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86.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93.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Override PartName="/ppt/slideLayouts/slideLayout106.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02.xml" ContentType="application/vnd.openxmlformats-officedocument.presentationml.slideLayout+xml"/>
  <Override PartName="/docProps/custom.xml" ContentType="application/vnd.openxmlformats-officedocument.custom-propertie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slideMasters/slideMaster4.xml" ContentType="application/vnd.openxmlformats-officedocument.presentationml.slideMaster+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07.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slideLayouts/slideLayout114.xml" ContentType="application/vnd.openxmlformats-officedocument.presentationml.slideLayout+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slideLayouts/slideLayout70.xml" ContentType="application/vnd.openxmlformats-officedocument.presentationml.slideLayout+xml"/>
  <Override PartName="/ppt/slideLayouts/slideLayout103.xml" ContentType="application/vnd.openxmlformats-officedocument.presentationml.slideLayout+xml"/>
  <Override PartName="/ppt/slideLayouts/slideLayout112.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slideLayouts/slideLayout101.xml" ContentType="application/vnd.openxmlformats-officedocument.presentationml.slideLayout+xml"/>
  <Override PartName="/ppt/slideLayouts/slideLayout110.xml" ContentType="application/vnd.openxmlformats-officedocument.presentationml.slideLayout+xml"/>
  <Override PartName="/ppt/slideMasters/slideMaster9.xml" ContentType="application/vnd.openxmlformats-officedocument.presentationml.slideMaster+xml"/>
  <Override PartName="/ppt/slideLayouts/slideLayout10.xml" ContentType="application/vnd.openxmlformats-officedocument.presentationml.slideLayout+xml"/>
  <Default Extension="vml" ContentType="application/vnd.openxmlformats-officedocument.vmlDrawing"/>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slideLayouts/slideLayout99.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8.xml" ContentType="application/vnd.openxmlformats-officedocument.presentationml.slideLayout+xml"/>
  <Override PartName="/ppt/slideLayouts/slideLayout97.xml" ContentType="application/vnd.openxmlformats-officedocument.presentationml.slideLayout+xml"/>
  <Override PartName="/ppt/theme/theme11.xml" ContentType="application/vnd.openxmlformats-officedocument.theme+xml"/>
  <Override PartName="/docProps/core.xml" ContentType="application/vnd.openxmlformats-package.core-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Layouts/slideLayout108.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wmf" ContentType="image/x-wmf"/>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slideLayouts/slideLayout115.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111.xml" ContentType="application/vnd.openxmlformats-officedocument.presentationml.slideLayout+xml"/>
  <Override PartName="/ppt/slideLayouts/slideLayout100.xml" ContentType="application/vnd.openxmlformats-officedocument.presentationml.slideLayout+xml"/>
  <Override PartName="/ppt/slideMasters/slideMaster6.xml" ContentType="application/vnd.openxmlformats-officedocument.presentationml.slideMaster+xml"/>
  <Override PartName="/ppt/theme/theme8.xml" ContentType="application/vnd.openxmlformats-officedocument.theme+xml"/>
  <Override PartName="/ppt/slideLayouts/slideLayout89.xml" ContentType="application/vnd.openxmlformats-officedocument.presentationml.slideLayout+xml"/>
  <Override PartName="/ppt/theme/theme12.xml" ContentType="application/vnd.openxmlformats-officedocument.them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677" r:id="rId2"/>
    <p:sldMasterId id="2147483719" r:id="rId3"/>
    <p:sldMasterId id="2147483730" r:id="rId4"/>
    <p:sldMasterId id="2147483741" r:id="rId5"/>
    <p:sldMasterId id="2147483752" r:id="rId6"/>
    <p:sldMasterId id="2147483763" r:id="rId7"/>
    <p:sldMasterId id="2147483774" r:id="rId8"/>
    <p:sldMasterId id="2147483824" r:id="rId9"/>
    <p:sldMasterId id="2147483879" r:id="rId10"/>
    <p:sldMasterId id="2147483891" r:id="rId11"/>
  </p:sldMasterIdLst>
  <p:notesMasterIdLst>
    <p:notesMasterId r:id="rId13"/>
  </p:notesMasterIdLst>
  <p:sldIdLst>
    <p:sldId id="391" r:id="rId12"/>
  </p:sldIdLst>
  <p:sldSz cx="9144000" cy="6858000" type="screen4x3"/>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17375E"/>
    <a:srgbClr val="95B3D7"/>
    <a:srgbClr val="4F81BD"/>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90" d="100"/>
          <a:sy n="90" d="100"/>
        </p:scale>
        <p:origin x="-1050" y="-138"/>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presProps" Target="presProps.xml"/><Relationship Id="rId10" Type="http://schemas.openxmlformats.org/officeDocument/2006/relationships/slideMaster" Target="slideMasters/slideMaster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A67C64D-CF26-4260-A32F-7D464C5A3C58}" type="datetimeFigureOut">
              <a:rPr lang="en-US" smtClean="0"/>
              <a:pPr/>
              <a:t>1/11/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FA5E52-53FD-4BD3-A15C-2246421F9A53}"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a:xfrm>
            <a:off x="1143000" y="685800"/>
            <a:ext cx="4572000" cy="3429000"/>
          </a:xfrm>
          <a:ln/>
        </p:spPr>
      </p:sp>
      <p:sp>
        <p:nvSpPr>
          <p:cNvPr id="104451" name="Notes Placeholder 2"/>
          <p:cNvSpPr>
            <a:spLocks noGrp="1"/>
          </p:cNvSpPr>
          <p:nvPr>
            <p:ph type="body" idx="1"/>
          </p:nvPr>
        </p:nvSpPr>
        <p:spPr bwMode="auto">
          <a:xfrm>
            <a:off x="685320" y="4343217"/>
            <a:ext cx="5487361" cy="4115165"/>
          </a:xfrm>
          <a:prstGeom prst="rect">
            <a:avLst/>
          </a:prstGeom>
          <a:noFill/>
          <a:ln>
            <a:miter lim="800000"/>
            <a:headEnd/>
            <a:tailEnd/>
          </a:ln>
        </p:spPr>
        <p:txBody>
          <a:bodyPr/>
          <a:lstStyle/>
          <a:p>
            <a:endParaRPr lang="en-US" smtClean="0"/>
          </a:p>
        </p:txBody>
      </p:sp>
      <p:sp>
        <p:nvSpPr>
          <p:cNvPr id="104452" name="Slide Number Placeholder 3"/>
          <p:cNvSpPr>
            <a:spLocks noGrp="1"/>
          </p:cNvSpPr>
          <p:nvPr>
            <p:ph type="sldNum" sz="quarter" idx="5"/>
          </p:nvPr>
        </p:nvSpPr>
        <p:spPr>
          <a:noFill/>
        </p:spPr>
        <p:txBody>
          <a:bodyPr/>
          <a:lstStyle/>
          <a:p>
            <a:pPr defTabSz="922338"/>
            <a:fld id="{CD5C2204-5062-4187-8929-81E614592AD6}" type="slidenum">
              <a:rPr lang="en-US">
                <a:solidFill>
                  <a:prstClr val="black"/>
                </a:solidFill>
              </a:rPr>
              <a:pPr defTabSz="922338"/>
              <a:t>1</a:t>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1.xml"/><Relationship Id="rId1" Type="http://schemas.openxmlformats.org/officeDocument/2006/relationships/vmlDrawing" Target="../drawings/vmlDrawing64.vml"/><Relationship Id="rId4" Type="http://schemas.openxmlformats.org/officeDocument/2006/relationships/image" Target="../media/image4.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vmlDrawing" Target="../drawings/vmlDrawing4.vml"/><Relationship Id="rId4" Type="http://schemas.openxmlformats.org/officeDocument/2006/relationships/image" Target="../media/image6.w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vmlDrawing" Target="../drawings/vmlDrawing5.v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vmlDrawing" Target="../drawings/vmlDrawing6.v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vmlDrawing" Target="../drawings/vmlDrawing7.v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vmlDrawing" Target="../drawings/vmlDrawing8.v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vmlDrawing" Target="../drawings/vmlDrawing9.v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vmlDrawing" Target="../drawings/vmlDrawing10.v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vmlDrawing" Target="../drawings/vmlDrawing11.v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vmlDrawing" Target="../drawings/vmlDrawing12.v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vmlDrawing" Target="../drawings/vmlDrawing14.vml"/><Relationship Id="rId4" Type="http://schemas.openxmlformats.org/officeDocument/2006/relationships/image" Target="../media/image6.w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vmlDrawing" Target="../drawings/vmlDrawing15.v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vmlDrawing" Target="../drawings/vmlDrawing16.v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vmlDrawing" Target="../drawings/vmlDrawing17.v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vmlDrawing" Target="../drawings/vmlDrawing18.v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vmlDrawing" Target="../drawings/vmlDrawing19.v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vmlDrawing" Target="../drawings/vmlDrawing20.v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vmlDrawing" Target="../drawings/vmlDrawing21.v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vmlDrawing" Target="../drawings/vmlDrawing22.v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vmlDrawing" Target="../drawings/vmlDrawing24.vml"/><Relationship Id="rId4" Type="http://schemas.openxmlformats.org/officeDocument/2006/relationships/image" Target="../media/image6.w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vmlDrawing" Target="../drawings/vmlDrawing25.v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vmlDrawing" Target="../drawings/vmlDrawing26.v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vmlDrawing" Target="../drawings/vmlDrawing27.v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vmlDrawing" Target="../drawings/vmlDrawing28.v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vmlDrawing" Target="../drawings/vmlDrawing29.v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vmlDrawing" Target="../drawings/vmlDrawing30.v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vmlDrawing" Target="../drawings/vmlDrawing31.v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vmlDrawing" Target="../drawings/vmlDrawing32.v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vmlDrawing" Target="../drawings/vmlDrawing34.vml"/><Relationship Id="rId4" Type="http://schemas.openxmlformats.org/officeDocument/2006/relationships/image" Target="../media/image6.w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vmlDrawing" Target="../drawings/vmlDrawing35.v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vmlDrawing" Target="../drawings/vmlDrawing36.v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vmlDrawing" Target="../drawings/vmlDrawing37.v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vmlDrawing" Target="../drawings/vmlDrawing38.v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vmlDrawing" Target="../drawings/vmlDrawing39.v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vmlDrawing" Target="../drawings/vmlDrawing40.v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vmlDrawing" Target="../drawings/vmlDrawing41.v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vmlDrawing" Target="../drawings/vmlDrawing42.v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7.xml"/><Relationship Id="rId1" Type="http://schemas.openxmlformats.org/officeDocument/2006/relationships/vmlDrawing" Target="../drawings/vmlDrawing44.vml"/><Relationship Id="rId4" Type="http://schemas.openxmlformats.org/officeDocument/2006/relationships/image" Target="../media/image6.w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7.xml"/><Relationship Id="rId1" Type="http://schemas.openxmlformats.org/officeDocument/2006/relationships/vmlDrawing" Target="../drawings/vmlDrawing45.v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7.xml"/><Relationship Id="rId1" Type="http://schemas.openxmlformats.org/officeDocument/2006/relationships/vmlDrawing" Target="../drawings/vmlDrawing46.v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7.xml"/><Relationship Id="rId1" Type="http://schemas.openxmlformats.org/officeDocument/2006/relationships/vmlDrawing" Target="../drawings/vmlDrawing47.v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7.xml"/><Relationship Id="rId1" Type="http://schemas.openxmlformats.org/officeDocument/2006/relationships/vmlDrawing" Target="../drawings/vmlDrawing48.v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7.xml"/><Relationship Id="rId1" Type="http://schemas.openxmlformats.org/officeDocument/2006/relationships/vmlDrawing" Target="../drawings/vmlDrawing49.v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7.xml"/><Relationship Id="rId1" Type="http://schemas.openxmlformats.org/officeDocument/2006/relationships/vmlDrawing" Target="../drawings/vmlDrawing50.v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7.xml"/><Relationship Id="rId1" Type="http://schemas.openxmlformats.org/officeDocument/2006/relationships/vmlDrawing" Target="../drawings/vmlDrawing51.v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7.xml"/><Relationship Id="rId1" Type="http://schemas.openxmlformats.org/officeDocument/2006/relationships/vmlDrawing" Target="../drawings/vmlDrawing52.v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8.xml"/><Relationship Id="rId1" Type="http://schemas.openxmlformats.org/officeDocument/2006/relationships/vmlDrawing" Target="../drawings/vmlDrawing54.vml"/><Relationship Id="rId4" Type="http://schemas.openxmlformats.org/officeDocument/2006/relationships/image" Target="../media/image6.w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8.xml"/><Relationship Id="rId1" Type="http://schemas.openxmlformats.org/officeDocument/2006/relationships/vmlDrawing" Target="../drawings/vmlDrawing55.v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8.xml"/><Relationship Id="rId1" Type="http://schemas.openxmlformats.org/officeDocument/2006/relationships/vmlDrawing" Target="../drawings/vmlDrawing56.v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8.xml"/><Relationship Id="rId1" Type="http://schemas.openxmlformats.org/officeDocument/2006/relationships/vmlDrawing" Target="../drawings/vmlDrawing57.v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8.xml"/><Relationship Id="rId1" Type="http://schemas.openxmlformats.org/officeDocument/2006/relationships/vmlDrawing" Target="../drawings/vmlDrawing58.v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8.xml"/><Relationship Id="rId1" Type="http://schemas.openxmlformats.org/officeDocument/2006/relationships/vmlDrawing" Target="../drawings/vmlDrawing59.v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8.xml"/><Relationship Id="rId1" Type="http://schemas.openxmlformats.org/officeDocument/2006/relationships/vmlDrawing" Target="../drawings/vmlDrawing60.v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8.xml"/><Relationship Id="rId1" Type="http://schemas.openxmlformats.org/officeDocument/2006/relationships/vmlDrawing" Target="../drawings/vmlDrawing61.v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8.xml"/><Relationship Id="rId1" Type="http://schemas.openxmlformats.org/officeDocument/2006/relationships/vmlDrawing" Target="../drawings/vmlDrawing62.v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68313" y="1114099"/>
            <a:ext cx="8207375" cy="512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 xmlns:p14="http://schemas.microsoft.com/office/powerpoint/2010/main" val="26214971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4639" y="188915"/>
            <a:ext cx="2051050" cy="60483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68314" y="188915"/>
            <a:ext cx="6003925" cy="6048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 xmlns:p14="http://schemas.microsoft.com/office/powerpoint/2010/main" val="4209279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905"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048"/>
            </a:lvl1pPr>
            <a:lvl2pPr>
              <a:defRPr sz="2667"/>
            </a:lvl2pPr>
            <a:lvl3pPr>
              <a:defRPr sz="2286"/>
            </a:lvl3pPr>
            <a:lvl4pPr>
              <a:defRPr sz="1905"/>
            </a:lvl4pPr>
            <a:lvl5pPr>
              <a:defRPr sz="1905"/>
            </a:lvl5pPr>
            <a:lvl6pPr>
              <a:defRPr sz="1905"/>
            </a:lvl6pPr>
            <a:lvl7pPr>
              <a:defRPr sz="1905"/>
            </a:lvl7pPr>
            <a:lvl8pPr>
              <a:defRPr sz="1905"/>
            </a:lvl8pPr>
            <a:lvl9pPr>
              <a:defRPr sz="190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333"/>
            </a:lvl1pPr>
            <a:lvl2pPr marL="435437" indent="0">
              <a:buNone/>
              <a:defRPr sz="1143"/>
            </a:lvl2pPr>
            <a:lvl3pPr marL="870875" indent="0">
              <a:buNone/>
              <a:defRPr sz="952"/>
            </a:lvl3pPr>
            <a:lvl4pPr marL="1306312" indent="0">
              <a:buNone/>
              <a:defRPr sz="857"/>
            </a:lvl4pPr>
            <a:lvl5pPr marL="1741749" indent="0">
              <a:buNone/>
              <a:defRPr sz="857"/>
            </a:lvl5pPr>
            <a:lvl6pPr marL="2177186" indent="0">
              <a:buNone/>
              <a:defRPr sz="857"/>
            </a:lvl6pPr>
            <a:lvl7pPr marL="2612624" indent="0">
              <a:buNone/>
              <a:defRPr sz="857"/>
            </a:lvl7pPr>
            <a:lvl8pPr marL="3048061" indent="0">
              <a:buNone/>
              <a:defRPr sz="857"/>
            </a:lvl8pPr>
            <a:lvl9pPr marL="3483498" indent="0">
              <a:buNone/>
              <a:defRPr sz="857"/>
            </a:lvl9pPr>
          </a:lstStyle>
          <a:p>
            <a:pPr lvl="0"/>
            <a:r>
              <a:rPr lang="en-US" smtClean="0"/>
              <a:t>Click to edit Master text styles</a:t>
            </a:r>
          </a:p>
        </p:txBody>
      </p:sp>
    </p:spTree>
    <p:extLst>
      <p:ext uri="{BB962C8B-B14F-4D97-AF65-F5344CB8AC3E}">
        <p14:creationId xmlns:p14="http://schemas.microsoft.com/office/powerpoint/2010/main" xmlns="" val="11777808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905"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048"/>
            </a:lvl1pPr>
            <a:lvl2pPr marL="435437" indent="0">
              <a:buNone/>
              <a:defRPr sz="2667"/>
            </a:lvl2pPr>
            <a:lvl3pPr marL="870875" indent="0">
              <a:buNone/>
              <a:defRPr sz="2286"/>
            </a:lvl3pPr>
            <a:lvl4pPr marL="1306312" indent="0">
              <a:buNone/>
              <a:defRPr sz="1905"/>
            </a:lvl4pPr>
            <a:lvl5pPr marL="1741749" indent="0">
              <a:buNone/>
              <a:defRPr sz="1905"/>
            </a:lvl5pPr>
            <a:lvl6pPr marL="2177186" indent="0">
              <a:buNone/>
              <a:defRPr sz="1905"/>
            </a:lvl6pPr>
            <a:lvl7pPr marL="2612624" indent="0">
              <a:buNone/>
              <a:defRPr sz="1905"/>
            </a:lvl7pPr>
            <a:lvl8pPr marL="3048061" indent="0">
              <a:buNone/>
              <a:defRPr sz="1905"/>
            </a:lvl8pPr>
            <a:lvl9pPr marL="3483498" indent="0">
              <a:buNone/>
              <a:defRPr sz="1905"/>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333"/>
            </a:lvl1pPr>
            <a:lvl2pPr marL="435437" indent="0">
              <a:buNone/>
              <a:defRPr sz="1143"/>
            </a:lvl2pPr>
            <a:lvl3pPr marL="870875" indent="0">
              <a:buNone/>
              <a:defRPr sz="952"/>
            </a:lvl3pPr>
            <a:lvl4pPr marL="1306312" indent="0">
              <a:buNone/>
              <a:defRPr sz="857"/>
            </a:lvl4pPr>
            <a:lvl5pPr marL="1741749" indent="0">
              <a:buNone/>
              <a:defRPr sz="857"/>
            </a:lvl5pPr>
            <a:lvl6pPr marL="2177186" indent="0">
              <a:buNone/>
              <a:defRPr sz="857"/>
            </a:lvl6pPr>
            <a:lvl7pPr marL="2612624" indent="0">
              <a:buNone/>
              <a:defRPr sz="857"/>
            </a:lvl7pPr>
            <a:lvl8pPr marL="3048061" indent="0">
              <a:buNone/>
              <a:defRPr sz="857"/>
            </a:lvl8pPr>
            <a:lvl9pPr marL="3483498" indent="0">
              <a:buNone/>
              <a:defRPr sz="857"/>
            </a:lvl9pPr>
          </a:lstStyle>
          <a:p>
            <a:pPr lvl="0"/>
            <a:r>
              <a:rPr lang="en-US" smtClean="0"/>
              <a:t>Click to edit Master text styles</a:t>
            </a:r>
          </a:p>
        </p:txBody>
      </p:sp>
    </p:spTree>
    <p:extLst>
      <p:ext uri="{BB962C8B-B14F-4D97-AF65-F5344CB8AC3E}">
        <p14:creationId xmlns:p14="http://schemas.microsoft.com/office/powerpoint/2010/main" xmlns="" val="39470061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850643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4639" y="188915"/>
            <a:ext cx="2051050" cy="60483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68314" y="188915"/>
            <a:ext cx="6003925" cy="6048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2092795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4" name="Footer Placeholder 4"/>
          <p:cNvSpPr txBox="1">
            <a:spLocks/>
          </p:cNvSpPr>
          <p:nvPr/>
        </p:nvSpPr>
        <p:spPr bwMode="auto">
          <a:xfrm>
            <a:off x="-6048" y="6597650"/>
            <a:ext cx="2896810" cy="268288"/>
          </a:xfrm>
          <a:prstGeom prst="rect">
            <a:avLst/>
          </a:prstGeom>
          <a:noFill/>
          <a:ln>
            <a:noFill/>
          </a:ln>
          <a:extLst/>
        </p:spPr>
        <p:txBody>
          <a:bodyPr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sz="571" smtClean="0">
                <a:solidFill>
                  <a:srgbClr val="000000"/>
                </a:solidFill>
                <a:cs typeface="Arial" panose="020B0604020202020204" pitchFamily="34" charset="0"/>
              </a:rPr>
              <a:t>Copyright © 2009 CEMEX Research Group, AG</a:t>
            </a:r>
          </a:p>
        </p:txBody>
      </p:sp>
      <p:pic>
        <p:nvPicPr>
          <p:cNvPr id="5" name="Picture 15" descr="L FULL C ESPANOL-A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82299" y="677863"/>
            <a:ext cx="1924654"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46" name="Rectangle 2"/>
          <p:cNvSpPr>
            <a:spLocks noGrp="1" noChangeArrowheads="1"/>
          </p:cNvSpPr>
          <p:nvPr>
            <p:ph type="ctrTitle"/>
          </p:nvPr>
        </p:nvSpPr>
        <p:spPr>
          <a:xfrm>
            <a:off x="614364" y="1938338"/>
            <a:ext cx="7978775" cy="2087562"/>
          </a:xfrm>
        </p:spPr>
        <p:txBody>
          <a:bodyPr anchor="ctr"/>
          <a:lstStyle>
            <a:lvl1pPr algn="l">
              <a:defRPr sz="2667"/>
            </a:lvl1pPr>
          </a:lstStyle>
          <a:p>
            <a:r>
              <a:rPr lang="en-US"/>
              <a:t>Click to edit Master title style</a:t>
            </a:r>
          </a:p>
        </p:txBody>
      </p:sp>
      <p:sp>
        <p:nvSpPr>
          <p:cNvPr id="6147" name="Rectangle 3"/>
          <p:cNvSpPr>
            <a:spLocks noGrp="1" noChangeArrowheads="1"/>
          </p:cNvSpPr>
          <p:nvPr>
            <p:ph type="subTitle" idx="1"/>
          </p:nvPr>
        </p:nvSpPr>
        <p:spPr>
          <a:xfrm>
            <a:off x="619126" y="4398965"/>
            <a:ext cx="7985125" cy="1423987"/>
          </a:xfrm>
        </p:spPr>
        <p:txBody>
          <a:bodyPr anchor="b"/>
          <a:lstStyle>
            <a:lvl1pPr>
              <a:defRPr b="0"/>
            </a:lvl1pPr>
          </a:lstStyle>
          <a:p>
            <a:r>
              <a:rPr lang="en-US"/>
              <a:t>Click to edit Master subtitle style</a:t>
            </a:r>
          </a:p>
        </p:txBody>
      </p:sp>
    </p:spTree>
    <p:extLst>
      <p:ext uri="{BB962C8B-B14F-4D97-AF65-F5344CB8AC3E}">
        <p14:creationId xmlns:p14="http://schemas.microsoft.com/office/powerpoint/2010/main" xmlns="" val="11516108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nvGraphicFramePr>
        <p:xfrm>
          <a:off x="0" y="0"/>
          <a:ext cx="158750" cy="158750"/>
        </p:xfrm>
        <a:graphic>
          <a:graphicData uri="http://schemas.openxmlformats.org/presentationml/2006/ole">
            <p:oleObj spid="_x0000_s110594" name="think-cell Slide" r:id="rId3" imgW="360" imgH="360" progId="">
              <p:embed/>
            </p:oleObj>
          </a:graphicData>
        </a:graphic>
      </p:graphicFrame>
      <p:pic>
        <p:nvPicPr>
          <p:cNvPr id="5" name="Picture 12" descr="CEMEX Red&amp;Blue.jpg"/>
          <p:cNvPicPr>
            <a:picLocks/>
          </p:cNvPicPr>
          <p:nvPr userDrawn="1"/>
        </p:nvPicPr>
        <p:blipFill>
          <a:blip r:embed="rId4" cstate="print"/>
          <a:srcRect/>
          <a:stretch>
            <a:fillRect/>
          </a:stretch>
        </p:blipFill>
        <p:spPr bwMode="auto">
          <a:xfrm>
            <a:off x="228298" y="228600"/>
            <a:ext cx="1752297" cy="520700"/>
          </a:xfrm>
          <a:prstGeom prst="rect">
            <a:avLst/>
          </a:prstGeom>
          <a:noFill/>
          <a:ln w="9525">
            <a:noFill/>
            <a:miter lim="800000"/>
            <a:headEnd/>
            <a:tailEnd/>
          </a:ln>
        </p:spPr>
      </p:pic>
      <p:sp>
        <p:nvSpPr>
          <p:cNvPr id="2" name="Title 1"/>
          <p:cNvSpPr>
            <a:spLocks noGrp="1"/>
          </p:cNvSpPr>
          <p:nvPr>
            <p:ph type="ctrTitle"/>
          </p:nvPr>
        </p:nvSpPr>
        <p:spPr>
          <a:xfrm>
            <a:off x="631651" y="2130426"/>
            <a:ext cx="7772400" cy="724742"/>
          </a:xfrm>
        </p:spPr>
        <p:txBody>
          <a:bodyPr/>
          <a:lstStyle>
            <a:lvl1pPr algn="l">
              <a:defRPr sz="2600">
                <a:solidFill>
                  <a:schemeClr val="tx2"/>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631657" y="2855168"/>
            <a:ext cx="7781925" cy="737118"/>
          </a:xfrm>
        </p:spPr>
        <p:txBody>
          <a:bodyPr anchor="ctr"/>
          <a:lstStyle>
            <a:lvl1pPr marL="0" indent="0" algn="l">
              <a:buNone/>
              <a:defRPr sz="2000">
                <a:solidFill>
                  <a:schemeClr val="tx2"/>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dirty="0"/>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16" y="0"/>
            <a:ext cx="8997119" cy="517525"/>
          </a:xfrm>
        </p:spPr>
        <p:txBody>
          <a:bodyPr/>
          <a:lstStyle>
            <a:lvl1pPr>
              <a:defRPr>
                <a:solidFill>
                  <a:schemeClr val="accent1"/>
                </a:solidFill>
              </a:defRPr>
            </a:lvl1pPr>
          </a:lstStyle>
          <a:p>
            <a:r>
              <a:rPr lang="en-US" smtClean="0"/>
              <a:t>Click to edit Master title style</a:t>
            </a:r>
            <a:endParaRPr lang="en-GB"/>
          </a:p>
        </p:txBody>
      </p:sp>
      <p:sp>
        <p:nvSpPr>
          <p:cNvPr id="3" name="Content Placeholder 2"/>
          <p:cNvSpPr>
            <a:spLocks noGrp="1"/>
          </p:cNvSpPr>
          <p:nvPr>
            <p:ph idx="1"/>
          </p:nvPr>
        </p:nvSpPr>
        <p:spPr>
          <a:xfrm>
            <a:off x="342900" y="1066807"/>
            <a:ext cx="8467724" cy="495299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42900" y="1600204"/>
            <a:ext cx="4152900" cy="4525963"/>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1076325" indent="-180975">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600204"/>
            <a:ext cx="4162424" cy="4525963"/>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2400" y="13370"/>
            <a:ext cx="8991600" cy="430887"/>
          </a:xfrm>
        </p:spPr>
        <p:txBody>
          <a:bodyPr/>
          <a:lstStyle>
            <a:lvl1pPr>
              <a:defRPr/>
            </a:lvl1pPr>
          </a:lstStyle>
          <a:p>
            <a:r>
              <a:rPr lang="en-US" smtClean="0"/>
              <a:t>Click to edit Master title style</a:t>
            </a:r>
            <a:endParaRPr lang="en-GB" dirty="0"/>
          </a:p>
        </p:txBody>
      </p:sp>
      <p:sp>
        <p:nvSpPr>
          <p:cNvPr id="3" name="Text Placeholder 2"/>
          <p:cNvSpPr>
            <a:spLocks noGrp="1"/>
          </p:cNvSpPr>
          <p:nvPr>
            <p:ph type="body" idx="1"/>
          </p:nvPr>
        </p:nvSpPr>
        <p:spPr>
          <a:xfrm>
            <a:off x="342900" y="1158907"/>
            <a:ext cx="4154488" cy="460375"/>
          </a:xfrm>
        </p:spPr>
        <p:txBody>
          <a:bodyPr anchor="ct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45025" y="1158907"/>
            <a:ext cx="4165600" cy="460375"/>
          </a:xfrm>
        </p:spPr>
        <p:txBody>
          <a:bodyPr anchor="ct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Content Placeholder 2"/>
          <p:cNvSpPr>
            <a:spLocks noGrp="1"/>
          </p:cNvSpPr>
          <p:nvPr>
            <p:ph sz="half" idx="13"/>
          </p:nvPr>
        </p:nvSpPr>
        <p:spPr>
          <a:xfrm>
            <a:off x="342900" y="1619250"/>
            <a:ext cx="4152900" cy="4359275"/>
          </a:xfrm>
        </p:spPr>
        <p:txBody>
          <a:bodyPr/>
          <a:lstStyle>
            <a:lvl1pPr marL="180975" indent="-180975">
              <a:defRPr sz="1400"/>
            </a:lvl1pPr>
            <a:lvl2pPr marL="361950" indent="-180975">
              <a:defRPr sz="1400"/>
            </a:lvl2pPr>
            <a:lvl3pPr marL="542925" indent="-180975">
              <a:defRPr sz="1400"/>
            </a:lvl3pPr>
            <a:lvl4pPr marL="714375" indent="-171450">
              <a:defRPr sz="1400"/>
            </a:lvl4pPr>
            <a:lvl5pPr marL="1076325" indent="-180975">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Content Placeholder 3"/>
          <p:cNvSpPr>
            <a:spLocks noGrp="1"/>
          </p:cNvSpPr>
          <p:nvPr>
            <p:ph sz="half" idx="2"/>
          </p:nvPr>
        </p:nvSpPr>
        <p:spPr>
          <a:xfrm>
            <a:off x="4648208" y="1619250"/>
            <a:ext cx="4162425" cy="4359275"/>
          </a:xfrm>
        </p:spPr>
        <p:txBody>
          <a:bodyPr/>
          <a:lstStyle>
            <a:lvl1pPr marL="180975" indent="-180975">
              <a:defRPr sz="1400"/>
            </a:lvl1pPr>
            <a:lvl2pPr marL="361950" indent="-180975">
              <a:defRPr sz="1400"/>
            </a:lvl2pPr>
            <a:lvl3pPr marL="542925" indent="-180975">
              <a:defRPr sz="1400"/>
            </a:lvl3pPr>
            <a:lvl4pPr marL="714375" indent="-171450">
              <a:defRPr sz="1400"/>
            </a:lvl4pPr>
            <a:lvl5pPr marL="895350" indent="-180975">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2417" y="18785"/>
            <a:ext cx="8991599" cy="427037"/>
          </a:xfrm>
        </p:spPr>
        <p:txBody>
          <a:bodyPr/>
          <a:lstStyle/>
          <a:p>
            <a:r>
              <a:rPr lang="en-US" dirty="0" smtClean="0"/>
              <a:t>Click to edit Master title style</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4" name="Footer Placeholder 4"/>
          <p:cNvSpPr txBox="1">
            <a:spLocks/>
          </p:cNvSpPr>
          <p:nvPr/>
        </p:nvSpPr>
        <p:spPr bwMode="auto">
          <a:xfrm>
            <a:off x="-6048" y="6597650"/>
            <a:ext cx="2896810" cy="268288"/>
          </a:xfrm>
          <a:prstGeom prst="rect">
            <a:avLst/>
          </a:prstGeom>
          <a:noFill/>
          <a:ln>
            <a:noFill/>
          </a:ln>
          <a:extLst/>
        </p:spPr>
        <p:txBody>
          <a:bodyPr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sz="571" smtClean="0">
                <a:solidFill>
                  <a:srgbClr val="000000"/>
                </a:solidFill>
                <a:cs typeface="Arial" panose="020B0604020202020204" pitchFamily="34" charset="0"/>
              </a:rPr>
              <a:t>Copyright © 2009 CEMEX Research Group, AG</a:t>
            </a:r>
          </a:p>
        </p:txBody>
      </p:sp>
      <p:pic>
        <p:nvPicPr>
          <p:cNvPr id="5" name="Picture 15" descr="L FULL C ESPANOL-Ajpg"/>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482299" y="677863"/>
            <a:ext cx="1924654"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146" name="Rectangle 2"/>
          <p:cNvSpPr>
            <a:spLocks noGrp="1" noChangeArrowheads="1"/>
          </p:cNvSpPr>
          <p:nvPr>
            <p:ph type="ctrTitle"/>
          </p:nvPr>
        </p:nvSpPr>
        <p:spPr>
          <a:xfrm>
            <a:off x="614364" y="1938338"/>
            <a:ext cx="7978775" cy="2087562"/>
          </a:xfrm>
        </p:spPr>
        <p:txBody>
          <a:bodyPr anchor="ctr"/>
          <a:lstStyle>
            <a:lvl1pPr algn="l">
              <a:defRPr sz="2667"/>
            </a:lvl1pPr>
          </a:lstStyle>
          <a:p>
            <a:r>
              <a:rPr lang="en-US"/>
              <a:t>Click to edit Master title style</a:t>
            </a:r>
          </a:p>
        </p:txBody>
      </p:sp>
      <p:sp>
        <p:nvSpPr>
          <p:cNvPr id="6147" name="Rectangle 3"/>
          <p:cNvSpPr>
            <a:spLocks noGrp="1" noChangeArrowheads="1"/>
          </p:cNvSpPr>
          <p:nvPr>
            <p:ph type="subTitle" idx="1"/>
          </p:nvPr>
        </p:nvSpPr>
        <p:spPr>
          <a:xfrm>
            <a:off x="619126" y="4398965"/>
            <a:ext cx="7985125" cy="1423987"/>
          </a:xfrm>
        </p:spPr>
        <p:txBody>
          <a:bodyPr anchor="b"/>
          <a:lstStyle>
            <a:lvl1pPr>
              <a:defRPr b="0"/>
            </a:lvl1pPr>
          </a:lstStyle>
          <a:p>
            <a:r>
              <a:rPr lang="en-US"/>
              <a:t>Click to edit Master subtitle style</a:t>
            </a:r>
          </a:p>
        </p:txBody>
      </p:sp>
    </p:spTree>
    <p:extLst>
      <p:ext uri="{BB962C8B-B14F-4D97-AF65-F5344CB8AC3E}">
        <p14:creationId xmlns="" xmlns:p14="http://schemas.microsoft.com/office/powerpoint/2010/main" val="11516108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655621"/>
            <a:ext cx="3122613" cy="1162050"/>
          </a:xfrm>
        </p:spPr>
        <p:txBody>
          <a:bodyPr/>
          <a:lstStyle>
            <a:lvl1pPr algn="l">
              <a:defRPr sz="2200" b="1"/>
            </a:lvl1pPr>
          </a:lstStyle>
          <a:p>
            <a:r>
              <a:rPr lang="en-US" smtClean="0"/>
              <a:t>Click to edit Master title style</a:t>
            </a:r>
            <a:endParaRPr lang="en-GB" dirty="0"/>
          </a:p>
        </p:txBody>
      </p:sp>
      <p:sp>
        <p:nvSpPr>
          <p:cNvPr id="3" name="Content Placeholder 2"/>
          <p:cNvSpPr>
            <a:spLocks noGrp="1"/>
          </p:cNvSpPr>
          <p:nvPr>
            <p:ph idx="1"/>
          </p:nvPr>
        </p:nvSpPr>
        <p:spPr>
          <a:xfrm>
            <a:off x="3575054" y="655624"/>
            <a:ext cx="5235573" cy="5853113"/>
          </a:xfrm>
        </p:spPr>
        <p:txBody>
          <a:bodyPr/>
          <a:lstStyle>
            <a:lvl1pPr>
              <a:defRPr sz="16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3"/>
          <p:cNvSpPr>
            <a:spLocks noGrp="1"/>
          </p:cNvSpPr>
          <p:nvPr>
            <p:ph type="body" sz="half" idx="2"/>
          </p:nvPr>
        </p:nvSpPr>
        <p:spPr>
          <a:xfrm>
            <a:off x="342900" y="1817671"/>
            <a:ext cx="31226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9" y="554571"/>
            <a:ext cx="2181223"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42900" y="554571"/>
            <a:ext cx="61341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0" y="0"/>
          <a:ext cx="158750" cy="158750"/>
        </p:xfrm>
        <a:graphic>
          <a:graphicData uri="http://schemas.openxmlformats.org/presentationml/2006/ole">
            <p:oleObj spid="_x0000_s2050" name="think-cell Slide" r:id="rId5" imgW="360" imgH="360" progId="">
              <p:embed/>
            </p:oleObj>
          </a:graphicData>
        </a:graphic>
      </p:graphicFrame>
      <p:sp>
        <p:nvSpPr>
          <p:cNvPr id="2" name="Title 1"/>
          <p:cNvSpPr>
            <a:spLocks noGrp="1"/>
          </p:cNvSpPr>
          <p:nvPr>
            <p:ph type="ctrTitle"/>
            <p:custDataLst>
              <p:tags r:id="rId2"/>
            </p:custDataLst>
          </p:nvPr>
        </p:nvSpPr>
        <p:spPr>
          <a:xfrm>
            <a:off x="631651" y="2130426"/>
            <a:ext cx="7772400" cy="724742"/>
          </a:xfrm>
        </p:spPr>
        <p:txBody>
          <a:bodyPr anchor="ctr"/>
          <a:lstStyle>
            <a:lvl1pPr algn="l">
              <a:defRPr sz="2600">
                <a:solidFill>
                  <a:schemeClr val="tx2"/>
                </a:solidFill>
              </a:defRPr>
            </a:lvl1pPr>
          </a:lstStyle>
          <a:p>
            <a:r>
              <a:rPr lang="en-US" smtClean="0"/>
              <a:t>Click to edit Master title style</a:t>
            </a:r>
            <a:endParaRPr lang="en-GB" dirty="0"/>
          </a:p>
        </p:txBody>
      </p:sp>
      <p:sp>
        <p:nvSpPr>
          <p:cNvPr id="3" name="Subtitle 2"/>
          <p:cNvSpPr>
            <a:spLocks noGrp="1"/>
          </p:cNvSpPr>
          <p:nvPr>
            <p:ph type="subTitle" idx="1"/>
            <p:custDataLst>
              <p:tags r:id="rId3"/>
            </p:custDataLst>
          </p:nvPr>
        </p:nvSpPr>
        <p:spPr>
          <a:xfrm>
            <a:off x="631651" y="2855168"/>
            <a:ext cx="7781925" cy="737118"/>
          </a:xfrm>
        </p:spPr>
        <p:txBody>
          <a:bodyPr anchor="ctr"/>
          <a:lstStyle>
            <a:lvl1pPr marL="0" indent="0" algn="l">
              <a:buNone/>
              <a:defRPr sz="2000">
                <a:solidFill>
                  <a:schemeClr val="tx2"/>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dirty="0"/>
          </a:p>
        </p:txBody>
      </p:sp>
      <p:pic>
        <p:nvPicPr>
          <p:cNvPr id="8" name="Picture 7" descr="CEMEX Red&amp;Blue.jpg"/>
          <p:cNvPicPr>
            <a:picLocks/>
          </p:cNvPicPr>
          <p:nvPr userDrawn="1"/>
        </p:nvPicPr>
        <p:blipFill>
          <a:blip r:embed="rId6" cstate="print"/>
          <a:stretch>
            <a:fillRect/>
          </a:stretch>
        </p:blipFill>
        <p:spPr>
          <a:xfrm>
            <a:off x="228600" y="228600"/>
            <a:ext cx="1752600" cy="5207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997119" cy="517525"/>
          </a:xfrm>
        </p:spPr>
        <p:txBody>
          <a:bodyPr/>
          <a:lstStyle>
            <a:lvl1pPr>
              <a:defRPr>
                <a:solidFill>
                  <a:schemeClr val="accent1"/>
                </a:solidFill>
              </a:defRPr>
            </a:lvl1pPr>
          </a:lstStyle>
          <a:p>
            <a:r>
              <a:rPr lang="en-US" smtClean="0"/>
              <a:t>Click to edit Master title style</a:t>
            </a:r>
            <a:endParaRPr lang="en-GB"/>
          </a:p>
        </p:txBody>
      </p:sp>
      <p:sp>
        <p:nvSpPr>
          <p:cNvPr id="3" name="Content Placeholder 2"/>
          <p:cNvSpPr>
            <a:spLocks noGrp="1"/>
          </p:cNvSpPr>
          <p:nvPr>
            <p:ph idx="1"/>
          </p:nvPr>
        </p:nvSpPr>
        <p:spPr>
          <a:xfrm>
            <a:off x="342900" y="1066800"/>
            <a:ext cx="8467724" cy="495299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42900" y="1600200"/>
            <a:ext cx="4152900" cy="4525963"/>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1076325" indent="-180975">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600200"/>
            <a:ext cx="4162424" cy="4525963"/>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2400" y="13370"/>
            <a:ext cx="8991600" cy="430887"/>
          </a:xfrm>
        </p:spPr>
        <p:txBody>
          <a:bodyPr/>
          <a:lstStyle>
            <a:lvl1pPr>
              <a:defRPr/>
            </a:lvl1pPr>
          </a:lstStyle>
          <a:p>
            <a:r>
              <a:rPr lang="en-US" smtClean="0"/>
              <a:t>Click to edit Master title style</a:t>
            </a:r>
            <a:endParaRPr lang="en-GB" dirty="0"/>
          </a:p>
        </p:txBody>
      </p:sp>
      <p:sp>
        <p:nvSpPr>
          <p:cNvPr id="3" name="Text Placeholder 2"/>
          <p:cNvSpPr>
            <a:spLocks noGrp="1"/>
          </p:cNvSpPr>
          <p:nvPr>
            <p:ph type="body" idx="1"/>
          </p:nvPr>
        </p:nvSpPr>
        <p:spPr>
          <a:xfrm>
            <a:off x="342900" y="1158875"/>
            <a:ext cx="4154488" cy="460375"/>
          </a:xfrm>
        </p:spPr>
        <p:txBody>
          <a:bodyPr anchor="ct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45025" y="1158875"/>
            <a:ext cx="4165600" cy="460375"/>
          </a:xfrm>
        </p:spPr>
        <p:txBody>
          <a:bodyPr anchor="ct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Content Placeholder 2"/>
          <p:cNvSpPr>
            <a:spLocks noGrp="1"/>
          </p:cNvSpPr>
          <p:nvPr>
            <p:ph sz="half" idx="13"/>
          </p:nvPr>
        </p:nvSpPr>
        <p:spPr>
          <a:xfrm>
            <a:off x="342900" y="1619250"/>
            <a:ext cx="4152900" cy="4359275"/>
          </a:xfrm>
        </p:spPr>
        <p:txBody>
          <a:bodyPr/>
          <a:lstStyle>
            <a:lvl1pPr marL="180975" indent="-180975">
              <a:defRPr sz="1400"/>
            </a:lvl1pPr>
            <a:lvl2pPr marL="361950" indent="-180975">
              <a:defRPr sz="1400"/>
            </a:lvl2pPr>
            <a:lvl3pPr marL="542925" indent="-180975">
              <a:defRPr sz="1400"/>
            </a:lvl3pPr>
            <a:lvl4pPr marL="714375" indent="-171450">
              <a:defRPr sz="1400"/>
            </a:lvl4pPr>
            <a:lvl5pPr marL="1076325" indent="-180975">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Content Placeholder 3"/>
          <p:cNvSpPr>
            <a:spLocks noGrp="1"/>
          </p:cNvSpPr>
          <p:nvPr>
            <p:ph sz="half" idx="2"/>
          </p:nvPr>
        </p:nvSpPr>
        <p:spPr>
          <a:xfrm>
            <a:off x="4648199" y="1619250"/>
            <a:ext cx="4162425" cy="4359275"/>
          </a:xfrm>
        </p:spPr>
        <p:txBody>
          <a:bodyPr/>
          <a:lstStyle>
            <a:lvl1pPr marL="180975" indent="-180975">
              <a:defRPr sz="1400"/>
            </a:lvl1pPr>
            <a:lvl2pPr marL="361950" indent="-180975">
              <a:defRPr sz="1400"/>
            </a:lvl2pPr>
            <a:lvl3pPr marL="542925" indent="-180975">
              <a:defRPr sz="1400"/>
            </a:lvl3pPr>
            <a:lvl4pPr marL="714375" indent="-171450">
              <a:defRPr sz="1400"/>
            </a:lvl4pPr>
            <a:lvl5pPr marL="895350" indent="-180975">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2401" y="18785"/>
            <a:ext cx="8991599" cy="427037"/>
          </a:xfrm>
        </p:spPr>
        <p:txBody>
          <a:bodyPr/>
          <a:lstStyle/>
          <a:p>
            <a:r>
              <a:rPr lang="en-US" dirty="0" smtClean="0"/>
              <a:t>Click to edit Master title style</a:t>
            </a:r>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655621"/>
            <a:ext cx="3122613" cy="1162050"/>
          </a:xfrm>
        </p:spPr>
        <p:txBody>
          <a:bodyPr anchor="ctr"/>
          <a:lstStyle>
            <a:lvl1pPr algn="l">
              <a:defRPr sz="2200" b="1"/>
            </a:lvl1pPr>
          </a:lstStyle>
          <a:p>
            <a:r>
              <a:rPr lang="en-US" smtClean="0"/>
              <a:t>Click to edit Master title style</a:t>
            </a:r>
            <a:endParaRPr lang="en-GB" dirty="0"/>
          </a:p>
        </p:txBody>
      </p:sp>
      <p:sp>
        <p:nvSpPr>
          <p:cNvPr id="3" name="Content Placeholder 2"/>
          <p:cNvSpPr>
            <a:spLocks noGrp="1"/>
          </p:cNvSpPr>
          <p:nvPr>
            <p:ph idx="1"/>
          </p:nvPr>
        </p:nvSpPr>
        <p:spPr>
          <a:xfrm>
            <a:off x="3575049" y="655621"/>
            <a:ext cx="5235573" cy="5853113"/>
          </a:xfrm>
        </p:spPr>
        <p:txBody>
          <a:bodyPr/>
          <a:lstStyle>
            <a:lvl1pPr>
              <a:defRPr sz="16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3"/>
          <p:cNvSpPr>
            <a:spLocks noGrp="1"/>
          </p:cNvSpPr>
          <p:nvPr>
            <p:ph type="body" sz="half" idx="2"/>
          </p:nvPr>
        </p:nvSpPr>
        <p:spPr>
          <a:xfrm>
            <a:off x="342900" y="1817671"/>
            <a:ext cx="31226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381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905"/>
            </a:lvl1pPr>
            <a:lvl2pPr marL="435437" indent="0">
              <a:buNone/>
              <a:defRPr sz="1714"/>
            </a:lvl2pPr>
            <a:lvl3pPr marL="870875" indent="0">
              <a:buNone/>
              <a:defRPr sz="1524"/>
            </a:lvl3pPr>
            <a:lvl4pPr marL="1306312" indent="0">
              <a:buNone/>
              <a:defRPr sz="1333"/>
            </a:lvl4pPr>
            <a:lvl5pPr marL="1741749" indent="0">
              <a:buNone/>
              <a:defRPr sz="1333"/>
            </a:lvl5pPr>
            <a:lvl6pPr marL="2177186" indent="0">
              <a:buNone/>
              <a:defRPr sz="1333"/>
            </a:lvl6pPr>
            <a:lvl7pPr marL="2612624" indent="0">
              <a:buNone/>
              <a:defRPr sz="1333"/>
            </a:lvl7pPr>
            <a:lvl8pPr marL="3048061" indent="0">
              <a:buNone/>
              <a:defRPr sz="1333"/>
            </a:lvl8pPr>
            <a:lvl9pPr marL="3483498" indent="0">
              <a:buNone/>
              <a:defRPr sz="1333"/>
            </a:lvl9pPr>
          </a:lstStyle>
          <a:p>
            <a:pPr lvl="0"/>
            <a:r>
              <a:rPr lang="en-US" smtClean="0"/>
              <a:t>Click to edit Master text styles</a:t>
            </a:r>
          </a:p>
        </p:txBody>
      </p:sp>
    </p:spTree>
    <p:extLst>
      <p:ext uri="{BB962C8B-B14F-4D97-AF65-F5344CB8AC3E}">
        <p14:creationId xmlns="" xmlns:p14="http://schemas.microsoft.com/office/powerpoint/2010/main" val="3343335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399" y="554568"/>
            <a:ext cx="2181223"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42900" y="554568"/>
            <a:ext cx="61341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nvGraphicFramePr>
        <p:xfrm>
          <a:off x="1587" y="1588"/>
          <a:ext cx="1587" cy="1587"/>
        </p:xfrm>
        <a:graphic>
          <a:graphicData uri="http://schemas.openxmlformats.org/presentationml/2006/ole">
            <p:oleObj spid="_x0000_s33794" name="think-cell Slide" r:id="rId3" imgW="270" imgH="270" progId="">
              <p:embed/>
            </p:oleObj>
          </a:graphicData>
        </a:graphic>
      </p:graphicFrame>
      <p:sp>
        <p:nvSpPr>
          <p:cNvPr id="53" name="52 Rectángulo"/>
          <p:cNvSpPr/>
          <p:nvPr userDrawn="1"/>
        </p:nvSpPr>
        <p:spPr bwMode="auto">
          <a:xfrm>
            <a:off x="0" y="5238000"/>
            <a:ext cx="9144000" cy="16200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sz="2000" b="1" u="sng" smtClean="0">
              <a:solidFill>
                <a:srgbClr val="000000"/>
              </a:solidFill>
              <a:latin typeface="Arial" charset="0"/>
              <a:cs typeface="Arial" charset="0"/>
            </a:endParaRPr>
          </a:p>
        </p:txBody>
      </p:sp>
      <p:pic>
        <p:nvPicPr>
          <p:cNvPr id="54" name="Picture 3"/>
          <p:cNvPicPr>
            <a:picLocks noChangeAspect="1" noChangeArrowheads="1"/>
          </p:cNvPicPr>
          <p:nvPr userDrawn="1"/>
        </p:nvPicPr>
        <p:blipFill>
          <a:blip r:embed="rId4" cstate="screen"/>
          <a:srcRect/>
          <a:stretch>
            <a:fillRect/>
          </a:stretch>
        </p:blipFill>
        <p:spPr bwMode="auto">
          <a:xfrm>
            <a:off x="395536" y="6381328"/>
            <a:ext cx="1137016" cy="288032"/>
          </a:xfrm>
          <a:prstGeom prst="rect">
            <a:avLst/>
          </a:prstGeom>
          <a:noFill/>
          <a:ln w="9525">
            <a:noFill/>
            <a:miter lim="800000"/>
            <a:headEnd/>
            <a:tailEnd/>
          </a:ln>
        </p:spPr>
      </p:pic>
      <p:sp>
        <p:nvSpPr>
          <p:cNvPr id="56" name="Freeform 12"/>
          <p:cNvSpPr>
            <a:spLocks/>
          </p:cNvSpPr>
          <p:nvPr userDrawn="1"/>
        </p:nvSpPr>
        <p:spPr bwMode="auto">
          <a:xfrm>
            <a:off x="0" y="5915506"/>
            <a:ext cx="6156176" cy="942494"/>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19"/>
          <p:cNvSpPr>
            <a:spLocks/>
          </p:cNvSpPr>
          <p:nvPr userDrawn="1"/>
        </p:nvSpPr>
        <p:spPr bwMode="auto">
          <a:xfrm>
            <a:off x="0" y="6311900"/>
            <a:ext cx="14288" cy="14288"/>
          </a:xfrm>
          <a:custGeom>
            <a:avLst/>
            <a:gdLst/>
            <a:ahLst/>
            <a:cxnLst>
              <a:cxn ang="0">
                <a:pos x="18" y="34"/>
              </a:cxn>
              <a:cxn ang="0">
                <a:pos x="0" y="34"/>
              </a:cxn>
              <a:cxn ang="0">
                <a:pos x="0" y="16"/>
              </a:cxn>
              <a:cxn ang="0">
                <a:pos x="34" y="16"/>
              </a:cxn>
              <a:cxn ang="0">
                <a:pos x="18" y="0"/>
              </a:cxn>
              <a:cxn ang="0">
                <a:pos x="18" y="34"/>
              </a:cxn>
            </a:cxnLst>
            <a:rect l="0" t="0" r="r" b="b"/>
            <a:pathLst>
              <a:path w="34" h="34">
                <a:moveTo>
                  <a:pt x="18" y="34"/>
                </a:moveTo>
                <a:lnTo>
                  <a:pt x="0" y="34"/>
                </a:lnTo>
                <a:lnTo>
                  <a:pt x="0" y="16"/>
                </a:lnTo>
                <a:lnTo>
                  <a:pt x="34" y="16"/>
                </a:lnTo>
                <a:lnTo>
                  <a:pt x="18" y="0"/>
                </a:lnTo>
                <a:lnTo>
                  <a:pt x="18" y="34"/>
                </a:lnTo>
                <a:close/>
              </a:path>
            </a:pathLst>
          </a:custGeom>
          <a:solidFill>
            <a:srgbClr val="5177B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49 Rectángulo"/>
          <p:cNvSpPr/>
          <p:nvPr userDrawn="1"/>
        </p:nvSpPr>
        <p:spPr bwMode="auto">
          <a:xfrm flipV="1">
            <a:off x="0" y="6669360"/>
            <a:ext cx="9143999" cy="188640"/>
          </a:xfrm>
          <a:prstGeom prst="rect">
            <a:avLst/>
          </a:prstGeom>
          <a:solidFill>
            <a:srgbClr val="061F5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96" name="95 Rectángulo"/>
          <p:cNvSpPr/>
          <p:nvPr userDrawn="1"/>
        </p:nvSpPr>
        <p:spPr bwMode="auto">
          <a:xfrm>
            <a:off x="0" y="5190932"/>
            <a:ext cx="9144000" cy="45719"/>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2" name="Group 12"/>
          <p:cNvGrpSpPr>
            <a:grpSpLocks noChangeAspect="1"/>
          </p:cNvGrpSpPr>
          <p:nvPr userDrawn="1"/>
        </p:nvGrpSpPr>
        <p:grpSpPr bwMode="auto">
          <a:xfrm>
            <a:off x="323850" y="6162823"/>
            <a:ext cx="1135063" cy="290513"/>
            <a:chOff x="204" y="3837"/>
            <a:chExt cx="715" cy="183"/>
          </a:xfrm>
          <a:solidFill>
            <a:schemeClr val="bg1"/>
          </a:solidFill>
        </p:grpSpPr>
        <p:sp>
          <p:nvSpPr>
            <p:cNvPr id="1037" name="Freeform 13"/>
            <p:cNvSpPr>
              <a:spLocks/>
            </p:cNvSpPr>
            <p:nvPr userDrawn="1"/>
          </p:nvSpPr>
          <p:spPr bwMode="auto">
            <a:xfrm>
              <a:off x="204" y="3837"/>
              <a:ext cx="232" cy="183"/>
            </a:xfrm>
            <a:custGeom>
              <a:avLst/>
              <a:gdLst/>
              <a:ahLst/>
              <a:cxnLst>
                <a:cxn ang="0">
                  <a:pos x="1390" y="0"/>
                </a:cxn>
                <a:cxn ang="0">
                  <a:pos x="910" y="548"/>
                </a:cxn>
                <a:cxn ang="0">
                  <a:pos x="429" y="1096"/>
                </a:cxn>
                <a:cxn ang="0">
                  <a:pos x="0" y="1096"/>
                </a:cxn>
                <a:cxn ang="0">
                  <a:pos x="480" y="548"/>
                </a:cxn>
                <a:cxn ang="0">
                  <a:pos x="961" y="0"/>
                </a:cxn>
                <a:cxn ang="0">
                  <a:pos x="1390" y="0"/>
                </a:cxn>
              </a:cxnLst>
              <a:rect l="0" t="0" r="r" b="b"/>
              <a:pathLst>
                <a:path w="1390" h="1096">
                  <a:moveTo>
                    <a:pt x="1390" y="0"/>
                  </a:moveTo>
                  <a:lnTo>
                    <a:pt x="910" y="548"/>
                  </a:lnTo>
                  <a:lnTo>
                    <a:pt x="429"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8" name="Freeform 14"/>
            <p:cNvSpPr>
              <a:spLocks/>
            </p:cNvSpPr>
            <p:nvPr userDrawn="1"/>
          </p:nvSpPr>
          <p:spPr bwMode="auto">
            <a:xfrm>
              <a:off x="301" y="3837"/>
              <a:ext cx="231" cy="183"/>
            </a:xfrm>
            <a:custGeom>
              <a:avLst/>
              <a:gdLst/>
              <a:ahLst/>
              <a:cxnLst>
                <a:cxn ang="0">
                  <a:pos x="1390" y="0"/>
                </a:cxn>
                <a:cxn ang="0">
                  <a:pos x="910" y="548"/>
                </a:cxn>
                <a:cxn ang="0">
                  <a:pos x="431" y="1096"/>
                </a:cxn>
                <a:cxn ang="0">
                  <a:pos x="0" y="1096"/>
                </a:cxn>
                <a:cxn ang="0">
                  <a:pos x="480" y="548"/>
                </a:cxn>
                <a:cxn ang="0">
                  <a:pos x="961" y="0"/>
                </a:cxn>
                <a:cxn ang="0">
                  <a:pos x="1390" y="0"/>
                </a:cxn>
              </a:cxnLst>
              <a:rect l="0" t="0" r="r" b="b"/>
              <a:pathLst>
                <a:path w="1390" h="1096">
                  <a:moveTo>
                    <a:pt x="1390" y="0"/>
                  </a:moveTo>
                  <a:lnTo>
                    <a:pt x="910" y="548"/>
                  </a:lnTo>
                  <a:lnTo>
                    <a:pt x="431"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9" name="Freeform 15"/>
            <p:cNvSpPr>
              <a:spLocks/>
            </p:cNvSpPr>
            <p:nvPr userDrawn="1"/>
          </p:nvSpPr>
          <p:spPr bwMode="auto">
            <a:xfrm>
              <a:off x="539" y="3944"/>
              <a:ext cx="81" cy="76"/>
            </a:xfrm>
            <a:custGeom>
              <a:avLst/>
              <a:gdLst/>
              <a:ahLst/>
              <a:cxnLst>
                <a:cxn ang="0">
                  <a:pos x="0" y="116"/>
                </a:cxn>
                <a:cxn ang="0">
                  <a:pos x="4" y="93"/>
                </a:cxn>
                <a:cxn ang="0">
                  <a:pos x="11" y="71"/>
                </a:cxn>
                <a:cxn ang="0">
                  <a:pos x="15" y="61"/>
                </a:cxn>
                <a:cxn ang="0">
                  <a:pos x="28" y="42"/>
                </a:cxn>
                <a:cxn ang="0">
                  <a:pos x="46" y="27"/>
                </a:cxn>
                <a:cxn ang="0">
                  <a:pos x="55" y="20"/>
                </a:cxn>
                <a:cxn ang="0">
                  <a:pos x="64" y="14"/>
                </a:cxn>
                <a:cxn ang="0">
                  <a:pos x="86" y="6"/>
                </a:cxn>
                <a:cxn ang="0">
                  <a:pos x="98" y="2"/>
                </a:cxn>
                <a:cxn ang="0">
                  <a:pos x="109" y="1"/>
                </a:cxn>
                <a:cxn ang="0">
                  <a:pos x="487" y="0"/>
                </a:cxn>
                <a:cxn ang="0">
                  <a:pos x="140" y="111"/>
                </a:cxn>
                <a:cxn ang="0">
                  <a:pos x="132" y="114"/>
                </a:cxn>
                <a:cxn ang="0">
                  <a:pos x="124" y="118"/>
                </a:cxn>
                <a:cxn ang="0">
                  <a:pos x="120" y="125"/>
                </a:cxn>
                <a:cxn ang="0">
                  <a:pos x="118" y="133"/>
                </a:cxn>
                <a:cxn ang="0">
                  <a:pos x="118" y="327"/>
                </a:cxn>
                <a:cxn ang="0">
                  <a:pos x="122" y="336"/>
                </a:cxn>
                <a:cxn ang="0">
                  <a:pos x="124" y="339"/>
                </a:cxn>
                <a:cxn ang="0">
                  <a:pos x="132" y="344"/>
                </a:cxn>
                <a:cxn ang="0">
                  <a:pos x="140" y="346"/>
                </a:cxn>
                <a:cxn ang="0">
                  <a:pos x="487" y="457"/>
                </a:cxn>
                <a:cxn ang="0">
                  <a:pos x="112" y="457"/>
                </a:cxn>
                <a:cxn ang="0">
                  <a:pos x="88" y="453"/>
                </a:cxn>
                <a:cxn ang="0">
                  <a:pos x="66" y="444"/>
                </a:cxn>
                <a:cxn ang="0">
                  <a:pos x="56" y="438"/>
                </a:cxn>
                <a:cxn ang="0">
                  <a:pos x="42" y="427"/>
                </a:cxn>
                <a:cxn ang="0">
                  <a:pos x="29" y="416"/>
                </a:cxn>
                <a:cxn ang="0">
                  <a:pos x="19" y="402"/>
                </a:cxn>
                <a:cxn ang="0">
                  <a:pos x="11" y="388"/>
                </a:cxn>
                <a:cxn ang="0">
                  <a:pos x="4" y="366"/>
                </a:cxn>
                <a:cxn ang="0">
                  <a:pos x="2" y="343"/>
                </a:cxn>
              </a:cxnLst>
              <a:rect l="0" t="0" r="r" b="b"/>
              <a:pathLst>
                <a:path w="487" h="457">
                  <a:moveTo>
                    <a:pt x="0" y="336"/>
                  </a:moveTo>
                  <a:lnTo>
                    <a:pt x="0" y="116"/>
                  </a:lnTo>
                  <a:lnTo>
                    <a:pt x="2" y="104"/>
                  </a:lnTo>
                  <a:lnTo>
                    <a:pt x="4" y="93"/>
                  </a:lnTo>
                  <a:lnTo>
                    <a:pt x="6" y="82"/>
                  </a:lnTo>
                  <a:lnTo>
                    <a:pt x="11" y="71"/>
                  </a:lnTo>
                  <a:lnTo>
                    <a:pt x="13" y="65"/>
                  </a:lnTo>
                  <a:lnTo>
                    <a:pt x="15" y="61"/>
                  </a:lnTo>
                  <a:lnTo>
                    <a:pt x="21" y="51"/>
                  </a:lnTo>
                  <a:lnTo>
                    <a:pt x="28" y="42"/>
                  </a:lnTo>
                  <a:lnTo>
                    <a:pt x="36" y="34"/>
                  </a:lnTo>
                  <a:lnTo>
                    <a:pt x="46" y="27"/>
                  </a:lnTo>
                  <a:lnTo>
                    <a:pt x="50" y="23"/>
                  </a:lnTo>
                  <a:lnTo>
                    <a:pt x="55" y="20"/>
                  </a:lnTo>
                  <a:lnTo>
                    <a:pt x="59" y="17"/>
                  </a:lnTo>
                  <a:lnTo>
                    <a:pt x="64" y="14"/>
                  </a:lnTo>
                  <a:lnTo>
                    <a:pt x="75" y="9"/>
                  </a:lnTo>
                  <a:lnTo>
                    <a:pt x="86" y="6"/>
                  </a:lnTo>
                  <a:lnTo>
                    <a:pt x="92" y="3"/>
                  </a:lnTo>
                  <a:lnTo>
                    <a:pt x="98" y="2"/>
                  </a:lnTo>
                  <a:lnTo>
                    <a:pt x="103" y="1"/>
                  </a:lnTo>
                  <a:lnTo>
                    <a:pt x="109" y="1"/>
                  </a:lnTo>
                  <a:lnTo>
                    <a:pt x="122" y="0"/>
                  </a:lnTo>
                  <a:lnTo>
                    <a:pt x="487" y="0"/>
                  </a:lnTo>
                  <a:lnTo>
                    <a:pt x="487" y="111"/>
                  </a:lnTo>
                  <a:lnTo>
                    <a:pt x="140" y="111"/>
                  </a:lnTo>
                  <a:lnTo>
                    <a:pt x="136" y="112"/>
                  </a:lnTo>
                  <a:lnTo>
                    <a:pt x="132" y="114"/>
                  </a:lnTo>
                  <a:lnTo>
                    <a:pt x="128" y="116"/>
                  </a:lnTo>
                  <a:lnTo>
                    <a:pt x="124" y="118"/>
                  </a:lnTo>
                  <a:lnTo>
                    <a:pt x="122" y="121"/>
                  </a:lnTo>
                  <a:lnTo>
                    <a:pt x="120" y="125"/>
                  </a:lnTo>
                  <a:lnTo>
                    <a:pt x="118" y="129"/>
                  </a:lnTo>
                  <a:lnTo>
                    <a:pt x="118" y="133"/>
                  </a:lnTo>
                  <a:lnTo>
                    <a:pt x="118" y="323"/>
                  </a:lnTo>
                  <a:lnTo>
                    <a:pt x="118" y="327"/>
                  </a:lnTo>
                  <a:lnTo>
                    <a:pt x="120" y="332"/>
                  </a:lnTo>
                  <a:lnTo>
                    <a:pt x="122" y="336"/>
                  </a:lnTo>
                  <a:lnTo>
                    <a:pt x="123" y="337"/>
                  </a:lnTo>
                  <a:lnTo>
                    <a:pt x="124" y="339"/>
                  </a:lnTo>
                  <a:lnTo>
                    <a:pt x="128" y="341"/>
                  </a:lnTo>
                  <a:lnTo>
                    <a:pt x="132" y="344"/>
                  </a:lnTo>
                  <a:lnTo>
                    <a:pt x="136" y="346"/>
                  </a:lnTo>
                  <a:lnTo>
                    <a:pt x="140" y="346"/>
                  </a:lnTo>
                  <a:lnTo>
                    <a:pt x="487" y="346"/>
                  </a:lnTo>
                  <a:lnTo>
                    <a:pt x="487" y="457"/>
                  </a:lnTo>
                  <a:lnTo>
                    <a:pt x="124" y="457"/>
                  </a:lnTo>
                  <a:lnTo>
                    <a:pt x="112" y="457"/>
                  </a:lnTo>
                  <a:lnTo>
                    <a:pt x="100" y="455"/>
                  </a:lnTo>
                  <a:lnTo>
                    <a:pt x="88" y="453"/>
                  </a:lnTo>
                  <a:lnTo>
                    <a:pt x="77" y="448"/>
                  </a:lnTo>
                  <a:lnTo>
                    <a:pt x="66" y="444"/>
                  </a:lnTo>
                  <a:lnTo>
                    <a:pt x="61" y="440"/>
                  </a:lnTo>
                  <a:lnTo>
                    <a:pt x="56" y="438"/>
                  </a:lnTo>
                  <a:lnTo>
                    <a:pt x="47" y="432"/>
                  </a:lnTo>
                  <a:lnTo>
                    <a:pt x="42" y="427"/>
                  </a:lnTo>
                  <a:lnTo>
                    <a:pt x="37" y="424"/>
                  </a:lnTo>
                  <a:lnTo>
                    <a:pt x="29" y="416"/>
                  </a:lnTo>
                  <a:lnTo>
                    <a:pt x="22" y="407"/>
                  </a:lnTo>
                  <a:lnTo>
                    <a:pt x="19" y="402"/>
                  </a:lnTo>
                  <a:lnTo>
                    <a:pt x="17" y="398"/>
                  </a:lnTo>
                  <a:lnTo>
                    <a:pt x="11" y="388"/>
                  </a:lnTo>
                  <a:lnTo>
                    <a:pt x="7" y="377"/>
                  </a:lnTo>
                  <a:lnTo>
                    <a:pt x="4" y="366"/>
                  </a:lnTo>
                  <a:lnTo>
                    <a:pt x="3" y="355"/>
                  </a:lnTo>
                  <a:lnTo>
                    <a:pt x="2"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0" name="Rectangle 16"/>
            <p:cNvSpPr>
              <a:spLocks noChangeArrowheads="1"/>
            </p:cNvSpPr>
            <p:nvPr userDrawn="1"/>
          </p:nvSpPr>
          <p:spPr bwMode="auto">
            <a:xfrm>
              <a:off x="575"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1" name="Freeform 17"/>
            <p:cNvSpPr>
              <a:spLocks/>
            </p:cNvSpPr>
            <p:nvPr userDrawn="1"/>
          </p:nvSpPr>
          <p:spPr bwMode="auto">
            <a:xfrm>
              <a:off x="453" y="3944"/>
              <a:ext cx="80" cy="76"/>
            </a:xfrm>
            <a:custGeom>
              <a:avLst/>
              <a:gdLst/>
              <a:ahLst/>
              <a:cxnLst>
                <a:cxn ang="0">
                  <a:pos x="0" y="104"/>
                </a:cxn>
                <a:cxn ang="0">
                  <a:pos x="4" y="82"/>
                </a:cxn>
                <a:cxn ang="0">
                  <a:pos x="11" y="65"/>
                </a:cxn>
                <a:cxn ang="0">
                  <a:pos x="19" y="51"/>
                </a:cxn>
                <a:cxn ang="0">
                  <a:pos x="35" y="34"/>
                </a:cxn>
                <a:cxn ang="0">
                  <a:pos x="48" y="23"/>
                </a:cxn>
                <a:cxn ang="0">
                  <a:pos x="58" y="17"/>
                </a:cxn>
                <a:cxn ang="0">
                  <a:pos x="74" y="9"/>
                </a:cxn>
                <a:cxn ang="0">
                  <a:pos x="90" y="3"/>
                </a:cxn>
                <a:cxn ang="0">
                  <a:pos x="102" y="1"/>
                </a:cxn>
                <a:cxn ang="0">
                  <a:pos x="120" y="0"/>
                </a:cxn>
                <a:cxn ang="0">
                  <a:pos x="480" y="111"/>
                </a:cxn>
                <a:cxn ang="0">
                  <a:pos x="134" y="112"/>
                </a:cxn>
                <a:cxn ang="0">
                  <a:pos x="126" y="116"/>
                </a:cxn>
                <a:cxn ang="0">
                  <a:pos x="120" y="121"/>
                </a:cxn>
                <a:cxn ang="0">
                  <a:pos x="117" y="129"/>
                </a:cxn>
                <a:cxn ang="0">
                  <a:pos x="117" y="323"/>
                </a:cxn>
                <a:cxn ang="0">
                  <a:pos x="118" y="332"/>
                </a:cxn>
                <a:cxn ang="0">
                  <a:pos x="121" y="337"/>
                </a:cxn>
                <a:cxn ang="0">
                  <a:pos x="126" y="341"/>
                </a:cxn>
                <a:cxn ang="0">
                  <a:pos x="134" y="346"/>
                </a:cxn>
                <a:cxn ang="0">
                  <a:pos x="480" y="346"/>
                </a:cxn>
                <a:cxn ang="0">
                  <a:pos x="122" y="457"/>
                </a:cxn>
                <a:cxn ang="0">
                  <a:pos x="98" y="455"/>
                </a:cxn>
                <a:cxn ang="0">
                  <a:pos x="75" y="447"/>
                </a:cxn>
                <a:cxn ang="0">
                  <a:pos x="54" y="436"/>
                </a:cxn>
                <a:cxn ang="0">
                  <a:pos x="40" y="424"/>
                </a:cxn>
                <a:cxn ang="0">
                  <a:pos x="28" y="412"/>
                </a:cxn>
                <a:cxn ang="0">
                  <a:pos x="15" y="392"/>
                </a:cxn>
                <a:cxn ang="0">
                  <a:pos x="9" y="382"/>
                </a:cxn>
                <a:cxn ang="0">
                  <a:pos x="2" y="359"/>
                </a:cxn>
                <a:cxn ang="0">
                  <a:pos x="0" y="336"/>
                </a:cxn>
              </a:cxnLst>
              <a:rect l="0" t="0" r="r" b="b"/>
              <a:pathLst>
                <a:path w="480" h="457">
                  <a:moveTo>
                    <a:pt x="0" y="116"/>
                  </a:moveTo>
                  <a:lnTo>
                    <a:pt x="0" y="104"/>
                  </a:lnTo>
                  <a:lnTo>
                    <a:pt x="2" y="93"/>
                  </a:lnTo>
                  <a:lnTo>
                    <a:pt x="4" y="82"/>
                  </a:lnTo>
                  <a:lnTo>
                    <a:pt x="9" y="71"/>
                  </a:lnTo>
                  <a:lnTo>
                    <a:pt x="11" y="65"/>
                  </a:lnTo>
                  <a:lnTo>
                    <a:pt x="14" y="61"/>
                  </a:lnTo>
                  <a:lnTo>
                    <a:pt x="19" y="51"/>
                  </a:lnTo>
                  <a:lnTo>
                    <a:pt x="26" y="42"/>
                  </a:lnTo>
                  <a:lnTo>
                    <a:pt x="35" y="34"/>
                  </a:lnTo>
                  <a:lnTo>
                    <a:pt x="44" y="27"/>
                  </a:lnTo>
                  <a:lnTo>
                    <a:pt x="48" y="23"/>
                  </a:lnTo>
                  <a:lnTo>
                    <a:pt x="53" y="20"/>
                  </a:lnTo>
                  <a:lnTo>
                    <a:pt x="58" y="17"/>
                  </a:lnTo>
                  <a:lnTo>
                    <a:pt x="62" y="14"/>
                  </a:lnTo>
                  <a:lnTo>
                    <a:pt x="74" y="9"/>
                  </a:lnTo>
                  <a:lnTo>
                    <a:pt x="84" y="6"/>
                  </a:lnTo>
                  <a:lnTo>
                    <a:pt x="90" y="3"/>
                  </a:lnTo>
                  <a:lnTo>
                    <a:pt x="96" y="2"/>
                  </a:lnTo>
                  <a:lnTo>
                    <a:pt x="102" y="1"/>
                  </a:lnTo>
                  <a:lnTo>
                    <a:pt x="109" y="1"/>
                  </a:lnTo>
                  <a:lnTo>
                    <a:pt x="120" y="0"/>
                  </a:lnTo>
                  <a:lnTo>
                    <a:pt x="480" y="0"/>
                  </a:lnTo>
                  <a:lnTo>
                    <a:pt x="480" y="111"/>
                  </a:lnTo>
                  <a:lnTo>
                    <a:pt x="139" y="111"/>
                  </a:lnTo>
                  <a:lnTo>
                    <a:pt x="134" y="112"/>
                  </a:lnTo>
                  <a:lnTo>
                    <a:pt x="131" y="114"/>
                  </a:lnTo>
                  <a:lnTo>
                    <a:pt x="126" y="116"/>
                  </a:lnTo>
                  <a:lnTo>
                    <a:pt x="122" y="118"/>
                  </a:lnTo>
                  <a:lnTo>
                    <a:pt x="120" y="121"/>
                  </a:lnTo>
                  <a:lnTo>
                    <a:pt x="118" y="125"/>
                  </a:lnTo>
                  <a:lnTo>
                    <a:pt x="117" y="129"/>
                  </a:lnTo>
                  <a:lnTo>
                    <a:pt x="117" y="133"/>
                  </a:lnTo>
                  <a:lnTo>
                    <a:pt x="117" y="323"/>
                  </a:lnTo>
                  <a:lnTo>
                    <a:pt x="117" y="327"/>
                  </a:lnTo>
                  <a:lnTo>
                    <a:pt x="118" y="332"/>
                  </a:lnTo>
                  <a:lnTo>
                    <a:pt x="120" y="336"/>
                  </a:lnTo>
                  <a:lnTo>
                    <a:pt x="121" y="337"/>
                  </a:lnTo>
                  <a:lnTo>
                    <a:pt x="122" y="339"/>
                  </a:lnTo>
                  <a:lnTo>
                    <a:pt x="126" y="341"/>
                  </a:lnTo>
                  <a:lnTo>
                    <a:pt x="131" y="344"/>
                  </a:lnTo>
                  <a:lnTo>
                    <a:pt x="134" y="346"/>
                  </a:lnTo>
                  <a:lnTo>
                    <a:pt x="139" y="346"/>
                  </a:lnTo>
                  <a:lnTo>
                    <a:pt x="480" y="346"/>
                  </a:lnTo>
                  <a:lnTo>
                    <a:pt x="480" y="457"/>
                  </a:lnTo>
                  <a:lnTo>
                    <a:pt x="122" y="457"/>
                  </a:lnTo>
                  <a:lnTo>
                    <a:pt x="110" y="457"/>
                  </a:lnTo>
                  <a:lnTo>
                    <a:pt x="98" y="455"/>
                  </a:lnTo>
                  <a:lnTo>
                    <a:pt x="87" y="451"/>
                  </a:lnTo>
                  <a:lnTo>
                    <a:pt x="75" y="447"/>
                  </a:lnTo>
                  <a:lnTo>
                    <a:pt x="65" y="442"/>
                  </a:lnTo>
                  <a:lnTo>
                    <a:pt x="54" y="436"/>
                  </a:lnTo>
                  <a:lnTo>
                    <a:pt x="45" y="428"/>
                  </a:lnTo>
                  <a:lnTo>
                    <a:pt x="40" y="424"/>
                  </a:lnTo>
                  <a:lnTo>
                    <a:pt x="36" y="421"/>
                  </a:lnTo>
                  <a:lnTo>
                    <a:pt x="28" y="412"/>
                  </a:lnTo>
                  <a:lnTo>
                    <a:pt x="21" y="402"/>
                  </a:lnTo>
                  <a:lnTo>
                    <a:pt x="15" y="392"/>
                  </a:lnTo>
                  <a:lnTo>
                    <a:pt x="11" y="387"/>
                  </a:lnTo>
                  <a:lnTo>
                    <a:pt x="9" y="382"/>
                  </a:lnTo>
                  <a:lnTo>
                    <a:pt x="6" y="371"/>
                  </a:lnTo>
                  <a:lnTo>
                    <a:pt x="2" y="359"/>
                  </a:lnTo>
                  <a:lnTo>
                    <a:pt x="0" y="348"/>
                  </a:lnTo>
                  <a:lnTo>
                    <a:pt x="0" y="336"/>
                  </a:lnTo>
                  <a:lnTo>
                    <a:pt x="0" y="1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2" name="Freeform 18"/>
            <p:cNvSpPr>
              <a:spLocks/>
            </p:cNvSpPr>
            <p:nvPr userDrawn="1"/>
          </p:nvSpPr>
          <p:spPr bwMode="auto">
            <a:xfrm>
              <a:off x="737" y="3944"/>
              <a:ext cx="81" cy="76"/>
            </a:xfrm>
            <a:custGeom>
              <a:avLst/>
              <a:gdLst/>
              <a:ahLst/>
              <a:cxnLst>
                <a:cxn ang="0">
                  <a:pos x="0" y="116"/>
                </a:cxn>
                <a:cxn ang="0">
                  <a:pos x="3" y="93"/>
                </a:cxn>
                <a:cxn ang="0">
                  <a:pos x="10" y="71"/>
                </a:cxn>
                <a:cxn ang="0">
                  <a:pos x="15" y="61"/>
                </a:cxn>
                <a:cxn ang="0">
                  <a:pos x="27" y="42"/>
                </a:cxn>
                <a:cxn ang="0">
                  <a:pos x="45" y="27"/>
                </a:cxn>
                <a:cxn ang="0">
                  <a:pos x="54" y="20"/>
                </a:cxn>
                <a:cxn ang="0">
                  <a:pos x="63" y="14"/>
                </a:cxn>
                <a:cxn ang="0">
                  <a:pos x="85" y="6"/>
                </a:cxn>
                <a:cxn ang="0">
                  <a:pos x="97" y="2"/>
                </a:cxn>
                <a:cxn ang="0">
                  <a:pos x="108" y="1"/>
                </a:cxn>
                <a:cxn ang="0">
                  <a:pos x="486" y="0"/>
                </a:cxn>
                <a:cxn ang="0">
                  <a:pos x="140" y="111"/>
                </a:cxn>
                <a:cxn ang="0">
                  <a:pos x="132" y="114"/>
                </a:cxn>
                <a:cxn ang="0">
                  <a:pos x="124" y="118"/>
                </a:cxn>
                <a:cxn ang="0">
                  <a:pos x="119" y="125"/>
                </a:cxn>
                <a:cxn ang="0">
                  <a:pos x="118" y="133"/>
                </a:cxn>
                <a:cxn ang="0">
                  <a:pos x="118" y="327"/>
                </a:cxn>
                <a:cxn ang="0">
                  <a:pos x="121" y="336"/>
                </a:cxn>
                <a:cxn ang="0">
                  <a:pos x="124" y="339"/>
                </a:cxn>
                <a:cxn ang="0">
                  <a:pos x="132" y="344"/>
                </a:cxn>
                <a:cxn ang="0">
                  <a:pos x="140" y="346"/>
                </a:cxn>
                <a:cxn ang="0">
                  <a:pos x="486" y="457"/>
                </a:cxn>
                <a:cxn ang="0">
                  <a:pos x="111" y="457"/>
                </a:cxn>
                <a:cxn ang="0">
                  <a:pos x="88" y="453"/>
                </a:cxn>
                <a:cxn ang="0">
                  <a:pos x="66" y="444"/>
                </a:cxn>
                <a:cxn ang="0">
                  <a:pos x="55" y="438"/>
                </a:cxn>
                <a:cxn ang="0">
                  <a:pos x="41" y="427"/>
                </a:cxn>
                <a:cxn ang="0">
                  <a:pos x="29" y="416"/>
                </a:cxn>
                <a:cxn ang="0">
                  <a:pos x="18" y="402"/>
                </a:cxn>
                <a:cxn ang="0">
                  <a:pos x="10" y="388"/>
                </a:cxn>
                <a:cxn ang="0">
                  <a:pos x="3" y="366"/>
                </a:cxn>
                <a:cxn ang="0">
                  <a:pos x="1" y="343"/>
                </a:cxn>
              </a:cxnLst>
              <a:rect l="0" t="0" r="r" b="b"/>
              <a:pathLst>
                <a:path w="486" h="457">
                  <a:moveTo>
                    <a:pt x="0" y="336"/>
                  </a:moveTo>
                  <a:lnTo>
                    <a:pt x="0" y="116"/>
                  </a:lnTo>
                  <a:lnTo>
                    <a:pt x="1" y="104"/>
                  </a:lnTo>
                  <a:lnTo>
                    <a:pt x="3" y="93"/>
                  </a:lnTo>
                  <a:lnTo>
                    <a:pt x="5" y="82"/>
                  </a:lnTo>
                  <a:lnTo>
                    <a:pt x="10" y="71"/>
                  </a:lnTo>
                  <a:lnTo>
                    <a:pt x="12" y="65"/>
                  </a:lnTo>
                  <a:lnTo>
                    <a:pt x="15" y="61"/>
                  </a:lnTo>
                  <a:lnTo>
                    <a:pt x="21" y="51"/>
                  </a:lnTo>
                  <a:lnTo>
                    <a:pt x="27" y="42"/>
                  </a:lnTo>
                  <a:lnTo>
                    <a:pt x="36" y="34"/>
                  </a:lnTo>
                  <a:lnTo>
                    <a:pt x="45" y="27"/>
                  </a:lnTo>
                  <a:lnTo>
                    <a:pt x="49" y="23"/>
                  </a:lnTo>
                  <a:lnTo>
                    <a:pt x="54" y="20"/>
                  </a:lnTo>
                  <a:lnTo>
                    <a:pt x="59" y="17"/>
                  </a:lnTo>
                  <a:lnTo>
                    <a:pt x="63" y="14"/>
                  </a:lnTo>
                  <a:lnTo>
                    <a:pt x="74" y="9"/>
                  </a:lnTo>
                  <a:lnTo>
                    <a:pt x="85" y="6"/>
                  </a:lnTo>
                  <a:lnTo>
                    <a:pt x="91" y="3"/>
                  </a:lnTo>
                  <a:lnTo>
                    <a:pt x="97" y="2"/>
                  </a:lnTo>
                  <a:lnTo>
                    <a:pt x="103" y="1"/>
                  </a:lnTo>
                  <a:lnTo>
                    <a:pt x="108" y="1"/>
                  </a:lnTo>
                  <a:lnTo>
                    <a:pt x="121" y="0"/>
                  </a:lnTo>
                  <a:lnTo>
                    <a:pt x="486" y="0"/>
                  </a:lnTo>
                  <a:lnTo>
                    <a:pt x="486" y="111"/>
                  </a:lnTo>
                  <a:lnTo>
                    <a:pt x="140" y="111"/>
                  </a:lnTo>
                  <a:lnTo>
                    <a:pt x="135" y="112"/>
                  </a:lnTo>
                  <a:lnTo>
                    <a:pt x="132" y="114"/>
                  </a:lnTo>
                  <a:lnTo>
                    <a:pt x="127" y="116"/>
                  </a:lnTo>
                  <a:lnTo>
                    <a:pt x="124" y="118"/>
                  </a:lnTo>
                  <a:lnTo>
                    <a:pt x="121" y="121"/>
                  </a:lnTo>
                  <a:lnTo>
                    <a:pt x="119" y="125"/>
                  </a:lnTo>
                  <a:lnTo>
                    <a:pt x="118" y="129"/>
                  </a:lnTo>
                  <a:lnTo>
                    <a:pt x="118" y="133"/>
                  </a:lnTo>
                  <a:lnTo>
                    <a:pt x="118" y="323"/>
                  </a:lnTo>
                  <a:lnTo>
                    <a:pt x="118" y="327"/>
                  </a:lnTo>
                  <a:lnTo>
                    <a:pt x="119" y="332"/>
                  </a:lnTo>
                  <a:lnTo>
                    <a:pt x="121" y="336"/>
                  </a:lnTo>
                  <a:lnTo>
                    <a:pt x="122" y="337"/>
                  </a:lnTo>
                  <a:lnTo>
                    <a:pt x="124" y="339"/>
                  </a:lnTo>
                  <a:lnTo>
                    <a:pt x="127" y="341"/>
                  </a:lnTo>
                  <a:lnTo>
                    <a:pt x="132" y="344"/>
                  </a:lnTo>
                  <a:lnTo>
                    <a:pt x="135" y="346"/>
                  </a:lnTo>
                  <a:lnTo>
                    <a:pt x="140" y="346"/>
                  </a:lnTo>
                  <a:lnTo>
                    <a:pt x="486" y="346"/>
                  </a:lnTo>
                  <a:lnTo>
                    <a:pt x="486" y="457"/>
                  </a:lnTo>
                  <a:lnTo>
                    <a:pt x="124" y="457"/>
                  </a:lnTo>
                  <a:lnTo>
                    <a:pt x="111" y="457"/>
                  </a:lnTo>
                  <a:lnTo>
                    <a:pt x="99" y="455"/>
                  </a:lnTo>
                  <a:lnTo>
                    <a:pt x="88" y="453"/>
                  </a:lnTo>
                  <a:lnTo>
                    <a:pt x="76" y="448"/>
                  </a:lnTo>
                  <a:lnTo>
                    <a:pt x="66" y="444"/>
                  </a:lnTo>
                  <a:lnTo>
                    <a:pt x="60" y="440"/>
                  </a:lnTo>
                  <a:lnTo>
                    <a:pt x="55" y="438"/>
                  </a:lnTo>
                  <a:lnTo>
                    <a:pt x="46" y="432"/>
                  </a:lnTo>
                  <a:lnTo>
                    <a:pt x="41" y="427"/>
                  </a:lnTo>
                  <a:lnTo>
                    <a:pt x="37" y="424"/>
                  </a:lnTo>
                  <a:lnTo>
                    <a:pt x="29" y="416"/>
                  </a:lnTo>
                  <a:lnTo>
                    <a:pt x="22" y="407"/>
                  </a:lnTo>
                  <a:lnTo>
                    <a:pt x="18" y="402"/>
                  </a:lnTo>
                  <a:lnTo>
                    <a:pt x="16" y="398"/>
                  </a:lnTo>
                  <a:lnTo>
                    <a:pt x="10" y="388"/>
                  </a:lnTo>
                  <a:lnTo>
                    <a:pt x="7" y="377"/>
                  </a:lnTo>
                  <a:lnTo>
                    <a:pt x="3" y="366"/>
                  </a:lnTo>
                  <a:lnTo>
                    <a:pt x="1" y="355"/>
                  </a:lnTo>
                  <a:lnTo>
                    <a:pt x="1"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3" name="Rectangle 19"/>
            <p:cNvSpPr>
              <a:spLocks noChangeArrowheads="1"/>
            </p:cNvSpPr>
            <p:nvPr userDrawn="1"/>
          </p:nvSpPr>
          <p:spPr bwMode="auto">
            <a:xfrm>
              <a:off x="773"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4" name="Freeform 20"/>
            <p:cNvSpPr>
              <a:spLocks/>
            </p:cNvSpPr>
            <p:nvPr userDrawn="1"/>
          </p:nvSpPr>
          <p:spPr bwMode="auto">
            <a:xfrm>
              <a:off x="629" y="3944"/>
              <a:ext cx="99" cy="76"/>
            </a:xfrm>
            <a:custGeom>
              <a:avLst/>
              <a:gdLst/>
              <a:ahLst/>
              <a:cxnLst>
                <a:cxn ang="0">
                  <a:pos x="117" y="111"/>
                </a:cxn>
                <a:cxn ang="0">
                  <a:pos x="117" y="457"/>
                </a:cxn>
                <a:cxn ang="0">
                  <a:pos x="0" y="457"/>
                </a:cxn>
                <a:cxn ang="0">
                  <a:pos x="0" y="0"/>
                </a:cxn>
                <a:cxn ang="0">
                  <a:pos x="338" y="0"/>
                </a:cxn>
                <a:cxn ang="0">
                  <a:pos x="472" y="0"/>
                </a:cxn>
                <a:cxn ang="0">
                  <a:pos x="485" y="1"/>
                </a:cxn>
                <a:cxn ang="0">
                  <a:pos x="496" y="2"/>
                </a:cxn>
                <a:cxn ang="0">
                  <a:pos x="508" y="6"/>
                </a:cxn>
                <a:cxn ang="0">
                  <a:pos x="519" y="9"/>
                </a:cxn>
                <a:cxn ang="0">
                  <a:pos x="524" y="11"/>
                </a:cxn>
                <a:cxn ang="0">
                  <a:pos x="530" y="14"/>
                </a:cxn>
                <a:cxn ang="0">
                  <a:pos x="539" y="20"/>
                </a:cxn>
                <a:cxn ang="0">
                  <a:pos x="549" y="27"/>
                </a:cxn>
                <a:cxn ang="0">
                  <a:pos x="558" y="34"/>
                </a:cxn>
                <a:cxn ang="0">
                  <a:pos x="566" y="42"/>
                </a:cxn>
                <a:cxn ang="0">
                  <a:pos x="569" y="46"/>
                </a:cxn>
                <a:cxn ang="0">
                  <a:pos x="573" y="51"/>
                </a:cxn>
                <a:cxn ang="0">
                  <a:pos x="575" y="56"/>
                </a:cxn>
                <a:cxn ang="0">
                  <a:pos x="578" y="61"/>
                </a:cxn>
                <a:cxn ang="0">
                  <a:pos x="583" y="71"/>
                </a:cxn>
                <a:cxn ang="0">
                  <a:pos x="588" y="82"/>
                </a:cxn>
                <a:cxn ang="0">
                  <a:pos x="589" y="87"/>
                </a:cxn>
                <a:cxn ang="0">
                  <a:pos x="590" y="93"/>
                </a:cxn>
                <a:cxn ang="0">
                  <a:pos x="591" y="98"/>
                </a:cxn>
                <a:cxn ang="0">
                  <a:pos x="592" y="104"/>
                </a:cxn>
                <a:cxn ang="0">
                  <a:pos x="593" y="116"/>
                </a:cxn>
                <a:cxn ang="0">
                  <a:pos x="593" y="457"/>
                </a:cxn>
                <a:cxn ang="0">
                  <a:pos x="474" y="457"/>
                </a:cxn>
                <a:cxn ang="0">
                  <a:pos x="474" y="133"/>
                </a:cxn>
                <a:cxn ang="0">
                  <a:pos x="473" y="129"/>
                </a:cxn>
                <a:cxn ang="0">
                  <a:pos x="472" y="125"/>
                </a:cxn>
                <a:cxn ang="0">
                  <a:pos x="470" y="121"/>
                </a:cxn>
                <a:cxn ang="0">
                  <a:pos x="467" y="118"/>
                </a:cxn>
                <a:cxn ang="0">
                  <a:pos x="464" y="116"/>
                </a:cxn>
                <a:cxn ang="0">
                  <a:pos x="460" y="114"/>
                </a:cxn>
                <a:cxn ang="0">
                  <a:pos x="456" y="112"/>
                </a:cxn>
                <a:cxn ang="0">
                  <a:pos x="451" y="111"/>
                </a:cxn>
                <a:cxn ang="0">
                  <a:pos x="355" y="111"/>
                </a:cxn>
                <a:cxn ang="0">
                  <a:pos x="355" y="457"/>
                </a:cxn>
                <a:cxn ang="0">
                  <a:pos x="236" y="457"/>
                </a:cxn>
                <a:cxn ang="0">
                  <a:pos x="236" y="111"/>
                </a:cxn>
                <a:cxn ang="0">
                  <a:pos x="117" y="111"/>
                </a:cxn>
              </a:cxnLst>
              <a:rect l="0" t="0" r="r" b="b"/>
              <a:pathLst>
                <a:path w="593" h="457">
                  <a:moveTo>
                    <a:pt x="117" y="111"/>
                  </a:moveTo>
                  <a:lnTo>
                    <a:pt x="117" y="457"/>
                  </a:lnTo>
                  <a:lnTo>
                    <a:pt x="0" y="457"/>
                  </a:lnTo>
                  <a:lnTo>
                    <a:pt x="0" y="0"/>
                  </a:lnTo>
                  <a:lnTo>
                    <a:pt x="338" y="0"/>
                  </a:lnTo>
                  <a:lnTo>
                    <a:pt x="472" y="0"/>
                  </a:lnTo>
                  <a:lnTo>
                    <a:pt x="485" y="1"/>
                  </a:lnTo>
                  <a:lnTo>
                    <a:pt x="496" y="2"/>
                  </a:lnTo>
                  <a:lnTo>
                    <a:pt x="508" y="6"/>
                  </a:lnTo>
                  <a:lnTo>
                    <a:pt x="519" y="9"/>
                  </a:lnTo>
                  <a:lnTo>
                    <a:pt x="524" y="11"/>
                  </a:lnTo>
                  <a:lnTo>
                    <a:pt x="530" y="14"/>
                  </a:lnTo>
                  <a:lnTo>
                    <a:pt x="539" y="20"/>
                  </a:lnTo>
                  <a:lnTo>
                    <a:pt x="549" y="27"/>
                  </a:lnTo>
                  <a:lnTo>
                    <a:pt x="558" y="34"/>
                  </a:lnTo>
                  <a:lnTo>
                    <a:pt x="566" y="42"/>
                  </a:lnTo>
                  <a:lnTo>
                    <a:pt x="569" y="46"/>
                  </a:lnTo>
                  <a:lnTo>
                    <a:pt x="573" y="51"/>
                  </a:lnTo>
                  <a:lnTo>
                    <a:pt x="575" y="56"/>
                  </a:lnTo>
                  <a:lnTo>
                    <a:pt x="578" y="61"/>
                  </a:lnTo>
                  <a:lnTo>
                    <a:pt x="583" y="71"/>
                  </a:lnTo>
                  <a:lnTo>
                    <a:pt x="588" y="82"/>
                  </a:lnTo>
                  <a:lnTo>
                    <a:pt x="589" y="87"/>
                  </a:lnTo>
                  <a:lnTo>
                    <a:pt x="590" y="93"/>
                  </a:lnTo>
                  <a:lnTo>
                    <a:pt x="591" y="98"/>
                  </a:lnTo>
                  <a:lnTo>
                    <a:pt x="592" y="104"/>
                  </a:lnTo>
                  <a:lnTo>
                    <a:pt x="593" y="116"/>
                  </a:lnTo>
                  <a:lnTo>
                    <a:pt x="593" y="457"/>
                  </a:lnTo>
                  <a:lnTo>
                    <a:pt x="474" y="457"/>
                  </a:lnTo>
                  <a:lnTo>
                    <a:pt x="474" y="133"/>
                  </a:lnTo>
                  <a:lnTo>
                    <a:pt x="473" y="129"/>
                  </a:lnTo>
                  <a:lnTo>
                    <a:pt x="472" y="125"/>
                  </a:lnTo>
                  <a:lnTo>
                    <a:pt x="470" y="121"/>
                  </a:lnTo>
                  <a:lnTo>
                    <a:pt x="467" y="118"/>
                  </a:lnTo>
                  <a:lnTo>
                    <a:pt x="464" y="116"/>
                  </a:lnTo>
                  <a:lnTo>
                    <a:pt x="460" y="114"/>
                  </a:lnTo>
                  <a:lnTo>
                    <a:pt x="456" y="112"/>
                  </a:lnTo>
                  <a:lnTo>
                    <a:pt x="451" y="111"/>
                  </a:lnTo>
                  <a:lnTo>
                    <a:pt x="355" y="111"/>
                  </a:lnTo>
                  <a:lnTo>
                    <a:pt x="355" y="457"/>
                  </a:lnTo>
                  <a:lnTo>
                    <a:pt x="236" y="457"/>
                  </a:lnTo>
                  <a:lnTo>
                    <a:pt x="236" y="111"/>
                  </a:lnTo>
                  <a:lnTo>
                    <a:pt x="117"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5" name="Freeform 21"/>
            <p:cNvSpPr>
              <a:spLocks/>
            </p:cNvSpPr>
            <p:nvPr userDrawn="1"/>
          </p:nvSpPr>
          <p:spPr bwMode="auto">
            <a:xfrm>
              <a:off x="827" y="3944"/>
              <a:ext cx="92" cy="76"/>
            </a:xfrm>
            <a:custGeom>
              <a:avLst/>
              <a:gdLst/>
              <a:ahLst/>
              <a:cxnLst>
                <a:cxn ang="0">
                  <a:pos x="278" y="296"/>
                </a:cxn>
                <a:cxn ang="0">
                  <a:pos x="122" y="389"/>
                </a:cxn>
                <a:cxn ang="0">
                  <a:pos x="122" y="457"/>
                </a:cxn>
                <a:cxn ang="0">
                  <a:pos x="0" y="457"/>
                </a:cxn>
                <a:cxn ang="0">
                  <a:pos x="0" y="361"/>
                </a:cxn>
                <a:cxn ang="0">
                  <a:pos x="1" y="355"/>
                </a:cxn>
                <a:cxn ang="0">
                  <a:pos x="3" y="348"/>
                </a:cxn>
                <a:cxn ang="0">
                  <a:pos x="6" y="341"/>
                </a:cxn>
                <a:cxn ang="0">
                  <a:pos x="9" y="335"/>
                </a:cxn>
                <a:cxn ang="0">
                  <a:pos x="13" y="329"/>
                </a:cxn>
                <a:cxn ang="0">
                  <a:pos x="17" y="324"/>
                </a:cxn>
                <a:cxn ang="0">
                  <a:pos x="23" y="318"/>
                </a:cxn>
                <a:cxn ang="0">
                  <a:pos x="27" y="317"/>
                </a:cxn>
                <a:cxn ang="0">
                  <a:pos x="30" y="315"/>
                </a:cxn>
                <a:cxn ang="0">
                  <a:pos x="176" y="229"/>
                </a:cxn>
                <a:cxn ang="0">
                  <a:pos x="30" y="143"/>
                </a:cxn>
                <a:cxn ang="0">
                  <a:pos x="23" y="139"/>
                </a:cxn>
                <a:cxn ang="0">
                  <a:pos x="21" y="137"/>
                </a:cxn>
                <a:cxn ang="0">
                  <a:pos x="17" y="133"/>
                </a:cxn>
                <a:cxn ang="0">
                  <a:pos x="13" y="129"/>
                </a:cxn>
                <a:cxn ang="0">
                  <a:pos x="9" y="122"/>
                </a:cxn>
                <a:cxn ang="0">
                  <a:pos x="6" y="117"/>
                </a:cxn>
                <a:cxn ang="0">
                  <a:pos x="3" y="110"/>
                </a:cxn>
                <a:cxn ang="0">
                  <a:pos x="1" y="104"/>
                </a:cxn>
                <a:cxn ang="0">
                  <a:pos x="0" y="96"/>
                </a:cxn>
                <a:cxn ang="0">
                  <a:pos x="0" y="0"/>
                </a:cxn>
                <a:cxn ang="0">
                  <a:pos x="122" y="0"/>
                </a:cxn>
                <a:cxn ang="0">
                  <a:pos x="122" y="68"/>
                </a:cxn>
                <a:cxn ang="0">
                  <a:pos x="278" y="162"/>
                </a:cxn>
                <a:cxn ang="0">
                  <a:pos x="434" y="68"/>
                </a:cxn>
                <a:cxn ang="0">
                  <a:pos x="434" y="0"/>
                </a:cxn>
                <a:cxn ang="0">
                  <a:pos x="556" y="0"/>
                </a:cxn>
                <a:cxn ang="0">
                  <a:pos x="556" y="96"/>
                </a:cxn>
                <a:cxn ang="0">
                  <a:pos x="554" y="104"/>
                </a:cxn>
                <a:cxn ang="0">
                  <a:pos x="552" y="110"/>
                </a:cxn>
                <a:cxn ang="0">
                  <a:pos x="550" y="117"/>
                </a:cxn>
                <a:cxn ang="0">
                  <a:pos x="546" y="122"/>
                </a:cxn>
                <a:cxn ang="0">
                  <a:pos x="543" y="129"/>
                </a:cxn>
                <a:cxn ang="0">
                  <a:pos x="538" y="133"/>
                </a:cxn>
                <a:cxn ang="0">
                  <a:pos x="532" y="139"/>
                </a:cxn>
                <a:cxn ang="0">
                  <a:pos x="529" y="141"/>
                </a:cxn>
                <a:cxn ang="0">
                  <a:pos x="525" y="143"/>
                </a:cxn>
                <a:cxn ang="0">
                  <a:pos x="383" y="228"/>
                </a:cxn>
                <a:cxn ang="0">
                  <a:pos x="525" y="315"/>
                </a:cxn>
                <a:cxn ang="0">
                  <a:pos x="532" y="318"/>
                </a:cxn>
                <a:cxn ang="0">
                  <a:pos x="535" y="322"/>
                </a:cxn>
                <a:cxn ang="0">
                  <a:pos x="538" y="324"/>
                </a:cxn>
                <a:cxn ang="0">
                  <a:pos x="543" y="329"/>
                </a:cxn>
                <a:cxn ang="0">
                  <a:pos x="546" y="335"/>
                </a:cxn>
                <a:cxn ang="0">
                  <a:pos x="550" y="341"/>
                </a:cxn>
                <a:cxn ang="0">
                  <a:pos x="552" y="348"/>
                </a:cxn>
                <a:cxn ang="0">
                  <a:pos x="554" y="355"/>
                </a:cxn>
                <a:cxn ang="0">
                  <a:pos x="556" y="361"/>
                </a:cxn>
                <a:cxn ang="0">
                  <a:pos x="556" y="457"/>
                </a:cxn>
                <a:cxn ang="0">
                  <a:pos x="434" y="457"/>
                </a:cxn>
                <a:cxn ang="0">
                  <a:pos x="434" y="389"/>
                </a:cxn>
                <a:cxn ang="0">
                  <a:pos x="278" y="296"/>
                </a:cxn>
              </a:cxnLst>
              <a:rect l="0" t="0" r="r" b="b"/>
              <a:pathLst>
                <a:path w="556" h="457">
                  <a:moveTo>
                    <a:pt x="278" y="296"/>
                  </a:moveTo>
                  <a:lnTo>
                    <a:pt x="122" y="389"/>
                  </a:lnTo>
                  <a:lnTo>
                    <a:pt x="122" y="457"/>
                  </a:lnTo>
                  <a:lnTo>
                    <a:pt x="0" y="457"/>
                  </a:lnTo>
                  <a:lnTo>
                    <a:pt x="0" y="361"/>
                  </a:lnTo>
                  <a:lnTo>
                    <a:pt x="1" y="355"/>
                  </a:lnTo>
                  <a:lnTo>
                    <a:pt x="3" y="348"/>
                  </a:lnTo>
                  <a:lnTo>
                    <a:pt x="6" y="341"/>
                  </a:lnTo>
                  <a:lnTo>
                    <a:pt x="9" y="335"/>
                  </a:lnTo>
                  <a:lnTo>
                    <a:pt x="13" y="329"/>
                  </a:lnTo>
                  <a:lnTo>
                    <a:pt x="17" y="324"/>
                  </a:lnTo>
                  <a:lnTo>
                    <a:pt x="23" y="318"/>
                  </a:lnTo>
                  <a:lnTo>
                    <a:pt x="27" y="317"/>
                  </a:lnTo>
                  <a:lnTo>
                    <a:pt x="30" y="315"/>
                  </a:lnTo>
                  <a:lnTo>
                    <a:pt x="176" y="229"/>
                  </a:lnTo>
                  <a:lnTo>
                    <a:pt x="30" y="143"/>
                  </a:lnTo>
                  <a:lnTo>
                    <a:pt x="23" y="139"/>
                  </a:lnTo>
                  <a:lnTo>
                    <a:pt x="21" y="137"/>
                  </a:lnTo>
                  <a:lnTo>
                    <a:pt x="17" y="133"/>
                  </a:lnTo>
                  <a:lnTo>
                    <a:pt x="13" y="129"/>
                  </a:lnTo>
                  <a:lnTo>
                    <a:pt x="9" y="122"/>
                  </a:lnTo>
                  <a:lnTo>
                    <a:pt x="6" y="117"/>
                  </a:lnTo>
                  <a:lnTo>
                    <a:pt x="3" y="110"/>
                  </a:lnTo>
                  <a:lnTo>
                    <a:pt x="1" y="104"/>
                  </a:lnTo>
                  <a:lnTo>
                    <a:pt x="0" y="96"/>
                  </a:lnTo>
                  <a:lnTo>
                    <a:pt x="0" y="0"/>
                  </a:lnTo>
                  <a:lnTo>
                    <a:pt x="122" y="0"/>
                  </a:lnTo>
                  <a:lnTo>
                    <a:pt x="122" y="68"/>
                  </a:lnTo>
                  <a:lnTo>
                    <a:pt x="278" y="162"/>
                  </a:lnTo>
                  <a:lnTo>
                    <a:pt x="434" y="68"/>
                  </a:lnTo>
                  <a:lnTo>
                    <a:pt x="434" y="0"/>
                  </a:lnTo>
                  <a:lnTo>
                    <a:pt x="556" y="0"/>
                  </a:lnTo>
                  <a:lnTo>
                    <a:pt x="556" y="96"/>
                  </a:lnTo>
                  <a:lnTo>
                    <a:pt x="554" y="104"/>
                  </a:lnTo>
                  <a:lnTo>
                    <a:pt x="552" y="110"/>
                  </a:lnTo>
                  <a:lnTo>
                    <a:pt x="550" y="117"/>
                  </a:lnTo>
                  <a:lnTo>
                    <a:pt x="546" y="122"/>
                  </a:lnTo>
                  <a:lnTo>
                    <a:pt x="543" y="129"/>
                  </a:lnTo>
                  <a:lnTo>
                    <a:pt x="538" y="133"/>
                  </a:lnTo>
                  <a:lnTo>
                    <a:pt x="532" y="139"/>
                  </a:lnTo>
                  <a:lnTo>
                    <a:pt x="529" y="141"/>
                  </a:lnTo>
                  <a:lnTo>
                    <a:pt x="525" y="143"/>
                  </a:lnTo>
                  <a:lnTo>
                    <a:pt x="383" y="228"/>
                  </a:lnTo>
                  <a:lnTo>
                    <a:pt x="525" y="315"/>
                  </a:lnTo>
                  <a:lnTo>
                    <a:pt x="532" y="318"/>
                  </a:lnTo>
                  <a:lnTo>
                    <a:pt x="535" y="322"/>
                  </a:lnTo>
                  <a:lnTo>
                    <a:pt x="538" y="324"/>
                  </a:lnTo>
                  <a:lnTo>
                    <a:pt x="543" y="329"/>
                  </a:lnTo>
                  <a:lnTo>
                    <a:pt x="546" y="335"/>
                  </a:lnTo>
                  <a:lnTo>
                    <a:pt x="550" y="341"/>
                  </a:lnTo>
                  <a:lnTo>
                    <a:pt x="552" y="348"/>
                  </a:lnTo>
                  <a:lnTo>
                    <a:pt x="554" y="355"/>
                  </a:lnTo>
                  <a:lnTo>
                    <a:pt x="556" y="361"/>
                  </a:lnTo>
                  <a:lnTo>
                    <a:pt x="556" y="457"/>
                  </a:lnTo>
                  <a:lnTo>
                    <a:pt x="434" y="457"/>
                  </a:lnTo>
                  <a:lnTo>
                    <a:pt x="434" y="389"/>
                  </a:lnTo>
                  <a:lnTo>
                    <a:pt x="278" y="2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nvGrpSpPr>
          <p:cNvPr id="3" name="94 Grupo"/>
          <p:cNvGrpSpPr/>
          <p:nvPr userDrawn="1"/>
        </p:nvGrpSpPr>
        <p:grpSpPr>
          <a:xfrm>
            <a:off x="6294710" y="5733256"/>
            <a:ext cx="2453754" cy="601982"/>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9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6" name="Group 5"/>
            <p:cNvGrpSpPr>
              <a:grpSpLocks noChangeAspect="1"/>
            </p:cNvGrpSpPr>
            <p:nvPr userDrawn="1"/>
          </p:nvGrpSpPr>
          <p:grpSpPr bwMode="auto">
            <a:xfrm>
              <a:off x="6300192" y="2768810"/>
              <a:ext cx="791493" cy="248083"/>
              <a:chOff x="1066" y="543"/>
              <a:chExt cx="2262" cy="709"/>
            </a:xfrm>
            <a:grpFill/>
          </p:grpSpPr>
          <p:sp>
            <p:nvSpPr>
              <p:cNvPr id="92"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3"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4"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sp>
        <p:nvSpPr>
          <p:cNvPr id="55" name="Title 54"/>
          <p:cNvSpPr>
            <a:spLocks noGrp="1"/>
          </p:cNvSpPr>
          <p:nvPr>
            <p:ph type="title"/>
          </p:nvPr>
        </p:nvSpPr>
        <p:spPr>
          <a:xfrm>
            <a:off x="304800" y="5257800"/>
            <a:ext cx="5760000" cy="320040"/>
          </a:xfrm>
        </p:spPr>
        <p:txBody>
          <a:bodyPr wrap="none" tIns="0" bIns="0"/>
          <a:lstStyle>
            <a:lvl1pPr>
              <a:lnSpc>
                <a:spcPct val="100000"/>
              </a:lnSpc>
              <a:defRPr sz="2800">
                <a:solidFill>
                  <a:srgbClr val="FFFFFF"/>
                </a:solidFill>
              </a:defRPr>
            </a:lvl1pPr>
          </a:lstStyle>
          <a:p>
            <a:r>
              <a:rPr lang="en-US" dirty="0" smtClean="0"/>
              <a:t>Click to edit Master title style</a:t>
            </a:r>
            <a:endParaRPr lang="en-US" dirty="0"/>
          </a:p>
        </p:txBody>
      </p:sp>
      <p:sp>
        <p:nvSpPr>
          <p:cNvPr id="61" name="Subtitle 2"/>
          <p:cNvSpPr>
            <a:spLocks noGrp="1"/>
          </p:cNvSpPr>
          <p:nvPr>
            <p:ph type="subTitle" idx="1"/>
          </p:nvPr>
        </p:nvSpPr>
        <p:spPr>
          <a:xfrm>
            <a:off x="304800" y="5605290"/>
            <a:ext cx="5760000" cy="274320"/>
          </a:xfrm>
          <a:prstGeom prst="rect">
            <a:avLst/>
          </a:prstGeom>
        </p:spPr>
        <p:txBody>
          <a:bodyPr wrap="none" tIns="0" bIns="0" anchor="ctr">
            <a:noAutofit/>
          </a:bodyPr>
          <a:lstStyle>
            <a:lvl1pPr marL="0" indent="0" algn="l">
              <a:spcBef>
                <a:spcPts val="0"/>
              </a:spcBef>
              <a:buNone/>
              <a:defRPr lang="en-US" sz="2400" b="1" u="none" kern="1200" dirty="0">
                <a:solidFill>
                  <a:schemeClr val="bg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34818"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9688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35842"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0608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36866" name="think-cell Slide" r:id="rId3" imgW="270" imgH="270" progId="">
              <p:embed/>
            </p:oleObj>
          </a:graphicData>
        </a:graphic>
      </p:graphicFrame>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37890"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304800"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lick to edit Master text styles</a:t>
            </a:r>
          </a:p>
        </p:txBody>
      </p:sp>
      <p:sp>
        <p:nvSpPr>
          <p:cNvPr id="5" name="Text Placeholder 5"/>
          <p:cNvSpPr>
            <a:spLocks noGrp="1"/>
          </p:cNvSpPr>
          <p:nvPr>
            <p:ph type="body" sz="quarter" idx="12"/>
          </p:nvPr>
        </p:nvSpPr>
        <p:spPr>
          <a:xfrm>
            <a:off x="304801"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3" name="Text Placeholder 3"/>
          <p:cNvSpPr>
            <a:spLocks noGrp="1"/>
          </p:cNvSpPr>
          <p:nvPr>
            <p:ph type="body" sz="quarter" idx="13"/>
          </p:nvPr>
        </p:nvSpPr>
        <p:spPr>
          <a:xfrm>
            <a:off x="4876801"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ext styles</a:t>
            </a:r>
          </a:p>
        </p:txBody>
      </p:sp>
      <p:sp>
        <p:nvSpPr>
          <p:cNvPr id="14" name="Text Placeholder 5"/>
          <p:cNvSpPr>
            <a:spLocks noGrp="1"/>
          </p:cNvSpPr>
          <p:nvPr>
            <p:ph type="body" sz="quarter" idx="14"/>
          </p:nvPr>
        </p:nvSpPr>
        <p:spPr>
          <a:xfrm>
            <a:off x="4876802"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38914"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9" name="Text Placeholder 18"/>
          <p:cNvSpPr>
            <a:spLocks noGrp="1"/>
          </p:cNvSpPr>
          <p:nvPr>
            <p:ph type="body" sz="quarter" idx="11"/>
          </p:nvPr>
        </p:nvSpPr>
        <p:spPr>
          <a:xfrm>
            <a:off x="762000" y="2971800"/>
            <a:ext cx="7620000" cy="685800"/>
          </a:xfrm>
        </p:spPr>
        <p:txBody>
          <a:bodyPr anchor="ctr" anchorCtr="1">
            <a:normAutofit/>
          </a:bodyPr>
          <a:lstStyle>
            <a:lvl1pPr algn="ctr">
              <a:defRPr sz="2800"/>
            </a:lvl1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39938"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68314" y="1268415"/>
            <a:ext cx="4027487" cy="4968875"/>
          </a:xfrm>
        </p:spPr>
        <p:txBody>
          <a:bodyPr/>
          <a:lstStyle>
            <a:lvl1pPr>
              <a:defRPr sz="2667"/>
            </a:lvl1pPr>
            <a:lvl2pPr>
              <a:defRPr sz="2286"/>
            </a:lvl2pPr>
            <a:lvl3pPr>
              <a:defRPr sz="1905"/>
            </a:lvl3pPr>
            <a:lvl4pPr>
              <a:defRPr sz="1714"/>
            </a:lvl4pPr>
            <a:lvl5pPr>
              <a:defRPr sz="1714"/>
            </a:lvl5pPr>
            <a:lvl6pPr>
              <a:defRPr sz="1714"/>
            </a:lvl6pPr>
            <a:lvl7pPr>
              <a:defRPr sz="1714"/>
            </a:lvl7pPr>
            <a:lvl8pPr>
              <a:defRPr sz="1714"/>
            </a:lvl8pPr>
            <a:lvl9pPr>
              <a:defRPr sz="171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68415"/>
            <a:ext cx="4027488" cy="4968875"/>
          </a:xfrm>
        </p:spPr>
        <p:txBody>
          <a:bodyPr/>
          <a:lstStyle>
            <a:lvl1pPr>
              <a:defRPr sz="2667"/>
            </a:lvl1pPr>
            <a:lvl2pPr>
              <a:defRPr sz="2286"/>
            </a:lvl2pPr>
            <a:lvl3pPr>
              <a:defRPr sz="1905"/>
            </a:lvl3pPr>
            <a:lvl4pPr>
              <a:defRPr sz="1714"/>
            </a:lvl4pPr>
            <a:lvl5pPr>
              <a:defRPr sz="1714"/>
            </a:lvl5pPr>
            <a:lvl6pPr>
              <a:defRPr sz="1714"/>
            </a:lvl6pPr>
            <a:lvl7pPr>
              <a:defRPr sz="1714"/>
            </a:lvl7pPr>
            <a:lvl8pPr>
              <a:defRPr sz="1714"/>
            </a:lvl8pPr>
            <a:lvl9pPr>
              <a:defRPr sz="171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 xmlns:p14="http://schemas.microsoft.com/office/powerpoint/2010/main" val="2715284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Graph title">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40962" name="think-cell Slide" r:id="rId3" imgW="270" imgH="270" progId="">
              <p:embed/>
            </p:oleObj>
          </a:graphicData>
        </a:graphic>
      </p:graphicFrame>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41986" name="think-cell Slide" r:id="rId3" imgW="270" imgH="270" progId="">
              <p:embed/>
            </p:oleObj>
          </a:graphicData>
        </a:graphic>
      </p:graphicFrame>
      <p:sp>
        <p:nvSpPr>
          <p:cNvPr id="5" name="Text Placeholder 4"/>
          <p:cNvSpPr>
            <a:spLocks noGrp="1"/>
          </p:cNvSpPr>
          <p:nvPr>
            <p:ph type="body" sz="quarter" idx="11"/>
          </p:nvPr>
        </p:nvSpPr>
        <p:spPr>
          <a:xfrm>
            <a:off x="323850" y="1447800"/>
            <a:ext cx="8496300" cy="4718050"/>
          </a:xfrm>
          <a:prstGeom prst="rect">
            <a:avLst/>
          </a:prstGeom>
        </p:spPr>
        <p:txBody>
          <a:bodyPr/>
          <a:lstStyle>
            <a:lvl1pPr>
              <a:spcBef>
                <a:spcPts val="900"/>
              </a:spcBef>
              <a:buFont typeface="Arial" pitchFamily="34" charset="0"/>
              <a:buNone/>
              <a:defRPr/>
            </a:lvl1pPr>
            <a:lvl2pPr marL="346075" indent="12700">
              <a:spcBef>
                <a:spcPts val="900"/>
              </a:spcBef>
              <a:buNone/>
              <a:defRPr/>
            </a:lvl2pPr>
            <a:lvl3pPr marL="631825" indent="-273050">
              <a:spcBef>
                <a:spcPts val="900"/>
              </a:spcBef>
              <a:defRPr/>
            </a:lvl3pPr>
            <a:lvl4pPr>
              <a:spcBef>
                <a:spcPts val="900"/>
              </a:spcBef>
              <a:defRPr/>
            </a:lvl4pPr>
            <a:lvl5pPr>
              <a:spcBef>
                <a:spcPts val="9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lide Number Placeholder 9"/>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78" name="Title 1"/>
          <p:cNvSpPr>
            <a:spLocks noGrp="1"/>
          </p:cNvSpPr>
          <p:nvPr>
            <p:ph type="title"/>
          </p:nvPr>
        </p:nvSpPr>
        <p:spPr>
          <a:xfrm>
            <a:off x="107504" y="346646"/>
            <a:ext cx="5760640" cy="562074"/>
          </a:xfrm>
        </p:spPr>
        <p:txBody>
          <a:bodyPr anchor="ctr"/>
          <a:lstStyle>
            <a:lvl1pPr>
              <a:lnSpc>
                <a:spcPct val="100000"/>
              </a:lnSpc>
              <a:defRPr sz="2400"/>
            </a:lvl1pPr>
          </a:lstStyle>
          <a:p>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000000"/>
        </a:solidFill>
        <a:effectLst/>
      </p:bgPr>
    </p:bg>
    <p:spTree>
      <p:nvGrpSpPr>
        <p:cNvPr id="1" name=""/>
        <p:cNvGrpSpPr/>
        <p:nvPr/>
      </p:nvGrpSpPr>
      <p:grpSpPr>
        <a:xfrm>
          <a:off x="0" y="0"/>
          <a:ext cx="0" cy="0"/>
          <a:chOff x="0" y="0"/>
          <a:chExt cx="0" cy="0"/>
        </a:xfrm>
      </p:grpSpPr>
      <p:grpSp>
        <p:nvGrpSpPr>
          <p:cNvPr id="2" name="Group 40"/>
          <p:cNvGrpSpPr/>
          <p:nvPr userDrawn="1"/>
        </p:nvGrpSpPr>
        <p:grpSpPr>
          <a:xfrm>
            <a:off x="7020272" y="6273680"/>
            <a:ext cx="1761084" cy="432048"/>
            <a:chOff x="7020272" y="332656"/>
            <a:chExt cx="1761084" cy="432048"/>
          </a:xfrm>
        </p:grpSpPr>
        <p:grpSp>
          <p:nvGrpSpPr>
            <p:cNvPr id="3" name="51 Grupo"/>
            <p:cNvGrpSpPr/>
            <p:nvPr userDrawn="1"/>
          </p:nvGrpSpPr>
          <p:grpSpPr>
            <a:xfrm>
              <a:off x="7020272" y="341571"/>
              <a:ext cx="1761084" cy="423133"/>
              <a:chOff x="4860032" y="2780928"/>
              <a:chExt cx="2393756" cy="575145"/>
            </a:xfrm>
            <a:solidFill>
              <a:srgbClr val="FFFFFF"/>
            </a:solidFill>
          </p:grpSpPr>
          <p:grpSp>
            <p:nvGrpSpPr>
              <p:cNvPr id="4" name="65 Grupo"/>
              <p:cNvGrpSpPr/>
              <p:nvPr userDrawn="1"/>
            </p:nvGrpSpPr>
            <p:grpSpPr>
              <a:xfrm>
                <a:off x="5039214" y="2780928"/>
                <a:ext cx="1204546" cy="230882"/>
                <a:chOff x="6227763" y="5518150"/>
                <a:chExt cx="1449387" cy="277812"/>
              </a:xfrm>
              <a:grpFill/>
            </p:grpSpPr>
            <p:sp>
              <p:nvSpPr>
                <p:cNvPr id="7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4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109 Rectángulo"/>
              <p:cNvSpPr/>
              <p:nvPr userDrawn="1"/>
            </p:nvSpPr>
            <p:spPr bwMode="auto">
              <a:xfrm>
                <a:off x="4860032" y="3079385"/>
                <a:ext cx="2393756" cy="37996"/>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5" name="Group 5"/>
            <p:cNvGrpSpPr>
              <a:grpSpLocks noChangeAspect="1"/>
            </p:cNvGrpSpPr>
            <p:nvPr userDrawn="1"/>
          </p:nvGrpSpPr>
          <p:grpSpPr bwMode="auto">
            <a:xfrm>
              <a:off x="8079796" y="332656"/>
              <a:ext cx="582301" cy="182514"/>
              <a:chOff x="1066" y="543"/>
              <a:chExt cx="2262" cy="709"/>
            </a:xfrm>
            <a:solidFill>
              <a:srgbClr val="FFFFFF"/>
            </a:solidFill>
          </p:grpSpPr>
          <p:sp>
            <p:nvSpPr>
              <p:cNvPr id="44"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5"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6"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pic>
        <p:nvPicPr>
          <p:cNvPr id="77" name="Picture 3"/>
          <p:cNvPicPr>
            <a:picLocks noChangeAspect="1" noChangeArrowheads="1"/>
          </p:cNvPicPr>
          <p:nvPr userDrawn="1"/>
        </p:nvPicPr>
        <p:blipFill>
          <a:blip r:embed="rId2" cstate="screen"/>
          <a:srcRect/>
          <a:stretch>
            <a:fillRect/>
          </a:stretch>
        </p:blipFill>
        <p:spPr bwMode="auto">
          <a:xfrm>
            <a:off x="395536" y="6345688"/>
            <a:ext cx="1137016" cy="288032"/>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nvGraphicFramePr>
        <p:xfrm>
          <a:off x="1587" y="1588"/>
          <a:ext cx="1587" cy="1587"/>
        </p:xfrm>
        <a:graphic>
          <a:graphicData uri="http://schemas.openxmlformats.org/presentationml/2006/ole">
            <p:oleObj spid="_x0000_s44034" name="think-cell Slide" r:id="rId3" imgW="270" imgH="270" progId="">
              <p:embed/>
            </p:oleObj>
          </a:graphicData>
        </a:graphic>
      </p:graphicFrame>
      <p:sp>
        <p:nvSpPr>
          <p:cNvPr id="53" name="52 Rectángulo"/>
          <p:cNvSpPr/>
          <p:nvPr userDrawn="1"/>
        </p:nvSpPr>
        <p:spPr bwMode="auto">
          <a:xfrm>
            <a:off x="0" y="5238000"/>
            <a:ext cx="9144000" cy="16200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sz="2000" b="1" u="sng" smtClean="0">
              <a:solidFill>
                <a:srgbClr val="000000"/>
              </a:solidFill>
              <a:latin typeface="Arial" charset="0"/>
              <a:cs typeface="Arial" charset="0"/>
            </a:endParaRPr>
          </a:p>
        </p:txBody>
      </p:sp>
      <p:pic>
        <p:nvPicPr>
          <p:cNvPr id="54" name="Picture 3"/>
          <p:cNvPicPr>
            <a:picLocks noChangeAspect="1" noChangeArrowheads="1"/>
          </p:cNvPicPr>
          <p:nvPr userDrawn="1"/>
        </p:nvPicPr>
        <p:blipFill>
          <a:blip r:embed="rId4" cstate="screen"/>
          <a:srcRect/>
          <a:stretch>
            <a:fillRect/>
          </a:stretch>
        </p:blipFill>
        <p:spPr bwMode="auto">
          <a:xfrm>
            <a:off x="395536" y="6381328"/>
            <a:ext cx="1137016" cy="288032"/>
          </a:xfrm>
          <a:prstGeom prst="rect">
            <a:avLst/>
          </a:prstGeom>
          <a:noFill/>
          <a:ln w="9525">
            <a:noFill/>
            <a:miter lim="800000"/>
            <a:headEnd/>
            <a:tailEnd/>
          </a:ln>
        </p:spPr>
      </p:pic>
      <p:sp>
        <p:nvSpPr>
          <p:cNvPr id="56" name="Freeform 12"/>
          <p:cNvSpPr>
            <a:spLocks/>
          </p:cNvSpPr>
          <p:nvPr userDrawn="1"/>
        </p:nvSpPr>
        <p:spPr bwMode="auto">
          <a:xfrm>
            <a:off x="0" y="5915506"/>
            <a:ext cx="6156176" cy="942494"/>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19"/>
          <p:cNvSpPr>
            <a:spLocks/>
          </p:cNvSpPr>
          <p:nvPr userDrawn="1"/>
        </p:nvSpPr>
        <p:spPr bwMode="auto">
          <a:xfrm>
            <a:off x="0" y="6311900"/>
            <a:ext cx="14288" cy="14288"/>
          </a:xfrm>
          <a:custGeom>
            <a:avLst/>
            <a:gdLst/>
            <a:ahLst/>
            <a:cxnLst>
              <a:cxn ang="0">
                <a:pos x="18" y="34"/>
              </a:cxn>
              <a:cxn ang="0">
                <a:pos x="0" y="34"/>
              </a:cxn>
              <a:cxn ang="0">
                <a:pos x="0" y="16"/>
              </a:cxn>
              <a:cxn ang="0">
                <a:pos x="34" y="16"/>
              </a:cxn>
              <a:cxn ang="0">
                <a:pos x="18" y="0"/>
              </a:cxn>
              <a:cxn ang="0">
                <a:pos x="18" y="34"/>
              </a:cxn>
            </a:cxnLst>
            <a:rect l="0" t="0" r="r" b="b"/>
            <a:pathLst>
              <a:path w="34" h="34">
                <a:moveTo>
                  <a:pt x="18" y="34"/>
                </a:moveTo>
                <a:lnTo>
                  <a:pt x="0" y="34"/>
                </a:lnTo>
                <a:lnTo>
                  <a:pt x="0" y="16"/>
                </a:lnTo>
                <a:lnTo>
                  <a:pt x="34" y="16"/>
                </a:lnTo>
                <a:lnTo>
                  <a:pt x="18" y="0"/>
                </a:lnTo>
                <a:lnTo>
                  <a:pt x="18" y="34"/>
                </a:lnTo>
                <a:close/>
              </a:path>
            </a:pathLst>
          </a:custGeom>
          <a:solidFill>
            <a:srgbClr val="5177B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49 Rectángulo"/>
          <p:cNvSpPr/>
          <p:nvPr userDrawn="1"/>
        </p:nvSpPr>
        <p:spPr bwMode="auto">
          <a:xfrm flipV="1">
            <a:off x="0" y="6669360"/>
            <a:ext cx="9143999" cy="188640"/>
          </a:xfrm>
          <a:prstGeom prst="rect">
            <a:avLst/>
          </a:prstGeom>
          <a:solidFill>
            <a:srgbClr val="061F5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96" name="95 Rectángulo"/>
          <p:cNvSpPr/>
          <p:nvPr userDrawn="1"/>
        </p:nvSpPr>
        <p:spPr bwMode="auto">
          <a:xfrm>
            <a:off x="0" y="5190932"/>
            <a:ext cx="9144000" cy="45719"/>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2" name="Group 12"/>
          <p:cNvGrpSpPr>
            <a:grpSpLocks noChangeAspect="1"/>
          </p:cNvGrpSpPr>
          <p:nvPr userDrawn="1"/>
        </p:nvGrpSpPr>
        <p:grpSpPr bwMode="auto">
          <a:xfrm>
            <a:off x="323850" y="6162823"/>
            <a:ext cx="1135063" cy="290513"/>
            <a:chOff x="204" y="3837"/>
            <a:chExt cx="715" cy="183"/>
          </a:xfrm>
          <a:solidFill>
            <a:schemeClr val="bg1"/>
          </a:solidFill>
        </p:grpSpPr>
        <p:sp>
          <p:nvSpPr>
            <p:cNvPr id="1037" name="Freeform 13"/>
            <p:cNvSpPr>
              <a:spLocks/>
            </p:cNvSpPr>
            <p:nvPr userDrawn="1"/>
          </p:nvSpPr>
          <p:spPr bwMode="auto">
            <a:xfrm>
              <a:off x="204" y="3837"/>
              <a:ext cx="232" cy="183"/>
            </a:xfrm>
            <a:custGeom>
              <a:avLst/>
              <a:gdLst/>
              <a:ahLst/>
              <a:cxnLst>
                <a:cxn ang="0">
                  <a:pos x="1390" y="0"/>
                </a:cxn>
                <a:cxn ang="0">
                  <a:pos x="910" y="548"/>
                </a:cxn>
                <a:cxn ang="0">
                  <a:pos x="429" y="1096"/>
                </a:cxn>
                <a:cxn ang="0">
                  <a:pos x="0" y="1096"/>
                </a:cxn>
                <a:cxn ang="0">
                  <a:pos x="480" y="548"/>
                </a:cxn>
                <a:cxn ang="0">
                  <a:pos x="961" y="0"/>
                </a:cxn>
                <a:cxn ang="0">
                  <a:pos x="1390" y="0"/>
                </a:cxn>
              </a:cxnLst>
              <a:rect l="0" t="0" r="r" b="b"/>
              <a:pathLst>
                <a:path w="1390" h="1096">
                  <a:moveTo>
                    <a:pt x="1390" y="0"/>
                  </a:moveTo>
                  <a:lnTo>
                    <a:pt x="910" y="548"/>
                  </a:lnTo>
                  <a:lnTo>
                    <a:pt x="429"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8" name="Freeform 14"/>
            <p:cNvSpPr>
              <a:spLocks/>
            </p:cNvSpPr>
            <p:nvPr userDrawn="1"/>
          </p:nvSpPr>
          <p:spPr bwMode="auto">
            <a:xfrm>
              <a:off x="301" y="3837"/>
              <a:ext cx="231" cy="183"/>
            </a:xfrm>
            <a:custGeom>
              <a:avLst/>
              <a:gdLst/>
              <a:ahLst/>
              <a:cxnLst>
                <a:cxn ang="0">
                  <a:pos x="1390" y="0"/>
                </a:cxn>
                <a:cxn ang="0">
                  <a:pos x="910" y="548"/>
                </a:cxn>
                <a:cxn ang="0">
                  <a:pos x="431" y="1096"/>
                </a:cxn>
                <a:cxn ang="0">
                  <a:pos x="0" y="1096"/>
                </a:cxn>
                <a:cxn ang="0">
                  <a:pos x="480" y="548"/>
                </a:cxn>
                <a:cxn ang="0">
                  <a:pos x="961" y="0"/>
                </a:cxn>
                <a:cxn ang="0">
                  <a:pos x="1390" y="0"/>
                </a:cxn>
              </a:cxnLst>
              <a:rect l="0" t="0" r="r" b="b"/>
              <a:pathLst>
                <a:path w="1390" h="1096">
                  <a:moveTo>
                    <a:pt x="1390" y="0"/>
                  </a:moveTo>
                  <a:lnTo>
                    <a:pt x="910" y="548"/>
                  </a:lnTo>
                  <a:lnTo>
                    <a:pt x="431"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9" name="Freeform 15"/>
            <p:cNvSpPr>
              <a:spLocks/>
            </p:cNvSpPr>
            <p:nvPr userDrawn="1"/>
          </p:nvSpPr>
          <p:spPr bwMode="auto">
            <a:xfrm>
              <a:off x="539" y="3944"/>
              <a:ext cx="81" cy="76"/>
            </a:xfrm>
            <a:custGeom>
              <a:avLst/>
              <a:gdLst/>
              <a:ahLst/>
              <a:cxnLst>
                <a:cxn ang="0">
                  <a:pos x="0" y="116"/>
                </a:cxn>
                <a:cxn ang="0">
                  <a:pos x="4" y="93"/>
                </a:cxn>
                <a:cxn ang="0">
                  <a:pos x="11" y="71"/>
                </a:cxn>
                <a:cxn ang="0">
                  <a:pos x="15" y="61"/>
                </a:cxn>
                <a:cxn ang="0">
                  <a:pos x="28" y="42"/>
                </a:cxn>
                <a:cxn ang="0">
                  <a:pos x="46" y="27"/>
                </a:cxn>
                <a:cxn ang="0">
                  <a:pos x="55" y="20"/>
                </a:cxn>
                <a:cxn ang="0">
                  <a:pos x="64" y="14"/>
                </a:cxn>
                <a:cxn ang="0">
                  <a:pos x="86" y="6"/>
                </a:cxn>
                <a:cxn ang="0">
                  <a:pos x="98" y="2"/>
                </a:cxn>
                <a:cxn ang="0">
                  <a:pos x="109" y="1"/>
                </a:cxn>
                <a:cxn ang="0">
                  <a:pos x="487" y="0"/>
                </a:cxn>
                <a:cxn ang="0">
                  <a:pos x="140" y="111"/>
                </a:cxn>
                <a:cxn ang="0">
                  <a:pos x="132" y="114"/>
                </a:cxn>
                <a:cxn ang="0">
                  <a:pos x="124" y="118"/>
                </a:cxn>
                <a:cxn ang="0">
                  <a:pos x="120" y="125"/>
                </a:cxn>
                <a:cxn ang="0">
                  <a:pos x="118" y="133"/>
                </a:cxn>
                <a:cxn ang="0">
                  <a:pos x="118" y="327"/>
                </a:cxn>
                <a:cxn ang="0">
                  <a:pos x="122" y="336"/>
                </a:cxn>
                <a:cxn ang="0">
                  <a:pos x="124" y="339"/>
                </a:cxn>
                <a:cxn ang="0">
                  <a:pos x="132" y="344"/>
                </a:cxn>
                <a:cxn ang="0">
                  <a:pos x="140" y="346"/>
                </a:cxn>
                <a:cxn ang="0">
                  <a:pos x="487" y="457"/>
                </a:cxn>
                <a:cxn ang="0">
                  <a:pos x="112" y="457"/>
                </a:cxn>
                <a:cxn ang="0">
                  <a:pos x="88" y="453"/>
                </a:cxn>
                <a:cxn ang="0">
                  <a:pos x="66" y="444"/>
                </a:cxn>
                <a:cxn ang="0">
                  <a:pos x="56" y="438"/>
                </a:cxn>
                <a:cxn ang="0">
                  <a:pos x="42" y="427"/>
                </a:cxn>
                <a:cxn ang="0">
                  <a:pos x="29" y="416"/>
                </a:cxn>
                <a:cxn ang="0">
                  <a:pos x="19" y="402"/>
                </a:cxn>
                <a:cxn ang="0">
                  <a:pos x="11" y="388"/>
                </a:cxn>
                <a:cxn ang="0">
                  <a:pos x="4" y="366"/>
                </a:cxn>
                <a:cxn ang="0">
                  <a:pos x="2" y="343"/>
                </a:cxn>
              </a:cxnLst>
              <a:rect l="0" t="0" r="r" b="b"/>
              <a:pathLst>
                <a:path w="487" h="457">
                  <a:moveTo>
                    <a:pt x="0" y="336"/>
                  </a:moveTo>
                  <a:lnTo>
                    <a:pt x="0" y="116"/>
                  </a:lnTo>
                  <a:lnTo>
                    <a:pt x="2" y="104"/>
                  </a:lnTo>
                  <a:lnTo>
                    <a:pt x="4" y="93"/>
                  </a:lnTo>
                  <a:lnTo>
                    <a:pt x="6" y="82"/>
                  </a:lnTo>
                  <a:lnTo>
                    <a:pt x="11" y="71"/>
                  </a:lnTo>
                  <a:lnTo>
                    <a:pt x="13" y="65"/>
                  </a:lnTo>
                  <a:lnTo>
                    <a:pt x="15" y="61"/>
                  </a:lnTo>
                  <a:lnTo>
                    <a:pt x="21" y="51"/>
                  </a:lnTo>
                  <a:lnTo>
                    <a:pt x="28" y="42"/>
                  </a:lnTo>
                  <a:lnTo>
                    <a:pt x="36" y="34"/>
                  </a:lnTo>
                  <a:lnTo>
                    <a:pt x="46" y="27"/>
                  </a:lnTo>
                  <a:lnTo>
                    <a:pt x="50" y="23"/>
                  </a:lnTo>
                  <a:lnTo>
                    <a:pt x="55" y="20"/>
                  </a:lnTo>
                  <a:lnTo>
                    <a:pt x="59" y="17"/>
                  </a:lnTo>
                  <a:lnTo>
                    <a:pt x="64" y="14"/>
                  </a:lnTo>
                  <a:lnTo>
                    <a:pt x="75" y="9"/>
                  </a:lnTo>
                  <a:lnTo>
                    <a:pt x="86" y="6"/>
                  </a:lnTo>
                  <a:lnTo>
                    <a:pt x="92" y="3"/>
                  </a:lnTo>
                  <a:lnTo>
                    <a:pt x="98" y="2"/>
                  </a:lnTo>
                  <a:lnTo>
                    <a:pt x="103" y="1"/>
                  </a:lnTo>
                  <a:lnTo>
                    <a:pt x="109" y="1"/>
                  </a:lnTo>
                  <a:lnTo>
                    <a:pt x="122" y="0"/>
                  </a:lnTo>
                  <a:lnTo>
                    <a:pt x="487" y="0"/>
                  </a:lnTo>
                  <a:lnTo>
                    <a:pt x="487" y="111"/>
                  </a:lnTo>
                  <a:lnTo>
                    <a:pt x="140" y="111"/>
                  </a:lnTo>
                  <a:lnTo>
                    <a:pt x="136" y="112"/>
                  </a:lnTo>
                  <a:lnTo>
                    <a:pt x="132" y="114"/>
                  </a:lnTo>
                  <a:lnTo>
                    <a:pt x="128" y="116"/>
                  </a:lnTo>
                  <a:lnTo>
                    <a:pt x="124" y="118"/>
                  </a:lnTo>
                  <a:lnTo>
                    <a:pt x="122" y="121"/>
                  </a:lnTo>
                  <a:lnTo>
                    <a:pt x="120" y="125"/>
                  </a:lnTo>
                  <a:lnTo>
                    <a:pt x="118" y="129"/>
                  </a:lnTo>
                  <a:lnTo>
                    <a:pt x="118" y="133"/>
                  </a:lnTo>
                  <a:lnTo>
                    <a:pt x="118" y="323"/>
                  </a:lnTo>
                  <a:lnTo>
                    <a:pt x="118" y="327"/>
                  </a:lnTo>
                  <a:lnTo>
                    <a:pt x="120" y="332"/>
                  </a:lnTo>
                  <a:lnTo>
                    <a:pt x="122" y="336"/>
                  </a:lnTo>
                  <a:lnTo>
                    <a:pt x="123" y="337"/>
                  </a:lnTo>
                  <a:lnTo>
                    <a:pt x="124" y="339"/>
                  </a:lnTo>
                  <a:lnTo>
                    <a:pt x="128" y="341"/>
                  </a:lnTo>
                  <a:lnTo>
                    <a:pt x="132" y="344"/>
                  </a:lnTo>
                  <a:lnTo>
                    <a:pt x="136" y="346"/>
                  </a:lnTo>
                  <a:lnTo>
                    <a:pt x="140" y="346"/>
                  </a:lnTo>
                  <a:lnTo>
                    <a:pt x="487" y="346"/>
                  </a:lnTo>
                  <a:lnTo>
                    <a:pt x="487" y="457"/>
                  </a:lnTo>
                  <a:lnTo>
                    <a:pt x="124" y="457"/>
                  </a:lnTo>
                  <a:lnTo>
                    <a:pt x="112" y="457"/>
                  </a:lnTo>
                  <a:lnTo>
                    <a:pt x="100" y="455"/>
                  </a:lnTo>
                  <a:lnTo>
                    <a:pt x="88" y="453"/>
                  </a:lnTo>
                  <a:lnTo>
                    <a:pt x="77" y="448"/>
                  </a:lnTo>
                  <a:lnTo>
                    <a:pt x="66" y="444"/>
                  </a:lnTo>
                  <a:lnTo>
                    <a:pt x="61" y="440"/>
                  </a:lnTo>
                  <a:lnTo>
                    <a:pt x="56" y="438"/>
                  </a:lnTo>
                  <a:lnTo>
                    <a:pt x="47" y="432"/>
                  </a:lnTo>
                  <a:lnTo>
                    <a:pt x="42" y="427"/>
                  </a:lnTo>
                  <a:lnTo>
                    <a:pt x="37" y="424"/>
                  </a:lnTo>
                  <a:lnTo>
                    <a:pt x="29" y="416"/>
                  </a:lnTo>
                  <a:lnTo>
                    <a:pt x="22" y="407"/>
                  </a:lnTo>
                  <a:lnTo>
                    <a:pt x="19" y="402"/>
                  </a:lnTo>
                  <a:lnTo>
                    <a:pt x="17" y="398"/>
                  </a:lnTo>
                  <a:lnTo>
                    <a:pt x="11" y="388"/>
                  </a:lnTo>
                  <a:lnTo>
                    <a:pt x="7" y="377"/>
                  </a:lnTo>
                  <a:lnTo>
                    <a:pt x="4" y="366"/>
                  </a:lnTo>
                  <a:lnTo>
                    <a:pt x="3" y="355"/>
                  </a:lnTo>
                  <a:lnTo>
                    <a:pt x="2"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0" name="Rectangle 16"/>
            <p:cNvSpPr>
              <a:spLocks noChangeArrowheads="1"/>
            </p:cNvSpPr>
            <p:nvPr userDrawn="1"/>
          </p:nvSpPr>
          <p:spPr bwMode="auto">
            <a:xfrm>
              <a:off x="575"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1" name="Freeform 17"/>
            <p:cNvSpPr>
              <a:spLocks/>
            </p:cNvSpPr>
            <p:nvPr userDrawn="1"/>
          </p:nvSpPr>
          <p:spPr bwMode="auto">
            <a:xfrm>
              <a:off x="453" y="3944"/>
              <a:ext cx="80" cy="76"/>
            </a:xfrm>
            <a:custGeom>
              <a:avLst/>
              <a:gdLst/>
              <a:ahLst/>
              <a:cxnLst>
                <a:cxn ang="0">
                  <a:pos x="0" y="104"/>
                </a:cxn>
                <a:cxn ang="0">
                  <a:pos x="4" y="82"/>
                </a:cxn>
                <a:cxn ang="0">
                  <a:pos x="11" y="65"/>
                </a:cxn>
                <a:cxn ang="0">
                  <a:pos x="19" y="51"/>
                </a:cxn>
                <a:cxn ang="0">
                  <a:pos x="35" y="34"/>
                </a:cxn>
                <a:cxn ang="0">
                  <a:pos x="48" y="23"/>
                </a:cxn>
                <a:cxn ang="0">
                  <a:pos x="58" y="17"/>
                </a:cxn>
                <a:cxn ang="0">
                  <a:pos x="74" y="9"/>
                </a:cxn>
                <a:cxn ang="0">
                  <a:pos x="90" y="3"/>
                </a:cxn>
                <a:cxn ang="0">
                  <a:pos x="102" y="1"/>
                </a:cxn>
                <a:cxn ang="0">
                  <a:pos x="120" y="0"/>
                </a:cxn>
                <a:cxn ang="0">
                  <a:pos x="480" y="111"/>
                </a:cxn>
                <a:cxn ang="0">
                  <a:pos x="134" y="112"/>
                </a:cxn>
                <a:cxn ang="0">
                  <a:pos x="126" y="116"/>
                </a:cxn>
                <a:cxn ang="0">
                  <a:pos x="120" y="121"/>
                </a:cxn>
                <a:cxn ang="0">
                  <a:pos x="117" y="129"/>
                </a:cxn>
                <a:cxn ang="0">
                  <a:pos x="117" y="323"/>
                </a:cxn>
                <a:cxn ang="0">
                  <a:pos x="118" y="332"/>
                </a:cxn>
                <a:cxn ang="0">
                  <a:pos x="121" y="337"/>
                </a:cxn>
                <a:cxn ang="0">
                  <a:pos x="126" y="341"/>
                </a:cxn>
                <a:cxn ang="0">
                  <a:pos x="134" y="346"/>
                </a:cxn>
                <a:cxn ang="0">
                  <a:pos x="480" y="346"/>
                </a:cxn>
                <a:cxn ang="0">
                  <a:pos x="122" y="457"/>
                </a:cxn>
                <a:cxn ang="0">
                  <a:pos x="98" y="455"/>
                </a:cxn>
                <a:cxn ang="0">
                  <a:pos x="75" y="447"/>
                </a:cxn>
                <a:cxn ang="0">
                  <a:pos x="54" y="436"/>
                </a:cxn>
                <a:cxn ang="0">
                  <a:pos x="40" y="424"/>
                </a:cxn>
                <a:cxn ang="0">
                  <a:pos x="28" y="412"/>
                </a:cxn>
                <a:cxn ang="0">
                  <a:pos x="15" y="392"/>
                </a:cxn>
                <a:cxn ang="0">
                  <a:pos x="9" y="382"/>
                </a:cxn>
                <a:cxn ang="0">
                  <a:pos x="2" y="359"/>
                </a:cxn>
                <a:cxn ang="0">
                  <a:pos x="0" y="336"/>
                </a:cxn>
              </a:cxnLst>
              <a:rect l="0" t="0" r="r" b="b"/>
              <a:pathLst>
                <a:path w="480" h="457">
                  <a:moveTo>
                    <a:pt x="0" y="116"/>
                  </a:moveTo>
                  <a:lnTo>
                    <a:pt x="0" y="104"/>
                  </a:lnTo>
                  <a:lnTo>
                    <a:pt x="2" y="93"/>
                  </a:lnTo>
                  <a:lnTo>
                    <a:pt x="4" y="82"/>
                  </a:lnTo>
                  <a:lnTo>
                    <a:pt x="9" y="71"/>
                  </a:lnTo>
                  <a:lnTo>
                    <a:pt x="11" y="65"/>
                  </a:lnTo>
                  <a:lnTo>
                    <a:pt x="14" y="61"/>
                  </a:lnTo>
                  <a:lnTo>
                    <a:pt x="19" y="51"/>
                  </a:lnTo>
                  <a:lnTo>
                    <a:pt x="26" y="42"/>
                  </a:lnTo>
                  <a:lnTo>
                    <a:pt x="35" y="34"/>
                  </a:lnTo>
                  <a:lnTo>
                    <a:pt x="44" y="27"/>
                  </a:lnTo>
                  <a:lnTo>
                    <a:pt x="48" y="23"/>
                  </a:lnTo>
                  <a:lnTo>
                    <a:pt x="53" y="20"/>
                  </a:lnTo>
                  <a:lnTo>
                    <a:pt x="58" y="17"/>
                  </a:lnTo>
                  <a:lnTo>
                    <a:pt x="62" y="14"/>
                  </a:lnTo>
                  <a:lnTo>
                    <a:pt x="74" y="9"/>
                  </a:lnTo>
                  <a:lnTo>
                    <a:pt x="84" y="6"/>
                  </a:lnTo>
                  <a:lnTo>
                    <a:pt x="90" y="3"/>
                  </a:lnTo>
                  <a:lnTo>
                    <a:pt x="96" y="2"/>
                  </a:lnTo>
                  <a:lnTo>
                    <a:pt x="102" y="1"/>
                  </a:lnTo>
                  <a:lnTo>
                    <a:pt x="109" y="1"/>
                  </a:lnTo>
                  <a:lnTo>
                    <a:pt x="120" y="0"/>
                  </a:lnTo>
                  <a:lnTo>
                    <a:pt x="480" y="0"/>
                  </a:lnTo>
                  <a:lnTo>
                    <a:pt x="480" y="111"/>
                  </a:lnTo>
                  <a:lnTo>
                    <a:pt x="139" y="111"/>
                  </a:lnTo>
                  <a:lnTo>
                    <a:pt x="134" y="112"/>
                  </a:lnTo>
                  <a:lnTo>
                    <a:pt x="131" y="114"/>
                  </a:lnTo>
                  <a:lnTo>
                    <a:pt x="126" y="116"/>
                  </a:lnTo>
                  <a:lnTo>
                    <a:pt x="122" y="118"/>
                  </a:lnTo>
                  <a:lnTo>
                    <a:pt x="120" y="121"/>
                  </a:lnTo>
                  <a:lnTo>
                    <a:pt x="118" y="125"/>
                  </a:lnTo>
                  <a:lnTo>
                    <a:pt x="117" y="129"/>
                  </a:lnTo>
                  <a:lnTo>
                    <a:pt x="117" y="133"/>
                  </a:lnTo>
                  <a:lnTo>
                    <a:pt x="117" y="323"/>
                  </a:lnTo>
                  <a:lnTo>
                    <a:pt x="117" y="327"/>
                  </a:lnTo>
                  <a:lnTo>
                    <a:pt x="118" y="332"/>
                  </a:lnTo>
                  <a:lnTo>
                    <a:pt x="120" y="336"/>
                  </a:lnTo>
                  <a:lnTo>
                    <a:pt x="121" y="337"/>
                  </a:lnTo>
                  <a:lnTo>
                    <a:pt x="122" y="339"/>
                  </a:lnTo>
                  <a:lnTo>
                    <a:pt x="126" y="341"/>
                  </a:lnTo>
                  <a:lnTo>
                    <a:pt x="131" y="344"/>
                  </a:lnTo>
                  <a:lnTo>
                    <a:pt x="134" y="346"/>
                  </a:lnTo>
                  <a:lnTo>
                    <a:pt x="139" y="346"/>
                  </a:lnTo>
                  <a:lnTo>
                    <a:pt x="480" y="346"/>
                  </a:lnTo>
                  <a:lnTo>
                    <a:pt x="480" y="457"/>
                  </a:lnTo>
                  <a:lnTo>
                    <a:pt x="122" y="457"/>
                  </a:lnTo>
                  <a:lnTo>
                    <a:pt x="110" y="457"/>
                  </a:lnTo>
                  <a:lnTo>
                    <a:pt x="98" y="455"/>
                  </a:lnTo>
                  <a:lnTo>
                    <a:pt x="87" y="451"/>
                  </a:lnTo>
                  <a:lnTo>
                    <a:pt x="75" y="447"/>
                  </a:lnTo>
                  <a:lnTo>
                    <a:pt x="65" y="442"/>
                  </a:lnTo>
                  <a:lnTo>
                    <a:pt x="54" y="436"/>
                  </a:lnTo>
                  <a:lnTo>
                    <a:pt x="45" y="428"/>
                  </a:lnTo>
                  <a:lnTo>
                    <a:pt x="40" y="424"/>
                  </a:lnTo>
                  <a:lnTo>
                    <a:pt x="36" y="421"/>
                  </a:lnTo>
                  <a:lnTo>
                    <a:pt x="28" y="412"/>
                  </a:lnTo>
                  <a:lnTo>
                    <a:pt x="21" y="402"/>
                  </a:lnTo>
                  <a:lnTo>
                    <a:pt x="15" y="392"/>
                  </a:lnTo>
                  <a:lnTo>
                    <a:pt x="11" y="387"/>
                  </a:lnTo>
                  <a:lnTo>
                    <a:pt x="9" y="382"/>
                  </a:lnTo>
                  <a:lnTo>
                    <a:pt x="6" y="371"/>
                  </a:lnTo>
                  <a:lnTo>
                    <a:pt x="2" y="359"/>
                  </a:lnTo>
                  <a:lnTo>
                    <a:pt x="0" y="348"/>
                  </a:lnTo>
                  <a:lnTo>
                    <a:pt x="0" y="336"/>
                  </a:lnTo>
                  <a:lnTo>
                    <a:pt x="0" y="1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2" name="Freeform 18"/>
            <p:cNvSpPr>
              <a:spLocks/>
            </p:cNvSpPr>
            <p:nvPr userDrawn="1"/>
          </p:nvSpPr>
          <p:spPr bwMode="auto">
            <a:xfrm>
              <a:off x="737" y="3944"/>
              <a:ext cx="81" cy="76"/>
            </a:xfrm>
            <a:custGeom>
              <a:avLst/>
              <a:gdLst/>
              <a:ahLst/>
              <a:cxnLst>
                <a:cxn ang="0">
                  <a:pos x="0" y="116"/>
                </a:cxn>
                <a:cxn ang="0">
                  <a:pos x="3" y="93"/>
                </a:cxn>
                <a:cxn ang="0">
                  <a:pos x="10" y="71"/>
                </a:cxn>
                <a:cxn ang="0">
                  <a:pos x="15" y="61"/>
                </a:cxn>
                <a:cxn ang="0">
                  <a:pos x="27" y="42"/>
                </a:cxn>
                <a:cxn ang="0">
                  <a:pos x="45" y="27"/>
                </a:cxn>
                <a:cxn ang="0">
                  <a:pos x="54" y="20"/>
                </a:cxn>
                <a:cxn ang="0">
                  <a:pos x="63" y="14"/>
                </a:cxn>
                <a:cxn ang="0">
                  <a:pos x="85" y="6"/>
                </a:cxn>
                <a:cxn ang="0">
                  <a:pos x="97" y="2"/>
                </a:cxn>
                <a:cxn ang="0">
                  <a:pos x="108" y="1"/>
                </a:cxn>
                <a:cxn ang="0">
                  <a:pos x="486" y="0"/>
                </a:cxn>
                <a:cxn ang="0">
                  <a:pos x="140" y="111"/>
                </a:cxn>
                <a:cxn ang="0">
                  <a:pos x="132" y="114"/>
                </a:cxn>
                <a:cxn ang="0">
                  <a:pos x="124" y="118"/>
                </a:cxn>
                <a:cxn ang="0">
                  <a:pos x="119" y="125"/>
                </a:cxn>
                <a:cxn ang="0">
                  <a:pos x="118" y="133"/>
                </a:cxn>
                <a:cxn ang="0">
                  <a:pos x="118" y="327"/>
                </a:cxn>
                <a:cxn ang="0">
                  <a:pos x="121" y="336"/>
                </a:cxn>
                <a:cxn ang="0">
                  <a:pos x="124" y="339"/>
                </a:cxn>
                <a:cxn ang="0">
                  <a:pos x="132" y="344"/>
                </a:cxn>
                <a:cxn ang="0">
                  <a:pos x="140" y="346"/>
                </a:cxn>
                <a:cxn ang="0">
                  <a:pos x="486" y="457"/>
                </a:cxn>
                <a:cxn ang="0">
                  <a:pos x="111" y="457"/>
                </a:cxn>
                <a:cxn ang="0">
                  <a:pos x="88" y="453"/>
                </a:cxn>
                <a:cxn ang="0">
                  <a:pos x="66" y="444"/>
                </a:cxn>
                <a:cxn ang="0">
                  <a:pos x="55" y="438"/>
                </a:cxn>
                <a:cxn ang="0">
                  <a:pos x="41" y="427"/>
                </a:cxn>
                <a:cxn ang="0">
                  <a:pos x="29" y="416"/>
                </a:cxn>
                <a:cxn ang="0">
                  <a:pos x="18" y="402"/>
                </a:cxn>
                <a:cxn ang="0">
                  <a:pos x="10" y="388"/>
                </a:cxn>
                <a:cxn ang="0">
                  <a:pos x="3" y="366"/>
                </a:cxn>
                <a:cxn ang="0">
                  <a:pos x="1" y="343"/>
                </a:cxn>
              </a:cxnLst>
              <a:rect l="0" t="0" r="r" b="b"/>
              <a:pathLst>
                <a:path w="486" h="457">
                  <a:moveTo>
                    <a:pt x="0" y="336"/>
                  </a:moveTo>
                  <a:lnTo>
                    <a:pt x="0" y="116"/>
                  </a:lnTo>
                  <a:lnTo>
                    <a:pt x="1" y="104"/>
                  </a:lnTo>
                  <a:lnTo>
                    <a:pt x="3" y="93"/>
                  </a:lnTo>
                  <a:lnTo>
                    <a:pt x="5" y="82"/>
                  </a:lnTo>
                  <a:lnTo>
                    <a:pt x="10" y="71"/>
                  </a:lnTo>
                  <a:lnTo>
                    <a:pt x="12" y="65"/>
                  </a:lnTo>
                  <a:lnTo>
                    <a:pt x="15" y="61"/>
                  </a:lnTo>
                  <a:lnTo>
                    <a:pt x="21" y="51"/>
                  </a:lnTo>
                  <a:lnTo>
                    <a:pt x="27" y="42"/>
                  </a:lnTo>
                  <a:lnTo>
                    <a:pt x="36" y="34"/>
                  </a:lnTo>
                  <a:lnTo>
                    <a:pt x="45" y="27"/>
                  </a:lnTo>
                  <a:lnTo>
                    <a:pt x="49" y="23"/>
                  </a:lnTo>
                  <a:lnTo>
                    <a:pt x="54" y="20"/>
                  </a:lnTo>
                  <a:lnTo>
                    <a:pt x="59" y="17"/>
                  </a:lnTo>
                  <a:lnTo>
                    <a:pt x="63" y="14"/>
                  </a:lnTo>
                  <a:lnTo>
                    <a:pt x="74" y="9"/>
                  </a:lnTo>
                  <a:lnTo>
                    <a:pt x="85" y="6"/>
                  </a:lnTo>
                  <a:lnTo>
                    <a:pt x="91" y="3"/>
                  </a:lnTo>
                  <a:lnTo>
                    <a:pt x="97" y="2"/>
                  </a:lnTo>
                  <a:lnTo>
                    <a:pt x="103" y="1"/>
                  </a:lnTo>
                  <a:lnTo>
                    <a:pt x="108" y="1"/>
                  </a:lnTo>
                  <a:lnTo>
                    <a:pt x="121" y="0"/>
                  </a:lnTo>
                  <a:lnTo>
                    <a:pt x="486" y="0"/>
                  </a:lnTo>
                  <a:lnTo>
                    <a:pt x="486" y="111"/>
                  </a:lnTo>
                  <a:lnTo>
                    <a:pt x="140" y="111"/>
                  </a:lnTo>
                  <a:lnTo>
                    <a:pt x="135" y="112"/>
                  </a:lnTo>
                  <a:lnTo>
                    <a:pt x="132" y="114"/>
                  </a:lnTo>
                  <a:lnTo>
                    <a:pt x="127" y="116"/>
                  </a:lnTo>
                  <a:lnTo>
                    <a:pt x="124" y="118"/>
                  </a:lnTo>
                  <a:lnTo>
                    <a:pt x="121" y="121"/>
                  </a:lnTo>
                  <a:lnTo>
                    <a:pt x="119" y="125"/>
                  </a:lnTo>
                  <a:lnTo>
                    <a:pt x="118" y="129"/>
                  </a:lnTo>
                  <a:lnTo>
                    <a:pt x="118" y="133"/>
                  </a:lnTo>
                  <a:lnTo>
                    <a:pt x="118" y="323"/>
                  </a:lnTo>
                  <a:lnTo>
                    <a:pt x="118" y="327"/>
                  </a:lnTo>
                  <a:lnTo>
                    <a:pt x="119" y="332"/>
                  </a:lnTo>
                  <a:lnTo>
                    <a:pt x="121" y="336"/>
                  </a:lnTo>
                  <a:lnTo>
                    <a:pt x="122" y="337"/>
                  </a:lnTo>
                  <a:lnTo>
                    <a:pt x="124" y="339"/>
                  </a:lnTo>
                  <a:lnTo>
                    <a:pt x="127" y="341"/>
                  </a:lnTo>
                  <a:lnTo>
                    <a:pt x="132" y="344"/>
                  </a:lnTo>
                  <a:lnTo>
                    <a:pt x="135" y="346"/>
                  </a:lnTo>
                  <a:lnTo>
                    <a:pt x="140" y="346"/>
                  </a:lnTo>
                  <a:lnTo>
                    <a:pt x="486" y="346"/>
                  </a:lnTo>
                  <a:lnTo>
                    <a:pt x="486" y="457"/>
                  </a:lnTo>
                  <a:lnTo>
                    <a:pt x="124" y="457"/>
                  </a:lnTo>
                  <a:lnTo>
                    <a:pt x="111" y="457"/>
                  </a:lnTo>
                  <a:lnTo>
                    <a:pt x="99" y="455"/>
                  </a:lnTo>
                  <a:lnTo>
                    <a:pt x="88" y="453"/>
                  </a:lnTo>
                  <a:lnTo>
                    <a:pt x="76" y="448"/>
                  </a:lnTo>
                  <a:lnTo>
                    <a:pt x="66" y="444"/>
                  </a:lnTo>
                  <a:lnTo>
                    <a:pt x="60" y="440"/>
                  </a:lnTo>
                  <a:lnTo>
                    <a:pt x="55" y="438"/>
                  </a:lnTo>
                  <a:lnTo>
                    <a:pt x="46" y="432"/>
                  </a:lnTo>
                  <a:lnTo>
                    <a:pt x="41" y="427"/>
                  </a:lnTo>
                  <a:lnTo>
                    <a:pt x="37" y="424"/>
                  </a:lnTo>
                  <a:lnTo>
                    <a:pt x="29" y="416"/>
                  </a:lnTo>
                  <a:lnTo>
                    <a:pt x="22" y="407"/>
                  </a:lnTo>
                  <a:lnTo>
                    <a:pt x="18" y="402"/>
                  </a:lnTo>
                  <a:lnTo>
                    <a:pt x="16" y="398"/>
                  </a:lnTo>
                  <a:lnTo>
                    <a:pt x="10" y="388"/>
                  </a:lnTo>
                  <a:lnTo>
                    <a:pt x="7" y="377"/>
                  </a:lnTo>
                  <a:lnTo>
                    <a:pt x="3" y="366"/>
                  </a:lnTo>
                  <a:lnTo>
                    <a:pt x="1" y="355"/>
                  </a:lnTo>
                  <a:lnTo>
                    <a:pt x="1"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3" name="Rectangle 19"/>
            <p:cNvSpPr>
              <a:spLocks noChangeArrowheads="1"/>
            </p:cNvSpPr>
            <p:nvPr userDrawn="1"/>
          </p:nvSpPr>
          <p:spPr bwMode="auto">
            <a:xfrm>
              <a:off x="773"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4" name="Freeform 20"/>
            <p:cNvSpPr>
              <a:spLocks/>
            </p:cNvSpPr>
            <p:nvPr userDrawn="1"/>
          </p:nvSpPr>
          <p:spPr bwMode="auto">
            <a:xfrm>
              <a:off x="629" y="3944"/>
              <a:ext cx="99" cy="76"/>
            </a:xfrm>
            <a:custGeom>
              <a:avLst/>
              <a:gdLst/>
              <a:ahLst/>
              <a:cxnLst>
                <a:cxn ang="0">
                  <a:pos x="117" y="111"/>
                </a:cxn>
                <a:cxn ang="0">
                  <a:pos x="117" y="457"/>
                </a:cxn>
                <a:cxn ang="0">
                  <a:pos x="0" y="457"/>
                </a:cxn>
                <a:cxn ang="0">
                  <a:pos x="0" y="0"/>
                </a:cxn>
                <a:cxn ang="0">
                  <a:pos x="338" y="0"/>
                </a:cxn>
                <a:cxn ang="0">
                  <a:pos x="472" y="0"/>
                </a:cxn>
                <a:cxn ang="0">
                  <a:pos x="485" y="1"/>
                </a:cxn>
                <a:cxn ang="0">
                  <a:pos x="496" y="2"/>
                </a:cxn>
                <a:cxn ang="0">
                  <a:pos x="508" y="6"/>
                </a:cxn>
                <a:cxn ang="0">
                  <a:pos x="519" y="9"/>
                </a:cxn>
                <a:cxn ang="0">
                  <a:pos x="524" y="11"/>
                </a:cxn>
                <a:cxn ang="0">
                  <a:pos x="530" y="14"/>
                </a:cxn>
                <a:cxn ang="0">
                  <a:pos x="539" y="20"/>
                </a:cxn>
                <a:cxn ang="0">
                  <a:pos x="549" y="27"/>
                </a:cxn>
                <a:cxn ang="0">
                  <a:pos x="558" y="34"/>
                </a:cxn>
                <a:cxn ang="0">
                  <a:pos x="566" y="42"/>
                </a:cxn>
                <a:cxn ang="0">
                  <a:pos x="569" y="46"/>
                </a:cxn>
                <a:cxn ang="0">
                  <a:pos x="573" y="51"/>
                </a:cxn>
                <a:cxn ang="0">
                  <a:pos x="575" y="56"/>
                </a:cxn>
                <a:cxn ang="0">
                  <a:pos x="578" y="61"/>
                </a:cxn>
                <a:cxn ang="0">
                  <a:pos x="583" y="71"/>
                </a:cxn>
                <a:cxn ang="0">
                  <a:pos x="588" y="82"/>
                </a:cxn>
                <a:cxn ang="0">
                  <a:pos x="589" y="87"/>
                </a:cxn>
                <a:cxn ang="0">
                  <a:pos x="590" y="93"/>
                </a:cxn>
                <a:cxn ang="0">
                  <a:pos x="591" y="98"/>
                </a:cxn>
                <a:cxn ang="0">
                  <a:pos x="592" y="104"/>
                </a:cxn>
                <a:cxn ang="0">
                  <a:pos x="593" y="116"/>
                </a:cxn>
                <a:cxn ang="0">
                  <a:pos x="593" y="457"/>
                </a:cxn>
                <a:cxn ang="0">
                  <a:pos x="474" y="457"/>
                </a:cxn>
                <a:cxn ang="0">
                  <a:pos x="474" y="133"/>
                </a:cxn>
                <a:cxn ang="0">
                  <a:pos x="473" y="129"/>
                </a:cxn>
                <a:cxn ang="0">
                  <a:pos x="472" y="125"/>
                </a:cxn>
                <a:cxn ang="0">
                  <a:pos x="470" y="121"/>
                </a:cxn>
                <a:cxn ang="0">
                  <a:pos x="467" y="118"/>
                </a:cxn>
                <a:cxn ang="0">
                  <a:pos x="464" y="116"/>
                </a:cxn>
                <a:cxn ang="0">
                  <a:pos x="460" y="114"/>
                </a:cxn>
                <a:cxn ang="0">
                  <a:pos x="456" y="112"/>
                </a:cxn>
                <a:cxn ang="0">
                  <a:pos x="451" y="111"/>
                </a:cxn>
                <a:cxn ang="0">
                  <a:pos x="355" y="111"/>
                </a:cxn>
                <a:cxn ang="0">
                  <a:pos x="355" y="457"/>
                </a:cxn>
                <a:cxn ang="0">
                  <a:pos x="236" y="457"/>
                </a:cxn>
                <a:cxn ang="0">
                  <a:pos x="236" y="111"/>
                </a:cxn>
                <a:cxn ang="0">
                  <a:pos x="117" y="111"/>
                </a:cxn>
              </a:cxnLst>
              <a:rect l="0" t="0" r="r" b="b"/>
              <a:pathLst>
                <a:path w="593" h="457">
                  <a:moveTo>
                    <a:pt x="117" y="111"/>
                  </a:moveTo>
                  <a:lnTo>
                    <a:pt x="117" y="457"/>
                  </a:lnTo>
                  <a:lnTo>
                    <a:pt x="0" y="457"/>
                  </a:lnTo>
                  <a:lnTo>
                    <a:pt x="0" y="0"/>
                  </a:lnTo>
                  <a:lnTo>
                    <a:pt x="338" y="0"/>
                  </a:lnTo>
                  <a:lnTo>
                    <a:pt x="472" y="0"/>
                  </a:lnTo>
                  <a:lnTo>
                    <a:pt x="485" y="1"/>
                  </a:lnTo>
                  <a:lnTo>
                    <a:pt x="496" y="2"/>
                  </a:lnTo>
                  <a:lnTo>
                    <a:pt x="508" y="6"/>
                  </a:lnTo>
                  <a:lnTo>
                    <a:pt x="519" y="9"/>
                  </a:lnTo>
                  <a:lnTo>
                    <a:pt x="524" y="11"/>
                  </a:lnTo>
                  <a:lnTo>
                    <a:pt x="530" y="14"/>
                  </a:lnTo>
                  <a:lnTo>
                    <a:pt x="539" y="20"/>
                  </a:lnTo>
                  <a:lnTo>
                    <a:pt x="549" y="27"/>
                  </a:lnTo>
                  <a:lnTo>
                    <a:pt x="558" y="34"/>
                  </a:lnTo>
                  <a:lnTo>
                    <a:pt x="566" y="42"/>
                  </a:lnTo>
                  <a:lnTo>
                    <a:pt x="569" y="46"/>
                  </a:lnTo>
                  <a:lnTo>
                    <a:pt x="573" y="51"/>
                  </a:lnTo>
                  <a:lnTo>
                    <a:pt x="575" y="56"/>
                  </a:lnTo>
                  <a:lnTo>
                    <a:pt x="578" y="61"/>
                  </a:lnTo>
                  <a:lnTo>
                    <a:pt x="583" y="71"/>
                  </a:lnTo>
                  <a:lnTo>
                    <a:pt x="588" y="82"/>
                  </a:lnTo>
                  <a:lnTo>
                    <a:pt x="589" y="87"/>
                  </a:lnTo>
                  <a:lnTo>
                    <a:pt x="590" y="93"/>
                  </a:lnTo>
                  <a:lnTo>
                    <a:pt x="591" y="98"/>
                  </a:lnTo>
                  <a:lnTo>
                    <a:pt x="592" y="104"/>
                  </a:lnTo>
                  <a:lnTo>
                    <a:pt x="593" y="116"/>
                  </a:lnTo>
                  <a:lnTo>
                    <a:pt x="593" y="457"/>
                  </a:lnTo>
                  <a:lnTo>
                    <a:pt x="474" y="457"/>
                  </a:lnTo>
                  <a:lnTo>
                    <a:pt x="474" y="133"/>
                  </a:lnTo>
                  <a:lnTo>
                    <a:pt x="473" y="129"/>
                  </a:lnTo>
                  <a:lnTo>
                    <a:pt x="472" y="125"/>
                  </a:lnTo>
                  <a:lnTo>
                    <a:pt x="470" y="121"/>
                  </a:lnTo>
                  <a:lnTo>
                    <a:pt x="467" y="118"/>
                  </a:lnTo>
                  <a:lnTo>
                    <a:pt x="464" y="116"/>
                  </a:lnTo>
                  <a:lnTo>
                    <a:pt x="460" y="114"/>
                  </a:lnTo>
                  <a:lnTo>
                    <a:pt x="456" y="112"/>
                  </a:lnTo>
                  <a:lnTo>
                    <a:pt x="451" y="111"/>
                  </a:lnTo>
                  <a:lnTo>
                    <a:pt x="355" y="111"/>
                  </a:lnTo>
                  <a:lnTo>
                    <a:pt x="355" y="457"/>
                  </a:lnTo>
                  <a:lnTo>
                    <a:pt x="236" y="457"/>
                  </a:lnTo>
                  <a:lnTo>
                    <a:pt x="236" y="111"/>
                  </a:lnTo>
                  <a:lnTo>
                    <a:pt x="117"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5" name="Freeform 21"/>
            <p:cNvSpPr>
              <a:spLocks/>
            </p:cNvSpPr>
            <p:nvPr userDrawn="1"/>
          </p:nvSpPr>
          <p:spPr bwMode="auto">
            <a:xfrm>
              <a:off x="827" y="3944"/>
              <a:ext cx="92" cy="76"/>
            </a:xfrm>
            <a:custGeom>
              <a:avLst/>
              <a:gdLst/>
              <a:ahLst/>
              <a:cxnLst>
                <a:cxn ang="0">
                  <a:pos x="278" y="296"/>
                </a:cxn>
                <a:cxn ang="0">
                  <a:pos x="122" y="389"/>
                </a:cxn>
                <a:cxn ang="0">
                  <a:pos x="122" y="457"/>
                </a:cxn>
                <a:cxn ang="0">
                  <a:pos x="0" y="457"/>
                </a:cxn>
                <a:cxn ang="0">
                  <a:pos x="0" y="361"/>
                </a:cxn>
                <a:cxn ang="0">
                  <a:pos x="1" y="355"/>
                </a:cxn>
                <a:cxn ang="0">
                  <a:pos x="3" y="348"/>
                </a:cxn>
                <a:cxn ang="0">
                  <a:pos x="6" y="341"/>
                </a:cxn>
                <a:cxn ang="0">
                  <a:pos x="9" y="335"/>
                </a:cxn>
                <a:cxn ang="0">
                  <a:pos x="13" y="329"/>
                </a:cxn>
                <a:cxn ang="0">
                  <a:pos x="17" y="324"/>
                </a:cxn>
                <a:cxn ang="0">
                  <a:pos x="23" y="318"/>
                </a:cxn>
                <a:cxn ang="0">
                  <a:pos x="27" y="317"/>
                </a:cxn>
                <a:cxn ang="0">
                  <a:pos x="30" y="315"/>
                </a:cxn>
                <a:cxn ang="0">
                  <a:pos x="176" y="229"/>
                </a:cxn>
                <a:cxn ang="0">
                  <a:pos x="30" y="143"/>
                </a:cxn>
                <a:cxn ang="0">
                  <a:pos x="23" y="139"/>
                </a:cxn>
                <a:cxn ang="0">
                  <a:pos x="21" y="137"/>
                </a:cxn>
                <a:cxn ang="0">
                  <a:pos x="17" y="133"/>
                </a:cxn>
                <a:cxn ang="0">
                  <a:pos x="13" y="129"/>
                </a:cxn>
                <a:cxn ang="0">
                  <a:pos x="9" y="122"/>
                </a:cxn>
                <a:cxn ang="0">
                  <a:pos x="6" y="117"/>
                </a:cxn>
                <a:cxn ang="0">
                  <a:pos x="3" y="110"/>
                </a:cxn>
                <a:cxn ang="0">
                  <a:pos x="1" y="104"/>
                </a:cxn>
                <a:cxn ang="0">
                  <a:pos x="0" y="96"/>
                </a:cxn>
                <a:cxn ang="0">
                  <a:pos x="0" y="0"/>
                </a:cxn>
                <a:cxn ang="0">
                  <a:pos x="122" y="0"/>
                </a:cxn>
                <a:cxn ang="0">
                  <a:pos x="122" y="68"/>
                </a:cxn>
                <a:cxn ang="0">
                  <a:pos x="278" y="162"/>
                </a:cxn>
                <a:cxn ang="0">
                  <a:pos x="434" y="68"/>
                </a:cxn>
                <a:cxn ang="0">
                  <a:pos x="434" y="0"/>
                </a:cxn>
                <a:cxn ang="0">
                  <a:pos x="556" y="0"/>
                </a:cxn>
                <a:cxn ang="0">
                  <a:pos x="556" y="96"/>
                </a:cxn>
                <a:cxn ang="0">
                  <a:pos x="554" y="104"/>
                </a:cxn>
                <a:cxn ang="0">
                  <a:pos x="552" y="110"/>
                </a:cxn>
                <a:cxn ang="0">
                  <a:pos x="550" y="117"/>
                </a:cxn>
                <a:cxn ang="0">
                  <a:pos x="546" y="122"/>
                </a:cxn>
                <a:cxn ang="0">
                  <a:pos x="543" y="129"/>
                </a:cxn>
                <a:cxn ang="0">
                  <a:pos x="538" y="133"/>
                </a:cxn>
                <a:cxn ang="0">
                  <a:pos x="532" y="139"/>
                </a:cxn>
                <a:cxn ang="0">
                  <a:pos x="529" y="141"/>
                </a:cxn>
                <a:cxn ang="0">
                  <a:pos x="525" y="143"/>
                </a:cxn>
                <a:cxn ang="0">
                  <a:pos x="383" y="228"/>
                </a:cxn>
                <a:cxn ang="0">
                  <a:pos x="525" y="315"/>
                </a:cxn>
                <a:cxn ang="0">
                  <a:pos x="532" y="318"/>
                </a:cxn>
                <a:cxn ang="0">
                  <a:pos x="535" y="322"/>
                </a:cxn>
                <a:cxn ang="0">
                  <a:pos x="538" y="324"/>
                </a:cxn>
                <a:cxn ang="0">
                  <a:pos x="543" y="329"/>
                </a:cxn>
                <a:cxn ang="0">
                  <a:pos x="546" y="335"/>
                </a:cxn>
                <a:cxn ang="0">
                  <a:pos x="550" y="341"/>
                </a:cxn>
                <a:cxn ang="0">
                  <a:pos x="552" y="348"/>
                </a:cxn>
                <a:cxn ang="0">
                  <a:pos x="554" y="355"/>
                </a:cxn>
                <a:cxn ang="0">
                  <a:pos x="556" y="361"/>
                </a:cxn>
                <a:cxn ang="0">
                  <a:pos x="556" y="457"/>
                </a:cxn>
                <a:cxn ang="0">
                  <a:pos x="434" y="457"/>
                </a:cxn>
                <a:cxn ang="0">
                  <a:pos x="434" y="389"/>
                </a:cxn>
                <a:cxn ang="0">
                  <a:pos x="278" y="296"/>
                </a:cxn>
              </a:cxnLst>
              <a:rect l="0" t="0" r="r" b="b"/>
              <a:pathLst>
                <a:path w="556" h="457">
                  <a:moveTo>
                    <a:pt x="278" y="296"/>
                  </a:moveTo>
                  <a:lnTo>
                    <a:pt x="122" y="389"/>
                  </a:lnTo>
                  <a:lnTo>
                    <a:pt x="122" y="457"/>
                  </a:lnTo>
                  <a:lnTo>
                    <a:pt x="0" y="457"/>
                  </a:lnTo>
                  <a:lnTo>
                    <a:pt x="0" y="361"/>
                  </a:lnTo>
                  <a:lnTo>
                    <a:pt x="1" y="355"/>
                  </a:lnTo>
                  <a:lnTo>
                    <a:pt x="3" y="348"/>
                  </a:lnTo>
                  <a:lnTo>
                    <a:pt x="6" y="341"/>
                  </a:lnTo>
                  <a:lnTo>
                    <a:pt x="9" y="335"/>
                  </a:lnTo>
                  <a:lnTo>
                    <a:pt x="13" y="329"/>
                  </a:lnTo>
                  <a:lnTo>
                    <a:pt x="17" y="324"/>
                  </a:lnTo>
                  <a:lnTo>
                    <a:pt x="23" y="318"/>
                  </a:lnTo>
                  <a:lnTo>
                    <a:pt x="27" y="317"/>
                  </a:lnTo>
                  <a:lnTo>
                    <a:pt x="30" y="315"/>
                  </a:lnTo>
                  <a:lnTo>
                    <a:pt x="176" y="229"/>
                  </a:lnTo>
                  <a:lnTo>
                    <a:pt x="30" y="143"/>
                  </a:lnTo>
                  <a:lnTo>
                    <a:pt x="23" y="139"/>
                  </a:lnTo>
                  <a:lnTo>
                    <a:pt x="21" y="137"/>
                  </a:lnTo>
                  <a:lnTo>
                    <a:pt x="17" y="133"/>
                  </a:lnTo>
                  <a:lnTo>
                    <a:pt x="13" y="129"/>
                  </a:lnTo>
                  <a:lnTo>
                    <a:pt x="9" y="122"/>
                  </a:lnTo>
                  <a:lnTo>
                    <a:pt x="6" y="117"/>
                  </a:lnTo>
                  <a:lnTo>
                    <a:pt x="3" y="110"/>
                  </a:lnTo>
                  <a:lnTo>
                    <a:pt x="1" y="104"/>
                  </a:lnTo>
                  <a:lnTo>
                    <a:pt x="0" y="96"/>
                  </a:lnTo>
                  <a:lnTo>
                    <a:pt x="0" y="0"/>
                  </a:lnTo>
                  <a:lnTo>
                    <a:pt x="122" y="0"/>
                  </a:lnTo>
                  <a:lnTo>
                    <a:pt x="122" y="68"/>
                  </a:lnTo>
                  <a:lnTo>
                    <a:pt x="278" y="162"/>
                  </a:lnTo>
                  <a:lnTo>
                    <a:pt x="434" y="68"/>
                  </a:lnTo>
                  <a:lnTo>
                    <a:pt x="434" y="0"/>
                  </a:lnTo>
                  <a:lnTo>
                    <a:pt x="556" y="0"/>
                  </a:lnTo>
                  <a:lnTo>
                    <a:pt x="556" y="96"/>
                  </a:lnTo>
                  <a:lnTo>
                    <a:pt x="554" y="104"/>
                  </a:lnTo>
                  <a:lnTo>
                    <a:pt x="552" y="110"/>
                  </a:lnTo>
                  <a:lnTo>
                    <a:pt x="550" y="117"/>
                  </a:lnTo>
                  <a:lnTo>
                    <a:pt x="546" y="122"/>
                  </a:lnTo>
                  <a:lnTo>
                    <a:pt x="543" y="129"/>
                  </a:lnTo>
                  <a:lnTo>
                    <a:pt x="538" y="133"/>
                  </a:lnTo>
                  <a:lnTo>
                    <a:pt x="532" y="139"/>
                  </a:lnTo>
                  <a:lnTo>
                    <a:pt x="529" y="141"/>
                  </a:lnTo>
                  <a:lnTo>
                    <a:pt x="525" y="143"/>
                  </a:lnTo>
                  <a:lnTo>
                    <a:pt x="383" y="228"/>
                  </a:lnTo>
                  <a:lnTo>
                    <a:pt x="525" y="315"/>
                  </a:lnTo>
                  <a:lnTo>
                    <a:pt x="532" y="318"/>
                  </a:lnTo>
                  <a:lnTo>
                    <a:pt x="535" y="322"/>
                  </a:lnTo>
                  <a:lnTo>
                    <a:pt x="538" y="324"/>
                  </a:lnTo>
                  <a:lnTo>
                    <a:pt x="543" y="329"/>
                  </a:lnTo>
                  <a:lnTo>
                    <a:pt x="546" y="335"/>
                  </a:lnTo>
                  <a:lnTo>
                    <a:pt x="550" y="341"/>
                  </a:lnTo>
                  <a:lnTo>
                    <a:pt x="552" y="348"/>
                  </a:lnTo>
                  <a:lnTo>
                    <a:pt x="554" y="355"/>
                  </a:lnTo>
                  <a:lnTo>
                    <a:pt x="556" y="361"/>
                  </a:lnTo>
                  <a:lnTo>
                    <a:pt x="556" y="457"/>
                  </a:lnTo>
                  <a:lnTo>
                    <a:pt x="434" y="457"/>
                  </a:lnTo>
                  <a:lnTo>
                    <a:pt x="434" y="389"/>
                  </a:lnTo>
                  <a:lnTo>
                    <a:pt x="278" y="2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nvGrpSpPr>
          <p:cNvPr id="3" name="94 Grupo"/>
          <p:cNvGrpSpPr/>
          <p:nvPr userDrawn="1"/>
        </p:nvGrpSpPr>
        <p:grpSpPr>
          <a:xfrm>
            <a:off x="6294710" y="5733256"/>
            <a:ext cx="2453754" cy="601982"/>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9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6" name="Group 5"/>
            <p:cNvGrpSpPr>
              <a:grpSpLocks noChangeAspect="1"/>
            </p:cNvGrpSpPr>
            <p:nvPr userDrawn="1"/>
          </p:nvGrpSpPr>
          <p:grpSpPr bwMode="auto">
            <a:xfrm>
              <a:off x="6300192" y="2768810"/>
              <a:ext cx="791493" cy="248083"/>
              <a:chOff x="1066" y="543"/>
              <a:chExt cx="2262" cy="709"/>
            </a:xfrm>
            <a:grpFill/>
          </p:grpSpPr>
          <p:sp>
            <p:nvSpPr>
              <p:cNvPr id="92"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3"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4"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sp>
        <p:nvSpPr>
          <p:cNvPr id="55" name="Title 54"/>
          <p:cNvSpPr>
            <a:spLocks noGrp="1"/>
          </p:cNvSpPr>
          <p:nvPr>
            <p:ph type="title"/>
          </p:nvPr>
        </p:nvSpPr>
        <p:spPr>
          <a:xfrm>
            <a:off x="304800" y="5257800"/>
            <a:ext cx="5760000" cy="320040"/>
          </a:xfrm>
        </p:spPr>
        <p:txBody>
          <a:bodyPr wrap="none" tIns="0" bIns="0"/>
          <a:lstStyle>
            <a:lvl1pPr>
              <a:lnSpc>
                <a:spcPct val="100000"/>
              </a:lnSpc>
              <a:defRPr sz="2800">
                <a:solidFill>
                  <a:srgbClr val="FFFFFF"/>
                </a:solidFill>
              </a:defRPr>
            </a:lvl1pPr>
          </a:lstStyle>
          <a:p>
            <a:r>
              <a:rPr lang="en-US" dirty="0" smtClean="0"/>
              <a:t>Click to edit Master title style</a:t>
            </a:r>
            <a:endParaRPr lang="en-US" dirty="0"/>
          </a:p>
        </p:txBody>
      </p:sp>
      <p:sp>
        <p:nvSpPr>
          <p:cNvPr id="61" name="Subtitle 2"/>
          <p:cNvSpPr>
            <a:spLocks noGrp="1"/>
          </p:cNvSpPr>
          <p:nvPr>
            <p:ph type="subTitle" idx="1"/>
          </p:nvPr>
        </p:nvSpPr>
        <p:spPr>
          <a:xfrm>
            <a:off x="304800" y="5605290"/>
            <a:ext cx="5760000" cy="274320"/>
          </a:xfrm>
          <a:prstGeom prst="rect">
            <a:avLst/>
          </a:prstGeom>
        </p:spPr>
        <p:txBody>
          <a:bodyPr wrap="none" tIns="0" bIns="0" anchor="ctr">
            <a:noAutofit/>
          </a:bodyPr>
          <a:lstStyle>
            <a:lvl1pPr marL="0" indent="0" algn="l">
              <a:spcBef>
                <a:spcPts val="0"/>
              </a:spcBef>
              <a:buNone/>
              <a:defRPr lang="en-US" sz="2400" b="1" u="none" kern="1200" dirty="0">
                <a:solidFill>
                  <a:schemeClr val="bg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45058"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9688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46082"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0608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ph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47106" name="think-cell Slide" r:id="rId3" imgW="270" imgH="270" progId="">
              <p:embed/>
            </p:oleObj>
          </a:graphicData>
        </a:graphic>
      </p:graphicFrame>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48130"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304800"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lick to edit Master text styles</a:t>
            </a:r>
          </a:p>
        </p:txBody>
      </p:sp>
      <p:sp>
        <p:nvSpPr>
          <p:cNvPr id="5" name="Text Placeholder 5"/>
          <p:cNvSpPr>
            <a:spLocks noGrp="1"/>
          </p:cNvSpPr>
          <p:nvPr>
            <p:ph type="body" sz="quarter" idx="12"/>
          </p:nvPr>
        </p:nvSpPr>
        <p:spPr>
          <a:xfrm>
            <a:off x="304801"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3" name="Text Placeholder 3"/>
          <p:cNvSpPr>
            <a:spLocks noGrp="1"/>
          </p:cNvSpPr>
          <p:nvPr>
            <p:ph type="body" sz="quarter" idx="13"/>
          </p:nvPr>
        </p:nvSpPr>
        <p:spPr>
          <a:xfrm>
            <a:off x="4876801"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ext styles</a:t>
            </a:r>
          </a:p>
        </p:txBody>
      </p:sp>
      <p:sp>
        <p:nvSpPr>
          <p:cNvPr id="14" name="Text Placeholder 5"/>
          <p:cNvSpPr>
            <a:spLocks noGrp="1"/>
          </p:cNvSpPr>
          <p:nvPr>
            <p:ph type="body" sz="quarter" idx="14"/>
          </p:nvPr>
        </p:nvSpPr>
        <p:spPr>
          <a:xfrm>
            <a:off x="4876802"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49154"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9" name="Text Placeholder 18"/>
          <p:cNvSpPr>
            <a:spLocks noGrp="1"/>
          </p:cNvSpPr>
          <p:nvPr>
            <p:ph type="body" sz="quarter" idx="11"/>
          </p:nvPr>
        </p:nvSpPr>
        <p:spPr>
          <a:xfrm>
            <a:off x="762000" y="2971800"/>
            <a:ext cx="7620000" cy="685800"/>
          </a:xfrm>
        </p:spPr>
        <p:txBody>
          <a:bodyPr anchor="ctr" anchorCtr="1">
            <a:normAutofit/>
          </a:bodyPr>
          <a:lstStyle>
            <a:lvl1pPr algn="ctr">
              <a:defRPr sz="2800"/>
            </a:lvl1pPr>
          </a:lstStyle>
          <a:p>
            <a:pPr lvl="0"/>
            <a:r>
              <a:rPr lang="en-US" smtClean="0"/>
              <a:t>Click to edit Master text styles</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50178"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286"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286"/>
            </a:lvl1pPr>
            <a:lvl2pPr>
              <a:defRPr sz="1905"/>
            </a:lvl2pPr>
            <a:lvl3pPr>
              <a:defRPr sz="1714"/>
            </a:lvl3pPr>
            <a:lvl4pPr>
              <a:defRPr sz="1524"/>
            </a:lvl4pPr>
            <a:lvl5pPr>
              <a:defRPr sz="1524"/>
            </a:lvl5pPr>
            <a:lvl6pPr>
              <a:defRPr sz="1524"/>
            </a:lvl6pPr>
            <a:lvl7pPr>
              <a:defRPr sz="1524"/>
            </a:lvl7pPr>
            <a:lvl8pPr>
              <a:defRPr sz="1524"/>
            </a:lvl8pPr>
            <a:lvl9pPr>
              <a:defRPr sz="152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286"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286"/>
            </a:lvl1pPr>
            <a:lvl2pPr>
              <a:defRPr sz="1905"/>
            </a:lvl2pPr>
            <a:lvl3pPr>
              <a:defRPr sz="1714"/>
            </a:lvl3pPr>
            <a:lvl4pPr>
              <a:defRPr sz="1524"/>
            </a:lvl4pPr>
            <a:lvl5pPr>
              <a:defRPr sz="1524"/>
            </a:lvl5pPr>
            <a:lvl6pPr>
              <a:defRPr sz="1524"/>
            </a:lvl6pPr>
            <a:lvl7pPr>
              <a:defRPr sz="1524"/>
            </a:lvl7pPr>
            <a:lvl8pPr>
              <a:defRPr sz="1524"/>
            </a:lvl8pPr>
            <a:lvl9pPr>
              <a:defRPr sz="152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 xmlns:p14="http://schemas.microsoft.com/office/powerpoint/2010/main" val="21973958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Graph title">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51202" name="think-cell Slide" r:id="rId3" imgW="270" imgH="270" progId="">
              <p:embed/>
            </p:oleObj>
          </a:graphicData>
        </a:graphic>
      </p:graphicFrame>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52226" name="think-cell Slide" r:id="rId3" imgW="270" imgH="270" progId="">
              <p:embed/>
            </p:oleObj>
          </a:graphicData>
        </a:graphic>
      </p:graphicFrame>
      <p:sp>
        <p:nvSpPr>
          <p:cNvPr id="5" name="Text Placeholder 4"/>
          <p:cNvSpPr>
            <a:spLocks noGrp="1"/>
          </p:cNvSpPr>
          <p:nvPr>
            <p:ph type="body" sz="quarter" idx="11"/>
          </p:nvPr>
        </p:nvSpPr>
        <p:spPr>
          <a:xfrm>
            <a:off x="323850" y="1447800"/>
            <a:ext cx="8496300" cy="4718050"/>
          </a:xfrm>
          <a:prstGeom prst="rect">
            <a:avLst/>
          </a:prstGeom>
        </p:spPr>
        <p:txBody>
          <a:bodyPr/>
          <a:lstStyle>
            <a:lvl1pPr>
              <a:spcBef>
                <a:spcPts val="900"/>
              </a:spcBef>
              <a:buFont typeface="Arial" pitchFamily="34" charset="0"/>
              <a:buNone/>
              <a:defRPr/>
            </a:lvl1pPr>
            <a:lvl2pPr marL="346075" indent="12700">
              <a:spcBef>
                <a:spcPts val="900"/>
              </a:spcBef>
              <a:buNone/>
              <a:defRPr/>
            </a:lvl2pPr>
            <a:lvl3pPr marL="631825" indent="-273050">
              <a:spcBef>
                <a:spcPts val="900"/>
              </a:spcBef>
              <a:defRPr/>
            </a:lvl3pPr>
            <a:lvl4pPr>
              <a:spcBef>
                <a:spcPts val="900"/>
              </a:spcBef>
              <a:defRPr/>
            </a:lvl4pPr>
            <a:lvl5pPr>
              <a:spcBef>
                <a:spcPts val="9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lide Number Placeholder 9"/>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78" name="Title 1"/>
          <p:cNvSpPr>
            <a:spLocks noGrp="1"/>
          </p:cNvSpPr>
          <p:nvPr>
            <p:ph type="title"/>
          </p:nvPr>
        </p:nvSpPr>
        <p:spPr>
          <a:xfrm>
            <a:off x="107504" y="346646"/>
            <a:ext cx="5760640" cy="562074"/>
          </a:xfrm>
        </p:spPr>
        <p:txBody>
          <a:bodyPr anchor="ctr"/>
          <a:lstStyle>
            <a:lvl1pPr>
              <a:lnSpc>
                <a:spcPct val="100000"/>
              </a:lnSpc>
              <a:defRPr sz="2400"/>
            </a:lvl1pPr>
          </a:lstStyle>
          <a:p>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000000"/>
        </a:solidFill>
        <a:effectLst/>
      </p:bgPr>
    </p:bg>
    <p:spTree>
      <p:nvGrpSpPr>
        <p:cNvPr id="1" name=""/>
        <p:cNvGrpSpPr/>
        <p:nvPr/>
      </p:nvGrpSpPr>
      <p:grpSpPr>
        <a:xfrm>
          <a:off x="0" y="0"/>
          <a:ext cx="0" cy="0"/>
          <a:chOff x="0" y="0"/>
          <a:chExt cx="0" cy="0"/>
        </a:xfrm>
      </p:grpSpPr>
      <p:grpSp>
        <p:nvGrpSpPr>
          <p:cNvPr id="2" name="Group 40"/>
          <p:cNvGrpSpPr/>
          <p:nvPr userDrawn="1"/>
        </p:nvGrpSpPr>
        <p:grpSpPr>
          <a:xfrm>
            <a:off x="7020272" y="6273680"/>
            <a:ext cx="1761084" cy="432048"/>
            <a:chOff x="7020272" y="332656"/>
            <a:chExt cx="1761084" cy="432048"/>
          </a:xfrm>
        </p:grpSpPr>
        <p:grpSp>
          <p:nvGrpSpPr>
            <p:cNvPr id="3" name="51 Grupo"/>
            <p:cNvGrpSpPr/>
            <p:nvPr userDrawn="1"/>
          </p:nvGrpSpPr>
          <p:grpSpPr>
            <a:xfrm>
              <a:off x="7020272" y="341571"/>
              <a:ext cx="1761084" cy="423133"/>
              <a:chOff x="4860032" y="2780928"/>
              <a:chExt cx="2393756" cy="575145"/>
            </a:xfrm>
            <a:solidFill>
              <a:srgbClr val="FFFFFF"/>
            </a:solidFill>
          </p:grpSpPr>
          <p:grpSp>
            <p:nvGrpSpPr>
              <p:cNvPr id="4" name="65 Grupo"/>
              <p:cNvGrpSpPr/>
              <p:nvPr userDrawn="1"/>
            </p:nvGrpSpPr>
            <p:grpSpPr>
              <a:xfrm>
                <a:off x="5039214" y="2780928"/>
                <a:ext cx="1204546" cy="230882"/>
                <a:chOff x="6227763" y="5518150"/>
                <a:chExt cx="1449387" cy="277812"/>
              </a:xfrm>
              <a:grpFill/>
            </p:grpSpPr>
            <p:sp>
              <p:nvSpPr>
                <p:cNvPr id="7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4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109 Rectángulo"/>
              <p:cNvSpPr/>
              <p:nvPr userDrawn="1"/>
            </p:nvSpPr>
            <p:spPr bwMode="auto">
              <a:xfrm>
                <a:off x="4860032" y="3079385"/>
                <a:ext cx="2393756" cy="37996"/>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5" name="Group 5"/>
            <p:cNvGrpSpPr>
              <a:grpSpLocks noChangeAspect="1"/>
            </p:cNvGrpSpPr>
            <p:nvPr userDrawn="1"/>
          </p:nvGrpSpPr>
          <p:grpSpPr bwMode="auto">
            <a:xfrm>
              <a:off x="8079796" y="332656"/>
              <a:ext cx="582301" cy="182514"/>
              <a:chOff x="1066" y="543"/>
              <a:chExt cx="2262" cy="709"/>
            </a:xfrm>
            <a:solidFill>
              <a:srgbClr val="FFFFFF"/>
            </a:solidFill>
          </p:grpSpPr>
          <p:sp>
            <p:nvSpPr>
              <p:cNvPr id="44"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5"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6"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pic>
        <p:nvPicPr>
          <p:cNvPr id="77" name="Picture 3"/>
          <p:cNvPicPr>
            <a:picLocks noChangeAspect="1" noChangeArrowheads="1"/>
          </p:cNvPicPr>
          <p:nvPr userDrawn="1"/>
        </p:nvPicPr>
        <p:blipFill>
          <a:blip r:embed="rId2" cstate="screen"/>
          <a:srcRect/>
          <a:stretch>
            <a:fillRect/>
          </a:stretch>
        </p:blipFill>
        <p:spPr bwMode="auto">
          <a:xfrm>
            <a:off x="395536" y="6345688"/>
            <a:ext cx="1137016" cy="288032"/>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nvGraphicFramePr>
        <p:xfrm>
          <a:off x="1587" y="1588"/>
          <a:ext cx="1587" cy="1587"/>
        </p:xfrm>
        <a:graphic>
          <a:graphicData uri="http://schemas.openxmlformats.org/presentationml/2006/ole">
            <p:oleObj spid="_x0000_s57346" name="think-cell Slide" r:id="rId3" imgW="270" imgH="270" progId="">
              <p:embed/>
            </p:oleObj>
          </a:graphicData>
        </a:graphic>
      </p:graphicFrame>
      <p:sp>
        <p:nvSpPr>
          <p:cNvPr id="53" name="52 Rectángulo"/>
          <p:cNvSpPr/>
          <p:nvPr userDrawn="1"/>
        </p:nvSpPr>
        <p:spPr bwMode="auto">
          <a:xfrm>
            <a:off x="0" y="5238000"/>
            <a:ext cx="9144000" cy="16200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sz="2000" b="1" u="sng" smtClean="0">
              <a:solidFill>
                <a:srgbClr val="000000"/>
              </a:solidFill>
              <a:latin typeface="Arial" charset="0"/>
              <a:cs typeface="Arial" charset="0"/>
            </a:endParaRPr>
          </a:p>
        </p:txBody>
      </p:sp>
      <p:pic>
        <p:nvPicPr>
          <p:cNvPr id="54" name="Picture 3"/>
          <p:cNvPicPr>
            <a:picLocks noChangeAspect="1" noChangeArrowheads="1"/>
          </p:cNvPicPr>
          <p:nvPr userDrawn="1"/>
        </p:nvPicPr>
        <p:blipFill>
          <a:blip r:embed="rId4" cstate="screen"/>
          <a:srcRect/>
          <a:stretch>
            <a:fillRect/>
          </a:stretch>
        </p:blipFill>
        <p:spPr bwMode="auto">
          <a:xfrm>
            <a:off x="395536" y="6381328"/>
            <a:ext cx="1137016" cy="288032"/>
          </a:xfrm>
          <a:prstGeom prst="rect">
            <a:avLst/>
          </a:prstGeom>
          <a:noFill/>
          <a:ln w="9525">
            <a:noFill/>
            <a:miter lim="800000"/>
            <a:headEnd/>
            <a:tailEnd/>
          </a:ln>
        </p:spPr>
      </p:pic>
      <p:sp>
        <p:nvSpPr>
          <p:cNvPr id="56" name="Freeform 12"/>
          <p:cNvSpPr>
            <a:spLocks/>
          </p:cNvSpPr>
          <p:nvPr userDrawn="1"/>
        </p:nvSpPr>
        <p:spPr bwMode="auto">
          <a:xfrm>
            <a:off x="0" y="5915506"/>
            <a:ext cx="6156176" cy="942494"/>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19"/>
          <p:cNvSpPr>
            <a:spLocks/>
          </p:cNvSpPr>
          <p:nvPr userDrawn="1"/>
        </p:nvSpPr>
        <p:spPr bwMode="auto">
          <a:xfrm>
            <a:off x="0" y="6311900"/>
            <a:ext cx="14288" cy="14288"/>
          </a:xfrm>
          <a:custGeom>
            <a:avLst/>
            <a:gdLst/>
            <a:ahLst/>
            <a:cxnLst>
              <a:cxn ang="0">
                <a:pos x="18" y="34"/>
              </a:cxn>
              <a:cxn ang="0">
                <a:pos x="0" y="34"/>
              </a:cxn>
              <a:cxn ang="0">
                <a:pos x="0" y="16"/>
              </a:cxn>
              <a:cxn ang="0">
                <a:pos x="34" y="16"/>
              </a:cxn>
              <a:cxn ang="0">
                <a:pos x="18" y="0"/>
              </a:cxn>
              <a:cxn ang="0">
                <a:pos x="18" y="34"/>
              </a:cxn>
            </a:cxnLst>
            <a:rect l="0" t="0" r="r" b="b"/>
            <a:pathLst>
              <a:path w="34" h="34">
                <a:moveTo>
                  <a:pt x="18" y="34"/>
                </a:moveTo>
                <a:lnTo>
                  <a:pt x="0" y="34"/>
                </a:lnTo>
                <a:lnTo>
                  <a:pt x="0" y="16"/>
                </a:lnTo>
                <a:lnTo>
                  <a:pt x="34" y="16"/>
                </a:lnTo>
                <a:lnTo>
                  <a:pt x="18" y="0"/>
                </a:lnTo>
                <a:lnTo>
                  <a:pt x="18" y="34"/>
                </a:lnTo>
                <a:close/>
              </a:path>
            </a:pathLst>
          </a:custGeom>
          <a:solidFill>
            <a:srgbClr val="5177B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49 Rectángulo"/>
          <p:cNvSpPr/>
          <p:nvPr userDrawn="1"/>
        </p:nvSpPr>
        <p:spPr bwMode="auto">
          <a:xfrm flipV="1">
            <a:off x="0" y="6669360"/>
            <a:ext cx="9143999" cy="188640"/>
          </a:xfrm>
          <a:prstGeom prst="rect">
            <a:avLst/>
          </a:prstGeom>
          <a:solidFill>
            <a:srgbClr val="061F5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96" name="95 Rectángulo"/>
          <p:cNvSpPr/>
          <p:nvPr userDrawn="1"/>
        </p:nvSpPr>
        <p:spPr bwMode="auto">
          <a:xfrm>
            <a:off x="0" y="5190932"/>
            <a:ext cx="9144000" cy="45719"/>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2" name="Group 12"/>
          <p:cNvGrpSpPr>
            <a:grpSpLocks noChangeAspect="1"/>
          </p:cNvGrpSpPr>
          <p:nvPr userDrawn="1"/>
        </p:nvGrpSpPr>
        <p:grpSpPr bwMode="auto">
          <a:xfrm>
            <a:off x="323850" y="6162823"/>
            <a:ext cx="1135063" cy="290513"/>
            <a:chOff x="204" y="3837"/>
            <a:chExt cx="715" cy="183"/>
          </a:xfrm>
          <a:solidFill>
            <a:schemeClr val="bg1"/>
          </a:solidFill>
        </p:grpSpPr>
        <p:sp>
          <p:nvSpPr>
            <p:cNvPr id="1037" name="Freeform 13"/>
            <p:cNvSpPr>
              <a:spLocks/>
            </p:cNvSpPr>
            <p:nvPr userDrawn="1"/>
          </p:nvSpPr>
          <p:spPr bwMode="auto">
            <a:xfrm>
              <a:off x="204" y="3837"/>
              <a:ext cx="232" cy="183"/>
            </a:xfrm>
            <a:custGeom>
              <a:avLst/>
              <a:gdLst/>
              <a:ahLst/>
              <a:cxnLst>
                <a:cxn ang="0">
                  <a:pos x="1390" y="0"/>
                </a:cxn>
                <a:cxn ang="0">
                  <a:pos x="910" y="548"/>
                </a:cxn>
                <a:cxn ang="0">
                  <a:pos x="429" y="1096"/>
                </a:cxn>
                <a:cxn ang="0">
                  <a:pos x="0" y="1096"/>
                </a:cxn>
                <a:cxn ang="0">
                  <a:pos x="480" y="548"/>
                </a:cxn>
                <a:cxn ang="0">
                  <a:pos x="961" y="0"/>
                </a:cxn>
                <a:cxn ang="0">
                  <a:pos x="1390" y="0"/>
                </a:cxn>
              </a:cxnLst>
              <a:rect l="0" t="0" r="r" b="b"/>
              <a:pathLst>
                <a:path w="1390" h="1096">
                  <a:moveTo>
                    <a:pt x="1390" y="0"/>
                  </a:moveTo>
                  <a:lnTo>
                    <a:pt x="910" y="548"/>
                  </a:lnTo>
                  <a:lnTo>
                    <a:pt x="429"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8" name="Freeform 14"/>
            <p:cNvSpPr>
              <a:spLocks/>
            </p:cNvSpPr>
            <p:nvPr userDrawn="1"/>
          </p:nvSpPr>
          <p:spPr bwMode="auto">
            <a:xfrm>
              <a:off x="301" y="3837"/>
              <a:ext cx="231" cy="183"/>
            </a:xfrm>
            <a:custGeom>
              <a:avLst/>
              <a:gdLst/>
              <a:ahLst/>
              <a:cxnLst>
                <a:cxn ang="0">
                  <a:pos x="1390" y="0"/>
                </a:cxn>
                <a:cxn ang="0">
                  <a:pos x="910" y="548"/>
                </a:cxn>
                <a:cxn ang="0">
                  <a:pos x="431" y="1096"/>
                </a:cxn>
                <a:cxn ang="0">
                  <a:pos x="0" y="1096"/>
                </a:cxn>
                <a:cxn ang="0">
                  <a:pos x="480" y="548"/>
                </a:cxn>
                <a:cxn ang="0">
                  <a:pos x="961" y="0"/>
                </a:cxn>
                <a:cxn ang="0">
                  <a:pos x="1390" y="0"/>
                </a:cxn>
              </a:cxnLst>
              <a:rect l="0" t="0" r="r" b="b"/>
              <a:pathLst>
                <a:path w="1390" h="1096">
                  <a:moveTo>
                    <a:pt x="1390" y="0"/>
                  </a:moveTo>
                  <a:lnTo>
                    <a:pt x="910" y="548"/>
                  </a:lnTo>
                  <a:lnTo>
                    <a:pt x="431"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9" name="Freeform 15"/>
            <p:cNvSpPr>
              <a:spLocks/>
            </p:cNvSpPr>
            <p:nvPr userDrawn="1"/>
          </p:nvSpPr>
          <p:spPr bwMode="auto">
            <a:xfrm>
              <a:off x="539" y="3944"/>
              <a:ext cx="81" cy="76"/>
            </a:xfrm>
            <a:custGeom>
              <a:avLst/>
              <a:gdLst/>
              <a:ahLst/>
              <a:cxnLst>
                <a:cxn ang="0">
                  <a:pos x="0" y="116"/>
                </a:cxn>
                <a:cxn ang="0">
                  <a:pos x="4" y="93"/>
                </a:cxn>
                <a:cxn ang="0">
                  <a:pos x="11" y="71"/>
                </a:cxn>
                <a:cxn ang="0">
                  <a:pos x="15" y="61"/>
                </a:cxn>
                <a:cxn ang="0">
                  <a:pos x="28" y="42"/>
                </a:cxn>
                <a:cxn ang="0">
                  <a:pos x="46" y="27"/>
                </a:cxn>
                <a:cxn ang="0">
                  <a:pos x="55" y="20"/>
                </a:cxn>
                <a:cxn ang="0">
                  <a:pos x="64" y="14"/>
                </a:cxn>
                <a:cxn ang="0">
                  <a:pos x="86" y="6"/>
                </a:cxn>
                <a:cxn ang="0">
                  <a:pos x="98" y="2"/>
                </a:cxn>
                <a:cxn ang="0">
                  <a:pos x="109" y="1"/>
                </a:cxn>
                <a:cxn ang="0">
                  <a:pos x="487" y="0"/>
                </a:cxn>
                <a:cxn ang="0">
                  <a:pos x="140" y="111"/>
                </a:cxn>
                <a:cxn ang="0">
                  <a:pos x="132" y="114"/>
                </a:cxn>
                <a:cxn ang="0">
                  <a:pos x="124" y="118"/>
                </a:cxn>
                <a:cxn ang="0">
                  <a:pos x="120" y="125"/>
                </a:cxn>
                <a:cxn ang="0">
                  <a:pos x="118" y="133"/>
                </a:cxn>
                <a:cxn ang="0">
                  <a:pos x="118" y="327"/>
                </a:cxn>
                <a:cxn ang="0">
                  <a:pos x="122" y="336"/>
                </a:cxn>
                <a:cxn ang="0">
                  <a:pos x="124" y="339"/>
                </a:cxn>
                <a:cxn ang="0">
                  <a:pos x="132" y="344"/>
                </a:cxn>
                <a:cxn ang="0">
                  <a:pos x="140" y="346"/>
                </a:cxn>
                <a:cxn ang="0">
                  <a:pos x="487" y="457"/>
                </a:cxn>
                <a:cxn ang="0">
                  <a:pos x="112" y="457"/>
                </a:cxn>
                <a:cxn ang="0">
                  <a:pos x="88" y="453"/>
                </a:cxn>
                <a:cxn ang="0">
                  <a:pos x="66" y="444"/>
                </a:cxn>
                <a:cxn ang="0">
                  <a:pos x="56" y="438"/>
                </a:cxn>
                <a:cxn ang="0">
                  <a:pos x="42" y="427"/>
                </a:cxn>
                <a:cxn ang="0">
                  <a:pos x="29" y="416"/>
                </a:cxn>
                <a:cxn ang="0">
                  <a:pos x="19" y="402"/>
                </a:cxn>
                <a:cxn ang="0">
                  <a:pos x="11" y="388"/>
                </a:cxn>
                <a:cxn ang="0">
                  <a:pos x="4" y="366"/>
                </a:cxn>
                <a:cxn ang="0">
                  <a:pos x="2" y="343"/>
                </a:cxn>
              </a:cxnLst>
              <a:rect l="0" t="0" r="r" b="b"/>
              <a:pathLst>
                <a:path w="487" h="457">
                  <a:moveTo>
                    <a:pt x="0" y="336"/>
                  </a:moveTo>
                  <a:lnTo>
                    <a:pt x="0" y="116"/>
                  </a:lnTo>
                  <a:lnTo>
                    <a:pt x="2" y="104"/>
                  </a:lnTo>
                  <a:lnTo>
                    <a:pt x="4" y="93"/>
                  </a:lnTo>
                  <a:lnTo>
                    <a:pt x="6" y="82"/>
                  </a:lnTo>
                  <a:lnTo>
                    <a:pt x="11" y="71"/>
                  </a:lnTo>
                  <a:lnTo>
                    <a:pt x="13" y="65"/>
                  </a:lnTo>
                  <a:lnTo>
                    <a:pt x="15" y="61"/>
                  </a:lnTo>
                  <a:lnTo>
                    <a:pt x="21" y="51"/>
                  </a:lnTo>
                  <a:lnTo>
                    <a:pt x="28" y="42"/>
                  </a:lnTo>
                  <a:lnTo>
                    <a:pt x="36" y="34"/>
                  </a:lnTo>
                  <a:lnTo>
                    <a:pt x="46" y="27"/>
                  </a:lnTo>
                  <a:lnTo>
                    <a:pt x="50" y="23"/>
                  </a:lnTo>
                  <a:lnTo>
                    <a:pt x="55" y="20"/>
                  </a:lnTo>
                  <a:lnTo>
                    <a:pt x="59" y="17"/>
                  </a:lnTo>
                  <a:lnTo>
                    <a:pt x="64" y="14"/>
                  </a:lnTo>
                  <a:lnTo>
                    <a:pt x="75" y="9"/>
                  </a:lnTo>
                  <a:lnTo>
                    <a:pt x="86" y="6"/>
                  </a:lnTo>
                  <a:lnTo>
                    <a:pt x="92" y="3"/>
                  </a:lnTo>
                  <a:lnTo>
                    <a:pt x="98" y="2"/>
                  </a:lnTo>
                  <a:lnTo>
                    <a:pt x="103" y="1"/>
                  </a:lnTo>
                  <a:lnTo>
                    <a:pt x="109" y="1"/>
                  </a:lnTo>
                  <a:lnTo>
                    <a:pt x="122" y="0"/>
                  </a:lnTo>
                  <a:lnTo>
                    <a:pt x="487" y="0"/>
                  </a:lnTo>
                  <a:lnTo>
                    <a:pt x="487" y="111"/>
                  </a:lnTo>
                  <a:lnTo>
                    <a:pt x="140" y="111"/>
                  </a:lnTo>
                  <a:lnTo>
                    <a:pt x="136" y="112"/>
                  </a:lnTo>
                  <a:lnTo>
                    <a:pt x="132" y="114"/>
                  </a:lnTo>
                  <a:lnTo>
                    <a:pt x="128" y="116"/>
                  </a:lnTo>
                  <a:lnTo>
                    <a:pt x="124" y="118"/>
                  </a:lnTo>
                  <a:lnTo>
                    <a:pt x="122" y="121"/>
                  </a:lnTo>
                  <a:lnTo>
                    <a:pt x="120" y="125"/>
                  </a:lnTo>
                  <a:lnTo>
                    <a:pt x="118" y="129"/>
                  </a:lnTo>
                  <a:lnTo>
                    <a:pt x="118" y="133"/>
                  </a:lnTo>
                  <a:lnTo>
                    <a:pt x="118" y="323"/>
                  </a:lnTo>
                  <a:lnTo>
                    <a:pt x="118" y="327"/>
                  </a:lnTo>
                  <a:lnTo>
                    <a:pt x="120" y="332"/>
                  </a:lnTo>
                  <a:lnTo>
                    <a:pt x="122" y="336"/>
                  </a:lnTo>
                  <a:lnTo>
                    <a:pt x="123" y="337"/>
                  </a:lnTo>
                  <a:lnTo>
                    <a:pt x="124" y="339"/>
                  </a:lnTo>
                  <a:lnTo>
                    <a:pt x="128" y="341"/>
                  </a:lnTo>
                  <a:lnTo>
                    <a:pt x="132" y="344"/>
                  </a:lnTo>
                  <a:lnTo>
                    <a:pt x="136" y="346"/>
                  </a:lnTo>
                  <a:lnTo>
                    <a:pt x="140" y="346"/>
                  </a:lnTo>
                  <a:lnTo>
                    <a:pt x="487" y="346"/>
                  </a:lnTo>
                  <a:lnTo>
                    <a:pt x="487" y="457"/>
                  </a:lnTo>
                  <a:lnTo>
                    <a:pt x="124" y="457"/>
                  </a:lnTo>
                  <a:lnTo>
                    <a:pt x="112" y="457"/>
                  </a:lnTo>
                  <a:lnTo>
                    <a:pt x="100" y="455"/>
                  </a:lnTo>
                  <a:lnTo>
                    <a:pt x="88" y="453"/>
                  </a:lnTo>
                  <a:lnTo>
                    <a:pt x="77" y="448"/>
                  </a:lnTo>
                  <a:lnTo>
                    <a:pt x="66" y="444"/>
                  </a:lnTo>
                  <a:lnTo>
                    <a:pt x="61" y="440"/>
                  </a:lnTo>
                  <a:lnTo>
                    <a:pt x="56" y="438"/>
                  </a:lnTo>
                  <a:lnTo>
                    <a:pt x="47" y="432"/>
                  </a:lnTo>
                  <a:lnTo>
                    <a:pt x="42" y="427"/>
                  </a:lnTo>
                  <a:lnTo>
                    <a:pt x="37" y="424"/>
                  </a:lnTo>
                  <a:lnTo>
                    <a:pt x="29" y="416"/>
                  </a:lnTo>
                  <a:lnTo>
                    <a:pt x="22" y="407"/>
                  </a:lnTo>
                  <a:lnTo>
                    <a:pt x="19" y="402"/>
                  </a:lnTo>
                  <a:lnTo>
                    <a:pt x="17" y="398"/>
                  </a:lnTo>
                  <a:lnTo>
                    <a:pt x="11" y="388"/>
                  </a:lnTo>
                  <a:lnTo>
                    <a:pt x="7" y="377"/>
                  </a:lnTo>
                  <a:lnTo>
                    <a:pt x="4" y="366"/>
                  </a:lnTo>
                  <a:lnTo>
                    <a:pt x="3" y="355"/>
                  </a:lnTo>
                  <a:lnTo>
                    <a:pt x="2"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0" name="Rectangle 16"/>
            <p:cNvSpPr>
              <a:spLocks noChangeArrowheads="1"/>
            </p:cNvSpPr>
            <p:nvPr userDrawn="1"/>
          </p:nvSpPr>
          <p:spPr bwMode="auto">
            <a:xfrm>
              <a:off x="575"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1" name="Freeform 17"/>
            <p:cNvSpPr>
              <a:spLocks/>
            </p:cNvSpPr>
            <p:nvPr userDrawn="1"/>
          </p:nvSpPr>
          <p:spPr bwMode="auto">
            <a:xfrm>
              <a:off x="453" y="3944"/>
              <a:ext cx="80" cy="76"/>
            </a:xfrm>
            <a:custGeom>
              <a:avLst/>
              <a:gdLst/>
              <a:ahLst/>
              <a:cxnLst>
                <a:cxn ang="0">
                  <a:pos x="0" y="104"/>
                </a:cxn>
                <a:cxn ang="0">
                  <a:pos x="4" y="82"/>
                </a:cxn>
                <a:cxn ang="0">
                  <a:pos x="11" y="65"/>
                </a:cxn>
                <a:cxn ang="0">
                  <a:pos x="19" y="51"/>
                </a:cxn>
                <a:cxn ang="0">
                  <a:pos x="35" y="34"/>
                </a:cxn>
                <a:cxn ang="0">
                  <a:pos x="48" y="23"/>
                </a:cxn>
                <a:cxn ang="0">
                  <a:pos x="58" y="17"/>
                </a:cxn>
                <a:cxn ang="0">
                  <a:pos x="74" y="9"/>
                </a:cxn>
                <a:cxn ang="0">
                  <a:pos x="90" y="3"/>
                </a:cxn>
                <a:cxn ang="0">
                  <a:pos x="102" y="1"/>
                </a:cxn>
                <a:cxn ang="0">
                  <a:pos x="120" y="0"/>
                </a:cxn>
                <a:cxn ang="0">
                  <a:pos x="480" y="111"/>
                </a:cxn>
                <a:cxn ang="0">
                  <a:pos x="134" y="112"/>
                </a:cxn>
                <a:cxn ang="0">
                  <a:pos x="126" y="116"/>
                </a:cxn>
                <a:cxn ang="0">
                  <a:pos x="120" y="121"/>
                </a:cxn>
                <a:cxn ang="0">
                  <a:pos x="117" y="129"/>
                </a:cxn>
                <a:cxn ang="0">
                  <a:pos x="117" y="323"/>
                </a:cxn>
                <a:cxn ang="0">
                  <a:pos x="118" y="332"/>
                </a:cxn>
                <a:cxn ang="0">
                  <a:pos x="121" y="337"/>
                </a:cxn>
                <a:cxn ang="0">
                  <a:pos x="126" y="341"/>
                </a:cxn>
                <a:cxn ang="0">
                  <a:pos x="134" y="346"/>
                </a:cxn>
                <a:cxn ang="0">
                  <a:pos x="480" y="346"/>
                </a:cxn>
                <a:cxn ang="0">
                  <a:pos x="122" y="457"/>
                </a:cxn>
                <a:cxn ang="0">
                  <a:pos x="98" y="455"/>
                </a:cxn>
                <a:cxn ang="0">
                  <a:pos x="75" y="447"/>
                </a:cxn>
                <a:cxn ang="0">
                  <a:pos x="54" y="436"/>
                </a:cxn>
                <a:cxn ang="0">
                  <a:pos x="40" y="424"/>
                </a:cxn>
                <a:cxn ang="0">
                  <a:pos x="28" y="412"/>
                </a:cxn>
                <a:cxn ang="0">
                  <a:pos x="15" y="392"/>
                </a:cxn>
                <a:cxn ang="0">
                  <a:pos x="9" y="382"/>
                </a:cxn>
                <a:cxn ang="0">
                  <a:pos x="2" y="359"/>
                </a:cxn>
                <a:cxn ang="0">
                  <a:pos x="0" y="336"/>
                </a:cxn>
              </a:cxnLst>
              <a:rect l="0" t="0" r="r" b="b"/>
              <a:pathLst>
                <a:path w="480" h="457">
                  <a:moveTo>
                    <a:pt x="0" y="116"/>
                  </a:moveTo>
                  <a:lnTo>
                    <a:pt x="0" y="104"/>
                  </a:lnTo>
                  <a:lnTo>
                    <a:pt x="2" y="93"/>
                  </a:lnTo>
                  <a:lnTo>
                    <a:pt x="4" y="82"/>
                  </a:lnTo>
                  <a:lnTo>
                    <a:pt x="9" y="71"/>
                  </a:lnTo>
                  <a:lnTo>
                    <a:pt x="11" y="65"/>
                  </a:lnTo>
                  <a:lnTo>
                    <a:pt x="14" y="61"/>
                  </a:lnTo>
                  <a:lnTo>
                    <a:pt x="19" y="51"/>
                  </a:lnTo>
                  <a:lnTo>
                    <a:pt x="26" y="42"/>
                  </a:lnTo>
                  <a:lnTo>
                    <a:pt x="35" y="34"/>
                  </a:lnTo>
                  <a:lnTo>
                    <a:pt x="44" y="27"/>
                  </a:lnTo>
                  <a:lnTo>
                    <a:pt x="48" y="23"/>
                  </a:lnTo>
                  <a:lnTo>
                    <a:pt x="53" y="20"/>
                  </a:lnTo>
                  <a:lnTo>
                    <a:pt x="58" y="17"/>
                  </a:lnTo>
                  <a:lnTo>
                    <a:pt x="62" y="14"/>
                  </a:lnTo>
                  <a:lnTo>
                    <a:pt x="74" y="9"/>
                  </a:lnTo>
                  <a:lnTo>
                    <a:pt x="84" y="6"/>
                  </a:lnTo>
                  <a:lnTo>
                    <a:pt x="90" y="3"/>
                  </a:lnTo>
                  <a:lnTo>
                    <a:pt x="96" y="2"/>
                  </a:lnTo>
                  <a:lnTo>
                    <a:pt x="102" y="1"/>
                  </a:lnTo>
                  <a:lnTo>
                    <a:pt x="109" y="1"/>
                  </a:lnTo>
                  <a:lnTo>
                    <a:pt x="120" y="0"/>
                  </a:lnTo>
                  <a:lnTo>
                    <a:pt x="480" y="0"/>
                  </a:lnTo>
                  <a:lnTo>
                    <a:pt x="480" y="111"/>
                  </a:lnTo>
                  <a:lnTo>
                    <a:pt x="139" y="111"/>
                  </a:lnTo>
                  <a:lnTo>
                    <a:pt x="134" y="112"/>
                  </a:lnTo>
                  <a:lnTo>
                    <a:pt x="131" y="114"/>
                  </a:lnTo>
                  <a:lnTo>
                    <a:pt x="126" y="116"/>
                  </a:lnTo>
                  <a:lnTo>
                    <a:pt x="122" y="118"/>
                  </a:lnTo>
                  <a:lnTo>
                    <a:pt x="120" y="121"/>
                  </a:lnTo>
                  <a:lnTo>
                    <a:pt x="118" y="125"/>
                  </a:lnTo>
                  <a:lnTo>
                    <a:pt x="117" y="129"/>
                  </a:lnTo>
                  <a:lnTo>
                    <a:pt x="117" y="133"/>
                  </a:lnTo>
                  <a:lnTo>
                    <a:pt x="117" y="323"/>
                  </a:lnTo>
                  <a:lnTo>
                    <a:pt x="117" y="327"/>
                  </a:lnTo>
                  <a:lnTo>
                    <a:pt x="118" y="332"/>
                  </a:lnTo>
                  <a:lnTo>
                    <a:pt x="120" y="336"/>
                  </a:lnTo>
                  <a:lnTo>
                    <a:pt x="121" y="337"/>
                  </a:lnTo>
                  <a:lnTo>
                    <a:pt x="122" y="339"/>
                  </a:lnTo>
                  <a:lnTo>
                    <a:pt x="126" y="341"/>
                  </a:lnTo>
                  <a:lnTo>
                    <a:pt x="131" y="344"/>
                  </a:lnTo>
                  <a:lnTo>
                    <a:pt x="134" y="346"/>
                  </a:lnTo>
                  <a:lnTo>
                    <a:pt x="139" y="346"/>
                  </a:lnTo>
                  <a:lnTo>
                    <a:pt x="480" y="346"/>
                  </a:lnTo>
                  <a:lnTo>
                    <a:pt x="480" y="457"/>
                  </a:lnTo>
                  <a:lnTo>
                    <a:pt x="122" y="457"/>
                  </a:lnTo>
                  <a:lnTo>
                    <a:pt x="110" y="457"/>
                  </a:lnTo>
                  <a:lnTo>
                    <a:pt x="98" y="455"/>
                  </a:lnTo>
                  <a:lnTo>
                    <a:pt x="87" y="451"/>
                  </a:lnTo>
                  <a:lnTo>
                    <a:pt x="75" y="447"/>
                  </a:lnTo>
                  <a:lnTo>
                    <a:pt x="65" y="442"/>
                  </a:lnTo>
                  <a:lnTo>
                    <a:pt x="54" y="436"/>
                  </a:lnTo>
                  <a:lnTo>
                    <a:pt x="45" y="428"/>
                  </a:lnTo>
                  <a:lnTo>
                    <a:pt x="40" y="424"/>
                  </a:lnTo>
                  <a:lnTo>
                    <a:pt x="36" y="421"/>
                  </a:lnTo>
                  <a:lnTo>
                    <a:pt x="28" y="412"/>
                  </a:lnTo>
                  <a:lnTo>
                    <a:pt x="21" y="402"/>
                  </a:lnTo>
                  <a:lnTo>
                    <a:pt x="15" y="392"/>
                  </a:lnTo>
                  <a:lnTo>
                    <a:pt x="11" y="387"/>
                  </a:lnTo>
                  <a:lnTo>
                    <a:pt x="9" y="382"/>
                  </a:lnTo>
                  <a:lnTo>
                    <a:pt x="6" y="371"/>
                  </a:lnTo>
                  <a:lnTo>
                    <a:pt x="2" y="359"/>
                  </a:lnTo>
                  <a:lnTo>
                    <a:pt x="0" y="348"/>
                  </a:lnTo>
                  <a:lnTo>
                    <a:pt x="0" y="336"/>
                  </a:lnTo>
                  <a:lnTo>
                    <a:pt x="0" y="1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2" name="Freeform 18"/>
            <p:cNvSpPr>
              <a:spLocks/>
            </p:cNvSpPr>
            <p:nvPr userDrawn="1"/>
          </p:nvSpPr>
          <p:spPr bwMode="auto">
            <a:xfrm>
              <a:off x="737" y="3944"/>
              <a:ext cx="81" cy="76"/>
            </a:xfrm>
            <a:custGeom>
              <a:avLst/>
              <a:gdLst/>
              <a:ahLst/>
              <a:cxnLst>
                <a:cxn ang="0">
                  <a:pos x="0" y="116"/>
                </a:cxn>
                <a:cxn ang="0">
                  <a:pos x="3" y="93"/>
                </a:cxn>
                <a:cxn ang="0">
                  <a:pos x="10" y="71"/>
                </a:cxn>
                <a:cxn ang="0">
                  <a:pos x="15" y="61"/>
                </a:cxn>
                <a:cxn ang="0">
                  <a:pos x="27" y="42"/>
                </a:cxn>
                <a:cxn ang="0">
                  <a:pos x="45" y="27"/>
                </a:cxn>
                <a:cxn ang="0">
                  <a:pos x="54" y="20"/>
                </a:cxn>
                <a:cxn ang="0">
                  <a:pos x="63" y="14"/>
                </a:cxn>
                <a:cxn ang="0">
                  <a:pos x="85" y="6"/>
                </a:cxn>
                <a:cxn ang="0">
                  <a:pos x="97" y="2"/>
                </a:cxn>
                <a:cxn ang="0">
                  <a:pos x="108" y="1"/>
                </a:cxn>
                <a:cxn ang="0">
                  <a:pos x="486" y="0"/>
                </a:cxn>
                <a:cxn ang="0">
                  <a:pos x="140" y="111"/>
                </a:cxn>
                <a:cxn ang="0">
                  <a:pos x="132" y="114"/>
                </a:cxn>
                <a:cxn ang="0">
                  <a:pos x="124" y="118"/>
                </a:cxn>
                <a:cxn ang="0">
                  <a:pos x="119" y="125"/>
                </a:cxn>
                <a:cxn ang="0">
                  <a:pos x="118" y="133"/>
                </a:cxn>
                <a:cxn ang="0">
                  <a:pos x="118" y="327"/>
                </a:cxn>
                <a:cxn ang="0">
                  <a:pos x="121" y="336"/>
                </a:cxn>
                <a:cxn ang="0">
                  <a:pos x="124" y="339"/>
                </a:cxn>
                <a:cxn ang="0">
                  <a:pos x="132" y="344"/>
                </a:cxn>
                <a:cxn ang="0">
                  <a:pos x="140" y="346"/>
                </a:cxn>
                <a:cxn ang="0">
                  <a:pos x="486" y="457"/>
                </a:cxn>
                <a:cxn ang="0">
                  <a:pos x="111" y="457"/>
                </a:cxn>
                <a:cxn ang="0">
                  <a:pos x="88" y="453"/>
                </a:cxn>
                <a:cxn ang="0">
                  <a:pos x="66" y="444"/>
                </a:cxn>
                <a:cxn ang="0">
                  <a:pos x="55" y="438"/>
                </a:cxn>
                <a:cxn ang="0">
                  <a:pos x="41" y="427"/>
                </a:cxn>
                <a:cxn ang="0">
                  <a:pos x="29" y="416"/>
                </a:cxn>
                <a:cxn ang="0">
                  <a:pos x="18" y="402"/>
                </a:cxn>
                <a:cxn ang="0">
                  <a:pos x="10" y="388"/>
                </a:cxn>
                <a:cxn ang="0">
                  <a:pos x="3" y="366"/>
                </a:cxn>
                <a:cxn ang="0">
                  <a:pos x="1" y="343"/>
                </a:cxn>
              </a:cxnLst>
              <a:rect l="0" t="0" r="r" b="b"/>
              <a:pathLst>
                <a:path w="486" h="457">
                  <a:moveTo>
                    <a:pt x="0" y="336"/>
                  </a:moveTo>
                  <a:lnTo>
                    <a:pt x="0" y="116"/>
                  </a:lnTo>
                  <a:lnTo>
                    <a:pt x="1" y="104"/>
                  </a:lnTo>
                  <a:lnTo>
                    <a:pt x="3" y="93"/>
                  </a:lnTo>
                  <a:lnTo>
                    <a:pt x="5" y="82"/>
                  </a:lnTo>
                  <a:lnTo>
                    <a:pt x="10" y="71"/>
                  </a:lnTo>
                  <a:lnTo>
                    <a:pt x="12" y="65"/>
                  </a:lnTo>
                  <a:lnTo>
                    <a:pt x="15" y="61"/>
                  </a:lnTo>
                  <a:lnTo>
                    <a:pt x="21" y="51"/>
                  </a:lnTo>
                  <a:lnTo>
                    <a:pt x="27" y="42"/>
                  </a:lnTo>
                  <a:lnTo>
                    <a:pt x="36" y="34"/>
                  </a:lnTo>
                  <a:lnTo>
                    <a:pt x="45" y="27"/>
                  </a:lnTo>
                  <a:lnTo>
                    <a:pt x="49" y="23"/>
                  </a:lnTo>
                  <a:lnTo>
                    <a:pt x="54" y="20"/>
                  </a:lnTo>
                  <a:lnTo>
                    <a:pt x="59" y="17"/>
                  </a:lnTo>
                  <a:lnTo>
                    <a:pt x="63" y="14"/>
                  </a:lnTo>
                  <a:lnTo>
                    <a:pt x="74" y="9"/>
                  </a:lnTo>
                  <a:lnTo>
                    <a:pt x="85" y="6"/>
                  </a:lnTo>
                  <a:lnTo>
                    <a:pt x="91" y="3"/>
                  </a:lnTo>
                  <a:lnTo>
                    <a:pt x="97" y="2"/>
                  </a:lnTo>
                  <a:lnTo>
                    <a:pt x="103" y="1"/>
                  </a:lnTo>
                  <a:lnTo>
                    <a:pt x="108" y="1"/>
                  </a:lnTo>
                  <a:lnTo>
                    <a:pt x="121" y="0"/>
                  </a:lnTo>
                  <a:lnTo>
                    <a:pt x="486" y="0"/>
                  </a:lnTo>
                  <a:lnTo>
                    <a:pt x="486" y="111"/>
                  </a:lnTo>
                  <a:lnTo>
                    <a:pt x="140" y="111"/>
                  </a:lnTo>
                  <a:lnTo>
                    <a:pt x="135" y="112"/>
                  </a:lnTo>
                  <a:lnTo>
                    <a:pt x="132" y="114"/>
                  </a:lnTo>
                  <a:lnTo>
                    <a:pt x="127" y="116"/>
                  </a:lnTo>
                  <a:lnTo>
                    <a:pt x="124" y="118"/>
                  </a:lnTo>
                  <a:lnTo>
                    <a:pt x="121" y="121"/>
                  </a:lnTo>
                  <a:lnTo>
                    <a:pt x="119" y="125"/>
                  </a:lnTo>
                  <a:lnTo>
                    <a:pt x="118" y="129"/>
                  </a:lnTo>
                  <a:lnTo>
                    <a:pt x="118" y="133"/>
                  </a:lnTo>
                  <a:lnTo>
                    <a:pt x="118" y="323"/>
                  </a:lnTo>
                  <a:lnTo>
                    <a:pt x="118" y="327"/>
                  </a:lnTo>
                  <a:lnTo>
                    <a:pt x="119" y="332"/>
                  </a:lnTo>
                  <a:lnTo>
                    <a:pt x="121" y="336"/>
                  </a:lnTo>
                  <a:lnTo>
                    <a:pt x="122" y="337"/>
                  </a:lnTo>
                  <a:lnTo>
                    <a:pt x="124" y="339"/>
                  </a:lnTo>
                  <a:lnTo>
                    <a:pt x="127" y="341"/>
                  </a:lnTo>
                  <a:lnTo>
                    <a:pt x="132" y="344"/>
                  </a:lnTo>
                  <a:lnTo>
                    <a:pt x="135" y="346"/>
                  </a:lnTo>
                  <a:lnTo>
                    <a:pt x="140" y="346"/>
                  </a:lnTo>
                  <a:lnTo>
                    <a:pt x="486" y="346"/>
                  </a:lnTo>
                  <a:lnTo>
                    <a:pt x="486" y="457"/>
                  </a:lnTo>
                  <a:lnTo>
                    <a:pt x="124" y="457"/>
                  </a:lnTo>
                  <a:lnTo>
                    <a:pt x="111" y="457"/>
                  </a:lnTo>
                  <a:lnTo>
                    <a:pt x="99" y="455"/>
                  </a:lnTo>
                  <a:lnTo>
                    <a:pt x="88" y="453"/>
                  </a:lnTo>
                  <a:lnTo>
                    <a:pt x="76" y="448"/>
                  </a:lnTo>
                  <a:lnTo>
                    <a:pt x="66" y="444"/>
                  </a:lnTo>
                  <a:lnTo>
                    <a:pt x="60" y="440"/>
                  </a:lnTo>
                  <a:lnTo>
                    <a:pt x="55" y="438"/>
                  </a:lnTo>
                  <a:lnTo>
                    <a:pt x="46" y="432"/>
                  </a:lnTo>
                  <a:lnTo>
                    <a:pt x="41" y="427"/>
                  </a:lnTo>
                  <a:lnTo>
                    <a:pt x="37" y="424"/>
                  </a:lnTo>
                  <a:lnTo>
                    <a:pt x="29" y="416"/>
                  </a:lnTo>
                  <a:lnTo>
                    <a:pt x="22" y="407"/>
                  </a:lnTo>
                  <a:lnTo>
                    <a:pt x="18" y="402"/>
                  </a:lnTo>
                  <a:lnTo>
                    <a:pt x="16" y="398"/>
                  </a:lnTo>
                  <a:lnTo>
                    <a:pt x="10" y="388"/>
                  </a:lnTo>
                  <a:lnTo>
                    <a:pt x="7" y="377"/>
                  </a:lnTo>
                  <a:lnTo>
                    <a:pt x="3" y="366"/>
                  </a:lnTo>
                  <a:lnTo>
                    <a:pt x="1" y="355"/>
                  </a:lnTo>
                  <a:lnTo>
                    <a:pt x="1"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3" name="Rectangle 19"/>
            <p:cNvSpPr>
              <a:spLocks noChangeArrowheads="1"/>
            </p:cNvSpPr>
            <p:nvPr userDrawn="1"/>
          </p:nvSpPr>
          <p:spPr bwMode="auto">
            <a:xfrm>
              <a:off x="773"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4" name="Freeform 20"/>
            <p:cNvSpPr>
              <a:spLocks/>
            </p:cNvSpPr>
            <p:nvPr userDrawn="1"/>
          </p:nvSpPr>
          <p:spPr bwMode="auto">
            <a:xfrm>
              <a:off x="629" y="3944"/>
              <a:ext cx="99" cy="76"/>
            </a:xfrm>
            <a:custGeom>
              <a:avLst/>
              <a:gdLst/>
              <a:ahLst/>
              <a:cxnLst>
                <a:cxn ang="0">
                  <a:pos x="117" y="111"/>
                </a:cxn>
                <a:cxn ang="0">
                  <a:pos x="117" y="457"/>
                </a:cxn>
                <a:cxn ang="0">
                  <a:pos x="0" y="457"/>
                </a:cxn>
                <a:cxn ang="0">
                  <a:pos x="0" y="0"/>
                </a:cxn>
                <a:cxn ang="0">
                  <a:pos x="338" y="0"/>
                </a:cxn>
                <a:cxn ang="0">
                  <a:pos x="472" y="0"/>
                </a:cxn>
                <a:cxn ang="0">
                  <a:pos x="485" y="1"/>
                </a:cxn>
                <a:cxn ang="0">
                  <a:pos x="496" y="2"/>
                </a:cxn>
                <a:cxn ang="0">
                  <a:pos x="508" y="6"/>
                </a:cxn>
                <a:cxn ang="0">
                  <a:pos x="519" y="9"/>
                </a:cxn>
                <a:cxn ang="0">
                  <a:pos x="524" y="11"/>
                </a:cxn>
                <a:cxn ang="0">
                  <a:pos x="530" y="14"/>
                </a:cxn>
                <a:cxn ang="0">
                  <a:pos x="539" y="20"/>
                </a:cxn>
                <a:cxn ang="0">
                  <a:pos x="549" y="27"/>
                </a:cxn>
                <a:cxn ang="0">
                  <a:pos x="558" y="34"/>
                </a:cxn>
                <a:cxn ang="0">
                  <a:pos x="566" y="42"/>
                </a:cxn>
                <a:cxn ang="0">
                  <a:pos x="569" y="46"/>
                </a:cxn>
                <a:cxn ang="0">
                  <a:pos x="573" y="51"/>
                </a:cxn>
                <a:cxn ang="0">
                  <a:pos x="575" y="56"/>
                </a:cxn>
                <a:cxn ang="0">
                  <a:pos x="578" y="61"/>
                </a:cxn>
                <a:cxn ang="0">
                  <a:pos x="583" y="71"/>
                </a:cxn>
                <a:cxn ang="0">
                  <a:pos x="588" y="82"/>
                </a:cxn>
                <a:cxn ang="0">
                  <a:pos x="589" y="87"/>
                </a:cxn>
                <a:cxn ang="0">
                  <a:pos x="590" y="93"/>
                </a:cxn>
                <a:cxn ang="0">
                  <a:pos x="591" y="98"/>
                </a:cxn>
                <a:cxn ang="0">
                  <a:pos x="592" y="104"/>
                </a:cxn>
                <a:cxn ang="0">
                  <a:pos x="593" y="116"/>
                </a:cxn>
                <a:cxn ang="0">
                  <a:pos x="593" y="457"/>
                </a:cxn>
                <a:cxn ang="0">
                  <a:pos x="474" y="457"/>
                </a:cxn>
                <a:cxn ang="0">
                  <a:pos x="474" y="133"/>
                </a:cxn>
                <a:cxn ang="0">
                  <a:pos x="473" y="129"/>
                </a:cxn>
                <a:cxn ang="0">
                  <a:pos x="472" y="125"/>
                </a:cxn>
                <a:cxn ang="0">
                  <a:pos x="470" y="121"/>
                </a:cxn>
                <a:cxn ang="0">
                  <a:pos x="467" y="118"/>
                </a:cxn>
                <a:cxn ang="0">
                  <a:pos x="464" y="116"/>
                </a:cxn>
                <a:cxn ang="0">
                  <a:pos x="460" y="114"/>
                </a:cxn>
                <a:cxn ang="0">
                  <a:pos x="456" y="112"/>
                </a:cxn>
                <a:cxn ang="0">
                  <a:pos x="451" y="111"/>
                </a:cxn>
                <a:cxn ang="0">
                  <a:pos x="355" y="111"/>
                </a:cxn>
                <a:cxn ang="0">
                  <a:pos x="355" y="457"/>
                </a:cxn>
                <a:cxn ang="0">
                  <a:pos x="236" y="457"/>
                </a:cxn>
                <a:cxn ang="0">
                  <a:pos x="236" y="111"/>
                </a:cxn>
                <a:cxn ang="0">
                  <a:pos x="117" y="111"/>
                </a:cxn>
              </a:cxnLst>
              <a:rect l="0" t="0" r="r" b="b"/>
              <a:pathLst>
                <a:path w="593" h="457">
                  <a:moveTo>
                    <a:pt x="117" y="111"/>
                  </a:moveTo>
                  <a:lnTo>
                    <a:pt x="117" y="457"/>
                  </a:lnTo>
                  <a:lnTo>
                    <a:pt x="0" y="457"/>
                  </a:lnTo>
                  <a:lnTo>
                    <a:pt x="0" y="0"/>
                  </a:lnTo>
                  <a:lnTo>
                    <a:pt x="338" y="0"/>
                  </a:lnTo>
                  <a:lnTo>
                    <a:pt x="472" y="0"/>
                  </a:lnTo>
                  <a:lnTo>
                    <a:pt x="485" y="1"/>
                  </a:lnTo>
                  <a:lnTo>
                    <a:pt x="496" y="2"/>
                  </a:lnTo>
                  <a:lnTo>
                    <a:pt x="508" y="6"/>
                  </a:lnTo>
                  <a:lnTo>
                    <a:pt x="519" y="9"/>
                  </a:lnTo>
                  <a:lnTo>
                    <a:pt x="524" y="11"/>
                  </a:lnTo>
                  <a:lnTo>
                    <a:pt x="530" y="14"/>
                  </a:lnTo>
                  <a:lnTo>
                    <a:pt x="539" y="20"/>
                  </a:lnTo>
                  <a:lnTo>
                    <a:pt x="549" y="27"/>
                  </a:lnTo>
                  <a:lnTo>
                    <a:pt x="558" y="34"/>
                  </a:lnTo>
                  <a:lnTo>
                    <a:pt x="566" y="42"/>
                  </a:lnTo>
                  <a:lnTo>
                    <a:pt x="569" y="46"/>
                  </a:lnTo>
                  <a:lnTo>
                    <a:pt x="573" y="51"/>
                  </a:lnTo>
                  <a:lnTo>
                    <a:pt x="575" y="56"/>
                  </a:lnTo>
                  <a:lnTo>
                    <a:pt x="578" y="61"/>
                  </a:lnTo>
                  <a:lnTo>
                    <a:pt x="583" y="71"/>
                  </a:lnTo>
                  <a:lnTo>
                    <a:pt x="588" y="82"/>
                  </a:lnTo>
                  <a:lnTo>
                    <a:pt x="589" y="87"/>
                  </a:lnTo>
                  <a:lnTo>
                    <a:pt x="590" y="93"/>
                  </a:lnTo>
                  <a:lnTo>
                    <a:pt x="591" y="98"/>
                  </a:lnTo>
                  <a:lnTo>
                    <a:pt x="592" y="104"/>
                  </a:lnTo>
                  <a:lnTo>
                    <a:pt x="593" y="116"/>
                  </a:lnTo>
                  <a:lnTo>
                    <a:pt x="593" y="457"/>
                  </a:lnTo>
                  <a:lnTo>
                    <a:pt x="474" y="457"/>
                  </a:lnTo>
                  <a:lnTo>
                    <a:pt x="474" y="133"/>
                  </a:lnTo>
                  <a:lnTo>
                    <a:pt x="473" y="129"/>
                  </a:lnTo>
                  <a:lnTo>
                    <a:pt x="472" y="125"/>
                  </a:lnTo>
                  <a:lnTo>
                    <a:pt x="470" y="121"/>
                  </a:lnTo>
                  <a:lnTo>
                    <a:pt x="467" y="118"/>
                  </a:lnTo>
                  <a:lnTo>
                    <a:pt x="464" y="116"/>
                  </a:lnTo>
                  <a:lnTo>
                    <a:pt x="460" y="114"/>
                  </a:lnTo>
                  <a:lnTo>
                    <a:pt x="456" y="112"/>
                  </a:lnTo>
                  <a:lnTo>
                    <a:pt x="451" y="111"/>
                  </a:lnTo>
                  <a:lnTo>
                    <a:pt x="355" y="111"/>
                  </a:lnTo>
                  <a:lnTo>
                    <a:pt x="355" y="457"/>
                  </a:lnTo>
                  <a:lnTo>
                    <a:pt x="236" y="457"/>
                  </a:lnTo>
                  <a:lnTo>
                    <a:pt x="236" y="111"/>
                  </a:lnTo>
                  <a:lnTo>
                    <a:pt x="117"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5" name="Freeform 21"/>
            <p:cNvSpPr>
              <a:spLocks/>
            </p:cNvSpPr>
            <p:nvPr userDrawn="1"/>
          </p:nvSpPr>
          <p:spPr bwMode="auto">
            <a:xfrm>
              <a:off x="827" y="3944"/>
              <a:ext cx="92" cy="76"/>
            </a:xfrm>
            <a:custGeom>
              <a:avLst/>
              <a:gdLst/>
              <a:ahLst/>
              <a:cxnLst>
                <a:cxn ang="0">
                  <a:pos x="278" y="296"/>
                </a:cxn>
                <a:cxn ang="0">
                  <a:pos x="122" y="389"/>
                </a:cxn>
                <a:cxn ang="0">
                  <a:pos x="122" y="457"/>
                </a:cxn>
                <a:cxn ang="0">
                  <a:pos x="0" y="457"/>
                </a:cxn>
                <a:cxn ang="0">
                  <a:pos x="0" y="361"/>
                </a:cxn>
                <a:cxn ang="0">
                  <a:pos x="1" y="355"/>
                </a:cxn>
                <a:cxn ang="0">
                  <a:pos x="3" y="348"/>
                </a:cxn>
                <a:cxn ang="0">
                  <a:pos x="6" y="341"/>
                </a:cxn>
                <a:cxn ang="0">
                  <a:pos x="9" y="335"/>
                </a:cxn>
                <a:cxn ang="0">
                  <a:pos x="13" y="329"/>
                </a:cxn>
                <a:cxn ang="0">
                  <a:pos x="17" y="324"/>
                </a:cxn>
                <a:cxn ang="0">
                  <a:pos x="23" y="318"/>
                </a:cxn>
                <a:cxn ang="0">
                  <a:pos x="27" y="317"/>
                </a:cxn>
                <a:cxn ang="0">
                  <a:pos x="30" y="315"/>
                </a:cxn>
                <a:cxn ang="0">
                  <a:pos x="176" y="229"/>
                </a:cxn>
                <a:cxn ang="0">
                  <a:pos x="30" y="143"/>
                </a:cxn>
                <a:cxn ang="0">
                  <a:pos x="23" y="139"/>
                </a:cxn>
                <a:cxn ang="0">
                  <a:pos x="21" y="137"/>
                </a:cxn>
                <a:cxn ang="0">
                  <a:pos x="17" y="133"/>
                </a:cxn>
                <a:cxn ang="0">
                  <a:pos x="13" y="129"/>
                </a:cxn>
                <a:cxn ang="0">
                  <a:pos x="9" y="122"/>
                </a:cxn>
                <a:cxn ang="0">
                  <a:pos x="6" y="117"/>
                </a:cxn>
                <a:cxn ang="0">
                  <a:pos x="3" y="110"/>
                </a:cxn>
                <a:cxn ang="0">
                  <a:pos x="1" y="104"/>
                </a:cxn>
                <a:cxn ang="0">
                  <a:pos x="0" y="96"/>
                </a:cxn>
                <a:cxn ang="0">
                  <a:pos x="0" y="0"/>
                </a:cxn>
                <a:cxn ang="0">
                  <a:pos x="122" y="0"/>
                </a:cxn>
                <a:cxn ang="0">
                  <a:pos x="122" y="68"/>
                </a:cxn>
                <a:cxn ang="0">
                  <a:pos x="278" y="162"/>
                </a:cxn>
                <a:cxn ang="0">
                  <a:pos x="434" y="68"/>
                </a:cxn>
                <a:cxn ang="0">
                  <a:pos x="434" y="0"/>
                </a:cxn>
                <a:cxn ang="0">
                  <a:pos x="556" y="0"/>
                </a:cxn>
                <a:cxn ang="0">
                  <a:pos x="556" y="96"/>
                </a:cxn>
                <a:cxn ang="0">
                  <a:pos x="554" y="104"/>
                </a:cxn>
                <a:cxn ang="0">
                  <a:pos x="552" y="110"/>
                </a:cxn>
                <a:cxn ang="0">
                  <a:pos x="550" y="117"/>
                </a:cxn>
                <a:cxn ang="0">
                  <a:pos x="546" y="122"/>
                </a:cxn>
                <a:cxn ang="0">
                  <a:pos x="543" y="129"/>
                </a:cxn>
                <a:cxn ang="0">
                  <a:pos x="538" y="133"/>
                </a:cxn>
                <a:cxn ang="0">
                  <a:pos x="532" y="139"/>
                </a:cxn>
                <a:cxn ang="0">
                  <a:pos x="529" y="141"/>
                </a:cxn>
                <a:cxn ang="0">
                  <a:pos x="525" y="143"/>
                </a:cxn>
                <a:cxn ang="0">
                  <a:pos x="383" y="228"/>
                </a:cxn>
                <a:cxn ang="0">
                  <a:pos x="525" y="315"/>
                </a:cxn>
                <a:cxn ang="0">
                  <a:pos x="532" y="318"/>
                </a:cxn>
                <a:cxn ang="0">
                  <a:pos x="535" y="322"/>
                </a:cxn>
                <a:cxn ang="0">
                  <a:pos x="538" y="324"/>
                </a:cxn>
                <a:cxn ang="0">
                  <a:pos x="543" y="329"/>
                </a:cxn>
                <a:cxn ang="0">
                  <a:pos x="546" y="335"/>
                </a:cxn>
                <a:cxn ang="0">
                  <a:pos x="550" y="341"/>
                </a:cxn>
                <a:cxn ang="0">
                  <a:pos x="552" y="348"/>
                </a:cxn>
                <a:cxn ang="0">
                  <a:pos x="554" y="355"/>
                </a:cxn>
                <a:cxn ang="0">
                  <a:pos x="556" y="361"/>
                </a:cxn>
                <a:cxn ang="0">
                  <a:pos x="556" y="457"/>
                </a:cxn>
                <a:cxn ang="0">
                  <a:pos x="434" y="457"/>
                </a:cxn>
                <a:cxn ang="0">
                  <a:pos x="434" y="389"/>
                </a:cxn>
                <a:cxn ang="0">
                  <a:pos x="278" y="296"/>
                </a:cxn>
              </a:cxnLst>
              <a:rect l="0" t="0" r="r" b="b"/>
              <a:pathLst>
                <a:path w="556" h="457">
                  <a:moveTo>
                    <a:pt x="278" y="296"/>
                  </a:moveTo>
                  <a:lnTo>
                    <a:pt x="122" y="389"/>
                  </a:lnTo>
                  <a:lnTo>
                    <a:pt x="122" y="457"/>
                  </a:lnTo>
                  <a:lnTo>
                    <a:pt x="0" y="457"/>
                  </a:lnTo>
                  <a:lnTo>
                    <a:pt x="0" y="361"/>
                  </a:lnTo>
                  <a:lnTo>
                    <a:pt x="1" y="355"/>
                  </a:lnTo>
                  <a:lnTo>
                    <a:pt x="3" y="348"/>
                  </a:lnTo>
                  <a:lnTo>
                    <a:pt x="6" y="341"/>
                  </a:lnTo>
                  <a:lnTo>
                    <a:pt x="9" y="335"/>
                  </a:lnTo>
                  <a:lnTo>
                    <a:pt x="13" y="329"/>
                  </a:lnTo>
                  <a:lnTo>
                    <a:pt x="17" y="324"/>
                  </a:lnTo>
                  <a:lnTo>
                    <a:pt x="23" y="318"/>
                  </a:lnTo>
                  <a:lnTo>
                    <a:pt x="27" y="317"/>
                  </a:lnTo>
                  <a:lnTo>
                    <a:pt x="30" y="315"/>
                  </a:lnTo>
                  <a:lnTo>
                    <a:pt x="176" y="229"/>
                  </a:lnTo>
                  <a:lnTo>
                    <a:pt x="30" y="143"/>
                  </a:lnTo>
                  <a:lnTo>
                    <a:pt x="23" y="139"/>
                  </a:lnTo>
                  <a:lnTo>
                    <a:pt x="21" y="137"/>
                  </a:lnTo>
                  <a:lnTo>
                    <a:pt x="17" y="133"/>
                  </a:lnTo>
                  <a:lnTo>
                    <a:pt x="13" y="129"/>
                  </a:lnTo>
                  <a:lnTo>
                    <a:pt x="9" y="122"/>
                  </a:lnTo>
                  <a:lnTo>
                    <a:pt x="6" y="117"/>
                  </a:lnTo>
                  <a:lnTo>
                    <a:pt x="3" y="110"/>
                  </a:lnTo>
                  <a:lnTo>
                    <a:pt x="1" y="104"/>
                  </a:lnTo>
                  <a:lnTo>
                    <a:pt x="0" y="96"/>
                  </a:lnTo>
                  <a:lnTo>
                    <a:pt x="0" y="0"/>
                  </a:lnTo>
                  <a:lnTo>
                    <a:pt x="122" y="0"/>
                  </a:lnTo>
                  <a:lnTo>
                    <a:pt x="122" y="68"/>
                  </a:lnTo>
                  <a:lnTo>
                    <a:pt x="278" y="162"/>
                  </a:lnTo>
                  <a:lnTo>
                    <a:pt x="434" y="68"/>
                  </a:lnTo>
                  <a:lnTo>
                    <a:pt x="434" y="0"/>
                  </a:lnTo>
                  <a:lnTo>
                    <a:pt x="556" y="0"/>
                  </a:lnTo>
                  <a:lnTo>
                    <a:pt x="556" y="96"/>
                  </a:lnTo>
                  <a:lnTo>
                    <a:pt x="554" y="104"/>
                  </a:lnTo>
                  <a:lnTo>
                    <a:pt x="552" y="110"/>
                  </a:lnTo>
                  <a:lnTo>
                    <a:pt x="550" y="117"/>
                  </a:lnTo>
                  <a:lnTo>
                    <a:pt x="546" y="122"/>
                  </a:lnTo>
                  <a:lnTo>
                    <a:pt x="543" y="129"/>
                  </a:lnTo>
                  <a:lnTo>
                    <a:pt x="538" y="133"/>
                  </a:lnTo>
                  <a:lnTo>
                    <a:pt x="532" y="139"/>
                  </a:lnTo>
                  <a:lnTo>
                    <a:pt x="529" y="141"/>
                  </a:lnTo>
                  <a:lnTo>
                    <a:pt x="525" y="143"/>
                  </a:lnTo>
                  <a:lnTo>
                    <a:pt x="383" y="228"/>
                  </a:lnTo>
                  <a:lnTo>
                    <a:pt x="525" y="315"/>
                  </a:lnTo>
                  <a:lnTo>
                    <a:pt x="532" y="318"/>
                  </a:lnTo>
                  <a:lnTo>
                    <a:pt x="535" y="322"/>
                  </a:lnTo>
                  <a:lnTo>
                    <a:pt x="538" y="324"/>
                  </a:lnTo>
                  <a:lnTo>
                    <a:pt x="543" y="329"/>
                  </a:lnTo>
                  <a:lnTo>
                    <a:pt x="546" y="335"/>
                  </a:lnTo>
                  <a:lnTo>
                    <a:pt x="550" y="341"/>
                  </a:lnTo>
                  <a:lnTo>
                    <a:pt x="552" y="348"/>
                  </a:lnTo>
                  <a:lnTo>
                    <a:pt x="554" y="355"/>
                  </a:lnTo>
                  <a:lnTo>
                    <a:pt x="556" y="361"/>
                  </a:lnTo>
                  <a:lnTo>
                    <a:pt x="556" y="457"/>
                  </a:lnTo>
                  <a:lnTo>
                    <a:pt x="434" y="457"/>
                  </a:lnTo>
                  <a:lnTo>
                    <a:pt x="434" y="389"/>
                  </a:lnTo>
                  <a:lnTo>
                    <a:pt x="278" y="2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nvGrpSpPr>
          <p:cNvPr id="3" name="94 Grupo"/>
          <p:cNvGrpSpPr/>
          <p:nvPr userDrawn="1"/>
        </p:nvGrpSpPr>
        <p:grpSpPr>
          <a:xfrm>
            <a:off x="6294710" y="5733256"/>
            <a:ext cx="2453754" cy="601982"/>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9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6" name="Group 5"/>
            <p:cNvGrpSpPr>
              <a:grpSpLocks noChangeAspect="1"/>
            </p:cNvGrpSpPr>
            <p:nvPr userDrawn="1"/>
          </p:nvGrpSpPr>
          <p:grpSpPr bwMode="auto">
            <a:xfrm>
              <a:off x="6300192" y="2768810"/>
              <a:ext cx="791493" cy="248083"/>
              <a:chOff x="1066" y="543"/>
              <a:chExt cx="2262" cy="709"/>
            </a:xfrm>
            <a:grpFill/>
          </p:grpSpPr>
          <p:sp>
            <p:nvSpPr>
              <p:cNvPr id="92"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3"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4"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sp>
        <p:nvSpPr>
          <p:cNvPr id="55" name="Title 54"/>
          <p:cNvSpPr>
            <a:spLocks noGrp="1"/>
          </p:cNvSpPr>
          <p:nvPr>
            <p:ph type="title"/>
          </p:nvPr>
        </p:nvSpPr>
        <p:spPr>
          <a:xfrm>
            <a:off x="304800" y="5257800"/>
            <a:ext cx="5760000" cy="320040"/>
          </a:xfrm>
        </p:spPr>
        <p:txBody>
          <a:bodyPr wrap="none" tIns="0" bIns="0"/>
          <a:lstStyle>
            <a:lvl1pPr>
              <a:lnSpc>
                <a:spcPct val="100000"/>
              </a:lnSpc>
              <a:defRPr sz="2800">
                <a:solidFill>
                  <a:srgbClr val="FFFFFF"/>
                </a:solidFill>
              </a:defRPr>
            </a:lvl1pPr>
          </a:lstStyle>
          <a:p>
            <a:r>
              <a:rPr lang="en-US" dirty="0" smtClean="0"/>
              <a:t>Click to edit Master title style</a:t>
            </a:r>
            <a:endParaRPr lang="en-US" dirty="0"/>
          </a:p>
        </p:txBody>
      </p:sp>
      <p:sp>
        <p:nvSpPr>
          <p:cNvPr id="61" name="Subtitle 2"/>
          <p:cNvSpPr>
            <a:spLocks noGrp="1"/>
          </p:cNvSpPr>
          <p:nvPr>
            <p:ph type="subTitle" idx="1"/>
          </p:nvPr>
        </p:nvSpPr>
        <p:spPr>
          <a:xfrm>
            <a:off x="304800" y="5605290"/>
            <a:ext cx="5760000" cy="274320"/>
          </a:xfrm>
          <a:prstGeom prst="rect">
            <a:avLst/>
          </a:prstGeom>
        </p:spPr>
        <p:txBody>
          <a:bodyPr wrap="none" tIns="0" bIns="0" anchor="ctr">
            <a:noAutofit/>
          </a:bodyPr>
          <a:lstStyle>
            <a:lvl1pPr marL="0" indent="0" algn="l">
              <a:spcBef>
                <a:spcPts val="0"/>
              </a:spcBef>
              <a:buNone/>
              <a:defRPr lang="en-US" sz="2400" b="1" u="none" kern="1200" dirty="0">
                <a:solidFill>
                  <a:schemeClr val="bg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58370"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9688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59394"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0608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aph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60418" name="think-cell Slide" r:id="rId3" imgW="270" imgH="270" progId="">
              <p:embed/>
            </p:oleObj>
          </a:graphicData>
        </a:graphic>
      </p:graphicFrame>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61442"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304800"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lick to edit Master text styles</a:t>
            </a:r>
          </a:p>
        </p:txBody>
      </p:sp>
      <p:sp>
        <p:nvSpPr>
          <p:cNvPr id="5" name="Text Placeholder 5"/>
          <p:cNvSpPr>
            <a:spLocks noGrp="1"/>
          </p:cNvSpPr>
          <p:nvPr>
            <p:ph type="body" sz="quarter" idx="12"/>
          </p:nvPr>
        </p:nvSpPr>
        <p:spPr>
          <a:xfrm>
            <a:off x="304801"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3" name="Text Placeholder 3"/>
          <p:cNvSpPr>
            <a:spLocks noGrp="1"/>
          </p:cNvSpPr>
          <p:nvPr>
            <p:ph type="body" sz="quarter" idx="13"/>
          </p:nvPr>
        </p:nvSpPr>
        <p:spPr>
          <a:xfrm>
            <a:off x="4876801"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ext styles</a:t>
            </a:r>
          </a:p>
        </p:txBody>
      </p:sp>
      <p:sp>
        <p:nvSpPr>
          <p:cNvPr id="14" name="Text Placeholder 5"/>
          <p:cNvSpPr>
            <a:spLocks noGrp="1"/>
          </p:cNvSpPr>
          <p:nvPr>
            <p:ph type="body" sz="quarter" idx="14"/>
          </p:nvPr>
        </p:nvSpPr>
        <p:spPr>
          <a:xfrm>
            <a:off x="4876802"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62466"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9" name="Text Placeholder 18"/>
          <p:cNvSpPr>
            <a:spLocks noGrp="1"/>
          </p:cNvSpPr>
          <p:nvPr>
            <p:ph type="body" sz="quarter" idx="11"/>
          </p:nvPr>
        </p:nvSpPr>
        <p:spPr>
          <a:xfrm>
            <a:off x="762000" y="2971800"/>
            <a:ext cx="7620000" cy="685800"/>
          </a:xfrm>
        </p:spPr>
        <p:txBody>
          <a:bodyPr anchor="ctr" anchorCtr="1">
            <a:normAutofit/>
          </a:bodyPr>
          <a:lstStyle>
            <a:lvl1pPr algn="ctr">
              <a:defRPr sz="2800"/>
            </a:lvl1pPr>
          </a:lstStyle>
          <a:p>
            <a:pPr lvl="0"/>
            <a:r>
              <a:rPr lang="en-US" smtClean="0"/>
              <a:t>Click to edit Master text styles</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63490"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26457778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Graph title">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64514" name="think-cell Slide" r:id="rId3" imgW="270" imgH="270" progId="">
              <p:embed/>
            </p:oleObj>
          </a:graphicData>
        </a:graphic>
      </p:graphicFrame>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65538" name="think-cell Slide" r:id="rId3" imgW="270" imgH="270" progId="">
              <p:embed/>
            </p:oleObj>
          </a:graphicData>
        </a:graphic>
      </p:graphicFrame>
      <p:sp>
        <p:nvSpPr>
          <p:cNvPr id="5" name="Text Placeholder 4"/>
          <p:cNvSpPr>
            <a:spLocks noGrp="1"/>
          </p:cNvSpPr>
          <p:nvPr>
            <p:ph type="body" sz="quarter" idx="11"/>
          </p:nvPr>
        </p:nvSpPr>
        <p:spPr>
          <a:xfrm>
            <a:off x="323850" y="1447800"/>
            <a:ext cx="8496300" cy="4718050"/>
          </a:xfrm>
          <a:prstGeom prst="rect">
            <a:avLst/>
          </a:prstGeom>
        </p:spPr>
        <p:txBody>
          <a:bodyPr/>
          <a:lstStyle>
            <a:lvl1pPr>
              <a:spcBef>
                <a:spcPts val="900"/>
              </a:spcBef>
              <a:buFont typeface="Arial" pitchFamily="34" charset="0"/>
              <a:buNone/>
              <a:defRPr/>
            </a:lvl1pPr>
            <a:lvl2pPr marL="346075" indent="12700">
              <a:spcBef>
                <a:spcPts val="900"/>
              </a:spcBef>
              <a:buNone/>
              <a:defRPr/>
            </a:lvl2pPr>
            <a:lvl3pPr marL="631825" indent="-273050">
              <a:spcBef>
                <a:spcPts val="900"/>
              </a:spcBef>
              <a:defRPr/>
            </a:lvl3pPr>
            <a:lvl4pPr>
              <a:spcBef>
                <a:spcPts val="900"/>
              </a:spcBef>
              <a:defRPr/>
            </a:lvl4pPr>
            <a:lvl5pPr>
              <a:spcBef>
                <a:spcPts val="9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lide Number Placeholder 9"/>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78" name="Title 1"/>
          <p:cNvSpPr>
            <a:spLocks noGrp="1"/>
          </p:cNvSpPr>
          <p:nvPr>
            <p:ph type="title"/>
          </p:nvPr>
        </p:nvSpPr>
        <p:spPr>
          <a:xfrm>
            <a:off x="107504" y="346646"/>
            <a:ext cx="5760640" cy="562074"/>
          </a:xfrm>
        </p:spPr>
        <p:txBody>
          <a:bodyPr anchor="ctr"/>
          <a:lstStyle>
            <a:lvl1pPr>
              <a:lnSpc>
                <a:spcPct val="100000"/>
              </a:lnSpc>
              <a:defRPr sz="2400"/>
            </a:lvl1pPr>
          </a:lstStyle>
          <a:p>
            <a:endParaRPr 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000000"/>
        </a:solidFill>
        <a:effectLst/>
      </p:bgPr>
    </p:bg>
    <p:spTree>
      <p:nvGrpSpPr>
        <p:cNvPr id="1" name=""/>
        <p:cNvGrpSpPr/>
        <p:nvPr/>
      </p:nvGrpSpPr>
      <p:grpSpPr>
        <a:xfrm>
          <a:off x="0" y="0"/>
          <a:ext cx="0" cy="0"/>
          <a:chOff x="0" y="0"/>
          <a:chExt cx="0" cy="0"/>
        </a:xfrm>
      </p:grpSpPr>
      <p:grpSp>
        <p:nvGrpSpPr>
          <p:cNvPr id="2" name="Group 40"/>
          <p:cNvGrpSpPr/>
          <p:nvPr userDrawn="1"/>
        </p:nvGrpSpPr>
        <p:grpSpPr>
          <a:xfrm>
            <a:off x="7020272" y="6273680"/>
            <a:ext cx="1761084" cy="432048"/>
            <a:chOff x="7020272" y="332656"/>
            <a:chExt cx="1761084" cy="432048"/>
          </a:xfrm>
        </p:grpSpPr>
        <p:grpSp>
          <p:nvGrpSpPr>
            <p:cNvPr id="3" name="51 Grupo"/>
            <p:cNvGrpSpPr/>
            <p:nvPr userDrawn="1"/>
          </p:nvGrpSpPr>
          <p:grpSpPr>
            <a:xfrm>
              <a:off x="7020272" y="341571"/>
              <a:ext cx="1761084" cy="423133"/>
              <a:chOff x="4860032" y="2780928"/>
              <a:chExt cx="2393756" cy="575145"/>
            </a:xfrm>
            <a:solidFill>
              <a:srgbClr val="FFFFFF"/>
            </a:solidFill>
          </p:grpSpPr>
          <p:grpSp>
            <p:nvGrpSpPr>
              <p:cNvPr id="4" name="65 Grupo"/>
              <p:cNvGrpSpPr/>
              <p:nvPr userDrawn="1"/>
            </p:nvGrpSpPr>
            <p:grpSpPr>
              <a:xfrm>
                <a:off x="5039214" y="2780928"/>
                <a:ext cx="1204546" cy="230882"/>
                <a:chOff x="6227763" y="5518150"/>
                <a:chExt cx="1449387" cy="277812"/>
              </a:xfrm>
              <a:grpFill/>
            </p:grpSpPr>
            <p:sp>
              <p:nvSpPr>
                <p:cNvPr id="7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4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109 Rectángulo"/>
              <p:cNvSpPr/>
              <p:nvPr userDrawn="1"/>
            </p:nvSpPr>
            <p:spPr bwMode="auto">
              <a:xfrm>
                <a:off x="4860032" y="3079385"/>
                <a:ext cx="2393756" cy="37996"/>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5" name="Group 5"/>
            <p:cNvGrpSpPr>
              <a:grpSpLocks noChangeAspect="1"/>
            </p:cNvGrpSpPr>
            <p:nvPr userDrawn="1"/>
          </p:nvGrpSpPr>
          <p:grpSpPr bwMode="auto">
            <a:xfrm>
              <a:off x="8079796" y="332656"/>
              <a:ext cx="582301" cy="182514"/>
              <a:chOff x="1066" y="543"/>
              <a:chExt cx="2262" cy="709"/>
            </a:xfrm>
            <a:solidFill>
              <a:srgbClr val="FFFFFF"/>
            </a:solidFill>
          </p:grpSpPr>
          <p:sp>
            <p:nvSpPr>
              <p:cNvPr id="44"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5"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6"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pic>
        <p:nvPicPr>
          <p:cNvPr id="77" name="Picture 3"/>
          <p:cNvPicPr>
            <a:picLocks noChangeAspect="1" noChangeArrowheads="1"/>
          </p:cNvPicPr>
          <p:nvPr userDrawn="1"/>
        </p:nvPicPr>
        <p:blipFill>
          <a:blip r:embed="rId2" cstate="screen"/>
          <a:srcRect/>
          <a:stretch>
            <a:fillRect/>
          </a:stretch>
        </p:blipFill>
        <p:spPr bwMode="auto">
          <a:xfrm>
            <a:off x="395536" y="6345688"/>
            <a:ext cx="1137016" cy="288032"/>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nvGraphicFramePr>
        <p:xfrm>
          <a:off x="1587" y="1588"/>
          <a:ext cx="1587" cy="1587"/>
        </p:xfrm>
        <a:graphic>
          <a:graphicData uri="http://schemas.openxmlformats.org/presentationml/2006/ole">
            <p:oleObj spid="_x0000_s67586" name="think-cell Slide" r:id="rId3" imgW="270" imgH="270" progId="">
              <p:embed/>
            </p:oleObj>
          </a:graphicData>
        </a:graphic>
      </p:graphicFrame>
      <p:sp>
        <p:nvSpPr>
          <p:cNvPr id="53" name="52 Rectángulo"/>
          <p:cNvSpPr/>
          <p:nvPr userDrawn="1"/>
        </p:nvSpPr>
        <p:spPr bwMode="auto">
          <a:xfrm>
            <a:off x="0" y="5238000"/>
            <a:ext cx="9144000" cy="16200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sz="2000" b="1" u="sng" smtClean="0">
              <a:solidFill>
                <a:srgbClr val="000000"/>
              </a:solidFill>
              <a:latin typeface="Arial" charset="0"/>
              <a:cs typeface="Arial" charset="0"/>
            </a:endParaRPr>
          </a:p>
        </p:txBody>
      </p:sp>
      <p:pic>
        <p:nvPicPr>
          <p:cNvPr id="54" name="Picture 3"/>
          <p:cNvPicPr>
            <a:picLocks noChangeAspect="1" noChangeArrowheads="1"/>
          </p:cNvPicPr>
          <p:nvPr userDrawn="1"/>
        </p:nvPicPr>
        <p:blipFill>
          <a:blip r:embed="rId4" cstate="screen"/>
          <a:srcRect/>
          <a:stretch>
            <a:fillRect/>
          </a:stretch>
        </p:blipFill>
        <p:spPr bwMode="auto">
          <a:xfrm>
            <a:off x="395536" y="6381328"/>
            <a:ext cx="1137016" cy="288032"/>
          </a:xfrm>
          <a:prstGeom prst="rect">
            <a:avLst/>
          </a:prstGeom>
          <a:noFill/>
          <a:ln w="9525">
            <a:noFill/>
            <a:miter lim="800000"/>
            <a:headEnd/>
            <a:tailEnd/>
          </a:ln>
        </p:spPr>
      </p:pic>
      <p:sp>
        <p:nvSpPr>
          <p:cNvPr id="56" name="Freeform 12"/>
          <p:cNvSpPr>
            <a:spLocks/>
          </p:cNvSpPr>
          <p:nvPr userDrawn="1"/>
        </p:nvSpPr>
        <p:spPr bwMode="auto">
          <a:xfrm>
            <a:off x="0" y="5915506"/>
            <a:ext cx="6156176" cy="942494"/>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19"/>
          <p:cNvSpPr>
            <a:spLocks/>
          </p:cNvSpPr>
          <p:nvPr userDrawn="1"/>
        </p:nvSpPr>
        <p:spPr bwMode="auto">
          <a:xfrm>
            <a:off x="0" y="6311900"/>
            <a:ext cx="14288" cy="14288"/>
          </a:xfrm>
          <a:custGeom>
            <a:avLst/>
            <a:gdLst/>
            <a:ahLst/>
            <a:cxnLst>
              <a:cxn ang="0">
                <a:pos x="18" y="34"/>
              </a:cxn>
              <a:cxn ang="0">
                <a:pos x="0" y="34"/>
              </a:cxn>
              <a:cxn ang="0">
                <a:pos x="0" y="16"/>
              </a:cxn>
              <a:cxn ang="0">
                <a:pos x="34" y="16"/>
              </a:cxn>
              <a:cxn ang="0">
                <a:pos x="18" y="0"/>
              </a:cxn>
              <a:cxn ang="0">
                <a:pos x="18" y="34"/>
              </a:cxn>
            </a:cxnLst>
            <a:rect l="0" t="0" r="r" b="b"/>
            <a:pathLst>
              <a:path w="34" h="34">
                <a:moveTo>
                  <a:pt x="18" y="34"/>
                </a:moveTo>
                <a:lnTo>
                  <a:pt x="0" y="34"/>
                </a:lnTo>
                <a:lnTo>
                  <a:pt x="0" y="16"/>
                </a:lnTo>
                <a:lnTo>
                  <a:pt x="34" y="16"/>
                </a:lnTo>
                <a:lnTo>
                  <a:pt x="18" y="0"/>
                </a:lnTo>
                <a:lnTo>
                  <a:pt x="18" y="34"/>
                </a:lnTo>
                <a:close/>
              </a:path>
            </a:pathLst>
          </a:custGeom>
          <a:solidFill>
            <a:srgbClr val="5177B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49 Rectángulo"/>
          <p:cNvSpPr/>
          <p:nvPr userDrawn="1"/>
        </p:nvSpPr>
        <p:spPr bwMode="auto">
          <a:xfrm flipV="1">
            <a:off x="0" y="6669360"/>
            <a:ext cx="9143999" cy="188640"/>
          </a:xfrm>
          <a:prstGeom prst="rect">
            <a:avLst/>
          </a:prstGeom>
          <a:solidFill>
            <a:srgbClr val="061F5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96" name="95 Rectángulo"/>
          <p:cNvSpPr/>
          <p:nvPr userDrawn="1"/>
        </p:nvSpPr>
        <p:spPr bwMode="auto">
          <a:xfrm>
            <a:off x="0" y="5190932"/>
            <a:ext cx="9144000" cy="45719"/>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2" name="Group 12"/>
          <p:cNvGrpSpPr>
            <a:grpSpLocks noChangeAspect="1"/>
          </p:cNvGrpSpPr>
          <p:nvPr userDrawn="1"/>
        </p:nvGrpSpPr>
        <p:grpSpPr bwMode="auto">
          <a:xfrm>
            <a:off x="323850" y="6162823"/>
            <a:ext cx="1135063" cy="290513"/>
            <a:chOff x="204" y="3837"/>
            <a:chExt cx="715" cy="183"/>
          </a:xfrm>
          <a:solidFill>
            <a:schemeClr val="bg1"/>
          </a:solidFill>
        </p:grpSpPr>
        <p:sp>
          <p:nvSpPr>
            <p:cNvPr id="1037" name="Freeform 13"/>
            <p:cNvSpPr>
              <a:spLocks/>
            </p:cNvSpPr>
            <p:nvPr userDrawn="1"/>
          </p:nvSpPr>
          <p:spPr bwMode="auto">
            <a:xfrm>
              <a:off x="204" y="3837"/>
              <a:ext cx="232" cy="183"/>
            </a:xfrm>
            <a:custGeom>
              <a:avLst/>
              <a:gdLst/>
              <a:ahLst/>
              <a:cxnLst>
                <a:cxn ang="0">
                  <a:pos x="1390" y="0"/>
                </a:cxn>
                <a:cxn ang="0">
                  <a:pos x="910" y="548"/>
                </a:cxn>
                <a:cxn ang="0">
                  <a:pos x="429" y="1096"/>
                </a:cxn>
                <a:cxn ang="0">
                  <a:pos x="0" y="1096"/>
                </a:cxn>
                <a:cxn ang="0">
                  <a:pos x="480" y="548"/>
                </a:cxn>
                <a:cxn ang="0">
                  <a:pos x="961" y="0"/>
                </a:cxn>
                <a:cxn ang="0">
                  <a:pos x="1390" y="0"/>
                </a:cxn>
              </a:cxnLst>
              <a:rect l="0" t="0" r="r" b="b"/>
              <a:pathLst>
                <a:path w="1390" h="1096">
                  <a:moveTo>
                    <a:pt x="1390" y="0"/>
                  </a:moveTo>
                  <a:lnTo>
                    <a:pt x="910" y="548"/>
                  </a:lnTo>
                  <a:lnTo>
                    <a:pt x="429"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8" name="Freeform 14"/>
            <p:cNvSpPr>
              <a:spLocks/>
            </p:cNvSpPr>
            <p:nvPr userDrawn="1"/>
          </p:nvSpPr>
          <p:spPr bwMode="auto">
            <a:xfrm>
              <a:off x="301" y="3837"/>
              <a:ext cx="231" cy="183"/>
            </a:xfrm>
            <a:custGeom>
              <a:avLst/>
              <a:gdLst/>
              <a:ahLst/>
              <a:cxnLst>
                <a:cxn ang="0">
                  <a:pos x="1390" y="0"/>
                </a:cxn>
                <a:cxn ang="0">
                  <a:pos x="910" y="548"/>
                </a:cxn>
                <a:cxn ang="0">
                  <a:pos x="431" y="1096"/>
                </a:cxn>
                <a:cxn ang="0">
                  <a:pos x="0" y="1096"/>
                </a:cxn>
                <a:cxn ang="0">
                  <a:pos x="480" y="548"/>
                </a:cxn>
                <a:cxn ang="0">
                  <a:pos x="961" y="0"/>
                </a:cxn>
                <a:cxn ang="0">
                  <a:pos x="1390" y="0"/>
                </a:cxn>
              </a:cxnLst>
              <a:rect l="0" t="0" r="r" b="b"/>
              <a:pathLst>
                <a:path w="1390" h="1096">
                  <a:moveTo>
                    <a:pt x="1390" y="0"/>
                  </a:moveTo>
                  <a:lnTo>
                    <a:pt x="910" y="548"/>
                  </a:lnTo>
                  <a:lnTo>
                    <a:pt x="431"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9" name="Freeform 15"/>
            <p:cNvSpPr>
              <a:spLocks/>
            </p:cNvSpPr>
            <p:nvPr userDrawn="1"/>
          </p:nvSpPr>
          <p:spPr bwMode="auto">
            <a:xfrm>
              <a:off x="539" y="3944"/>
              <a:ext cx="81" cy="76"/>
            </a:xfrm>
            <a:custGeom>
              <a:avLst/>
              <a:gdLst/>
              <a:ahLst/>
              <a:cxnLst>
                <a:cxn ang="0">
                  <a:pos x="0" y="116"/>
                </a:cxn>
                <a:cxn ang="0">
                  <a:pos x="4" y="93"/>
                </a:cxn>
                <a:cxn ang="0">
                  <a:pos x="11" y="71"/>
                </a:cxn>
                <a:cxn ang="0">
                  <a:pos x="15" y="61"/>
                </a:cxn>
                <a:cxn ang="0">
                  <a:pos x="28" y="42"/>
                </a:cxn>
                <a:cxn ang="0">
                  <a:pos x="46" y="27"/>
                </a:cxn>
                <a:cxn ang="0">
                  <a:pos x="55" y="20"/>
                </a:cxn>
                <a:cxn ang="0">
                  <a:pos x="64" y="14"/>
                </a:cxn>
                <a:cxn ang="0">
                  <a:pos x="86" y="6"/>
                </a:cxn>
                <a:cxn ang="0">
                  <a:pos x="98" y="2"/>
                </a:cxn>
                <a:cxn ang="0">
                  <a:pos x="109" y="1"/>
                </a:cxn>
                <a:cxn ang="0">
                  <a:pos x="487" y="0"/>
                </a:cxn>
                <a:cxn ang="0">
                  <a:pos x="140" y="111"/>
                </a:cxn>
                <a:cxn ang="0">
                  <a:pos x="132" y="114"/>
                </a:cxn>
                <a:cxn ang="0">
                  <a:pos x="124" y="118"/>
                </a:cxn>
                <a:cxn ang="0">
                  <a:pos x="120" y="125"/>
                </a:cxn>
                <a:cxn ang="0">
                  <a:pos x="118" y="133"/>
                </a:cxn>
                <a:cxn ang="0">
                  <a:pos x="118" y="327"/>
                </a:cxn>
                <a:cxn ang="0">
                  <a:pos x="122" y="336"/>
                </a:cxn>
                <a:cxn ang="0">
                  <a:pos x="124" y="339"/>
                </a:cxn>
                <a:cxn ang="0">
                  <a:pos x="132" y="344"/>
                </a:cxn>
                <a:cxn ang="0">
                  <a:pos x="140" y="346"/>
                </a:cxn>
                <a:cxn ang="0">
                  <a:pos x="487" y="457"/>
                </a:cxn>
                <a:cxn ang="0">
                  <a:pos x="112" y="457"/>
                </a:cxn>
                <a:cxn ang="0">
                  <a:pos x="88" y="453"/>
                </a:cxn>
                <a:cxn ang="0">
                  <a:pos x="66" y="444"/>
                </a:cxn>
                <a:cxn ang="0">
                  <a:pos x="56" y="438"/>
                </a:cxn>
                <a:cxn ang="0">
                  <a:pos x="42" y="427"/>
                </a:cxn>
                <a:cxn ang="0">
                  <a:pos x="29" y="416"/>
                </a:cxn>
                <a:cxn ang="0">
                  <a:pos x="19" y="402"/>
                </a:cxn>
                <a:cxn ang="0">
                  <a:pos x="11" y="388"/>
                </a:cxn>
                <a:cxn ang="0">
                  <a:pos x="4" y="366"/>
                </a:cxn>
                <a:cxn ang="0">
                  <a:pos x="2" y="343"/>
                </a:cxn>
              </a:cxnLst>
              <a:rect l="0" t="0" r="r" b="b"/>
              <a:pathLst>
                <a:path w="487" h="457">
                  <a:moveTo>
                    <a:pt x="0" y="336"/>
                  </a:moveTo>
                  <a:lnTo>
                    <a:pt x="0" y="116"/>
                  </a:lnTo>
                  <a:lnTo>
                    <a:pt x="2" y="104"/>
                  </a:lnTo>
                  <a:lnTo>
                    <a:pt x="4" y="93"/>
                  </a:lnTo>
                  <a:lnTo>
                    <a:pt x="6" y="82"/>
                  </a:lnTo>
                  <a:lnTo>
                    <a:pt x="11" y="71"/>
                  </a:lnTo>
                  <a:lnTo>
                    <a:pt x="13" y="65"/>
                  </a:lnTo>
                  <a:lnTo>
                    <a:pt x="15" y="61"/>
                  </a:lnTo>
                  <a:lnTo>
                    <a:pt x="21" y="51"/>
                  </a:lnTo>
                  <a:lnTo>
                    <a:pt x="28" y="42"/>
                  </a:lnTo>
                  <a:lnTo>
                    <a:pt x="36" y="34"/>
                  </a:lnTo>
                  <a:lnTo>
                    <a:pt x="46" y="27"/>
                  </a:lnTo>
                  <a:lnTo>
                    <a:pt x="50" y="23"/>
                  </a:lnTo>
                  <a:lnTo>
                    <a:pt x="55" y="20"/>
                  </a:lnTo>
                  <a:lnTo>
                    <a:pt x="59" y="17"/>
                  </a:lnTo>
                  <a:lnTo>
                    <a:pt x="64" y="14"/>
                  </a:lnTo>
                  <a:lnTo>
                    <a:pt x="75" y="9"/>
                  </a:lnTo>
                  <a:lnTo>
                    <a:pt x="86" y="6"/>
                  </a:lnTo>
                  <a:lnTo>
                    <a:pt x="92" y="3"/>
                  </a:lnTo>
                  <a:lnTo>
                    <a:pt x="98" y="2"/>
                  </a:lnTo>
                  <a:lnTo>
                    <a:pt x="103" y="1"/>
                  </a:lnTo>
                  <a:lnTo>
                    <a:pt x="109" y="1"/>
                  </a:lnTo>
                  <a:lnTo>
                    <a:pt x="122" y="0"/>
                  </a:lnTo>
                  <a:lnTo>
                    <a:pt x="487" y="0"/>
                  </a:lnTo>
                  <a:lnTo>
                    <a:pt x="487" y="111"/>
                  </a:lnTo>
                  <a:lnTo>
                    <a:pt x="140" y="111"/>
                  </a:lnTo>
                  <a:lnTo>
                    <a:pt x="136" y="112"/>
                  </a:lnTo>
                  <a:lnTo>
                    <a:pt x="132" y="114"/>
                  </a:lnTo>
                  <a:lnTo>
                    <a:pt x="128" y="116"/>
                  </a:lnTo>
                  <a:lnTo>
                    <a:pt x="124" y="118"/>
                  </a:lnTo>
                  <a:lnTo>
                    <a:pt x="122" y="121"/>
                  </a:lnTo>
                  <a:lnTo>
                    <a:pt x="120" y="125"/>
                  </a:lnTo>
                  <a:lnTo>
                    <a:pt x="118" y="129"/>
                  </a:lnTo>
                  <a:lnTo>
                    <a:pt x="118" y="133"/>
                  </a:lnTo>
                  <a:lnTo>
                    <a:pt x="118" y="323"/>
                  </a:lnTo>
                  <a:lnTo>
                    <a:pt x="118" y="327"/>
                  </a:lnTo>
                  <a:lnTo>
                    <a:pt x="120" y="332"/>
                  </a:lnTo>
                  <a:lnTo>
                    <a:pt x="122" y="336"/>
                  </a:lnTo>
                  <a:lnTo>
                    <a:pt x="123" y="337"/>
                  </a:lnTo>
                  <a:lnTo>
                    <a:pt x="124" y="339"/>
                  </a:lnTo>
                  <a:lnTo>
                    <a:pt x="128" y="341"/>
                  </a:lnTo>
                  <a:lnTo>
                    <a:pt x="132" y="344"/>
                  </a:lnTo>
                  <a:lnTo>
                    <a:pt x="136" y="346"/>
                  </a:lnTo>
                  <a:lnTo>
                    <a:pt x="140" y="346"/>
                  </a:lnTo>
                  <a:lnTo>
                    <a:pt x="487" y="346"/>
                  </a:lnTo>
                  <a:lnTo>
                    <a:pt x="487" y="457"/>
                  </a:lnTo>
                  <a:lnTo>
                    <a:pt x="124" y="457"/>
                  </a:lnTo>
                  <a:lnTo>
                    <a:pt x="112" y="457"/>
                  </a:lnTo>
                  <a:lnTo>
                    <a:pt x="100" y="455"/>
                  </a:lnTo>
                  <a:lnTo>
                    <a:pt x="88" y="453"/>
                  </a:lnTo>
                  <a:lnTo>
                    <a:pt x="77" y="448"/>
                  </a:lnTo>
                  <a:lnTo>
                    <a:pt x="66" y="444"/>
                  </a:lnTo>
                  <a:lnTo>
                    <a:pt x="61" y="440"/>
                  </a:lnTo>
                  <a:lnTo>
                    <a:pt x="56" y="438"/>
                  </a:lnTo>
                  <a:lnTo>
                    <a:pt x="47" y="432"/>
                  </a:lnTo>
                  <a:lnTo>
                    <a:pt x="42" y="427"/>
                  </a:lnTo>
                  <a:lnTo>
                    <a:pt x="37" y="424"/>
                  </a:lnTo>
                  <a:lnTo>
                    <a:pt x="29" y="416"/>
                  </a:lnTo>
                  <a:lnTo>
                    <a:pt x="22" y="407"/>
                  </a:lnTo>
                  <a:lnTo>
                    <a:pt x="19" y="402"/>
                  </a:lnTo>
                  <a:lnTo>
                    <a:pt x="17" y="398"/>
                  </a:lnTo>
                  <a:lnTo>
                    <a:pt x="11" y="388"/>
                  </a:lnTo>
                  <a:lnTo>
                    <a:pt x="7" y="377"/>
                  </a:lnTo>
                  <a:lnTo>
                    <a:pt x="4" y="366"/>
                  </a:lnTo>
                  <a:lnTo>
                    <a:pt x="3" y="355"/>
                  </a:lnTo>
                  <a:lnTo>
                    <a:pt x="2"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0" name="Rectangle 16"/>
            <p:cNvSpPr>
              <a:spLocks noChangeArrowheads="1"/>
            </p:cNvSpPr>
            <p:nvPr userDrawn="1"/>
          </p:nvSpPr>
          <p:spPr bwMode="auto">
            <a:xfrm>
              <a:off x="575"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1" name="Freeform 17"/>
            <p:cNvSpPr>
              <a:spLocks/>
            </p:cNvSpPr>
            <p:nvPr userDrawn="1"/>
          </p:nvSpPr>
          <p:spPr bwMode="auto">
            <a:xfrm>
              <a:off x="453" y="3944"/>
              <a:ext cx="80" cy="76"/>
            </a:xfrm>
            <a:custGeom>
              <a:avLst/>
              <a:gdLst/>
              <a:ahLst/>
              <a:cxnLst>
                <a:cxn ang="0">
                  <a:pos x="0" y="104"/>
                </a:cxn>
                <a:cxn ang="0">
                  <a:pos x="4" y="82"/>
                </a:cxn>
                <a:cxn ang="0">
                  <a:pos x="11" y="65"/>
                </a:cxn>
                <a:cxn ang="0">
                  <a:pos x="19" y="51"/>
                </a:cxn>
                <a:cxn ang="0">
                  <a:pos x="35" y="34"/>
                </a:cxn>
                <a:cxn ang="0">
                  <a:pos x="48" y="23"/>
                </a:cxn>
                <a:cxn ang="0">
                  <a:pos x="58" y="17"/>
                </a:cxn>
                <a:cxn ang="0">
                  <a:pos x="74" y="9"/>
                </a:cxn>
                <a:cxn ang="0">
                  <a:pos x="90" y="3"/>
                </a:cxn>
                <a:cxn ang="0">
                  <a:pos x="102" y="1"/>
                </a:cxn>
                <a:cxn ang="0">
                  <a:pos x="120" y="0"/>
                </a:cxn>
                <a:cxn ang="0">
                  <a:pos x="480" y="111"/>
                </a:cxn>
                <a:cxn ang="0">
                  <a:pos x="134" y="112"/>
                </a:cxn>
                <a:cxn ang="0">
                  <a:pos x="126" y="116"/>
                </a:cxn>
                <a:cxn ang="0">
                  <a:pos x="120" y="121"/>
                </a:cxn>
                <a:cxn ang="0">
                  <a:pos x="117" y="129"/>
                </a:cxn>
                <a:cxn ang="0">
                  <a:pos x="117" y="323"/>
                </a:cxn>
                <a:cxn ang="0">
                  <a:pos x="118" y="332"/>
                </a:cxn>
                <a:cxn ang="0">
                  <a:pos x="121" y="337"/>
                </a:cxn>
                <a:cxn ang="0">
                  <a:pos x="126" y="341"/>
                </a:cxn>
                <a:cxn ang="0">
                  <a:pos x="134" y="346"/>
                </a:cxn>
                <a:cxn ang="0">
                  <a:pos x="480" y="346"/>
                </a:cxn>
                <a:cxn ang="0">
                  <a:pos x="122" y="457"/>
                </a:cxn>
                <a:cxn ang="0">
                  <a:pos x="98" y="455"/>
                </a:cxn>
                <a:cxn ang="0">
                  <a:pos x="75" y="447"/>
                </a:cxn>
                <a:cxn ang="0">
                  <a:pos x="54" y="436"/>
                </a:cxn>
                <a:cxn ang="0">
                  <a:pos x="40" y="424"/>
                </a:cxn>
                <a:cxn ang="0">
                  <a:pos x="28" y="412"/>
                </a:cxn>
                <a:cxn ang="0">
                  <a:pos x="15" y="392"/>
                </a:cxn>
                <a:cxn ang="0">
                  <a:pos x="9" y="382"/>
                </a:cxn>
                <a:cxn ang="0">
                  <a:pos x="2" y="359"/>
                </a:cxn>
                <a:cxn ang="0">
                  <a:pos x="0" y="336"/>
                </a:cxn>
              </a:cxnLst>
              <a:rect l="0" t="0" r="r" b="b"/>
              <a:pathLst>
                <a:path w="480" h="457">
                  <a:moveTo>
                    <a:pt x="0" y="116"/>
                  </a:moveTo>
                  <a:lnTo>
                    <a:pt x="0" y="104"/>
                  </a:lnTo>
                  <a:lnTo>
                    <a:pt x="2" y="93"/>
                  </a:lnTo>
                  <a:lnTo>
                    <a:pt x="4" y="82"/>
                  </a:lnTo>
                  <a:lnTo>
                    <a:pt x="9" y="71"/>
                  </a:lnTo>
                  <a:lnTo>
                    <a:pt x="11" y="65"/>
                  </a:lnTo>
                  <a:lnTo>
                    <a:pt x="14" y="61"/>
                  </a:lnTo>
                  <a:lnTo>
                    <a:pt x="19" y="51"/>
                  </a:lnTo>
                  <a:lnTo>
                    <a:pt x="26" y="42"/>
                  </a:lnTo>
                  <a:lnTo>
                    <a:pt x="35" y="34"/>
                  </a:lnTo>
                  <a:lnTo>
                    <a:pt x="44" y="27"/>
                  </a:lnTo>
                  <a:lnTo>
                    <a:pt x="48" y="23"/>
                  </a:lnTo>
                  <a:lnTo>
                    <a:pt x="53" y="20"/>
                  </a:lnTo>
                  <a:lnTo>
                    <a:pt x="58" y="17"/>
                  </a:lnTo>
                  <a:lnTo>
                    <a:pt x="62" y="14"/>
                  </a:lnTo>
                  <a:lnTo>
                    <a:pt x="74" y="9"/>
                  </a:lnTo>
                  <a:lnTo>
                    <a:pt x="84" y="6"/>
                  </a:lnTo>
                  <a:lnTo>
                    <a:pt x="90" y="3"/>
                  </a:lnTo>
                  <a:lnTo>
                    <a:pt x="96" y="2"/>
                  </a:lnTo>
                  <a:lnTo>
                    <a:pt x="102" y="1"/>
                  </a:lnTo>
                  <a:lnTo>
                    <a:pt x="109" y="1"/>
                  </a:lnTo>
                  <a:lnTo>
                    <a:pt x="120" y="0"/>
                  </a:lnTo>
                  <a:lnTo>
                    <a:pt x="480" y="0"/>
                  </a:lnTo>
                  <a:lnTo>
                    <a:pt x="480" y="111"/>
                  </a:lnTo>
                  <a:lnTo>
                    <a:pt x="139" y="111"/>
                  </a:lnTo>
                  <a:lnTo>
                    <a:pt x="134" y="112"/>
                  </a:lnTo>
                  <a:lnTo>
                    <a:pt x="131" y="114"/>
                  </a:lnTo>
                  <a:lnTo>
                    <a:pt x="126" y="116"/>
                  </a:lnTo>
                  <a:lnTo>
                    <a:pt x="122" y="118"/>
                  </a:lnTo>
                  <a:lnTo>
                    <a:pt x="120" y="121"/>
                  </a:lnTo>
                  <a:lnTo>
                    <a:pt x="118" y="125"/>
                  </a:lnTo>
                  <a:lnTo>
                    <a:pt x="117" y="129"/>
                  </a:lnTo>
                  <a:lnTo>
                    <a:pt x="117" y="133"/>
                  </a:lnTo>
                  <a:lnTo>
                    <a:pt x="117" y="323"/>
                  </a:lnTo>
                  <a:lnTo>
                    <a:pt x="117" y="327"/>
                  </a:lnTo>
                  <a:lnTo>
                    <a:pt x="118" y="332"/>
                  </a:lnTo>
                  <a:lnTo>
                    <a:pt x="120" y="336"/>
                  </a:lnTo>
                  <a:lnTo>
                    <a:pt x="121" y="337"/>
                  </a:lnTo>
                  <a:lnTo>
                    <a:pt x="122" y="339"/>
                  </a:lnTo>
                  <a:lnTo>
                    <a:pt x="126" y="341"/>
                  </a:lnTo>
                  <a:lnTo>
                    <a:pt x="131" y="344"/>
                  </a:lnTo>
                  <a:lnTo>
                    <a:pt x="134" y="346"/>
                  </a:lnTo>
                  <a:lnTo>
                    <a:pt x="139" y="346"/>
                  </a:lnTo>
                  <a:lnTo>
                    <a:pt x="480" y="346"/>
                  </a:lnTo>
                  <a:lnTo>
                    <a:pt x="480" y="457"/>
                  </a:lnTo>
                  <a:lnTo>
                    <a:pt x="122" y="457"/>
                  </a:lnTo>
                  <a:lnTo>
                    <a:pt x="110" y="457"/>
                  </a:lnTo>
                  <a:lnTo>
                    <a:pt x="98" y="455"/>
                  </a:lnTo>
                  <a:lnTo>
                    <a:pt x="87" y="451"/>
                  </a:lnTo>
                  <a:lnTo>
                    <a:pt x="75" y="447"/>
                  </a:lnTo>
                  <a:lnTo>
                    <a:pt x="65" y="442"/>
                  </a:lnTo>
                  <a:lnTo>
                    <a:pt x="54" y="436"/>
                  </a:lnTo>
                  <a:lnTo>
                    <a:pt x="45" y="428"/>
                  </a:lnTo>
                  <a:lnTo>
                    <a:pt x="40" y="424"/>
                  </a:lnTo>
                  <a:lnTo>
                    <a:pt x="36" y="421"/>
                  </a:lnTo>
                  <a:lnTo>
                    <a:pt x="28" y="412"/>
                  </a:lnTo>
                  <a:lnTo>
                    <a:pt x="21" y="402"/>
                  </a:lnTo>
                  <a:lnTo>
                    <a:pt x="15" y="392"/>
                  </a:lnTo>
                  <a:lnTo>
                    <a:pt x="11" y="387"/>
                  </a:lnTo>
                  <a:lnTo>
                    <a:pt x="9" y="382"/>
                  </a:lnTo>
                  <a:lnTo>
                    <a:pt x="6" y="371"/>
                  </a:lnTo>
                  <a:lnTo>
                    <a:pt x="2" y="359"/>
                  </a:lnTo>
                  <a:lnTo>
                    <a:pt x="0" y="348"/>
                  </a:lnTo>
                  <a:lnTo>
                    <a:pt x="0" y="336"/>
                  </a:lnTo>
                  <a:lnTo>
                    <a:pt x="0" y="1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2" name="Freeform 18"/>
            <p:cNvSpPr>
              <a:spLocks/>
            </p:cNvSpPr>
            <p:nvPr userDrawn="1"/>
          </p:nvSpPr>
          <p:spPr bwMode="auto">
            <a:xfrm>
              <a:off x="737" y="3944"/>
              <a:ext cx="81" cy="76"/>
            </a:xfrm>
            <a:custGeom>
              <a:avLst/>
              <a:gdLst/>
              <a:ahLst/>
              <a:cxnLst>
                <a:cxn ang="0">
                  <a:pos x="0" y="116"/>
                </a:cxn>
                <a:cxn ang="0">
                  <a:pos x="3" y="93"/>
                </a:cxn>
                <a:cxn ang="0">
                  <a:pos x="10" y="71"/>
                </a:cxn>
                <a:cxn ang="0">
                  <a:pos x="15" y="61"/>
                </a:cxn>
                <a:cxn ang="0">
                  <a:pos x="27" y="42"/>
                </a:cxn>
                <a:cxn ang="0">
                  <a:pos x="45" y="27"/>
                </a:cxn>
                <a:cxn ang="0">
                  <a:pos x="54" y="20"/>
                </a:cxn>
                <a:cxn ang="0">
                  <a:pos x="63" y="14"/>
                </a:cxn>
                <a:cxn ang="0">
                  <a:pos x="85" y="6"/>
                </a:cxn>
                <a:cxn ang="0">
                  <a:pos x="97" y="2"/>
                </a:cxn>
                <a:cxn ang="0">
                  <a:pos x="108" y="1"/>
                </a:cxn>
                <a:cxn ang="0">
                  <a:pos x="486" y="0"/>
                </a:cxn>
                <a:cxn ang="0">
                  <a:pos x="140" y="111"/>
                </a:cxn>
                <a:cxn ang="0">
                  <a:pos x="132" y="114"/>
                </a:cxn>
                <a:cxn ang="0">
                  <a:pos x="124" y="118"/>
                </a:cxn>
                <a:cxn ang="0">
                  <a:pos x="119" y="125"/>
                </a:cxn>
                <a:cxn ang="0">
                  <a:pos x="118" y="133"/>
                </a:cxn>
                <a:cxn ang="0">
                  <a:pos x="118" y="327"/>
                </a:cxn>
                <a:cxn ang="0">
                  <a:pos x="121" y="336"/>
                </a:cxn>
                <a:cxn ang="0">
                  <a:pos x="124" y="339"/>
                </a:cxn>
                <a:cxn ang="0">
                  <a:pos x="132" y="344"/>
                </a:cxn>
                <a:cxn ang="0">
                  <a:pos x="140" y="346"/>
                </a:cxn>
                <a:cxn ang="0">
                  <a:pos x="486" y="457"/>
                </a:cxn>
                <a:cxn ang="0">
                  <a:pos x="111" y="457"/>
                </a:cxn>
                <a:cxn ang="0">
                  <a:pos x="88" y="453"/>
                </a:cxn>
                <a:cxn ang="0">
                  <a:pos x="66" y="444"/>
                </a:cxn>
                <a:cxn ang="0">
                  <a:pos x="55" y="438"/>
                </a:cxn>
                <a:cxn ang="0">
                  <a:pos x="41" y="427"/>
                </a:cxn>
                <a:cxn ang="0">
                  <a:pos x="29" y="416"/>
                </a:cxn>
                <a:cxn ang="0">
                  <a:pos x="18" y="402"/>
                </a:cxn>
                <a:cxn ang="0">
                  <a:pos x="10" y="388"/>
                </a:cxn>
                <a:cxn ang="0">
                  <a:pos x="3" y="366"/>
                </a:cxn>
                <a:cxn ang="0">
                  <a:pos x="1" y="343"/>
                </a:cxn>
              </a:cxnLst>
              <a:rect l="0" t="0" r="r" b="b"/>
              <a:pathLst>
                <a:path w="486" h="457">
                  <a:moveTo>
                    <a:pt x="0" y="336"/>
                  </a:moveTo>
                  <a:lnTo>
                    <a:pt x="0" y="116"/>
                  </a:lnTo>
                  <a:lnTo>
                    <a:pt x="1" y="104"/>
                  </a:lnTo>
                  <a:lnTo>
                    <a:pt x="3" y="93"/>
                  </a:lnTo>
                  <a:lnTo>
                    <a:pt x="5" y="82"/>
                  </a:lnTo>
                  <a:lnTo>
                    <a:pt x="10" y="71"/>
                  </a:lnTo>
                  <a:lnTo>
                    <a:pt x="12" y="65"/>
                  </a:lnTo>
                  <a:lnTo>
                    <a:pt x="15" y="61"/>
                  </a:lnTo>
                  <a:lnTo>
                    <a:pt x="21" y="51"/>
                  </a:lnTo>
                  <a:lnTo>
                    <a:pt x="27" y="42"/>
                  </a:lnTo>
                  <a:lnTo>
                    <a:pt x="36" y="34"/>
                  </a:lnTo>
                  <a:lnTo>
                    <a:pt x="45" y="27"/>
                  </a:lnTo>
                  <a:lnTo>
                    <a:pt x="49" y="23"/>
                  </a:lnTo>
                  <a:lnTo>
                    <a:pt x="54" y="20"/>
                  </a:lnTo>
                  <a:lnTo>
                    <a:pt x="59" y="17"/>
                  </a:lnTo>
                  <a:lnTo>
                    <a:pt x="63" y="14"/>
                  </a:lnTo>
                  <a:lnTo>
                    <a:pt x="74" y="9"/>
                  </a:lnTo>
                  <a:lnTo>
                    <a:pt x="85" y="6"/>
                  </a:lnTo>
                  <a:lnTo>
                    <a:pt x="91" y="3"/>
                  </a:lnTo>
                  <a:lnTo>
                    <a:pt x="97" y="2"/>
                  </a:lnTo>
                  <a:lnTo>
                    <a:pt x="103" y="1"/>
                  </a:lnTo>
                  <a:lnTo>
                    <a:pt x="108" y="1"/>
                  </a:lnTo>
                  <a:lnTo>
                    <a:pt x="121" y="0"/>
                  </a:lnTo>
                  <a:lnTo>
                    <a:pt x="486" y="0"/>
                  </a:lnTo>
                  <a:lnTo>
                    <a:pt x="486" y="111"/>
                  </a:lnTo>
                  <a:lnTo>
                    <a:pt x="140" y="111"/>
                  </a:lnTo>
                  <a:lnTo>
                    <a:pt x="135" y="112"/>
                  </a:lnTo>
                  <a:lnTo>
                    <a:pt x="132" y="114"/>
                  </a:lnTo>
                  <a:lnTo>
                    <a:pt x="127" y="116"/>
                  </a:lnTo>
                  <a:lnTo>
                    <a:pt x="124" y="118"/>
                  </a:lnTo>
                  <a:lnTo>
                    <a:pt x="121" y="121"/>
                  </a:lnTo>
                  <a:lnTo>
                    <a:pt x="119" y="125"/>
                  </a:lnTo>
                  <a:lnTo>
                    <a:pt x="118" y="129"/>
                  </a:lnTo>
                  <a:lnTo>
                    <a:pt x="118" y="133"/>
                  </a:lnTo>
                  <a:lnTo>
                    <a:pt x="118" y="323"/>
                  </a:lnTo>
                  <a:lnTo>
                    <a:pt x="118" y="327"/>
                  </a:lnTo>
                  <a:lnTo>
                    <a:pt x="119" y="332"/>
                  </a:lnTo>
                  <a:lnTo>
                    <a:pt x="121" y="336"/>
                  </a:lnTo>
                  <a:lnTo>
                    <a:pt x="122" y="337"/>
                  </a:lnTo>
                  <a:lnTo>
                    <a:pt x="124" y="339"/>
                  </a:lnTo>
                  <a:lnTo>
                    <a:pt x="127" y="341"/>
                  </a:lnTo>
                  <a:lnTo>
                    <a:pt x="132" y="344"/>
                  </a:lnTo>
                  <a:lnTo>
                    <a:pt x="135" y="346"/>
                  </a:lnTo>
                  <a:lnTo>
                    <a:pt x="140" y="346"/>
                  </a:lnTo>
                  <a:lnTo>
                    <a:pt x="486" y="346"/>
                  </a:lnTo>
                  <a:lnTo>
                    <a:pt x="486" y="457"/>
                  </a:lnTo>
                  <a:lnTo>
                    <a:pt x="124" y="457"/>
                  </a:lnTo>
                  <a:lnTo>
                    <a:pt x="111" y="457"/>
                  </a:lnTo>
                  <a:lnTo>
                    <a:pt x="99" y="455"/>
                  </a:lnTo>
                  <a:lnTo>
                    <a:pt x="88" y="453"/>
                  </a:lnTo>
                  <a:lnTo>
                    <a:pt x="76" y="448"/>
                  </a:lnTo>
                  <a:lnTo>
                    <a:pt x="66" y="444"/>
                  </a:lnTo>
                  <a:lnTo>
                    <a:pt x="60" y="440"/>
                  </a:lnTo>
                  <a:lnTo>
                    <a:pt x="55" y="438"/>
                  </a:lnTo>
                  <a:lnTo>
                    <a:pt x="46" y="432"/>
                  </a:lnTo>
                  <a:lnTo>
                    <a:pt x="41" y="427"/>
                  </a:lnTo>
                  <a:lnTo>
                    <a:pt x="37" y="424"/>
                  </a:lnTo>
                  <a:lnTo>
                    <a:pt x="29" y="416"/>
                  </a:lnTo>
                  <a:lnTo>
                    <a:pt x="22" y="407"/>
                  </a:lnTo>
                  <a:lnTo>
                    <a:pt x="18" y="402"/>
                  </a:lnTo>
                  <a:lnTo>
                    <a:pt x="16" y="398"/>
                  </a:lnTo>
                  <a:lnTo>
                    <a:pt x="10" y="388"/>
                  </a:lnTo>
                  <a:lnTo>
                    <a:pt x="7" y="377"/>
                  </a:lnTo>
                  <a:lnTo>
                    <a:pt x="3" y="366"/>
                  </a:lnTo>
                  <a:lnTo>
                    <a:pt x="1" y="355"/>
                  </a:lnTo>
                  <a:lnTo>
                    <a:pt x="1"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3" name="Rectangle 19"/>
            <p:cNvSpPr>
              <a:spLocks noChangeArrowheads="1"/>
            </p:cNvSpPr>
            <p:nvPr userDrawn="1"/>
          </p:nvSpPr>
          <p:spPr bwMode="auto">
            <a:xfrm>
              <a:off x="773"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4" name="Freeform 20"/>
            <p:cNvSpPr>
              <a:spLocks/>
            </p:cNvSpPr>
            <p:nvPr userDrawn="1"/>
          </p:nvSpPr>
          <p:spPr bwMode="auto">
            <a:xfrm>
              <a:off x="629" y="3944"/>
              <a:ext cx="99" cy="76"/>
            </a:xfrm>
            <a:custGeom>
              <a:avLst/>
              <a:gdLst/>
              <a:ahLst/>
              <a:cxnLst>
                <a:cxn ang="0">
                  <a:pos x="117" y="111"/>
                </a:cxn>
                <a:cxn ang="0">
                  <a:pos x="117" y="457"/>
                </a:cxn>
                <a:cxn ang="0">
                  <a:pos x="0" y="457"/>
                </a:cxn>
                <a:cxn ang="0">
                  <a:pos x="0" y="0"/>
                </a:cxn>
                <a:cxn ang="0">
                  <a:pos x="338" y="0"/>
                </a:cxn>
                <a:cxn ang="0">
                  <a:pos x="472" y="0"/>
                </a:cxn>
                <a:cxn ang="0">
                  <a:pos x="485" y="1"/>
                </a:cxn>
                <a:cxn ang="0">
                  <a:pos x="496" y="2"/>
                </a:cxn>
                <a:cxn ang="0">
                  <a:pos x="508" y="6"/>
                </a:cxn>
                <a:cxn ang="0">
                  <a:pos x="519" y="9"/>
                </a:cxn>
                <a:cxn ang="0">
                  <a:pos x="524" y="11"/>
                </a:cxn>
                <a:cxn ang="0">
                  <a:pos x="530" y="14"/>
                </a:cxn>
                <a:cxn ang="0">
                  <a:pos x="539" y="20"/>
                </a:cxn>
                <a:cxn ang="0">
                  <a:pos x="549" y="27"/>
                </a:cxn>
                <a:cxn ang="0">
                  <a:pos x="558" y="34"/>
                </a:cxn>
                <a:cxn ang="0">
                  <a:pos x="566" y="42"/>
                </a:cxn>
                <a:cxn ang="0">
                  <a:pos x="569" y="46"/>
                </a:cxn>
                <a:cxn ang="0">
                  <a:pos x="573" y="51"/>
                </a:cxn>
                <a:cxn ang="0">
                  <a:pos x="575" y="56"/>
                </a:cxn>
                <a:cxn ang="0">
                  <a:pos x="578" y="61"/>
                </a:cxn>
                <a:cxn ang="0">
                  <a:pos x="583" y="71"/>
                </a:cxn>
                <a:cxn ang="0">
                  <a:pos x="588" y="82"/>
                </a:cxn>
                <a:cxn ang="0">
                  <a:pos x="589" y="87"/>
                </a:cxn>
                <a:cxn ang="0">
                  <a:pos x="590" y="93"/>
                </a:cxn>
                <a:cxn ang="0">
                  <a:pos x="591" y="98"/>
                </a:cxn>
                <a:cxn ang="0">
                  <a:pos x="592" y="104"/>
                </a:cxn>
                <a:cxn ang="0">
                  <a:pos x="593" y="116"/>
                </a:cxn>
                <a:cxn ang="0">
                  <a:pos x="593" y="457"/>
                </a:cxn>
                <a:cxn ang="0">
                  <a:pos x="474" y="457"/>
                </a:cxn>
                <a:cxn ang="0">
                  <a:pos x="474" y="133"/>
                </a:cxn>
                <a:cxn ang="0">
                  <a:pos x="473" y="129"/>
                </a:cxn>
                <a:cxn ang="0">
                  <a:pos x="472" y="125"/>
                </a:cxn>
                <a:cxn ang="0">
                  <a:pos x="470" y="121"/>
                </a:cxn>
                <a:cxn ang="0">
                  <a:pos x="467" y="118"/>
                </a:cxn>
                <a:cxn ang="0">
                  <a:pos x="464" y="116"/>
                </a:cxn>
                <a:cxn ang="0">
                  <a:pos x="460" y="114"/>
                </a:cxn>
                <a:cxn ang="0">
                  <a:pos x="456" y="112"/>
                </a:cxn>
                <a:cxn ang="0">
                  <a:pos x="451" y="111"/>
                </a:cxn>
                <a:cxn ang="0">
                  <a:pos x="355" y="111"/>
                </a:cxn>
                <a:cxn ang="0">
                  <a:pos x="355" y="457"/>
                </a:cxn>
                <a:cxn ang="0">
                  <a:pos x="236" y="457"/>
                </a:cxn>
                <a:cxn ang="0">
                  <a:pos x="236" y="111"/>
                </a:cxn>
                <a:cxn ang="0">
                  <a:pos x="117" y="111"/>
                </a:cxn>
              </a:cxnLst>
              <a:rect l="0" t="0" r="r" b="b"/>
              <a:pathLst>
                <a:path w="593" h="457">
                  <a:moveTo>
                    <a:pt x="117" y="111"/>
                  </a:moveTo>
                  <a:lnTo>
                    <a:pt x="117" y="457"/>
                  </a:lnTo>
                  <a:lnTo>
                    <a:pt x="0" y="457"/>
                  </a:lnTo>
                  <a:lnTo>
                    <a:pt x="0" y="0"/>
                  </a:lnTo>
                  <a:lnTo>
                    <a:pt x="338" y="0"/>
                  </a:lnTo>
                  <a:lnTo>
                    <a:pt x="472" y="0"/>
                  </a:lnTo>
                  <a:lnTo>
                    <a:pt x="485" y="1"/>
                  </a:lnTo>
                  <a:lnTo>
                    <a:pt x="496" y="2"/>
                  </a:lnTo>
                  <a:lnTo>
                    <a:pt x="508" y="6"/>
                  </a:lnTo>
                  <a:lnTo>
                    <a:pt x="519" y="9"/>
                  </a:lnTo>
                  <a:lnTo>
                    <a:pt x="524" y="11"/>
                  </a:lnTo>
                  <a:lnTo>
                    <a:pt x="530" y="14"/>
                  </a:lnTo>
                  <a:lnTo>
                    <a:pt x="539" y="20"/>
                  </a:lnTo>
                  <a:lnTo>
                    <a:pt x="549" y="27"/>
                  </a:lnTo>
                  <a:lnTo>
                    <a:pt x="558" y="34"/>
                  </a:lnTo>
                  <a:lnTo>
                    <a:pt x="566" y="42"/>
                  </a:lnTo>
                  <a:lnTo>
                    <a:pt x="569" y="46"/>
                  </a:lnTo>
                  <a:lnTo>
                    <a:pt x="573" y="51"/>
                  </a:lnTo>
                  <a:lnTo>
                    <a:pt x="575" y="56"/>
                  </a:lnTo>
                  <a:lnTo>
                    <a:pt x="578" y="61"/>
                  </a:lnTo>
                  <a:lnTo>
                    <a:pt x="583" y="71"/>
                  </a:lnTo>
                  <a:lnTo>
                    <a:pt x="588" y="82"/>
                  </a:lnTo>
                  <a:lnTo>
                    <a:pt x="589" y="87"/>
                  </a:lnTo>
                  <a:lnTo>
                    <a:pt x="590" y="93"/>
                  </a:lnTo>
                  <a:lnTo>
                    <a:pt x="591" y="98"/>
                  </a:lnTo>
                  <a:lnTo>
                    <a:pt x="592" y="104"/>
                  </a:lnTo>
                  <a:lnTo>
                    <a:pt x="593" y="116"/>
                  </a:lnTo>
                  <a:lnTo>
                    <a:pt x="593" y="457"/>
                  </a:lnTo>
                  <a:lnTo>
                    <a:pt x="474" y="457"/>
                  </a:lnTo>
                  <a:lnTo>
                    <a:pt x="474" y="133"/>
                  </a:lnTo>
                  <a:lnTo>
                    <a:pt x="473" y="129"/>
                  </a:lnTo>
                  <a:lnTo>
                    <a:pt x="472" y="125"/>
                  </a:lnTo>
                  <a:lnTo>
                    <a:pt x="470" y="121"/>
                  </a:lnTo>
                  <a:lnTo>
                    <a:pt x="467" y="118"/>
                  </a:lnTo>
                  <a:lnTo>
                    <a:pt x="464" y="116"/>
                  </a:lnTo>
                  <a:lnTo>
                    <a:pt x="460" y="114"/>
                  </a:lnTo>
                  <a:lnTo>
                    <a:pt x="456" y="112"/>
                  </a:lnTo>
                  <a:lnTo>
                    <a:pt x="451" y="111"/>
                  </a:lnTo>
                  <a:lnTo>
                    <a:pt x="355" y="111"/>
                  </a:lnTo>
                  <a:lnTo>
                    <a:pt x="355" y="457"/>
                  </a:lnTo>
                  <a:lnTo>
                    <a:pt x="236" y="457"/>
                  </a:lnTo>
                  <a:lnTo>
                    <a:pt x="236" y="111"/>
                  </a:lnTo>
                  <a:lnTo>
                    <a:pt x="117"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5" name="Freeform 21"/>
            <p:cNvSpPr>
              <a:spLocks/>
            </p:cNvSpPr>
            <p:nvPr userDrawn="1"/>
          </p:nvSpPr>
          <p:spPr bwMode="auto">
            <a:xfrm>
              <a:off x="827" y="3944"/>
              <a:ext cx="92" cy="76"/>
            </a:xfrm>
            <a:custGeom>
              <a:avLst/>
              <a:gdLst/>
              <a:ahLst/>
              <a:cxnLst>
                <a:cxn ang="0">
                  <a:pos x="278" y="296"/>
                </a:cxn>
                <a:cxn ang="0">
                  <a:pos x="122" y="389"/>
                </a:cxn>
                <a:cxn ang="0">
                  <a:pos x="122" y="457"/>
                </a:cxn>
                <a:cxn ang="0">
                  <a:pos x="0" y="457"/>
                </a:cxn>
                <a:cxn ang="0">
                  <a:pos x="0" y="361"/>
                </a:cxn>
                <a:cxn ang="0">
                  <a:pos x="1" y="355"/>
                </a:cxn>
                <a:cxn ang="0">
                  <a:pos x="3" y="348"/>
                </a:cxn>
                <a:cxn ang="0">
                  <a:pos x="6" y="341"/>
                </a:cxn>
                <a:cxn ang="0">
                  <a:pos x="9" y="335"/>
                </a:cxn>
                <a:cxn ang="0">
                  <a:pos x="13" y="329"/>
                </a:cxn>
                <a:cxn ang="0">
                  <a:pos x="17" y="324"/>
                </a:cxn>
                <a:cxn ang="0">
                  <a:pos x="23" y="318"/>
                </a:cxn>
                <a:cxn ang="0">
                  <a:pos x="27" y="317"/>
                </a:cxn>
                <a:cxn ang="0">
                  <a:pos x="30" y="315"/>
                </a:cxn>
                <a:cxn ang="0">
                  <a:pos x="176" y="229"/>
                </a:cxn>
                <a:cxn ang="0">
                  <a:pos x="30" y="143"/>
                </a:cxn>
                <a:cxn ang="0">
                  <a:pos x="23" y="139"/>
                </a:cxn>
                <a:cxn ang="0">
                  <a:pos x="21" y="137"/>
                </a:cxn>
                <a:cxn ang="0">
                  <a:pos x="17" y="133"/>
                </a:cxn>
                <a:cxn ang="0">
                  <a:pos x="13" y="129"/>
                </a:cxn>
                <a:cxn ang="0">
                  <a:pos x="9" y="122"/>
                </a:cxn>
                <a:cxn ang="0">
                  <a:pos x="6" y="117"/>
                </a:cxn>
                <a:cxn ang="0">
                  <a:pos x="3" y="110"/>
                </a:cxn>
                <a:cxn ang="0">
                  <a:pos x="1" y="104"/>
                </a:cxn>
                <a:cxn ang="0">
                  <a:pos x="0" y="96"/>
                </a:cxn>
                <a:cxn ang="0">
                  <a:pos x="0" y="0"/>
                </a:cxn>
                <a:cxn ang="0">
                  <a:pos x="122" y="0"/>
                </a:cxn>
                <a:cxn ang="0">
                  <a:pos x="122" y="68"/>
                </a:cxn>
                <a:cxn ang="0">
                  <a:pos x="278" y="162"/>
                </a:cxn>
                <a:cxn ang="0">
                  <a:pos x="434" y="68"/>
                </a:cxn>
                <a:cxn ang="0">
                  <a:pos x="434" y="0"/>
                </a:cxn>
                <a:cxn ang="0">
                  <a:pos x="556" y="0"/>
                </a:cxn>
                <a:cxn ang="0">
                  <a:pos x="556" y="96"/>
                </a:cxn>
                <a:cxn ang="0">
                  <a:pos x="554" y="104"/>
                </a:cxn>
                <a:cxn ang="0">
                  <a:pos x="552" y="110"/>
                </a:cxn>
                <a:cxn ang="0">
                  <a:pos x="550" y="117"/>
                </a:cxn>
                <a:cxn ang="0">
                  <a:pos x="546" y="122"/>
                </a:cxn>
                <a:cxn ang="0">
                  <a:pos x="543" y="129"/>
                </a:cxn>
                <a:cxn ang="0">
                  <a:pos x="538" y="133"/>
                </a:cxn>
                <a:cxn ang="0">
                  <a:pos x="532" y="139"/>
                </a:cxn>
                <a:cxn ang="0">
                  <a:pos x="529" y="141"/>
                </a:cxn>
                <a:cxn ang="0">
                  <a:pos x="525" y="143"/>
                </a:cxn>
                <a:cxn ang="0">
                  <a:pos x="383" y="228"/>
                </a:cxn>
                <a:cxn ang="0">
                  <a:pos x="525" y="315"/>
                </a:cxn>
                <a:cxn ang="0">
                  <a:pos x="532" y="318"/>
                </a:cxn>
                <a:cxn ang="0">
                  <a:pos x="535" y="322"/>
                </a:cxn>
                <a:cxn ang="0">
                  <a:pos x="538" y="324"/>
                </a:cxn>
                <a:cxn ang="0">
                  <a:pos x="543" y="329"/>
                </a:cxn>
                <a:cxn ang="0">
                  <a:pos x="546" y="335"/>
                </a:cxn>
                <a:cxn ang="0">
                  <a:pos x="550" y="341"/>
                </a:cxn>
                <a:cxn ang="0">
                  <a:pos x="552" y="348"/>
                </a:cxn>
                <a:cxn ang="0">
                  <a:pos x="554" y="355"/>
                </a:cxn>
                <a:cxn ang="0">
                  <a:pos x="556" y="361"/>
                </a:cxn>
                <a:cxn ang="0">
                  <a:pos x="556" y="457"/>
                </a:cxn>
                <a:cxn ang="0">
                  <a:pos x="434" y="457"/>
                </a:cxn>
                <a:cxn ang="0">
                  <a:pos x="434" y="389"/>
                </a:cxn>
                <a:cxn ang="0">
                  <a:pos x="278" y="296"/>
                </a:cxn>
              </a:cxnLst>
              <a:rect l="0" t="0" r="r" b="b"/>
              <a:pathLst>
                <a:path w="556" h="457">
                  <a:moveTo>
                    <a:pt x="278" y="296"/>
                  </a:moveTo>
                  <a:lnTo>
                    <a:pt x="122" y="389"/>
                  </a:lnTo>
                  <a:lnTo>
                    <a:pt x="122" y="457"/>
                  </a:lnTo>
                  <a:lnTo>
                    <a:pt x="0" y="457"/>
                  </a:lnTo>
                  <a:lnTo>
                    <a:pt x="0" y="361"/>
                  </a:lnTo>
                  <a:lnTo>
                    <a:pt x="1" y="355"/>
                  </a:lnTo>
                  <a:lnTo>
                    <a:pt x="3" y="348"/>
                  </a:lnTo>
                  <a:lnTo>
                    <a:pt x="6" y="341"/>
                  </a:lnTo>
                  <a:lnTo>
                    <a:pt x="9" y="335"/>
                  </a:lnTo>
                  <a:lnTo>
                    <a:pt x="13" y="329"/>
                  </a:lnTo>
                  <a:lnTo>
                    <a:pt x="17" y="324"/>
                  </a:lnTo>
                  <a:lnTo>
                    <a:pt x="23" y="318"/>
                  </a:lnTo>
                  <a:lnTo>
                    <a:pt x="27" y="317"/>
                  </a:lnTo>
                  <a:lnTo>
                    <a:pt x="30" y="315"/>
                  </a:lnTo>
                  <a:lnTo>
                    <a:pt x="176" y="229"/>
                  </a:lnTo>
                  <a:lnTo>
                    <a:pt x="30" y="143"/>
                  </a:lnTo>
                  <a:lnTo>
                    <a:pt x="23" y="139"/>
                  </a:lnTo>
                  <a:lnTo>
                    <a:pt x="21" y="137"/>
                  </a:lnTo>
                  <a:lnTo>
                    <a:pt x="17" y="133"/>
                  </a:lnTo>
                  <a:lnTo>
                    <a:pt x="13" y="129"/>
                  </a:lnTo>
                  <a:lnTo>
                    <a:pt x="9" y="122"/>
                  </a:lnTo>
                  <a:lnTo>
                    <a:pt x="6" y="117"/>
                  </a:lnTo>
                  <a:lnTo>
                    <a:pt x="3" y="110"/>
                  </a:lnTo>
                  <a:lnTo>
                    <a:pt x="1" y="104"/>
                  </a:lnTo>
                  <a:lnTo>
                    <a:pt x="0" y="96"/>
                  </a:lnTo>
                  <a:lnTo>
                    <a:pt x="0" y="0"/>
                  </a:lnTo>
                  <a:lnTo>
                    <a:pt x="122" y="0"/>
                  </a:lnTo>
                  <a:lnTo>
                    <a:pt x="122" y="68"/>
                  </a:lnTo>
                  <a:lnTo>
                    <a:pt x="278" y="162"/>
                  </a:lnTo>
                  <a:lnTo>
                    <a:pt x="434" y="68"/>
                  </a:lnTo>
                  <a:lnTo>
                    <a:pt x="434" y="0"/>
                  </a:lnTo>
                  <a:lnTo>
                    <a:pt x="556" y="0"/>
                  </a:lnTo>
                  <a:lnTo>
                    <a:pt x="556" y="96"/>
                  </a:lnTo>
                  <a:lnTo>
                    <a:pt x="554" y="104"/>
                  </a:lnTo>
                  <a:lnTo>
                    <a:pt x="552" y="110"/>
                  </a:lnTo>
                  <a:lnTo>
                    <a:pt x="550" y="117"/>
                  </a:lnTo>
                  <a:lnTo>
                    <a:pt x="546" y="122"/>
                  </a:lnTo>
                  <a:lnTo>
                    <a:pt x="543" y="129"/>
                  </a:lnTo>
                  <a:lnTo>
                    <a:pt x="538" y="133"/>
                  </a:lnTo>
                  <a:lnTo>
                    <a:pt x="532" y="139"/>
                  </a:lnTo>
                  <a:lnTo>
                    <a:pt x="529" y="141"/>
                  </a:lnTo>
                  <a:lnTo>
                    <a:pt x="525" y="143"/>
                  </a:lnTo>
                  <a:lnTo>
                    <a:pt x="383" y="228"/>
                  </a:lnTo>
                  <a:lnTo>
                    <a:pt x="525" y="315"/>
                  </a:lnTo>
                  <a:lnTo>
                    <a:pt x="532" y="318"/>
                  </a:lnTo>
                  <a:lnTo>
                    <a:pt x="535" y="322"/>
                  </a:lnTo>
                  <a:lnTo>
                    <a:pt x="538" y="324"/>
                  </a:lnTo>
                  <a:lnTo>
                    <a:pt x="543" y="329"/>
                  </a:lnTo>
                  <a:lnTo>
                    <a:pt x="546" y="335"/>
                  </a:lnTo>
                  <a:lnTo>
                    <a:pt x="550" y="341"/>
                  </a:lnTo>
                  <a:lnTo>
                    <a:pt x="552" y="348"/>
                  </a:lnTo>
                  <a:lnTo>
                    <a:pt x="554" y="355"/>
                  </a:lnTo>
                  <a:lnTo>
                    <a:pt x="556" y="361"/>
                  </a:lnTo>
                  <a:lnTo>
                    <a:pt x="556" y="457"/>
                  </a:lnTo>
                  <a:lnTo>
                    <a:pt x="434" y="457"/>
                  </a:lnTo>
                  <a:lnTo>
                    <a:pt x="434" y="389"/>
                  </a:lnTo>
                  <a:lnTo>
                    <a:pt x="278" y="2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nvGrpSpPr>
          <p:cNvPr id="3" name="94 Grupo"/>
          <p:cNvGrpSpPr/>
          <p:nvPr userDrawn="1"/>
        </p:nvGrpSpPr>
        <p:grpSpPr>
          <a:xfrm>
            <a:off x="6294710" y="5733256"/>
            <a:ext cx="2453754" cy="601982"/>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9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6" name="Group 5"/>
            <p:cNvGrpSpPr>
              <a:grpSpLocks noChangeAspect="1"/>
            </p:cNvGrpSpPr>
            <p:nvPr userDrawn="1"/>
          </p:nvGrpSpPr>
          <p:grpSpPr bwMode="auto">
            <a:xfrm>
              <a:off x="6300192" y="2768810"/>
              <a:ext cx="791493" cy="248083"/>
              <a:chOff x="1066" y="543"/>
              <a:chExt cx="2262" cy="709"/>
            </a:xfrm>
            <a:grpFill/>
          </p:grpSpPr>
          <p:sp>
            <p:nvSpPr>
              <p:cNvPr id="92"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3"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4"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sp>
        <p:nvSpPr>
          <p:cNvPr id="55" name="Title 54"/>
          <p:cNvSpPr>
            <a:spLocks noGrp="1"/>
          </p:cNvSpPr>
          <p:nvPr>
            <p:ph type="title"/>
          </p:nvPr>
        </p:nvSpPr>
        <p:spPr>
          <a:xfrm>
            <a:off x="304800" y="5257800"/>
            <a:ext cx="5760000" cy="320040"/>
          </a:xfrm>
        </p:spPr>
        <p:txBody>
          <a:bodyPr wrap="none" tIns="0" bIns="0"/>
          <a:lstStyle>
            <a:lvl1pPr>
              <a:lnSpc>
                <a:spcPct val="100000"/>
              </a:lnSpc>
              <a:defRPr sz="2800">
                <a:solidFill>
                  <a:srgbClr val="FFFFFF"/>
                </a:solidFill>
              </a:defRPr>
            </a:lvl1pPr>
          </a:lstStyle>
          <a:p>
            <a:r>
              <a:rPr lang="en-US" dirty="0" smtClean="0"/>
              <a:t>Click to edit Master title style</a:t>
            </a:r>
            <a:endParaRPr lang="en-US" dirty="0"/>
          </a:p>
        </p:txBody>
      </p:sp>
      <p:sp>
        <p:nvSpPr>
          <p:cNvPr id="61" name="Subtitle 2"/>
          <p:cNvSpPr>
            <a:spLocks noGrp="1"/>
          </p:cNvSpPr>
          <p:nvPr>
            <p:ph type="subTitle" idx="1"/>
          </p:nvPr>
        </p:nvSpPr>
        <p:spPr>
          <a:xfrm>
            <a:off x="304800" y="5605290"/>
            <a:ext cx="5760000" cy="274320"/>
          </a:xfrm>
          <a:prstGeom prst="rect">
            <a:avLst/>
          </a:prstGeom>
        </p:spPr>
        <p:txBody>
          <a:bodyPr wrap="none" tIns="0" bIns="0" anchor="ctr">
            <a:noAutofit/>
          </a:bodyPr>
          <a:lstStyle>
            <a:lvl1pPr marL="0" indent="0" algn="l">
              <a:spcBef>
                <a:spcPts val="0"/>
              </a:spcBef>
              <a:buNone/>
              <a:defRPr lang="en-US" sz="2400" b="1" u="none" kern="1200" dirty="0">
                <a:solidFill>
                  <a:schemeClr val="bg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68610"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9688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69634"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0608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ph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70658" name="think-cell Slide" r:id="rId3" imgW="270" imgH="270" progId="">
              <p:embed/>
            </p:oleObj>
          </a:graphicData>
        </a:graphic>
      </p:graphicFrame>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71682"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304800"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lick to edit Master text styles</a:t>
            </a:r>
          </a:p>
        </p:txBody>
      </p:sp>
      <p:sp>
        <p:nvSpPr>
          <p:cNvPr id="5" name="Text Placeholder 5"/>
          <p:cNvSpPr>
            <a:spLocks noGrp="1"/>
          </p:cNvSpPr>
          <p:nvPr>
            <p:ph type="body" sz="quarter" idx="12"/>
          </p:nvPr>
        </p:nvSpPr>
        <p:spPr>
          <a:xfrm>
            <a:off x="304801"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3" name="Text Placeholder 3"/>
          <p:cNvSpPr>
            <a:spLocks noGrp="1"/>
          </p:cNvSpPr>
          <p:nvPr>
            <p:ph type="body" sz="quarter" idx="13"/>
          </p:nvPr>
        </p:nvSpPr>
        <p:spPr>
          <a:xfrm>
            <a:off x="4876801"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ext styles</a:t>
            </a:r>
          </a:p>
        </p:txBody>
      </p:sp>
      <p:sp>
        <p:nvSpPr>
          <p:cNvPr id="14" name="Text Placeholder 5"/>
          <p:cNvSpPr>
            <a:spLocks noGrp="1"/>
          </p:cNvSpPr>
          <p:nvPr>
            <p:ph type="body" sz="quarter" idx="14"/>
          </p:nvPr>
        </p:nvSpPr>
        <p:spPr>
          <a:xfrm>
            <a:off x="4876802"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72706"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9" name="Text Placeholder 18"/>
          <p:cNvSpPr>
            <a:spLocks noGrp="1"/>
          </p:cNvSpPr>
          <p:nvPr>
            <p:ph type="body" sz="quarter" idx="11"/>
          </p:nvPr>
        </p:nvSpPr>
        <p:spPr>
          <a:xfrm>
            <a:off x="762000" y="2971800"/>
            <a:ext cx="7620000" cy="685800"/>
          </a:xfrm>
        </p:spPr>
        <p:txBody>
          <a:bodyPr anchor="ctr" anchorCtr="1">
            <a:normAutofit/>
          </a:bodyPr>
          <a:lstStyle>
            <a:lvl1pPr algn="ctr">
              <a:defRPr sz="2800"/>
            </a:lvl1pPr>
          </a:lstStyle>
          <a:p>
            <a:pPr lvl="0"/>
            <a:r>
              <a:rPr lang="en-US" smtClean="0"/>
              <a:t>Click to edit Master text styles</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73730"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41791616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Graph title">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74754" name="think-cell Slide" r:id="rId3" imgW="270" imgH="270" progId="">
              <p:embed/>
            </p:oleObj>
          </a:graphicData>
        </a:graphic>
      </p:graphicFrame>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75778" name="think-cell Slide" r:id="rId3" imgW="270" imgH="270" progId="">
              <p:embed/>
            </p:oleObj>
          </a:graphicData>
        </a:graphic>
      </p:graphicFrame>
      <p:sp>
        <p:nvSpPr>
          <p:cNvPr id="5" name="Text Placeholder 4"/>
          <p:cNvSpPr>
            <a:spLocks noGrp="1"/>
          </p:cNvSpPr>
          <p:nvPr>
            <p:ph type="body" sz="quarter" idx="11"/>
          </p:nvPr>
        </p:nvSpPr>
        <p:spPr>
          <a:xfrm>
            <a:off x="323850" y="1447800"/>
            <a:ext cx="8496300" cy="4718050"/>
          </a:xfrm>
          <a:prstGeom prst="rect">
            <a:avLst/>
          </a:prstGeom>
        </p:spPr>
        <p:txBody>
          <a:bodyPr/>
          <a:lstStyle>
            <a:lvl1pPr>
              <a:spcBef>
                <a:spcPts val="900"/>
              </a:spcBef>
              <a:buFont typeface="Arial" pitchFamily="34" charset="0"/>
              <a:buNone/>
              <a:defRPr/>
            </a:lvl1pPr>
            <a:lvl2pPr marL="346075" indent="12700">
              <a:spcBef>
                <a:spcPts val="900"/>
              </a:spcBef>
              <a:buNone/>
              <a:defRPr/>
            </a:lvl2pPr>
            <a:lvl3pPr marL="631825" indent="-273050">
              <a:spcBef>
                <a:spcPts val="900"/>
              </a:spcBef>
              <a:defRPr/>
            </a:lvl3pPr>
            <a:lvl4pPr>
              <a:spcBef>
                <a:spcPts val="900"/>
              </a:spcBef>
              <a:defRPr/>
            </a:lvl4pPr>
            <a:lvl5pPr>
              <a:spcBef>
                <a:spcPts val="9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lide Number Placeholder 9"/>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78" name="Title 1"/>
          <p:cNvSpPr>
            <a:spLocks noGrp="1"/>
          </p:cNvSpPr>
          <p:nvPr>
            <p:ph type="title"/>
          </p:nvPr>
        </p:nvSpPr>
        <p:spPr>
          <a:xfrm>
            <a:off x="107504" y="346646"/>
            <a:ext cx="5760640" cy="562074"/>
          </a:xfrm>
        </p:spPr>
        <p:txBody>
          <a:bodyPr anchor="ctr"/>
          <a:lstStyle>
            <a:lvl1pPr>
              <a:lnSpc>
                <a:spcPct val="100000"/>
              </a:lnSpc>
              <a:defRPr sz="2400"/>
            </a:lvl1pPr>
          </a:lstStyle>
          <a:p>
            <a:endParaRPr lang="en-US"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000000"/>
        </a:solidFill>
        <a:effectLst/>
      </p:bgPr>
    </p:bg>
    <p:spTree>
      <p:nvGrpSpPr>
        <p:cNvPr id="1" name=""/>
        <p:cNvGrpSpPr/>
        <p:nvPr/>
      </p:nvGrpSpPr>
      <p:grpSpPr>
        <a:xfrm>
          <a:off x="0" y="0"/>
          <a:ext cx="0" cy="0"/>
          <a:chOff x="0" y="0"/>
          <a:chExt cx="0" cy="0"/>
        </a:xfrm>
      </p:grpSpPr>
      <p:grpSp>
        <p:nvGrpSpPr>
          <p:cNvPr id="2" name="Group 40"/>
          <p:cNvGrpSpPr/>
          <p:nvPr userDrawn="1"/>
        </p:nvGrpSpPr>
        <p:grpSpPr>
          <a:xfrm>
            <a:off x="7020272" y="6273680"/>
            <a:ext cx="1761084" cy="432048"/>
            <a:chOff x="7020272" y="332656"/>
            <a:chExt cx="1761084" cy="432048"/>
          </a:xfrm>
        </p:grpSpPr>
        <p:grpSp>
          <p:nvGrpSpPr>
            <p:cNvPr id="3" name="51 Grupo"/>
            <p:cNvGrpSpPr/>
            <p:nvPr userDrawn="1"/>
          </p:nvGrpSpPr>
          <p:grpSpPr>
            <a:xfrm>
              <a:off x="7020272" y="341571"/>
              <a:ext cx="1761084" cy="423133"/>
              <a:chOff x="4860032" y="2780928"/>
              <a:chExt cx="2393756" cy="575145"/>
            </a:xfrm>
            <a:solidFill>
              <a:srgbClr val="FFFFFF"/>
            </a:solidFill>
          </p:grpSpPr>
          <p:grpSp>
            <p:nvGrpSpPr>
              <p:cNvPr id="4" name="65 Grupo"/>
              <p:cNvGrpSpPr/>
              <p:nvPr userDrawn="1"/>
            </p:nvGrpSpPr>
            <p:grpSpPr>
              <a:xfrm>
                <a:off x="5039214" y="2780928"/>
                <a:ext cx="1204546" cy="230882"/>
                <a:chOff x="6227763" y="5518150"/>
                <a:chExt cx="1449387" cy="277812"/>
              </a:xfrm>
              <a:grpFill/>
            </p:grpSpPr>
            <p:sp>
              <p:nvSpPr>
                <p:cNvPr id="7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4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109 Rectángulo"/>
              <p:cNvSpPr/>
              <p:nvPr userDrawn="1"/>
            </p:nvSpPr>
            <p:spPr bwMode="auto">
              <a:xfrm>
                <a:off x="4860032" y="3079385"/>
                <a:ext cx="2393756" cy="37996"/>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5" name="Group 5"/>
            <p:cNvGrpSpPr>
              <a:grpSpLocks noChangeAspect="1"/>
            </p:cNvGrpSpPr>
            <p:nvPr userDrawn="1"/>
          </p:nvGrpSpPr>
          <p:grpSpPr bwMode="auto">
            <a:xfrm>
              <a:off x="8079796" y="332656"/>
              <a:ext cx="582301" cy="182514"/>
              <a:chOff x="1066" y="543"/>
              <a:chExt cx="2262" cy="709"/>
            </a:xfrm>
            <a:solidFill>
              <a:srgbClr val="FFFFFF"/>
            </a:solidFill>
          </p:grpSpPr>
          <p:sp>
            <p:nvSpPr>
              <p:cNvPr id="44"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5"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6"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pic>
        <p:nvPicPr>
          <p:cNvPr id="77" name="Picture 3"/>
          <p:cNvPicPr>
            <a:picLocks noChangeAspect="1" noChangeArrowheads="1"/>
          </p:cNvPicPr>
          <p:nvPr userDrawn="1"/>
        </p:nvPicPr>
        <p:blipFill>
          <a:blip r:embed="rId2" cstate="screen"/>
          <a:srcRect/>
          <a:stretch>
            <a:fillRect/>
          </a:stretch>
        </p:blipFill>
        <p:spPr bwMode="auto">
          <a:xfrm>
            <a:off x="395536" y="6345688"/>
            <a:ext cx="1137016" cy="288032"/>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nvGraphicFramePr>
        <p:xfrm>
          <a:off x="1587" y="1588"/>
          <a:ext cx="1587" cy="1587"/>
        </p:xfrm>
        <a:graphic>
          <a:graphicData uri="http://schemas.openxmlformats.org/presentationml/2006/ole">
            <p:oleObj spid="_x0000_s77826" name="think-cell Slide" r:id="rId3" imgW="270" imgH="270" progId="">
              <p:embed/>
            </p:oleObj>
          </a:graphicData>
        </a:graphic>
      </p:graphicFrame>
      <p:sp>
        <p:nvSpPr>
          <p:cNvPr id="53" name="52 Rectángulo"/>
          <p:cNvSpPr/>
          <p:nvPr userDrawn="1"/>
        </p:nvSpPr>
        <p:spPr bwMode="auto">
          <a:xfrm>
            <a:off x="0" y="5238000"/>
            <a:ext cx="9144000" cy="16200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sz="2000" b="1" u="sng" smtClean="0">
              <a:solidFill>
                <a:srgbClr val="000000"/>
              </a:solidFill>
              <a:latin typeface="Arial" charset="0"/>
              <a:cs typeface="Arial" charset="0"/>
            </a:endParaRPr>
          </a:p>
        </p:txBody>
      </p:sp>
      <p:pic>
        <p:nvPicPr>
          <p:cNvPr id="54" name="Picture 3"/>
          <p:cNvPicPr>
            <a:picLocks noChangeAspect="1" noChangeArrowheads="1"/>
          </p:cNvPicPr>
          <p:nvPr userDrawn="1"/>
        </p:nvPicPr>
        <p:blipFill>
          <a:blip r:embed="rId4" cstate="screen"/>
          <a:srcRect/>
          <a:stretch>
            <a:fillRect/>
          </a:stretch>
        </p:blipFill>
        <p:spPr bwMode="auto">
          <a:xfrm>
            <a:off x="395536" y="6381328"/>
            <a:ext cx="1137016" cy="288032"/>
          </a:xfrm>
          <a:prstGeom prst="rect">
            <a:avLst/>
          </a:prstGeom>
          <a:noFill/>
          <a:ln w="9525">
            <a:noFill/>
            <a:miter lim="800000"/>
            <a:headEnd/>
            <a:tailEnd/>
          </a:ln>
        </p:spPr>
      </p:pic>
      <p:sp>
        <p:nvSpPr>
          <p:cNvPr id="56" name="Freeform 12"/>
          <p:cNvSpPr>
            <a:spLocks/>
          </p:cNvSpPr>
          <p:nvPr userDrawn="1"/>
        </p:nvSpPr>
        <p:spPr bwMode="auto">
          <a:xfrm>
            <a:off x="0" y="5915506"/>
            <a:ext cx="6156176" cy="942494"/>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19"/>
          <p:cNvSpPr>
            <a:spLocks/>
          </p:cNvSpPr>
          <p:nvPr userDrawn="1"/>
        </p:nvSpPr>
        <p:spPr bwMode="auto">
          <a:xfrm>
            <a:off x="0" y="6311900"/>
            <a:ext cx="14288" cy="14288"/>
          </a:xfrm>
          <a:custGeom>
            <a:avLst/>
            <a:gdLst/>
            <a:ahLst/>
            <a:cxnLst>
              <a:cxn ang="0">
                <a:pos x="18" y="34"/>
              </a:cxn>
              <a:cxn ang="0">
                <a:pos x="0" y="34"/>
              </a:cxn>
              <a:cxn ang="0">
                <a:pos x="0" y="16"/>
              </a:cxn>
              <a:cxn ang="0">
                <a:pos x="34" y="16"/>
              </a:cxn>
              <a:cxn ang="0">
                <a:pos x="18" y="0"/>
              </a:cxn>
              <a:cxn ang="0">
                <a:pos x="18" y="34"/>
              </a:cxn>
            </a:cxnLst>
            <a:rect l="0" t="0" r="r" b="b"/>
            <a:pathLst>
              <a:path w="34" h="34">
                <a:moveTo>
                  <a:pt x="18" y="34"/>
                </a:moveTo>
                <a:lnTo>
                  <a:pt x="0" y="34"/>
                </a:lnTo>
                <a:lnTo>
                  <a:pt x="0" y="16"/>
                </a:lnTo>
                <a:lnTo>
                  <a:pt x="34" y="16"/>
                </a:lnTo>
                <a:lnTo>
                  <a:pt x="18" y="0"/>
                </a:lnTo>
                <a:lnTo>
                  <a:pt x="18" y="34"/>
                </a:lnTo>
                <a:close/>
              </a:path>
            </a:pathLst>
          </a:custGeom>
          <a:solidFill>
            <a:srgbClr val="5177B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49 Rectángulo"/>
          <p:cNvSpPr/>
          <p:nvPr userDrawn="1"/>
        </p:nvSpPr>
        <p:spPr bwMode="auto">
          <a:xfrm flipV="1">
            <a:off x="0" y="6669360"/>
            <a:ext cx="9143999" cy="188640"/>
          </a:xfrm>
          <a:prstGeom prst="rect">
            <a:avLst/>
          </a:prstGeom>
          <a:solidFill>
            <a:srgbClr val="061F5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96" name="95 Rectángulo"/>
          <p:cNvSpPr/>
          <p:nvPr userDrawn="1"/>
        </p:nvSpPr>
        <p:spPr bwMode="auto">
          <a:xfrm>
            <a:off x="0" y="5190932"/>
            <a:ext cx="9144000" cy="45719"/>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2" name="Group 12"/>
          <p:cNvGrpSpPr>
            <a:grpSpLocks noChangeAspect="1"/>
          </p:cNvGrpSpPr>
          <p:nvPr userDrawn="1"/>
        </p:nvGrpSpPr>
        <p:grpSpPr bwMode="auto">
          <a:xfrm>
            <a:off x="323850" y="6162823"/>
            <a:ext cx="1135063" cy="290513"/>
            <a:chOff x="204" y="3837"/>
            <a:chExt cx="715" cy="183"/>
          </a:xfrm>
          <a:solidFill>
            <a:schemeClr val="bg1"/>
          </a:solidFill>
        </p:grpSpPr>
        <p:sp>
          <p:nvSpPr>
            <p:cNvPr id="1037" name="Freeform 13"/>
            <p:cNvSpPr>
              <a:spLocks/>
            </p:cNvSpPr>
            <p:nvPr userDrawn="1"/>
          </p:nvSpPr>
          <p:spPr bwMode="auto">
            <a:xfrm>
              <a:off x="204" y="3837"/>
              <a:ext cx="232" cy="183"/>
            </a:xfrm>
            <a:custGeom>
              <a:avLst/>
              <a:gdLst/>
              <a:ahLst/>
              <a:cxnLst>
                <a:cxn ang="0">
                  <a:pos x="1390" y="0"/>
                </a:cxn>
                <a:cxn ang="0">
                  <a:pos x="910" y="548"/>
                </a:cxn>
                <a:cxn ang="0">
                  <a:pos x="429" y="1096"/>
                </a:cxn>
                <a:cxn ang="0">
                  <a:pos x="0" y="1096"/>
                </a:cxn>
                <a:cxn ang="0">
                  <a:pos x="480" y="548"/>
                </a:cxn>
                <a:cxn ang="0">
                  <a:pos x="961" y="0"/>
                </a:cxn>
                <a:cxn ang="0">
                  <a:pos x="1390" y="0"/>
                </a:cxn>
              </a:cxnLst>
              <a:rect l="0" t="0" r="r" b="b"/>
              <a:pathLst>
                <a:path w="1390" h="1096">
                  <a:moveTo>
                    <a:pt x="1390" y="0"/>
                  </a:moveTo>
                  <a:lnTo>
                    <a:pt x="910" y="548"/>
                  </a:lnTo>
                  <a:lnTo>
                    <a:pt x="429"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8" name="Freeform 14"/>
            <p:cNvSpPr>
              <a:spLocks/>
            </p:cNvSpPr>
            <p:nvPr userDrawn="1"/>
          </p:nvSpPr>
          <p:spPr bwMode="auto">
            <a:xfrm>
              <a:off x="301" y="3837"/>
              <a:ext cx="231" cy="183"/>
            </a:xfrm>
            <a:custGeom>
              <a:avLst/>
              <a:gdLst/>
              <a:ahLst/>
              <a:cxnLst>
                <a:cxn ang="0">
                  <a:pos x="1390" y="0"/>
                </a:cxn>
                <a:cxn ang="0">
                  <a:pos x="910" y="548"/>
                </a:cxn>
                <a:cxn ang="0">
                  <a:pos x="431" y="1096"/>
                </a:cxn>
                <a:cxn ang="0">
                  <a:pos x="0" y="1096"/>
                </a:cxn>
                <a:cxn ang="0">
                  <a:pos x="480" y="548"/>
                </a:cxn>
                <a:cxn ang="0">
                  <a:pos x="961" y="0"/>
                </a:cxn>
                <a:cxn ang="0">
                  <a:pos x="1390" y="0"/>
                </a:cxn>
              </a:cxnLst>
              <a:rect l="0" t="0" r="r" b="b"/>
              <a:pathLst>
                <a:path w="1390" h="1096">
                  <a:moveTo>
                    <a:pt x="1390" y="0"/>
                  </a:moveTo>
                  <a:lnTo>
                    <a:pt x="910" y="548"/>
                  </a:lnTo>
                  <a:lnTo>
                    <a:pt x="431"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9" name="Freeform 15"/>
            <p:cNvSpPr>
              <a:spLocks/>
            </p:cNvSpPr>
            <p:nvPr userDrawn="1"/>
          </p:nvSpPr>
          <p:spPr bwMode="auto">
            <a:xfrm>
              <a:off x="539" y="3944"/>
              <a:ext cx="81" cy="76"/>
            </a:xfrm>
            <a:custGeom>
              <a:avLst/>
              <a:gdLst/>
              <a:ahLst/>
              <a:cxnLst>
                <a:cxn ang="0">
                  <a:pos x="0" y="116"/>
                </a:cxn>
                <a:cxn ang="0">
                  <a:pos x="4" y="93"/>
                </a:cxn>
                <a:cxn ang="0">
                  <a:pos x="11" y="71"/>
                </a:cxn>
                <a:cxn ang="0">
                  <a:pos x="15" y="61"/>
                </a:cxn>
                <a:cxn ang="0">
                  <a:pos x="28" y="42"/>
                </a:cxn>
                <a:cxn ang="0">
                  <a:pos x="46" y="27"/>
                </a:cxn>
                <a:cxn ang="0">
                  <a:pos x="55" y="20"/>
                </a:cxn>
                <a:cxn ang="0">
                  <a:pos x="64" y="14"/>
                </a:cxn>
                <a:cxn ang="0">
                  <a:pos x="86" y="6"/>
                </a:cxn>
                <a:cxn ang="0">
                  <a:pos x="98" y="2"/>
                </a:cxn>
                <a:cxn ang="0">
                  <a:pos x="109" y="1"/>
                </a:cxn>
                <a:cxn ang="0">
                  <a:pos x="487" y="0"/>
                </a:cxn>
                <a:cxn ang="0">
                  <a:pos x="140" y="111"/>
                </a:cxn>
                <a:cxn ang="0">
                  <a:pos x="132" y="114"/>
                </a:cxn>
                <a:cxn ang="0">
                  <a:pos x="124" y="118"/>
                </a:cxn>
                <a:cxn ang="0">
                  <a:pos x="120" y="125"/>
                </a:cxn>
                <a:cxn ang="0">
                  <a:pos x="118" y="133"/>
                </a:cxn>
                <a:cxn ang="0">
                  <a:pos x="118" y="327"/>
                </a:cxn>
                <a:cxn ang="0">
                  <a:pos x="122" y="336"/>
                </a:cxn>
                <a:cxn ang="0">
                  <a:pos x="124" y="339"/>
                </a:cxn>
                <a:cxn ang="0">
                  <a:pos x="132" y="344"/>
                </a:cxn>
                <a:cxn ang="0">
                  <a:pos x="140" y="346"/>
                </a:cxn>
                <a:cxn ang="0">
                  <a:pos x="487" y="457"/>
                </a:cxn>
                <a:cxn ang="0">
                  <a:pos x="112" y="457"/>
                </a:cxn>
                <a:cxn ang="0">
                  <a:pos x="88" y="453"/>
                </a:cxn>
                <a:cxn ang="0">
                  <a:pos x="66" y="444"/>
                </a:cxn>
                <a:cxn ang="0">
                  <a:pos x="56" y="438"/>
                </a:cxn>
                <a:cxn ang="0">
                  <a:pos x="42" y="427"/>
                </a:cxn>
                <a:cxn ang="0">
                  <a:pos x="29" y="416"/>
                </a:cxn>
                <a:cxn ang="0">
                  <a:pos x="19" y="402"/>
                </a:cxn>
                <a:cxn ang="0">
                  <a:pos x="11" y="388"/>
                </a:cxn>
                <a:cxn ang="0">
                  <a:pos x="4" y="366"/>
                </a:cxn>
                <a:cxn ang="0">
                  <a:pos x="2" y="343"/>
                </a:cxn>
              </a:cxnLst>
              <a:rect l="0" t="0" r="r" b="b"/>
              <a:pathLst>
                <a:path w="487" h="457">
                  <a:moveTo>
                    <a:pt x="0" y="336"/>
                  </a:moveTo>
                  <a:lnTo>
                    <a:pt x="0" y="116"/>
                  </a:lnTo>
                  <a:lnTo>
                    <a:pt x="2" y="104"/>
                  </a:lnTo>
                  <a:lnTo>
                    <a:pt x="4" y="93"/>
                  </a:lnTo>
                  <a:lnTo>
                    <a:pt x="6" y="82"/>
                  </a:lnTo>
                  <a:lnTo>
                    <a:pt x="11" y="71"/>
                  </a:lnTo>
                  <a:lnTo>
                    <a:pt x="13" y="65"/>
                  </a:lnTo>
                  <a:lnTo>
                    <a:pt x="15" y="61"/>
                  </a:lnTo>
                  <a:lnTo>
                    <a:pt x="21" y="51"/>
                  </a:lnTo>
                  <a:lnTo>
                    <a:pt x="28" y="42"/>
                  </a:lnTo>
                  <a:lnTo>
                    <a:pt x="36" y="34"/>
                  </a:lnTo>
                  <a:lnTo>
                    <a:pt x="46" y="27"/>
                  </a:lnTo>
                  <a:lnTo>
                    <a:pt x="50" y="23"/>
                  </a:lnTo>
                  <a:lnTo>
                    <a:pt x="55" y="20"/>
                  </a:lnTo>
                  <a:lnTo>
                    <a:pt x="59" y="17"/>
                  </a:lnTo>
                  <a:lnTo>
                    <a:pt x="64" y="14"/>
                  </a:lnTo>
                  <a:lnTo>
                    <a:pt x="75" y="9"/>
                  </a:lnTo>
                  <a:lnTo>
                    <a:pt x="86" y="6"/>
                  </a:lnTo>
                  <a:lnTo>
                    <a:pt x="92" y="3"/>
                  </a:lnTo>
                  <a:lnTo>
                    <a:pt x="98" y="2"/>
                  </a:lnTo>
                  <a:lnTo>
                    <a:pt x="103" y="1"/>
                  </a:lnTo>
                  <a:lnTo>
                    <a:pt x="109" y="1"/>
                  </a:lnTo>
                  <a:lnTo>
                    <a:pt x="122" y="0"/>
                  </a:lnTo>
                  <a:lnTo>
                    <a:pt x="487" y="0"/>
                  </a:lnTo>
                  <a:lnTo>
                    <a:pt x="487" y="111"/>
                  </a:lnTo>
                  <a:lnTo>
                    <a:pt x="140" y="111"/>
                  </a:lnTo>
                  <a:lnTo>
                    <a:pt x="136" y="112"/>
                  </a:lnTo>
                  <a:lnTo>
                    <a:pt x="132" y="114"/>
                  </a:lnTo>
                  <a:lnTo>
                    <a:pt x="128" y="116"/>
                  </a:lnTo>
                  <a:lnTo>
                    <a:pt x="124" y="118"/>
                  </a:lnTo>
                  <a:lnTo>
                    <a:pt x="122" y="121"/>
                  </a:lnTo>
                  <a:lnTo>
                    <a:pt x="120" y="125"/>
                  </a:lnTo>
                  <a:lnTo>
                    <a:pt x="118" y="129"/>
                  </a:lnTo>
                  <a:lnTo>
                    <a:pt x="118" y="133"/>
                  </a:lnTo>
                  <a:lnTo>
                    <a:pt x="118" y="323"/>
                  </a:lnTo>
                  <a:lnTo>
                    <a:pt x="118" y="327"/>
                  </a:lnTo>
                  <a:lnTo>
                    <a:pt x="120" y="332"/>
                  </a:lnTo>
                  <a:lnTo>
                    <a:pt x="122" y="336"/>
                  </a:lnTo>
                  <a:lnTo>
                    <a:pt x="123" y="337"/>
                  </a:lnTo>
                  <a:lnTo>
                    <a:pt x="124" y="339"/>
                  </a:lnTo>
                  <a:lnTo>
                    <a:pt x="128" y="341"/>
                  </a:lnTo>
                  <a:lnTo>
                    <a:pt x="132" y="344"/>
                  </a:lnTo>
                  <a:lnTo>
                    <a:pt x="136" y="346"/>
                  </a:lnTo>
                  <a:lnTo>
                    <a:pt x="140" y="346"/>
                  </a:lnTo>
                  <a:lnTo>
                    <a:pt x="487" y="346"/>
                  </a:lnTo>
                  <a:lnTo>
                    <a:pt x="487" y="457"/>
                  </a:lnTo>
                  <a:lnTo>
                    <a:pt x="124" y="457"/>
                  </a:lnTo>
                  <a:lnTo>
                    <a:pt x="112" y="457"/>
                  </a:lnTo>
                  <a:lnTo>
                    <a:pt x="100" y="455"/>
                  </a:lnTo>
                  <a:lnTo>
                    <a:pt x="88" y="453"/>
                  </a:lnTo>
                  <a:lnTo>
                    <a:pt x="77" y="448"/>
                  </a:lnTo>
                  <a:lnTo>
                    <a:pt x="66" y="444"/>
                  </a:lnTo>
                  <a:lnTo>
                    <a:pt x="61" y="440"/>
                  </a:lnTo>
                  <a:lnTo>
                    <a:pt x="56" y="438"/>
                  </a:lnTo>
                  <a:lnTo>
                    <a:pt x="47" y="432"/>
                  </a:lnTo>
                  <a:lnTo>
                    <a:pt x="42" y="427"/>
                  </a:lnTo>
                  <a:lnTo>
                    <a:pt x="37" y="424"/>
                  </a:lnTo>
                  <a:lnTo>
                    <a:pt x="29" y="416"/>
                  </a:lnTo>
                  <a:lnTo>
                    <a:pt x="22" y="407"/>
                  </a:lnTo>
                  <a:lnTo>
                    <a:pt x="19" y="402"/>
                  </a:lnTo>
                  <a:lnTo>
                    <a:pt x="17" y="398"/>
                  </a:lnTo>
                  <a:lnTo>
                    <a:pt x="11" y="388"/>
                  </a:lnTo>
                  <a:lnTo>
                    <a:pt x="7" y="377"/>
                  </a:lnTo>
                  <a:lnTo>
                    <a:pt x="4" y="366"/>
                  </a:lnTo>
                  <a:lnTo>
                    <a:pt x="3" y="355"/>
                  </a:lnTo>
                  <a:lnTo>
                    <a:pt x="2"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0" name="Rectangle 16"/>
            <p:cNvSpPr>
              <a:spLocks noChangeArrowheads="1"/>
            </p:cNvSpPr>
            <p:nvPr userDrawn="1"/>
          </p:nvSpPr>
          <p:spPr bwMode="auto">
            <a:xfrm>
              <a:off x="575"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1" name="Freeform 17"/>
            <p:cNvSpPr>
              <a:spLocks/>
            </p:cNvSpPr>
            <p:nvPr userDrawn="1"/>
          </p:nvSpPr>
          <p:spPr bwMode="auto">
            <a:xfrm>
              <a:off x="453" y="3944"/>
              <a:ext cx="80" cy="76"/>
            </a:xfrm>
            <a:custGeom>
              <a:avLst/>
              <a:gdLst/>
              <a:ahLst/>
              <a:cxnLst>
                <a:cxn ang="0">
                  <a:pos x="0" y="104"/>
                </a:cxn>
                <a:cxn ang="0">
                  <a:pos x="4" y="82"/>
                </a:cxn>
                <a:cxn ang="0">
                  <a:pos x="11" y="65"/>
                </a:cxn>
                <a:cxn ang="0">
                  <a:pos x="19" y="51"/>
                </a:cxn>
                <a:cxn ang="0">
                  <a:pos x="35" y="34"/>
                </a:cxn>
                <a:cxn ang="0">
                  <a:pos x="48" y="23"/>
                </a:cxn>
                <a:cxn ang="0">
                  <a:pos x="58" y="17"/>
                </a:cxn>
                <a:cxn ang="0">
                  <a:pos x="74" y="9"/>
                </a:cxn>
                <a:cxn ang="0">
                  <a:pos x="90" y="3"/>
                </a:cxn>
                <a:cxn ang="0">
                  <a:pos x="102" y="1"/>
                </a:cxn>
                <a:cxn ang="0">
                  <a:pos x="120" y="0"/>
                </a:cxn>
                <a:cxn ang="0">
                  <a:pos x="480" y="111"/>
                </a:cxn>
                <a:cxn ang="0">
                  <a:pos x="134" y="112"/>
                </a:cxn>
                <a:cxn ang="0">
                  <a:pos x="126" y="116"/>
                </a:cxn>
                <a:cxn ang="0">
                  <a:pos x="120" y="121"/>
                </a:cxn>
                <a:cxn ang="0">
                  <a:pos x="117" y="129"/>
                </a:cxn>
                <a:cxn ang="0">
                  <a:pos x="117" y="323"/>
                </a:cxn>
                <a:cxn ang="0">
                  <a:pos x="118" y="332"/>
                </a:cxn>
                <a:cxn ang="0">
                  <a:pos x="121" y="337"/>
                </a:cxn>
                <a:cxn ang="0">
                  <a:pos x="126" y="341"/>
                </a:cxn>
                <a:cxn ang="0">
                  <a:pos x="134" y="346"/>
                </a:cxn>
                <a:cxn ang="0">
                  <a:pos x="480" y="346"/>
                </a:cxn>
                <a:cxn ang="0">
                  <a:pos x="122" y="457"/>
                </a:cxn>
                <a:cxn ang="0">
                  <a:pos x="98" y="455"/>
                </a:cxn>
                <a:cxn ang="0">
                  <a:pos x="75" y="447"/>
                </a:cxn>
                <a:cxn ang="0">
                  <a:pos x="54" y="436"/>
                </a:cxn>
                <a:cxn ang="0">
                  <a:pos x="40" y="424"/>
                </a:cxn>
                <a:cxn ang="0">
                  <a:pos x="28" y="412"/>
                </a:cxn>
                <a:cxn ang="0">
                  <a:pos x="15" y="392"/>
                </a:cxn>
                <a:cxn ang="0">
                  <a:pos x="9" y="382"/>
                </a:cxn>
                <a:cxn ang="0">
                  <a:pos x="2" y="359"/>
                </a:cxn>
                <a:cxn ang="0">
                  <a:pos x="0" y="336"/>
                </a:cxn>
              </a:cxnLst>
              <a:rect l="0" t="0" r="r" b="b"/>
              <a:pathLst>
                <a:path w="480" h="457">
                  <a:moveTo>
                    <a:pt x="0" y="116"/>
                  </a:moveTo>
                  <a:lnTo>
                    <a:pt x="0" y="104"/>
                  </a:lnTo>
                  <a:lnTo>
                    <a:pt x="2" y="93"/>
                  </a:lnTo>
                  <a:lnTo>
                    <a:pt x="4" y="82"/>
                  </a:lnTo>
                  <a:lnTo>
                    <a:pt x="9" y="71"/>
                  </a:lnTo>
                  <a:lnTo>
                    <a:pt x="11" y="65"/>
                  </a:lnTo>
                  <a:lnTo>
                    <a:pt x="14" y="61"/>
                  </a:lnTo>
                  <a:lnTo>
                    <a:pt x="19" y="51"/>
                  </a:lnTo>
                  <a:lnTo>
                    <a:pt x="26" y="42"/>
                  </a:lnTo>
                  <a:lnTo>
                    <a:pt x="35" y="34"/>
                  </a:lnTo>
                  <a:lnTo>
                    <a:pt x="44" y="27"/>
                  </a:lnTo>
                  <a:lnTo>
                    <a:pt x="48" y="23"/>
                  </a:lnTo>
                  <a:lnTo>
                    <a:pt x="53" y="20"/>
                  </a:lnTo>
                  <a:lnTo>
                    <a:pt x="58" y="17"/>
                  </a:lnTo>
                  <a:lnTo>
                    <a:pt x="62" y="14"/>
                  </a:lnTo>
                  <a:lnTo>
                    <a:pt x="74" y="9"/>
                  </a:lnTo>
                  <a:lnTo>
                    <a:pt x="84" y="6"/>
                  </a:lnTo>
                  <a:lnTo>
                    <a:pt x="90" y="3"/>
                  </a:lnTo>
                  <a:lnTo>
                    <a:pt x="96" y="2"/>
                  </a:lnTo>
                  <a:lnTo>
                    <a:pt x="102" y="1"/>
                  </a:lnTo>
                  <a:lnTo>
                    <a:pt x="109" y="1"/>
                  </a:lnTo>
                  <a:lnTo>
                    <a:pt x="120" y="0"/>
                  </a:lnTo>
                  <a:lnTo>
                    <a:pt x="480" y="0"/>
                  </a:lnTo>
                  <a:lnTo>
                    <a:pt x="480" y="111"/>
                  </a:lnTo>
                  <a:lnTo>
                    <a:pt x="139" y="111"/>
                  </a:lnTo>
                  <a:lnTo>
                    <a:pt x="134" y="112"/>
                  </a:lnTo>
                  <a:lnTo>
                    <a:pt x="131" y="114"/>
                  </a:lnTo>
                  <a:lnTo>
                    <a:pt x="126" y="116"/>
                  </a:lnTo>
                  <a:lnTo>
                    <a:pt x="122" y="118"/>
                  </a:lnTo>
                  <a:lnTo>
                    <a:pt x="120" y="121"/>
                  </a:lnTo>
                  <a:lnTo>
                    <a:pt x="118" y="125"/>
                  </a:lnTo>
                  <a:lnTo>
                    <a:pt x="117" y="129"/>
                  </a:lnTo>
                  <a:lnTo>
                    <a:pt x="117" y="133"/>
                  </a:lnTo>
                  <a:lnTo>
                    <a:pt x="117" y="323"/>
                  </a:lnTo>
                  <a:lnTo>
                    <a:pt x="117" y="327"/>
                  </a:lnTo>
                  <a:lnTo>
                    <a:pt x="118" y="332"/>
                  </a:lnTo>
                  <a:lnTo>
                    <a:pt x="120" y="336"/>
                  </a:lnTo>
                  <a:lnTo>
                    <a:pt x="121" y="337"/>
                  </a:lnTo>
                  <a:lnTo>
                    <a:pt x="122" y="339"/>
                  </a:lnTo>
                  <a:lnTo>
                    <a:pt x="126" y="341"/>
                  </a:lnTo>
                  <a:lnTo>
                    <a:pt x="131" y="344"/>
                  </a:lnTo>
                  <a:lnTo>
                    <a:pt x="134" y="346"/>
                  </a:lnTo>
                  <a:lnTo>
                    <a:pt x="139" y="346"/>
                  </a:lnTo>
                  <a:lnTo>
                    <a:pt x="480" y="346"/>
                  </a:lnTo>
                  <a:lnTo>
                    <a:pt x="480" y="457"/>
                  </a:lnTo>
                  <a:lnTo>
                    <a:pt x="122" y="457"/>
                  </a:lnTo>
                  <a:lnTo>
                    <a:pt x="110" y="457"/>
                  </a:lnTo>
                  <a:lnTo>
                    <a:pt x="98" y="455"/>
                  </a:lnTo>
                  <a:lnTo>
                    <a:pt x="87" y="451"/>
                  </a:lnTo>
                  <a:lnTo>
                    <a:pt x="75" y="447"/>
                  </a:lnTo>
                  <a:lnTo>
                    <a:pt x="65" y="442"/>
                  </a:lnTo>
                  <a:lnTo>
                    <a:pt x="54" y="436"/>
                  </a:lnTo>
                  <a:lnTo>
                    <a:pt x="45" y="428"/>
                  </a:lnTo>
                  <a:lnTo>
                    <a:pt x="40" y="424"/>
                  </a:lnTo>
                  <a:lnTo>
                    <a:pt x="36" y="421"/>
                  </a:lnTo>
                  <a:lnTo>
                    <a:pt x="28" y="412"/>
                  </a:lnTo>
                  <a:lnTo>
                    <a:pt x="21" y="402"/>
                  </a:lnTo>
                  <a:lnTo>
                    <a:pt x="15" y="392"/>
                  </a:lnTo>
                  <a:lnTo>
                    <a:pt x="11" y="387"/>
                  </a:lnTo>
                  <a:lnTo>
                    <a:pt x="9" y="382"/>
                  </a:lnTo>
                  <a:lnTo>
                    <a:pt x="6" y="371"/>
                  </a:lnTo>
                  <a:lnTo>
                    <a:pt x="2" y="359"/>
                  </a:lnTo>
                  <a:lnTo>
                    <a:pt x="0" y="348"/>
                  </a:lnTo>
                  <a:lnTo>
                    <a:pt x="0" y="336"/>
                  </a:lnTo>
                  <a:lnTo>
                    <a:pt x="0" y="1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2" name="Freeform 18"/>
            <p:cNvSpPr>
              <a:spLocks/>
            </p:cNvSpPr>
            <p:nvPr userDrawn="1"/>
          </p:nvSpPr>
          <p:spPr bwMode="auto">
            <a:xfrm>
              <a:off x="737" y="3944"/>
              <a:ext cx="81" cy="76"/>
            </a:xfrm>
            <a:custGeom>
              <a:avLst/>
              <a:gdLst/>
              <a:ahLst/>
              <a:cxnLst>
                <a:cxn ang="0">
                  <a:pos x="0" y="116"/>
                </a:cxn>
                <a:cxn ang="0">
                  <a:pos x="3" y="93"/>
                </a:cxn>
                <a:cxn ang="0">
                  <a:pos x="10" y="71"/>
                </a:cxn>
                <a:cxn ang="0">
                  <a:pos x="15" y="61"/>
                </a:cxn>
                <a:cxn ang="0">
                  <a:pos x="27" y="42"/>
                </a:cxn>
                <a:cxn ang="0">
                  <a:pos x="45" y="27"/>
                </a:cxn>
                <a:cxn ang="0">
                  <a:pos x="54" y="20"/>
                </a:cxn>
                <a:cxn ang="0">
                  <a:pos x="63" y="14"/>
                </a:cxn>
                <a:cxn ang="0">
                  <a:pos x="85" y="6"/>
                </a:cxn>
                <a:cxn ang="0">
                  <a:pos x="97" y="2"/>
                </a:cxn>
                <a:cxn ang="0">
                  <a:pos x="108" y="1"/>
                </a:cxn>
                <a:cxn ang="0">
                  <a:pos x="486" y="0"/>
                </a:cxn>
                <a:cxn ang="0">
                  <a:pos x="140" y="111"/>
                </a:cxn>
                <a:cxn ang="0">
                  <a:pos x="132" y="114"/>
                </a:cxn>
                <a:cxn ang="0">
                  <a:pos x="124" y="118"/>
                </a:cxn>
                <a:cxn ang="0">
                  <a:pos x="119" y="125"/>
                </a:cxn>
                <a:cxn ang="0">
                  <a:pos x="118" y="133"/>
                </a:cxn>
                <a:cxn ang="0">
                  <a:pos x="118" y="327"/>
                </a:cxn>
                <a:cxn ang="0">
                  <a:pos x="121" y="336"/>
                </a:cxn>
                <a:cxn ang="0">
                  <a:pos x="124" y="339"/>
                </a:cxn>
                <a:cxn ang="0">
                  <a:pos x="132" y="344"/>
                </a:cxn>
                <a:cxn ang="0">
                  <a:pos x="140" y="346"/>
                </a:cxn>
                <a:cxn ang="0">
                  <a:pos x="486" y="457"/>
                </a:cxn>
                <a:cxn ang="0">
                  <a:pos x="111" y="457"/>
                </a:cxn>
                <a:cxn ang="0">
                  <a:pos x="88" y="453"/>
                </a:cxn>
                <a:cxn ang="0">
                  <a:pos x="66" y="444"/>
                </a:cxn>
                <a:cxn ang="0">
                  <a:pos x="55" y="438"/>
                </a:cxn>
                <a:cxn ang="0">
                  <a:pos x="41" y="427"/>
                </a:cxn>
                <a:cxn ang="0">
                  <a:pos x="29" y="416"/>
                </a:cxn>
                <a:cxn ang="0">
                  <a:pos x="18" y="402"/>
                </a:cxn>
                <a:cxn ang="0">
                  <a:pos x="10" y="388"/>
                </a:cxn>
                <a:cxn ang="0">
                  <a:pos x="3" y="366"/>
                </a:cxn>
                <a:cxn ang="0">
                  <a:pos x="1" y="343"/>
                </a:cxn>
              </a:cxnLst>
              <a:rect l="0" t="0" r="r" b="b"/>
              <a:pathLst>
                <a:path w="486" h="457">
                  <a:moveTo>
                    <a:pt x="0" y="336"/>
                  </a:moveTo>
                  <a:lnTo>
                    <a:pt x="0" y="116"/>
                  </a:lnTo>
                  <a:lnTo>
                    <a:pt x="1" y="104"/>
                  </a:lnTo>
                  <a:lnTo>
                    <a:pt x="3" y="93"/>
                  </a:lnTo>
                  <a:lnTo>
                    <a:pt x="5" y="82"/>
                  </a:lnTo>
                  <a:lnTo>
                    <a:pt x="10" y="71"/>
                  </a:lnTo>
                  <a:lnTo>
                    <a:pt x="12" y="65"/>
                  </a:lnTo>
                  <a:lnTo>
                    <a:pt x="15" y="61"/>
                  </a:lnTo>
                  <a:lnTo>
                    <a:pt x="21" y="51"/>
                  </a:lnTo>
                  <a:lnTo>
                    <a:pt x="27" y="42"/>
                  </a:lnTo>
                  <a:lnTo>
                    <a:pt x="36" y="34"/>
                  </a:lnTo>
                  <a:lnTo>
                    <a:pt x="45" y="27"/>
                  </a:lnTo>
                  <a:lnTo>
                    <a:pt x="49" y="23"/>
                  </a:lnTo>
                  <a:lnTo>
                    <a:pt x="54" y="20"/>
                  </a:lnTo>
                  <a:lnTo>
                    <a:pt x="59" y="17"/>
                  </a:lnTo>
                  <a:lnTo>
                    <a:pt x="63" y="14"/>
                  </a:lnTo>
                  <a:lnTo>
                    <a:pt x="74" y="9"/>
                  </a:lnTo>
                  <a:lnTo>
                    <a:pt x="85" y="6"/>
                  </a:lnTo>
                  <a:lnTo>
                    <a:pt x="91" y="3"/>
                  </a:lnTo>
                  <a:lnTo>
                    <a:pt x="97" y="2"/>
                  </a:lnTo>
                  <a:lnTo>
                    <a:pt x="103" y="1"/>
                  </a:lnTo>
                  <a:lnTo>
                    <a:pt x="108" y="1"/>
                  </a:lnTo>
                  <a:lnTo>
                    <a:pt x="121" y="0"/>
                  </a:lnTo>
                  <a:lnTo>
                    <a:pt x="486" y="0"/>
                  </a:lnTo>
                  <a:lnTo>
                    <a:pt x="486" y="111"/>
                  </a:lnTo>
                  <a:lnTo>
                    <a:pt x="140" y="111"/>
                  </a:lnTo>
                  <a:lnTo>
                    <a:pt x="135" y="112"/>
                  </a:lnTo>
                  <a:lnTo>
                    <a:pt x="132" y="114"/>
                  </a:lnTo>
                  <a:lnTo>
                    <a:pt x="127" y="116"/>
                  </a:lnTo>
                  <a:lnTo>
                    <a:pt x="124" y="118"/>
                  </a:lnTo>
                  <a:lnTo>
                    <a:pt x="121" y="121"/>
                  </a:lnTo>
                  <a:lnTo>
                    <a:pt x="119" y="125"/>
                  </a:lnTo>
                  <a:lnTo>
                    <a:pt x="118" y="129"/>
                  </a:lnTo>
                  <a:lnTo>
                    <a:pt x="118" y="133"/>
                  </a:lnTo>
                  <a:lnTo>
                    <a:pt x="118" y="323"/>
                  </a:lnTo>
                  <a:lnTo>
                    <a:pt x="118" y="327"/>
                  </a:lnTo>
                  <a:lnTo>
                    <a:pt x="119" y="332"/>
                  </a:lnTo>
                  <a:lnTo>
                    <a:pt x="121" y="336"/>
                  </a:lnTo>
                  <a:lnTo>
                    <a:pt x="122" y="337"/>
                  </a:lnTo>
                  <a:lnTo>
                    <a:pt x="124" y="339"/>
                  </a:lnTo>
                  <a:lnTo>
                    <a:pt x="127" y="341"/>
                  </a:lnTo>
                  <a:lnTo>
                    <a:pt x="132" y="344"/>
                  </a:lnTo>
                  <a:lnTo>
                    <a:pt x="135" y="346"/>
                  </a:lnTo>
                  <a:lnTo>
                    <a:pt x="140" y="346"/>
                  </a:lnTo>
                  <a:lnTo>
                    <a:pt x="486" y="346"/>
                  </a:lnTo>
                  <a:lnTo>
                    <a:pt x="486" y="457"/>
                  </a:lnTo>
                  <a:lnTo>
                    <a:pt x="124" y="457"/>
                  </a:lnTo>
                  <a:lnTo>
                    <a:pt x="111" y="457"/>
                  </a:lnTo>
                  <a:lnTo>
                    <a:pt x="99" y="455"/>
                  </a:lnTo>
                  <a:lnTo>
                    <a:pt x="88" y="453"/>
                  </a:lnTo>
                  <a:lnTo>
                    <a:pt x="76" y="448"/>
                  </a:lnTo>
                  <a:lnTo>
                    <a:pt x="66" y="444"/>
                  </a:lnTo>
                  <a:lnTo>
                    <a:pt x="60" y="440"/>
                  </a:lnTo>
                  <a:lnTo>
                    <a:pt x="55" y="438"/>
                  </a:lnTo>
                  <a:lnTo>
                    <a:pt x="46" y="432"/>
                  </a:lnTo>
                  <a:lnTo>
                    <a:pt x="41" y="427"/>
                  </a:lnTo>
                  <a:lnTo>
                    <a:pt x="37" y="424"/>
                  </a:lnTo>
                  <a:lnTo>
                    <a:pt x="29" y="416"/>
                  </a:lnTo>
                  <a:lnTo>
                    <a:pt x="22" y="407"/>
                  </a:lnTo>
                  <a:lnTo>
                    <a:pt x="18" y="402"/>
                  </a:lnTo>
                  <a:lnTo>
                    <a:pt x="16" y="398"/>
                  </a:lnTo>
                  <a:lnTo>
                    <a:pt x="10" y="388"/>
                  </a:lnTo>
                  <a:lnTo>
                    <a:pt x="7" y="377"/>
                  </a:lnTo>
                  <a:lnTo>
                    <a:pt x="3" y="366"/>
                  </a:lnTo>
                  <a:lnTo>
                    <a:pt x="1" y="355"/>
                  </a:lnTo>
                  <a:lnTo>
                    <a:pt x="1"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3" name="Rectangle 19"/>
            <p:cNvSpPr>
              <a:spLocks noChangeArrowheads="1"/>
            </p:cNvSpPr>
            <p:nvPr userDrawn="1"/>
          </p:nvSpPr>
          <p:spPr bwMode="auto">
            <a:xfrm>
              <a:off x="773"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4" name="Freeform 20"/>
            <p:cNvSpPr>
              <a:spLocks/>
            </p:cNvSpPr>
            <p:nvPr userDrawn="1"/>
          </p:nvSpPr>
          <p:spPr bwMode="auto">
            <a:xfrm>
              <a:off x="629" y="3944"/>
              <a:ext cx="99" cy="76"/>
            </a:xfrm>
            <a:custGeom>
              <a:avLst/>
              <a:gdLst/>
              <a:ahLst/>
              <a:cxnLst>
                <a:cxn ang="0">
                  <a:pos x="117" y="111"/>
                </a:cxn>
                <a:cxn ang="0">
                  <a:pos x="117" y="457"/>
                </a:cxn>
                <a:cxn ang="0">
                  <a:pos x="0" y="457"/>
                </a:cxn>
                <a:cxn ang="0">
                  <a:pos x="0" y="0"/>
                </a:cxn>
                <a:cxn ang="0">
                  <a:pos x="338" y="0"/>
                </a:cxn>
                <a:cxn ang="0">
                  <a:pos x="472" y="0"/>
                </a:cxn>
                <a:cxn ang="0">
                  <a:pos x="485" y="1"/>
                </a:cxn>
                <a:cxn ang="0">
                  <a:pos x="496" y="2"/>
                </a:cxn>
                <a:cxn ang="0">
                  <a:pos x="508" y="6"/>
                </a:cxn>
                <a:cxn ang="0">
                  <a:pos x="519" y="9"/>
                </a:cxn>
                <a:cxn ang="0">
                  <a:pos x="524" y="11"/>
                </a:cxn>
                <a:cxn ang="0">
                  <a:pos x="530" y="14"/>
                </a:cxn>
                <a:cxn ang="0">
                  <a:pos x="539" y="20"/>
                </a:cxn>
                <a:cxn ang="0">
                  <a:pos x="549" y="27"/>
                </a:cxn>
                <a:cxn ang="0">
                  <a:pos x="558" y="34"/>
                </a:cxn>
                <a:cxn ang="0">
                  <a:pos x="566" y="42"/>
                </a:cxn>
                <a:cxn ang="0">
                  <a:pos x="569" y="46"/>
                </a:cxn>
                <a:cxn ang="0">
                  <a:pos x="573" y="51"/>
                </a:cxn>
                <a:cxn ang="0">
                  <a:pos x="575" y="56"/>
                </a:cxn>
                <a:cxn ang="0">
                  <a:pos x="578" y="61"/>
                </a:cxn>
                <a:cxn ang="0">
                  <a:pos x="583" y="71"/>
                </a:cxn>
                <a:cxn ang="0">
                  <a:pos x="588" y="82"/>
                </a:cxn>
                <a:cxn ang="0">
                  <a:pos x="589" y="87"/>
                </a:cxn>
                <a:cxn ang="0">
                  <a:pos x="590" y="93"/>
                </a:cxn>
                <a:cxn ang="0">
                  <a:pos x="591" y="98"/>
                </a:cxn>
                <a:cxn ang="0">
                  <a:pos x="592" y="104"/>
                </a:cxn>
                <a:cxn ang="0">
                  <a:pos x="593" y="116"/>
                </a:cxn>
                <a:cxn ang="0">
                  <a:pos x="593" y="457"/>
                </a:cxn>
                <a:cxn ang="0">
                  <a:pos x="474" y="457"/>
                </a:cxn>
                <a:cxn ang="0">
                  <a:pos x="474" y="133"/>
                </a:cxn>
                <a:cxn ang="0">
                  <a:pos x="473" y="129"/>
                </a:cxn>
                <a:cxn ang="0">
                  <a:pos x="472" y="125"/>
                </a:cxn>
                <a:cxn ang="0">
                  <a:pos x="470" y="121"/>
                </a:cxn>
                <a:cxn ang="0">
                  <a:pos x="467" y="118"/>
                </a:cxn>
                <a:cxn ang="0">
                  <a:pos x="464" y="116"/>
                </a:cxn>
                <a:cxn ang="0">
                  <a:pos x="460" y="114"/>
                </a:cxn>
                <a:cxn ang="0">
                  <a:pos x="456" y="112"/>
                </a:cxn>
                <a:cxn ang="0">
                  <a:pos x="451" y="111"/>
                </a:cxn>
                <a:cxn ang="0">
                  <a:pos x="355" y="111"/>
                </a:cxn>
                <a:cxn ang="0">
                  <a:pos x="355" y="457"/>
                </a:cxn>
                <a:cxn ang="0">
                  <a:pos x="236" y="457"/>
                </a:cxn>
                <a:cxn ang="0">
                  <a:pos x="236" y="111"/>
                </a:cxn>
                <a:cxn ang="0">
                  <a:pos x="117" y="111"/>
                </a:cxn>
              </a:cxnLst>
              <a:rect l="0" t="0" r="r" b="b"/>
              <a:pathLst>
                <a:path w="593" h="457">
                  <a:moveTo>
                    <a:pt x="117" y="111"/>
                  </a:moveTo>
                  <a:lnTo>
                    <a:pt x="117" y="457"/>
                  </a:lnTo>
                  <a:lnTo>
                    <a:pt x="0" y="457"/>
                  </a:lnTo>
                  <a:lnTo>
                    <a:pt x="0" y="0"/>
                  </a:lnTo>
                  <a:lnTo>
                    <a:pt x="338" y="0"/>
                  </a:lnTo>
                  <a:lnTo>
                    <a:pt x="472" y="0"/>
                  </a:lnTo>
                  <a:lnTo>
                    <a:pt x="485" y="1"/>
                  </a:lnTo>
                  <a:lnTo>
                    <a:pt x="496" y="2"/>
                  </a:lnTo>
                  <a:lnTo>
                    <a:pt x="508" y="6"/>
                  </a:lnTo>
                  <a:lnTo>
                    <a:pt x="519" y="9"/>
                  </a:lnTo>
                  <a:lnTo>
                    <a:pt x="524" y="11"/>
                  </a:lnTo>
                  <a:lnTo>
                    <a:pt x="530" y="14"/>
                  </a:lnTo>
                  <a:lnTo>
                    <a:pt x="539" y="20"/>
                  </a:lnTo>
                  <a:lnTo>
                    <a:pt x="549" y="27"/>
                  </a:lnTo>
                  <a:lnTo>
                    <a:pt x="558" y="34"/>
                  </a:lnTo>
                  <a:lnTo>
                    <a:pt x="566" y="42"/>
                  </a:lnTo>
                  <a:lnTo>
                    <a:pt x="569" y="46"/>
                  </a:lnTo>
                  <a:lnTo>
                    <a:pt x="573" y="51"/>
                  </a:lnTo>
                  <a:lnTo>
                    <a:pt x="575" y="56"/>
                  </a:lnTo>
                  <a:lnTo>
                    <a:pt x="578" y="61"/>
                  </a:lnTo>
                  <a:lnTo>
                    <a:pt x="583" y="71"/>
                  </a:lnTo>
                  <a:lnTo>
                    <a:pt x="588" y="82"/>
                  </a:lnTo>
                  <a:lnTo>
                    <a:pt x="589" y="87"/>
                  </a:lnTo>
                  <a:lnTo>
                    <a:pt x="590" y="93"/>
                  </a:lnTo>
                  <a:lnTo>
                    <a:pt x="591" y="98"/>
                  </a:lnTo>
                  <a:lnTo>
                    <a:pt x="592" y="104"/>
                  </a:lnTo>
                  <a:lnTo>
                    <a:pt x="593" y="116"/>
                  </a:lnTo>
                  <a:lnTo>
                    <a:pt x="593" y="457"/>
                  </a:lnTo>
                  <a:lnTo>
                    <a:pt x="474" y="457"/>
                  </a:lnTo>
                  <a:lnTo>
                    <a:pt x="474" y="133"/>
                  </a:lnTo>
                  <a:lnTo>
                    <a:pt x="473" y="129"/>
                  </a:lnTo>
                  <a:lnTo>
                    <a:pt x="472" y="125"/>
                  </a:lnTo>
                  <a:lnTo>
                    <a:pt x="470" y="121"/>
                  </a:lnTo>
                  <a:lnTo>
                    <a:pt x="467" y="118"/>
                  </a:lnTo>
                  <a:lnTo>
                    <a:pt x="464" y="116"/>
                  </a:lnTo>
                  <a:lnTo>
                    <a:pt x="460" y="114"/>
                  </a:lnTo>
                  <a:lnTo>
                    <a:pt x="456" y="112"/>
                  </a:lnTo>
                  <a:lnTo>
                    <a:pt x="451" y="111"/>
                  </a:lnTo>
                  <a:lnTo>
                    <a:pt x="355" y="111"/>
                  </a:lnTo>
                  <a:lnTo>
                    <a:pt x="355" y="457"/>
                  </a:lnTo>
                  <a:lnTo>
                    <a:pt x="236" y="457"/>
                  </a:lnTo>
                  <a:lnTo>
                    <a:pt x="236" y="111"/>
                  </a:lnTo>
                  <a:lnTo>
                    <a:pt x="117"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5" name="Freeform 21"/>
            <p:cNvSpPr>
              <a:spLocks/>
            </p:cNvSpPr>
            <p:nvPr userDrawn="1"/>
          </p:nvSpPr>
          <p:spPr bwMode="auto">
            <a:xfrm>
              <a:off x="827" y="3944"/>
              <a:ext cx="92" cy="76"/>
            </a:xfrm>
            <a:custGeom>
              <a:avLst/>
              <a:gdLst/>
              <a:ahLst/>
              <a:cxnLst>
                <a:cxn ang="0">
                  <a:pos x="278" y="296"/>
                </a:cxn>
                <a:cxn ang="0">
                  <a:pos x="122" y="389"/>
                </a:cxn>
                <a:cxn ang="0">
                  <a:pos x="122" y="457"/>
                </a:cxn>
                <a:cxn ang="0">
                  <a:pos x="0" y="457"/>
                </a:cxn>
                <a:cxn ang="0">
                  <a:pos x="0" y="361"/>
                </a:cxn>
                <a:cxn ang="0">
                  <a:pos x="1" y="355"/>
                </a:cxn>
                <a:cxn ang="0">
                  <a:pos x="3" y="348"/>
                </a:cxn>
                <a:cxn ang="0">
                  <a:pos x="6" y="341"/>
                </a:cxn>
                <a:cxn ang="0">
                  <a:pos x="9" y="335"/>
                </a:cxn>
                <a:cxn ang="0">
                  <a:pos x="13" y="329"/>
                </a:cxn>
                <a:cxn ang="0">
                  <a:pos x="17" y="324"/>
                </a:cxn>
                <a:cxn ang="0">
                  <a:pos x="23" y="318"/>
                </a:cxn>
                <a:cxn ang="0">
                  <a:pos x="27" y="317"/>
                </a:cxn>
                <a:cxn ang="0">
                  <a:pos x="30" y="315"/>
                </a:cxn>
                <a:cxn ang="0">
                  <a:pos x="176" y="229"/>
                </a:cxn>
                <a:cxn ang="0">
                  <a:pos x="30" y="143"/>
                </a:cxn>
                <a:cxn ang="0">
                  <a:pos x="23" y="139"/>
                </a:cxn>
                <a:cxn ang="0">
                  <a:pos x="21" y="137"/>
                </a:cxn>
                <a:cxn ang="0">
                  <a:pos x="17" y="133"/>
                </a:cxn>
                <a:cxn ang="0">
                  <a:pos x="13" y="129"/>
                </a:cxn>
                <a:cxn ang="0">
                  <a:pos x="9" y="122"/>
                </a:cxn>
                <a:cxn ang="0">
                  <a:pos x="6" y="117"/>
                </a:cxn>
                <a:cxn ang="0">
                  <a:pos x="3" y="110"/>
                </a:cxn>
                <a:cxn ang="0">
                  <a:pos x="1" y="104"/>
                </a:cxn>
                <a:cxn ang="0">
                  <a:pos x="0" y="96"/>
                </a:cxn>
                <a:cxn ang="0">
                  <a:pos x="0" y="0"/>
                </a:cxn>
                <a:cxn ang="0">
                  <a:pos x="122" y="0"/>
                </a:cxn>
                <a:cxn ang="0">
                  <a:pos x="122" y="68"/>
                </a:cxn>
                <a:cxn ang="0">
                  <a:pos x="278" y="162"/>
                </a:cxn>
                <a:cxn ang="0">
                  <a:pos x="434" y="68"/>
                </a:cxn>
                <a:cxn ang="0">
                  <a:pos x="434" y="0"/>
                </a:cxn>
                <a:cxn ang="0">
                  <a:pos x="556" y="0"/>
                </a:cxn>
                <a:cxn ang="0">
                  <a:pos x="556" y="96"/>
                </a:cxn>
                <a:cxn ang="0">
                  <a:pos x="554" y="104"/>
                </a:cxn>
                <a:cxn ang="0">
                  <a:pos x="552" y="110"/>
                </a:cxn>
                <a:cxn ang="0">
                  <a:pos x="550" y="117"/>
                </a:cxn>
                <a:cxn ang="0">
                  <a:pos x="546" y="122"/>
                </a:cxn>
                <a:cxn ang="0">
                  <a:pos x="543" y="129"/>
                </a:cxn>
                <a:cxn ang="0">
                  <a:pos x="538" y="133"/>
                </a:cxn>
                <a:cxn ang="0">
                  <a:pos x="532" y="139"/>
                </a:cxn>
                <a:cxn ang="0">
                  <a:pos x="529" y="141"/>
                </a:cxn>
                <a:cxn ang="0">
                  <a:pos x="525" y="143"/>
                </a:cxn>
                <a:cxn ang="0">
                  <a:pos x="383" y="228"/>
                </a:cxn>
                <a:cxn ang="0">
                  <a:pos x="525" y="315"/>
                </a:cxn>
                <a:cxn ang="0">
                  <a:pos x="532" y="318"/>
                </a:cxn>
                <a:cxn ang="0">
                  <a:pos x="535" y="322"/>
                </a:cxn>
                <a:cxn ang="0">
                  <a:pos x="538" y="324"/>
                </a:cxn>
                <a:cxn ang="0">
                  <a:pos x="543" y="329"/>
                </a:cxn>
                <a:cxn ang="0">
                  <a:pos x="546" y="335"/>
                </a:cxn>
                <a:cxn ang="0">
                  <a:pos x="550" y="341"/>
                </a:cxn>
                <a:cxn ang="0">
                  <a:pos x="552" y="348"/>
                </a:cxn>
                <a:cxn ang="0">
                  <a:pos x="554" y="355"/>
                </a:cxn>
                <a:cxn ang="0">
                  <a:pos x="556" y="361"/>
                </a:cxn>
                <a:cxn ang="0">
                  <a:pos x="556" y="457"/>
                </a:cxn>
                <a:cxn ang="0">
                  <a:pos x="434" y="457"/>
                </a:cxn>
                <a:cxn ang="0">
                  <a:pos x="434" y="389"/>
                </a:cxn>
                <a:cxn ang="0">
                  <a:pos x="278" y="296"/>
                </a:cxn>
              </a:cxnLst>
              <a:rect l="0" t="0" r="r" b="b"/>
              <a:pathLst>
                <a:path w="556" h="457">
                  <a:moveTo>
                    <a:pt x="278" y="296"/>
                  </a:moveTo>
                  <a:lnTo>
                    <a:pt x="122" y="389"/>
                  </a:lnTo>
                  <a:lnTo>
                    <a:pt x="122" y="457"/>
                  </a:lnTo>
                  <a:lnTo>
                    <a:pt x="0" y="457"/>
                  </a:lnTo>
                  <a:lnTo>
                    <a:pt x="0" y="361"/>
                  </a:lnTo>
                  <a:lnTo>
                    <a:pt x="1" y="355"/>
                  </a:lnTo>
                  <a:lnTo>
                    <a:pt x="3" y="348"/>
                  </a:lnTo>
                  <a:lnTo>
                    <a:pt x="6" y="341"/>
                  </a:lnTo>
                  <a:lnTo>
                    <a:pt x="9" y="335"/>
                  </a:lnTo>
                  <a:lnTo>
                    <a:pt x="13" y="329"/>
                  </a:lnTo>
                  <a:lnTo>
                    <a:pt x="17" y="324"/>
                  </a:lnTo>
                  <a:lnTo>
                    <a:pt x="23" y="318"/>
                  </a:lnTo>
                  <a:lnTo>
                    <a:pt x="27" y="317"/>
                  </a:lnTo>
                  <a:lnTo>
                    <a:pt x="30" y="315"/>
                  </a:lnTo>
                  <a:lnTo>
                    <a:pt x="176" y="229"/>
                  </a:lnTo>
                  <a:lnTo>
                    <a:pt x="30" y="143"/>
                  </a:lnTo>
                  <a:lnTo>
                    <a:pt x="23" y="139"/>
                  </a:lnTo>
                  <a:lnTo>
                    <a:pt x="21" y="137"/>
                  </a:lnTo>
                  <a:lnTo>
                    <a:pt x="17" y="133"/>
                  </a:lnTo>
                  <a:lnTo>
                    <a:pt x="13" y="129"/>
                  </a:lnTo>
                  <a:lnTo>
                    <a:pt x="9" y="122"/>
                  </a:lnTo>
                  <a:lnTo>
                    <a:pt x="6" y="117"/>
                  </a:lnTo>
                  <a:lnTo>
                    <a:pt x="3" y="110"/>
                  </a:lnTo>
                  <a:lnTo>
                    <a:pt x="1" y="104"/>
                  </a:lnTo>
                  <a:lnTo>
                    <a:pt x="0" y="96"/>
                  </a:lnTo>
                  <a:lnTo>
                    <a:pt x="0" y="0"/>
                  </a:lnTo>
                  <a:lnTo>
                    <a:pt x="122" y="0"/>
                  </a:lnTo>
                  <a:lnTo>
                    <a:pt x="122" y="68"/>
                  </a:lnTo>
                  <a:lnTo>
                    <a:pt x="278" y="162"/>
                  </a:lnTo>
                  <a:lnTo>
                    <a:pt x="434" y="68"/>
                  </a:lnTo>
                  <a:lnTo>
                    <a:pt x="434" y="0"/>
                  </a:lnTo>
                  <a:lnTo>
                    <a:pt x="556" y="0"/>
                  </a:lnTo>
                  <a:lnTo>
                    <a:pt x="556" y="96"/>
                  </a:lnTo>
                  <a:lnTo>
                    <a:pt x="554" y="104"/>
                  </a:lnTo>
                  <a:lnTo>
                    <a:pt x="552" y="110"/>
                  </a:lnTo>
                  <a:lnTo>
                    <a:pt x="550" y="117"/>
                  </a:lnTo>
                  <a:lnTo>
                    <a:pt x="546" y="122"/>
                  </a:lnTo>
                  <a:lnTo>
                    <a:pt x="543" y="129"/>
                  </a:lnTo>
                  <a:lnTo>
                    <a:pt x="538" y="133"/>
                  </a:lnTo>
                  <a:lnTo>
                    <a:pt x="532" y="139"/>
                  </a:lnTo>
                  <a:lnTo>
                    <a:pt x="529" y="141"/>
                  </a:lnTo>
                  <a:lnTo>
                    <a:pt x="525" y="143"/>
                  </a:lnTo>
                  <a:lnTo>
                    <a:pt x="383" y="228"/>
                  </a:lnTo>
                  <a:lnTo>
                    <a:pt x="525" y="315"/>
                  </a:lnTo>
                  <a:lnTo>
                    <a:pt x="532" y="318"/>
                  </a:lnTo>
                  <a:lnTo>
                    <a:pt x="535" y="322"/>
                  </a:lnTo>
                  <a:lnTo>
                    <a:pt x="538" y="324"/>
                  </a:lnTo>
                  <a:lnTo>
                    <a:pt x="543" y="329"/>
                  </a:lnTo>
                  <a:lnTo>
                    <a:pt x="546" y="335"/>
                  </a:lnTo>
                  <a:lnTo>
                    <a:pt x="550" y="341"/>
                  </a:lnTo>
                  <a:lnTo>
                    <a:pt x="552" y="348"/>
                  </a:lnTo>
                  <a:lnTo>
                    <a:pt x="554" y="355"/>
                  </a:lnTo>
                  <a:lnTo>
                    <a:pt x="556" y="361"/>
                  </a:lnTo>
                  <a:lnTo>
                    <a:pt x="556" y="457"/>
                  </a:lnTo>
                  <a:lnTo>
                    <a:pt x="434" y="457"/>
                  </a:lnTo>
                  <a:lnTo>
                    <a:pt x="434" y="389"/>
                  </a:lnTo>
                  <a:lnTo>
                    <a:pt x="278" y="2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nvGrpSpPr>
          <p:cNvPr id="3" name="94 Grupo"/>
          <p:cNvGrpSpPr/>
          <p:nvPr userDrawn="1"/>
        </p:nvGrpSpPr>
        <p:grpSpPr>
          <a:xfrm>
            <a:off x="6294710" y="5733256"/>
            <a:ext cx="2453754" cy="601982"/>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9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6" name="Group 5"/>
            <p:cNvGrpSpPr>
              <a:grpSpLocks noChangeAspect="1"/>
            </p:cNvGrpSpPr>
            <p:nvPr userDrawn="1"/>
          </p:nvGrpSpPr>
          <p:grpSpPr bwMode="auto">
            <a:xfrm>
              <a:off x="6300192" y="2768810"/>
              <a:ext cx="791493" cy="248083"/>
              <a:chOff x="1066" y="543"/>
              <a:chExt cx="2262" cy="709"/>
            </a:xfrm>
            <a:grpFill/>
          </p:grpSpPr>
          <p:sp>
            <p:nvSpPr>
              <p:cNvPr id="92"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3"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4"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sp>
        <p:nvSpPr>
          <p:cNvPr id="55" name="Title 54"/>
          <p:cNvSpPr>
            <a:spLocks noGrp="1"/>
          </p:cNvSpPr>
          <p:nvPr>
            <p:ph type="title"/>
          </p:nvPr>
        </p:nvSpPr>
        <p:spPr>
          <a:xfrm>
            <a:off x="304800" y="5257800"/>
            <a:ext cx="5760000" cy="320040"/>
          </a:xfrm>
        </p:spPr>
        <p:txBody>
          <a:bodyPr wrap="none" tIns="0" bIns="0"/>
          <a:lstStyle>
            <a:lvl1pPr>
              <a:lnSpc>
                <a:spcPct val="100000"/>
              </a:lnSpc>
              <a:defRPr sz="2800">
                <a:solidFill>
                  <a:srgbClr val="FFFFFF"/>
                </a:solidFill>
              </a:defRPr>
            </a:lvl1pPr>
          </a:lstStyle>
          <a:p>
            <a:r>
              <a:rPr lang="en-US" dirty="0" smtClean="0"/>
              <a:t>Click to edit Master title style</a:t>
            </a:r>
            <a:endParaRPr lang="en-US" dirty="0"/>
          </a:p>
        </p:txBody>
      </p:sp>
      <p:sp>
        <p:nvSpPr>
          <p:cNvPr id="61" name="Subtitle 2"/>
          <p:cNvSpPr>
            <a:spLocks noGrp="1"/>
          </p:cNvSpPr>
          <p:nvPr>
            <p:ph type="subTitle" idx="1"/>
          </p:nvPr>
        </p:nvSpPr>
        <p:spPr>
          <a:xfrm>
            <a:off x="304800" y="5605290"/>
            <a:ext cx="5760000" cy="274320"/>
          </a:xfrm>
          <a:prstGeom prst="rect">
            <a:avLst/>
          </a:prstGeom>
        </p:spPr>
        <p:txBody>
          <a:bodyPr wrap="none" tIns="0" bIns="0" anchor="ctr">
            <a:noAutofit/>
          </a:bodyPr>
          <a:lstStyle>
            <a:lvl1pPr marL="0" indent="0" algn="l">
              <a:spcBef>
                <a:spcPts val="0"/>
              </a:spcBef>
              <a:buNone/>
              <a:defRPr lang="en-US" sz="2400" b="1" u="none" kern="1200" dirty="0">
                <a:solidFill>
                  <a:schemeClr val="bg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78850"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9688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79874"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0608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raph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80898" name="think-cell Slide" r:id="rId3" imgW="270" imgH="270" progId="">
              <p:embed/>
            </p:oleObj>
          </a:graphicData>
        </a:graphic>
      </p:graphicFrame>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81922"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304800"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lick to edit Master text styles</a:t>
            </a:r>
          </a:p>
        </p:txBody>
      </p:sp>
      <p:sp>
        <p:nvSpPr>
          <p:cNvPr id="5" name="Text Placeholder 5"/>
          <p:cNvSpPr>
            <a:spLocks noGrp="1"/>
          </p:cNvSpPr>
          <p:nvPr>
            <p:ph type="body" sz="quarter" idx="12"/>
          </p:nvPr>
        </p:nvSpPr>
        <p:spPr>
          <a:xfrm>
            <a:off x="304801"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3" name="Text Placeholder 3"/>
          <p:cNvSpPr>
            <a:spLocks noGrp="1"/>
          </p:cNvSpPr>
          <p:nvPr>
            <p:ph type="body" sz="quarter" idx="13"/>
          </p:nvPr>
        </p:nvSpPr>
        <p:spPr>
          <a:xfrm>
            <a:off x="4876801"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ext styles</a:t>
            </a:r>
          </a:p>
        </p:txBody>
      </p:sp>
      <p:sp>
        <p:nvSpPr>
          <p:cNvPr id="14" name="Text Placeholder 5"/>
          <p:cNvSpPr>
            <a:spLocks noGrp="1"/>
          </p:cNvSpPr>
          <p:nvPr>
            <p:ph type="body" sz="quarter" idx="14"/>
          </p:nvPr>
        </p:nvSpPr>
        <p:spPr>
          <a:xfrm>
            <a:off x="4876802"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82946"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9" name="Text Placeholder 18"/>
          <p:cNvSpPr>
            <a:spLocks noGrp="1"/>
          </p:cNvSpPr>
          <p:nvPr>
            <p:ph type="body" sz="quarter" idx="11"/>
          </p:nvPr>
        </p:nvSpPr>
        <p:spPr>
          <a:xfrm>
            <a:off x="762000" y="2971800"/>
            <a:ext cx="7620000" cy="685800"/>
          </a:xfrm>
        </p:spPr>
        <p:txBody>
          <a:bodyPr anchor="ctr" anchorCtr="1">
            <a:normAutofit/>
          </a:bodyPr>
          <a:lstStyle>
            <a:lvl1pPr algn="ctr">
              <a:defRPr sz="2800"/>
            </a:lvl1pPr>
          </a:lstStyle>
          <a:p>
            <a:pPr lvl="0"/>
            <a:r>
              <a:rPr lang="en-US" smtClean="0"/>
              <a:t>Click to edit Master text styles</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83970"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905"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048"/>
            </a:lvl1pPr>
            <a:lvl2pPr>
              <a:defRPr sz="2667"/>
            </a:lvl2pPr>
            <a:lvl3pPr>
              <a:defRPr sz="2286"/>
            </a:lvl3pPr>
            <a:lvl4pPr>
              <a:defRPr sz="1905"/>
            </a:lvl4pPr>
            <a:lvl5pPr>
              <a:defRPr sz="1905"/>
            </a:lvl5pPr>
            <a:lvl6pPr>
              <a:defRPr sz="1905"/>
            </a:lvl6pPr>
            <a:lvl7pPr>
              <a:defRPr sz="1905"/>
            </a:lvl7pPr>
            <a:lvl8pPr>
              <a:defRPr sz="1905"/>
            </a:lvl8pPr>
            <a:lvl9pPr>
              <a:defRPr sz="190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333"/>
            </a:lvl1pPr>
            <a:lvl2pPr marL="435437" indent="0">
              <a:buNone/>
              <a:defRPr sz="1143"/>
            </a:lvl2pPr>
            <a:lvl3pPr marL="870875" indent="0">
              <a:buNone/>
              <a:defRPr sz="952"/>
            </a:lvl3pPr>
            <a:lvl4pPr marL="1306312" indent="0">
              <a:buNone/>
              <a:defRPr sz="857"/>
            </a:lvl4pPr>
            <a:lvl5pPr marL="1741749" indent="0">
              <a:buNone/>
              <a:defRPr sz="857"/>
            </a:lvl5pPr>
            <a:lvl6pPr marL="2177186" indent="0">
              <a:buNone/>
              <a:defRPr sz="857"/>
            </a:lvl6pPr>
            <a:lvl7pPr marL="2612624" indent="0">
              <a:buNone/>
              <a:defRPr sz="857"/>
            </a:lvl7pPr>
            <a:lvl8pPr marL="3048061" indent="0">
              <a:buNone/>
              <a:defRPr sz="857"/>
            </a:lvl8pPr>
            <a:lvl9pPr marL="3483498" indent="0">
              <a:buNone/>
              <a:defRPr sz="857"/>
            </a:lvl9pPr>
          </a:lstStyle>
          <a:p>
            <a:pPr lvl="0"/>
            <a:r>
              <a:rPr lang="en-US" smtClean="0"/>
              <a:t>Click to edit Master text styles</a:t>
            </a:r>
          </a:p>
        </p:txBody>
      </p:sp>
    </p:spTree>
    <p:extLst>
      <p:ext uri="{BB962C8B-B14F-4D97-AF65-F5344CB8AC3E}">
        <p14:creationId xmlns="" xmlns:p14="http://schemas.microsoft.com/office/powerpoint/2010/main" val="11777808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Graph title">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84994" name="think-cell Slide" r:id="rId3" imgW="270" imgH="270" progId="">
              <p:embed/>
            </p:oleObj>
          </a:graphicData>
        </a:graphic>
      </p:graphicFrame>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86018" name="think-cell Slide" r:id="rId3" imgW="270" imgH="270" progId="">
              <p:embed/>
            </p:oleObj>
          </a:graphicData>
        </a:graphic>
      </p:graphicFrame>
      <p:sp>
        <p:nvSpPr>
          <p:cNvPr id="5" name="Text Placeholder 4"/>
          <p:cNvSpPr>
            <a:spLocks noGrp="1"/>
          </p:cNvSpPr>
          <p:nvPr>
            <p:ph type="body" sz="quarter" idx="11"/>
          </p:nvPr>
        </p:nvSpPr>
        <p:spPr>
          <a:xfrm>
            <a:off x="323850" y="1447800"/>
            <a:ext cx="8496300" cy="4718050"/>
          </a:xfrm>
          <a:prstGeom prst="rect">
            <a:avLst/>
          </a:prstGeom>
        </p:spPr>
        <p:txBody>
          <a:bodyPr/>
          <a:lstStyle>
            <a:lvl1pPr>
              <a:spcBef>
                <a:spcPts val="900"/>
              </a:spcBef>
              <a:buFont typeface="Arial" pitchFamily="34" charset="0"/>
              <a:buNone/>
              <a:defRPr/>
            </a:lvl1pPr>
            <a:lvl2pPr marL="346075" indent="12700">
              <a:spcBef>
                <a:spcPts val="900"/>
              </a:spcBef>
              <a:buNone/>
              <a:defRPr/>
            </a:lvl2pPr>
            <a:lvl3pPr marL="631825" indent="-273050">
              <a:spcBef>
                <a:spcPts val="900"/>
              </a:spcBef>
              <a:defRPr/>
            </a:lvl3pPr>
            <a:lvl4pPr>
              <a:spcBef>
                <a:spcPts val="900"/>
              </a:spcBef>
              <a:defRPr/>
            </a:lvl4pPr>
            <a:lvl5pPr>
              <a:spcBef>
                <a:spcPts val="9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lide Number Placeholder 9"/>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78" name="Title 1"/>
          <p:cNvSpPr>
            <a:spLocks noGrp="1"/>
          </p:cNvSpPr>
          <p:nvPr>
            <p:ph type="title"/>
          </p:nvPr>
        </p:nvSpPr>
        <p:spPr>
          <a:xfrm>
            <a:off x="107504" y="346646"/>
            <a:ext cx="5760640" cy="562074"/>
          </a:xfrm>
        </p:spPr>
        <p:txBody>
          <a:bodyPr anchor="ctr"/>
          <a:lstStyle>
            <a:lvl1pPr>
              <a:lnSpc>
                <a:spcPct val="100000"/>
              </a:lnSpc>
              <a:defRPr sz="2400"/>
            </a:lvl1pPr>
          </a:lstStyle>
          <a:p>
            <a:endParaRPr lang="en-US"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000000"/>
        </a:solidFill>
        <a:effectLst/>
      </p:bgPr>
    </p:bg>
    <p:spTree>
      <p:nvGrpSpPr>
        <p:cNvPr id="1" name=""/>
        <p:cNvGrpSpPr/>
        <p:nvPr/>
      </p:nvGrpSpPr>
      <p:grpSpPr>
        <a:xfrm>
          <a:off x="0" y="0"/>
          <a:ext cx="0" cy="0"/>
          <a:chOff x="0" y="0"/>
          <a:chExt cx="0" cy="0"/>
        </a:xfrm>
      </p:grpSpPr>
      <p:grpSp>
        <p:nvGrpSpPr>
          <p:cNvPr id="2" name="Group 40"/>
          <p:cNvGrpSpPr/>
          <p:nvPr userDrawn="1"/>
        </p:nvGrpSpPr>
        <p:grpSpPr>
          <a:xfrm>
            <a:off x="7020272" y="6273680"/>
            <a:ext cx="1761084" cy="432048"/>
            <a:chOff x="7020272" y="332656"/>
            <a:chExt cx="1761084" cy="432048"/>
          </a:xfrm>
        </p:grpSpPr>
        <p:grpSp>
          <p:nvGrpSpPr>
            <p:cNvPr id="3" name="51 Grupo"/>
            <p:cNvGrpSpPr/>
            <p:nvPr userDrawn="1"/>
          </p:nvGrpSpPr>
          <p:grpSpPr>
            <a:xfrm>
              <a:off x="7020272" y="341571"/>
              <a:ext cx="1761084" cy="423133"/>
              <a:chOff x="4860032" y="2780928"/>
              <a:chExt cx="2393756" cy="575145"/>
            </a:xfrm>
            <a:solidFill>
              <a:srgbClr val="FFFFFF"/>
            </a:solidFill>
          </p:grpSpPr>
          <p:grpSp>
            <p:nvGrpSpPr>
              <p:cNvPr id="4" name="65 Grupo"/>
              <p:cNvGrpSpPr/>
              <p:nvPr userDrawn="1"/>
            </p:nvGrpSpPr>
            <p:grpSpPr>
              <a:xfrm>
                <a:off x="5039214" y="2780928"/>
                <a:ext cx="1204546" cy="230882"/>
                <a:chOff x="6227763" y="5518150"/>
                <a:chExt cx="1449387" cy="277812"/>
              </a:xfrm>
              <a:grpFill/>
            </p:grpSpPr>
            <p:sp>
              <p:nvSpPr>
                <p:cNvPr id="7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4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109 Rectángulo"/>
              <p:cNvSpPr/>
              <p:nvPr userDrawn="1"/>
            </p:nvSpPr>
            <p:spPr bwMode="auto">
              <a:xfrm>
                <a:off x="4860032" y="3079385"/>
                <a:ext cx="2393756" cy="37996"/>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5" name="Group 5"/>
            <p:cNvGrpSpPr>
              <a:grpSpLocks noChangeAspect="1"/>
            </p:cNvGrpSpPr>
            <p:nvPr userDrawn="1"/>
          </p:nvGrpSpPr>
          <p:grpSpPr bwMode="auto">
            <a:xfrm>
              <a:off x="8079796" y="332656"/>
              <a:ext cx="582301" cy="182514"/>
              <a:chOff x="1066" y="543"/>
              <a:chExt cx="2262" cy="709"/>
            </a:xfrm>
            <a:solidFill>
              <a:srgbClr val="FFFFFF"/>
            </a:solidFill>
          </p:grpSpPr>
          <p:sp>
            <p:nvSpPr>
              <p:cNvPr id="44"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5"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6"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pic>
        <p:nvPicPr>
          <p:cNvPr id="77" name="Picture 3"/>
          <p:cNvPicPr>
            <a:picLocks noChangeAspect="1" noChangeArrowheads="1"/>
          </p:cNvPicPr>
          <p:nvPr userDrawn="1"/>
        </p:nvPicPr>
        <p:blipFill>
          <a:blip r:embed="rId2" cstate="screen"/>
          <a:srcRect/>
          <a:stretch>
            <a:fillRect/>
          </a:stretch>
        </p:blipFill>
        <p:spPr bwMode="auto">
          <a:xfrm>
            <a:off x="395536" y="6345688"/>
            <a:ext cx="1137016" cy="288032"/>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nvGraphicFramePr>
        <p:xfrm>
          <a:off x="1587" y="1588"/>
          <a:ext cx="1587" cy="1587"/>
        </p:xfrm>
        <a:graphic>
          <a:graphicData uri="http://schemas.openxmlformats.org/presentationml/2006/ole">
            <p:oleObj spid="_x0000_s91138" name="think-cell Slide" r:id="rId3" imgW="270" imgH="270" progId="">
              <p:embed/>
            </p:oleObj>
          </a:graphicData>
        </a:graphic>
      </p:graphicFrame>
      <p:sp>
        <p:nvSpPr>
          <p:cNvPr id="53" name="52 Rectángulo"/>
          <p:cNvSpPr/>
          <p:nvPr userDrawn="1"/>
        </p:nvSpPr>
        <p:spPr bwMode="auto">
          <a:xfrm>
            <a:off x="0" y="5238000"/>
            <a:ext cx="9144000" cy="16200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sz="2000" b="1" u="sng" smtClean="0">
              <a:solidFill>
                <a:srgbClr val="000000"/>
              </a:solidFill>
              <a:latin typeface="Arial" charset="0"/>
              <a:cs typeface="Arial" charset="0"/>
            </a:endParaRPr>
          </a:p>
        </p:txBody>
      </p:sp>
      <p:pic>
        <p:nvPicPr>
          <p:cNvPr id="54" name="Picture 3"/>
          <p:cNvPicPr>
            <a:picLocks noChangeAspect="1" noChangeArrowheads="1"/>
          </p:cNvPicPr>
          <p:nvPr userDrawn="1"/>
        </p:nvPicPr>
        <p:blipFill>
          <a:blip r:embed="rId4" cstate="screen"/>
          <a:srcRect/>
          <a:stretch>
            <a:fillRect/>
          </a:stretch>
        </p:blipFill>
        <p:spPr bwMode="auto">
          <a:xfrm>
            <a:off x="395536" y="6381328"/>
            <a:ext cx="1137016" cy="288032"/>
          </a:xfrm>
          <a:prstGeom prst="rect">
            <a:avLst/>
          </a:prstGeom>
          <a:noFill/>
          <a:ln w="9525">
            <a:noFill/>
            <a:miter lim="800000"/>
            <a:headEnd/>
            <a:tailEnd/>
          </a:ln>
        </p:spPr>
      </p:pic>
      <p:sp>
        <p:nvSpPr>
          <p:cNvPr id="56" name="Freeform 12"/>
          <p:cNvSpPr>
            <a:spLocks/>
          </p:cNvSpPr>
          <p:nvPr userDrawn="1"/>
        </p:nvSpPr>
        <p:spPr bwMode="auto">
          <a:xfrm>
            <a:off x="0" y="5915506"/>
            <a:ext cx="6156176" cy="942494"/>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19"/>
          <p:cNvSpPr>
            <a:spLocks/>
          </p:cNvSpPr>
          <p:nvPr userDrawn="1"/>
        </p:nvSpPr>
        <p:spPr bwMode="auto">
          <a:xfrm>
            <a:off x="0" y="6311900"/>
            <a:ext cx="14288" cy="14288"/>
          </a:xfrm>
          <a:custGeom>
            <a:avLst/>
            <a:gdLst/>
            <a:ahLst/>
            <a:cxnLst>
              <a:cxn ang="0">
                <a:pos x="18" y="34"/>
              </a:cxn>
              <a:cxn ang="0">
                <a:pos x="0" y="34"/>
              </a:cxn>
              <a:cxn ang="0">
                <a:pos x="0" y="16"/>
              </a:cxn>
              <a:cxn ang="0">
                <a:pos x="34" y="16"/>
              </a:cxn>
              <a:cxn ang="0">
                <a:pos x="18" y="0"/>
              </a:cxn>
              <a:cxn ang="0">
                <a:pos x="18" y="34"/>
              </a:cxn>
            </a:cxnLst>
            <a:rect l="0" t="0" r="r" b="b"/>
            <a:pathLst>
              <a:path w="34" h="34">
                <a:moveTo>
                  <a:pt x="18" y="34"/>
                </a:moveTo>
                <a:lnTo>
                  <a:pt x="0" y="34"/>
                </a:lnTo>
                <a:lnTo>
                  <a:pt x="0" y="16"/>
                </a:lnTo>
                <a:lnTo>
                  <a:pt x="34" y="16"/>
                </a:lnTo>
                <a:lnTo>
                  <a:pt x="18" y="0"/>
                </a:lnTo>
                <a:lnTo>
                  <a:pt x="18" y="34"/>
                </a:lnTo>
                <a:close/>
              </a:path>
            </a:pathLst>
          </a:custGeom>
          <a:solidFill>
            <a:srgbClr val="5177B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49 Rectángulo"/>
          <p:cNvSpPr/>
          <p:nvPr userDrawn="1"/>
        </p:nvSpPr>
        <p:spPr bwMode="auto">
          <a:xfrm flipV="1">
            <a:off x="0" y="6669360"/>
            <a:ext cx="9143999" cy="188640"/>
          </a:xfrm>
          <a:prstGeom prst="rect">
            <a:avLst/>
          </a:prstGeom>
          <a:solidFill>
            <a:srgbClr val="061F5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96" name="95 Rectángulo"/>
          <p:cNvSpPr/>
          <p:nvPr userDrawn="1"/>
        </p:nvSpPr>
        <p:spPr bwMode="auto">
          <a:xfrm>
            <a:off x="0" y="5190932"/>
            <a:ext cx="9144000" cy="45719"/>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2" name="Group 12"/>
          <p:cNvGrpSpPr>
            <a:grpSpLocks noChangeAspect="1"/>
          </p:cNvGrpSpPr>
          <p:nvPr userDrawn="1"/>
        </p:nvGrpSpPr>
        <p:grpSpPr bwMode="auto">
          <a:xfrm>
            <a:off x="323850" y="6162823"/>
            <a:ext cx="1135063" cy="290513"/>
            <a:chOff x="204" y="3837"/>
            <a:chExt cx="715" cy="183"/>
          </a:xfrm>
          <a:solidFill>
            <a:schemeClr val="bg1"/>
          </a:solidFill>
        </p:grpSpPr>
        <p:sp>
          <p:nvSpPr>
            <p:cNvPr id="1037" name="Freeform 13"/>
            <p:cNvSpPr>
              <a:spLocks/>
            </p:cNvSpPr>
            <p:nvPr userDrawn="1"/>
          </p:nvSpPr>
          <p:spPr bwMode="auto">
            <a:xfrm>
              <a:off x="204" y="3837"/>
              <a:ext cx="232" cy="183"/>
            </a:xfrm>
            <a:custGeom>
              <a:avLst/>
              <a:gdLst/>
              <a:ahLst/>
              <a:cxnLst>
                <a:cxn ang="0">
                  <a:pos x="1390" y="0"/>
                </a:cxn>
                <a:cxn ang="0">
                  <a:pos x="910" y="548"/>
                </a:cxn>
                <a:cxn ang="0">
                  <a:pos x="429" y="1096"/>
                </a:cxn>
                <a:cxn ang="0">
                  <a:pos x="0" y="1096"/>
                </a:cxn>
                <a:cxn ang="0">
                  <a:pos x="480" y="548"/>
                </a:cxn>
                <a:cxn ang="0">
                  <a:pos x="961" y="0"/>
                </a:cxn>
                <a:cxn ang="0">
                  <a:pos x="1390" y="0"/>
                </a:cxn>
              </a:cxnLst>
              <a:rect l="0" t="0" r="r" b="b"/>
              <a:pathLst>
                <a:path w="1390" h="1096">
                  <a:moveTo>
                    <a:pt x="1390" y="0"/>
                  </a:moveTo>
                  <a:lnTo>
                    <a:pt x="910" y="548"/>
                  </a:lnTo>
                  <a:lnTo>
                    <a:pt x="429"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8" name="Freeform 14"/>
            <p:cNvSpPr>
              <a:spLocks/>
            </p:cNvSpPr>
            <p:nvPr userDrawn="1"/>
          </p:nvSpPr>
          <p:spPr bwMode="auto">
            <a:xfrm>
              <a:off x="301" y="3837"/>
              <a:ext cx="231" cy="183"/>
            </a:xfrm>
            <a:custGeom>
              <a:avLst/>
              <a:gdLst/>
              <a:ahLst/>
              <a:cxnLst>
                <a:cxn ang="0">
                  <a:pos x="1390" y="0"/>
                </a:cxn>
                <a:cxn ang="0">
                  <a:pos x="910" y="548"/>
                </a:cxn>
                <a:cxn ang="0">
                  <a:pos x="431" y="1096"/>
                </a:cxn>
                <a:cxn ang="0">
                  <a:pos x="0" y="1096"/>
                </a:cxn>
                <a:cxn ang="0">
                  <a:pos x="480" y="548"/>
                </a:cxn>
                <a:cxn ang="0">
                  <a:pos x="961" y="0"/>
                </a:cxn>
                <a:cxn ang="0">
                  <a:pos x="1390" y="0"/>
                </a:cxn>
              </a:cxnLst>
              <a:rect l="0" t="0" r="r" b="b"/>
              <a:pathLst>
                <a:path w="1390" h="1096">
                  <a:moveTo>
                    <a:pt x="1390" y="0"/>
                  </a:moveTo>
                  <a:lnTo>
                    <a:pt x="910" y="548"/>
                  </a:lnTo>
                  <a:lnTo>
                    <a:pt x="431" y="1096"/>
                  </a:lnTo>
                  <a:lnTo>
                    <a:pt x="0" y="1096"/>
                  </a:lnTo>
                  <a:lnTo>
                    <a:pt x="480" y="548"/>
                  </a:lnTo>
                  <a:lnTo>
                    <a:pt x="961" y="0"/>
                  </a:lnTo>
                  <a:lnTo>
                    <a:pt x="13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9" name="Freeform 15"/>
            <p:cNvSpPr>
              <a:spLocks/>
            </p:cNvSpPr>
            <p:nvPr userDrawn="1"/>
          </p:nvSpPr>
          <p:spPr bwMode="auto">
            <a:xfrm>
              <a:off x="539" y="3944"/>
              <a:ext cx="81" cy="76"/>
            </a:xfrm>
            <a:custGeom>
              <a:avLst/>
              <a:gdLst/>
              <a:ahLst/>
              <a:cxnLst>
                <a:cxn ang="0">
                  <a:pos x="0" y="116"/>
                </a:cxn>
                <a:cxn ang="0">
                  <a:pos x="4" y="93"/>
                </a:cxn>
                <a:cxn ang="0">
                  <a:pos x="11" y="71"/>
                </a:cxn>
                <a:cxn ang="0">
                  <a:pos x="15" y="61"/>
                </a:cxn>
                <a:cxn ang="0">
                  <a:pos x="28" y="42"/>
                </a:cxn>
                <a:cxn ang="0">
                  <a:pos x="46" y="27"/>
                </a:cxn>
                <a:cxn ang="0">
                  <a:pos x="55" y="20"/>
                </a:cxn>
                <a:cxn ang="0">
                  <a:pos x="64" y="14"/>
                </a:cxn>
                <a:cxn ang="0">
                  <a:pos x="86" y="6"/>
                </a:cxn>
                <a:cxn ang="0">
                  <a:pos x="98" y="2"/>
                </a:cxn>
                <a:cxn ang="0">
                  <a:pos x="109" y="1"/>
                </a:cxn>
                <a:cxn ang="0">
                  <a:pos x="487" y="0"/>
                </a:cxn>
                <a:cxn ang="0">
                  <a:pos x="140" y="111"/>
                </a:cxn>
                <a:cxn ang="0">
                  <a:pos x="132" y="114"/>
                </a:cxn>
                <a:cxn ang="0">
                  <a:pos x="124" y="118"/>
                </a:cxn>
                <a:cxn ang="0">
                  <a:pos x="120" y="125"/>
                </a:cxn>
                <a:cxn ang="0">
                  <a:pos x="118" y="133"/>
                </a:cxn>
                <a:cxn ang="0">
                  <a:pos x="118" y="327"/>
                </a:cxn>
                <a:cxn ang="0">
                  <a:pos x="122" y="336"/>
                </a:cxn>
                <a:cxn ang="0">
                  <a:pos x="124" y="339"/>
                </a:cxn>
                <a:cxn ang="0">
                  <a:pos x="132" y="344"/>
                </a:cxn>
                <a:cxn ang="0">
                  <a:pos x="140" y="346"/>
                </a:cxn>
                <a:cxn ang="0">
                  <a:pos x="487" y="457"/>
                </a:cxn>
                <a:cxn ang="0">
                  <a:pos x="112" y="457"/>
                </a:cxn>
                <a:cxn ang="0">
                  <a:pos x="88" y="453"/>
                </a:cxn>
                <a:cxn ang="0">
                  <a:pos x="66" y="444"/>
                </a:cxn>
                <a:cxn ang="0">
                  <a:pos x="56" y="438"/>
                </a:cxn>
                <a:cxn ang="0">
                  <a:pos x="42" y="427"/>
                </a:cxn>
                <a:cxn ang="0">
                  <a:pos x="29" y="416"/>
                </a:cxn>
                <a:cxn ang="0">
                  <a:pos x="19" y="402"/>
                </a:cxn>
                <a:cxn ang="0">
                  <a:pos x="11" y="388"/>
                </a:cxn>
                <a:cxn ang="0">
                  <a:pos x="4" y="366"/>
                </a:cxn>
                <a:cxn ang="0">
                  <a:pos x="2" y="343"/>
                </a:cxn>
              </a:cxnLst>
              <a:rect l="0" t="0" r="r" b="b"/>
              <a:pathLst>
                <a:path w="487" h="457">
                  <a:moveTo>
                    <a:pt x="0" y="336"/>
                  </a:moveTo>
                  <a:lnTo>
                    <a:pt x="0" y="116"/>
                  </a:lnTo>
                  <a:lnTo>
                    <a:pt x="2" y="104"/>
                  </a:lnTo>
                  <a:lnTo>
                    <a:pt x="4" y="93"/>
                  </a:lnTo>
                  <a:lnTo>
                    <a:pt x="6" y="82"/>
                  </a:lnTo>
                  <a:lnTo>
                    <a:pt x="11" y="71"/>
                  </a:lnTo>
                  <a:lnTo>
                    <a:pt x="13" y="65"/>
                  </a:lnTo>
                  <a:lnTo>
                    <a:pt x="15" y="61"/>
                  </a:lnTo>
                  <a:lnTo>
                    <a:pt x="21" y="51"/>
                  </a:lnTo>
                  <a:lnTo>
                    <a:pt x="28" y="42"/>
                  </a:lnTo>
                  <a:lnTo>
                    <a:pt x="36" y="34"/>
                  </a:lnTo>
                  <a:lnTo>
                    <a:pt x="46" y="27"/>
                  </a:lnTo>
                  <a:lnTo>
                    <a:pt x="50" y="23"/>
                  </a:lnTo>
                  <a:lnTo>
                    <a:pt x="55" y="20"/>
                  </a:lnTo>
                  <a:lnTo>
                    <a:pt x="59" y="17"/>
                  </a:lnTo>
                  <a:lnTo>
                    <a:pt x="64" y="14"/>
                  </a:lnTo>
                  <a:lnTo>
                    <a:pt x="75" y="9"/>
                  </a:lnTo>
                  <a:lnTo>
                    <a:pt x="86" y="6"/>
                  </a:lnTo>
                  <a:lnTo>
                    <a:pt x="92" y="3"/>
                  </a:lnTo>
                  <a:lnTo>
                    <a:pt x="98" y="2"/>
                  </a:lnTo>
                  <a:lnTo>
                    <a:pt x="103" y="1"/>
                  </a:lnTo>
                  <a:lnTo>
                    <a:pt x="109" y="1"/>
                  </a:lnTo>
                  <a:lnTo>
                    <a:pt x="122" y="0"/>
                  </a:lnTo>
                  <a:lnTo>
                    <a:pt x="487" y="0"/>
                  </a:lnTo>
                  <a:lnTo>
                    <a:pt x="487" y="111"/>
                  </a:lnTo>
                  <a:lnTo>
                    <a:pt x="140" y="111"/>
                  </a:lnTo>
                  <a:lnTo>
                    <a:pt x="136" y="112"/>
                  </a:lnTo>
                  <a:lnTo>
                    <a:pt x="132" y="114"/>
                  </a:lnTo>
                  <a:lnTo>
                    <a:pt x="128" y="116"/>
                  </a:lnTo>
                  <a:lnTo>
                    <a:pt x="124" y="118"/>
                  </a:lnTo>
                  <a:lnTo>
                    <a:pt x="122" y="121"/>
                  </a:lnTo>
                  <a:lnTo>
                    <a:pt x="120" y="125"/>
                  </a:lnTo>
                  <a:lnTo>
                    <a:pt x="118" y="129"/>
                  </a:lnTo>
                  <a:lnTo>
                    <a:pt x="118" y="133"/>
                  </a:lnTo>
                  <a:lnTo>
                    <a:pt x="118" y="323"/>
                  </a:lnTo>
                  <a:lnTo>
                    <a:pt x="118" y="327"/>
                  </a:lnTo>
                  <a:lnTo>
                    <a:pt x="120" y="332"/>
                  </a:lnTo>
                  <a:lnTo>
                    <a:pt x="122" y="336"/>
                  </a:lnTo>
                  <a:lnTo>
                    <a:pt x="123" y="337"/>
                  </a:lnTo>
                  <a:lnTo>
                    <a:pt x="124" y="339"/>
                  </a:lnTo>
                  <a:lnTo>
                    <a:pt x="128" y="341"/>
                  </a:lnTo>
                  <a:lnTo>
                    <a:pt x="132" y="344"/>
                  </a:lnTo>
                  <a:lnTo>
                    <a:pt x="136" y="346"/>
                  </a:lnTo>
                  <a:lnTo>
                    <a:pt x="140" y="346"/>
                  </a:lnTo>
                  <a:lnTo>
                    <a:pt x="487" y="346"/>
                  </a:lnTo>
                  <a:lnTo>
                    <a:pt x="487" y="457"/>
                  </a:lnTo>
                  <a:lnTo>
                    <a:pt x="124" y="457"/>
                  </a:lnTo>
                  <a:lnTo>
                    <a:pt x="112" y="457"/>
                  </a:lnTo>
                  <a:lnTo>
                    <a:pt x="100" y="455"/>
                  </a:lnTo>
                  <a:lnTo>
                    <a:pt x="88" y="453"/>
                  </a:lnTo>
                  <a:lnTo>
                    <a:pt x="77" y="448"/>
                  </a:lnTo>
                  <a:lnTo>
                    <a:pt x="66" y="444"/>
                  </a:lnTo>
                  <a:lnTo>
                    <a:pt x="61" y="440"/>
                  </a:lnTo>
                  <a:lnTo>
                    <a:pt x="56" y="438"/>
                  </a:lnTo>
                  <a:lnTo>
                    <a:pt x="47" y="432"/>
                  </a:lnTo>
                  <a:lnTo>
                    <a:pt x="42" y="427"/>
                  </a:lnTo>
                  <a:lnTo>
                    <a:pt x="37" y="424"/>
                  </a:lnTo>
                  <a:lnTo>
                    <a:pt x="29" y="416"/>
                  </a:lnTo>
                  <a:lnTo>
                    <a:pt x="22" y="407"/>
                  </a:lnTo>
                  <a:lnTo>
                    <a:pt x="19" y="402"/>
                  </a:lnTo>
                  <a:lnTo>
                    <a:pt x="17" y="398"/>
                  </a:lnTo>
                  <a:lnTo>
                    <a:pt x="11" y="388"/>
                  </a:lnTo>
                  <a:lnTo>
                    <a:pt x="7" y="377"/>
                  </a:lnTo>
                  <a:lnTo>
                    <a:pt x="4" y="366"/>
                  </a:lnTo>
                  <a:lnTo>
                    <a:pt x="3" y="355"/>
                  </a:lnTo>
                  <a:lnTo>
                    <a:pt x="2"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0" name="Rectangle 16"/>
            <p:cNvSpPr>
              <a:spLocks noChangeArrowheads="1"/>
            </p:cNvSpPr>
            <p:nvPr userDrawn="1"/>
          </p:nvSpPr>
          <p:spPr bwMode="auto">
            <a:xfrm>
              <a:off x="575"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1" name="Freeform 17"/>
            <p:cNvSpPr>
              <a:spLocks/>
            </p:cNvSpPr>
            <p:nvPr userDrawn="1"/>
          </p:nvSpPr>
          <p:spPr bwMode="auto">
            <a:xfrm>
              <a:off x="453" y="3944"/>
              <a:ext cx="80" cy="76"/>
            </a:xfrm>
            <a:custGeom>
              <a:avLst/>
              <a:gdLst/>
              <a:ahLst/>
              <a:cxnLst>
                <a:cxn ang="0">
                  <a:pos x="0" y="104"/>
                </a:cxn>
                <a:cxn ang="0">
                  <a:pos x="4" y="82"/>
                </a:cxn>
                <a:cxn ang="0">
                  <a:pos x="11" y="65"/>
                </a:cxn>
                <a:cxn ang="0">
                  <a:pos x="19" y="51"/>
                </a:cxn>
                <a:cxn ang="0">
                  <a:pos x="35" y="34"/>
                </a:cxn>
                <a:cxn ang="0">
                  <a:pos x="48" y="23"/>
                </a:cxn>
                <a:cxn ang="0">
                  <a:pos x="58" y="17"/>
                </a:cxn>
                <a:cxn ang="0">
                  <a:pos x="74" y="9"/>
                </a:cxn>
                <a:cxn ang="0">
                  <a:pos x="90" y="3"/>
                </a:cxn>
                <a:cxn ang="0">
                  <a:pos x="102" y="1"/>
                </a:cxn>
                <a:cxn ang="0">
                  <a:pos x="120" y="0"/>
                </a:cxn>
                <a:cxn ang="0">
                  <a:pos x="480" y="111"/>
                </a:cxn>
                <a:cxn ang="0">
                  <a:pos x="134" y="112"/>
                </a:cxn>
                <a:cxn ang="0">
                  <a:pos x="126" y="116"/>
                </a:cxn>
                <a:cxn ang="0">
                  <a:pos x="120" y="121"/>
                </a:cxn>
                <a:cxn ang="0">
                  <a:pos x="117" y="129"/>
                </a:cxn>
                <a:cxn ang="0">
                  <a:pos x="117" y="323"/>
                </a:cxn>
                <a:cxn ang="0">
                  <a:pos x="118" y="332"/>
                </a:cxn>
                <a:cxn ang="0">
                  <a:pos x="121" y="337"/>
                </a:cxn>
                <a:cxn ang="0">
                  <a:pos x="126" y="341"/>
                </a:cxn>
                <a:cxn ang="0">
                  <a:pos x="134" y="346"/>
                </a:cxn>
                <a:cxn ang="0">
                  <a:pos x="480" y="346"/>
                </a:cxn>
                <a:cxn ang="0">
                  <a:pos x="122" y="457"/>
                </a:cxn>
                <a:cxn ang="0">
                  <a:pos x="98" y="455"/>
                </a:cxn>
                <a:cxn ang="0">
                  <a:pos x="75" y="447"/>
                </a:cxn>
                <a:cxn ang="0">
                  <a:pos x="54" y="436"/>
                </a:cxn>
                <a:cxn ang="0">
                  <a:pos x="40" y="424"/>
                </a:cxn>
                <a:cxn ang="0">
                  <a:pos x="28" y="412"/>
                </a:cxn>
                <a:cxn ang="0">
                  <a:pos x="15" y="392"/>
                </a:cxn>
                <a:cxn ang="0">
                  <a:pos x="9" y="382"/>
                </a:cxn>
                <a:cxn ang="0">
                  <a:pos x="2" y="359"/>
                </a:cxn>
                <a:cxn ang="0">
                  <a:pos x="0" y="336"/>
                </a:cxn>
              </a:cxnLst>
              <a:rect l="0" t="0" r="r" b="b"/>
              <a:pathLst>
                <a:path w="480" h="457">
                  <a:moveTo>
                    <a:pt x="0" y="116"/>
                  </a:moveTo>
                  <a:lnTo>
                    <a:pt x="0" y="104"/>
                  </a:lnTo>
                  <a:lnTo>
                    <a:pt x="2" y="93"/>
                  </a:lnTo>
                  <a:lnTo>
                    <a:pt x="4" y="82"/>
                  </a:lnTo>
                  <a:lnTo>
                    <a:pt x="9" y="71"/>
                  </a:lnTo>
                  <a:lnTo>
                    <a:pt x="11" y="65"/>
                  </a:lnTo>
                  <a:lnTo>
                    <a:pt x="14" y="61"/>
                  </a:lnTo>
                  <a:lnTo>
                    <a:pt x="19" y="51"/>
                  </a:lnTo>
                  <a:lnTo>
                    <a:pt x="26" y="42"/>
                  </a:lnTo>
                  <a:lnTo>
                    <a:pt x="35" y="34"/>
                  </a:lnTo>
                  <a:lnTo>
                    <a:pt x="44" y="27"/>
                  </a:lnTo>
                  <a:lnTo>
                    <a:pt x="48" y="23"/>
                  </a:lnTo>
                  <a:lnTo>
                    <a:pt x="53" y="20"/>
                  </a:lnTo>
                  <a:lnTo>
                    <a:pt x="58" y="17"/>
                  </a:lnTo>
                  <a:lnTo>
                    <a:pt x="62" y="14"/>
                  </a:lnTo>
                  <a:lnTo>
                    <a:pt x="74" y="9"/>
                  </a:lnTo>
                  <a:lnTo>
                    <a:pt x="84" y="6"/>
                  </a:lnTo>
                  <a:lnTo>
                    <a:pt x="90" y="3"/>
                  </a:lnTo>
                  <a:lnTo>
                    <a:pt x="96" y="2"/>
                  </a:lnTo>
                  <a:lnTo>
                    <a:pt x="102" y="1"/>
                  </a:lnTo>
                  <a:lnTo>
                    <a:pt x="109" y="1"/>
                  </a:lnTo>
                  <a:lnTo>
                    <a:pt x="120" y="0"/>
                  </a:lnTo>
                  <a:lnTo>
                    <a:pt x="480" y="0"/>
                  </a:lnTo>
                  <a:lnTo>
                    <a:pt x="480" y="111"/>
                  </a:lnTo>
                  <a:lnTo>
                    <a:pt x="139" y="111"/>
                  </a:lnTo>
                  <a:lnTo>
                    <a:pt x="134" y="112"/>
                  </a:lnTo>
                  <a:lnTo>
                    <a:pt x="131" y="114"/>
                  </a:lnTo>
                  <a:lnTo>
                    <a:pt x="126" y="116"/>
                  </a:lnTo>
                  <a:lnTo>
                    <a:pt x="122" y="118"/>
                  </a:lnTo>
                  <a:lnTo>
                    <a:pt x="120" y="121"/>
                  </a:lnTo>
                  <a:lnTo>
                    <a:pt x="118" y="125"/>
                  </a:lnTo>
                  <a:lnTo>
                    <a:pt x="117" y="129"/>
                  </a:lnTo>
                  <a:lnTo>
                    <a:pt x="117" y="133"/>
                  </a:lnTo>
                  <a:lnTo>
                    <a:pt x="117" y="323"/>
                  </a:lnTo>
                  <a:lnTo>
                    <a:pt x="117" y="327"/>
                  </a:lnTo>
                  <a:lnTo>
                    <a:pt x="118" y="332"/>
                  </a:lnTo>
                  <a:lnTo>
                    <a:pt x="120" y="336"/>
                  </a:lnTo>
                  <a:lnTo>
                    <a:pt x="121" y="337"/>
                  </a:lnTo>
                  <a:lnTo>
                    <a:pt x="122" y="339"/>
                  </a:lnTo>
                  <a:lnTo>
                    <a:pt x="126" y="341"/>
                  </a:lnTo>
                  <a:lnTo>
                    <a:pt x="131" y="344"/>
                  </a:lnTo>
                  <a:lnTo>
                    <a:pt x="134" y="346"/>
                  </a:lnTo>
                  <a:lnTo>
                    <a:pt x="139" y="346"/>
                  </a:lnTo>
                  <a:lnTo>
                    <a:pt x="480" y="346"/>
                  </a:lnTo>
                  <a:lnTo>
                    <a:pt x="480" y="457"/>
                  </a:lnTo>
                  <a:lnTo>
                    <a:pt x="122" y="457"/>
                  </a:lnTo>
                  <a:lnTo>
                    <a:pt x="110" y="457"/>
                  </a:lnTo>
                  <a:lnTo>
                    <a:pt x="98" y="455"/>
                  </a:lnTo>
                  <a:lnTo>
                    <a:pt x="87" y="451"/>
                  </a:lnTo>
                  <a:lnTo>
                    <a:pt x="75" y="447"/>
                  </a:lnTo>
                  <a:lnTo>
                    <a:pt x="65" y="442"/>
                  </a:lnTo>
                  <a:lnTo>
                    <a:pt x="54" y="436"/>
                  </a:lnTo>
                  <a:lnTo>
                    <a:pt x="45" y="428"/>
                  </a:lnTo>
                  <a:lnTo>
                    <a:pt x="40" y="424"/>
                  </a:lnTo>
                  <a:lnTo>
                    <a:pt x="36" y="421"/>
                  </a:lnTo>
                  <a:lnTo>
                    <a:pt x="28" y="412"/>
                  </a:lnTo>
                  <a:lnTo>
                    <a:pt x="21" y="402"/>
                  </a:lnTo>
                  <a:lnTo>
                    <a:pt x="15" y="392"/>
                  </a:lnTo>
                  <a:lnTo>
                    <a:pt x="11" y="387"/>
                  </a:lnTo>
                  <a:lnTo>
                    <a:pt x="9" y="382"/>
                  </a:lnTo>
                  <a:lnTo>
                    <a:pt x="6" y="371"/>
                  </a:lnTo>
                  <a:lnTo>
                    <a:pt x="2" y="359"/>
                  </a:lnTo>
                  <a:lnTo>
                    <a:pt x="0" y="348"/>
                  </a:lnTo>
                  <a:lnTo>
                    <a:pt x="0" y="336"/>
                  </a:lnTo>
                  <a:lnTo>
                    <a:pt x="0" y="1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2" name="Freeform 18"/>
            <p:cNvSpPr>
              <a:spLocks/>
            </p:cNvSpPr>
            <p:nvPr userDrawn="1"/>
          </p:nvSpPr>
          <p:spPr bwMode="auto">
            <a:xfrm>
              <a:off x="737" y="3944"/>
              <a:ext cx="81" cy="76"/>
            </a:xfrm>
            <a:custGeom>
              <a:avLst/>
              <a:gdLst/>
              <a:ahLst/>
              <a:cxnLst>
                <a:cxn ang="0">
                  <a:pos x="0" y="116"/>
                </a:cxn>
                <a:cxn ang="0">
                  <a:pos x="3" y="93"/>
                </a:cxn>
                <a:cxn ang="0">
                  <a:pos x="10" y="71"/>
                </a:cxn>
                <a:cxn ang="0">
                  <a:pos x="15" y="61"/>
                </a:cxn>
                <a:cxn ang="0">
                  <a:pos x="27" y="42"/>
                </a:cxn>
                <a:cxn ang="0">
                  <a:pos x="45" y="27"/>
                </a:cxn>
                <a:cxn ang="0">
                  <a:pos x="54" y="20"/>
                </a:cxn>
                <a:cxn ang="0">
                  <a:pos x="63" y="14"/>
                </a:cxn>
                <a:cxn ang="0">
                  <a:pos x="85" y="6"/>
                </a:cxn>
                <a:cxn ang="0">
                  <a:pos x="97" y="2"/>
                </a:cxn>
                <a:cxn ang="0">
                  <a:pos x="108" y="1"/>
                </a:cxn>
                <a:cxn ang="0">
                  <a:pos x="486" y="0"/>
                </a:cxn>
                <a:cxn ang="0">
                  <a:pos x="140" y="111"/>
                </a:cxn>
                <a:cxn ang="0">
                  <a:pos x="132" y="114"/>
                </a:cxn>
                <a:cxn ang="0">
                  <a:pos x="124" y="118"/>
                </a:cxn>
                <a:cxn ang="0">
                  <a:pos x="119" y="125"/>
                </a:cxn>
                <a:cxn ang="0">
                  <a:pos x="118" y="133"/>
                </a:cxn>
                <a:cxn ang="0">
                  <a:pos x="118" y="327"/>
                </a:cxn>
                <a:cxn ang="0">
                  <a:pos x="121" y="336"/>
                </a:cxn>
                <a:cxn ang="0">
                  <a:pos x="124" y="339"/>
                </a:cxn>
                <a:cxn ang="0">
                  <a:pos x="132" y="344"/>
                </a:cxn>
                <a:cxn ang="0">
                  <a:pos x="140" y="346"/>
                </a:cxn>
                <a:cxn ang="0">
                  <a:pos x="486" y="457"/>
                </a:cxn>
                <a:cxn ang="0">
                  <a:pos x="111" y="457"/>
                </a:cxn>
                <a:cxn ang="0">
                  <a:pos x="88" y="453"/>
                </a:cxn>
                <a:cxn ang="0">
                  <a:pos x="66" y="444"/>
                </a:cxn>
                <a:cxn ang="0">
                  <a:pos x="55" y="438"/>
                </a:cxn>
                <a:cxn ang="0">
                  <a:pos x="41" y="427"/>
                </a:cxn>
                <a:cxn ang="0">
                  <a:pos x="29" y="416"/>
                </a:cxn>
                <a:cxn ang="0">
                  <a:pos x="18" y="402"/>
                </a:cxn>
                <a:cxn ang="0">
                  <a:pos x="10" y="388"/>
                </a:cxn>
                <a:cxn ang="0">
                  <a:pos x="3" y="366"/>
                </a:cxn>
                <a:cxn ang="0">
                  <a:pos x="1" y="343"/>
                </a:cxn>
              </a:cxnLst>
              <a:rect l="0" t="0" r="r" b="b"/>
              <a:pathLst>
                <a:path w="486" h="457">
                  <a:moveTo>
                    <a:pt x="0" y="336"/>
                  </a:moveTo>
                  <a:lnTo>
                    <a:pt x="0" y="116"/>
                  </a:lnTo>
                  <a:lnTo>
                    <a:pt x="1" y="104"/>
                  </a:lnTo>
                  <a:lnTo>
                    <a:pt x="3" y="93"/>
                  </a:lnTo>
                  <a:lnTo>
                    <a:pt x="5" y="82"/>
                  </a:lnTo>
                  <a:lnTo>
                    <a:pt x="10" y="71"/>
                  </a:lnTo>
                  <a:lnTo>
                    <a:pt x="12" y="65"/>
                  </a:lnTo>
                  <a:lnTo>
                    <a:pt x="15" y="61"/>
                  </a:lnTo>
                  <a:lnTo>
                    <a:pt x="21" y="51"/>
                  </a:lnTo>
                  <a:lnTo>
                    <a:pt x="27" y="42"/>
                  </a:lnTo>
                  <a:lnTo>
                    <a:pt x="36" y="34"/>
                  </a:lnTo>
                  <a:lnTo>
                    <a:pt x="45" y="27"/>
                  </a:lnTo>
                  <a:lnTo>
                    <a:pt x="49" y="23"/>
                  </a:lnTo>
                  <a:lnTo>
                    <a:pt x="54" y="20"/>
                  </a:lnTo>
                  <a:lnTo>
                    <a:pt x="59" y="17"/>
                  </a:lnTo>
                  <a:lnTo>
                    <a:pt x="63" y="14"/>
                  </a:lnTo>
                  <a:lnTo>
                    <a:pt x="74" y="9"/>
                  </a:lnTo>
                  <a:lnTo>
                    <a:pt x="85" y="6"/>
                  </a:lnTo>
                  <a:lnTo>
                    <a:pt x="91" y="3"/>
                  </a:lnTo>
                  <a:lnTo>
                    <a:pt x="97" y="2"/>
                  </a:lnTo>
                  <a:lnTo>
                    <a:pt x="103" y="1"/>
                  </a:lnTo>
                  <a:lnTo>
                    <a:pt x="108" y="1"/>
                  </a:lnTo>
                  <a:lnTo>
                    <a:pt x="121" y="0"/>
                  </a:lnTo>
                  <a:lnTo>
                    <a:pt x="486" y="0"/>
                  </a:lnTo>
                  <a:lnTo>
                    <a:pt x="486" y="111"/>
                  </a:lnTo>
                  <a:lnTo>
                    <a:pt x="140" y="111"/>
                  </a:lnTo>
                  <a:lnTo>
                    <a:pt x="135" y="112"/>
                  </a:lnTo>
                  <a:lnTo>
                    <a:pt x="132" y="114"/>
                  </a:lnTo>
                  <a:lnTo>
                    <a:pt x="127" y="116"/>
                  </a:lnTo>
                  <a:lnTo>
                    <a:pt x="124" y="118"/>
                  </a:lnTo>
                  <a:lnTo>
                    <a:pt x="121" y="121"/>
                  </a:lnTo>
                  <a:lnTo>
                    <a:pt x="119" y="125"/>
                  </a:lnTo>
                  <a:lnTo>
                    <a:pt x="118" y="129"/>
                  </a:lnTo>
                  <a:lnTo>
                    <a:pt x="118" y="133"/>
                  </a:lnTo>
                  <a:lnTo>
                    <a:pt x="118" y="323"/>
                  </a:lnTo>
                  <a:lnTo>
                    <a:pt x="118" y="327"/>
                  </a:lnTo>
                  <a:lnTo>
                    <a:pt x="119" y="332"/>
                  </a:lnTo>
                  <a:lnTo>
                    <a:pt x="121" y="336"/>
                  </a:lnTo>
                  <a:lnTo>
                    <a:pt x="122" y="337"/>
                  </a:lnTo>
                  <a:lnTo>
                    <a:pt x="124" y="339"/>
                  </a:lnTo>
                  <a:lnTo>
                    <a:pt x="127" y="341"/>
                  </a:lnTo>
                  <a:lnTo>
                    <a:pt x="132" y="344"/>
                  </a:lnTo>
                  <a:lnTo>
                    <a:pt x="135" y="346"/>
                  </a:lnTo>
                  <a:lnTo>
                    <a:pt x="140" y="346"/>
                  </a:lnTo>
                  <a:lnTo>
                    <a:pt x="486" y="346"/>
                  </a:lnTo>
                  <a:lnTo>
                    <a:pt x="486" y="457"/>
                  </a:lnTo>
                  <a:lnTo>
                    <a:pt x="124" y="457"/>
                  </a:lnTo>
                  <a:lnTo>
                    <a:pt x="111" y="457"/>
                  </a:lnTo>
                  <a:lnTo>
                    <a:pt x="99" y="455"/>
                  </a:lnTo>
                  <a:lnTo>
                    <a:pt x="88" y="453"/>
                  </a:lnTo>
                  <a:lnTo>
                    <a:pt x="76" y="448"/>
                  </a:lnTo>
                  <a:lnTo>
                    <a:pt x="66" y="444"/>
                  </a:lnTo>
                  <a:lnTo>
                    <a:pt x="60" y="440"/>
                  </a:lnTo>
                  <a:lnTo>
                    <a:pt x="55" y="438"/>
                  </a:lnTo>
                  <a:lnTo>
                    <a:pt x="46" y="432"/>
                  </a:lnTo>
                  <a:lnTo>
                    <a:pt x="41" y="427"/>
                  </a:lnTo>
                  <a:lnTo>
                    <a:pt x="37" y="424"/>
                  </a:lnTo>
                  <a:lnTo>
                    <a:pt x="29" y="416"/>
                  </a:lnTo>
                  <a:lnTo>
                    <a:pt x="22" y="407"/>
                  </a:lnTo>
                  <a:lnTo>
                    <a:pt x="18" y="402"/>
                  </a:lnTo>
                  <a:lnTo>
                    <a:pt x="16" y="398"/>
                  </a:lnTo>
                  <a:lnTo>
                    <a:pt x="10" y="388"/>
                  </a:lnTo>
                  <a:lnTo>
                    <a:pt x="7" y="377"/>
                  </a:lnTo>
                  <a:lnTo>
                    <a:pt x="3" y="366"/>
                  </a:lnTo>
                  <a:lnTo>
                    <a:pt x="1" y="355"/>
                  </a:lnTo>
                  <a:lnTo>
                    <a:pt x="1" y="343"/>
                  </a:lnTo>
                  <a:lnTo>
                    <a:pt x="0"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3" name="Rectangle 19"/>
            <p:cNvSpPr>
              <a:spLocks noChangeArrowheads="1"/>
            </p:cNvSpPr>
            <p:nvPr userDrawn="1"/>
          </p:nvSpPr>
          <p:spPr bwMode="auto">
            <a:xfrm>
              <a:off x="773" y="3974"/>
              <a:ext cx="45" cy="1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4" name="Freeform 20"/>
            <p:cNvSpPr>
              <a:spLocks/>
            </p:cNvSpPr>
            <p:nvPr userDrawn="1"/>
          </p:nvSpPr>
          <p:spPr bwMode="auto">
            <a:xfrm>
              <a:off x="629" y="3944"/>
              <a:ext cx="99" cy="76"/>
            </a:xfrm>
            <a:custGeom>
              <a:avLst/>
              <a:gdLst/>
              <a:ahLst/>
              <a:cxnLst>
                <a:cxn ang="0">
                  <a:pos x="117" y="111"/>
                </a:cxn>
                <a:cxn ang="0">
                  <a:pos x="117" y="457"/>
                </a:cxn>
                <a:cxn ang="0">
                  <a:pos x="0" y="457"/>
                </a:cxn>
                <a:cxn ang="0">
                  <a:pos x="0" y="0"/>
                </a:cxn>
                <a:cxn ang="0">
                  <a:pos x="338" y="0"/>
                </a:cxn>
                <a:cxn ang="0">
                  <a:pos x="472" y="0"/>
                </a:cxn>
                <a:cxn ang="0">
                  <a:pos x="485" y="1"/>
                </a:cxn>
                <a:cxn ang="0">
                  <a:pos x="496" y="2"/>
                </a:cxn>
                <a:cxn ang="0">
                  <a:pos x="508" y="6"/>
                </a:cxn>
                <a:cxn ang="0">
                  <a:pos x="519" y="9"/>
                </a:cxn>
                <a:cxn ang="0">
                  <a:pos x="524" y="11"/>
                </a:cxn>
                <a:cxn ang="0">
                  <a:pos x="530" y="14"/>
                </a:cxn>
                <a:cxn ang="0">
                  <a:pos x="539" y="20"/>
                </a:cxn>
                <a:cxn ang="0">
                  <a:pos x="549" y="27"/>
                </a:cxn>
                <a:cxn ang="0">
                  <a:pos x="558" y="34"/>
                </a:cxn>
                <a:cxn ang="0">
                  <a:pos x="566" y="42"/>
                </a:cxn>
                <a:cxn ang="0">
                  <a:pos x="569" y="46"/>
                </a:cxn>
                <a:cxn ang="0">
                  <a:pos x="573" y="51"/>
                </a:cxn>
                <a:cxn ang="0">
                  <a:pos x="575" y="56"/>
                </a:cxn>
                <a:cxn ang="0">
                  <a:pos x="578" y="61"/>
                </a:cxn>
                <a:cxn ang="0">
                  <a:pos x="583" y="71"/>
                </a:cxn>
                <a:cxn ang="0">
                  <a:pos x="588" y="82"/>
                </a:cxn>
                <a:cxn ang="0">
                  <a:pos x="589" y="87"/>
                </a:cxn>
                <a:cxn ang="0">
                  <a:pos x="590" y="93"/>
                </a:cxn>
                <a:cxn ang="0">
                  <a:pos x="591" y="98"/>
                </a:cxn>
                <a:cxn ang="0">
                  <a:pos x="592" y="104"/>
                </a:cxn>
                <a:cxn ang="0">
                  <a:pos x="593" y="116"/>
                </a:cxn>
                <a:cxn ang="0">
                  <a:pos x="593" y="457"/>
                </a:cxn>
                <a:cxn ang="0">
                  <a:pos x="474" y="457"/>
                </a:cxn>
                <a:cxn ang="0">
                  <a:pos x="474" y="133"/>
                </a:cxn>
                <a:cxn ang="0">
                  <a:pos x="473" y="129"/>
                </a:cxn>
                <a:cxn ang="0">
                  <a:pos x="472" y="125"/>
                </a:cxn>
                <a:cxn ang="0">
                  <a:pos x="470" y="121"/>
                </a:cxn>
                <a:cxn ang="0">
                  <a:pos x="467" y="118"/>
                </a:cxn>
                <a:cxn ang="0">
                  <a:pos x="464" y="116"/>
                </a:cxn>
                <a:cxn ang="0">
                  <a:pos x="460" y="114"/>
                </a:cxn>
                <a:cxn ang="0">
                  <a:pos x="456" y="112"/>
                </a:cxn>
                <a:cxn ang="0">
                  <a:pos x="451" y="111"/>
                </a:cxn>
                <a:cxn ang="0">
                  <a:pos x="355" y="111"/>
                </a:cxn>
                <a:cxn ang="0">
                  <a:pos x="355" y="457"/>
                </a:cxn>
                <a:cxn ang="0">
                  <a:pos x="236" y="457"/>
                </a:cxn>
                <a:cxn ang="0">
                  <a:pos x="236" y="111"/>
                </a:cxn>
                <a:cxn ang="0">
                  <a:pos x="117" y="111"/>
                </a:cxn>
              </a:cxnLst>
              <a:rect l="0" t="0" r="r" b="b"/>
              <a:pathLst>
                <a:path w="593" h="457">
                  <a:moveTo>
                    <a:pt x="117" y="111"/>
                  </a:moveTo>
                  <a:lnTo>
                    <a:pt x="117" y="457"/>
                  </a:lnTo>
                  <a:lnTo>
                    <a:pt x="0" y="457"/>
                  </a:lnTo>
                  <a:lnTo>
                    <a:pt x="0" y="0"/>
                  </a:lnTo>
                  <a:lnTo>
                    <a:pt x="338" y="0"/>
                  </a:lnTo>
                  <a:lnTo>
                    <a:pt x="472" y="0"/>
                  </a:lnTo>
                  <a:lnTo>
                    <a:pt x="485" y="1"/>
                  </a:lnTo>
                  <a:lnTo>
                    <a:pt x="496" y="2"/>
                  </a:lnTo>
                  <a:lnTo>
                    <a:pt x="508" y="6"/>
                  </a:lnTo>
                  <a:lnTo>
                    <a:pt x="519" y="9"/>
                  </a:lnTo>
                  <a:lnTo>
                    <a:pt x="524" y="11"/>
                  </a:lnTo>
                  <a:lnTo>
                    <a:pt x="530" y="14"/>
                  </a:lnTo>
                  <a:lnTo>
                    <a:pt x="539" y="20"/>
                  </a:lnTo>
                  <a:lnTo>
                    <a:pt x="549" y="27"/>
                  </a:lnTo>
                  <a:lnTo>
                    <a:pt x="558" y="34"/>
                  </a:lnTo>
                  <a:lnTo>
                    <a:pt x="566" y="42"/>
                  </a:lnTo>
                  <a:lnTo>
                    <a:pt x="569" y="46"/>
                  </a:lnTo>
                  <a:lnTo>
                    <a:pt x="573" y="51"/>
                  </a:lnTo>
                  <a:lnTo>
                    <a:pt x="575" y="56"/>
                  </a:lnTo>
                  <a:lnTo>
                    <a:pt x="578" y="61"/>
                  </a:lnTo>
                  <a:lnTo>
                    <a:pt x="583" y="71"/>
                  </a:lnTo>
                  <a:lnTo>
                    <a:pt x="588" y="82"/>
                  </a:lnTo>
                  <a:lnTo>
                    <a:pt x="589" y="87"/>
                  </a:lnTo>
                  <a:lnTo>
                    <a:pt x="590" y="93"/>
                  </a:lnTo>
                  <a:lnTo>
                    <a:pt x="591" y="98"/>
                  </a:lnTo>
                  <a:lnTo>
                    <a:pt x="592" y="104"/>
                  </a:lnTo>
                  <a:lnTo>
                    <a:pt x="593" y="116"/>
                  </a:lnTo>
                  <a:lnTo>
                    <a:pt x="593" y="457"/>
                  </a:lnTo>
                  <a:lnTo>
                    <a:pt x="474" y="457"/>
                  </a:lnTo>
                  <a:lnTo>
                    <a:pt x="474" y="133"/>
                  </a:lnTo>
                  <a:lnTo>
                    <a:pt x="473" y="129"/>
                  </a:lnTo>
                  <a:lnTo>
                    <a:pt x="472" y="125"/>
                  </a:lnTo>
                  <a:lnTo>
                    <a:pt x="470" y="121"/>
                  </a:lnTo>
                  <a:lnTo>
                    <a:pt x="467" y="118"/>
                  </a:lnTo>
                  <a:lnTo>
                    <a:pt x="464" y="116"/>
                  </a:lnTo>
                  <a:lnTo>
                    <a:pt x="460" y="114"/>
                  </a:lnTo>
                  <a:lnTo>
                    <a:pt x="456" y="112"/>
                  </a:lnTo>
                  <a:lnTo>
                    <a:pt x="451" y="111"/>
                  </a:lnTo>
                  <a:lnTo>
                    <a:pt x="355" y="111"/>
                  </a:lnTo>
                  <a:lnTo>
                    <a:pt x="355" y="457"/>
                  </a:lnTo>
                  <a:lnTo>
                    <a:pt x="236" y="457"/>
                  </a:lnTo>
                  <a:lnTo>
                    <a:pt x="236" y="111"/>
                  </a:lnTo>
                  <a:lnTo>
                    <a:pt x="117"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5" name="Freeform 21"/>
            <p:cNvSpPr>
              <a:spLocks/>
            </p:cNvSpPr>
            <p:nvPr userDrawn="1"/>
          </p:nvSpPr>
          <p:spPr bwMode="auto">
            <a:xfrm>
              <a:off x="827" y="3944"/>
              <a:ext cx="92" cy="76"/>
            </a:xfrm>
            <a:custGeom>
              <a:avLst/>
              <a:gdLst/>
              <a:ahLst/>
              <a:cxnLst>
                <a:cxn ang="0">
                  <a:pos x="278" y="296"/>
                </a:cxn>
                <a:cxn ang="0">
                  <a:pos x="122" y="389"/>
                </a:cxn>
                <a:cxn ang="0">
                  <a:pos x="122" y="457"/>
                </a:cxn>
                <a:cxn ang="0">
                  <a:pos x="0" y="457"/>
                </a:cxn>
                <a:cxn ang="0">
                  <a:pos x="0" y="361"/>
                </a:cxn>
                <a:cxn ang="0">
                  <a:pos x="1" y="355"/>
                </a:cxn>
                <a:cxn ang="0">
                  <a:pos x="3" y="348"/>
                </a:cxn>
                <a:cxn ang="0">
                  <a:pos x="6" y="341"/>
                </a:cxn>
                <a:cxn ang="0">
                  <a:pos x="9" y="335"/>
                </a:cxn>
                <a:cxn ang="0">
                  <a:pos x="13" y="329"/>
                </a:cxn>
                <a:cxn ang="0">
                  <a:pos x="17" y="324"/>
                </a:cxn>
                <a:cxn ang="0">
                  <a:pos x="23" y="318"/>
                </a:cxn>
                <a:cxn ang="0">
                  <a:pos x="27" y="317"/>
                </a:cxn>
                <a:cxn ang="0">
                  <a:pos x="30" y="315"/>
                </a:cxn>
                <a:cxn ang="0">
                  <a:pos x="176" y="229"/>
                </a:cxn>
                <a:cxn ang="0">
                  <a:pos x="30" y="143"/>
                </a:cxn>
                <a:cxn ang="0">
                  <a:pos x="23" y="139"/>
                </a:cxn>
                <a:cxn ang="0">
                  <a:pos x="21" y="137"/>
                </a:cxn>
                <a:cxn ang="0">
                  <a:pos x="17" y="133"/>
                </a:cxn>
                <a:cxn ang="0">
                  <a:pos x="13" y="129"/>
                </a:cxn>
                <a:cxn ang="0">
                  <a:pos x="9" y="122"/>
                </a:cxn>
                <a:cxn ang="0">
                  <a:pos x="6" y="117"/>
                </a:cxn>
                <a:cxn ang="0">
                  <a:pos x="3" y="110"/>
                </a:cxn>
                <a:cxn ang="0">
                  <a:pos x="1" y="104"/>
                </a:cxn>
                <a:cxn ang="0">
                  <a:pos x="0" y="96"/>
                </a:cxn>
                <a:cxn ang="0">
                  <a:pos x="0" y="0"/>
                </a:cxn>
                <a:cxn ang="0">
                  <a:pos x="122" y="0"/>
                </a:cxn>
                <a:cxn ang="0">
                  <a:pos x="122" y="68"/>
                </a:cxn>
                <a:cxn ang="0">
                  <a:pos x="278" y="162"/>
                </a:cxn>
                <a:cxn ang="0">
                  <a:pos x="434" y="68"/>
                </a:cxn>
                <a:cxn ang="0">
                  <a:pos x="434" y="0"/>
                </a:cxn>
                <a:cxn ang="0">
                  <a:pos x="556" y="0"/>
                </a:cxn>
                <a:cxn ang="0">
                  <a:pos x="556" y="96"/>
                </a:cxn>
                <a:cxn ang="0">
                  <a:pos x="554" y="104"/>
                </a:cxn>
                <a:cxn ang="0">
                  <a:pos x="552" y="110"/>
                </a:cxn>
                <a:cxn ang="0">
                  <a:pos x="550" y="117"/>
                </a:cxn>
                <a:cxn ang="0">
                  <a:pos x="546" y="122"/>
                </a:cxn>
                <a:cxn ang="0">
                  <a:pos x="543" y="129"/>
                </a:cxn>
                <a:cxn ang="0">
                  <a:pos x="538" y="133"/>
                </a:cxn>
                <a:cxn ang="0">
                  <a:pos x="532" y="139"/>
                </a:cxn>
                <a:cxn ang="0">
                  <a:pos x="529" y="141"/>
                </a:cxn>
                <a:cxn ang="0">
                  <a:pos x="525" y="143"/>
                </a:cxn>
                <a:cxn ang="0">
                  <a:pos x="383" y="228"/>
                </a:cxn>
                <a:cxn ang="0">
                  <a:pos x="525" y="315"/>
                </a:cxn>
                <a:cxn ang="0">
                  <a:pos x="532" y="318"/>
                </a:cxn>
                <a:cxn ang="0">
                  <a:pos x="535" y="322"/>
                </a:cxn>
                <a:cxn ang="0">
                  <a:pos x="538" y="324"/>
                </a:cxn>
                <a:cxn ang="0">
                  <a:pos x="543" y="329"/>
                </a:cxn>
                <a:cxn ang="0">
                  <a:pos x="546" y="335"/>
                </a:cxn>
                <a:cxn ang="0">
                  <a:pos x="550" y="341"/>
                </a:cxn>
                <a:cxn ang="0">
                  <a:pos x="552" y="348"/>
                </a:cxn>
                <a:cxn ang="0">
                  <a:pos x="554" y="355"/>
                </a:cxn>
                <a:cxn ang="0">
                  <a:pos x="556" y="361"/>
                </a:cxn>
                <a:cxn ang="0">
                  <a:pos x="556" y="457"/>
                </a:cxn>
                <a:cxn ang="0">
                  <a:pos x="434" y="457"/>
                </a:cxn>
                <a:cxn ang="0">
                  <a:pos x="434" y="389"/>
                </a:cxn>
                <a:cxn ang="0">
                  <a:pos x="278" y="296"/>
                </a:cxn>
              </a:cxnLst>
              <a:rect l="0" t="0" r="r" b="b"/>
              <a:pathLst>
                <a:path w="556" h="457">
                  <a:moveTo>
                    <a:pt x="278" y="296"/>
                  </a:moveTo>
                  <a:lnTo>
                    <a:pt x="122" y="389"/>
                  </a:lnTo>
                  <a:lnTo>
                    <a:pt x="122" y="457"/>
                  </a:lnTo>
                  <a:lnTo>
                    <a:pt x="0" y="457"/>
                  </a:lnTo>
                  <a:lnTo>
                    <a:pt x="0" y="361"/>
                  </a:lnTo>
                  <a:lnTo>
                    <a:pt x="1" y="355"/>
                  </a:lnTo>
                  <a:lnTo>
                    <a:pt x="3" y="348"/>
                  </a:lnTo>
                  <a:lnTo>
                    <a:pt x="6" y="341"/>
                  </a:lnTo>
                  <a:lnTo>
                    <a:pt x="9" y="335"/>
                  </a:lnTo>
                  <a:lnTo>
                    <a:pt x="13" y="329"/>
                  </a:lnTo>
                  <a:lnTo>
                    <a:pt x="17" y="324"/>
                  </a:lnTo>
                  <a:lnTo>
                    <a:pt x="23" y="318"/>
                  </a:lnTo>
                  <a:lnTo>
                    <a:pt x="27" y="317"/>
                  </a:lnTo>
                  <a:lnTo>
                    <a:pt x="30" y="315"/>
                  </a:lnTo>
                  <a:lnTo>
                    <a:pt x="176" y="229"/>
                  </a:lnTo>
                  <a:lnTo>
                    <a:pt x="30" y="143"/>
                  </a:lnTo>
                  <a:lnTo>
                    <a:pt x="23" y="139"/>
                  </a:lnTo>
                  <a:lnTo>
                    <a:pt x="21" y="137"/>
                  </a:lnTo>
                  <a:lnTo>
                    <a:pt x="17" y="133"/>
                  </a:lnTo>
                  <a:lnTo>
                    <a:pt x="13" y="129"/>
                  </a:lnTo>
                  <a:lnTo>
                    <a:pt x="9" y="122"/>
                  </a:lnTo>
                  <a:lnTo>
                    <a:pt x="6" y="117"/>
                  </a:lnTo>
                  <a:lnTo>
                    <a:pt x="3" y="110"/>
                  </a:lnTo>
                  <a:lnTo>
                    <a:pt x="1" y="104"/>
                  </a:lnTo>
                  <a:lnTo>
                    <a:pt x="0" y="96"/>
                  </a:lnTo>
                  <a:lnTo>
                    <a:pt x="0" y="0"/>
                  </a:lnTo>
                  <a:lnTo>
                    <a:pt x="122" y="0"/>
                  </a:lnTo>
                  <a:lnTo>
                    <a:pt x="122" y="68"/>
                  </a:lnTo>
                  <a:lnTo>
                    <a:pt x="278" y="162"/>
                  </a:lnTo>
                  <a:lnTo>
                    <a:pt x="434" y="68"/>
                  </a:lnTo>
                  <a:lnTo>
                    <a:pt x="434" y="0"/>
                  </a:lnTo>
                  <a:lnTo>
                    <a:pt x="556" y="0"/>
                  </a:lnTo>
                  <a:lnTo>
                    <a:pt x="556" y="96"/>
                  </a:lnTo>
                  <a:lnTo>
                    <a:pt x="554" y="104"/>
                  </a:lnTo>
                  <a:lnTo>
                    <a:pt x="552" y="110"/>
                  </a:lnTo>
                  <a:lnTo>
                    <a:pt x="550" y="117"/>
                  </a:lnTo>
                  <a:lnTo>
                    <a:pt x="546" y="122"/>
                  </a:lnTo>
                  <a:lnTo>
                    <a:pt x="543" y="129"/>
                  </a:lnTo>
                  <a:lnTo>
                    <a:pt x="538" y="133"/>
                  </a:lnTo>
                  <a:lnTo>
                    <a:pt x="532" y="139"/>
                  </a:lnTo>
                  <a:lnTo>
                    <a:pt x="529" y="141"/>
                  </a:lnTo>
                  <a:lnTo>
                    <a:pt x="525" y="143"/>
                  </a:lnTo>
                  <a:lnTo>
                    <a:pt x="383" y="228"/>
                  </a:lnTo>
                  <a:lnTo>
                    <a:pt x="525" y="315"/>
                  </a:lnTo>
                  <a:lnTo>
                    <a:pt x="532" y="318"/>
                  </a:lnTo>
                  <a:lnTo>
                    <a:pt x="535" y="322"/>
                  </a:lnTo>
                  <a:lnTo>
                    <a:pt x="538" y="324"/>
                  </a:lnTo>
                  <a:lnTo>
                    <a:pt x="543" y="329"/>
                  </a:lnTo>
                  <a:lnTo>
                    <a:pt x="546" y="335"/>
                  </a:lnTo>
                  <a:lnTo>
                    <a:pt x="550" y="341"/>
                  </a:lnTo>
                  <a:lnTo>
                    <a:pt x="552" y="348"/>
                  </a:lnTo>
                  <a:lnTo>
                    <a:pt x="554" y="355"/>
                  </a:lnTo>
                  <a:lnTo>
                    <a:pt x="556" y="361"/>
                  </a:lnTo>
                  <a:lnTo>
                    <a:pt x="556" y="457"/>
                  </a:lnTo>
                  <a:lnTo>
                    <a:pt x="434" y="457"/>
                  </a:lnTo>
                  <a:lnTo>
                    <a:pt x="434" y="389"/>
                  </a:lnTo>
                  <a:lnTo>
                    <a:pt x="278" y="2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nvGrpSpPr>
          <p:cNvPr id="3" name="94 Grupo"/>
          <p:cNvGrpSpPr/>
          <p:nvPr userDrawn="1"/>
        </p:nvGrpSpPr>
        <p:grpSpPr>
          <a:xfrm>
            <a:off x="6294710" y="5733256"/>
            <a:ext cx="2453754" cy="601982"/>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9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0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6" name="Group 5"/>
            <p:cNvGrpSpPr>
              <a:grpSpLocks noChangeAspect="1"/>
            </p:cNvGrpSpPr>
            <p:nvPr userDrawn="1"/>
          </p:nvGrpSpPr>
          <p:grpSpPr bwMode="auto">
            <a:xfrm>
              <a:off x="6300192" y="2768810"/>
              <a:ext cx="791493" cy="248083"/>
              <a:chOff x="1066" y="543"/>
              <a:chExt cx="2262" cy="709"/>
            </a:xfrm>
            <a:grpFill/>
          </p:grpSpPr>
          <p:sp>
            <p:nvSpPr>
              <p:cNvPr id="92"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3"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4"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9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sp>
        <p:nvSpPr>
          <p:cNvPr id="55" name="Title 54"/>
          <p:cNvSpPr>
            <a:spLocks noGrp="1"/>
          </p:cNvSpPr>
          <p:nvPr>
            <p:ph type="title"/>
          </p:nvPr>
        </p:nvSpPr>
        <p:spPr>
          <a:xfrm>
            <a:off x="304800" y="5257800"/>
            <a:ext cx="5760000" cy="320040"/>
          </a:xfrm>
        </p:spPr>
        <p:txBody>
          <a:bodyPr wrap="none" tIns="0" bIns="0"/>
          <a:lstStyle>
            <a:lvl1pPr>
              <a:lnSpc>
                <a:spcPct val="100000"/>
              </a:lnSpc>
              <a:defRPr sz="2800">
                <a:solidFill>
                  <a:srgbClr val="FFFFFF"/>
                </a:solidFill>
              </a:defRPr>
            </a:lvl1pPr>
          </a:lstStyle>
          <a:p>
            <a:r>
              <a:rPr lang="en-US" dirty="0" smtClean="0"/>
              <a:t>Click to edit Master title style</a:t>
            </a:r>
            <a:endParaRPr lang="en-US" dirty="0"/>
          </a:p>
        </p:txBody>
      </p:sp>
      <p:sp>
        <p:nvSpPr>
          <p:cNvPr id="61" name="Subtitle 2"/>
          <p:cNvSpPr>
            <a:spLocks noGrp="1"/>
          </p:cNvSpPr>
          <p:nvPr>
            <p:ph type="subTitle" idx="1"/>
          </p:nvPr>
        </p:nvSpPr>
        <p:spPr>
          <a:xfrm>
            <a:off x="304800" y="5605290"/>
            <a:ext cx="5760000" cy="274320"/>
          </a:xfrm>
          <a:prstGeom prst="rect">
            <a:avLst/>
          </a:prstGeom>
        </p:spPr>
        <p:txBody>
          <a:bodyPr wrap="none" tIns="0" bIns="0" anchor="ctr">
            <a:noAutofit/>
          </a:bodyPr>
          <a:lstStyle>
            <a:lvl1pPr marL="0" indent="0" algn="l">
              <a:spcBef>
                <a:spcPts val="0"/>
              </a:spcBef>
              <a:buNone/>
              <a:defRPr lang="en-US" sz="2400" b="1" u="none" kern="1200" dirty="0">
                <a:solidFill>
                  <a:schemeClr val="bg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92162"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9688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93186" name="think-cell Slide" r:id="rId3" imgW="270" imgH="270" progId="">
              <p:embed/>
            </p:oleObj>
          </a:graphicData>
        </a:graphic>
      </p:graphicFrame>
      <p:sp>
        <p:nvSpPr>
          <p:cNvPr id="5" name="Text Placeholder 4"/>
          <p:cNvSpPr>
            <a:spLocks noGrp="1"/>
          </p:cNvSpPr>
          <p:nvPr>
            <p:ph type="body" sz="quarter" idx="11"/>
          </p:nvPr>
        </p:nvSpPr>
        <p:spPr>
          <a:xfrm>
            <a:off x="323850" y="1196975"/>
            <a:ext cx="8496300" cy="40608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raph with Summary Box">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94210" name="think-cell Slide" r:id="rId3" imgW="270" imgH="270" progId="">
              <p:embed/>
            </p:oleObj>
          </a:graphicData>
        </a:graphic>
      </p:graphicFrame>
      <p:sp>
        <p:nvSpPr>
          <p:cNvPr id="10" name="Text Placeholder 7"/>
          <p:cNvSpPr>
            <a:spLocks noGrp="1"/>
          </p:cNvSpPr>
          <p:nvPr>
            <p:ph type="body" sz="quarter" idx="12"/>
          </p:nvPr>
        </p:nvSpPr>
        <p:spPr>
          <a:xfrm>
            <a:off x="324612" y="5410200"/>
            <a:ext cx="8494776" cy="640080"/>
          </a:xfrm>
          <a:prstGeom prst="rect">
            <a:avLst/>
          </a:prstGeom>
          <a:solidFill>
            <a:srgbClr val="E2E2E2"/>
          </a:solidFill>
        </p:spPr>
        <p:txBody>
          <a:bodyPr lIns="274320" tIns="91440" rIns="274320" bIns="91440" anchor="ctr">
            <a:normAutofit/>
          </a:bodyPr>
          <a:lstStyle>
            <a:lvl1pPr marL="0" indent="0" algn="ctr">
              <a:lnSpc>
                <a:spcPct val="80000"/>
              </a:lnSpc>
              <a:spcBef>
                <a:spcPts val="200"/>
              </a:spcBef>
              <a:buNone/>
              <a:defRPr lang="en-US" sz="2000" b="1" u="none" kern="0" dirty="0" smtClean="0">
                <a:solidFill>
                  <a:schemeClr val="accent1"/>
                </a:solidFill>
                <a:latin typeface="Calibri" pitchFamily="34" charset="0"/>
                <a:ea typeface="+mn-ea"/>
                <a:cs typeface="Calibri" pitchFamily="34" charset="0"/>
              </a:defRPr>
            </a:lvl1pPr>
          </a:lstStyle>
          <a:p>
            <a:pPr lvl="0"/>
            <a:r>
              <a:rPr lang="en-US" smtClean="0"/>
              <a:t>Click to edit Master text styles</a:t>
            </a:r>
          </a:p>
        </p:txBody>
      </p:sp>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3" name="Slide Number Placeholder 12"/>
          <p:cNvSpPr>
            <a:spLocks noGrp="1"/>
          </p:cNvSpPr>
          <p:nvPr>
            <p:ph type="sldNum" sz="quarter" idx="13"/>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95234"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304800"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lick to edit Master text styles</a:t>
            </a:r>
          </a:p>
        </p:txBody>
      </p:sp>
      <p:sp>
        <p:nvSpPr>
          <p:cNvPr id="5" name="Text Placeholder 5"/>
          <p:cNvSpPr>
            <a:spLocks noGrp="1"/>
          </p:cNvSpPr>
          <p:nvPr>
            <p:ph type="body" sz="quarter" idx="12"/>
          </p:nvPr>
        </p:nvSpPr>
        <p:spPr>
          <a:xfrm>
            <a:off x="304801"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3" name="Text Placeholder 3"/>
          <p:cNvSpPr>
            <a:spLocks noGrp="1"/>
          </p:cNvSpPr>
          <p:nvPr>
            <p:ph type="body" sz="quarter" idx="13"/>
          </p:nvPr>
        </p:nvSpPr>
        <p:spPr>
          <a:xfrm>
            <a:off x="4876801" y="1371600"/>
            <a:ext cx="3960000" cy="468000"/>
          </a:xfrm>
          <a:solidFill>
            <a:schemeClr val="accent2"/>
          </a:solidFill>
          <a:ln w="12700" algn="ctr">
            <a:solidFill>
              <a:schemeClr val="accent2"/>
            </a:solidFill>
            <a:miter lim="800000"/>
            <a:headEnd/>
            <a:tailEnd/>
          </a:ln>
        </p:spPr>
        <p:txBody>
          <a:bodyPr lIns="36000" tIns="36000" rIns="36000" bIns="36000" anchor="ctr" anchorCtr="1">
            <a:noAutofit/>
          </a:bodyPr>
          <a:lstStyle>
            <a:lvl1pPr>
              <a:defRPr kumimoji="0" lang="en-US" sz="1600" b="1" i="0" u="none" strike="noStrike" kern="0" cap="none" spc="0" normalizeH="0" baseline="0" smtClean="0">
                <a:ln>
                  <a:noFill/>
                </a:ln>
                <a:solidFill>
                  <a:srgbClr val="FFFFFF"/>
                </a:solidFill>
                <a:effectLst/>
                <a:uLnTx/>
                <a:uFillTx/>
                <a:latin typeface="+mj-lt"/>
                <a:ea typeface="+mn-ea"/>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ext styles</a:t>
            </a:r>
          </a:p>
        </p:txBody>
      </p:sp>
      <p:sp>
        <p:nvSpPr>
          <p:cNvPr id="14" name="Text Placeholder 5"/>
          <p:cNvSpPr>
            <a:spLocks noGrp="1"/>
          </p:cNvSpPr>
          <p:nvPr>
            <p:ph type="body" sz="quarter" idx="14"/>
          </p:nvPr>
        </p:nvSpPr>
        <p:spPr>
          <a:xfrm>
            <a:off x="4876802" y="1848958"/>
            <a:ext cx="3960000" cy="3960000"/>
          </a:xfrm>
          <a:noFill/>
          <a:ln w="12700" algn="ctr">
            <a:solidFill>
              <a:schemeClr val="tx1"/>
            </a:solidFill>
            <a:miter lim="800000"/>
            <a:headEnd/>
            <a:tailEnd/>
          </a:ln>
        </p:spPr>
        <p:txBody>
          <a:bodyPr lIns="108000" tIns="144000" rIns="108000" bIns="108000">
            <a:noAutofit/>
          </a:bodyPr>
          <a:lstStyle>
            <a:lvl1pPr marL="174625" indent="-174625" algn="l" rtl="0" fontAlgn="base">
              <a:spcBef>
                <a:spcPts val="600"/>
              </a:spcBef>
              <a:spcAft>
                <a:spcPts val="0"/>
              </a:spcAft>
              <a:buClr>
                <a:srgbClr val="4673B9"/>
              </a:buClr>
              <a:buSzPct val="100000"/>
              <a:defRPr lang="en-US" sz="1600" b="1" kern="1200" smtClean="0">
                <a:solidFill>
                  <a:schemeClr val="tx1"/>
                </a:solidFill>
                <a:latin typeface="+mj-lt"/>
                <a:ea typeface="+mn-ea"/>
                <a:cs typeface="Arial" charset="0"/>
              </a:defRPr>
            </a:lvl1pPr>
            <a:lvl2pPr marL="174625" indent="-174625" algn="l" rtl="0" fontAlgn="base">
              <a:spcBef>
                <a:spcPts val="600"/>
              </a:spcBef>
              <a:spcAft>
                <a:spcPts val="0"/>
              </a:spcAft>
              <a:buClr>
                <a:schemeClr val="accent1"/>
              </a:buClr>
              <a:buSzPct val="100000"/>
              <a:defRPr lang="en-US" sz="1600" b="1" kern="1200" smtClean="0">
                <a:solidFill>
                  <a:schemeClr val="tx1"/>
                </a:solidFill>
                <a:latin typeface="+mj-lt"/>
                <a:ea typeface="+mn-ea"/>
                <a:cs typeface="Arial" charset="0"/>
              </a:defRPr>
            </a:lvl2pPr>
            <a:lvl3pPr marL="534988"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3pPr>
            <a:lvl4pPr marL="893763" indent="-174625" algn="l" rtl="0" fontAlgn="base">
              <a:spcBef>
                <a:spcPts val="600"/>
              </a:spcBef>
              <a:spcAft>
                <a:spcPts val="0"/>
              </a:spcAft>
              <a:buClr>
                <a:schemeClr val="accent1"/>
              </a:buClr>
              <a:buSzPct val="100000"/>
              <a:defRPr lang="en-US" sz="1600" b="0" kern="1200" smtClean="0">
                <a:solidFill>
                  <a:schemeClr val="tx1"/>
                </a:solidFill>
                <a:latin typeface="+mj-lt"/>
                <a:ea typeface="+mn-ea"/>
                <a:cs typeface="Arial" charset="0"/>
              </a:defRPr>
            </a:lvl4pPr>
            <a:lvl5pPr marL="1254125" indent="-174625" algn="l" rtl="0" fontAlgn="base">
              <a:spcBef>
                <a:spcPts val="600"/>
              </a:spcBef>
              <a:spcAft>
                <a:spcPts val="0"/>
              </a:spcAft>
              <a:buClr>
                <a:schemeClr val="accent1"/>
              </a:buClr>
              <a:buSzPct val="100000"/>
              <a:defRPr lang="en-US" sz="1600" b="0" kern="1200" dirty="0" smtClean="0">
                <a:solidFill>
                  <a:schemeClr val="tx1"/>
                </a:solidFill>
                <a:latin typeface="+mj-lt"/>
                <a:ea typeface="+mn-ea"/>
                <a:cs typeface="Arial"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96258"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9" name="Text Placeholder 18"/>
          <p:cNvSpPr>
            <a:spLocks noGrp="1"/>
          </p:cNvSpPr>
          <p:nvPr>
            <p:ph type="body" sz="quarter" idx="11"/>
          </p:nvPr>
        </p:nvSpPr>
        <p:spPr>
          <a:xfrm>
            <a:off x="762000" y="2971800"/>
            <a:ext cx="7620000" cy="685800"/>
          </a:xfrm>
        </p:spPr>
        <p:txBody>
          <a:bodyPr anchor="ctr" anchorCtr="1">
            <a:normAutofit/>
          </a:bodyPr>
          <a:lstStyle>
            <a:lvl1pPr algn="ctr">
              <a:defRPr sz="2800"/>
            </a:lvl1pPr>
          </a:lstStyle>
          <a:p>
            <a:pPr lvl="0"/>
            <a:r>
              <a:rPr lang="en-US" smtClean="0"/>
              <a:t>Click to edit Master text styles</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97282" name="think-cell Slide" r:id="rId3" imgW="270" imgH="270" progId="">
              <p:embed/>
            </p:oleObj>
          </a:graphicData>
        </a:graphic>
      </p:graphicFrame>
      <p:sp>
        <p:nvSpPr>
          <p:cNvPr id="15" name="Title 14"/>
          <p:cNvSpPr>
            <a:spLocks noGrp="1"/>
          </p:cNvSpPr>
          <p:nvPr>
            <p:ph type="title"/>
          </p:nvPr>
        </p:nvSpPr>
        <p:spPr/>
        <p:txBody>
          <a:bodyPr/>
          <a:lstStyle/>
          <a:p>
            <a:r>
              <a:rPr lang="en-US" smtClean="0"/>
              <a:t>Click to edit Master title style</a:t>
            </a:r>
            <a:endParaRPr lang="en-US"/>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905"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048"/>
            </a:lvl1pPr>
            <a:lvl2pPr marL="435437" indent="0">
              <a:buNone/>
              <a:defRPr sz="2667"/>
            </a:lvl2pPr>
            <a:lvl3pPr marL="870875" indent="0">
              <a:buNone/>
              <a:defRPr sz="2286"/>
            </a:lvl3pPr>
            <a:lvl4pPr marL="1306312" indent="0">
              <a:buNone/>
              <a:defRPr sz="1905"/>
            </a:lvl4pPr>
            <a:lvl5pPr marL="1741749" indent="0">
              <a:buNone/>
              <a:defRPr sz="1905"/>
            </a:lvl5pPr>
            <a:lvl6pPr marL="2177186" indent="0">
              <a:buNone/>
              <a:defRPr sz="1905"/>
            </a:lvl6pPr>
            <a:lvl7pPr marL="2612624" indent="0">
              <a:buNone/>
              <a:defRPr sz="1905"/>
            </a:lvl7pPr>
            <a:lvl8pPr marL="3048061" indent="0">
              <a:buNone/>
              <a:defRPr sz="1905"/>
            </a:lvl8pPr>
            <a:lvl9pPr marL="3483498" indent="0">
              <a:buNone/>
              <a:defRPr sz="1905"/>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333"/>
            </a:lvl1pPr>
            <a:lvl2pPr marL="435437" indent="0">
              <a:buNone/>
              <a:defRPr sz="1143"/>
            </a:lvl2pPr>
            <a:lvl3pPr marL="870875" indent="0">
              <a:buNone/>
              <a:defRPr sz="952"/>
            </a:lvl3pPr>
            <a:lvl4pPr marL="1306312" indent="0">
              <a:buNone/>
              <a:defRPr sz="857"/>
            </a:lvl4pPr>
            <a:lvl5pPr marL="1741749" indent="0">
              <a:buNone/>
              <a:defRPr sz="857"/>
            </a:lvl5pPr>
            <a:lvl6pPr marL="2177186" indent="0">
              <a:buNone/>
              <a:defRPr sz="857"/>
            </a:lvl6pPr>
            <a:lvl7pPr marL="2612624" indent="0">
              <a:buNone/>
              <a:defRPr sz="857"/>
            </a:lvl7pPr>
            <a:lvl8pPr marL="3048061" indent="0">
              <a:buNone/>
              <a:defRPr sz="857"/>
            </a:lvl8pPr>
            <a:lvl9pPr marL="3483498" indent="0">
              <a:buNone/>
              <a:defRPr sz="857"/>
            </a:lvl9pPr>
          </a:lstStyle>
          <a:p>
            <a:pPr lvl="0"/>
            <a:r>
              <a:rPr lang="en-US" smtClean="0"/>
              <a:t>Click to edit Master text styles</a:t>
            </a:r>
          </a:p>
        </p:txBody>
      </p:sp>
    </p:spTree>
    <p:extLst>
      <p:ext uri="{BB962C8B-B14F-4D97-AF65-F5344CB8AC3E}">
        <p14:creationId xmlns="" xmlns:p14="http://schemas.microsoft.com/office/powerpoint/2010/main" val="3947006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Graph title">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98306" name="think-cell Slide" r:id="rId3" imgW="270" imgH="270" progId="">
              <p:embed/>
            </p:oleObj>
          </a:graphicData>
        </a:graphic>
      </p:graphicFrame>
      <p:sp>
        <p:nvSpPr>
          <p:cNvPr id="15" name="Title 14"/>
          <p:cNvSpPr>
            <a:spLocks noGrp="1"/>
          </p:cNvSpPr>
          <p:nvPr>
            <p:ph type="title"/>
          </p:nvPr>
        </p:nvSpPr>
        <p:spPr/>
        <p:txBody>
          <a:bodyPr/>
          <a:lstStyle/>
          <a:p>
            <a:r>
              <a:rPr lang="en-US" dirty="0" smtClean="0"/>
              <a:t>Click to edit Master title style</a:t>
            </a:r>
            <a:endParaRPr lang="en-US" dirty="0"/>
          </a:p>
        </p:txBody>
      </p:sp>
      <p:sp>
        <p:nvSpPr>
          <p:cNvPr id="10" name="Slide Number Placeholder 9"/>
          <p:cNvSpPr>
            <a:spLocks noGrp="1"/>
          </p:cNvSpPr>
          <p:nvPr>
            <p:ph type="sldNum" sz="quarter" idx="10"/>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16" name="Subtitle 2"/>
          <p:cNvSpPr>
            <a:spLocks noGrp="1"/>
          </p:cNvSpPr>
          <p:nvPr>
            <p:ph type="subTitle" idx="1" hasCustomPrompt="1"/>
          </p:nvPr>
        </p:nvSpPr>
        <p:spPr>
          <a:xfrm>
            <a:off x="1692000" y="1219200"/>
            <a:ext cx="5760000" cy="274320"/>
          </a:xfrm>
          <a:prstGeom prst="rect">
            <a:avLst/>
          </a:prstGeom>
        </p:spPr>
        <p:txBody>
          <a:bodyPr wrap="none" tIns="0" bIns="0" anchor="t">
            <a:noAutofit/>
          </a:bodyPr>
          <a:lstStyle>
            <a:lvl1pPr marL="0" indent="0" algn="ctr">
              <a:spcBef>
                <a:spcPts val="0"/>
              </a:spcBef>
              <a:buNone/>
              <a:defRPr lang="en-US" sz="2000" b="1" u="none" kern="1200" dirty="0">
                <a:solidFill>
                  <a:schemeClr val="tx1"/>
                </a:solidFill>
                <a:latin typeface="Calibri" pitchFamily="34"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Graph title</a:t>
            </a:r>
            <a:endParaRPr lang="en-US" dirty="0"/>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19" name="Object 118" hidden="1"/>
          <p:cNvGraphicFramePr>
            <a:graphicFrameLocks noChangeAspect="1"/>
          </p:cNvGraphicFramePr>
          <p:nvPr/>
        </p:nvGraphicFramePr>
        <p:xfrm>
          <a:off x="1587" y="1588"/>
          <a:ext cx="1587" cy="1587"/>
        </p:xfrm>
        <a:graphic>
          <a:graphicData uri="http://schemas.openxmlformats.org/presentationml/2006/ole">
            <p:oleObj spid="_x0000_s99330" name="think-cell Slide" r:id="rId3" imgW="270" imgH="270" progId="">
              <p:embed/>
            </p:oleObj>
          </a:graphicData>
        </a:graphic>
      </p:graphicFrame>
      <p:sp>
        <p:nvSpPr>
          <p:cNvPr id="5" name="Text Placeholder 4"/>
          <p:cNvSpPr>
            <a:spLocks noGrp="1"/>
          </p:cNvSpPr>
          <p:nvPr>
            <p:ph type="body" sz="quarter" idx="11"/>
          </p:nvPr>
        </p:nvSpPr>
        <p:spPr>
          <a:xfrm>
            <a:off x="323850" y="1447800"/>
            <a:ext cx="8496300" cy="4718050"/>
          </a:xfrm>
          <a:prstGeom prst="rect">
            <a:avLst/>
          </a:prstGeom>
        </p:spPr>
        <p:txBody>
          <a:bodyPr/>
          <a:lstStyle>
            <a:lvl1pPr>
              <a:spcBef>
                <a:spcPts val="900"/>
              </a:spcBef>
              <a:buFont typeface="Arial" pitchFamily="34" charset="0"/>
              <a:buNone/>
              <a:defRPr/>
            </a:lvl1pPr>
            <a:lvl2pPr marL="346075" indent="12700">
              <a:spcBef>
                <a:spcPts val="900"/>
              </a:spcBef>
              <a:buNone/>
              <a:defRPr/>
            </a:lvl2pPr>
            <a:lvl3pPr marL="631825" indent="-273050">
              <a:spcBef>
                <a:spcPts val="900"/>
              </a:spcBef>
              <a:defRPr/>
            </a:lvl3pPr>
            <a:lvl4pPr>
              <a:spcBef>
                <a:spcPts val="900"/>
              </a:spcBef>
              <a:defRPr/>
            </a:lvl4pPr>
            <a:lvl5pPr>
              <a:spcBef>
                <a:spcPts val="9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lide Number Placeholder 9"/>
          <p:cNvSpPr>
            <a:spLocks noGrp="1"/>
          </p:cNvSpPr>
          <p:nvPr>
            <p:ph type="sldNum" sz="quarter" idx="12"/>
          </p:nvPr>
        </p:nvSpPr>
        <p:spPr/>
        <p:txBody>
          <a:bodyPr/>
          <a:lstStyle/>
          <a:p>
            <a:fld id="{68B69B99-4CC0-4C77-940D-C46156F4FC2E}" type="slidenum">
              <a:rPr lang="en-US" smtClean="0">
                <a:solidFill>
                  <a:srgbClr val="FFFFFF"/>
                </a:solidFill>
              </a:rPr>
              <a:pPr/>
              <a:t>‹#›</a:t>
            </a:fld>
            <a:endParaRPr lang="en-US" dirty="0">
              <a:solidFill>
                <a:srgbClr val="FFFFFF"/>
              </a:solidFill>
            </a:endParaRPr>
          </a:p>
        </p:txBody>
      </p:sp>
      <p:sp>
        <p:nvSpPr>
          <p:cNvPr id="78" name="Title 1"/>
          <p:cNvSpPr>
            <a:spLocks noGrp="1"/>
          </p:cNvSpPr>
          <p:nvPr>
            <p:ph type="title"/>
          </p:nvPr>
        </p:nvSpPr>
        <p:spPr>
          <a:xfrm>
            <a:off x="107504" y="346646"/>
            <a:ext cx="5760640" cy="562074"/>
          </a:xfrm>
        </p:spPr>
        <p:txBody>
          <a:bodyPr anchor="ctr"/>
          <a:lstStyle>
            <a:lvl1pPr>
              <a:lnSpc>
                <a:spcPct val="100000"/>
              </a:lnSpc>
              <a:defRPr sz="2400"/>
            </a:lvl1pPr>
          </a:lstStyle>
          <a:p>
            <a:endParaRPr lang="en-US" dirty="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000000"/>
        </a:solidFill>
        <a:effectLst/>
      </p:bgPr>
    </p:bg>
    <p:spTree>
      <p:nvGrpSpPr>
        <p:cNvPr id="1" name=""/>
        <p:cNvGrpSpPr/>
        <p:nvPr/>
      </p:nvGrpSpPr>
      <p:grpSpPr>
        <a:xfrm>
          <a:off x="0" y="0"/>
          <a:ext cx="0" cy="0"/>
          <a:chOff x="0" y="0"/>
          <a:chExt cx="0" cy="0"/>
        </a:xfrm>
      </p:grpSpPr>
      <p:grpSp>
        <p:nvGrpSpPr>
          <p:cNvPr id="2" name="Group 40"/>
          <p:cNvGrpSpPr/>
          <p:nvPr userDrawn="1"/>
        </p:nvGrpSpPr>
        <p:grpSpPr>
          <a:xfrm>
            <a:off x="7020272" y="6273680"/>
            <a:ext cx="1761084" cy="432048"/>
            <a:chOff x="7020272" y="332656"/>
            <a:chExt cx="1761084" cy="432048"/>
          </a:xfrm>
        </p:grpSpPr>
        <p:grpSp>
          <p:nvGrpSpPr>
            <p:cNvPr id="3" name="51 Grupo"/>
            <p:cNvGrpSpPr/>
            <p:nvPr userDrawn="1"/>
          </p:nvGrpSpPr>
          <p:grpSpPr>
            <a:xfrm>
              <a:off x="7020272" y="341571"/>
              <a:ext cx="1761084" cy="423133"/>
              <a:chOff x="4860032" y="2780928"/>
              <a:chExt cx="2393756" cy="575145"/>
            </a:xfrm>
            <a:solidFill>
              <a:srgbClr val="FFFFFF"/>
            </a:solidFill>
          </p:grpSpPr>
          <p:grpSp>
            <p:nvGrpSpPr>
              <p:cNvPr id="4" name="65 Grupo"/>
              <p:cNvGrpSpPr/>
              <p:nvPr userDrawn="1"/>
            </p:nvGrpSpPr>
            <p:grpSpPr>
              <a:xfrm>
                <a:off x="5039214" y="2780928"/>
                <a:ext cx="1204546" cy="230882"/>
                <a:chOff x="6227763" y="5518150"/>
                <a:chExt cx="1449387" cy="277812"/>
              </a:xfrm>
              <a:grpFill/>
            </p:grpSpPr>
            <p:sp>
              <p:nvSpPr>
                <p:cNvPr id="7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49"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0"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1"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2"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3"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4"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5"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6"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7"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8"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59"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0"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1"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2"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3"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4"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5"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109 Rectángulo"/>
              <p:cNvSpPr/>
              <p:nvPr userDrawn="1"/>
            </p:nvSpPr>
            <p:spPr bwMode="auto">
              <a:xfrm>
                <a:off x="4860032" y="3079385"/>
                <a:ext cx="2393756" cy="37996"/>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5" name="Group 5"/>
            <p:cNvGrpSpPr>
              <a:grpSpLocks noChangeAspect="1"/>
            </p:cNvGrpSpPr>
            <p:nvPr userDrawn="1"/>
          </p:nvGrpSpPr>
          <p:grpSpPr bwMode="auto">
            <a:xfrm>
              <a:off x="8079796" y="332656"/>
              <a:ext cx="582301" cy="182514"/>
              <a:chOff x="1066" y="543"/>
              <a:chExt cx="2262" cy="709"/>
            </a:xfrm>
            <a:solidFill>
              <a:srgbClr val="FFFFFF"/>
            </a:solidFill>
          </p:grpSpPr>
          <p:sp>
            <p:nvSpPr>
              <p:cNvPr id="44"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5"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6"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47"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pic>
        <p:nvPicPr>
          <p:cNvPr id="77" name="Picture 3"/>
          <p:cNvPicPr>
            <a:picLocks noChangeAspect="1" noChangeArrowheads="1"/>
          </p:cNvPicPr>
          <p:nvPr userDrawn="1"/>
        </p:nvPicPr>
        <p:blipFill>
          <a:blip r:embed="rId2" cstate="screen"/>
          <a:srcRect/>
          <a:stretch>
            <a:fillRect/>
          </a:stretch>
        </p:blipFill>
        <p:spPr bwMode="auto">
          <a:xfrm>
            <a:off x="395536" y="6345688"/>
            <a:ext cx="1137016" cy="288032"/>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00866" name="Rectangle 2"/>
          <p:cNvSpPr>
            <a:spLocks noGrp="1" noChangeArrowheads="1"/>
          </p:cNvSpPr>
          <p:nvPr>
            <p:ph type="ctrTitle"/>
          </p:nvPr>
        </p:nvSpPr>
        <p:spPr>
          <a:xfrm>
            <a:off x="614363" y="1938338"/>
            <a:ext cx="7978775" cy="2087562"/>
          </a:xfrm>
        </p:spPr>
        <p:txBody>
          <a:bodyPr anchor="ctr"/>
          <a:lstStyle>
            <a:lvl1pPr algn="l">
              <a:defRPr sz="2800"/>
            </a:lvl1pPr>
          </a:lstStyle>
          <a:p>
            <a:r>
              <a:rPr lang="en-US"/>
              <a:t>Click to edit Master title style</a:t>
            </a:r>
          </a:p>
        </p:txBody>
      </p:sp>
      <p:sp>
        <p:nvSpPr>
          <p:cNvPr id="1700867" name="Rectangle 3"/>
          <p:cNvSpPr>
            <a:spLocks noGrp="1" noChangeArrowheads="1"/>
          </p:cNvSpPr>
          <p:nvPr>
            <p:ph type="subTitle" idx="1"/>
          </p:nvPr>
        </p:nvSpPr>
        <p:spPr>
          <a:xfrm>
            <a:off x="619125" y="4398963"/>
            <a:ext cx="7985125" cy="1423987"/>
          </a:xfrm>
        </p:spPr>
        <p:txBody>
          <a:bodyPr anchor="b"/>
          <a:lstStyle>
            <a:lvl1pPr>
              <a:defRPr b="0"/>
            </a:lvl1pPr>
          </a:lstStyle>
          <a:p>
            <a:r>
              <a:rPr lang="en-US"/>
              <a:t>Click to edit Master subtitle style</a:t>
            </a:r>
          </a:p>
        </p:txBody>
      </p:sp>
      <p:sp>
        <p:nvSpPr>
          <p:cNvPr id="7" name="Footer Placeholder 4"/>
          <p:cNvSpPr txBox="1">
            <a:spLocks/>
          </p:cNvSpPr>
          <p:nvPr/>
        </p:nvSpPr>
        <p:spPr>
          <a:xfrm>
            <a:off x="-6350" y="6597650"/>
            <a:ext cx="2897188" cy="268288"/>
          </a:xfrm>
          <a:prstGeom prst="rect">
            <a:avLst/>
          </a:prstGeom>
        </p:spPr>
        <p:txBody>
          <a:bodyPr anchor="b"/>
          <a:lstStyle/>
          <a:p>
            <a:pPr>
              <a:spcBef>
                <a:spcPct val="0"/>
              </a:spcBef>
              <a:defRPr/>
            </a:pPr>
            <a:r>
              <a:rPr lang="en-US" sz="600" dirty="0">
                <a:solidFill>
                  <a:srgbClr val="000000"/>
                </a:solidFill>
                <a:cs typeface="Arial" pitchFamily="34" charset="0"/>
              </a:rPr>
              <a:t>Copyright © 2009 CEMEX Research Group, AG</a:t>
            </a:r>
          </a:p>
        </p:txBody>
      </p:sp>
      <p:pic>
        <p:nvPicPr>
          <p:cNvPr id="1700869" name="Picture 15" descr="L FULL C ESPANOL-Ajpg"/>
          <p:cNvPicPr>
            <a:picLocks noChangeAspect="1" noChangeArrowheads="1"/>
          </p:cNvPicPr>
          <p:nvPr/>
        </p:nvPicPr>
        <p:blipFill>
          <a:blip r:embed="rId2" cstate="print"/>
          <a:srcRect/>
          <a:stretch>
            <a:fillRect/>
          </a:stretch>
        </p:blipFill>
        <p:spPr bwMode="auto">
          <a:xfrm>
            <a:off x="482600" y="677863"/>
            <a:ext cx="1924050" cy="558800"/>
          </a:xfrm>
          <a:prstGeom prst="rect">
            <a:avLst/>
          </a:prstGeom>
          <a:noFill/>
          <a:ln w="9525">
            <a:noFill/>
            <a:miter lim="800000"/>
            <a:headEnd/>
            <a:tailEnd/>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68313" y="1268413"/>
            <a:ext cx="4027487"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68413"/>
            <a:ext cx="4027488"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 xmlns:p14="http://schemas.microsoft.com/office/powerpoint/2010/main" val="2850643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4638" y="188913"/>
            <a:ext cx="2051050" cy="60483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68313" y="188913"/>
            <a:ext cx="6003925" cy="6048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68313" y="1114099"/>
            <a:ext cx="8207375" cy="512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6214971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381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905"/>
            </a:lvl1pPr>
            <a:lvl2pPr marL="435437" indent="0">
              <a:buNone/>
              <a:defRPr sz="1714"/>
            </a:lvl2pPr>
            <a:lvl3pPr marL="870875" indent="0">
              <a:buNone/>
              <a:defRPr sz="1524"/>
            </a:lvl3pPr>
            <a:lvl4pPr marL="1306312" indent="0">
              <a:buNone/>
              <a:defRPr sz="1333"/>
            </a:lvl4pPr>
            <a:lvl5pPr marL="1741749" indent="0">
              <a:buNone/>
              <a:defRPr sz="1333"/>
            </a:lvl5pPr>
            <a:lvl6pPr marL="2177186" indent="0">
              <a:buNone/>
              <a:defRPr sz="1333"/>
            </a:lvl6pPr>
            <a:lvl7pPr marL="2612624" indent="0">
              <a:buNone/>
              <a:defRPr sz="1333"/>
            </a:lvl7pPr>
            <a:lvl8pPr marL="3048061" indent="0">
              <a:buNone/>
              <a:defRPr sz="1333"/>
            </a:lvl8pPr>
            <a:lvl9pPr marL="3483498" indent="0">
              <a:buNone/>
              <a:defRPr sz="1333"/>
            </a:lvl9pPr>
          </a:lstStyle>
          <a:p>
            <a:pPr lvl="0"/>
            <a:r>
              <a:rPr lang="en-US" smtClean="0"/>
              <a:t>Click to edit Master text styles</a:t>
            </a:r>
          </a:p>
        </p:txBody>
      </p:sp>
    </p:spTree>
    <p:extLst>
      <p:ext uri="{BB962C8B-B14F-4D97-AF65-F5344CB8AC3E}">
        <p14:creationId xmlns:p14="http://schemas.microsoft.com/office/powerpoint/2010/main" xmlns="" val="33433356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68314" y="1268415"/>
            <a:ext cx="4027487" cy="4968875"/>
          </a:xfrm>
        </p:spPr>
        <p:txBody>
          <a:bodyPr/>
          <a:lstStyle>
            <a:lvl1pPr>
              <a:defRPr sz="2667"/>
            </a:lvl1pPr>
            <a:lvl2pPr>
              <a:defRPr sz="2286"/>
            </a:lvl2pPr>
            <a:lvl3pPr>
              <a:defRPr sz="1905"/>
            </a:lvl3pPr>
            <a:lvl4pPr>
              <a:defRPr sz="1714"/>
            </a:lvl4pPr>
            <a:lvl5pPr>
              <a:defRPr sz="1714"/>
            </a:lvl5pPr>
            <a:lvl6pPr>
              <a:defRPr sz="1714"/>
            </a:lvl6pPr>
            <a:lvl7pPr>
              <a:defRPr sz="1714"/>
            </a:lvl7pPr>
            <a:lvl8pPr>
              <a:defRPr sz="1714"/>
            </a:lvl8pPr>
            <a:lvl9pPr>
              <a:defRPr sz="171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68415"/>
            <a:ext cx="4027488" cy="4968875"/>
          </a:xfrm>
        </p:spPr>
        <p:txBody>
          <a:bodyPr/>
          <a:lstStyle>
            <a:lvl1pPr>
              <a:defRPr sz="2667"/>
            </a:lvl1pPr>
            <a:lvl2pPr>
              <a:defRPr sz="2286"/>
            </a:lvl2pPr>
            <a:lvl3pPr>
              <a:defRPr sz="1905"/>
            </a:lvl3pPr>
            <a:lvl4pPr>
              <a:defRPr sz="1714"/>
            </a:lvl4pPr>
            <a:lvl5pPr>
              <a:defRPr sz="1714"/>
            </a:lvl5pPr>
            <a:lvl6pPr>
              <a:defRPr sz="1714"/>
            </a:lvl6pPr>
            <a:lvl7pPr>
              <a:defRPr sz="1714"/>
            </a:lvl7pPr>
            <a:lvl8pPr>
              <a:defRPr sz="1714"/>
            </a:lvl8pPr>
            <a:lvl9pPr>
              <a:defRPr sz="171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715284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286"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286"/>
            </a:lvl1pPr>
            <a:lvl2pPr>
              <a:defRPr sz="1905"/>
            </a:lvl2pPr>
            <a:lvl3pPr>
              <a:defRPr sz="1714"/>
            </a:lvl3pPr>
            <a:lvl4pPr>
              <a:defRPr sz="1524"/>
            </a:lvl4pPr>
            <a:lvl5pPr>
              <a:defRPr sz="1524"/>
            </a:lvl5pPr>
            <a:lvl6pPr>
              <a:defRPr sz="1524"/>
            </a:lvl6pPr>
            <a:lvl7pPr>
              <a:defRPr sz="1524"/>
            </a:lvl7pPr>
            <a:lvl8pPr>
              <a:defRPr sz="1524"/>
            </a:lvl8pPr>
            <a:lvl9pPr>
              <a:defRPr sz="152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286"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286"/>
            </a:lvl1pPr>
            <a:lvl2pPr>
              <a:defRPr sz="1905"/>
            </a:lvl2pPr>
            <a:lvl3pPr>
              <a:defRPr sz="1714"/>
            </a:lvl3pPr>
            <a:lvl4pPr>
              <a:defRPr sz="1524"/>
            </a:lvl4pPr>
            <a:lvl5pPr>
              <a:defRPr sz="1524"/>
            </a:lvl5pPr>
            <a:lvl6pPr>
              <a:defRPr sz="1524"/>
            </a:lvl6pPr>
            <a:lvl7pPr>
              <a:defRPr sz="1524"/>
            </a:lvl7pPr>
            <a:lvl8pPr>
              <a:defRPr sz="1524"/>
            </a:lvl8pPr>
            <a:lvl9pPr>
              <a:defRPr sz="152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1973958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264577788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1791616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image" Target="../media/image1.jpeg"/><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1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vmlDrawing" Target="../drawings/vmlDrawing63.v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image" Target="../media/image8.jpeg"/><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oleObject" Target="../embeddings/oleObject63.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4.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oleObject" Target="../embeddings/oleObject3.bin"/><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vmlDrawing" Target="../drawings/vmlDrawing3.v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6.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oleObject" Target="../embeddings/oleObject13.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vmlDrawing" Target="../drawings/vmlDrawing13.v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4.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6.w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oleObject" Target="../embeddings/oleObject23.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vmlDrawing" Target="../drawings/vmlDrawing23.v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6.w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oleObject" Target="../embeddings/oleObject33.bin"/><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vmlDrawing" Target="../drawings/vmlDrawing33.v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heme" Target="../theme/theme6.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6.w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oleObject" Target="../embeddings/oleObject43.bin"/><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vmlDrawing" Target="../drawings/vmlDrawing43.v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7.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image" Target="../media/image6.w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oleObject" Target="../embeddings/oleObject53.bin"/><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vmlDrawing" Target="../drawings/vmlDrawing53.v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8.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image" Target="../media/image6.w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image" Target="../media/image1.jpe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9.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68691" y="188914"/>
            <a:ext cx="8206619" cy="7191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TITLE 1 (FONT 24 – CAPS – BLACK)</a:t>
            </a:r>
            <a:br>
              <a:rPr lang="en-US" smtClean="0"/>
            </a:br>
            <a:r>
              <a:rPr lang="en-US" smtClean="0"/>
              <a:t>Title 2 (Font 18 – Black - Bold)</a:t>
            </a:r>
          </a:p>
        </p:txBody>
      </p:sp>
      <p:sp>
        <p:nvSpPr>
          <p:cNvPr id="2051" name="Rectangle 3"/>
          <p:cNvSpPr>
            <a:spLocks noGrp="1" noChangeArrowheads="1"/>
          </p:cNvSpPr>
          <p:nvPr>
            <p:ph type="body" idx="1"/>
          </p:nvPr>
        </p:nvSpPr>
        <p:spPr bwMode="auto">
          <a:xfrm>
            <a:off x="468691" y="1268414"/>
            <a:ext cx="8206619" cy="4968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052" name="Picture 4" descr="L FULL C ESPANOL-Ajp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4237870" y="6597651"/>
            <a:ext cx="668262" cy="180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53" name="Footer Placeholder 4"/>
          <p:cNvSpPr txBox="1">
            <a:spLocks/>
          </p:cNvSpPr>
          <p:nvPr/>
        </p:nvSpPr>
        <p:spPr bwMode="auto">
          <a:xfrm>
            <a:off x="-6048" y="6597650"/>
            <a:ext cx="2896810" cy="268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1400" b="1">
                <a:solidFill>
                  <a:schemeClr val="tx1"/>
                </a:solidFill>
                <a:latin typeface="Arial" panose="020B0604020202020204" pitchFamily="34" charset="0"/>
                <a:cs typeface="Arial" panose="020B0604020202020204" pitchFamily="34" charset="0"/>
              </a:defRPr>
            </a:lvl1pPr>
            <a:lvl2pPr marL="742950" indent="-285750">
              <a:defRPr sz="1400" b="1">
                <a:solidFill>
                  <a:schemeClr val="tx1"/>
                </a:solidFill>
                <a:latin typeface="Arial" panose="020B0604020202020204" pitchFamily="34" charset="0"/>
                <a:cs typeface="Arial" panose="020B0604020202020204" pitchFamily="34" charset="0"/>
              </a:defRPr>
            </a:lvl2pPr>
            <a:lvl3pPr marL="1143000" indent="-228600">
              <a:defRPr sz="1400" b="1">
                <a:solidFill>
                  <a:schemeClr val="tx1"/>
                </a:solidFill>
                <a:latin typeface="Arial" panose="020B0604020202020204" pitchFamily="34" charset="0"/>
                <a:cs typeface="Arial" panose="020B0604020202020204" pitchFamily="34" charset="0"/>
              </a:defRPr>
            </a:lvl3pPr>
            <a:lvl4pPr marL="1600200" indent="-228600">
              <a:defRPr sz="1400" b="1">
                <a:solidFill>
                  <a:schemeClr val="tx1"/>
                </a:solidFill>
                <a:latin typeface="Arial" panose="020B0604020202020204" pitchFamily="34" charset="0"/>
                <a:cs typeface="Arial" panose="020B0604020202020204" pitchFamily="34" charset="0"/>
              </a:defRPr>
            </a:lvl4pPr>
            <a:lvl5pPr marL="2057400" indent="-228600">
              <a:defRPr sz="14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defRPr/>
            </a:pPr>
            <a:r>
              <a:rPr lang="en-US" sz="571" b="0" smtClean="0">
                <a:solidFill>
                  <a:srgbClr val="000000"/>
                </a:solidFill>
              </a:rPr>
              <a:t>Copyright © 2009-2011 CEMEX Research Group AG, Switzerland</a:t>
            </a:r>
          </a:p>
        </p:txBody>
      </p:sp>
      <p:sp>
        <p:nvSpPr>
          <p:cNvPr id="8" name="Text Box 5"/>
          <p:cNvSpPr txBox="1">
            <a:spLocks noChangeArrowheads="1"/>
          </p:cNvSpPr>
          <p:nvPr/>
        </p:nvSpPr>
        <p:spPr bwMode="auto">
          <a:xfrm>
            <a:off x="8771251" y="6657511"/>
            <a:ext cx="294953" cy="146515"/>
          </a:xfrm>
          <a:prstGeom prst="rect">
            <a:avLst/>
          </a:prstGeom>
          <a:noFill/>
          <a:ln w="9525">
            <a:noFill/>
            <a:miter lim="800000"/>
            <a:headEnd/>
            <a:tailEnd/>
          </a:ln>
          <a:effectLst/>
        </p:spPr>
        <p:txBody>
          <a:bodyPr wrap="none" lIns="0" tIns="0" rIns="0" bIns="0" anchor="b">
            <a:spAutoFit/>
          </a:bodyPr>
          <a:lstStyle>
            <a:lvl1pPr eaLnBrk="0" hangingPunct="0">
              <a:defRPr sz="1400" b="1">
                <a:solidFill>
                  <a:schemeClr val="tx1"/>
                </a:solidFill>
                <a:latin typeface="Arial" panose="020B0604020202020204" pitchFamily="34" charset="0"/>
                <a:cs typeface="Arial" panose="020B0604020202020204" pitchFamily="34" charset="0"/>
              </a:defRPr>
            </a:lvl1pPr>
            <a:lvl2pPr marL="742950" indent="-285750" eaLnBrk="0" hangingPunct="0">
              <a:defRPr sz="1400" b="1">
                <a:solidFill>
                  <a:schemeClr val="tx1"/>
                </a:solidFill>
                <a:latin typeface="Arial" panose="020B0604020202020204" pitchFamily="34" charset="0"/>
                <a:cs typeface="Arial" panose="020B0604020202020204" pitchFamily="34" charset="0"/>
              </a:defRPr>
            </a:lvl2pPr>
            <a:lvl3pPr marL="1143000" indent="-228600" eaLnBrk="0" hangingPunct="0">
              <a:defRPr sz="1400" b="1">
                <a:solidFill>
                  <a:schemeClr val="tx1"/>
                </a:solidFill>
                <a:latin typeface="Arial" panose="020B0604020202020204" pitchFamily="34" charset="0"/>
                <a:cs typeface="Arial" panose="020B0604020202020204" pitchFamily="34" charset="0"/>
              </a:defRPr>
            </a:lvl3pPr>
            <a:lvl4pPr marL="1600200" indent="-228600" eaLnBrk="0" hangingPunct="0">
              <a:defRPr sz="1400" b="1">
                <a:solidFill>
                  <a:schemeClr val="tx1"/>
                </a:solidFill>
                <a:latin typeface="Arial" panose="020B0604020202020204" pitchFamily="34" charset="0"/>
                <a:cs typeface="Arial" panose="020B0604020202020204" pitchFamily="34" charset="0"/>
              </a:defRPr>
            </a:lvl4pPr>
            <a:lvl5pPr marL="2057400" indent="-228600" eaLnBrk="0" hangingPunct="0">
              <a:defRPr sz="14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r>
              <a:rPr lang="en-US" sz="952" b="0" smtClean="0">
                <a:solidFill>
                  <a:srgbClr val="000000"/>
                </a:solidFill>
              </a:rPr>
              <a:t>- </a:t>
            </a:r>
            <a:fld id="{4D414732-F657-49AD-BD15-7A18C7B9247D}" type="slidenum">
              <a:rPr lang="en-US" sz="952" b="0" smtClean="0">
                <a:solidFill>
                  <a:srgbClr val="000000"/>
                </a:solidFill>
              </a:rPr>
              <a:pPr algn="ctr" eaLnBrk="1" fontAlgn="base" hangingPunct="1">
                <a:spcBef>
                  <a:spcPct val="0"/>
                </a:spcBef>
                <a:spcAft>
                  <a:spcPct val="0"/>
                </a:spcAft>
                <a:defRPr/>
              </a:pPr>
              <a:t>‹#›</a:t>
            </a:fld>
            <a:r>
              <a:rPr lang="en-US" sz="952" b="0" smtClean="0">
                <a:solidFill>
                  <a:srgbClr val="000000"/>
                </a:solidFill>
              </a:rPr>
              <a:t> -</a:t>
            </a:r>
          </a:p>
        </p:txBody>
      </p:sp>
    </p:spTree>
    <p:extLst>
      <p:ext uri="{BB962C8B-B14F-4D97-AF65-F5344CB8AC3E}">
        <p14:creationId xmlns="" xmlns:p14="http://schemas.microsoft.com/office/powerpoint/2010/main" val="306931912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txStyles>
    <p:titleStyle>
      <a:lvl1pPr algn="ctr" rtl="0" eaLnBrk="0" fontAlgn="base" hangingPunct="0">
        <a:spcBef>
          <a:spcPct val="0"/>
        </a:spcBef>
        <a:spcAft>
          <a:spcPct val="0"/>
        </a:spcAft>
        <a:defRPr sz="2286" b="1">
          <a:solidFill>
            <a:srgbClr val="000000"/>
          </a:solidFill>
          <a:latin typeface="+mj-lt"/>
          <a:ea typeface="+mj-ea"/>
          <a:cs typeface="+mj-cs"/>
        </a:defRPr>
      </a:lvl1pPr>
      <a:lvl2pPr algn="ctr" rtl="0" eaLnBrk="0" fontAlgn="base" hangingPunct="0">
        <a:spcBef>
          <a:spcPct val="0"/>
        </a:spcBef>
        <a:spcAft>
          <a:spcPct val="0"/>
        </a:spcAft>
        <a:defRPr sz="2286" b="1">
          <a:solidFill>
            <a:srgbClr val="000000"/>
          </a:solidFill>
          <a:latin typeface="Arial" charset="0"/>
          <a:cs typeface="Arial" charset="0"/>
        </a:defRPr>
      </a:lvl2pPr>
      <a:lvl3pPr algn="ctr" rtl="0" eaLnBrk="0" fontAlgn="base" hangingPunct="0">
        <a:spcBef>
          <a:spcPct val="0"/>
        </a:spcBef>
        <a:spcAft>
          <a:spcPct val="0"/>
        </a:spcAft>
        <a:defRPr sz="2286" b="1">
          <a:solidFill>
            <a:srgbClr val="000000"/>
          </a:solidFill>
          <a:latin typeface="Arial" charset="0"/>
          <a:cs typeface="Arial" charset="0"/>
        </a:defRPr>
      </a:lvl3pPr>
      <a:lvl4pPr algn="ctr" rtl="0" eaLnBrk="0" fontAlgn="base" hangingPunct="0">
        <a:spcBef>
          <a:spcPct val="0"/>
        </a:spcBef>
        <a:spcAft>
          <a:spcPct val="0"/>
        </a:spcAft>
        <a:defRPr sz="2286" b="1">
          <a:solidFill>
            <a:srgbClr val="000000"/>
          </a:solidFill>
          <a:latin typeface="Arial" charset="0"/>
          <a:cs typeface="Arial" charset="0"/>
        </a:defRPr>
      </a:lvl4pPr>
      <a:lvl5pPr algn="ctr" rtl="0" eaLnBrk="0" fontAlgn="base" hangingPunct="0">
        <a:spcBef>
          <a:spcPct val="0"/>
        </a:spcBef>
        <a:spcAft>
          <a:spcPct val="0"/>
        </a:spcAft>
        <a:defRPr sz="2286" b="1">
          <a:solidFill>
            <a:srgbClr val="000000"/>
          </a:solidFill>
          <a:latin typeface="Arial" charset="0"/>
          <a:cs typeface="Arial" charset="0"/>
        </a:defRPr>
      </a:lvl5pPr>
      <a:lvl6pPr marL="435437" algn="ctr" rtl="0" fontAlgn="base">
        <a:spcBef>
          <a:spcPct val="0"/>
        </a:spcBef>
        <a:spcAft>
          <a:spcPct val="0"/>
        </a:spcAft>
        <a:defRPr sz="2286" b="1">
          <a:solidFill>
            <a:srgbClr val="000000"/>
          </a:solidFill>
          <a:latin typeface="Arial" charset="0"/>
          <a:cs typeface="Arial" charset="0"/>
        </a:defRPr>
      </a:lvl6pPr>
      <a:lvl7pPr marL="870875" algn="ctr" rtl="0" fontAlgn="base">
        <a:spcBef>
          <a:spcPct val="0"/>
        </a:spcBef>
        <a:spcAft>
          <a:spcPct val="0"/>
        </a:spcAft>
        <a:defRPr sz="2286" b="1">
          <a:solidFill>
            <a:srgbClr val="000000"/>
          </a:solidFill>
          <a:latin typeface="Arial" charset="0"/>
          <a:cs typeface="Arial" charset="0"/>
        </a:defRPr>
      </a:lvl7pPr>
      <a:lvl8pPr marL="1306312" algn="ctr" rtl="0" fontAlgn="base">
        <a:spcBef>
          <a:spcPct val="0"/>
        </a:spcBef>
        <a:spcAft>
          <a:spcPct val="0"/>
        </a:spcAft>
        <a:defRPr sz="2286" b="1">
          <a:solidFill>
            <a:srgbClr val="000000"/>
          </a:solidFill>
          <a:latin typeface="Arial" charset="0"/>
          <a:cs typeface="Arial" charset="0"/>
        </a:defRPr>
      </a:lvl8pPr>
      <a:lvl9pPr marL="1741749" algn="ctr" rtl="0" fontAlgn="base">
        <a:spcBef>
          <a:spcPct val="0"/>
        </a:spcBef>
        <a:spcAft>
          <a:spcPct val="0"/>
        </a:spcAft>
        <a:defRPr sz="2286" b="1">
          <a:solidFill>
            <a:srgbClr val="000000"/>
          </a:solidFill>
          <a:latin typeface="Arial" charset="0"/>
          <a:cs typeface="Arial" charset="0"/>
        </a:defRPr>
      </a:lvl9pPr>
    </p:titleStyle>
    <p:bodyStyle>
      <a:lvl1pPr algn="l" rtl="0" eaLnBrk="0" fontAlgn="base" hangingPunct="0">
        <a:spcBef>
          <a:spcPct val="20000"/>
        </a:spcBef>
        <a:spcAft>
          <a:spcPct val="0"/>
        </a:spcAft>
        <a:buClr>
          <a:srgbClr val="3D6E81"/>
        </a:buClr>
        <a:defRPr sz="1524" b="1">
          <a:solidFill>
            <a:schemeClr val="tx1"/>
          </a:solidFill>
          <a:latin typeface="+mn-lt"/>
          <a:ea typeface="+mn-ea"/>
          <a:cs typeface="+mn-cs"/>
        </a:defRPr>
      </a:lvl1pPr>
      <a:lvl2pPr marL="338673" indent="-167825" algn="l" rtl="0" eaLnBrk="0" fontAlgn="base" hangingPunct="0">
        <a:spcBef>
          <a:spcPct val="20000"/>
        </a:spcBef>
        <a:spcAft>
          <a:spcPct val="0"/>
        </a:spcAft>
        <a:buClr>
          <a:srgbClr val="577C96"/>
        </a:buClr>
        <a:buChar char="•"/>
        <a:defRPr sz="1524">
          <a:solidFill>
            <a:schemeClr val="tx1"/>
          </a:solidFill>
          <a:latin typeface="+mn-lt"/>
        </a:defRPr>
      </a:lvl2pPr>
      <a:lvl3pPr marL="689442" indent="-179921" algn="l" rtl="0" eaLnBrk="0" fontAlgn="base" hangingPunct="0">
        <a:spcBef>
          <a:spcPct val="20000"/>
        </a:spcBef>
        <a:spcAft>
          <a:spcPct val="0"/>
        </a:spcAft>
        <a:buClr>
          <a:schemeClr val="tx1"/>
        </a:buClr>
        <a:buFont typeface="Arial" panose="020B0604020202020204" pitchFamily="34" charset="0"/>
        <a:buChar char="–"/>
        <a:defRPr sz="1524">
          <a:solidFill>
            <a:schemeClr val="tx1"/>
          </a:solidFill>
          <a:latin typeface="+mn-lt"/>
        </a:defRPr>
      </a:lvl3pPr>
      <a:lvl4pPr marL="1028116" indent="-167825" algn="l" rtl="0" eaLnBrk="0" fontAlgn="base" hangingPunct="0">
        <a:spcBef>
          <a:spcPct val="20000"/>
        </a:spcBef>
        <a:spcAft>
          <a:spcPct val="0"/>
        </a:spcAft>
        <a:buClr>
          <a:srgbClr val="577C96"/>
        </a:buClr>
        <a:buChar char="•"/>
        <a:defRPr sz="1333">
          <a:solidFill>
            <a:schemeClr val="tx1"/>
          </a:solidFill>
          <a:latin typeface="+mn-lt"/>
        </a:defRPr>
      </a:lvl4pPr>
      <a:lvl5pPr marL="1372837" indent="-167825" algn="l" rtl="0" eaLnBrk="0" fontAlgn="base" hangingPunct="0">
        <a:spcBef>
          <a:spcPct val="20000"/>
        </a:spcBef>
        <a:spcAft>
          <a:spcPct val="0"/>
        </a:spcAft>
        <a:buClr>
          <a:srgbClr val="3D6E81"/>
        </a:buClr>
        <a:buFont typeface="Arial" panose="020B0604020202020204" pitchFamily="34" charset="0"/>
        <a:buChar char="»"/>
        <a:defRPr sz="1333">
          <a:solidFill>
            <a:schemeClr val="tx1"/>
          </a:solidFill>
          <a:latin typeface="+mn-lt"/>
        </a:defRPr>
      </a:lvl5pPr>
      <a:lvl6pPr marL="1808274" indent="-167825" algn="l" rtl="0" fontAlgn="base">
        <a:spcBef>
          <a:spcPct val="20000"/>
        </a:spcBef>
        <a:spcAft>
          <a:spcPct val="0"/>
        </a:spcAft>
        <a:buClr>
          <a:srgbClr val="3D6E81"/>
        </a:buClr>
        <a:buFont typeface="Arial" charset="0"/>
        <a:buChar char="»"/>
        <a:defRPr sz="1333">
          <a:solidFill>
            <a:schemeClr val="tx1"/>
          </a:solidFill>
          <a:latin typeface="+mn-lt"/>
        </a:defRPr>
      </a:lvl6pPr>
      <a:lvl7pPr marL="2243712" indent="-167825" algn="l" rtl="0" fontAlgn="base">
        <a:spcBef>
          <a:spcPct val="20000"/>
        </a:spcBef>
        <a:spcAft>
          <a:spcPct val="0"/>
        </a:spcAft>
        <a:buClr>
          <a:srgbClr val="3D6E81"/>
        </a:buClr>
        <a:buFont typeface="Arial" charset="0"/>
        <a:buChar char="»"/>
        <a:defRPr sz="1333">
          <a:solidFill>
            <a:schemeClr val="tx1"/>
          </a:solidFill>
          <a:latin typeface="+mn-lt"/>
        </a:defRPr>
      </a:lvl7pPr>
      <a:lvl8pPr marL="2679149" indent="-167825" algn="l" rtl="0" fontAlgn="base">
        <a:spcBef>
          <a:spcPct val="20000"/>
        </a:spcBef>
        <a:spcAft>
          <a:spcPct val="0"/>
        </a:spcAft>
        <a:buClr>
          <a:srgbClr val="3D6E81"/>
        </a:buClr>
        <a:buFont typeface="Arial" charset="0"/>
        <a:buChar char="»"/>
        <a:defRPr sz="1333">
          <a:solidFill>
            <a:schemeClr val="tx1"/>
          </a:solidFill>
          <a:latin typeface="+mn-lt"/>
        </a:defRPr>
      </a:lvl8pPr>
      <a:lvl9pPr marL="3114586" indent="-167825" algn="l" rtl="0" fontAlgn="base">
        <a:spcBef>
          <a:spcPct val="20000"/>
        </a:spcBef>
        <a:spcAft>
          <a:spcPct val="0"/>
        </a:spcAft>
        <a:buClr>
          <a:srgbClr val="3D6E81"/>
        </a:buClr>
        <a:buFont typeface="Arial" charset="0"/>
        <a:buChar char="»"/>
        <a:defRPr sz="1333">
          <a:solidFill>
            <a:schemeClr val="tx1"/>
          </a:solidFill>
          <a:latin typeface="+mn-lt"/>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68691" y="188914"/>
            <a:ext cx="8206619" cy="719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TITLE 1 (FONT 24 – CAPS – BLACK)</a:t>
            </a:r>
            <a:br>
              <a:rPr lang="en-US" smtClean="0"/>
            </a:br>
            <a:r>
              <a:rPr lang="en-US" smtClean="0"/>
              <a:t>Title 2 (Font 18 – Black - Bold)</a:t>
            </a:r>
          </a:p>
        </p:txBody>
      </p:sp>
      <p:sp>
        <p:nvSpPr>
          <p:cNvPr id="2051" name="Rectangle 3"/>
          <p:cNvSpPr>
            <a:spLocks noGrp="1" noChangeArrowheads="1"/>
          </p:cNvSpPr>
          <p:nvPr>
            <p:ph type="body" idx="1"/>
          </p:nvPr>
        </p:nvSpPr>
        <p:spPr bwMode="auto">
          <a:xfrm>
            <a:off x="468691" y="1268414"/>
            <a:ext cx="8206619" cy="4968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052" name="Picture 4" descr="L FULL C ESPANOL-Ajpg"/>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4237870" y="6597651"/>
            <a:ext cx="668262"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3" name="Footer Placeholder 4"/>
          <p:cNvSpPr txBox="1">
            <a:spLocks/>
          </p:cNvSpPr>
          <p:nvPr/>
        </p:nvSpPr>
        <p:spPr bwMode="auto">
          <a:xfrm>
            <a:off x="-6048" y="6597650"/>
            <a:ext cx="2896810" cy="268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1400" b="1">
                <a:solidFill>
                  <a:schemeClr val="tx1"/>
                </a:solidFill>
                <a:latin typeface="Arial" panose="020B0604020202020204" pitchFamily="34" charset="0"/>
                <a:cs typeface="Arial" panose="020B0604020202020204" pitchFamily="34" charset="0"/>
              </a:defRPr>
            </a:lvl1pPr>
            <a:lvl2pPr marL="742950" indent="-285750">
              <a:defRPr sz="1400" b="1">
                <a:solidFill>
                  <a:schemeClr val="tx1"/>
                </a:solidFill>
                <a:latin typeface="Arial" panose="020B0604020202020204" pitchFamily="34" charset="0"/>
                <a:cs typeface="Arial" panose="020B0604020202020204" pitchFamily="34" charset="0"/>
              </a:defRPr>
            </a:lvl2pPr>
            <a:lvl3pPr marL="1143000" indent="-228600">
              <a:defRPr sz="1400" b="1">
                <a:solidFill>
                  <a:schemeClr val="tx1"/>
                </a:solidFill>
                <a:latin typeface="Arial" panose="020B0604020202020204" pitchFamily="34" charset="0"/>
                <a:cs typeface="Arial" panose="020B0604020202020204" pitchFamily="34" charset="0"/>
              </a:defRPr>
            </a:lvl3pPr>
            <a:lvl4pPr marL="1600200" indent="-228600">
              <a:defRPr sz="1400" b="1">
                <a:solidFill>
                  <a:schemeClr val="tx1"/>
                </a:solidFill>
                <a:latin typeface="Arial" panose="020B0604020202020204" pitchFamily="34" charset="0"/>
                <a:cs typeface="Arial" panose="020B0604020202020204" pitchFamily="34" charset="0"/>
              </a:defRPr>
            </a:lvl4pPr>
            <a:lvl5pPr marL="2057400" indent="-228600">
              <a:defRPr sz="14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defRPr/>
            </a:pPr>
            <a:r>
              <a:rPr lang="en-US" sz="571" b="0" smtClean="0">
                <a:solidFill>
                  <a:srgbClr val="000000"/>
                </a:solidFill>
              </a:rPr>
              <a:t>Copyright © 2009-2011 CEMEX Research Group AG, Switzerland</a:t>
            </a:r>
          </a:p>
        </p:txBody>
      </p:sp>
      <p:sp>
        <p:nvSpPr>
          <p:cNvPr id="8" name="Text Box 5"/>
          <p:cNvSpPr txBox="1">
            <a:spLocks noChangeArrowheads="1"/>
          </p:cNvSpPr>
          <p:nvPr/>
        </p:nvSpPr>
        <p:spPr bwMode="auto">
          <a:xfrm>
            <a:off x="8771251" y="6657511"/>
            <a:ext cx="294953" cy="146515"/>
          </a:xfrm>
          <a:prstGeom prst="rect">
            <a:avLst/>
          </a:prstGeom>
          <a:noFill/>
          <a:ln w="9525">
            <a:noFill/>
            <a:miter lim="800000"/>
            <a:headEnd/>
            <a:tailEnd/>
          </a:ln>
          <a:effectLst/>
        </p:spPr>
        <p:txBody>
          <a:bodyPr wrap="none" lIns="0" tIns="0" rIns="0" bIns="0" anchor="b">
            <a:spAutoFit/>
          </a:bodyPr>
          <a:lstStyle>
            <a:lvl1pPr eaLnBrk="0" hangingPunct="0">
              <a:defRPr sz="1400" b="1">
                <a:solidFill>
                  <a:schemeClr val="tx1"/>
                </a:solidFill>
                <a:latin typeface="Arial" panose="020B0604020202020204" pitchFamily="34" charset="0"/>
                <a:cs typeface="Arial" panose="020B0604020202020204" pitchFamily="34" charset="0"/>
              </a:defRPr>
            </a:lvl1pPr>
            <a:lvl2pPr marL="742950" indent="-285750" eaLnBrk="0" hangingPunct="0">
              <a:defRPr sz="1400" b="1">
                <a:solidFill>
                  <a:schemeClr val="tx1"/>
                </a:solidFill>
                <a:latin typeface="Arial" panose="020B0604020202020204" pitchFamily="34" charset="0"/>
                <a:cs typeface="Arial" panose="020B0604020202020204" pitchFamily="34" charset="0"/>
              </a:defRPr>
            </a:lvl2pPr>
            <a:lvl3pPr marL="1143000" indent="-228600" eaLnBrk="0" hangingPunct="0">
              <a:defRPr sz="1400" b="1">
                <a:solidFill>
                  <a:schemeClr val="tx1"/>
                </a:solidFill>
                <a:latin typeface="Arial" panose="020B0604020202020204" pitchFamily="34" charset="0"/>
                <a:cs typeface="Arial" panose="020B0604020202020204" pitchFamily="34" charset="0"/>
              </a:defRPr>
            </a:lvl3pPr>
            <a:lvl4pPr marL="1600200" indent="-228600" eaLnBrk="0" hangingPunct="0">
              <a:defRPr sz="1400" b="1">
                <a:solidFill>
                  <a:schemeClr val="tx1"/>
                </a:solidFill>
                <a:latin typeface="Arial" panose="020B0604020202020204" pitchFamily="34" charset="0"/>
                <a:cs typeface="Arial" panose="020B0604020202020204" pitchFamily="34" charset="0"/>
              </a:defRPr>
            </a:lvl4pPr>
            <a:lvl5pPr marL="2057400" indent="-228600" eaLnBrk="0" hangingPunct="0">
              <a:defRPr sz="14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r>
              <a:rPr lang="en-US" sz="952" b="0" smtClean="0">
                <a:solidFill>
                  <a:srgbClr val="000000"/>
                </a:solidFill>
              </a:rPr>
              <a:t>- </a:t>
            </a:r>
            <a:fld id="{4D414732-F657-49AD-BD15-7A18C7B9247D}" type="slidenum">
              <a:rPr lang="en-US" sz="952" b="0" smtClean="0">
                <a:solidFill>
                  <a:srgbClr val="000000"/>
                </a:solidFill>
              </a:rPr>
              <a:pPr algn="ctr" eaLnBrk="1" fontAlgn="base" hangingPunct="1">
                <a:spcBef>
                  <a:spcPct val="0"/>
                </a:spcBef>
                <a:spcAft>
                  <a:spcPct val="0"/>
                </a:spcAft>
                <a:defRPr/>
              </a:pPr>
              <a:t>‹#›</a:t>
            </a:fld>
            <a:r>
              <a:rPr lang="en-US" sz="952" b="0" smtClean="0">
                <a:solidFill>
                  <a:srgbClr val="000000"/>
                </a:solidFill>
              </a:rPr>
              <a:t> -</a:t>
            </a:r>
          </a:p>
        </p:txBody>
      </p:sp>
    </p:spTree>
    <p:extLst>
      <p:ext uri="{BB962C8B-B14F-4D97-AF65-F5344CB8AC3E}">
        <p14:creationId xmlns:p14="http://schemas.microsoft.com/office/powerpoint/2010/main" xmlns="" val="3069319126"/>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Lst>
  <p:txStyles>
    <p:titleStyle>
      <a:lvl1pPr algn="ctr" rtl="0" eaLnBrk="0" fontAlgn="base" hangingPunct="0">
        <a:spcBef>
          <a:spcPct val="0"/>
        </a:spcBef>
        <a:spcAft>
          <a:spcPct val="0"/>
        </a:spcAft>
        <a:defRPr sz="2286" b="1">
          <a:solidFill>
            <a:srgbClr val="000000"/>
          </a:solidFill>
          <a:latin typeface="+mj-lt"/>
          <a:ea typeface="+mj-ea"/>
          <a:cs typeface="+mj-cs"/>
        </a:defRPr>
      </a:lvl1pPr>
      <a:lvl2pPr algn="ctr" rtl="0" eaLnBrk="0" fontAlgn="base" hangingPunct="0">
        <a:spcBef>
          <a:spcPct val="0"/>
        </a:spcBef>
        <a:spcAft>
          <a:spcPct val="0"/>
        </a:spcAft>
        <a:defRPr sz="2286" b="1">
          <a:solidFill>
            <a:srgbClr val="000000"/>
          </a:solidFill>
          <a:latin typeface="Arial" charset="0"/>
          <a:cs typeface="Arial" charset="0"/>
        </a:defRPr>
      </a:lvl2pPr>
      <a:lvl3pPr algn="ctr" rtl="0" eaLnBrk="0" fontAlgn="base" hangingPunct="0">
        <a:spcBef>
          <a:spcPct val="0"/>
        </a:spcBef>
        <a:spcAft>
          <a:spcPct val="0"/>
        </a:spcAft>
        <a:defRPr sz="2286" b="1">
          <a:solidFill>
            <a:srgbClr val="000000"/>
          </a:solidFill>
          <a:latin typeface="Arial" charset="0"/>
          <a:cs typeface="Arial" charset="0"/>
        </a:defRPr>
      </a:lvl3pPr>
      <a:lvl4pPr algn="ctr" rtl="0" eaLnBrk="0" fontAlgn="base" hangingPunct="0">
        <a:spcBef>
          <a:spcPct val="0"/>
        </a:spcBef>
        <a:spcAft>
          <a:spcPct val="0"/>
        </a:spcAft>
        <a:defRPr sz="2286" b="1">
          <a:solidFill>
            <a:srgbClr val="000000"/>
          </a:solidFill>
          <a:latin typeface="Arial" charset="0"/>
          <a:cs typeface="Arial" charset="0"/>
        </a:defRPr>
      </a:lvl4pPr>
      <a:lvl5pPr algn="ctr" rtl="0" eaLnBrk="0" fontAlgn="base" hangingPunct="0">
        <a:spcBef>
          <a:spcPct val="0"/>
        </a:spcBef>
        <a:spcAft>
          <a:spcPct val="0"/>
        </a:spcAft>
        <a:defRPr sz="2286" b="1">
          <a:solidFill>
            <a:srgbClr val="000000"/>
          </a:solidFill>
          <a:latin typeface="Arial" charset="0"/>
          <a:cs typeface="Arial" charset="0"/>
        </a:defRPr>
      </a:lvl5pPr>
      <a:lvl6pPr marL="435437" algn="ctr" rtl="0" fontAlgn="base">
        <a:spcBef>
          <a:spcPct val="0"/>
        </a:spcBef>
        <a:spcAft>
          <a:spcPct val="0"/>
        </a:spcAft>
        <a:defRPr sz="2286" b="1">
          <a:solidFill>
            <a:srgbClr val="000000"/>
          </a:solidFill>
          <a:latin typeface="Arial" charset="0"/>
          <a:cs typeface="Arial" charset="0"/>
        </a:defRPr>
      </a:lvl6pPr>
      <a:lvl7pPr marL="870875" algn="ctr" rtl="0" fontAlgn="base">
        <a:spcBef>
          <a:spcPct val="0"/>
        </a:spcBef>
        <a:spcAft>
          <a:spcPct val="0"/>
        </a:spcAft>
        <a:defRPr sz="2286" b="1">
          <a:solidFill>
            <a:srgbClr val="000000"/>
          </a:solidFill>
          <a:latin typeface="Arial" charset="0"/>
          <a:cs typeface="Arial" charset="0"/>
        </a:defRPr>
      </a:lvl7pPr>
      <a:lvl8pPr marL="1306312" algn="ctr" rtl="0" fontAlgn="base">
        <a:spcBef>
          <a:spcPct val="0"/>
        </a:spcBef>
        <a:spcAft>
          <a:spcPct val="0"/>
        </a:spcAft>
        <a:defRPr sz="2286" b="1">
          <a:solidFill>
            <a:srgbClr val="000000"/>
          </a:solidFill>
          <a:latin typeface="Arial" charset="0"/>
          <a:cs typeface="Arial" charset="0"/>
        </a:defRPr>
      </a:lvl8pPr>
      <a:lvl9pPr marL="1741749" algn="ctr" rtl="0" fontAlgn="base">
        <a:spcBef>
          <a:spcPct val="0"/>
        </a:spcBef>
        <a:spcAft>
          <a:spcPct val="0"/>
        </a:spcAft>
        <a:defRPr sz="2286" b="1">
          <a:solidFill>
            <a:srgbClr val="000000"/>
          </a:solidFill>
          <a:latin typeface="Arial" charset="0"/>
          <a:cs typeface="Arial" charset="0"/>
        </a:defRPr>
      </a:lvl9pPr>
    </p:titleStyle>
    <p:bodyStyle>
      <a:lvl1pPr algn="l" rtl="0" eaLnBrk="0" fontAlgn="base" hangingPunct="0">
        <a:spcBef>
          <a:spcPct val="20000"/>
        </a:spcBef>
        <a:spcAft>
          <a:spcPct val="0"/>
        </a:spcAft>
        <a:buClr>
          <a:srgbClr val="3D6E81"/>
        </a:buClr>
        <a:defRPr sz="1524" b="1">
          <a:solidFill>
            <a:schemeClr val="tx1"/>
          </a:solidFill>
          <a:latin typeface="+mn-lt"/>
          <a:ea typeface="+mn-ea"/>
          <a:cs typeface="+mn-cs"/>
        </a:defRPr>
      </a:lvl1pPr>
      <a:lvl2pPr marL="338673" indent="-167825" algn="l" rtl="0" eaLnBrk="0" fontAlgn="base" hangingPunct="0">
        <a:spcBef>
          <a:spcPct val="20000"/>
        </a:spcBef>
        <a:spcAft>
          <a:spcPct val="0"/>
        </a:spcAft>
        <a:buClr>
          <a:srgbClr val="577C96"/>
        </a:buClr>
        <a:buChar char="•"/>
        <a:defRPr sz="1524">
          <a:solidFill>
            <a:schemeClr val="tx1"/>
          </a:solidFill>
          <a:latin typeface="+mn-lt"/>
        </a:defRPr>
      </a:lvl2pPr>
      <a:lvl3pPr marL="689442" indent="-179921" algn="l" rtl="0" eaLnBrk="0" fontAlgn="base" hangingPunct="0">
        <a:spcBef>
          <a:spcPct val="20000"/>
        </a:spcBef>
        <a:spcAft>
          <a:spcPct val="0"/>
        </a:spcAft>
        <a:buClr>
          <a:schemeClr val="tx1"/>
        </a:buClr>
        <a:buFont typeface="Arial" panose="020B0604020202020204" pitchFamily="34" charset="0"/>
        <a:buChar char="–"/>
        <a:defRPr sz="1524">
          <a:solidFill>
            <a:schemeClr val="tx1"/>
          </a:solidFill>
          <a:latin typeface="+mn-lt"/>
        </a:defRPr>
      </a:lvl3pPr>
      <a:lvl4pPr marL="1028116" indent="-167825" algn="l" rtl="0" eaLnBrk="0" fontAlgn="base" hangingPunct="0">
        <a:spcBef>
          <a:spcPct val="20000"/>
        </a:spcBef>
        <a:spcAft>
          <a:spcPct val="0"/>
        </a:spcAft>
        <a:buClr>
          <a:srgbClr val="577C96"/>
        </a:buClr>
        <a:buChar char="•"/>
        <a:defRPr sz="1333">
          <a:solidFill>
            <a:schemeClr val="tx1"/>
          </a:solidFill>
          <a:latin typeface="+mn-lt"/>
        </a:defRPr>
      </a:lvl4pPr>
      <a:lvl5pPr marL="1372837" indent="-167825" algn="l" rtl="0" eaLnBrk="0" fontAlgn="base" hangingPunct="0">
        <a:spcBef>
          <a:spcPct val="20000"/>
        </a:spcBef>
        <a:spcAft>
          <a:spcPct val="0"/>
        </a:spcAft>
        <a:buClr>
          <a:srgbClr val="3D6E81"/>
        </a:buClr>
        <a:buFont typeface="Arial" panose="020B0604020202020204" pitchFamily="34" charset="0"/>
        <a:buChar char="»"/>
        <a:defRPr sz="1333">
          <a:solidFill>
            <a:schemeClr val="tx1"/>
          </a:solidFill>
          <a:latin typeface="+mn-lt"/>
        </a:defRPr>
      </a:lvl5pPr>
      <a:lvl6pPr marL="1808274" indent="-167825" algn="l" rtl="0" fontAlgn="base">
        <a:spcBef>
          <a:spcPct val="20000"/>
        </a:spcBef>
        <a:spcAft>
          <a:spcPct val="0"/>
        </a:spcAft>
        <a:buClr>
          <a:srgbClr val="3D6E81"/>
        </a:buClr>
        <a:buFont typeface="Arial" charset="0"/>
        <a:buChar char="»"/>
        <a:defRPr sz="1333">
          <a:solidFill>
            <a:schemeClr val="tx1"/>
          </a:solidFill>
          <a:latin typeface="+mn-lt"/>
        </a:defRPr>
      </a:lvl6pPr>
      <a:lvl7pPr marL="2243712" indent="-167825" algn="l" rtl="0" fontAlgn="base">
        <a:spcBef>
          <a:spcPct val="20000"/>
        </a:spcBef>
        <a:spcAft>
          <a:spcPct val="0"/>
        </a:spcAft>
        <a:buClr>
          <a:srgbClr val="3D6E81"/>
        </a:buClr>
        <a:buFont typeface="Arial" charset="0"/>
        <a:buChar char="»"/>
        <a:defRPr sz="1333">
          <a:solidFill>
            <a:schemeClr val="tx1"/>
          </a:solidFill>
          <a:latin typeface="+mn-lt"/>
        </a:defRPr>
      </a:lvl7pPr>
      <a:lvl8pPr marL="2679149" indent="-167825" algn="l" rtl="0" fontAlgn="base">
        <a:spcBef>
          <a:spcPct val="20000"/>
        </a:spcBef>
        <a:spcAft>
          <a:spcPct val="0"/>
        </a:spcAft>
        <a:buClr>
          <a:srgbClr val="3D6E81"/>
        </a:buClr>
        <a:buFont typeface="Arial" charset="0"/>
        <a:buChar char="»"/>
        <a:defRPr sz="1333">
          <a:solidFill>
            <a:schemeClr val="tx1"/>
          </a:solidFill>
          <a:latin typeface="+mn-lt"/>
        </a:defRPr>
      </a:lvl8pPr>
      <a:lvl9pPr marL="3114586" indent="-167825" algn="l" rtl="0" fontAlgn="base">
        <a:spcBef>
          <a:spcPct val="20000"/>
        </a:spcBef>
        <a:spcAft>
          <a:spcPct val="0"/>
        </a:spcAft>
        <a:buClr>
          <a:srgbClr val="3D6E81"/>
        </a:buClr>
        <a:buFont typeface="Arial" charset="0"/>
        <a:buChar char="»"/>
        <a:defRPr sz="1333">
          <a:solidFill>
            <a:schemeClr val="tx1"/>
          </a:solidFill>
          <a:latin typeface="+mn-lt"/>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nvGraphicFramePr>
        <p:xfrm>
          <a:off x="0" y="0"/>
          <a:ext cx="158750" cy="158750"/>
        </p:xfrm>
        <a:graphic>
          <a:graphicData uri="http://schemas.openxmlformats.org/presentationml/2006/ole">
            <p:oleObj spid="_x0000_s109570" name="think-cell Slide" r:id="rId14" imgW="360" imgH="360" progId="">
              <p:embed/>
            </p:oleObj>
          </a:graphicData>
        </a:graphic>
      </p:graphicFrame>
      <p:sp>
        <p:nvSpPr>
          <p:cNvPr id="23556" name="Rectangle 2"/>
          <p:cNvSpPr>
            <a:spLocks noGrp="1" noChangeArrowheads="1"/>
          </p:cNvSpPr>
          <p:nvPr>
            <p:ph type="title"/>
          </p:nvPr>
        </p:nvSpPr>
        <p:spPr bwMode="auto">
          <a:xfrm>
            <a:off x="149680" y="19051"/>
            <a:ext cx="8994321" cy="481013"/>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p>
            <a:pPr lvl="0"/>
            <a:r>
              <a:rPr lang="en-US" smtClean="0"/>
              <a:t>Click to edit Master title style</a:t>
            </a:r>
          </a:p>
        </p:txBody>
      </p:sp>
      <p:sp>
        <p:nvSpPr>
          <p:cNvPr id="23557" name="Rectangle 3"/>
          <p:cNvSpPr>
            <a:spLocks noGrp="1" noChangeArrowheads="1"/>
          </p:cNvSpPr>
          <p:nvPr>
            <p:ph type="body" idx="1"/>
          </p:nvPr>
        </p:nvSpPr>
        <p:spPr bwMode="auto">
          <a:xfrm>
            <a:off x="343203" y="1600201"/>
            <a:ext cx="8466667"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Text Box 5"/>
          <p:cNvSpPr txBox="1">
            <a:spLocks noChangeArrowheads="1"/>
          </p:cNvSpPr>
          <p:nvPr/>
        </p:nvSpPr>
        <p:spPr bwMode="auto">
          <a:xfrm>
            <a:off x="8839423" y="6650138"/>
            <a:ext cx="157094" cy="153888"/>
          </a:xfrm>
          <a:prstGeom prst="rect">
            <a:avLst/>
          </a:prstGeom>
          <a:noFill/>
          <a:ln w="9525">
            <a:noFill/>
            <a:miter lim="800000"/>
            <a:headEnd/>
            <a:tailEnd/>
          </a:ln>
          <a:effectLst/>
        </p:spPr>
        <p:txBody>
          <a:bodyPr wrap="none" lIns="0" tIns="0" rIns="0" bIns="0" anchor="b">
            <a:spAutoFit/>
          </a:bodyPr>
          <a:lstStyle/>
          <a:p>
            <a:pPr algn="ctr" fontAlgn="base">
              <a:spcBef>
                <a:spcPct val="0"/>
              </a:spcBef>
              <a:spcAft>
                <a:spcPct val="0"/>
              </a:spcAft>
              <a:defRPr/>
            </a:pPr>
            <a:fld id="{FE6C950F-E908-4F43-94CF-600E390DC58A}" type="slidenum">
              <a:rPr lang="en-US" sz="1000" b="1">
                <a:solidFill>
                  <a:srgbClr val="000000"/>
                </a:solidFill>
                <a:cs typeface="Arial" pitchFamily="34" charset="0"/>
              </a:rPr>
              <a:pPr algn="ctr" fontAlgn="base">
                <a:spcBef>
                  <a:spcPct val="0"/>
                </a:spcBef>
                <a:spcAft>
                  <a:spcPct val="0"/>
                </a:spcAft>
                <a:defRPr/>
              </a:pPr>
              <a:t>‹#›</a:t>
            </a:fld>
            <a:endParaRPr lang="en-US" sz="1000" b="1" dirty="0">
              <a:solidFill>
                <a:srgbClr val="000000"/>
              </a:solidFill>
              <a:cs typeface="Arial" pitchFamily="34" charset="0"/>
            </a:endParaRPr>
          </a:p>
        </p:txBody>
      </p:sp>
      <p:sp>
        <p:nvSpPr>
          <p:cNvPr id="10" name="Rectangle 9"/>
          <p:cNvSpPr/>
          <p:nvPr/>
        </p:nvSpPr>
        <p:spPr bwMode="auto">
          <a:xfrm flipV="1">
            <a:off x="122465" y="500063"/>
            <a:ext cx="8868833" cy="82550"/>
          </a:xfrm>
          <a:prstGeom prst="rect">
            <a:avLst/>
          </a:prstGeom>
          <a:gradFill flip="none" rotWithShape="1">
            <a:gsLst>
              <a:gs pos="49000">
                <a:schemeClr val="accent1"/>
              </a:gs>
              <a:gs pos="60000">
                <a:schemeClr val="bg1"/>
              </a:gs>
              <a:gs pos="100000">
                <a:schemeClr val="accent1"/>
              </a:gs>
            </a:gsLst>
            <a:lin ang="5400000" scaled="0"/>
            <a:tileRect/>
          </a:gradFill>
          <a:ln w="9525" cap="flat" cmpd="sng" algn="ctr">
            <a:noFill/>
            <a:prstDash val="solid"/>
            <a:round/>
            <a:headEnd type="none" w="med" len="med"/>
            <a:tailEnd type="none" w="med" len="med"/>
          </a:ln>
          <a:effectLst/>
        </p:spPr>
        <p:txBody>
          <a:bodyPr lIns="100584" rIns="100584"/>
          <a:lstStyle/>
          <a:p>
            <a:pPr algn="ctr" fontAlgn="base">
              <a:spcBef>
                <a:spcPct val="0"/>
              </a:spcBef>
              <a:spcAft>
                <a:spcPct val="0"/>
              </a:spcAft>
              <a:defRPr/>
            </a:pPr>
            <a:endParaRPr lang="en-US" sz="500" dirty="0">
              <a:solidFill>
                <a:srgbClr val="49617B"/>
              </a:solidFill>
              <a:cs typeface="Arial" charset="0"/>
            </a:endParaRPr>
          </a:p>
        </p:txBody>
      </p:sp>
      <p:pic>
        <p:nvPicPr>
          <p:cNvPr id="23560" name="Picture 10" descr="CEMEX Red&amp;Blue.jpg"/>
          <p:cNvPicPr>
            <a:picLocks/>
          </p:cNvPicPr>
          <p:nvPr userDrawn="1"/>
        </p:nvPicPr>
        <p:blipFill>
          <a:blip r:embed="rId15" cstate="print"/>
          <a:srcRect/>
          <a:stretch>
            <a:fillRect/>
          </a:stretch>
        </p:blipFill>
        <p:spPr bwMode="auto">
          <a:xfrm>
            <a:off x="4191000" y="6553201"/>
            <a:ext cx="762000" cy="22701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charset="0"/>
        </a:defRPr>
      </a:lvl2pPr>
      <a:lvl3pPr algn="l" rtl="0" eaLnBrk="0" fontAlgn="base" hangingPunct="0">
        <a:spcBef>
          <a:spcPct val="0"/>
        </a:spcBef>
        <a:spcAft>
          <a:spcPct val="0"/>
        </a:spcAft>
        <a:defRPr sz="2200" b="1">
          <a:solidFill>
            <a:schemeClr val="tx2"/>
          </a:solidFill>
          <a:latin typeface="Arial" charset="0"/>
        </a:defRPr>
      </a:lvl3pPr>
      <a:lvl4pPr algn="l" rtl="0" eaLnBrk="0" fontAlgn="base" hangingPunct="0">
        <a:spcBef>
          <a:spcPct val="0"/>
        </a:spcBef>
        <a:spcAft>
          <a:spcPct val="0"/>
        </a:spcAft>
        <a:defRPr sz="2200" b="1">
          <a:solidFill>
            <a:schemeClr val="tx2"/>
          </a:solidFill>
          <a:latin typeface="Arial" charset="0"/>
        </a:defRPr>
      </a:lvl4pPr>
      <a:lvl5pPr algn="l" rtl="0" eaLnBrk="0" fontAlgn="base" hangingPunct="0">
        <a:spcBef>
          <a:spcPct val="0"/>
        </a:spcBef>
        <a:spcAft>
          <a:spcPct val="0"/>
        </a:spcAft>
        <a:defRPr sz="2200" b="1">
          <a:solidFill>
            <a:schemeClr val="tx2"/>
          </a:solidFill>
          <a:latin typeface="Arial" charset="0"/>
        </a:defRPr>
      </a:lvl5pPr>
      <a:lvl6pPr marL="457200" algn="ctr" rtl="0" eaLnBrk="1" fontAlgn="base" hangingPunct="1">
        <a:spcBef>
          <a:spcPct val="0"/>
        </a:spcBef>
        <a:spcAft>
          <a:spcPct val="0"/>
        </a:spcAft>
        <a:defRPr sz="2200" b="1">
          <a:solidFill>
            <a:schemeClr val="tx1"/>
          </a:solidFill>
          <a:latin typeface="Arial" charset="0"/>
        </a:defRPr>
      </a:lvl6pPr>
      <a:lvl7pPr marL="914400" algn="ctr" rtl="0" eaLnBrk="1" fontAlgn="base" hangingPunct="1">
        <a:spcBef>
          <a:spcPct val="0"/>
        </a:spcBef>
        <a:spcAft>
          <a:spcPct val="0"/>
        </a:spcAft>
        <a:defRPr sz="2200" b="1">
          <a:solidFill>
            <a:schemeClr val="tx1"/>
          </a:solidFill>
          <a:latin typeface="Arial" charset="0"/>
        </a:defRPr>
      </a:lvl7pPr>
      <a:lvl8pPr marL="1371600" algn="ctr" rtl="0" eaLnBrk="1" fontAlgn="base" hangingPunct="1">
        <a:spcBef>
          <a:spcPct val="0"/>
        </a:spcBef>
        <a:spcAft>
          <a:spcPct val="0"/>
        </a:spcAft>
        <a:defRPr sz="2200" b="1">
          <a:solidFill>
            <a:schemeClr val="tx1"/>
          </a:solidFill>
          <a:latin typeface="Arial" charset="0"/>
        </a:defRPr>
      </a:lvl8pPr>
      <a:lvl9pPr marL="1828800" algn="ctr" rtl="0" eaLnBrk="1" fontAlgn="base" hangingPunct="1">
        <a:spcBef>
          <a:spcPct val="0"/>
        </a:spcBef>
        <a:spcAft>
          <a:spcPct val="0"/>
        </a:spcAft>
        <a:defRPr sz="2200" b="1">
          <a:solidFill>
            <a:schemeClr val="tx1"/>
          </a:solidFill>
          <a:latin typeface="Arial" charset="0"/>
        </a:defRPr>
      </a:lvl9pPr>
    </p:titleStyle>
    <p:bodyStyle>
      <a:lvl1pPr marL="180975" indent="-180975" algn="l" rtl="0" eaLnBrk="0" fontAlgn="base" hangingPunct="0">
        <a:spcBef>
          <a:spcPct val="20000"/>
        </a:spcBef>
        <a:spcAft>
          <a:spcPct val="0"/>
        </a:spcAft>
        <a:buChar char="•"/>
        <a:defRPr sz="1600" b="1">
          <a:solidFill>
            <a:schemeClr val="tx2"/>
          </a:solidFill>
          <a:latin typeface="+mn-lt"/>
          <a:ea typeface="+mn-ea"/>
          <a:cs typeface="+mn-cs"/>
        </a:defRPr>
      </a:lvl1pPr>
      <a:lvl2pPr marL="447675" indent="-180975" algn="l" rtl="0" eaLnBrk="0" fontAlgn="base" hangingPunct="0">
        <a:spcBef>
          <a:spcPct val="20000"/>
        </a:spcBef>
        <a:spcAft>
          <a:spcPct val="0"/>
        </a:spcAft>
        <a:buChar char="–"/>
        <a:defRPr sz="1600" b="1">
          <a:solidFill>
            <a:schemeClr val="tx2"/>
          </a:solidFill>
          <a:latin typeface="+mn-lt"/>
        </a:defRPr>
      </a:lvl2pPr>
      <a:lvl3pPr marL="714375" indent="-171450" algn="l" rtl="0" eaLnBrk="0" fontAlgn="base" hangingPunct="0">
        <a:spcBef>
          <a:spcPct val="20000"/>
        </a:spcBef>
        <a:spcAft>
          <a:spcPct val="0"/>
        </a:spcAft>
        <a:buChar char="•"/>
        <a:defRPr sz="1600" b="1">
          <a:solidFill>
            <a:schemeClr val="tx2"/>
          </a:solidFill>
          <a:latin typeface="+mn-lt"/>
        </a:defRPr>
      </a:lvl3pPr>
      <a:lvl4pPr marL="990600" indent="-180975" algn="l" rtl="0" eaLnBrk="0" fontAlgn="base" hangingPunct="0">
        <a:spcBef>
          <a:spcPct val="20000"/>
        </a:spcBef>
        <a:spcAft>
          <a:spcPct val="0"/>
        </a:spcAft>
        <a:buChar char="–"/>
        <a:defRPr sz="1600" b="1">
          <a:solidFill>
            <a:schemeClr val="tx2"/>
          </a:solidFill>
          <a:latin typeface="+mn-lt"/>
        </a:defRPr>
      </a:lvl4pPr>
      <a:lvl5pPr marL="1257300" indent="-180975" algn="l" rtl="0" eaLnBrk="0" fontAlgn="base" hangingPunct="0">
        <a:spcBef>
          <a:spcPct val="20000"/>
        </a:spcBef>
        <a:spcAft>
          <a:spcPct val="0"/>
        </a:spcAft>
        <a:buChar char="»"/>
        <a:defRPr sz="1600" b="1">
          <a:solidFill>
            <a:schemeClr val="tx2"/>
          </a:solidFill>
          <a:latin typeface="+mn-lt"/>
        </a:defRPr>
      </a:lvl5pPr>
      <a:lvl6pPr marL="2514600" indent="-228600" algn="l" rtl="0" eaLnBrk="1" fontAlgn="base" hangingPunct="1">
        <a:spcBef>
          <a:spcPct val="20000"/>
        </a:spcBef>
        <a:spcAft>
          <a:spcPct val="0"/>
        </a:spcAft>
        <a:buChar char="»"/>
        <a:defRPr sz="1600" b="1">
          <a:solidFill>
            <a:schemeClr val="tx1"/>
          </a:solidFill>
          <a:latin typeface="+mn-lt"/>
        </a:defRPr>
      </a:lvl6pPr>
      <a:lvl7pPr marL="2971800" indent="-228600" algn="l" rtl="0" eaLnBrk="1" fontAlgn="base" hangingPunct="1">
        <a:spcBef>
          <a:spcPct val="20000"/>
        </a:spcBef>
        <a:spcAft>
          <a:spcPct val="0"/>
        </a:spcAft>
        <a:buChar char="»"/>
        <a:defRPr sz="1600" b="1">
          <a:solidFill>
            <a:schemeClr val="tx1"/>
          </a:solidFill>
          <a:latin typeface="+mn-lt"/>
        </a:defRPr>
      </a:lvl7pPr>
      <a:lvl8pPr marL="3429000" indent="-228600" algn="l" rtl="0" eaLnBrk="1" fontAlgn="base" hangingPunct="1">
        <a:spcBef>
          <a:spcPct val="20000"/>
        </a:spcBef>
        <a:spcAft>
          <a:spcPct val="0"/>
        </a:spcAft>
        <a:buChar char="»"/>
        <a:defRPr sz="1600" b="1">
          <a:solidFill>
            <a:schemeClr val="tx1"/>
          </a:solidFill>
          <a:latin typeface="+mn-lt"/>
        </a:defRPr>
      </a:lvl8pPr>
      <a:lvl9pPr marL="3886200" indent="-228600" algn="l" rtl="0" eaLnBrk="1" fontAlgn="base" hangingPunct="1">
        <a:spcBef>
          <a:spcPct val="20000"/>
        </a:spcBef>
        <a:spcAft>
          <a:spcPct val="0"/>
        </a:spcAft>
        <a:buChar char="»"/>
        <a:defRPr sz="16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26" name="think-cell Slide" r:id="rId14" imgW="360" imgH="360" progId="">
              <p:embed/>
            </p:oleObj>
          </a:graphicData>
        </a:graphic>
      </p:graphicFrame>
      <p:sp>
        <p:nvSpPr>
          <p:cNvPr id="20482" name="Rectangle 2"/>
          <p:cNvSpPr>
            <a:spLocks noGrp="1" noChangeArrowheads="1"/>
          </p:cNvSpPr>
          <p:nvPr>
            <p:ph type="title"/>
          </p:nvPr>
        </p:nvSpPr>
        <p:spPr bwMode="auto">
          <a:xfrm>
            <a:off x="149640" y="18786"/>
            <a:ext cx="8994360" cy="481278"/>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noAutofit/>
          </a:bodyPr>
          <a:lstStyle/>
          <a:p>
            <a:pPr lvl="0"/>
            <a:r>
              <a:rPr lang="en-US" dirty="0" smtClean="0"/>
              <a:t>Click to edit Master title style</a:t>
            </a:r>
          </a:p>
        </p:txBody>
      </p:sp>
      <p:sp>
        <p:nvSpPr>
          <p:cNvPr id="20483" name="Rectangle 3"/>
          <p:cNvSpPr>
            <a:spLocks noGrp="1" noChangeArrowheads="1"/>
          </p:cNvSpPr>
          <p:nvPr>
            <p:ph type="body" idx="1"/>
          </p:nvPr>
        </p:nvSpPr>
        <p:spPr bwMode="auto">
          <a:xfrm>
            <a:off x="342900" y="1600200"/>
            <a:ext cx="8467724"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 Box 5"/>
          <p:cNvSpPr txBox="1">
            <a:spLocks noChangeArrowheads="1"/>
          </p:cNvSpPr>
          <p:nvPr/>
        </p:nvSpPr>
        <p:spPr bwMode="auto">
          <a:xfrm>
            <a:off x="8840025" y="6650137"/>
            <a:ext cx="157094" cy="153888"/>
          </a:xfrm>
          <a:prstGeom prst="rect">
            <a:avLst/>
          </a:prstGeom>
          <a:noFill/>
          <a:ln w="9525">
            <a:noFill/>
            <a:miter lim="800000"/>
            <a:headEnd/>
            <a:tailEnd/>
          </a:ln>
          <a:effectLst/>
        </p:spPr>
        <p:txBody>
          <a:bodyPr wrap="none" lIns="0" tIns="0" rIns="0" bIns="0" anchor="b">
            <a:spAutoFit/>
          </a:bodyPr>
          <a:lstStyle/>
          <a:p>
            <a:pPr algn="ctr" fontAlgn="base">
              <a:spcBef>
                <a:spcPct val="0"/>
              </a:spcBef>
              <a:spcAft>
                <a:spcPct val="0"/>
              </a:spcAft>
              <a:defRPr/>
            </a:pPr>
            <a:fld id="{22989CA7-CDF6-49E5-8059-DAC1AEED79AD}" type="slidenum">
              <a:rPr lang="en-US" sz="1000" b="1" smtClean="0">
                <a:solidFill>
                  <a:srgbClr val="000000"/>
                </a:solidFill>
                <a:cs typeface="Arial" pitchFamily="34" charset="0"/>
              </a:rPr>
              <a:pPr algn="ctr" fontAlgn="base">
                <a:spcBef>
                  <a:spcPct val="0"/>
                </a:spcBef>
                <a:spcAft>
                  <a:spcPct val="0"/>
                </a:spcAft>
                <a:defRPr/>
              </a:pPr>
              <a:t>‹#›</a:t>
            </a:fld>
            <a:endParaRPr lang="en-US" sz="1000" b="1" dirty="0">
              <a:solidFill>
                <a:srgbClr val="000000"/>
              </a:solidFill>
              <a:cs typeface="Arial" pitchFamily="34" charset="0"/>
            </a:endParaRPr>
          </a:p>
        </p:txBody>
      </p:sp>
      <p:sp>
        <p:nvSpPr>
          <p:cNvPr id="10" name="Rectangle 9"/>
          <p:cNvSpPr/>
          <p:nvPr/>
        </p:nvSpPr>
        <p:spPr bwMode="auto">
          <a:xfrm flipV="1">
            <a:off x="121920" y="500063"/>
            <a:ext cx="8869680" cy="82296"/>
          </a:xfrm>
          <a:prstGeom prst="rect">
            <a:avLst/>
          </a:prstGeom>
          <a:gradFill flip="none" rotWithShape="1">
            <a:gsLst>
              <a:gs pos="49000">
                <a:schemeClr val="accent1"/>
              </a:gs>
              <a:gs pos="60000">
                <a:schemeClr val="bg1"/>
              </a:gs>
              <a:gs pos="100000">
                <a:schemeClr val="accent1"/>
              </a:gs>
            </a:gsLst>
            <a:lin ang="5400000" scaled="0"/>
            <a:tileRect/>
          </a:gradFill>
          <a:ln w="9525" cap="flat" cmpd="sng" algn="ctr">
            <a:noFill/>
            <a:prstDash val="solid"/>
            <a:round/>
            <a:headEnd type="none" w="med" len="med"/>
            <a:tailEnd type="none" w="med" len="med"/>
          </a:ln>
          <a:effectLst/>
        </p:spPr>
        <p:txBody>
          <a:bodyPr vert="horz" wrap="square" lIns="100584" tIns="45720" rIns="100584" bIns="45720" numCol="1" rtlCol="0" anchor="t" anchorCtr="0" compatLnSpc="1">
            <a:prstTxWarp prst="textNoShape">
              <a:avLst/>
            </a:prstTxWarp>
            <a:noAutofit/>
          </a:bodyPr>
          <a:lstStyle/>
          <a:p>
            <a:pPr algn="ctr" fontAlgn="base">
              <a:spcBef>
                <a:spcPct val="0"/>
              </a:spcBef>
              <a:spcAft>
                <a:spcPct val="0"/>
              </a:spcAft>
            </a:pPr>
            <a:endParaRPr lang="en-US" sz="500" dirty="0" smtClean="0">
              <a:solidFill>
                <a:srgbClr val="49617B"/>
              </a:solidFill>
            </a:endParaRPr>
          </a:p>
        </p:txBody>
      </p:sp>
      <p:pic>
        <p:nvPicPr>
          <p:cNvPr id="11" name="Picture 10" descr="CEMEX Red&amp;Blue.jpg"/>
          <p:cNvPicPr>
            <a:picLocks/>
          </p:cNvPicPr>
          <p:nvPr/>
        </p:nvPicPr>
        <p:blipFill>
          <a:blip r:embed="rId15" cstate="print"/>
          <a:stretch>
            <a:fillRect/>
          </a:stretch>
        </p:blipFill>
        <p:spPr>
          <a:xfrm>
            <a:off x="4191000" y="6553200"/>
            <a:ext cx="762000" cy="226391"/>
          </a:xfrm>
          <a:prstGeom prst="rect">
            <a:avLst/>
          </a:prstGeom>
        </p:spPr>
      </p:pic>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timing>
    <p:tnLst>
      <p:par>
        <p:cTn id="1" dur="indefinite" restart="never" nodeType="tmRoot"/>
      </p:par>
    </p:tnLst>
  </p:timing>
  <p:hf hdr="0" ftr="0" dt="0"/>
  <p:txStyles>
    <p:titleStyle>
      <a:lvl1pPr algn="l" rtl="0" eaLnBrk="1" fontAlgn="base" hangingPunct="1">
        <a:spcBef>
          <a:spcPct val="0"/>
        </a:spcBef>
        <a:spcAft>
          <a:spcPct val="0"/>
        </a:spcAft>
        <a:defRPr sz="2200" b="1">
          <a:solidFill>
            <a:schemeClr val="tx2"/>
          </a:solidFill>
          <a:latin typeface="+mj-lt"/>
          <a:ea typeface="+mj-ea"/>
          <a:cs typeface="+mj-cs"/>
        </a:defRPr>
      </a:lvl1pPr>
      <a:lvl2pPr algn="ctr" rtl="0" eaLnBrk="1" fontAlgn="base" hangingPunct="1">
        <a:spcBef>
          <a:spcPct val="0"/>
        </a:spcBef>
        <a:spcAft>
          <a:spcPct val="0"/>
        </a:spcAft>
        <a:defRPr sz="2200" b="1">
          <a:solidFill>
            <a:schemeClr val="tx1"/>
          </a:solidFill>
          <a:latin typeface="Arial" charset="0"/>
        </a:defRPr>
      </a:lvl2pPr>
      <a:lvl3pPr algn="ctr" rtl="0" eaLnBrk="1" fontAlgn="base" hangingPunct="1">
        <a:spcBef>
          <a:spcPct val="0"/>
        </a:spcBef>
        <a:spcAft>
          <a:spcPct val="0"/>
        </a:spcAft>
        <a:defRPr sz="2200" b="1">
          <a:solidFill>
            <a:schemeClr val="tx1"/>
          </a:solidFill>
          <a:latin typeface="Arial" charset="0"/>
        </a:defRPr>
      </a:lvl3pPr>
      <a:lvl4pPr algn="ctr" rtl="0" eaLnBrk="1" fontAlgn="base" hangingPunct="1">
        <a:spcBef>
          <a:spcPct val="0"/>
        </a:spcBef>
        <a:spcAft>
          <a:spcPct val="0"/>
        </a:spcAft>
        <a:defRPr sz="2200" b="1">
          <a:solidFill>
            <a:schemeClr val="tx1"/>
          </a:solidFill>
          <a:latin typeface="Arial" charset="0"/>
        </a:defRPr>
      </a:lvl4pPr>
      <a:lvl5pPr algn="ctr" rtl="0" eaLnBrk="1" fontAlgn="base" hangingPunct="1">
        <a:spcBef>
          <a:spcPct val="0"/>
        </a:spcBef>
        <a:spcAft>
          <a:spcPct val="0"/>
        </a:spcAft>
        <a:defRPr sz="2200" b="1">
          <a:solidFill>
            <a:schemeClr val="tx1"/>
          </a:solidFill>
          <a:latin typeface="Arial" charset="0"/>
        </a:defRPr>
      </a:lvl5pPr>
      <a:lvl6pPr marL="457200" algn="ctr" rtl="0" eaLnBrk="1" fontAlgn="base" hangingPunct="1">
        <a:spcBef>
          <a:spcPct val="0"/>
        </a:spcBef>
        <a:spcAft>
          <a:spcPct val="0"/>
        </a:spcAft>
        <a:defRPr sz="2200" b="1">
          <a:solidFill>
            <a:schemeClr val="tx1"/>
          </a:solidFill>
          <a:latin typeface="Arial" charset="0"/>
        </a:defRPr>
      </a:lvl6pPr>
      <a:lvl7pPr marL="914400" algn="ctr" rtl="0" eaLnBrk="1" fontAlgn="base" hangingPunct="1">
        <a:spcBef>
          <a:spcPct val="0"/>
        </a:spcBef>
        <a:spcAft>
          <a:spcPct val="0"/>
        </a:spcAft>
        <a:defRPr sz="2200" b="1">
          <a:solidFill>
            <a:schemeClr val="tx1"/>
          </a:solidFill>
          <a:latin typeface="Arial" charset="0"/>
        </a:defRPr>
      </a:lvl7pPr>
      <a:lvl8pPr marL="1371600" algn="ctr" rtl="0" eaLnBrk="1" fontAlgn="base" hangingPunct="1">
        <a:spcBef>
          <a:spcPct val="0"/>
        </a:spcBef>
        <a:spcAft>
          <a:spcPct val="0"/>
        </a:spcAft>
        <a:defRPr sz="2200" b="1">
          <a:solidFill>
            <a:schemeClr val="tx1"/>
          </a:solidFill>
          <a:latin typeface="Arial" charset="0"/>
        </a:defRPr>
      </a:lvl8pPr>
      <a:lvl9pPr marL="1828800" algn="ctr" rtl="0" eaLnBrk="1" fontAlgn="base" hangingPunct="1">
        <a:spcBef>
          <a:spcPct val="0"/>
        </a:spcBef>
        <a:spcAft>
          <a:spcPct val="0"/>
        </a:spcAft>
        <a:defRPr sz="2200" b="1">
          <a:solidFill>
            <a:schemeClr val="tx1"/>
          </a:solidFill>
          <a:latin typeface="Arial" charset="0"/>
        </a:defRPr>
      </a:lvl9pPr>
    </p:titleStyle>
    <p:bodyStyle>
      <a:lvl1pPr marL="180975" indent="-180975" algn="l" rtl="0" eaLnBrk="1" fontAlgn="base" hangingPunct="1">
        <a:spcBef>
          <a:spcPct val="20000"/>
        </a:spcBef>
        <a:spcAft>
          <a:spcPct val="0"/>
        </a:spcAft>
        <a:buChar char="•"/>
        <a:defRPr sz="1600" b="1">
          <a:solidFill>
            <a:schemeClr val="tx2"/>
          </a:solidFill>
          <a:latin typeface="+mn-lt"/>
          <a:ea typeface="+mn-ea"/>
          <a:cs typeface="+mn-cs"/>
        </a:defRPr>
      </a:lvl1pPr>
      <a:lvl2pPr marL="447675" indent="-180975" algn="l" rtl="0" eaLnBrk="1" fontAlgn="base" hangingPunct="1">
        <a:spcBef>
          <a:spcPct val="20000"/>
        </a:spcBef>
        <a:spcAft>
          <a:spcPct val="0"/>
        </a:spcAft>
        <a:buChar char="–"/>
        <a:defRPr sz="1600" b="1">
          <a:solidFill>
            <a:schemeClr val="tx2"/>
          </a:solidFill>
          <a:latin typeface="+mn-lt"/>
        </a:defRPr>
      </a:lvl2pPr>
      <a:lvl3pPr marL="714375" indent="-171450" algn="l" rtl="0" eaLnBrk="1" fontAlgn="base" hangingPunct="1">
        <a:spcBef>
          <a:spcPct val="20000"/>
        </a:spcBef>
        <a:spcAft>
          <a:spcPct val="0"/>
        </a:spcAft>
        <a:buChar char="•"/>
        <a:defRPr sz="1600" b="1">
          <a:solidFill>
            <a:schemeClr val="tx2"/>
          </a:solidFill>
          <a:latin typeface="+mn-lt"/>
        </a:defRPr>
      </a:lvl3pPr>
      <a:lvl4pPr marL="990600" indent="-180975" algn="l" rtl="0" eaLnBrk="1" fontAlgn="base" hangingPunct="1">
        <a:spcBef>
          <a:spcPct val="20000"/>
        </a:spcBef>
        <a:spcAft>
          <a:spcPct val="0"/>
        </a:spcAft>
        <a:buChar char="–"/>
        <a:defRPr sz="1600" b="1">
          <a:solidFill>
            <a:schemeClr val="tx2"/>
          </a:solidFill>
          <a:latin typeface="+mn-lt"/>
        </a:defRPr>
      </a:lvl4pPr>
      <a:lvl5pPr marL="1257300" indent="-180975" algn="l" rtl="0" eaLnBrk="1" fontAlgn="base" hangingPunct="1">
        <a:spcBef>
          <a:spcPct val="20000"/>
        </a:spcBef>
        <a:spcAft>
          <a:spcPct val="0"/>
        </a:spcAft>
        <a:buChar char="»"/>
        <a:defRPr sz="1600" b="1">
          <a:solidFill>
            <a:schemeClr val="tx2"/>
          </a:solidFill>
          <a:latin typeface="+mn-lt"/>
        </a:defRPr>
      </a:lvl5pPr>
      <a:lvl6pPr marL="2514600" indent="-228600" algn="l" rtl="0" eaLnBrk="1" fontAlgn="base" hangingPunct="1">
        <a:spcBef>
          <a:spcPct val="20000"/>
        </a:spcBef>
        <a:spcAft>
          <a:spcPct val="0"/>
        </a:spcAft>
        <a:buChar char="»"/>
        <a:defRPr sz="1600" b="1">
          <a:solidFill>
            <a:schemeClr val="tx1"/>
          </a:solidFill>
          <a:latin typeface="+mn-lt"/>
        </a:defRPr>
      </a:lvl6pPr>
      <a:lvl7pPr marL="2971800" indent="-228600" algn="l" rtl="0" eaLnBrk="1" fontAlgn="base" hangingPunct="1">
        <a:spcBef>
          <a:spcPct val="20000"/>
        </a:spcBef>
        <a:spcAft>
          <a:spcPct val="0"/>
        </a:spcAft>
        <a:buChar char="»"/>
        <a:defRPr sz="1600" b="1">
          <a:solidFill>
            <a:schemeClr val="tx1"/>
          </a:solidFill>
          <a:latin typeface="+mn-lt"/>
        </a:defRPr>
      </a:lvl7pPr>
      <a:lvl8pPr marL="3429000" indent="-228600" algn="l" rtl="0" eaLnBrk="1" fontAlgn="base" hangingPunct="1">
        <a:spcBef>
          <a:spcPct val="20000"/>
        </a:spcBef>
        <a:spcAft>
          <a:spcPct val="0"/>
        </a:spcAft>
        <a:buChar char="»"/>
        <a:defRPr sz="1600" b="1">
          <a:solidFill>
            <a:schemeClr val="tx1"/>
          </a:solidFill>
          <a:latin typeface="+mn-lt"/>
        </a:defRPr>
      </a:lvl8pPr>
      <a:lvl9pPr marL="3886200" indent="-228600" algn="l" rtl="0" eaLnBrk="1" fontAlgn="base" hangingPunct="1">
        <a:spcBef>
          <a:spcPct val="20000"/>
        </a:spcBef>
        <a:spcAft>
          <a:spcPct val="0"/>
        </a:spcAft>
        <a:buChar char="»"/>
        <a:defRPr sz="16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32770" name="think-cell Slide" r:id="rId13" imgW="270" imgH="270" progId="">
              <p:embed/>
            </p:oleObj>
          </a:graphicData>
        </a:graphic>
      </p:graphicFrame>
      <p:sp>
        <p:nvSpPr>
          <p:cNvPr id="419" name="10 Rectángulo"/>
          <p:cNvSpPr/>
          <p:nvPr/>
        </p:nvSpPr>
        <p:spPr bwMode="auto">
          <a:xfrm flipV="1">
            <a:off x="5791200" y="6658824"/>
            <a:ext cx="3352801" cy="22656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420" name="10 Rectángulo"/>
          <p:cNvSpPr/>
          <p:nvPr/>
        </p:nvSpPr>
        <p:spPr bwMode="auto">
          <a:xfrm flipV="1">
            <a:off x="1" y="6552728"/>
            <a:ext cx="8153399" cy="332656"/>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pic>
        <p:nvPicPr>
          <p:cNvPr id="421" name="Picture 3"/>
          <p:cNvPicPr>
            <a:picLocks noChangeAspect="1" noChangeArrowheads="1"/>
          </p:cNvPicPr>
          <p:nvPr/>
        </p:nvPicPr>
        <p:blipFill>
          <a:blip r:embed="rId14" cstate="screen"/>
          <a:srcRect/>
          <a:stretch>
            <a:fillRect/>
          </a:stretch>
        </p:blipFill>
        <p:spPr bwMode="auto">
          <a:xfrm>
            <a:off x="323528" y="6641307"/>
            <a:ext cx="613835" cy="155498"/>
          </a:xfrm>
          <a:prstGeom prst="rect">
            <a:avLst/>
          </a:prstGeom>
          <a:noFill/>
          <a:ln w="9525">
            <a:noFill/>
            <a:miter lim="800000"/>
            <a:headEnd/>
            <a:tailEnd/>
          </a:ln>
        </p:spPr>
      </p:pic>
      <p:sp>
        <p:nvSpPr>
          <p:cNvPr id="60" name="59 Rectángulo"/>
          <p:cNvSpPr/>
          <p:nvPr/>
        </p:nvSpPr>
        <p:spPr bwMode="auto">
          <a:xfrm>
            <a:off x="0" y="0"/>
            <a:ext cx="9144000" cy="9906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000000"/>
              </a:solidFill>
              <a:latin typeface="Arial" charset="0"/>
              <a:cs typeface="Arial" charset="0"/>
            </a:endParaRPr>
          </a:p>
        </p:txBody>
      </p:sp>
      <p:sp>
        <p:nvSpPr>
          <p:cNvPr id="56" name="Freeform 12"/>
          <p:cNvSpPr>
            <a:spLocks/>
          </p:cNvSpPr>
          <p:nvPr/>
        </p:nvSpPr>
        <p:spPr bwMode="auto">
          <a:xfrm>
            <a:off x="0" y="228600"/>
            <a:ext cx="6949440" cy="769957"/>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rgbClr val="2E67AD">
              <a:alpha val="56078"/>
            </a:srgb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2" name="Title Placeholder 1"/>
          <p:cNvSpPr>
            <a:spLocks noGrp="1"/>
          </p:cNvSpPr>
          <p:nvPr>
            <p:ph type="title"/>
          </p:nvPr>
        </p:nvSpPr>
        <p:spPr>
          <a:xfrm>
            <a:off x="107504" y="374768"/>
            <a:ext cx="5760640" cy="562074"/>
          </a:xfrm>
          <a:prstGeom prst="rect">
            <a:avLst/>
          </a:prstGeom>
        </p:spPr>
        <p:txBody>
          <a:bodyPr vert="horz" wrap="square" lIns="91440" tIns="0" rIns="91440" bIns="0" rtlCol="0" anchor="ctr">
            <a:noAutofit/>
          </a:bodyPr>
          <a:lstStyle/>
          <a:p>
            <a:r>
              <a:rPr lang="en-US" dirty="0" smtClean="0"/>
              <a:t>Click to edit Master title style</a:t>
            </a:r>
            <a:endParaRPr lang="en-US" dirty="0"/>
          </a:p>
        </p:txBody>
      </p:sp>
      <p:sp>
        <p:nvSpPr>
          <p:cNvPr id="6" name="Slide Number Placeholder 5"/>
          <p:cNvSpPr>
            <a:spLocks noGrp="1"/>
          </p:cNvSpPr>
          <p:nvPr>
            <p:ph type="sldNum" sz="quarter" idx="4"/>
          </p:nvPr>
        </p:nvSpPr>
        <p:spPr>
          <a:xfrm>
            <a:off x="8460432" y="6642000"/>
            <a:ext cx="576064" cy="216000"/>
          </a:xfrm>
          <a:prstGeom prst="rect">
            <a:avLst/>
          </a:prstGeom>
        </p:spPr>
        <p:txBody>
          <a:bodyPr vert="horz" lIns="91440" tIns="45720" rIns="91440" bIns="45720" rtlCol="0" anchor="ctr"/>
          <a:lstStyle>
            <a:lvl1pPr algn="r">
              <a:defRPr sz="1200" b="1" u="none">
                <a:solidFill>
                  <a:schemeClr val="bg1"/>
                </a:solidFill>
                <a:latin typeface="+mn-lt"/>
              </a:defRPr>
            </a:lvl1pPr>
          </a:lstStyle>
          <a:p>
            <a:pPr fontAlgn="base">
              <a:spcBef>
                <a:spcPct val="0"/>
              </a:spcBef>
              <a:spcAft>
                <a:spcPct val="0"/>
              </a:spcAft>
            </a:pPr>
            <a:fld id="{68B69B99-4CC0-4C77-940D-C46156F4FC2E}" type="slidenum">
              <a:rPr lang="en-US" smtClean="0">
                <a:solidFill>
                  <a:srgbClr val="FFFFFF"/>
                </a:solidFill>
                <a:cs typeface="Arial" charset="0"/>
              </a:rPr>
              <a:pPr fontAlgn="base">
                <a:spcBef>
                  <a:spcPct val="0"/>
                </a:spcBef>
                <a:spcAft>
                  <a:spcPct val="0"/>
                </a:spcAft>
              </a:pPr>
              <a:t>‹#›</a:t>
            </a:fld>
            <a:endParaRPr lang="en-US" dirty="0">
              <a:solidFill>
                <a:srgbClr val="FFFFFF"/>
              </a:solidFill>
              <a:cs typeface="Arial" charset="0"/>
            </a:endParaRPr>
          </a:p>
        </p:txBody>
      </p:sp>
      <p:sp>
        <p:nvSpPr>
          <p:cNvPr id="93" name="92 Rectángulo"/>
          <p:cNvSpPr/>
          <p:nvPr/>
        </p:nvSpPr>
        <p:spPr bwMode="auto">
          <a:xfrm>
            <a:off x="0" y="980728"/>
            <a:ext cx="9144000" cy="4571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61" name="Text Placeholder 60"/>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7" name="56 Rectángulo"/>
          <p:cNvSpPr/>
          <p:nvPr/>
        </p:nvSpPr>
        <p:spPr bwMode="auto">
          <a:xfrm flipV="1">
            <a:off x="0" y="914400"/>
            <a:ext cx="9143999" cy="762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3" name="94 Grupo"/>
          <p:cNvGrpSpPr/>
          <p:nvPr/>
        </p:nvGrpSpPr>
        <p:grpSpPr>
          <a:xfrm>
            <a:off x="7162800" y="303159"/>
            <a:ext cx="1559690" cy="382641"/>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70"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2"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7"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8"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9"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0"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1"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2"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3"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4"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5"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6"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7" name="Group 5"/>
            <p:cNvGrpSpPr>
              <a:grpSpLocks noChangeAspect="1"/>
            </p:cNvGrpSpPr>
            <p:nvPr userDrawn="1"/>
          </p:nvGrpSpPr>
          <p:grpSpPr bwMode="auto">
            <a:xfrm>
              <a:off x="6300192" y="2768810"/>
              <a:ext cx="791493" cy="248083"/>
              <a:chOff x="1066" y="543"/>
              <a:chExt cx="2262" cy="709"/>
            </a:xfrm>
            <a:grpFill/>
          </p:grpSpPr>
          <p:sp>
            <p:nvSpPr>
              <p:cNvPr id="65"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grpSp>
        <p:nvGrpSpPr>
          <p:cNvPr id="8" name="Group 422"/>
          <p:cNvGrpSpPr/>
          <p:nvPr/>
        </p:nvGrpSpPr>
        <p:grpSpPr>
          <a:xfrm>
            <a:off x="0" y="6189663"/>
            <a:ext cx="9145588" cy="479425"/>
            <a:chOff x="0" y="6189663"/>
            <a:chExt cx="9145588" cy="479425"/>
          </a:xfrm>
        </p:grpSpPr>
        <p:sp>
          <p:nvSpPr>
            <p:cNvPr id="424" name="AutoShape 5"/>
            <p:cNvSpPr>
              <a:spLocks noChangeAspect="1" noChangeArrowheads="1" noTextEdit="1"/>
            </p:cNvSpPr>
            <p:nvPr userDrawn="1"/>
          </p:nvSpPr>
          <p:spPr bwMode="auto">
            <a:xfrm>
              <a:off x="0" y="6189663"/>
              <a:ext cx="9144000" cy="479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5" name="Freeform 7"/>
            <p:cNvSpPr>
              <a:spLocks/>
            </p:cNvSpPr>
            <p:nvPr userDrawn="1"/>
          </p:nvSpPr>
          <p:spPr bwMode="auto">
            <a:xfrm>
              <a:off x="4113213" y="6407151"/>
              <a:ext cx="1885950" cy="165100"/>
            </a:xfrm>
            <a:custGeom>
              <a:avLst/>
              <a:gdLst/>
              <a:ahLst/>
              <a:cxnLst>
                <a:cxn ang="0">
                  <a:pos x="0" y="520"/>
                </a:cxn>
                <a:cxn ang="0">
                  <a:pos x="743" y="520"/>
                </a:cxn>
                <a:cxn ang="0">
                  <a:pos x="1486" y="520"/>
                </a:cxn>
                <a:cxn ang="0">
                  <a:pos x="2228" y="520"/>
                </a:cxn>
                <a:cxn ang="0">
                  <a:pos x="2971" y="520"/>
                </a:cxn>
                <a:cxn ang="0">
                  <a:pos x="3714" y="520"/>
                </a:cxn>
                <a:cxn ang="0">
                  <a:pos x="4457" y="520"/>
                </a:cxn>
                <a:cxn ang="0">
                  <a:pos x="5200" y="520"/>
                </a:cxn>
                <a:cxn ang="0">
                  <a:pos x="5943" y="520"/>
                </a:cxn>
                <a:cxn ang="0">
                  <a:pos x="5943" y="0"/>
                </a:cxn>
                <a:cxn ang="0">
                  <a:pos x="5200" y="0"/>
                </a:cxn>
                <a:cxn ang="0">
                  <a:pos x="4457" y="0"/>
                </a:cxn>
                <a:cxn ang="0">
                  <a:pos x="3714" y="0"/>
                </a:cxn>
                <a:cxn ang="0">
                  <a:pos x="2971" y="0"/>
                </a:cxn>
                <a:cxn ang="0">
                  <a:pos x="2228" y="0"/>
                </a:cxn>
                <a:cxn ang="0">
                  <a:pos x="1486" y="0"/>
                </a:cxn>
                <a:cxn ang="0">
                  <a:pos x="743" y="0"/>
                </a:cxn>
                <a:cxn ang="0">
                  <a:pos x="0" y="0"/>
                </a:cxn>
                <a:cxn ang="0">
                  <a:pos x="0" y="520"/>
                </a:cxn>
              </a:cxnLst>
              <a:rect l="0" t="0" r="r" b="b"/>
              <a:pathLst>
                <a:path w="5943" h="520">
                  <a:moveTo>
                    <a:pt x="0" y="520"/>
                  </a:moveTo>
                  <a:lnTo>
                    <a:pt x="743" y="520"/>
                  </a:lnTo>
                  <a:lnTo>
                    <a:pt x="1486" y="520"/>
                  </a:lnTo>
                  <a:lnTo>
                    <a:pt x="2228" y="520"/>
                  </a:lnTo>
                  <a:lnTo>
                    <a:pt x="2971" y="520"/>
                  </a:lnTo>
                  <a:lnTo>
                    <a:pt x="3714" y="520"/>
                  </a:lnTo>
                  <a:lnTo>
                    <a:pt x="4457" y="520"/>
                  </a:lnTo>
                  <a:lnTo>
                    <a:pt x="5200" y="520"/>
                  </a:lnTo>
                  <a:lnTo>
                    <a:pt x="5943" y="520"/>
                  </a:lnTo>
                  <a:lnTo>
                    <a:pt x="5943" y="0"/>
                  </a:lnTo>
                  <a:lnTo>
                    <a:pt x="5200" y="0"/>
                  </a:lnTo>
                  <a:lnTo>
                    <a:pt x="4457" y="0"/>
                  </a:lnTo>
                  <a:lnTo>
                    <a:pt x="3714" y="0"/>
                  </a:lnTo>
                  <a:lnTo>
                    <a:pt x="2971" y="0"/>
                  </a:lnTo>
                  <a:lnTo>
                    <a:pt x="2228" y="0"/>
                  </a:lnTo>
                  <a:lnTo>
                    <a:pt x="1486" y="0"/>
                  </a:lnTo>
                  <a:lnTo>
                    <a:pt x="743" y="0"/>
                  </a:lnTo>
                  <a:lnTo>
                    <a:pt x="0" y="0"/>
                  </a:lnTo>
                  <a:lnTo>
                    <a:pt x="0" y="520"/>
                  </a:lnTo>
                  <a:close/>
                </a:path>
              </a:pathLst>
            </a:custGeom>
            <a:solidFill>
              <a:srgbClr val="99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6" name="Freeform 8"/>
            <p:cNvSpPr>
              <a:spLocks noEditPoints="1"/>
            </p:cNvSpPr>
            <p:nvPr userDrawn="1"/>
          </p:nvSpPr>
          <p:spPr bwMode="auto">
            <a:xfrm>
              <a:off x="0" y="6208713"/>
              <a:ext cx="4546600" cy="363538"/>
            </a:xfrm>
            <a:custGeom>
              <a:avLst/>
              <a:gdLst/>
              <a:ahLst/>
              <a:cxnLst>
                <a:cxn ang="0">
                  <a:pos x="12835" y="583"/>
                </a:cxn>
                <a:cxn ang="0">
                  <a:pos x="5200" y="624"/>
                </a:cxn>
                <a:cxn ang="0">
                  <a:pos x="5005" y="512"/>
                </a:cxn>
                <a:cxn ang="0">
                  <a:pos x="5200" y="399"/>
                </a:cxn>
                <a:cxn ang="0">
                  <a:pos x="5508" y="396"/>
                </a:cxn>
                <a:cxn ang="0">
                  <a:pos x="5508" y="488"/>
                </a:cxn>
                <a:cxn ang="0">
                  <a:pos x="5508" y="427"/>
                </a:cxn>
                <a:cxn ang="0">
                  <a:pos x="11042" y="409"/>
                </a:cxn>
                <a:cxn ang="0">
                  <a:pos x="10776" y="357"/>
                </a:cxn>
                <a:cxn ang="0">
                  <a:pos x="10488" y="406"/>
                </a:cxn>
                <a:cxn ang="0">
                  <a:pos x="10427" y="409"/>
                </a:cxn>
                <a:cxn ang="0">
                  <a:pos x="9997" y="512"/>
                </a:cxn>
                <a:cxn ang="0">
                  <a:pos x="9843" y="624"/>
                </a:cxn>
                <a:cxn ang="0">
                  <a:pos x="9679" y="358"/>
                </a:cxn>
                <a:cxn ang="0">
                  <a:pos x="9125" y="409"/>
                </a:cxn>
                <a:cxn ang="0">
                  <a:pos x="8966" y="598"/>
                </a:cxn>
                <a:cxn ang="0">
                  <a:pos x="8791" y="624"/>
                </a:cxn>
                <a:cxn ang="0">
                  <a:pos x="8500" y="215"/>
                </a:cxn>
                <a:cxn ang="0">
                  <a:pos x="8378" y="184"/>
                </a:cxn>
                <a:cxn ang="0">
                  <a:pos x="8173" y="563"/>
                </a:cxn>
                <a:cxn ang="0">
                  <a:pos x="7978" y="533"/>
                </a:cxn>
                <a:cxn ang="0">
                  <a:pos x="7762" y="512"/>
                </a:cxn>
                <a:cxn ang="0">
                  <a:pos x="7680" y="462"/>
                </a:cxn>
                <a:cxn ang="0">
                  <a:pos x="7644" y="338"/>
                </a:cxn>
                <a:cxn ang="0">
                  <a:pos x="7602" y="455"/>
                </a:cxn>
                <a:cxn ang="0">
                  <a:pos x="7537" y="512"/>
                </a:cxn>
                <a:cxn ang="0">
                  <a:pos x="7414" y="583"/>
                </a:cxn>
                <a:cxn ang="0">
                  <a:pos x="7363" y="583"/>
                </a:cxn>
                <a:cxn ang="0">
                  <a:pos x="7147" y="492"/>
                </a:cxn>
                <a:cxn ang="0">
                  <a:pos x="7015" y="492"/>
                </a:cxn>
                <a:cxn ang="0">
                  <a:pos x="6758" y="195"/>
                </a:cxn>
                <a:cxn ang="0">
                  <a:pos x="6615" y="624"/>
                </a:cxn>
                <a:cxn ang="0">
                  <a:pos x="6461" y="443"/>
                </a:cxn>
                <a:cxn ang="0">
                  <a:pos x="6425" y="420"/>
                </a:cxn>
                <a:cxn ang="0">
                  <a:pos x="6354" y="462"/>
                </a:cxn>
                <a:cxn ang="0">
                  <a:pos x="6041" y="553"/>
                </a:cxn>
                <a:cxn ang="0">
                  <a:pos x="5815" y="512"/>
                </a:cxn>
                <a:cxn ang="0">
                  <a:pos x="5498" y="277"/>
                </a:cxn>
                <a:cxn ang="0">
                  <a:pos x="5191" y="286"/>
                </a:cxn>
                <a:cxn ang="0">
                  <a:pos x="5109" y="286"/>
                </a:cxn>
                <a:cxn ang="0">
                  <a:pos x="4791" y="669"/>
                </a:cxn>
                <a:cxn ang="0">
                  <a:pos x="2649" y="838"/>
                </a:cxn>
                <a:cxn ang="0">
                  <a:pos x="1428" y="1115"/>
                </a:cxn>
                <a:cxn ang="0">
                  <a:pos x="6327" y="1107"/>
                </a:cxn>
                <a:cxn ang="0">
                  <a:pos x="10631" y="1107"/>
                </a:cxn>
                <a:cxn ang="0">
                  <a:pos x="14321" y="624"/>
                </a:cxn>
                <a:cxn ang="0">
                  <a:pos x="13880" y="368"/>
                </a:cxn>
                <a:cxn ang="0">
                  <a:pos x="13532" y="512"/>
                </a:cxn>
                <a:cxn ang="0">
                  <a:pos x="13112" y="624"/>
                </a:cxn>
                <a:cxn ang="0">
                  <a:pos x="12528" y="624"/>
                </a:cxn>
                <a:cxn ang="0">
                  <a:pos x="12333" y="123"/>
                </a:cxn>
                <a:cxn ang="0">
                  <a:pos x="12260" y="379"/>
                </a:cxn>
                <a:cxn ang="0">
                  <a:pos x="12179" y="388"/>
                </a:cxn>
                <a:cxn ang="0">
                  <a:pos x="11994" y="481"/>
                </a:cxn>
                <a:cxn ang="0">
                  <a:pos x="11919" y="272"/>
                </a:cxn>
                <a:cxn ang="0">
                  <a:pos x="11879" y="309"/>
                </a:cxn>
                <a:cxn ang="0">
                  <a:pos x="11826" y="266"/>
                </a:cxn>
                <a:cxn ang="0">
                  <a:pos x="11769" y="338"/>
                </a:cxn>
              </a:cxnLst>
              <a:rect l="0" t="0" r="r" b="b"/>
              <a:pathLst>
                <a:path w="14321" h="1147">
                  <a:moveTo>
                    <a:pt x="12835" y="604"/>
                  </a:moveTo>
                  <a:lnTo>
                    <a:pt x="12896" y="604"/>
                  </a:lnTo>
                  <a:lnTo>
                    <a:pt x="12896" y="624"/>
                  </a:lnTo>
                  <a:lnTo>
                    <a:pt x="12835" y="624"/>
                  </a:lnTo>
                  <a:lnTo>
                    <a:pt x="12835" y="604"/>
                  </a:lnTo>
                  <a:close/>
                  <a:moveTo>
                    <a:pt x="12896" y="583"/>
                  </a:moveTo>
                  <a:lnTo>
                    <a:pt x="12835" y="583"/>
                  </a:lnTo>
                  <a:lnTo>
                    <a:pt x="12835" y="563"/>
                  </a:lnTo>
                  <a:lnTo>
                    <a:pt x="12896" y="563"/>
                  </a:lnTo>
                  <a:lnTo>
                    <a:pt x="12896" y="583"/>
                  </a:lnTo>
                  <a:close/>
                  <a:moveTo>
                    <a:pt x="5200" y="451"/>
                  </a:moveTo>
                  <a:lnTo>
                    <a:pt x="5406" y="451"/>
                  </a:lnTo>
                  <a:lnTo>
                    <a:pt x="5406" y="624"/>
                  </a:lnTo>
                  <a:lnTo>
                    <a:pt x="5200" y="624"/>
                  </a:lnTo>
                  <a:lnTo>
                    <a:pt x="5200" y="451"/>
                  </a:lnTo>
                  <a:close/>
                  <a:moveTo>
                    <a:pt x="5035" y="512"/>
                  </a:moveTo>
                  <a:lnTo>
                    <a:pt x="5098" y="450"/>
                  </a:lnTo>
                  <a:lnTo>
                    <a:pt x="5098" y="465"/>
                  </a:lnTo>
                  <a:lnTo>
                    <a:pt x="5052" y="512"/>
                  </a:lnTo>
                  <a:lnTo>
                    <a:pt x="5035" y="512"/>
                  </a:lnTo>
                  <a:close/>
                  <a:moveTo>
                    <a:pt x="5005" y="512"/>
                  </a:moveTo>
                  <a:lnTo>
                    <a:pt x="5098" y="418"/>
                  </a:lnTo>
                  <a:lnTo>
                    <a:pt x="5098" y="435"/>
                  </a:lnTo>
                  <a:lnTo>
                    <a:pt x="5021" y="512"/>
                  </a:lnTo>
                  <a:lnTo>
                    <a:pt x="5005" y="512"/>
                  </a:lnTo>
                  <a:close/>
                  <a:moveTo>
                    <a:pt x="5406" y="409"/>
                  </a:moveTo>
                  <a:lnTo>
                    <a:pt x="5200" y="409"/>
                  </a:lnTo>
                  <a:lnTo>
                    <a:pt x="5200" y="399"/>
                  </a:lnTo>
                  <a:lnTo>
                    <a:pt x="5406" y="399"/>
                  </a:lnTo>
                  <a:lnTo>
                    <a:pt x="5406" y="409"/>
                  </a:lnTo>
                  <a:close/>
                  <a:moveTo>
                    <a:pt x="5611" y="499"/>
                  </a:moveTo>
                  <a:lnTo>
                    <a:pt x="5611" y="512"/>
                  </a:lnTo>
                  <a:lnTo>
                    <a:pt x="5607" y="512"/>
                  </a:lnTo>
                  <a:lnTo>
                    <a:pt x="5508" y="412"/>
                  </a:lnTo>
                  <a:lnTo>
                    <a:pt x="5508" y="396"/>
                  </a:lnTo>
                  <a:lnTo>
                    <a:pt x="5611" y="499"/>
                  </a:lnTo>
                  <a:close/>
                  <a:moveTo>
                    <a:pt x="5508" y="474"/>
                  </a:moveTo>
                  <a:lnTo>
                    <a:pt x="5508" y="458"/>
                  </a:lnTo>
                  <a:lnTo>
                    <a:pt x="5563" y="512"/>
                  </a:lnTo>
                  <a:lnTo>
                    <a:pt x="5546" y="512"/>
                  </a:lnTo>
                  <a:lnTo>
                    <a:pt x="5508" y="474"/>
                  </a:lnTo>
                  <a:close/>
                  <a:moveTo>
                    <a:pt x="5508" y="488"/>
                  </a:moveTo>
                  <a:lnTo>
                    <a:pt x="5531" y="512"/>
                  </a:lnTo>
                  <a:lnTo>
                    <a:pt x="5508" y="512"/>
                  </a:lnTo>
                  <a:lnTo>
                    <a:pt x="5508" y="488"/>
                  </a:lnTo>
                  <a:close/>
                  <a:moveTo>
                    <a:pt x="5593" y="512"/>
                  </a:moveTo>
                  <a:lnTo>
                    <a:pt x="5577" y="512"/>
                  </a:lnTo>
                  <a:lnTo>
                    <a:pt x="5508" y="443"/>
                  </a:lnTo>
                  <a:lnTo>
                    <a:pt x="5508" y="427"/>
                  </a:lnTo>
                  <a:lnTo>
                    <a:pt x="5593" y="512"/>
                  </a:lnTo>
                  <a:close/>
                  <a:moveTo>
                    <a:pt x="12896" y="501"/>
                  </a:moveTo>
                  <a:lnTo>
                    <a:pt x="12835" y="501"/>
                  </a:lnTo>
                  <a:lnTo>
                    <a:pt x="12896" y="501"/>
                  </a:lnTo>
                  <a:close/>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7" name="Rectangle 9"/>
            <p:cNvSpPr>
              <a:spLocks noChangeArrowheads="1"/>
            </p:cNvSpPr>
            <p:nvPr userDrawn="1"/>
          </p:nvSpPr>
          <p:spPr bwMode="auto">
            <a:xfrm>
              <a:off x="4075113" y="64008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8" name="Rectangle 10"/>
            <p:cNvSpPr>
              <a:spLocks noChangeArrowheads="1"/>
            </p:cNvSpPr>
            <p:nvPr userDrawn="1"/>
          </p:nvSpPr>
          <p:spPr bwMode="auto">
            <a:xfrm>
              <a:off x="4075113" y="63881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9" name="Rectangle 11"/>
            <p:cNvSpPr>
              <a:spLocks noChangeArrowheads="1"/>
            </p:cNvSpPr>
            <p:nvPr userDrawn="1"/>
          </p:nvSpPr>
          <p:spPr bwMode="auto">
            <a:xfrm>
              <a:off x="1651000" y="6351588"/>
              <a:ext cx="65088" cy="55563"/>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0" name="Freeform 12"/>
            <p:cNvSpPr>
              <a:spLocks/>
            </p:cNvSpPr>
            <p:nvPr userDrawn="1"/>
          </p:nvSpPr>
          <p:spPr bwMode="auto">
            <a:xfrm>
              <a:off x="1598613" y="6351588"/>
              <a:ext cx="20638" cy="19050"/>
            </a:xfrm>
            <a:custGeom>
              <a:avLst/>
              <a:gdLst/>
              <a:ahLst/>
              <a:cxnLst>
                <a:cxn ang="0">
                  <a:pos x="0" y="62"/>
                </a:cxn>
                <a:cxn ang="0">
                  <a:pos x="63" y="0"/>
                </a:cxn>
                <a:cxn ang="0">
                  <a:pos x="63" y="15"/>
                </a:cxn>
                <a:cxn ang="0">
                  <a:pos x="17" y="62"/>
                </a:cxn>
                <a:cxn ang="0">
                  <a:pos x="0" y="62"/>
                </a:cxn>
              </a:cxnLst>
              <a:rect l="0" t="0" r="r" b="b"/>
              <a:pathLst>
                <a:path w="63" h="62">
                  <a:moveTo>
                    <a:pt x="0" y="62"/>
                  </a:moveTo>
                  <a:lnTo>
                    <a:pt x="63" y="0"/>
                  </a:lnTo>
                  <a:lnTo>
                    <a:pt x="63" y="15"/>
                  </a:lnTo>
                  <a:lnTo>
                    <a:pt x="17" y="62"/>
                  </a:lnTo>
                  <a:lnTo>
                    <a:pt x="0" y="62"/>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1" name="Freeform 13"/>
            <p:cNvSpPr>
              <a:spLocks/>
            </p:cNvSpPr>
            <p:nvPr userDrawn="1"/>
          </p:nvSpPr>
          <p:spPr bwMode="auto">
            <a:xfrm>
              <a:off x="1589088" y="6342063"/>
              <a:ext cx="30163" cy="28575"/>
            </a:xfrm>
            <a:custGeom>
              <a:avLst/>
              <a:gdLst/>
              <a:ahLst/>
              <a:cxnLst>
                <a:cxn ang="0">
                  <a:pos x="0" y="94"/>
                </a:cxn>
                <a:cxn ang="0">
                  <a:pos x="93" y="0"/>
                </a:cxn>
                <a:cxn ang="0">
                  <a:pos x="93" y="17"/>
                </a:cxn>
                <a:cxn ang="0">
                  <a:pos x="16" y="94"/>
                </a:cxn>
                <a:cxn ang="0">
                  <a:pos x="0" y="94"/>
                </a:cxn>
              </a:cxnLst>
              <a:rect l="0" t="0" r="r" b="b"/>
              <a:pathLst>
                <a:path w="93" h="94">
                  <a:moveTo>
                    <a:pt x="0" y="94"/>
                  </a:moveTo>
                  <a:lnTo>
                    <a:pt x="93" y="0"/>
                  </a:lnTo>
                  <a:lnTo>
                    <a:pt x="93" y="17"/>
                  </a:lnTo>
                  <a:lnTo>
                    <a:pt x="16" y="94"/>
                  </a:lnTo>
                  <a:lnTo>
                    <a:pt x="0" y="9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2" name="Rectangle 14"/>
            <p:cNvSpPr>
              <a:spLocks noChangeArrowheads="1"/>
            </p:cNvSpPr>
            <p:nvPr userDrawn="1"/>
          </p:nvSpPr>
          <p:spPr bwMode="auto">
            <a:xfrm>
              <a:off x="1651000" y="6335713"/>
              <a:ext cx="65088" cy="3175"/>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3" name="Freeform 15"/>
            <p:cNvSpPr>
              <a:spLocks/>
            </p:cNvSpPr>
            <p:nvPr userDrawn="1"/>
          </p:nvSpPr>
          <p:spPr bwMode="auto">
            <a:xfrm>
              <a:off x="1749425" y="6334126"/>
              <a:ext cx="31750" cy="36513"/>
            </a:xfrm>
            <a:custGeom>
              <a:avLst/>
              <a:gdLst/>
              <a:ahLst/>
              <a:cxnLst>
                <a:cxn ang="0">
                  <a:pos x="103" y="103"/>
                </a:cxn>
                <a:cxn ang="0">
                  <a:pos x="103" y="116"/>
                </a:cxn>
                <a:cxn ang="0">
                  <a:pos x="99" y="116"/>
                </a:cxn>
                <a:cxn ang="0">
                  <a:pos x="0" y="16"/>
                </a:cxn>
                <a:cxn ang="0">
                  <a:pos x="0" y="0"/>
                </a:cxn>
                <a:cxn ang="0">
                  <a:pos x="103" y="103"/>
                </a:cxn>
              </a:cxnLst>
              <a:rect l="0" t="0" r="r" b="b"/>
              <a:pathLst>
                <a:path w="103" h="116">
                  <a:moveTo>
                    <a:pt x="103" y="103"/>
                  </a:moveTo>
                  <a:lnTo>
                    <a:pt x="103" y="116"/>
                  </a:lnTo>
                  <a:lnTo>
                    <a:pt x="99" y="116"/>
                  </a:lnTo>
                  <a:lnTo>
                    <a:pt x="0" y="16"/>
                  </a:lnTo>
                  <a:lnTo>
                    <a:pt x="0" y="0"/>
                  </a:lnTo>
                  <a:lnTo>
                    <a:pt x="103" y="103"/>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4" name="Freeform 16"/>
            <p:cNvSpPr>
              <a:spLocks/>
            </p:cNvSpPr>
            <p:nvPr userDrawn="1"/>
          </p:nvSpPr>
          <p:spPr bwMode="auto">
            <a:xfrm>
              <a:off x="1749425" y="6354763"/>
              <a:ext cx="17463" cy="15875"/>
            </a:xfrm>
            <a:custGeom>
              <a:avLst/>
              <a:gdLst/>
              <a:ahLst/>
              <a:cxnLst>
                <a:cxn ang="0">
                  <a:pos x="0" y="16"/>
                </a:cxn>
                <a:cxn ang="0">
                  <a:pos x="0" y="0"/>
                </a:cxn>
                <a:cxn ang="0">
                  <a:pos x="55" y="54"/>
                </a:cxn>
                <a:cxn ang="0">
                  <a:pos x="38" y="54"/>
                </a:cxn>
                <a:cxn ang="0">
                  <a:pos x="0" y="16"/>
                </a:cxn>
              </a:cxnLst>
              <a:rect l="0" t="0" r="r" b="b"/>
              <a:pathLst>
                <a:path w="55" h="54">
                  <a:moveTo>
                    <a:pt x="0" y="16"/>
                  </a:moveTo>
                  <a:lnTo>
                    <a:pt x="0" y="0"/>
                  </a:lnTo>
                  <a:lnTo>
                    <a:pt x="55" y="54"/>
                  </a:lnTo>
                  <a:lnTo>
                    <a:pt x="38" y="54"/>
                  </a:lnTo>
                  <a:lnTo>
                    <a:pt x="0" y="16"/>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5" name="Freeform 17"/>
            <p:cNvSpPr>
              <a:spLocks/>
            </p:cNvSpPr>
            <p:nvPr userDrawn="1"/>
          </p:nvSpPr>
          <p:spPr bwMode="auto">
            <a:xfrm>
              <a:off x="1749425" y="6364288"/>
              <a:ext cx="6350" cy="6350"/>
            </a:xfrm>
            <a:custGeom>
              <a:avLst/>
              <a:gdLst/>
              <a:ahLst/>
              <a:cxnLst>
                <a:cxn ang="0">
                  <a:pos x="0" y="0"/>
                </a:cxn>
                <a:cxn ang="0">
                  <a:pos x="23" y="24"/>
                </a:cxn>
                <a:cxn ang="0">
                  <a:pos x="0" y="24"/>
                </a:cxn>
                <a:cxn ang="0">
                  <a:pos x="0" y="0"/>
                </a:cxn>
              </a:cxnLst>
              <a:rect l="0" t="0" r="r" b="b"/>
              <a:pathLst>
                <a:path w="23" h="24">
                  <a:moveTo>
                    <a:pt x="0" y="0"/>
                  </a:moveTo>
                  <a:lnTo>
                    <a:pt x="23" y="24"/>
                  </a:lnTo>
                  <a:lnTo>
                    <a:pt x="0" y="24"/>
                  </a:lnTo>
                  <a:lnTo>
                    <a:pt x="0"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6" name="Freeform 18"/>
            <p:cNvSpPr>
              <a:spLocks/>
            </p:cNvSpPr>
            <p:nvPr userDrawn="1"/>
          </p:nvSpPr>
          <p:spPr bwMode="auto">
            <a:xfrm>
              <a:off x="1749425" y="6343651"/>
              <a:ext cx="26988" cy="26988"/>
            </a:xfrm>
            <a:custGeom>
              <a:avLst/>
              <a:gdLst/>
              <a:ahLst/>
              <a:cxnLst>
                <a:cxn ang="0">
                  <a:pos x="85" y="85"/>
                </a:cxn>
                <a:cxn ang="0">
                  <a:pos x="69" y="85"/>
                </a:cxn>
                <a:cxn ang="0">
                  <a:pos x="0" y="16"/>
                </a:cxn>
                <a:cxn ang="0">
                  <a:pos x="0" y="0"/>
                </a:cxn>
                <a:cxn ang="0">
                  <a:pos x="85" y="85"/>
                </a:cxn>
              </a:cxnLst>
              <a:rect l="0" t="0" r="r" b="b"/>
              <a:pathLst>
                <a:path w="85" h="85">
                  <a:moveTo>
                    <a:pt x="85" y="85"/>
                  </a:moveTo>
                  <a:lnTo>
                    <a:pt x="69" y="85"/>
                  </a:lnTo>
                  <a:lnTo>
                    <a:pt x="0" y="16"/>
                  </a:lnTo>
                  <a:lnTo>
                    <a:pt x="0" y="0"/>
                  </a:lnTo>
                  <a:lnTo>
                    <a:pt x="85" y="85"/>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7" name="Freeform 19"/>
            <p:cNvSpPr>
              <a:spLocks/>
            </p:cNvSpPr>
            <p:nvPr userDrawn="1"/>
          </p:nvSpPr>
          <p:spPr bwMode="auto">
            <a:xfrm>
              <a:off x="4075113" y="6367463"/>
              <a:ext cx="19050" cy="1588"/>
            </a:xfrm>
            <a:custGeom>
              <a:avLst/>
              <a:gdLst/>
              <a:ahLst/>
              <a:cxnLst>
                <a:cxn ang="0">
                  <a:pos x="61" y="0"/>
                </a:cxn>
                <a:cxn ang="0">
                  <a:pos x="0" y="0"/>
                </a:cxn>
                <a:cxn ang="0">
                  <a:pos x="61" y="0"/>
                </a:cxn>
              </a:cxnLst>
              <a:rect l="0" t="0" r="r" b="b"/>
              <a:pathLst>
                <a:path w="61">
                  <a:moveTo>
                    <a:pt x="61" y="0"/>
                  </a:moveTo>
                  <a:lnTo>
                    <a:pt x="0" y="0"/>
                  </a:lnTo>
                  <a:lnTo>
                    <a:pt x="61"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8" name="Freeform 20"/>
            <p:cNvSpPr>
              <a:spLocks/>
            </p:cNvSpPr>
            <p:nvPr userDrawn="1"/>
          </p:nvSpPr>
          <p:spPr bwMode="auto">
            <a:xfrm>
              <a:off x="0" y="6208713"/>
              <a:ext cx="4546600" cy="363538"/>
            </a:xfrm>
            <a:custGeom>
              <a:avLst/>
              <a:gdLst/>
              <a:ahLst/>
              <a:cxnLst>
                <a:cxn ang="0">
                  <a:pos x="10943" y="387"/>
                </a:cxn>
                <a:cxn ang="0">
                  <a:pos x="10699" y="357"/>
                </a:cxn>
                <a:cxn ang="0">
                  <a:pos x="10488" y="256"/>
                </a:cxn>
                <a:cxn ang="0">
                  <a:pos x="10427" y="409"/>
                </a:cxn>
                <a:cxn ang="0">
                  <a:pos x="9997" y="388"/>
                </a:cxn>
                <a:cxn ang="0">
                  <a:pos x="9884" y="512"/>
                </a:cxn>
                <a:cxn ang="0">
                  <a:pos x="9709" y="307"/>
                </a:cxn>
                <a:cxn ang="0">
                  <a:pos x="9464" y="409"/>
                </a:cxn>
                <a:cxn ang="0">
                  <a:pos x="9047" y="624"/>
                </a:cxn>
                <a:cxn ang="0">
                  <a:pos x="8919" y="596"/>
                </a:cxn>
                <a:cxn ang="0">
                  <a:pos x="8791" y="624"/>
                </a:cxn>
                <a:cxn ang="0">
                  <a:pos x="8500" y="481"/>
                </a:cxn>
                <a:cxn ang="0">
                  <a:pos x="8418" y="215"/>
                </a:cxn>
                <a:cxn ang="0">
                  <a:pos x="8214" y="481"/>
                </a:cxn>
                <a:cxn ang="0">
                  <a:pos x="8090" y="624"/>
                </a:cxn>
                <a:cxn ang="0">
                  <a:pos x="7803" y="553"/>
                </a:cxn>
                <a:cxn ang="0">
                  <a:pos x="7742" y="512"/>
                </a:cxn>
                <a:cxn ang="0">
                  <a:pos x="7680" y="462"/>
                </a:cxn>
                <a:cxn ang="0">
                  <a:pos x="7644" y="429"/>
                </a:cxn>
                <a:cxn ang="0">
                  <a:pos x="7618" y="444"/>
                </a:cxn>
                <a:cxn ang="0">
                  <a:pos x="7558" y="512"/>
                </a:cxn>
                <a:cxn ang="0">
                  <a:pos x="7496" y="492"/>
                </a:cxn>
                <a:cxn ang="0">
                  <a:pos x="7394" y="533"/>
                </a:cxn>
                <a:cxn ang="0">
                  <a:pos x="7353" y="583"/>
                </a:cxn>
                <a:cxn ang="0">
                  <a:pos x="7147" y="492"/>
                </a:cxn>
                <a:cxn ang="0">
                  <a:pos x="7015" y="512"/>
                </a:cxn>
                <a:cxn ang="0">
                  <a:pos x="6881" y="624"/>
                </a:cxn>
                <a:cxn ang="0">
                  <a:pos x="6661" y="135"/>
                </a:cxn>
                <a:cxn ang="0">
                  <a:pos x="6515" y="471"/>
                </a:cxn>
                <a:cxn ang="0">
                  <a:pos x="6452" y="428"/>
                </a:cxn>
                <a:cxn ang="0">
                  <a:pos x="6416" y="423"/>
                </a:cxn>
                <a:cxn ang="0">
                  <a:pos x="6354" y="462"/>
                </a:cxn>
                <a:cxn ang="0">
                  <a:pos x="6215" y="553"/>
                </a:cxn>
                <a:cxn ang="0">
                  <a:pos x="5847" y="624"/>
                </a:cxn>
                <a:cxn ang="0">
                  <a:pos x="5508" y="381"/>
                </a:cxn>
                <a:cxn ang="0">
                  <a:pos x="5406" y="286"/>
                </a:cxn>
                <a:cxn ang="0">
                  <a:pos x="5170" y="277"/>
                </a:cxn>
                <a:cxn ang="0">
                  <a:pos x="5098" y="286"/>
                </a:cxn>
                <a:cxn ang="0">
                  <a:pos x="4791" y="669"/>
                </a:cxn>
                <a:cxn ang="0">
                  <a:pos x="3179" y="790"/>
                </a:cxn>
                <a:cxn ang="0">
                  <a:pos x="0" y="1083"/>
                </a:cxn>
                <a:cxn ang="0">
                  <a:pos x="4484" y="1107"/>
                </a:cxn>
                <a:cxn ang="0">
                  <a:pos x="8172" y="1107"/>
                </a:cxn>
                <a:cxn ang="0">
                  <a:pos x="11861" y="1107"/>
                </a:cxn>
                <a:cxn ang="0">
                  <a:pos x="14116" y="624"/>
                </a:cxn>
                <a:cxn ang="0">
                  <a:pos x="13880" y="368"/>
                </a:cxn>
                <a:cxn ang="0">
                  <a:pos x="13644" y="512"/>
                </a:cxn>
                <a:cxn ang="0">
                  <a:pos x="13214" y="512"/>
                </a:cxn>
                <a:cxn ang="0">
                  <a:pos x="12630" y="558"/>
                </a:cxn>
                <a:cxn ang="0">
                  <a:pos x="12476" y="440"/>
                </a:cxn>
                <a:cxn ang="0">
                  <a:pos x="12312" y="0"/>
                </a:cxn>
                <a:cxn ang="0">
                  <a:pos x="12260" y="440"/>
                </a:cxn>
                <a:cxn ang="0">
                  <a:pos x="12179" y="388"/>
                </a:cxn>
                <a:cxn ang="0">
                  <a:pos x="12067" y="481"/>
                </a:cxn>
                <a:cxn ang="0">
                  <a:pos x="11937" y="309"/>
                </a:cxn>
                <a:cxn ang="0">
                  <a:pos x="11897" y="272"/>
                </a:cxn>
                <a:cxn ang="0">
                  <a:pos x="11854" y="309"/>
                </a:cxn>
                <a:cxn ang="0">
                  <a:pos x="11814" y="272"/>
                </a:cxn>
                <a:cxn ang="0">
                  <a:pos x="11769" y="327"/>
                </a:cxn>
              </a:cxnLst>
              <a:rect l="0" t="0" r="r" b="b"/>
              <a:pathLst>
                <a:path w="14321" h="1147">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9" name="Freeform 21"/>
            <p:cNvSpPr>
              <a:spLocks noEditPoints="1"/>
            </p:cNvSpPr>
            <p:nvPr userDrawn="1"/>
          </p:nvSpPr>
          <p:spPr bwMode="auto">
            <a:xfrm>
              <a:off x="3754438" y="6208713"/>
              <a:ext cx="708025" cy="350838"/>
            </a:xfrm>
            <a:custGeom>
              <a:avLst/>
              <a:gdLst/>
              <a:ahLst/>
              <a:cxnLst>
                <a:cxn ang="0">
                  <a:pos x="802" y="605"/>
                </a:cxn>
                <a:cxn ang="0">
                  <a:pos x="740" y="625"/>
                </a:cxn>
                <a:cxn ang="0">
                  <a:pos x="802" y="583"/>
                </a:cxn>
                <a:cxn ang="0">
                  <a:pos x="740" y="563"/>
                </a:cxn>
                <a:cxn ang="0">
                  <a:pos x="802" y="583"/>
                </a:cxn>
                <a:cxn ang="0">
                  <a:pos x="740" y="501"/>
                </a:cxn>
                <a:cxn ang="0">
                  <a:pos x="0" y="1107"/>
                </a:cxn>
                <a:cxn ang="0">
                  <a:pos x="1113" y="1107"/>
                </a:cxn>
                <a:cxn ang="0">
                  <a:pos x="2226" y="1107"/>
                </a:cxn>
                <a:cxn ang="0">
                  <a:pos x="2022" y="625"/>
                </a:cxn>
                <a:cxn ang="0">
                  <a:pos x="1981" y="369"/>
                </a:cxn>
                <a:cxn ang="0">
                  <a:pos x="1806" y="185"/>
                </a:cxn>
                <a:cxn ang="0">
                  <a:pos x="1786" y="369"/>
                </a:cxn>
                <a:cxn ang="0">
                  <a:pos x="1612" y="276"/>
                </a:cxn>
                <a:cxn ang="0">
                  <a:pos x="1612" y="625"/>
                </a:cxn>
                <a:cxn ang="0">
                  <a:pos x="1550" y="512"/>
                </a:cxn>
                <a:cxn ang="0">
                  <a:pos x="1438" y="440"/>
                </a:cxn>
                <a:cxn ang="0">
                  <a:pos x="1222" y="392"/>
                </a:cxn>
                <a:cxn ang="0">
                  <a:pos x="1120" y="512"/>
                </a:cxn>
                <a:cxn ang="0">
                  <a:pos x="1017" y="625"/>
                </a:cxn>
                <a:cxn ang="0">
                  <a:pos x="545" y="625"/>
                </a:cxn>
                <a:cxn ang="0">
                  <a:pos x="536" y="559"/>
                </a:cxn>
                <a:cxn ang="0">
                  <a:pos x="443" y="625"/>
                </a:cxn>
                <a:cxn ang="0">
                  <a:pos x="433" y="522"/>
                </a:cxn>
                <a:cxn ang="0">
                  <a:pos x="382" y="440"/>
                </a:cxn>
                <a:cxn ang="0">
                  <a:pos x="249" y="379"/>
                </a:cxn>
                <a:cxn ang="0">
                  <a:pos x="238" y="123"/>
                </a:cxn>
                <a:cxn ang="0">
                  <a:pos x="218" y="0"/>
                </a:cxn>
                <a:cxn ang="0">
                  <a:pos x="197" y="123"/>
                </a:cxn>
                <a:cxn ang="0">
                  <a:pos x="177" y="379"/>
                </a:cxn>
                <a:cxn ang="0">
                  <a:pos x="166" y="440"/>
                </a:cxn>
                <a:cxn ang="0">
                  <a:pos x="146" y="267"/>
                </a:cxn>
                <a:cxn ang="0">
                  <a:pos x="95" y="440"/>
                </a:cxn>
                <a:cxn ang="0">
                  <a:pos x="84" y="389"/>
                </a:cxn>
                <a:cxn ang="0">
                  <a:pos x="0" y="1107"/>
                </a:cxn>
              </a:cxnLst>
              <a:rect l="0" t="0" r="r" b="b"/>
              <a:pathLst>
                <a:path w="2226" h="1107">
                  <a:moveTo>
                    <a:pt x="740" y="605"/>
                  </a:moveTo>
                  <a:lnTo>
                    <a:pt x="802" y="605"/>
                  </a:lnTo>
                  <a:lnTo>
                    <a:pt x="802" y="625"/>
                  </a:lnTo>
                  <a:lnTo>
                    <a:pt x="740" y="625"/>
                  </a:lnTo>
                  <a:lnTo>
                    <a:pt x="740" y="605"/>
                  </a:lnTo>
                  <a:close/>
                  <a:moveTo>
                    <a:pt x="802" y="583"/>
                  </a:moveTo>
                  <a:lnTo>
                    <a:pt x="740" y="583"/>
                  </a:lnTo>
                  <a:lnTo>
                    <a:pt x="740" y="563"/>
                  </a:lnTo>
                  <a:lnTo>
                    <a:pt x="802" y="563"/>
                  </a:lnTo>
                  <a:lnTo>
                    <a:pt x="802" y="583"/>
                  </a:lnTo>
                  <a:close/>
                  <a:moveTo>
                    <a:pt x="802" y="501"/>
                  </a:moveTo>
                  <a:lnTo>
                    <a:pt x="740" y="501"/>
                  </a:lnTo>
                  <a:lnTo>
                    <a:pt x="802" y="501"/>
                  </a:lnTo>
                  <a:close/>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0" name="Rectangle 22"/>
            <p:cNvSpPr>
              <a:spLocks noChangeArrowheads="1"/>
            </p:cNvSpPr>
            <p:nvPr userDrawn="1"/>
          </p:nvSpPr>
          <p:spPr bwMode="auto">
            <a:xfrm>
              <a:off x="3989388" y="6400801"/>
              <a:ext cx="2063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1" name="Rectangle 23"/>
            <p:cNvSpPr>
              <a:spLocks noChangeArrowheads="1"/>
            </p:cNvSpPr>
            <p:nvPr userDrawn="1"/>
          </p:nvSpPr>
          <p:spPr bwMode="auto">
            <a:xfrm>
              <a:off x="3989388" y="6386513"/>
              <a:ext cx="20638" cy="6350"/>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2" name="Freeform 24"/>
            <p:cNvSpPr>
              <a:spLocks/>
            </p:cNvSpPr>
            <p:nvPr userDrawn="1"/>
          </p:nvSpPr>
          <p:spPr bwMode="auto">
            <a:xfrm>
              <a:off x="3989388" y="6367463"/>
              <a:ext cx="20638" cy="1588"/>
            </a:xfrm>
            <a:custGeom>
              <a:avLst/>
              <a:gdLst/>
              <a:ahLst/>
              <a:cxnLst>
                <a:cxn ang="0">
                  <a:pos x="62" y="0"/>
                </a:cxn>
                <a:cxn ang="0">
                  <a:pos x="0" y="0"/>
                </a:cxn>
                <a:cxn ang="0">
                  <a:pos x="62" y="0"/>
                </a:cxn>
              </a:cxnLst>
              <a:rect l="0" t="0" r="r" b="b"/>
              <a:pathLst>
                <a:path w="62">
                  <a:moveTo>
                    <a:pt x="62" y="0"/>
                  </a:moveTo>
                  <a:lnTo>
                    <a:pt x="0" y="0"/>
                  </a:lnTo>
                  <a:lnTo>
                    <a:pt x="62"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3" name="Freeform 25"/>
            <p:cNvSpPr>
              <a:spLocks/>
            </p:cNvSpPr>
            <p:nvPr userDrawn="1"/>
          </p:nvSpPr>
          <p:spPr bwMode="auto">
            <a:xfrm>
              <a:off x="3754438" y="6208713"/>
              <a:ext cx="708025" cy="350838"/>
            </a:xfrm>
            <a:custGeom>
              <a:avLst/>
              <a:gdLst/>
              <a:ahLst/>
              <a:cxnLst>
                <a:cxn ang="0">
                  <a:pos x="0" y="1107"/>
                </a:cxn>
                <a:cxn ang="0">
                  <a:pos x="556" y="1107"/>
                </a:cxn>
                <a:cxn ang="0">
                  <a:pos x="1113" y="1107"/>
                </a:cxn>
                <a:cxn ang="0">
                  <a:pos x="1669" y="1107"/>
                </a:cxn>
                <a:cxn ang="0">
                  <a:pos x="2226" y="1107"/>
                </a:cxn>
                <a:cxn ang="0">
                  <a:pos x="2226" y="625"/>
                </a:cxn>
                <a:cxn ang="0">
                  <a:pos x="2022" y="625"/>
                </a:cxn>
                <a:cxn ang="0">
                  <a:pos x="2022" y="369"/>
                </a:cxn>
                <a:cxn ang="0">
                  <a:pos x="1981" y="369"/>
                </a:cxn>
                <a:cxn ang="0">
                  <a:pos x="1981" y="185"/>
                </a:cxn>
                <a:cxn ang="0">
                  <a:pos x="1806" y="185"/>
                </a:cxn>
                <a:cxn ang="0">
                  <a:pos x="1806" y="369"/>
                </a:cxn>
                <a:cxn ang="0">
                  <a:pos x="1786" y="369"/>
                </a:cxn>
                <a:cxn ang="0">
                  <a:pos x="1786" y="276"/>
                </a:cxn>
                <a:cxn ang="0">
                  <a:pos x="1612" y="276"/>
                </a:cxn>
                <a:cxn ang="0">
                  <a:pos x="1612" y="369"/>
                </a:cxn>
                <a:cxn ang="0">
                  <a:pos x="1612" y="625"/>
                </a:cxn>
                <a:cxn ang="0">
                  <a:pos x="1550" y="625"/>
                </a:cxn>
                <a:cxn ang="0">
                  <a:pos x="1550" y="512"/>
                </a:cxn>
                <a:cxn ang="0">
                  <a:pos x="1438" y="512"/>
                </a:cxn>
                <a:cxn ang="0">
                  <a:pos x="1438" y="440"/>
                </a:cxn>
                <a:cxn ang="0">
                  <a:pos x="1222" y="349"/>
                </a:cxn>
                <a:cxn ang="0">
                  <a:pos x="1222" y="392"/>
                </a:cxn>
                <a:cxn ang="0">
                  <a:pos x="1120" y="349"/>
                </a:cxn>
                <a:cxn ang="0">
                  <a:pos x="1120" y="512"/>
                </a:cxn>
                <a:cxn ang="0">
                  <a:pos x="1017" y="512"/>
                </a:cxn>
                <a:cxn ang="0">
                  <a:pos x="1017" y="625"/>
                </a:cxn>
                <a:cxn ang="0">
                  <a:pos x="986" y="625"/>
                </a:cxn>
                <a:cxn ang="0">
                  <a:pos x="545" y="625"/>
                </a:cxn>
                <a:cxn ang="0">
                  <a:pos x="536" y="625"/>
                </a:cxn>
                <a:cxn ang="0">
                  <a:pos x="536" y="559"/>
                </a:cxn>
                <a:cxn ang="0">
                  <a:pos x="443" y="559"/>
                </a:cxn>
                <a:cxn ang="0">
                  <a:pos x="443" y="625"/>
                </a:cxn>
                <a:cxn ang="0">
                  <a:pos x="433" y="625"/>
                </a:cxn>
                <a:cxn ang="0">
                  <a:pos x="433" y="522"/>
                </a:cxn>
                <a:cxn ang="0">
                  <a:pos x="382" y="522"/>
                </a:cxn>
                <a:cxn ang="0">
                  <a:pos x="382" y="440"/>
                </a:cxn>
                <a:cxn ang="0">
                  <a:pos x="249" y="440"/>
                </a:cxn>
                <a:cxn ang="0">
                  <a:pos x="249" y="379"/>
                </a:cxn>
                <a:cxn ang="0">
                  <a:pos x="238" y="379"/>
                </a:cxn>
                <a:cxn ang="0">
                  <a:pos x="238" y="123"/>
                </a:cxn>
                <a:cxn ang="0">
                  <a:pos x="218" y="123"/>
                </a:cxn>
                <a:cxn ang="0">
                  <a:pos x="218" y="0"/>
                </a:cxn>
                <a:cxn ang="0">
                  <a:pos x="197" y="0"/>
                </a:cxn>
                <a:cxn ang="0">
                  <a:pos x="197" y="123"/>
                </a:cxn>
                <a:cxn ang="0">
                  <a:pos x="177" y="123"/>
                </a:cxn>
                <a:cxn ang="0">
                  <a:pos x="177" y="379"/>
                </a:cxn>
                <a:cxn ang="0">
                  <a:pos x="166" y="379"/>
                </a:cxn>
                <a:cxn ang="0">
                  <a:pos x="166" y="440"/>
                </a:cxn>
                <a:cxn ang="0">
                  <a:pos x="146" y="440"/>
                </a:cxn>
                <a:cxn ang="0">
                  <a:pos x="146" y="267"/>
                </a:cxn>
                <a:cxn ang="0">
                  <a:pos x="95" y="267"/>
                </a:cxn>
                <a:cxn ang="0">
                  <a:pos x="95" y="440"/>
                </a:cxn>
                <a:cxn ang="0">
                  <a:pos x="84" y="440"/>
                </a:cxn>
                <a:cxn ang="0">
                  <a:pos x="84" y="389"/>
                </a:cxn>
                <a:cxn ang="0">
                  <a:pos x="2" y="389"/>
                </a:cxn>
                <a:cxn ang="0">
                  <a:pos x="0" y="1107"/>
                </a:cxn>
              </a:cxnLst>
              <a:rect l="0" t="0" r="r" b="b"/>
              <a:pathLst>
                <a:path w="2226" h="1107">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4" name="Freeform 26"/>
            <p:cNvSpPr>
              <a:spLocks/>
            </p:cNvSpPr>
            <p:nvPr userDrawn="1"/>
          </p:nvSpPr>
          <p:spPr bwMode="auto">
            <a:xfrm>
              <a:off x="5116513" y="6329363"/>
              <a:ext cx="203200" cy="20638"/>
            </a:xfrm>
            <a:custGeom>
              <a:avLst/>
              <a:gdLst/>
              <a:ahLst/>
              <a:cxnLst>
                <a:cxn ang="0">
                  <a:pos x="0" y="63"/>
                </a:cxn>
                <a:cxn ang="0">
                  <a:pos x="20" y="63"/>
                </a:cxn>
                <a:cxn ang="0">
                  <a:pos x="34" y="63"/>
                </a:cxn>
                <a:cxn ang="0">
                  <a:pos x="42" y="63"/>
                </a:cxn>
                <a:cxn ang="0">
                  <a:pos x="50" y="63"/>
                </a:cxn>
                <a:cxn ang="0">
                  <a:pos x="57" y="63"/>
                </a:cxn>
                <a:cxn ang="0">
                  <a:pos x="64" y="63"/>
                </a:cxn>
                <a:cxn ang="0">
                  <a:pos x="73" y="63"/>
                </a:cxn>
                <a:cxn ang="0">
                  <a:pos x="95" y="63"/>
                </a:cxn>
                <a:cxn ang="0">
                  <a:pos x="103" y="63"/>
                </a:cxn>
                <a:cxn ang="0">
                  <a:pos x="133" y="51"/>
                </a:cxn>
                <a:cxn ang="0">
                  <a:pos x="140" y="48"/>
                </a:cxn>
                <a:cxn ang="0">
                  <a:pos x="166" y="39"/>
                </a:cxn>
                <a:cxn ang="0">
                  <a:pos x="174" y="36"/>
                </a:cxn>
                <a:cxn ang="0">
                  <a:pos x="177" y="36"/>
                </a:cxn>
                <a:cxn ang="0">
                  <a:pos x="205" y="28"/>
                </a:cxn>
                <a:cxn ang="0">
                  <a:pos x="212" y="25"/>
                </a:cxn>
                <a:cxn ang="0">
                  <a:pos x="242" y="18"/>
                </a:cxn>
                <a:cxn ang="0">
                  <a:pos x="250" y="17"/>
                </a:cxn>
                <a:cxn ang="0">
                  <a:pos x="280" y="12"/>
                </a:cxn>
                <a:cxn ang="0">
                  <a:pos x="288" y="11"/>
                </a:cxn>
                <a:cxn ang="0">
                  <a:pos x="318" y="10"/>
                </a:cxn>
                <a:cxn ang="0">
                  <a:pos x="321" y="10"/>
                </a:cxn>
                <a:cxn ang="0">
                  <a:pos x="325" y="10"/>
                </a:cxn>
                <a:cxn ang="0">
                  <a:pos x="355" y="11"/>
                </a:cxn>
                <a:cxn ang="0">
                  <a:pos x="363" y="12"/>
                </a:cxn>
                <a:cxn ang="0">
                  <a:pos x="393" y="17"/>
                </a:cxn>
                <a:cxn ang="0">
                  <a:pos x="401" y="19"/>
                </a:cxn>
                <a:cxn ang="0">
                  <a:pos x="431" y="27"/>
                </a:cxn>
                <a:cxn ang="0">
                  <a:pos x="439" y="28"/>
                </a:cxn>
                <a:cxn ang="0">
                  <a:pos x="465" y="36"/>
                </a:cxn>
                <a:cxn ang="0">
                  <a:pos x="469" y="37"/>
                </a:cxn>
                <a:cxn ang="0">
                  <a:pos x="477" y="40"/>
                </a:cxn>
                <a:cxn ang="0">
                  <a:pos x="504" y="48"/>
                </a:cxn>
                <a:cxn ang="0">
                  <a:pos x="511" y="51"/>
                </a:cxn>
                <a:cxn ang="0">
                  <a:pos x="539" y="63"/>
                </a:cxn>
                <a:cxn ang="0">
                  <a:pos x="540" y="63"/>
                </a:cxn>
                <a:cxn ang="0">
                  <a:pos x="541" y="63"/>
                </a:cxn>
                <a:cxn ang="0">
                  <a:pos x="548" y="63"/>
                </a:cxn>
                <a:cxn ang="0">
                  <a:pos x="571" y="63"/>
                </a:cxn>
                <a:cxn ang="0">
                  <a:pos x="578" y="63"/>
                </a:cxn>
                <a:cxn ang="0">
                  <a:pos x="587" y="63"/>
                </a:cxn>
                <a:cxn ang="0">
                  <a:pos x="594" y="63"/>
                </a:cxn>
                <a:cxn ang="0">
                  <a:pos x="601" y="63"/>
                </a:cxn>
                <a:cxn ang="0">
                  <a:pos x="608" y="63"/>
                </a:cxn>
                <a:cxn ang="0">
                  <a:pos x="624" y="63"/>
                </a:cxn>
                <a:cxn ang="0">
                  <a:pos x="642" y="63"/>
                </a:cxn>
                <a:cxn ang="0">
                  <a:pos x="642" y="54"/>
                </a:cxn>
                <a:cxn ang="0">
                  <a:pos x="624" y="54"/>
                </a:cxn>
                <a:cxn ang="0">
                  <a:pos x="542" y="54"/>
                </a:cxn>
                <a:cxn ang="0">
                  <a:pos x="516" y="43"/>
                </a:cxn>
                <a:cxn ang="0">
                  <a:pos x="461" y="25"/>
                </a:cxn>
                <a:cxn ang="0">
                  <a:pos x="393" y="9"/>
                </a:cxn>
                <a:cxn ang="0">
                  <a:pos x="357" y="3"/>
                </a:cxn>
                <a:cxn ang="0">
                  <a:pos x="321" y="0"/>
                </a:cxn>
                <a:cxn ang="0">
                  <a:pos x="286" y="3"/>
                </a:cxn>
                <a:cxn ang="0">
                  <a:pos x="250" y="9"/>
                </a:cxn>
                <a:cxn ang="0">
                  <a:pos x="181" y="25"/>
                </a:cxn>
                <a:cxn ang="0">
                  <a:pos x="127" y="43"/>
                </a:cxn>
                <a:cxn ang="0">
                  <a:pos x="100" y="54"/>
                </a:cxn>
                <a:cxn ang="0">
                  <a:pos x="20" y="54"/>
                </a:cxn>
                <a:cxn ang="0">
                  <a:pos x="0" y="54"/>
                </a:cxn>
                <a:cxn ang="0">
                  <a:pos x="0" y="63"/>
                </a:cxn>
              </a:cxnLst>
              <a:rect l="0" t="0" r="r" b="b"/>
              <a:pathLst>
                <a:path w="642" h="63">
                  <a:moveTo>
                    <a:pt x="0" y="63"/>
                  </a:moveTo>
                  <a:lnTo>
                    <a:pt x="20" y="63"/>
                  </a:lnTo>
                  <a:lnTo>
                    <a:pt x="34" y="63"/>
                  </a:lnTo>
                  <a:lnTo>
                    <a:pt x="42" y="63"/>
                  </a:lnTo>
                  <a:lnTo>
                    <a:pt x="50" y="63"/>
                  </a:lnTo>
                  <a:lnTo>
                    <a:pt x="57" y="63"/>
                  </a:lnTo>
                  <a:lnTo>
                    <a:pt x="64" y="63"/>
                  </a:lnTo>
                  <a:lnTo>
                    <a:pt x="73" y="63"/>
                  </a:lnTo>
                  <a:lnTo>
                    <a:pt x="95" y="63"/>
                  </a:lnTo>
                  <a:lnTo>
                    <a:pt x="103" y="63"/>
                  </a:lnTo>
                  <a:lnTo>
                    <a:pt x="133" y="51"/>
                  </a:lnTo>
                  <a:lnTo>
                    <a:pt x="140" y="48"/>
                  </a:lnTo>
                  <a:lnTo>
                    <a:pt x="166" y="39"/>
                  </a:lnTo>
                  <a:lnTo>
                    <a:pt x="174" y="36"/>
                  </a:lnTo>
                  <a:lnTo>
                    <a:pt x="177" y="36"/>
                  </a:lnTo>
                  <a:lnTo>
                    <a:pt x="205" y="28"/>
                  </a:lnTo>
                  <a:lnTo>
                    <a:pt x="212" y="25"/>
                  </a:lnTo>
                  <a:lnTo>
                    <a:pt x="242" y="18"/>
                  </a:lnTo>
                  <a:lnTo>
                    <a:pt x="250" y="17"/>
                  </a:lnTo>
                  <a:lnTo>
                    <a:pt x="280" y="12"/>
                  </a:lnTo>
                  <a:lnTo>
                    <a:pt x="288" y="11"/>
                  </a:lnTo>
                  <a:lnTo>
                    <a:pt x="318" y="10"/>
                  </a:lnTo>
                  <a:lnTo>
                    <a:pt x="321" y="10"/>
                  </a:lnTo>
                  <a:lnTo>
                    <a:pt x="325" y="10"/>
                  </a:lnTo>
                  <a:lnTo>
                    <a:pt x="355" y="11"/>
                  </a:lnTo>
                  <a:lnTo>
                    <a:pt x="363" y="12"/>
                  </a:lnTo>
                  <a:lnTo>
                    <a:pt x="393" y="17"/>
                  </a:lnTo>
                  <a:lnTo>
                    <a:pt x="401" y="19"/>
                  </a:lnTo>
                  <a:lnTo>
                    <a:pt x="431" y="27"/>
                  </a:lnTo>
                  <a:lnTo>
                    <a:pt x="439" y="28"/>
                  </a:lnTo>
                  <a:lnTo>
                    <a:pt x="465" y="36"/>
                  </a:lnTo>
                  <a:lnTo>
                    <a:pt x="469" y="37"/>
                  </a:lnTo>
                  <a:lnTo>
                    <a:pt x="477" y="40"/>
                  </a:lnTo>
                  <a:lnTo>
                    <a:pt x="504" y="48"/>
                  </a:lnTo>
                  <a:lnTo>
                    <a:pt x="511" y="51"/>
                  </a:lnTo>
                  <a:lnTo>
                    <a:pt x="539" y="63"/>
                  </a:lnTo>
                  <a:lnTo>
                    <a:pt x="540" y="63"/>
                  </a:lnTo>
                  <a:lnTo>
                    <a:pt x="541" y="63"/>
                  </a:lnTo>
                  <a:lnTo>
                    <a:pt x="548" y="63"/>
                  </a:lnTo>
                  <a:lnTo>
                    <a:pt x="571" y="63"/>
                  </a:lnTo>
                  <a:lnTo>
                    <a:pt x="578" y="63"/>
                  </a:lnTo>
                  <a:lnTo>
                    <a:pt x="587" y="63"/>
                  </a:lnTo>
                  <a:lnTo>
                    <a:pt x="594" y="63"/>
                  </a:lnTo>
                  <a:lnTo>
                    <a:pt x="601" y="63"/>
                  </a:lnTo>
                  <a:lnTo>
                    <a:pt x="608" y="63"/>
                  </a:lnTo>
                  <a:lnTo>
                    <a:pt x="624" y="63"/>
                  </a:lnTo>
                  <a:lnTo>
                    <a:pt x="642" y="63"/>
                  </a:lnTo>
                  <a:lnTo>
                    <a:pt x="642" y="54"/>
                  </a:lnTo>
                  <a:lnTo>
                    <a:pt x="624" y="54"/>
                  </a:lnTo>
                  <a:lnTo>
                    <a:pt x="542" y="54"/>
                  </a:lnTo>
                  <a:lnTo>
                    <a:pt x="516" y="43"/>
                  </a:lnTo>
                  <a:lnTo>
                    <a:pt x="461" y="25"/>
                  </a:lnTo>
                  <a:lnTo>
                    <a:pt x="393" y="9"/>
                  </a:lnTo>
                  <a:lnTo>
                    <a:pt x="357" y="3"/>
                  </a:lnTo>
                  <a:lnTo>
                    <a:pt x="321" y="0"/>
                  </a:lnTo>
                  <a:lnTo>
                    <a:pt x="286" y="3"/>
                  </a:lnTo>
                  <a:lnTo>
                    <a:pt x="250" y="9"/>
                  </a:lnTo>
                  <a:lnTo>
                    <a:pt x="181" y="25"/>
                  </a:lnTo>
                  <a:lnTo>
                    <a:pt x="127" y="43"/>
                  </a:lnTo>
                  <a:lnTo>
                    <a:pt x="100" y="54"/>
                  </a:lnTo>
                  <a:lnTo>
                    <a:pt x="20" y="54"/>
                  </a:lnTo>
                  <a:lnTo>
                    <a:pt x="0" y="54"/>
                  </a:lnTo>
                  <a:lnTo>
                    <a:pt x="0" y="63"/>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5" name="Freeform 27"/>
            <p:cNvSpPr>
              <a:spLocks noEditPoints="1"/>
            </p:cNvSpPr>
            <p:nvPr userDrawn="1"/>
          </p:nvSpPr>
          <p:spPr bwMode="auto">
            <a:xfrm>
              <a:off x="4826000" y="6278563"/>
              <a:ext cx="995363" cy="190500"/>
            </a:xfrm>
            <a:custGeom>
              <a:avLst/>
              <a:gdLst/>
              <a:ahLst/>
              <a:cxnLst>
                <a:cxn ang="0">
                  <a:pos x="1588" y="177"/>
                </a:cxn>
                <a:cxn ang="0">
                  <a:pos x="1499" y="296"/>
                </a:cxn>
                <a:cxn ang="0">
                  <a:pos x="1388" y="275"/>
                </a:cxn>
                <a:cxn ang="0">
                  <a:pos x="1489" y="275"/>
                </a:cxn>
                <a:cxn ang="0">
                  <a:pos x="1535" y="296"/>
                </a:cxn>
                <a:cxn ang="0">
                  <a:pos x="1191" y="275"/>
                </a:cxn>
                <a:cxn ang="0">
                  <a:pos x="1304" y="275"/>
                </a:cxn>
                <a:cxn ang="0">
                  <a:pos x="964" y="296"/>
                </a:cxn>
                <a:cxn ang="0">
                  <a:pos x="968" y="275"/>
                </a:cxn>
                <a:cxn ang="0">
                  <a:pos x="1051" y="275"/>
                </a:cxn>
                <a:cxn ang="0">
                  <a:pos x="900" y="177"/>
                </a:cxn>
                <a:cxn ang="0">
                  <a:pos x="786" y="296"/>
                </a:cxn>
                <a:cxn ang="0">
                  <a:pos x="2716" y="18"/>
                </a:cxn>
                <a:cxn ang="0">
                  <a:pos x="2681" y="6"/>
                </a:cxn>
                <a:cxn ang="0">
                  <a:pos x="2574" y="12"/>
                </a:cxn>
                <a:cxn ang="0">
                  <a:pos x="2515" y="103"/>
                </a:cxn>
                <a:cxn ang="0">
                  <a:pos x="2467" y="48"/>
                </a:cxn>
                <a:cxn ang="0">
                  <a:pos x="2402" y="149"/>
                </a:cxn>
                <a:cxn ang="0">
                  <a:pos x="2372" y="238"/>
                </a:cxn>
                <a:cxn ang="0">
                  <a:pos x="2319" y="131"/>
                </a:cxn>
                <a:cxn ang="0">
                  <a:pos x="2295" y="119"/>
                </a:cxn>
                <a:cxn ang="0">
                  <a:pos x="2254" y="155"/>
                </a:cxn>
                <a:cxn ang="0">
                  <a:pos x="2218" y="196"/>
                </a:cxn>
                <a:cxn ang="0">
                  <a:pos x="2183" y="208"/>
                </a:cxn>
                <a:cxn ang="0">
                  <a:pos x="2129" y="196"/>
                </a:cxn>
                <a:cxn ang="0">
                  <a:pos x="2058" y="296"/>
                </a:cxn>
                <a:cxn ang="0">
                  <a:pos x="2027" y="255"/>
                </a:cxn>
                <a:cxn ang="0">
                  <a:pos x="2005" y="220"/>
                </a:cxn>
                <a:cxn ang="0">
                  <a:pos x="1921" y="255"/>
                </a:cxn>
                <a:cxn ang="0">
                  <a:pos x="1701" y="260"/>
                </a:cxn>
                <a:cxn ang="0">
                  <a:pos x="1618" y="155"/>
                </a:cxn>
                <a:cxn ang="0">
                  <a:pos x="1535" y="216"/>
                </a:cxn>
                <a:cxn ang="0">
                  <a:pos x="1519" y="225"/>
                </a:cxn>
                <a:cxn ang="0">
                  <a:pos x="1498" y="260"/>
                </a:cxn>
                <a:cxn ang="0">
                  <a:pos x="1459" y="225"/>
                </a:cxn>
                <a:cxn ang="0">
                  <a:pos x="1415" y="260"/>
                </a:cxn>
                <a:cxn ang="0">
                  <a:pos x="1350" y="190"/>
                </a:cxn>
                <a:cxn ang="0">
                  <a:pos x="1304" y="260"/>
                </a:cxn>
                <a:cxn ang="0">
                  <a:pos x="1236" y="172"/>
                </a:cxn>
                <a:cxn ang="0">
                  <a:pos x="1191" y="174"/>
                </a:cxn>
                <a:cxn ang="0">
                  <a:pos x="1123" y="260"/>
                </a:cxn>
                <a:cxn ang="0">
                  <a:pos x="1077" y="201"/>
                </a:cxn>
                <a:cxn ang="0">
                  <a:pos x="1014" y="260"/>
                </a:cxn>
                <a:cxn ang="0">
                  <a:pos x="975" y="225"/>
                </a:cxn>
                <a:cxn ang="0">
                  <a:pos x="953" y="260"/>
                </a:cxn>
                <a:cxn ang="0">
                  <a:pos x="911" y="225"/>
                </a:cxn>
                <a:cxn ang="0">
                  <a:pos x="931" y="162"/>
                </a:cxn>
                <a:cxn ang="0">
                  <a:pos x="847" y="177"/>
                </a:cxn>
                <a:cxn ang="0">
                  <a:pos x="632" y="255"/>
                </a:cxn>
                <a:cxn ang="0">
                  <a:pos x="549" y="296"/>
                </a:cxn>
                <a:cxn ang="0">
                  <a:pos x="508" y="304"/>
                </a:cxn>
                <a:cxn ang="0">
                  <a:pos x="484" y="179"/>
                </a:cxn>
                <a:cxn ang="0">
                  <a:pos x="460" y="215"/>
                </a:cxn>
                <a:cxn ang="0">
                  <a:pos x="389" y="126"/>
                </a:cxn>
                <a:cxn ang="0">
                  <a:pos x="318" y="296"/>
                </a:cxn>
                <a:cxn ang="0">
                  <a:pos x="259" y="18"/>
                </a:cxn>
                <a:cxn ang="0">
                  <a:pos x="174" y="113"/>
                </a:cxn>
                <a:cxn ang="0">
                  <a:pos x="97" y="214"/>
                </a:cxn>
                <a:cxn ang="0">
                  <a:pos x="26" y="296"/>
                </a:cxn>
                <a:cxn ang="0">
                  <a:pos x="2348" y="603"/>
                </a:cxn>
              </a:cxnLst>
              <a:rect l="0" t="0" r="r" b="b"/>
              <a:pathLst>
                <a:path w="3132" h="603">
                  <a:moveTo>
                    <a:pt x="1701" y="296"/>
                  </a:moveTo>
                  <a:lnTo>
                    <a:pt x="1618" y="296"/>
                  </a:lnTo>
                  <a:lnTo>
                    <a:pt x="1618" y="275"/>
                  </a:lnTo>
                  <a:lnTo>
                    <a:pt x="1701" y="275"/>
                  </a:lnTo>
                  <a:lnTo>
                    <a:pt x="1701" y="296"/>
                  </a:lnTo>
                  <a:close/>
                  <a:moveTo>
                    <a:pt x="1588" y="177"/>
                  </a:moveTo>
                  <a:lnTo>
                    <a:pt x="1565" y="177"/>
                  </a:lnTo>
                  <a:lnTo>
                    <a:pt x="1565" y="162"/>
                  </a:lnTo>
                  <a:lnTo>
                    <a:pt x="1588" y="162"/>
                  </a:lnTo>
                  <a:lnTo>
                    <a:pt x="1588" y="177"/>
                  </a:lnTo>
                  <a:close/>
                  <a:moveTo>
                    <a:pt x="1535" y="296"/>
                  </a:moveTo>
                  <a:lnTo>
                    <a:pt x="1499" y="296"/>
                  </a:lnTo>
                  <a:lnTo>
                    <a:pt x="1440" y="355"/>
                  </a:lnTo>
                  <a:lnTo>
                    <a:pt x="1345" y="355"/>
                  </a:lnTo>
                  <a:lnTo>
                    <a:pt x="1345" y="275"/>
                  </a:lnTo>
                  <a:lnTo>
                    <a:pt x="1350" y="275"/>
                  </a:lnTo>
                  <a:lnTo>
                    <a:pt x="1380" y="275"/>
                  </a:lnTo>
                  <a:lnTo>
                    <a:pt x="1388" y="275"/>
                  </a:lnTo>
                  <a:lnTo>
                    <a:pt x="1415" y="275"/>
                  </a:lnTo>
                  <a:lnTo>
                    <a:pt x="1422" y="275"/>
                  </a:lnTo>
                  <a:lnTo>
                    <a:pt x="1452" y="275"/>
                  </a:lnTo>
                  <a:lnTo>
                    <a:pt x="1459" y="275"/>
                  </a:lnTo>
                  <a:lnTo>
                    <a:pt x="1482" y="275"/>
                  </a:lnTo>
                  <a:lnTo>
                    <a:pt x="1489" y="275"/>
                  </a:lnTo>
                  <a:lnTo>
                    <a:pt x="1498" y="275"/>
                  </a:lnTo>
                  <a:lnTo>
                    <a:pt x="1505" y="275"/>
                  </a:lnTo>
                  <a:lnTo>
                    <a:pt x="1512" y="275"/>
                  </a:lnTo>
                  <a:lnTo>
                    <a:pt x="1519" y="275"/>
                  </a:lnTo>
                  <a:lnTo>
                    <a:pt x="1535" y="275"/>
                  </a:lnTo>
                  <a:lnTo>
                    <a:pt x="1535" y="296"/>
                  </a:lnTo>
                  <a:close/>
                  <a:moveTo>
                    <a:pt x="1321" y="355"/>
                  </a:moveTo>
                  <a:lnTo>
                    <a:pt x="1142" y="355"/>
                  </a:lnTo>
                  <a:lnTo>
                    <a:pt x="1142" y="275"/>
                  </a:lnTo>
                  <a:lnTo>
                    <a:pt x="1153" y="275"/>
                  </a:lnTo>
                  <a:lnTo>
                    <a:pt x="1161" y="275"/>
                  </a:lnTo>
                  <a:lnTo>
                    <a:pt x="1191" y="275"/>
                  </a:lnTo>
                  <a:lnTo>
                    <a:pt x="1199" y="275"/>
                  </a:lnTo>
                  <a:lnTo>
                    <a:pt x="1229" y="275"/>
                  </a:lnTo>
                  <a:lnTo>
                    <a:pt x="1236" y="275"/>
                  </a:lnTo>
                  <a:lnTo>
                    <a:pt x="1266" y="275"/>
                  </a:lnTo>
                  <a:lnTo>
                    <a:pt x="1274" y="275"/>
                  </a:lnTo>
                  <a:lnTo>
                    <a:pt x="1304" y="275"/>
                  </a:lnTo>
                  <a:lnTo>
                    <a:pt x="1312" y="275"/>
                  </a:lnTo>
                  <a:lnTo>
                    <a:pt x="1321" y="275"/>
                  </a:lnTo>
                  <a:lnTo>
                    <a:pt x="1321" y="355"/>
                  </a:lnTo>
                  <a:close/>
                  <a:moveTo>
                    <a:pt x="1120" y="355"/>
                  </a:moveTo>
                  <a:lnTo>
                    <a:pt x="1024" y="355"/>
                  </a:lnTo>
                  <a:lnTo>
                    <a:pt x="964" y="296"/>
                  </a:lnTo>
                  <a:lnTo>
                    <a:pt x="931" y="296"/>
                  </a:lnTo>
                  <a:lnTo>
                    <a:pt x="931" y="275"/>
                  </a:lnTo>
                  <a:lnTo>
                    <a:pt x="945" y="275"/>
                  </a:lnTo>
                  <a:lnTo>
                    <a:pt x="953" y="275"/>
                  </a:lnTo>
                  <a:lnTo>
                    <a:pt x="961" y="275"/>
                  </a:lnTo>
                  <a:lnTo>
                    <a:pt x="968" y="275"/>
                  </a:lnTo>
                  <a:lnTo>
                    <a:pt x="975" y="275"/>
                  </a:lnTo>
                  <a:lnTo>
                    <a:pt x="984" y="275"/>
                  </a:lnTo>
                  <a:lnTo>
                    <a:pt x="1006" y="275"/>
                  </a:lnTo>
                  <a:lnTo>
                    <a:pt x="1014" y="275"/>
                  </a:lnTo>
                  <a:lnTo>
                    <a:pt x="1044" y="275"/>
                  </a:lnTo>
                  <a:lnTo>
                    <a:pt x="1051" y="275"/>
                  </a:lnTo>
                  <a:lnTo>
                    <a:pt x="1077" y="275"/>
                  </a:lnTo>
                  <a:lnTo>
                    <a:pt x="1085" y="275"/>
                  </a:lnTo>
                  <a:lnTo>
                    <a:pt x="1116" y="275"/>
                  </a:lnTo>
                  <a:lnTo>
                    <a:pt x="1120" y="275"/>
                  </a:lnTo>
                  <a:lnTo>
                    <a:pt x="1120" y="355"/>
                  </a:lnTo>
                  <a:close/>
                  <a:moveTo>
                    <a:pt x="900" y="177"/>
                  </a:moveTo>
                  <a:lnTo>
                    <a:pt x="878" y="177"/>
                  </a:lnTo>
                  <a:lnTo>
                    <a:pt x="878" y="162"/>
                  </a:lnTo>
                  <a:lnTo>
                    <a:pt x="900" y="162"/>
                  </a:lnTo>
                  <a:lnTo>
                    <a:pt x="900" y="177"/>
                  </a:lnTo>
                  <a:close/>
                  <a:moveTo>
                    <a:pt x="847" y="296"/>
                  </a:moveTo>
                  <a:lnTo>
                    <a:pt x="786" y="296"/>
                  </a:lnTo>
                  <a:lnTo>
                    <a:pt x="786" y="275"/>
                  </a:lnTo>
                  <a:lnTo>
                    <a:pt x="847" y="275"/>
                  </a:lnTo>
                  <a:lnTo>
                    <a:pt x="847" y="296"/>
                  </a:lnTo>
                  <a:close/>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6" name="Rectangle 28"/>
            <p:cNvSpPr>
              <a:spLocks noChangeArrowheads="1"/>
            </p:cNvSpPr>
            <p:nvPr userDrawn="1"/>
          </p:nvSpPr>
          <p:spPr bwMode="auto">
            <a:xfrm>
              <a:off x="5340350" y="6365876"/>
              <a:ext cx="2698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7" name="Rectangle 29"/>
            <p:cNvSpPr>
              <a:spLocks noChangeArrowheads="1"/>
            </p:cNvSpPr>
            <p:nvPr userDrawn="1"/>
          </p:nvSpPr>
          <p:spPr bwMode="auto">
            <a:xfrm>
              <a:off x="5322888" y="6329363"/>
              <a:ext cx="7938"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8" name="Freeform 30"/>
            <p:cNvSpPr>
              <a:spLocks/>
            </p:cNvSpPr>
            <p:nvPr userDrawn="1"/>
          </p:nvSpPr>
          <p:spPr bwMode="auto">
            <a:xfrm>
              <a:off x="5253038" y="6365876"/>
              <a:ext cx="60325" cy="25400"/>
            </a:xfrm>
            <a:custGeom>
              <a:avLst/>
              <a:gdLst/>
              <a:ahLst/>
              <a:cxnLst>
                <a:cxn ang="0">
                  <a:pos x="190" y="21"/>
                </a:cxn>
                <a:cxn ang="0">
                  <a:pos x="154" y="21"/>
                </a:cxn>
                <a:cxn ang="0">
                  <a:pos x="95" y="80"/>
                </a:cxn>
                <a:cxn ang="0">
                  <a:pos x="0" y="80"/>
                </a:cxn>
                <a:cxn ang="0">
                  <a:pos x="0" y="0"/>
                </a:cxn>
                <a:cxn ang="0">
                  <a:pos x="5" y="0"/>
                </a:cxn>
                <a:cxn ang="0">
                  <a:pos x="35" y="0"/>
                </a:cxn>
                <a:cxn ang="0">
                  <a:pos x="43" y="0"/>
                </a:cxn>
                <a:cxn ang="0">
                  <a:pos x="70" y="0"/>
                </a:cxn>
                <a:cxn ang="0">
                  <a:pos x="77" y="0"/>
                </a:cxn>
                <a:cxn ang="0">
                  <a:pos x="107" y="0"/>
                </a:cxn>
                <a:cxn ang="0">
                  <a:pos x="114" y="0"/>
                </a:cxn>
                <a:cxn ang="0">
                  <a:pos x="137" y="0"/>
                </a:cxn>
                <a:cxn ang="0">
                  <a:pos x="144" y="0"/>
                </a:cxn>
                <a:cxn ang="0">
                  <a:pos x="153" y="0"/>
                </a:cxn>
                <a:cxn ang="0">
                  <a:pos x="160" y="0"/>
                </a:cxn>
                <a:cxn ang="0">
                  <a:pos x="167" y="0"/>
                </a:cxn>
                <a:cxn ang="0">
                  <a:pos x="174" y="0"/>
                </a:cxn>
                <a:cxn ang="0">
                  <a:pos x="190" y="0"/>
                </a:cxn>
                <a:cxn ang="0">
                  <a:pos x="190" y="21"/>
                </a:cxn>
              </a:cxnLst>
              <a:rect l="0" t="0" r="r" b="b"/>
              <a:pathLst>
                <a:path w="190" h="80">
                  <a:moveTo>
                    <a:pt x="190" y="21"/>
                  </a:moveTo>
                  <a:lnTo>
                    <a:pt x="154" y="21"/>
                  </a:lnTo>
                  <a:lnTo>
                    <a:pt x="95" y="80"/>
                  </a:lnTo>
                  <a:lnTo>
                    <a:pt x="0" y="80"/>
                  </a:lnTo>
                  <a:lnTo>
                    <a:pt x="0" y="0"/>
                  </a:lnTo>
                  <a:lnTo>
                    <a:pt x="5" y="0"/>
                  </a:lnTo>
                  <a:lnTo>
                    <a:pt x="35" y="0"/>
                  </a:lnTo>
                  <a:lnTo>
                    <a:pt x="43" y="0"/>
                  </a:lnTo>
                  <a:lnTo>
                    <a:pt x="70" y="0"/>
                  </a:lnTo>
                  <a:lnTo>
                    <a:pt x="77" y="0"/>
                  </a:lnTo>
                  <a:lnTo>
                    <a:pt x="107" y="0"/>
                  </a:lnTo>
                  <a:lnTo>
                    <a:pt x="114" y="0"/>
                  </a:lnTo>
                  <a:lnTo>
                    <a:pt x="137" y="0"/>
                  </a:lnTo>
                  <a:lnTo>
                    <a:pt x="144" y="0"/>
                  </a:lnTo>
                  <a:lnTo>
                    <a:pt x="153" y="0"/>
                  </a:lnTo>
                  <a:lnTo>
                    <a:pt x="160" y="0"/>
                  </a:lnTo>
                  <a:lnTo>
                    <a:pt x="167" y="0"/>
                  </a:lnTo>
                  <a:lnTo>
                    <a:pt x="174" y="0"/>
                  </a:lnTo>
                  <a:lnTo>
                    <a:pt x="190" y="0"/>
                  </a:lnTo>
                  <a:lnTo>
                    <a:pt x="190" y="21"/>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9" name="Freeform 31"/>
            <p:cNvSpPr>
              <a:spLocks/>
            </p:cNvSpPr>
            <p:nvPr userDrawn="1"/>
          </p:nvSpPr>
          <p:spPr bwMode="auto">
            <a:xfrm>
              <a:off x="5189538" y="6365876"/>
              <a:ext cx="57150" cy="25400"/>
            </a:xfrm>
            <a:custGeom>
              <a:avLst/>
              <a:gdLst/>
              <a:ahLst/>
              <a:cxnLst>
                <a:cxn ang="0">
                  <a:pos x="179" y="80"/>
                </a:cxn>
                <a:cxn ang="0">
                  <a:pos x="0" y="80"/>
                </a:cxn>
                <a:cxn ang="0">
                  <a:pos x="0" y="0"/>
                </a:cxn>
                <a:cxn ang="0">
                  <a:pos x="11" y="0"/>
                </a:cxn>
                <a:cxn ang="0">
                  <a:pos x="19" y="0"/>
                </a:cxn>
                <a:cxn ang="0">
                  <a:pos x="49" y="0"/>
                </a:cxn>
                <a:cxn ang="0">
                  <a:pos x="57" y="0"/>
                </a:cxn>
                <a:cxn ang="0">
                  <a:pos x="87" y="0"/>
                </a:cxn>
                <a:cxn ang="0">
                  <a:pos x="94" y="0"/>
                </a:cxn>
                <a:cxn ang="0">
                  <a:pos x="124" y="0"/>
                </a:cxn>
                <a:cxn ang="0">
                  <a:pos x="132" y="0"/>
                </a:cxn>
                <a:cxn ang="0">
                  <a:pos x="162" y="0"/>
                </a:cxn>
                <a:cxn ang="0">
                  <a:pos x="170" y="0"/>
                </a:cxn>
                <a:cxn ang="0">
                  <a:pos x="179" y="0"/>
                </a:cxn>
                <a:cxn ang="0">
                  <a:pos x="179" y="80"/>
                </a:cxn>
              </a:cxnLst>
              <a:rect l="0" t="0" r="r" b="b"/>
              <a:pathLst>
                <a:path w="179" h="80">
                  <a:moveTo>
                    <a:pt x="179" y="80"/>
                  </a:moveTo>
                  <a:lnTo>
                    <a:pt x="0" y="80"/>
                  </a:lnTo>
                  <a:lnTo>
                    <a:pt x="0" y="0"/>
                  </a:lnTo>
                  <a:lnTo>
                    <a:pt x="11" y="0"/>
                  </a:lnTo>
                  <a:lnTo>
                    <a:pt x="19" y="0"/>
                  </a:lnTo>
                  <a:lnTo>
                    <a:pt x="49" y="0"/>
                  </a:lnTo>
                  <a:lnTo>
                    <a:pt x="57" y="0"/>
                  </a:lnTo>
                  <a:lnTo>
                    <a:pt x="87" y="0"/>
                  </a:lnTo>
                  <a:lnTo>
                    <a:pt x="94" y="0"/>
                  </a:lnTo>
                  <a:lnTo>
                    <a:pt x="124" y="0"/>
                  </a:lnTo>
                  <a:lnTo>
                    <a:pt x="132" y="0"/>
                  </a:lnTo>
                  <a:lnTo>
                    <a:pt x="162" y="0"/>
                  </a:lnTo>
                  <a:lnTo>
                    <a:pt x="170" y="0"/>
                  </a:lnTo>
                  <a:lnTo>
                    <a:pt x="179" y="0"/>
                  </a:lnTo>
                  <a:lnTo>
                    <a:pt x="17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0" name="Freeform 32"/>
            <p:cNvSpPr>
              <a:spLocks/>
            </p:cNvSpPr>
            <p:nvPr userDrawn="1"/>
          </p:nvSpPr>
          <p:spPr bwMode="auto">
            <a:xfrm>
              <a:off x="5122863" y="6365876"/>
              <a:ext cx="58738" cy="25400"/>
            </a:xfrm>
            <a:custGeom>
              <a:avLst/>
              <a:gdLst/>
              <a:ahLst/>
              <a:cxnLst>
                <a:cxn ang="0">
                  <a:pos x="189" y="80"/>
                </a:cxn>
                <a:cxn ang="0">
                  <a:pos x="93" y="80"/>
                </a:cxn>
                <a:cxn ang="0">
                  <a:pos x="33" y="21"/>
                </a:cxn>
                <a:cxn ang="0">
                  <a:pos x="0" y="21"/>
                </a:cxn>
                <a:cxn ang="0">
                  <a:pos x="0" y="0"/>
                </a:cxn>
                <a:cxn ang="0">
                  <a:pos x="14" y="0"/>
                </a:cxn>
                <a:cxn ang="0">
                  <a:pos x="22" y="0"/>
                </a:cxn>
                <a:cxn ang="0">
                  <a:pos x="30" y="0"/>
                </a:cxn>
                <a:cxn ang="0">
                  <a:pos x="37" y="0"/>
                </a:cxn>
                <a:cxn ang="0">
                  <a:pos x="44" y="0"/>
                </a:cxn>
                <a:cxn ang="0">
                  <a:pos x="53" y="0"/>
                </a:cxn>
                <a:cxn ang="0">
                  <a:pos x="75" y="0"/>
                </a:cxn>
                <a:cxn ang="0">
                  <a:pos x="83" y="0"/>
                </a:cxn>
                <a:cxn ang="0">
                  <a:pos x="113" y="0"/>
                </a:cxn>
                <a:cxn ang="0">
                  <a:pos x="120" y="0"/>
                </a:cxn>
                <a:cxn ang="0">
                  <a:pos x="146" y="0"/>
                </a:cxn>
                <a:cxn ang="0">
                  <a:pos x="154" y="0"/>
                </a:cxn>
                <a:cxn ang="0">
                  <a:pos x="185" y="0"/>
                </a:cxn>
                <a:cxn ang="0">
                  <a:pos x="189" y="0"/>
                </a:cxn>
                <a:cxn ang="0">
                  <a:pos x="189" y="80"/>
                </a:cxn>
              </a:cxnLst>
              <a:rect l="0" t="0" r="r" b="b"/>
              <a:pathLst>
                <a:path w="189" h="80">
                  <a:moveTo>
                    <a:pt x="189" y="80"/>
                  </a:moveTo>
                  <a:lnTo>
                    <a:pt x="93" y="80"/>
                  </a:lnTo>
                  <a:lnTo>
                    <a:pt x="33" y="21"/>
                  </a:lnTo>
                  <a:lnTo>
                    <a:pt x="0" y="21"/>
                  </a:lnTo>
                  <a:lnTo>
                    <a:pt x="0" y="0"/>
                  </a:lnTo>
                  <a:lnTo>
                    <a:pt x="14" y="0"/>
                  </a:lnTo>
                  <a:lnTo>
                    <a:pt x="22" y="0"/>
                  </a:lnTo>
                  <a:lnTo>
                    <a:pt x="30" y="0"/>
                  </a:lnTo>
                  <a:lnTo>
                    <a:pt x="37" y="0"/>
                  </a:lnTo>
                  <a:lnTo>
                    <a:pt x="44" y="0"/>
                  </a:lnTo>
                  <a:lnTo>
                    <a:pt x="53" y="0"/>
                  </a:lnTo>
                  <a:lnTo>
                    <a:pt x="75" y="0"/>
                  </a:lnTo>
                  <a:lnTo>
                    <a:pt x="83" y="0"/>
                  </a:lnTo>
                  <a:lnTo>
                    <a:pt x="113" y="0"/>
                  </a:lnTo>
                  <a:lnTo>
                    <a:pt x="120" y="0"/>
                  </a:lnTo>
                  <a:lnTo>
                    <a:pt x="146" y="0"/>
                  </a:lnTo>
                  <a:lnTo>
                    <a:pt x="154" y="0"/>
                  </a:lnTo>
                  <a:lnTo>
                    <a:pt x="185" y="0"/>
                  </a:lnTo>
                  <a:lnTo>
                    <a:pt x="189" y="0"/>
                  </a:lnTo>
                  <a:lnTo>
                    <a:pt x="18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1" name="Rectangle 33"/>
            <p:cNvSpPr>
              <a:spLocks noChangeArrowheads="1"/>
            </p:cNvSpPr>
            <p:nvPr userDrawn="1"/>
          </p:nvSpPr>
          <p:spPr bwMode="auto">
            <a:xfrm>
              <a:off x="5105400" y="6329363"/>
              <a:ext cx="6350"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2" name="Rectangle 34"/>
            <p:cNvSpPr>
              <a:spLocks noChangeArrowheads="1"/>
            </p:cNvSpPr>
            <p:nvPr userDrawn="1"/>
          </p:nvSpPr>
          <p:spPr bwMode="auto">
            <a:xfrm>
              <a:off x="5076825" y="6365876"/>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3" name="Freeform 35"/>
            <p:cNvSpPr>
              <a:spLocks/>
            </p:cNvSpPr>
            <p:nvPr userDrawn="1"/>
          </p:nvSpPr>
          <p:spPr bwMode="auto">
            <a:xfrm>
              <a:off x="4826000" y="6278563"/>
              <a:ext cx="995363" cy="190500"/>
            </a:xfrm>
            <a:custGeom>
              <a:avLst/>
              <a:gdLst/>
              <a:ahLst/>
              <a:cxnLst>
                <a:cxn ang="0">
                  <a:pos x="2705" y="6"/>
                </a:cxn>
                <a:cxn ang="0">
                  <a:pos x="2681" y="18"/>
                </a:cxn>
                <a:cxn ang="0">
                  <a:pos x="2574" y="12"/>
                </a:cxn>
                <a:cxn ang="0">
                  <a:pos x="2533" y="94"/>
                </a:cxn>
                <a:cxn ang="0">
                  <a:pos x="2479" y="54"/>
                </a:cxn>
                <a:cxn ang="0">
                  <a:pos x="2467" y="208"/>
                </a:cxn>
                <a:cxn ang="0">
                  <a:pos x="2390" y="238"/>
                </a:cxn>
                <a:cxn ang="0">
                  <a:pos x="2372" y="214"/>
                </a:cxn>
                <a:cxn ang="0">
                  <a:pos x="2319" y="131"/>
                </a:cxn>
                <a:cxn ang="0">
                  <a:pos x="2295" y="77"/>
                </a:cxn>
                <a:cxn ang="0">
                  <a:pos x="2260" y="119"/>
                </a:cxn>
                <a:cxn ang="0">
                  <a:pos x="2224" y="149"/>
                </a:cxn>
                <a:cxn ang="0">
                  <a:pos x="2206" y="255"/>
                </a:cxn>
                <a:cxn ang="0">
                  <a:pos x="2171" y="208"/>
                </a:cxn>
                <a:cxn ang="0">
                  <a:pos x="2129" y="196"/>
                </a:cxn>
                <a:cxn ang="0">
                  <a:pos x="2058" y="220"/>
                </a:cxn>
                <a:cxn ang="0">
                  <a:pos x="2039" y="220"/>
                </a:cxn>
                <a:cxn ang="0">
                  <a:pos x="2011" y="220"/>
                </a:cxn>
                <a:cxn ang="0">
                  <a:pos x="1993" y="255"/>
                </a:cxn>
                <a:cxn ang="0">
                  <a:pos x="1909" y="255"/>
                </a:cxn>
                <a:cxn ang="0">
                  <a:pos x="1701" y="260"/>
                </a:cxn>
                <a:cxn ang="0">
                  <a:pos x="1618" y="162"/>
                </a:cxn>
                <a:cxn ang="0">
                  <a:pos x="1542" y="177"/>
                </a:cxn>
                <a:cxn ang="0">
                  <a:pos x="1535" y="225"/>
                </a:cxn>
                <a:cxn ang="0">
                  <a:pos x="1512" y="260"/>
                </a:cxn>
                <a:cxn ang="0">
                  <a:pos x="1489" y="260"/>
                </a:cxn>
                <a:cxn ang="0">
                  <a:pos x="1459" y="225"/>
                </a:cxn>
                <a:cxn ang="0">
                  <a:pos x="1415" y="210"/>
                </a:cxn>
                <a:cxn ang="0">
                  <a:pos x="1380" y="260"/>
                </a:cxn>
                <a:cxn ang="0">
                  <a:pos x="1312" y="260"/>
                </a:cxn>
                <a:cxn ang="0">
                  <a:pos x="1274" y="174"/>
                </a:cxn>
                <a:cxn ang="0">
                  <a:pos x="1232" y="172"/>
                </a:cxn>
                <a:cxn ang="0">
                  <a:pos x="1191" y="174"/>
                </a:cxn>
                <a:cxn ang="0">
                  <a:pos x="1153" y="260"/>
                </a:cxn>
                <a:cxn ang="0">
                  <a:pos x="1085" y="260"/>
                </a:cxn>
                <a:cxn ang="0">
                  <a:pos x="1051" y="210"/>
                </a:cxn>
                <a:cxn ang="0">
                  <a:pos x="1006" y="225"/>
                </a:cxn>
                <a:cxn ang="0">
                  <a:pos x="975" y="260"/>
                </a:cxn>
                <a:cxn ang="0">
                  <a:pos x="953" y="260"/>
                </a:cxn>
                <a:cxn ang="0">
                  <a:pos x="931" y="225"/>
                </a:cxn>
                <a:cxn ang="0">
                  <a:pos x="922" y="177"/>
                </a:cxn>
                <a:cxn ang="0">
                  <a:pos x="847" y="162"/>
                </a:cxn>
                <a:cxn ang="0">
                  <a:pos x="786" y="260"/>
                </a:cxn>
                <a:cxn ang="0">
                  <a:pos x="632" y="296"/>
                </a:cxn>
                <a:cxn ang="0">
                  <a:pos x="549" y="296"/>
                </a:cxn>
                <a:cxn ang="0">
                  <a:pos x="520" y="304"/>
                </a:cxn>
                <a:cxn ang="0">
                  <a:pos x="496" y="215"/>
                </a:cxn>
                <a:cxn ang="0">
                  <a:pos x="478" y="179"/>
                </a:cxn>
                <a:cxn ang="0">
                  <a:pos x="454" y="280"/>
                </a:cxn>
                <a:cxn ang="0">
                  <a:pos x="389" y="102"/>
                </a:cxn>
                <a:cxn ang="0">
                  <a:pos x="318" y="296"/>
                </a:cxn>
                <a:cxn ang="0">
                  <a:pos x="259" y="113"/>
                </a:cxn>
                <a:cxn ang="0">
                  <a:pos x="193" y="214"/>
                </a:cxn>
                <a:cxn ang="0">
                  <a:pos x="109" y="77"/>
                </a:cxn>
                <a:cxn ang="0">
                  <a:pos x="75" y="296"/>
                </a:cxn>
                <a:cxn ang="0">
                  <a:pos x="14" y="296"/>
                </a:cxn>
                <a:cxn ang="0">
                  <a:pos x="2348" y="603"/>
                </a:cxn>
              </a:cxnLst>
              <a:rect l="0" t="0" r="r" b="b"/>
              <a:pathLst>
                <a:path w="3132" h="603">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4" name="Freeform 36"/>
            <p:cNvSpPr>
              <a:spLocks noEditPoints="1"/>
            </p:cNvSpPr>
            <p:nvPr userDrawn="1"/>
          </p:nvSpPr>
          <p:spPr bwMode="auto">
            <a:xfrm>
              <a:off x="4457700" y="6338888"/>
              <a:ext cx="396875" cy="88900"/>
            </a:xfrm>
            <a:custGeom>
              <a:avLst/>
              <a:gdLst/>
              <a:ahLst/>
              <a:cxnLst>
                <a:cxn ang="0">
                  <a:pos x="1054" y="119"/>
                </a:cxn>
                <a:cxn ang="0">
                  <a:pos x="967" y="119"/>
                </a:cxn>
                <a:cxn ang="0">
                  <a:pos x="949" y="150"/>
                </a:cxn>
                <a:cxn ang="0">
                  <a:pos x="902" y="130"/>
                </a:cxn>
                <a:cxn ang="0">
                  <a:pos x="871" y="120"/>
                </a:cxn>
                <a:cxn ang="0">
                  <a:pos x="849" y="99"/>
                </a:cxn>
                <a:cxn ang="0">
                  <a:pos x="812" y="87"/>
                </a:cxn>
                <a:cxn ang="0">
                  <a:pos x="782" y="87"/>
                </a:cxn>
                <a:cxn ang="0">
                  <a:pos x="744" y="99"/>
                </a:cxn>
                <a:cxn ang="0">
                  <a:pos x="727" y="112"/>
                </a:cxn>
                <a:cxn ang="0">
                  <a:pos x="720" y="130"/>
                </a:cxn>
                <a:cxn ang="0">
                  <a:pos x="703" y="41"/>
                </a:cxn>
                <a:cxn ang="0">
                  <a:pos x="691" y="0"/>
                </a:cxn>
                <a:cxn ang="0">
                  <a:pos x="662" y="41"/>
                </a:cxn>
                <a:cxn ang="0">
                  <a:pos x="621" y="130"/>
                </a:cxn>
                <a:cxn ang="0">
                  <a:pos x="571" y="137"/>
                </a:cxn>
                <a:cxn ang="0">
                  <a:pos x="544" y="185"/>
                </a:cxn>
                <a:cxn ang="0">
                  <a:pos x="522" y="154"/>
                </a:cxn>
                <a:cxn ang="0">
                  <a:pos x="503" y="106"/>
                </a:cxn>
                <a:cxn ang="0">
                  <a:pos x="487" y="93"/>
                </a:cxn>
                <a:cxn ang="0">
                  <a:pos x="446" y="106"/>
                </a:cxn>
                <a:cxn ang="0">
                  <a:pos x="428" y="154"/>
                </a:cxn>
                <a:cxn ang="0">
                  <a:pos x="416" y="106"/>
                </a:cxn>
                <a:cxn ang="0">
                  <a:pos x="378" y="72"/>
                </a:cxn>
                <a:cxn ang="0">
                  <a:pos x="348" y="106"/>
                </a:cxn>
                <a:cxn ang="0">
                  <a:pos x="340" y="154"/>
                </a:cxn>
                <a:cxn ang="0">
                  <a:pos x="328" y="130"/>
                </a:cxn>
                <a:cxn ang="0">
                  <a:pos x="299" y="154"/>
                </a:cxn>
                <a:cxn ang="0">
                  <a:pos x="287" y="183"/>
                </a:cxn>
                <a:cxn ang="0">
                  <a:pos x="270" y="165"/>
                </a:cxn>
                <a:cxn ang="0">
                  <a:pos x="188" y="183"/>
                </a:cxn>
                <a:cxn ang="0">
                  <a:pos x="164" y="89"/>
                </a:cxn>
                <a:cxn ang="0">
                  <a:pos x="135" y="71"/>
                </a:cxn>
                <a:cxn ang="0">
                  <a:pos x="70" y="89"/>
                </a:cxn>
                <a:cxn ang="0">
                  <a:pos x="53" y="185"/>
                </a:cxn>
                <a:cxn ang="0">
                  <a:pos x="41" y="154"/>
                </a:cxn>
                <a:cxn ang="0">
                  <a:pos x="12" y="185"/>
                </a:cxn>
                <a:cxn ang="0">
                  <a:pos x="0" y="278"/>
                </a:cxn>
                <a:cxn ang="0">
                  <a:pos x="1249" y="278"/>
                </a:cxn>
                <a:cxn ang="0">
                  <a:pos x="1219" y="137"/>
                </a:cxn>
                <a:cxn ang="0">
                  <a:pos x="1201" y="88"/>
                </a:cxn>
                <a:cxn ang="0">
                  <a:pos x="967" y="119"/>
                </a:cxn>
              </a:cxnLst>
              <a:rect l="0" t="0" r="r" b="b"/>
              <a:pathLst>
                <a:path w="1249" h="278">
                  <a:moveTo>
                    <a:pt x="1078" y="119"/>
                  </a:moveTo>
                  <a:lnTo>
                    <a:pt x="1054" y="119"/>
                  </a:lnTo>
                  <a:lnTo>
                    <a:pt x="1078" y="119"/>
                  </a:lnTo>
                  <a:close/>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5" name="Freeform 37"/>
            <p:cNvSpPr>
              <a:spLocks/>
            </p:cNvSpPr>
            <p:nvPr userDrawn="1"/>
          </p:nvSpPr>
          <p:spPr bwMode="auto">
            <a:xfrm>
              <a:off x="4792663" y="6376988"/>
              <a:ext cx="7938" cy="1588"/>
            </a:xfrm>
            <a:custGeom>
              <a:avLst/>
              <a:gdLst/>
              <a:ahLst/>
              <a:cxnLst>
                <a:cxn ang="0">
                  <a:pos x="24" y="0"/>
                </a:cxn>
                <a:cxn ang="0">
                  <a:pos x="0" y="0"/>
                </a:cxn>
                <a:cxn ang="0">
                  <a:pos x="24" y="0"/>
                </a:cxn>
              </a:cxnLst>
              <a:rect l="0" t="0" r="r" b="b"/>
              <a:pathLst>
                <a:path w="24">
                  <a:moveTo>
                    <a:pt x="24" y="0"/>
                  </a:moveTo>
                  <a:lnTo>
                    <a:pt x="0" y="0"/>
                  </a:lnTo>
                  <a:lnTo>
                    <a:pt x="24"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6" name="Freeform 38"/>
            <p:cNvSpPr>
              <a:spLocks/>
            </p:cNvSpPr>
            <p:nvPr userDrawn="1"/>
          </p:nvSpPr>
          <p:spPr bwMode="auto">
            <a:xfrm>
              <a:off x="4457700" y="6338888"/>
              <a:ext cx="396875" cy="88900"/>
            </a:xfrm>
            <a:custGeom>
              <a:avLst/>
              <a:gdLst/>
              <a:ahLst/>
              <a:cxnLst>
                <a:cxn ang="0">
                  <a:pos x="949" y="119"/>
                </a:cxn>
                <a:cxn ang="0">
                  <a:pos x="902" y="150"/>
                </a:cxn>
                <a:cxn ang="0">
                  <a:pos x="873" y="130"/>
                </a:cxn>
                <a:cxn ang="0">
                  <a:pos x="866" y="112"/>
                </a:cxn>
                <a:cxn ang="0">
                  <a:pos x="825" y="89"/>
                </a:cxn>
                <a:cxn ang="0">
                  <a:pos x="797" y="85"/>
                </a:cxn>
                <a:cxn ang="0">
                  <a:pos x="768" y="89"/>
                </a:cxn>
                <a:cxn ang="0">
                  <a:pos x="735" y="105"/>
                </a:cxn>
                <a:cxn ang="0">
                  <a:pos x="723" y="120"/>
                </a:cxn>
                <a:cxn ang="0">
                  <a:pos x="703" y="130"/>
                </a:cxn>
                <a:cxn ang="0">
                  <a:pos x="691" y="41"/>
                </a:cxn>
                <a:cxn ang="0">
                  <a:pos x="662" y="0"/>
                </a:cxn>
                <a:cxn ang="0">
                  <a:pos x="621" y="41"/>
                </a:cxn>
                <a:cxn ang="0">
                  <a:pos x="597" y="130"/>
                </a:cxn>
                <a:cxn ang="0">
                  <a:pos x="544" y="137"/>
                </a:cxn>
                <a:cxn ang="0">
                  <a:pos x="522" y="185"/>
                </a:cxn>
                <a:cxn ang="0">
                  <a:pos x="503" y="154"/>
                </a:cxn>
                <a:cxn ang="0">
                  <a:pos x="487" y="106"/>
                </a:cxn>
                <a:cxn ang="0">
                  <a:pos x="446" y="93"/>
                </a:cxn>
                <a:cxn ang="0">
                  <a:pos x="428" y="106"/>
                </a:cxn>
                <a:cxn ang="0">
                  <a:pos x="416" y="154"/>
                </a:cxn>
                <a:cxn ang="0">
                  <a:pos x="378" y="106"/>
                </a:cxn>
                <a:cxn ang="0">
                  <a:pos x="348" y="72"/>
                </a:cxn>
                <a:cxn ang="0">
                  <a:pos x="340" y="106"/>
                </a:cxn>
                <a:cxn ang="0">
                  <a:pos x="328" y="154"/>
                </a:cxn>
                <a:cxn ang="0">
                  <a:pos x="299" y="130"/>
                </a:cxn>
                <a:cxn ang="0">
                  <a:pos x="287" y="154"/>
                </a:cxn>
                <a:cxn ang="0">
                  <a:pos x="270" y="183"/>
                </a:cxn>
                <a:cxn ang="0">
                  <a:pos x="188" y="165"/>
                </a:cxn>
                <a:cxn ang="0">
                  <a:pos x="164" y="183"/>
                </a:cxn>
                <a:cxn ang="0">
                  <a:pos x="135" y="89"/>
                </a:cxn>
                <a:cxn ang="0">
                  <a:pos x="70" y="71"/>
                </a:cxn>
                <a:cxn ang="0">
                  <a:pos x="53" y="89"/>
                </a:cxn>
                <a:cxn ang="0">
                  <a:pos x="41" y="185"/>
                </a:cxn>
                <a:cxn ang="0">
                  <a:pos x="12" y="154"/>
                </a:cxn>
                <a:cxn ang="0">
                  <a:pos x="0" y="185"/>
                </a:cxn>
                <a:cxn ang="0">
                  <a:pos x="624" y="278"/>
                </a:cxn>
                <a:cxn ang="0">
                  <a:pos x="1219" y="65"/>
                </a:cxn>
                <a:cxn ang="0">
                  <a:pos x="1201" y="137"/>
                </a:cxn>
                <a:cxn ang="0">
                  <a:pos x="1172" y="88"/>
                </a:cxn>
              </a:cxnLst>
              <a:rect l="0" t="0" r="r" b="b"/>
              <a:pathLst>
                <a:path w="1249" h="278">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7" name="Rectangle 39"/>
            <p:cNvSpPr>
              <a:spLocks noChangeArrowheads="1"/>
            </p:cNvSpPr>
            <p:nvPr userDrawn="1"/>
          </p:nvSpPr>
          <p:spPr bwMode="auto">
            <a:xfrm>
              <a:off x="4456113" y="6421438"/>
              <a:ext cx="244475" cy="34925"/>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8" name="Freeform 40"/>
            <p:cNvSpPr>
              <a:spLocks/>
            </p:cNvSpPr>
            <p:nvPr userDrawn="1"/>
          </p:nvSpPr>
          <p:spPr bwMode="auto">
            <a:xfrm>
              <a:off x="6640513" y="6462713"/>
              <a:ext cx="7938" cy="12700"/>
            </a:xfrm>
            <a:custGeom>
              <a:avLst/>
              <a:gdLst/>
              <a:ahLst/>
              <a:cxnLst>
                <a:cxn ang="0">
                  <a:pos x="17" y="39"/>
                </a:cxn>
                <a:cxn ang="0">
                  <a:pos x="18" y="39"/>
                </a:cxn>
                <a:cxn ang="0">
                  <a:pos x="20" y="39"/>
                </a:cxn>
                <a:cxn ang="0">
                  <a:pos x="20" y="40"/>
                </a:cxn>
                <a:cxn ang="0">
                  <a:pos x="21" y="40"/>
                </a:cxn>
                <a:cxn ang="0">
                  <a:pos x="21" y="41"/>
                </a:cxn>
                <a:cxn ang="0">
                  <a:pos x="22" y="41"/>
                </a:cxn>
                <a:cxn ang="0">
                  <a:pos x="22" y="42"/>
                </a:cxn>
                <a:cxn ang="0">
                  <a:pos x="23" y="36"/>
                </a:cxn>
                <a:cxn ang="0">
                  <a:pos x="23" y="28"/>
                </a:cxn>
                <a:cxn ang="0">
                  <a:pos x="23" y="23"/>
                </a:cxn>
                <a:cxn ang="0">
                  <a:pos x="21" y="21"/>
                </a:cxn>
                <a:cxn ang="0">
                  <a:pos x="18" y="15"/>
                </a:cxn>
                <a:cxn ang="0">
                  <a:pos x="16" y="8"/>
                </a:cxn>
                <a:cxn ang="0">
                  <a:pos x="17" y="4"/>
                </a:cxn>
                <a:cxn ang="0">
                  <a:pos x="14" y="3"/>
                </a:cxn>
                <a:cxn ang="0">
                  <a:pos x="12" y="2"/>
                </a:cxn>
                <a:cxn ang="0">
                  <a:pos x="11" y="0"/>
                </a:cxn>
                <a:cxn ang="0">
                  <a:pos x="8" y="5"/>
                </a:cxn>
                <a:cxn ang="0">
                  <a:pos x="3" y="11"/>
                </a:cxn>
                <a:cxn ang="0">
                  <a:pos x="0" y="14"/>
                </a:cxn>
                <a:cxn ang="0">
                  <a:pos x="0" y="16"/>
                </a:cxn>
                <a:cxn ang="0">
                  <a:pos x="4" y="22"/>
                </a:cxn>
                <a:cxn ang="0">
                  <a:pos x="5" y="26"/>
                </a:cxn>
                <a:cxn ang="0">
                  <a:pos x="5" y="24"/>
                </a:cxn>
                <a:cxn ang="0">
                  <a:pos x="6" y="24"/>
                </a:cxn>
                <a:cxn ang="0">
                  <a:pos x="5" y="24"/>
                </a:cxn>
                <a:cxn ang="0">
                  <a:pos x="5" y="23"/>
                </a:cxn>
                <a:cxn ang="0">
                  <a:pos x="5" y="22"/>
                </a:cxn>
                <a:cxn ang="0">
                  <a:pos x="6" y="22"/>
                </a:cxn>
                <a:cxn ang="0">
                  <a:pos x="8" y="22"/>
                </a:cxn>
                <a:cxn ang="0">
                  <a:pos x="9" y="22"/>
                </a:cxn>
                <a:cxn ang="0">
                  <a:pos x="9" y="23"/>
                </a:cxn>
                <a:cxn ang="0">
                  <a:pos x="9" y="24"/>
                </a:cxn>
                <a:cxn ang="0">
                  <a:pos x="9" y="26"/>
                </a:cxn>
                <a:cxn ang="0">
                  <a:pos x="9" y="24"/>
                </a:cxn>
                <a:cxn ang="0">
                  <a:pos x="10" y="23"/>
                </a:cxn>
                <a:cxn ang="0">
                  <a:pos x="10" y="24"/>
                </a:cxn>
                <a:cxn ang="0">
                  <a:pos x="11" y="24"/>
                </a:cxn>
                <a:cxn ang="0">
                  <a:pos x="11" y="26"/>
                </a:cxn>
                <a:cxn ang="0">
                  <a:pos x="12" y="27"/>
                </a:cxn>
                <a:cxn ang="0">
                  <a:pos x="12" y="26"/>
                </a:cxn>
                <a:cxn ang="0">
                  <a:pos x="14" y="27"/>
                </a:cxn>
                <a:cxn ang="0">
                  <a:pos x="14" y="28"/>
                </a:cxn>
                <a:cxn ang="0">
                  <a:pos x="14" y="29"/>
                </a:cxn>
                <a:cxn ang="0">
                  <a:pos x="15" y="30"/>
                </a:cxn>
                <a:cxn ang="0">
                  <a:pos x="15" y="29"/>
                </a:cxn>
                <a:cxn ang="0">
                  <a:pos x="16" y="29"/>
                </a:cxn>
                <a:cxn ang="0">
                  <a:pos x="17" y="30"/>
                </a:cxn>
                <a:cxn ang="0">
                  <a:pos x="17" y="32"/>
                </a:cxn>
                <a:cxn ang="0">
                  <a:pos x="17" y="33"/>
                </a:cxn>
                <a:cxn ang="0">
                  <a:pos x="16" y="33"/>
                </a:cxn>
                <a:cxn ang="0">
                  <a:pos x="16" y="32"/>
                </a:cxn>
                <a:cxn ang="0">
                  <a:pos x="15" y="32"/>
                </a:cxn>
                <a:cxn ang="0">
                  <a:pos x="15" y="33"/>
                </a:cxn>
                <a:cxn ang="0">
                  <a:pos x="16" y="33"/>
                </a:cxn>
                <a:cxn ang="0">
                  <a:pos x="16" y="34"/>
                </a:cxn>
                <a:cxn ang="0">
                  <a:pos x="16" y="35"/>
                </a:cxn>
                <a:cxn ang="0">
                  <a:pos x="17" y="38"/>
                </a:cxn>
                <a:cxn ang="0">
                  <a:pos x="17" y="39"/>
                </a:cxn>
              </a:cxnLst>
              <a:rect l="0" t="0" r="r" b="b"/>
              <a:pathLst>
                <a:path w="23" h="42">
                  <a:moveTo>
                    <a:pt x="17" y="39"/>
                  </a:moveTo>
                  <a:lnTo>
                    <a:pt x="18" y="39"/>
                  </a:lnTo>
                  <a:lnTo>
                    <a:pt x="20" y="39"/>
                  </a:lnTo>
                  <a:lnTo>
                    <a:pt x="20" y="40"/>
                  </a:lnTo>
                  <a:lnTo>
                    <a:pt x="21" y="40"/>
                  </a:lnTo>
                  <a:lnTo>
                    <a:pt x="21" y="41"/>
                  </a:lnTo>
                  <a:lnTo>
                    <a:pt x="22" y="41"/>
                  </a:lnTo>
                  <a:lnTo>
                    <a:pt x="22" y="42"/>
                  </a:lnTo>
                  <a:lnTo>
                    <a:pt x="23" y="36"/>
                  </a:lnTo>
                  <a:lnTo>
                    <a:pt x="23" y="28"/>
                  </a:lnTo>
                  <a:lnTo>
                    <a:pt x="23" y="23"/>
                  </a:lnTo>
                  <a:lnTo>
                    <a:pt x="21" y="21"/>
                  </a:lnTo>
                  <a:lnTo>
                    <a:pt x="18" y="15"/>
                  </a:lnTo>
                  <a:lnTo>
                    <a:pt x="16" y="8"/>
                  </a:lnTo>
                  <a:lnTo>
                    <a:pt x="17" y="4"/>
                  </a:lnTo>
                  <a:lnTo>
                    <a:pt x="14" y="3"/>
                  </a:lnTo>
                  <a:lnTo>
                    <a:pt x="12" y="2"/>
                  </a:lnTo>
                  <a:lnTo>
                    <a:pt x="11" y="0"/>
                  </a:lnTo>
                  <a:lnTo>
                    <a:pt x="8" y="5"/>
                  </a:lnTo>
                  <a:lnTo>
                    <a:pt x="3" y="11"/>
                  </a:lnTo>
                  <a:lnTo>
                    <a:pt x="0" y="14"/>
                  </a:lnTo>
                  <a:lnTo>
                    <a:pt x="0" y="16"/>
                  </a:lnTo>
                  <a:lnTo>
                    <a:pt x="4" y="22"/>
                  </a:lnTo>
                  <a:lnTo>
                    <a:pt x="5" y="26"/>
                  </a:lnTo>
                  <a:lnTo>
                    <a:pt x="5" y="24"/>
                  </a:lnTo>
                  <a:lnTo>
                    <a:pt x="6" y="24"/>
                  </a:lnTo>
                  <a:lnTo>
                    <a:pt x="5" y="24"/>
                  </a:lnTo>
                  <a:lnTo>
                    <a:pt x="5" y="23"/>
                  </a:lnTo>
                  <a:lnTo>
                    <a:pt x="5" y="22"/>
                  </a:lnTo>
                  <a:lnTo>
                    <a:pt x="6" y="22"/>
                  </a:lnTo>
                  <a:lnTo>
                    <a:pt x="8" y="22"/>
                  </a:lnTo>
                  <a:lnTo>
                    <a:pt x="9" y="22"/>
                  </a:lnTo>
                  <a:lnTo>
                    <a:pt x="9" y="23"/>
                  </a:lnTo>
                  <a:lnTo>
                    <a:pt x="9" y="24"/>
                  </a:lnTo>
                  <a:lnTo>
                    <a:pt x="9" y="26"/>
                  </a:lnTo>
                  <a:lnTo>
                    <a:pt x="9" y="24"/>
                  </a:lnTo>
                  <a:lnTo>
                    <a:pt x="10" y="23"/>
                  </a:lnTo>
                  <a:lnTo>
                    <a:pt x="10" y="24"/>
                  </a:lnTo>
                  <a:lnTo>
                    <a:pt x="11" y="24"/>
                  </a:lnTo>
                  <a:lnTo>
                    <a:pt x="11" y="26"/>
                  </a:lnTo>
                  <a:lnTo>
                    <a:pt x="12" y="27"/>
                  </a:lnTo>
                  <a:lnTo>
                    <a:pt x="12" y="26"/>
                  </a:lnTo>
                  <a:lnTo>
                    <a:pt x="14" y="27"/>
                  </a:lnTo>
                  <a:lnTo>
                    <a:pt x="14" y="28"/>
                  </a:lnTo>
                  <a:lnTo>
                    <a:pt x="14" y="29"/>
                  </a:lnTo>
                  <a:lnTo>
                    <a:pt x="15" y="30"/>
                  </a:lnTo>
                  <a:lnTo>
                    <a:pt x="15" y="29"/>
                  </a:lnTo>
                  <a:lnTo>
                    <a:pt x="16" y="29"/>
                  </a:lnTo>
                  <a:lnTo>
                    <a:pt x="17" y="30"/>
                  </a:lnTo>
                  <a:lnTo>
                    <a:pt x="17" y="32"/>
                  </a:lnTo>
                  <a:lnTo>
                    <a:pt x="17" y="33"/>
                  </a:lnTo>
                  <a:lnTo>
                    <a:pt x="16" y="33"/>
                  </a:lnTo>
                  <a:lnTo>
                    <a:pt x="16" y="32"/>
                  </a:lnTo>
                  <a:lnTo>
                    <a:pt x="15" y="32"/>
                  </a:lnTo>
                  <a:lnTo>
                    <a:pt x="15" y="33"/>
                  </a:lnTo>
                  <a:lnTo>
                    <a:pt x="16" y="33"/>
                  </a:lnTo>
                  <a:lnTo>
                    <a:pt x="16" y="34"/>
                  </a:lnTo>
                  <a:lnTo>
                    <a:pt x="16" y="35"/>
                  </a:lnTo>
                  <a:lnTo>
                    <a:pt x="17" y="38"/>
                  </a:lnTo>
                  <a:lnTo>
                    <a:pt x="17" y="3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9" name="Freeform 41"/>
            <p:cNvSpPr>
              <a:spLocks/>
            </p:cNvSpPr>
            <p:nvPr userDrawn="1"/>
          </p:nvSpPr>
          <p:spPr bwMode="auto">
            <a:xfrm>
              <a:off x="6640513" y="6467476"/>
              <a:ext cx="1588" cy="6350"/>
            </a:xfrm>
            <a:custGeom>
              <a:avLst/>
              <a:gdLst/>
              <a:ahLst/>
              <a:cxnLst>
                <a:cxn ang="0">
                  <a:pos x="7" y="18"/>
                </a:cxn>
                <a:cxn ang="0">
                  <a:pos x="6" y="19"/>
                </a:cxn>
                <a:cxn ang="0">
                  <a:pos x="7" y="19"/>
                </a:cxn>
                <a:cxn ang="0">
                  <a:pos x="6" y="20"/>
                </a:cxn>
                <a:cxn ang="0">
                  <a:pos x="4" y="19"/>
                </a:cxn>
                <a:cxn ang="0">
                  <a:pos x="2" y="14"/>
                </a:cxn>
                <a:cxn ang="0">
                  <a:pos x="1" y="11"/>
                </a:cxn>
                <a:cxn ang="0">
                  <a:pos x="1" y="6"/>
                </a:cxn>
                <a:cxn ang="0">
                  <a:pos x="0" y="0"/>
                </a:cxn>
                <a:cxn ang="0">
                  <a:pos x="3" y="5"/>
                </a:cxn>
                <a:cxn ang="0">
                  <a:pos x="6" y="11"/>
                </a:cxn>
                <a:cxn ang="0">
                  <a:pos x="7" y="13"/>
                </a:cxn>
                <a:cxn ang="0">
                  <a:pos x="6" y="14"/>
                </a:cxn>
                <a:cxn ang="0">
                  <a:pos x="6" y="16"/>
                </a:cxn>
                <a:cxn ang="0">
                  <a:pos x="7" y="14"/>
                </a:cxn>
                <a:cxn ang="0">
                  <a:pos x="6" y="16"/>
                </a:cxn>
                <a:cxn ang="0">
                  <a:pos x="7" y="17"/>
                </a:cxn>
                <a:cxn ang="0">
                  <a:pos x="7" y="16"/>
                </a:cxn>
                <a:cxn ang="0">
                  <a:pos x="7" y="17"/>
                </a:cxn>
                <a:cxn ang="0">
                  <a:pos x="6" y="18"/>
                </a:cxn>
                <a:cxn ang="0">
                  <a:pos x="7" y="18"/>
                </a:cxn>
              </a:cxnLst>
              <a:rect l="0" t="0" r="r" b="b"/>
              <a:pathLst>
                <a:path w="7" h="20">
                  <a:moveTo>
                    <a:pt x="7" y="18"/>
                  </a:moveTo>
                  <a:lnTo>
                    <a:pt x="6" y="19"/>
                  </a:lnTo>
                  <a:lnTo>
                    <a:pt x="7" y="19"/>
                  </a:lnTo>
                  <a:lnTo>
                    <a:pt x="6" y="20"/>
                  </a:lnTo>
                  <a:lnTo>
                    <a:pt x="4" y="19"/>
                  </a:lnTo>
                  <a:lnTo>
                    <a:pt x="2" y="14"/>
                  </a:lnTo>
                  <a:lnTo>
                    <a:pt x="1" y="11"/>
                  </a:lnTo>
                  <a:lnTo>
                    <a:pt x="1" y="6"/>
                  </a:lnTo>
                  <a:lnTo>
                    <a:pt x="0" y="0"/>
                  </a:lnTo>
                  <a:lnTo>
                    <a:pt x="3" y="5"/>
                  </a:lnTo>
                  <a:lnTo>
                    <a:pt x="6" y="11"/>
                  </a:lnTo>
                  <a:lnTo>
                    <a:pt x="7" y="13"/>
                  </a:lnTo>
                  <a:lnTo>
                    <a:pt x="6" y="14"/>
                  </a:lnTo>
                  <a:lnTo>
                    <a:pt x="6" y="16"/>
                  </a:lnTo>
                  <a:lnTo>
                    <a:pt x="7" y="14"/>
                  </a:lnTo>
                  <a:lnTo>
                    <a:pt x="6" y="16"/>
                  </a:lnTo>
                  <a:lnTo>
                    <a:pt x="7" y="17"/>
                  </a:lnTo>
                  <a:lnTo>
                    <a:pt x="7" y="16"/>
                  </a:lnTo>
                  <a:lnTo>
                    <a:pt x="7" y="17"/>
                  </a:lnTo>
                  <a:lnTo>
                    <a:pt x="6" y="18"/>
                  </a:lnTo>
                  <a:lnTo>
                    <a:pt x="7" y="1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0" name="Freeform 42"/>
            <p:cNvSpPr>
              <a:spLocks/>
            </p:cNvSpPr>
            <p:nvPr userDrawn="1"/>
          </p:nvSpPr>
          <p:spPr bwMode="auto">
            <a:xfrm>
              <a:off x="6642100" y="6475413"/>
              <a:ext cx="3175" cy="12700"/>
            </a:xfrm>
            <a:custGeom>
              <a:avLst/>
              <a:gdLst/>
              <a:ahLst/>
              <a:cxnLst>
                <a:cxn ang="0">
                  <a:pos x="6" y="38"/>
                </a:cxn>
                <a:cxn ang="0">
                  <a:pos x="5" y="35"/>
                </a:cxn>
                <a:cxn ang="0">
                  <a:pos x="5" y="26"/>
                </a:cxn>
                <a:cxn ang="0">
                  <a:pos x="3" y="14"/>
                </a:cxn>
                <a:cxn ang="0">
                  <a:pos x="2" y="8"/>
                </a:cxn>
                <a:cxn ang="0">
                  <a:pos x="0" y="2"/>
                </a:cxn>
                <a:cxn ang="0">
                  <a:pos x="0" y="0"/>
                </a:cxn>
                <a:cxn ang="0">
                  <a:pos x="1" y="0"/>
                </a:cxn>
                <a:cxn ang="0">
                  <a:pos x="2" y="0"/>
                </a:cxn>
                <a:cxn ang="0">
                  <a:pos x="3" y="0"/>
                </a:cxn>
                <a:cxn ang="0">
                  <a:pos x="3" y="1"/>
                </a:cxn>
                <a:cxn ang="0">
                  <a:pos x="3" y="4"/>
                </a:cxn>
                <a:cxn ang="0">
                  <a:pos x="3" y="6"/>
                </a:cxn>
                <a:cxn ang="0">
                  <a:pos x="3" y="7"/>
                </a:cxn>
                <a:cxn ang="0">
                  <a:pos x="5" y="8"/>
                </a:cxn>
                <a:cxn ang="0">
                  <a:pos x="5" y="9"/>
                </a:cxn>
                <a:cxn ang="0">
                  <a:pos x="6" y="9"/>
                </a:cxn>
                <a:cxn ang="0">
                  <a:pos x="6" y="10"/>
                </a:cxn>
                <a:cxn ang="0">
                  <a:pos x="6" y="12"/>
                </a:cxn>
                <a:cxn ang="0">
                  <a:pos x="7" y="10"/>
                </a:cxn>
                <a:cxn ang="0">
                  <a:pos x="7" y="12"/>
                </a:cxn>
                <a:cxn ang="0">
                  <a:pos x="6" y="13"/>
                </a:cxn>
                <a:cxn ang="0">
                  <a:pos x="6" y="14"/>
                </a:cxn>
                <a:cxn ang="0">
                  <a:pos x="6" y="15"/>
                </a:cxn>
                <a:cxn ang="0">
                  <a:pos x="6" y="14"/>
                </a:cxn>
                <a:cxn ang="0">
                  <a:pos x="7" y="14"/>
                </a:cxn>
                <a:cxn ang="0">
                  <a:pos x="6" y="15"/>
                </a:cxn>
                <a:cxn ang="0">
                  <a:pos x="6" y="17"/>
                </a:cxn>
                <a:cxn ang="0">
                  <a:pos x="7" y="15"/>
                </a:cxn>
                <a:cxn ang="0">
                  <a:pos x="7" y="14"/>
                </a:cxn>
                <a:cxn ang="0">
                  <a:pos x="7" y="15"/>
                </a:cxn>
                <a:cxn ang="0">
                  <a:pos x="8" y="17"/>
                </a:cxn>
                <a:cxn ang="0">
                  <a:pos x="8" y="18"/>
                </a:cxn>
                <a:cxn ang="0">
                  <a:pos x="8" y="20"/>
                </a:cxn>
                <a:cxn ang="0">
                  <a:pos x="9" y="25"/>
                </a:cxn>
                <a:cxn ang="0">
                  <a:pos x="11" y="29"/>
                </a:cxn>
                <a:cxn ang="0">
                  <a:pos x="8" y="35"/>
                </a:cxn>
                <a:cxn ang="0">
                  <a:pos x="7" y="36"/>
                </a:cxn>
                <a:cxn ang="0">
                  <a:pos x="6" y="38"/>
                </a:cxn>
              </a:cxnLst>
              <a:rect l="0" t="0" r="r" b="b"/>
              <a:pathLst>
                <a:path w="11" h="38">
                  <a:moveTo>
                    <a:pt x="6" y="38"/>
                  </a:moveTo>
                  <a:lnTo>
                    <a:pt x="5" y="35"/>
                  </a:lnTo>
                  <a:lnTo>
                    <a:pt x="5" y="26"/>
                  </a:lnTo>
                  <a:lnTo>
                    <a:pt x="3" y="14"/>
                  </a:lnTo>
                  <a:lnTo>
                    <a:pt x="2" y="8"/>
                  </a:lnTo>
                  <a:lnTo>
                    <a:pt x="0" y="2"/>
                  </a:lnTo>
                  <a:lnTo>
                    <a:pt x="0" y="0"/>
                  </a:lnTo>
                  <a:lnTo>
                    <a:pt x="1" y="0"/>
                  </a:lnTo>
                  <a:lnTo>
                    <a:pt x="2" y="0"/>
                  </a:lnTo>
                  <a:lnTo>
                    <a:pt x="3" y="0"/>
                  </a:lnTo>
                  <a:lnTo>
                    <a:pt x="3" y="1"/>
                  </a:lnTo>
                  <a:lnTo>
                    <a:pt x="3" y="4"/>
                  </a:lnTo>
                  <a:lnTo>
                    <a:pt x="3" y="6"/>
                  </a:lnTo>
                  <a:lnTo>
                    <a:pt x="3" y="7"/>
                  </a:lnTo>
                  <a:lnTo>
                    <a:pt x="5" y="8"/>
                  </a:lnTo>
                  <a:lnTo>
                    <a:pt x="5" y="9"/>
                  </a:lnTo>
                  <a:lnTo>
                    <a:pt x="6" y="9"/>
                  </a:lnTo>
                  <a:lnTo>
                    <a:pt x="6" y="10"/>
                  </a:lnTo>
                  <a:lnTo>
                    <a:pt x="6" y="12"/>
                  </a:lnTo>
                  <a:lnTo>
                    <a:pt x="7" y="10"/>
                  </a:lnTo>
                  <a:lnTo>
                    <a:pt x="7" y="12"/>
                  </a:lnTo>
                  <a:lnTo>
                    <a:pt x="6" y="13"/>
                  </a:lnTo>
                  <a:lnTo>
                    <a:pt x="6" y="14"/>
                  </a:lnTo>
                  <a:lnTo>
                    <a:pt x="6" y="15"/>
                  </a:lnTo>
                  <a:lnTo>
                    <a:pt x="6" y="14"/>
                  </a:lnTo>
                  <a:lnTo>
                    <a:pt x="7" y="14"/>
                  </a:lnTo>
                  <a:lnTo>
                    <a:pt x="6" y="15"/>
                  </a:lnTo>
                  <a:lnTo>
                    <a:pt x="6" y="17"/>
                  </a:lnTo>
                  <a:lnTo>
                    <a:pt x="7" y="15"/>
                  </a:lnTo>
                  <a:lnTo>
                    <a:pt x="7" y="14"/>
                  </a:lnTo>
                  <a:lnTo>
                    <a:pt x="7" y="15"/>
                  </a:lnTo>
                  <a:lnTo>
                    <a:pt x="8" y="17"/>
                  </a:lnTo>
                  <a:lnTo>
                    <a:pt x="8" y="18"/>
                  </a:lnTo>
                  <a:lnTo>
                    <a:pt x="8" y="20"/>
                  </a:lnTo>
                  <a:lnTo>
                    <a:pt x="9" y="25"/>
                  </a:lnTo>
                  <a:lnTo>
                    <a:pt x="11" y="29"/>
                  </a:lnTo>
                  <a:lnTo>
                    <a:pt x="8" y="35"/>
                  </a:lnTo>
                  <a:lnTo>
                    <a:pt x="7" y="36"/>
                  </a:lnTo>
                  <a:lnTo>
                    <a:pt x="6" y="3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1" name="Freeform 43"/>
            <p:cNvSpPr>
              <a:spLocks/>
            </p:cNvSpPr>
            <p:nvPr userDrawn="1"/>
          </p:nvSpPr>
          <p:spPr bwMode="auto">
            <a:xfrm>
              <a:off x="6640513" y="6459538"/>
              <a:ext cx="3175" cy="6350"/>
            </a:xfrm>
            <a:custGeom>
              <a:avLst/>
              <a:gdLst/>
              <a:ahLst/>
              <a:cxnLst>
                <a:cxn ang="0">
                  <a:pos x="10" y="4"/>
                </a:cxn>
                <a:cxn ang="0">
                  <a:pos x="10" y="5"/>
                </a:cxn>
                <a:cxn ang="0">
                  <a:pos x="10" y="6"/>
                </a:cxn>
                <a:cxn ang="0">
                  <a:pos x="10" y="7"/>
                </a:cxn>
                <a:cxn ang="0">
                  <a:pos x="7" y="12"/>
                </a:cxn>
                <a:cxn ang="0">
                  <a:pos x="0" y="21"/>
                </a:cxn>
                <a:cxn ang="0">
                  <a:pos x="0" y="17"/>
                </a:cxn>
                <a:cxn ang="0">
                  <a:pos x="0" y="10"/>
                </a:cxn>
                <a:cxn ang="0">
                  <a:pos x="0" y="7"/>
                </a:cxn>
                <a:cxn ang="0">
                  <a:pos x="0" y="9"/>
                </a:cxn>
                <a:cxn ang="0">
                  <a:pos x="0" y="7"/>
                </a:cxn>
                <a:cxn ang="0">
                  <a:pos x="0" y="6"/>
                </a:cxn>
                <a:cxn ang="0">
                  <a:pos x="0" y="5"/>
                </a:cxn>
                <a:cxn ang="0">
                  <a:pos x="0" y="4"/>
                </a:cxn>
                <a:cxn ang="0">
                  <a:pos x="1" y="4"/>
                </a:cxn>
                <a:cxn ang="0">
                  <a:pos x="0" y="5"/>
                </a:cxn>
                <a:cxn ang="0">
                  <a:pos x="1" y="5"/>
                </a:cxn>
                <a:cxn ang="0">
                  <a:pos x="1" y="6"/>
                </a:cxn>
                <a:cxn ang="0">
                  <a:pos x="3" y="6"/>
                </a:cxn>
                <a:cxn ang="0">
                  <a:pos x="3" y="5"/>
                </a:cxn>
                <a:cxn ang="0">
                  <a:pos x="3" y="4"/>
                </a:cxn>
                <a:cxn ang="0">
                  <a:pos x="3" y="3"/>
                </a:cxn>
                <a:cxn ang="0">
                  <a:pos x="1" y="3"/>
                </a:cxn>
                <a:cxn ang="0">
                  <a:pos x="1" y="1"/>
                </a:cxn>
                <a:cxn ang="0">
                  <a:pos x="1" y="3"/>
                </a:cxn>
                <a:cxn ang="0">
                  <a:pos x="0" y="3"/>
                </a:cxn>
                <a:cxn ang="0">
                  <a:pos x="0" y="1"/>
                </a:cxn>
                <a:cxn ang="0">
                  <a:pos x="0" y="0"/>
                </a:cxn>
                <a:cxn ang="0">
                  <a:pos x="1" y="0"/>
                </a:cxn>
                <a:cxn ang="0">
                  <a:pos x="3" y="0"/>
                </a:cxn>
                <a:cxn ang="0">
                  <a:pos x="3" y="1"/>
                </a:cxn>
                <a:cxn ang="0">
                  <a:pos x="4" y="1"/>
                </a:cxn>
                <a:cxn ang="0">
                  <a:pos x="4" y="3"/>
                </a:cxn>
                <a:cxn ang="0">
                  <a:pos x="5" y="3"/>
                </a:cxn>
                <a:cxn ang="0">
                  <a:pos x="5" y="4"/>
                </a:cxn>
                <a:cxn ang="0">
                  <a:pos x="5" y="3"/>
                </a:cxn>
                <a:cxn ang="0">
                  <a:pos x="6" y="3"/>
                </a:cxn>
                <a:cxn ang="0">
                  <a:pos x="6" y="4"/>
                </a:cxn>
                <a:cxn ang="0">
                  <a:pos x="5" y="5"/>
                </a:cxn>
                <a:cxn ang="0">
                  <a:pos x="6" y="5"/>
                </a:cxn>
                <a:cxn ang="0">
                  <a:pos x="7" y="4"/>
                </a:cxn>
                <a:cxn ang="0">
                  <a:pos x="7" y="3"/>
                </a:cxn>
                <a:cxn ang="0">
                  <a:pos x="7" y="4"/>
                </a:cxn>
                <a:cxn ang="0">
                  <a:pos x="9" y="4"/>
                </a:cxn>
                <a:cxn ang="0">
                  <a:pos x="9" y="5"/>
                </a:cxn>
                <a:cxn ang="0">
                  <a:pos x="9" y="6"/>
                </a:cxn>
                <a:cxn ang="0">
                  <a:pos x="9" y="5"/>
                </a:cxn>
                <a:cxn ang="0">
                  <a:pos x="10" y="5"/>
                </a:cxn>
                <a:cxn ang="0">
                  <a:pos x="10" y="4"/>
                </a:cxn>
              </a:cxnLst>
              <a:rect l="0" t="0" r="r" b="b"/>
              <a:pathLst>
                <a:path w="10" h="21">
                  <a:moveTo>
                    <a:pt x="10" y="4"/>
                  </a:moveTo>
                  <a:lnTo>
                    <a:pt x="10" y="5"/>
                  </a:lnTo>
                  <a:lnTo>
                    <a:pt x="10" y="6"/>
                  </a:lnTo>
                  <a:lnTo>
                    <a:pt x="10" y="7"/>
                  </a:lnTo>
                  <a:lnTo>
                    <a:pt x="7" y="12"/>
                  </a:lnTo>
                  <a:lnTo>
                    <a:pt x="0" y="21"/>
                  </a:lnTo>
                  <a:lnTo>
                    <a:pt x="0" y="17"/>
                  </a:lnTo>
                  <a:lnTo>
                    <a:pt x="0" y="10"/>
                  </a:lnTo>
                  <a:lnTo>
                    <a:pt x="0" y="7"/>
                  </a:lnTo>
                  <a:lnTo>
                    <a:pt x="0" y="9"/>
                  </a:lnTo>
                  <a:lnTo>
                    <a:pt x="0" y="7"/>
                  </a:lnTo>
                  <a:lnTo>
                    <a:pt x="0" y="6"/>
                  </a:lnTo>
                  <a:lnTo>
                    <a:pt x="0" y="5"/>
                  </a:lnTo>
                  <a:lnTo>
                    <a:pt x="0" y="4"/>
                  </a:lnTo>
                  <a:lnTo>
                    <a:pt x="1" y="4"/>
                  </a:lnTo>
                  <a:lnTo>
                    <a:pt x="0" y="5"/>
                  </a:lnTo>
                  <a:lnTo>
                    <a:pt x="1" y="5"/>
                  </a:lnTo>
                  <a:lnTo>
                    <a:pt x="1" y="6"/>
                  </a:lnTo>
                  <a:lnTo>
                    <a:pt x="3" y="6"/>
                  </a:lnTo>
                  <a:lnTo>
                    <a:pt x="3" y="5"/>
                  </a:lnTo>
                  <a:lnTo>
                    <a:pt x="3" y="4"/>
                  </a:lnTo>
                  <a:lnTo>
                    <a:pt x="3" y="3"/>
                  </a:lnTo>
                  <a:lnTo>
                    <a:pt x="1" y="3"/>
                  </a:lnTo>
                  <a:lnTo>
                    <a:pt x="1" y="1"/>
                  </a:lnTo>
                  <a:lnTo>
                    <a:pt x="1" y="3"/>
                  </a:lnTo>
                  <a:lnTo>
                    <a:pt x="0" y="3"/>
                  </a:lnTo>
                  <a:lnTo>
                    <a:pt x="0" y="1"/>
                  </a:lnTo>
                  <a:lnTo>
                    <a:pt x="0" y="0"/>
                  </a:lnTo>
                  <a:lnTo>
                    <a:pt x="1" y="0"/>
                  </a:lnTo>
                  <a:lnTo>
                    <a:pt x="3" y="0"/>
                  </a:lnTo>
                  <a:lnTo>
                    <a:pt x="3" y="1"/>
                  </a:lnTo>
                  <a:lnTo>
                    <a:pt x="4" y="1"/>
                  </a:lnTo>
                  <a:lnTo>
                    <a:pt x="4" y="3"/>
                  </a:lnTo>
                  <a:lnTo>
                    <a:pt x="5" y="3"/>
                  </a:lnTo>
                  <a:lnTo>
                    <a:pt x="5" y="4"/>
                  </a:lnTo>
                  <a:lnTo>
                    <a:pt x="5" y="3"/>
                  </a:lnTo>
                  <a:lnTo>
                    <a:pt x="6" y="3"/>
                  </a:lnTo>
                  <a:lnTo>
                    <a:pt x="6" y="4"/>
                  </a:lnTo>
                  <a:lnTo>
                    <a:pt x="5" y="5"/>
                  </a:lnTo>
                  <a:lnTo>
                    <a:pt x="6" y="5"/>
                  </a:lnTo>
                  <a:lnTo>
                    <a:pt x="7" y="4"/>
                  </a:lnTo>
                  <a:lnTo>
                    <a:pt x="7" y="3"/>
                  </a:lnTo>
                  <a:lnTo>
                    <a:pt x="7" y="4"/>
                  </a:lnTo>
                  <a:lnTo>
                    <a:pt x="9" y="4"/>
                  </a:lnTo>
                  <a:lnTo>
                    <a:pt x="9" y="5"/>
                  </a:lnTo>
                  <a:lnTo>
                    <a:pt x="9" y="6"/>
                  </a:lnTo>
                  <a:lnTo>
                    <a:pt x="9" y="5"/>
                  </a:lnTo>
                  <a:lnTo>
                    <a:pt x="10" y="5"/>
                  </a:lnTo>
                  <a:lnTo>
                    <a:pt x="10" y="4"/>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2" name="Freeform 44"/>
            <p:cNvSpPr>
              <a:spLocks/>
            </p:cNvSpPr>
            <p:nvPr userDrawn="1"/>
          </p:nvSpPr>
          <p:spPr bwMode="auto">
            <a:xfrm>
              <a:off x="6630988" y="6465888"/>
              <a:ext cx="9525" cy="6350"/>
            </a:xfrm>
            <a:custGeom>
              <a:avLst/>
              <a:gdLst/>
              <a:ahLst/>
              <a:cxnLst>
                <a:cxn ang="0">
                  <a:pos x="28" y="22"/>
                </a:cxn>
                <a:cxn ang="0">
                  <a:pos x="24" y="12"/>
                </a:cxn>
                <a:cxn ang="0">
                  <a:pos x="19" y="7"/>
                </a:cxn>
                <a:cxn ang="0">
                  <a:pos x="15" y="4"/>
                </a:cxn>
                <a:cxn ang="0">
                  <a:pos x="12" y="3"/>
                </a:cxn>
                <a:cxn ang="0">
                  <a:pos x="7" y="0"/>
                </a:cxn>
                <a:cxn ang="0">
                  <a:pos x="6" y="0"/>
                </a:cxn>
                <a:cxn ang="0">
                  <a:pos x="3" y="3"/>
                </a:cxn>
                <a:cxn ang="0">
                  <a:pos x="2" y="4"/>
                </a:cxn>
                <a:cxn ang="0">
                  <a:pos x="2" y="5"/>
                </a:cxn>
                <a:cxn ang="0">
                  <a:pos x="3" y="5"/>
                </a:cxn>
                <a:cxn ang="0">
                  <a:pos x="3" y="6"/>
                </a:cxn>
                <a:cxn ang="0">
                  <a:pos x="3" y="7"/>
                </a:cxn>
                <a:cxn ang="0">
                  <a:pos x="2" y="7"/>
                </a:cxn>
                <a:cxn ang="0">
                  <a:pos x="2" y="9"/>
                </a:cxn>
                <a:cxn ang="0">
                  <a:pos x="2" y="7"/>
                </a:cxn>
                <a:cxn ang="0">
                  <a:pos x="1" y="7"/>
                </a:cxn>
                <a:cxn ang="0">
                  <a:pos x="1" y="6"/>
                </a:cxn>
                <a:cxn ang="0">
                  <a:pos x="1" y="7"/>
                </a:cxn>
                <a:cxn ang="0">
                  <a:pos x="1" y="6"/>
                </a:cxn>
                <a:cxn ang="0">
                  <a:pos x="1" y="5"/>
                </a:cxn>
                <a:cxn ang="0">
                  <a:pos x="1" y="6"/>
                </a:cxn>
                <a:cxn ang="0">
                  <a:pos x="0" y="6"/>
                </a:cxn>
                <a:cxn ang="0">
                  <a:pos x="1" y="7"/>
                </a:cxn>
                <a:cxn ang="0">
                  <a:pos x="5" y="10"/>
                </a:cxn>
                <a:cxn ang="0">
                  <a:pos x="9" y="11"/>
                </a:cxn>
                <a:cxn ang="0">
                  <a:pos x="11" y="12"/>
                </a:cxn>
                <a:cxn ang="0">
                  <a:pos x="12" y="11"/>
                </a:cxn>
                <a:cxn ang="0">
                  <a:pos x="13" y="11"/>
                </a:cxn>
                <a:cxn ang="0">
                  <a:pos x="14" y="11"/>
                </a:cxn>
                <a:cxn ang="0">
                  <a:pos x="14" y="10"/>
                </a:cxn>
                <a:cxn ang="0">
                  <a:pos x="15" y="10"/>
                </a:cxn>
                <a:cxn ang="0">
                  <a:pos x="17" y="9"/>
                </a:cxn>
                <a:cxn ang="0">
                  <a:pos x="17" y="10"/>
                </a:cxn>
                <a:cxn ang="0">
                  <a:pos x="18" y="10"/>
                </a:cxn>
                <a:cxn ang="0">
                  <a:pos x="19" y="11"/>
                </a:cxn>
                <a:cxn ang="0">
                  <a:pos x="19" y="12"/>
                </a:cxn>
                <a:cxn ang="0">
                  <a:pos x="20" y="13"/>
                </a:cxn>
                <a:cxn ang="0">
                  <a:pos x="21" y="15"/>
                </a:cxn>
                <a:cxn ang="0">
                  <a:pos x="23" y="17"/>
                </a:cxn>
                <a:cxn ang="0">
                  <a:pos x="28" y="22"/>
                </a:cxn>
              </a:cxnLst>
              <a:rect l="0" t="0" r="r" b="b"/>
              <a:pathLst>
                <a:path w="28" h="22">
                  <a:moveTo>
                    <a:pt x="28" y="22"/>
                  </a:moveTo>
                  <a:lnTo>
                    <a:pt x="24" y="12"/>
                  </a:lnTo>
                  <a:lnTo>
                    <a:pt x="19" y="7"/>
                  </a:lnTo>
                  <a:lnTo>
                    <a:pt x="15" y="4"/>
                  </a:lnTo>
                  <a:lnTo>
                    <a:pt x="12" y="3"/>
                  </a:lnTo>
                  <a:lnTo>
                    <a:pt x="7" y="0"/>
                  </a:lnTo>
                  <a:lnTo>
                    <a:pt x="6" y="0"/>
                  </a:lnTo>
                  <a:lnTo>
                    <a:pt x="3" y="3"/>
                  </a:lnTo>
                  <a:lnTo>
                    <a:pt x="2" y="4"/>
                  </a:lnTo>
                  <a:lnTo>
                    <a:pt x="2" y="5"/>
                  </a:lnTo>
                  <a:lnTo>
                    <a:pt x="3" y="5"/>
                  </a:lnTo>
                  <a:lnTo>
                    <a:pt x="3" y="6"/>
                  </a:lnTo>
                  <a:lnTo>
                    <a:pt x="3" y="7"/>
                  </a:lnTo>
                  <a:lnTo>
                    <a:pt x="2" y="7"/>
                  </a:lnTo>
                  <a:lnTo>
                    <a:pt x="2" y="9"/>
                  </a:lnTo>
                  <a:lnTo>
                    <a:pt x="2" y="7"/>
                  </a:lnTo>
                  <a:lnTo>
                    <a:pt x="1" y="7"/>
                  </a:lnTo>
                  <a:lnTo>
                    <a:pt x="1" y="6"/>
                  </a:lnTo>
                  <a:lnTo>
                    <a:pt x="1" y="7"/>
                  </a:lnTo>
                  <a:lnTo>
                    <a:pt x="1" y="6"/>
                  </a:lnTo>
                  <a:lnTo>
                    <a:pt x="1" y="5"/>
                  </a:lnTo>
                  <a:lnTo>
                    <a:pt x="1" y="6"/>
                  </a:lnTo>
                  <a:lnTo>
                    <a:pt x="0" y="6"/>
                  </a:lnTo>
                  <a:lnTo>
                    <a:pt x="1" y="7"/>
                  </a:lnTo>
                  <a:lnTo>
                    <a:pt x="5" y="10"/>
                  </a:lnTo>
                  <a:lnTo>
                    <a:pt x="9" y="11"/>
                  </a:lnTo>
                  <a:lnTo>
                    <a:pt x="11" y="12"/>
                  </a:lnTo>
                  <a:lnTo>
                    <a:pt x="12" y="11"/>
                  </a:lnTo>
                  <a:lnTo>
                    <a:pt x="13" y="11"/>
                  </a:lnTo>
                  <a:lnTo>
                    <a:pt x="14" y="11"/>
                  </a:lnTo>
                  <a:lnTo>
                    <a:pt x="14" y="10"/>
                  </a:lnTo>
                  <a:lnTo>
                    <a:pt x="15" y="10"/>
                  </a:lnTo>
                  <a:lnTo>
                    <a:pt x="17" y="9"/>
                  </a:lnTo>
                  <a:lnTo>
                    <a:pt x="17" y="10"/>
                  </a:lnTo>
                  <a:lnTo>
                    <a:pt x="18" y="10"/>
                  </a:lnTo>
                  <a:lnTo>
                    <a:pt x="19" y="11"/>
                  </a:lnTo>
                  <a:lnTo>
                    <a:pt x="19" y="12"/>
                  </a:lnTo>
                  <a:lnTo>
                    <a:pt x="20" y="13"/>
                  </a:lnTo>
                  <a:lnTo>
                    <a:pt x="21" y="15"/>
                  </a:lnTo>
                  <a:lnTo>
                    <a:pt x="23" y="17"/>
                  </a:lnTo>
                  <a:lnTo>
                    <a:pt x="28" y="2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3" name="Freeform 45"/>
            <p:cNvSpPr>
              <a:spLocks/>
            </p:cNvSpPr>
            <p:nvPr userDrawn="1"/>
          </p:nvSpPr>
          <p:spPr bwMode="auto">
            <a:xfrm>
              <a:off x="6637338" y="6461126"/>
              <a:ext cx="3175" cy="4763"/>
            </a:xfrm>
            <a:custGeom>
              <a:avLst/>
              <a:gdLst/>
              <a:ahLst/>
              <a:cxnLst>
                <a:cxn ang="0">
                  <a:pos x="9" y="13"/>
                </a:cxn>
                <a:cxn ang="0">
                  <a:pos x="7" y="1"/>
                </a:cxn>
                <a:cxn ang="0">
                  <a:pos x="7" y="2"/>
                </a:cxn>
                <a:cxn ang="0">
                  <a:pos x="6" y="1"/>
                </a:cxn>
                <a:cxn ang="0">
                  <a:pos x="6" y="2"/>
                </a:cxn>
                <a:cxn ang="0">
                  <a:pos x="5" y="1"/>
                </a:cxn>
                <a:cxn ang="0">
                  <a:pos x="6" y="0"/>
                </a:cxn>
                <a:cxn ang="0">
                  <a:pos x="5" y="0"/>
                </a:cxn>
                <a:cxn ang="0">
                  <a:pos x="4" y="0"/>
                </a:cxn>
                <a:cxn ang="0">
                  <a:pos x="4" y="1"/>
                </a:cxn>
                <a:cxn ang="0">
                  <a:pos x="4" y="0"/>
                </a:cxn>
                <a:cxn ang="0">
                  <a:pos x="4" y="1"/>
                </a:cxn>
                <a:cxn ang="0">
                  <a:pos x="4" y="2"/>
                </a:cxn>
                <a:cxn ang="0">
                  <a:pos x="5" y="2"/>
                </a:cxn>
                <a:cxn ang="0">
                  <a:pos x="5" y="4"/>
                </a:cxn>
                <a:cxn ang="0">
                  <a:pos x="4" y="4"/>
                </a:cxn>
                <a:cxn ang="0">
                  <a:pos x="2" y="2"/>
                </a:cxn>
                <a:cxn ang="0">
                  <a:pos x="1" y="2"/>
                </a:cxn>
                <a:cxn ang="0">
                  <a:pos x="1" y="4"/>
                </a:cxn>
                <a:cxn ang="0">
                  <a:pos x="0" y="5"/>
                </a:cxn>
                <a:cxn ang="0">
                  <a:pos x="0" y="7"/>
                </a:cxn>
                <a:cxn ang="0">
                  <a:pos x="0" y="8"/>
                </a:cxn>
                <a:cxn ang="0">
                  <a:pos x="2" y="11"/>
                </a:cxn>
                <a:cxn ang="0">
                  <a:pos x="6" y="13"/>
                </a:cxn>
                <a:cxn ang="0">
                  <a:pos x="9" y="14"/>
                </a:cxn>
                <a:cxn ang="0">
                  <a:pos x="9" y="13"/>
                </a:cxn>
              </a:cxnLst>
              <a:rect l="0" t="0" r="r" b="b"/>
              <a:pathLst>
                <a:path w="9" h="14">
                  <a:moveTo>
                    <a:pt x="9" y="13"/>
                  </a:moveTo>
                  <a:lnTo>
                    <a:pt x="7" y="1"/>
                  </a:lnTo>
                  <a:lnTo>
                    <a:pt x="7" y="2"/>
                  </a:lnTo>
                  <a:lnTo>
                    <a:pt x="6" y="1"/>
                  </a:lnTo>
                  <a:lnTo>
                    <a:pt x="6" y="2"/>
                  </a:lnTo>
                  <a:lnTo>
                    <a:pt x="5" y="1"/>
                  </a:lnTo>
                  <a:lnTo>
                    <a:pt x="6" y="0"/>
                  </a:lnTo>
                  <a:lnTo>
                    <a:pt x="5" y="0"/>
                  </a:lnTo>
                  <a:lnTo>
                    <a:pt x="4" y="0"/>
                  </a:lnTo>
                  <a:lnTo>
                    <a:pt x="4" y="1"/>
                  </a:lnTo>
                  <a:lnTo>
                    <a:pt x="4" y="0"/>
                  </a:lnTo>
                  <a:lnTo>
                    <a:pt x="4" y="1"/>
                  </a:lnTo>
                  <a:lnTo>
                    <a:pt x="4" y="2"/>
                  </a:lnTo>
                  <a:lnTo>
                    <a:pt x="5" y="2"/>
                  </a:lnTo>
                  <a:lnTo>
                    <a:pt x="5" y="4"/>
                  </a:lnTo>
                  <a:lnTo>
                    <a:pt x="4" y="4"/>
                  </a:lnTo>
                  <a:lnTo>
                    <a:pt x="2" y="2"/>
                  </a:lnTo>
                  <a:lnTo>
                    <a:pt x="1" y="2"/>
                  </a:lnTo>
                  <a:lnTo>
                    <a:pt x="1" y="4"/>
                  </a:lnTo>
                  <a:lnTo>
                    <a:pt x="0" y="5"/>
                  </a:lnTo>
                  <a:lnTo>
                    <a:pt x="0" y="7"/>
                  </a:lnTo>
                  <a:lnTo>
                    <a:pt x="0" y="8"/>
                  </a:lnTo>
                  <a:lnTo>
                    <a:pt x="2" y="11"/>
                  </a:lnTo>
                  <a:lnTo>
                    <a:pt x="6" y="13"/>
                  </a:lnTo>
                  <a:lnTo>
                    <a:pt x="9" y="14"/>
                  </a:lnTo>
                  <a:lnTo>
                    <a:pt x="9"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4" name="Freeform 46"/>
            <p:cNvSpPr>
              <a:spLocks/>
            </p:cNvSpPr>
            <p:nvPr userDrawn="1"/>
          </p:nvSpPr>
          <p:spPr bwMode="auto">
            <a:xfrm>
              <a:off x="5686425" y="6329363"/>
              <a:ext cx="725488" cy="142875"/>
            </a:xfrm>
            <a:custGeom>
              <a:avLst/>
              <a:gdLst/>
              <a:ahLst/>
              <a:cxnLst>
                <a:cxn ang="0">
                  <a:pos x="1670" y="102"/>
                </a:cxn>
                <a:cxn ang="0">
                  <a:pos x="1589" y="169"/>
                </a:cxn>
                <a:cxn ang="0">
                  <a:pos x="1537" y="125"/>
                </a:cxn>
                <a:cxn ang="0">
                  <a:pos x="1532" y="106"/>
                </a:cxn>
                <a:cxn ang="0">
                  <a:pos x="1512" y="72"/>
                </a:cxn>
                <a:cxn ang="0">
                  <a:pos x="1475" y="45"/>
                </a:cxn>
                <a:cxn ang="0">
                  <a:pos x="1428" y="31"/>
                </a:cxn>
                <a:cxn ang="0">
                  <a:pos x="1377" y="31"/>
                </a:cxn>
                <a:cxn ang="0">
                  <a:pos x="1330" y="45"/>
                </a:cxn>
                <a:cxn ang="0">
                  <a:pos x="1294" y="72"/>
                </a:cxn>
                <a:cxn ang="0">
                  <a:pos x="1282" y="88"/>
                </a:cxn>
                <a:cxn ang="0">
                  <a:pos x="1270" y="125"/>
                </a:cxn>
                <a:cxn ang="0">
                  <a:pos x="918" y="179"/>
                </a:cxn>
                <a:cxn ang="0">
                  <a:pos x="911" y="179"/>
                </a:cxn>
                <a:cxn ang="0">
                  <a:pos x="890" y="73"/>
                </a:cxn>
                <a:cxn ang="0">
                  <a:pos x="666" y="1"/>
                </a:cxn>
                <a:cxn ang="0">
                  <a:pos x="615" y="73"/>
                </a:cxn>
                <a:cxn ang="0">
                  <a:pos x="599" y="179"/>
                </a:cxn>
                <a:cxn ang="0">
                  <a:pos x="578" y="126"/>
                </a:cxn>
                <a:cxn ang="0">
                  <a:pos x="527" y="179"/>
                </a:cxn>
                <a:cxn ang="0">
                  <a:pos x="506" y="239"/>
                </a:cxn>
                <a:cxn ang="0">
                  <a:pos x="475" y="201"/>
                </a:cxn>
                <a:cxn ang="0">
                  <a:pos x="330" y="239"/>
                </a:cxn>
                <a:cxn ang="0">
                  <a:pos x="289" y="38"/>
                </a:cxn>
                <a:cxn ang="0">
                  <a:pos x="238" y="0"/>
                </a:cxn>
                <a:cxn ang="0">
                  <a:pos x="125" y="38"/>
                </a:cxn>
                <a:cxn ang="0">
                  <a:pos x="93" y="244"/>
                </a:cxn>
                <a:cxn ang="0">
                  <a:pos x="73" y="179"/>
                </a:cxn>
                <a:cxn ang="0">
                  <a:pos x="22" y="244"/>
                </a:cxn>
                <a:cxn ang="0">
                  <a:pos x="0" y="445"/>
                </a:cxn>
                <a:cxn ang="0">
                  <a:pos x="1143" y="448"/>
                </a:cxn>
                <a:cxn ang="0">
                  <a:pos x="2286" y="453"/>
                </a:cxn>
                <a:cxn ang="0">
                  <a:pos x="2145" y="140"/>
                </a:cxn>
                <a:cxn ang="0">
                  <a:pos x="2114" y="35"/>
                </a:cxn>
                <a:cxn ang="0">
                  <a:pos x="1897" y="102"/>
                </a:cxn>
                <a:cxn ang="0">
                  <a:pos x="1702" y="102"/>
                </a:cxn>
              </a:cxnLst>
              <a:rect l="0" t="0" r="r" b="b"/>
              <a:pathLst>
                <a:path w="2286" h="453">
                  <a:moveTo>
                    <a:pt x="1702" y="102"/>
                  </a:moveTo>
                  <a:lnTo>
                    <a:pt x="1670" y="102"/>
                  </a:lnTo>
                  <a:lnTo>
                    <a:pt x="1670" y="169"/>
                  </a:lnTo>
                  <a:lnTo>
                    <a:pt x="1589" y="169"/>
                  </a:lnTo>
                  <a:lnTo>
                    <a:pt x="1589" y="125"/>
                  </a:lnTo>
                  <a:lnTo>
                    <a:pt x="1537" y="125"/>
                  </a:lnTo>
                  <a:lnTo>
                    <a:pt x="1536" y="115"/>
                  </a:lnTo>
                  <a:lnTo>
                    <a:pt x="1532" y="106"/>
                  </a:lnTo>
                  <a:lnTo>
                    <a:pt x="1524" y="88"/>
                  </a:lnTo>
                  <a:lnTo>
                    <a:pt x="1512" y="72"/>
                  </a:lnTo>
                  <a:lnTo>
                    <a:pt x="1495" y="58"/>
                  </a:lnTo>
                  <a:lnTo>
                    <a:pt x="1475" y="45"/>
                  </a:lnTo>
                  <a:lnTo>
                    <a:pt x="1454" y="37"/>
                  </a:lnTo>
                  <a:lnTo>
                    <a:pt x="1428" y="31"/>
                  </a:lnTo>
                  <a:lnTo>
                    <a:pt x="1403" y="30"/>
                  </a:lnTo>
                  <a:lnTo>
                    <a:pt x="1377" y="31"/>
                  </a:lnTo>
                  <a:lnTo>
                    <a:pt x="1351" y="37"/>
                  </a:lnTo>
                  <a:lnTo>
                    <a:pt x="1330" y="45"/>
                  </a:lnTo>
                  <a:lnTo>
                    <a:pt x="1310" y="58"/>
                  </a:lnTo>
                  <a:lnTo>
                    <a:pt x="1294" y="72"/>
                  </a:lnTo>
                  <a:lnTo>
                    <a:pt x="1288" y="79"/>
                  </a:lnTo>
                  <a:lnTo>
                    <a:pt x="1282" y="88"/>
                  </a:lnTo>
                  <a:lnTo>
                    <a:pt x="1273" y="106"/>
                  </a:lnTo>
                  <a:lnTo>
                    <a:pt x="1270" y="125"/>
                  </a:lnTo>
                  <a:lnTo>
                    <a:pt x="1270" y="169"/>
                  </a:lnTo>
                  <a:lnTo>
                    <a:pt x="918" y="179"/>
                  </a:lnTo>
                  <a:lnTo>
                    <a:pt x="1044" y="179"/>
                  </a:lnTo>
                  <a:lnTo>
                    <a:pt x="911" y="179"/>
                  </a:lnTo>
                  <a:lnTo>
                    <a:pt x="890" y="179"/>
                  </a:lnTo>
                  <a:lnTo>
                    <a:pt x="890" y="73"/>
                  </a:lnTo>
                  <a:lnTo>
                    <a:pt x="666" y="73"/>
                  </a:lnTo>
                  <a:lnTo>
                    <a:pt x="666" y="1"/>
                  </a:lnTo>
                  <a:lnTo>
                    <a:pt x="615" y="1"/>
                  </a:lnTo>
                  <a:lnTo>
                    <a:pt x="615" y="73"/>
                  </a:lnTo>
                  <a:lnTo>
                    <a:pt x="599" y="73"/>
                  </a:lnTo>
                  <a:lnTo>
                    <a:pt x="599" y="179"/>
                  </a:lnTo>
                  <a:lnTo>
                    <a:pt x="578" y="179"/>
                  </a:lnTo>
                  <a:lnTo>
                    <a:pt x="578" y="126"/>
                  </a:lnTo>
                  <a:lnTo>
                    <a:pt x="527" y="126"/>
                  </a:lnTo>
                  <a:lnTo>
                    <a:pt x="527" y="179"/>
                  </a:lnTo>
                  <a:lnTo>
                    <a:pt x="506" y="179"/>
                  </a:lnTo>
                  <a:lnTo>
                    <a:pt x="506" y="239"/>
                  </a:lnTo>
                  <a:lnTo>
                    <a:pt x="475" y="239"/>
                  </a:lnTo>
                  <a:lnTo>
                    <a:pt x="475" y="201"/>
                  </a:lnTo>
                  <a:lnTo>
                    <a:pt x="330" y="201"/>
                  </a:lnTo>
                  <a:lnTo>
                    <a:pt x="330" y="239"/>
                  </a:lnTo>
                  <a:lnTo>
                    <a:pt x="289" y="239"/>
                  </a:lnTo>
                  <a:lnTo>
                    <a:pt x="289" y="38"/>
                  </a:lnTo>
                  <a:lnTo>
                    <a:pt x="238" y="38"/>
                  </a:lnTo>
                  <a:lnTo>
                    <a:pt x="238" y="0"/>
                  </a:lnTo>
                  <a:lnTo>
                    <a:pt x="125" y="0"/>
                  </a:lnTo>
                  <a:lnTo>
                    <a:pt x="125" y="38"/>
                  </a:lnTo>
                  <a:lnTo>
                    <a:pt x="93" y="38"/>
                  </a:lnTo>
                  <a:lnTo>
                    <a:pt x="93" y="244"/>
                  </a:lnTo>
                  <a:lnTo>
                    <a:pt x="73" y="244"/>
                  </a:lnTo>
                  <a:lnTo>
                    <a:pt x="73" y="179"/>
                  </a:lnTo>
                  <a:lnTo>
                    <a:pt x="22" y="179"/>
                  </a:lnTo>
                  <a:lnTo>
                    <a:pt x="22" y="244"/>
                  </a:lnTo>
                  <a:lnTo>
                    <a:pt x="0" y="244"/>
                  </a:lnTo>
                  <a:lnTo>
                    <a:pt x="0" y="445"/>
                  </a:lnTo>
                  <a:lnTo>
                    <a:pt x="571" y="446"/>
                  </a:lnTo>
                  <a:lnTo>
                    <a:pt x="1143" y="448"/>
                  </a:lnTo>
                  <a:lnTo>
                    <a:pt x="1714" y="451"/>
                  </a:lnTo>
                  <a:lnTo>
                    <a:pt x="2286" y="453"/>
                  </a:lnTo>
                  <a:lnTo>
                    <a:pt x="2207" y="133"/>
                  </a:lnTo>
                  <a:lnTo>
                    <a:pt x="2145" y="140"/>
                  </a:lnTo>
                  <a:lnTo>
                    <a:pt x="2114" y="140"/>
                  </a:lnTo>
                  <a:lnTo>
                    <a:pt x="2114" y="35"/>
                  </a:lnTo>
                  <a:lnTo>
                    <a:pt x="2062" y="35"/>
                  </a:lnTo>
                  <a:lnTo>
                    <a:pt x="1897" y="102"/>
                  </a:lnTo>
                  <a:lnTo>
                    <a:pt x="1856" y="102"/>
                  </a:lnTo>
                  <a:lnTo>
                    <a:pt x="1702" y="10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5" name="Freeform 47"/>
            <p:cNvSpPr>
              <a:spLocks/>
            </p:cNvSpPr>
            <p:nvPr userDrawn="1"/>
          </p:nvSpPr>
          <p:spPr bwMode="auto">
            <a:xfrm>
              <a:off x="4872038" y="6413501"/>
              <a:ext cx="2127250" cy="100013"/>
            </a:xfrm>
            <a:custGeom>
              <a:avLst/>
              <a:gdLst/>
              <a:ahLst/>
              <a:cxnLst>
                <a:cxn ang="0">
                  <a:pos x="6662" y="264"/>
                </a:cxn>
                <a:cxn ang="0">
                  <a:pos x="6498" y="190"/>
                </a:cxn>
                <a:cxn ang="0">
                  <a:pos x="6376" y="141"/>
                </a:cxn>
                <a:cxn ang="0">
                  <a:pos x="6295" y="120"/>
                </a:cxn>
                <a:cxn ang="0">
                  <a:pos x="6156" y="118"/>
                </a:cxn>
                <a:cxn ang="0">
                  <a:pos x="5476" y="97"/>
                </a:cxn>
                <a:cxn ang="0">
                  <a:pos x="5059" y="74"/>
                </a:cxn>
                <a:cxn ang="0">
                  <a:pos x="4796" y="54"/>
                </a:cxn>
                <a:cxn ang="0">
                  <a:pos x="4566" y="29"/>
                </a:cxn>
                <a:cxn ang="0">
                  <a:pos x="4401" y="5"/>
                </a:cxn>
                <a:cxn ang="0">
                  <a:pos x="4283" y="0"/>
                </a:cxn>
                <a:cxn ang="0">
                  <a:pos x="4178" y="11"/>
                </a:cxn>
                <a:cxn ang="0">
                  <a:pos x="4086" y="32"/>
                </a:cxn>
                <a:cxn ang="0">
                  <a:pos x="3961" y="79"/>
                </a:cxn>
                <a:cxn ang="0">
                  <a:pos x="3797" y="150"/>
                </a:cxn>
                <a:cxn ang="0">
                  <a:pos x="3559" y="184"/>
                </a:cxn>
                <a:cxn ang="0">
                  <a:pos x="3451" y="179"/>
                </a:cxn>
                <a:cxn ang="0">
                  <a:pos x="3369" y="168"/>
                </a:cxn>
                <a:cxn ang="0">
                  <a:pos x="3245" y="139"/>
                </a:cxn>
                <a:cxn ang="0">
                  <a:pos x="3098" y="115"/>
                </a:cxn>
                <a:cxn ang="0">
                  <a:pos x="2988" y="112"/>
                </a:cxn>
                <a:cxn ang="0">
                  <a:pos x="2855" y="108"/>
                </a:cxn>
                <a:cxn ang="0">
                  <a:pos x="2657" y="88"/>
                </a:cxn>
                <a:cxn ang="0">
                  <a:pos x="2498" y="60"/>
                </a:cxn>
                <a:cxn ang="0">
                  <a:pos x="2318" y="40"/>
                </a:cxn>
                <a:cxn ang="0">
                  <a:pos x="2200" y="36"/>
                </a:cxn>
                <a:cxn ang="0">
                  <a:pos x="2070" y="42"/>
                </a:cxn>
                <a:cxn ang="0">
                  <a:pos x="1942" y="58"/>
                </a:cxn>
                <a:cxn ang="0">
                  <a:pos x="1819" y="80"/>
                </a:cxn>
                <a:cxn ang="0">
                  <a:pos x="1592" y="132"/>
                </a:cxn>
                <a:cxn ang="0">
                  <a:pos x="1405" y="169"/>
                </a:cxn>
                <a:cxn ang="0">
                  <a:pos x="1330" y="175"/>
                </a:cxn>
                <a:cxn ang="0">
                  <a:pos x="1269" y="179"/>
                </a:cxn>
                <a:cxn ang="0">
                  <a:pos x="1217" y="189"/>
                </a:cxn>
                <a:cxn ang="0">
                  <a:pos x="1121" y="216"/>
                </a:cxn>
                <a:cxn ang="0">
                  <a:pos x="1002" y="244"/>
                </a:cxn>
                <a:cxn ang="0">
                  <a:pos x="874" y="256"/>
                </a:cxn>
                <a:cxn ang="0">
                  <a:pos x="766" y="255"/>
                </a:cxn>
                <a:cxn ang="0">
                  <a:pos x="669" y="246"/>
                </a:cxn>
                <a:cxn ang="0">
                  <a:pos x="581" y="231"/>
                </a:cxn>
                <a:cxn ang="0">
                  <a:pos x="459" y="201"/>
                </a:cxn>
                <a:cxn ang="0">
                  <a:pos x="326" y="169"/>
                </a:cxn>
                <a:cxn ang="0">
                  <a:pos x="169" y="149"/>
                </a:cxn>
                <a:cxn ang="0">
                  <a:pos x="38" y="144"/>
                </a:cxn>
                <a:cxn ang="0">
                  <a:pos x="0" y="144"/>
                </a:cxn>
                <a:cxn ang="0">
                  <a:pos x="44" y="148"/>
                </a:cxn>
                <a:cxn ang="0">
                  <a:pos x="692" y="169"/>
                </a:cxn>
                <a:cxn ang="0">
                  <a:pos x="1700" y="198"/>
                </a:cxn>
                <a:cxn ang="0">
                  <a:pos x="2709" y="227"/>
                </a:cxn>
                <a:cxn ang="0">
                  <a:pos x="4267" y="269"/>
                </a:cxn>
                <a:cxn ang="0">
                  <a:pos x="5825" y="311"/>
                </a:cxn>
                <a:cxn ang="0">
                  <a:pos x="6700" y="278"/>
                </a:cxn>
              </a:cxnLst>
              <a:rect l="0" t="0" r="r" b="b"/>
              <a:pathLst>
                <a:path w="6700" h="311">
                  <a:moveTo>
                    <a:pt x="6700" y="278"/>
                  </a:moveTo>
                  <a:lnTo>
                    <a:pt x="6662" y="264"/>
                  </a:lnTo>
                  <a:lnTo>
                    <a:pt x="6614" y="243"/>
                  </a:lnTo>
                  <a:lnTo>
                    <a:pt x="6498" y="190"/>
                  </a:lnTo>
                  <a:lnTo>
                    <a:pt x="6437" y="163"/>
                  </a:lnTo>
                  <a:lnTo>
                    <a:pt x="6376" y="141"/>
                  </a:lnTo>
                  <a:lnTo>
                    <a:pt x="6320" y="125"/>
                  </a:lnTo>
                  <a:lnTo>
                    <a:pt x="6295" y="120"/>
                  </a:lnTo>
                  <a:lnTo>
                    <a:pt x="6270" y="119"/>
                  </a:lnTo>
                  <a:lnTo>
                    <a:pt x="6156" y="118"/>
                  </a:lnTo>
                  <a:lnTo>
                    <a:pt x="5973" y="114"/>
                  </a:lnTo>
                  <a:lnTo>
                    <a:pt x="5476" y="97"/>
                  </a:lnTo>
                  <a:lnTo>
                    <a:pt x="5198" y="83"/>
                  </a:lnTo>
                  <a:lnTo>
                    <a:pt x="5059" y="74"/>
                  </a:lnTo>
                  <a:lnTo>
                    <a:pt x="4924" y="65"/>
                  </a:lnTo>
                  <a:lnTo>
                    <a:pt x="4796" y="54"/>
                  </a:lnTo>
                  <a:lnTo>
                    <a:pt x="4675" y="42"/>
                  </a:lnTo>
                  <a:lnTo>
                    <a:pt x="4566" y="29"/>
                  </a:lnTo>
                  <a:lnTo>
                    <a:pt x="4468" y="14"/>
                  </a:lnTo>
                  <a:lnTo>
                    <a:pt x="4401" y="5"/>
                  </a:lnTo>
                  <a:lnTo>
                    <a:pt x="4339" y="0"/>
                  </a:lnTo>
                  <a:lnTo>
                    <a:pt x="4283" y="0"/>
                  </a:lnTo>
                  <a:lnTo>
                    <a:pt x="4228" y="4"/>
                  </a:lnTo>
                  <a:lnTo>
                    <a:pt x="4178" y="11"/>
                  </a:lnTo>
                  <a:lnTo>
                    <a:pt x="4131" y="20"/>
                  </a:lnTo>
                  <a:lnTo>
                    <a:pt x="4086" y="32"/>
                  </a:lnTo>
                  <a:lnTo>
                    <a:pt x="4043" y="46"/>
                  </a:lnTo>
                  <a:lnTo>
                    <a:pt x="3961" y="79"/>
                  </a:lnTo>
                  <a:lnTo>
                    <a:pt x="3880" y="114"/>
                  </a:lnTo>
                  <a:lnTo>
                    <a:pt x="3797" y="150"/>
                  </a:lnTo>
                  <a:lnTo>
                    <a:pt x="3707" y="181"/>
                  </a:lnTo>
                  <a:lnTo>
                    <a:pt x="3559" y="184"/>
                  </a:lnTo>
                  <a:lnTo>
                    <a:pt x="3501" y="183"/>
                  </a:lnTo>
                  <a:lnTo>
                    <a:pt x="3451" y="179"/>
                  </a:lnTo>
                  <a:lnTo>
                    <a:pt x="3407" y="174"/>
                  </a:lnTo>
                  <a:lnTo>
                    <a:pt x="3369" y="168"/>
                  </a:lnTo>
                  <a:lnTo>
                    <a:pt x="3304" y="154"/>
                  </a:lnTo>
                  <a:lnTo>
                    <a:pt x="3245" y="139"/>
                  </a:lnTo>
                  <a:lnTo>
                    <a:pt x="3180" y="125"/>
                  </a:lnTo>
                  <a:lnTo>
                    <a:pt x="3098" y="115"/>
                  </a:lnTo>
                  <a:lnTo>
                    <a:pt x="3047" y="112"/>
                  </a:lnTo>
                  <a:lnTo>
                    <a:pt x="2988" y="112"/>
                  </a:lnTo>
                  <a:lnTo>
                    <a:pt x="2918" y="111"/>
                  </a:lnTo>
                  <a:lnTo>
                    <a:pt x="2855" y="108"/>
                  </a:lnTo>
                  <a:lnTo>
                    <a:pt x="2748" y="100"/>
                  </a:lnTo>
                  <a:lnTo>
                    <a:pt x="2657" y="88"/>
                  </a:lnTo>
                  <a:lnTo>
                    <a:pt x="2577" y="73"/>
                  </a:lnTo>
                  <a:lnTo>
                    <a:pt x="2498" y="60"/>
                  </a:lnTo>
                  <a:lnTo>
                    <a:pt x="2414" y="48"/>
                  </a:lnTo>
                  <a:lnTo>
                    <a:pt x="2318" y="40"/>
                  </a:lnTo>
                  <a:lnTo>
                    <a:pt x="2262" y="37"/>
                  </a:lnTo>
                  <a:lnTo>
                    <a:pt x="2200" y="36"/>
                  </a:lnTo>
                  <a:lnTo>
                    <a:pt x="2135" y="37"/>
                  </a:lnTo>
                  <a:lnTo>
                    <a:pt x="2070" y="42"/>
                  </a:lnTo>
                  <a:lnTo>
                    <a:pt x="2006" y="49"/>
                  </a:lnTo>
                  <a:lnTo>
                    <a:pt x="1942" y="58"/>
                  </a:lnTo>
                  <a:lnTo>
                    <a:pt x="1879" y="68"/>
                  </a:lnTo>
                  <a:lnTo>
                    <a:pt x="1819" y="80"/>
                  </a:lnTo>
                  <a:lnTo>
                    <a:pt x="1701" y="106"/>
                  </a:lnTo>
                  <a:lnTo>
                    <a:pt x="1592" y="132"/>
                  </a:lnTo>
                  <a:lnTo>
                    <a:pt x="1493" y="154"/>
                  </a:lnTo>
                  <a:lnTo>
                    <a:pt x="1405" y="169"/>
                  </a:lnTo>
                  <a:lnTo>
                    <a:pt x="1365" y="174"/>
                  </a:lnTo>
                  <a:lnTo>
                    <a:pt x="1330" y="175"/>
                  </a:lnTo>
                  <a:lnTo>
                    <a:pt x="1298" y="177"/>
                  </a:lnTo>
                  <a:lnTo>
                    <a:pt x="1269" y="179"/>
                  </a:lnTo>
                  <a:lnTo>
                    <a:pt x="1242" y="184"/>
                  </a:lnTo>
                  <a:lnTo>
                    <a:pt x="1217" y="189"/>
                  </a:lnTo>
                  <a:lnTo>
                    <a:pt x="1169" y="202"/>
                  </a:lnTo>
                  <a:lnTo>
                    <a:pt x="1121" y="216"/>
                  </a:lnTo>
                  <a:lnTo>
                    <a:pt x="1067" y="231"/>
                  </a:lnTo>
                  <a:lnTo>
                    <a:pt x="1002" y="244"/>
                  </a:lnTo>
                  <a:lnTo>
                    <a:pt x="921" y="254"/>
                  </a:lnTo>
                  <a:lnTo>
                    <a:pt x="874" y="256"/>
                  </a:lnTo>
                  <a:lnTo>
                    <a:pt x="820" y="257"/>
                  </a:lnTo>
                  <a:lnTo>
                    <a:pt x="766" y="255"/>
                  </a:lnTo>
                  <a:lnTo>
                    <a:pt x="716" y="251"/>
                  </a:lnTo>
                  <a:lnTo>
                    <a:pt x="669" y="246"/>
                  </a:lnTo>
                  <a:lnTo>
                    <a:pt x="625" y="239"/>
                  </a:lnTo>
                  <a:lnTo>
                    <a:pt x="581" y="231"/>
                  </a:lnTo>
                  <a:lnTo>
                    <a:pt x="541" y="221"/>
                  </a:lnTo>
                  <a:lnTo>
                    <a:pt x="459" y="201"/>
                  </a:lnTo>
                  <a:lnTo>
                    <a:pt x="373" y="179"/>
                  </a:lnTo>
                  <a:lnTo>
                    <a:pt x="326" y="169"/>
                  </a:lnTo>
                  <a:lnTo>
                    <a:pt x="278" y="161"/>
                  </a:lnTo>
                  <a:lnTo>
                    <a:pt x="169" y="149"/>
                  </a:lnTo>
                  <a:lnTo>
                    <a:pt x="107" y="145"/>
                  </a:lnTo>
                  <a:lnTo>
                    <a:pt x="38" y="144"/>
                  </a:lnTo>
                  <a:lnTo>
                    <a:pt x="4" y="144"/>
                  </a:lnTo>
                  <a:lnTo>
                    <a:pt x="0" y="144"/>
                  </a:lnTo>
                  <a:lnTo>
                    <a:pt x="6" y="145"/>
                  </a:lnTo>
                  <a:lnTo>
                    <a:pt x="44" y="148"/>
                  </a:lnTo>
                  <a:lnTo>
                    <a:pt x="117" y="151"/>
                  </a:lnTo>
                  <a:lnTo>
                    <a:pt x="692" y="169"/>
                  </a:lnTo>
                  <a:lnTo>
                    <a:pt x="1196" y="184"/>
                  </a:lnTo>
                  <a:lnTo>
                    <a:pt x="1700" y="198"/>
                  </a:lnTo>
                  <a:lnTo>
                    <a:pt x="2204" y="213"/>
                  </a:lnTo>
                  <a:lnTo>
                    <a:pt x="2709" y="227"/>
                  </a:lnTo>
                  <a:lnTo>
                    <a:pt x="3488" y="248"/>
                  </a:lnTo>
                  <a:lnTo>
                    <a:pt x="4267" y="269"/>
                  </a:lnTo>
                  <a:lnTo>
                    <a:pt x="5046" y="290"/>
                  </a:lnTo>
                  <a:lnTo>
                    <a:pt x="5825" y="311"/>
                  </a:lnTo>
                  <a:lnTo>
                    <a:pt x="5825" y="268"/>
                  </a:lnTo>
                  <a:lnTo>
                    <a:pt x="6700" y="27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6" name="Freeform 48"/>
            <p:cNvSpPr>
              <a:spLocks/>
            </p:cNvSpPr>
            <p:nvPr userDrawn="1"/>
          </p:nvSpPr>
          <p:spPr bwMode="auto">
            <a:xfrm>
              <a:off x="3695700" y="6399213"/>
              <a:ext cx="3414713" cy="228600"/>
            </a:xfrm>
            <a:custGeom>
              <a:avLst/>
              <a:gdLst/>
              <a:ahLst/>
              <a:cxnLst>
                <a:cxn ang="0">
                  <a:pos x="9385" y="213"/>
                </a:cxn>
                <a:cxn ang="0">
                  <a:pos x="8277" y="216"/>
                </a:cxn>
                <a:cxn ang="0">
                  <a:pos x="7237" y="220"/>
                </a:cxn>
                <a:cxn ang="0">
                  <a:pos x="6887" y="209"/>
                </a:cxn>
                <a:cxn ang="0">
                  <a:pos x="6376" y="163"/>
                </a:cxn>
                <a:cxn ang="0">
                  <a:pos x="6034" y="143"/>
                </a:cxn>
                <a:cxn ang="0">
                  <a:pos x="5876" y="144"/>
                </a:cxn>
                <a:cxn ang="0">
                  <a:pos x="5733" y="157"/>
                </a:cxn>
                <a:cxn ang="0">
                  <a:pos x="5483" y="185"/>
                </a:cxn>
                <a:cxn ang="0">
                  <a:pos x="5261" y="195"/>
                </a:cxn>
                <a:cxn ang="0">
                  <a:pos x="5060" y="193"/>
                </a:cxn>
                <a:cxn ang="0">
                  <a:pos x="4867" y="186"/>
                </a:cxn>
                <a:cxn ang="0">
                  <a:pos x="4735" y="173"/>
                </a:cxn>
                <a:cxn ang="0">
                  <a:pos x="4306" y="110"/>
                </a:cxn>
                <a:cxn ang="0">
                  <a:pos x="3909" y="53"/>
                </a:cxn>
                <a:cxn ang="0">
                  <a:pos x="3641" y="21"/>
                </a:cxn>
                <a:cxn ang="0">
                  <a:pos x="3390" y="2"/>
                </a:cxn>
                <a:cxn ang="0">
                  <a:pos x="3224" y="0"/>
                </a:cxn>
                <a:cxn ang="0">
                  <a:pos x="3128" y="6"/>
                </a:cxn>
                <a:cxn ang="0">
                  <a:pos x="3012" y="20"/>
                </a:cxn>
                <a:cxn ang="0">
                  <a:pos x="2863" y="33"/>
                </a:cxn>
                <a:cxn ang="0">
                  <a:pos x="2635" y="44"/>
                </a:cxn>
                <a:cxn ang="0">
                  <a:pos x="2207" y="54"/>
                </a:cxn>
                <a:cxn ang="0">
                  <a:pos x="1969" y="70"/>
                </a:cxn>
                <a:cxn ang="0">
                  <a:pos x="1626" y="101"/>
                </a:cxn>
                <a:cxn ang="0">
                  <a:pos x="1313" y="107"/>
                </a:cxn>
                <a:cxn ang="0">
                  <a:pos x="1031" y="98"/>
                </a:cxn>
                <a:cxn ang="0">
                  <a:pos x="776" y="80"/>
                </a:cxn>
                <a:cxn ang="0">
                  <a:pos x="443" y="54"/>
                </a:cxn>
                <a:cxn ang="0">
                  <a:pos x="250" y="47"/>
                </a:cxn>
                <a:cxn ang="0">
                  <a:pos x="119" y="53"/>
                </a:cxn>
                <a:cxn ang="0">
                  <a:pos x="0" y="70"/>
                </a:cxn>
                <a:cxn ang="0">
                  <a:pos x="1497" y="701"/>
                </a:cxn>
                <a:cxn ang="0">
                  <a:pos x="2732" y="665"/>
                </a:cxn>
                <a:cxn ang="0">
                  <a:pos x="3966" y="629"/>
                </a:cxn>
                <a:cxn ang="0">
                  <a:pos x="5200" y="593"/>
                </a:cxn>
                <a:cxn ang="0">
                  <a:pos x="6434" y="558"/>
                </a:cxn>
                <a:cxn ang="0">
                  <a:pos x="7668" y="522"/>
                </a:cxn>
                <a:cxn ang="0">
                  <a:pos x="8902" y="486"/>
                </a:cxn>
                <a:cxn ang="0">
                  <a:pos x="10136" y="449"/>
                </a:cxn>
                <a:cxn ang="0">
                  <a:pos x="10656" y="400"/>
                </a:cxn>
                <a:cxn ang="0">
                  <a:pos x="10400" y="329"/>
                </a:cxn>
                <a:cxn ang="0">
                  <a:pos x="10230" y="290"/>
                </a:cxn>
                <a:cxn ang="0">
                  <a:pos x="9944" y="240"/>
                </a:cxn>
                <a:cxn ang="0">
                  <a:pos x="9740" y="220"/>
                </a:cxn>
              </a:cxnLst>
              <a:rect l="0" t="0" r="r" b="b"/>
              <a:pathLst>
                <a:path w="10754" h="719">
                  <a:moveTo>
                    <a:pt x="9638" y="216"/>
                  </a:moveTo>
                  <a:lnTo>
                    <a:pt x="9385" y="213"/>
                  </a:lnTo>
                  <a:lnTo>
                    <a:pt x="9055" y="213"/>
                  </a:lnTo>
                  <a:lnTo>
                    <a:pt x="8277" y="216"/>
                  </a:lnTo>
                  <a:lnTo>
                    <a:pt x="7530" y="220"/>
                  </a:lnTo>
                  <a:lnTo>
                    <a:pt x="7237" y="220"/>
                  </a:lnTo>
                  <a:lnTo>
                    <a:pt x="7038" y="217"/>
                  </a:lnTo>
                  <a:lnTo>
                    <a:pt x="6887" y="209"/>
                  </a:lnTo>
                  <a:lnTo>
                    <a:pt x="6723" y="196"/>
                  </a:lnTo>
                  <a:lnTo>
                    <a:pt x="6376" y="163"/>
                  </a:lnTo>
                  <a:lnTo>
                    <a:pt x="6203" y="150"/>
                  </a:lnTo>
                  <a:lnTo>
                    <a:pt x="6034" y="143"/>
                  </a:lnTo>
                  <a:lnTo>
                    <a:pt x="5955" y="142"/>
                  </a:lnTo>
                  <a:lnTo>
                    <a:pt x="5876" y="144"/>
                  </a:lnTo>
                  <a:lnTo>
                    <a:pt x="5803" y="149"/>
                  </a:lnTo>
                  <a:lnTo>
                    <a:pt x="5733" y="157"/>
                  </a:lnTo>
                  <a:lnTo>
                    <a:pt x="5604" y="173"/>
                  </a:lnTo>
                  <a:lnTo>
                    <a:pt x="5483" y="185"/>
                  </a:lnTo>
                  <a:lnTo>
                    <a:pt x="5370" y="192"/>
                  </a:lnTo>
                  <a:lnTo>
                    <a:pt x="5261" y="195"/>
                  </a:lnTo>
                  <a:lnTo>
                    <a:pt x="5159" y="195"/>
                  </a:lnTo>
                  <a:lnTo>
                    <a:pt x="5060" y="193"/>
                  </a:lnTo>
                  <a:lnTo>
                    <a:pt x="4963" y="190"/>
                  </a:lnTo>
                  <a:lnTo>
                    <a:pt x="4867" y="186"/>
                  </a:lnTo>
                  <a:lnTo>
                    <a:pt x="4810" y="183"/>
                  </a:lnTo>
                  <a:lnTo>
                    <a:pt x="4735" y="173"/>
                  </a:lnTo>
                  <a:lnTo>
                    <a:pt x="4542" y="146"/>
                  </a:lnTo>
                  <a:lnTo>
                    <a:pt x="4306" y="110"/>
                  </a:lnTo>
                  <a:lnTo>
                    <a:pt x="4044" y="71"/>
                  </a:lnTo>
                  <a:lnTo>
                    <a:pt x="3909" y="53"/>
                  </a:lnTo>
                  <a:lnTo>
                    <a:pt x="3773" y="36"/>
                  </a:lnTo>
                  <a:lnTo>
                    <a:pt x="3641" y="21"/>
                  </a:lnTo>
                  <a:lnTo>
                    <a:pt x="3512" y="11"/>
                  </a:lnTo>
                  <a:lnTo>
                    <a:pt x="3390" y="2"/>
                  </a:lnTo>
                  <a:lnTo>
                    <a:pt x="3277" y="0"/>
                  </a:lnTo>
                  <a:lnTo>
                    <a:pt x="3224" y="0"/>
                  </a:lnTo>
                  <a:lnTo>
                    <a:pt x="3175" y="2"/>
                  </a:lnTo>
                  <a:lnTo>
                    <a:pt x="3128" y="6"/>
                  </a:lnTo>
                  <a:lnTo>
                    <a:pt x="3085" y="11"/>
                  </a:lnTo>
                  <a:lnTo>
                    <a:pt x="3012" y="20"/>
                  </a:lnTo>
                  <a:lnTo>
                    <a:pt x="2939" y="27"/>
                  </a:lnTo>
                  <a:lnTo>
                    <a:pt x="2863" y="33"/>
                  </a:lnTo>
                  <a:lnTo>
                    <a:pt x="2787" y="38"/>
                  </a:lnTo>
                  <a:lnTo>
                    <a:pt x="2635" y="44"/>
                  </a:lnTo>
                  <a:lnTo>
                    <a:pt x="2486" y="48"/>
                  </a:lnTo>
                  <a:lnTo>
                    <a:pt x="2207" y="54"/>
                  </a:lnTo>
                  <a:lnTo>
                    <a:pt x="2081" y="60"/>
                  </a:lnTo>
                  <a:lnTo>
                    <a:pt x="1969" y="70"/>
                  </a:lnTo>
                  <a:lnTo>
                    <a:pt x="1794" y="89"/>
                  </a:lnTo>
                  <a:lnTo>
                    <a:pt x="1626" y="101"/>
                  </a:lnTo>
                  <a:lnTo>
                    <a:pt x="1466" y="106"/>
                  </a:lnTo>
                  <a:lnTo>
                    <a:pt x="1313" y="107"/>
                  </a:lnTo>
                  <a:lnTo>
                    <a:pt x="1169" y="104"/>
                  </a:lnTo>
                  <a:lnTo>
                    <a:pt x="1031" y="98"/>
                  </a:lnTo>
                  <a:lnTo>
                    <a:pt x="900" y="90"/>
                  </a:lnTo>
                  <a:lnTo>
                    <a:pt x="776" y="80"/>
                  </a:lnTo>
                  <a:lnTo>
                    <a:pt x="547" y="61"/>
                  </a:lnTo>
                  <a:lnTo>
                    <a:pt x="443" y="54"/>
                  </a:lnTo>
                  <a:lnTo>
                    <a:pt x="344" y="49"/>
                  </a:lnTo>
                  <a:lnTo>
                    <a:pt x="250" y="47"/>
                  </a:lnTo>
                  <a:lnTo>
                    <a:pt x="162" y="49"/>
                  </a:lnTo>
                  <a:lnTo>
                    <a:pt x="119" y="53"/>
                  </a:lnTo>
                  <a:lnTo>
                    <a:pt x="78" y="56"/>
                  </a:lnTo>
                  <a:lnTo>
                    <a:pt x="0" y="70"/>
                  </a:lnTo>
                  <a:lnTo>
                    <a:pt x="881" y="719"/>
                  </a:lnTo>
                  <a:lnTo>
                    <a:pt x="1497" y="701"/>
                  </a:lnTo>
                  <a:lnTo>
                    <a:pt x="2115" y="683"/>
                  </a:lnTo>
                  <a:lnTo>
                    <a:pt x="2732" y="665"/>
                  </a:lnTo>
                  <a:lnTo>
                    <a:pt x="3349" y="647"/>
                  </a:lnTo>
                  <a:lnTo>
                    <a:pt x="3966" y="629"/>
                  </a:lnTo>
                  <a:lnTo>
                    <a:pt x="4583" y="611"/>
                  </a:lnTo>
                  <a:lnTo>
                    <a:pt x="5200" y="593"/>
                  </a:lnTo>
                  <a:lnTo>
                    <a:pt x="5817" y="576"/>
                  </a:lnTo>
                  <a:lnTo>
                    <a:pt x="6434" y="558"/>
                  </a:lnTo>
                  <a:lnTo>
                    <a:pt x="7052" y="540"/>
                  </a:lnTo>
                  <a:lnTo>
                    <a:pt x="7668" y="522"/>
                  </a:lnTo>
                  <a:lnTo>
                    <a:pt x="8286" y="504"/>
                  </a:lnTo>
                  <a:lnTo>
                    <a:pt x="8902" y="486"/>
                  </a:lnTo>
                  <a:lnTo>
                    <a:pt x="9520" y="467"/>
                  </a:lnTo>
                  <a:lnTo>
                    <a:pt x="10136" y="449"/>
                  </a:lnTo>
                  <a:lnTo>
                    <a:pt x="10754" y="433"/>
                  </a:lnTo>
                  <a:lnTo>
                    <a:pt x="10656" y="400"/>
                  </a:lnTo>
                  <a:lnTo>
                    <a:pt x="10544" y="368"/>
                  </a:lnTo>
                  <a:lnTo>
                    <a:pt x="10400" y="329"/>
                  </a:lnTo>
                  <a:lnTo>
                    <a:pt x="10318" y="309"/>
                  </a:lnTo>
                  <a:lnTo>
                    <a:pt x="10230" y="290"/>
                  </a:lnTo>
                  <a:lnTo>
                    <a:pt x="10042" y="255"/>
                  </a:lnTo>
                  <a:lnTo>
                    <a:pt x="9944" y="240"/>
                  </a:lnTo>
                  <a:lnTo>
                    <a:pt x="9842" y="228"/>
                  </a:lnTo>
                  <a:lnTo>
                    <a:pt x="9740" y="220"/>
                  </a:lnTo>
                  <a:lnTo>
                    <a:pt x="9638" y="2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7" name="Freeform 49"/>
            <p:cNvSpPr>
              <a:spLocks/>
            </p:cNvSpPr>
            <p:nvPr userDrawn="1"/>
          </p:nvSpPr>
          <p:spPr bwMode="auto">
            <a:xfrm>
              <a:off x="3903663" y="6438901"/>
              <a:ext cx="3119438" cy="184150"/>
            </a:xfrm>
            <a:custGeom>
              <a:avLst/>
              <a:gdLst/>
              <a:ahLst/>
              <a:cxnLst>
                <a:cxn ang="0">
                  <a:pos x="8912" y="209"/>
                </a:cxn>
                <a:cxn ang="0">
                  <a:pos x="7820" y="109"/>
                </a:cxn>
                <a:cxn ang="0">
                  <a:pos x="7719" y="102"/>
                </a:cxn>
                <a:cxn ang="0">
                  <a:pos x="7596" y="99"/>
                </a:cxn>
                <a:cxn ang="0">
                  <a:pos x="7318" y="102"/>
                </a:cxn>
                <a:cxn ang="0">
                  <a:pos x="7180" y="109"/>
                </a:cxn>
                <a:cxn ang="0">
                  <a:pos x="6941" y="132"/>
                </a:cxn>
                <a:cxn ang="0">
                  <a:pos x="6857" y="148"/>
                </a:cxn>
                <a:cxn ang="0">
                  <a:pos x="6798" y="158"/>
                </a:cxn>
                <a:cxn ang="0">
                  <a:pos x="6723" y="161"/>
                </a:cxn>
                <a:cxn ang="0">
                  <a:pos x="6607" y="159"/>
                </a:cxn>
                <a:cxn ang="0">
                  <a:pos x="6416" y="144"/>
                </a:cxn>
                <a:cxn ang="0">
                  <a:pos x="6232" y="123"/>
                </a:cxn>
                <a:cxn ang="0">
                  <a:pos x="6088" y="101"/>
                </a:cxn>
                <a:cxn ang="0">
                  <a:pos x="5935" y="71"/>
                </a:cxn>
                <a:cxn ang="0">
                  <a:pos x="5712" y="37"/>
                </a:cxn>
                <a:cxn ang="0">
                  <a:pos x="5541" y="20"/>
                </a:cxn>
                <a:cxn ang="0">
                  <a:pos x="5375" y="24"/>
                </a:cxn>
                <a:cxn ang="0">
                  <a:pos x="5188" y="43"/>
                </a:cxn>
                <a:cxn ang="0">
                  <a:pos x="5004" y="78"/>
                </a:cxn>
                <a:cxn ang="0">
                  <a:pos x="4899" y="107"/>
                </a:cxn>
                <a:cxn ang="0">
                  <a:pos x="4828" y="120"/>
                </a:cxn>
                <a:cxn ang="0">
                  <a:pos x="4719" y="131"/>
                </a:cxn>
                <a:cxn ang="0">
                  <a:pos x="4598" y="135"/>
                </a:cxn>
                <a:cxn ang="0">
                  <a:pos x="4248" y="127"/>
                </a:cxn>
                <a:cxn ang="0">
                  <a:pos x="4125" y="130"/>
                </a:cxn>
                <a:cxn ang="0">
                  <a:pos x="4075" y="136"/>
                </a:cxn>
                <a:cxn ang="0">
                  <a:pos x="4010" y="129"/>
                </a:cxn>
                <a:cxn ang="0">
                  <a:pos x="3966" y="113"/>
                </a:cxn>
                <a:cxn ang="0">
                  <a:pos x="3839" y="47"/>
                </a:cxn>
                <a:cxn ang="0">
                  <a:pos x="3747" y="11"/>
                </a:cxn>
                <a:cxn ang="0">
                  <a:pos x="3680" y="2"/>
                </a:cxn>
                <a:cxn ang="0">
                  <a:pos x="3456" y="1"/>
                </a:cxn>
                <a:cxn ang="0">
                  <a:pos x="3029" y="11"/>
                </a:cxn>
                <a:cxn ang="0">
                  <a:pos x="2789" y="6"/>
                </a:cxn>
                <a:cxn ang="0">
                  <a:pos x="2677" y="2"/>
                </a:cxn>
                <a:cxn ang="0">
                  <a:pos x="2421" y="13"/>
                </a:cxn>
                <a:cxn ang="0">
                  <a:pos x="2017" y="46"/>
                </a:cxn>
                <a:cxn ang="0">
                  <a:pos x="1833" y="54"/>
                </a:cxn>
                <a:cxn ang="0">
                  <a:pos x="1730" y="55"/>
                </a:cxn>
                <a:cxn ang="0">
                  <a:pos x="1651" y="65"/>
                </a:cxn>
                <a:cxn ang="0">
                  <a:pos x="1588" y="84"/>
                </a:cxn>
                <a:cxn ang="0">
                  <a:pos x="1539" y="109"/>
                </a:cxn>
                <a:cxn ang="0">
                  <a:pos x="1481" y="153"/>
                </a:cxn>
                <a:cxn ang="0">
                  <a:pos x="1415" y="208"/>
                </a:cxn>
                <a:cxn ang="0">
                  <a:pos x="1379" y="228"/>
                </a:cxn>
                <a:cxn ang="0">
                  <a:pos x="1290" y="256"/>
                </a:cxn>
                <a:cxn ang="0">
                  <a:pos x="650" y="421"/>
                </a:cxn>
                <a:cxn ang="0">
                  <a:pos x="0" y="580"/>
                </a:cxn>
                <a:cxn ang="0">
                  <a:pos x="1084" y="412"/>
                </a:cxn>
                <a:cxn ang="0">
                  <a:pos x="2169" y="247"/>
                </a:cxn>
                <a:cxn ang="0">
                  <a:pos x="3581" y="253"/>
                </a:cxn>
                <a:cxn ang="0">
                  <a:pos x="5114" y="248"/>
                </a:cxn>
                <a:cxn ang="0">
                  <a:pos x="6648" y="244"/>
                </a:cxn>
                <a:cxn ang="0">
                  <a:pos x="8237" y="266"/>
                </a:cxn>
                <a:cxn ang="0">
                  <a:pos x="9827" y="289"/>
                </a:cxn>
              </a:cxnLst>
              <a:rect l="0" t="0" r="r" b="b"/>
              <a:pathLst>
                <a:path w="9827" h="580">
                  <a:moveTo>
                    <a:pt x="9827" y="289"/>
                  </a:moveTo>
                  <a:lnTo>
                    <a:pt x="8912" y="209"/>
                  </a:lnTo>
                  <a:lnTo>
                    <a:pt x="8233" y="149"/>
                  </a:lnTo>
                  <a:lnTo>
                    <a:pt x="7820" y="109"/>
                  </a:lnTo>
                  <a:lnTo>
                    <a:pt x="7772" y="106"/>
                  </a:lnTo>
                  <a:lnTo>
                    <a:pt x="7719" y="102"/>
                  </a:lnTo>
                  <a:lnTo>
                    <a:pt x="7659" y="100"/>
                  </a:lnTo>
                  <a:lnTo>
                    <a:pt x="7596" y="99"/>
                  </a:lnTo>
                  <a:lnTo>
                    <a:pt x="7459" y="99"/>
                  </a:lnTo>
                  <a:lnTo>
                    <a:pt x="7318" y="102"/>
                  </a:lnTo>
                  <a:lnTo>
                    <a:pt x="7248" y="106"/>
                  </a:lnTo>
                  <a:lnTo>
                    <a:pt x="7180" y="109"/>
                  </a:lnTo>
                  <a:lnTo>
                    <a:pt x="7051" y="120"/>
                  </a:lnTo>
                  <a:lnTo>
                    <a:pt x="6941" y="132"/>
                  </a:lnTo>
                  <a:lnTo>
                    <a:pt x="6896" y="140"/>
                  </a:lnTo>
                  <a:lnTo>
                    <a:pt x="6857" y="148"/>
                  </a:lnTo>
                  <a:lnTo>
                    <a:pt x="6820" y="155"/>
                  </a:lnTo>
                  <a:lnTo>
                    <a:pt x="6798" y="158"/>
                  </a:lnTo>
                  <a:lnTo>
                    <a:pt x="6774" y="159"/>
                  </a:lnTo>
                  <a:lnTo>
                    <a:pt x="6723" y="161"/>
                  </a:lnTo>
                  <a:lnTo>
                    <a:pt x="6667" y="160"/>
                  </a:lnTo>
                  <a:lnTo>
                    <a:pt x="6607" y="159"/>
                  </a:lnTo>
                  <a:lnTo>
                    <a:pt x="6544" y="155"/>
                  </a:lnTo>
                  <a:lnTo>
                    <a:pt x="6416" y="144"/>
                  </a:lnTo>
                  <a:lnTo>
                    <a:pt x="6291" y="130"/>
                  </a:lnTo>
                  <a:lnTo>
                    <a:pt x="6232" y="123"/>
                  </a:lnTo>
                  <a:lnTo>
                    <a:pt x="6179" y="114"/>
                  </a:lnTo>
                  <a:lnTo>
                    <a:pt x="6088" y="101"/>
                  </a:lnTo>
                  <a:lnTo>
                    <a:pt x="6029" y="89"/>
                  </a:lnTo>
                  <a:lnTo>
                    <a:pt x="5935" y="71"/>
                  </a:lnTo>
                  <a:lnTo>
                    <a:pt x="5825" y="54"/>
                  </a:lnTo>
                  <a:lnTo>
                    <a:pt x="5712" y="37"/>
                  </a:lnTo>
                  <a:lnTo>
                    <a:pt x="5608" y="25"/>
                  </a:lnTo>
                  <a:lnTo>
                    <a:pt x="5541" y="20"/>
                  </a:lnTo>
                  <a:lnTo>
                    <a:pt x="5463" y="20"/>
                  </a:lnTo>
                  <a:lnTo>
                    <a:pt x="5375" y="24"/>
                  </a:lnTo>
                  <a:lnTo>
                    <a:pt x="5283" y="31"/>
                  </a:lnTo>
                  <a:lnTo>
                    <a:pt x="5188" y="43"/>
                  </a:lnTo>
                  <a:lnTo>
                    <a:pt x="5094" y="59"/>
                  </a:lnTo>
                  <a:lnTo>
                    <a:pt x="5004" y="78"/>
                  </a:lnTo>
                  <a:lnTo>
                    <a:pt x="4920" y="101"/>
                  </a:lnTo>
                  <a:lnTo>
                    <a:pt x="4899" y="107"/>
                  </a:lnTo>
                  <a:lnTo>
                    <a:pt x="4878" y="112"/>
                  </a:lnTo>
                  <a:lnTo>
                    <a:pt x="4828" y="120"/>
                  </a:lnTo>
                  <a:lnTo>
                    <a:pt x="4775" y="127"/>
                  </a:lnTo>
                  <a:lnTo>
                    <a:pt x="4719" y="131"/>
                  </a:lnTo>
                  <a:lnTo>
                    <a:pt x="4660" y="134"/>
                  </a:lnTo>
                  <a:lnTo>
                    <a:pt x="4598" y="135"/>
                  </a:lnTo>
                  <a:lnTo>
                    <a:pt x="4475" y="134"/>
                  </a:lnTo>
                  <a:lnTo>
                    <a:pt x="4248" y="127"/>
                  </a:lnTo>
                  <a:lnTo>
                    <a:pt x="4159" y="127"/>
                  </a:lnTo>
                  <a:lnTo>
                    <a:pt x="4125" y="130"/>
                  </a:lnTo>
                  <a:lnTo>
                    <a:pt x="4097" y="134"/>
                  </a:lnTo>
                  <a:lnTo>
                    <a:pt x="4075" y="136"/>
                  </a:lnTo>
                  <a:lnTo>
                    <a:pt x="4053" y="136"/>
                  </a:lnTo>
                  <a:lnTo>
                    <a:pt x="4010" y="129"/>
                  </a:lnTo>
                  <a:lnTo>
                    <a:pt x="3988" y="121"/>
                  </a:lnTo>
                  <a:lnTo>
                    <a:pt x="3966" y="113"/>
                  </a:lnTo>
                  <a:lnTo>
                    <a:pt x="3925" y="93"/>
                  </a:lnTo>
                  <a:lnTo>
                    <a:pt x="3839" y="47"/>
                  </a:lnTo>
                  <a:lnTo>
                    <a:pt x="3794" y="27"/>
                  </a:lnTo>
                  <a:lnTo>
                    <a:pt x="3747" y="11"/>
                  </a:lnTo>
                  <a:lnTo>
                    <a:pt x="3718" y="6"/>
                  </a:lnTo>
                  <a:lnTo>
                    <a:pt x="3680" y="2"/>
                  </a:lnTo>
                  <a:lnTo>
                    <a:pt x="3580" y="0"/>
                  </a:lnTo>
                  <a:lnTo>
                    <a:pt x="3456" y="1"/>
                  </a:lnTo>
                  <a:lnTo>
                    <a:pt x="3317" y="4"/>
                  </a:lnTo>
                  <a:lnTo>
                    <a:pt x="3029" y="11"/>
                  </a:lnTo>
                  <a:lnTo>
                    <a:pt x="2899" y="11"/>
                  </a:lnTo>
                  <a:lnTo>
                    <a:pt x="2789" y="6"/>
                  </a:lnTo>
                  <a:lnTo>
                    <a:pt x="2734" y="4"/>
                  </a:lnTo>
                  <a:lnTo>
                    <a:pt x="2677" y="2"/>
                  </a:lnTo>
                  <a:lnTo>
                    <a:pt x="2553" y="5"/>
                  </a:lnTo>
                  <a:lnTo>
                    <a:pt x="2421" y="13"/>
                  </a:lnTo>
                  <a:lnTo>
                    <a:pt x="2285" y="24"/>
                  </a:lnTo>
                  <a:lnTo>
                    <a:pt x="2017" y="46"/>
                  </a:lnTo>
                  <a:lnTo>
                    <a:pt x="1892" y="53"/>
                  </a:lnTo>
                  <a:lnTo>
                    <a:pt x="1833" y="54"/>
                  </a:lnTo>
                  <a:lnTo>
                    <a:pt x="1779" y="54"/>
                  </a:lnTo>
                  <a:lnTo>
                    <a:pt x="1730" y="55"/>
                  </a:lnTo>
                  <a:lnTo>
                    <a:pt x="1689" y="59"/>
                  </a:lnTo>
                  <a:lnTo>
                    <a:pt x="1651" y="65"/>
                  </a:lnTo>
                  <a:lnTo>
                    <a:pt x="1618" y="73"/>
                  </a:lnTo>
                  <a:lnTo>
                    <a:pt x="1588" y="84"/>
                  </a:lnTo>
                  <a:lnTo>
                    <a:pt x="1563" y="96"/>
                  </a:lnTo>
                  <a:lnTo>
                    <a:pt x="1539" y="109"/>
                  </a:lnTo>
                  <a:lnTo>
                    <a:pt x="1518" y="124"/>
                  </a:lnTo>
                  <a:lnTo>
                    <a:pt x="1481" y="153"/>
                  </a:lnTo>
                  <a:lnTo>
                    <a:pt x="1447" y="182"/>
                  </a:lnTo>
                  <a:lnTo>
                    <a:pt x="1415" y="208"/>
                  </a:lnTo>
                  <a:lnTo>
                    <a:pt x="1398" y="219"/>
                  </a:lnTo>
                  <a:lnTo>
                    <a:pt x="1379" y="228"/>
                  </a:lnTo>
                  <a:lnTo>
                    <a:pt x="1346" y="239"/>
                  </a:lnTo>
                  <a:lnTo>
                    <a:pt x="1290" y="256"/>
                  </a:lnTo>
                  <a:lnTo>
                    <a:pt x="1119" y="302"/>
                  </a:lnTo>
                  <a:lnTo>
                    <a:pt x="650" y="421"/>
                  </a:lnTo>
                  <a:lnTo>
                    <a:pt x="201" y="531"/>
                  </a:lnTo>
                  <a:lnTo>
                    <a:pt x="0" y="580"/>
                  </a:lnTo>
                  <a:lnTo>
                    <a:pt x="542" y="495"/>
                  </a:lnTo>
                  <a:lnTo>
                    <a:pt x="1084" y="412"/>
                  </a:lnTo>
                  <a:lnTo>
                    <a:pt x="1626" y="329"/>
                  </a:lnTo>
                  <a:lnTo>
                    <a:pt x="2169" y="247"/>
                  </a:lnTo>
                  <a:lnTo>
                    <a:pt x="2874" y="249"/>
                  </a:lnTo>
                  <a:lnTo>
                    <a:pt x="3581" y="253"/>
                  </a:lnTo>
                  <a:lnTo>
                    <a:pt x="4347" y="250"/>
                  </a:lnTo>
                  <a:lnTo>
                    <a:pt x="5114" y="248"/>
                  </a:lnTo>
                  <a:lnTo>
                    <a:pt x="5881" y="245"/>
                  </a:lnTo>
                  <a:lnTo>
                    <a:pt x="6648" y="244"/>
                  </a:lnTo>
                  <a:lnTo>
                    <a:pt x="7442" y="255"/>
                  </a:lnTo>
                  <a:lnTo>
                    <a:pt x="8237" y="266"/>
                  </a:lnTo>
                  <a:lnTo>
                    <a:pt x="9031" y="277"/>
                  </a:lnTo>
                  <a:lnTo>
                    <a:pt x="9827" y="2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8" name="Freeform 50"/>
            <p:cNvSpPr>
              <a:spLocks/>
            </p:cNvSpPr>
            <p:nvPr userDrawn="1"/>
          </p:nvSpPr>
          <p:spPr bwMode="auto">
            <a:xfrm>
              <a:off x="3948113" y="6484938"/>
              <a:ext cx="3306763" cy="184150"/>
            </a:xfrm>
            <a:custGeom>
              <a:avLst/>
              <a:gdLst/>
              <a:ahLst/>
              <a:cxnLst>
                <a:cxn ang="0">
                  <a:pos x="7060" y="3"/>
                </a:cxn>
                <a:cxn ang="0">
                  <a:pos x="6185" y="40"/>
                </a:cxn>
                <a:cxn ang="0">
                  <a:pos x="6091" y="35"/>
                </a:cxn>
                <a:cxn ang="0">
                  <a:pos x="6002" y="45"/>
                </a:cxn>
                <a:cxn ang="0">
                  <a:pos x="5911" y="57"/>
                </a:cxn>
                <a:cxn ang="0">
                  <a:pos x="5784" y="60"/>
                </a:cxn>
                <a:cxn ang="0">
                  <a:pos x="5682" y="58"/>
                </a:cxn>
                <a:cxn ang="0">
                  <a:pos x="5534" y="51"/>
                </a:cxn>
                <a:cxn ang="0">
                  <a:pos x="5325" y="48"/>
                </a:cxn>
                <a:cxn ang="0">
                  <a:pos x="5195" y="45"/>
                </a:cxn>
                <a:cxn ang="0">
                  <a:pos x="4981" y="36"/>
                </a:cxn>
                <a:cxn ang="0">
                  <a:pos x="4799" y="38"/>
                </a:cxn>
                <a:cxn ang="0">
                  <a:pos x="4528" y="32"/>
                </a:cxn>
                <a:cxn ang="0">
                  <a:pos x="4267" y="33"/>
                </a:cxn>
                <a:cxn ang="0">
                  <a:pos x="3976" y="41"/>
                </a:cxn>
                <a:cxn ang="0">
                  <a:pos x="3853" y="35"/>
                </a:cxn>
                <a:cxn ang="0">
                  <a:pos x="3676" y="17"/>
                </a:cxn>
                <a:cxn ang="0">
                  <a:pos x="3563" y="15"/>
                </a:cxn>
                <a:cxn ang="0">
                  <a:pos x="3506" y="27"/>
                </a:cxn>
                <a:cxn ang="0">
                  <a:pos x="3327" y="76"/>
                </a:cxn>
                <a:cxn ang="0">
                  <a:pos x="3209" y="98"/>
                </a:cxn>
                <a:cxn ang="0">
                  <a:pos x="3150" y="103"/>
                </a:cxn>
                <a:cxn ang="0">
                  <a:pos x="3098" y="101"/>
                </a:cxn>
                <a:cxn ang="0">
                  <a:pos x="3014" y="89"/>
                </a:cxn>
                <a:cxn ang="0">
                  <a:pos x="2920" y="66"/>
                </a:cxn>
                <a:cxn ang="0">
                  <a:pos x="2838" y="60"/>
                </a:cxn>
                <a:cxn ang="0">
                  <a:pos x="2728" y="48"/>
                </a:cxn>
                <a:cxn ang="0">
                  <a:pos x="2687" y="47"/>
                </a:cxn>
                <a:cxn ang="0">
                  <a:pos x="2679" y="33"/>
                </a:cxn>
                <a:cxn ang="0">
                  <a:pos x="2666" y="18"/>
                </a:cxn>
                <a:cxn ang="0">
                  <a:pos x="2634" y="5"/>
                </a:cxn>
                <a:cxn ang="0">
                  <a:pos x="2549" y="0"/>
                </a:cxn>
                <a:cxn ang="0">
                  <a:pos x="2191" y="22"/>
                </a:cxn>
                <a:cxn ang="0">
                  <a:pos x="1925" y="41"/>
                </a:cxn>
                <a:cxn ang="0">
                  <a:pos x="1884" y="62"/>
                </a:cxn>
                <a:cxn ang="0">
                  <a:pos x="1836" y="77"/>
                </a:cxn>
                <a:cxn ang="0">
                  <a:pos x="1758" y="84"/>
                </a:cxn>
                <a:cxn ang="0">
                  <a:pos x="1660" y="94"/>
                </a:cxn>
                <a:cxn ang="0">
                  <a:pos x="1564" y="118"/>
                </a:cxn>
                <a:cxn ang="0">
                  <a:pos x="1430" y="154"/>
                </a:cxn>
                <a:cxn ang="0">
                  <a:pos x="1270" y="176"/>
                </a:cxn>
                <a:cxn ang="0">
                  <a:pos x="904" y="230"/>
                </a:cxn>
                <a:cxn ang="0">
                  <a:pos x="650" y="524"/>
                </a:cxn>
                <a:cxn ang="0">
                  <a:pos x="1952" y="532"/>
                </a:cxn>
                <a:cxn ang="0">
                  <a:pos x="3253" y="539"/>
                </a:cxn>
                <a:cxn ang="0">
                  <a:pos x="4556" y="546"/>
                </a:cxn>
                <a:cxn ang="0">
                  <a:pos x="5858" y="555"/>
                </a:cxn>
                <a:cxn ang="0">
                  <a:pos x="7160" y="562"/>
                </a:cxn>
                <a:cxn ang="0">
                  <a:pos x="8462" y="569"/>
                </a:cxn>
                <a:cxn ang="0">
                  <a:pos x="9765" y="576"/>
                </a:cxn>
                <a:cxn ang="0">
                  <a:pos x="10238" y="499"/>
                </a:cxn>
                <a:cxn ang="0">
                  <a:pos x="9933" y="368"/>
                </a:cxn>
                <a:cxn ang="0">
                  <a:pos x="9686" y="271"/>
                </a:cxn>
                <a:cxn ang="0">
                  <a:pos x="9430" y="178"/>
                </a:cxn>
                <a:cxn ang="0">
                  <a:pos x="9184" y="104"/>
                </a:cxn>
                <a:cxn ang="0">
                  <a:pos x="8969" y="60"/>
                </a:cxn>
                <a:cxn ang="0">
                  <a:pos x="8111" y="41"/>
                </a:cxn>
              </a:cxnLst>
              <a:rect l="0" t="0" r="r" b="b"/>
              <a:pathLst>
                <a:path w="10416" h="581">
                  <a:moveTo>
                    <a:pt x="7676" y="33"/>
                  </a:moveTo>
                  <a:lnTo>
                    <a:pt x="7060" y="3"/>
                  </a:lnTo>
                  <a:lnTo>
                    <a:pt x="6196" y="44"/>
                  </a:lnTo>
                  <a:lnTo>
                    <a:pt x="6185" y="40"/>
                  </a:lnTo>
                  <a:lnTo>
                    <a:pt x="6150" y="35"/>
                  </a:lnTo>
                  <a:lnTo>
                    <a:pt x="6091" y="35"/>
                  </a:lnTo>
                  <a:lnTo>
                    <a:pt x="6050" y="39"/>
                  </a:lnTo>
                  <a:lnTo>
                    <a:pt x="6002" y="45"/>
                  </a:lnTo>
                  <a:lnTo>
                    <a:pt x="5954" y="52"/>
                  </a:lnTo>
                  <a:lnTo>
                    <a:pt x="5911" y="57"/>
                  </a:lnTo>
                  <a:lnTo>
                    <a:pt x="5840" y="62"/>
                  </a:lnTo>
                  <a:lnTo>
                    <a:pt x="5784" y="60"/>
                  </a:lnTo>
                  <a:lnTo>
                    <a:pt x="5737" y="60"/>
                  </a:lnTo>
                  <a:lnTo>
                    <a:pt x="5682" y="58"/>
                  </a:lnTo>
                  <a:lnTo>
                    <a:pt x="5610" y="54"/>
                  </a:lnTo>
                  <a:lnTo>
                    <a:pt x="5534" y="51"/>
                  </a:lnTo>
                  <a:lnTo>
                    <a:pt x="5461" y="48"/>
                  </a:lnTo>
                  <a:lnTo>
                    <a:pt x="5325" y="48"/>
                  </a:lnTo>
                  <a:lnTo>
                    <a:pt x="5258" y="47"/>
                  </a:lnTo>
                  <a:lnTo>
                    <a:pt x="5195" y="45"/>
                  </a:lnTo>
                  <a:lnTo>
                    <a:pt x="5059" y="39"/>
                  </a:lnTo>
                  <a:lnTo>
                    <a:pt x="4981" y="36"/>
                  </a:lnTo>
                  <a:lnTo>
                    <a:pt x="4900" y="38"/>
                  </a:lnTo>
                  <a:lnTo>
                    <a:pt x="4799" y="38"/>
                  </a:lnTo>
                  <a:lnTo>
                    <a:pt x="4668" y="35"/>
                  </a:lnTo>
                  <a:lnTo>
                    <a:pt x="4528" y="32"/>
                  </a:lnTo>
                  <a:lnTo>
                    <a:pt x="4398" y="30"/>
                  </a:lnTo>
                  <a:lnTo>
                    <a:pt x="4267" y="33"/>
                  </a:lnTo>
                  <a:lnTo>
                    <a:pt x="4120" y="39"/>
                  </a:lnTo>
                  <a:lnTo>
                    <a:pt x="3976" y="41"/>
                  </a:lnTo>
                  <a:lnTo>
                    <a:pt x="3911" y="40"/>
                  </a:lnTo>
                  <a:lnTo>
                    <a:pt x="3853" y="35"/>
                  </a:lnTo>
                  <a:lnTo>
                    <a:pt x="3755" y="24"/>
                  </a:lnTo>
                  <a:lnTo>
                    <a:pt x="3676" y="17"/>
                  </a:lnTo>
                  <a:lnTo>
                    <a:pt x="3613" y="15"/>
                  </a:lnTo>
                  <a:lnTo>
                    <a:pt x="3563" y="15"/>
                  </a:lnTo>
                  <a:lnTo>
                    <a:pt x="3537" y="18"/>
                  </a:lnTo>
                  <a:lnTo>
                    <a:pt x="3506" y="27"/>
                  </a:lnTo>
                  <a:lnTo>
                    <a:pt x="3427" y="50"/>
                  </a:lnTo>
                  <a:lnTo>
                    <a:pt x="3327" y="76"/>
                  </a:lnTo>
                  <a:lnTo>
                    <a:pt x="3269" y="88"/>
                  </a:lnTo>
                  <a:lnTo>
                    <a:pt x="3209" y="98"/>
                  </a:lnTo>
                  <a:lnTo>
                    <a:pt x="3179" y="101"/>
                  </a:lnTo>
                  <a:lnTo>
                    <a:pt x="3150" y="103"/>
                  </a:lnTo>
                  <a:lnTo>
                    <a:pt x="3123" y="103"/>
                  </a:lnTo>
                  <a:lnTo>
                    <a:pt x="3098" y="101"/>
                  </a:lnTo>
                  <a:lnTo>
                    <a:pt x="3053" y="97"/>
                  </a:lnTo>
                  <a:lnTo>
                    <a:pt x="3014" y="89"/>
                  </a:lnTo>
                  <a:lnTo>
                    <a:pt x="2949" y="72"/>
                  </a:lnTo>
                  <a:lnTo>
                    <a:pt x="2920" y="66"/>
                  </a:lnTo>
                  <a:lnTo>
                    <a:pt x="2893" y="64"/>
                  </a:lnTo>
                  <a:lnTo>
                    <a:pt x="2838" y="60"/>
                  </a:lnTo>
                  <a:lnTo>
                    <a:pt x="2779" y="54"/>
                  </a:lnTo>
                  <a:lnTo>
                    <a:pt x="2728" y="48"/>
                  </a:lnTo>
                  <a:lnTo>
                    <a:pt x="2696" y="48"/>
                  </a:lnTo>
                  <a:lnTo>
                    <a:pt x="2687" y="47"/>
                  </a:lnTo>
                  <a:lnTo>
                    <a:pt x="2683" y="41"/>
                  </a:lnTo>
                  <a:lnTo>
                    <a:pt x="2679" y="33"/>
                  </a:lnTo>
                  <a:lnTo>
                    <a:pt x="2671" y="23"/>
                  </a:lnTo>
                  <a:lnTo>
                    <a:pt x="2666" y="18"/>
                  </a:lnTo>
                  <a:lnTo>
                    <a:pt x="2657" y="14"/>
                  </a:lnTo>
                  <a:lnTo>
                    <a:pt x="2634" y="5"/>
                  </a:lnTo>
                  <a:lnTo>
                    <a:pt x="2600" y="0"/>
                  </a:lnTo>
                  <a:lnTo>
                    <a:pt x="2549" y="0"/>
                  </a:lnTo>
                  <a:lnTo>
                    <a:pt x="2390" y="10"/>
                  </a:lnTo>
                  <a:lnTo>
                    <a:pt x="2191" y="22"/>
                  </a:lnTo>
                  <a:lnTo>
                    <a:pt x="1934" y="39"/>
                  </a:lnTo>
                  <a:lnTo>
                    <a:pt x="1925" y="41"/>
                  </a:lnTo>
                  <a:lnTo>
                    <a:pt x="1914" y="46"/>
                  </a:lnTo>
                  <a:lnTo>
                    <a:pt x="1884" y="62"/>
                  </a:lnTo>
                  <a:lnTo>
                    <a:pt x="1864" y="70"/>
                  </a:lnTo>
                  <a:lnTo>
                    <a:pt x="1836" y="77"/>
                  </a:lnTo>
                  <a:lnTo>
                    <a:pt x="1801" y="82"/>
                  </a:lnTo>
                  <a:lnTo>
                    <a:pt x="1758" y="84"/>
                  </a:lnTo>
                  <a:lnTo>
                    <a:pt x="1710" y="87"/>
                  </a:lnTo>
                  <a:lnTo>
                    <a:pt x="1660" y="94"/>
                  </a:lnTo>
                  <a:lnTo>
                    <a:pt x="1612" y="105"/>
                  </a:lnTo>
                  <a:lnTo>
                    <a:pt x="1564" y="118"/>
                  </a:lnTo>
                  <a:lnTo>
                    <a:pt x="1473" y="145"/>
                  </a:lnTo>
                  <a:lnTo>
                    <a:pt x="1430" y="154"/>
                  </a:lnTo>
                  <a:lnTo>
                    <a:pt x="1391" y="160"/>
                  </a:lnTo>
                  <a:lnTo>
                    <a:pt x="1270" y="176"/>
                  </a:lnTo>
                  <a:lnTo>
                    <a:pt x="1109" y="199"/>
                  </a:lnTo>
                  <a:lnTo>
                    <a:pt x="904" y="230"/>
                  </a:lnTo>
                  <a:lnTo>
                    <a:pt x="0" y="521"/>
                  </a:lnTo>
                  <a:lnTo>
                    <a:pt x="650" y="524"/>
                  </a:lnTo>
                  <a:lnTo>
                    <a:pt x="1302" y="528"/>
                  </a:lnTo>
                  <a:lnTo>
                    <a:pt x="1952" y="532"/>
                  </a:lnTo>
                  <a:lnTo>
                    <a:pt x="2603" y="535"/>
                  </a:lnTo>
                  <a:lnTo>
                    <a:pt x="3253" y="539"/>
                  </a:lnTo>
                  <a:lnTo>
                    <a:pt x="3905" y="543"/>
                  </a:lnTo>
                  <a:lnTo>
                    <a:pt x="4556" y="546"/>
                  </a:lnTo>
                  <a:lnTo>
                    <a:pt x="5207" y="551"/>
                  </a:lnTo>
                  <a:lnTo>
                    <a:pt x="5858" y="555"/>
                  </a:lnTo>
                  <a:lnTo>
                    <a:pt x="6509" y="558"/>
                  </a:lnTo>
                  <a:lnTo>
                    <a:pt x="7160" y="562"/>
                  </a:lnTo>
                  <a:lnTo>
                    <a:pt x="7812" y="565"/>
                  </a:lnTo>
                  <a:lnTo>
                    <a:pt x="8462" y="569"/>
                  </a:lnTo>
                  <a:lnTo>
                    <a:pt x="9113" y="573"/>
                  </a:lnTo>
                  <a:lnTo>
                    <a:pt x="9765" y="576"/>
                  </a:lnTo>
                  <a:lnTo>
                    <a:pt x="10416" y="581"/>
                  </a:lnTo>
                  <a:lnTo>
                    <a:pt x="10238" y="499"/>
                  </a:lnTo>
                  <a:lnTo>
                    <a:pt x="10045" y="415"/>
                  </a:lnTo>
                  <a:lnTo>
                    <a:pt x="9933" y="368"/>
                  </a:lnTo>
                  <a:lnTo>
                    <a:pt x="9813" y="319"/>
                  </a:lnTo>
                  <a:lnTo>
                    <a:pt x="9686" y="271"/>
                  </a:lnTo>
                  <a:lnTo>
                    <a:pt x="9559" y="223"/>
                  </a:lnTo>
                  <a:lnTo>
                    <a:pt x="9430" y="178"/>
                  </a:lnTo>
                  <a:lnTo>
                    <a:pt x="9305" y="139"/>
                  </a:lnTo>
                  <a:lnTo>
                    <a:pt x="9184" y="104"/>
                  </a:lnTo>
                  <a:lnTo>
                    <a:pt x="9071" y="77"/>
                  </a:lnTo>
                  <a:lnTo>
                    <a:pt x="8969" y="60"/>
                  </a:lnTo>
                  <a:lnTo>
                    <a:pt x="8878" y="53"/>
                  </a:lnTo>
                  <a:lnTo>
                    <a:pt x="8111" y="41"/>
                  </a:lnTo>
                  <a:lnTo>
                    <a:pt x="7676" y="3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9" name="Freeform 51"/>
            <p:cNvSpPr>
              <a:spLocks/>
            </p:cNvSpPr>
            <p:nvPr userDrawn="1"/>
          </p:nvSpPr>
          <p:spPr bwMode="auto">
            <a:xfrm>
              <a:off x="1654175" y="6334126"/>
              <a:ext cx="31750" cy="36513"/>
            </a:xfrm>
            <a:custGeom>
              <a:avLst/>
              <a:gdLst/>
              <a:ahLst/>
              <a:cxnLst>
                <a:cxn ang="0">
                  <a:pos x="98" y="115"/>
                </a:cxn>
                <a:cxn ang="0">
                  <a:pos x="102" y="115"/>
                </a:cxn>
                <a:cxn ang="0">
                  <a:pos x="102" y="101"/>
                </a:cxn>
                <a:cxn ang="0">
                  <a:pos x="0" y="0"/>
                </a:cxn>
                <a:cxn ang="0">
                  <a:pos x="0" y="16"/>
                </a:cxn>
                <a:cxn ang="0">
                  <a:pos x="98" y="115"/>
                </a:cxn>
              </a:cxnLst>
              <a:rect l="0" t="0" r="r" b="b"/>
              <a:pathLst>
                <a:path w="102" h="115">
                  <a:moveTo>
                    <a:pt x="98" y="115"/>
                  </a:moveTo>
                  <a:lnTo>
                    <a:pt x="102" y="115"/>
                  </a:lnTo>
                  <a:lnTo>
                    <a:pt x="102" y="101"/>
                  </a:lnTo>
                  <a:lnTo>
                    <a:pt x="0" y="0"/>
                  </a:lnTo>
                  <a:lnTo>
                    <a:pt x="0" y="16"/>
                  </a:lnTo>
                  <a:lnTo>
                    <a:pt x="98" y="11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0" name="Freeform 52"/>
            <p:cNvSpPr>
              <a:spLocks/>
            </p:cNvSpPr>
            <p:nvPr userDrawn="1"/>
          </p:nvSpPr>
          <p:spPr bwMode="auto">
            <a:xfrm>
              <a:off x="1654175" y="6362701"/>
              <a:ext cx="7938" cy="7938"/>
            </a:xfrm>
            <a:custGeom>
              <a:avLst/>
              <a:gdLst/>
              <a:ahLst/>
              <a:cxnLst>
                <a:cxn ang="0">
                  <a:pos x="0" y="0"/>
                </a:cxn>
                <a:cxn ang="0">
                  <a:pos x="0" y="23"/>
                </a:cxn>
                <a:cxn ang="0">
                  <a:pos x="24" y="23"/>
                </a:cxn>
                <a:cxn ang="0">
                  <a:pos x="0" y="0"/>
                </a:cxn>
              </a:cxnLst>
              <a:rect l="0" t="0" r="r" b="b"/>
              <a:pathLst>
                <a:path w="24" h="23">
                  <a:moveTo>
                    <a:pt x="0" y="0"/>
                  </a:moveTo>
                  <a:lnTo>
                    <a:pt x="0" y="23"/>
                  </a:lnTo>
                  <a:lnTo>
                    <a:pt x="24" y="2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1" name="Rectangle 53"/>
            <p:cNvSpPr>
              <a:spLocks noChangeArrowheads="1"/>
            </p:cNvSpPr>
            <p:nvPr userDrawn="1"/>
          </p:nvSpPr>
          <p:spPr bwMode="auto">
            <a:xfrm>
              <a:off x="3989388" y="6373813"/>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2" name="Freeform 54"/>
            <p:cNvSpPr>
              <a:spLocks/>
            </p:cNvSpPr>
            <p:nvPr userDrawn="1"/>
          </p:nvSpPr>
          <p:spPr bwMode="auto">
            <a:xfrm>
              <a:off x="766763" y="6411913"/>
              <a:ext cx="5416550" cy="153988"/>
            </a:xfrm>
            <a:custGeom>
              <a:avLst/>
              <a:gdLst/>
              <a:ahLst/>
              <a:cxnLst>
                <a:cxn ang="0">
                  <a:pos x="41" y="469"/>
                </a:cxn>
                <a:cxn ang="0">
                  <a:pos x="164" y="427"/>
                </a:cxn>
                <a:cxn ang="0">
                  <a:pos x="361" y="367"/>
                </a:cxn>
                <a:cxn ang="0">
                  <a:pos x="630" y="298"/>
                </a:cxn>
                <a:cxn ang="0">
                  <a:pos x="874" y="245"/>
                </a:cxn>
                <a:cxn ang="0">
                  <a:pos x="1155" y="197"/>
                </a:cxn>
                <a:cxn ang="0">
                  <a:pos x="1580" y="144"/>
                </a:cxn>
                <a:cxn ang="0">
                  <a:pos x="2059" y="112"/>
                </a:cxn>
                <a:cxn ang="0">
                  <a:pos x="2318" y="107"/>
                </a:cxn>
                <a:cxn ang="0">
                  <a:pos x="2940" y="113"/>
                </a:cxn>
                <a:cxn ang="0">
                  <a:pos x="3703" y="133"/>
                </a:cxn>
                <a:cxn ang="0">
                  <a:pos x="4536" y="163"/>
                </a:cxn>
                <a:cxn ang="0">
                  <a:pos x="6140" y="234"/>
                </a:cxn>
                <a:cxn ang="0">
                  <a:pos x="7364" y="296"/>
                </a:cxn>
                <a:cxn ang="0">
                  <a:pos x="7482" y="254"/>
                </a:cxn>
                <a:cxn ang="0">
                  <a:pos x="7626" y="209"/>
                </a:cxn>
                <a:cxn ang="0">
                  <a:pos x="7826" y="159"/>
                </a:cxn>
                <a:cxn ang="0">
                  <a:pos x="8078" y="106"/>
                </a:cxn>
                <a:cxn ang="0">
                  <a:pos x="8380" y="59"/>
                </a:cxn>
                <a:cxn ang="0">
                  <a:pos x="8732" y="22"/>
                </a:cxn>
                <a:cxn ang="0">
                  <a:pos x="9130" y="0"/>
                </a:cxn>
                <a:cxn ang="0">
                  <a:pos x="9550" y="59"/>
                </a:cxn>
                <a:cxn ang="0">
                  <a:pos x="10002" y="103"/>
                </a:cxn>
                <a:cxn ang="0">
                  <a:pos x="10457" y="138"/>
                </a:cxn>
                <a:cxn ang="0">
                  <a:pos x="10892" y="162"/>
                </a:cxn>
                <a:cxn ang="0">
                  <a:pos x="11584" y="189"/>
                </a:cxn>
                <a:cxn ang="0">
                  <a:pos x="12027" y="221"/>
                </a:cxn>
                <a:cxn ang="0">
                  <a:pos x="12420" y="275"/>
                </a:cxn>
                <a:cxn ang="0">
                  <a:pos x="12654" y="302"/>
                </a:cxn>
                <a:cxn ang="0">
                  <a:pos x="12889" y="322"/>
                </a:cxn>
                <a:cxn ang="0">
                  <a:pos x="13105" y="332"/>
                </a:cxn>
                <a:cxn ang="0">
                  <a:pos x="13284" y="326"/>
                </a:cxn>
                <a:cxn ang="0">
                  <a:pos x="13458" y="314"/>
                </a:cxn>
                <a:cxn ang="0">
                  <a:pos x="13660" y="306"/>
                </a:cxn>
                <a:cxn ang="0">
                  <a:pos x="14108" y="305"/>
                </a:cxn>
                <a:cxn ang="0">
                  <a:pos x="14435" y="317"/>
                </a:cxn>
                <a:cxn ang="0">
                  <a:pos x="14627" y="329"/>
                </a:cxn>
                <a:cxn ang="0">
                  <a:pos x="14783" y="345"/>
                </a:cxn>
                <a:cxn ang="0">
                  <a:pos x="15056" y="387"/>
                </a:cxn>
                <a:cxn ang="0">
                  <a:pos x="15471" y="436"/>
                </a:cxn>
                <a:cxn ang="0">
                  <a:pos x="15862" y="468"/>
                </a:cxn>
                <a:cxn ang="0">
                  <a:pos x="16217" y="482"/>
                </a:cxn>
                <a:cxn ang="0">
                  <a:pos x="16658" y="486"/>
                </a:cxn>
                <a:cxn ang="0">
                  <a:pos x="17011" y="475"/>
                </a:cxn>
                <a:cxn ang="0">
                  <a:pos x="16098" y="470"/>
                </a:cxn>
                <a:cxn ang="0">
                  <a:pos x="14176" y="468"/>
                </a:cxn>
                <a:cxn ang="0">
                  <a:pos x="12253" y="465"/>
                </a:cxn>
                <a:cxn ang="0">
                  <a:pos x="10332" y="463"/>
                </a:cxn>
                <a:cxn ang="0">
                  <a:pos x="8409" y="460"/>
                </a:cxn>
                <a:cxn ang="0">
                  <a:pos x="6487" y="458"/>
                </a:cxn>
                <a:cxn ang="0">
                  <a:pos x="4566" y="456"/>
                </a:cxn>
                <a:cxn ang="0">
                  <a:pos x="2644" y="453"/>
                </a:cxn>
                <a:cxn ang="0">
                  <a:pos x="842" y="468"/>
                </a:cxn>
              </a:cxnLst>
              <a:rect l="0" t="0" r="r" b="b"/>
              <a:pathLst>
                <a:path w="17060" h="486">
                  <a:moveTo>
                    <a:pt x="0" y="484"/>
                  </a:moveTo>
                  <a:lnTo>
                    <a:pt x="41" y="469"/>
                  </a:lnTo>
                  <a:lnTo>
                    <a:pt x="93" y="451"/>
                  </a:lnTo>
                  <a:lnTo>
                    <a:pt x="164" y="427"/>
                  </a:lnTo>
                  <a:lnTo>
                    <a:pt x="253" y="398"/>
                  </a:lnTo>
                  <a:lnTo>
                    <a:pt x="361" y="367"/>
                  </a:lnTo>
                  <a:lnTo>
                    <a:pt x="487" y="333"/>
                  </a:lnTo>
                  <a:lnTo>
                    <a:pt x="630" y="298"/>
                  </a:lnTo>
                  <a:lnTo>
                    <a:pt x="789" y="263"/>
                  </a:lnTo>
                  <a:lnTo>
                    <a:pt x="874" y="245"/>
                  </a:lnTo>
                  <a:lnTo>
                    <a:pt x="963" y="230"/>
                  </a:lnTo>
                  <a:lnTo>
                    <a:pt x="1155" y="197"/>
                  </a:lnTo>
                  <a:lnTo>
                    <a:pt x="1360" y="168"/>
                  </a:lnTo>
                  <a:lnTo>
                    <a:pt x="1580" y="144"/>
                  </a:lnTo>
                  <a:lnTo>
                    <a:pt x="1813" y="125"/>
                  </a:lnTo>
                  <a:lnTo>
                    <a:pt x="2059" y="112"/>
                  </a:lnTo>
                  <a:lnTo>
                    <a:pt x="2187" y="108"/>
                  </a:lnTo>
                  <a:lnTo>
                    <a:pt x="2318" y="107"/>
                  </a:lnTo>
                  <a:lnTo>
                    <a:pt x="2608" y="108"/>
                  </a:lnTo>
                  <a:lnTo>
                    <a:pt x="2940" y="113"/>
                  </a:lnTo>
                  <a:lnTo>
                    <a:pt x="3309" y="123"/>
                  </a:lnTo>
                  <a:lnTo>
                    <a:pt x="3703" y="133"/>
                  </a:lnTo>
                  <a:lnTo>
                    <a:pt x="4114" y="148"/>
                  </a:lnTo>
                  <a:lnTo>
                    <a:pt x="4536" y="163"/>
                  </a:lnTo>
                  <a:lnTo>
                    <a:pt x="5370" y="198"/>
                  </a:lnTo>
                  <a:lnTo>
                    <a:pt x="6140" y="234"/>
                  </a:lnTo>
                  <a:lnTo>
                    <a:pt x="6774" y="264"/>
                  </a:lnTo>
                  <a:lnTo>
                    <a:pt x="7364" y="296"/>
                  </a:lnTo>
                  <a:lnTo>
                    <a:pt x="7394" y="284"/>
                  </a:lnTo>
                  <a:lnTo>
                    <a:pt x="7482" y="254"/>
                  </a:lnTo>
                  <a:lnTo>
                    <a:pt x="7547" y="233"/>
                  </a:lnTo>
                  <a:lnTo>
                    <a:pt x="7626" y="209"/>
                  </a:lnTo>
                  <a:lnTo>
                    <a:pt x="7719" y="185"/>
                  </a:lnTo>
                  <a:lnTo>
                    <a:pt x="7826" y="159"/>
                  </a:lnTo>
                  <a:lnTo>
                    <a:pt x="7946" y="132"/>
                  </a:lnTo>
                  <a:lnTo>
                    <a:pt x="8078" y="106"/>
                  </a:lnTo>
                  <a:lnTo>
                    <a:pt x="8224" y="82"/>
                  </a:lnTo>
                  <a:lnTo>
                    <a:pt x="8380" y="59"/>
                  </a:lnTo>
                  <a:lnTo>
                    <a:pt x="8550" y="38"/>
                  </a:lnTo>
                  <a:lnTo>
                    <a:pt x="8732" y="22"/>
                  </a:lnTo>
                  <a:lnTo>
                    <a:pt x="8926" y="8"/>
                  </a:lnTo>
                  <a:lnTo>
                    <a:pt x="9130" y="0"/>
                  </a:lnTo>
                  <a:lnTo>
                    <a:pt x="9334" y="31"/>
                  </a:lnTo>
                  <a:lnTo>
                    <a:pt x="9550" y="59"/>
                  </a:lnTo>
                  <a:lnTo>
                    <a:pt x="9773" y="83"/>
                  </a:lnTo>
                  <a:lnTo>
                    <a:pt x="10002" y="103"/>
                  </a:lnTo>
                  <a:lnTo>
                    <a:pt x="10231" y="123"/>
                  </a:lnTo>
                  <a:lnTo>
                    <a:pt x="10457" y="138"/>
                  </a:lnTo>
                  <a:lnTo>
                    <a:pt x="10679" y="151"/>
                  </a:lnTo>
                  <a:lnTo>
                    <a:pt x="10892" y="162"/>
                  </a:lnTo>
                  <a:lnTo>
                    <a:pt x="11276" y="179"/>
                  </a:lnTo>
                  <a:lnTo>
                    <a:pt x="11584" y="189"/>
                  </a:lnTo>
                  <a:lnTo>
                    <a:pt x="11862" y="195"/>
                  </a:lnTo>
                  <a:lnTo>
                    <a:pt x="12027" y="221"/>
                  </a:lnTo>
                  <a:lnTo>
                    <a:pt x="12204" y="246"/>
                  </a:lnTo>
                  <a:lnTo>
                    <a:pt x="12420" y="275"/>
                  </a:lnTo>
                  <a:lnTo>
                    <a:pt x="12535" y="290"/>
                  </a:lnTo>
                  <a:lnTo>
                    <a:pt x="12654" y="302"/>
                  </a:lnTo>
                  <a:lnTo>
                    <a:pt x="12772" y="314"/>
                  </a:lnTo>
                  <a:lnTo>
                    <a:pt x="12889" y="322"/>
                  </a:lnTo>
                  <a:lnTo>
                    <a:pt x="13000" y="328"/>
                  </a:lnTo>
                  <a:lnTo>
                    <a:pt x="13105" y="332"/>
                  </a:lnTo>
                  <a:lnTo>
                    <a:pt x="13201" y="331"/>
                  </a:lnTo>
                  <a:lnTo>
                    <a:pt x="13284" y="326"/>
                  </a:lnTo>
                  <a:lnTo>
                    <a:pt x="13366" y="318"/>
                  </a:lnTo>
                  <a:lnTo>
                    <a:pt x="13458" y="314"/>
                  </a:lnTo>
                  <a:lnTo>
                    <a:pt x="13555" y="309"/>
                  </a:lnTo>
                  <a:lnTo>
                    <a:pt x="13660" y="306"/>
                  </a:lnTo>
                  <a:lnTo>
                    <a:pt x="13881" y="304"/>
                  </a:lnTo>
                  <a:lnTo>
                    <a:pt x="14108" y="305"/>
                  </a:lnTo>
                  <a:lnTo>
                    <a:pt x="14329" y="312"/>
                  </a:lnTo>
                  <a:lnTo>
                    <a:pt x="14435" y="317"/>
                  </a:lnTo>
                  <a:lnTo>
                    <a:pt x="14534" y="322"/>
                  </a:lnTo>
                  <a:lnTo>
                    <a:pt x="14627" y="329"/>
                  </a:lnTo>
                  <a:lnTo>
                    <a:pt x="14710" y="337"/>
                  </a:lnTo>
                  <a:lnTo>
                    <a:pt x="14783" y="345"/>
                  </a:lnTo>
                  <a:lnTo>
                    <a:pt x="14845" y="353"/>
                  </a:lnTo>
                  <a:lnTo>
                    <a:pt x="15056" y="387"/>
                  </a:lnTo>
                  <a:lnTo>
                    <a:pt x="15266" y="415"/>
                  </a:lnTo>
                  <a:lnTo>
                    <a:pt x="15471" y="436"/>
                  </a:lnTo>
                  <a:lnTo>
                    <a:pt x="15670" y="454"/>
                  </a:lnTo>
                  <a:lnTo>
                    <a:pt x="15862" y="468"/>
                  </a:lnTo>
                  <a:lnTo>
                    <a:pt x="16045" y="476"/>
                  </a:lnTo>
                  <a:lnTo>
                    <a:pt x="16217" y="482"/>
                  </a:lnTo>
                  <a:lnTo>
                    <a:pt x="16378" y="486"/>
                  </a:lnTo>
                  <a:lnTo>
                    <a:pt x="16658" y="486"/>
                  </a:lnTo>
                  <a:lnTo>
                    <a:pt x="16873" y="481"/>
                  </a:lnTo>
                  <a:lnTo>
                    <a:pt x="17011" y="475"/>
                  </a:lnTo>
                  <a:lnTo>
                    <a:pt x="17060" y="471"/>
                  </a:lnTo>
                  <a:lnTo>
                    <a:pt x="16098" y="470"/>
                  </a:lnTo>
                  <a:lnTo>
                    <a:pt x="15137" y="469"/>
                  </a:lnTo>
                  <a:lnTo>
                    <a:pt x="14176" y="468"/>
                  </a:lnTo>
                  <a:lnTo>
                    <a:pt x="13216" y="466"/>
                  </a:lnTo>
                  <a:lnTo>
                    <a:pt x="12253" y="465"/>
                  </a:lnTo>
                  <a:lnTo>
                    <a:pt x="11293" y="464"/>
                  </a:lnTo>
                  <a:lnTo>
                    <a:pt x="10332" y="463"/>
                  </a:lnTo>
                  <a:lnTo>
                    <a:pt x="9371" y="462"/>
                  </a:lnTo>
                  <a:lnTo>
                    <a:pt x="8409" y="460"/>
                  </a:lnTo>
                  <a:lnTo>
                    <a:pt x="7448" y="459"/>
                  </a:lnTo>
                  <a:lnTo>
                    <a:pt x="6487" y="458"/>
                  </a:lnTo>
                  <a:lnTo>
                    <a:pt x="5527" y="457"/>
                  </a:lnTo>
                  <a:lnTo>
                    <a:pt x="4566" y="456"/>
                  </a:lnTo>
                  <a:lnTo>
                    <a:pt x="3605" y="454"/>
                  </a:lnTo>
                  <a:lnTo>
                    <a:pt x="2644" y="453"/>
                  </a:lnTo>
                  <a:lnTo>
                    <a:pt x="1683" y="452"/>
                  </a:lnTo>
                  <a:lnTo>
                    <a:pt x="842" y="468"/>
                  </a:lnTo>
                  <a:lnTo>
                    <a:pt x="0" y="4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3" name="Freeform 55"/>
            <p:cNvSpPr>
              <a:spLocks noEditPoints="1"/>
            </p:cNvSpPr>
            <p:nvPr userDrawn="1"/>
          </p:nvSpPr>
          <p:spPr bwMode="auto">
            <a:xfrm>
              <a:off x="1831975" y="6197601"/>
              <a:ext cx="79375" cy="46038"/>
            </a:xfrm>
            <a:custGeom>
              <a:avLst/>
              <a:gdLst/>
              <a:ahLst/>
              <a:cxnLst>
                <a:cxn ang="0">
                  <a:pos x="29" y="50"/>
                </a:cxn>
                <a:cxn ang="0">
                  <a:pos x="27" y="43"/>
                </a:cxn>
                <a:cxn ang="0">
                  <a:pos x="32" y="44"/>
                </a:cxn>
                <a:cxn ang="0">
                  <a:pos x="40" y="50"/>
                </a:cxn>
                <a:cxn ang="0">
                  <a:pos x="250" y="56"/>
                </a:cxn>
                <a:cxn ang="0">
                  <a:pos x="241" y="49"/>
                </a:cxn>
                <a:cxn ang="0">
                  <a:pos x="234" y="39"/>
                </a:cxn>
                <a:cxn ang="0">
                  <a:pos x="224" y="26"/>
                </a:cxn>
                <a:cxn ang="0">
                  <a:pos x="212" y="23"/>
                </a:cxn>
                <a:cxn ang="0">
                  <a:pos x="188" y="27"/>
                </a:cxn>
                <a:cxn ang="0">
                  <a:pos x="182" y="23"/>
                </a:cxn>
                <a:cxn ang="0">
                  <a:pos x="163" y="14"/>
                </a:cxn>
                <a:cxn ang="0">
                  <a:pos x="151" y="9"/>
                </a:cxn>
                <a:cxn ang="0">
                  <a:pos x="128" y="0"/>
                </a:cxn>
                <a:cxn ang="0">
                  <a:pos x="116" y="0"/>
                </a:cxn>
                <a:cxn ang="0">
                  <a:pos x="98" y="3"/>
                </a:cxn>
                <a:cxn ang="0">
                  <a:pos x="87" y="8"/>
                </a:cxn>
                <a:cxn ang="0">
                  <a:pos x="73" y="14"/>
                </a:cxn>
                <a:cxn ang="0">
                  <a:pos x="49" y="27"/>
                </a:cxn>
                <a:cxn ang="0">
                  <a:pos x="35" y="35"/>
                </a:cxn>
                <a:cxn ang="0">
                  <a:pos x="25" y="37"/>
                </a:cxn>
                <a:cxn ang="0">
                  <a:pos x="10" y="38"/>
                </a:cxn>
                <a:cxn ang="0">
                  <a:pos x="0" y="41"/>
                </a:cxn>
                <a:cxn ang="0">
                  <a:pos x="3" y="45"/>
                </a:cxn>
                <a:cxn ang="0">
                  <a:pos x="16" y="45"/>
                </a:cxn>
                <a:cxn ang="0">
                  <a:pos x="22" y="47"/>
                </a:cxn>
                <a:cxn ang="0">
                  <a:pos x="17" y="46"/>
                </a:cxn>
                <a:cxn ang="0">
                  <a:pos x="17" y="52"/>
                </a:cxn>
                <a:cxn ang="0">
                  <a:pos x="9" y="51"/>
                </a:cxn>
                <a:cxn ang="0">
                  <a:pos x="8" y="55"/>
                </a:cxn>
                <a:cxn ang="0">
                  <a:pos x="18" y="58"/>
                </a:cxn>
                <a:cxn ang="0">
                  <a:pos x="33" y="57"/>
                </a:cxn>
                <a:cxn ang="0">
                  <a:pos x="52" y="64"/>
                </a:cxn>
                <a:cxn ang="0">
                  <a:pos x="67" y="73"/>
                </a:cxn>
                <a:cxn ang="0">
                  <a:pos x="71" y="79"/>
                </a:cxn>
                <a:cxn ang="0">
                  <a:pos x="65" y="89"/>
                </a:cxn>
                <a:cxn ang="0">
                  <a:pos x="63" y="97"/>
                </a:cxn>
                <a:cxn ang="0">
                  <a:pos x="62" y="100"/>
                </a:cxn>
                <a:cxn ang="0">
                  <a:pos x="59" y="106"/>
                </a:cxn>
                <a:cxn ang="0">
                  <a:pos x="59" y="113"/>
                </a:cxn>
                <a:cxn ang="0">
                  <a:pos x="57" y="121"/>
                </a:cxn>
                <a:cxn ang="0">
                  <a:pos x="51" y="136"/>
                </a:cxn>
                <a:cxn ang="0">
                  <a:pos x="52" y="139"/>
                </a:cxn>
                <a:cxn ang="0">
                  <a:pos x="55" y="142"/>
                </a:cxn>
                <a:cxn ang="0">
                  <a:pos x="64" y="125"/>
                </a:cxn>
                <a:cxn ang="0">
                  <a:pos x="69" y="127"/>
                </a:cxn>
                <a:cxn ang="0">
                  <a:pos x="82" y="112"/>
                </a:cxn>
                <a:cxn ang="0">
                  <a:pos x="105" y="91"/>
                </a:cxn>
                <a:cxn ang="0">
                  <a:pos x="121" y="77"/>
                </a:cxn>
                <a:cxn ang="0">
                  <a:pos x="149" y="70"/>
                </a:cxn>
                <a:cxn ang="0">
                  <a:pos x="165" y="64"/>
                </a:cxn>
                <a:cxn ang="0">
                  <a:pos x="185" y="55"/>
                </a:cxn>
                <a:cxn ang="0">
                  <a:pos x="199" y="51"/>
                </a:cxn>
                <a:cxn ang="0">
                  <a:pos x="211" y="52"/>
                </a:cxn>
                <a:cxn ang="0">
                  <a:pos x="224" y="55"/>
                </a:cxn>
                <a:cxn ang="0">
                  <a:pos x="236" y="57"/>
                </a:cxn>
                <a:cxn ang="0">
                  <a:pos x="251" y="59"/>
                </a:cxn>
                <a:cxn ang="0">
                  <a:pos x="253" y="58"/>
                </a:cxn>
              </a:cxnLst>
              <a:rect l="0" t="0" r="r" b="b"/>
              <a:pathLst>
                <a:path w="253" h="142">
                  <a:moveTo>
                    <a:pt x="34" y="51"/>
                  </a:moveTo>
                  <a:lnTo>
                    <a:pt x="32" y="51"/>
                  </a:lnTo>
                  <a:lnTo>
                    <a:pt x="29" y="50"/>
                  </a:lnTo>
                  <a:lnTo>
                    <a:pt x="25" y="46"/>
                  </a:lnTo>
                  <a:lnTo>
                    <a:pt x="23" y="44"/>
                  </a:lnTo>
                  <a:lnTo>
                    <a:pt x="27" y="43"/>
                  </a:lnTo>
                  <a:lnTo>
                    <a:pt x="29" y="43"/>
                  </a:lnTo>
                  <a:lnTo>
                    <a:pt x="31" y="44"/>
                  </a:lnTo>
                  <a:lnTo>
                    <a:pt x="32" y="44"/>
                  </a:lnTo>
                  <a:lnTo>
                    <a:pt x="35" y="45"/>
                  </a:lnTo>
                  <a:lnTo>
                    <a:pt x="38" y="47"/>
                  </a:lnTo>
                  <a:lnTo>
                    <a:pt x="40" y="50"/>
                  </a:lnTo>
                  <a:lnTo>
                    <a:pt x="38" y="50"/>
                  </a:lnTo>
                  <a:lnTo>
                    <a:pt x="34" y="51"/>
                  </a:lnTo>
                  <a:close/>
                  <a:moveTo>
                    <a:pt x="250" y="56"/>
                  </a:moveTo>
                  <a:lnTo>
                    <a:pt x="245" y="53"/>
                  </a:lnTo>
                  <a:lnTo>
                    <a:pt x="242" y="51"/>
                  </a:lnTo>
                  <a:lnTo>
                    <a:pt x="241" y="49"/>
                  </a:lnTo>
                  <a:lnTo>
                    <a:pt x="239" y="47"/>
                  </a:lnTo>
                  <a:lnTo>
                    <a:pt x="236" y="44"/>
                  </a:lnTo>
                  <a:lnTo>
                    <a:pt x="234" y="39"/>
                  </a:lnTo>
                  <a:lnTo>
                    <a:pt x="232" y="32"/>
                  </a:lnTo>
                  <a:lnTo>
                    <a:pt x="229" y="29"/>
                  </a:lnTo>
                  <a:lnTo>
                    <a:pt x="224" y="26"/>
                  </a:lnTo>
                  <a:lnTo>
                    <a:pt x="221" y="24"/>
                  </a:lnTo>
                  <a:lnTo>
                    <a:pt x="217" y="23"/>
                  </a:lnTo>
                  <a:lnTo>
                    <a:pt x="212" y="23"/>
                  </a:lnTo>
                  <a:lnTo>
                    <a:pt x="209" y="24"/>
                  </a:lnTo>
                  <a:lnTo>
                    <a:pt x="193" y="26"/>
                  </a:lnTo>
                  <a:lnTo>
                    <a:pt x="188" y="27"/>
                  </a:lnTo>
                  <a:lnTo>
                    <a:pt x="187" y="27"/>
                  </a:lnTo>
                  <a:lnTo>
                    <a:pt x="185" y="24"/>
                  </a:lnTo>
                  <a:lnTo>
                    <a:pt x="182" y="23"/>
                  </a:lnTo>
                  <a:lnTo>
                    <a:pt x="175" y="21"/>
                  </a:lnTo>
                  <a:lnTo>
                    <a:pt x="167" y="17"/>
                  </a:lnTo>
                  <a:lnTo>
                    <a:pt x="163" y="14"/>
                  </a:lnTo>
                  <a:lnTo>
                    <a:pt x="159" y="12"/>
                  </a:lnTo>
                  <a:lnTo>
                    <a:pt x="155" y="10"/>
                  </a:lnTo>
                  <a:lnTo>
                    <a:pt x="151" y="9"/>
                  </a:lnTo>
                  <a:lnTo>
                    <a:pt x="143" y="5"/>
                  </a:lnTo>
                  <a:lnTo>
                    <a:pt x="134" y="3"/>
                  </a:lnTo>
                  <a:lnTo>
                    <a:pt x="128" y="0"/>
                  </a:lnTo>
                  <a:lnTo>
                    <a:pt x="126" y="0"/>
                  </a:lnTo>
                  <a:lnTo>
                    <a:pt x="123" y="0"/>
                  </a:lnTo>
                  <a:lnTo>
                    <a:pt x="116" y="0"/>
                  </a:lnTo>
                  <a:lnTo>
                    <a:pt x="110" y="0"/>
                  </a:lnTo>
                  <a:lnTo>
                    <a:pt x="103" y="2"/>
                  </a:lnTo>
                  <a:lnTo>
                    <a:pt x="98" y="3"/>
                  </a:lnTo>
                  <a:lnTo>
                    <a:pt x="93" y="4"/>
                  </a:lnTo>
                  <a:lnTo>
                    <a:pt x="90" y="6"/>
                  </a:lnTo>
                  <a:lnTo>
                    <a:pt x="87" y="8"/>
                  </a:lnTo>
                  <a:lnTo>
                    <a:pt x="82" y="9"/>
                  </a:lnTo>
                  <a:lnTo>
                    <a:pt x="79" y="10"/>
                  </a:lnTo>
                  <a:lnTo>
                    <a:pt x="73" y="14"/>
                  </a:lnTo>
                  <a:lnTo>
                    <a:pt x="64" y="18"/>
                  </a:lnTo>
                  <a:lnTo>
                    <a:pt x="56" y="22"/>
                  </a:lnTo>
                  <a:lnTo>
                    <a:pt x="49" y="27"/>
                  </a:lnTo>
                  <a:lnTo>
                    <a:pt x="44" y="29"/>
                  </a:lnTo>
                  <a:lnTo>
                    <a:pt x="40" y="33"/>
                  </a:lnTo>
                  <a:lnTo>
                    <a:pt x="35" y="35"/>
                  </a:lnTo>
                  <a:lnTo>
                    <a:pt x="32" y="37"/>
                  </a:lnTo>
                  <a:lnTo>
                    <a:pt x="28" y="37"/>
                  </a:lnTo>
                  <a:lnTo>
                    <a:pt x="25" y="37"/>
                  </a:lnTo>
                  <a:lnTo>
                    <a:pt x="22" y="38"/>
                  </a:lnTo>
                  <a:lnTo>
                    <a:pt x="17" y="38"/>
                  </a:lnTo>
                  <a:lnTo>
                    <a:pt x="10" y="38"/>
                  </a:lnTo>
                  <a:lnTo>
                    <a:pt x="5" y="39"/>
                  </a:lnTo>
                  <a:lnTo>
                    <a:pt x="3" y="40"/>
                  </a:lnTo>
                  <a:lnTo>
                    <a:pt x="0" y="41"/>
                  </a:lnTo>
                  <a:lnTo>
                    <a:pt x="0" y="43"/>
                  </a:lnTo>
                  <a:lnTo>
                    <a:pt x="0" y="44"/>
                  </a:lnTo>
                  <a:lnTo>
                    <a:pt x="3" y="45"/>
                  </a:lnTo>
                  <a:lnTo>
                    <a:pt x="6" y="45"/>
                  </a:lnTo>
                  <a:lnTo>
                    <a:pt x="9" y="45"/>
                  </a:lnTo>
                  <a:lnTo>
                    <a:pt x="16" y="45"/>
                  </a:lnTo>
                  <a:lnTo>
                    <a:pt x="18" y="45"/>
                  </a:lnTo>
                  <a:lnTo>
                    <a:pt x="18" y="46"/>
                  </a:lnTo>
                  <a:lnTo>
                    <a:pt x="22" y="47"/>
                  </a:lnTo>
                  <a:lnTo>
                    <a:pt x="20" y="49"/>
                  </a:lnTo>
                  <a:lnTo>
                    <a:pt x="18" y="46"/>
                  </a:lnTo>
                  <a:lnTo>
                    <a:pt x="17" y="46"/>
                  </a:lnTo>
                  <a:lnTo>
                    <a:pt x="16" y="47"/>
                  </a:lnTo>
                  <a:lnTo>
                    <a:pt x="16" y="50"/>
                  </a:lnTo>
                  <a:lnTo>
                    <a:pt x="17" y="52"/>
                  </a:lnTo>
                  <a:lnTo>
                    <a:pt x="14" y="52"/>
                  </a:lnTo>
                  <a:lnTo>
                    <a:pt x="10" y="52"/>
                  </a:lnTo>
                  <a:lnTo>
                    <a:pt x="9" y="51"/>
                  </a:lnTo>
                  <a:lnTo>
                    <a:pt x="8" y="53"/>
                  </a:lnTo>
                  <a:lnTo>
                    <a:pt x="6" y="55"/>
                  </a:lnTo>
                  <a:lnTo>
                    <a:pt x="8" y="55"/>
                  </a:lnTo>
                  <a:lnTo>
                    <a:pt x="9" y="56"/>
                  </a:lnTo>
                  <a:lnTo>
                    <a:pt x="12" y="57"/>
                  </a:lnTo>
                  <a:lnTo>
                    <a:pt x="18" y="58"/>
                  </a:lnTo>
                  <a:lnTo>
                    <a:pt x="27" y="58"/>
                  </a:lnTo>
                  <a:lnTo>
                    <a:pt x="29" y="58"/>
                  </a:lnTo>
                  <a:lnTo>
                    <a:pt x="33" y="57"/>
                  </a:lnTo>
                  <a:lnTo>
                    <a:pt x="39" y="57"/>
                  </a:lnTo>
                  <a:lnTo>
                    <a:pt x="46" y="57"/>
                  </a:lnTo>
                  <a:lnTo>
                    <a:pt x="52" y="64"/>
                  </a:lnTo>
                  <a:lnTo>
                    <a:pt x="58" y="68"/>
                  </a:lnTo>
                  <a:lnTo>
                    <a:pt x="63" y="71"/>
                  </a:lnTo>
                  <a:lnTo>
                    <a:pt x="67" y="73"/>
                  </a:lnTo>
                  <a:lnTo>
                    <a:pt x="70" y="74"/>
                  </a:lnTo>
                  <a:lnTo>
                    <a:pt x="74" y="75"/>
                  </a:lnTo>
                  <a:lnTo>
                    <a:pt x="71" y="79"/>
                  </a:lnTo>
                  <a:lnTo>
                    <a:pt x="69" y="83"/>
                  </a:lnTo>
                  <a:lnTo>
                    <a:pt x="67" y="88"/>
                  </a:lnTo>
                  <a:lnTo>
                    <a:pt x="65" y="89"/>
                  </a:lnTo>
                  <a:lnTo>
                    <a:pt x="64" y="92"/>
                  </a:lnTo>
                  <a:lnTo>
                    <a:pt x="63" y="95"/>
                  </a:lnTo>
                  <a:lnTo>
                    <a:pt x="63" y="97"/>
                  </a:lnTo>
                  <a:lnTo>
                    <a:pt x="63" y="98"/>
                  </a:lnTo>
                  <a:lnTo>
                    <a:pt x="62" y="99"/>
                  </a:lnTo>
                  <a:lnTo>
                    <a:pt x="62" y="100"/>
                  </a:lnTo>
                  <a:lnTo>
                    <a:pt x="61" y="103"/>
                  </a:lnTo>
                  <a:lnTo>
                    <a:pt x="61" y="105"/>
                  </a:lnTo>
                  <a:lnTo>
                    <a:pt x="59" y="106"/>
                  </a:lnTo>
                  <a:lnTo>
                    <a:pt x="59" y="111"/>
                  </a:lnTo>
                  <a:lnTo>
                    <a:pt x="59" y="112"/>
                  </a:lnTo>
                  <a:lnTo>
                    <a:pt x="59" y="113"/>
                  </a:lnTo>
                  <a:lnTo>
                    <a:pt x="58" y="117"/>
                  </a:lnTo>
                  <a:lnTo>
                    <a:pt x="61" y="117"/>
                  </a:lnTo>
                  <a:lnTo>
                    <a:pt x="57" y="121"/>
                  </a:lnTo>
                  <a:lnTo>
                    <a:pt x="58" y="122"/>
                  </a:lnTo>
                  <a:lnTo>
                    <a:pt x="53" y="131"/>
                  </a:lnTo>
                  <a:lnTo>
                    <a:pt x="51" y="136"/>
                  </a:lnTo>
                  <a:lnTo>
                    <a:pt x="51" y="138"/>
                  </a:lnTo>
                  <a:lnTo>
                    <a:pt x="51" y="139"/>
                  </a:lnTo>
                  <a:lnTo>
                    <a:pt x="52" y="139"/>
                  </a:lnTo>
                  <a:lnTo>
                    <a:pt x="53" y="138"/>
                  </a:lnTo>
                  <a:lnTo>
                    <a:pt x="55" y="136"/>
                  </a:lnTo>
                  <a:lnTo>
                    <a:pt x="55" y="142"/>
                  </a:lnTo>
                  <a:lnTo>
                    <a:pt x="58" y="134"/>
                  </a:lnTo>
                  <a:lnTo>
                    <a:pt x="62" y="130"/>
                  </a:lnTo>
                  <a:lnTo>
                    <a:pt x="64" y="125"/>
                  </a:lnTo>
                  <a:lnTo>
                    <a:pt x="73" y="118"/>
                  </a:lnTo>
                  <a:lnTo>
                    <a:pt x="70" y="121"/>
                  </a:lnTo>
                  <a:lnTo>
                    <a:pt x="69" y="127"/>
                  </a:lnTo>
                  <a:lnTo>
                    <a:pt x="69" y="131"/>
                  </a:lnTo>
                  <a:lnTo>
                    <a:pt x="76" y="121"/>
                  </a:lnTo>
                  <a:lnTo>
                    <a:pt x="82" y="112"/>
                  </a:lnTo>
                  <a:lnTo>
                    <a:pt x="87" y="107"/>
                  </a:lnTo>
                  <a:lnTo>
                    <a:pt x="93" y="101"/>
                  </a:lnTo>
                  <a:lnTo>
                    <a:pt x="105" y="91"/>
                  </a:lnTo>
                  <a:lnTo>
                    <a:pt x="114" y="83"/>
                  </a:lnTo>
                  <a:lnTo>
                    <a:pt x="120" y="79"/>
                  </a:lnTo>
                  <a:lnTo>
                    <a:pt x="121" y="77"/>
                  </a:lnTo>
                  <a:lnTo>
                    <a:pt x="122" y="77"/>
                  </a:lnTo>
                  <a:lnTo>
                    <a:pt x="134" y="74"/>
                  </a:lnTo>
                  <a:lnTo>
                    <a:pt x="149" y="70"/>
                  </a:lnTo>
                  <a:lnTo>
                    <a:pt x="153" y="69"/>
                  </a:lnTo>
                  <a:lnTo>
                    <a:pt x="158" y="67"/>
                  </a:lnTo>
                  <a:lnTo>
                    <a:pt x="165" y="64"/>
                  </a:lnTo>
                  <a:lnTo>
                    <a:pt x="171" y="61"/>
                  </a:lnTo>
                  <a:lnTo>
                    <a:pt x="179" y="57"/>
                  </a:lnTo>
                  <a:lnTo>
                    <a:pt x="185" y="55"/>
                  </a:lnTo>
                  <a:lnTo>
                    <a:pt x="189" y="53"/>
                  </a:lnTo>
                  <a:lnTo>
                    <a:pt x="193" y="51"/>
                  </a:lnTo>
                  <a:lnTo>
                    <a:pt x="199" y="51"/>
                  </a:lnTo>
                  <a:lnTo>
                    <a:pt x="206" y="50"/>
                  </a:lnTo>
                  <a:lnTo>
                    <a:pt x="209" y="51"/>
                  </a:lnTo>
                  <a:lnTo>
                    <a:pt x="211" y="52"/>
                  </a:lnTo>
                  <a:lnTo>
                    <a:pt x="215" y="53"/>
                  </a:lnTo>
                  <a:lnTo>
                    <a:pt x="216" y="55"/>
                  </a:lnTo>
                  <a:lnTo>
                    <a:pt x="224" y="55"/>
                  </a:lnTo>
                  <a:lnTo>
                    <a:pt x="228" y="55"/>
                  </a:lnTo>
                  <a:lnTo>
                    <a:pt x="232" y="56"/>
                  </a:lnTo>
                  <a:lnTo>
                    <a:pt x="236" y="57"/>
                  </a:lnTo>
                  <a:lnTo>
                    <a:pt x="242" y="58"/>
                  </a:lnTo>
                  <a:lnTo>
                    <a:pt x="247" y="59"/>
                  </a:lnTo>
                  <a:lnTo>
                    <a:pt x="251" y="59"/>
                  </a:lnTo>
                  <a:lnTo>
                    <a:pt x="252" y="59"/>
                  </a:lnTo>
                  <a:lnTo>
                    <a:pt x="253" y="59"/>
                  </a:lnTo>
                  <a:lnTo>
                    <a:pt x="253" y="58"/>
                  </a:lnTo>
                  <a:lnTo>
                    <a:pt x="252" y="57"/>
                  </a:lnTo>
                  <a:lnTo>
                    <a:pt x="250" y="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4" name="Freeform 56"/>
            <p:cNvSpPr>
              <a:spLocks/>
            </p:cNvSpPr>
            <p:nvPr userDrawn="1"/>
          </p:nvSpPr>
          <p:spPr bwMode="auto">
            <a:xfrm>
              <a:off x="1838325" y="6211888"/>
              <a:ext cx="6350" cy="1588"/>
            </a:xfrm>
            <a:custGeom>
              <a:avLst/>
              <a:gdLst/>
              <a:ahLst/>
              <a:cxnLst>
                <a:cxn ang="0">
                  <a:pos x="11" y="8"/>
                </a:cxn>
                <a:cxn ang="0">
                  <a:pos x="9" y="8"/>
                </a:cxn>
                <a:cxn ang="0">
                  <a:pos x="6" y="7"/>
                </a:cxn>
                <a:cxn ang="0">
                  <a:pos x="2" y="3"/>
                </a:cxn>
                <a:cxn ang="0">
                  <a:pos x="0" y="1"/>
                </a:cxn>
                <a:cxn ang="0">
                  <a:pos x="4" y="0"/>
                </a:cxn>
                <a:cxn ang="0">
                  <a:pos x="6" y="0"/>
                </a:cxn>
                <a:cxn ang="0">
                  <a:pos x="8" y="1"/>
                </a:cxn>
                <a:cxn ang="0">
                  <a:pos x="9" y="1"/>
                </a:cxn>
                <a:cxn ang="0">
                  <a:pos x="12" y="2"/>
                </a:cxn>
                <a:cxn ang="0">
                  <a:pos x="15" y="4"/>
                </a:cxn>
                <a:cxn ang="0">
                  <a:pos x="17" y="7"/>
                </a:cxn>
                <a:cxn ang="0">
                  <a:pos x="15" y="7"/>
                </a:cxn>
                <a:cxn ang="0">
                  <a:pos x="11" y="8"/>
                </a:cxn>
              </a:cxnLst>
              <a:rect l="0" t="0" r="r" b="b"/>
              <a:pathLst>
                <a:path w="17" h="8">
                  <a:moveTo>
                    <a:pt x="11" y="8"/>
                  </a:moveTo>
                  <a:lnTo>
                    <a:pt x="9" y="8"/>
                  </a:lnTo>
                  <a:lnTo>
                    <a:pt x="6" y="7"/>
                  </a:lnTo>
                  <a:lnTo>
                    <a:pt x="2" y="3"/>
                  </a:lnTo>
                  <a:lnTo>
                    <a:pt x="0" y="1"/>
                  </a:lnTo>
                  <a:lnTo>
                    <a:pt x="4" y="0"/>
                  </a:lnTo>
                  <a:lnTo>
                    <a:pt x="6" y="0"/>
                  </a:lnTo>
                  <a:lnTo>
                    <a:pt x="8" y="1"/>
                  </a:lnTo>
                  <a:lnTo>
                    <a:pt x="9" y="1"/>
                  </a:lnTo>
                  <a:lnTo>
                    <a:pt x="12" y="2"/>
                  </a:lnTo>
                  <a:lnTo>
                    <a:pt x="15" y="4"/>
                  </a:lnTo>
                  <a:lnTo>
                    <a:pt x="17" y="7"/>
                  </a:lnTo>
                  <a:lnTo>
                    <a:pt x="15" y="7"/>
                  </a:lnTo>
                  <a:lnTo>
                    <a:pt x="11" y="8"/>
                  </a:lnTo>
                  <a:close/>
                </a:path>
              </a:pathLst>
            </a:custGeom>
            <a:solidFill>
              <a:srgbClr val="EC002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5" name="Freeform 58"/>
            <p:cNvSpPr>
              <a:spLocks/>
            </p:cNvSpPr>
            <p:nvPr userDrawn="1"/>
          </p:nvSpPr>
          <p:spPr bwMode="auto">
            <a:xfrm>
              <a:off x="101600" y="6461126"/>
              <a:ext cx="5545138" cy="161925"/>
            </a:xfrm>
            <a:custGeom>
              <a:avLst/>
              <a:gdLst/>
              <a:ahLst/>
              <a:cxnLst>
                <a:cxn ang="0">
                  <a:pos x="952" y="322"/>
                </a:cxn>
                <a:cxn ang="0">
                  <a:pos x="2109" y="167"/>
                </a:cxn>
                <a:cxn ang="0">
                  <a:pos x="2773" y="95"/>
                </a:cxn>
                <a:cxn ang="0">
                  <a:pos x="3240" y="70"/>
                </a:cxn>
                <a:cxn ang="0">
                  <a:pos x="3428" y="90"/>
                </a:cxn>
                <a:cxn ang="0">
                  <a:pos x="4139" y="143"/>
                </a:cxn>
                <a:cxn ang="0">
                  <a:pos x="5006" y="190"/>
                </a:cxn>
                <a:cxn ang="0">
                  <a:pos x="5418" y="222"/>
                </a:cxn>
                <a:cxn ang="0">
                  <a:pos x="5653" y="259"/>
                </a:cxn>
                <a:cxn ang="0">
                  <a:pos x="5819" y="270"/>
                </a:cxn>
                <a:cxn ang="0">
                  <a:pos x="6127" y="259"/>
                </a:cxn>
                <a:cxn ang="0">
                  <a:pos x="6563" y="217"/>
                </a:cxn>
                <a:cxn ang="0">
                  <a:pos x="7013" y="148"/>
                </a:cxn>
                <a:cxn ang="0">
                  <a:pos x="7559" y="59"/>
                </a:cxn>
                <a:cxn ang="0">
                  <a:pos x="7853" y="30"/>
                </a:cxn>
                <a:cxn ang="0">
                  <a:pos x="8138" y="35"/>
                </a:cxn>
                <a:cxn ang="0">
                  <a:pos x="8378" y="57"/>
                </a:cxn>
                <a:cxn ang="0">
                  <a:pos x="8621" y="95"/>
                </a:cxn>
                <a:cxn ang="0">
                  <a:pos x="8850" y="148"/>
                </a:cxn>
                <a:cxn ang="0">
                  <a:pos x="9035" y="195"/>
                </a:cxn>
                <a:cxn ang="0">
                  <a:pos x="9266" y="220"/>
                </a:cxn>
                <a:cxn ang="0">
                  <a:pos x="9686" y="223"/>
                </a:cxn>
                <a:cxn ang="0">
                  <a:pos x="10229" y="214"/>
                </a:cxn>
                <a:cxn ang="0">
                  <a:pos x="10335" y="223"/>
                </a:cxn>
                <a:cxn ang="0">
                  <a:pos x="10451" y="223"/>
                </a:cxn>
                <a:cxn ang="0">
                  <a:pos x="10560" y="189"/>
                </a:cxn>
                <a:cxn ang="0">
                  <a:pos x="10781" y="74"/>
                </a:cxn>
                <a:cxn ang="0">
                  <a:pos x="10896" y="24"/>
                </a:cxn>
                <a:cxn ang="0">
                  <a:pos x="10989" y="5"/>
                </a:cxn>
                <a:cxn ang="0">
                  <a:pos x="11240" y="1"/>
                </a:cxn>
                <a:cxn ang="0">
                  <a:pos x="11986" y="44"/>
                </a:cxn>
                <a:cxn ang="0">
                  <a:pos x="12478" y="65"/>
                </a:cxn>
                <a:cxn ang="0">
                  <a:pos x="12785" y="50"/>
                </a:cxn>
                <a:cxn ang="0">
                  <a:pos x="13375" y="26"/>
                </a:cxn>
                <a:cxn ang="0">
                  <a:pos x="14252" y="23"/>
                </a:cxn>
                <a:cxn ang="0">
                  <a:pos x="14761" y="39"/>
                </a:cxn>
                <a:cxn ang="0">
                  <a:pos x="15301" y="72"/>
                </a:cxn>
                <a:cxn ang="0">
                  <a:pos x="15855" y="126"/>
                </a:cxn>
                <a:cxn ang="0">
                  <a:pos x="16411" y="204"/>
                </a:cxn>
                <a:cxn ang="0">
                  <a:pos x="16953" y="311"/>
                </a:cxn>
                <a:cxn ang="0">
                  <a:pos x="17384" y="424"/>
                </a:cxn>
                <a:cxn ang="0">
                  <a:pos x="17461" y="464"/>
                </a:cxn>
                <a:cxn ang="0">
                  <a:pos x="17411" y="481"/>
                </a:cxn>
                <a:cxn ang="0">
                  <a:pos x="17234" y="500"/>
                </a:cxn>
                <a:cxn ang="0">
                  <a:pos x="16606" y="512"/>
                </a:cxn>
                <a:cxn ang="0">
                  <a:pos x="15579" y="493"/>
                </a:cxn>
                <a:cxn ang="0">
                  <a:pos x="13652" y="418"/>
                </a:cxn>
                <a:cxn ang="0">
                  <a:pos x="11826" y="457"/>
                </a:cxn>
                <a:cxn ang="0">
                  <a:pos x="9898" y="467"/>
                </a:cxn>
                <a:cxn ang="0">
                  <a:pos x="7919" y="465"/>
                </a:cxn>
                <a:cxn ang="0">
                  <a:pos x="5941" y="464"/>
                </a:cxn>
                <a:cxn ang="0">
                  <a:pos x="3712" y="464"/>
                </a:cxn>
                <a:cxn ang="0">
                  <a:pos x="1485" y="464"/>
                </a:cxn>
              </a:cxnLst>
              <a:rect l="0" t="0" r="r" b="b"/>
              <a:pathLst>
                <a:path w="17467" h="512">
                  <a:moveTo>
                    <a:pt x="0" y="464"/>
                  </a:moveTo>
                  <a:lnTo>
                    <a:pt x="466" y="393"/>
                  </a:lnTo>
                  <a:lnTo>
                    <a:pt x="952" y="322"/>
                  </a:lnTo>
                  <a:lnTo>
                    <a:pt x="1521" y="243"/>
                  </a:lnTo>
                  <a:lnTo>
                    <a:pt x="1817" y="203"/>
                  </a:lnTo>
                  <a:lnTo>
                    <a:pt x="2109" y="167"/>
                  </a:lnTo>
                  <a:lnTo>
                    <a:pt x="2390" y="133"/>
                  </a:lnTo>
                  <a:lnTo>
                    <a:pt x="2651" y="106"/>
                  </a:lnTo>
                  <a:lnTo>
                    <a:pt x="2773" y="95"/>
                  </a:lnTo>
                  <a:lnTo>
                    <a:pt x="2886" y="85"/>
                  </a:lnTo>
                  <a:lnTo>
                    <a:pt x="3085" y="72"/>
                  </a:lnTo>
                  <a:lnTo>
                    <a:pt x="3240" y="70"/>
                  </a:lnTo>
                  <a:lnTo>
                    <a:pt x="3299" y="72"/>
                  </a:lnTo>
                  <a:lnTo>
                    <a:pt x="3344" y="77"/>
                  </a:lnTo>
                  <a:lnTo>
                    <a:pt x="3428" y="90"/>
                  </a:lnTo>
                  <a:lnTo>
                    <a:pt x="3537" y="102"/>
                  </a:lnTo>
                  <a:lnTo>
                    <a:pt x="3812" y="124"/>
                  </a:lnTo>
                  <a:lnTo>
                    <a:pt x="4139" y="143"/>
                  </a:lnTo>
                  <a:lnTo>
                    <a:pt x="4492" y="161"/>
                  </a:lnTo>
                  <a:lnTo>
                    <a:pt x="4843" y="180"/>
                  </a:lnTo>
                  <a:lnTo>
                    <a:pt x="5006" y="190"/>
                  </a:lnTo>
                  <a:lnTo>
                    <a:pt x="5160" y="199"/>
                  </a:lnTo>
                  <a:lnTo>
                    <a:pt x="5298" y="210"/>
                  </a:lnTo>
                  <a:lnTo>
                    <a:pt x="5418" y="222"/>
                  </a:lnTo>
                  <a:lnTo>
                    <a:pt x="5516" y="234"/>
                  </a:lnTo>
                  <a:lnTo>
                    <a:pt x="5588" y="247"/>
                  </a:lnTo>
                  <a:lnTo>
                    <a:pt x="5653" y="259"/>
                  </a:lnTo>
                  <a:lnTo>
                    <a:pt x="5691" y="264"/>
                  </a:lnTo>
                  <a:lnTo>
                    <a:pt x="5731" y="267"/>
                  </a:lnTo>
                  <a:lnTo>
                    <a:pt x="5819" y="270"/>
                  </a:lnTo>
                  <a:lnTo>
                    <a:pt x="5917" y="270"/>
                  </a:lnTo>
                  <a:lnTo>
                    <a:pt x="6019" y="267"/>
                  </a:lnTo>
                  <a:lnTo>
                    <a:pt x="6127" y="259"/>
                  </a:lnTo>
                  <a:lnTo>
                    <a:pt x="6237" y="251"/>
                  </a:lnTo>
                  <a:lnTo>
                    <a:pt x="6348" y="241"/>
                  </a:lnTo>
                  <a:lnTo>
                    <a:pt x="6563" y="217"/>
                  </a:lnTo>
                  <a:lnTo>
                    <a:pt x="6756" y="191"/>
                  </a:lnTo>
                  <a:lnTo>
                    <a:pt x="6911" y="167"/>
                  </a:lnTo>
                  <a:lnTo>
                    <a:pt x="7013" y="148"/>
                  </a:lnTo>
                  <a:lnTo>
                    <a:pt x="7175" y="116"/>
                  </a:lnTo>
                  <a:lnTo>
                    <a:pt x="7364" y="86"/>
                  </a:lnTo>
                  <a:lnTo>
                    <a:pt x="7559" y="59"/>
                  </a:lnTo>
                  <a:lnTo>
                    <a:pt x="7736" y="37"/>
                  </a:lnTo>
                  <a:lnTo>
                    <a:pt x="7791" y="32"/>
                  </a:lnTo>
                  <a:lnTo>
                    <a:pt x="7853" y="30"/>
                  </a:lnTo>
                  <a:lnTo>
                    <a:pt x="7989" y="29"/>
                  </a:lnTo>
                  <a:lnTo>
                    <a:pt x="8061" y="31"/>
                  </a:lnTo>
                  <a:lnTo>
                    <a:pt x="8138" y="35"/>
                  </a:lnTo>
                  <a:lnTo>
                    <a:pt x="8216" y="41"/>
                  </a:lnTo>
                  <a:lnTo>
                    <a:pt x="8296" y="48"/>
                  </a:lnTo>
                  <a:lnTo>
                    <a:pt x="8378" y="57"/>
                  </a:lnTo>
                  <a:lnTo>
                    <a:pt x="8458" y="68"/>
                  </a:lnTo>
                  <a:lnTo>
                    <a:pt x="8540" y="80"/>
                  </a:lnTo>
                  <a:lnTo>
                    <a:pt x="8621" y="95"/>
                  </a:lnTo>
                  <a:lnTo>
                    <a:pt x="8699" y="110"/>
                  </a:lnTo>
                  <a:lnTo>
                    <a:pt x="8776" y="128"/>
                  </a:lnTo>
                  <a:lnTo>
                    <a:pt x="8850" y="148"/>
                  </a:lnTo>
                  <a:lnTo>
                    <a:pt x="8921" y="168"/>
                  </a:lnTo>
                  <a:lnTo>
                    <a:pt x="8994" y="187"/>
                  </a:lnTo>
                  <a:lnTo>
                    <a:pt x="9035" y="195"/>
                  </a:lnTo>
                  <a:lnTo>
                    <a:pt x="9078" y="202"/>
                  </a:lnTo>
                  <a:lnTo>
                    <a:pt x="9169" y="213"/>
                  </a:lnTo>
                  <a:lnTo>
                    <a:pt x="9266" y="220"/>
                  </a:lnTo>
                  <a:lnTo>
                    <a:pt x="9368" y="223"/>
                  </a:lnTo>
                  <a:lnTo>
                    <a:pt x="9473" y="226"/>
                  </a:lnTo>
                  <a:lnTo>
                    <a:pt x="9686" y="223"/>
                  </a:lnTo>
                  <a:lnTo>
                    <a:pt x="9892" y="219"/>
                  </a:lnTo>
                  <a:lnTo>
                    <a:pt x="10078" y="214"/>
                  </a:lnTo>
                  <a:lnTo>
                    <a:pt x="10229" y="214"/>
                  </a:lnTo>
                  <a:lnTo>
                    <a:pt x="10261" y="215"/>
                  </a:lnTo>
                  <a:lnTo>
                    <a:pt x="10290" y="217"/>
                  </a:lnTo>
                  <a:lnTo>
                    <a:pt x="10335" y="223"/>
                  </a:lnTo>
                  <a:lnTo>
                    <a:pt x="10375" y="228"/>
                  </a:lnTo>
                  <a:lnTo>
                    <a:pt x="10412" y="228"/>
                  </a:lnTo>
                  <a:lnTo>
                    <a:pt x="10451" y="223"/>
                  </a:lnTo>
                  <a:lnTo>
                    <a:pt x="10487" y="215"/>
                  </a:lnTo>
                  <a:lnTo>
                    <a:pt x="10524" y="203"/>
                  </a:lnTo>
                  <a:lnTo>
                    <a:pt x="10560" y="189"/>
                  </a:lnTo>
                  <a:lnTo>
                    <a:pt x="10633" y="154"/>
                  </a:lnTo>
                  <a:lnTo>
                    <a:pt x="10706" y="114"/>
                  </a:lnTo>
                  <a:lnTo>
                    <a:pt x="10781" y="74"/>
                  </a:lnTo>
                  <a:lnTo>
                    <a:pt x="10818" y="56"/>
                  </a:lnTo>
                  <a:lnTo>
                    <a:pt x="10857" y="39"/>
                  </a:lnTo>
                  <a:lnTo>
                    <a:pt x="10896" y="24"/>
                  </a:lnTo>
                  <a:lnTo>
                    <a:pt x="10937" y="13"/>
                  </a:lnTo>
                  <a:lnTo>
                    <a:pt x="10961" y="8"/>
                  </a:lnTo>
                  <a:lnTo>
                    <a:pt x="10989" y="5"/>
                  </a:lnTo>
                  <a:lnTo>
                    <a:pt x="11058" y="0"/>
                  </a:lnTo>
                  <a:lnTo>
                    <a:pt x="11142" y="0"/>
                  </a:lnTo>
                  <a:lnTo>
                    <a:pt x="11240" y="1"/>
                  </a:lnTo>
                  <a:lnTo>
                    <a:pt x="11466" y="12"/>
                  </a:lnTo>
                  <a:lnTo>
                    <a:pt x="11721" y="27"/>
                  </a:lnTo>
                  <a:lnTo>
                    <a:pt x="11986" y="44"/>
                  </a:lnTo>
                  <a:lnTo>
                    <a:pt x="12244" y="59"/>
                  </a:lnTo>
                  <a:lnTo>
                    <a:pt x="12365" y="62"/>
                  </a:lnTo>
                  <a:lnTo>
                    <a:pt x="12478" y="65"/>
                  </a:lnTo>
                  <a:lnTo>
                    <a:pt x="12581" y="64"/>
                  </a:lnTo>
                  <a:lnTo>
                    <a:pt x="12671" y="59"/>
                  </a:lnTo>
                  <a:lnTo>
                    <a:pt x="12785" y="50"/>
                  </a:lnTo>
                  <a:lnTo>
                    <a:pt x="12943" y="42"/>
                  </a:lnTo>
                  <a:lnTo>
                    <a:pt x="13142" y="33"/>
                  </a:lnTo>
                  <a:lnTo>
                    <a:pt x="13375" y="26"/>
                  </a:lnTo>
                  <a:lnTo>
                    <a:pt x="13642" y="21"/>
                  </a:lnTo>
                  <a:lnTo>
                    <a:pt x="13935" y="20"/>
                  </a:lnTo>
                  <a:lnTo>
                    <a:pt x="14252" y="23"/>
                  </a:lnTo>
                  <a:lnTo>
                    <a:pt x="14418" y="26"/>
                  </a:lnTo>
                  <a:lnTo>
                    <a:pt x="14588" y="32"/>
                  </a:lnTo>
                  <a:lnTo>
                    <a:pt x="14761" y="39"/>
                  </a:lnTo>
                  <a:lnTo>
                    <a:pt x="14939" y="48"/>
                  </a:lnTo>
                  <a:lnTo>
                    <a:pt x="15119" y="60"/>
                  </a:lnTo>
                  <a:lnTo>
                    <a:pt x="15301" y="72"/>
                  </a:lnTo>
                  <a:lnTo>
                    <a:pt x="15485" y="88"/>
                  </a:lnTo>
                  <a:lnTo>
                    <a:pt x="15669" y="106"/>
                  </a:lnTo>
                  <a:lnTo>
                    <a:pt x="15855" y="126"/>
                  </a:lnTo>
                  <a:lnTo>
                    <a:pt x="16041" y="150"/>
                  </a:lnTo>
                  <a:lnTo>
                    <a:pt x="16225" y="175"/>
                  </a:lnTo>
                  <a:lnTo>
                    <a:pt x="16411" y="204"/>
                  </a:lnTo>
                  <a:lnTo>
                    <a:pt x="16593" y="237"/>
                  </a:lnTo>
                  <a:lnTo>
                    <a:pt x="16774" y="273"/>
                  </a:lnTo>
                  <a:lnTo>
                    <a:pt x="16953" y="311"/>
                  </a:lnTo>
                  <a:lnTo>
                    <a:pt x="17127" y="353"/>
                  </a:lnTo>
                  <a:lnTo>
                    <a:pt x="17299" y="400"/>
                  </a:lnTo>
                  <a:lnTo>
                    <a:pt x="17384" y="424"/>
                  </a:lnTo>
                  <a:lnTo>
                    <a:pt x="17467" y="449"/>
                  </a:lnTo>
                  <a:lnTo>
                    <a:pt x="17467" y="457"/>
                  </a:lnTo>
                  <a:lnTo>
                    <a:pt x="17461" y="464"/>
                  </a:lnTo>
                  <a:lnTo>
                    <a:pt x="17449" y="470"/>
                  </a:lnTo>
                  <a:lnTo>
                    <a:pt x="17433" y="475"/>
                  </a:lnTo>
                  <a:lnTo>
                    <a:pt x="17411" y="481"/>
                  </a:lnTo>
                  <a:lnTo>
                    <a:pt x="17385" y="485"/>
                  </a:lnTo>
                  <a:lnTo>
                    <a:pt x="17317" y="493"/>
                  </a:lnTo>
                  <a:lnTo>
                    <a:pt x="17234" y="500"/>
                  </a:lnTo>
                  <a:lnTo>
                    <a:pt x="17134" y="505"/>
                  </a:lnTo>
                  <a:lnTo>
                    <a:pt x="16892" y="511"/>
                  </a:lnTo>
                  <a:lnTo>
                    <a:pt x="16606" y="512"/>
                  </a:lnTo>
                  <a:lnTo>
                    <a:pt x="16283" y="508"/>
                  </a:lnTo>
                  <a:lnTo>
                    <a:pt x="15938" y="501"/>
                  </a:lnTo>
                  <a:lnTo>
                    <a:pt x="15579" y="493"/>
                  </a:lnTo>
                  <a:lnTo>
                    <a:pt x="14873" y="470"/>
                  </a:lnTo>
                  <a:lnTo>
                    <a:pt x="14256" y="445"/>
                  </a:lnTo>
                  <a:lnTo>
                    <a:pt x="13652" y="418"/>
                  </a:lnTo>
                  <a:lnTo>
                    <a:pt x="13043" y="430"/>
                  </a:lnTo>
                  <a:lnTo>
                    <a:pt x="12435" y="443"/>
                  </a:lnTo>
                  <a:lnTo>
                    <a:pt x="11826" y="457"/>
                  </a:lnTo>
                  <a:lnTo>
                    <a:pt x="11218" y="470"/>
                  </a:lnTo>
                  <a:lnTo>
                    <a:pt x="10558" y="469"/>
                  </a:lnTo>
                  <a:lnTo>
                    <a:pt x="9898" y="467"/>
                  </a:lnTo>
                  <a:lnTo>
                    <a:pt x="9238" y="466"/>
                  </a:lnTo>
                  <a:lnTo>
                    <a:pt x="8579" y="466"/>
                  </a:lnTo>
                  <a:lnTo>
                    <a:pt x="7919" y="465"/>
                  </a:lnTo>
                  <a:lnTo>
                    <a:pt x="7259" y="465"/>
                  </a:lnTo>
                  <a:lnTo>
                    <a:pt x="6599" y="464"/>
                  </a:lnTo>
                  <a:lnTo>
                    <a:pt x="5941" y="464"/>
                  </a:lnTo>
                  <a:lnTo>
                    <a:pt x="5198" y="464"/>
                  </a:lnTo>
                  <a:lnTo>
                    <a:pt x="4455" y="464"/>
                  </a:lnTo>
                  <a:lnTo>
                    <a:pt x="3712" y="464"/>
                  </a:lnTo>
                  <a:lnTo>
                    <a:pt x="2970" y="464"/>
                  </a:lnTo>
                  <a:lnTo>
                    <a:pt x="2227" y="464"/>
                  </a:lnTo>
                  <a:lnTo>
                    <a:pt x="1485" y="464"/>
                  </a:lnTo>
                  <a:lnTo>
                    <a:pt x="742" y="464"/>
                  </a:lnTo>
                  <a:lnTo>
                    <a:pt x="0" y="46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6" name="Freeform 59"/>
            <p:cNvSpPr>
              <a:spLocks/>
            </p:cNvSpPr>
            <p:nvPr userDrawn="1"/>
          </p:nvSpPr>
          <p:spPr bwMode="auto">
            <a:xfrm>
              <a:off x="2671763" y="6500813"/>
              <a:ext cx="3795713" cy="109538"/>
            </a:xfrm>
            <a:custGeom>
              <a:avLst/>
              <a:gdLst/>
              <a:ahLst/>
              <a:cxnLst>
                <a:cxn ang="0">
                  <a:pos x="89" y="316"/>
                </a:cxn>
                <a:cxn ang="0">
                  <a:pos x="650" y="273"/>
                </a:cxn>
                <a:cxn ang="0">
                  <a:pos x="1233" y="235"/>
                </a:cxn>
                <a:cxn ang="0">
                  <a:pos x="1339" y="232"/>
                </a:cxn>
                <a:cxn ang="0">
                  <a:pos x="1430" y="232"/>
                </a:cxn>
                <a:cxn ang="0">
                  <a:pos x="1872" y="203"/>
                </a:cxn>
                <a:cxn ang="0">
                  <a:pos x="2350" y="173"/>
                </a:cxn>
                <a:cxn ang="0">
                  <a:pos x="2469" y="170"/>
                </a:cxn>
                <a:cxn ang="0">
                  <a:pos x="2563" y="167"/>
                </a:cxn>
                <a:cxn ang="0">
                  <a:pos x="2683" y="151"/>
                </a:cxn>
                <a:cxn ang="0">
                  <a:pos x="2787" y="126"/>
                </a:cxn>
                <a:cxn ang="0">
                  <a:pos x="2923" y="89"/>
                </a:cxn>
                <a:cxn ang="0">
                  <a:pos x="3085" y="60"/>
                </a:cxn>
                <a:cxn ang="0">
                  <a:pos x="3388" y="30"/>
                </a:cxn>
                <a:cxn ang="0">
                  <a:pos x="3543" y="25"/>
                </a:cxn>
                <a:cxn ang="0">
                  <a:pos x="3628" y="33"/>
                </a:cxn>
                <a:cxn ang="0">
                  <a:pos x="3819" y="86"/>
                </a:cxn>
                <a:cxn ang="0">
                  <a:pos x="3991" y="131"/>
                </a:cxn>
                <a:cxn ang="0">
                  <a:pos x="4195" y="169"/>
                </a:cxn>
                <a:cxn ang="0">
                  <a:pos x="4296" y="177"/>
                </a:cxn>
                <a:cxn ang="0">
                  <a:pos x="4384" y="176"/>
                </a:cxn>
                <a:cxn ang="0">
                  <a:pos x="4530" y="154"/>
                </a:cxn>
                <a:cxn ang="0">
                  <a:pos x="4691" y="114"/>
                </a:cxn>
                <a:cxn ang="0">
                  <a:pos x="4784" y="108"/>
                </a:cxn>
                <a:cxn ang="0">
                  <a:pos x="4934" y="94"/>
                </a:cxn>
                <a:cxn ang="0">
                  <a:pos x="5055" y="83"/>
                </a:cxn>
                <a:cxn ang="0">
                  <a:pos x="5086" y="84"/>
                </a:cxn>
                <a:cxn ang="0">
                  <a:pos x="5099" y="72"/>
                </a:cxn>
                <a:cxn ang="0">
                  <a:pos x="5121" y="40"/>
                </a:cxn>
                <a:cxn ang="0">
                  <a:pos x="5144" y="23"/>
                </a:cxn>
                <a:cxn ang="0">
                  <a:pos x="5210" y="4"/>
                </a:cxn>
                <a:cxn ang="0">
                  <a:pos x="5329" y="0"/>
                </a:cxn>
                <a:cxn ang="0">
                  <a:pos x="5945" y="39"/>
                </a:cxn>
                <a:cxn ang="0">
                  <a:pos x="6390" y="68"/>
                </a:cxn>
                <a:cxn ang="0">
                  <a:pos x="6867" y="88"/>
                </a:cxn>
                <a:cxn ang="0">
                  <a:pos x="7097" y="90"/>
                </a:cxn>
                <a:cxn ang="0">
                  <a:pos x="7164" y="82"/>
                </a:cxn>
                <a:cxn ang="0">
                  <a:pos x="7245" y="63"/>
                </a:cxn>
                <a:cxn ang="0">
                  <a:pos x="7334" y="31"/>
                </a:cxn>
                <a:cxn ang="0">
                  <a:pos x="7404" y="16"/>
                </a:cxn>
                <a:cxn ang="0">
                  <a:pos x="7458" y="13"/>
                </a:cxn>
                <a:cxn ang="0">
                  <a:pos x="7621" y="27"/>
                </a:cxn>
                <a:cxn ang="0">
                  <a:pos x="7877" y="39"/>
                </a:cxn>
                <a:cxn ang="0">
                  <a:pos x="8118" y="41"/>
                </a:cxn>
                <a:cxn ang="0">
                  <a:pos x="8450" y="30"/>
                </a:cxn>
                <a:cxn ang="0">
                  <a:pos x="8829" y="10"/>
                </a:cxn>
                <a:cxn ang="0">
                  <a:pos x="9057" y="3"/>
                </a:cxn>
                <a:cxn ang="0">
                  <a:pos x="9828" y="88"/>
                </a:cxn>
                <a:cxn ang="0">
                  <a:pos x="11244" y="257"/>
                </a:cxn>
                <a:cxn ang="0">
                  <a:pos x="11199" y="342"/>
                </a:cxn>
                <a:cxn ang="0">
                  <a:pos x="9691" y="339"/>
                </a:cxn>
                <a:cxn ang="0">
                  <a:pos x="8185" y="338"/>
                </a:cxn>
                <a:cxn ang="0">
                  <a:pos x="6679" y="336"/>
                </a:cxn>
                <a:cxn ang="0">
                  <a:pos x="5411" y="334"/>
                </a:cxn>
                <a:cxn ang="0">
                  <a:pos x="4383" y="332"/>
                </a:cxn>
                <a:cxn ang="0">
                  <a:pos x="3353" y="331"/>
                </a:cxn>
                <a:cxn ang="0">
                  <a:pos x="2325" y="328"/>
                </a:cxn>
                <a:cxn ang="0">
                  <a:pos x="1143" y="326"/>
                </a:cxn>
                <a:cxn ang="0">
                  <a:pos x="0" y="322"/>
                </a:cxn>
              </a:cxnLst>
              <a:rect l="0" t="0" r="r" b="b"/>
              <a:pathLst>
                <a:path w="11952" h="343">
                  <a:moveTo>
                    <a:pt x="0" y="322"/>
                  </a:moveTo>
                  <a:lnTo>
                    <a:pt x="89" y="316"/>
                  </a:lnTo>
                  <a:lnTo>
                    <a:pt x="241" y="306"/>
                  </a:lnTo>
                  <a:lnTo>
                    <a:pt x="650" y="273"/>
                  </a:lnTo>
                  <a:lnTo>
                    <a:pt x="1070" y="243"/>
                  </a:lnTo>
                  <a:lnTo>
                    <a:pt x="1233" y="235"/>
                  </a:lnTo>
                  <a:lnTo>
                    <a:pt x="1294" y="232"/>
                  </a:lnTo>
                  <a:lnTo>
                    <a:pt x="1339" y="232"/>
                  </a:lnTo>
                  <a:lnTo>
                    <a:pt x="1380" y="233"/>
                  </a:lnTo>
                  <a:lnTo>
                    <a:pt x="1430" y="232"/>
                  </a:lnTo>
                  <a:lnTo>
                    <a:pt x="1556" y="226"/>
                  </a:lnTo>
                  <a:lnTo>
                    <a:pt x="1872" y="203"/>
                  </a:lnTo>
                  <a:lnTo>
                    <a:pt x="2205" y="181"/>
                  </a:lnTo>
                  <a:lnTo>
                    <a:pt x="2350" y="173"/>
                  </a:lnTo>
                  <a:lnTo>
                    <a:pt x="2414" y="171"/>
                  </a:lnTo>
                  <a:lnTo>
                    <a:pt x="2469" y="170"/>
                  </a:lnTo>
                  <a:lnTo>
                    <a:pt x="2519" y="170"/>
                  </a:lnTo>
                  <a:lnTo>
                    <a:pt x="2563" y="167"/>
                  </a:lnTo>
                  <a:lnTo>
                    <a:pt x="2645" y="157"/>
                  </a:lnTo>
                  <a:lnTo>
                    <a:pt x="2683" y="151"/>
                  </a:lnTo>
                  <a:lnTo>
                    <a:pt x="2719" y="143"/>
                  </a:lnTo>
                  <a:lnTo>
                    <a:pt x="2787" y="126"/>
                  </a:lnTo>
                  <a:lnTo>
                    <a:pt x="2854" y="107"/>
                  </a:lnTo>
                  <a:lnTo>
                    <a:pt x="2923" y="89"/>
                  </a:lnTo>
                  <a:lnTo>
                    <a:pt x="2999" y="74"/>
                  </a:lnTo>
                  <a:lnTo>
                    <a:pt x="3085" y="60"/>
                  </a:lnTo>
                  <a:lnTo>
                    <a:pt x="3252" y="42"/>
                  </a:lnTo>
                  <a:lnTo>
                    <a:pt x="3388" y="30"/>
                  </a:lnTo>
                  <a:lnTo>
                    <a:pt x="3498" y="25"/>
                  </a:lnTo>
                  <a:lnTo>
                    <a:pt x="3543" y="25"/>
                  </a:lnTo>
                  <a:lnTo>
                    <a:pt x="3584" y="27"/>
                  </a:lnTo>
                  <a:lnTo>
                    <a:pt x="3628" y="33"/>
                  </a:lnTo>
                  <a:lnTo>
                    <a:pt x="3682" y="46"/>
                  </a:lnTo>
                  <a:lnTo>
                    <a:pt x="3819" y="86"/>
                  </a:lnTo>
                  <a:lnTo>
                    <a:pt x="3901" y="108"/>
                  </a:lnTo>
                  <a:lnTo>
                    <a:pt x="3991" y="131"/>
                  </a:lnTo>
                  <a:lnTo>
                    <a:pt x="4090" y="152"/>
                  </a:lnTo>
                  <a:lnTo>
                    <a:pt x="4195" y="169"/>
                  </a:lnTo>
                  <a:lnTo>
                    <a:pt x="4247" y="175"/>
                  </a:lnTo>
                  <a:lnTo>
                    <a:pt x="4296" y="177"/>
                  </a:lnTo>
                  <a:lnTo>
                    <a:pt x="4342" y="177"/>
                  </a:lnTo>
                  <a:lnTo>
                    <a:pt x="4384" y="176"/>
                  </a:lnTo>
                  <a:lnTo>
                    <a:pt x="4461" y="167"/>
                  </a:lnTo>
                  <a:lnTo>
                    <a:pt x="4530" y="154"/>
                  </a:lnTo>
                  <a:lnTo>
                    <a:pt x="4643" y="125"/>
                  </a:lnTo>
                  <a:lnTo>
                    <a:pt x="4691" y="114"/>
                  </a:lnTo>
                  <a:lnTo>
                    <a:pt x="4737" y="111"/>
                  </a:lnTo>
                  <a:lnTo>
                    <a:pt x="4784" y="108"/>
                  </a:lnTo>
                  <a:lnTo>
                    <a:pt x="4833" y="105"/>
                  </a:lnTo>
                  <a:lnTo>
                    <a:pt x="4934" y="94"/>
                  </a:lnTo>
                  <a:lnTo>
                    <a:pt x="5021" y="84"/>
                  </a:lnTo>
                  <a:lnTo>
                    <a:pt x="5055" y="83"/>
                  </a:lnTo>
                  <a:lnTo>
                    <a:pt x="5079" y="83"/>
                  </a:lnTo>
                  <a:lnTo>
                    <a:pt x="5086" y="84"/>
                  </a:lnTo>
                  <a:lnTo>
                    <a:pt x="5092" y="82"/>
                  </a:lnTo>
                  <a:lnTo>
                    <a:pt x="5099" y="72"/>
                  </a:lnTo>
                  <a:lnTo>
                    <a:pt x="5107" y="57"/>
                  </a:lnTo>
                  <a:lnTo>
                    <a:pt x="5121" y="40"/>
                  </a:lnTo>
                  <a:lnTo>
                    <a:pt x="5130" y="31"/>
                  </a:lnTo>
                  <a:lnTo>
                    <a:pt x="5144" y="23"/>
                  </a:lnTo>
                  <a:lnTo>
                    <a:pt x="5182" y="10"/>
                  </a:lnTo>
                  <a:lnTo>
                    <a:pt x="5210" y="4"/>
                  </a:lnTo>
                  <a:lnTo>
                    <a:pt x="5242" y="1"/>
                  </a:lnTo>
                  <a:lnTo>
                    <a:pt x="5329" y="0"/>
                  </a:lnTo>
                  <a:lnTo>
                    <a:pt x="5604" y="17"/>
                  </a:lnTo>
                  <a:lnTo>
                    <a:pt x="5945" y="39"/>
                  </a:lnTo>
                  <a:lnTo>
                    <a:pt x="6244" y="59"/>
                  </a:lnTo>
                  <a:lnTo>
                    <a:pt x="6390" y="68"/>
                  </a:lnTo>
                  <a:lnTo>
                    <a:pt x="6657" y="80"/>
                  </a:lnTo>
                  <a:lnTo>
                    <a:pt x="6867" y="88"/>
                  </a:lnTo>
                  <a:lnTo>
                    <a:pt x="7058" y="92"/>
                  </a:lnTo>
                  <a:lnTo>
                    <a:pt x="7097" y="90"/>
                  </a:lnTo>
                  <a:lnTo>
                    <a:pt x="7133" y="87"/>
                  </a:lnTo>
                  <a:lnTo>
                    <a:pt x="7164" y="82"/>
                  </a:lnTo>
                  <a:lnTo>
                    <a:pt x="7193" y="77"/>
                  </a:lnTo>
                  <a:lnTo>
                    <a:pt x="7245" y="63"/>
                  </a:lnTo>
                  <a:lnTo>
                    <a:pt x="7290" y="47"/>
                  </a:lnTo>
                  <a:lnTo>
                    <a:pt x="7334" y="31"/>
                  </a:lnTo>
                  <a:lnTo>
                    <a:pt x="7378" y="19"/>
                  </a:lnTo>
                  <a:lnTo>
                    <a:pt x="7404" y="16"/>
                  </a:lnTo>
                  <a:lnTo>
                    <a:pt x="7430" y="13"/>
                  </a:lnTo>
                  <a:lnTo>
                    <a:pt x="7458" y="13"/>
                  </a:lnTo>
                  <a:lnTo>
                    <a:pt x="7490" y="16"/>
                  </a:lnTo>
                  <a:lnTo>
                    <a:pt x="7621" y="27"/>
                  </a:lnTo>
                  <a:lnTo>
                    <a:pt x="7750" y="35"/>
                  </a:lnTo>
                  <a:lnTo>
                    <a:pt x="7877" y="39"/>
                  </a:lnTo>
                  <a:lnTo>
                    <a:pt x="8000" y="41"/>
                  </a:lnTo>
                  <a:lnTo>
                    <a:pt x="8118" y="41"/>
                  </a:lnTo>
                  <a:lnTo>
                    <a:pt x="8233" y="39"/>
                  </a:lnTo>
                  <a:lnTo>
                    <a:pt x="8450" y="30"/>
                  </a:lnTo>
                  <a:lnTo>
                    <a:pt x="8650" y="19"/>
                  </a:lnTo>
                  <a:lnTo>
                    <a:pt x="8829" y="10"/>
                  </a:lnTo>
                  <a:lnTo>
                    <a:pt x="8986" y="3"/>
                  </a:lnTo>
                  <a:lnTo>
                    <a:pt x="9057" y="3"/>
                  </a:lnTo>
                  <a:lnTo>
                    <a:pt x="9120" y="4"/>
                  </a:lnTo>
                  <a:lnTo>
                    <a:pt x="9828" y="88"/>
                  </a:lnTo>
                  <a:lnTo>
                    <a:pt x="10536" y="173"/>
                  </a:lnTo>
                  <a:lnTo>
                    <a:pt x="11244" y="257"/>
                  </a:lnTo>
                  <a:lnTo>
                    <a:pt x="11952" y="343"/>
                  </a:lnTo>
                  <a:lnTo>
                    <a:pt x="11199" y="342"/>
                  </a:lnTo>
                  <a:lnTo>
                    <a:pt x="10445" y="340"/>
                  </a:lnTo>
                  <a:lnTo>
                    <a:pt x="9691" y="339"/>
                  </a:lnTo>
                  <a:lnTo>
                    <a:pt x="8939" y="339"/>
                  </a:lnTo>
                  <a:lnTo>
                    <a:pt x="8185" y="338"/>
                  </a:lnTo>
                  <a:lnTo>
                    <a:pt x="7432" y="337"/>
                  </a:lnTo>
                  <a:lnTo>
                    <a:pt x="6679" y="336"/>
                  </a:lnTo>
                  <a:lnTo>
                    <a:pt x="5926" y="336"/>
                  </a:lnTo>
                  <a:lnTo>
                    <a:pt x="5411" y="334"/>
                  </a:lnTo>
                  <a:lnTo>
                    <a:pt x="4897" y="333"/>
                  </a:lnTo>
                  <a:lnTo>
                    <a:pt x="4383" y="332"/>
                  </a:lnTo>
                  <a:lnTo>
                    <a:pt x="3869" y="332"/>
                  </a:lnTo>
                  <a:lnTo>
                    <a:pt x="3353" y="331"/>
                  </a:lnTo>
                  <a:lnTo>
                    <a:pt x="2839" y="330"/>
                  </a:lnTo>
                  <a:lnTo>
                    <a:pt x="2325" y="328"/>
                  </a:lnTo>
                  <a:lnTo>
                    <a:pt x="1811" y="328"/>
                  </a:lnTo>
                  <a:lnTo>
                    <a:pt x="1143" y="326"/>
                  </a:lnTo>
                  <a:lnTo>
                    <a:pt x="476" y="325"/>
                  </a:lnTo>
                  <a:lnTo>
                    <a:pt x="0" y="3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7" name="Freeform 60"/>
            <p:cNvSpPr>
              <a:spLocks/>
            </p:cNvSpPr>
            <p:nvPr userDrawn="1"/>
          </p:nvSpPr>
          <p:spPr bwMode="auto">
            <a:xfrm>
              <a:off x="2855913" y="6235701"/>
              <a:ext cx="196850" cy="284163"/>
            </a:xfrm>
            <a:custGeom>
              <a:avLst/>
              <a:gdLst/>
              <a:ahLst/>
              <a:cxnLst>
                <a:cxn ang="0">
                  <a:pos x="336" y="75"/>
                </a:cxn>
                <a:cxn ang="0">
                  <a:pos x="372" y="134"/>
                </a:cxn>
                <a:cxn ang="0">
                  <a:pos x="412" y="165"/>
                </a:cxn>
                <a:cxn ang="0">
                  <a:pos x="391" y="195"/>
                </a:cxn>
                <a:cxn ang="0">
                  <a:pos x="426" y="262"/>
                </a:cxn>
                <a:cxn ang="0">
                  <a:pos x="454" y="326"/>
                </a:cxn>
                <a:cxn ang="0">
                  <a:pos x="448" y="345"/>
                </a:cxn>
                <a:cxn ang="0">
                  <a:pos x="514" y="387"/>
                </a:cxn>
                <a:cxn ang="0">
                  <a:pos x="491" y="405"/>
                </a:cxn>
                <a:cxn ang="0">
                  <a:pos x="518" y="419"/>
                </a:cxn>
                <a:cxn ang="0">
                  <a:pos x="490" y="433"/>
                </a:cxn>
                <a:cxn ang="0">
                  <a:pos x="477" y="450"/>
                </a:cxn>
                <a:cxn ang="0">
                  <a:pos x="534" y="466"/>
                </a:cxn>
                <a:cxn ang="0">
                  <a:pos x="540" y="479"/>
                </a:cxn>
                <a:cxn ang="0">
                  <a:pos x="563" y="506"/>
                </a:cxn>
                <a:cxn ang="0">
                  <a:pos x="533" y="530"/>
                </a:cxn>
                <a:cxn ang="0">
                  <a:pos x="518" y="554"/>
                </a:cxn>
                <a:cxn ang="0">
                  <a:pos x="480" y="564"/>
                </a:cxn>
                <a:cxn ang="0">
                  <a:pos x="454" y="565"/>
                </a:cxn>
                <a:cxn ang="0">
                  <a:pos x="467" y="587"/>
                </a:cxn>
                <a:cxn ang="0">
                  <a:pos x="525" y="601"/>
                </a:cxn>
                <a:cxn ang="0">
                  <a:pos x="558" y="621"/>
                </a:cxn>
                <a:cxn ang="0">
                  <a:pos x="561" y="652"/>
                </a:cxn>
                <a:cxn ang="0">
                  <a:pos x="567" y="666"/>
                </a:cxn>
                <a:cxn ang="0">
                  <a:pos x="554" y="682"/>
                </a:cxn>
                <a:cxn ang="0">
                  <a:pos x="598" y="698"/>
                </a:cxn>
                <a:cxn ang="0">
                  <a:pos x="581" y="732"/>
                </a:cxn>
                <a:cxn ang="0">
                  <a:pos x="542" y="734"/>
                </a:cxn>
                <a:cxn ang="0">
                  <a:pos x="507" y="781"/>
                </a:cxn>
                <a:cxn ang="0">
                  <a:pos x="456" y="806"/>
                </a:cxn>
                <a:cxn ang="0">
                  <a:pos x="373" y="813"/>
                </a:cxn>
                <a:cxn ang="0">
                  <a:pos x="282" y="824"/>
                </a:cxn>
                <a:cxn ang="0">
                  <a:pos x="189" y="827"/>
                </a:cxn>
                <a:cxn ang="0">
                  <a:pos x="129" y="865"/>
                </a:cxn>
                <a:cxn ang="0">
                  <a:pos x="47" y="807"/>
                </a:cxn>
                <a:cxn ang="0">
                  <a:pos x="64" y="758"/>
                </a:cxn>
                <a:cxn ang="0">
                  <a:pos x="41" y="701"/>
                </a:cxn>
                <a:cxn ang="0">
                  <a:pos x="114" y="706"/>
                </a:cxn>
                <a:cxn ang="0">
                  <a:pos x="97" y="668"/>
                </a:cxn>
                <a:cxn ang="0">
                  <a:pos x="56" y="647"/>
                </a:cxn>
                <a:cxn ang="0">
                  <a:pos x="79" y="606"/>
                </a:cxn>
                <a:cxn ang="0">
                  <a:pos x="95" y="588"/>
                </a:cxn>
                <a:cxn ang="0">
                  <a:pos x="153" y="568"/>
                </a:cxn>
                <a:cxn ang="0">
                  <a:pos x="126" y="541"/>
                </a:cxn>
                <a:cxn ang="0">
                  <a:pos x="105" y="521"/>
                </a:cxn>
                <a:cxn ang="0">
                  <a:pos x="48" y="511"/>
                </a:cxn>
                <a:cxn ang="0">
                  <a:pos x="77" y="464"/>
                </a:cxn>
                <a:cxn ang="0">
                  <a:pos x="90" y="422"/>
                </a:cxn>
                <a:cxn ang="0">
                  <a:pos x="154" y="390"/>
                </a:cxn>
                <a:cxn ang="0">
                  <a:pos x="117" y="385"/>
                </a:cxn>
                <a:cxn ang="0">
                  <a:pos x="151" y="337"/>
                </a:cxn>
                <a:cxn ang="0">
                  <a:pos x="155" y="332"/>
                </a:cxn>
                <a:cxn ang="0">
                  <a:pos x="238" y="289"/>
                </a:cxn>
                <a:cxn ang="0">
                  <a:pos x="196" y="261"/>
                </a:cxn>
                <a:cxn ang="0">
                  <a:pos x="196" y="178"/>
                </a:cxn>
                <a:cxn ang="0">
                  <a:pos x="230" y="167"/>
                </a:cxn>
                <a:cxn ang="0">
                  <a:pos x="202" y="125"/>
                </a:cxn>
                <a:cxn ang="0">
                  <a:pos x="266" y="113"/>
                </a:cxn>
                <a:cxn ang="0">
                  <a:pos x="243" y="80"/>
                </a:cxn>
                <a:cxn ang="0">
                  <a:pos x="268" y="83"/>
                </a:cxn>
                <a:cxn ang="0">
                  <a:pos x="259" y="64"/>
                </a:cxn>
                <a:cxn ang="0">
                  <a:pos x="285" y="30"/>
                </a:cxn>
                <a:cxn ang="0">
                  <a:pos x="294" y="30"/>
                </a:cxn>
              </a:cxnLst>
              <a:rect l="0" t="0" r="r" b="b"/>
              <a:pathLst>
                <a:path w="622" h="896">
                  <a:moveTo>
                    <a:pt x="310" y="15"/>
                  </a:moveTo>
                  <a:lnTo>
                    <a:pt x="313" y="10"/>
                  </a:lnTo>
                  <a:lnTo>
                    <a:pt x="316" y="0"/>
                  </a:lnTo>
                  <a:lnTo>
                    <a:pt x="315" y="5"/>
                  </a:lnTo>
                  <a:lnTo>
                    <a:pt x="314" y="10"/>
                  </a:lnTo>
                  <a:lnTo>
                    <a:pt x="310" y="15"/>
                  </a:lnTo>
                  <a:lnTo>
                    <a:pt x="310" y="17"/>
                  </a:lnTo>
                  <a:lnTo>
                    <a:pt x="314" y="12"/>
                  </a:lnTo>
                  <a:lnTo>
                    <a:pt x="315" y="12"/>
                  </a:lnTo>
                  <a:lnTo>
                    <a:pt x="313" y="17"/>
                  </a:lnTo>
                  <a:lnTo>
                    <a:pt x="313" y="18"/>
                  </a:lnTo>
                  <a:lnTo>
                    <a:pt x="321" y="15"/>
                  </a:lnTo>
                  <a:lnTo>
                    <a:pt x="310" y="21"/>
                  </a:lnTo>
                  <a:lnTo>
                    <a:pt x="312" y="22"/>
                  </a:lnTo>
                  <a:lnTo>
                    <a:pt x="312" y="23"/>
                  </a:lnTo>
                  <a:lnTo>
                    <a:pt x="315" y="20"/>
                  </a:lnTo>
                  <a:lnTo>
                    <a:pt x="316" y="21"/>
                  </a:lnTo>
                  <a:lnTo>
                    <a:pt x="313" y="24"/>
                  </a:lnTo>
                  <a:lnTo>
                    <a:pt x="319" y="24"/>
                  </a:lnTo>
                  <a:lnTo>
                    <a:pt x="319" y="26"/>
                  </a:lnTo>
                  <a:lnTo>
                    <a:pt x="313" y="26"/>
                  </a:lnTo>
                  <a:lnTo>
                    <a:pt x="312" y="27"/>
                  </a:lnTo>
                  <a:lnTo>
                    <a:pt x="312" y="29"/>
                  </a:lnTo>
                  <a:lnTo>
                    <a:pt x="318" y="29"/>
                  </a:lnTo>
                  <a:lnTo>
                    <a:pt x="316" y="30"/>
                  </a:lnTo>
                  <a:lnTo>
                    <a:pt x="312" y="30"/>
                  </a:lnTo>
                  <a:lnTo>
                    <a:pt x="315" y="32"/>
                  </a:lnTo>
                  <a:lnTo>
                    <a:pt x="312" y="32"/>
                  </a:lnTo>
                  <a:lnTo>
                    <a:pt x="312" y="33"/>
                  </a:lnTo>
                  <a:lnTo>
                    <a:pt x="314" y="33"/>
                  </a:lnTo>
                  <a:lnTo>
                    <a:pt x="314" y="32"/>
                  </a:lnTo>
                  <a:lnTo>
                    <a:pt x="315" y="33"/>
                  </a:lnTo>
                  <a:lnTo>
                    <a:pt x="316" y="33"/>
                  </a:lnTo>
                  <a:lnTo>
                    <a:pt x="319" y="28"/>
                  </a:lnTo>
                  <a:lnTo>
                    <a:pt x="318" y="33"/>
                  </a:lnTo>
                  <a:lnTo>
                    <a:pt x="319" y="33"/>
                  </a:lnTo>
                  <a:lnTo>
                    <a:pt x="321" y="32"/>
                  </a:lnTo>
                  <a:lnTo>
                    <a:pt x="321" y="33"/>
                  </a:lnTo>
                  <a:lnTo>
                    <a:pt x="320" y="33"/>
                  </a:lnTo>
                  <a:lnTo>
                    <a:pt x="318" y="34"/>
                  </a:lnTo>
                  <a:lnTo>
                    <a:pt x="318" y="35"/>
                  </a:lnTo>
                  <a:lnTo>
                    <a:pt x="320" y="34"/>
                  </a:lnTo>
                  <a:lnTo>
                    <a:pt x="320" y="35"/>
                  </a:lnTo>
                  <a:lnTo>
                    <a:pt x="316" y="36"/>
                  </a:lnTo>
                  <a:lnTo>
                    <a:pt x="318" y="38"/>
                  </a:lnTo>
                  <a:lnTo>
                    <a:pt x="319" y="39"/>
                  </a:lnTo>
                  <a:lnTo>
                    <a:pt x="320" y="36"/>
                  </a:lnTo>
                  <a:lnTo>
                    <a:pt x="326" y="33"/>
                  </a:lnTo>
                  <a:lnTo>
                    <a:pt x="325" y="35"/>
                  </a:lnTo>
                  <a:lnTo>
                    <a:pt x="327" y="36"/>
                  </a:lnTo>
                  <a:lnTo>
                    <a:pt x="330" y="35"/>
                  </a:lnTo>
                  <a:lnTo>
                    <a:pt x="328" y="36"/>
                  </a:lnTo>
                  <a:lnTo>
                    <a:pt x="324" y="38"/>
                  </a:lnTo>
                  <a:lnTo>
                    <a:pt x="322" y="38"/>
                  </a:lnTo>
                  <a:lnTo>
                    <a:pt x="327" y="41"/>
                  </a:lnTo>
                  <a:lnTo>
                    <a:pt x="321" y="39"/>
                  </a:lnTo>
                  <a:lnTo>
                    <a:pt x="322" y="40"/>
                  </a:lnTo>
                  <a:lnTo>
                    <a:pt x="320" y="39"/>
                  </a:lnTo>
                  <a:lnTo>
                    <a:pt x="319" y="40"/>
                  </a:lnTo>
                  <a:lnTo>
                    <a:pt x="318" y="40"/>
                  </a:lnTo>
                  <a:lnTo>
                    <a:pt x="319" y="42"/>
                  </a:lnTo>
                  <a:lnTo>
                    <a:pt x="316" y="40"/>
                  </a:lnTo>
                  <a:lnTo>
                    <a:pt x="310" y="44"/>
                  </a:lnTo>
                  <a:lnTo>
                    <a:pt x="309" y="46"/>
                  </a:lnTo>
                  <a:lnTo>
                    <a:pt x="312" y="47"/>
                  </a:lnTo>
                  <a:lnTo>
                    <a:pt x="314" y="46"/>
                  </a:lnTo>
                  <a:lnTo>
                    <a:pt x="315" y="45"/>
                  </a:lnTo>
                  <a:lnTo>
                    <a:pt x="315" y="46"/>
                  </a:lnTo>
                  <a:lnTo>
                    <a:pt x="319" y="46"/>
                  </a:lnTo>
                  <a:lnTo>
                    <a:pt x="321" y="44"/>
                  </a:lnTo>
                  <a:lnTo>
                    <a:pt x="320" y="47"/>
                  </a:lnTo>
                  <a:lnTo>
                    <a:pt x="325" y="47"/>
                  </a:lnTo>
                  <a:lnTo>
                    <a:pt x="324" y="48"/>
                  </a:lnTo>
                  <a:lnTo>
                    <a:pt x="320" y="48"/>
                  </a:lnTo>
                  <a:lnTo>
                    <a:pt x="321" y="51"/>
                  </a:lnTo>
                  <a:lnTo>
                    <a:pt x="318" y="48"/>
                  </a:lnTo>
                  <a:lnTo>
                    <a:pt x="316" y="48"/>
                  </a:lnTo>
                  <a:lnTo>
                    <a:pt x="315" y="48"/>
                  </a:lnTo>
                  <a:lnTo>
                    <a:pt x="313" y="48"/>
                  </a:lnTo>
                  <a:lnTo>
                    <a:pt x="314" y="50"/>
                  </a:lnTo>
                  <a:lnTo>
                    <a:pt x="318" y="50"/>
                  </a:lnTo>
                  <a:lnTo>
                    <a:pt x="315" y="51"/>
                  </a:lnTo>
                  <a:lnTo>
                    <a:pt x="316" y="51"/>
                  </a:lnTo>
                  <a:lnTo>
                    <a:pt x="319" y="53"/>
                  </a:lnTo>
                  <a:lnTo>
                    <a:pt x="315" y="53"/>
                  </a:lnTo>
                  <a:lnTo>
                    <a:pt x="315" y="54"/>
                  </a:lnTo>
                  <a:lnTo>
                    <a:pt x="320" y="58"/>
                  </a:lnTo>
                  <a:lnTo>
                    <a:pt x="320" y="59"/>
                  </a:lnTo>
                  <a:lnTo>
                    <a:pt x="318" y="59"/>
                  </a:lnTo>
                  <a:lnTo>
                    <a:pt x="318" y="60"/>
                  </a:lnTo>
                  <a:lnTo>
                    <a:pt x="318" y="62"/>
                  </a:lnTo>
                  <a:lnTo>
                    <a:pt x="316" y="62"/>
                  </a:lnTo>
                  <a:lnTo>
                    <a:pt x="315" y="62"/>
                  </a:lnTo>
                  <a:lnTo>
                    <a:pt x="315" y="63"/>
                  </a:lnTo>
                  <a:lnTo>
                    <a:pt x="319" y="63"/>
                  </a:lnTo>
                  <a:lnTo>
                    <a:pt x="321" y="62"/>
                  </a:lnTo>
                  <a:lnTo>
                    <a:pt x="320" y="63"/>
                  </a:lnTo>
                  <a:lnTo>
                    <a:pt x="321" y="66"/>
                  </a:lnTo>
                  <a:lnTo>
                    <a:pt x="320" y="66"/>
                  </a:lnTo>
                  <a:lnTo>
                    <a:pt x="319" y="64"/>
                  </a:lnTo>
                  <a:lnTo>
                    <a:pt x="316" y="64"/>
                  </a:lnTo>
                  <a:lnTo>
                    <a:pt x="318" y="66"/>
                  </a:lnTo>
                  <a:lnTo>
                    <a:pt x="321" y="69"/>
                  </a:lnTo>
                  <a:lnTo>
                    <a:pt x="326" y="71"/>
                  </a:lnTo>
                  <a:lnTo>
                    <a:pt x="333" y="75"/>
                  </a:lnTo>
                  <a:lnTo>
                    <a:pt x="336" y="75"/>
                  </a:lnTo>
                  <a:lnTo>
                    <a:pt x="334" y="76"/>
                  </a:lnTo>
                  <a:lnTo>
                    <a:pt x="336" y="76"/>
                  </a:lnTo>
                  <a:lnTo>
                    <a:pt x="339" y="75"/>
                  </a:lnTo>
                  <a:lnTo>
                    <a:pt x="337" y="76"/>
                  </a:lnTo>
                  <a:lnTo>
                    <a:pt x="342" y="78"/>
                  </a:lnTo>
                  <a:lnTo>
                    <a:pt x="342" y="80"/>
                  </a:lnTo>
                  <a:lnTo>
                    <a:pt x="334" y="78"/>
                  </a:lnTo>
                  <a:lnTo>
                    <a:pt x="336" y="80"/>
                  </a:lnTo>
                  <a:lnTo>
                    <a:pt x="336" y="82"/>
                  </a:lnTo>
                  <a:lnTo>
                    <a:pt x="334" y="83"/>
                  </a:lnTo>
                  <a:lnTo>
                    <a:pt x="334" y="80"/>
                  </a:lnTo>
                  <a:lnTo>
                    <a:pt x="333" y="80"/>
                  </a:lnTo>
                  <a:lnTo>
                    <a:pt x="333" y="77"/>
                  </a:lnTo>
                  <a:lnTo>
                    <a:pt x="332" y="77"/>
                  </a:lnTo>
                  <a:lnTo>
                    <a:pt x="332" y="80"/>
                  </a:lnTo>
                  <a:lnTo>
                    <a:pt x="331" y="80"/>
                  </a:lnTo>
                  <a:lnTo>
                    <a:pt x="331" y="76"/>
                  </a:lnTo>
                  <a:lnTo>
                    <a:pt x="327" y="75"/>
                  </a:lnTo>
                  <a:lnTo>
                    <a:pt x="327" y="77"/>
                  </a:lnTo>
                  <a:lnTo>
                    <a:pt x="330" y="80"/>
                  </a:lnTo>
                  <a:lnTo>
                    <a:pt x="328" y="82"/>
                  </a:lnTo>
                  <a:lnTo>
                    <a:pt x="328" y="83"/>
                  </a:lnTo>
                  <a:lnTo>
                    <a:pt x="326" y="84"/>
                  </a:lnTo>
                  <a:lnTo>
                    <a:pt x="330" y="86"/>
                  </a:lnTo>
                  <a:lnTo>
                    <a:pt x="331" y="84"/>
                  </a:lnTo>
                  <a:lnTo>
                    <a:pt x="332" y="84"/>
                  </a:lnTo>
                  <a:lnTo>
                    <a:pt x="331" y="86"/>
                  </a:lnTo>
                  <a:lnTo>
                    <a:pt x="333" y="86"/>
                  </a:lnTo>
                  <a:lnTo>
                    <a:pt x="336" y="87"/>
                  </a:lnTo>
                  <a:lnTo>
                    <a:pt x="332" y="87"/>
                  </a:lnTo>
                  <a:lnTo>
                    <a:pt x="331" y="87"/>
                  </a:lnTo>
                  <a:lnTo>
                    <a:pt x="330" y="88"/>
                  </a:lnTo>
                  <a:lnTo>
                    <a:pt x="333" y="88"/>
                  </a:lnTo>
                  <a:lnTo>
                    <a:pt x="336" y="89"/>
                  </a:lnTo>
                  <a:lnTo>
                    <a:pt x="337" y="92"/>
                  </a:lnTo>
                  <a:lnTo>
                    <a:pt x="336" y="92"/>
                  </a:lnTo>
                  <a:lnTo>
                    <a:pt x="334" y="92"/>
                  </a:lnTo>
                  <a:lnTo>
                    <a:pt x="333" y="92"/>
                  </a:lnTo>
                  <a:lnTo>
                    <a:pt x="333" y="93"/>
                  </a:lnTo>
                  <a:lnTo>
                    <a:pt x="334" y="94"/>
                  </a:lnTo>
                  <a:lnTo>
                    <a:pt x="336" y="94"/>
                  </a:lnTo>
                  <a:lnTo>
                    <a:pt x="337" y="93"/>
                  </a:lnTo>
                  <a:lnTo>
                    <a:pt x="341" y="93"/>
                  </a:lnTo>
                  <a:lnTo>
                    <a:pt x="342" y="93"/>
                  </a:lnTo>
                  <a:lnTo>
                    <a:pt x="343" y="95"/>
                  </a:lnTo>
                  <a:lnTo>
                    <a:pt x="344" y="96"/>
                  </a:lnTo>
                  <a:lnTo>
                    <a:pt x="348" y="96"/>
                  </a:lnTo>
                  <a:lnTo>
                    <a:pt x="353" y="99"/>
                  </a:lnTo>
                  <a:lnTo>
                    <a:pt x="355" y="100"/>
                  </a:lnTo>
                  <a:lnTo>
                    <a:pt x="355" y="101"/>
                  </a:lnTo>
                  <a:lnTo>
                    <a:pt x="359" y="101"/>
                  </a:lnTo>
                  <a:lnTo>
                    <a:pt x="357" y="101"/>
                  </a:lnTo>
                  <a:lnTo>
                    <a:pt x="359" y="101"/>
                  </a:lnTo>
                  <a:lnTo>
                    <a:pt x="362" y="101"/>
                  </a:lnTo>
                  <a:lnTo>
                    <a:pt x="362" y="102"/>
                  </a:lnTo>
                  <a:lnTo>
                    <a:pt x="363" y="104"/>
                  </a:lnTo>
                  <a:lnTo>
                    <a:pt x="371" y="107"/>
                  </a:lnTo>
                  <a:lnTo>
                    <a:pt x="373" y="108"/>
                  </a:lnTo>
                  <a:lnTo>
                    <a:pt x="375" y="108"/>
                  </a:lnTo>
                  <a:lnTo>
                    <a:pt x="374" y="108"/>
                  </a:lnTo>
                  <a:lnTo>
                    <a:pt x="375" y="110"/>
                  </a:lnTo>
                  <a:lnTo>
                    <a:pt x="377" y="110"/>
                  </a:lnTo>
                  <a:lnTo>
                    <a:pt x="377" y="111"/>
                  </a:lnTo>
                  <a:lnTo>
                    <a:pt x="379" y="112"/>
                  </a:lnTo>
                  <a:lnTo>
                    <a:pt x="380" y="113"/>
                  </a:lnTo>
                  <a:lnTo>
                    <a:pt x="383" y="113"/>
                  </a:lnTo>
                  <a:lnTo>
                    <a:pt x="383" y="114"/>
                  </a:lnTo>
                  <a:lnTo>
                    <a:pt x="381" y="114"/>
                  </a:lnTo>
                  <a:lnTo>
                    <a:pt x="384" y="117"/>
                  </a:lnTo>
                  <a:lnTo>
                    <a:pt x="381" y="116"/>
                  </a:lnTo>
                  <a:lnTo>
                    <a:pt x="380" y="116"/>
                  </a:lnTo>
                  <a:lnTo>
                    <a:pt x="380" y="118"/>
                  </a:lnTo>
                  <a:lnTo>
                    <a:pt x="379" y="114"/>
                  </a:lnTo>
                  <a:lnTo>
                    <a:pt x="378" y="114"/>
                  </a:lnTo>
                  <a:lnTo>
                    <a:pt x="377" y="114"/>
                  </a:lnTo>
                  <a:lnTo>
                    <a:pt x="377" y="113"/>
                  </a:lnTo>
                  <a:lnTo>
                    <a:pt x="372" y="110"/>
                  </a:lnTo>
                  <a:lnTo>
                    <a:pt x="372" y="114"/>
                  </a:lnTo>
                  <a:lnTo>
                    <a:pt x="372" y="117"/>
                  </a:lnTo>
                  <a:lnTo>
                    <a:pt x="371" y="117"/>
                  </a:lnTo>
                  <a:lnTo>
                    <a:pt x="371" y="114"/>
                  </a:lnTo>
                  <a:lnTo>
                    <a:pt x="371" y="110"/>
                  </a:lnTo>
                  <a:lnTo>
                    <a:pt x="369" y="112"/>
                  </a:lnTo>
                  <a:lnTo>
                    <a:pt x="369" y="116"/>
                  </a:lnTo>
                  <a:lnTo>
                    <a:pt x="369" y="117"/>
                  </a:lnTo>
                  <a:lnTo>
                    <a:pt x="368" y="117"/>
                  </a:lnTo>
                  <a:lnTo>
                    <a:pt x="368" y="118"/>
                  </a:lnTo>
                  <a:lnTo>
                    <a:pt x="367" y="118"/>
                  </a:lnTo>
                  <a:lnTo>
                    <a:pt x="368" y="119"/>
                  </a:lnTo>
                  <a:lnTo>
                    <a:pt x="371" y="120"/>
                  </a:lnTo>
                  <a:lnTo>
                    <a:pt x="369" y="120"/>
                  </a:lnTo>
                  <a:lnTo>
                    <a:pt x="369" y="122"/>
                  </a:lnTo>
                  <a:lnTo>
                    <a:pt x="372" y="122"/>
                  </a:lnTo>
                  <a:lnTo>
                    <a:pt x="372" y="123"/>
                  </a:lnTo>
                  <a:lnTo>
                    <a:pt x="369" y="123"/>
                  </a:lnTo>
                  <a:lnTo>
                    <a:pt x="371" y="124"/>
                  </a:lnTo>
                  <a:lnTo>
                    <a:pt x="372" y="125"/>
                  </a:lnTo>
                  <a:lnTo>
                    <a:pt x="372" y="127"/>
                  </a:lnTo>
                  <a:lnTo>
                    <a:pt x="372" y="129"/>
                  </a:lnTo>
                  <a:lnTo>
                    <a:pt x="372" y="130"/>
                  </a:lnTo>
                  <a:lnTo>
                    <a:pt x="371" y="131"/>
                  </a:lnTo>
                  <a:lnTo>
                    <a:pt x="368" y="131"/>
                  </a:lnTo>
                  <a:lnTo>
                    <a:pt x="367" y="131"/>
                  </a:lnTo>
                  <a:lnTo>
                    <a:pt x="368" y="133"/>
                  </a:lnTo>
                  <a:lnTo>
                    <a:pt x="372" y="133"/>
                  </a:lnTo>
                  <a:lnTo>
                    <a:pt x="372" y="134"/>
                  </a:lnTo>
                  <a:lnTo>
                    <a:pt x="373" y="134"/>
                  </a:lnTo>
                  <a:lnTo>
                    <a:pt x="374" y="135"/>
                  </a:lnTo>
                  <a:lnTo>
                    <a:pt x="377" y="134"/>
                  </a:lnTo>
                  <a:lnTo>
                    <a:pt x="378" y="134"/>
                  </a:lnTo>
                  <a:lnTo>
                    <a:pt x="378" y="135"/>
                  </a:lnTo>
                  <a:lnTo>
                    <a:pt x="375" y="135"/>
                  </a:lnTo>
                  <a:lnTo>
                    <a:pt x="377" y="136"/>
                  </a:lnTo>
                  <a:lnTo>
                    <a:pt x="378" y="136"/>
                  </a:lnTo>
                  <a:lnTo>
                    <a:pt x="379" y="135"/>
                  </a:lnTo>
                  <a:lnTo>
                    <a:pt x="381" y="135"/>
                  </a:lnTo>
                  <a:lnTo>
                    <a:pt x="380" y="136"/>
                  </a:lnTo>
                  <a:lnTo>
                    <a:pt x="384" y="136"/>
                  </a:lnTo>
                  <a:lnTo>
                    <a:pt x="383" y="137"/>
                  </a:lnTo>
                  <a:lnTo>
                    <a:pt x="386" y="139"/>
                  </a:lnTo>
                  <a:lnTo>
                    <a:pt x="383" y="137"/>
                  </a:lnTo>
                  <a:lnTo>
                    <a:pt x="383" y="139"/>
                  </a:lnTo>
                  <a:lnTo>
                    <a:pt x="384" y="142"/>
                  </a:lnTo>
                  <a:lnTo>
                    <a:pt x="383" y="142"/>
                  </a:lnTo>
                  <a:lnTo>
                    <a:pt x="381" y="139"/>
                  </a:lnTo>
                  <a:lnTo>
                    <a:pt x="380" y="139"/>
                  </a:lnTo>
                  <a:lnTo>
                    <a:pt x="380" y="141"/>
                  </a:lnTo>
                  <a:lnTo>
                    <a:pt x="379" y="141"/>
                  </a:lnTo>
                  <a:lnTo>
                    <a:pt x="378" y="140"/>
                  </a:lnTo>
                  <a:lnTo>
                    <a:pt x="377" y="140"/>
                  </a:lnTo>
                  <a:lnTo>
                    <a:pt x="377" y="137"/>
                  </a:lnTo>
                  <a:lnTo>
                    <a:pt x="375" y="137"/>
                  </a:lnTo>
                  <a:lnTo>
                    <a:pt x="375" y="139"/>
                  </a:lnTo>
                  <a:lnTo>
                    <a:pt x="375" y="140"/>
                  </a:lnTo>
                  <a:lnTo>
                    <a:pt x="374" y="140"/>
                  </a:lnTo>
                  <a:lnTo>
                    <a:pt x="372" y="145"/>
                  </a:lnTo>
                  <a:lnTo>
                    <a:pt x="372" y="146"/>
                  </a:lnTo>
                  <a:lnTo>
                    <a:pt x="371" y="145"/>
                  </a:lnTo>
                  <a:lnTo>
                    <a:pt x="369" y="147"/>
                  </a:lnTo>
                  <a:lnTo>
                    <a:pt x="368" y="147"/>
                  </a:lnTo>
                  <a:lnTo>
                    <a:pt x="369" y="145"/>
                  </a:lnTo>
                  <a:lnTo>
                    <a:pt x="368" y="146"/>
                  </a:lnTo>
                  <a:lnTo>
                    <a:pt x="367" y="146"/>
                  </a:lnTo>
                  <a:lnTo>
                    <a:pt x="367" y="143"/>
                  </a:lnTo>
                  <a:lnTo>
                    <a:pt x="366" y="143"/>
                  </a:lnTo>
                  <a:lnTo>
                    <a:pt x="366" y="146"/>
                  </a:lnTo>
                  <a:lnTo>
                    <a:pt x="365" y="146"/>
                  </a:lnTo>
                  <a:lnTo>
                    <a:pt x="365" y="147"/>
                  </a:lnTo>
                  <a:lnTo>
                    <a:pt x="365" y="143"/>
                  </a:lnTo>
                  <a:lnTo>
                    <a:pt x="365" y="142"/>
                  </a:lnTo>
                  <a:lnTo>
                    <a:pt x="363" y="143"/>
                  </a:lnTo>
                  <a:lnTo>
                    <a:pt x="362" y="145"/>
                  </a:lnTo>
                  <a:lnTo>
                    <a:pt x="362" y="141"/>
                  </a:lnTo>
                  <a:lnTo>
                    <a:pt x="361" y="141"/>
                  </a:lnTo>
                  <a:lnTo>
                    <a:pt x="361" y="142"/>
                  </a:lnTo>
                  <a:lnTo>
                    <a:pt x="360" y="145"/>
                  </a:lnTo>
                  <a:lnTo>
                    <a:pt x="359" y="146"/>
                  </a:lnTo>
                  <a:lnTo>
                    <a:pt x="359" y="147"/>
                  </a:lnTo>
                  <a:lnTo>
                    <a:pt x="360" y="149"/>
                  </a:lnTo>
                  <a:lnTo>
                    <a:pt x="362" y="149"/>
                  </a:lnTo>
                  <a:lnTo>
                    <a:pt x="365" y="151"/>
                  </a:lnTo>
                  <a:lnTo>
                    <a:pt x="367" y="153"/>
                  </a:lnTo>
                  <a:lnTo>
                    <a:pt x="372" y="154"/>
                  </a:lnTo>
                  <a:lnTo>
                    <a:pt x="373" y="154"/>
                  </a:lnTo>
                  <a:lnTo>
                    <a:pt x="379" y="154"/>
                  </a:lnTo>
                  <a:lnTo>
                    <a:pt x="380" y="155"/>
                  </a:lnTo>
                  <a:lnTo>
                    <a:pt x="384" y="155"/>
                  </a:lnTo>
                  <a:lnTo>
                    <a:pt x="385" y="155"/>
                  </a:lnTo>
                  <a:lnTo>
                    <a:pt x="386" y="155"/>
                  </a:lnTo>
                  <a:lnTo>
                    <a:pt x="387" y="155"/>
                  </a:lnTo>
                  <a:lnTo>
                    <a:pt x="390" y="154"/>
                  </a:lnTo>
                  <a:lnTo>
                    <a:pt x="389" y="155"/>
                  </a:lnTo>
                  <a:lnTo>
                    <a:pt x="390" y="155"/>
                  </a:lnTo>
                  <a:lnTo>
                    <a:pt x="391" y="155"/>
                  </a:lnTo>
                  <a:lnTo>
                    <a:pt x="392" y="155"/>
                  </a:lnTo>
                  <a:lnTo>
                    <a:pt x="397" y="153"/>
                  </a:lnTo>
                  <a:lnTo>
                    <a:pt x="398" y="153"/>
                  </a:lnTo>
                  <a:lnTo>
                    <a:pt x="393" y="155"/>
                  </a:lnTo>
                  <a:lnTo>
                    <a:pt x="403" y="155"/>
                  </a:lnTo>
                  <a:lnTo>
                    <a:pt x="403" y="157"/>
                  </a:lnTo>
                  <a:lnTo>
                    <a:pt x="395" y="158"/>
                  </a:lnTo>
                  <a:lnTo>
                    <a:pt x="393" y="157"/>
                  </a:lnTo>
                  <a:lnTo>
                    <a:pt x="396" y="158"/>
                  </a:lnTo>
                  <a:lnTo>
                    <a:pt x="395" y="159"/>
                  </a:lnTo>
                  <a:lnTo>
                    <a:pt x="390" y="157"/>
                  </a:lnTo>
                  <a:lnTo>
                    <a:pt x="389" y="158"/>
                  </a:lnTo>
                  <a:lnTo>
                    <a:pt x="389" y="159"/>
                  </a:lnTo>
                  <a:lnTo>
                    <a:pt x="390" y="160"/>
                  </a:lnTo>
                  <a:lnTo>
                    <a:pt x="389" y="161"/>
                  </a:lnTo>
                  <a:lnTo>
                    <a:pt x="387" y="164"/>
                  </a:lnTo>
                  <a:lnTo>
                    <a:pt x="386" y="165"/>
                  </a:lnTo>
                  <a:lnTo>
                    <a:pt x="389" y="165"/>
                  </a:lnTo>
                  <a:lnTo>
                    <a:pt x="390" y="166"/>
                  </a:lnTo>
                  <a:lnTo>
                    <a:pt x="387" y="166"/>
                  </a:lnTo>
                  <a:lnTo>
                    <a:pt x="387" y="167"/>
                  </a:lnTo>
                  <a:lnTo>
                    <a:pt x="390" y="169"/>
                  </a:lnTo>
                  <a:lnTo>
                    <a:pt x="391" y="170"/>
                  </a:lnTo>
                  <a:lnTo>
                    <a:pt x="391" y="171"/>
                  </a:lnTo>
                  <a:lnTo>
                    <a:pt x="392" y="171"/>
                  </a:lnTo>
                  <a:lnTo>
                    <a:pt x="393" y="170"/>
                  </a:lnTo>
                  <a:lnTo>
                    <a:pt x="393" y="169"/>
                  </a:lnTo>
                  <a:lnTo>
                    <a:pt x="393" y="167"/>
                  </a:lnTo>
                  <a:lnTo>
                    <a:pt x="395" y="167"/>
                  </a:lnTo>
                  <a:lnTo>
                    <a:pt x="395" y="169"/>
                  </a:lnTo>
                  <a:lnTo>
                    <a:pt x="396" y="170"/>
                  </a:lnTo>
                  <a:lnTo>
                    <a:pt x="402" y="166"/>
                  </a:lnTo>
                  <a:lnTo>
                    <a:pt x="404" y="166"/>
                  </a:lnTo>
                  <a:lnTo>
                    <a:pt x="409" y="163"/>
                  </a:lnTo>
                  <a:lnTo>
                    <a:pt x="410" y="163"/>
                  </a:lnTo>
                  <a:lnTo>
                    <a:pt x="407" y="166"/>
                  </a:lnTo>
                  <a:lnTo>
                    <a:pt x="408" y="166"/>
                  </a:lnTo>
                  <a:lnTo>
                    <a:pt x="412" y="165"/>
                  </a:lnTo>
                  <a:lnTo>
                    <a:pt x="409" y="166"/>
                  </a:lnTo>
                  <a:lnTo>
                    <a:pt x="410" y="166"/>
                  </a:lnTo>
                  <a:lnTo>
                    <a:pt x="408" y="167"/>
                  </a:lnTo>
                  <a:lnTo>
                    <a:pt x="407" y="169"/>
                  </a:lnTo>
                  <a:lnTo>
                    <a:pt x="408" y="169"/>
                  </a:lnTo>
                  <a:lnTo>
                    <a:pt x="408" y="170"/>
                  </a:lnTo>
                  <a:lnTo>
                    <a:pt x="407" y="170"/>
                  </a:lnTo>
                  <a:lnTo>
                    <a:pt x="406" y="169"/>
                  </a:lnTo>
                  <a:lnTo>
                    <a:pt x="403" y="169"/>
                  </a:lnTo>
                  <a:lnTo>
                    <a:pt x="407" y="171"/>
                  </a:lnTo>
                  <a:lnTo>
                    <a:pt x="406" y="171"/>
                  </a:lnTo>
                  <a:lnTo>
                    <a:pt x="404" y="171"/>
                  </a:lnTo>
                  <a:lnTo>
                    <a:pt x="402" y="170"/>
                  </a:lnTo>
                  <a:lnTo>
                    <a:pt x="398" y="171"/>
                  </a:lnTo>
                  <a:lnTo>
                    <a:pt x="402" y="171"/>
                  </a:lnTo>
                  <a:lnTo>
                    <a:pt x="404" y="172"/>
                  </a:lnTo>
                  <a:lnTo>
                    <a:pt x="406" y="173"/>
                  </a:lnTo>
                  <a:lnTo>
                    <a:pt x="404" y="173"/>
                  </a:lnTo>
                  <a:lnTo>
                    <a:pt x="403" y="172"/>
                  </a:lnTo>
                  <a:lnTo>
                    <a:pt x="402" y="172"/>
                  </a:lnTo>
                  <a:lnTo>
                    <a:pt x="400" y="172"/>
                  </a:lnTo>
                  <a:lnTo>
                    <a:pt x="400" y="175"/>
                  </a:lnTo>
                  <a:lnTo>
                    <a:pt x="397" y="173"/>
                  </a:lnTo>
                  <a:lnTo>
                    <a:pt x="395" y="173"/>
                  </a:lnTo>
                  <a:lnTo>
                    <a:pt x="395" y="175"/>
                  </a:lnTo>
                  <a:lnTo>
                    <a:pt x="397" y="176"/>
                  </a:lnTo>
                  <a:lnTo>
                    <a:pt x="401" y="178"/>
                  </a:lnTo>
                  <a:lnTo>
                    <a:pt x="404" y="179"/>
                  </a:lnTo>
                  <a:lnTo>
                    <a:pt x="409" y="181"/>
                  </a:lnTo>
                  <a:lnTo>
                    <a:pt x="406" y="182"/>
                  </a:lnTo>
                  <a:lnTo>
                    <a:pt x="412" y="185"/>
                  </a:lnTo>
                  <a:lnTo>
                    <a:pt x="406" y="183"/>
                  </a:lnTo>
                  <a:lnTo>
                    <a:pt x="404" y="183"/>
                  </a:lnTo>
                  <a:lnTo>
                    <a:pt x="404" y="184"/>
                  </a:lnTo>
                  <a:lnTo>
                    <a:pt x="404" y="185"/>
                  </a:lnTo>
                  <a:lnTo>
                    <a:pt x="403" y="185"/>
                  </a:lnTo>
                  <a:lnTo>
                    <a:pt x="403" y="182"/>
                  </a:lnTo>
                  <a:lnTo>
                    <a:pt x="402" y="182"/>
                  </a:lnTo>
                  <a:lnTo>
                    <a:pt x="398" y="187"/>
                  </a:lnTo>
                  <a:lnTo>
                    <a:pt x="397" y="187"/>
                  </a:lnTo>
                  <a:lnTo>
                    <a:pt x="398" y="184"/>
                  </a:lnTo>
                  <a:lnTo>
                    <a:pt x="397" y="184"/>
                  </a:lnTo>
                  <a:lnTo>
                    <a:pt x="396" y="185"/>
                  </a:lnTo>
                  <a:lnTo>
                    <a:pt x="396" y="187"/>
                  </a:lnTo>
                  <a:lnTo>
                    <a:pt x="397" y="188"/>
                  </a:lnTo>
                  <a:lnTo>
                    <a:pt x="400" y="188"/>
                  </a:lnTo>
                  <a:lnTo>
                    <a:pt x="401" y="189"/>
                  </a:lnTo>
                  <a:lnTo>
                    <a:pt x="402" y="191"/>
                  </a:lnTo>
                  <a:lnTo>
                    <a:pt x="402" y="193"/>
                  </a:lnTo>
                  <a:lnTo>
                    <a:pt x="403" y="194"/>
                  </a:lnTo>
                  <a:lnTo>
                    <a:pt x="404" y="195"/>
                  </a:lnTo>
                  <a:lnTo>
                    <a:pt x="406" y="196"/>
                  </a:lnTo>
                  <a:lnTo>
                    <a:pt x="407" y="196"/>
                  </a:lnTo>
                  <a:lnTo>
                    <a:pt x="408" y="196"/>
                  </a:lnTo>
                  <a:lnTo>
                    <a:pt x="408" y="197"/>
                  </a:lnTo>
                  <a:lnTo>
                    <a:pt x="412" y="199"/>
                  </a:lnTo>
                  <a:lnTo>
                    <a:pt x="412" y="197"/>
                  </a:lnTo>
                  <a:lnTo>
                    <a:pt x="413" y="199"/>
                  </a:lnTo>
                  <a:lnTo>
                    <a:pt x="415" y="199"/>
                  </a:lnTo>
                  <a:lnTo>
                    <a:pt x="415" y="200"/>
                  </a:lnTo>
                  <a:lnTo>
                    <a:pt x="418" y="200"/>
                  </a:lnTo>
                  <a:lnTo>
                    <a:pt x="415" y="200"/>
                  </a:lnTo>
                  <a:lnTo>
                    <a:pt x="415" y="201"/>
                  </a:lnTo>
                  <a:lnTo>
                    <a:pt x="416" y="202"/>
                  </a:lnTo>
                  <a:lnTo>
                    <a:pt x="416" y="203"/>
                  </a:lnTo>
                  <a:lnTo>
                    <a:pt x="416" y="205"/>
                  </a:lnTo>
                  <a:lnTo>
                    <a:pt x="415" y="205"/>
                  </a:lnTo>
                  <a:lnTo>
                    <a:pt x="414" y="202"/>
                  </a:lnTo>
                  <a:lnTo>
                    <a:pt x="413" y="205"/>
                  </a:lnTo>
                  <a:lnTo>
                    <a:pt x="413" y="201"/>
                  </a:lnTo>
                  <a:lnTo>
                    <a:pt x="412" y="201"/>
                  </a:lnTo>
                  <a:lnTo>
                    <a:pt x="412" y="202"/>
                  </a:lnTo>
                  <a:lnTo>
                    <a:pt x="410" y="201"/>
                  </a:lnTo>
                  <a:lnTo>
                    <a:pt x="409" y="200"/>
                  </a:lnTo>
                  <a:lnTo>
                    <a:pt x="408" y="200"/>
                  </a:lnTo>
                  <a:lnTo>
                    <a:pt x="408" y="201"/>
                  </a:lnTo>
                  <a:lnTo>
                    <a:pt x="408" y="202"/>
                  </a:lnTo>
                  <a:lnTo>
                    <a:pt x="408" y="203"/>
                  </a:lnTo>
                  <a:lnTo>
                    <a:pt x="408" y="206"/>
                  </a:lnTo>
                  <a:lnTo>
                    <a:pt x="407" y="207"/>
                  </a:lnTo>
                  <a:lnTo>
                    <a:pt x="406" y="208"/>
                  </a:lnTo>
                  <a:lnTo>
                    <a:pt x="406" y="205"/>
                  </a:lnTo>
                  <a:lnTo>
                    <a:pt x="406" y="203"/>
                  </a:lnTo>
                  <a:lnTo>
                    <a:pt x="406" y="202"/>
                  </a:lnTo>
                  <a:lnTo>
                    <a:pt x="404" y="203"/>
                  </a:lnTo>
                  <a:lnTo>
                    <a:pt x="404" y="207"/>
                  </a:lnTo>
                  <a:lnTo>
                    <a:pt x="403" y="207"/>
                  </a:lnTo>
                  <a:lnTo>
                    <a:pt x="401" y="205"/>
                  </a:lnTo>
                  <a:lnTo>
                    <a:pt x="401" y="202"/>
                  </a:lnTo>
                  <a:lnTo>
                    <a:pt x="400" y="202"/>
                  </a:lnTo>
                  <a:lnTo>
                    <a:pt x="398" y="203"/>
                  </a:lnTo>
                  <a:lnTo>
                    <a:pt x="397" y="203"/>
                  </a:lnTo>
                  <a:lnTo>
                    <a:pt x="397" y="202"/>
                  </a:lnTo>
                  <a:lnTo>
                    <a:pt x="396" y="203"/>
                  </a:lnTo>
                  <a:lnTo>
                    <a:pt x="396" y="202"/>
                  </a:lnTo>
                  <a:lnTo>
                    <a:pt x="396" y="201"/>
                  </a:lnTo>
                  <a:lnTo>
                    <a:pt x="397" y="199"/>
                  </a:lnTo>
                  <a:lnTo>
                    <a:pt x="396" y="199"/>
                  </a:lnTo>
                  <a:lnTo>
                    <a:pt x="395" y="199"/>
                  </a:lnTo>
                  <a:lnTo>
                    <a:pt x="393" y="200"/>
                  </a:lnTo>
                  <a:lnTo>
                    <a:pt x="392" y="201"/>
                  </a:lnTo>
                  <a:lnTo>
                    <a:pt x="391" y="201"/>
                  </a:lnTo>
                  <a:lnTo>
                    <a:pt x="391" y="200"/>
                  </a:lnTo>
                  <a:lnTo>
                    <a:pt x="391" y="199"/>
                  </a:lnTo>
                  <a:lnTo>
                    <a:pt x="391" y="196"/>
                  </a:lnTo>
                  <a:lnTo>
                    <a:pt x="391" y="195"/>
                  </a:lnTo>
                  <a:lnTo>
                    <a:pt x="389" y="196"/>
                  </a:lnTo>
                  <a:lnTo>
                    <a:pt x="389" y="197"/>
                  </a:lnTo>
                  <a:lnTo>
                    <a:pt x="390" y="197"/>
                  </a:lnTo>
                  <a:lnTo>
                    <a:pt x="390" y="199"/>
                  </a:lnTo>
                  <a:lnTo>
                    <a:pt x="389" y="200"/>
                  </a:lnTo>
                  <a:lnTo>
                    <a:pt x="387" y="199"/>
                  </a:lnTo>
                  <a:lnTo>
                    <a:pt x="387" y="196"/>
                  </a:lnTo>
                  <a:lnTo>
                    <a:pt x="387" y="195"/>
                  </a:lnTo>
                  <a:lnTo>
                    <a:pt x="387" y="194"/>
                  </a:lnTo>
                  <a:lnTo>
                    <a:pt x="387" y="193"/>
                  </a:lnTo>
                  <a:lnTo>
                    <a:pt x="387" y="191"/>
                  </a:lnTo>
                  <a:lnTo>
                    <a:pt x="386" y="193"/>
                  </a:lnTo>
                  <a:lnTo>
                    <a:pt x="385" y="191"/>
                  </a:lnTo>
                  <a:lnTo>
                    <a:pt x="385" y="193"/>
                  </a:lnTo>
                  <a:lnTo>
                    <a:pt x="386" y="195"/>
                  </a:lnTo>
                  <a:lnTo>
                    <a:pt x="386" y="196"/>
                  </a:lnTo>
                  <a:lnTo>
                    <a:pt x="386" y="197"/>
                  </a:lnTo>
                  <a:lnTo>
                    <a:pt x="385" y="199"/>
                  </a:lnTo>
                  <a:lnTo>
                    <a:pt x="386" y="199"/>
                  </a:lnTo>
                  <a:lnTo>
                    <a:pt x="386" y="200"/>
                  </a:lnTo>
                  <a:lnTo>
                    <a:pt x="389" y="201"/>
                  </a:lnTo>
                  <a:lnTo>
                    <a:pt x="390" y="202"/>
                  </a:lnTo>
                  <a:lnTo>
                    <a:pt x="392" y="203"/>
                  </a:lnTo>
                  <a:lnTo>
                    <a:pt x="395" y="205"/>
                  </a:lnTo>
                  <a:lnTo>
                    <a:pt x="395" y="206"/>
                  </a:lnTo>
                  <a:lnTo>
                    <a:pt x="396" y="206"/>
                  </a:lnTo>
                  <a:lnTo>
                    <a:pt x="397" y="205"/>
                  </a:lnTo>
                  <a:lnTo>
                    <a:pt x="397" y="206"/>
                  </a:lnTo>
                  <a:lnTo>
                    <a:pt x="400" y="208"/>
                  </a:lnTo>
                  <a:lnTo>
                    <a:pt x="402" y="209"/>
                  </a:lnTo>
                  <a:lnTo>
                    <a:pt x="404" y="209"/>
                  </a:lnTo>
                  <a:lnTo>
                    <a:pt x="406" y="208"/>
                  </a:lnTo>
                  <a:lnTo>
                    <a:pt x="407" y="208"/>
                  </a:lnTo>
                  <a:lnTo>
                    <a:pt x="409" y="208"/>
                  </a:lnTo>
                  <a:lnTo>
                    <a:pt x="412" y="208"/>
                  </a:lnTo>
                  <a:lnTo>
                    <a:pt x="414" y="207"/>
                  </a:lnTo>
                  <a:lnTo>
                    <a:pt x="416" y="206"/>
                  </a:lnTo>
                  <a:lnTo>
                    <a:pt x="418" y="205"/>
                  </a:lnTo>
                  <a:lnTo>
                    <a:pt x="419" y="203"/>
                  </a:lnTo>
                  <a:lnTo>
                    <a:pt x="421" y="202"/>
                  </a:lnTo>
                  <a:lnTo>
                    <a:pt x="422" y="200"/>
                  </a:lnTo>
                  <a:lnTo>
                    <a:pt x="421" y="199"/>
                  </a:lnTo>
                  <a:lnTo>
                    <a:pt x="424" y="200"/>
                  </a:lnTo>
                  <a:lnTo>
                    <a:pt x="425" y="199"/>
                  </a:lnTo>
                  <a:lnTo>
                    <a:pt x="421" y="195"/>
                  </a:lnTo>
                  <a:lnTo>
                    <a:pt x="424" y="195"/>
                  </a:lnTo>
                  <a:lnTo>
                    <a:pt x="425" y="195"/>
                  </a:lnTo>
                  <a:lnTo>
                    <a:pt x="425" y="196"/>
                  </a:lnTo>
                  <a:lnTo>
                    <a:pt x="426" y="197"/>
                  </a:lnTo>
                  <a:lnTo>
                    <a:pt x="433" y="191"/>
                  </a:lnTo>
                  <a:lnTo>
                    <a:pt x="434" y="191"/>
                  </a:lnTo>
                  <a:lnTo>
                    <a:pt x="432" y="193"/>
                  </a:lnTo>
                  <a:lnTo>
                    <a:pt x="433" y="194"/>
                  </a:lnTo>
                  <a:lnTo>
                    <a:pt x="438" y="193"/>
                  </a:lnTo>
                  <a:lnTo>
                    <a:pt x="434" y="194"/>
                  </a:lnTo>
                  <a:lnTo>
                    <a:pt x="436" y="195"/>
                  </a:lnTo>
                  <a:lnTo>
                    <a:pt x="433" y="195"/>
                  </a:lnTo>
                  <a:lnTo>
                    <a:pt x="434" y="197"/>
                  </a:lnTo>
                  <a:lnTo>
                    <a:pt x="432" y="196"/>
                  </a:lnTo>
                  <a:lnTo>
                    <a:pt x="431" y="196"/>
                  </a:lnTo>
                  <a:lnTo>
                    <a:pt x="428" y="197"/>
                  </a:lnTo>
                  <a:lnTo>
                    <a:pt x="428" y="199"/>
                  </a:lnTo>
                  <a:lnTo>
                    <a:pt x="433" y="200"/>
                  </a:lnTo>
                  <a:lnTo>
                    <a:pt x="432" y="201"/>
                  </a:lnTo>
                  <a:lnTo>
                    <a:pt x="428" y="200"/>
                  </a:lnTo>
                  <a:lnTo>
                    <a:pt x="428" y="201"/>
                  </a:lnTo>
                  <a:lnTo>
                    <a:pt x="426" y="201"/>
                  </a:lnTo>
                  <a:lnTo>
                    <a:pt x="425" y="201"/>
                  </a:lnTo>
                  <a:lnTo>
                    <a:pt x="425" y="202"/>
                  </a:lnTo>
                  <a:lnTo>
                    <a:pt x="424" y="203"/>
                  </a:lnTo>
                  <a:lnTo>
                    <a:pt x="428" y="207"/>
                  </a:lnTo>
                  <a:lnTo>
                    <a:pt x="424" y="205"/>
                  </a:lnTo>
                  <a:lnTo>
                    <a:pt x="421" y="203"/>
                  </a:lnTo>
                  <a:lnTo>
                    <a:pt x="421" y="205"/>
                  </a:lnTo>
                  <a:lnTo>
                    <a:pt x="425" y="206"/>
                  </a:lnTo>
                  <a:lnTo>
                    <a:pt x="426" y="207"/>
                  </a:lnTo>
                  <a:lnTo>
                    <a:pt x="428" y="207"/>
                  </a:lnTo>
                  <a:lnTo>
                    <a:pt x="425" y="209"/>
                  </a:lnTo>
                  <a:lnTo>
                    <a:pt x="428" y="212"/>
                  </a:lnTo>
                  <a:lnTo>
                    <a:pt x="428" y="213"/>
                  </a:lnTo>
                  <a:lnTo>
                    <a:pt x="426" y="214"/>
                  </a:lnTo>
                  <a:lnTo>
                    <a:pt x="428" y="215"/>
                  </a:lnTo>
                  <a:lnTo>
                    <a:pt x="426" y="218"/>
                  </a:lnTo>
                  <a:lnTo>
                    <a:pt x="424" y="217"/>
                  </a:lnTo>
                  <a:lnTo>
                    <a:pt x="424" y="215"/>
                  </a:lnTo>
                  <a:lnTo>
                    <a:pt x="422" y="214"/>
                  </a:lnTo>
                  <a:lnTo>
                    <a:pt x="422" y="213"/>
                  </a:lnTo>
                  <a:lnTo>
                    <a:pt x="422" y="212"/>
                  </a:lnTo>
                  <a:lnTo>
                    <a:pt x="421" y="212"/>
                  </a:lnTo>
                  <a:lnTo>
                    <a:pt x="421" y="213"/>
                  </a:lnTo>
                  <a:lnTo>
                    <a:pt x="421" y="214"/>
                  </a:lnTo>
                  <a:lnTo>
                    <a:pt x="421" y="217"/>
                  </a:lnTo>
                  <a:lnTo>
                    <a:pt x="419" y="217"/>
                  </a:lnTo>
                  <a:lnTo>
                    <a:pt x="419" y="218"/>
                  </a:lnTo>
                  <a:lnTo>
                    <a:pt x="421" y="218"/>
                  </a:lnTo>
                  <a:lnTo>
                    <a:pt x="421" y="217"/>
                  </a:lnTo>
                  <a:lnTo>
                    <a:pt x="422" y="218"/>
                  </a:lnTo>
                  <a:lnTo>
                    <a:pt x="424" y="259"/>
                  </a:lnTo>
                  <a:lnTo>
                    <a:pt x="425" y="259"/>
                  </a:lnTo>
                  <a:lnTo>
                    <a:pt x="428" y="219"/>
                  </a:lnTo>
                  <a:lnTo>
                    <a:pt x="428" y="259"/>
                  </a:lnTo>
                  <a:lnTo>
                    <a:pt x="432" y="261"/>
                  </a:lnTo>
                  <a:lnTo>
                    <a:pt x="431" y="261"/>
                  </a:lnTo>
                  <a:lnTo>
                    <a:pt x="428" y="261"/>
                  </a:lnTo>
                  <a:lnTo>
                    <a:pt x="426" y="261"/>
                  </a:lnTo>
                  <a:lnTo>
                    <a:pt x="426" y="262"/>
                  </a:lnTo>
                  <a:lnTo>
                    <a:pt x="428" y="264"/>
                  </a:lnTo>
                  <a:lnTo>
                    <a:pt x="426" y="264"/>
                  </a:lnTo>
                  <a:lnTo>
                    <a:pt x="425" y="265"/>
                  </a:lnTo>
                  <a:lnTo>
                    <a:pt x="424" y="265"/>
                  </a:lnTo>
                  <a:lnTo>
                    <a:pt x="424" y="264"/>
                  </a:lnTo>
                  <a:lnTo>
                    <a:pt x="421" y="264"/>
                  </a:lnTo>
                  <a:lnTo>
                    <a:pt x="424" y="267"/>
                  </a:lnTo>
                  <a:lnTo>
                    <a:pt x="422" y="267"/>
                  </a:lnTo>
                  <a:lnTo>
                    <a:pt x="421" y="266"/>
                  </a:lnTo>
                  <a:lnTo>
                    <a:pt x="420" y="266"/>
                  </a:lnTo>
                  <a:lnTo>
                    <a:pt x="419" y="266"/>
                  </a:lnTo>
                  <a:lnTo>
                    <a:pt x="419" y="265"/>
                  </a:lnTo>
                  <a:lnTo>
                    <a:pt x="418" y="265"/>
                  </a:lnTo>
                  <a:lnTo>
                    <a:pt x="418" y="266"/>
                  </a:lnTo>
                  <a:lnTo>
                    <a:pt x="416" y="266"/>
                  </a:lnTo>
                  <a:lnTo>
                    <a:pt x="416" y="264"/>
                  </a:lnTo>
                  <a:lnTo>
                    <a:pt x="415" y="266"/>
                  </a:lnTo>
                  <a:lnTo>
                    <a:pt x="414" y="266"/>
                  </a:lnTo>
                  <a:lnTo>
                    <a:pt x="414" y="268"/>
                  </a:lnTo>
                  <a:lnTo>
                    <a:pt x="414" y="270"/>
                  </a:lnTo>
                  <a:lnTo>
                    <a:pt x="418" y="270"/>
                  </a:lnTo>
                  <a:lnTo>
                    <a:pt x="418" y="271"/>
                  </a:lnTo>
                  <a:lnTo>
                    <a:pt x="415" y="271"/>
                  </a:lnTo>
                  <a:lnTo>
                    <a:pt x="415" y="272"/>
                  </a:lnTo>
                  <a:lnTo>
                    <a:pt x="421" y="272"/>
                  </a:lnTo>
                  <a:lnTo>
                    <a:pt x="420" y="273"/>
                  </a:lnTo>
                  <a:lnTo>
                    <a:pt x="421" y="274"/>
                  </a:lnTo>
                  <a:lnTo>
                    <a:pt x="422" y="273"/>
                  </a:lnTo>
                  <a:lnTo>
                    <a:pt x="424" y="273"/>
                  </a:lnTo>
                  <a:lnTo>
                    <a:pt x="424" y="277"/>
                  </a:lnTo>
                  <a:lnTo>
                    <a:pt x="428" y="280"/>
                  </a:lnTo>
                  <a:lnTo>
                    <a:pt x="428" y="279"/>
                  </a:lnTo>
                  <a:lnTo>
                    <a:pt x="431" y="279"/>
                  </a:lnTo>
                  <a:lnTo>
                    <a:pt x="431" y="280"/>
                  </a:lnTo>
                  <a:lnTo>
                    <a:pt x="432" y="279"/>
                  </a:lnTo>
                  <a:lnTo>
                    <a:pt x="434" y="279"/>
                  </a:lnTo>
                  <a:lnTo>
                    <a:pt x="436" y="279"/>
                  </a:lnTo>
                  <a:lnTo>
                    <a:pt x="437" y="280"/>
                  </a:lnTo>
                  <a:lnTo>
                    <a:pt x="434" y="280"/>
                  </a:lnTo>
                  <a:lnTo>
                    <a:pt x="434" y="283"/>
                  </a:lnTo>
                  <a:lnTo>
                    <a:pt x="436" y="284"/>
                  </a:lnTo>
                  <a:lnTo>
                    <a:pt x="434" y="284"/>
                  </a:lnTo>
                  <a:lnTo>
                    <a:pt x="433" y="282"/>
                  </a:lnTo>
                  <a:lnTo>
                    <a:pt x="432" y="282"/>
                  </a:lnTo>
                  <a:lnTo>
                    <a:pt x="433" y="283"/>
                  </a:lnTo>
                  <a:lnTo>
                    <a:pt x="433" y="284"/>
                  </a:lnTo>
                  <a:lnTo>
                    <a:pt x="432" y="284"/>
                  </a:lnTo>
                  <a:lnTo>
                    <a:pt x="431" y="283"/>
                  </a:lnTo>
                  <a:lnTo>
                    <a:pt x="428" y="284"/>
                  </a:lnTo>
                  <a:lnTo>
                    <a:pt x="431" y="285"/>
                  </a:lnTo>
                  <a:lnTo>
                    <a:pt x="432" y="286"/>
                  </a:lnTo>
                  <a:lnTo>
                    <a:pt x="432" y="288"/>
                  </a:lnTo>
                  <a:lnTo>
                    <a:pt x="431" y="289"/>
                  </a:lnTo>
                  <a:lnTo>
                    <a:pt x="431" y="290"/>
                  </a:lnTo>
                  <a:lnTo>
                    <a:pt x="433" y="292"/>
                  </a:lnTo>
                  <a:lnTo>
                    <a:pt x="434" y="292"/>
                  </a:lnTo>
                  <a:lnTo>
                    <a:pt x="436" y="292"/>
                  </a:lnTo>
                  <a:lnTo>
                    <a:pt x="437" y="295"/>
                  </a:lnTo>
                  <a:lnTo>
                    <a:pt x="439" y="296"/>
                  </a:lnTo>
                  <a:lnTo>
                    <a:pt x="443" y="295"/>
                  </a:lnTo>
                  <a:lnTo>
                    <a:pt x="440" y="297"/>
                  </a:lnTo>
                  <a:lnTo>
                    <a:pt x="445" y="302"/>
                  </a:lnTo>
                  <a:lnTo>
                    <a:pt x="445" y="303"/>
                  </a:lnTo>
                  <a:lnTo>
                    <a:pt x="448" y="303"/>
                  </a:lnTo>
                  <a:lnTo>
                    <a:pt x="451" y="307"/>
                  </a:lnTo>
                  <a:lnTo>
                    <a:pt x="452" y="308"/>
                  </a:lnTo>
                  <a:lnTo>
                    <a:pt x="456" y="308"/>
                  </a:lnTo>
                  <a:lnTo>
                    <a:pt x="455" y="309"/>
                  </a:lnTo>
                  <a:lnTo>
                    <a:pt x="456" y="310"/>
                  </a:lnTo>
                  <a:lnTo>
                    <a:pt x="455" y="310"/>
                  </a:lnTo>
                  <a:lnTo>
                    <a:pt x="460" y="313"/>
                  </a:lnTo>
                  <a:lnTo>
                    <a:pt x="459" y="313"/>
                  </a:lnTo>
                  <a:lnTo>
                    <a:pt x="452" y="312"/>
                  </a:lnTo>
                  <a:lnTo>
                    <a:pt x="459" y="316"/>
                  </a:lnTo>
                  <a:lnTo>
                    <a:pt x="460" y="315"/>
                  </a:lnTo>
                  <a:lnTo>
                    <a:pt x="461" y="318"/>
                  </a:lnTo>
                  <a:lnTo>
                    <a:pt x="465" y="319"/>
                  </a:lnTo>
                  <a:lnTo>
                    <a:pt x="462" y="320"/>
                  </a:lnTo>
                  <a:lnTo>
                    <a:pt x="463" y="321"/>
                  </a:lnTo>
                  <a:lnTo>
                    <a:pt x="467" y="321"/>
                  </a:lnTo>
                  <a:lnTo>
                    <a:pt x="471" y="324"/>
                  </a:lnTo>
                  <a:lnTo>
                    <a:pt x="473" y="325"/>
                  </a:lnTo>
                  <a:lnTo>
                    <a:pt x="469" y="325"/>
                  </a:lnTo>
                  <a:lnTo>
                    <a:pt x="474" y="328"/>
                  </a:lnTo>
                  <a:lnTo>
                    <a:pt x="474" y="330"/>
                  </a:lnTo>
                  <a:lnTo>
                    <a:pt x="469" y="327"/>
                  </a:lnTo>
                  <a:lnTo>
                    <a:pt x="468" y="327"/>
                  </a:lnTo>
                  <a:lnTo>
                    <a:pt x="467" y="327"/>
                  </a:lnTo>
                  <a:lnTo>
                    <a:pt x="467" y="328"/>
                  </a:lnTo>
                  <a:lnTo>
                    <a:pt x="466" y="328"/>
                  </a:lnTo>
                  <a:lnTo>
                    <a:pt x="466" y="326"/>
                  </a:lnTo>
                  <a:lnTo>
                    <a:pt x="467" y="326"/>
                  </a:lnTo>
                  <a:lnTo>
                    <a:pt x="466" y="325"/>
                  </a:lnTo>
                  <a:lnTo>
                    <a:pt x="465" y="325"/>
                  </a:lnTo>
                  <a:lnTo>
                    <a:pt x="465" y="322"/>
                  </a:lnTo>
                  <a:lnTo>
                    <a:pt x="463" y="324"/>
                  </a:lnTo>
                  <a:lnTo>
                    <a:pt x="462" y="325"/>
                  </a:lnTo>
                  <a:lnTo>
                    <a:pt x="461" y="321"/>
                  </a:lnTo>
                  <a:lnTo>
                    <a:pt x="461" y="328"/>
                  </a:lnTo>
                  <a:lnTo>
                    <a:pt x="460" y="330"/>
                  </a:lnTo>
                  <a:lnTo>
                    <a:pt x="459" y="327"/>
                  </a:lnTo>
                  <a:lnTo>
                    <a:pt x="457" y="327"/>
                  </a:lnTo>
                  <a:lnTo>
                    <a:pt x="456" y="330"/>
                  </a:lnTo>
                  <a:lnTo>
                    <a:pt x="455" y="330"/>
                  </a:lnTo>
                  <a:lnTo>
                    <a:pt x="454" y="328"/>
                  </a:lnTo>
                  <a:lnTo>
                    <a:pt x="454" y="326"/>
                  </a:lnTo>
                  <a:lnTo>
                    <a:pt x="454" y="325"/>
                  </a:lnTo>
                  <a:lnTo>
                    <a:pt x="454" y="322"/>
                  </a:lnTo>
                  <a:lnTo>
                    <a:pt x="454" y="324"/>
                  </a:lnTo>
                  <a:lnTo>
                    <a:pt x="452" y="324"/>
                  </a:lnTo>
                  <a:lnTo>
                    <a:pt x="451" y="319"/>
                  </a:lnTo>
                  <a:lnTo>
                    <a:pt x="449" y="319"/>
                  </a:lnTo>
                  <a:lnTo>
                    <a:pt x="448" y="319"/>
                  </a:lnTo>
                  <a:lnTo>
                    <a:pt x="446" y="321"/>
                  </a:lnTo>
                  <a:lnTo>
                    <a:pt x="446" y="322"/>
                  </a:lnTo>
                  <a:lnTo>
                    <a:pt x="445" y="322"/>
                  </a:lnTo>
                  <a:lnTo>
                    <a:pt x="445" y="320"/>
                  </a:lnTo>
                  <a:lnTo>
                    <a:pt x="445" y="318"/>
                  </a:lnTo>
                  <a:lnTo>
                    <a:pt x="444" y="316"/>
                  </a:lnTo>
                  <a:lnTo>
                    <a:pt x="443" y="318"/>
                  </a:lnTo>
                  <a:lnTo>
                    <a:pt x="442" y="319"/>
                  </a:lnTo>
                  <a:lnTo>
                    <a:pt x="442" y="318"/>
                  </a:lnTo>
                  <a:lnTo>
                    <a:pt x="440" y="318"/>
                  </a:lnTo>
                  <a:lnTo>
                    <a:pt x="442" y="320"/>
                  </a:lnTo>
                  <a:lnTo>
                    <a:pt x="444" y="324"/>
                  </a:lnTo>
                  <a:lnTo>
                    <a:pt x="448" y="324"/>
                  </a:lnTo>
                  <a:lnTo>
                    <a:pt x="448" y="325"/>
                  </a:lnTo>
                  <a:lnTo>
                    <a:pt x="445" y="325"/>
                  </a:lnTo>
                  <a:lnTo>
                    <a:pt x="448" y="328"/>
                  </a:lnTo>
                  <a:lnTo>
                    <a:pt x="450" y="330"/>
                  </a:lnTo>
                  <a:lnTo>
                    <a:pt x="451" y="332"/>
                  </a:lnTo>
                  <a:lnTo>
                    <a:pt x="457" y="334"/>
                  </a:lnTo>
                  <a:lnTo>
                    <a:pt x="456" y="336"/>
                  </a:lnTo>
                  <a:lnTo>
                    <a:pt x="461" y="339"/>
                  </a:lnTo>
                  <a:lnTo>
                    <a:pt x="459" y="338"/>
                  </a:lnTo>
                  <a:lnTo>
                    <a:pt x="457" y="339"/>
                  </a:lnTo>
                  <a:lnTo>
                    <a:pt x="462" y="342"/>
                  </a:lnTo>
                  <a:lnTo>
                    <a:pt x="457" y="339"/>
                  </a:lnTo>
                  <a:lnTo>
                    <a:pt x="456" y="339"/>
                  </a:lnTo>
                  <a:lnTo>
                    <a:pt x="455" y="343"/>
                  </a:lnTo>
                  <a:lnTo>
                    <a:pt x="455" y="338"/>
                  </a:lnTo>
                  <a:lnTo>
                    <a:pt x="455" y="337"/>
                  </a:lnTo>
                  <a:lnTo>
                    <a:pt x="452" y="339"/>
                  </a:lnTo>
                  <a:lnTo>
                    <a:pt x="452" y="337"/>
                  </a:lnTo>
                  <a:lnTo>
                    <a:pt x="451" y="336"/>
                  </a:lnTo>
                  <a:lnTo>
                    <a:pt x="451" y="337"/>
                  </a:lnTo>
                  <a:lnTo>
                    <a:pt x="450" y="339"/>
                  </a:lnTo>
                  <a:lnTo>
                    <a:pt x="449" y="333"/>
                  </a:lnTo>
                  <a:lnTo>
                    <a:pt x="448" y="339"/>
                  </a:lnTo>
                  <a:lnTo>
                    <a:pt x="448" y="340"/>
                  </a:lnTo>
                  <a:lnTo>
                    <a:pt x="446" y="342"/>
                  </a:lnTo>
                  <a:lnTo>
                    <a:pt x="446" y="339"/>
                  </a:lnTo>
                  <a:lnTo>
                    <a:pt x="446" y="334"/>
                  </a:lnTo>
                  <a:lnTo>
                    <a:pt x="445" y="336"/>
                  </a:lnTo>
                  <a:lnTo>
                    <a:pt x="444" y="336"/>
                  </a:lnTo>
                  <a:lnTo>
                    <a:pt x="446" y="330"/>
                  </a:lnTo>
                  <a:lnTo>
                    <a:pt x="445" y="327"/>
                  </a:lnTo>
                  <a:lnTo>
                    <a:pt x="445" y="330"/>
                  </a:lnTo>
                  <a:lnTo>
                    <a:pt x="444" y="334"/>
                  </a:lnTo>
                  <a:lnTo>
                    <a:pt x="443" y="333"/>
                  </a:lnTo>
                  <a:lnTo>
                    <a:pt x="444" y="327"/>
                  </a:lnTo>
                  <a:lnTo>
                    <a:pt x="443" y="327"/>
                  </a:lnTo>
                  <a:lnTo>
                    <a:pt x="442" y="330"/>
                  </a:lnTo>
                  <a:lnTo>
                    <a:pt x="443" y="332"/>
                  </a:lnTo>
                  <a:lnTo>
                    <a:pt x="442" y="331"/>
                  </a:lnTo>
                  <a:lnTo>
                    <a:pt x="443" y="324"/>
                  </a:lnTo>
                  <a:lnTo>
                    <a:pt x="442" y="324"/>
                  </a:lnTo>
                  <a:lnTo>
                    <a:pt x="440" y="330"/>
                  </a:lnTo>
                  <a:lnTo>
                    <a:pt x="440" y="332"/>
                  </a:lnTo>
                  <a:lnTo>
                    <a:pt x="438" y="333"/>
                  </a:lnTo>
                  <a:lnTo>
                    <a:pt x="437" y="332"/>
                  </a:lnTo>
                  <a:lnTo>
                    <a:pt x="436" y="327"/>
                  </a:lnTo>
                  <a:lnTo>
                    <a:pt x="436" y="326"/>
                  </a:lnTo>
                  <a:lnTo>
                    <a:pt x="434" y="326"/>
                  </a:lnTo>
                  <a:lnTo>
                    <a:pt x="432" y="326"/>
                  </a:lnTo>
                  <a:lnTo>
                    <a:pt x="432" y="324"/>
                  </a:lnTo>
                  <a:lnTo>
                    <a:pt x="433" y="322"/>
                  </a:lnTo>
                  <a:lnTo>
                    <a:pt x="432" y="320"/>
                  </a:lnTo>
                  <a:lnTo>
                    <a:pt x="432" y="321"/>
                  </a:lnTo>
                  <a:lnTo>
                    <a:pt x="431" y="324"/>
                  </a:lnTo>
                  <a:lnTo>
                    <a:pt x="431" y="326"/>
                  </a:lnTo>
                  <a:lnTo>
                    <a:pt x="428" y="326"/>
                  </a:lnTo>
                  <a:lnTo>
                    <a:pt x="428" y="324"/>
                  </a:lnTo>
                  <a:lnTo>
                    <a:pt x="426" y="322"/>
                  </a:lnTo>
                  <a:lnTo>
                    <a:pt x="425" y="324"/>
                  </a:lnTo>
                  <a:lnTo>
                    <a:pt x="425" y="325"/>
                  </a:lnTo>
                  <a:lnTo>
                    <a:pt x="426" y="327"/>
                  </a:lnTo>
                  <a:lnTo>
                    <a:pt x="428" y="330"/>
                  </a:lnTo>
                  <a:lnTo>
                    <a:pt x="426" y="330"/>
                  </a:lnTo>
                  <a:lnTo>
                    <a:pt x="428" y="331"/>
                  </a:lnTo>
                  <a:lnTo>
                    <a:pt x="428" y="332"/>
                  </a:lnTo>
                  <a:lnTo>
                    <a:pt x="433" y="336"/>
                  </a:lnTo>
                  <a:lnTo>
                    <a:pt x="434" y="337"/>
                  </a:lnTo>
                  <a:lnTo>
                    <a:pt x="438" y="337"/>
                  </a:lnTo>
                  <a:lnTo>
                    <a:pt x="436" y="338"/>
                  </a:lnTo>
                  <a:lnTo>
                    <a:pt x="436" y="339"/>
                  </a:lnTo>
                  <a:lnTo>
                    <a:pt x="440" y="339"/>
                  </a:lnTo>
                  <a:lnTo>
                    <a:pt x="442" y="340"/>
                  </a:lnTo>
                  <a:lnTo>
                    <a:pt x="440" y="340"/>
                  </a:lnTo>
                  <a:lnTo>
                    <a:pt x="439" y="340"/>
                  </a:lnTo>
                  <a:lnTo>
                    <a:pt x="439" y="342"/>
                  </a:lnTo>
                  <a:lnTo>
                    <a:pt x="440" y="342"/>
                  </a:lnTo>
                  <a:lnTo>
                    <a:pt x="443" y="343"/>
                  </a:lnTo>
                  <a:lnTo>
                    <a:pt x="442" y="344"/>
                  </a:lnTo>
                  <a:lnTo>
                    <a:pt x="443" y="345"/>
                  </a:lnTo>
                  <a:lnTo>
                    <a:pt x="444" y="344"/>
                  </a:lnTo>
                  <a:lnTo>
                    <a:pt x="444" y="343"/>
                  </a:lnTo>
                  <a:lnTo>
                    <a:pt x="445" y="343"/>
                  </a:lnTo>
                  <a:lnTo>
                    <a:pt x="446" y="343"/>
                  </a:lnTo>
                  <a:lnTo>
                    <a:pt x="446" y="345"/>
                  </a:lnTo>
                  <a:lnTo>
                    <a:pt x="450" y="344"/>
                  </a:lnTo>
                  <a:lnTo>
                    <a:pt x="448" y="345"/>
                  </a:lnTo>
                  <a:lnTo>
                    <a:pt x="448" y="347"/>
                  </a:lnTo>
                  <a:lnTo>
                    <a:pt x="451" y="348"/>
                  </a:lnTo>
                  <a:lnTo>
                    <a:pt x="448" y="349"/>
                  </a:lnTo>
                  <a:lnTo>
                    <a:pt x="449" y="349"/>
                  </a:lnTo>
                  <a:lnTo>
                    <a:pt x="449" y="350"/>
                  </a:lnTo>
                  <a:lnTo>
                    <a:pt x="450" y="350"/>
                  </a:lnTo>
                  <a:lnTo>
                    <a:pt x="451" y="350"/>
                  </a:lnTo>
                  <a:lnTo>
                    <a:pt x="452" y="350"/>
                  </a:lnTo>
                  <a:lnTo>
                    <a:pt x="452" y="351"/>
                  </a:lnTo>
                  <a:lnTo>
                    <a:pt x="454" y="353"/>
                  </a:lnTo>
                  <a:lnTo>
                    <a:pt x="457" y="351"/>
                  </a:lnTo>
                  <a:lnTo>
                    <a:pt x="457" y="353"/>
                  </a:lnTo>
                  <a:lnTo>
                    <a:pt x="455" y="353"/>
                  </a:lnTo>
                  <a:lnTo>
                    <a:pt x="454" y="353"/>
                  </a:lnTo>
                  <a:lnTo>
                    <a:pt x="455" y="354"/>
                  </a:lnTo>
                  <a:lnTo>
                    <a:pt x="459" y="356"/>
                  </a:lnTo>
                  <a:lnTo>
                    <a:pt x="457" y="356"/>
                  </a:lnTo>
                  <a:lnTo>
                    <a:pt x="452" y="354"/>
                  </a:lnTo>
                  <a:lnTo>
                    <a:pt x="452" y="355"/>
                  </a:lnTo>
                  <a:lnTo>
                    <a:pt x="452" y="357"/>
                  </a:lnTo>
                  <a:lnTo>
                    <a:pt x="456" y="357"/>
                  </a:lnTo>
                  <a:lnTo>
                    <a:pt x="459" y="359"/>
                  </a:lnTo>
                  <a:lnTo>
                    <a:pt x="460" y="359"/>
                  </a:lnTo>
                  <a:lnTo>
                    <a:pt x="462" y="359"/>
                  </a:lnTo>
                  <a:lnTo>
                    <a:pt x="465" y="359"/>
                  </a:lnTo>
                  <a:lnTo>
                    <a:pt x="466" y="360"/>
                  </a:lnTo>
                  <a:lnTo>
                    <a:pt x="461" y="360"/>
                  </a:lnTo>
                  <a:lnTo>
                    <a:pt x="461" y="361"/>
                  </a:lnTo>
                  <a:lnTo>
                    <a:pt x="463" y="361"/>
                  </a:lnTo>
                  <a:lnTo>
                    <a:pt x="465" y="361"/>
                  </a:lnTo>
                  <a:lnTo>
                    <a:pt x="461" y="362"/>
                  </a:lnTo>
                  <a:lnTo>
                    <a:pt x="460" y="362"/>
                  </a:lnTo>
                  <a:lnTo>
                    <a:pt x="459" y="362"/>
                  </a:lnTo>
                  <a:lnTo>
                    <a:pt x="459" y="365"/>
                  </a:lnTo>
                  <a:lnTo>
                    <a:pt x="457" y="365"/>
                  </a:lnTo>
                  <a:lnTo>
                    <a:pt x="457" y="361"/>
                  </a:lnTo>
                  <a:lnTo>
                    <a:pt x="459" y="361"/>
                  </a:lnTo>
                  <a:lnTo>
                    <a:pt x="457" y="360"/>
                  </a:lnTo>
                  <a:lnTo>
                    <a:pt x="456" y="360"/>
                  </a:lnTo>
                  <a:lnTo>
                    <a:pt x="456" y="363"/>
                  </a:lnTo>
                  <a:lnTo>
                    <a:pt x="455" y="362"/>
                  </a:lnTo>
                  <a:lnTo>
                    <a:pt x="455" y="361"/>
                  </a:lnTo>
                  <a:lnTo>
                    <a:pt x="455" y="360"/>
                  </a:lnTo>
                  <a:lnTo>
                    <a:pt x="454" y="360"/>
                  </a:lnTo>
                  <a:lnTo>
                    <a:pt x="454" y="362"/>
                  </a:lnTo>
                  <a:lnTo>
                    <a:pt x="454" y="363"/>
                  </a:lnTo>
                  <a:lnTo>
                    <a:pt x="452" y="363"/>
                  </a:lnTo>
                  <a:lnTo>
                    <a:pt x="455" y="363"/>
                  </a:lnTo>
                  <a:lnTo>
                    <a:pt x="455" y="365"/>
                  </a:lnTo>
                  <a:lnTo>
                    <a:pt x="456" y="365"/>
                  </a:lnTo>
                  <a:lnTo>
                    <a:pt x="456" y="366"/>
                  </a:lnTo>
                  <a:lnTo>
                    <a:pt x="455" y="367"/>
                  </a:lnTo>
                  <a:lnTo>
                    <a:pt x="457" y="367"/>
                  </a:lnTo>
                  <a:lnTo>
                    <a:pt x="459" y="367"/>
                  </a:lnTo>
                  <a:lnTo>
                    <a:pt x="461" y="366"/>
                  </a:lnTo>
                  <a:lnTo>
                    <a:pt x="462" y="367"/>
                  </a:lnTo>
                  <a:lnTo>
                    <a:pt x="466" y="363"/>
                  </a:lnTo>
                  <a:lnTo>
                    <a:pt x="466" y="365"/>
                  </a:lnTo>
                  <a:lnTo>
                    <a:pt x="467" y="365"/>
                  </a:lnTo>
                  <a:lnTo>
                    <a:pt x="465" y="367"/>
                  </a:lnTo>
                  <a:lnTo>
                    <a:pt x="466" y="367"/>
                  </a:lnTo>
                  <a:lnTo>
                    <a:pt x="467" y="366"/>
                  </a:lnTo>
                  <a:lnTo>
                    <a:pt x="468" y="365"/>
                  </a:lnTo>
                  <a:lnTo>
                    <a:pt x="469" y="366"/>
                  </a:lnTo>
                  <a:lnTo>
                    <a:pt x="469" y="367"/>
                  </a:lnTo>
                  <a:lnTo>
                    <a:pt x="471" y="368"/>
                  </a:lnTo>
                  <a:lnTo>
                    <a:pt x="471" y="369"/>
                  </a:lnTo>
                  <a:lnTo>
                    <a:pt x="469" y="369"/>
                  </a:lnTo>
                  <a:lnTo>
                    <a:pt x="467" y="368"/>
                  </a:lnTo>
                  <a:lnTo>
                    <a:pt x="466" y="368"/>
                  </a:lnTo>
                  <a:lnTo>
                    <a:pt x="465" y="368"/>
                  </a:lnTo>
                  <a:lnTo>
                    <a:pt x="466" y="369"/>
                  </a:lnTo>
                  <a:lnTo>
                    <a:pt x="468" y="372"/>
                  </a:lnTo>
                  <a:lnTo>
                    <a:pt x="472" y="373"/>
                  </a:lnTo>
                  <a:lnTo>
                    <a:pt x="474" y="371"/>
                  </a:lnTo>
                  <a:lnTo>
                    <a:pt x="479" y="371"/>
                  </a:lnTo>
                  <a:lnTo>
                    <a:pt x="481" y="373"/>
                  </a:lnTo>
                  <a:lnTo>
                    <a:pt x="484" y="374"/>
                  </a:lnTo>
                  <a:lnTo>
                    <a:pt x="485" y="374"/>
                  </a:lnTo>
                  <a:lnTo>
                    <a:pt x="486" y="375"/>
                  </a:lnTo>
                  <a:lnTo>
                    <a:pt x="487" y="374"/>
                  </a:lnTo>
                  <a:lnTo>
                    <a:pt x="487" y="377"/>
                  </a:lnTo>
                  <a:lnTo>
                    <a:pt x="490" y="378"/>
                  </a:lnTo>
                  <a:lnTo>
                    <a:pt x="490" y="379"/>
                  </a:lnTo>
                  <a:lnTo>
                    <a:pt x="492" y="379"/>
                  </a:lnTo>
                  <a:lnTo>
                    <a:pt x="493" y="378"/>
                  </a:lnTo>
                  <a:lnTo>
                    <a:pt x="495" y="378"/>
                  </a:lnTo>
                  <a:lnTo>
                    <a:pt x="495" y="375"/>
                  </a:lnTo>
                  <a:lnTo>
                    <a:pt x="496" y="375"/>
                  </a:lnTo>
                  <a:lnTo>
                    <a:pt x="496" y="377"/>
                  </a:lnTo>
                  <a:lnTo>
                    <a:pt x="495" y="379"/>
                  </a:lnTo>
                  <a:lnTo>
                    <a:pt x="495" y="380"/>
                  </a:lnTo>
                  <a:lnTo>
                    <a:pt x="496" y="381"/>
                  </a:lnTo>
                  <a:lnTo>
                    <a:pt x="498" y="381"/>
                  </a:lnTo>
                  <a:lnTo>
                    <a:pt x="499" y="381"/>
                  </a:lnTo>
                  <a:lnTo>
                    <a:pt x="501" y="381"/>
                  </a:lnTo>
                  <a:lnTo>
                    <a:pt x="503" y="383"/>
                  </a:lnTo>
                  <a:lnTo>
                    <a:pt x="501" y="383"/>
                  </a:lnTo>
                  <a:lnTo>
                    <a:pt x="498" y="383"/>
                  </a:lnTo>
                  <a:lnTo>
                    <a:pt x="498" y="384"/>
                  </a:lnTo>
                  <a:lnTo>
                    <a:pt x="502" y="386"/>
                  </a:lnTo>
                  <a:lnTo>
                    <a:pt x="503" y="386"/>
                  </a:lnTo>
                  <a:lnTo>
                    <a:pt x="504" y="386"/>
                  </a:lnTo>
                  <a:lnTo>
                    <a:pt x="505" y="387"/>
                  </a:lnTo>
                  <a:lnTo>
                    <a:pt x="510" y="387"/>
                  </a:lnTo>
                  <a:lnTo>
                    <a:pt x="514" y="387"/>
                  </a:lnTo>
                  <a:lnTo>
                    <a:pt x="516" y="387"/>
                  </a:lnTo>
                  <a:lnTo>
                    <a:pt x="516" y="389"/>
                  </a:lnTo>
                  <a:lnTo>
                    <a:pt x="515" y="389"/>
                  </a:lnTo>
                  <a:lnTo>
                    <a:pt x="513" y="389"/>
                  </a:lnTo>
                  <a:lnTo>
                    <a:pt x="515" y="391"/>
                  </a:lnTo>
                  <a:lnTo>
                    <a:pt x="515" y="392"/>
                  </a:lnTo>
                  <a:lnTo>
                    <a:pt x="511" y="390"/>
                  </a:lnTo>
                  <a:lnTo>
                    <a:pt x="510" y="390"/>
                  </a:lnTo>
                  <a:lnTo>
                    <a:pt x="509" y="390"/>
                  </a:lnTo>
                  <a:lnTo>
                    <a:pt x="509" y="391"/>
                  </a:lnTo>
                  <a:lnTo>
                    <a:pt x="510" y="392"/>
                  </a:lnTo>
                  <a:lnTo>
                    <a:pt x="509" y="392"/>
                  </a:lnTo>
                  <a:lnTo>
                    <a:pt x="509" y="391"/>
                  </a:lnTo>
                  <a:lnTo>
                    <a:pt x="508" y="390"/>
                  </a:lnTo>
                  <a:lnTo>
                    <a:pt x="507" y="389"/>
                  </a:lnTo>
                  <a:lnTo>
                    <a:pt x="503" y="389"/>
                  </a:lnTo>
                  <a:lnTo>
                    <a:pt x="504" y="390"/>
                  </a:lnTo>
                  <a:lnTo>
                    <a:pt x="508" y="392"/>
                  </a:lnTo>
                  <a:lnTo>
                    <a:pt x="509" y="395"/>
                  </a:lnTo>
                  <a:lnTo>
                    <a:pt x="515" y="397"/>
                  </a:lnTo>
                  <a:lnTo>
                    <a:pt x="515" y="398"/>
                  </a:lnTo>
                  <a:lnTo>
                    <a:pt x="514" y="398"/>
                  </a:lnTo>
                  <a:lnTo>
                    <a:pt x="510" y="396"/>
                  </a:lnTo>
                  <a:lnTo>
                    <a:pt x="509" y="396"/>
                  </a:lnTo>
                  <a:lnTo>
                    <a:pt x="509" y="398"/>
                  </a:lnTo>
                  <a:lnTo>
                    <a:pt x="508" y="398"/>
                  </a:lnTo>
                  <a:lnTo>
                    <a:pt x="508" y="396"/>
                  </a:lnTo>
                  <a:lnTo>
                    <a:pt x="508" y="395"/>
                  </a:lnTo>
                  <a:lnTo>
                    <a:pt x="507" y="395"/>
                  </a:lnTo>
                  <a:lnTo>
                    <a:pt x="505" y="398"/>
                  </a:lnTo>
                  <a:lnTo>
                    <a:pt x="504" y="401"/>
                  </a:lnTo>
                  <a:lnTo>
                    <a:pt x="503" y="402"/>
                  </a:lnTo>
                  <a:lnTo>
                    <a:pt x="502" y="403"/>
                  </a:lnTo>
                  <a:lnTo>
                    <a:pt x="502" y="402"/>
                  </a:lnTo>
                  <a:lnTo>
                    <a:pt x="502" y="398"/>
                  </a:lnTo>
                  <a:lnTo>
                    <a:pt x="498" y="398"/>
                  </a:lnTo>
                  <a:lnTo>
                    <a:pt x="498" y="397"/>
                  </a:lnTo>
                  <a:lnTo>
                    <a:pt x="498" y="396"/>
                  </a:lnTo>
                  <a:lnTo>
                    <a:pt x="497" y="395"/>
                  </a:lnTo>
                  <a:lnTo>
                    <a:pt x="497" y="396"/>
                  </a:lnTo>
                  <a:lnTo>
                    <a:pt x="496" y="397"/>
                  </a:lnTo>
                  <a:lnTo>
                    <a:pt x="493" y="398"/>
                  </a:lnTo>
                  <a:lnTo>
                    <a:pt x="493" y="399"/>
                  </a:lnTo>
                  <a:lnTo>
                    <a:pt x="492" y="402"/>
                  </a:lnTo>
                  <a:lnTo>
                    <a:pt x="491" y="403"/>
                  </a:lnTo>
                  <a:lnTo>
                    <a:pt x="491" y="402"/>
                  </a:lnTo>
                  <a:lnTo>
                    <a:pt x="491" y="397"/>
                  </a:lnTo>
                  <a:lnTo>
                    <a:pt x="490" y="396"/>
                  </a:lnTo>
                  <a:lnTo>
                    <a:pt x="490" y="399"/>
                  </a:lnTo>
                  <a:lnTo>
                    <a:pt x="489" y="399"/>
                  </a:lnTo>
                  <a:lnTo>
                    <a:pt x="487" y="397"/>
                  </a:lnTo>
                  <a:lnTo>
                    <a:pt x="487" y="396"/>
                  </a:lnTo>
                  <a:lnTo>
                    <a:pt x="487" y="397"/>
                  </a:lnTo>
                  <a:lnTo>
                    <a:pt x="486" y="397"/>
                  </a:lnTo>
                  <a:lnTo>
                    <a:pt x="486" y="398"/>
                  </a:lnTo>
                  <a:lnTo>
                    <a:pt x="485" y="397"/>
                  </a:lnTo>
                  <a:lnTo>
                    <a:pt x="484" y="397"/>
                  </a:lnTo>
                  <a:lnTo>
                    <a:pt x="485" y="396"/>
                  </a:lnTo>
                  <a:lnTo>
                    <a:pt x="485" y="395"/>
                  </a:lnTo>
                  <a:lnTo>
                    <a:pt x="485" y="393"/>
                  </a:lnTo>
                  <a:lnTo>
                    <a:pt x="485" y="392"/>
                  </a:lnTo>
                  <a:lnTo>
                    <a:pt x="485" y="391"/>
                  </a:lnTo>
                  <a:lnTo>
                    <a:pt x="484" y="391"/>
                  </a:lnTo>
                  <a:lnTo>
                    <a:pt x="484" y="392"/>
                  </a:lnTo>
                  <a:lnTo>
                    <a:pt x="484" y="393"/>
                  </a:lnTo>
                  <a:lnTo>
                    <a:pt x="485" y="395"/>
                  </a:lnTo>
                  <a:lnTo>
                    <a:pt x="485" y="396"/>
                  </a:lnTo>
                  <a:lnTo>
                    <a:pt x="484" y="396"/>
                  </a:lnTo>
                  <a:lnTo>
                    <a:pt x="484" y="397"/>
                  </a:lnTo>
                  <a:lnTo>
                    <a:pt x="484" y="399"/>
                  </a:lnTo>
                  <a:lnTo>
                    <a:pt x="484" y="401"/>
                  </a:lnTo>
                  <a:lnTo>
                    <a:pt x="484" y="402"/>
                  </a:lnTo>
                  <a:lnTo>
                    <a:pt x="483" y="401"/>
                  </a:lnTo>
                  <a:lnTo>
                    <a:pt x="483" y="399"/>
                  </a:lnTo>
                  <a:lnTo>
                    <a:pt x="481" y="398"/>
                  </a:lnTo>
                  <a:lnTo>
                    <a:pt x="480" y="398"/>
                  </a:lnTo>
                  <a:lnTo>
                    <a:pt x="480" y="395"/>
                  </a:lnTo>
                  <a:lnTo>
                    <a:pt x="479" y="395"/>
                  </a:lnTo>
                  <a:lnTo>
                    <a:pt x="477" y="396"/>
                  </a:lnTo>
                  <a:lnTo>
                    <a:pt x="477" y="397"/>
                  </a:lnTo>
                  <a:lnTo>
                    <a:pt x="477" y="398"/>
                  </a:lnTo>
                  <a:lnTo>
                    <a:pt x="475" y="399"/>
                  </a:lnTo>
                  <a:lnTo>
                    <a:pt x="475" y="401"/>
                  </a:lnTo>
                  <a:lnTo>
                    <a:pt x="477" y="402"/>
                  </a:lnTo>
                  <a:lnTo>
                    <a:pt x="479" y="402"/>
                  </a:lnTo>
                  <a:lnTo>
                    <a:pt x="480" y="403"/>
                  </a:lnTo>
                  <a:lnTo>
                    <a:pt x="483" y="404"/>
                  </a:lnTo>
                  <a:lnTo>
                    <a:pt x="483" y="405"/>
                  </a:lnTo>
                  <a:lnTo>
                    <a:pt x="481" y="405"/>
                  </a:lnTo>
                  <a:lnTo>
                    <a:pt x="481" y="404"/>
                  </a:lnTo>
                  <a:lnTo>
                    <a:pt x="480" y="405"/>
                  </a:lnTo>
                  <a:lnTo>
                    <a:pt x="480" y="404"/>
                  </a:lnTo>
                  <a:lnTo>
                    <a:pt x="479" y="404"/>
                  </a:lnTo>
                  <a:lnTo>
                    <a:pt x="478" y="404"/>
                  </a:lnTo>
                  <a:lnTo>
                    <a:pt x="478" y="405"/>
                  </a:lnTo>
                  <a:lnTo>
                    <a:pt x="479" y="407"/>
                  </a:lnTo>
                  <a:lnTo>
                    <a:pt x="480" y="408"/>
                  </a:lnTo>
                  <a:lnTo>
                    <a:pt x="481" y="408"/>
                  </a:lnTo>
                  <a:lnTo>
                    <a:pt x="483" y="407"/>
                  </a:lnTo>
                  <a:lnTo>
                    <a:pt x="484" y="405"/>
                  </a:lnTo>
                  <a:lnTo>
                    <a:pt x="484" y="407"/>
                  </a:lnTo>
                  <a:lnTo>
                    <a:pt x="484" y="408"/>
                  </a:lnTo>
                  <a:lnTo>
                    <a:pt x="487" y="408"/>
                  </a:lnTo>
                  <a:lnTo>
                    <a:pt x="490" y="407"/>
                  </a:lnTo>
                  <a:lnTo>
                    <a:pt x="491" y="407"/>
                  </a:lnTo>
                  <a:lnTo>
                    <a:pt x="491" y="405"/>
                  </a:lnTo>
                  <a:lnTo>
                    <a:pt x="492" y="405"/>
                  </a:lnTo>
                  <a:lnTo>
                    <a:pt x="493" y="407"/>
                  </a:lnTo>
                  <a:lnTo>
                    <a:pt x="499" y="407"/>
                  </a:lnTo>
                  <a:lnTo>
                    <a:pt x="501" y="407"/>
                  </a:lnTo>
                  <a:lnTo>
                    <a:pt x="502" y="407"/>
                  </a:lnTo>
                  <a:lnTo>
                    <a:pt x="503" y="407"/>
                  </a:lnTo>
                  <a:lnTo>
                    <a:pt x="504" y="408"/>
                  </a:lnTo>
                  <a:lnTo>
                    <a:pt x="504" y="407"/>
                  </a:lnTo>
                  <a:lnTo>
                    <a:pt x="505" y="407"/>
                  </a:lnTo>
                  <a:lnTo>
                    <a:pt x="507" y="407"/>
                  </a:lnTo>
                  <a:lnTo>
                    <a:pt x="508" y="407"/>
                  </a:lnTo>
                  <a:lnTo>
                    <a:pt x="510" y="407"/>
                  </a:lnTo>
                  <a:lnTo>
                    <a:pt x="511" y="408"/>
                  </a:lnTo>
                  <a:lnTo>
                    <a:pt x="514" y="408"/>
                  </a:lnTo>
                  <a:lnTo>
                    <a:pt x="515" y="408"/>
                  </a:lnTo>
                  <a:lnTo>
                    <a:pt x="518" y="408"/>
                  </a:lnTo>
                  <a:lnTo>
                    <a:pt x="519" y="408"/>
                  </a:lnTo>
                  <a:lnTo>
                    <a:pt x="521" y="409"/>
                  </a:lnTo>
                  <a:lnTo>
                    <a:pt x="522" y="409"/>
                  </a:lnTo>
                  <a:lnTo>
                    <a:pt x="524" y="409"/>
                  </a:lnTo>
                  <a:lnTo>
                    <a:pt x="526" y="410"/>
                  </a:lnTo>
                  <a:lnTo>
                    <a:pt x="527" y="411"/>
                  </a:lnTo>
                  <a:lnTo>
                    <a:pt x="528" y="411"/>
                  </a:lnTo>
                  <a:lnTo>
                    <a:pt x="531" y="411"/>
                  </a:lnTo>
                  <a:lnTo>
                    <a:pt x="532" y="413"/>
                  </a:lnTo>
                  <a:lnTo>
                    <a:pt x="533" y="413"/>
                  </a:lnTo>
                  <a:lnTo>
                    <a:pt x="534" y="413"/>
                  </a:lnTo>
                  <a:lnTo>
                    <a:pt x="534" y="414"/>
                  </a:lnTo>
                  <a:lnTo>
                    <a:pt x="536" y="414"/>
                  </a:lnTo>
                  <a:lnTo>
                    <a:pt x="536" y="415"/>
                  </a:lnTo>
                  <a:lnTo>
                    <a:pt x="537" y="416"/>
                  </a:lnTo>
                  <a:lnTo>
                    <a:pt x="539" y="415"/>
                  </a:lnTo>
                  <a:lnTo>
                    <a:pt x="540" y="415"/>
                  </a:lnTo>
                  <a:lnTo>
                    <a:pt x="542" y="415"/>
                  </a:lnTo>
                  <a:lnTo>
                    <a:pt x="543" y="415"/>
                  </a:lnTo>
                  <a:lnTo>
                    <a:pt x="544" y="416"/>
                  </a:lnTo>
                  <a:lnTo>
                    <a:pt x="546" y="415"/>
                  </a:lnTo>
                  <a:lnTo>
                    <a:pt x="544" y="416"/>
                  </a:lnTo>
                  <a:lnTo>
                    <a:pt x="544" y="417"/>
                  </a:lnTo>
                  <a:lnTo>
                    <a:pt x="550" y="420"/>
                  </a:lnTo>
                  <a:lnTo>
                    <a:pt x="545" y="419"/>
                  </a:lnTo>
                  <a:lnTo>
                    <a:pt x="543" y="419"/>
                  </a:lnTo>
                  <a:lnTo>
                    <a:pt x="543" y="420"/>
                  </a:lnTo>
                  <a:lnTo>
                    <a:pt x="544" y="421"/>
                  </a:lnTo>
                  <a:lnTo>
                    <a:pt x="542" y="420"/>
                  </a:lnTo>
                  <a:lnTo>
                    <a:pt x="542" y="417"/>
                  </a:lnTo>
                  <a:lnTo>
                    <a:pt x="540" y="417"/>
                  </a:lnTo>
                  <a:lnTo>
                    <a:pt x="540" y="419"/>
                  </a:lnTo>
                  <a:lnTo>
                    <a:pt x="539" y="417"/>
                  </a:lnTo>
                  <a:lnTo>
                    <a:pt x="538" y="417"/>
                  </a:lnTo>
                  <a:lnTo>
                    <a:pt x="538" y="420"/>
                  </a:lnTo>
                  <a:lnTo>
                    <a:pt x="537" y="421"/>
                  </a:lnTo>
                  <a:lnTo>
                    <a:pt x="536" y="422"/>
                  </a:lnTo>
                  <a:lnTo>
                    <a:pt x="536" y="423"/>
                  </a:lnTo>
                  <a:lnTo>
                    <a:pt x="534" y="425"/>
                  </a:lnTo>
                  <a:lnTo>
                    <a:pt x="533" y="425"/>
                  </a:lnTo>
                  <a:lnTo>
                    <a:pt x="533" y="426"/>
                  </a:lnTo>
                  <a:lnTo>
                    <a:pt x="532" y="427"/>
                  </a:lnTo>
                  <a:lnTo>
                    <a:pt x="532" y="426"/>
                  </a:lnTo>
                  <a:lnTo>
                    <a:pt x="531" y="425"/>
                  </a:lnTo>
                  <a:lnTo>
                    <a:pt x="531" y="423"/>
                  </a:lnTo>
                  <a:lnTo>
                    <a:pt x="532" y="422"/>
                  </a:lnTo>
                  <a:lnTo>
                    <a:pt x="531" y="422"/>
                  </a:lnTo>
                  <a:lnTo>
                    <a:pt x="531" y="421"/>
                  </a:lnTo>
                  <a:lnTo>
                    <a:pt x="531" y="420"/>
                  </a:lnTo>
                  <a:lnTo>
                    <a:pt x="531" y="419"/>
                  </a:lnTo>
                  <a:lnTo>
                    <a:pt x="531" y="417"/>
                  </a:lnTo>
                  <a:lnTo>
                    <a:pt x="531" y="416"/>
                  </a:lnTo>
                  <a:lnTo>
                    <a:pt x="531" y="415"/>
                  </a:lnTo>
                  <a:lnTo>
                    <a:pt x="530" y="414"/>
                  </a:lnTo>
                  <a:lnTo>
                    <a:pt x="528" y="414"/>
                  </a:lnTo>
                  <a:lnTo>
                    <a:pt x="527" y="414"/>
                  </a:lnTo>
                  <a:lnTo>
                    <a:pt x="528" y="415"/>
                  </a:lnTo>
                  <a:lnTo>
                    <a:pt x="530" y="416"/>
                  </a:lnTo>
                  <a:lnTo>
                    <a:pt x="530" y="417"/>
                  </a:lnTo>
                  <a:lnTo>
                    <a:pt x="528" y="417"/>
                  </a:lnTo>
                  <a:lnTo>
                    <a:pt x="527" y="417"/>
                  </a:lnTo>
                  <a:lnTo>
                    <a:pt x="527" y="419"/>
                  </a:lnTo>
                  <a:lnTo>
                    <a:pt x="528" y="420"/>
                  </a:lnTo>
                  <a:lnTo>
                    <a:pt x="528" y="421"/>
                  </a:lnTo>
                  <a:lnTo>
                    <a:pt x="528" y="423"/>
                  </a:lnTo>
                  <a:lnTo>
                    <a:pt x="527" y="423"/>
                  </a:lnTo>
                  <a:lnTo>
                    <a:pt x="527" y="422"/>
                  </a:lnTo>
                  <a:lnTo>
                    <a:pt x="527" y="421"/>
                  </a:lnTo>
                  <a:lnTo>
                    <a:pt x="526" y="420"/>
                  </a:lnTo>
                  <a:lnTo>
                    <a:pt x="526" y="421"/>
                  </a:lnTo>
                  <a:lnTo>
                    <a:pt x="525" y="421"/>
                  </a:lnTo>
                  <a:lnTo>
                    <a:pt x="525" y="422"/>
                  </a:lnTo>
                  <a:lnTo>
                    <a:pt x="524" y="422"/>
                  </a:lnTo>
                  <a:lnTo>
                    <a:pt x="524" y="421"/>
                  </a:lnTo>
                  <a:lnTo>
                    <a:pt x="524" y="420"/>
                  </a:lnTo>
                  <a:lnTo>
                    <a:pt x="522" y="419"/>
                  </a:lnTo>
                  <a:lnTo>
                    <a:pt x="522" y="417"/>
                  </a:lnTo>
                  <a:lnTo>
                    <a:pt x="521" y="419"/>
                  </a:lnTo>
                  <a:lnTo>
                    <a:pt x="521" y="420"/>
                  </a:lnTo>
                  <a:lnTo>
                    <a:pt x="521" y="422"/>
                  </a:lnTo>
                  <a:lnTo>
                    <a:pt x="522" y="423"/>
                  </a:lnTo>
                  <a:lnTo>
                    <a:pt x="522" y="426"/>
                  </a:lnTo>
                  <a:lnTo>
                    <a:pt x="522" y="427"/>
                  </a:lnTo>
                  <a:lnTo>
                    <a:pt x="521" y="427"/>
                  </a:lnTo>
                  <a:lnTo>
                    <a:pt x="521" y="426"/>
                  </a:lnTo>
                  <a:lnTo>
                    <a:pt x="520" y="425"/>
                  </a:lnTo>
                  <a:lnTo>
                    <a:pt x="520" y="423"/>
                  </a:lnTo>
                  <a:lnTo>
                    <a:pt x="519" y="422"/>
                  </a:lnTo>
                  <a:lnTo>
                    <a:pt x="519" y="419"/>
                  </a:lnTo>
                  <a:lnTo>
                    <a:pt x="518" y="419"/>
                  </a:lnTo>
                  <a:lnTo>
                    <a:pt x="518" y="420"/>
                  </a:lnTo>
                  <a:lnTo>
                    <a:pt x="516" y="420"/>
                  </a:lnTo>
                  <a:lnTo>
                    <a:pt x="516" y="419"/>
                  </a:lnTo>
                  <a:lnTo>
                    <a:pt x="516" y="416"/>
                  </a:lnTo>
                  <a:lnTo>
                    <a:pt x="515" y="416"/>
                  </a:lnTo>
                  <a:lnTo>
                    <a:pt x="515" y="419"/>
                  </a:lnTo>
                  <a:lnTo>
                    <a:pt x="515" y="420"/>
                  </a:lnTo>
                  <a:lnTo>
                    <a:pt x="515" y="421"/>
                  </a:lnTo>
                  <a:lnTo>
                    <a:pt x="515" y="422"/>
                  </a:lnTo>
                  <a:lnTo>
                    <a:pt x="514" y="422"/>
                  </a:lnTo>
                  <a:lnTo>
                    <a:pt x="513" y="422"/>
                  </a:lnTo>
                  <a:lnTo>
                    <a:pt x="513" y="421"/>
                  </a:lnTo>
                  <a:lnTo>
                    <a:pt x="511" y="425"/>
                  </a:lnTo>
                  <a:lnTo>
                    <a:pt x="510" y="426"/>
                  </a:lnTo>
                  <a:lnTo>
                    <a:pt x="510" y="421"/>
                  </a:lnTo>
                  <a:lnTo>
                    <a:pt x="509" y="421"/>
                  </a:lnTo>
                  <a:lnTo>
                    <a:pt x="509" y="423"/>
                  </a:lnTo>
                  <a:lnTo>
                    <a:pt x="509" y="425"/>
                  </a:lnTo>
                  <a:lnTo>
                    <a:pt x="508" y="425"/>
                  </a:lnTo>
                  <a:lnTo>
                    <a:pt x="508" y="426"/>
                  </a:lnTo>
                  <a:lnTo>
                    <a:pt x="508" y="427"/>
                  </a:lnTo>
                  <a:lnTo>
                    <a:pt x="507" y="427"/>
                  </a:lnTo>
                  <a:lnTo>
                    <a:pt x="507" y="428"/>
                  </a:lnTo>
                  <a:lnTo>
                    <a:pt x="505" y="429"/>
                  </a:lnTo>
                  <a:lnTo>
                    <a:pt x="504" y="429"/>
                  </a:lnTo>
                  <a:lnTo>
                    <a:pt x="504" y="428"/>
                  </a:lnTo>
                  <a:lnTo>
                    <a:pt x="503" y="428"/>
                  </a:lnTo>
                  <a:lnTo>
                    <a:pt x="503" y="427"/>
                  </a:lnTo>
                  <a:lnTo>
                    <a:pt x="503" y="426"/>
                  </a:lnTo>
                  <a:lnTo>
                    <a:pt x="503" y="425"/>
                  </a:lnTo>
                  <a:lnTo>
                    <a:pt x="502" y="425"/>
                  </a:lnTo>
                  <a:lnTo>
                    <a:pt x="502" y="426"/>
                  </a:lnTo>
                  <a:lnTo>
                    <a:pt x="502" y="425"/>
                  </a:lnTo>
                  <a:lnTo>
                    <a:pt x="502" y="423"/>
                  </a:lnTo>
                  <a:lnTo>
                    <a:pt x="502" y="422"/>
                  </a:lnTo>
                  <a:lnTo>
                    <a:pt x="501" y="422"/>
                  </a:lnTo>
                  <a:lnTo>
                    <a:pt x="499" y="422"/>
                  </a:lnTo>
                  <a:lnTo>
                    <a:pt x="499" y="423"/>
                  </a:lnTo>
                  <a:lnTo>
                    <a:pt x="498" y="423"/>
                  </a:lnTo>
                  <a:lnTo>
                    <a:pt x="498" y="425"/>
                  </a:lnTo>
                  <a:lnTo>
                    <a:pt x="498" y="426"/>
                  </a:lnTo>
                  <a:lnTo>
                    <a:pt x="499" y="426"/>
                  </a:lnTo>
                  <a:lnTo>
                    <a:pt x="498" y="427"/>
                  </a:lnTo>
                  <a:lnTo>
                    <a:pt x="498" y="428"/>
                  </a:lnTo>
                  <a:lnTo>
                    <a:pt x="499" y="428"/>
                  </a:lnTo>
                  <a:lnTo>
                    <a:pt x="498" y="429"/>
                  </a:lnTo>
                  <a:lnTo>
                    <a:pt x="497" y="429"/>
                  </a:lnTo>
                  <a:lnTo>
                    <a:pt x="497" y="428"/>
                  </a:lnTo>
                  <a:lnTo>
                    <a:pt x="496" y="428"/>
                  </a:lnTo>
                  <a:lnTo>
                    <a:pt x="495" y="427"/>
                  </a:lnTo>
                  <a:lnTo>
                    <a:pt x="495" y="428"/>
                  </a:lnTo>
                  <a:lnTo>
                    <a:pt x="493" y="428"/>
                  </a:lnTo>
                  <a:lnTo>
                    <a:pt x="492" y="429"/>
                  </a:lnTo>
                  <a:lnTo>
                    <a:pt x="492" y="428"/>
                  </a:lnTo>
                  <a:lnTo>
                    <a:pt x="491" y="428"/>
                  </a:lnTo>
                  <a:lnTo>
                    <a:pt x="491" y="426"/>
                  </a:lnTo>
                  <a:lnTo>
                    <a:pt x="490" y="426"/>
                  </a:lnTo>
                  <a:lnTo>
                    <a:pt x="489" y="427"/>
                  </a:lnTo>
                  <a:lnTo>
                    <a:pt x="490" y="427"/>
                  </a:lnTo>
                  <a:lnTo>
                    <a:pt x="490" y="428"/>
                  </a:lnTo>
                  <a:lnTo>
                    <a:pt x="490" y="429"/>
                  </a:lnTo>
                  <a:lnTo>
                    <a:pt x="489" y="428"/>
                  </a:lnTo>
                  <a:lnTo>
                    <a:pt x="487" y="428"/>
                  </a:lnTo>
                  <a:lnTo>
                    <a:pt x="486" y="428"/>
                  </a:lnTo>
                  <a:lnTo>
                    <a:pt x="486" y="427"/>
                  </a:lnTo>
                  <a:lnTo>
                    <a:pt x="485" y="427"/>
                  </a:lnTo>
                  <a:lnTo>
                    <a:pt x="484" y="427"/>
                  </a:lnTo>
                  <a:lnTo>
                    <a:pt x="483" y="427"/>
                  </a:lnTo>
                  <a:lnTo>
                    <a:pt x="483" y="428"/>
                  </a:lnTo>
                  <a:lnTo>
                    <a:pt x="481" y="428"/>
                  </a:lnTo>
                  <a:lnTo>
                    <a:pt x="481" y="429"/>
                  </a:lnTo>
                  <a:lnTo>
                    <a:pt x="483" y="429"/>
                  </a:lnTo>
                  <a:lnTo>
                    <a:pt x="484" y="429"/>
                  </a:lnTo>
                  <a:lnTo>
                    <a:pt x="485" y="431"/>
                  </a:lnTo>
                  <a:lnTo>
                    <a:pt x="486" y="431"/>
                  </a:lnTo>
                  <a:lnTo>
                    <a:pt x="487" y="429"/>
                  </a:lnTo>
                  <a:lnTo>
                    <a:pt x="489" y="429"/>
                  </a:lnTo>
                  <a:lnTo>
                    <a:pt x="490" y="429"/>
                  </a:lnTo>
                  <a:lnTo>
                    <a:pt x="491" y="429"/>
                  </a:lnTo>
                  <a:lnTo>
                    <a:pt x="492" y="431"/>
                  </a:lnTo>
                  <a:lnTo>
                    <a:pt x="493" y="431"/>
                  </a:lnTo>
                  <a:lnTo>
                    <a:pt x="495" y="431"/>
                  </a:lnTo>
                  <a:lnTo>
                    <a:pt x="499" y="431"/>
                  </a:lnTo>
                  <a:lnTo>
                    <a:pt x="501" y="431"/>
                  </a:lnTo>
                  <a:lnTo>
                    <a:pt x="501" y="432"/>
                  </a:lnTo>
                  <a:lnTo>
                    <a:pt x="499" y="432"/>
                  </a:lnTo>
                  <a:lnTo>
                    <a:pt x="498" y="432"/>
                  </a:lnTo>
                  <a:lnTo>
                    <a:pt x="497" y="432"/>
                  </a:lnTo>
                  <a:lnTo>
                    <a:pt x="496" y="432"/>
                  </a:lnTo>
                  <a:lnTo>
                    <a:pt x="496" y="433"/>
                  </a:lnTo>
                  <a:lnTo>
                    <a:pt x="497" y="433"/>
                  </a:lnTo>
                  <a:lnTo>
                    <a:pt x="497" y="434"/>
                  </a:lnTo>
                  <a:lnTo>
                    <a:pt x="497" y="435"/>
                  </a:lnTo>
                  <a:lnTo>
                    <a:pt x="496" y="434"/>
                  </a:lnTo>
                  <a:lnTo>
                    <a:pt x="495" y="433"/>
                  </a:lnTo>
                  <a:lnTo>
                    <a:pt x="495" y="432"/>
                  </a:lnTo>
                  <a:lnTo>
                    <a:pt x="493" y="432"/>
                  </a:lnTo>
                  <a:lnTo>
                    <a:pt x="492" y="432"/>
                  </a:lnTo>
                  <a:lnTo>
                    <a:pt x="493" y="433"/>
                  </a:lnTo>
                  <a:lnTo>
                    <a:pt x="493" y="434"/>
                  </a:lnTo>
                  <a:lnTo>
                    <a:pt x="492" y="434"/>
                  </a:lnTo>
                  <a:lnTo>
                    <a:pt x="492" y="433"/>
                  </a:lnTo>
                  <a:lnTo>
                    <a:pt x="491" y="433"/>
                  </a:lnTo>
                  <a:lnTo>
                    <a:pt x="491" y="432"/>
                  </a:lnTo>
                  <a:lnTo>
                    <a:pt x="491" y="433"/>
                  </a:lnTo>
                  <a:lnTo>
                    <a:pt x="490" y="433"/>
                  </a:lnTo>
                  <a:lnTo>
                    <a:pt x="490" y="432"/>
                  </a:lnTo>
                  <a:lnTo>
                    <a:pt x="489" y="432"/>
                  </a:lnTo>
                  <a:lnTo>
                    <a:pt x="487" y="432"/>
                  </a:lnTo>
                  <a:lnTo>
                    <a:pt x="489" y="432"/>
                  </a:lnTo>
                  <a:lnTo>
                    <a:pt x="489" y="433"/>
                  </a:lnTo>
                  <a:lnTo>
                    <a:pt x="489" y="434"/>
                  </a:lnTo>
                  <a:lnTo>
                    <a:pt x="489" y="435"/>
                  </a:lnTo>
                  <a:lnTo>
                    <a:pt x="490" y="435"/>
                  </a:lnTo>
                  <a:lnTo>
                    <a:pt x="490" y="437"/>
                  </a:lnTo>
                  <a:lnTo>
                    <a:pt x="490" y="438"/>
                  </a:lnTo>
                  <a:lnTo>
                    <a:pt x="489" y="438"/>
                  </a:lnTo>
                  <a:lnTo>
                    <a:pt x="489" y="437"/>
                  </a:lnTo>
                  <a:lnTo>
                    <a:pt x="487" y="437"/>
                  </a:lnTo>
                  <a:lnTo>
                    <a:pt x="487" y="435"/>
                  </a:lnTo>
                  <a:lnTo>
                    <a:pt x="487" y="434"/>
                  </a:lnTo>
                  <a:lnTo>
                    <a:pt x="486" y="434"/>
                  </a:lnTo>
                  <a:lnTo>
                    <a:pt x="486" y="433"/>
                  </a:lnTo>
                  <a:lnTo>
                    <a:pt x="485" y="433"/>
                  </a:lnTo>
                  <a:lnTo>
                    <a:pt x="485" y="432"/>
                  </a:lnTo>
                  <a:lnTo>
                    <a:pt x="484" y="432"/>
                  </a:lnTo>
                  <a:lnTo>
                    <a:pt x="484" y="433"/>
                  </a:lnTo>
                  <a:lnTo>
                    <a:pt x="484" y="434"/>
                  </a:lnTo>
                  <a:lnTo>
                    <a:pt x="484" y="435"/>
                  </a:lnTo>
                  <a:lnTo>
                    <a:pt x="484" y="437"/>
                  </a:lnTo>
                  <a:lnTo>
                    <a:pt x="484" y="435"/>
                  </a:lnTo>
                  <a:lnTo>
                    <a:pt x="483" y="435"/>
                  </a:lnTo>
                  <a:lnTo>
                    <a:pt x="483" y="434"/>
                  </a:lnTo>
                  <a:lnTo>
                    <a:pt x="483" y="433"/>
                  </a:lnTo>
                  <a:lnTo>
                    <a:pt x="481" y="433"/>
                  </a:lnTo>
                  <a:lnTo>
                    <a:pt x="480" y="433"/>
                  </a:lnTo>
                  <a:lnTo>
                    <a:pt x="480" y="434"/>
                  </a:lnTo>
                  <a:lnTo>
                    <a:pt x="481" y="434"/>
                  </a:lnTo>
                  <a:lnTo>
                    <a:pt x="481" y="435"/>
                  </a:lnTo>
                  <a:lnTo>
                    <a:pt x="481" y="437"/>
                  </a:lnTo>
                  <a:lnTo>
                    <a:pt x="480" y="437"/>
                  </a:lnTo>
                  <a:lnTo>
                    <a:pt x="480" y="438"/>
                  </a:lnTo>
                  <a:lnTo>
                    <a:pt x="480" y="439"/>
                  </a:lnTo>
                  <a:lnTo>
                    <a:pt x="480" y="438"/>
                  </a:lnTo>
                  <a:lnTo>
                    <a:pt x="479" y="438"/>
                  </a:lnTo>
                  <a:lnTo>
                    <a:pt x="479" y="437"/>
                  </a:lnTo>
                  <a:lnTo>
                    <a:pt x="478" y="435"/>
                  </a:lnTo>
                  <a:lnTo>
                    <a:pt x="478" y="437"/>
                  </a:lnTo>
                  <a:lnTo>
                    <a:pt x="477" y="437"/>
                  </a:lnTo>
                  <a:lnTo>
                    <a:pt x="477" y="435"/>
                  </a:lnTo>
                  <a:lnTo>
                    <a:pt x="477" y="434"/>
                  </a:lnTo>
                  <a:lnTo>
                    <a:pt x="475" y="433"/>
                  </a:lnTo>
                  <a:lnTo>
                    <a:pt x="475" y="431"/>
                  </a:lnTo>
                  <a:lnTo>
                    <a:pt x="475" y="429"/>
                  </a:lnTo>
                  <a:lnTo>
                    <a:pt x="475" y="428"/>
                  </a:lnTo>
                  <a:lnTo>
                    <a:pt x="475" y="427"/>
                  </a:lnTo>
                  <a:lnTo>
                    <a:pt x="477" y="427"/>
                  </a:lnTo>
                  <a:lnTo>
                    <a:pt x="477" y="426"/>
                  </a:lnTo>
                  <a:lnTo>
                    <a:pt x="475" y="426"/>
                  </a:lnTo>
                  <a:lnTo>
                    <a:pt x="475" y="427"/>
                  </a:lnTo>
                  <a:lnTo>
                    <a:pt x="475" y="428"/>
                  </a:lnTo>
                  <a:lnTo>
                    <a:pt x="474" y="429"/>
                  </a:lnTo>
                  <a:lnTo>
                    <a:pt x="474" y="431"/>
                  </a:lnTo>
                  <a:lnTo>
                    <a:pt x="474" y="432"/>
                  </a:lnTo>
                  <a:lnTo>
                    <a:pt x="474" y="433"/>
                  </a:lnTo>
                  <a:lnTo>
                    <a:pt x="474" y="435"/>
                  </a:lnTo>
                  <a:lnTo>
                    <a:pt x="474" y="437"/>
                  </a:lnTo>
                  <a:lnTo>
                    <a:pt x="475" y="437"/>
                  </a:lnTo>
                  <a:lnTo>
                    <a:pt x="475" y="438"/>
                  </a:lnTo>
                  <a:lnTo>
                    <a:pt x="475" y="439"/>
                  </a:lnTo>
                  <a:lnTo>
                    <a:pt x="474" y="440"/>
                  </a:lnTo>
                  <a:lnTo>
                    <a:pt x="473" y="440"/>
                  </a:lnTo>
                  <a:lnTo>
                    <a:pt x="472" y="439"/>
                  </a:lnTo>
                  <a:lnTo>
                    <a:pt x="473" y="438"/>
                  </a:lnTo>
                  <a:lnTo>
                    <a:pt x="472" y="437"/>
                  </a:lnTo>
                  <a:lnTo>
                    <a:pt x="471" y="438"/>
                  </a:lnTo>
                  <a:lnTo>
                    <a:pt x="472" y="439"/>
                  </a:lnTo>
                  <a:lnTo>
                    <a:pt x="471" y="439"/>
                  </a:lnTo>
                  <a:lnTo>
                    <a:pt x="469" y="439"/>
                  </a:lnTo>
                  <a:lnTo>
                    <a:pt x="468" y="439"/>
                  </a:lnTo>
                  <a:lnTo>
                    <a:pt x="468" y="438"/>
                  </a:lnTo>
                  <a:lnTo>
                    <a:pt x="467" y="439"/>
                  </a:lnTo>
                  <a:lnTo>
                    <a:pt x="466" y="440"/>
                  </a:lnTo>
                  <a:lnTo>
                    <a:pt x="465" y="440"/>
                  </a:lnTo>
                  <a:lnTo>
                    <a:pt x="465" y="441"/>
                  </a:lnTo>
                  <a:lnTo>
                    <a:pt x="466" y="443"/>
                  </a:lnTo>
                  <a:lnTo>
                    <a:pt x="467" y="444"/>
                  </a:lnTo>
                  <a:lnTo>
                    <a:pt x="468" y="445"/>
                  </a:lnTo>
                  <a:lnTo>
                    <a:pt x="467" y="445"/>
                  </a:lnTo>
                  <a:lnTo>
                    <a:pt x="466" y="445"/>
                  </a:lnTo>
                  <a:lnTo>
                    <a:pt x="465" y="444"/>
                  </a:lnTo>
                  <a:lnTo>
                    <a:pt x="463" y="444"/>
                  </a:lnTo>
                  <a:lnTo>
                    <a:pt x="462" y="443"/>
                  </a:lnTo>
                  <a:lnTo>
                    <a:pt x="461" y="441"/>
                  </a:lnTo>
                  <a:lnTo>
                    <a:pt x="460" y="443"/>
                  </a:lnTo>
                  <a:lnTo>
                    <a:pt x="460" y="444"/>
                  </a:lnTo>
                  <a:lnTo>
                    <a:pt x="460" y="445"/>
                  </a:lnTo>
                  <a:lnTo>
                    <a:pt x="460" y="446"/>
                  </a:lnTo>
                  <a:lnTo>
                    <a:pt x="461" y="446"/>
                  </a:lnTo>
                  <a:lnTo>
                    <a:pt x="461" y="447"/>
                  </a:lnTo>
                  <a:lnTo>
                    <a:pt x="463" y="447"/>
                  </a:lnTo>
                  <a:lnTo>
                    <a:pt x="465" y="447"/>
                  </a:lnTo>
                  <a:lnTo>
                    <a:pt x="466" y="447"/>
                  </a:lnTo>
                  <a:lnTo>
                    <a:pt x="467" y="447"/>
                  </a:lnTo>
                  <a:lnTo>
                    <a:pt x="467" y="449"/>
                  </a:lnTo>
                  <a:lnTo>
                    <a:pt x="468" y="449"/>
                  </a:lnTo>
                  <a:lnTo>
                    <a:pt x="469" y="449"/>
                  </a:lnTo>
                  <a:lnTo>
                    <a:pt x="471" y="449"/>
                  </a:lnTo>
                  <a:lnTo>
                    <a:pt x="473" y="449"/>
                  </a:lnTo>
                  <a:lnTo>
                    <a:pt x="474" y="449"/>
                  </a:lnTo>
                  <a:lnTo>
                    <a:pt x="475" y="449"/>
                  </a:lnTo>
                  <a:lnTo>
                    <a:pt x="477" y="450"/>
                  </a:lnTo>
                  <a:lnTo>
                    <a:pt x="478" y="450"/>
                  </a:lnTo>
                  <a:lnTo>
                    <a:pt x="479" y="450"/>
                  </a:lnTo>
                  <a:lnTo>
                    <a:pt x="480" y="450"/>
                  </a:lnTo>
                  <a:lnTo>
                    <a:pt x="481" y="450"/>
                  </a:lnTo>
                  <a:lnTo>
                    <a:pt x="481" y="451"/>
                  </a:lnTo>
                  <a:lnTo>
                    <a:pt x="483" y="451"/>
                  </a:lnTo>
                  <a:lnTo>
                    <a:pt x="484" y="451"/>
                  </a:lnTo>
                  <a:lnTo>
                    <a:pt x="485" y="451"/>
                  </a:lnTo>
                  <a:lnTo>
                    <a:pt x="486" y="451"/>
                  </a:lnTo>
                  <a:lnTo>
                    <a:pt x="492" y="451"/>
                  </a:lnTo>
                  <a:lnTo>
                    <a:pt x="493" y="451"/>
                  </a:lnTo>
                  <a:lnTo>
                    <a:pt x="495" y="451"/>
                  </a:lnTo>
                  <a:lnTo>
                    <a:pt x="496" y="451"/>
                  </a:lnTo>
                  <a:lnTo>
                    <a:pt x="498" y="451"/>
                  </a:lnTo>
                  <a:lnTo>
                    <a:pt x="499" y="451"/>
                  </a:lnTo>
                  <a:lnTo>
                    <a:pt x="501" y="452"/>
                  </a:lnTo>
                  <a:lnTo>
                    <a:pt x="502" y="452"/>
                  </a:lnTo>
                  <a:lnTo>
                    <a:pt x="503" y="451"/>
                  </a:lnTo>
                  <a:lnTo>
                    <a:pt x="504" y="451"/>
                  </a:lnTo>
                  <a:lnTo>
                    <a:pt x="505" y="452"/>
                  </a:lnTo>
                  <a:lnTo>
                    <a:pt x="507" y="452"/>
                  </a:lnTo>
                  <a:lnTo>
                    <a:pt x="507" y="451"/>
                  </a:lnTo>
                  <a:lnTo>
                    <a:pt x="507" y="450"/>
                  </a:lnTo>
                  <a:lnTo>
                    <a:pt x="508" y="450"/>
                  </a:lnTo>
                  <a:lnTo>
                    <a:pt x="508" y="451"/>
                  </a:lnTo>
                  <a:lnTo>
                    <a:pt x="510" y="451"/>
                  </a:lnTo>
                  <a:lnTo>
                    <a:pt x="511" y="451"/>
                  </a:lnTo>
                  <a:lnTo>
                    <a:pt x="511" y="452"/>
                  </a:lnTo>
                  <a:lnTo>
                    <a:pt x="510" y="452"/>
                  </a:lnTo>
                  <a:lnTo>
                    <a:pt x="510" y="454"/>
                  </a:lnTo>
                  <a:lnTo>
                    <a:pt x="511" y="454"/>
                  </a:lnTo>
                  <a:lnTo>
                    <a:pt x="513" y="454"/>
                  </a:lnTo>
                  <a:lnTo>
                    <a:pt x="514" y="455"/>
                  </a:lnTo>
                  <a:lnTo>
                    <a:pt x="515" y="454"/>
                  </a:lnTo>
                  <a:lnTo>
                    <a:pt x="516" y="454"/>
                  </a:lnTo>
                  <a:lnTo>
                    <a:pt x="518" y="454"/>
                  </a:lnTo>
                  <a:lnTo>
                    <a:pt x="518" y="452"/>
                  </a:lnTo>
                  <a:lnTo>
                    <a:pt x="519" y="452"/>
                  </a:lnTo>
                  <a:lnTo>
                    <a:pt x="520" y="454"/>
                  </a:lnTo>
                  <a:lnTo>
                    <a:pt x="519" y="454"/>
                  </a:lnTo>
                  <a:lnTo>
                    <a:pt x="519" y="455"/>
                  </a:lnTo>
                  <a:lnTo>
                    <a:pt x="520" y="455"/>
                  </a:lnTo>
                  <a:lnTo>
                    <a:pt x="521" y="456"/>
                  </a:lnTo>
                  <a:lnTo>
                    <a:pt x="522" y="456"/>
                  </a:lnTo>
                  <a:lnTo>
                    <a:pt x="522" y="455"/>
                  </a:lnTo>
                  <a:lnTo>
                    <a:pt x="524" y="455"/>
                  </a:lnTo>
                  <a:lnTo>
                    <a:pt x="524" y="456"/>
                  </a:lnTo>
                  <a:lnTo>
                    <a:pt x="525" y="456"/>
                  </a:lnTo>
                  <a:lnTo>
                    <a:pt x="526" y="456"/>
                  </a:lnTo>
                  <a:lnTo>
                    <a:pt x="527" y="455"/>
                  </a:lnTo>
                  <a:lnTo>
                    <a:pt x="528" y="456"/>
                  </a:lnTo>
                  <a:lnTo>
                    <a:pt x="531" y="456"/>
                  </a:lnTo>
                  <a:lnTo>
                    <a:pt x="532" y="456"/>
                  </a:lnTo>
                  <a:lnTo>
                    <a:pt x="536" y="455"/>
                  </a:lnTo>
                  <a:lnTo>
                    <a:pt x="537" y="456"/>
                  </a:lnTo>
                  <a:lnTo>
                    <a:pt x="536" y="456"/>
                  </a:lnTo>
                  <a:lnTo>
                    <a:pt x="536" y="457"/>
                  </a:lnTo>
                  <a:lnTo>
                    <a:pt x="534" y="457"/>
                  </a:lnTo>
                  <a:lnTo>
                    <a:pt x="532" y="457"/>
                  </a:lnTo>
                  <a:lnTo>
                    <a:pt x="531" y="457"/>
                  </a:lnTo>
                  <a:lnTo>
                    <a:pt x="530" y="457"/>
                  </a:lnTo>
                  <a:lnTo>
                    <a:pt x="528" y="457"/>
                  </a:lnTo>
                  <a:lnTo>
                    <a:pt x="528" y="458"/>
                  </a:lnTo>
                  <a:lnTo>
                    <a:pt x="530" y="460"/>
                  </a:lnTo>
                  <a:lnTo>
                    <a:pt x="530" y="461"/>
                  </a:lnTo>
                  <a:lnTo>
                    <a:pt x="528" y="461"/>
                  </a:lnTo>
                  <a:lnTo>
                    <a:pt x="528" y="460"/>
                  </a:lnTo>
                  <a:lnTo>
                    <a:pt x="527" y="458"/>
                  </a:lnTo>
                  <a:lnTo>
                    <a:pt x="526" y="458"/>
                  </a:lnTo>
                  <a:lnTo>
                    <a:pt x="525" y="457"/>
                  </a:lnTo>
                  <a:lnTo>
                    <a:pt x="524" y="457"/>
                  </a:lnTo>
                  <a:lnTo>
                    <a:pt x="524" y="458"/>
                  </a:lnTo>
                  <a:lnTo>
                    <a:pt x="524" y="460"/>
                  </a:lnTo>
                  <a:lnTo>
                    <a:pt x="524" y="461"/>
                  </a:lnTo>
                  <a:lnTo>
                    <a:pt x="522" y="460"/>
                  </a:lnTo>
                  <a:lnTo>
                    <a:pt x="522" y="458"/>
                  </a:lnTo>
                  <a:lnTo>
                    <a:pt x="521" y="457"/>
                  </a:lnTo>
                  <a:lnTo>
                    <a:pt x="520" y="457"/>
                  </a:lnTo>
                  <a:lnTo>
                    <a:pt x="519" y="457"/>
                  </a:lnTo>
                  <a:lnTo>
                    <a:pt x="519" y="458"/>
                  </a:lnTo>
                  <a:lnTo>
                    <a:pt x="520" y="460"/>
                  </a:lnTo>
                  <a:lnTo>
                    <a:pt x="519" y="461"/>
                  </a:lnTo>
                  <a:lnTo>
                    <a:pt x="520" y="461"/>
                  </a:lnTo>
                  <a:lnTo>
                    <a:pt x="520" y="462"/>
                  </a:lnTo>
                  <a:lnTo>
                    <a:pt x="520" y="463"/>
                  </a:lnTo>
                  <a:lnTo>
                    <a:pt x="519" y="463"/>
                  </a:lnTo>
                  <a:lnTo>
                    <a:pt x="519" y="464"/>
                  </a:lnTo>
                  <a:lnTo>
                    <a:pt x="519" y="466"/>
                  </a:lnTo>
                  <a:lnTo>
                    <a:pt x="520" y="466"/>
                  </a:lnTo>
                  <a:lnTo>
                    <a:pt x="520" y="467"/>
                  </a:lnTo>
                  <a:lnTo>
                    <a:pt x="519" y="467"/>
                  </a:lnTo>
                  <a:lnTo>
                    <a:pt x="519" y="468"/>
                  </a:lnTo>
                  <a:lnTo>
                    <a:pt x="520" y="468"/>
                  </a:lnTo>
                  <a:lnTo>
                    <a:pt x="521" y="468"/>
                  </a:lnTo>
                  <a:lnTo>
                    <a:pt x="522" y="468"/>
                  </a:lnTo>
                  <a:lnTo>
                    <a:pt x="524" y="468"/>
                  </a:lnTo>
                  <a:lnTo>
                    <a:pt x="525" y="468"/>
                  </a:lnTo>
                  <a:lnTo>
                    <a:pt x="526" y="468"/>
                  </a:lnTo>
                  <a:lnTo>
                    <a:pt x="527" y="467"/>
                  </a:lnTo>
                  <a:lnTo>
                    <a:pt x="528" y="467"/>
                  </a:lnTo>
                  <a:lnTo>
                    <a:pt x="530" y="467"/>
                  </a:lnTo>
                  <a:lnTo>
                    <a:pt x="531" y="467"/>
                  </a:lnTo>
                  <a:lnTo>
                    <a:pt x="531" y="466"/>
                  </a:lnTo>
                  <a:lnTo>
                    <a:pt x="532" y="466"/>
                  </a:lnTo>
                  <a:lnTo>
                    <a:pt x="533" y="466"/>
                  </a:lnTo>
                  <a:lnTo>
                    <a:pt x="534" y="466"/>
                  </a:lnTo>
                  <a:lnTo>
                    <a:pt x="536" y="466"/>
                  </a:lnTo>
                  <a:lnTo>
                    <a:pt x="537" y="466"/>
                  </a:lnTo>
                  <a:lnTo>
                    <a:pt x="538" y="466"/>
                  </a:lnTo>
                  <a:lnTo>
                    <a:pt x="539" y="466"/>
                  </a:lnTo>
                  <a:lnTo>
                    <a:pt x="540" y="466"/>
                  </a:lnTo>
                  <a:lnTo>
                    <a:pt x="542" y="466"/>
                  </a:lnTo>
                  <a:lnTo>
                    <a:pt x="543" y="466"/>
                  </a:lnTo>
                  <a:lnTo>
                    <a:pt x="544" y="466"/>
                  </a:lnTo>
                  <a:lnTo>
                    <a:pt x="545" y="466"/>
                  </a:lnTo>
                  <a:lnTo>
                    <a:pt x="548" y="464"/>
                  </a:lnTo>
                  <a:lnTo>
                    <a:pt x="549" y="463"/>
                  </a:lnTo>
                  <a:lnTo>
                    <a:pt x="550" y="463"/>
                  </a:lnTo>
                  <a:lnTo>
                    <a:pt x="551" y="463"/>
                  </a:lnTo>
                  <a:lnTo>
                    <a:pt x="552" y="463"/>
                  </a:lnTo>
                  <a:lnTo>
                    <a:pt x="551" y="464"/>
                  </a:lnTo>
                  <a:lnTo>
                    <a:pt x="550" y="464"/>
                  </a:lnTo>
                  <a:lnTo>
                    <a:pt x="549" y="464"/>
                  </a:lnTo>
                  <a:lnTo>
                    <a:pt x="549" y="466"/>
                  </a:lnTo>
                  <a:lnTo>
                    <a:pt x="548" y="466"/>
                  </a:lnTo>
                  <a:lnTo>
                    <a:pt x="546" y="467"/>
                  </a:lnTo>
                  <a:lnTo>
                    <a:pt x="548" y="467"/>
                  </a:lnTo>
                  <a:lnTo>
                    <a:pt x="548" y="468"/>
                  </a:lnTo>
                  <a:lnTo>
                    <a:pt x="550" y="468"/>
                  </a:lnTo>
                  <a:lnTo>
                    <a:pt x="551" y="468"/>
                  </a:lnTo>
                  <a:lnTo>
                    <a:pt x="552" y="468"/>
                  </a:lnTo>
                  <a:lnTo>
                    <a:pt x="554" y="468"/>
                  </a:lnTo>
                  <a:lnTo>
                    <a:pt x="555" y="468"/>
                  </a:lnTo>
                  <a:lnTo>
                    <a:pt x="555" y="469"/>
                  </a:lnTo>
                  <a:lnTo>
                    <a:pt x="552" y="469"/>
                  </a:lnTo>
                  <a:lnTo>
                    <a:pt x="551" y="469"/>
                  </a:lnTo>
                  <a:lnTo>
                    <a:pt x="552" y="470"/>
                  </a:lnTo>
                  <a:lnTo>
                    <a:pt x="554" y="470"/>
                  </a:lnTo>
                  <a:lnTo>
                    <a:pt x="555" y="472"/>
                  </a:lnTo>
                  <a:lnTo>
                    <a:pt x="556" y="472"/>
                  </a:lnTo>
                  <a:lnTo>
                    <a:pt x="557" y="470"/>
                  </a:lnTo>
                  <a:lnTo>
                    <a:pt x="558" y="470"/>
                  </a:lnTo>
                  <a:lnTo>
                    <a:pt x="560" y="470"/>
                  </a:lnTo>
                  <a:lnTo>
                    <a:pt x="561" y="470"/>
                  </a:lnTo>
                  <a:lnTo>
                    <a:pt x="561" y="472"/>
                  </a:lnTo>
                  <a:lnTo>
                    <a:pt x="560" y="472"/>
                  </a:lnTo>
                  <a:lnTo>
                    <a:pt x="558" y="472"/>
                  </a:lnTo>
                  <a:lnTo>
                    <a:pt x="558" y="473"/>
                  </a:lnTo>
                  <a:lnTo>
                    <a:pt x="563" y="473"/>
                  </a:lnTo>
                  <a:lnTo>
                    <a:pt x="562" y="473"/>
                  </a:lnTo>
                  <a:lnTo>
                    <a:pt x="561" y="473"/>
                  </a:lnTo>
                  <a:lnTo>
                    <a:pt x="560" y="473"/>
                  </a:lnTo>
                  <a:lnTo>
                    <a:pt x="558" y="473"/>
                  </a:lnTo>
                  <a:lnTo>
                    <a:pt x="558" y="474"/>
                  </a:lnTo>
                  <a:lnTo>
                    <a:pt x="557" y="474"/>
                  </a:lnTo>
                  <a:lnTo>
                    <a:pt x="556" y="474"/>
                  </a:lnTo>
                  <a:lnTo>
                    <a:pt x="556" y="473"/>
                  </a:lnTo>
                  <a:lnTo>
                    <a:pt x="555" y="473"/>
                  </a:lnTo>
                  <a:lnTo>
                    <a:pt x="555" y="474"/>
                  </a:lnTo>
                  <a:lnTo>
                    <a:pt x="555" y="476"/>
                  </a:lnTo>
                  <a:lnTo>
                    <a:pt x="555" y="479"/>
                  </a:lnTo>
                  <a:lnTo>
                    <a:pt x="555" y="480"/>
                  </a:lnTo>
                  <a:lnTo>
                    <a:pt x="554" y="480"/>
                  </a:lnTo>
                  <a:lnTo>
                    <a:pt x="552" y="479"/>
                  </a:lnTo>
                  <a:lnTo>
                    <a:pt x="552" y="476"/>
                  </a:lnTo>
                  <a:lnTo>
                    <a:pt x="552" y="478"/>
                  </a:lnTo>
                  <a:lnTo>
                    <a:pt x="552" y="479"/>
                  </a:lnTo>
                  <a:lnTo>
                    <a:pt x="552" y="480"/>
                  </a:lnTo>
                  <a:lnTo>
                    <a:pt x="551" y="480"/>
                  </a:lnTo>
                  <a:lnTo>
                    <a:pt x="550" y="480"/>
                  </a:lnTo>
                  <a:lnTo>
                    <a:pt x="550" y="479"/>
                  </a:lnTo>
                  <a:lnTo>
                    <a:pt x="550" y="476"/>
                  </a:lnTo>
                  <a:lnTo>
                    <a:pt x="551" y="474"/>
                  </a:lnTo>
                  <a:lnTo>
                    <a:pt x="551" y="473"/>
                  </a:lnTo>
                  <a:lnTo>
                    <a:pt x="550" y="472"/>
                  </a:lnTo>
                  <a:lnTo>
                    <a:pt x="549" y="472"/>
                  </a:lnTo>
                  <a:lnTo>
                    <a:pt x="548" y="470"/>
                  </a:lnTo>
                  <a:lnTo>
                    <a:pt x="546" y="470"/>
                  </a:lnTo>
                  <a:lnTo>
                    <a:pt x="548" y="472"/>
                  </a:lnTo>
                  <a:lnTo>
                    <a:pt x="549" y="473"/>
                  </a:lnTo>
                  <a:lnTo>
                    <a:pt x="550" y="474"/>
                  </a:lnTo>
                  <a:lnTo>
                    <a:pt x="550" y="475"/>
                  </a:lnTo>
                  <a:lnTo>
                    <a:pt x="549" y="475"/>
                  </a:lnTo>
                  <a:lnTo>
                    <a:pt x="549" y="476"/>
                  </a:lnTo>
                  <a:lnTo>
                    <a:pt x="549" y="478"/>
                  </a:lnTo>
                  <a:lnTo>
                    <a:pt x="550" y="478"/>
                  </a:lnTo>
                  <a:lnTo>
                    <a:pt x="550" y="479"/>
                  </a:lnTo>
                  <a:lnTo>
                    <a:pt x="549" y="480"/>
                  </a:lnTo>
                  <a:lnTo>
                    <a:pt x="549" y="481"/>
                  </a:lnTo>
                  <a:lnTo>
                    <a:pt x="549" y="484"/>
                  </a:lnTo>
                  <a:lnTo>
                    <a:pt x="549" y="485"/>
                  </a:lnTo>
                  <a:lnTo>
                    <a:pt x="548" y="484"/>
                  </a:lnTo>
                  <a:lnTo>
                    <a:pt x="548" y="475"/>
                  </a:lnTo>
                  <a:lnTo>
                    <a:pt x="546" y="475"/>
                  </a:lnTo>
                  <a:lnTo>
                    <a:pt x="546" y="476"/>
                  </a:lnTo>
                  <a:lnTo>
                    <a:pt x="546" y="478"/>
                  </a:lnTo>
                  <a:lnTo>
                    <a:pt x="546" y="479"/>
                  </a:lnTo>
                  <a:lnTo>
                    <a:pt x="546" y="480"/>
                  </a:lnTo>
                  <a:lnTo>
                    <a:pt x="546" y="481"/>
                  </a:lnTo>
                  <a:lnTo>
                    <a:pt x="546" y="482"/>
                  </a:lnTo>
                  <a:lnTo>
                    <a:pt x="546" y="484"/>
                  </a:lnTo>
                  <a:lnTo>
                    <a:pt x="546" y="487"/>
                  </a:lnTo>
                  <a:lnTo>
                    <a:pt x="545" y="487"/>
                  </a:lnTo>
                  <a:lnTo>
                    <a:pt x="544" y="487"/>
                  </a:lnTo>
                  <a:lnTo>
                    <a:pt x="544" y="486"/>
                  </a:lnTo>
                  <a:lnTo>
                    <a:pt x="544" y="479"/>
                  </a:lnTo>
                  <a:lnTo>
                    <a:pt x="543" y="479"/>
                  </a:lnTo>
                  <a:lnTo>
                    <a:pt x="543" y="480"/>
                  </a:lnTo>
                  <a:lnTo>
                    <a:pt x="543" y="481"/>
                  </a:lnTo>
                  <a:lnTo>
                    <a:pt x="542" y="480"/>
                  </a:lnTo>
                  <a:lnTo>
                    <a:pt x="540" y="480"/>
                  </a:lnTo>
                  <a:lnTo>
                    <a:pt x="540" y="479"/>
                  </a:lnTo>
                  <a:lnTo>
                    <a:pt x="539" y="478"/>
                  </a:lnTo>
                  <a:lnTo>
                    <a:pt x="538" y="479"/>
                  </a:lnTo>
                  <a:lnTo>
                    <a:pt x="537" y="479"/>
                  </a:lnTo>
                  <a:lnTo>
                    <a:pt x="537" y="478"/>
                  </a:lnTo>
                  <a:lnTo>
                    <a:pt x="537" y="476"/>
                  </a:lnTo>
                  <a:lnTo>
                    <a:pt x="537" y="475"/>
                  </a:lnTo>
                  <a:lnTo>
                    <a:pt x="537" y="474"/>
                  </a:lnTo>
                  <a:lnTo>
                    <a:pt x="536" y="474"/>
                  </a:lnTo>
                  <a:lnTo>
                    <a:pt x="536" y="475"/>
                  </a:lnTo>
                  <a:lnTo>
                    <a:pt x="534" y="475"/>
                  </a:lnTo>
                  <a:lnTo>
                    <a:pt x="534" y="476"/>
                  </a:lnTo>
                  <a:lnTo>
                    <a:pt x="534" y="478"/>
                  </a:lnTo>
                  <a:lnTo>
                    <a:pt x="534" y="479"/>
                  </a:lnTo>
                  <a:lnTo>
                    <a:pt x="536" y="480"/>
                  </a:lnTo>
                  <a:lnTo>
                    <a:pt x="537" y="480"/>
                  </a:lnTo>
                  <a:lnTo>
                    <a:pt x="537" y="481"/>
                  </a:lnTo>
                  <a:lnTo>
                    <a:pt x="536" y="481"/>
                  </a:lnTo>
                  <a:lnTo>
                    <a:pt x="534" y="481"/>
                  </a:lnTo>
                  <a:lnTo>
                    <a:pt x="536" y="482"/>
                  </a:lnTo>
                  <a:lnTo>
                    <a:pt x="534" y="482"/>
                  </a:lnTo>
                  <a:lnTo>
                    <a:pt x="534" y="484"/>
                  </a:lnTo>
                  <a:lnTo>
                    <a:pt x="534" y="485"/>
                  </a:lnTo>
                  <a:lnTo>
                    <a:pt x="533" y="485"/>
                  </a:lnTo>
                  <a:lnTo>
                    <a:pt x="533" y="484"/>
                  </a:lnTo>
                  <a:lnTo>
                    <a:pt x="533" y="482"/>
                  </a:lnTo>
                  <a:lnTo>
                    <a:pt x="532" y="482"/>
                  </a:lnTo>
                  <a:lnTo>
                    <a:pt x="531" y="482"/>
                  </a:lnTo>
                  <a:lnTo>
                    <a:pt x="531" y="484"/>
                  </a:lnTo>
                  <a:lnTo>
                    <a:pt x="531" y="485"/>
                  </a:lnTo>
                  <a:lnTo>
                    <a:pt x="532" y="485"/>
                  </a:lnTo>
                  <a:lnTo>
                    <a:pt x="532" y="486"/>
                  </a:lnTo>
                  <a:lnTo>
                    <a:pt x="533" y="487"/>
                  </a:lnTo>
                  <a:lnTo>
                    <a:pt x="533" y="488"/>
                  </a:lnTo>
                  <a:lnTo>
                    <a:pt x="533" y="490"/>
                  </a:lnTo>
                  <a:lnTo>
                    <a:pt x="533" y="491"/>
                  </a:lnTo>
                  <a:lnTo>
                    <a:pt x="532" y="491"/>
                  </a:lnTo>
                  <a:lnTo>
                    <a:pt x="533" y="492"/>
                  </a:lnTo>
                  <a:lnTo>
                    <a:pt x="534" y="492"/>
                  </a:lnTo>
                  <a:lnTo>
                    <a:pt x="536" y="493"/>
                  </a:lnTo>
                  <a:lnTo>
                    <a:pt x="537" y="493"/>
                  </a:lnTo>
                  <a:lnTo>
                    <a:pt x="538" y="494"/>
                  </a:lnTo>
                  <a:lnTo>
                    <a:pt x="539" y="496"/>
                  </a:lnTo>
                  <a:lnTo>
                    <a:pt x="540" y="497"/>
                  </a:lnTo>
                  <a:lnTo>
                    <a:pt x="540" y="498"/>
                  </a:lnTo>
                  <a:lnTo>
                    <a:pt x="542" y="498"/>
                  </a:lnTo>
                  <a:lnTo>
                    <a:pt x="544" y="498"/>
                  </a:lnTo>
                  <a:lnTo>
                    <a:pt x="546" y="498"/>
                  </a:lnTo>
                  <a:lnTo>
                    <a:pt x="546" y="499"/>
                  </a:lnTo>
                  <a:lnTo>
                    <a:pt x="548" y="500"/>
                  </a:lnTo>
                  <a:lnTo>
                    <a:pt x="549" y="500"/>
                  </a:lnTo>
                  <a:lnTo>
                    <a:pt x="550" y="499"/>
                  </a:lnTo>
                  <a:lnTo>
                    <a:pt x="551" y="499"/>
                  </a:lnTo>
                  <a:lnTo>
                    <a:pt x="552" y="499"/>
                  </a:lnTo>
                  <a:lnTo>
                    <a:pt x="554" y="498"/>
                  </a:lnTo>
                  <a:lnTo>
                    <a:pt x="555" y="499"/>
                  </a:lnTo>
                  <a:lnTo>
                    <a:pt x="554" y="499"/>
                  </a:lnTo>
                  <a:lnTo>
                    <a:pt x="554" y="500"/>
                  </a:lnTo>
                  <a:lnTo>
                    <a:pt x="555" y="500"/>
                  </a:lnTo>
                  <a:lnTo>
                    <a:pt x="556" y="500"/>
                  </a:lnTo>
                  <a:lnTo>
                    <a:pt x="556" y="502"/>
                  </a:lnTo>
                  <a:lnTo>
                    <a:pt x="557" y="502"/>
                  </a:lnTo>
                  <a:lnTo>
                    <a:pt x="556" y="502"/>
                  </a:lnTo>
                  <a:lnTo>
                    <a:pt x="555" y="502"/>
                  </a:lnTo>
                  <a:lnTo>
                    <a:pt x="554" y="502"/>
                  </a:lnTo>
                  <a:lnTo>
                    <a:pt x="552" y="502"/>
                  </a:lnTo>
                  <a:lnTo>
                    <a:pt x="552" y="503"/>
                  </a:lnTo>
                  <a:lnTo>
                    <a:pt x="554" y="503"/>
                  </a:lnTo>
                  <a:lnTo>
                    <a:pt x="554" y="504"/>
                  </a:lnTo>
                  <a:lnTo>
                    <a:pt x="552" y="504"/>
                  </a:lnTo>
                  <a:lnTo>
                    <a:pt x="551" y="503"/>
                  </a:lnTo>
                  <a:lnTo>
                    <a:pt x="550" y="503"/>
                  </a:lnTo>
                  <a:lnTo>
                    <a:pt x="550" y="502"/>
                  </a:lnTo>
                  <a:lnTo>
                    <a:pt x="550" y="503"/>
                  </a:lnTo>
                  <a:lnTo>
                    <a:pt x="550" y="504"/>
                  </a:lnTo>
                  <a:lnTo>
                    <a:pt x="549" y="504"/>
                  </a:lnTo>
                  <a:lnTo>
                    <a:pt x="549" y="503"/>
                  </a:lnTo>
                  <a:lnTo>
                    <a:pt x="549" y="502"/>
                  </a:lnTo>
                  <a:lnTo>
                    <a:pt x="549" y="500"/>
                  </a:lnTo>
                  <a:lnTo>
                    <a:pt x="548" y="500"/>
                  </a:lnTo>
                  <a:lnTo>
                    <a:pt x="548" y="502"/>
                  </a:lnTo>
                  <a:lnTo>
                    <a:pt x="548" y="503"/>
                  </a:lnTo>
                  <a:lnTo>
                    <a:pt x="548" y="504"/>
                  </a:lnTo>
                  <a:lnTo>
                    <a:pt x="548" y="505"/>
                  </a:lnTo>
                  <a:lnTo>
                    <a:pt x="548" y="506"/>
                  </a:lnTo>
                  <a:lnTo>
                    <a:pt x="548" y="508"/>
                  </a:lnTo>
                  <a:lnTo>
                    <a:pt x="549" y="508"/>
                  </a:lnTo>
                  <a:lnTo>
                    <a:pt x="550" y="508"/>
                  </a:lnTo>
                  <a:lnTo>
                    <a:pt x="554" y="508"/>
                  </a:lnTo>
                  <a:lnTo>
                    <a:pt x="555" y="508"/>
                  </a:lnTo>
                  <a:lnTo>
                    <a:pt x="555" y="506"/>
                  </a:lnTo>
                  <a:lnTo>
                    <a:pt x="556" y="506"/>
                  </a:lnTo>
                  <a:lnTo>
                    <a:pt x="557" y="506"/>
                  </a:lnTo>
                  <a:lnTo>
                    <a:pt x="558" y="506"/>
                  </a:lnTo>
                  <a:lnTo>
                    <a:pt x="558" y="505"/>
                  </a:lnTo>
                  <a:lnTo>
                    <a:pt x="558" y="506"/>
                  </a:lnTo>
                  <a:lnTo>
                    <a:pt x="560" y="506"/>
                  </a:lnTo>
                  <a:lnTo>
                    <a:pt x="560" y="505"/>
                  </a:lnTo>
                  <a:lnTo>
                    <a:pt x="561" y="505"/>
                  </a:lnTo>
                  <a:lnTo>
                    <a:pt x="561" y="506"/>
                  </a:lnTo>
                  <a:lnTo>
                    <a:pt x="563" y="505"/>
                  </a:lnTo>
                  <a:lnTo>
                    <a:pt x="566" y="505"/>
                  </a:lnTo>
                  <a:lnTo>
                    <a:pt x="567" y="505"/>
                  </a:lnTo>
                  <a:lnTo>
                    <a:pt x="567" y="506"/>
                  </a:lnTo>
                  <a:lnTo>
                    <a:pt x="566" y="506"/>
                  </a:lnTo>
                  <a:lnTo>
                    <a:pt x="564" y="506"/>
                  </a:lnTo>
                  <a:lnTo>
                    <a:pt x="563" y="506"/>
                  </a:lnTo>
                  <a:lnTo>
                    <a:pt x="563" y="508"/>
                  </a:lnTo>
                  <a:lnTo>
                    <a:pt x="563" y="509"/>
                  </a:lnTo>
                  <a:lnTo>
                    <a:pt x="562" y="509"/>
                  </a:lnTo>
                  <a:lnTo>
                    <a:pt x="561" y="509"/>
                  </a:lnTo>
                  <a:lnTo>
                    <a:pt x="560" y="508"/>
                  </a:lnTo>
                  <a:lnTo>
                    <a:pt x="558" y="508"/>
                  </a:lnTo>
                  <a:lnTo>
                    <a:pt x="558" y="509"/>
                  </a:lnTo>
                  <a:lnTo>
                    <a:pt x="560" y="509"/>
                  </a:lnTo>
                  <a:lnTo>
                    <a:pt x="560" y="510"/>
                  </a:lnTo>
                  <a:lnTo>
                    <a:pt x="558" y="510"/>
                  </a:lnTo>
                  <a:lnTo>
                    <a:pt x="558" y="509"/>
                  </a:lnTo>
                  <a:lnTo>
                    <a:pt x="557" y="510"/>
                  </a:lnTo>
                  <a:lnTo>
                    <a:pt x="558" y="511"/>
                  </a:lnTo>
                  <a:lnTo>
                    <a:pt x="557" y="511"/>
                  </a:lnTo>
                  <a:lnTo>
                    <a:pt x="557" y="510"/>
                  </a:lnTo>
                  <a:lnTo>
                    <a:pt x="557" y="509"/>
                  </a:lnTo>
                  <a:lnTo>
                    <a:pt x="556" y="509"/>
                  </a:lnTo>
                  <a:lnTo>
                    <a:pt x="554" y="509"/>
                  </a:lnTo>
                  <a:lnTo>
                    <a:pt x="556" y="510"/>
                  </a:lnTo>
                  <a:lnTo>
                    <a:pt x="556" y="511"/>
                  </a:lnTo>
                  <a:lnTo>
                    <a:pt x="556" y="512"/>
                  </a:lnTo>
                  <a:lnTo>
                    <a:pt x="555" y="512"/>
                  </a:lnTo>
                  <a:lnTo>
                    <a:pt x="555" y="511"/>
                  </a:lnTo>
                  <a:lnTo>
                    <a:pt x="555" y="510"/>
                  </a:lnTo>
                  <a:lnTo>
                    <a:pt x="554" y="510"/>
                  </a:lnTo>
                  <a:lnTo>
                    <a:pt x="552" y="510"/>
                  </a:lnTo>
                  <a:lnTo>
                    <a:pt x="551" y="509"/>
                  </a:lnTo>
                  <a:lnTo>
                    <a:pt x="551" y="510"/>
                  </a:lnTo>
                  <a:lnTo>
                    <a:pt x="552" y="511"/>
                  </a:lnTo>
                  <a:lnTo>
                    <a:pt x="554" y="512"/>
                  </a:lnTo>
                  <a:lnTo>
                    <a:pt x="552" y="514"/>
                  </a:lnTo>
                  <a:lnTo>
                    <a:pt x="554" y="515"/>
                  </a:lnTo>
                  <a:lnTo>
                    <a:pt x="554" y="516"/>
                  </a:lnTo>
                  <a:lnTo>
                    <a:pt x="555" y="516"/>
                  </a:lnTo>
                  <a:lnTo>
                    <a:pt x="556" y="515"/>
                  </a:lnTo>
                  <a:lnTo>
                    <a:pt x="557" y="515"/>
                  </a:lnTo>
                  <a:lnTo>
                    <a:pt x="557" y="516"/>
                  </a:lnTo>
                  <a:lnTo>
                    <a:pt x="556" y="516"/>
                  </a:lnTo>
                  <a:lnTo>
                    <a:pt x="555" y="516"/>
                  </a:lnTo>
                  <a:lnTo>
                    <a:pt x="556" y="517"/>
                  </a:lnTo>
                  <a:lnTo>
                    <a:pt x="557" y="517"/>
                  </a:lnTo>
                  <a:lnTo>
                    <a:pt x="558" y="518"/>
                  </a:lnTo>
                  <a:lnTo>
                    <a:pt x="560" y="518"/>
                  </a:lnTo>
                  <a:lnTo>
                    <a:pt x="562" y="518"/>
                  </a:lnTo>
                  <a:lnTo>
                    <a:pt x="561" y="520"/>
                  </a:lnTo>
                  <a:lnTo>
                    <a:pt x="560" y="520"/>
                  </a:lnTo>
                  <a:lnTo>
                    <a:pt x="558" y="520"/>
                  </a:lnTo>
                  <a:lnTo>
                    <a:pt x="557" y="520"/>
                  </a:lnTo>
                  <a:lnTo>
                    <a:pt x="557" y="518"/>
                  </a:lnTo>
                  <a:lnTo>
                    <a:pt x="556" y="518"/>
                  </a:lnTo>
                  <a:lnTo>
                    <a:pt x="556" y="520"/>
                  </a:lnTo>
                  <a:lnTo>
                    <a:pt x="557" y="520"/>
                  </a:lnTo>
                  <a:lnTo>
                    <a:pt x="558" y="521"/>
                  </a:lnTo>
                  <a:lnTo>
                    <a:pt x="558" y="522"/>
                  </a:lnTo>
                  <a:lnTo>
                    <a:pt x="560" y="522"/>
                  </a:lnTo>
                  <a:lnTo>
                    <a:pt x="558" y="522"/>
                  </a:lnTo>
                  <a:lnTo>
                    <a:pt x="557" y="522"/>
                  </a:lnTo>
                  <a:lnTo>
                    <a:pt x="556" y="522"/>
                  </a:lnTo>
                  <a:lnTo>
                    <a:pt x="556" y="523"/>
                  </a:lnTo>
                  <a:lnTo>
                    <a:pt x="557" y="524"/>
                  </a:lnTo>
                  <a:lnTo>
                    <a:pt x="557" y="526"/>
                  </a:lnTo>
                  <a:lnTo>
                    <a:pt x="556" y="524"/>
                  </a:lnTo>
                  <a:lnTo>
                    <a:pt x="555" y="524"/>
                  </a:lnTo>
                  <a:lnTo>
                    <a:pt x="555" y="523"/>
                  </a:lnTo>
                  <a:lnTo>
                    <a:pt x="555" y="522"/>
                  </a:lnTo>
                  <a:lnTo>
                    <a:pt x="554" y="521"/>
                  </a:lnTo>
                  <a:lnTo>
                    <a:pt x="552" y="521"/>
                  </a:lnTo>
                  <a:lnTo>
                    <a:pt x="552" y="522"/>
                  </a:lnTo>
                  <a:lnTo>
                    <a:pt x="552" y="523"/>
                  </a:lnTo>
                  <a:lnTo>
                    <a:pt x="551" y="523"/>
                  </a:lnTo>
                  <a:lnTo>
                    <a:pt x="551" y="530"/>
                  </a:lnTo>
                  <a:lnTo>
                    <a:pt x="551" y="532"/>
                  </a:lnTo>
                  <a:lnTo>
                    <a:pt x="550" y="532"/>
                  </a:lnTo>
                  <a:lnTo>
                    <a:pt x="549" y="532"/>
                  </a:lnTo>
                  <a:lnTo>
                    <a:pt x="549" y="529"/>
                  </a:lnTo>
                  <a:lnTo>
                    <a:pt x="549" y="528"/>
                  </a:lnTo>
                  <a:lnTo>
                    <a:pt x="549" y="529"/>
                  </a:lnTo>
                  <a:lnTo>
                    <a:pt x="548" y="529"/>
                  </a:lnTo>
                  <a:lnTo>
                    <a:pt x="548" y="528"/>
                  </a:lnTo>
                  <a:lnTo>
                    <a:pt x="546" y="528"/>
                  </a:lnTo>
                  <a:lnTo>
                    <a:pt x="546" y="527"/>
                  </a:lnTo>
                  <a:lnTo>
                    <a:pt x="545" y="527"/>
                  </a:lnTo>
                  <a:lnTo>
                    <a:pt x="545" y="526"/>
                  </a:lnTo>
                  <a:lnTo>
                    <a:pt x="544" y="526"/>
                  </a:lnTo>
                  <a:lnTo>
                    <a:pt x="543" y="527"/>
                  </a:lnTo>
                  <a:lnTo>
                    <a:pt x="542" y="527"/>
                  </a:lnTo>
                  <a:lnTo>
                    <a:pt x="542" y="526"/>
                  </a:lnTo>
                  <a:lnTo>
                    <a:pt x="540" y="526"/>
                  </a:lnTo>
                  <a:lnTo>
                    <a:pt x="540" y="528"/>
                  </a:lnTo>
                  <a:lnTo>
                    <a:pt x="539" y="529"/>
                  </a:lnTo>
                  <a:lnTo>
                    <a:pt x="540" y="530"/>
                  </a:lnTo>
                  <a:lnTo>
                    <a:pt x="540" y="532"/>
                  </a:lnTo>
                  <a:lnTo>
                    <a:pt x="542" y="533"/>
                  </a:lnTo>
                  <a:lnTo>
                    <a:pt x="542" y="534"/>
                  </a:lnTo>
                  <a:lnTo>
                    <a:pt x="540" y="534"/>
                  </a:lnTo>
                  <a:lnTo>
                    <a:pt x="540" y="533"/>
                  </a:lnTo>
                  <a:lnTo>
                    <a:pt x="539" y="532"/>
                  </a:lnTo>
                  <a:lnTo>
                    <a:pt x="539" y="533"/>
                  </a:lnTo>
                  <a:lnTo>
                    <a:pt x="538" y="534"/>
                  </a:lnTo>
                  <a:lnTo>
                    <a:pt x="537" y="533"/>
                  </a:lnTo>
                  <a:lnTo>
                    <a:pt x="537" y="532"/>
                  </a:lnTo>
                  <a:lnTo>
                    <a:pt x="536" y="530"/>
                  </a:lnTo>
                  <a:lnTo>
                    <a:pt x="536" y="532"/>
                  </a:lnTo>
                  <a:lnTo>
                    <a:pt x="536" y="530"/>
                  </a:lnTo>
                  <a:lnTo>
                    <a:pt x="534" y="529"/>
                  </a:lnTo>
                  <a:lnTo>
                    <a:pt x="533" y="530"/>
                  </a:lnTo>
                  <a:lnTo>
                    <a:pt x="533" y="529"/>
                  </a:lnTo>
                  <a:lnTo>
                    <a:pt x="532" y="529"/>
                  </a:lnTo>
                  <a:lnTo>
                    <a:pt x="532" y="530"/>
                  </a:lnTo>
                  <a:lnTo>
                    <a:pt x="531" y="532"/>
                  </a:lnTo>
                  <a:lnTo>
                    <a:pt x="530" y="533"/>
                  </a:lnTo>
                  <a:lnTo>
                    <a:pt x="528" y="534"/>
                  </a:lnTo>
                  <a:lnTo>
                    <a:pt x="528" y="533"/>
                  </a:lnTo>
                  <a:lnTo>
                    <a:pt x="528" y="530"/>
                  </a:lnTo>
                  <a:lnTo>
                    <a:pt x="527" y="530"/>
                  </a:lnTo>
                  <a:lnTo>
                    <a:pt x="526" y="532"/>
                  </a:lnTo>
                  <a:lnTo>
                    <a:pt x="525" y="532"/>
                  </a:lnTo>
                  <a:lnTo>
                    <a:pt x="526" y="533"/>
                  </a:lnTo>
                  <a:lnTo>
                    <a:pt x="526" y="534"/>
                  </a:lnTo>
                  <a:lnTo>
                    <a:pt x="527" y="535"/>
                  </a:lnTo>
                  <a:lnTo>
                    <a:pt x="527" y="536"/>
                  </a:lnTo>
                  <a:lnTo>
                    <a:pt x="526" y="535"/>
                  </a:lnTo>
                  <a:lnTo>
                    <a:pt x="525" y="535"/>
                  </a:lnTo>
                  <a:lnTo>
                    <a:pt x="524" y="535"/>
                  </a:lnTo>
                  <a:lnTo>
                    <a:pt x="521" y="538"/>
                  </a:lnTo>
                  <a:lnTo>
                    <a:pt x="520" y="539"/>
                  </a:lnTo>
                  <a:lnTo>
                    <a:pt x="521" y="541"/>
                  </a:lnTo>
                  <a:lnTo>
                    <a:pt x="522" y="541"/>
                  </a:lnTo>
                  <a:lnTo>
                    <a:pt x="524" y="542"/>
                  </a:lnTo>
                  <a:lnTo>
                    <a:pt x="525" y="542"/>
                  </a:lnTo>
                  <a:lnTo>
                    <a:pt x="526" y="541"/>
                  </a:lnTo>
                  <a:lnTo>
                    <a:pt x="527" y="542"/>
                  </a:lnTo>
                  <a:lnTo>
                    <a:pt x="528" y="542"/>
                  </a:lnTo>
                  <a:lnTo>
                    <a:pt x="530" y="542"/>
                  </a:lnTo>
                  <a:lnTo>
                    <a:pt x="531" y="541"/>
                  </a:lnTo>
                  <a:lnTo>
                    <a:pt x="532" y="541"/>
                  </a:lnTo>
                  <a:lnTo>
                    <a:pt x="532" y="540"/>
                  </a:lnTo>
                  <a:lnTo>
                    <a:pt x="533" y="540"/>
                  </a:lnTo>
                  <a:lnTo>
                    <a:pt x="534" y="541"/>
                  </a:lnTo>
                  <a:lnTo>
                    <a:pt x="536" y="540"/>
                  </a:lnTo>
                  <a:lnTo>
                    <a:pt x="538" y="541"/>
                  </a:lnTo>
                  <a:lnTo>
                    <a:pt x="539" y="540"/>
                  </a:lnTo>
                  <a:lnTo>
                    <a:pt x="540" y="540"/>
                  </a:lnTo>
                  <a:lnTo>
                    <a:pt x="540" y="541"/>
                  </a:lnTo>
                  <a:lnTo>
                    <a:pt x="539" y="541"/>
                  </a:lnTo>
                  <a:lnTo>
                    <a:pt x="538" y="541"/>
                  </a:lnTo>
                  <a:lnTo>
                    <a:pt x="537" y="542"/>
                  </a:lnTo>
                  <a:lnTo>
                    <a:pt x="538" y="544"/>
                  </a:lnTo>
                  <a:lnTo>
                    <a:pt x="537" y="545"/>
                  </a:lnTo>
                  <a:lnTo>
                    <a:pt x="537" y="544"/>
                  </a:lnTo>
                  <a:lnTo>
                    <a:pt x="536" y="544"/>
                  </a:lnTo>
                  <a:lnTo>
                    <a:pt x="534" y="542"/>
                  </a:lnTo>
                  <a:lnTo>
                    <a:pt x="533" y="542"/>
                  </a:lnTo>
                  <a:lnTo>
                    <a:pt x="532" y="542"/>
                  </a:lnTo>
                  <a:lnTo>
                    <a:pt x="532" y="544"/>
                  </a:lnTo>
                  <a:lnTo>
                    <a:pt x="532" y="545"/>
                  </a:lnTo>
                  <a:lnTo>
                    <a:pt x="533" y="546"/>
                  </a:lnTo>
                  <a:lnTo>
                    <a:pt x="532" y="547"/>
                  </a:lnTo>
                  <a:lnTo>
                    <a:pt x="531" y="546"/>
                  </a:lnTo>
                  <a:lnTo>
                    <a:pt x="531" y="545"/>
                  </a:lnTo>
                  <a:lnTo>
                    <a:pt x="530" y="544"/>
                  </a:lnTo>
                  <a:lnTo>
                    <a:pt x="527" y="544"/>
                  </a:lnTo>
                  <a:lnTo>
                    <a:pt x="526" y="544"/>
                  </a:lnTo>
                  <a:lnTo>
                    <a:pt x="527" y="545"/>
                  </a:lnTo>
                  <a:lnTo>
                    <a:pt x="528" y="546"/>
                  </a:lnTo>
                  <a:lnTo>
                    <a:pt x="528" y="547"/>
                  </a:lnTo>
                  <a:lnTo>
                    <a:pt x="528" y="548"/>
                  </a:lnTo>
                  <a:lnTo>
                    <a:pt x="528" y="550"/>
                  </a:lnTo>
                  <a:lnTo>
                    <a:pt x="528" y="551"/>
                  </a:lnTo>
                  <a:lnTo>
                    <a:pt x="528" y="552"/>
                  </a:lnTo>
                  <a:lnTo>
                    <a:pt x="527" y="553"/>
                  </a:lnTo>
                  <a:lnTo>
                    <a:pt x="527" y="554"/>
                  </a:lnTo>
                  <a:lnTo>
                    <a:pt x="526" y="554"/>
                  </a:lnTo>
                  <a:lnTo>
                    <a:pt x="525" y="553"/>
                  </a:lnTo>
                  <a:lnTo>
                    <a:pt x="525" y="552"/>
                  </a:lnTo>
                  <a:lnTo>
                    <a:pt x="525" y="550"/>
                  </a:lnTo>
                  <a:lnTo>
                    <a:pt x="525" y="548"/>
                  </a:lnTo>
                  <a:lnTo>
                    <a:pt x="525" y="546"/>
                  </a:lnTo>
                  <a:lnTo>
                    <a:pt x="524" y="546"/>
                  </a:lnTo>
                  <a:lnTo>
                    <a:pt x="524" y="545"/>
                  </a:lnTo>
                  <a:lnTo>
                    <a:pt x="524" y="544"/>
                  </a:lnTo>
                  <a:lnTo>
                    <a:pt x="522" y="542"/>
                  </a:lnTo>
                  <a:lnTo>
                    <a:pt x="522" y="544"/>
                  </a:lnTo>
                  <a:lnTo>
                    <a:pt x="524" y="545"/>
                  </a:lnTo>
                  <a:lnTo>
                    <a:pt x="524" y="546"/>
                  </a:lnTo>
                  <a:lnTo>
                    <a:pt x="522" y="545"/>
                  </a:lnTo>
                  <a:lnTo>
                    <a:pt x="521" y="545"/>
                  </a:lnTo>
                  <a:lnTo>
                    <a:pt x="521" y="547"/>
                  </a:lnTo>
                  <a:lnTo>
                    <a:pt x="521" y="548"/>
                  </a:lnTo>
                  <a:lnTo>
                    <a:pt x="522" y="550"/>
                  </a:lnTo>
                  <a:lnTo>
                    <a:pt x="522" y="551"/>
                  </a:lnTo>
                  <a:lnTo>
                    <a:pt x="522" y="552"/>
                  </a:lnTo>
                  <a:lnTo>
                    <a:pt x="521" y="553"/>
                  </a:lnTo>
                  <a:lnTo>
                    <a:pt x="520" y="553"/>
                  </a:lnTo>
                  <a:lnTo>
                    <a:pt x="520" y="551"/>
                  </a:lnTo>
                  <a:lnTo>
                    <a:pt x="520" y="548"/>
                  </a:lnTo>
                  <a:lnTo>
                    <a:pt x="520" y="546"/>
                  </a:lnTo>
                  <a:lnTo>
                    <a:pt x="520" y="545"/>
                  </a:lnTo>
                  <a:lnTo>
                    <a:pt x="519" y="544"/>
                  </a:lnTo>
                  <a:lnTo>
                    <a:pt x="519" y="542"/>
                  </a:lnTo>
                  <a:lnTo>
                    <a:pt x="518" y="542"/>
                  </a:lnTo>
                  <a:lnTo>
                    <a:pt x="519" y="545"/>
                  </a:lnTo>
                  <a:lnTo>
                    <a:pt x="520" y="546"/>
                  </a:lnTo>
                  <a:lnTo>
                    <a:pt x="520" y="547"/>
                  </a:lnTo>
                  <a:lnTo>
                    <a:pt x="519" y="550"/>
                  </a:lnTo>
                  <a:lnTo>
                    <a:pt x="519" y="551"/>
                  </a:lnTo>
                  <a:lnTo>
                    <a:pt x="518" y="551"/>
                  </a:lnTo>
                  <a:lnTo>
                    <a:pt x="518" y="550"/>
                  </a:lnTo>
                  <a:lnTo>
                    <a:pt x="516" y="550"/>
                  </a:lnTo>
                  <a:lnTo>
                    <a:pt x="518" y="552"/>
                  </a:lnTo>
                  <a:lnTo>
                    <a:pt x="518" y="553"/>
                  </a:lnTo>
                  <a:lnTo>
                    <a:pt x="518" y="554"/>
                  </a:lnTo>
                  <a:lnTo>
                    <a:pt x="518" y="556"/>
                  </a:lnTo>
                  <a:lnTo>
                    <a:pt x="518" y="557"/>
                  </a:lnTo>
                  <a:lnTo>
                    <a:pt x="516" y="557"/>
                  </a:lnTo>
                  <a:lnTo>
                    <a:pt x="516" y="556"/>
                  </a:lnTo>
                  <a:lnTo>
                    <a:pt x="515" y="554"/>
                  </a:lnTo>
                  <a:lnTo>
                    <a:pt x="515" y="553"/>
                  </a:lnTo>
                  <a:lnTo>
                    <a:pt x="514" y="553"/>
                  </a:lnTo>
                  <a:lnTo>
                    <a:pt x="514" y="552"/>
                  </a:lnTo>
                  <a:lnTo>
                    <a:pt x="513" y="552"/>
                  </a:lnTo>
                  <a:lnTo>
                    <a:pt x="513" y="553"/>
                  </a:lnTo>
                  <a:lnTo>
                    <a:pt x="514" y="554"/>
                  </a:lnTo>
                  <a:lnTo>
                    <a:pt x="514" y="556"/>
                  </a:lnTo>
                  <a:lnTo>
                    <a:pt x="513" y="557"/>
                  </a:lnTo>
                  <a:lnTo>
                    <a:pt x="511" y="557"/>
                  </a:lnTo>
                  <a:lnTo>
                    <a:pt x="511" y="554"/>
                  </a:lnTo>
                  <a:lnTo>
                    <a:pt x="511" y="553"/>
                  </a:lnTo>
                  <a:lnTo>
                    <a:pt x="511" y="552"/>
                  </a:lnTo>
                  <a:lnTo>
                    <a:pt x="510" y="552"/>
                  </a:lnTo>
                  <a:lnTo>
                    <a:pt x="509" y="552"/>
                  </a:lnTo>
                  <a:lnTo>
                    <a:pt x="508" y="551"/>
                  </a:lnTo>
                  <a:lnTo>
                    <a:pt x="508" y="554"/>
                  </a:lnTo>
                  <a:lnTo>
                    <a:pt x="508" y="556"/>
                  </a:lnTo>
                  <a:lnTo>
                    <a:pt x="508" y="557"/>
                  </a:lnTo>
                  <a:lnTo>
                    <a:pt x="507" y="557"/>
                  </a:lnTo>
                  <a:lnTo>
                    <a:pt x="507" y="556"/>
                  </a:lnTo>
                  <a:lnTo>
                    <a:pt x="507" y="554"/>
                  </a:lnTo>
                  <a:lnTo>
                    <a:pt x="505" y="553"/>
                  </a:lnTo>
                  <a:lnTo>
                    <a:pt x="505" y="554"/>
                  </a:lnTo>
                  <a:lnTo>
                    <a:pt x="505" y="556"/>
                  </a:lnTo>
                  <a:lnTo>
                    <a:pt x="504" y="556"/>
                  </a:lnTo>
                  <a:lnTo>
                    <a:pt x="504" y="557"/>
                  </a:lnTo>
                  <a:lnTo>
                    <a:pt x="503" y="557"/>
                  </a:lnTo>
                  <a:lnTo>
                    <a:pt x="504" y="558"/>
                  </a:lnTo>
                  <a:lnTo>
                    <a:pt x="504" y="559"/>
                  </a:lnTo>
                  <a:lnTo>
                    <a:pt x="505" y="561"/>
                  </a:lnTo>
                  <a:lnTo>
                    <a:pt x="505" y="562"/>
                  </a:lnTo>
                  <a:lnTo>
                    <a:pt x="505" y="563"/>
                  </a:lnTo>
                  <a:lnTo>
                    <a:pt x="505" y="564"/>
                  </a:lnTo>
                  <a:lnTo>
                    <a:pt x="504" y="565"/>
                  </a:lnTo>
                  <a:lnTo>
                    <a:pt x="503" y="565"/>
                  </a:lnTo>
                  <a:lnTo>
                    <a:pt x="503" y="564"/>
                  </a:lnTo>
                  <a:lnTo>
                    <a:pt x="503" y="562"/>
                  </a:lnTo>
                  <a:lnTo>
                    <a:pt x="503" y="561"/>
                  </a:lnTo>
                  <a:lnTo>
                    <a:pt x="502" y="559"/>
                  </a:lnTo>
                  <a:lnTo>
                    <a:pt x="502" y="558"/>
                  </a:lnTo>
                  <a:lnTo>
                    <a:pt x="499" y="558"/>
                  </a:lnTo>
                  <a:lnTo>
                    <a:pt x="498" y="558"/>
                  </a:lnTo>
                  <a:lnTo>
                    <a:pt x="499" y="561"/>
                  </a:lnTo>
                  <a:lnTo>
                    <a:pt x="499" y="562"/>
                  </a:lnTo>
                  <a:lnTo>
                    <a:pt x="499" y="563"/>
                  </a:lnTo>
                  <a:lnTo>
                    <a:pt x="498" y="564"/>
                  </a:lnTo>
                  <a:lnTo>
                    <a:pt x="497" y="565"/>
                  </a:lnTo>
                  <a:lnTo>
                    <a:pt x="497" y="564"/>
                  </a:lnTo>
                  <a:lnTo>
                    <a:pt x="497" y="563"/>
                  </a:lnTo>
                  <a:lnTo>
                    <a:pt x="497" y="562"/>
                  </a:lnTo>
                  <a:lnTo>
                    <a:pt x="497" y="561"/>
                  </a:lnTo>
                  <a:lnTo>
                    <a:pt x="496" y="562"/>
                  </a:lnTo>
                  <a:lnTo>
                    <a:pt x="495" y="562"/>
                  </a:lnTo>
                  <a:lnTo>
                    <a:pt x="495" y="561"/>
                  </a:lnTo>
                  <a:lnTo>
                    <a:pt x="496" y="559"/>
                  </a:lnTo>
                  <a:lnTo>
                    <a:pt x="495" y="559"/>
                  </a:lnTo>
                  <a:lnTo>
                    <a:pt x="495" y="558"/>
                  </a:lnTo>
                  <a:lnTo>
                    <a:pt x="493" y="558"/>
                  </a:lnTo>
                  <a:lnTo>
                    <a:pt x="493" y="557"/>
                  </a:lnTo>
                  <a:lnTo>
                    <a:pt x="493" y="556"/>
                  </a:lnTo>
                  <a:lnTo>
                    <a:pt x="492" y="553"/>
                  </a:lnTo>
                  <a:lnTo>
                    <a:pt x="492" y="552"/>
                  </a:lnTo>
                  <a:lnTo>
                    <a:pt x="491" y="553"/>
                  </a:lnTo>
                  <a:lnTo>
                    <a:pt x="492" y="554"/>
                  </a:lnTo>
                  <a:lnTo>
                    <a:pt x="493" y="558"/>
                  </a:lnTo>
                  <a:lnTo>
                    <a:pt x="493" y="559"/>
                  </a:lnTo>
                  <a:lnTo>
                    <a:pt x="493" y="561"/>
                  </a:lnTo>
                  <a:lnTo>
                    <a:pt x="492" y="559"/>
                  </a:lnTo>
                  <a:lnTo>
                    <a:pt x="492" y="558"/>
                  </a:lnTo>
                  <a:lnTo>
                    <a:pt x="491" y="558"/>
                  </a:lnTo>
                  <a:lnTo>
                    <a:pt x="492" y="559"/>
                  </a:lnTo>
                  <a:lnTo>
                    <a:pt x="492" y="561"/>
                  </a:lnTo>
                  <a:lnTo>
                    <a:pt x="492" y="562"/>
                  </a:lnTo>
                  <a:lnTo>
                    <a:pt x="492" y="563"/>
                  </a:lnTo>
                  <a:lnTo>
                    <a:pt x="492" y="564"/>
                  </a:lnTo>
                  <a:lnTo>
                    <a:pt x="493" y="565"/>
                  </a:lnTo>
                  <a:lnTo>
                    <a:pt x="492" y="567"/>
                  </a:lnTo>
                  <a:lnTo>
                    <a:pt x="492" y="568"/>
                  </a:lnTo>
                  <a:lnTo>
                    <a:pt x="491" y="567"/>
                  </a:lnTo>
                  <a:lnTo>
                    <a:pt x="491" y="565"/>
                  </a:lnTo>
                  <a:lnTo>
                    <a:pt x="490" y="565"/>
                  </a:lnTo>
                  <a:lnTo>
                    <a:pt x="489" y="567"/>
                  </a:lnTo>
                  <a:lnTo>
                    <a:pt x="489" y="568"/>
                  </a:lnTo>
                  <a:lnTo>
                    <a:pt x="489" y="569"/>
                  </a:lnTo>
                  <a:lnTo>
                    <a:pt x="487" y="569"/>
                  </a:lnTo>
                  <a:lnTo>
                    <a:pt x="487" y="568"/>
                  </a:lnTo>
                  <a:lnTo>
                    <a:pt x="486" y="567"/>
                  </a:lnTo>
                  <a:lnTo>
                    <a:pt x="486" y="565"/>
                  </a:lnTo>
                  <a:lnTo>
                    <a:pt x="486" y="564"/>
                  </a:lnTo>
                  <a:lnTo>
                    <a:pt x="485" y="564"/>
                  </a:lnTo>
                  <a:lnTo>
                    <a:pt x="484" y="564"/>
                  </a:lnTo>
                  <a:lnTo>
                    <a:pt x="484" y="567"/>
                  </a:lnTo>
                  <a:lnTo>
                    <a:pt x="484" y="570"/>
                  </a:lnTo>
                  <a:lnTo>
                    <a:pt x="483" y="569"/>
                  </a:lnTo>
                  <a:lnTo>
                    <a:pt x="483" y="568"/>
                  </a:lnTo>
                  <a:lnTo>
                    <a:pt x="483" y="567"/>
                  </a:lnTo>
                  <a:lnTo>
                    <a:pt x="483" y="565"/>
                  </a:lnTo>
                  <a:lnTo>
                    <a:pt x="483" y="564"/>
                  </a:lnTo>
                  <a:lnTo>
                    <a:pt x="483" y="563"/>
                  </a:lnTo>
                  <a:lnTo>
                    <a:pt x="481" y="564"/>
                  </a:lnTo>
                  <a:lnTo>
                    <a:pt x="480" y="564"/>
                  </a:lnTo>
                  <a:lnTo>
                    <a:pt x="480" y="563"/>
                  </a:lnTo>
                  <a:lnTo>
                    <a:pt x="480" y="562"/>
                  </a:lnTo>
                  <a:lnTo>
                    <a:pt x="480" y="561"/>
                  </a:lnTo>
                  <a:lnTo>
                    <a:pt x="479" y="559"/>
                  </a:lnTo>
                  <a:lnTo>
                    <a:pt x="479" y="562"/>
                  </a:lnTo>
                  <a:lnTo>
                    <a:pt x="478" y="562"/>
                  </a:lnTo>
                  <a:lnTo>
                    <a:pt x="478" y="563"/>
                  </a:lnTo>
                  <a:lnTo>
                    <a:pt x="479" y="564"/>
                  </a:lnTo>
                  <a:lnTo>
                    <a:pt x="479" y="565"/>
                  </a:lnTo>
                  <a:lnTo>
                    <a:pt x="478" y="565"/>
                  </a:lnTo>
                  <a:lnTo>
                    <a:pt x="478" y="564"/>
                  </a:lnTo>
                  <a:lnTo>
                    <a:pt x="477" y="564"/>
                  </a:lnTo>
                  <a:lnTo>
                    <a:pt x="478" y="565"/>
                  </a:lnTo>
                  <a:lnTo>
                    <a:pt x="477" y="567"/>
                  </a:lnTo>
                  <a:lnTo>
                    <a:pt x="477" y="564"/>
                  </a:lnTo>
                  <a:lnTo>
                    <a:pt x="475" y="563"/>
                  </a:lnTo>
                  <a:lnTo>
                    <a:pt x="475" y="562"/>
                  </a:lnTo>
                  <a:lnTo>
                    <a:pt x="475" y="561"/>
                  </a:lnTo>
                  <a:lnTo>
                    <a:pt x="475" y="559"/>
                  </a:lnTo>
                  <a:lnTo>
                    <a:pt x="474" y="558"/>
                  </a:lnTo>
                  <a:lnTo>
                    <a:pt x="475" y="559"/>
                  </a:lnTo>
                  <a:lnTo>
                    <a:pt x="475" y="561"/>
                  </a:lnTo>
                  <a:lnTo>
                    <a:pt x="474" y="561"/>
                  </a:lnTo>
                  <a:lnTo>
                    <a:pt x="474" y="563"/>
                  </a:lnTo>
                  <a:lnTo>
                    <a:pt x="474" y="564"/>
                  </a:lnTo>
                  <a:lnTo>
                    <a:pt x="474" y="565"/>
                  </a:lnTo>
                  <a:lnTo>
                    <a:pt x="473" y="565"/>
                  </a:lnTo>
                  <a:lnTo>
                    <a:pt x="473" y="564"/>
                  </a:lnTo>
                  <a:lnTo>
                    <a:pt x="473" y="563"/>
                  </a:lnTo>
                  <a:lnTo>
                    <a:pt x="473" y="562"/>
                  </a:lnTo>
                  <a:lnTo>
                    <a:pt x="473" y="561"/>
                  </a:lnTo>
                  <a:lnTo>
                    <a:pt x="472" y="559"/>
                  </a:lnTo>
                  <a:lnTo>
                    <a:pt x="472" y="558"/>
                  </a:lnTo>
                  <a:lnTo>
                    <a:pt x="472" y="557"/>
                  </a:lnTo>
                  <a:lnTo>
                    <a:pt x="472" y="556"/>
                  </a:lnTo>
                  <a:lnTo>
                    <a:pt x="471" y="554"/>
                  </a:lnTo>
                  <a:lnTo>
                    <a:pt x="469" y="553"/>
                  </a:lnTo>
                  <a:lnTo>
                    <a:pt x="469" y="552"/>
                  </a:lnTo>
                  <a:lnTo>
                    <a:pt x="468" y="552"/>
                  </a:lnTo>
                  <a:lnTo>
                    <a:pt x="469" y="553"/>
                  </a:lnTo>
                  <a:lnTo>
                    <a:pt x="469" y="554"/>
                  </a:lnTo>
                  <a:lnTo>
                    <a:pt x="471" y="556"/>
                  </a:lnTo>
                  <a:lnTo>
                    <a:pt x="471" y="557"/>
                  </a:lnTo>
                  <a:lnTo>
                    <a:pt x="469" y="557"/>
                  </a:lnTo>
                  <a:lnTo>
                    <a:pt x="471" y="558"/>
                  </a:lnTo>
                  <a:lnTo>
                    <a:pt x="469" y="558"/>
                  </a:lnTo>
                  <a:lnTo>
                    <a:pt x="471" y="559"/>
                  </a:lnTo>
                  <a:lnTo>
                    <a:pt x="472" y="561"/>
                  </a:lnTo>
                  <a:lnTo>
                    <a:pt x="473" y="561"/>
                  </a:lnTo>
                  <a:lnTo>
                    <a:pt x="473" y="562"/>
                  </a:lnTo>
                  <a:lnTo>
                    <a:pt x="473" y="563"/>
                  </a:lnTo>
                  <a:lnTo>
                    <a:pt x="472" y="563"/>
                  </a:lnTo>
                  <a:lnTo>
                    <a:pt x="471" y="563"/>
                  </a:lnTo>
                  <a:lnTo>
                    <a:pt x="472" y="562"/>
                  </a:lnTo>
                  <a:lnTo>
                    <a:pt x="471" y="561"/>
                  </a:lnTo>
                  <a:lnTo>
                    <a:pt x="469" y="561"/>
                  </a:lnTo>
                  <a:lnTo>
                    <a:pt x="468" y="561"/>
                  </a:lnTo>
                  <a:lnTo>
                    <a:pt x="468" y="562"/>
                  </a:lnTo>
                  <a:lnTo>
                    <a:pt x="469" y="562"/>
                  </a:lnTo>
                  <a:lnTo>
                    <a:pt x="469" y="563"/>
                  </a:lnTo>
                  <a:lnTo>
                    <a:pt x="469" y="564"/>
                  </a:lnTo>
                  <a:lnTo>
                    <a:pt x="468" y="563"/>
                  </a:lnTo>
                  <a:lnTo>
                    <a:pt x="468" y="564"/>
                  </a:lnTo>
                  <a:lnTo>
                    <a:pt x="469" y="567"/>
                  </a:lnTo>
                  <a:lnTo>
                    <a:pt x="468" y="567"/>
                  </a:lnTo>
                  <a:lnTo>
                    <a:pt x="467" y="567"/>
                  </a:lnTo>
                  <a:lnTo>
                    <a:pt x="467" y="569"/>
                  </a:lnTo>
                  <a:lnTo>
                    <a:pt x="468" y="570"/>
                  </a:lnTo>
                  <a:lnTo>
                    <a:pt x="468" y="573"/>
                  </a:lnTo>
                  <a:lnTo>
                    <a:pt x="468" y="575"/>
                  </a:lnTo>
                  <a:lnTo>
                    <a:pt x="467" y="574"/>
                  </a:lnTo>
                  <a:lnTo>
                    <a:pt x="467" y="573"/>
                  </a:lnTo>
                  <a:lnTo>
                    <a:pt x="467" y="570"/>
                  </a:lnTo>
                  <a:lnTo>
                    <a:pt x="466" y="569"/>
                  </a:lnTo>
                  <a:lnTo>
                    <a:pt x="465" y="570"/>
                  </a:lnTo>
                  <a:lnTo>
                    <a:pt x="463" y="570"/>
                  </a:lnTo>
                  <a:lnTo>
                    <a:pt x="465" y="571"/>
                  </a:lnTo>
                  <a:lnTo>
                    <a:pt x="466" y="573"/>
                  </a:lnTo>
                  <a:lnTo>
                    <a:pt x="465" y="573"/>
                  </a:lnTo>
                  <a:lnTo>
                    <a:pt x="463" y="573"/>
                  </a:lnTo>
                  <a:lnTo>
                    <a:pt x="463" y="574"/>
                  </a:lnTo>
                  <a:lnTo>
                    <a:pt x="463" y="576"/>
                  </a:lnTo>
                  <a:lnTo>
                    <a:pt x="462" y="575"/>
                  </a:lnTo>
                  <a:lnTo>
                    <a:pt x="463" y="573"/>
                  </a:lnTo>
                  <a:lnTo>
                    <a:pt x="462" y="571"/>
                  </a:lnTo>
                  <a:lnTo>
                    <a:pt x="461" y="570"/>
                  </a:lnTo>
                  <a:lnTo>
                    <a:pt x="461" y="569"/>
                  </a:lnTo>
                  <a:lnTo>
                    <a:pt x="461" y="567"/>
                  </a:lnTo>
                  <a:lnTo>
                    <a:pt x="460" y="564"/>
                  </a:lnTo>
                  <a:lnTo>
                    <a:pt x="460" y="563"/>
                  </a:lnTo>
                  <a:lnTo>
                    <a:pt x="460" y="561"/>
                  </a:lnTo>
                  <a:lnTo>
                    <a:pt x="459" y="561"/>
                  </a:lnTo>
                  <a:lnTo>
                    <a:pt x="457" y="562"/>
                  </a:lnTo>
                  <a:lnTo>
                    <a:pt x="456" y="563"/>
                  </a:lnTo>
                  <a:lnTo>
                    <a:pt x="456" y="567"/>
                  </a:lnTo>
                  <a:lnTo>
                    <a:pt x="456" y="569"/>
                  </a:lnTo>
                  <a:lnTo>
                    <a:pt x="456" y="570"/>
                  </a:lnTo>
                  <a:lnTo>
                    <a:pt x="457" y="573"/>
                  </a:lnTo>
                  <a:lnTo>
                    <a:pt x="459" y="574"/>
                  </a:lnTo>
                  <a:lnTo>
                    <a:pt x="459" y="575"/>
                  </a:lnTo>
                  <a:lnTo>
                    <a:pt x="457" y="574"/>
                  </a:lnTo>
                  <a:lnTo>
                    <a:pt x="456" y="573"/>
                  </a:lnTo>
                  <a:lnTo>
                    <a:pt x="456" y="570"/>
                  </a:lnTo>
                  <a:lnTo>
                    <a:pt x="455" y="568"/>
                  </a:lnTo>
                  <a:lnTo>
                    <a:pt x="455" y="567"/>
                  </a:lnTo>
                  <a:lnTo>
                    <a:pt x="454" y="565"/>
                  </a:lnTo>
                  <a:lnTo>
                    <a:pt x="454" y="568"/>
                  </a:lnTo>
                  <a:lnTo>
                    <a:pt x="452" y="568"/>
                  </a:lnTo>
                  <a:lnTo>
                    <a:pt x="451" y="568"/>
                  </a:lnTo>
                  <a:lnTo>
                    <a:pt x="451" y="569"/>
                  </a:lnTo>
                  <a:lnTo>
                    <a:pt x="452" y="571"/>
                  </a:lnTo>
                  <a:lnTo>
                    <a:pt x="454" y="575"/>
                  </a:lnTo>
                  <a:lnTo>
                    <a:pt x="454" y="576"/>
                  </a:lnTo>
                  <a:lnTo>
                    <a:pt x="452" y="579"/>
                  </a:lnTo>
                  <a:lnTo>
                    <a:pt x="451" y="577"/>
                  </a:lnTo>
                  <a:lnTo>
                    <a:pt x="451" y="576"/>
                  </a:lnTo>
                  <a:lnTo>
                    <a:pt x="451" y="575"/>
                  </a:lnTo>
                  <a:lnTo>
                    <a:pt x="451" y="577"/>
                  </a:lnTo>
                  <a:lnTo>
                    <a:pt x="450" y="577"/>
                  </a:lnTo>
                  <a:lnTo>
                    <a:pt x="449" y="576"/>
                  </a:lnTo>
                  <a:lnTo>
                    <a:pt x="449" y="574"/>
                  </a:lnTo>
                  <a:lnTo>
                    <a:pt x="449" y="573"/>
                  </a:lnTo>
                  <a:lnTo>
                    <a:pt x="450" y="568"/>
                  </a:lnTo>
                  <a:lnTo>
                    <a:pt x="450" y="567"/>
                  </a:lnTo>
                  <a:lnTo>
                    <a:pt x="449" y="565"/>
                  </a:lnTo>
                  <a:lnTo>
                    <a:pt x="450" y="563"/>
                  </a:lnTo>
                  <a:lnTo>
                    <a:pt x="450" y="561"/>
                  </a:lnTo>
                  <a:lnTo>
                    <a:pt x="449" y="558"/>
                  </a:lnTo>
                  <a:lnTo>
                    <a:pt x="448" y="557"/>
                  </a:lnTo>
                  <a:lnTo>
                    <a:pt x="446" y="554"/>
                  </a:lnTo>
                  <a:lnTo>
                    <a:pt x="446" y="557"/>
                  </a:lnTo>
                  <a:lnTo>
                    <a:pt x="445" y="559"/>
                  </a:lnTo>
                  <a:lnTo>
                    <a:pt x="444" y="558"/>
                  </a:lnTo>
                  <a:lnTo>
                    <a:pt x="443" y="558"/>
                  </a:lnTo>
                  <a:lnTo>
                    <a:pt x="443" y="561"/>
                  </a:lnTo>
                  <a:lnTo>
                    <a:pt x="442" y="563"/>
                  </a:lnTo>
                  <a:lnTo>
                    <a:pt x="440" y="562"/>
                  </a:lnTo>
                  <a:lnTo>
                    <a:pt x="440" y="559"/>
                  </a:lnTo>
                  <a:lnTo>
                    <a:pt x="440" y="554"/>
                  </a:lnTo>
                  <a:lnTo>
                    <a:pt x="440" y="551"/>
                  </a:lnTo>
                  <a:lnTo>
                    <a:pt x="439" y="550"/>
                  </a:lnTo>
                  <a:lnTo>
                    <a:pt x="439" y="556"/>
                  </a:lnTo>
                  <a:lnTo>
                    <a:pt x="438" y="556"/>
                  </a:lnTo>
                  <a:lnTo>
                    <a:pt x="437" y="553"/>
                  </a:lnTo>
                  <a:lnTo>
                    <a:pt x="436" y="553"/>
                  </a:lnTo>
                  <a:lnTo>
                    <a:pt x="437" y="551"/>
                  </a:lnTo>
                  <a:lnTo>
                    <a:pt x="436" y="548"/>
                  </a:lnTo>
                  <a:lnTo>
                    <a:pt x="436" y="547"/>
                  </a:lnTo>
                  <a:lnTo>
                    <a:pt x="434" y="551"/>
                  </a:lnTo>
                  <a:lnTo>
                    <a:pt x="434" y="553"/>
                  </a:lnTo>
                  <a:lnTo>
                    <a:pt x="433" y="550"/>
                  </a:lnTo>
                  <a:lnTo>
                    <a:pt x="432" y="547"/>
                  </a:lnTo>
                  <a:lnTo>
                    <a:pt x="432" y="545"/>
                  </a:lnTo>
                  <a:lnTo>
                    <a:pt x="432" y="544"/>
                  </a:lnTo>
                  <a:lnTo>
                    <a:pt x="431" y="541"/>
                  </a:lnTo>
                  <a:lnTo>
                    <a:pt x="428" y="541"/>
                  </a:lnTo>
                  <a:lnTo>
                    <a:pt x="427" y="542"/>
                  </a:lnTo>
                  <a:lnTo>
                    <a:pt x="427" y="544"/>
                  </a:lnTo>
                  <a:lnTo>
                    <a:pt x="428" y="544"/>
                  </a:lnTo>
                  <a:lnTo>
                    <a:pt x="430" y="545"/>
                  </a:lnTo>
                  <a:lnTo>
                    <a:pt x="431" y="546"/>
                  </a:lnTo>
                  <a:lnTo>
                    <a:pt x="432" y="547"/>
                  </a:lnTo>
                  <a:lnTo>
                    <a:pt x="432" y="548"/>
                  </a:lnTo>
                  <a:lnTo>
                    <a:pt x="432" y="550"/>
                  </a:lnTo>
                  <a:lnTo>
                    <a:pt x="432" y="552"/>
                  </a:lnTo>
                  <a:lnTo>
                    <a:pt x="432" y="553"/>
                  </a:lnTo>
                  <a:lnTo>
                    <a:pt x="428" y="554"/>
                  </a:lnTo>
                  <a:lnTo>
                    <a:pt x="428" y="553"/>
                  </a:lnTo>
                  <a:lnTo>
                    <a:pt x="428" y="554"/>
                  </a:lnTo>
                  <a:lnTo>
                    <a:pt x="428" y="557"/>
                  </a:lnTo>
                  <a:lnTo>
                    <a:pt x="428" y="558"/>
                  </a:lnTo>
                  <a:lnTo>
                    <a:pt x="431" y="558"/>
                  </a:lnTo>
                  <a:lnTo>
                    <a:pt x="432" y="558"/>
                  </a:lnTo>
                  <a:lnTo>
                    <a:pt x="433" y="557"/>
                  </a:lnTo>
                  <a:lnTo>
                    <a:pt x="434" y="557"/>
                  </a:lnTo>
                  <a:lnTo>
                    <a:pt x="434" y="559"/>
                  </a:lnTo>
                  <a:lnTo>
                    <a:pt x="436" y="559"/>
                  </a:lnTo>
                  <a:lnTo>
                    <a:pt x="438" y="561"/>
                  </a:lnTo>
                  <a:lnTo>
                    <a:pt x="439" y="562"/>
                  </a:lnTo>
                  <a:lnTo>
                    <a:pt x="437" y="562"/>
                  </a:lnTo>
                  <a:lnTo>
                    <a:pt x="436" y="562"/>
                  </a:lnTo>
                  <a:lnTo>
                    <a:pt x="434" y="563"/>
                  </a:lnTo>
                  <a:lnTo>
                    <a:pt x="433" y="563"/>
                  </a:lnTo>
                  <a:lnTo>
                    <a:pt x="433" y="567"/>
                  </a:lnTo>
                  <a:lnTo>
                    <a:pt x="434" y="569"/>
                  </a:lnTo>
                  <a:lnTo>
                    <a:pt x="434" y="571"/>
                  </a:lnTo>
                  <a:lnTo>
                    <a:pt x="436" y="573"/>
                  </a:lnTo>
                  <a:lnTo>
                    <a:pt x="436" y="575"/>
                  </a:lnTo>
                  <a:lnTo>
                    <a:pt x="439" y="576"/>
                  </a:lnTo>
                  <a:lnTo>
                    <a:pt x="440" y="577"/>
                  </a:lnTo>
                  <a:lnTo>
                    <a:pt x="443" y="577"/>
                  </a:lnTo>
                  <a:lnTo>
                    <a:pt x="445" y="577"/>
                  </a:lnTo>
                  <a:lnTo>
                    <a:pt x="446" y="579"/>
                  </a:lnTo>
                  <a:lnTo>
                    <a:pt x="449" y="579"/>
                  </a:lnTo>
                  <a:lnTo>
                    <a:pt x="454" y="580"/>
                  </a:lnTo>
                  <a:lnTo>
                    <a:pt x="459" y="580"/>
                  </a:lnTo>
                  <a:lnTo>
                    <a:pt x="461" y="581"/>
                  </a:lnTo>
                  <a:lnTo>
                    <a:pt x="465" y="582"/>
                  </a:lnTo>
                  <a:lnTo>
                    <a:pt x="471" y="583"/>
                  </a:lnTo>
                  <a:lnTo>
                    <a:pt x="474" y="583"/>
                  </a:lnTo>
                  <a:lnTo>
                    <a:pt x="474" y="585"/>
                  </a:lnTo>
                  <a:lnTo>
                    <a:pt x="472" y="585"/>
                  </a:lnTo>
                  <a:lnTo>
                    <a:pt x="468" y="585"/>
                  </a:lnTo>
                  <a:lnTo>
                    <a:pt x="469" y="585"/>
                  </a:lnTo>
                  <a:lnTo>
                    <a:pt x="469" y="586"/>
                  </a:lnTo>
                  <a:lnTo>
                    <a:pt x="469" y="587"/>
                  </a:lnTo>
                  <a:lnTo>
                    <a:pt x="468" y="586"/>
                  </a:lnTo>
                  <a:lnTo>
                    <a:pt x="467" y="585"/>
                  </a:lnTo>
                  <a:lnTo>
                    <a:pt x="466" y="583"/>
                  </a:lnTo>
                  <a:lnTo>
                    <a:pt x="465" y="583"/>
                  </a:lnTo>
                  <a:lnTo>
                    <a:pt x="466" y="586"/>
                  </a:lnTo>
                  <a:lnTo>
                    <a:pt x="467" y="587"/>
                  </a:lnTo>
                  <a:lnTo>
                    <a:pt x="466" y="587"/>
                  </a:lnTo>
                  <a:lnTo>
                    <a:pt x="463" y="587"/>
                  </a:lnTo>
                  <a:lnTo>
                    <a:pt x="462" y="586"/>
                  </a:lnTo>
                  <a:lnTo>
                    <a:pt x="461" y="586"/>
                  </a:lnTo>
                  <a:lnTo>
                    <a:pt x="462" y="587"/>
                  </a:lnTo>
                  <a:lnTo>
                    <a:pt x="461" y="587"/>
                  </a:lnTo>
                  <a:lnTo>
                    <a:pt x="459" y="587"/>
                  </a:lnTo>
                  <a:lnTo>
                    <a:pt x="457" y="587"/>
                  </a:lnTo>
                  <a:lnTo>
                    <a:pt x="456" y="587"/>
                  </a:lnTo>
                  <a:lnTo>
                    <a:pt x="456" y="588"/>
                  </a:lnTo>
                  <a:lnTo>
                    <a:pt x="459" y="588"/>
                  </a:lnTo>
                  <a:lnTo>
                    <a:pt x="461" y="588"/>
                  </a:lnTo>
                  <a:lnTo>
                    <a:pt x="465" y="588"/>
                  </a:lnTo>
                  <a:lnTo>
                    <a:pt x="466" y="589"/>
                  </a:lnTo>
                  <a:lnTo>
                    <a:pt x="469" y="589"/>
                  </a:lnTo>
                  <a:lnTo>
                    <a:pt x="471" y="591"/>
                  </a:lnTo>
                  <a:lnTo>
                    <a:pt x="473" y="591"/>
                  </a:lnTo>
                  <a:lnTo>
                    <a:pt x="475" y="589"/>
                  </a:lnTo>
                  <a:lnTo>
                    <a:pt x="478" y="589"/>
                  </a:lnTo>
                  <a:lnTo>
                    <a:pt x="477" y="591"/>
                  </a:lnTo>
                  <a:lnTo>
                    <a:pt x="478" y="591"/>
                  </a:lnTo>
                  <a:lnTo>
                    <a:pt x="478" y="592"/>
                  </a:lnTo>
                  <a:lnTo>
                    <a:pt x="475" y="592"/>
                  </a:lnTo>
                  <a:lnTo>
                    <a:pt x="478" y="593"/>
                  </a:lnTo>
                  <a:lnTo>
                    <a:pt x="479" y="594"/>
                  </a:lnTo>
                  <a:lnTo>
                    <a:pt x="481" y="593"/>
                  </a:lnTo>
                  <a:lnTo>
                    <a:pt x="484" y="593"/>
                  </a:lnTo>
                  <a:lnTo>
                    <a:pt x="487" y="592"/>
                  </a:lnTo>
                  <a:lnTo>
                    <a:pt x="490" y="591"/>
                  </a:lnTo>
                  <a:lnTo>
                    <a:pt x="493" y="592"/>
                  </a:lnTo>
                  <a:lnTo>
                    <a:pt x="492" y="592"/>
                  </a:lnTo>
                  <a:lnTo>
                    <a:pt x="493" y="592"/>
                  </a:lnTo>
                  <a:lnTo>
                    <a:pt x="496" y="591"/>
                  </a:lnTo>
                  <a:lnTo>
                    <a:pt x="499" y="589"/>
                  </a:lnTo>
                  <a:lnTo>
                    <a:pt x="502" y="588"/>
                  </a:lnTo>
                  <a:lnTo>
                    <a:pt x="503" y="588"/>
                  </a:lnTo>
                  <a:lnTo>
                    <a:pt x="504" y="587"/>
                  </a:lnTo>
                  <a:lnTo>
                    <a:pt x="504" y="588"/>
                  </a:lnTo>
                  <a:lnTo>
                    <a:pt x="503" y="589"/>
                  </a:lnTo>
                  <a:lnTo>
                    <a:pt x="505" y="588"/>
                  </a:lnTo>
                  <a:lnTo>
                    <a:pt x="507" y="588"/>
                  </a:lnTo>
                  <a:lnTo>
                    <a:pt x="507" y="587"/>
                  </a:lnTo>
                  <a:lnTo>
                    <a:pt x="509" y="587"/>
                  </a:lnTo>
                  <a:lnTo>
                    <a:pt x="510" y="587"/>
                  </a:lnTo>
                  <a:lnTo>
                    <a:pt x="511" y="587"/>
                  </a:lnTo>
                  <a:lnTo>
                    <a:pt x="513" y="586"/>
                  </a:lnTo>
                  <a:lnTo>
                    <a:pt x="515" y="586"/>
                  </a:lnTo>
                  <a:lnTo>
                    <a:pt x="516" y="586"/>
                  </a:lnTo>
                  <a:lnTo>
                    <a:pt x="518" y="585"/>
                  </a:lnTo>
                  <a:lnTo>
                    <a:pt x="516" y="583"/>
                  </a:lnTo>
                  <a:lnTo>
                    <a:pt x="519" y="583"/>
                  </a:lnTo>
                  <a:lnTo>
                    <a:pt x="519" y="585"/>
                  </a:lnTo>
                  <a:lnTo>
                    <a:pt x="520" y="585"/>
                  </a:lnTo>
                  <a:lnTo>
                    <a:pt x="521" y="585"/>
                  </a:lnTo>
                  <a:lnTo>
                    <a:pt x="521" y="582"/>
                  </a:lnTo>
                  <a:lnTo>
                    <a:pt x="522" y="581"/>
                  </a:lnTo>
                  <a:lnTo>
                    <a:pt x="524" y="582"/>
                  </a:lnTo>
                  <a:lnTo>
                    <a:pt x="524" y="583"/>
                  </a:lnTo>
                  <a:lnTo>
                    <a:pt x="525" y="583"/>
                  </a:lnTo>
                  <a:lnTo>
                    <a:pt x="526" y="583"/>
                  </a:lnTo>
                  <a:lnTo>
                    <a:pt x="527" y="583"/>
                  </a:lnTo>
                  <a:lnTo>
                    <a:pt x="528" y="582"/>
                  </a:lnTo>
                  <a:lnTo>
                    <a:pt x="530" y="583"/>
                  </a:lnTo>
                  <a:lnTo>
                    <a:pt x="531" y="582"/>
                  </a:lnTo>
                  <a:lnTo>
                    <a:pt x="532" y="582"/>
                  </a:lnTo>
                  <a:lnTo>
                    <a:pt x="533" y="581"/>
                  </a:lnTo>
                  <a:lnTo>
                    <a:pt x="534" y="581"/>
                  </a:lnTo>
                  <a:lnTo>
                    <a:pt x="539" y="579"/>
                  </a:lnTo>
                  <a:lnTo>
                    <a:pt x="538" y="581"/>
                  </a:lnTo>
                  <a:lnTo>
                    <a:pt x="538" y="582"/>
                  </a:lnTo>
                  <a:lnTo>
                    <a:pt x="539" y="581"/>
                  </a:lnTo>
                  <a:lnTo>
                    <a:pt x="542" y="580"/>
                  </a:lnTo>
                  <a:lnTo>
                    <a:pt x="540" y="582"/>
                  </a:lnTo>
                  <a:lnTo>
                    <a:pt x="539" y="582"/>
                  </a:lnTo>
                  <a:lnTo>
                    <a:pt x="542" y="582"/>
                  </a:lnTo>
                  <a:lnTo>
                    <a:pt x="543" y="583"/>
                  </a:lnTo>
                  <a:lnTo>
                    <a:pt x="540" y="583"/>
                  </a:lnTo>
                  <a:lnTo>
                    <a:pt x="539" y="583"/>
                  </a:lnTo>
                  <a:lnTo>
                    <a:pt x="537" y="583"/>
                  </a:lnTo>
                  <a:lnTo>
                    <a:pt x="537" y="586"/>
                  </a:lnTo>
                  <a:lnTo>
                    <a:pt x="537" y="587"/>
                  </a:lnTo>
                  <a:lnTo>
                    <a:pt x="536" y="586"/>
                  </a:lnTo>
                  <a:lnTo>
                    <a:pt x="534" y="585"/>
                  </a:lnTo>
                  <a:lnTo>
                    <a:pt x="533" y="583"/>
                  </a:lnTo>
                  <a:lnTo>
                    <a:pt x="532" y="583"/>
                  </a:lnTo>
                  <a:lnTo>
                    <a:pt x="532" y="586"/>
                  </a:lnTo>
                  <a:lnTo>
                    <a:pt x="532" y="585"/>
                  </a:lnTo>
                  <a:lnTo>
                    <a:pt x="531" y="585"/>
                  </a:lnTo>
                  <a:lnTo>
                    <a:pt x="530" y="585"/>
                  </a:lnTo>
                  <a:lnTo>
                    <a:pt x="530" y="586"/>
                  </a:lnTo>
                  <a:lnTo>
                    <a:pt x="531" y="587"/>
                  </a:lnTo>
                  <a:lnTo>
                    <a:pt x="532" y="588"/>
                  </a:lnTo>
                  <a:lnTo>
                    <a:pt x="532" y="591"/>
                  </a:lnTo>
                  <a:lnTo>
                    <a:pt x="532" y="593"/>
                  </a:lnTo>
                  <a:lnTo>
                    <a:pt x="530" y="597"/>
                  </a:lnTo>
                  <a:lnTo>
                    <a:pt x="528" y="597"/>
                  </a:lnTo>
                  <a:lnTo>
                    <a:pt x="528" y="595"/>
                  </a:lnTo>
                  <a:lnTo>
                    <a:pt x="528" y="593"/>
                  </a:lnTo>
                  <a:lnTo>
                    <a:pt x="528" y="592"/>
                  </a:lnTo>
                  <a:lnTo>
                    <a:pt x="528" y="593"/>
                  </a:lnTo>
                  <a:lnTo>
                    <a:pt x="527" y="594"/>
                  </a:lnTo>
                  <a:lnTo>
                    <a:pt x="527" y="597"/>
                  </a:lnTo>
                  <a:lnTo>
                    <a:pt x="528" y="598"/>
                  </a:lnTo>
                  <a:lnTo>
                    <a:pt x="527" y="598"/>
                  </a:lnTo>
                  <a:lnTo>
                    <a:pt x="525" y="599"/>
                  </a:lnTo>
                  <a:lnTo>
                    <a:pt x="525" y="601"/>
                  </a:lnTo>
                  <a:lnTo>
                    <a:pt x="522" y="603"/>
                  </a:lnTo>
                  <a:lnTo>
                    <a:pt x="524" y="604"/>
                  </a:lnTo>
                  <a:lnTo>
                    <a:pt x="525" y="601"/>
                  </a:lnTo>
                  <a:lnTo>
                    <a:pt x="527" y="601"/>
                  </a:lnTo>
                  <a:lnTo>
                    <a:pt x="530" y="601"/>
                  </a:lnTo>
                  <a:lnTo>
                    <a:pt x="531" y="603"/>
                  </a:lnTo>
                  <a:lnTo>
                    <a:pt x="532" y="603"/>
                  </a:lnTo>
                  <a:lnTo>
                    <a:pt x="533" y="601"/>
                  </a:lnTo>
                  <a:lnTo>
                    <a:pt x="537" y="603"/>
                  </a:lnTo>
                  <a:lnTo>
                    <a:pt x="538" y="604"/>
                  </a:lnTo>
                  <a:lnTo>
                    <a:pt x="537" y="604"/>
                  </a:lnTo>
                  <a:lnTo>
                    <a:pt x="534" y="604"/>
                  </a:lnTo>
                  <a:lnTo>
                    <a:pt x="533" y="604"/>
                  </a:lnTo>
                  <a:lnTo>
                    <a:pt x="532" y="604"/>
                  </a:lnTo>
                  <a:lnTo>
                    <a:pt x="531" y="604"/>
                  </a:lnTo>
                  <a:lnTo>
                    <a:pt x="530" y="603"/>
                  </a:lnTo>
                  <a:lnTo>
                    <a:pt x="528" y="603"/>
                  </a:lnTo>
                  <a:lnTo>
                    <a:pt x="528" y="604"/>
                  </a:lnTo>
                  <a:lnTo>
                    <a:pt x="531" y="605"/>
                  </a:lnTo>
                  <a:lnTo>
                    <a:pt x="532" y="606"/>
                  </a:lnTo>
                  <a:lnTo>
                    <a:pt x="531" y="606"/>
                  </a:lnTo>
                  <a:lnTo>
                    <a:pt x="530" y="606"/>
                  </a:lnTo>
                  <a:lnTo>
                    <a:pt x="528" y="606"/>
                  </a:lnTo>
                  <a:lnTo>
                    <a:pt x="528" y="605"/>
                  </a:lnTo>
                  <a:lnTo>
                    <a:pt x="527" y="605"/>
                  </a:lnTo>
                  <a:lnTo>
                    <a:pt x="526" y="604"/>
                  </a:lnTo>
                  <a:lnTo>
                    <a:pt x="526" y="605"/>
                  </a:lnTo>
                  <a:lnTo>
                    <a:pt x="526" y="606"/>
                  </a:lnTo>
                  <a:lnTo>
                    <a:pt x="527" y="606"/>
                  </a:lnTo>
                  <a:lnTo>
                    <a:pt x="526" y="607"/>
                  </a:lnTo>
                  <a:lnTo>
                    <a:pt x="527" y="609"/>
                  </a:lnTo>
                  <a:lnTo>
                    <a:pt x="528" y="607"/>
                  </a:lnTo>
                  <a:lnTo>
                    <a:pt x="530" y="607"/>
                  </a:lnTo>
                  <a:lnTo>
                    <a:pt x="532" y="607"/>
                  </a:lnTo>
                  <a:lnTo>
                    <a:pt x="534" y="606"/>
                  </a:lnTo>
                  <a:lnTo>
                    <a:pt x="536" y="606"/>
                  </a:lnTo>
                  <a:lnTo>
                    <a:pt x="539" y="606"/>
                  </a:lnTo>
                  <a:lnTo>
                    <a:pt x="540" y="606"/>
                  </a:lnTo>
                  <a:lnTo>
                    <a:pt x="540" y="607"/>
                  </a:lnTo>
                  <a:lnTo>
                    <a:pt x="539" y="607"/>
                  </a:lnTo>
                  <a:lnTo>
                    <a:pt x="539" y="609"/>
                  </a:lnTo>
                  <a:lnTo>
                    <a:pt x="542" y="607"/>
                  </a:lnTo>
                  <a:lnTo>
                    <a:pt x="543" y="609"/>
                  </a:lnTo>
                  <a:lnTo>
                    <a:pt x="540" y="610"/>
                  </a:lnTo>
                  <a:lnTo>
                    <a:pt x="539" y="609"/>
                  </a:lnTo>
                  <a:lnTo>
                    <a:pt x="538" y="609"/>
                  </a:lnTo>
                  <a:lnTo>
                    <a:pt x="537" y="610"/>
                  </a:lnTo>
                  <a:lnTo>
                    <a:pt x="538" y="611"/>
                  </a:lnTo>
                  <a:lnTo>
                    <a:pt x="539" y="611"/>
                  </a:lnTo>
                  <a:lnTo>
                    <a:pt x="543" y="611"/>
                  </a:lnTo>
                  <a:lnTo>
                    <a:pt x="545" y="610"/>
                  </a:lnTo>
                  <a:lnTo>
                    <a:pt x="549" y="607"/>
                  </a:lnTo>
                  <a:lnTo>
                    <a:pt x="551" y="606"/>
                  </a:lnTo>
                  <a:lnTo>
                    <a:pt x="551" y="607"/>
                  </a:lnTo>
                  <a:lnTo>
                    <a:pt x="550" y="609"/>
                  </a:lnTo>
                  <a:lnTo>
                    <a:pt x="551" y="609"/>
                  </a:lnTo>
                  <a:lnTo>
                    <a:pt x="554" y="609"/>
                  </a:lnTo>
                  <a:lnTo>
                    <a:pt x="555" y="607"/>
                  </a:lnTo>
                  <a:lnTo>
                    <a:pt x="556" y="607"/>
                  </a:lnTo>
                  <a:lnTo>
                    <a:pt x="558" y="605"/>
                  </a:lnTo>
                  <a:lnTo>
                    <a:pt x="560" y="606"/>
                  </a:lnTo>
                  <a:lnTo>
                    <a:pt x="561" y="606"/>
                  </a:lnTo>
                  <a:lnTo>
                    <a:pt x="562" y="605"/>
                  </a:lnTo>
                  <a:lnTo>
                    <a:pt x="564" y="605"/>
                  </a:lnTo>
                  <a:lnTo>
                    <a:pt x="566" y="605"/>
                  </a:lnTo>
                  <a:lnTo>
                    <a:pt x="563" y="606"/>
                  </a:lnTo>
                  <a:lnTo>
                    <a:pt x="562" y="607"/>
                  </a:lnTo>
                  <a:lnTo>
                    <a:pt x="562" y="609"/>
                  </a:lnTo>
                  <a:lnTo>
                    <a:pt x="563" y="610"/>
                  </a:lnTo>
                  <a:lnTo>
                    <a:pt x="564" y="610"/>
                  </a:lnTo>
                  <a:lnTo>
                    <a:pt x="563" y="611"/>
                  </a:lnTo>
                  <a:lnTo>
                    <a:pt x="562" y="610"/>
                  </a:lnTo>
                  <a:lnTo>
                    <a:pt x="561" y="609"/>
                  </a:lnTo>
                  <a:lnTo>
                    <a:pt x="560" y="609"/>
                  </a:lnTo>
                  <a:lnTo>
                    <a:pt x="557" y="609"/>
                  </a:lnTo>
                  <a:lnTo>
                    <a:pt x="558" y="611"/>
                  </a:lnTo>
                  <a:lnTo>
                    <a:pt x="560" y="612"/>
                  </a:lnTo>
                  <a:lnTo>
                    <a:pt x="558" y="612"/>
                  </a:lnTo>
                  <a:lnTo>
                    <a:pt x="557" y="611"/>
                  </a:lnTo>
                  <a:lnTo>
                    <a:pt x="556" y="610"/>
                  </a:lnTo>
                  <a:lnTo>
                    <a:pt x="556" y="609"/>
                  </a:lnTo>
                  <a:lnTo>
                    <a:pt x="554" y="610"/>
                  </a:lnTo>
                  <a:lnTo>
                    <a:pt x="555" y="612"/>
                  </a:lnTo>
                  <a:lnTo>
                    <a:pt x="556" y="615"/>
                  </a:lnTo>
                  <a:lnTo>
                    <a:pt x="555" y="616"/>
                  </a:lnTo>
                  <a:lnTo>
                    <a:pt x="555" y="617"/>
                  </a:lnTo>
                  <a:lnTo>
                    <a:pt x="556" y="617"/>
                  </a:lnTo>
                  <a:lnTo>
                    <a:pt x="558" y="617"/>
                  </a:lnTo>
                  <a:lnTo>
                    <a:pt x="560" y="617"/>
                  </a:lnTo>
                  <a:lnTo>
                    <a:pt x="562" y="615"/>
                  </a:lnTo>
                  <a:lnTo>
                    <a:pt x="563" y="615"/>
                  </a:lnTo>
                  <a:lnTo>
                    <a:pt x="563" y="616"/>
                  </a:lnTo>
                  <a:lnTo>
                    <a:pt x="566" y="616"/>
                  </a:lnTo>
                  <a:lnTo>
                    <a:pt x="567" y="615"/>
                  </a:lnTo>
                  <a:lnTo>
                    <a:pt x="569" y="616"/>
                  </a:lnTo>
                  <a:lnTo>
                    <a:pt x="566" y="617"/>
                  </a:lnTo>
                  <a:lnTo>
                    <a:pt x="563" y="617"/>
                  </a:lnTo>
                  <a:lnTo>
                    <a:pt x="564" y="618"/>
                  </a:lnTo>
                  <a:lnTo>
                    <a:pt x="564" y="619"/>
                  </a:lnTo>
                  <a:lnTo>
                    <a:pt x="563" y="619"/>
                  </a:lnTo>
                  <a:lnTo>
                    <a:pt x="562" y="619"/>
                  </a:lnTo>
                  <a:lnTo>
                    <a:pt x="561" y="618"/>
                  </a:lnTo>
                  <a:lnTo>
                    <a:pt x="560" y="618"/>
                  </a:lnTo>
                  <a:lnTo>
                    <a:pt x="560" y="619"/>
                  </a:lnTo>
                  <a:lnTo>
                    <a:pt x="560" y="621"/>
                  </a:lnTo>
                  <a:lnTo>
                    <a:pt x="558" y="621"/>
                  </a:lnTo>
                  <a:lnTo>
                    <a:pt x="557" y="619"/>
                  </a:lnTo>
                  <a:lnTo>
                    <a:pt x="556" y="619"/>
                  </a:lnTo>
                  <a:lnTo>
                    <a:pt x="557" y="619"/>
                  </a:lnTo>
                  <a:lnTo>
                    <a:pt x="557" y="622"/>
                  </a:lnTo>
                  <a:lnTo>
                    <a:pt x="557" y="621"/>
                  </a:lnTo>
                  <a:lnTo>
                    <a:pt x="556" y="621"/>
                  </a:lnTo>
                  <a:lnTo>
                    <a:pt x="555" y="619"/>
                  </a:lnTo>
                  <a:lnTo>
                    <a:pt x="554" y="619"/>
                  </a:lnTo>
                  <a:lnTo>
                    <a:pt x="552" y="619"/>
                  </a:lnTo>
                  <a:lnTo>
                    <a:pt x="555" y="623"/>
                  </a:lnTo>
                  <a:lnTo>
                    <a:pt x="554" y="623"/>
                  </a:lnTo>
                  <a:lnTo>
                    <a:pt x="552" y="622"/>
                  </a:lnTo>
                  <a:lnTo>
                    <a:pt x="552" y="621"/>
                  </a:lnTo>
                  <a:lnTo>
                    <a:pt x="551" y="621"/>
                  </a:lnTo>
                  <a:lnTo>
                    <a:pt x="551" y="622"/>
                  </a:lnTo>
                  <a:lnTo>
                    <a:pt x="551" y="623"/>
                  </a:lnTo>
                  <a:lnTo>
                    <a:pt x="551" y="625"/>
                  </a:lnTo>
                  <a:lnTo>
                    <a:pt x="550" y="625"/>
                  </a:lnTo>
                  <a:lnTo>
                    <a:pt x="549" y="625"/>
                  </a:lnTo>
                  <a:lnTo>
                    <a:pt x="548" y="625"/>
                  </a:lnTo>
                  <a:lnTo>
                    <a:pt x="548" y="628"/>
                  </a:lnTo>
                  <a:lnTo>
                    <a:pt x="549" y="630"/>
                  </a:lnTo>
                  <a:lnTo>
                    <a:pt x="548" y="630"/>
                  </a:lnTo>
                  <a:lnTo>
                    <a:pt x="546" y="630"/>
                  </a:lnTo>
                  <a:lnTo>
                    <a:pt x="545" y="629"/>
                  </a:lnTo>
                  <a:lnTo>
                    <a:pt x="545" y="630"/>
                  </a:lnTo>
                  <a:lnTo>
                    <a:pt x="546" y="631"/>
                  </a:lnTo>
                  <a:lnTo>
                    <a:pt x="549" y="631"/>
                  </a:lnTo>
                  <a:lnTo>
                    <a:pt x="549" y="633"/>
                  </a:lnTo>
                  <a:lnTo>
                    <a:pt x="546" y="633"/>
                  </a:lnTo>
                  <a:lnTo>
                    <a:pt x="546" y="634"/>
                  </a:lnTo>
                  <a:lnTo>
                    <a:pt x="549" y="635"/>
                  </a:lnTo>
                  <a:lnTo>
                    <a:pt x="550" y="636"/>
                  </a:lnTo>
                  <a:lnTo>
                    <a:pt x="550" y="637"/>
                  </a:lnTo>
                  <a:lnTo>
                    <a:pt x="549" y="637"/>
                  </a:lnTo>
                  <a:lnTo>
                    <a:pt x="546" y="636"/>
                  </a:lnTo>
                  <a:lnTo>
                    <a:pt x="545" y="635"/>
                  </a:lnTo>
                  <a:lnTo>
                    <a:pt x="545" y="636"/>
                  </a:lnTo>
                  <a:lnTo>
                    <a:pt x="544" y="636"/>
                  </a:lnTo>
                  <a:lnTo>
                    <a:pt x="543" y="635"/>
                  </a:lnTo>
                  <a:lnTo>
                    <a:pt x="542" y="635"/>
                  </a:lnTo>
                  <a:lnTo>
                    <a:pt x="542" y="636"/>
                  </a:lnTo>
                  <a:lnTo>
                    <a:pt x="542" y="637"/>
                  </a:lnTo>
                  <a:lnTo>
                    <a:pt x="542" y="639"/>
                  </a:lnTo>
                  <a:lnTo>
                    <a:pt x="544" y="639"/>
                  </a:lnTo>
                  <a:lnTo>
                    <a:pt x="546" y="639"/>
                  </a:lnTo>
                  <a:lnTo>
                    <a:pt x="549" y="639"/>
                  </a:lnTo>
                  <a:lnTo>
                    <a:pt x="551" y="639"/>
                  </a:lnTo>
                  <a:lnTo>
                    <a:pt x="554" y="639"/>
                  </a:lnTo>
                  <a:lnTo>
                    <a:pt x="556" y="639"/>
                  </a:lnTo>
                  <a:lnTo>
                    <a:pt x="558" y="637"/>
                  </a:lnTo>
                  <a:lnTo>
                    <a:pt x="560" y="637"/>
                  </a:lnTo>
                  <a:lnTo>
                    <a:pt x="562" y="637"/>
                  </a:lnTo>
                  <a:lnTo>
                    <a:pt x="564" y="637"/>
                  </a:lnTo>
                  <a:lnTo>
                    <a:pt x="564" y="640"/>
                  </a:lnTo>
                  <a:lnTo>
                    <a:pt x="562" y="640"/>
                  </a:lnTo>
                  <a:lnTo>
                    <a:pt x="561" y="641"/>
                  </a:lnTo>
                  <a:lnTo>
                    <a:pt x="560" y="640"/>
                  </a:lnTo>
                  <a:lnTo>
                    <a:pt x="558" y="640"/>
                  </a:lnTo>
                  <a:lnTo>
                    <a:pt x="560" y="643"/>
                  </a:lnTo>
                  <a:lnTo>
                    <a:pt x="558" y="645"/>
                  </a:lnTo>
                  <a:lnTo>
                    <a:pt x="558" y="643"/>
                  </a:lnTo>
                  <a:lnTo>
                    <a:pt x="557" y="642"/>
                  </a:lnTo>
                  <a:lnTo>
                    <a:pt x="557" y="641"/>
                  </a:lnTo>
                  <a:lnTo>
                    <a:pt x="556" y="641"/>
                  </a:lnTo>
                  <a:lnTo>
                    <a:pt x="556" y="643"/>
                  </a:lnTo>
                  <a:lnTo>
                    <a:pt x="557" y="645"/>
                  </a:lnTo>
                  <a:lnTo>
                    <a:pt x="557" y="647"/>
                  </a:lnTo>
                  <a:lnTo>
                    <a:pt x="557" y="651"/>
                  </a:lnTo>
                  <a:lnTo>
                    <a:pt x="557" y="652"/>
                  </a:lnTo>
                  <a:lnTo>
                    <a:pt x="556" y="652"/>
                  </a:lnTo>
                  <a:lnTo>
                    <a:pt x="555" y="649"/>
                  </a:lnTo>
                  <a:lnTo>
                    <a:pt x="555" y="648"/>
                  </a:lnTo>
                  <a:lnTo>
                    <a:pt x="555" y="646"/>
                  </a:lnTo>
                  <a:lnTo>
                    <a:pt x="555" y="645"/>
                  </a:lnTo>
                  <a:lnTo>
                    <a:pt x="554" y="643"/>
                  </a:lnTo>
                  <a:lnTo>
                    <a:pt x="552" y="643"/>
                  </a:lnTo>
                  <a:lnTo>
                    <a:pt x="552" y="645"/>
                  </a:lnTo>
                  <a:lnTo>
                    <a:pt x="552" y="646"/>
                  </a:lnTo>
                  <a:lnTo>
                    <a:pt x="552" y="648"/>
                  </a:lnTo>
                  <a:lnTo>
                    <a:pt x="551" y="648"/>
                  </a:lnTo>
                  <a:lnTo>
                    <a:pt x="550" y="646"/>
                  </a:lnTo>
                  <a:lnTo>
                    <a:pt x="549" y="646"/>
                  </a:lnTo>
                  <a:lnTo>
                    <a:pt x="549" y="645"/>
                  </a:lnTo>
                  <a:lnTo>
                    <a:pt x="548" y="645"/>
                  </a:lnTo>
                  <a:lnTo>
                    <a:pt x="548" y="646"/>
                  </a:lnTo>
                  <a:lnTo>
                    <a:pt x="548" y="647"/>
                  </a:lnTo>
                  <a:lnTo>
                    <a:pt x="548" y="648"/>
                  </a:lnTo>
                  <a:lnTo>
                    <a:pt x="549" y="648"/>
                  </a:lnTo>
                  <a:lnTo>
                    <a:pt x="549" y="649"/>
                  </a:lnTo>
                  <a:lnTo>
                    <a:pt x="550" y="651"/>
                  </a:lnTo>
                  <a:lnTo>
                    <a:pt x="551" y="653"/>
                  </a:lnTo>
                  <a:lnTo>
                    <a:pt x="550" y="653"/>
                  </a:lnTo>
                  <a:lnTo>
                    <a:pt x="549" y="653"/>
                  </a:lnTo>
                  <a:lnTo>
                    <a:pt x="548" y="653"/>
                  </a:lnTo>
                  <a:lnTo>
                    <a:pt x="546" y="653"/>
                  </a:lnTo>
                  <a:lnTo>
                    <a:pt x="548" y="653"/>
                  </a:lnTo>
                  <a:lnTo>
                    <a:pt x="548" y="654"/>
                  </a:lnTo>
                  <a:lnTo>
                    <a:pt x="549" y="654"/>
                  </a:lnTo>
                  <a:lnTo>
                    <a:pt x="550" y="654"/>
                  </a:lnTo>
                  <a:lnTo>
                    <a:pt x="551" y="654"/>
                  </a:lnTo>
                  <a:lnTo>
                    <a:pt x="552" y="654"/>
                  </a:lnTo>
                  <a:lnTo>
                    <a:pt x="555" y="653"/>
                  </a:lnTo>
                  <a:lnTo>
                    <a:pt x="556" y="653"/>
                  </a:lnTo>
                  <a:lnTo>
                    <a:pt x="558" y="652"/>
                  </a:lnTo>
                  <a:lnTo>
                    <a:pt x="561" y="652"/>
                  </a:lnTo>
                  <a:lnTo>
                    <a:pt x="563" y="652"/>
                  </a:lnTo>
                  <a:lnTo>
                    <a:pt x="566" y="651"/>
                  </a:lnTo>
                  <a:lnTo>
                    <a:pt x="569" y="649"/>
                  </a:lnTo>
                  <a:lnTo>
                    <a:pt x="570" y="649"/>
                  </a:lnTo>
                  <a:lnTo>
                    <a:pt x="573" y="651"/>
                  </a:lnTo>
                  <a:lnTo>
                    <a:pt x="574" y="649"/>
                  </a:lnTo>
                  <a:lnTo>
                    <a:pt x="575" y="648"/>
                  </a:lnTo>
                  <a:lnTo>
                    <a:pt x="578" y="648"/>
                  </a:lnTo>
                  <a:lnTo>
                    <a:pt x="580" y="648"/>
                  </a:lnTo>
                  <a:lnTo>
                    <a:pt x="583" y="648"/>
                  </a:lnTo>
                  <a:lnTo>
                    <a:pt x="584" y="647"/>
                  </a:lnTo>
                  <a:lnTo>
                    <a:pt x="585" y="647"/>
                  </a:lnTo>
                  <a:lnTo>
                    <a:pt x="585" y="648"/>
                  </a:lnTo>
                  <a:lnTo>
                    <a:pt x="584" y="649"/>
                  </a:lnTo>
                  <a:lnTo>
                    <a:pt x="586" y="649"/>
                  </a:lnTo>
                  <a:lnTo>
                    <a:pt x="586" y="648"/>
                  </a:lnTo>
                  <a:lnTo>
                    <a:pt x="587" y="647"/>
                  </a:lnTo>
                  <a:lnTo>
                    <a:pt x="587" y="648"/>
                  </a:lnTo>
                  <a:lnTo>
                    <a:pt x="589" y="647"/>
                  </a:lnTo>
                  <a:lnTo>
                    <a:pt x="590" y="647"/>
                  </a:lnTo>
                  <a:lnTo>
                    <a:pt x="592" y="645"/>
                  </a:lnTo>
                  <a:lnTo>
                    <a:pt x="593" y="646"/>
                  </a:lnTo>
                  <a:lnTo>
                    <a:pt x="592" y="647"/>
                  </a:lnTo>
                  <a:lnTo>
                    <a:pt x="597" y="646"/>
                  </a:lnTo>
                  <a:lnTo>
                    <a:pt x="597" y="647"/>
                  </a:lnTo>
                  <a:lnTo>
                    <a:pt x="595" y="648"/>
                  </a:lnTo>
                  <a:lnTo>
                    <a:pt x="592" y="648"/>
                  </a:lnTo>
                  <a:lnTo>
                    <a:pt x="592" y="649"/>
                  </a:lnTo>
                  <a:lnTo>
                    <a:pt x="595" y="651"/>
                  </a:lnTo>
                  <a:lnTo>
                    <a:pt x="596" y="651"/>
                  </a:lnTo>
                  <a:lnTo>
                    <a:pt x="596" y="652"/>
                  </a:lnTo>
                  <a:lnTo>
                    <a:pt x="595" y="651"/>
                  </a:lnTo>
                  <a:lnTo>
                    <a:pt x="592" y="649"/>
                  </a:lnTo>
                  <a:lnTo>
                    <a:pt x="590" y="649"/>
                  </a:lnTo>
                  <a:lnTo>
                    <a:pt x="589" y="649"/>
                  </a:lnTo>
                  <a:lnTo>
                    <a:pt x="589" y="651"/>
                  </a:lnTo>
                  <a:lnTo>
                    <a:pt x="590" y="652"/>
                  </a:lnTo>
                  <a:lnTo>
                    <a:pt x="590" y="653"/>
                  </a:lnTo>
                  <a:lnTo>
                    <a:pt x="589" y="653"/>
                  </a:lnTo>
                  <a:lnTo>
                    <a:pt x="589" y="652"/>
                  </a:lnTo>
                  <a:lnTo>
                    <a:pt x="587" y="651"/>
                  </a:lnTo>
                  <a:lnTo>
                    <a:pt x="586" y="649"/>
                  </a:lnTo>
                  <a:lnTo>
                    <a:pt x="584" y="649"/>
                  </a:lnTo>
                  <a:lnTo>
                    <a:pt x="583" y="651"/>
                  </a:lnTo>
                  <a:lnTo>
                    <a:pt x="584" y="652"/>
                  </a:lnTo>
                  <a:lnTo>
                    <a:pt x="585" y="653"/>
                  </a:lnTo>
                  <a:lnTo>
                    <a:pt x="586" y="654"/>
                  </a:lnTo>
                  <a:lnTo>
                    <a:pt x="586" y="655"/>
                  </a:lnTo>
                  <a:lnTo>
                    <a:pt x="586" y="659"/>
                  </a:lnTo>
                  <a:lnTo>
                    <a:pt x="585" y="659"/>
                  </a:lnTo>
                  <a:lnTo>
                    <a:pt x="585" y="660"/>
                  </a:lnTo>
                  <a:lnTo>
                    <a:pt x="585" y="661"/>
                  </a:lnTo>
                  <a:lnTo>
                    <a:pt x="585" y="664"/>
                  </a:lnTo>
                  <a:lnTo>
                    <a:pt x="584" y="664"/>
                  </a:lnTo>
                  <a:lnTo>
                    <a:pt x="584" y="663"/>
                  </a:lnTo>
                  <a:lnTo>
                    <a:pt x="583" y="661"/>
                  </a:lnTo>
                  <a:lnTo>
                    <a:pt x="581" y="659"/>
                  </a:lnTo>
                  <a:lnTo>
                    <a:pt x="581" y="657"/>
                  </a:lnTo>
                  <a:lnTo>
                    <a:pt x="581" y="658"/>
                  </a:lnTo>
                  <a:lnTo>
                    <a:pt x="581" y="659"/>
                  </a:lnTo>
                  <a:lnTo>
                    <a:pt x="580" y="658"/>
                  </a:lnTo>
                  <a:lnTo>
                    <a:pt x="580" y="657"/>
                  </a:lnTo>
                  <a:lnTo>
                    <a:pt x="580" y="654"/>
                  </a:lnTo>
                  <a:lnTo>
                    <a:pt x="579" y="653"/>
                  </a:lnTo>
                  <a:lnTo>
                    <a:pt x="578" y="652"/>
                  </a:lnTo>
                  <a:lnTo>
                    <a:pt x="578" y="654"/>
                  </a:lnTo>
                  <a:lnTo>
                    <a:pt x="579" y="654"/>
                  </a:lnTo>
                  <a:lnTo>
                    <a:pt x="578" y="654"/>
                  </a:lnTo>
                  <a:lnTo>
                    <a:pt x="576" y="655"/>
                  </a:lnTo>
                  <a:lnTo>
                    <a:pt x="576" y="653"/>
                  </a:lnTo>
                  <a:lnTo>
                    <a:pt x="575" y="653"/>
                  </a:lnTo>
                  <a:lnTo>
                    <a:pt x="575" y="654"/>
                  </a:lnTo>
                  <a:lnTo>
                    <a:pt x="575" y="655"/>
                  </a:lnTo>
                  <a:lnTo>
                    <a:pt x="576" y="658"/>
                  </a:lnTo>
                  <a:lnTo>
                    <a:pt x="575" y="658"/>
                  </a:lnTo>
                  <a:lnTo>
                    <a:pt x="574" y="657"/>
                  </a:lnTo>
                  <a:lnTo>
                    <a:pt x="573" y="655"/>
                  </a:lnTo>
                  <a:lnTo>
                    <a:pt x="573" y="657"/>
                  </a:lnTo>
                  <a:lnTo>
                    <a:pt x="574" y="659"/>
                  </a:lnTo>
                  <a:lnTo>
                    <a:pt x="575" y="661"/>
                  </a:lnTo>
                  <a:lnTo>
                    <a:pt x="575" y="664"/>
                  </a:lnTo>
                  <a:lnTo>
                    <a:pt x="574" y="664"/>
                  </a:lnTo>
                  <a:lnTo>
                    <a:pt x="574" y="663"/>
                  </a:lnTo>
                  <a:lnTo>
                    <a:pt x="573" y="661"/>
                  </a:lnTo>
                  <a:lnTo>
                    <a:pt x="573" y="659"/>
                  </a:lnTo>
                  <a:lnTo>
                    <a:pt x="572" y="658"/>
                  </a:lnTo>
                  <a:lnTo>
                    <a:pt x="570" y="658"/>
                  </a:lnTo>
                  <a:lnTo>
                    <a:pt x="570" y="659"/>
                  </a:lnTo>
                  <a:lnTo>
                    <a:pt x="569" y="659"/>
                  </a:lnTo>
                  <a:lnTo>
                    <a:pt x="569" y="660"/>
                  </a:lnTo>
                  <a:lnTo>
                    <a:pt x="569" y="661"/>
                  </a:lnTo>
                  <a:lnTo>
                    <a:pt x="569" y="663"/>
                  </a:lnTo>
                  <a:lnTo>
                    <a:pt x="568" y="663"/>
                  </a:lnTo>
                  <a:lnTo>
                    <a:pt x="568" y="660"/>
                  </a:lnTo>
                  <a:lnTo>
                    <a:pt x="567" y="660"/>
                  </a:lnTo>
                  <a:lnTo>
                    <a:pt x="566" y="659"/>
                  </a:lnTo>
                  <a:lnTo>
                    <a:pt x="564" y="659"/>
                  </a:lnTo>
                  <a:lnTo>
                    <a:pt x="564" y="660"/>
                  </a:lnTo>
                  <a:lnTo>
                    <a:pt x="566" y="661"/>
                  </a:lnTo>
                  <a:lnTo>
                    <a:pt x="568" y="663"/>
                  </a:lnTo>
                  <a:lnTo>
                    <a:pt x="568" y="664"/>
                  </a:lnTo>
                  <a:lnTo>
                    <a:pt x="567" y="664"/>
                  </a:lnTo>
                  <a:lnTo>
                    <a:pt x="566" y="663"/>
                  </a:lnTo>
                  <a:lnTo>
                    <a:pt x="564" y="663"/>
                  </a:lnTo>
                  <a:lnTo>
                    <a:pt x="566" y="665"/>
                  </a:lnTo>
                  <a:lnTo>
                    <a:pt x="567" y="666"/>
                  </a:lnTo>
                  <a:lnTo>
                    <a:pt x="568" y="668"/>
                  </a:lnTo>
                  <a:lnTo>
                    <a:pt x="569" y="669"/>
                  </a:lnTo>
                  <a:lnTo>
                    <a:pt x="575" y="671"/>
                  </a:lnTo>
                  <a:lnTo>
                    <a:pt x="574" y="672"/>
                  </a:lnTo>
                  <a:lnTo>
                    <a:pt x="573" y="672"/>
                  </a:lnTo>
                  <a:lnTo>
                    <a:pt x="573" y="671"/>
                  </a:lnTo>
                  <a:lnTo>
                    <a:pt x="572" y="671"/>
                  </a:lnTo>
                  <a:lnTo>
                    <a:pt x="572" y="672"/>
                  </a:lnTo>
                  <a:lnTo>
                    <a:pt x="572" y="674"/>
                  </a:lnTo>
                  <a:lnTo>
                    <a:pt x="570" y="674"/>
                  </a:lnTo>
                  <a:lnTo>
                    <a:pt x="570" y="672"/>
                  </a:lnTo>
                  <a:lnTo>
                    <a:pt x="569" y="671"/>
                  </a:lnTo>
                  <a:lnTo>
                    <a:pt x="568" y="670"/>
                  </a:lnTo>
                  <a:lnTo>
                    <a:pt x="568" y="671"/>
                  </a:lnTo>
                  <a:lnTo>
                    <a:pt x="568" y="672"/>
                  </a:lnTo>
                  <a:lnTo>
                    <a:pt x="568" y="675"/>
                  </a:lnTo>
                  <a:lnTo>
                    <a:pt x="567" y="675"/>
                  </a:lnTo>
                  <a:lnTo>
                    <a:pt x="567" y="674"/>
                  </a:lnTo>
                  <a:lnTo>
                    <a:pt x="566" y="674"/>
                  </a:lnTo>
                  <a:lnTo>
                    <a:pt x="564" y="674"/>
                  </a:lnTo>
                  <a:lnTo>
                    <a:pt x="564" y="675"/>
                  </a:lnTo>
                  <a:lnTo>
                    <a:pt x="564" y="674"/>
                  </a:lnTo>
                  <a:lnTo>
                    <a:pt x="563" y="674"/>
                  </a:lnTo>
                  <a:lnTo>
                    <a:pt x="563" y="672"/>
                  </a:lnTo>
                  <a:lnTo>
                    <a:pt x="563" y="671"/>
                  </a:lnTo>
                  <a:lnTo>
                    <a:pt x="564" y="671"/>
                  </a:lnTo>
                  <a:lnTo>
                    <a:pt x="564" y="669"/>
                  </a:lnTo>
                  <a:lnTo>
                    <a:pt x="563" y="668"/>
                  </a:lnTo>
                  <a:lnTo>
                    <a:pt x="563" y="669"/>
                  </a:lnTo>
                  <a:lnTo>
                    <a:pt x="562" y="670"/>
                  </a:lnTo>
                  <a:lnTo>
                    <a:pt x="561" y="669"/>
                  </a:lnTo>
                  <a:lnTo>
                    <a:pt x="560" y="669"/>
                  </a:lnTo>
                  <a:lnTo>
                    <a:pt x="560" y="671"/>
                  </a:lnTo>
                  <a:lnTo>
                    <a:pt x="558" y="672"/>
                  </a:lnTo>
                  <a:lnTo>
                    <a:pt x="558" y="671"/>
                  </a:lnTo>
                  <a:lnTo>
                    <a:pt x="558" y="669"/>
                  </a:lnTo>
                  <a:lnTo>
                    <a:pt x="558" y="668"/>
                  </a:lnTo>
                  <a:lnTo>
                    <a:pt x="558" y="665"/>
                  </a:lnTo>
                  <a:lnTo>
                    <a:pt x="557" y="664"/>
                  </a:lnTo>
                  <a:lnTo>
                    <a:pt x="557" y="663"/>
                  </a:lnTo>
                  <a:lnTo>
                    <a:pt x="557" y="664"/>
                  </a:lnTo>
                  <a:lnTo>
                    <a:pt x="556" y="665"/>
                  </a:lnTo>
                  <a:lnTo>
                    <a:pt x="556" y="664"/>
                  </a:lnTo>
                  <a:lnTo>
                    <a:pt x="555" y="664"/>
                  </a:lnTo>
                  <a:lnTo>
                    <a:pt x="556" y="665"/>
                  </a:lnTo>
                  <a:lnTo>
                    <a:pt x="556" y="666"/>
                  </a:lnTo>
                  <a:lnTo>
                    <a:pt x="555" y="668"/>
                  </a:lnTo>
                  <a:lnTo>
                    <a:pt x="554" y="668"/>
                  </a:lnTo>
                  <a:lnTo>
                    <a:pt x="554" y="669"/>
                  </a:lnTo>
                  <a:lnTo>
                    <a:pt x="554" y="670"/>
                  </a:lnTo>
                  <a:lnTo>
                    <a:pt x="555" y="671"/>
                  </a:lnTo>
                  <a:lnTo>
                    <a:pt x="557" y="671"/>
                  </a:lnTo>
                  <a:lnTo>
                    <a:pt x="557" y="672"/>
                  </a:lnTo>
                  <a:lnTo>
                    <a:pt x="557" y="674"/>
                  </a:lnTo>
                  <a:lnTo>
                    <a:pt x="558" y="674"/>
                  </a:lnTo>
                  <a:lnTo>
                    <a:pt x="558" y="675"/>
                  </a:lnTo>
                  <a:lnTo>
                    <a:pt x="560" y="676"/>
                  </a:lnTo>
                  <a:lnTo>
                    <a:pt x="563" y="677"/>
                  </a:lnTo>
                  <a:lnTo>
                    <a:pt x="564" y="677"/>
                  </a:lnTo>
                  <a:lnTo>
                    <a:pt x="566" y="677"/>
                  </a:lnTo>
                  <a:lnTo>
                    <a:pt x="568" y="677"/>
                  </a:lnTo>
                  <a:lnTo>
                    <a:pt x="570" y="677"/>
                  </a:lnTo>
                  <a:lnTo>
                    <a:pt x="572" y="677"/>
                  </a:lnTo>
                  <a:lnTo>
                    <a:pt x="572" y="678"/>
                  </a:lnTo>
                  <a:lnTo>
                    <a:pt x="573" y="678"/>
                  </a:lnTo>
                  <a:lnTo>
                    <a:pt x="574" y="680"/>
                  </a:lnTo>
                  <a:lnTo>
                    <a:pt x="572" y="680"/>
                  </a:lnTo>
                  <a:lnTo>
                    <a:pt x="570" y="678"/>
                  </a:lnTo>
                  <a:lnTo>
                    <a:pt x="570" y="680"/>
                  </a:lnTo>
                  <a:lnTo>
                    <a:pt x="569" y="681"/>
                  </a:lnTo>
                  <a:lnTo>
                    <a:pt x="569" y="682"/>
                  </a:lnTo>
                  <a:lnTo>
                    <a:pt x="569" y="681"/>
                  </a:lnTo>
                  <a:lnTo>
                    <a:pt x="568" y="680"/>
                  </a:lnTo>
                  <a:lnTo>
                    <a:pt x="568" y="678"/>
                  </a:lnTo>
                  <a:lnTo>
                    <a:pt x="567" y="678"/>
                  </a:lnTo>
                  <a:lnTo>
                    <a:pt x="566" y="678"/>
                  </a:lnTo>
                  <a:lnTo>
                    <a:pt x="566" y="680"/>
                  </a:lnTo>
                  <a:lnTo>
                    <a:pt x="567" y="681"/>
                  </a:lnTo>
                  <a:lnTo>
                    <a:pt x="568" y="683"/>
                  </a:lnTo>
                  <a:lnTo>
                    <a:pt x="567" y="684"/>
                  </a:lnTo>
                  <a:lnTo>
                    <a:pt x="566" y="683"/>
                  </a:lnTo>
                  <a:lnTo>
                    <a:pt x="564" y="682"/>
                  </a:lnTo>
                  <a:lnTo>
                    <a:pt x="563" y="681"/>
                  </a:lnTo>
                  <a:lnTo>
                    <a:pt x="563" y="680"/>
                  </a:lnTo>
                  <a:lnTo>
                    <a:pt x="561" y="678"/>
                  </a:lnTo>
                  <a:lnTo>
                    <a:pt x="560" y="677"/>
                  </a:lnTo>
                  <a:lnTo>
                    <a:pt x="560" y="678"/>
                  </a:lnTo>
                  <a:lnTo>
                    <a:pt x="560" y="680"/>
                  </a:lnTo>
                  <a:lnTo>
                    <a:pt x="560" y="681"/>
                  </a:lnTo>
                  <a:lnTo>
                    <a:pt x="560" y="682"/>
                  </a:lnTo>
                  <a:lnTo>
                    <a:pt x="561" y="684"/>
                  </a:lnTo>
                  <a:lnTo>
                    <a:pt x="561" y="686"/>
                  </a:lnTo>
                  <a:lnTo>
                    <a:pt x="558" y="687"/>
                  </a:lnTo>
                  <a:lnTo>
                    <a:pt x="558" y="684"/>
                  </a:lnTo>
                  <a:lnTo>
                    <a:pt x="558" y="683"/>
                  </a:lnTo>
                  <a:lnTo>
                    <a:pt x="558" y="682"/>
                  </a:lnTo>
                  <a:lnTo>
                    <a:pt x="558" y="681"/>
                  </a:lnTo>
                  <a:lnTo>
                    <a:pt x="557" y="683"/>
                  </a:lnTo>
                  <a:lnTo>
                    <a:pt x="557" y="682"/>
                  </a:lnTo>
                  <a:lnTo>
                    <a:pt x="556" y="681"/>
                  </a:lnTo>
                  <a:lnTo>
                    <a:pt x="555" y="680"/>
                  </a:lnTo>
                  <a:lnTo>
                    <a:pt x="555" y="678"/>
                  </a:lnTo>
                  <a:lnTo>
                    <a:pt x="555" y="680"/>
                  </a:lnTo>
                  <a:lnTo>
                    <a:pt x="555" y="682"/>
                  </a:lnTo>
                  <a:lnTo>
                    <a:pt x="555" y="683"/>
                  </a:lnTo>
                  <a:lnTo>
                    <a:pt x="554" y="682"/>
                  </a:lnTo>
                  <a:lnTo>
                    <a:pt x="552" y="680"/>
                  </a:lnTo>
                  <a:lnTo>
                    <a:pt x="551" y="678"/>
                  </a:lnTo>
                  <a:lnTo>
                    <a:pt x="551" y="680"/>
                  </a:lnTo>
                  <a:lnTo>
                    <a:pt x="552" y="682"/>
                  </a:lnTo>
                  <a:lnTo>
                    <a:pt x="552" y="683"/>
                  </a:lnTo>
                  <a:lnTo>
                    <a:pt x="552" y="684"/>
                  </a:lnTo>
                  <a:lnTo>
                    <a:pt x="552" y="687"/>
                  </a:lnTo>
                  <a:lnTo>
                    <a:pt x="552" y="688"/>
                  </a:lnTo>
                  <a:lnTo>
                    <a:pt x="554" y="690"/>
                  </a:lnTo>
                  <a:lnTo>
                    <a:pt x="554" y="692"/>
                  </a:lnTo>
                  <a:lnTo>
                    <a:pt x="555" y="694"/>
                  </a:lnTo>
                  <a:lnTo>
                    <a:pt x="552" y="694"/>
                  </a:lnTo>
                  <a:lnTo>
                    <a:pt x="554" y="695"/>
                  </a:lnTo>
                  <a:lnTo>
                    <a:pt x="555" y="695"/>
                  </a:lnTo>
                  <a:lnTo>
                    <a:pt x="556" y="695"/>
                  </a:lnTo>
                  <a:lnTo>
                    <a:pt x="558" y="695"/>
                  </a:lnTo>
                  <a:lnTo>
                    <a:pt x="560" y="694"/>
                  </a:lnTo>
                  <a:lnTo>
                    <a:pt x="562" y="694"/>
                  </a:lnTo>
                  <a:lnTo>
                    <a:pt x="563" y="694"/>
                  </a:lnTo>
                  <a:lnTo>
                    <a:pt x="566" y="692"/>
                  </a:lnTo>
                  <a:lnTo>
                    <a:pt x="568" y="690"/>
                  </a:lnTo>
                  <a:lnTo>
                    <a:pt x="569" y="689"/>
                  </a:lnTo>
                  <a:lnTo>
                    <a:pt x="572" y="689"/>
                  </a:lnTo>
                  <a:lnTo>
                    <a:pt x="573" y="688"/>
                  </a:lnTo>
                  <a:lnTo>
                    <a:pt x="573" y="687"/>
                  </a:lnTo>
                  <a:lnTo>
                    <a:pt x="574" y="687"/>
                  </a:lnTo>
                  <a:lnTo>
                    <a:pt x="574" y="686"/>
                  </a:lnTo>
                  <a:lnTo>
                    <a:pt x="576" y="686"/>
                  </a:lnTo>
                  <a:lnTo>
                    <a:pt x="578" y="684"/>
                  </a:lnTo>
                  <a:lnTo>
                    <a:pt x="578" y="687"/>
                  </a:lnTo>
                  <a:lnTo>
                    <a:pt x="579" y="688"/>
                  </a:lnTo>
                  <a:lnTo>
                    <a:pt x="580" y="689"/>
                  </a:lnTo>
                  <a:lnTo>
                    <a:pt x="578" y="689"/>
                  </a:lnTo>
                  <a:lnTo>
                    <a:pt x="576" y="690"/>
                  </a:lnTo>
                  <a:lnTo>
                    <a:pt x="574" y="693"/>
                  </a:lnTo>
                  <a:lnTo>
                    <a:pt x="573" y="692"/>
                  </a:lnTo>
                  <a:lnTo>
                    <a:pt x="574" y="693"/>
                  </a:lnTo>
                  <a:lnTo>
                    <a:pt x="575" y="694"/>
                  </a:lnTo>
                  <a:lnTo>
                    <a:pt x="576" y="694"/>
                  </a:lnTo>
                  <a:lnTo>
                    <a:pt x="579" y="693"/>
                  </a:lnTo>
                  <a:lnTo>
                    <a:pt x="581" y="693"/>
                  </a:lnTo>
                  <a:lnTo>
                    <a:pt x="584" y="693"/>
                  </a:lnTo>
                  <a:lnTo>
                    <a:pt x="586" y="692"/>
                  </a:lnTo>
                  <a:lnTo>
                    <a:pt x="589" y="690"/>
                  </a:lnTo>
                  <a:lnTo>
                    <a:pt x="591" y="689"/>
                  </a:lnTo>
                  <a:lnTo>
                    <a:pt x="595" y="686"/>
                  </a:lnTo>
                  <a:lnTo>
                    <a:pt x="601" y="683"/>
                  </a:lnTo>
                  <a:lnTo>
                    <a:pt x="605" y="681"/>
                  </a:lnTo>
                  <a:lnTo>
                    <a:pt x="607" y="680"/>
                  </a:lnTo>
                  <a:lnTo>
                    <a:pt x="608" y="680"/>
                  </a:lnTo>
                  <a:lnTo>
                    <a:pt x="609" y="680"/>
                  </a:lnTo>
                  <a:lnTo>
                    <a:pt x="610" y="678"/>
                  </a:lnTo>
                  <a:lnTo>
                    <a:pt x="613" y="677"/>
                  </a:lnTo>
                  <a:lnTo>
                    <a:pt x="614" y="676"/>
                  </a:lnTo>
                  <a:lnTo>
                    <a:pt x="616" y="676"/>
                  </a:lnTo>
                  <a:lnTo>
                    <a:pt x="622" y="675"/>
                  </a:lnTo>
                  <a:lnTo>
                    <a:pt x="622" y="676"/>
                  </a:lnTo>
                  <a:lnTo>
                    <a:pt x="621" y="676"/>
                  </a:lnTo>
                  <a:lnTo>
                    <a:pt x="617" y="677"/>
                  </a:lnTo>
                  <a:lnTo>
                    <a:pt x="617" y="678"/>
                  </a:lnTo>
                  <a:lnTo>
                    <a:pt x="619" y="680"/>
                  </a:lnTo>
                  <a:lnTo>
                    <a:pt x="616" y="680"/>
                  </a:lnTo>
                  <a:lnTo>
                    <a:pt x="615" y="678"/>
                  </a:lnTo>
                  <a:lnTo>
                    <a:pt x="614" y="680"/>
                  </a:lnTo>
                  <a:lnTo>
                    <a:pt x="615" y="680"/>
                  </a:lnTo>
                  <a:lnTo>
                    <a:pt x="616" y="681"/>
                  </a:lnTo>
                  <a:lnTo>
                    <a:pt x="614" y="681"/>
                  </a:lnTo>
                  <a:lnTo>
                    <a:pt x="613" y="682"/>
                  </a:lnTo>
                  <a:lnTo>
                    <a:pt x="610" y="682"/>
                  </a:lnTo>
                  <a:lnTo>
                    <a:pt x="611" y="683"/>
                  </a:lnTo>
                  <a:lnTo>
                    <a:pt x="611" y="684"/>
                  </a:lnTo>
                  <a:lnTo>
                    <a:pt x="610" y="683"/>
                  </a:lnTo>
                  <a:lnTo>
                    <a:pt x="609" y="683"/>
                  </a:lnTo>
                  <a:lnTo>
                    <a:pt x="608" y="683"/>
                  </a:lnTo>
                  <a:lnTo>
                    <a:pt x="610" y="686"/>
                  </a:lnTo>
                  <a:lnTo>
                    <a:pt x="609" y="687"/>
                  </a:lnTo>
                  <a:lnTo>
                    <a:pt x="608" y="686"/>
                  </a:lnTo>
                  <a:lnTo>
                    <a:pt x="607" y="684"/>
                  </a:lnTo>
                  <a:lnTo>
                    <a:pt x="605" y="683"/>
                  </a:lnTo>
                  <a:lnTo>
                    <a:pt x="604" y="684"/>
                  </a:lnTo>
                  <a:lnTo>
                    <a:pt x="605" y="687"/>
                  </a:lnTo>
                  <a:lnTo>
                    <a:pt x="607" y="687"/>
                  </a:lnTo>
                  <a:lnTo>
                    <a:pt x="607" y="688"/>
                  </a:lnTo>
                  <a:lnTo>
                    <a:pt x="605" y="688"/>
                  </a:lnTo>
                  <a:lnTo>
                    <a:pt x="608" y="689"/>
                  </a:lnTo>
                  <a:lnTo>
                    <a:pt x="609" y="690"/>
                  </a:lnTo>
                  <a:lnTo>
                    <a:pt x="604" y="689"/>
                  </a:lnTo>
                  <a:lnTo>
                    <a:pt x="603" y="688"/>
                  </a:lnTo>
                  <a:lnTo>
                    <a:pt x="602" y="687"/>
                  </a:lnTo>
                  <a:lnTo>
                    <a:pt x="603" y="689"/>
                  </a:lnTo>
                  <a:lnTo>
                    <a:pt x="603" y="692"/>
                  </a:lnTo>
                  <a:lnTo>
                    <a:pt x="602" y="690"/>
                  </a:lnTo>
                  <a:lnTo>
                    <a:pt x="599" y="688"/>
                  </a:lnTo>
                  <a:lnTo>
                    <a:pt x="599" y="689"/>
                  </a:lnTo>
                  <a:lnTo>
                    <a:pt x="601" y="692"/>
                  </a:lnTo>
                  <a:lnTo>
                    <a:pt x="602" y="694"/>
                  </a:lnTo>
                  <a:lnTo>
                    <a:pt x="603" y="698"/>
                  </a:lnTo>
                  <a:lnTo>
                    <a:pt x="603" y="700"/>
                  </a:lnTo>
                  <a:lnTo>
                    <a:pt x="603" y="701"/>
                  </a:lnTo>
                  <a:lnTo>
                    <a:pt x="602" y="700"/>
                  </a:lnTo>
                  <a:lnTo>
                    <a:pt x="601" y="699"/>
                  </a:lnTo>
                  <a:lnTo>
                    <a:pt x="599" y="698"/>
                  </a:lnTo>
                  <a:lnTo>
                    <a:pt x="599" y="696"/>
                  </a:lnTo>
                  <a:lnTo>
                    <a:pt x="598" y="695"/>
                  </a:lnTo>
                  <a:lnTo>
                    <a:pt x="597" y="696"/>
                  </a:lnTo>
                  <a:lnTo>
                    <a:pt x="598" y="698"/>
                  </a:lnTo>
                  <a:lnTo>
                    <a:pt x="598" y="699"/>
                  </a:lnTo>
                  <a:lnTo>
                    <a:pt x="599" y="700"/>
                  </a:lnTo>
                  <a:lnTo>
                    <a:pt x="599" y="701"/>
                  </a:lnTo>
                  <a:lnTo>
                    <a:pt x="598" y="701"/>
                  </a:lnTo>
                  <a:lnTo>
                    <a:pt x="599" y="701"/>
                  </a:lnTo>
                  <a:lnTo>
                    <a:pt x="598" y="702"/>
                  </a:lnTo>
                  <a:lnTo>
                    <a:pt x="598" y="704"/>
                  </a:lnTo>
                  <a:lnTo>
                    <a:pt x="597" y="704"/>
                  </a:lnTo>
                  <a:lnTo>
                    <a:pt x="596" y="702"/>
                  </a:lnTo>
                  <a:lnTo>
                    <a:pt x="596" y="701"/>
                  </a:lnTo>
                  <a:lnTo>
                    <a:pt x="595" y="701"/>
                  </a:lnTo>
                  <a:lnTo>
                    <a:pt x="595" y="704"/>
                  </a:lnTo>
                  <a:lnTo>
                    <a:pt x="596" y="707"/>
                  </a:lnTo>
                  <a:lnTo>
                    <a:pt x="595" y="706"/>
                  </a:lnTo>
                  <a:lnTo>
                    <a:pt x="593" y="707"/>
                  </a:lnTo>
                  <a:lnTo>
                    <a:pt x="592" y="705"/>
                  </a:lnTo>
                  <a:lnTo>
                    <a:pt x="592" y="702"/>
                  </a:lnTo>
                  <a:lnTo>
                    <a:pt x="592" y="701"/>
                  </a:lnTo>
                  <a:lnTo>
                    <a:pt x="591" y="701"/>
                  </a:lnTo>
                  <a:lnTo>
                    <a:pt x="591" y="702"/>
                  </a:lnTo>
                  <a:lnTo>
                    <a:pt x="591" y="705"/>
                  </a:lnTo>
                  <a:lnTo>
                    <a:pt x="590" y="705"/>
                  </a:lnTo>
                  <a:lnTo>
                    <a:pt x="590" y="702"/>
                  </a:lnTo>
                  <a:lnTo>
                    <a:pt x="589" y="701"/>
                  </a:lnTo>
                  <a:lnTo>
                    <a:pt x="589" y="704"/>
                  </a:lnTo>
                  <a:lnTo>
                    <a:pt x="587" y="704"/>
                  </a:lnTo>
                  <a:lnTo>
                    <a:pt x="587" y="705"/>
                  </a:lnTo>
                  <a:lnTo>
                    <a:pt x="586" y="705"/>
                  </a:lnTo>
                  <a:lnTo>
                    <a:pt x="587" y="707"/>
                  </a:lnTo>
                  <a:lnTo>
                    <a:pt x="587" y="708"/>
                  </a:lnTo>
                  <a:lnTo>
                    <a:pt x="587" y="710"/>
                  </a:lnTo>
                  <a:lnTo>
                    <a:pt x="586" y="711"/>
                  </a:lnTo>
                  <a:lnTo>
                    <a:pt x="586" y="712"/>
                  </a:lnTo>
                  <a:lnTo>
                    <a:pt x="587" y="714"/>
                  </a:lnTo>
                  <a:lnTo>
                    <a:pt x="586" y="714"/>
                  </a:lnTo>
                  <a:lnTo>
                    <a:pt x="585" y="713"/>
                  </a:lnTo>
                  <a:lnTo>
                    <a:pt x="585" y="711"/>
                  </a:lnTo>
                  <a:lnTo>
                    <a:pt x="585" y="708"/>
                  </a:lnTo>
                  <a:lnTo>
                    <a:pt x="583" y="710"/>
                  </a:lnTo>
                  <a:lnTo>
                    <a:pt x="583" y="708"/>
                  </a:lnTo>
                  <a:lnTo>
                    <a:pt x="581" y="708"/>
                  </a:lnTo>
                  <a:lnTo>
                    <a:pt x="581" y="710"/>
                  </a:lnTo>
                  <a:lnTo>
                    <a:pt x="581" y="712"/>
                  </a:lnTo>
                  <a:lnTo>
                    <a:pt x="580" y="711"/>
                  </a:lnTo>
                  <a:lnTo>
                    <a:pt x="579" y="710"/>
                  </a:lnTo>
                  <a:lnTo>
                    <a:pt x="579" y="708"/>
                  </a:lnTo>
                  <a:lnTo>
                    <a:pt x="578" y="708"/>
                  </a:lnTo>
                  <a:lnTo>
                    <a:pt x="579" y="711"/>
                  </a:lnTo>
                  <a:lnTo>
                    <a:pt x="579" y="712"/>
                  </a:lnTo>
                  <a:lnTo>
                    <a:pt x="581" y="713"/>
                  </a:lnTo>
                  <a:lnTo>
                    <a:pt x="583" y="714"/>
                  </a:lnTo>
                  <a:lnTo>
                    <a:pt x="587" y="716"/>
                  </a:lnTo>
                  <a:lnTo>
                    <a:pt x="587" y="717"/>
                  </a:lnTo>
                  <a:lnTo>
                    <a:pt x="590" y="718"/>
                  </a:lnTo>
                  <a:lnTo>
                    <a:pt x="592" y="718"/>
                  </a:lnTo>
                  <a:lnTo>
                    <a:pt x="598" y="716"/>
                  </a:lnTo>
                  <a:lnTo>
                    <a:pt x="598" y="717"/>
                  </a:lnTo>
                  <a:lnTo>
                    <a:pt x="593" y="718"/>
                  </a:lnTo>
                  <a:lnTo>
                    <a:pt x="593" y="719"/>
                  </a:lnTo>
                  <a:lnTo>
                    <a:pt x="596" y="720"/>
                  </a:lnTo>
                  <a:lnTo>
                    <a:pt x="597" y="723"/>
                  </a:lnTo>
                  <a:lnTo>
                    <a:pt x="595" y="722"/>
                  </a:lnTo>
                  <a:lnTo>
                    <a:pt x="593" y="720"/>
                  </a:lnTo>
                  <a:lnTo>
                    <a:pt x="593" y="724"/>
                  </a:lnTo>
                  <a:lnTo>
                    <a:pt x="592" y="722"/>
                  </a:lnTo>
                  <a:lnTo>
                    <a:pt x="591" y="719"/>
                  </a:lnTo>
                  <a:lnTo>
                    <a:pt x="590" y="719"/>
                  </a:lnTo>
                  <a:lnTo>
                    <a:pt x="590" y="720"/>
                  </a:lnTo>
                  <a:lnTo>
                    <a:pt x="590" y="724"/>
                  </a:lnTo>
                  <a:lnTo>
                    <a:pt x="589" y="724"/>
                  </a:lnTo>
                  <a:lnTo>
                    <a:pt x="587" y="723"/>
                  </a:lnTo>
                  <a:lnTo>
                    <a:pt x="589" y="723"/>
                  </a:lnTo>
                  <a:lnTo>
                    <a:pt x="589" y="722"/>
                  </a:lnTo>
                  <a:lnTo>
                    <a:pt x="589" y="720"/>
                  </a:lnTo>
                  <a:lnTo>
                    <a:pt x="587" y="720"/>
                  </a:lnTo>
                  <a:lnTo>
                    <a:pt x="585" y="720"/>
                  </a:lnTo>
                  <a:lnTo>
                    <a:pt x="584" y="720"/>
                  </a:lnTo>
                  <a:lnTo>
                    <a:pt x="585" y="723"/>
                  </a:lnTo>
                  <a:lnTo>
                    <a:pt x="587" y="724"/>
                  </a:lnTo>
                  <a:lnTo>
                    <a:pt x="589" y="725"/>
                  </a:lnTo>
                  <a:lnTo>
                    <a:pt x="589" y="726"/>
                  </a:lnTo>
                  <a:lnTo>
                    <a:pt x="585" y="725"/>
                  </a:lnTo>
                  <a:lnTo>
                    <a:pt x="586" y="725"/>
                  </a:lnTo>
                  <a:lnTo>
                    <a:pt x="587" y="728"/>
                  </a:lnTo>
                  <a:lnTo>
                    <a:pt x="587" y="729"/>
                  </a:lnTo>
                  <a:lnTo>
                    <a:pt x="586" y="729"/>
                  </a:lnTo>
                  <a:lnTo>
                    <a:pt x="585" y="728"/>
                  </a:lnTo>
                  <a:lnTo>
                    <a:pt x="584" y="725"/>
                  </a:lnTo>
                  <a:lnTo>
                    <a:pt x="581" y="723"/>
                  </a:lnTo>
                  <a:lnTo>
                    <a:pt x="579" y="722"/>
                  </a:lnTo>
                  <a:lnTo>
                    <a:pt x="576" y="722"/>
                  </a:lnTo>
                  <a:lnTo>
                    <a:pt x="574" y="722"/>
                  </a:lnTo>
                  <a:lnTo>
                    <a:pt x="575" y="725"/>
                  </a:lnTo>
                  <a:lnTo>
                    <a:pt x="578" y="728"/>
                  </a:lnTo>
                  <a:lnTo>
                    <a:pt x="578" y="729"/>
                  </a:lnTo>
                  <a:lnTo>
                    <a:pt x="580" y="729"/>
                  </a:lnTo>
                  <a:lnTo>
                    <a:pt x="583" y="730"/>
                  </a:lnTo>
                  <a:lnTo>
                    <a:pt x="584" y="731"/>
                  </a:lnTo>
                  <a:lnTo>
                    <a:pt x="586" y="732"/>
                  </a:lnTo>
                  <a:lnTo>
                    <a:pt x="586" y="734"/>
                  </a:lnTo>
                  <a:lnTo>
                    <a:pt x="586" y="735"/>
                  </a:lnTo>
                  <a:lnTo>
                    <a:pt x="585" y="735"/>
                  </a:lnTo>
                  <a:lnTo>
                    <a:pt x="584" y="734"/>
                  </a:lnTo>
                  <a:lnTo>
                    <a:pt x="584" y="735"/>
                  </a:lnTo>
                  <a:lnTo>
                    <a:pt x="583" y="734"/>
                  </a:lnTo>
                  <a:lnTo>
                    <a:pt x="581" y="732"/>
                  </a:lnTo>
                  <a:lnTo>
                    <a:pt x="579" y="730"/>
                  </a:lnTo>
                  <a:lnTo>
                    <a:pt x="578" y="730"/>
                  </a:lnTo>
                  <a:lnTo>
                    <a:pt x="576" y="729"/>
                  </a:lnTo>
                  <a:lnTo>
                    <a:pt x="578" y="731"/>
                  </a:lnTo>
                  <a:lnTo>
                    <a:pt x="579" y="735"/>
                  </a:lnTo>
                  <a:lnTo>
                    <a:pt x="576" y="735"/>
                  </a:lnTo>
                  <a:lnTo>
                    <a:pt x="575" y="734"/>
                  </a:lnTo>
                  <a:lnTo>
                    <a:pt x="575" y="735"/>
                  </a:lnTo>
                  <a:lnTo>
                    <a:pt x="575" y="736"/>
                  </a:lnTo>
                  <a:lnTo>
                    <a:pt x="574" y="735"/>
                  </a:lnTo>
                  <a:lnTo>
                    <a:pt x="573" y="734"/>
                  </a:lnTo>
                  <a:lnTo>
                    <a:pt x="573" y="732"/>
                  </a:lnTo>
                  <a:lnTo>
                    <a:pt x="573" y="730"/>
                  </a:lnTo>
                  <a:lnTo>
                    <a:pt x="572" y="728"/>
                  </a:lnTo>
                  <a:lnTo>
                    <a:pt x="570" y="730"/>
                  </a:lnTo>
                  <a:lnTo>
                    <a:pt x="572" y="728"/>
                  </a:lnTo>
                  <a:lnTo>
                    <a:pt x="572" y="726"/>
                  </a:lnTo>
                  <a:lnTo>
                    <a:pt x="570" y="725"/>
                  </a:lnTo>
                  <a:lnTo>
                    <a:pt x="569" y="725"/>
                  </a:lnTo>
                  <a:lnTo>
                    <a:pt x="569" y="726"/>
                  </a:lnTo>
                  <a:lnTo>
                    <a:pt x="568" y="724"/>
                  </a:lnTo>
                  <a:lnTo>
                    <a:pt x="568" y="723"/>
                  </a:lnTo>
                  <a:lnTo>
                    <a:pt x="567" y="723"/>
                  </a:lnTo>
                  <a:lnTo>
                    <a:pt x="567" y="724"/>
                  </a:lnTo>
                  <a:lnTo>
                    <a:pt x="567" y="726"/>
                  </a:lnTo>
                  <a:lnTo>
                    <a:pt x="568" y="729"/>
                  </a:lnTo>
                  <a:lnTo>
                    <a:pt x="568" y="731"/>
                  </a:lnTo>
                  <a:lnTo>
                    <a:pt x="568" y="732"/>
                  </a:lnTo>
                  <a:lnTo>
                    <a:pt x="569" y="734"/>
                  </a:lnTo>
                  <a:lnTo>
                    <a:pt x="569" y="735"/>
                  </a:lnTo>
                  <a:lnTo>
                    <a:pt x="569" y="736"/>
                  </a:lnTo>
                  <a:lnTo>
                    <a:pt x="568" y="740"/>
                  </a:lnTo>
                  <a:lnTo>
                    <a:pt x="568" y="738"/>
                  </a:lnTo>
                  <a:lnTo>
                    <a:pt x="566" y="737"/>
                  </a:lnTo>
                  <a:lnTo>
                    <a:pt x="564" y="737"/>
                  </a:lnTo>
                  <a:lnTo>
                    <a:pt x="564" y="736"/>
                  </a:lnTo>
                  <a:lnTo>
                    <a:pt x="564" y="734"/>
                  </a:lnTo>
                  <a:lnTo>
                    <a:pt x="564" y="731"/>
                  </a:lnTo>
                  <a:lnTo>
                    <a:pt x="563" y="732"/>
                  </a:lnTo>
                  <a:lnTo>
                    <a:pt x="563" y="734"/>
                  </a:lnTo>
                  <a:lnTo>
                    <a:pt x="563" y="736"/>
                  </a:lnTo>
                  <a:lnTo>
                    <a:pt x="563" y="737"/>
                  </a:lnTo>
                  <a:lnTo>
                    <a:pt x="563" y="738"/>
                  </a:lnTo>
                  <a:lnTo>
                    <a:pt x="563" y="740"/>
                  </a:lnTo>
                  <a:lnTo>
                    <a:pt x="562" y="741"/>
                  </a:lnTo>
                  <a:lnTo>
                    <a:pt x="562" y="740"/>
                  </a:lnTo>
                  <a:lnTo>
                    <a:pt x="561" y="741"/>
                  </a:lnTo>
                  <a:lnTo>
                    <a:pt x="561" y="742"/>
                  </a:lnTo>
                  <a:lnTo>
                    <a:pt x="560" y="742"/>
                  </a:lnTo>
                  <a:lnTo>
                    <a:pt x="560" y="740"/>
                  </a:lnTo>
                  <a:lnTo>
                    <a:pt x="561" y="736"/>
                  </a:lnTo>
                  <a:lnTo>
                    <a:pt x="560" y="734"/>
                  </a:lnTo>
                  <a:lnTo>
                    <a:pt x="560" y="730"/>
                  </a:lnTo>
                  <a:lnTo>
                    <a:pt x="558" y="735"/>
                  </a:lnTo>
                  <a:lnTo>
                    <a:pt x="557" y="735"/>
                  </a:lnTo>
                  <a:lnTo>
                    <a:pt x="557" y="732"/>
                  </a:lnTo>
                  <a:lnTo>
                    <a:pt x="557" y="730"/>
                  </a:lnTo>
                  <a:lnTo>
                    <a:pt x="556" y="728"/>
                  </a:lnTo>
                  <a:lnTo>
                    <a:pt x="556" y="725"/>
                  </a:lnTo>
                  <a:lnTo>
                    <a:pt x="555" y="724"/>
                  </a:lnTo>
                  <a:lnTo>
                    <a:pt x="555" y="726"/>
                  </a:lnTo>
                  <a:lnTo>
                    <a:pt x="555" y="730"/>
                  </a:lnTo>
                  <a:lnTo>
                    <a:pt x="556" y="734"/>
                  </a:lnTo>
                  <a:lnTo>
                    <a:pt x="556" y="735"/>
                  </a:lnTo>
                  <a:lnTo>
                    <a:pt x="557" y="737"/>
                  </a:lnTo>
                  <a:lnTo>
                    <a:pt x="558" y="740"/>
                  </a:lnTo>
                  <a:lnTo>
                    <a:pt x="557" y="740"/>
                  </a:lnTo>
                  <a:lnTo>
                    <a:pt x="557" y="741"/>
                  </a:lnTo>
                  <a:lnTo>
                    <a:pt x="556" y="741"/>
                  </a:lnTo>
                  <a:lnTo>
                    <a:pt x="556" y="740"/>
                  </a:lnTo>
                  <a:lnTo>
                    <a:pt x="555" y="738"/>
                  </a:lnTo>
                  <a:lnTo>
                    <a:pt x="554" y="736"/>
                  </a:lnTo>
                  <a:lnTo>
                    <a:pt x="554" y="735"/>
                  </a:lnTo>
                  <a:lnTo>
                    <a:pt x="554" y="732"/>
                  </a:lnTo>
                  <a:lnTo>
                    <a:pt x="552" y="731"/>
                  </a:lnTo>
                  <a:lnTo>
                    <a:pt x="552" y="732"/>
                  </a:lnTo>
                  <a:lnTo>
                    <a:pt x="552" y="735"/>
                  </a:lnTo>
                  <a:lnTo>
                    <a:pt x="552" y="736"/>
                  </a:lnTo>
                  <a:lnTo>
                    <a:pt x="551" y="737"/>
                  </a:lnTo>
                  <a:lnTo>
                    <a:pt x="550" y="735"/>
                  </a:lnTo>
                  <a:lnTo>
                    <a:pt x="550" y="732"/>
                  </a:lnTo>
                  <a:lnTo>
                    <a:pt x="549" y="732"/>
                  </a:lnTo>
                  <a:lnTo>
                    <a:pt x="548" y="729"/>
                  </a:lnTo>
                  <a:lnTo>
                    <a:pt x="548" y="730"/>
                  </a:lnTo>
                  <a:lnTo>
                    <a:pt x="548" y="732"/>
                  </a:lnTo>
                  <a:lnTo>
                    <a:pt x="549" y="735"/>
                  </a:lnTo>
                  <a:lnTo>
                    <a:pt x="549" y="737"/>
                  </a:lnTo>
                  <a:lnTo>
                    <a:pt x="548" y="737"/>
                  </a:lnTo>
                  <a:lnTo>
                    <a:pt x="549" y="738"/>
                  </a:lnTo>
                  <a:lnTo>
                    <a:pt x="548" y="740"/>
                  </a:lnTo>
                  <a:lnTo>
                    <a:pt x="546" y="738"/>
                  </a:lnTo>
                  <a:lnTo>
                    <a:pt x="546" y="741"/>
                  </a:lnTo>
                  <a:lnTo>
                    <a:pt x="548" y="742"/>
                  </a:lnTo>
                  <a:lnTo>
                    <a:pt x="548" y="743"/>
                  </a:lnTo>
                  <a:lnTo>
                    <a:pt x="551" y="744"/>
                  </a:lnTo>
                  <a:lnTo>
                    <a:pt x="550" y="744"/>
                  </a:lnTo>
                  <a:lnTo>
                    <a:pt x="548" y="743"/>
                  </a:lnTo>
                  <a:lnTo>
                    <a:pt x="549" y="744"/>
                  </a:lnTo>
                  <a:lnTo>
                    <a:pt x="549" y="747"/>
                  </a:lnTo>
                  <a:lnTo>
                    <a:pt x="548" y="747"/>
                  </a:lnTo>
                  <a:lnTo>
                    <a:pt x="546" y="747"/>
                  </a:lnTo>
                  <a:lnTo>
                    <a:pt x="543" y="743"/>
                  </a:lnTo>
                  <a:lnTo>
                    <a:pt x="543" y="741"/>
                  </a:lnTo>
                  <a:lnTo>
                    <a:pt x="542" y="740"/>
                  </a:lnTo>
                  <a:lnTo>
                    <a:pt x="543" y="735"/>
                  </a:lnTo>
                  <a:lnTo>
                    <a:pt x="542" y="734"/>
                  </a:lnTo>
                  <a:lnTo>
                    <a:pt x="542" y="730"/>
                  </a:lnTo>
                  <a:lnTo>
                    <a:pt x="542" y="729"/>
                  </a:lnTo>
                  <a:lnTo>
                    <a:pt x="540" y="729"/>
                  </a:lnTo>
                  <a:lnTo>
                    <a:pt x="540" y="731"/>
                  </a:lnTo>
                  <a:lnTo>
                    <a:pt x="540" y="732"/>
                  </a:lnTo>
                  <a:lnTo>
                    <a:pt x="539" y="732"/>
                  </a:lnTo>
                  <a:lnTo>
                    <a:pt x="539" y="735"/>
                  </a:lnTo>
                  <a:lnTo>
                    <a:pt x="539" y="737"/>
                  </a:lnTo>
                  <a:lnTo>
                    <a:pt x="540" y="740"/>
                  </a:lnTo>
                  <a:lnTo>
                    <a:pt x="540" y="741"/>
                  </a:lnTo>
                  <a:lnTo>
                    <a:pt x="540" y="742"/>
                  </a:lnTo>
                  <a:lnTo>
                    <a:pt x="542" y="743"/>
                  </a:lnTo>
                  <a:lnTo>
                    <a:pt x="543" y="746"/>
                  </a:lnTo>
                  <a:lnTo>
                    <a:pt x="544" y="747"/>
                  </a:lnTo>
                  <a:lnTo>
                    <a:pt x="544" y="749"/>
                  </a:lnTo>
                  <a:lnTo>
                    <a:pt x="543" y="750"/>
                  </a:lnTo>
                  <a:lnTo>
                    <a:pt x="543" y="752"/>
                  </a:lnTo>
                  <a:lnTo>
                    <a:pt x="543" y="753"/>
                  </a:lnTo>
                  <a:lnTo>
                    <a:pt x="544" y="755"/>
                  </a:lnTo>
                  <a:lnTo>
                    <a:pt x="544" y="756"/>
                  </a:lnTo>
                  <a:lnTo>
                    <a:pt x="545" y="758"/>
                  </a:lnTo>
                  <a:lnTo>
                    <a:pt x="548" y="758"/>
                  </a:lnTo>
                  <a:lnTo>
                    <a:pt x="550" y="758"/>
                  </a:lnTo>
                  <a:lnTo>
                    <a:pt x="554" y="756"/>
                  </a:lnTo>
                  <a:lnTo>
                    <a:pt x="557" y="755"/>
                  </a:lnTo>
                  <a:lnTo>
                    <a:pt x="558" y="754"/>
                  </a:lnTo>
                  <a:lnTo>
                    <a:pt x="560" y="754"/>
                  </a:lnTo>
                  <a:lnTo>
                    <a:pt x="562" y="754"/>
                  </a:lnTo>
                  <a:lnTo>
                    <a:pt x="564" y="753"/>
                  </a:lnTo>
                  <a:lnTo>
                    <a:pt x="567" y="753"/>
                  </a:lnTo>
                  <a:lnTo>
                    <a:pt x="567" y="754"/>
                  </a:lnTo>
                  <a:lnTo>
                    <a:pt x="566" y="755"/>
                  </a:lnTo>
                  <a:lnTo>
                    <a:pt x="566" y="756"/>
                  </a:lnTo>
                  <a:lnTo>
                    <a:pt x="564" y="756"/>
                  </a:lnTo>
                  <a:lnTo>
                    <a:pt x="563" y="756"/>
                  </a:lnTo>
                  <a:lnTo>
                    <a:pt x="564" y="758"/>
                  </a:lnTo>
                  <a:lnTo>
                    <a:pt x="563" y="758"/>
                  </a:lnTo>
                  <a:lnTo>
                    <a:pt x="562" y="758"/>
                  </a:lnTo>
                  <a:lnTo>
                    <a:pt x="561" y="756"/>
                  </a:lnTo>
                  <a:lnTo>
                    <a:pt x="560" y="758"/>
                  </a:lnTo>
                  <a:lnTo>
                    <a:pt x="562" y="759"/>
                  </a:lnTo>
                  <a:lnTo>
                    <a:pt x="562" y="760"/>
                  </a:lnTo>
                  <a:lnTo>
                    <a:pt x="561" y="761"/>
                  </a:lnTo>
                  <a:lnTo>
                    <a:pt x="560" y="761"/>
                  </a:lnTo>
                  <a:lnTo>
                    <a:pt x="558" y="761"/>
                  </a:lnTo>
                  <a:lnTo>
                    <a:pt x="557" y="760"/>
                  </a:lnTo>
                  <a:lnTo>
                    <a:pt x="558" y="761"/>
                  </a:lnTo>
                  <a:lnTo>
                    <a:pt x="558" y="764"/>
                  </a:lnTo>
                  <a:lnTo>
                    <a:pt x="557" y="765"/>
                  </a:lnTo>
                  <a:lnTo>
                    <a:pt x="557" y="766"/>
                  </a:lnTo>
                  <a:lnTo>
                    <a:pt x="556" y="767"/>
                  </a:lnTo>
                  <a:lnTo>
                    <a:pt x="555" y="767"/>
                  </a:lnTo>
                  <a:lnTo>
                    <a:pt x="554" y="767"/>
                  </a:lnTo>
                  <a:lnTo>
                    <a:pt x="554" y="768"/>
                  </a:lnTo>
                  <a:lnTo>
                    <a:pt x="551" y="770"/>
                  </a:lnTo>
                  <a:lnTo>
                    <a:pt x="554" y="771"/>
                  </a:lnTo>
                  <a:lnTo>
                    <a:pt x="554" y="772"/>
                  </a:lnTo>
                  <a:lnTo>
                    <a:pt x="552" y="772"/>
                  </a:lnTo>
                  <a:lnTo>
                    <a:pt x="551" y="773"/>
                  </a:lnTo>
                  <a:lnTo>
                    <a:pt x="550" y="773"/>
                  </a:lnTo>
                  <a:lnTo>
                    <a:pt x="550" y="772"/>
                  </a:lnTo>
                  <a:lnTo>
                    <a:pt x="549" y="772"/>
                  </a:lnTo>
                  <a:lnTo>
                    <a:pt x="548" y="772"/>
                  </a:lnTo>
                  <a:lnTo>
                    <a:pt x="546" y="770"/>
                  </a:lnTo>
                  <a:lnTo>
                    <a:pt x="546" y="768"/>
                  </a:lnTo>
                  <a:lnTo>
                    <a:pt x="545" y="770"/>
                  </a:lnTo>
                  <a:lnTo>
                    <a:pt x="546" y="771"/>
                  </a:lnTo>
                  <a:lnTo>
                    <a:pt x="548" y="772"/>
                  </a:lnTo>
                  <a:lnTo>
                    <a:pt x="548" y="773"/>
                  </a:lnTo>
                  <a:lnTo>
                    <a:pt x="546" y="775"/>
                  </a:lnTo>
                  <a:lnTo>
                    <a:pt x="546" y="776"/>
                  </a:lnTo>
                  <a:lnTo>
                    <a:pt x="544" y="776"/>
                  </a:lnTo>
                  <a:lnTo>
                    <a:pt x="543" y="777"/>
                  </a:lnTo>
                  <a:lnTo>
                    <a:pt x="540" y="776"/>
                  </a:lnTo>
                  <a:lnTo>
                    <a:pt x="540" y="777"/>
                  </a:lnTo>
                  <a:lnTo>
                    <a:pt x="538" y="777"/>
                  </a:lnTo>
                  <a:lnTo>
                    <a:pt x="537" y="776"/>
                  </a:lnTo>
                  <a:lnTo>
                    <a:pt x="536" y="777"/>
                  </a:lnTo>
                  <a:lnTo>
                    <a:pt x="534" y="777"/>
                  </a:lnTo>
                  <a:lnTo>
                    <a:pt x="533" y="777"/>
                  </a:lnTo>
                  <a:lnTo>
                    <a:pt x="533" y="776"/>
                  </a:lnTo>
                  <a:lnTo>
                    <a:pt x="532" y="776"/>
                  </a:lnTo>
                  <a:lnTo>
                    <a:pt x="531" y="776"/>
                  </a:lnTo>
                  <a:lnTo>
                    <a:pt x="530" y="776"/>
                  </a:lnTo>
                  <a:lnTo>
                    <a:pt x="530" y="775"/>
                  </a:lnTo>
                  <a:lnTo>
                    <a:pt x="528" y="776"/>
                  </a:lnTo>
                  <a:lnTo>
                    <a:pt x="527" y="776"/>
                  </a:lnTo>
                  <a:lnTo>
                    <a:pt x="526" y="776"/>
                  </a:lnTo>
                  <a:lnTo>
                    <a:pt x="525" y="776"/>
                  </a:lnTo>
                  <a:lnTo>
                    <a:pt x="524" y="776"/>
                  </a:lnTo>
                  <a:lnTo>
                    <a:pt x="524" y="777"/>
                  </a:lnTo>
                  <a:lnTo>
                    <a:pt x="521" y="777"/>
                  </a:lnTo>
                  <a:lnTo>
                    <a:pt x="520" y="777"/>
                  </a:lnTo>
                  <a:lnTo>
                    <a:pt x="519" y="777"/>
                  </a:lnTo>
                  <a:lnTo>
                    <a:pt x="518" y="778"/>
                  </a:lnTo>
                  <a:lnTo>
                    <a:pt x="518" y="777"/>
                  </a:lnTo>
                  <a:lnTo>
                    <a:pt x="516" y="776"/>
                  </a:lnTo>
                  <a:lnTo>
                    <a:pt x="515" y="776"/>
                  </a:lnTo>
                  <a:lnTo>
                    <a:pt x="515" y="777"/>
                  </a:lnTo>
                  <a:lnTo>
                    <a:pt x="514" y="777"/>
                  </a:lnTo>
                  <a:lnTo>
                    <a:pt x="513" y="777"/>
                  </a:lnTo>
                  <a:lnTo>
                    <a:pt x="511" y="777"/>
                  </a:lnTo>
                  <a:lnTo>
                    <a:pt x="510" y="777"/>
                  </a:lnTo>
                  <a:lnTo>
                    <a:pt x="509" y="778"/>
                  </a:lnTo>
                  <a:lnTo>
                    <a:pt x="508" y="779"/>
                  </a:lnTo>
                  <a:lnTo>
                    <a:pt x="507" y="781"/>
                  </a:lnTo>
                  <a:lnTo>
                    <a:pt x="507" y="782"/>
                  </a:lnTo>
                  <a:lnTo>
                    <a:pt x="505" y="782"/>
                  </a:lnTo>
                  <a:lnTo>
                    <a:pt x="504" y="783"/>
                  </a:lnTo>
                  <a:lnTo>
                    <a:pt x="502" y="783"/>
                  </a:lnTo>
                  <a:lnTo>
                    <a:pt x="501" y="783"/>
                  </a:lnTo>
                  <a:lnTo>
                    <a:pt x="503" y="784"/>
                  </a:lnTo>
                  <a:lnTo>
                    <a:pt x="504" y="784"/>
                  </a:lnTo>
                  <a:lnTo>
                    <a:pt x="504" y="785"/>
                  </a:lnTo>
                  <a:lnTo>
                    <a:pt x="503" y="785"/>
                  </a:lnTo>
                  <a:lnTo>
                    <a:pt x="501" y="784"/>
                  </a:lnTo>
                  <a:lnTo>
                    <a:pt x="499" y="785"/>
                  </a:lnTo>
                  <a:lnTo>
                    <a:pt x="502" y="787"/>
                  </a:lnTo>
                  <a:lnTo>
                    <a:pt x="501" y="788"/>
                  </a:lnTo>
                  <a:lnTo>
                    <a:pt x="502" y="789"/>
                  </a:lnTo>
                  <a:lnTo>
                    <a:pt x="501" y="789"/>
                  </a:lnTo>
                  <a:lnTo>
                    <a:pt x="499" y="788"/>
                  </a:lnTo>
                  <a:lnTo>
                    <a:pt x="498" y="789"/>
                  </a:lnTo>
                  <a:lnTo>
                    <a:pt x="499" y="790"/>
                  </a:lnTo>
                  <a:lnTo>
                    <a:pt x="498" y="790"/>
                  </a:lnTo>
                  <a:lnTo>
                    <a:pt x="497" y="790"/>
                  </a:lnTo>
                  <a:lnTo>
                    <a:pt x="497" y="791"/>
                  </a:lnTo>
                  <a:lnTo>
                    <a:pt x="496" y="791"/>
                  </a:lnTo>
                  <a:lnTo>
                    <a:pt x="495" y="790"/>
                  </a:lnTo>
                  <a:lnTo>
                    <a:pt x="493" y="790"/>
                  </a:lnTo>
                  <a:lnTo>
                    <a:pt x="495" y="791"/>
                  </a:lnTo>
                  <a:lnTo>
                    <a:pt x="496" y="794"/>
                  </a:lnTo>
                  <a:lnTo>
                    <a:pt x="496" y="795"/>
                  </a:lnTo>
                  <a:lnTo>
                    <a:pt x="495" y="795"/>
                  </a:lnTo>
                  <a:lnTo>
                    <a:pt x="493" y="793"/>
                  </a:lnTo>
                  <a:lnTo>
                    <a:pt x="492" y="791"/>
                  </a:lnTo>
                  <a:lnTo>
                    <a:pt x="492" y="793"/>
                  </a:lnTo>
                  <a:lnTo>
                    <a:pt x="493" y="794"/>
                  </a:lnTo>
                  <a:lnTo>
                    <a:pt x="492" y="795"/>
                  </a:lnTo>
                  <a:lnTo>
                    <a:pt x="492" y="796"/>
                  </a:lnTo>
                  <a:lnTo>
                    <a:pt x="493" y="796"/>
                  </a:lnTo>
                  <a:lnTo>
                    <a:pt x="493" y="799"/>
                  </a:lnTo>
                  <a:lnTo>
                    <a:pt x="493" y="800"/>
                  </a:lnTo>
                  <a:lnTo>
                    <a:pt x="495" y="801"/>
                  </a:lnTo>
                  <a:lnTo>
                    <a:pt x="496" y="803"/>
                  </a:lnTo>
                  <a:lnTo>
                    <a:pt x="496" y="805"/>
                  </a:lnTo>
                  <a:lnTo>
                    <a:pt x="497" y="807"/>
                  </a:lnTo>
                  <a:lnTo>
                    <a:pt x="499" y="809"/>
                  </a:lnTo>
                  <a:lnTo>
                    <a:pt x="502" y="811"/>
                  </a:lnTo>
                  <a:lnTo>
                    <a:pt x="503" y="812"/>
                  </a:lnTo>
                  <a:lnTo>
                    <a:pt x="502" y="813"/>
                  </a:lnTo>
                  <a:lnTo>
                    <a:pt x="501" y="814"/>
                  </a:lnTo>
                  <a:lnTo>
                    <a:pt x="501" y="815"/>
                  </a:lnTo>
                  <a:lnTo>
                    <a:pt x="501" y="817"/>
                  </a:lnTo>
                  <a:lnTo>
                    <a:pt x="499" y="818"/>
                  </a:lnTo>
                  <a:lnTo>
                    <a:pt x="498" y="818"/>
                  </a:lnTo>
                  <a:lnTo>
                    <a:pt x="497" y="818"/>
                  </a:lnTo>
                  <a:lnTo>
                    <a:pt x="496" y="819"/>
                  </a:lnTo>
                  <a:lnTo>
                    <a:pt x="498" y="820"/>
                  </a:lnTo>
                  <a:lnTo>
                    <a:pt x="499" y="821"/>
                  </a:lnTo>
                  <a:lnTo>
                    <a:pt x="498" y="821"/>
                  </a:lnTo>
                  <a:lnTo>
                    <a:pt x="497" y="820"/>
                  </a:lnTo>
                  <a:lnTo>
                    <a:pt x="496" y="819"/>
                  </a:lnTo>
                  <a:lnTo>
                    <a:pt x="495" y="818"/>
                  </a:lnTo>
                  <a:lnTo>
                    <a:pt x="492" y="817"/>
                  </a:lnTo>
                  <a:lnTo>
                    <a:pt x="492" y="815"/>
                  </a:lnTo>
                  <a:lnTo>
                    <a:pt x="490" y="814"/>
                  </a:lnTo>
                  <a:lnTo>
                    <a:pt x="489" y="815"/>
                  </a:lnTo>
                  <a:lnTo>
                    <a:pt x="487" y="817"/>
                  </a:lnTo>
                  <a:lnTo>
                    <a:pt x="486" y="817"/>
                  </a:lnTo>
                  <a:lnTo>
                    <a:pt x="484" y="817"/>
                  </a:lnTo>
                  <a:lnTo>
                    <a:pt x="484" y="818"/>
                  </a:lnTo>
                  <a:lnTo>
                    <a:pt x="484" y="819"/>
                  </a:lnTo>
                  <a:lnTo>
                    <a:pt x="483" y="820"/>
                  </a:lnTo>
                  <a:lnTo>
                    <a:pt x="481" y="819"/>
                  </a:lnTo>
                  <a:lnTo>
                    <a:pt x="481" y="820"/>
                  </a:lnTo>
                  <a:lnTo>
                    <a:pt x="480" y="820"/>
                  </a:lnTo>
                  <a:lnTo>
                    <a:pt x="481" y="821"/>
                  </a:lnTo>
                  <a:lnTo>
                    <a:pt x="480" y="823"/>
                  </a:lnTo>
                  <a:lnTo>
                    <a:pt x="479" y="823"/>
                  </a:lnTo>
                  <a:lnTo>
                    <a:pt x="478" y="823"/>
                  </a:lnTo>
                  <a:lnTo>
                    <a:pt x="478" y="824"/>
                  </a:lnTo>
                  <a:lnTo>
                    <a:pt x="478" y="825"/>
                  </a:lnTo>
                  <a:lnTo>
                    <a:pt x="477" y="825"/>
                  </a:lnTo>
                  <a:lnTo>
                    <a:pt x="477" y="824"/>
                  </a:lnTo>
                  <a:lnTo>
                    <a:pt x="475" y="825"/>
                  </a:lnTo>
                  <a:lnTo>
                    <a:pt x="474" y="825"/>
                  </a:lnTo>
                  <a:lnTo>
                    <a:pt x="473" y="825"/>
                  </a:lnTo>
                  <a:lnTo>
                    <a:pt x="472" y="825"/>
                  </a:lnTo>
                  <a:lnTo>
                    <a:pt x="472" y="823"/>
                  </a:lnTo>
                  <a:lnTo>
                    <a:pt x="471" y="820"/>
                  </a:lnTo>
                  <a:lnTo>
                    <a:pt x="471" y="819"/>
                  </a:lnTo>
                  <a:lnTo>
                    <a:pt x="471" y="818"/>
                  </a:lnTo>
                  <a:lnTo>
                    <a:pt x="471" y="817"/>
                  </a:lnTo>
                  <a:lnTo>
                    <a:pt x="471" y="814"/>
                  </a:lnTo>
                  <a:lnTo>
                    <a:pt x="471" y="813"/>
                  </a:lnTo>
                  <a:lnTo>
                    <a:pt x="473" y="812"/>
                  </a:lnTo>
                  <a:lnTo>
                    <a:pt x="474" y="812"/>
                  </a:lnTo>
                  <a:lnTo>
                    <a:pt x="473" y="809"/>
                  </a:lnTo>
                  <a:lnTo>
                    <a:pt x="472" y="807"/>
                  </a:lnTo>
                  <a:lnTo>
                    <a:pt x="471" y="806"/>
                  </a:lnTo>
                  <a:lnTo>
                    <a:pt x="468" y="806"/>
                  </a:lnTo>
                  <a:lnTo>
                    <a:pt x="467" y="806"/>
                  </a:lnTo>
                  <a:lnTo>
                    <a:pt x="466" y="806"/>
                  </a:lnTo>
                  <a:lnTo>
                    <a:pt x="466" y="805"/>
                  </a:lnTo>
                  <a:lnTo>
                    <a:pt x="465" y="805"/>
                  </a:lnTo>
                  <a:lnTo>
                    <a:pt x="462" y="805"/>
                  </a:lnTo>
                  <a:lnTo>
                    <a:pt x="461" y="805"/>
                  </a:lnTo>
                  <a:lnTo>
                    <a:pt x="460" y="805"/>
                  </a:lnTo>
                  <a:lnTo>
                    <a:pt x="459" y="806"/>
                  </a:lnTo>
                  <a:lnTo>
                    <a:pt x="457" y="806"/>
                  </a:lnTo>
                  <a:lnTo>
                    <a:pt x="456" y="806"/>
                  </a:lnTo>
                  <a:lnTo>
                    <a:pt x="455" y="806"/>
                  </a:lnTo>
                  <a:lnTo>
                    <a:pt x="454" y="805"/>
                  </a:lnTo>
                  <a:lnTo>
                    <a:pt x="452" y="805"/>
                  </a:lnTo>
                  <a:lnTo>
                    <a:pt x="452" y="803"/>
                  </a:lnTo>
                  <a:lnTo>
                    <a:pt x="451" y="803"/>
                  </a:lnTo>
                  <a:lnTo>
                    <a:pt x="450" y="803"/>
                  </a:lnTo>
                  <a:lnTo>
                    <a:pt x="449" y="802"/>
                  </a:lnTo>
                  <a:lnTo>
                    <a:pt x="449" y="801"/>
                  </a:lnTo>
                  <a:lnTo>
                    <a:pt x="449" y="800"/>
                  </a:lnTo>
                  <a:lnTo>
                    <a:pt x="448" y="800"/>
                  </a:lnTo>
                  <a:lnTo>
                    <a:pt x="444" y="800"/>
                  </a:lnTo>
                  <a:lnTo>
                    <a:pt x="444" y="799"/>
                  </a:lnTo>
                  <a:lnTo>
                    <a:pt x="444" y="801"/>
                  </a:lnTo>
                  <a:lnTo>
                    <a:pt x="443" y="802"/>
                  </a:lnTo>
                  <a:lnTo>
                    <a:pt x="442" y="801"/>
                  </a:lnTo>
                  <a:lnTo>
                    <a:pt x="440" y="801"/>
                  </a:lnTo>
                  <a:lnTo>
                    <a:pt x="440" y="800"/>
                  </a:lnTo>
                  <a:lnTo>
                    <a:pt x="440" y="797"/>
                  </a:lnTo>
                  <a:lnTo>
                    <a:pt x="440" y="796"/>
                  </a:lnTo>
                  <a:lnTo>
                    <a:pt x="440" y="797"/>
                  </a:lnTo>
                  <a:lnTo>
                    <a:pt x="440" y="800"/>
                  </a:lnTo>
                  <a:lnTo>
                    <a:pt x="440" y="801"/>
                  </a:lnTo>
                  <a:lnTo>
                    <a:pt x="439" y="800"/>
                  </a:lnTo>
                  <a:lnTo>
                    <a:pt x="439" y="801"/>
                  </a:lnTo>
                  <a:lnTo>
                    <a:pt x="439" y="802"/>
                  </a:lnTo>
                  <a:lnTo>
                    <a:pt x="439" y="803"/>
                  </a:lnTo>
                  <a:lnTo>
                    <a:pt x="438" y="803"/>
                  </a:lnTo>
                  <a:lnTo>
                    <a:pt x="437" y="803"/>
                  </a:lnTo>
                  <a:lnTo>
                    <a:pt x="436" y="802"/>
                  </a:lnTo>
                  <a:lnTo>
                    <a:pt x="436" y="803"/>
                  </a:lnTo>
                  <a:lnTo>
                    <a:pt x="434" y="803"/>
                  </a:lnTo>
                  <a:lnTo>
                    <a:pt x="434" y="802"/>
                  </a:lnTo>
                  <a:lnTo>
                    <a:pt x="434" y="801"/>
                  </a:lnTo>
                  <a:lnTo>
                    <a:pt x="433" y="801"/>
                  </a:lnTo>
                  <a:lnTo>
                    <a:pt x="433" y="803"/>
                  </a:lnTo>
                  <a:lnTo>
                    <a:pt x="433" y="805"/>
                  </a:lnTo>
                  <a:lnTo>
                    <a:pt x="433" y="806"/>
                  </a:lnTo>
                  <a:lnTo>
                    <a:pt x="432" y="806"/>
                  </a:lnTo>
                  <a:lnTo>
                    <a:pt x="428" y="805"/>
                  </a:lnTo>
                  <a:lnTo>
                    <a:pt x="428" y="808"/>
                  </a:lnTo>
                  <a:lnTo>
                    <a:pt x="427" y="807"/>
                  </a:lnTo>
                  <a:lnTo>
                    <a:pt x="427" y="806"/>
                  </a:lnTo>
                  <a:lnTo>
                    <a:pt x="428" y="803"/>
                  </a:lnTo>
                  <a:lnTo>
                    <a:pt x="426" y="806"/>
                  </a:lnTo>
                  <a:lnTo>
                    <a:pt x="425" y="806"/>
                  </a:lnTo>
                  <a:lnTo>
                    <a:pt x="426" y="807"/>
                  </a:lnTo>
                  <a:lnTo>
                    <a:pt x="426" y="808"/>
                  </a:lnTo>
                  <a:lnTo>
                    <a:pt x="426" y="809"/>
                  </a:lnTo>
                  <a:lnTo>
                    <a:pt x="425" y="808"/>
                  </a:lnTo>
                  <a:lnTo>
                    <a:pt x="424" y="808"/>
                  </a:lnTo>
                  <a:lnTo>
                    <a:pt x="422" y="807"/>
                  </a:lnTo>
                  <a:lnTo>
                    <a:pt x="421" y="807"/>
                  </a:lnTo>
                  <a:lnTo>
                    <a:pt x="421" y="806"/>
                  </a:lnTo>
                  <a:lnTo>
                    <a:pt x="420" y="808"/>
                  </a:lnTo>
                  <a:lnTo>
                    <a:pt x="419" y="809"/>
                  </a:lnTo>
                  <a:lnTo>
                    <a:pt x="418" y="809"/>
                  </a:lnTo>
                  <a:lnTo>
                    <a:pt x="416" y="809"/>
                  </a:lnTo>
                  <a:lnTo>
                    <a:pt x="415" y="808"/>
                  </a:lnTo>
                  <a:lnTo>
                    <a:pt x="413" y="807"/>
                  </a:lnTo>
                  <a:lnTo>
                    <a:pt x="412" y="807"/>
                  </a:lnTo>
                  <a:lnTo>
                    <a:pt x="410" y="806"/>
                  </a:lnTo>
                  <a:lnTo>
                    <a:pt x="410" y="805"/>
                  </a:lnTo>
                  <a:lnTo>
                    <a:pt x="409" y="805"/>
                  </a:lnTo>
                  <a:lnTo>
                    <a:pt x="409" y="806"/>
                  </a:lnTo>
                  <a:lnTo>
                    <a:pt x="409" y="807"/>
                  </a:lnTo>
                  <a:lnTo>
                    <a:pt x="408" y="807"/>
                  </a:lnTo>
                  <a:lnTo>
                    <a:pt x="408" y="808"/>
                  </a:lnTo>
                  <a:lnTo>
                    <a:pt x="407" y="808"/>
                  </a:lnTo>
                  <a:lnTo>
                    <a:pt x="406" y="809"/>
                  </a:lnTo>
                  <a:lnTo>
                    <a:pt x="404" y="811"/>
                  </a:lnTo>
                  <a:lnTo>
                    <a:pt x="404" y="812"/>
                  </a:lnTo>
                  <a:lnTo>
                    <a:pt x="403" y="812"/>
                  </a:lnTo>
                  <a:lnTo>
                    <a:pt x="401" y="812"/>
                  </a:lnTo>
                  <a:lnTo>
                    <a:pt x="402" y="813"/>
                  </a:lnTo>
                  <a:lnTo>
                    <a:pt x="402" y="814"/>
                  </a:lnTo>
                  <a:lnTo>
                    <a:pt x="401" y="814"/>
                  </a:lnTo>
                  <a:lnTo>
                    <a:pt x="401" y="815"/>
                  </a:lnTo>
                  <a:lnTo>
                    <a:pt x="400" y="817"/>
                  </a:lnTo>
                  <a:lnTo>
                    <a:pt x="400" y="818"/>
                  </a:lnTo>
                  <a:lnTo>
                    <a:pt x="398" y="817"/>
                  </a:lnTo>
                  <a:lnTo>
                    <a:pt x="397" y="817"/>
                  </a:lnTo>
                  <a:lnTo>
                    <a:pt x="396" y="817"/>
                  </a:lnTo>
                  <a:lnTo>
                    <a:pt x="397" y="818"/>
                  </a:lnTo>
                  <a:lnTo>
                    <a:pt x="400" y="819"/>
                  </a:lnTo>
                  <a:lnTo>
                    <a:pt x="398" y="820"/>
                  </a:lnTo>
                  <a:lnTo>
                    <a:pt x="397" y="819"/>
                  </a:lnTo>
                  <a:lnTo>
                    <a:pt x="395" y="819"/>
                  </a:lnTo>
                  <a:lnTo>
                    <a:pt x="393" y="817"/>
                  </a:lnTo>
                  <a:lnTo>
                    <a:pt x="391" y="817"/>
                  </a:lnTo>
                  <a:lnTo>
                    <a:pt x="390" y="815"/>
                  </a:lnTo>
                  <a:lnTo>
                    <a:pt x="389" y="815"/>
                  </a:lnTo>
                  <a:lnTo>
                    <a:pt x="387" y="815"/>
                  </a:lnTo>
                  <a:lnTo>
                    <a:pt x="386" y="815"/>
                  </a:lnTo>
                  <a:lnTo>
                    <a:pt x="386" y="814"/>
                  </a:lnTo>
                  <a:lnTo>
                    <a:pt x="384" y="813"/>
                  </a:lnTo>
                  <a:lnTo>
                    <a:pt x="384" y="814"/>
                  </a:lnTo>
                  <a:lnTo>
                    <a:pt x="383" y="814"/>
                  </a:lnTo>
                  <a:lnTo>
                    <a:pt x="381" y="814"/>
                  </a:lnTo>
                  <a:lnTo>
                    <a:pt x="380" y="813"/>
                  </a:lnTo>
                  <a:lnTo>
                    <a:pt x="378" y="814"/>
                  </a:lnTo>
                  <a:lnTo>
                    <a:pt x="377" y="814"/>
                  </a:lnTo>
                  <a:lnTo>
                    <a:pt x="377" y="815"/>
                  </a:lnTo>
                  <a:lnTo>
                    <a:pt x="375" y="815"/>
                  </a:lnTo>
                  <a:lnTo>
                    <a:pt x="374" y="814"/>
                  </a:lnTo>
                  <a:lnTo>
                    <a:pt x="373" y="814"/>
                  </a:lnTo>
                  <a:lnTo>
                    <a:pt x="373" y="813"/>
                  </a:lnTo>
                  <a:lnTo>
                    <a:pt x="373" y="811"/>
                  </a:lnTo>
                  <a:lnTo>
                    <a:pt x="373" y="809"/>
                  </a:lnTo>
                  <a:lnTo>
                    <a:pt x="372" y="811"/>
                  </a:lnTo>
                  <a:lnTo>
                    <a:pt x="372" y="812"/>
                  </a:lnTo>
                  <a:lnTo>
                    <a:pt x="372" y="813"/>
                  </a:lnTo>
                  <a:lnTo>
                    <a:pt x="372" y="815"/>
                  </a:lnTo>
                  <a:lnTo>
                    <a:pt x="371" y="815"/>
                  </a:lnTo>
                  <a:lnTo>
                    <a:pt x="371" y="817"/>
                  </a:lnTo>
                  <a:lnTo>
                    <a:pt x="369" y="819"/>
                  </a:lnTo>
                  <a:lnTo>
                    <a:pt x="369" y="820"/>
                  </a:lnTo>
                  <a:lnTo>
                    <a:pt x="369" y="821"/>
                  </a:lnTo>
                  <a:lnTo>
                    <a:pt x="368" y="821"/>
                  </a:lnTo>
                  <a:lnTo>
                    <a:pt x="367" y="823"/>
                  </a:lnTo>
                  <a:lnTo>
                    <a:pt x="368" y="825"/>
                  </a:lnTo>
                  <a:lnTo>
                    <a:pt x="368" y="826"/>
                  </a:lnTo>
                  <a:lnTo>
                    <a:pt x="367" y="826"/>
                  </a:lnTo>
                  <a:lnTo>
                    <a:pt x="367" y="829"/>
                  </a:lnTo>
                  <a:lnTo>
                    <a:pt x="367" y="830"/>
                  </a:lnTo>
                  <a:lnTo>
                    <a:pt x="366" y="830"/>
                  </a:lnTo>
                  <a:lnTo>
                    <a:pt x="366" y="832"/>
                  </a:lnTo>
                  <a:lnTo>
                    <a:pt x="365" y="833"/>
                  </a:lnTo>
                  <a:lnTo>
                    <a:pt x="365" y="835"/>
                  </a:lnTo>
                  <a:lnTo>
                    <a:pt x="362" y="836"/>
                  </a:lnTo>
                  <a:lnTo>
                    <a:pt x="361" y="837"/>
                  </a:lnTo>
                  <a:lnTo>
                    <a:pt x="359" y="838"/>
                  </a:lnTo>
                  <a:lnTo>
                    <a:pt x="357" y="838"/>
                  </a:lnTo>
                  <a:lnTo>
                    <a:pt x="357" y="837"/>
                  </a:lnTo>
                  <a:lnTo>
                    <a:pt x="356" y="838"/>
                  </a:lnTo>
                  <a:lnTo>
                    <a:pt x="355" y="837"/>
                  </a:lnTo>
                  <a:lnTo>
                    <a:pt x="354" y="837"/>
                  </a:lnTo>
                  <a:lnTo>
                    <a:pt x="353" y="836"/>
                  </a:lnTo>
                  <a:lnTo>
                    <a:pt x="351" y="836"/>
                  </a:lnTo>
                  <a:lnTo>
                    <a:pt x="351" y="835"/>
                  </a:lnTo>
                  <a:lnTo>
                    <a:pt x="350" y="836"/>
                  </a:lnTo>
                  <a:lnTo>
                    <a:pt x="349" y="836"/>
                  </a:lnTo>
                  <a:lnTo>
                    <a:pt x="349" y="835"/>
                  </a:lnTo>
                  <a:lnTo>
                    <a:pt x="348" y="833"/>
                  </a:lnTo>
                  <a:lnTo>
                    <a:pt x="347" y="833"/>
                  </a:lnTo>
                  <a:lnTo>
                    <a:pt x="345" y="833"/>
                  </a:lnTo>
                  <a:lnTo>
                    <a:pt x="344" y="833"/>
                  </a:lnTo>
                  <a:lnTo>
                    <a:pt x="344" y="836"/>
                  </a:lnTo>
                  <a:lnTo>
                    <a:pt x="344" y="837"/>
                  </a:lnTo>
                  <a:lnTo>
                    <a:pt x="344" y="836"/>
                  </a:lnTo>
                  <a:lnTo>
                    <a:pt x="343" y="836"/>
                  </a:lnTo>
                  <a:lnTo>
                    <a:pt x="343" y="837"/>
                  </a:lnTo>
                  <a:lnTo>
                    <a:pt x="343" y="838"/>
                  </a:lnTo>
                  <a:lnTo>
                    <a:pt x="342" y="838"/>
                  </a:lnTo>
                  <a:lnTo>
                    <a:pt x="342" y="841"/>
                  </a:lnTo>
                  <a:lnTo>
                    <a:pt x="341" y="839"/>
                  </a:lnTo>
                  <a:lnTo>
                    <a:pt x="341" y="841"/>
                  </a:lnTo>
                  <a:lnTo>
                    <a:pt x="341" y="842"/>
                  </a:lnTo>
                  <a:lnTo>
                    <a:pt x="341" y="843"/>
                  </a:lnTo>
                  <a:lnTo>
                    <a:pt x="339" y="844"/>
                  </a:lnTo>
                  <a:lnTo>
                    <a:pt x="338" y="844"/>
                  </a:lnTo>
                  <a:lnTo>
                    <a:pt x="339" y="845"/>
                  </a:lnTo>
                  <a:lnTo>
                    <a:pt x="339" y="847"/>
                  </a:lnTo>
                  <a:lnTo>
                    <a:pt x="338" y="848"/>
                  </a:lnTo>
                  <a:lnTo>
                    <a:pt x="338" y="849"/>
                  </a:lnTo>
                  <a:lnTo>
                    <a:pt x="338" y="850"/>
                  </a:lnTo>
                  <a:lnTo>
                    <a:pt x="338" y="851"/>
                  </a:lnTo>
                  <a:lnTo>
                    <a:pt x="338" y="859"/>
                  </a:lnTo>
                  <a:lnTo>
                    <a:pt x="338" y="868"/>
                  </a:lnTo>
                  <a:lnTo>
                    <a:pt x="338" y="878"/>
                  </a:lnTo>
                  <a:lnTo>
                    <a:pt x="338" y="889"/>
                  </a:lnTo>
                  <a:lnTo>
                    <a:pt x="338" y="891"/>
                  </a:lnTo>
                  <a:lnTo>
                    <a:pt x="337" y="894"/>
                  </a:lnTo>
                  <a:lnTo>
                    <a:pt x="336" y="896"/>
                  </a:lnTo>
                  <a:lnTo>
                    <a:pt x="332" y="896"/>
                  </a:lnTo>
                  <a:lnTo>
                    <a:pt x="309" y="896"/>
                  </a:lnTo>
                  <a:lnTo>
                    <a:pt x="308" y="878"/>
                  </a:lnTo>
                  <a:lnTo>
                    <a:pt x="308" y="862"/>
                  </a:lnTo>
                  <a:lnTo>
                    <a:pt x="307" y="845"/>
                  </a:lnTo>
                  <a:lnTo>
                    <a:pt x="307" y="842"/>
                  </a:lnTo>
                  <a:lnTo>
                    <a:pt x="304" y="841"/>
                  </a:lnTo>
                  <a:lnTo>
                    <a:pt x="304" y="839"/>
                  </a:lnTo>
                  <a:lnTo>
                    <a:pt x="302" y="839"/>
                  </a:lnTo>
                  <a:lnTo>
                    <a:pt x="301" y="838"/>
                  </a:lnTo>
                  <a:lnTo>
                    <a:pt x="300" y="838"/>
                  </a:lnTo>
                  <a:lnTo>
                    <a:pt x="298" y="837"/>
                  </a:lnTo>
                  <a:lnTo>
                    <a:pt x="297" y="836"/>
                  </a:lnTo>
                  <a:lnTo>
                    <a:pt x="296" y="835"/>
                  </a:lnTo>
                  <a:lnTo>
                    <a:pt x="296" y="833"/>
                  </a:lnTo>
                  <a:lnTo>
                    <a:pt x="297" y="832"/>
                  </a:lnTo>
                  <a:lnTo>
                    <a:pt x="297" y="831"/>
                  </a:lnTo>
                  <a:lnTo>
                    <a:pt x="297" y="830"/>
                  </a:lnTo>
                  <a:lnTo>
                    <a:pt x="298" y="827"/>
                  </a:lnTo>
                  <a:lnTo>
                    <a:pt x="298" y="829"/>
                  </a:lnTo>
                  <a:lnTo>
                    <a:pt x="300" y="829"/>
                  </a:lnTo>
                  <a:lnTo>
                    <a:pt x="300" y="827"/>
                  </a:lnTo>
                  <a:lnTo>
                    <a:pt x="300" y="826"/>
                  </a:lnTo>
                  <a:lnTo>
                    <a:pt x="300" y="825"/>
                  </a:lnTo>
                  <a:lnTo>
                    <a:pt x="300" y="824"/>
                  </a:lnTo>
                  <a:lnTo>
                    <a:pt x="298" y="823"/>
                  </a:lnTo>
                  <a:lnTo>
                    <a:pt x="298" y="821"/>
                  </a:lnTo>
                  <a:lnTo>
                    <a:pt x="296" y="820"/>
                  </a:lnTo>
                  <a:lnTo>
                    <a:pt x="295" y="820"/>
                  </a:lnTo>
                  <a:lnTo>
                    <a:pt x="294" y="820"/>
                  </a:lnTo>
                  <a:lnTo>
                    <a:pt x="292" y="820"/>
                  </a:lnTo>
                  <a:lnTo>
                    <a:pt x="290" y="821"/>
                  </a:lnTo>
                  <a:lnTo>
                    <a:pt x="288" y="823"/>
                  </a:lnTo>
                  <a:lnTo>
                    <a:pt x="286" y="823"/>
                  </a:lnTo>
                  <a:lnTo>
                    <a:pt x="285" y="823"/>
                  </a:lnTo>
                  <a:lnTo>
                    <a:pt x="284" y="823"/>
                  </a:lnTo>
                  <a:lnTo>
                    <a:pt x="283" y="821"/>
                  </a:lnTo>
                  <a:lnTo>
                    <a:pt x="283" y="823"/>
                  </a:lnTo>
                  <a:lnTo>
                    <a:pt x="282" y="824"/>
                  </a:lnTo>
                  <a:lnTo>
                    <a:pt x="282" y="823"/>
                  </a:lnTo>
                  <a:lnTo>
                    <a:pt x="280" y="823"/>
                  </a:lnTo>
                  <a:lnTo>
                    <a:pt x="280" y="824"/>
                  </a:lnTo>
                  <a:lnTo>
                    <a:pt x="278" y="825"/>
                  </a:lnTo>
                  <a:lnTo>
                    <a:pt x="277" y="826"/>
                  </a:lnTo>
                  <a:lnTo>
                    <a:pt x="275" y="827"/>
                  </a:lnTo>
                  <a:lnTo>
                    <a:pt x="274" y="829"/>
                  </a:lnTo>
                  <a:lnTo>
                    <a:pt x="273" y="829"/>
                  </a:lnTo>
                  <a:lnTo>
                    <a:pt x="273" y="830"/>
                  </a:lnTo>
                  <a:lnTo>
                    <a:pt x="273" y="831"/>
                  </a:lnTo>
                  <a:lnTo>
                    <a:pt x="273" y="832"/>
                  </a:lnTo>
                  <a:lnTo>
                    <a:pt x="272" y="831"/>
                  </a:lnTo>
                  <a:lnTo>
                    <a:pt x="271" y="831"/>
                  </a:lnTo>
                  <a:lnTo>
                    <a:pt x="271" y="832"/>
                  </a:lnTo>
                  <a:lnTo>
                    <a:pt x="269" y="832"/>
                  </a:lnTo>
                  <a:lnTo>
                    <a:pt x="269" y="835"/>
                  </a:lnTo>
                  <a:lnTo>
                    <a:pt x="268" y="832"/>
                  </a:lnTo>
                  <a:lnTo>
                    <a:pt x="267" y="832"/>
                  </a:lnTo>
                  <a:lnTo>
                    <a:pt x="268" y="833"/>
                  </a:lnTo>
                  <a:lnTo>
                    <a:pt x="268" y="835"/>
                  </a:lnTo>
                  <a:lnTo>
                    <a:pt x="267" y="836"/>
                  </a:lnTo>
                  <a:lnTo>
                    <a:pt x="266" y="836"/>
                  </a:lnTo>
                  <a:lnTo>
                    <a:pt x="265" y="835"/>
                  </a:lnTo>
                  <a:lnTo>
                    <a:pt x="265" y="836"/>
                  </a:lnTo>
                  <a:lnTo>
                    <a:pt x="263" y="836"/>
                  </a:lnTo>
                  <a:lnTo>
                    <a:pt x="263" y="835"/>
                  </a:lnTo>
                  <a:lnTo>
                    <a:pt x="262" y="835"/>
                  </a:lnTo>
                  <a:lnTo>
                    <a:pt x="262" y="836"/>
                  </a:lnTo>
                  <a:lnTo>
                    <a:pt x="260" y="836"/>
                  </a:lnTo>
                  <a:lnTo>
                    <a:pt x="257" y="835"/>
                  </a:lnTo>
                  <a:lnTo>
                    <a:pt x="255" y="833"/>
                  </a:lnTo>
                  <a:lnTo>
                    <a:pt x="253" y="832"/>
                  </a:lnTo>
                  <a:lnTo>
                    <a:pt x="253" y="830"/>
                  </a:lnTo>
                  <a:lnTo>
                    <a:pt x="251" y="831"/>
                  </a:lnTo>
                  <a:lnTo>
                    <a:pt x="251" y="832"/>
                  </a:lnTo>
                  <a:lnTo>
                    <a:pt x="251" y="833"/>
                  </a:lnTo>
                  <a:lnTo>
                    <a:pt x="249" y="832"/>
                  </a:lnTo>
                  <a:lnTo>
                    <a:pt x="248" y="833"/>
                  </a:lnTo>
                  <a:lnTo>
                    <a:pt x="247" y="833"/>
                  </a:lnTo>
                  <a:lnTo>
                    <a:pt x="247" y="832"/>
                  </a:lnTo>
                  <a:lnTo>
                    <a:pt x="245" y="831"/>
                  </a:lnTo>
                  <a:lnTo>
                    <a:pt x="245" y="832"/>
                  </a:lnTo>
                  <a:lnTo>
                    <a:pt x="245" y="833"/>
                  </a:lnTo>
                  <a:lnTo>
                    <a:pt x="244" y="833"/>
                  </a:lnTo>
                  <a:lnTo>
                    <a:pt x="243" y="832"/>
                  </a:lnTo>
                  <a:lnTo>
                    <a:pt x="242" y="831"/>
                  </a:lnTo>
                  <a:lnTo>
                    <a:pt x="241" y="830"/>
                  </a:lnTo>
                  <a:lnTo>
                    <a:pt x="239" y="829"/>
                  </a:lnTo>
                  <a:lnTo>
                    <a:pt x="239" y="827"/>
                  </a:lnTo>
                  <a:lnTo>
                    <a:pt x="238" y="826"/>
                  </a:lnTo>
                  <a:lnTo>
                    <a:pt x="238" y="825"/>
                  </a:lnTo>
                  <a:lnTo>
                    <a:pt x="237" y="824"/>
                  </a:lnTo>
                  <a:lnTo>
                    <a:pt x="237" y="823"/>
                  </a:lnTo>
                  <a:lnTo>
                    <a:pt x="235" y="823"/>
                  </a:lnTo>
                  <a:lnTo>
                    <a:pt x="233" y="821"/>
                  </a:lnTo>
                  <a:lnTo>
                    <a:pt x="232" y="821"/>
                  </a:lnTo>
                  <a:lnTo>
                    <a:pt x="232" y="819"/>
                  </a:lnTo>
                  <a:lnTo>
                    <a:pt x="231" y="819"/>
                  </a:lnTo>
                  <a:lnTo>
                    <a:pt x="231" y="820"/>
                  </a:lnTo>
                  <a:lnTo>
                    <a:pt x="230" y="821"/>
                  </a:lnTo>
                  <a:lnTo>
                    <a:pt x="229" y="820"/>
                  </a:lnTo>
                  <a:lnTo>
                    <a:pt x="227" y="820"/>
                  </a:lnTo>
                  <a:lnTo>
                    <a:pt x="226" y="820"/>
                  </a:lnTo>
                  <a:lnTo>
                    <a:pt x="226" y="819"/>
                  </a:lnTo>
                  <a:lnTo>
                    <a:pt x="226" y="820"/>
                  </a:lnTo>
                  <a:lnTo>
                    <a:pt x="225" y="820"/>
                  </a:lnTo>
                  <a:lnTo>
                    <a:pt x="224" y="820"/>
                  </a:lnTo>
                  <a:lnTo>
                    <a:pt x="224" y="821"/>
                  </a:lnTo>
                  <a:lnTo>
                    <a:pt x="223" y="821"/>
                  </a:lnTo>
                  <a:lnTo>
                    <a:pt x="221" y="821"/>
                  </a:lnTo>
                  <a:lnTo>
                    <a:pt x="220" y="820"/>
                  </a:lnTo>
                  <a:lnTo>
                    <a:pt x="219" y="820"/>
                  </a:lnTo>
                  <a:lnTo>
                    <a:pt x="218" y="820"/>
                  </a:lnTo>
                  <a:lnTo>
                    <a:pt x="215" y="820"/>
                  </a:lnTo>
                  <a:lnTo>
                    <a:pt x="214" y="820"/>
                  </a:lnTo>
                  <a:lnTo>
                    <a:pt x="210" y="824"/>
                  </a:lnTo>
                  <a:lnTo>
                    <a:pt x="209" y="826"/>
                  </a:lnTo>
                  <a:lnTo>
                    <a:pt x="208" y="827"/>
                  </a:lnTo>
                  <a:lnTo>
                    <a:pt x="208" y="829"/>
                  </a:lnTo>
                  <a:lnTo>
                    <a:pt x="206" y="830"/>
                  </a:lnTo>
                  <a:lnTo>
                    <a:pt x="203" y="830"/>
                  </a:lnTo>
                  <a:lnTo>
                    <a:pt x="201" y="831"/>
                  </a:lnTo>
                  <a:lnTo>
                    <a:pt x="200" y="830"/>
                  </a:lnTo>
                  <a:lnTo>
                    <a:pt x="198" y="829"/>
                  </a:lnTo>
                  <a:lnTo>
                    <a:pt x="197" y="829"/>
                  </a:lnTo>
                  <a:lnTo>
                    <a:pt x="197" y="827"/>
                  </a:lnTo>
                  <a:lnTo>
                    <a:pt x="197" y="826"/>
                  </a:lnTo>
                  <a:lnTo>
                    <a:pt x="197" y="823"/>
                  </a:lnTo>
                  <a:lnTo>
                    <a:pt x="197" y="821"/>
                  </a:lnTo>
                  <a:lnTo>
                    <a:pt x="196" y="825"/>
                  </a:lnTo>
                  <a:lnTo>
                    <a:pt x="196" y="827"/>
                  </a:lnTo>
                  <a:lnTo>
                    <a:pt x="195" y="827"/>
                  </a:lnTo>
                  <a:lnTo>
                    <a:pt x="194" y="827"/>
                  </a:lnTo>
                  <a:lnTo>
                    <a:pt x="192" y="826"/>
                  </a:lnTo>
                  <a:lnTo>
                    <a:pt x="192" y="824"/>
                  </a:lnTo>
                  <a:lnTo>
                    <a:pt x="192" y="823"/>
                  </a:lnTo>
                  <a:lnTo>
                    <a:pt x="192" y="821"/>
                  </a:lnTo>
                  <a:lnTo>
                    <a:pt x="192" y="820"/>
                  </a:lnTo>
                  <a:lnTo>
                    <a:pt x="192" y="823"/>
                  </a:lnTo>
                  <a:lnTo>
                    <a:pt x="191" y="824"/>
                  </a:lnTo>
                  <a:lnTo>
                    <a:pt x="191" y="825"/>
                  </a:lnTo>
                  <a:lnTo>
                    <a:pt x="192" y="827"/>
                  </a:lnTo>
                  <a:lnTo>
                    <a:pt x="191" y="827"/>
                  </a:lnTo>
                  <a:lnTo>
                    <a:pt x="190" y="829"/>
                  </a:lnTo>
                  <a:lnTo>
                    <a:pt x="189" y="829"/>
                  </a:lnTo>
                  <a:lnTo>
                    <a:pt x="189" y="827"/>
                  </a:lnTo>
                  <a:lnTo>
                    <a:pt x="189" y="826"/>
                  </a:lnTo>
                  <a:lnTo>
                    <a:pt x="189" y="825"/>
                  </a:lnTo>
                  <a:lnTo>
                    <a:pt x="188" y="825"/>
                  </a:lnTo>
                  <a:lnTo>
                    <a:pt x="188" y="827"/>
                  </a:lnTo>
                  <a:lnTo>
                    <a:pt x="188" y="829"/>
                  </a:lnTo>
                  <a:lnTo>
                    <a:pt x="186" y="829"/>
                  </a:lnTo>
                  <a:lnTo>
                    <a:pt x="186" y="827"/>
                  </a:lnTo>
                  <a:lnTo>
                    <a:pt x="185" y="827"/>
                  </a:lnTo>
                  <a:lnTo>
                    <a:pt x="185" y="826"/>
                  </a:lnTo>
                  <a:lnTo>
                    <a:pt x="185" y="825"/>
                  </a:lnTo>
                  <a:lnTo>
                    <a:pt x="185" y="824"/>
                  </a:lnTo>
                  <a:lnTo>
                    <a:pt x="184" y="824"/>
                  </a:lnTo>
                  <a:lnTo>
                    <a:pt x="183" y="827"/>
                  </a:lnTo>
                  <a:lnTo>
                    <a:pt x="180" y="827"/>
                  </a:lnTo>
                  <a:lnTo>
                    <a:pt x="178" y="827"/>
                  </a:lnTo>
                  <a:lnTo>
                    <a:pt x="178" y="825"/>
                  </a:lnTo>
                  <a:lnTo>
                    <a:pt x="178" y="826"/>
                  </a:lnTo>
                  <a:lnTo>
                    <a:pt x="177" y="827"/>
                  </a:lnTo>
                  <a:lnTo>
                    <a:pt x="177" y="829"/>
                  </a:lnTo>
                  <a:lnTo>
                    <a:pt x="176" y="829"/>
                  </a:lnTo>
                  <a:lnTo>
                    <a:pt x="176" y="827"/>
                  </a:lnTo>
                  <a:lnTo>
                    <a:pt x="174" y="827"/>
                  </a:lnTo>
                  <a:lnTo>
                    <a:pt x="174" y="829"/>
                  </a:lnTo>
                  <a:lnTo>
                    <a:pt x="174" y="830"/>
                  </a:lnTo>
                  <a:lnTo>
                    <a:pt x="174" y="832"/>
                  </a:lnTo>
                  <a:lnTo>
                    <a:pt x="174" y="833"/>
                  </a:lnTo>
                  <a:lnTo>
                    <a:pt x="173" y="832"/>
                  </a:lnTo>
                  <a:lnTo>
                    <a:pt x="172" y="832"/>
                  </a:lnTo>
                  <a:lnTo>
                    <a:pt x="173" y="833"/>
                  </a:lnTo>
                  <a:lnTo>
                    <a:pt x="172" y="835"/>
                  </a:lnTo>
                  <a:lnTo>
                    <a:pt x="172" y="836"/>
                  </a:lnTo>
                  <a:lnTo>
                    <a:pt x="171" y="836"/>
                  </a:lnTo>
                  <a:lnTo>
                    <a:pt x="170" y="836"/>
                  </a:lnTo>
                  <a:lnTo>
                    <a:pt x="168" y="837"/>
                  </a:lnTo>
                  <a:lnTo>
                    <a:pt x="167" y="838"/>
                  </a:lnTo>
                  <a:lnTo>
                    <a:pt x="167" y="839"/>
                  </a:lnTo>
                  <a:lnTo>
                    <a:pt x="166" y="841"/>
                  </a:lnTo>
                  <a:lnTo>
                    <a:pt x="166" y="842"/>
                  </a:lnTo>
                  <a:lnTo>
                    <a:pt x="165" y="843"/>
                  </a:lnTo>
                  <a:lnTo>
                    <a:pt x="165" y="844"/>
                  </a:lnTo>
                  <a:lnTo>
                    <a:pt x="165" y="845"/>
                  </a:lnTo>
                  <a:lnTo>
                    <a:pt x="164" y="845"/>
                  </a:lnTo>
                  <a:lnTo>
                    <a:pt x="162" y="847"/>
                  </a:lnTo>
                  <a:lnTo>
                    <a:pt x="161" y="848"/>
                  </a:lnTo>
                  <a:lnTo>
                    <a:pt x="159" y="850"/>
                  </a:lnTo>
                  <a:lnTo>
                    <a:pt x="158" y="850"/>
                  </a:lnTo>
                  <a:lnTo>
                    <a:pt x="156" y="850"/>
                  </a:lnTo>
                  <a:lnTo>
                    <a:pt x="155" y="849"/>
                  </a:lnTo>
                  <a:lnTo>
                    <a:pt x="156" y="848"/>
                  </a:lnTo>
                  <a:lnTo>
                    <a:pt x="156" y="847"/>
                  </a:lnTo>
                  <a:lnTo>
                    <a:pt x="156" y="844"/>
                  </a:lnTo>
                  <a:lnTo>
                    <a:pt x="155" y="844"/>
                  </a:lnTo>
                  <a:lnTo>
                    <a:pt x="155" y="845"/>
                  </a:lnTo>
                  <a:lnTo>
                    <a:pt x="155" y="847"/>
                  </a:lnTo>
                  <a:lnTo>
                    <a:pt x="154" y="849"/>
                  </a:lnTo>
                  <a:lnTo>
                    <a:pt x="155" y="851"/>
                  </a:lnTo>
                  <a:lnTo>
                    <a:pt x="155" y="853"/>
                  </a:lnTo>
                  <a:lnTo>
                    <a:pt x="154" y="853"/>
                  </a:lnTo>
                  <a:lnTo>
                    <a:pt x="153" y="854"/>
                  </a:lnTo>
                  <a:lnTo>
                    <a:pt x="151" y="854"/>
                  </a:lnTo>
                  <a:lnTo>
                    <a:pt x="150" y="854"/>
                  </a:lnTo>
                  <a:lnTo>
                    <a:pt x="150" y="855"/>
                  </a:lnTo>
                  <a:lnTo>
                    <a:pt x="149" y="855"/>
                  </a:lnTo>
                  <a:lnTo>
                    <a:pt x="148" y="855"/>
                  </a:lnTo>
                  <a:lnTo>
                    <a:pt x="148" y="854"/>
                  </a:lnTo>
                  <a:lnTo>
                    <a:pt x="148" y="853"/>
                  </a:lnTo>
                  <a:lnTo>
                    <a:pt x="147" y="853"/>
                  </a:lnTo>
                  <a:lnTo>
                    <a:pt x="145" y="853"/>
                  </a:lnTo>
                  <a:lnTo>
                    <a:pt x="145" y="851"/>
                  </a:lnTo>
                  <a:lnTo>
                    <a:pt x="145" y="850"/>
                  </a:lnTo>
                  <a:lnTo>
                    <a:pt x="144" y="849"/>
                  </a:lnTo>
                  <a:lnTo>
                    <a:pt x="143" y="848"/>
                  </a:lnTo>
                  <a:lnTo>
                    <a:pt x="142" y="847"/>
                  </a:lnTo>
                  <a:lnTo>
                    <a:pt x="142" y="848"/>
                  </a:lnTo>
                  <a:lnTo>
                    <a:pt x="142" y="849"/>
                  </a:lnTo>
                  <a:lnTo>
                    <a:pt x="139" y="850"/>
                  </a:lnTo>
                  <a:lnTo>
                    <a:pt x="141" y="851"/>
                  </a:lnTo>
                  <a:lnTo>
                    <a:pt x="142" y="853"/>
                  </a:lnTo>
                  <a:lnTo>
                    <a:pt x="141" y="854"/>
                  </a:lnTo>
                  <a:lnTo>
                    <a:pt x="141" y="853"/>
                  </a:lnTo>
                  <a:lnTo>
                    <a:pt x="141" y="854"/>
                  </a:lnTo>
                  <a:lnTo>
                    <a:pt x="142" y="854"/>
                  </a:lnTo>
                  <a:lnTo>
                    <a:pt x="142" y="855"/>
                  </a:lnTo>
                  <a:lnTo>
                    <a:pt x="141" y="856"/>
                  </a:lnTo>
                  <a:lnTo>
                    <a:pt x="141" y="857"/>
                  </a:lnTo>
                  <a:lnTo>
                    <a:pt x="141" y="860"/>
                  </a:lnTo>
                  <a:lnTo>
                    <a:pt x="139" y="860"/>
                  </a:lnTo>
                  <a:lnTo>
                    <a:pt x="139" y="861"/>
                  </a:lnTo>
                  <a:lnTo>
                    <a:pt x="141" y="861"/>
                  </a:lnTo>
                  <a:lnTo>
                    <a:pt x="141" y="862"/>
                  </a:lnTo>
                  <a:lnTo>
                    <a:pt x="139" y="862"/>
                  </a:lnTo>
                  <a:lnTo>
                    <a:pt x="138" y="861"/>
                  </a:lnTo>
                  <a:lnTo>
                    <a:pt x="139" y="862"/>
                  </a:lnTo>
                  <a:lnTo>
                    <a:pt x="139" y="863"/>
                  </a:lnTo>
                  <a:lnTo>
                    <a:pt x="137" y="863"/>
                  </a:lnTo>
                  <a:lnTo>
                    <a:pt x="136" y="865"/>
                  </a:lnTo>
                  <a:lnTo>
                    <a:pt x="135" y="865"/>
                  </a:lnTo>
                  <a:lnTo>
                    <a:pt x="133" y="865"/>
                  </a:lnTo>
                  <a:lnTo>
                    <a:pt x="133" y="866"/>
                  </a:lnTo>
                  <a:lnTo>
                    <a:pt x="132" y="866"/>
                  </a:lnTo>
                  <a:lnTo>
                    <a:pt x="132" y="867"/>
                  </a:lnTo>
                  <a:lnTo>
                    <a:pt x="131" y="868"/>
                  </a:lnTo>
                  <a:lnTo>
                    <a:pt x="130" y="868"/>
                  </a:lnTo>
                  <a:lnTo>
                    <a:pt x="129" y="868"/>
                  </a:lnTo>
                  <a:lnTo>
                    <a:pt x="129" y="867"/>
                  </a:lnTo>
                  <a:lnTo>
                    <a:pt x="129" y="865"/>
                  </a:lnTo>
                  <a:lnTo>
                    <a:pt x="129" y="863"/>
                  </a:lnTo>
                  <a:lnTo>
                    <a:pt x="127" y="863"/>
                  </a:lnTo>
                  <a:lnTo>
                    <a:pt x="127" y="862"/>
                  </a:lnTo>
                  <a:lnTo>
                    <a:pt x="126" y="862"/>
                  </a:lnTo>
                  <a:lnTo>
                    <a:pt x="125" y="861"/>
                  </a:lnTo>
                  <a:lnTo>
                    <a:pt x="124" y="861"/>
                  </a:lnTo>
                  <a:lnTo>
                    <a:pt x="123" y="861"/>
                  </a:lnTo>
                  <a:lnTo>
                    <a:pt x="121" y="861"/>
                  </a:lnTo>
                  <a:lnTo>
                    <a:pt x="121" y="860"/>
                  </a:lnTo>
                  <a:lnTo>
                    <a:pt x="121" y="859"/>
                  </a:lnTo>
                  <a:lnTo>
                    <a:pt x="120" y="857"/>
                  </a:lnTo>
                  <a:lnTo>
                    <a:pt x="119" y="856"/>
                  </a:lnTo>
                  <a:lnTo>
                    <a:pt x="118" y="856"/>
                  </a:lnTo>
                  <a:lnTo>
                    <a:pt x="117" y="856"/>
                  </a:lnTo>
                  <a:lnTo>
                    <a:pt x="115" y="856"/>
                  </a:lnTo>
                  <a:lnTo>
                    <a:pt x="114" y="855"/>
                  </a:lnTo>
                  <a:lnTo>
                    <a:pt x="109" y="855"/>
                  </a:lnTo>
                  <a:lnTo>
                    <a:pt x="108" y="854"/>
                  </a:lnTo>
                  <a:lnTo>
                    <a:pt x="107" y="853"/>
                  </a:lnTo>
                  <a:lnTo>
                    <a:pt x="107" y="854"/>
                  </a:lnTo>
                  <a:lnTo>
                    <a:pt x="106" y="854"/>
                  </a:lnTo>
                  <a:lnTo>
                    <a:pt x="105" y="854"/>
                  </a:lnTo>
                  <a:lnTo>
                    <a:pt x="105" y="855"/>
                  </a:lnTo>
                  <a:lnTo>
                    <a:pt x="103" y="855"/>
                  </a:lnTo>
                  <a:lnTo>
                    <a:pt x="102" y="855"/>
                  </a:lnTo>
                  <a:lnTo>
                    <a:pt x="101" y="855"/>
                  </a:lnTo>
                  <a:lnTo>
                    <a:pt x="100" y="855"/>
                  </a:lnTo>
                  <a:lnTo>
                    <a:pt x="100" y="853"/>
                  </a:lnTo>
                  <a:lnTo>
                    <a:pt x="99" y="853"/>
                  </a:lnTo>
                  <a:lnTo>
                    <a:pt x="96" y="853"/>
                  </a:lnTo>
                  <a:lnTo>
                    <a:pt x="95" y="851"/>
                  </a:lnTo>
                  <a:lnTo>
                    <a:pt x="94" y="850"/>
                  </a:lnTo>
                  <a:lnTo>
                    <a:pt x="94" y="848"/>
                  </a:lnTo>
                  <a:lnTo>
                    <a:pt x="94" y="849"/>
                  </a:lnTo>
                  <a:lnTo>
                    <a:pt x="92" y="849"/>
                  </a:lnTo>
                  <a:lnTo>
                    <a:pt x="91" y="849"/>
                  </a:lnTo>
                  <a:lnTo>
                    <a:pt x="89" y="848"/>
                  </a:lnTo>
                  <a:lnTo>
                    <a:pt x="89" y="847"/>
                  </a:lnTo>
                  <a:lnTo>
                    <a:pt x="89" y="845"/>
                  </a:lnTo>
                  <a:lnTo>
                    <a:pt x="88" y="844"/>
                  </a:lnTo>
                  <a:lnTo>
                    <a:pt x="88" y="843"/>
                  </a:lnTo>
                  <a:lnTo>
                    <a:pt x="86" y="843"/>
                  </a:lnTo>
                  <a:lnTo>
                    <a:pt x="86" y="841"/>
                  </a:lnTo>
                  <a:lnTo>
                    <a:pt x="88" y="841"/>
                  </a:lnTo>
                  <a:lnTo>
                    <a:pt x="88" y="842"/>
                  </a:lnTo>
                  <a:lnTo>
                    <a:pt x="89" y="842"/>
                  </a:lnTo>
                  <a:lnTo>
                    <a:pt x="89" y="839"/>
                  </a:lnTo>
                  <a:lnTo>
                    <a:pt x="89" y="838"/>
                  </a:lnTo>
                  <a:lnTo>
                    <a:pt x="88" y="838"/>
                  </a:lnTo>
                  <a:lnTo>
                    <a:pt x="88" y="839"/>
                  </a:lnTo>
                  <a:lnTo>
                    <a:pt x="86" y="839"/>
                  </a:lnTo>
                  <a:lnTo>
                    <a:pt x="85" y="841"/>
                  </a:lnTo>
                  <a:lnTo>
                    <a:pt x="84" y="839"/>
                  </a:lnTo>
                  <a:lnTo>
                    <a:pt x="84" y="838"/>
                  </a:lnTo>
                  <a:lnTo>
                    <a:pt x="84" y="837"/>
                  </a:lnTo>
                  <a:lnTo>
                    <a:pt x="83" y="836"/>
                  </a:lnTo>
                  <a:lnTo>
                    <a:pt x="82" y="837"/>
                  </a:lnTo>
                  <a:lnTo>
                    <a:pt x="80" y="836"/>
                  </a:lnTo>
                  <a:lnTo>
                    <a:pt x="79" y="835"/>
                  </a:lnTo>
                  <a:lnTo>
                    <a:pt x="79" y="833"/>
                  </a:lnTo>
                  <a:lnTo>
                    <a:pt x="79" y="832"/>
                  </a:lnTo>
                  <a:lnTo>
                    <a:pt x="77" y="831"/>
                  </a:lnTo>
                  <a:lnTo>
                    <a:pt x="76" y="831"/>
                  </a:lnTo>
                  <a:lnTo>
                    <a:pt x="76" y="830"/>
                  </a:lnTo>
                  <a:lnTo>
                    <a:pt x="74" y="830"/>
                  </a:lnTo>
                  <a:lnTo>
                    <a:pt x="74" y="827"/>
                  </a:lnTo>
                  <a:lnTo>
                    <a:pt x="74" y="826"/>
                  </a:lnTo>
                  <a:lnTo>
                    <a:pt x="76" y="826"/>
                  </a:lnTo>
                  <a:lnTo>
                    <a:pt x="77" y="825"/>
                  </a:lnTo>
                  <a:lnTo>
                    <a:pt x="77" y="824"/>
                  </a:lnTo>
                  <a:lnTo>
                    <a:pt x="76" y="824"/>
                  </a:lnTo>
                  <a:lnTo>
                    <a:pt x="76" y="823"/>
                  </a:lnTo>
                  <a:lnTo>
                    <a:pt x="74" y="823"/>
                  </a:lnTo>
                  <a:lnTo>
                    <a:pt x="73" y="821"/>
                  </a:lnTo>
                  <a:lnTo>
                    <a:pt x="73" y="823"/>
                  </a:lnTo>
                  <a:lnTo>
                    <a:pt x="72" y="823"/>
                  </a:lnTo>
                  <a:lnTo>
                    <a:pt x="71" y="823"/>
                  </a:lnTo>
                  <a:lnTo>
                    <a:pt x="70" y="820"/>
                  </a:lnTo>
                  <a:lnTo>
                    <a:pt x="68" y="819"/>
                  </a:lnTo>
                  <a:lnTo>
                    <a:pt x="67" y="819"/>
                  </a:lnTo>
                  <a:lnTo>
                    <a:pt x="66" y="819"/>
                  </a:lnTo>
                  <a:lnTo>
                    <a:pt x="65" y="820"/>
                  </a:lnTo>
                  <a:lnTo>
                    <a:pt x="64" y="820"/>
                  </a:lnTo>
                  <a:lnTo>
                    <a:pt x="62" y="819"/>
                  </a:lnTo>
                  <a:lnTo>
                    <a:pt x="61" y="818"/>
                  </a:lnTo>
                  <a:lnTo>
                    <a:pt x="59" y="818"/>
                  </a:lnTo>
                  <a:lnTo>
                    <a:pt x="58" y="819"/>
                  </a:lnTo>
                  <a:lnTo>
                    <a:pt x="56" y="819"/>
                  </a:lnTo>
                  <a:lnTo>
                    <a:pt x="55" y="819"/>
                  </a:lnTo>
                  <a:lnTo>
                    <a:pt x="55" y="818"/>
                  </a:lnTo>
                  <a:lnTo>
                    <a:pt x="54" y="818"/>
                  </a:lnTo>
                  <a:lnTo>
                    <a:pt x="53" y="818"/>
                  </a:lnTo>
                  <a:lnTo>
                    <a:pt x="53" y="817"/>
                  </a:lnTo>
                  <a:lnTo>
                    <a:pt x="53" y="815"/>
                  </a:lnTo>
                  <a:lnTo>
                    <a:pt x="53" y="814"/>
                  </a:lnTo>
                  <a:lnTo>
                    <a:pt x="52" y="814"/>
                  </a:lnTo>
                  <a:lnTo>
                    <a:pt x="53" y="813"/>
                  </a:lnTo>
                  <a:lnTo>
                    <a:pt x="53" y="812"/>
                  </a:lnTo>
                  <a:lnTo>
                    <a:pt x="52" y="812"/>
                  </a:lnTo>
                  <a:lnTo>
                    <a:pt x="50" y="811"/>
                  </a:lnTo>
                  <a:lnTo>
                    <a:pt x="49" y="809"/>
                  </a:lnTo>
                  <a:lnTo>
                    <a:pt x="49" y="808"/>
                  </a:lnTo>
                  <a:lnTo>
                    <a:pt x="48" y="808"/>
                  </a:lnTo>
                  <a:lnTo>
                    <a:pt x="48" y="809"/>
                  </a:lnTo>
                  <a:lnTo>
                    <a:pt x="47" y="808"/>
                  </a:lnTo>
                  <a:lnTo>
                    <a:pt x="47" y="807"/>
                  </a:lnTo>
                  <a:lnTo>
                    <a:pt x="46" y="807"/>
                  </a:lnTo>
                  <a:lnTo>
                    <a:pt x="46" y="808"/>
                  </a:lnTo>
                  <a:lnTo>
                    <a:pt x="44" y="808"/>
                  </a:lnTo>
                  <a:lnTo>
                    <a:pt x="43" y="808"/>
                  </a:lnTo>
                  <a:lnTo>
                    <a:pt x="42" y="808"/>
                  </a:lnTo>
                  <a:lnTo>
                    <a:pt x="41" y="808"/>
                  </a:lnTo>
                  <a:lnTo>
                    <a:pt x="40" y="808"/>
                  </a:lnTo>
                  <a:lnTo>
                    <a:pt x="38" y="808"/>
                  </a:lnTo>
                  <a:lnTo>
                    <a:pt x="37" y="809"/>
                  </a:lnTo>
                  <a:lnTo>
                    <a:pt x="36" y="808"/>
                  </a:lnTo>
                  <a:lnTo>
                    <a:pt x="35" y="807"/>
                  </a:lnTo>
                  <a:lnTo>
                    <a:pt x="33" y="807"/>
                  </a:lnTo>
                  <a:lnTo>
                    <a:pt x="33" y="806"/>
                  </a:lnTo>
                  <a:lnTo>
                    <a:pt x="32" y="806"/>
                  </a:lnTo>
                  <a:lnTo>
                    <a:pt x="32" y="805"/>
                  </a:lnTo>
                  <a:lnTo>
                    <a:pt x="32" y="803"/>
                  </a:lnTo>
                  <a:lnTo>
                    <a:pt x="31" y="802"/>
                  </a:lnTo>
                  <a:lnTo>
                    <a:pt x="31" y="805"/>
                  </a:lnTo>
                  <a:lnTo>
                    <a:pt x="31" y="803"/>
                  </a:lnTo>
                  <a:lnTo>
                    <a:pt x="31" y="802"/>
                  </a:lnTo>
                  <a:lnTo>
                    <a:pt x="31" y="801"/>
                  </a:lnTo>
                  <a:lnTo>
                    <a:pt x="30" y="801"/>
                  </a:lnTo>
                  <a:lnTo>
                    <a:pt x="29" y="800"/>
                  </a:lnTo>
                  <a:lnTo>
                    <a:pt x="29" y="801"/>
                  </a:lnTo>
                  <a:lnTo>
                    <a:pt x="27" y="800"/>
                  </a:lnTo>
                  <a:lnTo>
                    <a:pt x="27" y="799"/>
                  </a:lnTo>
                  <a:lnTo>
                    <a:pt x="25" y="799"/>
                  </a:lnTo>
                  <a:lnTo>
                    <a:pt x="24" y="799"/>
                  </a:lnTo>
                  <a:lnTo>
                    <a:pt x="23" y="797"/>
                  </a:lnTo>
                  <a:lnTo>
                    <a:pt x="21" y="797"/>
                  </a:lnTo>
                  <a:lnTo>
                    <a:pt x="19" y="797"/>
                  </a:lnTo>
                  <a:lnTo>
                    <a:pt x="17" y="796"/>
                  </a:lnTo>
                  <a:lnTo>
                    <a:pt x="14" y="796"/>
                  </a:lnTo>
                  <a:lnTo>
                    <a:pt x="13" y="795"/>
                  </a:lnTo>
                  <a:lnTo>
                    <a:pt x="14" y="794"/>
                  </a:lnTo>
                  <a:lnTo>
                    <a:pt x="15" y="793"/>
                  </a:lnTo>
                  <a:lnTo>
                    <a:pt x="14" y="794"/>
                  </a:lnTo>
                  <a:lnTo>
                    <a:pt x="13" y="794"/>
                  </a:lnTo>
                  <a:lnTo>
                    <a:pt x="13" y="793"/>
                  </a:lnTo>
                  <a:lnTo>
                    <a:pt x="13" y="791"/>
                  </a:lnTo>
                  <a:lnTo>
                    <a:pt x="12" y="790"/>
                  </a:lnTo>
                  <a:lnTo>
                    <a:pt x="12" y="788"/>
                  </a:lnTo>
                  <a:lnTo>
                    <a:pt x="13" y="787"/>
                  </a:lnTo>
                  <a:lnTo>
                    <a:pt x="14" y="785"/>
                  </a:lnTo>
                  <a:lnTo>
                    <a:pt x="13" y="785"/>
                  </a:lnTo>
                  <a:lnTo>
                    <a:pt x="13" y="784"/>
                  </a:lnTo>
                  <a:lnTo>
                    <a:pt x="13" y="783"/>
                  </a:lnTo>
                  <a:lnTo>
                    <a:pt x="12" y="782"/>
                  </a:lnTo>
                  <a:lnTo>
                    <a:pt x="11" y="781"/>
                  </a:lnTo>
                  <a:lnTo>
                    <a:pt x="11" y="779"/>
                  </a:lnTo>
                  <a:lnTo>
                    <a:pt x="12" y="779"/>
                  </a:lnTo>
                  <a:lnTo>
                    <a:pt x="12" y="773"/>
                  </a:lnTo>
                  <a:lnTo>
                    <a:pt x="11" y="773"/>
                  </a:lnTo>
                  <a:lnTo>
                    <a:pt x="11" y="772"/>
                  </a:lnTo>
                  <a:lnTo>
                    <a:pt x="9" y="771"/>
                  </a:lnTo>
                  <a:lnTo>
                    <a:pt x="8" y="771"/>
                  </a:lnTo>
                  <a:lnTo>
                    <a:pt x="7" y="770"/>
                  </a:lnTo>
                  <a:lnTo>
                    <a:pt x="6" y="770"/>
                  </a:lnTo>
                  <a:lnTo>
                    <a:pt x="5" y="768"/>
                  </a:lnTo>
                  <a:lnTo>
                    <a:pt x="2" y="767"/>
                  </a:lnTo>
                  <a:lnTo>
                    <a:pt x="1" y="766"/>
                  </a:lnTo>
                  <a:lnTo>
                    <a:pt x="0" y="765"/>
                  </a:lnTo>
                  <a:lnTo>
                    <a:pt x="0" y="764"/>
                  </a:lnTo>
                  <a:lnTo>
                    <a:pt x="1" y="764"/>
                  </a:lnTo>
                  <a:lnTo>
                    <a:pt x="3" y="764"/>
                  </a:lnTo>
                  <a:lnTo>
                    <a:pt x="5" y="764"/>
                  </a:lnTo>
                  <a:lnTo>
                    <a:pt x="8" y="765"/>
                  </a:lnTo>
                  <a:lnTo>
                    <a:pt x="12" y="766"/>
                  </a:lnTo>
                  <a:lnTo>
                    <a:pt x="15" y="767"/>
                  </a:lnTo>
                  <a:lnTo>
                    <a:pt x="18" y="768"/>
                  </a:lnTo>
                  <a:lnTo>
                    <a:pt x="20" y="770"/>
                  </a:lnTo>
                  <a:lnTo>
                    <a:pt x="25" y="771"/>
                  </a:lnTo>
                  <a:lnTo>
                    <a:pt x="29" y="772"/>
                  </a:lnTo>
                  <a:lnTo>
                    <a:pt x="32" y="772"/>
                  </a:lnTo>
                  <a:lnTo>
                    <a:pt x="36" y="773"/>
                  </a:lnTo>
                  <a:lnTo>
                    <a:pt x="38" y="773"/>
                  </a:lnTo>
                  <a:lnTo>
                    <a:pt x="44" y="773"/>
                  </a:lnTo>
                  <a:lnTo>
                    <a:pt x="49" y="773"/>
                  </a:lnTo>
                  <a:lnTo>
                    <a:pt x="53" y="773"/>
                  </a:lnTo>
                  <a:lnTo>
                    <a:pt x="58" y="773"/>
                  </a:lnTo>
                  <a:lnTo>
                    <a:pt x="60" y="772"/>
                  </a:lnTo>
                  <a:lnTo>
                    <a:pt x="64" y="772"/>
                  </a:lnTo>
                  <a:lnTo>
                    <a:pt x="72" y="772"/>
                  </a:lnTo>
                  <a:lnTo>
                    <a:pt x="74" y="771"/>
                  </a:lnTo>
                  <a:lnTo>
                    <a:pt x="76" y="770"/>
                  </a:lnTo>
                  <a:lnTo>
                    <a:pt x="78" y="767"/>
                  </a:lnTo>
                  <a:lnTo>
                    <a:pt x="79" y="766"/>
                  </a:lnTo>
                  <a:lnTo>
                    <a:pt x="79" y="765"/>
                  </a:lnTo>
                  <a:lnTo>
                    <a:pt x="80" y="764"/>
                  </a:lnTo>
                  <a:lnTo>
                    <a:pt x="80" y="762"/>
                  </a:lnTo>
                  <a:lnTo>
                    <a:pt x="79" y="762"/>
                  </a:lnTo>
                  <a:lnTo>
                    <a:pt x="78" y="764"/>
                  </a:lnTo>
                  <a:lnTo>
                    <a:pt x="78" y="762"/>
                  </a:lnTo>
                  <a:lnTo>
                    <a:pt x="77" y="762"/>
                  </a:lnTo>
                  <a:lnTo>
                    <a:pt x="76" y="762"/>
                  </a:lnTo>
                  <a:lnTo>
                    <a:pt x="74" y="761"/>
                  </a:lnTo>
                  <a:lnTo>
                    <a:pt x="73" y="760"/>
                  </a:lnTo>
                  <a:lnTo>
                    <a:pt x="72" y="759"/>
                  </a:lnTo>
                  <a:lnTo>
                    <a:pt x="71" y="759"/>
                  </a:lnTo>
                  <a:lnTo>
                    <a:pt x="71" y="760"/>
                  </a:lnTo>
                  <a:lnTo>
                    <a:pt x="70" y="759"/>
                  </a:lnTo>
                  <a:lnTo>
                    <a:pt x="68" y="759"/>
                  </a:lnTo>
                  <a:lnTo>
                    <a:pt x="67" y="759"/>
                  </a:lnTo>
                  <a:lnTo>
                    <a:pt x="66" y="759"/>
                  </a:lnTo>
                  <a:lnTo>
                    <a:pt x="65" y="759"/>
                  </a:lnTo>
                  <a:lnTo>
                    <a:pt x="64" y="758"/>
                  </a:lnTo>
                  <a:lnTo>
                    <a:pt x="62" y="759"/>
                  </a:lnTo>
                  <a:lnTo>
                    <a:pt x="62" y="758"/>
                  </a:lnTo>
                  <a:lnTo>
                    <a:pt x="62" y="756"/>
                  </a:lnTo>
                  <a:lnTo>
                    <a:pt x="61" y="755"/>
                  </a:lnTo>
                  <a:lnTo>
                    <a:pt x="61" y="756"/>
                  </a:lnTo>
                  <a:lnTo>
                    <a:pt x="61" y="758"/>
                  </a:lnTo>
                  <a:lnTo>
                    <a:pt x="60" y="758"/>
                  </a:lnTo>
                  <a:lnTo>
                    <a:pt x="60" y="756"/>
                  </a:lnTo>
                  <a:lnTo>
                    <a:pt x="59" y="756"/>
                  </a:lnTo>
                  <a:lnTo>
                    <a:pt x="59" y="755"/>
                  </a:lnTo>
                  <a:lnTo>
                    <a:pt x="58" y="754"/>
                  </a:lnTo>
                  <a:lnTo>
                    <a:pt x="58" y="756"/>
                  </a:lnTo>
                  <a:lnTo>
                    <a:pt x="58" y="755"/>
                  </a:lnTo>
                  <a:lnTo>
                    <a:pt x="56" y="755"/>
                  </a:lnTo>
                  <a:lnTo>
                    <a:pt x="55" y="755"/>
                  </a:lnTo>
                  <a:lnTo>
                    <a:pt x="54" y="754"/>
                  </a:lnTo>
                  <a:lnTo>
                    <a:pt x="53" y="753"/>
                  </a:lnTo>
                  <a:lnTo>
                    <a:pt x="53" y="752"/>
                  </a:lnTo>
                  <a:lnTo>
                    <a:pt x="52" y="750"/>
                  </a:lnTo>
                  <a:lnTo>
                    <a:pt x="52" y="749"/>
                  </a:lnTo>
                  <a:lnTo>
                    <a:pt x="50" y="749"/>
                  </a:lnTo>
                  <a:lnTo>
                    <a:pt x="49" y="748"/>
                  </a:lnTo>
                  <a:lnTo>
                    <a:pt x="49" y="747"/>
                  </a:lnTo>
                  <a:lnTo>
                    <a:pt x="48" y="747"/>
                  </a:lnTo>
                  <a:lnTo>
                    <a:pt x="48" y="746"/>
                  </a:lnTo>
                  <a:lnTo>
                    <a:pt x="47" y="746"/>
                  </a:lnTo>
                  <a:lnTo>
                    <a:pt x="46" y="744"/>
                  </a:lnTo>
                  <a:lnTo>
                    <a:pt x="47" y="743"/>
                  </a:lnTo>
                  <a:lnTo>
                    <a:pt x="46" y="744"/>
                  </a:lnTo>
                  <a:lnTo>
                    <a:pt x="46" y="743"/>
                  </a:lnTo>
                  <a:lnTo>
                    <a:pt x="44" y="742"/>
                  </a:lnTo>
                  <a:lnTo>
                    <a:pt x="44" y="741"/>
                  </a:lnTo>
                  <a:lnTo>
                    <a:pt x="46" y="740"/>
                  </a:lnTo>
                  <a:lnTo>
                    <a:pt x="47" y="741"/>
                  </a:lnTo>
                  <a:lnTo>
                    <a:pt x="49" y="740"/>
                  </a:lnTo>
                  <a:lnTo>
                    <a:pt x="55" y="741"/>
                  </a:lnTo>
                  <a:lnTo>
                    <a:pt x="60" y="741"/>
                  </a:lnTo>
                  <a:lnTo>
                    <a:pt x="62" y="742"/>
                  </a:lnTo>
                  <a:lnTo>
                    <a:pt x="65" y="741"/>
                  </a:lnTo>
                  <a:lnTo>
                    <a:pt x="67" y="741"/>
                  </a:lnTo>
                  <a:lnTo>
                    <a:pt x="68" y="740"/>
                  </a:lnTo>
                  <a:lnTo>
                    <a:pt x="68" y="738"/>
                  </a:lnTo>
                  <a:lnTo>
                    <a:pt x="70" y="737"/>
                  </a:lnTo>
                  <a:lnTo>
                    <a:pt x="68" y="737"/>
                  </a:lnTo>
                  <a:lnTo>
                    <a:pt x="68" y="736"/>
                  </a:lnTo>
                  <a:lnTo>
                    <a:pt x="67" y="735"/>
                  </a:lnTo>
                  <a:lnTo>
                    <a:pt x="66" y="734"/>
                  </a:lnTo>
                  <a:lnTo>
                    <a:pt x="66" y="732"/>
                  </a:lnTo>
                  <a:lnTo>
                    <a:pt x="65" y="732"/>
                  </a:lnTo>
                  <a:lnTo>
                    <a:pt x="64" y="732"/>
                  </a:lnTo>
                  <a:lnTo>
                    <a:pt x="62" y="731"/>
                  </a:lnTo>
                  <a:lnTo>
                    <a:pt x="61" y="730"/>
                  </a:lnTo>
                  <a:lnTo>
                    <a:pt x="60" y="730"/>
                  </a:lnTo>
                  <a:lnTo>
                    <a:pt x="59" y="730"/>
                  </a:lnTo>
                  <a:lnTo>
                    <a:pt x="58" y="730"/>
                  </a:lnTo>
                  <a:lnTo>
                    <a:pt x="56" y="730"/>
                  </a:lnTo>
                  <a:lnTo>
                    <a:pt x="56" y="729"/>
                  </a:lnTo>
                  <a:lnTo>
                    <a:pt x="55" y="729"/>
                  </a:lnTo>
                  <a:lnTo>
                    <a:pt x="55" y="728"/>
                  </a:lnTo>
                  <a:lnTo>
                    <a:pt x="54" y="728"/>
                  </a:lnTo>
                  <a:lnTo>
                    <a:pt x="53" y="728"/>
                  </a:lnTo>
                  <a:lnTo>
                    <a:pt x="53" y="726"/>
                  </a:lnTo>
                  <a:lnTo>
                    <a:pt x="52" y="726"/>
                  </a:lnTo>
                  <a:lnTo>
                    <a:pt x="50" y="725"/>
                  </a:lnTo>
                  <a:lnTo>
                    <a:pt x="49" y="725"/>
                  </a:lnTo>
                  <a:lnTo>
                    <a:pt x="49" y="724"/>
                  </a:lnTo>
                  <a:lnTo>
                    <a:pt x="48" y="724"/>
                  </a:lnTo>
                  <a:lnTo>
                    <a:pt x="47" y="724"/>
                  </a:lnTo>
                  <a:lnTo>
                    <a:pt x="46" y="723"/>
                  </a:lnTo>
                  <a:lnTo>
                    <a:pt x="46" y="722"/>
                  </a:lnTo>
                  <a:lnTo>
                    <a:pt x="44" y="720"/>
                  </a:lnTo>
                  <a:lnTo>
                    <a:pt x="43" y="720"/>
                  </a:lnTo>
                  <a:lnTo>
                    <a:pt x="42" y="719"/>
                  </a:lnTo>
                  <a:lnTo>
                    <a:pt x="41" y="718"/>
                  </a:lnTo>
                  <a:lnTo>
                    <a:pt x="41" y="717"/>
                  </a:lnTo>
                  <a:lnTo>
                    <a:pt x="42" y="716"/>
                  </a:lnTo>
                  <a:lnTo>
                    <a:pt x="41" y="713"/>
                  </a:lnTo>
                  <a:lnTo>
                    <a:pt x="40" y="712"/>
                  </a:lnTo>
                  <a:lnTo>
                    <a:pt x="38" y="711"/>
                  </a:lnTo>
                  <a:lnTo>
                    <a:pt x="38" y="710"/>
                  </a:lnTo>
                  <a:lnTo>
                    <a:pt x="38" y="708"/>
                  </a:lnTo>
                  <a:lnTo>
                    <a:pt x="40" y="708"/>
                  </a:lnTo>
                  <a:lnTo>
                    <a:pt x="41" y="710"/>
                  </a:lnTo>
                  <a:lnTo>
                    <a:pt x="43" y="711"/>
                  </a:lnTo>
                  <a:lnTo>
                    <a:pt x="44" y="711"/>
                  </a:lnTo>
                  <a:lnTo>
                    <a:pt x="44" y="710"/>
                  </a:lnTo>
                  <a:lnTo>
                    <a:pt x="43" y="710"/>
                  </a:lnTo>
                  <a:lnTo>
                    <a:pt x="42" y="710"/>
                  </a:lnTo>
                  <a:lnTo>
                    <a:pt x="41" y="708"/>
                  </a:lnTo>
                  <a:lnTo>
                    <a:pt x="40" y="707"/>
                  </a:lnTo>
                  <a:lnTo>
                    <a:pt x="41" y="707"/>
                  </a:lnTo>
                  <a:lnTo>
                    <a:pt x="42" y="706"/>
                  </a:lnTo>
                  <a:lnTo>
                    <a:pt x="43" y="706"/>
                  </a:lnTo>
                  <a:lnTo>
                    <a:pt x="46" y="705"/>
                  </a:lnTo>
                  <a:lnTo>
                    <a:pt x="47" y="704"/>
                  </a:lnTo>
                  <a:lnTo>
                    <a:pt x="46" y="704"/>
                  </a:lnTo>
                  <a:lnTo>
                    <a:pt x="44" y="704"/>
                  </a:lnTo>
                  <a:lnTo>
                    <a:pt x="43" y="704"/>
                  </a:lnTo>
                  <a:lnTo>
                    <a:pt x="42" y="704"/>
                  </a:lnTo>
                  <a:lnTo>
                    <a:pt x="41" y="702"/>
                  </a:lnTo>
                  <a:lnTo>
                    <a:pt x="41" y="701"/>
                  </a:lnTo>
                  <a:lnTo>
                    <a:pt x="42" y="702"/>
                  </a:lnTo>
                  <a:lnTo>
                    <a:pt x="43" y="702"/>
                  </a:lnTo>
                  <a:lnTo>
                    <a:pt x="43" y="701"/>
                  </a:lnTo>
                  <a:lnTo>
                    <a:pt x="42" y="701"/>
                  </a:lnTo>
                  <a:lnTo>
                    <a:pt x="41" y="701"/>
                  </a:lnTo>
                  <a:lnTo>
                    <a:pt x="40" y="700"/>
                  </a:lnTo>
                  <a:lnTo>
                    <a:pt x="41" y="700"/>
                  </a:lnTo>
                  <a:lnTo>
                    <a:pt x="42" y="700"/>
                  </a:lnTo>
                  <a:lnTo>
                    <a:pt x="42" y="699"/>
                  </a:lnTo>
                  <a:lnTo>
                    <a:pt x="43" y="698"/>
                  </a:lnTo>
                  <a:lnTo>
                    <a:pt x="44" y="699"/>
                  </a:lnTo>
                  <a:lnTo>
                    <a:pt x="46" y="699"/>
                  </a:lnTo>
                  <a:lnTo>
                    <a:pt x="46" y="698"/>
                  </a:lnTo>
                  <a:lnTo>
                    <a:pt x="47" y="698"/>
                  </a:lnTo>
                  <a:lnTo>
                    <a:pt x="47" y="699"/>
                  </a:lnTo>
                  <a:lnTo>
                    <a:pt x="48" y="701"/>
                  </a:lnTo>
                  <a:lnTo>
                    <a:pt x="48" y="702"/>
                  </a:lnTo>
                  <a:lnTo>
                    <a:pt x="50" y="702"/>
                  </a:lnTo>
                  <a:lnTo>
                    <a:pt x="50" y="704"/>
                  </a:lnTo>
                  <a:lnTo>
                    <a:pt x="50" y="705"/>
                  </a:lnTo>
                  <a:lnTo>
                    <a:pt x="52" y="705"/>
                  </a:lnTo>
                  <a:lnTo>
                    <a:pt x="53" y="706"/>
                  </a:lnTo>
                  <a:lnTo>
                    <a:pt x="54" y="706"/>
                  </a:lnTo>
                  <a:lnTo>
                    <a:pt x="55" y="707"/>
                  </a:lnTo>
                  <a:lnTo>
                    <a:pt x="56" y="708"/>
                  </a:lnTo>
                  <a:lnTo>
                    <a:pt x="59" y="708"/>
                  </a:lnTo>
                  <a:lnTo>
                    <a:pt x="60" y="708"/>
                  </a:lnTo>
                  <a:lnTo>
                    <a:pt x="61" y="710"/>
                  </a:lnTo>
                  <a:lnTo>
                    <a:pt x="64" y="710"/>
                  </a:lnTo>
                  <a:lnTo>
                    <a:pt x="66" y="711"/>
                  </a:lnTo>
                  <a:lnTo>
                    <a:pt x="67" y="711"/>
                  </a:lnTo>
                  <a:lnTo>
                    <a:pt x="68" y="711"/>
                  </a:lnTo>
                  <a:lnTo>
                    <a:pt x="70" y="711"/>
                  </a:lnTo>
                  <a:lnTo>
                    <a:pt x="68" y="711"/>
                  </a:lnTo>
                  <a:lnTo>
                    <a:pt x="67" y="710"/>
                  </a:lnTo>
                  <a:lnTo>
                    <a:pt x="67" y="708"/>
                  </a:lnTo>
                  <a:lnTo>
                    <a:pt x="68" y="707"/>
                  </a:lnTo>
                  <a:lnTo>
                    <a:pt x="68" y="706"/>
                  </a:lnTo>
                  <a:lnTo>
                    <a:pt x="70" y="706"/>
                  </a:lnTo>
                  <a:lnTo>
                    <a:pt x="71" y="705"/>
                  </a:lnTo>
                  <a:lnTo>
                    <a:pt x="70" y="705"/>
                  </a:lnTo>
                  <a:lnTo>
                    <a:pt x="68" y="705"/>
                  </a:lnTo>
                  <a:lnTo>
                    <a:pt x="68" y="704"/>
                  </a:lnTo>
                  <a:lnTo>
                    <a:pt x="67" y="705"/>
                  </a:lnTo>
                  <a:lnTo>
                    <a:pt x="67" y="704"/>
                  </a:lnTo>
                  <a:lnTo>
                    <a:pt x="67" y="702"/>
                  </a:lnTo>
                  <a:lnTo>
                    <a:pt x="68" y="702"/>
                  </a:lnTo>
                  <a:lnTo>
                    <a:pt x="67" y="701"/>
                  </a:lnTo>
                  <a:lnTo>
                    <a:pt x="67" y="700"/>
                  </a:lnTo>
                  <a:lnTo>
                    <a:pt x="68" y="700"/>
                  </a:lnTo>
                  <a:lnTo>
                    <a:pt x="70" y="700"/>
                  </a:lnTo>
                  <a:lnTo>
                    <a:pt x="71" y="700"/>
                  </a:lnTo>
                  <a:lnTo>
                    <a:pt x="72" y="700"/>
                  </a:lnTo>
                  <a:lnTo>
                    <a:pt x="73" y="700"/>
                  </a:lnTo>
                  <a:lnTo>
                    <a:pt x="74" y="701"/>
                  </a:lnTo>
                  <a:lnTo>
                    <a:pt x="76" y="701"/>
                  </a:lnTo>
                  <a:lnTo>
                    <a:pt x="77" y="701"/>
                  </a:lnTo>
                  <a:lnTo>
                    <a:pt x="77" y="700"/>
                  </a:lnTo>
                  <a:lnTo>
                    <a:pt x="74" y="700"/>
                  </a:lnTo>
                  <a:lnTo>
                    <a:pt x="74" y="699"/>
                  </a:lnTo>
                  <a:lnTo>
                    <a:pt x="74" y="698"/>
                  </a:lnTo>
                  <a:lnTo>
                    <a:pt x="76" y="698"/>
                  </a:lnTo>
                  <a:lnTo>
                    <a:pt x="76" y="696"/>
                  </a:lnTo>
                  <a:lnTo>
                    <a:pt x="76" y="695"/>
                  </a:lnTo>
                  <a:lnTo>
                    <a:pt x="76" y="694"/>
                  </a:lnTo>
                  <a:lnTo>
                    <a:pt x="77" y="694"/>
                  </a:lnTo>
                  <a:lnTo>
                    <a:pt x="78" y="693"/>
                  </a:lnTo>
                  <a:lnTo>
                    <a:pt x="79" y="693"/>
                  </a:lnTo>
                  <a:lnTo>
                    <a:pt x="79" y="694"/>
                  </a:lnTo>
                  <a:lnTo>
                    <a:pt x="79" y="695"/>
                  </a:lnTo>
                  <a:lnTo>
                    <a:pt x="80" y="696"/>
                  </a:lnTo>
                  <a:lnTo>
                    <a:pt x="82" y="698"/>
                  </a:lnTo>
                  <a:lnTo>
                    <a:pt x="83" y="698"/>
                  </a:lnTo>
                  <a:lnTo>
                    <a:pt x="84" y="699"/>
                  </a:lnTo>
                  <a:lnTo>
                    <a:pt x="85" y="700"/>
                  </a:lnTo>
                  <a:lnTo>
                    <a:pt x="84" y="700"/>
                  </a:lnTo>
                  <a:lnTo>
                    <a:pt x="83" y="699"/>
                  </a:lnTo>
                  <a:lnTo>
                    <a:pt x="83" y="700"/>
                  </a:lnTo>
                  <a:lnTo>
                    <a:pt x="84" y="700"/>
                  </a:lnTo>
                  <a:lnTo>
                    <a:pt x="84" y="701"/>
                  </a:lnTo>
                  <a:lnTo>
                    <a:pt x="84" y="702"/>
                  </a:lnTo>
                  <a:lnTo>
                    <a:pt x="83" y="702"/>
                  </a:lnTo>
                  <a:lnTo>
                    <a:pt x="84" y="702"/>
                  </a:lnTo>
                  <a:lnTo>
                    <a:pt x="84" y="704"/>
                  </a:lnTo>
                  <a:lnTo>
                    <a:pt x="84" y="705"/>
                  </a:lnTo>
                  <a:lnTo>
                    <a:pt x="85" y="706"/>
                  </a:lnTo>
                  <a:lnTo>
                    <a:pt x="86" y="706"/>
                  </a:lnTo>
                  <a:lnTo>
                    <a:pt x="88" y="706"/>
                  </a:lnTo>
                  <a:lnTo>
                    <a:pt x="86" y="707"/>
                  </a:lnTo>
                  <a:lnTo>
                    <a:pt x="85" y="707"/>
                  </a:lnTo>
                  <a:lnTo>
                    <a:pt x="84" y="707"/>
                  </a:lnTo>
                  <a:lnTo>
                    <a:pt x="84" y="708"/>
                  </a:lnTo>
                  <a:lnTo>
                    <a:pt x="84" y="710"/>
                  </a:lnTo>
                  <a:lnTo>
                    <a:pt x="85" y="710"/>
                  </a:lnTo>
                  <a:lnTo>
                    <a:pt x="86" y="708"/>
                  </a:lnTo>
                  <a:lnTo>
                    <a:pt x="86" y="710"/>
                  </a:lnTo>
                  <a:lnTo>
                    <a:pt x="88" y="710"/>
                  </a:lnTo>
                  <a:lnTo>
                    <a:pt x="90" y="711"/>
                  </a:lnTo>
                  <a:lnTo>
                    <a:pt x="91" y="711"/>
                  </a:lnTo>
                  <a:lnTo>
                    <a:pt x="94" y="711"/>
                  </a:lnTo>
                  <a:lnTo>
                    <a:pt x="95" y="712"/>
                  </a:lnTo>
                  <a:lnTo>
                    <a:pt x="97" y="712"/>
                  </a:lnTo>
                  <a:lnTo>
                    <a:pt x="101" y="712"/>
                  </a:lnTo>
                  <a:lnTo>
                    <a:pt x="105" y="712"/>
                  </a:lnTo>
                  <a:lnTo>
                    <a:pt x="106" y="711"/>
                  </a:lnTo>
                  <a:lnTo>
                    <a:pt x="107" y="711"/>
                  </a:lnTo>
                  <a:lnTo>
                    <a:pt x="111" y="711"/>
                  </a:lnTo>
                  <a:lnTo>
                    <a:pt x="113" y="710"/>
                  </a:lnTo>
                  <a:lnTo>
                    <a:pt x="114" y="708"/>
                  </a:lnTo>
                  <a:lnTo>
                    <a:pt x="114" y="707"/>
                  </a:lnTo>
                  <a:lnTo>
                    <a:pt x="114" y="706"/>
                  </a:lnTo>
                  <a:lnTo>
                    <a:pt x="113" y="707"/>
                  </a:lnTo>
                  <a:lnTo>
                    <a:pt x="112" y="706"/>
                  </a:lnTo>
                  <a:lnTo>
                    <a:pt x="112" y="705"/>
                  </a:lnTo>
                  <a:lnTo>
                    <a:pt x="111" y="707"/>
                  </a:lnTo>
                  <a:lnTo>
                    <a:pt x="108" y="708"/>
                  </a:lnTo>
                  <a:lnTo>
                    <a:pt x="107" y="710"/>
                  </a:lnTo>
                  <a:lnTo>
                    <a:pt x="107" y="708"/>
                  </a:lnTo>
                  <a:lnTo>
                    <a:pt x="108" y="706"/>
                  </a:lnTo>
                  <a:lnTo>
                    <a:pt x="111" y="705"/>
                  </a:lnTo>
                  <a:lnTo>
                    <a:pt x="111" y="704"/>
                  </a:lnTo>
                  <a:lnTo>
                    <a:pt x="111" y="702"/>
                  </a:lnTo>
                  <a:lnTo>
                    <a:pt x="111" y="701"/>
                  </a:lnTo>
                  <a:lnTo>
                    <a:pt x="109" y="702"/>
                  </a:lnTo>
                  <a:lnTo>
                    <a:pt x="109" y="704"/>
                  </a:lnTo>
                  <a:lnTo>
                    <a:pt x="109" y="702"/>
                  </a:lnTo>
                  <a:lnTo>
                    <a:pt x="108" y="702"/>
                  </a:lnTo>
                  <a:lnTo>
                    <a:pt x="106" y="702"/>
                  </a:lnTo>
                  <a:lnTo>
                    <a:pt x="106" y="704"/>
                  </a:lnTo>
                  <a:lnTo>
                    <a:pt x="106" y="702"/>
                  </a:lnTo>
                  <a:lnTo>
                    <a:pt x="106" y="701"/>
                  </a:lnTo>
                  <a:lnTo>
                    <a:pt x="106" y="700"/>
                  </a:lnTo>
                  <a:lnTo>
                    <a:pt x="108" y="699"/>
                  </a:lnTo>
                  <a:lnTo>
                    <a:pt x="108" y="698"/>
                  </a:lnTo>
                  <a:lnTo>
                    <a:pt x="108" y="696"/>
                  </a:lnTo>
                  <a:lnTo>
                    <a:pt x="107" y="695"/>
                  </a:lnTo>
                  <a:lnTo>
                    <a:pt x="107" y="696"/>
                  </a:lnTo>
                  <a:lnTo>
                    <a:pt x="107" y="698"/>
                  </a:lnTo>
                  <a:lnTo>
                    <a:pt x="106" y="698"/>
                  </a:lnTo>
                  <a:lnTo>
                    <a:pt x="105" y="699"/>
                  </a:lnTo>
                  <a:lnTo>
                    <a:pt x="103" y="699"/>
                  </a:lnTo>
                  <a:lnTo>
                    <a:pt x="103" y="698"/>
                  </a:lnTo>
                  <a:lnTo>
                    <a:pt x="102" y="698"/>
                  </a:lnTo>
                  <a:lnTo>
                    <a:pt x="101" y="699"/>
                  </a:lnTo>
                  <a:lnTo>
                    <a:pt x="100" y="699"/>
                  </a:lnTo>
                  <a:lnTo>
                    <a:pt x="100" y="698"/>
                  </a:lnTo>
                  <a:lnTo>
                    <a:pt x="99" y="696"/>
                  </a:lnTo>
                  <a:lnTo>
                    <a:pt x="100" y="695"/>
                  </a:lnTo>
                  <a:lnTo>
                    <a:pt x="100" y="694"/>
                  </a:lnTo>
                  <a:lnTo>
                    <a:pt x="101" y="693"/>
                  </a:lnTo>
                  <a:lnTo>
                    <a:pt x="101" y="692"/>
                  </a:lnTo>
                  <a:lnTo>
                    <a:pt x="101" y="690"/>
                  </a:lnTo>
                  <a:lnTo>
                    <a:pt x="100" y="690"/>
                  </a:lnTo>
                  <a:lnTo>
                    <a:pt x="100" y="692"/>
                  </a:lnTo>
                  <a:lnTo>
                    <a:pt x="97" y="692"/>
                  </a:lnTo>
                  <a:lnTo>
                    <a:pt x="95" y="692"/>
                  </a:lnTo>
                  <a:lnTo>
                    <a:pt x="94" y="693"/>
                  </a:lnTo>
                  <a:lnTo>
                    <a:pt x="92" y="693"/>
                  </a:lnTo>
                  <a:lnTo>
                    <a:pt x="92" y="692"/>
                  </a:lnTo>
                  <a:lnTo>
                    <a:pt x="91" y="692"/>
                  </a:lnTo>
                  <a:lnTo>
                    <a:pt x="91" y="690"/>
                  </a:lnTo>
                  <a:lnTo>
                    <a:pt x="90" y="690"/>
                  </a:lnTo>
                  <a:lnTo>
                    <a:pt x="92" y="689"/>
                  </a:lnTo>
                  <a:lnTo>
                    <a:pt x="95" y="689"/>
                  </a:lnTo>
                  <a:lnTo>
                    <a:pt x="96" y="689"/>
                  </a:lnTo>
                  <a:lnTo>
                    <a:pt x="99" y="688"/>
                  </a:lnTo>
                  <a:lnTo>
                    <a:pt x="99" y="686"/>
                  </a:lnTo>
                  <a:lnTo>
                    <a:pt x="100" y="686"/>
                  </a:lnTo>
                  <a:lnTo>
                    <a:pt x="100" y="684"/>
                  </a:lnTo>
                  <a:lnTo>
                    <a:pt x="99" y="684"/>
                  </a:lnTo>
                  <a:lnTo>
                    <a:pt x="97" y="686"/>
                  </a:lnTo>
                  <a:lnTo>
                    <a:pt x="96" y="686"/>
                  </a:lnTo>
                  <a:lnTo>
                    <a:pt x="95" y="687"/>
                  </a:lnTo>
                  <a:lnTo>
                    <a:pt x="94" y="688"/>
                  </a:lnTo>
                  <a:lnTo>
                    <a:pt x="92" y="687"/>
                  </a:lnTo>
                  <a:lnTo>
                    <a:pt x="92" y="686"/>
                  </a:lnTo>
                  <a:lnTo>
                    <a:pt x="94" y="686"/>
                  </a:lnTo>
                  <a:lnTo>
                    <a:pt x="95" y="684"/>
                  </a:lnTo>
                  <a:lnTo>
                    <a:pt x="97" y="684"/>
                  </a:lnTo>
                  <a:lnTo>
                    <a:pt x="99" y="683"/>
                  </a:lnTo>
                  <a:lnTo>
                    <a:pt x="100" y="683"/>
                  </a:lnTo>
                  <a:lnTo>
                    <a:pt x="101" y="682"/>
                  </a:lnTo>
                  <a:lnTo>
                    <a:pt x="102" y="681"/>
                  </a:lnTo>
                  <a:lnTo>
                    <a:pt x="101" y="681"/>
                  </a:lnTo>
                  <a:lnTo>
                    <a:pt x="100" y="682"/>
                  </a:lnTo>
                  <a:lnTo>
                    <a:pt x="99" y="682"/>
                  </a:lnTo>
                  <a:lnTo>
                    <a:pt x="99" y="683"/>
                  </a:lnTo>
                  <a:lnTo>
                    <a:pt x="97" y="682"/>
                  </a:lnTo>
                  <a:lnTo>
                    <a:pt x="95" y="682"/>
                  </a:lnTo>
                  <a:lnTo>
                    <a:pt x="94" y="682"/>
                  </a:lnTo>
                  <a:lnTo>
                    <a:pt x="94" y="681"/>
                  </a:lnTo>
                  <a:lnTo>
                    <a:pt x="95" y="680"/>
                  </a:lnTo>
                  <a:lnTo>
                    <a:pt x="94" y="678"/>
                  </a:lnTo>
                  <a:lnTo>
                    <a:pt x="92" y="678"/>
                  </a:lnTo>
                  <a:lnTo>
                    <a:pt x="94" y="678"/>
                  </a:lnTo>
                  <a:lnTo>
                    <a:pt x="94" y="677"/>
                  </a:lnTo>
                  <a:lnTo>
                    <a:pt x="92" y="676"/>
                  </a:lnTo>
                  <a:lnTo>
                    <a:pt x="91" y="676"/>
                  </a:lnTo>
                  <a:lnTo>
                    <a:pt x="91" y="674"/>
                  </a:lnTo>
                  <a:lnTo>
                    <a:pt x="94" y="675"/>
                  </a:lnTo>
                  <a:lnTo>
                    <a:pt x="95" y="675"/>
                  </a:lnTo>
                  <a:lnTo>
                    <a:pt x="97" y="674"/>
                  </a:lnTo>
                  <a:lnTo>
                    <a:pt x="101" y="670"/>
                  </a:lnTo>
                  <a:lnTo>
                    <a:pt x="103" y="669"/>
                  </a:lnTo>
                  <a:lnTo>
                    <a:pt x="105" y="668"/>
                  </a:lnTo>
                  <a:lnTo>
                    <a:pt x="105" y="664"/>
                  </a:lnTo>
                  <a:lnTo>
                    <a:pt x="103" y="661"/>
                  </a:lnTo>
                  <a:lnTo>
                    <a:pt x="102" y="665"/>
                  </a:lnTo>
                  <a:lnTo>
                    <a:pt x="102" y="668"/>
                  </a:lnTo>
                  <a:lnTo>
                    <a:pt x="101" y="666"/>
                  </a:lnTo>
                  <a:lnTo>
                    <a:pt x="100" y="666"/>
                  </a:lnTo>
                  <a:lnTo>
                    <a:pt x="100" y="665"/>
                  </a:lnTo>
                  <a:lnTo>
                    <a:pt x="100" y="663"/>
                  </a:lnTo>
                  <a:lnTo>
                    <a:pt x="99" y="663"/>
                  </a:lnTo>
                  <a:lnTo>
                    <a:pt x="97" y="663"/>
                  </a:lnTo>
                  <a:lnTo>
                    <a:pt x="97" y="666"/>
                  </a:lnTo>
                  <a:lnTo>
                    <a:pt x="97" y="668"/>
                  </a:lnTo>
                  <a:lnTo>
                    <a:pt x="96" y="670"/>
                  </a:lnTo>
                  <a:lnTo>
                    <a:pt x="94" y="670"/>
                  </a:lnTo>
                  <a:lnTo>
                    <a:pt x="94" y="669"/>
                  </a:lnTo>
                  <a:lnTo>
                    <a:pt x="95" y="666"/>
                  </a:lnTo>
                  <a:lnTo>
                    <a:pt x="96" y="665"/>
                  </a:lnTo>
                  <a:lnTo>
                    <a:pt x="96" y="664"/>
                  </a:lnTo>
                  <a:lnTo>
                    <a:pt x="96" y="663"/>
                  </a:lnTo>
                  <a:lnTo>
                    <a:pt x="99" y="660"/>
                  </a:lnTo>
                  <a:lnTo>
                    <a:pt x="100" y="659"/>
                  </a:lnTo>
                  <a:lnTo>
                    <a:pt x="100" y="658"/>
                  </a:lnTo>
                  <a:lnTo>
                    <a:pt x="99" y="659"/>
                  </a:lnTo>
                  <a:lnTo>
                    <a:pt x="97" y="659"/>
                  </a:lnTo>
                  <a:lnTo>
                    <a:pt x="99" y="658"/>
                  </a:lnTo>
                  <a:lnTo>
                    <a:pt x="97" y="657"/>
                  </a:lnTo>
                  <a:lnTo>
                    <a:pt x="96" y="659"/>
                  </a:lnTo>
                  <a:lnTo>
                    <a:pt x="96" y="660"/>
                  </a:lnTo>
                  <a:lnTo>
                    <a:pt x="96" y="661"/>
                  </a:lnTo>
                  <a:lnTo>
                    <a:pt x="95" y="663"/>
                  </a:lnTo>
                  <a:lnTo>
                    <a:pt x="94" y="664"/>
                  </a:lnTo>
                  <a:lnTo>
                    <a:pt x="92" y="663"/>
                  </a:lnTo>
                  <a:lnTo>
                    <a:pt x="92" y="660"/>
                  </a:lnTo>
                  <a:lnTo>
                    <a:pt x="91" y="659"/>
                  </a:lnTo>
                  <a:lnTo>
                    <a:pt x="91" y="658"/>
                  </a:lnTo>
                  <a:lnTo>
                    <a:pt x="92" y="657"/>
                  </a:lnTo>
                  <a:lnTo>
                    <a:pt x="94" y="657"/>
                  </a:lnTo>
                  <a:lnTo>
                    <a:pt x="94" y="654"/>
                  </a:lnTo>
                  <a:lnTo>
                    <a:pt x="92" y="657"/>
                  </a:lnTo>
                  <a:lnTo>
                    <a:pt x="91" y="658"/>
                  </a:lnTo>
                  <a:lnTo>
                    <a:pt x="90" y="658"/>
                  </a:lnTo>
                  <a:lnTo>
                    <a:pt x="89" y="659"/>
                  </a:lnTo>
                  <a:lnTo>
                    <a:pt x="88" y="661"/>
                  </a:lnTo>
                  <a:lnTo>
                    <a:pt x="86" y="660"/>
                  </a:lnTo>
                  <a:lnTo>
                    <a:pt x="85" y="660"/>
                  </a:lnTo>
                  <a:lnTo>
                    <a:pt x="85" y="663"/>
                  </a:lnTo>
                  <a:lnTo>
                    <a:pt x="84" y="663"/>
                  </a:lnTo>
                  <a:lnTo>
                    <a:pt x="84" y="661"/>
                  </a:lnTo>
                  <a:lnTo>
                    <a:pt x="83" y="661"/>
                  </a:lnTo>
                  <a:lnTo>
                    <a:pt x="83" y="659"/>
                  </a:lnTo>
                  <a:lnTo>
                    <a:pt x="83" y="658"/>
                  </a:lnTo>
                  <a:lnTo>
                    <a:pt x="82" y="658"/>
                  </a:lnTo>
                  <a:lnTo>
                    <a:pt x="82" y="659"/>
                  </a:lnTo>
                  <a:lnTo>
                    <a:pt x="82" y="664"/>
                  </a:lnTo>
                  <a:lnTo>
                    <a:pt x="82" y="665"/>
                  </a:lnTo>
                  <a:lnTo>
                    <a:pt x="80" y="666"/>
                  </a:lnTo>
                  <a:lnTo>
                    <a:pt x="79" y="665"/>
                  </a:lnTo>
                  <a:lnTo>
                    <a:pt x="79" y="663"/>
                  </a:lnTo>
                  <a:lnTo>
                    <a:pt x="79" y="661"/>
                  </a:lnTo>
                  <a:lnTo>
                    <a:pt x="78" y="659"/>
                  </a:lnTo>
                  <a:lnTo>
                    <a:pt x="77" y="659"/>
                  </a:lnTo>
                  <a:lnTo>
                    <a:pt x="77" y="661"/>
                  </a:lnTo>
                  <a:lnTo>
                    <a:pt x="76" y="663"/>
                  </a:lnTo>
                  <a:lnTo>
                    <a:pt x="74" y="661"/>
                  </a:lnTo>
                  <a:lnTo>
                    <a:pt x="74" y="664"/>
                  </a:lnTo>
                  <a:lnTo>
                    <a:pt x="73" y="664"/>
                  </a:lnTo>
                  <a:lnTo>
                    <a:pt x="72" y="663"/>
                  </a:lnTo>
                  <a:lnTo>
                    <a:pt x="72" y="659"/>
                  </a:lnTo>
                  <a:lnTo>
                    <a:pt x="72" y="658"/>
                  </a:lnTo>
                  <a:lnTo>
                    <a:pt x="70" y="658"/>
                  </a:lnTo>
                  <a:lnTo>
                    <a:pt x="71" y="657"/>
                  </a:lnTo>
                  <a:lnTo>
                    <a:pt x="71" y="655"/>
                  </a:lnTo>
                  <a:lnTo>
                    <a:pt x="74" y="654"/>
                  </a:lnTo>
                  <a:lnTo>
                    <a:pt x="72" y="653"/>
                  </a:lnTo>
                  <a:lnTo>
                    <a:pt x="70" y="653"/>
                  </a:lnTo>
                  <a:lnTo>
                    <a:pt x="70" y="652"/>
                  </a:lnTo>
                  <a:lnTo>
                    <a:pt x="68" y="652"/>
                  </a:lnTo>
                  <a:lnTo>
                    <a:pt x="68" y="653"/>
                  </a:lnTo>
                  <a:lnTo>
                    <a:pt x="67" y="655"/>
                  </a:lnTo>
                  <a:lnTo>
                    <a:pt x="66" y="655"/>
                  </a:lnTo>
                  <a:lnTo>
                    <a:pt x="65" y="654"/>
                  </a:lnTo>
                  <a:lnTo>
                    <a:pt x="62" y="655"/>
                  </a:lnTo>
                  <a:lnTo>
                    <a:pt x="59" y="657"/>
                  </a:lnTo>
                  <a:lnTo>
                    <a:pt x="58" y="657"/>
                  </a:lnTo>
                  <a:lnTo>
                    <a:pt x="59" y="655"/>
                  </a:lnTo>
                  <a:lnTo>
                    <a:pt x="60" y="653"/>
                  </a:lnTo>
                  <a:lnTo>
                    <a:pt x="61" y="653"/>
                  </a:lnTo>
                  <a:lnTo>
                    <a:pt x="66" y="651"/>
                  </a:lnTo>
                  <a:lnTo>
                    <a:pt x="67" y="649"/>
                  </a:lnTo>
                  <a:lnTo>
                    <a:pt x="70" y="648"/>
                  </a:lnTo>
                  <a:lnTo>
                    <a:pt x="72" y="646"/>
                  </a:lnTo>
                  <a:lnTo>
                    <a:pt x="72" y="645"/>
                  </a:lnTo>
                  <a:lnTo>
                    <a:pt x="71" y="643"/>
                  </a:lnTo>
                  <a:lnTo>
                    <a:pt x="70" y="646"/>
                  </a:lnTo>
                  <a:lnTo>
                    <a:pt x="68" y="647"/>
                  </a:lnTo>
                  <a:lnTo>
                    <a:pt x="67" y="648"/>
                  </a:lnTo>
                  <a:lnTo>
                    <a:pt x="66" y="648"/>
                  </a:lnTo>
                  <a:lnTo>
                    <a:pt x="65" y="648"/>
                  </a:lnTo>
                  <a:lnTo>
                    <a:pt x="64" y="647"/>
                  </a:lnTo>
                  <a:lnTo>
                    <a:pt x="64" y="645"/>
                  </a:lnTo>
                  <a:lnTo>
                    <a:pt x="64" y="643"/>
                  </a:lnTo>
                  <a:lnTo>
                    <a:pt x="62" y="645"/>
                  </a:lnTo>
                  <a:lnTo>
                    <a:pt x="62" y="647"/>
                  </a:lnTo>
                  <a:lnTo>
                    <a:pt x="62" y="648"/>
                  </a:lnTo>
                  <a:lnTo>
                    <a:pt x="62" y="651"/>
                  </a:lnTo>
                  <a:lnTo>
                    <a:pt x="61" y="652"/>
                  </a:lnTo>
                  <a:lnTo>
                    <a:pt x="60" y="652"/>
                  </a:lnTo>
                  <a:lnTo>
                    <a:pt x="60" y="651"/>
                  </a:lnTo>
                  <a:lnTo>
                    <a:pt x="60" y="649"/>
                  </a:lnTo>
                  <a:lnTo>
                    <a:pt x="60" y="648"/>
                  </a:lnTo>
                  <a:lnTo>
                    <a:pt x="60" y="647"/>
                  </a:lnTo>
                  <a:lnTo>
                    <a:pt x="59" y="646"/>
                  </a:lnTo>
                  <a:lnTo>
                    <a:pt x="59" y="648"/>
                  </a:lnTo>
                  <a:lnTo>
                    <a:pt x="59" y="649"/>
                  </a:lnTo>
                  <a:lnTo>
                    <a:pt x="58" y="652"/>
                  </a:lnTo>
                  <a:lnTo>
                    <a:pt x="56" y="652"/>
                  </a:lnTo>
                  <a:lnTo>
                    <a:pt x="56" y="649"/>
                  </a:lnTo>
                  <a:lnTo>
                    <a:pt x="56" y="647"/>
                  </a:lnTo>
                  <a:lnTo>
                    <a:pt x="56" y="645"/>
                  </a:lnTo>
                  <a:lnTo>
                    <a:pt x="56" y="643"/>
                  </a:lnTo>
                  <a:lnTo>
                    <a:pt x="55" y="646"/>
                  </a:lnTo>
                  <a:lnTo>
                    <a:pt x="54" y="646"/>
                  </a:lnTo>
                  <a:lnTo>
                    <a:pt x="53" y="647"/>
                  </a:lnTo>
                  <a:lnTo>
                    <a:pt x="53" y="651"/>
                  </a:lnTo>
                  <a:lnTo>
                    <a:pt x="53" y="652"/>
                  </a:lnTo>
                  <a:lnTo>
                    <a:pt x="52" y="651"/>
                  </a:lnTo>
                  <a:lnTo>
                    <a:pt x="50" y="649"/>
                  </a:lnTo>
                  <a:lnTo>
                    <a:pt x="50" y="648"/>
                  </a:lnTo>
                  <a:lnTo>
                    <a:pt x="50" y="646"/>
                  </a:lnTo>
                  <a:lnTo>
                    <a:pt x="50" y="643"/>
                  </a:lnTo>
                  <a:lnTo>
                    <a:pt x="50" y="641"/>
                  </a:lnTo>
                  <a:lnTo>
                    <a:pt x="50" y="639"/>
                  </a:lnTo>
                  <a:lnTo>
                    <a:pt x="49" y="639"/>
                  </a:lnTo>
                  <a:lnTo>
                    <a:pt x="49" y="641"/>
                  </a:lnTo>
                  <a:lnTo>
                    <a:pt x="49" y="642"/>
                  </a:lnTo>
                  <a:lnTo>
                    <a:pt x="48" y="645"/>
                  </a:lnTo>
                  <a:lnTo>
                    <a:pt x="47" y="645"/>
                  </a:lnTo>
                  <a:lnTo>
                    <a:pt x="46" y="643"/>
                  </a:lnTo>
                  <a:lnTo>
                    <a:pt x="46" y="642"/>
                  </a:lnTo>
                  <a:lnTo>
                    <a:pt x="46" y="640"/>
                  </a:lnTo>
                  <a:lnTo>
                    <a:pt x="46" y="639"/>
                  </a:lnTo>
                  <a:lnTo>
                    <a:pt x="46" y="637"/>
                  </a:lnTo>
                  <a:lnTo>
                    <a:pt x="44" y="636"/>
                  </a:lnTo>
                  <a:lnTo>
                    <a:pt x="43" y="636"/>
                  </a:lnTo>
                  <a:lnTo>
                    <a:pt x="43" y="639"/>
                  </a:lnTo>
                  <a:lnTo>
                    <a:pt x="42" y="642"/>
                  </a:lnTo>
                  <a:lnTo>
                    <a:pt x="41" y="643"/>
                  </a:lnTo>
                  <a:lnTo>
                    <a:pt x="38" y="642"/>
                  </a:lnTo>
                  <a:lnTo>
                    <a:pt x="38" y="641"/>
                  </a:lnTo>
                  <a:lnTo>
                    <a:pt x="37" y="641"/>
                  </a:lnTo>
                  <a:lnTo>
                    <a:pt x="37" y="642"/>
                  </a:lnTo>
                  <a:lnTo>
                    <a:pt x="37" y="645"/>
                  </a:lnTo>
                  <a:lnTo>
                    <a:pt x="37" y="648"/>
                  </a:lnTo>
                  <a:lnTo>
                    <a:pt x="36" y="648"/>
                  </a:lnTo>
                  <a:lnTo>
                    <a:pt x="36" y="647"/>
                  </a:lnTo>
                  <a:lnTo>
                    <a:pt x="35" y="645"/>
                  </a:lnTo>
                  <a:lnTo>
                    <a:pt x="35" y="647"/>
                  </a:lnTo>
                  <a:lnTo>
                    <a:pt x="33" y="647"/>
                  </a:lnTo>
                  <a:lnTo>
                    <a:pt x="31" y="646"/>
                  </a:lnTo>
                  <a:lnTo>
                    <a:pt x="32" y="642"/>
                  </a:lnTo>
                  <a:lnTo>
                    <a:pt x="31" y="641"/>
                  </a:lnTo>
                  <a:lnTo>
                    <a:pt x="30" y="641"/>
                  </a:lnTo>
                  <a:lnTo>
                    <a:pt x="29" y="641"/>
                  </a:lnTo>
                  <a:lnTo>
                    <a:pt x="27" y="641"/>
                  </a:lnTo>
                  <a:lnTo>
                    <a:pt x="25" y="641"/>
                  </a:lnTo>
                  <a:lnTo>
                    <a:pt x="27" y="640"/>
                  </a:lnTo>
                  <a:lnTo>
                    <a:pt x="29" y="637"/>
                  </a:lnTo>
                  <a:lnTo>
                    <a:pt x="30" y="636"/>
                  </a:lnTo>
                  <a:lnTo>
                    <a:pt x="33" y="634"/>
                  </a:lnTo>
                  <a:lnTo>
                    <a:pt x="40" y="631"/>
                  </a:lnTo>
                  <a:lnTo>
                    <a:pt x="44" y="629"/>
                  </a:lnTo>
                  <a:lnTo>
                    <a:pt x="50" y="628"/>
                  </a:lnTo>
                  <a:lnTo>
                    <a:pt x="55" y="628"/>
                  </a:lnTo>
                  <a:lnTo>
                    <a:pt x="58" y="629"/>
                  </a:lnTo>
                  <a:lnTo>
                    <a:pt x="59" y="629"/>
                  </a:lnTo>
                  <a:lnTo>
                    <a:pt x="60" y="629"/>
                  </a:lnTo>
                  <a:lnTo>
                    <a:pt x="62" y="629"/>
                  </a:lnTo>
                  <a:lnTo>
                    <a:pt x="64" y="629"/>
                  </a:lnTo>
                  <a:lnTo>
                    <a:pt x="67" y="628"/>
                  </a:lnTo>
                  <a:lnTo>
                    <a:pt x="70" y="627"/>
                  </a:lnTo>
                  <a:lnTo>
                    <a:pt x="73" y="625"/>
                  </a:lnTo>
                  <a:lnTo>
                    <a:pt x="73" y="624"/>
                  </a:lnTo>
                  <a:lnTo>
                    <a:pt x="72" y="623"/>
                  </a:lnTo>
                  <a:lnTo>
                    <a:pt x="71" y="623"/>
                  </a:lnTo>
                  <a:lnTo>
                    <a:pt x="66" y="624"/>
                  </a:lnTo>
                  <a:lnTo>
                    <a:pt x="68" y="623"/>
                  </a:lnTo>
                  <a:lnTo>
                    <a:pt x="70" y="623"/>
                  </a:lnTo>
                  <a:lnTo>
                    <a:pt x="66" y="621"/>
                  </a:lnTo>
                  <a:lnTo>
                    <a:pt x="67" y="619"/>
                  </a:lnTo>
                  <a:lnTo>
                    <a:pt x="71" y="621"/>
                  </a:lnTo>
                  <a:lnTo>
                    <a:pt x="72" y="621"/>
                  </a:lnTo>
                  <a:lnTo>
                    <a:pt x="73" y="622"/>
                  </a:lnTo>
                  <a:lnTo>
                    <a:pt x="74" y="623"/>
                  </a:lnTo>
                  <a:lnTo>
                    <a:pt x="77" y="624"/>
                  </a:lnTo>
                  <a:lnTo>
                    <a:pt x="78" y="623"/>
                  </a:lnTo>
                  <a:lnTo>
                    <a:pt x="80" y="625"/>
                  </a:lnTo>
                  <a:lnTo>
                    <a:pt x="82" y="627"/>
                  </a:lnTo>
                  <a:lnTo>
                    <a:pt x="85" y="624"/>
                  </a:lnTo>
                  <a:lnTo>
                    <a:pt x="90" y="623"/>
                  </a:lnTo>
                  <a:lnTo>
                    <a:pt x="96" y="621"/>
                  </a:lnTo>
                  <a:lnTo>
                    <a:pt x="97" y="621"/>
                  </a:lnTo>
                  <a:lnTo>
                    <a:pt x="100" y="621"/>
                  </a:lnTo>
                  <a:lnTo>
                    <a:pt x="100" y="619"/>
                  </a:lnTo>
                  <a:lnTo>
                    <a:pt x="99" y="619"/>
                  </a:lnTo>
                  <a:lnTo>
                    <a:pt x="99" y="617"/>
                  </a:lnTo>
                  <a:lnTo>
                    <a:pt x="99" y="616"/>
                  </a:lnTo>
                  <a:lnTo>
                    <a:pt x="99" y="613"/>
                  </a:lnTo>
                  <a:lnTo>
                    <a:pt x="97" y="613"/>
                  </a:lnTo>
                  <a:lnTo>
                    <a:pt x="96" y="617"/>
                  </a:lnTo>
                  <a:lnTo>
                    <a:pt x="95" y="617"/>
                  </a:lnTo>
                  <a:lnTo>
                    <a:pt x="94" y="615"/>
                  </a:lnTo>
                  <a:lnTo>
                    <a:pt x="94" y="613"/>
                  </a:lnTo>
                  <a:lnTo>
                    <a:pt x="94" y="612"/>
                  </a:lnTo>
                  <a:lnTo>
                    <a:pt x="92" y="613"/>
                  </a:lnTo>
                  <a:lnTo>
                    <a:pt x="91" y="613"/>
                  </a:lnTo>
                  <a:lnTo>
                    <a:pt x="90" y="613"/>
                  </a:lnTo>
                  <a:lnTo>
                    <a:pt x="89" y="612"/>
                  </a:lnTo>
                  <a:lnTo>
                    <a:pt x="89" y="613"/>
                  </a:lnTo>
                  <a:lnTo>
                    <a:pt x="88" y="613"/>
                  </a:lnTo>
                  <a:lnTo>
                    <a:pt x="86" y="612"/>
                  </a:lnTo>
                  <a:lnTo>
                    <a:pt x="85" y="611"/>
                  </a:lnTo>
                  <a:lnTo>
                    <a:pt x="83" y="610"/>
                  </a:lnTo>
                  <a:lnTo>
                    <a:pt x="79" y="609"/>
                  </a:lnTo>
                  <a:lnTo>
                    <a:pt x="79" y="606"/>
                  </a:lnTo>
                  <a:lnTo>
                    <a:pt x="78" y="605"/>
                  </a:lnTo>
                  <a:lnTo>
                    <a:pt x="77" y="605"/>
                  </a:lnTo>
                  <a:lnTo>
                    <a:pt x="76" y="605"/>
                  </a:lnTo>
                  <a:lnTo>
                    <a:pt x="74" y="604"/>
                  </a:lnTo>
                  <a:lnTo>
                    <a:pt x="76" y="603"/>
                  </a:lnTo>
                  <a:lnTo>
                    <a:pt x="77" y="600"/>
                  </a:lnTo>
                  <a:lnTo>
                    <a:pt x="74" y="600"/>
                  </a:lnTo>
                  <a:lnTo>
                    <a:pt x="73" y="604"/>
                  </a:lnTo>
                  <a:lnTo>
                    <a:pt x="72" y="605"/>
                  </a:lnTo>
                  <a:lnTo>
                    <a:pt x="71" y="606"/>
                  </a:lnTo>
                  <a:lnTo>
                    <a:pt x="71" y="605"/>
                  </a:lnTo>
                  <a:lnTo>
                    <a:pt x="71" y="601"/>
                  </a:lnTo>
                  <a:lnTo>
                    <a:pt x="71" y="600"/>
                  </a:lnTo>
                  <a:lnTo>
                    <a:pt x="70" y="600"/>
                  </a:lnTo>
                  <a:lnTo>
                    <a:pt x="70" y="601"/>
                  </a:lnTo>
                  <a:lnTo>
                    <a:pt x="68" y="605"/>
                  </a:lnTo>
                  <a:lnTo>
                    <a:pt x="70" y="607"/>
                  </a:lnTo>
                  <a:lnTo>
                    <a:pt x="68" y="609"/>
                  </a:lnTo>
                  <a:lnTo>
                    <a:pt x="68" y="607"/>
                  </a:lnTo>
                  <a:lnTo>
                    <a:pt x="68" y="605"/>
                  </a:lnTo>
                  <a:lnTo>
                    <a:pt x="67" y="604"/>
                  </a:lnTo>
                  <a:lnTo>
                    <a:pt x="66" y="603"/>
                  </a:lnTo>
                  <a:lnTo>
                    <a:pt x="67" y="600"/>
                  </a:lnTo>
                  <a:lnTo>
                    <a:pt x="68" y="599"/>
                  </a:lnTo>
                  <a:lnTo>
                    <a:pt x="67" y="597"/>
                  </a:lnTo>
                  <a:lnTo>
                    <a:pt x="67" y="595"/>
                  </a:lnTo>
                  <a:lnTo>
                    <a:pt x="66" y="594"/>
                  </a:lnTo>
                  <a:lnTo>
                    <a:pt x="65" y="595"/>
                  </a:lnTo>
                  <a:lnTo>
                    <a:pt x="64" y="597"/>
                  </a:lnTo>
                  <a:lnTo>
                    <a:pt x="62" y="595"/>
                  </a:lnTo>
                  <a:lnTo>
                    <a:pt x="62" y="594"/>
                  </a:lnTo>
                  <a:lnTo>
                    <a:pt x="62" y="593"/>
                  </a:lnTo>
                  <a:lnTo>
                    <a:pt x="62" y="591"/>
                  </a:lnTo>
                  <a:lnTo>
                    <a:pt x="62" y="589"/>
                  </a:lnTo>
                  <a:lnTo>
                    <a:pt x="64" y="587"/>
                  </a:lnTo>
                  <a:lnTo>
                    <a:pt x="64" y="586"/>
                  </a:lnTo>
                  <a:lnTo>
                    <a:pt x="62" y="586"/>
                  </a:lnTo>
                  <a:lnTo>
                    <a:pt x="60" y="587"/>
                  </a:lnTo>
                  <a:lnTo>
                    <a:pt x="60" y="589"/>
                  </a:lnTo>
                  <a:lnTo>
                    <a:pt x="60" y="591"/>
                  </a:lnTo>
                  <a:lnTo>
                    <a:pt x="60" y="593"/>
                  </a:lnTo>
                  <a:lnTo>
                    <a:pt x="61" y="597"/>
                  </a:lnTo>
                  <a:lnTo>
                    <a:pt x="60" y="598"/>
                  </a:lnTo>
                  <a:lnTo>
                    <a:pt x="59" y="598"/>
                  </a:lnTo>
                  <a:lnTo>
                    <a:pt x="59" y="595"/>
                  </a:lnTo>
                  <a:lnTo>
                    <a:pt x="59" y="592"/>
                  </a:lnTo>
                  <a:lnTo>
                    <a:pt x="59" y="593"/>
                  </a:lnTo>
                  <a:lnTo>
                    <a:pt x="59" y="595"/>
                  </a:lnTo>
                  <a:lnTo>
                    <a:pt x="58" y="595"/>
                  </a:lnTo>
                  <a:lnTo>
                    <a:pt x="56" y="594"/>
                  </a:lnTo>
                  <a:lnTo>
                    <a:pt x="56" y="592"/>
                  </a:lnTo>
                  <a:lnTo>
                    <a:pt x="56" y="589"/>
                  </a:lnTo>
                  <a:lnTo>
                    <a:pt x="56" y="588"/>
                  </a:lnTo>
                  <a:lnTo>
                    <a:pt x="56" y="591"/>
                  </a:lnTo>
                  <a:lnTo>
                    <a:pt x="55" y="595"/>
                  </a:lnTo>
                  <a:lnTo>
                    <a:pt x="55" y="597"/>
                  </a:lnTo>
                  <a:lnTo>
                    <a:pt x="54" y="598"/>
                  </a:lnTo>
                  <a:lnTo>
                    <a:pt x="54" y="597"/>
                  </a:lnTo>
                  <a:lnTo>
                    <a:pt x="54" y="593"/>
                  </a:lnTo>
                  <a:lnTo>
                    <a:pt x="54" y="591"/>
                  </a:lnTo>
                  <a:lnTo>
                    <a:pt x="53" y="593"/>
                  </a:lnTo>
                  <a:lnTo>
                    <a:pt x="53" y="595"/>
                  </a:lnTo>
                  <a:lnTo>
                    <a:pt x="53" y="599"/>
                  </a:lnTo>
                  <a:lnTo>
                    <a:pt x="52" y="599"/>
                  </a:lnTo>
                  <a:lnTo>
                    <a:pt x="50" y="598"/>
                  </a:lnTo>
                  <a:lnTo>
                    <a:pt x="50" y="595"/>
                  </a:lnTo>
                  <a:lnTo>
                    <a:pt x="50" y="593"/>
                  </a:lnTo>
                  <a:lnTo>
                    <a:pt x="50" y="592"/>
                  </a:lnTo>
                  <a:lnTo>
                    <a:pt x="49" y="593"/>
                  </a:lnTo>
                  <a:lnTo>
                    <a:pt x="48" y="592"/>
                  </a:lnTo>
                  <a:lnTo>
                    <a:pt x="47" y="592"/>
                  </a:lnTo>
                  <a:lnTo>
                    <a:pt x="47" y="593"/>
                  </a:lnTo>
                  <a:lnTo>
                    <a:pt x="46" y="594"/>
                  </a:lnTo>
                  <a:lnTo>
                    <a:pt x="44" y="595"/>
                  </a:lnTo>
                  <a:lnTo>
                    <a:pt x="43" y="597"/>
                  </a:lnTo>
                  <a:lnTo>
                    <a:pt x="43" y="594"/>
                  </a:lnTo>
                  <a:lnTo>
                    <a:pt x="44" y="593"/>
                  </a:lnTo>
                  <a:lnTo>
                    <a:pt x="42" y="594"/>
                  </a:lnTo>
                  <a:lnTo>
                    <a:pt x="40" y="594"/>
                  </a:lnTo>
                  <a:lnTo>
                    <a:pt x="41" y="593"/>
                  </a:lnTo>
                  <a:lnTo>
                    <a:pt x="43" y="591"/>
                  </a:lnTo>
                  <a:lnTo>
                    <a:pt x="43" y="589"/>
                  </a:lnTo>
                  <a:lnTo>
                    <a:pt x="44" y="591"/>
                  </a:lnTo>
                  <a:lnTo>
                    <a:pt x="46" y="591"/>
                  </a:lnTo>
                  <a:lnTo>
                    <a:pt x="47" y="589"/>
                  </a:lnTo>
                  <a:lnTo>
                    <a:pt x="49" y="589"/>
                  </a:lnTo>
                  <a:lnTo>
                    <a:pt x="50" y="588"/>
                  </a:lnTo>
                  <a:lnTo>
                    <a:pt x="53" y="587"/>
                  </a:lnTo>
                  <a:lnTo>
                    <a:pt x="56" y="586"/>
                  </a:lnTo>
                  <a:lnTo>
                    <a:pt x="59" y="585"/>
                  </a:lnTo>
                  <a:lnTo>
                    <a:pt x="60" y="586"/>
                  </a:lnTo>
                  <a:lnTo>
                    <a:pt x="64" y="585"/>
                  </a:lnTo>
                  <a:lnTo>
                    <a:pt x="65" y="585"/>
                  </a:lnTo>
                  <a:lnTo>
                    <a:pt x="67" y="585"/>
                  </a:lnTo>
                  <a:lnTo>
                    <a:pt x="71" y="585"/>
                  </a:lnTo>
                  <a:lnTo>
                    <a:pt x="73" y="585"/>
                  </a:lnTo>
                  <a:lnTo>
                    <a:pt x="74" y="586"/>
                  </a:lnTo>
                  <a:lnTo>
                    <a:pt x="77" y="586"/>
                  </a:lnTo>
                  <a:lnTo>
                    <a:pt x="79" y="586"/>
                  </a:lnTo>
                  <a:lnTo>
                    <a:pt x="80" y="587"/>
                  </a:lnTo>
                  <a:lnTo>
                    <a:pt x="83" y="587"/>
                  </a:lnTo>
                  <a:lnTo>
                    <a:pt x="85" y="587"/>
                  </a:lnTo>
                  <a:lnTo>
                    <a:pt x="90" y="587"/>
                  </a:lnTo>
                  <a:lnTo>
                    <a:pt x="94" y="587"/>
                  </a:lnTo>
                  <a:lnTo>
                    <a:pt x="94" y="589"/>
                  </a:lnTo>
                  <a:lnTo>
                    <a:pt x="95" y="588"/>
                  </a:lnTo>
                  <a:lnTo>
                    <a:pt x="96" y="588"/>
                  </a:lnTo>
                  <a:lnTo>
                    <a:pt x="97" y="588"/>
                  </a:lnTo>
                  <a:lnTo>
                    <a:pt x="100" y="588"/>
                  </a:lnTo>
                  <a:lnTo>
                    <a:pt x="101" y="588"/>
                  </a:lnTo>
                  <a:lnTo>
                    <a:pt x="102" y="589"/>
                  </a:lnTo>
                  <a:lnTo>
                    <a:pt x="103" y="589"/>
                  </a:lnTo>
                  <a:lnTo>
                    <a:pt x="105" y="589"/>
                  </a:lnTo>
                  <a:lnTo>
                    <a:pt x="109" y="589"/>
                  </a:lnTo>
                  <a:lnTo>
                    <a:pt x="113" y="588"/>
                  </a:lnTo>
                  <a:lnTo>
                    <a:pt x="115" y="588"/>
                  </a:lnTo>
                  <a:lnTo>
                    <a:pt x="117" y="588"/>
                  </a:lnTo>
                  <a:lnTo>
                    <a:pt x="118" y="588"/>
                  </a:lnTo>
                  <a:lnTo>
                    <a:pt x="118" y="589"/>
                  </a:lnTo>
                  <a:lnTo>
                    <a:pt x="119" y="589"/>
                  </a:lnTo>
                  <a:lnTo>
                    <a:pt x="120" y="589"/>
                  </a:lnTo>
                  <a:lnTo>
                    <a:pt x="121" y="589"/>
                  </a:lnTo>
                  <a:lnTo>
                    <a:pt x="123" y="588"/>
                  </a:lnTo>
                  <a:lnTo>
                    <a:pt x="124" y="587"/>
                  </a:lnTo>
                  <a:lnTo>
                    <a:pt x="126" y="587"/>
                  </a:lnTo>
                  <a:lnTo>
                    <a:pt x="129" y="586"/>
                  </a:lnTo>
                  <a:lnTo>
                    <a:pt x="132" y="586"/>
                  </a:lnTo>
                  <a:lnTo>
                    <a:pt x="136" y="583"/>
                  </a:lnTo>
                  <a:lnTo>
                    <a:pt x="139" y="582"/>
                  </a:lnTo>
                  <a:lnTo>
                    <a:pt x="139" y="581"/>
                  </a:lnTo>
                  <a:lnTo>
                    <a:pt x="137" y="582"/>
                  </a:lnTo>
                  <a:lnTo>
                    <a:pt x="133" y="583"/>
                  </a:lnTo>
                  <a:lnTo>
                    <a:pt x="138" y="580"/>
                  </a:lnTo>
                  <a:lnTo>
                    <a:pt x="137" y="580"/>
                  </a:lnTo>
                  <a:lnTo>
                    <a:pt x="133" y="580"/>
                  </a:lnTo>
                  <a:lnTo>
                    <a:pt x="132" y="580"/>
                  </a:lnTo>
                  <a:lnTo>
                    <a:pt x="137" y="579"/>
                  </a:lnTo>
                  <a:lnTo>
                    <a:pt x="138" y="579"/>
                  </a:lnTo>
                  <a:lnTo>
                    <a:pt x="139" y="577"/>
                  </a:lnTo>
                  <a:lnTo>
                    <a:pt x="139" y="576"/>
                  </a:lnTo>
                  <a:lnTo>
                    <a:pt x="142" y="576"/>
                  </a:lnTo>
                  <a:lnTo>
                    <a:pt x="143" y="576"/>
                  </a:lnTo>
                  <a:lnTo>
                    <a:pt x="142" y="577"/>
                  </a:lnTo>
                  <a:lnTo>
                    <a:pt x="142" y="579"/>
                  </a:lnTo>
                  <a:lnTo>
                    <a:pt x="145" y="580"/>
                  </a:lnTo>
                  <a:lnTo>
                    <a:pt x="145" y="581"/>
                  </a:lnTo>
                  <a:lnTo>
                    <a:pt x="149" y="581"/>
                  </a:lnTo>
                  <a:lnTo>
                    <a:pt x="151" y="580"/>
                  </a:lnTo>
                  <a:lnTo>
                    <a:pt x="158" y="579"/>
                  </a:lnTo>
                  <a:lnTo>
                    <a:pt x="159" y="579"/>
                  </a:lnTo>
                  <a:lnTo>
                    <a:pt x="160" y="579"/>
                  </a:lnTo>
                  <a:lnTo>
                    <a:pt x="161" y="579"/>
                  </a:lnTo>
                  <a:lnTo>
                    <a:pt x="164" y="580"/>
                  </a:lnTo>
                  <a:lnTo>
                    <a:pt x="166" y="579"/>
                  </a:lnTo>
                  <a:lnTo>
                    <a:pt x="167" y="577"/>
                  </a:lnTo>
                  <a:lnTo>
                    <a:pt x="167" y="576"/>
                  </a:lnTo>
                  <a:lnTo>
                    <a:pt x="170" y="576"/>
                  </a:lnTo>
                  <a:lnTo>
                    <a:pt x="172" y="576"/>
                  </a:lnTo>
                  <a:lnTo>
                    <a:pt x="173" y="575"/>
                  </a:lnTo>
                  <a:lnTo>
                    <a:pt x="176" y="575"/>
                  </a:lnTo>
                  <a:lnTo>
                    <a:pt x="177" y="575"/>
                  </a:lnTo>
                  <a:lnTo>
                    <a:pt x="179" y="568"/>
                  </a:lnTo>
                  <a:lnTo>
                    <a:pt x="182" y="567"/>
                  </a:lnTo>
                  <a:lnTo>
                    <a:pt x="182" y="564"/>
                  </a:lnTo>
                  <a:lnTo>
                    <a:pt x="180" y="562"/>
                  </a:lnTo>
                  <a:lnTo>
                    <a:pt x="179" y="559"/>
                  </a:lnTo>
                  <a:lnTo>
                    <a:pt x="178" y="559"/>
                  </a:lnTo>
                  <a:lnTo>
                    <a:pt x="177" y="561"/>
                  </a:lnTo>
                  <a:lnTo>
                    <a:pt x="174" y="561"/>
                  </a:lnTo>
                  <a:lnTo>
                    <a:pt x="173" y="562"/>
                  </a:lnTo>
                  <a:lnTo>
                    <a:pt x="172" y="563"/>
                  </a:lnTo>
                  <a:lnTo>
                    <a:pt x="172" y="564"/>
                  </a:lnTo>
                  <a:lnTo>
                    <a:pt x="172" y="567"/>
                  </a:lnTo>
                  <a:lnTo>
                    <a:pt x="171" y="569"/>
                  </a:lnTo>
                  <a:lnTo>
                    <a:pt x="170" y="569"/>
                  </a:lnTo>
                  <a:lnTo>
                    <a:pt x="168" y="568"/>
                  </a:lnTo>
                  <a:lnTo>
                    <a:pt x="168" y="567"/>
                  </a:lnTo>
                  <a:lnTo>
                    <a:pt x="168" y="564"/>
                  </a:lnTo>
                  <a:lnTo>
                    <a:pt x="167" y="563"/>
                  </a:lnTo>
                  <a:lnTo>
                    <a:pt x="166" y="564"/>
                  </a:lnTo>
                  <a:lnTo>
                    <a:pt x="166" y="567"/>
                  </a:lnTo>
                  <a:lnTo>
                    <a:pt x="165" y="568"/>
                  </a:lnTo>
                  <a:lnTo>
                    <a:pt x="165" y="569"/>
                  </a:lnTo>
                  <a:lnTo>
                    <a:pt x="165" y="568"/>
                  </a:lnTo>
                  <a:lnTo>
                    <a:pt x="164" y="567"/>
                  </a:lnTo>
                  <a:lnTo>
                    <a:pt x="165" y="565"/>
                  </a:lnTo>
                  <a:lnTo>
                    <a:pt x="164" y="564"/>
                  </a:lnTo>
                  <a:lnTo>
                    <a:pt x="164" y="563"/>
                  </a:lnTo>
                  <a:lnTo>
                    <a:pt x="164" y="562"/>
                  </a:lnTo>
                  <a:lnTo>
                    <a:pt x="164" y="561"/>
                  </a:lnTo>
                  <a:lnTo>
                    <a:pt x="162" y="562"/>
                  </a:lnTo>
                  <a:lnTo>
                    <a:pt x="162" y="561"/>
                  </a:lnTo>
                  <a:lnTo>
                    <a:pt x="161" y="561"/>
                  </a:lnTo>
                  <a:lnTo>
                    <a:pt x="160" y="561"/>
                  </a:lnTo>
                  <a:lnTo>
                    <a:pt x="160" y="562"/>
                  </a:lnTo>
                  <a:lnTo>
                    <a:pt x="159" y="561"/>
                  </a:lnTo>
                  <a:lnTo>
                    <a:pt x="159" y="559"/>
                  </a:lnTo>
                  <a:lnTo>
                    <a:pt x="159" y="561"/>
                  </a:lnTo>
                  <a:lnTo>
                    <a:pt x="158" y="562"/>
                  </a:lnTo>
                  <a:lnTo>
                    <a:pt x="159" y="565"/>
                  </a:lnTo>
                  <a:lnTo>
                    <a:pt x="158" y="567"/>
                  </a:lnTo>
                  <a:lnTo>
                    <a:pt x="158" y="564"/>
                  </a:lnTo>
                  <a:lnTo>
                    <a:pt x="156" y="563"/>
                  </a:lnTo>
                  <a:lnTo>
                    <a:pt x="156" y="561"/>
                  </a:lnTo>
                  <a:lnTo>
                    <a:pt x="156" y="558"/>
                  </a:lnTo>
                  <a:lnTo>
                    <a:pt x="156" y="557"/>
                  </a:lnTo>
                  <a:lnTo>
                    <a:pt x="155" y="558"/>
                  </a:lnTo>
                  <a:lnTo>
                    <a:pt x="155" y="559"/>
                  </a:lnTo>
                  <a:lnTo>
                    <a:pt x="153" y="559"/>
                  </a:lnTo>
                  <a:lnTo>
                    <a:pt x="153" y="561"/>
                  </a:lnTo>
                  <a:lnTo>
                    <a:pt x="153" y="564"/>
                  </a:lnTo>
                  <a:lnTo>
                    <a:pt x="153" y="568"/>
                  </a:lnTo>
                  <a:lnTo>
                    <a:pt x="151" y="564"/>
                  </a:lnTo>
                  <a:lnTo>
                    <a:pt x="151" y="562"/>
                  </a:lnTo>
                  <a:lnTo>
                    <a:pt x="151" y="559"/>
                  </a:lnTo>
                  <a:lnTo>
                    <a:pt x="151" y="556"/>
                  </a:lnTo>
                  <a:lnTo>
                    <a:pt x="150" y="556"/>
                  </a:lnTo>
                  <a:lnTo>
                    <a:pt x="150" y="561"/>
                  </a:lnTo>
                  <a:lnTo>
                    <a:pt x="149" y="562"/>
                  </a:lnTo>
                  <a:lnTo>
                    <a:pt x="149" y="559"/>
                  </a:lnTo>
                  <a:lnTo>
                    <a:pt x="148" y="559"/>
                  </a:lnTo>
                  <a:lnTo>
                    <a:pt x="148" y="562"/>
                  </a:lnTo>
                  <a:lnTo>
                    <a:pt x="147" y="565"/>
                  </a:lnTo>
                  <a:lnTo>
                    <a:pt x="145" y="563"/>
                  </a:lnTo>
                  <a:lnTo>
                    <a:pt x="145" y="562"/>
                  </a:lnTo>
                  <a:lnTo>
                    <a:pt x="145" y="559"/>
                  </a:lnTo>
                  <a:lnTo>
                    <a:pt x="145" y="552"/>
                  </a:lnTo>
                  <a:lnTo>
                    <a:pt x="144" y="552"/>
                  </a:lnTo>
                  <a:lnTo>
                    <a:pt x="143" y="554"/>
                  </a:lnTo>
                  <a:lnTo>
                    <a:pt x="143" y="557"/>
                  </a:lnTo>
                  <a:lnTo>
                    <a:pt x="144" y="561"/>
                  </a:lnTo>
                  <a:lnTo>
                    <a:pt x="144" y="564"/>
                  </a:lnTo>
                  <a:lnTo>
                    <a:pt x="143" y="567"/>
                  </a:lnTo>
                  <a:lnTo>
                    <a:pt x="143" y="565"/>
                  </a:lnTo>
                  <a:lnTo>
                    <a:pt x="142" y="563"/>
                  </a:lnTo>
                  <a:lnTo>
                    <a:pt x="141" y="564"/>
                  </a:lnTo>
                  <a:lnTo>
                    <a:pt x="139" y="562"/>
                  </a:lnTo>
                  <a:lnTo>
                    <a:pt x="139" y="559"/>
                  </a:lnTo>
                  <a:lnTo>
                    <a:pt x="139" y="557"/>
                  </a:lnTo>
                  <a:lnTo>
                    <a:pt x="141" y="556"/>
                  </a:lnTo>
                  <a:lnTo>
                    <a:pt x="139" y="554"/>
                  </a:lnTo>
                  <a:lnTo>
                    <a:pt x="138" y="557"/>
                  </a:lnTo>
                  <a:lnTo>
                    <a:pt x="138" y="562"/>
                  </a:lnTo>
                  <a:lnTo>
                    <a:pt x="138" y="563"/>
                  </a:lnTo>
                  <a:lnTo>
                    <a:pt x="137" y="564"/>
                  </a:lnTo>
                  <a:lnTo>
                    <a:pt x="137" y="562"/>
                  </a:lnTo>
                  <a:lnTo>
                    <a:pt x="137" y="561"/>
                  </a:lnTo>
                  <a:lnTo>
                    <a:pt x="136" y="563"/>
                  </a:lnTo>
                  <a:lnTo>
                    <a:pt x="136" y="565"/>
                  </a:lnTo>
                  <a:lnTo>
                    <a:pt x="136" y="567"/>
                  </a:lnTo>
                  <a:lnTo>
                    <a:pt x="136" y="569"/>
                  </a:lnTo>
                  <a:lnTo>
                    <a:pt x="133" y="567"/>
                  </a:lnTo>
                  <a:lnTo>
                    <a:pt x="133" y="568"/>
                  </a:lnTo>
                  <a:lnTo>
                    <a:pt x="133" y="569"/>
                  </a:lnTo>
                  <a:lnTo>
                    <a:pt x="133" y="570"/>
                  </a:lnTo>
                  <a:lnTo>
                    <a:pt x="131" y="570"/>
                  </a:lnTo>
                  <a:lnTo>
                    <a:pt x="132" y="567"/>
                  </a:lnTo>
                  <a:lnTo>
                    <a:pt x="132" y="564"/>
                  </a:lnTo>
                  <a:lnTo>
                    <a:pt x="132" y="562"/>
                  </a:lnTo>
                  <a:lnTo>
                    <a:pt x="131" y="561"/>
                  </a:lnTo>
                  <a:lnTo>
                    <a:pt x="130" y="562"/>
                  </a:lnTo>
                  <a:lnTo>
                    <a:pt x="130" y="563"/>
                  </a:lnTo>
                  <a:lnTo>
                    <a:pt x="131" y="565"/>
                  </a:lnTo>
                  <a:lnTo>
                    <a:pt x="131" y="568"/>
                  </a:lnTo>
                  <a:lnTo>
                    <a:pt x="131" y="569"/>
                  </a:lnTo>
                  <a:lnTo>
                    <a:pt x="130" y="570"/>
                  </a:lnTo>
                  <a:lnTo>
                    <a:pt x="129" y="570"/>
                  </a:lnTo>
                  <a:lnTo>
                    <a:pt x="129" y="569"/>
                  </a:lnTo>
                  <a:lnTo>
                    <a:pt x="129" y="568"/>
                  </a:lnTo>
                  <a:lnTo>
                    <a:pt x="127" y="565"/>
                  </a:lnTo>
                  <a:lnTo>
                    <a:pt x="127" y="563"/>
                  </a:lnTo>
                  <a:lnTo>
                    <a:pt x="126" y="563"/>
                  </a:lnTo>
                  <a:lnTo>
                    <a:pt x="124" y="564"/>
                  </a:lnTo>
                  <a:lnTo>
                    <a:pt x="124" y="568"/>
                  </a:lnTo>
                  <a:lnTo>
                    <a:pt x="124" y="569"/>
                  </a:lnTo>
                  <a:lnTo>
                    <a:pt x="123" y="569"/>
                  </a:lnTo>
                  <a:lnTo>
                    <a:pt x="121" y="565"/>
                  </a:lnTo>
                  <a:lnTo>
                    <a:pt x="115" y="567"/>
                  </a:lnTo>
                  <a:lnTo>
                    <a:pt x="118" y="565"/>
                  </a:lnTo>
                  <a:lnTo>
                    <a:pt x="120" y="564"/>
                  </a:lnTo>
                  <a:lnTo>
                    <a:pt x="120" y="563"/>
                  </a:lnTo>
                  <a:lnTo>
                    <a:pt x="123" y="562"/>
                  </a:lnTo>
                  <a:lnTo>
                    <a:pt x="124" y="561"/>
                  </a:lnTo>
                  <a:lnTo>
                    <a:pt x="127" y="561"/>
                  </a:lnTo>
                  <a:lnTo>
                    <a:pt x="129" y="558"/>
                  </a:lnTo>
                  <a:lnTo>
                    <a:pt x="131" y="557"/>
                  </a:lnTo>
                  <a:lnTo>
                    <a:pt x="133" y="556"/>
                  </a:lnTo>
                  <a:lnTo>
                    <a:pt x="136" y="554"/>
                  </a:lnTo>
                  <a:lnTo>
                    <a:pt x="147" y="550"/>
                  </a:lnTo>
                  <a:lnTo>
                    <a:pt x="147" y="548"/>
                  </a:lnTo>
                  <a:lnTo>
                    <a:pt x="145" y="548"/>
                  </a:lnTo>
                  <a:lnTo>
                    <a:pt x="144" y="548"/>
                  </a:lnTo>
                  <a:lnTo>
                    <a:pt x="142" y="550"/>
                  </a:lnTo>
                  <a:lnTo>
                    <a:pt x="141" y="550"/>
                  </a:lnTo>
                  <a:lnTo>
                    <a:pt x="138" y="551"/>
                  </a:lnTo>
                  <a:lnTo>
                    <a:pt x="137" y="552"/>
                  </a:lnTo>
                  <a:lnTo>
                    <a:pt x="137" y="550"/>
                  </a:lnTo>
                  <a:lnTo>
                    <a:pt x="136" y="548"/>
                  </a:lnTo>
                  <a:lnTo>
                    <a:pt x="136" y="547"/>
                  </a:lnTo>
                  <a:lnTo>
                    <a:pt x="135" y="547"/>
                  </a:lnTo>
                  <a:lnTo>
                    <a:pt x="137" y="545"/>
                  </a:lnTo>
                  <a:lnTo>
                    <a:pt x="137" y="542"/>
                  </a:lnTo>
                  <a:lnTo>
                    <a:pt x="138" y="541"/>
                  </a:lnTo>
                  <a:lnTo>
                    <a:pt x="138" y="540"/>
                  </a:lnTo>
                  <a:lnTo>
                    <a:pt x="138" y="538"/>
                  </a:lnTo>
                  <a:lnTo>
                    <a:pt x="137" y="536"/>
                  </a:lnTo>
                  <a:lnTo>
                    <a:pt x="136" y="536"/>
                  </a:lnTo>
                  <a:lnTo>
                    <a:pt x="136" y="539"/>
                  </a:lnTo>
                  <a:lnTo>
                    <a:pt x="136" y="541"/>
                  </a:lnTo>
                  <a:lnTo>
                    <a:pt x="135" y="542"/>
                  </a:lnTo>
                  <a:lnTo>
                    <a:pt x="135" y="541"/>
                  </a:lnTo>
                  <a:lnTo>
                    <a:pt x="133" y="540"/>
                  </a:lnTo>
                  <a:lnTo>
                    <a:pt x="132" y="540"/>
                  </a:lnTo>
                  <a:lnTo>
                    <a:pt x="131" y="541"/>
                  </a:lnTo>
                  <a:lnTo>
                    <a:pt x="130" y="540"/>
                  </a:lnTo>
                  <a:lnTo>
                    <a:pt x="130" y="541"/>
                  </a:lnTo>
                  <a:lnTo>
                    <a:pt x="129" y="541"/>
                  </a:lnTo>
                  <a:lnTo>
                    <a:pt x="126" y="541"/>
                  </a:lnTo>
                  <a:lnTo>
                    <a:pt x="127" y="540"/>
                  </a:lnTo>
                  <a:lnTo>
                    <a:pt x="130" y="539"/>
                  </a:lnTo>
                  <a:lnTo>
                    <a:pt x="130" y="536"/>
                  </a:lnTo>
                  <a:lnTo>
                    <a:pt x="130" y="535"/>
                  </a:lnTo>
                  <a:lnTo>
                    <a:pt x="129" y="533"/>
                  </a:lnTo>
                  <a:lnTo>
                    <a:pt x="129" y="534"/>
                  </a:lnTo>
                  <a:lnTo>
                    <a:pt x="127" y="535"/>
                  </a:lnTo>
                  <a:lnTo>
                    <a:pt x="126" y="538"/>
                  </a:lnTo>
                  <a:lnTo>
                    <a:pt x="127" y="538"/>
                  </a:lnTo>
                  <a:lnTo>
                    <a:pt x="127" y="539"/>
                  </a:lnTo>
                  <a:lnTo>
                    <a:pt x="126" y="539"/>
                  </a:lnTo>
                  <a:lnTo>
                    <a:pt x="124" y="538"/>
                  </a:lnTo>
                  <a:lnTo>
                    <a:pt x="123" y="536"/>
                  </a:lnTo>
                  <a:lnTo>
                    <a:pt x="123" y="539"/>
                  </a:lnTo>
                  <a:lnTo>
                    <a:pt x="123" y="542"/>
                  </a:lnTo>
                  <a:lnTo>
                    <a:pt x="121" y="544"/>
                  </a:lnTo>
                  <a:lnTo>
                    <a:pt x="120" y="542"/>
                  </a:lnTo>
                  <a:lnTo>
                    <a:pt x="120" y="540"/>
                  </a:lnTo>
                  <a:lnTo>
                    <a:pt x="119" y="539"/>
                  </a:lnTo>
                  <a:lnTo>
                    <a:pt x="119" y="535"/>
                  </a:lnTo>
                  <a:lnTo>
                    <a:pt x="118" y="533"/>
                  </a:lnTo>
                  <a:lnTo>
                    <a:pt x="117" y="533"/>
                  </a:lnTo>
                  <a:lnTo>
                    <a:pt x="114" y="533"/>
                  </a:lnTo>
                  <a:lnTo>
                    <a:pt x="114" y="538"/>
                  </a:lnTo>
                  <a:lnTo>
                    <a:pt x="113" y="542"/>
                  </a:lnTo>
                  <a:lnTo>
                    <a:pt x="113" y="541"/>
                  </a:lnTo>
                  <a:lnTo>
                    <a:pt x="112" y="538"/>
                  </a:lnTo>
                  <a:lnTo>
                    <a:pt x="112" y="533"/>
                  </a:lnTo>
                  <a:lnTo>
                    <a:pt x="111" y="533"/>
                  </a:lnTo>
                  <a:lnTo>
                    <a:pt x="111" y="536"/>
                  </a:lnTo>
                  <a:lnTo>
                    <a:pt x="109" y="536"/>
                  </a:lnTo>
                  <a:lnTo>
                    <a:pt x="109" y="539"/>
                  </a:lnTo>
                  <a:lnTo>
                    <a:pt x="108" y="539"/>
                  </a:lnTo>
                  <a:lnTo>
                    <a:pt x="107" y="536"/>
                  </a:lnTo>
                  <a:lnTo>
                    <a:pt x="107" y="533"/>
                  </a:lnTo>
                  <a:lnTo>
                    <a:pt x="106" y="535"/>
                  </a:lnTo>
                  <a:lnTo>
                    <a:pt x="105" y="538"/>
                  </a:lnTo>
                  <a:lnTo>
                    <a:pt x="103" y="536"/>
                  </a:lnTo>
                  <a:lnTo>
                    <a:pt x="102" y="535"/>
                  </a:lnTo>
                  <a:lnTo>
                    <a:pt x="101" y="534"/>
                  </a:lnTo>
                  <a:lnTo>
                    <a:pt x="99" y="535"/>
                  </a:lnTo>
                  <a:lnTo>
                    <a:pt x="97" y="535"/>
                  </a:lnTo>
                  <a:lnTo>
                    <a:pt x="96" y="535"/>
                  </a:lnTo>
                  <a:lnTo>
                    <a:pt x="95" y="535"/>
                  </a:lnTo>
                  <a:lnTo>
                    <a:pt x="95" y="536"/>
                  </a:lnTo>
                  <a:lnTo>
                    <a:pt x="92" y="534"/>
                  </a:lnTo>
                  <a:lnTo>
                    <a:pt x="91" y="535"/>
                  </a:lnTo>
                  <a:lnTo>
                    <a:pt x="90" y="533"/>
                  </a:lnTo>
                  <a:lnTo>
                    <a:pt x="91" y="530"/>
                  </a:lnTo>
                  <a:lnTo>
                    <a:pt x="90" y="529"/>
                  </a:lnTo>
                  <a:lnTo>
                    <a:pt x="91" y="528"/>
                  </a:lnTo>
                  <a:lnTo>
                    <a:pt x="90" y="528"/>
                  </a:lnTo>
                  <a:lnTo>
                    <a:pt x="89" y="529"/>
                  </a:lnTo>
                  <a:lnTo>
                    <a:pt x="90" y="530"/>
                  </a:lnTo>
                  <a:lnTo>
                    <a:pt x="89" y="533"/>
                  </a:lnTo>
                  <a:lnTo>
                    <a:pt x="90" y="535"/>
                  </a:lnTo>
                  <a:lnTo>
                    <a:pt x="90" y="539"/>
                  </a:lnTo>
                  <a:lnTo>
                    <a:pt x="88" y="539"/>
                  </a:lnTo>
                  <a:lnTo>
                    <a:pt x="88" y="538"/>
                  </a:lnTo>
                  <a:lnTo>
                    <a:pt x="88" y="534"/>
                  </a:lnTo>
                  <a:lnTo>
                    <a:pt x="86" y="533"/>
                  </a:lnTo>
                  <a:lnTo>
                    <a:pt x="85" y="532"/>
                  </a:lnTo>
                  <a:lnTo>
                    <a:pt x="85" y="533"/>
                  </a:lnTo>
                  <a:lnTo>
                    <a:pt x="85" y="536"/>
                  </a:lnTo>
                  <a:lnTo>
                    <a:pt x="85" y="538"/>
                  </a:lnTo>
                  <a:lnTo>
                    <a:pt x="85" y="539"/>
                  </a:lnTo>
                  <a:lnTo>
                    <a:pt x="84" y="540"/>
                  </a:lnTo>
                  <a:lnTo>
                    <a:pt x="83" y="539"/>
                  </a:lnTo>
                  <a:lnTo>
                    <a:pt x="83" y="536"/>
                  </a:lnTo>
                  <a:lnTo>
                    <a:pt x="83" y="534"/>
                  </a:lnTo>
                  <a:lnTo>
                    <a:pt x="83" y="533"/>
                  </a:lnTo>
                  <a:lnTo>
                    <a:pt x="82" y="535"/>
                  </a:lnTo>
                  <a:lnTo>
                    <a:pt x="80" y="536"/>
                  </a:lnTo>
                  <a:lnTo>
                    <a:pt x="82" y="538"/>
                  </a:lnTo>
                  <a:lnTo>
                    <a:pt x="79" y="538"/>
                  </a:lnTo>
                  <a:lnTo>
                    <a:pt x="80" y="539"/>
                  </a:lnTo>
                  <a:lnTo>
                    <a:pt x="80" y="540"/>
                  </a:lnTo>
                  <a:lnTo>
                    <a:pt x="80" y="542"/>
                  </a:lnTo>
                  <a:lnTo>
                    <a:pt x="80" y="545"/>
                  </a:lnTo>
                  <a:lnTo>
                    <a:pt x="79" y="544"/>
                  </a:lnTo>
                  <a:lnTo>
                    <a:pt x="79" y="542"/>
                  </a:lnTo>
                  <a:lnTo>
                    <a:pt x="78" y="544"/>
                  </a:lnTo>
                  <a:lnTo>
                    <a:pt x="77" y="544"/>
                  </a:lnTo>
                  <a:lnTo>
                    <a:pt x="76" y="541"/>
                  </a:lnTo>
                  <a:lnTo>
                    <a:pt x="77" y="540"/>
                  </a:lnTo>
                  <a:lnTo>
                    <a:pt x="73" y="540"/>
                  </a:lnTo>
                  <a:lnTo>
                    <a:pt x="72" y="540"/>
                  </a:lnTo>
                  <a:lnTo>
                    <a:pt x="72" y="539"/>
                  </a:lnTo>
                  <a:lnTo>
                    <a:pt x="74" y="538"/>
                  </a:lnTo>
                  <a:lnTo>
                    <a:pt x="74" y="536"/>
                  </a:lnTo>
                  <a:lnTo>
                    <a:pt x="73" y="536"/>
                  </a:lnTo>
                  <a:lnTo>
                    <a:pt x="73" y="535"/>
                  </a:lnTo>
                  <a:lnTo>
                    <a:pt x="76" y="536"/>
                  </a:lnTo>
                  <a:lnTo>
                    <a:pt x="79" y="535"/>
                  </a:lnTo>
                  <a:lnTo>
                    <a:pt x="80" y="532"/>
                  </a:lnTo>
                  <a:lnTo>
                    <a:pt x="78" y="532"/>
                  </a:lnTo>
                  <a:lnTo>
                    <a:pt x="79" y="532"/>
                  </a:lnTo>
                  <a:lnTo>
                    <a:pt x="82" y="529"/>
                  </a:lnTo>
                  <a:lnTo>
                    <a:pt x="83" y="528"/>
                  </a:lnTo>
                  <a:lnTo>
                    <a:pt x="88" y="527"/>
                  </a:lnTo>
                  <a:lnTo>
                    <a:pt x="90" y="524"/>
                  </a:lnTo>
                  <a:lnTo>
                    <a:pt x="92" y="523"/>
                  </a:lnTo>
                  <a:lnTo>
                    <a:pt x="97" y="522"/>
                  </a:lnTo>
                  <a:lnTo>
                    <a:pt x="102" y="522"/>
                  </a:lnTo>
                  <a:lnTo>
                    <a:pt x="105" y="522"/>
                  </a:lnTo>
                  <a:lnTo>
                    <a:pt x="105" y="521"/>
                  </a:lnTo>
                  <a:lnTo>
                    <a:pt x="103" y="518"/>
                  </a:lnTo>
                  <a:lnTo>
                    <a:pt x="106" y="518"/>
                  </a:lnTo>
                  <a:lnTo>
                    <a:pt x="107" y="518"/>
                  </a:lnTo>
                  <a:lnTo>
                    <a:pt x="111" y="518"/>
                  </a:lnTo>
                  <a:lnTo>
                    <a:pt x="112" y="518"/>
                  </a:lnTo>
                  <a:lnTo>
                    <a:pt x="112" y="515"/>
                  </a:lnTo>
                  <a:lnTo>
                    <a:pt x="111" y="514"/>
                  </a:lnTo>
                  <a:lnTo>
                    <a:pt x="107" y="512"/>
                  </a:lnTo>
                  <a:lnTo>
                    <a:pt x="107" y="515"/>
                  </a:lnTo>
                  <a:lnTo>
                    <a:pt x="107" y="516"/>
                  </a:lnTo>
                  <a:lnTo>
                    <a:pt x="106" y="515"/>
                  </a:lnTo>
                  <a:lnTo>
                    <a:pt x="105" y="512"/>
                  </a:lnTo>
                  <a:lnTo>
                    <a:pt x="105" y="514"/>
                  </a:lnTo>
                  <a:lnTo>
                    <a:pt x="105" y="516"/>
                  </a:lnTo>
                  <a:lnTo>
                    <a:pt x="103" y="516"/>
                  </a:lnTo>
                  <a:lnTo>
                    <a:pt x="103" y="514"/>
                  </a:lnTo>
                  <a:lnTo>
                    <a:pt x="102" y="514"/>
                  </a:lnTo>
                  <a:lnTo>
                    <a:pt x="102" y="516"/>
                  </a:lnTo>
                  <a:lnTo>
                    <a:pt x="101" y="517"/>
                  </a:lnTo>
                  <a:lnTo>
                    <a:pt x="101" y="520"/>
                  </a:lnTo>
                  <a:lnTo>
                    <a:pt x="100" y="521"/>
                  </a:lnTo>
                  <a:lnTo>
                    <a:pt x="99" y="521"/>
                  </a:lnTo>
                  <a:lnTo>
                    <a:pt x="99" y="518"/>
                  </a:lnTo>
                  <a:lnTo>
                    <a:pt x="97" y="517"/>
                  </a:lnTo>
                  <a:lnTo>
                    <a:pt x="96" y="516"/>
                  </a:lnTo>
                  <a:lnTo>
                    <a:pt x="96" y="515"/>
                  </a:lnTo>
                  <a:lnTo>
                    <a:pt x="95" y="514"/>
                  </a:lnTo>
                  <a:lnTo>
                    <a:pt x="92" y="515"/>
                  </a:lnTo>
                  <a:lnTo>
                    <a:pt x="92" y="516"/>
                  </a:lnTo>
                  <a:lnTo>
                    <a:pt x="90" y="518"/>
                  </a:lnTo>
                  <a:lnTo>
                    <a:pt x="89" y="518"/>
                  </a:lnTo>
                  <a:lnTo>
                    <a:pt x="88" y="520"/>
                  </a:lnTo>
                  <a:lnTo>
                    <a:pt x="86" y="517"/>
                  </a:lnTo>
                  <a:lnTo>
                    <a:pt x="86" y="518"/>
                  </a:lnTo>
                  <a:lnTo>
                    <a:pt x="85" y="520"/>
                  </a:lnTo>
                  <a:lnTo>
                    <a:pt x="85" y="521"/>
                  </a:lnTo>
                  <a:lnTo>
                    <a:pt x="84" y="521"/>
                  </a:lnTo>
                  <a:lnTo>
                    <a:pt x="83" y="517"/>
                  </a:lnTo>
                  <a:lnTo>
                    <a:pt x="83" y="515"/>
                  </a:lnTo>
                  <a:lnTo>
                    <a:pt x="83" y="516"/>
                  </a:lnTo>
                  <a:lnTo>
                    <a:pt x="82" y="516"/>
                  </a:lnTo>
                  <a:lnTo>
                    <a:pt x="80" y="514"/>
                  </a:lnTo>
                  <a:lnTo>
                    <a:pt x="79" y="517"/>
                  </a:lnTo>
                  <a:lnTo>
                    <a:pt x="78" y="518"/>
                  </a:lnTo>
                  <a:lnTo>
                    <a:pt x="78" y="522"/>
                  </a:lnTo>
                  <a:lnTo>
                    <a:pt x="77" y="523"/>
                  </a:lnTo>
                  <a:lnTo>
                    <a:pt x="76" y="522"/>
                  </a:lnTo>
                  <a:lnTo>
                    <a:pt x="76" y="520"/>
                  </a:lnTo>
                  <a:lnTo>
                    <a:pt x="76" y="516"/>
                  </a:lnTo>
                  <a:lnTo>
                    <a:pt x="74" y="515"/>
                  </a:lnTo>
                  <a:lnTo>
                    <a:pt x="73" y="515"/>
                  </a:lnTo>
                  <a:lnTo>
                    <a:pt x="73" y="517"/>
                  </a:lnTo>
                  <a:lnTo>
                    <a:pt x="73" y="521"/>
                  </a:lnTo>
                  <a:lnTo>
                    <a:pt x="73" y="522"/>
                  </a:lnTo>
                  <a:lnTo>
                    <a:pt x="72" y="521"/>
                  </a:lnTo>
                  <a:lnTo>
                    <a:pt x="71" y="518"/>
                  </a:lnTo>
                  <a:lnTo>
                    <a:pt x="71" y="517"/>
                  </a:lnTo>
                  <a:lnTo>
                    <a:pt x="70" y="515"/>
                  </a:lnTo>
                  <a:lnTo>
                    <a:pt x="70" y="516"/>
                  </a:lnTo>
                  <a:lnTo>
                    <a:pt x="68" y="517"/>
                  </a:lnTo>
                  <a:lnTo>
                    <a:pt x="66" y="517"/>
                  </a:lnTo>
                  <a:lnTo>
                    <a:pt x="65" y="517"/>
                  </a:lnTo>
                  <a:lnTo>
                    <a:pt x="64" y="517"/>
                  </a:lnTo>
                  <a:lnTo>
                    <a:pt x="62" y="518"/>
                  </a:lnTo>
                  <a:lnTo>
                    <a:pt x="61" y="521"/>
                  </a:lnTo>
                  <a:lnTo>
                    <a:pt x="60" y="523"/>
                  </a:lnTo>
                  <a:lnTo>
                    <a:pt x="59" y="526"/>
                  </a:lnTo>
                  <a:lnTo>
                    <a:pt x="59" y="524"/>
                  </a:lnTo>
                  <a:lnTo>
                    <a:pt x="56" y="524"/>
                  </a:lnTo>
                  <a:lnTo>
                    <a:pt x="56" y="522"/>
                  </a:lnTo>
                  <a:lnTo>
                    <a:pt x="56" y="520"/>
                  </a:lnTo>
                  <a:lnTo>
                    <a:pt x="54" y="521"/>
                  </a:lnTo>
                  <a:lnTo>
                    <a:pt x="53" y="522"/>
                  </a:lnTo>
                  <a:lnTo>
                    <a:pt x="52" y="521"/>
                  </a:lnTo>
                  <a:lnTo>
                    <a:pt x="53" y="520"/>
                  </a:lnTo>
                  <a:lnTo>
                    <a:pt x="54" y="518"/>
                  </a:lnTo>
                  <a:lnTo>
                    <a:pt x="56" y="515"/>
                  </a:lnTo>
                  <a:lnTo>
                    <a:pt x="58" y="514"/>
                  </a:lnTo>
                  <a:lnTo>
                    <a:pt x="59" y="511"/>
                  </a:lnTo>
                  <a:lnTo>
                    <a:pt x="59" y="509"/>
                  </a:lnTo>
                  <a:lnTo>
                    <a:pt x="60" y="506"/>
                  </a:lnTo>
                  <a:lnTo>
                    <a:pt x="59" y="508"/>
                  </a:lnTo>
                  <a:lnTo>
                    <a:pt x="58" y="511"/>
                  </a:lnTo>
                  <a:lnTo>
                    <a:pt x="58" y="510"/>
                  </a:lnTo>
                  <a:lnTo>
                    <a:pt x="56" y="506"/>
                  </a:lnTo>
                  <a:lnTo>
                    <a:pt x="55" y="506"/>
                  </a:lnTo>
                  <a:lnTo>
                    <a:pt x="55" y="504"/>
                  </a:lnTo>
                  <a:lnTo>
                    <a:pt x="55" y="502"/>
                  </a:lnTo>
                  <a:lnTo>
                    <a:pt x="58" y="499"/>
                  </a:lnTo>
                  <a:lnTo>
                    <a:pt x="59" y="498"/>
                  </a:lnTo>
                  <a:lnTo>
                    <a:pt x="58" y="498"/>
                  </a:lnTo>
                  <a:lnTo>
                    <a:pt x="55" y="498"/>
                  </a:lnTo>
                  <a:lnTo>
                    <a:pt x="54" y="498"/>
                  </a:lnTo>
                  <a:lnTo>
                    <a:pt x="54" y="503"/>
                  </a:lnTo>
                  <a:lnTo>
                    <a:pt x="53" y="508"/>
                  </a:lnTo>
                  <a:lnTo>
                    <a:pt x="53" y="509"/>
                  </a:lnTo>
                  <a:lnTo>
                    <a:pt x="52" y="508"/>
                  </a:lnTo>
                  <a:lnTo>
                    <a:pt x="52" y="505"/>
                  </a:lnTo>
                  <a:lnTo>
                    <a:pt x="52" y="502"/>
                  </a:lnTo>
                  <a:lnTo>
                    <a:pt x="50" y="499"/>
                  </a:lnTo>
                  <a:lnTo>
                    <a:pt x="50" y="502"/>
                  </a:lnTo>
                  <a:lnTo>
                    <a:pt x="50" y="504"/>
                  </a:lnTo>
                  <a:lnTo>
                    <a:pt x="49" y="505"/>
                  </a:lnTo>
                  <a:lnTo>
                    <a:pt x="49" y="506"/>
                  </a:lnTo>
                  <a:lnTo>
                    <a:pt x="49" y="510"/>
                  </a:lnTo>
                  <a:lnTo>
                    <a:pt x="48" y="511"/>
                  </a:lnTo>
                  <a:lnTo>
                    <a:pt x="47" y="511"/>
                  </a:lnTo>
                  <a:lnTo>
                    <a:pt x="47" y="509"/>
                  </a:lnTo>
                  <a:lnTo>
                    <a:pt x="47" y="505"/>
                  </a:lnTo>
                  <a:lnTo>
                    <a:pt x="46" y="504"/>
                  </a:lnTo>
                  <a:lnTo>
                    <a:pt x="44" y="503"/>
                  </a:lnTo>
                  <a:lnTo>
                    <a:pt x="43" y="502"/>
                  </a:lnTo>
                  <a:lnTo>
                    <a:pt x="43" y="504"/>
                  </a:lnTo>
                  <a:lnTo>
                    <a:pt x="41" y="505"/>
                  </a:lnTo>
                  <a:lnTo>
                    <a:pt x="41" y="503"/>
                  </a:lnTo>
                  <a:lnTo>
                    <a:pt x="41" y="502"/>
                  </a:lnTo>
                  <a:lnTo>
                    <a:pt x="40" y="502"/>
                  </a:lnTo>
                  <a:lnTo>
                    <a:pt x="38" y="504"/>
                  </a:lnTo>
                  <a:lnTo>
                    <a:pt x="37" y="503"/>
                  </a:lnTo>
                  <a:lnTo>
                    <a:pt x="37" y="502"/>
                  </a:lnTo>
                  <a:lnTo>
                    <a:pt x="38" y="500"/>
                  </a:lnTo>
                  <a:lnTo>
                    <a:pt x="41" y="500"/>
                  </a:lnTo>
                  <a:lnTo>
                    <a:pt x="43" y="499"/>
                  </a:lnTo>
                  <a:lnTo>
                    <a:pt x="46" y="498"/>
                  </a:lnTo>
                  <a:lnTo>
                    <a:pt x="48" y="497"/>
                  </a:lnTo>
                  <a:lnTo>
                    <a:pt x="49" y="497"/>
                  </a:lnTo>
                  <a:lnTo>
                    <a:pt x="52" y="497"/>
                  </a:lnTo>
                  <a:lnTo>
                    <a:pt x="54" y="496"/>
                  </a:lnTo>
                  <a:lnTo>
                    <a:pt x="58" y="494"/>
                  </a:lnTo>
                  <a:lnTo>
                    <a:pt x="61" y="494"/>
                  </a:lnTo>
                  <a:lnTo>
                    <a:pt x="62" y="494"/>
                  </a:lnTo>
                  <a:lnTo>
                    <a:pt x="64" y="493"/>
                  </a:lnTo>
                  <a:lnTo>
                    <a:pt x="65" y="493"/>
                  </a:lnTo>
                  <a:lnTo>
                    <a:pt x="71" y="492"/>
                  </a:lnTo>
                  <a:lnTo>
                    <a:pt x="70" y="491"/>
                  </a:lnTo>
                  <a:lnTo>
                    <a:pt x="71" y="491"/>
                  </a:lnTo>
                  <a:lnTo>
                    <a:pt x="72" y="492"/>
                  </a:lnTo>
                  <a:lnTo>
                    <a:pt x="73" y="492"/>
                  </a:lnTo>
                  <a:lnTo>
                    <a:pt x="77" y="492"/>
                  </a:lnTo>
                  <a:lnTo>
                    <a:pt x="76" y="490"/>
                  </a:lnTo>
                  <a:lnTo>
                    <a:pt x="77" y="491"/>
                  </a:lnTo>
                  <a:lnTo>
                    <a:pt x="79" y="491"/>
                  </a:lnTo>
                  <a:lnTo>
                    <a:pt x="82" y="491"/>
                  </a:lnTo>
                  <a:lnTo>
                    <a:pt x="90" y="490"/>
                  </a:lnTo>
                  <a:lnTo>
                    <a:pt x="95" y="488"/>
                  </a:lnTo>
                  <a:lnTo>
                    <a:pt x="99" y="490"/>
                  </a:lnTo>
                  <a:lnTo>
                    <a:pt x="102" y="490"/>
                  </a:lnTo>
                  <a:lnTo>
                    <a:pt x="103" y="488"/>
                  </a:lnTo>
                  <a:lnTo>
                    <a:pt x="102" y="487"/>
                  </a:lnTo>
                  <a:lnTo>
                    <a:pt x="101" y="487"/>
                  </a:lnTo>
                  <a:lnTo>
                    <a:pt x="102" y="486"/>
                  </a:lnTo>
                  <a:lnTo>
                    <a:pt x="102" y="484"/>
                  </a:lnTo>
                  <a:lnTo>
                    <a:pt x="103" y="482"/>
                  </a:lnTo>
                  <a:lnTo>
                    <a:pt x="105" y="481"/>
                  </a:lnTo>
                  <a:lnTo>
                    <a:pt x="102" y="479"/>
                  </a:lnTo>
                  <a:lnTo>
                    <a:pt x="102" y="476"/>
                  </a:lnTo>
                  <a:lnTo>
                    <a:pt x="101" y="475"/>
                  </a:lnTo>
                  <a:lnTo>
                    <a:pt x="101" y="478"/>
                  </a:lnTo>
                  <a:lnTo>
                    <a:pt x="99" y="479"/>
                  </a:lnTo>
                  <a:lnTo>
                    <a:pt x="97" y="480"/>
                  </a:lnTo>
                  <a:lnTo>
                    <a:pt x="97" y="484"/>
                  </a:lnTo>
                  <a:lnTo>
                    <a:pt x="96" y="485"/>
                  </a:lnTo>
                  <a:lnTo>
                    <a:pt x="95" y="485"/>
                  </a:lnTo>
                  <a:lnTo>
                    <a:pt x="94" y="485"/>
                  </a:lnTo>
                  <a:lnTo>
                    <a:pt x="92" y="484"/>
                  </a:lnTo>
                  <a:lnTo>
                    <a:pt x="91" y="482"/>
                  </a:lnTo>
                  <a:lnTo>
                    <a:pt x="91" y="481"/>
                  </a:lnTo>
                  <a:lnTo>
                    <a:pt x="91" y="482"/>
                  </a:lnTo>
                  <a:lnTo>
                    <a:pt x="90" y="484"/>
                  </a:lnTo>
                  <a:lnTo>
                    <a:pt x="90" y="482"/>
                  </a:lnTo>
                  <a:lnTo>
                    <a:pt x="89" y="481"/>
                  </a:lnTo>
                  <a:lnTo>
                    <a:pt x="88" y="481"/>
                  </a:lnTo>
                  <a:lnTo>
                    <a:pt x="84" y="484"/>
                  </a:lnTo>
                  <a:lnTo>
                    <a:pt x="84" y="482"/>
                  </a:lnTo>
                  <a:lnTo>
                    <a:pt x="85" y="481"/>
                  </a:lnTo>
                  <a:lnTo>
                    <a:pt x="88" y="479"/>
                  </a:lnTo>
                  <a:lnTo>
                    <a:pt x="89" y="478"/>
                  </a:lnTo>
                  <a:lnTo>
                    <a:pt x="89" y="475"/>
                  </a:lnTo>
                  <a:lnTo>
                    <a:pt x="89" y="474"/>
                  </a:lnTo>
                  <a:lnTo>
                    <a:pt x="88" y="472"/>
                  </a:lnTo>
                  <a:lnTo>
                    <a:pt x="85" y="472"/>
                  </a:lnTo>
                  <a:lnTo>
                    <a:pt x="84" y="472"/>
                  </a:lnTo>
                  <a:lnTo>
                    <a:pt x="84" y="473"/>
                  </a:lnTo>
                  <a:lnTo>
                    <a:pt x="83" y="473"/>
                  </a:lnTo>
                  <a:lnTo>
                    <a:pt x="80" y="470"/>
                  </a:lnTo>
                  <a:lnTo>
                    <a:pt x="79" y="468"/>
                  </a:lnTo>
                  <a:lnTo>
                    <a:pt x="79" y="470"/>
                  </a:lnTo>
                  <a:lnTo>
                    <a:pt x="80" y="473"/>
                  </a:lnTo>
                  <a:lnTo>
                    <a:pt x="80" y="474"/>
                  </a:lnTo>
                  <a:lnTo>
                    <a:pt x="79" y="478"/>
                  </a:lnTo>
                  <a:lnTo>
                    <a:pt x="78" y="478"/>
                  </a:lnTo>
                  <a:lnTo>
                    <a:pt x="79" y="480"/>
                  </a:lnTo>
                  <a:lnTo>
                    <a:pt x="78" y="481"/>
                  </a:lnTo>
                  <a:lnTo>
                    <a:pt x="77" y="481"/>
                  </a:lnTo>
                  <a:lnTo>
                    <a:pt x="77" y="482"/>
                  </a:lnTo>
                  <a:lnTo>
                    <a:pt x="74" y="482"/>
                  </a:lnTo>
                  <a:lnTo>
                    <a:pt x="73" y="481"/>
                  </a:lnTo>
                  <a:lnTo>
                    <a:pt x="72" y="481"/>
                  </a:lnTo>
                  <a:lnTo>
                    <a:pt x="71" y="482"/>
                  </a:lnTo>
                  <a:lnTo>
                    <a:pt x="68" y="481"/>
                  </a:lnTo>
                  <a:lnTo>
                    <a:pt x="68" y="480"/>
                  </a:lnTo>
                  <a:lnTo>
                    <a:pt x="68" y="479"/>
                  </a:lnTo>
                  <a:lnTo>
                    <a:pt x="66" y="479"/>
                  </a:lnTo>
                  <a:lnTo>
                    <a:pt x="64" y="478"/>
                  </a:lnTo>
                  <a:lnTo>
                    <a:pt x="66" y="476"/>
                  </a:lnTo>
                  <a:lnTo>
                    <a:pt x="68" y="475"/>
                  </a:lnTo>
                  <a:lnTo>
                    <a:pt x="72" y="473"/>
                  </a:lnTo>
                  <a:lnTo>
                    <a:pt x="72" y="470"/>
                  </a:lnTo>
                  <a:lnTo>
                    <a:pt x="73" y="468"/>
                  </a:lnTo>
                  <a:lnTo>
                    <a:pt x="76" y="467"/>
                  </a:lnTo>
                  <a:lnTo>
                    <a:pt x="74" y="466"/>
                  </a:lnTo>
                  <a:lnTo>
                    <a:pt x="77" y="464"/>
                  </a:lnTo>
                  <a:lnTo>
                    <a:pt x="78" y="464"/>
                  </a:lnTo>
                  <a:lnTo>
                    <a:pt x="79" y="462"/>
                  </a:lnTo>
                  <a:lnTo>
                    <a:pt x="82" y="462"/>
                  </a:lnTo>
                  <a:lnTo>
                    <a:pt x="83" y="461"/>
                  </a:lnTo>
                  <a:lnTo>
                    <a:pt x="86" y="460"/>
                  </a:lnTo>
                  <a:lnTo>
                    <a:pt x="90" y="460"/>
                  </a:lnTo>
                  <a:lnTo>
                    <a:pt x="95" y="458"/>
                  </a:lnTo>
                  <a:lnTo>
                    <a:pt x="97" y="458"/>
                  </a:lnTo>
                  <a:lnTo>
                    <a:pt x="97" y="456"/>
                  </a:lnTo>
                  <a:lnTo>
                    <a:pt x="97" y="455"/>
                  </a:lnTo>
                  <a:lnTo>
                    <a:pt x="95" y="455"/>
                  </a:lnTo>
                  <a:lnTo>
                    <a:pt x="95" y="454"/>
                  </a:lnTo>
                  <a:lnTo>
                    <a:pt x="95" y="451"/>
                  </a:lnTo>
                  <a:lnTo>
                    <a:pt x="94" y="451"/>
                  </a:lnTo>
                  <a:lnTo>
                    <a:pt x="92" y="452"/>
                  </a:lnTo>
                  <a:lnTo>
                    <a:pt x="91" y="455"/>
                  </a:lnTo>
                  <a:lnTo>
                    <a:pt x="90" y="456"/>
                  </a:lnTo>
                  <a:lnTo>
                    <a:pt x="89" y="455"/>
                  </a:lnTo>
                  <a:lnTo>
                    <a:pt x="90" y="452"/>
                  </a:lnTo>
                  <a:lnTo>
                    <a:pt x="90" y="451"/>
                  </a:lnTo>
                  <a:lnTo>
                    <a:pt x="88" y="451"/>
                  </a:lnTo>
                  <a:lnTo>
                    <a:pt x="85" y="451"/>
                  </a:lnTo>
                  <a:lnTo>
                    <a:pt x="88" y="450"/>
                  </a:lnTo>
                  <a:lnTo>
                    <a:pt x="89" y="449"/>
                  </a:lnTo>
                  <a:lnTo>
                    <a:pt x="91" y="447"/>
                  </a:lnTo>
                  <a:lnTo>
                    <a:pt x="92" y="449"/>
                  </a:lnTo>
                  <a:lnTo>
                    <a:pt x="95" y="447"/>
                  </a:lnTo>
                  <a:lnTo>
                    <a:pt x="96" y="449"/>
                  </a:lnTo>
                  <a:lnTo>
                    <a:pt x="99" y="449"/>
                  </a:lnTo>
                  <a:lnTo>
                    <a:pt x="100" y="447"/>
                  </a:lnTo>
                  <a:lnTo>
                    <a:pt x="101" y="447"/>
                  </a:lnTo>
                  <a:lnTo>
                    <a:pt x="103" y="446"/>
                  </a:lnTo>
                  <a:lnTo>
                    <a:pt x="105" y="446"/>
                  </a:lnTo>
                  <a:lnTo>
                    <a:pt x="106" y="445"/>
                  </a:lnTo>
                  <a:lnTo>
                    <a:pt x="107" y="444"/>
                  </a:lnTo>
                  <a:lnTo>
                    <a:pt x="107" y="443"/>
                  </a:lnTo>
                  <a:lnTo>
                    <a:pt x="108" y="441"/>
                  </a:lnTo>
                  <a:lnTo>
                    <a:pt x="109" y="443"/>
                  </a:lnTo>
                  <a:lnTo>
                    <a:pt x="111" y="441"/>
                  </a:lnTo>
                  <a:lnTo>
                    <a:pt x="111" y="439"/>
                  </a:lnTo>
                  <a:lnTo>
                    <a:pt x="109" y="439"/>
                  </a:lnTo>
                  <a:lnTo>
                    <a:pt x="108" y="439"/>
                  </a:lnTo>
                  <a:lnTo>
                    <a:pt x="111" y="437"/>
                  </a:lnTo>
                  <a:lnTo>
                    <a:pt x="112" y="435"/>
                  </a:lnTo>
                  <a:lnTo>
                    <a:pt x="117" y="431"/>
                  </a:lnTo>
                  <a:lnTo>
                    <a:pt x="118" y="429"/>
                  </a:lnTo>
                  <a:lnTo>
                    <a:pt x="120" y="428"/>
                  </a:lnTo>
                  <a:lnTo>
                    <a:pt x="120" y="426"/>
                  </a:lnTo>
                  <a:lnTo>
                    <a:pt x="118" y="425"/>
                  </a:lnTo>
                  <a:lnTo>
                    <a:pt x="117" y="423"/>
                  </a:lnTo>
                  <a:lnTo>
                    <a:pt x="117" y="426"/>
                  </a:lnTo>
                  <a:lnTo>
                    <a:pt x="117" y="427"/>
                  </a:lnTo>
                  <a:lnTo>
                    <a:pt x="114" y="427"/>
                  </a:lnTo>
                  <a:lnTo>
                    <a:pt x="114" y="428"/>
                  </a:lnTo>
                  <a:lnTo>
                    <a:pt x="114" y="431"/>
                  </a:lnTo>
                  <a:lnTo>
                    <a:pt x="113" y="431"/>
                  </a:lnTo>
                  <a:lnTo>
                    <a:pt x="113" y="432"/>
                  </a:lnTo>
                  <a:lnTo>
                    <a:pt x="112" y="433"/>
                  </a:lnTo>
                  <a:lnTo>
                    <a:pt x="112" y="432"/>
                  </a:lnTo>
                  <a:lnTo>
                    <a:pt x="111" y="429"/>
                  </a:lnTo>
                  <a:lnTo>
                    <a:pt x="111" y="428"/>
                  </a:lnTo>
                  <a:lnTo>
                    <a:pt x="112" y="427"/>
                  </a:lnTo>
                  <a:lnTo>
                    <a:pt x="111" y="426"/>
                  </a:lnTo>
                  <a:lnTo>
                    <a:pt x="109" y="426"/>
                  </a:lnTo>
                  <a:lnTo>
                    <a:pt x="108" y="427"/>
                  </a:lnTo>
                  <a:lnTo>
                    <a:pt x="107" y="428"/>
                  </a:lnTo>
                  <a:lnTo>
                    <a:pt x="108" y="432"/>
                  </a:lnTo>
                  <a:lnTo>
                    <a:pt x="107" y="433"/>
                  </a:lnTo>
                  <a:lnTo>
                    <a:pt x="106" y="432"/>
                  </a:lnTo>
                  <a:lnTo>
                    <a:pt x="106" y="431"/>
                  </a:lnTo>
                  <a:lnTo>
                    <a:pt x="106" y="428"/>
                  </a:lnTo>
                  <a:lnTo>
                    <a:pt x="105" y="428"/>
                  </a:lnTo>
                  <a:lnTo>
                    <a:pt x="103" y="429"/>
                  </a:lnTo>
                  <a:lnTo>
                    <a:pt x="103" y="428"/>
                  </a:lnTo>
                  <a:lnTo>
                    <a:pt x="102" y="429"/>
                  </a:lnTo>
                  <a:lnTo>
                    <a:pt x="102" y="431"/>
                  </a:lnTo>
                  <a:lnTo>
                    <a:pt x="101" y="432"/>
                  </a:lnTo>
                  <a:lnTo>
                    <a:pt x="100" y="432"/>
                  </a:lnTo>
                  <a:lnTo>
                    <a:pt x="100" y="431"/>
                  </a:lnTo>
                  <a:lnTo>
                    <a:pt x="100" y="428"/>
                  </a:lnTo>
                  <a:lnTo>
                    <a:pt x="100" y="426"/>
                  </a:lnTo>
                  <a:lnTo>
                    <a:pt x="99" y="426"/>
                  </a:lnTo>
                  <a:lnTo>
                    <a:pt x="97" y="427"/>
                  </a:lnTo>
                  <a:lnTo>
                    <a:pt x="99" y="429"/>
                  </a:lnTo>
                  <a:lnTo>
                    <a:pt x="99" y="431"/>
                  </a:lnTo>
                  <a:lnTo>
                    <a:pt x="99" y="432"/>
                  </a:lnTo>
                  <a:lnTo>
                    <a:pt x="99" y="435"/>
                  </a:lnTo>
                  <a:lnTo>
                    <a:pt x="97" y="437"/>
                  </a:lnTo>
                  <a:lnTo>
                    <a:pt x="96" y="438"/>
                  </a:lnTo>
                  <a:lnTo>
                    <a:pt x="95" y="437"/>
                  </a:lnTo>
                  <a:lnTo>
                    <a:pt x="95" y="438"/>
                  </a:lnTo>
                  <a:lnTo>
                    <a:pt x="94" y="439"/>
                  </a:lnTo>
                  <a:lnTo>
                    <a:pt x="92" y="439"/>
                  </a:lnTo>
                  <a:lnTo>
                    <a:pt x="92" y="435"/>
                  </a:lnTo>
                  <a:lnTo>
                    <a:pt x="92" y="433"/>
                  </a:lnTo>
                  <a:lnTo>
                    <a:pt x="92" y="432"/>
                  </a:lnTo>
                  <a:lnTo>
                    <a:pt x="94" y="429"/>
                  </a:lnTo>
                  <a:lnTo>
                    <a:pt x="94" y="428"/>
                  </a:lnTo>
                  <a:lnTo>
                    <a:pt x="95" y="426"/>
                  </a:lnTo>
                  <a:lnTo>
                    <a:pt x="95" y="422"/>
                  </a:lnTo>
                  <a:lnTo>
                    <a:pt x="95" y="419"/>
                  </a:lnTo>
                  <a:lnTo>
                    <a:pt x="94" y="417"/>
                  </a:lnTo>
                  <a:lnTo>
                    <a:pt x="91" y="417"/>
                  </a:lnTo>
                  <a:lnTo>
                    <a:pt x="91" y="420"/>
                  </a:lnTo>
                  <a:lnTo>
                    <a:pt x="91" y="422"/>
                  </a:lnTo>
                  <a:lnTo>
                    <a:pt x="90" y="422"/>
                  </a:lnTo>
                  <a:lnTo>
                    <a:pt x="89" y="421"/>
                  </a:lnTo>
                  <a:lnTo>
                    <a:pt x="89" y="419"/>
                  </a:lnTo>
                  <a:lnTo>
                    <a:pt x="86" y="416"/>
                  </a:lnTo>
                  <a:lnTo>
                    <a:pt x="86" y="415"/>
                  </a:lnTo>
                  <a:lnTo>
                    <a:pt x="86" y="416"/>
                  </a:lnTo>
                  <a:lnTo>
                    <a:pt x="86" y="420"/>
                  </a:lnTo>
                  <a:lnTo>
                    <a:pt x="86" y="422"/>
                  </a:lnTo>
                  <a:lnTo>
                    <a:pt x="84" y="421"/>
                  </a:lnTo>
                  <a:lnTo>
                    <a:pt x="84" y="419"/>
                  </a:lnTo>
                  <a:lnTo>
                    <a:pt x="83" y="416"/>
                  </a:lnTo>
                  <a:lnTo>
                    <a:pt x="82" y="415"/>
                  </a:lnTo>
                  <a:lnTo>
                    <a:pt x="82" y="417"/>
                  </a:lnTo>
                  <a:lnTo>
                    <a:pt x="82" y="421"/>
                  </a:lnTo>
                  <a:lnTo>
                    <a:pt x="82" y="423"/>
                  </a:lnTo>
                  <a:lnTo>
                    <a:pt x="80" y="422"/>
                  </a:lnTo>
                  <a:lnTo>
                    <a:pt x="79" y="419"/>
                  </a:lnTo>
                  <a:lnTo>
                    <a:pt x="79" y="416"/>
                  </a:lnTo>
                  <a:lnTo>
                    <a:pt x="79" y="414"/>
                  </a:lnTo>
                  <a:lnTo>
                    <a:pt x="79" y="411"/>
                  </a:lnTo>
                  <a:lnTo>
                    <a:pt x="80" y="408"/>
                  </a:lnTo>
                  <a:lnTo>
                    <a:pt x="79" y="408"/>
                  </a:lnTo>
                  <a:lnTo>
                    <a:pt x="77" y="408"/>
                  </a:lnTo>
                  <a:lnTo>
                    <a:pt x="76" y="409"/>
                  </a:lnTo>
                  <a:lnTo>
                    <a:pt x="77" y="407"/>
                  </a:lnTo>
                  <a:lnTo>
                    <a:pt x="77" y="405"/>
                  </a:lnTo>
                  <a:lnTo>
                    <a:pt x="74" y="405"/>
                  </a:lnTo>
                  <a:lnTo>
                    <a:pt x="73" y="405"/>
                  </a:lnTo>
                  <a:lnTo>
                    <a:pt x="74" y="404"/>
                  </a:lnTo>
                  <a:lnTo>
                    <a:pt x="76" y="403"/>
                  </a:lnTo>
                  <a:lnTo>
                    <a:pt x="76" y="402"/>
                  </a:lnTo>
                  <a:lnTo>
                    <a:pt x="77" y="403"/>
                  </a:lnTo>
                  <a:lnTo>
                    <a:pt x="77" y="404"/>
                  </a:lnTo>
                  <a:lnTo>
                    <a:pt x="79" y="405"/>
                  </a:lnTo>
                  <a:lnTo>
                    <a:pt x="79" y="404"/>
                  </a:lnTo>
                  <a:lnTo>
                    <a:pt x="80" y="404"/>
                  </a:lnTo>
                  <a:lnTo>
                    <a:pt x="82" y="404"/>
                  </a:lnTo>
                  <a:lnTo>
                    <a:pt x="83" y="405"/>
                  </a:lnTo>
                  <a:lnTo>
                    <a:pt x="84" y="404"/>
                  </a:lnTo>
                  <a:lnTo>
                    <a:pt x="85" y="404"/>
                  </a:lnTo>
                  <a:lnTo>
                    <a:pt x="85" y="407"/>
                  </a:lnTo>
                  <a:lnTo>
                    <a:pt x="86" y="407"/>
                  </a:lnTo>
                  <a:lnTo>
                    <a:pt x="88" y="405"/>
                  </a:lnTo>
                  <a:lnTo>
                    <a:pt x="89" y="407"/>
                  </a:lnTo>
                  <a:lnTo>
                    <a:pt x="90" y="408"/>
                  </a:lnTo>
                  <a:lnTo>
                    <a:pt x="92" y="409"/>
                  </a:lnTo>
                  <a:lnTo>
                    <a:pt x="94" y="410"/>
                  </a:lnTo>
                  <a:lnTo>
                    <a:pt x="99" y="410"/>
                  </a:lnTo>
                  <a:lnTo>
                    <a:pt x="102" y="410"/>
                  </a:lnTo>
                  <a:lnTo>
                    <a:pt x="105" y="410"/>
                  </a:lnTo>
                  <a:lnTo>
                    <a:pt x="108" y="411"/>
                  </a:lnTo>
                  <a:lnTo>
                    <a:pt x="113" y="411"/>
                  </a:lnTo>
                  <a:lnTo>
                    <a:pt x="117" y="411"/>
                  </a:lnTo>
                  <a:lnTo>
                    <a:pt x="120" y="413"/>
                  </a:lnTo>
                  <a:lnTo>
                    <a:pt x="124" y="411"/>
                  </a:lnTo>
                  <a:lnTo>
                    <a:pt x="126" y="413"/>
                  </a:lnTo>
                  <a:lnTo>
                    <a:pt x="129" y="414"/>
                  </a:lnTo>
                  <a:lnTo>
                    <a:pt x="133" y="413"/>
                  </a:lnTo>
                  <a:lnTo>
                    <a:pt x="137" y="413"/>
                  </a:lnTo>
                  <a:lnTo>
                    <a:pt x="138" y="411"/>
                  </a:lnTo>
                  <a:lnTo>
                    <a:pt x="141" y="411"/>
                  </a:lnTo>
                  <a:lnTo>
                    <a:pt x="143" y="409"/>
                  </a:lnTo>
                  <a:lnTo>
                    <a:pt x="143" y="407"/>
                  </a:lnTo>
                  <a:lnTo>
                    <a:pt x="144" y="407"/>
                  </a:lnTo>
                  <a:lnTo>
                    <a:pt x="148" y="407"/>
                  </a:lnTo>
                  <a:lnTo>
                    <a:pt x="150" y="408"/>
                  </a:lnTo>
                  <a:lnTo>
                    <a:pt x="151" y="409"/>
                  </a:lnTo>
                  <a:lnTo>
                    <a:pt x="154" y="409"/>
                  </a:lnTo>
                  <a:lnTo>
                    <a:pt x="155" y="409"/>
                  </a:lnTo>
                  <a:lnTo>
                    <a:pt x="159" y="407"/>
                  </a:lnTo>
                  <a:lnTo>
                    <a:pt x="162" y="404"/>
                  </a:lnTo>
                  <a:lnTo>
                    <a:pt x="166" y="402"/>
                  </a:lnTo>
                  <a:lnTo>
                    <a:pt x="168" y="399"/>
                  </a:lnTo>
                  <a:lnTo>
                    <a:pt x="172" y="397"/>
                  </a:lnTo>
                  <a:lnTo>
                    <a:pt x="174" y="395"/>
                  </a:lnTo>
                  <a:lnTo>
                    <a:pt x="173" y="393"/>
                  </a:lnTo>
                  <a:lnTo>
                    <a:pt x="171" y="393"/>
                  </a:lnTo>
                  <a:lnTo>
                    <a:pt x="171" y="392"/>
                  </a:lnTo>
                  <a:lnTo>
                    <a:pt x="173" y="391"/>
                  </a:lnTo>
                  <a:lnTo>
                    <a:pt x="174" y="390"/>
                  </a:lnTo>
                  <a:lnTo>
                    <a:pt x="176" y="387"/>
                  </a:lnTo>
                  <a:lnTo>
                    <a:pt x="174" y="387"/>
                  </a:lnTo>
                  <a:lnTo>
                    <a:pt x="173" y="389"/>
                  </a:lnTo>
                  <a:lnTo>
                    <a:pt x="172" y="390"/>
                  </a:lnTo>
                  <a:lnTo>
                    <a:pt x="171" y="391"/>
                  </a:lnTo>
                  <a:lnTo>
                    <a:pt x="170" y="390"/>
                  </a:lnTo>
                  <a:lnTo>
                    <a:pt x="168" y="389"/>
                  </a:lnTo>
                  <a:lnTo>
                    <a:pt x="167" y="389"/>
                  </a:lnTo>
                  <a:lnTo>
                    <a:pt x="168" y="390"/>
                  </a:lnTo>
                  <a:lnTo>
                    <a:pt x="167" y="391"/>
                  </a:lnTo>
                  <a:lnTo>
                    <a:pt x="168" y="395"/>
                  </a:lnTo>
                  <a:lnTo>
                    <a:pt x="168" y="396"/>
                  </a:lnTo>
                  <a:lnTo>
                    <a:pt x="167" y="397"/>
                  </a:lnTo>
                  <a:lnTo>
                    <a:pt x="166" y="396"/>
                  </a:lnTo>
                  <a:lnTo>
                    <a:pt x="166" y="393"/>
                  </a:lnTo>
                  <a:lnTo>
                    <a:pt x="164" y="392"/>
                  </a:lnTo>
                  <a:lnTo>
                    <a:pt x="162" y="391"/>
                  </a:lnTo>
                  <a:lnTo>
                    <a:pt x="161" y="390"/>
                  </a:lnTo>
                  <a:lnTo>
                    <a:pt x="160" y="391"/>
                  </a:lnTo>
                  <a:lnTo>
                    <a:pt x="160" y="393"/>
                  </a:lnTo>
                  <a:lnTo>
                    <a:pt x="159" y="396"/>
                  </a:lnTo>
                  <a:lnTo>
                    <a:pt x="158" y="395"/>
                  </a:lnTo>
                  <a:lnTo>
                    <a:pt x="158" y="391"/>
                  </a:lnTo>
                  <a:lnTo>
                    <a:pt x="156" y="390"/>
                  </a:lnTo>
                  <a:lnTo>
                    <a:pt x="156" y="391"/>
                  </a:lnTo>
                  <a:lnTo>
                    <a:pt x="156" y="392"/>
                  </a:lnTo>
                  <a:lnTo>
                    <a:pt x="154" y="390"/>
                  </a:lnTo>
                  <a:lnTo>
                    <a:pt x="154" y="389"/>
                  </a:lnTo>
                  <a:lnTo>
                    <a:pt x="154" y="393"/>
                  </a:lnTo>
                  <a:lnTo>
                    <a:pt x="154" y="396"/>
                  </a:lnTo>
                  <a:lnTo>
                    <a:pt x="153" y="396"/>
                  </a:lnTo>
                  <a:lnTo>
                    <a:pt x="151" y="395"/>
                  </a:lnTo>
                  <a:lnTo>
                    <a:pt x="149" y="391"/>
                  </a:lnTo>
                  <a:lnTo>
                    <a:pt x="148" y="390"/>
                  </a:lnTo>
                  <a:lnTo>
                    <a:pt x="148" y="393"/>
                  </a:lnTo>
                  <a:lnTo>
                    <a:pt x="148" y="397"/>
                  </a:lnTo>
                  <a:lnTo>
                    <a:pt x="147" y="395"/>
                  </a:lnTo>
                  <a:lnTo>
                    <a:pt x="145" y="392"/>
                  </a:lnTo>
                  <a:lnTo>
                    <a:pt x="145" y="390"/>
                  </a:lnTo>
                  <a:lnTo>
                    <a:pt x="143" y="387"/>
                  </a:lnTo>
                  <a:lnTo>
                    <a:pt x="143" y="393"/>
                  </a:lnTo>
                  <a:lnTo>
                    <a:pt x="144" y="396"/>
                  </a:lnTo>
                  <a:lnTo>
                    <a:pt x="142" y="395"/>
                  </a:lnTo>
                  <a:lnTo>
                    <a:pt x="141" y="392"/>
                  </a:lnTo>
                  <a:lnTo>
                    <a:pt x="142" y="396"/>
                  </a:lnTo>
                  <a:lnTo>
                    <a:pt x="142" y="397"/>
                  </a:lnTo>
                  <a:lnTo>
                    <a:pt x="141" y="398"/>
                  </a:lnTo>
                  <a:lnTo>
                    <a:pt x="139" y="397"/>
                  </a:lnTo>
                  <a:lnTo>
                    <a:pt x="139" y="395"/>
                  </a:lnTo>
                  <a:lnTo>
                    <a:pt x="138" y="395"/>
                  </a:lnTo>
                  <a:lnTo>
                    <a:pt x="136" y="393"/>
                  </a:lnTo>
                  <a:lnTo>
                    <a:pt x="136" y="392"/>
                  </a:lnTo>
                  <a:lnTo>
                    <a:pt x="135" y="395"/>
                  </a:lnTo>
                  <a:lnTo>
                    <a:pt x="137" y="397"/>
                  </a:lnTo>
                  <a:lnTo>
                    <a:pt x="137" y="398"/>
                  </a:lnTo>
                  <a:lnTo>
                    <a:pt x="136" y="397"/>
                  </a:lnTo>
                  <a:lnTo>
                    <a:pt x="135" y="396"/>
                  </a:lnTo>
                  <a:lnTo>
                    <a:pt x="132" y="395"/>
                  </a:lnTo>
                  <a:lnTo>
                    <a:pt x="132" y="399"/>
                  </a:lnTo>
                  <a:lnTo>
                    <a:pt x="130" y="401"/>
                  </a:lnTo>
                  <a:lnTo>
                    <a:pt x="130" y="402"/>
                  </a:lnTo>
                  <a:lnTo>
                    <a:pt x="129" y="402"/>
                  </a:lnTo>
                  <a:lnTo>
                    <a:pt x="127" y="402"/>
                  </a:lnTo>
                  <a:lnTo>
                    <a:pt x="126" y="401"/>
                  </a:lnTo>
                  <a:lnTo>
                    <a:pt x="126" y="399"/>
                  </a:lnTo>
                  <a:lnTo>
                    <a:pt x="125" y="399"/>
                  </a:lnTo>
                  <a:lnTo>
                    <a:pt x="125" y="401"/>
                  </a:lnTo>
                  <a:lnTo>
                    <a:pt x="125" y="402"/>
                  </a:lnTo>
                  <a:lnTo>
                    <a:pt x="126" y="403"/>
                  </a:lnTo>
                  <a:lnTo>
                    <a:pt x="126" y="405"/>
                  </a:lnTo>
                  <a:lnTo>
                    <a:pt x="125" y="408"/>
                  </a:lnTo>
                  <a:lnTo>
                    <a:pt x="124" y="407"/>
                  </a:lnTo>
                  <a:lnTo>
                    <a:pt x="124" y="404"/>
                  </a:lnTo>
                  <a:lnTo>
                    <a:pt x="124" y="403"/>
                  </a:lnTo>
                  <a:lnTo>
                    <a:pt x="123" y="401"/>
                  </a:lnTo>
                  <a:lnTo>
                    <a:pt x="123" y="403"/>
                  </a:lnTo>
                  <a:lnTo>
                    <a:pt x="121" y="403"/>
                  </a:lnTo>
                  <a:lnTo>
                    <a:pt x="120" y="403"/>
                  </a:lnTo>
                  <a:lnTo>
                    <a:pt x="120" y="402"/>
                  </a:lnTo>
                  <a:lnTo>
                    <a:pt x="120" y="399"/>
                  </a:lnTo>
                  <a:lnTo>
                    <a:pt x="119" y="397"/>
                  </a:lnTo>
                  <a:lnTo>
                    <a:pt x="119" y="396"/>
                  </a:lnTo>
                  <a:lnTo>
                    <a:pt x="119" y="401"/>
                  </a:lnTo>
                  <a:lnTo>
                    <a:pt x="119" y="404"/>
                  </a:lnTo>
                  <a:lnTo>
                    <a:pt x="119" y="405"/>
                  </a:lnTo>
                  <a:lnTo>
                    <a:pt x="117" y="408"/>
                  </a:lnTo>
                  <a:lnTo>
                    <a:pt x="115" y="408"/>
                  </a:lnTo>
                  <a:lnTo>
                    <a:pt x="113" y="408"/>
                  </a:lnTo>
                  <a:lnTo>
                    <a:pt x="113" y="405"/>
                  </a:lnTo>
                  <a:lnTo>
                    <a:pt x="113" y="403"/>
                  </a:lnTo>
                  <a:lnTo>
                    <a:pt x="113" y="401"/>
                  </a:lnTo>
                  <a:lnTo>
                    <a:pt x="112" y="403"/>
                  </a:lnTo>
                  <a:lnTo>
                    <a:pt x="112" y="404"/>
                  </a:lnTo>
                  <a:lnTo>
                    <a:pt x="111" y="403"/>
                  </a:lnTo>
                  <a:lnTo>
                    <a:pt x="109" y="403"/>
                  </a:lnTo>
                  <a:lnTo>
                    <a:pt x="108" y="405"/>
                  </a:lnTo>
                  <a:lnTo>
                    <a:pt x="107" y="408"/>
                  </a:lnTo>
                  <a:lnTo>
                    <a:pt x="107" y="405"/>
                  </a:lnTo>
                  <a:lnTo>
                    <a:pt x="106" y="404"/>
                  </a:lnTo>
                  <a:lnTo>
                    <a:pt x="102" y="407"/>
                  </a:lnTo>
                  <a:lnTo>
                    <a:pt x="103" y="405"/>
                  </a:lnTo>
                  <a:lnTo>
                    <a:pt x="105" y="404"/>
                  </a:lnTo>
                  <a:lnTo>
                    <a:pt x="103" y="402"/>
                  </a:lnTo>
                  <a:lnTo>
                    <a:pt x="105" y="402"/>
                  </a:lnTo>
                  <a:lnTo>
                    <a:pt x="108" y="402"/>
                  </a:lnTo>
                  <a:lnTo>
                    <a:pt x="109" y="402"/>
                  </a:lnTo>
                  <a:lnTo>
                    <a:pt x="106" y="401"/>
                  </a:lnTo>
                  <a:lnTo>
                    <a:pt x="107" y="399"/>
                  </a:lnTo>
                  <a:lnTo>
                    <a:pt x="109" y="399"/>
                  </a:lnTo>
                  <a:lnTo>
                    <a:pt x="112" y="399"/>
                  </a:lnTo>
                  <a:lnTo>
                    <a:pt x="113" y="398"/>
                  </a:lnTo>
                  <a:lnTo>
                    <a:pt x="112" y="397"/>
                  </a:lnTo>
                  <a:lnTo>
                    <a:pt x="113" y="396"/>
                  </a:lnTo>
                  <a:lnTo>
                    <a:pt x="115" y="395"/>
                  </a:lnTo>
                  <a:lnTo>
                    <a:pt x="118" y="393"/>
                  </a:lnTo>
                  <a:lnTo>
                    <a:pt x="119" y="393"/>
                  </a:lnTo>
                  <a:lnTo>
                    <a:pt x="118" y="392"/>
                  </a:lnTo>
                  <a:lnTo>
                    <a:pt x="119" y="391"/>
                  </a:lnTo>
                  <a:lnTo>
                    <a:pt x="120" y="390"/>
                  </a:lnTo>
                  <a:lnTo>
                    <a:pt x="121" y="389"/>
                  </a:lnTo>
                  <a:lnTo>
                    <a:pt x="124" y="387"/>
                  </a:lnTo>
                  <a:lnTo>
                    <a:pt x="125" y="386"/>
                  </a:lnTo>
                  <a:lnTo>
                    <a:pt x="125" y="384"/>
                  </a:lnTo>
                  <a:lnTo>
                    <a:pt x="124" y="383"/>
                  </a:lnTo>
                  <a:lnTo>
                    <a:pt x="123" y="381"/>
                  </a:lnTo>
                  <a:lnTo>
                    <a:pt x="123" y="383"/>
                  </a:lnTo>
                  <a:lnTo>
                    <a:pt x="121" y="386"/>
                  </a:lnTo>
                  <a:lnTo>
                    <a:pt x="120" y="386"/>
                  </a:lnTo>
                  <a:lnTo>
                    <a:pt x="119" y="389"/>
                  </a:lnTo>
                  <a:lnTo>
                    <a:pt x="119" y="387"/>
                  </a:lnTo>
                  <a:lnTo>
                    <a:pt x="118" y="385"/>
                  </a:lnTo>
                  <a:lnTo>
                    <a:pt x="117" y="386"/>
                  </a:lnTo>
                  <a:lnTo>
                    <a:pt x="117" y="385"/>
                  </a:lnTo>
                  <a:lnTo>
                    <a:pt x="117" y="384"/>
                  </a:lnTo>
                  <a:lnTo>
                    <a:pt x="115" y="383"/>
                  </a:lnTo>
                  <a:lnTo>
                    <a:pt x="118" y="383"/>
                  </a:lnTo>
                  <a:lnTo>
                    <a:pt x="119" y="381"/>
                  </a:lnTo>
                  <a:lnTo>
                    <a:pt x="121" y="379"/>
                  </a:lnTo>
                  <a:lnTo>
                    <a:pt x="119" y="379"/>
                  </a:lnTo>
                  <a:lnTo>
                    <a:pt x="118" y="378"/>
                  </a:lnTo>
                  <a:lnTo>
                    <a:pt x="120" y="378"/>
                  </a:lnTo>
                  <a:lnTo>
                    <a:pt x="123" y="378"/>
                  </a:lnTo>
                  <a:lnTo>
                    <a:pt x="126" y="378"/>
                  </a:lnTo>
                  <a:lnTo>
                    <a:pt x="130" y="377"/>
                  </a:lnTo>
                  <a:lnTo>
                    <a:pt x="135" y="374"/>
                  </a:lnTo>
                  <a:lnTo>
                    <a:pt x="138" y="373"/>
                  </a:lnTo>
                  <a:lnTo>
                    <a:pt x="143" y="371"/>
                  </a:lnTo>
                  <a:lnTo>
                    <a:pt x="147" y="369"/>
                  </a:lnTo>
                  <a:lnTo>
                    <a:pt x="150" y="368"/>
                  </a:lnTo>
                  <a:lnTo>
                    <a:pt x="154" y="368"/>
                  </a:lnTo>
                  <a:lnTo>
                    <a:pt x="158" y="367"/>
                  </a:lnTo>
                  <a:lnTo>
                    <a:pt x="160" y="367"/>
                  </a:lnTo>
                  <a:lnTo>
                    <a:pt x="160" y="365"/>
                  </a:lnTo>
                  <a:lnTo>
                    <a:pt x="159" y="365"/>
                  </a:lnTo>
                  <a:lnTo>
                    <a:pt x="158" y="363"/>
                  </a:lnTo>
                  <a:lnTo>
                    <a:pt x="162" y="362"/>
                  </a:lnTo>
                  <a:lnTo>
                    <a:pt x="165" y="362"/>
                  </a:lnTo>
                  <a:lnTo>
                    <a:pt x="167" y="361"/>
                  </a:lnTo>
                  <a:lnTo>
                    <a:pt x="168" y="361"/>
                  </a:lnTo>
                  <a:lnTo>
                    <a:pt x="170" y="359"/>
                  </a:lnTo>
                  <a:lnTo>
                    <a:pt x="170" y="356"/>
                  </a:lnTo>
                  <a:lnTo>
                    <a:pt x="168" y="354"/>
                  </a:lnTo>
                  <a:lnTo>
                    <a:pt x="167" y="351"/>
                  </a:lnTo>
                  <a:lnTo>
                    <a:pt x="165" y="349"/>
                  </a:lnTo>
                  <a:lnTo>
                    <a:pt x="165" y="351"/>
                  </a:lnTo>
                  <a:lnTo>
                    <a:pt x="165" y="353"/>
                  </a:lnTo>
                  <a:lnTo>
                    <a:pt x="164" y="354"/>
                  </a:lnTo>
                  <a:lnTo>
                    <a:pt x="161" y="353"/>
                  </a:lnTo>
                  <a:lnTo>
                    <a:pt x="161" y="354"/>
                  </a:lnTo>
                  <a:lnTo>
                    <a:pt x="160" y="355"/>
                  </a:lnTo>
                  <a:lnTo>
                    <a:pt x="159" y="355"/>
                  </a:lnTo>
                  <a:lnTo>
                    <a:pt x="158" y="353"/>
                  </a:lnTo>
                  <a:lnTo>
                    <a:pt x="156" y="350"/>
                  </a:lnTo>
                  <a:lnTo>
                    <a:pt x="158" y="355"/>
                  </a:lnTo>
                  <a:lnTo>
                    <a:pt x="155" y="356"/>
                  </a:lnTo>
                  <a:lnTo>
                    <a:pt x="155" y="355"/>
                  </a:lnTo>
                  <a:lnTo>
                    <a:pt x="154" y="353"/>
                  </a:lnTo>
                  <a:lnTo>
                    <a:pt x="153" y="350"/>
                  </a:lnTo>
                  <a:lnTo>
                    <a:pt x="153" y="353"/>
                  </a:lnTo>
                  <a:lnTo>
                    <a:pt x="150" y="355"/>
                  </a:lnTo>
                  <a:lnTo>
                    <a:pt x="150" y="353"/>
                  </a:lnTo>
                  <a:lnTo>
                    <a:pt x="149" y="351"/>
                  </a:lnTo>
                  <a:lnTo>
                    <a:pt x="150" y="355"/>
                  </a:lnTo>
                  <a:lnTo>
                    <a:pt x="150" y="357"/>
                  </a:lnTo>
                  <a:lnTo>
                    <a:pt x="148" y="359"/>
                  </a:lnTo>
                  <a:lnTo>
                    <a:pt x="147" y="359"/>
                  </a:lnTo>
                  <a:lnTo>
                    <a:pt x="147" y="356"/>
                  </a:lnTo>
                  <a:lnTo>
                    <a:pt x="145" y="353"/>
                  </a:lnTo>
                  <a:lnTo>
                    <a:pt x="144" y="354"/>
                  </a:lnTo>
                  <a:lnTo>
                    <a:pt x="144" y="356"/>
                  </a:lnTo>
                  <a:lnTo>
                    <a:pt x="142" y="356"/>
                  </a:lnTo>
                  <a:lnTo>
                    <a:pt x="142" y="355"/>
                  </a:lnTo>
                  <a:lnTo>
                    <a:pt x="141" y="356"/>
                  </a:lnTo>
                  <a:lnTo>
                    <a:pt x="139" y="354"/>
                  </a:lnTo>
                  <a:lnTo>
                    <a:pt x="139" y="353"/>
                  </a:lnTo>
                  <a:lnTo>
                    <a:pt x="138" y="353"/>
                  </a:lnTo>
                  <a:lnTo>
                    <a:pt x="139" y="356"/>
                  </a:lnTo>
                  <a:lnTo>
                    <a:pt x="138" y="356"/>
                  </a:lnTo>
                  <a:lnTo>
                    <a:pt x="136" y="357"/>
                  </a:lnTo>
                  <a:lnTo>
                    <a:pt x="136" y="356"/>
                  </a:lnTo>
                  <a:lnTo>
                    <a:pt x="135" y="356"/>
                  </a:lnTo>
                  <a:lnTo>
                    <a:pt x="136" y="360"/>
                  </a:lnTo>
                  <a:lnTo>
                    <a:pt x="136" y="362"/>
                  </a:lnTo>
                  <a:lnTo>
                    <a:pt x="133" y="362"/>
                  </a:lnTo>
                  <a:lnTo>
                    <a:pt x="132" y="361"/>
                  </a:lnTo>
                  <a:lnTo>
                    <a:pt x="131" y="360"/>
                  </a:lnTo>
                  <a:lnTo>
                    <a:pt x="130" y="356"/>
                  </a:lnTo>
                  <a:lnTo>
                    <a:pt x="129" y="355"/>
                  </a:lnTo>
                  <a:lnTo>
                    <a:pt x="126" y="356"/>
                  </a:lnTo>
                  <a:lnTo>
                    <a:pt x="125" y="355"/>
                  </a:lnTo>
                  <a:lnTo>
                    <a:pt x="123" y="356"/>
                  </a:lnTo>
                  <a:lnTo>
                    <a:pt x="124" y="357"/>
                  </a:lnTo>
                  <a:lnTo>
                    <a:pt x="123" y="356"/>
                  </a:lnTo>
                  <a:lnTo>
                    <a:pt x="120" y="357"/>
                  </a:lnTo>
                  <a:lnTo>
                    <a:pt x="117" y="357"/>
                  </a:lnTo>
                  <a:lnTo>
                    <a:pt x="117" y="356"/>
                  </a:lnTo>
                  <a:lnTo>
                    <a:pt x="121" y="355"/>
                  </a:lnTo>
                  <a:lnTo>
                    <a:pt x="125" y="353"/>
                  </a:lnTo>
                  <a:lnTo>
                    <a:pt x="126" y="350"/>
                  </a:lnTo>
                  <a:lnTo>
                    <a:pt x="127" y="351"/>
                  </a:lnTo>
                  <a:lnTo>
                    <a:pt x="131" y="350"/>
                  </a:lnTo>
                  <a:lnTo>
                    <a:pt x="133" y="349"/>
                  </a:lnTo>
                  <a:lnTo>
                    <a:pt x="135" y="348"/>
                  </a:lnTo>
                  <a:lnTo>
                    <a:pt x="130" y="348"/>
                  </a:lnTo>
                  <a:lnTo>
                    <a:pt x="127" y="349"/>
                  </a:lnTo>
                  <a:lnTo>
                    <a:pt x="130" y="348"/>
                  </a:lnTo>
                  <a:lnTo>
                    <a:pt x="133" y="345"/>
                  </a:lnTo>
                  <a:lnTo>
                    <a:pt x="135" y="345"/>
                  </a:lnTo>
                  <a:lnTo>
                    <a:pt x="131" y="344"/>
                  </a:lnTo>
                  <a:lnTo>
                    <a:pt x="136" y="344"/>
                  </a:lnTo>
                  <a:lnTo>
                    <a:pt x="139" y="343"/>
                  </a:lnTo>
                  <a:lnTo>
                    <a:pt x="139" y="342"/>
                  </a:lnTo>
                  <a:lnTo>
                    <a:pt x="142" y="342"/>
                  </a:lnTo>
                  <a:lnTo>
                    <a:pt x="144" y="340"/>
                  </a:lnTo>
                  <a:lnTo>
                    <a:pt x="143" y="339"/>
                  </a:lnTo>
                  <a:lnTo>
                    <a:pt x="144" y="339"/>
                  </a:lnTo>
                  <a:lnTo>
                    <a:pt x="149" y="339"/>
                  </a:lnTo>
                  <a:lnTo>
                    <a:pt x="150" y="337"/>
                  </a:lnTo>
                  <a:lnTo>
                    <a:pt x="151" y="337"/>
                  </a:lnTo>
                  <a:lnTo>
                    <a:pt x="153" y="338"/>
                  </a:lnTo>
                  <a:lnTo>
                    <a:pt x="155" y="338"/>
                  </a:lnTo>
                  <a:lnTo>
                    <a:pt x="158" y="337"/>
                  </a:lnTo>
                  <a:lnTo>
                    <a:pt x="156" y="334"/>
                  </a:lnTo>
                  <a:lnTo>
                    <a:pt x="159" y="336"/>
                  </a:lnTo>
                  <a:lnTo>
                    <a:pt x="160" y="333"/>
                  </a:lnTo>
                  <a:lnTo>
                    <a:pt x="162" y="333"/>
                  </a:lnTo>
                  <a:lnTo>
                    <a:pt x="165" y="334"/>
                  </a:lnTo>
                  <a:lnTo>
                    <a:pt x="167" y="334"/>
                  </a:lnTo>
                  <a:lnTo>
                    <a:pt x="168" y="333"/>
                  </a:lnTo>
                  <a:lnTo>
                    <a:pt x="174" y="332"/>
                  </a:lnTo>
                  <a:lnTo>
                    <a:pt x="178" y="331"/>
                  </a:lnTo>
                  <a:lnTo>
                    <a:pt x="182" y="330"/>
                  </a:lnTo>
                  <a:lnTo>
                    <a:pt x="183" y="330"/>
                  </a:lnTo>
                  <a:lnTo>
                    <a:pt x="185" y="328"/>
                  </a:lnTo>
                  <a:lnTo>
                    <a:pt x="189" y="328"/>
                  </a:lnTo>
                  <a:lnTo>
                    <a:pt x="191" y="327"/>
                  </a:lnTo>
                  <a:lnTo>
                    <a:pt x="194" y="327"/>
                  </a:lnTo>
                  <a:lnTo>
                    <a:pt x="196" y="327"/>
                  </a:lnTo>
                  <a:lnTo>
                    <a:pt x="198" y="326"/>
                  </a:lnTo>
                  <a:lnTo>
                    <a:pt x="200" y="327"/>
                  </a:lnTo>
                  <a:lnTo>
                    <a:pt x="201" y="325"/>
                  </a:lnTo>
                  <a:lnTo>
                    <a:pt x="202" y="325"/>
                  </a:lnTo>
                  <a:lnTo>
                    <a:pt x="203" y="325"/>
                  </a:lnTo>
                  <a:lnTo>
                    <a:pt x="204" y="325"/>
                  </a:lnTo>
                  <a:lnTo>
                    <a:pt x="207" y="326"/>
                  </a:lnTo>
                  <a:lnTo>
                    <a:pt x="208" y="326"/>
                  </a:lnTo>
                  <a:lnTo>
                    <a:pt x="210" y="325"/>
                  </a:lnTo>
                  <a:lnTo>
                    <a:pt x="212" y="325"/>
                  </a:lnTo>
                  <a:lnTo>
                    <a:pt x="214" y="325"/>
                  </a:lnTo>
                  <a:lnTo>
                    <a:pt x="215" y="324"/>
                  </a:lnTo>
                  <a:lnTo>
                    <a:pt x="219" y="322"/>
                  </a:lnTo>
                  <a:lnTo>
                    <a:pt x="221" y="322"/>
                  </a:lnTo>
                  <a:lnTo>
                    <a:pt x="223" y="322"/>
                  </a:lnTo>
                  <a:lnTo>
                    <a:pt x="223" y="321"/>
                  </a:lnTo>
                  <a:lnTo>
                    <a:pt x="221" y="320"/>
                  </a:lnTo>
                  <a:lnTo>
                    <a:pt x="220" y="321"/>
                  </a:lnTo>
                  <a:lnTo>
                    <a:pt x="218" y="321"/>
                  </a:lnTo>
                  <a:lnTo>
                    <a:pt x="215" y="324"/>
                  </a:lnTo>
                  <a:lnTo>
                    <a:pt x="213" y="324"/>
                  </a:lnTo>
                  <a:lnTo>
                    <a:pt x="210" y="324"/>
                  </a:lnTo>
                  <a:lnTo>
                    <a:pt x="210" y="322"/>
                  </a:lnTo>
                  <a:lnTo>
                    <a:pt x="209" y="324"/>
                  </a:lnTo>
                  <a:lnTo>
                    <a:pt x="209" y="325"/>
                  </a:lnTo>
                  <a:lnTo>
                    <a:pt x="208" y="325"/>
                  </a:lnTo>
                  <a:lnTo>
                    <a:pt x="207" y="325"/>
                  </a:lnTo>
                  <a:lnTo>
                    <a:pt x="204" y="322"/>
                  </a:lnTo>
                  <a:lnTo>
                    <a:pt x="203" y="322"/>
                  </a:lnTo>
                  <a:lnTo>
                    <a:pt x="203" y="324"/>
                  </a:lnTo>
                  <a:lnTo>
                    <a:pt x="202" y="324"/>
                  </a:lnTo>
                  <a:lnTo>
                    <a:pt x="200" y="325"/>
                  </a:lnTo>
                  <a:lnTo>
                    <a:pt x="200" y="324"/>
                  </a:lnTo>
                  <a:lnTo>
                    <a:pt x="200" y="325"/>
                  </a:lnTo>
                  <a:lnTo>
                    <a:pt x="198" y="325"/>
                  </a:lnTo>
                  <a:lnTo>
                    <a:pt x="197" y="325"/>
                  </a:lnTo>
                  <a:lnTo>
                    <a:pt x="196" y="325"/>
                  </a:lnTo>
                  <a:lnTo>
                    <a:pt x="195" y="325"/>
                  </a:lnTo>
                  <a:lnTo>
                    <a:pt x="192" y="326"/>
                  </a:lnTo>
                  <a:lnTo>
                    <a:pt x="190" y="326"/>
                  </a:lnTo>
                  <a:lnTo>
                    <a:pt x="190" y="325"/>
                  </a:lnTo>
                  <a:lnTo>
                    <a:pt x="189" y="324"/>
                  </a:lnTo>
                  <a:lnTo>
                    <a:pt x="190" y="322"/>
                  </a:lnTo>
                  <a:lnTo>
                    <a:pt x="188" y="324"/>
                  </a:lnTo>
                  <a:lnTo>
                    <a:pt x="186" y="325"/>
                  </a:lnTo>
                  <a:lnTo>
                    <a:pt x="185" y="325"/>
                  </a:lnTo>
                  <a:lnTo>
                    <a:pt x="185" y="327"/>
                  </a:lnTo>
                  <a:lnTo>
                    <a:pt x="184" y="327"/>
                  </a:lnTo>
                  <a:lnTo>
                    <a:pt x="184" y="326"/>
                  </a:lnTo>
                  <a:lnTo>
                    <a:pt x="183" y="326"/>
                  </a:lnTo>
                  <a:lnTo>
                    <a:pt x="182" y="327"/>
                  </a:lnTo>
                  <a:lnTo>
                    <a:pt x="182" y="328"/>
                  </a:lnTo>
                  <a:lnTo>
                    <a:pt x="179" y="327"/>
                  </a:lnTo>
                  <a:lnTo>
                    <a:pt x="178" y="326"/>
                  </a:lnTo>
                  <a:lnTo>
                    <a:pt x="179" y="328"/>
                  </a:lnTo>
                  <a:lnTo>
                    <a:pt x="178" y="328"/>
                  </a:lnTo>
                  <a:lnTo>
                    <a:pt x="176" y="330"/>
                  </a:lnTo>
                  <a:lnTo>
                    <a:pt x="173" y="328"/>
                  </a:lnTo>
                  <a:lnTo>
                    <a:pt x="173" y="327"/>
                  </a:lnTo>
                  <a:lnTo>
                    <a:pt x="171" y="331"/>
                  </a:lnTo>
                  <a:lnTo>
                    <a:pt x="171" y="330"/>
                  </a:lnTo>
                  <a:lnTo>
                    <a:pt x="171" y="328"/>
                  </a:lnTo>
                  <a:lnTo>
                    <a:pt x="172" y="326"/>
                  </a:lnTo>
                  <a:lnTo>
                    <a:pt x="171" y="327"/>
                  </a:lnTo>
                  <a:lnTo>
                    <a:pt x="170" y="325"/>
                  </a:lnTo>
                  <a:lnTo>
                    <a:pt x="168" y="325"/>
                  </a:lnTo>
                  <a:lnTo>
                    <a:pt x="168" y="328"/>
                  </a:lnTo>
                  <a:lnTo>
                    <a:pt x="167" y="328"/>
                  </a:lnTo>
                  <a:lnTo>
                    <a:pt x="167" y="330"/>
                  </a:lnTo>
                  <a:lnTo>
                    <a:pt x="166" y="332"/>
                  </a:lnTo>
                  <a:lnTo>
                    <a:pt x="165" y="333"/>
                  </a:lnTo>
                  <a:lnTo>
                    <a:pt x="164" y="332"/>
                  </a:lnTo>
                  <a:lnTo>
                    <a:pt x="165" y="330"/>
                  </a:lnTo>
                  <a:lnTo>
                    <a:pt x="165" y="326"/>
                  </a:lnTo>
                  <a:lnTo>
                    <a:pt x="164" y="326"/>
                  </a:lnTo>
                  <a:lnTo>
                    <a:pt x="164" y="327"/>
                  </a:lnTo>
                  <a:lnTo>
                    <a:pt x="162" y="332"/>
                  </a:lnTo>
                  <a:lnTo>
                    <a:pt x="161" y="332"/>
                  </a:lnTo>
                  <a:lnTo>
                    <a:pt x="161" y="330"/>
                  </a:lnTo>
                  <a:lnTo>
                    <a:pt x="161" y="328"/>
                  </a:lnTo>
                  <a:lnTo>
                    <a:pt x="160" y="327"/>
                  </a:lnTo>
                  <a:lnTo>
                    <a:pt x="160" y="326"/>
                  </a:lnTo>
                  <a:lnTo>
                    <a:pt x="160" y="325"/>
                  </a:lnTo>
                  <a:lnTo>
                    <a:pt x="159" y="328"/>
                  </a:lnTo>
                  <a:lnTo>
                    <a:pt x="159" y="331"/>
                  </a:lnTo>
                  <a:lnTo>
                    <a:pt x="156" y="331"/>
                  </a:lnTo>
                  <a:lnTo>
                    <a:pt x="155" y="332"/>
                  </a:lnTo>
                  <a:lnTo>
                    <a:pt x="154" y="328"/>
                  </a:lnTo>
                  <a:lnTo>
                    <a:pt x="153" y="332"/>
                  </a:lnTo>
                  <a:lnTo>
                    <a:pt x="153" y="333"/>
                  </a:lnTo>
                  <a:lnTo>
                    <a:pt x="154" y="334"/>
                  </a:lnTo>
                  <a:lnTo>
                    <a:pt x="151" y="336"/>
                  </a:lnTo>
                  <a:lnTo>
                    <a:pt x="150" y="336"/>
                  </a:lnTo>
                  <a:lnTo>
                    <a:pt x="150" y="333"/>
                  </a:lnTo>
                  <a:lnTo>
                    <a:pt x="149" y="332"/>
                  </a:lnTo>
                  <a:lnTo>
                    <a:pt x="148" y="331"/>
                  </a:lnTo>
                  <a:lnTo>
                    <a:pt x="148" y="328"/>
                  </a:lnTo>
                  <a:lnTo>
                    <a:pt x="148" y="327"/>
                  </a:lnTo>
                  <a:lnTo>
                    <a:pt x="147" y="328"/>
                  </a:lnTo>
                  <a:lnTo>
                    <a:pt x="145" y="330"/>
                  </a:lnTo>
                  <a:lnTo>
                    <a:pt x="144" y="332"/>
                  </a:lnTo>
                  <a:lnTo>
                    <a:pt x="144" y="331"/>
                  </a:lnTo>
                  <a:lnTo>
                    <a:pt x="143" y="330"/>
                  </a:lnTo>
                  <a:lnTo>
                    <a:pt x="142" y="331"/>
                  </a:lnTo>
                  <a:lnTo>
                    <a:pt x="142" y="333"/>
                  </a:lnTo>
                  <a:lnTo>
                    <a:pt x="141" y="334"/>
                  </a:lnTo>
                  <a:lnTo>
                    <a:pt x="139" y="332"/>
                  </a:lnTo>
                  <a:lnTo>
                    <a:pt x="137" y="332"/>
                  </a:lnTo>
                  <a:lnTo>
                    <a:pt x="137" y="333"/>
                  </a:lnTo>
                  <a:lnTo>
                    <a:pt x="136" y="333"/>
                  </a:lnTo>
                  <a:lnTo>
                    <a:pt x="136" y="331"/>
                  </a:lnTo>
                  <a:lnTo>
                    <a:pt x="135" y="328"/>
                  </a:lnTo>
                  <a:lnTo>
                    <a:pt x="132" y="327"/>
                  </a:lnTo>
                  <a:lnTo>
                    <a:pt x="132" y="328"/>
                  </a:lnTo>
                  <a:lnTo>
                    <a:pt x="131" y="328"/>
                  </a:lnTo>
                  <a:lnTo>
                    <a:pt x="130" y="330"/>
                  </a:lnTo>
                  <a:lnTo>
                    <a:pt x="129" y="332"/>
                  </a:lnTo>
                  <a:lnTo>
                    <a:pt x="127" y="331"/>
                  </a:lnTo>
                  <a:lnTo>
                    <a:pt x="127" y="330"/>
                  </a:lnTo>
                  <a:lnTo>
                    <a:pt x="121" y="332"/>
                  </a:lnTo>
                  <a:lnTo>
                    <a:pt x="123" y="331"/>
                  </a:lnTo>
                  <a:lnTo>
                    <a:pt x="125" y="330"/>
                  </a:lnTo>
                  <a:lnTo>
                    <a:pt x="127" y="328"/>
                  </a:lnTo>
                  <a:lnTo>
                    <a:pt x="125" y="327"/>
                  </a:lnTo>
                  <a:lnTo>
                    <a:pt x="129" y="327"/>
                  </a:lnTo>
                  <a:lnTo>
                    <a:pt x="127" y="326"/>
                  </a:lnTo>
                  <a:lnTo>
                    <a:pt x="127" y="325"/>
                  </a:lnTo>
                  <a:lnTo>
                    <a:pt x="130" y="325"/>
                  </a:lnTo>
                  <a:lnTo>
                    <a:pt x="132" y="324"/>
                  </a:lnTo>
                  <a:lnTo>
                    <a:pt x="135" y="324"/>
                  </a:lnTo>
                  <a:lnTo>
                    <a:pt x="137" y="322"/>
                  </a:lnTo>
                  <a:lnTo>
                    <a:pt x="138" y="321"/>
                  </a:lnTo>
                  <a:lnTo>
                    <a:pt x="141" y="319"/>
                  </a:lnTo>
                  <a:lnTo>
                    <a:pt x="142" y="318"/>
                  </a:lnTo>
                  <a:lnTo>
                    <a:pt x="143" y="316"/>
                  </a:lnTo>
                  <a:lnTo>
                    <a:pt x="142" y="315"/>
                  </a:lnTo>
                  <a:lnTo>
                    <a:pt x="138" y="316"/>
                  </a:lnTo>
                  <a:lnTo>
                    <a:pt x="139" y="315"/>
                  </a:lnTo>
                  <a:lnTo>
                    <a:pt x="141" y="314"/>
                  </a:lnTo>
                  <a:lnTo>
                    <a:pt x="142" y="312"/>
                  </a:lnTo>
                  <a:lnTo>
                    <a:pt x="143" y="313"/>
                  </a:lnTo>
                  <a:lnTo>
                    <a:pt x="143" y="314"/>
                  </a:lnTo>
                  <a:lnTo>
                    <a:pt x="145" y="313"/>
                  </a:lnTo>
                  <a:lnTo>
                    <a:pt x="149" y="314"/>
                  </a:lnTo>
                  <a:lnTo>
                    <a:pt x="156" y="312"/>
                  </a:lnTo>
                  <a:lnTo>
                    <a:pt x="160" y="310"/>
                  </a:lnTo>
                  <a:lnTo>
                    <a:pt x="160" y="309"/>
                  </a:lnTo>
                  <a:lnTo>
                    <a:pt x="161" y="310"/>
                  </a:lnTo>
                  <a:lnTo>
                    <a:pt x="164" y="310"/>
                  </a:lnTo>
                  <a:lnTo>
                    <a:pt x="165" y="309"/>
                  </a:lnTo>
                  <a:lnTo>
                    <a:pt x="166" y="308"/>
                  </a:lnTo>
                  <a:lnTo>
                    <a:pt x="167" y="308"/>
                  </a:lnTo>
                  <a:lnTo>
                    <a:pt x="173" y="307"/>
                  </a:lnTo>
                  <a:lnTo>
                    <a:pt x="177" y="307"/>
                  </a:lnTo>
                  <a:lnTo>
                    <a:pt x="178" y="307"/>
                  </a:lnTo>
                  <a:lnTo>
                    <a:pt x="180" y="306"/>
                  </a:lnTo>
                  <a:lnTo>
                    <a:pt x="182" y="306"/>
                  </a:lnTo>
                  <a:lnTo>
                    <a:pt x="185" y="306"/>
                  </a:lnTo>
                  <a:lnTo>
                    <a:pt x="188" y="304"/>
                  </a:lnTo>
                  <a:lnTo>
                    <a:pt x="156" y="303"/>
                  </a:lnTo>
                  <a:lnTo>
                    <a:pt x="158" y="303"/>
                  </a:lnTo>
                  <a:lnTo>
                    <a:pt x="160" y="302"/>
                  </a:lnTo>
                  <a:lnTo>
                    <a:pt x="165" y="301"/>
                  </a:lnTo>
                  <a:lnTo>
                    <a:pt x="166" y="301"/>
                  </a:lnTo>
                  <a:lnTo>
                    <a:pt x="168" y="301"/>
                  </a:lnTo>
                  <a:lnTo>
                    <a:pt x="172" y="301"/>
                  </a:lnTo>
                  <a:lnTo>
                    <a:pt x="172" y="300"/>
                  </a:lnTo>
                  <a:lnTo>
                    <a:pt x="174" y="300"/>
                  </a:lnTo>
                  <a:lnTo>
                    <a:pt x="176" y="301"/>
                  </a:lnTo>
                  <a:lnTo>
                    <a:pt x="180" y="301"/>
                  </a:lnTo>
                  <a:lnTo>
                    <a:pt x="183" y="301"/>
                  </a:lnTo>
                  <a:lnTo>
                    <a:pt x="186" y="300"/>
                  </a:lnTo>
                  <a:lnTo>
                    <a:pt x="190" y="298"/>
                  </a:lnTo>
                  <a:lnTo>
                    <a:pt x="194" y="298"/>
                  </a:lnTo>
                  <a:lnTo>
                    <a:pt x="198" y="297"/>
                  </a:lnTo>
                  <a:lnTo>
                    <a:pt x="203" y="297"/>
                  </a:lnTo>
                  <a:lnTo>
                    <a:pt x="206" y="295"/>
                  </a:lnTo>
                  <a:lnTo>
                    <a:pt x="208" y="295"/>
                  </a:lnTo>
                  <a:lnTo>
                    <a:pt x="208" y="296"/>
                  </a:lnTo>
                  <a:lnTo>
                    <a:pt x="209" y="297"/>
                  </a:lnTo>
                  <a:lnTo>
                    <a:pt x="210" y="297"/>
                  </a:lnTo>
                  <a:lnTo>
                    <a:pt x="213" y="296"/>
                  </a:lnTo>
                  <a:lnTo>
                    <a:pt x="216" y="295"/>
                  </a:lnTo>
                  <a:lnTo>
                    <a:pt x="218" y="295"/>
                  </a:lnTo>
                  <a:lnTo>
                    <a:pt x="221" y="295"/>
                  </a:lnTo>
                  <a:lnTo>
                    <a:pt x="223" y="296"/>
                  </a:lnTo>
                  <a:lnTo>
                    <a:pt x="225" y="295"/>
                  </a:lnTo>
                  <a:lnTo>
                    <a:pt x="226" y="294"/>
                  </a:lnTo>
                  <a:lnTo>
                    <a:pt x="230" y="294"/>
                  </a:lnTo>
                  <a:lnTo>
                    <a:pt x="233" y="294"/>
                  </a:lnTo>
                  <a:lnTo>
                    <a:pt x="233" y="292"/>
                  </a:lnTo>
                  <a:lnTo>
                    <a:pt x="235" y="290"/>
                  </a:lnTo>
                  <a:lnTo>
                    <a:pt x="238" y="289"/>
                  </a:lnTo>
                  <a:lnTo>
                    <a:pt x="239" y="289"/>
                  </a:lnTo>
                  <a:lnTo>
                    <a:pt x="242" y="288"/>
                  </a:lnTo>
                  <a:lnTo>
                    <a:pt x="244" y="285"/>
                  </a:lnTo>
                  <a:lnTo>
                    <a:pt x="248" y="283"/>
                  </a:lnTo>
                  <a:lnTo>
                    <a:pt x="250" y="282"/>
                  </a:lnTo>
                  <a:lnTo>
                    <a:pt x="250" y="276"/>
                  </a:lnTo>
                  <a:lnTo>
                    <a:pt x="250" y="273"/>
                  </a:lnTo>
                  <a:lnTo>
                    <a:pt x="249" y="273"/>
                  </a:lnTo>
                  <a:lnTo>
                    <a:pt x="248" y="276"/>
                  </a:lnTo>
                  <a:lnTo>
                    <a:pt x="247" y="276"/>
                  </a:lnTo>
                  <a:lnTo>
                    <a:pt x="245" y="274"/>
                  </a:lnTo>
                  <a:lnTo>
                    <a:pt x="247" y="272"/>
                  </a:lnTo>
                  <a:lnTo>
                    <a:pt x="245" y="272"/>
                  </a:lnTo>
                  <a:lnTo>
                    <a:pt x="244" y="273"/>
                  </a:lnTo>
                  <a:lnTo>
                    <a:pt x="245" y="276"/>
                  </a:lnTo>
                  <a:lnTo>
                    <a:pt x="245" y="278"/>
                  </a:lnTo>
                  <a:lnTo>
                    <a:pt x="247" y="280"/>
                  </a:lnTo>
                  <a:lnTo>
                    <a:pt x="247" y="282"/>
                  </a:lnTo>
                  <a:lnTo>
                    <a:pt x="245" y="283"/>
                  </a:lnTo>
                  <a:lnTo>
                    <a:pt x="244" y="283"/>
                  </a:lnTo>
                  <a:lnTo>
                    <a:pt x="243" y="284"/>
                  </a:lnTo>
                  <a:lnTo>
                    <a:pt x="242" y="285"/>
                  </a:lnTo>
                  <a:lnTo>
                    <a:pt x="239" y="288"/>
                  </a:lnTo>
                  <a:lnTo>
                    <a:pt x="238" y="286"/>
                  </a:lnTo>
                  <a:lnTo>
                    <a:pt x="237" y="288"/>
                  </a:lnTo>
                  <a:lnTo>
                    <a:pt x="235" y="288"/>
                  </a:lnTo>
                  <a:lnTo>
                    <a:pt x="233" y="290"/>
                  </a:lnTo>
                  <a:lnTo>
                    <a:pt x="233" y="289"/>
                  </a:lnTo>
                  <a:lnTo>
                    <a:pt x="233" y="288"/>
                  </a:lnTo>
                  <a:lnTo>
                    <a:pt x="235" y="285"/>
                  </a:lnTo>
                  <a:lnTo>
                    <a:pt x="235" y="284"/>
                  </a:lnTo>
                  <a:lnTo>
                    <a:pt x="235" y="282"/>
                  </a:lnTo>
                  <a:lnTo>
                    <a:pt x="236" y="279"/>
                  </a:lnTo>
                  <a:lnTo>
                    <a:pt x="235" y="277"/>
                  </a:lnTo>
                  <a:lnTo>
                    <a:pt x="235" y="274"/>
                  </a:lnTo>
                  <a:lnTo>
                    <a:pt x="233" y="276"/>
                  </a:lnTo>
                  <a:lnTo>
                    <a:pt x="235" y="277"/>
                  </a:lnTo>
                  <a:lnTo>
                    <a:pt x="235" y="278"/>
                  </a:lnTo>
                  <a:lnTo>
                    <a:pt x="233" y="277"/>
                  </a:lnTo>
                  <a:lnTo>
                    <a:pt x="232" y="278"/>
                  </a:lnTo>
                  <a:lnTo>
                    <a:pt x="233" y="279"/>
                  </a:lnTo>
                  <a:lnTo>
                    <a:pt x="232" y="280"/>
                  </a:lnTo>
                  <a:lnTo>
                    <a:pt x="231" y="280"/>
                  </a:lnTo>
                  <a:lnTo>
                    <a:pt x="231" y="279"/>
                  </a:lnTo>
                  <a:lnTo>
                    <a:pt x="231" y="277"/>
                  </a:lnTo>
                  <a:lnTo>
                    <a:pt x="231" y="276"/>
                  </a:lnTo>
                  <a:lnTo>
                    <a:pt x="229" y="276"/>
                  </a:lnTo>
                  <a:lnTo>
                    <a:pt x="229" y="278"/>
                  </a:lnTo>
                  <a:lnTo>
                    <a:pt x="229" y="280"/>
                  </a:lnTo>
                  <a:lnTo>
                    <a:pt x="227" y="282"/>
                  </a:lnTo>
                  <a:lnTo>
                    <a:pt x="226" y="282"/>
                  </a:lnTo>
                  <a:lnTo>
                    <a:pt x="225" y="280"/>
                  </a:lnTo>
                  <a:lnTo>
                    <a:pt x="225" y="282"/>
                  </a:lnTo>
                  <a:lnTo>
                    <a:pt x="225" y="283"/>
                  </a:lnTo>
                  <a:lnTo>
                    <a:pt x="224" y="284"/>
                  </a:lnTo>
                  <a:lnTo>
                    <a:pt x="223" y="283"/>
                  </a:lnTo>
                  <a:lnTo>
                    <a:pt x="223" y="284"/>
                  </a:lnTo>
                  <a:lnTo>
                    <a:pt x="221" y="284"/>
                  </a:lnTo>
                  <a:lnTo>
                    <a:pt x="220" y="283"/>
                  </a:lnTo>
                  <a:lnTo>
                    <a:pt x="219" y="282"/>
                  </a:lnTo>
                  <a:lnTo>
                    <a:pt x="220" y="284"/>
                  </a:lnTo>
                  <a:lnTo>
                    <a:pt x="220" y="288"/>
                  </a:lnTo>
                  <a:lnTo>
                    <a:pt x="219" y="289"/>
                  </a:lnTo>
                  <a:lnTo>
                    <a:pt x="218" y="286"/>
                  </a:lnTo>
                  <a:lnTo>
                    <a:pt x="218" y="285"/>
                  </a:lnTo>
                  <a:lnTo>
                    <a:pt x="218" y="283"/>
                  </a:lnTo>
                  <a:lnTo>
                    <a:pt x="216" y="282"/>
                  </a:lnTo>
                  <a:lnTo>
                    <a:pt x="218" y="285"/>
                  </a:lnTo>
                  <a:lnTo>
                    <a:pt x="218" y="288"/>
                  </a:lnTo>
                  <a:lnTo>
                    <a:pt x="218" y="289"/>
                  </a:lnTo>
                  <a:lnTo>
                    <a:pt x="216" y="289"/>
                  </a:lnTo>
                  <a:lnTo>
                    <a:pt x="216" y="288"/>
                  </a:lnTo>
                  <a:lnTo>
                    <a:pt x="215" y="289"/>
                  </a:lnTo>
                  <a:lnTo>
                    <a:pt x="215" y="290"/>
                  </a:lnTo>
                  <a:lnTo>
                    <a:pt x="214" y="292"/>
                  </a:lnTo>
                  <a:lnTo>
                    <a:pt x="213" y="292"/>
                  </a:lnTo>
                  <a:lnTo>
                    <a:pt x="213" y="289"/>
                  </a:lnTo>
                  <a:lnTo>
                    <a:pt x="213" y="288"/>
                  </a:lnTo>
                  <a:lnTo>
                    <a:pt x="210" y="288"/>
                  </a:lnTo>
                  <a:lnTo>
                    <a:pt x="209" y="286"/>
                  </a:lnTo>
                  <a:lnTo>
                    <a:pt x="208" y="285"/>
                  </a:lnTo>
                  <a:lnTo>
                    <a:pt x="210" y="283"/>
                  </a:lnTo>
                  <a:lnTo>
                    <a:pt x="213" y="280"/>
                  </a:lnTo>
                  <a:lnTo>
                    <a:pt x="213" y="279"/>
                  </a:lnTo>
                  <a:lnTo>
                    <a:pt x="210" y="279"/>
                  </a:lnTo>
                  <a:lnTo>
                    <a:pt x="210" y="282"/>
                  </a:lnTo>
                  <a:lnTo>
                    <a:pt x="208" y="280"/>
                  </a:lnTo>
                  <a:lnTo>
                    <a:pt x="207" y="279"/>
                  </a:lnTo>
                  <a:lnTo>
                    <a:pt x="207" y="278"/>
                  </a:lnTo>
                  <a:lnTo>
                    <a:pt x="207" y="277"/>
                  </a:lnTo>
                  <a:lnTo>
                    <a:pt x="206" y="278"/>
                  </a:lnTo>
                  <a:lnTo>
                    <a:pt x="204" y="279"/>
                  </a:lnTo>
                  <a:lnTo>
                    <a:pt x="203" y="278"/>
                  </a:lnTo>
                  <a:lnTo>
                    <a:pt x="203" y="277"/>
                  </a:lnTo>
                  <a:lnTo>
                    <a:pt x="202" y="276"/>
                  </a:lnTo>
                  <a:lnTo>
                    <a:pt x="202" y="274"/>
                  </a:lnTo>
                  <a:lnTo>
                    <a:pt x="202" y="272"/>
                  </a:lnTo>
                  <a:lnTo>
                    <a:pt x="200" y="273"/>
                  </a:lnTo>
                  <a:lnTo>
                    <a:pt x="198" y="272"/>
                  </a:lnTo>
                  <a:lnTo>
                    <a:pt x="200" y="266"/>
                  </a:lnTo>
                  <a:lnTo>
                    <a:pt x="198" y="262"/>
                  </a:lnTo>
                  <a:lnTo>
                    <a:pt x="198" y="265"/>
                  </a:lnTo>
                  <a:lnTo>
                    <a:pt x="197" y="264"/>
                  </a:lnTo>
                  <a:lnTo>
                    <a:pt x="197" y="261"/>
                  </a:lnTo>
                  <a:lnTo>
                    <a:pt x="230" y="219"/>
                  </a:lnTo>
                  <a:lnTo>
                    <a:pt x="196" y="261"/>
                  </a:lnTo>
                  <a:lnTo>
                    <a:pt x="229" y="218"/>
                  </a:lnTo>
                  <a:lnTo>
                    <a:pt x="226" y="218"/>
                  </a:lnTo>
                  <a:lnTo>
                    <a:pt x="219" y="224"/>
                  </a:lnTo>
                  <a:lnTo>
                    <a:pt x="218" y="225"/>
                  </a:lnTo>
                  <a:lnTo>
                    <a:pt x="218" y="229"/>
                  </a:lnTo>
                  <a:lnTo>
                    <a:pt x="218" y="230"/>
                  </a:lnTo>
                  <a:lnTo>
                    <a:pt x="218" y="229"/>
                  </a:lnTo>
                  <a:lnTo>
                    <a:pt x="216" y="230"/>
                  </a:lnTo>
                  <a:lnTo>
                    <a:pt x="216" y="229"/>
                  </a:lnTo>
                  <a:lnTo>
                    <a:pt x="215" y="226"/>
                  </a:lnTo>
                  <a:lnTo>
                    <a:pt x="216" y="225"/>
                  </a:lnTo>
                  <a:lnTo>
                    <a:pt x="223" y="218"/>
                  </a:lnTo>
                  <a:lnTo>
                    <a:pt x="221" y="217"/>
                  </a:lnTo>
                  <a:lnTo>
                    <a:pt x="220" y="215"/>
                  </a:lnTo>
                  <a:lnTo>
                    <a:pt x="220" y="214"/>
                  </a:lnTo>
                  <a:lnTo>
                    <a:pt x="221" y="212"/>
                  </a:lnTo>
                  <a:lnTo>
                    <a:pt x="220" y="209"/>
                  </a:lnTo>
                  <a:lnTo>
                    <a:pt x="219" y="207"/>
                  </a:lnTo>
                  <a:lnTo>
                    <a:pt x="219" y="209"/>
                  </a:lnTo>
                  <a:lnTo>
                    <a:pt x="215" y="209"/>
                  </a:lnTo>
                  <a:lnTo>
                    <a:pt x="214" y="211"/>
                  </a:lnTo>
                  <a:lnTo>
                    <a:pt x="213" y="209"/>
                  </a:lnTo>
                  <a:lnTo>
                    <a:pt x="213" y="208"/>
                  </a:lnTo>
                  <a:lnTo>
                    <a:pt x="212" y="208"/>
                  </a:lnTo>
                  <a:lnTo>
                    <a:pt x="212" y="213"/>
                  </a:lnTo>
                  <a:lnTo>
                    <a:pt x="213" y="214"/>
                  </a:lnTo>
                  <a:lnTo>
                    <a:pt x="212" y="214"/>
                  </a:lnTo>
                  <a:lnTo>
                    <a:pt x="209" y="214"/>
                  </a:lnTo>
                  <a:lnTo>
                    <a:pt x="209" y="213"/>
                  </a:lnTo>
                  <a:lnTo>
                    <a:pt x="210" y="209"/>
                  </a:lnTo>
                  <a:lnTo>
                    <a:pt x="210" y="206"/>
                  </a:lnTo>
                  <a:lnTo>
                    <a:pt x="209" y="205"/>
                  </a:lnTo>
                  <a:lnTo>
                    <a:pt x="208" y="205"/>
                  </a:lnTo>
                  <a:lnTo>
                    <a:pt x="208" y="202"/>
                  </a:lnTo>
                  <a:lnTo>
                    <a:pt x="206" y="202"/>
                  </a:lnTo>
                  <a:lnTo>
                    <a:pt x="207" y="201"/>
                  </a:lnTo>
                  <a:lnTo>
                    <a:pt x="207" y="199"/>
                  </a:lnTo>
                  <a:lnTo>
                    <a:pt x="206" y="199"/>
                  </a:lnTo>
                  <a:lnTo>
                    <a:pt x="204" y="200"/>
                  </a:lnTo>
                  <a:lnTo>
                    <a:pt x="202" y="200"/>
                  </a:lnTo>
                  <a:lnTo>
                    <a:pt x="201" y="199"/>
                  </a:lnTo>
                  <a:lnTo>
                    <a:pt x="200" y="197"/>
                  </a:lnTo>
                  <a:lnTo>
                    <a:pt x="201" y="195"/>
                  </a:lnTo>
                  <a:lnTo>
                    <a:pt x="201" y="193"/>
                  </a:lnTo>
                  <a:lnTo>
                    <a:pt x="200" y="193"/>
                  </a:lnTo>
                  <a:lnTo>
                    <a:pt x="197" y="194"/>
                  </a:lnTo>
                  <a:lnTo>
                    <a:pt x="197" y="193"/>
                  </a:lnTo>
                  <a:lnTo>
                    <a:pt x="200" y="191"/>
                  </a:lnTo>
                  <a:lnTo>
                    <a:pt x="200" y="189"/>
                  </a:lnTo>
                  <a:lnTo>
                    <a:pt x="201" y="189"/>
                  </a:lnTo>
                  <a:lnTo>
                    <a:pt x="203" y="189"/>
                  </a:lnTo>
                  <a:lnTo>
                    <a:pt x="204" y="188"/>
                  </a:lnTo>
                  <a:lnTo>
                    <a:pt x="203" y="187"/>
                  </a:lnTo>
                  <a:lnTo>
                    <a:pt x="201" y="187"/>
                  </a:lnTo>
                  <a:lnTo>
                    <a:pt x="200" y="187"/>
                  </a:lnTo>
                  <a:lnTo>
                    <a:pt x="200" y="188"/>
                  </a:lnTo>
                  <a:lnTo>
                    <a:pt x="198" y="189"/>
                  </a:lnTo>
                  <a:lnTo>
                    <a:pt x="198" y="190"/>
                  </a:lnTo>
                  <a:lnTo>
                    <a:pt x="197" y="191"/>
                  </a:lnTo>
                  <a:lnTo>
                    <a:pt x="197" y="190"/>
                  </a:lnTo>
                  <a:lnTo>
                    <a:pt x="196" y="191"/>
                  </a:lnTo>
                  <a:lnTo>
                    <a:pt x="195" y="190"/>
                  </a:lnTo>
                  <a:lnTo>
                    <a:pt x="196" y="189"/>
                  </a:lnTo>
                  <a:lnTo>
                    <a:pt x="196" y="188"/>
                  </a:lnTo>
                  <a:lnTo>
                    <a:pt x="195" y="187"/>
                  </a:lnTo>
                  <a:lnTo>
                    <a:pt x="195" y="188"/>
                  </a:lnTo>
                  <a:lnTo>
                    <a:pt x="194" y="188"/>
                  </a:lnTo>
                  <a:lnTo>
                    <a:pt x="192" y="187"/>
                  </a:lnTo>
                  <a:lnTo>
                    <a:pt x="192" y="185"/>
                  </a:lnTo>
                  <a:lnTo>
                    <a:pt x="194" y="185"/>
                  </a:lnTo>
                  <a:lnTo>
                    <a:pt x="195" y="185"/>
                  </a:lnTo>
                  <a:lnTo>
                    <a:pt x="196" y="185"/>
                  </a:lnTo>
                  <a:lnTo>
                    <a:pt x="197" y="184"/>
                  </a:lnTo>
                  <a:lnTo>
                    <a:pt x="198" y="183"/>
                  </a:lnTo>
                  <a:lnTo>
                    <a:pt x="196" y="183"/>
                  </a:lnTo>
                  <a:lnTo>
                    <a:pt x="195" y="182"/>
                  </a:lnTo>
                  <a:lnTo>
                    <a:pt x="198" y="182"/>
                  </a:lnTo>
                  <a:lnTo>
                    <a:pt x="198" y="181"/>
                  </a:lnTo>
                  <a:lnTo>
                    <a:pt x="195" y="181"/>
                  </a:lnTo>
                  <a:lnTo>
                    <a:pt x="194" y="181"/>
                  </a:lnTo>
                  <a:lnTo>
                    <a:pt x="191" y="181"/>
                  </a:lnTo>
                  <a:lnTo>
                    <a:pt x="191" y="179"/>
                  </a:lnTo>
                  <a:lnTo>
                    <a:pt x="190" y="179"/>
                  </a:lnTo>
                  <a:lnTo>
                    <a:pt x="189" y="181"/>
                  </a:lnTo>
                  <a:lnTo>
                    <a:pt x="189" y="179"/>
                  </a:lnTo>
                  <a:lnTo>
                    <a:pt x="190" y="178"/>
                  </a:lnTo>
                  <a:lnTo>
                    <a:pt x="189" y="178"/>
                  </a:lnTo>
                  <a:lnTo>
                    <a:pt x="189" y="177"/>
                  </a:lnTo>
                  <a:lnTo>
                    <a:pt x="188" y="178"/>
                  </a:lnTo>
                  <a:lnTo>
                    <a:pt x="185" y="178"/>
                  </a:lnTo>
                  <a:lnTo>
                    <a:pt x="184" y="178"/>
                  </a:lnTo>
                  <a:lnTo>
                    <a:pt x="188" y="177"/>
                  </a:lnTo>
                  <a:lnTo>
                    <a:pt x="188" y="176"/>
                  </a:lnTo>
                  <a:lnTo>
                    <a:pt x="184" y="176"/>
                  </a:lnTo>
                  <a:lnTo>
                    <a:pt x="183" y="175"/>
                  </a:lnTo>
                  <a:lnTo>
                    <a:pt x="188" y="175"/>
                  </a:lnTo>
                  <a:lnTo>
                    <a:pt x="189" y="175"/>
                  </a:lnTo>
                  <a:lnTo>
                    <a:pt x="190" y="175"/>
                  </a:lnTo>
                  <a:lnTo>
                    <a:pt x="190" y="173"/>
                  </a:lnTo>
                  <a:lnTo>
                    <a:pt x="191" y="172"/>
                  </a:lnTo>
                  <a:lnTo>
                    <a:pt x="191" y="176"/>
                  </a:lnTo>
                  <a:lnTo>
                    <a:pt x="192" y="176"/>
                  </a:lnTo>
                  <a:lnTo>
                    <a:pt x="194" y="176"/>
                  </a:lnTo>
                  <a:lnTo>
                    <a:pt x="194" y="177"/>
                  </a:lnTo>
                  <a:lnTo>
                    <a:pt x="195" y="178"/>
                  </a:lnTo>
                  <a:lnTo>
                    <a:pt x="196" y="178"/>
                  </a:lnTo>
                  <a:lnTo>
                    <a:pt x="197" y="177"/>
                  </a:lnTo>
                  <a:lnTo>
                    <a:pt x="197" y="176"/>
                  </a:lnTo>
                  <a:lnTo>
                    <a:pt x="198" y="176"/>
                  </a:lnTo>
                  <a:lnTo>
                    <a:pt x="198" y="177"/>
                  </a:lnTo>
                  <a:lnTo>
                    <a:pt x="200" y="178"/>
                  </a:lnTo>
                  <a:lnTo>
                    <a:pt x="200" y="179"/>
                  </a:lnTo>
                  <a:lnTo>
                    <a:pt x="200" y="181"/>
                  </a:lnTo>
                  <a:lnTo>
                    <a:pt x="201" y="181"/>
                  </a:lnTo>
                  <a:lnTo>
                    <a:pt x="201" y="182"/>
                  </a:lnTo>
                  <a:lnTo>
                    <a:pt x="202" y="181"/>
                  </a:lnTo>
                  <a:lnTo>
                    <a:pt x="202" y="179"/>
                  </a:lnTo>
                  <a:lnTo>
                    <a:pt x="203" y="178"/>
                  </a:lnTo>
                  <a:lnTo>
                    <a:pt x="204" y="178"/>
                  </a:lnTo>
                  <a:lnTo>
                    <a:pt x="206" y="179"/>
                  </a:lnTo>
                  <a:lnTo>
                    <a:pt x="207" y="178"/>
                  </a:lnTo>
                  <a:lnTo>
                    <a:pt x="207" y="177"/>
                  </a:lnTo>
                  <a:lnTo>
                    <a:pt x="206" y="177"/>
                  </a:lnTo>
                  <a:lnTo>
                    <a:pt x="204" y="177"/>
                  </a:lnTo>
                  <a:lnTo>
                    <a:pt x="203" y="176"/>
                  </a:lnTo>
                  <a:lnTo>
                    <a:pt x="203" y="175"/>
                  </a:lnTo>
                  <a:lnTo>
                    <a:pt x="202" y="175"/>
                  </a:lnTo>
                  <a:lnTo>
                    <a:pt x="201" y="175"/>
                  </a:lnTo>
                  <a:lnTo>
                    <a:pt x="200" y="175"/>
                  </a:lnTo>
                  <a:lnTo>
                    <a:pt x="200" y="173"/>
                  </a:lnTo>
                  <a:lnTo>
                    <a:pt x="200" y="172"/>
                  </a:lnTo>
                  <a:lnTo>
                    <a:pt x="198" y="173"/>
                  </a:lnTo>
                  <a:lnTo>
                    <a:pt x="197" y="173"/>
                  </a:lnTo>
                  <a:lnTo>
                    <a:pt x="198" y="173"/>
                  </a:lnTo>
                  <a:lnTo>
                    <a:pt x="198" y="175"/>
                  </a:lnTo>
                  <a:lnTo>
                    <a:pt x="197" y="175"/>
                  </a:lnTo>
                  <a:lnTo>
                    <a:pt x="196" y="173"/>
                  </a:lnTo>
                  <a:lnTo>
                    <a:pt x="195" y="173"/>
                  </a:lnTo>
                  <a:lnTo>
                    <a:pt x="195" y="175"/>
                  </a:lnTo>
                  <a:lnTo>
                    <a:pt x="195" y="173"/>
                  </a:lnTo>
                  <a:lnTo>
                    <a:pt x="197" y="172"/>
                  </a:lnTo>
                  <a:lnTo>
                    <a:pt x="197" y="171"/>
                  </a:lnTo>
                  <a:lnTo>
                    <a:pt x="195" y="171"/>
                  </a:lnTo>
                  <a:lnTo>
                    <a:pt x="194" y="171"/>
                  </a:lnTo>
                  <a:lnTo>
                    <a:pt x="194" y="170"/>
                  </a:lnTo>
                  <a:lnTo>
                    <a:pt x="192" y="170"/>
                  </a:lnTo>
                  <a:lnTo>
                    <a:pt x="196" y="170"/>
                  </a:lnTo>
                  <a:lnTo>
                    <a:pt x="198" y="171"/>
                  </a:lnTo>
                  <a:lnTo>
                    <a:pt x="202" y="171"/>
                  </a:lnTo>
                  <a:lnTo>
                    <a:pt x="204" y="173"/>
                  </a:lnTo>
                  <a:lnTo>
                    <a:pt x="204" y="175"/>
                  </a:lnTo>
                  <a:lnTo>
                    <a:pt x="206" y="176"/>
                  </a:lnTo>
                  <a:lnTo>
                    <a:pt x="207" y="176"/>
                  </a:lnTo>
                  <a:lnTo>
                    <a:pt x="208" y="175"/>
                  </a:lnTo>
                  <a:lnTo>
                    <a:pt x="208" y="173"/>
                  </a:lnTo>
                  <a:lnTo>
                    <a:pt x="206" y="173"/>
                  </a:lnTo>
                  <a:lnTo>
                    <a:pt x="209" y="173"/>
                  </a:lnTo>
                  <a:lnTo>
                    <a:pt x="209" y="171"/>
                  </a:lnTo>
                  <a:lnTo>
                    <a:pt x="210" y="171"/>
                  </a:lnTo>
                  <a:lnTo>
                    <a:pt x="210" y="173"/>
                  </a:lnTo>
                  <a:lnTo>
                    <a:pt x="210" y="175"/>
                  </a:lnTo>
                  <a:lnTo>
                    <a:pt x="210" y="176"/>
                  </a:lnTo>
                  <a:lnTo>
                    <a:pt x="213" y="178"/>
                  </a:lnTo>
                  <a:lnTo>
                    <a:pt x="214" y="179"/>
                  </a:lnTo>
                  <a:lnTo>
                    <a:pt x="216" y="179"/>
                  </a:lnTo>
                  <a:lnTo>
                    <a:pt x="218" y="179"/>
                  </a:lnTo>
                  <a:lnTo>
                    <a:pt x="219" y="179"/>
                  </a:lnTo>
                  <a:lnTo>
                    <a:pt x="219" y="177"/>
                  </a:lnTo>
                  <a:lnTo>
                    <a:pt x="220" y="178"/>
                  </a:lnTo>
                  <a:lnTo>
                    <a:pt x="221" y="178"/>
                  </a:lnTo>
                  <a:lnTo>
                    <a:pt x="221" y="177"/>
                  </a:lnTo>
                  <a:lnTo>
                    <a:pt x="221" y="176"/>
                  </a:lnTo>
                  <a:lnTo>
                    <a:pt x="223" y="177"/>
                  </a:lnTo>
                  <a:lnTo>
                    <a:pt x="224" y="177"/>
                  </a:lnTo>
                  <a:lnTo>
                    <a:pt x="225" y="176"/>
                  </a:lnTo>
                  <a:lnTo>
                    <a:pt x="226" y="173"/>
                  </a:lnTo>
                  <a:lnTo>
                    <a:pt x="225" y="173"/>
                  </a:lnTo>
                  <a:lnTo>
                    <a:pt x="224" y="173"/>
                  </a:lnTo>
                  <a:lnTo>
                    <a:pt x="223" y="173"/>
                  </a:lnTo>
                  <a:lnTo>
                    <a:pt x="223" y="172"/>
                  </a:lnTo>
                  <a:lnTo>
                    <a:pt x="221" y="171"/>
                  </a:lnTo>
                  <a:lnTo>
                    <a:pt x="220" y="170"/>
                  </a:lnTo>
                  <a:lnTo>
                    <a:pt x="219" y="170"/>
                  </a:lnTo>
                  <a:lnTo>
                    <a:pt x="218" y="170"/>
                  </a:lnTo>
                  <a:lnTo>
                    <a:pt x="216" y="170"/>
                  </a:lnTo>
                  <a:lnTo>
                    <a:pt x="216" y="169"/>
                  </a:lnTo>
                  <a:lnTo>
                    <a:pt x="216" y="167"/>
                  </a:lnTo>
                  <a:lnTo>
                    <a:pt x="215" y="167"/>
                  </a:lnTo>
                  <a:lnTo>
                    <a:pt x="213" y="169"/>
                  </a:lnTo>
                  <a:lnTo>
                    <a:pt x="212" y="169"/>
                  </a:lnTo>
                  <a:lnTo>
                    <a:pt x="212" y="167"/>
                  </a:lnTo>
                  <a:lnTo>
                    <a:pt x="214" y="166"/>
                  </a:lnTo>
                  <a:lnTo>
                    <a:pt x="215" y="166"/>
                  </a:lnTo>
                  <a:lnTo>
                    <a:pt x="215" y="165"/>
                  </a:lnTo>
                  <a:lnTo>
                    <a:pt x="214" y="165"/>
                  </a:lnTo>
                  <a:lnTo>
                    <a:pt x="215" y="165"/>
                  </a:lnTo>
                  <a:lnTo>
                    <a:pt x="216" y="165"/>
                  </a:lnTo>
                  <a:lnTo>
                    <a:pt x="215" y="164"/>
                  </a:lnTo>
                  <a:lnTo>
                    <a:pt x="214" y="161"/>
                  </a:lnTo>
                  <a:lnTo>
                    <a:pt x="215" y="161"/>
                  </a:lnTo>
                  <a:lnTo>
                    <a:pt x="216" y="164"/>
                  </a:lnTo>
                  <a:lnTo>
                    <a:pt x="218" y="164"/>
                  </a:lnTo>
                  <a:lnTo>
                    <a:pt x="220" y="164"/>
                  </a:lnTo>
                  <a:lnTo>
                    <a:pt x="220" y="165"/>
                  </a:lnTo>
                  <a:lnTo>
                    <a:pt x="221" y="165"/>
                  </a:lnTo>
                  <a:lnTo>
                    <a:pt x="221" y="166"/>
                  </a:lnTo>
                  <a:lnTo>
                    <a:pt x="223" y="167"/>
                  </a:lnTo>
                  <a:lnTo>
                    <a:pt x="225" y="167"/>
                  </a:lnTo>
                  <a:lnTo>
                    <a:pt x="226" y="166"/>
                  </a:lnTo>
                  <a:lnTo>
                    <a:pt x="227" y="169"/>
                  </a:lnTo>
                  <a:lnTo>
                    <a:pt x="230" y="169"/>
                  </a:lnTo>
                  <a:lnTo>
                    <a:pt x="230" y="167"/>
                  </a:lnTo>
                  <a:lnTo>
                    <a:pt x="231" y="167"/>
                  </a:lnTo>
                  <a:lnTo>
                    <a:pt x="231" y="170"/>
                  </a:lnTo>
                  <a:lnTo>
                    <a:pt x="232" y="171"/>
                  </a:lnTo>
                  <a:lnTo>
                    <a:pt x="235" y="171"/>
                  </a:lnTo>
                  <a:lnTo>
                    <a:pt x="237" y="170"/>
                  </a:lnTo>
                  <a:lnTo>
                    <a:pt x="238" y="169"/>
                  </a:lnTo>
                  <a:lnTo>
                    <a:pt x="241" y="167"/>
                  </a:lnTo>
                  <a:lnTo>
                    <a:pt x="242" y="165"/>
                  </a:lnTo>
                  <a:lnTo>
                    <a:pt x="242" y="164"/>
                  </a:lnTo>
                  <a:lnTo>
                    <a:pt x="242" y="163"/>
                  </a:lnTo>
                  <a:lnTo>
                    <a:pt x="241" y="163"/>
                  </a:lnTo>
                  <a:lnTo>
                    <a:pt x="243" y="163"/>
                  </a:lnTo>
                  <a:lnTo>
                    <a:pt x="243" y="161"/>
                  </a:lnTo>
                  <a:lnTo>
                    <a:pt x="243" y="160"/>
                  </a:lnTo>
                  <a:lnTo>
                    <a:pt x="241" y="160"/>
                  </a:lnTo>
                  <a:lnTo>
                    <a:pt x="239" y="160"/>
                  </a:lnTo>
                  <a:lnTo>
                    <a:pt x="241" y="160"/>
                  </a:lnTo>
                  <a:lnTo>
                    <a:pt x="241" y="159"/>
                  </a:lnTo>
                  <a:lnTo>
                    <a:pt x="244" y="159"/>
                  </a:lnTo>
                  <a:lnTo>
                    <a:pt x="244" y="158"/>
                  </a:lnTo>
                  <a:lnTo>
                    <a:pt x="244" y="155"/>
                  </a:lnTo>
                  <a:lnTo>
                    <a:pt x="243" y="155"/>
                  </a:lnTo>
                  <a:lnTo>
                    <a:pt x="242" y="155"/>
                  </a:lnTo>
                  <a:lnTo>
                    <a:pt x="242" y="158"/>
                  </a:lnTo>
                  <a:lnTo>
                    <a:pt x="241" y="158"/>
                  </a:lnTo>
                  <a:lnTo>
                    <a:pt x="241" y="157"/>
                  </a:lnTo>
                  <a:lnTo>
                    <a:pt x="239" y="155"/>
                  </a:lnTo>
                  <a:lnTo>
                    <a:pt x="238" y="157"/>
                  </a:lnTo>
                  <a:lnTo>
                    <a:pt x="238" y="155"/>
                  </a:lnTo>
                  <a:lnTo>
                    <a:pt x="238" y="154"/>
                  </a:lnTo>
                  <a:lnTo>
                    <a:pt x="237" y="154"/>
                  </a:lnTo>
                  <a:lnTo>
                    <a:pt x="237" y="155"/>
                  </a:lnTo>
                  <a:lnTo>
                    <a:pt x="237" y="157"/>
                  </a:lnTo>
                  <a:lnTo>
                    <a:pt x="236" y="155"/>
                  </a:lnTo>
                  <a:lnTo>
                    <a:pt x="235" y="154"/>
                  </a:lnTo>
                  <a:lnTo>
                    <a:pt x="235" y="155"/>
                  </a:lnTo>
                  <a:lnTo>
                    <a:pt x="233" y="155"/>
                  </a:lnTo>
                  <a:lnTo>
                    <a:pt x="233" y="154"/>
                  </a:lnTo>
                  <a:lnTo>
                    <a:pt x="232" y="154"/>
                  </a:lnTo>
                  <a:lnTo>
                    <a:pt x="231" y="151"/>
                  </a:lnTo>
                  <a:lnTo>
                    <a:pt x="231" y="152"/>
                  </a:lnTo>
                  <a:lnTo>
                    <a:pt x="231" y="153"/>
                  </a:lnTo>
                  <a:lnTo>
                    <a:pt x="230" y="153"/>
                  </a:lnTo>
                  <a:lnTo>
                    <a:pt x="229" y="153"/>
                  </a:lnTo>
                  <a:lnTo>
                    <a:pt x="229" y="152"/>
                  </a:lnTo>
                  <a:lnTo>
                    <a:pt x="227" y="152"/>
                  </a:lnTo>
                  <a:lnTo>
                    <a:pt x="226" y="151"/>
                  </a:lnTo>
                  <a:lnTo>
                    <a:pt x="225" y="149"/>
                  </a:lnTo>
                  <a:lnTo>
                    <a:pt x="225" y="148"/>
                  </a:lnTo>
                  <a:lnTo>
                    <a:pt x="224" y="147"/>
                  </a:lnTo>
                  <a:lnTo>
                    <a:pt x="223" y="147"/>
                  </a:lnTo>
                  <a:lnTo>
                    <a:pt x="224" y="146"/>
                  </a:lnTo>
                  <a:lnTo>
                    <a:pt x="224" y="145"/>
                  </a:lnTo>
                  <a:lnTo>
                    <a:pt x="221" y="146"/>
                  </a:lnTo>
                  <a:lnTo>
                    <a:pt x="221" y="145"/>
                  </a:lnTo>
                  <a:lnTo>
                    <a:pt x="224" y="143"/>
                  </a:lnTo>
                  <a:lnTo>
                    <a:pt x="224" y="142"/>
                  </a:lnTo>
                  <a:lnTo>
                    <a:pt x="223" y="142"/>
                  </a:lnTo>
                  <a:lnTo>
                    <a:pt x="223" y="143"/>
                  </a:lnTo>
                  <a:lnTo>
                    <a:pt x="221" y="143"/>
                  </a:lnTo>
                  <a:lnTo>
                    <a:pt x="220" y="143"/>
                  </a:lnTo>
                  <a:lnTo>
                    <a:pt x="219" y="143"/>
                  </a:lnTo>
                  <a:lnTo>
                    <a:pt x="219" y="142"/>
                  </a:lnTo>
                  <a:lnTo>
                    <a:pt x="218" y="142"/>
                  </a:lnTo>
                  <a:lnTo>
                    <a:pt x="218" y="143"/>
                  </a:lnTo>
                  <a:lnTo>
                    <a:pt x="216" y="142"/>
                  </a:lnTo>
                  <a:lnTo>
                    <a:pt x="218" y="142"/>
                  </a:lnTo>
                  <a:lnTo>
                    <a:pt x="219" y="141"/>
                  </a:lnTo>
                  <a:lnTo>
                    <a:pt x="220" y="140"/>
                  </a:lnTo>
                  <a:lnTo>
                    <a:pt x="221" y="140"/>
                  </a:lnTo>
                  <a:lnTo>
                    <a:pt x="224" y="139"/>
                  </a:lnTo>
                  <a:lnTo>
                    <a:pt x="220" y="139"/>
                  </a:lnTo>
                  <a:lnTo>
                    <a:pt x="220" y="137"/>
                  </a:lnTo>
                  <a:lnTo>
                    <a:pt x="219" y="137"/>
                  </a:lnTo>
                  <a:lnTo>
                    <a:pt x="216" y="140"/>
                  </a:lnTo>
                  <a:lnTo>
                    <a:pt x="215" y="140"/>
                  </a:lnTo>
                  <a:lnTo>
                    <a:pt x="215" y="139"/>
                  </a:lnTo>
                  <a:lnTo>
                    <a:pt x="218" y="136"/>
                  </a:lnTo>
                  <a:lnTo>
                    <a:pt x="216" y="136"/>
                  </a:lnTo>
                  <a:lnTo>
                    <a:pt x="215" y="136"/>
                  </a:lnTo>
                  <a:lnTo>
                    <a:pt x="212" y="139"/>
                  </a:lnTo>
                  <a:lnTo>
                    <a:pt x="210" y="137"/>
                  </a:lnTo>
                  <a:lnTo>
                    <a:pt x="214" y="135"/>
                  </a:lnTo>
                  <a:lnTo>
                    <a:pt x="212" y="135"/>
                  </a:lnTo>
                  <a:lnTo>
                    <a:pt x="208" y="135"/>
                  </a:lnTo>
                  <a:lnTo>
                    <a:pt x="208" y="136"/>
                  </a:lnTo>
                  <a:lnTo>
                    <a:pt x="207" y="135"/>
                  </a:lnTo>
                  <a:lnTo>
                    <a:pt x="208" y="135"/>
                  </a:lnTo>
                  <a:lnTo>
                    <a:pt x="208" y="134"/>
                  </a:lnTo>
                  <a:lnTo>
                    <a:pt x="207" y="134"/>
                  </a:lnTo>
                  <a:lnTo>
                    <a:pt x="207" y="131"/>
                  </a:lnTo>
                  <a:lnTo>
                    <a:pt x="204" y="131"/>
                  </a:lnTo>
                  <a:lnTo>
                    <a:pt x="203" y="131"/>
                  </a:lnTo>
                  <a:lnTo>
                    <a:pt x="204" y="130"/>
                  </a:lnTo>
                  <a:lnTo>
                    <a:pt x="204" y="129"/>
                  </a:lnTo>
                  <a:lnTo>
                    <a:pt x="203" y="129"/>
                  </a:lnTo>
                  <a:lnTo>
                    <a:pt x="200" y="129"/>
                  </a:lnTo>
                  <a:lnTo>
                    <a:pt x="198" y="130"/>
                  </a:lnTo>
                  <a:lnTo>
                    <a:pt x="197" y="129"/>
                  </a:lnTo>
                  <a:lnTo>
                    <a:pt x="200" y="128"/>
                  </a:lnTo>
                  <a:lnTo>
                    <a:pt x="201" y="128"/>
                  </a:lnTo>
                  <a:lnTo>
                    <a:pt x="200" y="125"/>
                  </a:lnTo>
                  <a:lnTo>
                    <a:pt x="197" y="124"/>
                  </a:lnTo>
                  <a:lnTo>
                    <a:pt x="198" y="124"/>
                  </a:lnTo>
                  <a:lnTo>
                    <a:pt x="200" y="124"/>
                  </a:lnTo>
                  <a:lnTo>
                    <a:pt x="202" y="125"/>
                  </a:lnTo>
                  <a:lnTo>
                    <a:pt x="206" y="127"/>
                  </a:lnTo>
                  <a:lnTo>
                    <a:pt x="207" y="128"/>
                  </a:lnTo>
                  <a:lnTo>
                    <a:pt x="207" y="129"/>
                  </a:lnTo>
                  <a:lnTo>
                    <a:pt x="207" y="130"/>
                  </a:lnTo>
                  <a:lnTo>
                    <a:pt x="208" y="129"/>
                  </a:lnTo>
                  <a:lnTo>
                    <a:pt x="207" y="128"/>
                  </a:lnTo>
                  <a:lnTo>
                    <a:pt x="208" y="128"/>
                  </a:lnTo>
                  <a:lnTo>
                    <a:pt x="209" y="129"/>
                  </a:lnTo>
                  <a:lnTo>
                    <a:pt x="209" y="130"/>
                  </a:lnTo>
                  <a:lnTo>
                    <a:pt x="212" y="130"/>
                  </a:lnTo>
                  <a:lnTo>
                    <a:pt x="212" y="131"/>
                  </a:lnTo>
                  <a:lnTo>
                    <a:pt x="213" y="130"/>
                  </a:lnTo>
                  <a:lnTo>
                    <a:pt x="214" y="129"/>
                  </a:lnTo>
                  <a:lnTo>
                    <a:pt x="214" y="128"/>
                  </a:lnTo>
                  <a:lnTo>
                    <a:pt x="215" y="129"/>
                  </a:lnTo>
                  <a:lnTo>
                    <a:pt x="215" y="131"/>
                  </a:lnTo>
                  <a:lnTo>
                    <a:pt x="215" y="134"/>
                  </a:lnTo>
                  <a:lnTo>
                    <a:pt x="218" y="135"/>
                  </a:lnTo>
                  <a:lnTo>
                    <a:pt x="218" y="133"/>
                  </a:lnTo>
                  <a:lnTo>
                    <a:pt x="219" y="133"/>
                  </a:lnTo>
                  <a:lnTo>
                    <a:pt x="219" y="134"/>
                  </a:lnTo>
                  <a:lnTo>
                    <a:pt x="220" y="134"/>
                  </a:lnTo>
                  <a:lnTo>
                    <a:pt x="220" y="135"/>
                  </a:lnTo>
                  <a:lnTo>
                    <a:pt x="221" y="136"/>
                  </a:lnTo>
                  <a:lnTo>
                    <a:pt x="225" y="136"/>
                  </a:lnTo>
                  <a:lnTo>
                    <a:pt x="226" y="134"/>
                  </a:lnTo>
                  <a:lnTo>
                    <a:pt x="226" y="135"/>
                  </a:lnTo>
                  <a:lnTo>
                    <a:pt x="226" y="136"/>
                  </a:lnTo>
                  <a:lnTo>
                    <a:pt x="233" y="141"/>
                  </a:lnTo>
                  <a:lnTo>
                    <a:pt x="236" y="142"/>
                  </a:lnTo>
                  <a:lnTo>
                    <a:pt x="238" y="142"/>
                  </a:lnTo>
                  <a:lnTo>
                    <a:pt x="239" y="142"/>
                  </a:lnTo>
                  <a:lnTo>
                    <a:pt x="241" y="143"/>
                  </a:lnTo>
                  <a:lnTo>
                    <a:pt x="241" y="145"/>
                  </a:lnTo>
                  <a:lnTo>
                    <a:pt x="242" y="145"/>
                  </a:lnTo>
                  <a:lnTo>
                    <a:pt x="243" y="143"/>
                  </a:lnTo>
                  <a:lnTo>
                    <a:pt x="245" y="143"/>
                  </a:lnTo>
                  <a:lnTo>
                    <a:pt x="245" y="145"/>
                  </a:lnTo>
                  <a:lnTo>
                    <a:pt x="248" y="145"/>
                  </a:lnTo>
                  <a:lnTo>
                    <a:pt x="249" y="143"/>
                  </a:lnTo>
                  <a:lnTo>
                    <a:pt x="251" y="142"/>
                  </a:lnTo>
                  <a:lnTo>
                    <a:pt x="254" y="141"/>
                  </a:lnTo>
                  <a:lnTo>
                    <a:pt x="255" y="141"/>
                  </a:lnTo>
                  <a:lnTo>
                    <a:pt x="256" y="141"/>
                  </a:lnTo>
                  <a:lnTo>
                    <a:pt x="260" y="141"/>
                  </a:lnTo>
                  <a:lnTo>
                    <a:pt x="262" y="141"/>
                  </a:lnTo>
                  <a:lnTo>
                    <a:pt x="262" y="140"/>
                  </a:lnTo>
                  <a:lnTo>
                    <a:pt x="262" y="137"/>
                  </a:lnTo>
                  <a:lnTo>
                    <a:pt x="263" y="136"/>
                  </a:lnTo>
                  <a:lnTo>
                    <a:pt x="262" y="136"/>
                  </a:lnTo>
                  <a:lnTo>
                    <a:pt x="261" y="137"/>
                  </a:lnTo>
                  <a:lnTo>
                    <a:pt x="259" y="139"/>
                  </a:lnTo>
                  <a:lnTo>
                    <a:pt x="257" y="139"/>
                  </a:lnTo>
                  <a:lnTo>
                    <a:pt x="256" y="139"/>
                  </a:lnTo>
                  <a:lnTo>
                    <a:pt x="257" y="137"/>
                  </a:lnTo>
                  <a:lnTo>
                    <a:pt x="260" y="136"/>
                  </a:lnTo>
                  <a:lnTo>
                    <a:pt x="261" y="135"/>
                  </a:lnTo>
                  <a:lnTo>
                    <a:pt x="262" y="135"/>
                  </a:lnTo>
                  <a:lnTo>
                    <a:pt x="262" y="134"/>
                  </a:lnTo>
                  <a:lnTo>
                    <a:pt x="261" y="134"/>
                  </a:lnTo>
                  <a:lnTo>
                    <a:pt x="261" y="133"/>
                  </a:lnTo>
                  <a:lnTo>
                    <a:pt x="262" y="131"/>
                  </a:lnTo>
                  <a:lnTo>
                    <a:pt x="261" y="130"/>
                  </a:lnTo>
                  <a:lnTo>
                    <a:pt x="260" y="130"/>
                  </a:lnTo>
                  <a:lnTo>
                    <a:pt x="259" y="129"/>
                  </a:lnTo>
                  <a:lnTo>
                    <a:pt x="257" y="129"/>
                  </a:lnTo>
                  <a:lnTo>
                    <a:pt x="259" y="129"/>
                  </a:lnTo>
                  <a:lnTo>
                    <a:pt x="261" y="129"/>
                  </a:lnTo>
                  <a:lnTo>
                    <a:pt x="265" y="130"/>
                  </a:lnTo>
                  <a:lnTo>
                    <a:pt x="266" y="130"/>
                  </a:lnTo>
                  <a:lnTo>
                    <a:pt x="271" y="125"/>
                  </a:lnTo>
                  <a:lnTo>
                    <a:pt x="272" y="127"/>
                  </a:lnTo>
                  <a:lnTo>
                    <a:pt x="273" y="125"/>
                  </a:lnTo>
                  <a:lnTo>
                    <a:pt x="273" y="124"/>
                  </a:lnTo>
                  <a:lnTo>
                    <a:pt x="274" y="123"/>
                  </a:lnTo>
                  <a:lnTo>
                    <a:pt x="277" y="123"/>
                  </a:lnTo>
                  <a:lnTo>
                    <a:pt x="277" y="122"/>
                  </a:lnTo>
                  <a:lnTo>
                    <a:pt x="278" y="122"/>
                  </a:lnTo>
                  <a:lnTo>
                    <a:pt x="279" y="120"/>
                  </a:lnTo>
                  <a:lnTo>
                    <a:pt x="279" y="119"/>
                  </a:lnTo>
                  <a:lnTo>
                    <a:pt x="279" y="117"/>
                  </a:lnTo>
                  <a:lnTo>
                    <a:pt x="279" y="116"/>
                  </a:lnTo>
                  <a:lnTo>
                    <a:pt x="278" y="116"/>
                  </a:lnTo>
                  <a:lnTo>
                    <a:pt x="279" y="114"/>
                  </a:lnTo>
                  <a:lnTo>
                    <a:pt x="279" y="113"/>
                  </a:lnTo>
                  <a:lnTo>
                    <a:pt x="277" y="112"/>
                  </a:lnTo>
                  <a:lnTo>
                    <a:pt x="277" y="111"/>
                  </a:lnTo>
                  <a:lnTo>
                    <a:pt x="275" y="112"/>
                  </a:lnTo>
                  <a:lnTo>
                    <a:pt x="275" y="113"/>
                  </a:lnTo>
                  <a:lnTo>
                    <a:pt x="274" y="113"/>
                  </a:lnTo>
                  <a:lnTo>
                    <a:pt x="273" y="114"/>
                  </a:lnTo>
                  <a:lnTo>
                    <a:pt x="272" y="114"/>
                  </a:lnTo>
                  <a:lnTo>
                    <a:pt x="272" y="117"/>
                  </a:lnTo>
                  <a:lnTo>
                    <a:pt x="271" y="116"/>
                  </a:lnTo>
                  <a:lnTo>
                    <a:pt x="271" y="114"/>
                  </a:lnTo>
                  <a:lnTo>
                    <a:pt x="271" y="113"/>
                  </a:lnTo>
                  <a:lnTo>
                    <a:pt x="269" y="113"/>
                  </a:lnTo>
                  <a:lnTo>
                    <a:pt x="267" y="117"/>
                  </a:lnTo>
                  <a:lnTo>
                    <a:pt x="266" y="117"/>
                  </a:lnTo>
                  <a:lnTo>
                    <a:pt x="266" y="116"/>
                  </a:lnTo>
                  <a:lnTo>
                    <a:pt x="269" y="113"/>
                  </a:lnTo>
                  <a:lnTo>
                    <a:pt x="269" y="112"/>
                  </a:lnTo>
                  <a:lnTo>
                    <a:pt x="268" y="112"/>
                  </a:lnTo>
                  <a:lnTo>
                    <a:pt x="267" y="112"/>
                  </a:lnTo>
                  <a:lnTo>
                    <a:pt x="266" y="112"/>
                  </a:lnTo>
                  <a:lnTo>
                    <a:pt x="266" y="113"/>
                  </a:lnTo>
                  <a:lnTo>
                    <a:pt x="265" y="113"/>
                  </a:lnTo>
                  <a:lnTo>
                    <a:pt x="263" y="112"/>
                  </a:lnTo>
                  <a:lnTo>
                    <a:pt x="263" y="111"/>
                  </a:lnTo>
                  <a:lnTo>
                    <a:pt x="263" y="110"/>
                  </a:lnTo>
                  <a:lnTo>
                    <a:pt x="263" y="108"/>
                  </a:lnTo>
                  <a:lnTo>
                    <a:pt x="261" y="108"/>
                  </a:lnTo>
                  <a:lnTo>
                    <a:pt x="262" y="108"/>
                  </a:lnTo>
                  <a:lnTo>
                    <a:pt x="262" y="107"/>
                  </a:lnTo>
                  <a:lnTo>
                    <a:pt x="261" y="107"/>
                  </a:lnTo>
                  <a:lnTo>
                    <a:pt x="261" y="106"/>
                  </a:lnTo>
                  <a:lnTo>
                    <a:pt x="262" y="105"/>
                  </a:lnTo>
                  <a:lnTo>
                    <a:pt x="263" y="105"/>
                  </a:lnTo>
                  <a:lnTo>
                    <a:pt x="263" y="106"/>
                  </a:lnTo>
                  <a:lnTo>
                    <a:pt x="265" y="106"/>
                  </a:lnTo>
                  <a:lnTo>
                    <a:pt x="265" y="105"/>
                  </a:lnTo>
                  <a:lnTo>
                    <a:pt x="263" y="102"/>
                  </a:lnTo>
                  <a:lnTo>
                    <a:pt x="262" y="101"/>
                  </a:lnTo>
                  <a:lnTo>
                    <a:pt x="261" y="100"/>
                  </a:lnTo>
                  <a:lnTo>
                    <a:pt x="260" y="102"/>
                  </a:lnTo>
                  <a:lnTo>
                    <a:pt x="259" y="102"/>
                  </a:lnTo>
                  <a:lnTo>
                    <a:pt x="259" y="101"/>
                  </a:lnTo>
                  <a:lnTo>
                    <a:pt x="260" y="101"/>
                  </a:lnTo>
                  <a:lnTo>
                    <a:pt x="260" y="100"/>
                  </a:lnTo>
                  <a:lnTo>
                    <a:pt x="259" y="100"/>
                  </a:lnTo>
                  <a:lnTo>
                    <a:pt x="259" y="95"/>
                  </a:lnTo>
                  <a:lnTo>
                    <a:pt x="257" y="95"/>
                  </a:lnTo>
                  <a:lnTo>
                    <a:pt x="257" y="96"/>
                  </a:lnTo>
                  <a:lnTo>
                    <a:pt x="256" y="98"/>
                  </a:lnTo>
                  <a:lnTo>
                    <a:pt x="255" y="100"/>
                  </a:lnTo>
                  <a:lnTo>
                    <a:pt x="253" y="99"/>
                  </a:lnTo>
                  <a:lnTo>
                    <a:pt x="254" y="99"/>
                  </a:lnTo>
                  <a:lnTo>
                    <a:pt x="254" y="98"/>
                  </a:lnTo>
                  <a:lnTo>
                    <a:pt x="253" y="96"/>
                  </a:lnTo>
                  <a:lnTo>
                    <a:pt x="254" y="96"/>
                  </a:lnTo>
                  <a:lnTo>
                    <a:pt x="255" y="96"/>
                  </a:lnTo>
                  <a:lnTo>
                    <a:pt x="256" y="95"/>
                  </a:lnTo>
                  <a:lnTo>
                    <a:pt x="255" y="95"/>
                  </a:lnTo>
                  <a:lnTo>
                    <a:pt x="254" y="95"/>
                  </a:lnTo>
                  <a:lnTo>
                    <a:pt x="253" y="94"/>
                  </a:lnTo>
                  <a:lnTo>
                    <a:pt x="256" y="94"/>
                  </a:lnTo>
                  <a:lnTo>
                    <a:pt x="257" y="94"/>
                  </a:lnTo>
                  <a:lnTo>
                    <a:pt x="259" y="93"/>
                  </a:lnTo>
                  <a:lnTo>
                    <a:pt x="256" y="92"/>
                  </a:lnTo>
                  <a:lnTo>
                    <a:pt x="254" y="93"/>
                  </a:lnTo>
                  <a:lnTo>
                    <a:pt x="253" y="92"/>
                  </a:lnTo>
                  <a:lnTo>
                    <a:pt x="255" y="90"/>
                  </a:lnTo>
                  <a:lnTo>
                    <a:pt x="254" y="90"/>
                  </a:lnTo>
                  <a:lnTo>
                    <a:pt x="250" y="92"/>
                  </a:lnTo>
                  <a:lnTo>
                    <a:pt x="249" y="92"/>
                  </a:lnTo>
                  <a:lnTo>
                    <a:pt x="249" y="90"/>
                  </a:lnTo>
                  <a:lnTo>
                    <a:pt x="251" y="89"/>
                  </a:lnTo>
                  <a:lnTo>
                    <a:pt x="251" y="88"/>
                  </a:lnTo>
                  <a:lnTo>
                    <a:pt x="250" y="88"/>
                  </a:lnTo>
                  <a:lnTo>
                    <a:pt x="249" y="88"/>
                  </a:lnTo>
                  <a:lnTo>
                    <a:pt x="250" y="88"/>
                  </a:lnTo>
                  <a:lnTo>
                    <a:pt x="249" y="87"/>
                  </a:lnTo>
                  <a:lnTo>
                    <a:pt x="248" y="88"/>
                  </a:lnTo>
                  <a:lnTo>
                    <a:pt x="245" y="88"/>
                  </a:lnTo>
                  <a:lnTo>
                    <a:pt x="244" y="88"/>
                  </a:lnTo>
                  <a:lnTo>
                    <a:pt x="243" y="89"/>
                  </a:lnTo>
                  <a:lnTo>
                    <a:pt x="242" y="88"/>
                  </a:lnTo>
                  <a:lnTo>
                    <a:pt x="242" y="87"/>
                  </a:lnTo>
                  <a:lnTo>
                    <a:pt x="242" y="86"/>
                  </a:lnTo>
                  <a:lnTo>
                    <a:pt x="243" y="86"/>
                  </a:lnTo>
                  <a:lnTo>
                    <a:pt x="244" y="86"/>
                  </a:lnTo>
                  <a:lnTo>
                    <a:pt x="247" y="86"/>
                  </a:lnTo>
                  <a:lnTo>
                    <a:pt x="247" y="84"/>
                  </a:lnTo>
                  <a:lnTo>
                    <a:pt x="244" y="83"/>
                  </a:lnTo>
                  <a:lnTo>
                    <a:pt x="243" y="84"/>
                  </a:lnTo>
                  <a:lnTo>
                    <a:pt x="242" y="84"/>
                  </a:lnTo>
                  <a:lnTo>
                    <a:pt x="241" y="86"/>
                  </a:lnTo>
                  <a:lnTo>
                    <a:pt x="239" y="84"/>
                  </a:lnTo>
                  <a:lnTo>
                    <a:pt x="241" y="83"/>
                  </a:lnTo>
                  <a:lnTo>
                    <a:pt x="241" y="82"/>
                  </a:lnTo>
                  <a:lnTo>
                    <a:pt x="239" y="83"/>
                  </a:lnTo>
                  <a:lnTo>
                    <a:pt x="237" y="83"/>
                  </a:lnTo>
                  <a:lnTo>
                    <a:pt x="237" y="84"/>
                  </a:lnTo>
                  <a:lnTo>
                    <a:pt x="236" y="83"/>
                  </a:lnTo>
                  <a:lnTo>
                    <a:pt x="237" y="83"/>
                  </a:lnTo>
                  <a:lnTo>
                    <a:pt x="238" y="82"/>
                  </a:lnTo>
                  <a:lnTo>
                    <a:pt x="237" y="81"/>
                  </a:lnTo>
                  <a:lnTo>
                    <a:pt x="236" y="82"/>
                  </a:lnTo>
                  <a:lnTo>
                    <a:pt x="235" y="82"/>
                  </a:lnTo>
                  <a:lnTo>
                    <a:pt x="233" y="82"/>
                  </a:lnTo>
                  <a:lnTo>
                    <a:pt x="232" y="82"/>
                  </a:lnTo>
                  <a:lnTo>
                    <a:pt x="231" y="83"/>
                  </a:lnTo>
                  <a:lnTo>
                    <a:pt x="230" y="82"/>
                  </a:lnTo>
                  <a:lnTo>
                    <a:pt x="232" y="81"/>
                  </a:lnTo>
                  <a:lnTo>
                    <a:pt x="233" y="81"/>
                  </a:lnTo>
                  <a:lnTo>
                    <a:pt x="226" y="76"/>
                  </a:lnTo>
                  <a:lnTo>
                    <a:pt x="225" y="75"/>
                  </a:lnTo>
                  <a:lnTo>
                    <a:pt x="229" y="76"/>
                  </a:lnTo>
                  <a:lnTo>
                    <a:pt x="233" y="78"/>
                  </a:lnTo>
                  <a:lnTo>
                    <a:pt x="235" y="78"/>
                  </a:lnTo>
                  <a:lnTo>
                    <a:pt x="236" y="78"/>
                  </a:lnTo>
                  <a:lnTo>
                    <a:pt x="233" y="77"/>
                  </a:lnTo>
                  <a:lnTo>
                    <a:pt x="233" y="76"/>
                  </a:lnTo>
                  <a:lnTo>
                    <a:pt x="237" y="78"/>
                  </a:lnTo>
                  <a:lnTo>
                    <a:pt x="237" y="80"/>
                  </a:lnTo>
                  <a:lnTo>
                    <a:pt x="238" y="80"/>
                  </a:lnTo>
                  <a:lnTo>
                    <a:pt x="239" y="78"/>
                  </a:lnTo>
                  <a:lnTo>
                    <a:pt x="241" y="80"/>
                  </a:lnTo>
                  <a:lnTo>
                    <a:pt x="241" y="81"/>
                  </a:lnTo>
                  <a:lnTo>
                    <a:pt x="242" y="81"/>
                  </a:lnTo>
                  <a:lnTo>
                    <a:pt x="242" y="80"/>
                  </a:lnTo>
                  <a:lnTo>
                    <a:pt x="243" y="80"/>
                  </a:lnTo>
                  <a:lnTo>
                    <a:pt x="243" y="81"/>
                  </a:lnTo>
                  <a:lnTo>
                    <a:pt x="244" y="82"/>
                  </a:lnTo>
                  <a:lnTo>
                    <a:pt x="244" y="83"/>
                  </a:lnTo>
                  <a:lnTo>
                    <a:pt x="245" y="83"/>
                  </a:lnTo>
                  <a:lnTo>
                    <a:pt x="247" y="83"/>
                  </a:lnTo>
                  <a:lnTo>
                    <a:pt x="248" y="83"/>
                  </a:lnTo>
                  <a:lnTo>
                    <a:pt x="247" y="82"/>
                  </a:lnTo>
                  <a:lnTo>
                    <a:pt x="245" y="82"/>
                  </a:lnTo>
                  <a:lnTo>
                    <a:pt x="245" y="81"/>
                  </a:lnTo>
                  <a:lnTo>
                    <a:pt x="247" y="81"/>
                  </a:lnTo>
                  <a:lnTo>
                    <a:pt x="247" y="80"/>
                  </a:lnTo>
                  <a:lnTo>
                    <a:pt x="248" y="80"/>
                  </a:lnTo>
                  <a:lnTo>
                    <a:pt x="249" y="81"/>
                  </a:lnTo>
                  <a:lnTo>
                    <a:pt x="249" y="82"/>
                  </a:lnTo>
                  <a:lnTo>
                    <a:pt x="250" y="83"/>
                  </a:lnTo>
                  <a:lnTo>
                    <a:pt x="251" y="83"/>
                  </a:lnTo>
                  <a:lnTo>
                    <a:pt x="251" y="84"/>
                  </a:lnTo>
                  <a:lnTo>
                    <a:pt x="253" y="86"/>
                  </a:lnTo>
                  <a:lnTo>
                    <a:pt x="253" y="87"/>
                  </a:lnTo>
                  <a:lnTo>
                    <a:pt x="254" y="88"/>
                  </a:lnTo>
                  <a:lnTo>
                    <a:pt x="255" y="86"/>
                  </a:lnTo>
                  <a:lnTo>
                    <a:pt x="256" y="86"/>
                  </a:lnTo>
                  <a:lnTo>
                    <a:pt x="256" y="87"/>
                  </a:lnTo>
                  <a:lnTo>
                    <a:pt x="255" y="88"/>
                  </a:lnTo>
                  <a:lnTo>
                    <a:pt x="256" y="89"/>
                  </a:lnTo>
                  <a:lnTo>
                    <a:pt x="257" y="89"/>
                  </a:lnTo>
                  <a:lnTo>
                    <a:pt x="257" y="90"/>
                  </a:lnTo>
                  <a:lnTo>
                    <a:pt x="259" y="92"/>
                  </a:lnTo>
                  <a:lnTo>
                    <a:pt x="260" y="92"/>
                  </a:lnTo>
                  <a:lnTo>
                    <a:pt x="261" y="92"/>
                  </a:lnTo>
                  <a:lnTo>
                    <a:pt x="262" y="92"/>
                  </a:lnTo>
                  <a:lnTo>
                    <a:pt x="262" y="89"/>
                  </a:lnTo>
                  <a:lnTo>
                    <a:pt x="261" y="90"/>
                  </a:lnTo>
                  <a:lnTo>
                    <a:pt x="260" y="90"/>
                  </a:lnTo>
                  <a:lnTo>
                    <a:pt x="260" y="89"/>
                  </a:lnTo>
                  <a:lnTo>
                    <a:pt x="261" y="89"/>
                  </a:lnTo>
                  <a:lnTo>
                    <a:pt x="261" y="88"/>
                  </a:lnTo>
                  <a:lnTo>
                    <a:pt x="260" y="87"/>
                  </a:lnTo>
                  <a:lnTo>
                    <a:pt x="261" y="87"/>
                  </a:lnTo>
                  <a:lnTo>
                    <a:pt x="262" y="88"/>
                  </a:lnTo>
                  <a:lnTo>
                    <a:pt x="263" y="89"/>
                  </a:lnTo>
                  <a:lnTo>
                    <a:pt x="263" y="88"/>
                  </a:lnTo>
                  <a:lnTo>
                    <a:pt x="265" y="87"/>
                  </a:lnTo>
                  <a:lnTo>
                    <a:pt x="266" y="87"/>
                  </a:lnTo>
                  <a:lnTo>
                    <a:pt x="266" y="88"/>
                  </a:lnTo>
                  <a:lnTo>
                    <a:pt x="265" y="88"/>
                  </a:lnTo>
                  <a:lnTo>
                    <a:pt x="265" y="89"/>
                  </a:lnTo>
                  <a:lnTo>
                    <a:pt x="266" y="90"/>
                  </a:lnTo>
                  <a:lnTo>
                    <a:pt x="267" y="90"/>
                  </a:lnTo>
                  <a:lnTo>
                    <a:pt x="266" y="90"/>
                  </a:lnTo>
                  <a:lnTo>
                    <a:pt x="265" y="90"/>
                  </a:lnTo>
                  <a:lnTo>
                    <a:pt x="263" y="92"/>
                  </a:lnTo>
                  <a:lnTo>
                    <a:pt x="263" y="93"/>
                  </a:lnTo>
                  <a:lnTo>
                    <a:pt x="262" y="94"/>
                  </a:lnTo>
                  <a:lnTo>
                    <a:pt x="265" y="94"/>
                  </a:lnTo>
                  <a:lnTo>
                    <a:pt x="265" y="95"/>
                  </a:lnTo>
                  <a:lnTo>
                    <a:pt x="267" y="96"/>
                  </a:lnTo>
                  <a:lnTo>
                    <a:pt x="269" y="98"/>
                  </a:lnTo>
                  <a:lnTo>
                    <a:pt x="271" y="99"/>
                  </a:lnTo>
                  <a:lnTo>
                    <a:pt x="273" y="100"/>
                  </a:lnTo>
                  <a:lnTo>
                    <a:pt x="274" y="101"/>
                  </a:lnTo>
                  <a:lnTo>
                    <a:pt x="275" y="101"/>
                  </a:lnTo>
                  <a:lnTo>
                    <a:pt x="278" y="101"/>
                  </a:lnTo>
                  <a:lnTo>
                    <a:pt x="278" y="100"/>
                  </a:lnTo>
                  <a:lnTo>
                    <a:pt x="279" y="98"/>
                  </a:lnTo>
                  <a:lnTo>
                    <a:pt x="280" y="96"/>
                  </a:lnTo>
                  <a:lnTo>
                    <a:pt x="280" y="95"/>
                  </a:lnTo>
                  <a:lnTo>
                    <a:pt x="279" y="95"/>
                  </a:lnTo>
                  <a:lnTo>
                    <a:pt x="279" y="96"/>
                  </a:lnTo>
                  <a:lnTo>
                    <a:pt x="275" y="96"/>
                  </a:lnTo>
                  <a:lnTo>
                    <a:pt x="277" y="95"/>
                  </a:lnTo>
                  <a:lnTo>
                    <a:pt x="278" y="95"/>
                  </a:lnTo>
                  <a:lnTo>
                    <a:pt x="280" y="94"/>
                  </a:lnTo>
                  <a:lnTo>
                    <a:pt x="282" y="94"/>
                  </a:lnTo>
                  <a:lnTo>
                    <a:pt x="282" y="93"/>
                  </a:lnTo>
                  <a:lnTo>
                    <a:pt x="280" y="93"/>
                  </a:lnTo>
                  <a:lnTo>
                    <a:pt x="278" y="93"/>
                  </a:lnTo>
                  <a:lnTo>
                    <a:pt x="277" y="92"/>
                  </a:lnTo>
                  <a:lnTo>
                    <a:pt x="277" y="90"/>
                  </a:lnTo>
                  <a:lnTo>
                    <a:pt x="275" y="89"/>
                  </a:lnTo>
                  <a:lnTo>
                    <a:pt x="277" y="88"/>
                  </a:lnTo>
                  <a:lnTo>
                    <a:pt x="279" y="88"/>
                  </a:lnTo>
                  <a:lnTo>
                    <a:pt x="280" y="88"/>
                  </a:lnTo>
                  <a:lnTo>
                    <a:pt x="283" y="88"/>
                  </a:lnTo>
                  <a:lnTo>
                    <a:pt x="283" y="87"/>
                  </a:lnTo>
                  <a:lnTo>
                    <a:pt x="282" y="86"/>
                  </a:lnTo>
                  <a:lnTo>
                    <a:pt x="280" y="86"/>
                  </a:lnTo>
                  <a:lnTo>
                    <a:pt x="279" y="86"/>
                  </a:lnTo>
                  <a:lnTo>
                    <a:pt x="279" y="84"/>
                  </a:lnTo>
                  <a:lnTo>
                    <a:pt x="279" y="83"/>
                  </a:lnTo>
                  <a:lnTo>
                    <a:pt x="278" y="83"/>
                  </a:lnTo>
                  <a:lnTo>
                    <a:pt x="278" y="84"/>
                  </a:lnTo>
                  <a:lnTo>
                    <a:pt x="275" y="84"/>
                  </a:lnTo>
                  <a:lnTo>
                    <a:pt x="277" y="83"/>
                  </a:lnTo>
                  <a:lnTo>
                    <a:pt x="279" y="83"/>
                  </a:lnTo>
                  <a:lnTo>
                    <a:pt x="279" y="82"/>
                  </a:lnTo>
                  <a:lnTo>
                    <a:pt x="278" y="82"/>
                  </a:lnTo>
                  <a:lnTo>
                    <a:pt x="277" y="81"/>
                  </a:lnTo>
                  <a:lnTo>
                    <a:pt x="277" y="82"/>
                  </a:lnTo>
                  <a:lnTo>
                    <a:pt x="275" y="82"/>
                  </a:lnTo>
                  <a:lnTo>
                    <a:pt x="273" y="82"/>
                  </a:lnTo>
                  <a:lnTo>
                    <a:pt x="272" y="82"/>
                  </a:lnTo>
                  <a:lnTo>
                    <a:pt x="271" y="83"/>
                  </a:lnTo>
                  <a:lnTo>
                    <a:pt x="269" y="84"/>
                  </a:lnTo>
                  <a:lnTo>
                    <a:pt x="269" y="83"/>
                  </a:lnTo>
                  <a:lnTo>
                    <a:pt x="268" y="83"/>
                  </a:lnTo>
                  <a:lnTo>
                    <a:pt x="269" y="82"/>
                  </a:lnTo>
                  <a:lnTo>
                    <a:pt x="272" y="81"/>
                  </a:lnTo>
                  <a:lnTo>
                    <a:pt x="271" y="80"/>
                  </a:lnTo>
                  <a:lnTo>
                    <a:pt x="271" y="81"/>
                  </a:lnTo>
                  <a:lnTo>
                    <a:pt x="269" y="81"/>
                  </a:lnTo>
                  <a:lnTo>
                    <a:pt x="269" y="80"/>
                  </a:lnTo>
                  <a:lnTo>
                    <a:pt x="271" y="78"/>
                  </a:lnTo>
                  <a:lnTo>
                    <a:pt x="271" y="77"/>
                  </a:lnTo>
                  <a:lnTo>
                    <a:pt x="269" y="77"/>
                  </a:lnTo>
                  <a:lnTo>
                    <a:pt x="268" y="77"/>
                  </a:lnTo>
                  <a:lnTo>
                    <a:pt x="268" y="78"/>
                  </a:lnTo>
                  <a:lnTo>
                    <a:pt x="268" y="80"/>
                  </a:lnTo>
                  <a:lnTo>
                    <a:pt x="268" y="81"/>
                  </a:lnTo>
                  <a:lnTo>
                    <a:pt x="267" y="81"/>
                  </a:lnTo>
                  <a:lnTo>
                    <a:pt x="266" y="80"/>
                  </a:lnTo>
                  <a:lnTo>
                    <a:pt x="266" y="78"/>
                  </a:lnTo>
                  <a:lnTo>
                    <a:pt x="265" y="78"/>
                  </a:lnTo>
                  <a:lnTo>
                    <a:pt x="263" y="77"/>
                  </a:lnTo>
                  <a:lnTo>
                    <a:pt x="265" y="77"/>
                  </a:lnTo>
                  <a:lnTo>
                    <a:pt x="267" y="76"/>
                  </a:lnTo>
                  <a:lnTo>
                    <a:pt x="266" y="76"/>
                  </a:lnTo>
                  <a:lnTo>
                    <a:pt x="265" y="76"/>
                  </a:lnTo>
                  <a:lnTo>
                    <a:pt x="265" y="75"/>
                  </a:lnTo>
                  <a:lnTo>
                    <a:pt x="263" y="75"/>
                  </a:lnTo>
                  <a:lnTo>
                    <a:pt x="263" y="74"/>
                  </a:lnTo>
                  <a:lnTo>
                    <a:pt x="261" y="72"/>
                  </a:lnTo>
                  <a:lnTo>
                    <a:pt x="260" y="72"/>
                  </a:lnTo>
                  <a:lnTo>
                    <a:pt x="259" y="72"/>
                  </a:lnTo>
                  <a:lnTo>
                    <a:pt x="257" y="72"/>
                  </a:lnTo>
                  <a:lnTo>
                    <a:pt x="259" y="71"/>
                  </a:lnTo>
                  <a:lnTo>
                    <a:pt x="260" y="70"/>
                  </a:lnTo>
                  <a:lnTo>
                    <a:pt x="261" y="70"/>
                  </a:lnTo>
                  <a:lnTo>
                    <a:pt x="261" y="69"/>
                  </a:lnTo>
                  <a:lnTo>
                    <a:pt x="260" y="69"/>
                  </a:lnTo>
                  <a:lnTo>
                    <a:pt x="259" y="68"/>
                  </a:lnTo>
                  <a:lnTo>
                    <a:pt x="257" y="68"/>
                  </a:lnTo>
                  <a:lnTo>
                    <a:pt x="257" y="69"/>
                  </a:lnTo>
                  <a:lnTo>
                    <a:pt x="254" y="68"/>
                  </a:lnTo>
                  <a:lnTo>
                    <a:pt x="253" y="69"/>
                  </a:lnTo>
                  <a:lnTo>
                    <a:pt x="250" y="69"/>
                  </a:lnTo>
                  <a:lnTo>
                    <a:pt x="249" y="69"/>
                  </a:lnTo>
                  <a:lnTo>
                    <a:pt x="248" y="69"/>
                  </a:lnTo>
                  <a:lnTo>
                    <a:pt x="248" y="68"/>
                  </a:lnTo>
                  <a:lnTo>
                    <a:pt x="249" y="66"/>
                  </a:lnTo>
                  <a:lnTo>
                    <a:pt x="250" y="66"/>
                  </a:lnTo>
                  <a:lnTo>
                    <a:pt x="251" y="66"/>
                  </a:lnTo>
                  <a:lnTo>
                    <a:pt x="253" y="66"/>
                  </a:lnTo>
                  <a:lnTo>
                    <a:pt x="253" y="65"/>
                  </a:lnTo>
                  <a:lnTo>
                    <a:pt x="251" y="65"/>
                  </a:lnTo>
                  <a:lnTo>
                    <a:pt x="250" y="65"/>
                  </a:lnTo>
                  <a:lnTo>
                    <a:pt x="250" y="66"/>
                  </a:lnTo>
                  <a:lnTo>
                    <a:pt x="248" y="68"/>
                  </a:lnTo>
                  <a:lnTo>
                    <a:pt x="247" y="66"/>
                  </a:lnTo>
                  <a:lnTo>
                    <a:pt x="248" y="65"/>
                  </a:lnTo>
                  <a:lnTo>
                    <a:pt x="249" y="65"/>
                  </a:lnTo>
                  <a:lnTo>
                    <a:pt x="250" y="64"/>
                  </a:lnTo>
                  <a:lnTo>
                    <a:pt x="248" y="64"/>
                  </a:lnTo>
                  <a:lnTo>
                    <a:pt x="247" y="64"/>
                  </a:lnTo>
                  <a:lnTo>
                    <a:pt x="245" y="65"/>
                  </a:lnTo>
                  <a:lnTo>
                    <a:pt x="244" y="65"/>
                  </a:lnTo>
                  <a:lnTo>
                    <a:pt x="245" y="64"/>
                  </a:lnTo>
                  <a:lnTo>
                    <a:pt x="245" y="63"/>
                  </a:lnTo>
                  <a:lnTo>
                    <a:pt x="245" y="62"/>
                  </a:lnTo>
                  <a:lnTo>
                    <a:pt x="245" y="63"/>
                  </a:lnTo>
                  <a:lnTo>
                    <a:pt x="244" y="63"/>
                  </a:lnTo>
                  <a:lnTo>
                    <a:pt x="243" y="63"/>
                  </a:lnTo>
                  <a:lnTo>
                    <a:pt x="241" y="64"/>
                  </a:lnTo>
                  <a:lnTo>
                    <a:pt x="239" y="63"/>
                  </a:lnTo>
                  <a:lnTo>
                    <a:pt x="241" y="63"/>
                  </a:lnTo>
                  <a:lnTo>
                    <a:pt x="241" y="62"/>
                  </a:lnTo>
                  <a:lnTo>
                    <a:pt x="242" y="62"/>
                  </a:lnTo>
                  <a:lnTo>
                    <a:pt x="243" y="62"/>
                  </a:lnTo>
                  <a:lnTo>
                    <a:pt x="242" y="60"/>
                  </a:lnTo>
                  <a:lnTo>
                    <a:pt x="237" y="58"/>
                  </a:lnTo>
                  <a:lnTo>
                    <a:pt x="236" y="57"/>
                  </a:lnTo>
                  <a:lnTo>
                    <a:pt x="237" y="57"/>
                  </a:lnTo>
                  <a:lnTo>
                    <a:pt x="239" y="58"/>
                  </a:lnTo>
                  <a:lnTo>
                    <a:pt x="243" y="59"/>
                  </a:lnTo>
                  <a:lnTo>
                    <a:pt x="242" y="58"/>
                  </a:lnTo>
                  <a:lnTo>
                    <a:pt x="241" y="58"/>
                  </a:lnTo>
                  <a:lnTo>
                    <a:pt x="242" y="57"/>
                  </a:lnTo>
                  <a:lnTo>
                    <a:pt x="243" y="57"/>
                  </a:lnTo>
                  <a:lnTo>
                    <a:pt x="244" y="58"/>
                  </a:lnTo>
                  <a:lnTo>
                    <a:pt x="245" y="59"/>
                  </a:lnTo>
                  <a:lnTo>
                    <a:pt x="248" y="60"/>
                  </a:lnTo>
                  <a:lnTo>
                    <a:pt x="249" y="60"/>
                  </a:lnTo>
                  <a:lnTo>
                    <a:pt x="249" y="62"/>
                  </a:lnTo>
                  <a:lnTo>
                    <a:pt x="250" y="62"/>
                  </a:lnTo>
                  <a:lnTo>
                    <a:pt x="250" y="60"/>
                  </a:lnTo>
                  <a:lnTo>
                    <a:pt x="251" y="59"/>
                  </a:lnTo>
                  <a:lnTo>
                    <a:pt x="253" y="60"/>
                  </a:lnTo>
                  <a:lnTo>
                    <a:pt x="253" y="62"/>
                  </a:lnTo>
                  <a:lnTo>
                    <a:pt x="254" y="62"/>
                  </a:lnTo>
                  <a:lnTo>
                    <a:pt x="255" y="63"/>
                  </a:lnTo>
                  <a:lnTo>
                    <a:pt x="256" y="64"/>
                  </a:lnTo>
                  <a:lnTo>
                    <a:pt x="256" y="63"/>
                  </a:lnTo>
                  <a:lnTo>
                    <a:pt x="255" y="62"/>
                  </a:lnTo>
                  <a:lnTo>
                    <a:pt x="255" y="60"/>
                  </a:lnTo>
                  <a:lnTo>
                    <a:pt x="256" y="60"/>
                  </a:lnTo>
                  <a:lnTo>
                    <a:pt x="257" y="60"/>
                  </a:lnTo>
                  <a:lnTo>
                    <a:pt x="259" y="60"/>
                  </a:lnTo>
                  <a:lnTo>
                    <a:pt x="259" y="62"/>
                  </a:lnTo>
                  <a:lnTo>
                    <a:pt x="260" y="63"/>
                  </a:lnTo>
                  <a:lnTo>
                    <a:pt x="260" y="64"/>
                  </a:lnTo>
                  <a:lnTo>
                    <a:pt x="259" y="63"/>
                  </a:lnTo>
                  <a:lnTo>
                    <a:pt x="259" y="64"/>
                  </a:lnTo>
                  <a:lnTo>
                    <a:pt x="260" y="64"/>
                  </a:lnTo>
                  <a:lnTo>
                    <a:pt x="261" y="64"/>
                  </a:lnTo>
                  <a:lnTo>
                    <a:pt x="262" y="65"/>
                  </a:lnTo>
                  <a:lnTo>
                    <a:pt x="263" y="66"/>
                  </a:lnTo>
                  <a:lnTo>
                    <a:pt x="265" y="66"/>
                  </a:lnTo>
                  <a:lnTo>
                    <a:pt x="266" y="68"/>
                  </a:lnTo>
                  <a:lnTo>
                    <a:pt x="267" y="66"/>
                  </a:lnTo>
                  <a:lnTo>
                    <a:pt x="268" y="66"/>
                  </a:lnTo>
                  <a:lnTo>
                    <a:pt x="269" y="68"/>
                  </a:lnTo>
                  <a:lnTo>
                    <a:pt x="271" y="68"/>
                  </a:lnTo>
                  <a:lnTo>
                    <a:pt x="271" y="69"/>
                  </a:lnTo>
                  <a:lnTo>
                    <a:pt x="272" y="70"/>
                  </a:lnTo>
                  <a:lnTo>
                    <a:pt x="273" y="71"/>
                  </a:lnTo>
                  <a:lnTo>
                    <a:pt x="274" y="72"/>
                  </a:lnTo>
                  <a:lnTo>
                    <a:pt x="275" y="72"/>
                  </a:lnTo>
                  <a:lnTo>
                    <a:pt x="277" y="72"/>
                  </a:lnTo>
                  <a:lnTo>
                    <a:pt x="275" y="71"/>
                  </a:lnTo>
                  <a:lnTo>
                    <a:pt x="277" y="71"/>
                  </a:lnTo>
                  <a:lnTo>
                    <a:pt x="277" y="70"/>
                  </a:lnTo>
                  <a:lnTo>
                    <a:pt x="277" y="69"/>
                  </a:lnTo>
                  <a:lnTo>
                    <a:pt x="277" y="68"/>
                  </a:lnTo>
                  <a:lnTo>
                    <a:pt x="272" y="68"/>
                  </a:lnTo>
                  <a:lnTo>
                    <a:pt x="272" y="66"/>
                  </a:lnTo>
                  <a:lnTo>
                    <a:pt x="273" y="66"/>
                  </a:lnTo>
                  <a:lnTo>
                    <a:pt x="271" y="66"/>
                  </a:lnTo>
                  <a:lnTo>
                    <a:pt x="272" y="65"/>
                  </a:lnTo>
                  <a:lnTo>
                    <a:pt x="273" y="65"/>
                  </a:lnTo>
                  <a:lnTo>
                    <a:pt x="277" y="66"/>
                  </a:lnTo>
                  <a:lnTo>
                    <a:pt x="277" y="65"/>
                  </a:lnTo>
                  <a:lnTo>
                    <a:pt x="277" y="64"/>
                  </a:lnTo>
                  <a:lnTo>
                    <a:pt x="278" y="63"/>
                  </a:lnTo>
                  <a:lnTo>
                    <a:pt x="279" y="64"/>
                  </a:lnTo>
                  <a:lnTo>
                    <a:pt x="280" y="64"/>
                  </a:lnTo>
                  <a:lnTo>
                    <a:pt x="283" y="65"/>
                  </a:lnTo>
                  <a:lnTo>
                    <a:pt x="284" y="65"/>
                  </a:lnTo>
                  <a:lnTo>
                    <a:pt x="285" y="65"/>
                  </a:lnTo>
                  <a:lnTo>
                    <a:pt x="286" y="65"/>
                  </a:lnTo>
                  <a:lnTo>
                    <a:pt x="289" y="64"/>
                  </a:lnTo>
                  <a:lnTo>
                    <a:pt x="290" y="64"/>
                  </a:lnTo>
                  <a:lnTo>
                    <a:pt x="289" y="63"/>
                  </a:lnTo>
                  <a:lnTo>
                    <a:pt x="289" y="62"/>
                  </a:lnTo>
                  <a:lnTo>
                    <a:pt x="289" y="60"/>
                  </a:lnTo>
                  <a:lnTo>
                    <a:pt x="290" y="59"/>
                  </a:lnTo>
                  <a:lnTo>
                    <a:pt x="289" y="58"/>
                  </a:lnTo>
                  <a:lnTo>
                    <a:pt x="288" y="59"/>
                  </a:lnTo>
                  <a:lnTo>
                    <a:pt x="286" y="60"/>
                  </a:lnTo>
                  <a:lnTo>
                    <a:pt x="286" y="62"/>
                  </a:lnTo>
                  <a:lnTo>
                    <a:pt x="285" y="62"/>
                  </a:lnTo>
                  <a:lnTo>
                    <a:pt x="284" y="63"/>
                  </a:lnTo>
                  <a:lnTo>
                    <a:pt x="284" y="64"/>
                  </a:lnTo>
                  <a:lnTo>
                    <a:pt x="283" y="64"/>
                  </a:lnTo>
                  <a:lnTo>
                    <a:pt x="283" y="63"/>
                  </a:lnTo>
                  <a:lnTo>
                    <a:pt x="282" y="62"/>
                  </a:lnTo>
                  <a:lnTo>
                    <a:pt x="280" y="63"/>
                  </a:lnTo>
                  <a:lnTo>
                    <a:pt x="279" y="63"/>
                  </a:lnTo>
                  <a:lnTo>
                    <a:pt x="280" y="62"/>
                  </a:lnTo>
                  <a:lnTo>
                    <a:pt x="279" y="60"/>
                  </a:lnTo>
                  <a:lnTo>
                    <a:pt x="278" y="60"/>
                  </a:lnTo>
                  <a:lnTo>
                    <a:pt x="279" y="59"/>
                  </a:lnTo>
                  <a:lnTo>
                    <a:pt x="282" y="59"/>
                  </a:lnTo>
                  <a:lnTo>
                    <a:pt x="283" y="60"/>
                  </a:lnTo>
                  <a:lnTo>
                    <a:pt x="284" y="59"/>
                  </a:lnTo>
                  <a:lnTo>
                    <a:pt x="285" y="58"/>
                  </a:lnTo>
                  <a:lnTo>
                    <a:pt x="286" y="58"/>
                  </a:lnTo>
                  <a:lnTo>
                    <a:pt x="289" y="57"/>
                  </a:lnTo>
                  <a:lnTo>
                    <a:pt x="291" y="56"/>
                  </a:lnTo>
                  <a:lnTo>
                    <a:pt x="294" y="54"/>
                  </a:lnTo>
                  <a:lnTo>
                    <a:pt x="292" y="54"/>
                  </a:lnTo>
                  <a:lnTo>
                    <a:pt x="292" y="53"/>
                  </a:lnTo>
                  <a:lnTo>
                    <a:pt x="294" y="52"/>
                  </a:lnTo>
                  <a:lnTo>
                    <a:pt x="292" y="52"/>
                  </a:lnTo>
                  <a:lnTo>
                    <a:pt x="292" y="51"/>
                  </a:lnTo>
                  <a:lnTo>
                    <a:pt x="291" y="50"/>
                  </a:lnTo>
                  <a:lnTo>
                    <a:pt x="290" y="46"/>
                  </a:lnTo>
                  <a:lnTo>
                    <a:pt x="290" y="45"/>
                  </a:lnTo>
                  <a:lnTo>
                    <a:pt x="289" y="42"/>
                  </a:lnTo>
                  <a:lnTo>
                    <a:pt x="288" y="41"/>
                  </a:lnTo>
                  <a:lnTo>
                    <a:pt x="286" y="41"/>
                  </a:lnTo>
                  <a:lnTo>
                    <a:pt x="288" y="40"/>
                  </a:lnTo>
                  <a:lnTo>
                    <a:pt x="289" y="40"/>
                  </a:lnTo>
                  <a:lnTo>
                    <a:pt x="291" y="40"/>
                  </a:lnTo>
                  <a:lnTo>
                    <a:pt x="290" y="39"/>
                  </a:lnTo>
                  <a:lnTo>
                    <a:pt x="289" y="39"/>
                  </a:lnTo>
                  <a:lnTo>
                    <a:pt x="289" y="38"/>
                  </a:lnTo>
                  <a:lnTo>
                    <a:pt x="288" y="39"/>
                  </a:lnTo>
                  <a:lnTo>
                    <a:pt x="286" y="39"/>
                  </a:lnTo>
                  <a:lnTo>
                    <a:pt x="285" y="39"/>
                  </a:lnTo>
                  <a:lnTo>
                    <a:pt x="285" y="38"/>
                  </a:lnTo>
                  <a:lnTo>
                    <a:pt x="285" y="36"/>
                  </a:lnTo>
                  <a:lnTo>
                    <a:pt x="286" y="36"/>
                  </a:lnTo>
                  <a:lnTo>
                    <a:pt x="285" y="35"/>
                  </a:lnTo>
                  <a:lnTo>
                    <a:pt x="286" y="35"/>
                  </a:lnTo>
                  <a:lnTo>
                    <a:pt x="288" y="35"/>
                  </a:lnTo>
                  <a:lnTo>
                    <a:pt x="290" y="35"/>
                  </a:lnTo>
                  <a:lnTo>
                    <a:pt x="291" y="35"/>
                  </a:lnTo>
                  <a:lnTo>
                    <a:pt x="292" y="35"/>
                  </a:lnTo>
                  <a:lnTo>
                    <a:pt x="294" y="34"/>
                  </a:lnTo>
                  <a:lnTo>
                    <a:pt x="292" y="34"/>
                  </a:lnTo>
                  <a:lnTo>
                    <a:pt x="291" y="33"/>
                  </a:lnTo>
                  <a:lnTo>
                    <a:pt x="289" y="32"/>
                  </a:lnTo>
                  <a:lnTo>
                    <a:pt x="288" y="32"/>
                  </a:lnTo>
                  <a:lnTo>
                    <a:pt x="286" y="33"/>
                  </a:lnTo>
                  <a:lnTo>
                    <a:pt x="285" y="33"/>
                  </a:lnTo>
                  <a:lnTo>
                    <a:pt x="285" y="32"/>
                  </a:lnTo>
                  <a:lnTo>
                    <a:pt x="286" y="32"/>
                  </a:lnTo>
                  <a:lnTo>
                    <a:pt x="285" y="30"/>
                  </a:lnTo>
                  <a:lnTo>
                    <a:pt x="284" y="32"/>
                  </a:lnTo>
                  <a:lnTo>
                    <a:pt x="283" y="32"/>
                  </a:lnTo>
                  <a:lnTo>
                    <a:pt x="283" y="30"/>
                  </a:lnTo>
                  <a:lnTo>
                    <a:pt x="284" y="30"/>
                  </a:lnTo>
                  <a:lnTo>
                    <a:pt x="282" y="30"/>
                  </a:lnTo>
                  <a:lnTo>
                    <a:pt x="280" y="30"/>
                  </a:lnTo>
                  <a:lnTo>
                    <a:pt x="280" y="32"/>
                  </a:lnTo>
                  <a:lnTo>
                    <a:pt x="278" y="32"/>
                  </a:lnTo>
                  <a:lnTo>
                    <a:pt x="278" y="30"/>
                  </a:lnTo>
                  <a:lnTo>
                    <a:pt x="279" y="29"/>
                  </a:lnTo>
                  <a:lnTo>
                    <a:pt x="278" y="29"/>
                  </a:lnTo>
                  <a:lnTo>
                    <a:pt x="275" y="29"/>
                  </a:lnTo>
                  <a:lnTo>
                    <a:pt x="274" y="28"/>
                  </a:lnTo>
                  <a:lnTo>
                    <a:pt x="273" y="28"/>
                  </a:lnTo>
                  <a:lnTo>
                    <a:pt x="273" y="27"/>
                  </a:lnTo>
                  <a:lnTo>
                    <a:pt x="275" y="28"/>
                  </a:lnTo>
                  <a:lnTo>
                    <a:pt x="277" y="28"/>
                  </a:lnTo>
                  <a:lnTo>
                    <a:pt x="275" y="27"/>
                  </a:lnTo>
                  <a:lnTo>
                    <a:pt x="277" y="27"/>
                  </a:lnTo>
                  <a:lnTo>
                    <a:pt x="278" y="27"/>
                  </a:lnTo>
                  <a:lnTo>
                    <a:pt x="280" y="28"/>
                  </a:lnTo>
                  <a:lnTo>
                    <a:pt x="282" y="28"/>
                  </a:lnTo>
                  <a:lnTo>
                    <a:pt x="282" y="27"/>
                  </a:lnTo>
                  <a:lnTo>
                    <a:pt x="282" y="26"/>
                  </a:lnTo>
                  <a:lnTo>
                    <a:pt x="282" y="24"/>
                  </a:lnTo>
                  <a:lnTo>
                    <a:pt x="283" y="26"/>
                  </a:lnTo>
                  <a:lnTo>
                    <a:pt x="283" y="27"/>
                  </a:lnTo>
                  <a:lnTo>
                    <a:pt x="283" y="28"/>
                  </a:lnTo>
                  <a:lnTo>
                    <a:pt x="284" y="28"/>
                  </a:lnTo>
                  <a:lnTo>
                    <a:pt x="285" y="28"/>
                  </a:lnTo>
                  <a:lnTo>
                    <a:pt x="286" y="28"/>
                  </a:lnTo>
                  <a:lnTo>
                    <a:pt x="288" y="29"/>
                  </a:lnTo>
                  <a:lnTo>
                    <a:pt x="288" y="30"/>
                  </a:lnTo>
                  <a:lnTo>
                    <a:pt x="290" y="30"/>
                  </a:lnTo>
                  <a:lnTo>
                    <a:pt x="291" y="30"/>
                  </a:lnTo>
                  <a:lnTo>
                    <a:pt x="291" y="29"/>
                  </a:lnTo>
                  <a:lnTo>
                    <a:pt x="290" y="28"/>
                  </a:lnTo>
                  <a:lnTo>
                    <a:pt x="289" y="29"/>
                  </a:lnTo>
                  <a:lnTo>
                    <a:pt x="288" y="29"/>
                  </a:lnTo>
                  <a:lnTo>
                    <a:pt x="288" y="28"/>
                  </a:lnTo>
                  <a:lnTo>
                    <a:pt x="288" y="27"/>
                  </a:lnTo>
                  <a:lnTo>
                    <a:pt x="288" y="28"/>
                  </a:lnTo>
                  <a:lnTo>
                    <a:pt x="286" y="28"/>
                  </a:lnTo>
                  <a:lnTo>
                    <a:pt x="286" y="27"/>
                  </a:lnTo>
                  <a:lnTo>
                    <a:pt x="288" y="27"/>
                  </a:lnTo>
                  <a:lnTo>
                    <a:pt x="286" y="26"/>
                  </a:lnTo>
                  <a:lnTo>
                    <a:pt x="288" y="26"/>
                  </a:lnTo>
                  <a:lnTo>
                    <a:pt x="289" y="26"/>
                  </a:lnTo>
                  <a:lnTo>
                    <a:pt x="289" y="24"/>
                  </a:lnTo>
                  <a:lnTo>
                    <a:pt x="288" y="24"/>
                  </a:lnTo>
                  <a:lnTo>
                    <a:pt x="288" y="23"/>
                  </a:lnTo>
                  <a:lnTo>
                    <a:pt x="286" y="23"/>
                  </a:lnTo>
                  <a:lnTo>
                    <a:pt x="285" y="23"/>
                  </a:lnTo>
                  <a:lnTo>
                    <a:pt x="282" y="23"/>
                  </a:lnTo>
                  <a:lnTo>
                    <a:pt x="286" y="23"/>
                  </a:lnTo>
                  <a:lnTo>
                    <a:pt x="285" y="22"/>
                  </a:lnTo>
                  <a:lnTo>
                    <a:pt x="284" y="21"/>
                  </a:lnTo>
                  <a:lnTo>
                    <a:pt x="283" y="21"/>
                  </a:lnTo>
                  <a:lnTo>
                    <a:pt x="282" y="21"/>
                  </a:lnTo>
                  <a:lnTo>
                    <a:pt x="282" y="20"/>
                  </a:lnTo>
                  <a:lnTo>
                    <a:pt x="283" y="20"/>
                  </a:lnTo>
                  <a:lnTo>
                    <a:pt x="284" y="20"/>
                  </a:lnTo>
                  <a:lnTo>
                    <a:pt x="285" y="21"/>
                  </a:lnTo>
                  <a:lnTo>
                    <a:pt x="285" y="20"/>
                  </a:lnTo>
                  <a:lnTo>
                    <a:pt x="280" y="16"/>
                  </a:lnTo>
                  <a:lnTo>
                    <a:pt x="279" y="13"/>
                  </a:lnTo>
                  <a:lnTo>
                    <a:pt x="275" y="11"/>
                  </a:lnTo>
                  <a:lnTo>
                    <a:pt x="274" y="10"/>
                  </a:lnTo>
                  <a:lnTo>
                    <a:pt x="274" y="9"/>
                  </a:lnTo>
                  <a:lnTo>
                    <a:pt x="275" y="9"/>
                  </a:lnTo>
                  <a:lnTo>
                    <a:pt x="278" y="10"/>
                  </a:lnTo>
                  <a:lnTo>
                    <a:pt x="279" y="12"/>
                  </a:lnTo>
                  <a:lnTo>
                    <a:pt x="283" y="16"/>
                  </a:lnTo>
                  <a:lnTo>
                    <a:pt x="285" y="17"/>
                  </a:lnTo>
                  <a:lnTo>
                    <a:pt x="286" y="20"/>
                  </a:lnTo>
                  <a:lnTo>
                    <a:pt x="288" y="21"/>
                  </a:lnTo>
                  <a:lnTo>
                    <a:pt x="289" y="22"/>
                  </a:lnTo>
                  <a:lnTo>
                    <a:pt x="290" y="21"/>
                  </a:lnTo>
                  <a:lnTo>
                    <a:pt x="291" y="20"/>
                  </a:lnTo>
                  <a:lnTo>
                    <a:pt x="294" y="17"/>
                  </a:lnTo>
                  <a:lnTo>
                    <a:pt x="295" y="17"/>
                  </a:lnTo>
                  <a:lnTo>
                    <a:pt x="296" y="16"/>
                  </a:lnTo>
                  <a:lnTo>
                    <a:pt x="296" y="18"/>
                  </a:lnTo>
                  <a:lnTo>
                    <a:pt x="295" y="18"/>
                  </a:lnTo>
                  <a:lnTo>
                    <a:pt x="294" y="18"/>
                  </a:lnTo>
                  <a:lnTo>
                    <a:pt x="292" y="18"/>
                  </a:lnTo>
                  <a:lnTo>
                    <a:pt x="292" y="20"/>
                  </a:lnTo>
                  <a:lnTo>
                    <a:pt x="291" y="21"/>
                  </a:lnTo>
                  <a:lnTo>
                    <a:pt x="290" y="22"/>
                  </a:lnTo>
                  <a:lnTo>
                    <a:pt x="290" y="23"/>
                  </a:lnTo>
                  <a:lnTo>
                    <a:pt x="290" y="24"/>
                  </a:lnTo>
                  <a:lnTo>
                    <a:pt x="291" y="24"/>
                  </a:lnTo>
                  <a:lnTo>
                    <a:pt x="292" y="23"/>
                  </a:lnTo>
                  <a:lnTo>
                    <a:pt x="294" y="23"/>
                  </a:lnTo>
                  <a:lnTo>
                    <a:pt x="294" y="24"/>
                  </a:lnTo>
                  <a:lnTo>
                    <a:pt x="292" y="24"/>
                  </a:lnTo>
                  <a:lnTo>
                    <a:pt x="291" y="26"/>
                  </a:lnTo>
                  <a:lnTo>
                    <a:pt x="291" y="27"/>
                  </a:lnTo>
                  <a:lnTo>
                    <a:pt x="292" y="27"/>
                  </a:lnTo>
                  <a:lnTo>
                    <a:pt x="294" y="26"/>
                  </a:lnTo>
                  <a:lnTo>
                    <a:pt x="295" y="26"/>
                  </a:lnTo>
                  <a:lnTo>
                    <a:pt x="295" y="27"/>
                  </a:lnTo>
                  <a:lnTo>
                    <a:pt x="294" y="28"/>
                  </a:lnTo>
                  <a:lnTo>
                    <a:pt x="292" y="29"/>
                  </a:lnTo>
                  <a:lnTo>
                    <a:pt x="292" y="30"/>
                  </a:lnTo>
                  <a:lnTo>
                    <a:pt x="294" y="30"/>
                  </a:lnTo>
                  <a:lnTo>
                    <a:pt x="294" y="29"/>
                  </a:lnTo>
                  <a:lnTo>
                    <a:pt x="295" y="29"/>
                  </a:lnTo>
                  <a:lnTo>
                    <a:pt x="296" y="29"/>
                  </a:lnTo>
                  <a:lnTo>
                    <a:pt x="296" y="28"/>
                  </a:lnTo>
                  <a:lnTo>
                    <a:pt x="297" y="28"/>
                  </a:lnTo>
                  <a:lnTo>
                    <a:pt x="298" y="27"/>
                  </a:lnTo>
                  <a:lnTo>
                    <a:pt x="297" y="26"/>
                  </a:lnTo>
                  <a:lnTo>
                    <a:pt x="296" y="26"/>
                  </a:lnTo>
                  <a:lnTo>
                    <a:pt x="296" y="24"/>
                  </a:lnTo>
                  <a:lnTo>
                    <a:pt x="297" y="23"/>
                  </a:lnTo>
                  <a:lnTo>
                    <a:pt x="297" y="24"/>
                  </a:lnTo>
                  <a:lnTo>
                    <a:pt x="298" y="24"/>
                  </a:lnTo>
                  <a:lnTo>
                    <a:pt x="298" y="22"/>
                  </a:lnTo>
                  <a:lnTo>
                    <a:pt x="297" y="21"/>
                  </a:lnTo>
                  <a:lnTo>
                    <a:pt x="296" y="21"/>
                  </a:lnTo>
                  <a:lnTo>
                    <a:pt x="294" y="21"/>
                  </a:lnTo>
                  <a:lnTo>
                    <a:pt x="292" y="21"/>
                  </a:lnTo>
                  <a:lnTo>
                    <a:pt x="292" y="20"/>
                  </a:lnTo>
                  <a:lnTo>
                    <a:pt x="295" y="20"/>
                  </a:lnTo>
                  <a:lnTo>
                    <a:pt x="297" y="20"/>
                  </a:lnTo>
                  <a:lnTo>
                    <a:pt x="298" y="20"/>
                  </a:lnTo>
                  <a:lnTo>
                    <a:pt x="298" y="18"/>
                  </a:lnTo>
                  <a:lnTo>
                    <a:pt x="300" y="17"/>
                  </a:lnTo>
                  <a:lnTo>
                    <a:pt x="300" y="16"/>
                  </a:lnTo>
                  <a:lnTo>
                    <a:pt x="300" y="13"/>
                  </a:lnTo>
                  <a:lnTo>
                    <a:pt x="300" y="10"/>
                  </a:lnTo>
                  <a:lnTo>
                    <a:pt x="301" y="10"/>
                  </a:lnTo>
                  <a:lnTo>
                    <a:pt x="301" y="11"/>
                  </a:lnTo>
                  <a:lnTo>
                    <a:pt x="301" y="16"/>
                  </a:lnTo>
                  <a:lnTo>
                    <a:pt x="301" y="18"/>
                  </a:lnTo>
                  <a:lnTo>
                    <a:pt x="301" y="22"/>
                  </a:lnTo>
                  <a:lnTo>
                    <a:pt x="301" y="23"/>
                  </a:lnTo>
                  <a:lnTo>
                    <a:pt x="300" y="24"/>
                  </a:lnTo>
                  <a:lnTo>
                    <a:pt x="300" y="26"/>
                  </a:lnTo>
                  <a:lnTo>
                    <a:pt x="301" y="26"/>
                  </a:lnTo>
                  <a:lnTo>
                    <a:pt x="302" y="24"/>
                  </a:lnTo>
                  <a:lnTo>
                    <a:pt x="302" y="26"/>
                  </a:lnTo>
                  <a:lnTo>
                    <a:pt x="303" y="27"/>
                  </a:lnTo>
                  <a:lnTo>
                    <a:pt x="303" y="28"/>
                  </a:lnTo>
                  <a:lnTo>
                    <a:pt x="304" y="28"/>
                  </a:lnTo>
                  <a:lnTo>
                    <a:pt x="306" y="27"/>
                  </a:lnTo>
                  <a:lnTo>
                    <a:pt x="307" y="26"/>
                  </a:lnTo>
                  <a:lnTo>
                    <a:pt x="307" y="24"/>
                  </a:lnTo>
                  <a:lnTo>
                    <a:pt x="306" y="23"/>
                  </a:lnTo>
                  <a:lnTo>
                    <a:pt x="304" y="23"/>
                  </a:lnTo>
                  <a:lnTo>
                    <a:pt x="304" y="22"/>
                  </a:lnTo>
                  <a:lnTo>
                    <a:pt x="306" y="22"/>
                  </a:lnTo>
                  <a:lnTo>
                    <a:pt x="307" y="22"/>
                  </a:lnTo>
                  <a:lnTo>
                    <a:pt x="308" y="23"/>
                  </a:lnTo>
                  <a:lnTo>
                    <a:pt x="307" y="22"/>
                  </a:lnTo>
                  <a:lnTo>
                    <a:pt x="308" y="22"/>
                  </a:lnTo>
                  <a:lnTo>
                    <a:pt x="309" y="21"/>
                  </a:lnTo>
                  <a:lnTo>
                    <a:pt x="308" y="21"/>
                  </a:lnTo>
                  <a:lnTo>
                    <a:pt x="307" y="20"/>
                  </a:lnTo>
                  <a:lnTo>
                    <a:pt x="308" y="18"/>
                  </a:lnTo>
                  <a:lnTo>
                    <a:pt x="309" y="20"/>
                  </a:lnTo>
                  <a:lnTo>
                    <a:pt x="309" y="18"/>
                  </a:lnTo>
                  <a:lnTo>
                    <a:pt x="309" y="17"/>
                  </a:lnTo>
                  <a:lnTo>
                    <a:pt x="307" y="16"/>
                  </a:lnTo>
                  <a:lnTo>
                    <a:pt x="306" y="15"/>
                  </a:lnTo>
                  <a:lnTo>
                    <a:pt x="302" y="12"/>
                  </a:lnTo>
                  <a:lnTo>
                    <a:pt x="302" y="11"/>
                  </a:lnTo>
                  <a:lnTo>
                    <a:pt x="303" y="11"/>
                  </a:lnTo>
                  <a:lnTo>
                    <a:pt x="304" y="12"/>
                  </a:lnTo>
                  <a:lnTo>
                    <a:pt x="308" y="16"/>
                  </a:lnTo>
                  <a:lnTo>
                    <a:pt x="309" y="15"/>
                  </a:lnTo>
                  <a:lnTo>
                    <a:pt x="308" y="15"/>
                  </a:lnTo>
                  <a:lnTo>
                    <a:pt x="308" y="13"/>
                  </a:lnTo>
                  <a:lnTo>
                    <a:pt x="308" y="12"/>
                  </a:lnTo>
                  <a:lnTo>
                    <a:pt x="307" y="11"/>
                  </a:lnTo>
                  <a:lnTo>
                    <a:pt x="307" y="10"/>
                  </a:lnTo>
                  <a:lnTo>
                    <a:pt x="308" y="10"/>
                  </a:lnTo>
                  <a:lnTo>
                    <a:pt x="308" y="11"/>
                  </a:lnTo>
                  <a:lnTo>
                    <a:pt x="309" y="11"/>
                  </a:lnTo>
                  <a:lnTo>
                    <a:pt x="309" y="12"/>
                  </a:lnTo>
                  <a:lnTo>
                    <a:pt x="309" y="10"/>
                  </a:lnTo>
                  <a:lnTo>
                    <a:pt x="309" y="9"/>
                  </a:lnTo>
                  <a:lnTo>
                    <a:pt x="309" y="6"/>
                  </a:lnTo>
                  <a:lnTo>
                    <a:pt x="310" y="6"/>
                  </a:lnTo>
                  <a:lnTo>
                    <a:pt x="310" y="7"/>
                  </a:lnTo>
                  <a:lnTo>
                    <a:pt x="310" y="9"/>
                  </a:lnTo>
                  <a:lnTo>
                    <a:pt x="310" y="12"/>
                  </a:lnTo>
                  <a:lnTo>
                    <a:pt x="310" y="13"/>
                  </a:lnTo>
                  <a:lnTo>
                    <a:pt x="310" y="1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8" name="Freeform 61"/>
            <p:cNvSpPr>
              <a:spLocks/>
            </p:cNvSpPr>
            <p:nvPr userDrawn="1"/>
          </p:nvSpPr>
          <p:spPr bwMode="auto">
            <a:xfrm>
              <a:off x="404813" y="6256338"/>
              <a:ext cx="282575" cy="304800"/>
            </a:xfrm>
            <a:custGeom>
              <a:avLst/>
              <a:gdLst/>
              <a:ahLst/>
              <a:cxnLst>
                <a:cxn ang="0">
                  <a:pos x="102" y="417"/>
                </a:cxn>
                <a:cxn ang="0">
                  <a:pos x="144" y="361"/>
                </a:cxn>
                <a:cxn ang="0">
                  <a:pos x="246" y="330"/>
                </a:cxn>
                <a:cxn ang="0">
                  <a:pos x="243" y="325"/>
                </a:cxn>
                <a:cxn ang="0">
                  <a:pos x="178" y="314"/>
                </a:cxn>
                <a:cxn ang="0">
                  <a:pos x="169" y="275"/>
                </a:cxn>
                <a:cxn ang="0">
                  <a:pos x="195" y="238"/>
                </a:cxn>
                <a:cxn ang="0">
                  <a:pos x="210" y="208"/>
                </a:cxn>
                <a:cxn ang="0">
                  <a:pos x="230" y="149"/>
                </a:cxn>
                <a:cxn ang="0">
                  <a:pos x="281" y="159"/>
                </a:cxn>
                <a:cxn ang="0">
                  <a:pos x="336" y="166"/>
                </a:cxn>
                <a:cxn ang="0">
                  <a:pos x="361" y="169"/>
                </a:cxn>
                <a:cxn ang="0">
                  <a:pos x="401" y="197"/>
                </a:cxn>
                <a:cxn ang="0">
                  <a:pos x="425" y="224"/>
                </a:cxn>
                <a:cxn ang="0">
                  <a:pos x="444" y="203"/>
                </a:cxn>
                <a:cxn ang="0">
                  <a:pos x="403" y="173"/>
                </a:cxn>
                <a:cxn ang="0">
                  <a:pos x="368" y="169"/>
                </a:cxn>
                <a:cxn ang="0">
                  <a:pos x="308" y="123"/>
                </a:cxn>
                <a:cxn ang="0">
                  <a:pos x="325" y="78"/>
                </a:cxn>
                <a:cxn ang="0">
                  <a:pos x="348" y="28"/>
                </a:cxn>
                <a:cxn ang="0">
                  <a:pos x="386" y="17"/>
                </a:cxn>
                <a:cxn ang="0">
                  <a:pos x="434" y="40"/>
                </a:cxn>
                <a:cxn ang="0">
                  <a:pos x="487" y="24"/>
                </a:cxn>
                <a:cxn ang="0">
                  <a:pos x="510" y="40"/>
                </a:cxn>
                <a:cxn ang="0">
                  <a:pos x="543" y="76"/>
                </a:cxn>
                <a:cxn ang="0">
                  <a:pos x="581" y="54"/>
                </a:cxn>
                <a:cxn ang="0">
                  <a:pos x="628" y="70"/>
                </a:cxn>
                <a:cxn ang="0">
                  <a:pos x="622" y="125"/>
                </a:cxn>
                <a:cxn ang="0">
                  <a:pos x="656" y="166"/>
                </a:cxn>
                <a:cxn ang="0">
                  <a:pos x="710" y="209"/>
                </a:cxn>
                <a:cxn ang="0">
                  <a:pos x="729" y="249"/>
                </a:cxn>
                <a:cxn ang="0">
                  <a:pos x="802" y="283"/>
                </a:cxn>
                <a:cxn ang="0">
                  <a:pos x="821" y="389"/>
                </a:cxn>
                <a:cxn ang="0">
                  <a:pos x="750" y="413"/>
                </a:cxn>
                <a:cxn ang="0">
                  <a:pos x="841" y="524"/>
                </a:cxn>
                <a:cxn ang="0">
                  <a:pos x="730" y="457"/>
                </a:cxn>
                <a:cxn ang="0">
                  <a:pos x="694" y="471"/>
                </a:cxn>
                <a:cxn ang="0">
                  <a:pos x="809" y="548"/>
                </a:cxn>
                <a:cxn ang="0">
                  <a:pos x="874" y="660"/>
                </a:cxn>
                <a:cxn ang="0">
                  <a:pos x="786" y="660"/>
                </a:cxn>
                <a:cxn ang="0">
                  <a:pos x="752" y="719"/>
                </a:cxn>
                <a:cxn ang="0">
                  <a:pos x="735" y="737"/>
                </a:cxn>
                <a:cxn ang="0">
                  <a:pos x="684" y="678"/>
                </a:cxn>
                <a:cxn ang="0">
                  <a:pos x="644" y="719"/>
                </a:cxn>
                <a:cxn ang="0">
                  <a:pos x="729" y="806"/>
                </a:cxn>
                <a:cxn ang="0">
                  <a:pos x="633" y="798"/>
                </a:cxn>
                <a:cxn ang="0">
                  <a:pos x="538" y="744"/>
                </a:cxn>
                <a:cxn ang="0">
                  <a:pos x="593" y="795"/>
                </a:cxn>
                <a:cxn ang="0">
                  <a:pos x="373" y="784"/>
                </a:cxn>
                <a:cxn ang="0">
                  <a:pos x="212" y="808"/>
                </a:cxn>
                <a:cxn ang="0">
                  <a:pos x="301" y="771"/>
                </a:cxn>
                <a:cxn ang="0">
                  <a:pos x="403" y="734"/>
                </a:cxn>
                <a:cxn ang="0">
                  <a:pos x="331" y="718"/>
                </a:cxn>
                <a:cxn ang="0">
                  <a:pos x="256" y="737"/>
                </a:cxn>
                <a:cxn ang="0">
                  <a:pos x="196" y="725"/>
                </a:cxn>
                <a:cxn ang="0">
                  <a:pos x="151" y="672"/>
                </a:cxn>
                <a:cxn ang="0">
                  <a:pos x="269" y="619"/>
                </a:cxn>
                <a:cxn ang="0">
                  <a:pos x="244" y="615"/>
                </a:cxn>
                <a:cxn ang="0">
                  <a:pos x="214" y="576"/>
                </a:cxn>
                <a:cxn ang="0">
                  <a:pos x="216" y="554"/>
                </a:cxn>
                <a:cxn ang="0">
                  <a:pos x="127" y="607"/>
                </a:cxn>
                <a:cxn ang="0">
                  <a:pos x="126" y="547"/>
                </a:cxn>
                <a:cxn ang="0">
                  <a:pos x="85" y="508"/>
                </a:cxn>
              </a:cxnLst>
              <a:rect l="0" t="0" r="r" b="b"/>
              <a:pathLst>
                <a:path w="893" h="960">
                  <a:moveTo>
                    <a:pt x="9" y="455"/>
                  </a:moveTo>
                  <a:lnTo>
                    <a:pt x="7" y="452"/>
                  </a:lnTo>
                  <a:lnTo>
                    <a:pt x="9" y="453"/>
                  </a:lnTo>
                  <a:lnTo>
                    <a:pt x="13" y="451"/>
                  </a:lnTo>
                  <a:lnTo>
                    <a:pt x="14" y="453"/>
                  </a:lnTo>
                  <a:lnTo>
                    <a:pt x="16" y="455"/>
                  </a:lnTo>
                  <a:lnTo>
                    <a:pt x="16" y="453"/>
                  </a:lnTo>
                  <a:lnTo>
                    <a:pt x="15" y="452"/>
                  </a:lnTo>
                  <a:lnTo>
                    <a:pt x="15" y="451"/>
                  </a:lnTo>
                  <a:lnTo>
                    <a:pt x="20" y="451"/>
                  </a:lnTo>
                  <a:lnTo>
                    <a:pt x="20" y="453"/>
                  </a:lnTo>
                  <a:lnTo>
                    <a:pt x="21" y="455"/>
                  </a:lnTo>
                  <a:lnTo>
                    <a:pt x="26" y="456"/>
                  </a:lnTo>
                  <a:lnTo>
                    <a:pt x="23" y="453"/>
                  </a:lnTo>
                  <a:lnTo>
                    <a:pt x="21" y="451"/>
                  </a:lnTo>
                  <a:lnTo>
                    <a:pt x="21" y="449"/>
                  </a:lnTo>
                  <a:lnTo>
                    <a:pt x="20" y="446"/>
                  </a:lnTo>
                  <a:lnTo>
                    <a:pt x="23" y="445"/>
                  </a:lnTo>
                  <a:lnTo>
                    <a:pt x="24" y="446"/>
                  </a:lnTo>
                  <a:lnTo>
                    <a:pt x="25" y="447"/>
                  </a:lnTo>
                  <a:lnTo>
                    <a:pt x="27" y="447"/>
                  </a:lnTo>
                  <a:lnTo>
                    <a:pt x="29" y="450"/>
                  </a:lnTo>
                  <a:lnTo>
                    <a:pt x="29" y="451"/>
                  </a:lnTo>
                  <a:lnTo>
                    <a:pt x="29" y="452"/>
                  </a:lnTo>
                  <a:lnTo>
                    <a:pt x="30" y="453"/>
                  </a:lnTo>
                  <a:lnTo>
                    <a:pt x="32" y="453"/>
                  </a:lnTo>
                  <a:lnTo>
                    <a:pt x="33" y="453"/>
                  </a:lnTo>
                  <a:lnTo>
                    <a:pt x="33" y="455"/>
                  </a:lnTo>
                  <a:lnTo>
                    <a:pt x="32" y="455"/>
                  </a:lnTo>
                  <a:lnTo>
                    <a:pt x="33" y="456"/>
                  </a:lnTo>
                  <a:lnTo>
                    <a:pt x="37" y="456"/>
                  </a:lnTo>
                  <a:lnTo>
                    <a:pt x="37" y="451"/>
                  </a:lnTo>
                  <a:lnTo>
                    <a:pt x="38" y="450"/>
                  </a:lnTo>
                  <a:lnTo>
                    <a:pt x="39" y="449"/>
                  </a:lnTo>
                  <a:lnTo>
                    <a:pt x="42" y="451"/>
                  </a:lnTo>
                  <a:lnTo>
                    <a:pt x="42" y="452"/>
                  </a:lnTo>
                  <a:lnTo>
                    <a:pt x="43" y="452"/>
                  </a:lnTo>
                  <a:lnTo>
                    <a:pt x="48" y="452"/>
                  </a:lnTo>
                  <a:lnTo>
                    <a:pt x="47" y="451"/>
                  </a:lnTo>
                  <a:lnTo>
                    <a:pt x="45" y="450"/>
                  </a:lnTo>
                  <a:lnTo>
                    <a:pt x="43" y="449"/>
                  </a:lnTo>
                  <a:lnTo>
                    <a:pt x="43" y="445"/>
                  </a:lnTo>
                  <a:lnTo>
                    <a:pt x="42" y="443"/>
                  </a:lnTo>
                  <a:lnTo>
                    <a:pt x="39" y="439"/>
                  </a:lnTo>
                  <a:lnTo>
                    <a:pt x="39" y="437"/>
                  </a:lnTo>
                  <a:lnTo>
                    <a:pt x="41" y="437"/>
                  </a:lnTo>
                  <a:lnTo>
                    <a:pt x="41" y="435"/>
                  </a:lnTo>
                  <a:lnTo>
                    <a:pt x="43" y="435"/>
                  </a:lnTo>
                  <a:lnTo>
                    <a:pt x="44" y="437"/>
                  </a:lnTo>
                  <a:lnTo>
                    <a:pt x="44" y="438"/>
                  </a:lnTo>
                  <a:lnTo>
                    <a:pt x="45" y="438"/>
                  </a:lnTo>
                  <a:lnTo>
                    <a:pt x="45" y="437"/>
                  </a:lnTo>
                  <a:lnTo>
                    <a:pt x="47" y="438"/>
                  </a:lnTo>
                  <a:lnTo>
                    <a:pt x="48" y="441"/>
                  </a:lnTo>
                  <a:lnTo>
                    <a:pt x="49" y="441"/>
                  </a:lnTo>
                  <a:lnTo>
                    <a:pt x="50" y="441"/>
                  </a:lnTo>
                  <a:lnTo>
                    <a:pt x="51" y="443"/>
                  </a:lnTo>
                  <a:lnTo>
                    <a:pt x="53" y="443"/>
                  </a:lnTo>
                  <a:lnTo>
                    <a:pt x="53" y="445"/>
                  </a:lnTo>
                  <a:lnTo>
                    <a:pt x="54" y="446"/>
                  </a:lnTo>
                  <a:lnTo>
                    <a:pt x="54" y="445"/>
                  </a:lnTo>
                  <a:lnTo>
                    <a:pt x="54" y="444"/>
                  </a:lnTo>
                  <a:lnTo>
                    <a:pt x="54" y="441"/>
                  </a:lnTo>
                  <a:lnTo>
                    <a:pt x="55" y="441"/>
                  </a:lnTo>
                  <a:lnTo>
                    <a:pt x="56" y="441"/>
                  </a:lnTo>
                  <a:lnTo>
                    <a:pt x="60" y="441"/>
                  </a:lnTo>
                  <a:lnTo>
                    <a:pt x="59" y="438"/>
                  </a:lnTo>
                  <a:lnTo>
                    <a:pt x="60" y="438"/>
                  </a:lnTo>
                  <a:lnTo>
                    <a:pt x="61" y="437"/>
                  </a:lnTo>
                  <a:lnTo>
                    <a:pt x="61" y="434"/>
                  </a:lnTo>
                  <a:lnTo>
                    <a:pt x="61" y="433"/>
                  </a:lnTo>
                  <a:lnTo>
                    <a:pt x="63" y="432"/>
                  </a:lnTo>
                  <a:lnTo>
                    <a:pt x="65" y="433"/>
                  </a:lnTo>
                  <a:lnTo>
                    <a:pt x="66" y="434"/>
                  </a:lnTo>
                  <a:lnTo>
                    <a:pt x="67" y="433"/>
                  </a:lnTo>
                  <a:lnTo>
                    <a:pt x="68" y="433"/>
                  </a:lnTo>
                  <a:lnTo>
                    <a:pt x="69" y="432"/>
                  </a:lnTo>
                  <a:lnTo>
                    <a:pt x="69" y="431"/>
                  </a:lnTo>
                  <a:lnTo>
                    <a:pt x="68" y="431"/>
                  </a:lnTo>
                  <a:lnTo>
                    <a:pt x="67" y="429"/>
                  </a:lnTo>
                  <a:lnTo>
                    <a:pt x="68" y="428"/>
                  </a:lnTo>
                  <a:lnTo>
                    <a:pt x="67" y="426"/>
                  </a:lnTo>
                  <a:lnTo>
                    <a:pt x="68" y="425"/>
                  </a:lnTo>
                  <a:lnTo>
                    <a:pt x="69" y="425"/>
                  </a:lnTo>
                  <a:lnTo>
                    <a:pt x="71" y="426"/>
                  </a:lnTo>
                  <a:lnTo>
                    <a:pt x="72" y="427"/>
                  </a:lnTo>
                  <a:lnTo>
                    <a:pt x="72" y="426"/>
                  </a:lnTo>
                  <a:lnTo>
                    <a:pt x="73" y="426"/>
                  </a:lnTo>
                  <a:lnTo>
                    <a:pt x="74" y="426"/>
                  </a:lnTo>
                  <a:lnTo>
                    <a:pt x="74" y="427"/>
                  </a:lnTo>
                  <a:lnTo>
                    <a:pt x="75" y="428"/>
                  </a:lnTo>
                  <a:lnTo>
                    <a:pt x="79" y="428"/>
                  </a:lnTo>
                  <a:lnTo>
                    <a:pt x="79" y="429"/>
                  </a:lnTo>
                  <a:lnTo>
                    <a:pt x="80" y="429"/>
                  </a:lnTo>
                  <a:lnTo>
                    <a:pt x="83" y="429"/>
                  </a:lnTo>
                  <a:lnTo>
                    <a:pt x="83" y="428"/>
                  </a:lnTo>
                  <a:lnTo>
                    <a:pt x="80" y="427"/>
                  </a:lnTo>
                  <a:lnTo>
                    <a:pt x="79" y="427"/>
                  </a:lnTo>
                  <a:lnTo>
                    <a:pt x="79" y="425"/>
                  </a:lnTo>
                  <a:lnTo>
                    <a:pt x="78" y="421"/>
                  </a:lnTo>
                  <a:lnTo>
                    <a:pt x="78" y="420"/>
                  </a:lnTo>
                  <a:lnTo>
                    <a:pt x="79" y="419"/>
                  </a:lnTo>
                  <a:lnTo>
                    <a:pt x="80" y="420"/>
                  </a:lnTo>
                  <a:lnTo>
                    <a:pt x="82" y="422"/>
                  </a:lnTo>
                  <a:lnTo>
                    <a:pt x="83" y="422"/>
                  </a:lnTo>
                  <a:lnTo>
                    <a:pt x="84" y="422"/>
                  </a:lnTo>
                  <a:lnTo>
                    <a:pt x="86" y="423"/>
                  </a:lnTo>
                  <a:lnTo>
                    <a:pt x="89" y="423"/>
                  </a:lnTo>
                  <a:lnTo>
                    <a:pt x="90" y="422"/>
                  </a:lnTo>
                  <a:lnTo>
                    <a:pt x="92" y="421"/>
                  </a:lnTo>
                  <a:lnTo>
                    <a:pt x="92" y="423"/>
                  </a:lnTo>
                  <a:lnTo>
                    <a:pt x="95" y="423"/>
                  </a:lnTo>
                  <a:lnTo>
                    <a:pt x="95" y="425"/>
                  </a:lnTo>
                  <a:lnTo>
                    <a:pt x="98" y="425"/>
                  </a:lnTo>
                  <a:lnTo>
                    <a:pt x="100" y="423"/>
                  </a:lnTo>
                  <a:lnTo>
                    <a:pt x="101" y="423"/>
                  </a:lnTo>
                  <a:lnTo>
                    <a:pt x="102" y="423"/>
                  </a:lnTo>
                  <a:lnTo>
                    <a:pt x="102" y="421"/>
                  </a:lnTo>
                  <a:lnTo>
                    <a:pt x="102" y="420"/>
                  </a:lnTo>
                  <a:lnTo>
                    <a:pt x="102" y="417"/>
                  </a:lnTo>
                  <a:lnTo>
                    <a:pt x="102" y="416"/>
                  </a:lnTo>
                  <a:lnTo>
                    <a:pt x="102" y="415"/>
                  </a:lnTo>
                  <a:lnTo>
                    <a:pt x="103" y="415"/>
                  </a:lnTo>
                  <a:lnTo>
                    <a:pt x="106" y="414"/>
                  </a:lnTo>
                  <a:lnTo>
                    <a:pt x="106" y="415"/>
                  </a:lnTo>
                  <a:lnTo>
                    <a:pt x="107" y="419"/>
                  </a:lnTo>
                  <a:lnTo>
                    <a:pt x="108" y="419"/>
                  </a:lnTo>
                  <a:lnTo>
                    <a:pt x="109" y="420"/>
                  </a:lnTo>
                  <a:lnTo>
                    <a:pt x="112" y="422"/>
                  </a:lnTo>
                  <a:lnTo>
                    <a:pt x="115" y="422"/>
                  </a:lnTo>
                  <a:lnTo>
                    <a:pt x="115" y="421"/>
                  </a:lnTo>
                  <a:lnTo>
                    <a:pt x="114" y="421"/>
                  </a:lnTo>
                  <a:lnTo>
                    <a:pt x="113" y="420"/>
                  </a:lnTo>
                  <a:lnTo>
                    <a:pt x="113" y="417"/>
                  </a:lnTo>
                  <a:lnTo>
                    <a:pt x="112" y="416"/>
                  </a:lnTo>
                  <a:lnTo>
                    <a:pt x="110" y="413"/>
                  </a:lnTo>
                  <a:lnTo>
                    <a:pt x="110" y="410"/>
                  </a:lnTo>
                  <a:lnTo>
                    <a:pt x="109" y="409"/>
                  </a:lnTo>
                  <a:lnTo>
                    <a:pt x="109" y="408"/>
                  </a:lnTo>
                  <a:lnTo>
                    <a:pt x="110" y="407"/>
                  </a:lnTo>
                  <a:lnTo>
                    <a:pt x="113" y="405"/>
                  </a:lnTo>
                  <a:lnTo>
                    <a:pt x="113" y="407"/>
                  </a:lnTo>
                  <a:lnTo>
                    <a:pt x="114" y="407"/>
                  </a:lnTo>
                  <a:lnTo>
                    <a:pt x="116" y="408"/>
                  </a:lnTo>
                  <a:lnTo>
                    <a:pt x="116" y="409"/>
                  </a:lnTo>
                  <a:lnTo>
                    <a:pt x="119" y="411"/>
                  </a:lnTo>
                  <a:lnTo>
                    <a:pt x="120" y="410"/>
                  </a:lnTo>
                  <a:lnTo>
                    <a:pt x="121" y="409"/>
                  </a:lnTo>
                  <a:lnTo>
                    <a:pt x="122" y="409"/>
                  </a:lnTo>
                  <a:lnTo>
                    <a:pt x="122" y="410"/>
                  </a:lnTo>
                  <a:lnTo>
                    <a:pt x="124" y="411"/>
                  </a:lnTo>
                  <a:lnTo>
                    <a:pt x="125" y="410"/>
                  </a:lnTo>
                  <a:lnTo>
                    <a:pt x="127" y="410"/>
                  </a:lnTo>
                  <a:lnTo>
                    <a:pt x="128" y="411"/>
                  </a:lnTo>
                  <a:lnTo>
                    <a:pt x="132" y="411"/>
                  </a:lnTo>
                  <a:lnTo>
                    <a:pt x="134" y="411"/>
                  </a:lnTo>
                  <a:lnTo>
                    <a:pt x="133" y="409"/>
                  </a:lnTo>
                  <a:lnTo>
                    <a:pt x="132" y="408"/>
                  </a:lnTo>
                  <a:lnTo>
                    <a:pt x="132" y="405"/>
                  </a:lnTo>
                  <a:lnTo>
                    <a:pt x="131" y="404"/>
                  </a:lnTo>
                  <a:lnTo>
                    <a:pt x="130" y="403"/>
                  </a:lnTo>
                  <a:lnTo>
                    <a:pt x="127" y="403"/>
                  </a:lnTo>
                  <a:lnTo>
                    <a:pt x="126" y="403"/>
                  </a:lnTo>
                  <a:lnTo>
                    <a:pt x="126" y="402"/>
                  </a:lnTo>
                  <a:lnTo>
                    <a:pt x="127" y="401"/>
                  </a:lnTo>
                  <a:lnTo>
                    <a:pt x="127" y="399"/>
                  </a:lnTo>
                  <a:lnTo>
                    <a:pt x="128" y="397"/>
                  </a:lnTo>
                  <a:lnTo>
                    <a:pt x="127" y="398"/>
                  </a:lnTo>
                  <a:lnTo>
                    <a:pt x="126" y="398"/>
                  </a:lnTo>
                  <a:lnTo>
                    <a:pt x="125" y="399"/>
                  </a:lnTo>
                  <a:lnTo>
                    <a:pt x="122" y="397"/>
                  </a:lnTo>
                  <a:lnTo>
                    <a:pt x="120" y="396"/>
                  </a:lnTo>
                  <a:lnTo>
                    <a:pt x="119" y="395"/>
                  </a:lnTo>
                  <a:lnTo>
                    <a:pt x="116" y="395"/>
                  </a:lnTo>
                  <a:lnTo>
                    <a:pt x="115" y="395"/>
                  </a:lnTo>
                  <a:lnTo>
                    <a:pt x="115" y="393"/>
                  </a:lnTo>
                  <a:lnTo>
                    <a:pt x="114" y="393"/>
                  </a:lnTo>
                  <a:lnTo>
                    <a:pt x="113" y="392"/>
                  </a:lnTo>
                  <a:lnTo>
                    <a:pt x="110" y="391"/>
                  </a:lnTo>
                  <a:lnTo>
                    <a:pt x="110" y="390"/>
                  </a:lnTo>
                  <a:lnTo>
                    <a:pt x="109" y="389"/>
                  </a:lnTo>
                  <a:lnTo>
                    <a:pt x="108" y="387"/>
                  </a:lnTo>
                  <a:lnTo>
                    <a:pt x="109" y="385"/>
                  </a:lnTo>
                  <a:lnTo>
                    <a:pt x="109" y="382"/>
                  </a:lnTo>
                  <a:lnTo>
                    <a:pt x="107" y="379"/>
                  </a:lnTo>
                  <a:lnTo>
                    <a:pt x="106" y="378"/>
                  </a:lnTo>
                  <a:lnTo>
                    <a:pt x="106" y="375"/>
                  </a:lnTo>
                  <a:lnTo>
                    <a:pt x="107" y="375"/>
                  </a:lnTo>
                  <a:lnTo>
                    <a:pt x="107" y="374"/>
                  </a:lnTo>
                  <a:lnTo>
                    <a:pt x="109" y="374"/>
                  </a:lnTo>
                  <a:lnTo>
                    <a:pt x="109" y="375"/>
                  </a:lnTo>
                  <a:lnTo>
                    <a:pt x="110" y="375"/>
                  </a:lnTo>
                  <a:lnTo>
                    <a:pt x="110" y="378"/>
                  </a:lnTo>
                  <a:lnTo>
                    <a:pt x="112" y="376"/>
                  </a:lnTo>
                  <a:lnTo>
                    <a:pt x="113" y="376"/>
                  </a:lnTo>
                  <a:lnTo>
                    <a:pt x="114" y="376"/>
                  </a:lnTo>
                  <a:lnTo>
                    <a:pt x="114" y="375"/>
                  </a:lnTo>
                  <a:lnTo>
                    <a:pt x="113" y="374"/>
                  </a:lnTo>
                  <a:lnTo>
                    <a:pt x="114" y="370"/>
                  </a:lnTo>
                  <a:lnTo>
                    <a:pt x="115" y="370"/>
                  </a:lnTo>
                  <a:lnTo>
                    <a:pt x="116" y="370"/>
                  </a:lnTo>
                  <a:lnTo>
                    <a:pt x="116" y="372"/>
                  </a:lnTo>
                  <a:lnTo>
                    <a:pt x="118" y="373"/>
                  </a:lnTo>
                  <a:lnTo>
                    <a:pt x="120" y="374"/>
                  </a:lnTo>
                  <a:lnTo>
                    <a:pt x="120" y="375"/>
                  </a:lnTo>
                  <a:lnTo>
                    <a:pt x="121" y="376"/>
                  </a:lnTo>
                  <a:lnTo>
                    <a:pt x="122" y="379"/>
                  </a:lnTo>
                  <a:lnTo>
                    <a:pt x="124" y="379"/>
                  </a:lnTo>
                  <a:lnTo>
                    <a:pt x="125" y="379"/>
                  </a:lnTo>
                  <a:lnTo>
                    <a:pt x="126" y="378"/>
                  </a:lnTo>
                  <a:lnTo>
                    <a:pt x="125" y="376"/>
                  </a:lnTo>
                  <a:lnTo>
                    <a:pt x="124" y="375"/>
                  </a:lnTo>
                  <a:lnTo>
                    <a:pt x="124" y="373"/>
                  </a:lnTo>
                  <a:lnTo>
                    <a:pt x="124" y="372"/>
                  </a:lnTo>
                  <a:lnTo>
                    <a:pt x="124" y="370"/>
                  </a:lnTo>
                  <a:lnTo>
                    <a:pt x="126" y="369"/>
                  </a:lnTo>
                  <a:lnTo>
                    <a:pt x="127" y="369"/>
                  </a:lnTo>
                  <a:lnTo>
                    <a:pt x="127" y="372"/>
                  </a:lnTo>
                  <a:lnTo>
                    <a:pt x="127" y="369"/>
                  </a:lnTo>
                  <a:lnTo>
                    <a:pt x="128" y="369"/>
                  </a:lnTo>
                  <a:lnTo>
                    <a:pt x="128" y="370"/>
                  </a:lnTo>
                  <a:lnTo>
                    <a:pt x="131" y="370"/>
                  </a:lnTo>
                  <a:lnTo>
                    <a:pt x="133" y="370"/>
                  </a:lnTo>
                  <a:lnTo>
                    <a:pt x="133" y="372"/>
                  </a:lnTo>
                  <a:lnTo>
                    <a:pt x="134" y="373"/>
                  </a:lnTo>
                  <a:lnTo>
                    <a:pt x="134" y="374"/>
                  </a:lnTo>
                  <a:lnTo>
                    <a:pt x="136" y="375"/>
                  </a:lnTo>
                  <a:lnTo>
                    <a:pt x="138" y="374"/>
                  </a:lnTo>
                  <a:lnTo>
                    <a:pt x="138" y="373"/>
                  </a:lnTo>
                  <a:lnTo>
                    <a:pt x="138" y="370"/>
                  </a:lnTo>
                  <a:lnTo>
                    <a:pt x="139" y="368"/>
                  </a:lnTo>
                  <a:lnTo>
                    <a:pt x="139" y="367"/>
                  </a:lnTo>
                  <a:lnTo>
                    <a:pt x="141" y="366"/>
                  </a:lnTo>
                  <a:lnTo>
                    <a:pt x="144" y="366"/>
                  </a:lnTo>
                  <a:lnTo>
                    <a:pt x="143" y="369"/>
                  </a:lnTo>
                  <a:lnTo>
                    <a:pt x="144" y="370"/>
                  </a:lnTo>
                  <a:lnTo>
                    <a:pt x="147" y="370"/>
                  </a:lnTo>
                  <a:lnTo>
                    <a:pt x="147" y="368"/>
                  </a:lnTo>
                  <a:lnTo>
                    <a:pt x="145" y="366"/>
                  </a:lnTo>
                  <a:lnTo>
                    <a:pt x="144" y="361"/>
                  </a:lnTo>
                  <a:lnTo>
                    <a:pt x="144" y="358"/>
                  </a:lnTo>
                  <a:lnTo>
                    <a:pt x="144" y="357"/>
                  </a:lnTo>
                  <a:lnTo>
                    <a:pt x="145" y="357"/>
                  </a:lnTo>
                  <a:lnTo>
                    <a:pt x="147" y="356"/>
                  </a:lnTo>
                  <a:lnTo>
                    <a:pt x="148" y="357"/>
                  </a:lnTo>
                  <a:lnTo>
                    <a:pt x="150" y="358"/>
                  </a:lnTo>
                  <a:lnTo>
                    <a:pt x="150" y="360"/>
                  </a:lnTo>
                  <a:lnTo>
                    <a:pt x="151" y="358"/>
                  </a:lnTo>
                  <a:lnTo>
                    <a:pt x="151" y="361"/>
                  </a:lnTo>
                  <a:lnTo>
                    <a:pt x="151" y="362"/>
                  </a:lnTo>
                  <a:lnTo>
                    <a:pt x="151" y="363"/>
                  </a:lnTo>
                  <a:lnTo>
                    <a:pt x="153" y="363"/>
                  </a:lnTo>
                  <a:lnTo>
                    <a:pt x="154" y="363"/>
                  </a:lnTo>
                  <a:lnTo>
                    <a:pt x="154" y="362"/>
                  </a:lnTo>
                  <a:lnTo>
                    <a:pt x="155" y="364"/>
                  </a:lnTo>
                  <a:lnTo>
                    <a:pt x="154" y="367"/>
                  </a:lnTo>
                  <a:lnTo>
                    <a:pt x="155" y="367"/>
                  </a:lnTo>
                  <a:lnTo>
                    <a:pt x="156" y="367"/>
                  </a:lnTo>
                  <a:lnTo>
                    <a:pt x="156" y="366"/>
                  </a:lnTo>
                  <a:lnTo>
                    <a:pt x="157" y="366"/>
                  </a:lnTo>
                  <a:lnTo>
                    <a:pt x="159" y="366"/>
                  </a:lnTo>
                  <a:lnTo>
                    <a:pt x="159" y="367"/>
                  </a:lnTo>
                  <a:lnTo>
                    <a:pt x="160" y="368"/>
                  </a:lnTo>
                  <a:lnTo>
                    <a:pt x="163" y="369"/>
                  </a:lnTo>
                  <a:lnTo>
                    <a:pt x="167" y="369"/>
                  </a:lnTo>
                  <a:lnTo>
                    <a:pt x="167" y="372"/>
                  </a:lnTo>
                  <a:lnTo>
                    <a:pt x="168" y="373"/>
                  </a:lnTo>
                  <a:lnTo>
                    <a:pt x="171" y="373"/>
                  </a:lnTo>
                  <a:lnTo>
                    <a:pt x="172" y="372"/>
                  </a:lnTo>
                  <a:lnTo>
                    <a:pt x="169" y="369"/>
                  </a:lnTo>
                  <a:lnTo>
                    <a:pt x="169" y="367"/>
                  </a:lnTo>
                  <a:lnTo>
                    <a:pt x="167" y="366"/>
                  </a:lnTo>
                  <a:lnTo>
                    <a:pt x="167" y="362"/>
                  </a:lnTo>
                  <a:lnTo>
                    <a:pt x="168" y="361"/>
                  </a:lnTo>
                  <a:lnTo>
                    <a:pt x="169" y="360"/>
                  </a:lnTo>
                  <a:lnTo>
                    <a:pt x="171" y="360"/>
                  </a:lnTo>
                  <a:lnTo>
                    <a:pt x="173" y="361"/>
                  </a:lnTo>
                  <a:lnTo>
                    <a:pt x="172" y="361"/>
                  </a:lnTo>
                  <a:lnTo>
                    <a:pt x="172" y="360"/>
                  </a:lnTo>
                  <a:lnTo>
                    <a:pt x="173" y="360"/>
                  </a:lnTo>
                  <a:lnTo>
                    <a:pt x="174" y="358"/>
                  </a:lnTo>
                  <a:lnTo>
                    <a:pt x="174" y="360"/>
                  </a:lnTo>
                  <a:lnTo>
                    <a:pt x="175" y="360"/>
                  </a:lnTo>
                  <a:lnTo>
                    <a:pt x="175" y="358"/>
                  </a:lnTo>
                  <a:lnTo>
                    <a:pt x="178" y="358"/>
                  </a:lnTo>
                  <a:lnTo>
                    <a:pt x="178" y="357"/>
                  </a:lnTo>
                  <a:lnTo>
                    <a:pt x="179" y="356"/>
                  </a:lnTo>
                  <a:lnTo>
                    <a:pt x="184" y="355"/>
                  </a:lnTo>
                  <a:lnTo>
                    <a:pt x="186" y="355"/>
                  </a:lnTo>
                  <a:lnTo>
                    <a:pt x="186" y="356"/>
                  </a:lnTo>
                  <a:lnTo>
                    <a:pt x="187" y="357"/>
                  </a:lnTo>
                  <a:lnTo>
                    <a:pt x="190" y="358"/>
                  </a:lnTo>
                  <a:lnTo>
                    <a:pt x="191" y="360"/>
                  </a:lnTo>
                  <a:lnTo>
                    <a:pt x="192" y="360"/>
                  </a:lnTo>
                  <a:lnTo>
                    <a:pt x="193" y="360"/>
                  </a:lnTo>
                  <a:lnTo>
                    <a:pt x="195" y="357"/>
                  </a:lnTo>
                  <a:lnTo>
                    <a:pt x="196" y="357"/>
                  </a:lnTo>
                  <a:lnTo>
                    <a:pt x="196" y="356"/>
                  </a:lnTo>
                  <a:lnTo>
                    <a:pt x="201" y="356"/>
                  </a:lnTo>
                  <a:lnTo>
                    <a:pt x="201" y="355"/>
                  </a:lnTo>
                  <a:lnTo>
                    <a:pt x="201" y="354"/>
                  </a:lnTo>
                  <a:lnTo>
                    <a:pt x="202" y="354"/>
                  </a:lnTo>
                  <a:lnTo>
                    <a:pt x="203" y="352"/>
                  </a:lnTo>
                  <a:lnTo>
                    <a:pt x="204" y="352"/>
                  </a:lnTo>
                  <a:lnTo>
                    <a:pt x="204" y="354"/>
                  </a:lnTo>
                  <a:lnTo>
                    <a:pt x="204" y="355"/>
                  </a:lnTo>
                  <a:lnTo>
                    <a:pt x="203" y="354"/>
                  </a:lnTo>
                  <a:lnTo>
                    <a:pt x="203" y="355"/>
                  </a:lnTo>
                  <a:lnTo>
                    <a:pt x="204" y="356"/>
                  </a:lnTo>
                  <a:lnTo>
                    <a:pt x="204" y="355"/>
                  </a:lnTo>
                  <a:lnTo>
                    <a:pt x="206" y="354"/>
                  </a:lnTo>
                  <a:lnTo>
                    <a:pt x="208" y="354"/>
                  </a:lnTo>
                  <a:lnTo>
                    <a:pt x="208" y="351"/>
                  </a:lnTo>
                  <a:lnTo>
                    <a:pt x="209" y="350"/>
                  </a:lnTo>
                  <a:lnTo>
                    <a:pt x="208" y="350"/>
                  </a:lnTo>
                  <a:lnTo>
                    <a:pt x="208" y="351"/>
                  </a:lnTo>
                  <a:lnTo>
                    <a:pt x="206" y="351"/>
                  </a:lnTo>
                  <a:lnTo>
                    <a:pt x="207" y="349"/>
                  </a:lnTo>
                  <a:lnTo>
                    <a:pt x="206" y="346"/>
                  </a:lnTo>
                  <a:lnTo>
                    <a:pt x="204" y="345"/>
                  </a:lnTo>
                  <a:lnTo>
                    <a:pt x="206" y="345"/>
                  </a:lnTo>
                  <a:lnTo>
                    <a:pt x="206" y="342"/>
                  </a:lnTo>
                  <a:lnTo>
                    <a:pt x="207" y="339"/>
                  </a:lnTo>
                  <a:lnTo>
                    <a:pt x="208" y="339"/>
                  </a:lnTo>
                  <a:lnTo>
                    <a:pt x="208" y="340"/>
                  </a:lnTo>
                  <a:lnTo>
                    <a:pt x="212" y="339"/>
                  </a:lnTo>
                  <a:lnTo>
                    <a:pt x="213" y="342"/>
                  </a:lnTo>
                  <a:lnTo>
                    <a:pt x="214" y="340"/>
                  </a:lnTo>
                  <a:lnTo>
                    <a:pt x="215" y="342"/>
                  </a:lnTo>
                  <a:lnTo>
                    <a:pt x="216" y="340"/>
                  </a:lnTo>
                  <a:lnTo>
                    <a:pt x="219" y="339"/>
                  </a:lnTo>
                  <a:lnTo>
                    <a:pt x="220" y="337"/>
                  </a:lnTo>
                  <a:lnTo>
                    <a:pt x="222" y="337"/>
                  </a:lnTo>
                  <a:lnTo>
                    <a:pt x="222" y="334"/>
                  </a:lnTo>
                  <a:lnTo>
                    <a:pt x="222" y="333"/>
                  </a:lnTo>
                  <a:lnTo>
                    <a:pt x="224" y="333"/>
                  </a:lnTo>
                  <a:lnTo>
                    <a:pt x="226" y="333"/>
                  </a:lnTo>
                  <a:lnTo>
                    <a:pt x="227" y="332"/>
                  </a:lnTo>
                  <a:lnTo>
                    <a:pt x="226" y="331"/>
                  </a:lnTo>
                  <a:lnTo>
                    <a:pt x="226" y="330"/>
                  </a:lnTo>
                  <a:lnTo>
                    <a:pt x="227" y="330"/>
                  </a:lnTo>
                  <a:lnTo>
                    <a:pt x="227" y="328"/>
                  </a:lnTo>
                  <a:lnTo>
                    <a:pt x="227" y="330"/>
                  </a:lnTo>
                  <a:lnTo>
                    <a:pt x="228" y="330"/>
                  </a:lnTo>
                  <a:lnTo>
                    <a:pt x="230" y="331"/>
                  </a:lnTo>
                  <a:lnTo>
                    <a:pt x="231" y="331"/>
                  </a:lnTo>
                  <a:lnTo>
                    <a:pt x="232" y="333"/>
                  </a:lnTo>
                  <a:lnTo>
                    <a:pt x="233" y="332"/>
                  </a:lnTo>
                  <a:lnTo>
                    <a:pt x="234" y="331"/>
                  </a:lnTo>
                  <a:lnTo>
                    <a:pt x="236" y="331"/>
                  </a:lnTo>
                  <a:lnTo>
                    <a:pt x="237" y="331"/>
                  </a:lnTo>
                  <a:lnTo>
                    <a:pt x="238" y="331"/>
                  </a:lnTo>
                  <a:lnTo>
                    <a:pt x="239" y="331"/>
                  </a:lnTo>
                  <a:lnTo>
                    <a:pt x="240" y="331"/>
                  </a:lnTo>
                  <a:lnTo>
                    <a:pt x="240" y="332"/>
                  </a:lnTo>
                  <a:lnTo>
                    <a:pt x="242" y="332"/>
                  </a:lnTo>
                  <a:lnTo>
                    <a:pt x="244" y="331"/>
                  </a:lnTo>
                  <a:lnTo>
                    <a:pt x="245" y="331"/>
                  </a:lnTo>
                  <a:lnTo>
                    <a:pt x="245" y="330"/>
                  </a:lnTo>
                  <a:lnTo>
                    <a:pt x="246" y="330"/>
                  </a:lnTo>
                  <a:lnTo>
                    <a:pt x="246" y="328"/>
                  </a:lnTo>
                  <a:lnTo>
                    <a:pt x="249" y="328"/>
                  </a:lnTo>
                  <a:lnTo>
                    <a:pt x="249" y="330"/>
                  </a:lnTo>
                  <a:lnTo>
                    <a:pt x="250" y="330"/>
                  </a:lnTo>
                  <a:lnTo>
                    <a:pt x="250" y="331"/>
                  </a:lnTo>
                  <a:lnTo>
                    <a:pt x="250" y="330"/>
                  </a:lnTo>
                  <a:lnTo>
                    <a:pt x="251" y="328"/>
                  </a:lnTo>
                  <a:lnTo>
                    <a:pt x="250" y="327"/>
                  </a:lnTo>
                  <a:lnTo>
                    <a:pt x="251" y="327"/>
                  </a:lnTo>
                  <a:lnTo>
                    <a:pt x="251" y="326"/>
                  </a:lnTo>
                  <a:lnTo>
                    <a:pt x="252" y="326"/>
                  </a:lnTo>
                  <a:lnTo>
                    <a:pt x="255" y="325"/>
                  </a:lnTo>
                  <a:lnTo>
                    <a:pt x="256" y="325"/>
                  </a:lnTo>
                  <a:lnTo>
                    <a:pt x="256" y="326"/>
                  </a:lnTo>
                  <a:lnTo>
                    <a:pt x="257" y="326"/>
                  </a:lnTo>
                  <a:lnTo>
                    <a:pt x="259" y="325"/>
                  </a:lnTo>
                  <a:lnTo>
                    <a:pt x="257" y="324"/>
                  </a:lnTo>
                  <a:lnTo>
                    <a:pt x="256" y="324"/>
                  </a:lnTo>
                  <a:lnTo>
                    <a:pt x="256" y="322"/>
                  </a:lnTo>
                  <a:lnTo>
                    <a:pt x="257" y="322"/>
                  </a:lnTo>
                  <a:lnTo>
                    <a:pt x="256" y="321"/>
                  </a:lnTo>
                  <a:lnTo>
                    <a:pt x="259" y="320"/>
                  </a:lnTo>
                  <a:lnTo>
                    <a:pt x="259" y="321"/>
                  </a:lnTo>
                  <a:lnTo>
                    <a:pt x="260" y="322"/>
                  </a:lnTo>
                  <a:lnTo>
                    <a:pt x="260" y="321"/>
                  </a:lnTo>
                  <a:lnTo>
                    <a:pt x="261" y="321"/>
                  </a:lnTo>
                  <a:lnTo>
                    <a:pt x="260" y="320"/>
                  </a:lnTo>
                  <a:lnTo>
                    <a:pt x="261" y="319"/>
                  </a:lnTo>
                  <a:lnTo>
                    <a:pt x="262" y="319"/>
                  </a:lnTo>
                  <a:lnTo>
                    <a:pt x="261" y="319"/>
                  </a:lnTo>
                  <a:lnTo>
                    <a:pt x="261" y="318"/>
                  </a:lnTo>
                  <a:lnTo>
                    <a:pt x="261" y="316"/>
                  </a:lnTo>
                  <a:lnTo>
                    <a:pt x="261" y="315"/>
                  </a:lnTo>
                  <a:lnTo>
                    <a:pt x="260" y="314"/>
                  </a:lnTo>
                  <a:lnTo>
                    <a:pt x="261" y="314"/>
                  </a:lnTo>
                  <a:lnTo>
                    <a:pt x="261" y="313"/>
                  </a:lnTo>
                  <a:lnTo>
                    <a:pt x="262" y="313"/>
                  </a:lnTo>
                  <a:lnTo>
                    <a:pt x="263" y="313"/>
                  </a:lnTo>
                  <a:lnTo>
                    <a:pt x="262" y="313"/>
                  </a:lnTo>
                  <a:lnTo>
                    <a:pt x="262" y="312"/>
                  </a:lnTo>
                  <a:lnTo>
                    <a:pt x="262" y="310"/>
                  </a:lnTo>
                  <a:lnTo>
                    <a:pt x="265" y="309"/>
                  </a:lnTo>
                  <a:lnTo>
                    <a:pt x="266" y="310"/>
                  </a:lnTo>
                  <a:lnTo>
                    <a:pt x="266" y="309"/>
                  </a:lnTo>
                  <a:lnTo>
                    <a:pt x="267" y="308"/>
                  </a:lnTo>
                  <a:lnTo>
                    <a:pt x="267" y="307"/>
                  </a:lnTo>
                  <a:lnTo>
                    <a:pt x="267" y="306"/>
                  </a:lnTo>
                  <a:lnTo>
                    <a:pt x="268" y="306"/>
                  </a:lnTo>
                  <a:lnTo>
                    <a:pt x="268" y="303"/>
                  </a:lnTo>
                  <a:lnTo>
                    <a:pt x="269" y="303"/>
                  </a:lnTo>
                  <a:lnTo>
                    <a:pt x="271" y="302"/>
                  </a:lnTo>
                  <a:lnTo>
                    <a:pt x="272" y="301"/>
                  </a:lnTo>
                  <a:lnTo>
                    <a:pt x="272" y="300"/>
                  </a:lnTo>
                  <a:lnTo>
                    <a:pt x="271" y="300"/>
                  </a:lnTo>
                  <a:lnTo>
                    <a:pt x="271" y="297"/>
                  </a:lnTo>
                  <a:lnTo>
                    <a:pt x="271" y="295"/>
                  </a:lnTo>
                  <a:lnTo>
                    <a:pt x="272" y="295"/>
                  </a:lnTo>
                  <a:lnTo>
                    <a:pt x="271" y="295"/>
                  </a:lnTo>
                  <a:lnTo>
                    <a:pt x="269" y="295"/>
                  </a:lnTo>
                  <a:lnTo>
                    <a:pt x="268" y="295"/>
                  </a:lnTo>
                  <a:lnTo>
                    <a:pt x="268" y="296"/>
                  </a:lnTo>
                  <a:lnTo>
                    <a:pt x="267" y="295"/>
                  </a:lnTo>
                  <a:lnTo>
                    <a:pt x="265" y="295"/>
                  </a:lnTo>
                  <a:lnTo>
                    <a:pt x="265" y="294"/>
                  </a:lnTo>
                  <a:lnTo>
                    <a:pt x="263" y="294"/>
                  </a:lnTo>
                  <a:lnTo>
                    <a:pt x="263" y="295"/>
                  </a:lnTo>
                  <a:lnTo>
                    <a:pt x="262" y="295"/>
                  </a:lnTo>
                  <a:lnTo>
                    <a:pt x="261" y="295"/>
                  </a:lnTo>
                  <a:lnTo>
                    <a:pt x="261" y="294"/>
                  </a:lnTo>
                  <a:lnTo>
                    <a:pt x="260" y="294"/>
                  </a:lnTo>
                  <a:lnTo>
                    <a:pt x="259" y="294"/>
                  </a:lnTo>
                  <a:lnTo>
                    <a:pt x="257" y="294"/>
                  </a:lnTo>
                  <a:lnTo>
                    <a:pt x="256" y="294"/>
                  </a:lnTo>
                  <a:lnTo>
                    <a:pt x="255" y="295"/>
                  </a:lnTo>
                  <a:lnTo>
                    <a:pt x="254" y="295"/>
                  </a:lnTo>
                  <a:lnTo>
                    <a:pt x="254" y="296"/>
                  </a:lnTo>
                  <a:lnTo>
                    <a:pt x="252" y="296"/>
                  </a:lnTo>
                  <a:lnTo>
                    <a:pt x="251" y="297"/>
                  </a:lnTo>
                  <a:lnTo>
                    <a:pt x="251" y="298"/>
                  </a:lnTo>
                  <a:lnTo>
                    <a:pt x="250" y="298"/>
                  </a:lnTo>
                  <a:lnTo>
                    <a:pt x="250" y="300"/>
                  </a:lnTo>
                  <a:lnTo>
                    <a:pt x="250" y="301"/>
                  </a:lnTo>
                  <a:lnTo>
                    <a:pt x="249" y="301"/>
                  </a:lnTo>
                  <a:lnTo>
                    <a:pt x="250" y="302"/>
                  </a:lnTo>
                  <a:lnTo>
                    <a:pt x="250" y="303"/>
                  </a:lnTo>
                  <a:lnTo>
                    <a:pt x="251" y="303"/>
                  </a:lnTo>
                  <a:lnTo>
                    <a:pt x="251" y="304"/>
                  </a:lnTo>
                  <a:lnTo>
                    <a:pt x="252" y="306"/>
                  </a:lnTo>
                  <a:lnTo>
                    <a:pt x="251" y="307"/>
                  </a:lnTo>
                  <a:lnTo>
                    <a:pt x="250" y="308"/>
                  </a:lnTo>
                  <a:lnTo>
                    <a:pt x="250" y="309"/>
                  </a:lnTo>
                  <a:lnTo>
                    <a:pt x="249" y="309"/>
                  </a:lnTo>
                  <a:lnTo>
                    <a:pt x="249" y="310"/>
                  </a:lnTo>
                  <a:lnTo>
                    <a:pt x="248" y="312"/>
                  </a:lnTo>
                  <a:lnTo>
                    <a:pt x="246" y="312"/>
                  </a:lnTo>
                  <a:lnTo>
                    <a:pt x="246" y="313"/>
                  </a:lnTo>
                  <a:lnTo>
                    <a:pt x="245" y="313"/>
                  </a:lnTo>
                  <a:lnTo>
                    <a:pt x="244" y="314"/>
                  </a:lnTo>
                  <a:lnTo>
                    <a:pt x="243" y="315"/>
                  </a:lnTo>
                  <a:lnTo>
                    <a:pt x="243" y="316"/>
                  </a:lnTo>
                  <a:lnTo>
                    <a:pt x="244" y="316"/>
                  </a:lnTo>
                  <a:lnTo>
                    <a:pt x="245" y="316"/>
                  </a:lnTo>
                  <a:lnTo>
                    <a:pt x="245" y="315"/>
                  </a:lnTo>
                  <a:lnTo>
                    <a:pt x="246" y="315"/>
                  </a:lnTo>
                  <a:lnTo>
                    <a:pt x="248" y="315"/>
                  </a:lnTo>
                  <a:lnTo>
                    <a:pt x="248" y="316"/>
                  </a:lnTo>
                  <a:lnTo>
                    <a:pt x="249" y="316"/>
                  </a:lnTo>
                  <a:lnTo>
                    <a:pt x="250" y="316"/>
                  </a:lnTo>
                  <a:lnTo>
                    <a:pt x="251" y="316"/>
                  </a:lnTo>
                  <a:lnTo>
                    <a:pt x="252" y="319"/>
                  </a:lnTo>
                  <a:lnTo>
                    <a:pt x="251" y="319"/>
                  </a:lnTo>
                  <a:lnTo>
                    <a:pt x="250" y="319"/>
                  </a:lnTo>
                  <a:lnTo>
                    <a:pt x="250" y="320"/>
                  </a:lnTo>
                  <a:lnTo>
                    <a:pt x="249" y="320"/>
                  </a:lnTo>
                  <a:lnTo>
                    <a:pt x="249" y="322"/>
                  </a:lnTo>
                  <a:lnTo>
                    <a:pt x="248" y="322"/>
                  </a:lnTo>
                  <a:lnTo>
                    <a:pt x="246" y="324"/>
                  </a:lnTo>
                  <a:lnTo>
                    <a:pt x="245" y="325"/>
                  </a:lnTo>
                  <a:lnTo>
                    <a:pt x="244" y="325"/>
                  </a:lnTo>
                  <a:lnTo>
                    <a:pt x="243" y="325"/>
                  </a:lnTo>
                  <a:lnTo>
                    <a:pt x="243" y="324"/>
                  </a:lnTo>
                  <a:lnTo>
                    <a:pt x="242" y="324"/>
                  </a:lnTo>
                  <a:lnTo>
                    <a:pt x="242" y="325"/>
                  </a:lnTo>
                  <a:lnTo>
                    <a:pt x="242" y="326"/>
                  </a:lnTo>
                  <a:lnTo>
                    <a:pt x="240" y="325"/>
                  </a:lnTo>
                  <a:lnTo>
                    <a:pt x="240" y="326"/>
                  </a:lnTo>
                  <a:lnTo>
                    <a:pt x="239" y="325"/>
                  </a:lnTo>
                  <a:lnTo>
                    <a:pt x="238" y="325"/>
                  </a:lnTo>
                  <a:lnTo>
                    <a:pt x="238" y="326"/>
                  </a:lnTo>
                  <a:lnTo>
                    <a:pt x="237" y="326"/>
                  </a:lnTo>
                  <a:lnTo>
                    <a:pt x="236" y="326"/>
                  </a:lnTo>
                  <a:lnTo>
                    <a:pt x="237" y="324"/>
                  </a:lnTo>
                  <a:lnTo>
                    <a:pt x="236" y="324"/>
                  </a:lnTo>
                  <a:lnTo>
                    <a:pt x="234" y="322"/>
                  </a:lnTo>
                  <a:lnTo>
                    <a:pt x="232" y="324"/>
                  </a:lnTo>
                  <a:lnTo>
                    <a:pt x="230" y="324"/>
                  </a:lnTo>
                  <a:lnTo>
                    <a:pt x="230" y="322"/>
                  </a:lnTo>
                  <a:lnTo>
                    <a:pt x="228" y="322"/>
                  </a:lnTo>
                  <a:lnTo>
                    <a:pt x="228" y="324"/>
                  </a:lnTo>
                  <a:lnTo>
                    <a:pt x="227" y="324"/>
                  </a:lnTo>
                  <a:lnTo>
                    <a:pt x="227" y="322"/>
                  </a:lnTo>
                  <a:lnTo>
                    <a:pt x="226" y="322"/>
                  </a:lnTo>
                  <a:lnTo>
                    <a:pt x="225" y="322"/>
                  </a:lnTo>
                  <a:lnTo>
                    <a:pt x="225" y="321"/>
                  </a:lnTo>
                  <a:lnTo>
                    <a:pt x="225" y="320"/>
                  </a:lnTo>
                  <a:lnTo>
                    <a:pt x="228" y="319"/>
                  </a:lnTo>
                  <a:lnTo>
                    <a:pt x="228" y="318"/>
                  </a:lnTo>
                  <a:lnTo>
                    <a:pt x="227" y="315"/>
                  </a:lnTo>
                  <a:lnTo>
                    <a:pt x="230" y="315"/>
                  </a:lnTo>
                  <a:lnTo>
                    <a:pt x="230" y="314"/>
                  </a:lnTo>
                  <a:lnTo>
                    <a:pt x="232" y="314"/>
                  </a:lnTo>
                  <a:lnTo>
                    <a:pt x="231" y="313"/>
                  </a:lnTo>
                  <a:lnTo>
                    <a:pt x="231" y="312"/>
                  </a:lnTo>
                  <a:lnTo>
                    <a:pt x="231" y="310"/>
                  </a:lnTo>
                  <a:lnTo>
                    <a:pt x="230" y="310"/>
                  </a:lnTo>
                  <a:lnTo>
                    <a:pt x="228" y="309"/>
                  </a:lnTo>
                  <a:lnTo>
                    <a:pt x="228" y="308"/>
                  </a:lnTo>
                  <a:lnTo>
                    <a:pt x="228" y="307"/>
                  </a:lnTo>
                  <a:lnTo>
                    <a:pt x="230" y="307"/>
                  </a:lnTo>
                  <a:lnTo>
                    <a:pt x="230" y="306"/>
                  </a:lnTo>
                  <a:lnTo>
                    <a:pt x="230" y="304"/>
                  </a:lnTo>
                  <a:lnTo>
                    <a:pt x="230" y="306"/>
                  </a:lnTo>
                  <a:lnTo>
                    <a:pt x="231" y="306"/>
                  </a:lnTo>
                  <a:lnTo>
                    <a:pt x="232" y="304"/>
                  </a:lnTo>
                  <a:lnTo>
                    <a:pt x="232" y="306"/>
                  </a:lnTo>
                  <a:lnTo>
                    <a:pt x="233" y="306"/>
                  </a:lnTo>
                  <a:lnTo>
                    <a:pt x="233" y="303"/>
                  </a:lnTo>
                  <a:lnTo>
                    <a:pt x="233" y="302"/>
                  </a:lnTo>
                  <a:lnTo>
                    <a:pt x="232" y="302"/>
                  </a:lnTo>
                  <a:lnTo>
                    <a:pt x="231" y="303"/>
                  </a:lnTo>
                  <a:lnTo>
                    <a:pt x="232" y="302"/>
                  </a:lnTo>
                  <a:lnTo>
                    <a:pt x="231" y="301"/>
                  </a:lnTo>
                  <a:lnTo>
                    <a:pt x="231" y="302"/>
                  </a:lnTo>
                  <a:lnTo>
                    <a:pt x="228" y="302"/>
                  </a:lnTo>
                  <a:lnTo>
                    <a:pt x="228" y="303"/>
                  </a:lnTo>
                  <a:lnTo>
                    <a:pt x="227" y="304"/>
                  </a:lnTo>
                  <a:lnTo>
                    <a:pt x="226" y="304"/>
                  </a:lnTo>
                  <a:lnTo>
                    <a:pt x="225" y="304"/>
                  </a:lnTo>
                  <a:lnTo>
                    <a:pt x="224" y="306"/>
                  </a:lnTo>
                  <a:lnTo>
                    <a:pt x="222" y="306"/>
                  </a:lnTo>
                  <a:lnTo>
                    <a:pt x="221" y="306"/>
                  </a:lnTo>
                  <a:lnTo>
                    <a:pt x="221" y="307"/>
                  </a:lnTo>
                  <a:lnTo>
                    <a:pt x="220" y="306"/>
                  </a:lnTo>
                  <a:lnTo>
                    <a:pt x="219" y="306"/>
                  </a:lnTo>
                  <a:lnTo>
                    <a:pt x="219" y="307"/>
                  </a:lnTo>
                  <a:lnTo>
                    <a:pt x="218" y="307"/>
                  </a:lnTo>
                  <a:lnTo>
                    <a:pt x="216" y="307"/>
                  </a:lnTo>
                  <a:lnTo>
                    <a:pt x="215" y="306"/>
                  </a:lnTo>
                  <a:lnTo>
                    <a:pt x="215" y="307"/>
                  </a:lnTo>
                  <a:lnTo>
                    <a:pt x="214" y="308"/>
                  </a:lnTo>
                  <a:lnTo>
                    <a:pt x="214" y="309"/>
                  </a:lnTo>
                  <a:lnTo>
                    <a:pt x="213" y="308"/>
                  </a:lnTo>
                  <a:lnTo>
                    <a:pt x="213" y="309"/>
                  </a:lnTo>
                  <a:lnTo>
                    <a:pt x="212" y="309"/>
                  </a:lnTo>
                  <a:lnTo>
                    <a:pt x="212" y="310"/>
                  </a:lnTo>
                  <a:lnTo>
                    <a:pt x="213" y="310"/>
                  </a:lnTo>
                  <a:lnTo>
                    <a:pt x="212" y="310"/>
                  </a:lnTo>
                  <a:lnTo>
                    <a:pt x="212" y="312"/>
                  </a:lnTo>
                  <a:lnTo>
                    <a:pt x="210" y="312"/>
                  </a:lnTo>
                  <a:lnTo>
                    <a:pt x="209" y="310"/>
                  </a:lnTo>
                  <a:lnTo>
                    <a:pt x="209" y="312"/>
                  </a:lnTo>
                  <a:lnTo>
                    <a:pt x="208" y="313"/>
                  </a:lnTo>
                  <a:lnTo>
                    <a:pt x="207" y="312"/>
                  </a:lnTo>
                  <a:lnTo>
                    <a:pt x="206" y="312"/>
                  </a:lnTo>
                  <a:lnTo>
                    <a:pt x="204" y="310"/>
                  </a:lnTo>
                  <a:lnTo>
                    <a:pt x="202" y="310"/>
                  </a:lnTo>
                  <a:lnTo>
                    <a:pt x="202" y="309"/>
                  </a:lnTo>
                  <a:lnTo>
                    <a:pt x="200" y="309"/>
                  </a:lnTo>
                  <a:lnTo>
                    <a:pt x="198" y="309"/>
                  </a:lnTo>
                  <a:lnTo>
                    <a:pt x="198" y="308"/>
                  </a:lnTo>
                  <a:lnTo>
                    <a:pt x="197" y="308"/>
                  </a:lnTo>
                  <a:lnTo>
                    <a:pt x="196" y="307"/>
                  </a:lnTo>
                  <a:lnTo>
                    <a:pt x="196" y="308"/>
                  </a:lnTo>
                  <a:lnTo>
                    <a:pt x="196" y="309"/>
                  </a:lnTo>
                  <a:lnTo>
                    <a:pt x="195" y="308"/>
                  </a:lnTo>
                  <a:lnTo>
                    <a:pt x="195" y="310"/>
                  </a:lnTo>
                  <a:lnTo>
                    <a:pt x="193" y="310"/>
                  </a:lnTo>
                  <a:lnTo>
                    <a:pt x="192" y="312"/>
                  </a:lnTo>
                  <a:lnTo>
                    <a:pt x="191" y="312"/>
                  </a:lnTo>
                  <a:lnTo>
                    <a:pt x="191" y="313"/>
                  </a:lnTo>
                  <a:lnTo>
                    <a:pt x="190" y="314"/>
                  </a:lnTo>
                  <a:lnTo>
                    <a:pt x="190" y="313"/>
                  </a:lnTo>
                  <a:lnTo>
                    <a:pt x="189" y="312"/>
                  </a:lnTo>
                  <a:lnTo>
                    <a:pt x="189" y="310"/>
                  </a:lnTo>
                  <a:lnTo>
                    <a:pt x="187" y="312"/>
                  </a:lnTo>
                  <a:lnTo>
                    <a:pt x="186" y="313"/>
                  </a:lnTo>
                  <a:lnTo>
                    <a:pt x="187" y="313"/>
                  </a:lnTo>
                  <a:lnTo>
                    <a:pt x="186" y="315"/>
                  </a:lnTo>
                  <a:lnTo>
                    <a:pt x="187" y="315"/>
                  </a:lnTo>
                  <a:lnTo>
                    <a:pt x="186" y="315"/>
                  </a:lnTo>
                  <a:lnTo>
                    <a:pt x="186" y="314"/>
                  </a:lnTo>
                  <a:lnTo>
                    <a:pt x="185" y="315"/>
                  </a:lnTo>
                  <a:lnTo>
                    <a:pt x="185" y="316"/>
                  </a:lnTo>
                  <a:lnTo>
                    <a:pt x="184" y="316"/>
                  </a:lnTo>
                  <a:lnTo>
                    <a:pt x="183" y="314"/>
                  </a:lnTo>
                  <a:lnTo>
                    <a:pt x="181" y="313"/>
                  </a:lnTo>
                  <a:lnTo>
                    <a:pt x="181" y="314"/>
                  </a:lnTo>
                  <a:lnTo>
                    <a:pt x="180" y="314"/>
                  </a:lnTo>
                  <a:lnTo>
                    <a:pt x="178" y="315"/>
                  </a:lnTo>
                  <a:lnTo>
                    <a:pt x="178" y="314"/>
                  </a:lnTo>
                  <a:lnTo>
                    <a:pt x="179" y="314"/>
                  </a:lnTo>
                  <a:lnTo>
                    <a:pt x="178" y="313"/>
                  </a:lnTo>
                  <a:lnTo>
                    <a:pt x="178" y="312"/>
                  </a:lnTo>
                  <a:lnTo>
                    <a:pt x="178" y="310"/>
                  </a:lnTo>
                  <a:lnTo>
                    <a:pt x="179" y="310"/>
                  </a:lnTo>
                  <a:lnTo>
                    <a:pt x="179" y="309"/>
                  </a:lnTo>
                  <a:lnTo>
                    <a:pt x="180" y="309"/>
                  </a:lnTo>
                  <a:lnTo>
                    <a:pt x="181" y="309"/>
                  </a:lnTo>
                  <a:lnTo>
                    <a:pt x="183" y="309"/>
                  </a:lnTo>
                  <a:lnTo>
                    <a:pt x="184" y="309"/>
                  </a:lnTo>
                  <a:lnTo>
                    <a:pt x="183" y="308"/>
                  </a:lnTo>
                  <a:lnTo>
                    <a:pt x="184" y="307"/>
                  </a:lnTo>
                  <a:lnTo>
                    <a:pt x="183" y="307"/>
                  </a:lnTo>
                  <a:lnTo>
                    <a:pt x="183" y="306"/>
                  </a:lnTo>
                  <a:lnTo>
                    <a:pt x="185" y="306"/>
                  </a:lnTo>
                  <a:lnTo>
                    <a:pt x="186" y="304"/>
                  </a:lnTo>
                  <a:lnTo>
                    <a:pt x="187" y="306"/>
                  </a:lnTo>
                  <a:lnTo>
                    <a:pt x="189" y="306"/>
                  </a:lnTo>
                  <a:lnTo>
                    <a:pt x="189" y="304"/>
                  </a:lnTo>
                  <a:lnTo>
                    <a:pt x="187" y="304"/>
                  </a:lnTo>
                  <a:lnTo>
                    <a:pt x="186" y="303"/>
                  </a:lnTo>
                  <a:lnTo>
                    <a:pt x="185" y="303"/>
                  </a:lnTo>
                  <a:lnTo>
                    <a:pt x="185" y="302"/>
                  </a:lnTo>
                  <a:lnTo>
                    <a:pt x="183" y="302"/>
                  </a:lnTo>
                  <a:lnTo>
                    <a:pt x="183" y="303"/>
                  </a:lnTo>
                  <a:lnTo>
                    <a:pt x="181" y="304"/>
                  </a:lnTo>
                  <a:lnTo>
                    <a:pt x="179" y="304"/>
                  </a:lnTo>
                  <a:lnTo>
                    <a:pt x="178" y="304"/>
                  </a:lnTo>
                  <a:lnTo>
                    <a:pt x="178" y="306"/>
                  </a:lnTo>
                  <a:lnTo>
                    <a:pt x="178" y="307"/>
                  </a:lnTo>
                  <a:lnTo>
                    <a:pt x="177" y="307"/>
                  </a:lnTo>
                  <a:lnTo>
                    <a:pt x="177" y="306"/>
                  </a:lnTo>
                  <a:lnTo>
                    <a:pt x="177" y="304"/>
                  </a:lnTo>
                  <a:lnTo>
                    <a:pt x="175" y="304"/>
                  </a:lnTo>
                  <a:lnTo>
                    <a:pt x="174" y="306"/>
                  </a:lnTo>
                  <a:lnTo>
                    <a:pt x="173" y="308"/>
                  </a:lnTo>
                  <a:lnTo>
                    <a:pt x="173" y="310"/>
                  </a:lnTo>
                  <a:lnTo>
                    <a:pt x="172" y="307"/>
                  </a:lnTo>
                  <a:lnTo>
                    <a:pt x="171" y="307"/>
                  </a:lnTo>
                  <a:lnTo>
                    <a:pt x="169" y="307"/>
                  </a:lnTo>
                  <a:lnTo>
                    <a:pt x="168" y="307"/>
                  </a:lnTo>
                  <a:lnTo>
                    <a:pt x="168" y="306"/>
                  </a:lnTo>
                  <a:lnTo>
                    <a:pt x="168" y="304"/>
                  </a:lnTo>
                  <a:lnTo>
                    <a:pt x="168" y="306"/>
                  </a:lnTo>
                  <a:lnTo>
                    <a:pt x="167" y="306"/>
                  </a:lnTo>
                  <a:lnTo>
                    <a:pt x="166" y="306"/>
                  </a:lnTo>
                  <a:lnTo>
                    <a:pt x="166" y="304"/>
                  </a:lnTo>
                  <a:lnTo>
                    <a:pt x="165" y="304"/>
                  </a:lnTo>
                  <a:lnTo>
                    <a:pt x="165" y="303"/>
                  </a:lnTo>
                  <a:lnTo>
                    <a:pt x="163" y="303"/>
                  </a:lnTo>
                  <a:lnTo>
                    <a:pt x="163" y="304"/>
                  </a:lnTo>
                  <a:lnTo>
                    <a:pt x="162" y="304"/>
                  </a:lnTo>
                  <a:lnTo>
                    <a:pt x="161" y="303"/>
                  </a:lnTo>
                  <a:lnTo>
                    <a:pt x="162" y="303"/>
                  </a:lnTo>
                  <a:lnTo>
                    <a:pt x="161" y="302"/>
                  </a:lnTo>
                  <a:lnTo>
                    <a:pt x="160" y="302"/>
                  </a:lnTo>
                  <a:lnTo>
                    <a:pt x="160" y="301"/>
                  </a:lnTo>
                  <a:lnTo>
                    <a:pt x="159" y="302"/>
                  </a:lnTo>
                  <a:lnTo>
                    <a:pt x="159" y="301"/>
                  </a:lnTo>
                  <a:lnTo>
                    <a:pt x="157" y="301"/>
                  </a:lnTo>
                  <a:lnTo>
                    <a:pt x="156" y="300"/>
                  </a:lnTo>
                  <a:lnTo>
                    <a:pt x="157" y="300"/>
                  </a:lnTo>
                  <a:lnTo>
                    <a:pt x="159" y="300"/>
                  </a:lnTo>
                  <a:lnTo>
                    <a:pt x="157" y="298"/>
                  </a:lnTo>
                  <a:lnTo>
                    <a:pt x="156" y="297"/>
                  </a:lnTo>
                  <a:lnTo>
                    <a:pt x="155" y="296"/>
                  </a:lnTo>
                  <a:lnTo>
                    <a:pt x="156" y="296"/>
                  </a:lnTo>
                  <a:lnTo>
                    <a:pt x="157" y="296"/>
                  </a:lnTo>
                  <a:lnTo>
                    <a:pt x="157" y="295"/>
                  </a:lnTo>
                  <a:lnTo>
                    <a:pt x="156" y="295"/>
                  </a:lnTo>
                  <a:lnTo>
                    <a:pt x="156" y="294"/>
                  </a:lnTo>
                  <a:lnTo>
                    <a:pt x="157" y="294"/>
                  </a:lnTo>
                  <a:lnTo>
                    <a:pt x="157" y="292"/>
                  </a:lnTo>
                  <a:lnTo>
                    <a:pt x="156" y="294"/>
                  </a:lnTo>
                  <a:lnTo>
                    <a:pt x="156" y="292"/>
                  </a:lnTo>
                  <a:lnTo>
                    <a:pt x="155" y="292"/>
                  </a:lnTo>
                  <a:lnTo>
                    <a:pt x="155" y="291"/>
                  </a:lnTo>
                  <a:lnTo>
                    <a:pt x="153" y="291"/>
                  </a:lnTo>
                  <a:lnTo>
                    <a:pt x="154" y="290"/>
                  </a:lnTo>
                  <a:lnTo>
                    <a:pt x="153" y="290"/>
                  </a:lnTo>
                  <a:lnTo>
                    <a:pt x="153" y="289"/>
                  </a:lnTo>
                  <a:lnTo>
                    <a:pt x="153" y="288"/>
                  </a:lnTo>
                  <a:lnTo>
                    <a:pt x="153" y="286"/>
                  </a:lnTo>
                  <a:lnTo>
                    <a:pt x="151" y="286"/>
                  </a:lnTo>
                  <a:lnTo>
                    <a:pt x="151" y="285"/>
                  </a:lnTo>
                  <a:lnTo>
                    <a:pt x="151" y="284"/>
                  </a:lnTo>
                  <a:lnTo>
                    <a:pt x="151" y="283"/>
                  </a:lnTo>
                  <a:lnTo>
                    <a:pt x="150" y="283"/>
                  </a:lnTo>
                  <a:lnTo>
                    <a:pt x="150" y="282"/>
                  </a:lnTo>
                  <a:lnTo>
                    <a:pt x="150" y="280"/>
                  </a:lnTo>
                  <a:lnTo>
                    <a:pt x="150" y="279"/>
                  </a:lnTo>
                  <a:lnTo>
                    <a:pt x="151" y="279"/>
                  </a:lnTo>
                  <a:lnTo>
                    <a:pt x="151" y="278"/>
                  </a:lnTo>
                  <a:lnTo>
                    <a:pt x="153" y="278"/>
                  </a:lnTo>
                  <a:lnTo>
                    <a:pt x="153" y="279"/>
                  </a:lnTo>
                  <a:lnTo>
                    <a:pt x="154" y="279"/>
                  </a:lnTo>
                  <a:lnTo>
                    <a:pt x="155" y="280"/>
                  </a:lnTo>
                  <a:lnTo>
                    <a:pt x="155" y="282"/>
                  </a:lnTo>
                  <a:lnTo>
                    <a:pt x="156" y="282"/>
                  </a:lnTo>
                  <a:lnTo>
                    <a:pt x="156" y="280"/>
                  </a:lnTo>
                  <a:lnTo>
                    <a:pt x="157" y="280"/>
                  </a:lnTo>
                  <a:lnTo>
                    <a:pt x="159" y="280"/>
                  </a:lnTo>
                  <a:lnTo>
                    <a:pt x="160" y="280"/>
                  </a:lnTo>
                  <a:lnTo>
                    <a:pt x="160" y="279"/>
                  </a:lnTo>
                  <a:lnTo>
                    <a:pt x="161" y="279"/>
                  </a:lnTo>
                  <a:lnTo>
                    <a:pt x="161" y="278"/>
                  </a:lnTo>
                  <a:lnTo>
                    <a:pt x="161" y="277"/>
                  </a:lnTo>
                  <a:lnTo>
                    <a:pt x="162" y="277"/>
                  </a:lnTo>
                  <a:lnTo>
                    <a:pt x="163" y="277"/>
                  </a:lnTo>
                  <a:lnTo>
                    <a:pt x="163" y="278"/>
                  </a:lnTo>
                  <a:lnTo>
                    <a:pt x="165" y="279"/>
                  </a:lnTo>
                  <a:lnTo>
                    <a:pt x="165" y="278"/>
                  </a:lnTo>
                  <a:lnTo>
                    <a:pt x="166" y="278"/>
                  </a:lnTo>
                  <a:lnTo>
                    <a:pt x="166" y="277"/>
                  </a:lnTo>
                  <a:lnTo>
                    <a:pt x="166" y="275"/>
                  </a:lnTo>
                  <a:lnTo>
                    <a:pt x="167" y="275"/>
                  </a:lnTo>
                  <a:lnTo>
                    <a:pt x="167" y="277"/>
                  </a:lnTo>
                  <a:lnTo>
                    <a:pt x="168" y="277"/>
                  </a:lnTo>
                  <a:lnTo>
                    <a:pt x="171" y="277"/>
                  </a:lnTo>
                  <a:lnTo>
                    <a:pt x="169" y="275"/>
                  </a:lnTo>
                  <a:lnTo>
                    <a:pt x="168" y="274"/>
                  </a:lnTo>
                  <a:lnTo>
                    <a:pt x="168" y="273"/>
                  </a:lnTo>
                  <a:lnTo>
                    <a:pt x="168" y="272"/>
                  </a:lnTo>
                  <a:lnTo>
                    <a:pt x="167" y="272"/>
                  </a:lnTo>
                  <a:lnTo>
                    <a:pt x="167" y="271"/>
                  </a:lnTo>
                  <a:lnTo>
                    <a:pt x="166" y="271"/>
                  </a:lnTo>
                  <a:lnTo>
                    <a:pt x="165" y="269"/>
                  </a:lnTo>
                  <a:lnTo>
                    <a:pt x="166" y="268"/>
                  </a:lnTo>
                  <a:lnTo>
                    <a:pt x="166" y="267"/>
                  </a:lnTo>
                  <a:lnTo>
                    <a:pt x="165" y="266"/>
                  </a:lnTo>
                  <a:lnTo>
                    <a:pt x="163" y="266"/>
                  </a:lnTo>
                  <a:lnTo>
                    <a:pt x="163" y="265"/>
                  </a:lnTo>
                  <a:lnTo>
                    <a:pt x="162" y="265"/>
                  </a:lnTo>
                  <a:lnTo>
                    <a:pt x="162" y="263"/>
                  </a:lnTo>
                  <a:lnTo>
                    <a:pt x="161" y="263"/>
                  </a:lnTo>
                  <a:lnTo>
                    <a:pt x="161" y="262"/>
                  </a:lnTo>
                  <a:lnTo>
                    <a:pt x="161" y="261"/>
                  </a:lnTo>
                  <a:lnTo>
                    <a:pt x="161" y="260"/>
                  </a:lnTo>
                  <a:lnTo>
                    <a:pt x="161" y="257"/>
                  </a:lnTo>
                  <a:lnTo>
                    <a:pt x="160" y="257"/>
                  </a:lnTo>
                  <a:lnTo>
                    <a:pt x="160" y="256"/>
                  </a:lnTo>
                  <a:lnTo>
                    <a:pt x="159" y="256"/>
                  </a:lnTo>
                  <a:lnTo>
                    <a:pt x="159" y="255"/>
                  </a:lnTo>
                  <a:lnTo>
                    <a:pt x="159" y="254"/>
                  </a:lnTo>
                  <a:lnTo>
                    <a:pt x="157" y="253"/>
                  </a:lnTo>
                  <a:lnTo>
                    <a:pt x="157" y="251"/>
                  </a:lnTo>
                  <a:lnTo>
                    <a:pt x="157" y="250"/>
                  </a:lnTo>
                  <a:lnTo>
                    <a:pt x="157" y="249"/>
                  </a:lnTo>
                  <a:lnTo>
                    <a:pt x="157" y="248"/>
                  </a:lnTo>
                  <a:lnTo>
                    <a:pt x="157" y="247"/>
                  </a:lnTo>
                  <a:lnTo>
                    <a:pt x="157" y="245"/>
                  </a:lnTo>
                  <a:lnTo>
                    <a:pt x="157" y="244"/>
                  </a:lnTo>
                  <a:lnTo>
                    <a:pt x="157" y="243"/>
                  </a:lnTo>
                  <a:lnTo>
                    <a:pt x="157" y="242"/>
                  </a:lnTo>
                  <a:lnTo>
                    <a:pt x="157" y="239"/>
                  </a:lnTo>
                  <a:lnTo>
                    <a:pt x="156" y="239"/>
                  </a:lnTo>
                  <a:lnTo>
                    <a:pt x="156" y="238"/>
                  </a:lnTo>
                  <a:lnTo>
                    <a:pt x="155" y="238"/>
                  </a:lnTo>
                  <a:lnTo>
                    <a:pt x="155" y="237"/>
                  </a:lnTo>
                  <a:lnTo>
                    <a:pt x="156" y="237"/>
                  </a:lnTo>
                  <a:lnTo>
                    <a:pt x="156" y="236"/>
                  </a:lnTo>
                  <a:lnTo>
                    <a:pt x="157" y="235"/>
                  </a:lnTo>
                  <a:lnTo>
                    <a:pt x="159" y="235"/>
                  </a:lnTo>
                  <a:lnTo>
                    <a:pt x="160" y="235"/>
                  </a:lnTo>
                  <a:lnTo>
                    <a:pt x="160" y="236"/>
                  </a:lnTo>
                  <a:lnTo>
                    <a:pt x="160" y="237"/>
                  </a:lnTo>
                  <a:lnTo>
                    <a:pt x="160" y="238"/>
                  </a:lnTo>
                  <a:lnTo>
                    <a:pt x="161" y="238"/>
                  </a:lnTo>
                  <a:lnTo>
                    <a:pt x="161" y="239"/>
                  </a:lnTo>
                  <a:lnTo>
                    <a:pt x="162" y="239"/>
                  </a:lnTo>
                  <a:lnTo>
                    <a:pt x="163" y="239"/>
                  </a:lnTo>
                  <a:lnTo>
                    <a:pt x="165" y="241"/>
                  </a:lnTo>
                  <a:lnTo>
                    <a:pt x="166" y="241"/>
                  </a:lnTo>
                  <a:lnTo>
                    <a:pt x="166" y="242"/>
                  </a:lnTo>
                  <a:lnTo>
                    <a:pt x="167" y="242"/>
                  </a:lnTo>
                  <a:lnTo>
                    <a:pt x="167" y="243"/>
                  </a:lnTo>
                  <a:lnTo>
                    <a:pt x="167" y="244"/>
                  </a:lnTo>
                  <a:lnTo>
                    <a:pt x="167" y="243"/>
                  </a:lnTo>
                  <a:lnTo>
                    <a:pt x="168" y="243"/>
                  </a:lnTo>
                  <a:lnTo>
                    <a:pt x="168" y="242"/>
                  </a:lnTo>
                  <a:lnTo>
                    <a:pt x="168" y="239"/>
                  </a:lnTo>
                  <a:lnTo>
                    <a:pt x="168" y="238"/>
                  </a:lnTo>
                  <a:lnTo>
                    <a:pt x="169" y="237"/>
                  </a:lnTo>
                  <a:lnTo>
                    <a:pt x="169" y="236"/>
                  </a:lnTo>
                  <a:lnTo>
                    <a:pt x="171" y="236"/>
                  </a:lnTo>
                  <a:lnTo>
                    <a:pt x="171" y="237"/>
                  </a:lnTo>
                  <a:lnTo>
                    <a:pt x="172" y="236"/>
                  </a:lnTo>
                  <a:lnTo>
                    <a:pt x="173" y="238"/>
                  </a:lnTo>
                  <a:lnTo>
                    <a:pt x="173" y="239"/>
                  </a:lnTo>
                  <a:lnTo>
                    <a:pt x="174" y="239"/>
                  </a:lnTo>
                  <a:lnTo>
                    <a:pt x="174" y="241"/>
                  </a:lnTo>
                  <a:lnTo>
                    <a:pt x="174" y="242"/>
                  </a:lnTo>
                  <a:lnTo>
                    <a:pt x="174" y="241"/>
                  </a:lnTo>
                  <a:lnTo>
                    <a:pt x="175" y="241"/>
                  </a:lnTo>
                  <a:lnTo>
                    <a:pt x="175" y="239"/>
                  </a:lnTo>
                  <a:lnTo>
                    <a:pt x="175" y="238"/>
                  </a:lnTo>
                  <a:lnTo>
                    <a:pt x="178" y="238"/>
                  </a:lnTo>
                  <a:lnTo>
                    <a:pt x="179" y="238"/>
                  </a:lnTo>
                  <a:lnTo>
                    <a:pt x="179" y="239"/>
                  </a:lnTo>
                  <a:lnTo>
                    <a:pt x="179" y="241"/>
                  </a:lnTo>
                  <a:lnTo>
                    <a:pt x="180" y="241"/>
                  </a:lnTo>
                  <a:lnTo>
                    <a:pt x="181" y="242"/>
                  </a:lnTo>
                  <a:lnTo>
                    <a:pt x="183" y="242"/>
                  </a:lnTo>
                  <a:lnTo>
                    <a:pt x="183" y="243"/>
                  </a:lnTo>
                  <a:lnTo>
                    <a:pt x="184" y="243"/>
                  </a:lnTo>
                  <a:lnTo>
                    <a:pt x="184" y="244"/>
                  </a:lnTo>
                  <a:lnTo>
                    <a:pt x="184" y="245"/>
                  </a:lnTo>
                  <a:lnTo>
                    <a:pt x="185" y="245"/>
                  </a:lnTo>
                  <a:lnTo>
                    <a:pt x="185" y="247"/>
                  </a:lnTo>
                  <a:lnTo>
                    <a:pt x="186" y="247"/>
                  </a:lnTo>
                  <a:lnTo>
                    <a:pt x="189" y="248"/>
                  </a:lnTo>
                  <a:lnTo>
                    <a:pt x="190" y="247"/>
                  </a:lnTo>
                  <a:lnTo>
                    <a:pt x="190" y="245"/>
                  </a:lnTo>
                  <a:lnTo>
                    <a:pt x="189" y="245"/>
                  </a:lnTo>
                  <a:lnTo>
                    <a:pt x="189" y="244"/>
                  </a:lnTo>
                  <a:lnTo>
                    <a:pt x="187" y="244"/>
                  </a:lnTo>
                  <a:lnTo>
                    <a:pt x="186" y="244"/>
                  </a:lnTo>
                  <a:lnTo>
                    <a:pt x="186" y="243"/>
                  </a:lnTo>
                  <a:lnTo>
                    <a:pt x="186" y="242"/>
                  </a:lnTo>
                  <a:lnTo>
                    <a:pt x="185" y="241"/>
                  </a:lnTo>
                  <a:lnTo>
                    <a:pt x="184" y="241"/>
                  </a:lnTo>
                  <a:lnTo>
                    <a:pt x="184" y="239"/>
                  </a:lnTo>
                  <a:lnTo>
                    <a:pt x="185" y="239"/>
                  </a:lnTo>
                  <a:lnTo>
                    <a:pt x="185" y="238"/>
                  </a:lnTo>
                  <a:lnTo>
                    <a:pt x="185" y="237"/>
                  </a:lnTo>
                  <a:lnTo>
                    <a:pt x="185" y="236"/>
                  </a:lnTo>
                  <a:lnTo>
                    <a:pt x="186" y="236"/>
                  </a:lnTo>
                  <a:lnTo>
                    <a:pt x="186" y="235"/>
                  </a:lnTo>
                  <a:lnTo>
                    <a:pt x="187" y="235"/>
                  </a:lnTo>
                  <a:lnTo>
                    <a:pt x="189" y="236"/>
                  </a:lnTo>
                  <a:lnTo>
                    <a:pt x="190" y="236"/>
                  </a:lnTo>
                  <a:lnTo>
                    <a:pt x="192" y="236"/>
                  </a:lnTo>
                  <a:lnTo>
                    <a:pt x="192" y="235"/>
                  </a:lnTo>
                  <a:lnTo>
                    <a:pt x="195" y="235"/>
                  </a:lnTo>
                  <a:lnTo>
                    <a:pt x="193" y="236"/>
                  </a:lnTo>
                  <a:lnTo>
                    <a:pt x="195" y="236"/>
                  </a:lnTo>
                  <a:lnTo>
                    <a:pt x="195" y="237"/>
                  </a:lnTo>
                  <a:lnTo>
                    <a:pt x="196" y="237"/>
                  </a:lnTo>
                  <a:lnTo>
                    <a:pt x="195" y="237"/>
                  </a:lnTo>
                  <a:lnTo>
                    <a:pt x="195" y="238"/>
                  </a:lnTo>
                  <a:lnTo>
                    <a:pt x="196" y="239"/>
                  </a:lnTo>
                  <a:lnTo>
                    <a:pt x="196" y="238"/>
                  </a:lnTo>
                  <a:lnTo>
                    <a:pt x="197" y="238"/>
                  </a:lnTo>
                  <a:lnTo>
                    <a:pt x="198" y="238"/>
                  </a:lnTo>
                  <a:lnTo>
                    <a:pt x="198" y="239"/>
                  </a:lnTo>
                  <a:lnTo>
                    <a:pt x="201" y="238"/>
                  </a:lnTo>
                  <a:lnTo>
                    <a:pt x="201" y="239"/>
                  </a:lnTo>
                  <a:lnTo>
                    <a:pt x="202" y="239"/>
                  </a:lnTo>
                  <a:lnTo>
                    <a:pt x="203" y="239"/>
                  </a:lnTo>
                  <a:lnTo>
                    <a:pt x="206" y="239"/>
                  </a:lnTo>
                  <a:lnTo>
                    <a:pt x="207" y="237"/>
                  </a:lnTo>
                  <a:lnTo>
                    <a:pt x="208" y="237"/>
                  </a:lnTo>
                  <a:lnTo>
                    <a:pt x="208" y="236"/>
                  </a:lnTo>
                  <a:lnTo>
                    <a:pt x="207" y="235"/>
                  </a:lnTo>
                  <a:lnTo>
                    <a:pt x="208" y="235"/>
                  </a:lnTo>
                  <a:lnTo>
                    <a:pt x="207" y="235"/>
                  </a:lnTo>
                  <a:lnTo>
                    <a:pt x="207" y="236"/>
                  </a:lnTo>
                  <a:lnTo>
                    <a:pt x="207" y="235"/>
                  </a:lnTo>
                  <a:lnTo>
                    <a:pt x="204" y="236"/>
                  </a:lnTo>
                  <a:lnTo>
                    <a:pt x="204" y="235"/>
                  </a:lnTo>
                  <a:lnTo>
                    <a:pt x="203" y="235"/>
                  </a:lnTo>
                  <a:lnTo>
                    <a:pt x="202" y="233"/>
                  </a:lnTo>
                  <a:lnTo>
                    <a:pt x="201" y="233"/>
                  </a:lnTo>
                  <a:lnTo>
                    <a:pt x="201" y="232"/>
                  </a:lnTo>
                  <a:lnTo>
                    <a:pt x="200" y="232"/>
                  </a:lnTo>
                  <a:lnTo>
                    <a:pt x="197" y="232"/>
                  </a:lnTo>
                  <a:lnTo>
                    <a:pt x="197" y="231"/>
                  </a:lnTo>
                  <a:lnTo>
                    <a:pt x="196" y="231"/>
                  </a:lnTo>
                  <a:lnTo>
                    <a:pt x="196" y="230"/>
                  </a:lnTo>
                  <a:lnTo>
                    <a:pt x="196" y="227"/>
                  </a:lnTo>
                  <a:lnTo>
                    <a:pt x="195" y="227"/>
                  </a:lnTo>
                  <a:lnTo>
                    <a:pt x="193" y="227"/>
                  </a:lnTo>
                  <a:lnTo>
                    <a:pt x="193" y="229"/>
                  </a:lnTo>
                  <a:lnTo>
                    <a:pt x="192" y="229"/>
                  </a:lnTo>
                  <a:lnTo>
                    <a:pt x="190" y="229"/>
                  </a:lnTo>
                  <a:lnTo>
                    <a:pt x="189" y="229"/>
                  </a:lnTo>
                  <a:lnTo>
                    <a:pt x="186" y="227"/>
                  </a:lnTo>
                  <a:lnTo>
                    <a:pt x="185" y="227"/>
                  </a:lnTo>
                  <a:lnTo>
                    <a:pt x="184" y="226"/>
                  </a:lnTo>
                  <a:lnTo>
                    <a:pt x="184" y="225"/>
                  </a:lnTo>
                  <a:lnTo>
                    <a:pt x="184" y="224"/>
                  </a:lnTo>
                  <a:lnTo>
                    <a:pt x="183" y="224"/>
                  </a:lnTo>
                  <a:lnTo>
                    <a:pt x="183" y="223"/>
                  </a:lnTo>
                  <a:lnTo>
                    <a:pt x="183" y="221"/>
                  </a:lnTo>
                  <a:lnTo>
                    <a:pt x="181" y="221"/>
                  </a:lnTo>
                  <a:lnTo>
                    <a:pt x="180" y="220"/>
                  </a:lnTo>
                  <a:lnTo>
                    <a:pt x="179" y="221"/>
                  </a:lnTo>
                  <a:lnTo>
                    <a:pt x="178" y="220"/>
                  </a:lnTo>
                  <a:lnTo>
                    <a:pt x="177" y="220"/>
                  </a:lnTo>
                  <a:lnTo>
                    <a:pt x="175" y="219"/>
                  </a:lnTo>
                  <a:lnTo>
                    <a:pt x="177" y="218"/>
                  </a:lnTo>
                  <a:lnTo>
                    <a:pt x="175" y="218"/>
                  </a:lnTo>
                  <a:lnTo>
                    <a:pt x="177" y="217"/>
                  </a:lnTo>
                  <a:lnTo>
                    <a:pt x="177" y="215"/>
                  </a:lnTo>
                  <a:lnTo>
                    <a:pt x="177" y="213"/>
                  </a:lnTo>
                  <a:lnTo>
                    <a:pt x="175" y="213"/>
                  </a:lnTo>
                  <a:lnTo>
                    <a:pt x="174" y="213"/>
                  </a:lnTo>
                  <a:lnTo>
                    <a:pt x="174" y="212"/>
                  </a:lnTo>
                  <a:lnTo>
                    <a:pt x="173" y="211"/>
                  </a:lnTo>
                  <a:lnTo>
                    <a:pt x="172" y="211"/>
                  </a:lnTo>
                  <a:lnTo>
                    <a:pt x="173" y="209"/>
                  </a:lnTo>
                  <a:lnTo>
                    <a:pt x="173" y="208"/>
                  </a:lnTo>
                  <a:lnTo>
                    <a:pt x="174" y="208"/>
                  </a:lnTo>
                  <a:lnTo>
                    <a:pt x="175" y="207"/>
                  </a:lnTo>
                  <a:lnTo>
                    <a:pt x="177" y="207"/>
                  </a:lnTo>
                  <a:lnTo>
                    <a:pt x="177" y="208"/>
                  </a:lnTo>
                  <a:lnTo>
                    <a:pt x="178" y="209"/>
                  </a:lnTo>
                  <a:lnTo>
                    <a:pt x="181" y="209"/>
                  </a:lnTo>
                  <a:lnTo>
                    <a:pt x="183" y="209"/>
                  </a:lnTo>
                  <a:lnTo>
                    <a:pt x="183" y="211"/>
                  </a:lnTo>
                  <a:lnTo>
                    <a:pt x="184" y="212"/>
                  </a:lnTo>
                  <a:lnTo>
                    <a:pt x="185" y="212"/>
                  </a:lnTo>
                  <a:lnTo>
                    <a:pt x="185" y="211"/>
                  </a:lnTo>
                  <a:lnTo>
                    <a:pt x="185" y="209"/>
                  </a:lnTo>
                  <a:lnTo>
                    <a:pt x="185" y="208"/>
                  </a:lnTo>
                  <a:lnTo>
                    <a:pt x="184" y="208"/>
                  </a:lnTo>
                  <a:lnTo>
                    <a:pt x="184" y="207"/>
                  </a:lnTo>
                  <a:lnTo>
                    <a:pt x="184" y="205"/>
                  </a:lnTo>
                  <a:lnTo>
                    <a:pt x="184" y="203"/>
                  </a:lnTo>
                  <a:lnTo>
                    <a:pt x="185" y="203"/>
                  </a:lnTo>
                  <a:lnTo>
                    <a:pt x="186" y="203"/>
                  </a:lnTo>
                  <a:lnTo>
                    <a:pt x="186" y="205"/>
                  </a:lnTo>
                  <a:lnTo>
                    <a:pt x="187" y="206"/>
                  </a:lnTo>
                  <a:lnTo>
                    <a:pt x="189" y="207"/>
                  </a:lnTo>
                  <a:lnTo>
                    <a:pt x="189" y="208"/>
                  </a:lnTo>
                  <a:lnTo>
                    <a:pt x="189" y="207"/>
                  </a:lnTo>
                  <a:lnTo>
                    <a:pt x="190" y="207"/>
                  </a:lnTo>
                  <a:lnTo>
                    <a:pt x="190" y="206"/>
                  </a:lnTo>
                  <a:lnTo>
                    <a:pt x="192" y="206"/>
                  </a:lnTo>
                  <a:lnTo>
                    <a:pt x="192" y="207"/>
                  </a:lnTo>
                  <a:lnTo>
                    <a:pt x="192" y="208"/>
                  </a:lnTo>
                  <a:lnTo>
                    <a:pt x="192" y="212"/>
                  </a:lnTo>
                  <a:lnTo>
                    <a:pt x="192" y="213"/>
                  </a:lnTo>
                  <a:lnTo>
                    <a:pt x="193" y="214"/>
                  </a:lnTo>
                  <a:lnTo>
                    <a:pt x="195" y="214"/>
                  </a:lnTo>
                  <a:lnTo>
                    <a:pt x="196" y="213"/>
                  </a:lnTo>
                  <a:lnTo>
                    <a:pt x="197" y="213"/>
                  </a:lnTo>
                  <a:lnTo>
                    <a:pt x="198" y="213"/>
                  </a:lnTo>
                  <a:lnTo>
                    <a:pt x="198" y="212"/>
                  </a:lnTo>
                  <a:lnTo>
                    <a:pt x="198" y="211"/>
                  </a:lnTo>
                  <a:lnTo>
                    <a:pt x="201" y="211"/>
                  </a:lnTo>
                  <a:lnTo>
                    <a:pt x="203" y="211"/>
                  </a:lnTo>
                  <a:lnTo>
                    <a:pt x="204" y="211"/>
                  </a:lnTo>
                  <a:lnTo>
                    <a:pt x="208" y="212"/>
                  </a:lnTo>
                  <a:lnTo>
                    <a:pt x="208" y="214"/>
                  </a:lnTo>
                  <a:lnTo>
                    <a:pt x="209" y="214"/>
                  </a:lnTo>
                  <a:lnTo>
                    <a:pt x="209" y="215"/>
                  </a:lnTo>
                  <a:lnTo>
                    <a:pt x="209" y="217"/>
                  </a:lnTo>
                  <a:lnTo>
                    <a:pt x="212" y="217"/>
                  </a:lnTo>
                  <a:lnTo>
                    <a:pt x="210" y="215"/>
                  </a:lnTo>
                  <a:lnTo>
                    <a:pt x="210" y="214"/>
                  </a:lnTo>
                  <a:lnTo>
                    <a:pt x="209" y="213"/>
                  </a:lnTo>
                  <a:lnTo>
                    <a:pt x="209" y="212"/>
                  </a:lnTo>
                  <a:lnTo>
                    <a:pt x="208" y="212"/>
                  </a:lnTo>
                  <a:lnTo>
                    <a:pt x="208" y="211"/>
                  </a:lnTo>
                  <a:lnTo>
                    <a:pt x="208" y="208"/>
                  </a:lnTo>
                  <a:lnTo>
                    <a:pt x="208" y="206"/>
                  </a:lnTo>
                  <a:lnTo>
                    <a:pt x="209" y="207"/>
                  </a:lnTo>
                  <a:lnTo>
                    <a:pt x="210" y="207"/>
                  </a:lnTo>
                  <a:lnTo>
                    <a:pt x="210" y="208"/>
                  </a:lnTo>
                  <a:lnTo>
                    <a:pt x="212" y="208"/>
                  </a:lnTo>
                  <a:lnTo>
                    <a:pt x="213" y="208"/>
                  </a:lnTo>
                  <a:lnTo>
                    <a:pt x="213" y="207"/>
                  </a:lnTo>
                  <a:lnTo>
                    <a:pt x="214" y="207"/>
                  </a:lnTo>
                  <a:lnTo>
                    <a:pt x="213" y="206"/>
                  </a:lnTo>
                  <a:lnTo>
                    <a:pt x="213" y="205"/>
                  </a:lnTo>
                  <a:lnTo>
                    <a:pt x="213" y="202"/>
                  </a:lnTo>
                  <a:lnTo>
                    <a:pt x="212" y="201"/>
                  </a:lnTo>
                  <a:lnTo>
                    <a:pt x="210" y="200"/>
                  </a:lnTo>
                  <a:lnTo>
                    <a:pt x="212" y="199"/>
                  </a:lnTo>
                  <a:lnTo>
                    <a:pt x="212" y="197"/>
                  </a:lnTo>
                  <a:lnTo>
                    <a:pt x="214" y="197"/>
                  </a:lnTo>
                  <a:lnTo>
                    <a:pt x="214" y="199"/>
                  </a:lnTo>
                  <a:lnTo>
                    <a:pt x="216" y="199"/>
                  </a:lnTo>
                  <a:lnTo>
                    <a:pt x="218" y="199"/>
                  </a:lnTo>
                  <a:lnTo>
                    <a:pt x="218" y="197"/>
                  </a:lnTo>
                  <a:lnTo>
                    <a:pt x="218" y="199"/>
                  </a:lnTo>
                  <a:lnTo>
                    <a:pt x="219" y="199"/>
                  </a:lnTo>
                  <a:lnTo>
                    <a:pt x="219" y="200"/>
                  </a:lnTo>
                  <a:lnTo>
                    <a:pt x="220" y="201"/>
                  </a:lnTo>
                  <a:lnTo>
                    <a:pt x="222" y="201"/>
                  </a:lnTo>
                  <a:lnTo>
                    <a:pt x="224" y="201"/>
                  </a:lnTo>
                  <a:lnTo>
                    <a:pt x="224" y="200"/>
                  </a:lnTo>
                  <a:lnTo>
                    <a:pt x="225" y="199"/>
                  </a:lnTo>
                  <a:lnTo>
                    <a:pt x="225" y="197"/>
                  </a:lnTo>
                  <a:lnTo>
                    <a:pt x="224" y="196"/>
                  </a:lnTo>
                  <a:lnTo>
                    <a:pt x="225" y="196"/>
                  </a:lnTo>
                  <a:lnTo>
                    <a:pt x="226" y="196"/>
                  </a:lnTo>
                  <a:lnTo>
                    <a:pt x="225" y="194"/>
                  </a:lnTo>
                  <a:lnTo>
                    <a:pt x="224" y="193"/>
                  </a:lnTo>
                  <a:lnTo>
                    <a:pt x="222" y="193"/>
                  </a:lnTo>
                  <a:lnTo>
                    <a:pt x="222" y="191"/>
                  </a:lnTo>
                  <a:lnTo>
                    <a:pt x="224" y="191"/>
                  </a:lnTo>
                  <a:lnTo>
                    <a:pt x="224" y="190"/>
                  </a:lnTo>
                  <a:lnTo>
                    <a:pt x="225" y="189"/>
                  </a:lnTo>
                  <a:lnTo>
                    <a:pt x="227" y="189"/>
                  </a:lnTo>
                  <a:lnTo>
                    <a:pt x="228" y="189"/>
                  </a:lnTo>
                  <a:lnTo>
                    <a:pt x="228" y="190"/>
                  </a:lnTo>
                  <a:lnTo>
                    <a:pt x="230" y="191"/>
                  </a:lnTo>
                  <a:lnTo>
                    <a:pt x="231" y="191"/>
                  </a:lnTo>
                  <a:lnTo>
                    <a:pt x="231" y="189"/>
                  </a:lnTo>
                  <a:lnTo>
                    <a:pt x="232" y="189"/>
                  </a:lnTo>
                  <a:lnTo>
                    <a:pt x="232" y="188"/>
                  </a:lnTo>
                  <a:lnTo>
                    <a:pt x="233" y="188"/>
                  </a:lnTo>
                  <a:lnTo>
                    <a:pt x="233" y="187"/>
                  </a:lnTo>
                  <a:lnTo>
                    <a:pt x="234" y="187"/>
                  </a:lnTo>
                  <a:lnTo>
                    <a:pt x="234" y="185"/>
                  </a:lnTo>
                  <a:lnTo>
                    <a:pt x="233" y="185"/>
                  </a:lnTo>
                  <a:lnTo>
                    <a:pt x="233" y="184"/>
                  </a:lnTo>
                  <a:lnTo>
                    <a:pt x="233" y="183"/>
                  </a:lnTo>
                  <a:lnTo>
                    <a:pt x="232" y="183"/>
                  </a:lnTo>
                  <a:lnTo>
                    <a:pt x="233" y="182"/>
                  </a:lnTo>
                  <a:lnTo>
                    <a:pt x="232" y="181"/>
                  </a:lnTo>
                  <a:lnTo>
                    <a:pt x="232" y="179"/>
                  </a:lnTo>
                  <a:lnTo>
                    <a:pt x="231" y="179"/>
                  </a:lnTo>
                  <a:lnTo>
                    <a:pt x="230" y="179"/>
                  </a:lnTo>
                  <a:lnTo>
                    <a:pt x="230" y="178"/>
                  </a:lnTo>
                  <a:lnTo>
                    <a:pt x="230" y="177"/>
                  </a:lnTo>
                  <a:lnTo>
                    <a:pt x="228" y="176"/>
                  </a:lnTo>
                  <a:lnTo>
                    <a:pt x="228" y="175"/>
                  </a:lnTo>
                  <a:lnTo>
                    <a:pt x="228" y="173"/>
                  </a:lnTo>
                  <a:lnTo>
                    <a:pt x="227" y="173"/>
                  </a:lnTo>
                  <a:lnTo>
                    <a:pt x="226" y="173"/>
                  </a:lnTo>
                  <a:lnTo>
                    <a:pt x="225" y="173"/>
                  </a:lnTo>
                  <a:lnTo>
                    <a:pt x="224" y="173"/>
                  </a:lnTo>
                  <a:lnTo>
                    <a:pt x="224" y="172"/>
                  </a:lnTo>
                  <a:lnTo>
                    <a:pt x="222" y="172"/>
                  </a:lnTo>
                  <a:lnTo>
                    <a:pt x="222" y="171"/>
                  </a:lnTo>
                  <a:lnTo>
                    <a:pt x="221" y="171"/>
                  </a:lnTo>
                  <a:lnTo>
                    <a:pt x="220" y="170"/>
                  </a:lnTo>
                  <a:lnTo>
                    <a:pt x="219" y="169"/>
                  </a:lnTo>
                  <a:lnTo>
                    <a:pt x="219" y="167"/>
                  </a:lnTo>
                  <a:lnTo>
                    <a:pt x="219" y="166"/>
                  </a:lnTo>
                  <a:lnTo>
                    <a:pt x="220" y="165"/>
                  </a:lnTo>
                  <a:lnTo>
                    <a:pt x="220" y="166"/>
                  </a:lnTo>
                  <a:lnTo>
                    <a:pt x="224" y="165"/>
                  </a:lnTo>
                  <a:lnTo>
                    <a:pt x="225" y="165"/>
                  </a:lnTo>
                  <a:lnTo>
                    <a:pt x="224" y="165"/>
                  </a:lnTo>
                  <a:lnTo>
                    <a:pt x="224" y="164"/>
                  </a:lnTo>
                  <a:lnTo>
                    <a:pt x="222" y="164"/>
                  </a:lnTo>
                  <a:lnTo>
                    <a:pt x="221" y="162"/>
                  </a:lnTo>
                  <a:lnTo>
                    <a:pt x="219" y="162"/>
                  </a:lnTo>
                  <a:lnTo>
                    <a:pt x="219" y="164"/>
                  </a:lnTo>
                  <a:lnTo>
                    <a:pt x="218" y="162"/>
                  </a:lnTo>
                  <a:lnTo>
                    <a:pt x="218" y="161"/>
                  </a:lnTo>
                  <a:lnTo>
                    <a:pt x="218" y="159"/>
                  </a:lnTo>
                  <a:lnTo>
                    <a:pt x="215" y="159"/>
                  </a:lnTo>
                  <a:lnTo>
                    <a:pt x="214" y="159"/>
                  </a:lnTo>
                  <a:lnTo>
                    <a:pt x="214" y="158"/>
                  </a:lnTo>
                  <a:lnTo>
                    <a:pt x="213" y="158"/>
                  </a:lnTo>
                  <a:lnTo>
                    <a:pt x="213" y="156"/>
                  </a:lnTo>
                  <a:lnTo>
                    <a:pt x="212" y="156"/>
                  </a:lnTo>
                  <a:lnTo>
                    <a:pt x="213" y="155"/>
                  </a:lnTo>
                  <a:lnTo>
                    <a:pt x="213" y="152"/>
                  </a:lnTo>
                  <a:lnTo>
                    <a:pt x="214" y="150"/>
                  </a:lnTo>
                  <a:lnTo>
                    <a:pt x="214" y="148"/>
                  </a:lnTo>
                  <a:lnTo>
                    <a:pt x="213" y="147"/>
                  </a:lnTo>
                  <a:lnTo>
                    <a:pt x="213" y="144"/>
                  </a:lnTo>
                  <a:lnTo>
                    <a:pt x="213" y="143"/>
                  </a:lnTo>
                  <a:lnTo>
                    <a:pt x="213" y="142"/>
                  </a:lnTo>
                  <a:lnTo>
                    <a:pt x="214" y="141"/>
                  </a:lnTo>
                  <a:lnTo>
                    <a:pt x="215" y="141"/>
                  </a:lnTo>
                  <a:lnTo>
                    <a:pt x="216" y="141"/>
                  </a:lnTo>
                  <a:lnTo>
                    <a:pt x="216" y="142"/>
                  </a:lnTo>
                  <a:lnTo>
                    <a:pt x="218" y="142"/>
                  </a:lnTo>
                  <a:lnTo>
                    <a:pt x="218" y="143"/>
                  </a:lnTo>
                  <a:lnTo>
                    <a:pt x="218" y="144"/>
                  </a:lnTo>
                  <a:lnTo>
                    <a:pt x="219" y="144"/>
                  </a:lnTo>
                  <a:lnTo>
                    <a:pt x="220" y="143"/>
                  </a:lnTo>
                  <a:lnTo>
                    <a:pt x="221" y="143"/>
                  </a:lnTo>
                  <a:lnTo>
                    <a:pt x="225" y="143"/>
                  </a:lnTo>
                  <a:lnTo>
                    <a:pt x="225" y="142"/>
                  </a:lnTo>
                  <a:lnTo>
                    <a:pt x="226" y="142"/>
                  </a:lnTo>
                  <a:lnTo>
                    <a:pt x="226" y="143"/>
                  </a:lnTo>
                  <a:lnTo>
                    <a:pt x="226" y="144"/>
                  </a:lnTo>
                  <a:lnTo>
                    <a:pt x="227" y="144"/>
                  </a:lnTo>
                  <a:lnTo>
                    <a:pt x="227" y="146"/>
                  </a:lnTo>
                  <a:lnTo>
                    <a:pt x="228" y="147"/>
                  </a:lnTo>
                  <a:lnTo>
                    <a:pt x="230" y="148"/>
                  </a:lnTo>
                  <a:lnTo>
                    <a:pt x="230" y="149"/>
                  </a:lnTo>
                  <a:lnTo>
                    <a:pt x="230" y="150"/>
                  </a:lnTo>
                  <a:lnTo>
                    <a:pt x="231" y="152"/>
                  </a:lnTo>
                  <a:lnTo>
                    <a:pt x="232" y="152"/>
                  </a:lnTo>
                  <a:lnTo>
                    <a:pt x="233" y="152"/>
                  </a:lnTo>
                  <a:lnTo>
                    <a:pt x="234" y="152"/>
                  </a:lnTo>
                  <a:lnTo>
                    <a:pt x="236" y="152"/>
                  </a:lnTo>
                  <a:lnTo>
                    <a:pt x="236" y="150"/>
                  </a:lnTo>
                  <a:lnTo>
                    <a:pt x="236" y="149"/>
                  </a:lnTo>
                  <a:lnTo>
                    <a:pt x="237" y="149"/>
                  </a:lnTo>
                  <a:lnTo>
                    <a:pt x="238" y="150"/>
                  </a:lnTo>
                  <a:lnTo>
                    <a:pt x="238" y="153"/>
                  </a:lnTo>
                  <a:lnTo>
                    <a:pt x="239" y="152"/>
                  </a:lnTo>
                  <a:lnTo>
                    <a:pt x="243" y="152"/>
                  </a:lnTo>
                  <a:lnTo>
                    <a:pt x="244" y="150"/>
                  </a:lnTo>
                  <a:lnTo>
                    <a:pt x="245" y="150"/>
                  </a:lnTo>
                  <a:lnTo>
                    <a:pt x="245" y="149"/>
                  </a:lnTo>
                  <a:lnTo>
                    <a:pt x="244" y="149"/>
                  </a:lnTo>
                  <a:lnTo>
                    <a:pt x="243" y="148"/>
                  </a:lnTo>
                  <a:lnTo>
                    <a:pt x="242" y="147"/>
                  </a:lnTo>
                  <a:lnTo>
                    <a:pt x="242" y="146"/>
                  </a:lnTo>
                  <a:lnTo>
                    <a:pt x="240" y="144"/>
                  </a:lnTo>
                  <a:lnTo>
                    <a:pt x="239" y="144"/>
                  </a:lnTo>
                  <a:lnTo>
                    <a:pt x="239" y="143"/>
                  </a:lnTo>
                  <a:lnTo>
                    <a:pt x="239" y="140"/>
                  </a:lnTo>
                  <a:lnTo>
                    <a:pt x="239" y="137"/>
                  </a:lnTo>
                  <a:lnTo>
                    <a:pt x="239" y="136"/>
                  </a:lnTo>
                  <a:lnTo>
                    <a:pt x="240" y="136"/>
                  </a:lnTo>
                  <a:lnTo>
                    <a:pt x="240" y="135"/>
                  </a:lnTo>
                  <a:lnTo>
                    <a:pt x="242" y="135"/>
                  </a:lnTo>
                  <a:lnTo>
                    <a:pt x="243" y="134"/>
                  </a:lnTo>
                  <a:lnTo>
                    <a:pt x="243" y="132"/>
                  </a:lnTo>
                  <a:lnTo>
                    <a:pt x="243" y="131"/>
                  </a:lnTo>
                  <a:lnTo>
                    <a:pt x="242" y="130"/>
                  </a:lnTo>
                  <a:lnTo>
                    <a:pt x="243" y="130"/>
                  </a:lnTo>
                  <a:lnTo>
                    <a:pt x="244" y="129"/>
                  </a:lnTo>
                  <a:lnTo>
                    <a:pt x="246" y="129"/>
                  </a:lnTo>
                  <a:lnTo>
                    <a:pt x="248" y="130"/>
                  </a:lnTo>
                  <a:lnTo>
                    <a:pt x="249" y="130"/>
                  </a:lnTo>
                  <a:lnTo>
                    <a:pt x="249" y="131"/>
                  </a:lnTo>
                  <a:lnTo>
                    <a:pt x="249" y="132"/>
                  </a:lnTo>
                  <a:lnTo>
                    <a:pt x="249" y="134"/>
                  </a:lnTo>
                  <a:lnTo>
                    <a:pt x="250" y="135"/>
                  </a:lnTo>
                  <a:lnTo>
                    <a:pt x="250" y="134"/>
                  </a:lnTo>
                  <a:lnTo>
                    <a:pt x="251" y="131"/>
                  </a:lnTo>
                  <a:lnTo>
                    <a:pt x="251" y="128"/>
                  </a:lnTo>
                  <a:lnTo>
                    <a:pt x="254" y="128"/>
                  </a:lnTo>
                  <a:lnTo>
                    <a:pt x="255" y="131"/>
                  </a:lnTo>
                  <a:lnTo>
                    <a:pt x="255" y="132"/>
                  </a:lnTo>
                  <a:lnTo>
                    <a:pt x="255" y="134"/>
                  </a:lnTo>
                  <a:lnTo>
                    <a:pt x="256" y="134"/>
                  </a:lnTo>
                  <a:lnTo>
                    <a:pt x="257" y="134"/>
                  </a:lnTo>
                  <a:lnTo>
                    <a:pt x="259" y="134"/>
                  </a:lnTo>
                  <a:lnTo>
                    <a:pt x="259" y="135"/>
                  </a:lnTo>
                  <a:lnTo>
                    <a:pt x="259" y="136"/>
                  </a:lnTo>
                  <a:lnTo>
                    <a:pt x="257" y="138"/>
                  </a:lnTo>
                  <a:lnTo>
                    <a:pt x="257" y="142"/>
                  </a:lnTo>
                  <a:lnTo>
                    <a:pt x="256" y="142"/>
                  </a:lnTo>
                  <a:lnTo>
                    <a:pt x="256" y="143"/>
                  </a:lnTo>
                  <a:lnTo>
                    <a:pt x="256" y="144"/>
                  </a:lnTo>
                  <a:lnTo>
                    <a:pt x="255" y="144"/>
                  </a:lnTo>
                  <a:lnTo>
                    <a:pt x="255" y="146"/>
                  </a:lnTo>
                  <a:lnTo>
                    <a:pt x="256" y="148"/>
                  </a:lnTo>
                  <a:lnTo>
                    <a:pt x="256" y="147"/>
                  </a:lnTo>
                  <a:lnTo>
                    <a:pt x="256" y="149"/>
                  </a:lnTo>
                  <a:lnTo>
                    <a:pt x="257" y="149"/>
                  </a:lnTo>
                  <a:lnTo>
                    <a:pt x="259" y="149"/>
                  </a:lnTo>
                  <a:lnTo>
                    <a:pt x="260" y="149"/>
                  </a:lnTo>
                  <a:lnTo>
                    <a:pt x="260" y="148"/>
                  </a:lnTo>
                  <a:lnTo>
                    <a:pt x="262" y="148"/>
                  </a:lnTo>
                  <a:lnTo>
                    <a:pt x="263" y="148"/>
                  </a:lnTo>
                  <a:lnTo>
                    <a:pt x="265" y="148"/>
                  </a:lnTo>
                  <a:lnTo>
                    <a:pt x="265" y="149"/>
                  </a:lnTo>
                  <a:lnTo>
                    <a:pt x="266" y="149"/>
                  </a:lnTo>
                  <a:lnTo>
                    <a:pt x="267" y="149"/>
                  </a:lnTo>
                  <a:lnTo>
                    <a:pt x="267" y="148"/>
                  </a:lnTo>
                  <a:lnTo>
                    <a:pt x="266" y="148"/>
                  </a:lnTo>
                  <a:lnTo>
                    <a:pt x="266" y="147"/>
                  </a:lnTo>
                  <a:lnTo>
                    <a:pt x="265" y="147"/>
                  </a:lnTo>
                  <a:lnTo>
                    <a:pt x="265" y="146"/>
                  </a:lnTo>
                  <a:lnTo>
                    <a:pt x="265" y="143"/>
                  </a:lnTo>
                  <a:lnTo>
                    <a:pt x="263" y="142"/>
                  </a:lnTo>
                  <a:lnTo>
                    <a:pt x="263" y="141"/>
                  </a:lnTo>
                  <a:lnTo>
                    <a:pt x="263" y="140"/>
                  </a:lnTo>
                  <a:lnTo>
                    <a:pt x="263" y="138"/>
                  </a:lnTo>
                  <a:lnTo>
                    <a:pt x="263" y="137"/>
                  </a:lnTo>
                  <a:lnTo>
                    <a:pt x="265" y="136"/>
                  </a:lnTo>
                  <a:lnTo>
                    <a:pt x="265" y="135"/>
                  </a:lnTo>
                  <a:lnTo>
                    <a:pt x="267" y="135"/>
                  </a:lnTo>
                  <a:lnTo>
                    <a:pt x="267" y="136"/>
                  </a:lnTo>
                  <a:lnTo>
                    <a:pt x="267" y="137"/>
                  </a:lnTo>
                  <a:lnTo>
                    <a:pt x="267" y="138"/>
                  </a:lnTo>
                  <a:lnTo>
                    <a:pt x="268" y="138"/>
                  </a:lnTo>
                  <a:lnTo>
                    <a:pt x="268" y="140"/>
                  </a:lnTo>
                  <a:lnTo>
                    <a:pt x="269" y="138"/>
                  </a:lnTo>
                  <a:lnTo>
                    <a:pt x="271" y="138"/>
                  </a:lnTo>
                  <a:lnTo>
                    <a:pt x="272" y="137"/>
                  </a:lnTo>
                  <a:lnTo>
                    <a:pt x="272" y="138"/>
                  </a:lnTo>
                  <a:lnTo>
                    <a:pt x="273" y="141"/>
                  </a:lnTo>
                  <a:lnTo>
                    <a:pt x="273" y="142"/>
                  </a:lnTo>
                  <a:lnTo>
                    <a:pt x="274" y="142"/>
                  </a:lnTo>
                  <a:lnTo>
                    <a:pt x="275" y="143"/>
                  </a:lnTo>
                  <a:lnTo>
                    <a:pt x="277" y="143"/>
                  </a:lnTo>
                  <a:lnTo>
                    <a:pt x="278" y="143"/>
                  </a:lnTo>
                  <a:lnTo>
                    <a:pt x="279" y="143"/>
                  </a:lnTo>
                  <a:lnTo>
                    <a:pt x="279" y="144"/>
                  </a:lnTo>
                  <a:lnTo>
                    <a:pt x="280" y="144"/>
                  </a:lnTo>
                  <a:lnTo>
                    <a:pt x="280" y="146"/>
                  </a:lnTo>
                  <a:lnTo>
                    <a:pt x="281" y="146"/>
                  </a:lnTo>
                  <a:lnTo>
                    <a:pt x="280" y="148"/>
                  </a:lnTo>
                  <a:lnTo>
                    <a:pt x="280" y="149"/>
                  </a:lnTo>
                  <a:lnTo>
                    <a:pt x="279" y="149"/>
                  </a:lnTo>
                  <a:lnTo>
                    <a:pt x="279" y="150"/>
                  </a:lnTo>
                  <a:lnTo>
                    <a:pt x="280" y="153"/>
                  </a:lnTo>
                  <a:lnTo>
                    <a:pt x="279" y="154"/>
                  </a:lnTo>
                  <a:lnTo>
                    <a:pt x="278" y="154"/>
                  </a:lnTo>
                  <a:lnTo>
                    <a:pt x="278" y="155"/>
                  </a:lnTo>
                  <a:lnTo>
                    <a:pt x="279" y="156"/>
                  </a:lnTo>
                  <a:lnTo>
                    <a:pt x="280" y="158"/>
                  </a:lnTo>
                  <a:lnTo>
                    <a:pt x="280" y="159"/>
                  </a:lnTo>
                  <a:lnTo>
                    <a:pt x="281" y="159"/>
                  </a:lnTo>
                  <a:lnTo>
                    <a:pt x="281" y="160"/>
                  </a:lnTo>
                  <a:lnTo>
                    <a:pt x="283" y="161"/>
                  </a:lnTo>
                  <a:lnTo>
                    <a:pt x="284" y="161"/>
                  </a:lnTo>
                  <a:lnTo>
                    <a:pt x="285" y="161"/>
                  </a:lnTo>
                  <a:lnTo>
                    <a:pt x="286" y="161"/>
                  </a:lnTo>
                  <a:lnTo>
                    <a:pt x="286" y="160"/>
                  </a:lnTo>
                  <a:lnTo>
                    <a:pt x="286" y="159"/>
                  </a:lnTo>
                  <a:lnTo>
                    <a:pt x="285" y="158"/>
                  </a:lnTo>
                  <a:lnTo>
                    <a:pt x="285" y="156"/>
                  </a:lnTo>
                  <a:lnTo>
                    <a:pt x="285" y="155"/>
                  </a:lnTo>
                  <a:lnTo>
                    <a:pt x="286" y="155"/>
                  </a:lnTo>
                  <a:lnTo>
                    <a:pt x="286" y="154"/>
                  </a:lnTo>
                  <a:lnTo>
                    <a:pt x="287" y="154"/>
                  </a:lnTo>
                  <a:lnTo>
                    <a:pt x="287" y="153"/>
                  </a:lnTo>
                  <a:lnTo>
                    <a:pt x="286" y="153"/>
                  </a:lnTo>
                  <a:lnTo>
                    <a:pt x="286" y="152"/>
                  </a:lnTo>
                  <a:lnTo>
                    <a:pt x="286" y="150"/>
                  </a:lnTo>
                  <a:lnTo>
                    <a:pt x="285" y="148"/>
                  </a:lnTo>
                  <a:lnTo>
                    <a:pt x="284" y="147"/>
                  </a:lnTo>
                  <a:lnTo>
                    <a:pt x="284" y="146"/>
                  </a:lnTo>
                  <a:lnTo>
                    <a:pt x="285" y="146"/>
                  </a:lnTo>
                  <a:lnTo>
                    <a:pt x="285" y="144"/>
                  </a:lnTo>
                  <a:lnTo>
                    <a:pt x="286" y="144"/>
                  </a:lnTo>
                  <a:lnTo>
                    <a:pt x="287" y="144"/>
                  </a:lnTo>
                  <a:lnTo>
                    <a:pt x="289" y="146"/>
                  </a:lnTo>
                  <a:lnTo>
                    <a:pt x="290" y="146"/>
                  </a:lnTo>
                  <a:lnTo>
                    <a:pt x="291" y="144"/>
                  </a:lnTo>
                  <a:lnTo>
                    <a:pt x="292" y="143"/>
                  </a:lnTo>
                  <a:lnTo>
                    <a:pt x="292" y="141"/>
                  </a:lnTo>
                  <a:lnTo>
                    <a:pt x="291" y="140"/>
                  </a:lnTo>
                  <a:lnTo>
                    <a:pt x="292" y="140"/>
                  </a:lnTo>
                  <a:lnTo>
                    <a:pt x="292" y="138"/>
                  </a:lnTo>
                  <a:lnTo>
                    <a:pt x="295" y="138"/>
                  </a:lnTo>
                  <a:lnTo>
                    <a:pt x="296" y="140"/>
                  </a:lnTo>
                  <a:lnTo>
                    <a:pt x="298" y="140"/>
                  </a:lnTo>
                  <a:lnTo>
                    <a:pt x="299" y="140"/>
                  </a:lnTo>
                  <a:lnTo>
                    <a:pt x="298" y="140"/>
                  </a:lnTo>
                  <a:lnTo>
                    <a:pt x="299" y="140"/>
                  </a:lnTo>
                  <a:lnTo>
                    <a:pt x="299" y="138"/>
                  </a:lnTo>
                  <a:lnTo>
                    <a:pt x="301" y="138"/>
                  </a:lnTo>
                  <a:lnTo>
                    <a:pt x="302" y="138"/>
                  </a:lnTo>
                  <a:lnTo>
                    <a:pt x="303" y="138"/>
                  </a:lnTo>
                  <a:lnTo>
                    <a:pt x="304" y="140"/>
                  </a:lnTo>
                  <a:lnTo>
                    <a:pt x="304" y="141"/>
                  </a:lnTo>
                  <a:lnTo>
                    <a:pt x="304" y="143"/>
                  </a:lnTo>
                  <a:lnTo>
                    <a:pt x="304" y="144"/>
                  </a:lnTo>
                  <a:lnTo>
                    <a:pt x="304" y="146"/>
                  </a:lnTo>
                  <a:lnTo>
                    <a:pt x="304" y="144"/>
                  </a:lnTo>
                  <a:lnTo>
                    <a:pt x="305" y="143"/>
                  </a:lnTo>
                  <a:lnTo>
                    <a:pt x="307" y="143"/>
                  </a:lnTo>
                  <a:lnTo>
                    <a:pt x="307" y="142"/>
                  </a:lnTo>
                  <a:lnTo>
                    <a:pt x="308" y="142"/>
                  </a:lnTo>
                  <a:lnTo>
                    <a:pt x="308" y="144"/>
                  </a:lnTo>
                  <a:lnTo>
                    <a:pt x="309" y="144"/>
                  </a:lnTo>
                  <a:lnTo>
                    <a:pt x="309" y="146"/>
                  </a:lnTo>
                  <a:lnTo>
                    <a:pt x="310" y="146"/>
                  </a:lnTo>
                  <a:lnTo>
                    <a:pt x="310" y="147"/>
                  </a:lnTo>
                  <a:lnTo>
                    <a:pt x="311" y="147"/>
                  </a:lnTo>
                  <a:lnTo>
                    <a:pt x="311" y="148"/>
                  </a:lnTo>
                  <a:lnTo>
                    <a:pt x="313" y="149"/>
                  </a:lnTo>
                  <a:lnTo>
                    <a:pt x="314" y="149"/>
                  </a:lnTo>
                  <a:lnTo>
                    <a:pt x="314" y="150"/>
                  </a:lnTo>
                  <a:lnTo>
                    <a:pt x="315" y="150"/>
                  </a:lnTo>
                  <a:lnTo>
                    <a:pt x="315" y="152"/>
                  </a:lnTo>
                  <a:lnTo>
                    <a:pt x="315" y="153"/>
                  </a:lnTo>
                  <a:lnTo>
                    <a:pt x="315" y="154"/>
                  </a:lnTo>
                  <a:lnTo>
                    <a:pt x="314" y="154"/>
                  </a:lnTo>
                  <a:lnTo>
                    <a:pt x="314" y="155"/>
                  </a:lnTo>
                  <a:lnTo>
                    <a:pt x="313" y="156"/>
                  </a:lnTo>
                  <a:lnTo>
                    <a:pt x="311" y="156"/>
                  </a:lnTo>
                  <a:lnTo>
                    <a:pt x="311" y="158"/>
                  </a:lnTo>
                  <a:lnTo>
                    <a:pt x="311" y="159"/>
                  </a:lnTo>
                  <a:lnTo>
                    <a:pt x="311" y="161"/>
                  </a:lnTo>
                  <a:lnTo>
                    <a:pt x="310" y="161"/>
                  </a:lnTo>
                  <a:lnTo>
                    <a:pt x="311" y="162"/>
                  </a:lnTo>
                  <a:lnTo>
                    <a:pt x="311" y="164"/>
                  </a:lnTo>
                  <a:lnTo>
                    <a:pt x="311" y="165"/>
                  </a:lnTo>
                  <a:lnTo>
                    <a:pt x="311" y="166"/>
                  </a:lnTo>
                  <a:lnTo>
                    <a:pt x="313" y="166"/>
                  </a:lnTo>
                  <a:lnTo>
                    <a:pt x="313" y="167"/>
                  </a:lnTo>
                  <a:lnTo>
                    <a:pt x="314" y="167"/>
                  </a:lnTo>
                  <a:lnTo>
                    <a:pt x="315" y="169"/>
                  </a:lnTo>
                  <a:lnTo>
                    <a:pt x="315" y="167"/>
                  </a:lnTo>
                  <a:lnTo>
                    <a:pt x="314" y="166"/>
                  </a:lnTo>
                  <a:lnTo>
                    <a:pt x="314" y="165"/>
                  </a:lnTo>
                  <a:lnTo>
                    <a:pt x="314" y="164"/>
                  </a:lnTo>
                  <a:lnTo>
                    <a:pt x="316" y="164"/>
                  </a:lnTo>
                  <a:lnTo>
                    <a:pt x="319" y="162"/>
                  </a:lnTo>
                  <a:lnTo>
                    <a:pt x="319" y="161"/>
                  </a:lnTo>
                  <a:lnTo>
                    <a:pt x="320" y="161"/>
                  </a:lnTo>
                  <a:lnTo>
                    <a:pt x="321" y="160"/>
                  </a:lnTo>
                  <a:lnTo>
                    <a:pt x="322" y="160"/>
                  </a:lnTo>
                  <a:lnTo>
                    <a:pt x="322" y="159"/>
                  </a:lnTo>
                  <a:lnTo>
                    <a:pt x="324" y="159"/>
                  </a:lnTo>
                  <a:lnTo>
                    <a:pt x="324" y="158"/>
                  </a:lnTo>
                  <a:lnTo>
                    <a:pt x="324" y="156"/>
                  </a:lnTo>
                  <a:lnTo>
                    <a:pt x="324" y="155"/>
                  </a:lnTo>
                  <a:lnTo>
                    <a:pt x="326" y="155"/>
                  </a:lnTo>
                  <a:lnTo>
                    <a:pt x="328" y="156"/>
                  </a:lnTo>
                  <a:lnTo>
                    <a:pt x="330" y="156"/>
                  </a:lnTo>
                  <a:lnTo>
                    <a:pt x="330" y="158"/>
                  </a:lnTo>
                  <a:lnTo>
                    <a:pt x="331" y="159"/>
                  </a:lnTo>
                  <a:lnTo>
                    <a:pt x="331" y="160"/>
                  </a:lnTo>
                  <a:lnTo>
                    <a:pt x="330" y="160"/>
                  </a:lnTo>
                  <a:lnTo>
                    <a:pt x="331" y="161"/>
                  </a:lnTo>
                  <a:lnTo>
                    <a:pt x="332" y="161"/>
                  </a:lnTo>
                  <a:lnTo>
                    <a:pt x="332" y="160"/>
                  </a:lnTo>
                  <a:lnTo>
                    <a:pt x="332" y="159"/>
                  </a:lnTo>
                  <a:lnTo>
                    <a:pt x="332" y="158"/>
                  </a:lnTo>
                  <a:lnTo>
                    <a:pt x="333" y="158"/>
                  </a:lnTo>
                  <a:lnTo>
                    <a:pt x="334" y="158"/>
                  </a:lnTo>
                  <a:lnTo>
                    <a:pt x="334" y="159"/>
                  </a:lnTo>
                  <a:lnTo>
                    <a:pt x="336" y="160"/>
                  </a:lnTo>
                  <a:lnTo>
                    <a:pt x="336" y="161"/>
                  </a:lnTo>
                  <a:lnTo>
                    <a:pt x="337" y="161"/>
                  </a:lnTo>
                  <a:lnTo>
                    <a:pt x="336" y="162"/>
                  </a:lnTo>
                  <a:lnTo>
                    <a:pt x="336" y="164"/>
                  </a:lnTo>
                  <a:lnTo>
                    <a:pt x="334" y="164"/>
                  </a:lnTo>
                  <a:lnTo>
                    <a:pt x="334" y="165"/>
                  </a:lnTo>
                  <a:lnTo>
                    <a:pt x="336" y="166"/>
                  </a:lnTo>
                  <a:lnTo>
                    <a:pt x="336" y="167"/>
                  </a:lnTo>
                  <a:lnTo>
                    <a:pt x="334" y="167"/>
                  </a:lnTo>
                  <a:lnTo>
                    <a:pt x="334" y="169"/>
                  </a:lnTo>
                  <a:lnTo>
                    <a:pt x="334" y="170"/>
                  </a:lnTo>
                  <a:lnTo>
                    <a:pt x="334" y="171"/>
                  </a:lnTo>
                  <a:lnTo>
                    <a:pt x="336" y="172"/>
                  </a:lnTo>
                  <a:lnTo>
                    <a:pt x="336" y="173"/>
                  </a:lnTo>
                  <a:lnTo>
                    <a:pt x="337" y="173"/>
                  </a:lnTo>
                  <a:lnTo>
                    <a:pt x="338" y="172"/>
                  </a:lnTo>
                  <a:lnTo>
                    <a:pt x="337" y="172"/>
                  </a:lnTo>
                  <a:lnTo>
                    <a:pt x="336" y="172"/>
                  </a:lnTo>
                  <a:lnTo>
                    <a:pt x="336" y="171"/>
                  </a:lnTo>
                  <a:lnTo>
                    <a:pt x="336" y="169"/>
                  </a:lnTo>
                  <a:lnTo>
                    <a:pt x="337" y="167"/>
                  </a:lnTo>
                  <a:lnTo>
                    <a:pt x="338" y="169"/>
                  </a:lnTo>
                  <a:lnTo>
                    <a:pt x="339" y="169"/>
                  </a:lnTo>
                  <a:lnTo>
                    <a:pt x="339" y="170"/>
                  </a:lnTo>
                  <a:lnTo>
                    <a:pt x="339" y="172"/>
                  </a:lnTo>
                  <a:lnTo>
                    <a:pt x="339" y="173"/>
                  </a:lnTo>
                  <a:lnTo>
                    <a:pt x="340" y="173"/>
                  </a:lnTo>
                  <a:lnTo>
                    <a:pt x="340" y="175"/>
                  </a:lnTo>
                  <a:lnTo>
                    <a:pt x="342" y="175"/>
                  </a:lnTo>
                  <a:lnTo>
                    <a:pt x="343" y="176"/>
                  </a:lnTo>
                  <a:lnTo>
                    <a:pt x="344" y="176"/>
                  </a:lnTo>
                  <a:lnTo>
                    <a:pt x="343" y="176"/>
                  </a:lnTo>
                  <a:lnTo>
                    <a:pt x="343" y="175"/>
                  </a:lnTo>
                  <a:lnTo>
                    <a:pt x="342" y="175"/>
                  </a:lnTo>
                  <a:lnTo>
                    <a:pt x="342" y="173"/>
                  </a:lnTo>
                  <a:lnTo>
                    <a:pt x="342" y="171"/>
                  </a:lnTo>
                  <a:lnTo>
                    <a:pt x="343" y="171"/>
                  </a:lnTo>
                  <a:lnTo>
                    <a:pt x="343" y="170"/>
                  </a:lnTo>
                  <a:lnTo>
                    <a:pt x="343" y="167"/>
                  </a:lnTo>
                  <a:lnTo>
                    <a:pt x="344" y="167"/>
                  </a:lnTo>
                  <a:lnTo>
                    <a:pt x="345" y="169"/>
                  </a:lnTo>
                  <a:lnTo>
                    <a:pt x="345" y="170"/>
                  </a:lnTo>
                  <a:lnTo>
                    <a:pt x="345" y="171"/>
                  </a:lnTo>
                  <a:lnTo>
                    <a:pt x="346" y="172"/>
                  </a:lnTo>
                  <a:lnTo>
                    <a:pt x="348" y="172"/>
                  </a:lnTo>
                  <a:lnTo>
                    <a:pt x="348" y="173"/>
                  </a:lnTo>
                  <a:lnTo>
                    <a:pt x="349" y="173"/>
                  </a:lnTo>
                  <a:lnTo>
                    <a:pt x="349" y="172"/>
                  </a:lnTo>
                  <a:lnTo>
                    <a:pt x="349" y="171"/>
                  </a:lnTo>
                  <a:lnTo>
                    <a:pt x="350" y="170"/>
                  </a:lnTo>
                  <a:lnTo>
                    <a:pt x="350" y="171"/>
                  </a:lnTo>
                  <a:lnTo>
                    <a:pt x="351" y="171"/>
                  </a:lnTo>
                  <a:lnTo>
                    <a:pt x="351" y="172"/>
                  </a:lnTo>
                  <a:lnTo>
                    <a:pt x="351" y="173"/>
                  </a:lnTo>
                  <a:lnTo>
                    <a:pt x="352" y="173"/>
                  </a:lnTo>
                  <a:lnTo>
                    <a:pt x="352" y="175"/>
                  </a:lnTo>
                  <a:lnTo>
                    <a:pt x="352" y="176"/>
                  </a:lnTo>
                  <a:lnTo>
                    <a:pt x="351" y="176"/>
                  </a:lnTo>
                  <a:lnTo>
                    <a:pt x="351" y="177"/>
                  </a:lnTo>
                  <a:lnTo>
                    <a:pt x="350" y="177"/>
                  </a:lnTo>
                  <a:lnTo>
                    <a:pt x="349" y="177"/>
                  </a:lnTo>
                  <a:lnTo>
                    <a:pt x="349" y="178"/>
                  </a:lnTo>
                  <a:lnTo>
                    <a:pt x="348" y="178"/>
                  </a:lnTo>
                  <a:lnTo>
                    <a:pt x="346" y="177"/>
                  </a:lnTo>
                  <a:lnTo>
                    <a:pt x="346" y="176"/>
                  </a:lnTo>
                  <a:lnTo>
                    <a:pt x="345" y="176"/>
                  </a:lnTo>
                  <a:lnTo>
                    <a:pt x="345" y="177"/>
                  </a:lnTo>
                  <a:lnTo>
                    <a:pt x="344" y="177"/>
                  </a:lnTo>
                  <a:lnTo>
                    <a:pt x="344" y="178"/>
                  </a:lnTo>
                  <a:lnTo>
                    <a:pt x="344" y="179"/>
                  </a:lnTo>
                  <a:lnTo>
                    <a:pt x="345" y="179"/>
                  </a:lnTo>
                  <a:lnTo>
                    <a:pt x="346" y="179"/>
                  </a:lnTo>
                  <a:lnTo>
                    <a:pt x="348" y="178"/>
                  </a:lnTo>
                  <a:lnTo>
                    <a:pt x="348" y="179"/>
                  </a:lnTo>
                  <a:lnTo>
                    <a:pt x="349" y="179"/>
                  </a:lnTo>
                  <a:lnTo>
                    <a:pt x="349" y="181"/>
                  </a:lnTo>
                  <a:lnTo>
                    <a:pt x="350" y="181"/>
                  </a:lnTo>
                  <a:lnTo>
                    <a:pt x="351" y="181"/>
                  </a:lnTo>
                  <a:lnTo>
                    <a:pt x="352" y="181"/>
                  </a:lnTo>
                  <a:lnTo>
                    <a:pt x="354" y="179"/>
                  </a:lnTo>
                  <a:lnTo>
                    <a:pt x="355" y="179"/>
                  </a:lnTo>
                  <a:lnTo>
                    <a:pt x="354" y="178"/>
                  </a:lnTo>
                  <a:lnTo>
                    <a:pt x="355" y="178"/>
                  </a:lnTo>
                  <a:lnTo>
                    <a:pt x="355" y="177"/>
                  </a:lnTo>
                  <a:lnTo>
                    <a:pt x="356" y="177"/>
                  </a:lnTo>
                  <a:lnTo>
                    <a:pt x="356" y="176"/>
                  </a:lnTo>
                  <a:lnTo>
                    <a:pt x="356" y="175"/>
                  </a:lnTo>
                  <a:lnTo>
                    <a:pt x="355" y="173"/>
                  </a:lnTo>
                  <a:lnTo>
                    <a:pt x="355" y="172"/>
                  </a:lnTo>
                  <a:lnTo>
                    <a:pt x="355" y="171"/>
                  </a:lnTo>
                  <a:lnTo>
                    <a:pt x="354" y="171"/>
                  </a:lnTo>
                  <a:lnTo>
                    <a:pt x="354" y="170"/>
                  </a:lnTo>
                  <a:lnTo>
                    <a:pt x="352" y="170"/>
                  </a:lnTo>
                  <a:lnTo>
                    <a:pt x="352" y="167"/>
                  </a:lnTo>
                  <a:lnTo>
                    <a:pt x="352" y="166"/>
                  </a:lnTo>
                  <a:lnTo>
                    <a:pt x="354" y="165"/>
                  </a:lnTo>
                  <a:lnTo>
                    <a:pt x="352" y="165"/>
                  </a:lnTo>
                  <a:lnTo>
                    <a:pt x="351" y="165"/>
                  </a:lnTo>
                  <a:lnTo>
                    <a:pt x="351" y="164"/>
                  </a:lnTo>
                  <a:lnTo>
                    <a:pt x="351" y="162"/>
                  </a:lnTo>
                  <a:lnTo>
                    <a:pt x="352" y="162"/>
                  </a:lnTo>
                  <a:lnTo>
                    <a:pt x="352" y="164"/>
                  </a:lnTo>
                  <a:lnTo>
                    <a:pt x="354" y="164"/>
                  </a:lnTo>
                  <a:lnTo>
                    <a:pt x="355" y="164"/>
                  </a:lnTo>
                  <a:lnTo>
                    <a:pt x="356" y="164"/>
                  </a:lnTo>
                  <a:lnTo>
                    <a:pt x="357" y="164"/>
                  </a:lnTo>
                  <a:lnTo>
                    <a:pt x="357" y="162"/>
                  </a:lnTo>
                  <a:lnTo>
                    <a:pt x="360" y="161"/>
                  </a:lnTo>
                  <a:lnTo>
                    <a:pt x="360" y="162"/>
                  </a:lnTo>
                  <a:lnTo>
                    <a:pt x="360" y="164"/>
                  </a:lnTo>
                  <a:lnTo>
                    <a:pt x="361" y="164"/>
                  </a:lnTo>
                  <a:lnTo>
                    <a:pt x="361" y="162"/>
                  </a:lnTo>
                  <a:lnTo>
                    <a:pt x="360" y="161"/>
                  </a:lnTo>
                  <a:lnTo>
                    <a:pt x="362" y="161"/>
                  </a:lnTo>
                  <a:lnTo>
                    <a:pt x="361" y="160"/>
                  </a:lnTo>
                  <a:lnTo>
                    <a:pt x="363" y="160"/>
                  </a:lnTo>
                  <a:lnTo>
                    <a:pt x="362" y="161"/>
                  </a:lnTo>
                  <a:lnTo>
                    <a:pt x="363" y="162"/>
                  </a:lnTo>
                  <a:lnTo>
                    <a:pt x="364" y="162"/>
                  </a:lnTo>
                  <a:lnTo>
                    <a:pt x="363" y="164"/>
                  </a:lnTo>
                  <a:lnTo>
                    <a:pt x="363" y="165"/>
                  </a:lnTo>
                  <a:lnTo>
                    <a:pt x="362" y="166"/>
                  </a:lnTo>
                  <a:lnTo>
                    <a:pt x="361" y="166"/>
                  </a:lnTo>
                  <a:lnTo>
                    <a:pt x="362" y="166"/>
                  </a:lnTo>
                  <a:lnTo>
                    <a:pt x="362" y="167"/>
                  </a:lnTo>
                  <a:lnTo>
                    <a:pt x="361" y="167"/>
                  </a:lnTo>
                  <a:lnTo>
                    <a:pt x="361" y="169"/>
                  </a:lnTo>
                  <a:lnTo>
                    <a:pt x="361" y="170"/>
                  </a:lnTo>
                  <a:lnTo>
                    <a:pt x="361" y="171"/>
                  </a:lnTo>
                  <a:lnTo>
                    <a:pt x="360" y="171"/>
                  </a:lnTo>
                  <a:lnTo>
                    <a:pt x="360" y="172"/>
                  </a:lnTo>
                  <a:lnTo>
                    <a:pt x="358" y="172"/>
                  </a:lnTo>
                  <a:lnTo>
                    <a:pt x="358" y="173"/>
                  </a:lnTo>
                  <a:lnTo>
                    <a:pt x="357" y="173"/>
                  </a:lnTo>
                  <a:lnTo>
                    <a:pt x="357" y="172"/>
                  </a:lnTo>
                  <a:lnTo>
                    <a:pt x="356" y="173"/>
                  </a:lnTo>
                  <a:lnTo>
                    <a:pt x="357" y="173"/>
                  </a:lnTo>
                  <a:lnTo>
                    <a:pt x="357" y="175"/>
                  </a:lnTo>
                  <a:lnTo>
                    <a:pt x="357" y="178"/>
                  </a:lnTo>
                  <a:lnTo>
                    <a:pt x="357" y="179"/>
                  </a:lnTo>
                  <a:lnTo>
                    <a:pt x="358" y="181"/>
                  </a:lnTo>
                  <a:lnTo>
                    <a:pt x="358" y="182"/>
                  </a:lnTo>
                  <a:lnTo>
                    <a:pt x="360" y="182"/>
                  </a:lnTo>
                  <a:lnTo>
                    <a:pt x="360" y="181"/>
                  </a:lnTo>
                  <a:lnTo>
                    <a:pt x="361" y="181"/>
                  </a:lnTo>
                  <a:lnTo>
                    <a:pt x="363" y="181"/>
                  </a:lnTo>
                  <a:lnTo>
                    <a:pt x="366" y="181"/>
                  </a:lnTo>
                  <a:lnTo>
                    <a:pt x="366" y="179"/>
                  </a:lnTo>
                  <a:lnTo>
                    <a:pt x="367" y="179"/>
                  </a:lnTo>
                  <a:lnTo>
                    <a:pt x="368" y="179"/>
                  </a:lnTo>
                  <a:lnTo>
                    <a:pt x="369" y="181"/>
                  </a:lnTo>
                  <a:lnTo>
                    <a:pt x="370" y="179"/>
                  </a:lnTo>
                  <a:lnTo>
                    <a:pt x="372" y="179"/>
                  </a:lnTo>
                  <a:lnTo>
                    <a:pt x="373" y="179"/>
                  </a:lnTo>
                  <a:lnTo>
                    <a:pt x="373" y="181"/>
                  </a:lnTo>
                  <a:lnTo>
                    <a:pt x="374" y="181"/>
                  </a:lnTo>
                  <a:lnTo>
                    <a:pt x="376" y="181"/>
                  </a:lnTo>
                  <a:lnTo>
                    <a:pt x="376" y="182"/>
                  </a:lnTo>
                  <a:lnTo>
                    <a:pt x="378" y="181"/>
                  </a:lnTo>
                  <a:lnTo>
                    <a:pt x="378" y="182"/>
                  </a:lnTo>
                  <a:lnTo>
                    <a:pt x="379" y="182"/>
                  </a:lnTo>
                  <a:lnTo>
                    <a:pt x="380" y="182"/>
                  </a:lnTo>
                  <a:lnTo>
                    <a:pt x="381" y="182"/>
                  </a:lnTo>
                  <a:lnTo>
                    <a:pt x="381" y="181"/>
                  </a:lnTo>
                  <a:lnTo>
                    <a:pt x="383" y="181"/>
                  </a:lnTo>
                  <a:lnTo>
                    <a:pt x="383" y="182"/>
                  </a:lnTo>
                  <a:lnTo>
                    <a:pt x="384" y="182"/>
                  </a:lnTo>
                  <a:lnTo>
                    <a:pt x="384" y="183"/>
                  </a:lnTo>
                  <a:lnTo>
                    <a:pt x="385" y="183"/>
                  </a:lnTo>
                  <a:lnTo>
                    <a:pt x="385" y="182"/>
                  </a:lnTo>
                  <a:lnTo>
                    <a:pt x="384" y="181"/>
                  </a:lnTo>
                  <a:lnTo>
                    <a:pt x="384" y="179"/>
                  </a:lnTo>
                  <a:lnTo>
                    <a:pt x="384" y="181"/>
                  </a:lnTo>
                  <a:lnTo>
                    <a:pt x="383" y="179"/>
                  </a:lnTo>
                  <a:lnTo>
                    <a:pt x="384" y="179"/>
                  </a:lnTo>
                  <a:lnTo>
                    <a:pt x="384" y="178"/>
                  </a:lnTo>
                  <a:lnTo>
                    <a:pt x="386" y="178"/>
                  </a:lnTo>
                  <a:lnTo>
                    <a:pt x="386" y="179"/>
                  </a:lnTo>
                  <a:lnTo>
                    <a:pt x="386" y="181"/>
                  </a:lnTo>
                  <a:lnTo>
                    <a:pt x="385" y="181"/>
                  </a:lnTo>
                  <a:lnTo>
                    <a:pt x="386" y="182"/>
                  </a:lnTo>
                  <a:lnTo>
                    <a:pt x="385" y="182"/>
                  </a:lnTo>
                  <a:lnTo>
                    <a:pt x="386" y="182"/>
                  </a:lnTo>
                  <a:lnTo>
                    <a:pt x="385" y="183"/>
                  </a:lnTo>
                  <a:lnTo>
                    <a:pt x="385" y="184"/>
                  </a:lnTo>
                  <a:lnTo>
                    <a:pt x="385" y="185"/>
                  </a:lnTo>
                  <a:lnTo>
                    <a:pt x="384" y="185"/>
                  </a:lnTo>
                  <a:lnTo>
                    <a:pt x="383" y="187"/>
                  </a:lnTo>
                  <a:lnTo>
                    <a:pt x="383" y="188"/>
                  </a:lnTo>
                  <a:lnTo>
                    <a:pt x="383" y="189"/>
                  </a:lnTo>
                  <a:lnTo>
                    <a:pt x="381" y="188"/>
                  </a:lnTo>
                  <a:lnTo>
                    <a:pt x="380" y="189"/>
                  </a:lnTo>
                  <a:lnTo>
                    <a:pt x="381" y="189"/>
                  </a:lnTo>
                  <a:lnTo>
                    <a:pt x="381" y="191"/>
                  </a:lnTo>
                  <a:lnTo>
                    <a:pt x="381" y="194"/>
                  </a:lnTo>
                  <a:lnTo>
                    <a:pt x="381" y="195"/>
                  </a:lnTo>
                  <a:lnTo>
                    <a:pt x="380" y="195"/>
                  </a:lnTo>
                  <a:lnTo>
                    <a:pt x="380" y="194"/>
                  </a:lnTo>
                  <a:lnTo>
                    <a:pt x="379" y="195"/>
                  </a:lnTo>
                  <a:lnTo>
                    <a:pt x="380" y="195"/>
                  </a:lnTo>
                  <a:lnTo>
                    <a:pt x="380" y="196"/>
                  </a:lnTo>
                  <a:lnTo>
                    <a:pt x="379" y="197"/>
                  </a:lnTo>
                  <a:lnTo>
                    <a:pt x="380" y="197"/>
                  </a:lnTo>
                  <a:lnTo>
                    <a:pt x="381" y="197"/>
                  </a:lnTo>
                  <a:lnTo>
                    <a:pt x="381" y="196"/>
                  </a:lnTo>
                  <a:lnTo>
                    <a:pt x="380" y="195"/>
                  </a:lnTo>
                  <a:lnTo>
                    <a:pt x="381" y="194"/>
                  </a:lnTo>
                  <a:lnTo>
                    <a:pt x="383" y="193"/>
                  </a:lnTo>
                  <a:lnTo>
                    <a:pt x="383" y="191"/>
                  </a:lnTo>
                  <a:lnTo>
                    <a:pt x="384" y="191"/>
                  </a:lnTo>
                  <a:lnTo>
                    <a:pt x="384" y="193"/>
                  </a:lnTo>
                  <a:lnTo>
                    <a:pt x="385" y="195"/>
                  </a:lnTo>
                  <a:lnTo>
                    <a:pt x="385" y="194"/>
                  </a:lnTo>
                  <a:lnTo>
                    <a:pt x="385" y="193"/>
                  </a:lnTo>
                  <a:lnTo>
                    <a:pt x="386" y="193"/>
                  </a:lnTo>
                  <a:lnTo>
                    <a:pt x="386" y="191"/>
                  </a:lnTo>
                  <a:lnTo>
                    <a:pt x="387" y="191"/>
                  </a:lnTo>
                  <a:lnTo>
                    <a:pt x="386" y="191"/>
                  </a:lnTo>
                  <a:lnTo>
                    <a:pt x="387" y="193"/>
                  </a:lnTo>
                  <a:lnTo>
                    <a:pt x="387" y="194"/>
                  </a:lnTo>
                  <a:lnTo>
                    <a:pt x="386" y="194"/>
                  </a:lnTo>
                  <a:lnTo>
                    <a:pt x="386" y="195"/>
                  </a:lnTo>
                  <a:lnTo>
                    <a:pt x="385" y="195"/>
                  </a:lnTo>
                  <a:lnTo>
                    <a:pt x="385" y="196"/>
                  </a:lnTo>
                  <a:lnTo>
                    <a:pt x="386" y="196"/>
                  </a:lnTo>
                  <a:lnTo>
                    <a:pt x="386" y="197"/>
                  </a:lnTo>
                  <a:lnTo>
                    <a:pt x="387" y="197"/>
                  </a:lnTo>
                  <a:lnTo>
                    <a:pt x="389" y="197"/>
                  </a:lnTo>
                  <a:lnTo>
                    <a:pt x="390" y="197"/>
                  </a:lnTo>
                  <a:lnTo>
                    <a:pt x="390" y="196"/>
                  </a:lnTo>
                  <a:lnTo>
                    <a:pt x="390" y="195"/>
                  </a:lnTo>
                  <a:lnTo>
                    <a:pt x="391" y="195"/>
                  </a:lnTo>
                  <a:lnTo>
                    <a:pt x="390" y="194"/>
                  </a:lnTo>
                  <a:lnTo>
                    <a:pt x="391" y="194"/>
                  </a:lnTo>
                  <a:lnTo>
                    <a:pt x="392" y="193"/>
                  </a:lnTo>
                  <a:lnTo>
                    <a:pt x="393" y="193"/>
                  </a:lnTo>
                  <a:lnTo>
                    <a:pt x="393" y="194"/>
                  </a:lnTo>
                  <a:lnTo>
                    <a:pt x="396" y="194"/>
                  </a:lnTo>
                  <a:lnTo>
                    <a:pt x="396" y="195"/>
                  </a:lnTo>
                  <a:lnTo>
                    <a:pt x="397" y="195"/>
                  </a:lnTo>
                  <a:lnTo>
                    <a:pt x="397" y="196"/>
                  </a:lnTo>
                  <a:lnTo>
                    <a:pt x="397" y="195"/>
                  </a:lnTo>
                  <a:lnTo>
                    <a:pt x="398" y="195"/>
                  </a:lnTo>
                  <a:lnTo>
                    <a:pt x="398" y="196"/>
                  </a:lnTo>
                  <a:lnTo>
                    <a:pt x="399" y="196"/>
                  </a:lnTo>
                  <a:lnTo>
                    <a:pt x="399" y="197"/>
                  </a:lnTo>
                  <a:lnTo>
                    <a:pt x="401" y="197"/>
                  </a:lnTo>
                  <a:lnTo>
                    <a:pt x="402" y="196"/>
                  </a:lnTo>
                  <a:lnTo>
                    <a:pt x="404" y="196"/>
                  </a:lnTo>
                  <a:lnTo>
                    <a:pt x="405" y="196"/>
                  </a:lnTo>
                  <a:lnTo>
                    <a:pt x="405" y="197"/>
                  </a:lnTo>
                  <a:lnTo>
                    <a:pt x="407" y="197"/>
                  </a:lnTo>
                  <a:lnTo>
                    <a:pt x="407" y="199"/>
                  </a:lnTo>
                  <a:lnTo>
                    <a:pt x="407" y="200"/>
                  </a:lnTo>
                  <a:lnTo>
                    <a:pt x="408" y="200"/>
                  </a:lnTo>
                  <a:lnTo>
                    <a:pt x="408" y="201"/>
                  </a:lnTo>
                  <a:lnTo>
                    <a:pt x="409" y="201"/>
                  </a:lnTo>
                  <a:lnTo>
                    <a:pt x="410" y="201"/>
                  </a:lnTo>
                  <a:lnTo>
                    <a:pt x="411" y="201"/>
                  </a:lnTo>
                  <a:lnTo>
                    <a:pt x="413" y="201"/>
                  </a:lnTo>
                  <a:lnTo>
                    <a:pt x="413" y="200"/>
                  </a:lnTo>
                  <a:lnTo>
                    <a:pt x="414" y="200"/>
                  </a:lnTo>
                  <a:lnTo>
                    <a:pt x="414" y="201"/>
                  </a:lnTo>
                  <a:lnTo>
                    <a:pt x="415" y="201"/>
                  </a:lnTo>
                  <a:lnTo>
                    <a:pt x="416" y="201"/>
                  </a:lnTo>
                  <a:lnTo>
                    <a:pt x="416" y="202"/>
                  </a:lnTo>
                  <a:lnTo>
                    <a:pt x="416" y="205"/>
                  </a:lnTo>
                  <a:lnTo>
                    <a:pt x="417" y="205"/>
                  </a:lnTo>
                  <a:lnTo>
                    <a:pt x="419" y="205"/>
                  </a:lnTo>
                  <a:lnTo>
                    <a:pt x="417" y="205"/>
                  </a:lnTo>
                  <a:lnTo>
                    <a:pt x="417" y="203"/>
                  </a:lnTo>
                  <a:lnTo>
                    <a:pt x="419" y="203"/>
                  </a:lnTo>
                  <a:lnTo>
                    <a:pt x="420" y="203"/>
                  </a:lnTo>
                  <a:lnTo>
                    <a:pt x="421" y="203"/>
                  </a:lnTo>
                  <a:lnTo>
                    <a:pt x="422" y="203"/>
                  </a:lnTo>
                  <a:lnTo>
                    <a:pt x="421" y="205"/>
                  </a:lnTo>
                  <a:lnTo>
                    <a:pt x="420" y="205"/>
                  </a:lnTo>
                  <a:lnTo>
                    <a:pt x="419" y="205"/>
                  </a:lnTo>
                  <a:lnTo>
                    <a:pt x="419" y="206"/>
                  </a:lnTo>
                  <a:lnTo>
                    <a:pt x="417" y="206"/>
                  </a:lnTo>
                  <a:lnTo>
                    <a:pt x="417" y="207"/>
                  </a:lnTo>
                  <a:lnTo>
                    <a:pt x="417" y="206"/>
                  </a:lnTo>
                  <a:lnTo>
                    <a:pt x="419" y="207"/>
                  </a:lnTo>
                  <a:lnTo>
                    <a:pt x="420" y="208"/>
                  </a:lnTo>
                  <a:lnTo>
                    <a:pt x="419" y="208"/>
                  </a:lnTo>
                  <a:lnTo>
                    <a:pt x="419" y="209"/>
                  </a:lnTo>
                  <a:lnTo>
                    <a:pt x="420" y="209"/>
                  </a:lnTo>
                  <a:lnTo>
                    <a:pt x="421" y="208"/>
                  </a:lnTo>
                  <a:lnTo>
                    <a:pt x="421" y="209"/>
                  </a:lnTo>
                  <a:lnTo>
                    <a:pt x="421" y="208"/>
                  </a:lnTo>
                  <a:lnTo>
                    <a:pt x="422" y="209"/>
                  </a:lnTo>
                  <a:lnTo>
                    <a:pt x="423" y="208"/>
                  </a:lnTo>
                  <a:lnTo>
                    <a:pt x="423" y="206"/>
                  </a:lnTo>
                  <a:lnTo>
                    <a:pt x="423" y="205"/>
                  </a:lnTo>
                  <a:lnTo>
                    <a:pt x="423" y="203"/>
                  </a:lnTo>
                  <a:lnTo>
                    <a:pt x="423" y="202"/>
                  </a:lnTo>
                  <a:lnTo>
                    <a:pt x="425" y="203"/>
                  </a:lnTo>
                  <a:lnTo>
                    <a:pt x="425" y="205"/>
                  </a:lnTo>
                  <a:lnTo>
                    <a:pt x="426" y="206"/>
                  </a:lnTo>
                  <a:lnTo>
                    <a:pt x="426" y="207"/>
                  </a:lnTo>
                  <a:lnTo>
                    <a:pt x="425" y="206"/>
                  </a:lnTo>
                  <a:lnTo>
                    <a:pt x="425" y="207"/>
                  </a:lnTo>
                  <a:lnTo>
                    <a:pt x="425" y="208"/>
                  </a:lnTo>
                  <a:lnTo>
                    <a:pt x="426" y="209"/>
                  </a:lnTo>
                  <a:lnTo>
                    <a:pt x="426" y="211"/>
                  </a:lnTo>
                  <a:lnTo>
                    <a:pt x="426" y="209"/>
                  </a:lnTo>
                  <a:lnTo>
                    <a:pt x="428" y="209"/>
                  </a:lnTo>
                  <a:lnTo>
                    <a:pt x="429" y="208"/>
                  </a:lnTo>
                  <a:lnTo>
                    <a:pt x="431" y="209"/>
                  </a:lnTo>
                  <a:lnTo>
                    <a:pt x="433" y="209"/>
                  </a:lnTo>
                  <a:lnTo>
                    <a:pt x="434" y="209"/>
                  </a:lnTo>
                  <a:lnTo>
                    <a:pt x="435" y="211"/>
                  </a:lnTo>
                  <a:lnTo>
                    <a:pt x="437" y="212"/>
                  </a:lnTo>
                  <a:lnTo>
                    <a:pt x="438" y="211"/>
                  </a:lnTo>
                  <a:lnTo>
                    <a:pt x="437" y="211"/>
                  </a:lnTo>
                  <a:lnTo>
                    <a:pt x="437" y="212"/>
                  </a:lnTo>
                  <a:lnTo>
                    <a:pt x="437" y="213"/>
                  </a:lnTo>
                  <a:lnTo>
                    <a:pt x="438" y="214"/>
                  </a:lnTo>
                  <a:lnTo>
                    <a:pt x="438" y="212"/>
                  </a:lnTo>
                  <a:lnTo>
                    <a:pt x="438" y="211"/>
                  </a:lnTo>
                  <a:lnTo>
                    <a:pt x="439" y="211"/>
                  </a:lnTo>
                  <a:lnTo>
                    <a:pt x="439" y="212"/>
                  </a:lnTo>
                  <a:lnTo>
                    <a:pt x="440" y="212"/>
                  </a:lnTo>
                  <a:lnTo>
                    <a:pt x="440" y="213"/>
                  </a:lnTo>
                  <a:lnTo>
                    <a:pt x="440" y="214"/>
                  </a:lnTo>
                  <a:lnTo>
                    <a:pt x="440" y="215"/>
                  </a:lnTo>
                  <a:lnTo>
                    <a:pt x="440" y="217"/>
                  </a:lnTo>
                  <a:lnTo>
                    <a:pt x="442" y="218"/>
                  </a:lnTo>
                  <a:lnTo>
                    <a:pt x="442" y="219"/>
                  </a:lnTo>
                  <a:lnTo>
                    <a:pt x="440" y="220"/>
                  </a:lnTo>
                  <a:lnTo>
                    <a:pt x="440" y="221"/>
                  </a:lnTo>
                  <a:lnTo>
                    <a:pt x="440" y="223"/>
                  </a:lnTo>
                  <a:lnTo>
                    <a:pt x="440" y="224"/>
                  </a:lnTo>
                  <a:lnTo>
                    <a:pt x="439" y="224"/>
                  </a:lnTo>
                  <a:lnTo>
                    <a:pt x="439" y="225"/>
                  </a:lnTo>
                  <a:lnTo>
                    <a:pt x="438" y="225"/>
                  </a:lnTo>
                  <a:lnTo>
                    <a:pt x="437" y="225"/>
                  </a:lnTo>
                  <a:lnTo>
                    <a:pt x="437" y="226"/>
                  </a:lnTo>
                  <a:lnTo>
                    <a:pt x="435" y="226"/>
                  </a:lnTo>
                  <a:lnTo>
                    <a:pt x="434" y="226"/>
                  </a:lnTo>
                  <a:lnTo>
                    <a:pt x="433" y="226"/>
                  </a:lnTo>
                  <a:lnTo>
                    <a:pt x="432" y="227"/>
                  </a:lnTo>
                  <a:lnTo>
                    <a:pt x="431" y="227"/>
                  </a:lnTo>
                  <a:lnTo>
                    <a:pt x="431" y="226"/>
                  </a:lnTo>
                  <a:lnTo>
                    <a:pt x="432" y="226"/>
                  </a:lnTo>
                  <a:lnTo>
                    <a:pt x="432" y="225"/>
                  </a:lnTo>
                  <a:lnTo>
                    <a:pt x="432" y="224"/>
                  </a:lnTo>
                  <a:lnTo>
                    <a:pt x="433" y="224"/>
                  </a:lnTo>
                  <a:lnTo>
                    <a:pt x="432" y="224"/>
                  </a:lnTo>
                  <a:lnTo>
                    <a:pt x="432" y="223"/>
                  </a:lnTo>
                  <a:lnTo>
                    <a:pt x="432" y="225"/>
                  </a:lnTo>
                  <a:lnTo>
                    <a:pt x="431" y="225"/>
                  </a:lnTo>
                  <a:lnTo>
                    <a:pt x="431" y="226"/>
                  </a:lnTo>
                  <a:lnTo>
                    <a:pt x="429" y="226"/>
                  </a:lnTo>
                  <a:lnTo>
                    <a:pt x="431" y="226"/>
                  </a:lnTo>
                  <a:lnTo>
                    <a:pt x="431" y="227"/>
                  </a:lnTo>
                  <a:lnTo>
                    <a:pt x="429" y="227"/>
                  </a:lnTo>
                  <a:lnTo>
                    <a:pt x="429" y="226"/>
                  </a:lnTo>
                  <a:lnTo>
                    <a:pt x="429" y="225"/>
                  </a:lnTo>
                  <a:lnTo>
                    <a:pt x="429" y="224"/>
                  </a:lnTo>
                  <a:lnTo>
                    <a:pt x="429" y="223"/>
                  </a:lnTo>
                  <a:lnTo>
                    <a:pt x="428" y="223"/>
                  </a:lnTo>
                  <a:lnTo>
                    <a:pt x="427" y="223"/>
                  </a:lnTo>
                  <a:lnTo>
                    <a:pt x="426" y="221"/>
                  </a:lnTo>
                  <a:lnTo>
                    <a:pt x="425" y="220"/>
                  </a:lnTo>
                  <a:lnTo>
                    <a:pt x="425" y="221"/>
                  </a:lnTo>
                  <a:lnTo>
                    <a:pt x="425" y="224"/>
                  </a:lnTo>
                  <a:lnTo>
                    <a:pt x="425" y="226"/>
                  </a:lnTo>
                  <a:lnTo>
                    <a:pt x="426" y="226"/>
                  </a:lnTo>
                  <a:lnTo>
                    <a:pt x="426" y="225"/>
                  </a:lnTo>
                  <a:lnTo>
                    <a:pt x="427" y="225"/>
                  </a:lnTo>
                  <a:lnTo>
                    <a:pt x="427" y="224"/>
                  </a:lnTo>
                  <a:lnTo>
                    <a:pt x="427" y="223"/>
                  </a:lnTo>
                  <a:lnTo>
                    <a:pt x="428" y="224"/>
                  </a:lnTo>
                  <a:lnTo>
                    <a:pt x="428" y="225"/>
                  </a:lnTo>
                  <a:lnTo>
                    <a:pt x="428" y="226"/>
                  </a:lnTo>
                  <a:lnTo>
                    <a:pt x="426" y="227"/>
                  </a:lnTo>
                  <a:lnTo>
                    <a:pt x="427" y="227"/>
                  </a:lnTo>
                  <a:lnTo>
                    <a:pt x="432" y="227"/>
                  </a:lnTo>
                  <a:lnTo>
                    <a:pt x="434" y="227"/>
                  </a:lnTo>
                  <a:lnTo>
                    <a:pt x="434" y="229"/>
                  </a:lnTo>
                  <a:lnTo>
                    <a:pt x="434" y="230"/>
                  </a:lnTo>
                  <a:lnTo>
                    <a:pt x="435" y="231"/>
                  </a:lnTo>
                  <a:lnTo>
                    <a:pt x="435" y="232"/>
                  </a:lnTo>
                  <a:lnTo>
                    <a:pt x="435" y="233"/>
                  </a:lnTo>
                  <a:lnTo>
                    <a:pt x="434" y="233"/>
                  </a:lnTo>
                  <a:lnTo>
                    <a:pt x="434" y="236"/>
                  </a:lnTo>
                  <a:lnTo>
                    <a:pt x="435" y="237"/>
                  </a:lnTo>
                  <a:lnTo>
                    <a:pt x="434" y="238"/>
                  </a:lnTo>
                  <a:lnTo>
                    <a:pt x="435" y="238"/>
                  </a:lnTo>
                  <a:lnTo>
                    <a:pt x="435" y="237"/>
                  </a:lnTo>
                  <a:lnTo>
                    <a:pt x="437" y="236"/>
                  </a:lnTo>
                  <a:lnTo>
                    <a:pt x="438" y="236"/>
                  </a:lnTo>
                  <a:lnTo>
                    <a:pt x="438" y="235"/>
                  </a:lnTo>
                  <a:lnTo>
                    <a:pt x="438" y="233"/>
                  </a:lnTo>
                  <a:lnTo>
                    <a:pt x="438" y="232"/>
                  </a:lnTo>
                  <a:lnTo>
                    <a:pt x="437" y="232"/>
                  </a:lnTo>
                  <a:lnTo>
                    <a:pt x="435" y="232"/>
                  </a:lnTo>
                  <a:lnTo>
                    <a:pt x="435" y="231"/>
                  </a:lnTo>
                  <a:lnTo>
                    <a:pt x="435" y="230"/>
                  </a:lnTo>
                  <a:lnTo>
                    <a:pt x="435" y="229"/>
                  </a:lnTo>
                  <a:lnTo>
                    <a:pt x="437" y="227"/>
                  </a:lnTo>
                  <a:lnTo>
                    <a:pt x="437" y="229"/>
                  </a:lnTo>
                  <a:lnTo>
                    <a:pt x="438" y="229"/>
                  </a:lnTo>
                  <a:lnTo>
                    <a:pt x="439" y="230"/>
                  </a:lnTo>
                  <a:lnTo>
                    <a:pt x="440" y="229"/>
                  </a:lnTo>
                  <a:lnTo>
                    <a:pt x="439" y="229"/>
                  </a:lnTo>
                  <a:lnTo>
                    <a:pt x="439" y="227"/>
                  </a:lnTo>
                  <a:lnTo>
                    <a:pt x="440" y="227"/>
                  </a:lnTo>
                  <a:lnTo>
                    <a:pt x="442" y="227"/>
                  </a:lnTo>
                  <a:lnTo>
                    <a:pt x="443" y="227"/>
                  </a:lnTo>
                  <a:lnTo>
                    <a:pt x="443" y="229"/>
                  </a:lnTo>
                  <a:lnTo>
                    <a:pt x="444" y="229"/>
                  </a:lnTo>
                  <a:lnTo>
                    <a:pt x="444" y="230"/>
                  </a:lnTo>
                  <a:lnTo>
                    <a:pt x="444" y="231"/>
                  </a:lnTo>
                  <a:lnTo>
                    <a:pt x="446" y="231"/>
                  </a:lnTo>
                  <a:lnTo>
                    <a:pt x="448" y="231"/>
                  </a:lnTo>
                  <a:lnTo>
                    <a:pt x="448" y="232"/>
                  </a:lnTo>
                  <a:lnTo>
                    <a:pt x="449" y="232"/>
                  </a:lnTo>
                  <a:lnTo>
                    <a:pt x="449" y="235"/>
                  </a:lnTo>
                  <a:lnTo>
                    <a:pt x="450" y="235"/>
                  </a:lnTo>
                  <a:lnTo>
                    <a:pt x="450" y="237"/>
                  </a:lnTo>
                  <a:lnTo>
                    <a:pt x="451" y="237"/>
                  </a:lnTo>
                  <a:lnTo>
                    <a:pt x="451" y="238"/>
                  </a:lnTo>
                  <a:lnTo>
                    <a:pt x="452" y="238"/>
                  </a:lnTo>
                  <a:lnTo>
                    <a:pt x="452" y="239"/>
                  </a:lnTo>
                  <a:lnTo>
                    <a:pt x="452" y="241"/>
                  </a:lnTo>
                  <a:lnTo>
                    <a:pt x="451" y="239"/>
                  </a:lnTo>
                  <a:lnTo>
                    <a:pt x="450" y="241"/>
                  </a:lnTo>
                  <a:lnTo>
                    <a:pt x="450" y="243"/>
                  </a:lnTo>
                  <a:lnTo>
                    <a:pt x="449" y="243"/>
                  </a:lnTo>
                  <a:lnTo>
                    <a:pt x="450" y="243"/>
                  </a:lnTo>
                  <a:lnTo>
                    <a:pt x="451" y="243"/>
                  </a:lnTo>
                  <a:lnTo>
                    <a:pt x="451" y="244"/>
                  </a:lnTo>
                  <a:lnTo>
                    <a:pt x="452" y="243"/>
                  </a:lnTo>
                  <a:lnTo>
                    <a:pt x="452" y="244"/>
                  </a:lnTo>
                  <a:lnTo>
                    <a:pt x="454" y="244"/>
                  </a:lnTo>
                  <a:lnTo>
                    <a:pt x="454" y="245"/>
                  </a:lnTo>
                  <a:lnTo>
                    <a:pt x="455" y="244"/>
                  </a:lnTo>
                  <a:lnTo>
                    <a:pt x="456" y="245"/>
                  </a:lnTo>
                  <a:lnTo>
                    <a:pt x="457" y="247"/>
                  </a:lnTo>
                  <a:lnTo>
                    <a:pt x="457" y="245"/>
                  </a:lnTo>
                  <a:lnTo>
                    <a:pt x="456" y="244"/>
                  </a:lnTo>
                  <a:lnTo>
                    <a:pt x="455" y="243"/>
                  </a:lnTo>
                  <a:lnTo>
                    <a:pt x="454" y="242"/>
                  </a:lnTo>
                  <a:lnTo>
                    <a:pt x="456" y="242"/>
                  </a:lnTo>
                  <a:lnTo>
                    <a:pt x="456" y="241"/>
                  </a:lnTo>
                  <a:lnTo>
                    <a:pt x="456" y="238"/>
                  </a:lnTo>
                  <a:lnTo>
                    <a:pt x="455" y="238"/>
                  </a:lnTo>
                  <a:lnTo>
                    <a:pt x="455" y="237"/>
                  </a:lnTo>
                  <a:lnTo>
                    <a:pt x="454" y="237"/>
                  </a:lnTo>
                  <a:lnTo>
                    <a:pt x="454" y="236"/>
                  </a:lnTo>
                  <a:lnTo>
                    <a:pt x="454" y="235"/>
                  </a:lnTo>
                  <a:lnTo>
                    <a:pt x="452" y="235"/>
                  </a:lnTo>
                  <a:lnTo>
                    <a:pt x="451" y="235"/>
                  </a:lnTo>
                  <a:lnTo>
                    <a:pt x="451" y="233"/>
                  </a:lnTo>
                  <a:lnTo>
                    <a:pt x="452" y="232"/>
                  </a:lnTo>
                  <a:lnTo>
                    <a:pt x="452" y="231"/>
                  </a:lnTo>
                  <a:lnTo>
                    <a:pt x="451" y="231"/>
                  </a:lnTo>
                  <a:lnTo>
                    <a:pt x="451" y="230"/>
                  </a:lnTo>
                  <a:lnTo>
                    <a:pt x="450" y="229"/>
                  </a:lnTo>
                  <a:lnTo>
                    <a:pt x="450" y="227"/>
                  </a:lnTo>
                  <a:lnTo>
                    <a:pt x="449" y="226"/>
                  </a:lnTo>
                  <a:lnTo>
                    <a:pt x="449" y="225"/>
                  </a:lnTo>
                  <a:lnTo>
                    <a:pt x="450" y="225"/>
                  </a:lnTo>
                  <a:lnTo>
                    <a:pt x="449" y="221"/>
                  </a:lnTo>
                  <a:lnTo>
                    <a:pt x="449" y="220"/>
                  </a:lnTo>
                  <a:lnTo>
                    <a:pt x="449" y="219"/>
                  </a:lnTo>
                  <a:lnTo>
                    <a:pt x="449" y="218"/>
                  </a:lnTo>
                  <a:lnTo>
                    <a:pt x="448" y="218"/>
                  </a:lnTo>
                  <a:lnTo>
                    <a:pt x="448" y="217"/>
                  </a:lnTo>
                  <a:lnTo>
                    <a:pt x="448" y="215"/>
                  </a:lnTo>
                  <a:lnTo>
                    <a:pt x="448" y="214"/>
                  </a:lnTo>
                  <a:lnTo>
                    <a:pt x="446" y="214"/>
                  </a:lnTo>
                  <a:lnTo>
                    <a:pt x="446" y="213"/>
                  </a:lnTo>
                  <a:lnTo>
                    <a:pt x="448" y="213"/>
                  </a:lnTo>
                  <a:lnTo>
                    <a:pt x="448" y="212"/>
                  </a:lnTo>
                  <a:lnTo>
                    <a:pt x="446" y="211"/>
                  </a:lnTo>
                  <a:lnTo>
                    <a:pt x="445" y="211"/>
                  </a:lnTo>
                  <a:lnTo>
                    <a:pt x="446" y="211"/>
                  </a:lnTo>
                  <a:lnTo>
                    <a:pt x="446" y="209"/>
                  </a:lnTo>
                  <a:lnTo>
                    <a:pt x="445" y="208"/>
                  </a:lnTo>
                  <a:lnTo>
                    <a:pt x="445" y="207"/>
                  </a:lnTo>
                  <a:lnTo>
                    <a:pt x="444" y="207"/>
                  </a:lnTo>
                  <a:lnTo>
                    <a:pt x="444" y="206"/>
                  </a:lnTo>
                  <a:lnTo>
                    <a:pt x="445" y="205"/>
                  </a:lnTo>
                  <a:lnTo>
                    <a:pt x="444" y="203"/>
                  </a:lnTo>
                  <a:lnTo>
                    <a:pt x="443" y="203"/>
                  </a:lnTo>
                  <a:lnTo>
                    <a:pt x="442" y="203"/>
                  </a:lnTo>
                  <a:lnTo>
                    <a:pt x="442" y="205"/>
                  </a:lnTo>
                  <a:lnTo>
                    <a:pt x="442" y="203"/>
                  </a:lnTo>
                  <a:lnTo>
                    <a:pt x="440" y="203"/>
                  </a:lnTo>
                  <a:lnTo>
                    <a:pt x="439" y="203"/>
                  </a:lnTo>
                  <a:lnTo>
                    <a:pt x="440" y="202"/>
                  </a:lnTo>
                  <a:lnTo>
                    <a:pt x="439" y="202"/>
                  </a:lnTo>
                  <a:lnTo>
                    <a:pt x="439" y="201"/>
                  </a:lnTo>
                  <a:lnTo>
                    <a:pt x="440" y="201"/>
                  </a:lnTo>
                  <a:lnTo>
                    <a:pt x="440" y="200"/>
                  </a:lnTo>
                  <a:lnTo>
                    <a:pt x="439" y="200"/>
                  </a:lnTo>
                  <a:lnTo>
                    <a:pt x="439" y="199"/>
                  </a:lnTo>
                  <a:lnTo>
                    <a:pt x="440" y="199"/>
                  </a:lnTo>
                  <a:lnTo>
                    <a:pt x="442" y="199"/>
                  </a:lnTo>
                  <a:lnTo>
                    <a:pt x="443" y="199"/>
                  </a:lnTo>
                  <a:lnTo>
                    <a:pt x="442" y="199"/>
                  </a:lnTo>
                  <a:lnTo>
                    <a:pt x="440" y="197"/>
                  </a:lnTo>
                  <a:lnTo>
                    <a:pt x="440" y="196"/>
                  </a:lnTo>
                  <a:lnTo>
                    <a:pt x="439" y="196"/>
                  </a:lnTo>
                  <a:lnTo>
                    <a:pt x="438" y="196"/>
                  </a:lnTo>
                  <a:lnTo>
                    <a:pt x="438" y="197"/>
                  </a:lnTo>
                  <a:lnTo>
                    <a:pt x="438" y="196"/>
                  </a:lnTo>
                  <a:lnTo>
                    <a:pt x="437" y="196"/>
                  </a:lnTo>
                  <a:lnTo>
                    <a:pt x="435" y="196"/>
                  </a:lnTo>
                  <a:lnTo>
                    <a:pt x="434" y="197"/>
                  </a:lnTo>
                  <a:lnTo>
                    <a:pt x="433" y="197"/>
                  </a:lnTo>
                  <a:lnTo>
                    <a:pt x="433" y="199"/>
                  </a:lnTo>
                  <a:lnTo>
                    <a:pt x="432" y="199"/>
                  </a:lnTo>
                  <a:lnTo>
                    <a:pt x="432" y="197"/>
                  </a:lnTo>
                  <a:lnTo>
                    <a:pt x="431" y="197"/>
                  </a:lnTo>
                  <a:lnTo>
                    <a:pt x="429" y="196"/>
                  </a:lnTo>
                  <a:lnTo>
                    <a:pt x="428" y="196"/>
                  </a:lnTo>
                  <a:lnTo>
                    <a:pt x="427" y="196"/>
                  </a:lnTo>
                  <a:lnTo>
                    <a:pt x="426" y="196"/>
                  </a:lnTo>
                  <a:lnTo>
                    <a:pt x="426" y="195"/>
                  </a:lnTo>
                  <a:lnTo>
                    <a:pt x="425" y="195"/>
                  </a:lnTo>
                  <a:lnTo>
                    <a:pt x="425" y="194"/>
                  </a:lnTo>
                  <a:lnTo>
                    <a:pt x="426" y="193"/>
                  </a:lnTo>
                  <a:lnTo>
                    <a:pt x="426" y="191"/>
                  </a:lnTo>
                  <a:lnTo>
                    <a:pt x="427" y="190"/>
                  </a:lnTo>
                  <a:lnTo>
                    <a:pt x="427" y="191"/>
                  </a:lnTo>
                  <a:lnTo>
                    <a:pt x="428" y="190"/>
                  </a:lnTo>
                  <a:lnTo>
                    <a:pt x="428" y="191"/>
                  </a:lnTo>
                  <a:lnTo>
                    <a:pt x="429" y="190"/>
                  </a:lnTo>
                  <a:lnTo>
                    <a:pt x="431" y="190"/>
                  </a:lnTo>
                  <a:lnTo>
                    <a:pt x="431" y="189"/>
                  </a:lnTo>
                  <a:lnTo>
                    <a:pt x="432" y="189"/>
                  </a:lnTo>
                  <a:lnTo>
                    <a:pt x="433" y="189"/>
                  </a:lnTo>
                  <a:lnTo>
                    <a:pt x="434" y="189"/>
                  </a:lnTo>
                  <a:lnTo>
                    <a:pt x="434" y="190"/>
                  </a:lnTo>
                  <a:lnTo>
                    <a:pt x="434" y="189"/>
                  </a:lnTo>
                  <a:lnTo>
                    <a:pt x="434" y="188"/>
                  </a:lnTo>
                  <a:lnTo>
                    <a:pt x="433" y="187"/>
                  </a:lnTo>
                  <a:lnTo>
                    <a:pt x="432" y="187"/>
                  </a:lnTo>
                  <a:lnTo>
                    <a:pt x="432" y="185"/>
                  </a:lnTo>
                  <a:lnTo>
                    <a:pt x="431" y="185"/>
                  </a:lnTo>
                  <a:lnTo>
                    <a:pt x="431" y="184"/>
                  </a:lnTo>
                  <a:lnTo>
                    <a:pt x="429" y="184"/>
                  </a:lnTo>
                  <a:lnTo>
                    <a:pt x="429" y="185"/>
                  </a:lnTo>
                  <a:lnTo>
                    <a:pt x="429" y="187"/>
                  </a:lnTo>
                  <a:lnTo>
                    <a:pt x="429" y="188"/>
                  </a:lnTo>
                  <a:lnTo>
                    <a:pt x="429" y="189"/>
                  </a:lnTo>
                  <a:lnTo>
                    <a:pt x="429" y="188"/>
                  </a:lnTo>
                  <a:lnTo>
                    <a:pt x="428" y="189"/>
                  </a:lnTo>
                  <a:lnTo>
                    <a:pt x="425" y="189"/>
                  </a:lnTo>
                  <a:lnTo>
                    <a:pt x="425" y="190"/>
                  </a:lnTo>
                  <a:lnTo>
                    <a:pt x="423" y="189"/>
                  </a:lnTo>
                  <a:lnTo>
                    <a:pt x="422" y="189"/>
                  </a:lnTo>
                  <a:lnTo>
                    <a:pt x="420" y="189"/>
                  </a:lnTo>
                  <a:lnTo>
                    <a:pt x="421" y="187"/>
                  </a:lnTo>
                  <a:lnTo>
                    <a:pt x="420" y="187"/>
                  </a:lnTo>
                  <a:lnTo>
                    <a:pt x="420" y="188"/>
                  </a:lnTo>
                  <a:lnTo>
                    <a:pt x="419" y="188"/>
                  </a:lnTo>
                  <a:lnTo>
                    <a:pt x="417" y="188"/>
                  </a:lnTo>
                  <a:lnTo>
                    <a:pt x="417" y="189"/>
                  </a:lnTo>
                  <a:lnTo>
                    <a:pt x="416" y="189"/>
                  </a:lnTo>
                  <a:lnTo>
                    <a:pt x="415" y="188"/>
                  </a:lnTo>
                  <a:lnTo>
                    <a:pt x="414" y="188"/>
                  </a:lnTo>
                  <a:lnTo>
                    <a:pt x="414" y="187"/>
                  </a:lnTo>
                  <a:lnTo>
                    <a:pt x="413" y="187"/>
                  </a:lnTo>
                  <a:lnTo>
                    <a:pt x="411" y="187"/>
                  </a:lnTo>
                  <a:lnTo>
                    <a:pt x="410" y="187"/>
                  </a:lnTo>
                  <a:lnTo>
                    <a:pt x="409" y="187"/>
                  </a:lnTo>
                  <a:lnTo>
                    <a:pt x="408" y="185"/>
                  </a:lnTo>
                  <a:lnTo>
                    <a:pt x="407" y="185"/>
                  </a:lnTo>
                  <a:lnTo>
                    <a:pt x="404" y="184"/>
                  </a:lnTo>
                  <a:lnTo>
                    <a:pt x="405" y="184"/>
                  </a:lnTo>
                  <a:lnTo>
                    <a:pt x="407" y="183"/>
                  </a:lnTo>
                  <a:lnTo>
                    <a:pt x="405" y="183"/>
                  </a:lnTo>
                  <a:lnTo>
                    <a:pt x="405" y="182"/>
                  </a:lnTo>
                  <a:lnTo>
                    <a:pt x="407" y="182"/>
                  </a:lnTo>
                  <a:lnTo>
                    <a:pt x="407" y="181"/>
                  </a:lnTo>
                  <a:lnTo>
                    <a:pt x="409" y="181"/>
                  </a:lnTo>
                  <a:lnTo>
                    <a:pt x="410" y="182"/>
                  </a:lnTo>
                  <a:lnTo>
                    <a:pt x="413" y="182"/>
                  </a:lnTo>
                  <a:lnTo>
                    <a:pt x="413" y="181"/>
                  </a:lnTo>
                  <a:lnTo>
                    <a:pt x="411" y="179"/>
                  </a:lnTo>
                  <a:lnTo>
                    <a:pt x="410" y="179"/>
                  </a:lnTo>
                  <a:lnTo>
                    <a:pt x="409" y="178"/>
                  </a:lnTo>
                  <a:lnTo>
                    <a:pt x="409" y="179"/>
                  </a:lnTo>
                  <a:lnTo>
                    <a:pt x="408" y="179"/>
                  </a:lnTo>
                  <a:lnTo>
                    <a:pt x="407" y="179"/>
                  </a:lnTo>
                  <a:lnTo>
                    <a:pt x="405" y="179"/>
                  </a:lnTo>
                  <a:lnTo>
                    <a:pt x="404" y="181"/>
                  </a:lnTo>
                  <a:lnTo>
                    <a:pt x="403" y="181"/>
                  </a:lnTo>
                  <a:lnTo>
                    <a:pt x="403" y="182"/>
                  </a:lnTo>
                  <a:lnTo>
                    <a:pt x="402" y="182"/>
                  </a:lnTo>
                  <a:lnTo>
                    <a:pt x="402" y="181"/>
                  </a:lnTo>
                  <a:lnTo>
                    <a:pt x="403" y="181"/>
                  </a:lnTo>
                  <a:lnTo>
                    <a:pt x="403" y="179"/>
                  </a:lnTo>
                  <a:lnTo>
                    <a:pt x="404" y="178"/>
                  </a:lnTo>
                  <a:lnTo>
                    <a:pt x="405" y="178"/>
                  </a:lnTo>
                  <a:lnTo>
                    <a:pt x="403" y="178"/>
                  </a:lnTo>
                  <a:lnTo>
                    <a:pt x="403" y="177"/>
                  </a:lnTo>
                  <a:lnTo>
                    <a:pt x="403" y="176"/>
                  </a:lnTo>
                  <a:lnTo>
                    <a:pt x="404" y="176"/>
                  </a:lnTo>
                  <a:lnTo>
                    <a:pt x="403" y="176"/>
                  </a:lnTo>
                  <a:lnTo>
                    <a:pt x="403" y="175"/>
                  </a:lnTo>
                  <a:lnTo>
                    <a:pt x="403" y="173"/>
                  </a:lnTo>
                  <a:lnTo>
                    <a:pt x="404" y="173"/>
                  </a:lnTo>
                  <a:lnTo>
                    <a:pt x="404" y="172"/>
                  </a:lnTo>
                  <a:lnTo>
                    <a:pt x="403" y="171"/>
                  </a:lnTo>
                  <a:lnTo>
                    <a:pt x="403" y="170"/>
                  </a:lnTo>
                  <a:lnTo>
                    <a:pt x="402" y="170"/>
                  </a:lnTo>
                  <a:lnTo>
                    <a:pt x="402" y="169"/>
                  </a:lnTo>
                  <a:lnTo>
                    <a:pt x="401" y="169"/>
                  </a:lnTo>
                  <a:lnTo>
                    <a:pt x="399" y="170"/>
                  </a:lnTo>
                  <a:lnTo>
                    <a:pt x="398" y="170"/>
                  </a:lnTo>
                  <a:lnTo>
                    <a:pt x="398" y="169"/>
                  </a:lnTo>
                  <a:lnTo>
                    <a:pt x="397" y="169"/>
                  </a:lnTo>
                  <a:lnTo>
                    <a:pt x="397" y="171"/>
                  </a:lnTo>
                  <a:lnTo>
                    <a:pt x="398" y="171"/>
                  </a:lnTo>
                  <a:lnTo>
                    <a:pt x="398" y="172"/>
                  </a:lnTo>
                  <a:lnTo>
                    <a:pt x="397" y="172"/>
                  </a:lnTo>
                  <a:lnTo>
                    <a:pt x="399" y="172"/>
                  </a:lnTo>
                  <a:lnTo>
                    <a:pt x="401" y="172"/>
                  </a:lnTo>
                  <a:lnTo>
                    <a:pt x="401" y="173"/>
                  </a:lnTo>
                  <a:lnTo>
                    <a:pt x="399" y="173"/>
                  </a:lnTo>
                  <a:lnTo>
                    <a:pt x="401" y="173"/>
                  </a:lnTo>
                  <a:lnTo>
                    <a:pt x="401" y="175"/>
                  </a:lnTo>
                  <a:lnTo>
                    <a:pt x="401" y="176"/>
                  </a:lnTo>
                  <a:lnTo>
                    <a:pt x="399" y="175"/>
                  </a:lnTo>
                  <a:lnTo>
                    <a:pt x="398" y="175"/>
                  </a:lnTo>
                  <a:lnTo>
                    <a:pt x="398" y="176"/>
                  </a:lnTo>
                  <a:lnTo>
                    <a:pt x="397" y="176"/>
                  </a:lnTo>
                  <a:lnTo>
                    <a:pt x="396" y="176"/>
                  </a:lnTo>
                  <a:lnTo>
                    <a:pt x="393" y="176"/>
                  </a:lnTo>
                  <a:lnTo>
                    <a:pt x="393" y="177"/>
                  </a:lnTo>
                  <a:lnTo>
                    <a:pt x="392" y="177"/>
                  </a:lnTo>
                  <a:lnTo>
                    <a:pt x="393" y="178"/>
                  </a:lnTo>
                  <a:lnTo>
                    <a:pt x="392" y="178"/>
                  </a:lnTo>
                  <a:lnTo>
                    <a:pt x="392" y="179"/>
                  </a:lnTo>
                  <a:lnTo>
                    <a:pt x="391" y="179"/>
                  </a:lnTo>
                  <a:lnTo>
                    <a:pt x="391" y="181"/>
                  </a:lnTo>
                  <a:lnTo>
                    <a:pt x="390" y="181"/>
                  </a:lnTo>
                  <a:lnTo>
                    <a:pt x="390" y="179"/>
                  </a:lnTo>
                  <a:lnTo>
                    <a:pt x="387" y="179"/>
                  </a:lnTo>
                  <a:lnTo>
                    <a:pt x="389" y="178"/>
                  </a:lnTo>
                  <a:lnTo>
                    <a:pt x="389" y="177"/>
                  </a:lnTo>
                  <a:lnTo>
                    <a:pt x="389" y="176"/>
                  </a:lnTo>
                  <a:lnTo>
                    <a:pt x="387" y="175"/>
                  </a:lnTo>
                  <a:lnTo>
                    <a:pt x="387" y="173"/>
                  </a:lnTo>
                  <a:lnTo>
                    <a:pt x="389" y="173"/>
                  </a:lnTo>
                  <a:lnTo>
                    <a:pt x="390" y="175"/>
                  </a:lnTo>
                  <a:lnTo>
                    <a:pt x="391" y="175"/>
                  </a:lnTo>
                  <a:lnTo>
                    <a:pt x="391" y="176"/>
                  </a:lnTo>
                  <a:lnTo>
                    <a:pt x="390" y="176"/>
                  </a:lnTo>
                  <a:lnTo>
                    <a:pt x="391" y="177"/>
                  </a:lnTo>
                  <a:lnTo>
                    <a:pt x="392" y="176"/>
                  </a:lnTo>
                  <a:lnTo>
                    <a:pt x="392" y="175"/>
                  </a:lnTo>
                  <a:lnTo>
                    <a:pt x="392" y="176"/>
                  </a:lnTo>
                  <a:lnTo>
                    <a:pt x="391" y="175"/>
                  </a:lnTo>
                  <a:lnTo>
                    <a:pt x="391" y="173"/>
                  </a:lnTo>
                  <a:lnTo>
                    <a:pt x="390" y="172"/>
                  </a:lnTo>
                  <a:lnTo>
                    <a:pt x="391" y="172"/>
                  </a:lnTo>
                  <a:lnTo>
                    <a:pt x="391" y="171"/>
                  </a:lnTo>
                  <a:lnTo>
                    <a:pt x="390" y="172"/>
                  </a:lnTo>
                  <a:lnTo>
                    <a:pt x="389" y="172"/>
                  </a:lnTo>
                  <a:lnTo>
                    <a:pt x="390" y="171"/>
                  </a:lnTo>
                  <a:lnTo>
                    <a:pt x="390" y="170"/>
                  </a:lnTo>
                  <a:lnTo>
                    <a:pt x="389" y="169"/>
                  </a:lnTo>
                  <a:lnTo>
                    <a:pt x="389" y="167"/>
                  </a:lnTo>
                  <a:lnTo>
                    <a:pt x="387" y="167"/>
                  </a:lnTo>
                  <a:lnTo>
                    <a:pt x="386" y="167"/>
                  </a:lnTo>
                  <a:lnTo>
                    <a:pt x="386" y="166"/>
                  </a:lnTo>
                  <a:lnTo>
                    <a:pt x="386" y="165"/>
                  </a:lnTo>
                  <a:lnTo>
                    <a:pt x="386" y="166"/>
                  </a:lnTo>
                  <a:lnTo>
                    <a:pt x="385" y="166"/>
                  </a:lnTo>
                  <a:lnTo>
                    <a:pt x="386" y="166"/>
                  </a:lnTo>
                  <a:lnTo>
                    <a:pt x="386" y="167"/>
                  </a:lnTo>
                  <a:lnTo>
                    <a:pt x="386" y="169"/>
                  </a:lnTo>
                  <a:lnTo>
                    <a:pt x="385" y="170"/>
                  </a:lnTo>
                  <a:lnTo>
                    <a:pt x="385" y="169"/>
                  </a:lnTo>
                  <a:lnTo>
                    <a:pt x="385" y="167"/>
                  </a:lnTo>
                  <a:lnTo>
                    <a:pt x="384" y="167"/>
                  </a:lnTo>
                  <a:lnTo>
                    <a:pt x="383" y="167"/>
                  </a:lnTo>
                  <a:lnTo>
                    <a:pt x="381" y="167"/>
                  </a:lnTo>
                  <a:lnTo>
                    <a:pt x="381" y="169"/>
                  </a:lnTo>
                  <a:lnTo>
                    <a:pt x="381" y="167"/>
                  </a:lnTo>
                  <a:lnTo>
                    <a:pt x="380" y="167"/>
                  </a:lnTo>
                  <a:lnTo>
                    <a:pt x="380" y="166"/>
                  </a:lnTo>
                  <a:lnTo>
                    <a:pt x="380" y="165"/>
                  </a:lnTo>
                  <a:lnTo>
                    <a:pt x="379" y="165"/>
                  </a:lnTo>
                  <a:lnTo>
                    <a:pt x="378" y="165"/>
                  </a:lnTo>
                  <a:lnTo>
                    <a:pt x="378" y="164"/>
                  </a:lnTo>
                  <a:lnTo>
                    <a:pt x="376" y="165"/>
                  </a:lnTo>
                  <a:lnTo>
                    <a:pt x="376" y="166"/>
                  </a:lnTo>
                  <a:lnTo>
                    <a:pt x="376" y="169"/>
                  </a:lnTo>
                  <a:lnTo>
                    <a:pt x="376" y="170"/>
                  </a:lnTo>
                  <a:lnTo>
                    <a:pt x="375" y="169"/>
                  </a:lnTo>
                  <a:lnTo>
                    <a:pt x="375" y="167"/>
                  </a:lnTo>
                  <a:lnTo>
                    <a:pt x="375" y="166"/>
                  </a:lnTo>
                  <a:lnTo>
                    <a:pt x="374" y="167"/>
                  </a:lnTo>
                  <a:lnTo>
                    <a:pt x="374" y="169"/>
                  </a:lnTo>
                  <a:lnTo>
                    <a:pt x="373" y="169"/>
                  </a:lnTo>
                  <a:lnTo>
                    <a:pt x="374" y="169"/>
                  </a:lnTo>
                  <a:lnTo>
                    <a:pt x="375" y="169"/>
                  </a:lnTo>
                  <a:lnTo>
                    <a:pt x="375" y="170"/>
                  </a:lnTo>
                  <a:lnTo>
                    <a:pt x="374" y="171"/>
                  </a:lnTo>
                  <a:lnTo>
                    <a:pt x="374" y="172"/>
                  </a:lnTo>
                  <a:lnTo>
                    <a:pt x="373" y="172"/>
                  </a:lnTo>
                  <a:lnTo>
                    <a:pt x="372" y="173"/>
                  </a:lnTo>
                  <a:lnTo>
                    <a:pt x="372" y="175"/>
                  </a:lnTo>
                  <a:lnTo>
                    <a:pt x="372" y="173"/>
                  </a:lnTo>
                  <a:lnTo>
                    <a:pt x="370" y="173"/>
                  </a:lnTo>
                  <a:lnTo>
                    <a:pt x="370" y="175"/>
                  </a:lnTo>
                  <a:lnTo>
                    <a:pt x="369" y="175"/>
                  </a:lnTo>
                  <a:lnTo>
                    <a:pt x="366" y="175"/>
                  </a:lnTo>
                  <a:lnTo>
                    <a:pt x="366" y="172"/>
                  </a:lnTo>
                  <a:lnTo>
                    <a:pt x="367" y="172"/>
                  </a:lnTo>
                  <a:lnTo>
                    <a:pt x="367" y="171"/>
                  </a:lnTo>
                  <a:lnTo>
                    <a:pt x="368" y="171"/>
                  </a:lnTo>
                  <a:lnTo>
                    <a:pt x="368" y="170"/>
                  </a:lnTo>
                  <a:lnTo>
                    <a:pt x="367" y="170"/>
                  </a:lnTo>
                  <a:lnTo>
                    <a:pt x="367" y="171"/>
                  </a:lnTo>
                  <a:lnTo>
                    <a:pt x="366" y="170"/>
                  </a:lnTo>
                  <a:lnTo>
                    <a:pt x="367" y="170"/>
                  </a:lnTo>
                  <a:lnTo>
                    <a:pt x="367" y="169"/>
                  </a:lnTo>
                  <a:lnTo>
                    <a:pt x="368" y="169"/>
                  </a:lnTo>
                  <a:lnTo>
                    <a:pt x="368" y="167"/>
                  </a:lnTo>
                  <a:lnTo>
                    <a:pt x="369" y="167"/>
                  </a:lnTo>
                  <a:lnTo>
                    <a:pt x="369" y="166"/>
                  </a:lnTo>
                  <a:lnTo>
                    <a:pt x="368" y="166"/>
                  </a:lnTo>
                  <a:lnTo>
                    <a:pt x="368" y="165"/>
                  </a:lnTo>
                  <a:lnTo>
                    <a:pt x="369" y="165"/>
                  </a:lnTo>
                  <a:lnTo>
                    <a:pt x="369" y="164"/>
                  </a:lnTo>
                  <a:lnTo>
                    <a:pt x="369" y="162"/>
                  </a:lnTo>
                  <a:lnTo>
                    <a:pt x="369" y="161"/>
                  </a:lnTo>
                  <a:lnTo>
                    <a:pt x="370" y="160"/>
                  </a:lnTo>
                  <a:lnTo>
                    <a:pt x="369" y="160"/>
                  </a:lnTo>
                  <a:lnTo>
                    <a:pt x="367" y="159"/>
                  </a:lnTo>
                  <a:lnTo>
                    <a:pt x="366" y="159"/>
                  </a:lnTo>
                  <a:lnTo>
                    <a:pt x="366" y="160"/>
                  </a:lnTo>
                  <a:lnTo>
                    <a:pt x="364" y="161"/>
                  </a:lnTo>
                  <a:lnTo>
                    <a:pt x="363" y="161"/>
                  </a:lnTo>
                  <a:lnTo>
                    <a:pt x="363" y="160"/>
                  </a:lnTo>
                  <a:lnTo>
                    <a:pt x="364" y="160"/>
                  </a:lnTo>
                  <a:lnTo>
                    <a:pt x="364" y="159"/>
                  </a:lnTo>
                  <a:lnTo>
                    <a:pt x="363" y="159"/>
                  </a:lnTo>
                  <a:lnTo>
                    <a:pt x="362" y="159"/>
                  </a:lnTo>
                  <a:lnTo>
                    <a:pt x="361" y="159"/>
                  </a:lnTo>
                  <a:lnTo>
                    <a:pt x="360" y="158"/>
                  </a:lnTo>
                  <a:lnTo>
                    <a:pt x="357" y="158"/>
                  </a:lnTo>
                  <a:lnTo>
                    <a:pt x="356" y="158"/>
                  </a:lnTo>
                  <a:lnTo>
                    <a:pt x="352" y="158"/>
                  </a:lnTo>
                  <a:lnTo>
                    <a:pt x="354" y="158"/>
                  </a:lnTo>
                  <a:lnTo>
                    <a:pt x="354" y="160"/>
                  </a:lnTo>
                  <a:lnTo>
                    <a:pt x="354" y="161"/>
                  </a:lnTo>
                  <a:lnTo>
                    <a:pt x="352" y="160"/>
                  </a:lnTo>
                  <a:lnTo>
                    <a:pt x="351" y="160"/>
                  </a:lnTo>
                  <a:lnTo>
                    <a:pt x="351" y="159"/>
                  </a:lnTo>
                  <a:lnTo>
                    <a:pt x="352" y="158"/>
                  </a:lnTo>
                  <a:lnTo>
                    <a:pt x="351" y="158"/>
                  </a:lnTo>
                  <a:lnTo>
                    <a:pt x="350" y="158"/>
                  </a:lnTo>
                  <a:lnTo>
                    <a:pt x="349" y="159"/>
                  </a:lnTo>
                  <a:lnTo>
                    <a:pt x="348" y="159"/>
                  </a:lnTo>
                  <a:lnTo>
                    <a:pt x="346" y="159"/>
                  </a:lnTo>
                  <a:lnTo>
                    <a:pt x="346" y="160"/>
                  </a:lnTo>
                  <a:lnTo>
                    <a:pt x="345" y="160"/>
                  </a:lnTo>
                  <a:lnTo>
                    <a:pt x="344" y="160"/>
                  </a:lnTo>
                  <a:lnTo>
                    <a:pt x="345" y="161"/>
                  </a:lnTo>
                  <a:lnTo>
                    <a:pt x="346" y="161"/>
                  </a:lnTo>
                  <a:lnTo>
                    <a:pt x="346" y="162"/>
                  </a:lnTo>
                  <a:lnTo>
                    <a:pt x="344" y="162"/>
                  </a:lnTo>
                  <a:lnTo>
                    <a:pt x="344" y="164"/>
                  </a:lnTo>
                  <a:lnTo>
                    <a:pt x="343" y="165"/>
                  </a:lnTo>
                  <a:lnTo>
                    <a:pt x="343" y="166"/>
                  </a:lnTo>
                  <a:lnTo>
                    <a:pt x="342" y="166"/>
                  </a:lnTo>
                  <a:lnTo>
                    <a:pt x="342" y="165"/>
                  </a:lnTo>
                  <a:lnTo>
                    <a:pt x="340" y="165"/>
                  </a:lnTo>
                  <a:lnTo>
                    <a:pt x="340" y="164"/>
                  </a:lnTo>
                  <a:lnTo>
                    <a:pt x="339" y="162"/>
                  </a:lnTo>
                  <a:lnTo>
                    <a:pt x="338" y="161"/>
                  </a:lnTo>
                  <a:lnTo>
                    <a:pt x="339" y="161"/>
                  </a:lnTo>
                  <a:lnTo>
                    <a:pt x="339" y="162"/>
                  </a:lnTo>
                  <a:lnTo>
                    <a:pt x="340" y="161"/>
                  </a:lnTo>
                  <a:lnTo>
                    <a:pt x="342" y="161"/>
                  </a:lnTo>
                  <a:lnTo>
                    <a:pt x="342" y="160"/>
                  </a:lnTo>
                  <a:lnTo>
                    <a:pt x="343" y="160"/>
                  </a:lnTo>
                  <a:lnTo>
                    <a:pt x="343" y="159"/>
                  </a:lnTo>
                  <a:lnTo>
                    <a:pt x="342" y="159"/>
                  </a:lnTo>
                  <a:lnTo>
                    <a:pt x="343" y="156"/>
                  </a:lnTo>
                  <a:lnTo>
                    <a:pt x="342" y="156"/>
                  </a:lnTo>
                  <a:lnTo>
                    <a:pt x="342" y="155"/>
                  </a:lnTo>
                  <a:lnTo>
                    <a:pt x="340" y="155"/>
                  </a:lnTo>
                  <a:lnTo>
                    <a:pt x="340" y="158"/>
                  </a:lnTo>
                  <a:lnTo>
                    <a:pt x="339" y="158"/>
                  </a:lnTo>
                  <a:lnTo>
                    <a:pt x="339" y="156"/>
                  </a:lnTo>
                  <a:lnTo>
                    <a:pt x="338" y="155"/>
                  </a:lnTo>
                  <a:lnTo>
                    <a:pt x="338" y="154"/>
                  </a:lnTo>
                  <a:lnTo>
                    <a:pt x="337" y="154"/>
                  </a:lnTo>
                  <a:lnTo>
                    <a:pt x="337" y="153"/>
                  </a:lnTo>
                  <a:lnTo>
                    <a:pt x="336" y="153"/>
                  </a:lnTo>
                  <a:lnTo>
                    <a:pt x="336" y="152"/>
                  </a:lnTo>
                  <a:lnTo>
                    <a:pt x="334" y="152"/>
                  </a:lnTo>
                  <a:lnTo>
                    <a:pt x="333" y="152"/>
                  </a:lnTo>
                  <a:lnTo>
                    <a:pt x="332" y="152"/>
                  </a:lnTo>
                  <a:lnTo>
                    <a:pt x="333" y="150"/>
                  </a:lnTo>
                  <a:lnTo>
                    <a:pt x="331" y="150"/>
                  </a:lnTo>
                  <a:lnTo>
                    <a:pt x="331" y="149"/>
                  </a:lnTo>
                  <a:lnTo>
                    <a:pt x="330" y="149"/>
                  </a:lnTo>
                  <a:lnTo>
                    <a:pt x="328" y="149"/>
                  </a:lnTo>
                  <a:lnTo>
                    <a:pt x="328" y="148"/>
                  </a:lnTo>
                  <a:lnTo>
                    <a:pt x="327" y="147"/>
                  </a:lnTo>
                  <a:lnTo>
                    <a:pt x="326" y="147"/>
                  </a:lnTo>
                  <a:lnTo>
                    <a:pt x="325" y="147"/>
                  </a:lnTo>
                  <a:lnTo>
                    <a:pt x="325" y="146"/>
                  </a:lnTo>
                  <a:lnTo>
                    <a:pt x="325" y="144"/>
                  </a:lnTo>
                  <a:lnTo>
                    <a:pt x="324" y="144"/>
                  </a:lnTo>
                  <a:lnTo>
                    <a:pt x="322" y="144"/>
                  </a:lnTo>
                  <a:lnTo>
                    <a:pt x="321" y="143"/>
                  </a:lnTo>
                  <a:lnTo>
                    <a:pt x="319" y="143"/>
                  </a:lnTo>
                  <a:lnTo>
                    <a:pt x="319" y="142"/>
                  </a:lnTo>
                  <a:lnTo>
                    <a:pt x="319" y="141"/>
                  </a:lnTo>
                  <a:lnTo>
                    <a:pt x="318" y="141"/>
                  </a:lnTo>
                  <a:lnTo>
                    <a:pt x="316" y="140"/>
                  </a:lnTo>
                  <a:lnTo>
                    <a:pt x="315" y="137"/>
                  </a:lnTo>
                  <a:lnTo>
                    <a:pt x="316" y="136"/>
                  </a:lnTo>
                  <a:lnTo>
                    <a:pt x="316" y="134"/>
                  </a:lnTo>
                  <a:lnTo>
                    <a:pt x="318" y="132"/>
                  </a:lnTo>
                  <a:lnTo>
                    <a:pt x="316" y="132"/>
                  </a:lnTo>
                  <a:lnTo>
                    <a:pt x="315" y="131"/>
                  </a:lnTo>
                  <a:lnTo>
                    <a:pt x="314" y="131"/>
                  </a:lnTo>
                  <a:lnTo>
                    <a:pt x="314" y="130"/>
                  </a:lnTo>
                  <a:lnTo>
                    <a:pt x="313" y="131"/>
                  </a:lnTo>
                  <a:lnTo>
                    <a:pt x="313" y="130"/>
                  </a:lnTo>
                  <a:lnTo>
                    <a:pt x="311" y="130"/>
                  </a:lnTo>
                  <a:lnTo>
                    <a:pt x="310" y="130"/>
                  </a:lnTo>
                  <a:lnTo>
                    <a:pt x="309" y="130"/>
                  </a:lnTo>
                  <a:lnTo>
                    <a:pt x="308" y="129"/>
                  </a:lnTo>
                  <a:lnTo>
                    <a:pt x="308" y="128"/>
                  </a:lnTo>
                  <a:lnTo>
                    <a:pt x="307" y="128"/>
                  </a:lnTo>
                  <a:lnTo>
                    <a:pt x="307" y="126"/>
                  </a:lnTo>
                  <a:lnTo>
                    <a:pt x="305" y="126"/>
                  </a:lnTo>
                  <a:lnTo>
                    <a:pt x="305" y="125"/>
                  </a:lnTo>
                  <a:lnTo>
                    <a:pt x="305" y="124"/>
                  </a:lnTo>
                  <a:lnTo>
                    <a:pt x="305" y="123"/>
                  </a:lnTo>
                  <a:lnTo>
                    <a:pt x="307" y="123"/>
                  </a:lnTo>
                  <a:lnTo>
                    <a:pt x="308" y="123"/>
                  </a:lnTo>
                  <a:lnTo>
                    <a:pt x="308" y="122"/>
                  </a:lnTo>
                  <a:lnTo>
                    <a:pt x="309" y="122"/>
                  </a:lnTo>
                  <a:lnTo>
                    <a:pt x="310" y="122"/>
                  </a:lnTo>
                  <a:lnTo>
                    <a:pt x="311" y="122"/>
                  </a:lnTo>
                  <a:lnTo>
                    <a:pt x="311" y="120"/>
                  </a:lnTo>
                  <a:lnTo>
                    <a:pt x="311" y="119"/>
                  </a:lnTo>
                  <a:lnTo>
                    <a:pt x="313" y="119"/>
                  </a:lnTo>
                  <a:lnTo>
                    <a:pt x="313" y="118"/>
                  </a:lnTo>
                  <a:lnTo>
                    <a:pt x="314" y="118"/>
                  </a:lnTo>
                  <a:lnTo>
                    <a:pt x="314" y="119"/>
                  </a:lnTo>
                  <a:lnTo>
                    <a:pt x="315" y="119"/>
                  </a:lnTo>
                  <a:lnTo>
                    <a:pt x="319" y="120"/>
                  </a:lnTo>
                  <a:lnTo>
                    <a:pt x="319" y="122"/>
                  </a:lnTo>
                  <a:lnTo>
                    <a:pt x="320" y="122"/>
                  </a:lnTo>
                  <a:lnTo>
                    <a:pt x="320" y="120"/>
                  </a:lnTo>
                  <a:lnTo>
                    <a:pt x="319" y="120"/>
                  </a:lnTo>
                  <a:lnTo>
                    <a:pt x="319" y="119"/>
                  </a:lnTo>
                  <a:lnTo>
                    <a:pt x="319" y="118"/>
                  </a:lnTo>
                  <a:lnTo>
                    <a:pt x="318" y="118"/>
                  </a:lnTo>
                  <a:lnTo>
                    <a:pt x="316" y="118"/>
                  </a:lnTo>
                  <a:lnTo>
                    <a:pt x="315" y="117"/>
                  </a:lnTo>
                  <a:lnTo>
                    <a:pt x="314" y="116"/>
                  </a:lnTo>
                  <a:lnTo>
                    <a:pt x="314" y="117"/>
                  </a:lnTo>
                  <a:lnTo>
                    <a:pt x="313" y="117"/>
                  </a:lnTo>
                  <a:lnTo>
                    <a:pt x="313" y="116"/>
                  </a:lnTo>
                  <a:lnTo>
                    <a:pt x="311" y="116"/>
                  </a:lnTo>
                  <a:lnTo>
                    <a:pt x="311" y="114"/>
                  </a:lnTo>
                  <a:lnTo>
                    <a:pt x="310" y="113"/>
                  </a:lnTo>
                  <a:lnTo>
                    <a:pt x="311" y="112"/>
                  </a:lnTo>
                  <a:lnTo>
                    <a:pt x="310" y="112"/>
                  </a:lnTo>
                  <a:lnTo>
                    <a:pt x="310" y="111"/>
                  </a:lnTo>
                  <a:lnTo>
                    <a:pt x="310" y="110"/>
                  </a:lnTo>
                  <a:lnTo>
                    <a:pt x="309" y="110"/>
                  </a:lnTo>
                  <a:lnTo>
                    <a:pt x="309" y="108"/>
                  </a:lnTo>
                  <a:lnTo>
                    <a:pt x="308" y="108"/>
                  </a:lnTo>
                  <a:lnTo>
                    <a:pt x="308" y="107"/>
                  </a:lnTo>
                  <a:lnTo>
                    <a:pt x="308" y="106"/>
                  </a:lnTo>
                  <a:lnTo>
                    <a:pt x="308" y="105"/>
                  </a:lnTo>
                  <a:lnTo>
                    <a:pt x="308" y="104"/>
                  </a:lnTo>
                  <a:lnTo>
                    <a:pt x="309" y="104"/>
                  </a:lnTo>
                  <a:lnTo>
                    <a:pt x="309" y="102"/>
                  </a:lnTo>
                  <a:lnTo>
                    <a:pt x="310" y="102"/>
                  </a:lnTo>
                  <a:lnTo>
                    <a:pt x="310" y="104"/>
                  </a:lnTo>
                  <a:lnTo>
                    <a:pt x="311" y="104"/>
                  </a:lnTo>
                  <a:lnTo>
                    <a:pt x="311" y="105"/>
                  </a:lnTo>
                  <a:lnTo>
                    <a:pt x="313" y="105"/>
                  </a:lnTo>
                  <a:lnTo>
                    <a:pt x="316" y="105"/>
                  </a:lnTo>
                  <a:lnTo>
                    <a:pt x="318" y="105"/>
                  </a:lnTo>
                  <a:lnTo>
                    <a:pt x="319" y="105"/>
                  </a:lnTo>
                  <a:lnTo>
                    <a:pt x="319" y="106"/>
                  </a:lnTo>
                  <a:lnTo>
                    <a:pt x="319" y="107"/>
                  </a:lnTo>
                  <a:lnTo>
                    <a:pt x="322" y="107"/>
                  </a:lnTo>
                  <a:lnTo>
                    <a:pt x="322" y="106"/>
                  </a:lnTo>
                  <a:lnTo>
                    <a:pt x="324" y="106"/>
                  </a:lnTo>
                  <a:lnTo>
                    <a:pt x="324" y="105"/>
                  </a:lnTo>
                  <a:lnTo>
                    <a:pt x="322" y="105"/>
                  </a:lnTo>
                  <a:lnTo>
                    <a:pt x="322" y="104"/>
                  </a:lnTo>
                  <a:lnTo>
                    <a:pt x="322" y="102"/>
                  </a:lnTo>
                  <a:lnTo>
                    <a:pt x="322" y="101"/>
                  </a:lnTo>
                  <a:lnTo>
                    <a:pt x="321" y="102"/>
                  </a:lnTo>
                  <a:lnTo>
                    <a:pt x="319" y="102"/>
                  </a:lnTo>
                  <a:lnTo>
                    <a:pt x="319" y="101"/>
                  </a:lnTo>
                  <a:lnTo>
                    <a:pt x="318" y="101"/>
                  </a:lnTo>
                  <a:lnTo>
                    <a:pt x="316" y="100"/>
                  </a:lnTo>
                  <a:lnTo>
                    <a:pt x="316" y="101"/>
                  </a:lnTo>
                  <a:lnTo>
                    <a:pt x="315" y="101"/>
                  </a:lnTo>
                  <a:lnTo>
                    <a:pt x="316" y="100"/>
                  </a:lnTo>
                  <a:lnTo>
                    <a:pt x="315" y="100"/>
                  </a:lnTo>
                  <a:lnTo>
                    <a:pt x="314" y="99"/>
                  </a:lnTo>
                  <a:lnTo>
                    <a:pt x="315" y="99"/>
                  </a:lnTo>
                  <a:lnTo>
                    <a:pt x="314" y="98"/>
                  </a:lnTo>
                  <a:lnTo>
                    <a:pt x="314" y="96"/>
                  </a:lnTo>
                  <a:lnTo>
                    <a:pt x="313" y="96"/>
                  </a:lnTo>
                  <a:lnTo>
                    <a:pt x="314" y="95"/>
                  </a:lnTo>
                  <a:lnTo>
                    <a:pt x="313" y="94"/>
                  </a:lnTo>
                  <a:lnTo>
                    <a:pt x="313" y="93"/>
                  </a:lnTo>
                  <a:lnTo>
                    <a:pt x="311" y="93"/>
                  </a:lnTo>
                  <a:lnTo>
                    <a:pt x="311" y="92"/>
                  </a:lnTo>
                  <a:lnTo>
                    <a:pt x="311" y="90"/>
                  </a:lnTo>
                  <a:lnTo>
                    <a:pt x="313" y="90"/>
                  </a:lnTo>
                  <a:lnTo>
                    <a:pt x="313" y="89"/>
                  </a:lnTo>
                  <a:lnTo>
                    <a:pt x="314" y="89"/>
                  </a:lnTo>
                  <a:lnTo>
                    <a:pt x="315" y="89"/>
                  </a:lnTo>
                  <a:lnTo>
                    <a:pt x="315" y="90"/>
                  </a:lnTo>
                  <a:lnTo>
                    <a:pt x="316" y="92"/>
                  </a:lnTo>
                  <a:lnTo>
                    <a:pt x="318" y="93"/>
                  </a:lnTo>
                  <a:lnTo>
                    <a:pt x="319" y="93"/>
                  </a:lnTo>
                  <a:lnTo>
                    <a:pt x="319" y="92"/>
                  </a:lnTo>
                  <a:lnTo>
                    <a:pt x="319" y="90"/>
                  </a:lnTo>
                  <a:lnTo>
                    <a:pt x="320" y="89"/>
                  </a:lnTo>
                  <a:lnTo>
                    <a:pt x="319" y="89"/>
                  </a:lnTo>
                  <a:lnTo>
                    <a:pt x="319" y="88"/>
                  </a:lnTo>
                  <a:lnTo>
                    <a:pt x="320" y="88"/>
                  </a:lnTo>
                  <a:lnTo>
                    <a:pt x="319" y="87"/>
                  </a:lnTo>
                  <a:lnTo>
                    <a:pt x="318" y="86"/>
                  </a:lnTo>
                  <a:lnTo>
                    <a:pt x="318" y="84"/>
                  </a:lnTo>
                  <a:lnTo>
                    <a:pt x="316" y="84"/>
                  </a:lnTo>
                  <a:lnTo>
                    <a:pt x="316" y="83"/>
                  </a:lnTo>
                  <a:lnTo>
                    <a:pt x="316" y="82"/>
                  </a:lnTo>
                  <a:lnTo>
                    <a:pt x="318" y="81"/>
                  </a:lnTo>
                  <a:lnTo>
                    <a:pt x="319" y="80"/>
                  </a:lnTo>
                  <a:lnTo>
                    <a:pt x="319" y="78"/>
                  </a:lnTo>
                  <a:lnTo>
                    <a:pt x="319" y="76"/>
                  </a:lnTo>
                  <a:lnTo>
                    <a:pt x="318" y="76"/>
                  </a:lnTo>
                  <a:lnTo>
                    <a:pt x="318" y="75"/>
                  </a:lnTo>
                  <a:lnTo>
                    <a:pt x="318" y="74"/>
                  </a:lnTo>
                  <a:lnTo>
                    <a:pt x="318" y="72"/>
                  </a:lnTo>
                  <a:lnTo>
                    <a:pt x="319" y="71"/>
                  </a:lnTo>
                  <a:lnTo>
                    <a:pt x="320" y="71"/>
                  </a:lnTo>
                  <a:lnTo>
                    <a:pt x="321" y="71"/>
                  </a:lnTo>
                  <a:lnTo>
                    <a:pt x="322" y="71"/>
                  </a:lnTo>
                  <a:lnTo>
                    <a:pt x="322" y="75"/>
                  </a:lnTo>
                  <a:lnTo>
                    <a:pt x="322" y="77"/>
                  </a:lnTo>
                  <a:lnTo>
                    <a:pt x="324" y="77"/>
                  </a:lnTo>
                  <a:lnTo>
                    <a:pt x="324" y="78"/>
                  </a:lnTo>
                  <a:lnTo>
                    <a:pt x="324" y="80"/>
                  </a:lnTo>
                  <a:lnTo>
                    <a:pt x="324" y="81"/>
                  </a:lnTo>
                  <a:lnTo>
                    <a:pt x="324" y="82"/>
                  </a:lnTo>
                  <a:lnTo>
                    <a:pt x="325" y="80"/>
                  </a:lnTo>
                  <a:lnTo>
                    <a:pt x="325" y="78"/>
                  </a:lnTo>
                  <a:lnTo>
                    <a:pt x="326" y="78"/>
                  </a:lnTo>
                  <a:lnTo>
                    <a:pt x="326" y="77"/>
                  </a:lnTo>
                  <a:lnTo>
                    <a:pt x="327" y="77"/>
                  </a:lnTo>
                  <a:lnTo>
                    <a:pt x="327" y="75"/>
                  </a:lnTo>
                  <a:lnTo>
                    <a:pt x="326" y="75"/>
                  </a:lnTo>
                  <a:lnTo>
                    <a:pt x="326" y="74"/>
                  </a:lnTo>
                  <a:lnTo>
                    <a:pt x="325" y="72"/>
                  </a:lnTo>
                  <a:lnTo>
                    <a:pt x="324" y="71"/>
                  </a:lnTo>
                  <a:lnTo>
                    <a:pt x="325" y="71"/>
                  </a:lnTo>
                  <a:lnTo>
                    <a:pt x="325" y="70"/>
                  </a:lnTo>
                  <a:lnTo>
                    <a:pt x="326" y="69"/>
                  </a:lnTo>
                  <a:lnTo>
                    <a:pt x="326" y="68"/>
                  </a:lnTo>
                  <a:lnTo>
                    <a:pt x="327" y="68"/>
                  </a:lnTo>
                  <a:lnTo>
                    <a:pt x="328" y="68"/>
                  </a:lnTo>
                  <a:lnTo>
                    <a:pt x="328" y="69"/>
                  </a:lnTo>
                  <a:lnTo>
                    <a:pt x="330" y="70"/>
                  </a:lnTo>
                  <a:lnTo>
                    <a:pt x="332" y="70"/>
                  </a:lnTo>
                  <a:lnTo>
                    <a:pt x="333" y="70"/>
                  </a:lnTo>
                  <a:lnTo>
                    <a:pt x="333" y="69"/>
                  </a:lnTo>
                  <a:lnTo>
                    <a:pt x="332" y="69"/>
                  </a:lnTo>
                  <a:lnTo>
                    <a:pt x="330" y="69"/>
                  </a:lnTo>
                  <a:lnTo>
                    <a:pt x="331" y="68"/>
                  </a:lnTo>
                  <a:lnTo>
                    <a:pt x="330" y="68"/>
                  </a:lnTo>
                  <a:lnTo>
                    <a:pt x="330" y="66"/>
                  </a:lnTo>
                  <a:lnTo>
                    <a:pt x="330" y="64"/>
                  </a:lnTo>
                  <a:lnTo>
                    <a:pt x="331" y="63"/>
                  </a:lnTo>
                  <a:lnTo>
                    <a:pt x="332" y="63"/>
                  </a:lnTo>
                  <a:lnTo>
                    <a:pt x="332" y="62"/>
                  </a:lnTo>
                  <a:lnTo>
                    <a:pt x="331" y="60"/>
                  </a:lnTo>
                  <a:lnTo>
                    <a:pt x="331" y="59"/>
                  </a:lnTo>
                  <a:lnTo>
                    <a:pt x="332" y="59"/>
                  </a:lnTo>
                  <a:lnTo>
                    <a:pt x="331" y="58"/>
                  </a:lnTo>
                  <a:lnTo>
                    <a:pt x="330" y="58"/>
                  </a:lnTo>
                  <a:lnTo>
                    <a:pt x="328" y="58"/>
                  </a:lnTo>
                  <a:lnTo>
                    <a:pt x="328" y="57"/>
                  </a:lnTo>
                  <a:lnTo>
                    <a:pt x="326" y="55"/>
                  </a:lnTo>
                  <a:lnTo>
                    <a:pt x="325" y="55"/>
                  </a:lnTo>
                  <a:lnTo>
                    <a:pt x="325" y="54"/>
                  </a:lnTo>
                  <a:lnTo>
                    <a:pt x="327" y="54"/>
                  </a:lnTo>
                  <a:lnTo>
                    <a:pt x="327" y="53"/>
                  </a:lnTo>
                  <a:lnTo>
                    <a:pt x="327" y="51"/>
                  </a:lnTo>
                  <a:lnTo>
                    <a:pt x="328" y="52"/>
                  </a:lnTo>
                  <a:lnTo>
                    <a:pt x="330" y="52"/>
                  </a:lnTo>
                  <a:lnTo>
                    <a:pt x="330" y="51"/>
                  </a:lnTo>
                  <a:lnTo>
                    <a:pt x="328" y="51"/>
                  </a:lnTo>
                  <a:lnTo>
                    <a:pt x="330" y="49"/>
                  </a:lnTo>
                  <a:lnTo>
                    <a:pt x="328" y="49"/>
                  </a:lnTo>
                  <a:lnTo>
                    <a:pt x="328" y="47"/>
                  </a:lnTo>
                  <a:lnTo>
                    <a:pt x="328" y="45"/>
                  </a:lnTo>
                  <a:lnTo>
                    <a:pt x="330" y="45"/>
                  </a:lnTo>
                  <a:lnTo>
                    <a:pt x="331" y="45"/>
                  </a:lnTo>
                  <a:lnTo>
                    <a:pt x="331" y="43"/>
                  </a:lnTo>
                  <a:lnTo>
                    <a:pt x="332" y="45"/>
                  </a:lnTo>
                  <a:lnTo>
                    <a:pt x="333" y="45"/>
                  </a:lnTo>
                  <a:lnTo>
                    <a:pt x="332" y="46"/>
                  </a:lnTo>
                  <a:lnTo>
                    <a:pt x="333" y="47"/>
                  </a:lnTo>
                  <a:lnTo>
                    <a:pt x="333" y="48"/>
                  </a:lnTo>
                  <a:lnTo>
                    <a:pt x="334" y="48"/>
                  </a:lnTo>
                  <a:lnTo>
                    <a:pt x="334" y="49"/>
                  </a:lnTo>
                  <a:lnTo>
                    <a:pt x="336" y="51"/>
                  </a:lnTo>
                  <a:lnTo>
                    <a:pt x="337" y="51"/>
                  </a:lnTo>
                  <a:lnTo>
                    <a:pt x="337" y="49"/>
                  </a:lnTo>
                  <a:lnTo>
                    <a:pt x="338" y="49"/>
                  </a:lnTo>
                  <a:lnTo>
                    <a:pt x="339" y="51"/>
                  </a:lnTo>
                  <a:lnTo>
                    <a:pt x="339" y="52"/>
                  </a:lnTo>
                  <a:lnTo>
                    <a:pt x="339" y="53"/>
                  </a:lnTo>
                  <a:lnTo>
                    <a:pt x="339" y="57"/>
                  </a:lnTo>
                  <a:lnTo>
                    <a:pt x="340" y="57"/>
                  </a:lnTo>
                  <a:lnTo>
                    <a:pt x="343" y="57"/>
                  </a:lnTo>
                  <a:lnTo>
                    <a:pt x="343" y="55"/>
                  </a:lnTo>
                  <a:lnTo>
                    <a:pt x="345" y="57"/>
                  </a:lnTo>
                  <a:lnTo>
                    <a:pt x="345" y="55"/>
                  </a:lnTo>
                  <a:lnTo>
                    <a:pt x="346" y="55"/>
                  </a:lnTo>
                  <a:lnTo>
                    <a:pt x="346" y="54"/>
                  </a:lnTo>
                  <a:lnTo>
                    <a:pt x="348" y="54"/>
                  </a:lnTo>
                  <a:lnTo>
                    <a:pt x="346" y="54"/>
                  </a:lnTo>
                  <a:lnTo>
                    <a:pt x="345" y="54"/>
                  </a:lnTo>
                  <a:lnTo>
                    <a:pt x="345" y="53"/>
                  </a:lnTo>
                  <a:lnTo>
                    <a:pt x="345" y="52"/>
                  </a:lnTo>
                  <a:lnTo>
                    <a:pt x="345" y="51"/>
                  </a:lnTo>
                  <a:lnTo>
                    <a:pt x="344" y="51"/>
                  </a:lnTo>
                  <a:lnTo>
                    <a:pt x="344" y="49"/>
                  </a:lnTo>
                  <a:lnTo>
                    <a:pt x="343" y="48"/>
                  </a:lnTo>
                  <a:lnTo>
                    <a:pt x="344" y="48"/>
                  </a:lnTo>
                  <a:lnTo>
                    <a:pt x="344" y="47"/>
                  </a:lnTo>
                  <a:lnTo>
                    <a:pt x="343" y="47"/>
                  </a:lnTo>
                  <a:lnTo>
                    <a:pt x="343" y="46"/>
                  </a:lnTo>
                  <a:lnTo>
                    <a:pt x="343" y="45"/>
                  </a:lnTo>
                  <a:lnTo>
                    <a:pt x="344" y="43"/>
                  </a:lnTo>
                  <a:lnTo>
                    <a:pt x="343" y="43"/>
                  </a:lnTo>
                  <a:lnTo>
                    <a:pt x="343" y="41"/>
                  </a:lnTo>
                  <a:lnTo>
                    <a:pt x="343" y="40"/>
                  </a:lnTo>
                  <a:lnTo>
                    <a:pt x="342" y="39"/>
                  </a:lnTo>
                  <a:lnTo>
                    <a:pt x="342" y="37"/>
                  </a:lnTo>
                  <a:lnTo>
                    <a:pt x="342" y="36"/>
                  </a:lnTo>
                  <a:lnTo>
                    <a:pt x="339" y="36"/>
                  </a:lnTo>
                  <a:lnTo>
                    <a:pt x="339" y="35"/>
                  </a:lnTo>
                  <a:lnTo>
                    <a:pt x="340" y="34"/>
                  </a:lnTo>
                  <a:lnTo>
                    <a:pt x="339" y="34"/>
                  </a:lnTo>
                  <a:lnTo>
                    <a:pt x="339" y="33"/>
                  </a:lnTo>
                  <a:lnTo>
                    <a:pt x="339" y="31"/>
                  </a:lnTo>
                  <a:lnTo>
                    <a:pt x="339" y="29"/>
                  </a:lnTo>
                  <a:lnTo>
                    <a:pt x="340" y="29"/>
                  </a:lnTo>
                  <a:lnTo>
                    <a:pt x="342" y="29"/>
                  </a:lnTo>
                  <a:lnTo>
                    <a:pt x="342" y="30"/>
                  </a:lnTo>
                  <a:lnTo>
                    <a:pt x="343" y="29"/>
                  </a:lnTo>
                  <a:lnTo>
                    <a:pt x="343" y="27"/>
                  </a:lnTo>
                  <a:lnTo>
                    <a:pt x="343" y="25"/>
                  </a:lnTo>
                  <a:lnTo>
                    <a:pt x="343" y="24"/>
                  </a:lnTo>
                  <a:lnTo>
                    <a:pt x="343" y="23"/>
                  </a:lnTo>
                  <a:lnTo>
                    <a:pt x="343" y="22"/>
                  </a:lnTo>
                  <a:lnTo>
                    <a:pt x="344" y="21"/>
                  </a:lnTo>
                  <a:lnTo>
                    <a:pt x="344" y="22"/>
                  </a:lnTo>
                  <a:lnTo>
                    <a:pt x="348" y="22"/>
                  </a:lnTo>
                  <a:lnTo>
                    <a:pt x="348" y="23"/>
                  </a:lnTo>
                  <a:lnTo>
                    <a:pt x="346" y="24"/>
                  </a:lnTo>
                  <a:lnTo>
                    <a:pt x="348" y="24"/>
                  </a:lnTo>
                  <a:lnTo>
                    <a:pt x="348" y="25"/>
                  </a:lnTo>
                  <a:lnTo>
                    <a:pt x="348" y="27"/>
                  </a:lnTo>
                  <a:lnTo>
                    <a:pt x="348" y="28"/>
                  </a:lnTo>
                  <a:lnTo>
                    <a:pt x="349" y="28"/>
                  </a:lnTo>
                  <a:lnTo>
                    <a:pt x="349" y="30"/>
                  </a:lnTo>
                  <a:lnTo>
                    <a:pt x="349" y="31"/>
                  </a:lnTo>
                  <a:lnTo>
                    <a:pt x="350" y="31"/>
                  </a:lnTo>
                  <a:lnTo>
                    <a:pt x="350" y="30"/>
                  </a:lnTo>
                  <a:lnTo>
                    <a:pt x="351" y="30"/>
                  </a:lnTo>
                  <a:lnTo>
                    <a:pt x="351" y="29"/>
                  </a:lnTo>
                  <a:lnTo>
                    <a:pt x="352" y="29"/>
                  </a:lnTo>
                  <a:lnTo>
                    <a:pt x="354" y="29"/>
                  </a:lnTo>
                  <a:lnTo>
                    <a:pt x="355" y="30"/>
                  </a:lnTo>
                  <a:lnTo>
                    <a:pt x="356" y="30"/>
                  </a:lnTo>
                  <a:lnTo>
                    <a:pt x="356" y="31"/>
                  </a:lnTo>
                  <a:lnTo>
                    <a:pt x="357" y="31"/>
                  </a:lnTo>
                  <a:lnTo>
                    <a:pt x="357" y="30"/>
                  </a:lnTo>
                  <a:lnTo>
                    <a:pt x="358" y="30"/>
                  </a:lnTo>
                  <a:lnTo>
                    <a:pt x="358" y="29"/>
                  </a:lnTo>
                  <a:lnTo>
                    <a:pt x="358" y="28"/>
                  </a:lnTo>
                  <a:lnTo>
                    <a:pt x="358" y="25"/>
                  </a:lnTo>
                  <a:lnTo>
                    <a:pt x="360" y="24"/>
                  </a:lnTo>
                  <a:lnTo>
                    <a:pt x="361" y="25"/>
                  </a:lnTo>
                  <a:lnTo>
                    <a:pt x="362" y="25"/>
                  </a:lnTo>
                  <a:lnTo>
                    <a:pt x="363" y="27"/>
                  </a:lnTo>
                  <a:lnTo>
                    <a:pt x="364" y="27"/>
                  </a:lnTo>
                  <a:lnTo>
                    <a:pt x="364" y="28"/>
                  </a:lnTo>
                  <a:lnTo>
                    <a:pt x="363" y="30"/>
                  </a:lnTo>
                  <a:lnTo>
                    <a:pt x="362" y="31"/>
                  </a:lnTo>
                  <a:lnTo>
                    <a:pt x="362" y="35"/>
                  </a:lnTo>
                  <a:lnTo>
                    <a:pt x="363" y="35"/>
                  </a:lnTo>
                  <a:lnTo>
                    <a:pt x="364" y="36"/>
                  </a:lnTo>
                  <a:lnTo>
                    <a:pt x="363" y="36"/>
                  </a:lnTo>
                  <a:lnTo>
                    <a:pt x="364" y="36"/>
                  </a:lnTo>
                  <a:lnTo>
                    <a:pt x="366" y="37"/>
                  </a:lnTo>
                  <a:lnTo>
                    <a:pt x="364" y="37"/>
                  </a:lnTo>
                  <a:lnTo>
                    <a:pt x="363" y="39"/>
                  </a:lnTo>
                  <a:lnTo>
                    <a:pt x="362" y="40"/>
                  </a:lnTo>
                  <a:lnTo>
                    <a:pt x="361" y="41"/>
                  </a:lnTo>
                  <a:lnTo>
                    <a:pt x="361" y="42"/>
                  </a:lnTo>
                  <a:lnTo>
                    <a:pt x="361" y="43"/>
                  </a:lnTo>
                  <a:lnTo>
                    <a:pt x="360" y="43"/>
                  </a:lnTo>
                  <a:lnTo>
                    <a:pt x="360" y="45"/>
                  </a:lnTo>
                  <a:lnTo>
                    <a:pt x="360" y="46"/>
                  </a:lnTo>
                  <a:lnTo>
                    <a:pt x="361" y="46"/>
                  </a:lnTo>
                  <a:lnTo>
                    <a:pt x="361" y="47"/>
                  </a:lnTo>
                  <a:lnTo>
                    <a:pt x="362" y="48"/>
                  </a:lnTo>
                  <a:lnTo>
                    <a:pt x="362" y="49"/>
                  </a:lnTo>
                  <a:lnTo>
                    <a:pt x="363" y="51"/>
                  </a:lnTo>
                  <a:lnTo>
                    <a:pt x="363" y="49"/>
                  </a:lnTo>
                  <a:lnTo>
                    <a:pt x="364" y="49"/>
                  </a:lnTo>
                  <a:lnTo>
                    <a:pt x="364" y="51"/>
                  </a:lnTo>
                  <a:lnTo>
                    <a:pt x="366" y="51"/>
                  </a:lnTo>
                  <a:lnTo>
                    <a:pt x="366" y="52"/>
                  </a:lnTo>
                  <a:lnTo>
                    <a:pt x="367" y="52"/>
                  </a:lnTo>
                  <a:lnTo>
                    <a:pt x="368" y="53"/>
                  </a:lnTo>
                  <a:lnTo>
                    <a:pt x="368" y="52"/>
                  </a:lnTo>
                  <a:lnTo>
                    <a:pt x="369" y="51"/>
                  </a:lnTo>
                  <a:lnTo>
                    <a:pt x="369" y="48"/>
                  </a:lnTo>
                  <a:lnTo>
                    <a:pt x="370" y="48"/>
                  </a:lnTo>
                  <a:lnTo>
                    <a:pt x="370" y="47"/>
                  </a:lnTo>
                  <a:lnTo>
                    <a:pt x="370" y="46"/>
                  </a:lnTo>
                  <a:lnTo>
                    <a:pt x="370" y="45"/>
                  </a:lnTo>
                  <a:lnTo>
                    <a:pt x="370" y="43"/>
                  </a:lnTo>
                  <a:lnTo>
                    <a:pt x="372" y="43"/>
                  </a:lnTo>
                  <a:lnTo>
                    <a:pt x="373" y="42"/>
                  </a:lnTo>
                  <a:lnTo>
                    <a:pt x="374" y="41"/>
                  </a:lnTo>
                  <a:lnTo>
                    <a:pt x="374" y="37"/>
                  </a:lnTo>
                  <a:lnTo>
                    <a:pt x="374" y="36"/>
                  </a:lnTo>
                  <a:lnTo>
                    <a:pt x="374" y="35"/>
                  </a:lnTo>
                  <a:lnTo>
                    <a:pt x="374" y="34"/>
                  </a:lnTo>
                  <a:lnTo>
                    <a:pt x="376" y="33"/>
                  </a:lnTo>
                  <a:lnTo>
                    <a:pt x="378" y="33"/>
                  </a:lnTo>
                  <a:lnTo>
                    <a:pt x="378" y="34"/>
                  </a:lnTo>
                  <a:lnTo>
                    <a:pt x="379" y="34"/>
                  </a:lnTo>
                  <a:lnTo>
                    <a:pt x="379" y="35"/>
                  </a:lnTo>
                  <a:lnTo>
                    <a:pt x="379" y="36"/>
                  </a:lnTo>
                  <a:lnTo>
                    <a:pt x="379" y="39"/>
                  </a:lnTo>
                  <a:lnTo>
                    <a:pt x="380" y="39"/>
                  </a:lnTo>
                  <a:lnTo>
                    <a:pt x="380" y="40"/>
                  </a:lnTo>
                  <a:lnTo>
                    <a:pt x="381" y="39"/>
                  </a:lnTo>
                  <a:lnTo>
                    <a:pt x="384" y="40"/>
                  </a:lnTo>
                  <a:lnTo>
                    <a:pt x="384" y="41"/>
                  </a:lnTo>
                  <a:lnTo>
                    <a:pt x="384" y="42"/>
                  </a:lnTo>
                  <a:lnTo>
                    <a:pt x="384" y="45"/>
                  </a:lnTo>
                  <a:lnTo>
                    <a:pt x="385" y="45"/>
                  </a:lnTo>
                  <a:lnTo>
                    <a:pt x="386" y="42"/>
                  </a:lnTo>
                  <a:lnTo>
                    <a:pt x="387" y="42"/>
                  </a:lnTo>
                  <a:lnTo>
                    <a:pt x="389" y="42"/>
                  </a:lnTo>
                  <a:lnTo>
                    <a:pt x="390" y="42"/>
                  </a:lnTo>
                  <a:lnTo>
                    <a:pt x="390" y="43"/>
                  </a:lnTo>
                  <a:lnTo>
                    <a:pt x="390" y="45"/>
                  </a:lnTo>
                  <a:lnTo>
                    <a:pt x="391" y="45"/>
                  </a:lnTo>
                  <a:lnTo>
                    <a:pt x="391" y="43"/>
                  </a:lnTo>
                  <a:lnTo>
                    <a:pt x="390" y="43"/>
                  </a:lnTo>
                  <a:lnTo>
                    <a:pt x="390" y="42"/>
                  </a:lnTo>
                  <a:lnTo>
                    <a:pt x="390" y="41"/>
                  </a:lnTo>
                  <a:lnTo>
                    <a:pt x="391" y="40"/>
                  </a:lnTo>
                  <a:lnTo>
                    <a:pt x="392" y="40"/>
                  </a:lnTo>
                  <a:lnTo>
                    <a:pt x="392" y="39"/>
                  </a:lnTo>
                  <a:lnTo>
                    <a:pt x="393" y="39"/>
                  </a:lnTo>
                  <a:lnTo>
                    <a:pt x="393" y="37"/>
                  </a:lnTo>
                  <a:lnTo>
                    <a:pt x="395" y="36"/>
                  </a:lnTo>
                  <a:lnTo>
                    <a:pt x="393" y="35"/>
                  </a:lnTo>
                  <a:lnTo>
                    <a:pt x="393" y="34"/>
                  </a:lnTo>
                  <a:lnTo>
                    <a:pt x="393" y="33"/>
                  </a:lnTo>
                  <a:lnTo>
                    <a:pt x="393" y="31"/>
                  </a:lnTo>
                  <a:lnTo>
                    <a:pt x="392" y="30"/>
                  </a:lnTo>
                  <a:lnTo>
                    <a:pt x="393" y="31"/>
                  </a:lnTo>
                  <a:lnTo>
                    <a:pt x="395" y="30"/>
                  </a:lnTo>
                  <a:lnTo>
                    <a:pt x="392" y="29"/>
                  </a:lnTo>
                  <a:lnTo>
                    <a:pt x="392" y="28"/>
                  </a:lnTo>
                  <a:lnTo>
                    <a:pt x="391" y="28"/>
                  </a:lnTo>
                  <a:lnTo>
                    <a:pt x="390" y="28"/>
                  </a:lnTo>
                  <a:lnTo>
                    <a:pt x="389" y="27"/>
                  </a:lnTo>
                  <a:lnTo>
                    <a:pt x="389" y="25"/>
                  </a:lnTo>
                  <a:lnTo>
                    <a:pt x="390" y="25"/>
                  </a:lnTo>
                  <a:lnTo>
                    <a:pt x="389" y="24"/>
                  </a:lnTo>
                  <a:lnTo>
                    <a:pt x="389" y="22"/>
                  </a:lnTo>
                  <a:lnTo>
                    <a:pt x="387" y="21"/>
                  </a:lnTo>
                  <a:lnTo>
                    <a:pt x="386" y="19"/>
                  </a:lnTo>
                  <a:lnTo>
                    <a:pt x="385" y="18"/>
                  </a:lnTo>
                  <a:lnTo>
                    <a:pt x="386" y="17"/>
                  </a:lnTo>
                  <a:lnTo>
                    <a:pt x="386" y="16"/>
                  </a:lnTo>
                  <a:lnTo>
                    <a:pt x="387" y="16"/>
                  </a:lnTo>
                  <a:lnTo>
                    <a:pt x="389" y="16"/>
                  </a:lnTo>
                  <a:lnTo>
                    <a:pt x="390" y="18"/>
                  </a:lnTo>
                  <a:lnTo>
                    <a:pt x="391" y="18"/>
                  </a:lnTo>
                  <a:lnTo>
                    <a:pt x="391" y="15"/>
                  </a:lnTo>
                  <a:lnTo>
                    <a:pt x="391" y="13"/>
                  </a:lnTo>
                  <a:lnTo>
                    <a:pt x="391" y="11"/>
                  </a:lnTo>
                  <a:lnTo>
                    <a:pt x="392" y="10"/>
                  </a:lnTo>
                  <a:lnTo>
                    <a:pt x="393" y="10"/>
                  </a:lnTo>
                  <a:lnTo>
                    <a:pt x="395" y="10"/>
                  </a:lnTo>
                  <a:lnTo>
                    <a:pt x="396" y="10"/>
                  </a:lnTo>
                  <a:lnTo>
                    <a:pt x="396" y="11"/>
                  </a:lnTo>
                  <a:lnTo>
                    <a:pt x="397" y="11"/>
                  </a:lnTo>
                  <a:lnTo>
                    <a:pt x="397" y="12"/>
                  </a:lnTo>
                  <a:lnTo>
                    <a:pt x="397" y="13"/>
                  </a:lnTo>
                  <a:lnTo>
                    <a:pt x="398" y="13"/>
                  </a:lnTo>
                  <a:lnTo>
                    <a:pt x="398" y="15"/>
                  </a:lnTo>
                  <a:lnTo>
                    <a:pt x="399" y="15"/>
                  </a:lnTo>
                  <a:lnTo>
                    <a:pt x="399" y="16"/>
                  </a:lnTo>
                  <a:lnTo>
                    <a:pt x="401" y="16"/>
                  </a:lnTo>
                  <a:lnTo>
                    <a:pt x="401" y="17"/>
                  </a:lnTo>
                  <a:lnTo>
                    <a:pt x="401" y="18"/>
                  </a:lnTo>
                  <a:lnTo>
                    <a:pt x="401" y="19"/>
                  </a:lnTo>
                  <a:lnTo>
                    <a:pt x="399" y="19"/>
                  </a:lnTo>
                  <a:lnTo>
                    <a:pt x="399" y="21"/>
                  </a:lnTo>
                  <a:lnTo>
                    <a:pt x="398" y="21"/>
                  </a:lnTo>
                  <a:lnTo>
                    <a:pt x="398" y="22"/>
                  </a:lnTo>
                  <a:lnTo>
                    <a:pt x="398" y="23"/>
                  </a:lnTo>
                  <a:lnTo>
                    <a:pt x="397" y="23"/>
                  </a:lnTo>
                  <a:lnTo>
                    <a:pt x="397" y="24"/>
                  </a:lnTo>
                  <a:lnTo>
                    <a:pt x="396" y="25"/>
                  </a:lnTo>
                  <a:lnTo>
                    <a:pt x="397" y="25"/>
                  </a:lnTo>
                  <a:lnTo>
                    <a:pt x="397" y="27"/>
                  </a:lnTo>
                  <a:lnTo>
                    <a:pt x="398" y="27"/>
                  </a:lnTo>
                  <a:lnTo>
                    <a:pt x="401" y="27"/>
                  </a:lnTo>
                  <a:lnTo>
                    <a:pt x="401" y="25"/>
                  </a:lnTo>
                  <a:lnTo>
                    <a:pt x="402" y="25"/>
                  </a:lnTo>
                  <a:lnTo>
                    <a:pt x="403" y="24"/>
                  </a:lnTo>
                  <a:lnTo>
                    <a:pt x="404" y="24"/>
                  </a:lnTo>
                  <a:lnTo>
                    <a:pt x="405" y="24"/>
                  </a:lnTo>
                  <a:lnTo>
                    <a:pt x="407" y="27"/>
                  </a:lnTo>
                  <a:lnTo>
                    <a:pt x="407" y="29"/>
                  </a:lnTo>
                  <a:lnTo>
                    <a:pt x="408" y="29"/>
                  </a:lnTo>
                  <a:lnTo>
                    <a:pt x="409" y="30"/>
                  </a:lnTo>
                  <a:lnTo>
                    <a:pt x="410" y="34"/>
                  </a:lnTo>
                  <a:lnTo>
                    <a:pt x="410" y="30"/>
                  </a:lnTo>
                  <a:lnTo>
                    <a:pt x="411" y="30"/>
                  </a:lnTo>
                  <a:lnTo>
                    <a:pt x="411" y="28"/>
                  </a:lnTo>
                  <a:lnTo>
                    <a:pt x="411" y="27"/>
                  </a:lnTo>
                  <a:lnTo>
                    <a:pt x="410" y="25"/>
                  </a:lnTo>
                  <a:lnTo>
                    <a:pt x="411" y="25"/>
                  </a:lnTo>
                  <a:lnTo>
                    <a:pt x="411" y="22"/>
                  </a:lnTo>
                  <a:lnTo>
                    <a:pt x="410" y="22"/>
                  </a:lnTo>
                  <a:lnTo>
                    <a:pt x="411" y="21"/>
                  </a:lnTo>
                  <a:lnTo>
                    <a:pt x="411" y="19"/>
                  </a:lnTo>
                  <a:lnTo>
                    <a:pt x="411" y="18"/>
                  </a:lnTo>
                  <a:lnTo>
                    <a:pt x="413" y="17"/>
                  </a:lnTo>
                  <a:lnTo>
                    <a:pt x="414" y="17"/>
                  </a:lnTo>
                  <a:lnTo>
                    <a:pt x="416" y="17"/>
                  </a:lnTo>
                  <a:lnTo>
                    <a:pt x="417" y="18"/>
                  </a:lnTo>
                  <a:lnTo>
                    <a:pt x="417" y="17"/>
                  </a:lnTo>
                  <a:lnTo>
                    <a:pt x="417" y="16"/>
                  </a:lnTo>
                  <a:lnTo>
                    <a:pt x="419" y="15"/>
                  </a:lnTo>
                  <a:lnTo>
                    <a:pt x="419" y="13"/>
                  </a:lnTo>
                  <a:lnTo>
                    <a:pt x="420" y="13"/>
                  </a:lnTo>
                  <a:lnTo>
                    <a:pt x="420" y="11"/>
                  </a:lnTo>
                  <a:lnTo>
                    <a:pt x="420" y="10"/>
                  </a:lnTo>
                  <a:lnTo>
                    <a:pt x="419" y="10"/>
                  </a:lnTo>
                  <a:lnTo>
                    <a:pt x="420" y="7"/>
                  </a:lnTo>
                  <a:lnTo>
                    <a:pt x="423" y="7"/>
                  </a:lnTo>
                  <a:lnTo>
                    <a:pt x="423" y="9"/>
                  </a:lnTo>
                  <a:lnTo>
                    <a:pt x="423" y="10"/>
                  </a:lnTo>
                  <a:lnTo>
                    <a:pt x="425" y="11"/>
                  </a:lnTo>
                  <a:lnTo>
                    <a:pt x="425" y="12"/>
                  </a:lnTo>
                  <a:lnTo>
                    <a:pt x="426" y="12"/>
                  </a:lnTo>
                  <a:lnTo>
                    <a:pt x="427" y="11"/>
                  </a:lnTo>
                  <a:lnTo>
                    <a:pt x="427" y="7"/>
                  </a:lnTo>
                  <a:lnTo>
                    <a:pt x="428" y="7"/>
                  </a:lnTo>
                  <a:lnTo>
                    <a:pt x="428" y="6"/>
                  </a:lnTo>
                  <a:lnTo>
                    <a:pt x="429" y="5"/>
                  </a:lnTo>
                  <a:lnTo>
                    <a:pt x="429" y="4"/>
                  </a:lnTo>
                  <a:lnTo>
                    <a:pt x="429" y="1"/>
                  </a:lnTo>
                  <a:lnTo>
                    <a:pt x="431" y="1"/>
                  </a:lnTo>
                  <a:lnTo>
                    <a:pt x="431" y="0"/>
                  </a:lnTo>
                  <a:lnTo>
                    <a:pt x="432" y="0"/>
                  </a:lnTo>
                  <a:lnTo>
                    <a:pt x="434" y="1"/>
                  </a:lnTo>
                  <a:lnTo>
                    <a:pt x="435" y="1"/>
                  </a:lnTo>
                  <a:lnTo>
                    <a:pt x="437" y="3"/>
                  </a:lnTo>
                  <a:lnTo>
                    <a:pt x="435" y="3"/>
                  </a:lnTo>
                  <a:lnTo>
                    <a:pt x="435" y="5"/>
                  </a:lnTo>
                  <a:lnTo>
                    <a:pt x="434" y="6"/>
                  </a:lnTo>
                  <a:lnTo>
                    <a:pt x="434" y="7"/>
                  </a:lnTo>
                  <a:lnTo>
                    <a:pt x="434" y="9"/>
                  </a:lnTo>
                  <a:lnTo>
                    <a:pt x="434" y="10"/>
                  </a:lnTo>
                  <a:lnTo>
                    <a:pt x="435" y="10"/>
                  </a:lnTo>
                  <a:lnTo>
                    <a:pt x="437" y="10"/>
                  </a:lnTo>
                  <a:lnTo>
                    <a:pt x="437" y="11"/>
                  </a:lnTo>
                  <a:lnTo>
                    <a:pt x="437" y="12"/>
                  </a:lnTo>
                  <a:lnTo>
                    <a:pt x="435" y="15"/>
                  </a:lnTo>
                  <a:lnTo>
                    <a:pt x="435" y="17"/>
                  </a:lnTo>
                  <a:lnTo>
                    <a:pt x="434" y="17"/>
                  </a:lnTo>
                  <a:lnTo>
                    <a:pt x="434" y="18"/>
                  </a:lnTo>
                  <a:lnTo>
                    <a:pt x="435" y="18"/>
                  </a:lnTo>
                  <a:lnTo>
                    <a:pt x="437" y="19"/>
                  </a:lnTo>
                  <a:lnTo>
                    <a:pt x="438" y="19"/>
                  </a:lnTo>
                  <a:lnTo>
                    <a:pt x="438" y="21"/>
                  </a:lnTo>
                  <a:lnTo>
                    <a:pt x="438" y="22"/>
                  </a:lnTo>
                  <a:lnTo>
                    <a:pt x="437" y="24"/>
                  </a:lnTo>
                  <a:lnTo>
                    <a:pt x="437" y="25"/>
                  </a:lnTo>
                  <a:lnTo>
                    <a:pt x="435" y="28"/>
                  </a:lnTo>
                  <a:lnTo>
                    <a:pt x="435" y="29"/>
                  </a:lnTo>
                  <a:lnTo>
                    <a:pt x="434" y="29"/>
                  </a:lnTo>
                  <a:lnTo>
                    <a:pt x="435" y="30"/>
                  </a:lnTo>
                  <a:lnTo>
                    <a:pt x="435" y="31"/>
                  </a:lnTo>
                  <a:lnTo>
                    <a:pt x="435" y="34"/>
                  </a:lnTo>
                  <a:lnTo>
                    <a:pt x="434" y="35"/>
                  </a:lnTo>
                  <a:lnTo>
                    <a:pt x="434" y="37"/>
                  </a:lnTo>
                  <a:lnTo>
                    <a:pt x="433" y="39"/>
                  </a:lnTo>
                  <a:lnTo>
                    <a:pt x="434" y="40"/>
                  </a:lnTo>
                  <a:lnTo>
                    <a:pt x="433" y="40"/>
                  </a:lnTo>
                  <a:lnTo>
                    <a:pt x="433" y="41"/>
                  </a:lnTo>
                  <a:lnTo>
                    <a:pt x="434" y="43"/>
                  </a:lnTo>
                  <a:lnTo>
                    <a:pt x="433" y="43"/>
                  </a:lnTo>
                  <a:lnTo>
                    <a:pt x="433" y="45"/>
                  </a:lnTo>
                  <a:lnTo>
                    <a:pt x="434" y="45"/>
                  </a:lnTo>
                  <a:lnTo>
                    <a:pt x="434" y="42"/>
                  </a:lnTo>
                  <a:lnTo>
                    <a:pt x="435" y="42"/>
                  </a:lnTo>
                  <a:lnTo>
                    <a:pt x="437" y="42"/>
                  </a:lnTo>
                  <a:lnTo>
                    <a:pt x="438" y="42"/>
                  </a:lnTo>
                  <a:lnTo>
                    <a:pt x="439" y="43"/>
                  </a:lnTo>
                  <a:lnTo>
                    <a:pt x="439" y="42"/>
                  </a:lnTo>
                  <a:lnTo>
                    <a:pt x="440" y="42"/>
                  </a:lnTo>
                  <a:lnTo>
                    <a:pt x="443" y="42"/>
                  </a:lnTo>
                  <a:lnTo>
                    <a:pt x="444" y="41"/>
                  </a:lnTo>
                  <a:lnTo>
                    <a:pt x="444" y="40"/>
                  </a:lnTo>
                  <a:lnTo>
                    <a:pt x="445" y="40"/>
                  </a:lnTo>
                  <a:lnTo>
                    <a:pt x="445" y="39"/>
                  </a:lnTo>
                  <a:lnTo>
                    <a:pt x="446" y="39"/>
                  </a:lnTo>
                  <a:lnTo>
                    <a:pt x="446" y="40"/>
                  </a:lnTo>
                  <a:lnTo>
                    <a:pt x="448" y="41"/>
                  </a:lnTo>
                  <a:lnTo>
                    <a:pt x="448" y="42"/>
                  </a:lnTo>
                  <a:lnTo>
                    <a:pt x="446" y="45"/>
                  </a:lnTo>
                  <a:lnTo>
                    <a:pt x="446" y="46"/>
                  </a:lnTo>
                  <a:lnTo>
                    <a:pt x="446" y="47"/>
                  </a:lnTo>
                  <a:lnTo>
                    <a:pt x="445" y="47"/>
                  </a:lnTo>
                  <a:lnTo>
                    <a:pt x="445" y="48"/>
                  </a:lnTo>
                  <a:lnTo>
                    <a:pt x="445" y="49"/>
                  </a:lnTo>
                  <a:lnTo>
                    <a:pt x="445" y="51"/>
                  </a:lnTo>
                  <a:lnTo>
                    <a:pt x="445" y="52"/>
                  </a:lnTo>
                  <a:lnTo>
                    <a:pt x="445" y="53"/>
                  </a:lnTo>
                  <a:lnTo>
                    <a:pt x="445" y="54"/>
                  </a:lnTo>
                  <a:lnTo>
                    <a:pt x="445" y="55"/>
                  </a:lnTo>
                  <a:lnTo>
                    <a:pt x="448" y="55"/>
                  </a:lnTo>
                  <a:lnTo>
                    <a:pt x="449" y="54"/>
                  </a:lnTo>
                  <a:lnTo>
                    <a:pt x="449" y="52"/>
                  </a:lnTo>
                  <a:lnTo>
                    <a:pt x="450" y="52"/>
                  </a:lnTo>
                  <a:lnTo>
                    <a:pt x="450" y="51"/>
                  </a:lnTo>
                  <a:lnTo>
                    <a:pt x="450" y="49"/>
                  </a:lnTo>
                  <a:lnTo>
                    <a:pt x="450" y="47"/>
                  </a:lnTo>
                  <a:lnTo>
                    <a:pt x="451" y="47"/>
                  </a:lnTo>
                  <a:lnTo>
                    <a:pt x="455" y="48"/>
                  </a:lnTo>
                  <a:lnTo>
                    <a:pt x="456" y="48"/>
                  </a:lnTo>
                  <a:lnTo>
                    <a:pt x="457" y="48"/>
                  </a:lnTo>
                  <a:lnTo>
                    <a:pt x="457" y="49"/>
                  </a:lnTo>
                  <a:lnTo>
                    <a:pt x="457" y="52"/>
                  </a:lnTo>
                  <a:lnTo>
                    <a:pt x="458" y="52"/>
                  </a:lnTo>
                  <a:lnTo>
                    <a:pt x="458" y="51"/>
                  </a:lnTo>
                  <a:lnTo>
                    <a:pt x="462" y="51"/>
                  </a:lnTo>
                  <a:lnTo>
                    <a:pt x="462" y="49"/>
                  </a:lnTo>
                  <a:lnTo>
                    <a:pt x="461" y="48"/>
                  </a:lnTo>
                  <a:lnTo>
                    <a:pt x="461" y="47"/>
                  </a:lnTo>
                  <a:lnTo>
                    <a:pt x="462" y="47"/>
                  </a:lnTo>
                  <a:lnTo>
                    <a:pt x="463" y="46"/>
                  </a:lnTo>
                  <a:lnTo>
                    <a:pt x="462" y="46"/>
                  </a:lnTo>
                  <a:lnTo>
                    <a:pt x="461" y="45"/>
                  </a:lnTo>
                  <a:lnTo>
                    <a:pt x="460" y="45"/>
                  </a:lnTo>
                  <a:lnTo>
                    <a:pt x="460" y="43"/>
                  </a:lnTo>
                  <a:lnTo>
                    <a:pt x="461" y="40"/>
                  </a:lnTo>
                  <a:lnTo>
                    <a:pt x="461" y="39"/>
                  </a:lnTo>
                  <a:lnTo>
                    <a:pt x="462" y="39"/>
                  </a:lnTo>
                  <a:lnTo>
                    <a:pt x="463" y="39"/>
                  </a:lnTo>
                  <a:lnTo>
                    <a:pt x="463" y="40"/>
                  </a:lnTo>
                  <a:lnTo>
                    <a:pt x="464" y="41"/>
                  </a:lnTo>
                  <a:lnTo>
                    <a:pt x="466" y="42"/>
                  </a:lnTo>
                  <a:lnTo>
                    <a:pt x="467" y="42"/>
                  </a:lnTo>
                  <a:lnTo>
                    <a:pt x="468" y="43"/>
                  </a:lnTo>
                  <a:lnTo>
                    <a:pt x="468" y="42"/>
                  </a:lnTo>
                  <a:lnTo>
                    <a:pt x="468" y="41"/>
                  </a:lnTo>
                  <a:lnTo>
                    <a:pt x="469" y="41"/>
                  </a:lnTo>
                  <a:lnTo>
                    <a:pt x="469" y="40"/>
                  </a:lnTo>
                  <a:lnTo>
                    <a:pt x="469" y="39"/>
                  </a:lnTo>
                  <a:lnTo>
                    <a:pt x="470" y="39"/>
                  </a:lnTo>
                  <a:lnTo>
                    <a:pt x="470" y="37"/>
                  </a:lnTo>
                  <a:lnTo>
                    <a:pt x="470" y="35"/>
                  </a:lnTo>
                  <a:lnTo>
                    <a:pt x="472" y="35"/>
                  </a:lnTo>
                  <a:lnTo>
                    <a:pt x="472" y="34"/>
                  </a:lnTo>
                  <a:lnTo>
                    <a:pt x="473" y="34"/>
                  </a:lnTo>
                  <a:lnTo>
                    <a:pt x="474" y="34"/>
                  </a:lnTo>
                  <a:lnTo>
                    <a:pt x="474" y="33"/>
                  </a:lnTo>
                  <a:lnTo>
                    <a:pt x="475" y="31"/>
                  </a:lnTo>
                  <a:lnTo>
                    <a:pt x="475" y="30"/>
                  </a:lnTo>
                  <a:lnTo>
                    <a:pt x="474" y="30"/>
                  </a:lnTo>
                  <a:lnTo>
                    <a:pt x="474" y="29"/>
                  </a:lnTo>
                  <a:lnTo>
                    <a:pt x="474" y="30"/>
                  </a:lnTo>
                  <a:lnTo>
                    <a:pt x="473" y="29"/>
                  </a:lnTo>
                  <a:lnTo>
                    <a:pt x="470" y="28"/>
                  </a:lnTo>
                  <a:lnTo>
                    <a:pt x="470" y="25"/>
                  </a:lnTo>
                  <a:lnTo>
                    <a:pt x="472" y="25"/>
                  </a:lnTo>
                  <a:lnTo>
                    <a:pt x="473" y="24"/>
                  </a:lnTo>
                  <a:lnTo>
                    <a:pt x="474" y="24"/>
                  </a:lnTo>
                  <a:lnTo>
                    <a:pt x="475" y="25"/>
                  </a:lnTo>
                  <a:lnTo>
                    <a:pt x="476" y="24"/>
                  </a:lnTo>
                  <a:lnTo>
                    <a:pt x="476" y="23"/>
                  </a:lnTo>
                  <a:lnTo>
                    <a:pt x="476" y="22"/>
                  </a:lnTo>
                  <a:lnTo>
                    <a:pt x="476" y="19"/>
                  </a:lnTo>
                  <a:lnTo>
                    <a:pt x="476" y="18"/>
                  </a:lnTo>
                  <a:lnTo>
                    <a:pt x="476" y="17"/>
                  </a:lnTo>
                  <a:lnTo>
                    <a:pt x="476" y="15"/>
                  </a:lnTo>
                  <a:lnTo>
                    <a:pt x="479" y="15"/>
                  </a:lnTo>
                  <a:lnTo>
                    <a:pt x="480" y="15"/>
                  </a:lnTo>
                  <a:lnTo>
                    <a:pt x="480" y="13"/>
                  </a:lnTo>
                  <a:lnTo>
                    <a:pt x="481" y="12"/>
                  </a:lnTo>
                  <a:lnTo>
                    <a:pt x="481" y="11"/>
                  </a:lnTo>
                  <a:lnTo>
                    <a:pt x="482" y="10"/>
                  </a:lnTo>
                  <a:lnTo>
                    <a:pt x="482" y="9"/>
                  </a:lnTo>
                  <a:lnTo>
                    <a:pt x="484" y="10"/>
                  </a:lnTo>
                  <a:lnTo>
                    <a:pt x="485" y="11"/>
                  </a:lnTo>
                  <a:lnTo>
                    <a:pt x="486" y="11"/>
                  </a:lnTo>
                  <a:lnTo>
                    <a:pt x="487" y="12"/>
                  </a:lnTo>
                  <a:lnTo>
                    <a:pt x="486" y="13"/>
                  </a:lnTo>
                  <a:lnTo>
                    <a:pt x="486" y="15"/>
                  </a:lnTo>
                  <a:lnTo>
                    <a:pt x="486" y="17"/>
                  </a:lnTo>
                  <a:lnTo>
                    <a:pt x="486" y="18"/>
                  </a:lnTo>
                  <a:lnTo>
                    <a:pt x="486" y="19"/>
                  </a:lnTo>
                  <a:lnTo>
                    <a:pt x="486" y="22"/>
                  </a:lnTo>
                  <a:lnTo>
                    <a:pt x="486" y="24"/>
                  </a:lnTo>
                  <a:lnTo>
                    <a:pt x="486" y="25"/>
                  </a:lnTo>
                  <a:lnTo>
                    <a:pt x="486" y="24"/>
                  </a:lnTo>
                  <a:lnTo>
                    <a:pt x="487" y="24"/>
                  </a:lnTo>
                  <a:lnTo>
                    <a:pt x="488" y="24"/>
                  </a:lnTo>
                  <a:lnTo>
                    <a:pt x="490" y="23"/>
                  </a:lnTo>
                  <a:lnTo>
                    <a:pt x="488" y="23"/>
                  </a:lnTo>
                  <a:lnTo>
                    <a:pt x="490" y="23"/>
                  </a:lnTo>
                  <a:lnTo>
                    <a:pt x="491" y="24"/>
                  </a:lnTo>
                  <a:lnTo>
                    <a:pt x="492" y="25"/>
                  </a:lnTo>
                  <a:lnTo>
                    <a:pt x="492" y="27"/>
                  </a:lnTo>
                  <a:lnTo>
                    <a:pt x="491" y="27"/>
                  </a:lnTo>
                  <a:lnTo>
                    <a:pt x="491" y="28"/>
                  </a:lnTo>
                  <a:lnTo>
                    <a:pt x="490" y="28"/>
                  </a:lnTo>
                  <a:lnTo>
                    <a:pt x="488" y="29"/>
                  </a:lnTo>
                  <a:lnTo>
                    <a:pt x="487" y="29"/>
                  </a:lnTo>
                  <a:lnTo>
                    <a:pt x="487" y="30"/>
                  </a:lnTo>
                  <a:lnTo>
                    <a:pt x="486" y="30"/>
                  </a:lnTo>
                  <a:lnTo>
                    <a:pt x="485" y="31"/>
                  </a:lnTo>
                  <a:lnTo>
                    <a:pt x="484" y="31"/>
                  </a:lnTo>
                  <a:lnTo>
                    <a:pt x="484" y="33"/>
                  </a:lnTo>
                  <a:lnTo>
                    <a:pt x="482" y="34"/>
                  </a:lnTo>
                  <a:lnTo>
                    <a:pt x="481" y="35"/>
                  </a:lnTo>
                  <a:lnTo>
                    <a:pt x="480" y="35"/>
                  </a:lnTo>
                  <a:lnTo>
                    <a:pt x="480" y="36"/>
                  </a:lnTo>
                  <a:lnTo>
                    <a:pt x="481" y="36"/>
                  </a:lnTo>
                  <a:lnTo>
                    <a:pt x="481" y="37"/>
                  </a:lnTo>
                  <a:lnTo>
                    <a:pt x="481" y="39"/>
                  </a:lnTo>
                  <a:lnTo>
                    <a:pt x="481" y="40"/>
                  </a:lnTo>
                  <a:lnTo>
                    <a:pt x="481" y="41"/>
                  </a:lnTo>
                  <a:lnTo>
                    <a:pt x="481" y="42"/>
                  </a:lnTo>
                  <a:lnTo>
                    <a:pt x="480" y="42"/>
                  </a:lnTo>
                  <a:lnTo>
                    <a:pt x="480" y="43"/>
                  </a:lnTo>
                  <a:lnTo>
                    <a:pt x="480" y="45"/>
                  </a:lnTo>
                  <a:lnTo>
                    <a:pt x="481" y="46"/>
                  </a:lnTo>
                  <a:lnTo>
                    <a:pt x="482" y="46"/>
                  </a:lnTo>
                  <a:lnTo>
                    <a:pt x="482" y="45"/>
                  </a:lnTo>
                  <a:lnTo>
                    <a:pt x="482" y="43"/>
                  </a:lnTo>
                  <a:lnTo>
                    <a:pt x="484" y="43"/>
                  </a:lnTo>
                  <a:lnTo>
                    <a:pt x="485" y="43"/>
                  </a:lnTo>
                  <a:lnTo>
                    <a:pt x="486" y="42"/>
                  </a:lnTo>
                  <a:lnTo>
                    <a:pt x="487" y="42"/>
                  </a:lnTo>
                  <a:lnTo>
                    <a:pt x="487" y="43"/>
                  </a:lnTo>
                  <a:lnTo>
                    <a:pt x="488" y="43"/>
                  </a:lnTo>
                  <a:lnTo>
                    <a:pt x="490" y="45"/>
                  </a:lnTo>
                  <a:lnTo>
                    <a:pt x="490" y="46"/>
                  </a:lnTo>
                  <a:lnTo>
                    <a:pt x="491" y="46"/>
                  </a:lnTo>
                  <a:lnTo>
                    <a:pt x="492" y="46"/>
                  </a:lnTo>
                  <a:lnTo>
                    <a:pt x="492" y="45"/>
                  </a:lnTo>
                  <a:lnTo>
                    <a:pt x="492" y="43"/>
                  </a:lnTo>
                  <a:lnTo>
                    <a:pt x="492" y="42"/>
                  </a:lnTo>
                  <a:lnTo>
                    <a:pt x="493" y="41"/>
                  </a:lnTo>
                  <a:lnTo>
                    <a:pt x="494" y="41"/>
                  </a:lnTo>
                  <a:lnTo>
                    <a:pt x="494" y="40"/>
                  </a:lnTo>
                  <a:lnTo>
                    <a:pt x="496" y="39"/>
                  </a:lnTo>
                  <a:lnTo>
                    <a:pt x="496" y="36"/>
                  </a:lnTo>
                  <a:lnTo>
                    <a:pt x="496" y="34"/>
                  </a:lnTo>
                  <a:lnTo>
                    <a:pt x="494" y="33"/>
                  </a:lnTo>
                  <a:lnTo>
                    <a:pt x="494" y="31"/>
                  </a:lnTo>
                  <a:lnTo>
                    <a:pt x="494" y="30"/>
                  </a:lnTo>
                  <a:lnTo>
                    <a:pt x="493" y="29"/>
                  </a:lnTo>
                  <a:lnTo>
                    <a:pt x="494" y="29"/>
                  </a:lnTo>
                  <a:lnTo>
                    <a:pt x="496" y="28"/>
                  </a:lnTo>
                  <a:lnTo>
                    <a:pt x="497" y="28"/>
                  </a:lnTo>
                  <a:lnTo>
                    <a:pt x="497" y="27"/>
                  </a:lnTo>
                  <a:lnTo>
                    <a:pt x="498" y="25"/>
                  </a:lnTo>
                  <a:lnTo>
                    <a:pt x="498" y="23"/>
                  </a:lnTo>
                  <a:lnTo>
                    <a:pt x="498" y="22"/>
                  </a:lnTo>
                  <a:lnTo>
                    <a:pt x="502" y="22"/>
                  </a:lnTo>
                  <a:lnTo>
                    <a:pt x="502" y="23"/>
                  </a:lnTo>
                  <a:lnTo>
                    <a:pt x="502" y="25"/>
                  </a:lnTo>
                  <a:lnTo>
                    <a:pt x="501" y="25"/>
                  </a:lnTo>
                  <a:lnTo>
                    <a:pt x="501" y="27"/>
                  </a:lnTo>
                  <a:lnTo>
                    <a:pt x="502" y="27"/>
                  </a:lnTo>
                  <a:lnTo>
                    <a:pt x="502" y="29"/>
                  </a:lnTo>
                  <a:lnTo>
                    <a:pt x="503" y="29"/>
                  </a:lnTo>
                  <a:lnTo>
                    <a:pt x="504" y="29"/>
                  </a:lnTo>
                  <a:lnTo>
                    <a:pt x="503" y="28"/>
                  </a:lnTo>
                  <a:lnTo>
                    <a:pt x="503" y="27"/>
                  </a:lnTo>
                  <a:lnTo>
                    <a:pt x="504" y="27"/>
                  </a:lnTo>
                  <a:lnTo>
                    <a:pt x="505" y="25"/>
                  </a:lnTo>
                  <a:lnTo>
                    <a:pt x="505" y="24"/>
                  </a:lnTo>
                  <a:lnTo>
                    <a:pt x="505" y="23"/>
                  </a:lnTo>
                  <a:lnTo>
                    <a:pt x="505" y="22"/>
                  </a:lnTo>
                  <a:lnTo>
                    <a:pt x="507" y="21"/>
                  </a:lnTo>
                  <a:lnTo>
                    <a:pt x="507" y="19"/>
                  </a:lnTo>
                  <a:lnTo>
                    <a:pt x="507" y="18"/>
                  </a:lnTo>
                  <a:lnTo>
                    <a:pt x="508" y="18"/>
                  </a:lnTo>
                  <a:lnTo>
                    <a:pt x="509" y="18"/>
                  </a:lnTo>
                  <a:lnTo>
                    <a:pt x="509" y="19"/>
                  </a:lnTo>
                  <a:lnTo>
                    <a:pt x="510" y="19"/>
                  </a:lnTo>
                  <a:lnTo>
                    <a:pt x="510" y="18"/>
                  </a:lnTo>
                  <a:lnTo>
                    <a:pt x="511" y="17"/>
                  </a:lnTo>
                  <a:lnTo>
                    <a:pt x="510" y="16"/>
                  </a:lnTo>
                  <a:lnTo>
                    <a:pt x="511" y="15"/>
                  </a:lnTo>
                  <a:lnTo>
                    <a:pt x="513" y="13"/>
                  </a:lnTo>
                  <a:lnTo>
                    <a:pt x="513" y="15"/>
                  </a:lnTo>
                  <a:lnTo>
                    <a:pt x="515" y="15"/>
                  </a:lnTo>
                  <a:lnTo>
                    <a:pt x="516" y="15"/>
                  </a:lnTo>
                  <a:lnTo>
                    <a:pt x="516" y="16"/>
                  </a:lnTo>
                  <a:lnTo>
                    <a:pt x="516" y="17"/>
                  </a:lnTo>
                  <a:lnTo>
                    <a:pt x="515" y="18"/>
                  </a:lnTo>
                  <a:lnTo>
                    <a:pt x="515" y="21"/>
                  </a:lnTo>
                  <a:lnTo>
                    <a:pt x="515" y="23"/>
                  </a:lnTo>
                  <a:lnTo>
                    <a:pt x="516" y="23"/>
                  </a:lnTo>
                  <a:lnTo>
                    <a:pt x="516" y="24"/>
                  </a:lnTo>
                  <a:lnTo>
                    <a:pt x="516" y="27"/>
                  </a:lnTo>
                  <a:lnTo>
                    <a:pt x="516" y="28"/>
                  </a:lnTo>
                  <a:lnTo>
                    <a:pt x="515" y="28"/>
                  </a:lnTo>
                  <a:lnTo>
                    <a:pt x="515" y="29"/>
                  </a:lnTo>
                  <a:lnTo>
                    <a:pt x="514" y="30"/>
                  </a:lnTo>
                  <a:lnTo>
                    <a:pt x="513" y="33"/>
                  </a:lnTo>
                  <a:lnTo>
                    <a:pt x="511" y="33"/>
                  </a:lnTo>
                  <a:lnTo>
                    <a:pt x="511" y="34"/>
                  </a:lnTo>
                  <a:lnTo>
                    <a:pt x="509" y="34"/>
                  </a:lnTo>
                  <a:lnTo>
                    <a:pt x="509" y="35"/>
                  </a:lnTo>
                  <a:lnTo>
                    <a:pt x="508" y="36"/>
                  </a:lnTo>
                  <a:lnTo>
                    <a:pt x="505" y="37"/>
                  </a:lnTo>
                  <a:lnTo>
                    <a:pt x="507" y="37"/>
                  </a:lnTo>
                  <a:lnTo>
                    <a:pt x="508" y="37"/>
                  </a:lnTo>
                  <a:lnTo>
                    <a:pt x="508" y="39"/>
                  </a:lnTo>
                  <a:lnTo>
                    <a:pt x="509" y="37"/>
                  </a:lnTo>
                  <a:lnTo>
                    <a:pt x="509" y="39"/>
                  </a:lnTo>
                  <a:lnTo>
                    <a:pt x="510" y="40"/>
                  </a:lnTo>
                  <a:lnTo>
                    <a:pt x="511" y="39"/>
                  </a:lnTo>
                  <a:lnTo>
                    <a:pt x="513" y="37"/>
                  </a:lnTo>
                  <a:lnTo>
                    <a:pt x="514" y="37"/>
                  </a:lnTo>
                  <a:lnTo>
                    <a:pt x="515" y="39"/>
                  </a:lnTo>
                  <a:lnTo>
                    <a:pt x="515" y="41"/>
                  </a:lnTo>
                  <a:lnTo>
                    <a:pt x="516" y="42"/>
                  </a:lnTo>
                  <a:lnTo>
                    <a:pt x="517" y="43"/>
                  </a:lnTo>
                  <a:lnTo>
                    <a:pt x="517" y="46"/>
                  </a:lnTo>
                  <a:lnTo>
                    <a:pt x="517" y="45"/>
                  </a:lnTo>
                  <a:lnTo>
                    <a:pt x="519" y="45"/>
                  </a:lnTo>
                  <a:lnTo>
                    <a:pt x="520" y="43"/>
                  </a:lnTo>
                  <a:lnTo>
                    <a:pt x="520" y="41"/>
                  </a:lnTo>
                  <a:lnTo>
                    <a:pt x="519" y="41"/>
                  </a:lnTo>
                  <a:lnTo>
                    <a:pt x="520" y="39"/>
                  </a:lnTo>
                  <a:lnTo>
                    <a:pt x="521" y="37"/>
                  </a:lnTo>
                  <a:lnTo>
                    <a:pt x="522" y="37"/>
                  </a:lnTo>
                  <a:lnTo>
                    <a:pt x="523" y="40"/>
                  </a:lnTo>
                  <a:lnTo>
                    <a:pt x="523" y="39"/>
                  </a:lnTo>
                  <a:lnTo>
                    <a:pt x="525" y="39"/>
                  </a:lnTo>
                  <a:lnTo>
                    <a:pt x="525" y="37"/>
                  </a:lnTo>
                  <a:lnTo>
                    <a:pt x="526" y="37"/>
                  </a:lnTo>
                  <a:lnTo>
                    <a:pt x="526" y="36"/>
                  </a:lnTo>
                  <a:lnTo>
                    <a:pt x="527" y="36"/>
                  </a:lnTo>
                  <a:lnTo>
                    <a:pt x="528" y="35"/>
                  </a:lnTo>
                  <a:lnTo>
                    <a:pt x="529" y="34"/>
                  </a:lnTo>
                  <a:lnTo>
                    <a:pt x="531" y="34"/>
                  </a:lnTo>
                  <a:lnTo>
                    <a:pt x="531" y="33"/>
                  </a:lnTo>
                  <a:lnTo>
                    <a:pt x="533" y="35"/>
                  </a:lnTo>
                  <a:lnTo>
                    <a:pt x="534" y="37"/>
                  </a:lnTo>
                  <a:lnTo>
                    <a:pt x="533" y="39"/>
                  </a:lnTo>
                  <a:lnTo>
                    <a:pt x="532" y="40"/>
                  </a:lnTo>
                  <a:lnTo>
                    <a:pt x="531" y="41"/>
                  </a:lnTo>
                  <a:lnTo>
                    <a:pt x="529" y="42"/>
                  </a:lnTo>
                  <a:lnTo>
                    <a:pt x="528" y="46"/>
                  </a:lnTo>
                  <a:lnTo>
                    <a:pt x="528" y="49"/>
                  </a:lnTo>
                  <a:lnTo>
                    <a:pt x="527" y="49"/>
                  </a:lnTo>
                  <a:lnTo>
                    <a:pt x="526" y="49"/>
                  </a:lnTo>
                  <a:lnTo>
                    <a:pt x="526" y="51"/>
                  </a:lnTo>
                  <a:lnTo>
                    <a:pt x="525" y="60"/>
                  </a:lnTo>
                  <a:lnTo>
                    <a:pt x="525" y="62"/>
                  </a:lnTo>
                  <a:lnTo>
                    <a:pt x="525" y="63"/>
                  </a:lnTo>
                  <a:lnTo>
                    <a:pt x="526" y="63"/>
                  </a:lnTo>
                  <a:lnTo>
                    <a:pt x="526" y="64"/>
                  </a:lnTo>
                  <a:lnTo>
                    <a:pt x="527" y="63"/>
                  </a:lnTo>
                  <a:lnTo>
                    <a:pt x="528" y="63"/>
                  </a:lnTo>
                  <a:lnTo>
                    <a:pt x="529" y="63"/>
                  </a:lnTo>
                  <a:lnTo>
                    <a:pt x="528" y="65"/>
                  </a:lnTo>
                  <a:lnTo>
                    <a:pt x="528" y="66"/>
                  </a:lnTo>
                  <a:lnTo>
                    <a:pt x="527" y="66"/>
                  </a:lnTo>
                  <a:lnTo>
                    <a:pt x="527" y="68"/>
                  </a:lnTo>
                  <a:lnTo>
                    <a:pt x="527" y="69"/>
                  </a:lnTo>
                  <a:lnTo>
                    <a:pt x="526" y="69"/>
                  </a:lnTo>
                  <a:lnTo>
                    <a:pt x="525" y="70"/>
                  </a:lnTo>
                  <a:lnTo>
                    <a:pt x="526" y="71"/>
                  </a:lnTo>
                  <a:lnTo>
                    <a:pt x="526" y="72"/>
                  </a:lnTo>
                  <a:lnTo>
                    <a:pt x="527" y="72"/>
                  </a:lnTo>
                  <a:lnTo>
                    <a:pt x="526" y="75"/>
                  </a:lnTo>
                  <a:lnTo>
                    <a:pt x="527" y="76"/>
                  </a:lnTo>
                  <a:lnTo>
                    <a:pt x="528" y="77"/>
                  </a:lnTo>
                  <a:lnTo>
                    <a:pt x="531" y="77"/>
                  </a:lnTo>
                  <a:lnTo>
                    <a:pt x="532" y="76"/>
                  </a:lnTo>
                  <a:lnTo>
                    <a:pt x="533" y="75"/>
                  </a:lnTo>
                  <a:lnTo>
                    <a:pt x="533" y="74"/>
                  </a:lnTo>
                  <a:lnTo>
                    <a:pt x="534" y="74"/>
                  </a:lnTo>
                  <a:lnTo>
                    <a:pt x="534" y="71"/>
                  </a:lnTo>
                  <a:lnTo>
                    <a:pt x="533" y="70"/>
                  </a:lnTo>
                  <a:lnTo>
                    <a:pt x="534" y="70"/>
                  </a:lnTo>
                  <a:lnTo>
                    <a:pt x="537" y="70"/>
                  </a:lnTo>
                  <a:lnTo>
                    <a:pt x="537" y="69"/>
                  </a:lnTo>
                  <a:lnTo>
                    <a:pt x="535" y="68"/>
                  </a:lnTo>
                  <a:lnTo>
                    <a:pt x="535" y="66"/>
                  </a:lnTo>
                  <a:lnTo>
                    <a:pt x="534" y="63"/>
                  </a:lnTo>
                  <a:lnTo>
                    <a:pt x="534" y="60"/>
                  </a:lnTo>
                  <a:lnTo>
                    <a:pt x="535" y="60"/>
                  </a:lnTo>
                  <a:lnTo>
                    <a:pt x="535" y="59"/>
                  </a:lnTo>
                  <a:lnTo>
                    <a:pt x="535" y="58"/>
                  </a:lnTo>
                  <a:lnTo>
                    <a:pt x="534" y="57"/>
                  </a:lnTo>
                  <a:lnTo>
                    <a:pt x="535" y="55"/>
                  </a:lnTo>
                  <a:lnTo>
                    <a:pt x="535" y="54"/>
                  </a:lnTo>
                  <a:lnTo>
                    <a:pt x="537" y="54"/>
                  </a:lnTo>
                  <a:lnTo>
                    <a:pt x="538" y="54"/>
                  </a:lnTo>
                  <a:lnTo>
                    <a:pt x="539" y="54"/>
                  </a:lnTo>
                  <a:lnTo>
                    <a:pt x="539" y="53"/>
                  </a:lnTo>
                  <a:lnTo>
                    <a:pt x="540" y="52"/>
                  </a:lnTo>
                  <a:lnTo>
                    <a:pt x="540" y="49"/>
                  </a:lnTo>
                  <a:lnTo>
                    <a:pt x="543" y="48"/>
                  </a:lnTo>
                  <a:lnTo>
                    <a:pt x="543" y="49"/>
                  </a:lnTo>
                  <a:lnTo>
                    <a:pt x="545" y="49"/>
                  </a:lnTo>
                  <a:lnTo>
                    <a:pt x="546" y="51"/>
                  </a:lnTo>
                  <a:lnTo>
                    <a:pt x="545" y="52"/>
                  </a:lnTo>
                  <a:lnTo>
                    <a:pt x="545" y="55"/>
                  </a:lnTo>
                  <a:lnTo>
                    <a:pt x="544" y="57"/>
                  </a:lnTo>
                  <a:lnTo>
                    <a:pt x="543" y="59"/>
                  </a:lnTo>
                  <a:lnTo>
                    <a:pt x="544" y="59"/>
                  </a:lnTo>
                  <a:lnTo>
                    <a:pt x="544" y="60"/>
                  </a:lnTo>
                  <a:lnTo>
                    <a:pt x="544" y="62"/>
                  </a:lnTo>
                  <a:lnTo>
                    <a:pt x="545" y="62"/>
                  </a:lnTo>
                  <a:lnTo>
                    <a:pt x="546" y="62"/>
                  </a:lnTo>
                  <a:lnTo>
                    <a:pt x="546" y="60"/>
                  </a:lnTo>
                  <a:lnTo>
                    <a:pt x="547" y="60"/>
                  </a:lnTo>
                  <a:lnTo>
                    <a:pt x="547" y="62"/>
                  </a:lnTo>
                  <a:lnTo>
                    <a:pt x="549" y="63"/>
                  </a:lnTo>
                  <a:lnTo>
                    <a:pt x="549" y="64"/>
                  </a:lnTo>
                  <a:lnTo>
                    <a:pt x="547" y="64"/>
                  </a:lnTo>
                  <a:lnTo>
                    <a:pt x="546" y="65"/>
                  </a:lnTo>
                  <a:lnTo>
                    <a:pt x="545" y="65"/>
                  </a:lnTo>
                  <a:lnTo>
                    <a:pt x="544" y="66"/>
                  </a:lnTo>
                  <a:lnTo>
                    <a:pt x="544" y="68"/>
                  </a:lnTo>
                  <a:lnTo>
                    <a:pt x="543" y="69"/>
                  </a:lnTo>
                  <a:lnTo>
                    <a:pt x="541" y="69"/>
                  </a:lnTo>
                  <a:lnTo>
                    <a:pt x="540" y="70"/>
                  </a:lnTo>
                  <a:lnTo>
                    <a:pt x="540" y="71"/>
                  </a:lnTo>
                  <a:lnTo>
                    <a:pt x="540" y="72"/>
                  </a:lnTo>
                  <a:lnTo>
                    <a:pt x="541" y="71"/>
                  </a:lnTo>
                  <a:lnTo>
                    <a:pt x="541" y="72"/>
                  </a:lnTo>
                  <a:lnTo>
                    <a:pt x="540" y="72"/>
                  </a:lnTo>
                  <a:lnTo>
                    <a:pt x="541" y="74"/>
                  </a:lnTo>
                  <a:lnTo>
                    <a:pt x="543" y="74"/>
                  </a:lnTo>
                  <a:lnTo>
                    <a:pt x="543" y="75"/>
                  </a:lnTo>
                  <a:lnTo>
                    <a:pt x="543" y="76"/>
                  </a:lnTo>
                  <a:lnTo>
                    <a:pt x="544" y="76"/>
                  </a:lnTo>
                  <a:lnTo>
                    <a:pt x="545" y="75"/>
                  </a:lnTo>
                  <a:lnTo>
                    <a:pt x="546" y="76"/>
                  </a:lnTo>
                  <a:lnTo>
                    <a:pt x="546" y="75"/>
                  </a:lnTo>
                  <a:lnTo>
                    <a:pt x="547" y="75"/>
                  </a:lnTo>
                  <a:lnTo>
                    <a:pt x="547" y="74"/>
                  </a:lnTo>
                  <a:lnTo>
                    <a:pt x="547" y="72"/>
                  </a:lnTo>
                  <a:lnTo>
                    <a:pt x="549" y="72"/>
                  </a:lnTo>
                  <a:lnTo>
                    <a:pt x="549" y="66"/>
                  </a:lnTo>
                  <a:lnTo>
                    <a:pt x="549" y="65"/>
                  </a:lnTo>
                  <a:lnTo>
                    <a:pt x="551" y="65"/>
                  </a:lnTo>
                  <a:lnTo>
                    <a:pt x="551" y="66"/>
                  </a:lnTo>
                  <a:lnTo>
                    <a:pt x="552" y="66"/>
                  </a:lnTo>
                  <a:lnTo>
                    <a:pt x="552" y="65"/>
                  </a:lnTo>
                  <a:lnTo>
                    <a:pt x="553" y="65"/>
                  </a:lnTo>
                  <a:lnTo>
                    <a:pt x="553" y="66"/>
                  </a:lnTo>
                  <a:lnTo>
                    <a:pt x="555" y="65"/>
                  </a:lnTo>
                  <a:lnTo>
                    <a:pt x="556" y="65"/>
                  </a:lnTo>
                  <a:lnTo>
                    <a:pt x="556" y="66"/>
                  </a:lnTo>
                  <a:lnTo>
                    <a:pt x="557" y="68"/>
                  </a:lnTo>
                  <a:lnTo>
                    <a:pt x="558" y="68"/>
                  </a:lnTo>
                  <a:lnTo>
                    <a:pt x="558" y="66"/>
                  </a:lnTo>
                  <a:lnTo>
                    <a:pt x="558" y="65"/>
                  </a:lnTo>
                  <a:lnTo>
                    <a:pt x="557" y="65"/>
                  </a:lnTo>
                  <a:lnTo>
                    <a:pt x="555" y="65"/>
                  </a:lnTo>
                  <a:lnTo>
                    <a:pt x="555" y="64"/>
                  </a:lnTo>
                  <a:lnTo>
                    <a:pt x="553" y="64"/>
                  </a:lnTo>
                  <a:lnTo>
                    <a:pt x="553" y="63"/>
                  </a:lnTo>
                  <a:lnTo>
                    <a:pt x="553" y="62"/>
                  </a:lnTo>
                  <a:lnTo>
                    <a:pt x="553" y="60"/>
                  </a:lnTo>
                  <a:lnTo>
                    <a:pt x="552" y="60"/>
                  </a:lnTo>
                  <a:lnTo>
                    <a:pt x="551" y="59"/>
                  </a:lnTo>
                  <a:lnTo>
                    <a:pt x="551" y="58"/>
                  </a:lnTo>
                  <a:lnTo>
                    <a:pt x="552" y="57"/>
                  </a:lnTo>
                  <a:lnTo>
                    <a:pt x="553" y="55"/>
                  </a:lnTo>
                  <a:lnTo>
                    <a:pt x="553" y="54"/>
                  </a:lnTo>
                  <a:lnTo>
                    <a:pt x="553" y="53"/>
                  </a:lnTo>
                  <a:lnTo>
                    <a:pt x="553" y="52"/>
                  </a:lnTo>
                  <a:lnTo>
                    <a:pt x="556" y="51"/>
                  </a:lnTo>
                  <a:lnTo>
                    <a:pt x="557" y="51"/>
                  </a:lnTo>
                  <a:lnTo>
                    <a:pt x="558" y="51"/>
                  </a:lnTo>
                  <a:lnTo>
                    <a:pt x="558" y="52"/>
                  </a:lnTo>
                  <a:lnTo>
                    <a:pt x="558" y="53"/>
                  </a:lnTo>
                  <a:lnTo>
                    <a:pt x="560" y="53"/>
                  </a:lnTo>
                  <a:lnTo>
                    <a:pt x="560" y="52"/>
                  </a:lnTo>
                  <a:lnTo>
                    <a:pt x="560" y="51"/>
                  </a:lnTo>
                  <a:lnTo>
                    <a:pt x="561" y="51"/>
                  </a:lnTo>
                  <a:lnTo>
                    <a:pt x="561" y="49"/>
                  </a:lnTo>
                  <a:lnTo>
                    <a:pt x="561" y="48"/>
                  </a:lnTo>
                  <a:lnTo>
                    <a:pt x="561" y="47"/>
                  </a:lnTo>
                  <a:lnTo>
                    <a:pt x="561" y="46"/>
                  </a:lnTo>
                  <a:lnTo>
                    <a:pt x="562" y="45"/>
                  </a:lnTo>
                  <a:lnTo>
                    <a:pt x="563" y="43"/>
                  </a:lnTo>
                  <a:lnTo>
                    <a:pt x="564" y="43"/>
                  </a:lnTo>
                  <a:lnTo>
                    <a:pt x="566" y="42"/>
                  </a:lnTo>
                  <a:lnTo>
                    <a:pt x="566" y="40"/>
                  </a:lnTo>
                  <a:lnTo>
                    <a:pt x="566" y="39"/>
                  </a:lnTo>
                  <a:lnTo>
                    <a:pt x="567" y="37"/>
                  </a:lnTo>
                  <a:lnTo>
                    <a:pt x="568" y="37"/>
                  </a:lnTo>
                  <a:lnTo>
                    <a:pt x="569" y="37"/>
                  </a:lnTo>
                  <a:lnTo>
                    <a:pt x="569" y="39"/>
                  </a:lnTo>
                  <a:lnTo>
                    <a:pt x="569" y="40"/>
                  </a:lnTo>
                  <a:lnTo>
                    <a:pt x="570" y="39"/>
                  </a:lnTo>
                  <a:lnTo>
                    <a:pt x="572" y="39"/>
                  </a:lnTo>
                  <a:lnTo>
                    <a:pt x="572" y="40"/>
                  </a:lnTo>
                  <a:lnTo>
                    <a:pt x="573" y="41"/>
                  </a:lnTo>
                  <a:lnTo>
                    <a:pt x="573" y="42"/>
                  </a:lnTo>
                  <a:lnTo>
                    <a:pt x="573" y="43"/>
                  </a:lnTo>
                  <a:lnTo>
                    <a:pt x="573" y="45"/>
                  </a:lnTo>
                  <a:lnTo>
                    <a:pt x="573" y="48"/>
                  </a:lnTo>
                  <a:lnTo>
                    <a:pt x="574" y="48"/>
                  </a:lnTo>
                  <a:lnTo>
                    <a:pt x="574" y="49"/>
                  </a:lnTo>
                  <a:lnTo>
                    <a:pt x="574" y="51"/>
                  </a:lnTo>
                  <a:lnTo>
                    <a:pt x="574" y="52"/>
                  </a:lnTo>
                  <a:lnTo>
                    <a:pt x="574" y="53"/>
                  </a:lnTo>
                  <a:lnTo>
                    <a:pt x="574" y="54"/>
                  </a:lnTo>
                  <a:lnTo>
                    <a:pt x="573" y="54"/>
                  </a:lnTo>
                  <a:lnTo>
                    <a:pt x="572" y="55"/>
                  </a:lnTo>
                  <a:lnTo>
                    <a:pt x="570" y="57"/>
                  </a:lnTo>
                  <a:lnTo>
                    <a:pt x="572" y="57"/>
                  </a:lnTo>
                  <a:lnTo>
                    <a:pt x="573" y="57"/>
                  </a:lnTo>
                  <a:lnTo>
                    <a:pt x="573" y="58"/>
                  </a:lnTo>
                  <a:lnTo>
                    <a:pt x="574" y="58"/>
                  </a:lnTo>
                  <a:lnTo>
                    <a:pt x="574" y="59"/>
                  </a:lnTo>
                  <a:lnTo>
                    <a:pt x="575" y="59"/>
                  </a:lnTo>
                  <a:lnTo>
                    <a:pt x="575" y="60"/>
                  </a:lnTo>
                  <a:lnTo>
                    <a:pt x="576" y="60"/>
                  </a:lnTo>
                  <a:lnTo>
                    <a:pt x="576" y="63"/>
                  </a:lnTo>
                  <a:lnTo>
                    <a:pt x="575" y="64"/>
                  </a:lnTo>
                  <a:lnTo>
                    <a:pt x="575" y="65"/>
                  </a:lnTo>
                  <a:lnTo>
                    <a:pt x="574" y="66"/>
                  </a:lnTo>
                  <a:lnTo>
                    <a:pt x="574" y="69"/>
                  </a:lnTo>
                  <a:lnTo>
                    <a:pt x="573" y="68"/>
                  </a:lnTo>
                  <a:lnTo>
                    <a:pt x="572" y="68"/>
                  </a:lnTo>
                  <a:lnTo>
                    <a:pt x="573" y="70"/>
                  </a:lnTo>
                  <a:lnTo>
                    <a:pt x="572" y="70"/>
                  </a:lnTo>
                  <a:lnTo>
                    <a:pt x="570" y="69"/>
                  </a:lnTo>
                  <a:lnTo>
                    <a:pt x="570" y="70"/>
                  </a:lnTo>
                  <a:lnTo>
                    <a:pt x="570" y="72"/>
                  </a:lnTo>
                  <a:lnTo>
                    <a:pt x="572" y="72"/>
                  </a:lnTo>
                  <a:lnTo>
                    <a:pt x="574" y="71"/>
                  </a:lnTo>
                  <a:lnTo>
                    <a:pt x="575" y="70"/>
                  </a:lnTo>
                  <a:lnTo>
                    <a:pt x="575" y="69"/>
                  </a:lnTo>
                  <a:lnTo>
                    <a:pt x="576" y="68"/>
                  </a:lnTo>
                  <a:lnTo>
                    <a:pt x="578" y="68"/>
                  </a:lnTo>
                  <a:lnTo>
                    <a:pt x="578" y="66"/>
                  </a:lnTo>
                  <a:lnTo>
                    <a:pt x="578" y="65"/>
                  </a:lnTo>
                  <a:lnTo>
                    <a:pt x="578" y="63"/>
                  </a:lnTo>
                  <a:lnTo>
                    <a:pt x="579" y="63"/>
                  </a:lnTo>
                  <a:lnTo>
                    <a:pt x="580" y="63"/>
                  </a:lnTo>
                  <a:lnTo>
                    <a:pt x="581" y="63"/>
                  </a:lnTo>
                  <a:lnTo>
                    <a:pt x="582" y="63"/>
                  </a:lnTo>
                  <a:lnTo>
                    <a:pt x="582" y="60"/>
                  </a:lnTo>
                  <a:lnTo>
                    <a:pt x="582" y="62"/>
                  </a:lnTo>
                  <a:lnTo>
                    <a:pt x="584" y="60"/>
                  </a:lnTo>
                  <a:lnTo>
                    <a:pt x="584" y="58"/>
                  </a:lnTo>
                  <a:lnTo>
                    <a:pt x="582" y="57"/>
                  </a:lnTo>
                  <a:lnTo>
                    <a:pt x="581" y="57"/>
                  </a:lnTo>
                  <a:lnTo>
                    <a:pt x="581" y="55"/>
                  </a:lnTo>
                  <a:lnTo>
                    <a:pt x="581" y="54"/>
                  </a:lnTo>
                  <a:lnTo>
                    <a:pt x="581" y="53"/>
                  </a:lnTo>
                  <a:lnTo>
                    <a:pt x="582" y="53"/>
                  </a:lnTo>
                  <a:lnTo>
                    <a:pt x="582" y="52"/>
                  </a:lnTo>
                  <a:lnTo>
                    <a:pt x="584" y="51"/>
                  </a:lnTo>
                  <a:lnTo>
                    <a:pt x="582" y="49"/>
                  </a:lnTo>
                  <a:lnTo>
                    <a:pt x="584" y="48"/>
                  </a:lnTo>
                  <a:lnTo>
                    <a:pt x="584" y="47"/>
                  </a:lnTo>
                  <a:lnTo>
                    <a:pt x="584" y="46"/>
                  </a:lnTo>
                  <a:lnTo>
                    <a:pt x="585" y="47"/>
                  </a:lnTo>
                  <a:lnTo>
                    <a:pt x="586" y="46"/>
                  </a:lnTo>
                  <a:lnTo>
                    <a:pt x="587" y="46"/>
                  </a:lnTo>
                  <a:lnTo>
                    <a:pt x="587" y="45"/>
                  </a:lnTo>
                  <a:lnTo>
                    <a:pt x="588" y="45"/>
                  </a:lnTo>
                  <a:lnTo>
                    <a:pt x="592" y="45"/>
                  </a:lnTo>
                  <a:lnTo>
                    <a:pt x="593" y="45"/>
                  </a:lnTo>
                  <a:lnTo>
                    <a:pt x="593" y="43"/>
                  </a:lnTo>
                  <a:lnTo>
                    <a:pt x="594" y="43"/>
                  </a:lnTo>
                  <a:lnTo>
                    <a:pt x="594" y="41"/>
                  </a:lnTo>
                  <a:lnTo>
                    <a:pt x="598" y="41"/>
                  </a:lnTo>
                  <a:lnTo>
                    <a:pt x="598" y="40"/>
                  </a:lnTo>
                  <a:lnTo>
                    <a:pt x="599" y="39"/>
                  </a:lnTo>
                  <a:lnTo>
                    <a:pt x="599" y="37"/>
                  </a:lnTo>
                  <a:lnTo>
                    <a:pt x="599" y="36"/>
                  </a:lnTo>
                  <a:lnTo>
                    <a:pt x="600" y="36"/>
                  </a:lnTo>
                  <a:lnTo>
                    <a:pt x="600" y="35"/>
                  </a:lnTo>
                  <a:lnTo>
                    <a:pt x="602" y="35"/>
                  </a:lnTo>
                  <a:lnTo>
                    <a:pt x="603" y="34"/>
                  </a:lnTo>
                  <a:lnTo>
                    <a:pt x="603" y="35"/>
                  </a:lnTo>
                  <a:lnTo>
                    <a:pt x="605" y="35"/>
                  </a:lnTo>
                  <a:lnTo>
                    <a:pt x="606" y="36"/>
                  </a:lnTo>
                  <a:lnTo>
                    <a:pt x="606" y="40"/>
                  </a:lnTo>
                  <a:lnTo>
                    <a:pt x="606" y="41"/>
                  </a:lnTo>
                  <a:lnTo>
                    <a:pt x="605" y="42"/>
                  </a:lnTo>
                  <a:lnTo>
                    <a:pt x="606" y="42"/>
                  </a:lnTo>
                  <a:lnTo>
                    <a:pt x="606" y="43"/>
                  </a:lnTo>
                  <a:lnTo>
                    <a:pt x="608" y="45"/>
                  </a:lnTo>
                  <a:lnTo>
                    <a:pt x="609" y="46"/>
                  </a:lnTo>
                  <a:lnTo>
                    <a:pt x="610" y="46"/>
                  </a:lnTo>
                  <a:lnTo>
                    <a:pt x="610" y="47"/>
                  </a:lnTo>
                  <a:lnTo>
                    <a:pt x="611" y="49"/>
                  </a:lnTo>
                  <a:lnTo>
                    <a:pt x="610" y="51"/>
                  </a:lnTo>
                  <a:lnTo>
                    <a:pt x="609" y="52"/>
                  </a:lnTo>
                  <a:lnTo>
                    <a:pt x="609" y="53"/>
                  </a:lnTo>
                  <a:lnTo>
                    <a:pt x="610" y="53"/>
                  </a:lnTo>
                  <a:lnTo>
                    <a:pt x="612" y="53"/>
                  </a:lnTo>
                  <a:lnTo>
                    <a:pt x="612" y="54"/>
                  </a:lnTo>
                  <a:lnTo>
                    <a:pt x="611" y="55"/>
                  </a:lnTo>
                  <a:lnTo>
                    <a:pt x="612" y="55"/>
                  </a:lnTo>
                  <a:lnTo>
                    <a:pt x="614" y="55"/>
                  </a:lnTo>
                  <a:lnTo>
                    <a:pt x="614" y="54"/>
                  </a:lnTo>
                  <a:lnTo>
                    <a:pt x="616" y="53"/>
                  </a:lnTo>
                  <a:lnTo>
                    <a:pt x="617" y="53"/>
                  </a:lnTo>
                  <a:lnTo>
                    <a:pt x="617" y="52"/>
                  </a:lnTo>
                  <a:lnTo>
                    <a:pt x="619" y="52"/>
                  </a:lnTo>
                  <a:lnTo>
                    <a:pt x="619" y="51"/>
                  </a:lnTo>
                  <a:lnTo>
                    <a:pt x="621" y="51"/>
                  </a:lnTo>
                  <a:lnTo>
                    <a:pt x="621" y="52"/>
                  </a:lnTo>
                  <a:lnTo>
                    <a:pt x="622" y="53"/>
                  </a:lnTo>
                  <a:lnTo>
                    <a:pt x="622" y="54"/>
                  </a:lnTo>
                  <a:lnTo>
                    <a:pt x="623" y="53"/>
                  </a:lnTo>
                  <a:lnTo>
                    <a:pt x="623" y="54"/>
                  </a:lnTo>
                  <a:lnTo>
                    <a:pt x="625" y="55"/>
                  </a:lnTo>
                  <a:lnTo>
                    <a:pt x="626" y="55"/>
                  </a:lnTo>
                  <a:lnTo>
                    <a:pt x="626" y="57"/>
                  </a:lnTo>
                  <a:lnTo>
                    <a:pt x="627" y="58"/>
                  </a:lnTo>
                  <a:lnTo>
                    <a:pt x="626" y="58"/>
                  </a:lnTo>
                  <a:lnTo>
                    <a:pt x="626" y="59"/>
                  </a:lnTo>
                  <a:lnTo>
                    <a:pt x="626" y="60"/>
                  </a:lnTo>
                  <a:lnTo>
                    <a:pt x="625" y="60"/>
                  </a:lnTo>
                  <a:lnTo>
                    <a:pt x="625" y="62"/>
                  </a:lnTo>
                  <a:lnTo>
                    <a:pt x="625" y="63"/>
                  </a:lnTo>
                  <a:lnTo>
                    <a:pt x="623" y="63"/>
                  </a:lnTo>
                  <a:lnTo>
                    <a:pt x="623" y="64"/>
                  </a:lnTo>
                  <a:lnTo>
                    <a:pt x="622" y="65"/>
                  </a:lnTo>
                  <a:lnTo>
                    <a:pt x="622" y="66"/>
                  </a:lnTo>
                  <a:lnTo>
                    <a:pt x="621" y="68"/>
                  </a:lnTo>
                  <a:lnTo>
                    <a:pt x="621" y="70"/>
                  </a:lnTo>
                  <a:lnTo>
                    <a:pt x="620" y="70"/>
                  </a:lnTo>
                  <a:lnTo>
                    <a:pt x="620" y="71"/>
                  </a:lnTo>
                  <a:lnTo>
                    <a:pt x="619" y="72"/>
                  </a:lnTo>
                  <a:lnTo>
                    <a:pt x="617" y="72"/>
                  </a:lnTo>
                  <a:lnTo>
                    <a:pt x="616" y="72"/>
                  </a:lnTo>
                  <a:lnTo>
                    <a:pt x="615" y="72"/>
                  </a:lnTo>
                  <a:lnTo>
                    <a:pt x="615" y="74"/>
                  </a:lnTo>
                  <a:lnTo>
                    <a:pt x="614" y="74"/>
                  </a:lnTo>
                  <a:lnTo>
                    <a:pt x="614" y="75"/>
                  </a:lnTo>
                  <a:lnTo>
                    <a:pt x="612" y="75"/>
                  </a:lnTo>
                  <a:lnTo>
                    <a:pt x="611" y="75"/>
                  </a:lnTo>
                  <a:lnTo>
                    <a:pt x="610" y="75"/>
                  </a:lnTo>
                  <a:lnTo>
                    <a:pt x="608" y="75"/>
                  </a:lnTo>
                  <a:lnTo>
                    <a:pt x="606" y="74"/>
                  </a:lnTo>
                  <a:lnTo>
                    <a:pt x="605" y="76"/>
                  </a:lnTo>
                  <a:lnTo>
                    <a:pt x="605" y="77"/>
                  </a:lnTo>
                  <a:lnTo>
                    <a:pt x="604" y="78"/>
                  </a:lnTo>
                  <a:lnTo>
                    <a:pt x="603" y="80"/>
                  </a:lnTo>
                  <a:lnTo>
                    <a:pt x="602" y="82"/>
                  </a:lnTo>
                  <a:lnTo>
                    <a:pt x="603" y="84"/>
                  </a:lnTo>
                  <a:lnTo>
                    <a:pt x="604" y="84"/>
                  </a:lnTo>
                  <a:lnTo>
                    <a:pt x="605" y="86"/>
                  </a:lnTo>
                  <a:lnTo>
                    <a:pt x="606" y="86"/>
                  </a:lnTo>
                  <a:lnTo>
                    <a:pt x="606" y="84"/>
                  </a:lnTo>
                  <a:lnTo>
                    <a:pt x="608" y="83"/>
                  </a:lnTo>
                  <a:lnTo>
                    <a:pt x="609" y="83"/>
                  </a:lnTo>
                  <a:lnTo>
                    <a:pt x="610" y="83"/>
                  </a:lnTo>
                  <a:lnTo>
                    <a:pt x="612" y="83"/>
                  </a:lnTo>
                  <a:lnTo>
                    <a:pt x="614" y="83"/>
                  </a:lnTo>
                  <a:lnTo>
                    <a:pt x="616" y="83"/>
                  </a:lnTo>
                  <a:lnTo>
                    <a:pt x="616" y="82"/>
                  </a:lnTo>
                  <a:lnTo>
                    <a:pt x="617" y="82"/>
                  </a:lnTo>
                  <a:lnTo>
                    <a:pt x="620" y="82"/>
                  </a:lnTo>
                  <a:lnTo>
                    <a:pt x="620" y="81"/>
                  </a:lnTo>
                  <a:lnTo>
                    <a:pt x="620" y="78"/>
                  </a:lnTo>
                  <a:lnTo>
                    <a:pt x="620" y="76"/>
                  </a:lnTo>
                  <a:lnTo>
                    <a:pt x="621" y="75"/>
                  </a:lnTo>
                  <a:lnTo>
                    <a:pt x="625" y="75"/>
                  </a:lnTo>
                  <a:lnTo>
                    <a:pt x="626" y="75"/>
                  </a:lnTo>
                  <a:lnTo>
                    <a:pt x="627" y="74"/>
                  </a:lnTo>
                  <a:lnTo>
                    <a:pt x="628" y="74"/>
                  </a:lnTo>
                  <a:lnTo>
                    <a:pt x="628" y="71"/>
                  </a:lnTo>
                  <a:lnTo>
                    <a:pt x="628" y="70"/>
                  </a:lnTo>
                  <a:lnTo>
                    <a:pt x="629" y="70"/>
                  </a:lnTo>
                  <a:lnTo>
                    <a:pt x="631" y="70"/>
                  </a:lnTo>
                  <a:lnTo>
                    <a:pt x="631" y="69"/>
                  </a:lnTo>
                  <a:lnTo>
                    <a:pt x="632" y="69"/>
                  </a:lnTo>
                  <a:lnTo>
                    <a:pt x="633" y="69"/>
                  </a:lnTo>
                  <a:lnTo>
                    <a:pt x="633" y="70"/>
                  </a:lnTo>
                  <a:lnTo>
                    <a:pt x="634" y="70"/>
                  </a:lnTo>
                  <a:lnTo>
                    <a:pt x="634" y="71"/>
                  </a:lnTo>
                  <a:lnTo>
                    <a:pt x="637" y="71"/>
                  </a:lnTo>
                  <a:lnTo>
                    <a:pt x="638" y="70"/>
                  </a:lnTo>
                  <a:lnTo>
                    <a:pt x="638" y="69"/>
                  </a:lnTo>
                  <a:lnTo>
                    <a:pt x="639" y="69"/>
                  </a:lnTo>
                  <a:lnTo>
                    <a:pt x="639" y="68"/>
                  </a:lnTo>
                  <a:lnTo>
                    <a:pt x="640" y="68"/>
                  </a:lnTo>
                  <a:lnTo>
                    <a:pt x="641" y="69"/>
                  </a:lnTo>
                  <a:lnTo>
                    <a:pt x="641" y="70"/>
                  </a:lnTo>
                  <a:lnTo>
                    <a:pt x="643" y="70"/>
                  </a:lnTo>
                  <a:lnTo>
                    <a:pt x="643" y="71"/>
                  </a:lnTo>
                  <a:lnTo>
                    <a:pt x="643" y="72"/>
                  </a:lnTo>
                  <a:lnTo>
                    <a:pt x="644" y="72"/>
                  </a:lnTo>
                  <a:lnTo>
                    <a:pt x="644" y="74"/>
                  </a:lnTo>
                  <a:lnTo>
                    <a:pt x="645" y="76"/>
                  </a:lnTo>
                  <a:lnTo>
                    <a:pt x="644" y="80"/>
                  </a:lnTo>
                  <a:lnTo>
                    <a:pt x="645" y="80"/>
                  </a:lnTo>
                  <a:lnTo>
                    <a:pt x="645" y="81"/>
                  </a:lnTo>
                  <a:lnTo>
                    <a:pt x="646" y="80"/>
                  </a:lnTo>
                  <a:lnTo>
                    <a:pt x="647" y="80"/>
                  </a:lnTo>
                  <a:lnTo>
                    <a:pt x="647" y="78"/>
                  </a:lnTo>
                  <a:lnTo>
                    <a:pt x="649" y="78"/>
                  </a:lnTo>
                  <a:lnTo>
                    <a:pt x="650" y="77"/>
                  </a:lnTo>
                  <a:lnTo>
                    <a:pt x="651" y="76"/>
                  </a:lnTo>
                  <a:lnTo>
                    <a:pt x="651" y="75"/>
                  </a:lnTo>
                  <a:lnTo>
                    <a:pt x="651" y="74"/>
                  </a:lnTo>
                  <a:lnTo>
                    <a:pt x="652" y="74"/>
                  </a:lnTo>
                  <a:lnTo>
                    <a:pt x="652" y="72"/>
                  </a:lnTo>
                  <a:lnTo>
                    <a:pt x="653" y="72"/>
                  </a:lnTo>
                  <a:lnTo>
                    <a:pt x="655" y="74"/>
                  </a:lnTo>
                  <a:lnTo>
                    <a:pt x="656" y="75"/>
                  </a:lnTo>
                  <a:lnTo>
                    <a:pt x="657" y="76"/>
                  </a:lnTo>
                  <a:lnTo>
                    <a:pt x="656" y="76"/>
                  </a:lnTo>
                  <a:lnTo>
                    <a:pt x="656" y="77"/>
                  </a:lnTo>
                  <a:lnTo>
                    <a:pt x="655" y="77"/>
                  </a:lnTo>
                  <a:lnTo>
                    <a:pt x="655" y="80"/>
                  </a:lnTo>
                  <a:lnTo>
                    <a:pt x="655" y="81"/>
                  </a:lnTo>
                  <a:lnTo>
                    <a:pt x="655" y="82"/>
                  </a:lnTo>
                  <a:lnTo>
                    <a:pt x="655" y="83"/>
                  </a:lnTo>
                  <a:lnTo>
                    <a:pt x="653" y="84"/>
                  </a:lnTo>
                  <a:lnTo>
                    <a:pt x="653" y="86"/>
                  </a:lnTo>
                  <a:lnTo>
                    <a:pt x="656" y="87"/>
                  </a:lnTo>
                  <a:lnTo>
                    <a:pt x="656" y="88"/>
                  </a:lnTo>
                  <a:lnTo>
                    <a:pt x="657" y="88"/>
                  </a:lnTo>
                  <a:lnTo>
                    <a:pt x="657" y="92"/>
                  </a:lnTo>
                  <a:lnTo>
                    <a:pt x="656" y="94"/>
                  </a:lnTo>
                  <a:lnTo>
                    <a:pt x="655" y="95"/>
                  </a:lnTo>
                  <a:lnTo>
                    <a:pt x="653" y="95"/>
                  </a:lnTo>
                  <a:lnTo>
                    <a:pt x="652" y="96"/>
                  </a:lnTo>
                  <a:lnTo>
                    <a:pt x="651" y="96"/>
                  </a:lnTo>
                  <a:lnTo>
                    <a:pt x="651" y="98"/>
                  </a:lnTo>
                  <a:lnTo>
                    <a:pt x="650" y="99"/>
                  </a:lnTo>
                  <a:lnTo>
                    <a:pt x="650" y="100"/>
                  </a:lnTo>
                  <a:lnTo>
                    <a:pt x="651" y="100"/>
                  </a:lnTo>
                  <a:lnTo>
                    <a:pt x="652" y="100"/>
                  </a:lnTo>
                  <a:lnTo>
                    <a:pt x="652" y="102"/>
                  </a:lnTo>
                  <a:lnTo>
                    <a:pt x="652" y="106"/>
                  </a:lnTo>
                  <a:lnTo>
                    <a:pt x="649" y="106"/>
                  </a:lnTo>
                  <a:lnTo>
                    <a:pt x="647" y="107"/>
                  </a:lnTo>
                  <a:lnTo>
                    <a:pt x="649" y="108"/>
                  </a:lnTo>
                  <a:lnTo>
                    <a:pt x="646" y="108"/>
                  </a:lnTo>
                  <a:lnTo>
                    <a:pt x="645" y="107"/>
                  </a:lnTo>
                  <a:lnTo>
                    <a:pt x="645" y="108"/>
                  </a:lnTo>
                  <a:lnTo>
                    <a:pt x="644" y="110"/>
                  </a:lnTo>
                  <a:lnTo>
                    <a:pt x="644" y="111"/>
                  </a:lnTo>
                  <a:lnTo>
                    <a:pt x="643" y="111"/>
                  </a:lnTo>
                  <a:lnTo>
                    <a:pt x="640" y="111"/>
                  </a:lnTo>
                  <a:lnTo>
                    <a:pt x="639" y="111"/>
                  </a:lnTo>
                  <a:lnTo>
                    <a:pt x="639" y="114"/>
                  </a:lnTo>
                  <a:lnTo>
                    <a:pt x="640" y="114"/>
                  </a:lnTo>
                  <a:lnTo>
                    <a:pt x="640" y="113"/>
                  </a:lnTo>
                  <a:lnTo>
                    <a:pt x="641" y="113"/>
                  </a:lnTo>
                  <a:lnTo>
                    <a:pt x="643" y="113"/>
                  </a:lnTo>
                  <a:lnTo>
                    <a:pt x="641" y="112"/>
                  </a:lnTo>
                  <a:lnTo>
                    <a:pt x="643" y="112"/>
                  </a:lnTo>
                  <a:lnTo>
                    <a:pt x="644" y="111"/>
                  </a:lnTo>
                  <a:lnTo>
                    <a:pt x="645" y="112"/>
                  </a:lnTo>
                  <a:lnTo>
                    <a:pt x="646" y="112"/>
                  </a:lnTo>
                  <a:lnTo>
                    <a:pt x="647" y="112"/>
                  </a:lnTo>
                  <a:lnTo>
                    <a:pt x="649" y="111"/>
                  </a:lnTo>
                  <a:lnTo>
                    <a:pt x="649" y="112"/>
                  </a:lnTo>
                  <a:lnTo>
                    <a:pt x="650" y="112"/>
                  </a:lnTo>
                  <a:lnTo>
                    <a:pt x="650" y="116"/>
                  </a:lnTo>
                  <a:lnTo>
                    <a:pt x="649" y="117"/>
                  </a:lnTo>
                  <a:lnTo>
                    <a:pt x="647" y="117"/>
                  </a:lnTo>
                  <a:lnTo>
                    <a:pt x="647" y="118"/>
                  </a:lnTo>
                  <a:lnTo>
                    <a:pt x="646" y="119"/>
                  </a:lnTo>
                  <a:lnTo>
                    <a:pt x="645" y="119"/>
                  </a:lnTo>
                  <a:lnTo>
                    <a:pt x="645" y="120"/>
                  </a:lnTo>
                  <a:lnTo>
                    <a:pt x="644" y="120"/>
                  </a:lnTo>
                  <a:lnTo>
                    <a:pt x="644" y="122"/>
                  </a:lnTo>
                  <a:lnTo>
                    <a:pt x="643" y="122"/>
                  </a:lnTo>
                  <a:lnTo>
                    <a:pt x="643" y="123"/>
                  </a:lnTo>
                  <a:lnTo>
                    <a:pt x="641" y="122"/>
                  </a:lnTo>
                  <a:lnTo>
                    <a:pt x="638" y="122"/>
                  </a:lnTo>
                  <a:lnTo>
                    <a:pt x="638" y="123"/>
                  </a:lnTo>
                  <a:lnTo>
                    <a:pt x="637" y="124"/>
                  </a:lnTo>
                  <a:lnTo>
                    <a:pt x="633" y="124"/>
                  </a:lnTo>
                  <a:lnTo>
                    <a:pt x="632" y="123"/>
                  </a:lnTo>
                  <a:lnTo>
                    <a:pt x="631" y="123"/>
                  </a:lnTo>
                  <a:lnTo>
                    <a:pt x="629" y="122"/>
                  </a:lnTo>
                  <a:lnTo>
                    <a:pt x="629" y="120"/>
                  </a:lnTo>
                  <a:lnTo>
                    <a:pt x="629" y="119"/>
                  </a:lnTo>
                  <a:lnTo>
                    <a:pt x="628" y="120"/>
                  </a:lnTo>
                  <a:lnTo>
                    <a:pt x="628" y="119"/>
                  </a:lnTo>
                  <a:lnTo>
                    <a:pt x="627" y="120"/>
                  </a:lnTo>
                  <a:lnTo>
                    <a:pt x="628" y="120"/>
                  </a:lnTo>
                  <a:lnTo>
                    <a:pt x="628" y="123"/>
                  </a:lnTo>
                  <a:lnTo>
                    <a:pt x="628" y="124"/>
                  </a:lnTo>
                  <a:lnTo>
                    <a:pt x="627" y="124"/>
                  </a:lnTo>
                  <a:lnTo>
                    <a:pt x="626" y="124"/>
                  </a:lnTo>
                  <a:lnTo>
                    <a:pt x="625" y="124"/>
                  </a:lnTo>
                  <a:lnTo>
                    <a:pt x="622" y="125"/>
                  </a:lnTo>
                  <a:lnTo>
                    <a:pt x="621" y="125"/>
                  </a:lnTo>
                  <a:lnTo>
                    <a:pt x="620" y="125"/>
                  </a:lnTo>
                  <a:lnTo>
                    <a:pt x="620" y="124"/>
                  </a:lnTo>
                  <a:lnTo>
                    <a:pt x="619" y="123"/>
                  </a:lnTo>
                  <a:lnTo>
                    <a:pt x="619" y="120"/>
                  </a:lnTo>
                  <a:lnTo>
                    <a:pt x="620" y="118"/>
                  </a:lnTo>
                  <a:lnTo>
                    <a:pt x="617" y="117"/>
                  </a:lnTo>
                  <a:lnTo>
                    <a:pt x="616" y="119"/>
                  </a:lnTo>
                  <a:lnTo>
                    <a:pt x="615" y="119"/>
                  </a:lnTo>
                  <a:lnTo>
                    <a:pt x="614" y="120"/>
                  </a:lnTo>
                  <a:lnTo>
                    <a:pt x="614" y="122"/>
                  </a:lnTo>
                  <a:lnTo>
                    <a:pt x="612" y="123"/>
                  </a:lnTo>
                  <a:lnTo>
                    <a:pt x="610" y="123"/>
                  </a:lnTo>
                  <a:lnTo>
                    <a:pt x="609" y="124"/>
                  </a:lnTo>
                  <a:lnTo>
                    <a:pt x="609" y="125"/>
                  </a:lnTo>
                  <a:lnTo>
                    <a:pt x="610" y="125"/>
                  </a:lnTo>
                  <a:lnTo>
                    <a:pt x="610" y="126"/>
                  </a:lnTo>
                  <a:lnTo>
                    <a:pt x="611" y="128"/>
                  </a:lnTo>
                  <a:lnTo>
                    <a:pt x="608" y="126"/>
                  </a:lnTo>
                  <a:lnTo>
                    <a:pt x="610" y="128"/>
                  </a:lnTo>
                  <a:lnTo>
                    <a:pt x="610" y="129"/>
                  </a:lnTo>
                  <a:lnTo>
                    <a:pt x="611" y="129"/>
                  </a:lnTo>
                  <a:lnTo>
                    <a:pt x="612" y="131"/>
                  </a:lnTo>
                  <a:lnTo>
                    <a:pt x="614" y="132"/>
                  </a:lnTo>
                  <a:lnTo>
                    <a:pt x="615" y="131"/>
                  </a:lnTo>
                  <a:lnTo>
                    <a:pt x="616" y="131"/>
                  </a:lnTo>
                  <a:lnTo>
                    <a:pt x="617" y="134"/>
                  </a:lnTo>
                  <a:lnTo>
                    <a:pt x="620" y="134"/>
                  </a:lnTo>
                  <a:lnTo>
                    <a:pt x="622" y="132"/>
                  </a:lnTo>
                  <a:lnTo>
                    <a:pt x="623" y="134"/>
                  </a:lnTo>
                  <a:lnTo>
                    <a:pt x="625" y="134"/>
                  </a:lnTo>
                  <a:lnTo>
                    <a:pt x="625" y="136"/>
                  </a:lnTo>
                  <a:lnTo>
                    <a:pt x="625" y="137"/>
                  </a:lnTo>
                  <a:lnTo>
                    <a:pt x="623" y="137"/>
                  </a:lnTo>
                  <a:lnTo>
                    <a:pt x="622" y="138"/>
                  </a:lnTo>
                  <a:lnTo>
                    <a:pt x="622" y="140"/>
                  </a:lnTo>
                  <a:lnTo>
                    <a:pt x="621" y="140"/>
                  </a:lnTo>
                  <a:lnTo>
                    <a:pt x="620" y="140"/>
                  </a:lnTo>
                  <a:lnTo>
                    <a:pt x="620" y="141"/>
                  </a:lnTo>
                  <a:lnTo>
                    <a:pt x="617" y="141"/>
                  </a:lnTo>
                  <a:lnTo>
                    <a:pt x="616" y="140"/>
                  </a:lnTo>
                  <a:lnTo>
                    <a:pt x="616" y="138"/>
                  </a:lnTo>
                  <a:lnTo>
                    <a:pt x="615" y="137"/>
                  </a:lnTo>
                  <a:lnTo>
                    <a:pt x="616" y="137"/>
                  </a:lnTo>
                  <a:lnTo>
                    <a:pt x="615" y="136"/>
                  </a:lnTo>
                  <a:lnTo>
                    <a:pt x="615" y="135"/>
                  </a:lnTo>
                  <a:lnTo>
                    <a:pt x="614" y="134"/>
                  </a:lnTo>
                  <a:lnTo>
                    <a:pt x="612" y="132"/>
                  </a:lnTo>
                  <a:lnTo>
                    <a:pt x="611" y="131"/>
                  </a:lnTo>
                  <a:lnTo>
                    <a:pt x="610" y="130"/>
                  </a:lnTo>
                  <a:lnTo>
                    <a:pt x="609" y="129"/>
                  </a:lnTo>
                  <a:lnTo>
                    <a:pt x="608" y="132"/>
                  </a:lnTo>
                  <a:lnTo>
                    <a:pt x="611" y="132"/>
                  </a:lnTo>
                  <a:lnTo>
                    <a:pt x="611" y="134"/>
                  </a:lnTo>
                  <a:lnTo>
                    <a:pt x="611" y="135"/>
                  </a:lnTo>
                  <a:lnTo>
                    <a:pt x="610" y="135"/>
                  </a:lnTo>
                  <a:lnTo>
                    <a:pt x="610" y="136"/>
                  </a:lnTo>
                  <a:lnTo>
                    <a:pt x="609" y="136"/>
                  </a:lnTo>
                  <a:lnTo>
                    <a:pt x="608" y="137"/>
                  </a:lnTo>
                  <a:lnTo>
                    <a:pt x="608" y="138"/>
                  </a:lnTo>
                  <a:lnTo>
                    <a:pt x="606" y="140"/>
                  </a:lnTo>
                  <a:lnTo>
                    <a:pt x="608" y="141"/>
                  </a:lnTo>
                  <a:lnTo>
                    <a:pt x="609" y="141"/>
                  </a:lnTo>
                  <a:lnTo>
                    <a:pt x="610" y="141"/>
                  </a:lnTo>
                  <a:lnTo>
                    <a:pt x="611" y="141"/>
                  </a:lnTo>
                  <a:lnTo>
                    <a:pt x="612" y="141"/>
                  </a:lnTo>
                  <a:lnTo>
                    <a:pt x="614" y="140"/>
                  </a:lnTo>
                  <a:lnTo>
                    <a:pt x="615" y="141"/>
                  </a:lnTo>
                  <a:lnTo>
                    <a:pt x="615" y="142"/>
                  </a:lnTo>
                  <a:lnTo>
                    <a:pt x="616" y="144"/>
                  </a:lnTo>
                  <a:lnTo>
                    <a:pt x="616" y="146"/>
                  </a:lnTo>
                  <a:lnTo>
                    <a:pt x="616" y="147"/>
                  </a:lnTo>
                  <a:lnTo>
                    <a:pt x="617" y="148"/>
                  </a:lnTo>
                  <a:lnTo>
                    <a:pt x="619" y="148"/>
                  </a:lnTo>
                  <a:lnTo>
                    <a:pt x="620" y="148"/>
                  </a:lnTo>
                  <a:lnTo>
                    <a:pt x="621" y="148"/>
                  </a:lnTo>
                  <a:lnTo>
                    <a:pt x="621" y="146"/>
                  </a:lnTo>
                  <a:lnTo>
                    <a:pt x="622" y="146"/>
                  </a:lnTo>
                  <a:lnTo>
                    <a:pt x="623" y="144"/>
                  </a:lnTo>
                  <a:lnTo>
                    <a:pt x="625" y="144"/>
                  </a:lnTo>
                  <a:lnTo>
                    <a:pt x="626" y="144"/>
                  </a:lnTo>
                  <a:lnTo>
                    <a:pt x="627" y="146"/>
                  </a:lnTo>
                  <a:lnTo>
                    <a:pt x="627" y="148"/>
                  </a:lnTo>
                  <a:lnTo>
                    <a:pt x="627" y="149"/>
                  </a:lnTo>
                  <a:lnTo>
                    <a:pt x="628" y="149"/>
                  </a:lnTo>
                  <a:lnTo>
                    <a:pt x="629" y="149"/>
                  </a:lnTo>
                  <a:lnTo>
                    <a:pt x="631" y="149"/>
                  </a:lnTo>
                  <a:lnTo>
                    <a:pt x="631" y="148"/>
                  </a:lnTo>
                  <a:lnTo>
                    <a:pt x="632" y="148"/>
                  </a:lnTo>
                  <a:lnTo>
                    <a:pt x="632" y="149"/>
                  </a:lnTo>
                  <a:lnTo>
                    <a:pt x="633" y="149"/>
                  </a:lnTo>
                  <a:lnTo>
                    <a:pt x="633" y="152"/>
                  </a:lnTo>
                  <a:lnTo>
                    <a:pt x="635" y="153"/>
                  </a:lnTo>
                  <a:lnTo>
                    <a:pt x="637" y="153"/>
                  </a:lnTo>
                  <a:lnTo>
                    <a:pt x="638" y="153"/>
                  </a:lnTo>
                  <a:lnTo>
                    <a:pt x="639" y="153"/>
                  </a:lnTo>
                  <a:lnTo>
                    <a:pt x="640" y="153"/>
                  </a:lnTo>
                  <a:lnTo>
                    <a:pt x="640" y="154"/>
                  </a:lnTo>
                  <a:lnTo>
                    <a:pt x="641" y="153"/>
                  </a:lnTo>
                  <a:lnTo>
                    <a:pt x="644" y="153"/>
                  </a:lnTo>
                  <a:lnTo>
                    <a:pt x="645" y="153"/>
                  </a:lnTo>
                  <a:lnTo>
                    <a:pt x="645" y="154"/>
                  </a:lnTo>
                  <a:lnTo>
                    <a:pt x="646" y="155"/>
                  </a:lnTo>
                  <a:lnTo>
                    <a:pt x="649" y="155"/>
                  </a:lnTo>
                  <a:lnTo>
                    <a:pt x="649" y="154"/>
                  </a:lnTo>
                  <a:lnTo>
                    <a:pt x="651" y="154"/>
                  </a:lnTo>
                  <a:lnTo>
                    <a:pt x="651" y="155"/>
                  </a:lnTo>
                  <a:lnTo>
                    <a:pt x="651" y="156"/>
                  </a:lnTo>
                  <a:lnTo>
                    <a:pt x="652" y="156"/>
                  </a:lnTo>
                  <a:lnTo>
                    <a:pt x="652" y="158"/>
                  </a:lnTo>
                  <a:lnTo>
                    <a:pt x="652" y="159"/>
                  </a:lnTo>
                  <a:lnTo>
                    <a:pt x="652" y="165"/>
                  </a:lnTo>
                  <a:lnTo>
                    <a:pt x="652" y="169"/>
                  </a:lnTo>
                  <a:lnTo>
                    <a:pt x="653" y="170"/>
                  </a:lnTo>
                  <a:lnTo>
                    <a:pt x="656" y="170"/>
                  </a:lnTo>
                  <a:lnTo>
                    <a:pt x="656" y="169"/>
                  </a:lnTo>
                  <a:lnTo>
                    <a:pt x="657" y="169"/>
                  </a:lnTo>
                  <a:lnTo>
                    <a:pt x="657" y="167"/>
                  </a:lnTo>
                  <a:lnTo>
                    <a:pt x="657" y="166"/>
                  </a:lnTo>
                  <a:lnTo>
                    <a:pt x="656" y="166"/>
                  </a:lnTo>
                  <a:lnTo>
                    <a:pt x="657" y="165"/>
                  </a:lnTo>
                  <a:lnTo>
                    <a:pt x="657" y="164"/>
                  </a:lnTo>
                  <a:lnTo>
                    <a:pt x="658" y="164"/>
                  </a:lnTo>
                  <a:lnTo>
                    <a:pt x="658" y="161"/>
                  </a:lnTo>
                  <a:lnTo>
                    <a:pt x="659" y="160"/>
                  </a:lnTo>
                  <a:lnTo>
                    <a:pt x="661" y="159"/>
                  </a:lnTo>
                  <a:lnTo>
                    <a:pt x="663" y="159"/>
                  </a:lnTo>
                  <a:lnTo>
                    <a:pt x="663" y="160"/>
                  </a:lnTo>
                  <a:lnTo>
                    <a:pt x="663" y="161"/>
                  </a:lnTo>
                  <a:lnTo>
                    <a:pt x="664" y="162"/>
                  </a:lnTo>
                  <a:lnTo>
                    <a:pt x="665" y="164"/>
                  </a:lnTo>
                  <a:lnTo>
                    <a:pt x="667" y="165"/>
                  </a:lnTo>
                  <a:lnTo>
                    <a:pt x="668" y="164"/>
                  </a:lnTo>
                  <a:lnTo>
                    <a:pt x="669" y="162"/>
                  </a:lnTo>
                  <a:lnTo>
                    <a:pt x="670" y="160"/>
                  </a:lnTo>
                  <a:lnTo>
                    <a:pt x="669" y="159"/>
                  </a:lnTo>
                  <a:lnTo>
                    <a:pt x="669" y="158"/>
                  </a:lnTo>
                  <a:lnTo>
                    <a:pt x="670" y="156"/>
                  </a:lnTo>
                  <a:lnTo>
                    <a:pt x="673" y="156"/>
                  </a:lnTo>
                  <a:lnTo>
                    <a:pt x="673" y="158"/>
                  </a:lnTo>
                  <a:lnTo>
                    <a:pt x="674" y="158"/>
                  </a:lnTo>
                  <a:lnTo>
                    <a:pt x="675" y="158"/>
                  </a:lnTo>
                  <a:lnTo>
                    <a:pt x="676" y="158"/>
                  </a:lnTo>
                  <a:lnTo>
                    <a:pt x="678" y="158"/>
                  </a:lnTo>
                  <a:lnTo>
                    <a:pt x="678" y="156"/>
                  </a:lnTo>
                  <a:lnTo>
                    <a:pt x="679" y="155"/>
                  </a:lnTo>
                  <a:lnTo>
                    <a:pt x="679" y="154"/>
                  </a:lnTo>
                  <a:lnTo>
                    <a:pt x="680" y="154"/>
                  </a:lnTo>
                  <a:lnTo>
                    <a:pt x="681" y="155"/>
                  </a:lnTo>
                  <a:lnTo>
                    <a:pt x="682" y="155"/>
                  </a:lnTo>
                  <a:lnTo>
                    <a:pt x="684" y="155"/>
                  </a:lnTo>
                  <a:lnTo>
                    <a:pt x="684" y="158"/>
                  </a:lnTo>
                  <a:lnTo>
                    <a:pt x="682" y="158"/>
                  </a:lnTo>
                  <a:lnTo>
                    <a:pt x="682" y="160"/>
                  </a:lnTo>
                  <a:lnTo>
                    <a:pt x="682" y="161"/>
                  </a:lnTo>
                  <a:lnTo>
                    <a:pt x="681" y="161"/>
                  </a:lnTo>
                  <a:lnTo>
                    <a:pt x="681" y="162"/>
                  </a:lnTo>
                  <a:lnTo>
                    <a:pt x="681" y="165"/>
                  </a:lnTo>
                  <a:lnTo>
                    <a:pt x="681" y="166"/>
                  </a:lnTo>
                  <a:lnTo>
                    <a:pt x="681" y="167"/>
                  </a:lnTo>
                  <a:lnTo>
                    <a:pt x="680" y="169"/>
                  </a:lnTo>
                  <a:lnTo>
                    <a:pt x="679" y="170"/>
                  </a:lnTo>
                  <a:lnTo>
                    <a:pt x="678" y="170"/>
                  </a:lnTo>
                  <a:lnTo>
                    <a:pt x="678" y="171"/>
                  </a:lnTo>
                  <a:lnTo>
                    <a:pt x="676" y="171"/>
                  </a:lnTo>
                  <a:lnTo>
                    <a:pt x="675" y="172"/>
                  </a:lnTo>
                  <a:lnTo>
                    <a:pt x="675" y="176"/>
                  </a:lnTo>
                  <a:lnTo>
                    <a:pt x="675" y="177"/>
                  </a:lnTo>
                  <a:lnTo>
                    <a:pt x="676" y="178"/>
                  </a:lnTo>
                  <a:lnTo>
                    <a:pt x="676" y="179"/>
                  </a:lnTo>
                  <a:lnTo>
                    <a:pt x="676" y="181"/>
                  </a:lnTo>
                  <a:lnTo>
                    <a:pt x="678" y="181"/>
                  </a:lnTo>
                  <a:lnTo>
                    <a:pt x="679" y="181"/>
                  </a:lnTo>
                  <a:lnTo>
                    <a:pt x="680" y="179"/>
                  </a:lnTo>
                  <a:lnTo>
                    <a:pt x="680" y="178"/>
                  </a:lnTo>
                  <a:lnTo>
                    <a:pt x="680" y="177"/>
                  </a:lnTo>
                  <a:lnTo>
                    <a:pt x="681" y="176"/>
                  </a:lnTo>
                  <a:lnTo>
                    <a:pt x="681" y="175"/>
                  </a:lnTo>
                  <a:lnTo>
                    <a:pt x="682" y="173"/>
                  </a:lnTo>
                  <a:lnTo>
                    <a:pt x="685" y="173"/>
                  </a:lnTo>
                  <a:lnTo>
                    <a:pt x="685" y="175"/>
                  </a:lnTo>
                  <a:lnTo>
                    <a:pt x="686" y="175"/>
                  </a:lnTo>
                  <a:lnTo>
                    <a:pt x="686" y="176"/>
                  </a:lnTo>
                  <a:lnTo>
                    <a:pt x="686" y="177"/>
                  </a:lnTo>
                  <a:lnTo>
                    <a:pt x="686" y="178"/>
                  </a:lnTo>
                  <a:lnTo>
                    <a:pt x="686" y="179"/>
                  </a:lnTo>
                  <a:lnTo>
                    <a:pt x="686" y="181"/>
                  </a:lnTo>
                  <a:lnTo>
                    <a:pt x="686" y="183"/>
                  </a:lnTo>
                  <a:lnTo>
                    <a:pt x="685" y="184"/>
                  </a:lnTo>
                  <a:lnTo>
                    <a:pt x="684" y="185"/>
                  </a:lnTo>
                  <a:lnTo>
                    <a:pt x="684" y="188"/>
                  </a:lnTo>
                  <a:lnTo>
                    <a:pt x="682" y="188"/>
                  </a:lnTo>
                  <a:lnTo>
                    <a:pt x="682" y="190"/>
                  </a:lnTo>
                  <a:lnTo>
                    <a:pt x="682" y="191"/>
                  </a:lnTo>
                  <a:lnTo>
                    <a:pt x="681" y="191"/>
                  </a:lnTo>
                  <a:lnTo>
                    <a:pt x="679" y="193"/>
                  </a:lnTo>
                  <a:lnTo>
                    <a:pt x="678" y="191"/>
                  </a:lnTo>
                  <a:lnTo>
                    <a:pt x="676" y="191"/>
                  </a:lnTo>
                  <a:lnTo>
                    <a:pt x="675" y="193"/>
                  </a:lnTo>
                  <a:lnTo>
                    <a:pt x="676" y="194"/>
                  </a:lnTo>
                  <a:lnTo>
                    <a:pt x="678" y="194"/>
                  </a:lnTo>
                  <a:lnTo>
                    <a:pt x="678" y="195"/>
                  </a:lnTo>
                  <a:lnTo>
                    <a:pt x="678" y="196"/>
                  </a:lnTo>
                  <a:lnTo>
                    <a:pt x="679" y="196"/>
                  </a:lnTo>
                  <a:lnTo>
                    <a:pt x="681" y="196"/>
                  </a:lnTo>
                  <a:lnTo>
                    <a:pt x="681" y="195"/>
                  </a:lnTo>
                  <a:lnTo>
                    <a:pt x="684" y="195"/>
                  </a:lnTo>
                  <a:lnTo>
                    <a:pt x="684" y="196"/>
                  </a:lnTo>
                  <a:lnTo>
                    <a:pt x="686" y="196"/>
                  </a:lnTo>
                  <a:lnTo>
                    <a:pt x="688" y="196"/>
                  </a:lnTo>
                  <a:lnTo>
                    <a:pt x="688" y="199"/>
                  </a:lnTo>
                  <a:lnTo>
                    <a:pt x="687" y="200"/>
                  </a:lnTo>
                  <a:lnTo>
                    <a:pt x="688" y="201"/>
                  </a:lnTo>
                  <a:lnTo>
                    <a:pt x="690" y="201"/>
                  </a:lnTo>
                  <a:lnTo>
                    <a:pt x="691" y="199"/>
                  </a:lnTo>
                  <a:lnTo>
                    <a:pt x="692" y="199"/>
                  </a:lnTo>
                  <a:lnTo>
                    <a:pt x="693" y="197"/>
                  </a:lnTo>
                  <a:lnTo>
                    <a:pt x="694" y="199"/>
                  </a:lnTo>
                  <a:lnTo>
                    <a:pt x="696" y="199"/>
                  </a:lnTo>
                  <a:lnTo>
                    <a:pt x="697" y="199"/>
                  </a:lnTo>
                  <a:lnTo>
                    <a:pt x="698" y="197"/>
                  </a:lnTo>
                  <a:lnTo>
                    <a:pt x="699" y="197"/>
                  </a:lnTo>
                  <a:lnTo>
                    <a:pt x="700" y="199"/>
                  </a:lnTo>
                  <a:lnTo>
                    <a:pt x="700" y="200"/>
                  </a:lnTo>
                  <a:lnTo>
                    <a:pt x="700" y="201"/>
                  </a:lnTo>
                  <a:lnTo>
                    <a:pt x="698" y="203"/>
                  </a:lnTo>
                  <a:lnTo>
                    <a:pt x="699" y="203"/>
                  </a:lnTo>
                  <a:lnTo>
                    <a:pt x="700" y="202"/>
                  </a:lnTo>
                  <a:lnTo>
                    <a:pt x="702" y="203"/>
                  </a:lnTo>
                  <a:lnTo>
                    <a:pt x="702" y="207"/>
                  </a:lnTo>
                  <a:lnTo>
                    <a:pt x="703" y="207"/>
                  </a:lnTo>
                  <a:lnTo>
                    <a:pt x="704" y="207"/>
                  </a:lnTo>
                  <a:lnTo>
                    <a:pt x="704" y="206"/>
                  </a:lnTo>
                  <a:lnTo>
                    <a:pt x="706" y="207"/>
                  </a:lnTo>
                  <a:lnTo>
                    <a:pt x="710" y="206"/>
                  </a:lnTo>
                  <a:lnTo>
                    <a:pt x="711" y="206"/>
                  </a:lnTo>
                  <a:lnTo>
                    <a:pt x="711" y="207"/>
                  </a:lnTo>
                  <a:lnTo>
                    <a:pt x="711" y="208"/>
                  </a:lnTo>
                  <a:lnTo>
                    <a:pt x="710" y="208"/>
                  </a:lnTo>
                  <a:lnTo>
                    <a:pt x="710" y="209"/>
                  </a:lnTo>
                  <a:lnTo>
                    <a:pt x="710" y="211"/>
                  </a:lnTo>
                  <a:lnTo>
                    <a:pt x="709" y="211"/>
                  </a:lnTo>
                  <a:lnTo>
                    <a:pt x="709" y="212"/>
                  </a:lnTo>
                  <a:lnTo>
                    <a:pt x="709" y="215"/>
                  </a:lnTo>
                  <a:lnTo>
                    <a:pt x="710" y="217"/>
                  </a:lnTo>
                  <a:lnTo>
                    <a:pt x="711" y="217"/>
                  </a:lnTo>
                  <a:lnTo>
                    <a:pt x="711" y="215"/>
                  </a:lnTo>
                  <a:lnTo>
                    <a:pt x="712" y="215"/>
                  </a:lnTo>
                  <a:lnTo>
                    <a:pt x="714" y="214"/>
                  </a:lnTo>
                  <a:lnTo>
                    <a:pt x="715" y="213"/>
                  </a:lnTo>
                  <a:lnTo>
                    <a:pt x="718" y="212"/>
                  </a:lnTo>
                  <a:lnTo>
                    <a:pt x="720" y="212"/>
                  </a:lnTo>
                  <a:lnTo>
                    <a:pt x="721" y="212"/>
                  </a:lnTo>
                  <a:lnTo>
                    <a:pt x="722" y="212"/>
                  </a:lnTo>
                  <a:lnTo>
                    <a:pt x="723" y="212"/>
                  </a:lnTo>
                  <a:lnTo>
                    <a:pt x="724" y="212"/>
                  </a:lnTo>
                  <a:lnTo>
                    <a:pt x="726" y="212"/>
                  </a:lnTo>
                  <a:lnTo>
                    <a:pt x="726" y="213"/>
                  </a:lnTo>
                  <a:lnTo>
                    <a:pt x="726" y="214"/>
                  </a:lnTo>
                  <a:lnTo>
                    <a:pt x="726" y="215"/>
                  </a:lnTo>
                  <a:lnTo>
                    <a:pt x="724" y="215"/>
                  </a:lnTo>
                  <a:lnTo>
                    <a:pt x="726" y="215"/>
                  </a:lnTo>
                  <a:lnTo>
                    <a:pt x="726" y="217"/>
                  </a:lnTo>
                  <a:lnTo>
                    <a:pt x="727" y="215"/>
                  </a:lnTo>
                  <a:lnTo>
                    <a:pt x="728" y="215"/>
                  </a:lnTo>
                  <a:lnTo>
                    <a:pt x="729" y="214"/>
                  </a:lnTo>
                  <a:lnTo>
                    <a:pt x="729" y="215"/>
                  </a:lnTo>
                  <a:lnTo>
                    <a:pt x="730" y="215"/>
                  </a:lnTo>
                  <a:lnTo>
                    <a:pt x="732" y="215"/>
                  </a:lnTo>
                  <a:lnTo>
                    <a:pt x="732" y="217"/>
                  </a:lnTo>
                  <a:lnTo>
                    <a:pt x="734" y="217"/>
                  </a:lnTo>
                  <a:lnTo>
                    <a:pt x="735" y="217"/>
                  </a:lnTo>
                  <a:lnTo>
                    <a:pt x="736" y="217"/>
                  </a:lnTo>
                  <a:lnTo>
                    <a:pt x="738" y="217"/>
                  </a:lnTo>
                  <a:lnTo>
                    <a:pt x="738" y="215"/>
                  </a:lnTo>
                  <a:lnTo>
                    <a:pt x="739" y="214"/>
                  </a:lnTo>
                  <a:lnTo>
                    <a:pt x="740" y="215"/>
                  </a:lnTo>
                  <a:lnTo>
                    <a:pt x="740" y="217"/>
                  </a:lnTo>
                  <a:lnTo>
                    <a:pt x="741" y="217"/>
                  </a:lnTo>
                  <a:lnTo>
                    <a:pt x="740" y="218"/>
                  </a:lnTo>
                  <a:lnTo>
                    <a:pt x="740" y="219"/>
                  </a:lnTo>
                  <a:lnTo>
                    <a:pt x="739" y="219"/>
                  </a:lnTo>
                  <a:lnTo>
                    <a:pt x="739" y="220"/>
                  </a:lnTo>
                  <a:lnTo>
                    <a:pt x="739" y="221"/>
                  </a:lnTo>
                  <a:lnTo>
                    <a:pt x="739" y="223"/>
                  </a:lnTo>
                  <a:lnTo>
                    <a:pt x="739" y="225"/>
                  </a:lnTo>
                  <a:lnTo>
                    <a:pt x="738" y="225"/>
                  </a:lnTo>
                  <a:lnTo>
                    <a:pt x="736" y="225"/>
                  </a:lnTo>
                  <a:lnTo>
                    <a:pt x="735" y="225"/>
                  </a:lnTo>
                  <a:lnTo>
                    <a:pt x="734" y="226"/>
                  </a:lnTo>
                  <a:lnTo>
                    <a:pt x="733" y="229"/>
                  </a:lnTo>
                  <a:lnTo>
                    <a:pt x="733" y="230"/>
                  </a:lnTo>
                  <a:lnTo>
                    <a:pt x="734" y="231"/>
                  </a:lnTo>
                  <a:lnTo>
                    <a:pt x="735" y="230"/>
                  </a:lnTo>
                  <a:lnTo>
                    <a:pt x="736" y="230"/>
                  </a:lnTo>
                  <a:lnTo>
                    <a:pt x="736" y="229"/>
                  </a:lnTo>
                  <a:lnTo>
                    <a:pt x="741" y="230"/>
                  </a:lnTo>
                  <a:lnTo>
                    <a:pt x="741" y="229"/>
                  </a:lnTo>
                  <a:lnTo>
                    <a:pt x="743" y="229"/>
                  </a:lnTo>
                  <a:lnTo>
                    <a:pt x="743" y="225"/>
                  </a:lnTo>
                  <a:lnTo>
                    <a:pt x="744" y="225"/>
                  </a:lnTo>
                  <a:lnTo>
                    <a:pt x="745" y="224"/>
                  </a:lnTo>
                  <a:lnTo>
                    <a:pt x="745" y="223"/>
                  </a:lnTo>
                  <a:lnTo>
                    <a:pt x="746" y="223"/>
                  </a:lnTo>
                  <a:lnTo>
                    <a:pt x="746" y="224"/>
                  </a:lnTo>
                  <a:lnTo>
                    <a:pt x="747" y="224"/>
                  </a:lnTo>
                  <a:lnTo>
                    <a:pt x="747" y="223"/>
                  </a:lnTo>
                  <a:lnTo>
                    <a:pt x="749" y="223"/>
                  </a:lnTo>
                  <a:lnTo>
                    <a:pt x="750" y="223"/>
                  </a:lnTo>
                  <a:lnTo>
                    <a:pt x="750" y="220"/>
                  </a:lnTo>
                  <a:lnTo>
                    <a:pt x="751" y="220"/>
                  </a:lnTo>
                  <a:lnTo>
                    <a:pt x="752" y="220"/>
                  </a:lnTo>
                  <a:lnTo>
                    <a:pt x="753" y="220"/>
                  </a:lnTo>
                  <a:lnTo>
                    <a:pt x="753" y="221"/>
                  </a:lnTo>
                  <a:lnTo>
                    <a:pt x="752" y="223"/>
                  </a:lnTo>
                  <a:lnTo>
                    <a:pt x="752" y="227"/>
                  </a:lnTo>
                  <a:lnTo>
                    <a:pt x="753" y="227"/>
                  </a:lnTo>
                  <a:lnTo>
                    <a:pt x="755" y="227"/>
                  </a:lnTo>
                  <a:lnTo>
                    <a:pt x="756" y="227"/>
                  </a:lnTo>
                  <a:lnTo>
                    <a:pt x="757" y="227"/>
                  </a:lnTo>
                  <a:lnTo>
                    <a:pt x="758" y="225"/>
                  </a:lnTo>
                  <a:lnTo>
                    <a:pt x="759" y="225"/>
                  </a:lnTo>
                  <a:lnTo>
                    <a:pt x="759" y="226"/>
                  </a:lnTo>
                  <a:lnTo>
                    <a:pt x="761" y="229"/>
                  </a:lnTo>
                  <a:lnTo>
                    <a:pt x="759" y="230"/>
                  </a:lnTo>
                  <a:lnTo>
                    <a:pt x="758" y="230"/>
                  </a:lnTo>
                  <a:lnTo>
                    <a:pt x="758" y="231"/>
                  </a:lnTo>
                  <a:lnTo>
                    <a:pt x="757" y="231"/>
                  </a:lnTo>
                  <a:lnTo>
                    <a:pt x="757" y="232"/>
                  </a:lnTo>
                  <a:lnTo>
                    <a:pt x="757" y="233"/>
                  </a:lnTo>
                  <a:lnTo>
                    <a:pt x="756" y="236"/>
                  </a:lnTo>
                  <a:lnTo>
                    <a:pt x="753" y="236"/>
                  </a:lnTo>
                  <a:lnTo>
                    <a:pt x="751" y="236"/>
                  </a:lnTo>
                  <a:lnTo>
                    <a:pt x="753" y="237"/>
                  </a:lnTo>
                  <a:lnTo>
                    <a:pt x="752" y="237"/>
                  </a:lnTo>
                  <a:lnTo>
                    <a:pt x="750" y="236"/>
                  </a:lnTo>
                  <a:lnTo>
                    <a:pt x="749" y="237"/>
                  </a:lnTo>
                  <a:lnTo>
                    <a:pt x="750" y="237"/>
                  </a:lnTo>
                  <a:lnTo>
                    <a:pt x="751" y="238"/>
                  </a:lnTo>
                  <a:lnTo>
                    <a:pt x="751" y="239"/>
                  </a:lnTo>
                  <a:lnTo>
                    <a:pt x="749" y="239"/>
                  </a:lnTo>
                  <a:lnTo>
                    <a:pt x="747" y="241"/>
                  </a:lnTo>
                  <a:lnTo>
                    <a:pt x="746" y="241"/>
                  </a:lnTo>
                  <a:lnTo>
                    <a:pt x="745" y="241"/>
                  </a:lnTo>
                  <a:lnTo>
                    <a:pt x="745" y="242"/>
                  </a:lnTo>
                  <a:lnTo>
                    <a:pt x="744" y="242"/>
                  </a:lnTo>
                  <a:lnTo>
                    <a:pt x="743" y="242"/>
                  </a:lnTo>
                  <a:lnTo>
                    <a:pt x="741" y="243"/>
                  </a:lnTo>
                  <a:lnTo>
                    <a:pt x="740" y="242"/>
                  </a:lnTo>
                  <a:lnTo>
                    <a:pt x="739" y="242"/>
                  </a:lnTo>
                  <a:lnTo>
                    <a:pt x="738" y="241"/>
                  </a:lnTo>
                  <a:lnTo>
                    <a:pt x="735" y="242"/>
                  </a:lnTo>
                  <a:lnTo>
                    <a:pt x="736" y="243"/>
                  </a:lnTo>
                  <a:lnTo>
                    <a:pt x="736" y="245"/>
                  </a:lnTo>
                  <a:lnTo>
                    <a:pt x="735" y="245"/>
                  </a:lnTo>
                  <a:lnTo>
                    <a:pt x="735" y="247"/>
                  </a:lnTo>
                  <a:lnTo>
                    <a:pt x="734" y="247"/>
                  </a:lnTo>
                  <a:lnTo>
                    <a:pt x="733" y="248"/>
                  </a:lnTo>
                  <a:lnTo>
                    <a:pt x="730" y="249"/>
                  </a:lnTo>
                  <a:lnTo>
                    <a:pt x="729" y="249"/>
                  </a:lnTo>
                  <a:lnTo>
                    <a:pt x="729" y="250"/>
                  </a:lnTo>
                  <a:lnTo>
                    <a:pt x="728" y="251"/>
                  </a:lnTo>
                  <a:lnTo>
                    <a:pt x="727" y="253"/>
                  </a:lnTo>
                  <a:lnTo>
                    <a:pt x="726" y="253"/>
                  </a:lnTo>
                  <a:lnTo>
                    <a:pt x="726" y="254"/>
                  </a:lnTo>
                  <a:lnTo>
                    <a:pt x="724" y="255"/>
                  </a:lnTo>
                  <a:lnTo>
                    <a:pt x="723" y="255"/>
                  </a:lnTo>
                  <a:lnTo>
                    <a:pt x="723" y="256"/>
                  </a:lnTo>
                  <a:lnTo>
                    <a:pt x="722" y="256"/>
                  </a:lnTo>
                  <a:lnTo>
                    <a:pt x="721" y="257"/>
                  </a:lnTo>
                  <a:lnTo>
                    <a:pt x="720" y="257"/>
                  </a:lnTo>
                  <a:lnTo>
                    <a:pt x="721" y="257"/>
                  </a:lnTo>
                  <a:lnTo>
                    <a:pt x="726" y="257"/>
                  </a:lnTo>
                  <a:lnTo>
                    <a:pt x="727" y="256"/>
                  </a:lnTo>
                  <a:lnTo>
                    <a:pt x="728" y="256"/>
                  </a:lnTo>
                  <a:lnTo>
                    <a:pt x="729" y="257"/>
                  </a:lnTo>
                  <a:lnTo>
                    <a:pt x="730" y="259"/>
                  </a:lnTo>
                  <a:lnTo>
                    <a:pt x="732" y="259"/>
                  </a:lnTo>
                  <a:lnTo>
                    <a:pt x="733" y="260"/>
                  </a:lnTo>
                  <a:lnTo>
                    <a:pt x="734" y="261"/>
                  </a:lnTo>
                  <a:lnTo>
                    <a:pt x="735" y="262"/>
                  </a:lnTo>
                  <a:lnTo>
                    <a:pt x="735" y="261"/>
                  </a:lnTo>
                  <a:lnTo>
                    <a:pt x="736" y="261"/>
                  </a:lnTo>
                  <a:lnTo>
                    <a:pt x="738" y="261"/>
                  </a:lnTo>
                  <a:lnTo>
                    <a:pt x="739" y="260"/>
                  </a:lnTo>
                  <a:lnTo>
                    <a:pt x="739" y="261"/>
                  </a:lnTo>
                  <a:lnTo>
                    <a:pt x="740" y="261"/>
                  </a:lnTo>
                  <a:lnTo>
                    <a:pt x="740" y="262"/>
                  </a:lnTo>
                  <a:lnTo>
                    <a:pt x="739" y="263"/>
                  </a:lnTo>
                  <a:lnTo>
                    <a:pt x="740" y="265"/>
                  </a:lnTo>
                  <a:lnTo>
                    <a:pt x="740" y="262"/>
                  </a:lnTo>
                  <a:lnTo>
                    <a:pt x="743" y="262"/>
                  </a:lnTo>
                  <a:lnTo>
                    <a:pt x="744" y="261"/>
                  </a:lnTo>
                  <a:lnTo>
                    <a:pt x="745" y="260"/>
                  </a:lnTo>
                  <a:lnTo>
                    <a:pt x="745" y="259"/>
                  </a:lnTo>
                  <a:lnTo>
                    <a:pt x="749" y="259"/>
                  </a:lnTo>
                  <a:lnTo>
                    <a:pt x="749" y="257"/>
                  </a:lnTo>
                  <a:lnTo>
                    <a:pt x="751" y="257"/>
                  </a:lnTo>
                  <a:lnTo>
                    <a:pt x="752" y="259"/>
                  </a:lnTo>
                  <a:lnTo>
                    <a:pt x="751" y="261"/>
                  </a:lnTo>
                  <a:lnTo>
                    <a:pt x="751" y="263"/>
                  </a:lnTo>
                  <a:lnTo>
                    <a:pt x="752" y="265"/>
                  </a:lnTo>
                  <a:lnTo>
                    <a:pt x="753" y="265"/>
                  </a:lnTo>
                  <a:lnTo>
                    <a:pt x="755" y="265"/>
                  </a:lnTo>
                  <a:lnTo>
                    <a:pt x="756" y="265"/>
                  </a:lnTo>
                  <a:lnTo>
                    <a:pt x="758" y="265"/>
                  </a:lnTo>
                  <a:lnTo>
                    <a:pt x="759" y="265"/>
                  </a:lnTo>
                  <a:lnTo>
                    <a:pt x="761" y="265"/>
                  </a:lnTo>
                  <a:lnTo>
                    <a:pt x="761" y="263"/>
                  </a:lnTo>
                  <a:lnTo>
                    <a:pt x="762" y="263"/>
                  </a:lnTo>
                  <a:lnTo>
                    <a:pt x="763" y="263"/>
                  </a:lnTo>
                  <a:lnTo>
                    <a:pt x="764" y="263"/>
                  </a:lnTo>
                  <a:lnTo>
                    <a:pt x="765" y="265"/>
                  </a:lnTo>
                  <a:lnTo>
                    <a:pt x="767" y="265"/>
                  </a:lnTo>
                  <a:lnTo>
                    <a:pt x="768" y="265"/>
                  </a:lnTo>
                  <a:lnTo>
                    <a:pt x="768" y="266"/>
                  </a:lnTo>
                  <a:lnTo>
                    <a:pt x="769" y="266"/>
                  </a:lnTo>
                  <a:lnTo>
                    <a:pt x="769" y="265"/>
                  </a:lnTo>
                  <a:lnTo>
                    <a:pt x="770" y="263"/>
                  </a:lnTo>
                  <a:lnTo>
                    <a:pt x="773" y="262"/>
                  </a:lnTo>
                  <a:lnTo>
                    <a:pt x="771" y="263"/>
                  </a:lnTo>
                  <a:lnTo>
                    <a:pt x="771" y="265"/>
                  </a:lnTo>
                  <a:lnTo>
                    <a:pt x="773" y="265"/>
                  </a:lnTo>
                  <a:lnTo>
                    <a:pt x="773" y="266"/>
                  </a:lnTo>
                  <a:lnTo>
                    <a:pt x="774" y="266"/>
                  </a:lnTo>
                  <a:lnTo>
                    <a:pt x="775" y="267"/>
                  </a:lnTo>
                  <a:lnTo>
                    <a:pt x="775" y="266"/>
                  </a:lnTo>
                  <a:lnTo>
                    <a:pt x="776" y="265"/>
                  </a:lnTo>
                  <a:lnTo>
                    <a:pt x="776" y="263"/>
                  </a:lnTo>
                  <a:lnTo>
                    <a:pt x="776" y="262"/>
                  </a:lnTo>
                  <a:lnTo>
                    <a:pt x="777" y="262"/>
                  </a:lnTo>
                  <a:lnTo>
                    <a:pt x="779" y="262"/>
                  </a:lnTo>
                  <a:lnTo>
                    <a:pt x="779" y="265"/>
                  </a:lnTo>
                  <a:lnTo>
                    <a:pt x="780" y="265"/>
                  </a:lnTo>
                  <a:lnTo>
                    <a:pt x="780" y="263"/>
                  </a:lnTo>
                  <a:lnTo>
                    <a:pt x="781" y="263"/>
                  </a:lnTo>
                  <a:lnTo>
                    <a:pt x="780" y="265"/>
                  </a:lnTo>
                  <a:lnTo>
                    <a:pt x="779" y="266"/>
                  </a:lnTo>
                  <a:lnTo>
                    <a:pt x="779" y="267"/>
                  </a:lnTo>
                  <a:lnTo>
                    <a:pt x="777" y="268"/>
                  </a:lnTo>
                  <a:lnTo>
                    <a:pt x="777" y="269"/>
                  </a:lnTo>
                  <a:lnTo>
                    <a:pt x="779" y="271"/>
                  </a:lnTo>
                  <a:lnTo>
                    <a:pt x="780" y="272"/>
                  </a:lnTo>
                  <a:lnTo>
                    <a:pt x="780" y="273"/>
                  </a:lnTo>
                  <a:lnTo>
                    <a:pt x="781" y="273"/>
                  </a:lnTo>
                  <a:lnTo>
                    <a:pt x="781" y="274"/>
                  </a:lnTo>
                  <a:lnTo>
                    <a:pt x="782" y="275"/>
                  </a:lnTo>
                  <a:lnTo>
                    <a:pt x="785" y="275"/>
                  </a:lnTo>
                  <a:lnTo>
                    <a:pt x="783" y="277"/>
                  </a:lnTo>
                  <a:lnTo>
                    <a:pt x="783" y="278"/>
                  </a:lnTo>
                  <a:lnTo>
                    <a:pt x="777" y="279"/>
                  </a:lnTo>
                  <a:lnTo>
                    <a:pt x="777" y="283"/>
                  </a:lnTo>
                  <a:lnTo>
                    <a:pt x="776" y="283"/>
                  </a:lnTo>
                  <a:lnTo>
                    <a:pt x="775" y="284"/>
                  </a:lnTo>
                  <a:lnTo>
                    <a:pt x="775" y="286"/>
                  </a:lnTo>
                  <a:lnTo>
                    <a:pt x="777" y="286"/>
                  </a:lnTo>
                  <a:lnTo>
                    <a:pt x="777" y="288"/>
                  </a:lnTo>
                  <a:lnTo>
                    <a:pt x="777" y="289"/>
                  </a:lnTo>
                  <a:lnTo>
                    <a:pt x="776" y="290"/>
                  </a:lnTo>
                  <a:lnTo>
                    <a:pt x="776" y="291"/>
                  </a:lnTo>
                  <a:lnTo>
                    <a:pt x="779" y="291"/>
                  </a:lnTo>
                  <a:lnTo>
                    <a:pt x="781" y="290"/>
                  </a:lnTo>
                  <a:lnTo>
                    <a:pt x="785" y="290"/>
                  </a:lnTo>
                  <a:lnTo>
                    <a:pt x="787" y="289"/>
                  </a:lnTo>
                  <a:lnTo>
                    <a:pt x="787" y="288"/>
                  </a:lnTo>
                  <a:lnTo>
                    <a:pt x="787" y="286"/>
                  </a:lnTo>
                  <a:lnTo>
                    <a:pt x="788" y="286"/>
                  </a:lnTo>
                  <a:lnTo>
                    <a:pt x="788" y="284"/>
                  </a:lnTo>
                  <a:lnTo>
                    <a:pt x="789" y="283"/>
                  </a:lnTo>
                  <a:lnTo>
                    <a:pt x="791" y="282"/>
                  </a:lnTo>
                  <a:lnTo>
                    <a:pt x="793" y="282"/>
                  </a:lnTo>
                  <a:lnTo>
                    <a:pt x="794" y="282"/>
                  </a:lnTo>
                  <a:lnTo>
                    <a:pt x="794" y="280"/>
                  </a:lnTo>
                  <a:lnTo>
                    <a:pt x="795" y="280"/>
                  </a:lnTo>
                  <a:lnTo>
                    <a:pt x="797" y="280"/>
                  </a:lnTo>
                  <a:lnTo>
                    <a:pt x="799" y="279"/>
                  </a:lnTo>
                  <a:lnTo>
                    <a:pt x="802" y="279"/>
                  </a:lnTo>
                  <a:lnTo>
                    <a:pt x="802" y="280"/>
                  </a:lnTo>
                  <a:lnTo>
                    <a:pt x="803" y="282"/>
                  </a:lnTo>
                  <a:lnTo>
                    <a:pt x="802" y="283"/>
                  </a:lnTo>
                  <a:lnTo>
                    <a:pt x="802" y="284"/>
                  </a:lnTo>
                  <a:lnTo>
                    <a:pt x="802" y="286"/>
                  </a:lnTo>
                  <a:lnTo>
                    <a:pt x="800" y="289"/>
                  </a:lnTo>
                  <a:lnTo>
                    <a:pt x="798" y="290"/>
                  </a:lnTo>
                  <a:lnTo>
                    <a:pt x="795" y="291"/>
                  </a:lnTo>
                  <a:lnTo>
                    <a:pt x="793" y="292"/>
                  </a:lnTo>
                  <a:lnTo>
                    <a:pt x="792" y="292"/>
                  </a:lnTo>
                  <a:lnTo>
                    <a:pt x="791" y="292"/>
                  </a:lnTo>
                  <a:lnTo>
                    <a:pt x="789" y="295"/>
                  </a:lnTo>
                  <a:lnTo>
                    <a:pt x="791" y="297"/>
                  </a:lnTo>
                  <a:lnTo>
                    <a:pt x="789" y="297"/>
                  </a:lnTo>
                  <a:lnTo>
                    <a:pt x="788" y="298"/>
                  </a:lnTo>
                  <a:lnTo>
                    <a:pt x="786" y="300"/>
                  </a:lnTo>
                  <a:lnTo>
                    <a:pt x="783" y="302"/>
                  </a:lnTo>
                  <a:lnTo>
                    <a:pt x="782" y="304"/>
                  </a:lnTo>
                  <a:lnTo>
                    <a:pt x="781" y="306"/>
                  </a:lnTo>
                  <a:lnTo>
                    <a:pt x="780" y="306"/>
                  </a:lnTo>
                  <a:lnTo>
                    <a:pt x="780" y="308"/>
                  </a:lnTo>
                  <a:lnTo>
                    <a:pt x="779" y="308"/>
                  </a:lnTo>
                  <a:lnTo>
                    <a:pt x="776" y="308"/>
                  </a:lnTo>
                  <a:lnTo>
                    <a:pt x="775" y="307"/>
                  </a:lnTo>
                  <a:lnTo>
                    <a:pt x="774" y="307"/>
                  </a:lnTo>
                  <a:lnTo>
                    <a:pt x="773" y="306"/>
                  </a:lnTo>
                  <a:lnTo>
                    <a:pt x="770" y="307"/>
                  </a:lnTo>
                  <a:lnTo>
                    <a:pt x="768" y="308"/>
                  </a:lnTo>
                  <a:lnTo>
                    <a:pt x="767" y="309"/>
                  </a:lnTo>
                  <a:lnTo>
                    <a:pt x="764" y="309"/>
                  </a:lnTo>
                  <a:lnTo>
                    <a:pt x="767" y="310"/>
                  </a:lnTo>
                  <a:lnTo>
                    <a:pt x="770" y="312"/>
                  </a:lnTo>
                  <a:lnTo>
                    <a:pt x="770" y="315"/>
                  </a:lnTo>
                  <a:lnTo>
                    <a:pt x="770" y="316"/>
                  </a:lnTo>
                  <a:lnTo>
                    <a:pt x="771" y="315"/>
                  </a:lnTo>
                  <a:lnTo>
                    <a:pt x="773" y="315"/>
                  </a:lnTo>
                  <a:lnTo>
                    <a:pt x="774" y="318"/>
                  </a:lnTo>
                  <a:lnTo>
                    <a:pt x="774" y="319"/>
                  </a:lnTo>
                  <a:lnTo>
                    <a:pt x="775" y="321"/>
                  </a:lnTo>
                  <a:lnTo>
                    <a:pt x="776" y="321"/>
                  </a:lnTo>
                  <a:lnTo>
                    <a:pt x="780" y="320"/>
                  </a:lnTo>
                  <a:lnTo>
                    <a:pt x="782" y="320"/>
                  </a:lnTo>
                  <a:lnTo>
                    <a:pt x="786" y="320"/>
                  </a:lnTo>
                  <a:lnTo>
                    <a:pt x="788" y="320"/>
                  </a:lnTo>
                  <a:lnTo>
                    <a:pt x="788" y="321"/>
                  </a:lnTo>
                  <a:lnTo>
                    <a:pt x="788" y="324"/>
                  </a:lnTo>
                  <a:lnTo>
                    <a:pt x="786" y="325"/>
                  </a:lnTo>
                  <a:lnTo>
                    <a:pt x="786" y="327"/>
                  </a:lnTo>
                  <a:lnTo>
                    <a:pt x="787" y="326"/>
                  </a:lnTo>
                  <a:lnTo>
                    <a:pt x="788" y="326"/>
                  </a:lnTo>
                  <a:lnTo>
                    <a:pt x="788" y="327"/>
                  </a:lnTo>
                  <a:lnTo>
                    <a:pt x="789" y="327"/>
                  </a:lnTo>
                  <a:lnTo>
                    <a:pt x="789" y="328"/>
                  </a:lnTo>
                  <a:lnTo>
                    <a:pt x="787" y="332"/>
                  </a:lnTo>
                  <a:lnTo>
                    <a:pt x="785" y="334"/>
                  </a:lnTo>
                  <a:lnTo>
                    <a:pt x="783" y="336"/>
                  </a:lnTo>
                  <a:lnTo>
                    <a:pt x="782" y="337"/>
                  </a:lnTo>
                  <a:lnTo>
                    <a:pt x="786" y="339"/>
                  </a:lnTo>
                  <a:lnTo>
                    <a:pt x="786" y="340"/>
                  </a:lnTo>
                  <a:lnTo>
                    <a:pt x="786" y="342"/>
                  </a:lnTo>
                  <a:lnTo>
                    <a:pt x="785" y="342"/>
                  </a:lnTo>
                  <a:lnTo>
                    <a:pt x="785" y="343"/>
                  </a:lnTo>
                  <a:lnTo>
                    <a:pt x="786" y="344"/>
                  </a:lnTo>
                  <a:lnTo>
                    <a:pt x="786" y="345"/>
                  </a:lnTo>
                  <a:lnTo>
                    <a:pt x="787" y="348"/>
                  </a:lnTo>
                  <a:lnTo>
                    <a:pt x="786" y="348"/>
                  </a:lnTo>
                  <a:lnTo>
                    <a:pt x="785" y="349"/>
                  </a:lnTo>
                  <a:lnTo>
                    <a:pt x="785" y="350"/>
                  </a:lnTo>
                  <a:lnTo>
                    <a:pt x="787" y="349"/>
                  </a:lnTo>
                  <a:lnTo>
                    <a:pt x="788" y="349"/>
                  </a:lnTo>
                  <a:lnTo>
                    <a:pt x="789" y="349"/>
                  </a:lnTo>
                  <a:lnTo>
                    <a:pt x="789" y="351"/>
                  </a:lnTo>
                  <a:lnTo>
                    <a:pt x="791" y="355"/>
                  </a:lnTo>
                  <a:lnTo>
                    <a:pt x="795" y="355"/>
                  </a:lnTo>
                  <a:lnTo>
                    <a:pt x="797" y="355"/>
                  </a:lnTo>
                  <a:lnTo>
                    <a:pt x="798" y="354"/>
                  </a:lnTo>
                  <a:lnTo>
                    <a:pt x="800" y="354"/>
                  </a:lnTo>
                  <a:lnTo>
                    <a:pt x="803" y="354"/>
                  </a:lnTo>
                  <a:lnTo>
                    <a:pt x="805" y="352"/>
                  </a:lnTo>
                  <a:lnTo>
                    <a:pt x="805" y="355"/>
                  </a:lnTo>
                  <a:lnTo>
                    <a:pt x="808" y="355"/>
                  </a:lnTo>
                  <a:lnTo>
                    <a:pt x="811" y="356"/>
                  </a:lnTo>
                  <a:lnTo>
                    <a:pt x="812" y="357"/>
                  </a:lnTo>
                  <a:lnTo>
                    <a:pt x="816" y="357"/>
                  </a:lnTo>
                  <a:lnTo>
                    <a:pt x="818" y="357"/>
                  </a:lnTo>
                  <a:lnTo>
                    <a:pt x="820" y="358"/>
                  </a:lnTo>
                  <a:lnTo>
                    <a:pt x="823" y="357"/>
                  </a:lnTo>
                  <a:lnTo>
                    <a:pt x="826" y="356"/>
                  </a:lnTo>
                  <a:lnTo>
                    <a:pt x="826" y="358"/>
                  </a:lnTo>
                  <a:lnTo>
                    <a:pt x="823" y="361"/>
                  </a:lnTo>
                  <a:lnTo>
                    <a:pt x="822" y="364"/>
                  </a:lnTo>
                  <a:lnTo>
                    <a:pt x="821" y="368"/>
                  </a:lnTo>
                  <a:lnTo>
                    <a:pt x="824" y="368"/>
                  </a:lnTo>
                  <a:lnTo>
                    <a:pt x="828" y="368"/>
                  </a:lnTo>
                  <a:lnTo>
                    <a:pt x="828" y="367"/>
                  </a:lnTo>
                  <a:lnTo>
                    <a:pt x="833" y="368"/>
                  </a:lnTo>
                  <a:lnTo>
                    <a:pt x="833" y="370"/>
                  </a:lnTo>
                  <a:lnTo>
                    <a:pt x="834" y="369"/>
                  </a:lnTo>
                  <a:lnTo>
                    <a:pt x="836" y="369"/>
                  </a:lnTo>
                  <a:lnTo>
                    <a:pt x="838" y="369"/>
                  </a:lnTo>
                  <a:lnTo>
                    <a:pt x="839" y="369"/>
                  </a:lnTo>
                  <a:lnTo>
                    <a:pt x="840" y="368"/>
                  </a:lnTo>
                  <a:lnTo>
                    <a:pt x="842" y="368"/>
                  </a:lnTo>
                  <a:lnTo>
                    <a:pt x="844" y="368"/>
                  </a:lnTo>
                  <a:lnTo>
                    <a:pt x="845" y="369"/>
                  </a:lnTo>
                  <a:lnTo>
                    <a:pt x="845" y="372"/>
                  </a:lnTo>
                  <a:lnTo>
                    <a:pt x="844" y="373"/>
                  </a:lnTo>
                  <a:lnTo>
                    <a:pt x="842" y="374"/>
                  </a:lnTo>
                  <a:lnTo>
                    <a:pt x="841" y="374"/>
                  </a:lnTo>
                  <a:lnTo>
                    <a:pt x="840" y="375"/>
                  </a:lnTo>
                  <a:lnTo>
                    <a:pt x="840" y="376"/>
                  </a:lnTo>
                  <a:lnTo>
                    <a:pt x="839" y="378"/>
                  </a:lnTo>
                  <a:lnTo>
                    <a:pt x="836" y="379"/>
                  </a:lnTo>
                  <a:lnTo>
                    <a:pt x="836" y="380"/>
                  </a:lnTo>
                  <a:lnTo>
                    <a:pt x="835" y="380"/>
                  </a:lnTo>
                  <a:lnTo>
                    <a:pt x="834" y="380"/>
                  </a:lnTo>
                  <a:lnTo>
                    <a:pt x="833" y="381"/>
                  </a:lnTo>
                  <a:lnTo>
                    <a:pt x="832" y="381"/>
                  </a:lnTo>
                  <a:lnTo>
                    <a:pt x="829" y="384"/>
                  </a:lnTo>
                  <a:lnTo>
                    <a:pt x="827" y="386"/>
                  </a:lnTo>
                  <a:lnTo>
                    <a:pt x="823" y="389"/>
                  </a:lnTo>
                  <a:lnTo>
                    <a:pt x="822" y="389"/>
                  </a:lnTo>
                  <a:lnTo>
                    <a:pt x="821" y="389"/>
                  </a:lnTo>
                  <a:lnTo>
                    <a:pt x="818" y="387"/>
                  </a:lnTo>
                  <a:lnTo>
                    <a:pt x="816" y="389"/>
                  </a:lnTo>
                  <a:lnTo>
                    <a:pt x="815" y="389"/>
                  </a:lnTo>
                  <a:lnTo>
                    <a:pt x="814" y="389"/>
                  </a:lnTo>
                  <a:lnTo>
                    <a:pt x="810" y="389"/>
                  </a:lnTo>
                  <a:lnTo>
                    <a:pt x="808" y="389"/>
                  </a:lnTo>
                  <a:lnTo>
                    <a:pt x="805" y="389"/>
                  </a:lnTo>
                  <a:lnTo>
                    <a:pt x="805" y="387"/>
                  </a:lnTo>
                  <a:lnTo>
                    <a:pt x="804" y="385"/>
                  </a:lnTo>
                  <a:lnTo>
                    <a:pt x="803" y="385"/>
                  </a:lnTo>
                  <a:lnTo>
                    <a:pt x="802" y="384"/>
                  </a:lnTo>
                  <a:lnTo>
                    <a:pt x="800" y="384"/>
                  </a:lnTo>
                  <a:lnTo>
                    <a:pt x="799" y="382"/>
                  </a:lnTo>
                  <a:lnTo>
                    <a:pt x="798" y="381"/>
                  </a:lnTo>
                  <a:lnTo>
                    <a:pt x="797" y="378"/>
                  </a:lnTo>
                  <a:lnTo>
                    <a:pt x="797" y="376"/>
                  </a:lnTo>
                  <a:lnTo>
                    <a:pt x="794" y="376"/>
                  </a:lnTo>
                  <a:lnTo>
                    <a:pt x="793" y="376"/>
                  </a:lnTo>
                  <a:lnTo>
                    <a:pt x="792" y="378"/>
                  </a:lnTo>
                  <a:lnTo>
                    <a:pt x="792" y="379"/>
                  </a:lnTo>
                  <a:lnTo>
                    <a:pt x="794" y="380"/>
                  </a:lnTo>
                  <a:lnTo>
                    <a:pt x="795" y="381"/>
                  </a:lnTo>
                  <a:lnTo>
                    <a:pt x="798" y="384"/>
                  </a:lnTo>
                  <a:lnTo>
                    <a:pt x="798" y="386"/>
                  </a:lnTo>
                  <a:lnTo>
                    <a:pt x="797" y="386"/>
                  </a:lnTo>
                  <a:lnTo>
                    <a:pt x="797" y="387"/>
                  </a:lnTo>
                  <a:lnTo>
                    <a:pt x="794" y="390"/>
                  </a:lnTo>
                  <a:lnTo>
                    <a:pt x="792" y="392"/>
                  </a:lnTo>
                  <a:lnTo>
                    <a:pt x="792" y="391"/>
                  </a:lnTo>
                  <a:lnTo>
                    <a:pt x="791" y="391"/>
                  </a:lnTo>
                  <a:lnTo>
                    <a:pt x="788" y="391"/>
                  </a:lnTo>
                  <a:lnTo>
                    <a:pt x="788" y="390"/>
                  </a:lnTo>
                  <a:lnTo>
                    <a:pt x="787" y="390"/>
                  </a:lnTo>
                  <a:lnTo>
                    <a:pt x="787" y="387"/>
                  </a:lnTo>
                  <a:lnTo>
                    <a:pt x="785" y="387"/>
                  </a:lnTo>
                  <a:lnTo>
                    <a:pt x="786" y="386"/>
                  </a:lnTo>
                  <a:lnTo>
                    <a:pt x="785" y="384"/>
                  </a:lnTo>
                  <a:lnTo>
                    <a:pt x="783" y="384"/>
                  </a:lnTo>
                  <a:lnTo>
                    <a:pt x="782" y="384"/>
                  </a:lnTo>
                  <a:lnTo>
                    <a:pt x="782" y="382"/>
                  </a:lnTo>
                  <a:lnTo>
                    <a:pt x="781" y="382"/>
                  </a:lnTo>
                  <a:lnTo>
                    <a:pt x="781" y="381"/>
                  </a:lnTo>
                  <a:lnTo>
                    <a:pt x="779" y="381"/>
                  </a:lnTo>
                  <a:lnTo>
                    <a:pt x="777" y="382"/>
                  </a:lnTo>
                  <a:lnTo>
                    <a:pt x="776" y="381"/>
                  </a:lnTo>
                  <a:lnTo>
                    <a:pt x="774" y="380"/>
                  </a:lnTo>
                  <a:lnTo>
                    <a:pt x="774" y="379"/>
                  </a:lnTo>
                  <a:lnTo>
                    <a:pt x="773" y="379"/>
                  </a:lnTo>
                  <a:lnTo>
                    <a:pt x="770" y="378"/>
                  </a:lnTo>
                  <a:lnTo>
                    <a:pt x="767" y="376"/>
                  </a:lnTo>
                  <a:lnTo>
                    <a:pt x="765" y="376"/>
                  </a:lnTo>
                  <a:lnTo>
                    <a:pt x="765" y="378"/>
                  </a:lnTo>
                  <a:lnTo>
                    <a:pt x="763" y="380"/>
                  </a:lnTo>
                  <a:lnTo>
                    <a:pt x="762" y="379"/>
                  </a:lnTo>
                  <a:lnTo>
                    <a:pt x="761" y="379"/>
                  </a:lnTo>
                  <a:lnTo>
                    <a:pt x="759" y="380"/>
                  </a:lnTo>
                  <a:lnTo>
                    <a:pt x="758" y="381"/>
                  </a:lnTo>
                  <a:lnTo>
                    <a:pt x="757" y="382"/>
                  </a:lnTo>
                  <a:lnTo>
                    <a:pt x="756" y="382"/>
                  </a:lnTo>
                  <a:lnTo>
                    <a:pt x="755" y="382"/>
                  </a:lnTo>
                  <a:lnTo>
                    <a:pt x="753" y="381"/>
                  </a:lnTo>
                  <a:lnTo>
                    <a:pt x="752" y="378"/>
                  </a:lnTo>
                  <a:lnTo>
                    <a:pt x="750" y="380"/>
                  </a:lnTo>
                  <a:lnTo>
                    <a:pt x="749" y="381"/>
                  </a:lnTo>
                  <a:lnTo>
                    <a:pt x="746" y="382"/>
                  </a:lnTo>
                  <a:lnTo>
                    <a:pt x="744" y="384"/>
                  </a:lnTo>
                  <a:lnTo>
                    <a:pt x="741" y="385"/>
                  </a:lnTo>
                  <a:lnTo>
                    <a:pt x="740" y="386"/>
                  </a:lnTo>
                  <a:lnTo>
                    <a:pt x="739" y="386"/>
                  </a:lnTo>
                  <a:lnTo>
                    <a:pt x="736" y="386"/>
                  </a:lnTo>
                  <a:lnTo>
                    <a:pt x="736" y="385"/>
                  </a:lnTo>
                  <a:lnTo>
                    <a:pt x="735" y="384"/>
                  </a:lnTo>
                  <a:lnTo>
                    <a:pt x="735" y="381"/>
                  </a:lnTo>
                  <a:lnTo>
                    <a:pt x="735" y="379"/>
                  </a:lnTo>
                  <a:lnTo>
                    <a:pt x="734" y="378"/>
                  </a:lnTo>
                  <a:lnTo>
                    <a:pt x="732" y="378"/>
                  </a:lnTo>
                  <a:lnTo>
                    <a:pt x="729" y="379"/>
                  </a:lnTo>
                  <a:lnTo>
                    <a:pt x="728" y="379"/>
                  </a:lnTo>
                  <a:lnTo>
                    <a:pt x="726" y="379"/>
                  </a:lnTo>
                  <a:lnTo>
                    <a:pt x="724" y="380"/>
                  </a:lnTo>
                  <a:lnTo>
                    <a:pt x="724" y="381"/>
                  </a:lnTo>
                  <a:lnTo>
                    <a:pt x="724" y="382"/>
                  </a:lnTo>
                  <a:lnTo>
                    <a:pt x="724" y="384"/>
                  </a:lnTo>
                  <a:lnTo>
                    <a:pt x="724" y="385"/>
                  </a:lnTo>
                  <a:lnTo>
                    <a:pt x="723" y="386"/>
                  </a:lnTo>
                  <a:lnTo>
                    <a:pt x="724" y="386"/>
                  </a:lnTo>
                  <a:lnTo>
                    <a:pt x="726" y="386"/>
                  </a:lnTo>
                  <a:lnTo>
                    <a:pt x="726" y="385"/>
                  </a:lnTo>
                  <a:lnTo>
                    <a:pt x="728" y="384"/>
                  </a:lnTo>
                  <a:lnTo>
                    <a:pt x="728" y="385"/>
                  </a:lnTo>
                  <a:lnTo>
                    <a:pt x="728" y="387"/>
                  </a:lnTo>
                  <a:lnTo>
                    <a:pt x="728" y="390"/>
                  </a:lnTo>
                  <a:lnTo>
                    <a:pt x="729" y="386"/>
                  </a:lnTo>
                  <a:lnTo>
                    <a:pt x="729" y="390"/>
                  </a:lnTo>
                  <a:lnTo>
                    <a:pt x="729" y="393"/>
                  </a:lnTo>
                  <a:lnTo>
                    <a:pt x="730" y="395"/>
                  </a:lnTo>
                  <a:lnTo>
                    <a:pt x="730" y="396"/>
                  </a:lnTo>
                  <a:lnTo>
                    <a:pt x="732" y="396"/>
                  </a:lnTo>
                  <a:lnTo>
                    <a:pt x="733" y="395"/>
                  </a:lnTo>
                  <a:lnTo>
                    <a:pt x="734" y="397"/>
                  </a:lnTo>
                  <a:lnTo>
                    <a:pt x="730" y="397"/>
                  </a:lnTo>
                  <a:lnTo>
                    <a:pt x="730" y="401"/>
                  </a:lnTo>
                  <a:lnTo>
                    <a:pt x="732" y="399"/>
                  </a:lnTo>
                  <a:lnTo>
                    <a:pt x="733" y="401"/>
                  </a:lnTo>
                  <a:lnTo>
                    <a:pt x="734" y="401"/>
                  </a:lnTo>
                  <a:lnTo>
                    <a:pt x="734" y="399"/>
                  </a:lnTo>
                  <a:lnTo>
                    <a:pt x="738" y="399"/>
                  </a:lnTo>
                  <a:lnTo>
                    <a:pt x="738" y="401"/>
                  </a:lnTo>
                  <a:lnTo>
                    <a:pt x="740" y="401"/>
                  </a:lnTo>
                  <a:lnTo>
                    <a:pt x="741" y="401"/>
                  </a:lnTo>
                  <a:lnTo>
                    <a:pt x="741" y="402"/>
                  </a:lnTo>
                  <a:lnTo>
                    <a:pt x="743" y="402"/>
                  </a:lnTo>
                  <a:lnTo>
                    <a:pt x="744" y="403"/>
                  </a:lnTo>
                  <a:lnTo>
                    <a:pt x="745" y="404"/>
                  </a:lnTo>
                  <a:lnTo>
                    <a:pt x="746" y="407"/>
                  </a:lnTo>
                  <a:lnTo>
                    <a:pt x="746" y="408"/>
                  </a:lnTo>
                  <a:lnTo>
                    <a:pt x="747" y="409"/>
                  </a:lnTo>
                  <a:lnTo>
                    <a:pt x="747" y="410"/>
                  </a:lnTo>
                  <a:lnTo>
                    <a:pt x="749" y="410"/>
                  </a:lnTo>
                  <a:lnTo>
                    <a:pt x="750" y="413"/>
                  </a:lnTo>
                  <a:lnTo>
                    <a:pt x="753" y="414"/>
                  </a:lnTo>
                  <a:lnTo>
                    <a:pt x="756" y="417"/>
                  </a:lnTo>
                  <a:lnTo>
                    <a:pt x="758" y="419"/>
                  </a:lnTo>
                  <a:lnTo>
                    <a:pt x="759" y="420"/>
                  </a:lnTo>
                  <a:lnTo>
                    <a:pt x="761" y="421"/>
                  </a:lnTo>
                  <a:lnTo>
                    <a:pt x="762" y="422"/>
                  </a:lnTo>
                  <a:lnTo>
                    <a:pt x="763" y="423"/>
                  </a:lnTo>
                  <a:lnTo>
                    <a:pt x="764" y="422"/>
                  </a:lnTo>
                  <a:lnTo>
                    <a:pt x="768" y="422"/>
                  </a:lnTo>
                  <a:lnTo>
                    <a:pt x="769" y="422"/>
                  </a:lnTo>
                  <a:lnTo>
                    <a:pt x="769" y="423"/>
                  </a:lnTo>
                  <a:lnTo>
                    <a:pt x="770" y="423"/>
                  </a:lnTo>
                  <a:lnTo>
                    <a:pt x="771" y="425"/>
                  </a:lnTo>
                  <a:lnTo>
                    <a:pt x="773" y="425"/>
                  </a:lnTo>
                  <a:lnTo>
                    <a:pt x="773" y="426"/>
                  </a:lnTo>
                  <a:lnTo>
                    <a:pt x="774" y="427"/>
                  </a:lnTo>
                  <a:lnTo>
                    <a:pt x="777" y="428"/>
                  </a:lnTo>
                  <a:lnTo>
                    <a:pt x="779" y="428"/>
                  </a:lnTo>
                  <a:lnTo>
                    <a:pt x="781" y="428"/>
                  </a:lnTo>
                  <a:lnTo>
                    <a:pt x="781" y="429"/>
                  </a:lnTo>
                  <a:lnTo>
                    <a:pt x="782" y="431"/>
                  </a:lnTo>
                  <a:lnTo>
                    <a:pt x="782" y="432"/>
                  </a:lnTo>
                  <a:lnTo>
                    <a:pt x="785" y="433"/>
                  </a:lnTo>
                  <a:lnTo>
                    <a:pt x="787" y="433"/>
                  </a:lnTo>
                  <a:lnTo>
                    <a:pt x="787" y="435"/>
                  </a:lnTo>
                  <a:lnTo>
                    <a:pt x="785" y="435"/>
                  </a:lnTo>
                  <a:lnTo>
                    <a:pt x="785" y="437"/>
                  </a:lnTo>
                  <a:lnTo>
                    <a:pt x="785" y="438"/>
                  </a:lnTo>
                  <a:lnTo>
                    <a:pt x="787" y="439"/>
                  </a:lnTo>
                  <a:lnTo>
                    <a:pt x="787" y="441"/>
                  </a:lnTo>
                  <a:lnTo>
                    <a:pt x="788" y="443"/>
                  </a:lnTo>
                  <a:lnTo>
                    <a:pt x="788" y="444"/>
                  </a:lnTo>
                  <a:lnTo>
                    <a:pt x="791" y="444"/>
                  </a:lnTo>
                  <a:lnTo>
                    <a:pt x="792" y="445"/>
                  </a:lnTo>
                  <a:lnTo>
                    <a:pt x="793" y="446"/>
                  </a:lnTo>
                  <a:lnTo>
                    <a:pt x="794" y="446"/>
                  </a:lnTo>
                  <a:lnTo>
                    <a:pt x="798" y="445"/>
                  </a:lnTo>
                  <a:lnTo>
                    <a:pt x="803" y="444"/>
                  </a:lnTo>
                  <a:lnTo>
                    <a:pt x="803" y="449"/>
                  </a:lnTo>
                  <a:lnTo>
                    <a:pt x="804" y="449"/>
                  </a:lnTo>
                  <a:lnTo>
                    <a:pt x="809" y="449"/>
                  </a:lnTo>
                  <a:lnTo>
                    <a:pt x="812" y="449"/>
                  </a:lnTo>
                  <a:lnTo>
                    <a:pt x="814" y="447"/>
                  </a:lnTo>
                  <a:lnTo>
                    <a:pt x="815" y="447"/>
                  </a:lnTo>
                  <a:lnTo>
                    <a:pt x="815" y="450"/>
                  </a:lnTo>
                  <a:lnTo>
                    <a:pt x="817" y="451"/>
                  </a:lnTo>
                  <a:lnTo>
                    <a:pt x="818" y="450"/>
                  </a:lnTo>
                  <a:lnTo>
                    <a:pt x="820" y="450"/>
                  </a:lnTo>
                  <a:lnTo>
                    <a:pt x="821" y="451"/>
                  </a:lnTo>
                  <a:lnTo>
                    <a:pt x="821" y="452"/>
                  </a:lnTo>
                  <a:lnTo>
                    <a:pt x="818" y="456"/>
                  </a:lnTo>
                  <a:lnTo>
                    <a:pt x="816" y="457"/>
                  </a:lnTo>
                  <a:lnTo>
                    <a:pt x="815" y="458"/>
                  </a:lnTo>
                  <a:lnTo>
                    <a:pt x="814" y="459"/>
                  </a:lnTo>
                  <a:lnTo>
                    <a:pt x="815" y="459"/>
                  </a:lnTo>
                  <a:lnTo>
                    <a:pt x="816" y="459"/>
                  </a:lnTo>
                  <a:lnTo>
                    <a:pt x="817" y="461"/>
                  </a:lnTo>
                  <a:lnTo>
                    <a:pt x="818" y="461"/>
                  </a:lnTo>
                  <a:lnTo>
                    <a:pt x="821" y="462"/>
                  </a:lnTo>
                  <a:lnTo>
                    <a:pt x="822" y="463"/>
                  </a:lnTo>
                  <a:lnTo>
                    <a:pt x="824" y="463"/>
                  </a:lnTo>
                  <a:lnTo>
                    <a:pt x="826" y="463"/>
                  </a:lnTo>
                  <a:lnTo>
                    <a:pt x="827" y="463"/>
                  </a:lnTo>
                  <a:lnTo>
                    <a:pt x="828" y="464"/>
                  </a:lnTo>
                  <a:lnTo>
                    <a:pt x="828" y="465"/>
                  </a:lnTo>
                  <a:lnTo>
                    <a:pt x="827" y="465"/>
                  </a:lnTo>
                  <a:lnTo>
                    <a:pt x="826" y="467"/>
                  </a:lnTo>
                  <a:lnTo>
                    <a:pt x="826" y="468"/>
                  </a:lnTo>
                  <a:lnTo>
                    <a:pt x="827" y="469"/>
                  </a:lnTo>
                  <a:lnTo>
                    <a:pt x="829" y="469"/>
                  </a:lnTo>
                  <a:lnTo>
                    <a:pt x="833" y="471"/>
                  </a:lnTo>
                  <a:lnTo>
                    <a:pt x="834" y="471"/>
                  </a:lnTo>
                  <a:lnTo>
                    <a:pt x="836" y="471"/>
                  </a:lnTo>
                  <a:lnTo>
                    <a:pt x="838" y="471"/>
                  </a:lnTo>
                  <a:lnTo>
                    <a:pt x="839" y="471"/>
                  </a:lnTo>
                  <a:lnTo>
                    <a:pt x="841" y="473"/>
                  </a:lnTo>
                  <a:lnTo>
                    <a:pt x="842" y="471"/>
                  </a:lnTo>
                  <a:lnTo>
                    <a:pt x="846" y="471"/>
                  </a:lnTo>
                  <a:lnTo>
                    <a:pt x="846" y="473"/>
                  </a:lnTo>
                  <a:lnTo>
                    <a:pt x="845" y="475"/>
                  </a:lnTo>
                  <a:lnTo>
                    <a:pt x="842" y="477"/>
                  </a:lnTo>
                  <a:lnTo>
                    <a:pt x="841" y="480"/>
                  </a:lnTo>
                  <a:lnTo>
                    <a:pt x="840" y="481"/>
                  </a:lnTo>
                  <a:lnTo>
                    <a:pt x="838" y="482"/>
                  </a:lnTo>
                  <a:lnTo>
                    <a:pt x="834" y="482"/>
                  </a:lnTo>
                  <a:lnTo>
                    <a:pt x="832" y="485"/>
                  </a:lnTo>
                  <a:lnTo>
                    <a:pt x="836" y="486"/>
                  </a:lnTo>
                  <a:lnTo>
                    <a:pt x="839" y="485"/>
                  </a:lnTo>
                  <a:lnTo>
                    <a:pt x="840" y="485"/>
                  </a:lnTo>
                  <a:lnTo>
                    <a:pt x="841" y="486"/>
                  </a:lnTo>
                  <a:lnTo>
                    <a:pt x="841" y="488"/>
                  </a:lnTo>
                  <a:lnTo>
                    <a:pt x="842" y="489"/>
                  </a:lnTo>
                  <a:lnTo>
                    <a:pt x="844" y="491"/>
                  </a:lnTo>
                  <a:lnTo>
                    <a:pt x="845" y="493"/>
                  </a:lnTo>
                  <a:lnTo>
                    <a:pt x="844" y="494"/>
                  </a:lnTo>
                  <a:lnTo>
                    <a:pt x="842" y="494"/>
                  </a:lnTo>
                  <a:lnTo>
                    <a:pt x="841" y="497"/>
                  </a:lnTo>
                  <a:lnTo>
                    <a:pt x="839" y="499"/>
                  </a:lnTo>
                  <a:lnTo>
                    <a:pt x="840" y="500"/>
                  </a:lnTo>
                  <a:lnTo>
                    <a:pt x="839" y="503"/>
                  </a:lnTo>
                  <a:lnTo>
                    <a:pt x="840" y="504"/>
                  </a:lnTo>
                  <a:lnTo>
                    <a:pt x="840" y="506"/>
                  </a:lnTo>
                  <a:lnTo>
                    <a:pt x="840" y="508"/>
                  </a:lnTo>
                  <a:lnTo>
                    <a:pt x="841" y="509"/>
                  </a:lnTo>
                  <a:lnTo>
                    <a:pt x="842" y="509"/>
                  </a:lnTo>
                  <a:lnTo>
                    <a:pt x="842" y="510"/>
                  </a:lnTo>
                  <a:lnTo>
                    <a:pt x="844" y="511"/>
                  </a:lnTo>
                  <a:lnTo>
                    <a:pt x="844" y="514"/>
                  </a:lnTo>
                  <a:lnTo>
                    <a:pt x="841" y="514"/>
                  </a:lnTo>
                  <a:lnTo>
                    <a:pt x="840" y="515"/>
                  </a:lnTo>
                  <a:lnTo>
                    <a:pt x="838" y="515"/>
                  </a:lnTo>
                  <a:lnTo>
                    <a:pt x="836" y="515"/>
                  </a:lnTo>
                  <a:lnTo>
                    <a:pt x="836" y="516"/>
                  </a:lnTo>
                  <a:lnTo>
                    <a:pt x="834" y="517"/>
                  </a:lnTo>
                  <a:lnTo>
                    <a:pt x="834" y="518"/>
                  </a:lnTo>
                  <a:lnTo>
                    <a:pt x="835" y="520"/>
                  </a:lnTo>
                  <a:lnTo>
                    <a:pt x="838" y="522"/>
                  </a:lnTo>
                  <a:lnTo>
                    <a:pt x="840" y="523"/>
                  </a:lnTo>
                  <a:lnTo>
                    <a:pt x="841" y="526"/>
                  </a:lnTo>
                  <a:lnTo>
                    <a:pt x="841" y="524"/>
                  </a:lnTo>
                  <a:lnTo>
                    <a:pt x="842" y="523"/>
                  </a:lnTo>
                  <a:lnTo>
                    <a:pt x="844" y="524"/>
                  </a:lnTo>
                  <a:lnTo>
                    <a:pt x="845" y="526"/>
                  </a:lnTo>
                  <a:lnTo>
                    <a:pt x="847" y="526"/>
                  </a:lnTo>
                  <a:lnTo>
                    <a:pt x="848" y="526"/>
                  </a:lnTo>
                  <a:lnTo>
                    <a:pt x="848" y="527"/>
                  </a:lnTo>
                  <a:lnTo>
                    <a:pt x="847" y="527"/>
                  </a:lnTo>
                  <a:lnTo>
                    <a:pt x="845" y="529"/>
                  </a:lnTo>
                  <a:lnTo>
                    <a:pt x="842" y="530"/>
                  </a:lnTo>
                  <a:lnTo>
                    <a:pt x="839" y="530"/>
                  </a:lnTo>
                  <a:lnTo>
                    <a:pt x="836" y="532"/>
                  </a:lnTo>
                  <a:lnTo>
                    <a:pt x="835" y="532"/>
                  </a:lnTo>
                  <a:lnTo>
                    <a:pt x="835" y="530"/>
                  </a:lnTo>
                  <a:lnTo>
                    <a:pt x="835" y="529"/>
                  </a:lnTo>
                  <a:lnTo>
                    <a:pt x="832" y="530"/>
                  </a:lnTo>
                  <a:lnTo>
                    <a:pt x="832" y="529"/>
                  </a:lnTo>
                  <a:lnTo>
                    <a:pt x="830" y="529"/>
                  </a:lnTo>
                  <a:lnTo>
                    <a:pt x="830" y="527"/>
                  </a:lnTo>
                  <a:lnTo>
                    <a:pt x="829" y="526"/>
                  </a:lnTo>
                  <a:lnTo>
                    <a:pt x="827" y="526"/>
                  </a:lnTo>
                  <a:lnTo>
                    <a:pt x="824" y="526"/>
                  </a:lnTo>
                  <a:lnTo>
                    <a:pt x="822" y="526"/>
                  </a:lnTo>
                  <a:lnTo>
                    <a:pt x="820" y="522"/>
                  </a:lnTo>
                  <a:lnTo>
                    <a:pt x="818" y="520"/>
                  </a:lnTo>
                  <a:lnTo>
                    <a:pt x="816" y="516"/>
                  </a:lnTo>
                  <a:lnTo>
                    <a:pt x="815" y="512"/>
                  </a:lnTo>
                  <a:lnTo>
                    <a:pt x="812" y="510"/>
                  </a:lnTo>
                  <a:lnTo>
                    <a:pt x="812" y="506"/>
                  </a:lnTo>
                  <a:lnTo>
                    <a:pt x="811" y="506"/>
                  </a:lnTo>
                  <a:lnTo>
                    <a:pt x="810" y="505"/>
                  </a:lnTo>
                  <a:lnTo>
                    <a:pt x="810" y="503"/>
                  </a:lnTo>
                  <a:lnTo>
                    <a:pt x="808" y="500"/>
                  </a:lnTo>
                  <a:lnTo>
                    <a:pt x="805" y="500"/>
                  </a:lnTo>
                  <a:lnTo>
                    <a:pt x="804" y="503"/>
                  </a:lnTo>
                  <a:lnTo>
                    <a:pt x="800" y="503"/>
                  </a:lnTo>
                  <a:lnTo>
                    <a:pt x="798" y="502"/>
                  </a:lnTo>
                  <a:lnTo>
                    <a:pt x="797" y="500"/>
                  </a:lnTo>
                  <a:lnTo>
                    <a:pt x="795" y="502"/>
                  </a:lnTo>
                  <a:lnTo>
                    <a:pt x="793" y="503"/>
                  </a:lnTo>
                  <a:lnTo>
                    <a:pt x="792" y="505"/>
                  </a:lnTo>
                  <a:lnTo>
                    <a:pt x="791" y="505"/>
                  </a:lnTo>
                  <a:lnTo>
                    <a:pt x="789" y="504"/>
                  </a:lnTo>
                  <a:lnTo>
                    <a:pt x="787" y="504"/>
                  </a:lnTo>
                  <a:lnTo>
                    <a:pt x="787" y="503"/>
                  </a:lnTo>
                  <a:lnTo>
                    <a:pt x="787" y="502"/>
                  </a:lnTo>
                  <a:lnTo>
                    <a:pt x="786" y="502"/>
                  </a:lnTo>
                  <a:lnTo>
                    <a:pt x="786" y="500"/>
                  </a:lnTo>
                  <a:lnTo>
                    <a:pt x="786" y="498"/>
                  </a:lnTo>
                  <a:lnTo>
                    <a:pt x="788" y="497"/>
                  </a:lnTo>
                  <a:lnTo>
                    <a:pt x="789" y="494"/>
                  </a:lnTo>
                  <a:lnTo>
                    <a:pt x="791" y="494"/>
                  </a:lnTo>
                  <a:lnTo>
                    <a:pt x="793" y="494"/>
                  </a:lnTo>
                  <a:lnTo>
                    <a:pt x="793" y="492"/>
                  </a:lnTo>
                  <a:lnTo>
                    <a:pt x="792" y="491"/>
                  </a:lnTo>
                  <a:lnTo>
                    <a:pt x="793" y="488"/>
                  </a:lnTo>
                  <a:lnTo>
                    <a:pt x="793" y="489"/>
                  </a:lnTo>
                  <a:lnTo>
                    <a:pt x="794" y="489"/>
                  </a:lnTo>
                  <a:lnTo>
                    <a:pt x="795" y="489"/>
                  </a:lnTo>
                  <a:lnTo>
                    <a:pt x="797" y="489"/>
                  </a:lnTo>
                  <a:lnTo>
                    <a:pt x="799" y="489"/>
                  </a:lnTo>
                  <a:lnTo>
                    <a:pt x="799" y="488"/>
                  </a:lnTo>
                  <a:lnTo>
                    <a:pt x="799" y="486"/>
                  </a:lnTo>
                  <a:lnTo>
                    <a:pt x="795" y="486"/>
                  </a:lnTo>
                  <a:lnTo>
                    <a:pt x="794" y="486"/>
                  </a:lnTo>
                  <a:lnTo>
                    <a:pt x="794" y="485"/>
                  </a:lnTo>
                  <a:lnTo>
                    <a:pt x="792" y="485"/>
                  </a:lnTo>
                  <a:lnTo>
                    <a:pt x="791" y="485"/>
                  </a:lnTo>
                  <a:lnTo>
                    <a:pt x="788" y="485"/>
                  </a:lnTo>
                  <a:lnTo>
                    <a:pt x="786" y="483"/>
                  </a:lnTo>
                  <a:lnTo>
                    <a:pt x="785" y="483"/>
                  </a:lnTo>
                  <a:lnTo>
                    <a:pt x="782" y="482"/>
                  </a:lnTo>
                  <a:lnTo>
                    <a:pt x="779" y="481"/>
                  </a:lnTo>
                  <a:lnTo>
                    <a:pt x="781" y="479"/>
                  </a:lnTo>
                  <a:lnTo>
                    <a:pt x="777" y="479"/>
                  </a:lnTo>
                  <a:lnTo>
                    <a:pt x="776" y="476"/>
                  </a:lnTo>
                  <a:lnTo>
                    <a:pt x="777" y="474"/>
                  </a:lnTo>
                  <a:lnTo>
                    <a:pt x="776" y="473"/>
                  </a:lnTo>
                  <a:lnTo>
                    <a:pt x="775" y="474"/>
                  </a:lnTo>
                  <a:lnTo>
                    <a:pt x="771" y="475"/>
                  </a:lnTo>
                  <a:lnTo>
                    <a:pt x="770" y="475"/>
                  </a:lnTo>
                  <a:lnTo>
                    <a:pt x="768" y="476"/>
                  </a:lnTo>
                  <a:lnTo>
                    <a:pt x="767" y="475"/>
                  </a:lnTo>
                  <a:lnTo>
                    <a:pt x="764" y="474"/>
                  </a:lnTo>
                  <a:lnTo>
                    <a:pt x="764" y="473"/>
                  </a:lnTo>
                  <a:lnTo>
                    <a:pt x="764" y="470"/>
                  </a:lnTo>
                  <a:lnTo>
                    <a:pt x="761" y="471"/>
                  </a:lnTo>
                  <a:lnTo>
                    <a:pt x="759" y="470"/>
                  </a:lnTo>
                  <a:lnTo>
                    <a:pt x="761" y="469"/>
                  </a:lnTo>
                  <a:lnTo>
                    <a:pt x="758" y="468"/>
                  </a:lnTo>
                  <a:lnTo>
                    <a:pt x="756" y="467"/>
                  </a:lnTo>
                  <a:lnTo>
                    <a:pt x="753" y="467"/>
                  </a:lnTo>
                  <a:lnTo>
                    <a:pt x="752" y="467"/>
                  </a:lnTo>
                  <a:lnTo>
                    <a:pt x="751" y="465"/>
                  </a:lnTo>
                  <a:lnTo>
                    <a:pt x="750" y="465"/>
                  </a:lnTo>
                  <a:lnTo>
                    <a:pt x="749" y="464"/>
                  </a:lnTo>
                  <a:lnTo>
                    <a:pt x="747" y="465"/>
                  </a:lnTo>
                  <a:lnTo>
                    <a:pt x="746" y="463"/>
                  </a:lnTo>
                  <a:lnTo>
                    <a:pt x="746" y="462"/>
                  </a:lnTo>
                  <a:lnTo>
                    <a:pt x="745" y="462"/>
                  </a:lnTo>
                  <a:lnTo>
                    <a:pt x="745" y="459"/>
                  </a:lnTo>
                  <a:lnTo>
                    <a:pt x="743" y="459"/>
                  </a:lnTo>
                  <a:lnTo>
                    <a:pt x="744" y="457"/>
                  </a:lnTo>
                  <a:lnTo>
                    <a:pt x="744" y="455"/>
                  </a:lnTo>
                  <a:lnTo>
                    <a:pt x="745" y="455"/>
                  </a:lnTo>
                  <a:lnTo>
                    <a:pt x="743" y="455"/>
                  </a:lnTo>
                  <a:lnTo>
                    <a:pt x="743" y="453"/>
                  </a:lnTo>
                  <a:lnTo>
                    <a:pt x="741" y="452"/>
                  </a:lnTo>
                  <a:lnTo>
                    <a:pt x="741" y="451"/>
                  </a:lnTo>
                  <a:lnTo>
                    <a:pt x="741" y="450"/>
                  </a:lnTo>
                  <a:lnTo>
                    <a:pt x="740" y="450"/>
                  </a:lnTo>
                  <a:lnTo>
                    <a:pt x="739" y="449"/>
                  </a:lnTo>
                  <a:lnTo>
                    <a:pt x="736" y="446"/>
                  </a:lnTo>
                  <a:lnTo>
                    <a:pt x="736" y="449"/>
                  </a:lnTo>
                  <a:lnTo>
                    <a:pt x="736" y="450"/>
                  </a:lnTo>
                  <a:lnTo>
                    <a:pt x="736" y="451"/>
                  </a:lnTo>
                  <a:lnTo>
                    <a:pt x="736" y="453"/>
                  </a:lnTo>
                  <a:lnTo>
                    <a:pt x="735" y="453"/>
                  </a:lnTo>
                  <a:lnTo>
                    <a:pt x="732" y="453"/>
                  </a:lnTo>
                  <a:lnTo>
                    <a:pt x="730" y="455"/>
                  </a:lnTo>
                  <a:lnTo>
                    <a:pt x="730" y="457"/>
                  </a:lnTo>
                  <a:lnTo>
                    <a:pt x="732" y="458"/>
                  </a:lnTo>
                  <a:lnTo>
                    <a:pt x="733" y="458"/>
                  </a:lnTo>
                  <a:lnTo>
                    <a:pt x="734" y="457"/>
                  </a:lnTo>
                  <a:lnTo>
                    <a:pt x="735" y="458"/>
                  </a:lnTo>
                  <a:lnTo>
                    <a:pt x="736" y="457"/>
                  </a:lnTo>
                  <a:lnTo>
                    <a:pt x="739" y="457"/>
                  </a:lnTo>
                  <a:lnTo>
                    <a:pt x="739" y="462"/>
                  </a:lnTo>
                  <a:lnTo>
                    <a:pt x="740" y="462"/>
                  </a:lnTo>
                  <a:lnTo>
                    <a:pt x="740" y="464"/>
                  </a:lnTo>
                  <a:lnTo>
                    <a:pt x="741" y="467"/>
                  </a:lnTo>
                  <a:lnTo>
                    <a:pt x="741" y="468"/>
                  </a:lnTo>
                  <a:lnTo>
                    <a:pt x="744" y="469"/>
                  </a:lnTo>
                  <a:lnTo>
                    <a:pt x="743" y="471"/>
                  </a:lnTo>
                  <a:lnTo>
                    <a:pt x="739" y="470"/>
                  </a:lnTo>
                  <a:lnTo>
                    <a:pt x="738" y="470"/>
                  </a:lnTo>
                  <a:lnTo>
                    <a:pt x="738" y="469"/>
                  </a:lnTo>
                  <a:lnTo>
                    <a:pt x="736" y="469"/>
                  </a:lnTo>
                  <a:lnTo>
                    <a:pt x="735" y="468"/>
                  </a:lnTo>
                  <a:lnTo>
                    <a:pt x="734" y="468"/>
                  </a:lnTo>
                  <a:lnTo>
                    <a:pt x="733" y="467"/>
                  </a:lnTo>
                  <a:lnTo>
                    <a:pt x="730" y="465"/>
                  </a:lnTo>
                  <a:lnTo>
                    <a:pt x="730" y="463"/>
                  </a:lnTo>
                  <a:lnTo>
                    <a:pt x="729" y="464"/>
                  </a:lnTo>
                  <a:lnTo>
                    <a:pt x="728" y="464"/>
                  </a:lnTo>
                  <a:lnTo>
                    <a:pt x="726" y="465"/>
                  </a:lnTo>
                  <a:lnTo>
                    <a:pt x="724" y="464"/>
                  </a:lnTo>
                  <a:lnTo>
                    <a:pt x="723" y="462"/>
                  </a:lnTo>
                  <a:lnTo>
                    <a:pt x="721" y="462"/>
                  </a:lnTo>
                  <a:lnTo>
                    <a:pt x="718" y="462"/>
                  </a:lnTo>
                  <a:lnTo>
                    <a:pt x="717" y="461"/>
                  </a:lnTo>
                  <a:lnTo>
                    <a:pt x="716" y="462"/>
                  </a:lnTo>
                  <a:lnTo>
                    <a:pt x="715" y="461"/>
                  </a:lnTo>
                  <a:lnTo>
                    <a:pt x="712" y="459"/>
                  </a:lnTo>
                  <a:lnTo>
                    <a:pt x="710" y="459"/>
                  </a:lnTo>
                  <a:lnTo>
                    <a:pt x="708" y="459"/>
                  </a:lnTo>
                  <a:lnTo>
                    <a:pt x="703" y="459"/>
                  </a:lnTo>
                  <a:lnTo>
                    <a:pt x="702" y="458"/>
                  </a:lnTo>
                  <a:lnTo>
                    <a:pt x="699" y="458"/>
                  </a:lnTo>
                  <a:lnTo>
                    <a:pt x="700" y="456"/>
                  </a:lnTo>
                  <a:lnTo>
                    <a:pt x="700" y="455"/>
                  </a:lnTo>
                  <a:lnTo>
                    <a:pt x="699" y="455"/>
                  </a:lnTo>
                  <a:lnTo>
                    <a:pt x="697" y="455"/>
                  </a:lnTo>
                  <a:lnTo>
                    <a:pt x="696" y="455"/>
                  </a:lnTo>
                  <a:lnTo>
                    <a:pt x="694" y="453"/>
                  </a:lnTo>
                  <a:lnTo>
                    <a:pt x="691" y="451"/>
                  </a:lnTo>
                  <a:lnTo>
                    <a:pt x="688" y="449"/>
                  </a:lnTo>
                  <a:lnTo>
                    <a:pt x="688" y="447"/>
                  </a:lnTo>
                  <a:lnTo>
                    <a:pt x="688" y="446"/>
                  </a:lnTo>
                  <a:lnTo>
                    <a:pt x="690" y="444"/>
                  </a:lnTo>
                  <a:lnTo>
                    <a:pt x="693" y="440"/>
                  </a:lnTo>
                  <a:lnTo>
                    <a:pt x="693" y="438"/>
                  </a:lnTo>
                  <a:lnTo>
                    <a:pt x="692" y="437"/>
                  </a:lnTo>
                  <a:lnTo>
                    <a:pt x="692" y="438"/>
                  </a:lnTo>
                  <a:lnTo>
                    <a:pt x="691" y="439"/>
                  </a:lnTo>
                  <a:lnTo>
                    <a:pt x="691" y="440"/>
                  </a:lnTo>
                  <a:lnTo>
                    <a:pt x="690" y="443"/>
                  </a:lnTo>
                  <a:lnTo>
                    <a:pt x="687" y="445"/>
                  </a:lnTo>
                  <a:lnTo>
                    <a:pt x="686" y="444"/>
                  </a:lnTo>
                  <a:lnTo>
                    <a:pt x="684" y="443"/>
                  </a:lnTo>
                  <a:lnTo>
                    <a:pt x="682" y="443"/>
                  </a:lnTo>
                  <a:lnTo>
                    <a:pt x="681" y="441"/>
                  </a:lnTo>
                  <a:lnTo>
                    <a:pt x="680" y="441"/>
                  </a:lnTo>
                  <a:lnTo>
                    <a:pt x="678" y="443"/>
                  </a:lnTo>
                  <a:lnTo>
                    <a:pt x="676" y="445"/>
                  </a:lnTo>
                  <a:lnTo>
                    <a:pt x="676" y="446"/>
                  </a:lnTo>
                  <a:lnTo>
                    <a:pt x="675" y="447"/>
                  </a:lnTo>
                  <a:lnTo>
                    <a:pt x="671" y="447"/>
                  </a:lnTo>
                  <a:lnTo>
                    <a:pt x="670" y="447"/>
                  </a:lnTo>
                  <a:lnTo>
                    <a:pt x="669" y="446"/>
                  </a:lnTo>
                  <a:lnTo>
                    <a:pt x="667" y="447"/>
                  </a:lnTo>
                  <a:lnTo>
                    <a:pt x="665" y="449"/>
                  </a:lnTo>
                  <a:lnTo>
                    <a:pt x="665" y="452"/>
                  </a:lnTo>
                  <a:lnTo>
                    <a:pt x="667" y="455"/>
                  </a:lnTo>
                  <a:lnTo>
                    <a:pt x="667" y="453"/>
                  </a:lnTo>
                  <a:lnTo>
                    <a:pt x="669" y="452"/>
                  </a:lnTo>
                  <a:lnTo>
                    <a:pt x="670" y="452"/>
                  </a:lnTo>
                  <a:lnTo>
                    <a:pt x="670" y="453"/>
                  </a:lnTo>
                  <a:lnTo>
                    <a:pt x="671" y="455"/>
                  </a:lnTo>
                  <a:lnTo>
                    <a:pt x="673" y="456"/>
                  </a:lnTo>
                  <a:lnTo>
                    <a:pt x="674" y="452"/>
                  </a:lnTo>
                  <a:lnTo>
                    <a:pt x="675" y="452"/>
                  </a:lnTo>
                  <a:lnTo>
                    <a:pt x="676" y="451"/>
                  </a:lnTo>
                  <a:lnTo>
                    <a:pt x="679" y="452"/>
                  </a:lnTo>
                  <a:lnTo>
                    <a:pt x="679" y="451"/>
                  </a:lnTo>
                  <a:lnTo>
                    <a:pt x="680" y="452"/>
                  </a:lnTo>
                  <a:lnTo>
                    <a:pt x="680" y="453"/>
                  </a:lnTo>
                  <a:lnTo>
                    <a:pt x="681" y="453"/>
                  </a:lnTo>
                  <a:lnTo>
                    <a:pt x="680" y="453"/>
                  </a:lnTo>
                  <a:lnTo>
                    <a:pt x="679" y="455"/>
                  </a:lnTo>
                  <a:lnTo>
                    <a:pt x="679" y="456"/>
                  </a:lnTo>
                  <a:lnTo>
                    <a:pt x="679" y="458"/>
                  </a:lnTo>
                  <a:lnTo>
                    <a:pt x="680" y="462"/>
                  </a:lnTo>
                  <a:lnTo>
                    <a:pt x="680" y="463"/>
                  </a:lnTo>
                  <a:lnTo>
                    <a:pt x="678" y="462"/>
                  </a:lnTo>
                  <a:lnTo>
                    <a:pt x="676" y="462"/>
                  </a:lnTo>
                  <a:lnTo>
                    <a:pt x="675" y="462"/>
                  </a:lnTo>
                  <a:lnTo>
                    <a:pt x="674" y="461"/>
                  </a:lnTo>
                  <a:lnTo>
                    <a:pt x="673" y="459"/>
                  </a:lnTo>
                  <a:lnTo>
                    <a:pt x="673" y="458"/>
                  </a:lnTo>
                  <a:lnTo>
                    <a:pt x="671" y="458"/>
                  </a:lnTo>
                  <a:lnTo>
                    <a:pt x="670" y="462"/>
                  </a:lnTo>
                  <a:lnTo>
                    <a:pt x="671" y="463"/>
                  </a:lnTo>
                  <a:lnTo>
                    <a:pt x="674" y="463"/>
                  </a:lnTo>
                  <a:lnTo>
                    <a:pt x="678" y="463"/>
                  </a:lnTo>
                  <a:lnTo>
                    <a:pt x="678" y="467"/>
                  </a:lnTo>
                  <a:lnTo>
                    <a:pt x="680" y="468"/>
                  </a:lnTo>
                  <a:lnTo>
                    <a:pt x="682" y="468"/>
                  </a:lnTo>
                  <a:lnTo>
                    <a:pt x="682" y="465"/>
                  </a:lnTo>
                  <a:lnTo>
                    <a:pt x="684" y="467"/>
                  </a:lnTo>
                  <a:lnTo>
                    <a:pt x="685" y="467"/>
                  </a:lnTo>
                  <a:lnTo>
                    <a:pt x="688" y="464"/>
                  </a:lnTo>
                  <a:lnTo>
                    <a:pt x="688" y="463"/>
                  </a:lnTo>
                  <a:lnTo>
                    <a:pt x="690" y="463"/>
                  </a:lnTo>
                  <a:lnTo>
                    <a:pt x="693" y="464"/>
                  </a:lnTo>
                  <a:lnTo>
                    <a:pt x="694" y="464"/>
                  </a:lnTo>
                  <a:lnTo>
                    <a:pt x="694" y="465"/>
                  </a:lnTo>
                  <a:lnTo>
                    <a:pt x="693" y="467"/>
                  </a:lnTo>
                  <a:lnTo>
                    <a:pt x="693" y="468"/>
                  </a:lnTo>
                  <a:lnTo>
                    <a:pt x="693" y="470"/>
                  </a:lnTo>
                  <a:lnTo>
                    <a:pt x="694" y="471"/>
                  </a:lnTo>
                  <a:lnTo>
                    <a:pt x="697" y="473"/>
                  </a:lnTo>
                  <a:lnTo>
                    <a:pt x="698" y="474"/>
                  </a:lnTo>
                  <a:lnTo>
                    <a:pt x="698" y="475"/>
                  </a:lnTo>
                  <a:lnTo>
                    <a:pt x="697" y="476"/>
                  </a:lnTo>
                  <a:lnTo>
                    <a:pt x="698" y="476"/>
                  </a:lnTo>
                  <a:lnTo>
                    <a:pt x="697" y="477"/>
                  </a:lnTo>
                  <a:lnTo>
                    <a:pt x="697" y="479"/>
                  </a:lnTo>
                  <a:lnTo>
                    <a:pt x="697" y="480"/>
                  </a:lnTo>
                  <a:lnTo>
                    <a:pt x="699" y="481"/>
                  </a:lnTo>
                  <a:lnTo>
                    <a:pt x="700" y="480"/>
                  </a:lnTo>
                  <a:lnTo>
                    <a:pt x="702" y="481"/>
                  </a:lnTo>
                  <a:lnTo>
                    <a:pt x="703" y="482"/>
                  </a:lnTo>
                  <a:lnTo>
                    <a:pt x="704" y="482"/>
                  </a:lnTo>
                  <a:lnTo>
                    <a:pt x="704" y="483"/>
                  </a:lnTo>
                  <a:lnTo>
                    <a:pt x="703" y="485"/>
                  </a:lnTo>
                  <a:lnTo>
                    <a:pt x="705" y="485"/>
                  </a:lnTo>
                  <a:lnTo>
                    <a:pt x="709" y="485"/>
                  </a:lnTo>
                  <a:lnTo>
                    <a:pt x="712" y="485"/>
                  </a:lnTo>
                  <a:lnTo>
                    <a:pt x="712" y="486"/>
                  </a:lnTo>
                  <a:lnTo>
                    <a:pt x="714" y="487"/>
                  </a:lnTo>
                  <a:lnTo>
                    <a:pt x="714" y="488"/>
                  </a:lnTo>
                  <a:lnTo>
                    <a:pt x="716" y="488"/>
                  </a:lnTo>
                  <a:lnTo>
                    <a:pt x="718" y="491"/>
                  </a:lnTo>
                  <a:lnTo>
                    <a:pt x="720" y="492"/>
                  </a:lnTo>
                  <a:lnTo>
                    <a:pt x="721" y="492"/>
                  </a:lnTo>
                  <a:lnTo>
                    <a:pt x="721" y="491"/>
                  </a:lnTo>
                  <a:lnTo>
                    <a:pt x="724" y="488"/>
                  </a:lnTo>
                  <a:lnTo>
                    <a:pt x="727" y="487"/>
                  </a:lnTo>
                  <a:lnTo>
                    <a:pt x="728" y="487"/>
                  </a:lnTo>
                  <a:lnTo>
                    <a:pt x="730" y="488"/>
                  </a:lnTo>
                  <a:lnTo>
                    <a:pt x="732" y="488"/>
                  </a:lnTo>
                  <a:lnTo>
                    <a:pt x="733" y="488"/>
                  </a:lnTo>
                  <a:lnTo>
                    <a:pt x="735" y="488"/>
                  </a:lnTo>
                  <a:lnTo>
                    <a:pt x="738" y="488"/>
                  </a:lnTo>
                  <a:lnTo>
                    <a:pt x="739" y="488"/>
                  </a:lnTo>
                  <a:lnTo>
                    <a:pt x="738" y="487"/>
                  </a:lnTo>
                  <a:lnTo>
                    <a:pt x="736" y="487"/>
                  </a:lnTo>
                  <a:lnTo>
                    <a:pt x="736" y="486"/>
                  </a:lnTo>
                  <a:lnTo>
                    <a:pt x="736" y="485"/>
                  </a:lnTo>
                  <a:lnTo>
                    <a:pt x="739" y="485"/>
                  </a:lnTo>
                  <a:lnTo>
                    <a:pt x="739" y="486"/>
                  </a:lnTo>
                  <a:lnTo>
                    <a:pt x="740" y="486"/>
                  </a:lnTo>
                  <a:lnTo>
                    <a:pt x="744" y="486"/>
                  </a:lnTo>
                  <a:lnTo>
                    <a:pt x="743" y="487"/>
                  </a:lnTo>
                  <a:lnTo>
                    <a:pt x="746" y="488"/>
                  </a:lnTo>
                  <a:lnTo>
                    <a:pt x="749" y="489"/>
                  </a:lnTo>
                  <a:lnTo>
                    <a:pt x="750" y="489"/>
                  </a:lnTo>
                  <a:lnTo>
                    <a:pt x="752" y="491"/>
                  </a:lnTo>
                  <a:lnTo>
                    <a:pt x="752" y="492"/>
                  </a:lnTo>
                  <a:lnTo>
                    <a:pt x="755" y="492"/>
                  </a:lnTo>
                  <a:lnTo>
                    <a:pt x="755" y="493"/>
                  </a:lnTo>
                  <a:lnTo>
                    <a:pt x="756" y="493"/>
                  </a:lnTo>
                  <a:lnTo>
                    <a:pt x="758" y="494"/>
                  </a:lnTo>
                  <a:lnTo>
                    <a:pt x="758" y="497"/>
                  </a:lnTo>
                  <a:lnTo>
                    <a:pt x="756" y="497"/>
                  </a:lnTo>
                  <a:lnTo>
                    <a:pt x="757" y="498"/>
                  </a:lnTo>
                  <a:lnTo>
                    <a:pt x="756" y="500"/>
                  </a:lnTo>
                  <a:lnTo>
                    <a:pt x="756" y="502"/>
                  </a:lnTo>
                  <a:lnTo>
                    <a:pt x="757" y="502"/>
                  </a:lnTo>
                  <a:lnTo>
                    <a:pt x="757" y="505"/>
                  </a:lnTo>
                  <a:lnTo>
                    <a:pt x="753" y="506"/>
                  </a:lnTo>
                  <a:lnTo>
                    <a:pt x="752" y="506"/>
                  </a:lnTo>
                  <a:lnTo>
                    <a:pt x="751" y="506"/>
                  </a:lnTo>
                  <a:lnTo>
                    <a:pt x="751" y="508"/>
                  </a:lnTo>
                  <a:lnTo>
                    <a:pt x="751" y="510"/>
                  </a:lnTo>
                  <a:lnTo>
                    <a:pt x="752" y="511"/>
                  </a:lnTo>
                  <a:lnTo>
                    <a:pt x="753" y="510"/>
                  </a:lnTo>
                  <a:lnTo>
                    <a:pt x="755" y="508"/>
                  </a:lnTo>
                  <a:lnTo>
                    <a:pt x="757" y="506"/>
                  </a:lnTo>
                  <a:lnTo>
                    <a:pt x="758" y="505"/>
                  </a:lnTo>
                  <a:lnTo>
                    <a:pt x="761" y="504"/>
                  </a:lnTo>
                  <a:lnTo>
                    <a:pt x="763" y="504"/>
                  </a:lnTo>
                  <a:lnTo>
                    <a:pt x="764" y="503"/>
                  </a:lnTo>
                  <a:lnTo>
                    <a:pt x="765" y="504"/>
                  </a:lnTo>
                  <a:lnTo>
                    <a:pt x="765" y="505"/>
                  </a:lnTo>
                  <a:lnTo>
                    <a:pt x="767" y="505"/>
                  </a:lnTo>
                  <a:lnTo>
                    <a:pt x="767" y="506"/>
                  </a:lnTo>
                  <a:lnTo>
                    <a:pt x="769" y="506"/>
                  </a:lnTo>
                  <a:lnTo>
                    <a:pt x="769" y="508"/>
                  </a:lnTo>
                  <a:lnTo>
                    <a:pt x="770" y="510"/>
                  </a:lnTo>
                  <a:lnTo>
                    <a:pt x="770" y="512"/>
                  </a:lnTo>
                  <a:lnTo>
                    <a:pt x="771" y="514"/>
                  </a:lnTo>
                  <a:lnTo>
                    <a:pt x="773" y="514"/>
                  </a:lnTo>
                  <a:lnTo>
                    <a:pt x="774" y="515"/>
                  </a:lnTo>
                  <a:lnTo>
                    <a:pt x="775" y="516"/>
                  </a:lnTo>
                  <a:lnTo>
                    <a:pt x="777" y="518"/>
                  </a:lnTo>
                  <a:lnTo>
                    <a:pt x="779" y="520"/>
                  </a:lnTo>
                  <a:lnTo>
                    <a:pt x="780" y="520"/>
                  </a:lnTo>
                  <a:lnTo>
                    <a:pt x="780" y="521"/>
                  </a:lnTo>
                  <a:lnTo>
                    <a:pt x="782" y="520"/>
                  </a:lnTo>
                  <a:lnTo>
                    <a:pt x="783" y="518"/>
                  </a:lnTo>
                  <a:lnTo>
                    <a:pt x="786" y="517"/>
                  </a:lnTo>
                  <a:lnTo>
                    <a:pt x="786" y="520"/>
                  </a:lnTo>
                  <a:lnTo>
                    <a:pt x="787" y="520"/>
                  </a:lnTo>
                  <a:lnTo>
                    <a:pt x="788" y="520"/>
                  </a:lnTo>
                  <a:lnTo>
                    <a:pt x="789" y="520"/>
                  </a:lnTo>
                  <a:lnTo>
                    <a:pt x="791" y="520"/>
                  </a:lnTo>
                  <a:lnTo>
                    <a:pt x="792" y="521"/>
                  </a:lnTo>
                  <a:lnTo>
                    <a:pt x="792" y="522"/>
                  </a:lnTo>
                  <a:lnTo>
                    <a:pt x="791" y="522"/>
                  </a:lnTo>
                  <a:lnTo>
                    <a:pt x="792" y="527"/>
                  </a:lnTo>
                  <a:lnTo>
                    <a:pt x="793" y="528"/>
                  </a:lnTo>
                  <a:lnTo>
                    <a:pt x="792" y="529"/>
                  </a:lnTo>
                  <a:lnTo>
                    <a:pt x="791" y="530"/>
                  </a:lnTo>
                  <a:lnTo>
                    <a:pt x="791" y="532"/>
                  </a:lnTo>
                  <a:lnTo>
                    <a:pt x="792" y="532"/>
                  </a:lnTo>
                  <a:lnTo>
                    <a:pt x="793" y="534"/>
                  </a:lnTo>
                  <a:lnTo>
                    <a:pt x="793" y="539"/>
                  </a:lnTo>
                  <a:lnTo>
                    <a:pt x="792" y="540"/>
                  </a:lnTo>
                  <a:lnTo>
                    <a:pt x="791" y="540"/>
                  </a:lnTo>
                  <a:lnTo>
                    <a:pt x="792" y="544"/>
                  </a:lnTo>
                  <a:lnTo>
                    <a:pt x="793" y="545"/>
                  </a:lnTo>
                  <a:lnTo>
                    <a:pt x="794" y="546"/>
                  </a:lnTo>
                  <a:lnTo>
                    <a:pt x="795" y="546"/>
                  </a:lnTo>
                  <a:lnTo>
                    <a:pt x="798" y="546"/>
                  </a:lnTo>
                  <a:lnTo>
                    <a:pt x="800" y="546"/>
                  </a:lnTo>
                  <a:lnTo>
                    <a:pt x="803" y="546"/>
                  </a:lnTo>
                  <a:lnTo>
                    <a:pt x="805" y="546"/>
                  </a:lnTo>
                  <a:lnTo>
                    <a:pt x="808" y="547"/>
                  </a:lnTo>
                  <a:lnTo>
                    <a:pt x="809" y="548"/>
                  </a:lnTo>
                  <a:lnTo>
                    <a:pt x="809" y="550"/>
                  </a:lnTo>
                  <a:lnTo>
                    <a:pt x="809" y="551"/>
                  </a:lnTo>
                  <a:lnTo>
                    <a:pt x="810" y="553"/>
                  </a:lnTo>
                  <a:lnTo>
                    <a:pt x="816" y="552"/>
                  </a:lnTo>
                  <a:lnTo>
                    <a:pt x="818" y="553"/>
                  </a:lnTo>
                  <a:lnTo>
                    <a:pt x="820" y="554"/>
                  </a:lnTo>
                  <a:lnTo>
                    <a:pt x="821" y="556"/>
                  </a:lnTo>
                  <a:lnTo>
                    <a:pt x="821" y="557"/>
                  </a:lnTo>
                  <a:lnTo>
                    <a:pt x="821" y="559"/>
                  </a:lnTo>
                  <a:lnTo>
                    <a:pt x="820" y="559"/>
                  </a:lnTo>
                  <a:lnTo>
                    <a:pt x="818" y="560"/>
                  </a:lnTo>
                  <a:lnTo>
                    <a:pt x="818" y="562"/>
                  </a:lnTo>
                  <a:lnTo>
                    <a:pt x="820" y="564"/>
                  </a:lnTo>
                  <a:lnTo>
                    <a:pt x="822" y="564"/>
                  </a:lnTo>
                  <a:lnTo>
                    <a:pt x="823" y="564"/>
                  </a:lnTo>
                  <a:lnTo>
                    <a:pt x="823" y="565"/>
                  </a:lnTo>
                  <a:lnTo>
                    <a:pt x="823" y="566"/>
                  </a:lnTo>
                  <a:lnTo>
                    <a:pt x="824" y="568"/>
                  </a:lnTo>
                  <a:lnTo>
                    <a:pt x="826" y="569"/>
                  </a:lnTo>
                  <a:lnTo>
                    <a:pt x="827" y="569"/>
                  </a:lnTo>
                  <a:lnTo>
                    <a:pt x="829" y="569"/>
                  </a:lnTo>
                  <a:lnTo>
                    <a:pt x="832" y="570"/>
                  </a:lnTo>
                  <a:lnTo>
                    <a:pt x="833" y="572"/>
                  </a:lnTo>
                  <a:lnTo>
                    <a:pt x="833" y="575"/>
                  </a:lnTo>
                  <a:lnTo>
                    <a:pt x="834" y="575"/>
                  </a:lnTo>
                  <a:lnTo>
                    <a:pt x="836" y="575"/>
                  </a:lnTo>
                  <a:lnTo>
                    <a:pt x="836" y="576"/>
                  </a:lnTo>
                  <a:lnTo>
                    <a:pt x="839" y="576"/>
                  </a:lnTo>
                  <a:lnTo>
                    <a:pt x="839" y="577"/>
                  </a:lnTo>
                  <a:lnTo>
                    <a:pt x="838" y="578"/>
                  </a:lnTo>
                  <a:lnTo>
                    <a:pt x="838" y="580"/>
                  </a:lnTo>
                  <a:lnTo>
                    <a:pt x="838" y="581"/>
                  </a:lnTo>
                  <a:lnTo>
                    <a:pt x="838" y="584"/>
                  </a:lnTo>
                  <a:lnTo>
                    <a:pt x="839" y="588"/>
                  </a:lnTo>
                  <a:lnTo>
                    <a:pt x="841" y="588"/>
                  </a:lnTo>
                  <a:lnTo>
                    <a:pt x="841" y="589"/>
                  </a:lnTo>
                  <a:lnTo>
                    <a:pt x="840" y="589"/>
                  </a:lnTo>
                  <a:lnTo>
                    <a:pt x="838" y="590"/>
                  </a:lnTo>
                  <a:lnTo>
                    <a:pt x="840" y="590"/>
                  </a:lnTo>
                  <a:lnTo>
                    <a:pt x="841" y="593"/>
                  </a:lnTo>
                  <a:lnTo>
                    <a:pt x="844" y="595"/>
                  </a:lnTo>
                  <a:lnTo>
                    <a:pt x="845" y="598"/>
                  </a:lnTo>
                  <a:lnTo>
                    <a:pt x="844" y="599"/>
                  </a:lnTo>
                  <a:lnTo>
                    <a:pt x="842" y="600"/>
                  </a:lnTo>
                  <a:lnTo>
                    <a:pt x="842" y="603"/>
                  </a:lnTo>
                  <a:lnTo>
                    <a:pt x="842" y="606"/>
                  </a:lnTo>
                  <a:lnTo>
                    <a:pt x="844" y="605"/>
                  </a:lnTo>
                  <a:lnTo>
                    <a:pt x="847" y="605"/>
                  </a:lnTo>
                  <a:lnTo>
                    <a:pt x="848" y="606"/>
                  </a:lnTo>
                  <a:lnTo>
                    <a:pt x="850" y="607"/>
                  </a:lnTo>
                  <a:lnTo>
                    <a:pt x="851" y="611"/>
                  </a:lnTo>
                  <a:lnTo>
                    <a:pt x="851" y="613"/>
                  </a:lnTo>
                  <a:lnTo>
                    <a:pt x="854" y="613"/>
                  </a:lnTo>
                  <a:lnTo>
                    <a:pt x="854" y="612"/>
                  </a:lnTo>
                  <a:lnTo>
                    <a:pt x="856" y="613"/>
                  </a:lnTo>
                  <a:lnTo>
                    <a:pt x="857" y="615"/>
                  </a:lnTo>
                  <a:lnTo>
                    <a:pt x="859" y="615"/>
                  </a:lnTo>
                  <a:lnTo>
                    <a:pt x="858" y="617"/>
                  </a:lnTo>
                  <a:lnTo>
                    <a:pt x="858" y="618"/>
                  </a:lnTo>
                  <a:lnTo>
                    <a:pt x="858" y="619"/>
                  </a:lnTo>
                  <a:lnTo>
                    <a:pt x="858" y="621"/>
                  </a:lnTo>
                  <a:lnTo>
                    <a:pt x="857" y="621"/>
                  </a:lnTo>
                  <a:lnTo>
                    <a:pt x="856" y="621"/>
                  </a:lnTo>
                  <a:lnTo>
                    <a:pt x="856" y="622"/>
                  </a:lnTo>
                  <a:lnTo>
                    <a:pt x="858" y="623"/>
                  </a:lnTo>
                  <a:lnTo>
                    <a:pt x="858" y="622"/>
                  </a:lnTo>
                  <a:lnTo>
                    <a:pt x="861" y="623"/>
                  </a:lnTo>
                  <a:lnTo>
                    <a:pt x="862" y="623"/>
                  </a:lnTo>
                  <a:lnTo>
                    <a:pt x="863" y="624"/>
                  </a:lnTo>
                  <a:lnTo>
                    <a:pt x="863" y="625"/>
                  </a:lnTo>
                  <a:lnTo>
                    <a:pt x="862" y="625"/>
                  </a:lnTo>
                  <a:lnTo>
                    <a:pt x="862" y="628"/>
                  </a:lnTo>
                  <a:lnTo>
                    <a:pt x="863" y="628"/>
                  </a:lnTo>
                  <a:lnTo>
                    <a:pt x="864" y="629"/>
                  </a:lnTo>
                  <a:lnTo>
                    <a:pt x="865" y="630"/>
                  </a:lnTo>
                  <a:lnTo>
                    <a:pt x="867" y="631"/>
                  </a:lnTo>
                  <a:lnTo>
                    <a:pt x="867" y="630"/>
                  </a:lnTo>
                  <a:lnTo>
                    <a:pt x="869" y="631"/>
                  </a:lnTo>
                  <a:lnTo>
                    <a:pt x="871" y="633"/>
                  </a:lnTo>
                  <a:lnTo>
                    <a:pt x="871" y="634"/>
                  </a:lnTo>
                  <a:lnTo>
                    <a:pt x="870" y="635"/>
                  </a:lnTo>
                  <a:lnTo>
                    <a:pt x="869" y="635"/>
                  </a:lnTo>
                  <a:lnTo>
                    <a:pt x="869" y="636"/>
                  </a:lnTo>
                  <a:lnTo>
                    <a:pt x="871" y="639"/>
                  </a:lnTo>
                  <a:lnTo>
                    <a:pt x="873" y="640"/>
                  </a:lnTo>
                  <a:lnTo>
                    <a:pt x="875" y="641"/>
                  </a:lnTo>
                  <a:lnTo>
                    <a:pt x="876" y="642"/>
                  </a:lnTo>
                  <a:lnTo>
                    <a:pt x="877" y="641"/>
                  </a:lnTo>
                  <a:lnTo>
                    <a:pt x="879" y="641"/>
                  </a:lnTo>
                  <a:lnTo>
                    <a:pt x="880" y="640"/>
                  </a:lnTo>
                  <a:lnTo>
                    <a:pt x="881" y="640"/>
                  </a:lnTo>
                  <a:lnTo>
                    <a:pt x="882" y="639"/>
                  </a:lnTo>
                  <a:lnTo>
                    <a:pt x="883" y="642"/>
                  </a:lnTo>
                  <a:lnTo>
                    <a:pt x="885" y="643"/>
                  </a:lnTo>
                  <a:lnTo>
                    <a:pt x="885" y="642"/>
                  </a:lnTo>
                  <a:lnTo>
                    <a:pt x="886" y="642"/>
                  </a:lnTo>
                  <a:lnTo>
                    <a:pt x="886" y="641"/>
                  </a:lnTo>
                  <a:lnTo>
                    <a:pt x="888" y="641"/>
                  </a:lnTo>
                  <a:lnTo>
                    <a:pt x="889" y="641"/>
                  </a:lnTo>
                  <a:lnTo>
                    <a:pt x="891" y="640"/>
                  </a:lnTo>
                  <a:lnTo>
                    <a:pt x="893" y="641"/>
                  </a:lnTo>
                  <a:lnTo>
                    <a:pt x="891" y="642"/>
                  </a:lnTo>
                  <a:lnTo>
                    <a:pt x="891" y="643"/>
                  </a:lnTo>
                  <a:lnTo>
                    <a:pt x="891" y="646"/>
                  </a:lnTo>
                  <a:lnTo>
                    <a:pt x="891" y="647"/>
                  </a:lnTo>
                  <a:lnTo>
                    <a:pt x="888" y="647"/>
                  </a:lnTo>
                  <a:lnTo>
                    <a:pt x="888" y="646"/>
                  </a:lnTo>
                  <a:lnTo>
                    <a:pt x="887" y="646"/>
                  </a:lnTo>
                  <a:lnTo>
                    <a:pt x="887" y="648"/>
                  </a:lnTo>
                  <a:lnTo>
                    <a:pt x="885" y="649"/>
                  </a:lnTo>
                  <a:lnTo>
                    <a:pt x="881" y="649"/>
                  </a:lnTo>
                  <a:lnTo>
                    <a:pt x="880" y="651"/>
                  </a:lnTo>
                  <a:lnTo>
                    <a:pt x="879" y="649"/>
                  </a:lnTo>
                  <a:lnTo>
                    <a:pt x="879" y="651"/>
                  </a:lnTo>
                  <a:lnTo>
                    <a:pt x="876" y="652"/>
                  </a:lnTo>
                  <a:lnTo>
                    <a:pt x="877" y="654"/>
                  </a:lnTo>
                  <a:lnTo>
                    <a:pt x="877" y="655"/>
                  </a:lnTo>
                  <a:lnTo>
                    <a:pt x="877" y="657"/>
                  </a:lnTo>
                  <a:lnTo>
                    <a:pt x="875" y="659"/>
                  </a:lnTo>
                  <a:lnTo>
                    <a:pt x="874" y="660"/>
                  </a:lnTo>
                  <a:lnTo>
                    <a:pt x="874" y="661"/>
                  </a:lnTo>
                  <a:lnTo>
                    <a:pt x="873" y="661"/>
                  </a:lnTo>
                  <a:lnTo>
                    <a:pt x="873" y="663"/>
                  </a:lnTo>
                  <a:lnTo>
                    <a:pt x="874" y="664"/>
                  </a:lnTo>
                  <a:lnTo>
                    <a:pt x="875" y="667"/>
                  </a:lnTo>
                  <a:lnTo>
                    <a:pt x="871" y="669"/>
                  </a:lnTo>
                  <a:lnTo>
                    <a:pt x="874" y="669"/>
                  </a:lnTo>
                  <a:lnTo>
                    <a:pt x="875" y="670"/>
                  </a:lnTo>
                  <a:lnTo>
                    <a:pt x="876" y="670"/>
                  </a:lnTo>
                  <a:lnTo>
                    <a:pt x="879" y="672"/>
                  </a:lnTo>
                  <a:lnTo>
                    <a:pt x="879" y="673"/>
                  </a:lnTo>
                  <a:lnTo>
                    <a:pt x="880" y="673"/>
                  </a:lnTo>
                  <a:lnTo>
                    <a:pt x="880" y="672"/>
                  </a:lnTo>
                  <a:lnTo>
                    <a:pt x="881" y="673"/>
                  </a:lnTo>
                  <a:lnTo>
                    <a:pt x="882" y="673"/>
                  </a:lnTo>
                  <a:lnTo>
                    <a:pt x="882" y="675"/>
                  </a:lnTo>
                  <a:lnTo>
                    <a:pt x="882" y="676"/>
                  </a:lnTo>
                  <a:lnTo>
                    <a:pt x="881" y="676"/>
                  </a:lnTo>
                  <a:lnTo>
                    <a:pt x="879" y="676"/>
                  </a:lnTo>
                  <a:lnTo>
                    <a:pt x="877" y="677"/>
                  </a:lnTo>
                  <a:lnTo>
                    <a:pt x="876" y="678"/>
                  </a:lnTo>
                  <a:lnTo>
                    <a:pt x="875" y="678"/>
                  </a:lnTo>
                  <a:lnTo>
                    <a:pt x="874" y="677"/>
                  </a:lnTo>
                  <a:lnTo>
                    <a:pt x="871" y="676"/>
                  </a:lnTo>
                  <a:lnTo>
                    <a:pt x="869" y="673"/>
                  </a:lnTo>
                  <a:lnTo>
                    <a:pt x="868" y="672"/>
                  </a:lnTo>
                  <a:lnTo>
                    <a:pt x="867" y="671"/>
                  </a:lnTo>
                  <a:lnTo>
                    <a:pt x="864" y="669"/>
                  </a:lnTo>
                  <a:lnTo>
                    <a:pt x="862" y="669"/>
                  </a:lnTo>
                  <a:lnTo>
                    <a:pt x="861" y="667"/>
                  </a:lnTo>
                  <a:lnTo>
                    <a:pt x="858" y="665"/>
                  </a:lnTo>
                  <a:lnTo>
                    <a:pt x="859" y="664"/>
                  </a:lnTo>
                  <a:lnTo>
                    <a:pt x="859" y="661"/>
                  </a:lnTo>
                  <a:lnTo>
                    <a:pt x="859" y="660"/>
                  </a:lnTo>
                  <a:lnTo>
                    <a:pt x="857" y="660"/>
                  </a:lnTo>
                  <a:lnTo>
                    <a:pt x="854" y="661"/>
                  </a:lnTo>
                  <a:lnTo>
                    <a:pt x="851" y="661"/>
                  </a:lnTo>
                  <a:lnTo>
                    <a:pt x="847" y="660"/>
                  </a:lnTo>
                  <a:lnTo>
                    <a:pt x="844" y="660"/>
                  </a:lnTo>
                  <a:lnTo>
                    <a:pt x="841" y="660"/>
                  </a:lnTo>
                  <a:lnTo>
                    <a:pt x="840" y="660"/>
                  </a:lnTo>
                  <a:lnTo>
                    <a:pt x="841" y="658"/>
                  </a:lnTo>
                  <a:lnTo>
                    <a:pt x="841" y="657"/>
                  </a:lnTo>
                  <a:lnTo>
                    <a:pt x="840" y="655"/>
                  </a:lnTo>
                  <a:lnTo>
                    <a:pt x="841" y="653"/>
                  </a:lnTo>
                  <a:lnTo>
                    <a:pt x="841" y="652"/>
                  </a:lnTo>
                  <a:lnTo>
                    <a:pt x="840" y="652"/>
                  </a:lnTo>
                  <a:lnTo>
                    <a:pt x="840" y="655"/>
                  </a:lnTo>
                  <a:lnTo>
                    <a:pt x="839" y="657"/>
                  </a:lnTo>
                  <a:lnTo>
                    <a:pt x="839" y="658"/>
                  </a:lnTo>
                  <a:lnTo>
                    <a:pt x="835" y="658"/>
                  </a:lnTo>
                  <a:lnTo>
                    <a:pt x="833" y="659"/>
                  </a:lnTo>
                  <a:lnTo>
                    <a:pt x="832" y="660"/>
                  </a:lnTo>
                  <a:lnTo>
                    <a:pt x="830" y="660"/>
                  </a:lnTo>
                  <a:lnTo>
                    <a:pt x="830" y="661"/>
                  </a:lnTo>
                  <a:lnTo>
                    <a:pt x="830" y="664"/>
                  </a:lnTo>
                  <a:lnTo>
                    <a:pt x="830" y="665"/>
                  </a:lnTo>
                  <a:lnTo>
                    <a:pt x="832" y="665"/>
                  </a:lnTo>
                  <a:lnTo>
                    <a:pt x="832" y="664"/>
                  </a:lnTo>
                  <a:lnTo>
                    <a:pt x="833" y="665"/>
                  </a:lnTo>
                  <a:lnTo>
                    <a:pt x="833" y="666"/>
                  </a:lnTo>
                  <a:lnTo>
                    <a:pt x="832" y="667"/>
                  </a:lnTo>
                  <a:lnTo>
                    <a:pt x="833" y="670"/>
                  </a:lnTo>
                  <a:lnTo>
                    <a:pt x="830" y="671"/>
                  </a:lnTo>
                  <a:lnTo>
                    <a:pt x="828" y="672"/>
                  </a:lnTo>
                  <a:lnTo>
                    <a:pt x="827" y="673"/>
                  </a:lnTo>
                  <a:lnTo>
                    <a:pt x="827" y="672"/>
                  </a:lnTo>
                  <a:lnTo>
                    <a:pt x="826" y="672"/>
                  </a:lnTo>
                  <a:lnTo>
                    <a:pt x="823" y="673"/>
                  </a:lnTo>
                  <a:lnTo>
                    <a:pt x="822" y="675"/>
                  </a:lnTo>
                  <a:lnTo>
                    <a:pt x="821" y="673"/>
                  </a:lnTo>
                  <a:lnTo>
                    <a:pt x="822" y="672"/>
                  </a:lnTo>
                  <a:lnTo>
                    <a:pt x="822" y="671"/>
                  </a:lnTo>
                  <a:lnTo>
                    <a:pt x="821" y="671"/>
                  </a:lnTo>
                  <a:lnTo>
                    <a:pt x="821" y="670"/>
                  </a:lnTo>
                  <a:lnTo>
                    <a:pt x="822" y="669"/>
                  </a:lnTo>
                  <a:lnTo>
                    <a:pt x="821" y="669"/>
                  </a:lnTo>
                  <a:lnTo>
                    <a:pt x="820" y="667"/>
                  </a:lnTo>
                  <a:lnTo>
                    <a:pt x="818" y="665"/>
                  </a:lnTo>
                  <a:lnTo>
                    <a:pt x="818" y="663"/>
                  </a:lnTo>
                  <a:lnTo>
                    <a:pt x="816" y="661"/>
                  </a:lnTo>
                  <a:lnTo>
                    <a:pt x="814" y="661"/>
                  </a:lnTo>
                  <a:lnTo>
                    <a:pt x="812" y="660"/>
                  </a:lnTo>
                  <a:lnTo>
                    <a:pt x="810" y="661"/>
                  </a:lnTo>
                  <a:lnTo>
                    <a:pt x="809" y="661"/>
                  </a:lnTo>
                  <a:lnTo>
                    <a:pt x="809" y="659"/>
                  </a:lnTo>
                  <a:lnTo>
                    <a:pt x="808" y="659"/>
                  </a:lnTo>
                  <a:lnTo>
                    <a:pt x="809" y="659"/>
                  </a:lnTo>
                  <a:lnTo>
                    <a:pt x="810" y="657"/>
                  </a:lnTo>
                  <a:lnTo>
                    <a:pt x="808" y="657"/>
                  </a:lnTo>
                  <a:lnTo>
                    <a:pt x="805" y="655"/>
                  </a:lnTo>
                  <a:lnTo>
                    <a:pt x="804" y="655"/>
                  </a:lnTo>
                  <a:lnTo>
                    <a:pt x="803" y="653"/>
                  </a:lnTo>
                  <a:lnTo>
                    <a:pt x="802" y="651"/>
                  </a:lnTo>
                  <a:lnTo>
                    <a:pt x="800" y="648"/>
                  </a:lnTo>
                  <a:lnTo>
                    <a:pt x="798" y="647"/>
                  </a:lnTo>
                  <a:lnTo>
                    <a:pt x="795" y="648"/>
                  </a:lnTo>
                  <a:lnTo>
                    <a:pt x="795" y="649"/>
                  </a:lnTo>
                  <a:lnTo>
                    <a:pt x="795" y="651"/>
                  </a:lnTo>
                  <a:lnTo>
                    <a:pt x="795" y="652"/>
                  </a:lnTo>
                  <a:lnTo>
                    <a:pt x="794" y="652"/>
                  </a:lnTo>
                  <a:lnTo>
                    <a:pt x="792" y="653"/>
                  </a:lnTo>
                  <a:lnTo>
                    <a:pt x="789" y="652"/>
                  </a:lnTo>
                  <a:lnTo>
                    <a:pt x="787" y="649"/>
                  </a:lnTo>
                  <a:lnTo>
                    <a:pt x="783" y="651"/>
                  </a:lnTo>
                  <a:lnTo>
                    <a:pt x="782" y="652"/>
                  </a:lnTo>
                  <a:lnTo>
                    <a:pt x="781" y="653"/>
                  </a:lnTo>
                  <a:lnTo>
                    <a:pt x="780" y="655"/>
                  </a:lnTo>
                  <a:lnTo>
                    <a:pt x="779" y="655"/>
                  </a:lnTo>
                  <a:lnTo>
                    <a:pt x="779" y="657"/>
                  </a:lnTo>
                  <a:lnTo>
                    <a:pt x="777" y="657"/>
                  </a:lnTo>
                  <a:lnTo>
                    <a:pt x="777" y="658"/>
                  </a:lnTo>
                  <a:lnTo>
                    <a:pt x="779" y="659"/>
                  </a:lnTo>
                  <a:lnTo>
                    <a:pt x="781" y="659"/>
                  </a:lnTo>
                  <a:lnTo>
                    <a:pt x="782" y="660"/>
                  </a:lnTo>
                  <a:lnTo>
                    <a:pt x="782" y="661"/>
                  </a:lnTo>
                  <a:lnTo>
                    <a:pt x="783" y="663"/>
                  </a:lnTo>
                  <a:lnTo>
                    <a:pt x="785" y="663"/>
                  </a:lnTo>
                  <a:lnTo>
                    <a:pt x="785" y="661"/>
                  </a:lnTo>
                  <a:lnTo>
                    <a:pt x="786" y="660"/>
                  </a:lnTo>
                  <a:lnTo>
                    <a:pt x="787" y="660"/>
                  </a:lnTo>
                  <a:lnTo>
                    <a:pt x="787" y="661"/>
                  </a:lnTo>
                  <a:lnTo>
                    <a:pt x="788" y="661"/>
                  </a:lnTo>
                  <a:lnTo>
                    <a:pt x="789" y="661"/>
                  </a:lnTo>
                  <a:lnTo>
                    <a:pt x="791" y="661"/>
                  </a:lnTo>
                  <a:lnTo>
                    <a:pt x="791" y="664"/>
                  </a:lnTo>
                  <a:lnTo>
                    <a:pt x="792" y="664"/>
                  </a:lnTo>
                  <a:lnTo>
                    <a:pt x="793" y="663"/>
                  </a:lnTo>
                  <a:lnTo>
                    <a:pt x="795" y="663"/>
                  </a:lnTo>
                  <a:lnTo>
                    <a:pt x="795" y="661"/>
                  </a:lnTo>
                  <a:lnTo>
                    <a:pt x="797" y="661"/>
                  </a:lnTo>
                  <a:lnTo>
                    <a:pt x="798" y="663"/>
                  </a:lnTo>
                  <a:lnTo>
                    <a:pt x="799" y="663"/>
                  </a:lnTo>
                  <a:lnTo>
                    <a:pt x="800" y="665"/>
                  </a:lnTo>
                  <a:lnTo>
                    <a:pt x="803" y="665"/>
                  </a:lnTo>
                  <a:lnTo>
                    <a:pt x="803" y="666"/>
                  </a:lnTo>
                  <a:lnTo>
                    <a:pt x="804" y="667"/>
                  </a:lnTo>
                  <a:lnTo>
                    <a:pt x="804" y="669"/>
                  </a:lnTo>
                  <a:lnTo>
                    <a:pt x="805" y="670"/>
                  </a:lnTo>
                  <a:lnTo>
                    <a:pt x="808" y="670"/>
                  </a:lnTo>
                  <a:lnTo>
                    <a:pt x="808" y="671"/>
                  </a:lnTo>
                  <a:lnTo>
                    <a:pt x="808" y="672"/>
                  </a:lnTo>
                  <a:lnTo>
                    <a:pt x="811" y="675"/>
                  </a:lnTo>
                  <a:lnTo>
                    <a:pt x="811" y="673"/>
                  </a:lnTo>
                  <a:lnTo>
                    <a:pt x="812" y="676"/>
                  </a:lnTo>
                  <a:lnTo>
                    <a:pt x="811" y="676"/>
                  </a:lnTo>
                  <a:lnTo>
                    <a:pt x="811" y="677"/>
                  </a:lnTo>
                  <a:lnTo>
                    <a:pt x="811" y="678"/>
                  </a:lnTo>
                  <a:lnTo>
                    <a:pt x="810" y="678"/>
                  </a:lnTo>
                  <a:lnTo>
                    <a:pt x="811" y="679"/>
                  </a:lnTo>
                  <a:lnTo>
                    <a:pt x="810" y="681"/>
                  </a:lnTo>
                  <a:lnTo>
                    <a:pt x="811" y="681"/>
                  </a:lnTo>
                  <a:lnTo>
                    <a:pt x="810" y="684"/>
                  </a:lnTo>
                  <a:lnTo>
                    <a:pt x="810" y="685"/>
                  </a:lnTo>
                  <a:lnTo>
                    <a:pt x="810" y="687"/>
                  </a:lnTo>
                  <a:lnTo>
                    <a:pt x="809" y="687"/>
                  </a:lnTo>
                  <a:lnTo>
                    <a:pt x="806" y="687"/>
                  </a:lnTo>
                  <a:lnTo>
                    <a:pt x="804" y="687"/>
                  </a:lnTo>
                  <a:lnTo>
                    <a:pt x="803" y="687"/>
                  </a:lnTo>
                  <a:lnTo>
                    <a:pt x="799" y="685"/>
                  </a:lnTo>
                  <a:lnTo>
                    <a:pt x="797" y="685"/>
                  </a:lnTo>
                  <a:lnTo>
                    <a:pt x="795" y="685"/>
                  </a:lnTo>
                  <a:lnTo>
                    <a:pt x="794" y="687"/>
                  </a:lnTo>
                  <a:lnTo>
                    <a:pt x="792" y="687"/>
                  </a:lnTo>
                  <a:lnTo>
                    <a:pt x="789" y="687"/>
                  </a:lnTo>
                  <a:lnTo>
                    <a:pt x="789" y="688"/>
                  </a:lnTo>
                  <a:lnTo>
                    <a:pt x="788" y="689"/>
                  </a:lnTo>
                  <a:lnTo>
                    <a:pt x="788" y="690"/>
                  </a:lnTo>
                  <a:lnTo>
                    <a:pt x="788" y="694"/>
                  </a:lnTo>
                  <a:lnTo>
                    <a:pt x="787" y="693"/>
                  </a:lnTo>
                  <a:lnTo>
                    <a:pt x="787" y="694"/>
                  </a:lnTo>
                  <a:lnTo>
                    <a:pt x="785" y="693"/>
                  </a:lnTo>
                  <a:lnTo>
                    <a:pt x="783" y="691"/>
                  </a:lnTo>
                  <a:lnTo>
                    <a:pt x="782" y="695"/>
                  </a:lnTo>
                  <a:lnTo>
                    <a:pt x="781" y="691"/>
                  </a:lnTo>
                  <a:lnTo>
                    <a:pt x="782" y="694"/>
                  </a:lnTo>
                  <a:lnTo>
                    <a:pt x="781" y="695"/>
                  </a:lnTo>
                  <a:lnTo>
                    <a:pt x="779" y="694"/>
                  </a:lnTo>
                  <a:lnTo>
                    <a:pt x="776" y="693"/>
                  </a:lnTo>
                  <a:lnTo>
                    <a:pt x="775" y="694"/>
                  </a:lnTo>
                  <a:lnTo>
                    <a:pt x="775" y="695"/>
                  </a:lnTo>
                  <a:lnTo>
                    <a:pt x="774" y="695"/>
                  </a:lnTo>
                  <a:lnTo>
                    <a:pt x="771" y="694"/>
                  </a:lnTo>
                  <a:lnTo>
                    <a:pt x="768" y="694"/>
                  </a:lnTo>
                  <a:lnTo>
                    <a:pt x="767" y="693"/>
                  </a:lnTo>
                  <a:lnTo>
                    <a:pt x="765" y="693"/>
                  </a:lnTo>
                  <a:lnTo>
                    <a:pt x="763" y="691"/>
                  </a:lnTo>
                  <a:lnTo>
                    <a:pt x="762" y="691"/>
                  </a:lnTo>
                  <a:lnTo>
                    <a:pt x="761" y="689"/>
                  </a:lnTo>
                  <a:lnTo>
                    <a:pt x="758" y="690"/>
                  </a:lnTo>
                  <a:lnTo>
                    <a:pt x="757" y="689"/>
                  </a:lnTo>
                  <a:lnTo>
                    <a:pt x="757" y="688"/>
                  </a:lnTo>
                  <a:lnTo>
                    <a:pt x="756" y="688"/>
                  </a:lnTo>
                  <a:lnTo>
                    <a:pt x="756" y="685"/>
                  </a:lnTo>
                  <a:lnTo>
                    <a:pt x="755" y="684"/>
                  </a:lnTo>
                  <a:lnTo>
                    <a:pt x="753" y="685"/>
                  </a:lnTo>
                  <a:lnTo>
                    <a:pt x="753" y="688"/>
                  </a:lnTo>
                  <a:lnTo>
                    <a:pt x="755" y="689"/>
                  </a:lnTo>
                  <a:lnTo>
                    <a:pt x="758" y="690"/>
                  </a:lnTo>
                  <a:lnTo>
                    <a:pt x="759" y="690"/>
                  </a:lnTo>
                  <a:lnTo>
                    <a:pt x="761" y="693"/>
                  </a:lnTo>
                  <a:lnTo>
                    <a:pt x="762" y="693"/>
                  </a:lnTo>
                  <a:lnTo>
                    <a:pt x="762" y="694"/>
                  </a:lnTo>
                  <a:lnTo>
                    <a:pt x="761" y="695"/>
                  </a:lnTo>
                  <a:lnTo>
                    <a:pt x="759" y="699"/>
                  </a:lnTo>
                  <a:lnTo>
                    <a:pt x="759" y="695"/>
                  </a:lnTo>
                  <a:lnTo>
                    <a:pt x="758" y="699"/>
                  </a:lnTo>
                  <a:lnTo>
                    <a:pt x="758" y="700"/>
                  </a:lnTo>
                  <a:lnTo>
                    <a:pt x="757" y="701"/>
                  </a:lnTo>
                  <a:lnTo>
                    <a:pt x="759" y="703"/>
                  </a:lnTo>
                  <a:lnTo>
                    <a:pt x="757" y="705"/>
                  </a:lnTo>
                  <a:lnTo>
                    <a:pt x="756" y="705"/>
                  </a:lnTo>
                  <a:lnTo>
                    <a:pt x="755" y="706"/>
                  </a:lnTo>
                  <a:lnTo>
                    <a:pt x="752" y="706"/>
                  </a:lnTo>
                  <a:lnTo>
                    <a:pt x="750" y="706"/>
                  </a:lnTo>
                  <a:lnTo>
                    <a:pt x="749" y="705"/>
                  </a:lnTo>
                  <a:lnTo>
                    <a:pt x="746" y="706"/>
                  </a:lnTo>
                  <a:lnTo>
                    <a:pt x="744" y="707"/>
                  </a:lnTo>
                  <a:lnTo>
                    <a:pt x="744" y="710"/>
                  </a:lnTo>
                  <a:lnTo>
                    <a:pt x="745" y="710"/>
                  </a:lnTo>
                  <a:lnTo>
                    <a:pt x="745" y="711"/>
                  </a:lnTo>
                  <a:lnTo>
                    <a:pt x="744" y="712"/>
                  </a:lnTo>
                  <a:lnTo>
                    <a:pt x="741" y="712"/>
                  </a:lnTo>
                  <a:lnTo>
                    <a:pt x="740" y="710"/>
                  </a:lnTo>
                  <a:lnTo>
                    <a:pt x="738" y="708"/>
                  </a:lnTo>
                  <a:lnTo>
                    <a:pt x="738" y="710"/>
                  </a:lnTo>
                  <a:lnTo>
                    <a:pt x="739" y="712"/>
                  </a:lnTo>
                  <a:lnTo>
                    <a:pt x="739" y="714"/>
                  </a:lnTo>
                  <a:lnTo>
                    <a:pt x="740" y="716"/>
                  </a:lnTo>
                  <a:lnTo>
                    <a:pt x="741" y="717"/>
                  </a:lnTo>
                  <a:lnTo>
                    <a:pt x="740" y="718"/>
                  </a:lnTo>
                  <a:lnTo>
                    <a:pt x="740" y="720"/>
                  </a:lnTo>
                  <a:lnTo>
                    <a:pt x="741" y="720"/>
                  </a:lnTo>
                  <a:lnTo>
                    <a:pt x="741" y="722"/>
                  </a:lnTo>
                  <a:lnTo>
                    <a:pt x="746" y="723"/>
                  </a:lnTo>
                  <a:lnTo>
                    <a:pt x="746" y="722"/>
                  </a:lnTo>
                  <a:lnTo>
                    <a:pt x="749" y="722"/>
                  </a:lnTo>
                  <a:lnTo>
                    <a:pt x="752" y="723"/>
                  </a:lnTo>
                  <a:lnTo>
                    <a:pt x="751" y="720"/>
                  </a:lnTo>
                  <a:lnTo>
                    <a:pt x="752" y="719"/>
                  </a:lnTo>
                  <a:lnTo>
                    <a:pt x="753" y="719"/>
                  </a:lnTo>
                  <a:lnTo>
                    <a:pt x="756" y="719"/>
                  </a:lnTo>
                  <a:lnTo>
                    <a:pt x="755" y="720"/>
                  </a:lnTo>
                  <a:lnTo>
                    <a:pt x="755" y="722"/>
                  </a:lnTo>
                  <a:lnTo>
                    <a:pt x="756" y="723"/>
                  </a:lnTo>
                  <a:lnTo>
                    <a:pt x="757" y="723"/>
                  </a:lnTo>
                  <a:lnTo>
                    <a:pt x="757" y="724"/>
                  </a:lnTo>
                  <a:lnTo>
                    <a:pt x="757" y="725"/>
                  </a:lnTo>
                  <a:lnTo>
                    <a:pt x="758" y="726"/>
                  </a:lnTo>
                  <a:lnTo>
                    <a:pt x="757" y="728"/>
                  </a:lnTo>
                  <a:lnTo>
                    <a:pt x="756" y="730"/>
                  </a:lnTo>
                  <a:lnTo>
                    <a:pt x="757" y="732"/>
                  </a:lnTo>
                  <a:lnTo>
                    <a:pt x="759" y="735"/>
                  </a:lnTo>
                  <a:lnTo>
                    <a:pt x="757" y="737"/>
                  </a:lnTo>
                  <a:lnTo>
                    <a:pt x="755" y="737"/>
                  </a:lnTo>
                  <a:lnTo>
                    <a:pt x="753" y="737"/>
                  </a:lnTo>
                  <a:lnTo>
                    <a:pt x="752" y="737"/>
                  </a:lnTo>
                  <a:lnTo>
                    <a:pt x="752" y="738"/>
                  </a:lnTo>
                  <a:lnTo>
                    <a:pt x="752" y="740"/>
                  </a:lnTo>
                  <a:lnTo>
                    <a:pt x="752" y="741"/>
                  </a:lnTo>
                  <a:lnTo>
                    <a:pt x="750" y="741"/>
                  </a:lnTo>
                  <a:lnTo>
                    <a:pt x="749" y="741"/>
                  </a:lnTo>
                  <a:lnTo>
                    <a:pt x="749" y="742"/>
                  </a:lnTo>
                  <a:lnTo>
                    <a:pt x="751" y="744"/>
                  </a:lnTo>
                  <a:lnTo>
                    <a:pt x="753" y="744"/>
                  </a:lnTo>
                  <a:lnTo>
                    <a:pt x="755" y="743"/>
                  </a:lnTo>
                  <a:lnTo>
                    <a:pt x="756" y="742"/>
                  </a:lnTo>
                  <a:lnTo>
                    <a:pt x="757" y="741"/>
                  </a:lnTo>
                  <a:lnTo>
                    <a:pt x="758" y="741"/>
                  </a:lnTo>
                  <a:lnTo>
                    <a:pt x="758" y="742"/>
                  </a:lnTo>
                  <a:lnTo>
                    <a:pt x="761" y="742"/>
                  </a:lnTo>
                  <a:lnTo>
                    <a:pt x="761" y="743"/>
                  </a:lnTo>
                  <a:lnTo>
                    <a:pt x="761" y="746"/>
                  </a:lnTo>
                  <a:lnTo>
                    <a:pt x="763" y="749"/>
                  </a:lnTo>
                  <a:lnTo>
                    <a:pt x="764" y="752"/>
                  </a:lnTo>
                  <a:lnTo>
                    <a:pt x="765" y="750"/>
                  </a:lnTo>
                  <a:lnTo>
                    <a:pt x="767" y="750"/>
                  </a:lnTo>
                  <a:lnTo>
                    <a:pt x="768" y="753"/>
                  </a:lnTo>
                  <a:lnTo>
                    <a:pt x="769" y="755"/>
                  </a:lnTo>
                  <a:lnTo>
                    <a:pt x="770" y="755"/>
                  </a:lnTo>
                  <a:lnTo>
                    <a:pt x="770" y="756"/>
                  </a:lnTo>
                  <a:lnTo>
                    <a:pt x="769" y="756"/>
                  </a:lnTo>
                  <a:lnTo>
                    <a:pt x="767" y="756"/>
                  </a:lnTo>
                  <a:lnTo>
                    <a:pt x="764" y="760"/>
                  </a:lnTo>
                  <a:lnTo>
                    <a:pt x="765" y="760"/>
                  </a:lnTo>
                  <a:lnTo>
                    <a:pt x="767" y="760"/>
                  </a:lnTo>
                  <a:lnTo>
                    <a:pt x="768" y="760"/>
                  </a:lnTo>
                  <a:lnTo>
                    <a:pt x="767" y="761"/>
                  </a:lnTo>
                  <a:lnTo>
                    <a:pt x="765" y="764"/>
                  </a:lnTo>
                  <a:lnTo>
                    <a:pt x="763" y="764"/>
                  </a:lnTo>
                  <a:lnTo>
                    <a:pt x="761" y="762"/>
                  </a:lnTo>
                  <a:lnTo>
                    <a:pt x="759" y="764"/>
                  </a:lnTo>
                  <a:lnTo>
                    <a:pt x="759" y="765"/>
                  </a:lnTo>
                  <a:lnTo>
                    <a:pt x="758" y="764"/>
                  </a:lnTo>
                  <a:lnTo>
                    <a:pt x="757" y="762"/>
                  </a:lnTo>
                  <a:lnTo>
                    <a:pt x="756" y="762"/>
                  </a:lnTo>
                  <a:lnTo>
                    <a:pt x="756" y="761"/>
                  </a:lnTo>
                  <a:lnTo>
                    <a:pt x="753" y="764"/>
                  </a:lnTo>
                  <a:lnTo>
                    <a:pt x="751" y="762"/>
                  </a:lnTo>
                  <a:lnTo>
                    <a:pt x="750" y="764"/>
                  </a:lnTo>
                  <a:lnTo>
                    <a:pt x="749" y="762"/>
                  </a:lnTo>
                  <a:lnTo>
                    <a:pt x="747" y="761"/>
                  </a:lnTo>
                  <a:lnTo>
                    <a:pt x="746" y="760"/>
                  </a:lnTo>
                  <a:lnTo>
                    <a:pt x="744" y="759"/>
                  </a:lnTo>
                  <a:lnTo>
                    <a:pt x="741" y="759"/>
                  </a:lnTo>
                  <a:lnTo>
                    <a:pt x="739" y="755"/>
                  </a:lnTo>
                  <a:lnTo>
                    <a:pt x="736" y="753"/>
                  </a:lnTo>
                  <a:lnTo>
                    <a:pt x="735" y="754"/>
                  </a:lnTo>
                  <a:lnTo>
                    <a:pt x="734" y="754"/>
                  </a:lnTo>
                  <a:lnTo>
                    <a:pt x="730" y="754"/>
                  </a:lnTo>
                  <a:lnTo>
                    <a:pt x="730" y="750"/>
                  </a:lnTo>
                  <a:lnTo>
                    <a:pt x="734" y="752"/>
                  </a:lnTo>
                  <a:lnTo>
                    <a:pt x="734" y="748"/>
                  </a:lnTo>
                  <a:lnTo>
                    <a:pt x="733" y="747"/>
                  </a:lnTo>
                  <a:lnTo>
                    <a:pt x="734" y="746"/>
                  </a:lnTo>
                  <a:lnTo>
                    <a:pt x="735" y="746"/>
                  </a:lnTo>
                  <a:lnTo>
                    <a:pt x="735" y="744"/>
                  </a:lnTo>
                  <a:lnTo>
                    <a:pt x="736" y="746"/>
                  </a:lnTo>
                  <a:lnTo>
                    <a:pt x="736" y="747"/>
                  </a:lnTo>
                  <a:lnTo>
                    <a:pt x="738" y="750"/>
                  </a:lnTo>
                  <a:lnTo>
                    <a:pt x="740" y="753"/>
                  </a:lnTo>
                  <a:lnTo>
                    <a:pt x="741" y="753"/>
                  </a:lnTo>
                  <a:lnTo>
                    <a:pt x="741" y="754"/>
                  </a:lnTo>
                  <a:lnTo>
                    <a:pt x="744" y="755"/>
                  </a:lnTo>
                  <a:lnTo>
                    <a:pt x="746" y="754"/>
                  </a:lnTo>
                  <a:lnTo>
                    <a:pt x="747" y="754"/>
                  </a:lnTo>
                  <a:lnTo>
                    <a:pt x="750" y="754"/>
                  </a:lnTo>
                  <a:lnTo>
                    <a:pt x="751" y="753"/>
                  </a:lnTo>
                  <a:lnTo>
                    <a:pt x="750" y="749"/>
                  </a:lnTo>
                  <a:lnTo>
                    <a:pt x="749" y="749"/>
                  </a:lnTo>
                  <a:lnTo>
                    <a:pt x="747" y="749"/>
                  </a:lnTo>
                  <a:lnTo>
                    <a:pt x="746" y="752"/>
                  </a:lnTo>
                  <a:lnTo>
                    <a:pt x="746" y="749"/>
                  </a:lnTo>
                  <a:lnTo>
                    <a:pt x="745" y="747"/>
                  </a:lnTo>
                  <a:lnTo>
                    <a:pt x="745" y="744"/>
                  </a:lnTo>
                  <a:lnTo>
                    <a:pt x="743" y="741"/>
                  </a:lnTo>
                  <a:lnTo>
                    <a:pt x="746" y="740"/>
                  </a:lnTo>
                  <a:lnTo>
                    <a:pt x="743" y="738"/>
                  </a:lnTo>
                  <a:lnTo>
                    <a:pt x="743" y="737"/>
                  </a:lnTo>
                  <a:lnTo>
                    <a:pt x="741" y="736"/>
                  </a:lnTo>
                  <a:lnTo>
                    <a:pt x="740" y="735"/>
                  </a:lnTo>
                  <a:lnTo>
                    <a:pt x="739" y="734"/>
                  </a:lnTo>
                  <a:lnTo>
                    <a:pt x="741" y="731"/>
                  </a:lnTo>
                  <a:lnTo>
                    <a:pt x="740" y="730"/>
                  </a:lnTo>
                  <a:lnTo>
                    <a:pt x="739" y="730"/>
                  </a:lnTo>
                  <a:lnTo>
                    <a:pt x="736" y="730"/>
                  </a:lnTo>
                  <a:lnTo>
                    <a:pt x="735" y="731"/>
                  </a:lnTo>
                  <a:lnTo>
                    <a:pt x="735" y="732"/>
                  </a:lnTo>
                  <a:lnTo>
                    <a:pt x="734" y="734"/>
                  </a:lnTo>
                  <a:lnTo>
                    <a:pt x="736" y="735"/>
                  </a:lnTo>
                  <a:lnTo>
                    <a:pt x="736" y="736"/>
                  </a:lnTo>
                  <a:lnTo>
                    <a:pt x="738" y="736"/>
                  </a:lnTo>
                  <a:lnTo>
                    <a:pt x="739" y="736"/>
                  </a:lnTo>
                  <a:lnTo>
                    <a:pt x="741" y="736"/>
                  </a:lnTo>
                  <a:lnTo>
                    <a:pt x="741" y="737"/>
                  </a:lnTo>
                  <a:lnTo>
                    <a:pt x="740" y="737"/>
                  </a:lnTo>
                  <a:lnTo>
                    <a:pt x="739" y="737"/>
                  </a:lnTo>
                  <a:lnTo>
                    <a:pt x="738" y="738"/>
                  </a:lnTo>
                  <a:lnTo>
                    <a:pt x="736" y="740"/>
                  </a:lnTo>
                  <a:lnTo>
                    <a:pt x="735" y="737"/>
                  </a:lnTo>
                  <a:lnTo>
                    <a:pt x="735" y="736"/>
                  </a:lnTo>
                  <a:lnTo>
                    <a:pt x="734" y="736"/>
                  </a:lnTo>
                  <a:lnTo>
                    <a:pt x="732" y="735"/>
                  </a:lnTo>
                  <a:lnTo>
                    <a:pt x="730" y="735"/>
                  </a:lnTo>
                  <a:lnTo>
                    <a:pt x="729" y="734"/>
                  </a:lnTo>
                  <a:lnTo>
                    <a:pt x="728" y="732"/>
                  </a:lnTo>
                  <a:lnTo>
                    <a:pt x="726" y="729"/>
                  </a:lnTo>
                  <a:lnTo>
                    <a:pt x="724" y="729"/>
                  </a:lnTo>
                  <a:lnTo>
                    <a:pt x="722" y="728"/>
                  </a:lnTo>
                  <a:lnTo>
                    <a:pt x="722" y="726"/>
                  </a:lnTo>
                  <a:lnTo>
                    <a:pt x="720" y="725"/>
                  </a:lnTo>
                  <a:lnTo>
                    <a:pt x="718" y="724"/>
                  </a:lnTo>
                  <a:lnTo>
                    <a:pt x="717" y="723"/>
                  </a:lnTo>
                  <a:lnTo>
                    <a:pt x="716" y="722"/>
                  </a:lnTo>
                  <a:lnTo>
                    <a:pt x="716" y="719"/>
                  </a:lnTo>
                  <a:lnTo>
                    <a:pt x="718" y="719"/>
                  </a:lnTo>
                  <a:lnTo>
                    <a:pt x="721" y="719"/>
                  </a:lnTo>
                  <a:lnTo>
                    <a:pt x="721" y="718"/>
                  </a:lnTo>
                  <a:lnTo>
                    <a:pt x="721" y="716"/>
                  </a:lnTo>
                  <a:lnTo>
                    <a:pt x="721" y="714"/>
                  </a:lnTo>
                  <a:lnTo>
                    <a:pt x="720" y="713"/>
                  </a:lnTo>
                  <a:lnTo>
                    <a:pt x="721" y="711"/>
                  </a:lnTo>
                  <a:lnTo>
                    <a:pt x="721" y="707"/>
                  </a:lnTo>
                  <a:lnTo>
                    <a:pt x="720" y="711"/>
                  </a:lnTo>
                  <a:lnTo>
                    <a:pt x="718" y="713"/>
                  </a:lnTo>
                  <a:lnTo>
                    <a:pt x="716" y="713"/>
                  </a:lnTo>
                  <a:lnTo>
                    <a:pt x="714" y="713"/>
                  </a:lnTo>
                  <a:lnTo>
                    <a:pt x="712" y="712"/>
                  </a:lnTo>
                  <a:lnTo>
                    <a:pt x="711" y="711"/>
                  </a:lnTo>
                  <a:lnTo>
                    <a:pt x="709" y="710"/>
                  </a:lnTo>
                  <a:lnTo>
                    <a:pt x="708" y="710"/>
                  </a:lnTo>
                  <a:lnTo>
                    <a:pt x="708" y="707"/>
                  </a:lnTo>
                  <a:lnTo>
                    <a:pt x="706" y="706"/>
                  </a:lnTo>
                  <a:lnTo>
                    <a:pt x="705" y="706"/>
                  </a:lnTo>
                  <a:lnTo>
                    <a:pt x="703" y="707"/>
                  </a:lnTo>
                  <a:lnTo>
                    <a:pt x="702" y="708"/>
                  </a:lnTo>
                  <a:lnTo>
                    <a:pt x="702" y="707"/>
                  </a:lnTo>
                  <a:lnTo>
                    <a:pt x="700" y="706"/>
                  </a:lnTo>
                  <a:lnTo>
                    <a:pt x="699" y="705"/>
                  </a:lnTo>
                  <a:lnTo>
                    <a:pt x="698" y="702"/>
                  </a:lnTo>
                  <a:lnTo>
                    <a:pt x="698" y="699"/>
                  </a:lnTo>
                  <a:lnTo>
                    <a:pt x="697" y="697"/>
                  </a:lnTo>
                  <a:lnTo>
                    <a:pt x="696" y="695"/>
                  </a:lnTo>
                  <a:lnTo>
                    <a:pt x="696" y="694"/>
                  </a:lnTo>
                  <a:lnTo>
                    <a:pt x="697" y="693"/>
                  </a:lnTo>
                  <a:lnTo>
                    <a:pt x="697" y="691"/>
                  </a:lnTo>
                  <a:lnTo>
                    <a:pt x="699" y="693"/>
                  </a:lnTo>
                  <a:lnTo>
                    <a:pt x="699" y="691"/>
                  </a:lnTo>
                  <a:lnTo>
                    <a:pt x="699" y="694"/>
                  </a:lnTo>
                  <a:lnTo>
                    <a:pt x="700" y="694"/>
                  </a:lnTo>
                  <a:lnTo>
                    <a:pt x="702" y="694"/>
                  </a:lnTo>
                  <a:lnTo>
                    <a:pt x="702" y="691"/>
                  </a:lnTo>
                  <a:lnTo>
                    <a:pt x="703" y="689"/>
                  </a:lnTo>
                  <a:lnTo>
                    <a:pt x="704" y="690"/>
                  </a:lnTo>
                  <a:lnTo>
                    <a:pt x="705" y="691"/>
                  </a:lnTo>
                  <a:lnTo>
                    <a:pt x="705" y="690"/>
                  </a:lnTo>
                  <a:lnTo>
                    <a:pt x="705" y="689"/>
                  </a:lnTo>
                  <a:lnTo>
                    <a:pt x="704" y="687"/>
                  </a:lnTo>
                  <a:lnTo>
                    <a:pt x="705" y="687"/>
                  </a:lnTo>
                  <a:lnTo>
                    <a:pt x="704" y="683"/>
                  </a:lnTo>
                  <a:lnTo>
                    <a:pt x="705" y="682"/>
                  </a:lnTo>
                  <a:lnTo>
                    <a:pt x="706" y="679"/>
                  </a:lnTo>
                  <a:lnTo>
                    <a:pt x="706" y="678"/>
                  </a:lnTo>
                  <a:lnTo>
                    <a:pt x="708" y="677"/>
                  </a:lnTo>
                  <a:lnTo>
                    <a:pt x="709" y="679"/>
                  </a:lnTo>
                  <a:lnTo>
                    <a:pt x="710" y="681"/>
                  </a:lnTo>
                  <a:lnTo>
                    <a:pt x="709" y="682"/>
                  </a:lnTo>
                  <a:lnTo>
                    <a:pt x="710" y="684"/>
                  </a:lnTo>
                  <a:lnTo>
                    <a:pt x="710" y="687"/>
                  </a:lnTo>
                  <a:lnTo>
                    <a:pt x="712" y="687"/>
                  </a:lnTo>
                  <a:lnTo>
                    <a:pt x="712" y="685"/>
                  </a:lnTo>
                  <a:lnTo>
                    <a:pt x="714" y="690"/>
                  </a:lnTo>
                  <a:lnTo>
                    <a:pt x="711" y="689"/>
                  </a:lnTo>
                  <a:lnTo>
                    <a:pt x="709" y="690"/>
                  </a:lnTo>
                  <a:lnTo>
                    <a:pt x="710" y="691"/>
                  </a:lnTo>
                  <a:lnTo>
                    <a:pt x="710" y="693"/>
                  </a:lnTo>
                  <a:lnTo>
                    <a:pt x="712" y="693"/>
                  </a:lnTo>
                  <a:lnTo>
                    <a:pt x="712" y="691"/>
                  </a:lnTo>
                  <a:lnTo>
                    <a:pt x="714" y="691"/>
                  </a:lnTo>
                  <a:lnTo>
                    <a:pt x="716" y="690"/>
                  </a:lnTo>
                  <a:lnTo>
                    <a:pt x="717" y="690"/>
                  </a:lnTo>
                  <a:lnTo>
                    <a:pt x="717" y="693"/>
                  </a:lnTo>
                  <a:lnTo>
                    <a:pt x="718" y="694"/>
                  </a:lnTo>
                  <a:lnTo>
                    <a:pt x="721" y="695"/>
                  </a:lnTo>
                  <a:lnTo>
                    <a:pt x="721" y="696"/>
                  </a:lnTo>
                  <a:lnTo>
                    <a:pt x="723" y="696"/>
                  </a:lnTo>
                  <a:lnTo>
                    <a:pt x="723" y="695"/>
                  </a:lnTo>
                  <a:lnTo>
                    <a:pt x="724" y="694"/>
                  </a:lnTo>
                  <a:lnTo>
                    <a:pt x="726" y="691"/>
                  </a:lnTo>
                  <a:lnTo>
                    <a:pt x="726" y="690"/>
                  </a:lnTo>
                  <a:lnTo>
                    <a:pt x="726" y="688"/>
                  </a:lnTo>
                  <a:lnTo>
                    <a:pt x="723" y="687"/>
                  </a:lnTo>
                  <a:lnTo>
                    <a:pt x="726" y="684"/>
                  </a:lnTo>
                  <a:lnTo>
                    <a:pt x="727" y="682"/>
                  </a:lnTo>
                  <a:lnTo>
                    <a:pt x="724" y="678"/>
                  </a:lnTo>
                  <a:lnTo>
                    <a:pt x="723" y="677"/>
                  </a:lnTo>
                  <a:lnTo>
                    <a:pt x="720" y="676"/>
                  </a:lnTo>
                  <a:lnTo>
                    <a:pt x="715" y="676"/>
                  </a:lnTo>
                  <a:lnTo>
                    <a:pt x="711" y="676"/>
                  </a:lnTo>
                  <a:lnTo>
                    <a:pt x="708" y="676"/>
                  </a:lnTo>
                  <a:lnTo>
                    <a:pt x="705" y="677"/>
                  </a:lnTo>
                  <a:lnTo>
                    <a:pt x="704" y="677"/>
                  </a:lnTo>
                  <a:lnTo>
                    <a:pt x="703" y="677"/>
                  </a:lnTo>
                  <a:lnTo>
                    <a:pt x="702" y="677"/>
                  </a:lnTo>
                  <a:lnTo>
                    <a:pt x="700" y="678"/>
                  </a:lnTo>
                  <a:lnTo>
                    <a:pt x="698" y="676"/>
                  </a:lnTo>
                  <a:lnTo>
                    <a:pt x="696" y="673"/>
                  </a:lnTo>
                  <a:lnTo>
                    <a:pt x="693" y="672"/>
                  </a:lnTo>
                  <a:lnTo>
                    <a:pt x="692" y="672"/>
                  </a:lnTo>
                  <a:lnTo>
                    <a:pt x="690" y="672"/>
                  </a:lnTo>
                  <a:lnTo>
                    <a:pt x="687" y="672"/>
                  </a:lnTo>
                  <a:lnTo>
                    <a:pt x="686" y="672"/>
                  </a:lnTo>
                  <a:lnTo>
                    <a:pt x="687" y="673"/>
                  </a:lnTo>
                  <a:lnTo>
                    <a:pt x="687" y="675"/>
                  </a:lnTo>
                  <a:lnTo>
                    <a:pt x="690" y="675"/>
                  </a:lnTo>
                  <a:lnTo>
                    <a:pt x="691" y="675"/>
                  </a:lnTo>
                  <a:lnTo>
                    <a:pt x="690" y="676"/>
                  </a:lnTo>
                  <a:lnTo>
                    <a:pt x="690" y="677"/>
                  </a:lnTo>
                  <a:lnTo>
                    <a:pt x="686" y="677"/>
                  </a:lnTo>
                  <a:lnTo>
                    <a:pt x="684" y="678"/>
                  </a:lnTo>
                  <a:lnTo>
                    <a:pt x="681" y="682"/>
                  </a:lnTo>
                  <a:lnTo>
                    <a:pt x="680" y="683"/>
                  </a:lnTo>
                  <a:lnTo>
                    <a:pt x="679" y="682"/>
                  </a:lnTo>
                  <a:lnTo>
                    <a:pt x="678" y="681"/>
                  </a:lnTo>
                  <a:lnTo>
                    <a:pt x="676" y="681"/>
                  </a:lnTo>
                  <a:lnTo>
                    <a:pt x="673" y="682"/>
                  </a:lnTo>
                  <a:lnTo>
                    <a:pt x="671" y="681"/>
                  </a:lnTo>
                  <a:lnTo>
                    <a:pt x="671" y="679"/>
                  </a:lnTo>
                  <a:lnTo>
                    <a:pt x="669" y="678"/>
                  </a:lnTo>
                  <a:lnTo>
                    <a:pt x="668" y="678"/>
                  </a:lnTo>
                  <a:lnTo>
                    <a:pt x="665" y="678"/>
                  </a:lnTo>
                  <a:lnTo>
                    <a:pt x="664" y="679"/>
                  </a:lnTo>
                  <a:lnTo>
                    <a:pt x="662" y="679"/>
                  </a:lnTo>
                  <a:lnTo>
                    <a:pt x="662" y="681"/>
                  </a:lnTo>
                  <a:lnTo>
                    <a:pt x="661" y="681"/>
                  </a:lnTo>
                  <a:lnTo>
                    <a:pt x="659" y="684"/>
                  </a:lnTo>
                  <a:lnTo>
                    <a:pt x="656" y="684"/>
                  </a:lnTo>
                  <a:lnTo>
                    <a:pt x="655" y="683"/>
                  </a:lnTo>
                  <a:lnTo>
                    <a:pt x="655" y="682"/>
                  </a:lnTo>
                  <a:lnTo>
                    <a:pt x="651" y="681"/>
                  </a:lnTo>
                  <a:lnTo>
                    <a:pt x="650" y="682"/>
                  </a:lnTo>
                  <a:lnTo>
                    <a:pt x="649" y="684"/>
                  </a:lnTo>
                  <a:lnTo>
                    <a:pt x="647" y="684"/>
                  </a:lnTo>
                  <a:lnTo>
                    <a:pt x="647" y="683"/>
                  </a:lnTo>
                  <a:lnTo>
                    <a:pt x="646" y="682"/>
                  </a:lnTo>
                  <a:lnTo>
                    <a:pt x="645" y="681"/>
                  </a:lnTo>
                  <a:lnTo>
                    <a:pt x="645" y="678"/>
                  </a:lnTo>
                  <a:lnTo>
                    <a:pt x="644" y="675"/>
                  </a:lnTo>
                  <a:lnTo>
                    <a:pt x="644" y="673"/>
                  </a:lnTo>
                  <a:lnTo>
                    <a:pt x="643" y="672"/>
                  </a:lnTo>
                  <a:lnTo>
                    <a:pt x="641" y="672"/>
                  </a:lnTo>
                  <a:lnTo>
                    <a:pt x="639" y="673"/>
                  </a:lnTo>
                  <a:lnTo>
                    <a:pt x="637" y="673"/>
                  </a:lnTo>
                  <a:lnTo>
                    <a:pt x="626" y="676"/>
                  </a:lnTo>
                  <a:lnTo>
                    <a:pt x="621" y="677"/>
                  </a:lnTo>
                  <a:lnTo>
                    <a:pt x="619" y="677"/>
                  </a:lnTo>
                  <a:lnTo>
                    <a:pt x="616" y="678"/>
                  </a:lnTo>
                  <a:lnTo>
                    <a:pt x="614" y="679"/>
                  </a:lnTo>
                  <a:lnTo>
                    <a:pt x="611" y="679"/>
                  </a:lnTo>
                  <a:lnTo>
                    <a:pt x="605" y="679"/>
                  </a:lnTo>
                  <a:lnTo>
                    <a:pt x="602" y="681"/>
                  </a:lnTo>
                  <a:lnTo>
                    <a:pt x="600" y="683"/>
                  </a:lnTo>
                  <a:lnTo>
                    <a:pt x="594" y="683"/>
                  </a:lnTo>
                  <a:lnTo>
                    <a:pt x="592" y="681"/>
                  </a:lnTo>
                  <a:lnTo>
                    <a:pt x="588" y="681"/>
                  </a:lnTo>
                  <a:lnTo>
                    <a:pt x="584" y="682"/>
                  </a:lnTo>
                  <a:lnTo>
                    <a:pt x="574" y="682"/>
                  </a:lnTo>
                  <a:lnTo>
                    <a:pt x="572" y="682"/>
                  </a:lnTo>
                  <a:lnTo>
                    <a:pt x="572" y="683"/>
                  </a:lnTo>
                  <a:lnTo>
                    <a:pt x="572" y="688"/>
                  </a:lnTo>
                  <a:lnTo>
                    <a:pt x="573" y="687"/>
                  </a:lnTo>
                  <a:lnTo>
                    <a:pt x="574" y="688"/>
                  </a:lnTo>
                  <a:lnTo>
                    <a:pt x="574" y="690"/>
                  </a:lnTo>
                  <a:lnTo>
                    <a:pt x="575" y="691"/>
                  </a:lnTo>
                  <a:lnTo>
                    <a:pt x="575" y="690"/>
                  </a:lnTo>
                  <a:lnTo>
                    <a:pt x="576" y="690"/>
                  </a:lnTo>
                  <a:lnTo>
                    <a:pt x="578" y="691"/>
                  </a:lnTo>
                  <a:lnTo>
                    <a:pt x="579" y="690"/>
                  </a:lnTo>
                  <a:lnTo>
                    <a:pt x="580" y="690"/>
                  </a:lnTo>
                  <a:lnTo>
                    <a:pt x="582" y="690"/>
                  </a:lnTo>
                  <a:lnTo>
                    <a:pt x="585" y="690"/>
                  </a:lnTo>
                  <a:lnTo>
                    <a:pt x="585" y="691"/>
                  </a:lnTo>
                  <a:lnTo>
                    <a:pt x="586" y="690"/>
                  </a:lnTo>
                  <a:lnTo>
                    <a:pt x="587" y="690"/>
                  </a:lnTo>
                  <a:lnTo>
                    <a:pt x="588" y="694"/>
                  </a:lnTo>
                  <a:lnTo>
                    <a:pt x="588" y="691"/>
                  </a:lnTo>
                  <a:lnTo>
                    <a:pt x="591" y="693"/>
                  </a:lnTo>
                  <a:lnTo>
                    <a:pt x="591" y="694"/>
                  </a:lnTo>
                  <a:lnTo>
                    <a:pt x="591" y="695"/>
                  </a:lnTo>
                  <a:lnTo>
                    <a:pt x="592" y="695"/>
                  </a:lnTo>
                  <a:lnTo>
                    <a:pt x="591" y="696"/>
                  </a:lnTo>
                  <a:lnTo>
                    <a:pt x="593" y="697"/>
                  </a:lnTo>
                  <a:lnTo>
                    <a:pt x="597" y="699"/>
                  </a:lnTo>
                  <a:lnTo>
                    <a:pt x="597" y="701"/>
                  </a:lnTo>
                  <a:lnTo>
                    <a:pt x="596" y="701"/>
                  </a:lnTo>
                  <a:lnTo>
                    <a:pt x="596" y="705"/>
                  </a:lnTo>
                  <a:lnTo>
                    <a:pt x="596" y="707"/>
                  </a:lnTo>
                  <a:lnTo>
                    <a:pt x="597" y="707"/>
                  </a:lnTo>
                  <a:lnTo>
                    <a:pt x="596" y="711"/>
                  </a:lnTo>
                  <a:lnTo>
                    <a:pt x="596" y="713"/>
                  </a:lnTo>
                  <a:lnTo>
                    <a:pt x="597" y="714"/>
                  </a:lnTo>
                  <a:lnTo>
                    <a:pt x="594" y="716"/>
                  </a:lnTo>
                  <a:lnTo>
                    <a:pt x="591" y="717"/>
                  </a:lnTo>
                  <a:lnTo>
                    <a:pt x="590" y="718"/>
                  </a:lnTo>
                  <a:lnTo>
                    <a:pt x="587" y="718"/>
                  </a:lnTo>
                  <a:lnTo>
                    <a:pt x="586" y="719"/>
                  </a:lnTo>
                  <a:lnTo>
                    <a:pt x="585" y="719"/>
                  </a:lnTo>
                  <a:lnTo>
                    <a:pt x="580" y="719"/>
                  </a:lnTo>
                  <a:lnTo>
                    <a:pt x="582" y="720"/>
                  </a:lnTo>
                  <a:lnTo>
                    <a:pt x="586" y="723"/>
                  </a:lnTo>
                  <a:lnTo>
                    <a:pt x="587" y="723"/>
                  </a:lnTo>
                  <a:lnTo>
                    <a:pt x="588" y="723"/>
                  </a:lnTo>
                  <a:lnTo>
                    <a:pt x="592" y="723"/>
                  </a:lnTo>
                  <a:lnTo>
                    <a:pt x="606" y="723"/>
                  </a:lnTo>
                  <a:lnTo>
                    <a:pt x="606" y="722"/>
                  </a:lnTo>
                  <a:lnTo>
                    <a:pt x="610" y="722"/>
                  </a:lnTo>
                  <a:lnTo>
                    <a:pt x="610" y="724"/>
                  </a:lnTo>
                  <a:lnTo>
                    <a:pt x="612" y="724"/>
                  </a:lnTo>
                  <a:lnTo>
                    <a:pt x="616" y="724"/>
                  </a:lnTo>
                  <a:lnTo>
                    <a:pt x="623" y="725"/>
                  </a:lnTo>
                  <a:lnTo>
                    <a:pt x="626" y="726"/>
                  </a:lnTo>
                  <a:lnTo>
                    <a:pt x="628" y="726"/>
                  </a:lnTo>
                  <a:lnTo>
                    <a:pt x="631" y="725"/>
                  </a:lnTo>
                  <a:lnTo>
                    <a:pt x="631" y="723"/>
                  </a:lnTo>
                  <a:lnTo>
                    <a:pt x="631" y="722"/>
                  </a:lnTo>
                  <a:lnTo>
                    <a:pt x="628" y="722"/>
                  </a:lnTo>
                  <a:lnTo>
                    <a:pt x="627" y="722"/>
                  </a:lnTo>
                  <a:lnTo>
                    <a:pt x="627" y="720"/>
                  </a:lnTo>
                  <a:lnTo>
                    <a:pt x="626" y="718"/>
                  </a:lnTo>
                  <a:lnTo>
                    <a:pt x="627" y="717"/>
                  </a:lnTo>
                  <a:lnTo>
                    <a:pt x="629" y="717"/>
                  </a:lnTo>
                  <a:lnTo>
                    <a:pt x="633" y="717"/>
                  </a:lnTo>
                  <a:lnTo>
                    <a:pt x="635" y="717"/>
                  </a:lnTo>
                  <a:lnTo>
                    <a:pt x="637" y="718"/>
                  </a:lnTo>
                  <a:lnTo>
                    <a:pt x="637" y="717"/>
                  </a:lnTo>
                  <a:lnTo>
                    <a:pt x="640" y="717"/>
                  </a:lnTo>
                  <a:lnTo>
                    <a:pt x="639" y="719"/>
                  </a:lnTo>
                  <a:lnTo>
                    <a:pt x="640" y="720"/>
                  </a:lnTo>
                  <a:lnTo>
                    <a:pt x="641" y="720"/>
                  </a:lnTo>
                  <a:lnTo>
                    <a:pt x="644" y="719"/>
                  </a:lnTo>
                  <a:lnTo>
                    <a:pt x="644" y="717"/>
                  </a:lnTo>
                  <a:lnTo>
                    <a:pt x="647" y="717"/>
                  </a:lnTo>
                  <a:lnTo>
                    <a:pt x="649" y="716"/>
                  </a:lnTo>
                  <a:lnTo>
                    <a:pt x="650" y="714"/>
                  </a:lnTo>
                  <a:lnTo>
                    <a:pt x="649" y="713"/>
                  </a:lnTo>
                  <a:lnTo>
                    <a:pt x="651" y="713"/>
                  </a:lnTo>
                  <a:lnTo>
                    <a:pt x="652" y="713"/>
                  </a:lnTo>
                  <a:lnTo>
                    <a:pt x="653" y="713"/>
                  </a:lnTo>
                  <a:lnTo>
                    <a:pt x="653" y="712"/>
                  </a:lnTo>
                  <a:lnTo>
                    <a:pt x="655" y="712"/>
                  </a:lnTo>
                  <a:lnTo>
                    <a:pt x="656" y="711"/>
                  </a:lnTo>
                  <a:lnTo>
                    <a:pt x="657" y="711"/>
                  </a:lnTo>
                  <a:lnTo>
                    <a:pt x="658" y="711"/>
                  </a:lnTo>
                  <a:lnTo>
                    <a:pt x="658" y="710"/>
                  </a:lnTo>
                  <a:lnTo>
                    <a:pt x="663" y="710"/>
                  </a:lnTo>
                  <a:lnTo>
                    <a:pt x="663" y="711"/>
                  </a:lnTo>
                  <a:lnTo>
                    <a:pt x="664" y="711"/>
                  </a:lnTo>
                  <a:lnTo>
                    <a:pt x="665" y="711"/>
                  </a:lnTo>
                  <a:lnTo>
                    <a:pt x="668" y="711"/>
                  </a:lnTo>
                  <a:lnTo>
                    <a:pt x="668" y="712"/>
                  </a:lnTo>
                  <a:lnTo>
                    <a:pt x="671" y="714"/>
                  </a:lnTo>
                  <a:lnTo>
                    <a:pt x="671" y="716"/>
                  </a:lnTo>
                  <a:lnTo>
                    <a:pt x="674" y="716"/>
                  </a:lnTo>
                  <a:lnTo>
                    <a:pt x="674" y="718"/>
                  </a:lnTo>
                  <a:lnTo>
                    <a:pt x="675" y="718"/>
                  </a:lnTo>
                  <a:lnTo>
                    <a:pt x="676" y="718"/>
                  </a:lnTo>
                  <a:lnTo>
                    <a:pt x="676" y="719"/>
                  </a:lnTo>
                  <a:lnTo>
                    <a:pt x="678" y="719"/>
                  </a:lnTo>
                  <a:lnTo>
                    <a:pt x="678" y="720"/>
                  </a:lnTo>
                  <a:lnTo>
                    <a:pt x="678" y="722"/>
                  </a:lnTo>
                  <a:lnTo>
                    <a:pt x="680" y="720"/>
                  </a:lnTo>
                  <a:lnTo>
                    <a:pt x="679" y="725"/>
                  </a:lnTo>
                  <a:lnTo>
                    <a:pt x="681" y="725"/>
                  </a:lnTo>
                  <a:lnTo>
                    <a:pt x="685" y="726"/>
                  </a:lnTo>
                  <a:lnTo>
                    <a:pt x="686" y="730"/>
                  </a:lnTo>
                  <a:lnTo>
                    <a:pt x="687" y="730"/>
                  </a:lnTo>
                  <a:lnTo>
                    <a:pt x="688" y="730"/>
                  </a:lnTo>
                  <a:lnTo>
                    <a:pt x="690" y="729"/>
                  </a:lnTo>
                  <a:lnTo>
                    <a:pt x="691" y="726"/>
                  </a:lnTo>
                  <a:lnTo>
                    <a:pt x="694" y="726"/>
                  </a:lnTo>
                  <a:lnTo>
                    <a:pt x="694" y="728"/>
                  </a:lnTo>
                  <a:lnTo>
                    <a:pt x="697" y="728"/>
                  </a:lnTo>
                  <a:lnTo>
                    <a:pt x="700" y="728"/>
                  </a:lnTo>
                  <a:lnTo>
                    <a:pt x="702" y="730"/>
                  </a:lnTo>
                  <a:lnTo>
                    <a:pt x="702" y="731"/>
                  </a:lnTo>
                  <a:lnTo>
                    <a:pt x="702" y="732"/>
                  </a:lnTo>
                  <a:lnTo>
                    <a:pt x="703" y="735"/>
                  </a:lnTo>
                  <a:lnTo>
                    <a:pt x="704" y="736"/>
                  </a:lnTo>
                  <a:lnTo>
                    <a:pt x="705" y="736"/>
                  </a:lnTo>
                  <a:lnTo>
                    <a:pt x="705" y="738"/>
                  </a:lnTo>
                  <a:lnTo>
                    <a:pt x="704" y="741"/>
                  </a:lnTo>
                  <a:lnTo>
                    <a:pt x="705" y="743"/>
                  </a:lnTo>
                  <a:lnTo>
                    <a:pt x="703" y="744"/>
                  </a:lnTo>
                  <a:lnTo>
                    <a:pt x="704" y="744"/>
                  </a:lnTo>
                  <a:lnTo>
                    <a:pt x="705" y="744"/>
                  </a:lnTo>
                  <a:lnTo>
                    <a:pt x="705" y="746"/>
                  </a:lnTo>
                  <a:lnTo>
                    <a:pt x="710" y="749"/>
                  </a:lnTo>
                  <a:lnTo>
                    <a:pt x="711" y="749"/>
                  </a:lnTo>
                  <a:lnTo>
                    <a:pt x="712" y="749"/>
                  </a:lnTo>
                  <a:lnTo>
                    <a:pt x="714" y="749"/>
                  </a:lnTo>
                  <a:lnTo>
                    <a:pt x="714" y="748"/>
                  </a:lnTo>
                  <a:lnTo>
                    <a:pt x="716" y="748"/>
                  </a:lnTo>
                  <a:lnTo>
                    <a:pt x="716" y="749"/>
                  </a:lnTo>
                  <a:lnTo>
                    <a:pt x="718" y="749"/>
                  </a:lnTo>
                  <a:lnTo>
                    <a:pt x="718" y="752"/>
                  </a:lnTo>
                  <a:lnTo>
                    <a:pt x="721" y="755"/>
                  </a:lnTo>
                  <a:lnTo>
                    <a:pt x="721" y="756"/>
                  </a:lnTo>
                  <a:lnTo>
                    <a:pt x="720" y="756"/>
                  </a:lnTo>
                  <a:lnTo>
                    <a:pt x="718" y="758"/>
                  </a:lnTo>
                  <a:lnTo>
                    <a:pt x="718" y="760"/>
                  </a:lnTo>
                  <a:lnTo>
                    <a:pt x="717" y="761"/>
                  </a:lnTo>
                  <a:lnTo>
                    <a:pt x="720" y="760"/>
                  </a:lnTo>
                  <a:lnTo>
                    <a:pt x="720" y="759"/>
                  </a:lnTo>
                  <a:lnTo>
                    <a:pt x="722" y="759"/>
                  </a:lnTo>
                  <a:lnTo>
                    <a:pt x="722" y="760"/>
                  </a:lnTo>
                  <a:lnTo>
                    <a:pt x="723" y="760"/>
                  </a:lnTo>
                  <a:lnTo>
                    <a:pt x="723" y="761"/>
                  </a:lnTo>
                  <a:lnTo>
                    <a:pt x="724" y="762"/>
                  </a:lnTo>
                  <a:lnTo>
                    <a:pt x="723" y="762"/>
                  </a:lnTo>
                  <a:lnTo>
                    <a:pt x="723" y="765"/>
                  </a:lnTo>
                  <a:lnTo>
                    <a:pt x="724" y="768"/>
                  </a:lnTo>
                  <a:lnTo>
                    <a:pt x="724" y="771"/>
                  </a:lnTo>
                  <a:lnTo>
                    <a:pt x="726" y="771"/>
                  </a:lnTo>
                  <a:lnTo>
                    <a:pt x="727" y="773"/>
                  </a:lnTo>
                  <a:lnTo>
                    <a:pt x="727" y="772"/>
                  </a:lnTo>
                  <a:lnTo>
                    <a:pt x="728" y="773"/>
                  </a:lnTo>
                  <a:lnTo>
                    <a:pt x="730" y="774"/>
                  </a:lnTo>
                  <a:lnTo>
                    <a:pt x="730" y="777"/>
                  </a:lnTo>
                  <a:lnTo>
                    <a:pt x="727" y="774"/>
                  </a:lnTo>
                  <a:lnTo>
                    <a:pt x="728" y="777"/>
                  </a:lnTo>
                  <a:lnTo>
                    <a:pt x="728" y="778"/>
                  </a:lnTo>
                  <a:lnTo>
                    <a:pt x="726" y="777"/>
                  </a:lnTo>
                  <a:lnTo>
                    <a:pt x="723" y="774"/>
                  </a:lnTo>
                  <a:lnTo>
                    <a:pt x="723" y="778"/>
                  </a:lnTo>
                  <a:lnTo>
                    <a:pt x="723" y="779"/>
                  </a:lnTo>
                  <a:lnTo>
                    <a:pt x="724" y="779"/>
                  </a:lnTo>
                  <a:lnTo>
                    <a:pt x="726" y="780"/>
                  </a:lnTo>
                  <a:lnTo>
                    <a:pt x="726" y="783"/>
                  </a:lnTo>
                  <a:lnTo>
                    <a:pt x="727" y="784"/>
                  </a:lnTo>
                  <a:lnTo>
                    <a:pt x="727" y="785"/>
                  </a:lnTo>
                  <a:lnTo>
                    <a:pt x="728" y="785"/>
                  </a:lnTo>
                  <a:lnTo>
                    <a:pt x="728" y="783"/>
                  </a:lnTo>
                  <a:lnTo>
                    <a:pt x="729" y="784"/>
                  </a:lnTo>
                  <a:lnTo>
                    <a:pt x="730" y="786"/>
                  </a:lnTo>
                  <a:lnTo>
                    <a:pt x="732" y="789"/>
                  </a:lnTo>
                  <a:lnTo>
                    <a:pt x="733" y="790"/>
                  </a:lnTo>
                  <a:lnTo>
                    <a:pt x="735" y="791"/>
                  </a:lnTo>
                  <a:lnTo>
                    <a:pt x="735" y="792"/>
                  </a:lnTo>
                  <a:lnTo>
                    <a:pt x="736" y="794"/>
                  </a:lnTo>
                  <a:lnTo>
                    <a:pt x="739" y="795"/>
                  </a:lnTo>
                  <a:lnTo>
                    <a:pt x="739" y="797"/>
                  </a:lnTo>
                  <a:lnTo>
                    <a:pt x="738" y="798"/>
                  </a:lnTo>
                  <a:lnTo>
                    <a:pt x="736" y="801"/>
                  </a:lnTo>
                  <a:lnTo>
                    <a:pt x="738" y="802"/>
                  </a:lnTo>
                  <a:lnTo>
                    <a:pt x="736" y="804"/>
                  </a:lnTo>
                  <a:lnTo>
                    <a:pt x="735" y="806"/>
                  </a:lnTo>
                  <a:lnTo>
                    <a:pt x="733" y="806"/>
                  </a:lnTo>
                  <a:lnTo>
                    <a:pt x="732" y="807"/>
                  </a:lnTo>
                  <a:lnTo>
                    <a:pt x="730" y="806"/>
                  </a:lnTo>
                  <a:lnTo>
                    <a:pt x="729" y="806"/>
                  </a:lnTo>
                  <a:lnTo>
                    <a:pt x="728" y="806"/>
                  </a:lnTo>
                  <a:lnTo>
                    <a:pt x="727" y="806"/>
                  </a:lnTo>
                  <a:lnTo>
                    <a:pt x="726" y="803"/>
                  </a:lnTo>
                  <a:lnTo>
                    <a:pt x="724" y="802"/>
                  </a:lnTo>
                  <a:lnTo>
                    <a:pt x="723" y="802"/>
                  </a:lnTo>
                  <a:lnTo>
                    <a:pt x="721" y="801"/>
                  </a:lnTo>
                  <a:lnTo>
                    <a:pt x="720" y="801"/>
                  </a:lnTo>
                  <a:lnTo>
                    <a:pt x="720" y="800"/>
                  </a:lnTo>
                  <a:lnTo>
                    <a:pt x="718" y="798"/>
                  </a:lnTo>
                  <a:lnTo>
                    <a:pt x="715" y="797"/>
                  </a:lnTo>
                  <a:lnTo>
                    <a:pt x="714" y="797"/>
                  </a:lnTo>
                  <a:lnTo>
                    <a:pt x="712" y="797"/>
                  </a:lnTo>
                  <a:lnTo>
                    <a:pt x="712" y="796"/>
                  </a:lnTo>
                  <a:lnTo>
                    <a:pt x="710" y="795"/>
                  </a:lnTo>
                  <a:lnTo>
                    <a:pt x="709" y="792"/>
                  </a:lnTo>
                  <a:lnTo>
                    <a:pt x="709" y="790"/>
                  </a:lnTo>
                  <a:lnTo>
                    <a:pt x="708" y="790"/>
                  </a:lnTo>
                  <a:lnTo>
                    <a:pt x="708" y="791"/>
                  </a:lnTo>
                  <a:lnTo>
                    <a:pt x="706" y="792"/>
                  </a:lnTo>
                  <a:lnTo>
                    <a:pt x="709" y="794"/>
                  </a:lnTo>
                  <a:lnTo>
                    <a:pt x="709" y="795"/>
                  </a:lnTo>
                  <a:lnTo>
                    <a:pt x="705" y="792"/>
                  </a:lnTo>
                  <a:lnTo>
                    <a:pt x="706" y="795"/>
                  </a:lnTo>
                  <a:lnTo>
                    <a:pt x="706" y="796"/>
                  </a:lnTo>
                  <a:lnTo>
                    <a:pt x="705" y="796"/>
                  </a:lnTo>
                  <a:lnTo>
                    <a:pt x="703" y="798"/>
                  </a:lnTo>
                  <a:lnTo>
                    <a:pt x="702" y="798"/>
                  </a:lnTo>
                  <a:lnTo>
                    <a:pt x="700" y="798"/>
                  </a:lnTo>
                  <a:lnTo>
                    <a:pt x="699" y="797"/>
                  </a:lnTo>
                  <a:lnTo>
                    <a:pt x="700" y="796"/>
                  </a:lnTo>
                  <a:lnTo>
                    <a:pt x="704" y="796"/>
                  </a:lnTo>
                  <a:lnTo>
                    <a:pt x="703" y="795"/>
                  </a:lnTo>
                  <a:lnTo>
                    <a:pt x="703" y="794"/>
                  </a:lnTo>
                  <a:lnTo>
                    <a:pt x="702" y="792"/>
                  </a:lnTo>
                  <a:lnTo>
                    <a:pt x="700" y="790"/>
                  </a:lnTo>
                  <a:lnTo>
                    <a:pt x="700" y="791"/>
                  </a:lnTo>
                  <a:lnTo>
                    <a:pt x="699" y="790"/>
                  </a:lnTo>
                  <a:lnTo>
                    <a:pt x="697" y="792"/>
                  </a:lnTo>
                  <a:lnTo>
                    <a:pt x="694" y="791"/>
                  </a:lnTo>
                  <a:lnTo>
                    <a:pt x="697" y="790"/>
                  </a:lnTo>
                  <a:lnTo>
                    <a:pt x="696" y="789"/>
                  </a:lnTo>
                  <a:lnTo>
                    <a:pt x="693" y="788"/>
                  </a:lnTo>
                  <a:lnTo>
                    <a:pt x="692" y="788"/>
                  </a:lnTo>
                  <a:lnTo>
                    <a:pt x="690" y="786"/>
                  </a:lnTo>
                  <a:lnTo>
                    <a:pt x="690" y="788"/>
                  </a:lnTo>
                  <a:lnTo>
                    <a:pt x="687" y="788"/>
                  </a:lnTo>
                  <a:lnTo>
                    <a:pt x="685" y="786"/>
                  </a:lnTo>
                  <a:lnTo>
                    <a:pt x="684" y="786"/>
                  </a:lnTo>
                  <a:lnTo>
                    <a:pt x="685" y="785"/>
                  </a:lnTo>
                  <a:lnTo>
                    <a:pt x="684" y="783"/>
                  </a:lnTo>
                  <a:lnTo>
                    <a:pt x="682" y="784"/>
                  </a:lnTo>
                  <a:lnTo>
                    <a:pt x="681" y="784"/>
                  </a:lnTo>
                  <a:lnTo>
                    <a:pt x="680" y="784"/>
                  </a:lnTo>
                  <a:lnTo>
                    <a:pt x="680" y="785"/>
                  </a:lnTo>
                  <a:lnTo>
                    <a:pt x="678" y="785"/>
                  </a:lnTo>
                  <a:lnTo>
                    <a:pt x="678" y="786"/>
                  </a:lnTo>
                  <a:lnTo>
                    <a:pt x="679" y="788"/>
                  </a:lnTo>
                  <a:lnTo>
                    <a:pt x="680" y="789"/>
                  </a:lnTo>
                  <a:lnTo>
                    <a:pt x="681" y="790"/>
                  </a:lnTo>
                  <a:lnTo>
                    <a:pt x="682" y="791"/>
                  </a:lnTo>
                  <a:lnTo>
                    <a:pt x="685" y="794"/>
                  </a:lnTo>
                  <a:lnTo>
                    <a:pt x="684" y="794"/>
                  </a:lnTo>
                  <a:lnTo>
                    <a:pt x="682" y="792"/>
                  </a:lnTo>
                  <a:lnTo>
                    <a:pt x="681" y="791"/>
                  </a:lnTo>
                  <a:lnTo>
                    <a:pt x="680" y="792"/>
                  </a:lnTo>
                  <a:lnTo>
                    <a:pt x="678" y="792"/>
                  </a:lnTo>
                  <a:lnTo>
                    <a:pt x="676" y="792"/>
                  </a:lnTo>
                  <a:lnTo>
                    <a:pt x="675" y="792"/>
                  </a:lnTo>
                  <a:lnTo>
                    <a:pt x="675" y="794"/>
                  </a:lnTo>
                  <a:lnTo>
                    <a:pt x="674" y="794"/>
                  </a:lnTo>
                  <a:lnTo>
                    <a:pt x="671" y="797"/>
                  </a:lnTo>
                  <a:lnTo>
                    <a:pt x="669" y="798"/>
                  </a:lnTo>
                  <a:lnTo>
                    <a:pt x="668" y="798"/>
                  </a:lnTo>
                  <a:lnTo>
                    <a:pt x="665" y="800"/>
                  </a:lnTo>
                  <a:lnTo>
                    <a:pt x="664" y="798"/>
                  </a:lnTo>
                  <a:lnTo>
                    <a:pt x="663" y="798"/>
                  </a:lnTo>
                  <a:lnTo>
                    <a:pt x="663" y="800"/>
                  </a:lnTo>
                  <a:lnTo>
                    <a:pt x="664" y="801"/>
                  </a:lnTo>
                  <a:lnTo>
                    <a:pt x="665" y="802"/>
                  </a:lnTo>
                  <a:lnTo>
                    <a:pt x="669" y="803"/>
                  </a:lnTo>
                  <a:lnTo>
                    <a:pt x="669" y="804"/>
                  </a:lnTo>
                  <a:lnTo>
                    <a:pt x="669" y="806"/>
                  </a:lnTo>
                  <a:lnTo>
                    <a:pt x="668" y="806"/>
                  </a:lnTo>
                  <a:lnTo>
                    <a:pt x="663" y="803"/>
                  </a:lnTo>
                  <a:lnTo>
                    <a:pt x="663" y="806"/>
                  </a:lnTo>
                  <a:lnTo>
                    <a:pt x="662" y="806"/>
                  </a:lnTo>
                  <a:lnTo>
                    <a:pt x="661" y="804"/>
                  </a:lnTo>
                  <a:lnTo>
                    <a:pt x="657" y="806"/>
                  </a:lnTo>
                  <a:lnTo>
                    <a:pt x="656" y="803"/>
                  </a:lnTo>
                  <a:lnTo>
                    <a:pt x="653" y="803"/>
                  </a:lnTo>
                  <a:lnTo>
                    <a:pt x="652" y="804"/>
                  </a:lnTo>
                  <a:lnTo>
                    <a:pt x="651" y="804"/>
                  </a:lnTo>
                  <a:lnTo>
                    <a:pt x="650" y="802"/>
                  </a:lnTo>
                  <a:lnTo>
                    <a:pt x="645" y="801"/>
                  </a:lnTo>
                  <a:lnTo>
                    <a:pt x="644" y="801"/>
                  </a:lnTo>
                  <a:lnTo>
                    <a:pt x="643" y="802"/>
                  </a:lnTo>
                  <a:lnTo>
                    <a:pt x="643" y="803"/>
                  </a:lnTo>
                  <a:lnTo>
                    <a:pt x="643" y="804"/>
                  </a:lnTo>
                  <a:lnTo>
                    <a:pt x="644" y="807"/>
                  </a:lnTo>
                  <a:lnTo>
                    <a:pt x="645" y="808"/>
                  </a:lnTo>
                  <a:lnTo>
                    <a:pt x="645" y="809"/>
                  </a:lnTo>
                  <a:lnTo>
                    <a:pt x="644" y="809"/>
                  </a:lnTo>
                  <a:lnTo>
                    <a:pt x="643" y="808"/>
                  </a:lnTo>
                  <a:lnTo>
                    <a:pt x="641" y="808"/>
                  </a:lnTo>
                  <a:lnTo>
                    <a:pt x="641" y="809"/>
                  </a:lnTo>
                  <a:lnTo>
                    <a:pt x="639" y="808"/>
                  </a:lnTo>
                  <a:lnTo>
                    <a:pt x="637" y="812"/>
                  </a:lnTo>
                  <a:lnTo>
                    <a:pt x="635" y="809"/>
                  </a:lnTo>
                  <a:lnTo>
                    <a:pt x="634" y="809"/>
                  </a:lnTo>
                  <a:lnTo>
                    <a:pt x="632" y="810"/>
                  </a:lnTo>
                  <a:lnTo>
                    <a:pt x="631" y="810"/>
                  </a:lnTo>
                  <a:lnTo>
                    <a:pt x="631" y="809"/>
                  </a:lnTo>
                  <a:lnTo>
                    <a:pt x="631" y="808"/>
                  </a:lnTo>
                  <a:lnTo>
                    <a:pt x="629" y="804"/>
                  </a:lnTo>
                  <a:lnTo>
                    <a:pt x="631" y="802"/>
                  </a:lnTo>
                  <a:lnTo>
                    <a:pt x="634" y="803"/>
                  </a:lnTo>
                  <a:lnTo>
                    <a:pt x="634" y="801"/>
                  </a:lnTo>
                  <a:lnTo>
                    <a:pt x="635" y="798"/>
                  </a:lnTo>
                  <a:lnTo>
                    <a:pt x="634" y="797"/>
                  </a:lnTo>
                  <a:lnTo>
                    <a:pt x="633" y="798"/>
                  </a:lnTo>
                  <a:lnTo>
                    <a:pt x="632" y="802"/>
                  </a:lnTo>
                  <a:lnTo>
                    <a:pt x="629" y="798"/>
                  </a:lnTo>
                  <a:lnTo>
                    <a:pt x="627" y="797"/>
                  </a:lnTo>
                  <a:lnTo>
                    <a:pt x="627" y="795"/>
                  </a:lnTo>
                  <a:lnTo>
                    <a:pt x="625" y="796"/>
                  </a:lnTo>
                  <a:lnTo>
                    <a:pt x="623" y="792"/>
                  </a:lnTo>
                  <a:lnTo>
                    <a:pt x="625" y="790"/>
                  </a:lnTo>
                  <a:lnTo>
                    <a:pt x="627" y="791"/>
                  </a:lnTo>
                  <a:lnTo>
                    <a:pt x="627" y="790"/>
                  </a:lnTo>
                  <a:lnTo>
                    <a:pt x="628" y="790"/>
                  </a:lnTo>
                  <a:lnTo>
                    <a:pt x="629" y="790"/>
                  </a:lnTo>
                  <a:lnTo>
                    <a:pt x="635" y="791"/>
                  </a:lnTo>
                  <a:lnTo>
                    <a:pt x="635" y="790"/>
                  </a:lnTo>
                  <a:lnTo>
                    <a:pt x="634" y="790"/>
                  </a:lnTo>
                  <a:lnTo>
                    <a:pt x="634" y="789"/>
                  </a:lnTo>
                  <a:lnTo>
                    <a:pt x="637" y="789"/>
                  </a:lnTo>
                  <a:lnTo>
                    <a:pt x="637" y="786"/>
                  </a:lnTo>
                  <a:lnTo>
                    <a:pt x="639" y="785"/>
                  </a:lnTo>
                  <a:lnTo>
                    <a:pt x="641" y="785"/>
                  </a:lnTo>
                  <a:lnTo>
                    <a:pt x="640" y="782"/>
                  </a:lnTo>
                  <a:lnTo>
                    <a:pt x="639" y="780"/>
                  </a:lnTo>
                  <a:lnTo>
                    <a:pt x="640" y="778"/>
                  </a:lnTo>
                  <a:lnTo>
                    <a:pt x="640" y="777"/>
                  </a:lnTo>
                  <a:lnTo>
                    <a:pt x="641" y="774"/>
                  </a:lnTo>
                  <a:lnTo>
                    <a:pt x="643" y="771"/>
                  </a:lnTo>
                  <a:lnTo>
                    <a:pt x="643" y="770"/>
                  </a:lnTo>
                  <a:lnTo>
                    <a:pt x="644" y="770"/>
                  </a:lnTo>
                  <a:lnTo>
                    <a:pt x="645" y="768"/>
                  </a:lnTo>
                  <a:lnTo>
                    <a:pt x="646" y="767"/>
                  </a:lnTo>
                  <a:lnTo>
                    <a:pt x="646" y="766"/>
                  </a:lnTo>
                  <a:lnTo>
                    <a:pt x="645" y="766"/>
                  </a:lnTo>
                  <a:lnTo>
                    <a:pt x="643" y="767"/>
                  </a:lnTo>
                  <a:lnTo>
                    <a:pt x="641" y="768"/>
                  </a:lnTo>
                  <a:lnTo>
                    <a:pt x="641" y="765"/>
                  </a:lnTo>
                  <a:lnTo>
                    <a:pt x="638" y="765"/>
                  </a:lnTo>
                  <a:lnTo>
                    <a:pt x="635" y="765"/>
                  </a:lnTo>
                  <a:lnTo>
                    <a:pt x="633" y="764"/>
                  </a:lnTo>
                  <a:lnTo>
                    <a:pt x="634" y="760"/>
                  </a:lnTo>
                  <a:lnTo>
                    <a:pt x="634" y="759"/>
                  </a:lnTo>
                  <a:lnTo>
                    <a:pt x="635" y="759"/>
                  </a:lnTo>
                  <a:lnTo>
                    <a:pt x="638" y="760"/>
                  </a:lnTo>
                  <a:lnTo>
                    <a:pt x="639" y="759"/>
                  </a:lnTo>
                  <a:lnTo>
                    <a:pt x="640" y="759"/>
                  </a:lnTo>
                  <a:lnTo>
                    <a:pt x="639" y="758"/>
                  </a:lnTo>
                  <a:lnTo>
                    <a:pt x="638" y="758"/>
                  </a:lnTo>
                  <a:lnTo>
                    <a:pt x="638" y="755"/>
                  </a:lnTo>
                  <a:lnTo>
                    <a:pt x="637" y="755"/>
                  </a:lnTo>
                  <a:lnTo>
                    <a:pt x="637" y="754"/>
                  </a:lnTo>
                  <a:lnTo>
                    <a:pt x="638" y="753"/>
                  </a:lnTo>
                  <a:lnTo>
                    <a:pt x="638" y="754"/>
                  </a:lnTo>
                  <a:lnTo>
                    <a:pt x="638" y="752"/>
                  </a:lnTo>
                  <a:lnTo>
                    <a:pt x="638" y="750"/>
                  </a:lnTo>
                  <a:lnTo>
                    <a:pt x="638" y="748"/>
                  </a:lnTo>
                  <a:lnTo>
                    <a:pt x="639" y="748"/>
                  </a:lnTo>
                  <a:lnTo>
                    <a:pt x="640" y="748"/>
                  </a:lnTo>
                  <a:lnTo>
                    <a:pt x="643" y="748"/>
                  </a:lnTo>
                  <a:lnTo>
                    <a:pt x="640" y="747"/>
                  </a:lnTo>
                  <a:lnTo>
                    <a:pt x="638" y="746"/>
                  </a:lnTo>
                  <a:lnTo>
                    <a:pt x="638" y="743"/>
                  </a:lnTo>
                  <a:lnTo>
                    <a:pt x="635" y="741"/>
                  </a:lnTo>
                  <a:lnTo>
                    <a:pt x="635" y="740"/>
                  </a:lnTo>
                  <a:lnTo>
                    <a:pt x="634" y="738"/>
                  </a:lnTo>
                  <a:lnTo>
                    <a:pt x="635" y="737"/>
                  </a:lnTo>
                  <a:lnTo>
                    <a:pt x="637" y="736"/>
                  </a:lnTo>
                  <a:lnTo>
                    <a:pt x="638" y="736"/>
                  </a:lnTo>
                  <a:lnTo>
                    <a:pt x="638" y="735"/>
                  </a:lnTo>
                  <a:lnTo>
                    <a:pt x="634" y="734"/>
                  </a:lnTo>
                  <a:lnTo>
                    <a:pt x="632" y="734"/>
                  </a:lnTo>
                  <a:lnTo>
                    <a:pt x="632" y="735"/>
                  </a:lnTo>
                  <a:lnTo>
                    <a:pt x="632" y="737"/>
                  </a:lnTo>
                  <a:lnTo>
                    <a:pt x="631" y="737"/>
                  </a:lnTo>
                  <a:lnTo>
                    <a:pt x="629" y="737"/>
                  </a:lnTo>
                  <a:lnTo>
                    <a:pt x="628" y="736"/>
                  </a:lnTo>
                  <a:lnTo>
                    <a:pt x="628" y="732"/>
                  </a:lnTo>
                  <a:lnTo>
                    <a:pt x="625" y="731"/>
                  </a:lnTo>
                  <a:lnTo>
                    <a:pt x="617" y="730"/>
                  </a:lnTo>
                  <a:lnTo>
                    <a:pt x="610" y="729"/>
                  </a:lnTo>
                  <a:lnTo>
                    <a:pt x="606" y="729"/>
                  </a:lnTo>
                  <a:lnTo>
                    <a:pt x="604" y="728"/>
                  </a:lnTo>
                  <a:lnTo>
                    <a:pt x="600" y="728"/>
                  </a:lnTo>
                  <a:lnTo>
                    <a:pt x="598" y="728"/>
                  </a:lnTo>
                  <a:lnTo>
                    <a:pt x="596" y="728"/>
                  </a:lnTo>
                  <a:lnTo>
                    <a:pt x="594" y="729"/>
                  </a:lnTo>
                  <a:lnTo>
                    <a:pt x="593" y="730"/>
                  </a:lnTo>
                  <a:lnTo>
                    <a:pt x="596" y="732"/>
                  </a:lnTo>
                  <a:lnTo>
                    <a:pt x="593" y="732"/>
                  </a:lnTo>
                  <a:lnTo>
                    <a:pt x="592" y="732"/>
                  </a:lnTo>
                  <a:lnTo>
                    <a:pt x="591" y="731"/>
                  </a:lnTo>
                  <a:lnTo>
                    <a:pt x="588" y="732"/>
                  </a:lnTo>
                  <a:lnTo>
                    <a:pt x="587" y="732"/>
                  </a:lnTo>
                  <a:lnTo>
                    <a:pt x="586" y="731"/>
                  </a:lnTo>
                  <a:lnTo>
                    <a:pt x="585" y="732"/>
                  </a:lnTo>
                  <a:lnTo>
                    <a:pt x="586" y="735"/>
                  </a:lnTo>
                  <a:lnTo>
                    <a:pt x="586" y="736"/>
                  </a:lnTo>
                  <a:lnTo>
                    <a:pt x="585" y="736"/>
                  </a:lnTo>
                  <a:lnTo>
                    <a:pt x="582" y="736"/>
                  </a:lnTo>
                  <a:lnTo>
                    <a:pt x="580" y="736"/>
                  </a:lnTo>
                  <a:lnTo>
                    <a:pt x="579" y="735"/>
                  </a:lnTo>
                  <a:lnTo>
                    <a:pt x="575" y="736"/>
                  </a:lnTo>
                  <a:lnTo>
                    <a:pt x="574" y="737"/>
                  </a:lnTo>
                  <a:lnTo>
                    <a:pt x="574" y="738"/>
                  </a:lnTo>
                  <a:lnTo>
                    <a:pt x="573" y="740"/>
                  </a:lnTo>
                  <a:lnTo>
                    <a:pt x="572" y="740"/>
                  </a:lnTo>
                  <a:lnTo>
                    <a:pt x="570" y="741"/>
                  </a:lnTo>
                  <a:lnTo>
                    <a:pt x="569" y="747"/>
                  </a:lnTo>
                  <a:lnTo>
                    <a:pt x="568" y="747"/>
                  </a:lnTo>
                  <a:lnTo>
                    <a:pt x="567" y="748"/>
                  </a:lnTo>
                  <a:lnTo>
                    <a:pt x="564" y="748"/>
                  </a:lnTo>
                  <a:lnTo>
                    <a:pt x="564" y="747"/>
                  </a:lnTo>
                  <a:lnTo>
                    <a:pt x="561" y="748"/>
                  </a:lnTo>
                  <a:lnTo>
                    <a:pt x="562" y="744"/>
                  </a:lnTo>
                  <a:lnTo>
                    <a:pt x="558" y="744"/>
                  </a:lnTo>
                  <a:lnTo>
                    <a:pt x="557" y="742"/>
                  </a:lnTo>
                  <a:lnTo>
                    <a:pt x="555" y="741"/>
                  </a:lnTo>
                  <a:lnTo>
                    <a:pt x="553" y="741"/>
                  </a:lnTo>
                  <a:lnTo>
                    <a:pt x="552" y="740"/>
                  </a:lnTo>
                  <a:lnTo>
                    <a:pt x="547" y="741"/>
                  </a:lnTo>
                  <a:lnTo>
                    <a:pt x="544" y="742"/>
                  </a:lnTo>
                  <a:lnTo>
                    <a:pt x="539" y="743"/>
                  </a:lnTo>
                  <a:lnTo>
                    <a:pt x="538" y="744"/>
                  </a:lnTo>
                  <a:lnTo>
                    <a:pt x="537" y="746"/>
                  </a:lnTo>
                  <a:lnTo>
                    <a:pt x="541" y="747"/>
                  </a:lnTo>
                  <a:lnTo>
                    <a:pt x="543" y="746"/>
                  </a:lnTo>
                  <a:lnTo>
                    <a:pt x="544" y="744"/>
                  </a:lnTo>
                  <a:lnTo>
                    <a:pt x="549" y="747"/>
                  </a:lnTo>
                  <a:lnTo>
                    <a:pt x="549" y="748"/>
                  </a:lnTo>
                  <a:lnTo>
                    <a:pt x="547" y="749"/>
                  </a:lnTo>
                  <a:lnTo>
                    <a:pt x="545" y="752"/>
                  </a:lnTo>
                  <a:lnTo>
                    <a:pt x="547" y="753"/>
                  </a:lnTo>
                  <a:lnTo>
                    <a:pt x="547" y="758"/>
                  </a:lnTo>
                  <a:lnTo>
                    <a:pt x="547" y="760"/>
                  </a:lnTo>
                  <a:lnTo>
                    <a:pt x="546" y="761"/>
                  </a:lnTo>
                  <a:lnTo>
                    <a:pt x="547" y="761"/>
                  </a:lnTo>
                  <a:lnTo>
                    <a:pt x="549" y="760"/>
                  </a:lnTo>
                  <a:lnTo>
                    <a:pt x="550" y="761"/>
                  </a:lnTo>
                  <a:lnTo>
                    <a:pt x="549" y="765"/>
                  </a:lnTo>
                  <a:lnTo>
                    <a:pt x="549" y="767"/>
                  </a:lnTo>
                  <a:lnTo>
                    <a:pt x="547" y="767"/>
                  </a:lnTo>
                  <a:lnTo>
                    <a:pt x="545" y="766"/>
                  </a:lnTo>
                  <a:lnTo>
                    <a:pt x="544" y="766"/>
                  </a:lnTo>
                  <a:lnTo>
                    <a:pt x="544" y="768"/>
                  </a:lnTo>
                  <a:lnTo>
                    <a:pt x="546" y="768"/>
                  </a:lnTo>
                  <a:lnTo>
                    <a:pt x="547" y="770"/>
                  </a:lnTo>
                  <a:lnTo>
                    <a:pt x="549" y="772"/>
                  </a:lnTo>
                  <a:lnTo>
                    <a:pt x="549" y="773"/>
                  </a:lnTo>
                  <a:lnTo>
                    <a:pt x="547" y="774"/>
                  </a:lnTo>
                  <a:lnTo>
                    <a:pt x="546" y="776"/>
                  </a:lnTo>
                  <a:lnTo>
                    <a:pt x="544" y="774"/>
                  </a:lnTo>
                  <a:lnTo>
                    <a:pt x="543" y="773"/>
                  </a:lnTo>
                  <a:lnTo>
                    <a:pt x="539" y="773"/>
                  </a:lnTo>
                  <a:lnTo>
                    <a:pt x="539" y="774"/>
                  </a:lnTo>
                  <a:lnTo>
                    <a:pt x="538" y="776"/>
                  </a:lnTo>
                  <a:lnTo>
                    <a:pt x="538" y="777"/>
                  </a:lnTo>
                  <a:lnTo>
                    <a:pt x="539" y="777"/>
                  </a:lnTo>
                  <a:lnTo>
                    <a:pt x="541" y="776"/>
                  </a:lnTo>
                  <a:lnTo>
                    <a:pt x="544" y="776"/>
                  </a:lnTo>
                  <a:lnTo>
                    <a:pt x="545" y="776"/>
                  </a:lnTo>
                  <a:lnTo>
                    <a:pt x="545" y="777"/>
                  </a:lnTo>
                  <a:lnTo>
                    <a:pt x="546" y="777"/>
                  </a:lnTo>
                  <a:lnTo>
                    <a:pt x="546" y="778"/>
                  </a:lnTo>
                  <a:lnTo>
                    <a:pt x="543" y="779"/>
                  </a:lnTo>
                  <a:lnTo>
                    <a:pt x="540" y="782"/>
                  </a:lnTo>
                  <a:lnTo>
                    <a:pt x="539" y="780"/>
                  </a:lnTo>
                  <a:lnTo>
                    <a:pt x="539" y="782"/>
                  </a:lnTo>
                  <a:lnTo>
                    <a:pt x="540" y="783"/>
                  </a:lnTo>
                  <a:lnTo>
                    <a:pt x="537" y="784"/>
                  </a:lnTo>
                  <a:lnTo>
                    <a:pt x="539" y="785"/>
                  </a:lnTo>
                  <a:lnTo>
                    <a:pt x="540" y="786"/>
                  </a:lnTo>
                  <a:lnTo>
                    <a:pt x="540" y="788"/>
                  </a:lnTo>
                  <a:lnTo>
                    <a:pt x="540" y="789"/>
                  </a:lnTo>
                  <a:lnTo>
                    <a:pt x="539" y="789"/>
                  </a:lnTo>
                  <a:lnTo>
                    <a:pt x="538" y="788"/>
                  </a:lnTo>
                  <a:lnTo>
                    <a:pt x="535" y="788"/>
                  </a:lnTo>
                  <a:lnTo>
                    <a:pt x="534" y="785"/>
                  </a:lnTo>
                  <a:lnTo>
                    <a:pt x="534" y="783"/>
                  </a:lnTo>
                  <a:lnTo>
                    <a:pt x="533" y="783"/>
                  </a:lnTo>
                  <a:lnTo>
                    <a:pt x="533" y="784"/>
                  </a:lnTo>
                  <a:lnTo>
                    <a:pt x="533" y="785"/>
                  </a:lnTo>
                  <a:lnTo>
                    <a:pt x="532" y="785"/>
                  </a:lnTo>
                  <a:lnTo>
                    <a:pt x="532" y="784"/>
                  </a:lnTo>
                  <a:lnTo>
                    <a:pt x="528" y="786"/>
                  </a:lnTo>
                  <a:lnTo>
                    <a:pt x="528" y="785"/>
                  </a:lnTo>
                  <a:lnTo>
                    <a:pt x="527" y="784"/>
                  </a:lnTo>
                  <a:lnTo>
                    <a:pt x="527" y="783"/>
                  </a:lnTo>
                  <a:lnTo>
                    <a:pt x="528" y="782"/>
                  </a:lnTo>
                  <a:lnTo>
                    <a:pt x="525" y="779"/>
                  </a:lnTo>
                  <a:lnTo>
                    <a:pt x="527" y="779"/>
                  </a:lnTo>
                  <a:lnTo>
                    <a:pt x="528" y="780"/>
                  </a:lnTo>
                  <a:lnTo>
                    <a:pt x="529" y="779"/>
                  </a:lnTo>
                  <a:lnTo>
                    <a:pt x="529" y="780"/>
                  </a:lnTo>
                  <a:lnTo>
                    <a:pt x="531" y="782"/>
                  </a:lnTo>
                  <a:lnTo>
                    <a:pt x="533" y="782"/>
                  </a:lnTo>
                  <a:lnTo>
                    <a:pt x="532" y="780"/>
                  </a:lnTo>
                  <a:lnTo>
                    <a:pt x="531" y="779"/>
                  </a:lnTo>
                  <a:lnTo>
                    <a:pt x="529" y="777"/>
                  </a:lnTo>
                  <a:lnTo>
                    <a:pt x="528" y="777"/>
                  </a:lnTo>
                  <a:lnTo>
                    <a:pt x="527" y="777"/>
                  </a:lnTo>
                  <a:lnTo>
                    <a:pt x="526" y="776"/>
                  </a:lnTo>
                  <a:lnTo>
                    <a:pt x="527" y="776"/>
                  </a:lnTo>
                  <a:lnTo>
                    <a:pt x="528" y="774"/>
                  </a:lnTo>
                  <a:lnTo>
                    <a:pt x="529" y="772"/>
                  </a:lnTo>
                  <a:lnTo>
                    <a:pt x="531" y="771"/>
                  </a:lnTo>
                  <a:lnTo>
                    <a:pt x="529" y="771"/>
                  </a:lnTo>
                  <a:lnTo>
                    <a:pt x="528" y="772"/>
                  </a:lnTo>
                  <a:lnTo>
                    <a:pt x="526" y="774"/>
                  </a:lnTo>
                  <a:lnTo>
                    <a:pt x="523" y="776"/>
                  </a:lnTo>
                  <a:lnTo>
                    <a:pt x="521" y="779"/>
                  </a:lnTo>
                  <a:lnTo>
                    <a:pt x="517" y="783"/>
                  </a:lnTo>
                  <a:lnTo>
                    <a:pt x="511" y="790"/>
                  </a:lnTo>
                  <a:lnTo>
                    <a:pt x="509" y="794"/>
                  </a:lnTo>
                  <a:lnTo>
                    <a:pt x="509" y="797"/>
                  </a:lnTo>
                  <a:lnTo>
                    <a:pt x="510" y="800"/>
                  </a:lnTo>
                  <a:lnTo>
                    <a:pt x="511" y="801"/>
                  </a:lnTo>
                  <a:lnTo>
                    <a:pt x="514" y="802"/>
                  </a:lnTo>
                  <a:lnTo>
                    <a:pt x="515" y="803"/>
                  </a:lnTo>
                  <a:lnTo>
                    <a:pt x="520" y="802"/>
                  </a:lnTo>
                  <a:lnTo>
                    <a:pt x="525" y="801"/>
                  </a:lnTo>
                  <a:lnTo>
                    <a:pt x="529" y="800"/>
                  </a:lnTo>
                  <a:lnTo>
                    <a:pt x="535" y="798"/>
                  </a:lnTo>
                  <a:lnTo>
                    <a:pt x="540" y="798"/>
                  </a:lnTo>
                  <a:lnTo>
                    <a:pt x="546" y="797"/>
                  </a:lnTo>
                  <a:lnTo>
                    <a:pt x="551" y="796"/>
                  </a:lnTo>
                  <a:lnTo>
                    <a:pt x="556" y="794"/>
                  </a:lnTo>
                  <a:lnTo>
                    <a:pt x="567" y="794"/>
                  </a:lnTo>
                  <a:lnTo>
                    <a:pt x="579" y="792"/>
                  </a:lnTo>
                  <a:lnTo>
                    <a:pt x="591" y="791"/>
                  </a:lnTo>
                  <a:lnTo>
                    <a:pt x="593" y="791"/>
                  </a:lnTo>
                  <a:lnTo>
                    <a:pt x="594" y="789"/>
                  </a:lnTo>
                  <a:lnTo>
                    <a:pt x="597" y="786"/>
                  </a:lnTo>
                  <a:lnTo>
                    <a:pt x="597" y="785"/>
                  </a:lnTo>
                  <a:lnTo>
                    <a:pt x="598" y="786"/>
                  </a:lnTo>
                  <a:lnTo>
                    <a:pt x="597" y="789"/>
                  </a:lnTo>
                  <a:lnTo>
                    <a:pt x="598" y="790"/>
                  </a:lnTo>
                  <a:lnTo>
                    <a:pt x="600" y="790"/>
                  </a:lnTo>
                  <a:lnTo>
                    <a:pt x="603" y="790"/>
                  </a:lnTo>
                  <a:lnTo>
                    <a:pt x="604" y="790"/>
                  </a:lnTo>
                  <a:lnTo>
                    <a:pt x="603" y="791"/>
                  </a:lnTo>
                  <a:lnTo>
                    <a:pt x="599" y="794"/>
                  </a:lnTo>
                  <a:lnTo>
                    <a:pt x="597" y="795"/>
                  </a:lnTo>
                  <a:lnTo>
                    <a:pt x="593" y="795"/>
                  </a:lnTo>
                  <a:lnTo>
                    <a:pt x="587" y="797"/>
                  </a:lnTo>
                  <a:lnTo>
                    <a:pt x="581" y="797"/>
                  </a:lnTo>
                  <a:lnTo>
                    <a:pt x="574" y="797"/>
                  </a:lnTo>
                  <a:lnTo>
                    <a:pt x="570" y="798"/>
                  </a:lnTo>
                  <a:lnTo>
                    <a:pt x="567" y="800"/>
                  </a:lnTo>
                  <a:lnTo>
                    <a:pt x="560" y="800"/>
                  </a:lnTo>
                  <a:lnTo>
                    <a:pt x="553" y="801"/>
                  </a:lnTo>
                  <a:lnTo>
                    <a:pt x="549" y="802"/>
                  </a:lnTo>
                  <a:lnTo>
                    <a:pt x="543" y="804"/>
                  </a:lnTo>
                  <a:lnTo>
                    <a:pt x="539" y="806"/>
                  </a:lnTo>
                  <a:lnTo>
                    <a:pt x="535" y="807"/>
                  </a:lnTo>
                  <a:lnTo>
                    <a:pt x="531" y="808"/>
                  </a:lnTo>
                  <a:lnTo>
                    <a:pt x="527" y="809"/>
                  </a:lnTo>
                  <a:lnTo>
                    <a:pt x="523" y="812"/>
                  </a:lnTo>
                  <a:lnTo>
                    <a:pt x="520" y="813"/>
                  </a:lnTo>
                  <a:lnTo>
                    <a:pt x="515" y="814"/>
                  </a:lnTo>
                  <a:lnTo>
                    <a:pt x="513" y="815"/>
                  </a:lnTo>
                  <a:lnTo>
                    <a:pt x="511" y="817"/>
                  </a:lnTo>
                  <a:lnTo>
                    <a:pt x="511" y="818"/>
                  </a:lnTo>
                  <a:lnTo>
                    <a:pt x="511" y="819"/>
                  </a:lnTo>
                  <a:lnTo>
                    <a:pt x="513" y="823"/>
                  </a:lnTo>
                  <a:lnTo>
                    <a:pt x="514" y="826"/>
                  </a:lnTo>
                  <a:lnTo>
                    <a:pt x="515" y="830"/>
                  </a:lnTo>
                  <a:lnTo>
                    <a:pt x="515" y="833"/>
                  </a:lnTo>
                  <a:lnTo>
                    <a:pt x="515" y="837"/>
                  </a:lnTo>
                  <a:lnTo>
                    <a:pt x="513" y="842"/>
                  </a:lnTo>
                  <a:lnTo>
                    <a:pt x="511" y="847"/>
                  </a:lnTo>
                  <a:lnTo>
                    <a:pt x="510" y="853"/>
                  </a:lnTo>
                  <a:lnTo>
                    <a:pt x="510" y="857"/>
                  </a:lnTo>
                  <a:lnTo>
                    <a:pt x="509" y="861"/>
                  </a:lnTo>
                  <a:lnTo>
                    <a:pt x="509" y="869"/>
                  </a:lnTo>
                  <a:lnTo>
                    <a:pt x="510" y="877"/>
                  </a:lnTo>
                  <a:lnTo>
                    <a:pt x="510" y="884"/>
                  </a:lnTo>
                  <a:lnTo>
                    <a:pt x="511" y="891"/>
                  </a:lnTo>
                  <a:lnTo>
                    <a:pt x="511" y="926"/>
                  </a:lnTo>
                  <a:lnTo>
                    <a:pt x="511" y="937"/>
                  </a:lnTo>
                  <a:lnTo>
                    <a:pt x="510" y="946"/>
                  </a:lnTo>
                  <a:lnTo>
                    <a:pt x="510" y="950"/>
                  </a:lnTo>
                  <a:lnTo>
                    <a:pt x="509" y="952"/>
                  </a:lnTo>
                  <a:lnTo>
                    <a:pt x="508" y="955"/>
                  </a:lnTo>
                  <a:lnTo>
                    <a:pt x="505" y="957"/>
                  </a:lnTo>
                  <a:lnTo>
                    <a:pt x="501" y="958"/>
                  </a:lnTo>
                  <a:lnTo>
                    <a:pt x="497" y="960"/>
                  </a:lnTo>
                  <a:lnTo>
                    <a:pt x="492" y="960"/>
                  </a:lnTo>
                  <a:lnTo>
                    <a:pt x="487" y="960"/>
                  </a:lnTo>
                  <a:lnTo>
                    <a:pt x="481" y="958"/>
                  </a:lnTo>
                  <a:lnTo>
                    <a:pt x="478" y="958"/>
                  </a:lnTo>
                  <a:lnTo>
                    <a:pt x="473" y="957"/>
                  </a:lnTo>
                  <a:lnTo>
                    <a:pt x="472" y="956"/>
                  </a:lnTo>
                  <a:lnTo>
                    <a:pt x="470" y="955"/>
                  </a:lnTo>
                  <a:lnTo>
                    <a:pt x="469" y="954"/>
                  </a:lnTo>
                  <a:lnTo>
                    <a:pt x="468" y="952"/>
                  </a:lnTo>
                  <a:lnTo>
                    <a:pt x="469" y="946"/>
                  </a:lnTo>
                  <a:lnTo>
                    <a:pt x="470" y="942"/>
                  </a:lnTo>
                  <a:lnTo>
                    <a:pt x="470" y="940"/>
                  </a:lnTo>
                  <a:lnTo>
                    <a:pt x="472" y="937"/>
                  </a:lnTo>
                  <a:lnTo>
                    <a:pt x="472" y="932"/>
                  </a:lnTo>
                  <a:lnTo>
                    <a:pt x="472" y="928"/>
                  </a:lnTo>
                  <a:lnTo>
                    <a:pt x="473" y="924"/>
                  </a:lnTo>
                  <a:lnTo>
                    <a:pt x="473" y="904"/>
                  </a:lnTo>
                  <a:lnTo>
                    <a:pt x="473" y="901"/>
                  </a:lnTo>
                  <a:lnTo>
                    <a:pt x="472" y="896"/>
                  </a:lnTo>
                  <a:lnTo>
                    <a:pt x="472" y="892"/>
                  </a:lnTo>
                  <a:lnTo>
                    <a:pt x="472" y="889"/>
                  </a:lnTo>
                  <a:lnTo>
                    <a:pt x="474" y="881"/>
                  </a:lnTo>
                  <a:lnTo>
                    <a:pt x="474" y="878"/>
                  </a:lnTo>
                  <a:lnTo>
                    <a:pt x="474" y="873"/>
                  </a:lnTo>
                  <a:lnTo>
                    <a:pt x="474" y="865"/>
                  </a:lnTo>
                  <a:lnTo>
                    <a:pt x="474" y="860"/>
                  </a:lnTo>
                  <a:lnTo>
                    <a:pt x="475" y="855"/>
                  </a:lnTo>
                  <a:lnTo>
                    <a:pt x="475" y="850"/>
                  </a:lnTo>
                  <a:lnTo>
                    <a:pt x="476" y="847"/>
                  </a:lnTo>
                  <a:lnTo>
                    <a:pt x="475" y="837"/>
                  </a:lnTo>
                  <a:lnTo>
                    <a:pt x="475" y="833"/>
                  </a:lnTo>
                  <a:lnTo>
                    <a:pt x="475" y="831"/>
                  </a:lnTo>
                  <a:lnTo>
                    <a:pt x="473" y="830"/>
                  </a:lnTo>
                  <a:lnTo>
                    <a:pt x="472" y="827"/>
                  </a:lnTo>
                  <a:lnTo>
                    <a:pt x="469" y="826"/>
                  </a:lnTo>
                  <a:lnTo>
                    <a:pt x="464" y="825"/>
                  </a:lnTo>
                  <a:lnTo>
                    <a:pt x="456" y="821"/>
                  </a:lnTo>
                  <a:lnTo>
                    <a:pt x="449" y="818"/>
                  </a:lnTo>
                  <a:lnTo>
                    <a:pt x="444" y="815"/>
                  </a:lnTo>
                  <a:lnTo>
                    <a:pt x="440" y="813"/>
                  </a:lnTo>
                  <a:lnTo>
                    <a:pt x="434" y="808"/>
                  </a:lnTo>
                  <a:lnTo>
                    <a:pt x="432" y="807"/>
                  </a:lnTo>
                  <a:lnTo>
                    <a:pt x="431" y="807"/>
                  </a:lnTo>
                  <a:lnTo>
                    <a:pt x="426" y="806"/>
                  </a:lnTo>
                  <a:lnTo>
                    <a:pt x="420" y="806"/>
                  </a:lnTo>
                  <a:lnTo>
                    <a:pt x="415" y="806"/>
                  </a:lnTo>
                  <a:lnTo>
                    <a:pt x="409" y="806"/>
                  </a:lnTo>
                  <a:lnTo>
                    <a:pt x="408" y="806"/>
                  </a:lnTo>
                  <a:lnTo>
                    <a:pt x="405" y="804"/>
                  </a:lnTo>
                  <a:lnTo>
                    <a:pt x="396" y="803"/>
                  </a:lnTo>
                  <a:lnTo>
                    <a:pt x="386" y="801"/>
                  </a:lnTo>
                  <a:lnTo>
                    <a:pt x="381" y="801"/>
                  </a:lnTo>
                  <a:lnTo>
                    <a:pt x="376" y="801"/>
                  </a:lnTo>
                  <a:lnTo>
                    <a:pt x="374" y="801"/>
                  </a:lnTo>
                  <a:lnTo>
                    <a:pt x="372" y="801"/>
                  </a:lnTo>
                  <a:lnTo>
                    <a:pt x="370" y="801"/>
                  </a:lnTo>
                  <a:lnTo>
                    <a:pt x="368" y="802"/>
                  </a:lnTo>
                  <a:lnTo>
                    <a:pt x="364" y="804"/>
                  </a:lnTo>
                  <a:lnTo>
                    <a:pt x="361" y="807"/>
                  </a:lnTo>
                  <a:lnTo>
                    <a:pt x="360" y="808"/>
                  </a:lnTo>
                  <a:lnTo>
                    <a:pt x="357" y="809"/>
                  </a:lnTo>
                  <a:lnTo>
                    <a:pt x="352" y="812"/>
                  </a:lnTo>
                  <a:lnTo>
                    <a:pt x="348" y="813"/>
                  </a:lnTo>
                  <a:lnTo>
                    <a:pt x="346" y="812"/>
                  </a:lnTo>
                  <a:lnTo>
                    <a:pt x="346" y="810"/>
                  </a:lnTo>
                  <a:lnTo>
                    <a:pt x="348" y="808"/>
                  </a:lnTo>
                  <a:lnTo>
                    <a:pt x="350" y="807"/>
                  </a:lnTo>
                  <a:lnTo>
                    <a:pt x="355" y="806"/>
                  </a:lnTo>
                  <a:lnTo>
                    <a:pt x="358" y="802"/>
                  </a:lnTo>
                  <a:lnTo>
                    <a:pt x="362" y="800"/>
                  </a:lnTo>
                  <a:lnTo>
                    <a:pt x="364" y="796"/>
                  </a:lnTo>
                  <a:lnTo>
                    <a:pt x="368" y="794"/>
                  </a:lnTo>
                  <a:lnTo>
                    <a:pt x="372" y="791"/>
                  </a:lnTo>
                  <a:lnTo>
                    <a:pt x="373" y="790"/>
                  </a:lnTo>
                  <a:lnTo>
                    <a:pt x="374" y="789"/>
                  </a:lnTo>
                  <a:lnTo>
                    <a:pt x="374" y="786"/>
                  </a:lnTo>
                  <a:lnTo>
                    <a:pt x="373" y="784"/>
                  </a:lnTo>
                  <a:lnTo>
                    <a:pt x="372" y="783"/>
                  </a:lnTo>
                  <a:lnTo>
                    <a:pt x="370" y="782"/>
                  </a:lnTo>
                  <a:lnTo>
                    <a:pt x="368" y="782"/>
                  </a:lnTo>
                  <a:lnTo>
                    <a:pt x="366" y="783"/>
                  </a:lnTo>
                  <a:lnTo>
                    <a:pt x="364" y="784"/>
                  </a:lnTo>
                  <a:lnTo>
                    <a:pt x="362" y="784"/>
                  </a:lnTo>
                  <a:lnTo>
                    <a:pt x="357" y="784"/>
                  </a:lnTo>
                  <a:lnTo>
                    <a:pt x="352" y="785"/>
                  </a:lnTo>
                  <a:lnTo>
                    <a:pt x="348" y="785"/>
                  </a:lnTo>
                  <a:lnTo>
                    <a:pt x="345" y="784"/>
                  </a:lnTo>
                  <a:lnTo>
                    <a:pt x="344" y="784"/>
                  </a:lnTo>
                  <a:lnTo>
                    <a:pt x="327" y="785"/>
                  </a:lnTo>
                  <a:lnTo>
                    <a:pt x="316" y="786"/>
                  </a:lnTo>
                  <a:lnTo>
                    <a:pt x="311" y="786"/>
                  </a:lnTo>
                  <a:lnTo>
                    <a:pt x="309" y="788"/>
                  </a:lnTo>
                  <a:lnTo>
                    <a:pt x="307" y="788"/>
                  </a:lnTo>
                  <a:lnTo>
                    <a:pt x="303" y="788"/>
                  </a:lnTo>
                  <a:lnTo>
                    <a:pt x="301" y="788"/>
                  </a:lnTo>
                  <a:lnTo>
                    <a:pt x="298" y="786"/>
                  </a:lnTo>
                  <a:lnTo>
                    <a:pt x="297" y="786"/>
                  </a:lnTo>
                  <a:lnTo>
                    <a:pt x="296" y="788"/>
                  </a:lnTo>
                  <a:lnTo>
                    <a:pt x="297" y="791"/>
                  </a:lnTo>
                  <a:lnTo>
                    <a:pt x="297" y="794"/>
                  </a:lnTo>
                  <a:lnTo>
                    <a:pt x="296" y="795"/>
                  </a:lnTo>
                  <a:lnTo>
                    <a:pt x="292" y="797"/>
                  </a:lnTo>
                  <a:lnTo>
                    <a:pt x="289" y="797"/>
                  </a:lnTo>
                  <a:lnTo>
                    <a:pt x="285" y="797"/>
                  </a:lnTo>
                  <a:lnTo>
                    <a:pt x="283" y="796"/>
                  </a:lnTo>
                  <a:lnTo>
                    <a:pt x="283" y="797"/>
                  </a:lnTo>
                  <a:lnTo>
                    <a:pt x="284" y="797"/>
                  </a:lnTo>
                  <a:lnTo>
                    <a:pt x="284" y="798"/>
                  </a:lnTo>
                  <a:lnTo>
                    <a:pt x="284" y="801"/>
                  </a:lnTo>
                  <a:lnTo>
                    <a:pt x="283" y="803"/>
                  </a:lnTo>
                  <a:lnTo>
                    <a:pt x="279" y="804"/>
                  </a:lnTo>
                  <a:lnTo>
                    <a:pt x="277" y="806"/>
                  </a:lnTo>
                  <a:lnTo>
                    <a:pt x="275" y="808"/>
                  </a:lnTo>
                  <a:lnTo>
                    <a:pt x="274" y="809"/>
                  </a:lnTo>
                  <a:lnTo>
                    <a:pt x="273" y="810"/>
                  </a:lnTo>
                  <a:lnTo>
                    <a:pt x="272" y="809"/>
                  </a:lnTo>
                  <a:lnTo>
                    <a:pt x="269" y="810"/>
                  </a:lnTo>
                  <a:lnTo>
                    <a:pt x="268" y="809"/>
                  </a:lnTo>
                  <a:lnTo>
                    <a:pt x="267" y="809"/>
                  </a:lnTo>
                  <a:lnTo>
                    <a:pt x="266" y="809"/>
                  </a:lnTo>
                  <a:lnTo>
                    <a:pt x="266" y="810"/>
                  </a:lnTo>
                  <a:lnTo>
                    <a:pt x="265" y="810"/>
                  </a:lnTo>
                  <a:lnTo>
                    <a:pt x="263" y="810"/>
                  </a:lnTo>
                  <a:lnTo>
                    <a:pt x="263" y="809"/>
                  </a:lnTo>
                  <a:lnTo>
                    <a:pt x="263" y="807"/>
                  </a:lnTo>
                  <a:lnTo>
                    <a:pt x="259" y="807"/>
                  </a:lnTo>
                  <a:lnTo>
                    <a:pt x="257" y="806"/>
                  </a:lnTo>
                  <a:lnTo>
                    <a:pt x="254" y="804"/>
                  </a:lnTo>
                  <a:lnTo>
                    <a:pt x="252" y="803"/>
                  </a:lnTo>
                  <a:lnTo>
                    <a:pt x="251" y="806"/>
                  </a:lnTo>
                  <a:lnTo>
                    <a:pt x="250" y="807"/>
                  </a:lnTo>
                  <a:lnTo>
                    <a:pt x="249" y="808"/>
                  </a:lnTo>
                  <a:lnTo>
                    <a:pt x="248" y="808"/>
                  </a:lnTo>
                  <a:lnTo>
                    <a:pt x="248" y="810"/>
                  </a:lnTo>
                  <a:lnTo>
                    <a:pt x="246" y="812"/>
                  </a:lnTo>
                  <a:lnTo>
                    <a:pt x="244" y="815"/>
                  </a:lnTo>
                  <a:lnTo>
                    <a:pt x="243" y="818"/>
                  </a:lnTo>
                  <a:lnTo>
                    <a:pt x="244" y="819"/>
                  </a:lnTo>
                  <a:lnTo>
                    <a:pt x="243" y="820"/>
                  </a:lnTo>
                  <a:lnTo>
                    <a:pt x="240" y="819"/>
                  </a:lnTo>
                  <a:lnTo>
                    <a:pt x="240" y="821"/>
                  </a:lnTo>
                  <a:lnTo>
                    <a:pt x="239" y="823"/>
                  </a:lnTo>
                  <a:lnTo>
                    <a:pt x="238" y="823"/>
                  </a:lnTo>
                  <a:lnTo>
                    <a:pt x="238" y="824"/>
                  </a:lnTo>
                  <a:lnTo>
                    <a:pt x="236" y="823"/>
                  </a:lnTo>
                  <a:lnTo>
                    <a:pt x="234" y="821"/>
                  </a:lnTo>
                  <a:lnTo>
                    <a:pt x="233" y="818"/>
                  </a:lnTo>
                  <a:lnTo>
                    <a:pt x="231" y="818"/>
                  </a:lnTo>
                  <a:lnTo>
                    <a:pt x="230" y="819"/>
                  </a:lnTo>
                  <a:lnTo>
                    <a:pt x="228" y="818"/>
                  </a:lnTo>
                  <a:lnTo>
                    <a:pt x="227" y="817"/>
                  </a:lnTo>
                  <a:lnTo>
                    <a:pt x="226" y="818"/>
                  </a:lnTo>
                  <a:lnTo>
                    <a:pt x="225" y="818"/>
                  </a:lnTo>
                  <a:lnTo>
                    <a:pt x="224" y="818"/>
                  </a:lnTo>
                  <a:lnTo>
                    <a:pt x="221" y="818"/>
                  </a:lnTo>
                  <a:lnTo>
                    <a:pt x="219" y="820"/>
                  </a:lnTo>
                  <a:lnTo>
                    <a:pt x="219" y="819"/>
                  </a:lnTo>
                  <a:lnTo>
                    <a:pt x="218" y="820"/>
                  </a:lnTo>
                  <a:lnTo>
                    <a:pt x="218" y="818"/>
                  </a:lnTo>
                  <a:lnTo>
                    <a:pt x="216" y="818"/>
                  </a:lnTo>
                  <a:lnTo>
                    <a:pt x="218" y="815"/>
                  </a:lnTo>
                  <a:lnTo>
                    <a:pt x="218" y="813"/>
                  </a:lnTo>
                  <a:lnTo>
                    <a:pt x="218" y="814"/>
                  </a:lnTo>
                  <a:lnTo>
                    <a:pt x="216" y="814"/>
                  </a:lnTo>
                  <a:lnTo>
                    <a:pt x="216" y="813"/>
                  </a:lnTo>
                  <a:lnTo>
                    <a:pt x="214" y="813"/>
                  </a:lnTo>
                  <a:lnTo>
                    <a:pt x="214" y="812"/>
                  </a:lnTo>
                  <a:lnTo>
                    <a:pt x="213" y="813"/>
                  </a:lnTo>
                  <a:lnTo>
                    <a:pt x="210" y="812"/>
                  </a:lnTo>
                  <a:lnTo>
                    <a:pt x="207" y="815"/>
                  </a:lnTo>
                  <a:lnTo>
                    <a:pt x="206" y="817"/>
                  </a:lnTo>
                  <a:lnTo>
                    <a:pt x="203" y="817"/>
                  </a:lnTo>
                  <a:lnTo>
                    <a:pt x="200" y="815"/>
                  </a:lnTo>
                  <a:lnTo>
                    <a:pt x="198" y="814"/>
                  </a:lnTo>
                  <a:lnTo>
                    <a:pt x="200" y="813"/>
                  </a:lnTo>
                  <a:lnTo>
                    <a:pt x="201" y="813"/>
                  </a:lnTo>
                  <a:lnTo>
                    <a:pt x="203" y="812"/>
                  </a:lnTo>
                  <a:lnTo>
                    <a:pt x="202" y="810"/>
                  </a:lnTo>
                  <a:lnTo>
                    <a:pt x="201" y="810"/>
                  </a:lnTo>
                  <a:lnTo>
                    <a:pt x="200" y="809"/>
                  </a:lnTo>
                  <a:lnTo>
                    <a:pt x="197" y="808"/>
                  </a:lnTo>
                  <a:lnTo>
                    <a:pt x="196" y="806"/>
                  </a:lnTo>
                  <a:lnTo>
                    <a:pt x="193" y="804"/>
                  </a:lnTo>
                  <a:lnTo>
                    <a:pt x="193" y="803"/>
                  </a:lnTo>
                  <a:lnTo>
                    <a:pt x="195" y="802"/>
                  </a:lnTo>
                  <a:lnTo>
                    <a:pt x="196" y="800"/>
                  </a:lnTo>
                  <a:lnTo>
                    <a:pt x="197" y="802"/>
                  </a:lnTo>
                  <a:lnTo>
                    <a:pt x="198" y="803"/>
                  </a:lnTo>
                  <a:lnTo>
                    <a:pt x="200" y="804"/>
                  </a:lnTo>
                  <a:lnTo>
                    <a:pt x="201" y="804"/>
                  </a:lnTo>
                  <a:lnTo>
                    <a:pt x="203" y="804"/>
                  </a:lnTo>
                  <a:lnTo>
                    <a:pt x="204" y="806"/>
                  </a:lnTo>
                  <a:lnTo>
                    <a:pt x="204" y="804"/>
                  </a:lnTo>
                  <a:lnTo>
                    <a:pt x="207" y="804"/>
                  </a:lnTo>
                  <a:lnTo>
                    <a:pt x="208" y="806"/>
                  </a:lnTo>
                  <a:lnTo>
                    <a:pt x="210" y="808"/>
                  </a:lnTo>
                  <a:lnTo>
                    <a:pt x="212" y="808"/>
                  </a:lnTo>
                  <a:lnTo>
                    <a:pt x="213" y="807"/>
                  </a:lnTo>
                  <a:lnTo>
                    <a:pt x="213" y="806"/>
                  </a:lnTo>
                  <a:lnTo>
                    <a:pt x="213" y="804"/>
                  </a:lnTo>
                  <a:lnTo>
                    <a:pt x="209" y="804"/>
                  </a:lnTo>
                  <a:lnTo>
                    <a:pt x="209" y="802"/>
                  </a:lnTo>
                  <a:lnTo>
                    <a:pt x="209" y="800"/>
                  </a:lnTo>
                  <a:lnTo>
                    <a:pt x="210" y="796"/>
                  </a:lnTo>
                  <a:lnTo>
                    <a:pt x="209" y="796"/>
                  </a:lnTo>
                  <a:lnTo>
                    <a:pt x="209" y="795"/>
                  </a:lnTo>
                  <a:lnTo>
                    <a:pt x="209" y="794"/>
                  </a:lnTo>
                  <a:lnTo>
                    <a:pt x="212" y="794"/>
                  </a:lnTo>
                  <a:lnTo>
                    <a:pt x="213" y="791"/>
                  </a:lnTo>
                  <a:lnTo>
                    <a:pt x="215" y="792"/>
                  </a:lnTo>
                  <a:lnTo>
                    <a:pt x="216" y="790"/>
                  </a:lnTo>
                  <a:lnTo>
                    <a:pt x="218" y="789"/>
                  </a:lnTo>
                  <a:lnTo>
                    <a:pt x="218" y="786"/>
                  </a:lnTo>
                  <a:lnTo>
                    <a:pt x="219" y="784"/>
                  </a:lnTo>
                  <a:lnTo>
                    <a:pt x="220" y="784"/>
                  </a:lnTo>
                  <a:lnTo>
                    <a:pt x="222" y="785"/>
                  </a:lnTo>
                  <a:lnTo>
                    <a:pt x="225" y="784"/>
                  </a:lnTo>
                  <a:lnTo>
                    <a:pt x="226" y="785"/>
                  </a:lnTo>
                  <a:lnTo>
                    <a:pt x="227" y="785"/>
                  </a:lnTo>
                  <a:lnTo>
                    <a:pt x="230" y="788"/>
                  </a:lnTo>
                  <a:lnTo>
                    <a:pt x="231" y="788"/>
                  </a:lnTo>
                  <a:lnTo>
                    <a:pt x="231" y="786"/>
                  </a:lnTo>
                  <a:lnTo>
                    <a:pt x="231" y="785"/>
                  </a:lnTo>
                  <a:lnTo>
                    <a:pt x="231" y="784"/>
                  </a:lnTo>
                  <a:lnTo>
                    <a:pt x="230" y="783"/>
                  </a:lnTo>
                  <a:lnTo>
                    <a:pt x="228" y="783"/>
                  </a:lnTo>
                  <a:lnTo>
                    <a:pt x="227" y="783"/>
                  </a:lnTo>
                  <a:lnTo>
                    <a:pt x="228" y="782"/>
                  </a:lnTo>
                  <a:lnTo>
                    <a:pt x="226" y="782"/>
                  </a:lnTo>
                  <a:lnTo>
                    <a:pt x="226" y="780"/>
                  </a:lnTo>
                  <a:lnTo>
                    <a:pt x="226" y="778"/>
                  </a:lnTo>
                  <a:lnTo>
                    <a:pt x="226" y="777"/>
                  </a:lnTo>
                  <a:lnTo>
                    <a:pt x="225" y="776"/>
                  </a:lnTo>
                  <a:lnTo>
                    <a:pt x="226" y="774"/>
                  </a:lnTo>
                  <a:lnTo>
                    <a:pt x="226" y="771"/>
                  </a:lnTo>
                  <a:lnTo>
                    <a:pt x="224" y="768"/>
                  </a:lnTo>
                  <a:lnTo>
                    <a:pt x="226" y="767"/>
                  </a:lnTo>
                  <a:lnTo>
                    <a:pt x="227" y="766"/>
                  </a:lnTo>
                  <a:lnTo>
                    <a:pt x="228" y="766"/>
                  </a:lnTo>
                  <a:lnTo>
                    <a:pt x="230" y="766"/>
                  </a:lnTo>
                  <a:lnTo>
                    <a:pt x="230" y="768"/>
                  </a:lnTo>
                  <a:lnTo>
                    <a:pt x="231" y="770"/>
                  </a:lnTo>
                  <a:lnTo>
                    <a:pt x="232" y="771"/>
                  </a:lnTo>
                  <a:lnTo>
                    <a:pt x="234" y="772"/>
                  </a:lnTo>
                  <a:lnTo>
                    <a:pt x="236" y="771"/>
                  </a:lnTo>
                  <a:lnTo>
                    <a:pt x="236" y="773"/>
                  </a:lnTo>
                  <a:lnTo>
                    <a:pt x="238" y="773"/>
                  </a:lnTo>
                  <a:lnTo>
                    <a:pt x="242" y="773"/>
                  </a:lnTo>
                  <a:lnTo>
                    <a:pt x="242" y="774"/>
                  </a:lnTo>
                  <a:lnTo>
                    <a:pt x="244" y="774"/>
                  </a:lnTo>
                  <a:lnTo>
                    <a:pt x="244" y="777"/>
                  </a:lnTo>
                  <a:lnTo>
                    <a:pt x="245" y="777"/>
                  </a:lnTo>
                  <a:lnTo>
                    <a:pt x="245" y="778"/>
                  </a:lnTo>
                  <a:lnTo>
                    <a:pt x="246" y="778"/>
                  </a:lnTo>
                  <a:lnTo>
                    <a:pt x="249" y="778"/>
                  </a:lnTo>
                  <a:lnTo>
                    <a:pt x="250" y="776"/>
                  </a:lnTo>
                  <a:lnTo>
                    <a:pt x="250" y="774"/>
                  </a:lnTo>
                  <a:lnTo>
                    <a:pt x="251" y="774"/>
                  </a:lnTo>
                  <a:lnTo>
                    <a:pt x="251" y="776"/>
                  </a:lnTo>
                  <a:lnTo>
                    <a:pt x="255" y="774"/>
                  </a:lnTo>
                  <a:lnTo>
                    <a:pt x="256" y="777"/>
                  </a:lnTo>
                  <a:lnTo>
                    <a:pt x="257" y="777"/>
                  </a:lnTo>
                  <a:lnTo>
                    <a:pt x="259" y="777"/>
                  </a:lnTo>
                  <a:lnTo>
                    <a:pt x="257" y="774"/>
                  </a:lnTo>
                  <a:lnTo>
                    <a:pt x="259" y="773"/>
                  </a:lnTo>
                  <a:lnTo>
                    <a:pt x="257" y="772"/>
                  </a:lnTo>
                  <a:lnTo>
                    <a:pt x="260" y="772"/>
                  </a:lnTo>
                  <a:lnTo>
                    <a:pt x="260" y="771"/>
                  </a:lnTo>
                  <a:lnTo>
                    <a:pt x="261" y="771"/>
                  </a:lnTo>
                  <a:lnTo>
                    <a:pt x="262" y="771"/>
                  </a:lnTo>
                  <a:lnTo>
                    <a:pt x="263" y="772"/>
                  </a:lnTo>
                  <a:lnTo>
                    <a:pt x="263" y="771"/>
                  </a:lnTo>
                  <a:lnTo>
                    <a:pt x="265" y="772"/>
                  </a:lnTo>
                  <a:lnTo>
                    <a:pt x="266" y="772"/>
                  </a:lnTo>
                  <a:lnTo>
                    <a:pt x="267" y="772"/>
                  </a:lnTo>
                  <a:lnTo>
                    <a:pt x="269" y="771"/>
                  </a:lnTo>
                  <a:lnTo>
                    <a:pt x="271" y="773"/>
                  </a:lnTo>
                  <a:lnTo>
                    <a:pt x="272" y="773"/>
                  </a:lnTo>
                  <a:lnTo>
                    <a:pt x="273" y="773"/>
                  </a:lnTo>
                  <a:lnTo>
                    <a:pt x="273" y="770"/>
                  </a:lnTo>
                  <a:lnTo>
                    <a:pt x="274" y="770"/>
                  </a:lnTo>
                  <a:lnTo>
                    <a:pt x="274" y="768"/>
                  </a:lnTo>
                  <a:lnTo>
                    <a:pt x="273" y="768"/>
                  </a:lnTo>
                  <a:lnTo>
                    <a:pt x="272" y="768"/>
                  </a:lnTo>
                  <a:lnTo>
                    <a:pt x="271" y="766"/>
                  </a:lnTo>
                  <a:lnTo>
                    <a:pt x="268" y="765"/>
                  </a:lnTo>
                  <a:lnTo>
                    <a:pt x="268" y="764"/>
                  </a:lnTo>
                  <a:lnTo>
                    <a:pt x="269" y="764"/>
                  </a:lnTo>
                  <a:lnTo>
                    <a:pt x="272" y="764"/>
                  </a:lnTo>
                  <a:lnTo>
                    <a:pt x="274" y="761"/>
                  </a:lnTo>
                  <a:lnTo>
                    <a:pt x="278" y="764"/>
                  </a:lnTo>
                  <a:lnTo>
                    <a:pt x="279" y="766"/>
                  </a:lnTo>
                  <a:lnTo>
                    <a:pt x="281" y="765"/>
                  </a:lnTo>
                  <a:lnTo>
                    <a:pt x="281" y="764"/>
                  </a:lnTo>
                  <a:lnTo>
                    <a:pt x="280" y="761"/>
                  </a:lnTo>
                  <a:lnTo>
                    <a:pt x="280" y="758"/>
                  </a:lnTo>
                  <a:lnTo>
                    <a:pt x="281" y="758"/>
                  </a:lnTo>
                  <a:lnTo>
                    <a:pt x="283" y="758"/>
                  </a:lnTo>
                  <a:lnTo>
                    <a:pt x="284" y="758"/>
                  </a:lnTo>
                  <a:lnTo>
                    <a:pt x="286" y="756"/>
                  </a:lnTo>
                  <a:lnTo>
                    <a:pt x="287" y="760"/>
                  </a:lnTo>
                  <a:lnTo>
                    <a:pt x="287" y="761"/>
                  </a:lnTo>
                  <a:lnTo>
                    <a:pt x="290" y="761"/>
                  </a:lnTo>
                  <a:lnTo>
                    <a:pt x="290" y="762"/>
                  </a:lnTo>
                  <a:lnTo>
                    <a:pt x="289" y="765"/>
                  </a:lnTo>
                  <a:lnTo>
                    <a:pt x="290" y="765"/>
                  </a:lnTo>
                  <a:lnTo>
                    <a:pt x="290" y="766"/>
                  </a:lnTo>
                  <a:lnTo>
                    <a:pt x="291" y="766"/>
                  </a:lnTo>
                  <a:lnTo>
                    <a:pt x="291" y="765"/>
                  </a:lnTo>
                  <a:lnTo>
                    <a:pt x="295" y="766"/>
                  </a:lnTo>
                  <a:lnTo>
                    <a:pt x="293" y="768"/>
                  </a:lnTo>
                  <a:lnTo>
                    <a:pt x="296" y="768"/>
                  </a:lnTo>
                  <a:lnTo>
                    <a:pt x="296" y="771"/>
                  </a:lnTo>
                  <a:lnTo>
                    <a:pt x="297" y="771"/>
                  </a:lnTo>
                  <a:lnTo>
                    <a:pt x="298" y="771"/>
                  </a:lnTo>
                  <a:lnTo>
                    <a:pt x="301" y="770"/>
                  </a:lnTo>
                  <a:lnTo>
                    <a:pt x="301" y="771"/>
                  </a:lnTo>
                  <a:lnTo>
                    <a:pt x="302" y="771"/>
                  </a:lnTo>
                  <a:lnTo>
                    <a:pt x="303" y="771"/>
                  </a:lnTo>
                  <a:lnTo>
                    <a:pt x="302" y="773"/>
                  </a:lnTo>
                  <a:lnTo>
                    <a:pt x="301" y="774"/>
                  </a:lnTo>
                  <a:lnTo>
                    <a:pt x="301" y="776"/>
                  </a:lnTo>
                  <a:lnTo>
                    <a:pt x="299" y="776"/>
                  </a:lnTo>
                  <a:lnTo>
                    <a:pt x="299" y="778"/>
                  </a:lnTo>
                  <a:lnTo>
                    <a:pt x="299" y="779"/>
                  </a:lnTo>
                  <a:lnTo>
                    <a:pt x="302" y="780"/>
                  </a:lnTo>
                  <a:lnTo>
                    <a:pt x="301" y="780"/>
                  </a:lnTo>
                  <a:lnTo>
                    <a:pt x="299" y="782"/>
                  </a:lnTo>
                  <a:lnTo>
                    <a:pt x="301" y="783"/>
                  </a:lnTo>
                  <a:lnTo>
                    <a:pt x="302" y="782"/>
                  </a:lnTo>
                  <a:lnTo>
                    <a:pt x="304" y="782"/>
                  </a:lnTo>
                  <a:lnTo>
                    <a:pt x="305" y="780"/>
                  </a:lnTo>
                  <a:lnTo>
                    <a:pt x="309" y="780"/>
                  </a:lnTo>
                  <a:lnTo>
                    <a:pt x="310" y="779"/>
                  </a:lnTo>
                  <a:lnTo>
                    <a:pt x="313" y="779"/>
                  </a:lnTo>
                  <a:lnTo>
                    <a:pt x="313" y="780"/>
                  </a:lnTo>
                  <a:lnTo>
                    <a:pt x="314" y="782"/>
                  </a:lnTo>
                  <a:lnTo>
                    <a:pt x="315" y="783"/>
                  </a:lnTo>
                  <a:lnTo>
                    <a:pt x="316" y="783"/>
                  </a:lnTo>
                  <a:lnTo>
                    <a:pt x="319" y="782"/>
                  </a:lnTo>
                  <a:lnTo>
                    <a:pt x="320" y="782"/>
                  </a:lnTo>
                  <a:lnTo>
                    <a:pt x="324" y="780"/>
                  </a:lnTo>
                  <a:lnTo>
                    <a:pt x="333" y="780"/>
                  </a:lnTo>
                  <a:lnTo>
                    <a:pt x="338" y="780"/>
                  </a:lnTo>
                  <a:lnTo>
                    <a:pt x="343" y="779"/>
                  </a:lnTo>
                  <a:lnTo>
                    <a:pt x="348" y="779"/>
                  </a:lnTo>
                  <a:lnTo>
                    <a:pt x="350" y="778"/>
                  </a:lnTo>
                  <a:lnTo>
                    <a:pt x="351" y="779"/>
                  </a:lnTo>
                  <a:lnTo>
                    <a:pt x="352" y="778"/>
                  </a:lnTo>
                  <a:lnTo>
                    <a:pt x="354" y="779"/>
                  </a:lnTo>
                  <a:lnTo>
                    <a:pt x="358" y="779"/>
                  </a:lnTo>
                  <a:lnTo>
                    <a:pt x="363" y="779"/>
                  </a:lnTo>
                  <a:lnTo>
                    <a:pt x="367" y="777"/>
                  </a:lnTo>
                  <a:lnTo>
                    <a:pt x="375" y="774"/>
                  </a:lnTo>
                  <a:lnTo>
                    <a:pt x="379" y="772"/>
                  </a:lnTo>
                  <a:lnTo>
                    <a:pt x="380" y="770"/>
                  </a:lnTo>
                  <a:lnTo>
                    <a:pt x="381" y="768"/>
                  </a:lnTo>
                  <a:lnTo>
                    <a:pt x="384" y="768"/>
                  </a:lnTo>
                  <a:lnTo>
                    <a:pt x="385" y="768"/>
                  </a:lnTo>
                  <a:lnTo>
                    <a:pt x="386" y="771"/>
                  </a:lnTo>
                  <a:lnTo>
                    <a:pt x="389" y="772"/>
                  </a:lnTo>
                  <a:lnTo>
                    <a:pt x="392" y="772"/>
                  </a:lnTo>
                  <a:lnTo>
                    <a:pt x="395" y="772"/>
                  </a:lnTo>
                  <a:lnTo>
                    <a:pt x="397" y="771"/>
                  </a:lnTo>
                  <a:lnTo>
                    <a:pt x="399" y="770"/>
                  </a:lnTo>
                  <a:lnTo>
                    <a:pt x="402" y="768"/>
                  </a:lnTo>
                  <a:lnTo>
                    <a:pt x="403" y="767"/>
                  </a:lnTo>
                  <a:lnTo>
                    <a:pt x="404" y="766"/>
                  </a:lnTo>
                  <a:lnTo>
                    <a:pt x="405" y="765"/>
                  </a:lnTo>
                  <a:lnTo>
                    <a:pt x="405" y="764"/>
                  </a:lnTo>
                  <a:lnTo>
                    <a:pt x="405" y="760"/>
                  </a:lnTo>
                  <a:lnTo>
                    <a:pt x="407" y="760"/>
                  </a:lnTo>
                  <a:lnTo>
                    <a:pt x="409" y="761"/>
                  </a:lnTo>
                  <a:lnTo>
                    <a:pt x="411" y="761"/>
                  </a:lnTo>
                  <a:lnTo>
                    <a:pt x="414" y="760"/>
                  </a:lnTo>
                  <a:lnTo>
                    <a:pt x="414" y="759"/>
                  </a:lnTo>
                  <a:lnTo>
                    <a:pt x="415" y="759"/>
                  </a:lnTo>
                  <a:lnTo>
                    <a:pt x="416" y="758"/>
                  </a:lnTo>
                  <a:lnTo>
                    <a:pt x="421" y="756"/>
                  </a:lnTo>
                  <a:lnTo>
                    <a:pt x="423" y="756"/>
                  </a:lnTo>
                  <a:lnTo>
                    <a:pt x="425" y="756"/>
                  </a:lnTo>
                  <a:lnTo>
                    <a:pt x="426" y="756"/>
                  </a:lnTo>
                  <a:lnTo>
                    <a:pt x="427" y="755"/>
                  </a:lnTo>
                  <a:lnTo>
                    <a:pt x="429" y="753"/>
                  </a:lnTo>
                  <a:lnTo>
                    <a:pt x="432" y="752"/>
                  </a:lnTo>
                  <a:lnTo>
                    <a:pt x="432" y="750"/>
                  </a:lnTo>
                  <a:lnTo>
                    <a:pt x="433" y="749"/>
                  </a:lnTo>
                  <a:lnTo>
                    <a:pt x="431" y="750"/>
                  </a:lnTo>
                  <a:lnTo>
                    <a:pt x="431" y="749"/>
                  </a:lnTo>
                  <a:lnTo>
                    <a:pt x="427" y="749"/>
                  </a:lnTo>
                  <a:lnTo>
                    <a:pt x="428" y="744"/>
                  </a:lnTo>
                  <a:lnTo>
                    <a:pt x="428" y="742"/>
                  </a:lnTo>
                  <a:lnTo>
                    <a:pt x="427" y="742"/>
                  </a:lnTo>
                  <a:lnTo>
                    <a:pt x="427" y="740"/>
                  </a:lnTo>
                  <a:lnTo>
                    <a:pt x="425" y="738"/>
                  </a:lnTo>
                  <a:lnTo>
                    <a:pt x="423" y="738"/>
                  </a:lnTo>
                  <a:lnTo>
                    <a:pt x="423" y="740"/>
                  </a:lnTo>
                  <a:lnTo>
                    <a:pt x="425" y="741"/>
                  </a:lnTo>
                  <a:lnTo>
                    <a:pt x="425" y="742"/>
                  </a:lnTo>
                  <a:lnTo>
                    <a:pt x="426" y="743"/>
                  </a:lnTo>
                  <a:lnTo>
                    <a:pt x="426" y="744"/>
                  </a:lnTo>
                  <a:lnTo>
                    <a:pt x="425" y="744"/>
                  </a:lnTo>
                  <a:lnTo>
                    <a:pt x="425" y="746"/>
                  </a:lnTo>
                  <a:lnTo>
                    <a:pt x="423" y="747"/>
                  </a:lnTo>
                  <a:lnTo>
                    <a:pt x="423" y="752"/>
                  </a:lnTo>
                  <a:lnTo>
                    <a:pt x="422" y="750"/>
                  </a:lnTo>
                  <a:lnTo>
                    <a:pt x="421" y="752"/>
                  </a:lnTo>
                  <a:lnTo>
                    <a:pt x="422" y="753"/>
                  </a:lnTo>
                  <a:lnTo>
                    <a:pt x="417" y="753"/>
                  </a:lnTo>
                  <a:lnTo>
                    <a:pt x="415" y="750"/>
                  </a:lnTo>
                  <a:lnTo>
                    <a:pt x="414" y="749"/>
                  </a:lnTo>
                  <a:lnTo>
                    <a:pt x="414" y="748"/>
                  </a:lnTo>
                  <a:lnTo>
                    <a:pt x="415" y="748"/>
                  </a:lnTo>
                  <a:lnTo>
                    <a:pt x="415" y="747"/>
                  </a:lnTo>
                  <a:lnTo>
                    <a:pt x="413" y="747"/>
                  </a:lnTo>
                  <a:lnTo>
                    <a:pt x="411" y="748"/>
                  </a:lnTo>
                  <a:lnTo>
                    <a:pt x="409" y="749"/>
                  </a:lnTo>
                  <a:lnTo>
                    <a:pt x="407" y="750"/>
                  </a:lnTo>
                  <a:lnTo>
                    <a:pt x="404" y="748"/>
                  </a:lnTo>
                  <a:lnTo>
                    <a:pt x="403" y="747"/>
                  </a:lnTo>
                  <a:lnTo>
                    <a:pt x="402" y="747"/>
                  </a:lnTo>
                  <a:lnTo>
                    <a:pt x="399" y="749"/>
                  </a:lnTo>
                  <a:lnTo>
                    <a:pt x="398" y="752"/>
                  </a:lnTo>
                  <a:lnTo>
                    <a:pt x="395" y="753"/>
                  </a:lnTo>
                  <a:lnTo>
                    <a:pt x="393" y="753"/>
                  </a:lnTo>
                  <a:lnTo>
                    <a:pt x="393" y="752"/>
                  </a:lnTo>
                  <a:lnTo>
                    <a:pt x="393" y="748"/>
                  </a:lnTo>
                  <a:lnTo>
                    <a:pt x="393" y="746"/>
                  </a:lnTo>
                  <a:lnTo>
                    <a:pt x="397" y="746"/>
                  </a:lnTo>
                  <a:lnTo>
                    <a:pt x="397" y="743"/>
                  </a:lnTo>
                  <a:lnTo>
                    <a:pt x="397" y="738"/>
                  </a:lnTo>
                  <a:lnTo>
                    <a:pt x="397" y="737"/>
                  </a:lnTo>
                  <a:lnTo>
                    <a:pt x="397" y="735"/>
                  </a:lnTo>
                  <a:lnTo>
                    <a:pt x="399" y="732"/>
                  </a:lnTo>
                  <a:lnTo>
                    <a:pt x="401" y="731"/>
                  </a:lnTo>
                  <a:lnTo>
                    <a:pt x="402" y="734"/>
                  </a:lnTo>
                  <a:lnTo>
                    <a:pt x="403" y="734"/>
                  </a:lnTo>
                  <a:lnTo>
                    <a:pt x="404" y="732"/>
                  </a:lnTo>
                  <a:lnTo>
                    <a:pt x="404" y="731"/>
                  </a:lnTo>
                  <a:lnTo>
                    <a:pt x="403" y="731"/>
                  </a:lnTo>
                  <a:lnTo>
                    <a:pt x="399" y="729"/>
                  </a:lnTo>
                  <a:lnTo>
                    <a:pt x="398" y="730"/>
                  </a:lnTo>
                  <a:lnTo>
                    <a:pt x="397" y="730"/>
                  </a:lnTo>
                  <a:lnTo>
                    <a:pt x="395" y="730"/>
                  </a:lnTo>
                  <a:lnTo>
                    <a:pt x="393" y="729"/>
                  </a:lnTo>
                  <a:lnTo>
                    <a:pt x="390" y="729"/>
                  </a:lnTo>
                  <a:lnTo>
                    <a:pt x="390" y="726"/>
                  </a:lnTo>
                  <a:lnTo>
                    <a:pt x="391" y="724"/>
                  </a:lnTo>
                  <a:lnTo>
                    <a:pt x="391" y="723"/>
                  </a:lnTo>
                  <a:lnTo>
                    <a:pt x="390" y="723"/>
                  </a:lnTo>
                  <a:lnTo>
                    <a:pt x="387" y="722"/>
                  </a:lnTo>
                  <a:lnTo>
                    <a:pt x="386" y="720"/>
                  </a:lnTo>
                  <a:lnTo>
                    <a:pt x="387" y="724"/>
                  </a:lnTo>
                  <a:lnTo>
                    <a:pt x="387" y="726"/>
                  </a:lnTo>
                  <a:lnTo>
                    <a:pt x="386" y="726"/>
                  </a:lnTo>
                  <a:lnTo>
                    <a:pt x="384" y="724"/>
                  </a:lnTo>
                  <a:lnTo>
                    <a:pt x="383" y="723"/>
                  </a:lnTo>
                  <a:lnTo>
                    <a:pt x="381" y="724"/>
                  </a:lnTo>
                  <a:lnTo>
                    <a:pt x="381" y="725"/>
                  </a:lnTo>
                  <a:lnTo>
                    <a:pt x="378" y="724"/>
                  </a:lnTo>
                  <a:lnTo>
                    <a:pt x="378" y="725"/>
                  </a:lnTo>
                  <a:lnTo>
                    <a:pt x="378" y="726"/>
                  </a:lnTo>
                  <a:lnTo>
                    <a:pt x="378" y="729"/>
                  </a:lnTo>
                  <a:lnTo>
                    <a:pt x="376" y="729"/>
                  </a:lnTo>
                  <a:lnTo>
                    <a:pt x="374" y="729"/>
                  </a:lnTo>
                  <a:lnTo>
                    <a:pt x="374" y="730"/>
                  </a:lnTo>
                  <a:lnTo>
                    <a:pt x="374" y="731"/>
                  </a:lnTo>
                  <a:lnTo>
                    <a:pt x="373" y="734"/>
                  </a:lnTo>
                  <a:lnTo>
                    <a:pt x="368" y="736"/>
                  </a:lnTo>
                  <a:lnTo>
                    <a:pt x="367" y="736"/>
                  </a:lnTo>
                  <a:lnTo>
                    <a:pt x="367" y="737"/>
                  </a:lnTo>
                  <a:lnTo>
                    <a:pt x="366" y="740"/>
                  </a:lnTo>
                  <a:lnTo>
                    <a:pt x="364" y="742"/>
                  </a:lnTo>
                  <a:lnTo>
                    <a:pt x="363" y="743"/>
                  </a:lnTo>
                  <a:lnTo>
                    <a:pt x="363" y="744"/>
                  </a:lnTo>
                  <a:lnTo>
                    <a:pt x="366" y="742"/>
                  </a:lnTo>
                  <a:lnTo>
                    <a:pt x="366" y="741"/>
                  </a:lnTo>
                  <a:lnTo>
                    <a:pt x="368" y="742"/>
                  </a:lnTo>
                  <a:lnTo>
                    <a:pt x="368" y="743"/>
                  </a:lnTo>
                  <a:lnTo>
                    <a:pt x="368" y="747"/>
                  </a:lnTo>
                  <a:lnTo>
                    <a:pt x="367" y="747"/>
                  </a:lnTo>
                  <a:lnTo>
                    <a:pt x="367" y="746"/>
                  </a:lnTo>
                  <a:lnTo>
                    <a:pt x="366" y="746"/>
                  </a:lnTo>
                  <a:lnTo>
                    <a:pt x="366" y="747"/>
                  </a:lnTo>
                  <a:lnTo>
                    <a:pt x="368" y="747"/>
                  </a:lnTo>
                  <a:lnTo>
                    <a:pt x="370" y="746"/>
                  </a:lnTo>
                  <a:lnTo>
                    <a:pt x="369" y="748"/>
                  </a:lnTo>
                  <a:lnTo>
                    <a:pt x="369" y="749"/>
                  </a:lnTo>
                  <a:lnTo>
                    <a:pt x="368" y="752"/>
                  </a:lnTo>
                  <a:lnTo>
                    <a:pt x="368" y="753"/>
                  </a:lnTo>
                  <a:lnTo>
                    <a:pt x="369" y="752"/>
                  </a:lnTo>
                  <a:lnTo>
                    <a:pt x="370" y="754"/>
                  </a:lnTo>
                  <a:lnTo>
                    <a:pt x="370" y="755"/>
                  </a:lnTo>
                  <a:lnTo>
                    <a:pt x="368" y="755"/>
                  </a:lnTo>
                  <a:lnTo>
                    <a:pt x="367" y="756"/>
                  </a:lnTo>
                  <a:lnTo>
                    <a:pt x="366" y="756"/>
                  </a:lnTo>
                  <a:lnTo>
                    <a:pt x="364" y="759"/>
                  </a:lnTo>
                  <a:lnTo>
                    <a:pt x="363" y="759"/>
                  </a:lnTo>
                  <a:lnTo>
                    <a:pt x="360" y="759"/>
                  </a:lnTo>
                  <a:lnTo>
                    <a:pt x="357" y="759"/>
                  </a:lnTo>
                  <a:lnTo>
                    <a:pt x="360" y="756"/>
                  </a:lnTo>
                  <a:lnTo>
                    <a:pt x="360" y="754"/>
                  </a:lnTo>
                  <a:lnTo>
                    <a:pt x="358" y="753"/>
                  </a:lnTo>
                  <a:lnTo>
                    <a:pt x="357" y="755"/>
                  </a:lnTo>
                  <a:lnTo>
                    <a:pt x="357" y="758"/>
                  </a:lnTo>
                  <a:lnTo>
                    <a:pt x="356" y="758"/>
                  </a:lnTo>
                  <a:lnTo>
                    <a:pt x="352" y="759"/>
                  </a:lnTo>
                  <a:lnTo>
                    <a:pt x="351" y="755"/>
                  </a:lnTo>
                  <a:lnTo>
                    <a:pt x="350" y="756"/>
                  </a:lnTo>
                  <a:lnTo>
                    <a:pt x="349" y="756"/>
                  </a:lnTo>
                  <a:lnTo>
                    <a:pt x="349" y="758"/>
                  </a:lnTo>
                  <a:lnTo>
                    <a:pt x="348" y="759"/>
                  </a:lnTo>
                  <a:lnTo>
                    <a:pt x="345" y="758"/>
                  </a:lnTo>
                  <a:lnTo>
                    <a:pt x="345" y="760"/>
                  </a:lnTo>
                  <a:lnTo>
                    <a:pt x="343" y="759"/>
                  </a:lnTo>
                  <a:lnTo>
                    <a:pt x="343" y="758"/>
                  </a:lnTo>
                  <a:lnTo>
                    <a:pt x="338" y="756"/>
                  </a:lnTo>
                  <a:lnTo>
                    <a:pt x="338" y="754"/>
                  </a:lnTo>
                  <a:lnTo>
                    <a:pt x="339" y="754"/>
                  </a:lnTo>
                  <a:lnTo>
                    <a:pt x="340" y="752"/>
                  </a:lnTo>
                  <a:lnTo>
                    <a:pt x="342" y="750"/>
                  </a:lnTo>
                  <a:lnTo>
                    <a:pt x="345" y="748"/>
                  </a:lnTo>
                  <a:lnTo>
                    <a:pt x="345" y="747"/>
                  </a:lnTo>
                  <a:lnTo>
                    <a:pt x="345" y="744"/>
                  </a:lnTo>
                  <a:lnTo>
                    <a:pt x="344" y="746"/>
                  </a:lnTo>
                  <a:lnTo>
                    <a:pt x="343" y="747"/>
                  </a:lnTo>
                  <a:lnTo>
                    <a:pt x="342" y="749"/>
                  </a:lnTo>
                  <a:lnTo>
                    <a:pt x="338" y="749"/>
                  </a:lnTo>
                  <a:lnTo>
                    <a:pt x="337" y="748"/>
                  </a:lnTo>
                  <a:lnTo>
                    <a:pt x="334" y="748"/>
                  </a:lnTo>
                  <a:lnTo>
                    <a:pt x="332" y="746"/>
                  </a:lnTo>
                  <a:lnTo>
                    <a:pt x="332" y="744"/>
                  </a:lnTo>
                  <a:lnTo>
                    <a:pt x="333" y="744"/>
                  </a:lnTo>
                  <a:lnTo>
                    <a:pt x="333" y="742"/>
                  </a:lnTo>
                  <a:lnTo>
                    <a:pt x="332" y="742"/>
                  </a:lnTo>
                  <a:lnTo>
                    <a:pt x="331" y="742"/>
                  </a:lnTo>
                  <a:lnTo>
                    <a:pt x="331" y="743"/>
                  </a:lnTo>
                  <a:lnTo>
                    <a:pt x="330" y="742"/>
                  </a:lnTo>
                  <a:lnTo>
                    <a:pt x="330" y="740"/>
                  </a:lnTo>
                  <a:lnTo>
                    <a:pt x="331" y="736"/>
                  </a:lnTo>
                  <a:lnTo>
                    <a:pt x="331" y="734"/>
                  </a:lnTo>
                  <a:lnTo>
                    <a:pt x="331" y="732"/>
                  </a:lnTo>
                  <a:lnTo>
                    <a:pt x="328" y="730"/>
                  </a:lnTo>
                  <a:lnTo>
                    <a:pt x="327" y="728"/>
                  </a:lnTo>
                  <a:lnTo>
                    <a:pt x="327" y="723"/>
                  </a:lnTo>
                  <a:lnTo>
                    <a:pt x="328" y="722"/>
                  </a:lnTo>
                  <a:lnTo>
                    <a:pt x="330" y="724"/>
                  </a:lnTo>
                  <a:lnTo>
                    <a:pt x="331" y="724"/>
                  </a:lnTo>
                  <a:lnTo>
                    <a:pt x="331" y="723"/>
                  </a:lnTo>
                  <a:lnTo>
                    <a:pt x="331" y="720"/>
                  </a:lnTo>
                  <a:lnTo>
                    <a:pt x="334" y="718"/>
                  </a:lnTo>
                  <a:lnTo>
                    <a:pt x="339" y="718"/>
                  </a:lnTo>
                  <a:lnTo>
                    <a:pt x="338" y="716"/>
                  </a:lnTo>
                  <a:lnTo>
                    <a:pt x="336" y="716"/>
                  </a:lnTo>
                  <a:lnTo>
                    <a:pt x="334" y="716"/>
                  </a:lnTo>
                  <a:lnTo>
                    <a:pt x="333" y="717"/>
                  </a:lnTo>
                  <a:lnTo>
                    <a:pt x="331" y="718"/>
                  </a:lnTo>
                  <a:lnTo>
                    <a:pt x="330" y="717"/>
                  </a:lnTo>
                  <a:lnTo>
                    <a:pt x="328" y="716"/>
                  </a:lnTo>
                  <a:lnTo>
                    <a:pt x="326" y="716"/>
                  </a:lnTo>
                  <a:lnTo>
                    <a:pt x="325" y="716"/>
                  </a:lnTo>
                  <a:lnTo>
                    <a:pt x="324" y="718"/>
                  </a:lnTo>
                  <a:lnTo>
                    <a:pt x="322" y="720"/>
                  </a:lnTo>
                  <a:lnTo>
                    <a:pt x="324" y="722"/>
                  </a:lnTo>
                  <a:lnTo>
                    <a:pt x="325" y="722"/>
                  </a:lnTo>
                  <a:lnTo>
                    <a:pt x="322" y="725"/>
                  </a:lnTo>
                  <a:lnTo>
                    <a:pt x="321" y="726"/>
                  </a:lnTo>
                  <a:lnTo>
                    <a:pt x="321" y="729"/>
                  </a:lnTo>
                  <a:lnTo>
                    <a:pt x="320" y="729"/>
                  </a:lnTo>
                  <a:lnTo>
                    <a:pt x="319" y="728"/>
                  </a:lnTo>
                  <a:lnTo>
                    <a:pt x="321" y="723"/>
                  </a:lnTo>
                  <a:lnTo>
                    <a:pt x="318" y="723"/>
                  </a:lnTo>
                  <a:lnTo>
                    <a:pt x="316" y="724"/>
                  </a:lnTo>
                  <a:lnTo>
                    <a:pt x="316" y="725"/>
                  </a:lnTo>
                  <a:lnTo>
                    <a:pt x="315" y="726"/>
                  </a:lnTo>
                  <a:lnTo>
                    <a:pt x="313" y="726"/>
                  </a:lnTo>
                  <a:lnTo>
                    <a:pt x="310" y="725"/>
                  </a:lnTo>
                  <a:lnTo>
                    <a:pt x="308" y="726"/>
                  </a:lnTo>
                  <a:lnTo>
                    <a:pt x="307" y="726"/>
                  </a:lnTo>
                  <a:lnTo>
                    <a:pt x="308" y="726"/>
                  </a:lnTo>
                  <a:lnTo>
                    <a:pt x="308" y="728"/>
                  </a:lnTo>
                  <a:lnTo>
                    <a:pt x="307" y="729"/>
                  </a:lnTo>
                  <a:lnTo>
                    <a:pt x="305" y="730"/>
                  </a:lnTo>
                  <a:lnTo>
                    <a:pt x="305" y="729"/>
                  </a:lnTo>
                  <a:lnTo>
                    <a:pt x="303" y="729"/>
                  </a:lnTo>
                  <a:lnTo>
                    <a:pt x="302" y="730"/>
                  </a:lnTo>
                  <a:lnTo>
                    <a:pt x="301" y="731"/>
                  </a:lnTo>
                  <a:lnTo>
                    <a:pt x="299" y="731"/>
                  </a:lnTo>
                  <a:lnTo>
                    <a:pt x="299" y="730"/>
                  </a:lnTo>
                  <a:lnTo>
                    <a:pt x="297" y="731"/>
                  </a:lnTo>
                  <a:lnTo>
                    <a:pt x="296" y="730"/>
                  </a:lnTo>
                  <a:lnTo>
                    <a:pt x="295" y="730"/>
                  </a:lnTo>
                  <a:lnTo>
                    <a:pt x="295" y="731"/>
                  </a:lnTo>
                  <a:lnTo>
                    <a:pt x="293" y="731"/>
                  </a:lnTo>
                  <a:lnTo>
                    <a:pt x="292" y="730"/>
                  </a:lnTo>
                  <a:lnTo>
                    <a:pt x="292" y="729"/>
                  </a:lnTo>
                  <a:lnTo>
                    <a:pt x="291" y="729"/>
                  </a:lnTo>
                  <a:lnTo>
                    <a:pt x="290" y="729"/>
                  </a:lnTo>
                  <a:lnTo>
                    <a:pt x="287" y="728"/>
                  </a:lnTo>
                  <a:lnTo>
                    <a:pt x="286" y="726"/>
                  </a:lnTo>
                  <a:lnTo>
                    <a:pt x="285" y="725"/>
                  </a:lnTo>
                  <a:lnTo>
                    <a:pt x="286" y="723"/>
                  </a:lnTo>
                  <a:lnTo>
                    <a:pt x="284" y="723"/>
                  </a:lnTo>
                  <a:lnTo>
                    <a:pt x="281" y="723"/>
                  </a:lnTo>
                  <a:lnTo>
                    <a:pt x="280" y="722"/>
                  </a:lnTo>
                  <a:lnTo>
                    <a:pt x="279" y="723"/>
                  </a:lnTo>
                  <a:lnTo>
                    <a:pt x="278" y="724"/>
                  </a:lnTo>
                  <a:lnTo>
                    <a:pt x="277" y="725"/>
                  </a:lnTo>
                  <a:lnTo>
                    <a:pt x="275" y="724"/>
                  </a:lnTo>
                  <a:lnTo>
                    <a:pt x="272" y="724"/>
                  </a:lnTo>
                  <a:lnTo>
                    <a:pt x="269" y="723"/>
                  </a:lnTo>
                  <a:lnTo>
                    <a:pt x="269" y="720"/>
                  </a:lnTo>
                  <a:lnTo>
                    <a:pt x="268" y="720"/>
                  </a:lnTo>
                  <a:lnTo>
                    <a:pt x="267" y="720"/>
                  </a:lnTo>
                  <a:lnTo>
                    <a:pt x="267" y="722"/>
                  </a:lnTo>
                  <a:lnTo>
                    <a:pt x="266" y="723"/>
                  </a:lnTo>
                  <a:lnTo>
                    <a:pt x="265" y="724"/>
                  </a:lnTo>
                  <a:lnTo>
                    <a:pt x="262" y="723"/>
                  </a:lnTo>
                  <a:lnTo>
                    <a:pt x="261" y="722"/>
                  </a:lnTo>
                  <a:lnTo>
                    <a:pt x="260" y="722"/>
                  </a:lnTo>
                  <a:lnTo>
                    <a:pt x="259" y="722"/>
                  </a:lnTo>
                  <a:lnTo>
                    <a:pt x="256" y="722"/>
                  </a:lnTo>
                  <a:lnTo>
                    <a:pt x="255" y="722"/>
                  </a:lnTo>
                  <a:lnTo>
                    <a:pt x="254" y="722"/>
                  </a:lnTo>
                  <a:lnTo>
                    <a:pt x="252" y="720"/>
                  </a:lnTo>
                  <a:lnTo>
                    <a:pt x="250" y="722"/>
                  </a:lnTo>
                  <a:lnTo>
                    <a:pt x="248" y="722"/>
                  </a:lnTo>
                  <a:lnTo>
                    <a:pt x="244" y="723"/>
                  </a:lnTo>
                  <a:lnTo>
                    <a:pt x="244" y="724"/>
                  </a:lnTo>
                  <a:lnTo>
                    <a:pt x="243" y="726"/>
                  </a:lnTo>
                  <a:lnTo>
                    <a:pt x="244" y="728"/>
                  </a:lnTo>
                  <a:lnTo>
                    <a:pt x="245" y="725"/>
                  </a:lnTo>
                  <a:lnTo>
                    <a:pt x="248" y="725"/>
                  </a:lnTo>
                  <a:lnTo>
                    <a:pt x="248" y="726"/>
                  </a:lnTo>
                  <a:lnTo>
                    <a:pt x="250" y="726"/>
                  </a:lnTo>
                  <a:lnTo>
                    <a:pt x="251" y="726"/>
                  </a:lnTo>
                  <a:lnTo>
                    <a:pt x="252" y="726"/>
                  </a:lnTo>
                  <a:lnTo>
                    <a:pt x="254" y="728"/>
                  </a:lnTo>
                  <a:lnTo>
                    <a:pt x="255" y="725"/>
                  </a:lnTo>
                  <a:lnTo>
                    <a:pt x="255" y="723"/>
                  </a:lnTo>
                  <a:lnTo>
                    <a:pt x="255" y="724"/>
                  </a:lnTo>
                  <a:lnTo>
                    <a:pt x="256" y="724"/>
                  </a:lnTo>
                  <a:lnTo>
                    <a:pt x="256" y="726"/>
                  </a:lnTo>
                  <a:lnTo>
                    <a:pt x="257" y="725"/>
                  </a:lnTo>
                  <a:lnTo>
                    <a:pt x="260" y="725"/>
                  </a:lnTo>
                  <a:lnTo>
                    <a:pt x="260" y="726"/>
                  </a:lnTo>
                  <a:lnTo>
                    <a:pt x="261" y="724"/>
                  </a:lnTo>
                  <a:lnTo>
                    <a:pt x="262" y="724"/>
                  </a:lnTo>
                  <a:lnTo>
                    <a:pt x="263" y="725"/>
                  </a:lnTo>
                  <a:lnTo>
                    <a:pt x="265" y="725"/>
                  </a:lnTo>
                  <a:lnTo>
                    <a:pt x="265" y="726"/>
                  </a:lnTo>
                  <a:lnTo>
                    <a:pt x="265" y="725"/>
                  </a:lnTo>
                  <a:lnTo>
                    <a:pt x="265" y="726"/>
                  </a:lnTo>
                  <a:lnTo>
                    <a:pt x="265" y="728"/>
                  </a:lnTo>
                  <a:lnTo>
                    <a:pt x="266" y="729"/>
                  </a:lnTo>
                  <a:lnTo>
                    <a:pt x="267" y="729"/>
                  </a:lnTo>
                  <a:lnTo>
                    <a:pt x="267" y="730"/>
                  </a:lnTo>
                  <a:lnTo>
                    <a:pt x="267" y="729"/>
                  </a:lnTo>
                  <a:lnTo>
                    <a:pt x="268" y="729"/>
                  </a:lnTo>
                  <a:lnTo>
                    <a:pt x="268" y="726"/>
                  </a:lnTo>
                  <a:lnTo>
                    <a:pt x="268" y="725"/>
                  </a:lnTo>
                  <a:lnTo>
                    <a:pt x="269" y="724"/>
                  </a:lnTo>
                  <a:lnTo>
                    <a:pt x="272" y="725"/>
                  </a:lnTo>
                  <a:lnTo>
                    <a:pt x="272" y="729"/>
                  </a:lnTo>
                  <a:lnTo>
                    <a:pt x="271" y="728"/>
                  </a:lnTo>
                  <a:lnTo>
                    <a:pt x="269" y="731"/>
                  </a:lnTo>
                  <a:lnTo>
                    <a:pt x="271" y="734"/>
                  </a:lnTo>
                  <a:lnTo>
                    <a:pt x="267" y="734"/>
                  </a:lnTo>
                  <a:lnTo>
                    <a:pt x="266" y="734"/>
                  </a:lnTo>
                  <a:lnTo>
                    <a:pt x="268" y="734"/>
                  </a:lnTo>
                  <a:lnTo>
                    <a:pt x="268" y="737"/>
                  </a:lnTo>
                  <a:lnTo>
                    <a:pt x="267" y="736"/>
                  </a:lnTo>
                  <a:lnTo>
                    <a:pt x="266" y="736"/>
                  </a:lnTo>
                  <a:lnTo>
                    <a:pt x="263" y="736"/>
                  </a:lnTo>
                  <a:lnTo>
                    <a:pt x="262" y="736"/>
                  </a:lnTo>
                  <a:lnTo>
                    <a:pt x="260" y="737"/>
                  </a:lnTo>
                  <a:lnTo>
                    <a:pt x="256" y="737"/>
                  </a:lnTo>
                  <a:lnTo>
                    <a:pt x="255" y="740"/>
                  </a:lnTo>
                  <a:lnTo>
                    <a:pt x="255" y="741"/>
                  </a:lnTo>
                  <a:lnTo>
                    <a:pt x="254" y="743"/>
                  </a:lnTo>
                  <a:lnTo>
                    <a:pt x="252" y="744"/>
                  </a:lnTo>
                  <a:lnTo>
                    <a:pt x="252" y="746"/>
                  </a:lnTo>
                  <a:lnTo>
                    <a:pt x="249" y="746"/>
                  </a:lnTo>
                  <a:lnTo>
                    <a:pt x="246" y="744"/>
                  </a:lnTo>
                  <a:lnTo>
                    <a:pt x="248" y="743"/>
                  </a:lnTo>
                  <a:lnTo>
                    <a:pt x="248" y="742"/>
                  </a:lnTo>
                  <a:lnTo>
                    <a:pt x="246" y="742"/>
                  </a:lnTo>
                  <a:lnTo>
                    <a:pt x="245" y="740"/>
                  </a:lnTo>
                  <a:lnTo>
                    <a:pt x="244" y="736"/>
                  </a:lnTo>
                  <a:lnTo>
                    <a:pt x="242" y="736"/>
                  </a:lnTo>
                  <a:lnTo>
                    <a:pt x="242" y="737"/>
                  </a:lnTo>
                  <a:lnTo>
                    <a:pt x="243" y="738"/>
                  </a:lnTo>
                  <a:lnTo>
                    <a:pt x="244" y="741"/>
                  </a:lnTo>
                  <a:lnTo>
                    <a:pt x="245" y="742"/>
                  </a:lnTo>
                  <a:lnTo>
                    <a:pt x="244" y="743"/>
                  </a:lnTo>
                  <a:lnTo>
                    <a:pt x="242" y="744"/>
                  </a:lnTo>
                  <a:lnTo>
                    <a:pt x="243" y="741"/>
                  </a:lnTo>
                  <a:lnTo>
                    <a:pt x="242" y="741"/>
                  </a:lnTo>
                  <a:lnTo>
                    <a:pt x="240" y="742"/>
                  </a:lnTo>
                  <a:lnTo>
                    <a:pt x="240" y="744"/>
                  </a:lnTo>
                  <a:lnTo>
                    <a:pt x="243" y="747"/>
                  </a:lnTo>
                  <a:lnTo>
                    <a:pt x="239" y="747"/>
                  </a:lnTo>
                  <a:lnTo>
                    <a:pt x="239" y="748"/>
                  </a:lnTo>
                  <a:lnTo>
                    <a:pt x="240" y="749"/>
                  </a:lnTo>
                  <a:lnTo>
                    <a:pt x="240" y="750"/>
                  </a:lnTo>
                  <a:lnTo>
                    <a:pt x="238" y="749"/>
                  </a:lnTo>
                  <a:lnTo>
                    <a:pt x="238" y="752"/>
                  </a:lnTo>
                  <a:lnTo>
                    <a:pt x="238" y="753"/>
                  </a:lnTo>
                  <a:lnTo>
                    <a:pt x="239" y="753"/>
                  </a:lnTo>
                  <a:lnTo>
                    <a:pt x="239" y="754"/>
                  </a:lnTo>
                  <a:lnTo>
                    <a:pt x="238" y="754"/>
                  </a:lnTo>
                  <a:lnTo>
                    <a:pt x="237" y="755"/>
                  </a:lnTo>
                  <a:lnTo>
                    <a:pt x="240" y="756"/>
                  </a:lnTo>
                  <a:lnTo>
                    <a:pt x="243" y="755"/>
                  </a:lnTo>
                  <a:lnTo>
                    <a:pt x="243" y="756"/>
                  </a:lnTo>
                  <a:lnTo>
                    <a:pt x="244" y="756"/>
                  </a:lnTo>
                  <a:lnTo>
                    <a:pt x="244" y="761"/>
                  </a:lnTo>
                  <a:lnTo>
                    <a:pt x="243" y="764"/>
                  </a:lnTo>
                  <a:lnTo>
                    <a:pt x="243" y="766"/>
                  </a:lnTo>
                  <a:lnTo>
                    <a:pt x="242" y="766"/>
                  </a:lnTo>
                  <a:lnTo>
                    <a:pt x="239" y="767"/>
                  </a:lnTo>
                  <a:lnTo>
                    <a:pt x="239" y="766"/>
                  </a:lnTo>
                  <a:lnTo>
                    <a:pt x="237" y="766"/>
                  </a:lnTo>
                  <a:lnTo>
                    <a:pt x="236" y="765"/>
                  </a:lnTo>
                  <a:lnTo>
                    <a:pt x="233" y="764"/>
                  </a:lnTo>
                  <a:lnTo>
                    <a:pt x="230" y="761"/>
                  </a:lnTo>
                  <a:lnTo>
                    <a:pt x="228" y="761"/>
                  </a:lnTo>
                  <a:lnTo>
                    <a:pt x="226" y="761"/>
                  </a:lnTo>
                  <a:lnTo>
                    <a:pt x="224" y="761"/>
                  </a:lnTo>
                  <a:lnTo>
                    <a:pt x="221" y="761"/>
                  </a:lnTo>
                  <a:lnTo>
                    <a:pt x="219" y="762"/>
                  </a:lnTo>
                  <a:lnTo>
                    <a:pt x="214" y="762"/>
                  </a:lnTo>
                  <a:lnTo>
                    <a:pt x="212" y="762"/>
                  </a:lnTo>
                  <a:lnTo>
                    <a:pt x="210" y="762"/>
                  </a:lnTo>
                  <a:lnTo>
                    <a:pt x="208" y="762"/>
                  </a:lnTo>
                  <a:lnTo>
                    <a:pt x="207" y="761"/>
                  </a:lnTo>
                  <a:lnTo>
                    <a:pt x="206" y="762"/>
                  </a:lnTo>
                  <a:lnTo>
                    <a:pt x="204" y="764"/>
                  </a:lnTo>
                  <a:lnTo>
                    <a:pt x="203" y="764"/>
                  </a:lnTo>
                  <a:lnTo>
                    <a:pt x="202" y="765"/>
                  </a:lnTo>
                  <a:lnTo>
                    <a:pt x="198" y="768"/>
                  </a:lnTo>
                  <a:lnTo>
                    <a:pt x="198" y="770"/>
                  </a:lnTo>
                  <a:lnTo>
                    <a:pt x="197" y="771"/>
                  </a:lnTo>
                  <a:lnTo>
                    <a:pt x="196" y="770"/>
                  </a:lnTo>
                  <a:lnTo>
                    <a:pt x="195" y="771"/>
                  </a:lnTo>
                  <a:lnTo>
                    <a:pt x="192" y="771"/>
                  </a:lnTo>
                  <a:lnTo>
                    <a:pt x="190" y="768"/>
                  </a:lnTo>
                  <a:lnTo>
                    <a:pt x="187" y="765"/>
                  </a:lnTo>
                  <a:lnTo>
                    <a:pt x="189" y="764"/>
                  </a:lnTo>
                  <a:lnTo>
                    <a:pt x="187" y="762"/>
                  </a:lnTo>
                  <a:lnTo>
                    <a:pt x="186" y="760"/>
                  </a:lnTo>
                  <a:lnTo>
                    <a:pt x="185" y="759"/>
                  </a:lnTo>
                  <a:lnTo>
                    <a:pt x="183" y="760"/>
                  </a:lnTo>
                  <a:lnTo>
                    <a:pt x="181" y="760"/>
                  </a:lnTo>
                  <a:lnTo>
                    <a:pt x="180" y="759"/>
                  </a:lnTo>
                  <a:lnTo>
                    <a:pt x="179" y="756"/>
                  </a:lnTo>
                  <a:lnTo>
                    <a:pt x="177" y="753"/>
                  </a:lnTo>
                  <a:lnTo>
                    <a:pt x="174" y="750"/>
                  </a:lnTo>
                  <a:lnTo>
                    <a:pt x="175" y="750"/>
                  </a:lnTo>
                  <a:lnTo>
                    <a:pt x="175" y="749"/>
                  </a:lnTo>
                  <a:lnTo>
                    <a:pt x="175" y="748"/>
                  </a:lnTo>
                  <a:lnTo>
                    <a:pt x="177" y="749"/>
                  </a:lnTo>
                  <a:lnTo>
                    <a:pt x="178" y="749"/>
                  </a:lnTo>
                  <a:lnTo>
                    <a:pt x="179" y="750"/>
                  </a:lnTo>
                  <a:lnTo>
                    <a:pt x="181" y="750"/>
                  </a:lnTo>
                  <a:lnTo>
                    <a:pt x="183" y="752"/>
                  </a:lnTo>
                  <a:lnTo>
                    <a:pt x="185" y="750"/>
                  </a:lnTo>
                  <a:lnTo>
                    <a:pt x="184" y="748"/>
                  </a:lnTo>
                  <a:lnTo>
                    <a:pt x="184" y="747"/>
                  </a:lnTo>
                  <a:lnTo>
                    <a:pt x="184" y="746"/>
                  </a:lnTo>
                  <a:lnTo>
                    <a:pt x="186" y="746"/>
                  </a:lnTo>
                  <a:lnTo>
                    <a:pt x="189" y="747"/>
                  </a:lnTo>
                  <a:lnTo>
                    <a:pt x="189" y="746"/>
                  </a:lnTo>
                  <a:lnTo>
                    <a:pt x="191" y="746"/>
                  </a:lnTo>
                  <a:lnTo>
                    <a:pt x="192" y="744"/>
                  </a:lnTo>
                  <a:lnTo>
                    <a:pt x="191" y="744"/>
                  </a:lnTo>
                  <a:lnTo>
                    <a:pt x="190" y="743"/>
                  </a:lnTo>
                  <a:lnTo>
                    <a:pt x="187" y="741"/>
                  </a:lnTo>
                  <a:lnTo>
                    <a:pt x="187" y="737"/>
                  </a:lnTo>
                  <a:lnTo>
                    <a:pt x="190" y="738"/>
                  </a:lnTo>
                  <a:lnTo>
                    <a:pt x="191" y="740"/>
                  </a:lnTo>
                  <a:lnTo>
                    <a:pt x="192" y="740"/>
                  </a:lnTo>
                  <a:lnTo>
                    <a:pt x="195" y="738"/>
                  </a:lnTo>
                  <a:lnTo>
                    <a:pt x="197" y="736"/>
                  </a:lnTo>
                  <a:lnTo>
                    <a:pt x="198" y="736"/>
                  </a:lnTo>
                  <a:lnTo>
                    <a:pt x="198" y="735"/>
                  </a:lnTo>
                  <a:lnTo>
                    <a:pt x="195" y="732"/>
                  </a:lnTo>
                  <a:lnTo>
                    <a:pt x="193" y="731"/>
                  </a:lnTo>
                  <a:lnTo>
                    <a:pt x="192" y="730"/>
                  </a:lnTo>
                  <a:lnTo>
                    <a:pt x="192" y="728"/>
                  </a:lnTo>
                  <a:lnTo>
                    <a:pt x="190" y="728"/>
                  </a:lnTo>
                  <a:lnTo>
                    <a:pt x="189" y="726"/>
                  </a:lnTo>
                  <a:lnTo>
                    <a:pt x="190" y="725"/>
                  </a:lnTo>
                  <a:lnTo>
                    <a:pt x="191" y="725"/>
                  </a:lnTo>
                  <a:lnTo>
                    <a:pt x="192" y="724"/>
                  </a:lnTo>
                  <a:lnTo>
                    <a:pt x="192" y="723"/>
                  </a:lnTo>
                  <a:lnTo>
                    <a:pt x="196" y="725"/>
                  </a:lnTo>
                  <a:lnTo>
                    <a:pt x="197" y="724"/>
                  </a:lnTo>
                  <a:lnTo>
                    <a:pt x="195" y="723"/>
                  </a:lnTo>
                  <a:lnTo>
                    <a:pt x="196" y="719"/>
                  </a:lnTo>
                  <a:lnTo>
                    <a:pt x="196" y="717"/>
                  </a:lnTo>
                  <a:lnTo>
                    <a:pt x="195" y="716"/>
                  </a:lnTo>
                  <a:lnTo>
                    <a:pt x="193" y="717"/>
                  </a:lnTo>
                  <a:lnTo>
                    <a:pt x="190" y="717"/>
                  </a:lnTo>
                  <a:lnTo>
                    <a:pt x="187" y="716"/>
                  </a:lnTo>
                  <a:lnTo>
                    <a:pt x="186" y="716"/>
                  </a:lnTo>
                  <a:lnTo>
                    <a:pt x="185" y="716"/>
                  </a:lnTo>
                  <a:lnTo>
                    <a:pt x="183" y="716"/>
                  </a:lnTo>
                  <a:lnTo>
                    <a:pt x="181" y="717"/>
                  </a:lnTo>
                  <a:lnTo>
                    <a:pt x="179" y="718"/>
                  </a:lnTo>
                  <a:lnTo>
                    <a:pt x="178" y="719"/>
                  </a:lnTo>
                  <a:lnTo>
                    <a:pt x="178" y="718"/>
                  </a:lnTo>
                  <a:lnTo>
                    <a:pt x="177" y="717"/>
                  </a:lnTo>
                  <a:lnTo>
                    <a:pt x="175" y="718"/>
                  </a:lnTo>
                  <a:lnTo>
                    <a:pt x="173" y="718"/>
                  </a:lnTo>
                  <a:lnTo>
                    <a:pt x="172" y="718"/>
                  </a:lnTo>
                  <a:lnTo>
                    <a:pt x="169" y="717"/>
                  </a:lnTo>
                  <a:lnTo>
                    <a:pt x="168" y="717"/>
                  </a:lnTo>
                  <a:lnTo>
                    <a:pt x="166" y="716"/>
                  </a:lnTo>
                  <a:lnTo>
                    <a:pt x="163" y="717"/>
                  </a:lnTo>
                  <a:lnTo>
                    <a:pt x="161" y="717"/>
                  </a:lnTo>
                  <a:lnTo>
                    <a:pt x="161" y="718"/>
                  </a:lnTo>
                  <a:lnTo>
                    <a:pt x="160" y="718"/>
                  </a:lnTo>
                  <a:lnTo>
                    <a:pt x="159" y="719"/>
                  </a:lnTo>
                  <a:lnTo>
                    <a:pt x="157" y="722"/>
                  </a:lnTo>
                  <a:lnTo>
                    <a:pt x="155" y="720"/>
                  </a:lnTo>
                  <a:lnTo>
                    <a:pt x="149" y="720"/>
                  </a:lnTo>
                  <a:lnTo>
                    <a:pt x="147" y="720"/>
                  </a:lnTo>
                  <a:lnTo>
                    <a:pt x="143" y="719"/>
                  </a:lnTo>
                  <a:lnTo>
                    <a:pt x="141" y="723"/>
                  </a:lnTo>
                  <a:lnTo>
                    <a:pt x="138" y="722"/>
                  </a:lnTo>
                  <a:lnTo>
                    <a:pt x="137" y="720"/>
                  </a:lnTo>
                  <a:lnTo>
                    <a:pt x="136" y="719"/>
                  </a:lnTo>
                  <a:lnTo>
                    <a:pt x="133" y="719"/>
                  </a:lnTo>
                  <a:lnTo>
                    <a:pt x="131" y="717"/>
                  </a:lnTo>
                  <a:lnTo>
                    <a:pt x="128" y="717"/>
                  </a:lnTo>
                  <a:lnTo>
                    <a:pt x="128" y="716"/>
                  </a:lnTo>
                  <a:lnTo>
                    <a:pt x="131" y="713"/>
                  </a:lnTo>
                  <a:lnTo>
                    <a:pt x="132" y="713"/>
                  </a:lnTo>
                  <a:lnTo>
                    <a:pt x="132" y="714"/>
                  </a:lnTo>
                  <a:lnTo>
                    <a:pt x="136" y="714"/>
                  </a:lnTo>
                  <a:lnTo>
                    <a:pt x="137" y="714"/>
                  </a:lnTo>
                  <a:lnTo>
                    <a:pt x="138" y="714"/>
                  </a:lnTo>
                  <a:lnTo>
                    <a:pt x="138" y="713"/>
                  </a:lnTo>
                  <a:lnTo>
                    <a:pt x="136" y="712"/>
                  </a:lnTo>
                  <a:lnTo>
                    <a:pt x="136" y="710"/>
                  </a:lnTo>
                  <a:lnTo>
                    <a:pt x="133" y="708"/>
                  </a:lnTo>
                  <a:lnTo>
                    <a:pt x="132" y="708"/>
                  </a:lnTo>
                  <a:lnTo>
                    <a:pt x="131" y="708"/>
                  </a:lnTo>
                  <a:lnTo>
                    <a:pt x="131" y="707"/>
                  </a:lnTo>
                  <a:lnTo>
                    <a:pt x="128" y="707"/>
                  </a:lnTo>
                  <a:lnTo>
                    <a:pt x="130" y="701"/>
                  </a:lnTo>
                  <a:lnTo>
                    <a:pt x="133" y="697"/>
                  </a:lnTo>
                  <a:lnTo>
                    <a:pt x="134" y="697"/>
                  </a:lnTo>
                  <a:lnTo>
                    <a:pt x="136" y="697"/>
                  </a:lnTo>
                  <a:lnTo>
                    <a:pt x="136" y="696"/>
                  </a:lnTo>
                  <a:lnTo>
                    <a:pt x="138" y="695"/>
                  </a:lnTo>
                  <a:lnTo>
                    <a:pt x="139" y="697"/>
                  </a:lnTo>
                  <a:lnTo>
                    <a:pt x="143" y="699"/>
                  </a:lnTo>
                  <a:lnTo>
                    <a:pt x="143" y="696"/>
                  </a:lnTo>
                  <a:lnTo>
                    <a:pt x="143" y="694"/>
                  </a:lnTo>
                  <a:lnTo>
                    <a:pt x="144" y="694"/>
                  </a:lnTo>
                  <a:lnTo>
                    <a:pt x="145" y="694"/>
                  </a:lnTo>
                  <a:lnTo>
                    <a:pt x="149" y="693"/>
                  </a:lnTo>
                  <a:lnTo>
                    <a:pt x="150" y="693"/>
                  </a:lnTo>
                  <a:lnTo>
                    <a:pt x="150" y="691"/>
                  </a:lnTo>
                  <a:lnTo>
                    <a:pt x="147" y="688"/>
                  </a:lnTo>
                  <a:lnTo>
                    <a:pt x="145" y="688"/>
                  </a:lnTo>
                  <a:lnTo>
                    <a:pt x="144" y="689"/>
                  </a:lnTo>
                  <a:lnTo>
                    <a:pt x="143" y="690"/>
                  </a:lnTo>
                  <a:lnTo>
                    <a:pt x="143" y="689"/>
                  </a:lnTo>
                  <a:lnTo>
                    <a:pt x="141" y="689"/>
                  </a:lnTo>
                  <a:lnTo>
                    <a:pt x="139" y="689"/>
                  </a:lnTo>
                  <a:lnTo>
                    <a:pt x="138" y="688"/>
                  </a:lnTo>
                  <a:lnTo>
                    <a:pt x="137" y="688"/>
                  </a:lnTo>
                  <a:lnTo>
                    <a:pt x="137" y="687"/>
                  </a:lnTo>
                  <a:lnTo>
                    <a:pt x="133" y="685"/>
                  </a:lnTo>
                  <a:lnTo>
                    <a:pt x="128" y="683"/>
                  </a:lnTo>
                  <a:lnTo>
                    <a:pt x="127" y="682"/>
                  </a:lnTo>
                  <a:lnTo>
                    <a:pt x="126" y="681"/>
                  </a:lnTo>
                  <a:lnTo>
                    <a:pt x="126" y="678"/>
                  </a:lnTo>
                  <a:lnTo>
                    <a:pt x="125" y="677"/>
                  </a:lnTo>
                  <a:lnTo>
                    <a:pt x="124" y="676"/>
                  </a:lnTo>
                  <a:lnTo>
                    <a:pt x="122" y="675"/>
                  </a:lnTo>
                  <a:lnTo>
                    <a:pt x="125" y="673"/>
                  </a:lnTo>
                  <a:lnTo>
                    <a:pt x="125" y="672"/>
                  </a:lnTo>
                  <a:lnTo>
                    <a:pt x="126" y="672"/>
                  </a:lnTo>
                  <a:lnTo>
                    <a:pt x="127" y="673"/>
                  </a:lnTo>
                  <a:lnTo>
                    <a:pt x="127" y="675"/>
                  </a:lnTo>
                  <a:lnTo>
                    <a:pt x="130" y="675"/>
                  </a:lnTo>
                  <a:lnTo>
                    <a:pt x="130" y="676"/>
                  </a:lnTo>
                  <a:lnTo>
                    <a:pt x="132" y="677"/>
                  </a:lnTo>
                  <a:lnTo>
                    <a:pt x="133" y="677"/>
                  </a:lnTo>
                  <a:lnTo>
                    <a:pt x="134" y="678"/>
                  </a:lnTo>
                  <a:lnTo>
                    <a:pt x="134" y="677"/>
                  </a:lnTo>
                  <a:lnTo>
                    <a:pt x="133" y="675"/>
                  </a:lnTo>
                  <a:lnTo>
                    <a:pt x="134" y="672"/>
                  </a:lnTo>
                  <a:lnTo>
                    <a:pt x="137" y="670"/>
                  </a:lnTo>
                  <a:lnTo>
                    <a:pt x="138" y="672"/>
                  </a:lnTo>
                  <a:lnTo>
                    <a:pt x="139" y="675"/>
                  </a:lnTo>
                  <a:lnTo>
                    <a:pt x="141" y="676"/>
                  </a:lnTo>
                  <a:lnTo>
                    <a:pt x="141" y="677"/>
                  </a:lnTo>
                  <a:lnTo>
                    <a:pt x="144" y="677"/>
                  </a:lnTo>
                  <a:lnTo>
                    <a:pt x="145" y="677"/>
                  </a:lnTo>
                  <a:lnTo>
                    <a:pt x="145" y="678"/>
                  </a:lnTo>
                  <a:lnTo>
                    <a:pt x="145" y="679"/>
                  </a:lnTo>
                  <a:lnTo>
                    <a:pt x="147" y="681"/>
                  </a:lnTo>
                  <a:lnTo>
                    <a:pt x="149" y="682"/>
                  </a:lnTo>
                  <a:lnTo>
                    <a:pt x="149" y="681"/>
                  </a:lnTo>
                  <a:lnTo>
                    <a:pt x="150" y="681"/>
                  </a:lnTo>
                  <a:lnTo>
                    <a:pt x="153" y="682"/>
                  </a:lnTo>
                  <a:lnTo>
                    <a:pt x="155" y="682"/>
                  </a:lnTo>
                  <a:lnTo>
                    <a:pt x="157" y="682"/>
                  </a:lnTo>
                  <a:lnTo>
                    <a:pt x="155" y="678"/>
                  </a:lnTo>
                  <a:lnTo>
                    <a:pt x="154" y="676"/>
                  </a:lnTo>
                  <a:lnTo>
                    <a:pt x="153" y="673"/>
                  </a:lnTo>
                  <a:lnTo>
                    <a:pt x="151" y="672"/>
                  </a:lnTo>
                  <a:lnTo>
                    <a:pt x="153" y="672"/>
                  </a:lnTo>
                  <a:lnTo>
                    <a:pt x="153" y="671"/>
                  </a:lnTo>
                  <a:lnTo>
                    <a:pt x="154" y="670"/>
                  </a:lnTo>
                  <a:lnTo>
                    <a:pt x="155" y="671"/>
                  </a:lnTo>
                  <a:lnTo>
                    <a:pt x="157" y="672"/>
                  </a:lnTo>
                  <a:lnTo>
                    <a:pt x="159" y="673"/>
                  </a:lnTo>
                  <a:lnTo>
                    <a:pt x="160" y="675"/>
                  </a:lnTo>
                  <a:lnTo>
                    <a:pt x="161" y="676"/>
                  </a:lnTo>
                  <a:lnTo>
                    <a:pt x="162" y="673"/>
                  </a:lnTo>
                  <a:lnTo>
                    <a:pt x="161" y="672"/>
                  </a:lnTo>
                  <a:lnTo>
                    <a:pt x="160" y="670"/>
                  </a:lnTo>
                  <a:lnTo>
                    <a:pt x="160" y="669"/>
                  </a:lnTo>
                  <a:lnTo>
                    <a:pt x="159" y="667"/>
                  </a:lnTo>
                  <a:lnTo>
                    <a:pt x="157" y="664"/>
                  </a:lnTo>
                  <a:lnTo>
                    <a:pt x="161" y="664"/>
                  </a:lnTo>
                  <a:lnTo>
                    <a:pt x="163" y="664"/>
                  </a:lnTo>
                  <a:lnTo>
                    <a:pt x="163" y="665"/>
                  </a:lnTo>
                  <a:lnTo>
                    <a:pt x="163" y="666"/>
                  </a:lnTo>
                  <a:lnTo>
                    <a:pt x="166" y="666"/>
                  </a:lnTo>
                  <a:lnTo>
                    <a:pt x="168" y="666"/>
                  </a:lnTo>
                  <a:lnTo>
                    <a:pt x="168" y="667"/>
                  </a:lnTo>
                  <a:lnTo>
                    <a:pt x="171" y="669"/>
                  </a:lnTo>
                  <a:lnTo>
                    <a:pt x="171" y="667"/>
                  </a:lnTo>
                  <a:lnTo>
                    <a:pt x="171" y="666"/>
                  </a:lnTo>
                  <a:lnTo>
                    <a:pt x="171" y="665"/>
                  </a:lnTo>
                  <a:lnTo>
                    <a:pt x="172" y="663"/>
                  </a:lnTo>
                  <a:lnTo>
                    <a:pt x="175" y="664"/>
                  </a:lnTo>
                  <a:lnTo>
                    <a:pt x="175" y="665"/>
                  </a:lnTo>
                  <a:lnTo>
                    <a:pt x="177" y="666"/>
                  </a:lnTo>
                  <a:lnTo>
                    <a:pt x="178" y="665"/>
                  </a:lnTo>
                  <a:lnTo>
                    <a:pt x="179" y="665"/>
                  </a:lnTo>
                  <a:lnTo>
                    <a:pt x="179" y="663"/>
                  </a:lnTo>
                  <a:lnTo>
                    <a:pt x="181" y="661"/>
                  </a:lnTo>
                  <a:lnTo>
                    <a:pt x="184" y="661"/>
                  </a:lnTo>
                  <a:lnTo>
                    <a:pt x="184" y="660"/>
                  </a:lnTo>
                  <a:lnTo>
                    <a:pt x="183" y="659"/>
                  </a:lnTo>
                  <a:lnTo>
                    <a:pt x="181" y="659"/>
                  </a:lnTo>
                  <a:lnTo>
                    <a:pt x="181" y="658"/>
                  </a:lnTo>
                  <a:lnTo>
                    <a:pt x="180" y="657"/>
                  </a:lnTo>
                  <a:lnTo>
                    <a:pt x="179" y="655"/>
                  </a:lnTo>
                  <a:lnTo>
                    <a:pt x="179" y="652"/>
                  </a:lnTo>
                  <a:lnTo>
                    <a:pt x="181" y="651"/>
                  </a:lnTo>
                  <a:lnTo>
                    <a:pt x="183" y="649"/>
                  </a:lnTo>
                  <a:lnTo>
                    <a:pt x="181" y="652"/>
                  </a:lnTo>
                  <a:lnTo>
                    <a:pt x="184" y="653"/>
                  </a:lnTo>
                  <a:lnTo>
                    <a:pt x="185" y="654"/>
                  </a:lnTo>
                  <a:lnTo>
                    <a:pt x="186" y="653"/>
                  </a:lnTo>
                  <a:lnTo>
                    <a:pt x="187" y="654"/>
                  </a:lnTo>
                  <a:lnTo>
                    <a:pt x="189" y="655"/>
                  </a:lnTo>
                  <a:lnTo>
                    <a:pt x="190" y="655"/>
                  </a:lnTo>
                  <a:lnTo>
                    <a:pt x="190" y="654"/>
                  </a:lnTo>
                  <a:lnTo>
                    <a:pt x="190" y="652"/>
                  </a:lnTo>
                  <a:lnTo>
                    <a:pt x="189" y="651"/>
                  </a:lnTo>
                  <a:lnTo>
                    <a:pt x="191" y="651"/>
                  </a:lnTo>
                  <a:lnTo>
                    <a:pt x="191" y="649"/>
                  </a:lnTo>
                  <a:lnTo>
                    <a:pt x="193" y="652"/>
                  </a:lnTo>
                  <a:lnTo>
                    <a:pt x="195" y="653"/>
                  </a:lnTo>
                  <a:lnTo>
                    <a:pt x="196" y="653"/>
                  </a:lnTo>
                  <a:lnTo>
                    <a:pt x="196" y="652"/>
                  </a:lnTo>
                  <a:lnTo>
                    <a:pt x="195" y="651"/>
                  </a:lnTo>
                  <a:lnTo>
                    <a:pt x="193" y="649"/>
                  </a:lnTo>
                  <a:lnTo>
                    <a:pt x="193" y="648"/>
                  </a:lnTo>
                  <a:lnTo>
                    <a:pt x="195" y="647"/>
                  </a:lnTo>
                  <a:lnTo>
                    <a:pt x="196" y="648"/>
                  </a:lnTo>
                  <a:lnTo>
                    <a:pt x="197" y="648"/>
                  </a:lnTo>
                  <a:lnTo>
                    <a:pt x="200" y="648"/>
                  </a:lnTo>
                  <a:lnTo>
                    <a:pt x="197" y="646"/>
                  </a:lnTo>
                  <a:lnTo>
                    <a:pt x="195" y="642"/>
                  </a:lnTo>
                  <a:lnTo>
                    <a:pt x="197" y="641"/>
                  </a:lnTo>
                  <a:lnTo>
                    <a:pt x="198" y="642"/>
                  </a:lnTo>
                  <a:lnTo>
                    <a:pt x="200" y="642"/>
                  </a:lnTo>
                  <a:lnTo>
                    <a:pt x="202" y="641"/>
                  </a:lnTo>
                  <a:lnTo>
                    <a:pt x="203" y="641"/>
                  </a:lnTo>
                  <a:lnTo>
                    <a:pt x="204" y="641"/>
                  </a:lnTo>
                  <a:lnTo>
                    <a:pt x="206" y="640"/>
                  </a:lnTo>
                  <a:lnTo>
                    <a:pt x="207" y="640"/>
                  </a:lnTo>
                  <a:lnTo>
                    <a:pt x="209" y="639"/>
                  </a:lnTo>
                  <a:lnTo>
                    <a:pt x="210" y="640"/>
                  </a:lnTo>
                  <a:lnTo>
                    <a:pt x="212" y="641"/>
                  </a:lnTo>
                  <a:lnTo>
                    <a:pt x="214" y="641"/>
                  </a:lnTo>
                  <a:lnTo>
                    <a:pt x="216" y="641"/>
                  </a:lnTo>
                  <a:lnTo>
                    <a:pt x="218" y="643"/>
                  </a:lnTo>
                  <a:lnTo>
                    <a:pt x="220" y="643"/>
                  </a:lnTo>
                  <a:lnTo>
                    <a:pt x="221" y="643"/>
                  </a:lnTo>
                  <a:lnTo>
                    <a:pt x="221" y="642"/>
                  </a:lnTo>
                  <a:lnTo>
                    <a:pt x="225" y="643"/>
                  </a:lnTo>
                  <a:lnTo>
                    <a:pt x="226" y="643"/>
                  </a:lnTo>
                  <a:lnTo>
                    <a:pt x="228" y="642"/>
                  </a:lnTo>
                  <a:lnTo>
                    <a:pt x="227" y="640"/>
                  </a:lnTo>
                  <a:lnTo>
                    <a:pt x="227" y="637"/>
                  </a:lnTo>
                  <a:lnTo>
                    <a:pt x="230" y="639"/>
                  </a:lnTo>
                  <a:lnTo>
                    <a:pt x="234" y="640"/>
                  </a:lnTo>
                  <a:lnTo>
                    <a:pt x="237" y="637"/>
                  </a:lnTo>
                  <a:lnTo>
                    <a:pt x="238" y="634"/>
                  </a:lnTo>
                  <a:lnTo>
                    <a:pt x="238" y="633"/>
                  </a:lnTo>
                  <a:lnTo>
                    <a:pt x="239" y="631"/>
                  </a:lnTo>
                  <a:lnTo>
                    <a:pt x="243" y="629"/>
                  </a:lnTo>
                  <a:lnTo>
                    <a:pt x="245" y="628"/>
                  </a:lnTo>
                  <a:lnTo>
                    <a:pt x="246" y="628"/>
                  </a:lnTo>
                  <a:lnTo>
                    <a:pt x="248" y="627"/>
                  </a:lnTo>
                  <a:lnTo>
                    <a:pt x="249" y="624"/>
                  </a:lnTo>
                  <a:lnTo>
                    <a:pt x="250" y="623"/>
                  </a:lnTo>
                  <a:lnTo>
                    <a:pt x="251" y="622"/>
                  </a:lnTo>
                  <a:lnTo>
                    <a:pt x="250" y="622"/>
                  </a:lnTo>
                  <a:lnTo>
                    <a:pt x="249" y="621"/>
                  </a:lnTo>
                  <a:lnTo>
                    <a:pt x="250" y="619"/>
                  </a:lnTo>
                  <a:lnTo>
                    <a:pt x="251" y="621"/>
                  </a:lnTo>
                  <a:lnTo>
                    <a:pt x="252" y="619"/>
                  </a:lnTo>
                  <a:lnTo>
                    <a:pt x="254" y="621"/>
                  </a:lnTo>
                  <a:lnTo>
                    <a:pt x="255" y="619"/>
                  </a:lnTo>
                  <a:lnTo>
                    <a:pt x="256" y="619"/>
                  </a:lnTo>
                  <a:lnTo>
                    <a:pt x="257" y="617"/>
                  </a:lnTo>
                  <a:lnTo>
                    <a:pt x="260" y="618"/>
                  </a:lnTo>
                  <a:lnTo>
                    <a:pt x="260" y="619"/>
                  </a:lnTo>
                  <a:lnTo>
                    <a:pt x="262" y="618"/>
                  </a:lnTo>
                  <a:lnTo>
                    <a:pt x="263" y="618"/>
                  </a:lnTo>
                  <a:lnTo>
                    <a:pt x="266" y="618"/>
                  </a:lnTo>
                  <a:lnTo>
                    <a:pt x="267" y="617"/>
                  </a:lnTo>
                  <a:lnTo>
                    <a:pt x="268" y="619"/>
                  </a:lnTo>
                  <a:lnTo>
                    <a:pt x="269" y="619"/>
                  </a:lnTo>
                  <a:lnTo>
                    <a:pt x="269" y="618"/>
                  </a:lnTo>
                  <a:lnTo>
                    <a:pt x="272" y="618"/>
                  </a:lnTo>
                  <a:lnTo>
                    <a:pt x="272" y="617"/>
                  </a:lnTo>
                  <a:lnTo>
                    <a:pt x="271" y="616"/>
                  </a:lnTo>
                  <a:lnTo>
                    <a:pt x="272" y="615"/>
                  </a:lnTo>
                  <a:lnTo>
                    <a:pt x="273" y="615"/>
                  </a:lnTo>
                  <a:lnTo>
                    <a:pt x="273" y="616"/>
                  </a:lnTo>
                  <a:lnTo>
                    <a:pt x="273" y="617"/>
                  </a:lnTo>
                  <a:lnTo>
                    <a:pt x="277" y="617"/>
                  </a:lnTo>
                  <a:lnTo>
                    <a:pt x="275" y="615"/>
                  </a:lnTo>
                  <a:lnTo>
                    <a:pt x="277" y="613"/>
                  </a:lnTo>
                  <a:lnTo>
                    <a:pt x="280" y="613"/>
                  </a:lnTo>
                  <a:lnTo>
                    <a:pt x="281" y="611"/>
                  </a:lnTo>
                  <a:lnTo>
                    <a:pt x="281" y="612"/>
                  </a:lnTo>
                  <a:lnTo>
                    <a:pt x="284" y="612"/>
                  </a:lnTo>
                  <a:lnTo>
                    <a:pt x="285" y="611"/>
                  </a:lnTo>
                  <a:lnTo>
                    <a:pt x="283" y="611"/>
                  </a:lnTo>
                  <a:lnTo>
                    <a:pt x="284" y="610"/>
                  </a:lnTo>
                  <a:lnTo>
                    <a:pt x="285" y="609"/>
                  </a:lnTo>
                  <a:lnTo>
                    <a:pt x="287" y="609"/>
                  </a:lnTo>
                  <a:lnTo>
                    <a:pt x="289" y="607"/>
                  </a:lnTo>
                  <a:lnTo>
                    <a:pt x="289" y="609"/>
                  </a:lnTo>
                  <a:lnTo>
                    <a:pt x="290" y="609"/>
                  </a:lnTo>
                  <a:lnTo>
                    <a:pt x="289" y="610"/>
                  </a:lnTo>
                  <a:lnTo>
                    <a:pt x="289" y="611"/>
                  </a:lnTo>
                  <a:lnTo>
                    <a:pt x="290" y="611"/>
                  </a:lnTo>
                  <a:lnTo>
                    <a:pt x="290" y="610"/>
                  </a:lnTo>
                  <a:lnTo>
                    <a:pt x="291" y="611"/>
                  </a:lnTo>
                  <a:lnTo>
                    <a:pt x="293" y="613"/>
                  </a:lnTo>
                  <a:lnTo>
                    <a:pt x="297" y="613"/>
                  </a:lnTo>
                  <a:lnTo>
                    <a:pt x="296" y="611"/>
                  </a:lnTo>
                  <a:lnTo>
                    <a:pt x="296" y="610"/>
                  </a:lnTo>
                  <a:lnTo>
                    <a:pt x="293" y="610"/>
                  </a:lnTo>
                  <a:lnTo>
                    <a:pt x="292" y="609"/>
                  </a:lnTo>
                  <a:lnTo>
                    <a:pt x="293" y="609"/>
                  </a:lnTo>
                  <a:lnTo>
                    <a:pt x="295" y="609"/>
                  </a:lnTo>
                  <a:lnTo>
                    <a:pt x="295" y="607"/>
                  </a:lnTo>
                  <a:lnTo>
                    <a:pt x="296" y="607"/>
                  </a:lnTo>
                  <a:lnTo>
                    <a:pt x="296" y="606"/>
                  </a:lnTo>
                  <a:lnTo>
                    <a:pt x="296" y="605"/>
                  </a:lnTo>
                  <a:lnTo>
                    <a:pt x="298" y="606"/>
                  </a:lnTo>
                  <a:lnTo>
                    <a:pt x="298" y="605"/>
                  </a:lnTo>
                  <a:lnTo>
                    <a:pt x="297" y="604"/>
                  </a:lnTo>
                  <a:lnTo>
                    <a:pt x="298" y="603"/>
                  </a:lnTo>
                  <a:lnTo>
                    <a:pt x="299" y="603"/>
                  </a:lnTo>
                  <a:lnTo>
                    <a:pt x="299" y="601"/>
                  </a:lnTo>
                  <a:lnTo>
                    <a:pt x="298" y="601"/>
                  </a:lnTo>
                  <a:lnTo>
                    <a:pt x="299" y="601"/>
                  </a:lnTo>
                  <a:lnTo>
                    <a:pt x="297" y="601"/>
                  </a:lnTo>
                  <a:lnTo>
                    <a:pt x="297" y="600"/>
                  </a:lnTo>
                  <a:lnTo>
                    <a:pt x="296" y="600"/>
                  </a:lnTo>
                  <a:lnTo>
                    <a:pt x="296" y="603"/>
                  </a:lnTo>
                  <a:lnTo>
                    <a:pt x="295" y="601"/>
                  </a:lnTo>
                  <a:lnTo>
                    <a:pt x="293" y="603"/>
                  </a:lnTo>
                  <a:lnTo>
                    <a:pt x="293" y="604"/>
                  </a:lnTo>
                  <a:lnTo>
                    <a:pt x="292" y="604"/>
                  </a:lnTo>
                  <a:lnTo>
                    <a:pt x="291" y="605"/>
                  </a:lnTo>
                  <a:lnTo>
                    <a:pt x="290" y="605"/>
                  </a:lnTo>
                  <a:lnTo>
                    <a:pt x="289" y="600"/>
                  </a:lnTo>
                  <a:lnTo>
                    <a:pt x="289" y="599"/>
                  </a:lnTo>
                  <a:lnTo>
                    <a:pt x="289" y="598"/>
                  </a:lnTo>
                  <a:lnTo>
                    <a:pt x="285" y="598"/>
                  </a:lnTo>
                  <a:lnTo>
                    <a:pt x="284" y="596"/>
                  </a:lnTo>
                  <a:lnTo>
                    <a:pt x="283" y="596"/>
                  </a:lnTo>
                  <a:lnTo>
                    <a:pt x="283" y="595"/>
                  </a:lnTo>
                  <a:lnTo>
                    <a:pt x="281" y="599"/>
                  </a:lnTo>
                  <a:lnTo>
                    <a:pt x="281" y="601"/>
                  </a:lnTo>
                  <a:lnTo>
                    <a:pt x="277" y="600"/>
                  </a:lnTo>
                  <a:lnTo>
                    <a:pt x="275" y="601"/>
                  </a:lnTo>
                  <a:lnTo>
                    <a:pt x="274" y="601"/>
                  </a:lnTo>
                  <a:lnTo>
                    <a:pt x="273" y="601"/>
                  </a:lnTo>
                  <a:lnTo>
                    <a:pt x="272" y="601"/>
                  </a:lnTo>
                  <a:lnTo>
                    <a:pt x="272" y="604"/>
                  </a:lnTo>
                  <a:lnTo>
                    <a:pt x="272" y="605"/>
                  </a:lnTo>
                  <a:lnTo>
                    <a:pt x="271" y="605"/>
                  </a:lnTo>
                  <a:lnTo>
                    <a:pt x="271" y="604"/>
                  </a:lnTo>
                  <a:lnTo>
                    <a:pt x="269" y="604"/>
                  </a:lnTo>
                  <a:lnTo>
                    <a:pt x="268" y="604"/>
                  </a:lnTo>
                  <a:lnTo>
                    <a:pt x="268" y="605"/>
                  </a:lnTo>
                  <a:lnTo>
                    <a:pt x="266" y="605"/>
                  </a:lnTo>
                  <a:lnTo>
                    <a:pt x="265" y="605"/>
                  </a:lnTo>
                  <a:lnTo>
                    <a:pt x="265" y="606"/>
                  </a:lnTo>
                  <a:lnTo>
                    <a:pt x="266" y="606"/>
                  </a:lnTo>
                  <a:lnTo>
                    <a:pt x="266" y="607"/>
                  </a:lnTo>
                  <a:lnTo>
                    <a:pt x="263" y="607"/>
                  </a:lnTo>
                  <a:lnTo>
                    <a:pt x="262" y="606"/>
                  </a:lnTo>
                  <a:lnTo>
                    <a:pt x="261" y="605"/>
                  </a:lnTo>
                  <a:lnTo>
                    <a:pt x="260" y="603"/>
                  </a:lnTo>
                  <a:lnTo>
                    <a:pt x="261" y="604"/>
                  </a:lnTo>
                  <a:lnTo>
                    <a:pt x="262" y="604"/>
                  </a:lnTo>
                  <a:lnTo>
                    <a:pt x="261" y="603"/>
                  </a:lnTo>
                  <a:lnTo>
                    <a:pt x="261" y="601"/>
                  </a:lnTo>
                  <a:lnTo>
                    <a:pt x="259" y="601"/>
                  </a:lnTo>
                  <a:lnTo>
                    <a:pt x="257" y="601"/>
                  </a:lnTo>
                  <a:lnTo>
                    <a:pt x="256" y="601"/>
                  </a:lnTo>
                  <a:lnTo>
                    <a:pt x="256" y="603"/>
                  </a:lnTo>
                  <a:lnTo>
                    <a:pt x="254" y="604"/>
                  </a:lnTo>
                  <a:lnTo>
                    <a:pt x="252" y="606"/>
                  </a:lnTo>
                  <a:lnTo>
                    <a:pt x="254" y="605"/>
                  </a:lnTo>
                  <a:lnTo>
                    <a:pt x="255" y="605"/>
                  </a:lnTo>
                  <a:lnTo>
                    <a:pt x="255" y="607"/>
                  </a:lnTo>
                  <a:lnTo>
                    <a:pt x="252" y="607"/>
                  </a:lnTo>
                  <a:lnTo>
                    <a:pt x="250" y="607"/>
                  </a:lnTo>
                  <a:lnTo>
                    <a:pt x="250" y="609"/>
                  </a:lnTo>
                  <a:lnTo>
                    <a:pt x="249" y="609"/>
                  </a:lnTo>
                  <a:lnTo>
                    <a:pt x="249" y="610"/>
                  </a:lnTo>
                  <a:lnTo>
                    <a:pt x="246" y="610"/>
                  </a:lnTo>
                  <a:lnTo>
                    <a:pt x="246" y="611"/>
                  </a:lnTo>
                  <a:lnTo>
                    <a:pt x="245" y="612"/>
                  </a:lnTo>
                  <a:lnTo>
                    <a:pt x="246" y="612"/>
                  </a:lnTo>
                  <a:lnTo>
                    <a:pt x="248" y="613"/>
                  </a:lnTo>
                  <a:lnTo>
                    <a:pt x="249" y="615"/>
                  </a:lnTo>
                  <a:lnTo>
                    <a:pt x="248" y="616"/>
                  </a:lnTo>
                  <a:lnTo>
                    <a:pt x="244" y="617"/>
                  </a:lnTo>
                  <a:lnTo>
                    <a:pt x="245" y="615"/>
                  </a:lnTo>
                  <a:lnTo>
                    <a:pt x="244" y="616"/>
                  </a:lnTo>
                  <a:lnTo>
                    <a:pt x="243" y="617"/>
                  </a:lnTo>
                  <a:lnTo>
                    <a:pt x="243" y="616"/>
                  </a:lnTo>
                  <a:lnTo>
                    <a:pt x="243" y="615"/>
                  </a:lnTo>
                  <a:lnTo>
                    <a:pt x="244" y="615"/>
                  </a:lnTo>
                  <a:lnTo>
                    <a:pt x="245" y="613"/>
                  </a:lnTo>
                  <a:lnTo>
                    <a:pt x="245" y="612"/>
                  </a:lnTo>
                  <a:lnTo>
                    <a:pt x="244" y="613"/>
                  </a:lnTo>
                  <a:lnTo>
                    <a:pt x="242" y="612"/>
                  </a:lnTo>
                  <a:lnTo>
                    <a:pt x="242" y="613"/>
                  </a:lnTo>
                  <a:lnTo>
                    <a:pt x="242" y="615"/>
                  </a:lnTo>
                  <a:lnTo>
                    <a:pt x="242" y="616"/>
                  </a:lnTo>
                  <a:lnTo>
                    <a:pt x="242" y="617"/>
                  </a:lnTo>
                  <a:lnTo>
                    <a:pt x="244" y="618"/>
                  </a:lnTo>
                  <a:lnTo>
                    <a:pt x="243" y="619"/>
                  </a:lnTo>
                  <a:lnTo>
                    <a:pt x="240" y="621"/>
                  </a:lnTo>
                  <a:lnTo>
                    <a:pt x="240" y="622"/>
                  </a:lnTo>
                  <a:lnTo>
                    <a:pt x="239" y="622"/>
                  </a:lnTo>
                  <a:lnTo>
                    <a:pt x="236" y="621"/>
                  </a:lnTo>
                  <a:lnTo>
                    <a:pt x="233" y="618"/>
                  </a:lnTo>
                  <a:lnTo>
                    <a:pt x="234" y="618"/>
                  </a:lnTo>
                  <a:lnTo>
                    <a:pt x="236" y="618"/>
                  </a:lnTo>
                  <a:lnTo>
                    <a:pt x="237" y="617"/>
                  </a:lnTo>
                  <a:lnTo>
                    <a:pt x="236" y="616"/>
                  </a:lnTo>
                  <a:lnTo>
                    <a:pt x="234" y="616"/>
                  </a:lnTo>
                  <a:lnTo>
                    <a:pt x="233" y="616"/>
                  </a:lnTo>
                  <a:lnTo>
                    <a:pt x="233" y="615"/>
                  </a:lnTo>
                  <a:lnTo>
                    <a:pt x="234" y="613"/>
                  </a:lnTo>
                  <a:lnTo>
                    <a:pt x="234" y="612"/>
                  </a:lnTo>
                  <a:lnTo>
                    <a:pt x="234" y="611"/>
                  </a:lnTo>
                  <a:lnTo>
                    <a:pt x="236" y="611"/>
                  </a:lnTo>
                  <a:lnTo>
                    <a:pt x="236" y="610"/>
                  </a:lnTo>
                  <a:lnTo>
                    <a:pt x="237" y="610"/>
                  </a:lnTo>
                  <a:lnTo>
                    <a:pt x="237" y="609"/>
                  </a:lnTo>
                  <a:lnTo>
                    <a:pt x="236" y="606"/>
                  </a:lnTo>
                  <a:lnTo>
                    <a:pt x="234" y="606"/>
                  </a:lnTo>
                  <a:lnTo>
                    <a:pt x="233" y="607"/>
                  </a:lnTo>
                  <a:lnTo>
                    <a:pt x="234" y="610"/>
                  </a:lnTo>
                  <a:lnTo>
                    <a:pt x="233" y="611"/>
                  </a:lnTo>
                  <a:lnTo>
                    <a:pt x="232" y="611"/>
                  </a:lnTo>
                  <a:lnTo>
                    <a:pt x="230" y="613"/>
                  </a:lnTo>
                  <a:lnTo>
                    <a:pt x="230" y="616"/>
                  </a:lnTo>
                  <a:lnTo>
                    <a:pt x="227" y="616"/>
                  </a:lnTo>
                  <a:lnTo>
                    <a:pt x="227" y="615"/>
                  </a:lnTo>
                  <a:lnTo>
                    <a:pt x="226" y="616"/>
                  </a:lnTo>
                  <a:lnTo>
                    <a:pt x="222" y="615"/>
                  </a:lnTo>
                  <a:lnTo>
                    <a:pt x="221" y="616"/>
                  </a:lnTo>
                  <a:lnTo>
                    <a:pt x="221" y="615"/>
                  </a:lnTo>
                  <a:lnTo>
                    <a:pt x="220" y="616"/>
                  </a:lnTo>
                  <a:lnTo>
                    <a:pt x="216" y="616"/>
                  </a:lnTo>
                  <a:lnTo>
                    <a:pt x="216" y="613"/>
                  </a:lnTo>
                  <a:lnTo>
                    <a:pt x="215" y="613"/>
                  </a:lnTo>
                  <a:lnTo>
                    <a:pt x="214" y="612"/>
                  </a:lnTo>
                  <a:lnTo>
                    <a:pt x="215" y="610"/>
                  </a:lnTo>
                  <a:lnTo>
                    <a:pt x="215" y="611"/>
                  </a:lnTo>
                  <a:lnTo>
                    <a:pt x="216" y="610"/>
                  </a:lnTo>
                  <a:lnTo>
                    <a:pt x="216" y="609"/>
                  </a:lnTo>
                  <a:lnTo>
                    <a:pt x="218" y="609"/>
                  </a:lnTo>
                  <a:lnTo>
                    <a:pt x="219" y="610"/>
                  </a:lnTo>
                  <a:lnTo>
                    <a:pt x="219" y="607"/>
                  </a:lnTo>
                  <a:lnTo>
                    <a:pt x="219" y="606"/>
                  </a:lnTo>
                  <a:lnTo>
                    <a:pt x="220" y="606"/>
                  </a:lnTo>
                  <a:lnTo>
                    <a:pt x="220" y="605"/>
                  </a:lnTo>
                  <a:lnTo>
                    <a:pt x="220" y="601"/>
                  </a:lnTo>
                  <a:lnTo>
                    <a:pt x="221" y="601"/>
                  </a:lnTo>
                  <a:lnTo>
                    <a:pt x="222" y="600"/>
                  </a:lnTo>
                  <a:lnTo>
                    <a:pt x="225" y="599"/>
                  </a:lnTo>
                  <a:lnTo>
                    <a:pt x="226" y="598"/>
                  </a:lnTo>
                  <a:lnTo>
                    <a:pt x="228" y="596"/>
                  </a:lnTo>
                  <a:lnTo>
                    <a:pt x="228" y="594"/>
                  </a:lnTo>
                  <a:lnTo>
                    <a:pt x="230" y="594"/>
                  </a:lnTo>
                  <a:lnTo>
                    <a:pt x="231" y="593"/>
                  </a:lnTo>
                  <a:lnTo>
                    <a:pt x="232" y="593"/>
                  </a:lnTo>
                  <a:lnTo>
                    <a:pt x="234" y="593"/>
                  </a:lnTo>
                  <a:lnTo>
                    <a:pt x="233" y="590"/>
                  </a:lnTo>
                  <a:lnTo>
                    <a:pt x="232" y="588"/>
                  </a:lnTo>
                  <a:lnTo>
                    <a:pt x="230" y="588"/>
                  </a:lnTo>
                  <a:lnTo>
                    <a:pt x="228" y="588"/>
                  </a:lnTo>
                  <a:lnTo>
                    <a:pt x="228" y="589"/>
                  </a:lnTo>
                  <a:lnTo>
                    <a:pt x="227" y="592"/>
                  </a:lnTo>
                  <a:lnTo>
                    <a:pt x="225" y="593"/>
                  </a:lnTo>
                  <a:lnTo>
                    <a:pt x="222" y="592"/>
                  </a:lnTo>
                  <a:lnTo>
                    <a:pt x="221" y="593"/>
                  </a:lnTo>
                  <a:lnTo>
                    <a:pt x="220" y="593"/>
                  </a:lnTo>
                  <a:lnTo>
                    <a:pt x="219" y="593"/>
                  </a:lnTo>
                  <a:lnTo>
                    <a:pt x="219" y="590"/>
                  </a:lnTo>
                  <a:lnTo>
                    <a:pt x="216" y="592"/>
                  </a:lnTo>
                  <a:lnTo>
                    <a:pt x="215" y="592"/>
                  </a:lnTo>
                  <a:lnTo>
                    <a:pt x="214" y="593"/>
                  </a:lnTo>
                  <a:lnTo>
                    <a:pt x="213" y="594"/>
                  </a:lnTo>
                  <a:lnTo>
                    <a:pt x="212" y="594"/>
                  </a:lnTo>
                  <a:lnTo>
                    <a:pt x="212" y="593"/>
                  </a:lnTo>
                  <a:lnTo>
                    <a:pt x="210" y="594"/>
                  </a:lnTo>
                  <a:lnTo>
                    <a:pt x="210" y="595"/>
                  </a:lnTo>
                  <a:lnTo>
                    <a:pt x="209" y="595"/>
                  </a:lnTo>
                  <a:lnTo>
                    <a:pt x="209" y="593"/>
                  </a:lnTo>
                  <a:lnTo>
                    <a:pt x="208" y="595"/>
                  </a:lnTo>
                  <a:lnTo>
                    <a:pt x="206" y="595"/>
                  </a:lnTo>
                  <a:lnTo>
                    <a:pt x="204" y="595"/>
                  </a:lnTo>
                  <a:lnTo>
                    <a:pt x="204" y="596"/>
                  </a:lnTo>
                  <a:lnTo>
                    <a:pt x="202" y="595"/>
                  </a:lnTo>
                  <a:lnTo>
                    <a:pt x="200" y="594"/>
                  </a:lnTo>
                  <a:lnTo>
                    <a:pt x="201" y="593"/>
                  </a:lnTo>
                  <a:lnTo>
                    <a:pt x="201" y="592"/>
                  </a:lnTo>
                  <a:lnTo>
                    <a:pt x="203" y="592"/>
                  </a:lnTo>
                  <a:lnTo>
                    <a:pt x="203" y="589"/>
                  </a:lnTo>
                  <a:lnTo>
                    <a:pt x="204" y="588"/>
                  </a:lnTo>
                  <a:lnTo>
                    <a:pt x="206" y="588"/>
                  </a:lnTo>
                  <a:lnTo>
                    <a:pt x="206" y="589"/>
                  </a:lnTo>
                  <a:lnTo>
                    <a:pt x="208" y="589"/>
                  </a:lnTo>
                  <a:lnTo>
                    <a:pt x="208" y="588"/>
                  </a:lnTo>
                  <a:lnTo>
                    <a:pt x="209" y="588"/>
                  </a:lnTo>
                  <a:lnTo>
                    <a:pt x="208" y="588"/>
                  </a:lnTo>
                  <a:lnTo>
                    <a:pt x="208" y="587"/>
                  </a:lnTo>
                  <a:lnTo>
                    <a:pt x="207" y="587"/>
                  </a:lnTo>
                  <a:lnTo>
                    <a:pt x="206" y="586"/>
                  </a:lnTo>
                  <a:lnTo>
                    <a:pt x="203" y="584"/>
                  </a:lnTo>
                  <a:lnTo>
                    <a:pt x="203" y="581"/>
                  </a:lnTo>
                  <a:lnTo>
                    <a:pt x="204" y="580"/>
                  </a:lnTo>
                  <a:lnTo>
                    <a:pt x="204" y="577"/>
                  </a:lnTo>
                  <a:lnTo>
                    <a:pt x="207" y="575"/>
                  </a:lnTo>
                  <a:lnTo>
                    <a:pt x="207" y="577"/>
                  </a:lnTo>
                  <a:lnTo>
                    <a:pt x="209" y="576"/>
                  </a:lnTo>
                  <a:lnTo>
                    <a:pt x="212" y="576"/>
                  </a:lnTo>
                  <a:lnTo>
                    <a:pt x="214" y="576"/>
                  </a:lnTo>
                  <a:lnTo>
                    <a:pt x="218" y="575"/>
                  </a:lnTo>
                  <a:lnTo>
                    <a:pt x="219" y="575"/>
                  </a:lnTo>
                  <a:lnTo>
                    <a:pt x="219" y="572"/>
                  </a:lnTo>
                  <a:lnTo>
                    <a:pt x="219" y="570"/>
                  </a:lnTo>
                  <a:lnTo>
                    <a:pt x="219" y="566"/>
                  </a:lnTo>
                  <a:lnTo>
                    <a:pt x="221" y="565"/>
                  </a:lnTo>
                  <a:lnTo>
                    <a:pt x="224" y="565"/>
                  </a:lnTo>
                  <a:lnTo>
                    <a:pt x="225" y="564"/>
                  </a:lnTo>
                  <a:lnTo>
                    <a:pt x="226" y="564"/>
                  </a:lnTo>
                  <a:lnTo>
                    <a:pt x="226" y="563"/>
                  </a:lnTo>
                  <a:lnTo>
                    <a:pt x="227" y="563"/>
                  </a:lnTo>
                  <a:lnTo>
                    <a:pt x="228" y="560"/>
                  </a:lnTo>
                  <a:lnTo>
                    <a:pt x="230" y="559"/>
                  </a:lnTo>
                  <a:lnTo>
                    <a:pt x="230" y="558"/>
                  </a:lnTo>
                  <a:lnTo>
                    <a:pt x="230" y="554"/>
                  </a:lnTo>
                  <a:lnTo>
                    <a:pt x="232" y="554"/>
                  </a:lnTo>
                  <a:lnTo>
                    <a:pt x="233" y="556"/>
                  </a:lnTo>
                  <a:lnTo>
                    <a:pt x="234" y="554"/>
                  </a:lnTo>
                  <a:lnTo>
                    <a:pt x="237" y="553"/>
                  </a:lnTo>
                  <a:lnTo>
                    <a:pt x="238" y="553"/>
                  </a:lnTo>
                  <a:lnTo>
                    <a:pt x="238" y="552"/>
                  </a:lnTo>
                  <a:lnTo>
                    <a:pt x="239" y="550"/>
                  </a:lnTo>
                  <a:lnTo>
                    <a:pt x="238" y="547"/>
                  </a:lnTo>
                  <a:lnTo>
                    <a:pt x="239" y="545"/>
                  </a:lnTo>
                  <a:lnTo>
                    <a:pt x="242" y="547"/>
                  </a:lnTo>
                  <a:lnTo>
                    <a:pt x="243" y="547"/>
                  </a:lnTo>
                  <a:lnTo>
                    <a:pt x="243" y="546"/>
                  </a:lnTo>
                  <a:lnTo>
                    <a:pt x="243" y="545"/>
                  </a:lnTo>
                  <a:lnTo>
                    <a:pt x="244" y="544"/>
                  </a:lnTo>
                  <a:lnTo>
                    <a:pt x="245" y="544"/>
                  </a:lnTo>
                  <a:lnTo>
                    <a:pt x="245" y="545"/>
                  </a:lnTo>
                  <a:lnTo>
                    <a:pt x="246" y="546"/>
                  </a:lnTo>
                  <a:lnTo>
                    <a:pt x="248" y="546"/>
                  </a:lnTo>
                  <a:lnTo>
                    <a:pt x="249" y="546"/>
                  </a:lnTo>
                  <a:lnTo>
                    <a:pt x="249" y="545"/>
                  </a:lnTo>
                  <a:lnTo>
                    <a:pt x="249" y="544"/>
                  </a:lnTo>
                  <a:lnTo>
                    <a:pt x="251" y="541"/>
                  </a:lnTo>
                  <a:lnTo>
                    <a:pt x="252" y="542"/>
                  </a:lnTo>
                  <a:lnTo>
                    <a:pt x="252" y="544"/>
                  </a:lnTo>
                  <a:lnTo>
                    <a:pt x="254" y="542"/>
                  </a:lnTo>
                  <a:lnTo>
                    <a:pt x="257" y="541"/>
                  </a:lnTo>
                  <a:lnTo>
                    <a:pt x="257" y="544"/>
                  </a:lnTo>
                  <a:lnTo>
                    <a:pt x="259" y="541"/>
                  </a:lnTo>
                  <a:lnTo>
                    <a:pt x="261" y="540"/>
                  </a:lnTo>
                  <a:lnTo>
                    <a:pt x="262" y="538"/>
                  </a:lnTo>
                  <a:lnTo>
                    <a:pt x="263" y="538"/>
                  </a:lnTo>
                  <a:lnTo>
                    <a:pt x="265" y="538"/>
                  </a:lnTo>
                  <a:lnTo>
                    <a:pt x="265" y="536"/>
                  </a:lnTo>
                  <a:lnTo>
                    <a:pt x="267" y="536"/>
                  </a:lnTo>
                  <a:lnTo>
                    <a:pt x="266" y="535"/>
                  </a:lnTo>
                  <a:lnTo>
                    <a:pt x="267" y="533"/>
                  </a:lnTo>
                  <a:lnTo>
                    <a:pt x="267" y="532"/>
                  </a:lnTo>
                  <a:lnTo>
                    <a:pt x="268" y="532"/>
                  </a:lnTo>
                  <a:lnTo>
                    <a:pt x="268" y="533"/>
                  </a:lnTo>
                  <a:lnTo>
                    <a:pt x="269" y="533"/>
                  </a:lnTo>
                  <a:lnTo>
                    <a:pt x="269" y="532"/>
                  </a:lnTo>
                  <a:lnTo>
                    <a:pt x="269" y="530"/>
                  </a:lnTo>
                  <a:lnTo>
                    <a:pt x="271" y="530"/>
                  </a:lnTo>
                  <a:lnTo>
                    <a:pt x="273" y="529"/>
                  </a:lnTo>
                  <a:lnTo>
                    <a:pt x="272" y="528"/>
                  </a:lnTo>
                  <a:lnTo>
                    <a:pt x="271" y="527"/>
                  </a:lnTo>
                  <a:lnTo>
                    <a:pt x="271" y="526"/>
                  </a:lnTo>
                  <a:lnTo>
                    <a:pt x="272" y="526"/>
                  </a:lnTo>
                  <a:lnTo>
                    <a:pt x="273" y="528"/>
                  </a:lnTo>
                  <a:lnTo>
                    <a:pt x="274" y="526"/>
                  </a:lnTo>
                  <a:lnTo>
                    <a:pt x="277" y="526"/>
                  </a:lnTo>
                  <a:lnTo>
                    <a:pt x="275" y="526"/>
                  </a:lnTo>
                  <a:lnTo>
                    <a:pt x="274" y="524"/>
                  </a:lnTo>
                  <a:lnTo>
                    <a:pt x="273" y="522"/>
                  </a:lnTo>
                  <a:lnTo>
                    <a:pt x="275" y="521"/>
                  </a:lnTo>
                  <a:lnTo>
                    <a:pt x="277" y="521"/>
                  </a:lnTo>
                  <a:lnTo>
                    <a:pt x="277" y="520"/>
                  </a:lnTo>
                  <a:lnTo>
                    <a:pt x="274" y="520"/>
                  </a:lnTo>
                  <a:lnTo>
                    <a:pt x="273" y="521"/>
                  </a:lnTo>
                  <a:lnTo>
                    <a:pt x="272" y="521"/>
                  </a:lnTo>
                  <a:lnTo>
                    <a:pt x="268" y="522"/>
                  </a:lnTo>
                  <a:lnTo>
                    <a:pt x="268" y="523"/>
                  </a:lnTo>
                  <a:lnTo>
                    <a:pt x="266" y="522"/>
                  </a:lnTo>
                  <a:lnTo>
                    <a:pt x="263" y="522"/>
                  </a:lnTo>
                  <a:lnTo>
                    <a:pt x="260" y="523"/>
                  </a:lnTo>
                  <a:lnTo>
                    <a:pt x="257" y="523"/>
                  </a:lnTo>
                  <a:lnTo>
                    <a:pt x="254" y="524"/>
                  </a:lnTo>
                  <a:lnTo>
                    <a:pt x="251" y="526"/>
                  </a:lnTo>
                  <a:lnTo>
                    <a:pt x="249" y="527"/>
                  </a:lnTo>
                  <a:lnTo>
                    <a:pt x="248" y="528"/>
                  </a:lnTo>
                  <a:lnTo>
                    <a:pt x="248" y="527"/>
                  </a:lnTo>
                  <a:lnTo>
                    <a:pt x="245" y="527"/>
                  </a:lnTo>
                  <a:lnTo>
                    <a:pt x="243" y="528"/>
                  </a:lnTo>
                  <a:lnTo>
                    <a:pt x="242" y="529"/>
                  </a:lnTo>
                  <a:lnTo>
                    <a:pt x="239" y="529"/>
                  </a:lnTo>
                  <a:lnTo>
                    <a:pt x="239" y="530"/>
                  </a:lnTo>
                  <a:lnTo>
                    <a:pt x="237" y="530"/>
                  </a:lnTo>
                  <a:lnTo>
                    <a:pt x="236" y="530"/>
                  </a:lnTo>
                  <a:lnTo>
                    <a:pt x="234" y="532"/>
                  </a:lnTo>
                  <a:lnTo>
                    <a:pt x="230" y="533"/>
                  </a:lnTo>
                  <a:lnTo>
                    <a:pt x="228" y="533"/>
                  </a:lnTo>
                  <a:lnTo>
                    <a:pt x="227" y="534"/>
                  </a:lnTo>
                  <a:lnTo>
                    <a:pt x="225" y="536"/>
                  </a:lnTo>
                  <a:lnTo>
                    <a:pt x="222" y="536"/>
                  </a:lnTo>
                  <a:lnTo>
                    <a:pt x="218" y="540"/>
                  </a:lnTo>
                  <a:lnTo>
                    <a:pt x="215" y="542"/>
                  </a:lnTo>
                  <a:lnTo>
                    <a:pt x="213" y="544"/>
                  </a:lnTo>
                  <a:lnTo>
                    <a:pt x="210" y="545"/>
                  </a:lnTo>
                  <a:lnTo>
                    <a:pt x="209" y="547"/>
                  </a:lnTo>
                  <a:lnTo>
                    <a:pt x="209" y="548"/>
                  </a:lnTo>
                  <a:lnTo>
                    <a:pt x="210" y="547"/>
                  </a:lnTo>
                  <a:lnTo>
                    <a:pt x="210" y="546"/>
                  </a:lnTo>
                  <a:lnTo>
                    <a:pt x="213" y="547"/>
                  </a:lnTo>
                  <a:lnTo>
                    <a:pt x="215" y="548"/>
                  </a:lnTo>
                  <a:lnTo>
                    <a:pt x="215" y="550"/>
                  </a:lnTo>
                  <a:lnTo>
                    <a:pt x="214" y="550"/>
                  </a:lnTo>
                  <a:lnTo>
                    <a:pt x="213" y="550"/>
                  </a:lnTo>
                  <a:lnTo>
                    <a:pt x="214" y="550"/>
                  </a:lnTo>
                  <a:lnTo>
                    <a:pt x="216" y="551"/>
                  </a:lnTo>
                  <a:lnTo>
                    <a:pt x="216" y="552"/>
                  </a:lnTo>
                  <a:lnTo>
                    <a:pt x="218" y="552"/>
                  </a:lnTo>
                  <a:lnTo>
                    <a:pt x="218" y="553"/>
                  </a:lnTo>
                  <a:lnTo>
                    <a:pt x="216" y="553"/>
                  </a:lnTo>
                  <a:lnTo>
                    <a:pt x="218" y="554"/>
                  </a:lnTo>
                  <a:lnTo>
                    <a:pt x="216" y="554"/>
                  </a:lnTo>
                  <a:lnTo>
                    <a:pt x="215" y="554"/>
                  </a:lnTo>
                  <a:lnTo>
                    <a:pt x="215" y="556"/>
                  </a:lnTo>
                  <a:lnTo>
                    <a:pt x="215" y="557"/>
                  </a:lnTo>
                  <a:lnTo>
                    <a:pt x="214" y="557"/>
                  </a:lnTo>
                  <a:lnTo>
                    <a:pt x="214" y="558"/>
                  </a:lnTo>
                  <a:lnTo>
                    <a:pt x="216" y="558"/>
                  </a:lnTo>
                  <a:lnTo>
                    <a:pt x="218" y="559"/>
                  </a:lnTo>
                  <a:lnTo>
                    <a:pt x="219" y="560"/>
                  </a:lnTo>
                  <a:lnTo>
                    <a:pt x="216" y="560"/>
                  </a:lnTo>
                  <a:lnTo>
                    <a:pt x="218" y="563"/>
                  </a:lnTo>
                  <a:lnTo>
                    <a:pt x="218" y="564"/>
                  </a:lnTo>
                  <a:lnTo>
                    <a:pt x="218" y="565"/>
                  </a:lnTo>
                  <a:lnTo>
                    <a:pt x="216" y="565"/>
                  </a:lnTo>
                  <a:lnTo>
                    <a:pt x="216" y="566"/>
                  </a:lnTo>
                  <a:lnTo>
                    <a:pt x="218" y="568"/>
                  </a:lnTo>
                  <a:lnTo>
                    <a:pt x="215" y="568"/>
                  </a:lnTo>
                  <a:lnTo>
                    <a:pt x="214" y="568"/>
                  </a:lnTo>
                  <a:lnTo>
                    <a:pt x="213" y="569"/>
                  </a:lnTo>
                  <a:lnTo>
                    <a:pt x="213" y="570"/>
                  </a:lnTo>
                  <a:lnTo>
                    <a:pt x="210" y="570"/>
                  </a:lnTo>
                  <a:lnTo>
                    <a:pt x="210" y="568"/>
                  </a:lnTo>
                  <a:lnTo>
                    <a:pt x="209" y="566"/>
                  </a:lnTo>
                  <a:lnTo>
                    <a:pt x="208" y="565"/>
                  </a:lnTo>
                  <a:lnTo>
                    <a:pt x="206" y="566"/>
                  </a:lnTo>
                  <a:lnTo>
                    <a:pt x="204" y="568"/>
                  </a:lnTo>
                  <a:lnTo>
                    <a:pt x="204" y="569"/>
                  </a:lnTo>
                  <a:lnTo>
                    <a:pt x="204" y="572"/>
                  </a:lnTo>
                  <a:lnTo>
                    <a:pt x="204" y="575"/>
                  </a:lnTo>
                  <a:lnTo>
                    <a:pt x="203" y="576"/>
                  </a:lnTo>
                  <a:lnTo>
                    <a:pt x="203" y="578"/>
                  </a:lnTo>
                  <a:lnTo>
                    <a:pt x="202" y="578"/>
                  </a:lnTo>
                  <a:lnTo>
                    <a:pt x="201" y="581"/>
                  </a:lnTo>
                  <a:lnTo>
                    <a:pt x="198" y="581"/>
                  </a:lnTo>
                  <a:lnTo>
                    <a:pt x="200" y="581"/>
                  </a:lnTo>
                  <a:lnTo>
                    <a:pt x="198" y="583"/>
                  </a:lnTo>
                  <a:lnTo>
                    <a:pt x="197" y="584"/>
                  </a:lnTo>
                  <a:lnTo>
                    <a:pt x="196" y="586"/>
                  </a:lnTo>
                  <a:lnTo>
                    <a:pt x="195" y="586"/>
                  </a:lnTo>
                  <a:lnTo>
                    <a:pt x="195" y="584"/>
                  </a:lnTo>
                  <a:lnTo>
                    <a:pt x="192" y="584"/>
                  </a:lnTo>
                  <a:lnTo>
                    <a:pt x="192" y="587"/>
                  </a:lnTo>
                  <a:lnTo>
                    <a:pt x="191" y="587"/>
                  </a:lnTo>
                  <a:lnTo>
                    <a:pt x="190" y="588"/>
                  </a:lnTo>
                  <a:lnTo>
                    <a:pt x="189" y="588"/>
                  </a:lnTo>
                  <a:lnTo>
                    <a:pt x="189" y="587"/>
                  </a:lnTo>
                  <a:lnTo>
                    <a:pt x="187" y="587"/>
                  </a:lnTo>
                  <a:lnTo>
                    <a:pt x="187" y="588"/>
                  </a:lnTo>
                  <a:lnTo>
                    <a:pt x="185" y="588"/>
                  </a:lnTo>
                  <a:lnTo>
                    <a:pt x="184" y="587"/>
                  </a:lnTo>
                  <a:lnTo>
                    <a:pt x="183" y="587"/>
                  </a:lnTo>
                  <a:lnTo>
                    <a:pt x="181" y="584"/>
                  </a:lnTo>
                  <a:lnTo>
                    <a:pt x="183" y="582"/>
                  </a:lnTo>
                  <a:lnTo>
                    <a:pt x="184" y="582"/>
                  </a:lnTo>
                  <a:lnTo>
                    <a:pt x="184" y="581"/>
                  </a:lnTo>
                  <a:lnTo>
                    <a:pt x="184" y="582"/>
                  </a:lnTo>
                  <a:lnTo>
                    <a:pt x="184" y="580"/>
                  </a:lnTo>
                  <a:lnTo>
                    <a:pt x="185" y="580"/>
                  </a:lnTo>
                  <a:lnTo>
                    <a:pt x="185" y="578"/>
                  </a:lnTo>
                  <a:lnTo>
                    <a:pt x="185" y="576"/>
                  </a:lnTo>
                  <a:lnTo>
                    <a:pt x="181" y="575"/>
                  </a:lnTo>
                  <a:lnTo>
                    <a:pt x="181" y="574"/>
                  </a:lnTo>
                  <a:lnTo>
                    <a:pt x="180" y="574"/>
                  </a:lnTo>
                  <a:lnTo>
                    <a:pt x="179" y="574"/>
                  </a:lnTo>
                  <a:lnTo>
                    <a:pt x="178" y="572"/>
                  </a:lnTo>
                  <a:lnTo>
                    <a:pt x="177" y="574"/>
                  </a:lnTo>
                  <a:lnTo>
                    <a:pt x="175" y="574"/>
                  </a:lnTo>
                  <a:lnTo>
                    <a:pt x="175" y="575"/>
                  </a:lnTo>
                  <a:lnTo>
                    <a:pt x="174" y="576"/>
                  </a:lnTo>
                  <a:lnTo>
                    <a:pt x="173" y="577"/>
                  </a:lnTo>
                  <a:lnTo>
                    <a:pt x="172" y="577"/>
                  </a:lnTo>
                  <a:lnTo>
                    <a:pt x="171" y="580"/>
                  </a:lnTo>
                  <a:lnTo>
                    <a:pt x="171" y="582"/>
                  </a:lnTo>
                  <a:lnTo>
                    <a:pt x="171" y="583"/>
                  </a:lnTo>
                  <a:lnTo>
                    <a:pt x="171" y="584"/>
                  </a:lnTo>
                  <a:lnTo>
                    <a:pt x="169" y="586"/>
                  </a:lnTo>
                  <a:lnTo>
                    <a:pt x="168" y="586"/>
                  </a:lnTo>
                  <a:lnTo>
                    <a:pt x="167" y="587"/>
                  </a:lnTo>
                  <a:lnTo>
                    <a:pt x="165" y="590"/>
                  </a:lnTo>
                  <a:lnTo>
                    <a:pt x="165" y="592"/>
                  </a:lnTo>
                  <a:lnTo>
                    <a:pt x="166" y="594"/>
                  </a:lnTo>
                  <a:lnTo>
                    <a:pt x="163" y="596"/>
                  </a:lnTo>
                  <a:lnTo>
                    <a:pt x="161" y="596"/>
                  </a:lnTo>
                  <a:lnTo>
                    <a:pt x="160" y="598"/>
                  </a:lnTo>
                  <a:lnTo>
                    <a:pt x="159" y="599"/>
                  </a:lnTo>
                  <a:lnTo>
                    <a:pt x="155" y="599"/>
                  </a:lnTo>
                  <a:lnTo>
                    <a:pt x="153" y="598"/>
                  </a:lnTo>
                  <a:lnTo>
                    <a:pt x="153" y="596"/>
                  </a:lnTo>
                  <a:lnTo>
                    <a:pt x="153" y="595"/>
                  </a:lnTo>
                  <a:lnTo>
                    <a:pt x="151" y="595"/>
                  </a:lnTo>
                  <a:lnTo>
                    <a:pt x="149" y="594"/>
                  </a:lnTo>
                  <a:lnTo>
                    <a:pt x="149" y="593"/>
                  </a:lnTo>
                  <a:lnTo>
                    <a:pt x="148" y="592"/>
                  </a:lnTo>
                  <a:lnTo>
                    <a:pt x="147" y="595"/>
                  </a:lnTo>
                  <a:lnTo>
                    <a:pt x="144" y="595"/>
                  </a:lnTo>
                  <a:lnTo>
                    <a:pt x="143" y="595"/>
                  </a:lnTo>
                  <a:lnTo>
                    <a:pt x="143" y="596"/>
                  </a:lnTo>
                  <a:lnTo>
                    <a:pt x="142" y="599"/>
                  </a:lnTo>
                  <a:lnTo>
                    <a:pt x="142" y="601"/>
                  </a:lnTo>
                  <a:lnTo>
                    <a:pt x="143" y="603"/>
                  </a:lnTo>
                  <a:lnTo>
                    <a:pt x="141" y="603"/>
                  </a:lnTo>
                  <a:lnTo>
                    <a:pt x="141" y="604"/>
                  </a:lnTo>
                  <a:lnTo>
                    <a:pt x="142" y="605"/>
                  </a:lnTo>
                  <a:lnTo>
                    <a:pt x="143" y="605"/>
                  </a:lnTo>
                  <a:lnTo>
                    <a:pt x="141" y="605"/>
                  </a:lnTo>
                  <a:lnTo>
                    <a:pt x="143" y="606"/>
                  </a:lnTo>
                  <a:lnTo>
                    <a:pt x="141" y="607"/>
                  </a:lnTo>
                  <a:lnTo>
                    <a:pt x="139" y="607"/>
                  </a:lnTo>
                  <a:lnTo>
                    <a:pt x="137" y="606"/>
                  </a:lnTo>
                  <a:lnTo>
                    <a:pt x="136" y="607"/>
                  </a:lnTo>
                  <a:lnTo>
                    <a:pt x="138" y="610"/>
                  </a:lnTo>
                  <a:lnTo>
                    <a:pt x="136" y="610"/>
                  </a:lnTo>
                  <a:lnTo>
                    <a:pt x="134" y="611"/>
                  </a:lnTo>
                  <a:lnTo>
                    <a:pt x="134" y="610"/>
                  </a:lnTo>
                  <a:lnTo>
                    <a:pt x="131" y="611"/>
                  </a:lnTo>
                  <a:lnTo>
                    <a:pt x="128" y="610"/>
                  </a:lnTo>
                  <a:lnTo>
                    <a:pt x="133" y="607"/>
                  </a:lnTo>
                  <a:lnTo>
                    <a:pt x="131" y="606"/>
                  </a:lnTo>
                  <a:lnTo>
                    <a:pt x="130" y="606"/>
                  </a:lnTo>
                  <a:lnTo>
                    <a:pt x="128" y="605"/>
                  </a:lnTo>
                  <a:lnTo>
                    <a:pt x="127" y="607"/>
                  </a:lnTo>
                  <a:lnTo>
                    <a:pt x="126" y="609"/>
                  </a:lnTo>
                  <a:lnTo>
                    <a:pt x="125" y="610"/>
                  </a:lnTo>
                  <a:lnTo>
                    <a:pt x="124" y="612"/>
                  </a:lnTo>
                  <a:lnTo>
                    <a:pt x="120" y="612"/>
                  </a:lnTo>
                  <a:lnTo>
                    <a:pt x="121" y="615"/>
                  </a:lnTo>
                  <a:lnTo>
                    <a:pt x="120" y="616"/>
                  </a:lnTo>
                  <a:lnTo>
                    <a:pt x="119" y="617"/>
                  </a:lnTo>
                  <a:lnTo>
                    <a:pt x="121" y="618"/>
                  </a:lnTo>
                  <a:lnTo>
                    <a:pt x="122" y="618"/>
                  </a:lnTo>
                  <a:lnTo>
                    <a:pt x="122" y="621"/>
                  </a:lnTo>
                  <a:lnTo>
                    <a:pt x="118" y="622"/>
                  </a:lnTo>
                  <a:lnTo>
                    <a:pt x="118" y="624"/>
                  </a:lnTo>
                  <a:lnTo>
                    <a:pt x="116" y="627"/>
                  </a:lnTo>
                  <a:lnTo>
                    <a:pt x="115" y="629"/>
                  </a:lnTo>
                  <a:lnTo>
                    <a:pt x="114" y="629"/>
                  </a:lnTo>
                  <a:lnTo>
                    <a:pt x="113" y="628"/>
                  </a:lnTo>
                  <a:lnTo>
                    <a:pt x="110" y="627"/>
                  </a:lnTo>
                  <a:lnTo>
                    <a:pt x="109" y="625"/>
                  </a:lnTo>
                  <a:lnTo>
                    <a:pt x="108" y="625"/>
                  </a:lnTo>
                  <a:lnTo>
                    <a:pt x="107" y="624"/>
                  </a:lnTo>
                  <a:lnTo>
                    <a:pt x="106" y="623"/>
                  </a:lnTo>
                  <a:lnTo>
                    <a:pt x="108" y="622"/>
                  </a:lnTo>
                  <a:lnTo>
                    <a:pt x="107" y="621"/>
                  </a:lnTo>
                  <a:lnTo>
                    <a:pt x="104" y="621"/>
                  </a:lnTo>
                  <a:lnTo>
                    <a:pt x="100" y="622"/>
                  </a:lnTo>
                  <a:lnTo>
                    <a:pt x="100" y="624"/>
                  </a:lnTo>
                  <a:lnTo>
                    <a:pt x="100" y="625"/>
                  </a:lnTo>
                  <a:lnTo>
                    <a:pt x="98" y="625"/>
                  </a:lnTo>
                  <a:lnTo>
                    <a:pt x="97" y="623"/>
                  </a:lnTo>
                  <a:lnTo>
                    <a:pt x="96" y="622"/>
                  </a:lnTo>
                  <a:lnTo>
                    <a:pt x="94" y="623"/>
                  </a:lnTo>
                  <a:lnTo>
                    <a:pt x="92" y="623"/>
                  </a:lnTo>
                  <a:lnTo>
                    <a:pt x="90" y="623"/>
                  </a:lnTo>
                  <a:lnTo>
                    <a:pt x="89" y="622"/>
                  </a:lnTo>
                  <a:lnTo>
                    <a:pt x="88" y="619"/>
                  </a:lnTo>
                  <a:lnTo>
                    <a:pt x="86" y="619"/>
                  </a:lnTo>
                  <a:lnTo>
                    <a:pt x="86" y="621"/>
                  </a:lnTo>
                  <a:lnTo>
                    <a:pt x="84" y="618"/>
                  </a:lnTo>
                  <a:lnTo>
                    <a:pt x="85" y="618"/>
                  </a:lnTo>
                  <a:lnTo>
                    <a:pt x="85" y="617"/>
                  </a:lnTo>
                  <a:lnTo>
                    <a:pt x="85" y="615"/>
                  </a:lnTo>
                  <a:lnTo>
                    <a:pt x="83" y="615"/>
                  </a:lnTo>
                  <a:lnTo>
                    <a:pt x="82" y="613"/>
                  </a:lnTo>
                  <a:lnTo>
                    <a:pt x="77" y="611"/>
                  </a:lnTo>
                  <a:lnTo>
                    <a:pt x="77" y="610"/>
                  </a:lnTo>
                  <a:lnTo>
                    <a:pt x="78" y="609"/>
                  </a:lnTo>
                  <a:lnTo>
                    <a:pt x="85" y="609"/>
                  </a:lnTo>
                  <a:lnTo>
                    <a:pt x="84" y="607"/>
                  </a:lnTo>
                  <a:lnTo>
                    <a:pt x="84" y="606"/>
                  </a:lnTo>
                  <a:lnTo>
                    <a:pt x="83" y="605"/>
                  </a:lnTo>
                  <a:lnTo>
                    <a:pt x="80" y="605"/>
                  </a:lnTo>
                  <a:lnTo>
                    <a:pt x="80" y="604"/>
                  </a:lnTo>
                  <a:lnTo>
                    <a:pt x="80" y="603"/>
                  </a:lnTo>
                  <a:lnTo>
                    <a:pt x="78" y="600"/>
                  </a:lnTo>
                  <a:lnTo>
                    <a:pt x="77" y="599"/>
                  </a:lnTo>
                  <a:lnTo>
                    <a:pt x="75" y="598"/>
                  </a:lnTo>
                  <a:lnTo>
                    <a:pt x="75" y="596"/>
                  </a:lnTo>
                  <a:lnTo>
                    <a:pt x="77" y="595"/>
                  </a:lnTo>
                  <a:lnTo>
                    <a:pt x="79" y="595"/>
                  </a:lnTo>
                  <a:lnTo>
                    <a:pt x="80" y="595"/>
                  </a:lnTo>
                  <a:lnTo>
                    <a:pt x="80" y="596"/>
                  </a:lnTo>
                  <a:lnTo>
                    <a:pt x="83" y="595"/>
                  </a:lnTo>
                  <a:lnTo>
                    <a:pt x="84" y="594"/>
                  </a:lnTo>
                  <a:lnTo>
                    <a:pt x="88" y="594"/>
                  </a:lnTo>
                  <a:lnTo>
                    <a:pt x="88" y="593"/>
                  </a:lnTo>
                  <a:lnTo>
                    <a:pt x="90" y="593"/>
                  </a:lnTo>
                  <a:lnTo>
                    <a:pt x="90" y="590"/>
                  </a:lnTo>
                  <a:lnTo>
                    <a:pt x="88" y="592"/>
                  </a:lnTo>
                  <a:lnTo>
                    <a:pt x="86" y="592"/>
                  </a:lnTo>
                  <a:lnTo>
                    <a:pt x="85" y="592"/>
                  </a:lnTo>
                  <a:lnTo>
                    <a:pt x="85" y="590"/>
                  </a:lnTo>
                  <a:lnTo>
                    <a:pt x="84" y="588"/>
                  </a:lnTo>
                  <a:lnTo>
                    <a:pt x="82" y="586"/>
                  </a:lnTo>
                  <a:lnTo>
                    <a:pt x="80" y="584"/>
                  </a:lnTo>
                  <a:lnTo>
                    <a:pt x="83" y="584"/>
                  </a:lnTo>
                  <a:lnTo>
                    <a:pt x="84" y="582"/>
                  </a:lnTo>
                  <a:lnTo>
                    <a:pt x="85" y="584"/>
                  </a:lnTo>
                  <a:lnTo>
                    <a:pt x="86" y="583"/>
                  </a:lnTo>
                  <a:lnTo>
                    <a:pt x="89" y="583"/>
                  </a:lnTo>
                  <a:lnTo>
                    <a:pt x="90" y="583"/>
                  </a:lnTo>
                  <a:lnTo>
                    <a:pt x="91" y="584"/>
                  </a:lnTo>
                  <a:lnTo>
                    <a:pt x="92" y="584"/>
                  </a:lnTo>
                  <a:lnTo>
                    <a:pt x="90" y="581"/>
                  </a:lnTo>
                  <a:lnTo>
                    <a:pt x="90" y="580"/>
                  </a:lnTo>
                  <a:lnTo>
                    <a:pt x="90" y="578"/>
                  </a:lnTo>
                  <a:lnTo>
                    <a:pt x="91" y="577"/>
                  </a:lnTo>
                  <a:lnTo>
                    <a:pt x="95" y="578"/>
                  </a:lnTo>
                  <a:lnTo>
                    <a:pt x="97" y="580"/>
                  </a:lnTo>
                  <a:lnTo>
                    <a:pt x="98" y="578"/>
                  </a:lnTo>
                  <a:lnTo>
                    <a:pt x="98" y="576"/>
                  </a:lnTo>
                  <a:lnTo>
                    <a:pt x="100" y="574"/>
                  </a:lnTo>
                  <a:lnTo>
                    <a:pt x="100" y="571"/>
                  </a:lnTo>
                  <a:lnTo>
                    <a:pt x="100" y="570"/>
                  </a:lnTo>
                  <a:lnTo>
                    <a:pt x="102" y="569"/>
                  </a:lnTo>
                  <a:lnTo>
                    <a:pt x="104" y="569"/>
                  </a:lnTo>
                  <a:lnTo>
                    <a:pt x="104" y="568"/>
                  </a:lnTo>
                  <a:lnTo>
                    <a:pt x="104" y="566"/>
                  </a:lnTo>
                  <a:lnTo>
                    <a:pt x="107" y="568"/>
                  </a:lnTo>
                  <a:lnTo>
                    <a:pt x="108" y="569"/>
                  </a:lnTo>
                  <a:lnTo>
                    <a:pt x="109" y="569"/>
                  </a:lnTo>
                  <a:lnTo>
                    <a:pt x="109" y="563"/>
                  </a:lnTo>
                  <a:lnTo>
                    <a:pt x="107" y="562"/>
                  </a:lnTo>
                  <a:lnTo>
                    <a:pt x="104" y="559"/>
                  </a:lnTo>
                  <a:lnTo>
                    <a:pt x="103" y="556"/>
                  </a:lnTo>
                  <a:lnTo>
                    <a:pt x="103" y="554"/>
                  </a:lnTo>
                  <a:lnTo>
                    <a:pt x="104" y="554"/>
                  </a:lnTo>
                  <a:lnTo>
                    <a:pt x="106" y="554"/>
                  </a:lnTo>
                  <a:lnTo>
                    <a:pt x="107" y="553"/>
                  </a:lnTo>
                  <a:lnTo>
                    <a:pt x="107" y="552"/>
                  </a:lnTo>
                  <a:lnTo>
                    <a:pt x="108" y="553"/>
                  </a:lnTo>
                  <a:lnTo>
                    <a:pt x="108" y="554"/>
                  </a:lnTo>
                  <a:lnTo>
                    <a:pt x="110" y="554"/>
                  </a:lnTo>
                  <a:lnTo>
                    <a:pt x="113" y="552"/>
                  </a:lnTo>
                  <a:lnTo>
                    <a:pt x="114" y="553"/>
                  </a:lnTo>
                  <a:lnTo>
                    <a:pt x="115" y="553"/>
                  </a:lnTo>
                  <a:lnTo>
                    <a:pt x="116" y="551"/>
                  </a:lnTo>
                  <a:lnTo>
                    <a:pt x="118" y="550"/>
                  </a:lnTo>
                  <a:lnTo>
                    <a:pt x="121" y="550"/>
                  </a:lnTo>
                  <a:lnTo>
                    <a:pt x="124" y="547"/>
                  </a:lnTo>
                  <a:lnTo>
                    <a:pt x="126" y="547"/>
                  </a:lnTo>
                  <a:lnTo>
                    <a:pt x="125" y="546"/>
                  </a:lnTo>
                  <a:lnTo>
                    <a:pt x="125" y="545"/>
                  </a:lnTo>
                  <a:lnTo>
                    <a:pt x="125" y="544"/>
                  </a:lnTo>
                  <a:lnTo>
                    <a:pt x="124" y="542"/>
                  </a:lnTo>
                  <a:lnTo>
                    <a:pt x="121" y="541"/>
                  </a:lnTo>
                  <a:lnTo>
                    <a:pt x="121" y="539"/>
                  </a:lnTo>
                  <a:lnTo>
                    <a:pt x="121" y="538"/>
                  </a:lnTo>
                  <a:lnTo>
                    <a:pt x="122" y="538"/>
                  </a:lnTo>
                  <a:lnTo>
                    <a:pt x="124" y="538"/>
                  </a:lnTo>
                  <a:lnTo>
                    <a:pt x="125" y="538"/>
                  </a:lnTo>
                  <a:lnTo>
                    <a:pt x="127" y="538"/>
                  </a:lnTo>
                  <a:lnTo>
                    <a:pt x="128" y="538"/>
                  </a:lnTo>
                  <a:lnTo>
                    <a:pt x="130" y="539"/>
                  </a:lnTo>
                  <a:lnTo>
                    <a:pt x="130" y="538"/>
                  </a:lnTo>
                  <a:lnTo>
                    <a:pt x="131" y="538"/>
                  </a:lnTo>
                  <a:lnTo>
                    <a:pt x="132" y="538"/>
                  </a:lnTo>
                  <a:lnTo>
                    <a:pt x="132" y="536"/>
                  </a:lnTo>
                  <a:lnTo>
                    <a:pt x="133" y="535"/>
                  </a:lnTo>
                  <a:lnTo>
                    <a:pt x="134" y="535"/>
                  </a:lnTo>
                  <a:lnTo>
                    <a:pt x="136" y="538"/>
                  </a:lnTo>
                  <a:lnTo>
                    <a:pt x="137" y="538"/>
                  </a:lnTo>
                  <a:lnTo>
                    <a:pt x="139" y="538"/>
                  </a:lnTo>
                  <a:lnTo>
                    <a:pt x="139" y="541"/>
                  </a:lnTo>
                  <a:lnTo>
                    <a:pt x="139" y="539"/>
                  </a:lnTo>
                  <a:lnTo>
                    <a:pt x="143" y="536"/>
                  </a:lnTo>
                  <a:lnTo>
                    <a:pt x="142" y="535"/>
                  </a:lnTo>
                  <a:lnTo>
                    <a:pt x="143" y="534"/>
                  </a:lnTo>
                  <a:lnTo>
                    <a:pt x="144" y="533"/>
                  </a:lnTo>
                  <a:lnTo>
                    <a:pt x="145" y="533"/>
                  </a:lnTo>
                  <a:lnTo>
                    <a:pt x="145" y="532"/>
                  </a:lnTo>
                  <a:lnTo>
                    <a:pt x="144" y="530"/>
                  </a:lnTo>
                  <a:lnTo>
                    <a:pt x="144" y="528"/>
                  </a:lnTo>
                  <a:lnTo>
                    <a:pt x="145" y="527"/>
                  </a:lnTo>
                  <a:lnTo>
                    <a:pt x="147" y="526"/>
                  </a:lnTo>
                  <a:lnTo>
                    <a:pt x="148" y="524"/>
                  </a:lnTo>
                  <a:lnTo>
                    <a:pt x="149" y="522"/>
                  </a:lnTo>
                  <a:lnTo>
                    <a:pt x="150" y="520"/>
                  </a:lnTo>
                  <a:lnTo>
                    <a:pt x="151" y="518"/>
                  </a:lnTo>
                  <a:lnTo>
                    <a:pt x="151" y="517"/>
                  </a:lnTo>
                  <a:lnTo>
                    <a:pt x="155" y="517"/>
                  </a:lnTo>
                  <a:lnTo>
                    <a:pt x="155" y="514"/>
                  </a:lnTo>
                  <a:lnTo>
                    <a:pt x="156" y="512"/>
                  </a:lnTo>
                  <a:lnTo>
                    <a:pt x="157" y="510"/>
                  </a:lnTo>
                  <a:lnTo>
                    <a:pt x="159" y="510"/>
                  </a:lnTo>
                  <a:lnTo>
                    <a:pt x="159" y="508"/>
                  </a:lnTo>
                  <a:lnTo>
                    <a:pt x="162" y="508"/>
                  </a:lnTo>
                  <a:lnTo>
                    <a:pt x="162" y="506"/>
                  </a:lnTo>
                  <a:lnTo>
                    <a:pt x="160" y="505"/>
                  </a:lnTo>
                  <a:lnTo>
                    <a:pt x="160" y="503"/>
                  </a:lnTo>
                  <a:lnTo>
                    <a:pt x="161" y="503"/>
                  </a:lnTo>
                  <a:lnTo>
                    <a:pt x="161" y="502"/>
                  </a:lnTo>
                  <a:lnTo>
                    <a:pt x="159" y="503"/>
                  </a:lnTo>
                  <a:lnTo>
                    <a:pt x="156" y="502"/>
                  </a:lnTo>
                  <a:lnTo>
                    <a:pt x="157" y="500"/>
                  </a:lnTo>
                  <a:lnTo>
                    <a:pt x="159" y="498"/>
                  </a:lnTo>
                  <a:lnTo>
                    <a:pt x="160" y="497"/>
                  </a:lnTo>
                  <a:lnTo>
                    <a:pt x="157" y="496"/>
                  </a:lnTo>
                  <a:lnTo>
                    <a:pt x="155" y="496"/>
                  </a:lnTo>
                  <a:lnTo>
                    <a:pt x="155" y="493"/>
                  </a:lnTo>
                  <a:lnTo>
                    <a:pt x="153" y="492"/>
                  </a:lnTo>
                  <a:lnTo>
                    <a:pt x="151" y="492"/>
                  </a:lnTo>
                  <a:lnTo>
                    <a:pt x="147" y="491"/>
                  </a:lnTo>
                  <a:lnTo>
                    <a:pt x="148" y="488"/>
                  </a:lnTo>
                  <a:lnTo>
                    <a:pt x="145" y="486"/>
                  </a:lnTo>
                  <a:lnTo>
                    <a:pt x="144" y="486"/>
                  </a:lnTo>
                  <a:lnTo>
                    <a:pt x="144" y="485"/>
                  </a:lnTo>
                  <a:lnTo>
                    <a:pt x="142" y="485"/>
                  </a:lnTo>
                  <a:lnTo>
                    <a:pt x="139" y="485"/>
                  </a:lnTo>
                  <a:lnTo>
                    <a:pt x="137" y="483"/>
                  </a:lnTo>
                  <a:lnTo>
                    <a:pt x="137" y="482"/>
                  </a:lnTo>
                  <a:lnTo>
                    <a:pt x="136" y="481"/>
                  </a:lnTo>
                  <a:lnTo>
                    <a:pt x="136" y="480"/>
                  </a:lnTo>
                  <a:lnTo>
                    <a:pt x="137" y="479"/>
                  </a:lnTo>
                  <a:lnTo>
                    <a:pt x="139" y="479"/>
                  </a:lnTo>
                  <a:lnTo>
                    <a:pt x="139" y="477"/>
                  </a:lnTo>
                  <a:lnTo>
                    <a:pt x="138" y="477"/>
                  </a:lnTo>
                  <a:lnTo>
                    <a:pt x="137" y="477"/>
                  </a:lnTo>
                  <a:lnTo>
                    <a:pt x="136" y="479"/>
                  </a:lnTo>
                  <a:lnTo>
                    <a:pt x="134" y="477"/>
                  </a:lnTo>
                  <a:lnTo>
                    <a:pt x="133" y="476"/>
                  </a:lnTo>
                  <a:lnTo>
                    <a:pt x="132" y="476"/>
                  </a:lnTo>
                  <a:lnTo>
                    <a:pt x="132" y="479"/>
                  </a:lnTo>
                  <a:lnTo>
                    <a:pt x="132" y="480"/>
                  </a:lnTo>
                  <a:lnTo>
                    <a:pt x="131" y="482"/>
                  </a:lnTo>
                  <a:lnTo>
                    <a:pt x="133" y="482"/>
                  </a:lnTo>
                  <a:lnTo>
                    <a:pt x="132" y="485"/>
                  </a:lnTo>
                  <a:lnTo>
                    <a:pt x="130" y="486"/>
                  </a:lnTo>
                  <a:lnTo>
                    <a:pt x="132" y="485"/>
                  </a:lnTo>
                  <a:lnTo>
                    <a:pt x="132" y="487"/>
                  </a:lnTo>
                  <a:lnTo>
                    <a:pt x="130" y="488"/>
                  </a:lnTo>
                  <a:lnTo>
                    <a:pt x="131" y="488"/>
                  </a:lnTo>
                  <a:lnTo>
                    <a:pt x="130" y="489"/>
                  </a:lnTo>
                  <a:lnTo>
                    <a:pt x="128" y="491"/>
                  </a:lnTo>
                  <a:lnTo>
                    <a:pt x="127" y="491"/>
                  </a:lnTo>
                  <a:lnTo>
                    <a:pt x="126" y="494"/>
                  </a:lnTo>
                  <a:lnTo>
                    <a:pt x="125" y="496"/>
                  </a:lnTo>
                  <a:lnTo>
                    <a:pt x="122" y="494"/>
                  </a:lnTo>
                  <a:lnTo>
                    <a:pt x="122" y="496"/>
                  </a:lnTo>
                  <a:lnTo>
                    <a:pt x="121" y="494"/>
                  </a:lnTo>
                  <a:lnTo>
                    <a:pt x="118" y="496"/>
                  </a:lnTo>
                  <a:lnTo>
                    <a:pt x="116" y="494"/>
                  </a:lnTo>
                  <a:lnTo>
                    <a:pt x="115" y="496"/>
                  </a:lnTo>
                  <a:lnTo>
                    <a:pt x="114" y="498"/>
                  </a:lnTo>
                  <a:lnTo>
                    <a:pt x="113" y="499"/>
                  </a:lnTo>
                  <a:lnTo>
                    <a:pt x="113" y="500"/>
                  </a:lnTo>
                  <a:lnTo>
                    <a:pt x="112" y="500"/>
                  </a:lnTo>
                  <a:lnTo>
                    <a:pt x="110" y="500"/>
                  </a:lnTo>
                  <a:lnTo>
                    <a:pt x="108" y="502"/>
                  </a:lnTo>
                  <a:lnTo>
                    <a:pt x="103" y="503"/>
                  </a:lnTo>
                  <a:lnTo>
                    <a:pt x="101" y="506"/>
                  </a:lnTo>
                  <a:lnTo>
                    <a:pt x="100" y="504"/>
                  </a:lnTo>
                  <a:lnTo>
                    <a:pt x="98" y="506"/>
                  </a:lnTo>
                  <a:lnTo>
                    <a:pt x="97" y="506"/>
                  </a:lnTo>
                  <a:lnTo>
                    <a:pt x="96" y="508"/>
                  </a:lnTo>
                  <a:lnTo>
                    <a:pt x="94" y="508"/>
                  </a:lnTo>
                  <a:lnTo>
                    <a:pt x="91" y="509"/>
                  </a:lnTo>
                  <a:lnTo>
                    <a:pt x="89" y="508"/>
                  </a:lnTo>
                  <a:lnTo>
                    <a:pt x="86" y="509"/>
                  </a:lnTo>
                  <a:lnTo>
                    <a:pt x="86" y="508"/>
                  </a:lnTo>
                  <a:lnTo>
                    <a:pt x="85" y="508"/>
                  </a:lnTo>
                  <a:lnTo>
                    <a:pt x="84" y="509"/>
                  </a:lnTo>
                  <a:lnTo>
                    <a:pt x="82" y="509"/>
                  </a:lnTo>
                  <a:lnTo>
                    <a:pt x="80" y="510"/>
                  </a:lnTo>
                  <a:lnTo>
                    <a:pt x="77" y="509"/>
                  </a:lnTo>
                  <a:lnTo>
                    <a:pt x="73" y="510"/>
                  </a:lnTo>
                  <a:lnTo>
                    <a:pt x="73" y="508"/>
                  </a:lnTo>
                  <a:lnTo>
                    <a:pt x="72" y="506"/>
                  </a:lnTo>
                  <a:lnTo>
                    <a:pt x="71" y="506"/>
                  </a:lnTo>
                  <a:lnTo>
                    <a:pt x="71" y="504"/>
                  </a:lnTo>
                  <a:lnTo>
                    <a:pt x="69" y="504"/>
                  </a:lnTo>
                  <a:lnTo>
                    <a:pt x="68" y="504"/>
                  </a:lnTo>
                  <a:lnTo>
                    <a:pt x="68" y="503"/>
                  </a:lnTo>
                  <a:lnTo>
                    <a:pt x="67" y="503"/>
                  </a:lnTo>
                  <a:lnTo>
                    <a:pt x="66" y="503"/>
                  </a:lnTo>
                  <a:lnTo>
                    <a:pt x="66" y="500"/>
                  </a:lnTo>
                  <a:lnTo>
                    <a:pt x="66" y="499"/>
                  </a:lnTo>
                  <a:lnTo>
                    <a:pt x="65" y="499"/>
                  </a:lnTo>
                  <a:lnTo>
                    <a:pt x="63" y="499"/>
                  </a:lnTo>
                  <a:lnTo>
                    <a:pt x="63" y="498"/>
                  </a:lnTo>
                  <a:lnTo>
                    <a:pt x="62" y="498"/>
                  </a:lnTo>
                  <a:lnTo>
                    <a:pt x="61" y="499"/>
                  </a:lnTo>
                  <a:lnTo>
                    <a:pt x="61" y="498"/>
                  </a:lnTo>
                  <a:lnTo>
                    <a:pt x="60" y="498"/>
                  </a:lnTo>
                  <a:lnTo>
                    <a:pt x="59" y="498"/>
                  </a:lnTo>
                  <a:lnTo>
                    <a:pt x="57" y="499"/>
                  </a:lnTo>
                  <a:lnTo>
                    <a:pt x="55" y="498"/>
                  </a:lnTo>
                  <a:lnTo>
                    <a:pt x="56" y="498"/>
                  </a:lnTo>
                  <a:lnTo>
                    <a:pt x="53" y="497"/>
                  </a:lnTo>
                  <a:lnTo>
                    <a:pt x="54" y="496"/>
                  </a:lnTo>
                  <a:lnTo>
                    <a:pt x="51" y="492"/>
                  </a:lnTo>
                  <a:lnTo>
                    <a:pt x="50" y="491"/>
                  </a:lnTo>
                  <a:lnTo>
                    <a:pt x="49" y="491"/>
                  </a:lnTo>
                  <a:lnTo>
                    <a:pt x="48" y="491"/>
                  </a:lnTo>
                  <a:lnTo>
                    <a:pt x="47" y="492"/>
                  </a:lnTo>
                  <a:lnTo>
                    <a:pt x="44" y="491"/>
                  </a:lnTo>
                  <a:lnTo>
                    <a:pt x="43" y="491"/>
                  </a:lnTo>
                  <a:lnTo>
                    <a:pt x="42" y="491"/>
                  </a:lnTo>
                  <a:lnTo>
                    <a:pt x="41" y="489"/>
                  </a:lnTo>
                  <a:lnTo>
                    <a:pt x="38" y="488"/>
                  </a:lnTo>
                  <a:lnTo>
                    <a:pt x="37" y="487"/>
                  </a:lnTo>
                  <a:lnTo>
                    <a:pt x="36" y="486"/>
                  </a:lnTo>
                  <a:lnTo>
                    <a:pt x="37" y="486"/>
                  </a:lnTo>
                  <a:lnTo>
                    <a:pt x="35" y="485"/>
                  </a:lnTo>
                  <a:lnTo>
                    <a:pt x="33" y="485"/>
                  </a:lnTo>
                  <a:lnTo>
                    <a:pt x="32" y="483"/>
                  </a:lnTo>
                  <a:lnTo>
                    <a:pt x="35" y="483"/>
                  </a:lnTo>
                  <a:lnTo>
                    <a:pt x="35" y="480"/>
                  </a:lnTo>
                  <a:lnTo>
                    <a:pt x="37" y="482"/>
                  </a:lnTo>
                  <a:lnTo>
                    <a:pt x="37" y="481"/>
                  </a:lnTo>
                  <a:lnTo>
                    <a:pt x="38" y="480"/>
                  </a:lnTo>
                  <a:lnTo>
                    <a:pt x="38" y="477"/>
                  </a:lnTo>
                  <a:lnTo>
                    <a:pt x="37" y="475"/>
                  </a:lnTo>
                  <a:lnTo>
                    <a:pt x="35" y="474"/>
                  </a:lnTo>
                  <a:lnTo>
                    <a:pt x="33" y="473"/>
                  </a:lnTo>
                  <a:lnTo>
                    <a:pt x="35" y="471"/>
                  </a:lnTo>
                  <a:lnTo>
                    <a:pt x="37" y="471"/>
                  </a:lnTo>
                  <a:lnTo>
                    <a:pt x="41" y="470"/>
                  </a:lnTo>
                  <a:lnTo>
                    <a:pt x="42" y="469"/>
                  </a:lnTo>
                  <a:lnTo>
                    <a:pt x="37" y="469"/>
                  </a:lnTo>
                  <a:lnTo>
                    <a:pt x="35" y="470"/>
                  </a:lnTo>
                  <a:lnTo>
                    <a:pt x="32" y="471"/>
                  </a:lnTo>
                  <a:lnTo>
                    <a:pt x="31" y="475"/>
                  </a:lnTo>
                  <a:lnTo>
                    <a:pt x="30" y="475"/>
                  </a:lnTo>
                  <a:lnTo>
                    <a:pt x="30" y="476"/>
                  </a:lnTo>
                  <a:lnTo>
                    <a:pt x="27" y="479"/>
                  </a:lnTo>
                  <a:lnTo>
                    <a:pt x="26" y="479"/>
                  </a:lnTo>
                  <a:lnTo>
                    <a:pt x="24" y="479"/>
                  </a:lnTo>
                  <a:lnTo>
                    <a:pt x="20" y="477"/>
                  </a:lnTo>
                  <a:lnTo>
                    <a:pt x="20" y="479"/>
                  </a:lnTo>
                  <a:lnTo>
                    <a:pt x="19" y="479"/>
                  </a:lnTo>
                  <a:lnTo>
                    <a:pt x="16" y="477"/>
                  </a:lnTo>
                  <a:lnTo>
                    <a:pt x="16" y="479"/>
                  </a:lnTo>
                  <a:lnTo>
                    <a:pt x="14" y="476"/>
                  </a:lnTo>
                  <a:lnTo>
                    <a:pt x="12" y="476"/>
                  </a:lnTo>
                  <a:lnTo>
                    <a:pt x="13" y="475"/>
                  </a:lnTo>
                  <a:lnTo>
                    <a:pt x="12" y="474"/>
                  </a:lnTo>
                  <a:lnTo>
                    <a:pt x="10" y="473"/>
                  </a:lnTo>
                  <a:lnTo>
                    <a:pt x="10" y="471"/>
                  </a:lnTo>
                  <a:lnTo>
                    <a:pt x="8" y="470"/>
                  </a:lnTo>
                  <a:lnTo>
                    <a:pt x="9" y="470"/>
                  </a:lnTo>
                  <a:lnTo>
                    <a:pt x="8" y="467"/>
                  </a:lnTo>
                  <a:lnTo>
                    <a:pt x="6" y="464"/>
                  </a:lnTo>
                  <a:lnTo>
                    <a:pt x="3" y="463"/>
                  </a:lnTo>
                  <a:lnTo>
                    <a:pt x="3" y="461"/>
                  </a:lnTo>
                  <a:lnTo>
                    <a:pt x="3" y="459"/>
                  </a:lnTo>
                  <a:lnTo>
                    <a:pt x="4" y="458"/>
                  </a:lnTo>
                  <a:lnTo>
                    <a:pt x="3" y="457"/>
                  </a:lnTo>
                  <a:lnTo>
                    <a:pt x="2" y="456"/>
                  </a:lnTo>
                  <a:lnTo>
                    <a:pt x="0" y="452"/>
                  </a:lnTo>
                  <a:lnTo>
                    <a:pt x="0" y="451"/>
                  </a:lnTo>
                  <a:lnTo>
                    <a:pt x="0" y="450"/>
                  </a:lnTo>
                  <a:lnTo>
                    <a:pt x="1" y="450"/>
                  </a:lnTo>
                  <a:lnTo>
                    <a:pt x="3" y="449"/>
                  </a:lnTo>
                  <a:lnTo>
                    <a:pt x="6" y="451"/>
                  </a:lnTo>
                  <a:lnTo>
                    <a:pt x="6" y="452"/>
                  </a:lnTo>
                  <a:lnTo>
                    <a:pt x="8" y="453"/>
                  </a:lnTo>
                  <a:lnTo>
                    <a:pt x="8" y="455"/>
                  </a:lnTo>
                  <a:lnTo>
                    <a:pt x="9" y="45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9" name="Freeform 62"/>
            <p:cNvSpPr>
              <a:spLocks/>
            </p:cNvSpPr>
            <p:nvPr userDrawn="1"/>
          </p:nvSpPr>
          <p:spPr bwMode="auto">
            <a:xfrm>
              <a:off x="3551238" y="6235701"/>
              <a:ext cx="344488" cy="290513"/>
            </a:xfrm>
            <a:custGeom>
              <a:avLst/>
              <a:gdLst/>
              <a:ahLst/>
              <a:cxnLst>
                <a:cxn ang="0">
                  <a:pos x="359" y="802"/>
                </a:cxn>
                <a:cxn ang="0">
                  <a:pos x="313" y="812"/>
                </a:cxn>
                <a:cxn ang="0">
                  <a:pos x="287" y="782"/>
                </a:cxn>
                <a:cxn ang="0">
                  <a:pos x="235" y="795"/>
                </a:cxn>
                <a:cxn ang="0">
                  <a:pos x="249" y="769"/>
                </a:cxn>
                <a:cxn ang="0">
                  <a:pos x="120" y="806"/>
                </a:cxn>
                <a:cxn ang="0">
                  <a:pos x="140" y="771"/>
                </a:cxn>
                <a:cxn ang="0">
                  <a:pos x="95" y="757"/>
                </a:cxn>
                <a:cxn ang="0">
                  <a:pos x="75" y="677"/>
                </a:cxn>
                <a:cxn ang="0">
                  <a:pos x="17" y="613"/>
                </a:cxn>
                <a:cxn ang="0">
                  <a:pos x="82" y="626"/>
                </a:cxn>
                <a:cxn ang="0">
                  <a:pos x="123" y="594"/>
                </a:cxn>
                <a:cxn ang="0">
                  <a:pos x="218" y="557"/>
                </a:cxn>
                <a:cxn ang="0">
                  <a:pos x="173" y="539"/>
                </a:cxn>
                <a:cxn ang="0">
                  <a:pos x="90" y="540"/>
                </a:cxn>
                <a:cxn ang="0">
                  <a:pos x="112" y="480"/>
                </a:cxn>
                <a:cxn ang="0">
                  <a:pos x="137" y="379"/>
                </a:cxn>
                <a:cxn ang="0">
                  <a:pos x="181" y="367"/>
                </a:cxn>
                <a:cxn ang="0">
                  <a:pos x="205" y="331"/>
                </a:cxn>
                <a:cxn ang="0">
                  <a:pos x="257" y="277"/>
                </a:cxn>
                <a:cxn ang="0">
                  <a:pos x="259" y="239"/>
                </a:cxn>
                <a:cxn ang="0">
                  <a:pos x="165" y="231"/>
                </a:cxn>
                <a:cxn ang="0">
                  <a:pos x="165" y="183"/>
                </a:cxn>
                <a:cxn ang="0">
                  <a:pos x="181" y="126"/>
                </a:cxn>
                <a:cxn ang="0">
                  <a:pos x="225" y="107"/>
                </a:cxn>
                <a:cxn ang="0">
                  <a:pos x="276" y="40"/>
                </a:cxn>
                <a:cxn ang="0">
                  <a:pos x="359" y="14"/>
                </a:cxn>
                <a:cxn ang="0">
                  <a:pos x="460" y="24"/>
                </a:cxn>
                <a:cxn ang="0">
                  <a:pos x="488" y="90"/>
                </a:cxn>
                <a:cxn ang="0">
                  <a:pos x="538" y="87"/>
                </a:cxn>
                <a:cxn ang="0">
                  <a:pos x="554" y="121"/>
                </a:cxn>
                <a:cxn ang="0">
                  <a:pos x="638" y="109"/>
                </a:cxn>
                <a:cxn ang="0">
                  <a:pos x="721" y="124"/>
                </a:cxn>
                <a:cxn ang="0">
                  <a:pos x="821" y="147"/>
                </a:cxn>
                <a:cxn ang="0">
                  <a:pos x="891" y="162"/>
                </a:cxn>
                <a:cxn ang="0">
                  <a:pos x="860" y="198"/>
                </a:cxn>
                <a:cxn ang="0">
                  <a:pos x="883" y="256"/>
                </a:cxn>
                <a:cxn ang="0">
                  <a:pos x="838" y="271"/>
                </a:cxn>
                <a:cxn ang="0">
                  <a:pos x="832" y="293"/>
                </a:cxn>
                <a:cxn ang="0">
                  <a:pos x="902" y="355"/>
                </a:cxn>
                <a:cxn ang="0">
                  <a:pos x="962" y="370"/>
                </a:cxn>
                <a:cxn ang="0">
                  <a:pos x="943" y="424"/>
                </a:cxn>
                <a:cxn ang="0">
                  <a:pos x="1003" y="444"/>
                </a:cxn>
                <a:cxn ang="0">
                  <a:pos x="1055" y="448"/>
                </a:cxn>
                <a:cxn ang="0">
                  <a:pos x="1068" y="521"/>
                </a:cxn>
                <a:cxn ang="0">
                  <a:pos x="1058" y="522"/>
                </a:cxn>
                <a:cxn ang="0">
                  <a:pos x="1080" y="578"/>
                </a:cxn>
                <a:cxn ang="0">
                  <a:pos x="1078" y="624"/>
                </a:cxn>
                <a:cxn ang="0">
                  <a:pos x="973" y="638"/>
                </a:cxn>
                <a:cxn ang="0">
                  <a:pos x="926" y="664"/>
                </a:cxn>
                <a:cxn ang="0">
                  <a:pos x="915" y="695"/>
                </a:cxn>
                <a:cxn ang="0">
                  <a:pos x="952" y="745"/>
                </a:cxn>
                <a:cxn ang="0">
                  <a:pos x="902" y="782"/>
                </a:cxn>
                <a:cxn ang="0">
                  <a:pos x="856" y="757"/>
                </a:cxn>
                <a:cxn ang="0">
                  <a:pos x="778" y="759"/>
                </a:cxn>
                <a:cxn ang="0">
                  <a:pos x="759" y="780"/>
                </a:cxn>
                <a:cxn ang="0">
                  <a:pos x="718" y="780"/>
                </a:cxn>
                <a:cxn ang="0">
                  <a:pos x="769" y="819"/>
                </a:cxn>
                <a:cxn ang="0">
                  <a:pos x="707" y="840"/>
                </a:cxn>
                <a:cxn ang="0">
                  <a:pos x="654" y="842"/>
                </a:cxn>
                <a:cxn ang="0">
                  <a:pos x="618" y="804"/>
                </a:cxn>
                <a:cxn ang="0">
                  <a:pos x="552" y="840"/>
                </a:cxn>
                <a:cxn ang="0">
                  <a:pos x="539" y="786"/>
                </a:cxn>
              </a:cxnLst>
              <a:rect l="0" t="0" r="r" b="b"/>
              <a:pathLst>
                <a:path w="1086" h="917">
                  <a:moveTo>
                    <a:pt x="511" y="917"/>
                  </a:moveTo>
                  <a:lnTo>
                    <a:pt x="354" y="917"/>
                  </a:lnTo>
                  <a:lnTo>
                    <a:pt x="358" y="911"/>
                  </a:lnTo>
                  <a:lnTo>
                    <a:pt x="361" y="898"/>
                  </a:lnTo>
                  <a:lnTo>
                    <a:pt x="362" y="889"/>
                  </a:lnTo>
                  <a:lnTo>
                    <a:pt x="365" y="884"/>
                  </a:lnTo>
                  <a:lnTo>
                    <a:pt x="367" y="879"/>
                  </a:lnTo>
                  <a:lnTo>
                    <a:pt x="372" y="872"/>
                  </a:lnTo>
                  <a:lnTo>
                    <a:pt x="375" y="863"/>
                  </a:lnTo>
                  <a:lnTo>
                    <a:pt x="372" y="849"/>
                  </a:lnTo>
                  <a:lnTo>
                    <a:pt x="375" y="838"/>
                  </a:lnTo>
                  <a:lnTo>
                    <a:pt x="379" y="832"/>
                  </a:lnTo>
                  <a:lnTo>
                    <a:pt x="382" y="826"/>
                  </a:lnTo>
                  <a:lnTo>
                    <a:pt x="383" y="815"/>
                  </a:lnTo>
                  <a:lnTo>
                    <a:pt x="384" y="808"/>
                  </a:lnTo>
                  <a:lnTo>
                    <a:pt x="383" y="806"/>
                  </a:lnTo>
                  <a:lnTo>
                    <a:pt x="381" y="806"/>
                  </a:lnTo>
                  <a:lnTo>
                    <a:pt x="375" y="813"/>
                  </a:lnTo>
                  <a:lnTo>
                    <a:pt x="370" y="813"/>
                  </a:lnTo>
                  <a:lnTo>
                    <a:pt x="369" y="812"/>
                  </a:lnTo>
                  <a:lnTo>
                    <a:pt x="365" y="812"/>
                  </a:lnTo>
                  <a:lnTo>
                    <a:pt x="358" y="813"/>
                  </a:lnTo>
                  <a:lnTo>
                    <a:pt x="356" y="809"/>
                  </a:lnTo>
                  <a:lnTo>
                    <a:pt x="359" y="802"/>
                  </a:lnTo>
                  <a:lnTo>
                    <a:pt x="359" y="800"/>
                  </a:lnTo>
                  <a:lnTo>
                    <a:pt x="356" y="801"/>
                  </a:lnTo>
                  <a:lnTo>
                    <a:pt x="353" y="800"/>
                  </a:lnTo>
                  <a:lnTo>
                    <a:pt x="350" y="798"/>
                  </a:lnTo>
                  <a:lnTo>
                    <a:pt x="350" y="796"/>
                  </a:lnTo>
                  <a:lnTo>
                    <a:pt x="349" y="790"/>
                  </a:lnTo>
                  <a:lnTo>
                    <a:pt x="348" y="789"/>
                  </a:lnTo>
                  <a:lnTo>
                    <a:pt x="348" y="792"/>
                  </a:lnTo>
                  <a:lnTo>
                    <a:pt x="349" y="798"/>
                  </a:lnTo>
                  <a:lnTo>
                    <a:pt x="347" y="800"/>
                  </a:lnTo>
                  <a:lnTo>
                    <a:pt x="346" y="798"/>
                  </a:lnTo>
                  <a:lnTo>
                    <a:pt x="343" y="800"/>
                  </a:lnTo>
                  <a:lnTo>
                    <a:pt x="336" y="800"/>
                  </a:lnTo>
                  <a:lnTo>
                    <a:pt x="334" y="801"/>
                  </a:lnTo>
                  <a:lnTo>
                    <a:pt x="331" y="802"/>
                  </a:lnTo>
                  <a:lnTo>
                    <a:pt x="330" y="804"/>
                  </a:lnTo>
                  <a:lnTo>
                    <a:pt x="331" y="807"/>
                  </a:lnTo>
                  <a:lnTo>
                    <a:pt x="331" y="809"/>
                  </a:lnTo>
                  <a:lnTo>
                    <a:pt x="328" y="809"/>
                  </a:lnTo>
                  <a:lnTo>
                    <a:pt x="325" y="808"/>
                  </a:lnTo>
                  <a:lnTo>
                    <a:pt x="324" y="812"/>
                  </a:lnTo>
                  <a:lnTo>
                    <a:pt x="320" y="809"/>
                  </a:lnTo>
                  <a:lnTo>
                    <a:pt x="317" y="810"/>
                  </a:lnTo>
                  <a:lnTo>
                    <a:pt x="313" y="812"/>
                  </a:lnTo>
                  <a:lnTo>
                    <a:pt x="316" y="813"/>
                  </a:lnTo>
                  <a:lnTo>
                    <a:pt x="311" y="814"/>
                  </a:lnTo>
                  <a:lnTo>
                    <a:pt x="302" y="813"/>
                  </a:lnTo>
                  <a:lnTo>
                    <a:pt x="297" y="812"/>
                  </a:lnTo>
                  <a:lnTo>
                    <a:pt x="294" y="809"/>
                  </a:lnTo>
                  <a:lnTo>
                    <a:pt x="291" y="806"/>
                  </a:lnTo>
                  <a:lnTo>
                    <a:pt x="289" y="802"/>
                  </a:lnTo>
                  <a:lnTo>
                    <a:pt x="289" y="798"/>
                  </a:lnTo>
                  <a:lnTo>
                    <a:pt x="289" y="796"/>
                  </a:lnTo>
                  <a:lnTo>
                    <a:pt x="291" y="795"/>
                  </a:lnTo>
                  <a:lnTo>
                    <a:pt x="297" y="794"/>
                  </a:lnTo>
                  <a:lnTo>
                    <a:pt x="299" y="791"/>
                  </a:lnTo>
                  <a:lnTo>
                    <a:pt x="297" y="786"/>
                  </a:lnTo>
                  <a:lnTo>
                    <a:pt x="299" y="785"/>
                  </a:lnTo>
                  <a:lnTo>
                    <a:pt x="305" y="783"/>
                  </a:lnTo>
                  <a:lnTo>
                    <a:pt x="308" y="780"/>
                  </a:lnTo>
                  <a:lnTo>
                    <a:pt x="308" y="778"/>
                  </a:lnTo>
                  <a:lnTo>
                    <a:pt x="307" y="774"/>
                  </a:lnTo>
                  <a:lnTo>
                    <a:pt x="303" y="772"/>
                  </a:lnTo>
                  <a:lnTo>
                    <a:pt x="300" y="771"/>
                  </a:lnTo>
                  <a:lnTo>
                    <a:pt x="297" y="773"/>
                  </a:lnTo>
                  <a:lnTo>
                    <a:pt x="293" y="777"/>
                  </a:lnTo>
                  <a:lnTo>
                    <a:pt x="289" y="779"/>
                  </a:lnTo>
                  <a:lnTo>
                    <a:pt x="287" y="782"/>
                  </a:lnTo>
                  <a:lnTo>
                    <a:pt x="284" y="786"/>
                  </a:lnTo>
                  <a:lnTo>
                    <a:pt x="281" y="786"/>
                  </a:lnTo>
                  <a:lnTo>
                    <a:pt x="277" y="783"/>
                  </a:lnTo>
                  <a:lnTo>
                    <a:pt x="276" y="783"/>
                  </a:lnTo>
                  <a:lnTo>
                    <a:pt x="275" y="786"/>
                  </a:lnTo>
                  <a:lnTo>
                    <a:pt x="273" y="796"/>
                  </a:lnTo>
                  <a:lnTo>
                    <a:pt x="272" y="797"/>
                  </a:lnTo>
                  <a:lnTo>
                    <a:pt x="271" y="798"/>
                  </a:lnTo>
                  <a:lnTo>
                    <a:pt x="264" y="798"/>
                  </a:lnTo>
                  <a:lnTo>
                    <a:pt x="264" y="802"/>
                  </a:lnTo>
                  <a:lnTo>
                    <a:pt x="263" y="803"/>
                  </a:lnTo>
                  <a:lnTo>
                    <a:pt x="261" y="804"/>
                  </a:lnTo>
                  <a:lnTo>
                    <a:pt x="255" y="806"/>
                  </a:lnTo>
                  <a:lnTo>
                    <a:pt x="254" y="806"/>
                  </a:lnTo>
                  <a:lnTo>
                    <a:pt x="252" y="803"/>
                  </a:lnTo>
                  <a:lnTo>
                    <a:pt x="248" y="801"/>
                  </a:lnTo>
                  <a:lnTo>
                    <a:pt x="249" y="797"/>
                  </a:lnTo>
                  <a:lnTo>
                    <a:pt x="255" y="788"/>
                  </a:lnTo>
                  <a:lnTo>
                    <a:pt x="254" y="785"/>
                  </a:lnTo>
                  <a:lnTo>
                    <a:pt x="251" y="785"/>
                  </a:lnTo>
                  <a:lnTo>
                    <a:pt x="243" y="791"/>
                  </a:lnTo>
                  <a:lnTo>
                    <a:pt x="238" y="794"/>
                  </a:lnTo>
                  <a:lnTo>
                    <a:pt x="241" y="795"/>
                  </a:lnTo>
                  <a:lnTo>
                    <a:pt x="235" y="795"/>
                  </a:lnTo>
                  <a:lnTo>
                    <a:pt x="226" y="795"/>
                  </a:lnTo>
                  <a:lnTo>
                    <a:pt x="220" y="790"/>
                  </a:lnTo>
                  <a:lnTo>
                    <a:pt x="211" y="785"/>
                  </a:lnTo>
                  <a:lnTo>
                    <a:pt x="208" y="783"/>
                  </a:lnTo>
                  <a:lnTo>
                    <a:pt x="207" y="782"/>
                  </a:lnTo>
                  <a:lnTo>
                    <a:pt x="210" y="780"/>
                  </a:lnTo>
                  <a:lnTo>
                    <a:pt x="211" y="780"/>
                  </a:lnTo>
                  <a:lnTo>
                    <a:pt x="212" y="778"/>
                  </a:lnTo>
                  <a:lnTo>
                    <a:pt x="213" y="772"/>
                  </a:lnTo>
                  <a:lnTo>
                    <a:pt x="216" y="771"/>
                  </a:lnTo>
                  <a:lnTo>
                    <a:pt x="216" y="768"/>
                  </a:lnTo>
                  <a:lnTo>
                    <a:pt x="218" y="769"/>
                  </a:lnTo>
                  <a:lnTo>
                    <a:pt x="222" y="773"/>
                  </a:lnTo>
                  <a:lnTo>
                    <a:pt x="223" y="774"/>
                  </a:lnTo>
                  <a:lnTo>
                    <a:pt x="225" y="774"/>
                  </a:lnTo>
                  <a:lnTo>
                    <a:pt x="225" y="772"/>
                  </a:lnTo>
                  <a:lnTo>
                    <a:pt x="228" y="771"/>
                  </a:lnTo>
                  <a:lnTo>
                    <a:pt x="231" y="771"/>
                  </a:lnTo>
                  <a:lnTo>
                    <a:pt x="235" y="772"/>
                  </a:lnTo>
                  <a:lnTo>
                    <a:pt x="236" y="772"/>
                  </a:lnTo>
                  <a:lnTo>
                    <a:pt x="240" y="771"/>
                  </a:lnTo>
                  <a:lnTo>
                    <a:pt x="242" y="769"/>
                  </a:lnTo>
                  <a:lnTo>
                    <a:pt x="244" y="768"/>
                  </a:lnTo>
                  <a:lnTo>
                    <a:pt x="249" y="769"/>
                  </a:lnTo>
                  <a:lnTo>
                    <a:pt x="249" y="766"/>
                  </a:lnTo>
                  <a:lnTo>
                    <a:pt x="246" y="760"/>
                  </a:lnTo>
                  <a:lnTo>
                    <a:pt x="242" y="757"/>
                  </a:lnTo>
                  <a:lnTo>
                    <a:pt x="236" y="762"/>
                  </a:lnTo>
                  <a:lnTo>
                    <a:pt x="232" y="765"/>
                  </a:lnTo>
                  <a:lnTo>
                    <a:pt x="228" y="766"/>
                  </a:lnTo>
                  <a:lnTo>
                    <a:pt x="210" y="766"/>
                  </a:lnTo>
                  <a:lnTo>
                    <a:pt x="195" y="766"/>
                  </a:lnTo>
                  <a:lnTo>
                    <a:pt x="188" y="765"/>
                  </a:lnTo>
                  <a:lnTo>
                    <a:pt x="184" y="765"/>
                  </a:lnTo>
                  <a:lnTo>
                    <a:pt x="184" y="767"/>
                  </a:lnTo>
                  <a:lnTo>
                    <a:pt x="188" y="774"/>
                  </a:lnTo>
                  <a:lnTo>
                    <a:pt x="189" y="778"/>
                  </a:lnTo>
                  <a:lnTo>
                    <a:pt x="188" y="780"/>
                  </a:lnTo>
                  <a:lnTo>
                    <a:pt x="177" y="784"/>
                  </a:lnTo>
                  <a:lnTo>
                    <a:pt x="176" y="783"/>
                  </a:lnTo>
                  <a:lnTo>
                    <a:pt x="171" y="782"/>
                  </a:lnTo>
                  <a:lnTo>
                    <a:pt x="165" y="783"/>
                  </a:lnTo>
                  <a:lnTo>
                    <a:pt x="160" y="782"/>
                  </a:lnTo>
                  <a:lnTo>
                    <a:pt x="157" y="776"/>
                  </a:lnTo>
                  <a:lnTo>
                    <a:pt x="151" y="779"/>
                  </a:lnTo>
                  <a:lnTo>
                    <a:pt x="143" y="785"/>
                  </a:lnTo>
                  <a:lnTo>
                    <a:pt x="135" y="794"/>
                  </a:lnTo>
                  <a:lnTo>
                    <a:pt x="120" y="806"/>
                  </a:lnTo>
                  <a:lnTo>
                    <a:pt x="113" y="809"/>
                  </a:lnTo>
                  <a:lnTo>
                    <a:pt x="107" y="810"/>
                  </a:lnTo>
                  <a:lnTo>
                    <a:pt x="102" y="810"/>
                  </a:lnTo>
                  <a:lnTo>
                    <a:pt x="110" y="809"/>
                  </a:lnTo>
                  <a:lnTo>
                    <a:pt x="117" y="806"/>
                  </a:lnTo>
                  <a:lnTo>
                    <a:pt x="125" y="800"/>
                  </a:lnTo>
                  <a:lnTo>
                    <a:pt x="137" y="789"/>
                  </a:lnTo>
                  <a:lnTo>
                    <a:pt x="140" y="785"/>
                  </a:lnTo>
                  <a:lnTo>
                    <a:pt x="113" y="798"/>
                  </a:lnTo>
                  <a:lnTo>
                    <a:pt x="96" y="806"/>
                  </a:lnTo>
                  <a:lnTo>
                    <a:pt x="125" y="791"/>
                  </a:lnTo>
                  <a:lnTo>
                    <a:pt x="143" y="779"/>
                  </a:lnTo>
                  <a:lnTo>
                    <a:pt x="145" y="778"/>
                  </a:lnTo>
                  <a:lnTo>
                    <a:pt x="140" y="774"/>
                  </a:lnTo>
                  <a:lnTo>
                    <a:pt x="134" y="769"/>
                  </a:lnTo>
                  <a:lnTo>
                    <a:pt x="131" y="769"/>
                  </a:lnTo>
                  <a:lnTo>
                    <a:pt x="125" y="774"/>
                  </a:lnTo>
                  <a:lnTo>
                    <a:pt x="114" y="784"/>
                  </a:lnTo>
                  <a:lnTo>
                    <a:pt x="111" y="785"/>
                  </a:lnTo>
                  <a:lnTo>
                    <a:pt x="116" y="782"/>
                  </a:lnTo>
                  <a:lnTo>
                    <a:pt x="123" y="776"/>
                  </a:lnTo>
                  <a:lnTo>
                    <a:pt x="129" y="767"/>
                  </a:lnTo>
                  <a:lnTo>
                    <a:pt x="134" y="767"/>
                  </a:lnTo>
                  <a:lnTo>
                    <a:pt x="140" y="771"/>
                  </a:lnTo>
                  <a:lnTo>
                    <a:pt x="147" y="777"/>
                  </a:lnTo>
                  <a:lnTo>
                    <a:pt x="151" y="777"/>
                  </a:lnTo>
                  <a:lnTo>
                    <a:pt x="153" y="773"/>
                  </a:lnTo>
                  <a:lnTo>
                    <a:pt x="155" y="771"/>
                  </a:lnTo>
                  <a:lnTo>
                    <a:pt x="153" y="768"/>
                  </a:lnTo>
                  <a:lnTo>
                    <a:pt x="151" y="765"/>
                  </a:lnTo>
                  <a:lnTo>
                    <a:pt x="147" y="762"/>
                  </a:lnTo>
                  <a:lnTo>
                    <a:pt x="141" y="762"/>
                  </a:lnTo>
                  <a:lnTo>
                    <a:pt x="134" y="761"/>
                  </a:lnTo>
                  <a:lnTo>
                    <a:pt x="127" y="762"/>
                  </a:lnTo>
                  <a:lnTo>
                    <a:pt x="122" y="765"/>
                  </a:lnTo>
                  <a:lnTo>
                    <a:pt x="119" y="769"/>
                  </a:lnTo>
                  <a:lnTo>
                    <a:pt x="118" y="772"/>
                  </a:lnTo>
                  <a:lnTo>
                    <a:pt x="116" y="774"/>
                  </a:lnTo>
                  <a:lnTo>
                    <a:pt x="112" y="776"/>
                  </a:lnTo>
                  <a:lnTo>
                    <a:pt x="111" y="773"/>
                  </a:lnTo>
                  <a:lnTo>
                    <a:pt x="108" y="767"/>
                  </a:lnTo>
                  <a:lnTo>
                    <a:pt x="111" y="763"/>
                  </a:lnTo>
                  <a:lnTo>
                    <a:pt x="111" y="762"/>
                  </a:lnTo>
                  <a:lnTo>
                    <a:pt x="107" y="762"/>
                  </a:lnTo>
                  <a:lnTo>
                    <a:pt x="100" y="767"/>
                  </a:lnTo>
                  <a:lnTo>
                    <a:pt x="98" y="767"/>
                  </a:lnTo>
                  <a:lnTo>
                    <a:pt x="98" y="763"/>
                  </a:lnTo>
                  <a:lnTo>
                    <a:pt x="95" y="757"/>
                  </a:lnTo>
                  <a:lnTo>
                    <a:pt x="96" y="753"/>
                  </a:lnTo>
                  <a:lnTo>
                    <a:pt x="101" y="747"/>
                  </a:lnTo>
                  <a:lnTo>
                    <a:pt x="102" y="745"/>
                  </a:lnTo>
                  <a:lnTo>
                    <a:pt x="101" y="743"/>
                  </a:lnTo>
                  <a:lnTo>
                    <a:pt x="96" y="738"/>
                  </a:lnTo>
                  <a:lnTo>
                    <a:pt x="95" y="733"/>
                  </a:lnTo>
                  <a:lnTo>
                    <a:pt x="93" y="730"/>
                  </a:lnTo>
                  <a:lnTo>
                    <a:pt x="93" y="725"/>
                  </a:lnTo>
                  <a:lnTo>
                    <a:pt x="99" y="719"/>
                  </a:lnTo>
                  <a:lnTo>
                    <a:pt x="101" y="717"/>
                  </a:lnTo>
                  <a:lnTo>
                    <a:pt x="102" y="715"/>
                  </a:lnTo>
                  <a:lnTo>
                    <a:pt x="96" y="712"/>
                  </a:lnTo>
                  <a:lnTo>
                    <a:pt x="95" y="711"/>
                  </a:lnTo>
                  <a:lnTo>
                    <a:pt x="98" y="707"/>
                  </a:lnTo>
                  <a:lnTo>
                    <a:pt x="105" y="703"/>
                  </a:lnTo>
                  <a:lnTo>
                    <a:pt x="107" y="701"/>
                  </a:lnTo>
                  <a:lnTo>
                    <a:pt x="108" y="699"/>
                  </a:lnTo>
                  <a:lnTo>
                    <a:pt x="110" y="690"/>
                  </a:lnTo>
                  <a:lnTo>
                    <a:pt x="111" y="685"/>
                  </a:lnTo>
                  <a:lnTo>
                    <a:pt x="113" y="679"/>
                  </a:lnTo>
                  <a:lnTo>
                    <a:pt x="93" y="681"/>
                  </a:lnTo>
                  <a:lnTo>
                    <a:pt x="84" y="682"/>
                  </a:lnTo>
                  <a:lnTo>
                    <a:pt x="80" y="681"/>
                  </a:lnTo>
                  <a:lnTo>
                    <a:pt x="75" y="677"/>
                  </a:lnTo>
                  <a:lnTo>
                    <a:pt x="74" y="676"/>
                  </a:lnTo>
                  <a:lnTo>
                    <a:pt x="70" y="677"/>
                  </a:lnTo>
                  <a:lnTo>
                    <a:pt x="68" y="682"/>
                  </a:lnTo>
                  <a:lnTo>
                    <a:pt x="60" y="681"/>
                  </a:lnTo>
                  <a:lnTo>
                    <a:pt x="51" y="677"/>
                  </a:lnTo>
                  <a:lnTo>
                    <a:pt x="45" y="677"/>
                  </a:lnTo>
                  <a:lnTo>
                    <a:pt x="39" y="678"/>
                  </a:lnTo>
                  <a:lnTo>
                    <a:pt x="34" y="676"/>
                  </a:lnTo>
                  <a:lnTo>
                    <a:pt x="25" y="669"/>
                  </a:lnTo>
                  <a:lnTo>
                    <a:pt x="21" y="660"/>
                  </a:lnTo>
                  <a:lnTo>
                    <a:pt x="16" y="656"/>
                  </a:lnTo>
                  <a:lnTo>
                    <a:pt x="15" y="654"/>
                  </a:lnTo>
                  <a:lnTo>
                    <a:pt x="15" y="652"/>
                  </a:lnTo>
                  <a:lnTo>
                    <a:pt x="17" y="643"/>
                  </a:lnTo>
                  <a:lnTo>
                    <a:pt x="16" y="646"/>
                  </a:lnTo>
                  <a:lnTo>
                    <a:pt x="11" y="640"/>
                  </a:lnTo>
                  <a:lnTo>
                    <a:pt x="4" y="624"/>
                  </a:lnTo>
                  <a:lnTo>
                    <a:pt x="0" y="617"/>
                  </a:lnTo>
                  <a:lnTo>
                    <a:pt x="0" y="614"/>
                  </a:lnTo>
                  <a:lnTo>
                    <a:pt x="4" y="614"/>
                  </a:lnTo>
                  <a:lnTo>
                    <a:pt x="9" y="613"/>
                  </a:lnTo>
                  <a:lnTo>
                    <a:pt x="11" y="611"/>
                  </a:lnTo>
                  <a:lnTo>
                    <a:pt x="13" y="611"/>
                  </a:lnTo>
                  <a:lnTo>
                    <a:pt x="17" y="613"/>
                  </a:lnTo>
                  <a:lnTo>
                    <a:pt x="21" y="619"/>
                  </a:lnTo>
                  <a:lnTo>
                    <a:pt x="25" y="622"/>
                  </a:lnTo>
                  <a:lnTo>
                    <a:pt x="30" y="624"/>
                  </a:lnTo>
                  <a:lnTo>
                    <a:pt x="31" y="626"/>
                  </a:lnTo>
                  <a:lnTo>
                    <a:pt x="35" y="636"/>
                  </a:lnTo>
                  <a:lnTo>
                    <a:pt x="35" y="638"/>
                  </a:lnTo>
                  <a:lnTo>
                    <a:pt x="37" y="637"/>
                  </a:lnTo>
                  <a:lnTo>
                    <a:pt x="40" y="634"/>
                  </a:lnTo>
                  <a:lnTo>
                    <a:pt x="42" y="629"/>
                  </a:lnTo>
                  <a:lnTo>
                    <a:pt x="46" y="628"/>
                  </a:lnTo>
                  <a:lnTo>
                    <a:pt x="51" y="629"/>
                  </a:lnTo>
                  <a:lnTo>
                    <a:pt x="55" y="629"/>
                  </a:lnTo>
                  <a:lnTo>
                    <a:pt x="61" y="626"/>
                  </a:lnTo>
                  <a:lnTo>
                    <a:pt x="59" y="625"/>
                  </a:lnTo>
                  <a:lnTo>
                    <a:pt x="57" y="622"/>
                  </a:lnTo>
                  <a:lnTo>
                    <a:pt x="53" y="618"/>
                  </a:lnTo>
                  <a:lnTo>
                    <a:pt x="54" y="614"/>
                  </a:lnTo>
                  <a:lnTo>
                    <a:pt x="60" y="612"/>
                  </a:lnTo>
                  <a:lnTo>
                    <a:pt x="66" y="611"/>
                  </a:lnTo>
                  <a:lnTo>
                    <a:pt x="70" y="613"/>
                  </a:lnTo>
                  <a:lnTo>
                    <a:pt x="70" y="620"/>
                  </a:lnTo>
                  <a:lnTo>
                    <a:pt x="78" y="624"/>
                  </a:lnTo>
                  <a:lnTo>
                    <a:pt x="76" y="625"/>
                  </a:lnTo>
                  <a:lnTo>
                    <a:pt x="82" y="626"/>
                  </a:lnTo>
                  <a:lnTo>
                    <a:pt x="92" y="630"/>
                  </a:lnTo>
                  <a:lnTo>
                    <a:pt x="94" y="631"/>
                  </a:lnTo>
                  <a:lnTo>
                    <a:pt x="95" y="629"/>
                  </a:lnTo>
                  <a:lnTo>
                    <a:pt x="96" y="624"/>
                  </a:lnTo>
                  <a:lnTo>
                    <a:pt x="102" y="626"/>
                  </a:lnTo>
                  <a:lnTo>
                    <a:pt x="116" y="634"/>
                  </a:lnTo>
                  <a:lnTo>
                    <a:pt x="118" y="635"/>
                  </a:lnTo>
                  <a:lnTo>
                    <a:pt x="120" y="632"/>
                  </a:lnTo>
                  <a:lnTo>
                    <a:pt x="123" y="628"/>
                  </a:lnTo>
                  <a:lnTo>
                    <a:pt x="125" y="626"/>
                  </a:lnTo>
                  <a:lnTo>
                    <a:pt x="127" y="628"/>
                  </a:lnTo>
                  <a:lnTo>
                    <a:pt x="131" y="628"/>
                  </a:lnTo>
                  <a:lnTo>
                    <a:pt x="140" y="625"/>
                  </a:lnTo>
                  <a:lnTo>
                    <a:pt x="147" y="625"/>
                  </a:lnTo>
                  <a:lnTo>
                    <a:pt x="149" y="624"/>
                  </a:lnTo>
                  <a:lnTo>
                    <a:pt x="146" y="622"/>
                  </a:lnTo>
                  <a:lnTo>
                    <a:pt x="136" y="614"/>
                  </a:lnTo>
                  <a:lnTo>
                    <a:pt x="135" y="610"/>
                  </a:lnTo>
                  <a:lnTo>
                    <a:pt x="133" y="607"/>
                  </a:lnTo>
                  <a:lnTo>
                    <a:pt x="129" y="607"/>
                  </a:lnTo>
                  <a:lnTo>
                    <a:pt x="127" y="605"/>
                  </a:lnTo>
                  <a:lnTo>
                    <a:pt x="124" y="601"/>
                  </a:lnTo>
                  <a:lnTo>
                    <a:pt x="122" y="599"/>
                  </a:lnTo>
                  <a:lnTo>
                    <a:pt x="123" y="594"/>
                  </a:lnTo>
                  <a:lnTo>
                    <a:pt x="129" y="590"/>
                  </a:lnTo>
                  <a:lnTo>
                    <a:pt x="130" y="587"/>
                  </a:lnTo>
                  <a:lnTo>
                    <a:pt x="133" y="583"/>
                  </a:lnTo>
                  <a:lnTo>
                    <a:pt x="139" y="582"/>
                  </a:lnTo>
                  <a:lnTo>
                    <a:pt x="145" y="578"/>
                  </a:lnTo>
                  <a:lnTo>
                    <a:pt x="152" y="572"/>
                  </a:lnTo>
                  <a:lnTo>
                    <a:pt x="157" y="568"/>
                  </a:lnTo>
                  <a:lnTo>
                    <a:pt x="159" y="566"/>
                  </a:lnTo>
                  <a:lnTo>
                    <a:pt x="159" y="564"/>
                  </a:lnTo>
                  <a:lnTo>
                    <a:pt x="160" y="562"/>
                  </a:lnTo>
                  <a:lnTo>
                    <a:pt x="163" y="562"/>
                  </a:lnTo>
                  <a:lnTo>
                    <a:pt x="173" y="568"/>
                  </a:lnTo>
                  <a:lnTo>
                    <a:pt x="183" y="564"/>
                  </a:lnTo>
                  <a:lnTo>
                    <a:pt x="188" y="563"/>
                  </a:lnTo>
                  <a:lnTo>
                    <a:pt x="192" y="560"/>
                  </a:lnTo>
                  <a:lnTo>
                    <a:pt x="196" y="554"/>
                  </a:lnTo>
                  <a:lnTo>
                    <a:pt x="201" y="552"/>
                  </a:lnTo>
                  <a:lnTo>
                    <a:pt x="202" y="551"/>
                  </a:lnTo>
                  <a:lnTo>
                    <a:pt x="204" y="547"/>
                  </a:lnTo>
                  <a:lnTo>
                    <a:pt x="205" y="547"/>
                  </a:lnTo>
                  <a:lnTo>
                    <a:pt x="206" y="551"/>
                  </a:lnTo>
                  <a:lnTo>
                    <a:pt x="211" y="558"/>
                  </a:lnTo>
                  <a:lnTo>
                    <a:pt x="216" y="558"/>
                  </a:lnTo>
                  <a:lnTo>
                    <a:pt x="218" y="557"/>
                  </a:lnTo>
                  <a:lnTo>
                    <a:pt x="220" y="554"/>
                  </a:lnTo>
                  <a:lnTo>
                    <a:pt x="224" y="549"/>
                  </a:lnTo>
                  <a:lnTo>
                    <a:pt x="226" y="547"/>
                  </a:lnTo>
                  <a:lnTo>
                    <a:pt x="226" y="542"/>
                  </a:lnTo>
                  <a:lnTo>
                    <a:pt x="226" y="540"/>
                  </a:lnTo>
                  <a:lnTo>
                    <a:pt x="223" y="537"/>
                  </a:lnTo>
                  <a:lnTo>
                    <a:pt x="219" y="539"/>
                  </a:lnTo>
                  <a:lnTo>
                    <a:pt x="216" y="543"/>
                  </a:lnTo>
                  <a:lnTo>
                    <a:pt x="214" y="543"/>
                  </a:lnTo>
                  <a:lnTo>
                    <a:pt x="212" y="541"/>
                  </a:lnTo>
                  <a:lnTo>
                    <a:pt x="210" y="537"/>
                  </a:lnTo>
                  <a:lnTo>
                    <a:pt x="208" y="535"/>
                  </a:lnTo>
                  <a:lnTo>
                    <a:pt x="206" y="534"/>
                  </a:lnTo>
                  <a:lnTo>
                    <a:pt x="201" y="535"/>
                  </a:lnTo>
                  <a:lnTo>
                    <a:pt x="199" y="539"/>
                  </a:lnTo>
                  <a:lnTo>
                    <a:pt x="199" y="542"/>
                  </a:lnTo>
                  <a:lnTo>
                    <a:pt x="196" y="543"/>
                  </a:lnTo>
                  <a:lnTo>
                    <a:pt x="193" y="541"/>
                  </a:lnTo>
                  <a:lnTo>
                    <a:pt x="185" y="537"/>
                  </a:lnTo>
                  <a:lnTo>
                    <a:pt x="179" y="535"/>
                  </a:lnTo>
                  <a:lnTo>
                    <a:pt x="173" y="533"/>
                  </a:lnTo>
                  <a:lnTo>
                    <a:pt x="171" y="534"/>
                  </a:lnTo>
                  <a:lnTo>
                    <a:pt x="171" y="536"/>
                  </a:lnTo>
                  <a:lnTo>
                    <a:pt x="173" y="539"/>
                  </a:lnTo>
                  <a:lnTo>
                    <a:pt x="179" y="545"/>
                  </a:lnTo>
                  <a:lnTo>
                    <a:pt x="179" y="546"/>
                  </a:lnTo>
                  <a:lnTo>
                    <a:pt x="176" y="546"/>
                  </a:lnTo>
                  <a:lnTo>
                    <a:pt x="166" y="543"/>
                  </a:lnTo>
                  <a:lnTo>
                    <a:pt x="161" y="543"/>
                  </a:lnTo>
                  <a:lnTo>
                    <a:pt x="157" y="551"/>
                  </a:lnTo>
                  <a:lnTo>
                    <a:pt x="154" y="552"/>
                  </a:lnTo>
                  <a:lnTo>
                    <a:pt x="151" y="551"/>
                  </a:lnTo>
                  <a:lnTo>
                    <a:pt x="146" y="549"/>
                  </a:lnTo>
                  <a:lnTo>
                    <a:pt x="145" y="543"/>
                  </a:lnTo>
                  <a:lnTo>
                    <a:pt x="147" y="537"/>
                  </a:lnTo>
                  <a:lnTo>
                    <a:pt x="143" y="536"/>
                  </a:lnTo>
                  <a:lnTo>
                    <a:pt x="130" y="536"/>
                  </a:lnTo>
                  <a:lnTo>
                    <a:pt x="130" y="539"/>
                  </a:lnTo>
                  <a:lnTo>
                    <a:pt x="129" y="541"/>
                  </a:lnTo>
                  <a:lnTo>
                    <a:pt x="124" y="543"/>
                  </a:lnTo>
                  <a:lnTo>
                    <a:pt x="119" y="543"/>
                  </a:lnTo>
                  <a:lnTo>
                    <a:pt x="118" y="540"/>
                  </a:lnTo>
                  <a:lnTo>
                    <a:pt x="116" y="540"/>
                  </a:lnTo>
                  <a:lnTo>
                    <a:pt x="107" y="545"/>
                  </a:lnTo>
                  <a:lnTo>
                    <a:pt x="104" y="547"/>
                  </a:lnTo>
                  <a:lnTo>
                    <a:pt x="101" y="548"/>
                  </a:lnTo>
                  <a:lnTo>
                    <a:pt x="98" y="545"/>
                  </a:lnTo>
                  <a:lnTo>
                    <a:pt x="90" y="540"/>
                  </a:lnTo>
                  <a:lnTo>
                    <a:pt x="88" y="537"/>
                  </a:lnTo>
                  <a:lnTo>
                    <a:pt x="88" y="535"/>
                  </a:lnTo>
                  <a:lnTo>
                    <a:pt x="90" y="531"/>
                  </a:lnTo>
                  <a:lnTo>
                    <a:pt x="88" y="529"/>
                  </a:lnTo>
                  <a:lnTo>
                    <a:pt x="82" y="527"/>
                  </a:lnTo>
                  <a:lnTo>
                    <a:pt x="78" y="523"/>
                  </a:lnTo>
                  <a:lnTo>
                    <a:pt x="76" y="515"/>
                  </a:lnTo>
                  <a:lnTo>
                    <a:pt x="78" y="512"/>
                  </a:lnTo>
                  <a:lnTo>
                    <a:pt x="83" y="512"/>
                  </a:lnTo>
                  <a:lnTo>
                    <a:pt x="90" y="513"/>
                  </a:lnTo>
                  <a:lnTo>
                    <a:pt x="95" y="517"/>
                  </a:lnTo>
                  <a:lnTo>
                    <a:pt x="101" y="522"/>
                  </a:lnTo>
                  <a:lnTo>
                    <a:pt x="102" y="521"/>
                  </a:lnTo>
                  <a:lnTo>
                    <a:pt x="101" y="516"/>
                  </a:lnTo>
                  <a:lnTo>
                    <a:pt x="100" y="515"/>
                  </a:lnTo>
                  <a:lnTo>
                    <a:pt x="102" y="512"/>
                  </a:lnTo>
                  <a:lnTo>
                    <a:pt x="106" y="507"/>
                  </a:lnTo>
                  <a:lnTo>
                    <a:pt x="110" y="501"/>
                  </a:lnTo>
                  <a:lnTo>
                    <a:pt x="116" y="498"/>
                  </a:lnTo>
                  <a:lnTo>
                    <a:pt x="122" y="493"/>
                  </a:lnTo>
                  <a:lnTo>
                    <a:pt x="123" y="488"/>
                  </a:lnTo>
                  <a:lnTo>
                    <a:pt x="124" y="486"/>
                  </a:lnTo>
                  <a:lnTo>
                    <a:pt x="123" y="485"/>
                  </a:lnTo>
                  <a:lnTo>
                    <a:pt x="112" y="480"/>
                  </a:lnTo>
                  <a:lnTo>
                    <a:pt x="108" y="476"/>
                  </a:lnTo>
                  <a:lnTo>
                    <a:pt x="107" y="468"/>
                  </a:lnTo>
                  <a:lnTo>
                    <a:pt x="107" y="452"/>
                  </a:lnTo>
                  <a:lnTo>
                    <a:pt x="108" y="447"/>
                  </a:lnTo>
                  <a:lnTo>
                    <a:pt x="110" y="442"/>
                  </a:lnTo>
                  <a:lnTo>
                    <a:pt x="104" y="440"/>
                  </a:lnTo>
                  <a:lnTo>
                    <a:pt x="100" y="438"/>
                  </a:lnTo>
                  <a:lnTo>
                    <a:pt x="96" y="433"/>
                  </a:lnTo>
                  <a:lnTo>
                    <a:pt x="94" y="424"/>
                  </a:lnTo>
                  <a:lnTo>
                    <a:pt x="98" y="418"/>
                  </a:lnTo>
                  <a:lnTo>
                    <a:pt x="104" y="412"/>
                  </a:lnTo>
                  <a:lnTo>
                    <a:pt x="106" y="406"/>
                  </a:lnTo>
                  <a:lnTo>
                    <a:pt x="104" y="402"/>
                  </a:lnTo>
                  <a:lnTo>
                    <a:pt x="104" y="396"/>
                  </a:lnTo>
                  <a:lnTo>
                    <a:pt x="108" y="390"/>
                  </a:lnTo>
                  <a:lnTo>
                    <a:pt x="112" y="385"/>
                  </a:lnTo>
                  <a:lnTo>
                    <a:pt x="111" y="378"/>
                  </a:lnTo>
                  <a:lnTo>
                    <a:pt x="111" y="376"/>
                  </a:lnTo>
                  <a:lnTo>
                    <a:pt x="113" y="375"/>
                  </a:lnTo>
                  <a:lnTo>
                    <a:pt x="119" y="378"/>
                  </a:lnTo>
                  <a:lnTo>
                    <a:pt x="125" y="380"/>
                  </a:lnTo>
                  <a:lnTo>
                    <a:pt x="133" y="378"/>
                  </a:lnTo>
                  <a:lnTo>
                    <a:pt x="135" y="378"/>
                  </a:lnTo>
                  <a:lnTo>
                    <a:pt x="137" y="379"/>
                  </a:lnTo>
                  <a:lnTo>
                    <a:pt x="141" y="382"/>
                  </a:lnTo>
                  <a:lnTo>
                    <a:pt x="146" y="385"/>
                  </a:lnTo>
                  <a:lnTo>
                    <a:pt x="151" y="382"/>
                  </a:lnTo>
                  <a:lnTo>
                    <a:pt x="152" y="382"/>
                  </a:lnTo>
                  <a:lnTo>
                    <a:pt x="153" y="385"/>
                  </a:lnTo>
                  <a:lnTo>
                    <a:pt x="154" y="393"/>
                  </a:lnTo>
                  <a:lnTo>
                    <a:pt x="155" y="396"/>
                  </a:lnTo>
                  <a:lnTo>
                    <a:pt x="159" y="398"/>
                  </a:lnTo>
                  <a:lnTo>
                    <a:pt x="164" y="399"/>
                  </a:lnTo>
                  <a:lnTo>
                    <a:pt x="166" y="396"/>
                  </a:lnTo>
                  <a:lnTo>
                    <a:pt x="169" y="391"/>
                  </a:lnTo>
                  <a:lnTo>
                    <a:pt x="167" y="387"/>
                  </a:lnTo>
                  <a:lnTo>
                    <a:pt x="163" y="384"/>
                  </a:lnTo>
                  <a:lnTo>
                    <a:pt x="152" y="379"/>
                  </a:lnTo>
                  <a:lnTo>
                    <a:pt x="148" y="378"/>
                  </a:lnTo>
                  <a:lnTo>
                    <a:pt x="148" y="374"/>
                  </a:lnTo>
                  <a:lnTo>
                    <a:pt x="151" y="366"/>
                  </a:lnTo>
                  <a:lnTo>
                    <a:pt x="153" y="361"/>
                  </a:lnTo>
                  <a:lnTo>
                    <a:pt x="152" y="356"/>
                  </a:lnTo>
                  <a:lnTo>
                    <a:pt x="155" y="355"/>
                  </a:lnTo>
                  <a:lnTo>
                    <a:pt x="161" y="356"/>
                  </a:lnTo>
                  <a:lnTo>
                    <a:pt x="169" y="357"/>
                  </a:lnTo>
                  <a:lnTo>
                    <a:pt x="176" y="363"/>
                  </a:lnTo>
                  <a:lnTo>
                    <a:pt x="181" y="367"/>
                  </a:lnTo>
                  <a:lnTo>
                    <a:pt x="185" y="366"/>
                  </a:lnTo>
                  <a:lnTo>
                    <a:pt x="185" y="364"/>
                  </a:lnTo>
                  <a:lnTo>
                    <a:pt x="183" y="362"/>
                  </a:lnTo>
                  <a:lnTo>
                    <a:pt x="173" y="351"/>
                  </a:lnTo>
                  <a:lnTo>
                    <a:pt x="166" y="349"/>
                  </a:lnTo>
                  <a:lnTo>
                    <a:pt x="166" y="344"/>
                  </a:lnTo>
                  <a:lnTo>
                    <a:pt x="171" y="332"/>
                  </a:lnTo>
                  <a:lnTo>
                    <a:pt x="175" y="331"/>
                  </a:lnTo>
                  <a:lnTo>
                    <a:pt x="179" y="331"/>
                  </a:lnTo>
                  <a:lnTo>
                    <a:pt x="183" y="328"/>
                  </a:lnTo>
                  <a:lnTo>
                    <a:pt x="188" y="331"/>
                  </a:lnTo>
                  <a:lnTo>
                    <a:pt x="193" y="331"/>
                  </a:lnTo>
                  <a:lnTo>
                    <a:pt x="195" y="332"/>
                  </a:lnTo>
                  <a:lnTo>
                    <a:pt x="196" y="337"/>
                  </a:lnTo>
                  <a:lnTo>
                    <a:pt x="196" y="345"/>
                  </a:lnTo>
                  <a:lnTo>
                    <a:pt x="198" y="348"/>
                  </a:lnTo>
                  <a:lnTo>
                    <a:pt x="200" y="345"/>
                  </a:lnTo>
                  <a:lnTo>
                    <a:pt x="206" y="343"/>
                  </a:lnTo>
                  <a:lnTo>
                    <a:pt x="208" y="339"/>
                  </a:lnTo>
                  <a:lnTo>
                    <a:pt x="211" y="335"/>
                  </a:lnTo>
                  <a:lnTo>
                    <a:pt x="210" y="333"/>
                  </a:lnTo>
                  <a:lnTo>
                    <a:pt x="207" y="332"/>
                  </a:lnTo>
                  <a:lnTo>
                    <a:pt x="206" y="332"/>
                  </a:lnTo>
                  <a:lnTo>
                    <a:pt x="205" y="331"/>
                  </a:lnTo>
                  <a:lnTo>
                    <a:pt x="204" y="327"/>
                  </a:lnTo>
                  <a:lnTo>
                    <a:pt x="204" y="317"/>
                  </a:lnTo>
                  <a:lnTo>
                    <a:pt x="202" y="315"/>
                  </a:lnTo>
                  <a:lnTo>
                    <a:pt x="200" y="314"/>
                  </a:lnTo>
                  <a:lnTo>
                    <a:pt x="189" y="314"/>
                  </a:lnTo>
                  <a:lnTo>
                    <a:pt x="182" y="309"/>
                  </a:lnTo>
                  <a:lnTo>
                    <a:pt x="178" y="305"/>
                  </a:lnTo>
                  <a:lnTo>
                    <a:pt x="178" y="304"/>
                  </a:lnTo>
                  <a:lnTo>
                    <a:pt x="182" y="297"/>
                  </a:lnTo>
                  <a:lnTo>
                    <a:pt x="188" y="291"/>
                  </a:lnTo>
                  <a:lnTo>
                    <a:pt x="193" y="289"/>
                  </a:lnTo>
                  <a:lnTo>
                    <a:pt x="195" y="286"/>
                  </a:lnTo>
                  <a:lnTo>
                    <a:pt x="200" y="287"/>
                  </a:lnTo>
                  <a:lnTo>
                    <a:pt x="210" y="291"/>
                  </a:lnTo>
                  <a:lnTo>
                    <a:pt x="218" y="291"/>
                  </a:lnTo>
                  <a:lnTo>
                    <a:pt x="225" y="291"/>
                  </a:lnTo>
                  <a:lnTo>
                    <a:pt x="232" y="290"/>
                  </a:lnTo>
                  <a:lnTo>
                    <a:pt x="240" y="291"/>
                  </a:lnTo>
                  <a:lnTo>
                    <a:pt x="243" y="291"/>
                  </a:lnTo>
                  <a:lnTo>
                    <a:pt x="247" y="291"/>
                  </a:lnTo>
                  <a:lnTo>
                    <a:pt x="249" y="289"/>
                  </a:lnTo>
                  <a:lnTo>
                    <a:pt x="252" y="284"/>
                  </a:lnTo>
                  <a:lnTo>
                    <a:pt x="253" y="280"/>
                  </a:lnTo>
                  <a:lnTo>
                    <a:pt x="257" y="277"/>
                  </a:lnTo>
                  <a:lnTo>
                    <a:pt x="263" y="272"/>
                  </a:lnTo>
                  <a:lnTo>
                    <a:pt x="264" y="269"/>
                  </a:lnTo>
                  <a:lnTo>
                    <a:pt x="263" y="268"/>
                  </a:lnTo>
                  <a:lnTo>
                    <a:pt x="258" y="268"/>
                  </a:lnTo>
                  <a:lnTo>
                    <a:pt x="254" y="268"/>
                  </a:lnTo>
                  <a:lnTo>
                    <a:pt x="248" y="272"/>
                  </a:lnTo>
                  <a:lnTo>
                    <a:pt x="246" y="266"/>
                  </a:lnTo>
                  <a:lnTo>
                    <a:pt x="242" y="263"/>
                  </a:lnTo>
                  <a:lnTo>
                    <a:pt x="237" y="262"/>
                  </a:lnTo>
                  <a:lnTo>
                    <a:pt x="238" y="261"/>
                  </a:lnTo>
                  <a:lnTo>
                    <a:pt x="236" y="257"/>
                  </a:lnTo>
                  <a:lnTo>
                    <a:pt x="226" y="251"/>
                  </a:lnTo>
                  <a:lnTo>
                    <a:pt x="223" y="248"/>
                  </a:lnTo>
                  <a:lnTo>
                    <a:pt x="230" y="247"/>
                  </a:lnTo>
                  <a:lnTo>
                    <a:pt x="236" y="248"/>
                  </a:lnTo>
                  <a:lnTo>
                    <a:pt x="237" y="250"/>
                  </a:lnTo>
                  <a:lnTo>
                    <a:pt x="242" y="250"/>
                  </a:lnTo>
                  <a:lnTo>
                    <a:pt x="246" y="250"/>
                  </a:lnTo>
                  <a:lnTo>
                    <a:pt x="247" y="249"/>
                  </a:lnTo>
                  <a:lnTo>
                    <a:pt x="248" y="248"/>
                  </a:lnTo>
                  <a:lnTo>
                    <a:pt x="251" y="244"/>
                  </a:lnTo>
                  <a:lnTo>
                    <a:pt x="254" y="236"/>
                  </a:lnTo>
                  <a:lnTo>
                    <a:pt x="255" y="239"/>
                  </a:lnTo>
                  <a:lnTo>
                    <a:pt x="259" y="239"/>
                  </a:lnTo>
                  <a:lnTo>
                    <a:pt x="260" y="242"/>
                  </a:lnTo>
                  <a:lnTo>
                    <a:pt x="263" y="248"/>
                  </a:lnTo>
                  <a:lnTo>
                    <a:pt x="267" y="251"/>
                  </a:lnTo>
                  <a:lnTo>
                    <a:pt x="269" y="253"/>
                  </a:lnTo>
                  <a:lnTo>
                    <a:pt x="271" y="249"/>
                  </a:lnTo>
                  <a:lnTo>
                    <a:pt x="279" y="238"/>
                  </a:lnTo>
                  <a:lnTo>
                    <a:pt x="284" y="235"/>
                  </a:lnTo>
                  <a:lnTo>
                    <a:pt x="284" y="231"/>
                  </a:lnTo>
                  <a:lnTo>
                    <a:pt x="277" y="227"/>
                  </a:lnTo>
                  <a:lnTo>
                    <a:pt x="273" y="225"/>
                  </a:lnTo>
                  <a:lnTo>
                    <a:pt x="265" y="225"/>
                  </a:lnTo>
                  <a:lnTo>
                    <a:pt x="255" y="227"/>
                  </a:lnTo>
                  <a:lnTo>
                    <a:pt x="251" y="227"/>
                  </a:lnTo>
                  <a:lnTo>
                    <a:pt x="248" y="226"/>
                  </a:lnTo>
                  <a:lnTo>
                    <a:pt x="244" y="225"/>
                  </a:lnTo>
                  <a:lnTo>
                    <a:pt x="241" y="225"/>
                  </a:lnTo>
                  <a:lnTo>
                    <a:pt x="235" y="222"/>
                  </a:lnTo>
                  <a:lnTo>
                    <a:pt x="217" y="218"/>
                  </a:lnTo>
                  <a:lnTo>
                    <a:pt x="214" y="215"/>
                  </a:lnTo>
                  <a:lnTo>
                    <a:pt x="206" y="215"/>
                  </a:lnTo>
                  <a:lnTo>
                    <a:pt x="194" y="221"/>
                  </a:lnTo>
                  <a:lnTo>
                    <a:pt x="185" y="226"/>
                  </a:lnTo>
                  <a:lnTo>
                    <a:pt x="173" y="228"/>
                  </a:lnTo>
                  <a:lnTo>
                    <a:pt x="165" y="231"/>
                  </a:lnTo>
                  <a:lnTo>
                    <a:pt x="147" y="232"/>
                  </a:lnTo>
                  <a:lnTo>
                    <a:pt x="143" y="235"/>
                  </a:lnTo>
                  <a:lnTo>
                    <a:pt x="140" y="238"/>
                  </a:lnTo>
                  <a:lnTo>
                    <a:pt x="134" y="238"/>
                  </a:lnTo>
                  <a:lnTo>
                    <a:pt x="130" y="236"/>
                  </a:lnTo>
                  <a:lnTo>
                    <a:pt x="125" y="236"/>
                  </a:lnTo>
                  <a:lnTo>
                    <a:pt x="118" y="233"/>
                  </a:lnTo>
                  <a:lnTo>
                    <a:pt x="111" y="230"/>
                  </a:lnTo>
                  <a:lnTo>
                    <a:pt x="108" y="225"/>
                  </a:lnTo>
                  <a:lnTo>
                    <a:pt x="111" y="219"/>
                  </a:lnTo>
                  <a:lnTo>
                    <a:pt x="116" y="215"/>
                  </a:lnTo>
                  <a:lnTo>
                    <a:pt x="119" y="214"/>
                  </a:lnTo>
                  <a:lnTo>
                    <a:pt x="120" y="209"/>
                  </a:lnTo>
                  <a:lnTo>
                    <a:pt x="118" y="203"/>
                  </a:lnTo>
                  <a:lnTo>
                    <a:pt x="123" y="203"/>
                  </a:lnTo>
                  <a:lnTo>
                    <a:pt x="133" y="203"/>
                  </a:lnTo>
                  <a:lnTo>
                    <a:pt x="137" y="201"/>
                  </a:lnTo>
                  <a:lnTo>
                    <a:pt x="142" y="202"/>
                  </a:lnTo>
                  <a:lnTo>
                    <a:pt x="147" y="200"/>
                  </a:lnTo>
                  <a:lnTo>
                    <a:pt x="147" y="195"/>
                  </a:lnTo>
                  <a:lnTo>
                    <a:pt x="151" y="192"/>
                  </a:lnTo>
                  <a:lnTo>
                    <a:pt x="154" y="188"/>
                  </a:lnTo>
                  <a:lnTo>
                    <a:pt x="157" y="185"/>
                  </a:lnTo>
                  <a:lnTo>
                    <a:pt x="165" y="183"/>
                  </a:lnTo>
                  <a:lnTo>
                    <a:pt x="167" y="182"/>
                  </a:lnTo>
                  <a:lnTo>
                    <a:pt x="169" y="179"/>
                  </a:lnTo>
                  <a:lnTo>
                    <a:pt x="163" y="173"/>
                  </a:lnTo>
                  <a:lnTo>
                    <a:pt x="155" y="170"/>
                  </a:lnTo>
                  <a:lnTo>
                    <a:pt x="155" y="173"/>
                  </a:lnTo>
                  <a:lnTo>
                    <a:pt x="154" y="174"/>
                  </a:lnTo>
                  <a:lnTo>
                    <a:pt x="149" y="173"/>
                  </a:lnTo>
                  <a:lnTo>
                    <a:pt x="139" y="172"/>
                  </a:lnTo>
                  <a:lnTo>
                    <a:pt x="136" y="172"/>
                  </a:lnTo>
                  <a:lnTo>
                    <a:pt x="136" y="168"/>
                  </a:lnTo>
                  <a:lnTo>
                    <a:pt x="139" y="162"/>
                  </a:lnTo>
                  <a:lnTo>
                    <a:pt x="142" y="159"/>
                  </a:lnTo>
                  <a:lnTo>
                    <a:pt x="143" y="155"/>
                  </a:lnTo>
                  <a:lnTo>
                    <a:pt x="143" y="150"/>
                  </a:lnTo>
                  <a:lnTo>
                    <a:pt x="142" y="144"/>
                  </a:lnTo>
                  <a:lnTo>
                    <a:pt x="145" y="141"/>
                  </a:lnTo>
                  <a:lnTo>
                    <a:pt x="145" y="137"/>
                  </a:lnTo>
                  <a:lnTo>
                    <a:pt x="149" y="137"/>
                  </a:lnTo>
                  <a:lnTo>
                    <a:pt x="157" y="140"/>
                  </a:lnTo>
                  <a:lnTo>
                    <a:pt x="164" y="138"/>
                  </a:lnTo>
                  <a:lnTo>
                    <a:pt x="171" y="137"/>
                  </a:lnTo>
                  <a:lnTo>
                    <a:pt x="173" y="134"/>
                  </a:lnTo>
                  <a:lnTo>
                    <a:pt x="176" y="128"/>
                  </a:lnTo>
                  <a:lnTo>
                    <a:pt x="181" y="126"/>
                  </a:lnTo>
                  <a:lnTo>
                    <a:pt x="185" y="130"/>
                  </a:lnTo>
                  <a:lnTo>
                    <a:pt x="190" y="130"/>
                  </a:lnTo>
                  <a:lnTo>
                    <a:pt x="198" y="129"/>
                  </a:lnTo>
                  <a:lnTo>
                    <a:pt x="202" y="126"/>
                  </a:lnTo>
                  <a:lnTo>
                    <a:pt x="204" y="125"/>
                  </a:lnTo>
                  <a:lnTo>
                    <a:pt x="205" y="123"/>
                  </a:lnTo>
                  <a:lnTo>
                    <a:pt x="200" y="123"/>
                  </a:lnTo>
                  <a:lnTo>
                    <a:pt x="192" y="125"/>
                  </a:lnTo>
                  <a:lnTo>
                    <a:pt x="189" y="121"/>
                  </a:lnTo>
                  <a:lnTo>
                    <a:pt x="188" y="113"/>
                  </a:lnTo>
                  <a:lnTo>
                    <a:pt x="184" y="112"/>
                  </a:lnTo>
                  <a:lnTo>
                    <a:pt x="183" y="111"/>
                  </a:lnTo>
                  <a:lnTo>
                    <a:pt x="185" y="108"/>
                  </a:lnTo>
                  <a:lnTo>
                    <a:pt x="190" y="103"/>
                  </a:lnTo>
                  <a:lnTo>
                    <a:pt x="192" y="100"/>
                  </a:lnTo>
                  <a:lnTo>
                    <a:pt x="195" y="96"/>
                  </a:lnTo>
                  <a:lnTo>
                    <a:pt x="202" y="97"/>
                  </a:lnTo>
                  <a:lnTo>
                    <a:pt x="211" y="99"/>
                  </a:lnTo>
                  <a:lnTo>
                    <a:pt x="213" y="99"/>
                  </a:lnTo>
                  <a:lnTo>
                    <a:pt x="214" y="101"/>
                  </a:lnTo>
                  <a:lnTo>
                    <a:pt x="214" y="106"/>
                  </a:lnTo>
                  <a:lnTo>
                    <a:pt x="219" y="107"/>
                  </a:lnTo>
                  <a:lnTo>
                    <a:pt x="224" y="107"/>
                  </a:lnTo>
                  <a:lnTo>
                    <a:pt x="225" y="107"/>
                  </a:lnTo>
                  <a:lnTo>
                    <a:pt x="226" y="111"/>
                  </a:lnTo>
                  <a:lnTo>
                    <a:pt x="229" y="108"/>
                  </a:lnTo>
                  <a:lnTo>
                    <a:pt x="232" y="97"/>
                  </a:lnTo>
                  <a:lnTo>
                    <a:pt x="241" y="89"/>
                  </a:lnTo>
                  <a:lnTo>
                    <a:pt x="246" y="85"/>
                  </a:lnTo>
                  <a:lnTo>
                    <a:pt x="249" y="85"/>
                  </a:lnTo>
                  <a:lnTo>
                    <a:pt x="253" y="87"/>
                  </a:lnTo>
                  <a:lnTo>
                    <a:pt x="257" y="84"/>
                  </a:lnTo>
                  <a:lnTo>
                    <a:pt x="263" y="79"/>
                  </a:lnTo>
                  <a:lnTo>
                    <a:pt x="264" y="79"/>
                  </a:lnTo>
                  <a:lnTo>
                    <a:pt x="267" y="78"/>
                  </a:lnTo>
                  <a:lnTo>
                    <a:pt x="275" y="72"/>
                  </a:lnTo>
                  <a:lnTo>
                    <a:pt x="279" y="71"/>
                  </a:lnTo>
                  <a:lnTo>
                    <a:pt x="281" y="70"/>
                  </a:lnTo>
                  <a:lnTo>
                    <a:pt x="279" y="67"/>
                  </a:lnTo>
                  <a:lnTo>
                    <a:pt x="277" y="65"/>
                  </a:lnTo>
                  <a:lnTo>
                    <a:pt x="273" y="60"/>
                  </a:lnTo>
                  <a:lnTo>
                    <a:pt x="272" y="60"/>
                  </a:lnTo>
                  <a:lnTo>
                    <a:pt x="272" y="57"/>
                  </a:lnTo>
                  <a:lnTo>
                    <a:pt x="275" y="49"/>
                  </a:lnTo>
                  <a:lnTo>
                    <a:pt x="278" y="45"/>
                  </a:lnTo>
                  <a:lnTo>
                    <a:pt x="281" y="45"/>
                  </a:lnTo>
                  <a:lnTo>
                    <a:pt x="281" y="42"/>
                  </a:lnTo>
                  <a:lnTo>
                    <a:pt x="276" y="40"/>
                  </a:lnTo>
                  <a:lnTo>
                    <a:pt x="276" y="35"/>
                  </a:lnTo>
                  <a:lnTo>
                    <a:pt x="281" y="30"/>
                  </a:lnTo>
                  <a:lnTo>
                    <a:pt x="283" y="28"/>
                  </a:lnTo>
                  <a:lnTo>
                    <a:pt x="288" y="29"/>
                  </a:lnTo>
                  <a:lnTo>
                    <a:pt x="295" y="27"/>
                  </a:lnTo>
                  <a:lnTo>
                    <a:pt x="297" y="24"/>
                  </a:lnTo>
                  <a:lnTo>
                    <a:pt x="294" y="21"/>
                  </a:lnTo>
                  <a:lnTo>
                    <a:pt x="293" y="19"/>
                  </a:lnTo>
                  <a:lnTo>
                    <a:pt x="296" y="18"/>
                  </a:lnTo>
                  <a:lnTo>
                    <a:pt x="305" y="18"/>
                  </a:lnTo>
                  <a:lnTo>
                    <a:pt x="312" y="19"/>
                  </a:lnTo>
                  <a:lnTo>
                    <a:pt x="317" y="18"/>
                  </a:lnTo>
                  <a:lnTo>
                    <a:pt x="322" y="19"/>
                  </a:lnTo>
                  <a:lnTo>
                    <a:pt x="324" y="19"/>
                  </a:lnTo>
                  <a:lnTo>
                    <a:pt x="328" y="17"/>
                  </a:lnTo>
                  <a:lnTo>
                    <a:pt x="331" y="12"/>
                  </a:lnTo>
                  <a:lnTo>
                    <a:pt x="334" y="10"/>
                  </a:lnTo>
                  <a:lnTo>
                    <a:pt x="335" y="7"/>
                  </a:lnTo>
                  <a:lnTo>
                    <a:pt x="335" y="6"/>
                  </a:lnTo>
                  <a:lnTo>
                    <a:pt x="338" y="6"/>
                  </a:lnTo>
                  <a:lnTo>
                    <a:pt x="346" y="6"/>
                  </a:lnTo>
                  <a:lnTo>
                    <a:pt x="352" y="10"/>
                  </a:lnTo>
                  <a:lnTo>
                    <a:pt x="355" y="14"/>
                  </a:lnTo>
                  <a:lnTo>
                    <a:pt x="359" y="14"/>
                  </a:lnTo>
                  <a:lnTo>
                    <a:pt x="361" y="14"/>
                  </a:lnTo>
                  <a:lnTo>
                    <a:pt x="365" y="12"/>
                  </a:lnTo>
                  <a:lnTo>
                    <a:pt x="375" y="4"/>
                  </a:lnTo>
                  <a:lnTo>
                    <a:pt x="388" y="0"/>
                  </a:lnTo>
                  <a:lnTo>
                    <a:pt x="390" y="0"/>
                  </a:lnTo>
                  <a:lnTo>
                    <a:pt x="393" y="2"/>
                  </a:lnTo>
                  <a:lnTo>
                    <a:pt x="401" y="8"/>
                  </a:lnTo>
                  <a:lnTo>
                    <a:pt x="406" y="14"/>
                  </a:lnTo>
                  <a:lnTo>
                    <a:pt x="409" y="16"/>
                  </a:lnTo>
                  <a:lnTo>
                    <a:pt x="414" y="11"/>
                  </a:lnTo>
                  <a:lnTo>
                    <a:pt x="419" y="13"/>
                  </a:lnTo>
                  <a:lnTo>
                    <a:pt x="423" y="19"/>
                  </a:lnTo>
                  <a:lnTo>
                    <a:pt x="425" y="21"/>
                  </a:lnTo>
                  <a:lnTo>
                    <a:pt x="429" y="22"/>
                  </a:lnTo>
                  <a:lnTo>
                    <a:pt x="428" y="24"/>
                  </a:lnTo>
                  <a:lnTo>
                    <a:pt x="430" y="23"/>
                  </a:lnTo>
                  <a:lnTo>
                    <a:pt x="435" y="18"/>
                  </a:lnTo>
                  <a:lnTo>
                    <a:pt x="438" y="16"/>
                  </a:lnTo>
                  <a:lnTo>
                    <a:pt x="440" y="11"/>
                  </a:lnTo>
                  <a:lnTo>
                    <a:pt x="442" y="10"/>
                  </a:lnTo>
                  <a:lnTo>
                    <a:pt x="447" y="12"/>
                  </a:lnTo>
                  <a:lnTo>
                    <a:pt x="454" y="19"/>
                  </a:lnTo>
                  <a:lnTo>
                    <a:pt x="458" y="22"/>
                  </a:lnTo>
                  <a:lnTo>
                    <a:pt x="460" y="24"/>
                  </a:lnTo>
                  <a:lnTo>
                    <a:pt x="461" y="28"/>
                  </a:lnTo>
                  <a:lnTo>
                    <a:pt x="462" y="35"/>
                  </a:lnTo>
                  <a:lnTo>
                    <a:pt x="465" y="45"/>
                  </a:lnTo>
                  <a:lnTo>
                    <a:pt x="461" y="51"/>
                  </a:lnTo>
                  <a:lnTo>
                    <a:pt x="458" y="54"/>
                  </a:lnTo>
                  <a:lnTo>
                    <a:pt x="456" y="58"/>
                  </a:lnTo>
                  <a:lnTo>
                    <a:pt x="456" y="61"/>
                  </a:lnTo>
                  <a:lnTo>
                    <a:pt x="458" y="66"/>
                  </a:lnTo>
                  <a:lnTo>
                    <a:pt x="462" y="71"/>
                  </a:lnTo>
                  <a:lnTo>
                    <a:pt x="466" y="70"/>
                  </a:lnTo>
                  <a:lnTo>
                    <a:pt x="468" y="67"/>
                  </a:lnTo>
                  <a:lnTo>
                    <a:pt x="472" y="65"/>
                  </a:lnTo>
                  <a:lnTo>
                    <a:pt x="473" y="69"/>
                  </a:lnTo>
                  <a:lnTo>
                    <a:pt x="473" y="75"/>
                  </a:lnTo>
                  <a:lnTo>
                    <a:pt x="470" y="79"/>
                  </a:lnTo>
                  <a:lnTo>
                    <a:pt x="466" y="83"/>
                  </a:lnTo>
                  <a:lnTo>
                    <a:pt x="465" y="85"/>
                  </a:lnTo>
                  <a:lnTo>
                    <a:pt x="466" y="87"/>
                  </a:lnTo>
                  <a:lnTo>
                    <a:pt x="470" y="87"/>
                  </a:lnTo>
                  <a:lnTo>
                    <a:pt x="472" y="88"/>
                  </a:lnTo>
                  <a:lnTo>
                    <a:pt x="476" y="90"/>
                  </a:lnTo>
                  <a:lnTo>
                    <a:pt x="479" y="93"/>
                  </a:lnTo>
                  <a:lnTo>
                    <a:pt x="483" y="94"/>
                  </a:lnTo>
                  <a:lnTo>
                    <a:pt x="488" y="90"/>
                  </a:lnTo>
                  <a:lnTo>
                    <a:pt x="495" y="88"/>
                  </a:lnTo>
                  <a:lnTo>
                    <a:pt x="496" y="85"/>
                  </a:lnTo>
                  <a:lnTo>
                    <a:pt x="497" y="83"/>
                  </a:lnTo>
                  <a:lnTo>
                    <a:pt x="499" y="82"/>
                  </a:lnTo>
                  <a:lnTo>
                    <a:pt x="495" y="81"/>
                  </a:lnTo>
                  <a:lnTo>
                    <a:pt x="489" y="76"/>
                  </a:lnTo>
                  <a:lnTo>
                    <a:pt x="487" y="72"/>
                  </a:lnTo>
                  <a:lnTo>
                    <a:pt x="488" y="67"/>
                  </a:lnTo>
                  <a:lnTo>
                    <a:pt x="490" y="66"/>
                  </a:lnTo>
                  <a:lnTo>
                    <a:pt x="499" y="69"/>
                  </a:lnTo>
                  <a:lnTo>
                    <a:pt x="503" y="72"/>
                  </a:lnTo>
                  <a:lnTo>
                    <a:pt x="503" y="76"/>
                  </a:lnTo>
                  <a:lnTo>
                    <a:pt x="505" y="79"/>
                  </a:lnTo>
                  <a:lnTo>
                    <a:pt x="507" y="79"/>
                  </a:lnTo>
                  <a:lnTo>
                    <a:pt x="509" y="76"/>
                  </a:lnTo>
                  <a:lnTo>
                    <a:pt x="512" y="75"/>
                  </a:lnTo>
                  <a:lnTo>
                    <a:pt x="518" y="72"/>
                  </a:lnTo>
                  <a:lnTo>
                    <a:pt x="525" y="69"/>
                  </a:lnTo>
                  <a:lnTo>
                    <a:pt x="529" y="69"/>
                  </a:lnTo>
                  <a:lnTo>
                    <a:pt x="532" y="71"/>
                  </a:lnTo>
                  <a:lnTo>
                    <a:pt x="533" y="76"/>
                  </a:lnTo>
                  <a:lnTo>
                    <a:pt x="535" y="82"/>
                  </a:lnTo>
                  <a:lnTo>
                    <a:pt x="536" y="85"/>
                  </a:lnTo>
                  <a:lnTo>
                    <a:pt x="538" y="87"/>
                  </a:lnTo>
                  <a:lnTo>
                    <a:pt x="541" y="83"/>
                  </a:lnTo>
                  <a:lnTo>
                    <a:pt x="547" y="81"/>
                  </a:lnTo>
                  <a:lnTo>
                    <a:pt x="555" y="82"/>
                  </a:lnTo>
                  <a:lnTo>
                    <a:pt x="555" y="85"/>
                  </a:lnTo>
                  <a:lnTo>
                    <a:pt x="555" y="90"/>
                  </a:lnTo>
                  <a:lnTo>
                    <a:pt x="558" y="91"/>
                  </a:lnTo>
                  <a:lnTo>
                    <a:pt x="560" y="94"/>
                  </a:lnTo>
                  <a:lnTo>
                    <a:pt x="558" y="97"/>
                  </a:lnTo>
                  <a:lnTo>
                    <a:pt x="559" y="100"/>
                  </a:lnTo>
                  <a:lnTo>
                    <a:pt x="558" y="102"/>
                  </a:lnTo>
                  <a:lnTo>
                    <a:pt x="554" y="102"/>
                  </a:lnTo>
                  <a:lnTo>
                    <a:pt x="554" y="106"/>
                  </a:lnTo>
                  <a:lnTo>
                    <a:pt x="554" y="113"/>
                  </a:lnTo>
                  <a:lnTo>
                    <a:pt x="553" y="115"/>
                  </a:lnTo>
                  <a:lnTo>
                    <a:pt x="544" y="115"/>
                  </a:lnTo>
                  <a:lnTo>
                    <a:pt x="542" y="114"/>
                  </a:lnTo>
                  <a:lnTo>
                    <a:pt x="539" y="115"/>
                  </a:lnTo>
                  <a:lnTo>
                    <a:pt x="537" y="118"/>
                  </a:lnTo>
                  <a:lnTo>
                    <a:pt x="535" y="120"/>
                  </a:lnTo>
                  <a:lnTo>
                    <a:pt x="536" y="125"/>
                  </a:lnTo>
                  <a:lnTo>
                    <a:pt x="536" y="124"/>
                  </a:lnTo>
                  <a:lnTo>
                    <a:pt x="539" y="121"/>
                  </a:lnTo>
                  <a:lnTo>
                    <a:pt x="548" y="121"/>
                  </a:lnTo>
                  <a:lnTo>
                    <a:pt x="554" y="121"/>
                  </a:lnTo>
                  <a:lnTo>
                    <a:pt x="555" y="124"/>
                  </a:lnTo>
                  <a:lnTo>
                    <a:pt x="556" y="128"/>
                  </a:lnTo>
                  <a:lnTo>
                    <a:pt x="559" y="126"/>
                  </a:lnTo>
                  <a:lnTo>
                    <a:pt x="561" y="120"/>
                  </a:lnTo>
                  <a:lnTo>
                    <a:pt x="562" y="117"/>
                  </a:lnTo>
                  <a:lnTo>
                    <a:pt x="567" y="115"/>
                  </a:lnTo>
                  <a:lnTo>
                    <a:pt x="572" y="114"/>
                  </a:lnTo>
                  <a:lnTo>
                    <a:pt x="576" y="115"/>
                  </a:lnTo>
                  <a:lnTo>
                    <a:pt x="582" y="119"/>
                  </a:lnTo>
                  <a:lnTo>
                    <a:pt x="588" y="121"/>
                  </a:lnTo>
                  <a:lnTo>
                    <a:pt x="598" y="121"/>
                  </a:lnTo>
                  <a:lnTo>
                    <a:pt x="602" y="121"/>
                  </a:lnTo>
                  <a:lnTo>
                    <a:pt x="603" y="124"/>
                  </a:lnTo>
                  <a:lnTo>
                    <a:pt x="603" y="126"/>
                  </a:lnTo>
                  <a:lnTo>
                    <a:pt x="603" y="129"/>
                  </a:lnTo>
                  <a:lnTo>
                    <a:pt x="606" y="130"/>
                  </a:lnTo>
                  <a:lnTo>
                    <a:pt x="609" y="130"/>
                  </a:lnTo>
                  <a:lnTo>
                    <a:pt x="612" y="129"/>
                  </a:lnTo>
                  <a:lnTo>
                    <a:pt x="614" y="120"/>
                  </a:lnTo>
                  <a:lnTo>
                    <a:pt x="618" y="115"/>
                  </a:lnTo>
                  <a:lnTo>
                    <a:pt x="621" y="113"/>
                  </a:lnTo>
                  <a:lnTo>
                    <a:pt x="626" y="113"/>
                  </a:lnTo>
                  <a:lnTo>
                    <a:pt x="633" y="113"/>
                  </a:lnTo>
                  <a:lnTo>
                    <a:pt x="638" y="109"/>
                  </a:lnTo>
                  <a:lnTo>
                    <a:pt x="641" y="107"/>
                  </a:lnTo>
                  <a:lnTo>
                    <a:pt x="647" y="109"/>
                  </a:lnTo>
                  <a:lnTo>
                    <a:pt x="653" y="109"/>
                  </a:lnTo>
                  <a:lnTo>
                    <a:pt x="656" y="109"/>
                  </a:lnTo>
                  <a:lnTo>
                    <a:pt x="660" y="113"/>
                  </a:lnTo>
                  <a:lnTo>
                    <a:pt x="663" y="113"/>
                  </a:lnTo>
                  <a:lnTo>
                    <a:pt x="667" y="111"/>
                  </a:lnTo>
                  <a:lnTo>
                    <a:pt x="671" y="111"/>
                  </a:lnTo>
                  <a:lnTo>
                    <a:pt x="674" y="114"/>
                  </a:lnTo>
                  <a:lnTo>
                    <a:pt x="680" y="114"/>
                  </a:lnTo>
                  <a:lnTo>
                    <a:pt x="690" y="108"/>
                  </a:lnTo>
                  <a:lnTo>
                    <a:pt x="696" y="105"/>
                  </a:lnTo>
                  <a:lnTo>
                    <a:pt x="702" y="103"/>
                  </a:lnTo>
                  <a:lnTo>
                    <a:pt x="708" y="103"/>
                  </a:lnTo>
                  <a:lnTo>
                    <a:pt x="709" y="107"/>
                  </a:lnTo>
                  <a:lnTo>
                    <a:pt x="707" y="112"/>
                  </a:lnTo>
                  <a:lnTo>
                    <a:pt x="707" y="114"/>
                  </a:lnTo>
                  <a:lnTo>
                    <a:pt x="709" y="117"/>
                  </a:lnTo>
                  <a:lnTo>
                    <a:pt x="715" y="119"/>
                  </a:lnTo>
                  <a:lnTo>
                    <a:pt x="718" y="120"/>
                  </a:lnTo>
                  <a:lnTo>
                    <a:pt x="716" y="124"/>
                  </a:lnTo>
                  <a:lnTo>
                    <a:pt x="716" y="125"/>
                  </a:lnTo>
                  <a:lnTo>
                    <a:pt x="720" y="126"/>
                  </a:lnTo>
                  <a:lnTo>
                    <a:pt x="721" y="124"/>
                  </a:lnTo>
                  <a:lnTo>
                    <a:pt x="724" y="121"/>
                  </a:lnTo>
                  <a:lnTo>
                    <a:pt x="727" y="121"/>
                  </a:lnTo>
                  <a:lnTo>
                    <a:pt x="731" y="129"/>
                  </a:lnTo>
                  <a:lnTo>
                    <a:pt x="733" y="132"/>
                  </a:lnTo>
                  <a:lnTo>
                    <a:pt x="736" y="136"/>
                  </a:lnTo>
                  <a:lnTo>
                    <a:pt x="737" y="140"/>
                  </a:lnTo>
                  <a:lnTo>
                    <a:pt x="741" y="141"/>
                  </a:lnTo>
                  <a:lnTo>
                    <a:pt x="743" y="138"/>
                  </a:lnTo>
                  <a:lnTo>
                    <a:pt x="747" y="137"/>
                  </a:lnTo>
                  <a:lnTo>
                    <a:pt x="754" y="141"/>
                  </a:lnTo>
                  <a:lnTo>
                    <a:pt x="760" y="143"/>
                  </a:lnTo>
                  <a:lnTo>
                    <a:pt x="762" y="137"/>
                  </a:lnTo>
                  <a:lnTo>
                    <a:pt x="765" y="136"/>
                  </a:lnTo>
                  <a:lnTo>
                    <a:pt x="767" y="138"/>
                  </a:lnTo>
                  <a:lnTo>
                    <a:pt x="773" y="143"/>
                  </a:lnTo>
                  <a:lnTo>
                    <a:pt x="777" y="146"/>
                  </a:lnTo>
                  <a:lnTo>
                    <a:pt x="784" y="147"/>
                  </a:lnTo>
                  <a:lnTo>
                    <a:pt x="791" y="148"/>
                  </a:lnTo>
                  <a:lnTo>
                    <a:pt x="797" y="147"/>
                  </a:lnTo>
                  <a:lnTo>
                    <a:pt x="798" y="143"/>
                  </a:lnTo>
                  <a:lnTo>
                    <a:pt x="803" y="143"/>
                  </a:lnTo>
                  <a:lnTo>
                    <a:pt x="810" y="148"/>
                  </a:lnTo>
                  <a:lnTo>
                    <a:pt x="816" y="148"/>
                  </a:lnTo>
                  <a:lnTo>
                    <a:pt x="821" y="147"/>
                  </a:lnTo>
                  <a:lnTo>
                    <a:pt x="826" y="147"/>
                  </a:lnTo>
                  <a:lnTo>
                    <a:pt x="837" y="148"/>
                  </a:lnTo>
                  <a:lnTo>
                    <a:pt x="845" y="149"/>
                  </a:lnTo>
                  <a:lnTo>
                    <a:pt x="850" y="148"/>
                  </a:lnTo>
                  <a:lnTo>
                    <a:pt x="854" y="144"/>
                  </a:lnTo>
                  <a:lnTo>
                    <a:pt x="855" y="144"/>
                  </a:lnTo>
                  <a:lnTo>
                    <a:pt x="855" y="148"/>
                  </a:lnTo>
                  <a:lnTo>
                    <a:pt x="853" y="160"/>
                  </a:lnTo>
                  <a:lnTo>
                    <a:pt x="851" y="165"/>
                  </a:lnTo>
                  <a:lnTo>
                    <a:pt x="854" y="166"/>
                  </a:lnTo>
                  <a:lnTo>
                    <a:pt x="857" y="166"/>
                  </a:lnTo>
                  <a:lnTo>
                    <a:pt x="860" y="168"/>
                  </a:lnTo>
                  <a:lnTo>
                    <a:pt x="865" y="170"/>
                  </a:lnTo>
                  <a:lnTo>
                    <a:pt x="869" y="170"/>
                  </a:lnTo>
                  <a:lnTo>
                    <a:pt x="871" y="170"/>
                  </a:lnTo>
                  <a:lnTo>
                    <a:pt x="871" y="167"/>
                  </a:lnTo>
                  <a:lnTo>
                    <a:pt x="867" y="164"/>
                  </a:lnTo>
                  <a:lnTo>
                    <a:pt x="867" y="162"/>
                  </a:lnTo>
                  <a:lnTo>
                    <a:pt x="871" y="160"/>
                  </a:lnTo>
                  <a:lnTo>
                    <a:pt x="880" y="158"/>
                  </a:lnTo>
                  <a:lnTo>
                    <a:pt x="883" y="156"/>
                  </a:lnTo>
                  <a:lnTo>
                    <a:pt x="885" y="159"/>
                  </a:lnTo>
                  <a:lnTo>
                    <a:pt x="890" y="165"/>
                  </a:lnTo>
                  <a:lnTo>
                    <a:pt x="891" y="162"/>
                  </a:lnTo>
                  <a:lnTo>
                    <a:pt x="891" y="165"/>
                  </a:lnTo>
                  <a:lnTo>
                    <a:pt x="892" y="177"/>
                  </a:lnTo>
                  <a:lnTo>
                    <a:pt x="889" y="183"/>
                  </a:lnTo>
                  <a:lnTo>
                    <a:pt x="890" y="185"/>
                  </a:lnTo>
                  <a:lnTo>
                    <a:pt x="886" y="185"/>
                  </a:lnTo>
                  <a:lnTo>
                    <a:pt x="880" y="185"/>
                  </a:lnTo>
                  <a:lnTo>
                    <a:pt x="879" y="189"/>
                  </a:lnTo>
                  <a:lnTo>
                    <a:pt x="879" y="191"/>
                  </a:lnTo>
                  <a:lnTo>
                    <a:pt x="875" y="191"/>
                  </a:lnTo>
                  <a:lnTo>
                    <a:pt x="866" y="189"/>
                  </a:lnTo>
                  <a:lnTo>
                    <a:pt x="867" y="192"/>
                  </a:lnTo>
                  <a:lnTo>
                    <a:pt x="867" y="197"/>
                  </a:lnTo>
                  <a:lnTo>
                    <a:pt x="862" y="197"/>
                  </a:lnTo>
                  <a:lnTo>
                    <a:pt x="859" y="194"/>
                  </a:lnTo>
                  <a:lnTo>
                    <a:pt x="856" y="194"/>
                  </a:lnTo>
                  <a:lnTo>
                    <a:pt x="851" y="195"/>
                  </a:lnTo>
                  <a:lnTo>
                    <a:pt x="844" y="197"/>
                  </a:lnTo>
                  <a:lnTo>
                    <a:pt x="843" y="197"/>
                  </a:lnTo>
                  <a:lnTo>
                    <a:pt x="843" y="200"/>
                  </a:lnTo>
                  <a:lnTo>
                    <a:pt x="844" y="202"/>
                  </a:lnTo>
                  <a:lnTo>
                    <a:pt x="849" y="201"/>
                  </a:lnTo>
                  <a:lnTo>
                    <a:pt x="855" y="197"/>
                  </a:lnTo>
                  <a:lnTo>
                    <a:pt x="857" y="197"/>
                  </a:lnTo>
                  <a:lnTo>
                    <a:pt x="860" y="198"/>
                  </a:lnTo>
                  <a:lnTo>
                    <a:pt x="868" y="202"/>
                  </a:lnTo>
                  <a:lnTo>
                    <a:pt x="871" y="206"/>
                  </a:lnTo>
                  <a:lnTo>
                    <a:pt x="877" y="207"/>
                  </a:lnTo>
                  <a:lnTo>
                    <a:pt x="879" y="212"/>
                  </a:lnTo>
                  <a:lnTo>
                    <a:pt x="880" y="216"/>
                  </a:lnTo>
                  <a:lnTo>
                    <a:pt x="883" y="219"/>
                  </a:lnTo>
                  <a:lnTo>
                    <a:pt x="889" y="220"/>
                  </a:lnTo>
                  <a:lnTo>
                    <a:pt x="895" y="222"/>
                  </a:lnTo>
                  <a:lnTo>
                    <a:pt x="897" y="226"/>
                  </a:lnTo>
                  <a:lnTo>
                    <a:pt x="902" y="231"/>
                  </a:lnTo>
                  <a:lnTo>
                    <a:pt x="908" y="231"/>
                  </a:lnTo>
                  <a:lnTo>
                    <a:pt x="908" y="236"/>
                  </a:lnTo>
                  <a:lnTo>
                    <a:pt x="901" y="248"/>
                  </a:lnTo>
                  <a:lnTo>
                    <a:pt x="895" y="250"/>
                  </a:lnTo>
                  <a:lnTo>
                    <a:pt x="891" y="250"/>
                  </a:lnTo>
                  <a:lnTo>
                    <a:pt x="890" y="248"/>
                  </a:lnTo>
                  <a:lnTo>
                    <a:pt x="887" y="247"/>
                  </a:lnTo>
                  <a:lnTo>
                    <a:pt x="883" y="247"/>
                  </a:lnTo>
                  <a:lnTo>
                    <a:pt x="880" y="249"/>
                  </a:lnTo>
                  <a:lnTo>
                    <a:pt x="878" y="249"/>
                  </a:lnTo>
                  <a:lnTo>
                    <a:pt x="869" y="248"/>
                  </a:lnTo>
                  <a:lnTo>
                    <a:pt x="873" y="250"/>
                  </a:lnTo>
                  <a:lnTo>
                    <a:pt x="878" y="253"/>
                  </a:lnTo>
                  <a:lnTo>
                    <a:pt x="883" y="256"/>
                  </a:lnTo>
                  <a:lnTo>
                    <a:pt x="884" y="262"/>
                  </a:lnTo>
                  <a:lnTo>
                    <a:pt x="884" y="267"/>
                  </a:lnTo>
                  <a:lnTo>
                    <a:pt x="884" y="271"/>
                  </a:lnTo>
                  <a:lnTo>
                    <a:pt x="881" y="271"/>
                  </a:lnTo>
                  <a:lnTo>
                    <a:pt x="872" y="267"/>
                  </a:lnTo>
                  <a:lnTo>
                    <a:pt x="867" y="265"/>
                  </a:lnTo>
                  <a:lnTo>
                    <a:pt x="862" y="265"/>
                  </a:lnTo>
                  <a:lnTo>
                    <a:pt x="857" y="262"/>
                  </a:lnTo>
                  <a:lnTo>
                    <a:pt x="855" y="261"/>
                  </a:lnTo>
                  <a:lnTo>
                    <a:pt x="855" y="265"/>
                  </a:lnTo>
                  <a:lnTo>
                    <a:pt x="853" y="265"/>
                  </a:lnTo>
                  <a:lnTo>
                    <a:pt x="849" y="261"/>
                  </a:lnTo>
                  <a:lnTo>
                    <a:pt x="843" y="253"/>
                  </a:lnTo>
                  <a:lnTo>
                    <a:pt x="839" y="250"/>
                  </a:lnTo>
                  <a:lnTo>
                    <a:pt x="837" y="248"/>
                  </a:lnTo>
                  <a:lnTo>
                    <a:pt x="833" y="248"/>
                  </a:lnTo>
                  <a:lnTo>
                    <a:pt x="832" y="250"/>
                  </a:lnTo>
                  <a:lnTo>
                    <a:pt x="830" y="251"/>
                  </a:lnTo>
                  <a:lnTo>
                    <a:pt x="822" y="251"/>
                  </a:lnTo>
                  <a:lnTo>
                    <a:pt x="818" y="251"/>
                  </a:lnTo>
                  <a:lnTo>
                    <a:pt x="819" y="257"/>
                  </a:lnTo>
                  <a:lnTo>
                    <a:pt x="822" y="263"/>
                  </a:lnTo>
                  <a:lnTo>
                    <a:pt x="830" y="265"/>
                  </a:lnTo>
                  <a:lnTo>
                    <a:pt x="838" y="271"/>
                  </a:lnTo>
                  <a:lnTo>
                    <a:pt x="838" y="272"/>
                  </a:lnTo>
                  <a:lnTo>
                    <a:pt x="839" y="274"/>
                  </a:lnTo>
                  <a:lnTo>
                    <a:pt x="847" y="281"/>
                  </a:lnTo>
                  <a:lnTo>
                    <a:pt x="848" y="284"/>
                  </a:lnTo>
                  <a:lnTo>
                    <a:pt x="847" y="285"/>
                  </a:lnTo>
                  <a:lnTo>
                    <a:pt x="842" y="286"/>
                  </a:lnTo>
                  <a:lnTo>
                    <a:pt x="830" y="284"/>
                  </a:lnTo>
                  <a:lnTo>
                    <a:pt x="827" y="284"/>
                  </a:lnTo>
                  <a:lnTo>
                    <a:pt x="826" y="284"/>
                  </a:lnTo>
                  <a:lnTo>
                    <a:pt x="824" y="284"/>
                  </a:lnTo>
                  <a:lnTo>
                    <a:pt x="822" y="280"/>
                  </a:lnTo>
                  <a:lnTo>
                    <a:pt x="822" y="273"/>
                  </a:lnTo>
                  <a:lnTo>
                    <a:pt x="815" y="268"/>
                  </a:lnTo>
                  <a:lnTo>
                    <a:pt x="802" y="263"/>
                  </a:lnTo>
                  <a:lnTo>
                    <a:pt x="800" y="263"/>
                  </a:lnTo>
                  <a:lnTo>
                    <a:pt x="802" y="266"/>
                  </a:lnTo>
                  <a:lnTo>
                    <a:pt x="807" y="272"/>
                  </a:lnTo>
                  <a:lnTo>
                    <a:pt x="808" y="277"/>
                  </a:lnTo>
                  <a:lnTo>
                    <a:pt x="809" y="283"/>
                  </a:lnTo>
                  <a:lnTo>
                    <a:pt x="812" y="281"/>
                  </a:lnTo>
                  <a:lnTo>
                    <a:pt x="815" y="285"/>
                  </a:lnTo>
                  <a:lnTo>
                    <a:pt x="824" y="291"/>
                  </a:lnTo>
                  <a:lnTo>
                    <a:pt x="830" y="293"/>
                  </a:lnTo>
                  <a:lnTo>
                    <a:pt x="832" y="293"/>
                  </a:lnTo>
                  <a:lnTo>
                    <a:pt x="837" y="298"/>
                  </a:lnTo>
                  <a:lnTo>
                    <a:pt x="844" y="304"/>
                  </a:lnTo>
                  <a:lnTo>
                    <a:pt x="847" y="308"/>
                  </a:lnTo>
                  <a:lnTo>
                    <a:pt x="848" y="313"/>
                  </a:lnTo>
                  <a:lnTo>
                    <a:pt x="851" y="317"/>
                  </a:lnTo>
                  <a:lnTo>
                    <a:pt x="854" y="323"/>
                  </a:lnTo>
                  <a:lnTo>
                    <a:pt x="859" y="325"/>
                  </a:lnTo>
                  <a:lnTo>
                    <a:pt x="867" y="323"/>
                  </a:lnTo>
                  <a:lnTo>
                    <a:pt x="871" y="325"/>
                  </a:lnTo>
                  <a:lnTo>
                    <a:pt x="872" y="326"/>
                  </a:lnTo>
                  <a:lnTo>
                    <a:pt x="872" y="333"/>
                  </a:lnTo>
                  <a:lnTo>
                    <a:pt x="873" y="335"/>
                  </a:lnTo>
                  <a:lnTo>
                    <a:pt x="875" y="337"/>
                  </a:lnTo>
                  <a:lnTo>
                    <a:pt x="880" y="334"/>
                  </a:lnTo>
                  <a:lnTo>
                    <a:pt x="881" y="333"/>
                  </a:lnTo>
                  <a:lnTo>
                    <a:pt x="884" y="334"/>
                  </a:lnTo>
                  <a:lnTo>
                    <a:pt x="887" y="341"/>
                  </a:lnTo>
                  <a:lnTo>
                    <a:pt x="890" y="341"/>
                  </a:lnTo>
                  <a:lnTo>
                    <a:pt x="891" y="346"/>
                  </a:lnTo>
                  <a:lnTo>
                    <a:pt x="890" y="355"/>
                  </a:lnTo>
                  <a:lnTo>
                    <a:pt x="891" y="357"/>
                  </a:lnTo>
                  <a:lnTo>
                    <a:pt x="893" y="357"/>
                  </a:lnTo>
                  <a:lnTo>
                    <a:pt x="898" y="357"/>
                  </a:lnTo>
                  <a:lnTo>
                    <a:pt x="902" y="355"/>
                  </a:lnTo>
                  <a:lnTo>
                    <a:pt x="904" y="351"/>
                  </a:lnTo>
                  <a:lnTo>
                    <a:pt x="907" y="350"/>
                  </a:lnTo>
                  <a:lnTo>
                    <a:pt x="913" y="350"/>
                  </a:lnTo>
                  <a:lnTo>
                    <a:pt x="918" y="349"/>
                  </a:lnTo>
                  <a:lnTo>
                    <a:pt x="919" y="346"/>
                  </a:lnTo>
                  <a:lnTo>
                    <a:pt x="919" y="345"/>
                  </a:lnTo>
                  <a:lnTo>
                    <a:pt x="924" y="344"/>
                  </a:lnTo>
                  <a:lnTo>
                    <a:pt x="933" y="344"/>
                  </a:lnTo>
                  <a:lnTo>
                    <a:pt x="936" y="345"/>
                  </a:lnTo>
                  <a:lnTo>
                    <a:pt x="937" y="348"/>
                  </a:lnTo>
                  <a:lnTo>
                    <a:pt x="936" y="354"/>
                  </a:lnTo>
                  <a:lnTo>
                    <a:pt x="934" y="358"/>
                  </a:lnTo>
                  <a:lnTo>
                    <a:pt x="937" y="360"/>
                  </a:lnTo>
                  <a:lnTo>
                    <a:pt x="940" y="360"/>
                  </a:lnTo>
                  <a:lnTo>
                    <a:pt x="944" y="357"/>
                  </a:lnTo>
                  <a:lnTo>
                    <a:pt x="951" y="357"/>
                  </a:lnTo>
                  <a:lnTo>
                    <a:pt x="952" y="358"/>
                  </a:lnTo>
                  <a:lnTo>
                    <a:pt x="955" y="356"/>
                  </a:lnTo>
                  <a:lnTo>
                    <a:pt x="960" y="352"/>
                  </a:lnTo>
                  <a:lnTo>
                    <a:pt x="962" y="352"/>
                  </a:lnTo>
                  <a:lnTo>
                    <a:pt x="963" y="354"/>
                  </a:lnTo>
                  <a:lnTo>
                    <a:pt x="962" y="361"/>
                  </a:lnTo>
                  <a:lnTo>
                    <a:pt x="962" y="368"/>
                  </a:lnTo>
                  <a:lnTo>
                    <a:pt x="962" y="370"/>
                  </a:lnTo>
                  <a:lnTo>
                    <a:pt x="966" y="374"/>
                  </a:lnTo>
                  <a:lnTo>
                    <a:pt x="974" y="372"/>
                  </a:lnTo>
                  <a:lnTo>
                    <a:pt x="979" y="367"/>
                  </a:lnTo>
                  <a:lnTo>
                    <a:pt x="981" y="366"/>
                  </a:lnTo>
                  <a:lnTo>
                    <a:pt x="984" y="366"/>
                  </a:lnTo>
                  <a:lnTo>
                    <a:pt x="985" y="370"/>
                  </a:lnTo>
                  <a:lnTo>
                    <a:pt x="987" y="374"/>
                  </a:lnTo>
                  <a:lnTo>
                    <a:pt x="993" y="380"/>
                  </a:lnTo>
                  <a:lnTo>
                    <a:pt x="997" y="386"/>
                  </a:lnTo>
                  <a:lnTo>
                    <a:pt x="996" y="388"/>
                  </a:lnTo>
                  <a:lnTo>
                    <a:pt x="992" y="391"/>
                  </a:lnTo>
                  <a:lnTo>
                    <a:pt x="981" y="392"/>
                  </a:lnTo>
                  <a:lnTo>
                    <a:pt x="978" y="391"/>
                  </a:lnTo>
                  <a:lnTo>
                    <a:pt x="975" y="393"/>
                  </a:lnTo>
                  <a:lnTo>
                    <a:pt x="973" y="397"/>
                  </a:lnTo>
                  <a:lnTo>
                    <a:pt x="968" y="400"/>
                  </a:lnTo>
                  <a:lnTo>
                    <a:pt x="967" y="400"/>
                  </a:lnTo>
                  <a:lnTo>
                    <a:pt x="962" y="404"/>
                  </a:lnTo>
                  <a:lnTo>
                    <a:pt x="956" y="409"/>
                  </a:lnTo>
                  <a:lnTo>
                    <a:pt x="950" y="410"/>
                  </a:lnTo>
                  <a:lnTo>
                    <a:pt x="945" y="411"/>
                  </a:lnTo>
                  <a:lnTo>
                    <a:pt x="944" y="414"/>
                  </a:lnTo>
                  <a:lnTo>
                    <a:pt x="942" y="420"/>
                  </a:lnTo>
                  <a:lnTo>
                    <a:pt x="943" y="424"/>
                  </a:lnTo>
                  <a:lnTo>
                    <a:pt x="948" y="429"/>
                  </a:lnTo>
                  <a:lnTo>
                    <a:pt x="945" y="432"/>
                  </a:lnTo>
                  <a:lnTo>
                    <a:pt x="933" y="432"/>
                  </a:lnTo>
                  <a:lnTo>
                    <a:pt x="928" y="432"/>
                  </a:lnTo>
                  <a:lnTo>
                    <a:pt x="926" y="435"/>
                  </a:lnTo>
                  <a:lnTo>
                    <a:pt x="926" y="441"/>
                  </a:lnTo>
                  <a:lnTo>
                    <a:pt x="928" y="442"/>
                  </a:lnTo>
                  <a:lnTo>
                    <a:pt x="943" y="442"/>
                  </a:lnTo>
                  <a:lnTo>
                    <a:pt x="943" y="440"/>
                  </a:lnTo>
                  <a:lnTo>
                    <a:pt x="945" y="440"/>
                  </a:lnTo>
                  <a:lnTo>
                    <a:pt x="951" y="442"/>
                  </a:lnTo>
                  <a:lnTo>
                    <a:pt x="962" y="447"/>
                  </a:lnTo>
                  <a:lnTo>
                    <a:pt x="967" y="446"/>
                  </a:lnTo>
                  <a:lnTo>
                    <a:pt x="967" y="442"/>
                  </a:lnTo>
                  <a:lnTo>
                    <a:pt x="968" y="441"/>
                  </a:lnTo>
                  <a:lnTo>
                    <a:pt x="973" y="442"/>
                  </a:lnTo>
                  <a:lnTo>
                    <a:pt x="981" y="446"/>
                  </a:lnTo>
                  <a:lnTo>
                    <a:pt x="985" y="445"/>
                  </a:lnTo>
                  <a:lnTo>
                    <a:pt x="992" y="439"/>
                  </a:lnTo>
                  <a:lnTo>
                    <a:pt x="996" y="433"/>
                  </a:lnTo>
                  <a:lnTo>
                    <a:pt x="999" y="434"/>
                  </a:lnTo>
                  <a:lnTo>
                    <a:pt x="1005" y="440"/>
                  </a:lnTo>
                  <a:lnTo>
                    <a:pt x="1005" y="441"/>
                  </a:lnTo>
                  <a:lnTo>
                    <a:pt x="1003" y="444"/>
                  </a:lnTo>
                  <a:lnTo>
                    <a:pt x="996" y="447"/>
                  </a:lnTo>
                  <a:lnTo>
                    <a:pt x="995" y="448"/>
                  </a:lnTo>
                  <a:lnTo>
                    <a:pt x="997" y="450"/>
                  </a:lnTo>
                  <a:lnTo>
                    <a:pt x="1010" y="455"/>
                  </a:lnTo>
                  <a:lnTo>
                    <a:pt x="1014" y="456"/>
                  </a:lnTo>
                  <a:lnTo>
                    <a:pt x="1016" y="458"/>
                  </a:lnTo>
                  <a:lnTo>
                    <a:pt x="1019" y="461"/>
                  </a:lnTo>
                  <a:lnTo>
                    <a:pt x="1022" y="462"/>
                  </a:lnTo>
                  <a:lnTo>
                    <a:pt x="1023" y="461"/>
                  </a:lnTo>
                  <a:lnTo>
                    <a:pt x="1023" y="459"/>
                  </a:lnTo>
                  <a:lnTo>
                    <a:pt x="1026" y="462"/>
                  </a:lnTo>
                  <a:lnTo>
                    <a:pt x="1030" y="465"/>
                  </a:lnTo>
                  <a:lnTo>
                    <a:pt x="1031" y="469"/>
                  </a:lnTo>
                  <a:lnTo>
                    <a:pt x="1033" y="470"/>
                  </a:lnTo>
                  <a:lnTo>
                    <a:pt x="1036" y="469"/>
                  </a:lnTo>
                  <a:lnTo>
                    <a:pt x="1043" y="464"/>
                  </a:lnTo>
                  <a:lnTo>
                    <a:pt x="1042" y="462"/>
                  </a:lnTo>
                  <a:lnTo>
                    <a:pt x="1042" y="458"/>
                  </a:lnTo>
                  <a:lnTo>
                    <a:pt x="1043" y="452"/>
                  </a:lnTo>
                  <a:lnTo>
                    <a:pt x="1043" y="450"/>
                  </a:lnTo>
                  <a:lnTo>
                    <a:pt x="1042" y="448"/>
                  </a:lnTo>
                  <a:lnTo>
                    <a:pt x="1046" y="447"/>
                  </a:lnTo>
                  <a:lnTo>
                    <a:pt x="1054" y="446"/>
                  </a:lnTo>
                  <a:lnTo>
                    <a:pt x="1055" y="448"/>
                  </a:lnTo>
                  <a:lnTo>
                    <a:pt x="1055" y="453"/>
                  </a:lnTo>
                  <a:lnTo>
                    <a:pt x="1058" y="455"/>
                  </a:lnTo>
                  <a:lnTo>
                    <a:pt x="1063" y="453"/>
                  </a:lnTo>
                  <a:lnTo>
                    <a:pt x="1067" y="455"/>
                  </a:lnTo>
                  <a:lnTo>
                    <a:pt x="1072" y="459"/>
                  </a:lnTo>
                  <a:lnTo>
                    <a:pt x="1076" y="465"/>
                  </a:lnTo>
                  <a:lnTo>
                    <a:pt x="1079" y="473"/>
                  </a:lnTo>
                  <a:lnTo>
                    <a:pt x="1074" y="475"/>
                  </a:lnTo>
                  <a:lnTo>
                    <a:pt x="1069" y="477"/>
                  </a:lnTo>
                  <a:lnTo>
                    <a:pt x="1061" y="479"/>
                  </a:lnTo>
                  <a:lnTo>
                    <a:pt x="1061" y="482"/>
                  </a:lnTo>
                  <a:lnTo>
                    <a:pt x="1062" y="481"/>
                  </a:lnTo>
                  <a:lnTo>
                    <a:pt x="1066" y="483"/>
                  </a:lnTo>
                  <a:lnTo>
                    <a:pt x="1076" y="492"/>
                  </a:lnTo>
                  <a:lnTo>
                    <a:pt x="1079" y="492"/>
                  </a:lnTo>
                  <a:lnTo>
                    <a:pt x="1079" y="493"/>
                  </a:lnTo>
                  <a:lnTo>
                    <a:pt x="1076" y="497"/>
                  </a:lnTo>
                  <a:lnTo>
                    <a:pt x="1069" y="501"/>
                  </a:lnTo>
                  <a:lnTo>
                    <a:pt x="1070" y="506"/>
                  </a:lnTo>
                  <a:lnTo>
                    <a:pt x="1074" y="516"/>
                  </a:lnTo>
                  <a:lnTo>
                    <a:pt x="1076" y="519"/>
                  </a:lnTo>
                  <a:lnTo>
                    <a:pt x="1075" y="521"/>
                  </a:lnTo>
                  <a:lnTo>
                    <a:pt x="1070" y="521"/>
                  </a:lnTo>
                  <a:lnTo>
                    <a:pt x="1068" y="521"/>
                  </a:lnTo>
                  <a:lnTo>
                    <a:pt x="1066" y="518"/>
                  </a:lnTo>
                  <a:lnTo>
                    <a:pt x="1064" y="513"/>
                  </a:lnTo>
                  <a:lnTo>
                    <a:pt x="1061" y="512"/>
                  </a:lnTo>
                  <a:lnTo>
                    <a:pt x="1056" y="512"/>
                  </a:lnTo>
                  <a:lnTo>
                    <a:pt x="1054" y="511"/>
                  </a:lnTo>
                  <a:lnTo>
                    <a:pt x="1054" y="509"/>
                  </a:lnTo>
                  <a:lnTo>
                    <a:pt x="1056" y="509"/>
                  </a:lnTo>
                  <a:lnTo>
                    <a:pt x="1050" y="507"/>
                  </a:lnTo>
                  <a:lnTo>
                    <a:pt x="1038" y="507"/>
                  </a:lnTo>
                  <a:lnTo>
                    <a:pt x="1033" y="509"/>
                  </a:lnTo>
                  <a:lnTo>
                    <a:pt x="1028" y="512"/>
                  </a:lnTo>
                  <a:lnTo>
                    <a:pt x="1030" y="513"/>
                  </a:lnTo>
                  <a:lnTo>
                    <a:pt x="1028" y="518"/>
                  </a:lnTo>
                  <a:lnTo>
                    <a:pt x="1023" y="521"/>
                  </a:lnTo>
                  <a:lnTo>
                    <a:pt x="1025" y="522"/>
                  </a:lnTo>
                  <a:lnTo>
                    <a:pt x="1027" y="523"/>
                  </a:lnTo>
                  <a:lnTo>
                    <a:pt x="1032" y="525"/>
                  </a:lnTo>
                  <a:lnTo>
                    <a:pt x="1036" y="530"/>
                  </a:lnTo>
                  <a:lnTo>
                    <a:pt x="1037" y="530"/>
                  </a:lnTo>
                  <a:lnTo>
                    <a:pt x="1038" y="528"/>
                  </a:lnTo>
                  <a:lnTo>
                    <a:pt x="1042" y="521"/>
                  </a:lnTo>
                  <a:lnTo>
                    <a:pt x="1045" y="517"/>
                  </a:lnTo>
                  <a:lnTo>
                    <a:pt x="1050" y="518"/>
                  </a:lnTo>
                  <a:lnTo>
                    <a:pt x="1058" y="522"/>
                  </a:lnTo>
                  <a:lnTo>
                    <a:pt x="1064" y="524"/>
                  </a:lnTo>
                  <a:lnTo>
                    <a:pt x="1069" y="525"/>
                  </a:lnTo>
                  <a:lnTo>
                    <a:pt x="1078" y="524"/>
                  </a:lnTo>
                  <a:lnTo>
                    <a:pt x="1082" y="523"/>
                  </a:lnTo>
                  <a:lnTo>
                    <a:pt x="1084" y="524"/>
                  </a:lnTo>
                  <a:lnTo>
                    <a:pt x="1085" y="525"/>
                  </a:lnTo>
                  <a:lnTo>
                    <a:pt x="1086" y="531"/>
                  </a:lnTo>
                  <a:lnTo>
                    <a:pt x="1084" y="537"/>
                  </a:lnTo>
                  <a:lnTo>
                    <a:pt x="1079" y="543"/>
                  </a:lnTo>
                  <a:lnTo>
                    <a:pt x="1076" y="546"/>
                  </a:lnTo>
                  <a:lnTo>
                    <a:pt x="1074" y="546"/>
                  </a:lnTo>
                  <a:lnTo>
                    <a:pt x="1070" y="542"/>
                  </a:lnTo>
                  <a:lnTo>
                    <a:pt x="1069" y="541"/>
                  </a:lnTo>
                  <a:lnTo>
                    <a:pt x="1067" y="542"/>
                  </a:lnTo>
                  <a:lnTo>
                    <a:pt x="1063" y="548"/>
                  </a:lnTo>
                  <a:lnTo>
                    <a:pt x="1061" y="549"/>
                  </a:lnTo>
                  <a:lnTo>
                    <a:pt x="1057" y="549"/>
                  </a:lnTo>
                  <a:lnTo>
                    <a:pt x="1056" y="551"/>
                  </a:lnTo>
                  <a:lnTo>
                    <a:pt x="1057" y="553"/>
                  </a:lnTo>
                  <a:lnTo>
                    <a:pt x="1064" y="557"/>
                  </a:lnTo>
                  <a:lnTo>
                    <a:pt x="1069" y="560"/>
                  </a:lnTo>
                  <a:lnTo>
                    <a:pt x="1076" y="569"/>
                  </a:lnTo>
                  <a:lnTo>
                    <a:pt x="1080" y="574"/>
                  </a:lnTo>
                  <a:lnTo>
                    <a:pt x="1080" y="578"/>
                  </a:lnTo>
                  <a:lnTo>
                    <a:pt x="1072" y="588"/>
                  </a:lnTo>
                  <a:lnTo>
                    <a:pt x="1072" y="590"/>
                  </a:lnTo>
                  <a:lnTo>
                    <a:pt x="1070" y="592"/>
                  </a:lnTo>
                  <a:lnTo>
                    <a:pt x="1066" y="598"/>
                  </a:lnTo>
                  <a:lnTo>
                    <a:pt x="1061" y="598"/>
                  </a:lnTo>
                  <a:lnTo>
                    <a:pt x="1054" y="598"/>
                  </a:lnTo>
                  <a:lnTo>
                    <a:pt x="1050" y="596"/>
                  </a:lnTo>
                  <a:lnTo>
                    <a:pt x="1046" y="596"/>
                  </a:lnTo>
                  <a:lnTo>
                    <a:pt x="1042" y="596"/>
                  </a:lnTo>
                  <a:lnTo>
                    <a:pt x="1042" y="598"/>
                  </a:lnTo>
                  <a:lnTo>
                    <a:pt x="1044" y="600"/>
                  </a:lnTo>
                  <a:lnTo>
                    <a:pt x="1049" y="602"/>
                  </a:lnTo>
                  <a:lnTo>
                    <a:pt x="1050" y="605"/>
                  </a:lnTo>
                  <a:lnTo>
                    <a:pt x="1046" y="612"/>
                  </a:lnTo>
                  <a:lnTo>
                    <a:pt x="1046" y="614"/>
                  </a:lnTo>
                  <a:lnTo>
                    <a:pt x="1048" y="617"/>
                  </a:lnTo>
                  <a:lnTo>
                    <a:pt x="1052" y="618"/>
                  </a:lnTo>
                  <a:lnTo>
                    <a:pt x="1058" y="618"/>
                  </a:lnTo>
                  <a:lnTo>
                    <a:pt x="1064" y="619"/>
                  </a:lnTo>
                  <a:lnTo>
                    <a:pt x="1067" y="620"/>
                  </a:lnTo>
                  <a:lnTo>
                    <a:pt x="1070" y="620"/>
                  </a:lnTo>
                  <a:lnTo>
                    <a:pt x="1075" y="618"/>
                  </a:lnTo>
                  <a:lnTo>
                    <a:pt x="1078" y="619"/>
                  </a:lnTo>
                  <a:lnTo>
                    <a:pt x="1078" y="624"/>
                  </a:lnTo>
                  <a:lnTo>
                    <a:pt x="1074" y="630"/>
                  </a:lnTo>
                  <a:lnTo>
                    <a:pt x="1067" y="637"/>
                  </a:lnTo>
                  <a:lnTo>
                    <a:pt x="1049" y="643"/>
                  </a:lnTo>
                  <a:lnTo>
                    <a:pt x="1044" y="650"/>
                  </a:lnTo>
                  <a:lnTo>
                    <a:pt x="1043" y="650"/>
                  </a:lnTo>
                  <a:lnTo>
                    <a:pt x="1038" y="649"/>
                  </a:lnTo>
                  <a:lnTo>
                    <a:pt x="1036" y="647"/>
                  </a:lnTo>
                  <a:lnTo>
                    <a:pt x="1033" y="642"/>
                  </a:lnTo>
                  <a:lnTo>
                    <a:pt x="1031" y="650"/>
                  </a:lnTo>
                  <a:lnTo>
                    <a:pt x="1031" y="652"/>
                  </a:lnTo>
                  <a:lnTo>
                    <a:pt x="1027" y="650"/>
                  </a:lnTo>
                  <a:lnTo>
                    <a:pt x="1021" y="649"/>
                  </a:lnTo>
                  <a:lnTo>
                    <a:pt x="1015" y="644"/>
                  </a:lnTo>
                  <a:lnTo>
                    <a:pt x="1013" y="640"/>
                  </a:lnTo>
                  <a:lnTo>
                    <a:pt x="1010" y="634"/>
                  </a:lnTo>
                  <a:lnTo>
                    <a:pt x="1004" y="630"/>
                  </a:lnTo>
                  <a:lnTo>
                    <a:pt x="1002" y="626"/>
                  </a:lnTo>
                  <a:lnTo>
                    <a:pt x="998" y="625"/>
                  </a:lnTo>
                  <a:lnTo>
                    <a:pt x="990" y="628"/>
                  </a:lnTo>
                  <a:lnTo>
                    <a:pt x="979" y="628"/>
                  </a:lnTo>
                  <a:lnTo>
                    <a:pt x="974" y="626"/>
                  </a:lnTo>
                  <a:lnTo>
                    <a:pt x="973" y="629"/>
                  </a:lnTo>
                  <a:lnTo>
                    <a:pt x="974" y="636"/>
                  </a:lnTo>
                  <a:lnTo>
                    <a:pt x="973" y="638"/>
                  </a:lnTo>
                  <a:lnTo>
                    <a:pt x="971" y="640"/>
                  </a:lnTo>
                  <a:lnTo>
                    <a:pt x="964" y="641"/>
                  </a:lnTo>
                  <a:lnTo>
                    <a:pt x="961" y="640"/>
                  </a:lnTo>
                  <a:lnTo>
                    <a:pt x="957" y="634"/>
                  </a:lnTo>
                  <a:lnTo>
                    <a:pt x="952" y="630"/>
                  </a:lnTo>
                  <a:lnTo>
                    <a:pt x="948" y="630"/>
                  </a:lnTo>
                  <a:lnTo>
                    <a:pt x="944" y="632"/>
                  </a:lnTo>
                  <a:lnTo>
                    <a:pt x="937" y="636"/>
                  </a:lnTo>
                  <a:lnTo>
                    <a:pt x="921" y="647"/>
                  </a:lnTo>
                  <a:lnTo>
                    <a:pt x="918" y="650"/>
                  </a:lnTo>
                  <a:lnTo>
                    <a:pt x="925" y="656"/>
                  </a:lnTo>
                  <a:lnTo>
                    <a:pt x="932" y="660"/>
                  </a:lnTo>
                  <a:lnTo>
                    <a:pt x="936" y="662"/>
                  </a:lnTo>
                  <a:lnTo>
                    <a:pt x="938" y="667"/>
                  </a:lnTo>
                  <a:lnTo>
                    <a:pt x="948" y="671"/>
                  </a:lnTo>
                  <a:lnTo>
                    <a:pt x="963" y="677"/>
                  </a:lnTo>
                  <a:lnTo>
                    <a:pt x="948" y="676"/>
                  </a:lnTo>
                  <a:lnTo>
                    <a:pt x="940" y="673"/>
                  </a:lnTo>
                  <a:lnTo>
                    <a:pt x="937" y="672"/>
                  </a:lnTo>
                  <a:lnTo>
                    <a:pt x="942" y="681"/>
                  </a:lnTo>
                  <a:lnTo>
                    <a:pt x="931" y="672"/>
                  </a:lnTo>
                  <a:lnTo>
                    <a:pt x="931" y="667"/>
                  </a:lnTo>
                  <a:lnTo>
                    <a:pt x="930" y="665"/>
                  </a:lnTo>
                  <a:lnTo>
                    <a:pt x="926" y="664"/>
                  </a:lnTo>
                  <a:lnTo>
                    <a:pt x="915" y="658"/>
                  </a:lnTo>
                  <a:lnTo>
                    <a:pt x="903" y="650"/>
                  </a:lnTo>
                  <a:lnTo>
                    <a:pt x="887" y="640"/>
                  </a:lnTo>
                  <a:lnTo>
                    <a:pt x="890" y="641"/>
                  </a:lnTo>
                  <a:lnTo>
                    <a:pt x="890" y="643"/>
                  </a:lnTo>
                  <a:lnTo>
                    <a:pt x="886" y="646"/>
                  </a:lnTo>
                  <a:lnTo>
                    <a:pt x="883" y="647"/>
                  </a:lnTo>
                  <a:lnTo>
                    <a:pt x="881" y="649"/>
                  </a:lnTo>
                  <a:lnTo>
                    <a:pt x="879" y="650"/>
                  </a:lnTo>
                  <a:lnTo>
                    <a:pt x="878" y="654"/>
                  </a:lnTo>
                  <a:lnTo>
                    <a:pt x="879" y="660"/>
                  </a:lnTo>
                  <a:lnTo>
                    <a:pt x="884" y="666"/>
                  </a:lnTo>
                  <a:lnTo>
                    <a:pt x="889" y="672"/>
                  </a:lnTo>
                  <a:lnTo>
                    <a:pt x="891" y="676"/>
                  </a:lnTo>
                  <a:lnTo>
                    <a:pt x="893" y="682"/>
                  </a:lnTo>
                  <a:lnTo>
                    <a:pt x="896" y="683"/>
                  </a:lnTo>
                  <a:lnTo>
                    <a:pt x="898" y="683"/>
                  </a:lnTo>
                  <a:lnTo>
                    <a:pt x="902" y="685"/>
                  </a:lnTo>
                  <a:lnTo>
                    <a:pt x="905" y="688"/>
                  </a:lnTo>
                  <a:lnTo>
                    <a:pt x="908" y="683"/>
                  </a:lnTo>
                  <a:lnTo>
                    <a:pt x="909" y="682"/>
                  </a:lnTo>
                  <a:lnTo>
                    <a:pt x="910" y="683"/>
                  </a:lnTo>
                  <a:lnTo>
                    <a:pt x="913" y="693"/>
                  </a:lnTo>
                  <a:lnTo>
                    <a:pt x="915" y="695"/>
                  </a:lnTo>
                  <a:lnTo>
                    <a:pt x="918" y="695"/>
                  </a:lnTo>
                  <a:lnTo>
                    <a:pt x="919" y="697"/>
                  </a:lnTo>
                  <a:lnTo>
                    <a:pt x="916" y="702"/>
                  </a:lnTo>
                  <a:lnTo>
                    <a:pt x="918" y="703"/>
                  </a:lnTo>
                  <a:lnTo>
                    <a:pt x="922" y="701"/>
                  </a:lnTo>
                  <a:lnTo>
                    <a:pt x="926" y="700"/>
                  </a:lnTo>
                  <a:lnTo>
                    <a:pt x="927" y="702"/>
                  </a:lnTo>
                  <a:lnTo>
                    <a:pt x="931" y="706"/>
                  </a:lnTo>
                  <a:lnTo>
                    <a:pt x="933" y="707"/>
                  </a:lnTo>
                  <a:lnTo>
                    <a:pt x="933" y="703"/>
                  </a:lnTo>
                  <a:lnTo>
                    <a:pt x="938" y="705"/>
                  </a:lnTo>
                  <a:lnTo>
                    <a:pt x="943" y="707"/>
                  </a:lnTo>
                  <a:lnTo>
                    <a:pt x="944" y="709"/>
                  </a:lnTo>
                  <a:lnTo>
                    <a:pt x="943" y="715"/>
                  </a:lnTo>
                  <a:lnTo>
                    <a:pt x="944" y="717"/>
                  </a:lnTo>
                  <a:lnTo>
                    <a:pt x="946" y="717"/>
                  </a:lnTo>
                  <a:lnTo>
                    <a:pt x="951" y="714"/>
                  </a:lnTo>
                  <a:lnTo>
                    <a:pt x="952" y="713"/>
                  </a:lnTo>
                  <a:lnTo>
                    <a:pt x="954" y="715"/>
                  </a:lnTo>
                  <a:lnTo>
                    <a:pt x="954" y="724"/>
                  </a:lnTo>
                  <a:lnTo>
                    <a:pt x="955" y="733"/>
                  </a:lnTo>
                  <a:lnTo>
                    <a:pt x="949" y="733"/>
                  </a:lnTo>
                  <a:lnTo>
                    <a:pt x="957" y="742"/>
                  </a:lnTo>
                  <a:lnTo>
                    <a:pt x="952" y="745"/>
                  </a:lnTo>
                  <a:lnTo>
                    <a:pt x="949" y="747"/>
                  </a:lnTo>
                  <a:lnTo>
                    <a:pt x="950" y="748"/>
                  </a:lnTo>
                  <a:lnTo>
                    <a:pt x="946" y="750"/>
                  </a:lnTo>
                  <a:lnTo>
                    <a:pt x="939" y="751"/>
                  </a:lnTo>
                  <a:lnTo>
                    <a:pt x="937" y="751"/>
                  </a:lnTo>
                  <a:lnTo>
                    <a:pt x="934" y="756"/>
                  </a:lnTo>
                  <a:lnTo>
                    <a:pt x="931" y="757"/>
                  </a:lnTo>
                  <a:lnTo>
                    <a:pt x="928" y="759"/>
                  </a:lnTo>
                  <a:lnTo>
                    <a:pt x="928" y="761"/>
                  </a:lnTo>
                  <a:lnTo>
                    <a:pt x="930" y="762"/>
                  </a:lnTo>
                  <a:lnTo>
                    <a:pt x="932" y="767"/>
                  </a:lnTo>
                  <a:lnTo>
                    <a:pt x="932" y="772"/>
                  </a:lnTo>
                  <a:lnTo>
                    <a:pt x="927" y="774"/>
                  </a:lnTo>
                  <a:lnTo>
                    <a:pt x="925" y="774"/>
                  </a:lnTo>
                  <a:lnTo>
                    <a:pt x="924" y="772"/>
                  </a:lnTo>
                  <a:lnTo>
                    <a:pt x="922" y="771"/>
                  </a:lnTo>
                  <a:lnTo>
                    <a:pt x="920" y="771"/>
                  </a:lnTo>
                  <a:lnTo>
                    <a:pt x="918" y="772"/>
                  </a:lnTo>
                  <a:lnTo>
                    <a:pt x="914" y="771"/>
                  </a:lnTo>
                  <a:lnTo>
                    <a:pt x="912" y="769"/>
                  </a:lnTo>
                  <a:lnTo>
                    <a:pt x="912" y="771"/>
                  </a:lnTo>
                  <a:lnTo>
                    <a:pt x="912" y="777"/>
                  </a:lnTo>
                  <a:lnTo>
                    <a:pt x="909" y="782"/>
                  </a:lnTo>
                  <a:lnTo>
                    <a:pt x="902" y="782"/>
                  </a:lnTo>
                  <a:lnTo>
                    <a:pt x="898" y="779"/>
                  </a:lnTo>
                  <a:lnTo>
                    <a:pt x="893" y="778"/>
                  </a:lnTo>
                  <a:lnTo>
                    <a:pt x="891" y="777"/>
                  </a:lnTo>
                  <a:lnTo>
                    <a:pt x="893" y="777"/>
                  </a:lnTo>
                  <a:lnTo>
                    <a:pt x="891" y="774"/>
                  </a:lnTo>
                  <a:lnTo>
                    <a:pt x="884" y="768"/>
                  </a:lnTo>
                  <a:lnTo>
                    <a:pt x="883" y="768"/>
                  </a:lnTo>
                  <a:lnTo>
                    <a:pt x="883" y="765"/>
                  </a:lnTo>
                  <a:lnTo>
                    <a:pt x="887" y="761"/>
                  </a:lnTo>
                  <a:lnTo>
                    <a:pt x="887" y="759"/>
                  </a:lnTo>
                  <a:lnTo>
                    <a:pt x="886" y="755"/>
                  </a:lnTo>
                  <a:lnTo>
                    <a:pt x="884" y="750"/>
                  </a:lnTo>
                  <a:lnTo>
                    <a:pt x="883" y="745"/>
                  </a:lnTo>
                  <a:lnTo>
                    <a:pt x="881" y="744"/>
                  </a:lnTo>
                  <a:lnTo>
                    <a:pt x="879" y="745"/>
                  </a:lnTo>
                  <a:lnTo>
                    <a:pt x="875" y="751"/>
                  </a:lnTo>
                  <a:lnTo>
                    <a:pt x="874" y="755"/>
                  </a:lnTo>
                  <a:lnTo>
                    <a:pt x="872" y="757"/>
                  </a:lnTo>
                  <a:lnTo>
                    <a:pt x="868" y="757"/>
                  </a:lnTo>
                  <a:lnTo>
                    <a:pt x="862" y="760"/>
                  </a:lnTo>
                  <a:lnTo>
                    <a:pt x="862" y="759"/>
                  </a:lnTo>
                  <a:lnTo>
                    <a:pt x="861" y="757"/>
                  </a:lnTo>
                  <a:lnTo>
                    <a:pt x="860" y="756"/>
                  </a:lnTo>
                  <a:lnTo>
                    <a:pt x="856" y="757"/>
                  </a:lnTo>
                  <a:lnTo>
                    <a:pt x="849" y="762"/>
                  </a:lnTo>
                  <a:lnTo>
                    <a:pt x="849" y="763"/>
                  </a:lnTo>
                  <a:lnTo>
                    <a:pt x="845" y="762"/>
                  </a:lnTo>
                  <a:lnTo>
                    <a:pt x="842" y="762"/>
                  </a:lnTo>
                  <a:lnTo>
                    <a:pt x="840" y="761"/>
                  </a:lnTo>
                  <a:lnTo>
                    <a:pt x="839" y="754"/>
                  </a:lnTo>
                  <a:lnTo>
                    <a:pt x="838" y="751"/>
                  </a:lnTo>
                  <a:lnTo>
                    <a:pt x="836" y="753"/>
                  </a:lnTo>
                  <a:lnTo>
                    <a:pt x="831" y="756"/>
                  </a:lnTo>
                  <a:lnTo>
                    <a:pt x="826" y="756"/>
                  </a:lnTo>
                  <a:lnTo>
                    <a:pt x="824" y="754"/>
                  </a:lnTo>
                  <a:lnTo>
                    <a:pt x="819" y="754"/>
                  </a:lnTo>
                  <a:lnTo>
                    <a:pt x="803" y="759"/>
                  </a:lnTo>
                  <a:lnTo>
                    <a:pt x="804" y="763"/>
                  </a:lnTo>
                  <a:lnTo>
                    <a:pt x="804" y="765"/>
                  </a:lnTo>
                  <a:lnTo>
                    <a:pt x="802" y="765"/>
                  </a:lnTo>
                  <a:lnTo>
                    <a:pt x="795" y="761"/>
                  </a:lnTo>
                  <a:lnTo>
                    <a:pt x="791" y="756"/>
                  </a:lnTo>
                  <a:lnTo>
                    <a:pt x="789" y="754"/>
                  </a:lnTo>
                  <a:lnTo>
                    <a:pt x="789" y="756"/>
                  </a:lnTo>
                  <a:lnTo>
                    <a:pt x="789" y="762"/>
                  </a:lnTo>
                  <a:lnTo>
                    <a:pt x="786" y="762"/>
                  </a:lnTo>
                  <a:lnTo>
                    <a:pt x="781" y="759"/>
                  </a:lnTo>
                  <a:lnTo>
                    <a:pt x="778" y="759"/>
                  </a:lnTo>
                  <a:lnTo>
                    <a:pt x="774" y="757"/>
                  </a:lnTo>
                  <a:lnTo>
                    <a:pt x="773" y="755"/>
                  </a:lnTo>
                  <a:lnTo>
                    <a:pt x="769" y="755"/>
                  </a:lnTo>
                  <a:lnTo>
                    <a:pt x="767" y="757"/>
                  </a:lnTo>
                  <a:lnTo>
                    <a:pt x="765" y="760"/>
                  </a:lnTo>
                  <a:lnTo>
                    <a:pt x="765" y="761"/>
                  </a:lnTo>
                  <a:lnTo>
                    <a:pt x="771" y="763"/>
                  </a:lnTo>
                  <a:lnTo>
                    <a:pt x="775" y="765"/>
                  </a:lnTo>
                  <a:lnTo>
                    <a:pt x="779" y="766"/>
                  </a:lnTo>
                  <a:lnTo>
                    <a:pt x="784" y="767"/>
                  </a:lnTo>
                  <a:lnTo>
                    <a:pt x="788" y="772"/>
                  </a:lnTo>
                  <a:lnTo>
                    <a:pt x="790" y="777"/>
                  </a:lnTo>
                  <a:lnTo>
                    <a:pt x="788" y="778"/>
                  </a:lnTo>
                  <a:lnTo>
                    <a:pt x="783" y="776"/>
                  </a:lnTo>
                  <a:lnTo>
                    <a:pt x="780" y="776"/>
                  </a:lnTo>
                  <a:lnTo>
                    <a:pt x="778" y="779"/>
                  </a:lnTo>
                  <a:lnTo>
                    <a:pt x="774" y="779"/>
                  </a:lnTo>
                  <a:lnTo>
                    <a:pt x="771" y="777"/>
                  </a:lnTo>
                  <a:lnTo>
                    <a:pt x="769" y="778"/>
                  </a:lnTo>
                  <a:lnTo>
                    <a:pt x="768" y="782"/>
                  </a:lnTo>
                  <a:lnTo>
                    <a:pt x="765" y="783"/>
                  </a:lnTo>
                  <a:lnTo>
                    <a:pt x="762" y="780"/>
                  </a:lnTo>
                  <a:lnTo>
                    <a:pt x="761" y="780"/>
                  </a:lnTo>
                  <a:lnTo>
                    <a:pt x="759" y="780"/>
                  </a:lnTo>
                  <a:lnTo>
                    <a:pt x="756" y="778"/>
                  </a:lnTo>
                  <a:lnTo>
                    <a:pt x="753" y="773"/>
                  </a:lnTo>
                  <a:lnTo>
                    <a:pt x="750" y="769"/>
                  </a:lnTo>
                  <a:lnTo>
                    <a:pt x="747" y="768"/>
                  </a:lnTo>
                  <a:lnTo>
                    <a:pt x="741" y="769"/>
                  </a:lnTo>
                  <a:lnTo>
                    <a:pt x="733" y="768"/>
                  </a:lnTo>
                  <a:lnTo>
                    <a:pt x="725" y="769"/>
                  </a:lnTo>
                  <a:lnTo>
                    <a:pt x="720" y="768"/>
                  </a:lnTo>
                  <a:lnTo>
                    <a:pt x="714" y="763"/>
                  </a:lnTo>
                  <a:lnTo>
                    <a:pt x="709" y="761"/>
                  </a:lnTo>
                  <a:lnTo>
                    <a:pt x="704" y="761"/>
                  </a:lnTo>
                  <a:lnTo>
                    <a:pt x="700" y="761"/>
                  </a:lnTo>
                  <a:lnTo>
                    <a:pt x="697" y="759"/>
                  </a:lnTo>
                  <a:lnTo>
                    <a:pt x="694" y="756"/>
                  </a:lnTo>
                  <a:lnTo>
                    <a:pt x="691" y="756"/>
                  </a:lnTo>
                  <a:lnTo>
                    <a:pt x="695" y="765"/>
                  </a:lnTo>
                  <a:lnTo>
                    <a:pt x="698" y="772"/>
                  </a:lnTo>
                  <a:lnTo>
                    <a:pt x="702" y="776"/>
                  </a:lnTo>
                  <a:lnTo>
                    <a:pt x="704" y="776"/>
                  </a:lnTo>
                  <a:lnTo>
                    <a:pt x="707" y="778"/>
                  </a:lnTo>
                  <a:lnTo>
                    <a:pt x="708" y="778"/>
                  </a:lnTo>
                  <a:lnTo>
                    <a:pt x="712" y="779"/>
                  </a:lnTo>
                  <a:lnTo>
                    <a:pt x="714" y="782"/>
                  </a:lnTo>
                  <a:lnTo>
                    <a:pt x="718" y="780"/>
                  </a:lnTo>
                  <a:lnTo>
                    <a:pt x="724" y="780"/>
                  </a:lnTo>
                  <a:lnTo>
                    <a:pt x="727" y="779"/>
                  </a:lnTo>
                  <a:lnTo>
                    <a:pt x="730" y="779"/>
                  </a:lnTo>
                  <a:lnTo>
                    <a:pt x="735" y="783"/>
                  </a:lnTo>
                  <a:lnTo>
                    <a:pt x="739" y="785"/>
                  </a:lnTo>
                  <a:lnTo>
                    <a:pt x="744" y="786"/>
                  </a:lnTo>
                  <a:lnTo>
                    <a:pt x="748" y="786"/>
                  </a:lnTo>
                  <a:lnTo>
                    <a:pt x="749" y="789"/>
                  </a:lnTo>
                  <a:lnTo>
                    <a:pt x="753" y="794"/>
                  </a:lnTo>
                  <a:lnTo>
                    <a:pt x="754" y="796"/>
                  </a:lnTo>
                  <a:lnTo>
                    <a:pt x="751" y="802"/>
                  </a:lnTo>
                  <a:lnTo>
                    <a:pt x="754" y="803"/>
                  </a:lnTo>
                  <a:lnTo>
                    <a:pt x="760" y="801"/>
                  </a:lnTo>
                  <a:lnTo>
                    <a:pt x="762" y="797"/>
                  </a:lnTo>
                  <a:lnTo>
                    <a:pt x="762" y="792"/>
                  </a:lnTo>
                  <a:lnTo>
                    <a:pt x="767" y="791"/>
                  </a:lnTo>
                  <a:lnTo>
                    <a:pt x="774" y="792"/>
                  </a:lnTo>
                  <a:lnTo>
                    <a:pt x="774" y="796"/>
                  </a:lnTo>
                  <a:lnTo>
                    <a:pt x="772" y="800"/>
                  </a:lnTo>
                  <a:lnTo>
                    <a:pt x="771" y="802"/>
                  </a:lnTo>
                  <a:lnTo>
                    <a:pt x="772" y="806"/>
                  </a:lnTo>
                  <a:lnTo>
                    <a:pt x="773" y="810"/>
                  </a:lnTo>
                  <a:lnTo>
                    <a:pt x="773" y="816"/>
                  </a:lnTo>
                  <a:lnTo>
                    <a:pt x="769" y="819"/>
                  </a:lnTo>
                  <a:lnTo>
                    <a:pt x="766" y="818"/>
                  </a:lnTo>
                  <a:lnTo>
                    <a:pt x="762" y="815"/>
                  </a:lnTo>
                  <a:lnTo>
                    <a:pt x="760" y="814"/>
                  </a:lnTo>
                  <a:lnTo>
                    <a:pt x="759" y="815"/>
                  </a:lnTo>
                  <a:lnTo>
                    <a:pt x="756" y="814"/>
                  </a:lnTo>
                  <a:lnTo>
                    <a:pt x="748" y="810"/>
                  </a:lnTo>
                  <a:lnTo>
                    <a:pt x="744" y="812"/>
                  </a:lnTo>
                  <a:lnTo>
                    <a:pt x="744" y="814"/>
                  </a:lnTo>
                  <a:lnTo>
                    <a:pt x="743" y="815"/>
                  </a:lnTo>
                  <a:lnTo>
                    <a:pt x="743" y="820"/>
                  </a:lnTo>
                  <a:lnTo>
                    <a:pt x="747" y="830"/>
                  </a:lnTo>
                  <a:lnTo>
                    <a:pt x="744" y="837"/>
                  </a:lnTo>
                  <a:lnTo>
                    <a:pt x="744" y="843"/>
                  </a:lnTo>
                  <a:lnTo>
                    <a:pt x="744" y="845"/>
                  </a:lnTo>
                  <a:lnTo>
                    <a:pt x="743" y="845"/>
                  </a:lnTo>
                  <a:lnTo>
                    <a:pt x="733" y="840"/>
                  </a:lnTo>
                  <a:lnTo>
                    <a:pt x="727" y="837"/>
                  </a:lnTo>
                  <a:lnTo>
                    <a:pt x="729" y="839"/>
                  </a:lnTo>
                  <a:lnTo>
                    <a:pt x="727" y="842"/>
                  </a:lnTo>
                  <a:lnTo>
                    <a:pt x="725" y="844"/>
                  </a:lnTo>
                  <a:lnTo>
                    <a:pt x="722" y="845"/>
                  </a:lnTo>
                  <a:lnTo>
                    <a:pt x="718" y="846"/>
                  </a:lnTo>
                  <a:lnTo>
                    <a:pt x="713" y="845"/>
                  </a:lnTo>
                  <a:lnTo>
                    <a:pt x="707" y="840"/>
                  </a:lnTo>
                  <a:lnTo>
                    <a:pt x="703" y="834"/>
                  </a:lnTo>
                  <a:lnTo>
                    <a:pt x="700" y="832"/>
                  </a:lnTo>
                  <a:lnTo>
                    <a:pt x="700" y="830"/>
                  </a:lnTo>
                  <a:lnTo>
                    <a:pt x="700" y="824"/>
                  </a:lnTo>
                  <a:lnTo>
                    <a:pt x="694" y="818"/>
                  </a:lnTo>
                  <a:lnTo>
                    <a:pt x="694" y="819"/>
                  </a:lnTo>
                  <a:lnTo>
                    <a:pt x="696" y="825"/>
                  </a:lnTo>
                  <a:lnTo>
                    <a:pt x="691" y="826"/>
                  </a:lnTo>
                  <a:lnTo>
                    <a:pt x="684" y="825"/>
                  </a:lnTo>
                  <a:lnTo>
                    <a:pt x="682" y="825"/>
                  </a:lnTo>
                  <a:lnTo>
                    <a:pt x="677" y="828"/>
                  </a:lnTo>
                  <a:lnTo>
                    <a:pt x="673" y="830"/>
                  </a:lnTo>
                  <a:lnTo>
                    <a:pt x="682" y="832"/>
                  </a:lnTo>
                  <a:lnTo>
                    <a:pt x="685" y="832"/>
                  </a:lnTo>
                  <a:lnTo>
                    <a:pt x="690" y="833"/>
                  </a:lnTo>
                  <a:lnTo>
                    <a:pt x="691" y="838"/>
                  </a:lnTo>
                  <a:lnTo>
                    <a:pt x="692" y="842"/>
                  </a:lnTo>
                  <a:lnTo>
                    <a:pt x="695" y="845"/>
                  </a:lnTo>
                  <a:lnTo>
                    <a:pt x="694" y="848"/>
                  </a:lnTo>
                  <a:lnTo>
                    <a:pt x="682" y="850"/>
                  </a:lnTo>
                  <a:lnTo>
                    <a:pt x="674" y="848"/>
                  </a:lnTo>
                  <a:lnTo>
                    <a:pt x="670" y="845"/>
                  </a:lnTo>
                  <a:lnTo>
                    <a:pt x="659" y="842"/>
                  </a:lnTo>
                  <a:lnTo>
                    <a:pt x="654" y="842"/>
                  </a:lnTo>
                  <a:lnTo>
                    <a:pt x="651" y="839"/>
                  </a:lnTo>
                  <a:lnTo>
                    <a:pt x="648" y="837"/>
                  </a:lnTo>
                  <a:lnTo>
                    <a:pt x="647" y="834"/>
                  </a:lnTo>
                  <a:lnTo>
                    <a:pt x="649" y="830"/>
                  </a:lnTo>
                  <a:lnTo>
                    <a:pt x="649" y="826"/>
                  </a:lnTo>
                  <a:lnTo>
                    <a:pt x="648" y="825"/>
                  </a:lnTo>
                  <a:lnTo>
                    <a:pt x="645" y="824"/>
                  </a:lnTo>
                  <a:lnTo>
                    <a:pt x="643" y="824"/>
                  </a:lnTo>
                  <a:lnTo>
                    <a:pt x="642" y="827"/>
                  </a:lnTo>
                  <a:lnTo>
                    <a:pt x="641" y="828"/>
                  </a:lnTo>
                  <a:lnTo>
                    <a:pt x="638" y="828"/>
                  </a:lnTo>
                  <a:lnTo>
                    <a:pt x="632" y="827"/>
                  </a:lnTo>
                  <a:lnTo>
                    <a:pt x="631" y="824"/>
                  </a:lnTo>
                  <a:lnTo>
                    <a:pt x="631" y="815"/>
                  </a:lnTo>
                  <a:lnTo>
                    <a:pt x="627" y="809"/>
                  </a:lnTo>
                  <a:lnTo>
                    <a:pt x="627" y="812"/>
                  </a:lnTo>
                  <a:lnTo>
                    <a:pt x="626" y="809"/>
                  </a:lnTo>
                  <a:lnTo>
                    <a:pt x="621" y="801"/>
                  </a:lnTo>
                  <a:lnTo>
                    <a:pt x="621" y="798"/>
                  </a:lnTo>
                  <a:lnTo>
                    <a:pt x="619" y="796"/>
                  </a:lnTo>
                  <a:lnTo>
                    <a:pt x="614" y="796"/>
                  </a:lnTo>
                  <a:lnTo>
                    <a:pt x="611" y="795"/>
                  </a:lnTo>
                  <a:lnTo>
                    <a:pt x="612" y="797"/>
                  </a:lnTo>
                  <a:lnTo>
                    <a:pt x="618" y="804"/>
                  </a:lnTo>
                  <a:lnTo>
                    <a:pt x="621" y="814"/>
                  </a:lnTo>
                  <a:lnTo>
                    <a:pt x="625" y="818"/>
                  </a:lnTo>
                  <a:lnTo>
                    <a:pt x="626" y="822"/>
                  </a:lnTo>
                  <a:lnTo>
                    <a:pt x="624" y="827"/>
                  </a:lnTo>
                  <a:lnTo>
                    <a:pt x="624" y="831"/>
                  </a:lnTo>
                  <a:lnTo>
                    <a:pt x="625" y="840"/>
                  </a:lnTo>
                  <a:lnTo>
                    <a:pt x="625" y="844"/>
                  </a:lnTo>
                  <a:lnTo>
                    <a:pt x="624" y="846"/>
                  </a:lnTo>
                  <a:lnTo>
                    <a:pt x="617" y="848"/>
                  </a:lnTo>
                  <a:lnTo>
                    <a:pt x="611" y="851"/>
                  </a:lnTo>
                  <a:lnTo>
                    <a:pt x="608" y="854"/>
                  </a:lnTo>
                  <a:lnTo>
                    <a:pt x="606" y="854"/>
                  </a:lnTo>
                  <a:lnTo>
                    <a:pt x="597" y="855"/>
                  </a:lnTo>
                  <a:lnTo>
                    <a:pt x="585" y="857"/>
                  </a:lnTo>
                  <a:lnTo>
                    <a:pt x="582" y="857"/>
                  </a:lnTo>
                  <a:lnTo>
                    <a:pt x="578" y="855"/>
                  </a:lnTo>
                  <a:lnTo>
                    <a:pt x="574" y="845"/>
                  </a:lnTo>
                  <a:lnTo>
                    <a:pt x="574" y="838"/>
                  </a:lnTo>
                  <a:lnTo>
                    <a:pt x="570" y="836"/>
                  </a:lnTo>
                  <a:lnTo>
                    <a:pt x="565" y="834"/>
                  </a:lnTo>
                  <a:lnTo>
                    <a:pt x="562" y="836"/>
                  </a:lnTo>
                  <a:lnTo>
                    <a:pt x="561" y="839"/>
                  </a:lnTo>
                  <a:lnTo>
                    <a:pt x="558" y="840"/>
                  </a:lnTo>
                  <a:lnTo>
                    <a:pt x="552" y="840"/>
                  </a:lnTo>
                  <a:lnTo>
                    <a:pt x="548" y="840"/>
                  </a:lnTo>
                  <a:lnTo>
                    <a:pt x="547" y="844"/>
                  </a:lnTo>
                  <a:lnTo>
                    <a:pt x="543" y="844"/>
                  </a:lnTo>
                  <a:lnTo>
                    <a:pt x="535" y="840"/>
                  </a:lnTo>
                  <a:lnTo>
                    <a:pt x="535" y="833"/>
                  </a:lnTo>
                  <a:lnTo>
                    <a:pt x="537" y="830"/>
                  </a:lnTo>
                  <a:lnTo>
                    <a:pt x="536" y="827"/>
                  </a:lnTo>
                  <a:lnTo>
                    <a:pt x="533" y="826"/>
                  </a:lnTo>
                  <a:lnTo>
                    <a:pt x="533" y="824"/>
                  </a:lnTo>
                  <a:lnTo>
                    <a:pt x="530" y="822"/>
                  </a:lnTo>
                  <a:lnTo>
                    <a:pt x="524" y="824"/>
                  </a:lnTo>
                  <a:lnTo>
                    <a:pt x="521" y="821"/>
                  </a:lnTo>
                  <a:lnTo>
                    <a:pt x="519" y="819"/>
                  </a:lnTo>
                  <a:lnTo>
                    <a:pt x="519" y="814"/>
                  </a:lnTo>
                  <a:lnTo>
                    <a:pt x="517" y="809"/>
                  </a:lnTo>
                  <a:lnTo>
                    <a:pt x="519" y="808"/>
                  </a:lnTo>
                  <a:lnTo>
                    <a:pt x="529" y="808"/>
                  </a:lnTo>
                  <a:lnTo>
                    <a:pt x="533" y="802"/>
                  </a:lnTo>
                  <a:lnTo>
                    <a:pt x="537" y="803"/>
                  </a:lnTo>
                  <a:lnTo>
                    <a:pt x="538" y="802"/>
                  </a:lnTo>
                  <a:lnTo>
                    <a:pt x="539" y="800"/>
                  </a:lnTo>
                  <a:lnTo>
                    <a:pt x="543" y="791"/>
                  </a:lnTo>
                  <a:lnTo>
                    <a:pt x="542" y="788"/>
                  </a:lnTo>
                  <a:lnTo>
                    <a:pt x="539" y="786"/>
                  </a:lnTo>
                  <a:lnTo>
                    <a:pt x="533" y="788"/>
                  </a:lnTo>
                  <a:lnTo>
                    <a:pt x="527" y="791"/>
                  </a:lnTo>
                  <a:lnTo>
                    <a:pt x="523" y="792"/>
                  </a:lnTo>
                  <a:lnTo>
                    <a:pt x="520" y="794"/>
                  </a:lnTo>
                  <a:lnTo>
                    <a:pt x="519" y="792"/>
                  </a:lnTo>
                  <a:lnTo>
                    <a:pt x="515" y="789"/>
                  </a:lnTo>
                  <a:lnTo>
                    <a:pt x="513" y="789"/>
                  </a:lnTo>
                  <a:lnTo>
                    <a:pt x="511" y="792"/>
                  </a:lnTo>
                  <a:lnTo>
                    <a:pt x="506" y="798"/>
                  </a:lnTo>
                  <a:lnTo>
                    <a:pt x="497" y="806"/>
                  </a:lnTo>
                  <a:lnTo>
                    <a:pt x="493" y="812"/>
                  </a:lnTo>
                  <a:lnTo>
                    <a:pt x="490" y="820"/>
                  </a:lnTo>
                  <a:lnTo>
                    <a:pt x="490" y="837"/>
                  </a:lnTo>
                  <a:lnTo>
                    <a:pt x="493" y="864"/>
                  </a:lnTo>
                  <a:lnTo>
                    <a:pt x="493" y="879"/>
                  </a:lnTo>
                  <a:lnTo>
                    <a:pt x="494" y="885"/>
                  </a:lnTo>
                  <a:lnTo>
                    <a:pt x="499" y="891"/>
                  </a:lnTo>
                  <a:lnTo>
                    <a:pt x="505" y="899"/>
                  </a:lnTo>
                  <a:lnTo>
                    <a:pt x="508" y="909"/>
                  </a:lnTo>
                  <a:lnTo>
                    <a:pt x="511" y="91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0" name="Freeform 63"/>
            <p:cNvSpPr>
              <a:spLocks/>
            </p:cNvSpPr>
            <p:nvPr userDrawn="1"/>
          </p:nvSpPr>
          <p:spPr bwMode="auto">
            <a:xfrm>
              <a:off x="4319588" y="6208713"/>
              <a:ext cx="287338" cy="350838"/>
            </a:xfrm>
            <a:custGeom>
              <a:avLst/>
              <a:gdLst/>
              <a:ahLst/>
              <a:cxnLst>
                <a:cxn ang="0">
                  <a:pos x="422" y="709"/>
                </a:cxn>
                <a:cxn ang="0">
                  <a:pos x="410" y="667"/>
                </a:cxn>
                <a:cxn ang="0">
                  <a:pos x="390" y="629"/>
                </a:cxn>
                <a:cxn ang="0">
                  <a:pos x="430" y="603"/>
                </a:cxn>
                <a:cxn ang="0">
                  <a:pos x="355" y="668"/>
                </a:cxn>
                <a:cxn ang="0">
                  <a:pos x="387" y="737"/>
                </a:cxn>
                <a:cxn ang="0">
                  <a:pos x="371" y="696"/>
                </a:cxn>
                <a:cxn ang="0">
                  <a:pos x="319" y="703"/>
                </a:cxn>
                <a:cxn ang="0">
                  <a:pos x="273" y="707"/>
                </a:cxn>
                <a:cxn ang="0">
                  <a:pos x="231" y="682"/>
                </a:cxn>
                <a:cxn ang="0">
                  <a:pos x="207" y="703"/>
                </a:cxn>
                <a:cxn ang="0">
                  <a:pos x="175" y="722"/>
                </a:cxn>
                <a:cxn ang="0">
                  <a:pos x="130" y="698"/>
                </a:cxn>
                <a:cxn ang="0">
                  <a:pos x="21" y="722"/>
                </a:cxn>
                <a:cxn ang="0">
                  <a:pos x="80" y="649"/>
                </a:cxn>
                <a:cxn ang="0">
                  <a:pos x="23" y="611"/>
                </a:cxn>
                <a:cxn ang="0">
                  <a:pos x="9" y="560"/>
                </a:cxn>
                <a:cxn ang="0">
                  <a:pos x="9" y="490"/>
                </a:cxn>
                <a:cxn ang="0">
                  <a:pos x="116" y="494"/>
                </a:cxn>
                <a:cxn ang="0">
                  <a:pos x="125" y="454"/>
                </a:cxn>
                <a:cxn ang="0">
                  <a:pos x="149" y="383"/>
                </a:cxn>
                <a:cxn ang="0">
                  <a:pos x="86" y="381"/>
                </a:cxn>
                <a:cxn ang="0">
                  <a:pos x="51" y="358"/>
                </a:cxn>
                <a:cxn ang="0">
                  <a:pos x="62" y="328"/>
                </a:cxn>
                <a:cxn ang="0">
                  <a:pos x="88" y="275"/>
                </a:cxn>
                <a:cxn ang="0">
                  <a:pos x="125" y="203"/>
                </a:cxn>
                <a:cxn ang="0">
                  <a:pos x="165" y="155"/>
                </a:cxn>
                <a:cxn ang="0">
                  <a:pos x="207" y="149"/>
                </a:cxn>
                <a:cxn ang="0">
                  <a:pos x="246" y="179"/>
                </a:cxn>
                <a:cxn ang="0">
                  <a:pos x="332" y="174"/>
                </a:cxn>
                <a:cxn ang="0">
                  <a:pos x="348" y="105"/>
                </a:cxn>
                <a:cxn ang="0">
                  <a:pos x="353" y="108"/>
                </a:cxn>
                <a:cxn ang="0">
                  <a:pos x="385" y="155"/>
                </a:cxn>
                <a:cxn ang="0">
                  <a:pos x="454" y="126"/>
                </a:cxn>
                <a:cxn ang="0">
                  <a:pos x="501" y="156"/>
                </a:cxn>
                <a:cxn ang="0">
                  <a:pos x="556" y="210"/>
                </a:cxn>
                <a:cxn ang="0">
                  <a:pos x="541" y="141"/>
                </a:cxn>
                <a:cxn ang="0">
                  <a:pos x="503" y="89"/>
                </a:cxn>
                <a:cxn ang="0">
                  <a:pos x="490" y="18"/>
                </a:cxn>
                <a:cxn ang="0">
                  <a:pos x="562" y="41"/>
                </a:cxn>
                <a:cxn ang="0">
                  <a:pos x="631" y="86"/>
                </a:cxn>
                <a:cxn ang="0">
                  <a:pos x="648" y="139"/>
                </a:cxn>
                <a:cxn ang="0">
                  <a:pos x="678" y="171"/>
                </a:cxn>
                <a:cxn ang="0">
                  <a:pos x="730" y="171"/>
                </a:cxn>
                <a:cxn ang="0">
                  <a:pos x="780" y="141"/>
                </a:cxn>
                <a:cxn ang="0">
                  <a:pos x="816" y="169"/>
                </a:cxn>
                <a:cxn ang="0">
                  <a:pos x="779" y="222"/>
                </a:cxn>
                <a:cxn ang="0">
                  <a:pos x="755" y="250"/>
                </a:cxn>
                <a:cxn ang="0">
                  <a:pos x="794" y="273"/>
                </a:cxn>
                <a:cxn ang="0">
                  <a:pos x="860" y="298"/>
                </a:cxn>
                <a:cxn ang="0">
                  <a:pos x="902" y="356"/>
                </a:cxn>
                <a:cxn ang="0">
                  <a:pos x="847" y="407"/>
                </a:cxn>
                <a:cxn ang="0">
                  <a:pos x="838" y="446"/>
                </a:cxn>
                <a:cxn ang="0">
                  <a:pos x="771" y="477"/>
                </a:cxn>
                <a:cxn ang="0">
                  <a:pos x="842" y="551"/>
                </a:cxn>
                <a:cxn ang="0">
                  <a:pos x="774" y="549"/>
                </a:cxn>
                <a:cxn ang="0">
                  <a:pos x="768" y="601"/>
                </a:cxn>
                <a:cxn ang="0">
                  <a:pos x="786" y="694"/>
                </a:cxn>
                <a:cxn ang="0">
                  <a:pos x="757" y="742"/>
                </a:cxn>
                <a:cxn ang="0">
                  <a:pos x="686" y="786"/>
                </a:cxn>
                <a:cxn ang="0">
                  <a:pos x="619" y="773"/>
                </a:cxn>
                <a:cxn ang="0">
                  <a:pos x="544" y="777"/>
                </a:cxn>
                <a:cxn ang="0">
                  <a:pos x="483" y="722"/>
                </a:cxn>
              </a:cxnLst>
              <a:rect l="0" t="0" r="r" b="b"/>
              <a:pathLst>
                <a:path w="906" h="1106">
                  <a:moveTo>
                    <a:pt x="472" y="1106"/>
                  </a:moveTo>
                  <a:lnTo>
                    <a:pt x="442" y="1106"/>
                  </a:lnTo>
                  <a:lnTo>
                    <a:pt x="440" y="1077"/>
                  </a:lnTo>
                  <a:lnTo>
                    <a:pt x="437" y="1060"/>
                  </a:lnTo>
                  <a:lnTo>
                    <a:pt x="437" y="1022"/>
                  </a:lnTo>
                  <a:lnTo>
                    <a:pt x="436" y="1017"/>
                  </a:lnTo>
                  <a:lnTo>
                    <a:pt x="438" y="1009"/>
                  </a:lnTo>
                  <a:lnTo>
                    <a:pt x="444" y="958"/>
                  </a:lnTo>
                  <a:lnTo>
                    <a:pt x="452" y="912"/>
                  </a:lnTo>
                  <a:lnTo>
                    <a:pt x="455" y="892"/>
                  </a:lnTo>
                  <a:lnTo>
                    <a:pt x="461" y="873"/>
                  </a:lnTo>
                  <a:lnTo>
                    <a:pt x="462" y="868"/>
                  </a:lnTo>
                  <a:lnTo>
                    <a:pt x="462" y="862"/>
                  </a:lnTo>
                  <a:lnTo>
                    <a:pt x="461" y="849"/>
                  </a:lnTo>
                  <a:lnTo>
                    <a:pt x="461" y="823"/>
                  </a:lnTo>
                  <a:lnTo>
                    <a:pt x="459" y="802"/>
                  </a:lnTo>
                  <a:lnTo>
                    <a:pt x="460" y="791"/>
                  </a:lnTo>
                  <a:lnTo>
                    <a:pt x="461" y="780"/>
                  </a:lnTo>
                  <a:lnTo>
                    <a:pt x="461" y="768"/>
                  </a:lnTo>
                  <a:lnTo>
                    <a:pt x="460" y="756"/>
                  </a:lnTo>
                  <a:lnTo>
                    <a:pt x="458" y="748"/>
                  </a:lnTo>
                  <a:lnTo>
                    <a:pt x="454" y="740"/>
                  </a:lnTo>
                  <a:lnTo>
                    <a:pt x="452" y="738"/>
                  </a:lnTo>
                  <a:lnTo>
                    <a:pt x="452" y="734"/>
                  </a:lnTo>
                  <a:lnTo>
                    <a:pt x="452" y="728"/>
                  </a:lnTo>
                  <a:lnTo>
                    <a:pt x="446" y="714"/>
                  </a:lnTo>
                  <a:lnTo>
                    <a:pt x="444" y="708"/>
                  </a:lnTo>
                  <a:lnTo>
                    <a:pt x="442" y="710"/>
                  </a:lnTo>
                  <a:lnTo>
                    <a:pt x="446" y="715"/>
                  </a:lnTo>
                  <a:lnTo>
                    <a:pt x="444" y="718"/>
                  </a:lnTo>
                  <a:lnTo>
                    <a:pt x="443" y="724"/>
                  </a:lnTo>
                  <a:lnTo>
                    <a:pt x="443" y="728"/>
                  </a:lnTo>
                  <a:lnTo>
                    <a:pt x="441" y="726"/>
                  </a:lnTo>
                  <a:lnTo>
                    <a:pt x="440" y="728"/>
                  </a:lnTo>
                  <a:lnTo>
                    <a:pt x="437" y="728"/>
                  </a:lnTo>
                  <a:lnTo>
                    <a:pt x="435" y="726"/>
                  </a:lnTo>
                  <a:lnTo>
                    <a:pt x="432" y="728"/>
                  </a:lnTo>
                  <a:lnTo>
                    <a:pt x="429" y="731"/>
                  </a:lnTo>
                  <a:lnTo>
                    <a:pt x="426" y="734"/>
                  </a:lnTo>
                  <a:lnTo>
                    <a:pt x="425" y="728"/>
                  </a:lnTo>
                  <a:lnTo>
                    <a:pt x="425" y="726"/>
                  </a:lnTo>
                  <a:lnTo>
                    <a:pt x="423" y="727"/>
                  </a:lnTo>
                  <a:lnTo>
                    <a:pt x="420" y="727"/>
                  </a:lnTo>
                  <a:lnTo>
                    <a:pt x="418" y="732"/>
                  </a:lnTo>
                  <a:lnTo>
                    <a:pt x="408" y="734"/>
                  </a:lnTo>
                  <a:lnTo>
                    <a:pt x="406" y="736"/>
                  </a:lnTo>
                  <a:lnTo>
                    <a:pt x="410" y="732"/>
                  </a:lnTo>
                  <a:lnTo>
                    <a:pt x="412" y="728"/>
                  </a:lnTo>
                  <a:lnTo>
                    <a:pt x="413" y="725"/>
                  </a:lnTo>
                  <a:lnTo>
                    <a:pt x="417" y="724"/>
                  </a:lnTo>
                  <a:lnTo>
                    <a:pt x="414" y="722"/>
                  </a:lnTo>
                  <a:lnTo>
                    <a:pt x="411" y="725"/>
                  </a:lnTo>
                  <a:lnTo>
                    <a:pt x="411" y="721"/>
                  </a:lnTo>
                  <a:lnTo>
                    <a:pt x="416" y="719"/>
                  </a:lnTo>
                  <a:lnTo>
                    <a:pt x="417" y="719"/>
                  </a:lnTo>
                  <a:lnTo>
                    <a:pt x="417" y="718"/>
                  </a:lnTo>
                  <a:lnTo>
                    <a:pt x="416" y="715"/>
                  </a:lnTo>
                  <a:lnTo>
                    <a:pt x="419" y="714"/>
                  </a:lnTo>
                  <a:lnTo>
                    <a:pt x="420" y="716"/>
                  </a:lnTo>
                  <a:lnTo>
                    <a:pt x="420" y="719"/>
                  </a:lnTo>
                  <a:lnTo>
                    <a:pt x="419" y="720"/>
                  </a:lnTo>
                  <a:lnTo>
                    <a:pt x="420" y="722"/>
                  </a:lnTo>
                  <a:lnTo>
                    <a:pt x="424" y="720"/>
                  </a:lnTo>
                  <a:lnTo>
                    <a:pt x="425" y="719"/>
                  </a:lnTo>
                  <a:lnTo>
                    <a:pt x="425" y="718"/>
                  </a:lnTo>
                  <a:lnTo>
                    <a:pt x="424" y="715"/>
                  </a:lnTo>
                  <a:lnTo>
                    <a:pt x="423" y="713"/>
                  </a:lnTo>
                  <a:lnTo>
                    <a:pt x="422" y="709"/>
                  </a:lnTo>
                  <a:lnTo>
                    <a:pt x="423" y="708"/>
                  </a:lnTo>
                  <a:lnTo>
                    <a:pt x="422" y="708"/>
                  </a:lnTo>
                  <a:lnTo>
                    <a:pt x="424" y="703"/>
                  </a:lnTo>
                  <a:lnTo>
                    <a:pt x="428" y="701"/>
                  </a:lnTo>
                  <a:lnTo>
                    <a:pt x="434" y="701"/>
                  </a:lnTo>
                  <a:lnTo>
                    <a:pt x="435" y="702"/>
                  </a:lnTo>
                  <a:lnTo>
                    <a:pt x="440" y="696"/>
                  </a:lnTo>
                  <a:lnTo>
                    <a:pt x="444" y="686"/>
                  </a:lnTo>
                  <a:lnTo>
                    <a:pt x="449" y="683"/>
                  </a:lnTo>
                  <a:lnTo>
                    <a:pt x="449" y="680"/>
                  </a:lnTo>
                  <a:lnTo>
                    <a:pt x="449" y="678"/>
                  </a:lnTo>
                  <a:lnTo>
                    <a:pt x="448" y="680"/>
                  </a:lnTo>
                  <a:lnTo>
                    <a:pt x="448" y="678"/>
                  </a:lnTo>
                  <a:lnTo>
                    <a:pt x="446" y="679"/>
                  </a:lnTo>
                  <a:lnTo>
                    <a:pt x="442" y="682"/>
                  </a:lnTo>
                  <a:lnTo>
                    <a:pt x="438" y="682"/>
                  </a:lnTo>
                  <a:lnTo>
                    <a:pt x="438" y="679"/>
                  </a:lnTo>
                  <a:lnTo>
                    <a:pt x="436" y="680"/>
                  </a:lnTo>
                  <a:lnTo>
                    <a:pt x="435" y="682"/>
                  </a:lnTo>
                  <a:lnTo>
                    <a:pt x="435" y="678"/>
                  </a:lnTo>
                  <a:lnTo>
                    <a:pt x="436" y="676"/>
                  </a:lnTo>
                  <a:lnTo>
                    <a:pt x="437" y="673"/>
                  </a:lnTo>
                  <a:lnTo>
                    <a:pt x="441" y="670"/>
                  </a:lnTo>
                  <a:lnTo>
                    <a:pt x="435" y="674"/>
                  </a:lnTo>
                  <a:lnTo>
                    <a:pt x="434" y="671"/>
                  </a:lnTo>
                  <a:lnTo>
                    <a:pt x="434" y="668"/>
                  </a:lnTo>
                  <a:lnTo>
                    <a:pt x="436" y="667"/>
                  </a:lnTo>
                  <a:lnTo>
                    <a:pt x="435" y="666"/>
                  </a:lnTo>
                  <a:lnTo>
                    <a:pt x="432" y="667"/>
                  </a:lnTo>
                  <a:lnTo>
                    <a:pt x="430" y="670"/>
                  </a:lnTo>
                  <a:lnTo>
                    <a:pt x="430" y="666"/>
                  </a:lnTo>
                  <a:lnTo>
                    <a:pt x="429" y="664"/>
                  </a:lnTo>
                  <a:lnTo>
                    <a:pt x="428" y="660"/>
                  </a:lnTo>
                  <a:lnTo>
                    <a:pt x="425" y="665"/>
                  </a:lnTo>
                  <a:lnTo>
                    <a:pt x="423" y="666"/>
                  </a:lnTo>
                  <a:lnTo>
                    <a:pt x="422" y="668"/>
                  </a:lnTo>
                  <a:lnTo>
                    <a:pt x="423" y="672"/>
                  </a:lnTo>
                  <a:lnTo>
                    <a:pt x="420" y="673"/>
                  </a:lnTo>
                  <a:lnTo>
                    <a:pt x="420" y="674"/>
                  </a:lnTo>
                  <a:lnTo>
                    <a:pt x="425" y="676"/>
                  </a:lnTo>
                  <a:lnTo>
                    <a:pt x="425" y="678"/>
                  </a:lnTo>
                  <a:lnTo>
                    <a:pt x="426" y="680"/>
                  </a:lnTo>
                  <a:lnTo>
                    <a:pt x="425" y="684"/>
                  </a:lnTo>
                  <a:lnTo>
                    <a:pt x="424" y="683"/>
                  </a:lnTo>
                  <a:lnTo>
                    <a:pt x="422" y="680"/>
                  </a:lnTo>
                  <a:lnTo>
                    <a:pt x="420" y="683"/>
                  </a:lnTo>
                  <a:lnTo>
                    <a:pt x="420" y="684"/>
                  </a:lnTo>
                  <a:lnTo>
                    <a:pt x="418" y="679"/>
                  </a:lnTo>
                  <a:lnTo>
                    <a:pt x="416" y="677"/>
                  </a:lnTo>
                  <a:lnTo>
                    <a:pt x="414" y="678"/>
                  </a:lnTo>
                  <a:lnTo>
                    <a:pt x="412" y="680"/>
                  </a:lnTo>
                  <a:lnTo>
                    <a:pt x="411" y="680"/>
                  </a:lnTo>
                  <a:lnTo>
                    <a:pt x="408" y="682"/>
                  </a:lnTo>
                  <a:lnTo>
                    <a:pt x="406" y="686"/>
                  </a:lnTo>
                  <a:lnTo>
                    <a:pt x="402" y="688"/>
                  </a:lnTo>
                  <a:lnTo>
                    <a:pt x="399" y="691"/>
                  </a:lnTo>
                  <a:lnTo>
                    <a:pt x="399" y="688"/>
                  </a:lnTo>
                  <a:lnTo>
                    <a:pt x="402" y="685"/>
                  </a:lnTo>
                  <a:lnTo>
                    <a:pt x="405" y="683"/>
                  </a:lnTo>
                  <a:lnTo>
                    <a:pt x="403" y="683"/>
                  </a:lnTo>
                  <a:lnTo>
                    <a:pt x="403" y="682"/>
                  </a:lnTo>
                  <a:lnTo>
                    <a:pt x="406" y="679"/>
                  </a:lnTo>
                  <a:lnTo>
                    <a:pt x="405" y="678"/>
                  </a:lnTo>
                  <a:lnTo>
                    <a:pt x="402" y="678"/>
                  </a:lnTo>
                  <a:lnTo>
                    <a:pt x="400" y="678"/>
                  </a:lnTo>
                  <a:lnTo>
                    <a:pt x="401" y="674"/>
                  </a:lnTo>
                  <a:lnTo>
                    <a:pt x="403" y="668"/>
                  </a:lnTo>
                  <a:lnTo>
                    <a:pt x="410" y="667"/>
                  </a:lnTo>
                  <a:lnTo>
                    <a:pt x="412" y="670"/>
                  </a:lnTo>
                  <a:lnTo>
                    <a:pt x="413" y="670"/>
                  </a:lnTo>
                  <a:lnTo>
                    <a:pt x="411" y="666"/>
                  </a:lnTo>
                  <a:lnTo>
                    <a:pt x="412" y="665"/>
                  </a:lnTo>
                  <a:lnTo>
                    <a:pt x="417" y="665"/>
                  </a:lnTo>
                  <a:lnTo>
                    <a:pt x="418" y="668"/>
                  </a:lnTo>
                  <a:lnTo>
                    <a:pt x="419" y="666"/>
                  </a:lnTo>
                  <a:lnTo>
                    <a:pt x="422" y="665"/>
                  </a:lnTo>
                  <a:lnTo>
                    <a:pt x="425" y="662"/>
                  </a:lnTo>
                  <a:lnTo>
                    <a:pt x="426" y="659"/>
                  </a:lnTo>
                  <a:lnTo>
                    <a:pt x="426" y="655"/>
                  </a:lnTo>
                  <a:lnTo>
                    <a:pt x="425" y="655"/>
                  </a:lnTo>
                  <a:lnTo>
                    <a:pt x="423" y="656"/>
                  </a:lnTo>
                  <a:lnTo>
                    <a:pt x="418" y="656"/>
                  </a:lnTo>
                  <a:lnTo>
                    <a:pt x="422" y="654"/>
                  </a:lnTo>
                  <a:lnTo>
                    <a:pt x="422" y="650"/>
                  </a:lnTo>
                  <a:lnTo>
                    <a:pt x="422" y="647"/>
                  </a:lnTo>
                  <a:lnTo>
                    <a:pt x="424" y="642"/>
                  </a:lnTo>
                  <a:lnTo>
                    <a:pt x="423" y="642"/>
                  </a:lnTo>
                  <a:lnTo>
                    <a:pt x="418" y="643"/>
                  </a:lnTo>
                  <a:lnTo>
                    <a:pt x="414" y="646"/>
                  </a:lnTo>
                  <a:lnTo>
                    <a:pt x="411" y="648"/>
                  </a:lnTo>
                  <a:lnTo>
                    <a:pt x="408" y="652"/>
                  </a:lnTo>
                  <a:lnTo>
                    <a:pt x="406" y="655"/>
                  </a:lnTo>
                  <a:lnTo>
                    <a:pt x="405" y="654"/>
                  </a:lnTo>
                  <a:lnTo>
                    <a:pt x="405" y="649"/>
                  </a:lnTo>
                  <a:lnTo>
                    <a:pt x="407" y="648"/>
                  </a:lnTo>
                  <a:lnTo>
                    <a:pt x="412" y="647"/>
                  </a:lnTo>
                  <a:lnTo>
                    <a:pt x="417" y="642"/>
                  </a:lnTo>
                  <a:lnTo>
                    <a:pt x="418" y="637"/>
                  </a:lnTo>
                  <a:lnTo>
                    <a:pt x="416" y="638"/>
                  </a:lnTo>
                  <a:lnTo>
                    <a:pt x="412" y="644"/>
                  </a:lnTo>
                  <a:lnTo>
                    <a:pt x="410" y="644"/>
                  </a:lnTo>
                  <a:lnTo>
                    <a:pt x="414" y="637"/>
                  </a:lnTo>
                  <a:lnTo>
                    <a:pt x="414" y="632"/>
                  </a:lnTo>
                  <a:lnTo>
                    <a:pt x="418" y="629"/>
                  </a:lnTo>
                  <a:lnTo>
                    <a:pt x="420" y="626"/>
                  </a:lnTo>
                  <a:lnTo>
                    <a:pt x="417" y="626"/>
                  </a:lnTo>
                  <a:lnTo>
                    <a:pt x="416" y="627"/>
                  </a:lnTo>
                  <a:lnTo>
                    <a:pt x="416" y="630"/>
                  </a:lnTo>
                  <a:lnTo>
                    <a:pt x="413" y="632"/>
                  </a:lnTo>
                  <a:lnTo>
                    <a:pt x="413" y="630"/>
                  </a:lnTo>
                  <a:lnTo>
                    <a:pt x="413" y="626"/>
                  </a:lnTo>
                  <a:lnTo>
                    <a:pt x="411" y="625"/>
                  </a:lnTo>
                  <a:lnTo>
                    <a:pt x="408" y="623"/>
                  </a:lnTo>
                  <a:lnTo>
                    <a:pt x="405" y="623"/>
                  </a:lnTo>
                  <a:lnTo>
                    <a:pt x="410" y="626"/>
                  </a:lnTo>
                  <a:lnTo>
                    <a:pt x="410" y="629"/>
                  </a:lnTo>
                  <a:lnTo>
                    <a:pt x="408" y="630"/>
                  </a:lnTo>
                  <a:lnTo>
                    <a:pt x="408" y="632"/>
                  </a:lnTo>
                  <a:lnTo>
                    <a:pt x="406" y="630"/>
                  </a:lnTo>
                  <a:lnTo>
                    <a:pt x="405" y="632"/>
                  </a:lnTo>
                  <a:lnTo>
                    <a:pt x="406" y="633"/>
                  </a:lnTo>
                  <a:lnTo>
                    <a:pt x="406" y="636"/>
                  </a:lnTo>
                  <a:lnTo>
                    <a:pt x="401" y="641"/>
                  </a:lnTo>
                  <a:lnTo>
                    <a:pt x="399" y="643"/>
                  </a:lnTo>
                  <a:lnTo>
                    <a:pt x="397" y="639"/>
                  </a:lnTo>
                  <a:lnTo>
                    <a:pt x="397" y="635"/>
                  </a:lnTo>
                  <a:lnTo>
                    <a:pt x="396" y="635"/>
                  </a:lnTo>
                  <a:lnTo>
                    <a:pt x="397" y="631"/>
                  </a:lnTo>
                  <a:lnTo>
                    <a:pt x="397" y="629"/>
                  </a:lnTo>
                  <a:lnTo>
                    <a:pt x="397" y="630"/>
                  </a:lnTo>
                  <a:lnTo>
                    <a:pt x="396" y="631"/>
                  </a:lnTo>
                  <a:lnTo>
                    <a:pt x="396" y="627"/>
                  </a:lnTo>
                  <a:lnTo>
                    <a:pt x="395" y="631"/>
                  </a:lnTo>
                  <a:lnTo>
                    <a:pt x="391" y="631"/>
                  </a:lnTo>
                  <a:lnTo>
                    <a:pt x="389" y="633"/>
                  </a:lnTo>
                  <a:lnTo>
                    <a:pt x="390" y="629"/>
                  </a:lnTo>
                  <a:lnTo>
                    <a:pt x="393" y="626"/>
                  </a:lnTo>
                  <a:lnTo>
                    <a:pt x="393" y="624"/>
                  </a:lnTo>
                  <a:lnTo>
                    <a:pt x="388" y="625"/>
                  </a:lnTo>
                  <a:lnTo>
                    <a:pt x="389" y="621"/>
                  </a:lnTo>
                  <a:lnTo>
                    <a:pt x="389" y="619"/>
                  </a:lnTo>
                  <a:lnTo>
                    <a:pt x="389" y="615"/>
                  </a:lnTo>
                  <a:lnTo>
                    <a:pt x="389" y="613"/>
                  </a:lnTo>
                  <a:lnTo>
                    <a:pt x="389" y="612"/>
                  </a:lnTo>
                  <a:lnTo>
                    <a:pt x="391" y="609"/>
                  </a:lnTo>
                  <a:lnTo>
                    <a:pt x="393" y="613"/>
                  </a:lnTo>
                  <a:lnTo>
                    <a:pt x="394" y="617"/>
                  </a:lnTo>
                  <a:lnTo>
                    <a:pt x="394" y="619"/>
                  </a:lnTo>
                  <a:lnTo>
                    <a:pt x="395" y="620"/>
                  </a:lnTo>
                  <a:lnTo>
                    <a:pt x="397" y="620"/>
                  </a:lnTo>
                  <a:lnTo>
                    <a:pt x="400" y="617"/>
                  </a:lnTo>
                  <a:lnTo>
                    <a:pt x="403" y="617"/>
                  </a:lnTo>
                  <a:lnTo>
                    <a:pt x="406" y="618"/>
                  </a:lnTo>
                  <a:lnTo>
                    <a:pt x="407" y="620"/>
                  </a:lnTo>
                  <a:lnTo>
                    <a:pt x="411" y="621"/>
                  </a:lnTo>
                  <a:lnTo>
                    <a:pt x="413" y="621"/>
                  </a:lnTo>
                  <a:lnTo>
                    <a:pt x="416" y="621"/>
                  </a:lnTo>
                  <a:lnTo>
                    <a:pt x="416" y="618"/>
                  </a:lnTo>
                  <a:lnTo>
                    <a:pt x="418" y="617"/>
                  </a:lnTo>
                  <a:lnTo>
                    <a:pt x="422" y="617"/>
                  </a:lnTo>
                  <a:lnTo>
                    <a:pt x="423" y="617"/>
                  </a:lnTo>
                  <a:lnTo>
                    <a:pt x="424" y="619"/>
                  </a:lnTo>
                  <a:lnTo>
                    <a:pt x="425" y="620"/>
                  </a:lnTo>
                  <a:lnTo>
                    <a:pt x="426" y="619"/>
                  </a:lnTo>
                  <a:lnTo>
                    <a:pt x="428" y="618"/>
                  </a:lnTo>
                  <a:lnTo>
                    <a:pt x="426" y="617"/>
                  </a:lnTo>
                  <a:lnTo>
                    <a:pt x="425" y="615"/>
                  </a:lnTo>
                  <a:lnTo>
                    <a:pt x="423" y="614"/>
                  </a:lnTo>
                  <a:lnTo>
                    <a:pt x="422" y="614"/>
                  </a:lnTo>
                  <a:lnTo>
                    <a:pt x="419" y="615"/>
                  </a:lnTo>
                  <a:lnTo>
                    <a:pt x="417" y="615"/>
                  </a:lnTo>
                  <a:lnTo>
                    <a:pt x="414" y="618"/>
                  </a:lnTo>
                  <a:lnTo>
                    <a:pt x="412" y="619"/>
                  </a:lnTo>
                  <a:lnTo>
                    <a:pt x="411" y="618"/>
                  </a:lnTo>
                  <a:lnTo>
                    <a:pt x="410" y="617"/>
                  </a:lnTo>
                  <a:lnTo>
                    <a:pt x="408" y="614"/>
                  </a:lnTo>
                  <a:lnTo>
                    <a:pt x="411" y="613"/>
                  </a:lnTo>
                  <a:lnTo>
                    <a:pt x="412" y="612"/>
                  </a:lnTo>
                  <a:lnTo>
                    <a:pt x="416" y="611"/>
                  </a:lnTo>
                  <a:lnTo>
                    <a:pt x="417" y="612"/>
                  </a:lnTo>
                  <a:lnTo>
                    <a:pt x="419" y="611"/>
                  </a:lnTo>
                  <a:lnTo>
                    <a:pt x="418" y="611"/>
                  </a:lnTo>
                  <a:lnTo>
                    <a:pt x="419" y="608"/>
                  </a:lnTo>
                  <a:lnTo>
                    <a:pt x="419" y="607"/>
                  </a:lnTo>
                  <a:lnTo>
                    <a:pt x="420" y="607"/>
                  </a:lnTo>
                  <a:lnTo>
                    <a:pt x="423" y="606"/>
                  </a:lnTo>
                  <a:lnTo>
                    <a:pt x="418" y="606"/>
                  </a:lnTo>
                  <a:lnTo>
                    <a:pt x="414" y="608"/>
                  </a:lnTo>
                  <a:lnTo>
                    <a:pt x="406" y="608"/>
                  </a:lnTo>
                  <a:lnTo>
                    <a:pt x="410" y="606"/>
                  </a:lnTo>
                  <a:lnTo>
                    <a:pt x="413" y="602"/>
                  </a:lnTo>
                  <a:lnTo>
                    <a:pt x="419" y="602"/>
                  </a:lnTo>
                  <a:lnTo>
                    <a:pt x="423" y="602"/>
                  </a:lnTo>
                  <a:lnTo>
                    <a:pt x="426" y="603"/>
                  </a:lnTo>
                  <a:lnTo>
                    <a:pt x="425" y="607"/>
                  </a:lnTo>
                  <a:lnTo>
                    <a:pt x="426" y="609"/>
                  </a:lnTo>
                  <a:lnTo>
                    <a:pt x="426" y="611"/>
                  </a:lnTo>
                  <a:lnTo>
                    <a:pt x="429" y="612"/>
                  </a:lnTo>
                  <a:lnTo>
                    <a:pt x="429" y="611"/>
                  </a:lnTo>
                  <a:lnTo>
                    <a:pt x="431" y="609"/>
                  </a:lnTo>
                  <a:lnTo>
                    <a:pt x="430" y="607"/>
                  </a:lnTo>
                  <a:lnTo>
                    <a:pt x="429" y="607"/>
                  </a:lnTo>
                  <a:lnTo>
                    <a:pt x="429" y="606"/>
                  </a:lnTo>
                  <a:lnTo>
                    <a:pt x="430" y="603"/>
                  </a:lnTo>
                  <a:lnTo>
                    <a:pt x="430" y="601"/>
                  </a:lnTo>
                  <a:lnTo>
                    <a:pt x="429" y="600"/>
                  </a:lnTo>
                  <a:lnTo>
                    <a:pt x="429" y="597"/>
                  </a:lnTo>
                  <a:lnTo>
                    <a:pt x="429" y="596"/>
                  </a:lnTo>
                  <a:lnTo>
                    <a:pt x="428" y="594"/>
                  </a:lnTo>
                  <a:lnTo>
                    <a:pt x="429" y="594"/>
                  </a:lnTo>
                  <a:lnTo>
                    <a:pt x="425" y="593"/>
                  </a:lnTo>
                  <a:lnTo>
                    <a:pt x="405" y="593"/>
                  </a:lnTo>
                  <a:lnTo>
                    <a:pt x="366" y="599"/>
                  </a:lnTo>
                  <a:lnTo>
                    <a:pt x="355" y="600"/>
                  </a:lnTo>
                  <a:lnTo>
                    <a:pt x="348" y="602"/>
                  </a:lnTo>
                  <a:lnTo>
                    <a:pt x="330" y="611"/>
                  </a:lnTo>
                  <a:lnTo>
                    <a:pt x="325" y="611"/>
                  </a:lnTo>
                  <a:lnTo>
                    <a:pt x="334" y="617"/>
                  </a:lnTo>
                  <a:lnTo>
                    <a:pt x="342" y="621"/>
                  </a:lnTo>
                  <a:lnTo>
                    <a:pt x="346" y="626"/>
                  </a:lnTo>
                  <a:lnTo>
                    <a:pt x="351" y="631"/>
                  </a:lnTo>
                  <a:lnTo>
                    <a:pt x="354" y="633"/>
                  </a:lnTo>
                  <a:lnTo>
                    <a:pt x="349" y="631"/>
                  </a:lnTo>
                  <a:lnTo>
                    <a:pt x="347" y="636"/>
                  </a:lnTo>
                  <a:lnTo>
                    <a:pt x="346" y="638"/>
                  </a:lnTo>
                  <a:lnTo>
                    <a:pt x="346" y="642"/>
                  </a:lnTo>
                  <a:lnTo>
                    <a:pt x="349" y="648"/>
                  </a:lnTo>
                  <a:lnTo>
                    <a:pt x="353" y="652"/>
                  </a:lnTo>
                  <a:lnTo>
                    <a:pt x="355" y="655"/>
                  </a:lnTo>
                  <a:lnTo>
                    <a:pt x="357" y="656"/>
                  </a:lnTo>
                  <a:lnTo>
                    <a:pt x="358" y="655"/>
                  </a:lnTo>
                  <a:lnTo>
                    <a:pt x="358" y="658"/>
                  </a:lnTo>
                  <a:lnTo>
                    <a:pt x="355" y="658"/>
                  </a:lnTo>
                  <a:lnTo>
                    <a:pt x="358" y="659"/>
                  </a:lnTo>
                  <a:lnTo>
                    <a:pt x="360" y="661"/>
                  </a:lnTo>
                  <a:lnTo>
                    <a:pt x="363" y="664"/>
                  </a:lnTo>
                  <a:lnTo>
                    <a:pt x="364" y="661"/>
                  </a:lnTo>
                  <a:lnTo>
                    <a:pt x="363" y="660"/>
                  </a:lnTo>
                  <a:lnTo>
                    <a:pt x="361" y="656"/>
                  </a:lnTo>
                  <a:lnTo>
                    <a:pt x="366" y="659"/>
                  </a:lnTo>
                  <a:lnTo>
                    <a:pt x="370" y="664"/>
                  </a:lnTo>
                  <a:lnTo>
                    <a:pt x="367" y="662"/>
                  </a:lnTo>
                  <a:lnTo>
                    <a:pt x="365" y="664"/>
                  </a:lnTo>
                  <a:lnTo>
                    <a:pt x="366" y="667"/>
                  </a:lnTo>
                  <a:lnTo>
                    <a:pt x="369" y="670"/>
                  </a:lnTo>
                  <a:lnTo>
                    <a:pt x="369" y="674"/>
                  </a:lnTo>
                  <a:lnTo>
                    <a:pt x="366" y="672"/>
                  </a:lnTo>
                  <a:lnTo>
                    <a:pt x="365" y="668"/>
                  </a:lnTo>
                  <a:lnTo>
                    <a:pt x="364" y="671"/>
                  </a:lnTo>
                  <a:lnTo>
                    <a:pt x="365" y="677"/>
                  </a:lnTo>
                  <a:lnTo>
                    <a:pt x="365" y="680"/>
                  </a:lnTo>
                  <a:lnTo>
                    <a:pt x="364" y="673"/>
                  </a:lnTo>
                  <a:lnTo>
                    <a:pt x="363" y="677"/>
                  </a:lnTo>
                  <a:lnTo>
                    <a:pt x="361" y="679"/>
                  </a:lnTo>
                  <a:lnTo>
                    <a:pt x="363" y="673"/>
                  </a:lnTo>
                  <a:lnTo>
                    <a:pt x="360" y="676"/>
                  </a:lnTo>
                  <a:lnTo>
                    <a:pt x="363" y="671"/>
                  </a:lnTo>
                  <a:lnTo>
                    <a:pt x="361" y="668"/>
                  </a:lnTo>
                  <a:lnTo>
                    <a:pt x="363" y="667"/>
                  </a:lnTo>
                  <a:lnTo>
                    <a:pt x="364" y="666"/>
                  </a:lnTo>
                  <a:lnTo>
                    <a:pt x="359" y="662"/>
                  </a:lnTo>
                  <a:lnTo>
                    <a:pt x="355" y="658"/>
                  </a:lnTo>
                  <a:lnTo>
                    <a:pt x="352" y="652"/>
                  </a:lnTo>
                  <a:lnTo>
                    <a:pt x="349" y="649"/>
                  </a:lnTo>
                  <a:lnTo>
                    <a:pt x="351" y="658"/>
                  </a:lnTo>
                  <a:lnTo>
                    <a:pt x="352" y="662"/>
                  </a:lnTo>
                  <a:lnTo>
                    <a:pt x="353" y="666"/>
                  </a:lnTo>
                  <a:lnTo>
                    <a:pt x="353" y="664"/>
                  </a:lnTo>
                  <a:lnTo>
                    <a:pt x="357" y="662"/>
                  </a:lnTo>
                  <a:lnTo>
                    <a:pt x="355" y="666"/>
                  </a:lnTo>
                  <a:lnTo>
                    <a:pt x="354" y="667"/>
                  </a:lnTo>
                  <a:lnTo>
                    <a:pt x="355" y="668"/>
                  </a:lnTo>
                  <a:lnTo>
                    <a:pt x="358" y="667"/>
                  </a:lnTo>
                  <a:lnTo>
                    <a:pt x="357" y="671"/>
                  </a:lnTo>
                  <a:lnTo>
                    <a:pt x="355" y="672"/>
                  </a:lnTo>
                  <a:lnTo>
                    <a:pt x="358" y="676"/>
                  </a:lnTo>
                  <a:lnTo>
                    <a:pt x="363" y="682"/>
                  </a:lnTo>
                  <a:lnTo>
                    <a:pt x="366" y="685"/>
                  </a:lnTo>
                  <a:lnTo>
                    <a:pt x="365" y="683"/>
                  </a:lnTo>
                  <a:lnTo>
                    <a:pt x="369" y="684"/>
                  </a:lnTo>
                  <a:lnTo>
                    <a:pt x="370" y="689"/>
                  </a:lnTo>
                  <a:lnTo>
                    <a:pt x="372" y="690"/>
                  </a:lnTo>
                  <a:lnTo>
                    <a:pt x="375" y="689"/>
                  </a:lnTo>
                  <a:lnTo>
                    <a:pt x="376" y="686"/>
                  </a:lnTo>
                  <a:lnTo>
                    <a:pt x="376" y="684"/>
                  </a:lnTo>
                  <a:lnTo>
                    <a:pt x="377" y="682"/>
                  </a:lnTo>
                  <a:lnTo>
                    <a:pt x="381" y="680"/>
                  </a:lnTo>
                  <a:lnTo>
                    <a:pt x="383" y="679"/>
                  </a:lnTo>
                  <a:lnTo>
                    <a:pt x="384" y="683"/>
                  </a:lnTo>
                  <a:lnTo>
                    <a:pt x="382" y="686"/>
                  </a:lnTo>
                  <a:lnTo>
                    <a:pt x="381" y="690"/>
                  </a:lnTo>
                  <a:lnTo>
                    <a:pt x="382" y="692"/>
                  </a:lnTo>
                  <a:lnTo>
                    <a:pt x="385" y="692"/>
                  </a:lnTo>
                  <a:lnTo>
                    <a:pt x="387" y="691"/>
                  </a:lnTo>
                  <a:lnTo>
                    <a:pt x="389" y="688"/>
                  </a:lnTo>
                  <a:lnTo>
                    <a:pt x="388" y="686"/>
                  </a:lnTo>
                  <a:lnTo>
                    <a:pt x="389" y="682"/>
                  </a:lnTo>
                  <a:lnTo>
                    <a:pt x="390" y="685"/>
                  </a:lnTo>
                  <a:lnTo>
                    <a:pt x="390" y="688"/>
                  </a:lnTo>
                  <a:lnTo>
                    <a:pt x="388" y="691"/>
                  </a:lnTo>
                  <a:lnTo>
                    <a:pt x="387" y="692"/>
                  </a:lnTo>
                  <a:lnTo>
                    <a:pt x="387" y="694"/>
                  </a:lnTo>
                  <a:lnTo>
                    <a:pt x="389" y="695"/>
                  </a:lnTo>
                  <a:lnTo>
                    <a:pt x="390" y="696"/>
                  </a:lnTo>
                  <a:lnTo>
                    <a:pt x="395" y="698"/>
                  </a:lnTo>
                  <a:lnTo>
                    <a:pt x="395" y="702"/>
                  </a:lnTo>
                  <a:lnTo>
                    <a:pt x="393" y="701"/>
                  </a:lnTo>
                  <a:lnTo>
                    <a:pt x="391" y="702"/>
                  </a:lnTo>
                  <a:lnTo>
                    <a:pt x="391" y="703"/>
                  </a:lnTo>
                  <a:lnTo>
                    <a:pt x="394" y="709"/>
                  </a:lnTo>
                  <a:lnTo>
                    <a:pt x="390" y="708"/>
                  </a:lnTo>
                  <a:lnTo>
                    <a:pt x="388" y="702"/>
                  </a:lnTo>
                  <a:lnTo>
                    <a:pt x="390" y="700"/>
                  </a:lnTo>
                  <a:lnTo>
                    <a:pt x="388" y="698"/>
                  </a:lnTo>
                  <a:lnTo>
                    <a:pt x="387" y="696"/>
                  </a:lnTo>
                  <a:lnTo>
                    <a:pt x="385" y="695"/>
                  </a:lnTo>
                  <a:lnTo>
                    <a:pt x="384" y="694"/>
                  </a:lnTo>
                  <a:lnTo>
                    <a:pt x="381" y="692"/>
                  </a:lnTo>
                  <a:lnTo>
                    <a:pt x="379" y="695"/>
                  </a:lnTo>
                  <a:lnTo>
                    <a:pt x="383" y="698"/>
                  </a:lnTo>
                  <a:lnTo>
                    <a:pt x="384" y="704"/>
                  </a:lnTo>
                  <a:lnTo>
                    <a:pt x="388" y="707"/>
                  </a:lnTo>
                  <a:lnTo>
                    <a:pt x="388" y="712"/>
                  </a:lnTo>
                  <a:lnTo>
                    <a:pt x="389" y="720"/>
                  </a:lnTo>
                  <a:lnTo>
                    <a:pt x="393" y="725"/>
                  </a:lnTo>
                  <a:lnTo>
                    <a:pt x="395" y="727"/>
                  </a:lnTo>
                  <a:lnTo>
                    <a:pt x="397" y="728"/>
                  </a:lnTo>
                  <a:lnTo>
                    <a:pt x="400" y="728"/>
                  </a:lnTo>
                  <a:lnTo>
                    <a:pt x="402" y="733"/>
                  </a:lnTo>
                  <a:lnTo>
                    <a:pt x="399" y="732"/>
                  </a:lnTo>
                  <a:lnTo>
                    <a:pt x="400" y="734"/>
                  </a:lnTo>
                  <a:lnTo>
                    <a:pt x="397" y="737"/>
                  </a:lnTo>
                  <a:lnTo>
                    <a:pt x="396" y="737"/>
                  </a:lnTo>
                  <a:lnTo>
                    <a:pt x="396" y="738"/>
                  </a:lnTo>
                  <a:lnTo>
                    <a:pt x="394" y="736"/>
                  </a:lnTo>
                  <a:lnTo>
                    <a:pt x="393" y="737"/>
                  </a:lnTo>
                  <a:lnTo>
                    <a:pt x="390" y="742"/>
                  </a:lnTo>
                  <a:lnTo>
                    <a:pt x="388" y="739"/>
                  </a:lnTo>
                  <a:lnTo>
                    <a:pt x="387" y="738"/>
                  </a:lnTo>
                  <a:lnTo>
                    <a:pt x="387" y="737"/>
                  </a:lnTo>
                  <a:lnTo>
                    <a:pt x="387" y="734"/>
                  </a:lnTo>
                  <a:lnTo>
                    <a:pt x="388" y="732"/>
                  </a:lnTo>
                  <a:lnTo>
                    <a:pt x="387" y="728"/>
                  </a:lnTo>
                  <a:lnTo>
                    <a:pt x="389" y="722"/>
                  </a:lnTo>
                  <a:lnTo>
                    <a:pt x="387" y="713"/>
                  </a:lnTo>
                  <a:lnTo>
                    <a:pt x="385" y="714"/>
                  </a:lnTo>
                  <a:lnTo>
                    <a:pt x="384" y="714"/>
                  </a:lnTo>
                  <a:lnTo>
                    <a:pt x="385" y="718"/>
                  </a:lnTo>
                  <a:lnTo>
                    <a:pt x="382" y="716"/>
                  </a:lnTo>
                  <a:lnTo>
                    <a:pt x="377" y="714"/>
                  </a:lnTo>
                  <a:lnTo>
                    <a:pt x="376" y="713"/>
                  </a:lnTo>
                  <a:lnTo>
                    <a:pt x="375" y="714"/>
                  </a:lnTo>
                  <a:lnTo>
                    <a:pt x="376" y="716"/>
                  </a:lnTo>
                  <a:lnTo>
                    <a:pt x="375" y="722"/>
                  </a:lnTo>
                  <a:lnTo>
                    <a:pt x="375" y="724"/>
                  </a:lnTo>
                  <a:lnTo>
                    <a:pt x="372" y="720"/>
                  </a:lnTo>
                  <a:lnTo>
                    <a:pt x="371" y="716"/>
                  </a:lnTo>
                  <a:lnTo>
                    <a:pt x="373" y="714"/>
                  </a:lnTo>
                  <a:lnTo>
                    <a:pt x="375" y="712"/>
                  </a:lnTo>
                  <a:lnTo>
                    <a:pt x="377" y="709"/>
                  </a:lnTo>
                  <a:lnTo>
                    <a:pt x="378" y="707"/>
                  </a:lnTo>
                  <a:lnTo>
                    <a:pt x="378" y="704"/>
                  </a:lnTo>
                  <a:lnTo>
                    <a:pt x="376" y="704"/>
                  </a:lnTo>
                  <a:lnTo>
                    <a:pt x="375" y="707"/>
                  </a:lnTo>
                  <a:lnTo>
                    <a:pt x="375" y="706"/>
                  </a:lnTo>
                  <a:lnTo>
                    <a:pt x="373" y="703"/>
                  </a:lnTo>
                  <a:lnTo>
                    <a:pt x="370" y="708"/>
                  </a:lnTo>
                  <a:lnTo>
                    <a:pt x="366" y="715"/>
                  </a:lnTo>
                  <a:lnTo>
                    <a:pt x="363" y="722"/>
                  </a:lnTo>
                  <a:lnTo>
                    <a:pt x="364" y="725"/>
                  </a:lnTo>
                  <a:lnTo>
                    <a:pt x="365" y="726"/>
                  </a:lnTo>
                  <a:lnTo>
                    <a:pt x="367" y="725"/>
                  </a:lnTo>
                  <a:lnTo>
                    <a:pt x="369" y="728"/>
                  </a:lnTo>
                  <a:lnTo>
                    <a:pt x="367" y="728"/>
                  </a:lnTo>
                  <a:lnTo>
                    <a:pt x="367" y="733"/>
                  </a:lnTo>
                  <a:lnTo>
                    <a:pt x="366" y="734"/>
                  </a:lnTo>
                  <a:lnTo>
                    <a:pt x="369" y="737"/>
                  </a:lnTo>
                  <a:lnTo>
                    <a:pt x="369" y="739"/>
                  </a:lnTo>
                  <a:lnTo>
                    <a:pt x="367" y="738"/>
                  </a:lnTo>
                  <a:lnTo>
                    <a:pt x="369" y="744"/>
                  </a:lnTo>
                  <a:lnTo>
                    <a:pt x="367" y="748"/>
                  </a:lnTo>
                  <a:lnTo>
                    <a:pt x="364" y="743"/>
                  </a:lnTo>
                  <a:lnTo>
                    <a:pt x="361" y="739"/>
                  </a:lnTo>
                  <a:lnTo>
                    <a:pt x="360" y="743"/>
                  </a:lnTo>
                  <a:lnTo>
                    <a:pt x="355" y="746"/>
                  </a:lnTo>
                  <a:lnTo>
                    <a:pt x="355" y="744"/>
                  </a:lnTo>
                  <a:lnTo>
                    <a:pt x="354" y="742"/>
                  </a:lnTo>
                  <a:lnTo>
                    <a:pt x="352" y="744"/>
                  </a:lnTo>
                  <a:lnTo>
                    <a:pt x="351" y="738"/>
                  </a:lnTo>
                  <a:lnTo>
                    <a:pt x="352" y="734"/>
                  </a:lnTo>
                  <a:lnTo>
                    <a:pt x="349" y="736"/>
                  </a:lnTo>
                  <a:lnTo>
                    <a:pt x="349" y="732"/>
                  </a:lnTo>
                  <a:lnTo>
                    <a:pt x="354" y="726"/>
                  </a:lnTo>
                  <a:lnTo>
                    <a:pt x="354" y="724"/>
                  </a:lnTo>
                  <a:lnTo>
                    <a:pt x="351" y="725"/>
                  </a:lnTo>
                  <a:lnTo>
                    <a:pt x="347" y="730"/>
                  </a:lnTo>
                  <a:lnTo>
                    <a:pt x="346" y="730"/>
                  </a:lnTo>
                  <a:lnTo>
                    <a:pt x="346" y="727"/>
                  </a:lnTo>
                  <a:lnTo>
                    <a:pt x="348" y="721"/>
                  </a:lnTo>
                  <a:lnTo>
                    <a:pt x="351" y="719"/>
                  </a:lnTo>
                  <a:lnTo>
                    <a:pt x="355" y="721"/>
                  </a:lnTo>
                  <a:lnTo>
                    <a:pt x="360" y="720"/>
                  </a:lnTo>
                  <a:lnTo>
                    <a:pt x="363" y="718"/>
                  </a:lnTo>
                  <a:lnTo>
                    <a:pt x="366" y="713"/>
                  </a:lnTo>
                  <a:lnTo>
                    <a:pt x="371" y="704"/>
                  </a:lnTo>
                  <a:lnTo>
                    <a:pt x="373" y="700"/>
                  </a:lnTo>
                  <a:lnTo>
                    <a:pt x="371" y="700"/>
                  </a:lnTo>
                  <a:lnTo>
                    <a:pt x="371" y="696"/>
                  </a:lnTo>
                  <a:lnTo>
                    <a:pt x="370" y="695"/>
                  </a:lnTo>
                  <a:lnTo>
                    <a:pt x="370" y="696"/>
                  </a:lnTo>
                  <a:lnTo>
                    <a:pt x="369" y="698"/>
                  </a:lnTo>
                  <a:lnTo>
                    <a:pt x="365" y="700"/>
                  </a:lnTo>
                  <a:lnTo>
                    <a:pt x="361" y="700"/>
                  </a:lnTo>
                  <a:lnTo>
                    <a:pt x="360" y="701"/>
                  </a:lnTo>
                  <a:lnTo>
                    <a:pt x="359" y="702"/>
                  </a:lnTo>
                  <a:lnTo>
                    <a:pt x="353" y="702"/>
                  </a:lnTo>
                  <a:lnTo>
                    <a:pt x="355" y="700"/>
                  </a:lnTo>
                  <a:lnTo>
                    <a:pt x="358" y="697"/>
                  </a:lnTo>
                  <a:lnTo>
                    <a:pt x="359" y="695"/>
                  </a:lnTo>
                  <a:lnTo>
                    <a:pt x="360" y="694"/>
                  </a:lnTo>
                  <a:lnTo>
                    <a:pt x="365" y="694"/>
                  </a:lnTo>
                  <a:lnTo>
                    <a:pt x="367" y="695"/>
                  </a:lnTo>
                  <a:lnTo>
                    <a:pt x="367" y="692"/>
                  </a:lnTo>
                  <a:lnTo>
                    <a:pt x="370" y="691"/>
                  </a:lnTo>
                  <a:lnTo>
                    <a:pt x="370" y="690"/>
                  </a:lnTo>
                  <a:lnTo>
                    <a:pt x="367" y="690"/>
                  </a:lnTo>
                  <a:lnTo>
                    <a:pt x="364" y="688"/>
                  </a:lnTo>
                  <a:lnTo>
                    <a:pt x="364" y="685"/>
                  </a:lnTo>
                  <a:lnTo>
                    <a:pt x="364" y="688"/>
                  </a:lnTo>
                  <a:lnTo>
                    <a:pt x="360" y="688"/>
                  </a:lnTo>
                  <a:lnTo>
                    <a:pt x="357" y="686"/>
                  </a:lnTo>
                  <a:lnTo>
                    <a:pt x="354" y="686"/>
                  </a:lnTo>
                  <a:lnTo>
                    <a:pt x="351" y="685"/>
                  </a:lnTo>
                  <a:lnTo>
                    <a:pt x="348" y="680"/>
                  </a:lnTo>
                  <a:lnTo>
                    <a:pt x="347" y="683"/>
                  </a:lnTo>
                  <a:lnTo>
                    <a:pt x="351" y="688"/>
                  </a:lnTo>
                  <a:lnTo>
                    <a:pt x="352" y="690"/>
                  </a:lnTo>
                  <a:lnTo>
                    <a:pt x="349" y="691"/>
                  </a:lnTo>
                  <a:lnTo>
                    <a:pt x="349" y="695"/>
                  </a:lnTo>
                  <a:lnTo>
                    <a:pt x="351" y="698"/>
                  </a:lnTo>
                  <a:lnTo>
                    <a:pt x="347" y="697"/>
                  </a:lnTo>
                  <a:lnTo>
                    <a:pt x="347" y="700"/>
                  </a:lnTo>
                  <a:lnTo>
                    <a:pt x="347" y="703"/>
                  </a:lnTo>
                  <a:lnTo>
                    <a:pt x="346" y="702"/>
                  </a:lnTo>
                  <a:lnTo>
                    <a:pt x="344" y="698"/>
                  </a:lnTo>
                  <a:lnTo>
                    <a:pt x="343" y="698"/>
                  </a:lnTo>
                  <a:lnTo>
                    <a:pt x="342" y="701"/>
                  </a:lnTo>
                  <a:lnTo>
                    <a:pt x="341" y="698"/>
                  </a:lnTo>
                  <a:lnTo>
                    <a:pt x="340" y="701"/>
                  </a:lnTo>
                  <a:lnTo>
                    <a:pt x="340" y="707"/>
                  </a:lnTo>
                  <a:lnTo>
                    <a:pt x="338" y="702"/>
                  </a:lnTo>
                  <a:lnTo>
                    <a:pt x="336" y="702"/>
                  </a:lnTo>
                  <a:lnTo>
                    <a:pt x="332" y="704"/>
                  </a:lnTo>
                  <a:lnTo>
                    <a:pt x="334" y="698"/>
                  </a:lnTo>
                  <a:lnTo>
                    <a:pt x="334" y="694"/>
                  </a:lnTo>
                  <a:lnTo>
                    <a:pt x="336" y="689"/>
                  </a:lnTo>
                  <a:lnTo>
                    <a:pt x="334" y="688"/>
                  </a:lnTo>
                  <a:lnTo>
                    <a:pt x="331" y="685"/>
                  </a:lnTo>
                  <a:lnTo>
                    <a:pt x="331" y="686"/>
                  </a:lnTo>
                  <a:lnTo>
                    <a:pt x="329" y="685"/>
                  </a:lnTo>
                  <a:lnTo>
                    <a:pt x="325" y="685"/>
                  </a:lnTo>
                  <a:lnTo>
                    <a:pt x="325" y="688"/>
                  </a:lnTo>
                  <a:lnTo>
                    <a:pt x="329" y="690"/>
                  </a:lnTo>
                  <a:lnTo>
                    <a:pt x="329" y="695"/>
                  </a:lnTo>
                  <a:lnTo>
                    <a:pt x="326" y="695"/>
                  </a:lnTo>
                  <a:lnTo>
                    <a:pt x="326" y="698"/>
                  </a:lnTo>
                  <a:lnTo>
                    <a:pt x="324" y="697"/>
                  </a:lnTo>
                  <a:lnTo>
                    <a:pt x="322" y="692"/>
                  </a:lnTo>
                  <a:lnTo>
                    <a:pt x="320" y="690"/>
                  </a:lnTo>
                  <a:lnTo>
                    <a:pt x="318" y="691"/>
                  </a:lnTo>
                  <a:lnTo>
                    <a:pt x="318" y="694"/>
                  </a:lnTo>
                  <a:lnTo>
                    <a:pt x="320" y="696"/>
                  </a:lnTo>
                  <a:lnTo>
                    <a:pt x="323" y="698"/>
                  </a:lnTo>
                  <a:lnTo>
                    <a:pt x="324" y="703"/>
                  </a:lnTo>
                  <a:lnTo>
                    <a:pt x="323" y="709"/>
                  </a:lnTo>
                  <a:lnTo>
                    <a:pt x="319" y="703"/>
                  </a:lnTo>
                  <a:lnTo>
                    <a:pt x="317" y="698"/>
                  </a:lnTo>
                  <a:lnTo>
                    <a:pt x="316" y="700"/>
                  </a:lnTo>
                  <a:lnTo>
                    <a:pt x="314" y="702"/>
                  </a:lnTo>
                  <a:lnTo>
                    <a:pt x="313" y="700"/>
                  </a:lnTo>
                  <a:lnTo>
                    <a:pt x="312" y="700"/>
                  </a:lnTo>
                  <a:lnTo>
                    <a:pt x="310" y="703"/>
                  </a:lnTo>
                  <a:lnTo>
                    <a:pt x="310" y="706"/>
                  </a:lnTo>
                  <a:lnTo>
                    <a:pt x="310" y="709"/>
                  </a:lnTo>
                  <a:lnTo>
                    <a:pt x="313" y="710"/>
                  </a:lnTo>
                  <a:lnTo>
                    <a:pt x="317" y="710"/>
                  </a:lnTo>
                  <a:lnTo>
                    <a:pt x="318" y="712"/>
                  </a:lnTo>
                  <a:lnTo>
                    <a:pt x="316" y="712"/>
                  </a:lnTo>
                  <a:lnTo>
                    <a:pt x="312" y="712"/>
                  </a:lnTo>
                  <a:lnTo>
                    <a:pt x="311" y="710"/>
                  </a:lnTo>
                  <a:lnTo>
                    <a:pt x="311" y="713"/>
                  </a:lnTo>
                  <a:lnTo>
                    <a:pt x="312" y="716"/>
                  </a:lnTo>
                  <a:lnTo>
                    <a:pt x="311" y="715"/>
                  </a:lnTo>
                  <a:lnTo>
                    <a:pt x="311" y="718"/>
                  </a:lnTo>
                  <a:lnTo>
                    <a:pt x="308" y="720"/>
                  </a:lnTo>
                  <a:lnTo>
                    <a:pt x="307" y="718"/>
                  </a:lnTo>
                  <a:lnTo>
                    <a:pt x="308" y="712"/>
                  </a:lnTo>
                  <a:lnTo>
                    <a:pt x="308" y="709"/>
                  </a:lnTo>
                  <a:lnTo>
                    <a:pt x="307" y="713"/>
                  </a:lnTo>
                  <a:lnTo>
                    <a:pt x="306" y="715"/>
                  </a:lnTo>
                  <a:lnTo>
                    <a:pt x="305" y="713"/>
                  </a:lnTo>
                  <a:lnTo>
                    <a:pt x="304" y="715"/>
                  </a:lnTo>
                  <a:lnTo>
                    <a:pt x="302" y="714"/>
                  </a:lnTo>
                  <a:lnTo>
                    <a:pt x="301" y="712"/>
                  </a:lnTo>
                  <a:lnTo>
                    <a:pt x="301" y="709"/>
                  </a:lnTo>
                  <a:lnTo>
                    <a:pt x="300" y="706"/>
                  </a:lnTo>
                  <a:lnTo>
                    <a:pt x="300" y="708"/>
                  </a:lnTo>
                  <a:lnTo>
                    <a:pt x="298" y="709"/>
                  </a:lnTo>
                  <a:lnTo>
                    <a:pt x="299" y="712"/>
                  </a:lnTo>
                  <a:lnTo>
                    <a:pt x="299" y="716"/>
                  </a:lnTo>
                  <a:lnTo>
                    <a:pt x="293" y="721"/>
                  </a:lnTo>
                  <a:lnTo>
                    <a:pt x="295" y="716"/>
                  </a:lnTo>
                  <a:lnTo>
                    <a:pt x="298" y="712"/>
                  </a:lnTo>
                  <a:lnTo>
                    <a:pt x="296" y="709"/>
                  </a:lnTo>
                  <a:lnTo>
                    <a:pt x="294" y="710"/>
                  </a:lnTo>
                  <a:lnTo>
                    <a:pt x="292" y="712"/>
                  </a:lnTo>
                  <a:lnTo>
                    <a:pt x="290" y="713"/>
                  </a:lnTo>
                  <a:lnTo>
                    <a:pt x="287" y="712"/>
                  </a:lnTo>
                  <a:lnTo>
                    <a:pt x="287" y="714"/>
                  </a:lnTo>
                  <a:lnTo>
                    <a:pt x="290" y="718"/>
                  </a:lnTo>
                  <a:lnTo>
                    <a:pt x="289" y="722"/>
                  </a:lnTo>
                  <a:lnTo>
                    <a:pt x="289" y="724"/>
                  </a:lnTo>
                  <a:lnTo>
                    <a:pt x="288" y="724"/>
                  </a:lnTo>
                  <a:lnTo>
                    <a:pt x="284" y="722"/>
                  </a:lnTo>
                  <a:lnTo>
                    <a:pt x="284" y="725"/>
                  </a:lnTo>
                  <a:lnTo>
                    <a:pt x="282" y="727"/>
                  </a:lnTo>
                  <a:lnTo>
                    <a:pt x="281" y="728"/>
                  </a:lnTo>
                  <a:lnTo>
                    <a:pt x="278" y="728"/>
                  </a:lnTo>
                  <a:lnTo>
                    <a:pt x="277" y="725"/>
                  </a:lnTo>
                  <a:lnTo>
                    <a:pt x="276" y="722"/>
                  </a:lnTo>
                  <a:lnTo>
                    <a:pt x="272" y="724"/>
                  </a:lnTo>
                  <a:lnTo>
                    <a:pt x="271" y="724"/>
                  </a:lnTo>
                  <a:lnTo>
                    <a:pt x="273" y="720"/>
                  </a:lnTo>
                  <a:lnTo>
                    <a:pt x="275" y="718"/>
                  </a:lnTo>
                  <a:lnTo>
                    <a:pt x="275" y="714"/>
                  </a:lnTo>
                  <a:lnTo>
                    <a:pt x="276" y="713"/>
                  </a:lnTo>
                  <a:lnTo>
                    <a:pt x="273" y="712"/>
                  </a:lnTo>
                  <a:lnTo>
                    <a:pt x="272" y="712"/>
                  </a:lnTo>
                  <a:lnTo>
                    <a:pt x="275" y="709"/>
                  </a:lnTo>
                  <a:lnTo>
                    <a:pt x="276" y="707"/>
                  </a:lnTo>
                  <a:lnTo>
                    <a:pt x="276" y="706"/>
                  </a:lnTo>
                  <a:lnTo>
                    <a:pt x="273" y="703"/>
                  </a:lnTo>
                  <a:lnTo>
                    <a:pt x="273" y="704"/>
                  </a:lnTo>
                  <a:lnTo>
                    <a:pt x="273" y="707"/>
                  </a:lnTo>
                  <a:lnTo>
                    <a:pt x="272" y="708"/>
                  </a:lnTo>
                  <a:lnTo>
                    <a:pt x="269" y="710"/>
                  </a:lnTo>
                  <a:lnTo>
                    <a:pt x="267" y="709"/>
                  </a:lnTo>
                  <a:lnTo>
                    <a:pt x="265" y="707"/>
                  </a:lnTo>
                  <a:lnTo>
                    <a:pt x="267" y="703"/>
                  </a:lnTo>
                  <a:lnTo>
                    <a:pt x="266" y="700"/>
                  </a:lnTo>
                  <a:lnTo>
                    <a:pt x="265" y="701"/>
                  </a:lnTo>
                  <a:lnTo>
                    <a:pt x="264" y="701"/>
                  </a:lnTo>
                  <a:lnTo>
                    <a:pt x="263" y="700"/>
                  </a:lnTo>
                  <a:lnTo>
                    <a:pt x="263" y="697"/>
                  </a:lnTo>
                  <a:lnTo>
                    <a:pt x="261" y="698"/>
                  </a:lnTo>
                  <a:lnTo>
                    <a:pt x="259" y="698"/>
                  </a:lnTo>
                  <a:lnTo>
                    <a:pt x="258" y="700"/>
                  </a:lnTo>
                  <a:lnTo>
                    <a:pt x="259" y="701"/>
                  </a:lnTo>
                  <a:lnTo>
                    <a:pt x="263" y="701"/>
                  </a:lnTo>
                  <a:lnTo>
                    <a:pt x="264" y="703"/>
                  </a:lnTo>
                  <a:lnTo>
                    <a:pt x="263" y="703"/>
                  </a:lnTo>
                  <a:lnTo>
                    <a:pt x="260" y="706"/>
                  </a:lnTo>
                  <a:lnTo>
                    <a:pt x="260" y="708"/>
                  </a:lnTo>
                  <a:lnTo>
                    <a:pt x="258" y="706"/>
                  </a:lnTo>
                  <a:lnTo>
                    <a:pt x="255" y="704"/>
                  </a:lnTo>
                  <a:lnTo>
                    <a:pt x="257" y="702"/>
                  </a:lnTo>
                  <a:lnTo>
                    <a:pt x="254" y="702"/>
                  </a:lnTo>
                  <a:lnTo>
                    <a:pt x="253" y="704"/>
                  </a:lnTo>
                  <a:lnTo>
                    <a:pt x="253" y="702"/>
                  </a:lnTo>
                  <a:lnTo>
                    <a:pt x="252" y="701"/>
                  </a:lnTo>
                  <a:lnTo>
                    <a:pt x="253" y="700"/>
                  </a:lnTo>
                  <a:lnTo>
                    <a:pt x="257" y="698"/>
                  </a:lnTo>
                  <a:lnTo>
                    <a:pt x="257" y="697"/>
                  </a:lnTo>
                  <a:lnTo>
                    <a:pt x="255" y="697"/>
                  </a:lnTo>
                  <a:lnTo>
                    <a:pt x="257" y="696"/>
                  </a:lnTo>
                  <a:lnTo>
                    <a:pt x="259" y="695"/>
                  </a:lnTo>
                  <a:lnTo>
                    <a:pt x="260" y="694"/>
                  </a:lnTo>
                  <a:lnTo>
                    <a:pt x="265" y="691"/>
                  </a:lnTo>
                  <a:lnTo>
                    <a:pt x="267" y="689"/>
                  </a:lnTo>
                  <a:lnTo>
                    <a:pt x="266" y="688"/>
                  </a:lnTo>
                  <a:lnTo>
                    <a:pt x="266" y="689"/>
                  </a:lnTo>
                  <a:lnTo>
                    <a:pt x="265" y="690"/>
                  </a:lnTo>
                  <a:lnTo>
                    <a:pt x="263" y="689"/>
                  </a:lnTo>
                  <a:lnTo>
                    <a:pt x="259" y="689"/>
                  </a:lnTo>
                  <a:lnTo>
                    <a:pt x="261" y="686"/>
                  </a:lnTo>
                  <a:lnTo>
                    <a:pt x="264" y="685"/>
                  </a:lnTo>
                  <a:lnTo>
                    <a:pt x="264" y="684"/>
                  </a:lnTo>
                  <a:lnTo>
                    <a:pt x="263" y="683"/>
                  </a:lnTo>
                  <a:lnTo>
                    <a:pt x="261" y="684"/>
                  </a:lnTo>
                  <a:lnTo>
                    <a:pt x="257" y="688"/>
                  </a:lnTo>
                  <a:lnTo>
                    <a:pt x="257" y="685"/>
                  </a:lnTo>
                  <a:lnTo>
                    <a:pt x="259" y="683"/>
                  </a:lnTo>
                  <a:lnTo>
                    <a:pt x="260" y="680"/>
                  </a:lnTo>
                  <a:lnTo>
                    <a:pt x="257" y="682"/>
                  </a:lnTo>
                  <a:lnTo>
                    <a:pt x="255" y="684"/>
                  </a:lnTo>
                  <a:lnTo>
                    <a:pt x="251" y="686"/>
                  </a:lnTo>
                  <a:lnTo>
                    <a:pt x="251" y="682"/>
                  </a:lnTo>
                  <a:lnTo>
                    <a:pt x="249" y="682"/>
                  </a:lnTo>
                  <a:lnTo>
                    <a:pt x="248" y="683"/>
                  </a:lnTo>
                  <a:lnTo>
                    <a:pt x="248" y="686"/>
                  </a:lnTo>
                  <a:lnTo>
                    <a:pt x="245" y="683"/>
                  </a:lnTo>
                  <a:lnTo>
                    <a:pt x="242" y="682"/>
                  </a:lnTo>
                  <a:lnTo>
                    <a:pt x="241" y="684"/>
                  </a:lnTo>
                  <a:lnTo>
                    <a:pt x="240" y="685"/>
                  </a:lnTo>
                  <a:lnTo>
                    <a:pt x="237" y="683"/>
                  </a:lnTo>
                  <a:lnTo>
                    <a:pt x="235" y="682"/>
                  </a:lnTo>
                  <a:lnTo>
                    <a:pt x="235" y="678"/>
                  </a:lnTo>
                  <a:lnTo>
                    <a:pt x="236" y="677"/>
                  </a:lnTo>
                  <a:lnTo>
                    <a:pt x="239" y="676"/>
                  </a:lnTo>
                  <a:lnTo>
                    <a:pt x="235" y="676"/>
                  </a:lnTo>
                  <a:lnTo>
                    <a:pt x="233" y="678"/>
                  </a:lnTo>
                  <a:lnTo>
                    <a:pt x="231" y="682"/>
                  </a:lnTo>
                  <a:lnTo>
                    <a:pt x="230" y="683"/>
                  </a:lnTo>
                  <a:lnTo>
                    <a:pt x="230" y="685"/>
                  </a:lnTo>
                  <a:lnTo>
                    <a:pt x="233" y="688"/>
                  </a:lnTo>
                  <a:lnTo>
                    <a:pt x="235" y="689"/>
                  </a:lnTo>
                  <a:lnTo>
                    <a:pt x="237" y="691"/>
                  </a:lnTo>
                  <a:lnTo>
                    <a:pt x="241" y="692"/>
                  </a:lnTo>
                  <a:lnTo>
                    <a:pt x="240" y="694"/>
                  </a:lnTo>
                  <a:lnTo>
                    <a:pt x="239" y="695"/>
                  </a:lnTo>
                  <a:lnTo>
                    <a:pt x="236" y="695"/>
                  </a:lnTo>
                  <a:lnTo>
                    <a:pt x="236" y="696"/>
                  </a:lnTo>
                  <a:lnTo>
                    <a:pt x="241" y="697"/>
                  </a:lnTo>
                  <a:lnTo>
                    <a:pt x="243" y="702"/>
                  </a:lnTo>
                  <a:lnTo>
                    <a:pt x="241" y="702"/>
                  </a:lnTo>
                  <a:lnTo>
                    <a:pt x="237" y="700"/>
                  </a:lnTo>
                  <a:lnTo>
                    <a:pt x="236" y="701"/>
                  </a:lnTo>
                  <a:lnTo>
                    <a:pt x="235" y="702"/>
                  </a:lnTo>
                  <a:lnTo>
                    <a:pt x="229" y="700"/>
                  </a:lnTo>
                  <a:lnTo>
                    <a:pt x="228" y="700"/>
                  </a:lnTo>
                  <a:lnTo>
                    <a:pt x="227" y="701"/>
                  </a:lnTo>
                  <a:lnTo>
                    <a:pt x="224" y="707"/>
                  </a:lnTo>
                  <a:lnTo>
                    <a:pt x="223" y="707"/>
                  </a:lnTo>
                  <a:lnTo>
                    <a:pt x="223" y="704"/>
                  </a:lnTo>
                  <a:lnTo>
                    <a:pt x="220" y="700"/>
                  </a:lnTo>
                  <a:lnTo>
                    <a:pt x="220" y="696"/>
                  </a:lnTo>
                  <a:lnTo>
                    <a:pt x="219" y="700"/>
                  </a:lnTo>
                  <a:lnTo>
                    <a:pt x="218" y="703"/>
                  </a:lnTo>
                  <a:lnTo>
                    <a:pt x="219" y="704"/>
                  </a:lnTo>
                  <a:lnTo>
                    <a:pt x="217" y="703"/>
                  </a:lnTo>
                  <a:lnTo>
                    <a:pt x="214" y="701"/>
                  </a:lnTo>
                  <a:lnTo>
                    <a:pt x="216" y="704"/>
                  </a:lnTo>
                  <a:lnTo>
                    <a:pt x="216" y="708"/>
                  </a:lnTo>
                  <a:lnTo>
                    <a:pt x="216" y="710"/>
                  </a:lnTo>
                  <a:lnTo>
                    <a:pt x="218" y="712"/>
                  </a:lnTo>
                  <a:lnTo>
                    <a:pt x="220" y="713"/>
                  </a:lnTo>
                  <a:lnTo>
                    <a:pt x="220" y="715"/>
                  </a:lnTo>
                  <a:lnTo>
                    <a:pt x="220" y="719"/>
                  </a:lnTo>
                  <a:lnTo>
                    <a:pt x="222" y="719"/>
                  </a:lnTo>
                  <a:lnTo>
                    <a:pt x="223" y="718"/>
                  </a:lnTo>
                  <a:lnTo>
                    <a:pt x="223" y="712"/>
                  </a:lnTo>
                  <a:lnTo>
                    <a:pt x="224" y="710"/>
                  </a:lnTo>
                  <a:lnTo>
                    <a:pt x="227" y="715"/>
                  </a:lnTo>
                  <a:lnTo>
                    <a:pt x="228" y="720"/>
                  </a:lnTo>
                  <a:lnTo>
                    <a:pt x="224" y="725"/>
                  </a:lnTo>
                  <a:lnTo>
                    <a:pt x="224" y="722"/>
                  </a:lnTo>
                  <a:lnTo>
                    <a:pt x="222" y="720"/>
                  </a:lnTo>
                  <a:lnTo>
                    <a:pt x="223" y="725"/>
                  </a:lnTo>
                  <a:lnTo>
                    <a:pt x="222" y="726"/>
                  </a:lnTo>
                  <a:lnTo>
                    <a:pt x="219" y="724"/>
                  </a:lnTo>
                  <a:lnTo>
                    <a:pt x="216" y="722"/>
                  </a:lnTo>
                  <a:lnTo>
                    <a:pt x="218" y="721"/>
                  </a:lnTo>
                  <a:lnTo>
                    <a:pt x="219" y="719"/>
                  </a:lnTo>
                  <a:lnTo>
                    <a:pt x="219" y="718"/>
                  </a:lnTo>
                  <a:lnTo>
                    <a:pt x="217" y="719"/>
                  </a:lnTo>
                  <a:lnTo>
                    <a:pt x="214" y="720"/>
                  </a:lnTo>
                  <a:lnTo>
                    <a:pt x="214" y="716"/>
                  </a:lnTo>
                  <a:lnTo>
                    <a:pt x="212" y="715"/>
                  </a:lnTo>
                  <a:lnTo>
                    <a:pt x="206" y="716"/>
                  </a:lnTo>
                  <a:lnTo>
                    <a:pt x="207" y="713"/>
                  </a:lnTo>
                  <a:lnTo>
                    <a:pt x="210" y="710"/>
                  </a:lnTo>
                  <a:lnTo>
                    <a:pt x="213" y="710"/>
                  </a:lnTo>
                  <a:lnTo>
                    <a:pt x="213" y="709"/>
                  </a:lnTo>
                  <a:lnTo>
                    <a:pt x="210" y="709"/>
                  </a:lnTo>
                  <a:lnTo>
                    <a:pt x="210" y="708"/>
                  </a:lnTo>
                  <a:lnTo>
                    <a:pt x="211" y="706"/>
                  </a:lnTo>
                  <a:lnTo>
                    <a:pt x="210" y="703"/>
                  </a:lnTo>
                  <a:lnTo>
                    <a:pt x="210" y="702"/>
                  </a:lnTo>
                  <a:lnTo>
                    <a:pt x="208" y="701"/>
                  </a:lnTo>
                  <a:lnTo>
                    <a:pt x="207" y="703"/>
                  </a:lnTo>
                  <a:lnTo>
                    <a:pt x="206" y="703"/>
                  </a:lnTo>
                  <a:lnTo>
                    <a:pt x="205" y="706"/>
                  </a:lnTo>
                  <a:lnTo>
                    <a:pt x="205" y="709"/>
                  </a:lnTo>
                  <a:lnTo>
                    <a:pt x="202" y="706"/>
                  </a:lnTo>
                  <a:lnTo>
                    <a:pt x="200" y="702"/>
                  </a:lnTo>
                  <a:lnTo>
                    <a:pt x="200" y="700"/>
                  </a:lnTo>
                  <a:lnTo>
                    <a:pt x="198" y="697"/>
                  </a:lnTo>
                  <a:lnTo>
                    <a:pt x="200" y="695"/>
                  </a:lnTo>
                  <a:lnTo>
                    <a:pt x="200" y="692"/>
                  </a:lnTo>
                  <a:lnTo>
                    <a:pt x="198" y="694"/>
                  </a:lnTo>
                  <a:lnTo>
                    <a:pt x="198" y="692"/>
                  </a:lnTo>
                  <a:lnTo>
                    <a:pt x="196" y="691"/>
                  </a:lnTo>
                  <a:lnTo>
                    <a:pt x="194" y="691"/>
                  </a:lnTo>
                  <a:lnTo>
                    <a:pt x="193" y="690"/>
                  </a:lnTo>
                  <a:lnTo>
                    <a:pt x="192" y="689"/>
                  </a:lnTo>
                  <a:lnTo>
                    <a:pt x="192" y="686"/>
                  </a:lnTo>
                  <a:lnTo>
                    <a:pt x="190" y="690"/>
                  </a:lnTo>
                  <a:lnTo>
                    <a:pt x="192" y="691"/>
                  </a:lnTo>
                  <a:lnTo>
                    <a:pt x="195" y="692"/>
                  </a:lnTo>
                  <a:lnTo>
                    <a:pt x="194" y="695"/>
                  </a:lnTo>
                  <a:lnTo>
                    <a:pt x="193" y="696"/>
                  </a:lnTo>
                  <a:lnTo>
                    <a:pt x="193" y="698"/>
                  </a:lnTo>
                  <a:lnTo>
                    <a:pt x="190" y="701"/>
                  </a:lnTo>
                  <a:lnTo>
                    <a:pt x="194" y="701"/>
                  </a:lnTo>
                  <a:lnTo>
                    <a:pt x="196" y="701"/>
                  </a:lnTo>
                  <a:lnTo>
                    <a:pt x="198" y="704"/>
                  </a:lnTo>
                  <a:lnTo>
                    <a:pt x="196" y="707"/>
                  </a:lnTo>
                  <a:lnTo>
                    <a:pt x="195" y="707"/>
                  </a:lnTo>
                  <a:lnTo>
                    <a:pt x="194" y="708"/>
                  </a:lnTo>
                  <a:lnTo>
                    <a:pt x="193" y="709"/>
                  </a:lnTo>
                  <a:lnTo>
                    <a:pt x="190" y="710"/>
                  </a:lnTo>
                  <a:lnTo>
                    <a:pt x="189" y="709"/>
                  </a:lnTo>
                  <a:lnTo>
                    <a:pt x="189" y="704"/>
                  </a:lnTo>
                  <a:lnTo>
                    <a:pt x="188" y="703"/>
                  </a:lnTo>
                  <a:lnTo>
                    <a:pt x="187" y="707"/>
                  </a:lnTo>
                  <a:lnTo>
                    <a:pt x="186" y="712"/>
                  </a:lnTo>
                  <a:lnTo>
                    <a:pt x="186" y="708"/>
                  </a:lnTo>
                  <a:lnTo>
                    <a:pt x="184" y="709"/>
                  </a:lnTo>
                  <a:lnTo>
                    <a:pt x="182" y="712"/>
                  </a:lnTo>
                  <a:lnTo>
                    <a:pt x="182" y="707"/>
                  </a:lnTo>
                  <a:lnTo>
                    <a:pt x="181" y="704"/>
                  </a:lnTo>
                  <a:lnTo>
                    <a:pt x="180" y="704"/>
                  </a:lnTo>
                  <a:lnTo>
                    <a:pt x="178" y="706"/>
                  </a:lnTo>
                  <a:lnTo>
                    <a:pt x="178" y="707"/>
                  </a:lnTo>
                  <a:lnTo>
                    <a:pt x="180" y="709"/>
                  </a:lnTo>
                  <a:lnTo>
                    <a:pt x="177" y="713"/>
                  </a:lnTo>
                  <a:lnTo>
                    <a:pt x="175" y="715"/>
                  </a:lnTo>
                  <a:lnTo>
                    <a:pt x="174" y="713"/>
                  </a:lnTo>
                  <a:lnTo>
                    <a:pt x="171" y="710"/>
                  </a:lnTo>
                  <a:lnTo>
                    <a:pt x="170" y="714"/>
                  </a:lnTo>
                  <a:lnTo>
                    <a:pt x="171" y="718"/>
                  </a:lnTo>
                  <a:lnTo>
                    <a:pt x="172" y="718"/>
                  </a:lnTo>
                  <a:lnTo>
                    <a:pt x="176" y="718"/>
                  </a:lnTo>
                  <a:lnTo>
                    <a:pt x="177" y="720"/>
                  </a:lnTo>
                  <a:lnTo>
                    <a:pt x="178" y="720"/>
                  </a:lnTo>
                  <a:lnTo>
                    <a:pt x="180" y="716"/>
                  </a:lnTo>
                  <a:lnTo>
                    <a:pt x="181" y="712"/>
                  </a:lnTo>
                  <a:lnTo>
                    <a:pt x="181" y="714"/>
                  </a:lnTo>
                  <a:lnTo>
                    <a:pt x="182" y="714"/>
                  </a:lnTo>
                  <a:lnTo>
                    <a:pt x="187" y="715"/>
                  </a:lnTo>
                  <a:lnTo>
                    <a:pt x="184" y="719"/>
                  </a:lnTo>
                  <a:lnTo>
                    <a:pt x="182" y="720"/>
                  </a:lnTo>
                  <a:lnTo>
                    <a:pt x="182" y="721"/>
                  </a:lnTo>
                  <a:lnTo>
                    <a:pt x="183" y="722"/>
                  </a:lnTo>
                  <a:lnTo>
                    <a:pt x="181" y="724"/>
                  </a:lnTo>
                  <a:lnTo>
                    <a:pt x="180" y="722"/>
                  </a:lnTo>
                  <a:lnTo>
                    <a:pt x="175" y="721"/>
                  </a:lnTo>
                  <a:lnTo>
                    <a:pt x="175" y="722"/>
                  </a:lnTo>
                  <a:lnTo>
                    <a:pt x="176" y="725"/>
                  </a:lnTo>
                  <a:lnTo>
                    <a:pt x="174" y="727"/>
                  </a:lnTo>
                  <a:lnTo>
                    <a:pt x="174" y="730"/>
                  </a:lnTo>
                  <a:lnTo>
                    <a:pt x="171" y="726"/>
                  </a:lnTo>
                  <a:lnTo>
                    <a:pt x="169" y="721"/>
                  </a:lnTo>
                  <a:lnTo>
                    <a:pt x="166" y="721"/>
                  </a:lnTo>
                  <a:lnTo>
                    <a:pt x="164" y="724"/>
                  </a:lnTo>
                  <a:lnTo>
                    <a:pt x="165" y="720"/>
                  </a:lnTo>
                  <a:lnTo>
                    <a:pt x="163" y="722"/>
                  </a:lnTo>
                  <a:lnTo>
                    <a:pt x="161" y="726"/>
                  </a:lnTo>
                  <a:lnTo>
                    <a:pt x="160" y="725"/>
                  </a:lnTo>
                  <a:lnTo>
                    <a:pt x="155" y="728"/>
                  </a:lnTo>
                  <a:lnTo>
                    <a:pt x="154" y="731"/>
                  </a:lnTo>
                  <a:lnTo>
                    <a:pt x="152" y="728"/>
                  </a:lnTo>
                  <a:lnTo>
                    <a:pt x="149" y="727"/>
                  </a:lnTo>
                  <a:lnTo>
                    <a:pt x="146" y="731"/>
                  </a:lnTo>
                  <a:lnTo>
                    <a:pt x="145" y="734"/>
                  </a:lnTo>
                  <a:lnTo>
                    <a:pt x="142" y="730"/>
                  </a:lnTo>
                  <a:lnTo>
                    <a:pt x="140" y="726"/>
                  </a:lnTo>
                  <a:lnTo>
                    <a:pt x="139" y="724"/>
                  </a:lnTo>
                  <a:lnTo>
                    <a:pt x="137" y="725"/>
                  </a:lnTo>
                  <a:lnTo>
                    <a:pt x="139" y="721"/>
                  </a:lnTo>
                  <a:lnTo>
                    <a:pt x="142" y="716"/>
                  </a:lnTo>
                  <a:lnTo>
                    <a:pt x="146" y="715"/>
                  </a:lnTo>
                  <a:lnTo>
                    <a:pt x="148" y="716"/>
                  </a:lnTo>
                  <a:lnTo>
                    <a:pt x="151" y="716"/>
                  </a:lnTo>
                  <a:lnTo>
                    <a:pt x="149" y="714"/>
                  </a:lnTo>
                  <a:lnTo>
                    <a:pt x="148" y="713"/>
                  </a:lnTo>
                  <a:lnTo>
                    <a:pt x="146" y="714"/>
                  </a:lnTo>
                  <a:lnTo>
                    <a:pt x="141" y="714"/>
                  </a:lnTo>
                  <a:lnTo>
                    <a:pt x="139" y="713"/>
                  </a:lnTo>
                  <a:lnTo>
                    <a:pt x="136" y="713"/>
                  </a:lnTo>
                  <a:lnTo>
                    <a:pt x="131" y="715"/>
                  </a:lnTo>
                  <a:lnTo>
                    <a:pt x="127" y="720"/>
                  </a:lnTo>
                  <a:lnTo>
                    <a:pt x="127" y="716"/>
                  </a:lnTo>
                  <a:lnTo>
                    <a:pt x="128" y="713"/>
                  </a:lnTo>
                  <a:lnTo>
                    <a:pt x="130" y="709"/>
                  </a:lnTo>
                  <a:lnTo>
                    <a:pt x="134" y="709"/>
                  </a:lnTo>
                  <a:lnTo>
                    <a:pt x="136" y="709"/>
                  </a:lnTo>
                  <a:lnTo>
                    <a:pt x="141" y="707"/>
                  </a:lnTo>
                  <a:lnTo>
                    <a:pt x="135" y="706"/>
                  </a:lnTo>
                  <a:lnTo>
                    <a:pt x="130" y="707"/>
                  </a:lnTo>
                  <a:lnTo>
                    <a:pt x="127" y="707"/>
                  </a:lnTo>
                  <a:lnTo>
                    <a:pt x="125" y="708"/>
                  </a:lnTo>
                  <a:lnTo>
                    <a:pt x="124" y="709"/>
                  </a:lnTo>
                  <a:lnTo>
                    <a:pt x="125" y="707"/>
                  </a:lnTo>
                  <a:lnTo>
                    <a:pt x="122" y="708"/>
                  </a:lnTo>
                  <a:lnTo>
                    <a:pt x="121" y="709"/>
                  </a:lnTo>
                  <a:lnTo>
                    <a:pt x="122" y="706"/>
                  </a:lnTo>
                  <a:lnTo>
                    <a:pt x="124" y="702"/>
                  </a:lnTo>
                  <a:lnTo>
                    <a:pt x="133" y="702"/>
                  </a:lnTo>
                  <a:lnTo>
                    <a:pt x="136" y="703"/>
                  </a:lnTo>
                  <a:lnTo>
                    <a:pt x="140" y="706"/>
                  </a:lnTo>
                  <a:lnTo>
                    <a:pt x="143" y="706"/>
                  </a:lnTo>
                  <a:lnTo>
                    <a:pt x="147" y="703"/>
                  </a:lnTo>
                  <a:lnTo>
                    <a:pt x="153" y="702"/>
                  </a:lnTo>
                  <a:lnTo>
                    <a:pt x="154" y="701"/>
                  </a:lnTo>
                  <a:lnTo>
                    <a:pt x="153" y="701"/>
                  </a:lnTo>
                  <a:lnTo>
                    <a:pt x="152" y="702"/>
                  </a:lnTo>
                  <a:lnTo>
                    <a:pt x="149" y="701"/>
                  </a:lnTo>
                  <a:lnTo>
                    <a:pt x="146" y="702"/>
                  </a:lnTo>
                  <a:lnTo>
                    <a:pt x="143" y="703"/>
                  </a:lnTo>
                  <a:lnTo>
                    <a:pt x="137" y="702"/>
                  </a:lnTo>
                  <a:lnTo>
                    <a:pt x="139" y="700"/>
                  </a:lnTo>
                  <a:lnTo>
                    <a:pt x="136" y="700"/>
                  </a:lnTo>
                  <a:lnTo>
                    <a:pt x="137" y="697"/>
                  </a:lnTo>
                  <a:lnTo>
                    <a:pt x="134" y="698"/>
                  </a:lnTo>
                  <a:lnTo>
                    <a:pt x="130" y="698"/>
                  </a:lnTo>
                  <a:lnTo>
                    <a:pt x="127" y="698"/>
                  </a:lnTo>
                  <a:lnTo>
                    <a:pt x="121" y="700"/>
                  </a:lnTo>
                  <a:lnTo>
                    <a:pt x="121" y="696"/>
                  </a:lnTo>
                  <a:lnTo>
                    <a:pt x="122" y="694"/>
                  </a:lnTo>
                  <a:lnTo>
                    <a:pt x="121" y="692"/>
                  </a:lnTo>
                  <a:lnTo>
                    <a:pt x="118" y="691"/>
                  </a:lnTo>
                  <a:lnTo>
                    <a:pt x="118" y="688"/>
                  </a:lnTo>
                  <a:lnTo>
                    <a:pt x="116" y="689"/>
                  </a:lnTo>
                  <a:lnTo>
                    <a:pt x="115" y="686"/>
                  </a:lnTo>
                  <a:lnTo>
                    <a:pt x="113" y="688"/>
                  </a:lnTo>
                  <a:lnTo>
                    <a:pt x="112" y="689"/>
                  </a:lnTo>
                  <a:lnTo>
                    <a:pt x="110" y="688"/>
                  </a:lnTo>
                  <a:lnTo>
                    <a:pt x="107" y="689"/>
                  </a:lnTo>
                  <a:lnTo>
                    <a:pt x="105" y="695"/>
                  </a:lnTo>
                  <a:lnTo>
                    <a:pt x="101" y="702"/>
                  </a:lnTo>
                  <a:lnTo>
                    <a:pt x="99" y="706"/>
                  </a:lnTo>
                  <a:lnTo>
                    <a:pt x="98" y="702"/>
                  </a:lnTo>
                  <a:lnTo>
                    <a:pt x="95" y="698"/>
                  </a:lnTo>
                  <a:lnTo>
                    <a:pt x="93" y="700"/>
                  </a:lnTo>
                  <a:lnTo>
                    <a:pt x="92" y="701"/>
                  </a:lnTo>
                  <a:lnTo>
                    <a:pt x="93" y="703"/>
                  </a:lnTo>
                  <a:lnTo>
                    <a:pt x="92" y="704"/>
                  </a:lnTo>
                  <a:lnTo>
                    <a:pt x="92" y="707"/>
                  </a:lnTo>
                  <a:lnTo>
                    <a:pt x="89" y="708"/>
                  </a:lnTo>
                  <a:lnTo>
                    <a:pt x="93" y="708"/>
                  </a:lnTo>
                  <a:lnTo>
                    <a:pt x="95" y="709"/>
                  </a:lnTo>
                  <a:lnTo>
                    <a:pt x="95" y="710"/>
                  </a:lnTo>
                  <a:lnTo>
                    <a:pt x="94" y="716"/>
                  </a:lnTo>
                  <a:lnTo>
                    <a:pt x="92" y="715"/>
                  </a:lnTo>
                  <a:lnTo>
                    <a:pt x="87" y="714"/>
                  </a:lnTo>
                  <a:lnTo>
                    <a:pt x="86" y="712"/>
                  </a:lnTo>
                  <a:lnTo>
                    <a:pt x="84" y="712"/>
                  </a:lnTo>
                  <a:lnTo>
                    <a:pt x="86" y="716"/>
                  </a:lnTo>
                  <a:lnTo>
                    <a:pt x="82" y="713"/>
                  </a:lnTo>
                  <a:lnTo>
                    <a:pt x="81" y="710"/>
                  </a:lnTo>
                  <a:lnTo>
                    <a:pt x="78" y="713"/>
                  </a:lnTo>
                  <a:lnTo>
                    <a:pt x="78" y="715"/>
                  </a:lnTo>
                  <a:lnTo>
                    <a:pt x="75" y="716"/>
                  </a:lnTo>
                  <a:lnTo>
                    <a:pt x="72" y="716"/>
                  </a:lnTo>
                  <a:lnTo>
                    <a:pt x="71" y="716"/>
                  </a:lnTo>
                  <a:lnTo>
                    <a:pt x="69" y="720"/>
                  </a:lnTo>
                  <a:lnTo>
                    <a:pt x="66" y="724"/>
                  </a:lnTo>
                  <a:lnTo>
                    <a:pt x="65" y="721"/>
                  </a:lnTo>
                  <a:lnTo>
                    <a:pt x="62" y="721"/>
                  </a:lnTo>
                  <a:lnTo>
                    <a:pt x="59" y="719"/>
                  </a:lnTo>
                  <a:lnTo>
                    <a:pt x="53" y="722"/>
                  </a:lnTo>
                  <a:lnTo>
                    <a:pt x="48" y="724"/>
                  </a:lnTo>
                  <a:lnTo>
                    <a:pt x="47" y="727"/>
                  </a:lnTo>
                  <a:lnTo>
                    <a:pt x="46" y="730"/>
                  </a:lnTo>
                  <a:lnTo>
                    <a:pt x="45" y="732"/>
                  </a:lnTo>
                  <a:lnTo>
                    <a:pt x="42" y="731"/>
                  </a:lnTo>
                  <a:lnTo>
                    <a:pt x="41" y="728"/>
                  </a:lnTo>
                  <a:lnTo>
                    <a:pt x="42" y="727"/>
                  </a:lnTo>
                  <a:lnTo>
                    <a:pt x="39" y="727"/>
                  </a:lnTo>
                  <a:lnTo>
                    <a:pt x="37" y="727"/>
                  </a:lnTo>
                  <a:lnTo>
                    <a:pt x="40" y="725"/>
                  </a:lnTo>
                  <a:lnTo>
                    <a:pt x="37" y="726"/>
                  </a:lnTo>
                  <a:lnTo>
                    <a:pt x="37" y="722"/>
                  </a:lnTo>
                  <a:lnTo>
                    <a:pt x="36" y="725"/>
                  </a:lnTo>
                  <a:lnTo>
                    <a:pt x="36" y="724"/>
                  </a:lnTo>
                  <a:lnTo>
                    <a:pt x="31" y="724"/>
                  </a:lnTo>
                  <a:lnTo>
                    <a:pt x="27" y="726"/>
                  </a:lnTo>
                  <a:lnTo>
                    <a:pt x="27" y="725"/>
                  </a:lnTo>
                  <a:lnTo>
                    <a:pt x="23" y="727"/>
                  </a:lnTo>
                  <a:lnTo>
                    <a:pt x="19" y="728"/>
                  </a:lnTo>
                  <a:lnTo>
                    <a:pt x="23" y="724"/>
                  </a:lnTo>
                  <a:lnTo>
                    <a:pt x="23" y="722"/>
                  </a:lnTo>
                  <a:lnTo>
                    <a:pt x="21" y="722"/>
                  </a:lnTo>
                  <a:lnTo>
                    <a:pt x="24" y="716"/>
                  </a:lnTo>
                  <a:lnTo>
                    <a:pt x="28" y="712"/>
                  </a:lnTo>
                  <a:lnTo>
                    <a:pt x="31" y="710"/>
                  </a:lnTo>
                  <a:lnTo>
                    <a:pt x="29" y="709"/>
                  </a:lnTo>
                  <a:lnTo>
                    <a:pt x="22" y="714"/>
                  </a:lnTo>
                  <a:lnTo>
                    <a:pt x="19" y="719"/>
                  </a:lnTo>
                  <a:lnTo>
                    <a:pt x="24" y="710"/>
                  </a:lnTo>
                  <a:lnTo>
                    <a:pt x="23" y="706"/>
                  </a:lnTo>
                  <a:lnTo>
                    <a:pt x="22" y="703"/>
                  </a:lnTo>
                  <a:lnTo>
                    <a:pt x="27" y="698"/>
                  </a:lnTo>
                  <a:lnTo>
                    <a:pt x="23" y="698"/>
                  </a:lnTo>
                  <a:lnTo>
                    <a:pt x="21" y="701"/>
                  </a:lnTo>
                  <a:lnTo>
                    <a:pt x="16" y="703"/>
                  </a:lnTo>
                  <a:lnTo>
                    <a:pt x="15" y="701"/>
                  </a:lnTo>
                  <a:lnTo>
                    <a:pt x="15" y="695"/>
                  </a:lnTo>
                  <a:lnTo>
                    <a:pt x="17" y="691"/>
                  </a:lnTo>
                  <a:lnTo>
                    <a:pt x="19" y="690"/>
                  </a:lnTo>
                  <a:lnTo>
                    <a:pt x="22" y="691"/>
                  </a:lnTo>
                  <a:lnTo>
                    <a:pt x="25" y="690"/>
                  </a:lnTo>
                  <a:lnTo>
                    <a:pt x="30" y="688"/>
                  </a:lnTo>
                  <a:lnTo>
                    <a:pt x="33" y="686"/>
                  </a:lnTo>
                  <a:lnTo>
                    <a:pt x="35" y="684"/>
                  </a:lnTo>
                  <a:lnTo>
                    <a:pt x="36" y="684"/>
                  </a:lnTo>
                  <a:lnTo>
                    <a:pt x="37" y="689"/>
                  </a:lnTo>
                  <a:lnTo>
                    <a:pt x="39" y="686"/>
                  </a:lnTo>
                  <a:lnTo>
                    <a:pt x="42" y="686"/>
                  </a:lnTo>
                  <a:lnTo>
                    <a:pt x="45" y="685"/>
                  </a:lnTo>
                  <a:lnTo>
                    <a:pt x="52" y="682"/>
                  </a:lnTo>
                  <a:lnTo>
                    <a:pt x="58" y="683"/>
                  </a:lnTo>
                  <a:lnTo>
                    <a:pt x="54" y="684"/>
                  </a:lnTo>
                  <a:lnTo>
                    <a:pt x="52" y="686"/>
                  </a:lnTo>
                  <a:lnTo>
                    <a:pt x="48" y="688"/>
                  </a:lnTo>
                  <a:lnTo>
                    <a:pt x="48" y="691"/>
                  </a:lnTo>
                  <a:lnTo>
                    <a:pt x="47" y="692"/>
                  </a:lnTo>
                  <a:lnTo>
                    <a:pt x="48" y="692"/>
                  </a:lnTo>
                  <a:lnTo>
                    <a:pt x="53" y="691"/>
                  </a:lnTo>
                  <a:lnTo>
                    <a:pt x="54" y="689"/>
                  </a:lnTo>
                  <a:lnTo>
                    <a:pt x="56" y="686"/>
                  </a:lnTo>
                  <a:lnTo>
                    <a:pt x="57" y="685"/>
                  </a:lnTo>
                  <a:lnTo>
                    <a:pt x="58" y="685"/>
                  </a:lnTo>
                  <a:lnTo>
                    <a:pt x="62" y="685"/>
                  </a:lnTo>
                  <a:lnTo>
                    <a:pt x="65" y="684"/>
                  </a:lnTo>
                  <a:lnTo>
                    <a:pt x="63" y="683"/>
                  </a:lnTo>
                  <a:lnTo>
                    <a:pt x="60" y="684"/>
                  </a:lnTo>
                  <a:lnTo>
                    <a:pt x="60" y="682"/>
                  </a:lnTo>
                  <a:lnTo>
                    <a:pt x="63" y="676"/>
                  </a:lnTo>
                  <a:lnTo>
                    <a:pt x="66" y="673"/>
                  </a:lnTo>
                  <a:lnTo>
                    <a:pt x="68" y="671"/>
                  </a:lnTo>
                  <a:lnTo>
                    <a:pt x="69" y="670"/>
                  </a:lnTo>
                  <a:lnTo>
                    <a:pt x="65" y="671"/>
                  </a:lnTo>
                  <a:lnTo>
                    <a:pt x="64" y="674"/>
                  </a:lnTo>
                  <a:lnTo>
                    <a:pt x="64" y="670"/>
                  </a:lnTo>
                  <a:lnTo>
                    <a:pt x="62" y="670"/>
                  </a:lnTo>
                  <a:lnTo>
                    <a:pt x="56" y="674"/>
                  </a:lnTo>
                  <a:lnTo>
                    <a:pt x="60" y="666"/>
                  </a:lnTo>
                  <a:lnTo>
                    <a:pt x="63" y="662"/>
                  </a:lnTo>
                  <a:lnTo>
                    <a:pt x="68" y="660"/>
                  </a:lnTo>
                  <a:lnTo>
                    <a:pt x="66" y="656"/>
                  </a:lnTo>
                  <a:lnTo>
                    <a:pt x="68" y="654"/>
                  </a:lnTo>
                  <a:lnTo>
                    <a:pt x="64" y="653"/>
                  </a:lnTo>
                  <a:lnTo>
                    <a:pt x="58" y="654"/>
                  </a:lnTo>
                  <a:lnTo>
                    <a:pt x="63" y="649"/>
                  </a:lnTo>
                  <a:lnTo>
                    <a:pt x="68" y="647"/>
                  </a:lnTo>
                  <a:lnTo>
                    <a:pt x="66" y="647"/>
                  </a:lnTo>
                  <a:lnTo>
                    <a:pt x="72" y="646"/>
                  </a:lnTo>
                  <a:lnTo>
                    <a:pt x="76" y="648"/>
                  </a:lnTo>
                  <a:lnTo>
                    <a:pt x="78" y="649"/>
                  </a:lnTo>
                  <a:lnTo>
                    <a:pt x="80" y="649"/>
                  </a:lnTo>
                  <a:lnTo>
                    <a:pt x="83" y="649"/>
                  </a:lnTo>
                  <a:lnTo>
                    <a:pt x="86" y="649"/>
                  </a:lnTo>
                  <a:lnTo>
                    <a:pt x="84" y="648"/>
                  </a:lnTo>
                  <a:lnTo>
                    <a:pt x="78" y="647"/>
                  </a:lnTo>
                  <a:lnTo>
                    <a:pt x="77" y="644"/>
                  </a:lnTo>
                  <a:lnTo>
                    <a:pt x="80" y="643"/>
                  </a:lnTo>
                  <a:lnTo>
                    <a:pt x="82" y="641"/>
                  </a:lnTo>
                  <a:lnTo>
                    <a:pt x="81" y="638"/>
                  </a:lnTo>
                  <a:lnTo>
                    <a:pt x="78" y="638"/>
                  </a:lnTo>
                  <a:lnTo>
                    <a:pt x="76" y="642"/>
                  </a:lnTo>
                  <a:lnTo>
                    <a:pt x="76" y="639"/>
                  </a:lnTo>
                  <a:lnTo>
                    <a:pt x="75" y="636"/>
                  </a:lnTo>
                  <a:lnTo>
                    <a:pt x="77" y="633"/>
                  </a:lnTo>
                  <a:lnTo>
                    <a:pt x="75" y="633"/>
                  </a:lnTo>
                  <a:lnTo>
                    <a:pt x="75" y="631"/>
                  </a:lnTo>
                  <a:lnTo>
                    <a:pt x="74" y="633"/>
                  </a:lnTo>
                  <a:lnTo>
                    <a:pt x="70" y="635"/>
                  </a:lnTo>
                  <a:lnTo>
                    <a:pt x="69" y="638"/>
                  </a:lnTo>
                  <a:lnTo>
                    <a:pt x="69" y="633"/>
                  </a:lnTo>
                  <a:lnTo>
                    <a:pt x="70" y="631"/>
                  </a:lnTo>
                  <a:lnTo>
                    <a:pt x="68" y="635"/>
                  </a:lnTo>
                  <a:lnTo>
                    <a:pt x="70" y="629"/>
                  </a:lnTo>
                  <a:lnTo>
                    <a:pt x="71" y="626"/>
                  </a:lnTo>
                  <a:lnTo>
                    <a:pt x="75" y="624"/>
                  </a:lnTo>
                  <a:lnTo>
                    <a:pt x="78" y="619"/>
                  </a:lnTo>
                  <a:lnTo>
                    <a:pt x="82" y="615"/>
                  </a:lnTo>
                  <a:lnTo>
                    <a:pt x="80" y="615"/>
                  </a:lnTo>
                  <a:lnTo>
                    <a:pt x="78" y="617"/>
                  </a:lnTo>
                  <a:lnTo>
                    <a:pt x="77" y="615"/>
                  </a:lnTo>
                  <a:lnTo>
                    <a:pt x="76" y="617"/>
                  </a:lnTo>
                  <a:lnTo>
                    <a:pt x="75" y="619"/>
                  </a:lnTo>
                  <a:lnTo>
                    <a:pt x="75" y="617"/>
                  </a:lnTo>
                  <a:lnTo>
                    <a:pt x="74" y="620"/>
                  </a:lnTo>
                  <a:lnTo>
                    <a:pt x="71" y="618"/>
                  </a:lnTo>
                  <a:lnTo>
                    <a:pt x="70" y="618"/>
                  </a:lnTo>
                  <a:lnTo>
                    <a:pt x="68" y="623"/>
                  </a:lnTo>
                  <a:lnTo>
                    <a:pt x="68" y="619"/>
                  </a:lnTo>
                  <a:lnTo>
                    <a:pt x="69" y="615"/>
                  </a:lnTo>
                  <a:lnTo>
                    <a:pt x="66" y="614"/>
                  </a:lnTo>
                  <a:lnTo>
                    <a:pt x="64" y="612"/>
                  </a:lnTo>
                  <a:lnTo>
                    <a:pt x="63" y="609"/>
                  </a:lnTo>
                  <a:lnTo>
                    <a:pt x="64" y="607"/>
                  </a:lnTo>
                  <a:lnTo>
                    <a:pt x="63" y="606"/>
                  </a:lnTo>
                  <a:lnTo>
                    <a:pt x="60" y="602"/>
                  </a:lnTo>
                  <a:lnTo>
                    <a:pt x="52" y="608"/>
                  </a:lnTo>
                  <a:lnTo>
                    <a:pt x="50" y="618"/>
                  </a:lnTo>
                  <a:lnTo>
                    <a:pt x="46" y="625"/>
                  </a:lnTo>
                  <a:lnTo>
                    <a:pt x="42" y="629"/>
                  </a:lnTo>
                  <a:lnTo>
                    <a:pt x="45" y="625"/>
                  </a:lnTo>
                  <a:lnTo>
                    <a:pt x="48" y="619"/>
                  </a:lnTo>
                  <a:lnTo>
                    <a:pt x="48" y="613"/>
                  </a:lnTo>
                  <a:lnTo>
                    <a:pt x="45" y="615"/>
                  </a:lnTo>
                  <a:lnTo>
                    <a:pt x="40" y="617"/>
                  </a:lnTo>
                  <a:lnTo>
                    <a:pt x="45" y="614"/>
                  </a:lnTo>
                  <a:lnTo>
                    <a:pt x="50" y="611"/>
                  </a:lnTo>
                  <a:lnTo>
                    <a:pt x="50" y="608"/>
                  </a:lnTo>
                  <a:lnTo>
                    <a:pt x="41" y="613"/>
                  </a:lnTo>
                  <a:lnTo>
                    <a:pt x="34" y="619"/>
                  </a:lnTo>
                  <a:lnTo>
                    <a:pt x="39" y="613"/>
                  </a:lnTo>
                  <a:lnTo>
                    <a:pt x="33" y="614"/>
                  </a:lnTo>
                  <a:lnTo>
                    <a:pt x="31" y="613"/>
                  </a:lnTo>
                  <a:lnTo>
                    <a:pt x="36" y="613"/>
                  </a:lnTo>
                  <a:lnTo>
                    <a:pt x="34" y="611"/>
                  </a:lnTo>
                  <a:lnTo>
                    <a:pt x="30" y="612"/>
                  </a:lnTo>
                  <a:lnTo>
                    <a:pt x="28" y="613"/>
                  </a:lnTo>
                  <a:lnTo>
                    <a:pt x="25" y="613"/>
                  </a:lnTo>
                  <a:lnTo>
                    <a:pt x="25" y="611"/>
                  </a:lnTo>
                  <a:lnTo>
                    <a:pt x="23" y="611"/>
                  </a:lnTo>
                  <a:lnTo>
                    <a:pt x="21" y="612"/>
                  </a:lnTo>
                  <a:lnTo>
                    <a:pt x="21" y="607"/>
                  </a:lnTo>
                  <a:lnTo>
                    <a:pt x="23" y="605"/>
                  </a:lnTo>
                  <a:lnTo>
                    <a:pt x="22" y="605"/>
                  </a:lnTo>
                  <a:lnTo>
                    <a:pt x="23" y="602"/>
                  </a:lnTo>
                  <a:lnTo>
                    <a:pt x="22" y="601"/>
                  </a:lnTo>
                  <a:lnTo>
                    <a:pt x="22" y="600"/>
                  </a:lnTo>
                  <a:lnTo>
                    <a:pt x="23" y="599"/>
                  </a:lnTo>
                  <a:lnTo>
                    <a:pt x="24" y="597"/>
                  </a:lnTo>
                  <a:lnTo>
                    <a:pt x="29" y="596"/>
                  </a:lnTo>
                  <a:lnTo>
                    <a:pt x="33" y="595"/>
                  </a:lnTo>
                  <a:lnTo>
                    <a:pt x="34" y="595"/>
                  </a:lnTo>
                  <a:lnTo>
                    <a:pt x="33" y="594"/>
                  </a:lnTo>
                  <a:lnTo>
                    <a:pt x="34" y="593"/>
                  </a:lnTo>
                  <a:lnTo>
                    <a:pt x="33" y="591"/>
                  </a:lnTo>
                  <a:lnTo>
                    <a:pt x="34" y="589"/>
                  </a:lnTo>
                  <a:lnTo>
                    <a:pt x="36" y="588"/>
                  </a:lnTo>
                  <a:lnTo>
                    <a:pt x="30" y="589"/>
                  </a:lnTo>
                  <a:lnTo>
                    <a:pt x="28" y="587"/>
                  </a:lnTo>
                  <a:lnTo>
                    <a:pt x="23" y="585"/>
                  </a:lnTo>
                  <a:lnTo>
                    <a:pt x="25" y="584"/>
                  </a:lnTo>
                  <a:lnTo>
                    <a:pt x="29" y="582"/>
                  </a:lnTo>
                  <a:lnTo>
                    <a:pt x="33" y="582"/>
                  </a:lnTo>
                  <a:lnTo>
                    <a:pt x="37" y="582"/>
                  </a:lnTo>
                  <a:lnTo>
                    <a:pt x="39" y="585"/>
                  </a:lnTo>
                  <a:lnTo>
                    <a:pt x="43" y="588"/>
                  </a:lnTo>
                  <a:lnTo>
                    <a:pt x="47" y="588"/>
                  </a:lnTo>
                  <a:lnTo>
                    <a:pt x="47" y="585"/>
                  </a:lnTo>
                  <a:lnTo>
                    <a:pt x="51" y="585"/>
                  </a:lnTo>
                  <a:lnTo>
                    <a:pt x="53" y="585"/>
                  </a:lnTo>
                  <a:lnTo>
                    <a:pt x="56" y="583"/>
                  </a:lnTo>
                  <a:lnTo>
                    <a:pt x="58" y="583"/>
                  </a:lnTo>
                  <a:lnTo>
                    <a:pt x="60" y="582"/>
                  </a:lnTo>
                  <a:lnTo>
                    <a:pt x="63" y="581"/>
                  </a:lnTo>
                  <a:lnTo>
                    <a:pt x="63" y="578"/>
                  </a:lnTo>
                  <a:lnTo>
                    <a:pt x="65" y="577"/>
                  </a:lnTo>
                  <a:lnTo>
                    <a:pt x="65" y="575"/>
                  </a:lnTo>
                  <a:lnTo>
                    <a:pt x="66" y="571"/>
                  </a:lnTo>
                  <a:lnTo>
                    <a:pt x="63" y="573"/>
                  </a:lnTo>
                  <a:lnTo>
                    <a:pt x="57" y="577"/>
                  </a:lnTo>
                  <a:lnTo>
                    <a:pt x="56" y="579"/>
                  </a:lnTo>
                  <a:lnTo>
                    <a:pt x="54" y="573"/>
                  </a:lnTo>
                  <a:lnTo>
                    <a:pt x="52" y="569"/>
                  </a:lnTo>
                  <a:lnTo>
                    <a:pt x="52" y="565"/>
                  </a:lnTo>
                  <a:lnTo>
                    <a:pt x="48" y="565"/>
                  </a:lnTo>
                  <a:lnTo>
                    <a:pt x="43" y="569"/>
                  </a:lnTo>
                  <a:lnTo>
                    <a:pt x="42" y="571"/>
                  </a:lnTo>
                  <a:lnTo>
                    <a:pt x="41" y="566"/>
                  </a:lnTo>
                  <a:lnTo>
                    <a:pt x="39" y="566"/>
                  </a:lnTo>
                  <a:lnTo>
                    <a:pt x="36" y="565"/>
                  </a:lnTo>
                  <a:lnTo>
                    <a:pt x="33" y="564"/>
                  </a:lnTo>
                  <a:lnTo>
                    <a:pt x="33" y="565"/>
                  </a:lnTo>
                  <a:lnTo>
                    <a:pt x="31" y="563"/>
                  </a:lnTo>
                  <a:lnTo>
                    <a:pt x="31" y="555"/>
                  </a:lnTo>
                  <a:lnTo>
                    <a:pt x="28" y="559"/>
                  </a:lnTo>
                  <a:lnTo>
                    <a:pt x="29" y="565"/>
                  </a:lnTo>
                  <a:lnTo>
                    <a:pt x="29" y="573"/>
                  </a:lnTo>
                  <a:lnTo>
                    <a:pt x="28" y="577"/>
                  </a:lnTo>
                  <a:lnTo>
                    <a:pt x="22" y="567"/>
                  </a:lnTo>
                  <a:lnTo>
                    <a:pt x="19" y="566"/>
                  </a:lnTo>
                  <a:lnTo>
                    <a:pt x="17" y="567"/>
                  </a:lnTo>
                  <a:lnTo>
                    <a:pt x="15" y="570"/>
                  </a:lnTo>
                  <a:lnTo>
                    <a:pt x="15" y="565"/>
                  </a:lnTo>
                  <a:lnTo>
                    <a:pt x="15" y="564"/>
                  </a:lnTo>
                  <a:lnTo>
                    <a:pt x="13" y="563"/>
                  </a:lnTo>
                  <a:lnTo>
                    <a:pt x="11" y="563"/>
                  </a:lnTo>
                  <a:lnTo>
                    <a:pt x="9" y="564"/>
                  </a:lnTo>
                  <a:lnTo>
                    <a:pt x="9" y="560"/>
                  </a:lnTo>
                  <a:lnTo>
                    <a:pt x="10" y="555"/>
                  </a:lnTo>
                  <a:lnTo>
                    <a:pt x="15" y="552"/>
                  </a:lnTo>
                  <a:lnTo>
                    <a:pt x="13" y="551"/>
                  </a:lnTo>
                  <a:lnTo>
                    <a:pt x="15" y="547"/>
                  </a:lnTo>
                  <a:lnTo>
                    <a:pt x="16" y="543"/>
                  </a:lnTo>
                  <a:lnTo>
                    <a:pt x="18" y="540"/>
                  </a:lnTo>
                  <a:lnTo>
                    <a:pt x="18" y="542"/>
                  </a:lnTo>
                  <a:lnTo>
                    <a:pt x="21" y="541"/>
                  </a:lnTo>
                  <a:lnTo>
                    <a:pt x="21" y="540"/>
                  </a:lnTo>
                  <a:lnTo>
                    <a:pt x="24" y="535"/>
                  </a:lnTo>
                  <a:lnTo>
                    <a:pt x="27" y="530"/>
                  </a:lnTo>
                  <a:lnTo>
                    <a:pt x="28" y="532"/>
                  </a:lnTo>
                  <a:lnTo>
                    <a:pt x="29" y="531"/>
                  </a:lnTo>
                  <a:lnTo>
                    <a:pt x="31" y="530"/>
                  </a:lnTo>
                  <a:lnTo>
                    <a:pt x="34" y="529"/>
                  </a:lnTo>
                  <a:lnTo>
                    <a:pt x="36" y="528"/>
                  </a:lnTo>
                  <a:lnTo>
                    <a:pt x="39" y="526"/>
                  </a:lnTo>
                  <a:lnTo>
                    <a:pt x="29" y="523"/>
                  </a:lnTo>
                  <a:lnTo>
                    <a:pt x="21" y="518"/>
                  </a:lnTo>
                  <a:lnTo>
                    <a:pt x="19" y="520"/>
                  </a:lnTo>
                  <a:lnTo>
                    <a:pt x="19" y="525"/>
                  </a:lnTo>
                  <a:lnTo>
                    <a:pt x="17" y="525"/>
                  </a:lnTo>
                  <a:lnTo>
                    <a:pt x="15" y="529"/>
                  </a:lnTo>
                  <a:lnTo>
                    <a:pt x="12" y="530"/>
                  </a:lnTo>
                  <a:lnTo>
                    <a:pt x="11" y="531"/>
                  </a:lnTo>
                  <a:lnTo>
                    <a:pt x="11" y="528"/>
                  </a:lnTo>
                  <a:lnTo>
                    <a:pt x="11" y="524"/>
                  </a:lnTo>
                  <a:lnTo>
                    <a:pt x="13" y="523"/>
                  </a:lnTo>
                  <a:lnTo>
                    <a:pt x="13" y="520"/>
                  </a:lnTo>
                  <a:lnTo>
                    <a:pt x="15" y="517"/>
                  </a:lnTo>
                  <a:lnTo>
                    <a:pt x="16" y="518"/>
                  </a:lnTo>
                  <a:lnTo>
                    <a:pt x="19" y="518"/>
                  </a:lnTo>
                  <a:lnTo>
                    <a:pt x="15" y="514"/>
                  </a:lnTo>
                  <a:lnTo>
                    <a:pt x="11" y="513"/>
                  </a:lnTo>
                  <a:lnTo>
                    <a:pt x="10" y="511"/>
                  </a:lnTo>
                  <a:lnTo>
                    <a:pt x="13" y="512"/>
                  </a:lnTo>
                  <a:lnTo>
                    <a:pt x="17" y="514"/>
                  </a:lnTo>
                  <a:lnTo>
                    <a:pt x="27" y="520"/>
                  </a:lnTo>
                  <a:lnTo>
                    <a:pt x="42" y="524"/>
                  </a:lnTo>
                  <a:lnTo>
                    <a:pt x="34" y="518"/>
                  </a:lnTo>
                  <a:lnTo>
                    <a:pt x="33" y="517"/>
                  </a:lnTo>
                  <a:lnTo>
                    <a:pt x="33" y="520"/>
                  </a:lnTo>
                  <a:lnTo>
                    <a:pt x="29" y="517"/>
                  </a:lnTo>
                  <a:lnTo>
                    <a:pt x="28" y="513"/>
                  </a:lnTo>
                  <a:lnTo>
                    <a:pt x="21" y="507"/>
                  </a:lnTo>
                  <a:lnTo>
                    <a:pt x="16" y="504"/>
                  </a:lnTo>
                  <a:lnTo>
                    <a:pt x="16" y="506"/>
                  </a:lnTo>
                  <a:lnTo>
                    <a:pt x="17" y="511"/>
                  </a:lnTo>
                  <a:lnTo>
                    <a:pt x="15" y="508"/>
                  </a:lnTo>
                  <a:lnTo>
                    <a:pt x="12" y="508"/>
                  </a:lnTo>
                  <a:lnTo>
                    <a:pt x="12" y="505"/>
                  </a:lnTo>
                  <a:lnTo>
                    <a:pt x="12" y="504"/>
                  </a:lnTo>
                  <a:lnTo>
                    <a:pt x="11" y="506"/>
                  </a:lnTo>
                  <a:lnTo>
                    <a:pt x="5" y="508"/>
                  </a:lnTo>
                  <a:lnTo>
                    <a:pt x="0" y="508"/>
                  </a:lnTo>
                  <a:lnTo>
                    <a:pt x="4" y="506"/>
                  </a:lnTo>
                  <a:lnTo>
                    <a:pt x="5" y="504"/>
                  </a:lnTo>
                  <a:lnTo>
                    <a:pt x="5" y="502"/>
                  </a:lnTo>
                  <a:lnTo>
                    <a:pt x="10" y="502"/>
                  </a:lnTo>
                  <a:lnTo>
                    <a:pt x="13" y="504"/>
                  </a:lnTo>
                  <a:lnTo>
                    <a:pt x="16" y="502"/>
                  </a:lnTo>
                  <a:lnTo>
                    <a:pt x="9" y="494"/>
                  </a:lnTo>
                  <a:lnTo>
                    <a:pt x="6" y="493"/>
                  </a:lnTo>
                  <a:lnTo>
                    <a:pt x="1" y="490"/>
                  </a:lnTo>
                  <a:lnTo>
                    <a:pt x="0" y="488"/>
                  </a:lnTo>
                  <a:lnTo>
                    <a:pt x="4" y="489"/>
                  </a:lnTo>
                  <a:lnTo>
                    <a:pt x="6" y="490"/>
                  </a:lnTo>
                  <a:lnTo>
                    <a:pt x="9" y="490"/>
                  </a:lnTo>
                  <a:lnTo>
                    <a:pt x="11" y="489"/>
                  </a:lnTo>
                  <a:lnTo>
                    <a:pt x="13" y="492"/>
                  </a:lnTo>
                  <a:lnTo>
                    <a:pt x="16" y="494"/>
                  </a:lnTo>
                  <a:lnTo>
                    <a:pt x="17" y="498"/>
                  </a:lnTo>
                  <a:lnTo>
                    <a:pt x="16" y="496"/>
                  </a:lnTo>
                  <a:lnTo>
                    <a:pt x="16" y="498"/>
                  </a:lnTo>
                  <a:lnTo>
                    <a:pt x="12" y="494"/>
                  </a:lnTo>
                  <a:lnTo>
                    <a:pt x="10" y="493"/>
                  </a:lnTo>
                  <a:lnTo>
                    <a:pt x="16" y="501"/>
                  </a:lnTo>
                  <a:lnTo>
                    <a:pt x="28" y="512"/>
                  </a:lnTo>
                  <a:lnTo>
                    <a:pt x="30" y="511"/>
                  </a:lnTo>
                  <a:lnTo>
                    <a:pt x="34" y="510"/>
                  </a:lnTo>
                  <a:lnTo>
                    <a:pt x="36" y="511"/>
                  </a:lnTo>
                  <a:lnTo>
                    <a:pt x="34" y="513"/>
                  </a:lnTo>
                  <a:lnTo>
                    <a:pt x="34" y="516"/>
                  </a:lnTo>
                  <a:lnTo>
                    <a:pt x="42" y="524"/>
                  </a:lnTo>
                  <a:lnTo>
                    <a:pt x="46" y="524"/>
                  </a:lnTo>
                  <a:lnTo>
                    <a:pt x="48" y="519"/>
                  </a:lnTo>
                  <a:lnTo>
                    <a:pt x="50" y="519"/>
                  </a:lnTo>
                  <a:lnTo>
                    <a:pt x="50" y="517"/>
                  </a:lnTo>
                  <a:lnTo>
                    <a:pt x="50" y="513"/>
                  </a:lnTo>
                  <a:lnTo>
                    <a:pt x="52" y="513"/>
                  </a:lnTo>
                  <a:lnTo>
                    <a:pt x="57" y="517"/>
                  </a:lnTo>
                  <a:lnTo>
                    <a:pt x="58" y="519"/>
                  </a:lnTo>
                  <a:lnTo>
                    <a:pt x="62" y="520"/>
                  </a:lnTo>
                  <a:lnTo>
                    <a:pt x="63" y="520"/>
                  </a:lnTo>
                  <a:lnTo>
                    <a:pt x="63" y="514"/>
                  </a:lnTo>
                  <a:lnTo>
                    <a:pt x="63" y="512"/>
                  </a:lnTo>
                  <a:lnTo>
                    <a:pt x="65" y="510"/>
                  </a:lnTo>
                  <a:lnTo>
                    <a:pt x="70" y="505"/>
                  </a:lnTo>
                  <a:lnTo>
                    <a:pt x="74" y="502"/>
                  </a:lnTo>
                  <a:lnTo>
                    <a:pt x="80" y="502"/>
                  </a:lnTo>
                  <a:lnTo>
                    <a:pt x="82" y="505"/>
                  </a:lnTo>
                  <a:lnTo>
                    <a:pt x="86" y="505"/>
                  </a:lnTo>
                  <a:lnTo>
                    <a:pt x="89" y="507"/>
                  </a:lnTo>
                  <a:lnTo>
                    <a:pt x="86" y="507"/>
                  </a:lnTo>
                  <a:lnTo>
                    <a:pt x="86" y="511"/>
                  </a:lnTo>
                  <a:lnTo>
                    <a:pt x="89" y="511"/>
                  </a:lnTo>
                  <a:lnTo>
                    <a:pt x="92" y="512"/>
                  </a:lnTo>
                  <a:lnTo>
                    <a:pt x="94" y="512"/>
                  </a:lnTo>
                  <a:lnTo>
                    <a:pt x="94" y="511"/>
                  </a:lnTo>
                  <a:lnTo>
                    <a:pt x="94" y="507"/>
                  </a:lnTo>
                  <a:lnTo>
                    <a:pt x="92" y="508"/>
                  </a:lnTo>
                  <a:lnTo>
                    <a:pt x="89" y="508"/>
                  </a:lnTo>
                  <a:lnTo>
                    <a:pt x="92" y="507"/>
                  </a:lnTo>
                  <a:lnTo>
                    <a:pt x="92" y="506"/>
                  </a:lnTo>
                  <a:lnTo>
                    <a:pt x="92" y="505"/>
                  </a:lnTo>
                  <a:lnTo>
                    <a:pt x="89" y="504"/>
                  </a:lnTo>
                  <a:lnTo>
                    <a:pt x="88" y="502"/>
                  </a:lnTo>
                  <a:lnTo>
                    <a:pt x="92" y="500"/>
                  </a:lnTo>
                  <a:lnTo>
                    <a:pt x="93" y="499"/>
                  </a:lnTo>
                  <a:lnTo>
                    <a:pt x="94" y="496"/>
                  </a:lnTo>
                  <a:lnTo>
                    <a:pt x="89" y="498"/>
                  </a:lnTo>
                  <a:lnTo>
                    <a:pt x="86" y="495"/>
                  </a:lnTo>
                  <a:lnTo>
                    <a:pt x="89" y="495"/>
                  </a:lnTo>
                  <a:lnTo>
                    <a:pt x="89" y="493"/>
                  </a:lnTo>
                  <a:lnTo>
                    <a:pt x="93" y="494"/>
                  </a:lnTo>
                  <a:lnTo>
                    <a:pt x="95" y="494"/>
                  </a:lnTo>
                  <a:lnTo>
                    <a:pt x="93" y="493"/>
                  </a:lnTo>
                  <a:lnTo>
                    <a:pt x="98" y="493"/>
                  </a:lnTo>
                  <a:lnTo>
                    <a:pt x="102" y="494"/>
                  </a:lnTo>
                  <a:lnTo>
                    <a:pt x="106" y="493"/>
                  </a:lnTo>
                  <a:lnTo>
                    <a:pt x="107" y="488"/>
                  </a:lnTo>
                  <a:lnTo>
                    <a:pt x="109" y="489"/>
                  </a:lnTo>
                  <a:lnTo>
                    <a:pt x="111" y="493"/>
                  </a:lnTo>
                  <a:lnTo>
                    <a:pt x="111" y="498"/>
                  </a:lnTo>
                  <a:lnTo>
                    <a:pt x="113" y="496"/>
                  </a:lnTo>
                  <a:lnTo>
                    <a:pt x="116" y="494"/>
                  </a:lnTo>
                  <a:lnTo>
                    <a:pt x="116" y="492"/>
                  </a:lnTo>
                  <a:lnTo>
                    <a:pt x="117" y="489"/>
                  </a:lnTo>
                  <a:lnTo>
                    <a:pt x="118" y="487"/>
                  </a:lnTo>
                  <a:lnTo>
                    <a:pt x="116" y="486"/>
                  </a:lnTo>
                  <a:lnTo>
                    <a:pt x="118" y="486"/>
                  </a:lnTo>
                  <a:lnTo>
                    <a:pt x="118" y="483"/>
                  </a:lnTo>
                  <a:lnTo>
                    <a:pt x="121" y="483"/>
                  </a:lnTo>
                  <a:lnTo>
                    <a:pt x="125" y="482"/>
                  </a:lnTo>
                  <a:lnTo>
                    <a:pt x="124" y="484"/>
                  </a:lnTo>
                  <a:lnTo>
                    <a:pt x="124" y="487"/>
                  </a:lnTo>
                  <a:lnTo>
                    <a:pt x="127" y="486"/>
                  </a:lnTo>
                  <a:lnTo>
                    <a:pt x="129" y="483"/>
                  </a:lnTo>
                  <a:lnTo>
                    <a:pt x="133" y="480"/>
                  </a:lnTo>
                  <a:lnTo>
                    <a:pt x="135" y="477"/>
                  </a:lnTo>
                  <a:lnTo>
                    <a:pt x="135" y="475"/>
                  </a:lnTo>
                  <a:lnTo>
                    <a:pt x="133" y="474"/>
                  </a:lnTo>
                  <a:lnTo>
                    <a:pt x="129" y="474"/>
                  </a:lnTo>
                  <a:lnTo>
                    <a:pt x="124" y="475"/>
                  </a:lnTo>
                  <a:lnTo>
                    <a:pt x="121" y="475"/>
                  </a:lnTo>
                  <a:lnTo>
                    <a:pt x="122" y="472"/>
                  </a:lnTo>
                  <a:lnTo>
                    <a:pt x="125" y="470"/>
                  </a:lnTo>
                  <a:lnTo>
                    <a:pt x="125" y="468"/>
                  </a:lnTo>
                  <a:lnTo>
                    <a:pt x="124" y="464"/>
                  </a:lnTo>
                  <a:lnTo>
                    <a:pt x="117" y="459"/>
                  </a:lnTo>
                  <a:lnTo>
                    <a:pt x="115" y="460"/>
                  </a:lnTo>
                  <a:lnTo>
                    <a:pt x="112" y="463"/>
                  </a:lnTo>
                  <a:lnTo>
                    <a:pt x="113" y="459"/>
                  </a:lnTo>
                  <a:lnTo>
                    <a:pt x="116" y="458"/>
                  </a:lnTo>
                  <a:lnTo>
                    <a:pt x="112" y="456"/>
                  </a:lnTo>
                  <a:lnTo>
                    <a:pt x="111" y="456"/>
                  </a:lnTo>
                  <a:lnTo>
                    <a:pt x="109" y="458"/>
                  </a:lnTo>
                  <a:lnTo>
                    <a:pt x="105" y="459"/>
                  </a:lnTo>
                  <a:lnTo>
                    <a:pt x="106" y="458"/>
                  </a:lnTo>
                  <a:lnTo>
                    <a:pt x="109" y="456"/>
                  </a:lnTo>
                  <a:lnTo>
                    <a:pt x="107" y="454"/>
                  </a:lnTo>
                  <a:lnTo>
                    <a:pt x="109" y="452"/>
                  </a:lnTo>
                  <a:lnTo>
                    <a:pt x="105" y="453"/>
                  </a:lnTo>
                  <a:lnTo>
                    <a:pt x="101" y="458"/>
                  </a:lnTo>
                  <a:lnTo>
                    <a:pt x="100" y="456"/>
                  </a:lnTo>
                  <a:lnTo>
                    <a:pt x="98" y="457"/>
                  </a:lnTo>
                  <a:lnTo>
                    <a:pt x="93" y="457"/>
                  </a:lnTo>
                  <a:lnTo>
                    <a:pt x="99" y="456"/>
                  </a:lnTo>
                  <a:lnTo>
                    <a:pt x="100" y="452"/>
                  </a:lnTo>
                  <a:lnTo>
                    <a:pt x="104" y="452"/>
                  </a:lnTo>
                  <a:lnTo>
                    <a:pt x="107" y="451"/>
                  </a:lnTo>
                  <a:lnTo>
                    <a:pt x="102" y="445"/>
                  </a:lnTo>
                  <a:lnTo>
                    <a:pt x="102" y="444"/>
                  </a:lnTo>
                  <a:lnTo>
                    <a:pt x="104" y="441"/>
                  </a:lnTo>
                  <a:lnTo>
                    <a:pt x="106" y="441"/>
                  </a:lnTo>
                  <a:lnTo>
                    <a:pt x="109" y="440"/>
                  </a:lnTo>
                  <a:lnTo>
                    <a:pt x="112" y="441"/>
                  </a:lnTo>
                  <a:lnTo>
                    <a:pt x="110" y="445"/>
                  </a:lnTo>
                  <a:lnTo>
                    <a:pt x="107" y="447"/>
                  </a:lnTo>
                  <a:lnTo>
                    <a:pt x="106" y="446"/>
                  </a:lnTo>
                  <a:lnTo>
                    <a:pt x="104" y="445"/>
                  </a:lnTo>
                  <a:lnTo>
                    <a:pt x="107" y="451"/>
                  </a:lnTo>
                  <a:lnTo>
                    <a:pt x="110" y="451"/>
                  </a:lnTo>
                  <a:lnTo>
                    <a:pt x="112" y="452"/>
                  </a:lnTo>
                  <a:lnTo>
                    <a:pt x="115" y="450"/>
                  </a:lnTo>
                  <a:lnTo>
                    <a:pt x="113" y="453"/>
                  </a:lnTo>
                  <a:lnTo>
                    <a:pt x="118" y="458"/>
                  </a:lnTo>
                  <a:lnTo>
                    <a:pt x="127" y="464"/>
                  </a:lnTo>
                  <a:lnTo>
                    <a:pt x="128" y="466"/>
                  </a:lnTo>
                  <a:lnTo>
                    <a:pt x="129" y="463"/>
                  </a:lnTo>
                  <a:lnTo>
                    <a:pt x="128" y="462"/>
                  </a:lnTo>
                  <a:lnTo>
                    <a:pt x="128" y="460"/>
                  </a:lnTo>
                  <a:lnTo>
                    <a:pt x="128" y="458"/>
                  </a:lnTo>
                  <a:lnTo>
                    <a:pt x="125" y="454"/>
                  </a:lnTo>
                  <a:lnTo>
                    <a:pt x="127" y="451"/>
                  </a:lnTo>
                  <a:lnTo>
                    <a:pt x="133" y="452"/>
                  </a:lnTo>
                  <a:lnTo>
                    <a:pt x="129" y="450"/>
                  </a:lnTo>
                  <a:lnTo>
                    <a:pt x="124" y="452"/>
                  </a:lnTo>
                  <a:lnTo>
                    <a:pt x="121" y="458"/>
                  </a:lnTo>
                  <a:lnTo>
                    <a:pt x="121" y="453"/>
                  </a:lnTo>
                  <a:lnTo>
                    <a:pt x="122" y="451"/>
                  </a:lnTo>
                  <a:lnTo>
                    <a:pt x="122" y="447"/>
                  </a:lnTo>
                  <a:lnTo>
                    <a:pt x="123" y="445"/>
                  </a:lnTo>
                  <a:lnTo>
                    <a:pt x="124" y="440"/>
                  </a:lnTo>
                  <a:lnTo>
                    <a:pt x="128" y="438"/>
                  </a:lnTo>
                  <a:lnTo>
                    <a:pt x="125" y="436"/>
                  </a:lnTo>
                  <a:lnTo>
                    <a:pt x="129" y="435"/>
                  </a:lnTo>
                  <a:lnTo>
                    <a:pt x="131" y="432"/>
                  </a:lnTo>
                  <a:lnTo>
                    <a:pt x="131" y="429"/>
                  </a:lnTo>
                  <a:lnTo>
                    <a:pt x="129" y="430"/>
                  </a:lnTo>
                  <a:lnTo>
                    <a:pt x="129" y="428"/>
                  </a:lnTo>
                  <a:lnTo>
                    <a:pt x="128" y="427"/>
                  </a:lnTo>
                  <a:lnTo>
                    <a:pt x="130" y="424"/>
                  </a:lnTo>
                  <a:lnTo>
                    <a:pt x="131" y="422"/>
                  </a:lnTo>
                  <a:lnTo>
                    <a:pt x="133" y="419"/>
                  </a:lnTo>
                  <a:lnTo>
                    <a:pt x="133" y="416"/>
                  </a:lnTo>
                  <a:lnTo>
                    <a:pt x="129" y="418"/>
                  </a:lnTo>
                  <a:lnTo>
                    <a:pt x="125" y="422"/>
                  </a:lnTo>
                  <a:lnTo>
                    <a:pt x="127" y="416"/>
                  </a:lnTo>
                  <a:lnTo>
                    <a:pt x="128" y="412"/>
                  </a:lnTo>
                  <a:lnTo>
                    <a:pt x="129" y="411"/>
                  </a:lnTo>
                  <a:lnTo>
                    <a:pt x="127" y="410"/>
                  </a:lnTo>
                  <a:lnTo>
                    <a:pt x="130" y="409"/>
                  </a:lnTo>
                  <a:lnTo>
                    <a:pt x="134" y="406"/>
                  </a:lnTo>
                  <a:lnTo>
                    <a:pt x="131" y="406"/>
                  </a:lnTo>
                  <a:lnTo>
                    <a:pt x="130" y="405"/>
                  </a:lnTo>
                  <a:lnTo>
                    <a:pt x="125" y="406"/>
                  </a:lnTo>
                  <a:lnTo>
                    <a:pt x="128" y="403"/>
                  </a:lnTo>
                  <a:lnTo>
                    <a:pt x="133" y="399"/>
                  </a:lnTo>
                  <a:lnTo>
                    <a:pt x="133" y="398"/>
                  </a:lnTo>
                  <a:lnTo>
                    <a:pt x="135" y="398"/>
                  </a:lnTo>
                  <a:lnTo>
                    <a:pt x="139" y="398"/>
                  </a:lnTo>
                  <a:lnTo>
                    <a:pt x="141" y="395"/>
                  </a:lnTo>
                  <a:lnTo>
                    <a:pt x="142" y="395"/>
                  </a:lnTo>
                  <a:lnTo>
                    <a:pt x="146" y="395"/>
                  </a:lnTo>
                  <a:lnTo>
                    <a:pt x="149" y="393"/>
                  </a:lnTo>
                  <a:lnTo>
                    <a:pt x="149" y="397"/>
                  </a:lnTo>
                  <a:lnTo>
                    <a:pt x="153" y="398"/>
                  </a:lnTo>
                  <a:lnTo>
                    <a:pt x="154" y="395"/>
                  </a:lnTo>
                  <a:lnTo>
                    <a:pt x="157" y="397"/>
                  </a:lnTo>
                  <a:lnTo>
                    <a:pt x="159" y="395"/>
                  </a:lnTo>
                  <a:lnTo>
                    <a:pt x="158" y="394"/>
                  </a:lnTo>
                  <a:lnTo>
                    <a:pt x="157" y="393"/>
                  </a:lnTo>
                  <a:lnTo>
                    <a:pt x="157" y="392"/>
                  </a:lnTo>
                  <a:lnTo>
                    <a:pt x="159" y="386"/>
                  </a:lnTo>
                  <a:lnTo>
                    <a:pt x="161" y="385"/>
                  </a:lnTo>
                  <a:lnTo>
                    <a:pt x="163" y="385"/>
                  </a:lnTo>
                  <a:lnTo>
                    <a:pt x="161" y="388"/>
                  </a:lnTo>
                  <a:lnTo>
                    <a:pt x="164" y="389"/>
                  </a:lnTo>
                  <a:lnTo>
                    <a:pt x="166" y="387"/>
                  </a:lnTo>
                  <a:lnTo>
                    <a:pt x="168" y="388"/>
                  </a:lnTo>
                  <a:lnTo>
                    <a:pt x="168" y="386"/>
                  </a:lnTo>
                  <a:lnTo>
                    <a:pt x="164" y="382"/>
                  </a:lnTo>
                  <a:lnTo>
                    <a:pt x="159" y="382"/>
                  </a:lnTo>
                  <a:lnTo>
                    <a:pt x="155" y="387"/>
                  </a:lnTo>
                  <a:lnTo>
                    <a:pt x="154" y="383"/>
                  </a:lnTo>
                  <a:lnTo>
                    <a:pt x="154" y="382"/>
                  </a:lnTo>
                  <a:lnTo>
                    <a:pt x="155" y="380"/>
                  </a:lnTo>
                  <a:lnTo>
                    <a:pt x="154" y="377"/>
                  </a:lnTo>
                  <a:lnTo>
                    <a:pt x="153" y="380"/>
                  </a:lnTo>
                  <a:lnTo>
                    <a:pt x="151" y="379"/>
                  </a:lnTo>
                  <a:lnTo>
                    <a:pt x="149" y="383"/>
                  </a:lnTo>
                  <a:lnTo>
                    <a:pt x="145" y="386"/>
                  </a:lnTo>
                  <a:lnTo>
                    <a:pt x="143" y="387"/>
                  </a:lnTo>
                  <a:lnTo>
                    <a:pt x="143" y="383"/>
                  </a:lnTo>
                  <a:lnTo>
                    <a:pt x="139" y="381"/>
                  </a:lnTo>
                  <a:lnTo>
                    <a:pt x="142" y="381"/>
                  </a:lnTo>
                  <a:lnTo>
                    <a:pt x="142" y="379"/>
                  </a:lnTo>
                  <a:lnTo>
                    <a:pt x="143" y="377"/>
                  </a:lnTo>
                  <a:lnTo>
                    <a:pt x="142" y="374"/>
                  </a:lnTo>
                  <a:lnTo>
                    <a:pt x="141" y="375"/>
                  </a:lnTo>
                  <a:lnTo>
                    <a:pt x="140" y="371"/>
                  </a:lnTo>
                  <a:lnTo>
                    <a:pt x="135" y="370"/>
                  </a:lnTo>
                  <a:lnTo>
                    <a:pt x="130" y="376"/>
                  </a:lnTo>
                  <a:lnTo>
                    <a:pt x="128" y="380"/>
                  </a:lnTo>
                  <a:lnTo>
                    <a:pt x="129" y="374"/>
                  </a:lnTo>
                  <a:lnTo>
                    <a:pt x="128" y="368"/>
                  </a:lnTo>
                  <a:lnTo>
                    <a:pt x="125" y="374"/>
                  </a:lnTo>
                  <a:lnTo>
                    <a:pt x="123" y="371"/>
                  </a:lnTo>
                  <a:lnTo>
                    <a:pt x="121" y="373"/>
                  </a:lnTo>
                  <a:lnTo>
                    <a:pt x="119" y="373"/>
                  </a:lnTo>
                  <a:lnTo>
                    <a:pt x="118" y="374"/>
                  </a:lnTo>
                  <a:lnTo>
                    <a:pt x="116" y="379"/>
                  </a:lnTo>
                  <a:lnTo>
                    <a:pt x="116" y="381"/>
                  </a:lnTo>
                  <a:lnTo>
                    <a:pt x="115" y="382"/>
                  </a:lnTo>
                  <a:lnTo>
                    <a:pt x="111" y="385"/>
                  </a:lnTo>
                  <a:lnTo>
                    <a:pt x="110" y="386"/>
                  </a:lnTo>
                  <a:lnTo>
                    <a:pt x="107" y="383"/>
                  </a:lnTo>
                  <a:lnTo>
                    <a:pt x="107" y="382"/>
                  </a:lnTo>
                  <a:lnTo>
                    <a:pt x="105" y="386"/>
                  </a:lnTo>
                  <a:lnTo>
                    <a:pt x="105" y="393"/>
                  </a:lnTo>
                  <a:lnTo>
                    <a:pt x="102" y="389"/>
                  </a:lnTo>
                  <a:lnTo>
                    <a:pt x="101" y="385"/>
                  </a:lnTo>
                  <a:lnTo>
                    <a:pt x="100" y="389"/>
                  </a:lnTo>
                  <a:lnTo>
                    <a:pt x="99" y="391"/>
                  </a:lnTo>
                  <a:lnTo>
                    <a:pt x="98" y="389"/>
                  </a:lnTo>
                  <a:lnTo>
                    <a:pt x="94" y="391"/>
                  </a:lnTo>
                  <a:lnTo>
                    <a:pt x="93" y="394"/>
                  </a:lnTo>
                  <a:lnTo>
                    <a:pt x="90" y="397"/>
                  </a:lnTo>
                  <a:lnTo>
                    <a:pt x="89" y="399"/>
                  </a:lnTo>
                  <a:lnTo>
                    <a:pt x="90" y="393"/>
                  </a:lnTo>
                  <a:lnTo>
                    <a:pt x="92" y="388"/>
                  </a:lnTo>
                  <a:lnTo>
                    <a:pt x="88" y="388"/>
                  </a:lnTo>
                  <a:lnTo>
                    <a:pt x="88" y="387"/>
                  </a:lnTo>
                  <a:lnTo>
                    <a:pt x="87" y="387"/>
                  </a:lnTo>
                  <a:lnTo>
                    <a:pt x="89" y="386"/>
                  </a:lnTo>
                  <a:lnTo>
                    <a:pt x="92" y="382"/>
                  </a:lnTo>
                  <a:lnTo>
                    <a:pt x="94" y="379"/>
                  </a:lnTo>
                  <a:lnTo>
                    <a:pt x="98" y="379"/>
                  </a:lnTo>
                  <a:lnTo>
                    <a:pt x="102" y="379"/>
                  </a:lnTo>
                  <a:lnTo>
                    <a:pt x="106" y="379"/>
                  </a:lnTo>
                  <a:lnTo>
                    <a:pt x="106" y="376"/>
                  </a:lnTo>
                  <a:lnTo>
                    <a:pt x="104" y="374"/>
                  </a:lnTo>
                  <a:lnTo>
                    <a:pt x="101" y="374"/>
                  </a:lnTo>
                  <a:lnTo>
                    <a:pt x="98" y="376"/>
                  </a:lnTo>
                  <a:lnTo>
                    <a:pt x="96" y="376"/>
                  </a:lnTo>
                  <a:lnTo>
                    <a:pt x="98" y="373"/>
                  </a:lnTo>
                  <a:lnTo>
                    <a:pt x="99" y="370"/>
                  </a:lnTo>
                  <a:lnTo>
                    <a:pt x="96" y="368"/>
                  </a:lnTo>
                  <a:lnTo>
                    <a:pt x="94" y="370"/>
                  </a:lnTo>
                  <a:lnTo>
                    <a:pt x="93" y="368"/>
                  </a:lnTo>
                  <a:lnTo>
                    <a:pt x="92" y="370"/>
                  </a:lnTo>
                  <a:lnTo>
                    <a:pt x="89" y="371"/>
                  </a:lnTo>
                  <a:lnTo>
                    <a:pt x="89" y="374"/>
                  </a:lnTo>
                  <a:lnTo>
                    <a:pt x="93" y="374"/>
                  </a:lnTo>
                  <a:lnTo>
                    <a:pt x="94" y="376"/>
                  </a:lnTo>
                  <a:lnTo>
                    <a:pt x="90" y="380"/>
                  </a:lnTo>
                  <a:lnTo>
                    <a:pt x="89" y="382"/>
                  </a:lnTo>
                  <a:lnTo>
                    <a:pt x="89" y="380"/>
                  </a:lnTo>
                  <a:lnTo>
                    <a:pt x="86" y="381"/>
                  </a:lnTo>
                  <a:lnTo>
                    <a:pt x="80" y="385"/>
                  </a:lnTo>
                  <a:lnTo>
                    <a:pt x="82" y="380"/>
                  </a:lnTo>
                  <a:lnTo>
                    <a:pt x="81" y="376"/>
                  </a:lnTo>
                  <a:lnTo>
                    <a:pt x="80" y="376"/>
                  </a:lnTo>
                  <a:lnTo>
                    <a:pt x="81" y="374"/>
                  </a:lnTo>
                  <a:lnTo>
                    <a:pt x="82" y="371"/>
                  </a:lnTo>
                  <a:lnTo>
                    <a:pt x="83" y="370"/>
                  </a:lnTo>
                  <a:lnTo>
                    <a:pt x="80" y="370"/>
                  </a:lnTo>
                  <a:lnTo>
                    <a:pt x="82" y="367"/>
                  </a:lnTo>
                  <a:lnTo>
                    <a:pt x="82" y="365"/>
                  </a:lnTo>
                  <a:lnTo>
                    <a:pt x="83" y="365"/>
                  </a:lnTo>
                  <a:lnTo>
                    <a:pt x="87" y="367"/>
                  </a:lnTo>
                  <a:lnTo>
                    <a:pt x="88" y="364"/>
                  </a:lnTo>
                  <a:lnTo>
                    <a:pt x="83" y="363"/>
                  </a:lnTo>
                  <a:lnTo>
                    <a:pt x="80" y="364"/>
                  </a:lnTo>
                  <a:lnTo>
                    <a:pt x="74" y="364"/>
                  </a:lnTo>
                  <a:lnTo>
                    <a:pt x="77" y="362"/>
                  </a:lnTo>
                  <a:lnTo>
                    <a:pt x="81" y="359"/>
                  </a:lnTo>
                  <a:lnTo>
                    <a:pt x="83" y="361"/>
                  </a:lnTo>
                  <a:lnTo>
                    <a:pt x="87" y="362"/>
                  </a:lnTo>
                  <a:lnTo>
                    <a:pt x="92" y="364"/>
                  </a:lnTo>
                  <a:lnTo>
                    <a:pt x="94" y="364"/>
                  </a:lnTo>
                  <a:lnTo>
                    <a:pt x="98" y="362"/>
                  </a:lnTo>
                  <a:lnTo>
                    <a:pt x="99" y="359"/>
                  </a:lnTo>
                  <a:lnTo>
                    <a:pt x="99" y="356"/>
                  </a:lnTo>
                  <a:lnTo>
                    <a:pt x="95" y="356"/>
                  </a:lnTo>
                  <a:lnTo>
                    <a:pt x="90" y="358"/>
                  </a:lnTo>
                  <a:lnTo>
                    <a:pt x="89" y="361"/>
                  </a:lnTo>
                  <a:lnTo>
                    <a:pt x="86" y="359"/>
                  </a:lnTo>
                  <a:lnTo>
                    <a:pt x="86" y="356"/>
                  </a:lnTo>
                  <a:lnTo>
                    <a:pt x="89" y="352"/>
                  </a:lnTo>
                  <a:lnTo>
                    <a:pt x="89" y="349"/>
                  </a:lnTo>
                  <a:lnTo>
                    <a:pt x="86" y="347"/>
                  </a:lnTo>
                  <a:lnTo>
                    <a:pt x="84" y="345"/>
                  </a:lnTo>
                  <a:lnTo>
                    <a:pt x="86" y="343"/>
                  </a:lnTo>
                  <a:lnTo>
                    <a:pt x="82" y="339"/>
                  </a:lnTo>
                  <a:lnTo>
                    <a:pt x="78" y="337"/>
                  </a:lnTo>
                  <a:lnTo>
                    <a:pt x="80" y="341"/>
                  </a:lnTo>
                  <a:lnTo>
                    <a:pt x="78" y="344"/>
                  </a:lnTo>
                  <a:lnTo>
                    <a:pt x="76" y="340"/>
                  </a:lnTo>
                  <a:lnTo>
                    <a:pt x="74" y="340"/>
                  </a:lnTo>
                  <a:lnTo>
                    <a:pt x="75" y="343"/>
                  </a:lnTo>
                  <a:lnTo>
                    <a:pt x="72" y="344"/>
                  </a:lnTo>
                  <a:lnTo>
                    <a:pt x="72" y="345"/>
                  </a:lnTo>
                  <a:lnTo>
                    <a:pt x="75" y="347"/>
                  </a:lnTo>
                  <a:lnTo>
                    <a:pt x="76" y="349"/>
                  </a:lnTo>
                  <a:lnTo>
                    <a:pt x="74" y="351"/>
                  </a:lnTo>
                  <a:lnTo>
                    <a:pt x="72" y="355"/>
                  </a:lnTo>
                  <a:lnTo>
                    <a:pt x="76" y="358"/>
                  </a:lnTo>
                  <a:lnTo>
                    <a:pt x="72" y="356"/>
                  </a:lnTo>
                  <a:lnTo>
                    <a:pt x="71" y="359"/>
                  </a:lnTo>
                  <a:lnTo>
                    <a:pt x="70" y="356"/>
                  </a:lnTo>
                  <a:lnTo>
                    <a:pt x="68" y="351"/>
                  </a:lnTo>
                  <a:lnTo>
                    <a:pt x="63" y="351"/>
                  </a:lnTo>
                  <a:lnTo>
                    <a:pt x="64" y="358"/>
                  </a:lnTo>
                  <a:lnTo>
                    <a:pt x="60" y="359"/>
                  </a:lnTo>
                  <a:lnTo>
                    <a:pt x="57" y="361"/>
                  </a:lnTo>
                  <a:lnTo>
                    <a:pt x="59" y="364"/>
                  </a:lnTo>
                  <a:lnTo>
                    <a:pt x="56" y="369"/>
                  </a:lnTo>
                  <a:lnTo>
                    <a:pt x="52" y="374"/>
                  </a:lnTo>
                  <a:lnTo>
                    <a:pt x="53" y="370"/>
                  </a:lnTo>
                  <a:lnTo>
                    <a:pt x="54" y="365"/>
                  </a:lnTo>
                  <a:lnTo>
                    <a:pt x="56" y="365"/>
                  </a:lnTo>
                  <a:lnTo>
                    <a:pt x="57" y="363"/>
                  </a:lnTo>
                  <a:lnTo>
                    <a:pt x="56" y="362"/>
                  </a:lnTo>
                  <a:lnTo>
                    <a:pt x="54" y="361"/>
                  </a:lnTo>
                  <a:lnTo>
                    <a:pt x="52" y="362"/>
                  </a:lnTo>
                  <a:lnTo>
                    <a:pt x="51" y="358"/>
                  </a:lnTo>
                  <a:lnTo>
                    <a:pt x="47" y="357"/>
                  </a:lnTo>
                  <a:lnTo>
                    <a:pt x="43" y="362"/>
                  </a:lnTo>
                  <a:lnTo>
                    <a:pt x="45" y="356"/>
                  </a:lnTo>
                  <a:lnTo>
                    <a:pt x="41" y="361"/>
                  </a:lnTo>
                  <a:lnTo>
                    <a:pt x="40" y="362"/>
                  </a:lnTo>
                  <a:lnTo>
                    <a:pt x="39" y="362"/>
                  </a:lnTo>
                  <a:lnTo>
                    <a:pt x="40" y="359"/>
                  </a:lnTo>
                  <a:lnTo>
                    <a:pt x="39" y="358"/>
                  </a:lnTo>
                  <a:lnTo>
                    <a:pt x="39" y="356"/>
                  </a:lnTo>
                  <a:lnTo>
                    <a:pt x="36" y="356"/>
                  </a:lnTo>
                  <a:lnTo>
                    <a:pt x="41" y="352"/>
                  </a:lnTo>
                  <a:lnTo>
                    <a:pt x="45" y="352"/>
                  </a:lnTo>
                  <a:lnTo>
                    <a:pt x="46" y="350"/>
                  </a:lnTo>
                  <a:lnTo>
                    <a:pt x="50" y="347"/>
                  </a:lnTo>
                  <a:lnTo>
                    <a:pt x="50" y="345"/>
                  </a:lnTo>
                  <a:lnTo>
                    <a:pt x="45" y="344"/>
                  </a:lnTo>
                  <a:lnTo>
                    <a:pt x="41" y="343"/>
                  </a:lnTo>
                  <a:lnTo>
                    <a:pt x="41" y="345"/>
                  </a:lnTo>
                  <a:lnTo>
                    <a:pt x="40" y="346"/>
                  </a:lnTo>
                  <a:lnTo>
                    <a:pt x="36" y="343"/>
                  </a:lnTo>
                  <a:lnTo>
                    <a:pt x="33" y="344"/>
                  </a:lnTo>
                  <a:lnTo>
                    <a:pt x="36" y="347"/>
                  </a:lnTo>
                  <a:lnTo>
                    <a:pt x="33" y="352"/>
                  </a:lnTo>
                  <a:lnTo>
                    <a:pt x="29" y="355"/>
                  </a:lnTo>
                  <a:lnTo>
                    <a:pt x="27" y="356"/>
                  </a:lnTo>
                  <a:lnTo>
                    <a:pt x="24" y="351"/>
                  </a:lnTo>
                  <a:lnTo>
                    <a:pt x="25" y="345"/>
                  </a:lnTo>
                  <a:lnTo>
                    <a:pt x="28" y="345"/>
                  </a:lnTo>
                  <a:lnTo>
                    <a:pt x="31" y="344"/>
                  </a:lnTo>
                  <a:lnTo>
                    <a:pt x="35" y="341"/>
                  </a:lnTo>
                  <a:lnTo>
                    <a:pt x="37" y="340"/>
                  </a:lnTo>
                  <a:lnTo>
                    <a:pt x="34" y="340"/>
                  </a:lnTo>
                  <a:lnTo>
                    <a:pt x="30" y="339"/>
                  </a:lnTo>
                  <a:lnTo>
                    <a:pt x="30" y="338"/>
                  </a:lnTo>
                  <a:lnTo>
                    <a:pt x="29" y="338"/>
                  </a:lnTo>
                  <a:lnTo>
                    <a:pt x="28" y="338"/>
                  </a:lnTo>
                  <a:lnTo>
                    <a:pt x="27" y="338"/>
                  </a:lnTo>
                  <a:lnTo>
                    <a:pt x="22" y="340"/>
                  </a:lnTo>
                  <a:lnTo>
                    <a:pt x="23" y="338"/>
                  </a:lnTo>
                  <a:lnTo>
                    <a:pt x="24" y="333"/>
                  </a:lnTo>
                  <a:lnTo>
                    <a:pt x="23" y="334"/>
                  </a:lnTo>
                  <a:lnTo>
                    <a:pt x="22" y="333"/>
                  </a:lnTo>
                  <a:lnTo>
                    <a:pt x="22" y="332"/>
                  </a:lnTo>
                  <a:lnTo>
                    <a:pt x="27" y="331"/>
                  </a:lnTo>
                  <a:lnTo>
                    <a:pt x="28" y="334"/>
                  </a:lnTo>
                  <a:lnTo>
                    <a:pt x="31" y="337"/>
                  </a:lnTo>
                  <a:lnTo>
                    <a:pt x="34" y="337"/>
                  </a:lnTo>
                  <a:lnTo>
                    <a:pt x="33" y="332"/>
                  </a:lnTo>
                  <a:lnTo>
                    <a:pt x="30" y="331"/>
                  </a:lnTo>
                  <a:lnTo>
                    <a:pt x="31" y="326"/>
                  </a:lnTo>
                  <a:lnTo>
                    <a:pt x="34" y="328"/>
                  </a:lnTo>
                  <a:lnTo>
                    <a:pt x="34" y="334"/>
                  </a:lnTo>
                  <a:lnTo>
                    <a:pt x="36" y="335"/>
                  </a:lnTo>
                  <a:lnTo>
                    <a:pt x="36" y="333"/>
                  </a:lnTo>
                  <a:lnTo>
                    <a:pt x="35" y="332"/>
                  </a:lnTo>
                  <a:lnTo>
                    <a:pt x="36" y="331"/>
                  </a:lnTo>
                  <a:lnTo>
                    <a:pt x="39" y="329"/>
                  </a:lnTo>
                  <a:lnTo>
                    <a:pt x="41" y="331"/>
                  </a:lnTo>
                  <a:lnTo>
                    <a:pt x="42" y="332"/>
                  </a:lnTo>
                  <a:lnTo>
                    <a:pt x="47" y="331"/>
                  </a:lnTo>
                  <a:lnTo>
                    <a:pt x="48" y="333"/>
                  </a:lnTo>
                  <a:lnTo>
                    <a:pt x="53" y="334"/>
                  </a:lnTo>
                  <a:lnTo>
                    <a:pt x="59" y="338"/>
                  </a:lnTo>
                  <a:lnTo>
                    <a:pt x="59" y="337"/>
                  </a:lnTo>
                  <a:lnTo>
                    <a:pt x="58" y="335"/>
                  </a:lnTo>
                  <a:lnTo>
                    <a:pt x="56" y="334"/>
                  </a:lnTo>
                  <a:lnTo>
                    <a:pt x="59" y="331"/>
                  </a:lnTo>
                  <a:lnTo>
                    <a:pt x="62" y="328"/>
                  </a:lnTo>
                  <a:lnTo>
                    <a:pt x="64" y="325"/>
                  </a:lnTo>
                  <a:lnTo>
                    <a:pt x="65" y="322"/>
                  </a:lnTo>
                  <a:lnTo>
                    <a:pt x="62" y="326"/>
                  </a:lnTo>
                  <a:lnTo>
                    <a:pt x="58" y="329"/>
                  </a:lnTo>
                  <a:lnTo>
                    <a:pt x="52" y="331"/>
                  </a:lnTo>
                  <a:lnTo>
                    <a:pt x="53" y="327"/>
                  </a:lnTo>
                  <a:lnTo>
                    <a:pt x="56" y="322"/>
                  </a:lnTo>
                  <a:lnTo>
                    <a:pt x="58" y="320"/>
                  </a:lnTo>
                  <a:lnTo>
                    <a:pt x="60" y="317"/>
                  </a:lnTo>
                  <a:lnTo>
                    <a:pt x="60" y="320"/>
                  </a:lnTo>
                  <a:lnTo>
                    <a:pt x="63" y="319"/>
                  </a:lnTo>
                  <a:lnTo>
                    <a:pt x="66" y="317"/>
                  </a:lnTo>
                  <a:lnTo>
                    <a:pt x="63" y="314"/>
                  </a:lnTo>
                  <a:lnTo>
                    <a:pt x="60" y="316"/>
                  </a:lnTo>
                  <a:lnTo>
                    <a:pt x="57" y="316"/>
                  </a:lnTo>
                  <a:lnTo>
                    <a:pt x="53" y="316"/>
                  </a:lnTo>
                  <a:lnTo>
                    <a:pt x="52" y="317"/>
                  </a:lnTo>
                  <a:lnTo>
                    <a:pt x="52" y="314"/>
                  </a:lnTo>
                  <a:lnTo>
                    <a:pt x="46" y="308"/>
                  </a:lnTo>
                  <a:lnTo>
                    <a:pt x="52" y="306"/>
                  </a:lnTo>
                  <a:lnTo>
                    <a:pt x="54" y="302"/>
                  </a:lnTo>
                  <a:lnTo>
                    <a:pt x="50" y="304"/>
                  </a:lnTo>
                  <a:lnTo>
                    <a:pt x="51" y="299"/>
                  </a:lnTo>
                  <a:lnTo>
                    <a:pt x="56" y="293"/>
                  </a:lnTo>
                  <a:lnTo>
                    <a:pt x="60" y="291"/>
                  </a:lnTo>
                  <a:lnTo>
                    <a:pt x="54" y="290"/>
                  </a:lnTo>
                  <a:lnTo>
                    <a:pt x="45" y="293"/>
                  </a:lnTo>
                  <a:lnTo>
                    <a:pt x="35" y="303"/>
                  </a:lnTo>
                  <a:lnTo>
                    <a:pt x="30" y="310"/>
                  </a:lnTo>
                  <a:lnTo>
                    <a:pt x="30" y="306"/>
                  </a:lnTo>
                  <a:lnTo>
                    <a:pt x="31" y="303"/>
                  </a:lnTo>
                  <a:lnTo>
                    <a:pt x="33" y="298"/>
                  </a:lnTo>
                  <a:lnTo>
                    <a:pt x="29" y="300"/>
                  </a:lnTo>
                  <a:lnTo>
                    <a:pt x="31" y="292"/>
                  </a:lnTo>
                  <a:lnTo>
                    <a:pt x="34" y="287"/>
                  </a:lnTo>
                  <a:lnTo>
                    <a:pt x="35" y="287"/>
                  </a:lnTo>
                  <a:lnTo>
                    <a:pt x="40" y="288"/>
                  </a:lnTo>
                  <a:lnTo>
                    <a:pt x="39" y="285"/>
                  </a:lnTo>
                  <a:lnTo>
                    <a:pt x="40" y="285"/>
                  </a:lnTo>
                  <a:lnTo>
                    <a:pt x="43" y="281"/>
                  </a:lnTo>
                  <a:lnTo>
                    <a:pt x="45" y="278"/>
                  </a:lnTo>
                  <a:lnTo>
                    <a:pt x="33" y="276"/>
                  </a:lnTo>
                  <a:lnTo>
                    <a:pt x="24" y="274"/>
                  </a:lnTo>
                  <a:lnTo>
                    <a:pt x="30" y="274"/>
                  </a:lnTo>
                  <a:lnTo>
                    <a:pt x="33" y="274"/>
                  </a:lnTo>
                  <a:lnTo>
                    <a:pt x="33" y="272"/>
                  </a:lnTo>
                  <a:lnTo>
                    <a:pt x="35" y="272"/>
                  </a:lnTo>
                  <a:lnTo>
                    <a:pt x="35" y="270"/>
                  </a:lnTo>
                  <a:lnTo>
                    <a:pt x="39" y="272"/>
                  </a:lnTo>
                  <a:lnTo>
                    <a:pt x="37" y="269"/>
                  </a:lnTo>
                  <a:lnTo>
                    <a:pt x="41" y="270"/>
                  </a:lnTo>
                  <a:lnTo>
                    <a:pt x="42" y="268"/>
                  </a:lnTo>
                  <a:lnTo>
                    <a:pt x="46" y="272"/>
                  </a:lnTo>
                  <a:lnTo>
                    <a:pt x="47" y="274"/>
                  </a:lnTo>
                  <a:lnTo>
                    <a:pt x="50" y="278"/>
                  </a:lnTo>
                  <a:lnTo>
                    <a:pt x="51" y="280"/>
                  </a:lnTo>
                  <a:lnTo>
                    <a:pt x="53" y="280"/>
                  </a:lnTo>
                  <a:lnTo>
                    <a:pt x="54" y="278"/>
                  </a:lnTo>
                  <a:lnTo>
                    <a:pt x="54" y="276"/>
                  </a:lnTo>
                  <a:lnTo>
                    <a:pt x="56" y="275"/>
                  </a:lnTo>
                  <a:lnTo>
                    <a:pt x="58" y="275"/>
                  </a:lnTo>
                  <a:lnTo>
                    <a:pt x="64" y="273"/>
                  </a:lnTo>
                  <a:lnTo>
                    <a:pt x="69" y="275"/>
                  </a:lnTo>
                  <a:lnTo>
                    <a:pt x="71" y="275"/>
                  </a:lnTo>
                  <a:lnTo>
                    <a:pt x="75" y="275"/>
                  </a:lnTo>
                  <a:lnTo>
                    <a:pt x="81" y="275"/>
                  </a:lnTo>
                  <a:lnTo>
                    <a:pt x="83" y="275"/>
                  </a:lnTo>
                  <a:lnTo>
                    <a:pt x="88" y="275"/>
                  </a:lnTo>
                  <a:lnTo>
                    <a:pt x="88" y="272"/>
                  </a:lnTo>
                  <a:lnTo>
                    <a:pt x="90" y="273"/>
                  </a:lnTo>
                  <a:lnTo>
                    <a:pt x="92" y="274"/>
                  </a:lnTo>
                  <a:lnTo>
                    <a:pt x="92" y="275"/>
                  </a:lnTo>
                  <a:lnTo>
                    <a:pt x="95" y="274"/>
                  </a:lnTo>
                  <a:lnTo>
                    <a:pt x="100" y="275"/>
                  </a:lnTo>
                  <a:lnTo>
                    <a:pt x="105" y="276"/>
                  </a:lnTo>
                  <a:lnTo>
                    <a:pt x="109" y="279"/>
                  </a:lnTo>
                  <a:lnTo>
                    <a:pt x="112" y="280"/>
                  </a:lnTo>
                  <a:lnTo>
                    <a:pt x="116" y="280"/>
                  </a:lnTo>
                  <a:lnTo>
                    <a:pt x="117" y="275"/>
                  </a:lnTo>
                  <a:lnTo>
                    <a:pt x="117" y="272"/>
                  </a:lnTo>
                  <a:lnTo>
                    <a:pt x="118" y="269"/>
                  </a:lnTo>
                  <a:lnTo>
                    <a:pt x="115" y="272"/>
                  </a:lnTo>
                  <a:lnTo>
                    <a:pt x="112" y="270"/>
                  </a:lnTo>
                  <a:lnTo>
                    <a:pt x="111" y="273"/>
                  </a:lnTo>
                  <a:lnTo>
                    <a:pt x="111" y="269"/>
                  </a:lnTo>
                  <a:lnTo>
                    <a:pt x="106" y="268"/>
                  </a:lnTo>
                  <a:lnTo>
                    <a:pt x="105" y="267"/>
                  </a:lnTo>
                  <a:lnTo>
                    <a:pt x="105" y="266"/>
                  </a:lnTo>
                  <a:lnTo>
                    <a:pt x="102" y="267"/>
                  </a:lnTo>
                  <a:lnTo>
                    <a:pt x="100" y="268"/>
                  </a:lnTo>
                  <a:lnTo>
                    <a:pt x="101" y="264"/>
                  </a:lnTo>
                  <a:lnTo>
                    <a:pt x="101" y="258"/>
                  </a:lnTo>
                  <a:lnTo>
                    <a:pt x="96" y="261"/>
                  </a:lnTo>
                  <a:lnTo>
                    <a:pt x="93" y="263"/>
                  </a:lnTo>
                  <a:lnTo>
                    <a:pt x="92" y="262"/>
                  </a:lnTo>
                  <a:lnTo>
                    <a:pt x="88" y="260"/>
                  </a:lnTo>
                  <a:lnTo>
                    <a:pt x="86" y="263"/>
                  </a:lnTo>
                  <a:lnTo>
                    <a:pt x="86" y="260"/>
                  </a:lnTo>
                  <a:lnTo>
                    <a:pt x="88" y="256"/>
                  </a:lnTo>
                  <a:lnTo>
                    <a:pt x="86" y="254"/>
                  </a:lnTo>
                  <a:lnTo>
                    <a:pt x="89" y="254"/>
                  </a:lnTo>
                  <a:lnTo>
                    <a:pt x="93" y="254"/>
                  </a:lnTo>
                  <a:lnTo>
                    <a:pt x="95" y="255"/>
                  </a:lnTo>
                  <a:lnTo>
                    <a:pt x="98" y="252"/>
                  </a:lnTo>
                  <a:lnTo>
                    <a:pt x="95" y="250"/>
                  </a:lnTo>
                  <a:lnTo>
                    <a:pt x="93" y="248"/>
                  </a:lnTo>
                  <a:lnTo>
                    <a:pt x="93" y="245"/>
                  </a:lnTo>
                  <a:lnTo>
                    <a:pt x="89" y="248"/>
                  </a:lnTo>
                  <a:lnTo>
                    <a:pt x="90" y="244"/>
                  </a:lnTo>
                  <a:lnTo>
                    <a:pt x="95" y="240"/>
                  </a:lnTo>
                  <a:lnTo>
                    <a:pt x="100" y="242"/>
                  </a:lnTo>
                  <a:lnTo>
                    <a:pt x="101" y="243"/>
                  </a:lnTo>
                  <a:lnTo>
                    <a:pt x="104" y="240"/>
                  </a:lnTo>
                  <a:lnTo>
                    <a:pt x="107" y="238"/>
                  </a:lnTo>
                  <a:lnTo>
                    <a:pt x="109" y="236"/>
                  </a:lnTo>
                  <a:lnTo>
                    <a:pt x="115" y="233"/>
                  </a:lnTo>
                  <a:lnTo>
                    <a:pt x="113" y="230"/>
                  </a:lnTo>
                  <a:lnTo>
                    <a:pt x="110" y="227"/>
                  </a:lnTo>
                  <a:lnTo>
                    <a:pt x="110" y="226"/>
                  </a:lnTo>
                  <a:lnTo>
                    <a:pt x="111" y="227"/>
                  </a:lnTo>
                  <a:lnTo>
                    <a:pt x="113" y="228"/>
                  </a:lnTo>
                  <a:lnTo>
                    <a:pt x="116" y="226"/>
                  </a:lnTo>
                  <a:lnTo>
                    <a:pt x="116" y="224"/>
                  </a:lnTo>
                  <a:lnTo>
                    <a:pt x="121" y="222"/>
                  </a:lnTo>
                  <a:lnTo>
                    <a:pt x="124" y="221"/>
                  </a:lnTo>
                  <a:lnTo>
                    <a:pt x="128" y="219"/>
                  </a:lnTo>
                  <a:lnTo>
                    <a:pt x="130" y="218"/>
                  </a:lnTo>
                  <a:lnTo>
                    <a:pt x="128" y="213"/>
                  </a:lnTo>
                  <a:lnTo>
                    <a:pt x="127" y="210"/>
                  </a:lnTo>
                  <a:lnTo>
                    <a:pt x="123" y="215"/>
                  </a:lnTo>
                  <a:lnTo>
                    <a:pt x="118" y="219"/>
                  </a:lnTo>
                  <a:lnTo>
                    <a:pt x="119" y="215"/>
                  </a:lnTo>
                  <a:lnTo>
                    <a:pt x="125" y="209"/>
                  </a:lnTo>
                  <a:lnTo>
                    <a:pt x="128" y="207"/>
                  </a:lnTo>
                  <a:lnTo>
                    <a:pt x="125" y="207"/>
                  </a:lnTo>
                  <a:lnTo>
                    <a:pt x="125" y="203"/>
                  </a:lnTo>
                  <a:lnTo>
                    <a:pt x="125" y="202"/>
                  </a:lnTo>
                  <a:lnTo>
                    <a:pt x="121" y="203"/>
                  </a:lnTo>
                  <a:lnTo>
                    <a:pt x="115" y="205"/>
                  </a:lnTo>
                  <a:lnTo>
                    <a:pt x="109" y="208"/>
                  </a:lnTo>
                  <a:lnTo>
                    <a:pt x="111" y="202"/>
                  </a:lnTo>
                  <a:lnTo>
                    <a:pt x="113" y="199"/>
                  </a:lnTo>
                  <a:lnTo>
                    <a:pt x="116" y="196"/>
                  </a:lnTo>
                  <a:lnTo>
                    <a:pt x="119" y="195"/>
                  </a:lnTo>
                  <a:lnTo>
                    <a:pt x="125" y="196"/>
                  </a:lnTo>
                  <a:lnTo>
                    <a:pt x="125" y="193"/>
                  </a:lnTo>
                  <a:lnTo>
                    <a:pt x="111" y="192"/>
                  </a:lnTo>
                  <a:lnTo>
                    <a:pt x="110" y="190"/>
                  </a:lnTo>
                  <a:lnTo>
                    <a:pt x="113" y="189"/>
                  </a:lnTo>
                  <a:lnTo>
                    <a:pt x="117" y="187"/>
                  </a:lnTo>
                  <a:lnTo>
                    <a:pt x="119" y="186"/>
                  </a:lnTo>
                  <a:lnTo>
                    <a:pt x="122" y="185"/>
                  </a:lnTo>
                  <a:lnTo>
                    <a:pt x="127" y="186"/>
                  </a:lnTo>
                  <a:lnTo>
                    <a:pt x="129" y="190"/>
                  </a:lnTo>
                  <a:lnTo>
                    <a:pt x="129" y="189"/>
                  </a:lnTo>
                  <a:lnTo>
                    <a:pt x="130" y="186"/>
                  </a:lnTo>
                  <a:lnTo>
                    <a:pt x="134" y="187"/>
                  </a:lnTo>
                  <a:lnTo>
                    <a:pt x="135" y="185"/>
                  </a:lnTo>
                  <a:lnTo>
                    <a:pt x="134" y="183"/>
                  </a:lnTo>
                  <a:lnTo>
                    <a:pt x="129" y="180"/>
                  </a:lnTo>
                  <a:lnTo>
                    <a:pt x="128" y="178"/>
                  </a:lnTo>
                  <a:lnTo>
                    <a:pt x="127" y="177"/>
                  </a:lnTo>
                  <a:lnTo>
                    <a:pt x="125" y="174"/>
                  </a:lnTo>
                  <a:lnTo>
                    <a:pt x="125" y="171"/>
                  </a:lnTo>
                  <a:lnTo>
                    <a:pt x="127" y="168"/>
                  </a:lnTo>
                  <a:lnTo>
                    <a:pt x="127" y="166"/>
                  </a:lnTo>
                  <a:lnTo>
                    <a:pt x="129" y="168"/>
                  </a:lnTo>
                  <a:lnTo>
                    <a:pt x="130" y="167"/>
                  </a:lnTo>
                  <a:lnTo>
                    <a:pt x="133" y="171"/>
                  </a:lnTo>
                  <a:lnTo>
                    <a:pt x="135" y="171"/>
                  </a:lnTo>
                  <a:lnTo>
                    <a:pt x="136" y="177"/>
                  </a:lnTo>
                  <a:lnTo>
                    <a:pt x="136" y="181"/>
                  </a:lnTo>
                  <a:lnTo>
                    <a:pt x="137" y="186"/>
                  </a:lnTo>
                  <a:lnTo>
                    <a:pt x="140" y="189"/>
                  </a:lnTo>
                  <a:lnTo>
                    <a:pt x="145" y="190"/>
                  </a:lnTo>
                  <a:lnTo>
                    <a:pt x="148" y="191"/>
                  </a:lnTo>
                  <a:lnTo>
                    <a:pt x="153" y="189"/>
                  </a:lnTo>
                  <a:lnTo>
                    <a:pt x="155" y="189"/>
                  </a:lnTo>
                  <a:lnTo>
                    <a:pt x="155" y="187"/>
                  </a:lnTo>
                  <a:lnTo>
                    <a:pt x="158" y="186"/>
                  </a:lnTo>
                  <a:lnTo>
                    <a:pt x="159" y="187"/>
                  </a:lnTo>
                  <a:lnTo>
                    <a:pt x="160" y="185"/>
                  </a:lnTo>
                  <a:lnTo>
                    <a:pt x="163" y="184"/>
                  </a:lnTo>
                  <a:lnTo>
                    <a:pt x="165" y="181"/>
                  </a:lnTo>
                  <a:lnTo>
                    <a:pt x="166" y="179"/>
                  </a:lnTo>
                  <a:lnTo>
                    <a:pt x="168" y="178"/>
                  </a:lnTo>
                  <a:lnTo>
                    <a:pt x="166" y="178"/>
                  </a:lnTo>
                  <a:lnTo>
                    <a:pt x="166" y="174"/>
                  </a:lnTo>
                  <a:lnTo>
                    <a:pt x="166" y="173"/>
                  </a:lnTo>
                  <a:lnTo>
                    <a:pt x="165" y="171"/>
                  </a:lnTo>
                  <a:lnTo>
                    <a:pt x="165" y="167"/>
                  </a:lnTo>
                  <a:lnTo>
                    <a:pt x="168" y="168"/>
                  </a:lnTo>
                  <a:lnTo>
                    <a:pt x="169" y="169"/>
                  </a:lnTo>
                  <a:lnTo>
                    <a:pt x="170" y="168"/>
                  </a:lnTo>
                  <a:lnTo>
                    <a:pt x="169" y="167"/>
                  </a:lnTo>
                  <a:lnTo>
                    <a:pt x="172" y="166"/>
                  </a:lnTo>
                  <a:lnTo>
                    <a:pt x="175" y="166"/>
                  </a:lnTo>
                  <a:lnTo>
                    <a:pt x="174" y="162"/>
                  </a:lnTo>
                  <a:lnTo>
                    <a:pt x="172" y="155"/>
                  </a:lnTo>
                  <a:lnTo>
                    <a:pt x="171" y="156"/>
                  </a:lnTo>
                  <a:lnTo>
                    <a:pt x="169" y="155"/>
                  </a:lnTo>
                  <a:lnTo>
                    <a:pt x="168" y="157"/>
                  </a:lnTo>
                  <a:lnTo>
                    <a:pt x="166" y="157"/>
                  </a:lnTo>
                  <a:lnTo>
                    <a:pt x="165" y="155"/>
                  </a:lnTo>
                  <a:lnTo>
                    <a:pt x="165" y="154"/>
                  </a:lnTo>
                  <a:lnTo>
                    <a:pt x="164" y="151"/>
                  </a:lnTo>
                  <a:lnTo>
                    <a:pt x="166" y="151"/>
                  </a:lnTo>
                  <a:lnTo>
                    <a:pt x="170" y="154"/>
                  </a:lnTo>
                  <a:lnTo>
                    <a:pt x="170" y="150"/>
                  </a:lnTo>
                  <a:lnTo>
                    <a:pt x="169" y="147"/>
                  </a:lnTo>
                  <a:lnTo>
                    <a:pt x="170" y="147"/>
                  </a:lnTo>
                  <a:lnTo>
                    <a:pt x="171" y="144"/>
                  </a:lnTo>
                  <a:lnTo>
                    <a:pt x="172" y="143"/>
                  </a:lnTo>
                  <a:lnTo>
                    <a:pt x="174" y="143"/>
                  </a:lnTo>
                  <a:lnTo>
                    <a:pt x="175" y="143"/>
                  </a:lnTo>
                  <a:lnTo>
                    <a:pt x="175" y="147"/>
                  </a:lnTo>
                  <a:lnTo>
                    <a:pt x="177" y="147"/>
                  </a:lnTo>
                  <a:lnTo>
                    <a:pt x="178" y="148"/>
                  </a:lnTo>
                  <a:lnTo>
                    <a:pt x="178" y="149"/>
                  </a:lnTo>
                  <a:lnTo>
                    <a:pt x="175" y="150"/>
                  </a:lnTo>
                  <a:lnTo>
                    <a:pt x="174" y="154"/>
                  </a:lnTo>
                  <a:lnTo>
                    <a:pt x="174" y="157"/>
                  </a:lnTo>
                  <a:lnTo>
                    <a:pt x="175" y="161"/>
                  </a:lnTo>
                  <a:lnTo>
                    <a:pt x="177" y="160"/>
                  </a:lnTo>
                  <a:lnTo>
                    <a:pt x="176" y="157"/>
                  </a:lnTo>
                  <a:lnTo>
                    <a:pt x="176" y="154"/>
                  </a:lnTo>
                  <a:lnTo>
                    <a:pt x="176" y="153"/>
                  </a:lnTo>
                  <a:lnTo>
                    <a:pt x="177" y="153"/>
                  </a:lnTo>
                  <a:lnTo>
                    <a:pt x="178" y="153"/>
                  </a:lnTo>
                  <a:lnTo>
                    <a:pt x="181" y="153"/>
                  </a:lnTo>
                  <a:lnTo>
                    <a:pt x="182" y="153"/>
                  </a:lnTo>
                  <a:lnTo>
                    <a:pt x="182" y="154"/>
                  </a:lnTo>
                  <a:lnTo>
                    <a:pt x="180" y="159"/>
                  </a:lnTo>
                  <a:lnTo>
                    <a:pt x="182" y="161"/>
                  </a:lnTo>
                  <a:lnTo>
                    <a:pt x="184" y="162"/>
                  </a:lnTo>
                  <a:lnTo>
                    <a:pt x="184" y="163"/>
                  </a:lnTo>
                  <a:lnTo>
                    <a:pt x="180" y="167"/>
                  </a:lnTo>
                  <a:lnTo>
                    <a:pt x="182" y="167"/>
                  </a:lnTo>
                  <a:lnTo>
                    <a:pt x="183" y="166"/>
                  </a:lnTo>
                  <a:lnTo>
                    <a:pt x="186" y="165"/>
                  </a:lnTo>
                  <a:lnTo>
                    <a:pt x="188" y="163"/>
                  </a:lnTo>
                  <a:lnTo>
                    <a:pt x="190" y="161"/>
                  </a:lnTo>
                  <a:lnTo>
                    <a:pt x="188" y="160"/>
                  </a:lnTo>
                  <a:lnTo>
                    <a:pt x="183" y="159"/>
                  </a:lnTo>
                  <a:lnTo>
                    <a:pt x="183" y="155"/>
                  </a:lnTo>
                  <a:lnTo>
                    <a:pt x="182" y="150"/>
                  </a:lnTo>
                  <a:lnTo>
                    <a:pt x="183" y="150"/>
                  </a:lnTo>
                  <a:lnTo>
                    <a:pt x="184" y="149"/>
                  </a:lnTo>
                  <a:lnTo>
                    <a:pt x="186" y="149"/>
                  </a:lnTo>
                  <a:lnTo>
                    <a:pt x="188" y="149"/>
                  </a:lnTo>
                  <a:lnTo>
                    <a:pt x="189" y="151"/>
                  </a:lnTo>
                  <a:lnTo>
                    <a:pt x="192" y="149"/>
                  </a:lnTo>
                  <a:lnTo>
                    <a:pt x="195" y="150"/>
                  </a:lnTo>
                  <a:lnTo>
                    <a:pt x="195" y="151"/>
                  </a:lnTo>
                  <a:lnTo>
                    <a:pt x="198" y="153"/>
                  </a:lnTo>
                  <a:lnTo>
                    <a:pt x="196" y="156"/>
                  </a:lnTo>
                  <a:lnTo>
                    <a:pt x="199" y="157"/>
                  </a:lnTo>
                  <a:lnTo>
                    <a:pt x="201" y="155"/>
                  </a:lnTo>
                  <a:lnTo>
                    <a:pt x="200" y="159"/>
                  </a:lnTo>
                  <a:lnTo>
                    <a:pt x="201" y="161"/>
                  </a:lnTo>
                  <a:lnTo>
                    <a:pt x="202" y="157"/>
                  </a:lnTo>
                  <a:lnTo>
                    <a:pt x="204" y="160"/>
                  </a:lnTo>
                  <a:lnTo>
                    <a:pt x="206" y="159"/>
                  </a:lnTo>
                  <a:lnTo>
                    <a:pt x="208" y="156"/>
                  </a:lnTo>
                  <a:lnTo>
                    <a:pt x="206" y="157"/>
                  </a:lnTo>
                  <a:lnTo>
                    <a:pt x="205" y="157"/>
                  </a:lnTo>
                  <a:lnTo>
                    <a:pt x="205" y="155"/>
                  </a:lnTo>
                  <a:lnTo>
                    <a:pt x="204" y="154"/>
                  </a:lnTo>
                  <a:lnTo>
                    <a:pt x="204" y="153"/>
                  </a:lnTo>
                  <a:lnTo>
                    <a:pt x="206" y="153"/>
                  </a:lnTo>
                  <a:lnTo>
                    <a:pt x="206" y="150"/>
                  </a:lnTo>
                  <a:lnTo>
                    <a:pt x="207" y="149"/>
                  </a:lnTo>
                  <a:lnTo>
                    <a:pt x="208" y="149"/>
                  </a:lnTo>
                  <a:lnTo>
                    <a:pt x="211" y="149"/>
                  </a:lnTo>
                  <a:lnTo>
                    <a:pt x="212" y="151"/>
                  </a:lnTo>
                  <a:lnTo>
                    <a:pt x="213" y="149"/>
                  </a:lnTo>
                  <a:lnTo>
                    <a:pt x="214" y="148"/>
                  </a:lnTo>
                  <a:lnTo>
                    <a:pt x="214" y="147"/>
                  </a:lnTo>
                  <a:lnTo>
                    <a:pt x="214" y="138"/>
                  </a:lnTo>
                  <a:lnTo>
                    <a:pt x="217" y="142"/>
                  </a:lnTo>
                  <a:lnTo>
                    <a:pt x="217" y="145"/>
                  </a:lnTo>
                  <a:lnTo>
                    <a:pt x="219" y="145"/>
                  </a:lnTo>
                  <a:lnTo>
                    <a:pt x="219" y="148"/>
                  </a:lnTo>
                  <a:lnTo>
                    <a:pt x="218" y="149"/>
                  </a:lnTo>
                  <a:lnTo>
                    <a:pt x="217" y="151"/>
                  </a:lnTo>
                  <a:lnTo>
                    <a:pt x="218" y="155"/>
                  </a:lnTo>
                  <a:lnTo>
                    <a:pt x="220" y="157"/>
                  </a:lnTo>
                  <a:lnTo>
                    <a:pt x="222" y="155"/>
                  </a:lnTo>
                  <a:lnTo>
                    <a:pt x="224" y="157"/>
                  </a:lnTo>
                  <a:lnTo>
                    <a:pt x="225" y="162"/>
                  </a:lnTo>
                  <a:lnTo>
                    <a:pt x="229" y="160"/>
                  </a:lnTo>
                  <a:lnTo>
                    <a:pt x="231" y="161"/>
                  </a:lnTo>
                  <a:lnTo>
                    <a:pt x="234" y="161"/>
                  </a:lnTo>
                  <a:lnTo>
                    <a:pt x="234" y="163"/>
                  </a:lnTo>
                  <a:lnTo>
                    <a:pt x="236" y="165"/>
                  </a:lnTo>
                  <a:lnTo>
                    <a:pt x="237" y="168"/>
                  </a:lnTo>
                  <a:lnTo>
                    <a:pt x="240" y="172"/>
                  </a:lnTo>
                  <a:lnTo>
                    <a:pt x="241" y="173"/>
                  </a:lnTo>
                  <a:lnTo>
                    <a:pt x="233" y="168"/>
                  </a:lnTo>
                  <a:lnTo>
                    <a:pt x="225" y="165"/>
                  </a:lnTo>
                  <a:lnTo>
                    <a:pt x="223" y="161"/>
                  </a:lnTo>
                  <a:lnTo>
                    <a:pt x="223" y="165"/>
                  </a:lnTo>
                  <a:lnTo>
                    <a:pt x="225" y="168"/>
                  </a:lnTo>
                  <a:lnTo>
                    <a:pt x="225" y="171"/>
                  </a:lnTo>
                  <a:lnTo>
                    <a:pt x="227" y="173"/>
                  </a:lnTo>
                  <a:lnTo>
                    <a:pt x="230" y="174"/>
                  </a:lnTo>
                  <a:lnTo>
                    <a:pt x="234" y="175"/>
                  </a:lnTo>
                  <a:lnTo>
                    <a:pt x="229" y="177"/>
                  </a:lnTo>
                  <a:lnTo>
                    <a:pt x="231" y="186"/>
                  </a:lnTo>
                  <a:lnTo>
                    <a:pt x="234" y="191"/>
                  </a:lnTo>
                  <a:lnTo>
                    <a:pt x="236" y="190"/>
                  </a:lnTo>
                  <a:lnTo>
                    <a:pt x="237" y="191"/>
                  </a:lnTo>
                  <a:lnTo>
                    <a:pt x="239" y="195"/>
                  </a:lnTo>
                  <a:lnTo>
                    <a:pt x="240" y="195"/>
                  </a:lnTo>
                  <a:lnTo>
                    <a:pt x="241" y="193"/>
                  </a:lnTo>
                  <a:lnTo>
                    <a:pt x="242" y="195"/>
                  </a:lnTo>
                  <a:lnTo>
                    <a:pt x="242" y="199"/>
                  </a:lnTo>
                  <a:lnTo>
                    <a:pt x="242" y="203"/>
                  </a:lnTo>
                  <a:lnTo>
                    <a:pt x="243" y="204"/>
                  </a:lnTo>
                  <a:lnTo>
                    <a:pt x="246" y="203"/>
                  </a:lnTo>
                  <a:lnTo>
                    <a:pt x="247" y="203"/>
                  </a:lnTo>
                  <a:lnTo>
                    <a:pt x="247" y="199"/>
                  </a:lnTo>
                  <a:lnTo>
                    <a:pt x="249" y="197"/>
                  </a:lnTo>
                  <a:lnTo>
                    <a:pt x="252" y="196"/>
                  </a:lnTo>
                  <a:lnTo>
                    <a:pt x="257" y="195"/>
                  </a:lnTo>
                  <a:lnTo>
                    <a:pt x="253" y="193"/>
                  </a:lnTo>
                  <a:lnTo>
                    <a:pt x="247" y="195"/>
                  </a:lnTo>
                  <a:lnTo>
                    <a:pt x="245" y="193"/>
                  </a:lnTo>
                  <a:lnTo>
                    <a:pt x="245" y="191"/>
                  </a:lnTo>
                  <a:lnTo>
                    <a:pt x="247" y="190"/>
                  </a:lnTo>
                  <a:lnTo>
                    <a:pt x="248" y="187"/>
                  </a:lnTo>
                  <a:lnTo>
                    <a:pt x="249" y="186"/>
                  </a:lnTo>
                  <a:lnTo>
                    <a:pt x="253" y="185"/>
                  </a:lnTo>
                  <a:lnTo>
                    <a:pt x="255" y="184"/>
                  </a:lnTo>
                  <a:lnTo>
                    <a:pt x="257" y="183"/>
                  </a:lnTo>
                  <a:lnTo>
                    <a:pt x="255" y="180"/>
                  </a:lnTo>
                  <a:lnTo>
                    <a:pt x="254" y="177"/>
                  </a:lnTo>
                  <a:lnTo>
                    <a:pt x="248" y="181"/>
                  </a:lnTo>
                  <a:lnTo>
                    <a:pt x="246" y="183"/>
                  </a:lnTo>
                  <a:lnTo>
                    <a:pt x="246" y="179"/>
                  </a:lnTo>
                  <a:lnTo>
                    <a:pt x="245" y="178"/>
                  </a:lnTo>
                  <a:lnTo>
                    <a:pt x="245" y="177"/>
                  </a:lnTo>
                  <a:lnTo>
                    <a:pt x="245" y="173"/>
                  </a:lnTo>
                  <a:lnTo>
                    <a:pt x="243" y="171"/>
                  </a:lnTo>
                  <a:lnTo>
                    <a:pt x="245" y="169"/>
                  </a:lnTo>
                  <a:lnTo>
                    <a:pt x="241" y="162"/>
                  </a:lnTo>
                  <a:lnTo>
                    <a:pt x="245" y="165"/>
                  </a:lnTo>
                  <a:lnTo>
                    <a:pt x="248" y="163"/>
                  </a:lnTo>
                  <a:lnTo>
                    <a:pt x="251" y="165"/>
                  </a:lnTo>
                  <a:lnTo>
                    <a:pt x="254" y="166"/>
                  </a:lnTo>
                  <a:lnTo>
                    <a:pt x="257" y="160"/>
                  </a:lnTo>
                  <a:lnTo>
                    <a:pt x="255" y="157"/>
                  </a:lnTo>
                  <a:lnTo>
                    <a:pt x="252" y="159"/>
                  </a:lnTo>
                  <a:lnTo>
                    <a:pt x="249" y="159"/>
                  </a:lnTo>
                  <a:lnTo>
                    <a:pt x="248" y="155"/>
                  </a:lnTo>
                  <a:lnTo>
                    <a:pt x="247" y="153"/>
                  </a:lnTo>
                  <a:lnTo>
                    <a:pt x="252" y="153"/>
                  </a:lnTo>
                  <a:lnTo>
                    <a:pt x="255" y="154"/>
                  </a:lnTo>
                  <a:lnTo>
                    <a:pt x="258" y="153"/>
                  </a:lnTo>
                  <a:lnTo>
                    <a:pt x="259" y="151"/>
                  </a:lnTo>
                  <a:lnTo>
                    <a:pt x="261" y="151"/>
                  </a:lnTo>
                  <a:lnTo>
                    <a:pt x="261" y="148"/>
                  </a:lnTo>
                  <a:lnTo>
                    <a:pt x="263" y="149"/>
                  </a:lnTo>
                  <a:lnTo>
                    <a:pt x="264" y="153"/>
                  </a:lnTo>
                  <a:lnTo>
                    <a:pt x="265" y="156"/>
                  </a:lnTo>
                  <a:lnTo>
                    <a:pt x="267" y="155"/>
                  </a:lnTo>
                  <a:lnTo>
                    <a:pt x="267" y="157"/>
                  </a:lnTo>
                  <a:lnTo>
                    <a:pt x="269" y="160"/>
                  </a:lnTo>
                  <a:lnTo>
                    <a:pt x="270" y="160"/>
                  </a:lnTo>
                  <a:lnTo>
                    <a:pt x="272" y="162"/>
                  </a:lnTo>
                  <a:lnTo>
                    <a:pt x="275" y="163"/>
                  </a:lnTo>
                  <a:lnTo>
                    <a:pt x="275" y="165"/>
                  </a:lnTo>
                  <a:lnTo>
                    <a:pt x="276" y="171"/>
                  </a:lnTo>
                  <a:lnTo>
                    <a:pt x="277" y="173"/>
                  </a:lnTo>
                  <a:lnTo>
                    <a:pt x="278" y="177"/>
                  </a:lnTo>
                  <a:lnTo>
                    <a:pt x="279" y="174"/>
                  </a:lnTo>
                  <a:lnTo>
                    <a:pt x="281" y="177"/>
                  </a:lnTo>
                  <a:lnTo>
                    <a:pt x="284" y="174"/>
                  </a:lnTo>
                  <a:lnTo>
                    <a:pt x="287" y="174"/>
                  </a:lnTo>
                  <a:lnTo>
                    <a:pt x="287" y="169"/>
                  </a:lnTo>
                  <a:lnTo>
                    <a:pt x="290" y="172"/>
                  </a:lnTo>
                  <a:lnTo>
                    <a:pt x="294" y="175"/>
                  </a:lnTo>
                  <a:lnTo>
                    <a:pt x="295" y="177"/>
                  </a:lnTo>
                  <a:lnTo>
                    <a:pt x="298" y="178"/>
                  </a:lnTo>
                  <a:lnTo>
                    <a:pt x="300" y="180"/>
                  </a:lnTo>
                  <a:lnTo>
                    <a:pt x="300" y="184"/>
                  </a:lnTo>
                  <a:lnTo>
                    <a:pt x="304" y="184"/>
                  </a:lnTo>
                  <a:lnTo>
                    <a:pt x="307" y="181"/>
                  </a:lnTo>
                  <a:lnTo>
                    <a:pt x="304" y="181"/>
                  </a:lnTo>
                  <a:lnTo>
                    <a:pt x="305" y="179"/>
                  </a:lnTo>
                  <a:lnTo>
                    <a:pt x="305" y="177"/>
                  </a:lnTo>
                  <a:lnTo>
                    <a:pt x="306" y="175"/>
                  </a:lnTo>
                  <a:lnTo>
                    <a:pt x="310" y="175"/>
                  </a:lnTo>
                  <a:lnTo>
                    <a:pt x="310" y="174"/>
                  </a:lnTo>
                  <a:lnTo>
                    <a:pt x="311" y="172"/>
                  </a:lnTo>
                  <a:lnTo>
                    <a:pt x="313" y="171"/>
                  </a:lnTo>
                  <a:lnTo>
                    <a:pt x="314" y="172"/>
                  </a:lnTo>
                  <a:lnTo>
                    <a:pt x="317" y="174"/>
                  </a:lnTo>
                  <a:lnTo>
                    <a:pt x="319" y="174"/>
                  </a:lnTo>
                  <a:lnTo>
                    <a:pt x="322" y="174"/>
                  </a:lnTo>
                  <a:lnTo>
                    <a:pt x="322" y="175"/>
                  </a:lnTo>
                  <a:lnTo>
                    <a:pt x="322" y="179"/>
                  </a:lnTo>
                  <a:lnTo>
                    <a:pt x="324" y="178"/>
                  </a:lnTo>
                  <a:lnTo>
                    <a:pt x="324" y="177"/>
                  </a:lnTo>
                  <a:lnTo>
                    <a:pt x="326" y="175"/>
                  </a:lnTo>
                  <a:lnTo>
                    <a:pt x="328" y="174"/>
                  </a:lnTo>
                  <a:lnTo>
                    <a:pt x="331" y="177"/>
                  </a:lnTo>
                  <a:lnTo>
                    <a:pt x="332" y="174"/>
                  </a:lnTo>
                  <a:lnTo>
                    <a:pt x="329" y="173"/>
                  </a:lnTo>
                  <a:lnTo>
                    <a:pt x="326" y="173"/>
                  </a:lnTo>
                  <a:lnTo>
                    <a:pt x="325" y="172"/>
                  </a:lnTo>
                  <a:lnTo>
                    <a:pt x="325" y="167"/>
                  </a:lnTo>
                  <a:lnTo>
                    <a:pt x="328" y="168"/>
                  </a:lnTo>
                  <a:lnTo>
                    <a:pt x="330" y="167"/>
                  </a:lnTo>
                  <a:lnTo>
                    <a:pt x="332" y="165"/>
                  </a:lnTo>
                  <a:lnTo>
                    <a:pt x="334" y="163"/>
                  </a:lnTo>
                  <a:lnTo>
                    <a:pt x="335" y="163"/>
                  </a:lnTo>
                  <a:lnTo>
                    <a:pt x="337" y="165"/>
                  </a:lnTo>
                  <a:lnTo>
                    <a:pt x="340" y="168"/>
                  </a:lnTo>
                  <a:lnTo>
                    <a:pt x="342" y="166"/>
                  </a:lnTo>
                  <a:lnTo>
                    <a:pt x="343" y="165"/>
                  </a:lnTo>
                  <a:lnTo>
                    <a:pt x="342" y="162"/>
                  </a:lnTo>
                  <a:lnTo>
                    <a:pt x="342" y="161"/>
                  </a:lnTo>
                  <a:lnTo>
                    <a:pt x="343" y="160"/>
                  </a:lnTo>
                  <a:lnTo>
                    <a:pt x="346" y="159"/>
                  </a:lnTo>
                  <a:lnTo>
                    <a:pt x="346" y="157"/>
                  </a:lnTo>
                  <a:lnTo>
                    <a:pt x="348" y="155"/>
                  </a:lnTo>
                  <a:lnTo>
                    <a:pt x="351" y="154"/>
                  </a:lnTo>
                  <a:lnTo>
                    <a:pt x="344" y="155"/>
                  </a:lnTo>
                  <a:lnTo>
                    <a:pt x="341" y="156"/>
                  </a:lnTo>
                  <a:lnTo>
                    <a:pt x="340" y="157"/>
                  </a:lnTo>
                  <a:lnTo>
                    <a:pt x="340" y="156"/>
                  </a:lnTo>
                  <a:lnTo>
                    <a:pt x="343" y="151"/>
                  </a:lnTo>
                  <a:lnTo>
                    <a:pt x="344" y="148"/>
                  </a:lnTo>
                  <a:lnTo>
                    <a:pt x="346" y="147"/>
                  </a:lnTo>
                  <a:lnTo>
                    <a:pt x="348" y="144"/>
                  </a:lnTo>
                  <a:lnTo>
                    <a:pt x="349" y="142"/>
                  </a:lnTo>
                  <a:lnTo>
                    <a:pt x="352" y="141"/>
                  </a:lnTo>
                  <a:lnTo>
                    <a:pt x="357" y="141"/>
                  </a:lnTo>
                  <a:lnTo>
                    <a:pt x="358" y="142"/>
                  </a:lnTo>
                  <a:lnTo>
                    <a:pt x="359" y="142"/>
                  </a:lnTo>
                  <a:lnTo>
                    <a:pt x="361" y="142"/>
                  </a:lnTo>
                  <a:lnTo>
                    <a:pt x="361" y="141"/>
                  </a:lnTo>
                  <a:lnTo>
                    <a:pt x="364" y="141"/>
                  </a:lnTo>
                  <a:lnTo>
                    <a:pt x="361" y="133"/>
                  </a:lnTo>
                  <a:lnTo>
                    <a:pt x="360" y="135"/>
                  </a:lnTo>
                  <a:lnTo>
                    <a:pt x="359" y="137"/>
                  </a:lnTo>
                  <a:lnTo>
                    <a:pt x="359" y="133"/>
                  </a:lnTo>
                  <a:lnTo>
                    <a:pt x="359" y="131"/>
                  </a:lnTo>
                  <a:lnTo>
                    <a:pt x="354" y="130"/>
                  </a:lnTo>
                  <a:lnTo>
                    <a:pt x="348" y="131"/>
                  </a:lnTo>
                  <a:lnTo>
                    <a:pt x="341" y="131"/>
                  </a:lnTo>
                  <a:lnTo>
                    <a:pt x="343" y="130"/>
                  </a:lnTo>
                  <a:lnTo>
                    <a:pt x="344" y="127"/>
                  </a:lnTo>
                  <a:lnTo>
                    <a:pt x="348" y="127"/>
                  </a:lnTo>
                  <a:lnTo>
                    <a:pt x="353" y="125"/>
                  </a:lnTo>
                  <a:lnTo>
                    <a:pt x="354" y="127"/>
                  </a:lnTo>
                  <a:lnTo>
                    <a:pt x="360" y="130"/>
                  </a:lnTo>
                  <a:lnTo>
                    <a:pt x="361" y="130"/>
                  </a:lnTo>
                  <a:lnTo>
                    <a:pt x="357" y="118"/>
                  </a:lnTo>
                  <a:lnTo>
                    <a:pt x="353" y="111"/>
                  </a:lnTo>
                  <a:lnTo>
                    <a:pt x="352" y="113"/>
                  </a:lnTo>
                  <a:lnTo>
                    <a:pt x="348" y="114"/>
                  </a:lnTo>
                  <a:lnTo>
                    <a:pt x="347" y="115"/>
                  </a:lnTo>
                  <a:lnTo>
                    <a:pt x="347" y="112"/>
                  </a:lnTo>
                  <a:lnTo>
                    <a:pt x="347" y="108"/>
                  </a:lnTo>
                  <a:lnTo>
                    <a:pt x="349" y="109"/>
                  </a:lnTo>
                  <a:lnTo>
                    <a:pt x="349" y="106"/>
                  </a:lnTo>
                  <a:lnTo>
                    <a:pt x="346" y="106"/>
                  </a:lnTo>
                  <a:lnTo>
                    <a:pt x="342" y="108"/>
                  </a:lnTo>
                  <a:lnTo>
                    <a:pt x="338" y="112"/>
                  </a:lnTo>
                  <a:lnTo>
                    <a:pt x="338" y="106"/>
                  </a:lnTo>
                  <a:lnTo>
                    <a:pt x="340" y="103"/>
                  </a:lnTo>
                  <a:lnTo>
                    <a:pt x="342" y="102"/>
                  </a:lnTo>
                  <a:lnTo>
                    <a:pt x="346" y="102"/>
                  </a:lnTo>
                  <a:lnTo>
                    <a:pt x="348" y="105"/>
                  </a:lnTo>
                  <a:lnTo>
                    <a:pt x="344" y="97"/>
                  </a:lnTo>
                  <a:lnTo>
                    <a:pt x="338" y="97"/>
                  </a:lnTo>
                  <a:lnTo>
                    <a:pt x="334" y="100"/>
                  </a:lnTo>
                  <a:lnTo>
                    <a:pt x="332" y="105"/>
                  </a:lnTo>
                  <a:lnTo>
                    <a:pt x="330" y="106"/>
                  </a:lnTo>
                  <a:lnTo>
                    <a:pt x="330" y="103"/>
                  </a:lnTo>
                  <a:lnTo>
                    <a:pt x="328" y="100"/>
                  </a:lnTo>
                  <a:lnTo>
                    <a:pt x="329" y="96"/>
                  </a:lnTo>
                  <a:lnTo>
                    <a:pt x="330" y="95"/>
                  </a:lnTo>
                  <a:lnTo>
                    <a:pt x="334" y="96"/>
                  </a:lnTo>
                  <a:lnTo>
                    <a:pt x="340" y="96"/>
                  </a:lnTo>
                  <a:lnTo>
                    <a:pt x="342" y="95"/>
                  </a:lnTo>
                  <a:lnTo>
                    <a:pt x="338" y="95"/>
                  </a:lnTo>
                  <a:lnTo>
                    <a:pt x="335" y="95"/>
                  </a:lnTo>
                  <a:lnTo>
                    <a:pt x="335" y="92"/>
                  </a:lnTo>
                  <a:lnTo>
                    <a:pt x="338" y="91"/>
                  </a:lnTo>
                  <a:lnTo>
                    <a:pt x="338" y="90"/>
                  </a:lnTo>
                  <a:lnTo>
                    <a:pt x="335" y="90"/>
                  </a:lnTo>
                  <a:lnTo>
                    <a:pt x="334" y="91"/>
                  </a:lnTo>
                  <a:lnTo>
                    <a:pt x="331" y="92"/>
                  </a:lnTo>
                  <a:lnTo>
                    <a:pt x="330" y="90"/>
                  </a:lnTo>
                  <a:lnTo>
                    <a:pt x="334" y="89"/>
                  </a:lnTo>
                  <a:lnTo>
                    <a:pt x="338" y="89"/>
                  </a:lnTo>
                  <a:lnTo>
                    <a:pt x="336" y="86"/>
                  </a:lnTo>
                  <a:lnTo>
                    <a:pt x="332" y="86"/>
                  </a:lnTo>
                  <a:lnTo>
                    <a:pt x="329" y="89"/>
                  </a:lnTo>
                  <a:lnTo>
                    <a:pt x="325" y="85"/>
                  </a:lnTo>
                  <a:lnTo>
                    <a:pt x="326" y="84"/>
                  </a:lnTo>
                  <a:lnTo>
                    <a:pt x="330" y="83"/>
                  </a:lnTo>
                  <a:lnTo>
                    <a:pt x="332" y="85"/>
                  </a:lnTo>
                  <a:lnTo>
                    <a:pt x="335" y="85"/>
                  </a:lnTo>
                  <a:lnTo>
                    <a:pt x="331" y="82"/>
                  </a:lnTo>
                  <a:lnTo>
                    <a:pt x="328" y="82"/>
                  </a:lnTo>
                  <a:lnTo>
                    <a:pt x="324" y="80"/>
                  </a:lnTo>
                  <a:lnTo>
                    <a:pt x="319" y="77"/>
                  </a:lnTo>
                  <a:lnTo>
                    <a:pt x="323" y="77"/>
                  </a:lnTo>
                  <a:lnTo>
                    <a:pt x="328" y="78"/>
                  </a:lnTo>
                  <a:lnTo>
                    <a:pt x="332" y="80"/>
                  </a:lnTo>
                  <a:lnTo>
                    <a:pt x="337" y="85"/>
                  </a:lnTo>
                  <a:lnTo>
                    <a:pt x="338" y="85"/>
                  </a:lnTo>
                  <a:lnTo>
                    <a:pt x="340" y="82"/>
                  </a:lnTo>
                  <a:lnTo>
                    <a:pt x="337" y="78"/>
                  </a:lnTo>
                  <a:lnTo>
                    <a:pt x="335" y="77"/>
                  </a:lnTo>
                  <a:lnTo>
                    <a:pt x="329" y="76"/>
                  </a:lnTo>
                  <a:lnTo>
                    <a:pt x="326" y="73"/>
                  </a:lnTo>
                  <a:lnTo>
                    <a:pt x="337" y="73"/>
                  </a:lnTo>
                  <a:lnTo>
                    <a:pt x="338" y="77"/>
                  </a:lnTo>
                  <a:lnTo>
                    <a:pt x="340" y="79"/>
                  </a:lnTo>
                  <a:lnTo>
                    <a:pt x="342" y="77"/>
                  </a:lnTo>
                  <a:lnTo>
                    <a:pt x="344" y="76"/>
                  </a:lnTo>
                  <a:lnTo>
                    <a:pt x="346" y="72"/>
                  </a:lnTo>
                  <a:lnTo>
                    <a:pt x="346" y="71"/>
                  </a:lnTo>
                  <a:lnTo>
                    <a:pt x="347" y="70"/>
                  </a:lnTo>
                  <a:lnTo>
                    <a:pt x="351" y="70"/>
                  </a:lnTo>
                  <a:lnTo>
                    <a:pt x="354" y="70"/>
                  </a:lnTo>
                  <a:lnTo>
                    <a:pt x="358" y="68"/>
                  </a:lnTo>
                  <a:lnTo>
                    <a:pt x="354" y="74"/>
                  </a:lnTo>
                  <a:lnTo>
                    <a:pt x="348" y="74"/>
                  </a:lnTo>
                  <a:lnTo>
                    <a:pt x="344" y="78"/>
                  </a:lnTo>
                  <a:lnTo>
                    <a:pt x="344" y="80"/>
                  </a:lnTo>
                  <a:lnTo>
                    <a:pt x="343" y="83"/>
                  </a:lnTo>
                  <a:lnTo>
                    <a:pt x="347" y="84"/>
                  </a:lnTo>
                  <a:lnTo>
                    <a:pt x="346" y="86"/>
                  </a:lnTo>
                  <a:lnTo>
                    <a:pt x="344" y="92"/>
                  </a:lnTo>
                  <a:lnTo>
                    <a:pt x="346" y="90"/>
                  </a:lnTo>
                  <a:lnTo>
                    <a:pt x="348" y="94"/>
                  </a:lnTo>
                  <a:lnTo>
                    <a:pt x="348" y="97"/>
                  </a:lnTo>
                  <a:lnTo>
                    <a:pt x="353" y="108"/>
                  </a:lnTo>
                  <a:lnTo>
                    <a:pt x="361" y="127"/>
                  </a:lnTo>
                  <a:lnTo>
                    <a:pt x="364" y="127"/>
                  </a:lnTo>
                  <a:lnTo>
                    <a:pt x="367" y="125"/>
                  </a:lnTo>
                  <a:lnTo>
                    <a:pt x="366" y="121"/>
                  </a:lnTo>
                  <a:lnTo>
                    <a:pt x="367" y="120"/>
                  </a:lnTo>
                  <a:lnTo>
                    <a:pt x="367" y="118"/>
                  </a:lnTo>
                  <a:lnTo>
                    <a:pt x="370" y="119"/>
                  </a:lnTo>
                  <a:lnTo>
                    <a:pt x="372" y="120"/>
                  </a:lnTo>
                  <a:lnTo>
                    <a:pt x="373" y="121"/>
                  </a:lnTo>
                  <a:lnTo>
                    <a:pt x="373" y="120"/>
                  </a:lnTo>
                  <a:lnTo>
                    <a:pt x="372" y="115"/>
                  </a:lnTo>
                  <a:lnTo>
                    <a:pt x="375" y="115"/>
                  </a:lnTo>
                  <a:lnTo>
                    <a:pt x="377" y="117"/>
                  </a:lnTo>
                  <a:lnTo>
                    <a:pt x="378" y="117"/>
                  </a:lnTo>
                  <a:lnTo>
                    <a:pt x="381" y="114"/>
                  </a:lnTo>
                  <a:lnTo>
                    <a:pt x="382" y="112"/>
                  </a:lnTo>
                  <a:lnTo>
                    <a:pt x="383" y="112"/>
                  </a:lnTo>
                  <a:lnTo>
                    <a:pt x="387" y="114"/>
                  </a:lnTo>
                  <a:lnTo>
                    <a:pt x="389" y="115"/>
                  </a:lnTo>
                  <a:lnTo>
                    <a:pt x="387" y="117"/>
                  </a:lnTo>
                  <a:lnTo>
                    <a:pt x="387" y="118"/>
                  </a:lnTo>
                  <a:lnTo>
                    <a:pt x="390" y="118"/>
                  </a:lnTo>
                  <a:lnTo>
                    <a:pt x="390" y="120"/>
                  </a:lnTo>
                  <a:lnTo>
                    <a:pt x="393" y="123"/>
                  </a:lnTo>
                  <a:lnTo>
                    <a:pt x="393" y="124"/>
                  </a:lnTo>
                  <a:lnTo>
                    <a:pt x="394" y="125"/>
                  </a:lnTo>
                  <a:lnTo>
                    <a:pt x="395" y="126"/>
                  </a:lnTo>
                  <a:lnTo>
                    <a:pt x="387" y="124"/>
                  </a:lnTo>
                  <a:lnTo>
                    <a:pt x="379" y="123"/>
                  </a:lnTo>
                  <a:lnTo>
                    <a:pt x="378" y="124"/>
                  </a:lnTo>
                  <a:lnTo>
                    <a:pt x="378" y="126"/>
                  </a:lnTo>
                  <a:lnTo>
                    <a:pt x="378" y="127"/>
                  </a:lnTo>
                  <a:lnTo>
                    <a:pt x="379" y="131"/>
                  </a:lnTo>
                  <a:lnTo>
                    <a:pt x="379" y="135"/>
                  </a:lnTo>
                  <a:lnTo>
                    <a:pt x="383" y="132"/>
                  </a:lnTo>
                  <a:lnTo>
                    <a:pt x="383" y="133"/>
                  </a:lnTo>
                  <a:lnTo>
                    <a:pt x="387" y="133"/>
                  </a:lnTo>
                  <a:lnTo>
                    <a:pt x="385" y="135"/>
                  </a:lnTo>
                  <a:lnTo>
                    <a:pt x="388" y="135"/>
                  </a:lnTo>
                  <a:lnTo>
                    <a:pt x="391" y="133"/>
                  </a:lnTo>
                  <a:lnTo>
                    <a:pt x="391" y="135"/>
                  </a:lnTo>
                  <a:lnTo>
                    <a:pt x="394" y="135"/>
                  </a:lnTo>
                  <a:lnTo>
                    <a:pt x="395" y="137"/>
                  </a:lnTo>
                  <a:lnTo>
                    <a:pt x="400" y="137"/>
                  </a:lnTo>
                  <a:lnTo>
                    <a:pt x="395" y="138"/>
                  </a:lnTo>
                  <a:lnTo>
                    <a:pt x="394" y="139"/>
                  </a:lnTo>
                  <a:lnTo>
                    <a:pt x="394" y="141"/>
                  </a:lnTo>
                  <a:lnTo>
                    <a:pt x="393" y="143"/>
                  </a:lnTo>
                  <a:lnTo>
                    <a:pt x="394" y="148"/>
                  </a:lnTo>
                  <a:lnTo>
                    <a:pt x="394" y="151"/>
                  </a:lnTo>
                  <a:lnTo>
                    <a:pt x="393" y="153"/>
                  </a:lnTo>
                  <a:lnTo>
                    <a:pt x="391" y="151"/>
                  </a:lnTo>
                  <a:lnTo>
                    <a:pt x="390" y="148"/>
                  </a:lnTo>
                  <a:lnTo>
                    <a:pt x="389" y="147"/>
                  </a:lnTo>
                  <a:lnTo>
                    <a:pt x="387" y="147"/>
                  </a:lnTo>
                  <a:lnTo>
                    <a:pt x="381" y="148"/>
                  </a:lnTo>
                  <a:lnTo>
                    <a:pt x="378" y="145"/>
                  </a:lnTo>
                  <a:lnTo>
                    <a:pt x="376" y="144"/>
                  </a:lnTo>
                  <a:lnTo>
                    <a:pt x="369" y="147"/>
                  </a:lnTo>
                  <a:lnTo>
                    <a:pt x="371" y="155"/>
                  </a:lnTo>
                  <a:lnTo>
                    <a:pt x="372" y="156"/>
                  </a:lnTo>
                  <a:lnTo>
                    <a:pt x="373" y="156"/>
                  </a:lnTo>
                  <a:lnTo>
                    <a:pt x="375" y="154"/>
                  </a:lnTo>
                  <a:lnTo>
                    <a:pt x="376" y="153"/>
                  </a:lnTo>
                  <a:lnTo>
                    <a:pt x="379" y="151"/>
                  </a:lnTo>
                  <a:lnTo>
                    <a:pt x="383" y="154"/>
                  </a:lnTo>
                  <a:lnTo>
                    <a:pt x="383" y="156"/>
                  </a:lnTo>
                  <a:lnTo>
                    <a:pt x="385" y="155"/>
                  </a:lnTo>
                  <a:lnTo>
                    <a:pt x="389" y="154"/>
                  </a:lnTo>
                  <a:lnTo>
                    <a:pt x="390" y="156"/>
                  </a:lnTo>
                  <a:lnTo>
                    <a:pt x="393" y="157"/>
                  </a:lnTo>
                  <a:lnTo>
                    <a:pt x="396" y="157"/>
                  </a:lnTo>
                  <a:lnTo>
                    <a:pt x="399" y="160"/>
                  </a:lnTo>
                  <a:lnTo>
                    <a:pt x="397" y="162"/>
                  </a:lnTo>
                  <a:lnTo>
                    <a:pt x="400" y="162"/>
                  </a:lnTo>
                  <a:lnTo>
                    <a:pt x="403" y="160"/>
                  </a:lnTo>
                  <a:lnTo>
                    <a:pt x="405" y="157"/>
                  </a:lnTo>
                  <a:lnTo>
                    <a:pt x="406" y="160"/>
                  </a:lnTo>
                  <a:lnTo>
                    <a:pt x="407" y="159"/>
                  </a:lnTo>
                  <a:lnTo>
                    <a:pt x="408" y="160"/>
                  </a:lnTo>
                  <a:lnTo>
                    <a:pt x="410" y="161"/>
                  </a:lnTo>
                  <a:lnTo>
                    <a:pt x="413" y="161"/>
                  </a:lnTo>
                  <a:lnTo>
                    <a:pt x="413" y="160"/>
                  </a:lnTo>
                  <a:lnTo>
                    <a:pt x="414" y="160"/>
                  </a:lnTo>
                  <a:lnTo>
                    <a:pt x="414" y="159"/>
                  </a:lnTo>
                  <a:lnTo>
                    <a:pt x="414" y="156"/>
                  </a:lnTo>
                  <a:lnTo>
                    <a:pt x="416" y="155"/>
                  </a:lnTo>
                  <a:lnTo>
                    <a:pt x="420" y="151"/>
                  </a:lnTo>
                  <a:lnTo>
                    <a:pt x="422" y="150"/>
                  </a:lnTo>
                  <a:lnTo>
                    <a:pt x="423" y="148"/>
                  </a:lnTo>
                  <a:lnTo>
                    <a:pt x="425" y="145"/>
                  </a:lnTo>
                  <a:lnTo>
                    <a:pt x="428" y="143"/>
                  </a:lnTo>
                  <a:lnTo>
                    <a:pt x="424" y="139"/>
                  </a:lnTo>
                  <a:lnTo>
                    <a:pt x="420" y="130"/>
                  </a:lnTo>
                  <a:lnTo>
                    <a:pt x="422" y="131"/>
                  </a:lnTo>
                  <a:lnTo>
                    <a:pt x="423" y="135"/>
                  </a:lnTo>
                  <a:lnTo>
                    <a:pt x="424" y="132"/>
                  </a:lnTo>
                  <a:lnTo>
                    <a:pt x="426" y="131"/>
                  </a:lnTo>
                  <a:lnTo>
                    <a:pt x="428" y="130"/>
                  </a:lnTo>
                  <a:lnTo>
                    <a:pt x="429" y="130"/>
                  </a:lnTo>
                  <a:lnTo>
                    <a:pt x="429" y="132"/>
                  </a:lnTo>
                  <a:lnTo>
                    <a:pt x="428" y="133"/>
                  </a:lnTo>
                  <a:lnTo>
                    <a:pt x="424" y="137"/>
                  </a:lnTo>
                  <a:lnTo>
                    <a:pt x="425" y="139"/>
                  </a:lnTo>
                  <a:lnTo>
                    <a:pt x="426" y="137"/>
                  </a:lnTo>
                  <a:lnTo>
                    <a:pt x="429" y="136"/>
                  </a:lnTo>
                  <a:lnTo>
                    <a:pt x="431" y="136"/>
                  </a:lnTo>
                  <a:lnTo>
                    <a:pt x="431" y="139"/>
                  </a:lnTo>
                  <a:lnTo>
                    <a:pt x="428" y="141"/>
                  </a:lnTo>
                  <a:lnTo>
                    <a:pt x="430" y="144"/>
                  </a:lnTo>
                  <a:lnTo>
                    <a:pt x="434" y="145"/>
                  </a:lnTo>
                  <a:lnTo>
                    <a:pt x="438" y="145"/>
                  </a:lnTo>
                  <a:lnTo>
                    <a:pt x="435" y="142"/>
                  </a:lnTo>
                  <a:lnTo>
                    <a:pt x="436" y="141"/>
                  </a:lnTo>
                  <a:lnTo>
                    <a:pt x="440" y="141"/>
                  </a:lnTo>
                  <a:lnTo>
                    <a:pt x="440" y="144"/>
                  </a:lnTo>
                  <a:lnTo>
                    <a:pt x="442" y="147"/>
                  </a:lnTo>
                  <a:lnTo>
                    <a:pt x="444" y="144"/>
                  </a:lnTo>
                  <a:lnTo>
                    <a:pt x="444" y="141"/>
                  </a:lnTo>
                  <a:lnTo>
                    <a:pt x="442" y="139"/>
                  </a:lnTo>
                  <a:lnTo>
                    <a:pt x="441" y="136"/>
                  </a:lnTo>
                  <a:lnTo>
                    <a:pt x="443" y="138"/>
                  </a:lnTo>
                  <a:lnTo>
                    <a:pt x="442" y="136"/>
                  </a:lnTo>
                  <a:lnTo>
                    <a:pt x="441" y="135"/>
                  </a:lnTo>
                  <a:lnTo>
                    <a:pt x="442" y="135"/>
                  </a:lnTo>
                  <a:lnTo>
                    <a:pt x="444" y="132"/>
                  </a:lnTo>
                  <a:lnTo>
                    <a:pt x="446" y="130"/>
                  </a:lnTo>
                  <a:lnTo>
                    <a:pt x="447" y="129"/>
                  </a:lnTo>
                  <a:lnTo>
                    <a:pt x="447" y="126"/>
                  </a:lnTo>
                  <a:lnTo>
                    <a:pt x="449" y="126"/>
                  </a:lnTo>
                  <a:lnTo>
                    <a:pt x="452" y="125"/>
                  </a:lnTo>
                  <a:lnTo>
                    <a:pt x="452" y="130"/>
                  </a:lnTo>
                  <a:lnTo>
                    <a:pt x="452" y="131"/>
                  </a:lnTo>
                  <a:lnTo>
                    <a:pt x="454" y="131"/>
                  </a:lnTo>
                  <a:lnTo>
                    <a:pt x="456" y="130"/>
                  </a:lnTo>
                  <a:lnTo>
                    <a:pt x="454" y="126"/>
                  </a:lnTo>
                  <a:lnTo>
                    <a:pt x="456" y="125"/>
                  </a:lnTo>
                  <a:lnTo>
                    <a:pt x="456" y="124"/>
                  </a:lnTo>
                  <a:lnTo>
                    <a:pt x="456" y="123"/>
                  </a:lnTo>
                  <a:lnTo>
                    <a:pt x="456" y="124"/>
                  </a:lnTo>
                  <a:lnTo>
                    <a:pt x="458" y="133"/>
                  </a:lnTo>
                  <a:lnTo>
                    <a:pt x="460" y="132"/>
                  </a:lnTo>
                  <a:lnTo>
                    <a:pt x="462" y="136"/>
                  </a:lnTo>
                  <a:lnTo>
                    <a:pt x="465" y="133"/>
                  </a:lnTo>
                  <a:lnTo>
                    <a:pt x="462" y="131"/>
                  </a:lnTo>
                  <a:lnTo>
                    <a:pt x="461" y="130"/>
                  </a:lnTo>
                  <a:lnTo>
                    <a:pt x="461" y="129"/>
                  </a:lnTo>
                  <a:lnTo>
                    <a:pt x="462" y="126"/>
                  </a:lnTo>
                  <a:lnTo>
                    <a:pt x="462" y="124"/>
                  </a:lnTo>
                  <a:lnTo>
                    <a:pt x="464" y="121"/>
                  </a:lnTo>
                  <a:lnTo>
                    <a:pt x="462" y="119"/>
                  </a:lnTo>
                  <a:lnTo>
                    <a:pt x="465" y="118"/>
                  </a:lnTo>
                  <a:lnTo>
                    <a:pt x="465" y="117"/>
                  </a:lnTo>
                  <a:lnTo>
                    <a:pt x="466" y="115"/>
                  </a:lnTo>
                  <a:lnTo>
                    <a:pt x="470" y="113"/>
                  </a:lnTo>
                  <a:lnTo>
                    <a:pt x="471" y="117"/>
                  </a:lnTo>
                  <a:lnTo>
                    <a:pt x="472" y="120"/>
                  </a:lnTo>
                  <a:lnTo>
                    <a:pt x="473" y="121"/>
                  </a:lnTo>
                  <a:lnTo>
                    <a:pt x="473" y="124"/>
                  </a:lnTo>
                  <a:lnTo>
                    <a:pt x="472" y="124"/>
                  </a:lnTo>
                  <a:lnTo>
                    <a:pt x="472" y="126"/>
                  </a:lnTo>
                  <a:lnTo>
                    <a:pt x="473" y="132"/>
                  </a:lnTo>
                  <a:lnTo>
                    <a:pt x="475" y="133"/>
                  </a:lnTo>
                  <a:lnTo>
                    <a:pt x="472" y="135"/>
                  </a:lnTo>
                  <a:lnTo>
                    <a:pt x="469" y="133"/>
                  </a:lnTo>
                  <a:lnTo>
                    <a:pt x="469" y="136"/>
                  </a:lnTo>
                  <a:lnTo>
                    <a:pt x="472" y="137"/>
                  </a:lnTo>
                  <a:lnTo>
                    <a:pt x="473" y="138"/>
                  </a:lnTo>
                  <a:lnTo>
                    <a:pt x="475" y="139"/>
                  </a:lnTo>
                  <a:lnTo>
                    <a:pt x="476" y="142"/>
                  </a:lnTo>
                  <a:lnTo>
                    <a:pt x="476" y="143"/>
                  </a:lnTo>
                  <a:lnTo>
                    <a:pt x="477" y="143"/>
                  </a:lnTo>
                  <a:lnTo>
                    <a:pt x="481" y="142"/>
                  </a:lnTo>
                  <a:lnTo>
                    <a:pt x="482" y="142"/>
                  </a:lnTo>
                  <a:lnTo>
                    <a:pt x="483" y="143"/>
                  </a:lnTo>
                  <a:lnTo>
                    <a:pt x="483" y="147"/>
                  </a:lnTo>
                  <a:lnTo>
                    <a:pt x="485" y="147"/>
                  </a:lnTo>
                  <a:lnTo>
                    <a:pt x="488" y="149"/>
                  </a:lnTo>
                  <a:lnTo>
                    <a:pt x="490" y="150"/>
                  </a:lnTo>
                  <a:lnTo>
                    <a:pt x="489" y="154"/>
                  </a:lnTo>
                  <a:lnTo>
                    <a:pt x="491" y="156"/>
                  </a:lnTo>
                  <a:lnTo>
                    <a:pt x="494" y="156"/>
                  </a:lnTo>
                  <a:lnTo>
                    <a:pt x="496" y="157"/>
                  </a:lnTo>
                  <a:lnTo>
                    <a:pt x="497" y="154"/>
                  </a:lnTo>
                  <a:lnTo>
                    <a:pt x="499" y="150"/>
                  </a:lnTo>
                  <a:lnTo>
                    <a:pt x="499" y="145"/>
                  </a:lnTo>
                  <a:lnTo>
                    <a:pt x="499" y="142"/>
                  </a:lnTo>
                  <a:lnTo>
                    <a:pt x="499" y="141"/>
                  </a:lnTo>
                  <a:lnTo>
                    <a:pt x="500" y="141"/>
                  </a:lnTo>
                  <a:lnTo>
                    <a:pt x="500" y="139"/>
                  </a:lnTo>
                  <a:lnTo>
                    <a:pt x="499" y="139"/>
                  </a:lnTo>
                  <a:lnTo>
                    <a:pt x="497" y="133"/>
                  </a:lnTo>
                  <a:lnTo>
                    <a:pt x="500" y="131"/>
                  </a:lnTo>
                  <a:lnTo>
                    <a:pt x="501" y="132"/>
                  </a:lnTo>
                  <a:lnTo>
                    <a:pt x="502" y="133"/>
                  </a:lnTo>
                  <a:lnTo>
                    <a:pt x="503" y="135"/>
                  </a:lnTo>
                  <a:lnTo>
                    <a:pt x="501" y="139"/>
                  </a:lnTo>
                  <a:lnTo>
                    <a:pt x="501" y="141"/>
                  </a:lnTo>
                  <a:lnTo>
                    <a:pt x="503" y="139"/>
                  </a:lnTo>
                  <a:lnTo>
                    <a:pt x="502" y="143"/>
                  </a:lnTo>
                  <a:lnTo>
                    <a:pt x="500" y="148"/>
                  </a:lnTo>
                  <a:lnTo>
                    <a:pt x="499" y="156"/>
                  </a:lnTo>
                  <a:lnTo>
                    <a:pt x="499" y="159"/>
                  </a:lnTo>
                  <a:lnTo>
                    <a:pt x="501" y="156"/>
                  </a:lnTo>
                  <a:lnTo>
                    <a:pt x="505" y="154"/>
                  </a:lnTo>
                  <a:lnTo>
                    <a:pt x="506" y="156"/>
                  </a:lnTo>
                  <a:lnTo>
                    <a:pt x="506" y="159"/>
                  </a:lnTo>
                  <a:lnTo>
                    <a:pt x="508" y="156"/>
                  </a:lnTo>
                  <a:lnTo>
                    <a:pt x="511" y="155"/>
                  </a:lnTo>
                  <a:lnTo>
                    <a:pt x="512" y="153"/>
                  </a:lnTo>
                  <a:lnTo>
                    <a:pt x="514" y="151"/>
                  </a:lnTo>
                  <a:lnTo>
                    <a:pt x="515" y="153"/>
                  </a:lnTo>
                  <a:lnTo>
                    <a:pt x="517" y="154"/>
                  </a:lnTo>
                  <a:lnTo>
                    <a:pt x="520" y="153"/>
                  </a:lnTo>
                  <a:lnTo>
                    <a:pt x="523" y="154"/>
                  </a:lnTo>
                  <a:lnTo>
                    <a:pt x="526" y="154"/>
                  </a:lnTo>
                  <a:lnTo>
                    <a:pt x="519" y="156"/>
                  </a:lnTo>
                  <a:lnTo>
                    <a:pt x="513" y="156"/>
                  </a:lnTo>
                  <a:lnTo>
                    <a:pt x="508" y="161"/>
                  </a:lnTo>
                  <a:lnTo>
                    <a:pt x="503" y="165"/>
                  </a:lnTo>
                  <a:lnTo>
                    <a:pt x="499" y="167"/>
                  </a:lnTo>
                  <a:lnTo>
                    <a:pt x="495" y="172"/>
                  </a:lnTo>
                  <a:lnTo>
                    <a:pt x="495" y="174"/>
                  </a:lnTo>
                  <a:lnTo>
                    <a:pt x="497" y="172"/>
                  </a:lnTo>
                  <a:lnTo>
                    <a:pt x="499" y="169"/>
                  </a:lnTo>
                  <a:lnTo>
                    <a:pt x="501" y="168"/>
                  </a:lnTo>
                  <a:lnTo>
                    <a:pt x="507" y="166"/>
                  </a:lnTo>
                  <a:lnTo>
                    <a:pt x="502" y="173"/>
                  </a:lnTo>
                  <a:lnTo>
                    <a:pt x="500" y="175"/>
                  </a:lnTo>
                  <a:lnTo>
                    <a:pt x="505" y="178"/>
                  </a:lnTo>
                  <a:lnTo>
                    <a:pt x="508" y="180"/>
                  </a:lnTo>
                  <a:lnTo>
                    <a:pt x="511" y="179"/>
                  </a:lnTo>
                  <a:lnTo>
                    <a:pt x="514" y="178"/>
                  </a:lnTo>
                  <a:lnTo>
                    <a:pt x="517" y="178"/>
                  </a:lnTo>
                  <a:lnTo>
                    <a:pt x="519" y="179"/>
                  </a:lnTo>
                  <a:lnTo>
                    <a:pt x="519" y="180"/>
                  </a:lnTo>
                  <a:lnTo>
                    <a:pt x="520" y="183"/>
                  </a:lnTo>
                  <a:lnTo>
                    <a:pt x="521" y="184"/>
                  </a:lnTo>
                  <a:lnTo>
                    <a:pt x="521" y="187"/>
                  </a:lnTo>
                  <a:lnTo>
                    <a:pt x="523" y="190"/>
                  </a:lnTo>
                  <a:lnTo>
                    <a:pt x="521" y="192"/>
                  </a:lnTo>
                  <a:lnTo>
                    <a:pt x="521" y="195"/>
                  </a:lnTo>
                  <a:lnTo>
                    <a:pt x="524" y="197"/>
                  </a:lnTo>
                  <a:lnTo>
                    <a:pt x="525" y="193"/>
                  </a:lnTo>
                  <a:lnTo>
                    <a:pt x="526" y="191"/>
                  </a:lnTo>
                  <a:lnTo>
                    <a:pt x="530" y="187"/>
                  </a:lnTo>
                  <a:lnTo>
                    <a:pt x="530" y="186"/>
                  </a:lnTo>
                  <a:lnTo>
                    <a:pt x="531" y="192"/>
                  </a:lnTo>
                  <a:lnTo>
                    <a:pt x="531" y="196"/>
                  </a:lnTo>
                  <a:lnTo>
                    <a:pt x="534" y="192"/>
                  </a:lnTo>
                  <a:lnTo>
                    <a:pt x="535" y="197"/>
                  </a:lnTo>
                  <a:lnTo>
                    <a:pt x="535" y="199"/>
                  </a:lnTo>
                  <a:lnTo>
                    <a:pt x="537" y="198"/>
                  </a:lnTo>
                  <a:lnTo>
                    <a:pt x="540" y="197"/>
                  </a:lnTo>
                  <a:lnTo>
                    <a:pt x="540" y="201"/>
                  </a:lnTo>
                  <a:lnTo>
                    <a:pt x="542" y="198"/>
                  </a:lnTo>
                  <a:lnTo>
                    <a:pt x="543" y="199"/>
                  </a:lnTo>
                  <a:lnTo>
                    <a:pt x="544" y="198"/>
                  </a:lnTo>
                  <a:lnTo>
                    <a:pt x="548" y="202"/>
                  </a:lnTo>
                  <a:lnTo>
                    <a:pt x="542" y="202"/>
                  </a:lnTo>
                  <a:lnTo>
                    <a:pt x="536" y="202"/>
                  </a:lnTo>
                  <a:lnTo>
                    <a:pt x="534" y="202"/>
                  </a:lnTo>
                  <a:lnTo>
                    <a:pt x="535" y="205"/>
                  </a:lnTo>
                  <a:lnTo>
                    <a:pt x="536" y="205"/>
                  </a:lnTo>
                  <a:lnTo>
                    <a:pt x="538" y="205"/>
                  </a:lnTo>
                  <a:lnTo>
                    <a:pt x="540" y="207"/>
                  </a:lnTo>
                  <a:lnTo>
                    <a:pt x="542" y="205"/>
                  </a:lnTo>
                  <a:lnTo>
                    <a:pt x="544" y="205"/>
                  </a:lnTo>
                  <a:lnTo>
                    <a:pt x="548" y="207"/>
                  </a:lnTo>
                  <a:lnTo>
                    <a:pt x="552" y="208"/>
                  </a:lnTo>
                  <a:lnTo>
                    <a:pt x="554" y="208"/>
                  </a:lnTo>
                  <a:lnTo>
                    <a:pt x="556" y="210"/>
                  </a:lnTo>
                  <a:lnTo>
                    <a:pt x="558" y="205"/>
                  </a:lnTo>
                  <a:lnTo>
                    <a:pt x="559" y="204"/>
                  </a:lnTo>
                  <a:lnTo>
                    <a:pt x="560" y="202"/>
                  </a:lnTo>
                  <a:lnTo>
                    <a:pt x="562" y="198"/>
                  </a:lnTo>
                  <a:lnTo>
                    <a:pt x="564" y="198"/>
                  </a:lnTo>
                  <a:lnTo>
                    <a:pt x="561" y="202"/>
                  </a:lnTo>
                  <a:lnTo>
                    <a:pt x="562" y="203"/>
                  </a:lnTo>
                  <a:lnTo>
                    <a:pt x="564" y="202"/>
                  </a:lnTo>
                  <a:lnTo>
                    <a:pt x="567" y="202"/>
                  </a:lnTo>
                  <a:lnTo>
                    <a:pt x="566" y="201"/>
                  </a:lnTo>
                  <a:lnTo>
                    <a:pt x="565" y="198"/>
                  </a:lnTo>
                  <a:lnTo>
                    <a:pt x="565" y="196"/>
                  </a:lnTo>
                  <a:lnTo>
                    <a:pt x="565" y="195"/>
                  </a:lnTo>
                  <a:lnTo>
                    <a:pt x="564" y="193"/>
                  </a:lnTo>
                  <a:lnTo>
                    <a:pt x="559" y="195"/>
                  </a:lnTo>
                  <a:lnTo>
                    <a:pt x="554" y="196"/>
                  </a:lnTo>
                  <a:lnTo>
                    <a:pt x="555" y="192"/>
                  </a:lnTo>
                  <a:lnTo>
                    <a:pt x="556" y="190"/>
                  </a:lnTo>
                  <a:lnTo>
                    <a:pt x="559" y="189"/>
                  </a:lnTo>
                  <a:lnTo>
                    <a:pt x="562" y="189"/>
                  </a:lnTo>
                  <a:lnTo>
                    <a:pt x="565" y="190"/>
                  </a:lnTo>
                  <a:lnTo>
                    <a:pt x="566" y="192"/>
                  </a:lnTo>
                  <a:lnTo>
                    <a:pt x="567" y="192"/>
                  </a:lnTo>
                  <a:lnTo>
                    <a:pt x="568" y="191"/>
                  </a:lnTo>
                  <a:lnTo>
                    <a:pt x="572" y="190"/>
                  </a:lnTo>
                  <a:lnTo>
                    <a:pt x="574" y="190"/>
                  </a:lnTo>
                  <a:lnTo>
                    <a:pt x="576" y="187"/>
                  </a:lnTo>
                  <a:lnTo>
                    <a:pt x="577" y="185"/>
                  </a:lnTo>
                  <a:lnTo>
                    <a:pt x="579" y="184"/>
                  </a:lnTo>
                  <a:lnTo>
                    <a:pt x="580" y="183"/>
                  </a:lnTo>
                  <a:lnTo>
                    <a:pt x="583" y="184"/>
                  </a:lnTo>
                  <a:lnTo>
                    <a:pt x="583" y="181"/>
                  </a:lnTo>
                  <a:lnTo>
                    <a:pt x="580" y="181"/>
                  </a:lnTo>
                  <a:lnTo>
                    <a:pt x="577" y="184"/>
                  </a:lnTo>
                  <a:lnTo>
                    <a:pt x="577" y="180"/>
                  </a:lnTo>
                  <a:lnTo>
                    <a:pt x="578" y="178"/>
                  </a:lnTo>
                  <a:lnTo>
                    <a:pt x="576" y="181"/>
                  </a:lnTo>
                  <a:lnTo>
                    <a:pt x="573" y="185"/>
                  </a:lnTo>
                  <a:lnTo>
                    <a:pt x="571" y="187"/>
                  </a:lnTo>
                  <a:lnTo>
                    <a:pt x="570" y="186"/>
                  </a:lnTo>
                  <a:lnTo>
                    <a:pt x="568" y="183"/>
                  </a:lnTo>
                  <a:lnTo>
                    <a:pt x="570" y="179"/>
                  </a:lnTo>
                  <a:lnTo>
                    <a:pt x="574" y="177"/>
                  </a:lnTo>
                  <a:lnTo>
                    <a:pt x="574" y="174"/>
                  </a:lnTo>
                  <a:lnTo>
                    <a:pt x="576" y="173"/>
                  </a:lnTo>
                  <a:lnTo>
                    <a:pt x="578" y="169"/>
                  </a:lnTo>
                  <a:lnTo>
                    <a:pt x="576" y="167"/>
                  </a:lnTo>
                  <a:lnTo>
                    <a:pt x="568" y="161"/>
                  </a:lnTo>
                  <a:lnTo>
                    <a:pt x="561" y="153"/>
                  </a:lnTo>
                  <a:lnTo>
                    <a:pt x="552" y="130"/>
                  </a:lnTo>
                  <a:lnTo>
                    <a:pt x="550" y="132"/>
                  </a:lnTo>
                  <a:lnTo>
                    <a:pt x="552" y="138"/>
                  </a:lnTo>
                  <a:lnTo>
                    <a:pt x="553" y="145"/>
                  </a:lnTo>
                  <a:lnTo>
                    <a:pt x="552" y="143"/>
                  </a:lnTo>
                  <a:lnTo>
                    <a:pt x="550" y="139"/>
                  </a:lnTo>
                  <a:lnTo>
                    <a:pt x="549" y="144"/>
                  </a:lnTo>
                  <a:lnTo>
                    <a:pt x="550" y="143"/>
                  </a:lnTo>
                  <a:lnTo>
                    <a:pt x="552" y="145"/>
                  </a:lnTo>
                  <a:lnTo>
                    <a:pt x="550" y="149"/>
                  </a:lnTo>
                  <a:lnTo>
                    <a:pt x="549" y="154"/>
                  </a:lnTo>
                  <a:lnTo>
                    <a:pt x="549" y="156"/>
                  </a:lnTo>
                  <a:lnTo>
                    <a:pt x="548" y="151"/>
                  </a:lnTo>
                  <a:lnTo>
                    <a:pt x="546" y="148"/>
                  </a:lnTo>
                  <a:lnTo>
                    <a:pt x="543" y="147"/>
                  </a:lnTo>
                  <a:lnTo>
                    <a:pt x="543" y="149"/>
                  </a:lnTo>
                  <a:lnTo>
                    <a:pt x="542" y="147"/>
                  </a:lnTo>
                  <a:lnTo>
                    <a:pt x="542" y="144"/>
                  </a:lnTo>
                  <a:lnTo>
                    <a:pt x="541" y="141"/>
                  </a:lnTo>
                  <a:lnTo>
                    <a:pt x="540" y="141"/>
                  </a:lnTo>
                  <a:lnTo>
                    <a:pt x="537" y="143"/>
                  </a:lnTo>
                  <a:lnTo>
                    <a:pt x="534" y="144"/>
                  </a:lnTo>
                  <a:lnTo>
                    <a:pt x="531" y="147"/>
                  </a:lnTo>
                  <a:lnTo>
                    <a:pt x="530" y="148"/>
                  </a:lnTo>
                  <a:lnTo>
                    <a:pt x="531" y="143"/>
                  </a:lnTo>
                  <a:lnTo>
                    <a:pt x="532" y="138"/>
                  </a:lnTo>
                  <a:lnTo>
                    <a:pt x="531" y="137"/>
                  </a:lnTo>
                  <a:lnTo>
                    <a:pt x="529" y="139"/>
                  </a:lnTo>
                  <a:lnTo>
                    <a:pt x="526" y="142"/>
                  </a:lnTo>
                  <a:lnTo>
                    <a:pt x="525" y="144"/>
                  </a:lnTo>
                  <a:lnTo>
                    <a:pt x="525" y="138"/>
                  </a:lnTo>
                  <a:lnTo>
                    <a:pt x="524" y="137"/>
                  </a:lnTo>
                  <a:lnTo>
                    <a:pt x="525" y="136"/>
                  </a:lnTo>
                  <a:lnTo>
                    <a:pt x="526" y="132"/>
                  </a:lnTo>
                  <a:lnTo>
                    <a:pt x="525" y="131"/>
                  </a:lnTo>
                  <a:lnTo>
                    <a:pt x="526" y="131"/>
                  </a:lnTo>
                  <a:lnTo>
                    <a:pt x="526" y="130"/>
                  </a:lnTo>
                  <a:lnTo>
                    <a:pt x="528" y="127"/>
                  </a:lnTo>
                  <a:lnTo>
                    <a:pt x="532" y="127"/>
                  </a:lnTo>
                  <a:lnTo>
                    <a:pt x="534" y="125"/>
                  </a:lnTo>
                  <a:lnTo>
                    <a:pt x="532" y="126"/>
                  </a:lnTo>
                  <a:lnTo>
                    <a:pt x="534" y="125"/>
                  </a:lnTo>
                  <a:lnTo>
                    <a:pt x="536" y="120"/>
                  </a:lnTo>
                  <a:lnTo>
                    <a:pt x="537" y="119"/>
                  </a:lnTo>
                  <a:lnTo>
                    <a:pt x="535" y="120"/>
                  </a:lnTo>
                  <a:lnTo>
                    <a:pt x="531" y="123"/>
                  </a:lnTo>
                  <a:lnTo>
                    <a:pt x="532" y="119"/>
                  </a:lnTo>
                  <a:lnTo>
                    <a:pt x="530" y="119"/>
                  </a:lnTo>
                  <a:lnTo>
                    <a:pt x="528" y="118"/>
                  </a:lnTo>
                  <a:lnTo>
                    <a:pt x="525" y="119"/>
                  </a:lnTo>
                  <a:lnTo>
                    <a:pt x="524" y="119"/>
                  </a:lnTo>
                  <a:lnTo>
                    <a:pt x="520" y="118"/>
                  </a:lnTo>
                  <a:lnTo>
                    <a:pt x="521" y="117"/>
                  </a:lnTo>
                  <a:lnTo>
                    <a:pt x="520" y="115"/>
                  </a:lnTo>
                  <a:lnTo>
                    <a:pt x="515" y="114"/>
                  </a:lnTo>
                  <a:lnTo>
                    <a:pt x="515" y="111"/>
                  </a:lnTo>
                  <a:lnTo>
                    <a:pt x="518" y="112"/>
                  </a:lnTo>
                  <a:lnTo>
                    <a:pt x="520" y="109"/>
                  </a:lnTo>
                  <a:lnTo>
                    <a:pt x="519" y="107"/>
                  </a:lnTo>
                  <a:lnTo>
                    <a:pt x="523" y="105"/>
                  </a:lnTo>
                  <a:lnTo>
                    <a:pt x="525" y="106"/>
                  </a:lnTo>
                  <a:lnTo>
                    <a:pt x="528" y="106"/>
                  </a:lnTo>
                  <a:lnTo>
                    <a:pt x="526" y="103"/>
                  </a:lnTo>
                  <a:lnTo>
                    <a:pt x="525" y="101"/>
                  </a:lnTo>
                  <a:lnTo>
                    <a:pt x="524" y="100"/>
                  </a:lnTo>
                  <a:lnTo>
                    <a:pt x="524" y="103"/>
                  </a:lnTo>
                  <a:lnTo>
                    <a:pt x="521" y="100"/>
                  </a:lnTo>
                  <a:lnTo>
                    <a:pt x="520" y="96"/>
                  </a:lnTo>
                  <a:lnTo>
                    <a:pt x="519" y="94"/>
                  </a:lnTo>
                  <a:lnTo>
                    <a:pt x="517" y="95"/>
                  </a:lnTo>
                  <a:lnTo>
                    <a:pt x="515" y="95"/>
                  </a:lnTo>
                  <a:lnTo>
                    <a:pt x="515" y="89"/>
                  </a:lnTo>
                  <a:lnTo>
                    <a:pt x="517" y="85"/>
                  </a:lnTo>
                  <a:lnTo>
                    <a:pt x="517" y="83"/>
                  </a:lnTo>
                  <a:lnTo>
                    <a:pt x="517" y="80"/>
                  </a:lnTo>
                  <a:lnTo>
                    <a:pt x="517" y="78"/>
                  </a:lnTo>
                  <a:lnTo>
                    <a:pt x="514" y="83"/>
                  </a:lnTo>
                  <a:lnTo>
                    <a:pt x="514" y="85"/>
                  </a:lnTo>
                  <a:lnTo>
                    <a:pt x="512" y="90"/>
                  </a:lnTo>
                  <a:lnTo>
                    <a:pt x="511" y="88"/>
                  </a:lnTo>
                  <a:lnTo>
                    <a:pt x="509" y="84"/>
                  </a:lnTo>
                  <a:lnTo>
                    <a:pt x="509" y="80"/>
                  </a:lnTo>
                  <a:lnTo>
                    <a:pt x="508" y="79"/>
                  </a:lnTo>
                  <a:lnTo>
                    <a:pt x="507" y="79"/>
                  </a:lnTo>
                  <a:lnTo>
                    <a:pt x="507" y="84"/>
                  </a:lnTo>
                  <a:lnTo>
                    <a:pt x="506" y="88"/>
                  </a:lnTo>
                  <a:lnTo>
                    <a:pt x="503" y="89"/>
                  </a:lnTo>
                  <a:lnTo>
                    <a:pt x="503" y="91"/>
                  </a:lnTo>
                  <a:lnTo>
                    <a:pt x="502" y="92"/>
                  </a:lnTo>
                  <a:lnTo>
                    <a:pt x="501" y="95"/>
                  </a:lnTo>
                  <a:lnTo>
                    <a:pt x="500" y="94"/>
                  </a:lnTo>
                  <a:lnTo>
                    <a:pt x="500" y="96"/>
                  </a:lnTo>
                  <a:lnTo>
                    <a:pt x="499" y="97"/>
                  </a:lnTo>
                  <a:lnTo>
                    <a:pt x="497" y="95"/>
                  </a:lnTo>
                  <a:lnTo>
                    <a:pt x="497" y="90"/>
                  </a:lnTo>
                  <a:lnTo>
                    <a:pt x="496" y="89"/>
                  </a:lnTo>
                  <a:lnTo>
                    <a:pt x="496" y="88"/>
                  </a:lnTo>
                  <a:lnTo>
                    <a:pt x="496" y="89"/>
                  </a:lnTo>
                  <a:lnTo>
                    <a:pt x="494" y="90"/>
                  </a:lnTo>
                  <a:lnTo>
                    <a:pt x="493" y="90"/>
                  </a:lnTo>
                  <a:lnTo>
                    <a:pt x="489" y="92"/>
                  </a:lnTo>
                  <a:lnTo>
                    <a:pt x="488" y="95"/>
                  </a:lnTo>
                  <a:lnTo>
                    <a:pt x="487" y="96"/>
                  </a:lnTo>
                  <a:lnTo>
                    <a:pt x="487" y="91"/>
                  </a:lnTo>
                  <a:lnTo>
                    <a:pt x="488" y="85"/>
                  </a:lnTo>
                  <a:lnTo>
                    <a:pt x="489" y="83"/>
                  </a:lnTo>
                  <a:lnTo>
                    <a:pt x="489" y="82"/>
                  </a:lnTo>
                  <a:lnTo>
                    <a:pt x="488" y="82"/>
                  </a:lnTo>
                  <a:lnTo>
                    <a:pt x="487" y="82"/>
                  </a:lnTo>
                  <a:lnTo>
                    <a:pt x="487" y="79"/>
                  </a:lnTo>
                  <a:lnTo>
                    <a:pt x="488" y="74"/>
                  </a:lnTo>
                  <a:lnTo>
                    <a:pt x="489" y="72"/>
                  </a:lnTo>
                  <a:lnTo>
                    <a:pt x="491" y="70"/>
                  </a:lnTo>
                  <a:lnTo>
                    <a:pt x="493" y="66"/>
                  </a:lnTo>
                  <a:lnTo>
                    <a:pt x="494" y="64"/>
                  </a:lnTo>
                  <a:lnTo>
                    <a:pt x="494" y="61"/>
                  </a:lnTo>
                  <a:lnTo>
                    <a:pt x="491" y="65"/>
                  </a:lnTo>
                  <a:lnTo>
                    <a:pt x="490" y="66"/>
                  </a:lnTo>
                  <a:lnTo>
                    <a:pt x="490" y="62"/>
                  </a:lnTo>
                  <a:lnTo>
                    <a:pt x="487" y="66"/>
                  </a:lnTo>
                  <a:lnTo>
                    <a:pt x="484" y="66"/>
                  </a:lnTo>
                  <a:lnTo>
                    <a:pt x="483" y="64"/>
                  </a:lnTo>
                  <a:lnTo>
                    <a:pt x="477" y="66"/>
                  </a:lnTo>
                  <a:lnTo>
                    <a:pt x="475" y="67"/>
                  </a:lnTo>
                  <a:lnTo>
                    <a:pt x="470" y="77"/>
                  </a:lnTo>
                  <a:lnTo>
                    <a:pt x="466" y="79"/>
                  </a:lnTo>
                  <a:lnTo>
                    <a:pt x="465" y="82"/>
                  </a:lnTo>
                  <a:lnTo>
                    <a:pt x="462" y="79"/>
                  </a:lnTo>
                  <a:lnTo>
                    <a:pt x="464" y="73"/>
                  </a:lnTo>
                  <a:lnTo>
                    <a:pt x="466" y="67"/>
                  </a:lnTo>
                  <a:lnTo>
                    <a:pt x="465" y="65"/>
                  </a:lnTo>
                  <a:lnTo>
                    <a:pt x="467" y="61"/>
                  </a:lnTo>
                  <a:lnTo>
                    <a:pt x="470" y="60"/>
                  </a:lnTo>
                  <a:lnTo>
                    <a:pt x="473" y="61"/>
                  </a:lnTo>
                  <a:lnTo>
                    <a:pt x="478" y="61"/>
                  </a:lnTo>
                  <a:lnTo>
                    <a:pt x="483" y="58"/>
                  </a:lnTo>
                  <a:lnTo>
                    <a:pt x="488" y="55"/>
                  </a:lnTo>
                  <a:lnTo>
                    <a:pt x="488" y="53"/>
                  </a:lnTo>
                  <a:lnTo>
                    <a:pt x="487" y="50"/>
                  </a:lnTo>
                  <a:lnTo>
                    <a:pt x="487" y="46"/>
                  </a:lnTo>
                  <a:lnTo>
                    <a:pt x="484" y="46"/>
                  </a:lnTo>
                  <a:lnTo>
                    <a:pt x="485" y="40"/>
                  </a:lnTo>
                  <a:lnTo>
                    <a:pt x="484" y="38"/>
                  </a:lnTo>
                  <a:lnTo>
                    <a:pt x="483" y="41"/>
                  </a:lnTo>
                  <a:lnTo>
                    <a:pt x="478" y="48"/>
                  </a:lnTo>
                  <a:lnTo>
                    <a:pt x="477" y="49"/>
                  </a:lnTo>
                  <a:lnTo>
                    <a:pt x="475" y="44"/>
                  </a:lnTo>
                  <a:lnTo>
                    <a:pt x="475" y="37"/>
                  </a:lnTo>
                  <a:lnTo>
                    <a:pt x="476" y="35"/>
                  </a:lnTo>
                  <a:lnTo>
                    <a:pt x="473" y="35"/>
                  </a:lnTo>
                  <a:lnTo>
                    <a:pt x="476" y="28"/>
                  </a:lnTo>
                  <a:lnTo>
                    <a:pt x="481" y="25"/>
                  </a:lnTo>
                  <a:lnTo>
                    <a:pt x="483" y="23"/>
                  </a:lnTo>
                  <a:lnTo>
                    <a:pt x="487" y="20"/>
                  </a:lnTo>
                  <a:lnTo>
                    <a:pt x="490" y="18"/>
                  </a:lnTo>
                  <a:lnTo>
                    <a:pt x="490" y="14"/>
                  </a:lnTo>
                  <a:lnTo>
                    <a:pt x="484" y="12"/>
                  </a:lnTo>
                  <a:lnTo>
                    <a:pt x="479" y="11"/>
                  </a:lnTo>
                  <a:lnTo>
                    <a:pt x="484" y="11"/>
                  </a:lnTo>
                  <a:lnTo>
                    <a:pt x="487" y="8"/>
                  </a:lnTo>
                  <a:lnTo>
                    <a:pt x="490" y="7"/>
                  </a:lnTo>
                  <a:lnTo>
                    <a:pt x="490" y="5"/>
                  </a:lnTo>
                  <a:lnTo>
                    <a:pt x="490" y="2"/>
                  </a:lnTo>
                  <a:lnTo>
                    <a:pt x="491" y="1"/>
                  </a:lnTo>
                  <a:lnTo>
                    <a:pt x="495" y="0"/>
                  </a:lnTo>
                  <a:lnTo>
                    <a:pt x="497" y="0"/>
                  </a:lnTo>
                  <a:lnTo>
                    <a:pt x="501" y="0"/>
                  </a:lnTo>
                  <a:lnTo>
                    <a:pt x="501" y="1"/>
                  </a:lnTo>
                  <a:lnTo>
                    <a:pt x="502" y="1"/>
                  </a:lnTo>
                  <a:lnTo>
                    <a:pt x="502" y="4"/>
                  </a:lnTo>
                  <a:lnTo>
                    <a:pt x="505" y="2"/>
                  </a:lnTo>
                  <a:lnTo>
                    <a:pt x="506" y="2"/>
                  </a:lnTo>
                  <a:lnTo>
                    <a:pt x="507" y="2"/>
                  </a:lnTo>
                  <a:lnTo>
                    <a:pt x="509" y="2"/>
                  </a:lnTo>
                  <a:lnTo>
                    <a:pt x="511" y="1"/>
                  </a:lnTo>
                  <a:lnTo>
                    <a:pt x="513" y="0"/>
                  </a:lnTo>
                  <a:lnTo>
                    <a:pt x="511" y="6"/>
                  </a:lnTo>
                  <a:lnTo>
                    <a:pt x="508" y="16"/>
                  </a:lnTo>
                  <a:lnTo>
                    <a:pt x="508" y="18"/>
                  </a:lnTo>
                  <a:lnTo>
                    <a:pt x="511" y="14"/>
                  </a:lnTo>
                  <a:lnTo>
                    <a:pt x="512" y="16"/>
                  </a:lnTo>
                  <a:lnTo>
                    <a:pt x="513" y="20"/>
                  </a:lnTo>
                  <a:lnTo>
                    <a:pt x="512" y="26"/>
                  </a:lnTo>
                  <a:lnTo>
                    <a:pt x="514" y="31"/>
                  </a:lnTo>
                  <a:lnTo>
                    <a:pt x="514" y="29"/>
                  </a:lnTo>
                  <a:lnTo>
                    <a:pt x="518" y="30"/>
                  </a:lnTo>
                  <a:lnTo>
                    <a:pt x="518" y="28"/>
                  </a:lnTo>
                  <a:lnTo>
                    <a:pt x="518" y="23"/>
                  </a:lnTo>
                  <a:lnTo>
                    <a:pt x="523" y="22"/>
                  </a:lnTo>
                  <a:lnTo>
                    <a:pt x="528" y="24"/>
                  </a:lnTo>
                  <a:lnTo>
                    <a:pt x="530" y="28"/>
                  </a:lnTo>
                  <a:lnTo>
                    <a:pt x="531" y="32"/>
                  </a:lnTo>
                  <a:lnTo>
                    <a:pt x="529" y="34"/>
                  </a:lnTo>
                  <a:lnTo>
                    <a:pt x="526" y="32"/>
                  </a:lnTo>
                  <a:lnTo>
                    <a:pt x="526" y="34"/>
                  </a:lnTo>
                  <a:lnTo>
                    <a:pt x="524" y="32"/>
                  </a:lnTo>
                  <a:lnTo>
                    <a:pt x="523" y="31"/>
                  </a:lnTo>
                  <a:lnTo>
                    <a:pt x="523" y="35"/>
                  </a:lnTo>
                  <a:lnTo>
                    <a:pt x="524" y="37"/>
                  </a:lnTo>
                  <a:lnTo>
                    <a:pt x="526" y="40"/>
                  </a:lnTo>
                  <a:lnTo>
                    <a:pt x="529" y="42"/>
                  </a:lnTo>
                  <a:lnTo>
                    <a:pt x="530" y="46"/>
                  </a:lnTo>
                  <a:lnTo>
                    <a:pt x="531" y="49"/>
                  </a:lnTo>
                  <a:lnTo>
                    <a:pt x="534" y="50"/>
                  </a:lnTo>
                  <a:lnTo>
                    <a:pt x="536" y="49"/>
                  </a:lnTo>
                  <a:lnTo>
                    <a:pt x="537" y="52"/>
                  </a:lnTo>
                  <a:lnTo>
                    <a:pt x="538" y="50"/>
                  </a:lnTo>
                  <a:lnTo>
                    <a:pt x="540" y="49"/>
                  </a:lnTo>
                  <a:lnTo>
                    <a:pt x="541" y="49"/>
                  </a:lnTo>
                  <a:lnTo>
                    <a:pt x="544" y="49"/>
                  </a:lnTo>
                  <a:lnTo>
                    <a:pt x="547" y="52"/>
                  </a:lnTo>
                  <a:lnTo>
                    <a:pt x="547" y="49"/>
                  </a:lnTo>
                  <a:lnTo>
                    <a:pt x="544" y="46"/>
                  </a:lnTo>
                  <a:lnTo>
                    <a:pt x="546" y="41"/>
                  </a:lnTo>
                  <a:lnTo>
                    <a:pt x="546" y="37"/>
                  </a:lnTo>
                  <a:lnTo>
                    <a:pt x="548" y="37"/>
                  </a:lnTo>
                  <a:lnTo>
                    <a:pt x="550" y="35"/>
                  </a:lnTo>
                  <a:lnTo>
                    <a:pt x="554" y="36"/>
                  </a:lnTo>
                  <a:lnTo>
                    <a:pt x="556" y="38"/>
                  </a:lnTo>
                  <a:lnTo>
                    <a:pt x="559" y="41"/>
                  </a:lnTo>
                  <a:lnTo>
                    <a:pt x="562" y="41"/>
                  </a:lnTo>
                  <a:lnTo>
                    <a:pt x="566" y="38"/>
                  </a:lnTo>
                  <a:lnTo>
                    <a:pt x="562" y="41"/>
                  </a:lnTo>
                  <a:lnTo>
                    <a:pt x="561" y="44"/>
                  </a:lnTo>
                  <a:lnTo>
                    <a:pt x="559" y="43"/>
                  </a:lnTo>
                  <a:lnTo>
                    <a:pt x="556" y="43"/>
                  </a:lnTo>
                  <a:lnTo>
                    <a:pt x="552" y="50"/>
                  </a:lnTo>
                  <a:lnTo>
                    <a:pt x="556" y="50"/>
                  </a:lnTo>
                  <a:lnTo>
                    <a:pt x="561" y="53"/>
                  </a:lnTo>
                  <a:lnTo>
                    <a:pt x="566" y="55"/>
                  </a:lnTo>
                  <a:lnTo>
                    <a:pt x="562" y="56"/>
                  </a:lnTo>
                  <a:lnTo>
                    <a:pt x="562" y="61"/>
                  </a:lnTo>
                  <a:lnTo>
                    <a:pt x="561" y="62"/>
                  </a:lnTo>
                  <a:lnTo>
                    <a:pt x="560" y="61"/>
                  </a:lnTo>
                  <a:lnTo>
                    <a:pt x="559" y="53"/>
                  </a:lnTo>
                  <a:lnTo>
                    <a:pt x="555" y="52"/>
                  </a:lnTo>
                  <a:lnTo>
                    <a:pt x="550" y="53"/>
                  </a:lnTo>
                  <a:lnTo>
                    <a:pt x="549" y="58"/>
                  </a:lnTo>
                  <a:lnTo>
                    <a:pt x="548" y="61"/>
                  </a:lnTo>
                  <a:lnTo>
                    <a:pt x="549" y="67"/>
                  </a:lnTo>
                  <a:lnTo>
                    <a:pt x="553" y="66"/>
                  </a:lnTo>
                  <a:lnTo>
                    <a:pt x="556" y="68"/>
                  </a:lnTo>
                  <a:lnTo>
                    <a:pt x="558" y="71"/>
                  </a:lnTo>
                  <a:lnTo>
                    <a:pt x="559" y="73"/>
                  </a:lnTo>
                  <a:lnTo>
                    <a:pt x="558" y="76"/>
                  </a:lnTo>
                  <a:lnTo>
                    <a:pt x="561" y="78"/>
                  </a:lnTo>
                  <a:lnTo>
                    <a:pt x="561" y="84"/>
                  </a:lnTo>
                  <a:lnTo>
                    <a:pt x="561" y="88"/>
                  </a:lnTo>
                  <a:lnTo>
                    <a:pt x="562" y="90"/>
                  </a:lnTo>
                  <a:lnTo>
                    <a:pt x="562" y="94"/>
                  </a:lnTo>
                  <a:lnTo>
                    <a:pt x="561" y="97"/>
                  </a:lnTo>
                  <a:lnTo>
                    <a:pt x="562" y="100"/>
                  </a:lnTo>
                  <a:lnTo>
                    <a:pt x="566" y="100"/>
                  </a:lnTo>
                  <a:lnTo>
                    <a:pt x="570" y="97"/>
                  </a:lnTo>
                  <a:lnTo>
                    <a:pt x="573" y="96"/>
                  </a:lnTo>
                  <a:lnTo>
                    <a:pt x="574" y="95"/>
                  </a:lnTo>
                  <a:lnTo>
                    <a:pt x="578" y="94"/>
                  </a:lnTo>
                  <a:lnTo>
                    <a:pt x="578" y="91"/>
                  </a:lnTo>
                  <a:lnTo>
                    <a:pt x="580" y="91"/>
                  </a:lnTo>
                  <a:lnTo>
                    <a:pt x="583" y="91"/>
                  </a:lnTo>
                  <a:lnTo>
                    <a:pt x="584" y="92"/>
                  </a:lnTo>
                  <a:lnTo>
                    <a:pt x="587" y="92"/>
                  </a:lnTo>
                  <a:lnTo>
                    <a:pt x="584" y="95"/>
                  </a:lnTo>
                  <a:lnTo>
                    <a:pt x="587" y="94"/>
                  </a:lnTo>
                  <a:lnTo>
                    <a:pt x="589" y="94"/>
                  </a:lnTo>
                  <a:lnTo>
                    <a:pt x="590" y="95"/>
                  </a:lnTo>
                  <a:lnTo>
                    <a:pt x="594" y="95"/>
                  </a:lnTo>
                  <a:lnTo>
                    <a:pt x="596" y="92"/>
                  </a:lnTo>
                  <a:lnTo>
                    <a:pt x="599" y="90"/>
                  </a:lnTo>
                  <a:lnTo>
                    <a:pt x="600" y="91"/>
                  </a:lnTo>
                  <a:lnTo>
                    <a:pt x="601" y="94"/>
                  </a:lnTo>
                  <a:lnTo>
                    <a:pt x="603" y="95"/>
                  </a:lnTo>
                  <a:lnTo>
                    <a:pt x="607" y="94"/>
                  </a:lnTo>
                  <a:lnTo>
                    <a:pt x="606" y="94"/>
                  </a:lnTo>
                  <a:lnTo>
                    <a:pt x="606" y="95"/>
                  </a:lnTo>
                  <a:lnTo>
                    <a:pt x="611" y="96"/>
                  </a:lnTo>
                  <a:lnTo>
                    <a:pt x="613" y="100"/>
                  </a:lnTo>
                  <a:lnTo>
                    <a:pt x="615" y="97"/>
                  </a:lnTo>
                  <a:lnTo>
                    <a:pt x="618" y="97"/>
                  </a:lnTo>
                  <a:lnTo>
                    <a:pt x="618" y="96"/>
                  </a:lnTo>
                  <a:lnTo>
                    <a:pt x="619" y="95"/>
                  </a:lnTo>
                  <a:lnTo>
                    <a:pt x="621" y="94"/>
                  </a:lnTo>
                  <a:lnTo>
                    <a:pt x="623" y="92"/>
                  </a:lnTo>
                  <a:lnTo>
                    <a:pt x="625" y="95"/>
                  </a:lnTo>
                  <a:lnTo>
                    <a:pt x="626" y="95"/>
                  </a:lnTo>
                  <a:lnTo>
                    <a:pt x="627" y="97"/>
                  </a:lnTo>
                  <a:lnTo>
                    <a:pt x="630" y="96"/>
                  </a:lnTo>
                  <a:lnTo>
                    <a:pt x="630" y="92"/>
                  </a:lnTo>
                  <a:lnTo>
                    <a:pt x="629" y="91"/>
                  </a:lnTo>
                  <a:lnTo>
                    <a:pt x="630" y="89"/>
                  </a:lnTo>
                  <a:lnTo>
                    <a:pt x="631" y="86"/>
                  </a:lnTo>
                  <a:lnTo>
                    <a:pt x="633" y="84"/>
                  </a:lnTo>
                  <a:lnTo>
                    <a:pt x="637" y="83"/>
                  </a:lnTo>
                  <a:lnTo>
                    <a:pt x="639" y="84"/>
                  </a:lnTo>
                  <a:lnTo>
                    <a:pt x="642" y="85"/>
                  </a:lnTo>
                  <a:lnTo>
                    <a:pt x="644" y="85"/>
                  </a:lnTo>
                  <a:lnTo>
                    <a:pt x="644" y="86"/>
                  </a:lnTo>
                  <a:lnTo>
                    <a:pt x="645" y="86"/>
                  </a:lnTo>
                  <a:lnTo>
                    <a:pt x="645" y="77"/>
                  </a:lnTo>
                  <a:lnTo>
                    <a:pt x="642" y="74"/>
                  </a:lnTo>
                  <a:lnTo>
                    <a:pt x="639" y="71"/>
                  </a:lnTo>
                  <a:lnTo>
                    <a:pt x="641" y="68"/>
                  </a:lnTo>
                  <a:lnTo>
                    <a:pt x="641" y="67"/>
                  </a:lnTo>
                  <a:lnTo>
                    <a:pt x="642" y="66"/>
                  </a:lnTo>
                  <a:lnTo>
                    <a:pt x="643" y="67"/>
                  </a:lnTo>
                  <a:lnTo>
                    <a:pt x="643" y="65"/>
                  </a:lnTo>
                  <a:lnTo>
                    <a:pt x="645" y="65"/>
                  </a:lnTo>
                  <a:lnTo>
                    <a:pt x="648" y="65"/>
                  </a:lnTo>
                  <a:lnTo>
                    <a:pt x="649" y="65"/>
                  </a:lnTo>
                  <a:lnTo>
                    <a:pt x="652" y="65"/>
                  </a:lnTo>
                  <a:lnTo>
                    <a:pt x="650" y="68"/>
                  </a:lnTo>
                  <a:lnTo>
                    <a:pt x="652" y="71"/>
                  </a:lnTo>
                  <a:lnTo>
                    <a:pt x="655" y="71"/>
                  </a:lnTo>
                  <a:lnTo>
                    <a:pt x="661" y="71"/>
                  </a:lnTo>
                  <a:lnTo>
                    <a:pt x="658" y="73"/>
                  </a:lnTo>
                  <a:lnTo>
                    <a:pt x="654" y="76"/>
                  </a:lnTo>
                  <a:lnTo>
                    <a:pt x="652" y="78"/>
                  </a:lnTo>
                  <a:lnTo>
                    <a:pt x="650" y="79"/>
                  </a:lnTo>
                  <a:lnTo>
                    <a:pt x="653" y="78"/>
                  </a:lnTo>
                  <a:lnTo>
                    <a:pt x="656" y="77"/>
                  </a:lnTo>
                  <a:lnTo>
                    <a:pt x="654" y="79"/>
                  </a:lnTo>
                  <a:lnTo>
                    <a:pt x="656" y="82"/>
                  </a:lnTo>
                  <a:lnTo>
                    <a:pt x="658" y="83"/>
                  </a:lnTo>
                  <a:lnTo>
                    <a:pt x="654" y="83"/>
                  </a:lnTo>
                  <a:lnTo>
                    <a:pt x="650" y="85"/>
                  </a:lnTo>
                  <a:lnTo>
                    <a:pt x="654" y="85"/>
                  </a:lnTo>
                  <a:lnTo>
                    <a:pt x="659" y="84"/>
                  </a:lnTo>
                  <a:lnTo>
                    <a:pt x="664" y="85"/>
                  </a:lnTo>
                  <a:lnTo>
                    <a:pt x="667" y="84"/>
                  </a:lnTo>
                  <a:lnTo>
                    <a:pt x="662" y="88"/>
                  </a:lnTo>
                  <a:lnTo>
                    <a:pt x="659" y="90"/>
                  </a:lnTo>
                  <a:lnTo>
                    <a:pt x="656" y="92"/>
                  </a:lnTo>
                  <a:lnTo>
                    <a:pt x="653" y="95"/>
                  </a:lnTo>
                  <a:lnTo>
                    <a:pt x="653" y="98"/>
                  </a:lnTo>
                  <a:lnTo>
                    <a:pt x="655" y="98"/>
                  </a:lnTo>
                  <a:lnTo>
                    <a:pt x="659" y="98"/>
                  </a:lnTo>
                  <a:lnTo>
                    <a:pt x="662" y="96"/>
                  </a:lnTo>
                  <a:lnTo>
                    <a:pt x="665" y="96"/>
                  </a:lnTo>
                  <a:lnTo>
                    <a:pt x="668" y="97"/>
                  </a:lnTo>
                  <a:lnTo>
                    <a:pt x="667" y="97"/>
                  </a:lnTo>
                  <a:lnTo>
                    <a:pt x="666" y="98"/>
                  </a:lnTo>
                  <a:lnTo>
                    <a:pt x="666" y="103"/>
                  </a:lnTo>
                  <a:lnTo>
                    <a:pt x="668" y="106"/>
                  </a:lnTo>
                  <a:lnTo>
                    <a:pt x="670" y="109"/>
                  </a:lnTo>
                  <a:lnTo>
                    <a:pt x="666" y="111"/>
                  </a:lnTo>
                  <a:lnTo>
                    <a:pt x="667" y="113"/>
                  </a:lnTo>
                  <a:lnTo>
                    <a:pt x="667" y="118"/>
                  </a:lnTo>
                  <a:lnTo>
                    <a:pt x="666" y="120"/>
                  </a:lnTo>
                  <a:lnTo>
                    <a:pt x="665" y="118"/>
                  </a:lnTo>
                  <a:lnTo>
                    <a:pt x="664" y="120"/>
                  </a:lnTo>
                  <a:lnTo>
                    <a:pt x="662" y="125"/>
                  </a:lnTo>
                  <a:lnTo>
                    <a:pt x="661" y="127"/>
                  </a:lnTo>
                  <a:lnTo>
                    <a:pt x="661" y="132"/>
                  </a:lnTo>
                  <a:lnTo>
                    <a:pt x="659" y="133"/>
                  </a:lnTo>
                  <a:lnTo>
                    <a:pt x="656" y="137"/>
                  </a:lnTo>
                  <a:lnTo>
                    <a:pt x="653" y="137"/>
                  </a:lnTo>
                  <a:lnTo>
                    <a:pt x="653" y="139"/>
                  </a:lnTo>
                  <a:lnTo>
                    <a:pt x="648" y="142"/>
                  </a:lnTo>
                  <a:lnTo>
                    <a:pt x="648" y="139"/>
                  </a:lnTo>
                  <a:lnTo>
                    <a:pt x="645" y="138"/>
                  </a:lnTo>
                  <a:lnTo>
                    <a:pt x="645" y="137"/>
                  </a:lnTo>
                  <a:lnTo>
                    <a:pt x="644" y="141"/>
                  </a:lnTo>
                  <a:lnTo>
                    <a:pt x="642" y="144"/>
                  </a:lnTo>
                  <a:lnTo>
                    <a:pt x="643" y="137"/>
                  </a:lnTo>
                  <a:lnTo>
                    <a:pt x="641" y="142"/>
                  </a:lnTo>
                  <a:lnTo>
                    <a:pt x="638" y="138"/>
                  </a:lnTo>
                  <a:lnTo>
                    <a:pt x="636" y="141"/>
                  </a:lnTo>
                  <a:lnTo>
                    <a:pt x="637" y="144"/>
                  </a:lnTo>
                  <a:lnTo>
                    <a:pt x="639" y="145"/>
                  </a:lnTo>
                  <a:lnTo>
                    <a:pt x="633" y="147"/>
                  </a:lnTo>
                  <a:lnTo>
                    <a:pt x="630" y="148"/>
                  </a:lnTo>
                  <a:lnTo>
                    <a:pt x="627" y="151"/>
                  </a:lnTo>
                  <a:lnTo>
                    <a:pt x="629" y="153"/>
                  </a:lnTo>
                  <a:lnTo>
                    <a:pt x="631" y="154"/>
                  </a:lnTo>
                  <a:lnTo>
                    <a:pt x="635" y="154"/>
                  </a:lnTo>
                  <a:lnTo>
                    <a:pt x="636" y="157"/>
                  </a:lnTo>
                  <a:lnTo>
                    <a:pt x="633" y="159"/>
                  </a:lnTo>
                  <a:lnTo>
                    <a:pt x="629" y="157"/>
                  </a:lnTo>
                  <a:lnTo>
                    <a:pt x="629" y="155"/>
                  </a:lnTo>
                  <a:lnTo>
                    <a:pt x="627" y="155"/>
                  </a:lnTo>
                  <a:lnTo>
                    <a:pt x="627" y="160"/>
                  </a:lnTo>
                  <a:lnTo>
                    <a:pt x="630" y="160"/>
                  </a:lnTo>
                  <a:lnTo>
                    <a:pt x="633" y="161"/>
                  </a:lnTo>
                  <a:lnTo>
                    <a:pt x="633" y="166"/>
                  </a:lnTo>
                  <a:lnTo>
                    <a:pt x="635" y="167"/>
                  </a:lnTo>
                  <a:lnTo>
                    <a:pt x="641" y="165"/>
                  </a:lnTo>
                  <a:lnTo>
                    <a:pt x="645" y="161"/>
                  </a:lnTo>
                  <a:lnTo>
                    <a:pt x="644" y="160"/>
                  </a:lnTo>
                  <a:lnTo>
                    <a:pt x="643" y="157"/>
                  </a:lnTo>
                  <a:lnTo>
                    <a:pt x="645" y="154"/>
                  </a:lnTo>
                  <a:lnTo>
                    <a:pt x="648" y="150"/>
                  </a:lnTo>
                  <a:lnTo>
                    <a:pt x="650" y="148"/>
                  </a:lnTo>
                  <a:lnTo>
                    <a:pt x="652" y="150"/>
                  </a:lnTo>
                  <a:lnTo>
                    <a:pt x="654" y="149"/>
                  </a:lnTo>
                  <a:lnTo>
                    <a:pt x="655" y="149"/>
                  </a:lnTo>
                  <a:lnTo>
                    <a:pt x="656" y="148"/>
                  </a:lnTo>
                  <a:lnTo>
                    <a:pt x="659" y="148"/>
                  </a:lnTo>
                  <a:lnTo>
                    <a:pt x="661" y="147"/>
                  </a:lnTo>
                  <a:lnTo>
                    <a:pt x="660" y="150"/>
                  </a:lnTo>
                  <a:lnTo>
                    <a:pt x="659" y="153"/>
                  </a:lnTo>
                  <a:lnTo>
                    <a:pt x="660" y="154"/>
                  </a:lnTo>
                  <a:lnTo>
                    <a:pt x="660" y="155"/>
                  </a:lnTo>
                  <a:lnTo>
                    <a:pt x="661" y="154"/>
                  </a:lnTo>
                  <a:lnTo>
                    <a:pt x="661" y="156"/>
                  </a:lnTo>
                  <a:lnTo>
                    <a:pt x="662" y="157"/>
                  </a:lnTo>
                  <a:lnTo>
                    <a:pt x="665" y="156"/>
                  </a:lnTo>
                  <a:lnTo>
                    <a:pt x="662" y="153"/>
                  </a:lnTo>
                  <a:lnTo>
                    <a:pt x="664" y="148"/>
                  </a:lnTo>
                  <a:lnTo>
                    <a:pt x="666" y="149"/>
                  </a:lnTo>
                  <a:lnTo>
                    <a:pt x="670" y="147"/>
                  </a:lnTo>
                  <a:lnTo>
                    <a:pt x="671" y="148"/>
                  </a:lnTo>
                  <a:lnTo>
                    <a:pt x="673" y="150"/>
                  </a:lnTo>
                  <a:lnTo>
                    <a:pt x="676" y="151"/>
                  </a:lnTo>
                  <a:lnTo>
                    <a:pt x="676" y="155"/>
                  </a:lnTo>
                  <a:lnTo>
                    <a:pt x="672" y="157"/>
                  </a:lnTo>
                  <a:lnTo>
                    <a:pt x="672" y="154"/>
                  </a:lnTo>
                  <a:lnTo>
                    <a:pt x="668" y="156"/>
                  </a:lnTo>
                  <a:lnTo>
                    <a:pt x="660" y="162"/>
                  </a:lnTo>
                  <a:lnTo>
                    <a:pt x="662" y="165"/>
                  </a:lnTo>
                  <a:lnTo>
                    <a:pt x="665" y="163"/>
                  </a:lnTo>
                  <a:lnTo>
                    <a:pt x="664" y="167"/>
                  </a:lnTo>
                  <a:lnTo>
                    <a:pt x="670" y="169"/>
                  </a:lnTo>
                  <a:lnTo>
                    <a:pt x="671" y="172"/>
                  </a:lnTo>
                  <a:lnTo>
                    <a:pt x="672" y="173"/>
                  </a:lnTo>
                  <a:lnTo>
                    <a:pt x="673" y="172"/>
                  </a:lnTo>
                  <a:lnTo>
                    <a:pt x="676" y="173"/>
                  </a:lnTo>
                  <a:lnTo>
                    <a:pt x="678" y="171"/>
                  </a:lnTo>
                  <a:lnTo>
                    <a:pt x="676" y="177"/>
                  </a:lnTo>
                  <a:lnTo>
                    <a:pt x="674" y="179"/>
                  </a:lnTo>
                  <a:lnTo>
                    <a:pt x="674" y="183"/>
                  </a:lnTo>
                  <a:lnTo>
                    <a:pt x="674" y="184"/>
                  </a:lnTo>
                  <a:lnTo>
                    <a:pt x="677" y="184"/>
                  </a:lnTo>
                  <a:lnTo>
                    <a:pt x="679" y="184"/>
                  </a:lnTo>
                  <a:lnTo>
                    <a:pt x="682" y="183"/>
                  </a:lnTo>
                  <a:lnTo>
                    <a:pt x="684" y="178"/>
                  </a:lnTo>
                  <a:lnTo>
                    <a:pt x="685" y="175"/>
                  </a:lnTo>
                  <a:lnTo>
                    <a:pt x="683" y="173"/>
                  </a:lnTo>
                  <a:lnTo>
                    <a:pt x="684" y="169"/>
                  </a:lnTo>
                  <a:lnTo>
                    <a:pt x="685" y="167"/>
                  </a:lnTo>
                  <a:lnTo>
                    <a:pt x="688" y="165"/>
                  </a:lnTo>
                  <a:lnTo>
                    <a:pt x="689" y="163"/>
                  </a:lnTo>
                  <a:lnTo>
                    <a:pt x="691" y="163"/>
                  </a:lnTo>
                  <a:lnTo>
                    <a:pt x="694" y="163"/>
                  </a:lnTo>
                  <a:lnTo>
                    <a:pt x="695" y="166"/>
                  </a:lnTo>
                  <a:lnTo>
                    <a:pt x="697" y="166"/>
                  </a:lnTo>
                  <a:lnTo>
                    <a:pt x="697" y="167"/>
                  </a:lnTo>
                  <a:lnTo>
                    <a:pt x="697" y="171"/>
                  </a:lnTo>
                  <a:lnTo>
                    <a:pt x="698" y="172"/>
                  </a:lnTo>
                  <a:lnTo>
                    <a:pt x="697" y="173"/>
                  </a:lnTo>
                  <a:lnTo>
                    <a:pt x="694" y="174"/>
                  </a:lnTo>
                  <a:lnTo>
                    <a:pt x="696" y="177"/>
                  </a:lnTo>
                  <a:lnTo>
                    <a:pt x="694" y="178"/>
                  </a:lnTo>
                  <a:lnTo>
                    <a:pt x="694" y="180"/>
                  </a:lnTo>
                  <a:lnTo>
                    <a:pt x="695" y="183"/>
                  </a:lnTo>
                  <a:lnTo>
                    <a:pt x="696" y="183"/>
                  </a:lnTo>
                  <a:lnTo>
                    <a:pt x="697" y="183"/>
                  </a:lnTo>
                  <a:lnTo>
                    <a:pt x="697" y="181"/>
                  </a:lnTo>
                  <a:lnTo>
                    <a:pt x="698" y="180"/>
                  </a:lnTo>
                  <a:lnTo>
                    <a:pt x="701" y="180"/>
                  </a:lnTo>
                  <a:lnTo>
                    <a:pt x="701" y="183"/>
                  </a:lnTo>
                  <a:lnTo>
                    <a:pt x="702" y="180"/>
                  </a:lnTo>
                  <a:lnTo>
                    <a:pt x="706" y="179"/>
                  </a:lnTo>
                  <a:lnTo>
                    <a:pt x="708" y="177"/>
                  </a:lnTo>
                  <a:lnTo>
                    <a:pt x="711" y="175"/>
                  </a:lnTo>
                  <a:lnTo>
                    <a:pt x="712" y="174"/>
                  </a:lnTo>
                  <a:lnTo>
                    <a:pt x="712" y="173"/>
                  </a:lnTo>
                  <a:lnTo>
                    <a:pt x="711" y="173"/>
                  </a:lnTo>
                  <a:lnTo>
                    <a:pt x="709" y="172"/>
                  </a:lnTo>
                  <a:lnTo>
                    <a:pt x="713" y="169"/>
                  </a:lnTo>
                  <a:lnTo>
                    <a:pt x="714" y="169"/>
                  </a:lnTo>
                  <a:lnTo>
                    <a:pt x="714" y="173"/>
                  </a:lnTo>
                  <a:lnTo>
                    <a:pt x="717" y="172"/>
                  </a:lnTo>
                  <a:lnTo>
                    <a:pt x="715" y="169"/>
                  </a:lnTo>
                  <a:lnTo>
                    <a:pt x="709" y="165"/>
                  </a:lnTo>
                  <a:lnTo>
                    <a:pt x="706" y="166"/>
                  </a:lnTo>
                  <a:lnTo>
                    <a:pt x="701" y="165"/>
                  </a:lnTo>
                  <a:lnTo>
                    <a:pt x="701" y="162"/>
                  </a:lnTo>
                  <a:lnTo>
                    <a:pt x="702" y="162"/>
                  </a:lnTo>
                  <a:lnTo>
                    <a:pt x="704" y="162"/>
                  </a:lnTo>
                  <a:lnTo>
                    <a:pt x="704" y="161"/>
                  </a:lnTo>
                  <a:lnTo>
                    <a:pt x="706" y="161"/>
                  </a:lnTo>
                  <a:lnTo>
                    <a:pt x="707" y="159"/>
                  </a:lnTo>
                  <a:lnTo>
                    <a:pt x="708" y="160"/>
                  </a:lnTo>
                  <a:lnTo>
                    <a:pt x="709" y="159"/>
                  </a:lnTo>
                  <a:lnTo>
                    <a:pt x="711" y="161"/>
                  </a:lnTo>
                  <a:lnTo>
                    <a:pt x="713" y="166"/>
                  </a:lnTo>
                  <a:lnTo>
                    <a:pt x="718" y="169"/>
                  </a:lnTo>
                  <a:lnTo>
                    <a:pt x="719" y="169"/>
                  </a:lnTo>
                  <a:lnTo>
                    <a:pt x="721" y="168"/>
                  </a:lnTo>
                  <a:lnTo>
                    <a:pt x="721" y="167"/>
                  </a:lnTo>
                  <a:lnTo>
                    <a:pt x="723" y="165"/>
                  </a:lnTo>
                  <a:lnTo>
                    <a:pt x="725" y="165"/>
                  </a:lnTo>
                  <a:lnTo>
                    <a:pt x="726" y="167"/>
                  </a:lnTo>
                  <a:lnTo>
                    <a:pt x="727" y="168"/>
                  </a:lnTo>
                  <a:lnTo>
                    <a:pt x="730" y="171"/>
                  </a:lnTo>
                  <a:lnTo>
                    <a:pt x="730" y="169"/>
                  </a:lnTo>
                  <a:lnTo>
                    <a:pt x="732" y="168"/>
                  </a:lnTo>
                  <a:lnTo>
                    <a:pt x="733" y="166"/>
                  </a:lnTo>
                  <a:lnTo>
                    <a:pt x="736" y="167"/>
                  </a:lnTo>
                  <a:lnTo>
                    <a:pt x="737" y="168"/>
                  </a:lnTo>
                  <a:lnTo>
                    <a:pt x="737" y="161"/>
                  </a:lnTo>
                  <a:lnTo>
                    <a:pt x="729" y="160"/>
                  </a:lnTo>
                  <a:lnTo>
                    <a:pt x="720" y="159"/>
                  </a:lnTo>
                  <a:lnTo>
                    <a:pt x="720" y="156"/>
                  </a:lnTo>
                  <a:lnTo>
                    <a:pt x="723" y="155"/>
                  </a:lnTo>
                  <a:lnTo>
                    <a:pt x="725" y="154"/>
                  </a:lnTo>
                  <a:lnTo>
                    <a:pt x="726" y="154"/>
                  </a:lnTo>
                  <a:lnTo>
                    <a:pt x="726" y="153"/>
                  </a:lnTo>
                  <a:lnTo>
                    <a:pt x="730" y="151"/>
                  </a:lnTo>
                  <a:lnTo>
                    <a:pt x="732" y="151"/>
                  </a:lnTo>
                  <a:lnTo>
                    <a:pt x="733" y="149"/>
                  </a:lnTo>
                  <a:lnTo>
                    <a:pt x="735" y="151"/>
                  </a:lnTo>
                  <a:lnTo>
                    <a:pt x="736" y="150"/>
                  </a:lnTo>
                  <a:lnTo>
                    <a:pt x="736" y="151"/>
                  </a:lnTo>
                  <a:lnTo>
                    <a:pt x="736" y="156"/>
                  </a:lnTo>
                  <a:lnTo>
                    <a:pt x="738" y="161"/>
                  </a:lnTo>
                  <a:lnTo>
                    <a:pt x="741" y="163"/>
                  </a:lnTo>
                  <a:lnTo>
                    <a:pt x="743" y="162"/>
                  </a:lnTo>
                  <a:lnTo>
                    <a:pt x="747" y="159"/>
                  </a:lnTo>
                  <a:lnTo>
                    <a:pt x="748" y="156"/>
                  </a:lnTo>
                  <a:lnTo>
                    <a:pt x="749" y="153"/>
                  </a:lnTo>
                  <a:lnTo>
                    <a:pt x="753" y="151"/>
                  </a:lnTo>
                  <a:lnTo>
                    <a:pt x="754" y="153"/>
                  </a:lnTo>
                  <a:lnTo>
                    <a:pt x="754" y="154"/>
                  </a:lnTo>
                  <a:lnTo>
                    <a:pt x="754" y="156"/>
                  </a:lnTo>
                  <a:lnTo>
                    <a:pt x="756" y="156"/>
                  </a:lnTo>
                  <a:lnTo>
                    <a:pt x="757" y="154"/>
                  </a:lnTo>
                  <a:lnTo>
                    <a:pt x="760" y="154"/>
                  </a:lnTo>
                  <a:lnTo>
                    <a:pt x="762" y="154"/>
                  </a:lnTo>
                  <a:lnTo>
                    <a:pt x="761" y="156"/>
                  </a:lnTo>
                  <a:lnTo>
                    <a:pt x="762" y="159"/>
                  </a:lnTo>
                  <a:lnTo>
                    <a:pt x="766" y="160"/>
                  </a:lnTo>
                  <a:lnTo>
                    <a:pt x="762" y="161"/>
                  </a:lnTo>
                  <a:lnTo>
                    <a:pt x="759" y="161"/>
                  </a:lnTo>
                  <a:lnTo>
                    <a:pt x="756" y="162"/>
                  </a:lnTo>
                  <a:lnTo>
                    <a:pt x="754" y="162"/>
                  </a:lnTo>
                  <a:lnTo>
                    <a:pt x="755" y="163"/>
                  </a:lnTo>
                  <a:lnTo>
                    <a:pt x="751" y="163"/>
                  </a:lnTo>
                  <a:lnTo>
                    <a:pt x="754" y="167"/>
                  </a:lnTo>
                  <a:lnTo>
                    <a:pt x="756" y="172"/>
                  </a:lnTo>
                  <a:lnTo>
                    <a:pt x="759" y="171"/>
                  </a:lnTo>
                  <a:lnTo>
                    <a:pt x="760" y="172"/>
                  </a:lnTo>
                  <a:lnTo>
                    <a:pt x="762" y="171"/>
                  </a:lnTo>
                  <a:lnTo>
                    <a:pt x="766" y="171"/>
                  </a:lnTo>
                  <a:lnTo>
                    <a:pt x="762" y="168"/>
                  </a:lnTo>
                  <a:lnTo>
                    <a:pt x="761" y="163"/>
                  </a:lnTo>
                  <a:lnTo>
                    <a:pt x="763" y="165"/>
                  </a:lnTo>
                  <a:lnTo>
                    <a:pt x="766" y="162"/>
                  </a:lnTo>
                  <a:lnTo>
                    <a:pt x="768" y="160"/>
                  </a:lnTo>
                  <a:lnTo>
                    <a:pt x="770" y="156"/>
                  </a:lnTo>
                  <a:lnTo>
                    <a:pt x="771" y="154"/>
                  </a:lnTo>
                  <a:lnTo>
                    <a:pt x="772" y="154"/>
                  </a:lnTo>
                  <a:lnTo>
                    <a:pt x="776" y="154"/>
                  </a:lnTo>
                  <a:lnTo>
                    <a:pt x="777" y="153"/>
                  </a:lnTo>
                  <a:lnTo>
                    <a:pt x="776" y="153"/>
                  </a:lnTo>
                  <a:lnTo>
                    <a:pt x="776" y="150"/>
                  </a:lnTo>
                  <a:lnTo>
                    <a:pt x="776" y="147"/>
                  </a:lnTo>
                  <a:lnTo>
                    <a:pt x="774" y="147"/>
                  </a:lnTo>
                  <a:lnTo>
                    <a:pt x="776" y="144"/>
                  </a:lnTo>
                  <a:lnTo>
                    <a:pt x="778" y="143"/>
                  </a:lnTo>
                  <a:lnTo>
                    <a:pt x="776" y="142"/>
                  </a:lnTo>
                  <a:lnTo>
                    <a:pt x="778" y="141"/>
                  </a:lnTo>
                  <a:lnTo>
                    <a:pt x="780" y="141"/>
                  </a:lnTo>
                  <a:lnTo>
                    <a:pt x="779" y="138"/>
                  </a:lnTo>
                  <a:lnTo>
                    <a:pt x="780" y="135"/>
                  </a:lnTo>
                  <a:lnTo>
                    <a:pt x="783" y="132"/>
                  </a:lnTo>
                  <a:lnTo>
                    <a:pt x="785" y="133"/>
                  </a:lnTo>
                  <a:lnTo>
                    <a:pt x="789" y="133"/>
                  </a:lnTo>
                  <a:lnTo>
                    <a:pt x="789" y="130"/>
                  </a:lnTo>
                  <a:lnTo>
                    <a:pt x="786" y="129"/>
                  </a:lnTo>
                  <a:lnTo>
                    <a:pt x="782" y="130"/>
                  </a:lnTo>
                  <a:lnTo>
                    <a:pt x="784" y="127"/>
                  </a:lnTo>
                  <a:lnTo>
                    <a:pt x="786" y="125"/>
                  </a:lnTo>
                  <a:lnTo>
                    <a:pt x="790" y="127"/>
                  </a:lnTo>
                  <a:lnTo>
                    <a:pt x="792" y="127"/>
                  </a:lnTo>
                  <a:lnTo>
                    <a:pt x="794" y="130"/>
                  </a:lnTo>
                  <a:lnTo>
                    <a:pt x="797" y="131"/>
                  </a:lnTo>
                  <a:lnTo>
                    <a:pt x="797" y="132"/>
                  </a:lnTo>
                  <a:lnTo>
                    <a:pt x="803" y="127"/>
                  </a:lnTo>
                  <a:lnTo>
                    <a:pt x="803" y="126"/>
                  </a:lnTo>
                  <a:lnTo>
                    <a:pt x="803" y="124"/>
                  </a:lnTo>
                  <a:lnTo>
                    <a:pt x="806" y="121"/>
                  </a:lnTo>
                  <a:lnTo>
                    <a:pt x="807" y="120"/>
                  </a:lnTo>
                  <a:lnTo>
                    <a:pt x="809" y="120"/>
                  </a:lnTo>
                  <a:lnTo>
                    <a:pt x="808" y="125"/>
                  </a:lnTo>
                  <a:lnTo>
                    <a:pt x="810" y="124"/>
                  </a:lnTo>
                  <a:lnTo>
                    <a:pt x="813" y="120"/>
                  </a:lnTo>
                  <a:lnTo>
                    <a:pt x="815" y="121"/>
                  </a:lnTo>
                  <a:lnTo>
                    <a:pt x="816" y="123"/>
                  </a:lnTo>
                  <a:lnTo>
                    <a:pt x="820" y="123"/>
                  </a:lnTo>
                  <a:lnTo>
                    <a:pt x="821" y="124"/>
                  </a:lnTo>
                  <a:lnTo>
                    <a:pt x="816" y="126"/>
                  </a:lnTo>
                  <a:lnTo>
                    <a:pt x="810" y="129"/>
                  </a:lnTo>
                  <a:lnTo>
                    <a:pt x="813" y="132"/>
                  </a:lnTo>
                  <a:lnTo>
                    <a:pt x="815" y="130"/>
                  </a:lnTo>
                  <a:lnTo>
                    <a:pt x="821" y="125"/>
                  </a:lnTo>
                  <a:lnTo>
                    <a:pt x="822" y="126"/>
                  </a:lnTo>
                  <a:lnTo>
                    <a:pt x="818" y="131"/>
                  </a:lnTo>
                  <a:lnTo>
                    <a:pt x="820" y="135"/>
                  </a:lnTo>
                  <a:lnTo>
                    <a:pt x="816" y="136"/>
                  </a:lnTo>
                  <a:lnTo>
                    <a:pt x="815" y="137"/>
                  </a:lnTo>
                  <a:lnTo>
                    <a:pt x="818" y="139"/>
                  </a:lnTo>
                  <a:lnTo>
                    <a:pt x="820" y="139"/>
                  </a:lnTo>
                  <a:lnTo>
                    <a:pt x="824" y="142"/>
                  </a:lnTo>
                  <a:lnTo>
                    <a:pt x="825" y="141"/>
                  </a:lnTo>
                  <a:lnTo>
                    <a:pt x="826" y="142"/>
                  </a:lnTo>
                  <a:lnTo>
                    <a:pt x="830" y="143"/>
                  </a:lnTo>
                  <a:lnTo>
                    <a:pt x="831" y="144"/>
                  </a:lnTo>
                  <a:lnTo>
                    <a:pt x="831" y="145"/>
                  </a:lnTo>
                  <a:lnTo>
                    <a:pt x="832" y="145"/>
                  </a:lnTo>
                  <a:lnTo>
                    <a:pt x="832" y="149"/>
                  </a:lnTo>
                  <a:lnTo>
                    <a:pt x="827" y="149"/>
                  </a:lnTo>
                  <a:lnTo>
                    <a:pt x="830" y="151"/>
                  </a:lnTo>
                  <a:lnTo>
                    <a:pt x="831" y="154"/>
                  </a:lnTo>
                  <a:lnTo>
                    <a:pt x="832" y="155"/>
                  </a:lnTo>
                  <a:lnTo>
                    <a:pt x="836" y="153"/>
                  </a:lnTo>
                  <a:lnTo>
                    <a:pt x="836" y="155"/>
                  </a:lnTo>
                  <a:lnTo>
                    <a:pt x="837" y="161"/>
                  </a:lnTo>
                  <a:lnTo>
                    <a:pt x="838" y="162"/>
                  </a:lnTo>
                  <a:lnTo>
                    <a:pt x="837" y="165"/>
                  </a:lnTo>
                  <a:lnTo>
                    <a:pt x="837" y="168"/>
                  </a:lnTo>
                  <a:lnTo>
                    <a:pt x="835" y="173"/>
                  </a:lnTo>
                  <a:lnTo>
                    <a:pt x="833" y="165"/>
                  </a:lnTo>
                  <a:lnTo>
                    <a:pt x="832" y="157"/>
                  </a:lnTo>
                  <a:lnTo>
                    <a:pt x="827" y="156"/>
                  </a:lnTo>
                  <a:lnTo>
                    <a:pt x="821" y="154"/>
                  </a:lnTo>
                  <a:lnTo>
                    <a:pt x="821" y="156"/>
                  </a:lnTo>
                  <a:lnTo>
                    <a:pt x="822" y="161"/>
                  </a:lnTo>
                  <a:lnTo>
                    <a:pt x="821" y="165"/>
                  </a:lnTo>
                  <a:lnTo>
                    <a:pt x="820" y="167"/>
                  </a:lnTo>
                  <a:lnTo>
                    <a:pt x="816" y="169"/>
                  </a:lnTo>
                  <a:lnTo>
                    <a:pt x="813" y="169"/>
                  </a:lnTo>
                  <a:lnTo>
                    <a:pt x="812" y="168"/>
                  </a:lnTo>
                  <a:lnTo>
                    <a:pt x="808" y="169"/>
                  </a:lnTo>
                  <a:lnTo>
                    <a:pt x="802" y="172"/>
                  </a:lnTo>
                  <a:lnTo>
                    <a:pt x="796" y="172"/>
                  </a:lnTo>
                  <a:lnTo>
                    <a:pt x="794" y="172"/>
                  </a:lnTo>
                  <a:lnTo>
                    <a:pt x="792" y="174"/>
                  </a:lnTo>
                  <a:lnTo>
                    <a:pt x="792" y="175"/>
                  </a:lnTo>
                  <a:lnTo>
                    <a:pt x="792" y="177"/>
                  </a:lnTo>
                  <a:lnTo>
                    <a:pt x="797" y="174"/>
                  </a:lnTo>
                  <a:lnTo>
                    <a:pt x="796" y="177"/>
                  </a:lnTo>
                  <a:lnTo>
                    <a:pt x="800" y="175"/>
                  </a:lnTo>
                  <a:lnTo>
                    <a:pt x="804" y="172"/>
                  </a:lnTo>
                  <a:lnTo>
                    <a:pt x="813" y="173"/>
                  </a:lnTo>
                  <a:lnTo>
                    <a:pt x="818" y="173"/>
                  </a:lnTo>
                  <a:lnTo>
                    <a:pt x="821" y="173"/>
                  </a:lnTo>
                  <a:lnTo>
                    <a:pt x="824" y="177"/>
                  </a:lnTo>
                  <a:lnTo>
                    <a:pt x="820" y="177"/>
                  </a:lnTo>
                  <a:lnTo>
                    <a:pt x="818" y="178"/>
                  </a:lnTo>
                  <a:lnTo>
                    <a:pt x="819" y="179"/>
                  </a:lnTo>
                  <a:lnTo>
                    <a:pt x="816" y="179"/>
                  </a:lnTo>
                  <a:lnTo>
                    <a:pt x="814" y="183"/>
                  </a:lnTo>
                  <a:lnTo>
                    <a:pt x="814" y="184"/>
                  </a:lnTo>
                  <a:lnTo>
                    <a:pt x="810" y="183"/>
                  </a:lnTo>
                  <a:lnTo>
                    <a:pt x="813" y="187"/>
                  </a:lnTo>
                  <a:lnTo>
                    <a:pt x="816" y="190"/>
                  </a:lnTo>
                  <a:lnTo>
                    <a:pt x="816" y="191"/>
                  </a:lnTo>
                  <a:lnTo>
                    <a:pt x="815" y="195"/>
                  </a:lnTo>
                  <a:lnTo>
                    <a:pt x="814" y="196"/>
                  </a:lnTo>
                  <a:lnTo>
                    <a:pt x="813" y="192"/>
                  </a:lnTo>
                  <a:lnTo>
                    <a:pt x="812" y="193"/>
                  </a:lnTo>
                  <a:lnTo>
                    <a:pt x="810" y="193"/>
                  </a:lnTo>
                  <a:lnTo>
                    <a:pt x="807" y="190"/>
                  </a:lnTo>
                  <a:lnTo>
                    <a:pt x="806" y="184"/>
                  </a:lnTo>
                  <a:lnTo>
                    <a:pt x="806" y="181"/>
                  </a:lnTo>
                  <a:lnTo>
                    <a:pt x="803" y="179"/>
                  </a:lnTo>
                  <a:lnTo>
                    <a:pt x="800" y="179"/>
                  </a:lnTo>
                  <a:lnTo>
                    <a:pt x="798" y="183"/>
                  </a:lnTo>
                  <a:lnTo>
                    <a:pt x="797" y="186"/>
                  </a:lnTo>
                  <a:lnTo>
                    <a:pt x="795" y="189"/>
                  </a:lnTo>
                  <a:lnTo>
                    <a:pt x="789" y="196"/>
                  </a:lnTo>
                  <a:lnTo>
                    <a:pt x="789" y="192"/>
                  </a:lnTo>
                  <a:lnTo>
                    <a:pt x="789" y="189"/>
                  </a:lnTo>
                  <a:lnTo>
                    <a:pt x="786" y="192"/>
                  </a:lnTo>
                  <a:lnTo>
                    <a:pt x="779" y="199"/>
                  </a:lnTo>
                  <a:lnTo>
                    <a:pt x="780" y="195"/>
                  </a:lnTo>
                  <a:lnTo>
                    <a:pt x="782" y="192"/>
                  </a:lnTo>
                  <a:lnTo>
                    <a:pt x="782" y="190"/>
                  </a:lnTo>
                  <a:lnTo>
                    <a:pt x="777" y="190"/>
                  </a:lnTo>
                  <a:lnTo>
                    <a:pt x="774" y="193"/>
                  </a:lnTo>
                  <a:lnTo>
                    <a:pt x="774" y="197"/>
                  </a:lnTo>
                  <a:lnTo>
                    <a:pt x="773" y="199"/>
                  </a:lnTo>
                  <a:lnTo>
                    <a:pt x="771" y="203"/>
                  </a:lnTo>
                  <a:lnTo>
                    <a:pt x="770" y="205"/>
                  </a:lnTo>
                  <a:lnTo>
                    <a:pt x="767" y="208"/>
                  </a:lnTo>
                  <a:lnTo>
                    <a:pt x="768" y="208"/>
                  </a:lnTo>
                  <a:lnTo>
                    <a:pt x="771" y="207"/>
                  </a:lnTo>
                  <a:lnTo>
                    <a:pt x="772" y="208"/>
                  </a:lnTo>
                  <a:lnTo>
                    <a:pt x="774" y="205"/>
                  </a:lnTo>
                  <a:lnTo>
                    <a:pt x="774" y="210"/>
                  </a:lnTo>
                  <a:lnTo>
                    <a:pt x="771" y="215"/>
                  </a:lnTo>
                  <a:lnTo>
                    <a:pt x="770" y="219"/>
                  </a:lnTo>
                  <a:lnTo>
                    <a:pt x="772" y="219"/>
                  </a:lnTo>
                  <a:lnTo>
                    <a:pt x="770" y="221"/>
                  </a:lnTo>
                  <a:lnTo>
                    <a:pt x="770" y="225"/>
                  </a:lnTo>
                  <a:lnTo>
                    <a:pt x="772" y="224"/>
                  </a:lnTo>
                  <a:lnTo>
                    <a:pt x="777" y="224"/>
                  </a:lnTo>
                  <a:lnTo>
                    <a:pt x="779" y="222"/>
                  </a:lnTo>
                  <a:lnTo>
                    <a:pt x="784" y="224"/>
                  </a:lnTo>
                  <a:lnTo>
                    <a:pt x="786" y="225"/>
                  </a:lnTo>
                  <a:lnTo>
                    <a:pt x="785" y="226"/>
                  </a:lnTo>
                  <a:lnTo>
                    <a:pt x="786" y="227"/>
                  </a:lnTo>
                  <a:lnTo>
                    <a:pt x="784" y="228"/>
                  </a:lnTo>
                  <a:lnTo>
                    <a:pt x="784" y="231"/>
                  </a:lnTo>
                  <a:lnTo>
                    <a:pt x="783" y="232"/>
                  </a:lnTo>
                  <a:lnTo>
                    <a:pt x="782" y="237"/>
                  </a:lnTo>
                  <a:lnTo>
                    <a:pt x="779" y="233"/>
                  </a:lnTo>
                  <a:lnTo>
                    <a:pt x="776" y="232"/>
                  </a:lnTo>
                  <a:lnTo>
                    <a:pt x="774" y="231"/>
                  </a:lnTo>
                  <a:lnTo>
                    <a:pt x="773" y="230"/>
                  </a:lnTo>
                  <a:lnTo>
                    <a:pt x="772" y="228"/>
                  </a:lnTo>
                  <a:lnTo>
                    <a:pt x="770" y="230"/>
                  </a:lnTo>
                  <a:lnTo>
                    <a:pt x="767" y="232"/>
                  </a:lnTo>
                  <a:lnTo>
                    <a:pt x="772" y="232"/>
                  </a:lnTo>
                  <a:lnTo>
                    <a:pt x="767" y="233"/>
                  </a:lnTo>
                  <a:lnTo>
                    <a:pt x="767" y="236"/>
                  </a:lnTo>
                  <a:lnTo>
                    <a:pt x="771" y="237"/>
                  </a:lnTo>
                  <a:lnTo>
                    <a:pt x="776" y="237"/>
                  </a:lnTo>
                  <a:lnTo>
                    <a:pt x="779" y="236"/>
                  </a:lnTo>
                  <a:lnTo>
                    <a:pt x="780" y="238"/>
                  </a:lnTo>
                  <a:lnTo>
                    <a:pt x="782" y="238"/>
                  </a:lnTo>
                  <a:lnTo>
                    <a:pt x="780" y="239"/>
                  </a:lnTo>
                  <a:lnTo>
                    <a:pt x="782" y="240"/>
                  </a:lnTo>
                  <a:lnTo>
                    <a:pt x="782" y="243"/>
                  </a:lnTo>
                  <a:lnTo>
                    <a:pt x="780" y="243"/>
                  </a:lnTo>
                  <a:lnTo>
                    <a:pt x="783" y="245"/>
                  </a:lnTo>
                  <a:lnTo>
                    <a:pt x="780" y="248"/>
                  </a:lnTo>
                  <a:lnTo>
                    <a:pt x="778" y="244"/>
                  </a:lnTo>
                  <a:lnTo>
                    <a:pt x="774" y="239"/>
                  </a:lnTo>
                  <a:lnTo>
                    <a:pt x="773" y="240"/>
                  </a:lnTo>
                  <a:lnTo>
                    <a:pt x="774" y="244"/>
                  </a:lnTo>
                  <a:lnTo>
                    <a:pt x="772" y="245"/>
                  </a:lnTo>
                  <a:lnTo>
                    <a:pt x="772" y="248"/>
                  </a:lnTo>
                  <a:lnTo>
                    <a:pt x="772" y="254"/>
                  </a:lnTo>
                  <a:lnTo>
                    <a:pt x="771" y="248"/>
                  </a:lnTo>
                  <a:lnTo>
                    <a:pt x="770" y="250"/>
                  </a:lnTo>
                  <a:lnTo>
                    <a:pt x="768" y="246"/>
                  </a:lnTo>
                  <a:lnTo>
                    <a:pt x="768" y="242"/>
                  </a:lnTo>
                  <a:lnTo>
                    <a:pt x="767" y="242"/>
                  </a:lnTo>
                  <a:lnTo>
                    <a:pt x="763" y="239"/>
                  </a:lnTo>
                  <a:lnTo>
                    <a:pt x="765" y="243"/>
                  </a:lnTo>
                  <a:lnTo>
                    <a:pt x="763" y="251"/>
                  </a:lnTo>
                  <a:lnTo>
                    <a:pt x="761" y="250"/>
                  </a:lnTo>
                  <a:lnTo>
                    <a:pt x="760" y="248"/>
                  </a:lnTo>
                  <a:lnTo>
                    <a:pt x="759" y="243"/>
                  </a:lnTo>
                  <a:lnTo>
                    <a:pt x="759" y="244"/>
                  </a:lnTo>
                  <a:lnTo>
                    <a:pt x="757" y="252"/>
                  </a:lnTo>
                  <a:lnTo>
                    <a:pt x="762" y="256"/>
                  </a:lnTo>
                  <a:lnTo>
                    <a:pt x="762" y="261"/>
                  </a:lnTo>
                  <a:lnTo>
                    <a:pt x="761" y="263"/>
                  </a:lnTo>
                  <a:lnTo>
                    <a:pt x="761" y="264"/>
                  </a:lnTo>
                  <a:lnTo>
                    <a:pt x="759" y="264"/>
                  </a:lnTo>
                  <a:lnTo>
                    <a:pt x="759" y="267"/>
                  </a:lnTo>
                  <a:lnTo>
                    <a:pt x="757" y="268"/>
                  </a:lnTo>
                  <a:lnTo>
                    <a:pt x="757" y="273"/>
                  </a:lnTo>
                  <a:lnTo>
                    <a:pt x="755" y="270"/>
                  </a:lnTo>
                  <a:lnTo>
                    <a:pt x="754" y="268"/>
                  </a:lnTo>
                  <a:lnTo>
                    <a:pt x="754" y="267"/>
                  </a:lnTo>
                  <a:lnTo>
                    <a:pt x="753" y="264"/>
                  </a:lnTo>
                  <a:lnTo>
                    <a:pt x="751" y="262"/>
                  </a:lnTo>
                  <a:lnTo>
                    <a:pt x="750" y="262"/>
                  </a:lnTo>
                  <a:lnTo>
                    <a:pt x="750" y="258"/>
                  </a:lnTo>
                  <a:lnTo>
                    <a:pt x="753" y="255"/>
                  </a:lnTo>
                  <a:lnTo>
                    <a:pt x="756" y="252"/>
                  </a:lnTo>
                  <a:lnTo>
                    <a:pt x="757" y="248"/>
                  </a:lnTo>
                  <a:lnTo>
                    <a:pt x="755" y="250"/>
                  </a:lnTo>
                  <a:lnTo>
                    <a:pt x="753" y="251"/>
                  </a:lnTo>
                  <a:lnTo>
                    <a:pt x="754" y="246"/>
                  </a:lnTo>
                  <a:lnTo>
                    <a:pt x="750" y="249"/>
                  </a:lnTo>
                  <a:lnTo>
                    <a:pt x="748" y="250"/>
                  </a:lnTo>
                  <a:lnTo>
                    <a:pt x="745" y="252"/>
                  </a:lnTo>
                  <a:lnTo>
                    <a:pt x="745" y="249"/>
                  </a:lnTo>
                  <a:lnTo>
                    <a:pt x="744" y="250"/>
                  </a:lnTo>
                  <a:lnTo>
                    <a:pt x="739" y="249"/>
                  </a:lnTo>
                  <a:lnTo>
                    <a:pt x="737" y="249"/>
                  </a:lnTo>
                  <a:lnTo>
                    <a:pt x="741" y="251"/>
                  </a:lnTo>
                  <a:lnTo>
                    <a:pt x="738" y="255"/>
                  </a:lnTo>
                  <a:lnTo>
                    <a:pt x="736" y="256"/>
                  </a:lnTo>
                  <a:lnTo>
                    <a:pt x="733" y="258"/>
                  </a:lnTo>
                  <a:lnTo>
                    <a:pt x="733" y="263"/>
                  </a:lnTo>
                  <a:lnTo>
                    <a:pt x="736" y="263"/>
                  </a:lnTo>
                  <a:lnTo>
                    <a:pt x="738" y="266"/>
                  </a:lnTo>
                  <a:lnTo>
                    <a:pt x="737" y="269"/>
                  </a:lnTo>
                  <a:lnTo>
                    <a:pt x="738" y="268"/>
                  </a:lnTo>
                  <a:lnTo>
                    <a:pt x="739" y="272"/>
                  </a:lnTo>
                  <a:lnTo>
                    <a:pt x="741" y="274"/>
                  </a:lnTo>
                  <a:lnTo>
                    <a:pt x="744" y="276"/>
                  </a:lnTo>
                  <a:lnTo>
                    <a:pt x="748" y="275"/>
                  </a:lnTo>
                  <a:lnTo>
                    <a:pt x="744" y="273"/>
                  </a:lnTo>
                  <a:lnTo>
                    <a:pt x="742" y="270"/>
                  </a:lnTo>
                  <a:lnTo>
                    <a:pt x="748" y="269"/>
                  </a:lnTo>
                  <a:lnTo>
                    <a:pt x="751" y="270"/>
                  </a:lnTo>
                  <a:lnTo>
                    <a:pt x="751" y="274"/>
                  </a:lnTo>
                  <a:lnTo>
                    <a:pt x="754" y="274"/>
                  </a:lnTo>
                  <a:lnTo>
                    <a:pt x="756" y="275"/>
                  </a:lnTo>
                  <a:lnTo>
                    <a:pt x="760" y="274"/>
                  </a:lnTo>
                  <a:lnTo>
                    <a:pt x="763" y="272"/>
                  </a:lnTo>
                  <a:lnTo>
                    <a:pt x="767" y="270"/>
                  </a:lnTo>
                  <a:lnTo>
                    <a:pt x="770" y="269"/>
                  </a:lnTo>
                  <a:lnTo>
                    <a:pt x="770" y="272"/>
                  </a:lnTo>
                  <a:lnTo>
                    <a:pt x="770" y="275"/>
                  </a:lnTo>
                  <a:lnTo>
                    <a:pt x="772" y="275"/>
                  </a:lnTo>
                  <a:lnTo>
                    <a:pt x="772" y="274"/>
                  </a:lnTo>
                  <a:lnTo>
                    <a:pt x="771" y="273"/>
                  </a:lnTo>
                  <a:lnTo>
                    <a:pt x="772" y="272"/>
                  </a:lnTo>
                  <a:lnTo>
                    <a:pt x="776" y="272"/>
                  </a:lnTo>
                  <a:lnTo>
                    <a:pt x="778" y="270"/>
                  </a:lnTo>
                  <a:lnTo>
                    <a:pt x="780" y="272"/>
                  </a:lnTo>
                  <a:lnTo>
                    <a:pt x="779" y="273"/>
                  </a:lnTo>
                  <a:lnTo>
                    <a:pt x="782" y="272"/>
                  </a:lnTo>
                  <a:lnTo>
                    <a:pt x="778" y="266"/>
                  </a:lnTo>
                  <a:lnTo>
                    <a:pt x="773" y="266"/>
                  </a:lnTo>
                  <a:lnTo>
                    <a:pt x="770" y="268"/>
                  </a:lnTo>
                  <a:lnTo>
                    <a:pt x="770" y="266"/>
                  </a:lnTo>
                  <a:lnTo>
                    <a:pt x="767" y="264"/>
                  </a:lnTo>
                  <a:lnTo>
                    <a:pt x="766" y="262"/>
                  </a:lnTo>
                  <a:lnTo>
                    <a:pt x="772" y="261"/>
                  </a:lnTo>
                  <a:lnTo>
                    <a:pt x="778" y="262"/>
                  </a:lnTo>
                  <a:lnTo>
                    <a:pt x="782" y="262"/>
                  </a:lnTo>
                  <a:lnTo>
                    <a:pt x="780" y="262"/>
                  </a:lnTo>
                  <a:lnTo>
                    <a:pt x="779" y="264"/>
                  </a:lnTo>
                  <a:lnTo>
                    <a:pt x="782" y="269"/>
                  </a:lnTo>
                  <a:lnTo>
                    <a:pt x="784" y="269"/>
                  </a:lnTo>
                  <a:lnTo>
                    <a:pt x="786" y="269"/>
                  </a:lnTo>
                  <a:lnTo>
                    <a:pt x="786" y="267"/>
                  </a:lnTo>
                  <a:lnTo>
                    <a:pt x="788" y="266"/>
                  </a:lnTo>
                  <a:lnTo>
                    <a:pt x="790" y="264"/>
                  </a:lnTo>
                  <a:lnTo>
                    <a:pt x="790" y="263"/>
                  </a:lnTo>
                  <a:lnTo>
                    <a:pt x="791" y="263"/>
                  </a:lnTo>
                  <a:lnTo>
                    <a:pt x="792" y="266"/>
                  </a:lnTo>
                  <a:lnTo>
                    <a:pt x="795" y="267"/>
                  </a:lnTo>
                  <a:lnTo>
                    <a:pt x="794" y="270"/>
                  </a:lnTo>
                  <a:lnTo>
                    <a:pt x="791" y="273"/>
                  </a:lnTo>
                  <a:lnTo>
                    <a:pt x="794" y="273"/>
                  </a:lnTo>
                  <a:lnTo>
                    <a:pt x="796" y="272"/>
                  </a:lnTo>
                  <a:lnTo>
                    <a:pt x="800" y="269"/>
                  </a:lnTo>
                  <a:lnTo>
                    <a:pt x="803" y="267"/>
                  </a:lnTo>
                  <a:lnTo>
                    <a:pt x="807" y="266"/>
                  </a:lnTo>
                  <a:lnTo>
                    <a:pt x="801" y="274"/>
                  </a:lnTo>
                  <a:lnTo>
                    <a:pt x="797" y="278"/>
                  </a:lnTo>
                  <a:lnTo>
                    <a:pt x="796" y="287"/>
                  </a:lnTo>
                  <a:lnTo>
                    <a:pt x="797" y="288"/>
                  </a:lnTo>
                  <a:lnTo>
                    <a:pt x="798" y="282"/>
                  </a:lnTo>
                  <a:lnTo>
                    <a:pt x="802" y="280"/>
                  </a:lnTo>
                  <a:lnTo>
                    <a:pt x="803" y="278"/>
                  </a:lnTo>
                  <a:lnTo>
                    <a:pt x="804" y="274"/>
                  </a:lnTo>
                  <a:lnTo>
                    <a:pt x="807" y="276"/>
                  </a:lnTo>
                  <a:lnTo>
                    <a:pt x="809" y="278"/>
                  </a:lnTo>
                  <a:lnTo>
                    <a:pt x="809" y="279"/>
                  </a:lnTo>
                  <a:lnTo>
                    <a:pt x="810" y="280"/>
                  </a:lnTo>
                  <a:lnTo>
                    <a:pt x="810" y="281"/>
                  </a:lnTo>
                  <a:lnTo>
                    <a:pt x="810" y="284"/>
                  </a:lnTo>
                  <a:lnTo>
                    <a:pt x="808" y="287"/>
                  </a:lnTo>
                  <a:lnTo>
                    <a:pt x="808" y="290"/>
                  </a:lnTo>
                  <a:lnTo>
                    <a:pt x="810" y="287"/>
                  </a:lnTo>
                  <a:lnTo>
                    <a:pt x="814" y="287"/>
                  </a:lnTo>
                  <a:lnTo>
                    <a:pt x="819" y="287"/>
                  </a:lnTo>
                  <a:lnTo>
                    <a:pt x="821" y="287"/>
                  </a:lnTo>
                  <a:lnTo>
                    <a:pt x="825" y="286"/>
                  </a:lnTo>
                  <a:lnTo>
                    <a:pt x="825" y="288"/>
                  </a:lnTo>
                  <a:lnTo>
                    <a:pt x="827" y="288"/>
                  </a:lnTo>
                  <a:lnTo>
                    <a:pt x="824" y="292"/>
                  </a:lnTo>
                  <a:lnTo>
                    <a:pt x="819" y="293"/>
                  </a:lnTo>
                  <a:lnTo>
                    <a:pt x="814" y="293"/>
                  </a:lnTo>
                  <a:lnTo>
                    <a:pt x="809" y="293"/>
                  </a:lnTo>
                  <a:lnTo>
                    <a:pt x="809" y="297"/>
                  </a:lnTo>
                  <a:lnTo>
                    <a:pt x="812" y="296"/>
                  </a:lnTo>
                  <a:lnTo>
                    <a:pt x="815" y="294"/>
                  </a:lnTo>
                  <a:lnTo>
                    <a:pt x="816" y="296"/>
                  </a:lnTo>
                  <a:lnTo>
                    <a:pt x="819" y="296"/>
                  </a:lnTo>
                  <a:lnTo>
                    <a:pt x="822" y="294"/>
                  </a:lnTo>
                  <a:lnTo>
                    <a:pt x="825" y="297"/>
                  </a:lnTo>
                  <a:lnTo>
                    <a:pt x="826" y="297"/>
                  </a:lnTo>
                  <a:lnTo>
                    <a:pt x="829" y="298"/>
                  </a:lnTo>
                  <a:lnTo>
                    <a:pt x="829" y="296"/>
                  </a:lnTo>
                  <a:lnTo>
                    <a:pt x="829" y="290"/>
                  </a:lnTo>
                  <a:lnTo>
                    <a:pt x="832" y="287"/>
                  </a:lnTo>
                  <a:lnTo>
                    <a:pt x="833" y="284"/>
                  </a:lnTo>
                  <a:lnTo>
                    <a:pt x="831" y="284"/>
                  </a:lnTo>
                  <a:lnTo>
                    <a:pt x="829" y="282"/>
                  </a:lnTo>
                  <a:lnTo>
                    <a:pt x="831" y="281"/>
                  </a:lnTo>
                  <a:lnTo>
                    <a:pt x="832" y="275"/>
                  </a:lnTo>
                  <a:lnTo>
                    <a:pt x="836" y="276"/>
                  </a:lnTo>
                  <a:lnTo>
                    <a:pt x="839" y="273"/>
                  </a:lnTo>
                  <a:lnTo>
                    <a:pt x="839" y="275"/>
                  </a:lnTo>
                  <a:lnTo>
                    <a:pt x="839" y="279"/>
                  </a:lnTo>
                  <a:lnTo>
                    <a:pt x="839" y="280"/>
                  </a:lnTo>
                  <a:lnTo>
                    <a:pt x="841" y="284"/>
                  </a:lnTo>
                  <a:lnTo>
                    <a:pt x="842" y="287"/>
                  </a:lnTo>
                  <a:lnTo>
                    <a:pt x="844" y="290"/>
                  </a:lnTo>
                  <a:lnTo>
                    <a:pt x="845" y="291"/>
                  </a:lnTo>
                  <a:lnTo>
                    <a:pt x="845" y="292"/>
                  </a:lnTo>
                  <a:lnTo>
                    <a:pt x="848" y="293"/>
                  </a:lnTo>
                  <a:lnTo>
                    <a:pt x="851" y="296"/>
                  </a:lnTo>
                  <a:lnTo>
                    <a:pt x="853" y="296"/>
                  </a:lnTo>
                  <a:lnTo>
                    <a:pt x="853" y="293"/>
                  </a:lnTo>
                  <a:lnTo>
                    <a:pt x="855" y="292"/>
                  </a:lnTo>
                  <a:lnTo>
                    <a:pt x="860" y="292"/>
                  </a:lnTo>
                  <a:lnTo>
                    <a:pt x="856" y="296"/>
                  </a:lnTo>
                  <a:lnTo>
                    <a:pt x="855" y="297"/>
                  </a:lnTo>
                  <a:lnTo>
                    <a:pt x="857" y="297"/>
                  </a:lnTo>
                  <a:lnTo>
                    <a:pt x="860" y="298"/>
                  </a:lnTo>
                  <a:lnTo>
                    <a:pt x="862" y="299"/>
                  </a:lnTo>
                  <a:lnTo>
                    <a:pt x="861" y="303"/>
                  </a:lnTo>
                  <a:lnTo>
                    <a:pt x="859" y="306"/>
                  </a:lnTo>
                  <a:lnTo>
                    <a:pt x="859" y="309"/>
                  </a:lnTo>
                  <a:lnTo>
                    <a:pt x="854" y="305"/>
                  </a:lnTo>
                  <a:lnTo>
                    <a:pt x="850" y="308"/>
                  </a:lnTo>
                  <a:lnTo>
                    <a:pt x="849" y="311"/>
                  </a:lnTo>
                  <a:lnTo>
                    <a:pt x="851" y="311"/>
                  </a:lnTo>
                  <a:lnTo>
                    <a:pt x="850" y="314"/>
                  </a:lnTo>
                  <a:lnTo>
                    <a:pt x="848" y="319"/>
                  </a:lnTo>
                  <a:lnTo>
                    <a:pt x="845" y="321"/>
                  </a:lnTo>
                  <a:lnTo>
                    <a:pt x="844" y="320"/>
                  </a:lnTo>
                  <a:lnTo>
                    <a:pt x="844" y="325"/>
                  </a:lnTo>
                  <a:lnTo>
                    <a:pt x="847" y="328"/>
                  </a:lnTo>
                  <a:lnTo>
                    <a:pt x="850" y="327"/>
                  </a:lnTo>
                  <a:lnTo>
                    <a:pt x="855" y="325"/>
                  </a:lnTo>
                  <a:lnTo>
                    <a:pt x="859" y="323"/>
                  </a:lnTo>
                  <a:lnTo>
                    <a:pt x="863" y="322"/>
                  </a:lnTo>
                  <a:lnTo>
                    <a:pt x="857" y="326"/>
                  </a:lnTo>
                  <a:lnTo>
                    <a:pt x="854" y="329"/>
                  </a:lnTo>
                  <a:lnTo>
                    <a:pt x="855" y="331"/>
                  </a:lnTo>
                  <a:lnTo>
                    <a:pt x="855" y="332"/>
                  </a:lnTo>
                  <a:lnTo>
                    <a:pt x="857" y="333"/>
                  </a:lnTo>
                  <a:lnTo>
                    <a:pt x="862" y="332"/>
                  </a:lnTo>
                  <a:lnTo>
                    <a:pt x="868" y="333"/>
                  </a:lnTo>
                  <a:lnTo>
                    <a:pt x="869" y="331"/>
                  </a:lnTo>
                  <a:lnTo>
                    <a:pt x="872" y="327"/>
                  </a:lnTo>
                  <a:lnTo>
                    <a:pt x="874" y="325"/>
                  </a:lnTo>
                  <a:lnTo>
                    <a:pt x="878" y="321"/>
                  </a:lnTo>
                  <a:lnTo>
                    <a:pt x="883" y="321"/>
                  </a:lnTo>
                  <a:lnTo>
                    <a:pt x="881" y="321"/>
                  </a:lnTo>
                  <a:lnTo>
                    <a:pt x="883" y="322"/>
                  </a:lnTo>
                  <a:lnTo>
                    <a:pt x="886" y="322"/>
                  </a:lnTo>
                  <a:lnTo>
                    <a:pt x="886" y="323"/>
                  </a:lnTo>
                  <a:lnTo>
                    <a:pt x="884" y="325"/>
                  </a:lnTo>
                  <a:lnTo>
                    <a:pt x="879" y="326"/>
                  </a:lnTo>
                  <a:lnTo>
                    <a:pt x="878" y="328"/>
                  </a:lnTo>
                  <a:lnTo>
                    <a:pt x="878" y="331"/>
                  </a:lnTo>
                  <a:lnTo>
                    <a:pt x="879" y="333"/>
                  </a:lnTo>
                  <a:lnTo>
                    <a:pt x="881" y="334"/>
                  </a:lnTo>
                  <a:lnTo>
                    <a:pt x="884" y="338"/>
                  </a:lnTo>
                  <a:lnTo>
                    <a:pt x="883" y="340"/>
                  </a:lnTo>
                  <a:lnTo>
                    <a:pt x="885" y="343"/>
                  </a:lnTo>
                  <a:lnTo>
                    <a:pt x="885" y="346"/>
                  </a:lnTo>
                  <a:lnTo>
                    <a:pt x="884" y="347"/>
                  </a:lnTo>
                  <a:lnTo>
                    <a:pt x="883" y="352"/>
                  </a:lnTo>
                  <a:lnTo>
                    <a:pt x="883" y="356"/>
                  </a:lnTo>
                  <a:lnTo>
                    <a:pt x="885" y="357"/>
                  </a:lnTo>
                  <a:lnTo>
                    <a:pt x="886" y="356"/>
                  </a:lnTo>
                  <a:lnTo>
                    <a:pt x="889" y="352"/>
                  </a:lnTo>
                  <a:lnTo>
                    <a:pt x="892" y="350"/>
                  </a:lnTo>
                  <a:lnTo>
                    <a:pt x="889" y="350"/>
                  </a:lnTo>
                  <a:lnTo>
                    <a:pt x="888" y="350"/>
                  </a:lnTo>
                  <a:lnTo>
                    <a:pt x="888" y="349"/>
                  </a:lnTo>
                  <a:lnTo>
                    <a:pt x="889" y="347"/>
                  </a:lnTo>
                  <a:lnTo>
                    <a:pt x="894" y="345"/>
                  </a:lnTo>
                  <a:lnTo>
                    <a:pt x="897" y="345"/>
                  </a:lnTo>
                  <a:lnTo>
                    <a:pt x="898" y="341"/>
                  </a:lnTo>
                  <a:lnTo>
                    <a:pt x="898" y="337"/>
                  </a:lnTo>
                  <a:lnTo>
                    <a:pt x="903" y="333"/>
                  </a:lnTo>
                  <a:lnTo>
                    <a:pt x="901" y="340"/>
                  </a:lnTo>
                  <a:lnTo>
                    <a:pt x="902" y="343"/>
                  </a:lnTo>
                  <a:lnTo>
                    <a:pt x="904" y="341"/>
                  </a:lnTo>
                  <a:lnTo>
                    <a:pt x="902" y="345"/>
                  </a:lnTo>
                  <a:lnTo>
                    <a:pt x="901" y="350"/>
                  </a:lnTo>
                  <a:lnTo>
                    <a:pt x="902" y="352"/>
                  </a:lnTo>
                  <a:lnTo>
                    <a:pt x="902" y="353"/>
                  </a:lnTo>
                  <a:lnTo>
                    <a:pt x="902" y="356"/>
                  </a:lnTo>
                  <a:lnTo>
                    <a:pt x="904" y="362"/>
                  </a:lnTo>
                  <a:lnTo>
                    <a:pt x="901" y="365"/>
                  </a:lnTo>
                  <a:lnTo>
                    <a:pt x="897" y="365"/>
                  </a:lnTo>
                  <a:lnTo>
                    <a:pt x="891" y="364"/>
                  </a:lnTo>
                  <a:lnTo>
                    <a:pt x="886" y="364"/>
                  </a:lnTo>
                  <a:lnTo>
                    <a:pt x="879" y="367"/>
                  </a:lnTo>
                  <a:lnTo>
                    <a:pt x="877" y="370"/>
                  </a:lnTo>
                  <a:lnTo>
                    <a:pt x="880" y="369"/>
                  </a:lnTo>
                  <a:lnTo>
                    <a:pt x="886" y="370"/>
                  </a:lnTo>
                  <a:lnTo>
                    <a:pt x="886" y="374"/>
                  </a:lnTo>
                  <a:lnTo>
                    <a:pt x="889" y="374"/>
                  </a:lnTo>
                  <a:lnTo>
                    <a:pt x="891" y="375"/>
                  </a:lnTo>
                  <a:lnTo>
                    <a:pt x="895" y="376"/>
                  </a:lnTo>
                  <a:lnTo>
                    <a:pt x="898" y="377"/>
                  </a:lnTo>
                  <a:lnTo>
                    <a:pt x="902" y="377"/>
                  </a:lnTo>
                  <a:lnTo>
                    <a:pt x="904" y="376"/>
                  </a:lnTo>
                  <a:lnTo>
                    <a:pt x="906" y="379"/>
                  </a:lnTo>
                  <a:lnTo>
                    <a:pt x="906" y="381"/>
                  </a:lnTo>
                  <a:lnTo>
                    <a:pt x="904" y="382"/>
                  </a:lnTo>
                  <a:lnTo>
                    <a:pt x="901" y="383"/>
                  </a:lnTo>
                  <a:lnTo>
                    <a:pt x="906" y="387"/>
                  </a:lnTo>
                  <a:lnTo>
                    <a:pt x="902" y="387"/>
                  </a:lnTo>
                  <a:lnTo>
                    <a:pt x="902" y="388"/>
                  </a:lnTo>
                  <a:lnTo>
                    <a:pt x="901" y="392"/>
                  </a:lnTo>
                  <a:lnTo>
                    <a:pt x="900" y="393"/>
                  </a:lnTo>
                  <a:lnTo>
                    <a:pt x="897" y="392"/>
                  </a:lnTo>
                  <a:lnTo>
                    <a:pt x="898" y="397"/>
                  </a:lnTo>
                  <a:lnTo>
                    <a:pt x="896" y="395"/>
                  </a:lnTo>
                  <a:lnTo>
                    <a:pt x="894" y="399"/>
                  </a:lnTo>
                  <a:lnTo>
                    <a:pt x="891" y="398"/>
                  </a:lnTo>
                  <a:lnTo>
                    <a:pt x="891" y="399"/>
                  </a:lnTo>
                  <a:lnTo>
                    <a:pt x="889" y="401"/>
                  </a:lnTo>
                  <a:lnTo>
                    <a:pt x="888" y="401"/>
                  </a:lnTo>
                  <a:lnTo>
                    <a:pt x="884" y="399"/>
                  </a:lnTo>
                  <a:lnTo>
                    <a:pt x="883" y="400"/>
                  </a:lnTo>
                  <a:lnTo>
                    <a:pt x="881" y="397"/>
                  </a:lnTo>
                  <a:lnTo>
                    <a:pt x="880" y="399"/>
                  </a:lnTo>
                  <a:lnTo>
                    <a:pt x="881" y="401"/>
                  </a:lnTo>
                  <a:lnTo>
                    <a:pt x="885" y="401"/>
                  </a:lnTo>
                  <a:lnTo>
                    <a:pt x="889" y="405"/>
                  </a:lnTo>
                  <a:lnTo>
                    <a:pt x="891" y="412"/>
                  </a:lnTo>
                  <a:lnTo>
                    <a:pt x="890" y="415"/>
                  </a:lnTo>
                  <a:lnTo>
                    <a:pt x="888" y="410"/>
                  </a:lnTo>
                  <a:lnTo>
                    <a:pt x="885" y="406"/>
                  </a:lnTo>
                  <a:lnTo>
                    <a:pt x="883" y="409"/>
                  </a:lnTo>
                  <a:lnTo>
                    <a:pt x="881" y="410"/>
                  </a:lnTo>
                  <a:lnTo>
                    <a:pt x="880" y="407"/>
                  </a:lnTo>
                  <a:lnTo>
                    <a:pt x="879" y="407"/>
                  </a:lnTo>
                  <a:lnTo>
                    <a:pt x="879" y="405"/>
                  </a:lnTo>
                  <a:lnTo>
                    <a:pt x="879" y="403"/>
                  </a:lnTo>
                  <a:lnTo>
                    <a:pt x="875" y="405"/>
                  </a:lnTo>
                  <a:lnTo>
                    <a:pt x="873" y="407"/>
                  </a:lnTo>
                  <a:lnTo>
                    <a:pt x="872" y="406"/>
                  </a:lnTo>
                  <a:lnTo>
                    <a:pt x="869" y="409"/>
                  </a:lnTo>
                  <a:lnTo>
                    <a:pt x="868" y="411"/>
                  </a:lnTo>
                  <a:lnTo>
                    <a:pt x="866" y="405"/>
                  </a:lnTo>
                  <a:lnTo>
                    <a:pt x="866" y="400"/>
                  </a:lnTo>
                  <a:lnTo>
                    <a:pt x="863" y="401"/>
                  </a:lnTo>
                  <a:lnTo>
                    <a:pt x="862" y="399"/>
                  </a:lnTo>
                  <a:lnTo>
                    <a:pt x="863" y="393"/>
                  </a:lnTo>
                  <a:lnTo>
                    <a:pt x="863" y="389"/>
                  </a:lnTo>
                  <a:lnTo>
                    <a:pt x="860" y="391"/>
                  </a:lnTo>
                  <a:lnTo>
                    <a:pt x="854" y="395"/>
                  </a:lnTo>
                  <a:lnTo>
                    <a:pt x="847" y="400"/>
                  </a:lnTo>
                  <a:lnTo>
                    <a:pt x="847" y="403"/>
                  </a:lnTo>
                  <a:lnTo>
                    <a:pt x="848" y="403"/>
                  </a:lnTo>
                  <a:lnTo>
                    <a:pt x="848" y="405"/>
                  </a:lnTo>
                  <a:lnTo>
                    <a:pt x="847" y="407"/>
                  </a:lnTo>
                  <a:lnTo>
                    <a:pt x="851" y="413"/>
                  </a:lnTo>
                  <a:lnTo>
                    <a:pt x="854" y="415"/>
                  </a:lnTo>
                  <a:lnTo>
                    <a:pt x="862" y="423"/>
                  </a:lnTo>
                  <a:lnTo>
                    <a:pt x="865" y="421"/>
                  </a:lnTo>
                  <a:lnTo>
                    <a:pt x="866" y="418"/>
                  </a:lnTo>
                  <a:lnTo>
                    <a:pt x="867" y="415"/>
                  </a:lnTo>
                  <a:lnTo>
                    <a:pt x="869" y="415"/>
                  </a:lnTo>
                  <a:lnTo>
                    <a:pt x="871" y="416"/>
                  </a:lnTo>
                  <a:lnTo>
                    <a:pt x="871" y="419"/>
                  </a:lnTo>
                  <a:lnTo>
                    <a:pt x="877" y="422"/>
                  </a:lnTo>
                  <a:lnTo>
                    <a:pt x="875" y="428"/>
                  </a:lnTo>
                  <a:lnTo>
                    <a:pt x="877" y="433"/>
                  </a:lnTo>
                  <a:lnTo>
                    <a:pt x="886" y="433"/>
                  </a:lnTo>
                  <a:lnTo>
                    <a:pt x="886" y="429"/>
                  </a:lnTo>
                  <a:lnTo>
                    <a:pt x="884" y="429"/>
                  </a:lnTo>
                  <a:lnTo>
                    <a:pt x="888" y="424"/>
                  </a:lnTo>
                  <a:lnTo>
                    <a:pt x="894" y="423"/>
                  </a:lnTo>
                  <a:lnTo>
                    <a:pt x="896" y="419"/>
                  </a:lnTo>
                  <a:lnTo>
                    <a:pt x="898" y="421"/>
                  </a:lnTo>
                  <a:lnTo>
                    <a:pt x="897" y="425"/>
                  </a:lnTo>
                  <a:lnTo>
                    <a:pt x="892" y="429"/>
                  </a:lnTo>
                  <a:lnTo>
                    <a:pt x="889" y="433"/>
                  </a:lnTo>
                  <a:lnTo>
                    <a:pt x="888" y="434"/>
                  </a:lnTo>
                  <a:lnTo>
                    <a:pt x="878" y="435"/>
                  </a:lnTo>
                  <a:lnTo>
                    <a:pt x="877" y="438"/>
                  </a:lnTo>
                  <a:lnTo>
                    <a:pt x="874" y="438"/>
                  </a:lnTo>
                  <a:lnTo>
                    <a:pt x="874" y="441"/>
                  </a:lnTo>
                  <a:lnTo>
                    <a:pt x="878" y="441"/>
                  </a:lnTo>
                  <a:lnTo>
                    <a:pt x="875" y="447"/>
                  </a:lnTo>
                  <a:lnTo>
                    <a:pt x="874" y="448"/>
                  </a:lnTo>
                  <a:lnTo>
                    <a:pt x="872" y="445"/>
                  </a:lnTo>
                  <a:lnTo>
                    <a:pt x="871" y="440"/>
                  </a:lnTo>
                  <a:lnTo>
                    <a:pt x="871" y="436"/>
                  </a:lnTo>
                  <a:lnTo>
                    <a:pt x="868" y="439"/>
                  </a:lnTo>
                  <a:lnTo>
                    <a:pt x="868" y="442"/>
                  </a:lnTo>
                  <a:lnTo>
                    <a:pt x="863" y="445"/>
                  </a:lnTo>
                  <a:lnTo>
                    <a:pt x="862" y="442"/>
                  </a:lnTo>
                  <a:lnTo>
                    <a:pt x="861" y="436"/>
                  </a:lnTo>
                  <a:lnTo>
                    <a:pt x="859" y="440"/>
                  </a:lnTo>
                  <a:lnTo>
                    <a:pt x="856" y="445"/>
                  </a:lnTo>
                  <a:lnTo>
                    <a:pt x="854" y="447"/>
                  </a:lnTo>
                  <a:lnTo>
                    <a:pt x="853" y="444"/>
                  </a:lnTo>
                  <a:lnTo>
                    <a:pt x="851" y="440"/>
                  </a:lnTo>
                  <a:lnTo>
                    <a:pt x="853" y="435"/>
                  </a:lnTo>
                  <a:lnTo>
                    <a:pt x="850" y="434"/>
                  </a:lnTo>
                  <a:lnTo>
                    <a:pt x="848" y="435"/>
                  </a:lnTo>
                  <a:lnTo>
                    <a:pt x="843" y="436"/>
                  </a:lnTo>
                  <a:lnTo>
                    <a:pt x="844" y="433"/>
                  </a:lnTo>
                  <a:lnTo>
                    <a:pt x="845" y="428"/>
                  </a:lnTo>
                  <a:lnTo>
                    <a:pt x="842" y="428"/>
                  </a:lnTo>
                  <a:lnTo>
                    <a:pt x="843" y="424"/>
                  </a:lnTo>
                  <a:lnTo>
                    <a:pt x="843" y="422"/>
                  </a:lnTo>
                  <a:lnTo>
                    <a:pt x="842" y="419"/>
                  </a:lnTo>
                  <a:lnTo>
                    <a:pt x="841" y="419"/>
                  </a:lnTo>
                  <a:lnTo>
                    <a:pt x="838" y="423"/>
                  </a:lnTo>
                  <a:lnTo>
                    <a:pt x="837" y="422"/>
                  </a:lnTo>
                  <a:lnTo>
                    <a:pt x="838" y="417"/>
                  </a:lnTo>
                  <a:lnTo>
                    <a:pt x="835" y="418"/>
                  </a:lnTo>
                  <a:lnTo>
                    <a:pt x="833" y="422"/>
                  </a:lnTo>
                  <a:lnTo>
                    <a:pt x="833" y="424"/>
                  </a:lnTo>
                  <a:lnTo>
                    <a:pt x="835" y="428"/>
                  </a:lnTo>
                  <a:lnTo>
                    <a:pt x="835" y="432"/>
                  </a:lnTo>
                  <a:lnTo>
                    <a:pt x="833" y="433"/>
                  </a:lnTo>
                  <a:lnTo>
                    <a:pt x="836" y="435"/>
                  </a:lnTo>
                  <a:lnTo>
                    <a:pt x="836" y="441"/>
                  </a:lnTo>
                  <a:lnTo>
                    <a:pt x="835" y="442"/>
                  </a:lnTo>
                  <a:lnTo>
                    <a:pt x="835" y="444"/>
                  </a:lnTo>
                  <a:lnTo>
                    <a:pt x="838" y="446"/>
                  </a:lnTo>
                  <a:lnTo>
                    <a:pt x="837" y="446"/>
                  </a:lnTo>
                  <a:lnTo>
                    <a:pt x="836" y="447"/>
                  </a:lnTo>
                  <a:lnTo>
                    <a:pt x="842" y="451"/>
                  </a:lnTo>
                  <a:lnTo>
                    <a:pt x="842" y="452"/>
                  </a:lnTo>
                  <a:lnTo>
                    <a:pt x="843" y="452"/>
                  </a:lnTo>
                  <a:lnTo>
                    <a:pt x="845" y="447"/>
                  </a:lnTo>
                  <a:lnTo>
                    <a:pt x="849" y="446"/>
                  </a:lnTo>
                  <a:lnTo>
                    <a:pt x="851" y="451"/>
                  </a:lnTo>
                  <a:lnTo>
                    <a:pt x="855" y="452"/>
                  </a:lnTo>
                  <a:lnTo>
                    <a:pt x="851" y="454"/>
                  </a:lnTo>
                  <a:lnTo>
                    <a:pt x="856" y="456"/>
                  </a:lnTo>
                  <a:lnTo>
                    <a:pt x="855" y="458"/>
                  </a:lnTo>
                  <a:lnTo>
                    <a:pt x="851" y="459"/>
                  </a:lnTo>
                  <a:lnTo>
                    <a:pt x="844" y="456"/>
                  </a:lnTo>
                  <a:lnTo>
                    <a:pt x="841" y="457"/>
                  </a:lnTo>
                  <a:lnTo>
                    <a:pt x="839" y="456"/>
                  </a:lnTo>
                  <a:lnTo>
                    <a:pt x="835" y="454"/>
                  </a:lnTo>
                  <a:lnTo>
                    <a:pt x="830" y="457"/>
                  </a:lnTo>
                  <a:lnTo>
                    <a:pt x="825" y="462"/>
                  </a:lnTo>
                  <a:lnTo>
                    <a:pt x="824" y="457"/>
                  </a:lnTo>
                  <a:lnTo>
                    <a:pt x="820" y="462"/>
                  </a:lnTo>
                  <a:lnTo>
                    <a:pt x="820" y="456"/>
                  </a:lnTo>
                  <a:lnTo>
                    <a:pt x="814" y="453"/>
                  </a:lnTo>
                  <a:lnTo>
                    <a:pt x="814" y="457"/>
                  </a:lnTo>
                  <a:lnTo>
                    <a:pt x="815" y="459"/>
                  </a:lnTo>
                  <a:lnTo>
                    <a:pt x="813" y="459"/>
                  </a:lnTo>
                  <a:lnTo>
                    <a:pt x="812" y="460"/>
                  </a:lnTo>
                  <a:lnTo>
                    <a:pt x="812" y="463"/>
                  </a:lnTo>
                  <a:lnTo>
                    <a:pt x="814" y="465"/>
                  </a:lnTo>
                  <a:lnTo>
                    <a:pt x="812" y="466"/>
                  </a:lnTo>
                  <a:lnTo>
                    <a:pt x="810" y="469"/>
                  </a:lnTo>
                  <a:lnTo>
                    <a:pt x="809" y="465"/>
                  </a:lnTo>
                  <a:lnTo>
                    <a:pt x="808" y="460"/>
                  </a:lnTo>
                  <a:lnTo>
                    <a:pt x="807" y="463"/>
                  </a:lnTo>
                  <a:lnTo>
                    <a:pt x="807" y="459"/>
                  </a:lnTo>
                  <a:lnTo>
                    <a:pt x="804" y="460"/>
                  </a:lnTo>
                  <a:lnTo>
                    <a:pt x="803" y="463"/>
                  </a:lnTo>
                  <a:lnTo>
                    <a:pt x="802" y="462"/>
                  </a:lnTo>
                  <a:lnTo>
                    <a:pt x="801" y="462"/>
                  </a:lnTo>
                  <a:lnTo>
                    <a:pt x="798" y="459"/>
                  </a:lnTo>
                  <a:lnTo>
                    <a:pt x="796" y="459"/>
                  </a:lnTo>
                  <a:lnTo>
                    <a:pt x="796" y="457"/>
                  </a:lnTo>
                  <a:lnTo>
                    <a:pt x="794" y="456"/>
                  </a:lnTo>
                  <a:lnTo>
                    <a:pt x="791" y="459"/>
                  </a:lnTo>
                  <a:lnTo>
                    <a:pt x="788" y="463"/>
                  </a:lnTo>
                  <a:lnTo>
                    <a:pt x="785" y="466"/>
                  </a:lnTo>
                  <a:lnTo>
                    <a:pt x="785" y="469"/>
                  </a:lnTo>
                  <a:lnTo>
                    <a:pt x="784" y="464"/>
                  </a:lnTo>
                  <a:lnTo>
                    <a:pt x="780" y="463"/>
                  </a:lnTo>
                  <a:lnTo>
                    <a:pt x="777" y="464"/>
                  </a:lnTo>
                  <a:lnTo>
                    <a:pt x="774" y="465"/>
                  </a:lnTo>
                  <a:lnTo>
                    <a:pt x="774" y="463"/>
                  </a:lnTo>
                  <a:lnTo>
                    <a:pt x="768" y="464"/>
                  </a:lnTo>
                  <a:lnTo>
                    <a:pt x="766" y="466"/>
                  </a:lnTo>
                  <a:lnTo>
                    <a:pt x="765" y="471"/>
                  </a:lnTo>
                  <a:lnTo>
                    <a:pt x="763" y="470"/>
                  </a:lnTo>
                  <a:lnTo>
                    <a:pt x="762" y="466"/>
                  </a:lnTo>
                  <a:lnTo>
                    <a:pt x="761" y="469"/>
                  </a:lnTo>
                  <a:lnTo>
                    <a:pt x="760" y="471"/>
                  </a:lnTo>
                  <a:lnTo>
                    <a:pt x="760" y="474"/>
                  </a:lnTo>
                  <a:lnTo>
                    <a:pt x="762" y="474"/>
                  </a:lnTo>
                  <a:lnTo>
                    <a:pt x="760" y="477"/>
                  </a:lnTo>
                  <a:lnTo>
                    <a:pt x="762" y="478"/>
                  </a:lnTo>
                  <a:lnTo>
                    <a:pt x="763" y="480"/>
                  </a:lnTo>
                  <a:lnTo>
                    <a:pt x="766" y="480"/>
                  </a:lnTo>
                  <a:lnTo>
                    <a:pt x="767" y="478"/>
                  </a:lnTo>
                  <a:lnTo>
                    <a:pt x="770" y="480"/>
                  </a:lnTo>
                  <a:lnTo>
                    <a:pt x="771" y="477"/>
                  </a:lnTo>
                  <a:lnTo>
                    <a:pt x="771" y="472"/>
                  </a:lnTo>
                  <a:lnTo>
                    <a:pt x="774" y="475"/>
                  </a:lnTo>
                  <a:lnTo>
                    <a:pt x="777" y="478"/>
                  </a:lnTo>
                  <a:lnTo>
                    <a:pt x="780" y="478"/>
                  </a:lnTo>
                  <a:lnTo>
                    <a:pt x="782" y="482"/>
                  </a:lnTo>
                  <a:lnTo>
                    <a:pt x="779" y="482"/>
                  </a:lnTo>
                  <a:lnTo>
                    <a:pt x="778" y="482"/>
                  </a:lnTo>
                  <a:lnTo>
                    <a:pt x="778" y="483"/>
                  </a:lnTo>
                  <a:lnTo>
                    <a:pt x="780" y="487"/>
                  </a:lnTo>
                  <a:lnTo>
                    <a:pt x="778" y="486"/>
                  </a:lnTo>
                  <a:lnTo>
                    <a:pt x="776" y="486"/>
                  </a:lnTo>
                  <a:lnTo>
                    <a:pt x="774" y="487"/>
                  </a:lnTo>
                  <a:lnTo>
                    <a:pt x="777" y="489"/>
                  </a:lnTo>
                  <a:lnTo>
                    <a:pt x="779" y="490"/>
                  </a:lnTo>
                  <a:lnTo>
                    <a:pt x="782" y="489"/>
                  </a:lnTo>
                  <a:lnTo>
                    <a:pt x="783" y="487"/>
                  </a:lnTo>
                  <a:lnTo>
                    <a:pt x="784" y="490"/>
                  </a:lnTo>
                  <a:lnTo>
                    <a:pt x="783" y="494"/>
                  </a:lnTo>
                  <a:lnTo>
                    <a:pt x="780" y="494"/>
                  </a:lnTo>
                  <a:lnTo>
                    <a:pt x="778" y="495"/>
                  </a:lnTo>
                  <a:lnTo>
                    <a:pt x="779" y="496"/>
                  </a:lnTo>
                  <a:lnTo>
                    <a:pt x="783" y="496"/>
                  </a:lnTo>
                  <a:lnTo>
                    <a:pt x="785" y="498"/>
                  </a:lnTo>
                  <a:lnTo>
                    <a:pt x="789" y="499"/>
                  </a:lnTo>
                  <a:lnTo>
                    <a:pt x="790" y="500"/>
                  </a:lnTo>
                  <a:lnTo>
                    <a:pt x="790" y="501"/>
                  </a:lnTo>
                  <a:lnTo>
                    <a:pt x="790" y="506"/>
                  </a:lnTo>
                  <a:lnTo>
                    <a:pt x="792" y="508"/>
                  </a:lnTo>
                  <a:lnTo>
                    <a:pt x="795" y="508"/>
                  </a:lnTo>
                  <a:lnTo>
                    <a:pt x="797" y="508"/>
                  </a:lnTo>
                  <a:lnTo>
                    <a:pt x="800" y="510"/>
                  </a:lnTo>
                  <a:lnTo>
                    <a:pt x="801" y="508"/>
                  </a:lnTo>
                  <a:lnTo>
                    <a:pt x="801" y="505"/>
                  </a:lnTo>
                  <a:lnTo>
                    <a:pt x="803" y="502"/>
                  </a:lnTo>
                  <a:lnTo>
                    <a:pt x="804" y="501"/>
                  </a:lnTo>
                  <a:lnTo>
                    <a:pt x="809" y="501"/>
                  </a:lnTo>
                  <a:lnTo>
                    <a:pt x="807" y="505"/>
                  </a:lnTo>
                  <a:lnTo>
                    <a:pt x="806" y="506"/>
                  </a:lnTo>
                  <a:lnTo>
                    <a:pt x="807" y="506"/>
                  </a:lnTo>
                  <a:lnTo>
                    <a:pt x="808" y="506"/>
                  </a:lnTo>
                  <a:lnTo>
                    <a:pt x="807" y="510"/>
                  </a:lnTo>
                  <a:lnTo>
                    <a:pt x="809" y="514"/>
                  </a:lnTo>
                  <a:lnTo>
                    <a:pt x="810" y="518"/>
                  </a:lnTo>
                  <a:lnTo>
                    <a:pt x="810" y="519"/>
                  </a:lnTo>
                  <a:lnTo>
                    <a:pt x="812" y="516"/>
                  </a:lnTo>
                  <a:lnTo>
                    <a:pt x="814" y="519"/>
                  </a:lnTo>
                  <a:lnTo>
                    <a:pt x="814" y="525"/>
                  </a:lnTo>
                  <a:lnTo>
                    <a:pt x="813" y="530"/>
                  </a:lnTo>
                  <a:lnTo>
                    <a:pt x="816" y="530"/>
                  </a:lnTo>
                  <a:lnTo>
                    <a:pt x="819" y="528"/>
                  </a:lnTo>
                  <a:lnTo>
                    <a:pt x="821" y="528"/>
                  </a:lnTo>
                  <a:lnTo>
                    <a:pt x="824" y="530"/>
                  </a:lnTo>
                  <a:lnTo>
                    <a:pt x="827" y="530"/>
                  </a:lnTo>
                  <a:lnTo>
                    <a:pt x="825" y="529"/>
                  </a:lnTo>
                  <a:lnTo>
                    <a:pt x="827" y="528"/>
                  </a:lnTo>
                  <a:lnTo>
                    <a:pt x="829" y="526"/>
                  </a:lnTo>
                  <a:lnTo>
                    <a:pt x="830" y="525"/>
                  </a:lnTo>
                  <a:lnTo>
                    <a:pt x="832" y="526"/>
                  </a:lnTo>
                  <a:lnTo>
                    <a:pt x="833" y="529"/>
                  </a:lnTo>
                  <a:lnTo>
                    <a:pt x="832" y="530"/>
                  </a:lnTo>
                  <a:lnTo>
                    <a:pt x="832" y="531"/>
                  </a:lnTo>
                  <a:lnTo>
                    <a:pt x="836" y="532"/>
                  </a:lnTo>
                  <a:lnTo>
                    <a:pt x="842" y="537"/>
                  </a:lnTo>
                  <a:lnTo>
                    <a:pt x="839" y="537"/>
                  </a:lnTo>
                  <a:lnTo>
                    <a:pt x="838" y="540"/>
                  </a:lnTo>
                  <a:lnTo>
                    <a:pt x="841" y="542"/>
                  </a:lnTo>
                  <a:lnTo>
                    <a:pt x="842" y="542"/>
                  </a:lnTo>
                  <a:lnTo>
                    <a:pt x="842" y="551"/>
                  </a:lnTo>
                  <a:lnTo>
                    <a:pt x="839" y="555"/>
                  </a:lnTo>
                  <a:lnTo>
                    <a:pt x="836" y="554"/>
                  </a:lnTo>
                  <a:lnTo>
                    <a:pt x="836" y="557"/>
                  </a:lnTo>
                  <a:lnTo>
                    <a:pt x="833" y="561"/>
                  </a:lnTo>
                  <a:lnTo>
                    <a:pt x="830" y="564"/>
                  </a:lnTo>
                  <a:lnTo>
                    <a:pt x="825" y="564"/>
                  </a:lnTo>
                  <a:lnTo>
                    <a:pt x="824" y="567"/>
                  </a:lnTo>
                  <a:lnTo>
                    <a:pt x="821" y="567"/>
                  </a:lnTo>
                  <a:lnTo>
                    <a:pt x="819" y="569"/>
                  </a:lnTo>
                  <a:lnTo>
                    <a:pt x="824" y="572"/>
                  </a:lnTo>
                  <a:lnTo>
                    <a:pt x="827" y="575"/>
                  </a:lnTo>
                  <a:lnTo>
                    <a:pt x="833" y="575"/>
                  </a:lnTo>
                  <a:lnTo>
                    <a:pt x="841" y="575"/>
                  </a:lnTo>
                  <a:lnTo>
                    <a:pt x="843" y="577"/>
                  </a:lnTo>
                  <a:lnTo>
                    <a:pt x="847" y="581"/>
                  </a:lnTo>
                  <a:lnTo>
                    <a:pt x="848" y="587"/>
                  </a:lnTo>
                  <a:lnTo>
                    <a:pt x="844" y="584"/>
                  </a:lnTo>
                  <a:lnTo>
                    <a:pt x="841" y="582"/>
                  </a:lnTo>
                  <a:lnTo>
                    <a:pt x="836" y="581"/>
                  </a:lnTo>
                  <a:lnTo>
                    <a:pt x="835" y="579"/>
                  </a:lnTo>
                  <a:lnTo>
                    <a:pt x="835" y="577"/>
                  </a:lnTo>
                  <a:lnTo>
                    <a:pt x="829" y="576"/>
                  </a:lnTo>
                  <a:lnTo>
                    <a:pt x="822" y="573"/>
                  </a:lnTo>
                  <a:lnTo>
                    <a:pt x="821" y="573"/>
                  </a:lnTo>
                  <a:lnTo>
                    <a:pt x="820" y="576"/>
                  </a:lnTo>
                  <a:lnTo>
                    <a:pt x="820" y="578"/>
                  </a:lnTo>
                  <a:lnTo>
                    <a:pt x="819" y="579"/>
                  </a:lnTo>
                  <a:lnTo>
                    <a:pt x="818" y="582"/>
                  </a:lnTo>
                  <a:lnTo>
                    <a:pt x="815" y="585"/>
                  </a:lnTo>
                  <a:lnTo>
                    <a:pt x="813" y="585"/>
                  </a:lnTo>
                  <a:lnTo>
                    <a:pt x="810" y="588"/>
                  </a:lnTo>
                  <a:lnTo>
                    <a:pt x="809" y="589"/>
                  </a:lnTo>
                  <a:lnTo>
                    <a:pt x="810" y="582"/>
                  </a:lnTo>
                  <a:lnTo>
                    <a:pt x="810" y="578"/>
                  </a:lnTo>
                  <a:lnTo>
                    <a:pt x="812" y="573"/>
                  </a:lnTo>
                  <a:lnTo>
                    <a:pt x="816" y="572"/>
                  </a:lnTo>
                  <a:lnTo>
                    <a:pt x="816" y="569"/>
                  </a:lnTo>
                  <a:lnTo>
                    <a:pt x="813" y="569"/>
                  </a:lnTo>
                  <a:lnTo>
                    <a:pt x="812" y="570"/>
                  </a:lnTo>
                  <a:lnTo>
                    <a:pt x="810" y="573"/>
                  </a:lnTo>
                  <a:lnTo>
                    <a:pt x="809" y="576"/>
                  </a:lnTo>
                  <a:lnTo>
                    <a:pt x="807" y="578"/>
                  </a:lnTo>
                  <a:lnTo>
                    <a:pt x="808" y="572"/>
                  </a:lnTo>
                  <a:lnTo>
                    <a:pt x="809" y="569"/>
                  </a:lnTo>
                  <a:lnTo>
                    <a:pt x="808" y="567"/>
                  </a:lnTo>
                  <a:lnTo>
                    <a:pt x="806" y="569"/>
                  </a:lnTo>
                  <a:lnTo>
                    <a:pt x="806" y="571"/>
                  </a:lnTo>
                  <a:lnTo>
                    <a:pt x="803" y="573"/>
                  </a:lnTo>
                  <a:lnTo>
                    <a:pt x="802" y="573"/>
                  </a:lnTo>
                  <a:lnTo>
                    <a:pt x="801" y="570"/>
                  </a:lnTo>
                  <a:lnTo>
                    <a:pt x="800" y="567"/>
                  </a:lnTo>
                  <a:lnTo>
                    <a:pt x="798" y="566"/>
                  </a:lnTo>
                  <a:lnTo>
                    <a:pt x="796" y="565"/>
                  </a:lnTo>
                  <a:lnTo>
                    <a:pt x="795" y="565"/>
                  </a:lnTo>
                  <a:lnTo>
                    <a:pt x="791" y="563"/>
                  </a:lnTo>
                  <a:lnTo>
                    <a:pt x="792" y="560"/>
                  </a:lnTo>
                  <a:lnTo>
                    <a:pt x="789" y="561"/>
                  </a:lnTo>
                  <a:lnTo>
                    <a:pt x="786" y="564"/>
                  </a:lnTo>
                  <a:lnTo>
                    <a:pt x="786" y="560"/>
                  </a:lnTo>
                  <a:lnTo>
                    <a:pt x="788" y="557"/>
                  </a:lnTo>
                  <a:lnTo>
                    <a:pt x="786" y="555"/>
                  </a:lnTo>
                  <a:lnTo>
                    <a:pt x="783" y="555"/>
                  </a:lnTo>
                  <a:lnTo>
                    <a:pt x="780" y="554"/>
                  </a:lnTo>
                  <a:lnTo>
                    <a:pt x="780" y="551"/>
                  </a:lnTo>
                  <a:lnTo>
                    <a:pt x="778" y="551"/>
                  </a:lnTo>
                  <a:lnTo>
                    <a:pt x="776" y="552"/>
                  </a:lnTo>
                  <a:lnTo>
                    <a:pt x="774" y="551"/>
                  </a:lnTo>
                  <a:lnTo>
                    <a:pt x="774" y="549"/>
                  </a:lnTo>
                  <a:lnTo>
                    <a:pt x="779" y="548"/>
                  </a:lnTo>
                  <a:lnTo>
                    <a:pt x="780" y="548"/>
                  </a:lnTo>
                  <a:lnTo>
                    <a:pt x="779" y="547"/>
                  </a:lnTo>
                  <a:lnTo>
                    <a:pt x="776" y="545"/>
                  </a:lnTo>
                  <a:lnTo>
                    <a:pt x="778" y="542"/>
                  </a:lnTo>
                  <a:lnTo>
                    <a:pt x="776" y="543"/>
                  </a:lnTo>
                  <a:lnTo>
                    <a:pt x="773" y="542"/>
                  </a:lnTo>
                  <a:lnTo>
                    <a:pt x="772" y="539"/>
                  </a:lnTo>
                  <a:lnTo>
                    <a:pt x="767" y="539"/>
                  </a:lnTo>
                  <a:lnTo>
                    <a:pt x="768" y="546"/>
                  </a:lnTo>
                  <a:lnTo>
                    <a:pt x="770" y="559"/>
                  </a:lnTo>
                  <a:lnTo>
                    <a:pt x="771" y="560"/>
                  </a:lnTo>
                  <a:lnTo>
                    <a:pt x="771" y="564"/>
                  </a:lnTo>
                  <a:lnTo>
                    <a:pt x="771" y="569"/>
                  </a:lnTo>
                  <a:lnTo>
                    <a:pt x="770" y="566"/>
                  </a:lnTo>
                  <a:lnTo>
                    <a:pt x="768" y="561"/>
                  </a:lnTo>
                  <a:lnTo>
                    <a:pt x="767" y="554"/>
                  </a:lnTo>
                  <a:lnTo>
                    <a:pt x="765" y="557"/>
                  </a:lnTo>
                  <a:lnTo>
                    <a:pt x="761" y="563"/>
                  </a:lnTo>
                  <a:lnTo>
                    <a:pt x="761" y="566"/>
                  </a:lnTo>
                  <a:lnTo>
                    <a:pt x="762" y="569"/>
                  </a:lnTo>
                  <a:lnTo>
                    <a:pt x="762" y="571"/>
                  </a:lnTo>
                  <a:lnTo>
                    <a:pt x="760" y="576"/>
                  </a:lnTo>
                  <a:lnTo>
                    <a:pt x="753" y="581"/>
                  </a:lnTo>
                  <a:lnTo>
                    <a:pt x="751" y="584"/>
                  </a:lnTo>
                  <a:lnTo>
                    <a:pt x="759" y="593"/>
                  </a:lnTo>
                  <a:lnTo>
                    <a:pt x="763" y="595"/>
                  </a:lnTo>
                  <a:lnTo>
                    <a:pt x="763" y="593"/>
                  </a:lnTo>
                  <a:lnTo>
                    <a:pt x="768" y="594"/>
                  </a:lnTo>
                  <a:lnTo>
                    <a:pt x="771" y="596"/>
                  </a:lnTo>
                  <a:lnTo>
                    <a:pt x="770" y="597"/>
                  </a:lnTo>
                  <a:lnTo>
                    <a:pt x="771" y="599"/>
                  </a:lnTo>
                  <a:lnTo>
                    <a:pt x="773" y="597"/>
                  </a:lnTo>
                  <a:lnTo>
                    <a:pt x="776" y="597"/>
                  </a:lnTo>
                  <a:lnTo>
                    <a:pt x="777" y="595"/>
                  </a:lnTo>
                  <a:lnTo>
                    <a:pt x="778" y="590"/>
                  </a:lnTo>
                  <a:lnTo>
                    <a:pt x="780" y="588"/>
                  </a:lnTo>
                  <a:lnTo>
                    <a:pt x="783" y="589"/>
                  </a:lnTo>
                  <a:lnTo>
                    <a:pt x="785" y="591"/>
                  </a:lnTo>
                  <a:lnTo>
                    <a:pt x="780" y="599"/>
                  </a:lnTo>
                  <a:lnTo>
                    <a:pt x="782" y="602"/>
                  </a:lnTo>
                  <a:lnTo>
                    <a:pt x="784" y="599"/>
                  </a:lnTo>
                  <a:lnTo>
                    <a:pt x="785" y="599"/>
                  </a:lnTo>
                  <a:lnTo>
                    <a:pt x="786" y="602"/>
                  </a:lnTo>
                  <a:lnTo>
                    <a:pt x="788" y="600"/>
                  </a:lnTo>
                  <a:lnTo>
                    <a:pt x="791" y="600"/>
                  </a:lnTo>
                  <a:lnTo>
                    <a:pt x="790" y="603"/>
                  </a:lnTo>
                  <a:lnTo>
                    <a:pt x="784" y="605"/>
                  </a:lnTo>
                  <a:lnTo>
                    <a:pt x="783" y="607"/>
                  </a:lnTo>
                  <a:lnTo>
                    <a:pt x="786" y="609"/>
                  </a:lnTo>
                  <a:lnTo>
                    <a:pt x="789" y="611"/>
                  </a:lnTo>
                  <a:lnTo>
                    <a:pt x="790" y="615"/>
                  </a:lnTo>
                  <a:lnTo>
                    <a:pt x="788" y="619"/>
                  </a:lnTo>
                  <a:lnTo>
                    <a:pt x="786" y="617"/>
                  </a:lnTo>
                  <a:lnTo>
                    <a:pt x="786" y="620"/>
                  </a:lnTo>
                  <a:lnTo>
                    <a:pt x="784" y="625"/>
                  </a:lnTo>
                  <a:lnTo>
                    <a:pt x="782" y="623"/>
                  </a:lnTo>
                  <a:lnTo>
                    <a:pt x="779" y="621"/>
                  </a:lnTo>
                  <a:lnTo>
                    <a:pt x="778" y="620"/>
                  </a:lnTo>
                  <a:lnTo>
                    <a:pt x="780" y="614"/>
                  </a:lnTo>
                  <a:lnTo>
                    <a:pt x="780" y="609"/>
                  </a:lnTo>
                  <a:lnTo>
                    <a:pt x="779" y="611"/>
                  </a:lnTo>
                  <a:lnTo>
                    <a:pt x="776" y="613"/>
                  </a:lnTo>
                  <a:lnTo>
                    <a:pt x="774" y="612"/>
                  </a:lnTo>
                  <a:lnTo>
                    <a:pt x="774" y="606"/>
                  </a:lnTo>
                  <a:lnTo>
                    <a:pt x="772" y="607"/>
                  </a:lnTo>
                  <a:lnTo>
                    <a:pt x="768" y="606"/>
                  </a:lnTo>
                  <a:lnTo>
                    <a:pt x="768" y="601"/>
                  </a:lnTo>
                  <a:lnTo>
                    <a:pt x="767" y="599"/>
                  </a:lnTo>
                  <a:lnTo>
                    <a:pt x="767" y="601"/>
                  </a:lnTo>
                  <a:lnTo>
                    <a:pt x="767" y="603"/>
                  </a:lnTo>
                  <a:lnTo>
                    <a:pt x="760" y="602"/>
                  </a:lnTo>
                  <a:lnTo>
                    <a:pt x="761" y="600"/>
                  </a:lnTo>
                  <a:lnTo>
                    <a:pt x="763" y="599"/>
                  </a:lnTo>
                  <a:lnTo>
                    <a:pt x="763" y="597"/>
                  </a:lnTo>
                  <a:lnTo>
                    <a:pt x="762" y="596"/>
                  </a:lnTo>
                  <a:lnTo>
                    <a:pt x="757" y="593"/>
                  </a:lnTo>
                  <a:lnTo>
                    <a:pt x="751" y="588"/>
                  </a:lnTo>
                  <a:lnTo>
                    <a:pt x="751" y="591"/>
                  </a:lnTo>
                  <a:lnTo>
                    <a:pt x="753" y="595"/>
                  </a:lnTo>
                  <a:lnTo>
                    <a:pt x="754" y="600"/>
                  </a:lnTo>
                  <a:lnTo>
                    <a:pt x="756" y="603"/>
                  </a:lnTo>
                  <a:lnTo>
                    <a:pt x="756" y="605"/>
                  </a:lnTo>
                  <a:lnTo>
                    <a:pt x="754" y="612"/>
                  </a:lnTo>
                  <a:lnTo>
                    <a:pt x="751" y="615"/>
                  </a:lnTo>
                  <a:lnTo>
                    <a:pt x="750" y="620"/>
                  </a:lnTo>
                  <a:lnTo>
                    <a:pt x="748" y="624"/>
                  </a:lnTo>
                  <a:lnTo>
                    <a:pt x="749" y="626"/>
                  </a:lnTo>
                  <a:lnTo>
                    <a:pt x="750" y="629"/>
                  </a:lnTo>
                  <a:lnTo>
                    <a:pt x="753" y="630"/>
                  </a:lnTo>
                  <a:lnTo>
                    <a:pt x="755" y="626"/>
                  </a:lnTo>
                  <a:lnTo>
                    <a:pt x="757" y="624"/>
                  </a:lnTo>
                  <a:lnTo>
                    <a:pt x="760" y="624"/>
                  </a:lnTo>
                  <a:lnTo>
                    <a:pt x="761" y="625"/>
                  </a:lnTo>
                  <a:lnTo>
                    <a:pt x="761" y="630"/>
                  </a:lnTo>
                  <a:lnTo>
                    <a:pt x="765" y="629"/>
                  </a:lnTo>
                  <a:lnTo>
                    <a:pt x="766" y="629"/>
                  </a:lnTo>
                  <a:lnTo>
                    <a:pt x="770" y="631"/>
                  </a:lnTo>
                  <a:lnTo>
                    <a:pt x="772" y="633"/>
                  </a:lnTo>
                  <a:lnTo>
                    <a:pt x="774" y="632"/>
                  </a:lnTo>
                  <a:lnTo>
                    <a:pt x="776" y="630"/>
                  </a:lnTo>
                  <a:lnTo>
                    <a:pt x="780" y="627"/>
                  </a:lnTo>
                  <a:lnTo>
                    <a:pt x="784" y="630"/>
                  </a:lnTo>
                  <a:lnTo>
                    <a:pt x="778" y="630"/>
                  </a:lnTo>
                  <a:lnTo>
                    <a:pt x="777" y="633"/>
                  </a:lnTo>
                  <a:lnTo>
                    <a:pt x="776" y="636"/>
                  </a:lnTo>
                  <a:lnTo>
                    <a:pt x="778" y="637"/>
                  </a:lnTo>
                  <a:lnTo>
                    <a:pt x="783" y="637"/>
                  </a:lnTo>
                  <a:lnTo>
                    <a:pt x="786" y="636"/>
                  </a:lnTo>
                  <a:lnTo>
                    <a:pt x="789" y="635"/>
                  </a:lnTo>
                  <a:lnTo>
                    <a:pt x="791" y="635"/>
                  </a:lnTo>
                  <a:lnTo>
                    <a:pt x="795" y="633"/>
                  </a:lnTo>
                  <a:lnTo>
                    <a:pt x="795" y="631"/>
                  </a:lnTo>
                  <a:lnTo>
                    <a:pt x="796" y="635"/>
                  </a:lnTo>
                  <a:lnTo>
                    <a:pt x="797" y="638"/>
                  </a:lnTo>
                  <a:lnTo>
                    <a:pt x="794" y="644"/>
                  </a:lnTo>
                  <a:lnTo>
                    <a:pt x="795" y="647"/>
                  </a:lnTo>
                  <a:lnTo>
                    <a:pt x="796" y="647"/>
                  </a:lnTo>
                  <a:lnTo>
                    <a:pt x="797" y="649"/>
                  </a:lnTo>
                  <a:lnTo>
                    <a:pt x="795" y="658"/>
                  </a:lnTo>
                  <a:lnTo>
                    <a:pt x="792" y="664"/>
                  </a:lnTo>
                  <a:lnTo>
                    <a:pt x="790" y="665"/>
                  </a:lnTo>
                  <a:lnTo>
                    <a:pt x="789" y="670"/>
                  </a:lnTo>
                  <a:lnTo>
                    <a:pt x="788" y="672"/>
                  </a:lnTo>
                  <a:lnTo>
                    <a:pt x="791" y="673"/>
                  </a:lnTo>
                  <a:lnTo>
                    <a:pt x="791" y="682"/>
                  </a:lnTo>
                  <a:lnTo>
                    <a:pt x="790" y="684"/>
                  </a:lnTo>
                  <a:lnTo>
                    <a:pt x="788" y="683"/>
                  </a:lnTo>
                  <a:lnTo>
                    <a:pt x="785" y="684"/>
                  </a:lnTo>
                  <a:lnTo>
                    <a:pt x="785" y="685"/>
                  </a:lnTo>
                  <a:lnTo>
                    <a:pt x="786" y="689"/>
                  </a:lnTo>
                  <a:lnTo>
                    <a:pt x="785" y="691"/>
                  </a:lnTo>
                  <a:lnTo>
                    <a:pt x="784" y="690"/>
                  </a:lnTo>
                  <a:lnTo>
                    <a:pt x="784" y="689"/>
                  </a:lnTo>
                  <a:lnTo>
                    <a:pt x="784" y="692"/>
                  </a:lnTo>
                  <a:lnTo>
                    <a:pt x="786" y="694"/>
                  </a:lnTo>
                  <a:lnTo>
                    <a:pt x="788" y="695"/>
                  </a:lnTo>
                  <a:lnTo>
                    <a:pt x="788" y="690"/>
                  </a:lnTo>
                  <a:lnTo>
                    <a:pt x="788" y="688"/>
                  </a:lnTo>
                  <a:lnTo>
                    <a:pt x="791" y="688"/>
                  </a:lnTo>
                  <a:lnTo>
                    <a:pt x="792" y="691"/>
                  </a:lnTo>
                  <a:lnTo>
                    <a:pt x="794" y="694"/>
                  </a:lnTo>
                  <a:lnTo>
                    <a:pt x="792" y="696"/>
                  </a:lnTo>
                  <a:lnTo>
                    <a:pt x="792" y="698"/>
                  </a:lnTo>
                  <a:lnTo>
                    <a:pt x="795" y="700"/>
                  </a:lnTo>
                  <a:lnTo>
                    <a:pt x="796" y="702"/>
                  </a:lnTo>
                  <a:lnTo>
                    <a:pt x="798" y="703"/>
                  </a:lnTo>
                  <a:lnTo>
                    <a:pt x="798" y="704"/>
                  </a:lnTo>
                  <a:lnTo>
                    <a:pt x="798" y="706"/>
                  </a:lnTo>
                  <a:lnTo>
                    <a:pt x="798" y="708"/>
                  </a:lnTo>
                  <a:lnTo>
                    <a:pt x="800" y="709"/>
                  </a:lnTo>
                  <a:lnTo>
                    <a:pt x="802" y="710"/>
                  </a:lnTo>
                  <a:lnTo>
                    <a:pt x="803" y="710"/>
                  </a:lnTo>
                  <a:lnTo>
                    <a:pt x="806" y="710"/>
                  </a:lnTo>
                  <a:lnTo>
                    <a:pt x="807" y="712"/>
                  </a:lnTo>
                  <a:lnTo>
                    <a:pt x="812" y="716"/>
                  </a:lnTo>
                  <a:lnTo>
                    <a:pt x="807" y="716"/>
                  </a:lnTo>
                  <a:lnTo>
                    <a:pt x="804" y="716"/>
                  </a:lnTo>
                  <a:lnTo>
                    <a:pt x="803" y="716"/>
                  </a:lnTo>
                  <a:lnTo>
                    <a:pt x="808" y="720"/>
                  </a:lnTo>
                  <a:lnTo>
                    <a:pt x="810" y="721"/>
                  </a:lnTo>
                  <a:lnTo>
                    <a:pt x="812" y="722"/>
                  </a:lnTo>
                  <a:lnTo>
                    <a:pt x="810" y="728"/>
                  </a:lnTo>
                  <a:lnTo>
                    <a:pt x="806" y="725"/>
                  </a:lnTo>
                  <a:lnTo>
                    <a:pt x="803" y="721"/>
                  </a:lnTo>
                  <a:lnTo>
                    <a:pt x="802" y="722"/>
                  </a:lnTo>
                  <a:lnTo>
                    <a:pt x="800" y="722"/>
                  </a:lnTo>
                  <a:lnTo>
                    <a:pt x="798" y="725"/>
                  </a:lnTo>
                  <a:lnTo>
                    <a:pt x="795" y="730"/>
                  </a:lnTo>
                  <a:lnTo>
                    <a:pt x="790" y="731"/>
                  </a:lnTo>
                  <a:lnTo>
                    <a:pt x="788" y="733"/>
                  </a:lnTo>
                  <a:lnTo>
                    <a:pt x="789" y="727"/>
                  </a:lnTo>
                  <a:lnTo>
                    <a:pt x="788" y="726"/>
                  </a:lnTo>
                  <a:lnTo>
                    <a:pt x="790" y="721"/>
                  </a:lnTo>
                  <a:lnTo>
                    <a:pt x="791" y="720"/>
                  </a:lnTo>
                  <a:lnTo>
                    <a:pt x="791" y="718"/>
                  </a:lnTo>
                  <a:lnTo>
                    <a:pt x="790" y="715"/>
                  </a:lnTo>
                  <a:lnTo>
                    <a:pt x="789" y="719"/>
                  </a:lnTo>
                  <a:lnTo>
                    <a:pt x="786" y="719"/>
                  </a:lnTo>
                  <a:lnTo>
                    <a:pt x="784" y="713"/>
                  </a:lnTo>
                  <a:lnTo>
                    <a:pt x="782" y="710"/>
                  </a:lnTo>
                  <a:lnTo>
                    <a:pt x="783" y="713"/>
                  </a:lnTo>
                  <a:lnTo>
                    <a:pt x="783" y="716"/>
                  </a:lnTo>
                  <a:lnTo>
                    <a:pt x="779" y="718"/>
                  </a:lnTo>
                  <a:lnTo>
                    <a:pt x="779" y="722"/>
                  </a:lnTo>
                  <a:lnTo>
                    <a:pt x="779" y="725"/>
                  </a:lnTo>
                  <a:lnTo>
                    <a:pt x="777" y="722"/>
                  </a:lnTo>
                  <a:lnTo>
                    <a:pt x="778" y="725"/>
                  </a:lnTo>
                  <a:lnTo>
                    <a:pt x="780" y="728"/>
                  </a:lnTo>
                  <a:lnTo>
                    <a:pt x="777" y="726"/>
                  </a:lnTo>
                  <a:lnTo>
                    <a:pt x="776" y="728"/>
                  </a:lnTo>
                  <a:lnTo>
                    <a:pt x="774" y="730"/>
                  </a:lnTo>
                  <a:lnTo>
                    <a:pt x="772" y="733"/>
                  </a:lnTo>
                  <a:lnTo>
                    <a:pt x="770" y="737"/>
                  </a:lnTo>
                  <a:lnTo>
                    <a:pt x="766" y="740"/>
                  </a:lnTo>
                  <a:lnTo>
                    <a:pt x="765" y="737"/>
                  </a:lnTo>
                  <a:lnTo>
                    <a:pt x="765" y="733"/>
                  </a:lnTo>
                  <a:lnTo>
                    <a:pt x="763" y="738"/>
                  </a:lnTo>
                  <a:lnTo>
                    <a:pt x="762" y="740"/>
                  </a:lnTo>
                  <a:lnTo>
                    <a:pt x="760" y="736"/>
                  </a:lnTo>
                  <a:lnTo>
                    <a:pt x="759" y="736"/>
                  </a:lnTo>
                  <a:lnTo>
                    <a:pt x="760" y="740"/>
                  </a:lnTo>
                  <a:lnTo>
                    <a:pt x="760" y="744"/>
                  </a:lnTo>
                  <a:lnTo>
                    <a:pt x="757" y="742"/>
                  </a:lnTo>
                  <a:lnTo>
                    <a:pt x="754" y="744"/>
                  </a:lnTo>
                  <a:lnTo>
                    <a:pt x="754" y="746"/>
                  </a:lnTo>
                  <a:lnTo>
                    <a:pt x="751" y="745"/>
                  </a:lnTo>
                  <a:lnTo>
                    <a:pt x="750" y="746"/>
                  </a:lnTo>
                  <a:lnTo>
                    <a:pt x="748" y="748"/>
                  </a:lnTo>
                  <a:lnTo>
                    <a:pt x="747" y="746"/>
                  </a:lnTo>
                  <a:lnTo>
                    <a:pt x="745" y="748"/>
                  </a:lnTo>
                  <a:lnTo>
                    <a:pt x="744" y="748"/>
                  </a:lnTo>
                  <a:lnTo>
                    <a:pt x="743" y="744"/>
                  </a:lnTo>
                  <a:lnTo>
                    <a:pt x="743" y="740"/>
                  </a:lnTo>
                  <a:lnTo>
                    <a:pt x="743" y="737"/>
                  </a:lnTo>
                  <a:lnTo>
                    <a:pt x="739" y="736"/>
                  </a:lnTo>
                  <a:lnTo>
                    <a:pt x="739" y="739"/>
                  </a:lnTo>
                  <a:lnTo>
                    <a:pt x="738" y="743"/>
                  </a:lnTo>
                  <a:lnTo>
                    <a:pt x="738" y="748"/>
                  </a:lnTo>
                  <a:lnTo>
                    <a:pt x="742" y="753"/>
                  </a:lnTo>
                  <a:lnTo>
                    <a:pt x="743" y="757"/>
                  </a:lnTo>
                  <a:lnTo>
                    <a:pt x="745" y="760"/>
                  </a:lnTo>
                  <a:lnTo>
                    <a:pt x="742" y="761"/>
                  </a:lnTo>
                  <a:lnTo>
                    <a:pt x="739" y="757"/>
                  </a:lnTo>
                  <a:lnTo>
                    <a:pt x="736" y="757"/>
                  </a:lnTo>
                  <a:lnTo>
                    <a:pt x="735" y="757"/>
                  </a:lnTo>
                  <a:lnTo>
                    <a:pt x="735" y="759"/>
                  </a:lnTo>
                  <a:lnTo>
                    <a:pt x="736" y="763"/>
                  </a:lnTo>
                  <a:lnTo>
                    <a:pt x="733" y="767"/>
                  </a:lnTo>
                  <a:lnTo>
                    <a:pt x="733" y="769"/>
                  </a:lnTo>
                  <a:lnTo>
                    <a:pt x="732" y="768"/>
                  </a:lnTo>
                  <a:lnTo>
                    <a:pt x="729" y="771"/>
                  </a:lnTo>
                  <a:lnTo>
                    <a:pt x="726" y="774"/>
                  </a:lnTo>
                  <a:lnTo>
                    <a:pt x="726" y="779"/>
                  </a:lnTo>
                  <a:lnTo>
                    <a:pt x="729" y="786"/>
                  </a:lnTo>
                  <a:lnTo>
                    <a:pt x="731" y="792"/>
                  </a:lnTo>
                  <a:lnTo>
                    <a:pt x="730" y="795"/>
                  </a:lnTo>
                  <a:lnTo>
                    <a:pt x="729" y="797"/>
                  </a:lnTo>
                  <a:lnTo>
                    <a:pt x="726" y="801"/>
                  </a:lnTo>
                  <a:lnTo>
                    <a:pt x="723" y="805"/>
                  </a:lnTo>
                  <a:lnTo>
                    <a:pt x="719" y="810"/>
                  </a:lnTo>
                  <a:lnTo>
                    <a:pt x="718" y="814"/>
                  </a:lnTo>
                  <a:lnTo>
                    <a:pt x="717" y="809"/>
                  </a:lnTo>
                  <a:lnTo>
                    <a:pt x="715" y="804"/>
                  </a:lnTo>
                  <a:lnTo>
                    <a:pt x="714" y="802"/>
                  </a:lnTo>
                  <a:lnTo>
                    <a:pt x="714" y="799"/>
                  </a:lnTo>
                  <a:lnTo>
                    <a:pt x="712" y="801"/>
                  </a:lnTo>
                  <a:lnTo>
                    <a:pt x="708" y="802"/>
                  </a:lnTo>
                  <a:lnTo>
                    <a:pt x="708" y="798"/>
                  </a:lnTo>
                  <a:lnTo>
                    <a:pt x="706" y="798"/>
                  </a:lnTo>
                  <a:lnTo>
                    <a:pt x="703" y="802"/>
                  </a:lnTo>
                  <a:lnTo>
                    <a:pt x="703" y="807"/>
                  </a:lnTo>
                  <a:lnTo>
                    <a:pt x="702" y="801"/>
                  </a:lnTo>
                  <a:lnTo>
                    <a:pt x="701" y="797"/>
                  </a:lnTo>
                  <a:lnTo>
                    <a:pt x="702" y="792"/>
                  </a:lnTo>
                  <a:lnTo>
                    <a:pt x="704" y="791"/>
                  </a:lnTo>
                  <a:lnTo>
                    <a:pt x="707" y="793"/>
                  </a:lnTo>
                  <a:lnTo>
                    <a:pt x="709" y="792"/>
                  </a:lnTo>
                  <a:lnTo>
                    <a:pt x="712" y="786"/>
                  </a:lnTo>
                  <a:lnTo>
                    <a:pt x="712" y="780"/>
                  </a:lnTo>
                  <a:lnTo>
                    <a:pt x="712" y="777"/>
                  </a:lnTo>
                  <a:lnTo>
                    <a:pt x="709" y="775"/>
                  </a:lnTo>
                  <a:lnTo>
                    <a:pt x="706" y="774"/>
                  </a:lnTo>
                  <a:lnTo>
                    <a:pt x="702" y="778"/>
                  </a:lnTo>
                  <a:lnTo>
                    <a:pt x="702" y="774"/>
                  </a:lnTo>
                  <a:lnTo>
                    <a:pt x="704" y="772"/>
                  </a:lnTo>
                  <a:lnTo>
                    <a:pt x="700" y="774"/>
                  </a:lnTo>
                  <a:lnTo>
                    <a:pt x="697" y="775"/>
                  </a:lnTo>
                  <a:lnTo>
                    <a:pt x="697" y="778"/>
                  </a:lnTo>
                  <a:lnTo>
                    <a:pt x="694" y="785"/>
                  </a:lnTo>
                  <a:lnTo>
                    <a:pt x="691" y="786"/>
                  </a:lnTo>
                  <a:lnTo>
                    <a:pt x="686" y="786"/>
                  </a:lnTo>
                  <a:lnTo>
                    <a:pt x="686" y="784"/>
                  </a:lnTo>
                  <a:lnTo>
                    <a:pt x="686" y="783"/>
                  </a:lnTo>
                  <a:lnTo>
                    <a:pt x="683" y="785"/>
                  </a:lnTo>
                  <a:lnTo>
                    <a:pt x="682" y="789"/>
                  </a:lnTo>
                  <a:lnTo>
                    <a:pt x="680" y="791"/>
                  </a:lnTo>
                  <a:lnTo>
                    <a:pt x="680" y="795"/>
                  </a:lnTo>
                  <a:lnTo>
                    <a:pt x="679" y="798"/>
                  </a:lnTo>
                  <a:lnTo>
                    <a:pt x="677" y="802"/>
                  </a:lnTo>
                  <a:lnTo>
                    <a:pt x="674" y="804"/>
                  </a:lnTo>
                  <a:lnTo>
                    <a:pt x="673" y="807"/>
                  </a:lnTo>
                  <a:lnTo>
                    <a:pt x="672" y="810"/>
                  </a:lnTo>
                  <a:lnTo>
                    <a:pt x="671" y="810"/>
                  </a:lnTo>
                  <a:lnTo>
                    <a:pt x="670" y="813"/>
                  </a:lnTo>
                  <a:lnTo>
                    <a:pt x="667" y="816"/>
                  </a:lnTo>
                  <a:lnTo>
                    <a:pt x="666" y="820"/>
                  </a:lnTo>
                  <a:lnTo>
                    <a:pt x="666" y="814"/>
                  </a:lnTo>
                  <a:lnTo>
                    <a:pt x="664" y="816"/>
                  </a:lnTo>
                  <a:lnTo>
                    <a:pt x="660" y="816"/>
                  </a:lnTo>
                  <a:lnTo>
                    <a:pt x="658" y="817"/>
                  </a:lnTo>
                  <a:lnTo>
                    <a:pt x="658" y="814"/>
                  </a:lnTo>
                  <a:lnTo>
                    <a:pt x="660" y="810"/>
                  </a:lnTo>
                  <a:lnTo>
                    <a:pt x="659" y="807"/>
                  </a:lnTo>
                  <a:lnTo>
                    <a:pt x="658" y="805"/>
                  </a:lnTo>
                  <a:lnTo>
                    <a:pt x="661" y="804"/>
                  </a:lnTo>
                  <a:lnTo>
                    <a:pt x="659" y="803"/>
                  </a:lnTo>
                  <a:lnTo>
                    <a:pt x="661" y="802"/>
                  </a:lnTo>
                  <a:lnTo>
                    <a:pt x="662" y="799"/>
                  </a:lnTo>
                  <a:lnTo>
                    <a:pt x="660" y="799"/>
                  </a:lnTo>
                  <a:lnTo>
                    <a:pt x="661" y="796"/>
                  </a:lnTo>
                  <a:lnTo>
                    <a:pt x="664" y="792"/>
                  </a:lnTo>
                  <a:lnTo>
                    <a:pt x="661" y="787"/>
                  </a:lnTo>
                  <a:lnTo>
                    <a:pt x="660" y="775"/>
                  </a:lnTo>
                  <a:lnTo>
                    <a:pt x="662" y="757"/>
                  </a:lnTo>
                  <a:lnTo>
                    <a:pt x="661" y="740"/>
                  </a:lnTo>
                  <a:lnTo>
                    <a:pt x="658" y="746"/>
                  </a:lnTo>
                  <a:lnTo>
                    <a:pt x="654" y="756"/>
                  </a:lnTo>
                  <a:lnTo>
                    <a:pt x="656" y="759"/>
                  </a:lnTo>
                  <a:lnTo>
                    <a:pt x="653" y="756"/>
                  </a:lnTo>
                  <a:lnTo>
                    <a:pt x="643" y="759"/>
                  </a:lnTo>
                  <a:lnTo>
                    <a:pt x="653" y="756"/>
                  </a:lnTo>
                  <a:lnTo>
                    <a:pt x="659" y="742"/>
                  </a:lnTo>
                  <a:lnTo>
                    <a:pt x="654" y="743"/>
                  </a:lnTo>
                  <a:lnTo>
                    <a:pt x="649" y="743"/>
                  </a:lnTo>
                  <a:lnTo>
                    <a:pt x="645" y="740"/>
                  </a:lnTo>
                  <a:lnTo>
                    <a:pt x="643" y="743"/>
                  </a:lnTo>
                  <a:lnTo>
                    <a:pt x="639" y="744"/>
                  </a:lnTo>
                  <a:lnTo>
                    <a:pt x="636" y="743"/>
                  </a:lnTo>
                  <a:lnTo>
                    <a:pt x="633" y="739"/>
                  </a:lnTo>
                  <a:lnTo>
                    <a:pt x="635" y="738"/>
                  </a:lnTo>
                  <a:lnTo>
                    <a:pt x="637" y="734"/>
                  </a:lnTo>
                  <a:lnTo>
                    <a:pt x="635" y="733"/>
                  </a:lnTo>
                  <a:lnTo>
                    <a:pt x="632" y="736"/>
                  </a:lnTo>
                  <a:lnTo>
                    <a:pt x="630" y="737"/>
                  </a:lnTo>
                  <a:lnTo>
                    <a:pt x="627" y="737"/>
                  </a:lnTo>
                  <a:lnTo>
                    <a:pt x="625" y="736"/>
                  </a:lnTo>
                  <a:lnTo>
                    <a:pt x="620" y="738"/>
                  </a:lnTo>
                  <a:lnTo>
                    <a:pt x="621" y="744"/>
                  </a:lnTo>
                  <a:lnTo>
                    <a:pt x="621" y="749"/>
                  </a:lnTo>
                  <a:lnTo>
                    <a:pt x="624" y="751"/>
                  </a:lnTo>
                  <a:lnTo>
                    <a:pt x="625" y="753"/>
                  </a:lnTo>
                  <a:lnTo>
                    <a:pt x="623" y="754"/>
                  </a:lnTo>
                  <a:lnTo>
                    <a:pt x="623" y="757"/>
                  </a:lnTo>
                  <a:lnTo>
                    <a:pt x="624" y="763"/>
                  </a:lnTo>
                  <a:lnTo>
                    <a:pt x="626" y="769"/>
                  </a:lnTo>
                  <a:lnTo>
                    <a:pt x="623" y="761"/>
                  </a:lnTo>
                  <a:lnTo>
                    <a:pt x="620" y="762"/>
                  </a:lnTo>
                  <a:lnTo>
                    <a:pt x="618" y="766"/>
                  </a:lnTo>
                  <a:lnTo>
                    <a:pt x="619" y="773"/>
                  </a:lnTo>
                  <a:lnTo>
                    <a:pt x="614" y="780"/>
                  </a:lnTo>
                  <a:lnTo>
                    <a:pt x="611" y="785"/>
                  </a:lnTo>
                  <a:lnTo>
                    <a:pt x="615" y="775"/>
                  </a:lnTo>
                  <a:lnTo>
                    <a:pt x="617" y="771"/>
                  </a:lnTo>
                  <a:lnTo>
                    <a:pt x="614" y="767"/>
                  </a:lnTo>
                  <a:lnTo>
                    <a:pt x="612" y="768"/>
                  </a:lnTo>
                  <a:lnTo>
                    <a:pt x="612" y="772"/>
                  </a:lnTo>
                  <a:lnTo>
                    <a:pt x="612" y="774"/>
                  </a:lnTo>
                  <a:lnTo>
                    <a:pt x="612" y="777"/>
                  </a:lnTo>
                  <a:lnTo>
                    <a:pt x="609" y="778"/>
                  </a:lnTo>
                  <a:lnTo>
                    <a:pt x="608" y="775"/>
                  </a:lnTo>
                  <a:lnTo>
                    <a:pt x="608" y="774"/>
                  </a:lnTo>
                  <a:lnTo>
                    <a:pt x="607" y="774"/>
                  </a:lnTo>
                  <a:lnTo>
                    <a:pt x="606" y="777"/>
                  </a:lnTo>
                  <a:lnTo>
                    <a:pt x="607" y="785"/>
                  </a:lnTo>
                  <a:lnTo>
                    <a:pt x="608" y="786"/>
                  </a:lnTo>
                  <a:lnTo>
                    <a:pt x="605" y="793"/>
                  </a:lnTo>
                  <a:lnTo>
                    <a:pt x="601" y="796"/>
                  </a:lnTo>
                  <a:lnTo>
                    <a:pt x="605" y="789"/>
                  </a:lnTo>
                  <a:lnTo>
                    <a:pt x="606" y="784"/>
                  </a:lnTo>
                  <a:lnTo>
                    <a:pt x="605" y="774"/>
                  </a:lnTo>
                  <a:lnTo>
                    <a:pt x="603" y="778"/>
                  </a:lnTo>
                  <a:lnTo>
                    <a:pt x="602" y="783"/>
                  </a:lnTo>
                  <a:lnTo>
                    <a:pt x="601" y="789"/>
                  </a:lnTo>
                  <a:lnTo>
                    <a:pt x="599" y="791"/>
                  </a:lnTo>
                  <a:lnTo>
                    <a:pt x="596" y="791"/>
                  </a:lnTo>
                  <a:lnTo>
                    <a:pt x="594" y="795"/>
                  </a:lnTo>
                  <a:lnTo>
                    <a:pt x="593" y="795"/>
                  </a:lnTo>
                  <a:lnTo>
                    <a:pt x="591" y="792"/>
                  </a:lnTo>
                  <a:lnTo>
                    <a:pt x="591" y="790"/>
                  </a:lnTo>
                  <a:lnTo>
                    <a:pt x="590" y="791"/>
                  </a:lnTo>
                  <a:lnTo>
                    <a:pt x="587" y="795"/>
                  </a:lnTo>
                  <a:lnTo>
                    <a:pt x="583" y="798"/>
                  </a:lnTo>
                  <a:lnTo>
                    <a:pt x="579" y="796"/>
                  </a:lnTo>
                  <a:lnTo>
                    <a:pt x="578" y="790"/>
                  </a:lnTo>
                  <a:lnTo>
                    <a:pt x="578" y="785"/>
                  </a:lnTo>
                  <a:lnTo>
                    <a:pt x="580" y="784"/>
                  </a:lnTo>
                  <a:lnTo>
                    <a:pt x="584" y="784"/>
                  </a:lnTo>
                  <a:lnTo>
                    <a:pt x="584" y="779"/>
                  </a:lnTo>
                  <a:lnTo>
                    <a:pt x="583" y="778"/>
                  </a:lnTo>
                  <a:lnTo>
                    <a:pt x="583" y="775"/>
                  </a:lnTo>
                  <a:lnTo>
                    <a:pt x="587" y="771"/>
                  </a:lnTo>
                  <a:lnTo>
                    <a:pt x="583" y="772"/>
                  </a:lnTo>
                  <a:lnTo>
                    <a:pt x="580" y="775"/>
                  </a:lnTo>
                  <a:lnTo>
                    <a:pt x="578" y="783"/>
                  </a:lnTo>
                  <a:lnTo>
                    <a:pt x="577" y="786"/>
                  </a:lnTo>
                  <a:lnTo>
                    <a:pt x="576" y="792"/>
                  </a:lnTo>
                  <a:lnTo>
                    <a:pt x="574" y="791"/>
                  </a:lnTo>
                  <a:lnTo>
                    <a:pt x="571" y="795"/>
                  </a:lnTo>
                  <a:lnTo>
                    <a:pt x="570" y="795"/>
                  </a:lnTo>
                  <a:lnTo>
                    <a:pt x="570" y="789"/>
                  </a:lnTo>
                  <a:lnTo>
                    <a:pt x="568" y="791"/>
                  </a:lnTo>
                  <a:lnTo>
                    <a:pt x="567" y="785"/>
                  </a:lnTo>
                  <a:lnTo>
                    <a:pt x="565" y="780"/>
                  </a:lnTo>
                  <a:lnTo>
                    <a:pt x="561" y="781"/>
                  </a:lnTo>
                  <a:lnTo>
                    <a:pt x="559" y="783"/>
                  </a:lnTo>
                  <a:lnTo>
                    <a:pt x="555" y="787"/>
                  </a:lnTo>
                  <a:lnTo>
                    <a:pt x="550" y="789"/>
                  </a:lnTo>
                  <a:lnTo>
                    <a:pt x="552" y="784"/>
                  </a:lnTo>
                  <a:lnTo>
                    <a:pt x="553" y="779"/>
                  </a:lnTo>
                  <a:lnTo>
                    <a:pt x="549" y="779"/>
                  </a:lnTo>
                  <a:lnTo>
                    <a:pt x="549" y="781"/>
                  </a:lnTo>
                  <a:lnTo>
                    <a:pt x="546" y="787"/>
                  </a:lnTo>
                  <a:lnTo>
                    <a:pt x="542" y="791"/>
                  </a:lnTo>
                  <a:lnTo>
                    <a:pt x="540" y="792"/>
                  </a:lnTo>
                  <a:lnTo>
                    <a:pt x="541" y="786"/>
                  </a:lnTo>
                  <a:lnTo>
                    <a:pt x="543" y="781"/>
                  </a:lnTo>
                  <a:lnTo>
                    <a:pt x="544" y="777"/>
                  </a:lnTo>
                  <a:lnTo>
                    <a:pt x="548" y="773"/>
                  </a:lnTo>
                  <a:lnTo>
                    <a:pt x="547" y="772"/>
                  </a:lnTo>
                  <a:lnTo>
                    <a:pt x="544" y="774"/>
                  </a:lnTo>
                  <a:lnTo>
                    <a:pt x="544" y="771"/>
                  </a:lnTo>
                  <a:lnTo>
                    <a:pt x="540" y="771"/>
                  </a:lnTo>
                  <a:lnTo>
                    <a:pt x="540" y="766"/>
                  </a:lnTo>
                  <a:lnTo>
                    <a:pt x="537" y="768"/>
                  </a:lnTo>
                  <a:lnTo>
                    <a:pt x="534" y="768"/>
                  </a:lnTo>
                  <a:lnTo>
                    <a:pt x="535" y="763"/>
                  </a:lnTo>
                  <a:lnTo>
                    <a:pt x="532" y="766"/>
                  </a:lnTo>
                  <a:lnTo>
                    <a:pt x="529" y="768"/>
                  </a:lnTo>
                  <a:lnTo>
                    <a:pt x="530" y="763"/>
                  </a:lnTo>
                  <a:lnTo>
                    <a:pt x="529" y="763"/>
                  </a:lnTo>
                  <a:lnTo>
                    <a:pt x="526" y="759"/>
                  </a:lnTo>
                  <a:lnTo>
                    <a:pt x="526" y="756"/>
                  </a:lnTo>
                  <a:lnTo>
                    <a:pt x="526" y="755"/>
                  </a:lnTo>
                  <a:lnTo>
                    <a:pt x="523" y="757"/>
                  </a:lnTo>
                  <a:lnTo>
                    <a:pt x="517" y="761"/>
                  </a:lnTo>
                  <a:lnTo>
                    <a:pt x="520" y="756"/>
                  </a:lnTo>
                  <a:lnTo>
                    <a:pt x="524" y="754"/>
                  </a:lnTo>
                  <a:lnTo>
                    <a:pt x="528" y="751"/>
                  </a:lnTo>
                  <a:lnTo>
                    <a:pt x="530" y="750"/>
                  </a:lnTo>
                  <a:lnTo>
                    <a:pt x="526" y="749"/>
                  </a:lnTo>
                  <a:lnTo>
                    <a:pt x="524" y="750"/>
                  </a:lnTo>
                  <a:lnTo>
                    <a:pt x="521" y="749"/>
                  </a:lnTo>
                  <a:lnTo>
                    <a:pt x="521" y="750"/>
                  </a:lnTo>
                  <a:lnTo>
                    <a:pt x="519" y="749"/>
                  </a:lnTo>
                  <a:lnTo>
                    <a:pt x="517" y="749"/>
                  </a:lnTo>
                  <a:lnTo>
                    <a:pt x="515" y="750"/>
                  </a:lnTo>
                  <a:lnTo>
                    <a:pt x="514" y="753"/>
                  </a:lnTo>
                  <a:lnTo>
                    <a:pt x="512" y="750"/>
                  </a:lnTo>
                  <a:lnTo>
                    <a:pt x="509" y="744"/>
                  </a:lnTo>
                  <a:lnTo>
                    <a:pt x="509" y="740"/>
                  </a:lnTo>
                  <a:lnTo>
                    <a:pt x="509" y="736"/>
                  </a:lnTo>
                  <a:lnTo>
                    <a:pt x="512" y="733"/>
                  </a:lnTo>
                  <a:lnTo>
                    <a:pt x="515" y="733"/>
                  </a:lnTo>
                  <a:lnTo>
                    <a:pt x="517" y="731"/>
                  </a:lnTo>
                  <a:lnTo>
                    <a:pt x="515" y="727"/>
                  </a:lnTo>
                  <a:lnTo>
                    <a:pt x="515" y="724"/>
                  </a:lnTo>
                  <a:lnTo>
                    <a:pt x="512" y="726"/>
                  </a:lnTo>
                  <a:lnTo>
                    <a:pt x="509" y="727"/>
                  </a:lnTo>
                  <a:lnTo>
                    <a:pt x="508" y="724"/>
                  </a:lnTo>
                  <a:lnTo>
                    <a:pt x="507" y="725"/>
                  </a:lnTo>
                  <a:lnTo>
                    <a:pt x="506" y="726"/>
                  </a:lnTo>
                  <a:lnTo>
                    <a:pt x="503" y="731"/>
                  </a:lnTo>
                  <a:lnTo>
                    <a:pt x="502" y="730"/>
                  </a:lnTo>
                  <a:lnTo>
                    <a:pt x="502" y="733"/>
                  </a:lnTo>
                  <a:lnTo>
                    <a:pt x="499" y="736"/>
                  </a:lnTo>
                  <a:lnTo>
                    <a:pt x="495" y="739"/>
                  </a:lnTo>
                  <a:lnTo>
                    <a:pt x="495" y="736"/>
                  </a:lnTo>
                  <a:lnTo>
                    <a:pt x="495" y="733"/>
                  </a:lnTo>
                  <a:lnTo>
                    <a:pt x="493" y="734"/>
                  </a:lnTo>
                  <a:lnTo>
                    <a:pt x="493" y="733"/>
                  </a:lnTo>
                  <a:lnTo>
                    <a:pt x="490" y="733"/>
                  </a:lnTo>
                  <a:lnTo>
                    <a:pt x="488" y="731"/>
                  </a:lnTo>
                  <a:lnTo>
                    <a:pt x="485" y="732"/>
                  </a:lnTo>
                  <a:lnTo>
                    <a:pt x="481" y="734"/>
                  </a:lnTo>
                  <a:lnTo>
                    <a:pt x="481" y="732"/>
                  </a:lnTo>
                  <a:lnTo>
                    <a:pt x="483" y="730"/>
                  </a:lnTo>
                  <a:lnTo>
                    <a:pt x="483" y="728"/>
                  </a:lnTo>
                  <a:lnTo>
                    <a:pt x="484" y="728"/>
                  </a:lnTo>
                  <a:lnTo>
                    <a:pt x="485" y="727"/>
                  </a:lnTo>
                  <a:lnTo>
                    <a:pt x="489" y="728"/>
                  </a:lnTo>
                  <a:lnTo>
                    <a:pt x="490" y="726"/>
                  </a:lnTo>
                  <a:lnTo>
                    <a:pt x="489" y="724"/>
                  </a:lnTo>
                  <a:lnTo>
                    <a:pt x="488" y="724"/>
                  </a:lnTo>
                  <a:lnTo>
                    <a:pt x="484" y="724"/>
                  </a:lnTo>
                  <a:lnTo>
                    <a:pt x="483" y="722"/>
                  </a:lnTo>
                  <a:lnTo>
                    <a:pt x="481" y="722"/>
                  </a:lnTo>
                  <a:lnTo>
                    <a:pt x="477" y="724"/>
                  </a:lnTo>
                  <a:lnTo>
                    <a:pt x="476" y="721"/>
                  </a:lnTo>
                  <a:lnTo>
                    <a:pt x="476" y="719"/>
                  </a:lnTo>
                  <a:lnTo>
                    <a:pt x="478" y="716"/>
                  </a:lnTo>
                  <a:lnTo>
                    <a:pt x="481" y="715"/>
                  </a:lnTo>
                  <a:lnTo>
                    <a:pt x="484" y="714"/>
                  </a:lnTo>
                  <a:lnTo>
                    <a:pt x="485" y="713"/>
                  </a:lnTo>
                  <a:lnTo>
                    <a:pt x="484" y="712"/>
                  </a:lnTo>
                  <a:lnTo>
                    <a:pt x="482" y="712"/>
                  </a:lnTo>
                  <a:lnTo>
                    <a:pt x="479" y="714"/>
                  </a:lnTo>
                  <a:lnTo>
                    <a:pt x="475" y="716"/>
                  </a:lnTo>
                  <a:lnTo>
                    <a:pt x="471" y="719"/>
                  </a:lnTo>
                  <a:lnTo>
                    <a:pt x="472" y="724"/>
                  </a:lnTo>
                  <a:lnTo>
                    <a:pt x="477" y="736"/>
                  </a:lnTo>
                  <a:lnTo>
                    <a:pt x="482" y="749"/>
                  </a:lnTo>
                  <a:lnTo>
                    <a:pt x="484" y="759"/>
                  </a:lnTo>
                  <a:lnTo>
                    <a:pt x="483" y="774"/>
                  </a:lnTo>
                  <a:lnTo>
                    <a:pt x="483" y="790"/>
                  </a:lnTo>
                  <a:lnTo>
                    <a:pt x="497" y="817"/>
                  </a:lnTo>
                  <a:lnTo>
                    <a:pt x="505" y="833"/>
                  </a:lnTo>
                  <a:lnTo>
                    <a:pt x="506" y="839"/>
                  </a:lnTo>
                  <a:lnTo>
                    <a:pt x="505" y="846"/>
                  </a:lnTo>
                  <a:lnTo>
                    <a:pt x="497" y="860"/>
                  </a:lnTo>
                  <a:lnTo>
                    <a:pt x="493" y="869"/>
                  </a:lnTo>
                  <a:lnTo>
                    <a:pt x="487" y="884"/>
                  </a:lnTo>
                  <a:lnTo>
                    <a:pt x="484" y="893"/>
                  </a:lnTo>
                  <a:lnTo>
                    <a:pt x="483" y="903"/>
                  </a:lnTo>
                  <a:lnTo>
                    <a:pt x="481" y="922"/>
                  </a:lnTo>
                  <a:lnTo>
                    <a:pt x="479" y="941"/>
                  </a:lnTo>
                  <a:lnTo>
                    <a:pt x="478" y="959"/>
                  </a:lnTo>
                  <a:lnTo>
                    <a:pt x="477" y="975"/>
                  </a:lnTo>
                  <a:lnTo>
                    <a:pt x="477" y="993"/>
                  </a:lnTo>
                  <a:lnTo>
                    <a:pt x="481" y="1041"/>
                  </a:lnTo>
                  <a:lnTo>
                    <a:pt x="479" y="1069"/>
                  </a:lnTo>
                  <a:lnTo>
                    <a:pt x="476" y="1088"/>
                  </a:lnTo>
                  <a:lnTo>
                    <a:pt x="472" y="110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1" name="Freeform 64"/>
            <p:cNvSpPr>
              <a:spLocks/>
            </p:cNvSpPr>
            <p:nvPr userDrawn="1"/>
          </p:nvSpPr>
          <p:spPr bwMode="auto">
            <a:xfrm>
              <a:off x="4610100" y="6411913"/>
              <a:ext cx="65088" cy="107950"/>
            </a:xfrm>
            <a:custGeom>
              <a:avLst/>
              <a:gdLst/>
              <a:ahLst/>
              <a:cxnLst>
                <a:cxn ang="0">
                  <a:pos x="106" y="18"/>
                </a:cxn>
                <a:cxn ang="0">
                  <a:pos x="118" y="40"/>
                </a:cxn>
                <a:cxn ang="0">
                  <a:pos x="122" y="58"/>
                </a:cxn>
                <a:cxn ang="0">
                  <a:pos x="136" y="71"/>
                </a:cxn>
                <a:cxn ang="0">
                  <a:pos x="132" y="81"/>
                </a:cxn>
                <a:cxn ang="0">
                  <a:pos x="140" y="88"/>
                </a:cxn>
                <a:cxn ang="0">
                  <a:pos x="155" y="112"/>
                </a:cxn>
                <a:cxn ang="0">
                  <a:pos x="141" y="113"/>
                </a:cxn>
                <a:cxn ang="0">
                  <a:pos x="158" y="131"/>
                </a:cxn>
                <a:cxn ang="0">
                  <a:pos x="161" y="140"/>
                </a:cxn>
                <a:cxn ang="0">
                  <a:pos x="176" y="149"/>
                </a:cxn>
                <a:cxn ang="0">
                  <a:pos x="165" y="155"/>
                </a:cxn>
                <a:cxn ang="0">
                  <a:pos x="173" y="164"/>
                </a:cxn>
                <a:cxn ang="0">
                  <a:pos x="183" y="171"/>
                </a:cxn>
                <a:cxn ang="0">
                  <a:pos x="182" y="183"/>
                </a:cxn>
                <a:cxn ang="0">
                  <a:pos x="175" y="195"/>
                </a:cxn>
                <a:cxn ang="0">
                  <a:pos x="170" y="204"/>
                </a:cxn>
                <a:cxn ang="0">
                  <a:pos x="157" y="203"/>
                </a:cxn>
                <a:cxn ang="0">
                  <a:pos x="145" y="202"/>
                </a:cxn>
                <a:cxn ang="0">
                  <a:pos x="165" y="218"/>
                </a:cxn>
                <a:cxn ang="0">
                  <a:pos x="180" y="225"/>
                </a:cxn>
                <a:cxn ang="0">
                  <a:pos x="183" y="236"/>
                </a:cxn>
                <a:cxn ang="0">
                  <a:pos x="198" y="241"/>
                </a:cxn>
                <a:cxn ang="0">
                  <a:pos x="186" y="247"/>
                </a:cxn>
                <a:cxn ang="0">
                  <a:pos x="193" y="257"/>
                </a:cxn>
                <a:cxn ang="0">
                  <a:pos x="194" y="265"/>
                </a:cxn>
                <a:cxn ang="0">
                  <a:pos x="191" y="271"/>
                </a:cxn>
                <a:cxn ang="0">
                  <a:pos x="180" y="277"/>
                </a:cxn>
                <a:cxn ang="0">
                  <a:pos x="167" y="296"/>
                </a:cxn>
                <a:cxn ang="0">
                  <a:pos x="145" y="301"/>
                </a:cxn>
                <a:cxn ang="0">
                  <a:pos x="112" y="320"/>
                </a:cxn>
                <a:cxn ang="0">
                  <a:pos x="76" y="308"/>
                </a:cxn>
                <a:cxn ang="0">
                  <a:pos x="49" y="320"/>
                </a:cxn>
                <a:cxn ang="0">
                  <a:pos x="17" y="307"/>
                </a:cxn>
                <a:cxn ang="0">
                  <a:pos x="22" y="284"/>
                </a:cxn>
                <a:cxn ang="0">
                  <a:pos x="23" y="265"/>
                </a:cxn>
                <a:cxn ang="0">
                  <a:pos x="33" y="256"/>
                </a:cxn>
                <a:cxn ang="0">
                  <a:pos x="28" y="245"/>
                </a:cxn>
                <a:cxn ang="0">
                  <a:pos x="15" y="236"/>
                </a:cxn>
                <a:cxn ang="0">
                  <a:pos x="23" y="221"/>
                </a:cxn>
                <a:cxn ang="0">
                  <a:pos x="29" y="217"/>
                </a:cxn>
                <a:cxn ang="0">
                  <a:pos x="52" y="207"/>
                </a:cxn>
                <a:cxn ang="0">
                  <a:pos x="40" y="207"/>
                </a:cxn>
                <a:cxn ang="0">
                  <a:pos x="31" y="194"/>
                </a:cxn>
                <a:cxn ang="0">
                  <a:pos x="28" y="189"/>
                </a:cxn>
                <a:cxn ang="0">
                  <a:pos x="17" y="180"/>
                </a:cxn>
                <a:cxn ang="0">
                  <a:pos x="29" y="164"/>
                </a:cxn>
                <a:cxn ang="0">
                  <a:pos x="27" y="150"/>
                </a:cxn>
                <a:cxn ang="0">
                  <a:pos x="51" y="138"/>
                </a:cxn>
                <a:cxn ang="0">
                  <a:pos x="40" y="138"/>
                </a:cxn>
                <a:cxn ang="0">
                  <a:pos x="45" y="125"/>
                </a:cxn>
                <a:cxn ang="0">
                  <a:pos x="68" y="112"/>
                </a:cxn>
                <a:cxn ang="0">
                  <a:pos x="46" y="111"/>
                </a:cxn>
                <a:cxn ang="0">
                  <a:pos x="92" y="95"/>
                </a:cxn>
                <a:cxn ang="0">
                  <a:pos x="74" y="85"/>
                </a:cxn>
                <a:cxn ang="0">
                  <a:pos x="67" y="69"/>
                </a:cxn>
                <a:cxn ang="0">
                  <a:pos x="76" y="59"/>
                </a:cxn>
                <a:cxn ang="0">
                  <a:pos x="87" y="54"/>
                </a:cxn>
                <a:cxn ang="0">
                  <a:pos x="82" y="35"/>
                </a:cxn>
                <a:cxn ang="0">
                  <a:pos x="93" y="39"/>
                </a:cxn>
                <a:cxn ang="0">
                  <a:pos x="81" y="23"/>
                </a:cxn>
                <a:cxn ang="0">
                  <a:pos x="97" y="13"/>
                </a:cxn>
                <a:cxn ang="0">
                  <a:pos x="97" y="9"/>
                </a:cxn>
              </a:cxnLst>
              <a:rect l="0" t="0" r="r" b="b"/>
              <a:pathLst>
                <a:path w="206" h="338">
                  <a:moveTo>
                    <a:pt x="103" y="6"/>
                  </a:moveTo>
                  <a:lnTo>
                    <a:pt x="104" y="4"/>
                  </a:lnTo>
                  <a:lnTo>
                    <a:pt x="105" y="0"/>
                  </a:lnTo>
                  <a:lnTo>
                    <a:pt x="105" y="3"/>
                  </a:lnTo>
                  <a:lnTo>
                    <a:pt x="104" y="4"/>
                  </a:lnTo>
                  <a:lnTo>
                    <a:pt x="103" y="6"/>
                  </a:lnTo>
                  <a:lnTo>
                    <a:pt x="104" y="7"/>
                  </a:lnTo>
                  <a:lnTo>
                    <a:pt x="104" y="5"/>
                  </a:lnTo>
                  <a:lnTo>
                    <a:pt x="105" y="5"/>
                  </a:lnTo>
                  <a:lnTo>
                    <a:pt x="104" y="7"/>
                  </a:lnTo>
                  <a:lnTo>
                    <a:pt x="106" y="6"/>
                  </a:lnTo>
                  <a:lnTo>
                    <a:pt x="108" y="6"/>
                  </a:lnTo>
                  <a:lnTo>
                    <a:pt x="103" y="9"/>
                  </a:lnTo>
                  <a:lnTo>
                    <a:pt x="104" y="9"/>
                  </a:lnTo>
                  <a:lnTo>
                    <a:pt x="105" y="9"/>
                  </a:lnTo>
                  <a:lnTo>
                    <a:pt x="104" y="10"/>
                  </a:lnTo>
                  <a:lnTo>
                    <a:pt x="106" y="10"/>
                  </a:lnTo>
                  <a:lnTo>
                    <a:pt x="104" y="10"/>
                  </a:lnTo>
                  <a:lnTo>
                    <a:pt x="104" y="11"/>
                  </a:lnTo>
                  <a:lnTo>
                    <a:pt x="104" y="12"/>
                  </a:lnTo>
                  <a:lnTo>
                    <a:pt x="105" y="12"/>
                  </a:lnTo>
                  <a:lnTo>
                    <a:pt x="104" y="12"/>
                  </a:lnTo>
                  <a:lnTo>
                    <a:pt x="105" y="12"/>
                  </a:lnTo>
                  <a:lnTo>
                    <a:pt x="104" y="12"/>
                  </a:lnTo>
                  <a:lnTo>
                    <a:pt x="104" y="13"/>
                  </a:lnTo>
                  <a:lnTo>
                    <a:pt x="104" y="12"/>
                  </a:lnTo>
                  <a:lnTo>
                    <a:pt x="105" y="13"/>
                  </a:lnTo>
                  <a:lnTo>
                    <a:pt x="106" y="11"/>
                  </a:lnTo>
                  <a:lnTo>
                    <a:pt x="105" y="13"/>
                  </a:lnTo>
                  <a:lnTo>
                    <a:pt x="106" y="13"/>
                  </a:lnTo>
                  <a:lnTo>
                    <a:pt x="106" y="12"/>
                  </a:lnTo>
                  <a:lnTo>
                    <a:pt x="106" y="13"/>
                  </a:lnTo>
                  <a:lnTo>
                    <a:pt x="105" y="13"/>
                  </a:lnTo>
                  <a:lnTo>
                    <a:pt x="106" y="13"/>
                  </a:lnTo>
                  <a:lnTo>
                    <a:pt x="105" y="15"/>
                  </a:lnTo>
                  <a:lnTo>
                    <a:pt x="106" y="16"/>
                  </a:lnTo>
                  <a:lnTo>
                    <a:pt x="106" y="15"/>
                  </a:lnTo>
                  <a:lnTo>
                    <a:pt x="109" y="13"/>
                  </a:lnTo>
                  <a:lnTo>
                    <a:pt x="108" y="15"/>
                  </a:lnTo>
                  <a:lnTo>
                    <a:pt x="109" y="15"/>
                  </a:lnTo>
                  <a:lnTo>
                    <a:pt x="110" y="15"/>
                  </a:lnTo>
                  <a:lnTo>
                    <a:pt x="109" y="15"/>
                  </a:lnTo>
                  <a:lnTo>
                    <a:pt x="108" y="15"/>
                  </a:lnTo>
                  <a:lnTo>
                    <a:pt x="109" y="16"/>
                  </a:lnTo>
                  <a:lnTo>
                    <a:pt x="108" y="16"/>
                  </a:lnTo>
                  <a:lnTo>
                    <a:pt x="106" y="16"/>
                  </a:lnTo>
                  <a:lnTo>
                    <a:pt x="108" y="16"/>
                  </a:lnTo>
                  <a:lnTo>
                    <a:pt x="106" y="16"/>
                  </a:lnTo>
                  <a:lnTo>
                    <a:pt x="105" y="16"/>
                  </a:lnTo>
                  <a:lnTo>
                    <a:pt x="106" y="17"/>
                  </a:lnTo>
                  <a:lnTo>
                    <a:pt x="105" y="16"/>
                  </a:lnTo>
                  <a:lnTo>
                    <a:pt x="103" y="17"/>
                  </a:lnTo>
                  <a:lnTo>
                    <a:pt x="103" y="18"/>
                  </a:lnTo>
                  <a:lnTo>
                    <a:pt x="104" y="18"/>
                  </a:lnTo>
                  <a:lnTo>
                    <a:pt x="105" y="18"/>
                  </a:lnTo>
                  <a:lnTo>
                    <a:pt x="106" y="18"/>
                  </a:lnTo>
                  <a:lnTo>
                    <a:pt x="106" y="17"/>
                  </a:lnTo>
                  <a:lnTo>
                    <a:pt x="108" y="17"/>
                  </a:lnTo>
                  <a:lnTo>
                    <a:pt x="106" y="18"/>
                  </a:lnTo>
                  <a:lnTo>
                    <a:pt x="108" y="18"/>
                  </a:lnTo>
                  <a:lnTo>
                    <a:pt x="108" y="19"/>
                  </a:lnTo>
                  <a:lnTo>
                    <a:pt x="106" y="19"/>
                  </a:lnTo>
                  <a:lnTo>
                    <a:pt x="108" y="21"/>
                  </a:lnTo>
                  <a:lnTo>
                    <a:pt x="105" y="19"/>
                  </a:lnTo>
                  <a:lnTo>
                    <a:pt x="104" y="19"/>
                  </a:lnTo>
                  <a:lnTo>
                    <a:pt x="105" y="19"/>
                  </a:lnTo>
                  <a:lnTo>
                    <a:pt x="105" y="21"/>
                  </a:lnTo>
                  <a:lnTo>
                    <a:pt x="106" y="21"/>
                  </a:lnTo>
                  <a:lnTo>
                    <a:pt x="105" y="22"/>
                  </a:lnTo>
                  <a:lnTo>
                    <a:pt x="106" y="23"/>
                  </a:lnTo>
                  <a:lnTo>
                    <a:pt x="105" y="23"/>
                  </a:lnTo>
                  <a:lnTo>
                    <a:pt x="105" y="24"/>
                  </a:lnTo>
                  <a:lnTo>
                    <a:pt x="106" y="24"/>
                  </a:lnTo>
                  <a:lnTo>
                    <a:pt x="105" y="24"/>
                  </a:lnTo>
                  <a:lnTo>
                    <a:pt x="105" y="25"/>
                  </a:lnTo>
                  <a:lnTo>
                    <a:pt x="106" y="25"/>
                  </a:lnTo>
                  <a:lnTo>
                    <a:pt x="106" y="24"/>
                  </a:lnTo>
                  <a:lnTo>
                    <a:pt x="106" y="25"/>
                  </a:lnTo>
                  <a:lnTo>
                    <a:pt x="106" y="27"/>
                  </a:lnTo>
                  <a:lnTo>
                    <a:pt x="106" y="25"/>
                  </a:lnTo>
                  <a:lnTo>
                    <a:pt x="105" y="25"/>
                  </a:lnTo>
                  <a:lnTo>
                    <a:pt x="105" y="27"/>
                  </a:lnTo>
                  <a:lnTo>
                    <a:pt x="106" y="27"/>
                  </a:lnTo>
                  <a:lnTo>
                    <a:pt x="109" y="28"/>
                  </a:lnTo>
                  <a:lnTo>
                    <a:pt x="111" y="30"/>
                  </a:lnTo>
                  <a:lnTo>
                    <a:pt x="112" y="30"/>
                  </a:lnTo>
                  <a:lnTo>
                    <a:pt x="111" y="30"/>
                  </a:lnTo>
                  <a:lnTo>
                    <a:pt x="112" y="30"/>
                  </a:lnTo>
                  <a:lnTo>
                    <a:pt x="114" y="31"/>
                  </a:lnTo>
                  <a:lnTo>
                    <a:pt x="111" y="31"/>
                  </a:lnTo>
                  <a:lnTo>
                    <a:pt x="111" y="33"/>
                  </a:lnTo>
                  <a:lnTo>
                    <a:pt x="111" y="31"/>
                  </a:lnTo>
                  <a:lnTo>
                    <a:pt x="111" y="30"/>
                  </a:lnTo>
                  <a:lnTo>
                    <a:pt x="110" y="30"/>
                  </a:lnTo>
                  <a:lnTo>
                    <a:pt x="110" y="31"/>
                  </a:lnTo>
                  <a:lnTo>
                    <a:pt x="110" y="30"/>
                  </a:lnTo>
                  <a:lnTo>
                    <a:pt x="109" y="30"/>
                  </a:lnTo>
                  <a:lnTo>
                    <a:pt x="110" y="31"/>
                  </a:lnTo>
                  <a:lnTo>
                    <a:pt x="109" y="33"/>
                  </a:lnTo>
                  <a:lnTo>
                    <a:pt x="109" y="34"/>
                  </a:lnTo>
                  <a:lnTo>
                    <a:pt x="110" y="34"/>
                  </a:lnTo>
                  <a:lnTo>
                    <a:pt x="111" y="34"/>
                  </a:lnTo>
                  <a:lnTo>
                    <a:pt x="110" y="35"/>
                  </a:lnTo>
                  <a:lnTo>
                    <a:pt x="110" y="34"/>
                  </a:lnTo>
                  <a:lnTo>
                    <a:pt x="110" y="35"/>
                  </a:lnTo>
                  <a:lnTo>
                    <a:pt x="111" y="35"/>
                  </a:lnTo>
                  <a:lnTo>
                    <a:pt x="112" y="36"/>
                  </a:lnTo>
                  <a:lnTo>
                    <a:pt x="111" y="36"/>
                  </a:lnTo>
                  <a:lnTo>
                    <a:pt x="111" y="37"/>
                  </a:lnTo>
                  <a:lnTo>
                    <a:pt x="112" y="36"/>
                  </a:lnTo>
                  <a:lnTo>
                    <a:pt x="114" y="36"/>
                  </a:lnTo>
                  <a:lnTo>
                    <a:pt x="114" y="37"/>
                  </a:lnTo>
                  <a:lnTo>
                    <a:pt x="115" y="39"/>
                  </a:lnTo>
                  <a:lnTo>
                    <a:pt x="116" y="39"/>
                  </a:lnTo>
                  <a:lnTo>
                    <a:pt x="117" y="39"/>
                  </a:lnTo>
                  <a:lnTo>
                    <a:pt x="118" y="40"/>
                  </a:lnTo>
                  <a:lnTo>
                    <a:pt x="120" y="40"/>
                  </a:lnTo>
                  <a:lnTo>
                    <a:pt x="118" y="40"/>
                  </a:lnTo>
                  <a:lnTo>
                    <a:pt x="120" y="40"/>
                  </a:lnTo>
                  <a:lnTo>
                    <a:pt x="121" y="40"/>
                  </a:lnTo>
                  <a:lnTo>
                    <a:pt x="121" y="41"/>
                  </a:lnTo>
                  <a:lnTo>
                    <a:pt x="123" y="42"/>
                  </a:lnTo>
                  <a:lnTo>
                    <a:pt x="124" y="42"/>
                  </a:lnTo>
                  <a:lnTo>
                    <a:pt x="124" y="43"/>
                  </a:lnTo>
                  <a:lnTo>
                    <a:pt x="126" y="43"/>
                  </a:lnTo>
                  <a:lnTo>
                    <a:pt x="126" y="45"/>
                  </a:lnTo>
                  <a:lnTo>
                    <a:pt x="127" y="45"/>
                  </a:lnTo>
                  <a:lnTo>
                    <a:pt x="128" y="47"/>
                  </a:lnTo>
                  <a:lnTo>
                    <a:pt x="127" y="46"/>
                  </a:lnTo>
                  <a:lnTo>
                    <a:pt x="127" y="47"/>
                  </a:lnTo>
                  <a:lnTo>
                    <a:pt x="126" y="46"/>
                  </a:lnTo>
                  <a:lnTo>
                    <a:pt x="126" y="45"/>
                  </a:lnTo>
                  <a:lnTo>
                    <a:pt x="123" y="43"/>
                  </a:lnTo>
                  <a:lnTo>
                    <a:pt x="124" y="45"/>
                  </a:lnTo>
                  <a:lnTo>
                    <a:pt x="123" y="45"/>
                  </a:lnTo>
                  <a:lnTo>
                    <a:pt x="123" y="46"/>
                  </a:lnTo>
                  <a:lnTo>
                    <a:pt x="123" y="45"/>
                  </a:lnTo>
                  <a:lnTo>
                    <a:pt x="123" y="43"/>
                  </a:lnTo>
                  <a:lnTo>
                    <a:pt x="123" y="45"/>
                  </a:lnTo>
                  <a:lnTo>
                    <a:pt x="123" y="46"/>
                  </a:lnTo>
                  <a:lnTo>
                    <a:pt x="122" y="46"/>
                  </a:lnTo>
                  <a:lnTo>
                    <a:pt x="122" y="47"/>
                  </a:lnTo>
                  <a:lnTo>
                    <a:pt x="123" y="47"/>
                  </a:lnTo>
                  <a:lnTo>
                    <a:pt x="123" y="48"/>
                  </a:lnTo>
                  <a:lnTo>
                    <a:pt x="123" y="49"/>
                  </a:lnTo>
                  <a:lnTo>
                    <a:pt x="123" y="51"/>
                  </a:lnTo>
                  <a:lnTo>
                    <a:pt x="123" y="52"/>
                  </a:lnTo>
                  <a:lnTo>
                    <a:pt x="122" y="52"/>
                  </a:lnTo>
                  <a:lnTo>
                    <a:pt x="123" y="52"/>
                  </a:lnTo>
                  <a:lnTo>
                    <a:pt x="123" y="53"/>
                  </a:lnTo>
                  <a:lnTo>
                    <a:pt x="124" y="53"/>
                  </a:lnTo>
                  <a:lnTo>
                    <a:pt x="126" y="53"/>
                  </a:lnTo>
                  <a:lnTo>
                    <a:pt x="124" y="53"/>
                  </a:lnTo>
                  <a:lnTo>
                    <a:pt x="126" y="54"/>
                  </a:lnTo>
                  <a:lnTo>
                    <a:pt x="126" y="53"/>
                  </a:lnTo>
                  <a:lnTo>
                    <a:pt x="127" y="53"/>
                  </a:lnTo>
                  <a:lnTo>
                    <a:pt x="127" y="54"/>
                  </a:lnTo>
                  <a:lnTo>
                    <a:pt x="128" y="54"/>
                  </a:lnTo>
                  <a:lnTo>
                    <a:pt x="127" y="54"/>
                  </a:lnTo>
                  <a:lnTo>
                    <a:pt x="129" y="54"/>
                  </a:lnTo>
                  <a:lnTo>
                    <a:pt x="128" y="55"/>
                  </a:lnTo>
                  <a:lnTo>
                    <a:pt x="127" y="54"/>
                  </a:lnTo>
                  <a:lnTo>
                    <a:pt x="128" y="57"/>
                  </a:lnTo>
                  <a:lnTo>
                    <a:pt x="127" y="54"/>
                  </a:lnTo>
                  <a:lnTo>
                    <a:pt x="127" y="55"/>
                  </a:lnTo>
                  <a:lnTo>
                    <a:pt x="126" y="55"/>
                  </a:lnTo>
                  <a:lnTo>
                    <a:pt x="126" y="54"/>
                  </a:lnTo>
                  <a:lnTo>
                    <a:pt x="124" y="54"/>
                  </a:lnTo>
                  <a:lnTo>
                    <a:pt x="124" y="55"/>
                  </a:lnTo>
                  <a:lnTo>
                    <a:pt x="124" y="58"/>
                  </a:lnTo>
                  <a:lnTo>
                    <a:pt x="123" y="58"/>
                  </a:lnTo>
                  <a:lnTo>
                    <a:pt x="123" y="57"/>
                  </a:lnTo>
                  <a:lnTo>
                    <a:pt x="123" y="58"/>
                  </a:lnTo>
                  <a:lnTo>
                    <a:pt x="123" y="57"/>
                  </a:lnTo>
                  <a:lnTo>
                    <a:pt x="122" y="58"/>
                  </a:lnTo>
                  <a:lnTo>
                    <a:pt x="122" y="57"/>
                  </a:lnTo>
                  <a:lnTo>
                    <a:pt x="122" y="58"/>
                  </a:lnTo>
                  <a:lnTo>
                    <a:pt x="121" y="58"/>
                  </a:lnTo>
                  <a:lnTo>
                    <a:pt x="121" y="57"/>
                  </a:lnTo>
                  <a:lnTo>
                    <a:pt x="121" y="55"/>
                  </a:lnTo>
                  <a:lnTo>
                    <a:pt x="120" y="55"/>
                  </a:lnTo>
                  <a:lnTo>
                    <a:pt x="120" y="57"/>
                  </a:lnTo>
                  <a:lnTo>
                    <a:pt x="120" y="58"/>
                  </a:lnTo>
                  <a:lnTo>
                    <a:pt x="120" y="59"/>
                  </a:lnTo>
                  <a:lnTo>
                    <a:pt x="121" y="59"/>
                  </a:lnTo>
                  <a:lnTo>
                    <a:pt x="122" y="60"/>
                  </a:lnTo>
                  <a:lnTo>
                    <a:pt x="123" y="60"/>
                  </a:lnTo>
                  <a:lnTo>
                    <a:pt x="124" y="61"/>
                  </a:lnTo>
                  <a:lnTo>
                    <a:pt x="126" y="61"/>
                  </a:lnTo>
                  <a:lnTo>
                    <a:pt x="127" y="61"/>
                  </a:lnTo>
                  <a:lnTo>
                    <a:pt x="128" y="61"/>
                  </a:lnTo>
                  <a:lnTo>
                    <a:pt x="129" y="61"/>
                  </a:lnTo>
                  <a:lnTo>
                    <a:pt x="129" y="60"/>
                  </a:lnTo>
                  <a:lnTo>
                    <a:pt x="129" y="61"/>
                  </a:lnTo>
                  <a:lnTo>
                    <a:pt x="130" y="61"/>
                  </a:lnTo>
                  <a:lnTo>
                    <a:pt x="132" y="60"/>
                  </a:lnTo>
                  <a:lnTo>
                    <a:pt x="133" y="60"/>
                  </a:lnTo>
                  <a:lnTo>
                    <a:pt x="130" y="61"/>
                  </a:lnTo>
                  <a:lnTo>
                    <a:pt x="134" y="61"/>
                  </a:lnTo>
                  <a:lnTo>
                    <a:pt x="132" y="63"/>
                  </a:lnTo>
                  <a:lnTo>
                    <a:pt x="130" y="63"/>
                  </a:lnTo>
                  <a:lnTo>
                    <a:pt x="132" y="63"/>
                  </a:lnTo>
                  <a:lnTo>
                    <a:pt x="130" y="61"/>
                  </a:lnTo>
                  <a:lnTo>
                    <a:pt x="129" y="61"/>
                  </a:lnTo>
                  <a:lnTo>
                    <a:pt x="129" y="63"/>
                  </a:lnTo>
                  <a:lnTo>
                    <a:pt x="129" y="64"/>
                  </a:lnTo>
                  <a:lnTo>
                    <a:pt x="129" y="65"/>
                  </a:lnTo>
                  <a:lnTo>
                    <a:pt x="128" y="65"/>
                  </a:lnTo>
                  <a:lnTo>
                    <a:pt x="129" y="65"/>
                  </a:lnTo>
                  <a:lnTo>
                    <a:pt x="129" y="66"/>
                  </a:lnTo>
                  <a:lnTo>
                    <a:pt x="130" y="67"/>
                  </a:lnTo>
                  <a:lnTo>
                    <a:pt x="130" y="66"/>
                  </a:lnTo>
                  <a:lnTo>
                    <a:pt x="132" y="66"/>
                  </a:lnTo>
                  <a:lnTo>
                    <a:pt x="132" y="67"/>
                  </a:lnTo>
                  <a:lnTo>
                    <a:pt x="134" y="66"/>
                  </a:lnTo>
                  <a:lnTo>
                    <a:pt x="134" y="65"/>
                  </a:lnTo>
                  <a:lnTo>
                    <a:pt x="136" y="64"/>
                  </a:lnTo>
                  <a:lnTo>
                    <a:pt x="135" y="65"/>
                  </a:lnTo>
                  <a:lnTo>
                    <a:pt x="136" y="65"/>
                  </a:lnTo>
                  <a:lnTo>
                    <a:pt x="136" y="66"/>
                  </a:lnTo>
                  <a:lnTo>
                    <a:pt x="135" y="66"/>
                  </a:lnTo>
                  <a:lnTo>
                    <a:pt x="135" y="67"/>
                  </a:lnTo>
                  <a:lnTo>
                    <a:pt x="135" y="66"/>
                  </a:lnTo>
                  <a:lnTo>
                    <a:pt x="134" y="66"/>
                  </a:lnTo>
                  <a:lnTo>
                    <a:pt x="135" y="67"/>
                  </a:lnTo>
                  <a:lnTo>
                    <a:pt x="134" y="67"/>
                  </a:lnTo>
                  <a:lnTo>
                    <a:pt x="133" y="67"/>
                  </a:lnTo>
                  <a:lnTo>
                    <a:pt x="134" y="67"/>
                  </a:lnTo>
                  <a:lnTo>
                    <a:pt x="135" y="69"/>
                  </a:lnTo>
                  <a:lnTo>
                    <a:pt x="134" y="69"/>
                  </a:lnTo>
                  <a:lnTo>
                    <a:pt x="133" y="69"/>
                  </a:lnTo>
                  <a:lnTo>
                    <a:pt x="132" y="69"/>
                  </a:lnTo>
                  <a:lnTo>
                    <a:pt x="132" y="70"/>
                  </a:lnTo>
                  <a:lnTo>
                    <a:pt x="133" y="71"/>
                  </a:lnTo>
                  <a:lnTo>
                    <a:pt x="134" y="71"/>
                  </a:lnTo>
                  <a:lnTo>
                    <a:pt x="136" y="71"/>
                  </a:lnTo>
                  <a:lnTo>
                    <a:pt x="135" y="71"/>
                  </a:lnTo>
                  <a:lnTo>
                    <a:pt x="135" y="72"/>
                  </a:lnTo>
                  <a:lnTo>
                    <a:pt x="136" y="73"/>
                  </a:lnTo>
                  <a:lnTo>
                    <a:pt x="135" y="72"/>
                  </a:lnTo>
                  <a:lnTo>
                    <a:pt x="134" y="72"/>
                  </a:lnTo>
                  <a:lnTo>
                    <a:pt x="134" y="73"/>
                  </a:lnTo>
                  <a:lnTo>
                    <a:pt x="134" y="72"/>
                  </a:lnTo>
                  <a:lnTo>
                    <a:pt x="133" y="73"/>
                  </a:lnTo>
                  <a:lnTo>
                    <a:pt x="132" y="73"/>
                  </a:lnTo>
                  <a:lnTo>
                    <a:pt x="133" y="73"/>
                  </a:lnTo>
                  <a:lnTo>
                    <a:pt x="132" y="73"/>
                  </a:lnTo>
                  <a:lnTo>
                    <a:pt x="132" y="75"/>
                  </a:lnTo>
                  <a:lnTo>
                    <a:pt x="133" y="75"/>
                  </a:lnTo>
                  <a:lnTo>
                    <a:pt x="134" y="76"/>
                  </a:lnTo>
                  <a:lnTo>
                    <a:pt x="134" y="77"/>
                  </a:lnTo>
                  <a:lnTo>
                    <a:pt x="135" y="77"/>
                  </a:lnTo>
                  <a:lnTo>
                    <a:pt x="135" y="78"/>
                  </a:lnTo>
                  <a:lnTo>
                    <a:pt x="136" y="78"/>
                  </a:lnTo>
                  <a:lnTo>
                    <a:pt x="138" y="78"/>
                  </a:lnTo>
                  <a:lnTo>
                    <a:pt x="139" y="78"/>
                  </a:lnTo>
                  <a:lnTo>
                    <a:pt x="139" y="79"/>
                  </a:lnTo>
                  <a:lnTo>
                    <a:pt x="138" y="79"/>
                  </a:lnTo>
                  <a:lnTo>
                    <a:pt x="139" y="79"/>
                  </a:lnTo>
                  <a:lnTo>
                    <a:pt x="139" y="81"/>
                  </a:lnTo>
                  <a:lnTo>
                    <a:pt x="138" y="81"/>
                  </a:lnTo>
                  <a:lnTo>
                    <a:pt x="138" y="79"/>
                  </a:lnTo>
                  <a:lnTo>
                    <a:pt x="138" y="81"/>
                  </a:lnTo>
                  <a:lnTo>
                    <a:pt x="138" y="79"/>
                  </a:lnTo>
                  <a:lnTo>
                    <a:pt x="136" y="79"/>
                  </a:lnTo>
                  <a:lnTo>
                    <a:pt x="135" y="78"/>
                  </a:lnTo>
                  <a:lnTo>
                    <a:pt x="135" y="79"/>
                  </a:lnTo>
                  <a:lnTo>
                    <a:pt x="135" y="81"/>
                  </a:lnTo>
                  <a:lnTo>
                    <a:pt x="135" y="82"/>
                  </a:lnTo>
                  <a:lnTo>
                    <a:pt x="135" y="81"/>
                  </a:lnTo>
                  <a:lnTo>
                    <a:pt x="135" y="79"/>
                  </a:lnTo>
                  <a:lnTo>
                    <a:pt x="134" y="81"/>
                  </a:lnTo>
                  <a:lnTo>
                    <a:pt x="134" y="82"/>
                  </a:lnTo>
                  <a:lnTo>
                    <a:pt x="133" y="81"/>
                  </a:lnTo>
                  <a:lnTo>
                    <a:pt x="133" y="79"/>
                  </a:lnTo>
                  <a:lnTo>
                    <a:pt x="133" y="81"/>
                  </a:lnTo>
                  <a:lnTo>
                    <a:pt x="132" y="81"/>
                  </a:lnTo>
                  <a:lnTo>
                    <a:pt x="132" y="79"/>
                  </a:lnTo>
                  <a:lnTo>
                    <a:pt x="132" y="78"/>
                  </a:lnTo>
                  <a:lnTo>
                    <a:pt x="130" y="79"/>
                  </a:lnTo>
                  <a:lnTo>
                    <a:pt x="130" y="78"/>
                  </a:lnTo>
                  <a:lnTo>
                    <a:pt x="130" y="77"/>
                  </a:lnTo>
                  <a:lnTo>
                    <a:pt x="129" y="77"/>
                  </a:lnTo>
                  <a:lnTo>
                    <a:pt x="129" y="78"/>
                  </a:lnTo>
                  <a:lnTo>
                    <a:pt x="129" y="79"/>
                  </a:lnTo>
                  <a:lnTo>
                    <a:pt x="129" y="78"/>
                  </a:lnTo>
                  <a:lnTo>
                    <a:pt x="129" y="77"/>
                  </a:lnTo>
                  <a:lnTo>
                    <a:pt x="129" y="76"/>
                  </a:lnTo>
                  <a:lnTo>
                    <a:pt x="128" y="76"/>
                  </a:lnTo>
                  <a:lnTo>
                    <a:pt x="128" y="77"/>
                  </a:lnTo>
                  <a:lnTo>
                    <a:pt x="128" y="78"/>
                  </a:lnTo>
                  <a:lnTo>
                    <a:pt x="129" y="78"/>
                  </a:lnTo>
                  <a:lnTo>
                    <a:pt x="129" y="79"/>
                  </a:lnTo>
                  <a:lnTo>
                    <a:pt x="130" y="81"/>
                  </a:lnTo>
                  <a:lnTo>
                    <a:pt x="132" y="81"/>
                  </a:lnTo>
                  <a:lnTo>
                    <a:pt x="132" y="82"/>
                  </a:lnTo>
                  <a:lnTo>
                    <a:pt x="133" y="82"/>
                  </a:lnTo>
                  <a:lnTo>
                    <a:pt x="134" y="83"/>
                  </a:lnTo>
                  <a:lnTo>
                    <a:pt x="135" y="82"/>
                  </a:lnTo>
                  <a:lnTo>
                    <a:pt x="136" y="82"/>
                  </a:lnTo>
                  <a:lnTo>
                    <a:pt x="138" y="82"/>
                  </a:lnTo>
                  <a:lnTo>
                    <a:pt x="139" y="82"/>
                  </a:lnTo>
                  <a:lnTo>
                    <a:pt x="139" y="81"/>
                  </a:lnTo>
                  <a:lnTo>
                    <a:pt x="140" y="79"/>
                  </a:lnTo>
                  <a:lnTo>
                    <a:pt x="140" y="78"/>
                  </a:lnTo>
                  <a:lnTo>
                    <a:pt x="141" y="78"/>
                  </a:lnTo>
                  <a:lnTo>
                    <a:pt x="140" y="77"/>
                  </a:lnTo>
                  <a:lnTo>
                    <a:pt x="141" y="77"/>
                  </a:lnTo>
                  <a:lnTo>
                    <a:pt x="141" y="78"/>
                  </a:lnTo>
                  <a:lnTo>
                    <a:pt x="144" y="76"/>
                  </a:lnTo>
                  <a:lnTo>
                    <a:pt x="145" y="76"/>
                  </a:lnTo>
                  <a:lnTo>
                    <a:pt x="144" y="76"/>
                  </a:lnTo>
                  <a:lnTo>
                    <a:pt x="146" y="76"/>
                  </a:lnTo>
                  <a:lnTo>
                    <a:pt x="145" y="77"/>
                  </a:lnTo>
                  <a:lnTo>
                    <a:pt x="144" y="77"/>
                  </a:lnTo>
                  <a:lnTo>
                    <a:pt x="145" y="78"/>
                  </a:lnTo>
                  <a:lnTo>
                    <a:pt x="144" y="77"/>
                  </a:lnTo>
                  <a:lnTo>
                    <a:pt x="142" y="78"/>
                  </a:lnTo>
                  <a:lnTo>
                    <a:pt x="144" y="79"/>
                  </a:lnTo>
                  <a:lnTo>
                    <a:pt x="142" y="78"/>
                  </a:lnTo>
                  <a:lnTo>
                    <a:pt x="142" y="79"/>
                  </a:lnTo>
                  <a:lnTo>
                    <a:pt x="141" y="79"/>
                  </a:lnTo>
                  <a:lnTo>
                    <a:pt x="141" y="81"/>
                  </a:lnTo>
                  <a:lnTo>
                    <a:pt x="142" y="82"/>
                  </a:lnTo>
                  <a:lnTo>
                    <a:pt x="141" y="81"/>
                  </a:lnTo>
                  <a:lnTo>
                    <a:pt x="140" y="81"/>
                  </a:lnTo>
                  <a:lnTo>
                    <a:pt x="141" y="82"/>
                  </a:lnTo>
                  <a:lnTo>
                    <a:pt x="142" y="82"/>
                  </a:lnTo>
                  <a:lnTo>
                    <a:pt x="141" y="83"/>
                  </a:lnTo>
                  <a:lnTo>
                    <a:pt x="142" y="83"/>
                  </a:lnTo>
                  <a:lnTo>
                    <a:pt x="142" y="84"/>
                  </a:lnTo>
                  <a:lnTo>
                    <a:pt x="141" y="84"/>
                  </a:lnTo>
                  <a:lnTo>
                    <a:pt x="142" y="85"/>
                  </a:lnTo>
                  <a:lnTo>
                    <a:pt x="141" y="85"/>
                  </a:lnTo>
                  <a:lnTo>
                    <a:pt x="140" y="84"/>
                  </a:lnTo>
                  <a:lnTo>
                    <a:pt x="140" y="83"/>
                  </a:lnTo>
                  <a:lnTo>
                    <a:pt x="140" y="84"/>
                  </a:lnTo>
                  <a:lnTo>
                    <a:pt x="140" y="85"/>
                  </a:lnTo>
                  <a:lnTo>
                    <a:pt x="139" y="85"/>
                  </a:lnTo>
                  <a:lnTo>
                    <a:pt x="139" y="87"/>
                  </a:lnTo>
                  <a:lnTo>
                    <a:pt x="140" y="87"/>
                  </a:lnTo>
                  <a:lnTo>
                    <a:pt x="140" y="85"/>
                  </a:lnTo>
                  <a:lnTo>
                    <a:pt x="140" y="87"/>
                  </a:lnTo>
                  <a:lnTo>
                    <a:pt x="141" y="87"/>
                  </a:lnTo>
                  <a:lnTo>
                    <a:pt x="142" y="87"/>
                  </a:lnTo>
                  <a:lnTo>
                    <a:pt x="144" y="88"/>
                  </a:lnTo>
                  <a:lnTo>
                    <a:pt x="142" y="88"/>
                  </a:lnTo>
                  <a:lnTo>
                    <a:pt x="141" y="88"/>
                  </a:lnTo>
                  <a:lnTo>
                    <a:pt x="142" y="88"/>
                  </a:lnTo>
                  <a:lnTo>
                    <a:pt x="142" y="89"/>
                  </a:lnTo>
                  <a:lnTo>
                    <a:pt x="141" y="88"/>
                  </a:lnTo>
                  <a:lnTo>
                    <a:pt x="141" y="89"/>
                  </a:lnTo>
                  <a:lnTo>
                    <a:pt x="141" y="88"/>
                  </a:lnTo>
                  <a:lnTo>
                    <a:pt x="140" y="88"/>
                  </a:lnTo>
                  <a:lnTo>
                    <a:pt x="141" y="89"/>
                  </a:lnTo>
                  <a:lnTo>
                    <a:pt x="140" y="90"/>
                  </a:lnTo>
                  <a:lnTo>
                    <a:pt x="140" y="89"/>
                  </a:lnTo>
                  <a:lnTo>
                    <a:pt x="139" y="89"/>
                  </a:lnTo>
                  <a:lnTo>
                    <a:pt x="139" y="88"/>
                  </a:lnTo>
                  <a:lnTo>
                    <a:pt x="139" y="89"/>
                  </a:lnTo>
                  <a:lnTo>
                    <a:pt x="138" y="89"/>
                  </a:lnTo>
                  <a:lnTo>
                    <a:pt x="138" y="90"/>
                  </a:lnTo>
                  <a:lnTo>
                    <a:pt x="138" y="91"/>
                  </a:lnTo>
                  <a:lnTo>
                    <a:pt x="139" y="90"/>
                  </a:lnTo>
                  <a:lnTo>
                    <a:pt x="139" y="91"/>
                  </a:lnTo>
                  <a:lnTo>
                    <a:pt x="138" y="91"/>
                  </a:lnTo>
                  <a:lnTo>
                    <a:pt x="140" y="91"/>
                  </a:lnTo>
                  <a:lnTo>
                    <a:pt x="140" y="93"/>
                  </a:lnTo>
                  <a:lnTo>
                    <a:pt x="141" y="93"/>
                  </a:lnTo>
                  <a:lnTo>
                    <a:pt x="141" y="94"/>
                  </a:lnTo>
                  <a:lnTo>
                    <a:pt x="142" y="95"/>
                  </a:lnTo>
                  <a:lnTo>
                    <a:pt x="142" y="94"/>
                  </a:lnTo>
                  <a:lnTo>
                    <a:pt x="144" y="95"/>
                  </a:lnTo>
                  <a:lnTo>
                    <a:pt x="145" y="94"/>
                  </a:lnTo>
                  <a:lnTo>
                    <a:pt x="145" y="95"/>
                  </a:lnTo>
                  <a:lnTo>
                    <a:pt x="145" y="96"/>
                  </a:lnTo>
                  <a:lnTo>
                    <a:pt x="144" y="96"/>
                  </a:lnTo>
                  <a:lnTo>
                    <a:pt x="144" y="95"/>
                  </a:lnTo>
                  <a:lnTo>
                    <a:pt x="144" y="96"/>
                  </a:lnTo>
                  <a:lnTo>
                    <a:pt x="142" y="96"/>
                  </a:lnTo>
                  <a:lnTo>
                    <a:pt x="144" y="96"/>
                  </a:lnTo>
                  <a:lnTo>
                    <a:pt x="144" y="97"/>
                  </a:lnTo>
                  <a:lnTo>
                    <a:pt x="144" y="99"/>
                  </a:lnTo>
                  <a:lnTo>
                    <a:pt x="144" y="100"/>
                  </a:lnTo>
                  <a:lnTo>
                    <a:pt x="145" y="100"/>
                  </a:lnTo>
                  <a:lnTo>
                    <a:pt x="145" y="101"/>
                  </a:lnTo>
                  <a:lnTo>
                    <a:pt x="146" y="101"/>
                  </a:lnTo>
                  <a:lnTo>
                    <a:pt x="147" y="101"/>
                  </a:lnTo>
                  <a:lnTo>
                    <a:pt x="146" y="101"/>
                  </a:lnTo>
                  <a:lnTo>
                    <a:pt x="148" y="103"/>
                  </a:lnTo>
                  <a:lnTo>
                    <a:pt x="150" y="106"/>
                  </a:lnTo>
                  <a:lnTo>
                    <a:pt x="151" y="106"/>
                  </a:lnTo>
                  <a:lnTo>
                    <a:pt x="152" y="106"/>
                  </a:lnTo>
                  <a:lnTo>
                    <a:pt x="151" y="106"/>
                  </a:lnTo>
                  <a:lnTo>
                    <a:pt x="151" y="107"/>
                  </a:lnTo>
                  <a:lnTo>
                    <a:pt x="153" y="108"/>
                  </a:lnTo>
                  <a:lnTo>
                    <a:pt x="152" y="108"/>
                  </a:lnTo>
                  <a:lnTo>
                    <a:pt x="151" y="107"/>
                  </a:lnTo>
                  <a:lnTo>
                    <a:pt x="152" y="110"/>
                  </a:lnTo>
                  <a:lnTo>
                    <a:pt x="153" y="108"/>
                  </a:lnTo>
                  <a:lnTo>
                    <a:pt x="153" y="110"/>
                  </a:lnTo>
                  <a:lnTo>
                    <a:pt x="155" y="111"/>
                  </a:lnTo>
                  <a:lnTo>
                    <a:pt x="153" y="111"/>
                  </a:lnTo>
                  <a:lnTo>
                    <a:pt x="155" y="111"/>
                  </a:lnTo>
                  <a:lnTo>
                    <a:pt x="156" y="111"/>
                  </a:lnTo>
                  <a:lnTo>
                    <a:pt x="157" y="112"/>
                  </a:lnTo>
                  <a:lnTo>
                    <a:pt x="156" y="113"/>
                  </a:lnTo>
                  <a:lnTo>
                    <a:pt x="158" y="114"/>
                  </a:lnTo>
                  <a:lnTo>
                    <a:pt x="156" y="113"/>
                  </a:lnTo>
                  <a:lnTo>
                    <a:pt x="156" y="114"/>
                  </a:lnTo>
                  <a:lnTo>
                    <a:pt x="155" y="114"/>
                  </a:lnTo>
                  <a:lnTo>
                    <a:pt x="155" y="113"/>
                  </a:lnTo>
                  <a:lnTo>
                    <a:pt x="155" y="112"/>
                  </a:lnTo>
                  <a:lnTo>
                    <a:pt x="153" y="113"/>
                  </a:lnTo>
                  <a:lnTo>
                    <a:pt x="153" y="111"/>
                  </a:lnTo>
                  <a:lnTo>
                    <a:pt x="153" y="114"/>
                  </a:lnTo>
                  <a:lnTo>
                    <a:pt x="152" y="113"/>
                  </a:lnTo>
                  <a:lnTo>
                    <a:pt x="152" y="114"/>
                  </a:lnTo>
                  <a:lnTo>
                    <a:pt x="151" y="114"/>
                  </a:lnTo>
                  <a:lnTo>
                    <a:pt x="151" y="113"/>
                  </a:lnTo>
                  <a:lnTo>
                    <a:pt x="151" y="112"/>
                  </a:lnTo>
                  <a:lnTo>
                    <a:pt x="150" y="111"/>
                  </a:lnTo>
                  <a:lnTo>
                    <a:pt x="148" y="111"/>
                  </a:lnTo>
                  <a:lnTo>
                    <a:pt x="148" y="112"/>
                  </a:lnTo>
                  <a:lnTo>
                    <a:pt x="148" y="111"/>
                  </a:lnTo>
                  <a:lnTo>
                    <a:pt x="148" y="110"/>
                  </a:lnTo>
                  <a:lnTo>
                    <a:pt x="147" y="110"/>
                  </a:lnTo>
                  <a:lnTo>
                    <a:pt x="146" y="110"/>
                  </a:lnTo>
                  <a:lnTo>
                    <a:pt x="146" y="111"/>
                  </a:lnTo>
                  <a:lnTo>
                    <a:pt x="147" y="112"/>
                  </a:lnTo>
                  <a:lnTo>
                    <a:pt x="148" y="112"/>
                  </a:lnTo>
                  <a:lnTo>
                    <a:pt x="148" y="114"/>
                  </a:lnTo>
                  <a:lnTo>
                    <a:pt x="150" y="114"/>
                  </a:lnTo>
                  <a:lnTo>
                    <a:pt x="150" y="116"/>
                  </a:lnTo>
                  <a:lnTo>
                    <a:pt x="152" y="117"/>
                  </a:lnTo>
                  <a:lnTo>
                    <a:pt x="153" y="118"/>
                  </a:lnTo>
                  <a:lnTo>
                    <a:pt x="152" y="118"/>
                  </a:lnTo>
                  <a:lnTo>
                    <a:pt x="153" y="119"/>
                  </a:lnTo>
                  <a:lnTo>
                    <a:pt x="152" y="118"/>
                  </a:lnTo>
                  <a:lnTo>
                    <a:pt x="151" y="119"/>
                  </a:lnTo>
                  <a:lnTo>
                    <a:pt x="151" y="118"/>
                  </a:lnTo>
                  <a:lnTo>
                    <a:pt x="151" y="117"/>
                  </a:lnTo>
                  <a:lnTo>
                    <a:pt x="150" y="117"/>
                  </a:lnTo>
                  <a:lnTo>
                    <a:pt x="150" y="118"/>
                  </a:lnTo>
                  <a:lnTo>
                    <a:pt x="150" y="116"/>
                  </a:lnTo>
                  <a:lnTo>
                    <a:pt x="148" y="118"/>
                  </a:lnTo>
                  <a:lnTo>
                    <a:pt x="148" y="119"/>
                  </a:lnTo>
                  <a:lnTo>
                    <a:pt x="148" y="118"/>
                  </a:lnTo>
                  <a:lnTo>
                    <a:pt x="148" y="117"/>
                  </a:lnTo>
                  <a:lnTo>
                    <a:pt x="147" y="117"/>
                  </a:lnTo>
                  <a:lnTo>
                    <a:pt x="148" y="114"/>
                  </a:lnTo>
                  <a:lnTo>
                    <a:pt x="148" y="113"/>
                  </a:lnTo>
                  <a:lnTo>
                    <a:pt x="148" y="114"/>
                  </a:lnTo>
                  <a:lnTo>
                    <a:pt x="147" y="117"/>
                  </a:lnTo>
                  <a:lnTo>
                    <a:pt x="147" y="116"/>
                  </a:lnTo>
                  <a:lnTo>
                    <a:pt x="147" y="113"/>
                  </a:lnTo>
                  <a:lnTo>
                    <a:pt x="147" y="114"/>
                  </a:lnTo>
                  <a:lnTo>
                    <a:pt x="147" y="116"/>
                  </a:lnTo>
                  <a:lnTo>
                    <a:pt x="147" y="112"/>
                  </a:lnTo>
                  <a:lnTo>
                    <a:pt x="146" y="114"/>
                  </a:lnTo>
                  <a:lnTo>
                    <a:pt x="146" y="116"/>
                  </a:lnTo>
                  <a:lnTo>
                    <a:pt x="145" y="116"/>
                  </a:lnTo>
                  <a:lnTo>
                    <a:pt x="145" y="113"/>
                  </a:lnTo>
                  <a:lnTo>
                    <a:pt x="144" y="113"/>
                  </a:lnTo>
                  <a:lnTo>
                    <a:pt x="144" y="112"/>
                  </a:lnTo>
                  <a:lnTo>
                    <a:pt x="144" y="111"/>
                  </a:lnTo>
                  <a:lnTo>
                    <a:pt x="144" y="112"/>
                  </a:lnTo>
                  <a:lnTo>
                    <a:pt x="144" y="113"/>
                  </a:lnTo>
                  <a:lnTo>
                    <a:pt x="142" y="113"/>
                  </a:lnTo>
                  <a:lnTo>
                    <a:pt x="142" y="112"/>
                  </a:lnTo>
                  <a:lnTo>
                    <a:pt x="141" y="112"/>
                  </a:lnTo>
                  <a:lnTo>
                    <a:pt x="141" y="113"/>
                  </a:lnTo>
                  <a:lnTo>
                    <a:pt x="142" y="114"/>
                  </a:lnTo>
                  <a:lnTo>
                    <a:pt x="141" y="114"/>
                  </a:lnTo>
                  <a:lnTo>
                    <a:pt x="142" y="114"/>
                  </a:lnTo>
                  <a:lnTo>
                    <a:pt x="142" y="116"/>
                  </a:lnTo>
                  <a:lnTo>
                    <a:pt x="144" y="117"/>
                  </a:lnTo>
                  <a:lnTo>
                    <a:pt x="145" y="117"/>
                  </a:lnTo>
                  <a:lnTo>
                    <a:pt x="146" y="118"/>
                  </a:lnTo>
                  <a:lnTo>
                    <a:pt x="145" y="118"/>
                  </a:lnTo>
                  <a:lnTo>
                    <a:pt x="146" y="118"/>
                  </a:lnTo>
                  <a:lnTo>
                    <a:pt x="147" y="119"/>
                  </a:lnTo>
                  <a:lnTo>
                    <a:pt x="146" y="119"/>
                  </a:lnTo>
                  <a:lnTo>
                    <a:pt x="147" y="120"/>
                  </a:lnTo>
                  <a:lnTo>
                    <a:pt x="147" y="119"/>
                  </a:lnTo>
                  <a:lnTo>
                    <a:pt x="148" y="119"/>
                  </a:lnTo>
                  <a:lnTo>
                    <a:pt x="148" y="120"/>
                  </a:lnTo>
                  <a:lnTo>
                    <a:pt x="150" y="120"/>
                  </a:lnTo>
                  <a:lnTo>
                    <a:pt x="148" y="120"/>
                  </a:lnTo>
                  <a:lnTo>
                    <a:pt x="148" y="122"/>
                  </a:lnTo>
                  <a:lnTo>
                    <a:pt x="150" y="122"/>
                  </a:lnTo>
                  <a:lnTo>
                    <a:pt x="148" y="122"/>
                  </a:lnTo>
                  <a:lnTo>
                    <a:pt x="150" y="123"/>
                  </a:lnTo>
                  <a:lnTo>
                    <a:pt x="151" y="123"/>
                  </a:lnTo>
                  <a:lnTo>
                    <a:pt x="152" y="123"/>
                  </a:lnTo>
                  <a:lnTo>
                    <a:pt x="151" y="124"/>
                  </a:lnTo>
                  <a:lnTo>
                    <a:pt x="152" y="125"/>
                  </a:lnTo>
                  <a:lnTo>
                    <a:pt x="151" y="124"/>
                  </a:lnTo>
                  <a:lnTo>
                    <a:pt x="150" y="124"/>
                  </a:lnTo>
                  <a:lnTo>
                    <a:pt x="150" y="125"/>
                  </a:lnTo>
                  <a:lnTo>
                    <a:pt x="151" y="125"/>
                  </a:lnTo>
                  <a:lnTo>
                    <a:pt x="152" y="125"/>
                  </a:lnTo>
                  <a:lnTo>
                    <a:pt x="153" y="126"/>
                  </a:lnTo>
                  <a:lnTo>
                    <a:pt x="153" y="125"/>
                  </a:lnTo>
                  <a:lnTo>
                    <a:pt x="155" y="126"/>
                  </a:lnTo>
                  <a:lnTo>
                    <a:pt x="153" y="126"/>
                  </a:lnTo>
                  <a:lnTo>
                    <a:pt x="155" y="126"/>
                  </a:lnTo>
                  <a:lnTo>
                    <a:pt x="155" y="128"/>
                  </a:lnTo>
                  <a:lnTo>
                    <a:pt x="153" y="128"/>
                  </a:lnTo>
                  <a:lnTo>
                    <a:pt x="152" y="128"/>
                  </a:lnTo>
                  <a:lnTo>
                    <a:pt x="152" y="129"/>
                  </a:lnTo>
                  <a:lnTo>
                    <a:pt x="152" y="128"/>
                  </a:lnTo>
                  <a:lnTo>
                    <a:pt x="152" y="126"/>
                  </a:lnTo>
                  <a:lnTo>
                    <a:pt x="152" y="128"/>
                  </a:lnTo>
                  <a:lnTo>
                    <a:pt x="151" y="128"/>
                  </a:lnTo>
                  <a:lnTo>
                    <a:pt x="151" y="126"/>
                  </a:lnTo>
                  <a:lnTo>
                    <a:pt x="151" y="128"/>
                  </a:lnTo>
                  <a:lnTo>
                    <a:pt x="151" y="129"/>
                  </a:lnTo>
                  <a:lnTo>
                    <a:pt x="152" y="129"/>
                  </a:lnTo>
                  <a:lnTo>
                    <a:pt x="151" y="129"/>
                  </a:lnTo>
                  <a:lnTo>
                    <a:pt x="152" y="129"/>
                  </a:lnTo>
                  <a:lnTo>
                    <a:pt x="153" y="129"/>
                  </a:lnTo>
                  <a:lnTo>
                    <a:pt x="155" y="128"/>
                  </a:lnTo>
                  <a:lnTo>
                    <a:pt x="155" y="129"/>
                  </a:lnTo>
                  <a:lnTo>
                    <a:pt x="156" y="129"/>
                  </a:lnTo>
                  <a:lnTo>
                    <a:pt x="157" y="130"/>
                  </a:lnTo>
                  <a:lnTo>
                    <a:pt x="156" y="130"/>
                  </a:lnTo>
                  <a:lnTo>
                    <a:pt x="155" y="130"/>
                  </a:lnTo>
                  <a:lnTo>
                    <a:pt x="156" y="131"/>
                  </a:lnTo>
                  <a:lnTo>
                    <a:pt x="157" y="131"/>
                  </a:lnTo>
                  <a:lnTo>
                    <a:pt x="158" y="131"/>
                  </a:lnTo>
                  <a:lnTo>
                    <a:pt x="159" y="131"/>
                  </a:lnTo>
                  <a:lnTo>
                    <a:pt x="161" y="131"/>
                  </a:lnTo>
                  <a:lnTo>
                    <a:pt x="161" y="132"/>
                  </a:lnTo>
                  <a:lnTo>
                    <a:pt x="162" y="132"/>
                  </a:lnTo>
                  <a:lnTo>
                    <a:pt x="163" y="134"/>
                  </a:lnTo>
                  <a:lnTo>
                    <a:pt x="164" y="134"/>
                  </a:lnTo>
                  <a:lnTo>
                    <a:pt x="164" y="132"/>
                  </a:lnTo>
                  <a:lnTo>
                    <a:pt x="165" y="132"/>
                  </a:lnTo>
                  <a:lnTo>
                    <a:pt x="165" y="134"/>
                  </a:lnTo>
                  <a:lnTo>
                    <a:pt x="164" y="134"/>
                  </a:lnTo>
                  <a:lnTo>
                    <a:pt x="164" y="135"/>
                  </a:lnTo>
                  <a:lnTo>
                    <a:pt x="165" y="135"/>
                  </a:lnTo>
                  <a:lnTo>
                    <a:pt x="167" y="135"/>
                  </a:lnTo>
                  <a:lnTo>
                    <a:pt x="168" y="135"/>
                  </a:lnTo>
                  <a:lnTo>
                    <a:pt x="167" y="136"/>
                  </a:lnTo>
                  <a:lnTo>
                    <a:pt x="167" y="135"/>
                  </a:lnTo>
                  <a:lnTo>
                    <a:pt x="165" y="135"/>
                  </a:lnTo>
                  <a:lnTo>
                    <a:pt x="165" y="136"/>
                  </a:lnTo>
                  <a:lnTo>
                    <a:pt x="167" y="137"/>
                  </a:lnTo>
                  <a:lnTo>
                    <a:pt x="168" y="137"/>
                  </a:lnTo>
                  <a:lnTo>
                    <a:pt x="170" y="137"/>
                  </a:lnTo>
                  <a:lnTo>
                    <a:pt x="171" y="137"/>
                  </a:lnTo>
                  <a:lnTo>
                    <a:pt x="170" y="138"/>
                  </a:lnTo>
                  <a:lnTo>
                    <a:pt x="171" y="138"/>
                  </a:lnTo>
                  <a:lnTo>
                    <a:pt x="171" y="140"/>
                  </a:lnTo>
                  <a:lnTo>
                    <a:pt x="170" y="138"/>
                  </a:lnTo>
                  <a:lnTo>
                    <a:pt x="169" y="138"/>
                  </a:lnTo>
                  <a:lnTo>
                    <a:pt x="170" y="140"/>
                  </a:lnTo>
                  <a:lnTo>
                    <a:pt x="169" y="140"/>
                  </a:lnTo>
                  <a:lnTo>
                    <a:pt x="169" y="138"/>
                  </a:lnTo>
                  <a:lnTo>
                    <a:pt x="168" y="137"/>
                  </a:lnTo>
                  <a:lnTo>
                    <a:pt x="168" y="138"/>
                  </a:lnTo>
                  <a:lnTo>
                    <a:pt x="169" y="140"/>
                  </a:lnTo>
                  <a:lnTo>
                    <a:pt x="171" y="141"/>
                  </a:lnTo>
                  <a:lnTo>
                    <a:pt x="170" y="141"/>
                  </a:lnTo>
                  <a:lnTo>
                    <a:pt x="169" y="141"/>
                  </a:lnTo>
                  <a:lnTo>
                    <a:pt x="169" y="142"/>
                  </a:lnTo>
                  <a:lnTo>
                    <a:pt x="169" y="141"/>
                  </a:lnTo>
                  <a:lnTo>
                    <a:pt x="169" y="140"/>
                  </a:lnTo>
                  <a:lnTo>
                    <a:pt x="168" y="140"/>
                  </a:lnTo>
                  <a:lnTo>
                    <a:pt x="168" y="142"/>
                  </a:lnTo>
                  <a:lnTo>
                    <a:pt x="168" y="143"/>
                  </a:lnTo>
                  <a:lnTo>
                    <a:pt x="167" y="143"/>
                  </a:lnTo>
                  <a:lnTo>
                    <a:pt x="167" y="142"/>
                  </a:lnTo>
                  <a:lnTo>
                    <a:pt x="165" y="142"/>
                  </a:lnTo>
                  <a:lnTo>
                    <a:pt x="165" y="141"/>
                  </a:lnTo>
                  <a:lnTo>
                    <a:pt x="164" y="141"/>
                  </a:lnTo>
                  <a:lnTo>
                    <a:pt x="164" y="142"/>
                  </a:lnTo>
                  <a:lnTo>
                    <a:pt x="164" y="143"/>
                  </a:lnTo>
                  <a:lnTo>
                    <a:pt x="163" y="143"/>
                  </a:lnTo>
                  <a:lnTo>
                    <a:pt x="163" y="141"/>
                  </a:lnTo>
                  <a:lnTo>
                    <a:pt x="163" y="142"/>
                  </a:lnTo>
                  <a:lnTo>
                    <a:pt x="162" y="141"/>
                  </a:lnTo>
                  <a:lnTo>
                    <a:pt x="161" y="141"/>
                  </a:lnTo>
                  <a:lnTo>
                    <a:pt x="162" y="141"/>
                  </a:lnTo>
                  <a:lnTo>
                    <a:pt x="162" y="140"/>
                  </a:lnTo>
                  <a:lnTo>
                    <a:pt x="162" y="138"/>
                  </a:lnTo>
                  <a:lnTo>
                    <a:pt x="161" y="138"/>
                  </a:lnTo>
                  <a:lnTo>
                    <a:pt x="161" y="140"/>
                  </a:lnTo>
                  <a:lnTo>
                    <a:pt x="162" y="140"/>
                  </a:lnTo>
                  <a:lnTo>
                    <a:pt x="161" y="141"/>
                  </a:lnTo>
                  <a:lnTo>
                    <a:pt x="161" y="142"/>
                  </a:lnTo>
                  <a:lnTo>
                    <a:pt x="161" y="143"/>
                  </a:lnTo>
                  <a:lnTo>
                    <a:pt x="161" y="142"/>
                  </a:lnTo>
                  <a:lnTo>
                    <a:pt x="159" y="142"/>
                  </a:lnTo>
                  <a:lnTo>
                    <a:pt x="159" y="140"/>
                  </a:lnTo>
                  <a:lnTo>
                    <a:pt x="159" y="141"/>
                  </a:lnTo>
                  <a:lnTo>
                    <a:pt x="158" y="141"/>
                  </a:lnTo>
                  <a:lnTo>
                    <a:pt x="158" y="142"/>
                  </a:lnTo>
                  <a:lnTo>
                    <a:pt x="158" y="143"/>
                  </a:lnTo>
                  <a:lnTo>
                    <a:pt x="159" y="143"/>
                  </a:lnTo>
                  <a:lnTo>
                    <a:pt x="161" y="144"/>
                  </a:lnTo>
                  <a:lnTo>
                    <a:pt x="159" y="144"/>
                  </a:lnTo>
                  <a:lnTo>
                    <a:pt x="159" y="143"/>
                  </a:lnTo>
                  <a:lnTo>
                    <a:pt x="159" y="144"/>
                  </a:lnTo>
                  <a:lnTo>
                    <a:pt x="159" y="146"/>
                  </a:lnTo>
                  <a:lnTo>
                    <a:pt x="161" y="146"/>
                  </a:lnTo>
                  <a:lnTo>
                    <a:pt x="161" y="144"/>
                  </a:lnTo>
                  <a:lnTo>
                    <a:pt x="161" y="146"/>
                  </a:lnTo>
                  <a:lnTo>
                    <a:pt x="162" y="146"/>
                  </a:lnTo>
                  <a:lnTo>
                    <a:pt x="163" y="144"/>
                  </a:lnTo>
                  <a:lnTo>
                    <a:pt x="164" y="144"/>
                  </a:lnTo>
                  <a:lnTo>
                    <a:pt x="167" y="144"/>
                  </a:lnTo>
                  <a:lnTo>
                    <a:pt x="168" y="144"/>
                  </a:lnTo>
                  <a:lnTo>
                    <a:pt x="168" y="146"/>
                  </a:lnTo>
                  <a:lnTo>
                    <a:pt x="168" y="144"/>
                  </a:lnTo>
                  <a:lnTo>
                    <a:pt x="169" y="144"/>
                  </a:lnTo>
                  <a:lnTo>
                    <a:pt x="170" y="144"/>
                  </a:lnTo>
                  <a:lnTo>
                    <a:pt x="170" y="146"/>
                  </a:lnTo>
                  <a:lnTo>
                    <a:pt x="171" y="146"/>
                  </a:lnTo>
                  <a:lnTo>
                    <a:pt x="173" y="146"/>
                  </a:lnTo>
                  <a:lnTo>
                    <a:pt x="174" y="146"/>
                  </a:lnTo>
                  <a:lnTo>
                    <a:pt x="175" y="146"/>
                  </a:lnTo>
                  <a:lnTo>
                    <a:pt x="175" y="147"/>
                  </a:lnTo>
                  <a:lnTo>
                    <a:pt x="176" y="147"/>
                  </a:lnTo>
                  <a:lnTo>
                    <a:pt x="177" y="147"/>
                  </a:lnTo>
                  <a:lnTo>
                    <a:pt x="177" y="148"/>
                  </a:lnTo>
                  <a:lnTo>
                    <a:pt x="179" y="148"/>
                  </a:lnTo>
                  <a:lnTo>
                    <a:pt x="180" y="148"/>
                  </a:lnTo>
                  <a:lnTo>
                    <a:pt x="181" y="148"/>
                  </a:lnTo>
                  <a:lnTo>
                    <a:pt x="182" y="148"/>
                  </a:lnTo>
                  <a:lnTo>
                    <a:pt x="181" y="148"/>
                  </a:lnTo>
                  <a:lnTo>
                    <a:pt x="181" y="149"/>
                  </a:lnTo>
                  <a:lnTo>
                    <a:pt x="183" y="149"/>
                  </a:lnTo>
                  <a:lnTo>
                    <a:pt x="182" y="150"/>
                  </a:lnTo>
                  <a:lnTo>
                    <a:pt x="181" y="149"/>
                  </a:lnTo>
                  <a:lnTo>
                    <a:pt x="181" y="150"/>
                  </a:lnTo>
                  <a:lnTo>
                    <a:pt x="180" y="150"/>
                  </a:lnTo>
                  <a:lnTo>
                    <a:pt x="180" y="149"/>
                  </a:lnTo>
                  <a:lnTo>
                    <a:pt x="179" y="149"/>
                  </a:lnTo>
                  <a:lnTo>
                    <a:pt x="179" y="150"/>
                  </a:lnTo>
                  <a:lnTo>
                    <a:pt x="179" y="152"/>
                  </a:lnTo>
                  <a:lnTo>
                    <a:pt x="177" y="152"/>
                  </a:lnTo>
                  <a:lnTo>
                    <a:pt x="177" y="153"/>
                  </a:lnTo>
                  <a:lnTo>
                    <a:pt x="176" y="153"/>
                  </a:lnTo>
                  <a:lnTo>
                    <a:pt x="176" y="152"/>
                  </a:lnTo>
                  <a:lnTo>
                    <a:pt x="176" y="150"/>
                  </a:lnTo>
                  <a:lnTo>
                    <a:pt x="176" y="149"/>
                  </a:lnTo>
                  <a:lnTo>
                    <a:pt x="176" y="148"/>
                  </a:lnTo>
                  <a:lnTo>
                    <a:pt x="175" y="148"/>
                  </a:lnTo>
                  <a:lnTo>
                    <a:pt x="176" y="148"/>
                  </a:lnTo>
                  <a:lnTo>
                    <a:pt x="176" y="149"/>
                  </a:lnTo>
                  <a:lnTo>
                    <a:pt x="175" y="149"/>
                  </a:lnTo>
                  <a:lnTo>
                    <a:pt x="176" y="150"/>
                  </a:lnTo>
                  <a:lnTo>
                    <a:pt x="176" y="152"/>
                  </a:lnTo>
                  <a:lnTo>
                    <a:pt x="175" y="152"/>
                  </a:lnTo>
                  <a:lnTo>
                    <a:pt x="175" y="150"/>
                  </a:lnTo>
                  <a:lnTo>
                    <a:pt x="174" y="150"/>
                  </a:lnTo>
                  <a:lnTo>
                    <a:pt x="174" y="149"/>
                  </a:lnTo>
                  <a:lnTo>
                    <a:pt x="174" y="150"/>
                  </a:lnTo>
                  <a:lnTo>
                    <a:pt x="174" y="152"/>
                  </a:lnTo>
                  <a:lnTo>
                    <a:pt x="174" y="153"/>
                  </a:lnTo>
                  <a:lnTo>
                    <a:pt x="173" y="153"/>
                  </a:lnTo>
                  <a:lnTo>
                    <a:pt x="173" y="152"/>
                  </a:lnTo>
                  <a:lnTo>
                    <a:pt x="173" y="150"/>
                  </a:lnTo>
                  <a:lnTo>
                    <a:pt x="173" y="149"/>
                  </a:lnTo>
                  <a:lnTo>
                    <a:pt x="171" y="150"/>
                  </a:lnTo>
                  <a:lnTo>
                    <a:pt x="171" y="149"/>
                  </a:lnTo>
                  <a:lnTo>
                    <a:pt x="171" y="148"/>
                  </a:lnTo>
                  <a:lnTo>
                    <a:pt x="171" y="149"/>
                  </a:lnTo>
                  <a:lnTo>
                    <a:pt x="171" y="150"/>
                  </a:lnTo>
                  <a:lnTo>
                    <a:pt x="171" y="152"/>
                  </a:lnTo>
                  <a:lnTo>
                    <a:pt x="171" y="150"/>
                  </a:lnTo>
                  <a:lnTo>
                    <a:pt x="170" y="150"/>
                  </a:lnTo>
                  <a:lnTo>
                    <a:pt x="170" y="152"/>
                  </a:lnTo>
                  <a:lnTo>
                    <a:pt x="170" y="150"/>
                  </a:lnTo>
                  <a:lnTo>
                    <a:pt x="169" y="150"/>
                  </a:lnTo>
                  <a:lnTo>
                    <a:pt x="169" y="152"/>
                  </a:lnTo>
                  <a:lnTo>
                    <a:pt x="169" y="153"/>
                  </a:lnTo>
                  <a:lnTo>
                    <a:pt x="169" y="154"/>
                  </a:lnTo>
                  <a:lnTo>
                    <a:pt x="168" y="154"/>
                  </a:lnTo>
                  <a:lnTo>
                    <a:pt x="168" y="153"/>
                  </a:lnTo>
                  <a:lnTo>
                    <a:pt x="168" y="152"/>
                  </a:lnTo>
                  <a:lnTo>
                    <a:pt x="167" y="152"/>
                  </a:lnTo>
                  <a:lnTo>
                    <a:pt x="167" y="150"/>
                  </a:lnTo>
                  <a:lnTo>
                    <a:pt x="167" y="152"/>
                  </a:lnTo>
                  <a:lnTo>
                    <a:pt x="165" y="152"/>
                  </a:lnTo>
                  <a:lnTo>
                    <a:pt x="165" y="153"/>
                  </a:lnTo>
                  <a:lnTo>
                    <a:pt x="165" y="154"/>
                  </a:lnTo>
                  <a:lnTo>
                    <a:pt x="165" y="153"/>
                  </a:lnTo>
                  <a:lnTo>
                    <a:pt x="164" y="153"/>
                  </a:lnTo>
                  <a:lnTo>
                    <a:pt x="164" y="154"/>
                  </a:lnTo>
                  <a:lnTo>
                    <a:pt x="163" y="154"/>
                  </a:lnTo>
                  <a:lnTo>
                    <a:pt x="163" y="153"/>
                  </a:lnTo>
                  <a:lnTo>
                    <a:pt x="163" y="152"/>
                  </a:lnTo>
                  <a:lnTo>
                    <a:pt x="163" y="153"/>
                  </a:lnTo>
                  <a:lnTo>
                    <a:pt x="163" y="154"/>
                  </a:lnTo>
                  <a:lnTo>
                    <a:pt x="162" y="154"/>
                  </a:lnTo>
                  <a:lnTo>
                    <a:pt x="162" y="153"/>
                  </a:lnTo>
                  <a:lnTo>
                    <a:pt x="161" y="153"/>
                  </a:lnTo>
                  <a:lnTo>
                    <a:pt x="161" y="154"/>
                  </a:lnTo>
                  <a:lnTo>
                    <a:pt x="162" y="154"/>
                  </a:lnTo>
                  <a:lnTo>
                    <a:pt x="163" y="154"/>
                  </a:lnTo>
                  <a:lnTo>
                    <a:pt x="164" y="154"/>
                  </a:lnTo>
                  <a:lnTo>
                    <a:pt x="167" y="154"/>
                  </a:lnTo>
                  <a:lnTo>
                    <a:pt x="165" y="154"/>
                  </a:lnTo>
                  <a:lnTo>
                    <a:pt x="165" y="155"/>
                  </a:lnTo>
                  <a:lnTo>
                    <a:pt x="165" y="156"/>
                  </a:lnTo>
                  <a:lnTo>
                    <a:pt x="164" y="155"/>
                  </a:lnTo>
                  <a:lnTo>
                    <a:pt x="163" y="155"/>
                  </a:lnTo>
                  <a:lnTo>
                    <a:pt x="163" y="154"/>
                  </a:lnTo>
                  <a:lnTo>
                    <a:pt x="162" y="154"/>
                  </a:lnTo>
                  <a:lnTo>
                    <a:pt x="162" y="155"/>
                  </a:lnTo>
                  <a:lnTo>
                    <a:pt x="163" y="155"/>
                  </a:lnTo>
                  <a:lnTo>
                    <a:pt x="163" y="156"/>
                  </a:lnTo>
                  <a:lnTo>
                    <a:pt x="163" y="158"/>
                  </a:lnTo>
                  <a:lnTo>
                    <a:pt x="162" y="156"/>
                  </a:lnTo>
                  <a:lnTo>
                    <a:pt x="162" y="155"/>
                  </a:lnTo>
                  <a:lnTo>
                    <a:pt x="161" y="155"/>
                  </a:lnTo>
                  <a:lnTo>
                    <a:pt x="161" y="156"/>
                  </a:lnTo>
                  <a:lnTo>
                    <a:pt x="161" y="155"/>
                  </a:lnTo>
                  <a:lnTo>
                    <a:pt x="159" y="155"/>
                  </a:lnTo>
                  <a:lnTo>
                    <a:pt x="161" y="156"/>
                  </a:lnTo>
                  <a:lnTo>
                    <a:pt x="159" y="156"/>
                  </a:lnTo>
                  <a:lnTo>
                    <a:pt x="159" y="158"/>
                  </a:lnTo>
                  <a:lnTo>
                    <a:pt x="159" y="156"/>
                  </a:lnTo>
                  <a:lnTo>
                    <a:pt x="158" y="156"/>
                  </a:lnTo>
                  <a:lnTo>
                    <a:pt x="158" y="155"/>
                  </a:lnTo>
                  <a:lnTo>
                    <a:pt x="158" y="154"/>
                  </a:lnTo>
                  <a:lnTo>
                    <a:pt x="158" y="153"/>
                  </a:lnTo>
                  <a:lnTo>
                    <a:pt x="158" y="152"/>
                  </a:lnTo>
                  <a:lnTo>
                    <a:pt x="158" y="153"/>
                  </a:lnTo>
                  <a:lnTo>
                    <a:pt x="158" y="154"/>
                  </a:lnTo>
                  <a:lnTo>
                    <a:pt x="158" y="155"/>
                  </a:lnTo>
                  <a:lnTo>
                    <a:pt x="158" y="156"/>
                  </a:lnTo>
                  <a:lnTo>
                    <a:pt x="158" y="158"/>
                  </a:lnTo>
                  <a:lnTo>
                    <a:pt x="157" y="158"/>
                  </a:lnTo>
                  <a:lnTo>
                    <a:pt x="157" y="156"/>
                  </a:lnTo>
                  <a:lnTo>
                    <a:pt x="157" y="158"/>
                  </a:lnTo>
                  <a:lnTo>
                    <a:pt x="156" y="158"/>
                  </a:lnTo>
                  <a:lnTo>
                    <a:pt x="155" y="158"/>
                  </a:lnTo>
                  <a:lnTo>
                    <a:pt x="155" y="159"/>
                  </a:lnTo>
                  <a:lnTo>
                    <a:pt x="156" y="159"/>
                  </a:lnTo>
                  <a:lnTo>
                    <a:pt x="156" y="160"/>
                  </a:lnTo>
                  <a:lnTo>
                    <a:pt x="155" y="160"/>
                  </a:lnTo>
                  <a:lnTo>
                    <a:pt x="153" y="159"/>
                  </a:lnTo>
                  <a:lnTo>
                    <a:pt x="153" y="160"/>
                  </a:lnTo>
                  <a:lnTo>
                    <a:pt x="153" y="161"/>
                  </a:lnTo>
                  <a:lnTo>
                    <a:pt x="155" y="161"/>
                  </a:lnTo>
                  <a:lnTo>
                    <a:pt x="156" y="161"/>
                  </a:lnTo>
                  <a:lnTo>
                    <a:pt x="157" y="161"/>
                  </a:lnTo>
                  <a:lnTo>
                    <a:pt x="158" y="161"/>
                  </a:lnTo>
                  <a:lnTo>
                    <a:pt x="158" y="162"/>
                  </a:lnTo>
                  <a:lnTo>
                    <a:pt x="159" y="162"/>
                  </a:lnTo>
                  <a:lnTo>
                    <a:pt x="159" y="161"/>
                  </a:lnTo>
                  <a:lnTo>
                    <a:pt x="161" y="162"/>
                  </a:lnTo>
                  <a:lnTo>
                    <a:pt x="162" y="162"/>
                  </a:lnTo>
                  <a:lnTo>
                    <a:pt x="164" y="162"/>
                  </a:lnTo>
                  <a:lnTo>
                    <a:pt x="165" y="162"/>
                  </a:lnTo>
                  <a:lnTo>
                    <a:pt x="167" y="162"/>
                  </a:lnTo>
                  <a:lnTo>
                    <a:pt x="168" y="162"/>
                  </a:lnTo>
                  <a:lnTo>
                    <a:pt x="169" y="162"/>
                  </a:lnTo>
                  <a:lnTo>
                    <a:pt x="170" y="162"/>
                  </a:lnTo>
                  <a:lnTo>
                    <a:pt x="170" y="164"/>
                  </a:lnTo>
                  <a:lnTo>
                    <a:pt x="171" y="164"/>
                  </a:lnTo>
                  <a:lnTo>
                    <a:pt x="173" y="164"/>
                  </a:lnTo>
                  <a:lnTo>
                    <a:pt x="173" y="162"/>
                  </a:lnTo>
                  <a:lnTo>
                    <a:pt x="173" y="164"/>
                  </a:lnTo>
                  <a:lnTo>
                    <a:pt x="174" y="165"/>
                  </a:lnTo>
                  <a:lnTo>
                    <a:pt x="174" y="164"/>
                  </a:lnTo>
                  <a:lnTo>
                    <a:pt x="174" y="165"/>
                  </a:lnTo>
                  <a:lnTo>
                    <a:pt x="175" y="164"/>
                  </a:lnTo>
                  <a:lnTo>
                    <a:pt x="176" y="164"/>
                  </a:lnTo>
                  <a:lnTo>
                    <a:pt x="177" y="164"/>
                  </a:lnTo>
                  <a:lnTo>
                    <a:pt x="179" y="164"/>
                  </a:lnTo>
                  <a:lnTo>
                    <a:pt x="179" y="165"/>
                  </a:lnTo>
                  <a:lnTo>
                    <a:pt x="177" y="165"/>
                  </a:lnTo>
                  <a:lnTo>
                    <a:pt x="176" y="165"/>
                  </a:lnTo>
                  <a:lnTo>
                    <a:pt x="176" y="166"/>
                  </a:lnTo>
                  <a:lnTo>
                    <a:pt x="175" y="166"/>
                  </a:lnTo>
                  <a:lnTo>
                    <a:pt x="175" y="165"/>
                  </a:lnTo>
                  <a:lnTo>
                    <a:pt x="174" y="165"/>
                  </a:lnTo>
                  <a:lnTo>
                    <a:pt x="174" y="166"/>
                  </a:lnTo>
                  <a:lnTo>
                    <a:pt x="174" y="165"/>
                  </a:lnTo>
                  <a:lnTo>
                    <a:pt x="173" y="165"/>
                  </a:lnTo>
                  <a:lnTo>
                    <a:pt x="173" y="166"/>
                  </a:lnTo>
                  <a:lnTo>
                    <a:pt x="173" y="167"/>
                  </a:lnTo>
                  <a:lnTo>
                    <a:pt x="173" y="168"/>
                  </a:lnTo>
                  <a:lnTo>
                    <a:pt x="174" y="168"/>
                  </a:lnTo>
                  <a:lnTo>
                    <a:pt x="175" y="168"/>
                  </a:lnTo>
                  <a:lnTo>
                    <a:pt x="176" y="168"/>
                  </a:lnTo>
                  <a:lnTo>
                    <a:pt x="177" y="168"/>
                  </a:lnTo>
                  <a:lnTo>
                    <a:pt x="179" y="168"/>
                  </a:lnTo>
                  <a:lnTo>
                    <a:pt x="180" y="167"/>
                  </a:lnTo>
                  <a:lnTo>
                    <a:pt x="180" y="168"/>
                  </a:lnTo>
                  <a:lnTo>
                    <a:pt x="181" y="168"/>
                  </a:lnTo>
                  <a:lnTo>
                    <a:pt x="182" y="167"/>
                  </a:lnTo>
                  <a:lnTo>
                    <a:pt x="183" y="167"/>
                  </a:lnTo>
                  <a:lnTo>
                    <a:pt x="182" y="167"/>
                  </a:lnTo>
                  <a:lnTo>
                    <a:pt x="182" y="168"/>
                  </a:lnTo>
                  <a:lnTo>
                    <a:pt x="183" y="168"/>
                  </a:lnTo>
                  <a:lnTo>
                    <a:pt x="185" y="168"/>
                  </a:lnTo>
                  <a:lnTo>
                    <a:pt x="185" y="170"/>
                  </a:lnTo>
                  <a:lnTo>
                    <a:pt x="183" y="170"/>
                  </a:lnTo>
                  <a:lnTo>
                    <a:pt x="185" y="170"/>
                  </a:lnTo>
                  <a:lnTo>
                    <a:pt x="185" y="171"/>
                  </a:lnTo>
                  <a:lnTo>
                    <a:pt x="185" y="170"/>
                  </a:lnTo>
                  <a:lnTo>
                    <a:pt x="186" y="170"/>
                  </a:lnTo>
                  <a:lnTo>
                    <a:pt x="187" y="170"/>
                  </a:lnTo>
                  <a:lnTo>
                    <a:pt x="186" y="170"/>
                  </a:lnTo>
                  <a:lnTo>
                    <a:pt x="186" y="171"/>
                  </a:lnTo>
                  <a:lnTo>
                    <a:pt x="187" y="171"/>
                  </a:lnTo>
                  <a:lnTo>
                    <a:pt x="186" y="171"/>
                  </a:lnTo>
                  <a:lnTo>
                    <a:pt x="185" y="171"/>
                  </a:lnTo>
                  <a:lnTo>
                    <a:pt x="185" y="172"/>
                  </a:lnTo>
                  <a:lnTo>
                    <a:pt x="185" y="173"/>
                  </a:lnTo>
                  <a:lnTo>
                    <a:pt x="183" y="173"/>
                  </a:lnTo>
                  <a:lnTo>
                    <a:pt x="183" y="172"/>
                  </a:lnTo>
                  <a:lnTo>
                    <a:pt x="183" y="173"/>
                  </a:lnTo>
                  <a:lnTo>
                    <a:pt x="183" y="172"/>
                  </a:lnTo>
                  <a:lnTo>
                    <a:pt x="183" y="171"/>
                  </a:lnTo>
                  <a:lnTo>
                    <a:pt x="182" y="171"/>
                  </a:lnTo>
                  <a:lnTo>
                    <a:pt x="182" y="170"/>
                  </a:lnTo>
                  <a:lnTo>
                    <a:pt x="182" y="171"/>
                  </a:lnTo>
                  <a:lnTo>
                    <a:pt x="183" y="171"/>
                  </a:lnTo>
                  <a:lnTo>
                    <a:pt x="183" y="172"/>
                  </a:lnTo>
                  <a:lnTo>
                    <a:pt x="182" y="172"/>
                  </a:lnTo>
                  <a:lnTo>
                    <a:pt x="182" y="173"/>
                  </a:lnTo>
                  <a:lnTo>
                    <a:pt x="183" y="173"/>
                  </a:lnTo>
                  <a:lnTo>
                    <a:pt x="182" y="173"/>
                  </a:lnTo>
                  <a:lnTo>
                    <a:pt x="182" y="174"/>
                  </a:lnTo>
                  <a:lnTo>
                    <a:pt x="182" y="176"/>
                  </a:lnTo>
                  <a:lnTo>
                    <a:pt x="182" y="174"/>
                  </a:lnTo>
                  <a:lnTo>
                    <a:pt x="182" y="172"/>
                  </a:lnTo>
                  <a:lnTo>
                    <a:pt x="182" y="173"/>
                  </a:lnTo>
                  <a:lnTo>
                    <a:pt x="181" y="173"/>
                  </a:lnTo>
                  <a:lnTo>
                    <a:pt x="182" y="173"/>
                  </a:lnTo>
                  <a:lnTo>
                    <a:pt x="181" y="174"/>
                  </a:lnTo>
                  <a:lnTo>
                    <a:pt x="182" y="174"/>
                  </a:lnTo>
                  <a:lnTo>
                    <a:pt x="181" y="174"/>
                  </a:lnTo>
                  <a:lnTo>
                    <a:pt x="181" y="177"/>
                  </a:lnTo>
                  <a:lnTo>
                    <a:pt x="181" y="176"/>
                  </a:lnTo>
                  <a:lnTo>
                    <a:pt x="181" y="173"/>
                  </a:lnTo>
                  <a:lnTo>
                    <a:pt x="180" y="174"/>
                  </a:lnTo>
                  <a:lnTo>
                    <a:pt x="180" y="173"/>
                  </a:lnTo>
                  <a:lnTo>
                    <a:pt x="179" y="173"/>
                  </a:lnTo>
                  <a:lnTo>
                    <a:pt x="179" y="172"/>
                  </a:lnTo>
                  <a:lnTo>
                    <a:pt x="179" y="171"/>
                  </a:lnTo>
                  <a:lnTo>
                    <a:pt x="179" y="172"/>
                  </a:lnTo>
                  <a:lnTo>
                    <a:pt x="177" y="172"/>
                  </a:lnTo>
                  <a:lnTo>
                    <a:pt x="177" y="173"/>
                  </a:lnTo>
                  <a:lnTo>
                    <a:pt x="179" y="173"/>
                  </a:lnTo>
                  <a:lnTo>
                    <a:pt x="179" y="174"/>
                  </a:lnTo>
                  <a:lnTo>
                    <a:pt x="177" y="174"/>
                  </a:lnTo>
                  <a:lnTo>
                    <a:pt x="179" y="174"/>
                  </a:lnTo>
                  <a:lnTo>
                    <a:pt x="177" y="174"/>
                  </a:lnTo>
                  <a:lnTo>
                    <a:pt x="177" y="176"/>
                  </a:lnTo>
                  <a:lnTo>
                    <a:pt x="177" y="174"/>
                  </a:lnTo>
                  <a:lnTo>
                    <a:pt x="176" y="174"/>
                  </a:lnTo>
                  <a:lnTo>
                    <a:pt x="176" y="176"/>
                  </a:lnTo>
                  <a:lnTo>
                    <a:pt x="177" y="176"/>
                  </a:lnTo>
                  <a:lnTo>
                    <a:pt x="177" y="177"/>
                  </a:lnTo>
                  <a:lnTo>
                    <a:pt x="177" y="178"/>
                  </a:lnTo>
                  <a:lnTo>
                    <a:pt x="179" y="179"/>
                  </a:lnTo>
                  <a:lnTo>
                    <a:pt x="180" y="179"/>
                  </a:lnTo>
                  <a:lnTo>
                    <a:pt x="180" y="180"/>
                  </a:lnTo>
                  <a:lnTo>
                    <a:pt x="181" y="180"/>
                  </a:lnTo>
                  <a:lnTo>
                    <a:pt x="182" y="182"/>
                  </a:lnTo>
                  <a:lnTo>
                    <a:pt x="183" y="182"/>
                  </a:lnTo>
                  <a:lnTo>
                    <a:pt x="185" y="180"/>
                  </a:lnTo>
                  <a:lnTo>
                    <a:pt x="185" y="182"/>
                  </a:lnTo>
                  <a:lnTo>
                    <a:pt x="183" y="182"/>
                  </a:lnTo>
                  <a:lnTo>
                    <a:pt x="185" y="182"/>
                  </a:lnTo>
                  <a:lnTo>
                    <a:pt x="186" y="182"/>
                  </a:lnTo>
                  <a:lnTo>
                    <a:pt x="185" y="182"/>
                  </a:lnTo>
                  <a:lnTo>
                    <a:pt x="185" y="183"/>
                  </a:lnTo>
                  <a:lnTo>
                    <a:pt x="185" y="182"/>
                  </a:lnTo>
                  <a:lnTo>
                    <a:pt x="183" y="182"/>
                  </a:lnTo>
                  <a:lnTo>
                    <a:pt x="183" y="183"/>
                  </a:lnTo>
                  <a:lnTo>
                    <a:pt x="185" y="183"/>
                  </a:lnTo>
                  <a:lnTo>
                    <a:pt x="183" y="183"/>
                  </a:lnTo>
                  <a:lnTo>
                    <a:pt x="182" y="183"/>
                  </a:lnTo>
                  <a:lnTo>
                    <a:pt x="182" y="182"/>
                  </a:lnTo>
                  <a:lnTo>
                    <a:pt x="182" y="183"/>
                  </a:lnTo>
                  <a:lnTo>
                    <a:pt x="182" y="184"/>
                  </a:lnTo>
                  <a:lnTo>
                    <a:pt x="183" y="184"/>
                  </a:lnTo>
                  <a:lnTo>
                    <a:pt x="183" y="185"/>
                  </a:lnTo>
                  <a:lnTo>
                    <a:pt x="185" y="184"/>
                  </a:lnTo>
                  <a:lnTo>
                    <a:pt x="186" y="184"/>
                  </a:lnTo>
                  <a:lnTo>
                    <a:pt x="187" y="183"/>
                  </a:lnTo>
                  <a:lnTo>
                    <a:pt x="187" y="184"/>
                  </a:lnTo>
                  <a:lnTo>
                    <a:pt x="188" y="184"/>
                  </a:lnTo>
                  <a:lnTo>
                    <a:pt x="187" y="184"/>
                  </a:lnTo>
                  <a:lnTo>
                    <a:pt x="187" y="185"/>
                  </a:lnTo>
                  <a:lnTo>
                    <a:pt x="186" y="185"/>
                  </a:lnTo>
                  <a:lnTo>
                    <a:pt x="186" y="186"/>
                  </a:lnTo>
                  <a:lnTo>
                    <a:pt x="186" y="185"/>
                  </a:lnTo>
                  <a:lnTo>
                    <a:pt x="185" y="185"/>
                  </a:lnTo>
                  <a:lnTo>
                    <a:pt x="185" y="186"/>
                  </a:lnTo>
                  <a:lnTo>
                    <a:pt x="185" y="185"/>
                  </a:lnTo>
                  <a:lnTo>
                    <a:pt x="183" y="185"/>
                  </a:lnTo>
                  <a:lnTo>
                    <a:pt x="183" y="186"/>
                  </a:lnTo>
                  <a:lnTo>
                    <a:pt x="185" y="188"/>
                  </a:lnTo>
                  <a:lnTo>
                    <a:pt x="186" y="188"/>
                  </a:lnTo>
                  <a:lnTo>
                    <a:pt x="185" y="188"/>
                  </a:lnTo>
                  <a:lnTo>
                    <a:pt x="185" y="189"/>
                  </a:lnTo>
                  <a:lnTo>
                    <a:pt x="186" y="189"/>
                  </a:lnTo>
                  <a:lnTo>
                    <a:pt x="187" y="189"/>
                  </a:lnTo>
                  <a:lnTo>
                    <a:pt x="186" y="189"/>
                  </a:lnTo>
                  <a:lnTo>
                    <a:pt x="185" y="189"/>
                  </a:lnTo>
                  <a:lnTo>
                    <a:pt x="186" y="189"/>
                  </a:lnTo>
                  <a:lnTo>
                    <a:pt x="186" y="190"/>
                  </a:lnTo>
                  <a:lnTo>
                    <a:pt x="185" y="190"/>
                  </a:lnTo>
                  <a:lnTo>
                    <a:pt x="185" y="191"/>
                  </a:lnTo>
                  <a:lnTo>
                    <a:pt x="185" y="190"/>
                  </a:lnTo>
                  <a:lnTo>
                    <a:pt x="183" y="190"/>
                  </a:lnTo>
                  <a:lnTo>
                    <a:pt x="183" y="191"/>
                  </a:lnTo>
                  <a:lnTo>
                    <a:pt x="183" y="194"/>
                  </a:lnTo>
                  <a:lnTo>
                    <a:pt x="182" y="194"/>
                  </a:lnTo>
                  <a:lnTo>
                    <a:pt x="182" y="192"/>
                  </a:lnTo>
                  <a:lnTo>
                    <a:pt x="182" y="194"/>
                  </a:lnTo>
                  <a:lnTo>
                    <a:pt x="182" y="192"/>
                  </a:lnTo>
                  <a:lnTo>
                    <a:pt x="181" y="192"/>
                  </a:lnTo>
                  <a:lnTo>
                    <a:pt x="181" y="191"/>
                  </a:lnTo>
                  <a:lnTo>
                    <a:pt x="181" y="192"/>
                  </a:lnTo>
                  <a:lnTo>
                    <a:pt x="180" y="192"/>
                  </a:lnTo>
                  <a:lnTo>
                    <a:pt x="180" y="191"/>
                  </a:lnTo>
                  <a:lnTo>
                    <a:pt x="180" y="192"/>
                  </a:lnTo>
                  <a:lnTo>
                    <a:pt x="180" y="194"/>
                  </a:lnTo>
                  <a:lnTo>
                    <a:pt x="180" y="195"/>
                  </a:lnTo>
                  <a:lnTo>
                    <a:pt x="180" y="194"/>
                  </a:lnTo>
                  <a:lnTo>
                    <a:pt x="179" y="194"/>
                  </a:lnTo>
                  <a:lnTo>
                    <a:pt x="180" y="195"/>
                  </a:lnTo>
                  <a:lnTo>
                    <a:pt x="179" y="195"/>
                  </a:lnTo>
                  <a:lnTo>
                    <a:pt x="179" y="194"/>
                  </a:lnTo>
                  <a:lnTo>
                    <a:pt x="177" y="194"/>
                  </a:lnTo>
                  <a:lnTo>
                    <a:pt x="177" y="192"/>
                  </a:lnTo>
                  <a:lnTo>
                    <a:pt x="177" y="194"/>
                  </a:lnTo>
                  <a:lnTo>
                    <a:pt x="176" y="194"/>
                  </a:lnTo>
                  <a:lnTo>
                    <a:pt x="176" y="195"/>
                  </a:lnTo>
                  <a:lnTo>
                    <a:pt x="176" y="194"/>
                  </a:lnTo>
                  <a:lnTo>
                    <a:pt x="175" y="194"/>
                  </a:lnTo>
                  <a:lnTo>
                    <a:pt x="175" y="195"/>
                  </a:lnTo>
                  <a:lnTo>
                    <a:pt x="175" y="196"/>
                  </a:lnTo>
                  <a:lnTo>
                    <a:pt x="175" y="195"/>
                  </a:lnTo>
                  <a:lnTo>
                    <a:pt x="174" y="195"/>
                  </a:lnTo>
                  <a:lnTo>
                    <a:pt x="174" y="196"/>
                  </a:lnTo>
                  <a:lnTo>
                    <a:pt x="173" y="197"/>
                  </a:lnTo>
                  <a:lnTo>
                    <a:pt x="174" y="198"/>
                  </a:lnTo>
                  <a:lnTo>
                    <a:pt x="175" y="198"/>
                  </a:lnTo>
                  <a:lnTo>
                    <a:pt x="175" y="197"/>
                  </a:lnTo>
                  <a:lnTo>
                    <a:pt x="175" y="198"/>
                  </a:lnTo>
                  <a:lnTo>
                    <a:pt x="176" y="198"/>
                  </a:lnTo>
                  <a:lnTo>
                    <a:pt x="176" y="197"/>
                  </a:lnTo>
                  <a:lnTo>
                    <a:pt x="177" y="197"/>
                  </a:lnTo>
                  <a:lnTo>
                    <a:pt x="179" y="197"/>
                  </a:lnTo>
                  <a:lnTo>
                    <a:pt x="180" y="197"/>
                  </a:lnTo>
                  <a:lnTo>
                    <a:pt x="179" y="197"/>
                  </a:lnTo>
                  <a:lnTo>
                    <a:pt x="179" y="198"/>
                  </a:lnTo>
                  <a:lnTo>
                    <a:pt x="177" y="198"/>
                  </a:lnTo>
                  <a:lnTo>
                    <a:pt x="176" y="198"/>
                  </a:lnTo>
                  <a:lnTo>
                    <a:pt x="177" y="198"/>
                  </a:lnTo>
                  <a:lnTo>
                    <a:pt x="177" y="200"/>
                  </a:lnTo>
                  <a:lnTo>
                    <a:pt x="176" y="200"/>
                  </a:lnTo>
                  <a:lnTo>
                    <a:pt x="176" y="198"/>
                  </a:lnTo>
                  <a:lnTo>
                    <a:pt x="175" y="198"/>
                  </a:lnTo>
                  <a:lnTo>
                    <a:pt x="175" y="200"/>
                  </a:lnTo>
                  <a:lnTo>
                    <a:pt x="176" y="200"/>
                  </a:lnTo>
                  <a:lnTo>
                    <a:pt x="176" y="201"/>
                  </a:lnTo>
                  <a:lnTo>
                    <a:pt x="175" y="201"/>
                  </a:lnTo>
                  <a:lnTo>
                    <a:pt x="176" y="202"/>
                  </a:lnTo>
                  <a:lnTo>
                    <a:pt x="175" y="202"/>
                  </a:lnTo>
                  <a:lnTo>
                    <a:pt x="175" y="203"/>
                  </a:lnTo>
                  <a:lnTo>
                    <a:pt x="175" y="202"/>
                  </a:lnTo>
                  <a:lnTo>
                    <a:pt x="175" y="201"/>
                  </a:lnTo>
                  <a:lnTo>
                    <a:pt x="175" y="200"/>
                  </a:lnTo>
                  <a:lnTo>
                    <a:pt x="174" y="200"/>
                  </a:lnTo>
                  <a:lnTo>
                    <a:pt x="174" y="198"/>
                  </a:lnTo>
                  <a:lnTo>
                    <a:pt x="174" y="200"/>
                  </a:lnTo>
                  <a:lnTo>
                    <a:pt x="174" y="198"/>
                  </a:lnTo>
                  <a:lnTo>
                    <a:pt x="174" y="200"/>
                  </a:lnTo>
                  <a:lnTo>
                    <a:pt x="174" y="201"/>
                  </a:lnTo>
                  <a:lnTo>
                    <a:pt x="174" y="202"/>
                  </a:lnTo>
                  <a:lnTo>
                    <a:pt x="174" y="203"/>
                  </a:lnTo>
                  <a:lnTo>
                    <a:pt x="173" y="203"/>
                  </a:lnTo>
                  <a:lnTo>
                    <a:pt x="173" y="202"/>
                  </a:lnTo>
                  <a:lnTo>
                    <a:pt x="173" y="201"/>
                  </a:lnTo>
                  <a:lnTo>
                    <a:pt x="173" y="200"/>
                  </a:lnTo>
                  <a:lnTo>
                    <a:pt x="173" y="198"/>
                  </a:lnTo>
                  <a:lnTo>
                    <a:pt x="173" y="200"/>
                  </a:lnTo>
                  <a:lnTo>
                    <a:pt x="173" y="201"/>
                  </a:lnTo>
                  <a:lnTo>
                    <a:pt x="171" y="201"/>
                  </a:lnTo>
                  <a:lnTo>
                    <a:pt x="171" y="202"/>
                  </a:lnTo>
                  <a:lnTo>
                    <a:pt x="173" y="202"/>
                  </a:lnTo>
                  <a:lnTo>
                    <a:pt x="173" y="203"/>
                  </a:lnTo>
                  <a:lnTo>
                    <a:pt x="171" y="203"/>
                  </a:lnTo>
                  <a:lnTo>
                    <a:pt x="171" y="202"/>
                  </a:lnTo>
                  <a:lnTo>
                    <a:pt x="170" y="202"/>
                  </a:lnTo>
                  <a:lnTo>
                    <a:pt x="170" y="203"/>
                  </a:lnTo>
                  <a:lnTo>
                    <a:pt x="171" y="203"/>
                  </a:lnTo>
                  <a:lnTo>
                    <a:pt x="170" y="203"/>
                  </a:lnTo>
                  <a:lnTo>
                    <a:pt x="170" y="204"/>
                  </a:lnTo>
                  <a:lnTo>
                    <a:pt x="170" y="203"/>
                  </a:lnTo>
                  <a:lnTo>
                    <a:pt x="170" y="202"/>
                  </a:lnTo>
                  <a:lnTo>
                    <a:pt x="169" y="202"/>
                  </a:lnTo>
                  <a:lnTo>
                    <a:pt x="169" y="203"/>
                  </a:lnTo>
                  <a:lnTo>
                    <a:pt x="168" y="202"/>
                  </a:lnTo>
                  <a:lnTo>
                    <a:pt x="168" y="203"/>
                  </a:lnTo>
                  <a:lnTo>
                    <a:pt x="168" y="204"/>
                  </a:lnTo>
                  <a:lnTo>
                    <a:pt x="168" y="206"/>
                  </a:lnTo>
                  <a:lnTo>
                    <a:pt x="168" y="207"/>
                  </a:lnTo>
                  <a:lnTo>
                    <a:pt x="168" y="206"/>
                  </a:lnTo>
                  <a:lnTo>
                    <a:pt x="167" y="204"/>
                  </a:lnTo>
                  <a:lnTo>
                    <a:pt x="165" y="204"/>
                  </a:lnTo>
                  <a:lnTo>
                    <a:pt x="165" y="206"/>
                  </a:lnTo>
                  <a:lnTo>
                    <a:pt x="167" y="206"/>
                  </a:lnTo>
                  <a:lnTo>
                    <a:pt x="167" y="207"/>
                  </a:lnTo>
                  <a:lnTo>
                    <a:pt x="165" y="207"/>
                  </a:lnTo>
                  <a:lnTo>
                    <a:pt x="165" y="206"/>
                  </a:lnTo>
                  <a:lnTo>
                    <a:pt x="164" y="206"/>
                  </a:lnTo>
                  <a:lnTo>
                    <a:pt x="164" y="204"/>
                  </a:lnTo>
                  <a:lnTo>
                    <a:pt x="164" y="203"/>
                  </a:lnTo>
                  <a:lnTo>
                    <a:pt x="164" y="202"/>
                  </a:lnTo>
                  <a:lnTo>
                    <a:pt x="163" y="202"/>
                  </a:lnTo>
                  <a:lnTo>
                    <a:pt x="164" y="203"/>
                  </a:lnTo>
                  <a:lnTo>
                    <a:pt x="164" y="204"/>
                  </a:lnTo>
                  <a:lnTo>
                    <a:pt x="164" y="206"/>
                  </a:lnTo>
                  <a:lnTo>
                    <a:pt x="164" y="204"/>
                  </a:lnTo>
                  <a:lnTo>
                    <a:pt x="163" y="204"/>
                  </a:lnTo>
                  <a:lnTo>
                    <a:pt x="163" y="206"/>
                  </a:lnTo>
                  <a:lnTo>
                    <a:pt x="164" y="207"/>
                  </a:lnTo>
                  <a:lnTo>
                    <a:pt x="164" y="208"/>
                  </a:lnTo>
                  <a:lnTo>
                    <a:pt x="163" y="208"/>
                  </a:lnTo>
                  <a:lnTo>
                    <a:pt x="163" y="207"/>
                  </a:lnTo>
                  <a:lnTo>
                    <a:pt x="163" y="208"/>
                  </a:lnTo>
                  <a:lnTo>
                    <a:pt x="162" y="208"/>
                  </a:lnTo>
                  <a:lnTo>
                    <a:pt x="162" y="207"/>
                  </a:lnTo>
                  <a:lnTo>
                    <a:pt x="161" y="207"/>
                  </a:lnTo>
                  <a:lnTo>
                    <a:pt x="161" y="208"/>
                  </a:lnTo>
                  <a:lnTo>
                    <a:pt x="161" y="209"/>
                  </a:lnTo>
                  <a:lnTo>
                    <a:pt x="161" y="208"/>
                  </a:lnTo>
                  <a:lnTo>
                    <a:pt x="161" y="207"/>
                  </a:lnTo>
                  <a:lnTo>
                    <a:pt x="159" y="207"/>
                  </a:lnTo>
                  <a:lnTo>
                    <a:pt x="159" y="206"/>
                  </a:lnTo>
                  <a:lnTo>
                    <a:pt x="159" y="204"/>
                  </a:lnTo>
                  <a:lnTo>
                    <a:pt x="159" y="206"/>
                  </a:lnTo>
                  <a:lnTo>
                    <a:pt x="159" y="207"/>
                  </a:lnTo>
                  <a:lnTo>
                    <a:pt x="158" y="207"/>
                  </a:lnTo>
                  <a:lnTo>
                    <a:pt x="158" y="208"/>
                  </a:lnTo>
                  <a:lnTo>
                    <a:pt x="158" y="207"/>
                  </a:lnTo>
                  <a:lnTo>
                    <a:pt x="158" y="206"/>
                  </a:lnTo>
                  <a:lnTo>
                    <a:pt x="158" y="204"/>
                  </a:lnTo>
                  <a:lnTo>
                    <a:pt x="158" y="206"/>
                  </a:lnTo>
                  <a:lnTo>
                    <a:pt x="158" y="207"/>
                  </a:lnTo>
                  <a:lnTo>
                    <a:pt x="157" y="207"/>
                  </a:lnTo>
                  <a:lnTo>
                    <a:pt x="157" y="206"/>
                  </a:lnTo>
                  <a:lnTo>
                    <a:pt x="157" y="204"/>
                  </a:lnTo>
                  <a:lnTo>
                    <a:pt x="157" y="203"/>
                  </a:lnTo>
                  <a:lnTo>
                    <a:pt x="156" y="202"/>
                  </a:lnTo>
                  <a:lnTo>
                    <a:pt x="156" y="203"/>
                  </a:lnTo>
                  <a:lnTo>
                    <a:pt x="157" y="203"/>
                  </a:lnTo>
                  <a:lnTo>
                    <a:pt x="157" y="204"/>
                  </a:lnTo>
                  <a:lnTo>
                    <a:pt x="156" y="204"/>
                  </a:lnTo>
                  <a:lnTo>
                    <a:pt x="157" y="204"/>
                  </a:lnTo>
                  <a:lnTo>
                    <a:pt x="156" y="204"/>
                  </a:lnTo>
                  <a:lnTo>
                    <a:pt x="157" y="204"/>
                  </a:lnTo>
                  <a:lnTo>
                    <a:pt x="157" y="206"/>
                  </a:lnTo>
                  <a:lnTo>
                    <a:pt x="157" y="207"/>
                  </a:lnTo>
                  <a:lnTo>
                    <a:pt x="157" y="206"/>
                  </a:lnTo>
                  <a:lnTo>
                    <a:pt x="156" y="206"/>
                  </a:lnTo>
                  <a:lnTo>
                    <a:pt x="156" y="207"/>
                  </a:lnTo>
                  <a:lnTo>
                    <a:pt x="156" y="208"/>
                  </a:lnTo>
                  <a:lnTo>
                    <a:pt x="156" y="209"/>
                  </a:lnTo>
                  <a:lnTo>
                    <a:pt x="156" y="210"/>
                  </a:lnTo>
                  <a:lnTo>
                    <a:pt x="156" y="209"/>
                  </a:lnTo>
                  <a:lnTo>
                    <a:pt x="155" y="209"/>
                  </a:lnTo>
                  <a:lnTo>
                    <a:pt x="155" y="210"/>
                  </a:lnTo>
                  <a:lnTo>
                    <a:pt x="155" y="212"/>
                  </a:lnTo>
                  <a:lnTo>
                    <a:pt x="153" y="212"/>
                  </a:lnTo>
                  <a:lnTo>
                    <a:pt x="153" y="210"/>
                  </a:lnTo>
                  <a:lnTo>
                    <a:pt x="153" y="209"/>
                  </a:lnTo>
                  <a:lnTo>
                    <a:pt x="153" y="208"/>
                  </a:lnTo>
                  <a:lnTo>
                    <a:pt x="153" y="207"/>
                  </a:lnTo>
                  <a:lnTo>
                    <a:pt x="153" y="206"/>
                  </a:lnTo>
                  <a:lnTo>
                    <a:pt x="152" y="206"/>
                  </a:lnTo>
                  <a:lnTo>
                    <a:pt x="152" y="208"/>
                  </a:lnTo>
                  <a:lnTo>
                    <a:pt x="152" y="209"/>
                  </a:lnTo>
                  <a:lnTo>
                    <a:pt x="152" y="210"/>
                  </a:lnTo>
                  <a:lnTo>
                    <a:pt x="152" y="212"/>
                  </a:lnTo>
                  <a:lnTo>
                    <a:pt x="152" y="210"/>
                  </a:lnTo>
                  <a:lnTo>
                    <a:pt x="152" y="209"/>
                  </a:lnTo>
                  <a:lnTo>
                    <a:pt x="151" y="208"/>
                  </a:lnTo>
                  <a:lnTo>
                    <a:pt x="151" y="207"/>
                  </a:lnTo>
                  <a:lnTo>
                    <a:pt x="151" y="208"/>
                  </a:lnTo>
                  <a:lnTo>
                    <a:pt x="150" y="208"/>
                  </a:lnTo>
                  <a:lnTo>
                    <a:pt x="150" y="209"/>
                  </a:lnTo>
                  <a:lnTo>
                    <a:pt x="151" y="209"/>
                  </a:lnTo>
                  <a:lnTo>
                    <a:pt x="151" y="210"/>
                  </a:lnTo>
                  <a:lnTo>
                    <a:pt x="151" y="212"/>
                  </a:lnTo>
                  <a:lnTo>
                    <a:pt x="150" y="212"/>
                  </a:lnTo>
                  <a:lnTo>
                    <a:pt x="150" y="210"/>
                  </a:lnTo>
                  <a:lnTo>
                    <a:pt x="150" y="208"/>
                  </a:lnTo>
                  <a:lnTo>
                    <a:pt x="150" y="207"/>
                  </a:lnTo>
                  <a:lnTo>
                    <a:pt x="150" y="206"/>
                  </a:lnTo>
                  <a:lnTo>
                    <a:pt x="150" y="204"/>
                  </a:lnTo>
                  <a:lnTo>
                    <a:pt x="148" y="204"/>
                  </a:lnTo>
                  <a:lnTo>
                    <a:pt x="148" y="203"/>
                  </a:lnTo>
                  <a:lnTo>
                    <a:pt x="148" y="204"/>
                  </a:lnTo>
                  <a:lnTo>
                    <a:pt x="147" y="204"/>
                  </a:lnTo>
                  <a:lnTo>
                    <a:pt x="147" y="206"/>
                  </a:lnTo>
                  <a:lnTo>
                    <a:pt x="147" y="207"/>
                  </a:lnTo>
                  <a:lnTo>
                    <a:pt x="146" y="206"/>
                  </a:lnTo>
                  <a:lnTo>
                    <a:pt x="146" y="204"/>
                  </a:lnTo>
                  <a:lnTo>
                    <a:pt x="146" y="203"/>
                  </a:lnTo>
                  <a:lnTo>
                    <a:pt x="146" y="202"/>
                  </a:lnTo>
                  <a:lnTo>
                    <a:pt x="146" y="201"/>
                  </a:lnTo>
                  <a:lnTo>
                    <a:pt x="146" y="203"/>
                  </a:lnTo>
                  <a:lnTo>
                    <a:pt x="145" y="202"/>
                  </a:lnTo>
                  <a:lnTo>
                    <a:pt x="145" y="201"/>
                  </a:lnTo>
                  <a:lnTo>
                    <a:pt x="145" y="202"/>
                  </a:lnTo>
                  <a:lnTo>
                    <a:pt x="144" y="201"/>
                  </a:lnTo>
                  <a:lnTo>
                    <a:pt x="144" y="200"/>
                  </a:lnTo>
                  <a:lnTo>
                    <a:pt x="144" y="198"/>
                  </a:lnTo>
                  <a:lnTo>
                    <a:pt x="144" y="197"/>
                  </a:lnTo>
                  <a:lnTo>
                    <a:pt x="142" y="197"/>
                  </a:lnTo>
                  <a:lnTo>
                    <a:pt x="142" y="198"/>
                  </a:lnTo>
                  <a:lnTo>
                    <a:pt x="144" y="200"/>
                  </a:lnTo>
                  <a:lnTo>
                    <a:pt x="144" y="201"/>
                  </a:lnTo>
                  <a:lnTo>
                    <a:pt x="144" y="202"/>
                  </a:lnTo>
                  <a:lnTo>
                    <a:pt x="144" y="203"/>
                  </a:lnTo>
                  <a:lnTo>
                    <a:pt x="142" y="203"/>
                  </a:lnTo>
                  <a:lnTo>
                    <a:pt x="142" y="204"/>
                  </a:lnTo>
                  <a:lnTo>
                    <a:pt x="144" y="204"/>
                  </a:lnTo>
                  <a:lnTo>
                    <a:pt x="145" y="204"/>
                  </a:lnTo>
                  <a:lnTo>
                    <a:pt x="146" y="206"/>
                  </a:lnTo>
                  <a:lnTo>
                    <a:pt x="145" y="206"/>
                  </a:lnTo>
                  <a:lnTo>
                    <a:pt x="144" y="206"/>
                  </a:lnTo>
                  <a:lnTo>
                    <a:pt x="144" y="207"/>
                  </a:lnTo>
                  <a:lnTo>
                    <a:pt x="144" y="208"/>
                  </a:lnTo>
                  <a:lnTo>
                    <a:pt x="145" y="209"/>
                  </a:lnTo>
                  <a:lnTo>
                    <a:pt x="145" y="210"/>
                  </a:lnTo>
                  <a:lnTo>
                    <a:pt x="146" y="212"/>
                  </a:lnTo>
                  <a:lnTo>
                    <a:pt x="147" y="212"/>
                  </a:lnTo>
                  <a:lnTo>
                    <a:pt x="148" y="212"/>
                  </a:lnTo>
                  <a:lnTo>
                    <a:pt x="148" y="213"/>
                  </a:lnTo>
                  <a:lnTo>
                    <a:pt x="150" y="213"/>
                  </a:lnTo>
                  <a:lnTo>
                    <a:pt x="151" y="213"/>
                  </a:lnTo>
                  <a:lnTo>
                    <a:pt x="152" y="213"/>
                  </a:lnTo>
                  <a:lnTo>
                    <a:pt x="153" y="213"/>
                  </a:lnTo>
                  <a:lnTo>
                    <a:pt x="155" y="214"/>
                  </a:lnTo>
                  <a:lnTo>
                    <a:pt x="156" y="214"/>
                  </a:lnTo>
                  <a:lnTo>
                    <a:pt x="157" y="214"/>
                  </a:lnTo>
                  <a:lnTo>
                    <a:pt x="158" y="215"/>
                  </a:lnTo>
                  <a:lnTo>
                    <a:pt x="157" y="215"/>
                  </a:lnTo>
                  <a:lnTo>
                    <a:pt x="156" y="214"/>
                  </a:lnTo>
                  <a:lnTo>
                    <a:pt x="156" y="215"/>
                  </a:lnTo>
                  <a:lnTo>
                    <a:pt x="155" y="214"/>
                  </a:lnTo>
                  <a:lnTo>
                    <a:pt x="155" y="215"/>
                  </a:lnTo>
                  <a:lnTo>
                    <a:pt x="156" y="215"/>
                  </a:lnTo>
                  <a:lnTo>
                    <a:pt x="155" y="215"/>
                  </a:lnTo>
                  <a:lnTo>
                    <a:pt x="153" y="215"/>
                  </a:lnTo>
                  <a:lnTo>
                    <a:pt x="153" y="217"/>
                  </a:lnTo>
                  <a:lnTo>
                    <a:pt x="152" y="215"/>
                  </a:lnTo>
                  <a:lnTo>
                    <a:pt x="152" y="217"/>
                  </a:lnTo>
                  <a:lnTo>
                    <a:pt x="153" y="217"/>
                  </a:lnTo>
                  <a:lnTo>
                    <a:pt x="155" y="217"/>
                  </a:lnTo>
                  <a:lnTo>
                    <a:pt x="156" y="217"/>
                  </a:lnTo>
                  <a:lnTo>
                    <a:pt x="157" y="218"/>
                  </a:lnTo>
                  <a:lnTo>
                    <a:pt x="158" y="217"/>
                  </a:lnTo>
                  <a:lnTo>
                    <a:pt x="158" y="218"/>
                  </a:lnTo>
                  <a:lnTo>
                    <a:pt x="159" y="218"/>
                  </a:lnTo>
                  <a:lnTo>
                    <a:pt x="158" y="218"/>
                  </a:lnTo>
                  <a:lnTo>
                    <a:pt x="159" y="219"/>
                  </a:lnTo>
                  <a:lnTo>
                    <a:pt x="161" y="219"/>
                  </a:lnTo>
                  <a:lnTo>
                    <a:pt x="161" y="218"/>
                  </a:lnTo>
                  <a:lnTo>
                    <a:pt x="162" y="218"/>
                  </a:lnTo>
                  <a:lnTo>
                    <a:pt x="163" y="218"/>
                  </a:lnTo>
                  <a:lnTo>
                    <a:pt x="164" y="218"/>
                  </a:lnTo>
                  <a:lnTo>
                    <a:pt x="165" y="218"/>
                  </a:lnTo>
                  <a:lnTo>
                    <a:pt x="167" y="217"/>
                  </a:lnTo>
                  <a:lnTo>
                    <a:pt x="168" y="217"/>
                  </a:lnTo>
                  <a:lnTo>
                    <a:pt x="168" y="215"/>
                  </a:lnTo>
                  <a:lnTo>
                    <a:pt x="168" y="217"/>
                  </a:lnTo>
                  <a:lnTo>
                    <a:pt x="169" y="217"/>
                  </a:lnTo>
                  <a:lnTo>
                    <a:pt x="169" y="215"/>
                  </a:lnTo>
                  <a:lnTo>
                    <a:pt x="170" y="215"/>
                  </a:lnTo>
                  <a:lnTo>
                    <a:pt x="171" y="215"/>
                  </a:lnTo>
                  <a:lnTo>
                    <a:pt x="173" y="215"/>
                  </a:lnTo>
                  <a:lnTo>
                    <a:pt x="171" y="214"/>
                  </a:lnTo>
                  <a:lnTo>
                    <a:pt x="173" y="214"/>
                  </a:lnTo>
                  <a:lnTo>
                    <a:pt x="174" y="214"/>
                  </a:lnTo>
                  <a:lnTo>
                    <a:pt x="175" y="214"/>
                  </a:lnTo>
                  <a:lnTo>
                    <a:pt x="176" y="214"/>
                  </a:lnTo>
                  <a:lnTo>
                    <a:pt x="177" y="214"/>
                  </a:lnTo>
                  <a:lnTo>
                    <a:pt x="179" y="213"/>
                  </a:lnTo>
                  <a:lnTo>
                    <a:pt x="180" y="213"/>
                  </a:lnTo>
                  <a:lnTo>
                    <a:pt x="179" y="213"/>
                  </a:lnTo>
                  <a:lnTo>
                    <a:pt x="179" y="214"/>
                  </a:lnTo>
                  <a:lnTo>
                    <a:pt x="180" y="214"/>
                  </a:lnTo>
                  <a:lnTo>
                    <a:pt x="180" y="213"/>
                  </a:lnTo>
                  <a:lnTo>
                    <a:pt x="180" y="214"/>
                  </a:lnTo>
                  <a:lnTo>
                    <a:pt x="181" y="214"/>
                  </a:lnTo>
                  <a:lnTo>
                    <a:pt x="180" y="214"/>
                  </a:lnTo>
                  <a:lnTo>
                    <a:pt x="179" y="214"/>
                  </a:lnTo>
                  <a:lnTo>
                    <a:pt x="179" y="215"/>
                  </a:lnTo>
                  <a:lnTo>
                    <a:pt x="177" y="215"/>
                  </a:lnTo>
                  <a:lnTo>
                    <a:pt x="177" y="214"/>
                  </a:lnTo>
                  <a:lnTo>
                    <a:pt x="177" y="215"/>
                  </a:lnTo>
                  <a:lnTo>
                    <a:pt x="176" y="214"/>
                  </a:lnTo>
                  <a:lnTo>
                    <a:pt x="176" y="215"/>
                  </a:lnTo>
                  <a:lnTo>
                    <a:pt x="177" y="217"/>
                  </a:lnTo>
                  <a:lnTo>
                    <a:pt x="177" y="218"/>
                  </a:lnTo>
                  <a:lnTo>
                    <a:pt x="176" y="219"/>
                  </a:lnTo>
                  <a:lnTo>
                    <a:pt x="176" y="220"/>
                  </a:lnTo>
                  <a:lnTo>
                    <a:pt x="176" y="219"/>
                  </a:lnTo>
                  <a:lnTo>
                    <a:pt x="176" y="218"/>
                  </a:lnTo>
                  <a:lnTo>
                    <a:pt x="175" y="218"/>
                  </a:lnTo>
                  <a:lnTo>
                    <a:pt x="175" y="219"/>
                  </a:lnTo>
                  <a:lnTo>
                    <a:pt x="176" y="220"/>
                  </a:lnTo>
                  <a:lnTo>
                    <a:pt x="175" y="220"/>
                  </a:lnTo>
                  <a:lnTo>
                    <a:pt x="175" y="221"/>
                  </a:lnTo>
                  <a:lnTo>
                    <a:pt x="174" y="221"/>
                  </a:lnTo>
                  <a:lnTo>
                    <a:pt x="174" y="223"/>
                  </a:lnTo>
                  <a:lnTo>
                    <a:pt x="175" y="221"/>
                  </a:lnTo>
                  <a:lnTo>
                    <a:pt x="176" y="221"/>
                  </a:lnTo>
                  <a:lnTo>
                    <a:pt x="177" y="221"/>
                  </a:lnTo>
                  <a:lnTo>
                    <a:pt x="179" y="221"/>
                  </a:lnTo>
                  <a:lnTo>
                    <a:pt x="179" y="223"/>
                  </a:lnTo>
                  <a:lnTo>
                    <a:pt x="177" y="223"/>
                  </a:lnTo>
                  <a:lnTo>
                    <a:pt x="176" y="223"/>
                  </a:lnTo>
                  <a:lnTo>
                    <a:pt x="176" y="224"/>
                  </a:lnTo>
                  <a:lnTo>
                    <a:pt x="175" y="223"/>
                  </a:lnTo>
                  <a:lnTo>
                    <a:pt x="175" y="224"/>
                  </a:lnTo>
                  <a:lnTo>
                    <a:pt x="176" y="224"/>
                  </a:lnTo>
                  <a:lnTo>
                    <a:pt x="177" y="224"/>
                  </a:lnTo>
                  <a:lnTo>
                    <a:pt x="179" y="224"/>
                  </a:lnTo>
                  <a:lnTo>
                    <a:pt x="180" y="224"/>
                  </a:lnTo>
                  <a:lnTo>
                    <a:pt x="180" y="225"/>
                  </a:lnTo>
                  <a:lnTo>
                    <a:pt x="179" y="225"/>
                  </a:lnTo>
                  <a:lnTo>
                    <a:pt x="180" y="225"/>
                  </a:lnTo>
                  <a:lnTo>
                    <a:pt x="181" y="225"/>
                  </a:lnTo>
                  <a:lnTo>
                    <a:pt x="182" y="224"/>
                  </a:lnTo>
                  <a:lnTo>
                    <a:pt x="183" y="224"/>
                  </a:lnTo>
                  <a:lnTo>
                    <a:pt x="183" y="225"/>
                  </a:lnTo>
                  <a:lnTo>
                    <a:pt x="183" y="224"/>
                  </a:lnTo>
                  <a:lnTo>
                    <a:pt x="185" y="224"/>
                  </a:lnTo>
                  <a:lnTo>
                    <a:pt x="186" y="223"/>
                  </a:lnTo>
                  <a:lnTo>
                    <a:pt x="186" y="224"/>
                  </a:lnTo>
                  <a:lnTo>
                    <a:pt x="187" y="223"/>
                  </a:lnTo>
                  <a:lnTo>
                    <a:pt x="188" y="223"/>
                  </a:lnTo>
                  <a:lnTo>
                    <a:pt x="187" y="224"/>
                  </a:lnTo>
                  <a:lnTo>
                    <a:pt x="187" y="225"/>
                  </a:lnTo>
                  <a:lnTo>
                    <a:pt x="188" y="225"/>
                  </a:lnTo>
                  <a:lnTo>
                    <a:pt x="187" y="225"/>
                  </a:lnTo>
                  <a:lnTo>
                    <a:pt x="186" y="224"/>
                  </a:lnTo>
                  <a:lnTo>
                    <a:pt x="185" y="224"/>
                  </a:lnTo>
                  <a:lnTo>
                    <a:pt x="186" y="225"/>
                  </a:lnTo>
                  <a:lnTo>
                    <a:pt x="186" y="226"/>
                  </a:lnTo>
                  <a:lnTo>
                    <a:pt x="186" y="225"/>
                  </a:lnTo>
                  <a:lnTo>
                    <a:pt x="185" y="225"/>
                  </a:lnTo>
                  <a:lnTo>
                    <a:pt x="183" y="225"/>
                  </a:lnTo>
                  <a:lnTo>
                    <a:pt x="185" y="226"/>
                  </a:lnTo>
                  <a:lnTo>
                    <a:pt x="185" y="227"/>
                  </a:lnTo>
                  <a:lnTo>
                    <a:pt x="186" y="227"/>
                  </a:lnTo>
                  <a:lnTo>
                    <a:pt x="187" y="227"/>
                  </a:lnTo>
                  <a:lnTo>
                    <a:pt x="187" y="226"/>
                  </a:lnTo>
                  <a:lnTo>
                    <a:pt x="187" y="227"/>
                  </a:lnTo>
                  <a:lnTo>
                    <a:pt x="188" y="227"/>
                  </a:lnTo>
                  <a:lnTo>
                    <a:pt x="189" y="227"/>
                  </a:lnTo>
                  <a:lnTo>
                    <a:pt x="188" y="227"/>
                  </a:lnTo>
                  <a:lnTo>
                    <a:pt x="187" y="227"/>
                  </a:lnTo>
                  <a:lnTo>
                    <a:pt x="187" y="229"/>
                  </a:lnTo>
                  <a:lnTo>
                    <a:pt x="188" y="229"/>
                  </a:lnTo>
                  <a:lnTo>
                    <a:pt x="187" y="229"/>
                  </a:lnTo>
                  <a:lnTo>
                    <a:pt x="186" y="227"/>
                  </a:lnTo>
                  <a:lnTo>
                    <a:pt x="186" y="229"/>
                  </a:lnTo>
                  <a:lnTo>
                    <a:pt x="186" y="230"/>
                  </a:lnTo>
                  <a:lnTo>
                    <a:pt x="186" y="229"/>
                  </a:lnTo>
                  <a:lnTo>
                    <a:pt x="185" y="229"/>
                  </a:lnTo>
                  <a:lnTo>
                    <a:pt x="186" y="230"/>
                  </a:lnTo>
                  <a:lnTo>
                    <a:pt x="185" y="230"/>
                  </a:lnTo>
                  <a:lnTo>
                    <a:pt x="185" y="229"/>
                  </a:lnTo>
                  <a:lnTo>
                    <a:pt x="183" y="229"/>
                  </a:lnTo>
                  <a:lnTo>
                    <a:pt x="185" y="230"/>
                  </a:lnTo>
                  <a:lnTo>
                    <a:pt x="183" y="230"/>
                  </a:lnTo>
                  <a:lnTo>
                    <a:pt x="183" y="229"/>
                  </a:lnTo>
                  <a:lnTo>
                    <a:pt x="183" y="230"/>
                  </a:lnTo>
                  <a:lnTo>
                    <a:pt x="183" y="231"/>
                  </a:lnTo>
                  <a:lnTo>
                    <a:pt x="182" y="231"/>
                  </a:lnTo>
                  <a:lnTo>
                    <a:pt x="182" y="232"/>
                  </a:lnTo>
                  <a:lnTo>
                    <a:pt x="182" y="233"/>
                  </a:lnTo>
                  <a:lnTo>
                    <a:pt x="181" y="232"/>
                  </a:lnTo>
                  <a:lnTo>
                    <a:pt x="181" y="233"/>
                  </a:lnTo>
                  <a:lnTo>
                    <a:pt x="182" y="233"/>
                  </a:lnTo>
                  <a:lnTo>
                    <a:pt x="181" y="235"/>
                  </a:lnTo>
                  <a:lnTo>
                    <a:pt x="182" y="235"/>
                  </a:lnTo>
                  <a:lnTo>
                    <a:pt x="183" y="236"/>
                  </a:lnTo>
                  <a:lnTo>
                    <a:pt x="182" y="236"/>
                  </a:lnTo>
                  <a:lnTo>
                    <a:pt x="181" y="235"/>
                  </a:lnTo>
                  <a:lnTo>
                    <a:pt x="181" y="236"/>
                  </a:lnTo>
                  <a:lnTo>
                    <a:pt x="181" y="235"/>
                  </a:lnTo>
                  <a:lnTo>
                    <a:pt x="180" y="235"/>
                  </a:lnTo>
                  <a:lnTo>
                    <a:pt x="180" y="236"/>
                  </a:lnTo>
                  <a:lnTo>
                    <a:pt x="181" y="236"/>
                  </a:lnTo>
                  <a:lnTo>
                    <a:pt x="182" y="236"/>
                  </a:lnTo>
                  <a:lnTo>
                    <a:pt x="183" y="236"/>
                  </a:lnTo>
                  <a:lnTo>
                    <a:pt x="185" y="236"/>
                  </a:lnTo>
                  <a:lnTo>
                    <a:pt x="186" y="236"/>
                  </a:lnTo>
                  <a:lnTo>
                    <a:pt x="187" y="236"/>
                  </a:lnTo>
                  <a:lnTo>
                    <a:pt x="188" y="236"/>
                  </a:lnTo>
                  <a:lnTo>
                    <a:pt x="187" y="237"/>
                  </a:lnTo>
                  <a:lnTo>
                    <a:pt x="186" y="237"/>
                  </a:lnTo>
                  <a:lnTo>
                    <a:pt x="186" y="238"/>
                  </a:lnTo>
                  <a:lnTo>
                    <a:pt x="186" y="237"/>
                  </a:lnTo>
                  <a:lnTo>
                    <a:pt x="185" y="237"/>
                  </a:lnTo>
                  <a:lnTo>
                    <a:pt x="185" y="238"/>
                  </a:lnTo>
                  <a:lnTo>
                    <a:pt x="186" y="238"/>
                  </a:lnTo>
                  <a:lnTo>
                    <a:pt x="186" y="239"/>
                  </a:lnTo>
                  <a:lnTo>
                    <a:pt x="186" y="241"/>
                  </a:lnTo>
                  <a:lnTo>
                    <a:pt x="185" y="242"/>
                  </a:lnTo>
                  <a:lnTo>
                    <a:pt x="185" y="241"/>
                  </a:lnTo>
                  <a:lnTo>
                    <a:pt x="185" y="239"/>
                  </a:lnTo>
                  <a:lnTo>
                    <a:pt x="185" y="238"/>
                  </a:lnTo>
                  <a:lnTo>
                    <a:pt x="183" y="238"/>
                  </a:lnTo>
                  <a:lnTo>
                    <a:pt x="183" y="239"/>
                  </a:lnTo>
                  <a:lnTo>
                    <a:pt x="182" y="239"/>
                  </a:lnTo>
                  <a:lnTo>
                    <a:pt x="182" y="238"/>
                  </a:lnTo>
                  <a:lnTo>
                    <a:pt x="182" y="239"/>
                  </a:lnTo>
                  <a:lnTo>
                    <a:pt x="182" y="241"/>
                  </a:lnTo>
                  <a:lnTo>
                    <a:pt x="183" y="241"/>
                  </a:lnTo>
                  <a:lnTo>
                    <a:pt x="183" y="242"/>
                  </a:lnTo>
                  <a:lnTo>
                    <a:pt x="182" y="242"/>
                  </a:lnTo>
                  <a:lnTo>
                    <a:pt x="183" y="242"/>
                  </a:lnTo>
                  <a:lnTo>
                    <a:pt x="185" y="242"/>
                  </a:lnTo>
                  <a:lnTo>
                    <a:pt x="186" y="242"/>
                  </a:lnTo>
                  <a:lnTo>
                    <a:pt x="186" y="241"/>
                  </a:lnTo>
                  <a:lnTo>
                    <a:pt x="187" y="241"/>
                  </a:lnTo>
                  <a:lnTo>
                    <a:pt x="188" y="241"/>
                  </a:lnTo>
                  <a:lnTo>
                    <a:pt x="189" y="241"/>
                  </a:lnTo>
                  <a:lnTo>
                    <a:pt x="191" y="241"/>
                  </a:lnTo>
                  <a:lnTo>
                    <a:pt x="192" y="241"/>
                  </a:lnTo>
                  <a:lnTo>
                    <a:pt x="192" y="239"/>
                  </a:lnTo>
                  <a:lnTo>
                    <a:pt x="193" y="239"/>
                  </a:lnTo>
                  <a:lnTo>
                    <a:pt x="194" y="239"/>
                  </a:lnTo>
                  <a:lnTo>
                    <a:pt x="194" y="241"/>
                  </a:lnTo>
                  <a:lnTo>
                    <a:pt x="195" y="239"/>
                  </a:lnTo>
                  <a:lnTo>
                    <a:pt x="197" y="239"/>
                  </a:lnTo>
                  <a:lnTo>
                    <a:pt x="197" y="238"/>
                  </a:lnTo>
                  <a:lnTo>
                    <a:pt x="197" y="239"/>
                  </a:lnTo>
                  <a:lnTo>
                    <a:pt x="199" y="239"/>
                  </a:lnTo>
                  <a:lnTo>
                    <a:pt x="198" y="239"/>
                  </a:lnTo>
                  <a:lnTo>
                    <a:pt x="197" y="239"/>
                  </a:lnTo>
                  <a:lnTo>
                    <a:pt x="197" y="241"/>
                  </a:lnTo>
                  <a:lnTo>
                    <a:pt x="198" y="241"/>
                  </a:lnTo>
                  <a:lnTo>
                    <a:pt x="198" y="242"/>
                  </a:lnTo>
                  <a:lnTo>
                    <a:pt x="198" y="241"/>
                  </a:lnTo>
                  <a:lnTo>
                    <a:pt x="197" y="241"/>
                  </a:lnTo>
                  <a:lnTo>
                    <a:pt x="195" y="241"/>
                  </a:lnTo>
                  <a:lnTo>
                    <a:pt x="195" y="242"/>
                  </a:lnTo>
                  <a:lnTo>
                    <a:pt x="195" y="241"/>
                  </a:lnTo>
                  <a:lnTo>
                    <a:pt x="194" y="241"/>
                  </a:lnTo>
                  <a:lnTo>
                    <a:pt x="194" y="242"/>
                  </a:lnTo>
                  <a:lnTo>
                    <a:pt x="195" y="242"/>
                  </a:lnTo>
                  <a:lnTo>
                    <a:pt x="195" y="243"/>
                  </a:lnTo>
                  <a:lnTo>
                    <a:pt x="195" y="244"/>
                  </a:lnTo>
                  <a:lnTo>
                    <a:pt x="194" y="244"/>
                  </a:lnTo>
                  <a:lnTo>
                    <a:pt x="194" y="245"/>
                  </a:lnTo>
                  <a:lnTo>
                    <a:pt x="193" y="244"/>
                  </a:lnTo>
                  <a:lnTo>
                    <a:pt x="193" y="243"/>
                  </a:lnTo>
                  <a:lnTo>
                    <a:pt x="193" y="244"/>
                  </a:lnTo>
                  <a:lnTo>
                    <a:pt x="193" y="243"/>
                  </a:lnTo>
                  <a:lnTo>
                    <a:pt x="192" y="242"/>
                  </a:lnTo>
                  <a:lnTo>
                    <a:pt x="192" y="243"/>
                  </a:lnTo>
                  <a:lnTo>
                    <a:pt x="192" y="242"/>
                  </a:lnTo>
                  <a:lnTo>
                    <a:pt x="191" y="242"/>
                  </a:lnTo>
                  <a:lnTo>
                    <a:pt x="192" y="243"/>
                  </a:lnTo>
                  <a:lnTo>
                    <a:pt x="192" y="244"/>
                  </a:lnTo>
                  <a:lnTo>
                    <a:pt x="191" y="243"/>
                  </a:lnTo>
                  <a:lnTo>
                    <a:pt x="191" y="244"/>
                  </a:lnTo>
                  <a:lnTo>
                    <a:pt x="192" y="245"/>
                  </a:lnTo>
                  <a:lnTo>
                    <a:pt x="192" y="247"/>
                  </a:lnTo>
                  <a:lnTo>
                    <a:pt x="191" y="247"/>
                  </a:lnTo>
                  <a:lnTo>
                    <a:pt x="191" y="245"/>
                  </a:lnTo>
                  <a:lnTo>
                    <a:pt x="191" y="244"/>
                  </a:lnTo>
                  <a:lnTo>
                    <a:pt x="189" y="244"/>
                  </a:lnTo>
                  <a:lnTo>
                    <a:pt x="189" y="245"/>
                  </a:lnTo>
                  <a:lnTo>
                    <a:pt x="188" y="245"/>
                  </a:lnTo>
                  <a:lnTo>
                    <a:pt x="188" y="244"/>
                  </a:lnTo>
                  <a:lnTo>
                    <a:pt x="188" y="245"/>
                  </a:lnTo>
                  <a:lnTo>
                    <a:pt x="189" y="247"/>
                  </a:lnTo>
                  <a:lnTo>
                    <a:pt x="188" y="247"/>
                  </a:lnTo>
                  <a:lnTo>
                    <a:pt x="188" y="245"/>
                  </a:lnTo>
                  <a:lnTo>
                    <a:pt x="188" y="247"/>
                  </a:lnTo>
                  <a:lnTo>
                    <a:pt x="188" y="248"/>
                  </a:lnTo>
                  <a:lnTo>
                    <a:pt x="189" y="248"/>
                  </a:lnTo>
                  <a:lnTo>
                    <a:pt x="191" y="249"/>
                  </a:lnTo>
                  <a:lnTo>
                    <a:pt x="192" y="249"/>
                  </a:lnTo>
                  <a:lnTo>
                    <a:pt x="191" y="249"/>
                  </a:lnTo>
                  <a:lnTo>
                    <a:pt x="191" y="250"/>
                  </a:lnTo>
                  <a:lnTo>
                    <a:pt x="189" y="250"/>
                  </a:lnTo>
                  <a:lnTo>
                    <a:pt x="189" y="249"/>
                  </a:lnTo>
                  <a:lnTo>
                    <a:pt x="188" y="249"/>
                  </a:lnTo>
                  <a:lnTo>
                    <a:pt x="189" y="249"/>
                  </a:lnTo>
                  <a:lnTo>
                    <a:pt x="189" y="250"/>
                  </a:lnTo>
                  <a:lnTo>
                    <a:pt x="188" y="250"/>
                  </a:lnTo>
                  <a:lnTo>
                    <a:pt x="187" y="250"/>
                  </a:lnTo>
                  <a:lnTo>
                    <a:pt x="187" y="249"/>
                  </a:lnTo>
                  <a:lnTo>
                    <a:pt x="188" y="249"/>
                  </a:lnTo>
                  <a:lnTo>
                    <a:pt x="187" y="248"/>
                  </a:lnTo>
                  <a:lnTo>
                    <a:pt x="187" y="249"/>
                  </a:lnTo>
                  <a:lnTo>
                    <a:pt x="187" y="248"/>
                  </a:lnTo>
                  <a:lnTo>
                    <a:pt x="186" y="248"/>
                  </a:lnTo>
                  <a:lnTo>
                    <a:pt x="186" y="249"/>
                  </a:lnTo>
                  <a:lnTo>
                    <a:pt x="186" y="248"/>
                  </a:lnTo>
                  <a:lnTo>
                    <a:pt x="186" y="247"/>
                  </a:lnTo>
                  <a:lnTo>
                    <a:pt x="186" y="245"/>
                  </a:lnTo>
                  <a:lnTo>
                    <a:pt x="185" y="247"/>
                  </a:lnTo>
                  <a:lnTo>
                    <a:pt x="185" y="248"/>
                  </a:lnTo>
                  <a:lnTo>
                    <a:pt x="185" y="249"/>
                  </a:lnTo>
                  <a:lnTo>
                    <a:pt x="186" y="249"/>
                  </a:lnTo>
                  <a:lnTo>
                    <a:pt x="185" y="250"/>
                  </a:lnTo>
                  <a:lnTo>
                    <a:pt x="186" y="250"/>
                  </a:lnTo>
                  <a:lnTo>
                    <a:pt x="187" y="251"/>
                  </a:lnTo>
                  <a:lnTo>
                    <a:pt x="188" y="251"/>
                  </a:lnTo>
                  <a:lnTo>
                    <a:pt x="189" y="251"/>
                  </a:lnTo>
                  <a:lnTo>
                    <a:pt x="191" y="251"/>
                  </a:lnTo>
                  <a:lnTo>
                    <a:pt x="191" y="253"/>
                  </a:lnTo>
                  <a:lnTo>
                    <a:pt x="189" y="253"/>
                  </a:lnTo>
                  <a:lnTo>
                    <a:pt x="188" y="251"/>
                  </a:lnTo>
                  <a:lnTo>
                    <a:pt x="188" y="253"/>
                  </a:lnTo>
                  <a:lnTo>
                    <a:pt x="188" y="254"/>
                  </a:lnTo>
                  <a:lnTo>
                    <a:pt x="187" y="253"/>
                  </a:lnTo>
                  <a:lnTo>
                    <a:pt x="187" y="251"/>
                  </a:lnTo>
                  <a:lnTo>
                    <a:pt x="186" y="251"/>
                  </a:lnTo>
                  <a:lnTo>
                    <a:pt x="186" y="253"/>
                  </a:lnTo>
                  <a:lnTo>
                    <a:pt x="186" y="254"/>
                  </a:lnTo>
                  <a:lnTo>
                    <a:pt x="186" y="255"/>
                  </a:lnTo>
                  <a:lnTo>
                    <a:pt x="186" y="254"/>
                  </a:lnTo>
                  <a:lnTo>
                    <a:pt x="186" y="253"/>
                  </a:lnTo>
                  <a:lnTo>
                    <a:pt x="186" y="254"/>
                  </a:lnTo>
                  <a:lnTo>
                    <a:pt x="185" y="253"/>
                  </a:lnTo>
                  <a:lnTo>
                    <a:pt x="185" y="251"/>
                  </a:lnTo>
                  <a:lnTo>
                    <a:pt x="185" y="253"/>
                  </a:lnTo>
                  <a:lnTo>
                    <a:pt x="185" y="254"/>
                  </a:lnTo>
                  <a:lnTo>
                    <a:pt x="185" y="253"/>
                  </a:lnTo>
                  <a:lnTo>
                    <a:pt x="183" y="253"/>
                  </a:lnTo>
                  <a:lnTo>
                    <a:pt x="183" y="251"/>
                  </a:lnTo>
                  <a:lnTo>
                    <a:pt x="183" y="253"/>
                  </a:lnTo>
                  <a:lnTo>
                    <a:pt x="183" y="254"/>
                  </a:lnTo>
                  <a:lnTo>
                    <a:pt x="183" y="255"/>
                  </a:lnTo>
                  <a:lnTo>
                    <a:pt x="183" y="256"/>
                  </a:lnTo>
                  <a:lnTo>
                    <a:pt x="183" y="257"/>
                  </a:lnTo>
                  <a:lnTo>
                    <a:pt x="185" y="259"/>
                  </a:lnTo>
                  <a:lnTo>
                    <a:pt x="183" y="257"/>
                  </a:lnTo>
                  <a:lnTo>
                    <a:pt x="183" y="259"/>
                  </a:lnTo>
                  <a:lnTo>
                    <a:pt x="185" y="259"/>
                  </a:lnTo>
                  <a:lnTo>
                    <a:pt x="186" y="259"/>
                  </a:lnTo>
                  <a:lnTo>
                    <a:pt x="187" y="259"/>
                  </a:lnTo>
                  <a:lnTo>
                    <a:pt x="187" y="257"/>
                  </a:lnTo>
                  <a:lnTo>
                    <a:pt x="188" y="257"/>
                  </a:lnTo>
                  <a:lnTo>
                    <a:pt x="189" y="256"/>
                  </a:lnTo>
                  <a:lnTo>
                    <a:pt x="191" y="256"/>
                  </a:lnTo>
                  <a:lnTo>
                    <a:pt x="191" y="255"/>
                  </a:lnTo>
                  <a:lnTo>
                    <a:pt x="192" y="255"/>
                  </a:lnTo>
                  <a:lnTo>
                    <a:pt x="192" y="254"/>
                  </a:lnTo>
                  <a:lnTo>
                    <a:pt x="192" y="255"/>
                  </a:lnTo>
                  <a:lnTo>
                    <a:pt x="193" y="255"/>
                  </a:lnTo>
                  <a:lnTo>
                    <a:pt x="193" y="256"/>
                  </a:lnTo>
                  <a:lnTo>
                    <a:pt x="192" y="256"/>
                  </a:lnTo>
                  <a:lnTo>
                    <a:pt x="191" y="257"/>
                  </a:lnTo>
                  <a:lnTo>
                    <a:pt x="191" y="259"/>
                  </a:lnTo>
                  <a:lnTo>
                    <a:pt x="192" y="259"/>
                  </a:lnTo>
                  <a:lnTo>
                    <a:pt x="192" y="257"/>
                  </a:lnTo>
                  <a:lnTo>
                    <a:pt x="193" y="257"/>
                  </a:lnTo>
                  <a:lnTo>
                    <a:pt x="194" y="257"/>
                  </a:lnTo>
                  <a:lnTo>
                    <a:pt x="195" y="257"/>
                  </a:lnTo>
                  <a:lnTo>
                    <a:pt x="195" y="256"/>
                  </a:lnTo>
                  <a:lnTo>
                    <a:pt x="197" y="256"/>
                  </a:lnTo>
                  <a:lnTo>
                    <a:pt x="198" y="255"/>
                  </a:lnTo>
                  <a:lnTo>
                    <a:pt x="199" y="254"/>
                  </a:lnTo>
                  <a:lnTo>
                    <a:pt x="201" y="253"/>
                  </a:lnTo>
                  <a:lnTo>
                    <a:pt x="203" y="253"/>
                  </a:lnTo>
                  <a:lnTo>
                    <a:pt x="203" y="251"/>
                  </a:lnTo>
                  <a:lnTo>
                    <a:pt x="204" y="251"/>
                  </a:lnTo>
                  <a:lnTo>
                    <a:pt x="205" y="251"/>
                  </a:lnTo>
                  <a:lnTo>
                    <a:pt x="206" y="250"/>
                  </a:lnTo>
                  <a:lnTo>
                    <a:pt x="206" y="251"/>
                  </a:lnTo>
                  <a:lnTo>
                    <a:pt x="205" y="251"/>
                  </a:lnTo>
                  <a:lnTo>
                    <a:pt x="205" y="253"/>
                  </a:lnTo>
                  <a:lnTo>
                    <a:pt x="204" y="251"/>
                  </a:lnTo>
                  <a:lnTo>
                    <a:pt x="204" y="253"/>
                  </a:lnTo>
                  <a:lnTo>
                    <a:pt x="205" y="253"/>
                  </a:lnTo>
                  <a:lnTo>
                    <a:pt x="204" y="253"/>
                  </a:lnTo>
                  <a:lnTo>
                    <a:pt x="203" y="254"/>
                  </a:lnTo>
                  <a:lnTo>
                    <a:pt x="204" y="254"/>
                  </a:lnTo>
                  <a:lnTo>
                    <a:pt x="203" y="254"/>
                  </a:lnTo>
                  <a:lnTo>
                    <a:pt x="203" y="255"/>
                  </a:lnTo>
                  <a:lnTo>
                    <a:pt x="201" y="254"/>
                  </a:lnTo>
                  <a:lnTo>
                    <a:pt x="201" y="255"/>
                  </a:lnTo>
                  <a:lnTo>
                    <a:pt x="201" y="256"/>
                  </a:lnTo>
                  <a:lnTo>
                    <a:pt x="203" y="256"/>
                  </a:lnTo>
                  <a:lnTo>
                    <a:pt x="201" y="256"/>
                  </a:lnTo>
                  <a:lnTo>
                    <a:pt x="200" y="256"/>
                  </a:lnTo>
                  <a:lnTo>
                    <a:pt x="200" y="255"/>
                  </a:lnTo>
                  <a:lnTo>
                    <a:pt x="200" y="256"/>
                  </a:lnTo>
                  <a:lnTo>
                    <a:pt x="200" y="257"/>
                  </a:lnTo>
                  <a:lnTo>
                    <a:pt x="200" y="256"/>
                  </a:lnTo>
                  <a:lnTo>
                    <a:pt x="199" y="256"/>
                  </a:lnTo>
                  <a:lnTo>
                    <a:pt x="200" y="257"/>
                  </a:lnTo>
                  <a:lnTo>
                    <a:pt x="200" y="259"/>
                  </a:lnTo>
                  <a:lnTo>
                    <a:pt x="200" y="260"/>
                  </a:lnTo>
                  <a:lnTo>
                    <a:pt x="200" y="261"/>
                  </a:lnTo>
                  <a:lnTo>
                    <a:pt x="200" y="260"/>
                  </a:lnTo>
                  <a:lnTo>
                    <a:pt x="199" y="260"/>
                  </a:lnTo>
                  <a:lnTo>
                    <a:pt x="199" y="259"/>
                  </a:lnTo>
                  <a:lnTo>
                    <a:pt x="199" y="260"/>
                  </a:lnTo>
                  <a:lnTo>
                    <a:pt x="199" y="261"/>
                  </a:lnTo>
                  <a:lnTo>
                    <a:pt x="199" y="262"/>
                  </a:lnTo>
                  <a:lnTo>
                    <a:pt x="199" y="261"/>
                  </a:lnTo>
                  <a:lnTo>
                    <a:pt x="198" y="261"/>
                  </a:lnTo>
                  <a:lnTo>
                    <a:pt x="198" y="262"/>
                  </a:lnTo>
                  <a:lnTo>
                    <a:pt x="198" y="263"/>
                  </a:lnTo>
                  <a:lnTo>
                    <a:pt x="197" y="263"/>
                  </a:lnTo>
                  <a:lnTo>
                    <a:pt x="197" y="262"/>
                  </a:lnTo>
                  <a:lnTo>
                    <a:pt x="197" y="261"/>
                  </a:lnTo>
                  <a:lnTo>
                    <a:pt x="197" y="262"/>
                  </a:lnTo>
                  <a:lnTo>
                    <a:pt x="195" y="261"/>
                  </a:lnTo>
                  <a:lnTo>
                    <a:pt x="195" y="262"/>
                  </a:lnTo>
                  <a:lnTo>
                    <a:pt x="195" y="263"/>
                  </a:lnTo>
                  <a:lnTo>
                    <a:pt x="195" y="265"/>
                  </a:lnTo>
                  <a:lnTo>
                    <a:pt x="195" y="266"/>
                  </a:lnTo>
                  <a:lnTo>
                    <a:pt x="194" y="266"/>
                  </a:lnTo>
                  <a:lnTo>
                    <a:pt x="194" y="265"/>
                  </a:lnTo>
                  <a:lnTo>
                    <a:pt x="194" y="263"/>
                  </a:lnTo>
                  <a:lnTo>
                    <a:pt x="194" y="265"/>
                  </a:lnTo>
                  <a:lnTo>
                    <a:pt x="194" y="263"/>
                  </a:lnTo>
                  <a:lnTo>
                    <a:pt x="193" y="263"/>
                  </a:lnTo>
                  <a:lnTo>
                    <a:pt x="193" y="265"/>
                  </a:lnTo>
                  <a:lnTo>
                    <a:pt x="193" y="263"/>
                  </a:lnTo>
                  <a:lnTo>
                    <a:pt x="192" y="263"/>
                  </a:lnTo>
                  <a:lnTo>
                    <a:pt x="192" y="265"/>
                  </a:lnTo>
                  <a:lnTo>
                    <a:pt x="193" y="265"/>
                  </a:lnTo>
                  <a:lnTo>
                    <a:pt x="193" y="266"/>
                  </a:lnTo>
                  <a:lnTo>
                    <a:pt x="194" y="266"/>
                  </a:lnTo>
                  <a:lnTo>
                    <a:pt x="195" y="267"/>
                  </a:lnTo>
                  <a:lnTo>
                    <a:pt x="197" y="267"/>
                  </a:lnTo>
                  <a:lnTo>
                    <a:pt x="199" y="267"/>
                  </a:lnTo>
                  <a:lnTo>
                    <a:pt x="198" y="267"/>
                  </a:lnTo>
                  <a:lnTo>
                    <a:pt x="197" y="268"/>
                  </a:lnTo>
                  <a:lnTo>
                    <a:pt x="198" y="268"/>
                  </a:lnTo>
                  <a:lnTo>
                    <a:pt x="199" y="269"/>
                  </a:lnTo>
                  <a:lnTo>
                    <a:pt x="198" y="269"/>
                  </a:lnTo>
                  <a:lnTo>
                    <a:pt x="198" y="268"/>
                  </a:lnTo>
                  <a:lnTo>
                    <a:pt x="198" y="269"/>
                  </a:lnTo>
                  <a:lnTo>
                    <a:pt x="197" y="269"/>
                  </a:lnTo>
                  <a:lnTo>
                    <a:pt x="197" y="268"/>
                  </a:lnTo>
                  <a:lnTo>
                    <a:pt x="197" y="269"/>
                  </a:lnTo>
                  <a:lnTo>
                    <a:pt x="195" y="269"/>
                  </a:lnTo>
                  <a:lnTo>
                    <a:pt x="195" y="268"/>
                  </a:lnTo>
                  <a:lnTo>
                    <a:pt x="194" y="268"/>
                  </a:lnTo>
                  <a:lnTo>
                    <a:pt x="194" y="269"/>
                  </a:lnTo>
                  <a:lnTo>
                    <a:pt x="195" y="269"/>
                  </a:lnTo>
                  <a:lnTo>
                    <a:pt x="195" y="271"/>
                  </a:lnTo>
                  <a:lnTo>
                    <a:pt x="194" y="271"/>
                  </a:lnTo>
                  <a:lnTo>
                    <a:pt x="195" y="272"/>
                  </a:lnTo>
                  <a:lnTo>
                    <a:pt x="194" y="271"/>
                  </a:lnTo>
                  <a:lnTo>
                    <a:pt x="193" y="269"/>
                  </a:lnTo>
                  <a:lnTo>
                    <a:pt x="193" y="268"/>
                  </a:lnTo>
                  <a:lnTo>
                    <a:pt x="192" y="268"/>
                  </a:lnTo>
                  <a:lnTo>
                    <a:pt x="192" y="269"/>
                  </a:lnTo>
                  <a:lnTo>
                    <a:pt x="191" y="269"/>
                  </a:lnTo>
                  <a:lnTo>
                    <a:pt x="192" y="271"/>
                  </a:lnTo>
                  <a:lnTo>
                    <a:pt x="192" y="272"/>
                  </a:lnTo>
                  <a:lnTo>
                    <a:pt x="193" y="272"/>
                  </a:lnTo>
                  <a:lnTo>
                    <a:pt x="194" y="272"/>
                  </a:lnTo>
                  <a:lnTo>
                    <a:pt x="194" y="273"/>
                  </a:lnTo>
                  <a:lnTo>
                    <a:pt x="195" y="274"/>
                  </a:lnTo>
                  <a:lnTo>
                    <a:pt x="194" y="274"/>
                  </a:lnTo>
                  <a:lnTo>
                    <a:pt x="193" y="274"/>
                  </a:lnTo>
                  <a:lnTo>
                    <a:pt x="193" y="273"/>
                  </a:lnTo>
                  <a:lnTo>
                    <a:pt x="193" y="272"/>
                  </a:lnTo>
                  <a:lnTo>
                    <a:pt x="192" y="272"/>
                  </a:lnTo>
                  <a:lnTo>
                    <a:pt x="192" y="273"/>
                  </a:lnTo>
                  <a:lnTo>
                    <a:pt x="193" y="274"/>
                  </a:lnTo>
                  <a:lnTo>
                    <a:pt x="192" y="274"/>
                  </a:lnTo>
                  <a:lnTo>
                    <a:pt x="192" y="273"/>
                  </a:lnTo>
                  <a:lnTo>
                    <a:pt x="192" y="274"/>
                  </a:lnTo>
                  <a:lnTo>
                    <a:pt x="191" y="274"/>
                  </a:lnTo>
                  <a:lnTo>
                    <a:pt x="191" y="273"/>
                  </a:lnTo>
                  <a:lnTo>
                    <a:pt x="191" y="272"/>
                  </a:lnTo>
                  <a:lnTo>
                    <a:pt x="189" y="272"/>
                  </a:lnTo>
                  <a:lnTo>
                    <a:pt x="191" y="271"/>
                  </a:lnTo>
                  <a:lnTo>
                    <a:pt x="189" y="271"/>
                  </a:lnTo>
                  <a:lnTo>
                    <a:pt x="188" y="269"/>
                  </a:lnTo>
                  <a:lnTo>
                    <a:pt x="188" y="271"/>
                  </a:lnTo>
                  <a:lnTo>
                    <a:pt x="188" y="272"/>
                  </a:lnTo>
                  <a:lnTo>
                    <a:pt x="189" y="273"/>
                  </a:lnTo>
                  <a:lnTo>
                    <a:pt x="189" y="274"/>
                  </a:lnTo>
                  <a:lnTo>
                    <a:pt x="189" y="275"/>
                  </a:lnTo>
                  <a:lnTo>
                    <a:pt x="188" y="275"/>
                  </a:lnTo>
                  <a:lnTo>
                    <a:pt x="188" y="274"/>
                  </a:lnTo>
                  <a:lnTo>
                    <a:pt x="188" y="273"/>
                  </a:lnTo>
                  <a:lnTo>
                    <a:pt x="187" y="273"/>
                  </a:lnTo>
                  <a:lnTo>
                    <a:pt x="187" y="274"/>
                  </a:lnTo>
                  <a:lnTo>
                    <a:pt x="187" y="275"/>
                  </a:lnTo>
                  <a:lnTo>
                    <a:pt x="187" y="277"/>
                  </a:lnTo>
                  <a:lnTo>
                    <a:pt x="186" y="277"/>
                  </a:lnTo>
                  <a:lnTo>
                    <a:pt x="186" y="275"/>
                  </a:lnTo>
                  <a:lnTo>
                    <a:pt x="186" y="274"/>
                  </a:lnTo>
                  <a:lnTo>
                    <a:pt x="186" y="272"/>
                  </a:lnTo>
                  <a:lnTo>
                    <a:pt x="186" y="274"/>
                  </a:lnTo>
                  <a:lnTo>
                    <a:pt x="186" y="273"/>
                  </a:lnTo>
                  <a:lnTo>
                    <a:pt x="186" y="272"/>
                  </a:lnTo>
                  <a:lnTo>
                    <a:pt x="185" y="272"/>
                  </a:lnTo>
                  <a:lnTo>
                    <a:pt x="185" y="271"/>
                  </a:lnTo>
                  <a:lnTo>
                    <a:pt x="185" y="269"/>
                  </a:lnTo>
                  <a:lnTo>
                    <a:pt x="185" y="271"/>
                  </a:lnTo>
                  <a:lnTo>
                    <a:pt x="185" y="272"/>
                  </a:lnTo>
                  <a:lnTo>
                    <a:pt x="185" y="273"/>
                  </a:lnTo>
                  <a:lnTo>
                    <a:pt x="185" y="274"/>
                  </a:lnTo>
                  <a:lnTo>
                    <a:pt x="186" y="275"/>
                  </a:lnTo>
                  <a:lnTo>
                    <a:pt x="186" y="277"/>
                  </a:lnTo>
                  <a:lnTo>
                    <a:pt x="185" y="277"/>
                  </a:lnTo>
                  <a:lnTo>
                    <a:pt x="185" y="275"/>
                  </a:lnTo>
                  <a:lnTo>
                    <a:pt x="185" y="274"/>
                  </a:lnTo>
                  <a:lnTo>
                    <a:pt x="183" y="274"/>
                  </a:lnTo>
                  <a:lnTo>
                    <a:pt x="185" y="274"/>
                  </a:lnTo>
                  <a:lnTo>
                    <a:pt x="183" y="273"/>
                  </a:lnTo>
                  <a:lnTo>
                    <a:pt x="183" y="274"/>
                  </a:lnTo>
                  <a:lnTo>
                    <a:pt x="183" y="275"/>
                  </a:lnTo>
                  <a:lnTo>
                    <a:pt x="183" y="274"/>
                  </a:lnTo>
                  <a:lnTo>
                    <a:pt x="183" y="273"/>
                  </a:lnTo>
                  <a:lnTo>
                    <a:pt x="182" y="273"/>
                  </a:lnTo>
                  <a:lnTo>
                    <a:pt x="182" y="272"/>
                  </a:lnTo>
                  <a:lnTo>
                    <a:pt x="182" y="273"/>
                  </a:lnTo>
                  <a:lnTo>
                    <a:pt x="182" y="274"/>
                  </a:lnTo>
                  <a:lnTo>
                    <a:pt x="182" y="275"/>
                  </a:lnTo>
                  <a:lnTo>
                    <a:pt x="182" y="277"/>
                  </a:lnTo>
                  <a:lnTo>
                    <a:pt x="183" y="278"/>
                  </a:lnTo>
                  <a:lnTo>
                    <a:pt x="182" y="278"/>
                  </a:lnTo>
                  <a:lnTo>
                    <a:pt x="182" y="279"/>
                  </a:lnTo>
                  <a:lnTo>
                    <a:pt x="181" y="279"/>
                  </a:lnTo>
                  <a:lnTo>
                    <a:pt x="181" y="278"/>
                  </a:lnTo>
                  <a:lnTo>
                    <a:pt x="180" y="277"/>
                  </a:lnTo>
                  <a:lnTo>
                    <a:pt x="180" y="274"/>
                  </a:lnTo>
                  <a:lnTo>
                    <a:pt x="180" y="273"/>
                  </a:lnTo>
                  <a:lnTo>
                    <a:pt x="180" y="272"/>
                  </a:lnTo>
                  <a:lnTo>
                    <a:pt x="180" y="273"/>
                  </a:lnTo>
                  <a:lnTo>
                    <a:pt x="180" y="274"/>
                  </a:lnTo>
                  <a:lnTo>
                    <a:pt x="180" y="275"/>
                  </a:lnTo>
                  <a:lnTo>
                    <a:pt x="180" y="277"/>
                  </a:lnTo>
                  <a:lnTo>
                    <a:pt x="180" y="278"/>
                  </a:lnTo>
                  <a:lnTo>
                    <a:pt x="181" y="278"/>
                  </a:lnTo>
                  <a:lnTo>
                    <a:pt x="181" y="279"/>
                  </a:lnTo>
                  <a:lnTo>
                    <a:pt x="181" y="280"/>
                  </a:lnTo>
                  <a:lnTo>
                    <a:pt x="181" y="281"/>
                  </a:lnTo>
                  <a:lnTo>
                    <a:pt x="181" y="283"/>
                  </a:lnTo>
                  <a:lnTo>
                    <a:pt x="182" y="284"/>
                  </a:lnTo>
                  <a:lnTo>
                    <a:pt x="183" y="283"/>
                  </a:lnTo>
                  <a:lnTo>
                    <a:pt x="185" y="283"/>
                  </a:lnTo>
                  <a:lnTo>
                    <a:pt x="186" y="281"/>
                  </a:lnTo>
                  <a:lnTo>
                    <a:pt x="187" y="281"/>
                  </a:lnTo>
                  <a:lnTo>
                    <a:pt x="188" y="281"/>
                  </a:lnTo>
                  <a:lnTo>
                    <a:pt x="188" y="283"/>
                  </a:lnTo>
                  <a:lnTo>
                    <a:pt x="187" y="283"/>
                  </a:lnTo>
                  <a:lnTo>
                    <a:pt x="188" y="283"/>
                  </a:lnTo>
                  <a:lnTo>
                    <a:pt x="187" y="284"/>
                  </a:lnTo>
                  <a:lnTo>
                    <a:pt x="187" y="283"/>
                  </a:lnTo>
                  <a:lnTo>
                    <a:pt x="186" y="283"/>
                  </a:lnTo>
                  <a:lnTo>
                    <a:pt x="187" y="284"/>
                  </a:lnTo>
                  <a:lnTo>
                    <a:pt x="186" y="285"/>
                  </a:lnTo>
                  <a:lnTo>
                    <a:pt x="186" y="284"/>
                  </a:lnTo>
                  <a:lnTo>
                    <a:pt x="186" y="285"/>
                  </a:lnTo>
                  <a:lnTo>
                    <a:pt x="186" y="286"/>
                  </a:lnTo>
                  <a:lnTo>
                    <a:pt x="185" y="286"/>
                  </a:lnTo>
                  <a:lnTo>
                    <a:pt x="185" y="287"/>
                  </a:lnTo>
                  <a:lnTo>
                    <a:pt x="183" y="287"/>
                  </a:lnTo>
                  <a:lnTo>
                    <a:pt x="185" y="289"/>
                  </a:lnTo>
                  <a:lnTo>
                    <a:pt x="183" y="289"/>
                  </a:lnTo>
                  <a:lnTo>
                    <a:pt x="182" y="289"/>
                  </a:lnTo>
                  <a:lnTo>
                    <a:pt x="182" y="287"/>
                  </a:lnTo>
                  <a:lnTo>
                    <a:pt x="181" y="287"/>
                  </a:lnTo>
                  <a:lnTo>
                    <a:pt x="182" y="289"/>
                  </a:lnTo>
                  <a:lnTo>
                    <a:pt x="182" y="290"/>
                  </a:lnTo>
                  <a:lnTo>
                    <a:pt x="181" y="290"/>
                  </a:lnTo>
                  <a:lnTo>
                    <a:pt x="180" y="291"/>
                  </a:lnTo>
                  <a:lnTo>
                    <a:pt x="180" y="290"/>
                  </a:lnTo>
                  <a:lnTo>
                    <a:pt x="180" y="291"/>
                  </a:lnTo>
                  <a:lnTo>
                    <a:pt x="179" y="291"/>
                  </a:lnTo>
                  <a:lnTo>
                    <a:pt x="179" y="290"/>
                  </a:lnTo>
                  <a:lnTo>
                    <a:pt x="179" y="291"/>
                  </a:lnTo>
                  <a:lnTo>
                    <a:pt x="177" y="291"/>
                  </a:lnTo>
                  <a:lnTo>
                    <a:pt x="177" y="290"/>
                  </a:lnTo>
                  <a:lnTo>
                    <a:pt x="176" y="290"/>
                  </a:lnTo>
                  <a:lnTo>
                    <a:pt x="175" y="290"/>
                  </a:lnTo>
                  <a:lnTo>
                    <a:pt x="174" y="290"/>
                  </a:lnTo>
                  <a:lnTo>
                    <a:pt x="174" y="291"/>
                  </a:lnTo>
                  <a:lnTo>
                    <a:pt x="173" y="291"/>
                  </a:lnTo>
                  <a:lnTo>
                    <a:pt x="171" y="290"/>
                  </a:lnTo>
                  <a:lnTo>
                    <a:pt x="171" y="291"/>
                  </a:lnTo>
                  <a:lnTo>
                    <a:pt x="170" y="291"/>
                  </a:lnTo>
                  <a:lnTo>
                    <a:pt x="169" y="291"/>
                  </a:lnTo>
                  <a:lnTo>
                    <a:pt x="169" y="292"/>
                  </a:lnTo>
                  <a:lnTo>
                    <a:pt x="168" y="292"/>
                  </a:lnTo>
                  <a:lnTo>
                    <a:pt x="168" y="293"/>
                  </a:lnTo>
                  <a:lnTo>
                    <a:pt x="167" y="293"/>
                  </a:lnTo>
                  <a:lnTo>
                    <a:pt x="168" y="293"/>
                  </a:lnTo>
                  <a:lnTo>
                    <a:pt x="167" y="293"/>
                  </a:lnTo>
                  <a:lnTo>
                    <a:pt x="167" y="295"/>
                  </a:lnTo>
                  <a:lnTo>
                    <a:pt x="167" y="296"/>
                  </a:lnTo>
                  <a:lnTo>
                    <a:pt x="167" y="295"/>
                  </a:lnTo>
                  <a:lnTo>
                    <a:pt x="165" y="295"/>
                  </a:lnTo>
                  <a:lnTo>
                    <a:pt x="165" y="296"/>
                  </a:lnTo>
                  <a:lnTo>
                    <a:pt x="165" y="297"/>
                  </a:lnTo>
                  <a:lnTo>
                    <a:pt x="164" y="296"/>
                  </a:lnTo>
                  <a:lnTo>
                    <a:pt x="164" y="297"/>
                  </a:lnTo>
                  <a:lnTo>
                    <a:pt x="165" y="297"/>
                  </a:lnTo>
                  <a:lnTo>
                    <a:pt x="165" y="298"/>
                  </a:lnTo>
                  <a:lnTo>
                    <a:pt x="164" y="297"/>
                  </a:lnTo>
                  <a:lnTo>
                    <a:pt x="164" y="296"/>
                  </a:lnTo>
                  <a:lnTo>
                    <a:pt x="164" y="297"/>
                  </a:lnTo>
                  <a:lnTo>
                    <a:pt x="164" y="298"/>
                  </a:lnTo>
                  <a:lnTo>
                    <a:pt x="164" y="299"/>
                  </a:lnTo>
                  <a:lnTo>
                    <a:pt x="164" y="301"/>
                  </a:lnTo>
                  <a:lnTo>
                    <a:pt x="165" y="301"/>
                  </a:lnTo>
                  <a:lnTo>
                    <a:pt x="165" y="302"/>
                  </a:lnTo>
                  <a:lnTo>
                    <a:pt x="165" y="303"/>
                  </a:lnTo>
                  <a:lnTo>
                    <a:pt x="167" y="303"/>
                  </a:lnTo>
                  <a:lnTo>
                    <a:pt x="167" y="304"/>
                  </a:lnTo>
                  <a:lnTo>
                    <a:pt x="167" y="305"/>
                  </a:lnTo>
                  <a:lnTo>
                    <a:pt x="167" y="307"/>
                  </a:lnTo>
                  <a:lnTo>
                    <a:pt x="165" y="307"/>
                  </a:lnTo>
                  <a:lnTo>
                    <a:pt x="165" y="308"/>
                  </a:lnTo>
                  <a:lnTo>
                    <a:pt x="165" y="307"/>
                  </a:lnTo>
                  <a:lnTo>
                    <a:pt x="164" y="307"/>
                  </a:lnTo>
                  <a:lnTo>
                    <a:pt x="164" y="305"/>
                  </a:lnTo>
                  <a:lnTo>
                    <a:pt x="163" y="305"/>
                  </a:lnTo>
                  <a:lnTo>
                    <a:pt x="162" y="307"/>
                  </a:lnTo>
                  <a:lnTo>
                    <a:pt x="161" y="307"/>
                  </a:lnTo>
                  <a:lnTo>
                    <a:pt x="161" y="308"/>
                  </a:lnTo>
                  <a:lnTo>
                    <a:pt x="159" y="308"/>
                  </a:lnTo>
                  <a:lnTo>
                    <a:pt x="159" y="309"/>
                  </a:lnTo>
                  <a:lnTo>
                    <a:pt x="158" y="309"/>
                  </a:lnTo>
                  <a:lnTo>
                    <a:pt x="158" y="310"/>
                  </a:lnTo>
                  <a:lnTo>
                    <a:pt x="157" y="310"/>
                  </a:lnTo>
                  <a:lnTo>
                    <a:pt x="157" y="309"/>
                  </a:lnTo>
                  <a:lnTo>
                    <a:pt x="157" y="308"/>
                  </a:lnTo>
                  <a:lnTo>
                    <a:pt x="157" y="307"/>
                  </a:lnTo>
                  <a:lnTo>
                    <a:pt x="157" y="305"/>
                  </a:lnTo>
                  <a:lnTo>
                    <a:pt x="157" y="304"/>
                  </a:lnTo>
                  <a:lnTo>
                    <a:pt x="158" y="304"/>
                  </a:lnTo>
                  <a:lnTo>
                    <a:pt x="157" y="303"/>
                  </a:lnTo>
                  <a:lnTo>
                    <a:pt x="157" y="302"/>
                  </a:lnTo>
                  <a:lnTo>
                    <a:pt x="156" y="302"/>
                  </a:lnTo>
                  <a:lnTo>
                    <a:pt x="155" y="302"/>
                  </a:lnTo>
                  <a:lnTo>
                    <a:pt x="153" y="302"/>
                  </a:lnTo>
                  <a:lnTo>
                    <a:pt x="152" y="302"/>
                  </a:lnTo>
                  <a:lnTo>
                    <a:pt x="151" y="302"/>
                  </a:lnTo>
                  <a:lnTo>
                    <a:pt x="151" y="301"/>
                  </a:lnTo>
                  <a:lnTo>
                    <a:pt x="150" y="301"/>
                  </a:lnTo>
                  <a:lnTo>
                    <a:pt x="150" y="299"/>
                  </a:lnTo>
                  <a:lnTo>
                    <a:pt x="148" y="299"/>
                  </a:lnTo>
                  <a:lnTo>
                    <a:pt x="147" y="299"/>
                  </a:lnTo>
                  <a:lnTo>
                    <a:pt x="147" y="301"/>
                  </a:lnTo>
                  <a:lnTo>
                    <a:pt x="146" y="299"/>
                  </a:lnTo>
                  <a:lnTo>
                    <a:pt x="146" y="298"/>
                  </a:lnTo>
                  <a:lnTo>
                    <a:pt x="146" y="299"/>
                  </a:lnTo>
                  <a:lnTo>
                    <a:pt x="146" y="301"/>
                  </a:lnTo>
                  <a:lnTo>
                    <a:pt x="145" y="301"/>
                  </a:lnTo>
                  <a:lnTo>
                    <a:pt x="144" y="301"/>
                  </a:lnTo>
                  <a:lnTo>
                    <a:pt x="144" y="302"/>
                  </a:lnTo>
                  <a:lnTo>
                    <a:pt x="142" y="302"/>
                  </a:lnTo>
                  <a:lnTo>
                    <a:pt x="142" y="303"/>
                  </a:lnTo>
                  <a:lnTo>
                    <a:pt x="142" y="301"/>
                  </a:lnTo>
                  <a:lnTo>
                    <a:pt x="141" y="302"/>
                  </a:lnTo>
                  <a:lnTo>
                    <a:pt x="141" y="303"/>
                  </a:lnTo>
                  <a:lnTo>
                    <a:pt x="140" y="303"/>
                  </a:lnTo>
                  <a:lnTo>
                    <a:pt x="140" y="302"/>
                  </a:lnTo>
                  <a:lnTo>
                    <a:pt x="140" y="303"/>
                  </a:lnTo>
                  <a:lnTo>
                    <a:pt x="139" y="303"/>
                  </a:lnTo>
                  <a:lnTo>
                    <a:pt x="138" y="303"/>
                  </a:lnTo>
                  <a:lnTo>
                    <a:pt x="136" y="302"/>
                  </a:lnTo>
                  <a:lnTo>
                    <a:pt x="135" y="303"/>
                  </a:lnTo>
                  <a:lnTo>
                    <a:pt x="134" y="304"/>
                  </a:lnTo>
                  <a:lnTo>
                    <a:pt x="133" y="304"/>
                  </a:lnTo>
                  <a:lnTo>
                    <a:pt x="134" y="305"/>
                  </a:lnTo>
                  <a:lnTo>
                    <a:pt x="133" y="305"/>
                  </a:lnTo>
                  <a:lnTo>
                    <a:pt x="133" y="307"/>
                  </a:lnTo>
                  <a:lnTo>
                    <a:pt x="132" y="307"/>
                  </a:lnTo>
                  <a:lnTo>
                    <a:pt x="133" y="308"/>
                  </a:lnTo>
                  <a:lnTo>
                    <a:pt x="132" y="307"/>
                  </a:lnTo>
                  <a:lnTo>
                    <a:pt x="130" y="307"/>
                  </a:lnTo>
                  <a:lnTo>
                    <a:pt x="129" y="305"/>
                  </a:lnTo>
                  <a:lnTo>
                    <a:pt x="128" y="305"/>
                  </a:lnTo>
                  <a:lnTo>
                    <a:pt x="127" y="305"/>
                  </a:lnTo>
                  <a:lnTo>
                    <a:pt x="126" y="305"/>
                  </a:lnTo>
                  <a:lnTo>
                    <a:pt x="124" y="305"/>
                  </a:lnTo>
                  <a:lnTo>
                    <a:pt x="124" y="304"/>
                  </a:lnTo>
                  <a:lnTo>
                    <a:pt x="124" y="303"/>
                  </a:lnTo>
                  <a:lnTo>
                    <a:pt x="123" y="304"/>
                  </a:lnTo>
                  <a:lnTo>
                    <a:pt x="123" y="305"/>
                  </a:lnTo>
                  <a:lnTo>
                    <a:pt x="123" y="307"/>
                  </a:lnTo>
                  <a:lnTo>
                    <a:pt x="123" y="308"/>
                  </a:lnTo>
                  <a:lnTo>
                    <a:pt x="122" y="308"/>
                  </a:lnTo>
                  <a:lnTo>
                    <a:pt x="122" y="309"/>
                  </a:lnTo>
                  <a:lnTo>
                    <a:pt x="122" y="310"/>
                  </a:lnTo>
                  <a:lnTo>
                    <a:pt x="122" y="311"/>
                  </a:lnTo>
                  <a:lnTo>
                    <a:pt x="122" y="313"/>
                  </a:lnTo>
                  <a:lnTo>
                    <a:pt x="121" y="313"/>
                  </a:lnTo>
                  <a:lnTo>
                    <a:pt x="121" y="314"/>
                  </a:lnTo>
                  <a:lnTo>
                    <a:pt x="120" y="314"/>
                  </a:lnTo>
                  <a:lnTo>
                    <a:pt x="120" y="315"/>
                  </a:lnTo>
                  <a:lnTo>
                    <a:pt x="118" y="315"/>
                  </a:lnTo>
                  <a:lnTo>
                    <a:pt x="118" y="314"/>
                  </a:lnTo>
                  <a:lnTo>
                    <a:pt x="118" y="315"/>
                  </a:lnTo>
                  <a:lnTo>
                    <a:pt x="118" y="314"/>
                  </a:lnTo>
                  <a:lnTo>
                    <a:pt x="117" y="314"/>
                  </a:lnTo>
                  <a:lnTo>
                    <a:pt x="116" y="314"/>
                  </a:lnTo>
                  <a:lnTo>
                    <a:pt x="116" y="313"/>
                  </a:lnTo>
                  <a:lnTo>
                    <a:pt x="115" y="313"/>
                  </a:lnTo>
                  <a:lnTo>
                    <a:pt x="115" y="314"/>
                  </a:lnTo>
                  <a:lnTo>
                    <a:pt x="114" y="314"/>
                  </a:lnTo>
                  <a:lnTo>
                    <a:pt x="114" y="315"/>
                  </a:lnTo>
                  <a:lnTo>
                    <a:pt x="114" y="316"/>
                  </a:lnTo>
                  <a:lnTo>
                    <a:pt x="114" y="317"/>
                  </a:lnTo>
                  <a:lnTo>
                    <a:pt x="112" y="317"/>
                  </a:lnTo>
                  <a:lnTo>
                    <a:pt x="112" y="319"/>
                  </a:lnTo>
                  <a:lnTo>
                    <a:pt x="112" y="320"/>
                  </a:lnTo>
                  <a:lnTo>
                    <a:pt x="112" y="322"/>
                  </a:lnTo>
                  <a:lnTo>
                    <a:pt x="112" y="327"/>
                  </a:lnTo>
                  <a:lnTo>
                    <a:pt x="112" y="331"/>
                  </a:lnTo>
                  <a:lnTo>
                    <a:pt x="112" y="334"/>
                  </a:lnTo>
                  <a:lnTo>
                    <a:pt x="112" y="336"/>
                  </a:lnTo>
                  <a:lnTo>
                    <a:pt x="112" y="337"/>
                  </a:lnTo>
                  <a:lnTo>
                    <a:pt x="111" y="338"/>
                  </a:lnTo>
                  <a:lnTo>
                    <a:pt x="110" y="338"/>
                  </a:lnTo>
                  <a:lnTo>
                    <a:pt x="103" y="337"/>
                  </a:lnTo>
                  <a:lnTo>
                    <a:pt x="103" y="331"/>
                  </a:lnTo>
                  <a:lnTo>
                    <a:pt x="103" y="325"/>
                  </a:lnTo>
                  <a:lnTo>
                    <a:pt x="103" y="317"/>
                  </a:lnTo>
                  <a:lnTo>
                    <a:pt x="102" y="316"/>
                  </a:lnTo>
                  <a:lnTo>
                    <a:pt x="102" y="315"/>
                  </a:lnTo>
                  <a:lnTo>
                    <a:pt x="100" y="315"/>
                  </a:lnTo>
                  <a:lnTo>
                    <a:pt x="99" y="315"/>
                  </a:lnTo>
                  <a:lnTo>
                    <a:pt x="99" y="314"/>
                  </a:lnTo>
                  <a:lnTo>
                    <a:pt x="98" y="314"/>
                  </a:lnTo>
                  <a:lnTo>
                    <a:pt x="98" y="313"/>
                  </a:lnTo>
                  <a:lnTo>
                    <a:pt x="99" y="313"/>
                  </a:lnTo>
                  <a:lnTo>
                    <a:pt x="99" y="311"/>
                  </a:lnTo>
                  <a:lnTo>
                    <a:pt x="99" y="310"/>
                  </a:lnTo>
                  <a:lnTo>
                    <a:pt x="99" y="311"/>
                  </a:lnTo>
                  <a:lnTo>
                    <a:pt x="99" y="310"/>
                  </a:lnTo>
                  <a:lnTo>
                    <a:pt x="100" y="310"/>
                  </a:lnTo>
                  <a:lnTo>
                    <a:pt x="99" y="310"/>
                  </a:lnTo>
                  <a:lnTo>
                    <a:pt x="99" y="309"/>
                  </a:lnTo>
                  <a:lnTo>
                    <a:pt x="99" y="308"/>
                  </a:lnTo>
                  <a:lnTo>
                    <a:pt x="98" y="308"/>
                  </a:lnTo>
                  <a:lnTo>
                    <a:pt x="97" y="308"/>
                  </a:lnTo>
                  <a:lnTo>
                    <a:pt x="96" y="308"/>
                  </a:lnTo>
                  <a:lnTo>
                    <a:pt x="96" y="309"/>
                  </a:lnTo>
                  <a:lnTo>
                    <a:pt x="94" y="309"/>
                  </a:lnTo>
                  <a:lnTo>
                    <a:pt x="94" y="308"/>
                  </a:lnTo>
                  <a:lnTo>
                    <a:pt x="94" y="309"/>
                  </a:lnTo>
                  <a:lnTo>
                    <a:pt x="93" y="309"/>
                  </a:lnTo>
                  <a:lnTo>
                    <a:pt x="92" y="310"/>
                  </a:lnTo>
                  <a:lnTo>
                    <a:pt x="91" y="311"/>
                  </a:lnTo>
                  <a:lnTo>
                    <a:pt x="91" y="313"/>
                  </a:lnTo>
                  <a:lnTo>
                    <a:pt x="91" y="311"/>
                  </a:lnTo>
                  <a:lnTo>
                    <a:pt x="89" y="313"/>
                  </a:lnTo>
                  <a:lnTo>
                    <a:pt x="89" y="314"/>
                  </a:lnTo>
                  <a:lnTo>
                    <a:pt x="88" y="314"/>
                  </a:lnTo>
                  <a:lnTo>
                    <a:pt x="87" y="314"/>
                  </a:lnTo>
                  <a:lnTo>
                    <a:pt x="86" y="314"/>
                  </a:lnTo>
                  <a:lnTo>
                    <a:pt x="85" y="313"/>
                  </a:lnTo>
                  <a:lnTo>
                    <a:pt x="83" y="311"/>
                  </a:lnTo>
                  <a:lnTo>
                    <a:pt x="83" y="313"/>
                  </a:lnTo>
                  <a:lnTo>
                    <a:pt x="82" y="313"/>
                  </a:lnTo>
                  <a:lnTo>
                    <a:pt x="81" y="313"/>
                  </a:lnTo>
                  <a:lnTo>
                    <a:pt x="81" y="311"/>
                  </a:lnTo>
                  <a:lnTo>
                    <a:pt x="80" y="311"/>
                  </a:lnTo>
                  <a:lnTo>
                    <a:pt x="80" y="310"/>
                  </a:lnTo>
                  <a:lnTo>
                    <a:pt x="79" y="310"/>
                  </a:lnTo>
                  <a:lnTo>
                    <a:pt x="79" y="309"/>
                  </a:lnTo>
                  <a:lnTo>
                    <a:pt x="77" y="309"/>
                  </a:lnTo>
                  <a:lnTo>
                    <a:pt x="77" y="308"/>
                  </a:lnTo>
                  <a:lnTo>
                    <a:pt x="76" y="307"/>
                  </a:lnTo>
                  <a:lnTo>
                    <a:pt x="76" y="308"/>
                  </a:lnTo>
                  <a:lnTo>
                    <a:pt x="75" y="308"/>
                  </a:lnTo>
                  <a:lnTo>
                    <a:pt x="75" y="307"/>
                  </a:lnTo>
                  <a:lnTo>
                    <a:pt x="75" y="308"/>
                  </a:lnTo>
                  <a:lnTo>
                    <a:pt x="74" y="308"/>
                  </a:lnTo>
                  <a:lnTo>
                    <a:pt x="73" y="308"/>
                  </a:lnTo>
                  <a:lnTo>
                    <a:pt x="71" y="308"/>
                  </a:lnTo>
                  <a:lnTo>
                    <a:pt x="70" y="309"/>
                  </a:lnTo>
                  <a:lnTo>
                    <a:pt x="69" y="310"/>
                  </a:lnTo>
                  <a:lnTo>
                    <a:pt x="69" y="311"/>
                  </a:lnTo>
                  <a:lnTo>
                    <a:pt x="68" y="311"/>
                  </a:lnTo>
                  <a:lnTo>
                    <a:pt x="67" y="311"/>
                  </a:lnTo>
                  <a:lnTo>
                    <a:pt x="65" y="311"/>
                  </a:lnTo>
                  <a:lnTo>
                    <a:pt x="65" y="310"/>
                  </a:lnTo>
                  <a:lnTo>
                    <a:pt x="65" y="309"/>
                  </a:lnTo>
                  <a:lnTo>
                    <a:pt x="65" y="308"/>
                  </a:lnTo>
                  <a:lnTo>
                    <a:pt x="65" y="309"/>
                  </a:lnTo>
                  <a:lnTo>
                    <a:pt x="65" y="310"/>
                  </a:lnTo>
                  <a:lnTo>
                    <a:pt x="64" y="310"/>
                  </a:lnTo>
                  <a:lnTo>
                    <a:pt x="64" y="309"/>
                  </a:lnTo>
                  <a:lnTo>
                    <a:pt x="64" y="308"/>
                  </a:lnTo>
                  <a:lnTo>
                    <a:pt x="64" y="309"/>
                  </a:lnTo>
                  <a:lnTo>
                    <a:pt x="64" y="310"/>
                  </a:lnTo>
                  <a:lnTo>
                    <a:pt x="63" y="310"/>
                  </a:lnTo>
                  <a:lnTo>
                    <a:pt x="63" y="311"/>
                  </a:lnTo>
                  <a:lnTo>
                    <a:pt x="63" y="310"/>
                  </a:lnTo>
                  <a:lnTo>
                    <a:pt x="63" y="309"/>
                  </a:lnTo>
                  <a:lnTo>
                    <a:pt x="62" y="310"/>
                  </a:lnTo>
                  <a:lnTo>
                    <a:pt x="62" y="311"/>
                  </a:lnTo>
                  <a:lnTo>
                    <a:pt x="62" y="310"/>
                  </a:lnTo>
                  <a:lnTo>
                    <a:pt x="62" y="309"/>
                  </a:lnTo>
                  <a:lnTo>
                    <a:pt x="61" y="309"/>
                  </a:lnTo>
                  <a:lnTo>
                    <a:pt x="61" y="310"/>
                  </a:lnTo>
                  <a:lnTo>
                    <a:pt x="59" y="310"/>
                  </a:lnTo>
                  <a:lnTo>
                    <a:pt x="58" y="310"/>
                  </a:lnTo>
                  <a:lnTo>
                    <a:pt x="58" y="311"/>
                  </a:lnTo>
                  <a:lnTo>
                    <a:pt x="58" y="310"/>
                  </a:lnTo>
                  <a:lnTo>
                    <a:pt x="58" y="311"/>
                  </a:lnTo>
                  <a:lnTo>
                    <a:pt x="58" y="313"/>
                  </a:lnTo>
                  <a:lnTo>
                    <a:pt x="57" y="313"/>
                  </a:lnTo>
                  <a:lnTo>
                    <a:pt x="57" y="314"/>
                  </a:lnTo>
                  <a:lnTo>
                    <a:pt x="56" y="314"/>
                  </a:lnTo>
                  <a:lnTo>
                    <a:pt x="56" y="315"/>
                  </a:lnTo>
                  <a:lnTo>
                    <a:pt x="56" y="316"/>
                  </a:lnTo>
                  <a:lnTo>
                    <a:pt x="55" y="316"/>
                  </a:lnTo>
                  <a:lnTo>
                    <a:pt x="55" y="317"/>
                  </a:lnTo>
                  <a:lnTo>
                    <a:pt x="55" y="319"/>
                  </a:lnTo>
                  <a:lnTo>
                    <a:pt x="53" y="319"/>
                  </a:lnTo>
                  <a:lnTo>
                    <a:pt x="53" y="320"/>
                  </a:lnTo>
                  <a:lnTo>
                    <a:pt x="52" y="320"/>
                  </a:lnTo>
                  <a:lnTo>
                    <a:pt x="52" y="319"/>
                  </a:lnTo>
                  <a:lnTo>
                    <a:pt x="52" y="317"/>
                  </a:lnTo>
                  <a:lnTo>
                    <a:pt x="51" y="319"/>
                  </a:lnTo>
                  <a:lnTo>
                    <a:pt x="51" y="320"/>
                  </a:lnTo>
                  <a:lnTo>
                    <a:pt x="51" y="321"/>
                  </a:lnTo>
                  <a:lnTo>
                    <a:pt x="50" y="321"/>
                  </a:lnTo>
                  <a:lnTo>
                    <a:pt x="49" y="321"/>
                  </a:lnTo>
                  <a:lnTo>
                    <a:pt x="49" y="320"/>
                  </a:lnTo>
                  <a:lnTo>
                    <a:pt x="49" y="321"/>
                  </a:lnTo>
                  <a:lnTo>
                    <a:pt x="49" y="320"/>
                  </a:lnTo>
                  <a:lnTo>
                    <a:pt x="47" y="319"/>
                  </a:lnTo>
                  <a:lnTo>
                    <a:pt x="46" y="320"/>
                  </a:lnTo>
                  <a:lnTo>
                    <a:pt x="47" y="320"/>
                  </a:lnTo>
                  <a:lnTo>
                    <a:pt x="47" y="321"/>
                  </a:lnTo>
                  <a:lnTo>
                    <a:pt x="46" y="321"/>
                  </a:lnTo>
                  <a:lnTo>
                    <a:pt x="47" y="321"/>
                  </a:lnTo>
                  <a:lnTo>
                    <a:pt x="47" y="322"/>
                  </a:lnTo>
                  <a:lnTo>
                    <a:pt x="47" y="324"/>
                  </a:lnTo>
                  <a:lnTo>
                    <a:pt x="46" y="324"/>
                  </a:lnTo>
                  <a:lnTo>
                    <a:pt x="46" y="325"/>
                  </a:lnTo>
                  <a:lnTo>
                    <a:pt x="45" y="325"/>
                  </a:lnTo>
                  <a:lnTo>
                    <a:pt x="45" y="326"/>
                  </a:lnTo>
                  <a:lnTo>
                    <a:pt x="44" y="326"/>
                  </a:lnTo>
                  <a:lnTo>
                    <a:pt x="43" y="327"/>
                  </a:lnTo>
                  <a:lnTo>
                    <a:pt x="43" y="326"/>
                  </a:lnTo>
                  <a:lnTo>
                    <a:pt x="43" y="325"/>
                  </a:lnTo>
                  <a:lnTo>
                    <a:pt x="43" y="324"/>
                  </a:lnTo>
                  <a:lnTo>
                    <a:pt x="41" y="324"/>
                  </a:lnTo>
                  <a:lnTo>
                    <a:pt x="40" y="324"/>
                  </a:lnTo>
                  <a:lnTo>
                    <a:pt x="40" y="322"/>
                  </a:lnTo>
                  <a:lnTo>
                    <a:pt x="39" y="322"/>
                  </a:lnTo>
                  <a:lnTo>
                    <a:pt x="39" y="321"/>
                  </a:lnTo>
                  <a:lnTo>
                    <a:pt x="38" y="321"/>
                  </a:lnTo>
                  <a:lnTo>
                    <a:pt x="37" y="321"/>
                  </a:lnTo>
                  <a:lnTo>
                    <a:pt x="35" y="321"/>
                  </a:lnTo>
                  <a:lnTo>
                    <a:pt x="34" y="321"/>
                  </a:lnTo>
                  <a:lnTo>
                    <a:pt x="33" y="321"/>
                  </a:lnTo>
                  <a:lnTo>
                    <a:pt x="33" y="320"/>
                  </a:lnTo>
                  <a:lnTo>
                    <a:pt x="32" y="320"/>
                  </a:lnTo>
                  <a:lnTo>
                    <a:pt x="32" y="319"/>
                  </a:lnTo>
                  <a:lnTo>
                    <a:pt x="31" y="319"/>
                  </a:lnTo>
                  <a:lnTo>
                    <a:pt x="29" y="319"/>
                  </a:lnTo>
                  <a:lnTo>
                    <a:pt x="29" y="317"/>
                  </a:lnTo>
                  <a:lnTo>
                    <a:pt x="29" y="316"/>
                  </a:lnTo>
                  <a:lnTo>
                    <a:pt x="29" y="315"/>
                  </a:lnTo>
                  <a:lnTo>
                    <a:pt x="29" y="316"/>
                  </a:lnTo>
                  <a:lnTo>
                    <a:pt x="29" y="315"/>
                  </a:lnTo>
                  <a:lnTo>
                    <a:pt x="28" y="316"/>
                  </a:lnTo>
                  <a:lnTo>
                    <a:pt x="28" y="315"/>
                  </a:lnTo>
                  <a:lnTo>
                    <a:pt x="28" y="314"/>
                  </a:lnTo>
                  <a:lnTo>
                    <a:pt x="27" y="314"/>
                  </a:lnTo>
                  <a:lnTo>
                    <a:pt x="27" y="313"/>
                  </a:lnTo>
                  <a:lnTo>
                    <a:pt x="26" y="313"/>
                  </a:lnTo>
                  <a:lnTo>
                    <a:pt x="26" y="311"/>
                  </a:lnTo>
                  <a:lnTo>
                    <a:pt x="24" y="311"/>
                  </a:lnTo>
                  <a:lnTo>
                    <a:pt x="24" y="310"/>
                  </a:lnTo>
                  <a:lnTo>
                    <a:pt x="26" y="309"/>
                  </a:lnTo>
                  <a:lnTo>
                    <a:pt x="24" y="309"/>
                  </a:lnTo>
                  <a:lnTo>
                    <a:pt x="24" y="308"/>
                  </a:lnTo>
                  <a:lnTo>
                    <a:pt x="24" y="309"/>
                  </a:lnTo>
                  <a:lnTo>
                    <a:pt x="23" y="309"/>
                  </a:lnTo>
                  <a:lnTo>
                    <a:pt x="23" y="308"/>
                  </a:lnTo>
                  <a:lnTo>
                    <a:pt x="22" y="307"/>
                  </a:lnTo>
                  <a:lnTo>
                    <a:pt x="22" y="308"/>
                  </a:lnTo>
                  <a:lnTo>
                    <a:pt x="21" y="308"/>
                  </a:lnTo>
                  <a:lnTo>
                    <a:pt x="21" y="307"/>
                  </a:lnTo>
                  <a:lnTo>
                    <a:pt x="20" y="307"/>
                  </a:lnTo>
                  <a:lnTo>
                    <a:pt x="18" y="307"/>
                  </a:lnTo>
                  <a:lnTo>
                    <a:pt x="17" y="307"/>
                  </a:lnTo>
                  <a:lnTo>
                    <a:pt x="17" y="305"/>
                  </a:lnTo>
                  <a:lnTo>
                    <a:pt x="17" y="304"/>
                  </a:lnTo>
                  <a:lnTo>
                    <a:pt x="16" y="303"/>
                  </a:lnTo>
                  <a:lnTo>
                    <a:pt x="15" y="303"/>
                  </a:lnTo>
                  <a:lnTo>
                    <a:pt x="14" y="303"/>
                  </a:lnTo>
                  <a:lnTo>
                    <a:pt x="12" y="303"/>
                  </a:lnTo>
                  <a:lnTo>
                    <a:pt x="11" y="303"/>
                  </a:lnTo>
                  <a:lnTo>
                    <a:pt x="11" y="302"/>
                  </a:lnTo>
                  <a:lnTo>
                    <a:pt x="11" y="301"/>
                  </a:lnTo>
                  <a:lnTo>
                    <a:pt x="10" y="301"/>
                  </a:lnTo>
                  <a:lnTo>
                    <a:pt x="10" y="302"/>
                  </a:lnTo>
                  <a:lnTo>
                    <a:pt x="10" y="301"/>
                  </a:lnTo>
                  <a:lnTo>
                    <a:pt x="10" y="299"/>
                  </a:lnTo>
                  <a:lnTo>
                    <a:pt x="9" y="299"/>
                  </a:lnTo>
                  <a:lnTo>
                    <a:pt x="8" y="299"/>
                  </a:lnTo>
                  <a:lnTo>
                    <a:pt x="8" y="298"/>
                  </a:lnTo>
                  <a:lnTo>
                    <a:pt x="6" y="298"/>
                  </a:lnTo>
                  <a:lnTo>
                    <a:pt x="5" y="298"/>
                  </a:lnTo>
                  <a:lnTo>
                    <a:pt x="4" y="298"/>
                  </a:lnTo>
                  <a:lnTo>
                    <a:pt x="4" y="297"/>
                  </a:lnTo>
                  <a:lnTo>
                    <a:pt x="5" y="297"/>
                  </a:lnTo>
                  <a:lnTo>
                    <a:pt x="4" y="297"/>
                  </a:lnTo>
                  <a:lnTo>
                    <a:pt x="4" y="296"/>
                  </a:lnTo>
                  <a:lnTo>
                    <a:pt x="4" y="295"/>
                  </a:lnTo>
                  <a:lnTo>
                    <a:pt x="4" y="293"/>
                  </a:lnTo>
                  <a:lnTo>
                    <a:pt x="4" y="292"/>
                  </a:lnTo>
                  <a:lnTo>
                    <a:pt x="4" y="291"/>
                  </a:lnTo>
                  <a:lnTo>
                    <a:pt x="4" y="290"/>
                  </a:lnTo>
                  <a:lnTo>
                    <a:pt x="4" y="289"/>
                  </a:lnTo>
                  <a:lnTo>
                    <a:pt x="3" y="289"/>
                  </a:lnTo>
                  <a:lnTo>
                    <a:pt x="4" y="289"/>
                  </a:lnTo>
                  <a:lnTo>
                    <a:pt x="3" y="289"/>
                  </a:lnTo>
                  <a:lnTo>
                    <a:pt x="3" y="287"/>
                  </a:lnTo>
                  <a:lnTo>
                    <a:pt x="2" y="287"/>
                  </a:lnTo>
                  <a:lnTo>
                    <a:pt x="0" y="286"/>
                  </a:lnTo>
                  <a:lnTo>
                    <a:pt x="0" y="285"/>
                  </a:lnTo>
                  <a:lnTo>
                    <a:pt x="2" y="285"/>
                  </a:lnTo>
                  <a:lnTo>
                    <a:pt x="3" y="286"/>
                  </a:lnTo>
                  <a:lnTo>
                    <a:pt x="4" y="286"/>
                  </a:lnTo>
                  <a:lnTo>
                    <a:pt x="5" y="287"/>
                  </a:lnTo>
                  <a:lnTo>
                    <a:pt x="6" y="287"/>
                  </a:lnTo>
                  <a:lnTo>
                    <a:pt x="9" y="289"/>
                  </a:lnTo>
                  <a:lnTo>
                    <a:pt x="10" y="289"/>
                  </a:lnTo>
                  <a:lnTo>
                    <a:pt x="11" y="289"/>
                  </a:lnTo>
                  <a:lnTo>
                    <a:pt x="12" y="289"/>
                  </a:lnTo>
                  <a:lnTo>
                    <a:pt x="15" y="290"/>
                  </a:lnTo>
                  <a:lnTo>
                    <a:pt x="16" y="290"/>
                  </a:lnTo>
                  <a:lnTo>
                    <a:pt x="17" y="290"/>
                  </a:lnTo>
                  <a:lnTo>
                    <a:pt x="20" y="289"/>
                  </a:lnTo>
                  <a:lnTo>
                    <a:pt x="21" y="289"/>
                  </a:lnTo>
                  <a:lnTo>
                    <a:pt x="24" y="289"/>
                  </a:lnTo>
                  <a:lnTo>
                    <a:pt x="26" y="287"/>
                  </a:lnTo>
                  <a:lnTo>
                    <a:pt x="26" y="286"/>
                  </a:lnTo>
                  <a:lnTo>
                    <a:pt x="27" y="285"/>
                  </a:lnTo>
                  <a:lnTo>
                    <a:pt x="26" y="285"/>
                  </a:lnTo>
                  <a:lnTo>
                    <a:pt x="24" y="285"/>
                  </a:lnTo>
                  <a:lnTo>
                    <a:pt x="24" y="284"/>
                  </a:lnTo>
                  <a:lnTo>
                    <a:pt x="23" y="284"/>
                  </a:lnTo>
                  <a:lnTo>
                    <a:pt x="22" y="284"/>
                  </a:lnTo>
                  <a:lnTo>
                    <a:pt x="21" y="284"/>
                  </a:lnTo>
                  <a:lnTo>
                    <a:pt x="21" y="283"/>
                  </a:lnTo>
                  <a:lnTo>
                    <a:pt x="21" y="281"/>
                  </a:lnTo>
                  <a:lnTo>
                    <a:pt x="20" y="283"/>
                  </a:lnTo>
                  <a:lnTo>
                    <a:pt x="20" y="281"/>
                  </a:lnTo>
                  <a:lnTo>
                    <a:pt x="20" y="283"/>
                  </a:lnTo>
                  <a:lnTo>
                    <a:pt x="18" y="283"/>
                  </a:lnTo>
                  <a:lnTo>
                    <a:pt x="17" y="281"/>
                  </a:lnTo>
                  <a:lnTo>
                    <a:pt x="17" y="280"/>
                  </a:lnTo>
                  <a:lnTo>
                    <a:pt x="16" y="279"/>
                  </a:lnTo>
                  <a:lnTo>
                    <a:pt x="16" y="278"/>
                  </a:lnTo>
                  <a:lnTo>
                    <a:pt x="15" y="278"/>
                  </a:lnTo>
                  <a:lnTo>
                    <a:pt x="15" y="277"/>
                  </a:lnTo>
                  <a:lnTo>
                    <a:pt x="15" y="275"/>
                  </a:lnTo>
                  <a:lnTo>
                    <a:pt x="16" y="277"/>
                  </a:lnTo>
                  <a:lnTo>
                    <a:pt x="18" y="277"/>
                  </a:lnTo>
                  <a:lnTo>
                    <a:pt x="20" y="277"/>
                  </a:lnTo>
                  <a:lnTo>
                    <a:pt x="21" y="277"/>
                  </a:lnTo>
                  <a:lnTo>
                    <a:pt x="22" y="277"/>
                  </a:lnTo>
                  <a:lnTo>
                    <a:pt x="23" y="275"/>
                  </a:lnTo>
                  <a:lnTo>
                    <a:pt x="23" y="274"/>
                  </a:lnTo>
                  <a:lnTo>
                    <a:pt x="22" y="274"/>
                  </a:lnTo>
                  <a:lnTo>
                    <a:pt x="22" y="273"/>
                  </a:lnTo>
                  <a:lnTo>
                    <a:pt x="21" y="273"/>
                  </a:lnTo>
                  <a:lnTo>
                    <a:pt x="21" y="272"/>
                  </a:lnTo>
                  <a:lnTo>
                    <a:pt x="20" y="272"/>
                  </a:lnTo>
                  <a:lnTo>
                    <a:pt x="18" y="272"/>
                  </a:lnTo>
                  <a:lnTo>
                    <a:pt x="17" y="271"/>
                  </a:lnTo>
                  <a:lnTo>
                    <a:pt x="16" y="271"/>
                  </a:lnTo>
                  <a:lnTo>
                    <a:pt x="16" y="269"/>
                  </a:lnTo>
                  <a:lnTo>
                    <a:pt x="15" y="269"/>
                  </a:lnTo>
                  <a:lnTo>
                    <a:pt x="15" y="268"/>
                  </a:lnTo>
                  <a:lnTo>
                    <a:pt x="14" y="268"/>
                  </a:lnTo>
                  <a:lnTo>
                    <a:pt x="14" y="267"/>
                  </a:lnTo>
                  <a:lnTo>
                    <a:pt x="14" y="266"/>
                  </a:lnTo>
                  <a:lnTo>
                    <a:pt x="14" y="265"/>
                  </a:lnTo>
                  <a:lnTo>
                    <a:pt x="12" y="265"/>
                  </a:lnTo>
                  <a:lnTo>
                    <a:pt x="12" y="263"/>
                  </a:lnTo>
                  <a:lnTo>
                    <a:pt x="14" y="263"/>
                  </a:lnTo>
                  <a:lnTo>
                    <a:pt x="14" y="265"/>
                  </a:lnTo>
                  <a:lnTo>
                    <a:pt x="15" y="265"/>
                  </a:lnTo>
                  <a:lnTo>
                    <a:pt x="14" y="263"/>
                  </a:lnTo>
                  <a:lnTo>
                    <a:pt x="14" y="262"/>
                  </a:lnTo>
                  <a:lnTo>
                    <a:pt x="15" y="262"/>
                  </a:lnTo>
                  <a:lnTo>
                    <a:pt x="14" y="262"/>
                  </a:lnTo>
                  <a:lnTo>
                    <a:pt x="14" y="261"/>
                  </a:lnTo>
                  <a:lnTo>
                    <a:pt x="15" y="261"/>
                  </a:lnTo>
                  <a:lnTo>
                    <a:pt x="14" y="261"/>
                  </a:lnTo>
                  <a:lnTo>
                    <a:pt x="14" y="260"/>
                  </a:lnTo>
                  <a:lnTo>
                    <a:pt x="15" y="260"/>
                  </a:lnTo>
                  <a:lnTo>
                    <a:pt x="16" y="260"/>
                  </a:lnTo>
                  <a:lnTo>
                    <a:pt x="16" y="261"/>
                  </a:lnTo>
                  <a:lnTo>
                    <a:pt x="17" y="261"/>
                  </a:lnTo>
                  <a:lnTo>
                    <a:pt x="17" y="262"/>
                  </a:lnTo>
                  <a:lnTo>
                    <a:pt x="18" y="263"/>
                  </a:lnTo>
                  <a:lnTo>
                    <a:pt x="20" y="263"/>
                  </a:lnTo>
                  <a:lnTo>
                    <a:pt x="21" y="265"/>
                  </a:lnTo>
                  <a:lnTo>
                    <a:pt x="22" y="265"/>
                  </a:lnTo>
                  <a:lnTo>
                    <a:pt x="23" y="265"/>
                  </a:lnTo>
                  <a:lnTo>
                    <a:pt x="22" y="263"/>
                  </a:lnTo>
                  <a:lnTo>
                    <a:pt x="23" y="263"/>
                  </a:lnTo>
                  <a:lnTo>
                    <a:pt x="23" y="262"/>
                  </a:lnTo>
                  <a:lnTo>
                    <a:pt x="22" y="262"/>
                  </a:lnTo>
                  <a:lnTo>
                    <a:pt x="22" y="261"/>
                  </a:lnTo>
                  <a:lnTo>
                    <a:pt x="22" y="260"/>
                  </a:lnTo>
                  <a:lnTo>
                    <a:pt x="23" y="260"/>
                  </a:lnTo>
                  <a:lnTo>
                    <a:pt x="24" y="260"/>
                  </a:lnTo>
                  <a:lnTo>
                    <a:pt x="24" y="261"/>
                  </a:lnTo>
                  <a:lnTo>
                    <a:pt x="26" y="261"/>
                  </a:lnTo>
                  <a:lnTo>
                    <a:pt x="24" y="260"/>
                  </a:lnTo>
                  <a:lnTo>
                    <a:pt x="24" y="259"/>
                  </a:lnTo>
                  <a:lnTo>
                    <a:pt x="26" y="257"/>
                  </a:lnTo>
                  <a:lnTo>
                    <a:pt x="26" y="259"/>
                  </a:lnTo>
                  <a:lnTo>
                    <a:pt x="27" y="259"/>
                  </a:lnTo>
                  <a:lnTo>
                    <a:pt x="27" y="260"/>
                  </a:lnTo>
                  <a:lnTo>
                    <a:pt x="27" y="259"/>
                  </a:lnTo>
                  <a:lnTo>
                    <a:pt x="28" y="260"/>
                  </a:lnTo>
                  <a:lnTo>
                    <a:pt x="27" y="260"/>
                  </a:lnTo>
                  <a:lnTo>
                    <a:pt x="28" y="261"/>
                  </a:lnTo>
                  <a:lnTo>
                    <a:pt x="27" y="261"/>
                  </a:lnTo>
                  <a:lnTo>
                    <a:pt x="28" y="261"/>
                  </a:lnTo>
                  <a:lnTo>
                    <a:pt x="28" y="262"/>
                  </a:lnTo>
                  <a:lnTo>
                    <a:pt x="29" y="262"/>
                  </a:lnTo>
                  <a:lnTo>
                    <a:pt x="28" y="263"/>
                  </a:lnTo>
                  <a:lnTo>
                    <a:pt x="29" y="263"/>
                  </a:lnTo>
                  <a:lnTo>
                    <a:pt x="29" y="265"/>
                  </a:lnTo>
                  <a:lnTo>
                    <a:pt x="31" y="265"/>
                  </a:lnTo>
                  <a:lnTo>
                    <a:pt x="32" y="265"/>
                  </a:lnTo>
                  <a:lnTo>
                    <a:pt x="33" y="265"/>
                  </a:lnTo>
                  <a:lnTo>
                    <a:pt x="34" y="265"/>
                  </a:lnTo>
                  <a:lnTo>
                    <a:pt x="35" y="265"/>
                  </a:lnTo>
                  <a:lnTo>
                    <a:pt x="37" y="265"/>
                  </a:lnTo>
                  <a:lnTo>
                    <a:pt x="38" y="265"/>
                  </a:lnTo>
                  <a:lnTo>
                    <a:pt x="38" y="263"/>
                  </a:lnTo>
                  <a:lnTo>
                    <a:pt x="38" y="262"/>
                  </a:lnTo>
                  <a:lnTo>
                    <a:pt x="37" y="262"/>
                  </a:lnTo>
                  <a:lnTo>
                    <a:pt x="37" y="263"/>
                  </a:lnTo>
                  <a:lnTo>
                    <a:pt x="35" y="265"/>
                  </a:lnTo>
                  <a:lnTo>
                    <a:pt x="35" y="263"/>
                  </a:lnTo>
                  <a:lnTo>
                    <a:pt x="37" y="263"/>
                  </a:lnTo>
                  <a:lnTo>
                    <a:pt x="37" y="262"/>
                  </a:lnTo>
                  <a:lnTo>
                    <a:pt x="37" y="261"/>
                  </a:lnTo>
                  <a:lnTo>
                    <a:pt x="37" y="262"/>
                  </a:lnTo>
                  <a:lnTo>
                    <a:pt x="37" y="261"/>
                  </a:lnTo>
                  <a:lnTo>
                    <a:pt x="35" y="261"/>
                  </a:lnTo>
                  <a:lnTo>
                    <a:pt x="35" y="262"/>
                  </a:lnTo>
                  <a:lnTo>
                    <a:pt x="35" y="261"/>
                  </a:lnTo>
                  <a:lnTo>
                    <a:pt x="35" y="260"/>
                  </a:lnTo>
                  <a:lnTo>
                    <a:pt x="37" y="260"/>
                  </a:lnTo>
                  <a:lnTo>
                    <a:pt x="35" y="259"/>
                  </a:lnTo>
                  <a:lnTo>
                    <a:pt x="35" y="260"/>
                  </a:lnTo>
                  <a:lnTo>
                    <a:pt x="34" y="260"/>
                  </a:lnTo>
                  <a:lnTo>
                    <a:pt x="33" y="260"/>
                  </a:lnTo>
                  <a:lnTo>
                    <a:pt x="33" y="259"/>
                  </a:lnTo>
                  <a:lnTo>
                    <a:pt x="33" y="257"/>
                  </a:lnTo>
                  <a:lnTo>
                    <a:pt x="34" y="257"/>
                  </a:lnTo>
                  <a:lnTo>
                    <a:pt x="34" y="256"/>
                  </a:lnTo>
                  <a:lnTo>
                    <a:pt x="33" y="256"/>
                  </a:lnTo>
                  <a:lnTo>
                    <a:pt x="33" y="257"/>
                  </a:lnTo>
                  <a:lnTo>
                    <a:pt x="32" y="257"/>
                  </a:lnTo>
                  <a:lnTo>
                    <a:pt x="31" y="257"/>
                  </a:lnTo>
                  <a:lnTo>
                    <a:pt x="31" y="256"/>
                  </a:lnTo>
                  <a:lnTo>
                    <a:pt x="32" y="256"/>
                  </a:lnTo>
                  <a:lnTo>
                    <a:pt x="33" y="255"/>
                  </a:lnTo>
                  <a:lnTo>
                    <a:pt x="33" y="254"/>
                  </a:lnTo>
                  <a:lnTo>
                    <a:pt x="33" y="255"/>
                  </a:lnTo>
                  <a:lnTo>
                    <a:pt x="32" y="255"/>
                  </a:lnTo>
                  <a:lnTo>
                    <a:pt x="31" y="255"/>
                  </a:lnTo>
                  <a:lnTo>
                    <a:pt x="32" y="254"/>
                  </a:lnTo>
                  <a:lnTo>
                    <a:pt x="33" y="254"/>
                  </a:lnTo>
                  <a:lnTo>
                    <a:pt x="34" y="254"/>
                  </a:lnTo>
                  <a:lnTo>
                    <a:pt x="34" y="253"/>
                  </a:lnTo>
                  <a:lnTo>
                    <a:pt x="33" y="253"/>
                  </a:lnTo>
                  <a:lnTo>
                    <a:pt x="33" y="254"/>
                  </a:lnTo>
                  <a:lnTo>
                    <a:pt x="32" y="254"/>
                  </a:lnTo>
                  <a:lnTo>
                    <a:pt x="31" y="254"/>
                  </a:lnTo>
                  <a:lnTo>
                    <a:pt x="32" y="253"/>
                  </a:lnTo>
                  <a:lnTo>
                    <a:pt x="32" y="251"/>
                  </a:lnTo>
                  <a:lnTo>
                    <a:pt x="31" y="253"/>
                  </a:lnTo>
                  <a:lnTo>
                    <a:pt x="32" y="251"/>
                  </a:lnTo>
                  <a:lnTo>
                    <a:pt x="31" y="251"/>
                  </a:lnTo>
                  <a:lnTo>
                    <a:pt x="31" y="250"/>
                  </a:lnTo>
                  <a:lnTo>
                    <a:pt x="32" y="250"/>
                  </a:lnTo>
                  <a:lnTo>
                    <a:pt x="33" y="250"/>
                  </a:lnTo>
                  <a:lnTo>
                    <a:pt x="33" y="249"/>
                  </a:lnTo>
                  <a:lnTo>
                    <a:pt x="34" y="248"/>
                  </a:lnTo>
                  <a:lnTo>
                    <a:pt x="35" y="248"/>
                  </a:lnTo>
                  <a:lnTo>
                    <a:pt x="34" y="245"/>
                  </a:lnTo>
                  <a:lnTo>
                    <a:pt x="34" y="247"/>
                  </a:lnTo>
                  <a:lnTo>
                    <a:pt x="34" y="248"/>
                  </a:lnTo>
                  <a:lnTo>
                    <a:pt x="34" y="247"/>
                  </a:lnTo>
                  <a:lnTo>
                    <a:pt x="33" y="248"/>
                  </a:lnTo>
                  <a:lnTo>
                    <a:pt x="33" y="247"/>
                  </a:lnTo>
                  <a:lnTo>
                    <a:pt x="33" y="245"/>
                  </a:lnTo>
                  <a:lnTo>
                    <a:pt x="33" y="248"/>
                  </a:lnTo>
                  <a:lnTo>
                    <a:pt x="32" y="248"/>
                  </a:lnTo>
                  <a:lnTo>
                    <a:pt x="32" y="249"/>
                  </a:lnTo>
                  <a:lnTo>
                    <a:pt x="32" y="248"/>
                  </a:lnTo>
                  <a:lnTo>
                    <a:pt x="32" y="247"/>
                  </a:lnTo>
                  <a:lnTo>
                    <a:pt x="32" y="245"/>
                  </a:lnTo>
                  <a:lnTo>
                    <a:pt x="33" y="245"/>
                  </a:lnTo>
                  <a:lnTo>
                    <a:pt x="33" y="244"/>
                  </a:lnTo>
                  <a:lnTo>
                    <a:pt x="33" y="243"/>
                  </a:lnTo>
                  <a:lnTo>
                    <a:pt x="32" y="243"/>
                  </a:lnTo>
                  <a:lnTo>
                    <a:pt x="32" y="244"/>
                  </a:lnTo>
                  <a:lnTo>
                    <a:pt x="32" y="245"/>
                  </a:lnTo>
                  <a:lnTo>
                    <a:pt x="32" y="247"/>
                  </a:lnTo>
                  <a:lnTo>
                    <a:pt x="31" y="247"/>
                  </a:lnTo>
                  <a:lnTo>
                    <a:pt x="31" y="245"/>
                  </a:lnTo>
                  <a:lnTo>
                    <a:pt x="31" y="244"/>
                  </a:lnTo>
                  <a:lnTo>
                    <a:pt x="31" y="243"/>
                  </a:lnTo>
                  <a:lnTo>
                    <a:pt x="32" y="243"/>
                  </a:lnTo>
                  <a:lnTo>
                    <a:pt x="31" y="243"/>
                  </a:lnTo>
                  <a:lnTo>
                    <a:pt x="31" y="244"/>
                  </a:lnTo>
                  <a:lnTo>
                    <a:pt x="29" y="244"/>
                  </a:lnTo>
                  <a:lnTo>
                    <a:pt x="29" y="245"/>
                  </a:lnTo>
                  <a:lnTo>
                    <a:pt x="28" y="245"/>
                  </a:lnTo>
                  <a:lnTo>
                    <a:pt x="28" y="244"/>
                  </a:lnTo>
                  <a:lnTo>
                    <a:pt x="27" y="244"/>
                  </a:lnTo>
                  <a:lnTo>
                    <a:pt x="27" y="247"/>
                  </a:lnTo>
                  <a:lnTo>
                    <a:pt x="27" y="245"/>
                  </a:lnTo>
                  <a:lnTo>
                    <a:pt x="26" y="244"/>
                  </a:lnTo>
                  <a:lnTo>
                    <a:pt x="26" y="245"/>
                  </a:lnTo>
                  <a:lnTo>
                    <a:pt x="24" y="245"/>
                  </a:lnTo>
                  <a:lnTo>
                    <a:pt x="24" y="247"/>
                  </a:lnTo>
                  <a:lnTo>
                    <a:pt x="24" y="245"/>
                  </a:lnTo>
                  <a:lnTo>
                    <a:pt x="24" y="244"/>
                  </a:lnTo>
                  <a:lnTo>
                    <a:pt x="23" y="244"/>
                  </a:lnTo>
                  <a:lnTo>
                    <a:pt x="23" y="243"/>
                  </a:lnTo>
                  <a:lnTo>
                    <a:pt x="24" y="242"/>
                  </a:lnTo>
                  <a:lnTo>
                    <a:pt x="23" y="242"/>
                  </a:lnTo>
                  <a:lnTo>
                    <a:pt x="22" y="242"/>
                  </a:lnTo>
                  <a:lnTo>
                    <a:pt x="22" y="243"/>
                  </a:lnTo>
                  <a:lnTo>
                    <a:pt x="22" y="242"/>
                  </a:lnTo>
                  <a:lnTo>
                    <a:pt x="21" y="243"/>
                  </a:lnTo>
                  <a:lnTo>
                    <a:pt x="20" y="243"/>
                  </a:lnTo>
                  <a:lnTo>
                    <a:pt x="18" y="243"/>
                  </a:lnTo>
                  <a:lnTo>
                    <a:pt x="20" y="243"/>
                  </a:lnTo>
                  <a:lnTo>
                    <a:pt x="20" y="242"/>
                  </a:lnTo>
                  <a:lnTo>
                    <a:pt x="21" y="242"/>
                  </a:lnTo>
                  <a:lnTo>
                    <a:pt x="22" y="241"/>
                  </a:lnTo>
                  <a:lnTo>
                    <a:pt x="23" y="239"/>
                  </a:lnTo>
                  <a:lnTo>
                    <a:pt x="24" y="238"/>
                  </a:lnTo>
                  <a:lnTo>
                    <a:pt x="23" y="238"/>
                  </a:lnTo>
                  <a:lnTo>
                    <a:pt x="23" y="239"/>
                  </a:lnTo>
                  <a:lnTo>
                    <a:pt x="22" y="239"/>
                  </a:lnTo>
                  <a:lnTo>
                    <a:pt x="21" y="239"/>
                  </a:lnTo>
                  <a:lnTo>
                    <a:pt x="21" y="238"/>
                  </a:lnTo>
                  <a:lnTo>
                    <a:pt x="21" y="239"/>
                  </a:lnTo>
                  <a:lnTo>
                    <a:pt x="21" y="241"/>
                  </a:lnTo>
                  <a:lnTo>
                    <a:pt x="21" y="242"/>
                  </a:lnTo>
                  <a:lnTo>
                    <a:pt x="20" y="242"/>
                  </a:lnTo>
                  <a:lnTo>
                    <a:pt x="20" y="241"/>
                  </a:lnTo>
                  <a:lnTo>
                    <a:pt x="20" y="239"/>
                  </a:lnTo>
                  <a:lnTo>
                    <a:pt x="20" y="241"/>
                  </a:lnTo>
                  <a:lnTo>
                    <a:pt x="20" y="242"/>
                  </a:lnTo>
                  <a:lnTo>
                    <a:pt x="18" y="242"/>
                  </a:lnTo>
                  <a:lnTo>
                    <a:pt x="18" y="241"/>
                  </a:lnTo>
                  <a:lnTo>
                    <a:pt x="18" y="239"/>
                  </a:lnTo>
                  <a:lnTo>
                    <a:pt x="18" y="238"/>
                  </a:lnTo>
                  <a:lnTo>
                    <a:pt x="18" y="239"/>
                  </a:lnTo>
                  <a:lnTo>
                    <a:pt x="17" y="239"/>
                  </a:lnTo>
                  <a:lnTo>
                    <a:pt x="17" y="241"/>
                  </a:lnTo>
                  <a:lnTo>
                    <a:pt x="17" y="242"/>
                  </a:lnTo>
                  <a:lnTo>
                    <a:pt x="17" y="241"/>
                  </a:lnTo>
                  <a:lnTo>
                    <a:pt x="17" y="239"/>
                  </a:lnTo>
                  <a:lnTo>
                    <a:pt x="17" y="238"/>
                  </a:lnTo>
                  <a:lnTo>
                    <a:pt x="16" y="237"/>
                  </a:lnTo>
                  <a:lnTo>
                    <a:pt x="17" y="237"/>
                  </a:lnTo>
                  <a:lnTo>
                    <a:pt x="17" y="236"/>
                  </a:lnTo>
                  <a:lnTo>
                    <a:pt x="16" y="236"/>
                  </a:lnTo>
                  <a:lnTo>
                    <a:pt x="16" y="237"/>
                  </a:lnTo>
                  <a:lnTo>
                    <a:pt x="16" y="238"/>
                  </a:lnTo>
                  <a:lnTo>
                    <a:pt x="15" y="238"/>
                  </a:lnTo>
                  <a:lnTo>
                    <a:pt x="15" y="237"/>
                  </a:lnTo>
                  <a:lnTo>
                    <a:pt x="15" y="236"/>
                  </a:lnTo>
                  <a:lnTo>
                    <a:pt x="14" y="238"/>
                  </a:lnTo>
                  <a:lnTo>
                    <a:pt x="12" y="238"/>
                  </a:lnTo>
                  <a:lnTo>
                    <a:pt x="12" y="237"/>
                  </a:lnTo>
                  <a:lnTo>
                    <a:pt x="12" y="238"/>
                  </a:lnTo>
                  <a:lnTo>
                    <a:pt x="12" y="239"/>
                  </a:lnTo>
                  <a:lnTo>
                    <a:pt x="12" y="241"/>
                  </a:lnTo>
                  <a:lnTo>
                    <a:pt x="11" y="239"/>
                  </a:lnTo>
                  <a:lnTo>
                    <a:pt x="11" y="238"/>
                  </a:lnTo>
                  <a:lnTo>
                    <a:pt x="11" y="239"/>
                  </a:lnTo>
                  <a:lnTo>
                    <a:pt x="10" y="239"/>
                  </a:lnTo>
                  <a:lnTo>
                    <a:pt x="10" y="238"/>
                  </a:lnTo>
                  <a:lnTo>
                    <a:pt x="10" y="237"/>
                  </a:lnTo>
                  <a:lnTo>
                    <a:pt x="9" y="237"/>
                  </a:lnTo>
                  <a:lnTo>
                    <a:pt x="10" y="236"/>
                  </a:lnTo>
                  <a:lnTo>
                    <a:pt x="11" y="235"/>
                  </a:lnTo>
                  <a:lnTo>
                    <a:pt x="14" y="233"/>
                  </a:lnTo>
                  <a:lnTo>
                    <a:pt x="15" y="232"/>
                  </a:lnTo>
                  <a:lnTo>
                    <a:pt x="17" y="232"/>
                  </a:lnTo>
                  <a:lnTo>
                    <a:pt x="18" y="232"/>
                  </a:lnTo>
                  <a:lnTo>
                    <a:pt x="20" y="232"/>
                  </a:lnTo>
                  <a:lnTo>
                    <a:pt x="21" y="232"/>
                  </a:lnTo>
                  <a:lnTo>
                    <a:pt x="22" y="232"/>
                  </a:lnTo>
                  <a:lnTo>
                    <a:pt x="23" y="231"/>
                  </a:lnTo>
                  <a:lnTo>
                    <a:pt x="24" y="231"/>
                  </a:lnTo>
                  <a:lnTo>
                    <a:pt x="24" y="230"/>
                  </a:lnTo>
                  <a:lnTo>
                    <a:pt x="23" y="230"/>
                  </a:lnTo>
                  <a:lnTo>
                    <a:pt x="22" y="231"/>
                  </a:lnTo>
                  <a:lnTo>
                    <a:pt x="22" y="230"/>
                  </a:lnTo>
                  <a:lnTo>
                    <a:pt x="23" y="230"/>
                  </a:lnTo>
                  <a:lnTo>
                    <a:pt x="22" y="229"/>
                  </a:lnTo>
                  <a:lnTo>
                    <a:pt x="23" y="230"/>
                  </a:lnTo>
                  <a:lnTo>
                    <a:pt x="23" y="229"/>
                  </a:lnTo>
                  <a:lnTo>
                    <a:pt x="24" y="230"/>
                  </a:lnTo>
                  <a:lnTo>
                    <a:pt x="26" y="230"/>
                  </a:lnTo>
                  <a:lnTo>
                    <a:pt x="27" y="231"/>
                  </a:lnTo>
                  <a:lnTo>
                    <a:pt x="28" y="231"/>
                  </a:lnTo>
                  <a:lnTo>
                    <a:pt x="31" y="230"/>
                  </a:lnTo>
                  <a:lnTo>
                    <a:pt x="32" y="229"/>
                  </a:lnTo>
                  <a:lnTo>
                    <a:pt x="33" y="230"/>
                  </a:lnTo>
                  <a:lnTo>
                    <a:pt x="33" y="229"/>
                  </a:lnTo>
                  <a:lnTo>
                    <a:pt x="33" y="227"/>
                  </a:lnTo>
                  <a:lnTo>
                    <a:pt x="33" y="226"/>
                  </a:lnTo>
                  <a:lnTo>
                    <a:pt x="32" y="226"/>
                  </a:lnTo>
                  <a:lnTo>
                    <a:pt x="32" y="227"/>
                  </a:lnTo>
                  <a:lnTo>
                    <a:pt x="32" y="226"/>
                  </a:lnTo>
                  <a:lnTo>
                    <a:pt x="31" y="226"/>
                  </a:lnTo>
                  <a:lnTo>
                    <a:pt x="29" y="226"/>
                  </a:lnTo>
                  <a:lnTo>
                    <a:pt x="28" y="225"/>
                  </a:lnTo>
                  <a:lnTo>
                    <a:pt x="27" y="224"/>
                  </a:lnTo>
                  <a:lnTo>
                    <a:pt x="26" y="224"/>
                  </a:lnTo>
                  <a:lnTo>
                    <a:pt x="26" y="223"/>
                  </a:lnTo>
                  <a:lnTo>
                    <a:pt x="24" y="223"/>
                  </a:lnTo>
                  <a:lnTo>
                    <a:pt x="24" y="221"/>
                  </a:lnTo>
                  <a:lnTo>
                    <a:pt x="26" y="221"/>
                  </a:lnTo>
                  <a:lnTo>
                    <a:pt x="24" y="221"/>
                  </a:lnTo>
                  <a:lnTo>
                    <a:pt x="24" y="223"/>
                  </a:lnTo>
                  <a:lnTo>
                    <a:pt x="23" y="224"/>
                  </a:lnTo>
                  <a:lnTo>
                    <a:pt x="23" y="223"/>
                  </a:lnTo>
                  <a:lnTo>
                    <a:pt x="23" y="221"/>
                  </a:lnTo>
                  <a:lnTo>
                    <a:pt x="23" y="223"/>
                  </a:lnTo>
                  <a:lnTo>
                    <a:pt x="23" y="224"/>
                  </a:lnTo>
                  <a:lnTo>
                    <a:pt x="23" y="225"/>
                  </a:lnTo>
                  <a:lnTo>
                    <a:pt x="22" y="224"/>
                  </a:lnTo>
                  <a:lnTo>
                    <a:pt x="22" y="223"/>
                  </a:lnTo>
                  <a:lnTo>
                    <a:pt x="22" y="221"/>
                  </a:lnTo>
                  <a:lnTo>
                    <a:pt x="23" y="220"/>
                  </a:lnTo>
                  <a:lnTo>
                    <a:pt x="22" y="220"/>
                  </a:lnTo>
                  <a:lnTo>
                    <a:pt x="22" y="219"/>
                  </a:lnTo>
                  <a:lnTo>
                    <a:pt x="21" y="219"/>
                  </a:lnTo>
                  <a:lnTo>
                    <a:pt x="21" y="220"/>
                  </a:lnTo>
                  <a:lnTo>
                    <a:pt x="21" y="219"/>
                  </a:lnTo>
                  <a:lnTo>
                    <a:pt x="21" y="218"/>
                  </a:lnTo>
                  <a:lnTo>
                    <a:pt x="21" y="217"/>
                  </a:lnTo>
                  <a:lnTo>
                    <a:pt x="21" y="215"/>
                  </a:lnTo>
                  <a:lnTo>
                    <a:pt x="20" y="215"/>
                  </a:lnTo>
                  <a:lnTo>
                    <a:pt x="20" y="217"/>
                  </a:lnTo>
                  <a:lnTo>
                    <a:pt x="20" y="218"/>
                  </a:lnTo>
                  <a:lnTo>
                    <a:pt x="20" y="219"/>
                  </a:lnTo>
                  <a:lnTo>
                    <a:pt x="20" y="220"/>
                  </a:lnTo>
                  <a:lnTo>
                    <a:pt x="20" y="219"/>
                  </a:lnTo>
                  <a:lnTo>
                    <a:pt x="20" y="218"/>
                  </a:lnTo>
                  <a:lnTo>
                    <a:pt x="20" y="219"/>
                  </a:lnTo>
                  <a:lnTo>
                    <a:pt x="18" y="219"/>
                  </a:lnTo>
                  <a:lnTo>
                    <a:pt x="18" y="218"/>
                  </a:lnTo>
                  <a:lnTo>
                    <a:pt x="18" y="217"/>
                  </a:lnTo>
                  <a:lnTo>
                    <a:pt x="18" y="218"/>
                  </a:lnTo>
                  <a:lnTo>
                    <a:pt x="18" y="219"/>
                  </a:lnTo>
                  <a:lnTo>
                    <a:pt x="18" y="220"/>
                  </a:lnTo>
                  <a:lnTo>
                    <a:pt x="17" y="218"/>
                  </a:lnTo>
                  <a:lnTo>
                    <a:pt x="17" y="219"/>
                  </a:lnTo>
                  <a:lnTo>
                    <a:pt x="17" y="220"/>
                  </a:lnTo>
                  <a:lnTo>
                    <a:pt x="17" y="219"/>
                  </a:lnTo>
                  <a:lnTo>
                    <a:pt x="17" y="218"/>
                  </a:lnTo>
                  <a:lnTo>
                    <a:pt x="16" y="218"/>
                  </a:lnTo>
                  <a:lnTo>
                    <a:pt x="15" y="218"/>
                  </a:lnTo>
                  <a:lnTo>
                    <a:pt x="15" y="219"/>
                  </a:lnTo>
                  <a:lnTo>
                    <a:pt x="15" y="220"/>
                  </a:lnTo>
                  <a:lnTo>
                    <a:pt x="15" y="219"/>
                  </a:lnTo>
                  <a:lnTo>
                    <a:pt x="15" y="218"/>
                  </a:lnTo>
                  <a:lnTo>
                    <a:pt x="14" y="219"/>
                  </a:lnTo>
                  <a:lnTo>
                    <a:pt x="14" y="218"/>
                  </a:lnTo>
                  <a:lnTo>
                    <a:pt x="14" y="217"/>
                  </a:lnTo>
                  <a:lnTo>
                    <a:pt x="15" y="217"/>
                  </a:lnTo>
                  <a:lnTo>
                    <a:pt x="15" y="218"/>
                  </a:lnTo>
                  <a:lnTo>
                    <a:pt x="16" y="217"/>
                  </a:lnTo>
                  <a:lnTo>
                    <a:pt x="17" y="217"/>
                  </a:lnTo>
                  <a:lnTo>
                    <a:pt x="17" y="215"/>
                  </a:lnTo>
                  <a:lnTo>
                    <a:pt x="18" y="215"/>
                  </a:lnTo>
                  <a:lnTo>
                    <a:pt x="20" y="215"/>
                  </a:lnTo>
                  <a:lnTo>
                    <a:pt x="21" y="215"/>
                  </a:lnTo>
                  <a:lnTo>
                    <a:pt x="22" y="215"/>
                  </a:lnTo>
                  <a:lnTo>
                    <a:pt x="23" y="215"/>
                  </a:lnTo>
                  <a:lnTo>
                    <a:pt x="24" y="215"/>
                  </a:lnTo>
                  <a:lnTo>
                    <a:pt x="26" y="215"/>
                  </a:lnTo>
                  <a:lnTo>
                    <a:pt x="27" y="215"/>
                  </a:lnTo>
                  <a:lnTo>
                    <a:pt x="28" y="215"/>
                  </a:lnTo>
                  <a:lnTo>
                    <a:pt x="28" y="217"/>
                  </a:lnTo>
                  <a:lnTo>
                    <a:pt x="29" y="217"/>
                  </a:lnTo>
                  <a:lnTo>
                    <a:pt x="32" y="217"/>
                  </a:lnTo>
                  <a:lnTo>
                    <a:pt x="33" y="217"/>
                  </a:lnTo>
                  <a:lnTo>
                    <a:pt x="34" y="217"/>
                  </a:lnTo>
                  <a:lnTo>
                    <a:pt x="35" y="217"/>
                  </a:lnTo>
                  <a:lnTo>
                    <a:pt x="37" y="217"/>
                  </a:lnTo>
                  <a:lnTo>
                    <a:pt x="38" y="217"/>
                  </a:lnTo>
                  <a:lnTo>
                    <a:pt x="39" y="217"/>
                  </a:lnTo>
                  <a:lnTo>
                    <a:pt x="40" y="217"/>
                  </a:lnTo>
                  <a:lnTo>
                    <a:pt x="41" y="217"/>
                  </a:lnTo>
                  <a:lnTo>
                    <a:pt x="43" y="215"/>
                  </a:lnTo>
                  <a:lnTo>
                    <a:pt x="44" y="215"/>
                  </a:lnTo>
                  <a:lnTo>
                    <a:pt x="45" y="214"/>
                  </a:lnTo>
                  <a:lnTo>
                    <a:pt x="46" y="214"/>
                  </a:lnTo>
                  <a:lnTo>
                    <a:pt x="46" y="213"/>
                  </a:lnTo>
                  <a:lnTo>
                    <a:pt x="46" y="214"/>
                  </a:lnTo>
                  <a:lnTo>
                    <a:pt x="45" y="214"/>
                  </a:lnTo>
                  <a:lnTo>
                    <a:pt x="46" y="213"/>
                  </a:lnTo>
                  <a:lnTo>
                    <a:pt x="45" y="213"/>
                  </a:lnTo>
                  <a:lnTo>
                    <a:pt x="44" y="213"/>
                  </a:lnTo>
                  <a:lnTo>
                    <a:pt x="46" y="213"/>
                  </a:lnTo>
                  <a:lnTo>
                    <a:pt x="46" y="212"/>
                  </a:lnTo>
                  <a:lnTo>
                    <a:pt x="47" y="212"/>
                  </a:lnTo>
                  <a:lnTo>
                    <a:pt x="47" y="213"/>
                  </a:lnTo>
                  <a:lnTo>
                    <a:pt x="49" y="213"/>
                  </a:lnTo>
                  <a:lnTo>
                    <a:pt x="49" y="214"/>
                  </a:lnTo>
                  <a:lnTo>
                    <a:pt x="50" y="213"/>
                  </a:lnTo>
                  <a:lnTo>
                    <a:pt x="52" y="212"/>
                  </a:lnTo>
                  <a:lnTo>
                    <a:pt x="53" y="213"/>
                  </a:lnTo>
                  <a:lnTo>
                    <a:pt x="55" y="213"/>
                  </a:lnTo>
                  <a:lnTo>
                    <a:pt x="56" y="212"/>
                  </a:lnTo>
                  <a:lnTo>
                    <a:pt x="57" y="212"/>
                  </a:lnTo>
                  <a:lnTo>
                    <a:pt x="58" y="212"/>
                  </a:lnTo>
                  <a:lnTo>
                    <a:pt x="58" y="210"/>
                  </a:lnTo>
                  <a:lnTo>
                    <a:pt x="59" y="208"/>
                  </a:lnTo>
                  <a:lnTo>
                    <a:pt x="61" y="208"/>
                  </a:lnTo>
                  <a:lnTo>
                    <a:pt x="61" y="207"/>
                  </a:lnTo>
                  <a:lnTo>
                    <a:pt x="59" y="206"/>
                  </a:lnTo>
                  <a:lnTo>
                    <a:pt x="59" y="204"/>
                  </a:lnTo>
                  <a:lnTo>
                    <a:pt x="58" y="206"/>
                  </a:lnTo>
                  <a:lnTo>
                    <a:pt x="57" y="206"/>
                  </a:lnTo>
                  <a:lnTo>
                    <a:pt x="57" y="207"/>
                  </a:lnTo>
                  <a:lnTo>
                    <a:pt x="57" y="208"/>
                  </a:lnTo>
                  <a:lnTo>
                    <a:pt x="57" y="209"/>
                  </a:lnTo>
                  <a:lnTo>
                    <a:pt x="56" y="209"/>
                  </a:lnTo>
                  <a:lnTo>
                    <a:pt x="56" y="208"/>
                  </a:lnTo>
                  <a:lnTo>
                    <a:pt x="56" y="207"/>
                  </a:lnTo>
                  <a:lnTo>
                    <a:pt x="55" y="207"/>
                  </a:lnTo>
                  <a:lnTo>
                    <a:pt x="56" y="208"/>
                  </a:lnTo>
                  <a:lnTo>
                    <a:pt x="55" y="208"/>
                  </a:lnTo>
                  <a:lnTo>
                    <a:pt x="55" y="207"/>
                  </a:lnTo>
                  <a:lnTo>
                    <a:pt x="55" y="206"/>
                  </a:lnTo>
                  <a:lnTo>
                    <a:pt x="53" y="206"/>
                  </a:lnTo>
                  <a:lnTo>
                    <a:pt x="52" y="206"/>
                  </a:lnTo>
                  <a:lnTo>
                    <a:pt x="53" y="204"/>
                  </a:lnTo>
                  <a:lnTo>
                    <a:pt x="52" y="204"/>
                  </a:lnTo>
                  <a:lnTo>
                    <a:pt x="52" y="206"/>
                  </a:lnTo>
                  <a:lnTo>
                    <a:pt x="52" y="207"/>
                  </a:lnTo>
                  <a:lnTo>
                    <a:pt x="52" y="208"/>
                  </a:lnTo>
                  <a:lnTo>
                    <a:pt x="52" y="207"/>
                  </a:lnTo>
                  <a:lnTo>
                    <a:pt x="52" y="206"/>
                  </a:lnTo>
                  <a:lnTo>
                    <a:pt x="52" y="204"/>
                  </a:lnTo>
                  <a:lnTo>
                    <a:pt x="52" y="203"/>
                  </a:lnTo>
                  <a:lnTo>
                    <a:pt x="52" y="204"/>
                  </a:lnTo>
                  <a:lnTo>
                    <a:pt x="51" y="204"/>
                  </a:lnTo>
                  <a:lnTo>
                    <a:pt x="51" y="206"/>
                  </a:lnTo>
                  <a:lnTo>
                    <a:pt x="51" y="207"/>
                  </a:lnTo>
                  <a:lnTo>
                    <a:pt x="51" y="208"/>
                  </a:lnTo>
                  <a:lnTo>
                    <a:pt x="50" y="207"/>
                  </a:lnTo>
                  <a:lnTo>
                    <a:pt x="50" y="206"/>
                  </a:lnTo>
                  <a:lnTo>
                    <a:pt x="50" y="204"/>
                  </a:lnTo>
                  <a:lnTo>
                    <a:pt x="51" y="203"/>
                  </a:lnTo>
                  <a:lnTo>
                    <a:pt x="50" y="203"/>
                  </a:lnTo>
                  <a:lnTo>
                    <a:pt x="50" y="206"/>
                  </a:lnTo>
                  <a:lnTo>
                    <a:pt x="50" y="204"/>
                  </a:lnTo>
                  <a:lnTo>
                    <a:pt x="49" y="206"/>
                  </a:lnTo>
                  <a:lnTo>
                    <a:pt x="49" y="207"/>
                  </a:lnTo>
                  <a:lnTo>
                    <a:pt x="49" y="206"/>
                  </a:lnTo>
                  <a:lnTo>
                    <a:pt x="49" y="204"/>
                  </a:lnTo>
                  <a:lnTo>
                    <a:pt x="49" y="202"/>
                  </a:lnTo>
                  <a:lnTo>
                    <a:pt x="47" y="203"/>
                  </a:lnTo>
                  <a:lnTo>
                    <a:pt x="47" y="204"/>
                  </a:lnTo>
                  <a:lnTo>
                    <a:pt x="47" y="206"/>
                  </a:lnTo>
                  <a:lnTo>
                    <a:pt x="49" y="207"/>
                  </a:lnTo>
                  <a:lnTo>
                    <a:pt x="47" y="208"/>
                  </a:lnTo>
                  <a:lnTo>
                    <a:pt x="47" y="207"/>
                  </a:lnTo>
                  <a:lnTo>
                    <a:pt x="47" y="206"/>
                  </a:lnTo>
                  <a:lnTo>
                    <a:pt x="47" y="207"/>
                  </a:lnTo>
                  <a:lnTo>
                    <a:pt x="46" y="207"/>
                  </a:lnTo>
                  <a:lnTo>
                    <a:pt x="46" y="206"/>
                  </a:lnTo>
                  <a:lnTo>
                    <a:pt x="46" y="204"/>
                  </a:lnTo>
                  <a:lnTo>
                    <a:pt x="46" y="203"/>
                  </a:lnTo>
                  <a:lnTo>
                    <a:pt x="46" y="204"/>
                  </a:lnTo>
                  <a:lnTo>
                    <a:pt x="46" y="206"/>
                  </a:lnTo>
                  <a:lnTo>
                    <a:pt x="46" y="207"/>
                  </a:lnTo>
                  <a:lnTo>
                    <a:pt x="45" y="207"/>
                  </a:lnTo>
                  <a:lnTo>
                    <a:pt x="45" y="206"/>
                  </a:lnTo>
                  <a:lnTo>
                    <a:pt x="45" y="207"/>
                  </a:lnTo>
                  <a:lnTo>
                    <a:pt x="45" y="208"/>
                  </a:lnTo>
                  <a:lnTo>
                    <a:pt x="44" y="209"/>
                  </a:lnTo>
                  <a:lnTo>
                    <a:pt x="44" y="208"/>
                  </a:lnTo>
                  <a:lnTo>
                    <a:pt x="44" y="207"/>
                  </a:lnTo>
                  <a:lnTo>
                    <a:pt x="44" y="206"/>
                  </a:lnTo>
                  <a:lnTo>
                    <a:pt x="43" y="206"/>
                  </a:lnTo>
                  <a:lnTo>
                    <a:pt x="43" y="207"/>
                  </a:lnTo>
                  <a:lnTo>
                    <a:pt x="44" y="207"/>
                  </a:lnTo>
                  <a:lnTo>
                    <a:pt x="44" y="208"/>
                  </a:lnTo>
                  <a:lnTo>
                    <a:pt x="44" y="209"/>
                  </a:lnTo>
                  <a:lnTo>
                    <a:pt x="43" y="209"/>
                  </a:lnTo>
                  <a:lnTo>
                    <a:pt x="43" y="208"/>
                  </a:lnTo>
                  <a:lnTo>
                    <a:pt x="43" y="207"/>
                  </a:lnTo>
                  <a:lnTo>
                    <a:pt x="41" y="207"/>
                  </a:lnTo>
                  <a:lnTo>
                    <a:pt x="41" y="208"/>
                  </a:lnTo>
                  <a:lnTo>
                    <a:pt x="41" y="209"/>
                  </a:lnTo>
                  <a:lnTo>
                    <a:pt x="41" y="208"/>
                  </a:lnTo>
                  <a:lnTo>
                    <a:pt x="40" y="207"/>
                  </a:lnTo>
                  <a:lnTo>
                    <a:pt x="39" y="208"/>
                  </a:lnTo>
                  <a:lnTo>
                    <a:pt x="39" y="207"/>
                  </a:lnTo>
                  <a:lnTo>
                    <a:pt x="40" y="207"/>
                  </a:lnTo>
                  <a:lnTo>
                    <a:pt x="40" y="206"/>
                  </a:lnTo>
                  <a:lnTo>
                    <a:pt x="41" y="206"/>
                  </a:lnTo>
                  <a:lnTo>
                    <a:pt x="43" y="206"/>
                  </a:lnTo>
                  <a:lnTo>
                    <a:pt x="43" y="204"/>
                  </a:lnTo>
                  <a:lnTo>
                    <a:pt x="44" y="204"/>
                  </a:lnTo>
                  <a:lnTo>
                    <a:pt x="44" y="203"/>
                  </a:lnTo>
                  <a:lnTo>
                    <a:pt x="45" y="203"/>
                  </a:lnTo>
                  <a:lnTo>
                    <a:pt x="49" y="201"/>
                  </a:lnTo>
                  <a:lnTo>
                    <a:pt x="47" y="201"/>
                  </a:lnTo>
                  <a:lnTo>
                    <a:pt x="46" y="202"/>
                  </a:lnTo>
                  <a:lnTo>
                    <a:pt x="45" y="202"/>
                  </a:lnTo>
                  <a:lnTo>
                    <a:pt x="45" y="201"/>
                  </a:lnTo>
                  <a:lnTo>
                    <a:pt x="45" y="200"/>
                  </a:lnTo>
                  <a:lnTo>
                    <a:pt x="46" y="198"/>
                  </a:lnTo>
                  <a:lnTo>
                    <a:pt x="46" y="197"/>
                  </a:lnTo>
                  <a:lnTo>
                    <a:pt x="46" y="196"/>
                  </a:lnTo>
                  <a:lnTo>
                    <a:pt x="45" y="196"/>
                  </a:lnTo>
                  <a:lnTo>
                    <a:pt x="45" y="197"/>
                  </a:lnTo>
                  <a:lnTo>
                    <a:pt x="45" y="198"/>
                  </a:lnTo>
                  <a:lnTo>
                    <a:pt x="45" y="197"/>
                  </a:lnTo>
                  <a:lnTo>
                    <a:pt x="44" y="197"/>
                  </a:lnTo>
                  <a:lnTo>
                    <a:pt x="43" y="197"/>
                  </a:lnTo>
                  <a:lnTo>
                    <a:pt x="43" y="198"/>
                  </a:lnTo>
                  <a:lnTo>
                    <a:pt x="43" y="197"/>
                  </a:lnTo>
                  <a:lnTo>
                    <a:pt x="41" y="197"/>
                  </a:lnTo>
                  <a:lnTo>
                    <a:pt x="43" y="197"/>
                  </a:lnTo>
                  <a:lnTo>
                    <a:pt x="43" y="196"/>
                  </a:lnTo>
                  <a:lnTo>
                    <a:pt x="44" y="196"/>
                  </a:lnTo>
                  <a:lnTo>
                    <a:pt x="44" y="195"/>
                  </a:lnTo>
                  <a:lnTo>
                    <a:pt x="43" y="195"/>
                  </a:lnTo>
                  <a:lnTo>
                    <a:pt x="43" y="196"/>
                  </a:lnTo>
                  <a:lnTo>
                    <a:pt x="41" y="197"/>
                  </a:lnTo>
                  <a:lnTo>
                    <a:pt x="41" y="196"/>
                  </a:lnTo>
                  <a:lnTo>
                    <a:pt x="40" y="197"/>
                  </a:lnTo>
                  <a:lnTo>
                    <a:pt x="40" y="198"/>
                  </a:lnTo>
                  <a:lnTo>
                    <a:pt x="40" y="197"/>
                  </a:lnTo>
                  <a:lnTo>
                    <a:pt x="40" y="196"/>
                  </a:lnTo>
                  <a:lnTo>
                    <a:pt x="40" y="195"/>
                  </a:lnTo>
                  <a:lnTo>
                    <a:pt x="39" y="195"/>
                  </a:lnTo>
                  <a:lnTo>
                    <a:pt x="38" y="195"/>
                  </a:lnTo>
                  <a:lnTo>
                    <a:pt x="38" y="196"/>
                  </a:lnTo>
                  <a:lnTo>
                    <a:pt x="38" y="198"/>
                  </a:lnTo>
                  <a:lnTo>
                    <a:pt x="37" y="196"/>
                  </a:lnTo>
                  <a:lnTo>
                    <a:pt x="37" y="195"/>
                  </a:lnTo>
                  <a:lnTo>
                    <a:pt x="37" y="196"/>
                  </a:lnTo>
                  <a:lnTo>
                    <a:pt x="37" y="197"/>
                  </a:lnTo>
                  <a:lnTo>
                    <a:pt x="37" y="196"/>
                  </a:lnTo>
                  <a:lnTo>
                    <a:pt x="35" y="196"/>
                  </a:lnTo>
                  <a:lnTo>
                    <a:pt x="35" y="195"/>
                  </a:lnTo>
                  <a:lnTo>
                    <a:pt x="35" y="196"/>
                  </a:lnTo>
                  <a:lnTo>
                    <a:pt x="34" y="196"/>
                  </a:lnTo>
                  <a:lnTo>
                    <a:pt x="34" y="195"/>
                  </a:lnTo>
                  <a:lnTo>
                    <a:pt x="33" y="196"/>
                  </a:lnTo>
                  <a:lnTo>
                    <a:pt x="33" y="195"/>
                  </a:lnTo>
                  <a:lnTo>
                    <a:pt x="32" y="196"/>
                  </a:lnTo>
                  <a:lnTo>
                    <a:pt x="32" y="195"/>
                  </a:lnTo>
                  <a:lnTo>
                    <a:pt x="32" y="196"/>
                  </a:lnTo>
                  <a:lnTo>
                    <a:pt x="31" y="195"/>
                  </a:lnTo>
                  <a:lnTo>
                    <a:pt x="31" y="194"/>
                  </a:lnTo>
                  <a:lnTo>
                    <a:pt x="31" y="192"/>
                  </a:lnTo>
                  <a:lnTo>
                    <a:pt x="29" y="192"/>
                  </a:lnTo>
                  <a:lnTo>
                    <a:pt x="29" y="194"/>
                  </a:lnTo>
                  <a:lnTo>
                    <a:pt x="29" y="195"/>
                  </a:lnTo>
                  <a:lnTo>
                    <a:pt x="29" y="197"/>
                  </a:lnTo>
                  <a:lnTo>
                    <a:pt x="29" y="196"/>
                  </a:lnTo>
                  <a:lnTo>
                    <a:pt x="29" y="195"/>
                  </a:lnTo>
                  <a:lnTo>
                    <a:pt x="28" y="194"/>
                  </a:lnTo>
                  <a:lnTo>
                    <a:pt x="28" y="195"/>
                  </a:lnTo>
                  <a:lnTo>
                    <a:pt x="28" y="196"/>
                  </a:lnTo>
                  <a:lnTo>
                    <a:pt x="28" y="197"/>
                  </a:lnTo>
                  <a:lnTo>
                    <a:pt x="28" y="196"/>
                  </a:lnTo>
                  <a:lnTo>
                    <a:pt x="28" y="195"/>
                  </a:lnTo>
                  <a:lnTo>
                    <a:pt x="27" y="195"/>
                  </a:lnTo>
                  <a:lnTo>
                    <a:pt x="27" y="196"/>
                  </a:lnTo>
                  <a:lnTo>
                    <a:pt x="27" y="197"/>
                  </a:lnTo>
                  <a:lnTo>
                    <a:pt x="27" y="198"/>
                  </a:lnTo>
                  <a:lnTo>
                    <a:pt x="27" y="200"/>
                  </a:lnTo>
                  <a:lnTo>
                    <a:pt x="26" y="198"/>
                  </a:lnTo>
                  <a:lnTo>
                    <a:pt x="26" y="197"/>
                  </a:lnTo>
                  <a:lnTo>
                    <a:pt x="24" y="197"/>
                  </a:lnTo>
                  <a:lnTo>
                    <a:pt x="24" y="196"/>
                  </a:lnTo>
                  <a:lnTo>
                    <a:pt x="26" y="196"/>
                  </a:lnTo>
                  <a:lnTo>
                    <a:pt x="26" y="195"/>
                  </a:lnTo>
                  <a:lnTo>
                    <a:pt x="27" y="194"/>
                  </a:lnTo>
                  <a:lnTo>
                    <a:pt x="26" y="194"/>
                  </a:lnTo>
                  <a:lnTo>
                    <a:pt x="27" y="194"/>
                  </a:lnTo>
                  <a:lnTo>
                    <a:pt x="27" y="192"/>
                  </a:lnTo>
                  <a:lnTo>
                    <a:pt x="28" y="192"/>
                  </a:lnTo>
                  <a:lnTo>
                    <a:pt x="29" y="192"/>
                  </a:lnTo>
                  <a:lnTo>
                    <a:pt x="29" y="191"/>
                  </a:lnTo>
                  <a:lnTo>
                    <a:pt x="31" y="190"/>
                  </a:lnTo>
                  <a:lnTo>
                    <a:pt x="33" y="190"/>
                  </a:lnTo>
                  <a:lnTo>
                    <a:pt x="34" y="190"/>
                  </a:lnTo>
                  <a:lnTo>
                    <a:pt x="35" y="190"/>
                  </a:lnTo>
                  <a:lnTo>
                    <a:pt x="34" y="189"/>
                  </a:lnTo>
                  <a:lnTo>
                    <a:pt x="35" y="189"/>
                  </a:lnTo>
                  <a:lnTo>
                    <a:pt x="37" y="189"/>
                  </a:lnTo>
                  <a:lnTo>
                    <a:pt x="38" y="189"/>
                  </a:lnTo>
                  <a:lnTo>
                    <a:pt x="38" y="188"/>
                  </a:lnTo>
                  <a:lnTo>
                    <a:pt x="37" y="186"/>
                  </a:lnTo>
                  <a:lnTo>
                    <a:pt x="35" y="186"/>
                  </a:lnTo>
                  <a:lnTo>
                    <a:pt x="35" y="188"/>
                  </a:lnTo>
                  <a:lnTo>
                    <a:pt x="35" y="186"/>
                  </a:lnTo>
                  <a:lnTo>
                    <a:pt x="34" y="188"/>
                  </a:lnTo>
                  <a:lnTo>
                    <a:pt x="34" y="186"/>
                  </a:lnTo>
                  <a:lnTo>
                    <a:pt x="34" y="188"/>
                  </a:lnTo>
                  <a:lnTo>
                    <a:pt x="33" y="189"/>
                  </a:lnTo>
                  <a:lnTo>
                    <a:pt x="33" y="190"/>
                  </a:lnTo>
                  <a:lnTo>
                    <a:pt x="33" y="189"/>
                  </a:lnTo>
                  <a:lnTo>
                    <a:pt x="33" y="188"/>
                  </a:lnTo>
                  <a:lnTo>
                    <a:pt x="32" y="188"/>
                  </a:lnTo>
                  <a:lnTo>
                    <a:pt x="32" y="186"/>
                  </a:lnTo>
                  <a:lnTo>
                    <a:pt x="31" y="188"/>
                  </a:lnTo>
                  <a:lnTo>
                    <a:pt x="31" y="189"/>
                  </a:lnTo>
                  <a:lnTo>
                    <a:pt x="29" y="189"/>
                  </a:lnTo>
                  <a:lnTo>
                    <a:pt x="28" y="189"/>
                  </a:lnTo>
                  <a:lnTo>
                    <a:pt x="28" y="190"/>
                  </a:lnTo>
                  <a:lnTo>
                    <a:pt x="28" y="189"/>
                  </a:lnTo>
                  <a:lnTo>
                    <a:pt x="28" y="188"/>
                  </a:lnTo>
                  <a:lnTo>
                    <a:pt x="27" y="188"/>
                  </a:lnTo>
                  <a:lnTo>
                    <a:pt x="27" y="186"/>
                  </a:lnTo>
                  <a:lnTo>
                    <a:pt x="27" y="188"/>
                  </a:lnTo>
                  <a:lnTo>
                    <a:pt x="27" y="189"/>
                  </a:lnTo>
                  <a:lnTo>
                    <a:pt x="26" y="189"/>
                  </a:lnTo>
                  <a:lnTo>
                    <a:pt x="26" y="190"/>
                  </a:lnTo>
                  <a:lnTo>
                    <a:pt x="26" y="191"/>
                  </a:lnTo>
                  <a:lnTo>
                    <a:pt x="26" y="190"/>
                  </a:lnTo>
                  <a:lnTo>
                    <a:pt x="26" y="189"/>
                  </a:lnTo>
                  <a:lnTo>
                    <a:pt x="24" y="188"/>
                  </a:lnTo>
                  <a:lnTo>
                    <a:pt x="24" y="189"/>
                  </a:lnTo>
                  <a:lnTo>
                    <a:pt x="24" y="190"/>
                  </a:lnTo>
                  <a:lnTo>
                    <a:pt x="23" y="189"/>
                  </a:lnTo>
                  <a:lnTo>
                    <a:pt x="23" y="188"/>
                  </a:lnTo>
                  <a:lnTo>
                    <a:pt x="22" y="188"/>
                  </a:lnTo>
                  <a:lnTo>
                    <a:pt x="22" y="189"/>
                  </a:lnTo>
                  <a:lnTo>
                    <a:pt x="21" y="189"/>
                  </a:lnTo>
                  <a:lnTo>
                    <a:pt x="20" y="190"/>
                  </a:lnTo>
                  <a:lnTo>
                    <a:pt x="20" y="191"/>
                  </a:lnTo>
                  <a:lnTo>
                    <a:pt x="18" y="191"/>
                  </a:lnTo>
                  <a:lnTo>
                    <a:pt x="18" y="190"/>
                  </a:lnTo>
                  <a:lnTo>
                    <a:pt x="18" y="189"/>
                  </a:lnTo>
                  <a:lnTo>
                    <a:pt x="18" y="190"/>
                  </a:lnTo>
                  <a:lnTo>
                    <a:pt x="17" y="190"/>
                  </a:lnTo>
                  <a:lnTo>
                    <a:pt x="18" y="189"/>
                  </a:lnTo>
                  <a:lnTo>
                    <a:pt x="18" y="188"/>
                  </a:lnTo>
                  <a:lnTo>
                    <a:pt x="20" y="186"/>
                  </a:lnTo>
                  <a:lnTo>
                    <a:pt x="20" y="185"/>
                  </a:lnTo>
                  <a:lnTo>
                    <a:pt x="20" y="184"/>
                  </a:lnTo>
                  <a:lnTo>
                    <a:pt x="20" y="186"/>
                  </a:lnTo>
                  <a:lnTo>
                    <a:pt x="18" y="185"/>
                  </a:lnTo>
                  <a:lnTo>
                    <a:pt x="18" y="184"/>
                  </a:lnTo>
                  <a:lnTo>
                    <a:pt x="18" y="183"/>
                  </a:lnTo>
                  <a:lnTo>
                    <a:pt x="20" y="182"/>
                  </a:lnTo>
                  <a:lnTo>
                    <a:pt x="20" y="180"/>
                  </a:lnTo>
                  <a:lnTo>
                    <a:pt x="18" y="180"/>
                  </a:lnTo>
                  <a:lnTo>
                    <a:pt x="17" y="180"/>
                  </a:lnTo>
                  <a:lnTo>
                    <a:pt x="17" y="183"/>
                  </a:lnTo>
                  <a:lnTo>
                    <a:pt x="17" y="185"/>
                  </a:lnTo>
                  <a:lnTo>
                    <a:pt x="17" y="184"/>
                  </a:lnTo>
                  <a:lnTo>
                    <a:pt x="17" y="183"/>
                  </a:lnTo>
                  <a:lnTo>
                    <a:pt x="17" y="182"/>
                  </a:lnTo>
                  <a:lnTo>
                    <a:pt x="16" y="182"/>
                  </a:lnTo>
                  <a:lnTo>
                    <a:pt x="17" y="183"/>
                  </a:lnTo>
                  <a:lnTo>
                    <a:pt x="16" y="184"/>
                  </a:lnTo>
                  <a:lnTo>
                    <a:pt x="16" y="185"/>
                  </a:lnTo>
                  <a:lnTo>
                    <a:pt x="16" y="186"/>
                  </a:lnTo>
                  <a:lnTo>
                    <a:pt x="15" y="185"/>
                  </a:lnTo>
                  <a:lnTo>
                    <a:pt x="15" y="184"/>
                  </a:lnTo>
                  <a:lnTo>
                    <a:pt x="15" y="183"/>
                  </a:lnTo>
                  <a:lnTo>
                    <a:pt x="14" y="183"/>
                  </a:lnTo>
                  <a:lnTo>
                    <a:pt x="12" y="183"/>
                  </a:lnTo>
                  <a:lnTo>
                    <a:pt x="12" y="182"/>
                  </a:lnTo>
                  <a:lnTo>
                    <a:pt x="14" y="182"/>
                  </a:lnTo>
                  <a:lnTo>
                    <a:pt x="15" y="182"/>
                  </a:lnTo>
                  <a:lnTo>
                    <a:pt x="15" y="180"/>
                  </a:lnTo>
                  <a:lnTo>
                    <a:pt x="16" y="180"/>
                  </a:lnTo>
                  <a:lnTo>
                    <a:pt x="17" y="180"/>
                  </a:lnTo>
                  <a:lnTo>
                    <a:pt x="20" y="179"/>
                  </a:lnTo>
                  <a:lnTo>
                    <a:pt x="21" y="179"/>
                  </a:lnTo>
                  <a:lnTo>
                    <a:pt x="22" y="179"/>
                  </a:lnTo>
                  <a:lnTo>
                    <a:pt x="23" y="178"/>
                  </a:lnTo>
                  <a:lnTo>
                    <a:pt x="24" y="178"/>
                  </a:lnTo>
                  <a:lnTo>
                    <a:pt x="26" y="178"/>
                  </a:lnTo>
                  <a:lnTo>
                    <a:pt x="27" y="178"/>
                  </a:lnTo>
                  <a:lnTo>
                    <a:pt x="29" y="177"/>
                  </a:lnTo>
                  <a:lnTo>
                    <a:pt x="32" y="177"/>
                  </a:lnTo>
                  <a:lnTo>
                    <a:pt x="33" y="177"/>
                  </a:lnTo>
                  <a:lnTo>
                    <a:pt x="34" y="177"/>
                  </a:lnTo>
                  <a:lnTo>
                    <a:pt x="34" y="176"/>
                  </a:lnTo>
                  <a:lnTo>
                    <a:pt x="34" y="174"/>
                  </a:lnTo>
                  <a:lnTo>
                    <a:pt x="35" y="174"/>
                  </a:lnTo>
                  <a:lnTo>
                    <a:pt x="34" y="173"/>
                  </a:lnTo>
                  <a:lnTo>
                    <a:pt x="34" y="172"/>
                  </a:lnTo>
                  <a:lnTo>
                    <a:pt x="33" y="172"/>
                  </a:lnTo>
                  <a:lnTo>
                    <a:pt x="33" y="173"/>
                  </a:lnTo>
                  <a:lnTo>
                    <a:pt x="32" y="176"/>
                  </a:lnTo>
                  <a:lnTo>
                    <a:pt x="31" y="176"/>
                  </a:lnTo>
                  <a:lnTo>
                    <a:pt x="31" y="174"/>
                  </a:lnTo>
                  <a:lnTo>
                    <a:pt x="31" y="176"/>
                  </a:lnTo>
                  <a:lnTo>
                    <a:pt x="29" y="174"/>
                  </a:lnTo>
                  <a:lnTo>
                    <a:pt x="28" y="174"/>
                  </a:lnTo>
                  <a:lnTo>
                    <a:pt x="29" y="173"/>
                  </a:lnTo>
                  <a:lnTo>
                    <a:pt x="29" y="172"/>
                  </a:lnTo>
                  <a:lnTo>
                    <a:pt x="29" y="171"/>
                  </a:lnTo>
                  <a:lnTo>
                    <a:pt x="28" y="170"/>
                  </a:lnTo>
                  <a:lnTo>
                    <a:pt x="28" y="171"/>
                  </a:lnTo>
                  <a:lnTo>
                    <a:pt x="27" y="170"/>
                  </a:lnTo>
                  <a:lnTo>
                    <a:pt x="26" y="168"/>
                  </a:lnTo>
                  <a:lnTo>
                    <a:pt x="27" y="170"/>
                  </a:lnTo>
                  <a:lnTo>
                    <a:pt x="27" y="171"/>
                  </a:lnTo>
                  <a:lnTo>
                    <a:pt x="27" y="172"/>
                  </a:lnTo>
                  <a:lnTo>
                    <a:pt x="26" y="173"/>
                  </a:lnTo>
                  <a:lnTo>
                    <a:pt x="26" y="174"/>
                  </a:lnTo>
                  <a:lnTo>
                    <a:pt x="24" y="174"/>
                  </a:lnTo>
                  <a:lnTo>
                    <a:pt x="23" y="174"/>
                  </a:lnTo>
                  <a:lnTo>
                    <a:pt x="23" y="173"/>
                  </a:lnTo>
                  <a:lnTo>
                    <a:pt x="22" y="173"/>
                  </a:lnTo>
                  <a:lnTo>
                    <a:pt x="21" y="173"/>
                  </a:lnTo>
                  <a:lnTo>
                    <a:pt x="22" y="172"/>
                  </a:lnTo>
                  <a:lnTo>
                    <a:pt x="23" y="172"/>
                  </a:lnTo>
                  <a:lnTo>
                    <a:pt x="23" y="171"/>
                  </a:lnTo>
                  <a:lnTo>
                    <a:pt x="24" y="170"/>
                  </a:lnTo>
                  <a:lnTo>
                    <a:pt x="24" y="168"/>
                  </a:lnTo>
                  <a:lnTo>
                    <a:pt x="24" y="167"/>
                  </a:lnTo>
                  <a:lnTo>
                    <a:pt x="26" y="167"/>
                  </a:lnTo>
                  <a:lnTo>
                    <a:pt x="27" y="167"/>
                  </a:lnTo>
                  <a:lnTo>
                    <a:pt x="27" y="166"/>
                  </a:lnTo>
                  <a:lnTo>
                    <a:pt x="28" y="166"/>
                  </a:lnTo>
                  <a:lnTo>
                    <a:pt x="29" y="166"/>
                  </a:lnTo>
                  <a:lnTo>
                    <a:pt x="32" y="165"/>
                  </a:lnTo>
                  <a:lnTo>
                    <a:pt x="33" y="164"/>
                  </a:lnTo>
                  <a:lnTo>
                    <a:pt x="32" y="164"/>
                  </a:lnTo>
                  <a:lnTo>
                    <a:pt x="32" y="162"/>
                  </a:lnTo>
                  <a:lnTo>
                    <a:pt x="31" y="162"/>
                  </a:lnTo>
                  <a:lnTo>
                    <a:pt x="31" y="164"/>
                  </a:lnTo>
                  <a:lnTo>
                    <a:pt x="29" y="164"/>
                  </a:lnTo>
                  <a:lnTo>
                    <a:pt x="31" y="162"/>
                  </a:lnTo>
                  <a:lnTo>
                    <a:pt x="29" y="162"/>
                  </a:lnTo>
                  <a:lnTo>
                    <a:pt x="28" y="162"/>
                  </a:lnTo>
                  <a:lnTo>
                    <a:pt x="29" y="162"/>
                  </a:lnTo>
                  <a:lnTo>
                    <a:pt x="29" y="161"/>
                  </a:lnTo>
                  <a:lnTo>
                    <a:pt x="31" y="161"/>
                  </a:lnTo>
                  <a:lnTo>
                    <a:pt x="32" y="161"/>
                  </a:lnTo>
                  <a:lnTo>
                    <a:pt x="33" y="161"/>
                  </a:lnTo>
                  <a:lnTo>
                    <a:pt x="34" y="161"/>
                  </a:lnTo>
                  <a:lnTo>
                    <a:pt x="34" y="160"/>
                  </a:lnTo>
                  <a:lnTo>
                    <a:pt x="35" y="160"/>
                  </a:lnTo>
                  <a:lnTo>
                    <a:pt x="35" y="159"/>
                  </a:lnTo>
                  <a:lnTo>
                    <a:pt x="37" y="159"/>
                  </a:lnTo>
                  <a:lnTo>
                    <a:pt x="37" y="158"/>
                  </a:lnTo>
                  <a:lnTo>
                    <a:pt x="37" y="156"/>
                  </a:lnTo>
                  <a:lnTo>
                    <a:pt x="38" y="156"/>
                  </a:lnTo>
                  <a:lnTo>
                    <a:pt x="39" y="154"/>
                  </a:lnTo>
                  <a:lnTo>
                    <a:pt x="40" y="153"/>
                  </a:lnTo>
                  <a:lnTo>
                    <a:pt x="39" y="152"/>
                  </a:lnTo>
                  <a:lnTo>
                    <a:pt x="39" y="153"/>
                  </a:lnTo>
                  <a:lnTo>
                    <a:pt x="38" y="153"/>
                  </a:lnTo>
                  <a:lnTo>
                    <a:pt x="38" y="154"/>
                  </a:lnTo>
                  <a:lnTo>
                    <a:pt x="38" y="155"/>
                  </a:lnTo>
                  <a:lnTo>
                    <a:pt x="37" y="154"/>
                  </a:lnTo>
                  <a:lnTo>
                    <a:pt x="37" y="153"/>
                  </a:lnTo>
                  <a:lnTo>
                    <a:pt x="35" y="153"/>
                  </a:lnTo>
                  <a:lnTo>
                    <a:pt x="35" y="154"/>
                  </a:lnTo>
                  <a:lnTo>
                    <a:pt x="35" y="155"/>
                  </a:lnTo>
                  <a:lnTo>
                    <a:pt x="35" y="154"/>
                  </a:lnTo>
                  <a:lnTo>
                    <a:pt x="35" y="153"/>
                  </a:lnTo>
                  <a:lnTo>
                    <a:pt x="35" y="154"/>
                  </a:lnTo>
                  <a:lnTo>
                    <a:pt x="34" y="154"/>
                  </a:lnTo>
                  <a:lnTo>
                    <a:pt x="34" y="153"/>
                  </a:lnTo>
                  <a:lnTo>
                    <a:pt x="34" y="154"/>
                  </a:lnTo>
                  <a:lnTo>
                    <a:pt x="33" y="154"/>
                  </a:lnTo>
                  <a:lnTo>
                    <a:pt x="33" y="153"/>
                  </a:lnTo>
                  <a:lnTo>
                    <a:pt x="32" y="153"/>
                  </a:lnTo>
                  <a:lnTo>
                    <a:pt x="33" y="154"/>
                  </a:lnTo>
                  <a:lnTo>
                    <a:pt x="33" y="156"/>
                  </a:lnTo>
                  <a:lnTo>
                    <a:pt x="32" y="156"/>
                  </a:lnTo>
                  <a:lnTo>
                    <a:pt x="32" y="158"/>
                  </a:lnTo>
                  <a:lnTo>
                    <a:pt x="31" y="158"/>
                  </a:lnTo>
                  <a:lnTo>
                    <a:pt x="31" y="156"/>
                  </a:lnTo>
                  <a:lnTo>
                    <a:pt x="31" y="155"/>
                  </a:lnTo>
                  <a:lnTo>
                    <a:pt x="32" y="154"/>
                  </a:lnTo>
                  <a:lnTo>
                    <a:pt x="32" y="153"/>
                  </a:lnTo>
                  <a:lnTo>
                    <a:pt x="32" y="150"/>
                  </a:lnTo>
                  <a:lnTo>
                    <a:pt x="32" y="149"/>
                  </a:lnTo>
                  <a:lnTo>
                    <a:pt x="31" y="149"/>
                  </a:lnTo>
                  <a:lnTo>
                    <a:pt x="31" y="150"/>
                  </a:lnTo>
                  <a:lnTo>
                    <a:pt x="29" y="150"/>
                  </a:lnTo>
                  <a:lnTo>
                    <a:pt x="29" y="149"/>
                  </a:lnTo>
                  <a:lnTo>
                    <a:pt x="29" y="148"/>
                  </a:lnTo>
                  <a:lnTo>
                    <a:pt x="29" y="150"/>
                  </a:lnTo>
                  <a:lnTo>
                    <a:pt x="28" y="150"/>
                  </a:lnTo>
                  <a:lnTo>
                    <a:pt x="28" y="149"/>
                  </a:lnTo>
                  <a:lnTo>
                    <a:pt x="27" y="148"/>
                  </a:lnTo>
                  <a:lnTo>
                    <a:pt x="27" y="149"/>
                  </a:lnTo>
                  <a:lnTo>
                    <a:pt x="27" y="150"/>
                  </a:lnTo>
                  <a:lnTo>
                    <a:pt x="27" y="152"/>
                  </a:lnTo>
                  <a:lnTo>
                    <a:pt x="27" y="150"/>
                  </a:lnTo>
                  <a:lnTo>
                    <a:pt x="27" y="149"/>
                  </a:lnTo>
                  <a:lnTo>
                    <a:pt x="27" y="148"/>
                  </a:lnTo>
                  <a:lnTo>
                    <a:pt x="26" y="147"/>
                  </a:lnTo>
                  <a:lnTo>
                    <a:pt x="27" y="146"/>
                  </a:lnTo>
                  <a:lnTo>
                    <a:pt x="26" y="146"/>
                  </a:lnTo>
                  <a:lnTo>
                    <a:pt x="26" y="144"/>
                  </a:lnTo>
                  <a:lnTo>
                    <a:pt x="24" y="144"/>
                  </a:lnTo>
                  <a:lnTo>
                    <a:pt x="24" y="143"/>
                  </a:lnTo>
                  <a:lnTo>
                    <a:pt x="26" y="143"/>
                  </a:lnTo>
                  <a:lnTo>
                    <a:pt x="27" y="144"/>
                  </a:lnTo>
                  <a:lnTo>
                    <a:pt x="27" y="143"/>
                  </a:lnTo>
                  <a:lnTo>
                    <a:pt x="27" y="144"/>
                  </a:lnTo>
                  <a:lnTo>
                    <a:pt x="28" y="144"/>
                  </a:lnTo>
                  <a:lnTo>
                    <a:pt x="28" y="143"/>
                  </a:lnTo>
                  <a:lnTo>
                    <a:pt x="28" y="144"/>
                  </a:lnTo>
                  <a:lnTo>
                    <a:pt x="29" y="144"/>
                  </a:lnTo>
                  <a:lnTo>
                    <a:pt x="31" y="146"/>
                  </a:lnTo>
                  <a:lnTo>
                    <a:pt x="33" y="146"/>
                  </a:lnTo>
                  <a:lnTo>
                    <a:pt x="34" y="146"/>
                  </a:lnTo>
                  <a:lnTo>
                    <a:pt x="35" y="147"/>
                  </a:lnTo>
                  <a:lnTo>
                    <a:pt x="37" y="147"/>
                  </a:lnTo>
                  <a:lnTo>
                    <a:pt x="38" y="147"/>
                  </a:lnTo>
                  <a:lnTo>
                    <a:pt x="39" y="147"/>
                  </a:lnTo>
                  <a:lnTo>
                    <a:pt x="40" y="147"/>
                  </a:lnTo>
                  <a:lnTo>
                    <a:pt x="41" y="147"/>
                  </a:lnTo>
                  <a:lnTo>
                    <a:pt x="43" y="148"/>
                  </a:lnTo>
                  <a:lnTo>
                    <a:pt x="45" y="147"/>
                  </a:lnTo>
                  <a:lnTo>
                    <a:pt x="46" y="147"/>
                  </a:lnTo>
                  <a:lnTo>
                    <a:pt x="47" y="147"/>
                  </a:lnTo>
                  <a:lnTo>
                    <a:pt x="47" y="146"/>
                  </a:lnTo>
                  <a:lnTo>
                    <a:pt x="47" y="144"/>
                  </a:lnTo>
                  <a:lnTo>
                    <a:pt x="49" y="144"/>
                  </a:lnTo>
                  <a:lnTo>
                    <a:pt x="50" y="146"/>
                  </a:lnTo>
                  <a:lnTo>
                    <a:pt x="51" y="146"/>
                  </a:lnTo>
                  <a:lnTo>
                    <a:pt x="52" y="144"/>
                  </a:lnTo>
                  <a:lnTo>
                    <a:pt x="53" y="144"/>
                  </a:lnTo>
                  <a:lnTo>
                    <a:pt x="55" y="143"/>
                  </a:lnTo>
                  <a:lnTo>
                    <a:pt x="56" y="142"/>
                  </a:lnTo>
                  <a:lnTo>
                    <a:pt x="57" y="141"/>
                  </a:lnTo>
                  <a:lnTo>
                    <a:pt x="58" y="140"/>
                  </a:lnTo>
                  <a:lnTo>
                    <a:pt x="57" y="140"/>
                  </a:lnTo>
                  <a:lnTo>
                    <a:pt x="58" y="138"/>
                  </a:lnTo>
                  <a:lnTo>
                    <a:pt x="58" y="137"/>
                  </a:lnTo>
                  <a:lnTo>
                    <a:pt x="57" y="137"/>
                  </a:lnTo>
                  <a:lnTo>
                    <a:pt x="57" y="138"/>
                  </a:lnTo>
                  <a:lnTo>
                    <a:pt x="56" y="137"/>
                  </a:lnTo>
                  <a:lnTo>
                    <a:pt x="56" y="138"/>
                  </a:lnTo>
                  <a:lnTo>
                    <a:pt x="56" y="141"/>
                  </a:lnTo>
                  <a:lnTo>
                    <a:pt x="55" y="140"/>
                  </a:lnTo>
                  <a:lnTo>
                    <a:pt x="55" y="138"/>
                  </a:lnTo>
                  <a:lnTo>
                    <a:pt x="53" y="138"/>
                  </a:lnTo>
                  <a:lnTo>
                    <a:pt x="53" y="140"/>
                  </a:lnTo>
                  <a:lnTo>
                    <a:pt x="53" y="141"/>
                  </a:lnTo>
                  <a:lnTo>
                    <a:pt x="52" y="140"/>
                  </a:lnTo>
                  <a:lnTo>
                    <a:pt x="52" y="138"/>
                  </a:lnTo>
                  <a:lnTo>
                    <a:pt x="52" y="140"/>
                  </a:lnTo>
                  <a:lnTo>
                    <a:pt x="51" y="138"/>
                  </a:lnTo>
                  <a:lnTo>
                    <a:pt x="51" y="137"/>
                  </a:lnTo>
                  <a:lnTo>
                    <a:pt x="51" y="140"/>
                  </a:lnTo>
                  <a:lnTo>
                    <a:pt x="51" y="141"/>
                  </a:lnTo>
                  <a:lnTo>
                    <a:pt x="51" y="140"/>
                  </a:lnTo>
                  <a:lnTo>
                    <a:pt x="50" y="138"/>
                  </a:lnTo>
                  <a:lnTo>
                    <a:pt x="49" y="138"/>
                  </a:lnTo>
                  <a:lnTo>
                    <a:pt x="49" y="140"/>
                  </a:lnTo>
                  <a:lnTo>
                    <a:pt x="50" y="141"/>
                  </a:lnTo>
                  <a:lnTo>
                    <a:pt x="49" y="141"/>
                  </a:lnTo>
                  <a:lnTo>
                    <a:pt x="49" y="140"/>
                  </a:lnTo>
                  <a:lnTo>
                    <a:pt x="49" y="138"/>
                  </a:lnTo>
                  <a:lnTo>
                    <a:pt x="47" y="137"/>
                  </a:lnTo>
                  <a:lnTo>
                    <a:pt x="47" y="140"/>
                  </a:lnTo>
                  <a:lnTo>
                    <a:pt x="49" y="141"/>
                  </a:lnTo>
                  <a:lnTo>
                    <a:pt x="47" y="140"/>
                  </a:lnTo>
                  <a:lnTo>
                    <a:pt x="47" y="138"/>
                  </a:lnTo>
                  <a:lnTo>
                    <a:pt x="47" y="141"/>
                  </a:lnTo>
                  <a:lnTo>
                    <a:pt x="46" y="141"/>
                  </a:lnTo>
                  <a:lnTo>
                    <a:pt x="46" y="140"/>
                  </a:lnTo>
                  <a:lnTo>
                    <a:pt x="45" y="140"/>
                  </a:lnTo>
                  <a:lnTo>
                    <a:pt x="45" y="141"/>
                  </a:lnTo>
                  <a:lnTo>
                    <a:pt x="44" y="140"/>
                  </a:lnTo>
                  <a:lnTo>
                    <a:pt x="44" y="142"/>
                  </a:lnTo>
                  <a:lnTo>
                    <a:pt x="43" y="143"/>
                  </a:lnTo>
                  <a:lnTo>
                    <a:pt x="43" y="142"/>
                  </a:lnTo>
                  <a:lnTo>
                    <a:pt x="41" y="142"/>
                  </a:lnTo>
                  <a:lnTo>
                    <a:pt x="41" y="144"/>
                  </a:lnTo>
                  <a:lnTo>
                    <a:pt x="41" y="143"/>
                  </a:lnTo>
                  <a:lnTo>
                    <a:pt x="40" y="142"/>
                  </a:lnTo>
                  <a:lnTo>
                    <a:pt x="40" y="143"/>
                  </a:lnTo>
                  <a:lnTo>
                    <a:pt x="40" y="142"/>
                  </a:lnTo>
                  <a:lnTo>
                    <a:pt x="39" y="141"/>
                  </a:lnTo>
                  <a:lnTo>
                    <a:pt x="39" y="142"/>
                  </a:lnTo>
                  <a:lnTo>
                    <a:pt x="39" y="143"/>
                  </a:lnTo>
                  <a:lnTo>
                    <a:pt x="39" y="144"/>
                  </a:lnTo>
                  <a:lnTo>
                    <a:pt x="39" y="146"/>
                  </a:lnTo>
                  <a:lnTo>
                    <a:pt x="38" y="146"/>
                  </a:lnTo>
                  <a:lnTo>
                    <a:pt x="38" y="144"/>
                  </a:lnTo>
                  <a:lnTo>
                    <a:pt x="38" y="143"/>
                  </a:lnTo>
                  <a:lnTo>
                    <a:pt x="38" y="142"/>
                  </a:lnTo>
                  <a:lnTo>
                    <a:pt x="37" y="143"/>
                  </a:lnTo>
                  <a:lnTo>
                    <a:pt x="37" y="144"/>
                  </a:lnTo>
                  <a:lnTo>
                    <a:pt x="37" y="143"/>
                  </a:lnTo>
                  <a:lnTo>
                    <a:pt x="37" y="144"/>
                  </a:lnTo>
                  <a:lnTo>
                    <a:pt x="35" y="146"/>
                  </a:lnTo>
                  <a:lnTo>
                    <a:pt x="35" y="144"/>
                  </a:lnTo>
                  <a:lnTo>
                    <a:pt x="35" y="143"/>
                  </a:lnTo>
                  <a:lnTo>
                    <a:pt x="34" y="144"/>
                  </a:lnTo>
                  <a:lnTo>
                    <a:pt x="34" y="143"/>
                  </a:lnTo>
                  <a:lnTo>
                    <a:pt x="35" y="143"/>
                  </a:lnTo>
                  <a:lnTo>
                    <a:pt x="37" y="143"/>
                  </a:lnTo>
                  <a:lnTo>
                    <a:pt x="35" y="142"/>
                  </a:lnTo>
                  <a:lnTo>
                    <a:pt x="37" y="142"/>
                  </a:lnTo>
                  <a:lnTo>
                    <a:pt x="38" y="142"/>
                  </a:lnTo>
                  <a:lnTo>
                    <a:pt x="38" y="141"/>
                  </a:lnTo>
                  <a:lnTo>
                    <a:pt x="38" y="140"/>
                  </a:lnTo>
                  <a:lnTo>
                    <a:pt x="39" y="140"/>
                  </a:lnTo>
                  <a:lnTo>
                    <a:pt x="39" y="138"/>
                  </a:lnTo>
                  <a:lnTo>
                    <a:pt x="40" y="138"/>
                  </a:lnTo>
                  <a:lnTo>
                    <a:pt x="40" y="137"/>
                  </a:lnTo>
                  <a:lnTo>
                    <a:pt x="41" y="137"/>
                  </a:lnTo>
                  <a:lnTo>
                    <a:pt x="41" y="136"/>
                  </a:lnTo>
                  <a:lnTo>
                    <a:pt x="41" y="135"/>
                  </a:lnTo>
                  <a:lnTo>
                    <a:pt x="40" y="136"/>
                  </a:lnTo>
                  <a:lnTo>
                    <a:pt x="40" y="137"/>
                  </a:lnTo>
                  <a:lnTo>
                    <a:pt x="39" y="137"/>
                  </a:lnTo>
                  <a:lnTo>
                    <a:pt x="39" y="136"/>
                  </a:lnTo>
                  <a:lnTo>
                    <a:pt x="39" y="137"/>
                  </a:lnTo>
                  <a:lnTo>
                    <a:pt x="39" y="136"/>
                  </a:lnTo>
                  <a:lnTo>
                    <a:pt x="39" y="135"/>
                  </a:lnTo>
                  <a:lnTo>
                    <a:pt x="40" y="135"/>
                  </a:lnTo>
                  <a:lnTo>
                    <a:pt x="40" y="134"/>
                  </a:lnTo>
                  <a:lnTo>
                    <a:pt x="39" y="134"/>
                  </a:lnTo>
                  <a:lnTo>
                    <a:pt x="40" y="134"/>
                  </a:lnTo>
                  <a:lnTo>
                    <a:pt x="43" y="134"/>
                  </a:lnTo>
                  <a:lnTo>
                    <a:pt x="44" y="132"/>
                  </a:lnTo>
                  <a:lnTo>
                    <a:pt x="45" y="132"/>
                  </a:lnTo>
                  <a:lnTo>
                    <a:pt x="46" y="131"/>
                  </a:lnTo>
                  <a:lnTo>
                    <a:pt x="47" y="130"/>
                  </a:lnTo>
                  <a:lnTo>
                    <a:pt x="49" y="130"/>
                  </a:lnTo>
                  <a:lnTo>
                    <a:pt x="50" y="130"/>
                  </a:lnTo>
                  <a:lnTo>
                    <a:pt x="51" y="130"/>
                  </a:lnTo>
                  <a:lnTo>
                    <a:pt x="52" y="129"/>
                  </a:lnTo>
                  <a:lnTo>
                    <a:pt x="53" y="129"/>
                  </a:lnTo>
                  <a:lnTo>
                    <a:pt x="53" y="128"/>
                  </a:lnTo>
                  <a:lnTo>
                    <a:pt x="52" y="128"/>
                  </a:lnTo>
                  <a:lnTo>
                    <a:pt x="53" y="128"/>
                  </a:lnTo>
                  <a:lnTo>
                    <a:pt x="55" y="128"/>
                  </a:lnTo>
                  <a:lnTo>
                    <a:pt x="56" y="126"/>
                  </a:lnTo>
                  <a:lnTo>
                    <a:pt x="56" y="125"/>
                  </a:lnTo>
                  <a:lnTo>
                    <a:pt x="56" y="124"/>
                  </a:lnTo>
                  <a:lnTo>
                    <a:pt x="56" y="123"/>
                  </a:lnTo>
                  <a:lnTo>
                    <a:pt x="55" y="122"/>
                  </a:lnTo>
                  <a:lnTo>
                    <a:pt x="55" y="123"/>
                  </a:lnTo>
                  <a:lnTo>
                    <a:pt x="55" y="124"/>
                  </a:lnTo>
                  <a:lnTo>
                    <a:pt x="53" y="124"/>
                  </a:lnTo>
                  <a:lnTo>
                    <a:pt x="52" y="124"/>
                  </a:lnTo>
                  <a:lnTo>
                    <a:pt x="52" y="123"/>
                  </a:lnTo>
                  <a:lnTo>
                    <a:pt x="52" y="124"/>
                  </a:lnTo>
                  <a:lnTo>
                    <a:pt x="52" y="125"/>
                  </a:lnTo>
                  <a:lnTo>
                    <a:pt x="51" y="124"/>
                  </a:lnTo>
                  <a:lnTo>
                    <a:pt x="51" y="123"/>
                  </a:lnTo>
                  <a:lnTo>
                    <a:pt x="51" y="124"/>
                  </a:lnTo>
                  <a:lnTo>
                    <a:pt x="50" y="124"/>
                  </a:lnTo>
                  <a:lnTo>
                    <a:pt x="50" y="123"/>
                  </a:lnTo>
                  <a:lnTo>
                    <a:pt x="50" y="124"/>
                  </a:lnTo>
                  <a:lnTo>
                    <a:pt x="50" y="125"/>
                  </a:lnTo>
                  <a:lnTo>
                    <a:pt x="50" y="126"/>
                  </a:lnTo>
                  <a:lnTo>
                    <a:pt x="49" y="126"/>
                  </a:lnTo>
                  <a:lnTo>
                    <a:pt x="49" y="125"/>
                  </a:lnTo>
                  <a:lnTo>
                    <a:pt x="49" y="124"/>
                  </a:lnTo>
                  <a:lnTo>
                    <a:pt x="49" y="125"/>
                  </a:lnTo>
                  <a:lnTo>
                    <a:pt x="47" y="125"/>
                  </a:lnTo>
                  <a:lnTo>
                    <a:pt x="47" y="124"/>
                  </a:lnTo>
                  <a:lnTo>
                    <a:pt x="46" y="125"/>
                  </a:lnTo>
                  <a:lnTo>
                    <a:pt x="46" y="124"/>
                  </a:lnTo>
                  <a:lnTo>
                    <a:pt x="46" y="125"/>
                  </a:lnTo>
                  <a:lnTo>
                    <a:pt x="45" y="125"/>
                  </a:lnTo>
                  <a:lnTo>
                    <a:pt x="45" y="126"/>
                  </a:lnTo>
                  <a:lnTo>
                    <a:pt x="45" y="128"/>
                  </a:lnTo>
                  <a:lnTo>
                    <a:pt x="44" y="128"/>
                  </a:lnTo>
                  <a:lnTo>
                    <a:pt x="44" y="126"/>
                  </a:lnTo>
                  <a:lnTo>
                    <a:pt x="44" y="125"/>
                  </a:lnTo>
                  <a:lnTo>
                    <a:pt x="43" y="125"/>
                  </a:lnTo>
                  <a:lnTo>
                    <a:pt x="41" y="125"/>
                  </a:lnTo>
                  <a:lnTo>
                    <a:pt x="41" y="124"/>
                  </a:lnTo>
                  <a:lnTo>
                    <a:pt x="41" y="125"/>
                  </a:lnTo>
                  <a:lnTo>
                    <a:pt x="40" y="125"/>
                  </a:lnTo>
                  <a:lnTo>
                    <a:pt x="39" y="125"/>
                  </a:lnTo>
                  <a:lnTo>
                    <a:pt x="40" y="124"/>
                  </a:lnTo>
                  <a:lnTo>
                    <a:pt x="41" y="123"/>
                  </a:lnTo>
                  <a:lnTo>
                    <a:pt x="43" y="123"/>
                  </a:lnTo>
                  <a:lnTo>
                    <a:pt x="44" y="123"/>
                  </a:lnTo>
                  <a:lnTo>
                    <a:pt x="45" y="122"/>
                  </a:lnTo>
                  <a:lnTo>
                    <a:pt x="44" y="122"/>
                  </a:lnTo>
                  <a:lnTo>
                    <a:pt x="43" y="122"/>
                  </a:lnTo>
                  <a:lnTo>
                    <a:pt x="45" y="120"/>
                  </a:lnTo>
                  <a:lnTo>
                    <a:pt x="44" y="120"/>
                  </a:lnTo>
                  <a:lnTo>
                    <a:pt x="45" y="120"/>
                  </a:lnTo>
                  <a:lnTo>
                    <a:pt x="46" y="119"/>
                  </a:lnTo>
                  <a:lnTo>
                    <a:pt x="47" y="119"/>
                  </a:lnTo>
                  <a:lnTo>
                    <a:pt x="47" y="118"/>
                  </a:lnTo>
                  <a:lnTo>
                    <a:pt x="49" y="118"/>
                  </a:lnTo>
                  <a:lnTo>
                    <a:pt x="50" y="118"/>
                  </a:lnTo>
                  <a:lnTo>
                    <a:pt x="50" y="117"/>
                  </a:lnTo>
                  <a:lnTo>
                    <a:pt x="51" y="118"/>
                  </a:lnTo>
                  <a:lnTo>
                    <a:pt x="52" y="118"/>
                  </a:lnTo>
                  <a:lnTo>
                    <a:pt x="52" y="117"/>
                  </a:lnTo>
                  <a:lnTo>
                    <a:pt x="53" y="117"/>
                  </a:lnTo>
                  <a:lnTo>
                    <a:pt x="53" y="116"/>
                  </a:lnTo>
                  <a:lnTo>
                    <a:pt x="55" y="117"/>
                  </a:lnTo>
                  <a:lnTo>
                    <a:pt x="56" y="117"/>
                  </a:lnTo>
                  <a:lnTo>
                    <a:pt x="56" y="116"/>
                  </a:lnTo>
                  <a:lnTo>
                    <a:pt x="58" y="116"/>
                  </a:lnTo>
                  <a:lnTo>
                    <a:pt x="59" y="114"/>
                  </a:lnTo>
                  <a:lnTo>
                    <a:pt x="61" y="114"/>
                  </a:lnTo>
                  <a:lnTo>
                    <a:pt x="62" y="114"/>
                  </a:lnTo>
                  <a:lnTo>
                    <a:pt x="63" y="114"/>
                  </a:lnTo>
                  <a:lnTo>
                    <a:pt x="64" y="113"/>
                  </a:lnTo>
                  <a:lnTo>
                    <a:pt x="65" y="113"/>
                  </a:lnTo>
                  <a:lnTo>
                    <a:pt x="67" y="113"/>
                  </a:lnTo>
                  <a:lnTo>
                    <a:pt x="68" y="112"/>
                  </a:lnTo>
                  <a:lnTo>
                    <a:pt x="68" y="113"/>
                  </a:lnTo>
                  <a:lnTo>
                    <a:pt x="69" y="113"/>
                  </a:lnTo>
                  <a:lnTo>
                    <a:pt x="70" y="113"/>
                  </a:lnTo>
                  <a:lnTo>
                    <a:pt x="70" y="112"/>
                  </a:lnTo>
                  <a:lnTo>
                    <a:pt x="71" y="112"/>
                  </a:lnTo>
                  <a:lnTo>
                    <a:pt x="73" y="112"/>
                  </a:lnTo>
                  <a:lnTo>
                    <a:pt x="74" y="112"/>
                  </a:lnTo>
                  <a:lnTo>
                    <a:pt x="74" y="111"/>
                  </a:lnTo>
                  <a:lnTo>
                    <a:pt x="73" y="111"/>
                  </a:lnTo>
                  <a:lnTo>
                    <a:pt x="73" y="112"/>
                  </a:lnTo>
                  <a:lnTo>
                    <a:pt x="71" y="112"/>
                  </a:lnTo>
                  <a:lnTo>
                    <a:pt x="70" y="112"/>
                  </a:lnTo>
                  <a:lnTo>
                    <a:pt x="69" y="112"/>
                  </a:lnTo>
                  <a:lnTo>
                    <a:pt x="69" y="113"/>
                  </a:lnTo>
                  <a:lnTo>
                    <a:pt x="68" y="112"/>
                  </a:lnTo>
                  <a:lnTo>
                    <a:pt x="67" y="112"/>
                  </a:lnTo>
                  <a:lnTo>
                    <a:pt x="65" y="112"/>
                  </a:lnTo>
                  <a:lnTo>
                    <a:pt x="65" y="113"/>
                  </a:lnTo>
                  <a:lnTo>
                    <a:pt x="64" y="113"/>
                  </a:lnTo>
                  <a:lnTo>
                    <a:pt x="63" y="113"/>
                  </a:lnTo>
                  <a:lnTo>
                    <a:pt x="63" y="112"/>
                  </a:lnTo>
                  <a:lnTo>
                    <a:pt x="62" y="113"/>
                  </a:lnTo>
                  <a:lnTo>
                    <a:pt x="61" y="113"/>
                  </a:lnTo>
                  <a:lnTo>
                    <a:pt x="61" y="114"/>
                  </a:lnTo>
                  <a:lnTo>
                    <a:pt x="59" y="113"/>
                  </a:lnTo>
                  <a:lnTo>
                    <a:pt x="59" y="114"/>
                  </a:lnTo>
                  <a:lnTo>
                    <a:pt x="58" y="114"/>
                  </a:lnTo>
                  <a:lnTo>
                    <a:pt x="57" y="113"/>
                  </a:lnTo>
                  <a:lnTo>
                    <a:pt x="57" y="114"/>
                  </a:lnTo>
                  <a:lnTo>
                    <a:pt x="57" y="113"/>
                  </a:lnTo>
                  <a:lnTo>
                    <a:pt x="56" y="112"/>
                  </a:lnTo>
                  <a:lnTo>
                    <a:pt x="56" y="113"/>
                  </a:lnTo>
                  <a:lnTo>
                    <a:pt x="56" y="114"/>
                  </a:lnTo>
                  <a:lnTo>
                    <a:pt x="55" y="116"/>
                  </a:lnTo>
                  <a:lnTo>
                    <a:pt x="55" y="114"/>
                  </a:lnTo>
                  <a:lnTo>
                    <a:pt x="55" y="113"/>
                  </a:lnTo>
                  <a:lnTo>
                    <a:pt x="53" y="116"/>
                  </a:lnTo>
                  <a:lnTo>
                    <a:pt x="53" y="114"/>
                  </a:lnTo>
                  <a:lnTo>
                    <a:pt x="53" y="113"/>
                  </a:lnTo>
                  <a:lnTo>
                    <a:pt x="53" y="112"/>
                  </a:lnTo>
                  <a:lnTo>
                    <a:pt x="52" y="114"/>
                  </a:lnTo>
                  <a:lnTo>
                    <a:pt x="52" y="116"/>
                  </a:lnTo>
                  <a:lnTo>
                    <a:pt x="51" y="116"/>
                  </a:lnTo>
                  <a:lnTo>
                    <a:pt x="51" y="114"/>
                  </a:lnTo>
                  <a:lnTo>
                    <a:pt x="51" y="116"/>
                  </a:lnTo>
                  <a:lnTo>
                    <a:pt x="51" y="117"/>
                  </a:lnTo>
                  <a:lnTo>
                    <a:pt x="50" y="117"/>
                  </a:lnTo>
                  <a:lnTo>
                    <a:pt x="50" y="116"/>
                  </a:lnTo>
                  <a:lnTo>
                    <a:pt x="49" y="114"/>
                  </a:lnTo>
                  <a:lnTo>
                    <a:pt x="49" y="113"/>
                  </a:lnTo>
                  <a:lnTo>
                    <a:pt x="49" y="114"/>
                  </a:lnTo>
                  <a:lnTo>
                    <a:pt x="49" y="116"/>
                  </a:lnTo>
                  <a:lnTo>
                    <a:pt x="47" y="116"/>
                  </a:lnTo>
                  <a:lnTo>
                    <a:pt x="47" y="114"/>
                  </a:lnTo>
                  <a:lnTo>
                    <a:pt x="47" y="116"/>
                  </a:lnTo>
                  <a:lnTo>
                    <a:pt x="47" y="117"/>
                  </a:lnTo>
                  <a:lnTo>
                    <a:pt x="46" y="117"/>
                  </a:lnTo>
                  <a:lnTo>
                    <a:pt x="46" y="116"/>
                  </a:lnTo>
                  <a:lnTo>
                    <a:pt x="45" y="116"/>
                  </a:lnTo>
                  <a:lnTo>
                    <a:pt x="45" y="114"/>
                  </a:lnTo>
                  <a:lnTo>
                    <a:pt x="44" y="113"/>
                  </a:lnTo>
                  <a:lnTo>
                    <a:pt x="44" y="114"/>
                  </a:lnTo>
                  <a:lnTo>
                    <a:pt x="43" y="116"/>
                  </a:lnTo>
                  <a:lnTo>
                    <a:pt x="43" y="114"/>
                  </a:lnTo>
                  <a:lnTo>
                    <a:pt x="40" y="116"/>
                  </a:lnTo>
                  <a:lnTo>
                    <a:pt x="40" y="114"/>
                  </a:lnTo>
                  <a:lnTo>
                    <a:pt x="41" y="114"/>
                  </a:lnTo>
                  <a:lnTo>
                    <a:pt x="43" y="114"/>
                  </a:lnTo>
                  <a:lnTo>
                    <a:pt x="41" y="113"/>
                  </a:lnTo>
                  <a:lnTo>
                    <a:pt x="43" y="113"/>
                  </a:lnTo>
                  <a:lnTo>
                    <a:pt x="44" y="113"/>
                  </a:lnTo>
                  <a:lnTo>
                    <a:pt x="44" y="112"/>
                  </a:lnTo>
                  <a:lnTo>
                    <a:pt x="45" y="112"/>
                  </a:lnTo>
                  <a:lnTo>
                    <a:pt x="46" y="111"/>
                  </a:lnTo>
                  <a:lnTo>
                    <a:pt x="47" y="110"/>
                  </a:lnTo>
                  <a:lnTo>
                    <a:pt x="46" y="110"/>
                  </a:lnTo>
                  <a:lnTo>
                    <a:pt x="46" y="108"/>
                  </a:lnTo>
                  <a:lnTo>
                    <a:pt x="47" y="108"/>
                  </a:lnTo>
                  <a:lnTo>
                    <a:pt x="47" y="107"/>
                  </a:lnTo>
                  <a:lnTo>
                    <a:pt x="47" y="108"/>
                  </a:lnTo>
                  <a:lnTo>
                    <a:pt x="49" y="108"/>
                  </a:lnTo>
                  <a:lnTo>
                    <a:pt x="50" y="108"/>
                  </a:lnTo>
                  <a:lnTo>
                    <a:pt x="52" y="107"/>
                  </a:lnTo>
                  <a:lnTo>
                    <a:pt x="53" y="107"/>
                  </a:lnTo>
                  <a:lnTo>
                    <a:pt x="53" y="106"/>
                  </a:lnTo>
                  <a:lnTo>
                    <a:pt x="53" y="107"/>
                  </a:lnTo>
                  <a:lnTo>
                    <a:pt x="55" y="107"/>
                  </a:lnTo>
                  <a:lnTo>
                    <a:pt x="55" y="106"/>
                  </a:lnTo>
                  <a:lnTo>
                    <a:pt x="56" y="106"/>
                  </a:lnTo>
                  <a:lnTo>
                    <a:pt x="57" y="106"/>
                  </a:lnTo>
                  <a:lnTo>
                    <a:pt x="59" y="106"/>
                  </a:lnTo>
                  <a:lnTo>
                    <a:pt x="59" y="105"/>
                  </a:lnTo>
                  <a:lnTo>
                    <a:pt x="61" y="105"/>
                  </a:lnTo>
                  <a:lnTo>
                    <a:pt x="62" y="105"/>
                  </a:lnTo>
                  <a:lnTo>
                    <a:pt x="63" y="103"/>
                  </a:lnTo>
                  <a:lnTo>
                    <a:pt x="64" y="103"/>
                  </a:lnTo>
                  <a:lnTo>
                    <a:pt x="65" y="102"/>
                  </a:lnTo>
                  <a:lnTo>
                    <a:pt x="67" y="102"/>
                  </a:lnTo>
                  <a:lnTo>
                    <a:pt x="68" y="102"/>
                  </a:lnTo>
                  <a:lnTo>
                    <a:pt x="69" y="102"/>
                  </a:lnTo>
                  <a:lnTo>
                    <a:pt x="71" y="102"/>
                  </a:lnTo>
                  <a:lnTo>
                    <a:pt x="73" y="102"/>
                  </a:lnTo>
                  <a:lnTo>
                    <a:pt x="74" y="101"/>
                  </a:lnTo>
                  <a:lnTo>
                    <a:pt x="75" y="101"/>
                  </a:lnTo>
                  <a:lnTo>
                    <a:pt x="76" y="101"/>
                  </a:lnTo>
                  <a:lnTo>
                    <a:pt x="79" y="101"/>
                  </a:lnTo>
                  <a:lnTo>
                    <a:pt x="80" y="100"/>
                  </a:lnTo>
                  <a:lnTo>
                    <a:pt x="81" y="101"/>
                  </a:lnTo>
                  <a:lnTo>
                    <a:pt x="82" y="101"/>
                  </a:lnTo>
                  <a:lnTo>
                    <a:pt x="82" y="100"/>
                  </a:lnTo>
                  <a:lnTo>
                    <a:pt x="83" y="100"/>
                  </a:lnTo>
                  <a:lnTo>
                    <a:pt x="85" y="100"/>
                  </a:lnTo>
                  <a:lnTo>
                    <a:pt x="86" y="100"/>
                  </a:lnTo>
                  <a:lnTo>
                    <a:pt x="87" y="100"/>
                  </a:lnTo>
                  <a:lnTo>
                    <a:pt x="88" y="100"/>
                  </a:lnTo>
                  <a:lnTo>
                    <a:pt x="88" y="99"/>
                  </a:lnTo>
                  <a:lnTo>
                    <a:pt x="89" y="99"/>
                  </a:lnTo>
                  <a:lnTo>
                    <a:pt x="89" y="97"/>
                  </a:lnTo>
                  <a:lnTo>
                    <a:pt x="91" y="97"/>
                  </a:lnTo>
                  <a:lnTo>
                    <a:pt x="92" y="97"/>
                  </a:lnTo>
                  <a:lnTo>
                    <a:pt x="92" y="96"/>
                  </a:lnTo>
                  <a:lnTo>
                    <a:pt x="93" y="95"/>
                  </a:lnTo>
                  <a:lnTo>
                    <a:pt x="94" y="95"/>
                  </a:lnTo>
                  <a:lnTo>
                    <a:pt x="94" y="93"/>
                  </a:lnTo>
                  <a:lnTo>
                    <a:pt x="94" y="91"/>
                  </a:lnTo>
                  <a:lnTo>
                    <a:pt x="93" y="93"/>
                  </a:lnTo>
                  <a:lnTo>
                    <a:pt x="93" y="91"/>
                  </a:lnTo>
                  <a:lnTo>
                    <a:pt x="93" y="90"/>
                  </a:lnTo>
                  <a:lnTo>
                    <a:pt x="92" y="91"/>
                  </a:lnTo>
                  <a:lnTo>
                    <a:pt x="93" y="93"/>
                  </a:lnTo>
                  <a:lnTo>
                    <a:pt x="93" y="94"/>
                  </a:lnTo>
                  <a:lnTo>
                    <a:pt x="93" y="95"/>
                  </a:lnTo>
                  <a:lnTo>
                    <a:pt x="92" y="95"/>
                  </a:lnTo>
                  <a:lnTo>
                    <a:pt x="92" y="96"/>
                  </a:lnTo>
                  <a:lnTo>
                    <a:pt x="91" y="97"/>
                  </a:lnTo>
                  <a:lnTo>
                    <a:pt x="91" y="96"/>
                  </a:lnTo>
                  <a:lnTo>
                    <a:pt x="89" y="97"/>
                  </a:lnTo>
                  <a:lnTo>
                    <a:pt x="88" y="97"/>
                  </a:lnTo>
                  <a:lnTo>
                    <a:pt x="89" y="96"/>
                  </a:lnTo>
                  <a:lnTo>
                    <a:pt x="89" y="95"/>
                  </a:lnTo>
                  <a:lnTo>
                    <a:pt x="89" y="94"/>
                  </a:lnTo>
                  <a:lnTo>
                    <a:pt x="89" y="93"/>
                  </a:lnTo>
                  <a:lnTo>
                    <a:pt x="89" y="91"/>
                  </a:lnTo>
                  <a:lnTo>
                    <a:pt x="88" y="93"/>
                  </a:lnTo>
                  <a:lnTo>
                    <a:pt x="89" y="93"/>
                  </a:lnTo>
                  <a:lnTo>
                    <a:pt x="88" y="93"/>
                  </a:lnTo>
                  <a:lnTo>
                    <a:pt x="88" y="94"/>
                  </a:lnTo>
                  <a:lnTo>
                    <a:pt x="88" y="93"/>
                  </a:lnTo>
                  <a:lnTo>
                    <a:pt x="87" y="93"/>
                  </a:lnTo>
                  <a:lnTo>
                    <a:pt x="87" y="94"/>
                  </a:lnTo>
                  <a:lnTo>
                    <a:pt x="87" y="95"/>
                  </a:lnTo>
                  <a:lnTo>
                    <a:pt x="86" y="95"/>
                  </a:lnTo>
                  <a:lnTo>
                    <a:pt x="86" y="94"/>
                  </a:lnTo>
                  <a:lnTo>
                    <a:pt x="86" y="95"/>
                  </a:lnTo>
                  <a:lnTo>
                    <a:pt x="85" y="95"/>
                  </a:lnTo>
                  <a:lnTo>
                    <a:pt x="85" y="96"/>
                  </a:lnTo>
                  <a:lnTo>
                    <a:pt x="85" y="95"/>
                  </a:lnTo>
                  <a:lnTo>
                    <a:pt x="83" y="95"/>
                  </a:lnTo>
                  <a:lnTo>
                    <a:pt x="85" y="96"/>
                  </a:lnTo>
                  <a:lnTo>
                    <a:pt x="85" y="97"/>
                  </a:lnTo>
                  <a:lnTo>
                    <a:pt x="83" y="97"/>
                  </a:lnTo>
                  <a:lnTo>
                    <a:pt x="83" y="96"/>
                  </a:lnTo>
                  <a:lnTo>
                    <a:pt x="83" y="95"/>
                  </a:lnTo>
                  <a:lnTo>
                    <a:pt x="83" y="96"/>
                  </a:lnTo>
                  <a:lnTo>
                    <a:pt x="83" y="97"/>
                  </a:lnTo>
                  <a:lnTo>
                    <a:pt x="82" y="97"/>
                  </a:lnTo>
                  <a:lnTo>
                    <a:pt x="82" y="99"/>
                  </a:lnTo>
                  <a:lnTo>
                    <a:pt x="82" y="97"/>
                  </a:lnTo>
                  <a:lnTo>
                    <a:pt x="81" y="97"/>
                  </a:lnTo>
                  <a:lnTo>
                    <a:pt x="81" y="96"/>
                  </a:lnTo>
                  <a:lnTo>
                    <a:pt x="80" y="96"/>
                  </a:lnTo>
                  <a:lnTo>
                    <a:pt x="81" y="95"/>
                  </a:lnTo>
                  <a:lnTo>
                    <a:pt x="81" y="94"/>
                  </a:lnTo>
                  <a:lnTo>
                    <a:pt x="81" y="95"/>
                  </a:lnTo>
                  <a:lnTo>
                    <a:pt x="80" y="94"/>
                  </a:lnTo>
                  <a:lnTo>
                    <a:pt x="80" y="93"/>
                  </a:lnTo>
                  <a:lnTo>
                    <a:pt x="79" y="94"/>
                  </a:lnTo>
                  <a:lnTo>
                    <a:pt x="79" y="93"/>
                  </a:lnTo>
                  <a:lnTo>
                    <a:pt x="79" y="91"/>
                  </a:lnTo>
                  <a:lnTo>
                    <a:pt x="77" y="91"/>
                  </a:lnTo>
                  <a:lnTo>
                    <a:pt x="77" y="88"/>
                  </a:lnTo>
                  <a:lnTo>
                    <a:pt x="77" y="87"/>
                  </a:lnTo>
                  <a:lnTo>
                    <a:pt x="77" y="88"/>
                  </a:lnTo>
                  <a:lnTo>
                    <a:pt x="76" y="88"/>
                  </a:lnTo>
                  <a:lnTo>
                    <a:pt x="76" y="87"/>
                  </a:lnTo>
                  <a:lnTo>
                    <a:pt x="75" y="87"/>
                  </a:lnTo>
                  <a:lnTo>
                    <a:pt x="75" y="88"/>
                  </a:lnTo>
                  <a:lnTo>
                    <a:pt x="75" y="89"/>
                  </a:lnTo>
                  <a:lnTo>
                    <a:pt x="74" y="89"/>
                  </a:lnTo>
                  <a:lnTo>
                    <a:pt x="74" y="88"/>
                  </a:lnTo>
                  <a:lnTo>
                    <a:pt x="74" y="87"/>
                  </a:lnTo>
                  <a:lnTo>
                    <a:pt x="74" y="85"/>
                  </a:lnTo>
                  <a:lnTo>
                    <a:pt x="73" y="85"/>
                  </a:lnTo>
                  <a:lnTo>
                    <a:pt x="73" y="84"/>
                  </a:lnTo>
                  <a:lnTo>
                    <a:pt x="74" y="83"/>
                  </a:lnTo>
                  <a:lnTo>
                    <a:pt x="74" y="82"/>
                  </a:lnTo>
                  <a:lnTo>
                    <a:pt x="73" y="82"/>
                  </a:lnTo>
                  <a:lnTo>
                    <a:pt x="73" y="83"/>
                  </a:lnTo>
                  <a:lnTo>
                    <a:pt x="71" y="83"/>
                  </a:lnTo>
                  <a:lnTo>
                    <a:pt x="70" y="82"/>
                  </a:lnTo>
                  <a:lnTo>
                    <a:pt x="70" y="84"/>
                  </a:lnTo>
                  <a:lnTo>
                    <a:pt x="70" y="83"/>
                  </a:lnTo>
                  <a:lnTo>
                    <a:pt x="70" y="82"/>
                  </a:lnTo>
                  <a:lnTo>
                    <a:pt x="69" y="81"/>
                  </a:lnTo>
                  <a:lnTo>
                    <a:pt x="69" y="79"/>
                  </a:lnTo>
                  <a:lnTo>
                    <a:pt x="69" y="78"/>
                  </a:lnTo>
                  <a:lnTo>
                    <a:pt x="68" y="78"/>
                  </a:lnTo>
                  <a:lnTo>
                    <a:pt x="68" y="79"/>
                  </a:lnTo>
                  <a:lnTo>
                    <a:pt x="67" y="79"/>
                  </a:lnTo>
                  <a:lnTo>
                    <a:pt x="67" y="78"/>
                  </a:lnTo>
                  <a:lnTo>
                    <a:pt x="67" y="77"/>
                  </a:lnTo>
                  <a:lnTo>
                    <a:pt x="67" y="76"/>
                  </a:lnTo>
                  <a:lnTo>
                    <a:pt x="65" y="76"/>
                  </a:lnTo>
                  <a:lnTo>
                    <a:pt x="67" y="76"/>
                  </a:lnTo>
                  <a:lnTo>
                    <a:pt x="67" y="75"/>
                  </a:lnTo>
                  <a:lnTo>
                    <a:pt x="68" y="75"/>
                  </a:lnTo>
                  <a:lnTo>
                    <a:pt x="68" y="73"/>
                  </a:lnTo>
                  <a:lnTo>
                    <a:pt x="67" y="73"/>
                  </a:lnTo>
                  <a:lnTo>
                    <a:pt x="65" y="75"/>
                  </a:lnTo>
                  <a:lnTo>
                    <a:pt x="65" y="76"/>
                  </a:lnTo>
                  <a:lnTo>
                    <a:pt x="65" y="75"/>
                  </a:lnTo>
                  <a:lnTo>
                    <a:pt x="65" y="76"/>
                  </a:lnTo>
                  <a:lnTo>
                    <a:pt x="65" y="75"/>
                  </a:lnTo>
                  <a:lnTo>
                    <a:pt x="65" y="73"/>
                  </a:lnTo>
                  <a:lnTo>
                    <a:pt x="64" y="73"/>
                  </a:lnTo>
                  <a:lnTo>
                    <a:pt x="65" y="73"/>
                  </a:lnTo>
                  <a:lnTo>
                    <a:pt x="65" y="72"/>
                  </a:lnTo>
                  <a:lnTo>
                    <a:pt x="67" y="72"/>
                  </a:lnTo>
                  <a:lnTo>
                    <a:pt x="65" y="72"/>
                  </a:lnTo>
                  <a:lnTo>
                    <a:pt x="64" y="72"/>
                  </a:lnTo>
                  <a:lnTo>
                    <a:pt x="65" y="72"/>
                  </a:lnTo>
                  <a:lnTo>
                    <a:pt x="65" y="71"/>
                  </a:lnTo>
                  <a:lnTo>
                    <a:pt x="64" y="71"/>
                  </a:lnTo>
                  <a:lnTo>
                    <a:pt x="63" y="71"/>
                  </a:lnTo>
                  <a:lnTo>
                    <a:pt x="63" y="70"/>
                  </a:lnTo>
                  <a:lnTo>
                    <a:pt x="62" y="70"/>
                  </a:lnTo>
                  <a:lnTo>
                    <a:pt x="62" y="71"/>
                  </a:lnTo>
                  <a:lnTo>
                    <a:pt x="62" y="70"/>
                  </a:lnTo>
                  <a:lnTo>
                    <a:pt x="61" y="70"/>
                  </a:lnTo>
                  <a:lnTo>
                    <a:pt x="61" y="69"/>
                  </a:lnTo>
                  <a:lnTo>
                    <a:pt x="63" y="69"/>
                  </a:lnTo>
                  <a:lnTo>
                    <a:pt x="64" y="70"/>
                  </a:lnTo>
                  <a:lnTo>
                    <a:pt x="65" y="70"/>
                  </a:lnTo>
                  <a:lnTo>
                    <a:pt x="67" y="70"/>
                  </a:lnTo>
                  <a:lnTo>
                    <a:pt x="67" y="71"/>
                  </a:lnTo>
                  <a:lnTo>
                    <a:pt x="68" y="71"/>
                  </a:lnTo>
                  <a:lnTo>
                    <a:pt x="69" y="71"/>
                  </a:lnTo>
                  <a:lnTo>
                    <a:pt x="69" y="70"/>
                  </a:lnTo>
                  <a:lnTo>
                    <a:pt x="68" y="70"/>
                  </a:lnTo>
                  <a:lnTo>
                    <a:pt x="68" y="69"/>
                  </a:lnTo>
                  <a:lnTo>
                    <a:pt x="67" y="69"/>
                  </a:lnTo>
                  <a:lnTo>
                    <a:pt x="65" y="69"/>
                  </a:lnTo>
                  <a:lnTo>
                    <a:pt x="64" y="69"/>
                  </a:lnTo>
                  <a:lnTo>
                    <a:pt x="65" y="67"/>
                  </a:lnTo>
                  <a:lnTo>
                    <a:pt x="64" y="67"/>
                  </a:lnTo>
                  <a:lnTo>
                    <a:pt x="65" y="67"/>
                  </a:lnTo>
                  <a:lnTo>
                    <a:pt x="67" y="67"/>
                  </a:lnTo>
                  <a:lnTo>
                    <a:pt x="68" y="67"/>
                  </a:lnTo>
                  <a:lnTo>
                    <a:pt x="68" y="69"/>
                  </a:lnTo>
                  <a:lnTo>
                    <a:pt x="69" y="70"/>
                  </a:lnTo>
                  <a:lnTo>
                    <a:pt x="69" y="69"/>
                  </a:lnTo>
                  <a:lnTo>
                    <a:pt x="68" y="69"/>
                  </a:lnTo>
                  <a:lnTo>
                    <a:pt x="69" y="69"/>
                  </a:lnTo>
                  <a:lnTo>
                    <a:pt x="69" y="67"/>
                  </a:lnTo>
                  <a:lnTo>
                    <a:pt x="70" y="67"/>
                  </a:lnTo>
                  <a:lnTo>
                    <a:pt x="70" y="69"/>
                  </a:lnTo>
                  <a:lnTo>
                    <a:pt x="70" y="70"/>
                  </a:lnTo>
                  <a:lnTo>
                    <a:pt x="71" y="71"/>
                  </a:lnTo>
                  <a:lnTo>
                    <a:pt x="73" y="71"/>
                  </a:lnTo>
                  <a:lnTo>
                    <a:pt x="73" y="70"/>
                  </a:lnTo>
                  <a:lnTo>
                    <a:pt x="74" y="70"/>
                  </a:lnTo>
                  <a:lnTo>
                    <a:pt x="75" y="70"/>
                  </a:lnTo>
                  <a:lnTo>
                    <a:pt x="75" y="69"/>
                  </a:lnTo>
                  <a:lnTo>
                    <a:pt x="74" y="69"/>
                  </a:lnTo>
                  <a:lnTo>
                    <a:pt x="74" y="67"/>
                  </a:lnTo>
                  <a:lnTo>
                    <a:pt x="73" y="67"/>
                  </a:lnTo>
                  <a:lnTo>
                    <a:pt x="71" y="67"/>
                  </a:lnTo>
                  <a:lnTo>
                    <a:pt x="71" y="66"/>
                  </a:lnTo>
                  <a:lnTo>
                    <a:pt x="70" y="66"/>
                  </a:lnTo>
                  <a:lnTo>
                    <a:pt x="71" y="66"/>
                  </a:lnTo>
                  <a:lnTo>
                    <a:pt x="71" y="65"/>
                  </a:lnTo>
                  <a:lnTo>
                    <a:pt x="71" y="64"/>
                  </a:lnTo>
                  <a:lnTo>
                    <a:pt x="73" y="65"/>
                  </a:lnTo>
                  <a:lnTo>
                    <a:pt x="74" y="65"/>
                  </a:lnTo>
                  <a:lnTo>
                    <a:pt x="74" y="66"/>
                  </a:lnTo>
                  <a:lnTo>
                    <a:pt x="75" y="66"/>
                  </a:lnTo>
                  <a:lnTo>
                    <a:pt x="75" y="65"/>
                  </a:lnTo>
                  <a:lnTo>
                    <a:pt x="75" y="66"/>
                  </a:lnTo>
                  <a:lnTo>
                    <a:pt x="76" y="66"/>
                  </a:lnTo>
                  <a:lnTo>
                    <a:pt x="77" y="67"/>
                  </a:lnTo>
                  <a:lnTo>
                    <a:pt x="79" y="66"/>
                  </a:lnTo>
                  <a:lnTo>
                    <a:pt x="80" y="66"/>
                  </a:lnTo>
                  <a:lnTo>
                    <a:pt x="80" y="65"/>
                  </a:lnTo>
                  <a:lnTo>
                    <a:pt x="81" y="65"/>
                  </a:lnTo>
                  <a:lnTo>
                    <a:pt x="80" y="64"/>
                  </a:lnTo>
                  <a:lnTo>
                    <a:pt x="81" y="64"/>
                  </a:lnTo>
                  <a:lnTo>
                    <a:pt x="80" y="64"/>
                  </a:lnTo>
                  <a:lnTo>
                    <a:pt x="80" y="63"/>
                  </a:lnTo>
                  <a:lnTo>
                    <a:pt x="81" y="63"/>
                  </a:lnTo>
                  <a:lnTo>
                    <a:pt x="81" y="61"/>
                  </a:lnTo>
                  <a:lnTo>
                    <a:pt x="80" y="61"/>
                  </a:lnTo>
                  <a:lnTo>
                    <a:pt x="80" y="63"/>
                  </a:lnTo>
                  <a:lnTo>
                    <a:pt x="80" y="61"/>
                  </a:lnTo>
                  <a:lnTo>
                    <a:pt x="79" y="61"/>
                  </a:lnTo>
                  <a:lnTo>
                    <a:pt x="80" y="61"/>
                  </a:lnTo>
                  <a:lnTo>
                    <a:pt x="79" y="61"/>
                  </a:lnTo>
                  <a:lnTo>
                    <a:pt x="77" y="61"/>
                  </a:lnTo>
                  <a:lnTo>
                    <a:pt x="77" y="60"/>
                  </a:lnTo>
                  <a:lnTo>
                    <a:pt x="77" y="59"/>
                  </a:lnTo>
                  <a:lnTo>
                    <a:pt x="76" y="59"/>
                  </a:lnTo>
                  <a:lnTo>
                    <a:pt x="76" y="60"/>
                  </a:lnTo>
                  <a:lnTo>
                    <a:pt x="75" y="60"/>
                  </a:lnTo>
                  <a:lnTo>
                    <a:pt x="75" y="59"/>
                  </a:lnTo>
                  <a:lnTo>
                    <a:pt x="75" y="58"/>
                  </a:lnTo>
                  <a:lnTo>
                    <a:pt x="74" y="58"/>
                  </a:lnTo>
                  <a:lnTo>
                    <a:pt x="74" y="57"/>
                  </a:lnTo>
                  <a:lnTo>
                    <a:pt x="74" y="58"/>
                  </a:lnTo>
                  <a:lnTo>
                    <a:pt x="74" y="57"/>
                  </a:lnTo>
                  <a:lnTo>
                    <a:pt x="74" y="55"/>
                  </a:lnTo>
                  <a:lnTo>
                    <a:pt x="74" y="57"/>
                  </a:lnTo>
                  <a:lnTo>
                    <a:pt x="73" y="57"/>
                  </a:lnTo>
                  <a:lnTo>
                    <a:pt x="71" y="57"/>
                  </a:lnTo>
                  <a:lnTo>
                    <a:pt x="73" y="57"/>
                  </a:lnTo>
                  <a:lnTo>
                    <a:pt x="73" y="55"/>
                  </a:lnTo>
                  <a:lnTo>
                    <a:pt x="74" y="55"/>
                  </a:lnTo>
                  <a:lnTo>
                    <a:pt x="74" y="54"/>
                  </a:lnTo>
                  <a:lnTo>
                    <a:pt x="73" y="54"/>
                  </a:lnTo>
                  <a:lnTo>
                    <a:pt x="71" y="55"/>
                  </a:lnTo>
                  <a:lnTo>
                    <a:pt x="73" y="54"/>
                  </a:lnTo>
                  <a:lnTo>
                    <a:pt x="71" y="53"/>
                  </a:lnTo>
                  <a:lnTo>
                    <a:pt x="70" y="54"/>
                  </a:lnTo>
                  <a:lnTo>
                    <a:pt x="71" y="53"/>
                  </a:lnTo>
                  <a:lnTo>
                    <a:pt x="70" y="53"/>
                  </a:lnTo>
                  <a:lnTo>
                    <a:pt x="69" y="53"/>
                  </a:lnTo>
                  <a:lnTo>
                    <a:pt x="69" y="52"/>
                  </a:lnTo>
                  <a:lnTo>
                    <a:pt x="68" y="52"/>
                  </a:lnTo>
                  <a:lnTo>
                    <a:pt x="68" y="51"/>
                  </a:lnTo>
                  <a:lnTo>
                    <a:pt x="67" y="51"/>
                  </a:lnTo>
                  <a:lnTo>
                    <a:pt x="65" y="51"/>
                  </a:lnTo>
                  <a:lnTo>
                    <a:pt x="67" y="51"/>
                  </a:lnTo>
                  <a:lnTo>
                    <a:pt x="67" y="49"/>
                  </a:lnTo>
                  <a:lnTo>
                    <a:pt x="65" y="49"/>
                  </a:lnTo>
                  <a:lnTo>
                    <a:pt x="67" y="49"/>
                  </a:lnTo>
                  <a:lnTo>
                    <a:pt x="68" y="51"/>
                  </a:lnTo>
                  <a:lnTo>
                    <a:pt x="69" y="51"/>
                  </a:lnTo>
                  <a:lnTo>
                    <a:pt x="69" y="52"/>
                  </a:lnTo>
                  <a:lnTo>
                    <a:pt x="70" y="52"/>
                  </a:lnTo>
                  <a:lnTo>
                    <a:pt x="71" y="52"/>
                  </a:lnTo>
                  <a:lnTo>
                    <a:pt x="71" y="51"/>
                  </a:lnTo>
                  <a:lnTo>
                    <a:pt x="71" y="52"/>
                  </a:lnTo>
                  <a:lnTo>
                    <a:pt x="71" y="53"/>
                  </a:lnTo>
                  <a:lnTo>
                    <a:pt x="73" y="53"/>
                  </a:lnTo>
                  <a:lnTo>
                    <a:pt x="73" y="52"/>
                  </a:lnTo>
                  <a:lnTo>
                    <a:pt x="73" y="53"/>
                  </a:lnTo>
                  <a:lnTo>
                    <a:pt x="74" y="53"/>
                  </a:lnTo>
                  <a:lnTo>
                    <a:pt x="75" y="54"/>
                  </a:lnTo>
                  <a:lnTo>
                    <a:pt x="75" y="53"/>
                  </a:lnTo>
                  <a:lnTo>
                    <a:pt x="75" y="54"/>
                  </a:lnTo>
                  <a:lnTo>
                    <a:pt x="77" y="55"/>
                  </a:lnTo>
                  <a:lnTo>
                    <a:pt x="79" y="55"/>
                  </a:lnTo>
                  <a:lnTo>
                    <a:pt x="79" y="57"/>
                  </a:lnTo>
                  <a:lnTo>
                    <a:pt x="80" y="57"/>
                  </a:lnTo>
                  <a:lnTo>
                    <a:pt x="81" y="57"/>
                  </a:lnTo>
                  <a:lnTo>
                    <a:pt x="82" y="57"/>
                  </a:lnTo>
                  <a:lnTo>
                    <a:pt x="83" y="57"/>
                  </a:lnTo>
                  <a:lnTo>
                    <a:pt x="85" y="55"/>
                  </a:lnTo>
                  <a:lnTo>
                    <a:pt x="86" y="55"/>
                  </a:lnTo>
                  <a:lnTo>
                    <a:pt x="87" y="55"/>
                  </a:lnTo>
                  <a:lnTo>
                    <a:pt x="87" y="54"/>
                  </a:lnTo>
                  <a:lnTo>
                    <a:pt x="86" y="54"/>
                  </a:lnTo>
                  <a:lnTo>
                    <a:pt x="85" y="54"/>
                  </a:lnTo>
                  <a:lnTo>
                    <a:pt x="86" y="54"/>
                  </a:lnTo>
                  <a:lnTo>
                    <a:pt x="87" y="53"/>
                  </a:lnTo>
                  <a:lnTo>
                    <a:pt x="87" y="52"/>
                  </a:lnTo>
                  <a:lnTo>
                    <a:pt x="86" y="52"/>
                  </a:lnTo>
                  <a:lnTo>
                    <a:pt x="86" y="51"/>
                  </a:lnTo>
                  <a:lnTo>
                    <a:pt x="87" y="51"/>
                  </a:lnTo>
                  <a:lnTo>
                    <a:pt x="88" y="52"/>
                  </a:lnTo>
                  <a:lnTo>
                    <a:pt x="89" y="49"/>
                  </a:lnTo>
                  <a:lnTo>
                    <a:pt x="91" y="49"/>
                  </a:lnTo>
                  <a:lnTo>
                    <a:pt x="91" y="48"/>
                  </a:lnTo>
                  <a:lnTo>
                    <a:pt x="92" y="48"/>
                  </a:lnTo>
                  <a:lnTo>
                    <a:pt x="93" y="47"/>
                  </a:lnTo>
                  <a:lnTo>
                    <a:pt x="93" y="46"/>
                  </a:lnTo>
                  <a:lnTo>
                    <a:pt x="92" y="46"/>
                  </a:lnTo>
                  <a:lnTo>
                    <a:pt x="93" y="46"/>
                  </a:lnTo>
                  <a:lnTo>
                    <a:pt x="93" y="45"/>
                  </a:lnTo>
                  <a:lnTo>
                    <a:pt x="92" y="45"/>
                  </a:lnTo>
                  <a:lnTo>
                    <a:pt x="91" y="45"/>
                  </a:lnTo>
                  <a:lnTo>
                    <a:pt x="91" y="46"/>
                  </a:lnTo>
                  <a:lnTo>
                    <a:pt x="91" y="45"/>
                  </a:lnTo>
                  <a:lnTo>
                    <a:pt x="91" y="46"/>
                  </a:lnTo>
                  <a:lnTo>
                    <a:pt x="89" y="46"/>
                  </a:lnTo>
                  <a:lnTo>
                    <a:pt x="89" y="45"/>
                  </a:lnTo>
                  <a:lnTo>
                    <a:pt x="88" y="46"/>
                  </a:lnTo>
                  <a:lnTo>
                    <a:pt x="89" y="45"/>
                  </a:lnTo>
                  <a:lnTo>
                    <a:pt x="88" y="45"/>
                  </a:lnTo>
                  <a:lnTo>
                    <a:pt x="87" y="45"/>
                  </a:lnTo>
                  <a:lnTo>
                    <a:pt x="87" y="43"/>
                  </a:lnTo>
                  <a:lnTo>
                    <a:pt x="87" y="42"/>
                  </a:lnTo>
                  <a:lnTo>
                    <a:pt x="87" y="41"/>
                  </a:lnTo>
                  <a:lnTo>
                    <a:pt x="88" y="42"/>
                  </a:lnTo>
                  <a:lnTo>
                    <a:pt x="88" y="41"/>
                  </a:lnTo>
                  <a:lnTo>
                    <a:pt x="87" y="41"/>
                  </a:lnTo>
                  <a:lnTo>
                    <a:pt x="87" y="40"/>
                  </a:lnTo>
                  <a:lnTo>
                    <a:pt x="86" y="41"/>
                  </a:lnTo>
                  <a:lnTo>
                    <a:pt x="86" y="40"/>
                  </a:lnTo>
                  <a:lnTo>
                    <a:pt x="87" y="40"/>
                  </a:lnTo>
                  <a:lnTo>
                    <a:pt x="86" y="40"/>
                  </a:lnTo>
                  <a:lnTo>
                    <a:pt x="86" y="37"/>
                  </a:lnTo>
                  <a:lnTo>
                    <a:pt x="86" y="39"/>
                  </a:lnTo>
                  <a:lnTo>
                    <a:pt x="85" y="39"/>
                  </a:lnTo>
                  <a:lnTo>
                    <a:pt x="85" y="40"/>
                  </a:lnTo>
                  <a:lnTo>
                    <a:pt x="85" y="39"/>
                  </a:lnTo>
                  <a:lnTo>
                    <a:pt x="83" y="39"/>
                  </a:lnTo>
                  <a:lnTo>
                    <a:pt x="85" y="39"/>
                  </a:lnTo>
                  <a:lnTo>
                    <a:pt x="85" y="37"/>
                  </a:lnTo>
                  <a:lnTo>
                    <a:pt x="83" y="37"/>
                  </a:lnTo>
                  <a:lnTo>
                    <a:pt x="85" y="37"/>
                  </a:lnTo>
                  <a:lnTo>
                    <a:pt x="86" y="37"/>
                  </a:lnTo>
                  <a:lnTo>
                    <a:pt x="86" y="36"/>
                  </a:lnTo>
                  <a:lnTo>
                    <a:pt x="85" y="36"/>
                  </a:lnTo>
                  <a:lnTo>
                    <a:pt x="83" y="36"/>
                  </a:lnTo>
                  <a:lnTo>
                    <a:pt x="85" y="36"/>
                  </a:lnTo>
                  <a:lnTo>
                    <a:pt x="83" y="36"/>
                  </a:lnTo>
                  <a:lnTo>
                    <a:pt x="82" y="36"/>
                  </a:lnTo>
                  <a:lnTo>
                    <a:pt x="83" y="35"/>
                  </a:lnTo>
                  <a:lnTo>
                    <a:pt x="82" y="35"/>
                  </a:lnTo>
                  <a:lnTo>
                    <a:pt x="83" y="35"/>
                  </a:lnTo>
                  <a:lnTo>
                    <a:pt x="82" y="35"/>
                  </a:lnTo>
                  <a:lnTo>
                    <a:pt x="81" y="35"/>
                  </a:lnTo>
                  <a:lnTo>
                    <a:pt x="80" y="35"/>
                  </a:lnTo>
                  <a:lnTo>
                    <a:pt x="80" y="34"/>
                  </a:lnTo>
                  <a:lnTo>
                    <a:pt x="81" y="34"/>
                  </a:lnTo>
                  <a:lnTo>
                    <a:pt x="82" y="34"/>
                  </a:lnTo>
                  <a:lnTo>
                    <a:pt x="81" y="33"/>
                  </a:lnTo>
                  <a:lnTo>
                    <a:pt x="81" y="34"/>
                  </a:lnTo>
                  <a:lnTo>
                    <a:pt x="80" y="34"/>
                  </a:lnTo>
                  <a:lnTo>
                    <a:pt x="80" y="33"/>
                  </a:lnTo>
                  <a:lnTo>
                    <a:pt x="79" y="33"/>
                  </a:lnTo>
                  <a:lnTo>
                    <a:pt x="79" y="34"/>
                  </a:lnTo>
                  <a:lnTo>
                    <a:pt x="79" y="33"/>
                  </a:lnTo>
                  <a:lnTo>
                    <a:pt x="77" y="33"/>
                  </a:lnTo>
                  <a:lnTo>
                    <a:pt x="76" y="33"/>
                  </a:lnTo>
                  <a:lnTo>
                    <a:pt x="77" y="33"/>
                  </a:lnTo>
                  <a:lnTo>
                    <a:pt x="77" y="31"/>
                  </a:lnTo>
                  <a:lnTo>
                    <a:pt x="75" y="30"/>
                  </a:lnTo>
                  <a:lnTo>
                    <a:pt x="76" y="30"/>
                  </a:lnTo>
                  <a:lnTo>
                    <a:pt x="77" y="31"/>
                  </a:lnTo>
                  <a:lnTo>
                    <a:pt x="79" y="31"/>
                  </a:lnTo>
                  <a:lnTo>
                    <a:pt x="77" y="30"/>
                  </a:lnTo>
                  <a:lnTo>
                    <a:pt x="79" y="31"/>
                  </a:lnTo>
                  <a:lnTo>
                    <a:pt x="80" y="31"/>
                  </a:lnTo>
                  <a:lnTo>
                    <a:pt x="80" y="33"/>
                  </a:lnTo>
                  <a:lnTo>
                    <a:pt x="81" y="31"/>
                  </a:lnTo>
                  <a:lnTo>
                    <a:pt x="81" y="33"/>
                  </a:lnTo>
                  <a:lnTo>
                    <a:pt x="82" y="33"/>
                  </a:lnTo>
                  <a:lnTo>
                    <a:pt x="81" y="33"/>
                  </a:lnTo>
                  <a:lnTo>
                    <a:pt x="82" y="33"/>
                  </a:lnTo>
                  <a:lnTo>
                    <a:pt x="82" y="31"/>
                  </a:lnTo>
                  <a:lnTo>
                    <a:pt x="82" y="33"/>
                  </a:lnTo>
                  <a:lnTo>
                    <a:pt x="83" y="33"/>
                  </a:lnTo>
                  <a:lnTo>
                    <a:pt x="83" y="34"/>
                  </a:lnTo>
                  <a:lnTo>
                    <a:pt x="85" y="35"/>
                  </a:lnTo>
                  <a:lnTo>
                    <a:pt x="85" y="34"/>
                  </a:lnTo>
                  <a:lnTo>
                    <a:pt x="85" y="35"/>
                  </a:lnTo>
                  <a:lnTo>
                    <a:pt x="86" y="35"/>
                  </a:lnTo>
                  <a:lnTo>
                    <a:pt x="86" y="36"/>
                  </a:lnTo>
                  <a:lnTo>
                    <a:pt x="87" y="36"/>
                  </a:lnTo>
                  <a:lnTo>
                    <a:pt x="87" y="35"/>
                  </a:lnTo>
                  <a:lnTo>
                    <a:pt x="87" y="36"/>
                  </a:lnTo>
                  <a:lnTo>
                    <a:pt x="86" y="36"/>
                  </a:lnTo>
                  <a:lnTo>
                    <a:pt x="87" y="35"/>
                  </a:lnTo>
                  <a:lnTo>
                    <a:pt x="87" y="34"/>
                  </a:lnTo>
                  <a:lnTo>
                    <a:pt x="87" y="35"/>
                  </a:lnTo>
                  <a:lnTo>
                    <a:pt x="88" y="35"/>
                  </a:lnTo>
                  <a:lnTo>
                    <a:pt x="88" y="34"/>
                  </a:lnTo>
                  <a:lnTo>
                    <a:pt x="88" y="35"/>
                  </a:lnTo>
                  <a:lnTo>
                    <a:pt x="88" y="36"/>
                  </a:lnTo>
                  <a:lnTo>
                    <a:pt x="87" y="36"/>
                  </a:lnTo>
                  <a:lnTo>
                    <a:pt x="87" y="37"/>
                  </a:lnTo>
                  <a:lnTo>
                    <a:pt x="88" y="37"/>
                  </a:lnTo>
                  <a:lnTo>
                    <a:pt x="88" y="39"/>
                  </a:lnTo>
                  <a:lnTo>
                    <a:pt x="89" y="39"/>
                  </a:lnTo>
                  <a:lnTo>
                    <a:pt x="91" y="40"/>
                  </a:lnTo>
                  <a:lnTo>
                    <a:pt x="92" y="40"/>
                  </a:lnTo>
                  <a:lnTo>
                    <a:pt x="93" y="39"/>
                  </a:lnTo>
                  <a:lnTo>
                    <a:pt x="93" y="37"/>
                  </a:lnTo>
                  <a:lnTo>
                    <a:pt x="93" y="39"/>
                  </a:lnTo>
                  <a:lnTo>
                    <a:pt x="92" y="37"/>
                  </a:lnTo>
                  <a:lnTo>
                    <a:pt x="93" y="37"/>
                  </a:lnTo>
                  <a:lnTo>
                    <a:pt x="93" y="36"/>
                  </a:lnTo>
                  <a:lnTo>
                    <a:pt x="92" y="36"/>
                  </a:lnTo>
                  <a:lnTo>
                    <a:pt x="92" y="35"/>
                  </a:lnTo>
                  <a:lnTo>
                    <a:pt x="93" y="35"/>
                  </a:lnTo>
                  <a:lnTo>
                    <a:pt x="94" y="35"/>
                  </a:lnTo>
                  <a:lnTo>
                    <a:pt x="94" y="34"/>
                  </a:lnTo>
                  <a:lnTo>
                    <a:pt x="93" y="34"/>
                  </a:lnTo>
                  <a:lnTo>
                    <a:pt x="92" y="34"/>
                  </a:lnTo>
                  <a:lnTo>
                    <a:pt x="92" y="33"/>
                  </a:lnTo>
                  <a:lnTo>
                    <a:pt x="93" y="33"/>
                  </a:lnTo>
                  <a:lnTo>
                    <a:pt x="92" y="33"/>
                  </a:lnTo>
                  <a:lnTo>
                    <a:pt x="91" y="33"/>
                  </a:lnTo>
                  <a:lnTo>
                    <a:pt x="89" y="33"/>
                  </a:lnTo>
                  <a:lnTo>
                    <a:pt x="89" y="34"/>
                  </a:lnTo>
                  <a:lnTo>
                    <a:pt x="89" y="33"/>
                  </a:lnTo>
                  <a:lnTo>
                    <a:pt x="91" y="31"/>
                  </a:lnTo>
                  <a:lnTo>
                    <a:pt x="89" y="31"/>
                  </a:lnTo>
                  <a:lnTo>
                    <a:pt x="89" y="30"/>
                  </a:lnTo>
                  <a:lnTo>
                    <a:pt x="89" y="31"/>
                  </a:lnTo>
                  <a:lnTo>
                    <a:pt x="89" y="33"/>
                  </a:lnTo>
                  <a:lnTo>
                    <a:pt x="88" y="33"/>
                  </a:lnTo>
                  <a:lnTo>
                    <a:pt x="88" y="31"/>
                  </a:lnTo>
                  <a:lnTo>
                    <a:pt x="87" y="30"/>
                  </a:lnTo>
                  <a:lnTo>
                    <a:pt x="88" y="30"/>
                  </a:lnTo>
                  <a:lnTo>
                    <a:pt x="88" y="29"/>
                  </a:lnTo>
                  <a:lnTo>
                    <a:pt x="87" y="29"/>
                  </a:lnTo>
                  <a:lnTo>
                    <a:pt x="86" y="29"/>
                  </a:lnTo>
                  <a:lnTo>
                    <a:pt x="86" y="28"/>
                  </a:lnTo>
                  <a:lnTo>
                    <a:pt x="87" y="28"/>
                  </a:lnTo>
                  <a:lnTo>
                    <a:pt x="86" y="27"/>
                  </a:lnTo>
                  <a:lnTo>
                    <a:pt x="85" y="27"/>
                  </a:lnTo>
                  <a:lnTo>
                    <a:pt x="83" y="27"/>
                  </a:lnTo>
                  <a:lnTo>
                    <a:pt x="83" y="28"/>
                  </a:lnTo>
                  <a:lnTo>
                    <a:pt x="82" y="28"/>
                  </a:lnTo>
                  <a:lnTo>
                    <a:pt x="82" y="27"/>
                  </a:lnTo>
                  <a:lnTo>
                    <a:pt x="83" y="27"/>
                  </a:lnTo>
                  <a:lnTo>
                    <a:pt x="83" y="25"/>
                  </a:lnTo>
                  <a:lnTo>
                    <a:pt x="83" y="27"/>
                  </a:lnTo>
                  <a:lnTo>
                    <a:pt x="82" y="27"/>
                  </a:lnTo>
                  <a:lnTo>
                    <a:pt x="83" y="25"/>
                  </a:lnTo>
                  <a:lnTo>
                    <a:pt x="82" y="25"/>
                  </a:lnTo>
                  <a:lnTo>
                    <a:pt x="81" y="27"/>
                  </a:lnTo>
                  <a:lnTo>
                    <a:pt x="81" y="25"/>
                  </a:lnTo>
                  <a:lnTo>
                    <a:pt x="81" y="24"/>
                  </a:lnTo>
                  <a:lnTo>
                    <a:pt x="81" y="25"/>
                  </a:lnTo>
                  <a:lnTo>
                    <a:pt x="80" y="25"/>
                  </a:lnTo>
                  <a:lnTo>
                    <a:pt x="80" y="24"/>
                  </a:lnTo>
                  <a:lnTo>
                    <a:pt x="81" y="24"/>
                  </a:lnTo>
                  <a:lnTo>
                    <a:pt x="80" y="24"/>
                  </a:lnTo>
                  <a:lnTo>
                    <a:pt x="79" y="23"/>
                  </a:lnTo>
                  <a:lnTo>
                    <a:pt x="80" y="23"/>
                  </a:lnTo>
                  <a:lnTo>
                    <a:pt x="81" y="24"/>
                  </a:lnTo>
                  <a:lnTo>
                    <a:pt x="81" y="23"/>
                  </a:lnTo>
                  <a:lnTo>
                    <a:pt x="80" y="23"/>
                  </a:lnTo>
                  <a:lnTo>
                    <a:pt x="81" y="23"/>
                  </a:lnTo>
                  <a:lnTo>
                    <a:pt x="82" y="23"/>
                  </a:lnTo>
                  <a:lnTo>
                    <a:pt x="82" y="24"/>
                  </a:lnTo>
                  <a:lnTo>
                    <a:pt x="83" y="24"/>
                  </a:lnTo>
                  <a:lnTo>
                    <a:pt x="85" y="24"/>
                  </a:lnTo>
                  <a:lnTo>
                    <a:pt x="85" y="25"/>
                  </a:lnTo>
                  <a:lnTo>
                    <a:pt x="85" y="24"/>
                  </a:lnTo>
                  <a:lnTo>
                    <a:pt x="86" y="24"/>
                  </a:lnTo>
                  <a:lnTo>
                    <a:pt x="86" y="25"/>
                  </a:lnTo>
                  <a:lnTo>
                    <a:pt x="87" y="25"/>
                  </a:lnTo>
                  <a:lnTo>
                    <a:pt x="87" y="27"/>
                  </a:lnTo>
                  <a:lnTo>
                    <a:pt x="88" y="27"/>
                  </a:lnTo>
                  <a:lnTo>
                    <a:pt x="89" y="27"/>
                  </a:lnTo>
                  <a:lnTo>
                    <a:pt x="91" y="28"/>
                  </a:lnTo>
                  <a:lnTo>
                    <a:pt x="92" y="29"/>
                  </a:lnTo>
                  <a:lnTo>
                    <a:pt x="92" y="28"/>
                  </a:lnTo>
                  <a:lnTo>
                    <a:pt x="92" y="27"/>
                  </a:lnTo>
                  <a:lnTo>
                    <a:pt x="91" y="27"/>
                  </a:lnTo>
                  <a:lnTo>
                    <a:pt x="89" y="27"/>
                  </a:lnTo>
                  <a:lnTo>
                    <a:pt x="91" y="25"/>
                  </a:lnTo>
                  <a:lnTo>
                    <a:pt x="91" y="27"/>
                  </a:lnTo>
                  <a:lnTo>
                    <a:pt x="92" y="27"/>
                  </a:lnTo>
                  <a:lnTo>
                    <a:pt x="92" y="25"/>
                  </a:lnTo>
                  <a:lnTo>
                    <a:pt x="93" y="25"/>
                  </a:lnTo>
                  <a:lnTo>
                    <a:pt x="94" y="25"/>
                  </a:lnTo>
                  <a:lnTo>
                    <a:pt x="96" y="25"/>
                  </a:lnTo>
                  <a:lnTo>
                    <a:pt x="97" y="25"/>
                  </a:lnTo>
                  <a:lnTo>
                    <a:pt x="96" y="25"/>
                  </a:lnTo>
                  <a:lnTo>
                    <a:pt x="96" y="24"/>
                  </a:lnTo>
                  <a:lnTo>
                    <a:pt x="97" y="23"/>
                  </a:lnTo>
                  <a:lnTo>
                    <a:pt x="96" y="23"/>
                  </a:lnTo>
                  <a:lnTo>
                    <a:pt x="96" y="24"/>
                  </a:lnTo>
                  <a:lnTo>
                    <a:pt x="94" y="24"/>
                  </a:lnTo>
                  <a:lnTo>
                    <a:pt x="94" y="25"/>
                  </a:lnTo>
                  <a:lnTo>
                    <a:pt x="94" y="24"/>
                  </a:lnTo>
                  <a:lnTo>
                    <a:pt x="93" y="25"/>
                  </a:lnTo>
                  <a:lnTo>
                    <a:pt x="93" y="24"/>
                  </a:lnTo>
                  <a:lnTo>
                    <a:pt x="92" y="24"/>
                  </a:lnTo>
                  <a:lnTo>
                    <a:pt x="93" y="24"/>
                  </a:lnTo>
                  <a:lnTo>
                    <a:pt x="94" y="24"/>
                  </a:lnTo>
                  <a:lnTo>
                    <a:pt x="94" y="23"/>
                  </a:lnTo>
                  <a:lnTo>
                    <a:pt x="96" y="23"/>
                  </a:lnTo>
                  <a:lnTo>
                    <a:pt x="97" y="22"/>
                  </a:lnTo>
                  <a:lnTo>
                    <a:pt x="98" y="22"/>
                  </a:lnTo>
                  <a:lnTo>
                    <a:pt x="97" y="22"/>
                  </a:lnTo>
                  <a:lnTo>
                    <a:pt x="97" y="21"/>
                  </a:lnTo>
                  <a:lnTo>
                    <a:pt x="98" y="21"/>
                  </a:lnTo>
                  <a:lnTo>
                    <a:pt x="97" y="21"/>
                  </a:lnTo>
                  <a:lnTo>
                    <a:pt x="97" y="19"/>
                  </a:lnTo>
                  <a:lnTo>
                    <a:pt x="97" y="18"/>
                  </a:lnTo>
                  <a:lnTo>
                    <a:pt x="96" y="17"/>
                  </a:lnTo>
                  <a:lnTo>
                    <a:pt x="96" y="16"/>
                  </a:lnTo>
                  <a:lnTo>
                    <a:pt x="97" y="16"/>
                  </a:lnTo>
                  <a:lnTo>
                    <a:pt x="96" y="15"/>
                  </a:lnTo>
                  <a:lnTo>
                    <a:pt x="96" y="16"/>
                  </a:lnTo>
                  <a:lnTo>
                    <a:pt x="94" y="15"/>
                  </a:lnTo>
                  <a:lnTo>
                    <a:pt x="96" y="15"/>
                  </a:lnTo>
                  <a:lnTo>
                    <a:pt x="94" y="15"/>
                  </a:lnTo>
                  <a:lnTo>
                    <a:pt x="96" y="15"/>
                  </a:lnTo>
                  <a:lnTo>
                    <a:pt x="97" y="13"/>
                  </a:lnTo>
                  <a:lnTo>
                    <a:pt x="97" y="15"/>
                  </a:lnTo>
                  <a:lnTo>
                    <a:pt x="97" y="13"/>
                  </a:lnTo>
                  <a:lnTo>
                    <a:pt x="98" y="13"/>
                  </a:lnTo>
                  <a:lnTo>
                    <a:pt x="97" y="13"/>
                  </a:lnTo>
                  <a:lnTo>
                    <a:pt x="96" y="13"/>
                  </a:lnTo>
                  <a:lnTo>
                    <a:pt x="96" y="12"/>
                  </a:lnTo>
                  <a:lnTo>
                    <a:pt x="96" y="13"/>
                  </a:lnTo>
                  <a:lnTo>
                    <a:pt x="94" y="13"/>
                  </a:lnTo>
                  <a:lnTo>
                    <a:pt x="94" y="12"/>
                  </a:lnTo>
                  <a:lnTo>
                    <a:pt x="96" y="12"/>
                  </a:lnTo>
                  <a:lnTo>
                    <a:pt x="94" y="12"/>
                  </a:lnTo>
                  <a:lnTo>
                    <a:pt x="94" y="13"/>
                  </a:lnTo>
                  <a:lnTo>
                    <a:pt x="94" y="12"/>
                  </a:lnTo>
                  <a:lnTo>
                    <a:pt x="93" y="12"/>
                  </a:lnTo>
                  <a:lnTo>
                    <a:pt x="93" y="13"/>
                  </a:lnTo>
                  <a:lnTo>
                    <a:pt x="92" y="12"/>
                  </a:lnTo>
                  <a:lnTo>
                    <a:pt x="93" y="12"/>
                  </a:lnTo>
                  <a:lnTo>
                    <a:pt x="92" y="12"/>
                  </a:lnTo>
                  <a:lnTo>
                    <a:pt x="92" y="11"/>
                  </a:lnTo>
                  <a:lnTo>
                    <a:pt x="91" y="11"/>
                  </a:lnTo>
                  <a:lnTo>
                    <a:pt x="92" y="11"/>
                  </a:lnTo>
                  <a:lnTo>
                    <a:pt x="93" y="11"/>
                  </a:lnTo>
                  <a:lnTo>
                    <a:pt x="94" y="11"/>
                  </a:lnTo>
                  <a:lnTo>
                    <a:pt x="93" y="11"/>
                  </a:lnTo>
                  <a:lnTo>
                    <a:pt x="93" y="10"/>
                  </a:lnTo>
                  <a:lnTo>
                    <a:pt x="94" y="10"/>
                  </a:lnTo>
                  <a:lnTo>
                    <a:pt x="94" y="11"/>
                  </a:lnTo>
                  <a:lnTo>
                    <a:pt x="96" y="11"/>
                  </a:lnTo>
                  <a:lnTo>
                    <a:pt x="96" y="12"/>
                  </a:lnTo>
                  <a:lnTo>
                    <a:pt x="97" y="12"/>
                  </a:lnTo>
                  <a:lnTo>
                    <a:pt x="97" y="11"/>
                  </a:lnTo>
                  <a:lnTo>
                    <a:pt x="96" y="12"/>
                  </a:lnTo>
                  <a:lnTo>
                    <a:pt x="96" y="11"/>
                  </a:lnTo>
                  <a:lnTo>
                    <a:pt x="96" y="10"/>
                  </a:lnTo>
                  <a:lnTo>
                    <a:pt x="94" y="10"/>
                  </a:lnTo>
                  <a:lnTo>
                    <a:pt x="93" y="10"/>
                  </a:lnTo>
                  <a:lnTo>
                    <a:pt x="93" y="9"/>
                  </a:lnTo>
                  <a:lnTo>
                    <a:pt x="96" y="9"/>
                  </a:lnTo>
                  <a:lnTo>
                    <a:pt x="94" y="9"/>
                  </a:lnTo>
                  <a:lnTo>
                    <a:pt x="93" y="9"/>
                  </a:lnTo>
                  <a:lnTo>
                    <a:pt x="93" y="7"/>
                  </a:lnTo>
                  <a:lnTo>
                    <a:pt x="94" y="7"/>
                  </a:lnTo>
                  <a:lnTo>
                    <a:pt x="94" y="9"/>
                  </a:lnTo>
                  <a:lnTo>
                    <a:pt x="93" y="6"/>
                  </a:lnTo>
                  <a:lnTo>
                    <a:pt x="92" y="5"/>
                  </a:lnTo>
                  <a:lnTo>
                    <a:pt x="91" y="4"/>
                  </a:lnTo>
                  <a:lnTo>
                    <a:pt x="92" y="4"/>
                  </a:lnTo>
                  <a:lnTo>
                    <a:pt x="93" y="5"/>
                  </a:lnTo>
                  <a:lnTo>
                    <a:pt x="94" y="6"/>
                  </a:lnTo>
                  <a:lnTo>
                    <a:pt x="94" y="7"/>
                  </a:lnTo>
                  <a:lnTo>
                    <a:pt x="96" y="7"/>
                  </a:lnTo>
                  <a:lnTo>
                    <a:pt x="96" y="9"/>
                  </a:lnTo>
                  <a:lnTo>
                    <a:pt x="97" y="9"/>
                  </a:lnTo>
                  <a:lnTo>
                    <a:pt x="97" y="7"/>
                  </a:lnTo>
                  <a:lnTo>
                    <a:pt x="98" y="7"/>
                  </a:lnTo>
                  <a:lnTo>
                    <a:pt x="98" y="6"/>
                  </a:lnTo>
                  <a:lnTo>
                    <a:pt x="98" y="7"/>
                  </a:lnTo>
                  <a:lnTo>
                    <a:pt x="97" y="7"/>
                  </a:lnTo>
                  <a:lnTo>
                    <a:pt x="97" y="9"/>
                  </a:lnTo>
                  <a:lnTo>
                    <a:pt x="97" y="10"/>
                  </a:lnTo>
                  <a:lnTo>
                    <a:pt x="98" y="10"/>
                  </a:lnTo>
                  <a:lnTo>
                    <a:pt x="98" y="9"/>
                  </a:lnTo>
                  <a:lnTo>
                    <a:pt x="98" y="10"/>
                  </a:lnTo>
                  <a:lnTo>
                    <a:pt x="97" y="10"/>
                  </a:lnTo>
                  <a:lnTo>
                    <a:pt x="97" y="11"/>
                  </a:lnTo>
                  <a:lnTo>
                    <a:pt x="98" y="11"/>
                  </a:lnTo>
                  <a:lnTo>
                    <a:pt x="98" y="10"/>
                  </a:lnTo>
                  <a:lnTo>
                    <a:pt x="98" y="11"/>
                  </a:lnTo>
                  <a:lnTo>
                    <a:pt x="97" y="12"/>
                  </a:lnTo>
                  <a:lnTo>
                    <a:pt x="98" y="12"/>
                  </a:lnTo>
                  <a:lnTo>
                    <a:pt x="98" y="11"/>
                  </a:lnTo>
                  <a:lnTo>
                    <a:pt x="99" y="11"/>
                  </a:lnTo>
                  <a:lnTo>
                    <a:pt x="99" y="10"/>
                  </a:lnTo>
                  <a:lnTo>
                    <a:pt x="98" y="10"/>
                  </a:lnTo>
                  <a:lnTo>
                    <a:pt x="99" y="10"/>
                  </a:lnTo>
                  <a:lnTo>
                    <a:pt x="99" y="9"/>
                  </a:lnTo>
                  <a:lnTo>
                    <a:pt x="98" y="9"/>
                  </a:lnTo>
                  <a:lnTo>
                    <a:pt x="97" y="9"/>
                  </a:lnTo>
                  <a:lnTo>
                    <a:pt x="98" y="9"/>
                  </a:lnTo>
                  <a:lnTo>
                    <a:pt x="99" y="9"/>
                  </a:lnTo>
                  <a:lnTo>
                    <a:pt x="99" y="7"/>
                  </a:lnTo>
                  <a:lnTo>
                    <a:pt x="99" y="6"/>
                  </a:lnTo>
                  <a:lnTo>
                    <a:pt x="99" y="5"/>
                  </a:lnTo>
                  <a:lnTo>
                    <a:pt x="99" y="4"/>
                  </a:lnTo>
                  <a:lnTo>
                    <a:pt x="100" y="4"/>
                  </a:lnTo>
                  <a:lnTo>
                    <a:pt x="100" y="5"/>
                  </a:lnTo>
                  <a:lnTo>
                    <a:pt x="100" y="6"/>
                  </a:lnTo>
                  <a:lnTo>
                    <a:pt x="100" y="7"/>
                  </a:lnTo>
                  <a:lnTo>
                    <a:pt x="100" y="9"/>
                  </a:lnTo>
                  <a:lnTo>
                    <a:pt x="99" y="10"/>
                  </a:lnTo>
                  <a:lnTo>
                    <a:pt x="99" y="11"/>
                  </a:lnTo>
                  <a:lnTo>
                    <a:pt x="100" y="10"/>
                  </a:lnTo>
                  <a:lnTo>
                    <a:pt x="100" y="11"/>
                  </a:lnTo>
                  <a:lnTo>
                    <a:pt x="102" y="11"/>
                  </a:lnTo>
                  <a:lnTo>
                    <a:pt x="102" y="10"/>
                  </a:lnTo>
                  <a:lnTo>
                    <a:pt x="102" y="9"/>
                  </a:lnTo>
                  <a:lnTo>
                    <a:pt x="103" y="10"/>
                  </a:lnTo>
                  <a:lnTo>
                    <a:pt x="102" y="9"/>
                  </a:lnTo>
                  <a:lnTo>
                    <a:pt x="103" y="9"/>
                  </a:lnTo>
                  <a:lnTo>
                    <a:pt x="102" y="7"/>
                  </a:lnTo>
                  <a:lnTo>
                    <a:pt x="103" y="7"/>
                  </a:lnTo>
                  <a:lnTo>
                    <a:pt x="102" y="6"/>
                  </a:lnTo>
                  <a:lnTo>
                    <a:pt x="100" y="5"/>
                  </a:lnTo>
                  <a:lnTo>
                    <a:pt x="102" y="5"/>
                  </a:lnTo>
                  <a:lnTo>
                    <a:pt x="103" y="6"/>
                  </a:lnTo>
                  <a:lnTo>
                    <a:pt x="103" y="5"/>
                  </a:lnTo>
                  <a:lnTo>
                    <a:pt x="102" y="5"/>
                  </a:lnTo>
                  <a:lnTo>
                    <a:pt x="103" y="4"/>
                  </a:lnTo>
                  <a:lnTo>
                    <a:pt x="103" y="5"/>
                  </a:lnTo>
                  <a:lnTo>
                    <a:pt x="103" y="4"/>
                  </a:lnTo>
                  <a:lnTo>
                    <a:pt x="103" y="3"/>
                  </a:lnTo>
                  <a:lnTo>
                    <a:pt x="103" y="4"/>
                  </a:lnTo>
                  <a:lnTo>
                    <a:pt x="103" y="5"/>
                  </a:lnTo>
                  <a:lnTo>
                    <a:pt x="103" y="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2" name="Freeform 65"/>
            <p:cNvSpPr>
              <a:spLocks/>
            </p:cNvSpPr>
            <p:nvPr userDrawn="1"/>
          </p:nvSpPr>
          <p:spPr bwMode="auto">
            <a:xfrm>
              <a:off x="4665663" y="6424613"/>
              <a:ext cx="95250" cy="114300"/>
            </a:xfrm>
            <a:custGeom>
              <a:avLst/>
              <a:gdLst/>
              <a:ahLst/>
              <a:cxnLst>
                <a:cxn ang="0">
                  <a:pos x="168" y="253"/>
                </a:cxn>
                <a:cxn ang="0">
                  <a:pos x="170" y="248"/>
                </a:cxn>
                <a:cxn ang="0">
                  <a:pos x="170" y="279"/>
                </a:cxn>
                <a:cxn ang="0">
                  <a:pos x="182" y="274"/>
                </a:cxn>
                <a:cxn ang="0">
                  <a:pos x="197" y="272"/>
                </a:cxn>
                <a:cxn ang="0">
                  <a:pos x="183" y="295"/>
                </a:cxn>
                <a:cxn ang="0">
                  <a:pos x="197" y="308"/>
                </a:cxn>
                <a:cxn ang="0">
                  <a:pos x="235" y="311"/>
                </a:cxn>
                <a:cxn ang="0">
                  <a:pos x="244" y="290"/>
                </a:cxn>
                <a:cxn ang="0">
                  <a:pos x="248" y="273"/>
                </a:cxn>
                <a:cxn ang="0">
                  <a:pos x="222" y="262"/>
                </a:cxn>
                <a:cxn ang="0">
                  <a:pos x="239" y="258"/>
                </a:cxn>
                <a:cxn ang="0">
                  <a:pos x="238" y="246"/>
                </a:cxn>
                <a:cxn ang="0">
                  <a:pos x="226" y="228"/>
                </a:cxn>
                <a:cxn ang="0">
                  <a:pos x="220" y="202"/>
                </a:cxn>
                <a:cxn ang="0">
                  <a:pos x="215" y="188"/>
                </a:cxn>
                <a:cxn ang="0">
                  <a:pos x="260" y="189"/>
                </a:cxn>
                <a:cxn ang="0">
                  <a:pos x="274" y="158"/>
                </a:cxn>
                <a:cxn ang="0">
                  <a:pos x="269" y="139"/>
                </a:cxn>
                <a:cxn ang="0">
                  <a:pos x="260" y="109"/>
                </a:cxn>
                <a:cxn ang="0">
                  <a:pos x="272" y="92"/>
                </a:cxn>
                <a:cxn ang="0">
                  <a:pos x="263" y="70"/>
                </a:cxn>
                <a:cxn ang="0">
                  <a:pos x="253" y="56"/>
                </a:cxn>
                <a:cxn ang="0">
                  <a:pos x="224" y="26"/>
                </a:cxn>
                <a:cxn ang="0">
                  <a:pos x="197" y="14"/>
                </a:cxn>
                <a:cxn ang="0">
                  <a:pos x="186" y="28"/>
                </a:cxn>
                <a:cxn ang="0">
                  <a:pos x="182" y="50"/>
                </a:cxn>
                <a:cxn ang="0">
                  <a:pos x="170" y="54"/>
                </a:cxn>
                <a:cxn ang="0">
                  <a:pos x="170" y="33"/>
                </a:cxn>
                <a:cxn ang="0">
                  <a:pos x="155" y="14"/>
                </a:cxn>
                <a:cxn ang="0">
                  <a:pos x="126" y="15"/>
                </a:cxn>
                <a:cxn ang="0">
                  <a:pos x="132" y="36"/>
                </a:cxn>
                <a:cxn ang="0">
                  <a:pos x="99" y="22"/>
                </a:cxn>
                <a:cxn ang="0">
                  <a:pos x="87" y="40"/>
                </a:cxn>
                <a:cxn ang="0">
                  <a:pos x="97" y="52"/>
                </a:cxn>
                <a:cxn ang="0">
                  <a:pos x="71" y="59"/>
                </a:cxn>
                <a:cxn ang="0">
                  <a:pos x="102" y="76"/>
                </a:cxn>
                <a:cxn ang="0">
                  <a:pos x="116" y="75"/>
                </a:cxn>
                <a:cxn ang="0">
                  <a:pos x="111" y="92"/>
                </a:cxn>
                <a:cxn ang="0">
                  <a:pos x="85" y="111"/>
                </a:cxn>
                <a:cxn ang="0">
                  <a:pos x="58" y="95"/>
                </a:cxn>
                <a:cxn ang="0">
                  <a:pos x="37" y="99"/>
                </a:cxn>
                <a:cxn ang="0">
                  <a:pos x="53" y="134"/>
                </a:cxn>
                <a:cxn ang="0">
                  <a:pos x="50" y="148"/>
                </a:cxn>
                <a:cxn ang="0">
                  <a:pos x="26" y="154"/>
                </a:cxn>
                <a:cxn ang="0">
                  <a:pos x="5" y="161"/>
                </a:cxn>
                <a:cxn ang="0">
                  <a:pos x="2" y="178"/>
                </a:cxn>
                <a:cxn ang="0">
                  <a:pos x="30" y="188"/>
                </a:cxn>
                <a:cxn ang="0">
                  <a:pos x="57" y="192"/>
                </a:cxn>
                <a:cxn ang="0">
                  <a:pos x="68" y="201"/>
                </a:cxn>
                <a:cxn ang="0">
                  <a:pos x="32" y="222"/>
                </a:cxn>
                <a:cxn ang="0">
                  <a:pos x="33" y="240"/>
                </a:cxn>
                <a:cxn ang="0">
                  <a:pos x="71" y="235"/>
                </a:cxn>
                <a:cxn ang="0">
                  <a:pos x="71" y="244"/>
                </a:cxn>
                <a:cxn ang="0">
                  <a:pos x="55" y="266"/>
                </a:cxn>
                <a:cxn ang="0">
                  <a:pos x="91" y="271"/>
                </a:cxn>
                <a:cxn ang="0">
                  <a:pos x="97" y="250"/>
                </a:cxn>
                <a:cxn ang="0">
                  <a:pos x="103" y="230"/>
                </a:cxn>
                <a:cxn ang="0">
                  <a:pos x="123" y="262"/>
                </a:cxn>
                <a:cxn ang="0">
                  <a:pos x="120" y="232"/>
                </a:cxn>
                <a:cxn ang="0">
                  <a:pos x="126" y="237"/>
                </a:cxn>
                <a:cxn ang="0">
                  <a:pos x="140" y="229"/>
                </a:cxn>
                <a:cxn ang="0">
                  <a:pos x="151" y="232"/>
                </a:cxn>
              </a:cxnLst>
              <a:rect l="0" t="0" r="r" b="b"/>
              <a:pathLst>
                <a:path w="297" h="363">
                  <a:moveTo>
                    <a:pt x="197" y="360"/>
                  </a:moveTo>
                  <a:lnTo>
                    <a:pt x="195" y="360"/>
                  </a:lnTo>
                  <a:lnTo>
                    <a:pt x="182" y="361"/>
                  </a:lnTo>
                  <a:lnTo>
                    <a:pt x="175" y="360"/>
                  </a:lnTo>
                  <a:lnTo>
                    <a:pt x="174" y="355"/>
                  </a:lnTo>
                  <a:lnTo>
                    <a:pt x="174" y="350"/>
                  </a:lnTo>
                  <a:lnTo>
                    <a:pt x="174" y="348"/>
                  </a:lnTo>
                  <a:lnTo>
                    <a:pt x="173" y="339"/>
                  </a:lnTo>
                  <a:lnTo>
                    <a:pt x="170" y="313"/>
                  </a:lnTo>
                  <a:lnTo>
                    <a:pt x="170" y="308"/>
                  </a:lnTo>
                  <a:lnTo>
                    <a:pt x="169" y="301"/>
                  </a:lnTo>
                  <a:lnTo>
                    <a:pt x="169" y="295"/>
                  </a:lnTo>
                  <a:lnTo>
                    <a:pt x="168" y="290"/>
                  </a:lnTo>
                  <a:lnTo>
                    <a:pt x="168" y="285"/>
                  </a:lnTo>
                  <a:lnTo>
                    <a:pt x="167" y="280"/>
                  </a:lnTo>
                  <a:lnTo>
                    <a:pt x="167" y="278"/>
                  </a:lnTo>
                  <a:lnTo>
                    <a:pt x="168" y="278"/>
                  </a:lnTo>
                  <a:lnTo>
                    <a:pt x="169" y="279"/>
                  </a:lnTo>
                  <a:lnTo>
                    <a:pt x="170" y="279"/>
                  </a:lnTo>
                  <a:lnTo>
                    <a:pt x="170" y="278"/>
                  </a:lnTo>
                  <a:lnTo>
                    <a:pt x="169" y="277"/>
                  </a:lnTo>
                  <a:lnTo>
                    <a:pt x="169" y="276"/>
                  </a:lnTo>
                  <a:lnTo>
                    <a:pt x="168" y="277"/>
                  </a:lnTo>
                  <a:lnTo>
                    <a:pt x="168" y="276"/>
                  </a:lnTo>
                  <a:lnTo>
                    <a:pt x="168" y="274"/>
                  </a:lnTo>
                  <a:lnTo>
                    <a:pt x="169" y="274"/>
                  </a:lnTo>
                  <a:lnTo>
                    <a:pt x="170" y="274"/>
                  </a:lnTo>
                  <a:lnTo>
                    <a:pt x="170" y="273"/>
                  </a:lnTo>
                  <a:lnTo>
                    <a:pt x="171" y="272"/>
                  </a:lnTo>
                  <a:lnTo>
                    <a:pt x="171" y="271"/>
                  </a:lnTo>
                  <a:lnTo>
                    <a:pt x="170" y="271"/>
                  </a:lnTo>
                  <a:lnTo>
                    <a:pt x="170" y="272"/>
                  </a:lnTo>
                  <a:lnTo>
                    <a:pt x="169" y="273"/>
                  </a:lnTo>
                  <a:lnTo>
                    <a:pt x="168" y="273"/>
                  </a:lnTo>
                  <a:lnTo>
                    <a:pt x="167" y="273"/>
                  </a:lnTo>
                  <a:lnTo>
                    <a:pt x="167" y="271"/>
                  </a:lnTo>
                  <a:lnTo>
                    <a:pt x="167" y="264"/>
                  </a:lnTo>
                  <a:lnTo>
                    <a:pt x="167" y="261"/>
                  </a:lnTo>
                  <a:lnTo>
                    <a:pt x="168" y="261"/>
                  </a:lnTo>
                  <a:lnTo>
                    <a:pt x="168" y="260"/>
                  </a:lnTo>
                  <a:lnTo>
                    <a:pt x="168" y="259"/>
                  </a:lnTo>
                  <a:lnTo>
                    <a:pt x="167" y="258"/>
                  </a:lnTo>
                  <a:lnTo>
                    <a:pt x="167" y="255"/>
                  </a:lnTo>
                  <a:lnTo>
                    <a:pt x="167" y="253"/>
                  </a:lnTo>
                  <a:lnTo>
                    <a:pt x="165" y="252"/>
                  </a:lnTo>
                  <a:lnTo>
                    <a:pt x="167" y="252"/>
                  </a:lnTo>
                  <a:lnTo>
                    <a:pt x="167" y="250"/>
                  </a:lnTo>
                  <a:lnTo>
                    <a:pt x="167" y="248"/>
                  </a:lnTo>
                  <a:lnTo>
                    <a:pt x="167" y="247"/>
                  </a:lnTo>
                  <a:lnTo>
                    <a:pt x="167" y="246"/>
                  </a:lnTo>
                  <a:lnTo>
                    <a:pt x="165" y="246"/>
                  </a:lnTo>
                  <a:lnTo>
                    <a:pt x="167" y="243"/>
                  </a:lnTo>
                  <a:lnTo>
                    <a:pt x="167" y="244"/>
                  </a:lnTo>
                  <a:lnTo>
                    <a:pt x="167" y="246"/>
                  </a:lnTo>
                  <a:lnTo>
                    <a:pt x="168" y="244"/>
                  </a:lnTo>
                  <a:lnTo>
                    <a:pt x="168" y="243"/>
                  </a:lnTo>
                  <a:lnTo>
                    <a:pt x="167" y="242"/>
                  </a:lnTo>
                  <a:lnTo>
                    <a:pt x="167" y="238"/>
                  </a:lnTo>
                  <a:lnTo>
                    <a:pt x="167" y="236"/>
                  </a:lnTo>
                  <a:lnTo>
                    <a:pt x="167" y="235"/>
                  </a:lnTo>
                  <a:lnTo>
                    <a:pt x="168" y="234"/>
                  </a:lnTo>
                  <a:lnTo>
                    <a:pt x="168" y="232"/>
                  </a:lnTo>
                  <a:lnTo>
                    <a:pt x="169" y="231"/>
                  </a:lnTo>
                  <a:lnTo>
                    <a:pt x="170" y="231"/>
                  </a:lnTo>
                  <a:lnTo>
                    <a:pt x="170" y="232"/>
                  </a:lnTo>
                  <a:lnTo>
                    <a:pt x="170" y="234"/>
                  </a:lnTo>
                  <a:lnTo>
                    <a:pt x="170" y="235"/>
                  </a:lnTo>
                  <a:lnTo>
                    <a:pt x="169" y="236"/>
                  </a:lnTo>
                  <a:lnTo>
                    <a:pt x="169" y="237"/>
                  </a:lnTo>
                  <a:lnTo>
                    <a:pt x="169" y="241"/>
                  </a:lnTo>
                  <a:lnTo>
                    <a:pt x="169" y="244"/>
                  </a:lnTo>
                  <a:lnTo>
                    <a:pt x="169" y="247"/>
                  </a:lnTo>
                  <a:lnTo>
                    <a:pt x="169" y="249"/>
                  </a:lnTo>
                  <a:lnTo>
                    <a:pt x="169" y="250"/>
                  </a:lnTo>
                  <a:lnTo>
                    <a:pt x="168" y="253"/>
                  </a:lnTo>
                  <a:lnTo>
                    <a:pt x="169" y="253"/>
                  </a:lnTo>
                  <a:lnTo>
                    <a:pt x="169" y="254"/>
                  </a:lnTo>
                  <a:lnTo>
                    <a:pt x="168" y="254"/>
                  </a:lnTo>
                  <a:lnTo>
                    <a:pt x="169" y="254"/>
                  </a:lnTo>
                  <a:lnTo>
                    <a:pt x="169" y="255"/>
                  </a:lnTo>
                  <a:lnTo>
                    <a:pt x="169" y="256"/>
                  </a:lnTo>
                  <a:lnTo>
                    <a:pt x="169" y="258"/>
                  </a:lnTo>
                  <a:lnTo>
                    <a:pt x="169" y="259"/>
                  </a:lnTo>
                  <a:lnTo>
                    <a:pt x="169" y="260"/>
                  </a:lnTo>
                  <a:lnTo>
                    <a:pt x="169" y="261"/>
                  </a:lnTo>
                  <a:lnTo>
                    <a:pt x="169" y="262"/>
                  </a:lnTo>
                  <a:lnTo>
                    <a:pt x="169" y="264"/>
                  </a:lnTo>
                  <a:lnTo>
                    <a:pt x="169" y="265"/>
                  </a:lnTo>
                  <a:lnTo>
                    <a:pt x="169" y="266"/>
                  </a:lnTo>
                  <a:lnTo>
                    <a:pt x="168" y="267"/>
                  </a:lnTo>
                  <a:lnTo>
                    <a:pt x="168" y="268"/>
                  </a:lnTo>
                  <a:lnTo>
                    <a:pt x="169" y="270"/>
                  </a:lnTo>
                  <a:lnTo>
                    <a:pt x="169" y="271"/>
                  </a:lnTo>
                  <a:lnTo>
                    <a:pt x="170" y="271"/>
                  </a:lnTo>
                  <a:lnTo>
                    <a:pt x="170" y="270"/>
                  </a:lnTo>
                  <a:lnTo>
                    <a:pt x="170" y="268"/>
                  </a:lnTo>
                  <a:lnTo>
                    <a:pt x="170" y="267"/>
                  </a:lnTo>
                  <a:lnTo>
                    <a:pt x="170" y="268"/>
                  </a:lnTo>
                  <a:lnTo>
                    <a:pt x="170" y="270"/>
                  </a:lnTo>
                  <a:lnTo>
                    <a:pt x="171" y="268"/>
                  </a:lnTo>
                  <a:lnTo>
                    <a:pt x="171" y="267"/>
                  </a:lnTo>
                  <a:lnTo>
                    <a:pt x="171" y="266"/>
                  </a:lnTo>
                  <a:lnTo>
                    <a:pt x="171" y="265"/>
                  </a:lnTo>
                  <a:lnTo>
                    <a:pt x="171" y="264"/>
                  </a:lnTo>
                  <a:lnTo>
                    <a:pt x="170" y="264"/>
                  </a:lnTo>
                  <a:lnTo>
                    <a:pt x="170" y="262"/>
                  </a:lnTo>
                  <a:lnTo>
                    <a:pt x="171" y="264"/>
                  </a:lnTo>
                  <a:lnTo>
                    <a:pt x="173" y="264"/>
                  </a:lnTo>
                  <a:lnTo>
                    <a:pt x="174" y="265"/>
                  </a:lnTo>
                  <a:lnTo>
                    <a:pt x="173" y="266"/>
                  </a:lnTo>
                  <a:lnTo>
                    <a:pt x="173" y="267"/>
                  </a:lnTo>
                  <a:lnTo>
                    <a:pt x="174" y="266"/>
                  </a:lnTo>
                  <a:lnTo>
                    <a:pt x="174" y="267"/>
                  </a:lnTo>
                  <a:lnTo>
                    <a:pt x="175" y="268"/>
                  </a:lnTo>
                  <a:lnTo>
                    <a:pt x="176" y="268"/>
                  </a:lnTo>
                  <a:lnTo>
                    <a:pt x="177" y="267"/>
                  </a:lnTo>
                  <a:lnTo>
                    <a:pt x="176" y="266"/>
                  </a:lnTo>
                  <a:lnTo>
                    <a:pt x="175" y="266"/>
                  </a:lnTo>
                  <a:lnTo>
                    <a:pt x="176" y="266"/>
                  </a:lnTo>
                  <a:lnTo>
                    <a:pt x="177" y="266"/>
                  </a:lnTo>
                  <a:lnTo>
                    <a:pt x="179" y="265"/>
                  </a:lnTo>
                  <a:lnTo>
                    <a:pt x="179" y="264"/>
                  </a:lnTo>
                  <a:lnTo>
                    <a:pt x="177" y="262"/>
                  </a:lnTo>
                  <a:lnTo>
                    <a:pt x="177" y="264"/>
                  </a:lnTo>
                  <a:lnTo>
                    <a:pt x="176" y="264"/>
                  </a:lnTo>
                  <a:lnTo>
                    <a:pt x="175" y="264"/>
                  </a:lnTo>
                  <a:lnTo>
                    <a:pt x="174" y="264"/>
                  </a:lnTo>
                  <a:lnTo>
                    <a:pt x="175" y="262"/>
                  </a:lnTo>
                  <a:lnTo>
                    <a:pt x="175" y="261"/>
                  </a:lnTo>
                  <a:lnTo>
                    <a:pt x="174" y="261"/>
                  </a:lnTo>
                  <a:lnTo>
                    <a:pt x="173" y="262"/>
                  </a:lnTo>
                  <a:lnTo>
                    <a:pt x="173" y="261"/>
                  </a:lnTo>
                  <a:lnTo>
                    <a:pt x="171" y="260"/>
                  </a:lnTo>
                  <a:lnTo>
                    <a:pt x="170" y="259"/>
                  </a:lnTo>
                  <a:lnTo>
                    <a:pt x="170" y="258"/>
                  </a:lnTo>
                  <a:lnTo>
                    <a:pt x="170" y="256"/>
                  </a:lnTo>
                  <a:lnTo>
                    <a:pt x="171" y="256"/>
                  </a:lnTo>
                  <a:lnTo>
                    <a:pt x="171" y="258"/>
                  </a:lnTo>
                  <a:lnTo>
                    <a:pt x="171" y="259"/>
                  </a:lnTo>
                  <a:lnTo>
                    <a:pt x="171" y="258"/>
                  </a:lnTo>
                  <a:lnTo>
                    <a:pt x="171" y="256"/>
                  </a:lnTo>
                  <a:lnTo>
                    <a:pt x="171" y="255"/>
                  </a:lnTo>
                  <a:lnTo>
                    <a:pt x="171" y="254"/>
                  </a:lnTo>
                  <a:lnTo>
                    <a:pt x="170" y="254"/>
                  </a:lnTo>
                  <a:lnTo>
                    <a:pt x="170" y="253"/>
                  </a:lnTo>
                  <a:lnTo>
                    <a:pt x="170" y="252"/>
                  </a:lnTo>
                  <a:lnTo>
                    <a:pt x="169" y="250"/>
                  </a:lnTo>
                  <a:lnTo>
                    <a:pt x="169" y="249"/>
                  </a:lnTo>
                  <a:lnTo>
                    <a:pt x="169" y="248"/>
                  </a:lnTo>
                  <a:lnTo>
                    <a:pt x="170" y="248"/>
                  </a:lnTo>
                  <a:lnTo>
                    <a:pt x="171" y="248"/>
                  </a:lnTo>
                  <a:lnTo>
                    <a:pt x="171" y="249"/>
                  </a:lnTo>
                  <a:lnTo>
                    <a:pt x="173" y="250"/>
                  </a:lnTo>
                  <a:lnTo>
                    <a:pt x="174" y="252"/>
                  </a:lnTo>
                  <a:lnTo>
                    <a:pt x="175" y="253"/>
                  </a:lnTo>
                  <a:lnTo>
                    <a:pt x="174" y="254"/>
                  </a:lnTo>
                  <a:lnTo>
                    <a:pt x="174" y="253"/>
                  </a:lnTo>
                  <a:lnTo>
                    <a:pt x="173" y="253"/>
                  </a:lnTo>
                  <a:lnTo>
                    <a:pt x="173" y="254"/>
                  </a:lnTo>
                  <a:lnTo>
                    <a:pt x="174" y="255"/>
                  </a:lnTo>
                  <a:lnTo>
                    <a:pt x="173" y="256"/>
                  </a:lnTo>
                  <a:lnTo>
                    <a:pt x="173" y="258"/>
                  </a:lnTo>
                  <a:lnTo>
                    <a:pt x="174" y="256"/>
                  </a:lnTo>
                  <a:lnTo>
                    <a:pt x="175" y="255"/>
                  </a:lnTo>
                  <a:lnTo>
                    <a:pt x="176" y="255"/>
                  </a:lnTo>
                  <a:lnTo>
                    <a:pt x="176" y="256"/>
                  </a:lnTo>
                  <a:lnTo>
                    <a:pt x="175" y="256"/>
                  </a:lnTo>
                  <a:lnTo>
                    <a:pt x="173" y="258"/>
                  </a:lnTo>
                  <a:lnTo>
                    <a:pt x="173" y="259"/>
                  </a:lnTo>
                  <a:lnTo>
                    <a:pt x="174" y="259"/>
                  </a:lnTo>
                  <a:lnTo>
                    <a:pt x="174" y="258"/>
                  </a:lnTo>
                  <a:lnTo>
                    <a:pt x="175" y="258"/>
                  </a:lnTo>
                  <a:lnTo>
                    <a:pt x="176" y="258"/>
                  </a:lnTo>
                  <a:lnTo>
                    <a:pt x="177" y="258"/>
                  </a:lnTo>
                  <a:lnTo>
                    <a:pt x="179" y="258"/>
                  </a:lnTo>
                  <a:lnTo>
                    <a:pt x="180" y="256"/>
                  </a:lnTo>
                  <a:lnTo>
                    <a:pt x="181" y="258"/>
                  </a:lnTo>
                  <a:lnTo>
                    <a:pt x="180" y="258"/>
                  </a:lnTo>
                  <a:lnTo>
                    <a:pt x="179" y="259"/>
                  </a:lnTo>
                  <a:lnTo>
                    <a:pt x="177" y="259"/>
                  </a:lnTo>
                  <a:lnTo>
                    <a:pt x="176" y="259"/>
                  </a:lnTo>
                  <a:lnTo>
                    <a:pt x="177" y="260"/>
                  </a:lnTo>
                  <a:lnTo>
                    <a:pt x="179" y="260"/>
                  </a:lnTo>
                  <a:lnTo>
                    <a:pt x="180" y="260"/>
                  </a:lnTo>
                  <a:lnTo>
                    <a:pt x="179" y="261"/>
                  </a:lnTo>
                  <a:lnTo>
                    <a:pt x="177" y="260"/>
                  </a:lnTo>
                  <a:lnTo>
                    <a:pt x="176" y="260"/>
                  </a:lnTo>
                  <a:lnTo>
                    <a:pt x="175" y="260"/>
                  </a:lnTo>
                  <a:lnTo>
                    <a:pt x="174" y="260"/>
                  </a:lnTo>
                  <a:lnTo>
                    <a:pt x="173" y="260"/>
                  </a:lnTo>
                  <a:lnTo>
                    <a:pt x="174" y="261"/>
                  </a:lnTo>
                  <a:lnTo>
                    <a:pt x="175" y="261"/>
                  </a:lnTo>
                  <a:lnTo>
                    <a:pt x="176" y="261"/>
                  </a:lnTo>
                  <a:lnTo>
                    <a:pt x="176" y="262"/>
                  </a:lnTo>
                  <a:lnTo>
                    <a:pt x="177" y="262"/>
                  </a:lnTo>
                  <a:lnTo>
                    <a:pt x="179" y="262"/>
                  </a:lnTo>
                  <a:lnTo>
                    <a:pt x="179" y="264"/>
                  </a:lnTo>
                  <a:lnTo>
                    <a:pt x="179" y="265"/>
                  </a:lnTo>
                  <a:lnTo>
                    <a:pt x="179" y="266"/>
                  </a:lnTo>
                  <a:lnTo>
                    <a:pt x="180" y="266"/>
                  </a:lnTo>
                  <a:lnTo>
                    <a:pt x="180" y="265"/>
                  </a:lnTo>
                  <a:lnTo>
                    <a:pt x="180" y="264"/>
                  </a:lnTo>
                  <a:lnTo>
                    <a:pt x="181" y="262"/>
                  </a:lnTo>
                  <a:lnTo>
                    <a:pt x="182" y="262"/>
                  </a:lnTo>
                  <a:lnTo>
                    <a:pt x="183" y="261"/>
                  </a:lnTo>
                  <a:lnTo>
                    <a:pt x="183" y="262"/>
                  </a:lnTo>
                  <a:lnTo>
                    <a:pt x="182" y="264"/>
                  </a:lnTo>
                  <a:lnTo>
                    <a:pt x="181" y="264"/>
                  </a:lnTo>
                  <a:lnTo>
                    <a:pt x="182" y="265"/>
                  </a:lnTo>
                  <a:lnTo>
                    <a:pt x="181" y="265"/>
                  </a:lnTo>
                  <a:lnTo>
                    <a:pt x="181" y="264"/>
                  </a:lnTo>
                  <a:lnTo>
                    <a:pt x="180" y="265"/>
                  </a:lnTo>
                  <a:lnTo>
                    <a:pt x="180" y="266"/>
                  </a:lnTo>
                  <a:lnTo>
                    <a:pt x="180" y="267"/>
                  </a:lnTo>
                  <a:lnTo>
                    <a:pt x="180" y="268"/>
                  </a:lnTo>
                  <a:lnTo>
                    <a:pt x="179" y="270"/>
                  </a:lnTo>
                  <a:lnTo>
                    <a:pt x="176" y="271"/>
                  </a:lnTo>
                  <a:lnTo>
                    <a:pt x="175" y="272"/>
                  </a:lnTo>
                  <a:lnTo>
                    <a:pt x="175" y="274"/>
                  </a:lnTo>
                  <a:lnTo>
                    <a:pt x="175" y="276"/>
                  </a:lnTo>
                  <a:lnTo>
                    <a:pt x="174" y="276"/>
                  </a:lnTo>
                  <a:lnTo>
                    <a:pt x="174" y="278"/>
                  </a:lnTo>
                  <a:lnTo>
                    <a:pt x="173" y="279"/>
                  </a:lnTo>
                  <a:lnTo>
                    <a:pt x="171" y="279"/>
                  </a:lnTo>
                  <a:lnTo>
                    <a:pt x="170" y="279"/>
                  </a:lnTo>
                  <a:lnTo>
                    <a:pt x="170" y="280"/>
                  </a:lnTo>
                  <a:lnTo>
                    <a:pt x="170" y="282"/>
                  </a:lnTo>
                  <a:lnTo>
                    <a:pt x="170" y="283"/>
                  </a:lnTo>
                  <a:lnTo>
                    <a:pt x="170" y="284"/>
                  </a:lnTo>
                  <a:lnTo>
                    <a:pt x="169" y="285"/>
                  </a:lnTo>
                  <a:lnTo>
                    <a:pt x="168" y="287"/>
                  </a:lnTo>
                  <a:lnTo>
                    <a:pt x="169" y="287"/>
                  </a:lnTo>
                  <a:lnTo>
                    <a:pt x="169" y="285"/>
                  </a:lnTo>
                  <a:lnTo>
                    <a:pt x="169" y="288"/>
                  </a:lnTo>
                  <a:lnTo>
                    <a:pt x="169" y="289"/>
                  </a:lnTo>
                  <a:lnTo>
                    <a:pt x="169" y="290"/>
                  </a:lnTo>
                  <a:lnTo>
                    <a:pt x="169" y="291"/>
                  </a:lnTo>
                  <a:lnTo>
                    <a:pt x="169" y="293"/>
                  </a:lnTo>
                  <a:lnTo>
                    <a:pt x="170" y="290"/>
                  </a:lnTo>
                  <a:lnTo>
                    <a:pt x="170" y="289"/>
                  </a:lnTo>
                  <a:lnTo>
                    <a:pt x="170" y="287"/>
                  </a:lnTo>
                  <a:lnTo>
                    <a:pt x="171" y="287"/>
                  </a:lnTo>
                  <a:lnTo>
                    <a:pt x="171" y="285"/>
                  </a:lnTo>
                  <a:lnTo>
                    <a:pt x="171" y="284"/>
                  </a:lnTo>
                  <a:lnTo>
                    <a:pt x="173" y="282"/>
                  </a:lnTo>
                  <a:lnTo>
                    <a:pt x="173" y="283"/>
                  </a:lnTo>
                  <a:lnTo>
                    <a:pt x="173" y="284"/>
                  </a:lnTo>
                  <a:lnTo>
                    <a:pt x="173" y="285"/>
                  </a:lnTo>
                  <a:lnTo>
                    <a:pt x="174" y="287"/>
                  </a:lnTo>
                  <a:lnTo>
                    <a:pt x="174" y="285"/>
                  </a:lnTo>
                  <a:lnTo>
                    <a:pt x="175" y="285"/>
                  </a:lnTo>
                  <a:lnTo>
                    <a:pt x="176" y="284"/>
                  </a:lnTo>
                  <a:lnTo>
                    <a:pt x="175" y="284"/>
                  </a:lnTo>
                  <a:lnTo>
                    <a:pt x="175" y="283"/>
                  </a:lnTo>
                  <a:lnTo>
                    <a:pt x="175" y="282"/>
                  </a:lnTo>
                  <a:lnTo>
                    <a:pt x="175" y="280"/>
                  </a:lnTo>
                  <a:lnTo>
                    <a:pt x="175" y="279"/>
                  </a:lnTo>
                  <a:lnTo>
                    <a:pt x="175" y="278"/>
                  </a:lnTo>
                  <a:lnTo>
                    <a:pt x="175" y="277"/>
                  </a:lnTo>
                  <a:lnTo>
                    <a:pt x="176" y="276"/>
                  </a:lnTo>
                  <a:lnTo>
                    <a:pt x="176" y="274"/>
                  </a:lnTo>
                  <a:lnTo>
                    <a:pt x="177" y="273"/>
                  </a:lnTo>
                  <a:lnTo>
                    <a:pt x="179" y="273"/>
                  </a:lnTo>
                  <a:lnTo>
                    <a:pt x="179" y="272"/>
                  </a:lnTo>
                  <a:lnTo>
                    <a:pt x="179" y="273"/>
                  </a:lnTo>
                  <a:lnTo>
                    <a:pt x="177" y="274"/>
                  </a:lnTo>
                  <a:lnTo>
                    <a:pt x="177" y="276"/>
                  </a:lnTo>
                  <a:lnTo>
                    <a:pt x="177" y="277"/>
                  </a:lnTo>
                  <a:lnTo>
                    <a:pt x="176" y="277"/>
                  </a:lnTo>
                  <a:lnTo>
                    <a:pt x="175" y="279"/>
                  </a:lnTo>
                  <a:lnTo>
                    <a:pt x="175" y="282"/>
                  </a:lnTo>
                  <a:lnTo>
                    <a:pt x="175" y="283"/>
                  </a:lnTo>
                  <a:lnTo>
                    <a:pt x="176" y="283"/>
                  </a:lnTo>
                  <a:lnTo>
                    <a:pt x="176" y="280"/>
                  </a:lnTo>
                  <a:lnTo>
                    <a:pt x="177" y="283"/>
                  </a:lnTo>
                  <a:lnTo>
                    <a:pt x="177" y="282"/>
                  </a:lnTo>
                  <a:lnTo>
                    <a:pt x="179" y="280"/>
                  </a:lnTo>
                  <a:lnTo>
                    <a:pt x="177" y="279"/>
                  </a:lnTo>
                  <a:lnTo>
                    <a:pt x="176" y="279"/>
                  </a:lnTo>
                  <a:lnTo>
                    <a:pt x="176" y="278"/>
                  </a:lnTo>
                  <a:lnTo>
                    <a:pt x="176" y="277"/>
                  </a:lnTo>
                  <a:lnTo>
                    <a:pt x="177" y="277"/>
                  </a:lnTo>
                  <a:lnTo>
                    <a:pt x="177" y="276"/>
                  </a:lnTo>
                  <a:lnTo>
                    <a:pt x="179" y="274"/>
                  </a:lnTo>
                  <a:lnTo>
                    <a:pt x="180" y="273"/>
                  </a:lnTo>
                  <a:lnTo>
                    <a:pt x="180" y="272"/>
                  </a:lnTo>
                  <a:lnTo>
                    <a:pt x="181" y="271"/>
                  </a:lnTo>
                  <a:lnTo>
                    <a:pt x="181" y="272"/>
                  </a:lnTo>
                  <a:lnTo>
                    <a:pt x="180" y="273"/>
                  </a:lnTo>
                  <a:lnTo>
                    <a:pt x="181" y="273"/>
                  </a:lnTo>
                  <a:lnTo>
                    <a:pt x="181" y="274"/>
                  </a:lnTo>
                  <a:lnTo>
                    <a:pt x="180" y="276"/>
                  </a:lnTo>
                  <a:lnTo>
                    <a:pt x="180" y="277"/>
                  </a:lnTo>
                  <a:lnTo>
                    <a:pt x="180" y="279"/>
                  </a:lnTo>
                  <a:lnTo>
                    <a:pt x="180" y="280"/>
                  </a:lnTo>
                  <a:lnTo>
                    <a:pt x="181" y="279"/>
                  </a:lnTo>
                  <a:lnTo>
                    <a:pt x="181" y="277"/>
                  </a:lnTo>
                  <a:lnTo>
                    <a:pt x="181" y="276"/>
                  </a:lnTo>
                  <a:lnTo>
                    <a:pt x="182" y="276"/>
                  </a:lnTo>
                  <a:lnTo>
                    <a:pt x="182" y="274"/>
                  </a:lnTo>
                  <a:lnTo>
                    <a:pt x="182" y="273"/>
                  </a:lnTo>
                  <a:lnTo>
                    <a:pt x="182" y="272"/>
                  </a:lnTo>
                  <a:lnTo>
                    <a:pt x="182" y="271"/>
                  </a:lnTo>
                  <a:lnTo>
                    <a:pt x="182" y="268"/>
                  </a:lnTo>
                  <a:lnTo>
                    <a:pt x="182" y="270"/>
                  </a:lnTo>
                  <a:lnTo>
                    <a:pt x="182" y="271"/>
                  </a:lnTo>
                  <a:lnTo>
                    <a:pt x="183" y="271"/>
                  </a:lnTo>
                  <a:lnTo>
                    <a:pt x="183" y="272"/>
                  </a:lnTo>
                  <a:lnTo>
                    <a:pt x="183" y="273"/>
                  </a:lnTo>
                  <a:lnTo>
                    <a:pt x="183" y="272"/>
                  </a:lnTo>
                  <a:lnTo>
                    <a:pt x="185" y="272"/>
                  </a:lnTo>
                  <a:lnTo>
                    <a:pt x="183" y="273"/>
                  </a:lnTo>
                  <a:lnTo>
                    <a:pt x="183" y="274"/>
                  </a:lnTo>
                  <a:lnTo>
                    <a:pt x="183" y="276"/>
                  </a:lnTo>
                  <a:lnTo>
                    <a:pt x="185" y="276"/>
                  </a:lnTo>
                  <a:lnTo>
                    <a:pt x="186" y="276"/>
                  </a:lnTo>
                  <a:lnTo>
                    <a:pt x="186" y="274"/>
                  </a:lnTo>
                  <a:lnTo>
                    <a:pt x="187" y="276"/>
                  </a:lnTo>
                  <a:lnTo>
                    <a:pt x="187" y="277"/>
                  </a:lnTo>
                  <a:lnTo>
                    <a:pt x="188" y="277"/>
                  </a:lnTo>
                  <a:lnTo>
                    <a:pt x="189" y="278"/>
                  </a:lnTo>
                  <a:lnTo>
                    <a:pt x="189" y="277"/>
                  </a:lnTo>
                  <a:lnTo>
                    <a:pt x="189" y="276"/>
                  </a:lnTo>
                  <a:lnTo>
                    <a:pt x="188" y="276"/>
                  </a:lnTo>
                  <a:lnTo>
                    <a:pt x="189" y="276"/>
                  </a:lnTo>
                  <a:lnTo>
                    <a:pt x="191" y="276"/>
                  </a:lnTo>
                  <a:lnTo>
                    <a:pt x="192" y="276"/>
                  </a:lnTo>
                  <a:lnTo>
                    <a:pt x="193" y="276"/>
                  </a:lnTo>
                  <a:lnTo>
                    <a:pt x="193" y="274"/>
                  </a:lnTo>
                  <a:lnTo>
                    <a:pt x="192" y="274"/>
                  </a:lnTo>
                  <a:lnTo>
                    <a:pt x="191" y="274"/>
                  </a:lnTo>
                  <a:lnTo>
                    <a:pt x="189" y="274"/>
                  </a:lnTo>
                  <a:lnTo>
                    <a:pt x="189" y="273"/>
                  </a:lnTo>
                  <a:lnTo>
                    <a:pt x="188" y="273"/>
                  </a:lnTo>
                  <a:lnTo>
                    <a:pt x="187" y="272"/>
                  </a:lnTo>
                  <a:lnTo>
                    <a:pt x="186" y="271"/>
                  </a:lnTo>
                  <a:lnTo>
                    <a:pt x="186" y="270"/>
                  </a:lnTo>
                  <a:lnTo>
                    <a:pt x="185" y="270"/>
                  </a:lnTo>
                  <a:lnTo>
                    <a:pt x="183" y="268"/>
                  </a:lnTo>
                  <a:lnTo>
                    <a:pt x="183" y="267"/>
                  </a:lnTo>
                  <a:lnTo>
                    <a:pt x="185" y="266"/>
                  </a:lnTo>
                  <a:lnTo>
                    <a:pt x="187" y="266"/>
                  </a:lnTo>
                  <a:lnTo>
                    <a:pt x="187" y="265"/>
                  </a:lnTo>
                  <a:lnTo>
                    <a:pt x="188" y="264"/>
                  </a:lnTo>
                  <a:lnTo>
                    <a:pt x="189" y="262"/>
                  </a:lnTo>
                  <a:lnTo>
                    <a:pt x="192" y="261"/>
                  </a:lnTo>
                  <a:lnTo>
                    <a:pt x="193" y="264"/>
                  </a:lnTo>
                  <a:lnTo>
                    <a:pt x="193" y="265"/>
                  </a:lnTo>
                  <a:lnTo>
                    <a:pt x="193" y="267"/>
                  </a:lnTo>
                  <a:lnTo>
                    <a:pt x="191" y="268"/>
                  </a:lnTo>
                  <a:lnTo>
                    <a:pt x="191" y="270"/>
                  </a:lnTo>
                  <a:lnTo>
                    <a:pt x="188" y="271"/>
                  </a:lnTo>
                  <a:lnTo>
                    <a:pt x="187" y="271"/>
                  </a:lnTo>
                  <a:lnTo>
                    <a:pt x="188" y="271"/>
                  </a:lnTo>
                  <a:lnTo>
                    <a:pt x="191" y="270"/>
                  </a:lnTo>
                  <a:lnTo>
                    <a:pt x="192" y="268"/>
                  </a:lnTo>
                  <a:lnTo>
                    <a:pt x="193" y="268"/>
                  </a:lnTo>
                  <a:lnTo>
                    <a:pt x="193" y="267"/>
                  </a:lnTo>
                  <a:lnTo>
                    <a:pt x="193" y="270"/>
                  </a:lnTo>
                  <a:lnTo>
                    <a:pt x="193" y="271"/>
                  </a:lnTo>
                  <a:lnTo>
                    <a:pt x="193" y="273"/>
                  </a:lnTo>
                  <a:lnTo>
                    <a:pt x="193" y="271"/>
                  </a:lnTo>
                  <a:lnTo>
                    <a:pt x="193" y="270"/>
                  </a:lnTo>
                  <a:lnTo>
                    <a:pt x="194" y="268"/>
                  </a:lnTo>
                  <a:lnTo>
                    <a:pt x="194" y="267"/>
                  </a:lnTo>
                  <a:lnTo>
                    <a:pt x="195" y="267"/>
                  </a:lnTo>
                  <a:lnTo>
                    <a:pt x="195" y="266"/>
                  </a:lnTo>
                  <a:lnTo>
                    <a:pt x="195" y="265"/>
                  </a:lnTo>
                  <a:lnTo>
                    <a:pt x="194" y="264"/>
                  </a:lnTo>
                  <a:lnTo>
                    <a:pt x="195" y="264"/>
                  </a:lnTo>
                  <a:lnTo>
                    <a:pt x="197" y="266"/>
                  </a:lnTo>
                  <a:lnTo>
                    <a:pt x="198" y="266"/>
                  </a:lnTo>
                  <a:lnTo>
                    <a:pt x="198" y="267"/>
                  </a:lnTo>
                  <a:lnTo>
                    <a:pt x="198" y="270"/>
                  </a:lnTo>
                  <a:lnTo>
                    <a:pt x="197" y="272"/>
                  </a:lnTo>
                  <a:lnTo>
                    <a:pt x="194" y="276"/>
                  </a:lnTo>
                  <a:lnTo>
                    <a:pt x="192" y="278"/>
                  </a:lnTo>
                  <a:lnTo>
                    <a:pt x="191" y="280"/>
                  </a:lnTo>
                  <a:lnTo>
                    <a:pt x="189" y="280"/>
                  </a:lnTo>
                  <a:lnTo>
                    <a:pt x="189" y="282"/>
                  </a:lnTo>
                  <a:lnTo>
                    <a:pt x="188" y="282"/>
                  </a:lnTo>
                  <a:lnTo>
                    <a:pt x="187" y="282"/>
                  </a:lnTo>
                  <a:lnTo>
                    <a:pt x="186" y="282"/>
                  </a:lnTo>
                  <a:lnTo>
                    <a:pt x="185" y="282"/>
                  </a:lnTo>
                  <a:lnTo>
                    <a:pt x="183" y="280"/>
                  </a:lnTo>
                  <a:lnTo>
                    <a:pt x="183" y="279"/>
                  </a:lnTo>
                  <a:lnTo>
                    <a:pt x="182" y="278"/>
                  </a:lnTo>
                  <a:lnTo>
                    <a:pt x="182" y="277"/>
                  </a:lnTo>
                  <a:lnTo>
                    <a:pt x="182" y="278"/>
                  </a:lnTo>
                  <a:lnTo>
                    <a:pt x="182" y="279"/>
                  </a:lnTo>
                  <a:lnTo>
                    <a:pt x="182" y="280"/>
                  </a:lnTo>
                  <a:lnTo>
                    <a:pt x="183" y="280"/>
                  </a:lnTo>
                  <a:lnTo>
                    <a:pt x="185" y="282"/>
                  </a:lnTo>
                  <a:lnTo>
                    <a:pt x="185" y="283"/>
                  </a:lnTo>
                  <a:lnTo>
                    <a:pt x="186" y="283"/>
                  </a:lnTo>
                  <a:lnTo>
                    <a:pt x="187" y="284"/>
                  </a:lnTo>
                  <a:lnTo>
                    <a:pt x="187" y="285"/>
                  </a:lnTo>
                  <a:lnTo>
                    <a:pt x="186" y="284"/>
                  </a:lnTo>
                  <a:lnTo>
                    <a:pt x="185" y="283"/>
                  </a:lnTo>
                  <a:lnTo>
                    <a:pt x="183" y="283"/>
                  </a:lnTo>
                  <a:lnTo>
                    <a:pt x="182" y="283"/>
                  </a:lnTo>
                  <a:lnTo>
                    <a:pt x="183" y="284"/>
                  </a:lnTo>
                  <a:lnTo>
                    <a:pt x="183" y="285"/>
                  </a:lnTo>
                  <a:lnTo>
                    <a:pt x="182" y="284"/>
                  </a:lnTo>
                  <a:lnTo>
                    <a:pt x="181" y="284"/>
                  </a:lnTo>
                  <a:lnTo>
                    <a:pt x="182" y="285"/>
                  </a:lnTo>
                  <a:lnTo>
                    <a:pt x="182" y="287"/>
                  </a:lnTo>
                  <a:lnTo>
                    <a:pt x="182" y="288"/>
                  </a:lnTo>
                  <a:lnTo>
                    <a:pt x="181" y="288"/>
                  </a:lnTo>
                  <a:lnTo>
                    <a:pt x="180" y="288"/>
                  </a:lnTo>
                  <a:lnTo>
                    <a:pt x="180" y="289"/>
                  </a:lnTo>
                  <a:lnTo>
                    <a:pt x="177" y="290"/>
                  </a:lnTo>
                  <a:lnTo>
                    <a:pt x="176" y="291"/>
                  </a:lnTo>
                  <a:lnTo>
                    <a:pt x="175" y="293"/>
                  </a:lnTo>
                  <a:lnTo>
                    <a:pt x="174" y="294"/>
                  </a:lnTo>
                  <a:lnTo>
                    <a:pt x="174" y="295"/>
                  </a:lnTo>
                  <a:lnTo>
                    <a:pt x="174" y="297"/>
                  </a:lnTo>
                  <a:lnTo>
                    <a:pt x="175" y="296"/>
                  </a:lnTo>
                  <a:lnTo>
                    <a:pt x="175" y="295"/>
                  </a:lnTo>
                  <a:lnTo>
                    <a:pt x="176" y="294"/>
                  </a:lnTo>
                  <a:lnTo>
                    <a:pt x="176" y="293"/>
                  </a:lnTo>
                  <a:lnTo>
                    <a:pt x="177" y="291"/>
                  </a:lnTo>
                  <a:lnTo>
                    <a:pt x="179" y="291"/>
                  </a:lnTo>
                  <a:lnTo>
                    <a:pt x="180" y="290"/>
                  </a:lnTo>
                  <a:lnTo>
                    <a:pt x="181" y="289"/>
                  </a:lnTo>
                  <a:lnTo>
                    <a:pt x="182" y="288"/>
                  </a:lnTo>
                  <a:lnTo>
                    <a:pt x="183" y="287"/>
                  </a:lnTo>
                  <a:lnTo>
                    <a:pt x="183" y="288"/>
                  </a:lnTo>
                  <a:lnTo>
                    <a:pt x="185" y="288"/>
                  </a:lnTo>
                  <a:lnTo>
                    <a:pt x="183" y="290"/>
                  </a:lnTo>
                  <a:lnTo>
                    <a:pt x="183" y="291"/>
                  </a:lnTo>
                  <a:lnTo>
                    <a:pt x="185" y="290"/>
                  </a:lnTo>
                  <a:lnTo>
                    <a:pt x="185" y="289"/>
                  </a:lnTo>
                  <a:lnTo>
                    <a:pt x="186" y="289"/>
                  </a:lnTo>
                  <a:lnTo>
                    <a:pt x="187" y="288"/>
                  </a:lnTo>
                  <a:lnTo>
                    <a:pt x="187" y="287"/>
                  </a:lnTo>
                  <a:lnTo>
                    <a:pt x="188" y="287"/>
                  </a:lnTo>
                  <a:lnTo>
                    <a:pt x="189" y="287"/>
                  </a:lnTo>
                  <a:lnTo>
                    <a:pt x="189" y="288"/>
                  </a:lnTo>
                  <a:lnTo>
                    <a:pt x="189" y="289"/>
                  </a:lnTo>
                  <a:lnTo>
                    <a:pt x="188" y="289"/>
                  </a:lnTo>
                  <a:lnTo>
                    <a:pt x="187" y="289"/>
                  </a:lnTo>
                  <a:lnTo>
                    <a:pt x="186" y="290"/>
                  </a:lnTo>
                  <a:lnTo>
                    <a:pt x="185" y="290"/>
                  </a:lnTo>
                  <a:lnTo>
                    <a:pt x="185" y="291"/>
                  </a:lnTo>
                  <a:lnTo>
                    <a:pt x="183" y="293"/>
                  </a:lnTo>
                  <a:lnTo>
                    <a:pt x="183" y="294"/>
                  </a:lnTo>
                  <a:lnTo>
                    <a:pt x="182" y="293"/>
                  </a:lnTo>
                  <a:lnTo>
                    <a:pt x="182" y="294"/>
                  </a:lnTo>
                  <a:lnTo>
                    <a:pt x="183" y="295"/>
                  </a:lnTo>
                  <a:lnTo>
                    <a:pt x="185" y="295"/>
                  </a:lnTo>
                  <a:lnTo>
                    <a:pt x="186" y="294"/>
                  </a:lnTo>
                  <a:lnTo>
                    <a:pt x="187" y="293"/>
                  </a:lnTo>
                  <a:lnTo>
                    <a:pt x="188" y="291"/>
                  </a:lnTo>
                  <a:lnTo>
                    <a:pt x="189" y="291"/>
                  </a:lnTo>
                  <a:lnTo>
                    <a:pt x="188" y="294"/>
                  </a:lnTo>
                  <a:lnTo>
                    <a:pt x="187" y="294"/>
                  </a:lnTo>
                  <a:lnTo>
                    <a:pt x="186" y="295"/>
                  </a:lnTo>
                  <a:lnTo>
                    <a:pt x="183" y="296"/>
                  </a:lnTo>
                  <a:lnTo>
                    <a:pt x="185" y="296"/>
                  </a:lnTo>
                  <a:lnTo>
                    <a:pt x="186" y="297"/>
                  </a:lnTo>
                  <a:lnTo>
                    <a:pt x="187" y="299"/>
                  </a:lnTo>
                  <a:lnTo>
                    <a:pt x="188" y="300"/>
                  </a:lnTo>
                  <a:lnTo>
                    <a:pt x="189" y="301"/>
                  </a:lnTo>
                  <a:lnTo>
                    <a:pt x="189" y="302"/>
                  </a:lnTo>
                  <a:lnTo>
                    <a:pt x="188" y="302"/>
                  </a:lnTo>
                  <a:lnTo>
                    <a:pt x="188" y="301"/>
                  </a:lnTo>
                  <a:lnTo>
                    <a:pt x="187" y="300"/>
                  </a:lnTo>
                  <a:lnTo>
                    <a:pt x="186" y="300"/>
                  </a:lnTo>
                  <a:lnTo>
                    <a:pt x="187" y="301"/>
                  </a:lnTo>
                  <a:lnTo>
                    <a:pt x="186" y="302"/>
                  </a:lnTo>
                  <a:lnTo>
                    <a:pt x="185" y="302"/>
                  </a:lnTo>
                  <a:lnTo>
                    <a:pt x="185" y="303"/>
                  </a:lnTo>
                  <a:lnTo>
                    <a:pt x="185" y="305"/>
                  </a:lnTo>
                  <a:lnTo>
                    <a:pt x="186" y="305"/>
                  </a:lnTo>
                  <a:lnTo>
                    <a:pt x="186" y="306"/>
                  </a:lnTo>
                  <a:lnTo>
                    <a:pt x="187" y="306"/>
                  </a:lnTo>
                  <a:lnTo>
                    <a:pt x="188" y="306"/>
                  </a:lnTo>
                  <a:lnTo>
                    <a:pt x="189" y="305"/>
                  </a:lnTo>
                  <a:lnTo>
                    <a:pt x="191" y="305"/>
                  </a:lnTo>
                  <a:lnTo>
                    <a:pt x="191" y="303"/>
                  </a:lnTo>
                  <a:lnTo>
                    <a:pt x="191" y="302"/>
                  </a:lnTo>
                  <a:lnTo>
                    <a:pt x="192" y="302"/>
                  </a:lnTo>
                  <a:lnTo>
                    <a:pt x="192" y="301"/>
                  </a:lnTo>
                  <a:lnTo>
                    <a:pt x="193" y="300"/>
                  </a:lnTo>
                  <a:lnTo>
                    <a:pt x="194" y="300"/>
                  </a:lnTo>
                  <a:lnTo>
                    <a:pt x="195" y="300"/>
                  </a:lnTo>
                  <a:lnTo>
                    <a:pt x="197" y="299"/>
                  </a:lnTo>
                  <a:lnTo>
                    <a:pt x="198" y="299"/>
                  </a:lnTo>
                  <a:lnTo>
                    <a:pt x="198" y="300"/>
                  </a:lnTo>
                  <a:lnTo>
                    <a:pt x="197" y="300"/>
                  </a:lnTo>
                  <a:lnTo>
                    <a:pt x="197" y="301"/>
                  </a:lnTo>
                  <a:lnTo>
                    <a:pt x="197" y="302"/>
                  </a:lnTo>
                  <a:lnTo>
                    <a:pt x="195" y="301"/>
                  </a:lnTo>
                  <a:lnTo>
                    <a:pt x="194" y="301"/>
                  </a:lnTo>
                  <a:lnTo>
                    <a:pt x="193" y="302"/>
                  </a:lnTo>
                  <a:lnTo>
                    <a:pt x="193" y="303"/>
                  </a:lnTo>
                  <a:lnTo>
                    <a:pt x="194" y="305"/>
                  </a:lnTo>
                  <a:lnTo>
                    <a:pt x="195" y="305"/>
                  </a:lnTo>
                  <a:lnTo>
                    <a:pt x="197" y="303"/>
                  </a:lnTo>
                  <a:lnTo>
                    <a:pt x="198" y="303"/>
                  </a:lnTo>
                  <a:lnTo>
                    <a:pt x="197" y="305"/>
                  </a:lnTo>
                  <a:lnTo>
                    <a:pt x="195" y="305"/>
                  </a:lnTo>
                  <a:lnTo>
                    <a:pt x="195" y="306"/>
                  </a:lnTo>
                  <a:lnTo>
                    <a:pt x="195" y="307"/>
                  </a:lnTo>
                  <a:lnTo>
                    <a:pt x="195" y="308"/>
                  </a:lnTo>
                  <a:lnTo>
                    <a:pt x="194" y="308"/>
                  </a:lnTo>
                  <a:lnTo>
                    <a:pt x="193" y="308"/>
                  </a:lnTo>
                  <a:lnTo>
                    <a:pt x="193" y="306"/>
                  </a:lnTo>
                  <a:lnTo>
                    <a:pt x="192" y="306"/>
                  </a:lnTo>
                  <a:lnTo>
                    <a:pt x="192" y="307"/>
                  </a:lnTo>
                  <a:lnTo>
                    <a:pt x="192" y="308"/>
                  </a:lnTo>
                  <a:lnTo>
                    <a:pt x="191" y="309"/>
                  </a:lnTo>
                  <a:lnTo>
                    <a:pt x="191" y="311"/>
                  </a:lnTo>
                  <a:lnTo>
                    <a:pt x="192" y="312"/>
                  </a:lnTo>
                  <a:lnTo>
                    <a:pt x="192" y="313"/>
                  </a:lnTo>
                  <a:lnTo>
                    <a:pt x="192" y="312"/>
                  </a:lnTo>
                  <a:lnTo>
                    <a:pt x="193" y="311"/>
                  </a:lnTo>
                  <a:lnTo>
                    <a:pt x="194" y="311"/>
                  </a:lnTo>
                  <a:lnTo>
                    <a:pt x="195" y="309"/>
                  </a:lnTo>
                  <a:lnTo>
                    <a:pt x="197" y="309"/>
                  </a:lnTo>
                  <a:lnTo>
                    <a:pt x="197" y="311"/>
                  </a:lnTo>
                  <a:lnTo>
                    <a:pt x="198" y="311"/>
                  </a:lnTo>
                  <a:lnTo>
                    <a:pt x="198" y="309"/>
                  </a:lnTo>
                  <a:lnTo>
                    <a:pt x="197" y="308"/>
                  </a:lnTo>
                  <a:lnTo>
                    <a:pt x="198" y="308"/>
                  </a:lnTo>
                  <a:lnTo>
                    <a:pt x="198" y="307"/>
                  </a:lnTo>
                  <a:lnTo>
                    <a:pt x="199" y="308"/>
                  </a:lnTo>
                  <a:lnTo>
                    <a:pt x="199" y="311"/>
                  </a:lnTo>
                  <a:lnTo>
                    <a:pt x="200" y="311"/>
                  </a:lnTo>
                  <a:lnTo>
                    <a:pt x="200" y="309"/>
                  </a:lnTo>
                  <a:lnTo>
                    <a:pt x="199" y="307"/>
                  </a:lnTo>
                  <a:lnTo>
                    <a:pt x="200" y="307"/>
                  </a:lnTo>
                  <a:lnTo>
                    <a:pt x="201" y="307"/>
                  </a:lnTo>
                  <a:lnTo>
                    <a:pt x="203" y="307"/>
                  </a:lnTo>
                  <a:lnTo>
                    <a:pt x="204" y="307"/>
                  </a:lnTo>
                  <a:lnTo>
                    <a:pt x="205" y="308"/>
                  </a:lnTo>
                  <a:lnTo>
                    <a:pt x="205" y="309"/>
                  </a:lnTo>
                  <a:lnTo>
                    <a:pt x="204" y="311"/>
                  </a:lnTo>
                  <a:lnTo>
                    <a:pt x="203" y="311"/>
                  </a:lnTo>
                  <a:lnTo>
                    <a:pt x="201" y="311"/>
                  </a:lnTo>
                  <a:lnTo>
                    <a:pt x="201" y="312"/>
                  </a:lnTo>
                  <a:lnTo>
                    <a:pt x="203" y="312"/>
                  </a:lnTo>
                  <a:lnTo>
                    <a:pt x="204" y="312"/>
                  </a:lnTo>
                  <a:lnTo>
                    <a:pt x="205" y="312"/>
                  </a:lnTo>
                  <a:lnTo>
                    <a:pt x="205" y="313"/>
                  </a:lnTo>
                  <a:lnTo>
                    <a:pt x="205" y="314"/>
                  </a:lnTo>
                  <a:lnTo>
                    <a:pt x="204" y="314"/>
                  </a:lnTo>
                  <a:lnTo>
                    <a:pt x="203" y="314"/>
                  </a:lnTo>
                  <a:lnTo>
                    <a:pt x="203" y="315"/>
                  </a:lnTo>
                  <a:lnTo>
                    <a:pt x="204" y="317"/>
                  </a:lnTo>
                  <a:lnTo>
                    <a:pt x="205" y="317"/>
                  </a:lnTo>
                  <a:lnTo>
                    <a:pt x="206" y="318"/>
                  </a:lnTo>
                  <a:lnTo>
                    <a:pt x="207" y="317"/>
                  </a:lnTo>
                  <a:lnTo>
                    <a:pt x="207" y="315"/>
                  </a:lnTo>
                  <a:lnTo>
                    <a:pt x="207" y="313"/>
                  </a:lnTo>
                  <a:lnTo>
                    <a:pt x="209" y="312"/>
                  </a:lnTo>
                  <a:lnTo>
                    <a:pt x="210" y="312"/>
                  </a:lnTo>
                  <a:lnTo>
                    <a:pt x="211" y="311"/>
                  </a:lnTo>
                  <a:lnTo>
                    <a:pt x="212" y="311"/>
                  </a:lnTo>
                  <a:lnTo>
                    <a:pt x="214" y="309"/>
                  </a:lnTo>
                  <a:lnTo>
                    <a:pt x="215" y="309"/>
                  </a:lnTo>
                  <a:lnTo>
                    <a:pt x="215" y="308"/>
                  </a:lnTo>
                  <a:lnTo>
                    <a:pt x="216" y="309"/>
                  </a:lnTo>
                  <a:lnTo>
                    <a:pt x="216" y="312"/>
                  </a:lnTo>
                  <a:lnTo>
                    <a:pt x="217" y="313"/>
                  </a:lnTo>
                  <a:lnTo>
                    <a:pt x="218" y="314"/>
                  </a:lnTo>
                  <a:lnTo>
                    <a:pt x="220" y="313"/>
                  </a:lnTo>
                  <a:lnTo>
                    <a:pt x="221" y="312"/>
                  </a:lnTo>
                  <a:lnTo>
                    <a:pt x="221" y="311"/>
                  </a:lnTo>
                  <a:lnTo>
                    <a:pt x="221" y="309"/>
                  </a:lnTo>
                  <a:lnTo>
                    <a:pt x="222" y="309"/>
                  </a:lnTo>
                  <a:lnTo>
                    <a:pt x="222" y="308"/>
                  </a:lnTo>
                  <a:lnTo>
                    <a:pt x="222" y="311"/>
                  </a:lnTo>
                  <a:lnTo>
                    <a:pt x="222" y="313"/>
                  </a:lnTo>
                  <a:lnTo>
                    <a:pt x="223" y="312"/>
                  </a:lnTo>
                  <a:lnTo>
                    <a:pt x="224" y="312"/>
                  </a:lnTo>
                  <a:lnTo>
                    <a:pt x="224" y="313"/>
                  </a:lnTo>
                  <a:lnTo>
                    <a:pt x="224" y="315"/>
                  </a:lnTo>
                  <a:lnTo>
                    <a:pt x="226" y="318"/>
                  </a:lnTo>
                  <a:lnTo>
                    <a:pt x="227" y="318"/>
                  </a:lnTo>
                  <a:lnTo>
                    <a:pt x="228" y="318"/>
                  </a:lnTo>
                  <a:lnTo>
                    <a:pt x="228" y="317"/>
                  </a:lnTo>
                  <a:lnTo>
                    <a:pt x="228" y="315"/>
                  </a:lnTo>
                  <a:lnTo>
                    <a:pt x="227" y="315"/>
                  </a:lnTo>
                  <a:lnTo>
                    <a:pt x="226" y="315"/>
                  </a:lnTo>
                  <a:lnTo>
                    <a:pt x="226" y="314"/>
                  </a:lnTo>
                  <a:lnTo>
                    <a:pt x="224" y="313"/>
                  </a:lnTo>
                  <a:lnTo>
                    <a:pt x="226" y="313"/>
                  </a:lnTo>
                  <a:lnTo>
                    <a:pt x="227" y="313"/>
                  </a:lnTo>
                  <a:lnTo>
                    <a:pt x="228" y="314"/>
                  </a:lnTo>
                  <a:lnTo>
                    <a:pt x="229" y="314"/>
                  </a:lnTo>
                  <a:lnTo>
                    <a:pt x="230" y="314"/>
                  </a:lnTo>
                  <a:lnTo>
                    <a:pt x="232" y="314"/>
                  </a:lnTo>
                  <a:lnTo>
                    <a:pt x="232" y="313"/>
                  </a:lnTo>
                  <a:lnTo>
                    <a:pt x="233" y="313"/>
                  </a:lnTo>
                  <a:lnTo>
                    <a:pt x="233" y="312"/>
                  </a:lnTo>
                  <a:lnTo>
                    <a:pt x="232" y="311"/>
                  </a:lnTo>
                  <a:lnTo>
                    <a:pt x="233" y="311"/>
                  </a:lnTo>
                  <a:lnTo>
                    <a:pt x="235" y="311"/>
                  </a:lnTo>
                  <a:lnTo>
                    <a:pt x="236" y="311"/>
                  </a:lnTo>
                  <a:lnTo>
                    <a:pt x="236" y="309"/>
                  </a:lnTo>
                  <a:lnTo>
                    <a:pt x="238" y="308"/>
                  </a:lnTo>
                  <a:lnTo>
                    <a:pt x="239" y="308"/>
                  </a:lnTo>
                  <a:lnTo>
                    <a:pt x="240" y="307"/>
                  </a:lnTo>
                  <a:lnTo>
                    <a:pt x="240" y="306"/>
                  </a:lnTo>
                  <a:lnTo>
                    <a:pt x="241" y="305"/>
                  </a:lnTo>
                  <a:lnTo>
                    <a:pt x="242" y="306"/>
                  </a:lnTo>
                  <a:lnTo>
                    <a:pt x="244" y="305"/>
                  </a:lnTo>
                  <a:lnTo>
                    <a:pt x="245" y="303"/>
                  </a:lnTo>
                  <a:lnTo>
                    <a:pt x="245" y="306"/>
                  </a:lnTo>
                  <a:lnTo>
                    <a:pt x="244" y="307"/>
                  </a:lnTo>
                  <a:lnTo>
                    <a:pt x="245" y="308"/>
                  </a:lnTo>
                  <a:lnTo>
                    <a:pt x="246" y="309"/>
                  </a:lnTo>
                  <a:lnTo>
                    <a:pt x="247" y="309"/>
                  </a:lnTo>
                  <a:lnTo>
                    <a:pt x="248" y="308"/>
                  </a:lnTo>
                  <a:lnTo>
                    <a:pt x="247" y="309"/>
                  </a:lnTo>
                  <a:lnTo>
                    <a:pt x="247" y="311"/>
                  </a:lnTo>
                  <a:lnTo>
                    <a:pt x="247" y="312"/>
                  </a:lnTo>
                  <a:lnTo>
                    <a:pt x="248" y="312"/>
                  </a:lnTo>
                  <a:lnTo>
                    <a:pt x="250" y="312"/>
                  </a:lnTo>
                  <a:lnTo>
                    <a:pt x="250" y="311"/>
                  </a:lnTo>
                  <a:lnTo>
                    <a:pt x="251" y="311"/>
                  </a:lnTo>
                  <a:lnTo>
                    <a:pt x="252" y="311"/>
                  </a:lnTo>
                  <a:lnTo>
                    <a:pt x="253" y="309"/>
                  </a:lnTo>
                  <a:lnTo>
                    <a:pt x="254" y="308"/>
                  </a:lnTo>
                  <a:lnTo>
                    <a:pt x="256" y="307"/>
                  </a:lnTo>
                  <a:lnTo>
                    <a:pt x="257" y="306"/>
                  </a:lnTo>
                  <a:lnTo>
                    <a:pt x="256" y="306"/>
                  </a:lnTo>
                  <a:lnTo>
                    <a:pt x="257" y="305"/>
                  </a:lnTo>
                  <a:lnTo>
                    <a:pt x="258" y="305"/>
                  </a:lnTo>
                  <a:lnTo>
                    <a:pt x="259" y="305"/>
                  </a:lnTo>
                  <a:lnTo>
                    <a:pt x="259" y="303"/>
                  </a:lnTo>
                  <a:lnTo>
                    <a:pt x="259" y="302"/>
                  </a:lnTo>
                  <a:lnTo>
                    <a:pt x="259" y="301"/>
                  </a:lnTo>
                  <a:lnTo>
                    <a:pt x="259" y="300"/>
                  </a:lnTo>
                  <a:lnTo>
                    <a:pt x="259" y="299"/>
                  </a:lnTo>
                  <a:lnTo>
                    <a:pt x="260" y="299"/>
                  </a:lnTo>
                  <a:lnTo>
                    <a:pt x="262" y="297"/>
                  </a:lnTo>
                  <a:lnTo>
                    <a:pt x="262" y="296"/>
                  </a:lnTo>
                  <a:lnTo>
                    <a:pt x="260" y="296"/>
                  </a:lnTo>
                  <a:lnTo>
                    <a:pt x="260" y="295"/>
                  </a:lnTo>
                  <a:lnTo>
                    <a:pt x="259" y="295"/>
                  </a:lnTo>
                  <a:lnTo>
                    <a:pt x="258" y="296"/>
                  </a:lnTo>
                  <a:lnTo>
                    <a:pt x="257" y="297"/>
                  </a:lnTo>
                  <a:lnTo>
                    <a:pt x="257" y="296"/>
                  </a:lnTo>
                  <a:lnTo>
                    <a:pt x="257" y="295"/>
                  </a:lnTo>
                  <a:lnTo>
                    <a:pt x="256" y="295"/>
                  </a:lnTo>
                  <a:lnTo>
                    <a:pt x="256" y="294"/>
                  </a:lnTo>
                  <a:lnTo>
                    <a:pt x="254" y="295"/>
                  </a:lnTo>
                  <a:lnTo>
                    <a:pt x="254" y="296"/>
                  </a:lnTo>
                  <a:lnTo>
                    <a:pt x="253" y="299"/>
                  </a:lnTo>
                  <a:lnTo>
                    <a:pt x="253" y="297"/>
                  </a:lnTo>
                  <a:lnTo>
                    <a:pt x="252" y="296"/>
                  </a:lnTo>
                  <a:lnTo>
                    <a:pt x="252" y="297"/>
                  </a:lnTo>
                  <a:lnTo>
                    <a:pt x="251" y="297"/>
                  </a:lnTo>
                  <a:lnTo>
                    <a:pt x="251" y="299"/>
                  </a:lnTo>
                  <a:lnTo>
                    <a:pt x="250" y="299"/>
                  </a:lnTo>
                  <a:lnTo>
                    <a:pt x="251" y="297"/>
                  </a:lnTo>
                  <a:lnTo>
                    <a:pt x="251" y="296"/>
                  </a:lnTo>
                  <a:lnTo>
                    <a:pt x="250" y="296"/>
                  </a:lnTo>
                  <a:lnTo>
                    <a:pt x="250" y="295"/>
                  </a:lnTo>
                  <a:lnTo>
                    <a:pt x="248" y="295"/>
                  </a:lnTo>
                  <a:lnTo>
                    <a:pt x="248" y="296"/>
                  </a:lnTo>
                  <a:lnTo>
                    <a:pt x="247" y="297"/>
                  </a:lnTo>
                  <a:lnTo>
                    <a:pt x="245" y="297"/>
                  </a:lnTo>
                  <a:lnTo>
                    <a:pt x="246" y="296"/>
                  </a:lnTo>
                  <a:lnTo>
                    <a:pt x="247" y="295"/>
                  </a:lnTo>
                  <a:lnTo>
                    <a:pt x="246" y="294"/>
                  </a:lnTo>
                  <a:lnTo>
                    <a:pt x="246" y="293"/>
                  </a:lnTo>
                  <a:lnTo>
                    <a:pt x="245" y="293"/>
                  </a:lnTo>
                  <a:lnTo>
                    <a:pt x="245" y="291"/>
                  </a:lnTo>
                  <a:lnTo>
                    <a:pt x="244" y="290"/>
                  </a:lnTo>
                  <a:lnTo>
                    <a:pt x="244" y="291"/>
                  </a:lnTo>
                  <a:lnTo>
                    <a:pt x="244" y="290"/>
                  </a:lnTo>
                  <a:lnTo>
                    <a:pt x="242" y="289"/>
                  </a:lnTo>
                  <a:lnTo>
                    <a:pt x="241" y="288"/>
                  </a:lnTo>
                  <a:lnTo>
                    <a:pt x="240" y="288"/>
                  </a:lnTo>
                  <a:lnTo>
                    <a:pt x="238" y="288"/>
                  </a:lnTo>
                  <a:lnTo>
                    <a:pt x="236" y="287"/>
                  </a:lnTo>
                  <a:lnTo>
                    <a:pt x="236" y="285"/>
                  </a:lnTo>
                  <a:lnTo>
                    <a:pt x="235" y="284"/>
                  </a:lnTo>
                  <a:lnTo>
                    <a:pt x="234" y="284"/>
                  </a:lnTo>
                  <a:lnTo>
                    <a:pt x="234" y="283"/>
                  </a:lnTo>
                  <a:lnTo>
                    <a:pt x="234" y="282"/>
                  </a:lnTo>
                  <a:lnTo>
                    <a:pt x="235" y="282"/>
                  </a:lnTo>
                  <a:lnTo>
                    <a:pt x="235" y="283"/>
                  </a:lnTo>
                  <a:lnTo>
                    <a:pt x="236" y="283"/>
                  </a:lnTo>
                  <a:lnTo>
                    <a:pt x="236" y="284"/>
                  </a:lnTo>
                  <a:lnTo>
                    <a:pt x="238" y="285"/>
                  </a:lnTo>
                  <a:lnTo>
                    <a:pt x="238" y="287"/>
                  </a:lnTo>
                  <a:lnTo>
                    <a:pt x="239" y="288"/>
                  </a:lnTo>
                  <a:lnTo>
                    <a:pt x="240" y="287"/>
                  </a:lnTo>
                  <a:lnTo>
                    <a:pt x="240" y="285"/>
                  </a:lnTo>
                  <a:lnTo>
                    <a:pt x="240" y="284"/>
                  </a:lnTo>
                  <a:lnTo>
                    <a:pt x="239" y="284"/>
                  </a:lnTo>
                  <a:lnTo>
                    <a:pt x="238" y="283"/>
                  </a:lnTo>
                  <a:lnTo>
                    <a:pt x="236" y="282"/>
                  </a:lnTo>
                  <a:lnTo>
                    <a:pt x="236" y="280"/>
                  </a:lnTo>
                  <a:lnTo>
                    <a:pt x="235" y="280"/>
                  </a:lnTo>
                  <a:lnTo>
                    <a:pt x="234" y="280"/>
                  </a:lnTo>
                  <a:lnTo>
                    <a:pt x="234" y="279"/>
                  </a:lnTo>
                  <a:lnTo>
                    <a:pt x="235" y="279"/>
                  </a:lnTo>
                  <a:lnTo>
                    <a:pt x="235" y="278"/>
                  </a:lnTo>
                  <a:lnTo>
                    <a:pt x="236" y="279"/>
                  </a:lnTo>
                  <a:lnTo>
                    <a:pt x="238" y="279"/>
                  </a:lnTo>
                  <a:lnTo>
                    <a:pt x="238" y="280"/>
                  </a:lnTo>
                  <a:lnTo>
                    <a:pt x="240" y="282"/>
                  </a:lnTo>
                  <a:lnTo>
                    <a:pt x="241" y="283"/>
                  </a:lnTo>
                  <a:lnTo>
                    <a:pt x="240" y="284"/>
                  </a:lnTo>
                  <a:lnTo>
                    <a:pt x="241" y="284"/>
                  </a:lnTo>
                  <a:lnTo>
                    <a:pt x="242" y="284"/>
                  </a:lnTo>
                  <a:lnTo>
                    <a:pt x="242" y="283"/>
                  </a:lnTo>
                  <a:lnTo>
                    <a:pt x="244" y="283"/>
                  </a:lnTo>
                  <a:lnTo>
                    <a:pt x="244" y="284"/>
                  </a:lnTo>
                  <a:lnTo>
                    <a:pt x="245" y="283"/>
                  </a:lnTo>
                  <a:lnTo>
                    <a:pt x="246" y="283"/>
                  </a:lnTo>
                  <a:lnTo>
                    <a:pt x="247" y="284"/>
                  </a:lnTo>
                  <a:lnTo>
                    <a:pt x="250" y="284"/>
                  </a:lnTo>
                  <a:lnTo>
                    <a:pt x="251" y="284"/>
                  </a:lnTo>
                  <a:lnTo>
                    <a:pt x="251" y="283"/>
                  </a:lnTo>
                  <a:lnTo>
                    <a:pt x="250" y="282"/>
                  </a:lnTo>
                  <a:lnTo>
                    <a:pt x="251" y="280"/>
                  </a:lnTo>
                  <a:lnTo>
                    <a:pt x="250" y="280"/>
                  </a:lnTo>
                  <a:lnTo>
                    <a:pt x="248" y="280"/>
                  </a:lnTo>
                  <a:lnTo>
                    <a:pt x="248" y="279"/>
                  </a:lnTo>
                  <a:lnTo>
                    <a:pt x="248" y="278"/>
                  </a:lnTo>
                  <a:lnTo>
                    <a:pt x="250" y="279"/>
                  </a:lnTo>
                  <a:lnTo>
                    <a:pt x="251" y="279"/>
                  </a:lnTo>
                  <a:lnTo>
                    <a:pt x="251" y="278"/>
                  </a:lnTo>
                  <a:lnTo>
                    <a:pt x="251" y="277"/>
                  </a:lnTo>
                  <a:lnTo>
                    <a:pt x="250" y="276"/>
                  </a:lnTo>
                  <a:lnTo>
                    <a:pt x="251" y="276"/>
                  </a:lnTo>
                  <a:lnTo>
                    <a:pt x="251" y="274"/>
                  </a:lnTo>
                  <a:lnTo>
                    <a:pt x="250" y="274"/>
                  </a:lnTo>
                  <a:lnTo>
                    <a:pt x="248" y="274"/>
                  </a:lnTo>
                  <a:lnTo>
                    <a:pt x="248" y="276"/>
                  </a:lnTo>
                  <a:lnTo>
                    <a:pt x="247" y="276"/>
                  </a:lnTo>
                  <a:lnTo>
                    <a:pt x="246" y="276"/>
                  </a:lnTo>
                  <a:lnTo>
                    <a:pt x="246" y="277"/>
                  </a:lnTo>
                  <a:lnTo>
                    <a:pt x="245" y="277"/>
                  </a:lnTo>
                  <a:lnTo>
                    <a:pt x="244" y="277"/>
                  </a:lnTo>
                  <a:lnTo>
                    <a:pt x="242" y="277"/>
                  </a:lnTo>
                  <a:lnTo>
                    <a:pt x="242" y="276"/>
                  </a:lnTo>
                  <a:lnTo>
                    <a:pt x="244" y="274"/>
                  </a:lnTo>
                  <a:lnTo>
                    <a:pt x="245" y="274"/>
                  </a:lnTo>
                  <a:lnTo>
                    <a:pt x="247" y="274"/>
                  </a:lnTo>
                  <a:lnTo>
                    <a:pt x="246" y="273"/>
                  </a:lnTo>
                  <a:lnTo>
                    <a:pt x="247" y="273"/>
                  </a:lnTo>
                  <a:lnTo>
                    <a:pt x="248" y="273"/>
                  </a:lnTo>
                  <a:lnTo>
                    <a:pt x="250" y="272"/>
                  </a:lnTo>
                  <a:lnTo>
                    <a:pt x="251" y="272"/>
                  </a:lnTo>
                  <a:lnTo>
                    <a:pt x="252" y="272"/>
                  </a:lnTo>
                  <a:lnTo>
                    <a:pt x="253" y="271"/>
                  </a:lnTo>
                  <a:lnTo>
                    <a:pt x="254" y="271"/>
                  </a:lnTo>
                  <a:lnTo>
                    <a:pt x="254" y="270"/>
                  </a:lnTo>
                  <a:lnTo>
                    <a:pt x="253" y="268"/>
                  </a:lnTo>
                  <a:lnTo>
                    <a:pt x="252" y="267"/>
                  </a:lnTo>
                  <a:lnTo>
                    <a:pt x="251" y="267"/>
                  </a:lnTo>
                  <a:lnTo>
                    <a:pt x="250" y="267"/>
                  </a:lnTo>
                  <a:lnTo>
                    <a:pt x="250" y="268"/>
                  </a:lnTo>
                  <a:lnTo>
                    <a:pt x="248" y="270"/>
                  </a:lnTo>
                  <a:lnTo>
                    <a:pt x="247" y="271"/>
                  </a:lnTo>
                  <a:lnTo>
                    <a:pt x="246" y="272"/>
                  </a:lnTo>
                  <a:lnTo>
                    <a:pt x="245" y="273"/>
                  </a:lnTo>
                  <a:lnTo>
                    <a:pt x="244" y="273"/>
                  </a:lnTo>
                  <a:lnTo>
                    <a:pt x="241" y="274"/>
                  </a:lnTo>
                  <a:lnTo>
                    <a:pt x="240" y="276"/>
                  </a:lnTo>
                  <a:lnTo>
                    <a:pt x="239" y="276"/>
                  </a:lnTo>
                  <a:lnTo>
                    <a:pt x="238" y="276"/>
                  </a:lnTo>
                  <a:lnTo>
                    <a:pt x="238" y="274"/>
                  </a:lnTo>
                  <a:lnTo>
                    <a:pt x="239" y="273"/>
                  </a:lnTo>
                  <a:lnTo>
                    <a:pt x="240" y="273"/>
                  </a:lnTo>
                  <a:lnTo>
                    <a:pt x="240" y="272"/>
                  </a:lnTo>
                  <a:lnTo>
                    <a:pt x="239" y="272"/>
                  </a:lnTo>
                  <a:lnTo>
                    <a:pt x="239" y="271"/>
                  </a:lnTo>
                  <a:lnTo>
                    <a:pt x="238" y="271"/>
                  </a:lnTo>
                  <a:lnTo>
                    <a:pt x="238" y="272"/>
                  </a:lnTo>
                  <a:lnTo>
                    <a:pt x="235" y="272"/>
                  </a:lnTo>
                  <a:lnTo>
                    <a:pt x="234" y="273"/>
                  </a:lnTo>
                  <a:lnTo>
                    <a:pt x="234" y="272"/>
                  </a:lnTo>
                  <a:lnTo>
                    <a:pt x="235" y="271"/>
                  </a:lnTo>
                  <a:lnTo>
                    <a:pt x="236" y="271"/>
                  </a:lnTo>
                  <a:lnTo>
                    <a:pt x="235" y="270"/>
                  </a:lnTo>
                  <a:lnTo>
                    <a:pt x="234" y="271"/>
                  </a:lnTo>
                  <a:lnTo>
                    <a:pt x="234" y="272"/>
                  </a:lnTo>
                  <a:lnTo>
                    <a:pt x="234" y="273"/>
                  </a:lnTo>
                  <a:lnTo>
                    <a:pt x="233" y="273"/>
                  </a:lnTo>
                  <a:lnTo>
                    <a:pt x="233" y="272"/>
                  </a:lnTo>
                  <a:lnTo>
                    <a:pt x="232" y="272"/>
                  </a:lnTo>
                  <a:lnTo>
                    <a:pt x="230" y="272"/>
                  </a:lnTo>
                  <a:lnTo>
                    <a:pt x="230" y="273"/>
                  </a:lnTo>
                  <a:lnTo>
                    <a:pt x="230" y="274"/>
                  </a:lnTo>
                  <a:lnTo>
                    <a:pt x="229" y="276"/>
                  </a:lnTo>
                  <a:lnTo>
                    <a:pt x="229" y="274"/>
                  </a:lnTo>
                  <a:lnTo>
                    <a:pt x="228" y="273"/>
                  </a:lnTo>
                  <a:lnTo>
                    <a:pt x="228" y="274"/>
                  </a:lnTo>
                  <a:lnTo>
                    <a:pt x="227" y="273"/>
                  </a:lnTo>
                  <a:lnTo>
                    <a:pt x="226" y="272"/>
                  </a:lnTo>
                  <a:lnTo>
                    <a:pt x="227" y="272"/>
                  </a:lnTo>
                  <a:lnTo>
                    <a:pt x="227" y="271"/>
                  </a:lnTo>
                  <a:lnTo>
                    <a:pt x="229" y="270"/>
                  </a:lnTo>
                  <a:lnTo>
                    <a:pt x="228" y="268"/>
                  </a:lnTo>
                  <a:lnTo>
                    <a:pt x="227" y="268"/>
                  </a:lnTo>
                  <a:lnTo>
                    <a:pt x="226" y="268"/>
                  </a:lnTo>
                  <a:lnTo>
                    <a:pt x="226" y="270"/>
                  </a:lnTo>
                  <a:lnTo>
                    <a:pt x="226" y="271"/>
                  </a:lnTo>
                  <a:lnTo>
                    <a:pt x="224" y="270"/>
                  </a:lnTo>
                  <a:lnTo>
                    <a:pt x="223" y="270"/>
                  </a:lnTo>
                  <a:lnTo>
                    <a:pt x="222" y="270"/>
                  </a:lnTo>
                  <a:lnTo>
                    <a:pt x="221" y="268"/>
                  </a:lnTo>
                  <a:lnTo>
                    <a:pt x="220" y="271"/>
                  </a:lnTo>
                  <a:lnTo>
                    <a:pt x="218" y="270"/>
                  </a:lnTo>
                  <a:lnTo>
                    <a:pt x="217" y="270"/>
                  </a:lnTo>
                  <a:lnTo>
                    <a:pt x="217" y="268"/>
                  </a:lnTo>
                  <a:lnTo>
                    <a:pt x="218" y="268"/>
                  </a:lnTo>
                  <a:lnTo>
                    <a:pt x="220" y="268"/>
                  </a:lnTo>
                  <a:lnTo>
                    <a:pt x="221" y="267"/>
                  </a:lnTo>
                  <a:lnTo>
                    <a:pt x="222" y="266"/>
                  </a:lnTo>
                  <a:lnTo>
                    <a:pt x="221" y="266"/>
                  </a:lnTo>
                  <a:lnTo>
                    <a:pt x="221" y="265"/>
                  </a:lnTo>
                  <a:lnTo>
                    <a:pt x="222" y="264"/>
                  </a:lnTo>
                  <a:lnTo>
                    <a:pt x="223" y="264"/>
                  </a:lnTo>
                  <a:lnTo>
                    <a:pt x="223" y="262"/>
                  </a:lnTo>
                  <a:lnTo>
                    <a:pt x="222" y="262"/>
                  </a:lnTo>
                  <a:lnTo>
                    <a:pt x="221" y="262"/>
                  </a:lnTo>
                  <a:lnTo>
                    <a:pt x="220" y="262"/>
                  </a:lnTo>
                  <a:lnTo>
                    <a:pt x="220" y="261"/>
                  </a:lnTo>
                  <a:lnTo>
                    <a:pt x="221" y="261"/>
                  </a:lnTo>
                  <a:lnTo>
                    <a:pt x="222" y="261"/>
                  </a:lnTo>
                  <a:lnTo>
                    <a:pt x="223" y="262"/>
                  </a:lnTo>
                  <a:lnTo>
                    <a:pt x="224" y="261"/>
                  </a:lnTo>
                  <a:lnTo>
                    <a:pt x="226" y="262"/>
                  </a:lnTo>
                  <a:lnTo>
                    <a:pt x="227" y="262"/>
                  </a:lnTo>
                  <a:lnTo>
                    <a:pt x="228" y="265"/>
                  </a:lnTo>
                  <a:lnTo>
                    <a:pt x="228" y="266"/>
                  </a:lnTo>
                  <a:lnTo>
                    <a:pt x="228" y="267"/>
                  </a:lnTo>
                  <a:lnTo>
                    <a:pt x="229" y="267"/>
                  </a:lnTo>
                  <a:lnTo>
                    <a:pt x="230" y="266"/>
                  </a:lnTo>
                  <a:lnTo>
                    <a:pt x="232" y="266"/>
                  </a:lnTo>
                  <a:lnTo>
                    <a:pt x="233" y="266"/>
                  </a:lnTo>
                  <a:lnTo>
                    <a:pt x="234" y="266"/>
                  </a:lnTo>
                  <a:lnTo>
                    <a:pt x="236" y="266"/>
                  </a:lnTo>
                  <a:lnTo>
                    <a:pt x="238" y="266"/>
                  </a:lnTo>
                  <a:lnTo>
                    <a:pt x="238" y="265"/>
                  </a:lnTo>
                  <a:lnTo>
                    <a:pt x="238" y="264"/>
                  </a:lnTo>
                  <a:lnTo>
                    <a:pt x="236" y="264"/>
                  </a:lnTo>
                  <a:lnTo>
                    <a:pt x="235" y="265"/>
                  </a:lnTo>
                  <a:lnTo>
                    <a:pt x="234" y="265"/>
                  </a:lnTo>
                  <a:lnTo>
                    <a:pt x="233" y="265"/>
                  </a:lnTo>
                  <a:lnTo>
                    <a:pt x="233" y="264"/>
                  </a:lnTo>
                  <a:lnTo>
                    <a:pt x="230" y="264"/>
                  </a:lnTo>
                  <a:lnTo>
                    <a:pt x="230" y="262"/>
                  </a:lnTo>
                  <a:lnTo>
                    <a:pt x="229" y="262"/>
                  </a:lnTo>
                  <a:lnTo>
                    <a:pt x="228" y="261"/>
                  </a:lnTo>
                  <a:lnTo>
                    <a:pt x="227" y="261"/>
                  </a:lnTo>
                  <a:lnTo>
                    <a:pt x="228" y="261"/>
                  </a:lnTo>
                  <a:lnTo>
                    <a:pt x="229" y="260"/>
                  </a:lnTo>
                  <a:lnTo>
                    <a:pt x="228" y="259"/>
                  </a:lnTo>
                  <a:lnTo>
                    <a:pt x="227" y="259"/>
                  </a:lnTo>
                  <a:lnTo>
                    <a:pt x="227" y="258"/>
                  </a:lnTo>
                  <a:lnTo>
                    <a:pt x="227" y="256"/>
                  </a:lnTo>
                  <a:lnTo>
                    <a:pt x="226" y="256"/>
                  </a:lnTo>
                  <a:lnTo>
                    <a:pt x="224" y="256"/>
                  </a:lnTo>
                  <a:lnTo>
                    <a:pt x="223" y="256"/>
                  </a:lnTo>
                  <a:lnTo>
                    <a:pt x="222" y="255"/>
                  </a:lnTo>
                  <a:lnTo>
                    <a:pt x="222" y="254"/>
                  </a:lnTo>
                  <a:lnTo>
                    <a:pt x="222" y="253"/>
                  </a:lnTo>
                  <a:lnTo>
                    <a:pt x="222" y="254"/>
                  </a:lnTo>
                  <a:lnTo>
                    <a:pt x="223" y="255"/>
                  </a:lnTo>
                  <a:lnTo>
                    <a:pt x="224" y="256"/>
                  </a:lnTo>
                  <a:lnTo>
                    <a:pt x="226" y="255"/>
                  </a:lnTo>
                  <a:lnTo>
                    <a:pt x="224" y="255"/>
                  </a:lnTo>
                  <a:lnTo>
                    <a:pt x="224" y="254"/>
                  </a:lnTo>
                  <a:lnTo>
                    <a:pt x="226" y="255"/>
                  </a:lnTo>
                  <a:lnTo>
                    <a:pt x="227" y="255"/>
                  </a:lnTo>
                  <a:lnTo>
                    <a:pt x="228" y="256"/>
                  </a:lnTo>
                  <a:lnTo>
                    <a:pt x="229" y="258"/>
                  </a:lnTo>
                  <a:lnTo>
                    <a:pt x="230" y="258"/>
                  </a:lnTo>
                  <a:lnTo>
                    <a:pt x="230" y="259"/>
                  </a:lnTo>
                  <a:lnTo>
                    <a:pt x="232" y="260"/>
                  </a:lnTo>
                  <a:lnTo>
                    <a:pt x="232" y="261"/>
                  </a:lnTo>
                  <a:lnTo>
                    <a:pt x="232" y="260"/>
                  </a:lnTo>
                  <a:lnTo>
                    <a:pt x="230" y="260"/>
                  </a:lnTo>
                  <a:lnTo>
                    <a:pt x="230" y="261"/>
                  </a:lnTo>
                  <a:lnTo>
                    <a:pt x="232" y="261"/>
                  </a:lnTo>
                  <a:lnTo>
                    <a:pt x="232" y="262"/>
                  </a:lnTo>
                  <a:lnTo>
                    <a:pt x="234" y="262"/>
                  </a:lnTo>
                  <a:lnTo>
                    <a:pt x="234" y="264"/>
                  </a:lnTo>
                  <a:lnTo>
                    <a:pt x="235" y="262"/>
                  </a:lnTo>
                  <a:lnTo>
                    <a:pt x="236" y="262"/>
                  </a:lnTo>
                  <a:lnTo>
                    <a:pt x="238" y="262"/>
                  </a:lnTo>
                  <a:lnTo>
                    <a:pt x="236" y="261"/>
                  </a:lnTo>
                  <a:lnTo>
                    <a:pt x="238" y="260"/>
                  </a:lnTo>
                  <a:lnTo>
                    <a:pt x="239" y="261"/>
                  </a:lnTo>
                  <a:lnTo>
                    <a:pt x="241" y="261"/>
                  </a:lnTo>
                  <a:lnTo>
                    <a:pt x="242" y="259"/>
                  </a:lnTo>
                  <a:lnTo>
                    <a:pt x="241" y="259"/>
                  </a:lnTo>
                  <a:lnTo>
                    <a:pt x="240" y="259"/>
                  </a:lnTo>
                  <a:lnTo>
                    <a:pt x="239" y="258"/>
                  </a:lnTo>
                  <a:lnTo>
                    <a:pt x="238" y="258"/>
                  </a:lnTo>
                  <a:lnTo>
                    <a:pt x="236" y="258"/>
                  </a:lnTo>
                  <a:lnTo>
                    <a:pt x="235" y="256"/>
                  </a:lnTo>
                  <a:lnTo>
                    <a:pt x="233" y="256"/>
                  </a:lnTo>
                  <a:lnTo>
                    <a:pt x="232" y="256"/>
                  </a:lnTo>
                  <a:lnTo>
                    <a:pt x="230" y="255"/>
                  </a:lnTo>
                  <a:lnTo>
                    <a:pt x="229" y="255"/>
                  </a:lnTo>
                  <a:lnTo>
                    <a:pt x="228" y="254"/>
                  </a:lnTo>
                  <a:lnTo>
                    <a:pt x="227" y="253"/>
                  </a:lnTo>
                  <a:lnTo>
                    <a:pt x="227" y="252"/>
                  </a:lnTo>
                  <a:lnTo>
                    <a:pt x="226" y="250"/>
                  </a:lnTo>
                  <a:lnTo>
                    <a:pt x="224" y="249"/>
                  </a:lnTo>
                  <a:lnTo>
                    <a:pt x="223" y="249"/>
                  </a:lnTo>
                  <a:lnTo>
                    <a:pt x="222" y="249"/>
                  </a:lnTo>
                  <a:lnTo>
                    <a:pt x="222" y="248"/>
                  </a:lnTo>
                  <a:lnTo>
                    <a:pt x="222" y="247"/>
                  </a:lnTo>
                  <a:lnTo>
                    <a:pt x="222" y="246"/>
                  </a:lnTo>
                  <a:lnTo>
                    <a:pt x="223" y="247"/>
                  </a:lnTo>
                  <a:lnTo>
                    <a:pt x="224" y="247"/>
                  </a:lnTo>
                  <a:lnTo>
                    <a:pt x="226" y="247"/>
                  </a:lnTo>
                  <a:lnTo>
                    <a:pt x="227" y="249"/>
                  </a:lnTo>
                  <a:lnTo>
                    <a:pt x="227" y="250"/>
                  </a:lnTo>
                  <a:lnTo>
                    <a:pt x="228" y="250"/>
                  </a:lnTo>
                  <a:lnTo>
                    <a:pt x="228" y="252"/>
                  </a:lnTo>
                  <a:lnTo>
                    <a:pt x="229" y="253"/>
                  </a:lnTo>
                  <a:lnTo>
                    <a:pt x="230" y="254"/>
                  </a:lnTo>
                  <a:lnTo>
                    <a:pt x="233" y="254"/>
                  </a:lnTo>
                  <a:lnTo>
                    <a:pt x="234" y="255"/>
                  </a:lnTo>
                  <a:lnTo>
                    <a:pt x="235" y="256"/>
                  </a:lnTo>
                  <a:lnTo>
                    <a:pt x="236" y="256"/>
                  </a:lnTo>
                  <a:lnTo>
                    <a:pt x="238" y="255"/>
                  </a:lnTo>
                  <a:lnTo>
                    <a:pt x="239" y="256"/>
                  </a:lnTo>
                  <a:lnTo>
                    <a:pt x="240" y="258"/>
                  </a:lnTo>
                  <a:lnTo>
                    <a:pt x="241" y="258"/>
                  </a:lnTo>
                  <a:lnTo>
                    <a:pt x="242" y="258"/>
                  </a:lnTo>
                  <a:lnTo>
                    <a:pt x="242" y="256"/>
                  </a:lnTo>
                  <a:lnTo>
                    <a:pt x="241" y="256"/>
                  </a:lnTo>
                  <a:lnTo>
                    <a:pt x="239" y="255"/>
                  </a:lnTo>
                  <a:lnTo>
                    <a:pt x="240" y="254"/>
                  </a:lnTo>
                  <a:lnTo>
                    <a:pt x="241" y="254"/>
                  </a:lnTo>
                  <a:lnTo>
                    <a:pt x="242" y="254"/>
                  </a:lnTo>
                  <a:lnTo>
                    <a:pt x="244" y="252"/>
                  </a:lnTo>
                  <a:lnTo>
                    <a:pt x="244" y="250"/>
                  </a:lnTo>
                  <a:lnTo>
                    <a:pt x="242" y="250"/>
                  </a:lnTo>
                  <a:lnTo>
                    <a:pt x="242" y="249"/>
                  </a:lnTo>
                  <a:lnTo>
                    <a:pt x="242" y="250"/>
                  </a:lnTo>
                  <a:lnTo>
                    <a:pt x="241" y="252"/>
                  </a:lnTo>
                  <a:lnTo>
                    <a:pt x="239" y="252"/>
                  </a:lnTo>
                  <a:lnTo>
                    <a:pt x="239" y="250"/>
                  </a:lnTo>
                  <a:lnTo>
                    <a:pt x="238" y="250"/>
                  </a:lnTo>
                  <a:lnTo>
                    <a:pt x="238" y="252"/>
                  </a:lnTo>
                  <a:lnTo>
                    <a:pt x="238" y="253"/>
                  </a:lnTo>
                  <a:lnTo>
                    <a:pt x="236" y="253"/>
                  </a:lnTo>
                  <a:lnTo>
                    <a:pt x="236" y="252"/>
                  </a:lnTo>
                  <a:lnTo>
                    <a:pt x="235" y="252"/>
                  </a:lnTo>
                  <a:lnTo>
                    <a:pt x="234" y="250"/>
                  </a:lnTo>
                  <a:lnTo>
                    <a:pt x="234" y="249"/>
                  </a:lnTo>
                  <a:lnTo>
                    <a:pt x="233" y="249"/>
                  </a:lnTo>
                  <a:lnTo>
                    <a:pt x="233" y="248"/>
                  </a:lnTo>
                  <a:lnTo>
                    <a:pt x="232" y="247"/>
                  </a:lnTo>
                  <a:lnTo>
                    <a:pt x="230" y="247"/>
                  </a:lnTo>
                  <a:lnTo>
                    <a:pt x="230" y="246"/>
                  </a:lnTo>
                  <a:lnTo>
                    <a:pt x="232" y="246"/>
                  </a:lnTo>
                  <a:lnTo>
                    <a:pt x="233" y="246"/>
                  </a:lnTo>
                  <a:lnTo>
                    <a:pt x="234" y="246"/>
                  </a:lnTo>
                  <a:lnTo>
                    <a:pt x="235" y="247"/>
                  </a:lnTo>
                  <a:lnTo>
                    <a:pt x="238" y="248"/>
                  </a:lnTo>
                  <a:lnTo>
                    <a:pt x="240" y="248"/>
                  </a:lnTo>
                  <a:lnTo>
                    <a:pt x="240" y="247"/>
                  </a:lnTo>
                  <a:lnTo>
                    <a:pt x="240" y="246"/>
                  </a:lnTo>
                  <a:lnTo>
                    <a:pt x="239" y="246"/>
                  </a:lnTo>
                  <a:lnTo>
                    <a:pt x="238" y="246"/>
                  </a:lnTo>
                  <a:lnTo>
                    <a:pt x="235" y="244"/>
                  </a:lnTo>
                  <a:lnTo>
                    <a:pt x="236" y="244"/>
                  </a:lnTo>
                  <a:lnTo>
                    <a:pt x="238" y="246"/>
                  </a:lnTo>
                  <a:lnTo>
                    <a:pt x="238" y="244"/>
                  </a:lnTo>
                  <a:lnTo>
                    <a:pt x="239" y="244"/>
                  </a:lnTo>
                  <a:lnTo>
                    <a:pt x="239" y="243"/>
                  </a:lnTo>
                  <a:lnTo>
                    <a:pt x="240" y="244"/>
                  </a:lnTo>
                  <a:lnTo>
                    <a:pt x="240" y="246"/>
                  </a:lnTo>
                  <a:lnTo>
                    <a:pt x="241" y="246"/>
                  </a:lnTo>
                  <a:lnTo>
                    <a:pt x="242" y="246"/>
                  </a:lnTo>
                  <a:lnTo>
                    <a:pt x="242" y="244"/>
                  </a:lnTo>
                  <a:lnTo>
                    <a:pt x="242" y="243"/>
                  </a:lnTo>
                  <a:lnTo>
                    <a:pt x="242" y="242"/>
                  </a:lnTo>
                  <a:lnTo>
                    <a:pt x="241" y="242"/>
                  </a:lnTo>
                  <a:lnTo>
                    <a:pt x="240" y="242"/>
                  </a:lnTo>
                  <a:lnTo>
                    <a:pt x="240" y="241"/>
                  </a:lnTo>
                  <a:lnTo>
                    <a:pt x="240" y="242"/>
                  </a:lnTo>
                  <a:lnTo>
                    <a:pt x="239" y="242"/>
                  </a:lnTo>
                  <a:lnTo>
                    <a:pt x="238" y="242"/>
                  </a:lnTo>
                  <a:lnTo>
                    <a:pt x="236" y="242"/>
                  </a:lnTo>
                  <a:lnTo>
                    <a:pt x="236" y="241"/>
                  </a:lnTo>
                  <a:lnTo>
                    <a:pt x="238" y="240"/>
                  </a:lnTo>
                  <a:lnTo>
                    <a:pt x="236" y="240"/>
                  </a:lnTo>
                  <a:lnTo>
                    <a:pt x="234" y="240"/>
                  </a:lnTo>
                  <a:lnTo>
                    <a:pt x="233" y="241"/>
                  </a:lnTo>
                  <a:lnTo>
                    <a:pt x="232" y="241"/>
                  </a:lnTo>
                  <a:lnTo>
                    <a:pt x="233" y="238"/>
                  </a:lnTo>
                  <a:lnTo>
                    <a:pt x="234" y="238"/>
                  </a:lnTo>
                  <a:lnTo>
                    <a:pt x="235" y="238"/>
                  </a:lnTo>
                  <a:lnTo>
                    <a:pt x="236" y="237"/>
                  </a:lnTo>
                  <a:lnTo>
                    <a:pt x="236" y="236"/>
                  </a:lnTo>
                  <a:lnTo>
                    <a:pt x="239" y="236"/>
                  </a:lnTo>
                  <a:lnTo>
                    <a:pt x="240" y="235"/>
                  </a:lnTo>
                  <a:lnTo>
                    <a:pt x="241" y="235"/>
                  </a:lnTo>
                  <a:lnTo>
                    <a:pt x="241" y="234"/>
                  </a:lnTo>
                  <a:lnTo>
                    <a:pt x="241" y="232"/>
                  </a:lnTo>
                  <a:lnTo>
                    <a:pt x="240" y="232"/>
                  </a:lnTo>
                  <a:lnTo>
                    <a:pt x="240" y="231"/>
                  </a:lnTo>
                  <a:lnTo>
                    <a:pt x="239" y="232"/>
                  </a:lnTo>
                  <a:lnTo>
                    <a:pt x="238" y="232"/>
                  </a:lnTo>
                  <a:lnTo>
                    <a:pt x="238" y="231"/>
                  </a:lnTo>
                  <a:lnTo>
                    <a:pt x="236" y="231"/>
                  </a:lnTo>
                  <a:lnTo>
                    <a:pt x="235" y="232"/>
                  </a:lnTo>
                  <a:lnTo>
                    <a:pt x="235" y="234"/>
                  </a:lnTo>
                  <a:lnTo>
                    <a:pt x="235" y="232"/>
                  </a:lnTo>
                  <a:lnTo>
                    <a:pt x="235" y="231"/>
                  </a:lnTo>
                  <a:lnTo>
                    <a:pt x="234" y="231"/>
                  </a:lnTo>
                  <a:lnTo>
                    <a:pt x="233" y="232"/>
                  </a:lnTo>
                  <a:lnTo>
                    <a:pt x="232" y="234"/>
                  </a:lnTo>
                  <a:lnTo>
                    <a:pt x="230" y="234"/>
                  </a:lnTo>
                  <a:lnTo>
                    <a:pt x="232" y="232"/>
                  </a:lnTo>
                  <a:lnTo>
                    <a:pt x="233" y="232"/>
                  </a:lnTo>
                  <a:lnTo>
                    <a:pt x="233" y="231"/>
                  </a:lnTo>
                  <a:lnTo>
                    <a:pt x="232" y="230"/>
                  </a:lnTo>
                  <a:lnTo>
                    <a:pt x="232" y="229"/>
                  </a:lnTo>
                  <a:lnTo>
                    <a:pt x="230" y="229"/>
                  </a:lnTo>
                  <a:lnTo>
                    <a:pt x="232" y="228"/>
                  </a:lnTo>
                  <a:lnTo>
                    <a:pt x="232" y="229"/>
                  </a:lnTo>
                  <a:lnTo>
                    <a:pt x="233" y="229"/>
                  </a:lnTo>
                  <a:lnTo>
                    <a:pt x="234" y="229"/>
                  </a:lnTo>
                  <a:lnTo>
                    <a:pt x="234" y="228"/>
                  </a:lnTo>
                  <a:lnTo>
                    <a:pt x="235" y="228"/>
                  </a:lnTo>
                  <a:lnTo>
                    <a:pt x="235" y="226"/>
                  </a:lnTo>
                  <a:lnTo>
                    <a:pt x="234" y="225"/>
                  </a:lnTo>
                  <a:lnTo>
                    <a:pt x="233" y="224"/>
                  </a:lnTo>
                  <a:lnTo>
                    <a:pt x="232" y="224"/>
                  </a:lnTo>
                  <a:lnTo>
                    <a:pt x="232" y="225"/>
                  </a:lnTo>
                  <a:lnTo>
                    <a:pt x="230" y="225"/>
                  </a:lnTo>
                  <a:lnTo>
                    <a:pt x="229" y="225"/>
                  </a:lnTo>
                  <a:lnTo>
                    <a:pt x="228" y="225"/>
                  </a:lnTo>
                  <a:lnTo>
                    <a:pt x="227" y="226"/>
                  </a:lnTo>
                  <a:lnTo>
                    <a:pt x="227" y="228"/>
                  </a:lnTo>
                  <a:lnTo>
                    <a:pt x="228" y="228"/>
                  </a:lnTo>
                  <a:lnTo>
                    <a:pt x="228" y="229"/>
                  </a:lnTo>
                  <a:lnTo>
                    <a:pt x="228" y="230"/>
                  </a:lnTo>
                  <a:lnTo>
                    <a:pt x="227" y="229"/>
                  </a:lnTo>
                  <a:lnTo>
                    <a:pt x="226" y="229"/>
                  </a:lnTo>
                  <a:lnTo>
                    <a:pt x="226" y="228"/>
                  </a:lnTo>
                  <a:lnTo>
                    <a:pt x="224" y="228"/>
                  </a:lnTo>
                  <a:lnTo>
                    <a:pt x="224" y="226"/>
                  </a:lnTo>
                  <a:lnTo>
                    <a:pt x="226" y="225"/>
                  </a:lnTo>
                  <a:lnTo>
                    <a:pt x="226" y="224"/>
                  </a:lnTo>
                  <a:lnTo>
                    <a:pt x="226" y="223"/>
                  </a:lnTo>
                  <a:lnTo>
                    <a:pt x="224" y="223"/>
                  </a:lnTo>
                  <a:lnTo>
                    <a:pt x="222" y="223"/>
                  </a:lnTo>
                  <a:lnTo>
                    <a:pt x="222" y="224"/>
                  </a:lnTo>
                  <a:lnTo>
                    <a:pt x="222" y="225"/>
                  </a:lnTo>
                  <a:lnTo>
                    <a:pt x="221" y="226"/>
                  </a:lnTo>
                  <a:lnTo>
                    <a:pt x="220" y="225"/>
                  </a:lnTo>
                  <a:lnTo>
                    <a:pt x="221" y="224"/>
                  </a:lnTo>
                  <a:lnTo>
                    <a:pt x="221" y="223"/>
                  </a:lnTo>
                  <a:lnTo>
                    <a:pt x="222" y="223"/>
                  </a:lnTo>
                  <a:lnTo>
                    <a:pt x="224" y="222"/>
                  </a:lnTo>
                  <a:lnTo>
                    <a:pt x="224" y="220"/>
                  </a:lnTo>
                  <a:lnTo>
                    <a:pt x="223" y="220"/>
                  </a:lnTo>
                  <a:lnTo>
                    <a:pt x="223" y="219"/>
                  </a:lnTo>
                  <a:lnTo>
                    <a:pt x="224" y="219"/>
                  </a:lnTo>
                  <a:lnTo>
                    <a:pt x="226" y="219"/>
                  </a:lnTo>
                  <a:lnTo>
                    <a:pt x="227" y="219"/>
                  </a:lnTo>
                  <a:lnTo>
                    <a:pt x="227" y="218"/>
                  </a:lnTo>
                  <a:lnTo>
                    <a:pt x="228" y="217"/>
                  </a:lnTo>
                  <a:lnTo>
                    <a:pt x="228" y="216"/>
                  </a:lnTo>
                  <a:lnTo>
                    <a:pt x="229" y="216"/>
                  </a:lnTo>
                  <a:lnTo>
                    <a:pt x="229" y="214"/>
                  </a:lnTo>
                  <a:lnTo>
                    <a:pt x="229" y="213"/>
                  </a:lnTo>
                  <a:lnTo>
                    <a:pt x="228" y="213"/>
                  </a:lnTo>
                  <a:lnTo>
                    <a:pt x="227" y="214"/>
                  </a:lnTo>
                  <a:lnTo>
                    <a:pt x="227" y="213"/>
                  </a:lnTo>
                  <a:lnTo>
                    <a:pt x="226" y="213"/>
                  </a:lnTo>
                  <a:lnTo>
                    <a:pt x="226" y="214"/>
                  </a:lnTo>
                  <a:lnTo>
                    <a:pt x="224" y="214"/>
                  </a:lnTo>
                  <a:lnTo>
                    <a:pt x="223" y="216"/>
                  </a:lnTo>
                  <a:lnTo>
                    <a:pt x="222" y="214"/>
                  </a:lnTo>
                  <a:lnTo>
                    <a:pt x="224" y="213"/>
                  </a:lnTo>
                  <a:lnTo>
                    <a:pt x="226" y="212"/>
                  </a:lnTo>
                  <a:lnTo>
                    <a:pt x="224" y="211"/>
                  </a:lnTo>
                  <a:lnTo>
                    <a:pt x="223" y="212"/>
                  </a:lnTo>
                  <a:lnTo>
                    <a:pt x="222" y="211"/>
                  </a:lnTo>
                  <a:lnTo>
                    <a:pt x="222" y="210"/>
                  </a:lnTo>
                  <a:lnTo>
                    <a:pt x="222" y="208"/>
                  </a:lnTo>
                  <a:lnTo>
                    <a:pt x="221" y="211"/>
                  </a:lnTo>
                  <a:lnTo>
                    <a:pt x="220" y="210"/>
                  </a:lnTo>
                  <a:lnTo>
                    <a:pt x="218" y="210"/>
                  </a:lnTo>
                  <a:lnTo>
                    <a:pt x="217" y="210"/>
                  </a:lnTo>
                  <a:lnTo>
                    <a:pt x="217" y="208"/>
                  </a:lnTo>
                  <a:lnTo>
                    <a:pt x="216" y="208"/>
                  </a:lnTo>
                  <a:lnTo>
                    <a:pt x="215" y="207"/>
                  </a:lnTo>
                  <a:lnTo>
                    <a:pt x="215" y="206"/>
                  </a:lnTo>
                  <a:lnTo>
                    <a:pt x="214" y="206"/>
                  </a:lnTo>
                  <a:lnTo>
                    <a:pt x="215" y="206"/>
                  </a:lnTo>
                  <a:lnTo>
                    <a:pt x="216" y="207"/>
                  </a:lnTo>
                  <a:lnTo>
                    <a:pt x="217" y="207"/>
                  </a:lnTo>
                  <a:lnTo>
                    <a:pt x="218" y="207"/>
                  </a:lnTo>
                  <a:lnTo>
                    <a:pt x="218" y="208"/>
                  </a:lnTo>
                  <a:lnTo>
                    <a:pt x="220" y="208"/>
                  </a:lnTo>
                  <a:lnTo>
                    <a:pt x="221" y="206"/>
                  </a:lnTo>
                  <a:lnTo>
                    <a:pt x="221" y="207"/>
                  </a:lnTo>
                  <a:lnTo>
                    <a:pt x="222" y="207"/>
                  </a:lnTo>
                  <a:lnTo>
                    <a:pt x="223" y="207"/>
                  </a:lnTo>
                  <a:lnTo>
                    <a:pt x="223" y="206"/>
                  </a:lnTo>
                  <a:lnTo>
                    <a:pt x="224" y="206"/>
                  </a:lnTo>
                  <a:lnTo>
                    <a:pt x="226" y="205"/>
                  </a:lnTo>
                  <a:lnTo>
                    <a:pt x="227" y="205"/>
                  </a:lnTo>
                  <a:lnTo>
                    <a:pt x="228" y="205"/>
                  </a:lnTo>
                  <a:lnTo>
                    <a:pt x="228" y="204"/>
                  </a:lnTo>
                  <a:lnTo>
                    <a:pt x="227" y="202"/>
                  </a:lnTo>
                  <a:lnTo>
                    <a:pt x="227" y="201"/>
                  </a:lnTo>
                  <a:lnTo>
                    <a:pt x="226" y="202"/>
                  </a:lnTo>
                  <a:lnTo>
                    <a:pt x="224" y="202"/>
                  </a:lnTo>
                  <a:lnTo>
                    <a:pt x="223" y="202"/>
                  </a:lnTo>
                  <a:lnTo>
                    <a:pt x="222" y="202"/>
                  </a:lnTo>
                  <a:lnTo>
                    <a:pt x="221" y="202"/>
                  </a:lnTo>
                  <a:lnTo>
                    <a:pt x="220" y="202"/>
                  </a:lnTo>
                  <a:lnTo>
                    <a:pt x="220" y="201"/>
                  </a:lnTo>
                  <a:lnTo>
                    <a:pt x="217" y="201"/>
                  </a:lnTo>
                  <a:lnTo>
                    <a:pt x="216" y="201"/>
                  </a:lnTo>
                  <a:lnTo>
                    <a:pt x="216" y="200"/>
                  </a:lnTo>
                  <a:lnTo>
                    <a:pt x="215" y="200"/>
                  </a:lnTo>
                  <a:lnTo>
                    <a:pt x="214" y="200"/>
                  </a:lnTo>
                  <a:lnTo>
                    <a:pt x="214" y="199"/>
                  </a:lnTo>
                  <a:lnTo>
                    <a:pt x="212" y="199"/>
                  </a:lnTo>
                  <a:lnTo>
                    <a:pt x="211" y="199"/>
                  </a:lnTo>
                  <a:lnTo>
                    <a:pt x="210" y="199"/>
                  </a:lnTo>
                  <a:lnTo>
                    <a:pt x="210" y="198"/>
                  </a:lnTo>
                  <a:lnTo>
                    <a:pt x="209" y="196"/>
                  </a:lnTo>
                  <a:lnTo>
                    <a:pt x="207" y="196"/>
                  </a:lnTo>
                  <a:lnTo>
                    <a:pt x="206" y="198"/>
                  </a:lnTo>
                  <a:lnTo>
                    <a:pt x="204" y="198"/>
                  </a:lnTo>
                  <a:lnTo>
                    <a:pt x="205" y="196"/>
                  </a:lnTo>
                  <a:lnTo>
                    <a:pt x="206" y="196"/>
                  </a:lnTo>
                  <a:lnTo>
                    <a:pt x="207" y="196"/>
                  </a:lnTo>
                  <a:lnTo>
                    <a:pt x="209" y="196"/>
                  </a:lnTo>
                  <a:lnTo>
                    <a:pt x="210" y="196"/>
                  </a:lnTo>
                  <a:lnTo>
                    <a:pt x="209" y="195"/>
                  </a:lnTo>
                  <a:lnTo>
                    <a:pt x="207" y="194"/>
                  </a:lnTo>
                  <a:lnTo>
                    <a:pt x="206" y="193"/>
                  </a:lnTo>
                  <a:lnTo>
                    <a:pt x="206" y="194"/>
                  </a:lnTo>
                  <a:lnTo>
                    <a:pt x="205" y="195"/>
                  </a:lnTo>
                  <a:lnTo>
                    <a:pt x="205" y="194"/>
                  </a:lnTo>
                  <a:lnTo>
                    <a:pt x="204" y="193"/>
                  </a:lnTo>
                  <a:lnTo>
                    <a:pt x="205" y="193"/>
                  </a:lnTo>
                  <a:lnTo>
                    <a:pt x="205" y="192"/>
                  </a:lnTo>
                  <a:lnTo>
                    <a:pt x="205" y="190"/>
                  </a:lnTo>
                  <a:lnTo>
                    <a:pt x="206" y="190"/>
                  </a:lnTo>
                  <a:lnTo>
                    <a:pt x="206" y="192"/>
                  </a:lnTo>
                  <a:lnTo>
                    <a:pt x="207" y="192"/>
                  </a:lnTo>
                  <a:lnTo>
                    <a:pt x="207" y="190"/>
                  </a:lnTo>
                  <a:lnTo>
                    <a:pt x="206" y="189"/>
                  </a:lnTo>
                  <a:lnTo>
                    <a:pt x="206" y="188"/>
                  </a:lnTo>
                  <a:lnTo>
                    <a:pt x="205" y="188"/>
                  </a:lnTo>
                  <a:lnTo>
                    <a:pt x="205" y="187"/>
                  </a:lnTo>
                  <a:lnTo>
                    <a:pt x="206" y="187"/>
                  </a:lnTo>
                  <a:lnTo>
                    <a:pt x="207" y="186"/>
                  </a:lnTo>
                  <a:lnTo>
                    <a:pt x="206" y="186"/>
                  </a:lnTo>
                  <a:lnTo>
                    <a:pt x="206" y="187"/>
                  </a:lnTo>
                  <a:lnTo>
                    <a:pt x="205" y="186"/>
                  </a:lnTo>
                  <a:lnTo>
                    <a:pt x="204" y="186"/>
                  </a:lnTo>
                  <a:lnTo>
                    <a:pt x="203" y="187"/>
                  </a:lnTo>
                  <a:lnTo>
                    <a:pt x="201" y="186"/>
                  </a:lnTo>
                  <a:lnTo>
                    <a:pt x="200" y="184"/>
                  </a:lnTo>
                  <a:lnTo>
                    <a:pt x="200" y="183"/>
                  </a:lnTo>
                  <a:lnTo>
                    <a:pt x="201" y="183"/>
                  </a:lnTo>
                  <a:lnTo>
                    <a:pt x="203" y="183"/>
                  </a:lnTo>
                  <a:lnTo>
                    <a:pt x="204" y="182"/>
                  </a:lnTo>
                  <a:lnTo>
                    <a:pt x="205" y="182"/>
                  </a:lnTo>
                  <a:lnTo>
                    <a:pt x="206" y="183"/>
                  </a:lnTo>
                  <a:lnTo>
                    <a:pt x="209" y="183"/>
                  </a:lnTo>
                  <a:lnTo>
                    <a:pt x="209" y="182"/>
                  </a:lnTo>
                  <a:lnTo>
                    <a:pt x="210" y="183"/>
                  </a:lnTo>
                  <a:lnTo>
                    <a:pt x="211" y="183"/>
                  </a:lnTo>
                  <a:lnTo>
                    <a:pt x="212" y="183"/>
                  </a:lnTo>
                  <a:lnTo>
                    <a:pt x="214" y="182"/>
                  </a:lnTo>
                  <a:lnTo>
                    <a:pt x="212" y="183"/>
                  </a:lnTo>
                  <a:lnTo>
                    <a:pt x="212" y="184"/>
                  </a:lnTo>
                  <a:lnTo>
                    <a:pt x="212" y="186"/>
                  </a:lnTo>
                  <a:lnTo>
                    <a:pt x="212" y="187"/>
                  </a:lnTo>
                  <a:lnTo>
                    <a:pt x="211" y="187"/>
                  </a:lnTo>
                  <a:lnTo>
                    <a:pt x="210" y="186"/>
                  </a:lnTo>
                  <a:lnTo>
                    <a:pt x="210" y="187"/>
                  </a:lnTo>
                  <a:lnTo>
                    <a:pt x="209" y="187"/>
                  </a:lnTo>
                  <a:lnTo>
                    <a:pt x="209" y="188"/>
                  </a:lnTo>
                  <a:lnTo>
                    <a:pt x="210" y="188"/>
                  </a:lnTo>
                  <a:lnTo>
                    <a:pt x="212" y="188"/>
                  </a:lnTo>
                  <a:lnTo>
                    <a:pt x="214" y="187"/>
                  </a:lnTo>
                  <a:lnTo>
                    <a:pt x="211" y="188"/>
                  </a:lnTo>
                  <a:lnTo>
                    <a:pt x="211" y="189"/>
                  </a:lnTo>
                  <a:lnTo>
                    <a:pt x="214" y="188"/>
                  </a:lnTo>
                  <a:lnTo>
                    <a:pt x="215" y="188"/>
                  </a:lnTo>
                  <a:lnTo>
                    <a:pt x="214" y="189"/>
                  </a:lnTo>
                  <a:lnTo>
                    <a:pt x="212" y="190"/>
                  </a:lnTo>
                  <a:lnTo>
                    <a:pt x="212" y="192"/>
                  </a:lnTo>
                  <a:lnTo>
                    <a:pt x="214" y="192"/>
                  </a:lnTo>
                  <a:lnTo>
                    <a:pt x="215" y="190"/>
                  </a:lnTo>
                  <a:lnTo>
                    <a:pt x="216" y="192"/>
                  </a:lnTo>
                  <a:lnTo>
                    <a:pt x="217" y="192"/>
                  </a:lnTo>
                  <a:lnTo>
                    <a:pt x="217" y="193"/>
                  </a:lnTo>
                  <a:lnTo>
                    <a:pt x="218" y="193"/>
                  </a:lnTo>
                  <a:lnTo>
                    <a:pt x="220" y="192"/>
                  </a:lnTo>
                  <a:lnTo>
                    <a:pt x="221" y="193"/>
                  </a:lnTo>
                  <a:lnTo>
                    <a:pt x="222" y="193"/>
                  </a:lnTo>
                  <a:lnTo>
                    <a:pt x="223" y="193"/>
                  </a:lnTo>
                  <a:lnTo>
                    <a:pt x="224" y="192"/>
                  </a:lnTo>
                  <a:lnTo>
                    <a:pt x="224" y="190"/>
                  </a:lnTo>
                  <a:lnTo>
                    <a:pt x="226" y="192"/>
                  </a:lnTo>
                  <a:lnTo>
                    <a:pt x="227" y="193"/>
                  </a:lnTo>
                  <a:lnTo>
                    <a:pt x="227" y="194"/>
                  </a:lnTo>
                  <a:lnTo>
                    <a:pt x="228" y="195"/>
                  </a:lnTo>
                  <a:lnTo>
                    <a:pt x="230" y="198"/>
                  </a:lnTo>
                  <a:lnTo>
                    <a:pt x="230" y="196"/>
                  </a:lnTo>
                  <a:lnTo>
                    <a:pt x="230" y="194"/>
                  </a:lnTo>
                  <a:lnTo>
                    <a:pt x="229" y="194"/>
                  </a:lnTo>
                  <a:lnTo>
                    <a:pt x="229" y="193"/>
                  </a:lnTo>
                  <a:lnTo>
                    <a:pt x="230" y="193"/>
                  </a:lnTo>
                  <a:lnTo>
                    <a:pt x="232" y="193"/>
                  </a:lnTo>
                  <a:lnTo>
                    <a:pt x="233" y="194"/>
                  </a:lnTo>
                  <a:lnTo>
                    <a:pt x="234" y="194"/>
                  </a:lnTo>
                  <a:lnTo>
                    <a:pt x="235" y="196"/>
                  </a:lnTo>
                  <a:lnTo>
                    <a:pt x="236" y="199"/>
                  </a:lnTo>
                  <a:lnTo>
                    <a:pt x="235" y="200"/>
                  </a:lnTo>
                  <a:lnTo>
                    <a:pt x="238" y="201"/>
                  </a:lnTo>
                  <a:lnTo>
                    <a:pt x="239" y="201"/>
                  </a:lnTo>
                  <a:lnTo>
                    <a:pt x="239" y="202"/>
                  </a:lnTo>
                  <a:lnTo>
                    <a:pt x="240" y="202"/>
                  </a:lnTo>
                  <a:lnTo>
                    <a:pt x="242" y="204"/>
                  </a:lnTo>
                  <a:lnTo>
                    <a:pt x="244" y="202"/>
                  </a:lnTo>
                  <a:lnTo>
                    <a:pt x="244" y="201"/>
                  </a:lnTo>
                  <a:lnTo>
                    <a:pt x="242" y="201"/>
                  </a:lnTo>
                  <a:lnTo>
                    <a:pt x="242" y="200"/>
                  </a:lnTo>
                  <a:lnTo>
                    <a:pt x="241" y="199"/>
                  </a:lnTo>
                  <a:lnTo>
                    <a:pt x="240" y="199"/>
                  </a:lnTo>
                  <a:lnTo>
                    <a:pt x="240" y="198"/>
                  </a:lnTo>
                  <a:lnTo>
                    <a:pt x="239" y="196"/>
                  </a:lnTo>
                  <a:lnTo>
                    <a:pt x="240" y="196"/>
                  </a:lnTo>
                  <a:lnTo>
                    <a:pt x="241" y="195"/>
                  </a:lnTo>
                  <a:lnTo>
                    <a:pt x="241" y="194"/>
                  </a:lnTo>
                  <a:lnTo>
                    <a:pt x="239" y="194"/>
                  </a:lnTo>
                  <a:lnTo>
                    <a:pt x="238" y="193"/>
                  </a:lnTo>
                  <a:lnTo>
                    <a:pt x="238" y="192"/>
                  </a:lnTo>
                  <a:lnTo>
                    <a:pt x="236" y="190"/>
                  </a:lnTo>
                  <a:lnTo>
                    <a:pt x="235" y="189"/>
                  </a:lnTo>
                  <a:lnTo>
                    <a:pt x="235" y="188"/>
                  </a:lnTo>
                  <a:lnTo>
                    <a:pt x="236" y="189"/>
                  </a:lnTo>
                  <a:lnTo>
                    <a:pt x="238" y="190"/>
                  </a:lnTo>
                  <a:lnTo>
                    <a:pt x="240" y="192"/>
                  </a:lnTo>
                  <a:lnTo>
                    <a:pt x="241" y="193"/>
                  </a:lnTo>
                  <a:lnTo>
                    <a:pt x="242" y="193"/>
                  </a:lnTo>
                  <a:lnTo>
                    <a:pt x="244" y="190"/>
                  </a:lnTo>
                  <a:lnTo>
                    <a:pt x="244" y="193"/>
                  </a:lnTo>
                  <a:lnTo>
                    <a:pt x="245" y="194"/>
                  </a:lnTo>
                  <a:lnTo>
                    <a:pt x="246" y="194"/>
                  </a:lnTo>
                  <a:lnTo>
                    <a:pt x="246" y="193"/>
                  </a:lnTo>
                  <a:lnTo>
                    <a:pt x="247" y="193"/>
                  </a:lnTo>
                  <a:lnTo>
                    <a:pt x="248" y="194"/>
                  </a:lnTo>
                  <a:lnTo>
                    <a:pt x="251" y="194"/>
                  </a:lnTo>
                  <a:lnTo>
                    <a:pt x="253" y="194"/>
                  </a:lnTo>
                  <a:lnTo>
                    <a:pt x="253" y="193"/>
                  </a:lnTo>
                  <a:lnTo>
                    <a:pt x="254" y="193"/>
                  </a:lnTo>
                  <a:lnTo>
                    <a:pt x="254" y="192"/>
                  </a:lnTo>
                  <a:lnTo>
                    <a:pt x="256" y="190"/>
                  </a:lnTo>
                  <a:lnTo>
                    <a:pt x="258" y="190"/>
                  </a:lnTo>
                  <a:lnTo>
                    <a:pt x="258" y="189"/>
                  </a:lnTo>
                  <a:lnTo>
                    <a:pt x="259" y="189"/>
                  </a:lnTo>
                  <a:lnTo>
                    <a:pt x="260" y="189"/>
                  </a:lnTo>
                  <a:lnTo>
                    <a:pt x="260" y="188"/>
                  </a:lnTo>
                  <a:lnTo>
                    <a:pt x="263" y="188"/>
                  </a:lnTo>
                  <a:lnTo>
                    <a:pt x="264" y="188"/>
                  </a:lnTo>
                  <a:lnTo>
                    <a:pt x="265" y="187"/>
                  </a:lnTo>
                  <a:lnTo>
                    <a:pt x="265" y="186"/>
                  </a:lnTo>
                  <a:lnTo>
                    <a:pt x="266" y="186"/>
                  </a:lnTo>
                  <a:lnTo>
                    <a:pt x="268" y="187"/>
                  </a:lnTo>
                  <a:lnTo>
                    <a:pt x="269" y="187"/>
                  </a:lnTo>
                  <a:lnTo>
                    <a:pt x="269" y="186"/>
                  </a:lnTo>
                  <a:lnTo>
                    <a:pt x="268" y="184"/>
                  </a:lnTo>
                  <a:lnTo>
                    <a:pt x="268" y="183"/>
                  </a:lnTo>
                  <a:lnTo>
                    <a:pt x="269" y="182"/>
                  </a:lnTo>
                  <a:lnTo>
                    <a:pt x="271" y="183"/>
                  </a:lnTo>
                  <a:lnTo>
                    <a:pt x="272" y="182"/>
                  </a:lnTo>
                  <a:lnTo>
                    <a:pt x="274" y="181"/>
                  </a:lnTo>
                  <a:lnTo>
                    <a:pt x="275" y="181"/>
                  </a:lnTo>
                  <a:lnTo>
                    <a:pt x="276" y="181"/>
                  </a:lnTo>
                  <a:lnTo>
                    <a:pt x="277" y="181"/>
                  </a:lnTo>
                  <a:lnTo>
                    <a:pt x="277" y="180"/>
                  </a:lnTo>
                  <a:lnTo>
                    <a:pt x="277" y="178"/>
                  </a:lnTo>
                  <a:lnTo>
                    <a:pt x="277" y="177"/>
                  </a:lnTo>
                  <a:lnTo>
                    <a:pt x="277" y="176"/>
                  </a:lnTo>
                  <a:lnTo>
                    <a:pt x="275" y="176"/>
                  </a:lnTo>
                  <a:lnTo>
                    <a:pt x="272" y="176"/>
                  </a:lnTo>
                  <a:lnTo>
                    <a:pt x="271" y="176"/>
                  </a:lnTo>
                  <a:lnTo>
                    <a:pt x="269" y="177"/>
                  </a:lnTo>
                  <a:lnTo>
                    <a:pt x="269" y="176"/>
                  </a:lnTo>
                  <a:lnTo>
                    <a:pt x="268" y="177"/>
                  </a:lnTo>
                  <a:lnTo>
                    <a:pt x="266" y="177"/>
                  </a:lnTo>
                  <a:lnTo>
                    <a:pt x="266" y="176"/>
                  </a:lnTo>
                  <a:lnTo>
                    <a:pt x="268" y="175"/>
                  </a:lnTo>
                  <a:lnTo>
                    <a:pt x="269" y="173"/>
                  </a:lnTo>
                  <a:lnTo>
                    <a:pt x="269" y="172"/>
                  </a:lnTo>
                  <a:lnTo>
                    <a:pt x="268" y="172"/>
                  </a:lnTo>
                  <a:lnTo>
                    <a:pt x="265" y="173"/>
                  </a:lnTo>
                  <a:lnTo>
                    <a:pt x="264" y="172"/>
                  </a:lnTo>
                  <a:lnTo>
                    <a:pt x="265" y="172"/>
                  </a:lnTo>
                  <a:lnTo>
                    <a:pt x="268" y="171"/>
                  </a:lnTo>
                  <a:lnTo>
                    <a:pt x="266" y="171"/>
                  </a:lnTo>
                  <a:lnTo>
                    <a:pt x="268" y="171"/>
                  </a:lnTo>
                  <a:lnTo>
                    <a:pt x="269" y="170"/>
                  </a:lnTo>
                  <a:lnTo>
                    <a:pt x="270" y="169"/>
                  </a:lnTo>
                  <a:lnTo>
                    <a:pt x="270" y="167"/>
                  </a:lnTo>
                  <a:lnTo>
                    <a:pt x="271" y="166"/>
                  </a:lnTo>
                  <a:lnTo>
                    <a:pt x="271" y="167"/>
                  </a:lnTo>
                  <a:lnTo>
                    <a:pt x="271" y="169"/>
                  </a:lnTo>
                  <a:lnTo>
                    <a:pt x="274" y="169"/>
                  </a:lnTo>
                  <a:lnTo>
                    <a:pt x="275" y="169"/>
                  </a:lnTo>
                  <a:lnTo>
                    <a:pt x="276" y="167"/>
                  </a:lnTo>
                  <a:lnTo>
                    <a:pt x="276" y="166"/>
                  </a:lnTo>
                  <a:lnTo>
                    <a:pt x="275" y="166"/>
                  </a:lnTo>
                  <a:lnTo>
                    <a:pt x="274" y="166"/>
                  </a:lnTo>
                  <a:lnTo>
                    <a:pt x="272" y="166"/>
                  </a:lnTo>
                  <a:lnTo>
                    <a:pt x="272" y="165"/>
                  </a:lnTo>
                  <a:lnTo>
                    <a:pt x="272" y="164"/>
                  </a:lnTo>
                  <a:lnTo>
                    <a:pt x="274" y="164"/>
                  </a:lnTo>
                  <a:lnTo>
                    <a:pt x="274" y="163"/>
                  </a:lnTo>
                  <a:lnTo>
                    <a:pt x="274" y="161"/>
                  </a:lnTo>
                  <a:lnTo>
                    <a:pt x="274" y="163"/>
                  </a:lnTo>
                  <a:lnTo>
                    <a:pt x="275" y="164"/>
                  </a:lnTo>
                  <a:lnTo>
                    <a:pt x="276" y="164"/>
                  </a:lnTo>
                  <a:lnTo>
                    <a:pt x="277" y="165"/>
                  </a:lnTo>
                  <a:lnTo>
                    <a:pt x="280" y="165"/>
                  </a:lnTo>
                  <a:lnTo>
                    <a:pt x="281" y="165"/>
                  </a:lnTo>
                  <a:lnTo>
                    <a:pt x="282" y="164"/>
                  </a:lnTo>
                  <a:lnTo>
                    <a:pt x="282" y="163"/>
                  </a:lnTo>
                  <a:lnTo>
                    <a:pt x="282" y="161"/>
                  </a:lnTo>
                  <a:lnTo>
                    <a:pt x="280" y="163"/>
                  </a:lnTo>
                  <a:lnTo>
                    <a:pt x="279" y="161"/>
                  </a:lnTo>
                  <a:lnTo>
                    <a:pt x="277" y="161"/>
                  </a:lnTo>
                  <a:lnTo>
                    <a:pt x="276" y="160"/>
                  </a:lnTo>
                  <a:lnTo>
                    <a:pt x="276" y="161"/>
                  </a:lnTo>
                  <a:lnTo>
                    <a:pt x="275" y="160"/>
                  </a:lnTo>
                  <a:lnTo>
                    <a:pt x="275" y="159"/>
                  </a:lnTo>
                  <a:lnTo>
                    <a:pt x="274" y="158"/>
                  </a:lnTo>
                  <a:lnTo>
                    <a:pt x="275" y="157"/>
                  </a:lnTo>
                  <a:lnTo>
                    <a:pt x="276" y="157"/>
                  </a:lnTo>
                  <a:lnTo>
                    <a:pt x="277" y="158"/>
                  </a:lnTo>
                  <a:lnTo>
                    <a:pt x="277" y="159"/>
                  </a:lnTo>
                  <a:lnTo>
                    <a:pt x="279" y="160"/>
                  </a:lnTo>
                  <a:lnTo>
                    <a:pt x="280" y="160"/>
                  </a:lnTo>
                  <a:lnTo>
                    <a:pt x="281" y="160"/>
                  </a:lnTo>
                  <a:lnTo>
                    <a:pt x="281" y="159"/>
                  </a:lnTo>
                  <a:lnTo>
                    <a:pt x="282" y="159"/>
                  </a:lnTo>
                  <a:lnTo>
                    <a:pt x="282" y="160"/>
                  </a:lnTo>
                  <a:lnTo>
                    <a:pt x="285" y="160"/>
                  </a:lnTo>
                  <a:lnTo>
                    <a:pt x="285" y="159"/>
                  </a:lnTo>
                  <a:lnTo>
                    <a:pt x="285" y="158"/>
                  </a:lnTo>
                  <a:lnTo>
                    <a:pt x="283" y="158"/>
                  </a:lnTo>
                  <a:lnTo>
                    <a:pt x="282" y="158"/>
                  </a:lnTo>
                  <a:lnTo>
                    <a:pt x="280" y="157"/>
                  </a:lnTo>
                  <a:lnTo>
                    <a:pt x="281" y="155"/>
                  </a:lnTo>
                  <a:lnTo>
                    <a:pt x="282" y="155"/>
                  </a:lnTo>
                  <a:lnTo>
                    <a:pt x="283" y="157"/>
                  </a:lnTo>
                  <a:lnTo>
                    <a:pt x="285" y="158"/>
                  </a:lnTo>
                  <a:lnTo>
                    <a:pt x="286" y="159"/>
                  </a:lnTo>
                  <a:lnTo>
                    <a:pt x="286" y="160"/>
                  </a:lnTo>
                  <a:lnTo>
                    <a:pt x="288" y="159"/>
                  </a:lnTo>
                  <a:lnTo>
                    <a:pt x="289" y="159"/>
                  </a:lnTo>
                  <a:lnTo>
                    <a:pt x="289" y="158"/>
                  </a:lnTo>
                  <a:lnTo>
                    <a:pt x="289" y="157"/>
                  </a:lnTo>
                  <a:lnTo>
                    <a:pt x="287" y="157"/>
                  </a:lnTo>
                  <a:lnTo>
                    <a:pt x="286" y="158"/>
                  </a:lnTo>
                  <a:lnTo>
                    <a:pt x="285" y="158"/>
                  </a:lnTo>
                  <a:lnTo>
                    <a:pt x="285" y="157"/>
                  </a:lnTo>
                  <a:lnTo>
                    <a:pt x="286" y="155"/>
                  </a:lnTo>
                  <a:lnTo>
                    <a:pt x="288" y="154"/>
                  </a:lnTo>
                  <a:lnTo>
                    <a:pt x="288" y="153"/>
                  </a:lnTo>
                  <a:lnTo>
                    <a:pt x="289" y="152"/>
                  </a:lnTo>
                  <a:lnTo>
                    <a:pt x="291" y="153"/>
                  </a:lnTo>
                  <a:lnTo>
                    <a:pt x="292" y="152"/>
                  </a:lnTo>
                  <a:lnTo>
                    <a:pt x="293" y="152"/>
                  </a:lnTo>
                  <a:lnTo>
                    <a:pt x="292" y="149"/>
                  </a:lnTo>
                  <a:lnTo>
                    <a:pt x="293" y="148"/>
                  </a:lnTo>
                  <a:lnTo>
                    <a:pt x="294" y="148"/>
                  </a:lnTo>
                  <a:lnTo>
                    <a:pt x="295" y="147"/>
                  </a:lnTo>
                  <a:lnTo>
                    <a:pt x="295" y="146"/>
                  </a:lnTo>
                  <a:lnTo>
                    <a:pt x="297" y="145"/>
                  </a:lnTo>
                  <a:lnTo>
                    <a:pt x="297" y="143"/>
                  </a:lnTo>
                  <a:lnTo>
                    <a:pt x="295" y="142"/>
                  </a:lnTo>
                  <a:lnTo>
                    <a:pt x="294" y="143"/>
                  </a:lnTo>
                  <a:lnTo>
                    <a:pt x="293" y="145"/>
                  </a:lnTo>
                  <a:lnTo>
                    <a:pt x="293" y="146"/>
                  </a:lnTo>
                  <a:lnTo>
                    <a:pt x="292" y="146"/>
                  </a:lnTo>
                  <a:lnTo>
                    <a:pt x="292" y="145"/>
                  </a:lnTo>
                  <a:lnTo>
                    <a:pt x="292" y="143"/>
                  </a:lnTo>
                  <a:lnTo>
                    <a:pt x="291" y="143"/>
                  </a:lnTo>
                  <a:lnTo>
                    <a:pt x="289" y="142"/>
                  </a:lnTo>
                  <a:lnTo>
                    <a:pt x="288" y="142"/>
                  </a:lnTo>
                  <a:lnTo>
                    <a:pt x="288" y="141"/>
                  </a:lnTo>
                  <a:lnTo>
                    <a:pt x="288" y="140"/>
                  </a:lnTo>
                  <a:lnTo>
                    <a:pt x="287" y="140"/>
                  </a:lnTo>
                  <a:lnTo>
                    <a:pt x="286" y="141"/>
                  </a:lnTo>
                  <a:lnTo>
                    <a:pt x="285" y="142"/>
                  </a:lnTo>
                  <a:lnTo>
                    <a:pt x="282" y="142"/>
                  </a:lnTo>
                  <a:lnTo>
                    <a:pt x="281" y="142"/>
                  </a:lnTo>
                  <a:lnTo>
                    <a:pt x="281" y="141"/>
                  </a:lnTo>
                  <a:lnTo>
                    <a:pt x="280" y="142"/>
                  </a:lnTo>
                  <a:lnTo>
                    <a:pt x="279" y="142"/>
                  </a:lnTo>
                  <a:lnTo>
                    <a:pt x="277" y="142"/>
                  </a:lnTo>
                  <a:lnTo>
                    <a:pt x="276" y="141"/>
                  </a:lnTo>
                  <a:lnTo>
                    <a:pt x="275" y="140"/>
                  </a:lnTo>
                  <a:lnTo>
                    <a:pt x="275" y="142"/>
                  </a:lnTo>
                  <a:lnTo>
                    <a:pt x="274" y="142"/>
                  </a:lnTo>
                  <a:lnTo>
                    <a:pt x="272" y="142"/>
                  </a:lnTo>
                  <a:lnTo>
                    <a:pt x="270" y="142"/>
                  </a:lnTo>
                  <a:lnTo>
                    <a:pt x="269" y="141"/>
                  </a:lnTo>
                  <a:lnTo>
                    <a:pt x="268" y="141"/>
                  </a:lnTo>
                  <a:lnTo>
                    <a:pt x="268" y="140"/>
                  </a:lnTo>
                  <a:lnTo>
                    <a:pt x="269" y="139"/>
                  </a:lnTo>
                  <a:lnTo>
                    <a:pt x="268" y="139"/>
                  </a:lnTo>
                  <a:lnTo>
                    <a:pt x="266" y="139"/>
                  </a:lnTo>
                  <a:lnTo>
                    <a:pt x="265" y="139"/>
                  </a:lnTo>
                  <a:lnTo>
                    <a:pt x="264" y="139"/>
                  </a:lnTo>
                  <a:lnTo>
                    <a:pt x="263" y="139"/>
                  </a:lnTo>
                  <a:lnTo>
                    <a:pt x="262" y="139"/>
                  </a:lnTo>
                  <a:lnTo>
                    <a:pt x="262" y="137"/>
                  </a:lnTo>
                  <a:lnTo>
                    <a:pt x="260" y="136"/>
                  </a:lnTo>
                  <a:lnTo>
                    <a:pt x="259" y="136"/>
                  </a:lnTo>
                  <a:lnTo>
                    <a:pt x="259" y="137"/>
                  </a:lnTo>
                  <a:lnTo>
                    <a:pt x="258" y="137"/>
                  </a:lnTo>
                  <a:lnTo>
                    <a:pt x="257" y="137"/>
                  </a:lnTo>
                  <a:lnTo>
                    <a:pt x="257" y="139"/>
                  </a:lnTo>
                  <a:lnTo>
                    <a:pt x="256" y="137"/>
                  </a:lnTo>
                  <a:lnTo>
                    <a:pt x="256" y="136"/>
                  </a:lnTo>
                  <a:lnTo>
                    <a:pt x="257" y="135"/>
                  </a:lnTo>
                  <a:lnTo>
                    <a:pt x="256" y="135"/>
                  </a:lnTo>
                  <a:lnTo>
                    <a:pt x="254" y="135"/>
                  </a:lnTo>
                  <a:lnTo>
                    <a:pt x="253" y="135"/>
                  </a:lnTo>
                  <a:lnTo>
                    <a:pt x="253" y="134"/>
                  </a:lnTo>
                  <a:lnTo>
                    <a:pt x="254" y="133"/>
                  </a:lnTo>
                  <a:lnTo>
                    <a:pt x="256" y="134"/>
                  </a:lnTo>
                  <a:lnTo>
                    <a:pt x="257" y="134"/>
                  </a:lnTo>
                  <a:lnTo>
                    <a:pt x="259" y="133"/>
                  </a:lnTo>
                  <a:lnTo>
                    <a:pt x="258" y="131"/>
                  </a:lnTo>
                  <a:lnTo>
                    <a:pt x="257" y="131"/>
                  </a:lnTo>
                  <a:lnTo>
                    <a:pt x="258" y="131"/>
                  </a:lnTo>
                  <a:lnTo>
                    <a:pt x="259" y="131"/>
                  </a:lnTo>
                  <a:lnTo>
                    <a:pt x="259" y="130"/>
                  </a:lnTo>
                  <a:lnTo>
                    <a:pt x="262" y="130"/>
                  </a:lnTo>
                  <a:lnTo>
                    <a:pt x="262" y="131"/>
                  </a:lnTo>
                  <a:lnTo>
                    <a:pt x="263" y="131"/>
                  </a:lnTo>
                  <a:lnTo>
                    <a:pt x="265" y="131"/>
                  </a:lnTo>
                  <a:lnTo>
                    <a:pt x="265" y="130"/>
                  </a:lnTo>
                  <a:lnTo>
                    <a:pt x="265" y="129"/>
                  </a:lnTo>
                  <a:lnTo>
                    <a:pt x="266" y="129"/>
                  </a:lnTo>
                  <a:lnTo>
                    <a:pt x="268" y="129"/>
                  </a:lnTo>
                  <a:lnTo>
                    <a:pt x="269" y="128"/>
                  </a:lnTo>
                  <a:lnTo>
                    <a:pt x="270" y="127"/>
                  </a:lnTo>
                  <a:lnTo>
                    <a:pt x="270" y="125"/>
                  </a:lnTo>
                  <a:lnTo>
                    <a:pt x="269" y="125"/>
                  </a:lnTo>
                  <a:lnTo>
                    <a:pt x="269" y="124"/>
                  </a:lnTo>
                  <a:lnTo>
                    <a:pt x="268" y="125"/>
                  </a:lnTo>
                  <a:lnTo>
                    <a:pt x="266" y="125"/>
                  </a:lnTo>
                  <a:lnTo>
                    <a:pt x="264" y="127"/>
                  </a:lnTo>
                  <a:lnTo>
                    <a:pt x="264" y="125"/>
                  </a:lnTo>
                  <a:lnTo>
                    <a:pt x="263" y="125"/>
                  </a:lnTo>
                  <a:lnTo>
                    <a:pt x="262" y="127"/>
                  </a:lnTo>
                  <a:lnTo>
                    <a:pt x="260" y="125"/>
                  </a:lnTo>
                  <a:lnTo>
                    <a:pt x="259" y="124"/>
                  </a:lnTo>
                  <a:lnTo>
                    <a:pt x="258" y="125"/>
                  </a:lnTo>
                  <a:lnTo>
                    <a:pt x="257" y="124"/>
                  </a:lnTo>
                  <a:lnTo>
                    <a:pt x="259" y="124"/>
                  </a:lnTo>
                  <a:lnTo>
                    <a:pt x="259" y="123"/>
                  </a:lnTo>
                  <a:lnTo>
                    <a:pt x="258" y="122"/>
                  </a:lnTo>
                  <a:lnTo>
                    <a:pt x="257" y="122"/>
                  </a:lnTo>
                  <a:lnTo>
                    <a:pt x="257" y="121"/>
                  </a:lnTo>
                  <a:lnTo>
                    <a:pt x="259" y="119"/>
                  </a:lnTo>
                  <a:lnTo>
                    <a:pt x="260" y="118"/>
                  </a:lnTo>
                  <a:lnTo>
                    <a:pt x="260" y="116"/>
                  </a:lnTo>
                  <a:lnTo>
                    <a:pt x="259" y="116"/>
                  </a:lnTo>
                  <a:lnTo>
                    <a:pt x="259" y="115"/>
                  </a:lnTo>
                  <a:lnTo>
                    <a:pt x="259" y="113"/>
                  </a:lnTo>
                  <a:lnTo>
                    <a:pt x="260" y="113"/>
                  </a:lnTo>
                  <a:lnTo>
                    <a:pt x="263" y="112"/>
                  </a:lnTo>
                  <a:lnTo>
                    <a:pt x="264" y="112"/>
                  </a:lnTo>
                  <a:lnTo>
                    <a:pt x="265" y="111"/>
                  </a:lnTo>
                  <a:lnTo>
                    <a:pt x="266" y="110"/>
                  </a:lnTo>
                  <a:lnTo>
                    <a:pt x="265" y="109"/>
                  </a:lnTo>
                  <a:lnTo>
                    <a:pt x="265" y="107"/>
                  </a:lnTo>
                  <a:lnTo>
                    <a:pt x="264" y="106"/>
                  </a:lnTo>
                  <a:lnTo>
                    <a:pt x="263" y="107"/>
                  </a:lnTo>
                  <a:lnTo>
                    <a:pt x="263" y="109"/>
                  </a:lnTo>
                  <a:lnTo>
                    <a:pt x="262" y="109"/>
                  </a:lnTo>
                  <a:lnTo>
                    <a:pt x="260" y="109"/>
                  </a:lnTo>
                  <a:lnTo>
                    <a:pt x="259" y="109"/>
                  </a:lnTo>
                  <a:lnTo>
                    <a:pt x="259" y="107"/>
                  </a:lnTo>
                  <a:lnTo>
                    <a:pt x="259" y="106"/>
                  </a:lnTo>
                  <a:lnTo>
                    <a:pt x="259" y="105"/>
                  </a:lnTo>
                  <a:lnTo>
                    <a:pt x="259" y="106"/>
                  </a:lnTo>
                  <a:lnTo>
                    <a:pt x="258" y="106"/>
                  </a:lnTo>
                  <a:lnTo>
                    <a:pt x="257" y="106"/>
                  </a:lnTo>
                  <a:lnTo>
                    <a:pt x="256" y="106"/>
                  </a:lnTo>
                  <a:lnTo>
                    <a:pt x="254" y="106"/>
                  </a:lnTo>
                  <a:lnTo>
                    <a:pt x="254" y="105"/>
                  </a:lnTo>
                  <a:lnTo>
                    <a:pt x="253" y="104"/>
                  </a:lnTo>
                  <a:lnTo>
                    <a:pt x="252" y="104"/>
                  </a:lnTo>
                  <a:lnTo>
                    <a:pt x="252" y="105"/>
                  </a:lnTo>
                  <a:lnTo>
                    <a:pt x="251" y="105"/>
                  </a:lnTo>
                  <a:lnTo>
                    <a:pt x="251" y="104"/>
                  </a:lnTo>
                  <a:lnTo>
                    <a:pt x="250" y="104"/>
                  </a:lnTo>
                  <a:lnTo>
                    <a:pt x="248" y="105"/>
                  </a:lnTo>
                  <a:lnTo>
                    <a:pt x="248" y="104"/>
                  </a:lnTo>
                  <a:lnTo>
                    <a:pt x="250" y="103"/>
                  </a:lnTo>
                  <a:lnTo>
                    <a:pt x="248" y="103"/>
                  </a:lnTo>
                  <a:lnTo>
                    <a:pt x="247" y="103"/>
                  </a:lnTo>
                  <a:lnTo>
                    <a:pt x="246" y="103"/>
                  </a:lnTo>
                  <a:lnTo>
                    <a:pt x="245" y="101"/>
                  </a:lnTo>
                  <a:lnTo>
                    <a:pt x="246" y="101"/>
                  </a:lnTo>
                  <a:lnTo>
                    <a:pt x="247" y="101"/>
                  </a:lnTo>
                  <a:lnTo>
                    <a:pt x="246" y="100"/>
                  </a:lnTo>
                  <a:lnTo>
                    <a:pt x="246" y="98"/>
                  </a:lnTo>
                  <a:lnTo>
                    <a:pt x="247" y="98"/>
                  </a:lnTo>
                  <a:lnTo>
                    <a:pt x="247" y="100"/>
                  </a:lnTo>
                  <a:lnTo>
                    <a:pt x="248" y="100"/>
                  </a:lnTo>
                  <a:lnTo>
                    <a:pt x="248" y="101"/>
                  </a:lnTo>
                  <a:lnTo>
                    <a:pt x="250" y="101"/>
                  </a:lnTo>
                  <a:lnTo>
                    <a:pt x="250" y="99"/>
                  </a:lnTo>
                  <a:lnTo>
                    <a:pt x="250" y="98"/>
                  </a:lnTo>
                  <a:lnTo>
                    <a:pt x="251" y="100"/>
                  </a:lnTo>
                  <a:lnTo>
                    <a:pt x="252" y="100"/>
                  </a:lnTo>
                  <a:lnTo>
                    <a:pt x="252" y="101"/>
                  </a:lnTo>
                  <a:lnTo>
                    <a:pt x="252" y="103"/>
                  </a:lnTo>
                  <a:lnTo>
                    <a:pt x="254" y="103"/>
                  </a:lnTo>
                  <a:lnTo>
                    <a:pt x="256" y="103"/>
                  </a:lnTo>
                  <a:lnTo>
                    <a:pt x="256" y="101"/>
                  </a:lnTo>
                  <a:lnTo>
                    <a:pt x="254" y="101"/>
                  </a:lnTo>
                  <a:lnTo>
                    <a:pt x="254" y="100"/>
                  </a:lnTo>
                  <a:lnTo>
                    <a:pt x="254" y="99"/>
                  </a:lnTo>
                  <a:lnTo>
                    <a:pt x="253" y="99"/>
                  </a:lnTo>
                  <a:lnTo>
                    <a:pt x="253" y="98"/>
                  </a:lnTo>
                  <a:lnTo>
                    <a:pt x="252" y="98"/>
                  </a:lnTo>
                  <a:lnTo>
                    <a:pt x="252" y="97"/>
                  </a:lnTo>
                  <a:lnTo>
                    <a:pt x="251" y="97"/>
                  </a:lnTo>
                  <a:lnTo>
                    <a:pt x="251" y="95"/>
                  </a:lnTo>
                  <a:lnTo>
                    <a:pt x="252" y="94"/>
                  </a:lnTo>
                  <a:lnTo>
                    <a:pt x="252" y="95"/>
                  </a:lnTo>
                  <a:lnTo>
                    <a:pt x="253" y="97"/>
                  </a:lnTo>
                  <a:lnTo>
                    <a:pt x="256" y="97"/>
                  </a:lnTo>
                  <a:lnTo>
                    <a:pt x="254" y="95"/>
                  </a:lnTo>
                  <a:lnTo>
                    <a:pt x="256" y="95"/>
                  </a:lnTo>
                  <a:lnTo>
                    <a:pt x="256" y="97"/>
                  </a:lnTo>
                  <a:lnTo>
                    <a:pt x="256" y="98"/>
                  </a:lnTo>
                  <a:lnTo>
                    <a:pt x="257" y="98"/>
                  </a:lnTo>
                  <a:lnTo>
                    <a:pt x="258" y="98"/>
                  </a:lnTo>
                  <a:lnTo>
                    <a:pt x="259" y="97"/>
                  </a:lnTo>
                  <a:lnTo>
                    <a:pt x="260" y="97"/>
                  </a:lnTo>
                  <a:lnTo>
                    <a:pt x="262" y="97"/>
                  </a:lnTo>
                  <a:lnTo>
                    <a:pt x="263" y="95"/>
                  </a:lnTo>
                  <a:lnTo>
                    <a:pt x="264" y="95"/>
                  </a:lnTo>
                  <a:lnTo>
                    <a:pt x="264" y="98"/>
                  </a:lnTo>
                  <a:lnTo>
                    <a:pt x="266" y="99"/>
                  </a:lnTo>
                  <a:lnTo>
                    <a:pt x="268" y="98"/>
                  </a:lnTo>
                  <a:lnTo>
                    <a:pt x="270" y="97"/>
                  </a:lnTo>
                  <a:lnTo>
                    <a:pt x="271" y="95"/>
                  </a:lnTo>
                  <a:lnTo>
                    <a:pt x="271" y="94"/>
                  </a:lnTo>
                  <a:lnTo>
                    <a:pt x="270" y="94"/>
                  </a:lnTo>
                  <a:lnTo>
                    <a:pt x="271" y="93"/>
                  </a:lnTo>
                  <a:lnTo>
                    <a:pt x="271" y="92"/>
                  </a:lnTo>
                  <a:lnTo>
                    <a:pt x="272" y="92"/>
                  </a:lnTo>
                  <a:lnTo>
                    <a:pt x="274" y="91"/>
                  </a:lnTo>
                  <a:lnTo>
                    <a:pt x="276" y="91"/>
                  </a:lnTo>
                  <a:lnTo>
                    <a:pt x="277" y="89"/>
                  </a:lnTo>
                  <a:lnTo>
                    <a:pt x="277" y="88"/>
                  </a:lnTo>
                  <a:lnTo>
                    <a:pt x="279" y="87"/>
                  </a:lnTo>
                  <a:lnTo>
                    <a:pt x="280" y="86"/>
                  </a:lnTo>
                  <a:lnTo>
                    <a:pt x="281" y="85"/>
                  </a:lnTo>
                  <a:lnTo>
                    <a:pt x="280" y="83"/>
                  </a:lnTo>
                  <a:lnTo>
                    <a:pt x="277" y="83"/>
                  </a:lnTo>
                  <a:lnTo>
                    <a:pt x="276" y="85"/>
                  </a:lnTo>
                  <a:lnTo>
                    <a:pt x="275" y="83"/>
                  </a:lnTo>
                  <a:lnTo>
                    <a:pt x="274" y="85"/>
                  </a:lnTo>
                  <a:lnTo>
                    <a:pt x="271" y="85"/>
                  </a:lnTo>
                  <a:lnTo>
                    <a:pt x="274" y="83"/>
                  </a:lnTo>
                  <a:lnTo>
                    <a:pt x="274" y="82"/>
                  </a:lnTo>
                  <a:lnTo>
                    <a:pt x="272" y="81"/>
                  </a:lnTo>
                  <a:lnTo>
                    <a:pt x="274" y="80"/>
                  </a:lnTo>
                  <a:lnTo>
                    <a:pt x="275" y="80"/>
                  </a:lnTo>
                  <a:lnTo>
                    <a:pt x="275" y="77"/>
                  </a:lnTo>
                  <a:lnTo>
                    <a:pt x="274" y="77"/>
                  </a:lnTo>
                  <a:lnTo>
                    <a:pt x="272" y="77"/>
                  </a:lnTo>
                  <a:lnTo>
                    <a:pt x="272" y="79"/>
                  </a:lnTo>
                  <a:lnTo>
                    <a:pt x="271" y="79"/>
                  </a:lnTo>
                  <a:lnTo>
                    <a:pt x="270" y="79"/>
                  </a:lnTo>
                  <a:lnTo>
                    <a:pt x="269" y="80"/>
                  </a:lnTo>
                  <a:lnTo>
                    <a:pt x="269" y="79"/>
                  </a:lnTo>
                  <a:lnTo>
                    <a:pt x="270" y="77"/>
                  </a:lnTo>
                  <a:lnTo>
                    <a:pt x="271" y="77"/>
                  </a:lnTo>
                  <a:lnTo>
                    <a:pt x="271" y="76"/>
                  </a:lnTo>
                  <a:lnTo>
                    <a:pt x="272" y="76"/>
                  </a:lnTo>
                  <a:lnTo>
                    <a:pt x="274" y="75"/>
                  </a:lnTo>
                  <a:lnTo>
                    <a:pt x="272" y="74"/>
                  </a:lnTo>
                  <a:lnTo>
                    <a:pt x="270" y="74"/>
                  </a:lnTo>
                  <a:lnTo>
                    <a:pt x="269" y="75"/>
                  </a:lnTo>
                  <a:lnTo>
                    <a:pt x="269" y="74"/>
                  </a:lnTo>
                  <a:lnTo>
                    <a:pt x="272" y="73"/>
                  </a:lnTo>
                  <a:lnTo>
                    <a:pt x="274" y="71"/>
                  </a:lnTo>
                  <a:lnTo>
                    <a:pt x="275" y="71"/>
                  </a:lnTo>
                  <a:lnTo>
                    <a:pt x="275" y="70"/>
                  </a:lnTo>
                  <a:lnTo>
                    <a:pt x="276" y="69"/>
                  </a:lnTo>
                  <a:lnTo>
                    <a:pt x="275" y="68"/>
                  </a:lnTo>
                  <a:lnTo>
                    <a:pt x="274" y="68"/>
                  </a:lnTo>
                  <a:lnTo>
                    <a:pt x="274" y="69"/>
                  </a:lnTo>
                  <a:lnTo>
                    <a:pt x="272" y="69"/>
                  </a:lnTo>
                  <a:lnTo>
                    <a:pt x="271" y="69"/>
                  </a:lnTo>
                  <a:lnTo>
                    <a:pt x="270" y="70"/>
                  </a:lnTo>
                  <a:lnTo>
                    <a:pt x="269" y="70"/>
                  </a:lnTo>
                  <a:lnTo>
                    <a:pt x="266" y="70"/>
                  </a:lnTo>
                  <a:lnTo>
                    <a:pt x="266" y="71"/>
                  </a:lnTo>
                  <a:lnTo>
                    <a:pt x="265" y="71"/>
                  </a:lnTo>
                  <a:lnTo>
                    <a:pt x="265" y="70"/>
                  </a:lnTo>
                  <a:lnTo>
                    <a:pt x="266" y="70"/>
                  </a:lnTo>
                  <a:lnTo>
                    <a:pt x="266" y="69"/>
                  </a:lnTo>
                  <a:lnTo>
                    <a:pt x="269" y="69"/>
                  </a:lnTo>
                  <a:lnTo>
                    <a:pt x="270" y="69"/>
                  </a:lnTo>
                  <a:lnTo>
                    <a:pt x="271" y="68"/>
                  </a:lnTo>
                  <a:lnTo>
                    <a:pt x="271" y="65"/>
                  </a:lnTo>
                  <a:lnTo>
                    <a:pt x="272" y="64"/>
                  </a:lnTo>
                  <a:lnTo>
                    <a:pt x="272" y="63"/>
                  </a:lnTo>
                  <a:lnTo>
                    <a:pt x="272" y="62"/>
                  </a:lnTo>
                  <a:lnTo>
                    <a:pt x="271" y="60"/>
                  </a:lnTo>
                  <a:lnTo>
                    <a:pt x="270" y="60"/>
                  </a:lnTo>
                  <a:lnTo>
                    <a:pt x="269" y="60"/>
                  </a:lnTo>
                  <a:lnTo>
                    <a:pt x="269" y="62"/>
                  </a:lnTo>
                  <a:lnTo>
                    <a:pt x="270" y="63"/>
                  </a:lnTo>
                  <a:lnTo>
                    <a:pt x="269" y="64"/>
                  </a:lnTo>
                  <a:lnTo>
                    <a:pt x="268" y="65"/>
                  </a:lnTo>
                  <a:lnTo>
                    <a:pt x="266" y="65"/>
                  </a:lnTo>
                  <a:lnTo>
                    <a:pt x="265" y="64"/>
                  </a:lnTo>
                  <a:lnTo>
                    <a:pt x="264" y="64"/>
                  </a:lnTo>
                  <a:lnTo>
                    <a:pt x="263" y="65"/>
                  </a:lnTo>
                  <a:lnTo>
                    <a:pt x="263" y="66"/>
                  </a:lnTo>
                  <a:lnTo>
                    <a:pt x="263" y="68"/>
                  </a:lnTo>
                  <a:lnTo>
                    <a:pt x="264" y="70"/>
                  </a:lnTo>
                  <a:lnTo>
                    <a:pt x="263" y="70"/>
                  </a:lnTo>
                  <a:lnTo>
                    <a:pt x="263" y="69"/>
                  </a:lnTo>
                  <a:lnTo>
                    <a:pt x="262" y="68"/>
                  </a:lnTo>
                  <a:lnTo>
                    <a:pt x="260" y="66"/>
                  </a:lnTo>
                  <a:lnTo>
                    <a:pt x="259" y="66"/>
                  </a:lnTo>
                  <a:lnTo>
                    <a:pt x="258" y="66"/>
                  </a:lnTo>
                  <a:lnTo>
                    <a:pt x="258" y="68"/>
                  </a:lnTo>
                  <a:lnTo>
                    <a:pt x="257" y="69"/>
                  </a:lnTo>
                  <a:lnTo>
                    <a:pt x="257" y="70"/>
                  </a:lnTo>
                  <a:lnTo>
                    <a:pt x="257" y="71"/>
                  </a:lnTo>
                  <a:lnTo>
                    <a:pt x="256" y="71"/>
                  </a:lnTo>
                  <a:lnTo>
                    <a:pt x="254" y="70"/>
                  </a:lnTo>
                  <a:lnTo>
                    <a:pt x="254" y="71"/>
                  </a:lnTo>
                  <a:lnTo>
                    <a:pt x="253" y="71"/>
                  </a:lnTo>
                  <a:lnTo>
                    <a:pt x="252" y="73"/>
                  </a:lnTo>
                  <a:lnTo>
                    <a:pt x="251" y="74"/>
                  </a:lnTo>
                  <a:lnTo>
                    <a:pt x="250" y="74"/>
                  </a:lnTo>
                  <a:lnTo>
                    <a:pt x="248" y="74"/>
                  </a:lnTo>
                  <a:lnTo>
                    <a:pt x="247" y="73"/>
                  </a:lnTo>
                  <a:lnTo>
                    <a:pt x="247" y="71"/>
                  </a:lnTo>
                  <a:lnTo>
                    <a:pt x="246" y="70"/>
                  </a:lnTo>
                  <a:lnTo>
                    <a:pt x="244" y="70"/>
                  </a:lnTo>
                  <a:lnTo>
                    <a:pt x="245" y="69"/>
                  </a:lnTo>
                  <a:lnTo>
                    <a:pt x="246" y="70"/>
                  </a:lnTo>
                  <a:lnTo>
                    <a:pt x="246" y="69"/>
                  </a:lnTo>
                  <a:lnTo>
                    <a:pt x="247" y="68"/>
                  </a:lnTo>
                  <a:lnTo>
                    <a:pt x="248" y="68"/>
                  </a:lnTo>
                  <a:lnTo>
                    <a:pt x="250" y="66"/>
                  </a:lnTo>
                  <a:lnTo>
                    <a:pt x="248" y="65"/>
                  </a:lnTo>
                  <a:lnTo>
                    <a:pt x="248" y="64"/>
                  </a:lnTo>
                  <a:lnTo>
                    <a:pt x="248" y="62"/>
                  </a:lnTo>
                  <a:lnTo>
                    <a:pt x="250" y="60"/>
                  </a:lnTo>
                  <a:lnTo>
                    <a:pt x="251" y="59"/>
                  </a:lnTo>
                  <a:lnTo>
                    <a:pt x="253" y="59"/>
                  </a:lnTo>
                  <a:lnTo>
                    <a:pt x="254" y="60"/>
                  </a:lnTo>
                  <a:lnTo>
                    <a:pt x="253" y="60"/>
                  </a:lnTo>
                  <a:lnTo>
                    <a:pt x="251" y="62"/>
                  </a:lnTo>
                  <a:lnTo>
                    <a:pt x="250" y="63"/>
                  </a:lnTo>
                  <a:lnTo>
                    <a:pt x="250" y="64"/>
                  </a:lnTo>
                  <a:lnTo>
                    <a:pt x="251" y="65"/>
                  </a:lnTo>
                  <a:lnTo>
                    <a:pt x="253" y="66"/>
                  </a:lnTo>
                  <a:lnTo>
                    <a:pt x="253" y="65"/>
                  </a:lnTo>
                  <a:lnTo>
                    <a:pt x="254" y="65"/>
                  </a:lnTo>
                  <a:lnTo>
                    <a:pt x="256" y="65"/>
                  </a:lnTo>
                  <a:lnTo>
                    <a:pt x="256" y="64"/>
                  </a:lnTo>
                  <a:lnTo>
                    <a:pt x="257" y="65"/>
                  </a:lnTo>
                  <a:lnTo>
                    <a:pt x="258" y="64"/>
                  </a:lnTo>
                  <a:lnTo>
                    <a:pt x="259" y="64"/>
                  </a:lnTo>
                  <a:lnTo>
                    <a:pt x="259" y="63"/>
                  </a:lnTo>
                  <a:lnTo>
                    <a:pt x="258" y="62"/>
                  </a:lnTo>
                  <a:lnTo>
                    <a:pt x="258" y="60"/>
                  </a:lnTo>
                  <a:lnTo>
                    <a:pt x="259" y="59"/>
                  </a:lnTo>
                  <a:lnTo>
                    <a:pt x="260" y="60"/>
                  </a:lnTo>
                  <a:lnTo>
                    <a:pt x="262" y="60"/>
                  </a:lnTo>
                  <a:lnTo>
                    <a:pt x="263" y="59"/>
                  </a:lnTo>
                  <a:lnTo>
                    <a:pt x="264" y="58"/>
                  </a:lnTo>
                  <a:lnTo>
                    <a:pt x="265" y="58"/>
                  </a:lnTo>
                  <a:lnTo>
                    <a:pt x="264" y="57"/>
                  </a:lnTo>
                  <a:lnTo>
                    <a:pt x="263" y="56"/>
                  </a:lnTo>
                  <a:lnTo>
                    <a:pt x="264" y="54"/>
                  </a:lnTo>
                  <a:lnTo>
                    <a:pt x="264" y="53"/>
                  </a:lnTo>
                  <a:lnTo>
                    <a:pt x="263" y="53"/>
                  </a:lnTo>
                  <a:lnTo>
                    <a:pt x="263" y="52"/>
                  </a:lnTo>
                  <a:lnTo>
                    <a:pt x="262" y="51"/>
                  </a:lnTo>
                  <a:lnTo>
                    <a:pt x="262" y="53"/>
                  </a:lnTo>
                  <a:lnTo>
                    <a:pt x="262" y="54"/>
                  </a:lnTo>
                  <a:lnTo>
                    <a:pt x="260" y="53"/>
                  </a:lnTo>
                  <a:lnTo>
                    <a:pt x="259" y="53"/>
                  </a:lnTo>
                  <a:lnTo>
                    <a:pt x="259" y="56"/>
                  </a:lnTo>
                  <a:lnTo>
                    <a:pt x="260" y="57"/>
                  </a:lnTo>
                  <a:lnTo>
                    <a:pt x="259" y="57"/>
                  </a:lnTo>
                  <a:lnTo>
                    <a:pt x="259" y="56"/>
                  </a:lnTo>
                  <a:lnTo>
                    <a:pt x="258" y="54"/>
                  </a:lnTo>
                  <a:lnTo>
                    <a:pt x="257" y="54"/>
                  </a:lnTo>
                  <a:lnTo>
                    <a:pt x="256" y="54"/>
                  </a:lnTo>
                  <a:lnTo>
                    <a:pt x="253" y="56"/>
                  </a:lnTo>
                  <a:lnTo>
                    <a:pt x="252" y="56"/>
                  </a:lnTo>
                  <a:lnTo>
                    <a:pt x="252" y="57"/>
                  </a:lnTo>
                  <a:lnTo>
                    <a:pt x="252" y="54"/>
                  </a:lnTo>
                  <a:lnTo>
                    <a:pt x="251" y="53"/>
                  </a:lnTo>
                  <a:lnTo>
                    <a:pt x="251" y="52"/>
                  </a:lnTo>
                  <a:lnTo>
                    <a:pt x="250" y="52"/>
                  </a:lnTo>
                  <a:lnTo>
                    <a:pt x="250" y="54"/>
                  </a:lnTo>
                  <a:lnTo>
                    <a:pt x="248" y="54"/>
                  </a:lnTo>
                  <a:lnTo>
                    <a:pt x="248" y="53"/>
                  </a:lnTo>
                  <a:lnTo>
                    <a:pt x="248" y="52"/>
                  </a:lnTo>
                  <a:lnTo>
                    <a:pt x="248" y="51"/>
                  </a:lnTo>
                  <a:lnTo>
                    <a:pt x="247" y="50"/>
                  </a:lnTo>
                  <a:lnTo>
                    <a:pt x="246" y="51"/>
                  </a:lnTo>
                  <a:lnTo>
                    <a:pt x="245" y="50"/>
                  </a:lnTo>
                  <a:lnTo>
                    <a:pt x="242" y="48"/>
                  </a:lnTo>
                  <a:lnTo>
                    <a:pt x="242" y="47"/>
                  </a:lnTo>
                  <a:lnTo>
                    <a:pt x="242" y="46"/>
                  </a:lnTo>
                  <a:lnTo>
                    <a:pt x="242" y="45"/>
                  </a:lnTo>
                  <a:lnTo>
                    <a:pt x="241" y="45"/>
                  </a:lnTo>
                  <a:lnTo>
                    <a:pt x="240" y="44"/>
                  </a:lnTo>
                  <a:lnTo>
                    <a:pt x="240" y="42"/>
                  </a:lnTo>
                  <a:lnTo>
                    <a:pt x="241" y="44"/>
                  </a:lnTo>
                  <a:lnTo>
                    <a:pt x="242" y="44"/>
                  </a:lnTo>
                  <a:lnTo>
                    <a:pt x="244" y="42"/>
                  </a:lnTo>
                  <a:lnTo>
                    <a:pt x="244" y="41"/>
                  </a:lnTo>
                  <a:lnTo>
                    <a:pt x="244" y="40"/>
                  </a:lnTo>
                  <a:lnTo>
                    <a:pt x="245" y="39"/>
                  </a:lnTo>
                  <a:lnTo>
                    <a:pt x="245" y="38"/>
                  </a:lnTo>
                  <a:lnTo>
                    <a:pt x="244" y="38"/>
                  </a:lnTo>
                  <a:lnTo>
                    <a:pt x="242" y="38"/>
                  </a:lnTo>
                  <a:lnTo>
                    <a:pt x="242" y="39"/>
                  </a:lnTo>
                  <a:lnTo>
                    <a:pt x="241" y="39"/>
                  </a:lnTo>
                  <a:lnTo>
                    <a:pt x="240" y="39"/>
                  </a:lnTo>
                  <a:lnTo>
                    <a:pt x="239" y="40"/>
                  </a:lnTo>
                  <a:lnTo>
                    <a:pt x="239" y="41"/>
                  </a:lnTo>
                  <a:lnTo>
                    <a:pt x="239" y="42"/>
                  </a:lnTo>
                  <a:lnTo>
                    <a:pt x="238" y="42"/>
                  </a:lnTo>
                  <a:lnTo>
                    <a:pt x="238" y="41"/>
                  </a:lnTo>
                  <a:lnTo>
                    <a:pt x="238" y="40"/>
                  </a:lnTo>
                  <a:lnTo>
                    <a:pt x="239" y="38"/>
                  </a:lnTo>
                  <a:lnTo>
                    <a:pt x="238" y="36"/>
                  </a:lnTo>
                  <a:lnTo>
                    <a:pt x="236" y="36"/>
                  </a:lnTo>
                  <a:lnTo>
                    <a:pt x="235" y="39"/>
                  </a:lnTo>
                  <a:lnTo>
                    <a:pt x="234" y="40"/>
                  </a:lnTo>
                  <a:lnTo>
                    <a:pt x="235" y="38"/>
                  </a:lnTo>
                  <a:lnTo>
                    <a:pt x="235" y="36"/>
                  </a:lnTo>
                  <a:lnTo>
                    <a:pt x="236" y="35"/>
                  </a:lnTo>
                  <a:lnTo>
                    <a:pt x="235" y="34"/>
                  </a:lnTo>
                  <a:lnTo>
                    <a:pt x="234" y="34"/>
                  </a:lnTo>
                  <a:lnTo>
                    <a:pt x="233" y="35"/>
                  </a:lnTo>
                  <a:lnTo>
                    <a:pt x="232" y="35"/>
                  </a:lnTo>
                  <a:lnTo>
                    <a:pt x="232" y="36"/>
                  </a:lnTo>
                  <a:lnTo>
                    <a:pt x="230" y="38"/>
                  </a:lnTo>
                  <a:lnTo>
                    <a:pt x="229" y="38"/>
                  </a:lnTo>
                  <a:lnTo>
                    <a:pt x="228" y="38"/>
                  </a:lnTo>
                  <a:lnTo>
                    <a:pt x="229" y="36"/>
                  </a:lnTo>
                  <a:lnTo>
                    <a:pt x="228" y="36"/>
                  </a:lnTo>
                  <a:lnTo>
                    <a:pt x="227" y="35"/>
                  </a:lnTo>
                  <a:lnTo>
                    <a:pt x="226" y="35"/>
                  </a:lnTo>
                  <a:lnTo>
                    <a:pt x="226" y="34"/>
                  </a:lnTo>
                  <a:lnTo>
                    <a:pt x="227" y="33"/>
                  </a:lnTo>
                  <a:lnTo>
                    <a:pt x="228" y="33"/>
                  </a:lnTo>
                  <a:lnTo>
                    <a:pt x="228" y="32"/>
                  </a:lnTo>
                  <a:lnTo>
                    <a:pt x="226" y="32"/>
                  </a:lnTo>
                  <a:lnTo>
                    <a:pt x="224" y="32"/>
                  </a:lnTo>
                  <a:lnTo>
                    <a:pt x="224" y="30"/>
                  </a:lnTo>
                  <a:lnTo>
                    <a:pt x="226" y="30"/>
                  </a:lnTo>
                  <a:lnTo>
                    <a:pt x="227" y="29"/>
                  </a:lnTo>
                  <a:lnTo>
                    <a:pt x="228" y="28"/>
                  </a:lnTo>
                  <a:lnTo>
                    <a:pt x="228" y="27"/>
                  </a:lnTo>
                  <a:lnTo>
                    <a:pt x="228" y="26"/>
                  </a:lnTo>
                  <a:lnTo>
                    <a:pt x="226" y="27"/>
                  </a:lnTo>
                  <a:lnTo>
                    <a:pt x="226" y="28"/>
                  </a:lnTo>
                  <a:lnTo>
                    <a:pt x="224" y="28"/>
                  </a:lnTo>
                  <a:lnTo>
                    <a:pt x="224" y="26"/>
                  </a:lnTo>
                  <a:lnTo>
                    <a:pt x="226" y="24"/>
                  </a:lnTo>
                  <a:lnTo>
                    <a:pt x="224" y="23"/>
                  </a:lnTo>
                  <a:lnTo>
                    <a:pt x="224" y="22"/>
                  </a:lnTo>
                  <a:lnTo>
                    <a:pt x="222" y="22"/>
                  </a:lnTo>
                  <a:lnTo>
                    <a:pt x="222" y="21"/>
                  </a:lnTo>
                  <a:lnTo>
                    <a:pt x="224" y="21"/>
                  </a:lnTo>
                  <a:lnTo>
                    <a:pt x="224" y="20"/>
                  </a:lnTo>
                  <a:lnTo>
                    <a:pt x="224" y="18"/>
                  </a:lnTo>
                  <a:lnTo>
                    <a:pt x="223" y="18"/>
                  </a:lnTo>
                  <a:lnTo>
                    <a:pt x="222" y="18"/>
                  </a:lnTo>
                  <a:lnTo>
                    <a:pt x="221" y="20"/>
                  </a:lnTo>
                  <a:lnTo>
                    <a:pt x="220" y="20"/>
                  </a:lnTo>
                  <a:lnTo>
                    <a:pt x="220" y="18"/>
                  </a:lnTo>
                  <a:lnTo>
                    <a:pt x="218" y="17"/>
                  </a:lnTo>
                  <a:lnTo>
                    <a:pt x="217" y="18"/>
                  </a:lnTo>
                  <a:lnTo>
                    <a:pt x="215" y="18"/>
                  </a:lnTo>
                  <a:lnTo>
                    <a:pt x="214" y="18"/>
                  </a:lnTo>
                  <a:lnTo>
                    <a:pt x="216" y="17"/>
                  </a:lnTo>
                  <a:lnTo>
                    <a:pt x="216" y="16"/>
                  </a:lnTo>
                  <a:lnTo>
                    <a:pt x="218" y="16"/>
                  </a:lnTo>
                  <a:lnTo>
                    <a:pt x="220" y="15"/>
                  </a:lnTo>
                  <a:lnTo>
                    <a:pt x="221" y="15"/>
                  </a:lnTo>
                  <a:lnTo>
                    <a:pt x="222" y="14"/>
                  </a:lnTo>
                  <a:lnTo>
                    <a:pt x="221" y="12"/>
                  </a:lnTo>
                  <a:lnTo>
                    <a:pt x="218" y="12"/>
                  </a:lnTo>
                  <a:lnTo>
                    <a:pt x="218" y="11"/>
                  </a:lnTo>
                  <a:lnTo>
                    <a:pt x="218" y="10"/>
                  </a:lnTo>
                  <a:lnTo>
                    <a:pt x="216" y="10"/>
                  </a:lnTo>
                  <a:lnTo>
                    <a:pt x="216" y="12"/>
                  </a:lnTo>
                  <a:lnTo>
                    <a:pt x="214" y="12"/>
                  </a:lnTo>
                  <a:lnTo>
                    <a:pt x="215" y="11"/>
                  </a:lnTo>
                  <a:lnTo>
                    <a:pt x="214" y="10"/>
                  </a:lnTo>
                  <a:lnTo>
                    <a:pt x="212" y="10"/>
                  </a:lnTo>
                  <a:lnTo>
                    <a:pt x="211" y="12"/>
                  </a:lnTo>
                  <a:lnTo>
                    <a:pt x="211" y="10"/>
                  </a:lnTo>
                  <a:lnTo>
                    <a:pt x="210" y="9"/>
                  </a:lnTo>
                  <a:lnTo>
                    <a:pt x="210" y="8"/>
                  </a:lnTo>
                  <a:lnTo>
                    <a:pt x="210" y="6"/>
                  </a:lnTo>
                  <a:lnTo>
                    <a:pt x="209" y="6"/>
                  </a:lnTo>
                  <a:lnTo>
                    <a:pt x="207" y="6"/>
                  </a:lnTo>
                  <a:lnTo>
                    <a:pt x="206" y="6"/>
                  </a:lnTo>
                  <a:lnTo>
                    <a:pt x="205" y="6"/>
                  </a:lnTo>
                  <a:lnTo>
                    <a:pt x="205" y="5"/>
                  </a:lnTo>
                  <a:lnTo>
                    <a:pt x="206" y="4"/>
                  </a:lnTo>
                  <a:lnTo>
                    <a:pt x="206" y="3"/>
                  </a:lnTo>
                  <a:lnTo>
                    <a:pt x="206" y="2"/>
                  </a:lnTo>
                  <a:lnTo>
                    <a:pt x="206" y="0"/>
                  </a:lnTo>
                  <a:lnTo>
                    <a:pt x="205" y="0"/>
                  </a:lnTo>
                  <a:lnTo>
                    <a:pt x="204" y="2"/>
                  </a:lnTo>
                  <a:lnTo>
                    <a:pt x="204" y="3"/>
                  </a:lnTo>
                  <a:lnTo>
                    <a:pt x="203" y="3"/>
                  </a:lnTo>
                  <a:lnTo>
                    <a:pt x="203" y="2"/>
                  </a:lnTo>
                  <a:lnTo>
                    <a:pt x="203" y="0"/>
                  </a:lnTo>
                  <a:lnTo>
                    <a:pt x="201" y="0"/>
                  </a:lnTo>
                  <a:lnTo>
                    <a:pt x="201" y="2"/>
                  </a:lnTo>
                  <a:lnTo>
                    <a:pt x="200" y="3"/>
                  </a:lnTo>
                  <a:lnTo>
                    <a:pt x="199" y="4"/>
                  </a:lnTo>
                  <a:lnTo>
                    <a:pt x="199" y="5"/>
                  </a:lnTo>
                  <a:lnTo>
                    <a:pt x="200" y="6"/>
                  </a:lnTo>
                  <a:lnTo>
                    <a:pt x="199" y="6"/>
                  </a:lnTo>
                  <a:lnTo>
                    <a:pt x="198" y="8"/>
                  </a:lnTo>
                  <a:lnTo>
                    <a:pt x="198" y="9"/>
                  </a:lnTo>
                  <a:lnTo>
                    <a:pt x="198" y="10"/>
                  </a:lnTo>
                  <a:lnTo>
                    <a:pt x="197" y="10"/>
                  </a:lnTo>
                  <a:lnTo>
                    <a:pt x="197" y="9"/>
                  </a:lnTo>
                  <a:lnTo>
                    <a:pt x="195" y="9"/>
                  </a:lnTo>
                  <a:lnTo>
                    <a:pt x="194" y="10"/>
                  </a:lnTo>
                  <a:lnTo>
                    <a:pt x="195" y="11"/>
                  </a:lnTo>
                  <a:lnTo>
                    <a:pt x="195" y="12"/>
                  </a:lnTo>
                  <a:lnTo>
                    <a:pt x="197" y="12"/>
                  </a:lnTo>
                  <a:lnTo>
                    <a:pt x="198" y="12"/>
                  </a:lnTo>
                  <a:lnTo>
                    <a:pt x="199" y="14"/>
                  </a:lnTo>
                  <a:lnTo>
                    <a:pt x="198" y="15"/>
                  </a:lnTo>
                  <a:lnTo>
                    <a:pt x="197" y="15"/>
                  </a:lnTo>
                  <a:lnTo>
                    <a:pt x="197" y="14"/>
                  </a:lnTo>
                  <a:lnTo>
                    <a:pt x="195" y="14"/>
                  </a:lnTo>
                  <a:lnTo>
                    <a:pt x="195" y="12"/>
                  </a:lnTo>
                  <a:lnTo>
                    <a:pt x="194" y="12"/>
                  </a:lnTo>
                  <a:lnTo>
                    <a:pt x="194" y="10"/>
                  </a:lnTo>
                  <a:lnTo>
                    <a:pt x="193" y="10"/>
                  </a:lnTo>
                  <a:lnTo>
                    <a:pt x="192" y="10"/>
                  </a:lnTo>
                  <a:lnTo>
                    <a:pt x="191" y="11"/>
                  </a:lnTo>
                  <a:lnTo>
                    <a:pt x="192" y="12"/>
                  </a:lnTo>
                  <a:lnTo>
                    <a:pt x="192" y="14"/>
                  </a:lnTo>
                  <a:lnTo>
                    <a:pt x="193" y="15"/>
                  </a:lnTo>
                  <a:lnTo>
                    <a:pt x="194" y="16"/>
                  </a:lnTo>
                  <a:lnTo>
                    <a:pt x="194" y="17"/>
                  </a:lnTo>
                  <a:lnTo>
                    <a:pt x="193" y="17"/>
                  </a:lnTo>
                  <a:lnTo>
                    <a:pt x="194" y="18"/>
                  </a:lnTo>
                  <a:lnTo>
                    <a:pt x="195" y="18"/>
                  </a:lnTo>
                  <a:lnTo>
                    <a:pt x="195" y="17"/>
                  </a:lnTo>
                  <a:lnTo>
                    <a:pt x="197" y="17"/>
                  </a:lnTo>
                  <a:lnTo>
                    <a:pt x="197" y="18"/>
                  </a:lnTo>
                  <a:lnTo>
                    <a:pt x="195" y="20"/>
                  </a:lnTo>
                  <a:lnTo>
                    <a:pt x="197" y="20"/>
                  </a:lnTo>
                  <a:lnTo>
                    <a:pt x="197" y="21"/>
                  </a:lnTo>
                  <a:lnTo>
                    <a:pt x="195" y="21"/>
                  </a:lnTo>
                  <a:lnTo>
                    <a:pt x="194" y="21"/>
                  </a:lnTo>
                  <a:lnTo>
                    <a:pt x="193" y="20"/>
                  </a:lnTo>
                  <a:lnTo>
                    <a:pt x="192" y="20"/>
                  </a:lnTo>
                  <a:lnTo>
                    <a:pt x="192" y="21"/>
                  </a:lnTo>
                  <a:lnTo>
                    <a:pt x="193" y="22"/>
                  </a:lnTo>
                  <a:lnTo>
                    <a:pt x="193" y="23"/>
                  </a:lnTo>
                  <a:lnTo>
                    <a:pt x="194" y="23"/>
                  </a:lnTo>
                  <a:lnTo>
                    <a:pt x="195" y="24"/>
                  </a:lnTo>
                  <a:lnTo>
                    <a:pt x="195" y="23"/>
                  </a:lnTo>
                  <a:lnTo>
                    <a:pt x="197" y="23"/>
                  </a:lnTo>
                  <a:lnTo>
                    <a:pt x="198" y="22"/>
                  </a:lnTo>
                  <a:lnTo>
                    <a:pt x="199" y="22"/>
                  </a:lnTo>
                  <a:lnTo>
                    <a:pt x="200" y="22"/>
                  </a:lnTo>
                  <a:lnTo>
                    <a:pt x="199" y="23"/>
                  </a:lnTo>
                  <a:lnTo>
                    <a:pt x="198" y="23"/>
                  </a:lnTo>
                  <a:lnTo>
                    <a:pt x="197" y="23"/>
                  </a:lnTo>
                  <a:lnTo>
                    <a:pt x="198" y="24"/>
                  </a:lnTo>
                  <a:lnTo>
                    <a:pt x="199" y="24"/>
                  </a:lnTo>
                  <a:lnTo>
                    <a:pt x="199" y="26"/>
                  </a:lnTo>
                  <a:lnTo>
                    <a:pt x="200" y="26"/>
                  </a:lnTo>
                  <a:lnTo>
                    <a:pt x="201" y="26"/>
                  </a:lnTo>
                  <a:lnTo>
                    <a:pt x="200" y="24"/>
                  </a:lnTo>
                  <a:lnTo>
                    <a:pt x="201" y="23"/>
                  </a:lnTo>
                  <a:lnTo>
                    <a:pt x="203" y="23"/>
                  </a:lnTo>
                  <a:lnTo>
                    <a:pt x="203" y="24"/>
                  </a:lnTo>
                  <a:lnTo>
                    <a:pt x="201" y="24"/>
                  </a:lnTo>
                  <a:lnTo>
                    <a:pt x="201" y="26"/>
                  </a:lnTo>
                  <a:lnTo>
                    <a:pt x="200" y="27"/>
                  </a:lnTo>
                  <a:lnTo>
                    <a:pt x="199" y="27"/>
                  </a:lnTo>
                  <a:lnTo>
                    <a:pt x="199" y="28"/>
                  </a:lnTo>
                  <a:lnTo>
                    <a:pt x="200" y="28"/>
                  </a:lnTo>
                  <a:lnTo>
                    <a:pt x="200" y="29"/>
                  </a:lnTo>
                  <a:lnTo>
                    <a:pt x="199" y="29"/>
                  </a:lnTo>
                  <a:lnTo>
                    <a:pt x="198" y="28"/>
                  </a:lnTo>
                  <a:lnTo>
                    <a:pt x="198" y="29"/>
                  </a:lnTo>
                  <a:lnTo>
                    <a:pt x="198" y="30"/>
                  </a:lnTo>
                  <a:lnTo>
                    <a:pt x="198" y="29"/>
                  </a:lnTo>
                  <a:lnTo>
                    <a:pt x="197" y="29"/>
                  </a:lnTo>
                  <a:lnTo>
                    <a:pt x="195" y="30"/>
                  </a:lnTo>
                  <a:lnTo>
                    <a:pt x="195" y="29"/>
                  </a:lnTo>
                  <a:lnTo>
                    <a:pt x="194" y="28"/>
                  </a:lnTo>
                  <a:lnTo>
                    <a:pt x="194" y="29"/>
                  </a:lnTo>
                  <a:lnTo>
                    <a:pt x="193" y="29"/>
                  </a:lnTo>
                  <a:lnTo>
                    <a:pt x="192" y="29"/>
                  </a:lnTo>
                  <a:lnTo>
                    <a:pt x="191" y="29"/>
                  </a:lnTo>
                  <a:lnTo>
                    <a:pt x="191" y="28"/>
                  </a:lnTo>
                  <a:lnTo>
                    <a:pt x="189" y="28"/>
                  </a:lnTo>
                  <a:lnTo>
                    <a:pt x="189" y="27"/>
                  </a:lnTo>
                  <a:lnTo>
                    <a:pt x="188" y="27"/>
                  </a:lnTo>
                  <a:lnTo>
                    <a:pt x="188" y="28"/>
                  </a:lnTo>
                  <a:lnTo>
                    <a:pt x="187" y="28"/>
                  </a:lnTo>
                  <a:lnTo>
                    <a:pt x="187" y="29"/>
                  </a:lnTo>
                  <a:lnTo>
                    <a:pt x="186" y="28"/>
                  </a:lnTo>
                  <a:lnTo>
                    <a:pt x="185" y="29"/>
                  </a:lnTo>
                  <a:lnTo>
                    <a:pt x="185" y="30"/>
                  </a:lnTo>
                  <a:lnTo>
                    <a:pt x="186" y="32"/>
                  </a:lnTo>
                  <a:lnTo>
                    <a:pt x="186" y="33"/>
                  </a:lnTo>
                  <a:lnTo>
                    <a:pt x="187" y="33"/>
                  </a:lnTo>
                  <a:lnTo>
                    <a:pt x="187" y="32"/>
                  </a:lnTo>
                  <a:lnTo>
                    <a:pt x="188" y="33"/>
                  </a:lnTo>
                  <a:lnTo>
                    <a:pt x="189" y="34"/>
                  </a:lnTo>
                  <a:lnTo>
                    <a:pt x="191" y="35"/>
                  </a:lnTo>
                  <a:lnTo>
                    <a:pt x="192" y="35"/>
                  </a:lnTo>
                  <a:lnTo>
                    <a:pt x="193" y="35"/>
                  </a:lnTo>
                  <a:lnTo>
                    <a:pt x="194" y="35"/>
                  </a:lnTo>
                  <a:lnTo>
                    <a:pt x="194" y="36"/>
                  </a:lnTo>
                  <a:lnTo>
                    <a:pt x="194" y="38"/>
                  </a:lnTo>
                  <a:lnTo>
                    <a:pt x="195" y="38"/>
                  </a:lnTo>
                  <a:lnTo>
                    <a:pt x="197" y="36"/>
                  </a:lnTo>
                  <a:lnTo>
                    <a:pt x="197" y="35"/>
                  </a:lnTo>
                  <a:lnTo>
                    <a:pt x="195" y="35"/>
                  </a:lnTo>
                  <a:lnTo>
                    <a:pt x="197" y="35"/>
                  </a:lnTo>
                  <a:lnTo>
                    <a:pt x="198" y="35"/>
                  </a:lnTo>
                  <a:lnTo>
                    <a:pt x="198" y="36"/>
                  </a:lnTo>
                  <a:lnTo>
                    <a:pt x="199" y="36"/>
                  </a:lnTo>
                  <a:lnTo>
                    <a:pt x="199" y="38"/>
                  </a:lnTo>
                  <a:lnTo>
                    <a:pt x="198" y="38"/>
                  </a:lnTo>
                  <a:lnTo>
                    <a:pt x="198" y="36"/>
                  </a:lnTo>
                  <a:lnTo>
                    <a:pt x="197" y="38"/>
                  </a:lnTo>
                  <a:lnTo>
                    <a:pt x="195" y="38"/>
                  </a:lnTo>
                  <a:lnTo>
                    <a:pt x="195" y="39"/>
                  </a:lnTo>
                  <a:lnTo>
                    <a:pt x="195" y="40"/>
                  </a:lnTo>
                  <a:lnTo>
                    <a:pt x="197" y="41"/>
                  </a:lnTo>
                  <a:lnTo>
                    <a:pt x="197" y="42"/>
                  </a:lnTo>
                  <a:lnTo>
                    <a:pt x="195" y="42"/>
                  </a:lnTo>
                  <a:lnTo>
                    <a:pt x="195" y="41"/>
                  </a:lnTo>
                  <a:lnTo>
                    <a:pt x="194" y="42"/>
                  </a:lnTo>
                  <a:lnTo>
                    <a:pt x="193" y="42"/>
                  </a:lnTo>
                  <a:lnTo>
                    <a:pt x="193" y="41"/>
                  </a:lnTo>
                  <a:lnTo>
                    <a:pt x="193" y="42"/>
                  </a:lnTo>
                  <a:lnTo>
                    <a:pt x="192" y="42"/>
                  </a:lnTo>
                  <a:lnTo>
                    <a:pt x="192" y="41"/>
                  </a:lnTo>
                  <a:lnTo>
                    <a:pt x="191" y="40"/>
                  </a:lnTo>
                  <a:lnTo>
                    <a:pt x="191" y="41"/>
                  </a:lnTo>
                  <a:lnTo>
                    <a:pt x="189" y="41"/>
                  </a:lnTo>
                  <a:lnTo>
                    <a:pt x="189" y="40"/>
                  </a:lnTo>
                  <a:lnTo>
                    <a:pt x="191" y="39"/>
                  </a:lnTo>
                  <a:lnTo>
                    <a:pt x="191" y="38"/>
                  </a:lnTo>
                  <a:lnTo>
                    <a:pt x="191" y="36"/>
                  </a:lnTo>
                  <a:lnTo>
                    <a:pt x="189" y="36"/>
                  </a:lnTo>
                  <a:lnTo>
                    <a:pt x="188" y="35"/>
                  </a:lnTo>
                  <a:lnTo>
                    <a:pt x="188" y="36"/>
                  </a:lnTo>
                  <a:lnTo>
                    <a:pt x="188" y="38"/>
                  </a:lnTo>
                  <a:lnTo>
                    <a:pt x="187" y="39"/>
                  </a:lnTo>
                  <a:lnTo>
                    <a:pt x="187" y="40"/>
                  </a:lnTo>
                  <a:lnTo>
                    <a:pt x="187" y="41"/>
                  </a:lnTo>
                  <a:lnTo>
                    <a:pt x="187" y="40"/>
                  </a:lnTo>
                  <a:lnTo>
                    <a:pt x="187" y="39"/>
                  </a:lnTo>
                  <a:lnTo>
                    <a:pt x="187" y="38"/>
                  </a:lnTo>
                  <a:lnTo>
                    <a:pt x="187" y="36"/>
                  </a:lnTo>
                  <a:lnTo>
                    <a:pt x="187" y="35"/>
                  </a:lnTo>
                  <a:lnTo>
                    <a:pt x="186" y="35"/>
                  </a:lnTo>
                  <a:lnTo>
                    <a:pt x="185" y="36"/>
                  </a:lnTo>
                  <a:lnTo>
                    <a:pt x="183" y="36"/>
                  </a:lnTo>
                  <a:lnTo>
                    <a:pt x="182" y="36"/>
                  </a:lnTo>
                  <a:lnTo>
                    <a:pt x="182" y="38"/>
                  </a:lnTo>
                  <a:lnTo>
                    <a:pt x="182" y="39"/>
                  </a:lnTo>
                  <a:lnTo>
                    <a:pt x="182" y="40"/>
                  </a:lnTo>
                  <a:lnTo>
                    <a:pt x="183" y="41"/>
                  </a:lnTo>
                  <a:lnTo>
                    <a:pt x="183" y="42"/>
                  </a:lnTo>
                  <a:lnTo>
                    <a:pt x="183" y="44"/>
                  </a:lnTo>
                  <a:lnTo>
                    <a:pt x="185" y="44"/>
                  </a:lnTo>
                  <a:lnTo>
                    <a:pt x="185" y="45"/>
                  </a:lnTo>
                  <a:lnTo>
                    <a:pt x="183" y="45"/>
                  </a:lnTo>
                  <a:lnTo>
                    <a:pt x="183" y="46"/>
                  </a:lnTo>
                  <a:lnTo>
                    <a:pt x="183" y="48"/>
                  </a:lnTo>
                  <a:lnTo>
                    <a:pt x="183" y="50"/>
                  </a:lnTo>
                  <a:lnTo>
                    <a:pt x="182" y="50"/>
                  </a:lnTo>
                  <a:lnTo>
                    <a:pt x="182" y="48"/>
                  </a:lnTo>
                  <a:lnTo>
                    <a:pt x="182" y="47"/>
                  </a:lnTo>
                  <a:lnTo>
                    <a:pt x="182" y="46"/>
                  </a:lnTo>
                  <a:lnTo>
                    <a:pt x="182" y="45"/>
                  </a:lnTo>
                  <a:lnTo>
                    <a:pt x="181" y="45"/>
                  </a:lnTo>
                  <a:lnTo>
                    <a:pt x="181" y="46"/>
                  </a:lnTo>
                  <a:lnTo>
                    <a:pt x="181" y="47"/>
                  </a:lnTo>
                  <a:lnTo>
                    <a:pt x="180" y="47"/>
                  </a:lnTo>
                  <a:lnTo>
                    <a:pt x="180" y="46"/>
                  </a:lnTo>
                  <a:lnTo>
                    <a:pt x="181" y="46"/>
                  </a:lnTo>
                  <a:lnTo>
                    <a:pt x="181" y="45"/>
                  </a:lnTo>
                  <a:lnTo>
                    <a:pt x="180" y="45"/>
                  </a:lnTo>
                  <a:lnTo>
                    <a:pt x="180" y="44"/>
                  </a:lnTo>
                  <a:lnTo>
                    <a:pt x="179" y="44"/>
                  </a:lnTo>
                  <a:lnTo>
                    <a:pt x="179" y="45"/>
                  </a:lnTo>
                  <a:lnTo>
                    <a:pt x="177" y="45"/>
                  </a:lnTo>
                  <a:lnTo>
                    <a:pt x="177" y="44"/>
                  </a:lnTo>
                  <a:lnTo>
                    <a:pt x="176" y="42"/>
                  </a:lnTo>
                  <a:lnTo>
                    <a:pt x="175" y="42"/>
                  </a:lnTo>
                  <a:lnTo>
                    <a:pt x="174" y="44"/>
                  </a:lnTo>
                  <a:lnTo>
                    <a:pt x="175" y="45"/>
                  </a:lnTo>
                  <a:lnTo>
                    <a:pt x="175" y="46"/>
                  </a:lnTo>
                  <a:lnTo>
                    <a:pt x="174" y="46"/>
                  </a:lnTo>
                  <a:lnTo>
                    <a:pt x="174" y="47"/>
                  </a:lnTo>
                  <a:lnTo>
                    <a:pt x="175" y="48"/>
                  </a:lnTo>
                  <a:lnTo>
                    <a:pt x="175" y="50"/>
                  </a:lnTo>
                  <a:lnTo>
                    <a:pt x="176" y="50"/>
                  </a:lnTo>
                  <a:lnTo>
                    <a:pt x="177" y="50"/>
                  </a:lnTo>
                  <a:lnTo>
                    <a:pt x="177" y="51"/>
                  </a:lnTo>
                  <a:lnTo>
                    <a:pt x="177" y="52"/>
                  </a:lnTo>
                  <a:lnTo>
                    <a:pt x="179" y="52"/>
                  </a:lnTo>
                  <a:lnTo>
                    <a:pt x="179" y="53"/>
                  </a:lnTo>
                  <a:lnTo>
                    <a:pt x="179" y="54"/>
                  </a:lnTo>
                  <a:lnTo>
                    <a:pt x="180" y="54"/>
                  </a:lnTo>
                  <a:lnTo>
                    <a:pt x="180" y="53"/>
                  </a:lnTo>
                  <a:lnTo>
                    <a:pt x="181" y="53"/>
                  </a:lnTo>
                  <a:lnTo>
                    <a:pt x="181" y="54"/>
                  </a:lnTo>
                  <a:lnTo>
                    <a:pt x="181" y="56"/>
                  </a:lnTo>
                  <a:lnTo>
                    <a:pt x="180" y="56"/>
                  </a:lnTo>
                  <a:lnTo>
                    <a:pt x="179" y="56"/>
                  </a:lnTo>
                  <a:lnTo>
                    <a:pt x="179" y="54"/>
                  </a:lnTo>
                  <a:lnTo>
                    <a:pt x="179" y="53"/>
                  </a:lnTo>
                  <a:lnTo>
                    <a:pt x="177" y="53"/>
                  </a:lnTo>
                  <a:lnTo>
                    <a:pt x="177" y="52"/>
                  </a:lnTo>
                  <a:lnTo>
                    <a:pt x="176" y="52"/>
                  </a:lnTo>
                  <a:lnTo>
                    <a:pt x="176" y="51"/>
                  </a:lnTo>
                  <a:lnTo>
                    <a:pt x="176" y="50"/>
                  </a:lnTo>
                  <a:lnTo>
                    <a:pt x="175" y="50"/>
                  </a:lnTo>
                  <a:lnTo>
                    <a:pt x="175" y="51"/>
                  </a:lnTo>
                  <a:lnTo>
                    <a:pt x="175" y="52"/>
                  </a:lnTo>
                  <a:lnTo>
                    <a:pt x="175" y="53"/>
                  </a:lnTo>
                  <a:lnTo>
                    <a:pt x="176" y="54"/>
                  </a:lnTo>
                  <a:lnTo>
                    <a:pt x="175" y="54"/>
                  </a:lnTo>
                  <a:lnTo>
                    <a:pt x="175" y="53"/>
                  </a:lnTo>
                  <a:lnTo>
                    <a:pt x="174" y="52"/>
                  </a:lnTo>
                  <a:lnTo>
                    <a:pt x="174" y="51"/>
                  </a:lnTo>
                  <a:lnTo>
                    <a:pt x="174" y="50"/>
                  </a:lnTo>
                  <a:lnTo>
                    <a:pt x="174" y="48"/>
                  </a:lnTo>
                  <a:lnTo>
                    <a:pt x="173" y="48"/>
                  </a:lnTo>
                  <a:lnTo>
                    <a:pt x="171" y="48"/>
                  </a:lnTo>
                  <a:lnTo>
                    <a:pt x="171" y="50"/>
                  </a:lnTo>
                  <a:lnTo>
                    <a:pt x="173" y="51"/>
                  </a:lnTo>
                  <a:lnTo>
                    <a:pt x="173" y="52"/>
                  </a:lnTo>
                  <a:lnTo>
                    <a:pt x="173" y="53"/>
                  </a:lnTo>
                  <a:lnTo>
                    <a:pt x="173" y="54"/>
                  </a:lnTo>
                  <a:lnTo>
                    <a:pt x="171" y="54"/>
                  </a:lnTo>
                  <a:lnTo>
                    <a:pt x="171" y="53"/>
                  </a:lnTo>
                  <a:lnTo>
                    <a:pt x="170" y="53"/>
                  </a:lnTo>
                  <a:lnTo>
                    <a:pt x="170" y="52"/>
                  </a:lnTo>
                  <a:lnTo>
                    <a:pt x="171" y="52"/>
                  </a:lnTo>
                  <a:lnTo>
                    <a:pt x="170" y="51"/>
                  </a:lnTo>
                  <a:lnTo>
                    <a:pt x="169" y="51"/>
                  </a:lnTo>
                  <a:lnTo>
                    <a:pt x="169" y="52"/>
                  </a:lnTo>
                  <a:lnTo>
                    <a:pt x="169" y="53"/>
                  </a:lnTo>
                  <a:lnTo>
                    <a:pt x="170" y="54"/>
                  </a:lnTo>
                  <a:lnTo>
                    <a:pt x="169" y="54"/>
                  </a:lnTo>
                  <a:lnTo>
                    <a:pt x="169" y="53"/>
                  </a:lnTo>
                  <a:lnTo>
                    <a:pt x="169" y="52"/>
                  </a:lnTo>
                  <a:lnTo>
                    <a:pt x="168" y="52"/>
                  </a:lnTo>
                  <a:lnTo>
                    <a:pt x="168" y="51"/>
                  </a:lnTo>
                  <a:lnTo>
                    <a:pt x="167" y="52"/>
                  </a:lnTo>
                  <a:lnTo>
                    <a:pt x="165" y="52"/>
                  </a:lnTo>
                  <a:lnTo>
                    <a:pt x="165" y="51"/>
                  </a:lnTo>
                  <a:lnTo>
                    <a:pt x="167" y="51"/>
                  </a:lnTo>
                  <a:lnTo>
                    <a:pt x="167" y="50"/>
                  </a:lnTo>
                  <a:lnTo>
                    <a:pt x="167" y="48"/>
                  </a:lnTo>
                  <a:lnTo>
                    <a:pt x="168" y="48"/>
                  </a:lnTo>
                  <a:lnTo>
                    <a:pt x="168" y="47"/>
                  </a:lnTo>
                  <a:lnTo>
                    <a:pt x="167" y="46"/>
                  </a:lnTo>
                  <a:lnTo>
                    <a:pt x="165" y="47"/>
                  </a:lnTo>
                  <a:lnTo>
                    <a:pt x="165" y="46"/>
                  </a:lnTo>
                  <a:lnTo>
                    <a:pt x="167" y="46"/>
                  </a:lnTo>
                  <a:lnTo>
                    <a:pt x="168" y="46"/>
                  </a:lnTo>
                  <a:lnTo>
                    <a:pt x="168" y="45"/>
                  </a:lnTo>
                  <a:lnTo>
                    <a:pt x="168" y="46"/>
                  </a:lnTo>
                  <a:lnTo>
                    <a:pt x="169" y="46"/>
                  </a:lnTo>
                  <a:lnTo>
                    <a:pt x="170" y="46"/>
                  </a:lnTo>
                  <a:lnTo>
                    <a:pt x="170" y="45"/>
                  </a:lnTo>
                  <a:lnTo>
                    <a:pt x="171" y="45"/>
                  </a:lnTo>
                  <a:lnTo>
                    <a:pt x="171" y="44"/>
                  </a:lnTo>
                  <a:lnTo>
                    <a:pt x="170" y="44"/>
                  </a:lnTo>
                  <a:lnTo>
                    <a:pt x="170" y="42"/>
                  </a:lnTo>
                  <a:lnTo>
                    <a:pt x="170" y="44"/>
                  </a:lnTo>
                  <a:lnTo>
                    <a:pt x="169" y="44"/>
                  </a:lnTo>
                  <a:lnTo>
                    <a:pt x="168" y="42"/>
                  </a:lnTo>
                  <a:lnTo>
                    <a:pt x="167" y="42"/>
                  </a:lnTo>
                  <a:lnTo>
                    <a:pt x="168" y="41"/>
                  </a:lnTo>
                  <a:lnTo>
                    <a:pt x="169" y="40"/>
                  </a:lnTo>
                  <a:lnTo>
                    <a:pt x="170" y="40"/>
                  </a:lnTo>
                  <a:lnTo>
                    <a:pt x="170" y="39"/>
                  </a:lnTo>
                  <a:lnTo>
                    <a:pt x="171" y="39"/>
                  </a:lnTo>
                  <a:lnTo>
                    <a:pt x="173" y="39"/>
                  </a:lnTo>
                  <a:lnTo>
                    <a:pt x="174" y="38"/>
                  </a:lnTo>
                  <a:lnTo>
                    <a:pt x="174" y="39"/>
                  </a:lnTo>
                  <a:lnTo>
                    <a:pt x="175" y="39"/>
                  </a:lnTo>
                  <a:lnTo>
                    <a:pt x="175" y="38"/>
                  </a:lnTo>
                  <a:lnTo>
                    <a:pt x="176" y="38"/>
                  </a:lnTo>
                  <a:lnTo>
                    <a:pt x="176" y="39"/>
                  </a:lnTo>
                  <a:lnTo>
                    <a:pt x="177" y="39"/>
                  </a:lnTo>
                  <a:lnTo>
                    <a:pt x="179" y="38"/>
                  </a:lnTo>
                  <a:lnTo>
                    <a:pt x="180" y="36"/>
                  </a:lnTo>
                  <a:lnTo>
                    <a:pt x="180" y="35"/>
                  </a:lnTo>
                  <a:lnTo>
                    <a:pt x="180" y="34"/>
                  </a:lnTo>
                  <a:lnTo>
                    <a:pt x="179" y="34"/>
                  </a:lnTo>
                  <a:lnTo>
                    <a:pt x="177" y="34"/>
                  </a:lnTo>
                  <a:lnTo>
                    <a:pt x="177" y="35"/>
                  </a:lnTo>
                  <a:lnTo>
                    <a:pt x="176" y="36"/>
                  </a:lnTo>
                  <a:lnTo>
                    <a:pt x="175" y="36"/>
                  </a:lnTo>
                  <a:lnTo>
                    <a:pt x="176" y="35"/>
                  </a:lnTo>
                  <a:lnTo>
                    <a:pt x="176" y="34"/>
                  </a:lnTo>
                  <a:lnTo>
                    <a:pt x="175" y="34"/>
                  </a:lnTo>
                  <a:lnTo>
                    <a:pt x="175" y="35"/>
                  </a:lnTo>
                  <a:lnTo>
                    <a:pt x="174" y="35"/>
                  </a:lnTo>
                  <a:lnTo>
                    <a:pt x="173" y="35"/>
                  </a:lnTo>
                  <a:lnTo>
                    <a:pt x="171" y="35"/>
                  </a:lnTo>
                  <a:lnTo>
                    <a:pt x="173" y="34"/>
                  </a:lnTo>
                  <a:lnTo>
                    <a:pt x="174" y="34"/>
                  </a:lnTo>
                  <a:lnTo>
                    <a:pt x="174" y="33"/>
                  </a:lnTo>
                  <a:lnTo>
                    <a:pt x="174" y="32"/>
                  </a:lnTo>
                  <a:lnTo>
                    <a:pt x="174" y="30"/>
                  </a:lnTo>
                  <a:lnTo>
                    <a:pt x="173" y="30"/>
                  </a:lnTo>
                  <a:lnTo>
                    <a:pt x="171" y="30"/>
                  </a:lnTo>
                  <a:lnTo>
                    <a:pt x="171" y="32"/>
                  </a:lnTo>
                  <a:lnTo>
                    <a:pt x="171" y="33"/>
                  </a:lnTo>
                  <a:lnTo>
                    <a:pt x="170" y="33"/>
                  </a:lnTo>
                  <a:lnTo>
                    <a:pt x="170" y="34"/>
                  </a:lnTo>
                  <a:lnTo>
                    <a:pt x="169" y="34"/>
                  </a:lnTo>
                  <a:lnTo>
                    <a:pt x="169" y="35"/>
                  </a:lnTo>
                  <a:lnTo>
                    <a:pt x="169" y="34"/>
                  </a:lnTo>
                  <a:lnTo>
                    <a:pt x="170" y="33"/>
                  </a:lnTo>
                  <a:lnTo>
                    <a:pt x="170" y="32"/>
                  </a:lnTo>
                  <a:lnTo>
                    <a:pt x="170" y="30"/>
                  </a:lnTo>
                  <a:lnTo>
                    <a:pt x="169" y="30"/>
                  </a:lnTo>
                  <a:lnTo>
                    <a:pt x="168" y="32"/>
                  </a:lnTo>
                  <a:lnTo>
                    <a:pt x="167" y="32"/>
                  </a:lnTo>
                  <a:lnTo>
                    <a:pt x="165" y="32"/>
                  </a:lnTo>
                  <a:lnTo>
                    <a:pt x="165" y="33"/>
                  </a:lnTo>
                  <a:lnTo>
                    <a:pt x="164" y="33"/>
                  </a:lnTo>
                  <a:lnTo>
                    <a:pt x="163" y="33"/>
                  </a:lnTo>
                  <a:lnTo>
                    <a:pt x="163" y="32"/>
                  </a:lnTo>
                  <a:lnTo>
                    <a:pt x="162" y="32"/>
                  </a:lnTo>
                  <a:lnTo>
                    <a:pt x="163" y="30"/>
                  </a:lnTo>
                  <a:lnTo>
                    <a:pt x="163" y="29"/>
                  </a:lnTo>
                  <a:lnTo>
                    <a:pt x="163" y="28"/>
                  </a:lnTo>
                  <a:lnTo>
                    <a:pt x="162" y="28"/>
                  </a:lnTo>
                  <a:lnTo>
                    <a:pt x="161" y="29"/>
                  </a:lnTo>
                  <a:lnTo>
                    <a:pt x="161" y="30"/>
                  </a:lnTo>
                  <a:lnTo>
                    <a:pt x="159" y="32"/>
                  </a:lnTo>
                  <a:lnTo>
                    <a:pt x="157" y="32"/>
                  </a:lnTo>
                  <a:lnTo>
                    <a:pt x="156" y="32"/>
                  </a:lnTo>
                  <a:lnTo>
                    <a:pt x="156" y="30"/>
                  </a:lnTo>
                  <a:lnTo>
                    <a:pt x="157" y="30"/>
                  </a:lnTo>
                  <a:lnTo>
                    <a:pt x="157" y="29"/>
                  </a:lnTo>
                  <a:lnTo>
                    <a:pt x="157" y="28"/>
                  </a:lnTo>
                  <a:lnTo>
                    <a:pt x="157" y="27"/>
                  </a:lnTo>
                  <a:lnTo>
                    <a:pt x="156" y="26"/>
                  </a:lnTo>
                  <a:lnTo>
                    <a:pt x="156" y="24"/>
                  </a:lnTo>
                  <a:lnTo>
                    <a:pt x="155" y="24"/>
                  </a:lnTo>
                  <a:lnTo>
                    <a:pt x="153" y="26"/>
                  </a:lnTo>
                  <a:lnTo>
                    <a:pt x="152" y="26"/>
                  </a:lnTo>
                  <a:lnTo>
                    <a:pt x="151" y="27"/>
                  </a:lnTo>
                  <a:lnTo>
                    <a:pt x="150" y="27"/>
                  </a:lnTo>
                  <a:lnTo>
                    <a:pt x="150" y="26"/>
                  </a:lnTo>
                  <a:lnTo>
                    <a:pt x="150" y="24"/>
                  </a:lnTo>
                  <a:lnTo>
                    <a:pt x="148" y="24"/>
                  </a:lnTo>
                  <a:lnTo>
                    <a:pt x="148" y="26"/>
                  </a:lnTo>
                  <a:lnTo>
                    <a:pt x="147" y="27"/>
                  </a:lnTo>
                  <a:lnTo>
                    <a:pt x="147" y="26"/>
                  </a:lnTo>
                  <a:lnTo>
                    <a:pt x="146" y="26"/>
                  </a:lnTo>
                  <a:lnTo>
                    <a:pt x="146" y="24"/>
                  </a:lnTo>
                  <a:lnTo>
                    <a:pt x="145" y="24"/>
                  </a:lnTo>
                  <a:lnTo>
                    <a:pt x="144" y="26"/>
                  </a:lnTo>
                  <a:lnTo>
                    <a:pt x="144" y="24"/>
                  </a:lnTo>
                  <a:lnTo>
                    <a:pt x="142" y="24"/>
                  </a:lnTo>
                  <a:lnTo>
                    <a:pt x="141" y="24"/>
                  </a:lnTo>
                  <a:lnTo>
                    <a:pt x="141" y="23"/>
                  </a:lnTo>
                  <a:lnTo>
                    <a:pt x="142" y="23"/>
                  </a:lnTo>
                  <a:lnTo>
                    <a:pt x="144" y="23"/>
                  </a:lnTo>
                  <a:lnTo>
                    <a:pt x="145" y="23"/>
                  </a:lnTo>
                  <a:lnTo>
                    <a:pt x="146" y="23"/>
                  </a:lnTo>
                  <a:lnTo>
                    <a:pt x="147" y="23"/>
                  </a:lnTo>
                  <a:lnTo>
                    <a:pt x="148" y="23"/>
                  </a:lnTo>
                  <a:lnTo>
                    <a:pt x="150" y="23"/>
                  </a:lnTo>
                  <a:lnTo>
                    <a:pt x="151" y="22"/>
                  </a:lnTo>
                  <a:lnTo>
                    <a:pt x="151" y="21"/>
                  </a:lnTo>
                  <a:lnTo>
                    <a:pt x="150" y="20"/>
                  </a:lnTo>
                  <a:lnTo>
                    <a:pt x="150" y="21"/>
                  </a:lnTo>
                  <a:lnTo>
                    <a:pt x="148" y="21"/>
                  </a:lnTo>
                  <a:lnTo>
                    <a:pt x="147" y="21"/>
                  </a:lnTo>
                  <a:lnTo>
                    <a:pt x="148" y="21"/>
                  </a:lnTo>
                  <a:lnTo>
                    <a:pt x="148" y="20"/>
                  </a:lnTo>
                  <a:lnTo>
                    <a:pt x="147" y="20"/>
                  </a:lnTo>
                  <a:lnTo>
                    <a:pt x="147" y="18"/>
                  </a:lnTo>
                  <a:lnTo>
                    <a:pt x="148" y="20"/>
                  </a:lnTo>
                  <a:lnTo>
                    <a:pt x="150" y="20"/>
                  </a:lnTo>
                  <a:lnTo>
                    <a:pt x="151" y="18"/>
                  </a:lnTo>
                  <a:lnTo>
                    <a:pt x="152" y="18"/>
                  </a:lnTo>
                  <a:lnTo>
                    <a:pt x="153" y="18"/>
                  </a:lnTo>
                  <a:lnTo>
                    <a:pt x="153" y="17"/>
                  </a:lnTo>
                  <a:lnTo>
                    <a:pt x="155" y="17"/>
                  </a:lnTo>
                  <a:lnTo>
                    <a:pt x="155" y="16"/>
                  </a:lnTo>
                  <a:lnTo>
                    <a:pt x="156" y="16"/>
                  </a:lnTo>
                  <a:lnTo>
                    <a:pt x="156" y="15"/>
                  </a:lnTo>
                  <a:lnTo>
                    <a:pt x="155" y="15"/>
                  </a:lnTo>
                  <a:lnTo>
                    <a:pt x="155" y="14"/>
                  </a:lnTo>
                  <a:lnTo>
                    <a:pt x="153" y="15"/>
                  </a:lnTo>
                  <a:lnTo>
                    <a:pt x="152" y="16"/>
                  </a:lnTo>
                  <a:lnTo>
                    <a:pt x="152" y="15"/>
                  </a:lnTo>
                  <a:lnTo>
                    <a:pt x="152" y="14"/>
                  </a:lnTo>
                  <a:lnTo>
                    <a:pt x="153" y="12"/>
                  </a:lnTo>
                  <a:lnTo>
                    <a:pt x="153" y="10"/>
                  </a:lnTo>
                  <a:lnTo>
                    <a:pt x="152" y="10"/>
                  </a:lnTo>
                  <a:lnTo>
                    <a:pt x="151" y="10"/>
                  </a:lnTo>
                  <a:lnTo>
                    <a:pt x="150" y="11"/>
                  </a:lnTo>
                  <a:lnTo>
                    <a:pt x="150" y="12"/>
                  </a:lnTo>
                  <a:lnTo>
                    <a:pt x="150" y="14"/>
                  </a:lnTo>
                  <a:lnTo>
                    <a:pt x="148" y="12"/>
                  </a:lnTo>
                  <a:lnTo>
                    <a:pt x="148" y="11"/>
                  </a:lnTo>
                  <a:lnTo>
                    <a:pt x="148" y="10"/>
                  </a:lnTo>
                  <a:lnTo>
                    <a:pt x="147" y="10"/>
                  </a:lnTo>
                  <a:lnTo>
                    <a:pt x="147" y="11"/>
                  </a:lnTo>
                  <a:lnTo>
                    <a:pt x="146" y="11"/>
                  </a:lnTo>
                  <a:lnTo>
                    <a:pt x="146" y="12"/>
                  </a:lnTo>
                  <a:lnTo>
                    <a:pt x="145" y="12"/>
                  </a:lnTo>
                  <a:lnTo>
                    <a:pt x="144" y="12"/>
                  </a:lnTo>
                  <a:lnTo>
                    <a:pt x="144" y="14"/>
                  </a:lnTo>
                  <a:lnTo>
                    <a:pt x="142" y="14"/>
                  </a:lnTo>
                  <a:lnTo>
                    <a:pt x="144" y="15"/>
                  </a:lnTo>
                  <a:lnTo>
                    <a:pt x="142" y="15"/>
                  </a:lnTo>
                  <a:lnTo>
                    <a:pt x="142" y="16"/>
                  </a:lnTo>
                  <a:lnTo>
                    <a:pt x="141" y="15"/>
                  </a:lnTo>
                  <a:lnTo>
                    <a:pt x="141" y="14"/>
                  </a:lnTo>
                  <a:lnTo>
                    <a:pt x="140" y="14"/>
                  </a:lnTo>
                  <a:lnTo>
                    <a:pt x="140" y="12"/>
                  </a:lnTo>
                  <a:lnTo>
                    <a:pt x="140" y="11"/>
                  </a:lnTo>
                  <a:lnTo>
                    <a:pt x="139" y="11"/>
                  </a:lnTo>
                  <a:lnTo>
                    <a:pt x="138" y="11"/>
                  </a:lnTo>
                  <a:lnTo>
                    <a:pt x="138" y="12"/>
                  </a:lnTo>
                  <a:lnTo>
                    <a:pt x="136" y="12"/>
                  </a:lnTo>
                  <a:lnTo>
                    <a:pt x="136" y="11"/>
                  </a:lnTo>
                  <a:lnTo>
                    <a:pt x="136" y="10"/>
                  </a:lnTo>
                  <a:lnTo>
                    <a:pt x="136" y="9"/>
                  </a:lnTo>
                  <a:lnTo>
                    <a:pt x="136" y="8"/>
                  </a:lnTo>
                  <a:lnTo>
                    <a:pt x="135" y="6"/>
                  </a:lnTo>
                  <a:lnTo>
                    <a:pt x="134" y="6"/>
                  </a:lnTo>
                  <a:lnTo>
                    <a:pt x="134" y="8"/>
                  </a:lnTo>
                  <a:lnTo>
                    <a:pt x="133" y="9"/>
                  </a:lnTo>
                  <a:lnTo>
                    <a:pt x="133" y="10"/>
                  </a:lnTo>
                  <a:lnTo>
                    <a:pt x="133" y="11"/>
                  </a:lnTo>
                  <a:lnTo>
                    <a:pt x="133" y="10"/>
                  </a:lnTo>
                  <a:lnTo>
                    <a:pt x="132" y="9"/>
                  </a:lnTo>
                  <a:lnTo>
                    <a:pt x="132" y="8"/>
                  </a:lnTo>
                  <a:lnTo>
                    <a:pt x="130" y="6"/>
                  </a:lnTo>
                  <a:lnTo>
                    <a:pt x="132" y="6"/>
                  </a:lnTo>
                  <a:lnTo>
                    <a:pt x="132" y="5"/>
                  </a:lnTo>
                  <a:lnTo>
                    <a:pt x="129" y="4"/>
                  </a:lnTo>
                  <a:lnTo>
                    <a:pt x="129" y="5"/>
                  </a:lnTo>
                  <a:lnTo>
                    <a:pt x="128" y="5"/>
                  </a:lnTo>
                  <a:lnTo>
                    <a:pt x="128" y="6"/>
                  </a:lnTo>
                  <a:lnTo>
                    <a:pt x="127" y="8"/>
                  </a:lnTo>
                  <a:lnTo>
                    <a:pt x="127" y="9"/>
                  </a:lnTo>
                  <a:lnTo>
                    <a:pt x="126" y="9"/>
                  </a:lnTo>
                  <a:lnTo>
                    <a:pt x="127" y="10"/>
                  </a:lnTo>
                  <a:lnTo>
                    <a:pt x="128" y="10"/>
                  </a:lnTo>
                  <a:lnTo>
                    <a:pt x="128" y="11"/>
                  </a:lnTo>
                  <a:lnTo>
                    <a:pt x="129" y="11"/>
                  </a:lnTo>
                  <a:lnTo>
                    <a:pt x="129" y="12"/>
                  </a:lnTo>
                  <a:lnTo>
                    <a:pt x="128" y="12"/>
                  </a:lnTo>
                  <a:lnTo>
                    <a:pt x="128" y="14"/>
                  </a:lnTo>
                  <a:lnTo>
                    <a:pt x="127" y="12"/>
                  </a:lnTo>
                  <a:lnTo>
                    <a:pt x="126" y="11"/>
                  </a:lnTo>
                  <a:lnTo>
                    <a:pt x="124" y="10"/>
                  </a:lnTo>
                  <a:lnTo>
                    <a:pt x="123" y="10"/>
                  </a:lnTo>
                  <a:lnTo>
                    <a:pt x="122" y="10"/>
                  </a:lnTo>
                  <a:lnTo>
                    <a:pt x="122" y="11"/>
                  </a:lnTo>
                  <a:lnTo>
                    <a:pt x="122" y="12"/>
                  </a:lnTo>
                  <a:lnTo>
                    <a:pt x="122" y="14"/>
                  </a:lnTo>
                  <a:lnTo>
                    <a:pt x="123" y="15"/>
                  </a:lnTo>
                  <a:lnTo>
                    <a:pt x="124" y="15"/>
                  </a:lnTo>
                  <a:lnTo>
                    <a:pt x="126" y="15"/>
                  </a:lnTo>
                  <a:lnTo>
                    <a:pt x="124" y="15"/>
                  </a:lnTo>
                  <a:lnTo>
                    <a:pt x="124" y="16"/>
                  </a:lnTo>
                  <a:lnTo>
                    <a:pt x="126" y="16"/>
                  </a:lnTo>
                  <a:lnTo>
                    <a:pt x="127" y="17"/>
                  </a:lnTo>
                  <a:lnTo>
                    <a:pt x="128" y="17"/>
                  </a:lnTo>
                  <a:lnTo>
                    <a:pt x="129" y="18"/>
                  </a:lnTo>
                  <a:lnTo>
                    <a:pt x="128" y="20"/>
                  </a:lnTo>
                  <a:lnTo>
                    <a:pt x="127" y="20"/>
                  </a:lnTo>
                  <a:lnTo>
                    <a:pt x="127" y="18"/>
                  </a:lnTo>
                  <a:lnTo>
                    <a:pt x="126" y="17"/>
                  </a:lnTo>
                  <a:lnTo>
                    <a:pt x="124" y="17"/>
                  </a:lnTo>
                  <a:lnTo>
                    <a:pt x="124" y="18"/>
                  </a:lnTo>
                  <a:lnTo>
                    <a:pt x="123" y="18"/>
                  </a:lnTo>
                  <a:lnTo>
                    <a:pt x="122" y="18"/>
                  </a:lnTo>
                  <a:lnTo>
                    <a:pt x="121" y="18"/>
                  </a:lnTo>
                  <a:lnTo>
                    <a:pt x="121" y="17"/>
                  </a:lnTo>
                  <a:lnTo>
                    <a:pt x="120" y="17"/>
                  </a:lnTo>
                  <a:lnTo>
                    <a:pt x="120" y="18"/>
                  </a:lnTo>
                  <a:lnTo>
                    <a:pt x="120" y="20"/>
                  </a:lnTo>
                  <a:lnTo>
                    <a:pt x="121" y="21"/>
                  </a:lnTo>
                  <a:lnTo>
                    <a:pt x="121" y="22"/>
                  </a:lnTo>
                  <a:lnTo>
                    <a:pt x="122" y="22"/>
                  </a:lnTo>
                  <a:lnTo>
                    <a:pt x="123" y="22"/>
                  </a:lnTo>
                  <a:lnTo>
                    <a:pt x="124" y="22"/>
                  </a:lnTo>
                  <a:lnTo>
                    <a:pt x="126" y="22"/>
                  </a:lnTo>
                  <a:lnTo>
                    <a:pt x="126" y="23"/>
                  </a:lnTo>
                  <a:lnTo>
                    <a:pt x="127" y="23"/>
                  </a:lnTo>
                  <a:lnTo>
                    <a:pt x="126" y="23"/>
                  </a:lnTo>
                  <a:lnTo>
                    <a:pt x="124" y="23"/>
                  </a:lnTo>
                  <a:lnTo>
                    <a:pt x="124" y="24"/>
                  </a:lnTo>
                  <a:lnTo>
                    <a:pt x="124" y="26"/>
                  </a:lnTo>
                  <a:lnTo>
                    <a:pt x="123" y="26"/>
                  </a:lnTo>
                  <a:lnTo>
                    <a:pt x="122" y="26"/>
                  </a:lnTo>
                  <a:lnTo>
                    <a:pt x="123" y="28"/>
                  </a:lnTo>
                  <a:lnTo>
                    <a:pt x="124" y="28"/>
                  </a:lnTo>
                  <a:lnTo>
                    <a:pt x="126" y="29"/>
                  </a:lnTo>
                  <a:lnTo>
                    <a:pt x="127" y="29"/>
                  </a:lnTo>
                  <a:lnTo>
                    <a:pt x="127" y="30"/>
                  </a:lnTo>
                  <a:lnTo>
                    <a:pt x="128" y="30"/>
                  </a:lnTo>
                  <a:lnTo>
                    <a:pt x="129" y="29"/>
                  </a:lnTo>
                  <a:lnTo>
                    <a:pt x="129" y="28"/>
                  </a:lnTo>
                  <a:lnTo>
                    <a:pt x="129" y="27"/>
                  </a:lnTo>
                  <a:lnTo>
                    <a:pt x="130" y="28"/>
                  </a:lnTo>
                  <a:lnTo>
                    <a:pt x="132" y="28"/>
                  </a:lnTo>
                  <a:lnTo>
                    <a:pt x="132" y="27"/>
                  </a:lnTo>
                  <a:lnTo>
                    <a:pt x="133" y="28"/>
                  </a:lnTo>
                  <a:lnTo>
                    <a:pt x="133" y="29"/>
                  </a:lnTo>
                  <a:lnTo>
                    <a:pt x="132" y="29"/>
                  </a:lnTo>
                  <a:lnTo>
                    <a:pt x="130" y="29"/>
                  </a:lnTo>
                  <a:lnTo>
                    <a:pt x="129" y="30"/>
                  </a:lnTo>
                  <a:lnTo>
                    <a:pt x="129" y="32"/>
                  </a:lnTo>
                  <a:lnTo>
                    <a:pt x="130" y="33"/>
                  </a:lnTo>
                  <a:lnTo>
                    <a:pt x="132" y="34"/>
                  </a:lnTo>
                  <a:lnTo>
                    <a:pt x="133" y="33"/>
                  </a:lnTo>
                  <a:lnTo>
                    <a:pt x="134" y="33"/>
                  </a:lnTo>
                  <a:lnTo>
                    <a:pt x="134" y="32"/>
                  </a:lnTo>
                  <a:lnTo>
                    <a:pt x="134" y="30"/>
                  </a:lnTo>
                  <a:lnTo>
                    <a:pt x="135" y="32"/>
                  </a:lnTo>
                  <a:lnTo>
                    <a:pt x="136" y="32"/>
                  </a:lnTo>
                  <a:lnTo>
                    <a:pt x="136" y="33"/>
                  </a:lnTo>
                  <a:lnTo>
                    <a:pt x="135" y="33"/>
                  </a:lnTo>
                  <a:lnTo>
                    <a:pt x="134" y="34"/>
                  </a:lnTo>
                  <a:lnTo>
                    <a:pt x="134" y="35"/>
                  </a:lnTo>
                  <a:lnTo>
                    <a:pt x="134" y="36"/>
                  </a:lnTo>
                  <a:lnTo>
                    <a:pt x="135" y="38"/>
                  </a:lnTo>
                  <a:lnTo>
                    <a:pt x="135" y="39"/>
                  </a:lnTo>
                  <a:lnTo>
                    <a:pt x="136" y="40"/>
                  </a:lnTo>
                  <a:lnTo>
                    <a:pt x="136" y="41"/>
                  </a:lnTo>
                  <a:lnTo>
                    <a:pt x="135" y="41"/>
                  </a:lnTo>
                  <a:lnTo>
                    <a:pt x="135" y="40"/>
                  </a:lnTo>
                  <a:lnTo>
                    <a:pt x="135" y="39"/>
                  </a:lnTo>
                  <a:lnTo>
                    <a:pt x="134" y="39"/>
                  </a:lnTo>
                  <a:lnTo>
                    <a:pt x="134" y="38"/>
                  </a:lnTo>
                  <a:lnTo>
                    <a:pt x="133" y="36"/>
                  </a:lnTo>
                  <a:lnTo>
                    <a:pt x="132" y="36"/>
                  </a:lnTo>
                  <a:lnTo>
                    <a:pt x="132" y="38"/>
                  </a:lnTo>
                  <a:lnTo>
                    <a:pt x="132" y="39"/>
                  </a:lnTo>
                  <a:lnTo>
                    <a:pt x="130" y="39"/>
                  </a:lnTo>
                  <a:lnTo>
                    <a:pt x="130" y="40"/>
                  </a:lnTo>
                  <a:lnTo>
                    <a:pt x="129" y="40"/>
                  </a:lnTo>
                  <a:lnTo>
                    <a:pt x="129" y="39"/>
                  </a:lnTo>
                  <a:lnTo>
                    <a:pt x="129" y="38"/>
                  </a:lnTo>
                  <a:lnTo>
                    <a:pt x="128" y="39"/>
                  </a:lnTo>
                  <a:lnTo>
                    <a:pt x="128" y="40"/>
                  </a:lnTo>
                  <a:lnTo>
                    <a:pt x="127" y="40"/>
                  </a:lnTo>
                  <a:lnTo>
                    <a:pt x="127" y="39"/>
                  </a:lnTo>
                  <a:lnTo>
                    <a:pt x="127" y="38"/>
                  </a:lnTo>
                  <a:lnTo>
                    <a:pt x="127" y="36"/>
                  </a:lnTo>
                  <a:lnTo>
                    <a:pt x="126" y="36"/>
                  </a:lnTo>
                  <a:lnTo>
                    <a:pt x="126" y="35"/>
                  </a:lnTo>
                  <a:lnTo>
                    <a:pt x="124" y="35"/>
                  </a:lnTo>
                  <a:lnTo>
                    <a:pt x="123" y="36"/>
                  </a:lnTo>
                  <a:lnTo>
                    <a:pt x="123" y="38"/>
                  </a:lnTo>
                  <a:lnTo>
                    <a:pt x="123" y="39"/>
                  </a:lnTo>
                  <a:lnTo>
                    <a:pt x="123" y="40"/>
                  </a:lnTo>
                  <a:lnTo>
                    <a:pt x="122" y="40"/>
                  </a:lnTo>
                  <a:lnTo>
                    <a:pt x="122" y="39"/>
                  </a:lnTo>
                  <a:lnTo>
                    <a:pt x="121" y="39"/>
                  </a:lnTo>
                  <a:lnTo>
                    <a:pt x="121" y="40"/>
                  </a:lnTo>
                  <a:lnTo>
                    <a:pt x="120" y="40"/>
                  </a:lnTo>
                  <a:lnTo>
                    <a:pt x="118" y="39"/>
                  </a:lnTo>
                  <a:lnTo>
                    <a:pt x="118" y="38"/>
                  </a:lnTo>
                  <a:lnTo>
                    <a:pt x="117" y="38"/>
                  </a:lnTo>
                  <a:lnTo>
                    <a:pt x="117" y="36"/>
                  </a:lnTo>
                  <a:lnTo>
                    <a:pt x="117" y="35"/>
                  </a:lnTo>
                  <a:lnTo>
                    <a:pt x="117" y="34"/>
                  </a:lnTo>
                  <a:lnTo>
                    <a:pt x="116" y="33"/>
                  </a:lnTo>
                  <a:lnTo>
                    <a:pt x="115" y="34"/>
                  </a:lnTo>
                  <a:lnTo>
                    <a:pt x="114" y="35"/>
                  </a:lnTo>
                  <a:lnTo>
                    <a:pt x="112" y="36"/>
                  </a:lnTo>
                  <a:lnTo>
                    <a:pt x="112" y="35"/>
                  </a:lnTo>
                  <a:lnTo>
                    <a:pt x="112" y="34"/>
                  </a:lnTo>
                  <a:lnTo>
                    <a:pt x="111" y="33"/>
                  </a:lnTo>
                  <a:lnTo>
                    <a:pt x="110" y="33"/>
                  </a:lnTo>
                  <a:lnTo>
                    <a:pt x="110" y="34"/>
                  </a:lnTo>
                  <a:lnTo>
                    <a:pt x="109" y="35"/>
                  </a:lnTo>
                  <a:lnTo>
                    <a:pt x="109" y="36"/>
                  </a:lnTo>
                  <a:lnTo>
                    <a:pt x="108" y="35"/>
                  </a:lnTo>
                  <a:lnTo>
                    <a:pt x="108" y="34"/>
                  </a:lnTo>
                  <a:lnTo>
                    <a:pt x="109" y="33"/>
                  </a:lnTo>
                  <a:lnTo>
                    <a:pt x="109" y="32"/>
                  </a:lnTo>
                  <a:lnTo>
                    <a:pt x="108" y="32"/>
                  </a:lnTo>
                  <a:lnTo>
                    <a:pt x="109" y="32"/>
                  </a:lnTo>
                  <a:lnTo>
                    <a:pt x="109" y="30"/>
                  </a:lnTo>
                  <a:lnTo>
                    <a:pt x="108" y="29"/>
                  </a:lnTo>
                  <a:lnTo>
                    <a:pt x="106" y="29"/>
                  </a:lnTo>
                  <a:lnTo>
                    <a:pt x="105" y="29"/>
                  </a:lnTo>
                  <a:lnTo>
                    <a:pt x="105" y="28"/>
                  </a:lnTo>
                  <a:lnTo>
                    <a:pt x="105" y="27"/>
                  </a:lnTo>
                  <a:lnTo>
                    <a:pt x="104" y="26"/>
                  </a:lnTo>
                  <a:lnTo>
                    <a:pt x="103" y="24"/>
                  </a:lnTo>
                  <a:lnTo>
                    <a:pt x="103" y="26"/>
                  </a:lnTo>
                  <a:lnTo>
                    <a:pt x="102" y="27"/>
                  </a:lnTo>
                  <a:lnTo>
                    <a:pt x="100" y="28"/>
                  </a:lnTo>
                  <a:lnTo>
                    <a:pt x="99" y="29"/>
                  </a:lnTo>
                  <a:lnTo>
                    <a:pt x="99" y="28"/>
                  </a:lnTo>
                  <a:lnTo>
                    <a:pt x="99" y="27"/>
                  </a:lnTo>
                  <a:lnTo>
                    <a:pt x="100" y="26"/>
                  </a:lnTo>
                  <a:lnTo>
                    <a:pt x="99" y="26"/>
                  </a:lnTo>
                  <a:lnTo>
                    <a:pt x="100" y="26"/>
                  </a:lnTo>
                  <a:lnTo>
                    <a:pt x="100" y="24"/>
                  </a:lnTo>
                  <a:lnTo>
                    <a:pt x="102" y="24"/>
                  </a:lnTo>
                  <a:lnTo>
                    <a:pt x="102" y="23"/>
                  </a:lnTo>
                  <a:lnTo>
                    <a:pt x="102" y="22"/>
                  </a:lnTo>
                  <a:lnTo>
                    <a:pt x="103" y="21"/>
                  </a:lnTo>
                  <a:lnTo>
                    <a:pt x="102" y="20"/>
                  </a:lnTo>
                  <a:lnTo>
                    <a:pt x="100" y="20"/>
                  </a:lnTo>
                  <a:lnTo>
                    <a:pt x="99" y="20"/>
                  </a:lnTo>
                  <a:lnTo>
                    <a:pt x="100" y="21"/>
                  </a:lnTo>
                  <a:lnTo>
                    <a:pt x="99" y="22"/>
                  </a:lnTo>
                  <a:lnTo>
                    <a:pt x="99" y="21"/>
                  </a:lnTo>
                  <a:lnTo>
                    <a:pt x="98" y="22"/>
                  </a:lnTo>
                  <a:lnTo>
                    <a:pt x="98" y="23"/>
                  </a:lnTo>
                  <a:lnTo>
                    <a:pt x="98" y="24"/>
                  </a:lnTo>
                  <a:lnTo>
                    <a:pt x="97" y="24"/>
                  </a:lnTo>
                  <a:lnTo>
                    <a:pt x="97" y="23"/>
                  </a:lnTo>
                  <a:lnTo>
                    <a:pt x="97" y="22"/>
                  </a:lnTo>
                  <a:lnTo>
                    <a:pt x="97" y="21"/>
                  </a:lnTo>
                  <a:lnTo>
                    <a:pt x="98" y="20"/>
                  </a:lnTo>
                  <a:lnTo>
                    <a:pt x="97" y="18"/>
                  </a:lnTo>
                  <a:lnTo>
                    <a:pt x="96" y="17"/>
                  </a:lnTo>
                  <a:lnTo>
                    <a:pt x="96" y="18"/>
                  </a:lnTo>
                  <a:lnTo>
                    <a:pt x="94" y="20"/>
                  </a:lnTo>
                  <a:lnTo>
                    <a:pt x="94" y="18"/>
                  </a:lnTo>
                  <a:lnTo>
                    <a:pt x="94" y="17"/>
                  </a:lnTo>
                  <a:lnTo>
                    <a:pt x="93" y="18"/>
                  </a:lnTo>
                  <a:lnTo>
                    <a:pt x="93" y="17"/>
                  </a:lnTo>
                  <a:lnTo>
                    <a:pt x="92" y="17"/>
                  </a:lnTo>
                  <a:lnTo>
                    <a:pt x="92" y="16"/>
                  </a:lnTo>
                  <a:lnTo>
                    <a:pt x="92" y="15"/>
                  </a:lnTo>
                  <a:lnTo>
                    <a:pt x="91" y="15"/>
                  </a:lnTo>
                  <a:lnTo>
                    <a:pt x="89" y="15"/>
                  </a:lnTo>
                  <a:lnTo>
                    <a:pt x="89" y="16"/>
                  </a:lnTo>
                  <a:lnTo>
                    <a:pt x="89" y="17"/>
                  </a:lnTo>
                  <a:lnTo>
                    <a:pt x="91" y="18"/>
                  </a:lnTo>
                  <a:lnTo>
                    <a:pt x="89" y="18"/>
                  </a:lnTo>
                  <a:lnTo>
                    <a:pt x="88" y="18"/>
                  </a:lnTo>
                  <a:lnTo>
                    <a:pt x="89" y="20"/>
                  </a:lnTo>
                  <a:lnTo>
                    <a:pt x="91" y="21"/>
                  </a:lnTo>
                  <a:lnTo>
                    <a:pt x="92" y="22"/>
                  </a:lnTo>
                  <a:lnTo>
                    <a:pt x="92" y="23"/>
                  </a:lnTo>
                  <a:lnTo>
                    <a:pt x="93" y="23"/>
                  </a:lnTo>
                  <a:lnTo>
                    <a:pt x="92" y="23"/>
                  </a:lnTo>
                  <a:lnTo>
                    <a:pt x="91" y="22"/>
                  </a:lnTo>
                  <a:lnTo>
                    <a:pt x="89" y="22"/>
                  </a:lnTo>
                  <a:lnTo>
                    <a:pt x="88" y="23"/>
                  </a:lnTo>
                  <a:lnTo>
                    <a:pt x="89" y="23"/>
                  </a:lnTo>
                  <a:lnTo>
                    <a:pt x="89" y="24"/>
                  </a:lnTo>
                  <a:lnTo>
                    <a:pt x="91" y="26"/>
                  </a:lnTo>
                  <a:lnTo>
                    <a:pt x="91" y="27"/>
                  </a:lnTo>
                  <a:lnTo>
                    <a:pt x="91" y="28"/>
                  </a:lnTo>
                  <a:lnTo>
                    <a:pt x="89" y="28"/>
                  </a:lnTo>
                  <a:lnTo>
                    <a:pt x="88" y="27"/>
                  </a:lnTo>
                  <a:lnTo>
                    <a:pt x="86" y="27"/>
                  </a:lnTo>
                  <a:lnTo>
                    <a:pt x="85" y="28"/>
                  </a:lnTo>
                  <a:lnTo>
                    <a:pt x="85" y="29"/>
                  </a:lnTo>
                  <a:lnTo>
                    <a:pt x="86" y="30"/>
                  </a:lnTo>
                  <a:lnTo>
                    <a:pt x="86" y="32"/>
                  </a:lnTo>
                  <a:lnTo>
                    <a:pt x="87" y="32"/>
                  </a:lnTo>
                  <a:lnTo>
                    <a:pt x="88" y="33"/>
                  </a:lnTo>
                  <a:lnTo>
                    <a:pt x="89" y="34"/>
                  </a:lnTo>
                  <a:lnTo>
                    <a:pt x="91" y="35"/>
                  </a:lnTo>
                  <a:lnTo>
                    <a:pt x="92" y="34"/>
                  </a:lnTo>
                  <a:lnTo>
                    <a:pt x="93" y="34"/>
                  </a:lnTo>
                  <a:lnTo>
                    <a:pt x="94" y="35"/>
                  </a:lnTo>
                  <a:lnTo>
                    <a:pt x="93" y="36"/>
                  </a:lnTo>
                  <a:lnTo>
                    <a:pt x="93" y="35"/>
                  </a:lnTo>
                  <a:lnTo>
                    <a:pt x="92" y="35"/>
                  </a:lnTo>
                  <a:lnTo>
                    <a:pt x="91" y="35"/>
                  </a:lnTo>
                  <a:lnTo>
                    <a:pt x="89" y="35"/>
                  </a:lnTo>
                  <a:lnTo>
                    <a:pt x="88" y="35"/>
                  </a:lnTo>
                  <a:lnTo>
                    <a:pt x="88" y="34"/>
                  </a:lnTo>
                  <a:lnTo>
                    <a:pt x="87" y="34"/>
                  </a:lnTo>
                  <a:lnTo>
                    <a:pt x="87" y="35"/>
                  </a:lnTo>
                  <a:lnTo>
                    <a:pt x="86" y="35"/>
                  </a:lnTo>
                  <a:lnTo>
                    <a:pt x="87" y="36"/>
                  </a:lnTo>
                  <a:lnTo>
                    <a:pt x="88" y="36"/>
                  </a:lnTo>
                  <a:lnTo>
                    <a:pt x="88" y="38"/>
                  </a:lnTo>
                  <a:lnTo>
                    <a:pt x="88" y="39"/>
                  </a:lnTo>
                  <a:lnTo>
                    <a:pt x="88" y="40"/>
                  </a:lnTo>
                  <a:lnTo>
                    <a:pt x="89" y="40"/>
                  </a:lnTo>
                  <a:lnTo>
                    <a:pt x="89" y="41"/>
                  </a:lnTo>
                  <a:lnTo>
                    <a:pt x="88" y="41"/>
                  </a:lnTo>
                  <a:lnTo>
                    <a:pt x="88" y="40"/>
                  </a:lnTo>
                  <a:lnTo>
                    <a:pt x="87" y="40"/>
                  </a:lnTo>
                  <a:lnTo>
                    <a:pt x="87" y="41"/>
                  </a:lnTo>
                  <a:lnTo>
                    <a:pt x="87" y="42"/>
                  </a:lnTo>
                  <a:lnTo>
                    <a:pt x="87" y="41"/>
                  </a:lnTo>
                  <a:lnTo>
                    <a:pt x="86" y="42"/>
                  </a:lnTo>
                  <a:lnTo>
                    <a:pt x="87" y="44"/>
                  </a:lnTo>
                  <a:lnTo>
                    <a:pt x="88" y="44"/>
                  </a:lnTo>
                  <a:lnTo>
                    <a:pt x="89" y="44"/>
                  </a:lnTo>
                  <a:lnTo>
                    <a:pt x="91" y="44"/>
                  </a:lnTo>
                  <a:lnTo>
                    <a:pt x="92" y="44"/>
                  </a:lnTo>
                  <a:lnTo>
                    <a:pt x="93" y="44"/>
                  </a:lnTo>
                  <a:lnTo>
                    <a:pt x="94" y="44"/>
                  </a:lnTo>
                  <a:lnTo>
                    <a:pt x="96" y="44"/>
                  </a:lnTo>
                  <a:lnTo>
                    <a:pt x="96" y="45"/>
                  </a:lnTo>
                  <a:lnTo>
                    <a:pt x="97" y="45"/>
                  </a:lnTo>
                  <a:lnTo>
                    <a:pt x="98" y="45"/>
                  </a:lnTo>
                  <a:lnTo>
                    <a:pt x="99" y="45"/>
                  </a:lnTo>
                  <a:lnTo>
                    <a:pt x="100" y="45"/>
                  </a:lnTo>
                  <a:lnTo>
                    <a:pt x="102" y="46"/>
                  </a:lnTo>
                  <a:lnTo>
                    <a:pt x="100" y="46"/>
                  </a:lnTo>
                  <a:lnTo>
                    <a:pt x="99" y="46"/>
                  </a:lnTo>
                  <a:lnTo>
                    <a:pt x="98" y="46"/>
                  </a:lnTo>
                  <a:lnTo>
                    <a:pt x="97" y="47"/>
                  </a:lnTo>
                  <a:lnTo>
                    <a:pt x="96" y="46"/>
                  </a:lnTo>
                  <a:lnTo>
                    <a:pt x="96" y="47"/>
                  </a:lnTo>
                  <a:lnTo>
                    <a:pt x="94" y="47"/>
                  </a:lnTo>
                  <a:lnTo>
                    <a:pt x="94" y="46"/>
                  </a:lnTo>
                  <a:lnTo>
                    <a:pt x="93" y="45"/>
                  </a:lnTo>
                  <a:lnTo>
                    <a:pt x="93" y="46"/>
                  </a:lnTo>
                  <a:lnTo>
                    <a:pt x="92" y="46"/>
                  </a:lnTo>
                  <a:lnTo>
                    <a:pt x="92" y="47"/>
                  </a:lnTo>
                  <a:lnTo>
                    <a:pt x="93" y="47"/>
                  </a:lnTo>
                  <a:lnTo>
                    <a:pt x="92" y="48"/>
                  </a:lnTo>
                  <a:lnTo>
                    <a:pt x="92" y="47"/>
                  </a:lnTo>
                  <a:lnTo>
                    <a:pt x="91" y="46"/>
                  </a:lnTo>
                  <a:lnTo>
                    <a:pt x="91" y="47"/>
                  </a:lnTo>
                  <a:lnTo>
                    <a:pt x="89" y="47"/>
                  </a:lnTo>
                  <a:lnTo>
                    <a:pt x="89" y="46"/>
                  </a:lnTo>
                  <a:lnTo>
                    <a:pt x="89" y="45"/>
                  </a:lnTo>
                  <a:lnTo>
                    <a:pt x="88" y="45"/>
                  </a:lnTo>
                  <a:lnTo>
                    <a:pt x="87" y="45"/>
                  </a:lnTo>
                  <a:lnTo>
                    <a:pt x="86" y="45"/>
                  </a:lnTo>
                  <a:lnTo>
                    <a:pt x="86" y="46"/>
                  </a:lnTo>
                  <a:lnTo>
                    <a:pt x="85" y="46"/>
                  </a:lnTo>
                  <a:lnTo>
                    <a:pt x="86" y="46"/>
                  </a:lnTo>
                  <a:lnTo>
                    <a:pt x="86" y="48"/>
                  </a:lnTo>
                  <a:lnTo>
                    <a:pt x="87" y="48"/>
                  </a:lnTo>
                  <a:lnTo>
                    <a:pt x="87" y="50"/>
                  </a:lnTo>
                  <a:lnTo>
                    <a:pt x="88" y="50"/>
                  </a:lnTo>
                  <a:lnTo>
                    <a:pt x="88" y="51"/>
                  </a:lnTo>
                  <a:lnTo>
                    <a:pt x="89" y="51"/>
                  </a:lnTo>
                  <a:lnTo>
                    <a:pt x="89" y="52"/>
                  </a:lnTo>
                  <a:lnTo>
                    <a:pt x="88" y="52"/>
                  </a:lnTo>
                  <a:lnTo>
                    <a:pt x="87" y="51"/>
                  </a:lnTo>
                  <a:lnTo>
                    <a:pt x="87" y="52"/>
                  </a:lnTo>
                  <a:lnTo>
                    <a:pt x="86" y="52"/>
                  </a:lnTo>
                  <a:lnTo>
                    <a:pt x="85" y="52"/>
                  </a:lnTo>
                  <a:lnTo>
                    <a:pt x="85" y="51"/>
                  </a:lnTo>
                  <a:lnTo>
                    <a:pt x="83" y="51"/>
                  </a:lnTo>
                  <a:lnTo>
                    <a:pt x="82" y="52"/>
                  </a:lnTo>
                  <a:lnTo>
                    <a:pt x="82" y="53"/>
                  </a:lnTo>
                  <a:lnTo>
                    <a:pt x="83" y="53"/>
                  </a:lnTo>
                  <a:lnTo>
                    <a:pt x="85" y="54"/>
                  </a:lnTo>
                  <a:lnTo>
                    <a:pt x="86" y="54"/>
                  </a:lnTo>
                  <a:lnTo>
                    <a:pt x="87" y="54"/>
                  </a:lnTo>
                  <a:lnTo>
                    <a:pt x="88" y="54"/>
                  </a:lnTo>
                  <a:lnTo>
                    <a:pt x="89" y="54"/>
                  </a:lnTo>
                  <a:lnTo>
                    <a:pt x="91" y="53"/>
                  </a:lnTo>
                  <a:lnTo>
                    <a:pt x="91" y="52"/>
                  </a:lnTo>
                  <a:lnTo>
                    <a:pt x="92" y="52"/>
                  </a:lnTo>
                  <a:lnTo>
                    <a:pt x="93" y="52"/>
                  </a:lnTo>
                  <a:lnTo>
                    <a:pt x="94" y="51"/>
                  </a:lnTo>
                  <a:lnTo>
                    <a:pt x="96" y="50"/>
                  </a:lnTo>
                  <a:lnTo>
                    <a:pt x="97" y="50"/>
                  </a:lnTo>
                  <a:lnTo>
                    <a:pt x="98" y="51"/>
                  </a:lnTo>
                  <a:lnTo>
                    <a:pt x="97" y="52"/>
                  </a:lnTo>
                  <a:lnTo>
                    <a:pt x="97" y="51"/>
                  </a:lnTo>
                  <a:lnTo>
                    <a:pt x="96" y="51"/>
                  </a:lnTo>
                  <a:lnTo>
                    <a:pt x="94" y="52"/>
                  </a:lnTo>
                  <a:lnTo>
                    <a:pt x="94" y="53"/>
                  </a:lnTo>
                  <a:lnTo>
                    <a:pt x="94" y="54"/>
                  </a:lnTo>
                  <a:lnTo>
                    <a:pt x="93" y="54"/>
                  </a:lnTo>
                  <a:lnTo>
                    <a:pt x="93" y="53"/>
                  </a:lnTo>
                  <a:lnTo>
                    <a:pt x="92" y="53"/>
                  </a:lnTo>
                  <a:lnTo>
                    <a:pt x="92" y="54"/>
                  </a:lnTo>
                  <a:lnTo>
                    <a:pt x="92" y="56"/>
                  </a:lnTo>
                  <a:lnTo>
                    <a:pt x="91" y="56"/>
                  </a:lnTo>
                  <a:lnTo>
                    <a:pt x="91" y="57"/>
                  </a:lnTo>
                  <a:lnTo>
                    <a:pt x="89" y="57"/>
                  </a:lnTo>
                  <a:lnTo>
                    <a:pt x="89" y="56"/>
                  </a:lnTo>
                  <a:lnTo>
                    <a:pt x="88" y="56"/>
                  </a:lnTo>
                  <a:lnTo>
                    <a:pt x="88" y="57"/>
                  </a:lnTo>
                  <a:lnTo>
                    <a:pt x="87" y="57"/>
                  </a:lnTo>
                  <a:lnTo>
                    <a:pt x="87" y="56"/>
                  </a:lnTo>
                  <a:lnTo>
                    <a:pt x="86" y="56"/>
                  </a:lnTo>
                  <a:lnTo>
                    <a:pt x="85" y="56"/>
                  </a:lnTo>
                  <a:lnTo>
                    <a:pt x="83" y="56"/>
                  </a:lnTo>
                  <a:lnTo>
                    <a:pt x="83" y="54"/>
                  </a:lnTo>
                  <a:lnTo>
                    <a:pt x="82" y="54"/>
                  </a:lnTo>
                  <a:lnTo>
                    <a:pt x="81" y="54"/>
                  </a:lnTo>
                  <a:lnTo>
                    <a:pt x="80" y="53"/>
                  </a:lnTo>
                  <a:lnTo>
                    <a:pt x="80" y="52"/>
                  </a:lnTo>
                  <a:lnTo>
                    <a:pt x="79" y="51"/>
                  </a:lnTo>
                  <a:lnTo>
                    <a:pt x="77" y="51"/>
                  </a:lnTo>
                  <a:lnTo>
                    <a:pt x="77" y="50"/>
                  </a:lnTo>
                  <a:lnTo>
                    <a:pt x="76" y="50"/>
                  </a:lnTo>
                  <a:lnTo>
                    <a:pt x="75" y="50"/>
                  </a:lnTo>
                  <a:lnTo>
                    <a:pt x="75" y="51"/>
                  </a:lnTo>
                  <a:lnTo>
                    <a:pt x="76" y="51"/>
                  </a:lnTo>
                  <a:lnTo>
                    <a:pt x="76" y="53"/>
                  </a:lnTo>
                  <a:lnTo>
                    <a:pt x="75" y="53"/>
                  </a:lnTo>
                  <a:lnTo>
                    <a:pt x="74" y="52"/>
                  </a:lnTo>
                  <a:lnTo>
                    <a:pt x="73" y="52"/>
                  </a:lnTo>
                  <a:lnTo>
                    <a:pt x="71" y="52"/>
                  </a:lnTo>
                  <a:lnTo>
                    <a:pt x="70" y="52"/>
                  </a:lnTo>
                  <a:lnTo>
                    <a:pt x="70" y="51"/>
                  </a:lnTo>
                  <a:lnTo>
                    <a:pt x="69" y="51"/>
                  </a:lnTo>
                  <a:lnTo>
                    <a:pt x="68" y="51"/>
                  </a:lnTo>
                  <a:lnTo>
                    <a:pt x="67" y="50"/>
                  </a:lnTo>
                  <a:lnTo>
                    <a:pt x="67" y="48"/>
                  </a:lnTo>
                  <a:lnTo>
                    <a:pt x="65" y="48"/>
                  </a:lnTo>
                  <a:lnTo>
                    <a:pt x="64" y="48"/>
                  </a:lnTo>
                  <a:lnTo>
                    <a:pt x="64" y="50"/>
                  </a:lnTo>
                  <a:lnTo>
                    <a:pt x="65" y="51"/>
                  </a:lnTo>
                  <a:lnTo>
                    <a:pt x="64" y="52"/>
                  </a:lnTo>
                  <a:lnTo>
                    <a:pt x="63" y="52"/>
                  </a:lnTo>
                  <a:lnTo>
                    <a:pt x="63" y="51"/>
                  </a:lnTo>
                  <a:lnTo>
                    <a:pt x="63" y="50"/>
                  </a:lnTo>
                  <a:lnTo>
                    <a:pt x="62" y="50"/>
                  </a:lnTo>
                  <a:lnTo>
                    <a:pt x="61" y="51"/>
                  </a:lnTo>
                  <a:lnTo>
                    <a:pt x="59" y="51"/>
                  </a:lnTo>
                  <a:lnTo>
                    <a:pt x="61" y="52"/>
                  </a:lnTo>
                  <a:lnTo>
                    <a:pt x="62" y="53"/>
                  </a:lnTo>
                  <a:lnTo>
                    <a:pt x="62" y="54"/>
                  </a:lnTo>
                  <a:lnTo>
                    <a:pt x="63" y="54"/>
                  </a:lnTo>
                  <a:lnTo>
                    <a:pt x="64" y="54"/>
                  </a:lnTo>
                  <a:lnTo>
                    <a:pt x="64" y="56"/>
                  </a:lnTo>
                  <a:lnTo>
                    <a:pt x="63" y="56"/>
                  </a:lnTo>
                  <a:lnTo>
                    <a:pt x="62" y="56"/>
                  </a:lnTo>
                  <a:lnTo>
                    <a:pt x="62" y="57"/>
                  </a:lnTo>
                  <a:lnTo>
                    <a:pt x="63" y="57"/>
                  </a:lnTo>
                  <a:lnTo>
                    <a:pt x="64" y="58"/>
                  </a:lnTo>
                  <a:lnTo>
                    <a:pt x="65" y="58"/>
                  </a:lnTo>
                  <a:lnTo>
                    <a:pt x="67" y="58"/>
                  </a:lnTo>
                  <a:lnTo>
                    <a:pt x="68" y="58"/>
                  </a:lnTo>
                  <a:lnTo>
                    <a:pt x="69" y="58"/>
                  </a:lnTo>
                  <a:lnTo>
                    <a:pt x="69" y="59"/>
                  </a:lnTo>
                  <a:lnTo>
                    <a:pt x="69" y="60"/>
                  </a:lnTo>
                  <a:lnTo>
                    <a:pt x="70" y="60"/>
                  </a:lnTo>
                  <a:lnTo>
                    <a:pt x="71" y="60"/>
                  </a:lnTo>
                  <a:lnTo>
                    <a:pt x="71" y="59"/>
                  </a:lnTo>
                  <a:lnTo>
                    <a:pt x="73" y="60"/>
                  </a:lnTo>
                  <a:lnTo>
                    <a:pt x="74" y="60"/>
                  </a:lnTo>
                  <a:lnTo>
                    <a:pt x="75" y="60"/>
                  </a:lnTo>
                  <a:lnTo>
                    <a:pt x="75" y="59"/>
                  </a:lnTo>
                  <a:lnTo>
                    <a:pt x="76" y="58"/>
                  </a:lnTo>
                  <a:lnTo>
                    <a:pt x="76" y="59"/>
                  </a:lnTo>
                  <a:lnTo>
                    <a:pt x="77" y="59"/>
                  </a:lnTo>
                  <a:lnTo>
                    <a:pt x="79" y="60"/>
                  </a:lnTo>
                  <a:lnTo>
                    <a:pt x="77" y="60"/>
                  </a:lnTo>
                  <a:lnTo>
                    <a:pt x="77" y="62"/>
                  </a:lnTo>
                  <a:lnTo>
                    <a:pt x="79" y="62"/>
                  </a:lnTo>
                  <a:lnTo>
                    <a:pt x="77" y="63"/>
                  </a:lnTo>
                  <a:lnTo>
                    <a:pt x="76" y="63"/>
                  </a:lnTo>
                  <a:lnTo>
                    <a:pt x="75" y="64"/>
                  </a:lnTo>
                  <a:lnTo>
                    <a:pt x="76" y="65"/>
                  </a:lnTo>
                  <a:lnTo>
                    <a:pt x="77" y="65"/>
                  </a:lnTo>
                  <a:lnTo>
                    <a:pt x="77" y="66"/>
                  </a:lnTo>
                  <a:lnTo>
                    <a:pt x="79" y="66"/>
                  </a:lnTo>
                  <a:lnTo>
                    <a:pt x="79" y="68"/>
                  </a:lnTo>
                  <a:lnTo>
                    <a:pt x="77" y="68"/>
                  </a:lnTo>
                  <a:lnTo>
                    <a:pt x="79" y="69"/>
                  </a:lnTo>
                  <a:lnTo>
                    <a:pt x="80" y="69"/>
                  </a:lnTo>
                  <a:lnTo>
                    <a:pt x="81" y="69"/>
                  </a:lnTo>
                  <a:lnTo>
                    <a:pt x="80" y="70"/>
                  </a:lnTo>
                  <a:lnTo>
                    <a:pt x="80" y="71"/>
                  </a:lnTo>
                  <a:lnTo>
                    <a:pt x="79" y="71"/>
                  </a:lnTo>
                  <a:lnTo>
                    <a:pt x="77" y="71"/>
                  </a:lnTo>
                  <a:lnTo>
                    <a:pt x="77" y="73"/>
                  </a:lnTo>
                  <a:lnTo>
                    <a:pt x="79" y="74"/>
                  </a:lnTo>
                  <a:lnTo>
                    <a:pt x="80" y="74"/>
                  </a:lnTo>
                  <a:lnTo>
                    <a:pt x="80" y="75"/>
                  </a:lnTo>
                  <a:lnTo>
                    <a:pt x="81" y="74"/>
                  </a:lnTo>
                  <a:lnTo>
                    <a:pt x="81" y="75"/>
                  </a:lnTo>
                  <a:lnTo>
                    <a:pt x="82" y="76"/>
                  </a:lnTo>
                  <a:lnTo>
                    <a:pt x="83" y="76"/>
                  </a:lnTo>
                  <a:lnTo>
                    <a:pt x="85" y="76"/>
                  </a:lnTo>
                  <a:lnTo>
                    <a:pt x="85" y="75"/>
                  </a:lnTo>
                  <a:lnTo>
                    <a:pt x="86" y="75"/>
                  </a:lnTo>
                  <a:lnTo>
                    <a:pt x="87" y="75"/>
                  </a:lnTo>
                  <a:lnTo>
                    <a:pt x="87" y="74"/>
                  </a:lnTo>
                  <a:lnTo>
                    <a:pt x="88" y="74"/>
                  </a:lnTo>
                  <a:lnTo>
                    <a:pt x="89" y="74"/>
                  </a:lnTo>
                  <a:lnTo>
                    <a:pt x="91" y="74"/>
                  </a:lnTo>
                  <a:lnTo>
                    <a:pt x="92" y="74"/>
                  </a:lnTo>
                  <a:lnTo>
                    <a:pt x="92" y="75"/>
                  </a:lnTo>
                  <a:lnTo>
                    <a:pt x="93" y="75"/>
                  </a:lnTo>
                  <a:lnTo>
                    <a:pt x="94" y="74"/>
                  </a:lnTo>
                  <a:lnTo>
                    <a:pt x="94" y="73"/>
                  </a:lnTo>
                  <a:lnTo>
                    <a:pt x="94" y="74"/>
                  </a:lnTo>
                  <a:lnTo>
                    <a:pt x="96" y="74"/>
                  </a:lnTo>
                  <a:lnTo>
                    <a:pt x="97" y="74"/>
                  </a:lnTo>
                  <a:lnTo>
                    <a:pt x="97" y="73"/>
                  </a:lnTo>
                  <a:lnTo>
                    <a:pt x="98" y="71"/>
                  </a:lnTo>
                  <a:lnTo>
                    <a:pt x="99" y="70"/>
                  </a:lnTo>
                  <a:lnTo>
                    <a:pt x="100" y="71"/>
                  </a:lnTo>
                  <a:lnTo>
                    <a:pt x="102" y="71"/>
                  </a:lnTo>
                  <a:lnTo>
                    <a:pt x="103" y="71"/>
                  </a:lnTo>
                  <a:lnTo>
                    <a:pt x="104" y="71"/>
                  </a:lnTo>
                  <a:lnTo>
                    <a:pt x="105" y="71"/>
                  </a:lnTo>
                  <a:lnTo>
                    <a:pt x="105" y="73"/>
                  </a:lnTo>
                  <a:lnTo>
                    <a:pt x="104" y="73"/>
                  </a:lnTo>
                  <a:lnTo>
                    <a:pt x="103" y="73"/>
                  </a:lnTo>
                  <a:lnTo>
                    <a:pt x="103" y="74"/>
                  </a:lnTo>
                  <a:lnTo>
                    <a:pt x="103" y="75"/>
                  </a:lnTo>
                  <a:lnTo>
                    <a:pt x="102" y="75"/>
                  </a:lnTo>
                  <a:lnTo>
                    <a:pt x="100" y="75"/>
                  </a:lnTo>
                  <a:lnTo>
                    <a:pt x="99" y="76"/>
                  </a:lnTo>
                  <a:lnTo>
                    <a:pt x="98" y="76"/>
                  </a:lnTo>
                  <a:lnTo>
                    <a:pt x="98" y="77"/>
                  </a:lnTo>
                  <a:lnTo>
                    <a:pt x="98" y="79"/>
                  </a:lnTo>
                  <a:lnTo>
                    <a:pt x="99" y="79"/>
                  </a:lnTo>
                  <a:lnTo>
                    <a:pt x="100" y="79"/>
                  </a:lnTo>
                  <a:lnTo>
                    <a:pt x="100" y="77"/>
                  </a:lnTo>
                  <a:lnTo>
                    <a:pt x="102" y="77"/>
                  </a:lnTo>
                  <a:lnTo>
                    <a:pt x="102" y="76"/>
                  </a:lnTo>
                  <a:lnTo>
                    <a:pt x="103" y="76"/>
                  </a:lnTo>
                  <a:lnTo>
                    <a:pt x="104" y="76"/>
                  </a:lnTo>
                  <a:lnTo>
                    <a:pt x="104" y="75"/>
                  </a:lnTo>
                  <a:lnTo>
                    <a:pt x="105" y="75"/>
                  </a:lnTo>
                  <a:lnTo>
                    <a:pt x="106" y="74"/>
                  </a:lnTo>
                  <a:lnTo>
                    <a:pt x="106" y="75"/>
                  </a:lnTo>
                  <a:lnTo>
                    <a:pt x="105" y="75"/>
                  </a:lnTo>
                  <a:lnTo>
                    <a:pt x="104" y="76"/>
                  </a:lnTo>
                  <a:lnTo>
                    <a:pt x="105" y="76"/>
                  </a:lnTo>
                  <a:lnTo>
                    <a:pt x="106" y="76"/>
                  </a:lnTo>
                  <a:lnTo>
                    <a:pt x="106" y="75"/>
                  </a:lnTo>
                  <a:lnTo>
                    <a:pt x="108" y="75"/>
                  </a:lnTo>
                  <a:lnTo>
                    <a:pt x="108" y="74"/>
                  </a:lnTo>
                  <a:lnTo>
                    <a:pt x="109" y="75"/>
                  </a:lnTo>
                  <a:lnTo>
                    <a:pt x="108" y="76"/>
                  </a:lnTo>
                  <a:lnTo>
                    <a:pt x="106" y="76"/>
                  </a:lnTo>
                  <a:lnTo>
                    <a:pt x="106" y="77"/>
                  </a:lnTo>
                  <a:lnTo>
                    <a:pt x="108" y="77"/>
                  </a:lnTo>
                  <a:lnTo>
                    <a:pt x="106" y="79"/>
                  </a:lnTo>
                  <a:lnTo>
                    <a:pt x="105" y="79"/>
                  </a:lnTo>
                  <a:lnTo>
                    <a:pt x="104" y="80"/>
                  </a:lnTo>
                  <a:lnTo>
                    <a:pt x="104" y="79"/>
                  </a:lnTo>
                  <a:lnTo>
                    <a:pt x="103" y="79"/>
                  </a:lnTo>
                  <a:lnTo>
                    <a:pt x="103" y="80"/>
                  </a:lnTo>
                  <a:lnTo>
                    <a:pt x="104" y="81"/>
                  </a:lnTo>
                  <a:lnTo>
                    <a:pt x="103" y="81"/>
                  </a:lnTo>
                  <a:lnTo>
                    <a:pt x="103" y="82"/>
                  </a:lnTo>
                  <a:lnTo>
                    <a:pt x="102" y="83"/>
                  </a:lnTo>
                  <a:lnTo>
                    <a:pt x="102" y="85"/>
                  </a:lnTo>
                  <a:lnTo>
                    <a:pt x="103" y="85"/>
                  </a:lnTo>
                  <a:lnTo>
                    <a:pt x="104" y="85"/>
                  </a:lnTo>
                  <a:lnTo>
                    <a:pt x="105" y="85"/>
                  </a:lnTo>
                  <a:lnTo>
                    <a:pt x="106" y="85"/>
                  </a:lnTo>
                  <a:lnTo>
                    <a:pt x="108" y="83"/>
                  </a:lnTo>
                  <a:lnTo>
                    <a:pt x="109" y="83"/>
                  </a:lnTo>
                  <a:lnTo>
                    <a:pt x="109" y="82"/>
                  </a:lnTo>
                  <a:lnTo>
                    <a:pt x="108" y="81"/>
                  </a:lnTo>
                  <a:lnTo>
                    <a:pt x="108" y="80"/>
                  </a:lnTo>
                  <a:lnTo>
                    <a:pt x="109" y="80"/>
                  </a:lnTo>
                  <a:lnTo>
                    <a:pt x="109" y="79"/>
                  </a:lnTo>
                  <a:lnTo>
                    <a:pt x="109" y="77"/>
                  </a:lnTo>
                  <a:lnTo>
                    <a:pt x="110" y="77"/>
                  </a:lnTo>
                  <a:lnTo>
                    <a:pt x="110" y="76"/>
                  </a:lnTo>
                  <a:lnTo>
                    <a:pt x="110" y="75"/>
                  </a:lnTo>
                  <a:lnTo>
                    <a:pt x="110" y="74"/>
                  </a:lnTo>
                  <a:lnTo>
                    <a:pt x="111" y="74"/>
                  </a:lnTo>
                  <a:lnTo>
                    <a:pt x="111" y="73"/>
                  </a:lnTo>
                  <a:lnTo>
                    <a:pt x="110" y="71"/>
                  </a:lnTo>
                  <a:lnTo>
                    <a:pt x="111" y="70"/>
                  </a:lnTo>
                  <a:lnTo>
                    <a:pt x="112" y="70"/>
                  </a:lnTo>
                  <a:lnTo>
                    <a:pt x="114" y="70"/>
                  </a:lnTo>
                  <a:lnTo>
                    <a:pt x="115" y="69"/>
                  </a:lnTo>
                  <a:lnTo>
                    <a:pt x="116" y="69"/>
                  </a:lnTo>
                  <a:lnTo>
                    <a:pt x="118" y="69"/>
                  </a:lnTo>
                  <a:lnTo>
                    <a:pt x="120" y="69"/>
                  </a:lnTo>
                  <a:lnTo>
                    <a:pt x="120" y="70"/>
                  </a:lnTo>
                  <a:lnTo>
                    <a:pt x="121" y="70"/>
                  </a:lnTo>
                  <a:lnTo>
                    <a:pt x="122" y="70"/>
                  </a:lnTo>
                  <a:lnTo>
                    <a:pt x="123" y="70"/>
                  </a:lnTo>
                  <a:lnTo>
                    <a:pt x="122" y="71"/>
                  </a:lnTo>
                  <a:lnTo>
                    <a:pt x="121" y="71"/>
                  </a:lnTo>
                  <a:lnTo>
                    <a:pt x="121" y="73"/>
                  </a:lnTo>
                  <a:lnTo>
                    <a:pt x="122" y="73"/>
                  </a:lnTo>
                  <a:lnTo>
                    <a:pt x="123" y="73"/>
                  </a:lnTo>
                  <a:lnTo>
                    <a:pt x="124" y="73"/>
                  </a:lnTo>
                  <a:lnTo>
                    <a:pt x="123" y="74"/>
                  </a:lnTo>
                  <a:lnTo>
                    <a:pt x="122" y="75"/>
                  </a:lnTo>
                  <a:lnTo>
                    <a:pt x="121" y="75"/>
                  </a:lnTo>
                  <a:lnTo>
                    <a:pt x="120" y="75"/>
                  </a:lnTo>
                  <a:lnTo>
                    <a:pt x="120" y="76"/>
                  </a:lnTo>
                  <a:lnTo>
                    <a:pt x="120" y="77"/>
                  </a:lnTo>
                  <a:lnTo>
                    <a:pt x="118" y="76"/>
                  </a:lnTo>
                  <a:lnTo>
                    <a:pt x="117" y="77"/>
                  </a:lnTo>
                  <a:lnTo>
                    <a:pt x="117" y="76"/>
                  </a:lnTo>
                  <a:lnTo>
                    <a:pt x="116" y="75"/>
                  </a:lnTo>
                  <a:lnTo>
                    <a:pt x="115" y="76"/>
                  </a:lnTo>
                  <a:lnTo>
                    <a:pt x="114" y="75"/>
                  </a:lnTo>
                  <a:lnTo>
                    <a:pt x="112" y="75"/>
                  </a:lnTo>
                  <a:lnTo>
                    <a:pt x="112" y="76"/>
                  </a:lnTo>
                  <a:lnTo>
                    <a:pt x="114" y="76"/>
                  </a:lnTo>
                  <a:lnTo>
                    <a:pt x="114" y="77"/>
                  </a:lnTo>
                  <a:lnTo>
                    <a:pt x="115" y="77"/>
                  </a:lnTo>
                  <a:lnTo>
                    <a:pt x="116" y="77"/>
                  </a:lnTo>
                  <a:lnTo>
                    <a:pt x="115" y="79"/>
                  </a:lnTo>
                  <a:lnTo>
                    <a:pt x="114" y="79"/>
                  </a:lnTo>
                  <a:lnTo>
                    <a:pt x="112" y="79"/>
                  </a:lnTo>
                  <a:lnTo>
                    <a:pt x="112" y="80"/>
                  </a:lnTo>
                  <a:lnTo>
                    <a:pt x="114" y="80"/>
                  </a:lnTo>
                  <a:lnTo>
                    <a:pt x="115" y="80"/>
                  </a:lnTo>
                  <a:lnTo>
                    <a:pt x="116" y="80"/>
                  </a:lnTo>
                  <a:lnTo>
                    <a:pt x="117" y="79"/>
                  </a:lnTo>
                  <a:lnTo>
                    <a:pt x="118" y="79"/>
                  </a:lnTo>
                  <a:lnTo>
                    <a:pt x="118" y="80"/>
                  </a:lnTo>
                  <a:lnTo>
                    <a:pt x="120" y="80"/>
                  </a:lnTo>
                  <a:lnTo>
                    <a:pt x="120" y="79"/>
                  </a:lnTo>
                  <a:lnTo>
                    <a:pt x="121" y="79"/>
                  </a:lnTo>
                  <a:lnTo>
                    <a:pt x="122" y="79"/>
                  </a:lnTo>
                  <a:lnTo>
                    <a:pt x="122" y="77"/>
                  </a:lnTo>
                  <a:lnTo>
                    <a:pt x="122" y="76"/>
                  </a:lnTo>
                  <a:lnTo>
                    <a:pt x="123" y="75"/>
                  </a:lnTo>
                  <a:lnTo>
                    <a:pt x="124" y="74"/>
                  </a:lnTo>
                  <a:lnTo>
                    <a:pt x="126" y="73"/>
                  </a:lnTo>
                  <a:lnTo>
                    <a:pt x="127" y="73"/>
                  </a:lnTo>
                  <a:lnTo>
                    <a:pt x="126" y="74"/>
                  </a:lnTo>
                  <a:lnTo>
                    <a:pt x="126" y="75"/>
                  </a:lnTo>
                  <a:lnTo>
                    <a:pt x="126" y="76"/>
                  </a:lnTo>
                  <a:lnTo>
                    <a:pt x="126" y="77"/>
                  </a:lnTo>
                  <a:lnTo>
                    <a:pt x="127" y="77"/>
                  </a:lnTo>
                  <a:lnTo>
                    <a:pt x="128" y="79"/>
                  </a:lnTo>
                  <a:lnTo>
                    <a:pt x="130" y="79"/>
                  </a:lnTo>
                  <a:lnTo>
                    <a:pt x="130" y="80"/>
                  </a:lnTo>
                  <a:lnTo>
                    <a:pt x="129" y="80"/>
                  </a:lnTo>
                  <a:lnTo>
                    <a:pt x="128" y="80"/>
                  </a:lnTo>
                  <a:lnTo>
                    <a:pt x="127" y="80"/>
                  </a:lnTo>
                  <a:lnTo>
                    <a:pt x="126" y="81"/>
                  </a:lnTo>
                  <a:lnTo>
                    <a:pt x="124" y="81"/>
                  </a:lnTo>
                  <a:lnTo>
                    <a:pt x="126" y="82"/>
                  </a:lnTo>
                  <a:lnTo>
                    <a:pt x="127" y="81"/>
                  </a:lnTo>
                  <a:lnTo>
                    <a:pt x="128" y="81"/>
                  </a:lnTo>
                  <a:lnTo>
                    <a:pt x="127" y="82"/>
                  </a:lnTo>
                  <a:lnTo>
                    <a:pt x="126" y="82"/>
                  </a:lnTo>
                  <a:lnTo>
                    <a:pt x="124" y="83"/>
                  </a:lnTo>
                  <a:lnTo>
                    <a:pt x="123" y="83"/>
                  </a:lnTo>
                  <a:lnTo>
                    <a:pt x="122" y="85"/>
                  </a:lnTo>
                  <a:lnTo>
                    <a:pt x="121" y="86"/>
                  </a:lnTo>
                  <a:lnTo>
                    <a:pt x="120" y="87"/>
                  </a:lnTo>
                  <a:lnTo>
                    <a:pt x="120" y="88"/>
                  </a:lnTo>
                  <a:lnTo>
                    <a:pt x="118" y="88"/>
                  </a:lnTo>
                  <a:lnTo>
                    <a:pt x="118" y="87"/>
                  </a:lnTo>
                  <a:lnTo>
                    <a:pt x="117" y="87"/>
                  </a:lnTo>
                  <a:lnTo>
                    <a:pt x="116" y="87"/>
                  </a:lnTo>
                  <a:lnTo>
                    <a:pt x="116" y="88"/>
                  </a:lnTo>
                  <a:lnTo>
                    <a:pt x="116" y="89"/>
                  </a:lnTo>
                  <a:lnTo>
                    <a:pt x="117" y="89"/>
                  </a:lnTo>
                  <a:lnTo>
                    <a:pt x="116" y="91"/>
                  </a:lnTo>
                  <a:lnTo>
                    <a:pt x="115" y="91"/>
                  </a:lnTo>
                  <a:lnTo>
                    <a:pt x="114" y="91"/>
                  </a:lnTo>
                  <a:lnTo>
                    <a:pt x="112" y="89"/>
                  </a:lnTo>
                  <a:lnTo>
                    <a:pt x="112" y="88"/>
                  </a:lnTo>
                  <a:lnTo>
                    <a:pt x="111" y="88"/>
                  </a:lnTo>
                  <a:lnTo>
                    <a:pt x="111" y="89"/>
                  </a:lnTo>
                  <a:lnTo>
                    <a:pt x="110" y="89"/>
                  </a:lnTo>
                  <a:lnTo>
                    <a:pt x="109" y="89"/>
                  </a:lnTo>
                  <a:lnTo>
                    <a:pt x="109" y="91"/>
                  </a:lnTo>
                  <a:lnTo>
                    <a:pt x="110" y="92"/>
                  </a:lnTo>
                  <a:lnTo>
                    <a:pt x="111" y="92"/>
                  </a:lnTo>
                  <a:lnTo>
                    <a:pt x="114" y="92"/>
                  </a:lnTo>
                  <a:lnTo>
                    <a:pt x="115" y="92"/>
                  </a:lnTo>
                  <a:lnTo>
                    <a:pt x="112" y="92"/>
                  </a:lnTo>
                  <a:lnTo>
                    <a:pt x="111" y="92"/>
                  </a:lnTo>
                  <a:lnTo>
                    <a:pt x="110" y="93"/>
                  </a:lnTo>
                  <a:lnTo>
                    <a:pt x="110" y="94"/>
                  </a:lnTo>
                  <a:lnTo>
                    <a:pt x="109" y="94"/>
                  </a:lnTo>
                  <a:lnTo>
                    <a:pt x="110" y="94"/>
                  </a:lnTo>
                  <a:lnTo>
                    <a:pt x="111" y="94"/>
                  </a:lnTo>
                  <a:lnTo>
                    <a:pt x="112" y="94"/>
                  </a:lnTo>
                  <a:lnTo>
                    <a:pt x="114" y="94"/>
                  </a:lnTo>
                  <a:lnTo>
                    <a:pt x="114" y="95"/>
                  </a:lnTo>
                  <a:lnTo>
                    <a:pt x="112" y="95"/>
                  </a:lnTo>
                  <a:lnTo>
                    <a:pt x="111" y="95"/>
                  </a:lnTo>
                  <a:lnTo>
                    <a:pt x="110" y="95"/>
                  </a:lnTo>
                  <a:lnTo>
                    <a:pt x="109" y="95"/>
                  </a:lnTo>
                  <a:lnTo>
                    <a:pt x="109" y="97"/>
                  </a:lnTo>
                  <a:lnTo>
                    <a:pt x="110" y="97"/>
                  </a:lnTo>
                  <a:lnTo>
                    <a:pt x="110" y="98"/>
                  </a:lnTo>
                  <a:lnTo>
                    <a:pt x="111" y="98"/>
                  </a:lnTo>
                  <a:lnTo>
                    <a:pt x="110" y="99"/>
                  </a:lnTo>
                  <a:lnTo>
                    <a:pt x="110" y="100"/>
                  </a:lnTo>
                  <a:lnTo>
                    <a:pt x="109" y="100"/>
                  </a:lnTo>
                  <a:lnTo>
                    <a:pt x="109" y="101"/>
                  </a:lnTo>
                  <a:lnTo>
                    <a:pt x="108" y="101"/>
                  </a:lnTo>
                  <a:lnTo>
                    <a:pt x="108" y="103"/>
                  </a:lnTo>
                  <a:lnTo>
                    <a:pt x="106" y="103"/>
                  </a:lnTo>
                  <a:lnTo>
                    <a:pt x="106" y="101"/>
                  </a:lnTo>
                  <a:lnTo>
                    <a:pt x="105" y="101"/>
                  </a:lnTo>
                  <a:lnTo>
                    <a:pt x="104" y="101"/>
                  </a:lnTo>
                  <a:lnTo>
                    <a:pt x="104" y="103"/>
                  </a:lnTo>
                  <a:lnTo>
                    <a:pt x="103" y="103"/>
                  </a:lnTo>
                  <a:lnTo>
                    <a:pt x="103" y="101"/>
                  </a:lnTo>
                  <a:lnTo>
                    <a:pt x="103" y="103"/>
                  </a:lnTo>
                  <a:lnTo>
                    <a:pt x="102" y="103"/>
                  </a:lnTo>
                  <a:lnTo>
                    <a:pt x="102" y="104"/>
                  </a:lnTo>
                  <a:lnTo>
                    <a:pt x="102" y="103"/>
                  </a:lnTo>
                  <a:lnTo>
                    <a:pt x="100" y="103"/>
                  </a:lnTo>
                  <a:lnTo>
                    <a:pt x="99" y="103"/>
                  </a:lnTo>
                  <a:lnTo>
                    <a:pt x="99" y="104"/>
                  </a:lnTo>
                  <a:lnTo>
                    <a:pt x="98" y="104"/>
                  </a:lnTo>
                  <a:lnTo>
                    <a:pt x="97" y="104"/>
                  </a:lnTo>
                  <a:lnTo>
                    <a:pt x="97" y="105"/>
                  </a:lnTo>
                  <a:lnTo>
                    <a:pt x="96" y="104"/>
                  </a:lnTo>
                  <a:lnTo>
                    <a:pt x="94" y="104"/>
                  </a:lnTo>
                  <a:lnTo>
                    <a:pt x="93" y="104"/>
                  </a:lnTo>
                  <a:lnTo>
                    <a:pt x="92" y="104"/>
                  </a:lnTo>
                  <a:lnTo>
                    <a:pt x="91" y="104"/>
                  </a:lnTo>
                  <a:lnTo>
                    <a:pt x="91" y="105"/>
                  </a:lnTo>
                  <a:lnTo>
                    <a:pt x="91" y="106"/>
                  </a:lnTo>
                  <a:lnTo>
                    <a:pt x="92" y="106"/>
                  </a:lnTo>
                  <a:lnTo>
                    <a:pt x="92" y="107"/>
                  </a:lnTo>
                  <a:lnTo>
                    <a:pt x="92" y="109"/>
                  </a:lnTo>
                  <a:lnTo>
                    <a:pt x="93" y="110"/>
                  </a:lnTo>
                  <a:lnTo>
                    <a:pt x="94" y="110"/>
                  </a:lnTo>
                  <a:lnTo>
                    <a:pt x="94" y="111"/>
                  </a:lnTo>
                  <a:lnTo>
                    <a:pt x="93" y="111"/>
                  </a:lnTo>
                  <a:lnTo>
                    <a:pt x="92" y="111"/>
                  </a:lnTo>
                  <a:lnTo>
                    <a:pt x="91" y="111"/>
                  </a:lnTo>
                  <a:lnTo>
                    <a:pt x="91" y="110"/>
                  </a:lnTo>
                  <a:lnTo>
                    <a:pt x="92" y="110"/>
                  </a:lnTo>
                  <a:lnTo>
                    <a:pt x="92" y="109"/>
                  </a:lnTo>
                  <a:lnTo>
                    <a:pt x="91" y="109"/>
                  </a:lnTo>
                  <a:lnTo>
                    <a:pt x="89" y="109"/>
                  </a:lnTo>
                  <a:lnTo>
                    <a:pt x="91" y="107"/>
                  </a:lnTo>
                  <a:lnTo>
                    <a:pt x="91" y="106"/>
                  </a:lnTo>
                  <a:lnTo>
                    <a:pt x="89" y="106"/>
                  </a:lnTo>
                  <a:lnTo>
                    <a:pt x="89" y="107"/>
                  </a:lnTo>
                  <a:lnTo>
                    <a:pt x="88" y="107"/>
                  </a:lnTo>
                  <a:lnTo>
                    <a:pt x="87" y="107"/>
                  </a:lnTo>
                  <a:lnTo>
                    <a:pt x="87" y="109"/>
                  </a:lnTo>
                  <a:lnTo>
                    <a:pt x="86" y="109"/>
                  </a:lnTo>
                  <a:lnTo>
                    <a:pt x="86" y="107"/>
                  </a:lnTo>
                  <a:lnTo>
                    <a:pt x="85" y="107"/>
                  </a:lnTo>
                  <a:lnTo>
                    <a:pt x="83" y="107"/>
                  </a:lnTo>
                  <a:lnTo>
                    <a:pt x="83" y="109"/>
                  </a:lnTo>
                  <a:lnTo>
                    <a:pt x="82" y="110"/>
                  </a:lnTo>
                  <a:lnTo>
                    <a:pt x="83" y="111"/>
                  </a:lnTo>
                  <a:lnTo>
                    <a:pt x="85" y="111"/>
                  </a:lnTo>
                  <a:lnTo>
                    <a:pt x="85" y="112"/>
                  </a:lnTo>
                  <a:lnTo>
                    <a:pt x="86" y="112"/>
                  </a:lnTo>
                  <a:lnTo>
                    <a:pt x="85" y="112"/>
                  </a:lnTo>
                  <a:lnTo>
                    <a:pt x="83" y="111"/>
                  </a:lnTo>
                  <a:lnTo>
                    <a:pt x="82" y="111"/>
                  </a:lnTo>
                  <a:lnTo>
                    <a:pt x="82" y="110"/>
                  </a:lnTo>
                  <a:lnTo>
                    <a:pt x="82" y="109"/>
                  </a:lnTo>
                  <a:lnTo>
                    <a:pt x="83" y="107"/>
                  </a:lnTo>
                  <a:lnTo>
                    <a:pt x="83" y="106"/>
                  </a:lnTo>
                  <a:lnTo>
                    <a:pt x="82" y="105"/>
                  </a:lnTo>
                  <a:lnTo>
                    <a:pt x="82" y="104"/>
                  </a:lnTo>
                  <a:lnTo>
                    <a:pt x="82" y="103"/>
                  </a:lnTo>
                  <a:lnTo>
                    <a:pt x="82" y="101"/>
                  </a:lnTo>
                  <a:lnTo>
                    <a:pt x="80" y="103"/>
                  </a:lnTo>
                  <a:lnTo>
                    <a:pt x="80" y="104"/>
                  </a:lnTo>
                  <a:lnTo>
                    <a:pt x="79" y="104"/>
                  </a:lnTo>
                  <a:lnTo>
                    <a:pt x="79" y="103"/>
                  </a:lnTo>
                  <a:lnTo>
                    <a:pt x="77" y="103"/>
                  </a:lnTo>
                  <a:lnTo>
                    <a:pt x="77" y="101"/>
                  </a:lnTo>
                  <a:lnTo>
                    <a:pt x="76" y="101"/>
                  </a:lnTo>
                  <a:lnTo>
                    <a:pt x="75" y="101"/>
                  </a:lnTo>
                  <a:lnTo>
                    <a:pt x="75" y="100"/>
                  </a:lnTo>
                  <a:lnTo>
                    <a:pt x="76" y="100"/>
                  </a:lnTo>
                  <a:lnTo>
                    <a:pt x="76" y="99"/>
                  </a:lnTo>
                  <a:lnTo>
                    <a:pt x="76" y="98"/>
                  </a:lnTo>
                  <a:lnTo>
                    <a:pt x="75" y="97"/>
                  </a:lnTo>
                  <a:lnTo>
                    <a:pt x="74" y="97"/>
                  </a:lnTo>
                  <a:lnTo>
                    <a:pt x="73" y="97"/>
                  </a:lnTo>
                  <a:lnTo>
                    <a:pt x="73" y="98"/>
                  </a:lnTo>
                  <a:lnTo>
                    <a:pt x="71" y="98"/>
                  </a:lnTo>
                  <a:lnTo>
                    <a:pt x="73" y="99"/>
                  </a:lnTo>
                  <a:lnTo>
                    <a:pt x="71" y="100"/>
                  </a:lnTo>
                  <a:lnTo>
                    <a:pt x="73" y="101"/>
                  </a:lnTo>
                  <a:lnTo>
                    <a:pt x="73" y="103"/>
                  </a:lnTo>
                  <a:lnTo>
                    <a:pt x="73" y="104"/>
                  </a:lnTo>
                  <a:lnTo>
                    <a:pt x="73" y="105"/>
                  </a:lnTo>
                  <a:lnTo>
                    <a:pt x="74" y="105"/>
                  </a:lnTo>
                  <a:lnTo>
                    <a:pt x="74" y="106"/>
                  </a:lnTo>
                  <a:lnTo>
                    <a:pt x="74" y="107"/>
                  </a:lnTo>
                  <a:lnTo>
                    <a:pt x="73" y="107"/>
                  </a:lnTo>
                  <a:lnTo>
                    <a:pt x="73" y="106"/>
                  </a:lnTo>
                  <a:lnTo>
                    <a:pt x="73" y="105"/>
                  </a:lnTo>
                  <a:lnTo>
                    <a:pt x="71" y="105"/>
                  </a:lnTo>
                  <a:lnTo>
                    <a:pt x="71" y="104"/>
                  </a:lnTo>
                  <a:lnTo>
                    <a:pt x="71" y="103"/>
                  </a:lnTo>
                  <a:lnTo>
                    <a:pt x="70" y="103"/>
                  </a:lnTo>
                  <a:lnTo>
                    <a:pt x="70" y="101"/>
                  </a:lnTo>
                  <a:lnTo>
                    <a:pt x="69" y="101"/>
                  </a:lnTo>
                  <a:lnTo>
                    <a:pt x="68" y="103"/>
                  </a:lnTo>
                  <a:lnTo>
                    <a:pt x="68" y="104"/>
                  </a:lnTo>
                  <a:lnTo>
                    <a:pt x="69" y="104"/>
                  </a:lnTo>
                  <a:lnTo>
                    <a:pt x="69" y="105"/>
                  </a:lnTo>
                  <a:lnTo>
                    <a:pt x="70" y="105"/>
                  </a:lnTo>
                  <a:lnTo>
                    <a:pt x="70" y="106"/>
                  </a:lnTo>
                  <a:lnTo>
                    <a:pt x="69" y="106"/>
                  </a:lnTo>
                  <a:lnTo>
                    <a:pt x="69" y="105"/>
                  </a:lnTo>
                  <a:lnTo>
                    <a:pt x="68" y="105"/>
                  </a:lnTo>
                  <a:lnTo>
                    <a:pt x="68" y="104"/>
                  </a:lnTo>
                  <a:lnTo>
                    <a:pt x="67" y="104"/>
                  </a:lnTo>
                  <a:lnTo>
                    <a:pt x="67" y="103"/>
                  </a:lnTo>
                  <a:lnTo>
                    <a:pt x="67" y="101"/>
                  </a:lnTo>
                  <a:lnTo>
                    <a:pt x="65" y="101"/>
                  </a:lnTo>
                  <a:lnTo>
                    <a:pt x="67" y="100"/>
                  </a:lnTo>
                  <a:lnTo>
                    <a:pt x="67" y="99"/>
                  </a:lnTo>
                  <a:lnTo>
                    <a:pt x="65" y="99"/>
                  </a:lnTo>
                  <a:lnTo>
                    <a:pt x="64" y="99"/>
                  </a:lnTo>
                  <a:lnTo>
                    <a:pt x="63" y="99"/>
                  </a:lnTo>
                  <a:lnTo>
                    <a:pt x="63" y="98"/>
                  </a:lnTo>
                  <a:lnTo>
                    <a:pt x="62" y="97"/>
                  </a:lnTo>
                  <a:lnTo>
                    <a:pt x="62" y="95"/>
                  </a:lnTo>
                  <a:lnTo>
                    <a:pt x="61" y="95"/>
                  </a:lnTo>
                  <a:lnTo>
                    <a:pt x="61" y="94"/>
                  </a:lnTo>
                  <a:lnTo>
                    <a:pt x="59" y="94"/>
                  </a:lnTo>
                  <a:lnTo>
                    <a:pt x="58" y="94"/>
                  </a:lnTo>
                  <a:lnTo>
                    <a:pt x="58" y="95"/>
                  </a:lnTo>
                  <a:lnTo>
                    <a:pt x="57" y="97"/>
                  </a:lnTo>
                  <a:lnTo>
                    <a:pt x="58" y="97"/>
                  </a:lnTo>
                  <a:lnTo>
                    <a:pt x="58" y="98"/>
                  </a:lnTo>
                  <a:lnTo>
                    <a:pt x="59" y="99"/>
                  </a:lnTo>
                  <a:lnTo>
                    <a:pt x="61" y="99"/>
                  </a:lnTo>
                  <a:lnTo>
                    <a:pt x="62" y="100"/>
                  </a:lnTo>
                  <a:lnTo>
                    <a:pt x="62" y="101"/>
                  </a:lnTo>
                  <a:lnTo>
                    <a:pt x="61" y="100"/>
                  </a:lnTo>
                  <a:lnTo>
                    <a:pt x="59" y="99"/>
                  </a:lnTo>
                  <a:lnTo>
                    <a:pt x="59" y="100"/>
                  </a:lnTo>
                  <a:lnTo>
                    <a:pt x="58" y="100"/>
                  </a:lnTo>
                  <a:lnTo>
                    <a:pt x="58" y="99"/>
                  </a:lnTo>
                  <a:lnTo>
                    <a:pt x="57" y="98"/>
                  </a:lnTo>
                  <a:lnTo>
                    <a:pt x="57" y="99"/>
                  </a:lnTo>
                  <a:lnTo>
                    <a:pt x="56" y="99"/>
                  </a:lnTo>
                  <a:lnTo>
                    <a:pt x="56" y="98"/>
                  </a:lnTo>
                  <a:lnTo>
                    <a:pt x="55" y="97"/>
                  </a:lnTo>
                  <a:lnTo>
                    <a:pt x="53" y="97"/>
                  </a:lnTo>
                  <a:lnTo>
                    <a:pt x="53" y="98"/>
                  </a:lnTo>
                  <a:lnTo>
                    <a:pt x="52" y="97"/>
                  </a:lnTo>
                  <a:lnTo>
                    <a:pt x="53" y="95"/>
                  </a:lnTo>
                  <a:lnTo>
                    <a:pt x="53" y="94"/>
                  </a:lnTo>
                  <a:lnTo>
                    <a:pt x="52" y="94"/>
                  </a:lnTo>
                  <a:lnTo>
                    <a:pt x="51" y="94"/>
                  </a:lnTo>
                  <a:lnTo>
                    <a:pt x="50" y="94"/>
                  </a:lnTo>
                  <a:lnTo>
                    <a:pt x="49" y="94"/>
                  </a:lnTo>
                  <a:lnTo>
                    <a:pt x="47" y="94"/>
                  </a:lnTo>
                  <a:lnTo>
                    <a:pt x="47" y="93"/>
                  </a:lnTo>
                  <a:lnTo>
                    <a:pt x="46" y="93"/>
                  </a:lnTo>
                  <a:lnTo>
                    <a:pt x="44" y="93"/>
                  </a:lnTo>
                  <a:lnTo>
                    <a:pt x="44" y="94"/>
                  </a:lnTo>
                  <a:lnTo>
                    <a:pt x="43" y="94"/>
                  </a:lnTo>
                  <a:lnTo>
                    <a:pt x="43" y="93"/>
                  </a:lnTo>
                  <a:lnTo>
                    <a:pt x="43" y="92"/>
                  </a:lnTo>
                  <a:lnTo>
                    <a:pt x="43" y="91"/>
                  </a:lnTo>
                  <a:lnTo>
                    <a:pt x="41" y="91"/>
                  </a:lnTo>
                  <a:lnTo>
                    <a:pt x="40" y="91"/>
                  </a:lnTo>
                  <a:lnTo>
                    <a:pt x="40" y="89"/>
                  </a:lnTo>
                  <a:lnTo>
                    <a:pt x="40" y="88"/>
                  </a:lnTo>
                  <a:lnTo>
                    <a:pt x="39" y="88"/>
                  </a:lnTo>
                  <a:lnTo>
                    <a:pt x="38" y="88"/>
                  </a:lnTo>
                  <a:lnTo>
                    <a:pt x="39" y="88"/>
                  </a:lnTo>
                  <a:lnTo>
                    <a:pt x="39" y="89"/>
                  </a:lnTo>
                  <a:lnTo>
                    <a:pt x="38" y="89"/>
                  </a:lnTo>
                  <a:lnTo>
                    <a:pt x="38" y="88"/>
                  </a:lnTo>
                  <a:lnTo>
                    <a:pt x="37" y="88"/>
                  </a:lnTo>
                  <a:lnTo>
                    <a:pt x="35" y="87"/>
                  </a:lnTo>
                  <a:lnTo>
                    <a:pt x="34" y="87"/>
                  </a:lnTo>
                  <a:lnTo>
                    <a:pt x="33" y="87"/>
                  </a:lnTo>
                  <a:lnTo>
                    <a:pt x="33" y="89"/>
                  </a:lnTo>
                  <a:lnTo>
                    <a:pt x="34" y="89"/>
                  </a:lnTo>
                  <a:lnTo>
                    <a:pt x="34" y="91"/>
                  </a:lnTo>
                  <a:lnTo>
                    <a:pt x="35" y="92"/>
                  </a:lnTo>
                  <a:lnTo>
                    <a:pt x="34" y="92"/>
                  </a:lnTo>
                  <a:lnTo>
                    <a:pt x="34" y="93"/>
                  </a:lnTo>
                  <a:lnTo>
                    <a:pt x="34" y="94"/>
                  </a:lnTo>
                  <a:lnTo>
                    <a:pt x="35" y="94"/>
                  </a:lnTo>
                  <a:lnTo>
                    <a:pt x="37" y="95"/>
                  </a:lnTo>
                  <a:lnTo>
                    <a:pt x="38" y="95"/>
                  </a:lnTo>
                  <a:lnTo>
                    <a:pt x="39" y="95"/>
                  </a:lnTo>
                  <a:lnTo>
                    <a:pt x="39" y="97"/>
                  </a:lnTo>
                  <a:lnTo>
                    <a:pt x="38" y="97"/>
                  </a:lnTo>
                  <a:lnTo>
                    <a:pt x="37" y="97"/>
                  </a:lnTo>
                  <a:lnTo>
                    <a:pt x="37" y="98"/>
                  </a:lnTo>
                  <a:lnTo>
                    <a:pt x="38" y="98"/>
                  </a:lnTo>
                  <a:lnTo>
                    <a:pt x="38" y="99"/>
                  </a:lnTo>
                  <a:lnTo>
                    <a:pt x="39" y="100"/>
                  </a:lnTo>
                  <a:lnTo>
                    <a:pt x="40" y="100"/>
                  </a:lnTo>
                  <a:lnTo>
                    <a:pt x="41" y="100"/>
                  </a:lnTo>
                  <a:lnTo>
                    <a:pt x="41" y="101"/>
                  </a:lnTo>
                  <a:lnTo>
                    <a:pt x="40" y="101"/>
                  </a:lnTo>
                  <a:lnTo>
                    <a:pt x="39" y="100"/>
                  </a:lnTo>
                  <a:lnTo>
                    <a:pt x="38" y="100"/>
                  </a:lnTo>
                  <a:lnTo>
                    <a:pt x="38" y="99"/>
                  </a:lnTo>
                  <a:lnTo>
                    <a:pt x="37" y="99"/>
                  </a:lnTo>
                  <a:lnTo>
                    <a:pt x="37" y="100"/>
                  </a:lnTo>
                  <a:lnTo>
                    <a:pt x="35" y="100"/>
                  </a:lnTo>
                  <a:lnTo>
                    <a:pt x="35" y="99"/>
                  </a:lnTo>
                  <a:lnTo>
                    <a:pt x="34" y="100"/>
                  </a:lnTo>
                  <a:lnTo>
                    <a:pt x="33" y="100"/>
                  </a:lnTo>
                  <a:lnTo>
                    <a:pt x="32" y="101"/>
                  </a:lnTo>
                  <a:lnTo>
                    <a:pt x="32" y="103"/>
                  </a:lnTo>
                  <a:lnTo>
                    <a:pt x="33" y="103"/>
                  </a:lnTo>
                  <a:lnTo>
                    <a:pt x="34" y="103"/>
                  </a:lnTo>
                  <a:lnTo>
                    <a:pt x="34" y="104"/>
                  </a:lnTo>
                  <a:lnTo>
                    <a:pt x="35" y="105"/>
                  </a:lnTo>
                  <a:lnTo>
                    <a:pt x="37" y="105"/>
                  </a:lnTo>
                  <a:lnTo>
                    <a:pt x="38" y="105"/>
                  </a:lnTo>
                  <a:lnTo>
                    <a:pt x="39" y="105"/>
                  </a:lnTo>
                  <a:lnTo>
                    <a:pt x="39" y="106"/>
                  </a:lnTo>
                  <a:lnTo>
                    <a:pt x="40" y="107"/>
                  </a:lnTo>
                  <a:lnTo>
                    <a:pt x="41" y="107"/>
                  </a:lnTo>
                  <a:lnTo>
                    <a:pt x="43" y="107"/>
                  </a:lnTo>
                  <a:lnTo>
                    <a:pt x="44" y="107"/>
                  </a:lnTo>
                  <a:lnTo>
                    <a:pt x="45" y="109"/>
                  </a:lnTo>
                  <a:lnTo>
                    <a:pt x="46" y="109"/>
                  </a:lnTo>
                  <a:lnTo>
                    <a:pt x="47" y="109"/>
                  </a:lnTo>
                  <a:lnTo>
                    <a:pt x="49" y="110"/>
                  </a:lnTo>
                  <a:lnTo>
                    <a:pt x="47" y="111"/>
                  </a:lnTo>
                  <a:lnTo>
                    <a:pt x="46" y="111"/>
                  </a:lnTo>
                  <a:lnTo>
                    <a:pt x="45" y="111"/>
                  </a:lnTo>
                  <a:lnTo>
                    <a:pt x="45" y="112"/>
                  </a:lnTo>
                  <a:lnTo>
                    <a:pt x="46" y="113"/>
                  </a:lnTo>
                  <a:lnTo>
                    <a:pt x="47" y="113"/>
                  </a:lnTo>
                  <a:lnTo>
                    <a:pt x="49" y="113"/>
                  </a:lnTo>
                  <a:lnTo>
                    <a:pt x="50" y="112"/>
                  </a:lnTo>
                  <a:lnTo>
                    <a:pt x="51" y="112"/>
                  </a:lnTo>
                  <a:lnTo>
                    <a:pt x="51" y="113"/>
                  </a:lnTo>
                  <a:lnTo>
                    <a:pt x="52" y="113"/>
                  </a:lnTo>
                  <a:lnTo>
                    <a:pt x="53" y="113"/>
                  </a:lnTo>
                  <a:lnTo>
                    <a:pt x="55" y="113"/>
                  </a:lnTo>
                  <a:lnTo>
                    <a:pt x="55" y="115"/>
                  </a:lnTo>
                  <a:lnTo>
                    <a:pt x="53" y="116"/>
                  </a:lnTo>
                  <a:lnTo>
                    <a:pt x="52" y="115"/>
                  </a:lnTo>
                  <a:lnTo>
                    <a:pt x="51" y="115"/>
                  </a:lnTo>
                  <a:lnTo>
                    <a:pt x="51" y="116"/>
                  </a:lnTo>
                  <a:lnTo>
                    <a:pt x="50" y="116"/>
                  </a:lnTo>
                  <a:lnTo>
                    <a:pt x="49" y="116"/>
                  </a:lnTo>
                  <a:lnTo>
                    <a:pt x="47" y="116"/>
                  </a:lnTo>
                  <a:lnTo>
                    <a:pt x="46" y="117"/>
                  </a:lnTo>
                  <a:lnTo>
                    <a:pt x="46" y="118"/>
                  </a:lnTo>
                  <a:lnTo>
                    <a:pt x="46" y="119"/>
                  </a:lnTo>
                  <a:lnTo>
                    <a:pt x="47" y="119"/>
                  </a:lnTo>
                  <a:lnTo>
                    <a:pt x="49" y="119"/>
                  </a:lnTo>
                  <a:lnTo>
                    <a:pt x="50" y="119"/>
                  </a:lnTo>
                  <a:lnTo>
                    <a:pt x="51" y="119"/>
                  </a:lnTo>
                  <a:lnTo>
                    <a:pt x="51" y="118"/>
                  </a:lnTo>
                  <a:lnTo>
                    <a:pt x="52" y="118"/>
                  </a:lnTo>
                  <a:lnTo>
                    <a:pt x="53" y="118"/>
                  </a:lnTo>
                  <a:lnTo>
                    <a:pt x="53" y="119"/>
                  </a:lnTo>
                  <a:lnTo>
                    <a:pt x="52" y="119"/>
                  </a:lnTo>
                  <a:lnTo>
                    <a:pt x="51" y="121"/>
                  </a:lnTo>
                  <a:lnTo>
                    <a:pt x="52" y="121"/>
                  </a:lnTo>
                  <a:lnTo>
                    <a:pt x="52" y="122"/>
                  </a:lnTo>
                  <a:lnTo>
                    <a:pt x="53" y="122"/>
                  </a:lnTo>
                  <a:lnTo>
                    <a:pt x="55" y="123"/>
                  </a:lnTo>
                  <a:lnTo>
                    <a:pt x="56" y="123"/>
                  </a:lnTo>
                  <a:lnTo>
                    <a:pt x="56" y="124"/>
                  </a:lnTo>
                  <a:lnTo>
                    <a:pt x="55" y="124"/>
                  </a:lnTo>
                  <a:lnTo>
                    <a:pt x="53" y="124"/>
                  </a:lnTo>
                  <a:lnTo>
                    <a:pt x="52" y="124"/>
                  </a:lnTo>
                  <a:lnTo>
                    <a:pt x="52" y="125"/>
                  </a:lnTo>
                  <a:lnTo>
                    <a:pt x="52" y="127"/>
                  </a:lnTo>
                  <a:lnTo>
                    <a:pt x="52" y="128"/>
                  </a:lnTo>
                  <a:lnTo>
                    <a:pt x="51" y="129"/>
                  </a:lnTo>
                  <a:lnTo>
                    <a:pt x="52" y="130"/>
                  </a:lnTo>
                  <a:lnTo>
                    <a:pt x="53" y="130"/>
                  </a:lnTo>
                  <a:lnTo>
                    <a:pt x="55" y="131"/>
                  </a:lnTo>
                  <a:lnTo>
                    <a:pt x="55" y="133"/>
                  </a:lnTo>
                  <a:lnTo>
                    <a:pt x="53" y="134"/>
                  </a:lnTo>
                  <a:lnTo>
                    <a:pt x="52" y="134"/>
                  </a:lnTo>
                  <a:lnTo>
                    <a:pt x="53" y="134"/>
                  </a:lnTo>
                  <a:lnTo>
                    <a:pt x="55" y="134"/>
                  </a:lnTo>
                  <a:lnTo>
                    <a:pt x="56" y="135"/>
                  </a:lnTo>
                  <a:lnTo>
                    <a:pt x="58" y="136"/>
                  </a:lnTo>
                  <a:lnTo>
                    <a:pt x="57" y="137"/>
                  </a:lnTo>
                  <a:lnTo>
                    <a:pt x="56" y="137"/>
                  </a:lnTo>
                  <a:lnTo>
                    <a:pt x="56" y="139"/>
                  </a:lnTo>
                  <a:lnTo>
                    <a:pt x="55" y="139"/>
                  </a:lnTo>
                  <a:lnTo>
                    <a:pt x="53" y="140"/>
                  </a:lnTo>
                  <a:lnTo>
                    <a:pt x="52" y="140"/>
                  </a:lnTo>
                  <a:lnTo>
                    <a:pt x="52" y="139"/>
                  </a:lnTo>
                  <a:lnTo>
                    <a:pt x="51" y="140"/>
                  </a:lnTo>
                  <a:lnTo>
                    <a:pt x="51" y="141"/>
                  </a:lnTo>
                  <a:lnTo>
                    <a:pt x="52" y="141"/>
                  </a:lnTo>
                  <a:lnTo>
                    <a:pt x="51" y="142"/>
                  </a:lnTo>
                  <a:lnTo>
                    <a:pt x="51" y="143"/>
                  </a:lnTo>
                  <a:lnTo>
                    <a:pt x="50" y="143"/>
                  </a:lnTo>
                  <a:lnTo>
                    <a:pt x="50" y="142"/>
                  </a:lnTo>
                  <a:lnTo>
                    <a:pt x="49" y="142"/>
                  </a:lnTo>
                  <a:lnTo>
                    <a:pt x="49" y="143"/>
                  </a:lnTo>
                  <a:lnTo>
                    <a:pt x="49" y="145"/>
                  </a:lnTo>
                  <a:lnTo>
                    <a:pt x="47" y="145"/>
                  </a:lnTo>
                  <a:lnTo>
                    <a:pt x="46" y="143"/>
                  </a:lnTo>
                  <a:lnTo>
                    <a:pt x="45" y="143"/>
                  </a:lnTo>
                  <a:lnTo>
                    <a:pt x="45" y="145"/>
                  </a:lnTo>
                  <a:lnTo>
                    <a:pt x="44" y="145"/>
                  </a:lnTo>
                  <a:lnTo>
                    <a:pt x="44" y="146"/>
                  </a:lnTo>
                  <a:lnTo>
                    <a:pt x="41" y="146"/>
                  </a:lnTo>
                  <a:lnTo>
                    <a:pt x="40" y="146"/>
                  </a:lnTo>
                  <a:lnTo>
                    <a:pt x="39" y="146"/>
                  </a:lnTo>
                  <a:lnTo>
                    <a:pt x="39" y="145"/>
                  </a:lnTo>
                  <a:lnTo>
                    <a:pt x="38" y="145"/>
                  </a:lnTo>
                  <a:lnTo>
                    <a:pt x="37" y="145"/>
                  </a:lnTo>
                  <a:lnTo>
                    <a:pt x="37" y="146"/>
                  </a:lnTo>
                  <a:lnTo>
                    <a:pt x="38" y="146"/>
                  </a:lnTo>
                  <a:lnTo>
                    <a:pt x="38" y="147"/>
                  </a:lnTo>
                  <a:lnTo>
                    <a:pt x="38" y="148"/>
                  </a:lnTo>
                  <a:lnTo>
                    <a:pt x="39" y="148"/>
                  </a:lnTo>
                  <a:lnTo>
                    <a:pt x="40" y="149"/>
                  </a:lnTo>
                  <a:lnTo>
                    <a:pt x="39" y="149"/>
                  </a:lnTo>
                  <a:lnTo>
                    <a:pt x="38" y="151"/>
                  </a:lnTo>
                  <a:lnTo>
                    <a:pt x="38" y="152"/>
                  </a:lnTo>
                  <a:lnTo>
                    <a:pt x="39" y="151"/>
                  </a:lnTo>
                  <a:lnTo>
                    <a:pt x="39" y="152"/>
                  </a:lnTo>
                  <a:lnTo>
                    <a:pt x="40" y="152"/>
                  </a:lnTo>
                  <a:lnTo>
                    <a:pt x="41" y="152"/>
                  </a:lnTo>
                  <a:lnTo>
                    <a:pt x="43" y="152"/>
                  </a:lnTo>
                  <a:lnTo>
                    <a:pt x="44" y="151"/>
                  </a:lnTo>
                  <a:lnTo>
                    <a:pt x="43" y="149"/>
                  </a:lnTo>
                  <a:lnTo>
                    <a:pt x="41" y="149"/>
                  </a:lnTo>
                  <a:lnTo>
                    <a:pt x="43" y="148"/>
                  </a:lnTo>
                  <a:lnTo>
                    <a:pt x="43" y="149"/>
                  </a:lnTo>
                  <a:lnTo>
                    <a:pt x="44" y="148"/>
                  </a:lnTo>
                  <a:lnTo>
                    <a:pt x="45" y="147"/>
                  </a:lnTo>
                  <a:lnTo>
                    <a:pt x="46" y="146"/>
                  </a:lnTo>
                  <a:lnTo>
                    <a:pt x="47" y="146"/>
                  </a:lnTo>
                  <a:lnTo>
                    <a:pt x="49" y="146"/>
                  </a:lnTo>
                  <a:lnTo>
                    <a:pt x="50" y="146"/>
                  </a:lnTo>
                  <a:lnTo>
                    <a:pt x="51" y="146"/>
                  </a:lnTo>
                  <a:lnTo>
                    <a:pt x="52" y="146"/>
                  </a:lnTo>
                  <a:lnTo>
                    <a:pt x="52" y="145"/>
                  </a:lnTo>
                  <a:lnTo>
                    <a:pt x="53" y="145"/>
                  </a:lnTo>
                  <a:lnTo>
                    <a:pt x="53" y="146"/>
                  </a:lnTo>
                  <a:lnTo>
                    <a:pt x="55" y="146"/>
                  </a:lnTo>
                  <a:lnTo>
                    <a:pt x="56" y="147"/>
                  </a:lnTo>
                  <a:lnTo>
                    <a:pt x="57" y="147"/>
                  </a:lnTo>
                  <a:lnTo>
                    <a:pt x="57" y="148"/>
                  </a:lnTo>
                  <a:lnTo>
                    <a:pt x="56" y="148"/>
                  </a:lnTo>
                  <a:lnTo>
                    <a:pt x="55" y="148"/>
                  </a:lnTo>
                  <a:lnTo>
                    <a:pt x="53" y="148"/>
                  </a:lnTo>
                  <a:lnTo>
                    <a:pt x="52" y="148"/>
                  </a:lnTo>
                  <a:lnTo>
                    <a:pt x="51" y="149"/>
                  </a:lnTo>
                  <a:lnTo>
                    <a:pt x="51" y="148"/>
                  </a:lnTo>
                  <a:lnTo>
                    <a:pt x="50" y="148"/>
                  </a:lnTo>
                  <a:lnTo>
                    <a:pt x="49" y="147"/>
                  </a:lnTo>
                  <a:lnTo>
                    <a:pt x="49" y="148"/>
                  </a:lnTo>
                  <a:lnTo>
                    <a:pt x="47" y="148"/>
                  </a:lnTo>
                  <a:lnTo>
                    <a:pt x="46" y="148"/>
                  </a:lnTo>
                  <a:lnTo>
                    <a:pt x="45" y="148"/>
                  </a:lnTo>
                  <a:lnTo>
                    <a:pt x="44" y="149"/>
                  </a:lnTo>
                  <a:lnTo>
                    <a:pt x="44" y="151"/>
                  </a:lnTo>
                  <a:lnTo>
                    <a:pt x="45" y="151"/>
                  </a:lnTo>
                  <a:lnTo>
                    <a:pt x="46" y="151"/>
                  </a:lnTo>
                  <a:lnTo>
                    <a:pt x="47" y="151"/>
                  </a:lnTo>
                  <a:lnTo>
                    <a:pt x="47" y="149"/>
                  </a:lnTo>
                  <a:lnTo>
                    <a:pt x="47" y="151"/>
                  </a:lnTo>
                  <a:lnTo>
                    <a:pt x="49" y="151"/>
                  </a:lnTo>
                  <a:lnTo>
                    <a:pt x="47" y="151"/>
                  </a:lnTo>
                  <a:lnTo>
                    <a:pt x="47" y="152"/>
                  </a:lnTo>
                  <a:lnTo>
                    <a:pt x="47" y="153"/>
                  </a:lnTo>
                  <a:lnTo>
                    <a:pt x="46" y="152"/>
                  </a:lnTo>
                  <a:lnTo>
                    <a:pt x="46" y="151"/>
                  </a:lnTo>
                  <a:lnTo>
                    <a:pt x="45" y="151"/>
                  </a:lnTo>
                  <a:lnTo>
                    <a:pt x="45" y="152"/>
                  </a:lnTo>
                  <a:lnTo>
                    <a:pt x="45" y="153"/>
                  </a:lnTo>
                  <a:lnTo>
                    <a:pt x="44" y="153"/>
                  </a:lnTo>
                  <a:lnTo>
                    <a:pt x="45" y="154"/>
                  </a:lnTo>
                  <a:lnTo>
                    <a:pt x="45" y="155"/>
                  </a:lnTo>
                  <a:lnTo>
                    <a:pt x="44" y="155"/>
                  </a:lnTo>
                  <a:lnTo>
                    <a:pt x="43" y="157"/>
                  </a:lnTo>
                  <a:lnTo>
                    <a:pt x="43" y="155"/>
                  </a:lnTo>
                  <a:lnTo>
                    <a:pt x="41" y="154"/>
                  </a:lnTo>
                  <a:lnTo>
                    <a:pt x="40" y="154"/>
                  </a:lnTo>
                  <a:lnTo>
                    <a:pt x="40" y="155"/>
                  </a:lnTo>
                  <a:lnTo>
                    <a:pt x="40" y="157"/>
                  </a:lnTo>
                  <a:lnTo>
                    <a:pt x="39" y="155"/>
                  </a:lnTo>
                  <a:lnTo>
                    <a:pt x="39" y="154"/>
                  </a:lnTo>
                  <a:lnTo>
                    <a:pt x="39" y="153"/>
                  </a:lnTo>
                  <a:lnTo>
                    <a:pt x="38" y="153"/>
                  </a:lnTo>
                  <a:lnTo>
                    <a:pt x="37" y="154"/>
                  </a:lnTo>
                  <a:lnTo>
                    <a:pt x="35" y="154"/>
                  </a:lnTo>
                  <a:lnTo>
                    <a:pt x="35" y="155"/>
                  </a:lnTo>
                  <a:lnTo>
                    <a:pt x="34" y="154"/>
                  </a:lnTo>
                  <a:lnTo>
                    <a:pt x="35" y="153"/>
                  </a:lnTo>
                  <a:lnTo>
                    <a:pt x="37" y="153"/>
                  </a:lnTo>
                  <a:lnTo>
                    <a:pt x="35" y="152"/>
                  </a:lnTo>
                  <a:lnTo>
                    <a:pt x="34" y="152"/>
                  </a:lnTo>
                  <a:lnTo>
                    <a:pt x="34" y="151"/>
                  </a:lnTo>
                  <a:lnTo>
                    <a:pt x="33" y="151"/>
                  </a:lnTo>
                  <a:lnTo>
                    <a:pt x="33" y="149"/>
                  </a:lnTo>
                  <a:lnTo>
                    <a:pt x="32" y="151"/>
                  </a:lnTo>
                  <a:lnTo>
                    <a:pt x="30" y="151"/>
                  </a:lnTo>
                  <a:lnTo>
                    <a:pt x="32" y="152"/>
                  </a:lnTo>
                  <a:lnTo>
                    <a:pt x="32" y="153"/>
                  </a:lnTo>
                  <a:lnTo>
                    <a:pt x="30" y="153"/>
                  </a:lnTo>
                  <a:lnTo>
                    <a:pt x="32" y="153"/>
                  </a:lnTo>
                  <a:lnTo>
                    <a:pt x="30" y="154"/>
                  </a:lnTo>
                  <a:lnTo>
                    <a:pt x="29" y="153"/>
                  </a:lnTo>
                  <a:lnTo>
                    <a:pt x="29" y="152"/>
                  </a:lnTo>
                  <a:lnTo>
                    <a:pt x="28" y="152"/>
                  </a:lnTo>
                  <a:lnTo>
                    <a:pt x="28" y="151"/>
                  </a:lnTo>
                  <a:lnTo>
                    <a:pt x="29" y="151"/>
                  </a:lnTo>
                  <a:lnTo>
                    <a:pt x="29" y="149"/>
                  </a:lnTo>
                  <a:lnTo>
                    <a:pt x="28" y="148"/>
                  </a:lnTo>
                  <a:lnTo>
                    <a:pt x="27" y="149"/>
                  </a:lnTo>
                  <a:lnTo>
                    <a:pt x="27" y="148"/>
                  </a:lnTo>
                  <a:lnTo>
                    <a:pt x="27" y="147"/>
                  </a:lnTo>
                  <a:lnTo>
                    <a:pt x="26" y="146"/>
                  </a:lnTo>
                  <a:lnTo>
                    <a:pt x="24" y="146"/>
                  </a:lnTo>
                  <a:lnTo>
                    <a:pt x="24" y="147"/>
                  </a:lnTo>
                  <a:lnTo>
                    <a:pt x="24" y="148"/>
                  </a:lnTo>
                  <a:lnTo>
                    <a:pt x="24" y="149"/>
                  </a:lnTo>
                  <a:lnTo>
                    <a:pt x="23" y="149"/>
                  </a:lnTo>
                  <a:lnTo>
                    <a:pt x="23" y="151"/>
                  </a:lnTo>
                  <a:lnTo>
                    <a:pt x="24" y="151"/>
                  </a:lnTo>
                  <a:lnTo>
                    <a:pt x="24" y="152"/>
                  </a:lnTo>
                  <a:lnTo>
                    <a:pt x="26" y="152"/>
                  </a:lnTo>
                  <a:lnTo>
                    <a:pt x="27" y="153"/>
                  </a:lnTo>
                  <a:lnTo>
                    <a:pt x="26" y="154"/>
                  </a:lnTo>
                  <a:lnTo>
                    <a:pt x="27" y="154"/>
                  </a:lnTo>
                  <a:lnTo>
                    <a:pt x="27" y="155"/>
                  </a:lnTo>
                  <a:lnTo>
                    <a:pt x="26" y="155"/>
                  </a:lnTo>
                  <a:lnTo>
                    <a:pt x="26" y="154"/>
                  </a:lnTo>
                  <a:lnTo>
                    <a:pt x="24" y="154"/>
                  </a:lnTo>
                  <a:lnTo>
                    <a:pt x="26" y="155"/>
                  </a:lnTo>
                  <a:lnTo>
                    <a:pt x="26" y="157"/>
                  </a:lnTo>
                  <a:lnTo>
                    <a:pt x="27" y="158"/>
                  </a:lnTo>
                  <a:lnTo>
                    <a:pt x="26" y="158"/>
                  </a:lnTo>
                  <a:lnTo>
                    <a:pt x="26" y="157"/>
                  </a:lnTo>
                  <a:lnTo>
                    <a:pt x="24" y="157"/>
                  </a:lnTo>
                  <a:lnTo>
                    <a:pt x="24" y="158"/>
                  </a:lnTo>
                  <a:lnTo>
                    <a:pt x="23" y="158"/>
                  </a:lnTo>
                  <a:lnTo>
                    <a:pt x="23" y="157"/>
                  </a:lnTo>
                  <a:lnTo>
                    <a:pt x="23" y="155"/>
                  </a:lnTo>
                  <a:lnTo>
                    <a:pt x="23" y="154"/>
                  </a:lnTo>
                  <a:lnTo>
                    <a:pt x="22" y="154"/>
                  </a:lnTo>
                  <a:lnTo>
                    <a:pt x="22" y="153"/>
                  </a:lnTo>
                  <a:lnTo>
                    <a:pt x="21" y="153"/>
                  </a:lnTo>
                  <a:lnTo>
                    <a:pt x="21" y="154"/>
                  </a:lnTo>
                  <a:lnTo>
                    <a:pt x="20" y="154"/>
                  </a:lnTo>
                  <a:lnTo>
                    <a:pt x="20" y="155"/>
                  </a:lnTo>
                  <a:lnTo>
                    <a:pt x="18" y="155"/>
                  </a:lnTo>
                  <a:lnTo>
                    <a:pt x="17" y="155"/>
                  </a:lnTo>
                  <a:lnTo>
                    <a:pt x="16" y="155"/>
                  </a:lnTo>
                  <a:lnTo>
                    <a:pt x="16" y="154"/>
                  </a:lnTo>
                  <a:lnTo>
                    <a:pt x="17" y="154"/>
                  </a:lnTo>
                  <a:lnTo>
                    <a:pt x="17" y="153"/>
                  </a:lnTo>
                  <a:lnTo>
                    <a:pt x="16" y="152"/>
                  </a:lnTo>
                  <a:lnTo>
                    <a:pt x="15" y="153"/>
                  </a:lnTo>
                  <a:lnTo>
                    <a:pt x="15" y="154"/>
                  </a:lnTo>
                  <a:lnTo>
                    <a:pt x="15" y="153"/>
                  </a:lnTo>
                  <a:lnTo>
                    <a:pt x="14" y="153"/>
                  </a:lnTo>
                  <a:lnTo>
                    <a:pt x="14" y="152"/>
                  </a:lnTo>
                  <a:lnTo>
                    <a:pt x="12" y="151"/>
                  </a:lnTo>
                  <a:lnTo>
                    <a:pt x="11" y="152"/>
                  </a:lnTo>
                  <a:lnTo>
                    <a:pt x="10" y="152"/>
                  </a:lnTo>
                  <a:lnTo>
                    <a:pt x="10" y="153"/>
                  </a:lnTo>
                  <a:lnTo>
                    <a:pt x="11" y="154"/>
                  </a:lnTo>
                  <a:lnTo>
                    <a:pt x="12" y="154"/>
                  </a:lnTo>
                  <a:lnTo>
                    <a:pt x="12" y="155"/>
                  </a:lnTo>
                  <a:lnTo>
                    <a:pt x="12" y="157"/>
                  </a:lnTo>
                  <a:lnTo>
                    <a:pt x="11" y="157"/>
                  </a:lnTo>
                  <a:lnTo>
                    <a:pt x="11" y="155"/>
                  </a:lnTo>
                  <a:lnTo>
                    <a:pt x="11" y="154"/>
                  </a:lnTo>
                  <a:lnTo>
                    <a:pt x="10" y="153"/>
                  </a:lnTo>
                  <a:lnTo>
                    <a:pt x="9" y="153"/>
                  </a:lnTo>
                  <a:lnTo>
                    <a:pt x="8" y="154"/>
                  </a:lnTo>
                  <a:lnTo>
                    <a:pt x="8" y="153"/>
                  </a:lnTo>
                  <a:lnTo>
                    <a:pt x="9" y="152"/>
                  </a:lnTo>
                  <a:lnTo>
                    <a:pt x="9" y="151"/>
                  </a:lnTo>
                  <a:lnTo>
                    <a:pt x="8" y="151"/>
                  </a:lnTo>
                  <a:lnTo>
                    <a:pt x="6" y="151"/>
                  </a:lnTo>
                  <a:lnTo>
                    <a:pt x="6" y="152"/>
                  </a:lnTo>
                  <a:lnTo>
                    <a:pt x="6" y="153"/>
                  </a:lnTo>
                  <a:lnTo>
                    <a:pt x="5" y="153"/>
                  </a:lnTo>
                  <a:lnTo>
                    <a:pt x="5" y="152"/>
                  </a:lnTo>
                  <a:lnTo>
                    <a:pt x="5" y="151"/>
                  </a:lnTo>
                  <a:lnTo>
                    <a:pt x="4" y="151"/>
                  </a:lnTo>
                  <a:lnTo>
                    <a:pt x="3" y="151"/>
                  </a:lnTo>
                  <a:lnTo>
                    <a:pt x="2" y="151"/>
                  </a:lnTo>
                  <a:lnTo>
                    <a:pt x="0" y="151"/>
                  </a:lnTo>
                  <a:lnTo>
                    <a:pt x="0" y="152"/>
                  </a:lnTo>
                  <a:lnTo>
                    <a:pt x="2" y="153"/>
                  </a:lnTo>
                  <a:lnTo>
                    <a:pt x="2" y="154"/>
                  </a:lnTo>
                  <a:lnTo>
                    <a:pt x="3" y="154"/>
                  </a:lnTo>
                  <a:lnTo>
                    <a:pt x="4" y="154"/>
                  </a:lnTo>
                  <a:lnTo>
                    <a:pt x="4" y="155"/>
                  </a:lnTo>
                  <a:lnTo>
                    <a:pt x="5" y="157"/>
                  </a:lnTo>
                  <a:lnTo>
                    <a:pt x="5" y="158"/>
                  </a:lnTo>
                  <a:lnTo>
                    <a:pt x="4" y="158"/>
                  </a:lnTo>
                  <a:lnTo>
                    <a:pt x="5" y="159"/>
                  </a:lnTo>
                  <a:lnTo>
                    <a:pt x="4" y="159"/>
                  </a:lnTo>
                  <a:lnTo>
                    <a:pt x="4" y="160"/>
                  </a:lnTo>
                  <a:lnTo>
                    <a:pt x="5" y="161"/>
                  </a:lnTo>
                  <a:lnTo>
                    <a:pt x="5" y="163"/>
                  </a:lnTo>
                  <a:lnTo>
                    <a:pt x="6" y="163"/>
                  </a:lnTo>
                  <a:lnTo>
                    <a:pt x="8" y="164"/>
                  </a:lnTo>
                  <a:lnTo>
                    <a:pt x="9" y="164"/>
                  </a:lnTo>
                  <a:lnTo>
                    <a:pt x="10" y="164"/>
                  </a:lnTo>
                  <a:lnTo>
                    <a:pt x="11" y="163"/>
                  </a:lnTo>
                  <a:lnTo>
                    <a:pt x="12" y="163"/>
                  </a:lnTo>
                  <a:lnTo>
                    <a:pt x="12" y="164"/>
                  </a:lnTo>
                  <a:lnTo>
                    <a:pt x="14" y="164"/>
                  </a:lnTo>
                  <a:lnTo>
                    <a:pt x="15" y="164"/>
                  </a:lnTo>
                  <a:lnTo>
                    <a:pt x="15" y="163"/>
                  </a:lnTo>
                  <a:lnTo>
                    <a:pt x="16" y="164"/>
                  </a:lnTo>
                  <a:lnTo>
                    <a:pt x="17" y="164"/>
                  </a:lnTo>
                  <a:lnTo>
                    <a:pt x="16" y="164"/>
                  </a:lnTo>
                  <a:lnTo>
                    <a:pt x="15" y="164"/>
                  </a:lnTo>
                  <a:lnTo>
                    <a:pt x="14" y="165"/>
                  </a:lnTo>
                  <a:lnTo>
                    <a:pt x="14" y="164"/>
                  </a:lnTo>
                  <a:lnTo>
                    <a:pt x="12" y="164"/>
                  </a:lnTo>
                  <a:lnTo>
                    <a:pt x="11" y="164"/>
                  </a:lnTo>
                  <a:lnTo>
                    <a:pt x="10" y="165"/>
                  </a:lnTo>
                  <a:lnTo>
                    <a:pt x="9" y="165"/>
                  </a:lnTo>
                  <a:lnTo>
                    <a:pt x="8" y="165"/>
                  </a:lnTo>
                  <a:lnTo>
                    <a:pt x="8" y="164"/>
                  </a:lnTo>
                  <a:lnTo>
                    <a:pt x="8" y="165"/>
                  </a:lnTo>
                  <a:lnTo>
                    <a:pt x="6" y="166"/>
                  </a:lnTo>
                  <a:lnTo>
                    <a:pt x="8" y="166"/>
                  </a:lnTo>
                  <a:lnTo>
                    <a:pt x="8" y="167"/>
                  </a:lnTo>
                  <a:lnTo>
                    <a:pt x="9" y="167"/>
                  </a:lnTo>
                  <a:lnTo>
                    <a:pt x="10" y="167"/>
                  </a:lnTo>
                  <a:lnTo>
                    <a:pt x="10" y="166"/>
                  </a:lnTo>
                  <a:lnTo>
                    <a:pt x="11" y="167"/>
                  </a:lnTo>
                  <a:lnTo>
                    <a:pt x="12" y="167"/>
                  </a:lnTo>
                  <a:lnTo>
                    <a:pt x="14" y="167"/>
                  </a:lnTo>
                  <a:lnTo>
                    <a:pt x="15" y="167"/>
                  </a:lnTo>
                  <a:lnTo>
                    <a:pt x="16" y="167"/>
                  </a:lnTo>
                  <a:lnTo>
                    <a:pt x="17" y="167"/>
                  </a:lnTo>
                  <a:lnTo>
                    <a:pt x="16" y="169"/>
                  </a:lnTo>
                  <a:lnTo>
                    <a:pt x="16" y="167"/>
                  </a:lnTo>
                  <a:lnTo>
                    <a:pt x="15" y="167"/>
                  </a:lnTo>
                  <a:lnTo>
                    <a:pt x="14" y="167"/>
                  </a:lnTo>
                  <a:lnTo>
                    <a:pt x="14" y="169"/>
                  </a:lnTo>
                  <a:lnTo>
                    <a:pt x="15" y="169"/>
                  </a:lnTo>
                  <a:lnTo>
                    <a:pt x="15" y="170"/>
                  </a:lnTo>
                  <a:lnTo>
                    <a:pt x="15" y="171"/>
                  </a:lnTo>
                  <a:lnTo>
                    <a:pt x="14" y="171"/>
                  </a:lnTo>
                  <a:lnTo>
                    <a:pt x="14" y="170"/>
                  </a:lnTo>
                  <a:lnTo>
                    <a:pt x="12" y="170"/>
                  </a:lnTo>
                  <a:lnTo>
                    <a:pt x="11" y="170"/>
                  </a:lnTo>
                  <a:lnTo>
                    <a:pt x="10" y="170"/>
                  </a:lnTo>
                  <a:lnTo>
                    <a:pt x="10" y="171"/>
                  </a:lnTo>
                  <a:lnTo>
                    <a:pt x="9" y="171"/>
                  </a:lnTo>
                  <a:lnTo>
                    <a:pt x="10" y="172"/>
                  </a:lnTo>
                  <a:lnTo>
                    <a:pt x="11" y="172"/>
                  </a:lnTo>
                  <a:lnTo>
                    <a:pt x="11" y="173"/>
                  </a:lnTo>
                  <a:lnTo>
                    <a:pt x="12" y="173"/>
                  </a:lnTo>
                  <a:lnTo>
                    <a:pt x="11" y="173"/>
                  </a:lnTo>
                  <a:lnTo>
                    <a:pt x="10" y="173"/>
                  </a:lnTo>
                  <a:lnTo>
                    <a:pt x="9" y="173"/>
                  </a:lnTo>
                  <a:lnTo>
                    <a:pt x="9" y="175"/>
                  </a:lnTo>
                  <a:lnTo>
                    <a:pt x="10" y="176"/>
                  </a:lnTo>
                  <a:lnTo>
                    <a:pt x="9" y="176"/>
                  </a:lnTo>
                  <a:lnTo>
                    <a:pt x="8" y="176"/>
                  </a:lnTo>
                  <a:lnTo>
                    <a:pt x="8" y="177"/>
                  </a:lnTo>
                  <a:lnTo>
                    <a:pt x="9" y="178"/>
                  </a:lnTo>
                  <a:lnTo>
                    <a:pt x="8" y="178"/>
                  </a:lnTo>
                  <a:lnTo>
                    <a:pt x="8" y="177"/>
                  </a:lnTo>
                  <a:lnTo>
                    <a:pt x="8" y="176"/>
                  </a:lnTo>
                  <a:lnTo>
                    <a:pt x="6" y="176"/>
                  </a:lnTo>
                  <a:lnTo>
                    <a:pt x="6" y="177"/>
                  </a:lnTo>
                  <a:lnTo>
                    <a:pt x="5" y="177"/>
                  </a:lnTo>
                  <a:lnTo>
                    <a:pt x="5" y="178"/>
                  </a:lnTo>
                  <a:lnTo>
                    <a:pt x="5" y="177"/>
                  </a:lnTo>
                  <a:lnTo>
                    <a:pt x="4" y="177"/>
                  </a:lnTo>
                  <a:lnTo>
                    <a:pt x="3" y="177"/>
                  </a:lnTo>
                  <a:lnTo>
                    <a:pt x="2" y="178"/>
                  </a:lnTo>
                  <a:lnTo>
                    <a:pt x="2" y="180"/>
                  </a:lnTo>
                  <a:lnTo>
                    <a:pt x="2" y="181"/>
                  </a:lnTo>
                  <a:lnTo>
                    <a:pt x="3" y="181"/>
                  </a:lnTo>
                  <a:lnTo>
                    <a:pt x="4" y="183"/>
                  </a:lnTo>
                  <a:lnTo>
                    <a:pt x="5" y="183"/>
                  </a:lnTo>
                  <a:lnTo>
                    <a:pt x="8" y="183"/>
                  </a:lnTo>
                  <a:lnTo>
                    <a:pt x="6" y="184"/>
                  </a:lnTo>
                  <a:lnTo>
                    <a:pt x="5" y="184"/>
                  </a:lnTo>
                  <a:lnTo>
                    <a:pt x="4" y="184"/>
                  </a:lnTo>
                  <a:lnTo>
                    <a:pt x="4" y="186"/>
                  </a:lnTo>
                  <a:lnTo>
                    <a:pt x="3" y="186"/>
                  </a:lnTo>
                  <a:lnTo>
                    <a:pt x="5" y="188"/>
                  </a:lnTo>
                  <a:lnTo>
                    <a:pt x="5" y="187"/>
                  </a:lnTo>
                  <a:lnTo>
                    <a:pt x="6" y="188"/>
                  </a:lnTo>
                  <a:lnTo>
                    <a:pt x="8" y="188"/>
                  </a:lnTo>
                  <a:lnTo>
                    <a:pt x="9" y="188"/>
                  </a:lnTo>
                  <a:lnTo>
                    <a:pt x="10" y="187"/>
                  </a:lnTo>
                  <a:lnTo>
                    <a:pt x="11" y="186"/>
                  </a:lnTo>
                  <a:lnTo>
                    <a:pt x="12" y="186"/>
                  </a:lnTo>
                  <a:lnTo>
                    <a:pt x="14" y="186"/>
                  </a:lnTo>
                  <a:lnTo>
                    <a:pt x="15" y="186"/>
                  </a:lnTo>
                  <a:lnTo>
                    <a:pt x="14" y="187"/>
                  </a:lnTo>
                  <a:lnTo>
                    <a:pt x="12" y="187"/>
                  </a:lnTo>
                  <a:lnTo>
                    <a:pt x="11" y="187"/>
                  </a:lnTo>
                  <a:lnTo>
                    <a:pt x="10" y="188"/>
                  </a:lnTo>
                  <a:lnTo>
                    <a:pt x="11" y="189"/>
                  </a:lnTo>
                  <a:lnTo>
                    <a:pt x="12" y="189"/>
                  </a:lnTo>
                  <a:lnTo>
                    <a:pt x="14" y="189"/>
                  </a:lnTo>
                  <a:lnTo>
                    <a:pt x="15" y="189"/>
                  </a:lnTo>
                  <a:lnTo>
                    <a:pt x="15" y="188"/>
                  </a:lnTo>
                  <a:lnTo>
                    <a:pt x="16" y="189"/>
                  </a:lnTo>
                  <a:lnTo>
                    <a:pt x="17" y="189"/>
                  </a:lnTo>
                  <a:lnTo>
                    <a:pt x="18" y="188"/>
                  </a:lnTo>
                  <a:lnTo>
                    <a:pt x="20" y="188"/>
                  </a:lnTo>
                  <a:lnTo>
                    <a:pt x="21" y="188"/>
                  </a:lnTo>
                  <a:lnTo>
                    <a:pt x="21" y="189"/>
                  </a:lnTo>
                  <a:lnTo>
                    <a:pt x="21" y="190"/>
                  </a:lnTo>
                  <a:lnTo>
                    <a:pt x="20" y="192"/>
                  </a:lnTo>
                  <a:lnTo>
                    <a:pt x="18" y="193"/>
                  </a:lnTo>
                  <a:lnTo>
                    <a:pt x="17" y="193"/>
                  </a:lnTo>
                  <a:lnTo>
                    <a:pt x="17" y="192"/>
                  </a:lnTo>
                  <a:lnTo>
                    <a:pt x="16" y="192"/>
                  </a:lnTo>
                  <a:lnTo>
                    <a:pt x="16" y="193"/>
                  </a:lnTo>
                  <a:lnTo>
                    <a:pt x="16" y="194"/>
                  </a:lnTo>
                  <a:lnTo>
                    <a:pt x="15" y="194"/>
                  </a:lnTo>
                  <a:lnTo>
                    <a:pt x="15" y="195"/>
                  </a:lnTo>
                  <a:lnTo>
                    <a:pt x="14" y="194"/>
                  </a:lnTo>
                  <a:lnTo>
                    <a:pt x="12" y="195"/>
                  </a:lnTo>
                  <a:lnTo>
                    <a:pt x="12" y="198"/>
                  </a:lnTo>
                  <a:lnTo>
                    <a:pt x="14" y="198"/>
                  </a:lnTo>
                  <a:lnTo>
                    <a:pt x="15" y="196"/>
                  </a:lnTo>
                  <a:lnTo>
                    <a:pt x="15" y="198"/>
                  </a:lnTo>
                  <a:lnTo>
                    <a:pt x="16" y="198"/>
                  </a:lnTo>
                  <a:lnTo>
                    <a:pt x="17" y="198"/>
                  </a:lnTo>
                  <a:lnTo>
                    <a:pt x="18" y="196"/>
                  </a:lnTo>
                  <a:lnTo>
                    <a:pt x="20" y="195"/>
                  </a:lnTo>
                  <a:lnTo>
                    <a:pt x="21" y="194"/>
                  </a:lnTo>
                  <a:lnTo>
                    <a:pt x="21" y="193"/>
                  </a:lnTo>
                  <a:lnTo>
                    <a:pt x="21" y="192"/>
                  </a:lnTo>
                  <a:lnTo>
                    <a:pt x="22" y="190"/>
                  </a:lnTo>
                  <a:lnTo>
                    <a:pt x="22" y="192"/>
                  </a:lnTo>
                  <a:lnTo>
                    <a:pt x="22" y="193"/>
                  </a:lnTo>
                  <a:lnTo>
                    <a:pt x="23" y="193"/>
                  </a:lnTo>
                  <a:lnTo>
                    <a:pt x="24" y="193"/>
                  </a:lnTo>
                  <a:lnTo>
                    <a:pt x="24" y="192"/>
                  </a:lnTo>
                  <a:lnTo>
                    <a:pt x="24" y="190"/>
                  </a:lnTo>
                  <a:lnTo>
                    <a:pt x="26" y="189"/>
                  </a:lnTo>
                  <a:lnTo>
                    <a:pt x="27" y="188"/>
                  </a:lnTo>
                  <a:lnTo>
                    <a:pt x="27" y="187"/>
                  </a:lnTo>
                  <a:lnTo>
                    <a:pt x="28" y="187"/>
                  </a:lnTo>
                  <a:lnTo>
                    <a:pt x="28" y="188"/>
                  </a:lnTo>
                  <a:lnTo>
                    <a:pt x="29" y="188"/>
                  </a:lnTo>
                  <a:lnTo>
                    <a:pt x="30" y="187"/>
                  </a:lnTo>
                  <a:lnTo>
                    <a:pt x="32" y="187"/>
                  </a:lnTo>
                  <a:lnTo>
                    <a:pt x="30" y="188"/>
                  </a:lnTo>
                  <a:lnTo>
                    <a:pt x="30" y="189"/>
                  </a:lnTo>
                  <a:lnTo>
                    <a:pt x="29" y="189"/>
                  </a:lnTo>
                  <a:lnTo>
                    <a:pt x="28" y="190"/>
                  </a:lnTo>
                  <a:lnTo>
                    <a:pt x="28" y="189"/>
                  </a:lnTo>
                  <a:lnTo>
                    <a:pt x="28" y="188"/>
                  </a:lnTo>
                  <a:lnTo>
                    <a:pt x="27" y="188"/>
                  </a:lnTo>
                  <a:lnTo>
                    <a:pt x="27" y="189"/>
                  </a:lnTo>
                  <a:lnTo>
                    <a:pt x="26" y="190"/>
                  </a:lnTo>
                  <a:lnTo>
                    <a:pt x="27" y="192"/>
                  </a:lnTo>
                  <a:lnTo>
                    <a:pt x="28" y="192"/>
                  </a:lnTo>
                  <a:lnTo>
                    <a:pt x="28" y="193"/>
                  </a:lnTo>
                  <a:lnTo>
                    <a:pt x="29" y="193"/>
                  </a:lnTo>
                  <a:lnTo>
                    <a:pt x="30" y="193"/>
                  </a:lnTo>
                  <a:lnTo>
                    <a:pt x="32" y="193"/>
                  </a:lnTo>
                  <a:lnTo>
                    <a:pt x="32" y="192"/>
                  </a:lnTo>
                  <a:lnTo>
                    <a:pt x="33" y="192"/>
                  </a:lnTo>
                  <a:lnTo>
                    <a:pt x="34" y="190"/>
                  </a:lnTo>
                  <a:lnTo>
                    <a:pt x="35" y="189"/>
                  </a:lnTo>
                  <a:lnTo>
                    <a:pt x="37" y="188"/>
                  </a:lnTo>
                  <a:lnTo>
                    <a:pt x="38" y="187"/>
                  </a:lnTo>
                  <a:lnTo>
                    <a:pt x="38" y="188"/>
                  </a:lnTo>
                  <a:lnTo>
                    <a:pt x="37" y="188"/>
                  </a:lnTo>
                  <a:lnTo>
                    <a:pt x="37" y="189"/>
                  </a:lnTo>
                  <a:lnTo>
                    <a:pt x="35" y="189"/>
                  </a:lnTo>
                  <a:lnTo>
                    <a:pt x="34" y="190"/>
                  </a:lnTo>
                  <a:lnTo>
                    <a:pt x="34" y="192"/>
                  </a:lnTo>
                  <a:lnTo>
                    <a:pt x="35" y="192"/>
                  </a:lnTo>
                  <a:lnTo>
                    <a:pt x="37" y="192"/>
                  </a:lnTo>
                  <a:lnTo>
                    <a:pt x="38" y="193"/>
                  </a:lnTo>
                  <a:lnTo>
                    <a:pt x="39" y="193"/>
                  </a:lnTo>
                  <a:lnTo>
                    <a:pt x="39" y="194"/>
                  </a:lnTo>
                  <a:lnTo>
                    <a:pt x="40" y="194"/>
                  </a:lnTo>
                  <a:lnTo>
                    <a:pt x="40" y="195"/>
                  </a:lnTo>
                  <a:lnTo>
                    <a:pt x="39" y="195"/>
                  </a:lnTo>
                  <a:lnTo>
                    <a:pt x="38" y="195"/>
                  </a:lnTo>
                  <a:lnTo>
                    <a:pt x="37" y="196"/>
                  </a:lnTo>
                  <a:lnTo>
                    <a:pt x="35" y="196"/>
                  </a:lnTo>
                  <a:lnTo>
                    <a:pt x="35" y="198"/>
                  </a:lnTo>
                  <a:lnTo>
                    <a:pt x="35" y="199"/>
                  </a:lnTo>
                  <a:lnTo>
                    <a:pt x="37" y="199"/>
                  </a:lnTo>
                  <a:lnTo>
                    <a:pt x="38" y="199"/>
                  </a:lnTo>
                  <a:lnTo>
                    <a:pt x="39" y="199"/>
                  </a:lnTo>
                  <a:lnTo>
                    <a:pt x="39" y="198"/>
                  </a:lnTo>
                  <a:lnTo>
                    <a:pt x="40" y="196"/>
                  </a:lnTo>
                  <a:lnTo>
                    <a:pt x="40" y="198"/>
                  </a:lnTo>
                  <a:lnTo>
                    <a:pt x="41" y="198"/>
                  </a:lnTo>
                  <a:lnTo>
                    <a:pt x="41" y="196"/>
                  </a:lnTo>
                  <a:lnTo>
                    <a:pt x="41" y="195"/>
                  </a:lnTo>
                  <a:lnTo>
                    <a:pt x="43" y="194"/>
                  </a:lnTo>
                  <a:lnTo>
                    <a:pt x="43" y="193"/>
                  </a:lnTo>
                  <a:lnTo>
                    <a:pt x="43" y="192"/>
                  </a:lnTo>
                  <a:lnTo>
                    <a:pt x="44" y="192"/>
                  </a:lnTo>
                  <a:lnTo>
                    <a:pt x="44" y="193"/>
                  </a:lnTo>
                  <a:lnTo>
                    <a:pt x="45" y="193"/>
                  </a:lnTo>
                  <a:lnTo>
                    <a:pt x="46" y="193"/>
                  </a:lnTo>
                  <a:lnTo>
                    <a:pt x="47" y="192"/>
                  </a:lnTo>
                  <a:lnTo>
                    <a:pt x="49" y="190"/>
                  </a:lnTo>
                  <a:lnTo>
                    <a:pt x="49" y="192"/>
                  </a:lnTo>
                  <a:lnTo>
                    <a:pt x="47" y="192"/>
                  </a:lnTo>
                  <a:lnTo>
                    <a:pt x="46" y="193"/>
                  </a:lnTo>
                  <a:lnTo>
                    <a:pt x="45" y="194"/>
                  </a:lnTo>
                  <a:lnTo>
                    <a:pt x="44" y="194"/>
                  </a:lnTo>
                  <a:lnTo>
                    <a:pt x="45" y="195"/>
                  </a:lnTo>
                  <a:lnTo>
                    <a:pt x="46" y="195"/>
                  </a:lnTo>
                  <a:lnTo>
                    <a:pt x="47" y="194"/>
                  </a:lnTo>
                  <a:lnTo>
                    <a:pt x="49" y="193"/>
                  </a:lnTo>
                  <a:lnTo>
                    <a:pt x="50" y="193"/>
                  </a:lnTo>
                  <a:lnTo>
                    <a:pt x="51" y="193"/>
                  </a:lnTo>
                  <a:lnTo>
                    <a:pt x="51" y="194"/>
                  </a:lnTo>
                  <a:lnTo>
                    <a:pt x="52" y="193"/>
                  </a:lnTo>
                  <a:lnTo>
                    <a:pt x="52" y="192"/>
                  </a:lnTo>
                  <a:lnTo>
                    <a:pt x="53" y="192"/>
                  </a:lnTo>
                  <a:lnTo>
                    <a:pt x="55" y="193"/>
                  </a:lnTo>
                  <a:lnTo>
                    <a:pt x="56" y="193"/>
                  </a:lnTo>
                  <a:lnTo>
                    <a:pt x="57" y="192"/>
                  </a:lnTo>
                  <a:lnTo>
                    <a:pt x="57" y="190"/>
                  </a:lnTo>
                  <a:lnTo>
                    <a:pt x="57" y="189"/>
                  </a:lnTo>
                  <a:lnTo>
                    <a:pt x="56" y="189"/>
                  </a:lnTo>
                  <a:lnTo>
                    <a:pt x="55" y="189"/>
                  </a:lnTo>
                  <a:lnTo>
                    <a:pt x="53" y="189"/>
                  </a:lnTo>
                  <a:lnTo>
                    <a:pt x="52" y="188"/>
                  </a:lnTo>
                  <a:lnTo>
                    <a:pt x="53" y="188"/>
                  </a:lnTo>
                  <a:lnTo>
                    <a:pt x="55" y="188"/>
                  </a:lnTo>
                  <a:lnTo>
                    <a:pt x="55" y="189"/>
                  </a:lnTo>
                  <a:lnTo>
                    <a:pt x="56" y="189"/>
                  </a:lnTo>
                  <a:lnTo>
                    <a:pt x="56" y="188"/>
                  </a:lnTo>
                  <a:lnTo>
                    <a:pt x="56" y="187"/>
                  </a:lnTo>
                  <a:lnTo>
                    <a:pt x="56" y="186"/>
                  </a:lnTo>
                  <a:lnTo>
                    <a:pt x="53" y="186"/>
                  </a:lnTo>
                  <a:lnTo>
                    <a:pt x="53" y="184"/>
                  </a:lnTo>
                  <a:lnTo>
                    <a:pt x="55" y="184"/>
                  </a:lnTo>
                  <a:lnTo>
                    <a:pt x="55" y="183"/>
                  </a:lnTo>
                  <a:lnTo>
                    <a:pt x="56" y="184"/>
                  </a:lnTo>
                  <a:lnTo>
                    <a:pt x="56" y="186"/>
                  </a:lnTo>
                  <a:lnTo>
                    <a:pt x="57" y="186"/>
                  </a:lnTo>
                  <a:lnTo>
                    <a:pt x="58" y="187"/>
                  </a:lnTo>
                  <a:lnTo>
                    <a:pt x="59" y="187"/>
                  </a:lnTo>
                  <a:lnTo>
                    <a:pt x="61" y="187"/>
                  </a:lnTo>
                  <a:lnTo>
                    <a:pt x="61" y="188"/>
                  </a:lnTo>
                  <a:lnTo>
                    <a:pt x="59" y="188"/>
                  </a:lnTo>
                  <a:lnTo>
                    <a:pt x="59" y="189"/>
                  </a:lnTo>
                  <a:lnTo>
                    <a:pt x="61" y="189"/>
                  </a:lnTo>
                  <a:lnTo>
                    <a:pt x="62" y="190"/>
                  </a:lnTo>
                  <a:lnTo>
                    <a:pt x="62" y="192"/>
                  </a:lnTo>
                  <a:lnTo>
                    <a:pt x="62" y="193"/>
                  </a:lnTo>
                  <a:lnTo>
                    <a:pt x="62" y="194"/>
                  </a:lnTo>
                  <a:lnTo>
                    <a:pt x="61" y="193"/>
                  </a:lnTo>
                  <a:lnTo>
                    <a:pt x="61" y="192"/>
                  </a:lnTo>
                  <a:lnTo>
                    <a:pt x="59" y="192"/>
                  </a:lnTo>
                  <a:lnTo>
                    <a:pt x="61" y="193"/>
                  </a:lnTo>
                  <a:lnTo>
                    <a:pt x="61" y="194"/>
                  </a:lnTo>
                  <a:lnTo>
                    <a:pt x="59" y="194"/>
                  </a:lnTo>
                  <a:lnTo>
                    <a:pt x="59" y="195"/>
                  </a:lnTo>
                  <a:lnTo>
                    <a:pt x="61" y="196"/>
                  </a:lnTo>
                  <a:lnTo>
                    <a:pt x="61" y="195"/>
                  </a:lnTo>
                  <a:lnTo>
                    <a:pt x="62" y="195"/>
                  </a:lnTo>
                  <a:lnTo>
                    <a:pt x="62" y="196"/>
                  </a:lnTo>
                  <a:lnTo>
                    <a:pt x="61" y="196"/>
                  </a:lnTo>
                  <a:lnTo>
                    <a:pt x="59" y="196"/>
                  </a:lnTo>
                  <a:lnTo>
                    <a:pt x="58" y="198"/>
                  </a:lnTo>
                  <a:lnTo>
                    <a:pt x="58" y="199"/>
                  </a:lnTo>
                  <a:lnTo>
                    <a:pt x="59" y="199"/>
                  </a:lnTo>
                  <a:lnTo>
                    <a:pt x="58" y="200"/>
                  </a:lnTo>
                  <a:lnTo>
                    <a:pt x="57" y="200"/>
                  </a:lnTo>
                  <a:lnTo>
                    <a:pt x="57" y="199"/>
                  </a:lnTo>
                  <a:lnTo>
                    <a:pt x="56" y="199"/>
                  </a:lnTo>
                  <a:lnTo>
                    <a:pt x="56" y="200"/>
                  </a:lnTo>
                  <a:lnTo>
                    <a:pt x="56" y="201"/>
                  </a:lnTo>
                  <a:lnTo>
                    <a:pt x="56" y="202"/>
                  </a:lnTo>
                  <a:lnTo>
                    <a:pt x="57" y="202"/>
                  </a:lnTo>
                  <a:lnTo>
                    <a:pt x="58" y="202"/>
                  </a:lnTo>
                  <a:lnTo>
                    <a:pt x="58" y="201"/>
                  </a:lnTo>
                  <a:lnTo>
                    <a:pt x="59" y="201"/>
                  </a:lnTo>
                  <a:lnTo>
                    <a:pt x="62" y="202"/>
                  </a:lnTo>
                  <a:lnTo>
                    <a:pt x="62" y="201"/>
                  </a:lnTo>
                  <a:lnTo>
                    <a:pt x="62" y="202"/>
                  </a:lnTo>
                  <a:lnTo>
                    <a:pt x="63" y="202"/>
                  </a:lnTo>
                  <a:lnTo>
                    <a:pt x="64" y="202"/>
                  </a:lnTo>
                  <a:lnTo>
                    <a:pt x="64" y="201"/>
                  </a:lnTo>
                  <a:lnTo>
                    <a:pt x="67" y="200"/>
                  </a:lnTo>
                  <a:lnTo>
                    <a:pt x="65" y="200"/>
                  </a:lnTo>
                  <a:lnTo>
                    <a:pt x="64" y="200"/>
                  </a:lnTo>
                  <a:lnTo>
                    <a:pt x="63" y="200"/>
                  </a:lnTo>
                  <a:lnTo>
                    <a:pt x="64" y="199"/>
                  </a:lnTo>
                  <a:lnTo>
                    <a:pt x="65" y="199"/>
                  </a:lnTo>
                  <a:lnTo>
                    <a:pt x="65" y="198"/>
                  </a:lnTo>
                  <a:lnTo>
                    <a:pt x="67" y="199"/>
                  </a:lnTo>
                  <a:lnTo>
                    <a:pt x="67" y="200"/>
                  </a:lnTo>
                  <a:lnTo>
                    <a:pt x="68" y="200"/>
                  </a:lnTo>
                  <a:lnTo>
                    <a:pt x="68" y="201"/>
                  </a:lnTo>
                  <a:lnTo>
                    <a:pt x="67" y="201"/>
                  </a:lnTo>
                  <a:lnTo>
                    <a:pt x="65" y="201"/>
                  </a:lnTo>
                  <a:lnTo>
                    <a:pt x="65" y="202"/>
                  </a:lnTo>
                  <a:lnTo>
                    <a:pt x="64" y="202"/>
                  </a:lnTo>
                  <a:lnTo>
                    <a:pt x="64" y="204"/>
                  </a:lnTo>
                  <a:lnTo>
                    <a:pt x="62" y="204"/>
                  </a:lnTo>
                  <a:lnTo>
                    <a:pt x="62" y="202"/>
                  </a:lnTo>
                  <a:lnTo>
                    <a:pt x="62" y="204"/>
                  </a:lnTo>
                  <a:lnTo>
                    <a:pt x="61" y="202"/>
                  </a:lnTo>
                  <a:lnTo>
                    <a:pt x="59" y="202"/>
                  </a:lnTo>
                  <a:lnTo>
                    <a:pt x="59" y="204"/>
                  </a:lnTo>
                  <a:lnTo>
                    <a:pt x="58" y="204"/>
                  </a:lnTo>
                  <a:lnTo>
                    <a:pt x="57" y="202"/>
                  </a:lnTo>
                  <a:lnTo>
                    <a:pt x="57" y="204"/>
                  </a:lnTo>
                  <a:lnTo>
                    <a:pt x="56" y="204"/>
                  </a:lnTo>
                  <a:lnTo>
                    <a:pt x="55" y="204"/>
                  </a:lnTo>
                  <a:lnTo>
                    <a:pt x="55" y="202"/>
                  </a:lnTo>
                  <a:lnTo>
                    <a:pt x="53" y="202"/>
                  </a:lnTo>
                  <a:lnTo>
                    <a:pt x="52" y="202"/>
                  </a:lnTo>
                  <a:lnTo>
                    <a:pt x="52" y="204"/>
                  </a:lnTo>
                  <a:lnTo>
                    <a:pt x="51" y="205"/>
                  </a:lnTo>
                  <a:lnTo>
                    <a:pt x="50" y="205"/>
                  </a:lnTo>
                  <a:lnTo>
                    <a:pt x="49" y="205"/>
                  </a:lnTo>
                  <a:lnTo>
                    <a:pt x="50" y="206"/>
                  </a:lnTo>
                  <a:lnTo>
                    <a:pt x="47" y="206"/>
                  </a:lnTo>
                  <a:lnTo>
                    <a:pt x="49" y="206"/>
                  </a:lnTo>
                  <a:lnTo>
                    <a:pt x="49" y="207"/>
                  </a:lnTo>
                  <a:lnTo>
                    <a:pt x="50" y="207"/>
                  </a:lnTo>
                  <a:lnTo>
                    <a:pt x="50" y="208"/>
                  </a:lnTo>
                  <a:lnTo>
                    <a:pt x="51" y="208"/>
                  </a:lnTo>
                  <a:lnTo>
                    <a:pt x="52" y="207"/>
                  </a:lnTo>
                  <a:lnTo>
                    <a:pt x="53" y="207"/>
                  </a:lnTo>
                  <a:lnTo>
                    <a:pt x="53" y="206"/>
                  </a:lnTo>
                  <a:lnTo>
                    <a:pt x="55" y="207"/>
                  </a:lnTo>
                  <a:lnTo>
                    <a:pt x="56" y="206"/>
                  </a:lnTo>
                  <a:lnTo>
                    <a:pt x="56" y="207"/>
                  </a:lnTo>
                  <a:lnTo>
                    <a:pt x="55" y="207"/>
                  </a:lnTo>
                  <a:lnTo>
                    <a:pt x="55" y="208"/>
                  </a:lnTo>
                  <a:lnTo>
                    <a:pt x="53" y="208"/>
                  </a:lnTo>
                  <a:lnTo>
                    <a:pt x="52" y="208"/>
                  </a:lnTo>
                  <a:lnTo>
                    <a:pt x="51" y="210"/>
                  </a:lnTo>
                  <a:lnTo>
                    <a:pt x="50" y="210"/>
                  </a:lnTo>
                  <a:lnTo>
                    <a:pt x="50" y="211"/>
                  </a:lnTo>
                  <a:lnTo>
                    <a:pt x="49" y="211"/>
                  </a:lnTo>
                  <a:lnTo>
                    <a:pt x="49" y="210"/>
                  </a:lnTo>
                  <a:lnTo>
                    <a:pt x="47" y="211"/>
                  </a:lnTo>
                  <a:lnTo>
                    <a:pt x="46" y="211"/>
                  </a:lnTo>
                  <a:lnTo>
                    <a:pt x="45" y="212"/>
                  </a:lnTo>
                  <a:lnTo>
                    <a:pt x="44" y="212"/>
                  </a:lnTo>
                  <a:lnTo>
                    <a:pt x="41" y="212"/>
                  </a:lnTo>
                  <a:lnTo>
                    <a:pt x="41" y="213"/>
                  </a:lnTo>
                  <a:lnTo>
                    <a:pt x="41" y="214"/>
                  </a:lnTo>
                  <a:lnTo>
                    <a:pt x="40" y="214"/>
                  </a:lnTo>
                  <a:lnTo>
                    <a:pt x="39" y="214"/>
                  </a:lnTo>
                  <a:lnTo>
                    <a:pt x="39" y="216"/>
                  </a:lnTo>
                  <a:lnTo>
                    <a:pt x="38" y="216"/>
                  </a:lnTo>
                  <a:lnTo>
                    <a:pt x="37" y="214"/>
                  </a:lnTo>
                  <a:lnTo>
                    <a:pt x="35" y="216"/>
                  </a:lnTo>
                  <a:lnTo>
                    <a:pt x="34" y="216"/>
                  </a:lnTo>
                  <a:lnTo>
                    <a:pt x="33" y="216"/>
                  </a:lnTo>
                  <a:lnTo>
                    <a:pt x="32" y="216"/>
                  </a:lnTo>
                  <a:lnTo>
                    <a:pt x="32" y="217"/>
                  </a:lnTo>
                  <a:lnTo>
                    <a:pt x="30" y="216"/>
                  </a:lnTo>
                  <a:lnTo>
                    <a:pt x="29" y="216"/>
                  </a:lnTo>
                  <a:lnTo>
                    <a:pt x="28" y="214"/>
                  </a:lnTo>
                  <a:lnTo>
                    <a:pt x="27" y="216"/>
                  </a:lnTo>
                  <a:lnTo>
                    <a:pt x="27" y="217"/>
                  </a:lnTo>
                  <a:lnTo>
                    <a:pt x="27" y="218"/>
                  </a:lnTo>
                  <a:lnTo>
                    <a:pt x="28" y="219"/>
                  </a:lnTo>
                  <a:lnTo>
                    <a:pt x="27" y="220"/>
                  </a:lnTo>
                  <a:lnTo>
                    <a:pt x="28" y="220"/>
                  </a:lnTo>
                  <a:lnTo>
                    <a:pt x="29" y="220"/>
                  </a:lnTo>
                  <a:lnTo>
                    <a:pt x="29" y="222"/>
                  </a:lnTo>
                  <a:lnTo>
                    <a:pt x="30" y="222"/>
                  </a:lnTo>
                  <a:lnTo>
                    <a:pt x="32" y="222"/>
                  </a:lnTo>
                  <a:lnTo>
                    <a:pt x="33" y="220"/>
                  </a:lnTo>
                  <a:lnTo>
                    <a:pt x="34" y="220"/>
                  </a:lnTo>
                  <a:lnTo>
                    <a:pt x="37" y="222"/>
                  </a:lnTo>
                  <a:lnTo>
                    <a:pt x="37" y="223"/>
                  </a:lnTo>
                  <a:lnTo>
                    <a:pt x="35" y="223"/>
                  </a:lnTo>
                  <a:lnTo>
                    <a:pt x="34" y="223"/>
                  </a:lnTo>
                  <a:lnTo>
                    <a:pt x="33" y="223"/>
                  </a:lnTo>
                  <a:lnTo>
                    <a:pt x="32" y="223"/>
                  </a:lnTo>
                  <a:lnTo>
                    <a:pt x="30" y="223"/>
                  </a:lnTo>
                  <a:lnTo>
                    <a:pt x="32" y="224"/>
                  </a:lnTo>
                  <a:lnTo>
                    <a:pt x="32" y="225"/>
                  </a:lnTo>
                  <a:lnTo>
                    <a:pt x="33" y="225"/>
                  </a:lnTo>
                  <a:lnTo>
                    <a:pt x="34" y="226"/>
                  </a:lnTo>
                  <a:lnTo>
                    <a:pt x="33" y="228"/>
                  </a:lnTo>
                  <a:lnTo>
                    <a:pt x="35" y="228"/>
                  </a:lnTo>
                  <a:lnTo>
                    <a:pt x="35" y="226"/>
                  </a:lnTo>
                  <a:lnTo>
                    <a:pt x="37" y="226"/>
                  </a:lnTo>
                  <a:lnTo>
                    <a:pt x="37" y="225"/>
                  </a:lnTo>
                  <a:lnTo>
                    <a:pt x="37" y="226"/>
                  </a:lnTo>
                  <a:lnTo>
                    <a:pt x="35" y="228"/>
                  </a:lnTo>
                  <a:lnTo>
                    <a:pt x="35" y="229"/>
                  </a:lnTo>
                  <a:lnTo>
                    <a:pt x="34" y="229"/>
                  </a:lnTo>
                  <a:lnTo>
                    <a:pt x="33" y="229"/>
                  </a:lnTo>
                  <a:lnTo>
                    <a:pt x="32" y="229"/>
                  </a:lnTo>
                  <a:lnTo>
                    <a:pt x="32" y="228"/>
                  </a:lnTo>
                  <a:lnTo>
                    <a:pt x="32" y="226"/>
                  </a:lnTo>
                  <a:lnTo>
                    <a:pt x="32" y="225"/>
                  </a:lnTo>
                  <a:lnTo>
                    <a:pt x="30" y="225"/>
                  </a:lnTo>
                  <a:lnTo>
                    <a:pt x="30" y="224"/>
                  </a:lnTo>
                  <a:lnTo>
                    <a:pt x="29" y="223"/>
                  </a:lnTo>
                  <a:lnTo>
                    <a:pt x="28" y="224"/>
                  </a:lnTo>
                  <a:lnTo>
                    <a:pt x="27" y="224"/>
                  </a:lnTo>
                  <a:lnTo>
                    <a:pt x="26" y="225"/>
                  </a:lnTo>
                  <a:lnTo>
                    <a:pt x="24" y="225"/>
                  </a:lnTo>
                  <a:lnTo>
                    <a:pt x="24" y="226"/>
                  </a:lnTo>
                  <a:lnTo>
                    <a:pt x="24" y="228"/>
                  </a:lnTo>
                  <a:lnTo>
                    <a:pt x="26" y="228"/>
                  </a:lnTo>
                  <a:lnTo>
                    <a:pt x="27" y="229"/>
                  </a:lnTo>
                  <a:lnTo>
                    <a:pt x="27" y="230"/>
                  </a:lnTo>
                  <a:lnTo>
                    <a:pt x="26" y="230"/>
                  </a:lnTo>
                  <a:lnTo>
                    <a:pt x="27" y="231"/>
                  </a:lnTo>
                  <a:lnTo>
                    <a:pt x="28" y="232"/>
                  </a:lnTo>
                  <a:lnTo>
                    <a:pt x="29" y="234"/>
                  </a:lnTo>
                  <a:lnTo>
                    <a:pt x="30" y="234"/>
                  </a:lnTo>
                  <a:lnTo>
                    <a:pt x="33" y="234"/>
                  </a:lnTo>
                  <a:lnTo>
                    <a:pt x="34" y="234"/>
                  </a:lnTo>
                  <a:lnTo>
                    <a:pt x="35" y="234"/>
                  </a:lnTo>
                  <a:lnTo>
                    <a:pt x="37" y="232"/>
                  </a:lnTo>
                  <a:lnTo>
                    <a:pt x="37" y="231"/>
                  </a:lnTo>
                  <a:lnTo>
                    <a:pt x="38" y="231"/>
                  </a:lnTo>
                  <a:lnTo>
                    <a:pt x="39" y="231"/>
                  </a:lnTo>
                  <a:lnTo>
                    <a:pt x="40" y="231"/>
                  </a:lnTo>
                  <a:lnTo>
                    <a:pt x="39" y="231"/>
                  </a:lnTo>
                  <a:lnTo>
                    <a:pt x="38" y="232"/>
                  </a:lnTo>
                  <a:lnTo>
                    <a:pt x="37" y="232"/>
                  </a:lnTo>
                  <a:lnTo>
                    <a:pt x="37" y="234"/>
                  </a:lnTo>
                  <a:lnTo>
                    <a:pt x="37" y="235"/>
                  </a:lnTo>
                  <a:lnTo>
                    <a:pt x="38" y="235"/>
                  </a:lnTo>
                  <a:lnTo>
                    <a:pt x="35" y="235"/>
                  </a:lnTo>
                  <a:lnTo>
                    <a:pt x="34" y="236"/>
                  </a:lnTo>
                  <a:lnTo>
                    <a:pt x="33" y="237"/>
                  </a:lnTo>
                  <a:lnTo>
                    <a:pt x="34" y="237"/>
                  </a:lnTo>
                  <a:lnTo>
                    <a:pt x="35" y="237"/>
                  </a:lnTo>
                  <a:lnTo>
                    <a:pt x="35" y="238"/>
                  </a:lnTo>
                  <a:lnTo>
                    <a:pt x="34" y="238"/>
                  </a:lnTo>
                  <a:lnTo>
                    <a:pt x="33" y="238"/>
                  </a:lnTo>
                  <a:lnTo>
                    <a:pt x="33" y="237"/>
                  </a:lnTo>
                  <a:lnTo>
                    <a:pt x="32" y="236"/>
                  </a:lnTo>
                  <a:lnTo>
                    <a:pt x="32" y="237"/>
                  </a:lnTo>
                  <a:lnTo>
                    <a:pt x="32" y="238"/>
                  </a:lnTo>
                  <a:lnTo>
                    <a:pt x="30" y="238"/>
                  </a:lnTo>
                  <a:lnTo>
                    <a:pt x="29" y="240"/>
                  </a:lnTo>
                  <a:lnTo>
                    <a:pt x="30" y="241"/>
                  </a:lnTo>
                  <a:lnTo>
                    <a:pt x="32" y="241"/>
                  </a:lnTo>
                  <a:lnTo>
                    <a:pt x="33" y="240"/>
                  </a:lnTo>
                  <a:lnTo>
                    <a:pt x="33" y="241"/>
                  </a:lnTo>
                  <a:lnTo>
                    <a:pt x="34" y="241"/>
                  </a:lnTo>
                  <a:lnTo>
                    <a:pt x="35" y="241"/>
                  </a:lnTo>
                  <a:lnTo>
                    <a:pt x="35" y="240"/>
                  </a:lnTo>
                  <a:lnTo>
                    <a:pt x="37" y="240"/>
                  </a:lnTo>
                  <a:lnTo>
                    <a:pt x="38" y="238"/>
                  </a:lnTo>
                  <a:lnTo>
                    <a:pt x="39" y="238"/>
                  </a:lnTo>
                  <a:lnTo>
                    <a:pt x="39" y="241"/>
                  </a:lnTo>
                  <a:lnTo>
                    <a:pt x="40" y="242"/>
                  </a:lnTo>
                  <a:lnTo>
                    <a:pt x="41" y="242"/>
                  </a:lnTo>
                  <a:lnTo>
                    <a:pt x="44" y="241"/>
                  </a:lnTo>
                  <a:lnTo>
                    <a:pt x="44" y="240"/>
                  </a:lnTo>
                  <a:lnTo>
                    <a:pt x="43" y="241"/>
                  </a:lnTo>
                  <a:lnTo>
                    <a:pt x="41" y="241"/>
                  </a:lnTo>
                  <a:lnTo>
                    <a:pt x="41" y="240"/>
                  </a:lnTo>
                  <a:lnTo>
                    <a:pt x="43" y="240"/>
                  </a:lnTo>
                  <a:lnTo>
                    <a:pt x="44" y="238"/>
                  </a:lnTo>
                  <a:lnTo>
                    <a:pt x="45" y="238"/>
                  </a:lnTo>
                  <a:lnTo>
                    <a:pt x="45" y="237"/>
                  </a:lnTo>
                  <a:lnTo>
                    <a:pt x="44" y="237"/>
                  </a:lnTo>
                  <a:lnTo>
                    <a:pt x="43" y="237"/>
                  </a:lnTo>
                  <a:lnTo>
                    <a:pt x="43" y="236"/>
                  </a:lnTo>
                  <a:lnTo>
                    <a:pt x="45" y="237"/>
                  </a:lnTo>
                  <a:lnTo>
                    <a:pt x="45" y="236"/>
                  </a:lnTo>
                  <a:lnTo>
                    <a:pt x="46" y="236"/>
                  </a:lnTo>
                  <a:lnTo>
                    <a:pt x="46" y="235"/>
                  </a:lnTo>
                  <a:lnTo>
                    <a:pt x="45" y="234"/>
                  </a:lnTo>
                  <a:lnTo>
                    <a:pt x="45" y="232"/>
                  </a:lnTo>
                  <a:lnTo>
                    <a:pt x="45" y="231"/>
                  </a:lnTo>
                  <a:lnTo>
                    <a:pt x="46" y="230"/>
                  </a:lnTo>
                  <a:lnTo>
                    <a:pt x="45" y="231"/>
                  </a:lnTo>
                  <a:lnTo>
                    <a:pt x="46" y="231"/>
                  </a:lnTo>
                  <a:lnTo>
                    <a:pt x="46" y="232"/>
                  </a:lnTo>
                  <a:lnTo>
                    <a:pt x="47" y="232"/>
                  </a:lnTo>
                  <a:lnTo>
                    <a:pt x="47" y="234"/>
                  </a:lnTo>
                  <a:lnTo>
                    <a:pt x="49" y="232"/>
                  </a:lnTo>
                  <a:lnTo>
                    <a:pt x="49" y="234"/>
                  </a:lnTo>
                  <a:lnTo>
                    <a:pt x="50" y="234"/>
                  </a:lnTo>
                  <a:lnTo>
                    <a:pt x="51" y="234"/>
                  </a:lnTo>
                  <a:lnTo>
                    <a:pt x="52" y="232"/>
                  </a:lnTo>
                  <a:lnTo>
                    <a:pt x="52" y="231"/>
                  </a:lnTo>
                  <a:lnTo>
                    <a:pt x="52" y="230"/>
                  </a:lnTo>
                  <a:lnTo>
                    <a:pt x="53" y="229"/>
                  </a:lnTo>
                  <a:lnTo>
                    <a:pt x="53" y="230"/>
                  </a:lnTo>
                  <a:lnTo>
                    <a:pt x="53" y="231"/>
                  </a:lnTo>
                  <a:lnTo>
                    <a:pt x="53" y="234"/>
                  </a:lnTo>
                  <a:lnTo>
                    <a:pt x="55" y="234"/>
                  </a:lnTo>
                  <a:lnTo>
                    <a:pt x="56" y="234"/>
                  </a:lnTo>
                  <a:lnTo>
                    <a:pt x="56" y="232"/>
                  </a:lnTo>
                  <a:lnTo>
                    <a:pt x="56" y="231"/>
                  </a:lnTo>
                  <a:lnTo>
                    <a:pt x="56" y="232"/>
                  </a:lnTo>
                  <a:lnTo>
                    <a:pt x="56" y="235"/>
                  </a:lnTo>
                  <a:lnTo>
                    <a:pt x="56" y="236"/>
                  </a:lnTo>
                  <a:lnTo>
                    <a:pt x="57" y="236"/>
                  </a:lnTo>
                  <a:lnTo>
                    <a:pt x="57" y="235"/>
                  </a:lnTo>
                  <a:lnTo>
                    <a:pt x="58" y="235"/>
                  </a:lnTo>
                  <a:lnTo>
                    <a:pt x="58" y="234"/>
                  </a:lnTo>
                  <a:lnTo>
                    <a:pt x="59" y="234"/>
                  </a:lnTo>
                  <a:lnTo>
                    <a:pt x="61" y="235"/>
                  </a:lnTo>
                  <a:lnTo>
                    <a:pt x="62" y="235"/>
                  </a:lnTo>
                  <a:lnTo>
                    <a:pt x="62" y="234"/>
                  </a:lnTo>
                  <a:lnTo>
                    <a:pt x="63" y="234"/>
                  </a:lnTo>
                  <a:lnTo>
                    <a:pt x="63" y="232"/>
                  </a:lnTo>
                  <a:lnTo>
                    <a:pt x="64" y="232"/>
                  </a:lnTo>
                  <a:lnTo>
                    <a:pt x="65" y="234"/>
                  </a:lnTo>
                  <a:lnTo>
                    <a:pt x="65" y="232"/>
                  </a:lnTo>
                  <a:lnTo>
                    <a:pt x="67" y="232"/>
                  </a:lnTo>
                  <a:lnTo>
                    <a:pt x="68" y="232"/>
                  </a:lnTo>
                  <a:lnTo>
                    <a:pt x="68" y="231"/>
                  </a:lnTo>
                  <a:lnTo>
                    <a:pt x="69" y="231"/>
                  </a:lnTo>
                  <a:lnTo>
                    <a:pt x="70" y="231"/>
                  </a:lnTo>
                  <a:lnTo>
                    <a:pt x="70" y="232"/>
                  </a:lnTo>
                  <a:lnTo>
                    <a:pt x="71" y="232"/>
                  </a:lnTo>
                  <a:lnTo>
                    <a:pt x="71" y="234"/>
                  </a:lnTo>
                  <a:lnTo>
                    <a:pt x="71" y="235"/>
                  </a:lnTo>
                  <a:lnTo>
                    <a:pt x="71" y="236"/>
                  </a:lnTo>
                  <a:lnTo>
                    <a:pt x="70" y="236"/>
                  </a:lnTo>
                  <a:lnTo>
                    <a:pt x="69" y="236"/>
                  </a:lnTo>
                  <a:lnTo>
                    <a:pt x="69" y="235"/>
                  </a:lnTo>
                  <a:lnTo>
                    <a:pt x="68" y="235"/>
                  </a:lnTo>
                  <a:lnTo>
                    <a:pt x="68" y="236"/>
                  </a:lnTo>
                  <a:lnTo>
                    <a:pt x="68" y="237"/>
                  </a:lnTo>
                  <a:lnTo>
                    <a:pt x="69" y="237"/>
                  </a:lnTo>
                  <a:lnTo>
                    <a:pt x="68" y="237"/>
                  </a:lnTo>
                  <a:lnTo>
                    <a:pt x="68" y="236"/>
                  </a:lnTo>
                  <a:lnTo>
                    <a:pt x="67" y="236"/>
                  </a:lnTo>
                  <a:lnTo>
                    <a:pt x="65" y="237"/>
                  </a:lnTo>
                  <a:lnTo>
                    <a:pt x="65" y="238"/>
                  </a:lnTo>
                  <a:lnTo>
                    <a:pt x="67" y="238"/>
                  </a:lnTo>
                  <a:lnTo>
                    <a:pt x="65" y="238"/>
                  </a:lnTo>
                  <a:lnTo>
                    <a:pt x="64" y="238"/>
                  </a:lnTo>
                  <a:lnTo>
                    <a:pt x="64" y="240"/>
                  </a:lnTo>
                  <a:lnTo>
                    <a:pt x="67" y="241"/>
                  </a:lnTo>
                  <a:lnTo>
                    <a:pt x="68" y="240"/>
                  </a:lnTo>
                  <a:lnTo>
                    <a:pt x="69" y="240"/>
                  </a:lnTo>
                  <a:lnTo>
                    <a:pt x="69" y="238"/>
                  </a:lnTo>
                  <a:lnTo>
                    <a:pt x="70" y="238"/>
                  </a:lnTo>
                  <a:lnTo>
                    <a:pt x="71" y="238"/>
                  </a:lnTo>
                  <a:lnTo>
                    <a:pt x="73" y="238"/>
                  </a:lnTo>
                  <a:lnTo>
                    <a:pt x="74" y="238"/>
                  </a:lnTo>
                  <a:lnTo>
                    <a:pt x="74" y="237"/>
                  </a:lnTo>
                  <a:lnTo>
                    <a:pt x="74" y="236"/>
                  </a:lnTo>
                  <a:lnTo>
                    <a:pt x="75" y="235"/>
                  </a:lnTo>
                  <a:lnTo>
                    <a:pt x="77" y="235"/>
                  </a:lnTo>
                  <a:lnTo>
                    <a:pt x="79" y="235"/>
                  </a:lnTo>
                  <a:lnTo>
                    <a:pt x="80" y="235"/>
                  </a:lnTo>
                  <a:lnTo>
                    <a:pt x="80" y="236"/>
                  </a:lnTo>
                  <a:lnTo>
                    <a:pt x="79" y="236"/>
                  </a:lnTo>
                  <a:lnTo>
                    <a:pt x="79" y="237"/>
                  </a:lnTo>
                  <a:lnTo>
                    <a:pt x="77" y="236"/>
                  </a:lnTo>
                  <a:lnTo>
                    <a:pt x="77" y="237"/>
                  </a:lnTo>
                  <a:lnTo>
                    <a:pt x="76" y="237"/>
                  </a:lnTo>
                  <a:lnTo>
                    <a:pt x="75" y="238"/>
                  </a:lnTo>
                  <a:lnTo>
                    <a:pt x="76" y="240"/>
                  </a:lnTo>
                  <a:lnTo>
                    <a:pt x="76" y="241"/>
                  </a:lnTo>
                  <a:lnTo>
                    <a:pt x="77" y="241"/>
                  </a:lnTo>
                  <a:lnTo>
                    <a:pt x="79" y="241"/>
                  </a:lnTo>
                  <a:lnTo>
                    <a:pt x="79" y="240"/>
                  </a:lnTo>
                  <a:lnTo>
                    <a:pt x="80" y="238"/>
                  </a:lnTo>
                  <a:lnTo>
                    <a:pt x="80" y="237"/>
                  </a:lnTo>
                  <a:lnTo>
                    <a:pt x="81" y="237"/>
                  </a:lnTo>
                  <a:lnTo>
                    <a:pt x="82" y="236"/>
                  </a:lnTo>
                  <a:lnTo>
                    <a:pt x="83" y="236"/>
                  </a:lnTo>
                  <a:lnTo>
                    <a:pt x="82" y="237"/>
                  </a:lnTo>
                  <a:lnTo>
                    <a:pt x="82" y="238"/>
                  </a:lnTo>
                  <a:lnTo>
                    <a:pt x="83" y="238"/>
                  </a:lnTo>
                  <a:lnTo>
                    <a:pt x="85" y="237"/>
                  </a:lnTo>
                  <a:lnTo>
                    <a:pt x="83" y="238"/>
                  </a:lnTo>
                  <a:lnTo>
                    <a:pt x="83" y="240"/>
                  </a:lnTo>
                  <a:lnTo>
                    <a:pt x="82" y="240"/>
                  </a:lnTo>
                  <a:lnTo>
                    <a:pt x="81" y="241"/>
                  </a:lnTo>
                  <a:lnTo>
                    <a:pt x="80" y="241"/>
                  </a:lnTo>
                  <a:lnTo>
                    <a:pt x="79" y="241"/>
                  </a:lnTo>
                  <a:lnTo>
                    <a:pt x="79" y="242"/>
                  </a:lnTo>
                  <a:lnTo>
                    <a:pt x="79" y="243"/>
                  </a:lnTo>
                  <a:lnTo>
                    <a:pt x="77" y="243"/>
                  </a:lnTo>
                  <a:lnTo>
                    <a:pt x="76" y="243"/>
                  </a:lnTo>
                  <a:lnTo>
                    <a:pt x="75" y="243"/>
                  </a:lnTo>
                  <a:lnTo>
                    <a:pt x="75" y="242"/>
                  </a:lnTo>
                  <a:lnTo>
                    <a:pt x="74" y="242"/>
                  </a:lnTo>
                  <a:lnTo>
                    <a:pt x="73" y="242"/>
                  </a:lnTo>
                  <a:lnTo>
                    <a:pt x="73" y="243"/>
                  </a:lnTo>
                  <a:lnTo>
                    <a:pt x="74" y="243"/>
                  </a:lnTo>
                  <a:lnTo>
                    <a:pt x="74" y="244"/>
                  </a:lnTo>
                  <a:lnTo>
                    <a:pt x="75" y="244"/>
                  </a:lnTo>
                  <a:lnTo>
                    <a:pt x="75" y="246"/>
                  </a:lnTo>
                  <a:lnTo>
                    <a:pt x="75" y="247"/>
                  </a:lnTo>
                  <a:lnTo>
                    <a:pt x="74" y="246"/>
                  </a:lnTo>
                  <a:lnTo>
                    <a:pt x="74" y="244"/>
                  </a:lnTo>
                  <a:lnTo>
                    <a:pt x="71" y="244"/>
                  </a:lnTo>
                  <a:lnTo>
                    <a:pt x="70" y="246"/>
                  </a:lnTo>
                  <a:lnTo>
                    <a:pt x="69" y="246"/>
                  </a:lnTo>
                  <a:lnTo>
                    <a:pt x="69" y="244"/>
                  </a:lnTo>
                  <a:lnTo>
                    <a:pt x="68" y="246"/>
                  </a:lnTo>
                  <a:lnTo>
                    <a:pt x="68" y="244"/>
                  </a:lnTo>
                  <a:lnTo>
                    <a:pt x="67" y="246"/>
                  </a:lnTo>
                  <a:lnTo>
                    <a:pt x="67" y="247"/>
                  </a:lnTo>
                  <a:lnTo>
                    <a:pt x="67" y="248"/>
                  </a:lnTo>
                  <a:lnTo>
                    <a:pt x="65" y="249"/>
                  </a:lnTo>
                  <a:lnTo>
                    <a:pt x="65" y="248"/>
                  </a:lnTo>
                  <a:lnTo>
                    <a:pt x="65" y="247"/>
                  </a:lnTo>
                  <a:lnTo>
                    <a:pt x="64" y="247"/>
                  </a:lnTo>
                  <a:lnTo>
                    <a:pt x="63" y="247"/>
                  </a:lnTo>
                  <a:lnTo>
                    <a:pt x="63" y="246"/>
                  </a:lnTo>
                  <a:lnTo>
                    <a:pt x="62" y="246"/>
                  </a:lnTo>
                  <a:lnTo>
                    <a:pt x="61" y="247"/>
                  </a:lnTo>
                  <a:lnTo>
                    <a:pt x="59" y="247"/>
                  </a:lnTo>
                  <a:lnTo>
                    <a:pt x="58" y="247"/>
                  </a:lnTo>
                  <a:lnTo>
                    <a:pt x="57" y="248"/>
                  </a:lnTo>
                  <a:lnTo>
                    <a:pt x="57" y="247"/>
                  </a:lnTo>
                  <a:lnTo>
                    <a:pt x="56" y="247"/>
                  </a:lnTo>
                  <a:lnTo>
                    <a:pt x="55" y="247"/>
                  </a:lnTo>
                  <a:lnTo>
                    <a:pt x="55" y="248"/>
                  </a:lnTo>
                  <a:lnTo>
                    <a:pt x="53" y="248"/>
                  </a:lnTo>
                  <a:lnTo>
                    <a:pt x="55" y="249"/>
                  </a:lnTo>
                  <a:lnTo>
                    <a:pt x="56" y="249"/>
                  </a:lnTo>
                  <a:lnTo>
                    <a:pt x="56" y="250"/>
                  </a:lnTo>
                  <a:lnTo>
                    <a:pt x="57" y="250"/>
                  </a:lnTo>
                  <a:lnTo>
                    <a:pt x="58" y="252"/>
                  </a:lnTo>
                  <a:lnTo>
                    <a:pt x="57" y="252"/>
                  </a:lnTo>
                  <a:lnTo>
                    <a:pt x="57" y="253"/>
                  </a:lnTo>
                  <a:lnTo>
                    <a:pt x="58" y="253"/>
                  </a:lnTo>
                  <a:lnTo>
                    <a:pt x="59" y="253"/>
                  </a:lnTo>
                  <a:lnTo>
                    <a:pt x="59" y="252"/>
                  </a:lnTo>
                  <a:lnTo>
                    <a:pt x="59" y="250"/>
                  </a:lnTo>
                  <a:lnTo>
                    <a:pt x="61" y="250"/>
                  </a:lnTo>
                  <a:lnTo>
                    <a:pt x="61" y="252"/>
                  </a:lnTo>
                  <a:lnTo>
                    <a:pt x="62" y="252"/>
                  </a:lnTo>
                  <a:lnTo>
                    <a:pt x="63" y="252"/>
                  </a:lnTo>
                  <a:lnTo>
                    <a:pt x="64" y="252"/>
                  </a:lnTo>
                  <a:lnTo>
                    <a:pt x="63" y="253"/>
                  </a:lnTo>
                  <a:lnTo>
                    <a:pt x="62" y="253"/>
                  </a:lnTo>
                  <a:lnTo>
                    <a:pt x="61" y="254"/>
                  </a:lnTo>
                  <a:lnTo>
                    <a:pt x="62" y="254"/>
                  </a:lnTo>
                  <a:lnTo>
                    <a:pt x="63" y="254"/>
                  </a:lnTo>
                  <a:lnTo>
                    <a:pt x="63" y="255"/>
                  </a:lnTo>
                  <a:lnTo>
                    <a:pt x="64" y="254"/>
                  </a:lnTo>
                  <a:lnTo>
                    <a:pt x="65" y="254"/>
                  </a:lnTo>
                  <a:lnTo>
                    <a:pt x="65" y="253"/>
                  </a:lnTo>
                  <a:lnTo>
                    <a:pt x="67" y="253"/>
                  </a:lnTo>
                  <a:lnTo>
                    <a:pt x="68" y="253"/>
                  </a:lnTo>
                  <a:lnTo>
                    <a:pt x="68" y="254"/>
                  </a:lnTo>
                  <a:lnTo>
                    <a:pt x="67" y="254"/>
                  </a:lnTo>
                  <a:lnTo>
                    <a:pt x="65" y="255"/>
                  </a:lnTo>
                  <a:lnTo>
                    <a:pt x="64" y="256"/>
                  </a:lnTo>
                  <a:lnTo>
                    <a:pt x="64" y="258"/>
                  </a:lnTo>
                  <a:lnTo>
                    <a:pt x="65" y="258"/>
                  </a:lnTo>
                  <a:lnTo>
                    <a:pt x="64" y="259"/>
                  </a:lnTo>
                  <a:lnTo>
                    <a:pt x="63" y="259"/>
                  </a:lnTo>
                  <a:lnTo>
                    <a:pt x="63" y="258"/>
                  </a:lnTo>
                  <a:lnTo>
                    <a:pt x="62" y="259"/>
                  </a:lnTo>
                  <a:lnTo>
                    <a:pt x="62" y="260"/>
                  </a:lnTo>
                  <a:lnTo>
                    <a:pt x="63" y="260"/>
                  </a:lnTo>
                  <a:lnTo>
                    <a:pt x="62" y="261"/>
                  </a:lnTo>
                  <a:lnTo>
                    <a:pt x="61" y="261"/>
                  </a:lnTo>
                  <a:lnTo>
                    <a:pt x="61" y="262"/>
                  </a:lnTo>
                  <a:lnTo>
                    <a:pt x="59" y="262"/>
                  </a:lnTo>
                  <a:lnTo>
                    <a:pt x="58" y="262"/>
                  </a:lnTo>
                  <a:lnTo>
                    <a:pt x="58" y="264"/>
                  </a:lnTo>
                  <a:lnTo>
                    <a:pt x="59" y="266"/>
                  </a:lnTo>
                  <a:lnTo>
                    <a:pt x="59" y="267"/>
                  </a:lnTo>
                  <a:lnTo>
                    <a:pt x="58" y="266"/>
                  </a:lnTo>
                  <a:lnTo>
                    <a:pt x="57" y="266"/>
                  </a:lnTo>
                  <a:lnTo>
                    <a:pt x="56" y="266"/>
                  </a:lnTo>
                  <a:lnTo>
                    <a:pt x="55" y="266"/>
                  </a:lnTo>
                  <a:lnTo>
                    <a:pt x="55" y="267"/>
                  </a:lnTo>
                  <a:lnTo>
                    <a:pt x="55" y="268"/>
                  </a:lnTo>
                  <a:lnTo>
                    <a:pt x="56" y="267"/>
                  </a:lnTo>
                  <a:lnTo>
                    <a:pt x="56" y="268"/>
                  </a:lnTo>
                  <a:lnTo>
                    <a:pt x="56" y="270"/>
                  </a:lnTo>
                  <a:lnTo>
                    <a:pt x="57" y="270"/>
                  </a:lnTo>
                  <a:lnTo>
                    <a:pt x="58" y="270"/>
                  </a:lnTo>
                  <a:lnTo>
                    <a:pt x="58" y="268"/>
                  </a:lnTo>
                  <a:lnTo>
                    <a:pt x="59" y="268"/>
                  </a:lnTo>
                  <a:lnTo>
                    <a:pt x="61" y="270"/>
                  </a:lnTo>
                  <a:lnTo>
                    <a:pt x="62" y="268"/>
                  </a:lnTo>
                  <a:lnTo>
                    <a:pt x="63" y="270"/>
                  </a:lnTo>
                  <a:lnTo>
                    <a:pt x="64" y="270"/>
                  </a:lnTo>
                  <a:lnTo>
                    <a:pt x="65" y="271"/>
                  </a:lnTo>
                  <a:lnTo>
                    <a:pt x="67" y="270"/>
                  </a:lnTo>
                  <a:lnTo>
                    <a:pt x="68" y="270"/>
                  </a:lnTo>
                  <a:lnTo>
                    <a:pt x="69" y="270"/>
                  </a:lnTo>
                  <a:lnTo>
                    <a:pt x="69" y="268"/>
                  </a:lnTo>
                  <a:lnTo>
                    <a:pt x="70" y="270"/>
                  </a:lnTo>
                  <a:lnTo>
                    <a:pt x="69" y="271"/>
                  </a:lnTo>
                  <a:lnTo>
                    <a:pt x="69" y="272"/>
                  </a:lnTo>
                  <a:lnTo>
                    <a:pt x="70" y="272"/>
                  </a:lnTo>
                  <a:lnTo>
                    <a:pt x="70" y="273"/>
                  </a:lnTo>
                  <a:lnTo>
                    <a:pt x="69" y="273"/>
                  </a:lnTo>
                  <a:lnTo>
                    <a:pt x="68" y="273"/>
                  </a:lnTo>
                  <a:lnTo>
                    <a:pt x="67" y="273"/>
                  </a:lnTo>
                  <a:lnTo>
                    <a:pt x="67" y="274"/>
                  </a:lnTo>
                  <a:lnTo>
                    <a:pt x="65" y="274"/>
                  </a:lnTo>
                  <a:lnTo>
                    <a:pt x="65" y="276"/>
                  </a:lnTo>
                  <a:lnTo>
                    <a:pt x="67" y="276"/>
                  </a:lnTo>
                  <a:lnTo>
                    <a:pt x="67" y="277"/>
                  </a:lnTo>
                  <a:lnTo>
                    <a:pt x="68" y="277"/>
                  </a:lnTo>
                  <a:lnTo>
                    <a:pt x="69" y="278"/>
                  </a:lnTo>
                  <a:lnTo>
                    <a:pt x="70" y="277"/>
                  </a:lnTo>
                  <a:lnTo>
                    <a:pt x="71" y="277"/>
                  </a:lnTo>
                  <a:lnTo>
                    <a:pt x="73" y="276"/>
                  </a:lnTo>
                  <a:lnTo>
                    <a:pt x="73" y="274"/>
                  </a:lnTo>
                  <a:lnTo>
                    <a:pt x="74" y="274"/>
                  </a:lnTo>
                  <a:lnTo>
                    <a:pt x="74" y="273"/>
                  </a:lnTo>
                  <a:lnTo>
                    <a:pt x="75" y="272"/>
                  </a:lnTo>
                  <a:lnTo>
                    <a:pt x="75" y="271"/>
                  </a:lnTo>
                  <a:lnTo>
                    <a:pt x="76" y="270"/>
                  </a:lnTo>
                  <a:lnTo>
                    <a:pt x="76" y="268"/>
                  </a:lnTo>
                  <a:lnTo>
                    <a:pt x="76" y="267"/>
                  </a:lnTo>
                  <a:lnTo>
                    <a:pt x="77" y="267"/>
                  </a:lnTo>
                  <a:lnTo>
                    <a:pt x="77" y="268"/>
                  </a:lnTo>
                  <a:lnTo>
                    <a:pt x="77" y="270"/>
                  </a:lnTo>
                  <a:lnTo>
                    <a:pt x="77" y="271"/>
                  </a:lnTo>
                  <a:lnTo>
                    <a:pt x="76" y="272"/>
                  </a:lnTo>
                  <a:lnTo>
                    <a:pt x="76" y="273"/>
                  </a:lnTo>
                  <a:lnTo>
                    <a:pt x="77" y="273"/>
                  </a:lnTo>
                  <a:lnTo>
                    <a:pt x="79" y="273"/>
                  </a:lnTo>
                  <a:lnTo>
                    <a:pt x="79" y="274"/>
                  </a:lnTo>
                  <a:lnTo>
                    <a:pt x="80" y="274"/>
                  </a:lnTo>
                  <a:lnTo>
                    <a:pt x="81" y="273"/>
                  </a:lnTo>
                  <a:lnTo>
                    <a:pt x="81" y="272"/>
                  </a:lnTo>
                  <a:lnTo>
                    <a:pt x="80" y="272"/>
                  </a:lnTo>
                  <a:lnTo>
                    <a:pt x="81" y="272"/>
                  </a:lnTo>
                  <a:lnTo>
                    <a:pt x="82" y="272"/>
                  </a:lnTo>
                  <a:lnTo>
                    <a:pt x="83" y="273"/>
                  </a:lnTo>
                  <a:lnTo>
                    <a:pt x="83" y="274"/>
                  </a:lnTo>
                  <a:lnTo>
                    <a:pt x="83" y="276"/>
                  </a:lnTo>
                  <a:lnTo>
                    <a:pt x="85" y="276"/>
                  </a:lnTo>
                  <a:lnTo>
                    <a:pt x="86" y="276"/>
                  </a:lnTo>
                  <a:lnTo>
                    <a:pt x="86" y="274"/>
                  </a:lnTo>
                  <a:lnTo>
                    <a:pt x="87" y="274"/>
                  </a:lnTo>
                  <a:lnTo>
                    <a:pt x="88" y="274"/>
                  </a:lnTo>
                  <a:lnTo>
                    <a:pt x="88" y="273"/>
                  </a:lnTo>
                  <a:lnTo>
                    <a:pt x="89" y="272"/>
                  </a:lnTo>
                  <a:lnTo>
                    <a:pt x="88" y="272"/>
                  </a:lnTo>
                  <a:lnTo>
                    <a:pt x="87" y="273"/>
                  </a:lnTo>
                  <a:lnTo>
                    <a:pt x="87" y="272"/>
                  </a:lnTo>
                  <a:lnTo>
                    <a:pt x="88" y="271"/>
                  </a:lnTo>
                  <a:lnTo>
                    <a:pt x="89" y="271"/>
                  </a:lnTo>
                  <a:lnTo>
                    <a:pt x="91" y="271"/>
                  </a:lnTo>
                  <a:lnTo>
                    <a:pt x="91" y="270"/>
                  </a:lnTo>
                  <a:lnTo>
                    <a:pt x="91" y="268"/>
                  </a:lnTo>
                  <a:lnTo>
                    <a:pt x="89" y="268"/>
                  </a:lnTo>
                  <a:lnTo>
                    <a:pt x="91" y="267"/>
                  </a:lnTo>
                  <a:lnTo>
                    <a:pt x="91" y="266"/>
                  </a:lnTo>
                  <a:lnTo>
                    <a:pt x="91" y="265"/>
                  </a:lnTo>
                  <a:lnTo>
                    <a:pt x="92" y="265"/>
                  </a:lnTo>
                  <a:lnTo>
                    <a:pt x="92" y="264"/>
                  </a:lnTo>
                  <a:lnTo>
                    <a:pt x="93" y="264"/>
                  </a:lnTo>
                  <a:lnTo>
                    <a:pt x="93" y="262"/>
                  </a:lnTo>
                  <a:lnTo>
                    <a:pt x="92" y="262"/>
                  </a:lnTo>
                  <a:lnTo>
                    <a:pt x="92" y="261"/>
                  </a:lnTo>
                  <a:lnTo>
                    <a:pt x="92" y="260"/>
                  </a:lnTo>
                  <a:lnTo>
                    <a:pt x="93" y="261"/>
                  </a:lnTo>
                  <a:lnTo>
                    <a:pt x="94" y="261"/>
                  </a:lnTo>
                  <a:lnTo>
                    <a:pt x="94" y="262"/>
                  </a:lnTo>
                  <a:lnTo>
                    <a:pt x="94" y="264"/>
                  </a:lnTo>
                  <a:lnTo>
                    <a:pt x="94" y="265"/>
                  </a:lnTo>
                  <a:lnTo>
                    <a:pt x="96" y="265"/>
                  </a:lnTo>
                  <a:lnTo>
                    <a:pt x="96" y="266"/>
                  </a:lnTo>
                  <a:lnTo>
                    <a:pt x="98" y="266"/>
                  </a:lnTo>
                  <a:lnTo>
                    <a:pt x="99" y="266"/>
                  </a:lnTo>
                  <a:lnTo>
                    <a:pt x="99" y="265"/>
                  </a:lnTo>
                  <a:lnTo>
                    <a:pt x="99" y="264"/>
                  </a:lnTo>
                  <a:lnTo>
                    <a:pt x="98" y="262"/>
                  </a:lnTo>
                  <a:lnTo>
                    <a:pt x="97" y="262"/>
                  </a:lnTo>
                  <a:lnTo>
                    <a:pt x="96" y="261"/>
                  </a:lnTo>
                  <a:lnTo>
                    <a:pt x="94" y="260"/>
                  </a:lnTo>
                  <a:lnTo>
                    <a:pt x="94" y="259"/>
                  </a:lnTo>
                  <a:lnTo>
                    <a:pt x="96" y="259"/>
                  </a:lnTo>
                  <a:lnTo>
                    <a:pt x="96" y="258"/>
                  </a:lnTo>
                  <a:lnTo>
                    <a:pt x="97" y="258"/>
                  </a:lnTo>
                  <a:lnTo>
                    <a:pt x="98" y="256"/>
                  </a:lnTo>
                  <a:lnTo>
                    <a:pt x="99" y="256"/>
                  </a:lnTo>
                  <a:lnTo>
                    <a:pt x="99" y="255"/>
                  </a:lnTo>
                  <a:lnTo>
                    <a:pt x="98" y="256"/>
                  </a:lnTo>
                  <a:lnTo>
                    <a:pt x="97" y="256"/>
                  </a:lnTo>
                  <a:lnTo>
                    <a:pt x="97" y="255"/>
                  </a:lnTo>
                  <a:lnTo>
                    <a:pt x="98" y="255"/>
                  </a:lnTo>
                  <a:lnTo>
                    <a:pt x="99" y="255"/>
                  </a:lnTo>
                  <a:lnTo>
                    <a:pt x="100" y="255"/>
                  </a:lnTo>
                  <a:lnTo>
                    <a:pt x="102" y="255"/>
                  </a:lnTo>
                  <a:lnTo>
                    <a:pt x="103" y="255"/>
                  </a:lnTo>
                  <a:lnTo>
                    <a:pt x="103" y="254"/>
                  </a:lnTo>
                  <a:lnTo>
                    <a:pt x="102" y="254"/>
                  </a:lnTo>
                  <a:lnTo>
                    <a:pt x="100" y="254"/>
                  </a:lnTo>
                  <a:lnTo>
                    <a:pt x="102" y="253"/>
                  </a:lnTo>
                  <a:lnTo>
                    <a:pt x="103" y="254"/>
                  </a:lnTo>
                  <a:lnTo>
                    <a:pt x="104" y="255"/>
                  </a:lnTo>
                  <a:lnTo>
                    <a:pt x="105" y="255"/>
                  </a:lnTo>
                  <a:lnTo>
                    <a:pt x="106" y="254"/>
                  </a:lnTo>
                  <a:lnTo>
                    <a:pt x="106" y="253"/>
                  </a:lnTo>
                  <a:lnTo>
                    <a:pt x="105" y="253"/>
                  </a:lnTo>
                  <a:lnTo>
                    <a:pt x="105" y="252"/>
                  </a:lnTo>
                  <a:lnTo>
                    <a:pt x="104" y="252"/>
                  </a:lnTo>
                  <a:lnTo>
                    <a:pt x="103" y="252"/>
                  </a:lnTo>
                  <a:lnTo>
                    <a:pt x="102" y="252"/>
                  </a:lnTo>
                  <a:lnTo>
                    <a:pt x="100" y="252"/>
                  </a:lnTo>
                  <a:lnTo>
                    <a:pt x="99" y="250"/>
                  </a:lnTo>
                  <a:lnTo>
                    <a:pt x="99" y="249"/>
                  </a:lnTo>
                  <a:lnTo>
                    <a:pt x="99" y="250"/>
                  </a:lnTo>
                  <a:lnTo>
                    <a:pt x="102" y="250"/>
                  </a:lnTo>
                  <a:lnTo>
                    <a:pt x="103" y="250"/>
                  </a:lnTo>
                  <a:lnTo>
                    <a:pt x="104" y="249"/>
                  </a:lnTo>
                  <a:lnTo>
                    <a:pt x="104" y="248"/>
                  </a:lnTo>
                  <a:lnTo>
                    <a:pt x="104" y="247"/>
                  </a:lnTo>
                  <a:lnTo>
                    <a:pt x="103" y="247"/>
                  </a:lnTo>
                  <a:lnTo>
                    <a:pt x="103" y="248"/>
                  </a:lnTo>
                  <a:lnTo>
                    <a:pt x="102" y="247"/>
                  </a:lnTo>
                  <a:lnTo>
                    <a:pt x="102" y="248"/>
                  </a:lnTo>
                  <a:lnTo>
                    <a:pt x="100" y="248"/>
                  </a:lnTo>
                  <a:lnTo>
                    <a:pt x="99" y="248"/>
                  </a:lnTo>
                  <a:lnTo>
                    <a:pt x="98" y="249"/>
                  </a:lnTo>
                  <a:lnTo>
                    <a:pt x="98" y="250"/>
                  </a:lnTo>
                  <a:lnTo>
                    <a:pt x="97" y="250"/>
                  </a:lnTo>
                  <a:lnTo>
                    <a:pt x="98" y="249"/>
                  </a:lnTo>
                  <a:lnTo>
                    <a:pt x="98" y="248"/>
                  </a:lnTo>
                  <a:lnTo>
                    <a:pt x="99" y="247"/>
                  </a:lnTo>
                  <a:lnTo>
                    <a:pt x="100" y="247"/>
                  </a:lnTo>
                  <a:lnTo>
                    <a:pt x="99" y="246"/>
                  </a:lnTo>
                  <a:lnTo>
                    <a:pt x="98" y="247"/>
                  </a:lnTo>
                  <a:lnTo>
                    <a:pt x="98" y="246"/>
                  </a:lnTo>
                  <a:lnTo>
                    <a:pt x="97" y="244"/>
                  </a:lnTo>
                  <a:lnTo>
                    <a:pt x="97" y="246"/>
                  </a:lnTo>
                  <a:lnTo>
                    <a:pt x="97" y="247"/>
                  </a:lnTo>
                  <a:lnTo>
                    <a:pt x="96" y="247"/>
                  </a:lnTo>
                  <a:lnTo>
                    <a:pt x="96" y="246"/>
                  </a:lnTo>
                  <a:lnTo>
                    <a:pt x="96" y="244"/>
                  </a:lnTo>
                  <a:lnTo>
                    <a:pt x="94" y="244"/>
                  </a:lnTo>
                  <a:lnTo>
                    <a:pt x="94" y="243"/>
                  </a:lnTo>
                  <a:lnTo>
                    <a:pt x="93" y="242"/>
                  </a:lnTo>
                  <a:lnTo>
                    <a:pt x="93" y="241"/>
                  </a:lnTo>
                  <a:lnTo>
                    <a:pt x="94" y="240"/>
                  </a:lnTo>
                  <a:lnTo>
                    <a:pt x="96" y="241"/>
                  </a:lnTo>
                  <a:lnTo>
                    <a:pt x="97" y="241"/>
                  </a:lnTo>
                  <a:lnTo>
                    <a:pt x="97" y="242"/>
                  </a:lnTo>
                  <a:lnTo>
                    <a:pt x="98" y="242"/>
                  </a:lnTo>
                  <a:lnTo>
                    <a:pt x="99" y="242"/>
                  </a:lnTo>
                  <a:lnTo>
                    <a:pt x="99" y="241"/>
                  </a:lnTo>
                  <a:lnTo>
                    <a:pt x="99" y="240"/>
                  </a:lnTo>
                  <a:lnTo>
                    <a:pt x="100" y="240"/>
                  </a:lnTo>
                  <a:lnTo>
                    <a:pt x="99" y="240"/>
                  </a:lnTo>
                  <a:lnTo>
                    <a:pt x="98" y="240"/>
                  </a:lnTo>
                  <a:lnTo>
                    <a:pt x="97" y="240"/>
                  </a:lnTo>
                  <a:lnTo>
                    <a:pt x="96" y="240"/>
                  </a:lnTo>
                  <a:lnTo>
                    <a:pt x="94" y="238"/>
                  </a:lnTo>
                  <a:lnTo>
                    <a:pt x="93" y="237"/>
                  </a:lnTo>
                  <a:lnTo>
                    <a:pt x="93" y="236"/>
                  </a:lnTo>
                  <a:lnTo>
                    <a:pt x="93" y="235"/>
                  </a:lnTo>
                  <a:lnTo>
                    <a:pt x="92" y="235"/>
                  </a:lnTo>
                  <a:lnTo>
                    <a:pt x="91" y="234"/>
                  </a:lnTo>
                  <a:lnTo>
                    <a:pt x="91" y="232"/>
                  </a:lnTo>
                  <a:lnTo>
                    <a:pt x="91" y="231"/>
                  </a:lnTo>
                  <a:lnTo>
                    <a:pt x="91" y="230"/>
                  </a:lnTo>
                  <a:lnTo>
                    <a:pt x="91" y="229"/>
                  </a:lnTo>
                  <a:lnTo>
                    <a:pt x="92" y="228"/>
                  </a:lnTo>
                  <a:lnTo>
                    <a:pt x="92" y="226"/>
                  </a:lnTo>
                  <a:lnTo>
                    <a:pt x="93" y="225"/>
                  </a:lnTo>
                  <a:lnTo>
                    <a:pt x="94" y="226"/>
                  </a:lnTo>
                  <a:lnTo>
                    <a:pt x="96" y="228"/>
                  </a:lnTo>
                  <a:lnTo>
                    <a:pt x="94" y="229"/>
                  </a:lnTo>
                  <a:lnTo>
                    <a:pt x="94" y="228"/>
                  </a:lnTo>
                  <a:lnTo>
                    <a:pt x="93" y="228"/>
                  </a:lnTo>
                  <a:lnTo>
                    <a:pt x="93" y="229"/>
                  </a:lnTo>
                  <a:lnTo>
                    <a:pt x="92" y="229"/>
                  </a:lnTo>
                  <a:lnTo>
                    <a:pt x="93" y="229"/>
                  </a:lnTo>
                  <a:lnTo>
                    <a:pt x="93" y="230"/>
                  </a:lnTo>
                  <a:lnTo>
                    <a:pt x="93" y="231"/>
                  </a:lnTo>
                  <a:lnTo>
                    <a:pt x="94" y="231"/>
                  </a:lnTo>
                  <a:lnTo>
                    <a:pt x="94" y="230"/>
                  </a:lnTo>
                  <a:lnTo>
                    <a:pt x="96" y="229"/>
                  </a:lnTo>
                  <a:lnTo>
                    <a:pt x="97" y="229"/>
                  </a:lnTo>
                  <a:lnTo>
                    <a:pt x="98" y="229"/>
                  </a:lnTo>
                  <a:lnTo>
                    <a:pt x="99" y="229"/>
                  </a:lnTo>
                  <a:lnTo>
                    <a:pt x="100" y="229"/>
                  </a:lnTo>
                  <a:lnTo>
                    <a:pt x="100" y="230"/>
                  </a:lnTo>
                  <a:lnTo>
                    <a:pt x="100" y="231"/>
                  </a:lnTo>
                  <a:lnTo>
                    <a:pt x="99" y="231"/>
                  </a:lnTo>
                  <a:lnTo>
                    <a:pt x="98" y="231"/>
                  </a:lnTo>
                  <a:lnTo>
                    <a:pt x="97" y="231"/>
                  </a:lnTo>
                  <a:lnTo>
                    <a:pt x="97" y="232"/>
                  </a:lnTo>
                  <a:lnTo>
                    <a:pt x="98" y="234"/>
                  </a:lnTo>
                  <a:lnTo>
                    <a:pt x="99" y="235"/>
                  </a:lnTo>
                  <a:lnTo>
                    <a:pt x="100" y="235"/>
                  </a:lnTo>
                  <a:lnTo>
                    <a:pt x="102" y="235"/>
                  </a:lnTo>
                  <a:lnTo>
                    <a:pt x="100" y="234"/>
                  </a:lnTo>
                  <a:lnTo>
                    <a:pt x="102" y="234"/>
                  </a:lnTo>
                  <a:lnTo>
                    <a:pt x="102" y="232"/>
                  </a:lnTo>
                  <a:lnTo>
                    <a:pt x="102" y="231"/>
                  </a:lnTo>
                  <a:lnTo>
                    <a:pt x="103" y="230"/>
                  </a:lnTo>
                  <a:lnTo>
                    <a:pt x="104" y="231"/>
                  </a:lnTo>
                  <a:lnTo>
                    <a:pt x="105" y="231"/>
                  </a:lnTo>
                  <a:lnTo>
                    <a:pt x="106" y="231"/>
                  </a:lnTo>
                  <a:lnTo>
                    <a:pt x="108" y="231"/>
                  </a:lnTo>
                  <a:lnTo>
                    <a:pt x="108" y="230"/>
                  </a:lnTo>
                  <a:lnTo>
                    <a:pt x="108" y="229"/>
                  </a:lnTo>
                  <a:lnTo>
                    <a:pt x="106" y="229"/>
                  </a:lnTo>
                  <a:lnTo>
                    <a:pt x="105" y="229"/>
                  </a:lnTo>
                  <a:lnTo>
                    <a:pt x="106" y="229"/>
                  </a:lnTo>
                  <a:lnTo>
                    <a:pt x="108" y="229"/>
                  </a:lnTo>
                  <a:lnTo>
                    <a:pt x="109" y="229"/>
                  </a:lnTo>
                  <a:lnTo>
                    <a:pt x="110" y="228"/>
                  </a:lnTo>
                  <a:lnTo>
                    <a:pt x="111" y="229"/>
                  </a:lnTo>
                  <a:lnTo>
                    <a:pt x="112" y="228"/>
                  </a:lnTo>
                  <a:lnTo>
                    <a:pt x="111" y="228"/>
                  </a:lnTo>
                  <a:lnTo>
                    <a:pt x="111" y="226"/>
                  </a:lnTo>
                  <a:lnTo>
                    <a:pt x="112" y="226"/>
                  </a:lnTo>
                  <a:lnTo>
                    <a:pt x="114" y="226"/>
                  </a:lnTo>
                  <a:lnTo>
                    <a:pt x="114" y="228"/>
                  </a:lnTo>
                  <a:lnTo>
                    <a:pt x="112" y="229"/>
                  </a:lnTo>
                  <a:lnTo>
                    <a:pt x="114" y="229"/>
                  </a:lnTo>
                  <a:lnTo>
                    <a:pt x="115" y="228"/>
                  </a:lnTo>
                  <a:lnTo>
                    <a:pt x="115" y="226"/>
                  </a:lnTo>
                  <a:lnTo>
                    <a:pt x="115" y="225"/>
                  </a:lnTo>
                  <a:lnTo>
                    <a:pt x="115" y="226"/>
                  </a:lnTo>
                  <a:lnTo>
                    <a:pt x="116" y="226"/>
                  </a:lnTo>
                  <a:lnTo>
                    <a:pt x="115" y="228"/>
                  </a:lnTo>
                  <a:lnTo>
                    <a:pt x="115" y="229"/>
                  </a:lnTo>
                  <a:lnTo>
                    <a:pt x="114" y="229"/>
                  </a:lnTo>
                  <a:lnTo>
                    <a:pt x="114" y="230"/>
                  </a:lnTo>
                  <a:lnTo>
                    <a:pt x="112" y="231"/>
                  </a:lnTo>
                  <a:lnTo>
                    <a:pt x="114" y="231"/>
                  </a:lnTo>
                  <a:lnTo>
                    <a:pt x="115" y="230"/>
                  </a:lnTo>
                  <a:lnTo>
                    <a:pt x="115" y="231"/>
                  </a:lnTo>
                  <a:lnTo>
                    <a:pt x="114" y="232"/>
                  </a:lnTo>
                  <a:lnTo>
                    <a:pt x="115" y="232"/>
                  </a:lnTo>
                  <a:lnTo>
                    <a:pt x="115" y="234"/>
                  </a:lnTo>
                  <a:lnTo>
                    <a:pt x="114" y="238"/>
                  </a:lnTo>
                  <a:lnTo>
                    <a:pt x="114" y="240"/>
                  </a:lnTo>
                  <a:lnTo>
                    <a:pt x="114" y="241"/>
                  </a:lnTo>
                  <a:lnTo>
                    <a:pt x="114" y="242"/>
                  </a:lnTo>
                  <a:lnTo>
                    <a:pt x="114" y="243"/>
                  </a:lnTo>
                  <a:lnTo>
                    <a:pt x="115" y="244"/>
                  </a:lnTo>
                  <a:lnTo>
                    <a:pt x="114" y="244"/>
                  </a:lnTo>
                  <a:lnTo>
                    <a:pt x="115" y="246"/>
                  </a:lnTo>
                  <a:lnTo>
                    <a:pt x="116" y="246"/>
                  </a:lnTo>
                  <a:lnTo>
                    <a:pt x="116" y="247"/>
                  </a:lnTo>
                  <a:lnTo>
                    <a:pt x="116" y="248"/>
                  </a:lnTo>
                  <a:lnTo>
                    <a:pt x="117" y="248"/>
                  </a:lnTo>
                  <a:lnTo>
                    <a:pt x="117" y="250"/>
                  </a:lnTo>
                  <a:lnTo>
                    <a:pt x="117" y="252"/>
                  </a:lnTo>
                  <a:lnTo>
                    <a:pt x="117" y="254"/>
                  </a:lnTo>
                  <a:lnTo>
                    <a:pt x="117" y="255"/>
                  </a:lnTo>
                  <a:lnTo>
                    <a:pt x="116" y="258"/>
                  </a:lnTo>
                  <a:lnTo>
                    <a:pt x="116" y="259"/>
                  </a:lnTo>
                  <a:lnTo>
                    <a:pt x="116" y="260"/>
                  </a:lnTo>
                  <a:lnTo>
                    <a:pt x="117" y="260"/>
                  </a:lnTo>
                  <a:lnTo>
                    <a:pt x="117" y="259"/>
                  </a:lnTo>
                  <a:lnTo>
                    <a:pt x="117" y="258"/>
                  </a:lnTo>
                  <a:lnTo>
                    <a:pt x="117" y="256"/>
                  </a:lnTo>
                  <a:lnTo>
                    <a:pt x="118" y="255"/>
                  </a:lnTo>
                  <a:lnTo>
                    <a:pt x="120" y="256"/>
                  </a:lnTo>
                  <a:lnTo>
                    <a:pt x="120" y="258"/>
                  </a:lnTo>
                  <a:lnTo>
                    <a:pt x="121" y="259"/>
                  </a:lnTo>
                  <a:lnTo>
                    <a:pt x="121" y="260"/>
                  </a:lnTo>
                  <a:lnTo>
                    <a:pt x="121" y="261"/>
                  </a:lnTo>
                  <a:lnTo>
                    <a:pt x="122" y="262"/>
                  </a:lnTo>
                  <a:lnTo>
                    <a:pt x="122" y="264"/>
                  </a:lnTo>
                  <a:lnTo>
                    <a:pt x="123" y="265"/>
                  </a:lnTo>
                  <a:lnTo>
                    <a:pt x="124" y="266"/>
                  </a:lnTo>
                  <a:lnTo>
                    <a:pt x="124" y="267"/>
                  </a:lnTo>
                  <a:lnTo>
                    <a:pt x="126" y="268"/>
                  </a:lnTo>
                  <a:lnTo>
                    <a:pt x="126" y="267"/>
                  </a:lnTo>
                  <a:lnTo>
                    <a:pt x="126" y="266"/>
                  </a:lnTo>
                  <a:lnTo>
                    <a:pt x="123" y="262"/>
                  </a:lnTo>
                  <a:lnTo>
                    <a:pt x="122" y="260"/>
                  </a:lnTo>
                  <a:lnTo>
                    <a:pt x="122" y="259"/>
                  </a:lnTo>
                  <a:lnTo>
                    <a:pt x="121" y="258"/>
                  </a:lnTo>
                  <a:lnTo>
                    <a:pt x="120" y="256"/>
                  </a:lnTo>
                  <a:lnTo>
                    <a:pt x="120" y="255"/>
                  </a:lnTo>
                  <a:lnTo>
                    <a:pt x="118" y="253"/>
                  </a:lnTo>
                  <a:lnTo>
                    <a:pt x="118" y="252"/>
                  </a:lnTo>
                  <a:lnTo>
                    <a:pt x="118" y="248"/>
                  </a:lnTo>
                  <a:lnTo>
                    <a:pt x="117" y="246"/>
                  </a:lnTo>
                  <a:lnTo>
                    <a:pt x="116" y="243"/>
                  </a:lnTo>
                  <a:lnTo>
                    <a:pt x="115" y="242"/>
                  </a:lnTo>
                  <a:lnTo>
                    <a:pt x="115" y="240"/>
                  </a:lnTo>
                  <a:lnTo>
                    <a:pt x="115" y="238"/>
                  </a:lnTo>
                  <a:lnTo>
                    <a:pt x="116" y="235"/>
                  </a:lnTo>
                  <a:lnTo>
                    <a:pt x="117" y="232"/>
                  </a:lnTo>
                  <a:lnTo>
                    <a:pt x="117" y="230"/>
                  </a:lnTo>
                  <a:lnTo>
                    <a:pt x="117" y="226"/>
                  </a:lnTo>
                  <a:lnTo>
                    <a:pt x="117" y="225"/>
                  </a:lnTo>
                  <a:lnTo>
                    <a:pt x="117" y="224"/>
                  </a:lnTo>
                  <a:lnTo>
                    <a:pt x="118" y="220"/>
                  </a:lnTo>
                  <a:lnTo>
                    <a:pt x="118" y="219"/>
                  </a:lnTo>
                  <a:lnTo>
                    <a:pt x="120" y="219"/>
                  </a:lnTo>
                  <a:lnTo>
                    <a:pt x="120" y="220"/>
                  </a:lnTo>
                  <a:lnTo>
                    <a:pt x="120" y="222"/>
                  </a:lnTo>
                  <a:lnTo>
                    <a:pt x="120" y="223"/>
                  </a:lnTo>
                  <a:lnTo>
                    <a:pt x="118" y="224"/>
                  </a:lnTo>
                  <a:lnTo>
                    <a:pt x="118" y="225"/>
                  </a:lnTo>
                  <a:lnTo>
                    <a:pt x="117" y="226"/>
                  </a:lnTo>
                  <a:lnTo>
                    <a:pt x="117" y="228"/>
                  </a:lnTo>
                  <a:lnTo>
                    <a:pt x="117" y="230"/>
                  </a:lnTo>
                  <a:lnTo>
                    <a:pt x="117" y="231"/>
                  </a:lnTo>
                  <a:lnTo>
                    <a:pt x="117" y="232"/>
                  </a:lnTo>
                  <a:lnTo>
                    <a:pt x="117" y="234"/>
                  </a:lnTo>
                  <a:lnTo>
                    <a:pt x="117" y="236"/>
                  </a:lnTo>
                  <a:lnTo>
                    <a:pt x="117" y="237"/>
                  </a:lnTo>
                  <a:lnTo>
                    <a:pt x="116" y="238"/>
                  </a:lnTo>
                  <a:lnTo>
                    <a:pt x="116" y="240"/>
                  </a:lnTo>
                  <a:lnTo>
                    <a:pt x="116" y="241"/>
                  </a:lnTo>
                  <a:lnTo>
                    <a:pt x="117" y="242"/>
                  </a:lnTo>
                  <a:lnTo>
                    <a:pt x="116" y="243"/>
                  </a:lnTo>
                  <a:lnTo>
                    <a:pt x="117" y="243"/>
                  </a:lnTo>
                  <a:lnTo>
                    <a:pt x="118" y="243"/>
                  </a:lnTo>
                  <a:lnTo>
                    <a:pt x="120" y="243"/>
                  </a:lnTo>
                  <a:lnTo>
                    <a:pt x="118" y="243"/>
                  </a:lnTo>
                  <a:lnTo>
                    <a:pt x="118" y="242"/>
                  </a:lnTo>
                  <a:lnTo>
                    <a:pt x="120" y="242"/>
                  </a:lnTo>
                  <a:lnTo>
                    <a:pt x="118" y="241"/>
                  </a:lnTo>
                  <a:lnTo>
                    <a:pt x="120" y="241"/>
                  </a:lnTo>
                  <a:lnTo>
                    <a:pt x="121" y="241"/>
                  </a:lnTo>
                  <a:lnTo>
                    <a:pt x="120" y="241"/>
                  </a:lnTo>
                  <a:lnTo>
                    <a:pt x="118" y="240"/>
                  </a:lnTo>
                  <a:lnTo>
                    <a:pt x="120" y="240"/>
                  </a:lnTo>
                  <a:lnTo>
                    <a:pt x="120" y="238"/>
                  </a:lnTo>
                  <a:lnTo>
                    <a:pt x="118" y="238"/>
                  </a:lnTo>
                  <a:lnTo>
                    <a:pt x="118" y="237"/>
                  </a:lnTo>
                  <a:lnTo>
                    <a:pt x="118" y="236"/>
                  </a:lnTo>
                  <a:lnTo>
                    <a:pt x="118" y="235"/>
                  </a:lnTo>
                  <a:lnTo>
                    <a:pt x="118" y="234"/>
                  </a:lnTo>
                  <a:lnTo>
                    <a:pt x="118" y="231"/>
                  </a:lnTo>
                  <a:lnTo>
                    <a:pt x="118" y="230"/>
                  </a:lnTo>
                  <a:lnTo>
                    <a:pt x="118" y="228"/>
                  </a:lnTo>
                  <a:lnTo>
                    <a:pt x="118" y="225"/>
                  </a:lnTo>
                  <a:lnTo>
                    <a:pt x="120" y="225"/>
                  </a:lnTo>
                  <a:lnTo>
                    <a:pt x="120" y="224"/>
                  </a:lnTo>
                  <a:lnTo>
                    <a:pt x="121" y="225"/>
                  </a:lnTo>
                  <a:lnTo>
                    <a:pt x="121" y="226"/>
                  </a:lnTo>
                  <a:lnTo>
                    <a:pt x="121" y="228"/>
                  </a:lnTo>
                  <a:lnTo>
                    <a:pt x="121" y="229"/>
                  </a:lnTo>
                  <a:lnTo>
                    <a:pt x="121" y="228"/>
                  </a:lnTo>
                  <a:lnTo>
                    <a:pt x="121" y="226"/>
                  </a:lnTo>
                  <a:lnTo>
                    <a:pt x="121" y="229"/>
                  </a:lnTo>
                  <a:lnTo>
                    <a:pt x="121" y="230"/>
                  </a:lnTo>
                  <a:lnTo>
                    <a:pt x="121" y="231"/>
                  </a:lnTo>
                  <a:lnTo>
                    <a:pt x="121" y="232"/>
                  </a:lnTo>
                  <a:lnTo>
                    <a:pt x="120" y="232"/>
                  </a:lnTo>
                  <a:lnTo>
                    <a:pt x="121" y="234"/>
                  </a:lnTo>
                  <a:lnTo>
                    <a:pt x="122" y="232"/>
                  </a:lnTo>
                  <a:lnTo>
                    <a:pt x="122" y="231"/>
                  </a:lnTo>
                  <a:lnTo>
                    <a:pt x="123" y="231"/>
                  </a:lnTo>
                  <a:lnTo>
                    <a:pt x="123" y="232"/>
                  </a:lnTo>
                  <a:lnTo>
                    <a:pt x="123" y="234"/>
                  </a:lnTo>
                  <a:lnTo>
                    <a:pt x="123" y="235"/>
                  </a:lnTo>
                  <a:lnTo>
                    <a:pt x="123" y="234"/>
                  </a:lnTo>
                  <a:lnTo>
                    <a:pt x="124" y="232"/>
                  </a:lnTo>
                  <a:lnTo>
                    <a:pt x="124" y="231"/>
                  </a:lnTo>
                  <a:lnTo>
                    <a:pt x="123" y="231"/>
                  </a:lnTo>
                  <a:lnTo>
                    <a:pt x="122" y="230"/>
                  </a:lnTo>
                  <a:lnTo>
                    <a:pt x="122" y="229"/>
                  </a:lnTo>
                  <a:lnTo>
                    <a:pt x="122" y="228"/>
                  </a:lnTo>
                  <a:lnTo>
                    <a:pt x="122" y="226"/>
                  </a:lnTo>
                  <a:lnTo>
                    <a:pt x="122" y="225"/>
                  </a:lnTo>
                  <a:lnTo>
                    <a:pt x="122" y="224"/>
                  </a:lnTo>
                  <a:lnTo>
                    <a:pt x="121" y="224"/>
                  </a:lnTo>
                  <a:lnTo>
                    <a:pt x="121" y="223"/>
                  </a:lnTo>
                  <a:lnTo>
                    <a:pt x="121" y="222"/>
                  </a:lnTo>
                  <a:lnTo>
                    <a:pt x="121" y="220"/>
                  </a:lnTo>
                  <a:lnTo>
                    <a:pt x="122" y="222"/>
                  </a:lnTo>
                  <a:lnTo>
                    <a:pt x="122" y="223"/>
                  </a:lnTo>
                  <a:lnTo>
                    <a:pt x="122" y="224"/>
                  </a:lnTo>
                  <a:lnTo>
                    <a:pt x="123" y="224"/>
                  </a:lnTo>
                  <a:lnTo>
                    <a:pt x="124" y="224"/>
                  </a:lnTo>
                  <a:lnTo>
                    <a:pt x="124" y="223"/>
                  </a:lnTo>
                  <a:lnTo>
                    <a:pt x="123" y="222"/>
                  </a:lnTo>
                  <a:lnTo>
                    <a:pt x="124" y="222"/>
                  </a:lnTo>
                  <a:lnTo>
                    <a:pt x="124" y="223"/>
                  </a:lnTo>
                  <a:lnTo>
                    <a:pt x="126" y="224"/>
                  </a:lnTo>
                  <a:lnTo>
                    <a:pt x="124" y="224"/>
                  </a:lnTo>
                  <a:lnTo>
                    <a:pt x="123" y="224"/>
                  </a:lnTo>
                  <a:lnTo>
                    <a:pt x="123" y="225"/>
                  </a:lnTo>
                  <a:lnTo>
                    <a:pt x="124" y="226"/>
                  </a:lnTo>
                  <a:lnTo>
                    <a:pt x="126" y="226"/>
                  </a:lnTo>
                  <a:lnTo>
                    <a:pt x="127" y="225"/>
                  </a:lnTo>
                  <a:lnTo>
                    <a:pt x="129" y="225"/>
                  </a:lnTo>
                  <a:lnTo>
                    <a:pt x="129" y="224"/>
                  </a:lnTo>
                  <a:lnTo>
                    <a:pt x="130" y="224"/>
                  </a:lnTo>
                  <a:lnTo>
                    <a:pt x="130" y="225"/>
                  </a:lnTo>
                  <a:lnTo>
                    <a:pt x="132" y="225"/>
                  </a:lnTo>
                  <a:lnTo>
                    <a:pt x="130" y="225"/>
                  </a:lnTo>
                  <a:lnTo>
                    <a:pt x="130" y="226"/>
                  </a:lnTo>
                  <a:lnTo>
                    <a:pt x="129" y="226"/>
                  </a:lnTo>
                  <a:lnTo>
                    <a:pt x="128" y="226"/>
                  </a:lnTo>
                  <a:lnTo>
                    <a:pt x="129" y="226"/>
                  </a:lnTo>
                  <a:lnTo>
                    <a:pt x="129" y="228"/>
                  </a:lnTo>
                  <a:lnTo>
                    <a:pt x="129" y="229"/>
                  </a:lnTo>
                  <a:lnTo>
                    <a:pt x="128" y="229"/>
                  </a:lnTo>
                  <a:lnTo>
                    <a:pt x="128" y="230"/>
                  </a:lnTo>
                  <a:lnTo>
                    <a:pt x="128" y="229"/>
                  </a:lnTo>
                  <a:lnTo>
                    <a:pt x="127" y="229"/>
                  </a:lnTo>
                  <a:lnTo>
                    <a:pt x="126" y="230"/>
                  </a:lnTo>
                  <a:lnTo>
                    <a:pt x="126" y="231"/>
                  </a:lnTo>
                  <a:lnTo>
                    <a:pt x="127" y="231"/>
                  </a:lnTo>
                  <a:lnTo>
                    <a:pt x="128" y="232"/>
                  </a:lnTo>
                  <a:lnTo>
                    <a:pt x="128" y="234"/>
                  </a:lnTo>
                  <a:lnTo>
                    <a:pt x="127" y="234"/>
                  </a:lnTo>
                  <a:lnTo>
                    <a:pt x="126" y="234"/>
                  </a:lnTo>
                  <a:lnTo>
                    <a:pt x="124" y="234"/>
                  </a:lnTo>
                  <a:lnTo>
                    <a:pt x="124" y="235"/>
                  </a:lnTo>
                  <a:lnTo>
                    <a:pt x="123" y="235"/>
                  </a:lnTo>
                  <a:lnTo>
                    <a:pt x="122" y="235"/>
                  </a:lnTo>
                  <a:lnTo>
                    <a:pt x="122" y="236"/>
                  </a:lnTo>
                  <a:lnTo>
                    <a:pt x="122" y="237"/>
                  </a:lnTo>
                  <a:lnTo>
                    <a:pt x="123" y="237"/>
                  </a:lnTo>
                  <a:lnTo>
                    <a:pt x="124" y="237"/>
                  </a:lnTo>
                  <a:lnTo>
                    <a:pt x="123" y="237"/>
                  </a:lnTo>
                  <a:lnTo>
                    <a:pt x="123" y="238"/>
                  </a:lnTo>
                  <a:lnTo>
                    <a:pt x="123" y="240"/>
                  </a:lnTo>
                  <a:lnTo>
                    <a:pt x="124" y="240"/>
                  </a:lnTo>
                  <a:lnTo>
                    <a:pt x="126" y="240"/>
                  </a:lnTo>
                  <a:lnTo>
                    <a:pt x="126" y="238"/>
                  </a:lnTo>
                  <a:lnTo>
                    <a:pt x="126" y="237"/>
                  </a:lnTo>
                  <a:lnTo>
                    <a:pt x="127" y="237"/>
                  </a:lnTo>
                  <a:lnTo>
                    <a:pt x="128" y="236"/>
                  </a:lnTo>
                  <a:lnTo>
                    <a:pt x="129" y="236"/>
                  </a:lnTo>
                  <a:lnTo>
                    <a:pt x="129" y="235"/>
                  </a:lnTo>
                  <a:lnTo>
                    <a:pt x="129" y="234"/>
                  </a:lnTo>
                  <a:lnTo>
                    <a:pt x="130" y="232"/>
                  </a:lnTo>
                  <a:lnTo>
                    <a:pt x="132" y="231"/>
                  </a:lnTo>
                  <a:lnTo>
                    <a:pt x="132" y="230"/>
                  </a:lnTo>
                  <a:lnTo>
                    <a:pt x="132" y="229"/>
                  </a:lnTo>
                  <a:lnTo>
                    <a:pt x="132" y="228"/>
                  </a:lnTo>
                  <a:lnTo>
                    <a:pt x="133" y="228"/>
                  </a:lnTo>
                  <a:lnTo>
                    <a:pt x="134" y="226"/>
                  </a:lnTo>
                  <a:lnTo>
                    <a:pt x="134" y="228"/>
                  </a:lnTo>
                  <a:lnTo>
                    <a:pt x="135" y="229"/>
                  </a:lnTo>
                  <a:lnTo>
                    <a:pt x="134" y="229"/>
                  </a:lnTo>
                  <a:lnTo>
                    <a:pt x="134" y="228"/>
                  </a:lnTo>
                  <a:lnTo>
                    <a:pt x="133" y="228"/>
                  </a:lnTo>
                  <a:lnTo>
                    <a:pt x="132" y="229"/>
                  </a:lnTo>
                  <a:lnTo>
                    <a:pt x="133" y="229"/>
                  </a:lnTo>
                  <a:lnTo>
                    <a:pt x="132" y="230"/>
                  </a:lnTo>
                  <a:lnTo>
                    <a:pt x="132" y="231"/>
                  </a:lnTo>
                  <a:lnTo>
                    <a:pt x="132" y="232"/>
                  </a:lnTo>
                  <a:lnTo>
                    <a:pt x="132" y="234"/>
                  </a:lnTo>
                  <a:lnTo>
                    <a:pt x="130" y="234"/>
                  </a:lnTo>
                  <a:lnTo>
                    <a:pt x="130" y="236"/>
                  </a:lnTo>
                  <a:lnTo>
                    <a:pt x="129" y="237"/>
                  </a:lnTo>
                  <a:lnTo>
                    <a:pt x="129" y="238"/>
                  </a:lnTo>
                  <a:lnTo>
                    <a:pt x="130" y="238"/>
                  </a:lnTo>
                  <a:lnTo>
                    <a:pt x="132" y="238"/>
                  </a:lnTo>
                  <a:lnTo>
                    <a:pt x="132" y="237"/>
                  </a:lnTo>
                  <a:lnTo>
                    <a:pt x="133" y="237"/>
                  </a:lnTo>
                  <a:lnTo>
                    <a:pt x="134" y="237"/>
                  </a:lnTo>
                  <a:lnTo>
                    <a:pt x="133" y="237"/>
                  </a:lnTo>
                  <a:lnTo>
                    <a:pt x="134" y="238"/>
                  </a:lnTo>
                  <a:lnTo>
                    <a:pt x="134" y="237"/>
                  </a:lnTo>
                  <a:lnTo>
                    <a:pt x="135" y="237"/>
                  </a:lnTo>
                  <a:lnTo>
                    <a:pt x="135" y="236"/>
                  </a:lnTo>
                  <a:lnTo>
                    <a:pt x="136" y="236"/>
                  </a:lnTo>
                  <a:lnTo>
                    <a:pt x="136" y="235"/>
                  </a:lnTo>
                  <a:lnTo>
                    <a:pt x="138" y="235"/>
                  </a:lnTo>
                  <a:lnTo>
                    <a:pt x="139" y="234"/>
                  </a:lnTo>
                  <a:lnTo>
                    <a:pt x="139" y="232"/>
                  </a:lnTo>
                  <a:lnTo>
                    <a:pt x="139" y="231"/>
                  </a:lnTo>
                  <a:lnTo>
                    <a:pt x="139" y="232"/>
                  </a:lnTo>
                  <a:lnTo>
                    <a:pt x="139" y="234"/>
                  </a:lnTo>
                  <a:lnTo>
                    <a:pt x="139" y="236"/>
                  </a:lnTo>
                  <a:lnTo>
                    <a:pt x="140" y="236"/>
                  </a:lnTo>
                  <a:lnTo>
                    <a:pt x="141" y="236"/>
                  </a:lnTo>
                  <a:lnTo>
                    <a:pt x="141" y="235"/>
                  </a:lnTo>
                  <a:lnTo>
                    <a:pt x="141" y="234"/>
                  </a:lnTo>
                  <a:lnTo>
                    <a:pt x="142" y="235"/>
                  </a:lnTo>
                  <a:lnTo>
                    <a:pt x="142" y="236"/>
                  </a:lnTo>
                  <a:lnTo>
                    <a:pt x="142" y="235"/>
                  </a:lnTo>
                  <a:lnTo>
                    <a:pt x="142" y="234"/>
                  </a:lnTo>
                  <a:lnTo>
                    <a:pt x="144" y="234"/>
                  </a:lnTo>
                  <a:lnTo>
                    <a:pt x="145" y="234"/>
                  </a:lnTo>
                  <a:lnTo>
                    <a:pt x="146" y="232"/>
                  </a:lnTo>
                  <a:lnTo>
                    <a:pt x="146" y="231"/>
                  </a:lnTo>
                  <a:lnTo>
                    <a:pt x="146" y="230"/>
                  </a:lnTo>
                  <a:lnTo>
                    <a:pt x="145" y="230"/>
                  </a:lnTo>
                  <a:lnTo>
                    <a:pt x="145" y="231"/>
                  </a:lnTo>
                  <a:lnTo>
                    <a:pt x="144" y="230"/>
                  </a:lnTo>
                  <a:lnTo>
                    <a:pt x="144" y="231"/>
                  </a:lnTo>
                  <a:lnTo>
                    <a:pt x="142" y="231"/>
                  </a:lnTo>
                  <a:lnTo>
                    <a:pt x="141" y="231"/>
                  </a:lnTo>
                  <a:lnTo>
                    <a:pt x="141" y="230"/>
                  </a:lnTo>
                  <a:lnTo>
                    <a:pt x="142" y="229"/>
                  </a:lnTo>
                  <a:lnTo>
                    <a:pt x="144" y="229"/>
                  </a:lnTo>
                  <a:lnTo>
                    <a:pt x="144" y="226"/>
                  </a:lnTo>
                  <a:lnTo>
                    <a:pt x="144" y="225"/>
                  </a:lnTo>
                  <a:lnTo>
                    <a:pt x="142" y="225"/>
                  </a:lnTo>
                  <a:lnTo>
                    <a:pt x="142" y="226"/>
                  </a:lnTo>
                  <a:lnTo>
                    <a:pt x="141" y="228"/>
                  </a:lnTo>
                  <a:lnTo>
                    <a:pt x="141" y="229"/>
                  </a:lnTo>
                  <a:lnTo>
                    <a:pt x="140" y="229"/>
                  </a:lnTo>
                  <a:lnTo>
                    <a:pt x="140" y="228"/>
                  </a:lnTo>
                  <a:lnTo>
                    <a:pt x="141" y="226"/>
                  </a:lnTo>
                  <a:lnTo>
                    <a:pt x="142" y="225"/>
                  </a:lnTo>
                  <a:lnTo>
                    <a:pt x="144" y="225"/>
                  </a:lnTo>
                  <a:lnTo>
                    <a:pt x="145" y="224"/>
                  </a:lnTo>
                  <a:lnTo>
                    <a:pt x="146" y="224"/>
                  </a:lnTo>
                  <a:lnTo>
                    <a:pt x="146" y="225"/>
                  </a:lnTo>
                  <a:lnTo>
                    <a:pt x="146" y="226"/>
                  </a:lnTo>
                  <a:lnTo>
                    <a:pt x="145" y="228"/>
                  </a:lnTo>
                  <a:lnTo>
                    <a:pt x="145" y="229"/>
                  </a:lnTo>
                  <a:lnTo>
                    <a:pt x="146" y="228"/>
                  </a:lnTo>
                  <a:lnTo>
                    <a:pt x="146" y="226"/>
                  </a:lnTo>
                  <a:lnTo>
                    <a:pt x="147" y="225"/>
                  </a:lnTo>
                  <a:lnTo>
                    <a:pt x="147" y="224"/>
                  </a:lnTo>
                  <a:lnTo>
                    <a:pt x="148" y="224"/>
                  </a:lnTo>
                  <a:lnTo>
                    <a:pt x="150" y="223"/>
                  </a:lnTo>
                  <a:lnTo>
                    <a:pt x="151" y="222"/>
                  </a:lnTo>
                  <a:lnTo>
                    <a:pt x="152" y="222"/>
                  </a:lnTo>
                  <a:lnTo>
                    <a:pt x="152" y="220"/>
                  </a:lnTo>
                  <a:lnTo>
                    <a:pt x="153" y="220"/>
                  </a:lnTo>
                  <a:lnTo>
                    <a:pt x="153" y="222"/>
                  </a:lnTo>
                  <a:lnTo>
                    <a:pt x="153" y="223"/>
                  </a:lnTo>
                  <a:lnTo>
                    <a:pt x="153" y="224"/>
                  </a:lnTo>
                  <a:lnTo>
                    <a:pt x="152" y="224"/>
                  </a:lnTo>
                  <a:lnTo>
                    <a:pt x="151" y="224"/>
                  </a:lnTo>
                  <a:lnTo>
                    <a:pt x="151" y="223"/>
                  </a:lnTo>
                  <a:lnTo>
                    <a:pt x="150" y="223"/>
                  </a:lnTo>
                  <a:lnTo>
                    <a:pt x="151" y="224"/>
                  </a:lnTo>
                  <a:lnTo>
                    <a:pt x="151" y="225"/>
                  </a:lnTo>
                  <a:lnTo>
                    <a:pt x="152" y="225"/>
                  </a:lnTo>
                  <a:lnTo>
                    <a:pt x="153" y="225"/>
                  </a:lnTo>
                  <a:lnTo>
                    <a:pt x="152" y="226"/>
                  </a:lnTo>
                  <a:lnTo>
                    <a:pt x="151" y="228"/>
                  </a:lnTo>
                  <a:lnTo>
                    <a:pt x="151" y="229"/>
                  </a:lnTo>
                  <a:lnTo>
                    <a:pt x="150" y="230"/>
                  </a:lnTo>
                  <a:lnTo>
                    <a:pt x="150" y="231"/>
                  </a:lnTo>
                  <a:lnTo>
                    <a:pt x="148" y="231"/>
                  </a:lnTo>
                  <a:lnTo>
                    <a:pt x="148" y="232"/>
                  </a:lnTo>
                  <a:lnTo>
                    <a:pt x="148" y="234"/>
                  </a:lnTo>
                  <a:lnTo>
                    <a:pt x="147" y="235"/>
                  </a:lnTo>
                  <a:lnTo>
                    <a:pt x="146" y="235"/>
                  </a:lnTo>
                  <a:lnTo>
                    <a:pt x="145" y="236"/>
                  </a:lnTo>
                  <a:lnTo>
                    <a:pt x="145" y="235"/>
                  </a:lnTo>
                  <a:lnTo>
                    <a:pt x="144" y="235"/>
                  </a:lnTo>
                  <a:lnTo>
                    <a:pt x="144" y="236"/>
                  </a:lnTo>
                  <a:lnTo>
                    <a:pt x="142" y="236"/>
                  </a:lnTo>
                  <a:lnTo>
                    <a:pt x="142" y="237"/>
                  </a:lnTo>
                  <a:lnTo>
                    <a:pt x="144" y="238"/>
                  </a:lnTo>
                  <a:lnTo>
                    <a:pt x="144" y="237"/>
                  </a:lnTo>
                  <a:lnTo>
                    <a:pt x="145" y="236"/>
                  </a:lnTo>
                  <a:lnTo>
                    <a:pt x="146" y="236"/>
                  </a:lnTo>
                  <a:lnTo>
                    <a:pt x="147" y="236"/>
                  </a:lnTo>
                  <a:lnTo>
                    <a:pt x="148" y="235"/>
                  </a:lnTo>
                  <a:lnTo>
                    <a:pt x="150" y="234"/>
                  </a:lnTo>
                  <a:lnTo>
                    <a:pt x="148" y="235"/>
                  </a:lnTo>
                  <a:lnTo>
                    <a:pt x="148" y="236"/>
                  </a:lnTo>
                  <a:lnTo>
                    <a:pt x="147" y="237"/>
                  </a:lnTo>
                  <a:lnTo>
                    <a:pt x="147" y="238"/>
                  </a:lnTo>
                  <a:lnTo>
                    <a:pt x="146" y="241"/>
                  </a:lnTo>
                  <a:lnTo>
                    <a:pt x="145" y="241"/>
                  </a:lnTo>
                  <a:lnTo>
                    <a:pt x="146" y="242"/>
                  </a:lnTo>
                  <a:lnTo>
                    <a:pt x="147" y="241"/>
                  </a:lnTo>
                  <a:lnTo>
                    <a:pt x="147" y="240"/>
                  </a:lnTo>
                  <a:lnTo>
                    <a:pt x="148" y="238"/>
                  </a:lnTo>
                  <a:lnTo>
                    <a:pt x="148" y="237"/>
                  </a:lnTo>
                  <a:lnTo>
                    <a:pt x="150" y="236"/>
                  </a:lnTo>
                  <a:lnTo>
                    <a:pt x="150" y="235"/>
                  </a:lnTo>
                  <a:lnTo>
                    <a:pt x="150" y="237"/>
                  </a:lnTo>
                  <a:lnTo>
                    <a:pt x="151" y="238"/>
                  </a:lnTo>
                  <a:lnTo>
                    <a:pt x="151" y="237"/>
                  </a:lnTo>
                  <a:lnTo>
                    <a:pt x="151" y="236"/>
                  </a:lnTo>
                  <a:lnTo>
                    <a:pt x="151" y="235"/>
                  </a:lnTo>
                  <a:lnTo>
                    <a:pt x="150" y="234"/>
                  </a:lnTo>
                  <a:lnTo>
                    <a:pt x="150" y="232"/>
                  </a:lnTo>
                  <a:lnTo>
                    <a:pt x="151" y="232"/>
                  </a:lnTo>
                  <a:lnTo>
                    <a:pt x="152" y="234"/>
                  </a:lnTo>
                  <a:lnTo>
                    <a:pt x="153" y="235"/>
                  </a:lnTo>
                  <a:lnTo>
                    <a:pt x="153" y="234"/>
                  </a:lnTo>
                  <a:lnTo>
                    <a:pt x="152" y="232"/>
                  </a:lnTo>
                  <a:lnTo>
                    <a:pt x="151" y="232"/>
                  </a:lnTo>
                  <a:lnTo>
                    <a:pt x="151" y="231"/>
                  </a:lnTo>
                  <a:lnTo>
                    <a:pt x="151" y="230"/>
                  </a:lnTo>
                  <a:lnTo>
                    <a:pt x="152" y="229"/>
                  </a:lnTo>
                  <a:lnTo>
                    <a:pt x="152" y="228"/>
                  </a:lnTo>
                  <a:lnTo>
                    <a:pt x="153" y="228"/>
                  </a:lnTo>
                  <a:lnTo>
                    <a:pt x="155" y="228"/>
                  </a:lnTo>
                  <a:lnTo>
                    <a:pt x="155" y="232"/>
                  </a:lnTo>
                  <a:lnTo>
                    <a:pt x="155" y="238"/>
                  </a:lnTo>
                  <a:lnTo>
                    <a:pt x="155" y="244"/>
                  </a:lnTo>
                  <a:lnTo>
                    <a:pt x="155" y="252"/>
                  </a:lnTo>
                  <a:lnTo>
                    <a:pt x="155" y="256"/>
                  </a:lnTo>
                  <a:lnTo>
                    <a:pt x="155" y="255"/>
                  </a:lnTo>
                  <a:lnTo>
                    <a:pt x="153" y="255"/>
                  </a:lnTo>
                  <a:lnTo>
                    <a:pt x="153" y="254"/>
                  </a:lnTo>
                  <a:lnTo>
                    <a:pt x="152" y="254"/>
                  </a:lnTo>
                  <a:lnTo>
                    <a:pt x="151" y="254"/>
                  </a:lnTo>
                  <a:lnTo>
                    <a:pt x="151" y="255"/>
                  </a:lnTo>
                  <a:lnTo>
                    <a:pt x="150" y="254"/>
                  </a:lnTo>
                  <a:lnTo>
                    <a:pt x="150" y="255"/>
                  </a:lnTo>
                  <a:lnTo>
                    <a:pt x="148" y="254"/>
                  </a:lnTo>
                  <a:lnTo>
                    <a:pt x="148" y="255"/>
                  </a:lnTo>
                  <a:lnTo>
                    <a:pt x="147" y="255"/>
                  </a:lnTo>
                  <a:lnTo>
                    <a:pt x="147" y="256"/>
                  </a:lnTo>
                  <a:lnTo>
                    <a:pt x="146" y="256"/>
                  </a:lnTo>
                  <a:lnTo>
                    <a:pt x="146" y="258"/>
                  </a:lnTo>
                  <a:lnTo>
                    <a:pt x="148" y="259"/>
                  </a:lnTo>
                  <a:lnTo>
                    <a:pt x="150" y="259"/>
                  </a:lnTo>
                  <a:lnTo>
                    <a:pt x="151" y="258"/>
                  </a:lnTo>
                  <a:lnTo>
                    <a:pt x="152" y="258"/>
                  </a:lnTo>
                  <a:lnTo>
                    <a:pt x="152" y="259"/>
                  </a:lnTo>
                  <a:lnTo>
                    <a:pt x="153" y="260"/>
                  </a:lnTo>
                  <a:lnTo>
                    <a:pt x="155" y="261"/>
                  </a:lnTo>
                  <a:lnTo>
                    <a:pt x="155" y="264"/>
                  </a:lnTo>
                  <a:lnTo>
                    <a:pt x="155" y="270"/>
                  </a:lnTo>
                  <a:lnTo>
                    <a:pt x="155" y="276"/>
                  </a:lnTo>
                  <a:lnTo>
                    <a:pt x="155" y="284"/>
                  </a:lnTo>
                  <a:lnTo>
                    <a:pt x="156" y="291"/>
                  </a:lnTo>
                  <a:lnTo>
                    <a:pt x="156" y="300"/>
                  </a:lnTo>
                  <a:lnTo>
                    <a:pt x="156" y="308"/>
                  </a:lnTo>
                  <a:lnTo>
                    <a:pt x="157" y="317"/>
                  </a:lnTo>
                  <a:lnTo>
                    <a:pt x="157" y="337"/>
                  </a:lnTo>
                  <a:lnTo>
                    <a:pt x="157" y="348"/>
                  </a:lnTo>
                  <a:lnTo>
                    <a:pt x="158" y="359"/>
                  </a:lnTo>
                  <a:lnTo>
                    <a:pt x="156" y="360"/>
                  </a:lnTo>
                  <a:lnTo>
                    <a:pt x="148" y="362"/>
                  </a:lnTo>
                  <a:lnTo>
                    <a:pt x="141" y="362"/>
                  </a:lnTo>
                  <a:lnTo>
                    <a:pt x="142" y="363"/>
                  </a:lnTo>
                  <a:lnTo>
                    <a:pt x="140" y="363"/>
                  </a:lnTo>
                  <a:lnTo>
                    <a:pt x="153" y="362"/>
                  </a:lnTo>
                  <a:lnTo>
                    <a:pt x="161" y="362"/>
                  </a:lnTo>
                  <a:lnTo>
                    <a:pt x="165" y="362"/>
                  </a:lnTo>
                  <a:lnTo>
                    <a:pt x="168" y="362"/>
                  </a:lnTo>
                  <a:lnTo>
                    <a:pt x="173" y="361"/>
                  </a:lnTo>
                  <a:lnTo>
                    <a:pt x="177" y="362"/>
                  </a:lnTo>
                  <a:lnTo>
                    <a:pt x="189" y="362"/>
                  </a:lnTo>
                  <a:lnTo>
                    <a:pt x="195" y="362"/>
                  </a:lnTo>
                  <a:lnTo>
                    <a:pt x="198" y="361"/>
                  </a:lnTo>
                  <a:lnTo>
                    <a:pt x="197" y="36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3" name="Freeform 66"/>
            <p:cNvSpPr>
              <a:spLocks/>
            </p:cNvSpPr>
            <p:nvPr userDrawn="1"/>
          </p:nvSpPr>
          <p:spPr bwMode="auto">
            <a:xfrm>
              <a:off x="4795838" y="6443663"/>
              <a:ext cx="60325" cy="85725"/>
            </a:xfrm>
            <a:custGeom>
              <a:avLst/>
              <a:gdLst/>
              <a:ahLst/>
              <a:cxnLst>
                <a:cxn ang="0">
                  <a:pos x="146" y="147"/>
                </a:cxn>
                <a:cxn ang="0">
                  <a:pos x="148" y="144"/>
                </a:cxn>
                <a:cxn ang="0">
                  <a:pos x="166" y="142"/>
                </a:cxn>
                <a:cxn ang="0">
                  <a:pos x="168" y="124"/>
                </a:cxn>
                <a:cxn ang="0">
                  <a:pos x="175" y="130"/>
                </a:cxn>
                <a:cxn ang="0">
                  <a:pos x="180" y="124"/>
                </a:cxn>
                <a:cxn ang="0">
                  <a:pos x="184" y="113"/>
                </a:cxn>
                <a:cxn ang="0">
                  <a:pos x="170" y="103"/>
                </a:cxn>
                <a:cxn ang="0">
                  <a:pos x="160" y="89"/>
                </a:cxn>
                <a:cxn ang="0">
                  <a:pos x="180" y="88"/>
                </a:cxn>
                <a:cxn ang="0">
                  <a:pos x="182" y="82"/>
                </a:cxn>
                <a:cxn ang="0">
                  <a:pos x="175" y="78"/>
                </a:cxn>
                <a:cxn ang="0">
                  <a:pos x="187" y="72"/>
                </a:cxn>
                <a:cxn ang="0">
                  <a:pos x="189" y="67"/>
                </a:cxn>
                <a:cxn ang="0">
                  <a:pos x="174" y="73"/>
                </a:cxn>
                <a:cxn ang="0">
                  <a:pos x="168" y="72"/>
                </a:cxn>
                <a:cxn ang="0">
                  <a:pos x="158" y="65"/>
                </a:cxn>
                <a:cxn ang="0">
                  <a:pos x="158" y="53"/>
                </a:cxn>
                <a:cxn ang="0">
                  <a:pos x="143" y="54"/>
                </a:cxn>
                <a:cxn ang="0">
                  <a:pos x="143" y="43"/>
                </a:cxn>
                <a:cxn ang="0">
                  <a:pos x="137" y="41"/>
                </a:cxn>
                <a:cxn ang="0">
                  <a:pos x="135" y="40"/>
                </a:cxn>
                <a:cxn ang="0">
                  <a:pos x="124" y="30"/>
                </a:cxn>
                <a:cxn ang="0">
                  <a:pos x="116" y="34"/>
                </a:cxn>
                <a:cxn ang="0">
                  <a:pos x="110" y="34"/>
                </a:cxn>
                <a:cxn ang="0">
                  <a:pos x="102" y="11"/>
                </a:cxn>
                <a:cxn ang="0">
                  <a:pos x="93" y="2"/>
                </a:cxn>
                <a:cxn ang="0">
                  <a:pos x="88" y="6"/>
                </a:cxn>
                <a:cxn ang="0">
                  <a:pos x="95" y="30"/>
                </a:cxn>
                <a:cxn ang="0">
                  <a:pos x="89" y="30"/>
                </a:cxn>
                <a:cxn ang="0">
                  <a:pos x="86" y="43"/>
                </a:cxn>
                <a:cxn ang="0">
                  <a:pos x="74" y="52"/>
                </a:cxn>
                <a:cxn ang="0">
                  <a:pos x="68" y="59"/>
                </a:cxn>
                <a:cxn ang="0">
                  <a:pos x="59" y="50"/>
                </a:cxn>
                <a:cxn ang="0">
                  <a:pos x="58" y="38"/>
                </a:cxn>
                <a:cxn ang="0">
                  <a:pos x="52" y="42"/>
                </a:cxn>
                <a:cxn ang="0">
                  <a:pos x="48" y="46"/>
                </a:cxn>
                <a:cxn ang="0">
                  <a:pos x="37" y="55"/>
                </a:cxn>
                <a:cxn ang="0">
                  <a:pos x="33" y="60"/>
                </a:cxn>
                <a:cxn ang="0">
                  <a:pos x="28" y="65"/>
                </a:cxn>
                <a:cxn ang="0">
                  <a:pos x="30" y="70"/>
                </a:cxn>
                <a:cxn ang="0">
                  <a:pos x="39" y="76"/>
                </a:cxn>
                <a:cxn ang="0">
                  <a:pos x="25" y="73"/>
                </a:cxn>
                <a:cxn ang="0">
                  <a:pos x="31" y="79"/>
                </a:cxn>
                <a:cxn ang="0">
                  <a:pos x="10" y="84"/>
                </a:cxn>
                <a:cxn ang="0">
                  <a:pos x="3" y="83"/>
                </a:cxn>
                <a:cxn ang="0">
                  <a:pos x="4" y="90"/>
                </a:cxn>
                <a:cxn ang="0">
                  <a:pos x="28" y="102"/>
                </a:cxn>
                <a:cxn ang="0">
                  <a:pos x="23" y="114"/>
                </a:cxn>
                <a:cxn ang="0">
                  <a:pos x="4" y="123"/>
                </a:cxn>
                <a:cxn ang="0">
                  <a:pos x="16" y="137"/>
                </a:cxn>
                <a:cxn ang="0">
                  <a:pos x="17" y="160"/>
                </a:cxn>
                <a:cxn ang="0">
                  <a:pos x="39" y="155"/>
                </a:cxn>
                <a:cxn ang="0">
                  <a:pos x="27" y="172"/>
                </a:cxn>
                <a:cxn ang="0">
                  <a:pos x="36" y="174"/>
                </a:cxn>
                <a:cxn ang="0">
                  <a:pos x="43" y="178"/>
                </a:cxn>
                <a:cxn ang="0">
                  <a:pos x="57" y="171"/>
                </a:cxn>
                <a:cxn ang="0">
                  <a:pos x="63" y="177"/>
                </a:cxn>
                <a:cxn ang="0">
                  <a:pos x="70" y="168"/>
                </a:cxn>
                <a:cxn ang="0">
                  <a:pos x="86" y="165"/>
                </a:cxn>
                <a:cxn ang="0">
                  <a:pos x="94" y="167"/>
                </a:cxn>
                <a:cxn ang="0">
                  <a:pos x="96" y="171"/>
                </a:cxn>
                <a:cxn ang="0">
                  <a:pos x="105" y="166"/>
                </a:cxn>
              </a:cxnLst>
              <a:rect l="0" t="0" r="r" b="b"/>
              <a:pathLst>
                <a:path w="193" h="268">
                  <a:moveTo>
                    <a:pt x="133" y="268"/>
                  </a:moveTo>
                  <a:lnTo>
                    <a:pt x="129" y="262"/>
                  </a:lnTo>
                  <a:lnTo>
                    <a:pt x="131" y="245"/>
                  </a:lnTo>
                  <a:lnTo>
                    <a:pt x="130" y="232"/>
                  </a:lnTo>
                  <a:lnTo>
                    <a:pt x="134" y="215"/>
                  </a:lnTo>
                  <a:lnTo>
                    <a:pt x="134" y="204"/>
                  </a:lnTo>
                  <a:lnTo>
                    <a:pt x="140" y="179"/>
                  </a:lnTo>
                  <a:lnTo>
                    <a:pt x="142" y="168"/>
                  </a:lnTo>
                  <a:lnTo>
                    <a:pt x="141" y="155"/>
                  </a:lnTo>
                  <a:lnTo>
                    <a:pt x="136" y="149"/>
                  </a:lnTo>
                  <a:lnTo>
                    <a:pt x="136" y="145"/>
                  </a:lnTo>
                  <a:lnTo>
                    <a:pt x="136" y="144"/>
                  </a:lnTo>
                  <a:lnTo>
                    <a:pt x="137" y="143"/>
                  </a:lnTo>
                  <a:lnTo>
                    <a:pt x="139" y="144"/>
                  </a:lnTo>
                  <a:lnTo>
                    <a:pt x="140" y="145"/>
                  </a:lnTo>
                  <a:lnTo>
                    <a:pt x="140" y="147"/>
                  </a:lnTo>
                  <a:lnTo>
                    <a:pt x="141" y="147"/>
                  </a:lnTo>
                  <a:lnTo>
                    <a:pt x="140" y="147"/>
                  </a:lnTo>
                  <a:lnTo>
                    <a:pt x="140" y="148"/>
                  </a:lnTo>
                  <a:lnTo>
                    <a:pt x="141" y="148"/>
                  </a:lnTo>
                  <a:lnTo>
                    <a:pt x="142" y="147"/>
                  </a:lnTo>
                  <a:lnTo>
                    <a:pt x="143" y="148"/>
                  </a:lnTo>
                  <a:lnTo>
                    <a:pt x="143" y="147"/>
                  </a:lnTo>
                  <a:lnTo>
                    <a:pt x="145" y="148"/>
                  </a:lnTo>
                  <a:lnTo>
                    <a:pt x="143" y="147"/>
                  </a:lnTo>
                  <a:lnTo>
                    <a:pt x="143" y="145"/>
                  </a:lnTo>
                  <a:lnTo>
                    <a:pt x="142" y="145"/>
                  </a:lnTo>
                  <a:lnTo>
                    <a:pt x="141" y="144"/>
                  </a:lnTo>
                  <a:lnTo>
                    <a:pt x="140" y="144"/>
                  </a:lnTo>
                  <a:lnTo>
                    <a:pt x="140" y="145"/>
                  </a:lnTo>
                  <a:lnTo>
                    <a:pt x="139" y="145"/>
                  </a:lnTo>
                  <a:lnTo>
                    <a:pt x="139" y="143"/>
                  </a:lnTo>
                  <a:lnTo>
                    <a:pt x="141" y="143"/>
                  </a:lnTo>
                  <a:lnTo>
                    <a:pt x="146" y="147"/>
                  </a:lnTo>
                  <a:lnTo>
                    <a:pt x="147" y="149"/>
                  </a:lnTo>
                  <a:lnTo>
                    <a:pt x="148" y="149"/>
                  </a:lnTo>
                  <a:lnTo>
                    <a:pt x="148" y="151"/>
                  </a:lnTo>
                  <a:lnTo>
                    <a:pt x="148" y="153"/>
                  </a:lnTo>
                  <a:lnTo>
                    <a:pt x="148" y="150"/>
                  </a:lnTo>
                  <a:lnTo>
                    <a:pt x="148" y="149"/>
                  </a:lnTo>
                  <a:lnTo>
                    <a:pt x="149" y="149"/>
                  </a:lnTo>
                  <a:lnTo>
                    <a:pt x="151" y="151"/>
                  </a:lnTo>
                  <a:lnTo>
                    <a:pt x="152" y="151"/>
                  </a:lnTo>
                  <a:lnTo>
                    <a:pt x="151" y="150"/>
                  </a:lnTo>
                  <a:lnTo>
                    <a:pt x="149" y="149"/>
                  </a:lnTo>
                  <a:lnTo>
                    <a:pt x="148" y="149"/>
                  </a:lnTo>
                  <a:lnTo>
                    <a:pt x="147" y="147"/>
                  </a:lnTo>
                  <a:lnTo>
                    <a:pt x="145" y="144"/>
                  </a:lnTo>
                  <a:lnTo>
                    <a:pt x="140" y="142"/>
                  </a:lnTo>
                  <a:lnTo>
                    <a:pt x="139" y="142"/>
                  </a:lnTo>
                  <a:lnTo>
                    <a:pt x="139" y="141"/>
                  </a:lnTo>
                  <a:lnTo>
                    <a:pt x="139" y="139"/>
                  </a:lnTo>
                  <a:lnTo>
                    <a:pt x="140" y="139"/>
                  </a:lnTo>
                  <a:lnTo>
                    <a:pt x="139" y="139"/>
                  </a:lnTo>
                  <a:lnTo>
                    <a:pt x="140" y="139"/>
                  </a:lnTo>
                  <a:lnTo>
                    <a:pt x="141" y="138"/>
                  </a:lnTo>
                  <a:lnTo>
                    <a:pt x="141" y="139"/>
                  </a:lnTo>
                  <a:lnTo>
                    <a:pt x="142" y="139"/>
                  </a:lnTo>
                  <a:lnTo>
                    <a:pt x="143" y="141"/>
                  </a:lnTo>
                  <a:lnTo>
                    <a:pt x="143" y="142"/>
                  </a:lnTo>
                  <a:lnTo>
                    <a:pt x="143" y="143"/>
                  </a:lnTo>
                  <a:lnTo>
                    <a:pt x="145" y="142"/>
                  </a:lnTo>
                  <a:lnTo>
                    <a:pt x="145" y="143"/>
                  </a:lnTo>
                  <a:lnTo>
                    <a:pt x="146" y="143"/>
                  </a:lnTo>
                  <a:lnTo>
                    <a:pt x="146" y="142"/>
                  </a:lnTo>
                  <a:lnTo>
                    <a:pt x="147" y="143"/>
                  </a:lnTo>
                  <a:lnTo>
                    <a:pt x="147" y="144"/>
                  </a:lnTo>
                  <a:lnTo>
                    <a:pt x="148" y="144"/>
                  </a:lnTo>
                  <a:lnTo>
                    <a:pt x="148" y="143"/>
                  </a:lnTo>
                  <a:lnTo>
                    <a:pt x="149" y="144"/>
                  </a:lnTo>
                  <a:lnTo>
                    <a:pt x="153" y="147"/>
                  </a:lnTo>
                  <a:lnTo>
                    <a:pt x="154" y="149"/>
                  </a:lnTo>
                  <a:lnTo>
                    <a:pt x="154" y="148"/>
                  </a:lnTo>
                  <a:lnTo>
                    <a:pt x="155" y="149"/>
                  </a:lnTo>
                  <a:lnTo>
                    <a:pt x="155" y="150"/>
                  </a:lnTo>
                  <a:lnTo>
                    <a:pt x="157" y="151"/>
                  </a:lnTo>
                  <a:lnTo>
                    <a:pt x="157" y="154"/>
                  </a:lnTo>
                  <a:lnTo>
                    <a:pt x="157" y="153"/>
                  </a:lnTo>
                  <a:lnTo>
                    <a:pt x="158" y="154"/>
                  </a:lnTo>
                  <a:lnTo>
                    <a:pt x="157" y="151"/>
                  </a:lnTo>
                  <a:lnTo>
                    <a:pt x="155" y="149"/>
                  </a:lnTo>
                  <a:lnTo>
                    <a:pt x="155" y="148"/>
                  </a:lnTo>
                  <a:lnTo>
                    <a:pt x="155" y="147"/>
                  </a:lnTo>
                  <a:lnTo>
                    <a:pt x="157" y="148"/>
                  </a:lnTo>
                  <a:lnTo>
                    <a:pt x="159" y="149"/>
                  </a:lnTo>
                  <a:lnTo>
                    <a:pt x="159" y="150"/>
                  </a:lnTo>
                  <a:lnTo>
                    <a:pt x="160" y="151"/>
                  </a:lnTo>
                  <a:lnTo>
                    <a:pt x="161" y="150"/>
                  </a:lnTo>
                  <a:lnTo>
                    <a:pt x="161" y="151"/>
                  </a:lnTo>
                  <a:lnTo>
                    <a:pt x="163" y="151"/>
                  </a:lnTo>
                  <a:lnTo>
                    <a:pt x="164" y="150"/>
                  </a:lnTo>
                  <a:lnTo>
                    <a:pt x="164" y="149"/>
                  </a:lnTo>
                  <a:lnTo>
                    <a:pt x="165" y="149"/>
                  </a:lnTo>
                  <a:lnTo>
                    <a:pt x="165" y="147"/>
                  </a:lnTo>
                  <a:lnTo>
                    <a:pt x="165" y="145"/>
                  </a:lnTo>
                  <a:lnTo>
                    <a:pt x="164" y="145"/>
                  </a:lnTo>
                  <a:lnTo>
                    <a:pt x="164" y="144"/>
                  </a:lnTo>
                  <a:lnTo>
                    <a:pt x="165" y="145"/>
                  </a:lnTo>
                  <a:lnTo>
                    <a:pt x="165" y="144"/>
                  </a:lnTo>
                  <a:lnTo>
                    <a:pt x="166" y="144"/>
                  </a:lnTo>
                  <a:lnTo>
                    <a:pt x="166" y="143"/>
                  </a:lnTo>
                  <a:lnTo>
                    <a:pt x="166" y="142"/>
                  </a:lnTo>
                  <a:lnTo>
                    <a:pt x="168" y="141"/>
                  </a:lnTo>
                  <a:lnTo>
                    <a:pt x="168" y="139"/>
                  </a:lnTo>
                  <a:lnTo>
                    <a:pt x="168" y="138"/>
                  </a:lnTo>
                  <a:lnTo>
                    <a:pt x="169" y="137"/>
                  </a:lnTo>
                  <a:lnTo>
                    <a:pt x="168" y="137"/>
                  </a:lnTo>
                  <a:lnTo>
                    <a:pt x="168" y="136"/>
                  </a:lnTo>
                  <a:lnTo>
                    <a:pt x="166" y="136"/>
                  </a:lnTo>
                  <a:lnTo>
                    <a:pt x="166" y="135"/>
                  </a:lnTo>
                  <a:lnTo>
                    <a:pt x="166" y="133"/>
                  </a:lnTo>
                  <a:lnTo>
                    <a:pt x="165" y="133"/>
                  </a:lnTo>
                  <a:lnTo>
                    <a:pt x="165" y="135"/>
                  </a:lnTo>
                  <a:lnTo>
                    <a:pt x="165" y="133"/>
                  </a:lnTo>
                  <a:lnTo>
                    <a:pt x="164" y="133"/>
                  </a:lnTo>
                  <a:lnTo>
                    <a:pt x="165" y="132"/>
                  </a:lnTo>
                  <a:lnTo>
                    <a:pt x="164" y="132"/>
                  </a:lnTo>
                  <a:lnTo>
                    <a:pt x="163" y="131"/>
                  </a:lnTo>
                  <a:lnTo>
                    <a:pt x="164" y="131"/>
                  </a:lnTo>
                  <a:lnTo>
                    <a:pt x="164" y="130"/>
                  </a:lnTo>
                  <a:lnTo>
                    <a:pt x="164" y="129"/>
                  </a:lnTo>
                  <a:lnTo>
                    <a:pt x="164" y="127"/>
                  </a:lnTo>
                  <a:lnTo>
                    <a:pt x="165" y="127"/>
                  </a:lnTo>
                  <a:lnTo>
                    <a:pt x="166" y="127"/>
                  </a:lnTo>
                  <a:lnTo>
                    <a:pt x="168" y="129"/>
                  </a:lnTo>
                  <a:lnTo>
                    <a:pt x="168" y="130"/>
                  </a:lnTo>
                  <a:lnTo>
                    <a:pt x="169" y="129"/>
                  </a:lnTo>
                  <a:lnTo>
                    <a:pt x="169" y="130"/>
                  </a:lnTo>
                  <a:lnTo>
                    <a:pt x="169" y="129"/>
                  </a:lnTo>
                  <a:lnTo>
                    <a:pt x="169" y="127"/>
                  </a:lnTo>
                  <a:lnTo>
                    <a:pt x="169" y="126"/>
                  </a:lnTo>
                  <a:lnTo>
                    <a:pt x="168" y="126"/>
                  </a:lnTo>
                  <a:lnTo>
                    <a:pt x="168" y="125"/>
                  </a:lnTo>
                  <a:lnTo>
                    <a:pt x="168" y="124"/>
                  </a:lnTo>
                  <a:lnTo>
                    <a:pt x="168" y="125"/>
                  </a:lnTo>
                  <a:lnTo>
                    <a:pt x="168" y="124"/>
                  </a:lnTo>
                  <a:lnTo>
                    <a:pt x="166" y="125"/>
                  </a:lnTo>
                  <a:lnTo>
                    <a:pt x="165" y="125"/>
                  </a:lnTo>
                  <a:lnTo>
                    <a:pt x="166" y="124"/>
                  </a:lnTo>
                  <a:lnTo>
                    <a:pt x="166" y="123"/>
                  </a:lnTo>
                  <a:lnTo>
                    <a:pt x="165" y="123"/>
                  </a:lnTo>
                  <a:lnTo>
                    <a:pt x="165" y="120"/>
                  </a:lnTo>
                  <a:lnTo>
                    <a:pt x="166" y="120"/>
                  </a:lnTo>
                  <a:lnTo>
                    <a:pt x="168" y="121"/>
                  </a:lnTo>
                  <a:lnTo>
                    <a:pt x="168" y="120"/>
                  </a:lnTo>
                  <a:lnTo>
                    <a:pt x="168" y="121"/>
                  </a:lnTo>
                  <a:lnTo>
                    <a:pt x="169" y="121"/>
                  </a:lnTo>
                  <a:lnTo>
                    <a:pt x="169" y="123"/>
                  </a:lnTo>
                  <a:lnTo>
                    <a:pt x="170" y="123"/>
                  </a:lnTo>
                  <a:lnTo>
                    <a:pt x="170" y="124"/>
                  </a:lnTo>
                  <a:lnTo>
                    <a:pt x="169" y="124"/>
                  </a:lnTo>
                  <a:lnTo>
                    <a:pt x="169" y="125"/>
                  </a:lnTo>
                  <a:lnTo>
                    <a:pt x="169" y="124"/>
                  </a:lnTo>
                  <a:lnTo>
                    <a:pt x="170" y="124"/>
                  </a:lnTo>
                  <a:lnTo>
                    <a:pt x="170" y="125"/>
                  </a:lnTo>
                  <a:lnTo>
                    <a:pt x="169" y="125"/>
                  </a:lnTo>
                  <a:lnTo>
                    <a:pt x="169" y="126"/>
                  </a:lnTo>
                  <a:lnTo>
                    <a:pt x="169" y="127"/>
                  </a:lnTo>
                  <a:lnTo>
                    <a:pt x="170" y="126"/>
                  </a:lnTo>
                  <a:lnTo>
                    <a:pt x="170" y="127"/>
                  </a:lnTo>
                  <a:lnTo>
                    <a:pt x="171" y="127"/>
                  </a:lnTo>
                  <a:lnTo>
                    <a:pt x="172" y="127"/>
                  </a:lnTo>
                  <a:lnTo>
                    <a:pt x="172" y="129"/>
                  </a:lnTo>
                  <a:lnTo>
                    <a:pt x="172" y="130"/>
                  </a:lnTo>
                  <a:lnTo>
                    <a:pt x="172" y="129"/>
                  </a:lnTo>
                  <a:lnTo>
                    <a:pt x="174" y="129"/>
                  </a:lnTo>
                  <a:lnTo>
                    <a:pt x="174" y="130"/>
                  </a:lnTo>
                  <a:lnTo>
                    <a:pt x="175" y="130"/>
                  </a:lnTo>
                  <a:lnTo>
                    <a:pt x="175" y="129"/>
                  </a:lnTo>
                  <a:lnTo>
                    <a:pt x="175" y="130"/>
                  </a:lnTo>
                  <a:lnTo>
                    <a:pt x="175" y="129"/>
                  </a:lnTo>
                  <a:lnTo>
                    <a:pt x="174" y="129"/>
                  </a:lnTo>
                  <a:lnTo>
                    <a:pt x="174" y="127"/>
                  </a:lnTo>
                  <a:lnTo>
                    <a:pt x="175" y="127"/>
                  </a:lnTo>
                  <a:lnTo>
                    <a:pt x="174" y="127"/>
                  </a:lnTo>
                  <a:lnTo>
                    <a:pt x="172" y="127"/>
                  </a:lnTo>
                  <a:lnTo>
                    <a:pt x="174" y="127"/>
                  </a:lnTo>
                  <a:lnTo>
                    <a:pt x="172" y="127"/>
                  </a:lnTo>
                  <a:lnTo>
                    <a:pt x="172" y="126"/>
                  </a:lnTo>
                  <a:lnTo>
                    <a:pt x="171" y="126"/>
                  </a:lnTo>
                  <a:lnTo>
                    <a:pt x="171" y="125"/>
                  </a:lnTo>
                  <a:lnTo>
                    <a:pt x="171" y="123"/>
                  </a:lnTo>
                  <a:lnTo>
                    <a:pt x="171" y="124"/>
                  </a:lnTo>
                  <a:lnTo>
                    <a:pt x="172" y="124"/>
                  </a:lnTo>
                  <a:lnTo>
                    <a:pt x="172" y="125"/>
                  </a:lnTo>
                  <a:lnTo>
                    <a:pt x="171" y="125"/>
                  </a:lnTo>
                  <a:lnTo>
                    <a:pt x="172" y="126"/>
                  </a:lnTo>
                  <a:lnTo>
                    <a:pt x="172" y="125"/>
                  </a:lnTo>
                  <a:lnTo>
                    <a:pt x="174" y="125"/>
                  </a:lnTo>
                  <a:lnTo>
                    <a:pt x="174" y="124"/>
                  </a:lnTo>
                  <a:lnTo>
                    <a:pt x="175" y="124"/>
                  </a:lnTo>
                  <a:lnTo>
                    <a:pt x="175" y="125"/>
                  </a:lnTo>
                  <a:lnTo>
                    <a:pt x="176" y="125"/>
                  </a:lnTo>
                  <a:lnTo>
                    <a:pt x="177" y="125"/>
                  </a:lnTo>
                  <a:lnTo>
                    <a:pt x="177" y="126"/>
                  </a:lnTo>
                  <a:lnTo>
                    <a:pt x="176" y="126"/>
                  </a:lnTo>
                  <a:lnTo>
                    <a:pt x="176" y="127"/>
                  </a:lnTo>
                  <a:lnTo>
                    <a:pt x="177" y="129"/>
                  </a:lnTo>
                  <a:lnTo>
                    <a:pt x="178" y="127"/>
                  </a:lnTo>
                  <a:lnTo>
                    <a:pt x="178" y="126"/>
                  </a:lnTo>
                  <a:lnTo>
                    <a:pt x="180" y="125"/>
                  </a:lnTo>
                  <a:lnTo>
                    <a:pt x="178" y="125"/>
                  </a:lnTo>
                  <a:lnTo>
                    <a:pt x="180" y="125"/>
                  </a:lnTo>
                  <a:lnTo>
                    <a:pt x="180" y="124"/>
                  </a:lnTo>
                  <a:lnTo>
                    <a:pt x="180" y="123"/>
                  </a:lnTo>
                  <a:lnTo>
                    <a:pt x="180" y="124"/>
                  </a:lnTo>
                  <a:lnTo>
                    <a:pt x="180" y="123"/>
                  </a:lnTo>
                  <a:lnTo>
                    <a:pt x="180" y="121"/>
                  </a:lnTo>
                  <a:lnTo>
                    <a:pt x="180" y="120"/>
                  </a:lnTo>
                  <a:lnTo>
                    <a:pt x="178" y="120"/>
                  </a:lnTo>
                  <a:lnTo>
                    <a:pt x="177" y="119"/>
                  </a:lnTo>
                  <a:lnTo>
                    <a:pt x="177" y="118"/>
                  </a:lnTo>
                  <a:lnTo>
                    <a:pt x="177" y="117"/>
                  </a:lnTo>
                  <a:lnTo>
                    <a:pt x="176" y="117"/>
                  </a:lnTo>
                  <a:lnTo>
                    <a:pt x="175" y="115"/>
                  </a:lnTo>
                  <a:lnTo>
                    <a:pt x="176" y="115"/>
                  </a:lnTo>
                  <a:lnTo>
                    <a:pt x="177" y="115"/>
                  </a:lnTo>
                  <a:lnTo>
                    <a:pt x="180" y="115"/>
                  </a:lnTo>
                  <a:lnTo>
                    <a:pt x="182" y="115"/>
                  </a:lnTo>
                  <a:lnTo>
                    <a:pt x="181" y="115"/>
                  </a:lnTo>
                  <a:lnTo>
                    <a:pt x="182" y="117"/>
                  </a:lnTo>
                  <a:lnTo>
                    <a:pt x="182" y="115"/>
                  </a:lnTo>
                  <a:lnTo>
                    <a:pt x="182" y="114"/>
                  </a:lnTo>
                  <a:lnTo>
                    <a:pt x="183" y="114"/>
                  </a:lnTo>
                  <a:lnTo>
                    <a:pt x="183" y="115"/>
                  </a:lnTo>
                  <a:lnTo>
                    <a:pt x="184" y="115"/>
                  </a:lnTo>
                  <a:lnTo>
                    <a:pt x="184" y="117"/>
                  </a:lnTo>
                  <a:lnTo>
                    <a:pt x="184" y="115"/>
                  </a:lnTo>
                  <a:lnTo>
                    <a:pt x="184" y="114"/>
                  </a:lnTo>
                  <a:lnTo>
                    <a:pt x="186" y="114"/>
                  </a:lnTo>
                  <a:lnTo>
                    <a:pt x="184" y="115"/>
                  </a:lnTo>
                  <a:lnTo>
                    <a:pt x="186" y="117"/>
                  </a:lnTo>
                  <a:lnTo>
                    <a:pt x="186" y="115"/>
                  </a:lnTo>
                  <a:lnTo>
                    <a:pt x="186" y="114"/>
                  </a:lnTo>
                  <a:lnTo>
                    <a:pt x="184" y="114"/>
                  </a:lnTo>
                  <a:lnTo>
                    <a:pt x="184" y="113"/>
                  </a:lnTo>
                  <a:lnTo>
                    <a:pt x="186" y="113"/>
                  </a:lnTo>
                  <a:lnTo>
                    <a:pt x="184" y="113"/>
                  </a:lnTo>
                  <a:lnTo>
                    <a:pt x="183" y="113"/>
                  </a:lnTo>
                  <a:lnTo>
                    <a:pt x="182" y="112"/>
                  </a:lnTo>
                  <a:lnTo>
                    <a:pt x="182" y="113"/>
                  </a:lnTo>
                  <a:lnTo>
                    <a:pt x="182" y="114"/>
                  </a:lnTo>
                  <a:lnTo>
                    <a:pt x="182" y="113"/>
                  </a:lnTo>
                  <a:lnTo>
                    <a:pt x="182" y="114"/>
                  </a:lnTo>
                  <a:lnTo>
                    <a:pt x="183" y="113"/>
                  </a:lnTo>
                  <a:lnTo>
                    <a:pt x="183" y="114"/>
                  </a:lnTo>
                  <a:lnTo>
                    <a:pt x="181" y="115"/>
                  </a:lnTo>
                  <a:lnTo>
                    <a:pt x="177" y="115"/>
                  </a:lnTo>
                  <a:lnTo>
                    <a:pt x="177" y="114"/>
                  </a:lnTo>
                  <a:lnTo>
                    <a:pt x="177" y="113"/>
                  </a:lnTo>
                  <a:lnTo>
                    <a:pt x="177" y="114"/>
                  </a:lnTo>
                  <a:lnTo>
                    <a:pt x="176" y="114"/>
                  </a:lnTo>
                  <a:lnTo>
                    <a:pt x="177" y="113"/>
                  </a:lnTo>
                  <a:lnTo>
                    <a:pt x="176" y="112"/>
                  </a:lnTo>
                  <a:lnTo>
                    <a:pt x="177" y="112"/>
                  </a:lnTo>
                  <a:lnTo>
                    <a:pt x="177" y="110"/>
                  </a:lnTo>
                  <a:lnTo>
                    <a:pt x="177" y="109"/>
                  </a:lnTo>
                  <a:lnTo>
                    <a:pt x="177" y="108"/>
                  </a:lnTo>
                  <a:lnTo>
                    <a:pt x="176" y="109"/>
                  </a:lnTo>
                  <a:lnTo>
                    <a:pt x="177" y="108"/>
                  </a:lnTo>
                  <a:lnTo>
                    <a:pt x="177" y="107"/>
                  </a:lnTo>
                  <a:lnTo>
                    <a:pt x="177" y="106"/>
                  </a:lnTo>
                  <a:lnTo>
                    <a:pt x="176" y="106"/>
                  </a:lnTo>
                  <a:lnTo>
                    <a:pt x="175" y="106"/>
                  </a:lnTo>
                  <a:lnTo>
                    <a:pt x="175" y="104"/>
                  </a:lnTo>
                  <a:lnTo>
                    <a:pt x="174" y="104"/>
                  </a:lnTo>
                  <a:lnTo>
                    <a:pt x="174" y="103"/>
                  </a:lnTo>
                  <a:lnTo>
                    <a:pt x="172" y="102"/>
                  </a:lnTo>
                  <a:lnTo>
                    <a:pt x="171" y="102"/>
                  </a:lnTo>
                  <a:lnTo>
                    <a:pt x="172" y="103"/>
                  </a:lnTo>
                  <a:lnTo>
                    <a:pt x="171" y="103"/>
                  </a:lnTo>
                  <a:lnTo>
                    <a:pt x="170" y="103"/>
                  </a:lnTo>
                  <a:lnTo>
                    <a:pt x="169" y="103"/>
                  </a:lnTo>
                  <a:lnTo>
                    <a:pt x="168" y="102"/>
                  </a:lnTo>
                  <a:lnTo>
                    <a:pt x="168" y="101"/>
                  </a:lnTo>
                  <a:lnTo>
                    <a:pt x="169" y="101"/>
                  </a:lnTo>
                  <a:lnTo>
                    <a:pt x="168" y="100"/>
                  </a:lnTo>
                  <a:lnTo>
                    <a:pt x="169" y="100"/>
                  </a:lnTo>
                  <a:lnTo>
                    <a:pt x="169" y="101"/>
                  </a:lnTo>
                  <a:lnTo>
                    <a:pt x="169" y="102"/>
                  </a:lnTo>
                  <a:lnTo>
                    <a:pt x="170" y="101"/>
                  </a:lnTo>
                  <a:lnTo>
                    <a:pt x="169" y="100"/>
                  </a:lnTo>
                  <a:lnTo>
                    <a:pt x="170" y="100"/>
                  </a:lnTo>
                  <a:lnTo>
                    <a:pt x="169" y="98"/>
                  </a:lnTo>
                  <a:lnTo>
                    <a:pt x="169" y="97"/>
                  </a:lnTo>
                  <a:lnTo>
                    <a:pt x="170" y="97"/>
                  </a:lnTo>
                  <a:lnTo>
                    <a:pt x="170" y="98"/>
                  </a:lnTo>
                  <a:lnTo>
                    <a:pt x="170" y="100"/>
                  </a:lnTo>
                  <a:lnTo>
                    <a:pt x="170" y="98"/>
                  </a:lnTo>
                  <a:lnTo>
                    <a:pt x="170" y="97"/>
                  </a:lnTo>
                  <a:lnTo>
                    <a:pt x="169" y="96"/>
                  </a:lnTo>
                  <a:lnTo>
                    <a:pt x="169" y="95"/>
                  </a:lnTo>
                  <a:lnTo>
                    <a:pt x="166" y="94"/>
                  </a:lnTo>
                  <a:lnTo>
                    <a:pt x="165" y="94"/>
                  </a:lnTo>
                  <a:lnTo>
                    <a:pt x="164" y="94"/>
                  </a:lnTo>
                  <a:lnTo>
                    <a:pt x="164" y="92"/>
                  </a:lnTo>
                  <a:lnTo>
                    <a:pt x="164" y="94"/>
                  </a:lnTo>
                  <a:lnTo>
                    <a:pt x="163" y="92"/>
                  </a:lnTo>
                  <a:lnTo>
                    <a:pt x="161" y="91"/>
                  </a:lnTo>
                  <a:lnTo>
                    <a:pt x="163" y="91"/>
                  </a:lnTo>
                  <a:lnTo>
                    <a:pt x="163" y="90"/>
                  </a:lnTo>
                  <a:lnTo>
                    <a:pt x="163" y="89"/>
                  </a:lnTo>
                  <a:lnTo>
                    <a:pt x="161" y="89"/>
                  </a:lnTo>
                  <a:lnTo>
                    <a:pt x="163" y="89"/>
                  </a:lnTo>
                  <a:lnTo>
                    <a:pt x="161" y="89"/>
                  </a:lnTo>
                  <a:lnTo>
                    <a:pt x="160" y="89"/>
                  </a:lnTo>
                  <a:lnTo>
                    <a:pt x="160" y="88"/>
                  </a:lnTo>
                  <a:lnTo>
                    <a:pt x="163" y="86"/>
                  </a:lnTo>
                  <a:lnTo>
                    <a:pt x="163" y="88"/>
                  </a:lnTo>
                  <a:lnTo>
                    <a:pt x="163" y="86"/>
                  </a:lnTo>
                  <a:lnTo>
                    <a:pt x="164" y="88"/>
                  </a:lnTo>
                  <a:lnTo>
                    <a:pt x="165" y="88"/>
                  </a:lnTo>
                  <a:lnTo>
                    <a:pt x="165" y="86"/>
                  </a:lnTo>
                  <a:lnTo>
                    <a:pt x="165" y="85"/>
                  </a:lnTo>
                  <a:lnTo>
                    <a:pt x="165" y="86"/>
                  </a:lnTo>
                  <a:lnTo>
                    <a:pt x="166" y="85"/>
                  </a:lnTo>
                  <a:lnTo>
                    <a:pt x="168" y="85"/>
                  </a:lnTo>
                  <a:lnTo>
                    <a:pt x="168" y="86"/>
                  </a:lnTo>
                  <a:lnTo>
                    <a:pt x="169" y="86"/>
                  </a:lnTo>
                  <a:lnTo>
                    <a:pt x="169" y="85"/>
                  </a:lnTo>
                  <a:lnTo>
                    <a:pt x="168" y="85"/>
                  </a:lnTo>
                  <a:lnTo>
                    <a:pt x="168" y="84"/>
                  </a:lnTo>
                  <a:lnTo>
                    <a:pt x="170" y="85"/>
                  </a:lnTo>
                  <a:lnTo>
                    <a:pt x="171" y="85"/>
                  </a:lnTo>
                  <a:lnTo>
                    <a:pt x="171" y="84"/>
                  </a:lnTo>
                  <a:lnTo>
                    <a:pt x="171" y="85"/>
                  </a:lnTo>
                  <a:lnTo>
                    <a:pt x="172" y="84"/>
                  </a:lnTo>
                  <a:lnTo>
                    <a:pt x="175" y="85"/>
                  </a:lnTo>
                  <a:lnTo>
                    <a:pt x="175" y="86"/>
                  </a:lnTo>
                  <a:lnTo>
                    <a:pt x="175" y="88"/>
                  </a:lnTo>
                  <a:lnTo>
                    <a:pt x="176" y="86"/>
                  </a:lnTo>
                  <a:lnTo>
                    <a:pt x="176" y="85"/>
                  </a:lnTo>
                  <a:lnTo>
                    <a:pt x="175" y="84"/>
                  </a:lnTo>
                  <a:lnTo>
                    <a:pt x="176" y="85"/>
                  </a:lnTo>
                  <a:lnTo>
                    <a:pt x="177" y="85"/>
                  </a:lnTo>
                  <a:lnTo>
                    <a:pt x="177" y="88"/>
                  </a:lnTo>
                  <a:lnTo>
                    <a:pt x="178" y="86"/>
                  </a:lnTo>
                  <a:lnTo>
                    <a:pt x="178" y="88"/>
                  </a:lnTo>
                  <a:lnTo>
                    <a:pt x="178" y="89"/>
                  </a:lnTo>
                  <a:lnTo>
                    <a:pt x="180" y="88"/>
                  </a:lnTo>
                  <a:lnTo>
                    <a:pt x="180" y="86"/>
                  </a:lnTo>
                  <a:lnTo>
                    <a:pt x="181" y="86"/>
                  </a:lnTo>
                  <a:lnTo>
                    <a:pt x="181" y="88"/>
                  </a:lnTo>
                  <a:lnTo>
                    <a:pt x="181" y="86"/>
                  </a:lnTo>
                  <a:lnTo>
                    <a:pt x="182" y="85"/>
                  </a:lnTo>
                  <a:lnTo>
                    <a:pt x="182" y="86"/>
                  </a:lnTo>
                  <a:lnTo>
                    <a:pt x="182" y="88"/>
                  </a:lnTo>
                  <a:lnTo>
                    <a:pt x="182" y="86"/>
                  </a:lnTo>
                  <a:lnTo>
                    <a:pt x="182" y="85"/>
                  </a:lnTo>
                  <a:lnTo>
                    <a:pt x="183" y="85"/>
                  </a:lnTo>
                  <a:lnTo>
                    <a:pt x="183" y="86"/>
                  </a:lnTo>
                  <a:lnTo>
                    <a:pt x="184" y="88"/>
                  </a:lnTo>
                  <a:lnTo>
                    <a:pt x="184" y="86"/>
                  </a:lnTo>
                  <a:lnTo>
                    <a:pt x="184" y="85"/>
                  </a:lnTo>
                  <a:lnTo>
                    <a:pt x="184" y="84"/>
                  </a:lnTo>
                  <a:lnTo>
                    <a:pt x="186" y="84"/>
                  </a:lnTo>
                  <a:lnTo>
                    <a:pt x="186" y="85"/>
                  </a:lnTo>
                  <a:lnTo>
                    <a:pt x="187" y="85"/>
                  </a:lnTo>
                  <a:lnTo>
                    <a:pt x="187" y="86"/>
                  </a:lnTo>
                  <a:lnTo>
                    <a:pt x="188" y="85"/>
                  </a:lnTo>
                  <a:lnTo>
                    <a:pt x="187" y="84"/>
                  </a:lnTo>
                  <a:lnTo>
                    <a:pt x="188" y="84"/>
                  </a:lnTo>
                  <a:lnTo>
                    <a:pt x="189" y="84"/>
                  </a:lnTo>
                  <a:lnTo>
                    <a:pt x="189" y="85"/>
                  </a:lnTo>
                  <a:lnTo>
                    <a:pt x="190" y="84"/>
                  </a:lnTo>
                  <a:lnTo>
                    <a:pt x="189" y="83"/>
                  </a:lnTo>
                  <a:lnTo>
                    <a:pt x="189" y="82"/>
                  </a:lnTo>
                  <a:lnTo>
                    <a:pt x="188" y="82"/>
                  </a:lnTo>
                  <a:lnTo>
                    <a:pt x="187" y="83"/>
                  </a:lnTo>
                  <a:lnTo>
                    <a:pt x="186" y="83"/>
                  </a:lnTo>
                  <a:lnTo>
                    <a:pt x="184" y="83"/>
                  </a:lnTo>
                  <a:lnTo>
                    <a:pt x="183" y="83"/>
                  </a:lnTo>
                  <a:lnTo>
                    <a:pt x="183" y="82"/>
                  </a:lnTo>
                  <a:lnTo>
                    <a:pt x="182" y="82"/>
                  </a:lnTo>
                  <a:lnTo>
                    <a:pt x="182" y="83"/>
                  </a:lnTo>
                  <a:lnTo>
                    <a:pt x="181" y="83"/>
                  </a:lnTo>
                  <a:lnTo>
                    <a:pt x="181" y="82"/>
                  </a:lnTo>
                  <a:lnTo>
                    <a:pt x="181" y="83"/>
                  </a:lnTo>
                  <a:lnTo>
                    <a:pt x="180" y="83"/>
                  </a:lnTo>
                  <a:lnTo>
                    <a:pt x="178" y="83"/>
                  </a:lnTo>
                  <a:lnTo>
                    <a:pt x="178" y="82"/>
                  </a:lnTo>
                  <a:lnTo>
                    <a:pt x="177" y="82"/>
                  </a:lnTo>
                  <a:lnTo>
                    <a:pt x="177" y="83"/>
                  </a:lnTo>
                  <a:lnTo>
                    <a:pt x="176" y="83"/>
                  </a:lnTo>
                  <a:lnTo>
                    <a:pt x="177" y="82"/>
                  </a:lnTo>
                  <a:lnTo>
                    <a:pt x="176" y="83"/>
                  </a:lnTo>
                  <a:lnTo>
                    <a:pt x="176" y="82"/>
                  </a:lnTo>
                  <a:lnTo>
                    <a:pt x="175" y="82"/>
                  </a:lnTo>
                  <a:lnTo>
                    <a:pt x="176" y="82"/>
                  </a:lnTo>
                  <a:lnTo>
                    <a:pt x="176" y="80"/>
                  </a:lnTo>
                  <a:lnTo>
                    <a:pt x="175" y="82"/>
                  </a:lnTo>
                  <a:lnTo>
                    <a:pt x="174" y="82"/>
                  </a:lnTo>
                  <a:lnTo>
                    <a:pt x="172" y="82"/>
                  </a:lnTo>
                  <a:lnTo>
                    <a:pt x="172" y="83"/>
                  </a:lnTo>
                  <a:lnTo>
                    <a:pt x="172" y="82"/>
                  </a:lnTo>
                  <a:lnTo>
                    <a:pt x="171" y="82"/>
                  </a:lnTo>
                  <a:lnTo>
                    <a:pt x="170" y="82"/>
                  </a:lnTo>
                  <a:lnTo>
                    <a:pt x="170" y="80"/>
                  </a:lnTo>
                  <a:lnTo>
                    <a:pt x="169" y="79"/>
                  </a:lnTo>
                  <a:lnTo>
                    <a:pt x="170" y="79"/>
                  </a:lnTo>
                  <a:lnTo>
                    <a:pt x="171" y="79"/>
                  </a:lnTo>
                  <a:lnTo>
                    <a:pt x="171" y="78"/>
                  </a:lnTo>
                  <a:lnTo>
                    <a:pt x="172" y="78"/>
                  </a:lnTo>
                  <a:lnTo>
                    <a:pt x="172" y="79"/>
                  </a:lnTo>
                  <a:lnTo>
                    <a:pt x="172" y="78"/>
                  </a:lnTo>
                  <a:lnTo>
                    <a:pt x="172" y="77"/>
                  </a:lnTo>
                  <a:lnTo>
                    <a:pt x="174" y="77"/>
                  </a:lnTo>
                  <a:lnTo>
                    <a:pt x="175" y="78"/>
                  </a:lnTo>
                  <a:lnTo>
                    <a:pt x="176" y="77"/>
                  </a:lnTo>
                  <a:lnTo>
                    <a:pt x="176" y="78"/>
                  </a:lnTo>
                  <a:lnTo>
                    <a:pt x="177" y="78"/>
                  </a:lnTo>
                  <a:lnTo>
                    <a:pt x="177" y="77"/>
                  </a:lnTo>
                  <a:lnTo>
                    <a:pt x="178" y="78"/>
                  </a:lnTo>
                  <a:lnTo>
                    <a:pt x="180" y="78"/>
                  </a:lnTo>
                  <a:lnTo>
                    <a:pt x="180" y="77"/>
                  </a:lnTo>
                  <a:lnTo>
                    <a:pt x="181" y="77"/>
                  </a:lnTo>
                  <a:lnTo>
                    <a:pt x="182" y="77"/>
                  </a:lnTo>
                  <a:lnTo>
                    <a:pt x="183" y="77"/>
                  </a:lnTo>
                  <a:lnTo>
                    <a:pt x="184" y="78"/>
                  </a:lnTo>
                  <a:lnTo>
                    <a:pt x="184" y="79"/>
                  </a:lnTo>
                  <a:lnTo>
                    <a:pt x="184" y="78"/>
                  </a:lnTo>
                  <a:lnTo>
                    <a:pt x="184" y="77"/>
                  </a:lnTo>
                  <a:lnTo>
                    <a:pt x="183" y="77"/>
                  </a:lnTo>
                  <a:lnTo>
                    <a:pt x="183" y="76"/>
                  </a:lnTo>
                  <a:lnTo>
                    <a:pt x="182" y="74"/>
                  </a:lnTo>
                  <a:lnTo>
                    <a:pt x="182" y="76"/>
                  </a:lnTo>
                  <a:lnTo>
                    <a:pt x="182" y="77"/>
                  </a:lnTo>
                  <a:lnTo>
                    <a:pt x="182" y="76"/>
                  </a:lnTo>
                  <a:lnTo>
                    <a:pt x="181" y="77"/>
                  </a:lnTo>
                  <a:lnTo>
                    <a:pt x="180" y="76"/>
                  </a:lnTo>
                  <a:lnTo>
                    <a:pt x="178" y="76"/>
                  </a:lnTo>
                  <a:lnTo>
                    <a:pt x="177" y="76"/>
                  </a:lnTo>
                  <a:lnTo>
                    <a:pt x="177" y="77"/>
                  </a:lnTo>
                  <a:lnTo>
                    <a:pt x="177" y="76"/>
                  </a:lnTo>
                  <a:lnTo>
                    <a:pt x="177" y="74"/>
                  </a:lnTo>
                  <a:lnTo>
                    <a:pt x="180" y="73"/>
                  </a:lnTo>
                  <a:lnTo>
                    <a:pt x="183" y="73"/>
                  </a:lnTo>
                  <a:lnTo>
                    <a:pt x="184" y="73"/>
                  </a:lnTo>
                  <a:lnTo>
                    <a:pt x="186" y="73"/>
                  </a:lnTo>
                  <a:lnTo>
                    <a:pt x="184" y="73"/>
                  </a:lnTo>
                  <a:lnTo>
                    <a:pt x="184" y="72"/>
                  </a:lnTo>
                  <a:lnTo>
                    <a:pt x="187" y="72"/>
                  </a:lnTo>
                  <a:lnTo>
                    <a:pt x="188" y="72"/>
                  </a:lnTo>
                  <a:lnTo>
                    <a:pt x="188" y="73"/>
                  </a:lnTo>
                  <a:lnTo>
                    <a:pt x="188" y="72"/>
                  </a:lnTo>
                  <a:lnTo>
                    <a:pt x="189" y="72"/>
                  </a:lnTo>
                  <a:lnTo>
                    <a:pt x="190" y="72"/>
                  </a:lnTo>
                  <a:lnTo>
                    <a:pt x="190" y="73"/>
                  </a:lnTo>
                  <a:lnTo>
                    <a:pt x="190" y="74"/>
                  </a:lnTo>
                  <a:lnTo>
                    <a:pt x="190" y="73"/>
                  </a:lnTo>
                  <a:lnTo>
                    <a:pt x="189" y="72"/>
                  </a:lnTo>
                  <a:lnTo>
                    <a:pt x="190" y="72"/>
                  </a:lnTo>
                  <a:lnTo>
                    <a:pt x="192" y="72"/>
                  </a:lnTo>
                  <a:lnTo>
                    <a:pt x="192" y="74"/>
                  </a:lnTo>
                  <a:lnTo>
                    <a:pt x="192" y="73"/>
                  </a:lnTo>
                  <a:lnTo>
                    <a:pt x="192" y="74"/>
                  </a:lnTo>
                  <a:lnTo>
                    <a:pt x="192" y="73"/>
                  </a:lnTo>
                  <a:lnTo>
                    <a:pt x="192" y="72"/>
                  </a:lnTo>
                  <a:lnTo>
                    <a:pt x="193" y="71"/>
                  </a:lnTo>
                  <a:lnTo>
                    <a:pt x="190" y="72"/>
                  </a:lnTo>
                  <a:lnTo>
                    <a:pt x="189" y="72"/>
                  </a:lnTo>
                  <a:lnTo>
                    <a:pt x="189" y="71"/>
                  </a:lnTo>
                  <a:lnTo>
                    <a:pt x="189" y="72"/>
                  </a:lnTo>
                  <a:lnTo>
                    <a:pt x="189" y="71"/>
                  </a:lnTo>
                  <a:lnTo>
                    <a:pt x="188" y="72"/>
                  </a:lnTo>
                  <a:lnTo>
                    <a:pt x="187" y="72"/>
                  </a:lnTo>
                  <a:lnTo>
                    <a:pt x="184" y="72"/>
                  </a:lnTo>
                  <a:lnTo>
                    <a:pt x="187" y="70"/>
                  </a:lnTo>
                  <a:lnTo>
                    <a:pt x="188" y="70"/>
                  </a:lnTo>
                  <a:lnTo>
                    <a:pt x="188" y="68"/>
                  </a:lnTo>
                  <a:lnTo>
                    <a:pt x="189" y="68"/>
                  </a:lnTo>
                  <a:lnTo>
                    <a:pt x="190" y="68"/>
                  </a:lnTo>
                  <a:lnTo>
                    <a:pt x="192" y="68"/>
                  </a:lnTo>
                  <a:lnTo>
                    <a:pt x="192" y="67"/>
                  </a:lnTo>
                  <a:lnTo>
                    <a:pt x="190" y="67"/>
                  </a:lnTo>
                  <a:lnTo>
                    <a:pt x="189" y="67"/>
                  </a:lnTo>
                  <a:lnTo>
                    <a:pt x="189" y="68"/>
                  </a:lnTo>
                  <a:lnTo>
                    <a:pt x="189" y="67"/>
                  </a:lnTo>
                  <a:lnTo>
                    <a:pt x="188" y="68"/>
                  </a:lnTo>
                  <a:lnTo>
                    <a:pt x="188" y="67"/>
                  </a:lnTo>
                  <a:lnTo>
                    <a:pt x="187" y="67"/>
                  </a:lnTo>
                  <a:lnTo>
                    <a:pt x="187" y="66"/>
                  </a:lnTo>
                  <a:lnTo>
                    <a:pt x="187" y="67"/>
                  </a:lnTo>
                  <a:lnTo>
                    <a:pt x="187" y="68"/>
                  </a:lnTo>
                  <a:lnTo>
                    <a:pt x="187" y="67"/>
                  </a:lnTo>
                  <a:lnTo>
                    <a:pt x="186" y="66"/>
                  </a:lnTo>
                  <a:lnTo>
                    <a:pt x="186" y="67"/>
                  </a:lnTo>
                  <a:lnTo>
                    <a:pt x="187" y="68"/>
                  </a:lnTo>
                  <a:lnTo>
                    <a:pt x="186" y="70"/>
                  </a:lnTo>
                  <a:lnTo>
                    <a:pt x="184" y="70"/>
                  </a:lnTo>
                  <a:lnTo>
                    <a:pt x="184" y="71"/>
                  </a:lnTo>
                  <a:lnTo>
                    <a:pt x="184" y="72"/>
                  </a:lnTo>
                  <a:lnTo>
                    <a:pt x="183" y="72"/>
                  </a:lnTo>
                  <a:lnTo>
                    <a:pt x="183" y="71"/>
                  </a:lnTo>
                  <a:lnTo>
                    <a:pt x="183" y="72"/>
                  </a:lnTo>
                  <a:lnTo>
                    <a:pt x="182" y="71"/>
                  </a:lnTo>
                  <a:lnTo>
                    <a:pt x="182" y="72"/>
                  </a:lnTo>
                  <a:lnTo>
                    <a:pt x="181" y="73"/>
                  </a:lnTo>
                  <a:lnTo>
                    <a:pt x="181" y="72"/>
                  </a:lnTo>
                  <a:lnTo>
                    <a:pt x="182" y="72"/>
                  </a:lnTo>
                  <a:lnTo>
                    <a:pt x="182" y="71"/>
                  </a:lnTo>
                  <a:lnTo>
                    <a:pt x="181" y="72"/>
                  </a:lnTo>
                  <a:lnTo>
                    <a:pt x="181" y="73"/>
                  </a:lnTo>
                  <a:lnTo>
                    <a:pt x="178" y="73"/>
                  </a:lnTo>
                  <a:lnTo>
                    <a:pt x="177" y="74"/>
                  </a:lnTo>
                  <a:lnTo>
                    <a:pt x="177" y="73"/>
                  </a:lnTo>
                  <a:lnTo>
                    <a:pt x="176" y="74"/>
                  </a:lnTo>
                  <a:lnTo>
                    <a:pt x="175" y="74"/>
                  </a:lnTo>
                  <a:lnTo>
                    <a:pt x="174" y="74"/>
                  </a:lnTo>
                  <a:lnTo>
                    <a:pt x="174" y="73"/>
                  </a:lnTo>
                  <a:lnTo>
                    <a:pt x="175" y="73"/>
                  </a:lnTo>
                  <a:lnTo>
                    <a:pt x="175" y="72"/>
                  </a:lnTo>
                  <a:lnTo>
                    <a:pt x="175" y="73"/>
                  </a:lnTo>
                  <a:lnTo>
                    <a:pt x="174" y="73"/>
                  </a:lnTo>
                  <a:lnTo>
                    <a:pt x="172" y="73"/>
                  </a:lnTo>
                  <a:lnTo>
                    <a:pt x="172" y="74"/>
                  </a:lnTo>
                  <a:lnTo>
                    <a:pt x="171" y="74"/>
                  </a:lnTo>
                  <a:lnTo>
                    <a:pt x="171" y="76"/>
                  </a:lnTo>
                  <a:lnTo>
                    <a:pt x="171" y="74"/>
                  </a:lnTo>
                  <a:lnTo>
                    <a:pt x="170" y="76"/>
                  </a:lnTo>
                  <a:lnTo>
                    <a:pt x="170" y="77"/>
                  </a:lnTo>
                  <a:lnTo>
                    <a:pt x="169" y="77"/>
                  </a:lnTo>
                  <a:lnTo>
                    <a:pt x="168" y="78"/>
                  </a:lnTo>
                  <a:lnTo>
                    <a:pt x="168" y="77"/>
                  </a:lnTo>
                  <a:lnTo>
                    <a:pt x="168" y="76"/>
                  </a:lnTo>
                  <a:lnTo>
                    <a:pt x="169" y="74"/>
                  </a:lnTo>
                  <a:lnTo>
                    <a:pt x="169" y="73"/>
                  </a:lnTo>
                  <a:lnTo>
                    <a:pt x="170" y="73"/>
                  </a:lnTo>
                  <a:lnTo>
                    <a:pt x="170" y="72"/>
                  </a:lnTo>
                  <a:lnTo>
                    <a:pt x="171" y="72"/>
                  </a:lnTo>
                  <a:lnTo>
                    <a:pt x="170" y="73"/>
                  </a:lnTo>
                  <a:lnTo>
                    <a:pt x="170" y="74"/>
                  </a:lnTo>
                  <a:lnTo>
                    <a:pt x="171" y="73"/>
                  </a:lnTo>
                  <a:lnTo>
                    <a:pt x="171" y="72"/>
                  </a:lnTo>
                  <a:lnTo>
                    <a:pt x="172" y="71"/>
                  </a:lnTo>
                  <a:lnTo>
                    <a:pt x="171" y="71"/>
                  </a:lnTo>
                  <a:lnTo>
                    <a:pt x="170" y="72"/>
                  </a:lnTo>
                  <a:lnTo>
                    <a:pt x="170" y="73"/>
                  </a:lnTo>
                  <a:lnTo>
                    <a:pt x="169" y="73"/>
                  </a:lnTo>
                  <a:lnTo>
                    <a:pt x="169" y="72"/>
                  </a:lnTo>
                  <a:lnTo>
                    <a:pt x="170" y="72"/>
                  </a:lnTo>
                  <a:lnTo>
                    <a:pt x="169" y="71"/>
                  </a:lnTo>
                  <a:lnTo>
                    <a:pt x="169" y="72"/>
                  </a:lnTo>
                  <a:lnTo>
                    <a:pt x="168" y="72"/>
                  </a:lnTo>
                  <a:lnTo>
                    <a:pt x="168" y="73"/>
                  </a:lnTo>
                  <a:lnTo>
                    <a:pt x="169" y="73"/>
                  </a:lnTo>
                  <a:lnTo>
                    <a:pt x="168" y="74"/>
                  </a:lnTo>
                  <a:lnTo>
                    <a:pt x="168" y="73"/>
                  </a:lnTo>
                  <a:lnTo>
                    <a:pt x="166" y="73"/>
                  </a:lnTo>
                  <a:lnTo>
                    <a:pt x="168" y="72"/>
                  </a:lnTo>
                  <a:lnTo>
                    <a:pt x="169" y="71"/>
                  </a:lnTo>
                  <a:lnTo>
                    <a:pt x="168" y="71"/>
                  </a:lnTo>
                  <a:lnTo>
                    <a:pt x="168" y="72"/>
                  </a:lnTo>
                  <a:lnTo>
                    <a:pt x="166" y="72"/>
                  </a:lnTo>
                  <a:lnTo>
                    <a:pt x="166" y="71"/>
                  </a:lnTo>
                  <a:lnTo>
                    <a:pt x="166" y="72"/>
                  </a:lnTo>
                  <a:lnTo>
                    <a:pt x="168" y="74"/>
                  </a:lnTo>
                  <a:lnTo>
                    <a:pt x="168" y="76"/>
                  </a:lnTo>
                  <a:lnTo>
                    <a:pt x="166" y="74"/>
                  </a:lnTo>
                  <a:lnTo>
                    <a:pt x="165" y="76"/>
                  </a:lnTo>
                  <a:lnTo>
                    <a:pt x="165" y="74"/>
                  </a:lnTo>
                  <a:lnTo>
                    <a:pt x="164" y="74"/>
                  </a:lnTo>
                  <a:lnTo>
                    <a:pt x="164" y="76"/>
                  </a:lnTo>
                  <a:lnTo>
                    <a:pt x="163" y="77"/>
                  </a:lnTo>
                  <a:lnTo>
                    <a:pt x="161" y="73"/>
                  </a:lnTo>
                  <a:lnTo>
                    <a:pt x="159" y="70"/>
                  </a:lnTo>
                  <a:lnTo>
                    <a:pt x="159" y="68"/>
                  </a:lnTo>
                  <a:lnTo>
                    <a:pt x="160" y="67"/>
                  </a:lnTo>
                  <a:lnTo>
                    <a:pt x="161" y="65"/>
                  </a:lnTo>
                  <a:lnTo>
                    <a:pt x="163" y="65"/>
                  </a:lnTo>
                  <a:lnTo>
                    <a:pt x="163" y="64"/>
                  </a:lnTo>
                  <a:lnTo>
                    <a:pt x="161" y="64"/>
                  </a:lnTo>
                  <a:lnTo>
                    <a:pt x="160" y="64"/>
                  </a:lnTo>
                  <a:lnTo>
                    <a:pt x="161" y="62"/>
                  </a:lnTo>
                  <a:lnTo>
                    <a:pt x="160" y="64"/>
                  </a:lnTo>
                  <a:lnTo>
                    <a:pt x="160" y="62"/>
                  </a:lnTo>
                  <a:lnTo>
                    <a:pt x="159" y="65"/>
                  </a:lnTo>
                  <a:lnTo>
                    <a:pt x="158" y="65"/>
                  </a:lnTo>
                  <a:lnTo>
                    <a:pt x="157" y="66"/>
                  </a:lnTo>
                  <a:lnTo>
                    <a:pt x="155" y="66"/>
                  </a:lnTo>
                  <a:lnTo>
                    <a:pt x="155" y="65"/>
                  </a:lnTo>
                  <a:lnTo>
                    <a:pt x="155" y="66"/>
                  </a:lnTo>
                  <a:lnTo>
                    <a:pt x="153" y="66"/>
                  </a:lnTo>
                  <a:lnTo>
                    <a:pt x="151" y="66"/>
                  </a:lnTo>
                  <a:lnTo>
                    <a:pt x="149" y="66"/>
                  </a:lnTo>
                  <a:lnTo>
                    <a:pt x="149" y="65"/>
                  </a:lnTo>
                  <a:lnTo>
                    <a:pt x="148" y="64"/>
                  </a:lnTo>
                  <a:lnTo>
                    <a:pt x="147" y="64"/>
                  </a:lnTo>
                  <a:lnTo>
                    <a:pt x="147" y="62"/>
                  </a:lnTo>
                  <a:lnTo>
                    <a:pt x="148" y="61"/>
                  </a:lnTo>
                  <a:lnTo>
                    <a:pt x="151" y="61"/>
                  </a:lnTo>
                  <a:lnTo>
                    <a:pt x="153" y="60"/>
                  </a:lnTo>
                  <a:lnTo>
                    <a:pt x="155" y="60"/>
                  </a:lnTo>
                  <a:lnTo>
                    <a:pt x="154" y="60"/>
                  </a:lnTo>
                  <a:lnTo>
                    <a:pt x="153" y="60"/>
                  </a:lnTo>
                  <a:lnTo>
                    <a:pt x="157" y="59"/>
                  </a:lnTo>
                  <a:lnTo>
                    <a:pt x="158" y="59"/>
                  </a:lnTo>
                  <a:lnTo>
                    <a:pt x="159" y="59"/>
                  </a:lnTo>
                  <a:lnTo>
                    <a:pt x="159" y="60"/>
                  </a:lnTo>
                  <a:lnTo>
                    <a:pt x="159" y="59"/>
                  </a:lnTo>
                  <a:lnTo>
                    <a:pt x="160" y="60"/>
                  </a:lnTo>
                  <a:lnTo>
                    <a:pt x="160" y="59"/>
                  </a:lnTo>
                  <a:lnTo>
                    <a:pt x="161" y="59"/>
                  </a:lnTo>
                  <a:lnTo>
                    <a:pt x="160" y="59"/>
                  </a:lnTo>
                  <a:lnTo>
                    <a:pt x="160" y="58"/>
                  </a:lnTo>
                  <a:lnTo>
                    <a:pt x="161" y="58"/>
                  </a:lnTo>
                  <a:lnTo>
                    <a:pt x="161" y="56"/>
                  </a:lnTo>
                  <a:lnTo>
                    <a:pt x="161" y="55"/>
                  </a:lnTo>
                  <a:lnTo>
                    <a:pt x="160" y="55"/>
                  </a:lnTo>
                  <a:lnTo>
                    <a:pt x="159" y="55"/>
                  </a:lnTo>
                  <a:lnTo>
                    <a:pt x="159" y="54"/>
                  </a:lnTo>
                  <a:lnTo>
                    <a:pt x="158" y="53"/>
                  </a:lnTo>
                  <a:lnTo>
                    <a:pt x="159" y="53"/>
                  </a:lnTo>
                  <a:lnTo>
                    <a:pt x="160" y="54"/>
                  </a:lnTo>
                  <a:lnTo>
                    <a:pt x="160" y="53"/>
                  </a:lnTo>
                  <a:lnTo>
                    <a:pt x="160" y="52"/>
                  </a:lnTo>
                  <a:lnTo>
                    <a:pt x="159" y="52"/>
                  </a:lnTo>
                  <a:lnTo>
                    <a:pt x="159" y="50"/>
                  </a:lnTo>
                  <a:lnTo>
                    <a:pt x="158" y="50"/>
                  </a:lnTo>
                  <a:lnTo>
                    <a:pt x="158" y="52"/>
                  </a:lnTo>
                  <a:lnTo>
                    <a:pt x="157" y="52"/>
                  </a:lnTo>
                  <a:lnTo>
                    <a:pt x="157" y="50"/>
                  </a:lnTo>
                  <a:lnTo>
                    <a:pt x="155" y="50"/>
                  </a:lnTo>
                  <a:lnTo>
                    <a:pt x="155" y="52"/>
                  </a:lnTo>
                  <a:lnTo>
                    <a:pt x="154" y="52"/>
                  </a:lnTo>
                  <a:lnTo>
                    <a:pt x="154" y="50"/>
                  </a:lnTo>
                  <a:lnTo>
                    <a:pt x="154" y="52"/>
                  </a:lnTo>
                  <a:lnTo>
                    <a:pt x="153" y="53"/>
                  </a:lnTo>
                  <a:lnTo>
                    <a:pt x="152" y="53"/>
                  </a:lnTo>
                  <a:lnTo>
                    <a:pt x="151" y="53"/>
                  </a:lnTo>
                  <a:lnTo>
                    <a:pt x="151" y="52"/>
                  </a:lnTo>
                  <a:lnTo>
                    <a:pt x="149" y="52"/>
                  </a:lnTo>
                  <a:lnTo>
                    <a:pt x="149" y="53"/>
                  </a:lnTo>
                  <a:lnTo>
                    <a:pt x="149" y="54"/>
                  </a:lnTo>
                  <a:lnTo>
                    <a:pt x="149" y="55"/>
                  </a:lnTo>
                  <a:lnTo>
                    <a:pt x="148" y="54"/>
                  </a:lnTo>
                  <a:lnTo>
                    <a:pt x="148" y="53"/>
                  </a:lnTo>
                  <a:lnTo>
                    <a:pt x="148" y="52"/>
                  </a:lnTo>
                  <a:lnTo>
                    <a:pt x="147" y="52"/>
                  </a:lnTo>
                  <a:lnTo>
                    <a:pt x="146" y="52"/>
                  </a:lnTo>
                  <a:lnTo>
                    <a:pt x="146" y="50"/>
                  </a:lnTo>
                  <a:lnTo>
                    <a:pt x="145" y="50"/>
                  </a:lnTo>
                  <a:lnTo>
                    <a:pt x="143" y="52"/>
                  </a:lnTo>
                  <a:lnTo>
                    <a:pt x="145" y="53"/>
                  </a:lnTo>
                  <a:lnTo>
                    <a:pt x="143" y="53"/>
                  </a:lnTo>
                  <a:lnTo>
                    <a:pt x="143" y="54"/>
                  </a:lnTo>
                  <a:lnTo>
                    <a:pt x="142" y="54"/>
                  </a:lnTo>
                  <a:lnTo>
                    <a:pt x="142" y="53"/>
                  </a:lnTo>
                  <a:lnTo>
                    <a:pt x="141" y="53"/>
                  </a:lnTo>
                  <a:lnTo>
                    <a:pt x="141" y="50"/>
                  </a:lnTo>
                  <a:lnTo>
                    <a:pt x="141" y="49"/>
                  </a:lnTo>
                  <a:lnTo>
                    <a:pt x="141" y="50"/>
                  </a:lnTo>
                  <a:lnTo>
                    <a:pt x="141" y="49"/>
                  </a:lnTo>
                  <a:lnTo>
                    <a:pt x="141" y="48"/>
                  </a:lnTo>
                  <a:lnTo>
                    <a:pt x="142" y="48"/>
                  </a:lnTo>
                  <a:lnTo>
                    <a:pt x="143" y="48"/>
                  </a:lnTo>
                  <a:lnTo>
                    <a:pt x="143" y="49"/>
                  </a:lnTo>
                  <a:lnTo>
                    <a:pt x="143" y="48"/>
                  </a:lnTo>
                  <a:lnTo>
                    <a:pt x="143" y="47"/>
                  </a:lnTo>
                  <a:lnTo>
                    <a:pt x="142" y="48"/>
                  </a:lnTo>
                  <a:lnTo>
                    <a:pt x="141" y="48"/>
                  </a:lnTo>
                  <a:lnTo>
                    <a:pt x="141" y="47"/>
                  </a:lnTo>
                  <a:lnTo>
                    <a:pt x="141" y="46"/>
                  </a:lnTo>
                  <a:lnTo>
                    <a:pt x="142" y="46"/>
                  </a:lnTo>
                  <a:lnTo>
                    <a:pt x="142" y="47"/>
                  </a:lnTo>
                  <a:lnTo>
                    <a:pt x="143" y="47"/>
                  </a:lnTo>
                  <a:lnTo>
                    <a:pt x="143" y="46"/>
                  </a:lnTo>
                  <a:lnTo>
                    <a:pt x="142" y="46"/>
                  </a:lnTo>
                  <a:lnTo>
                    <a:pt x="143" y="44"/>
                  </a:lnTo>
                  <a:lnTo>
                    <a:pt x="145" y="44"/>
                  </a:lnTo>
                  <a:lnTo>
                    <a:pt x="146" y="43"/>
                  </a:lnTo>
                  <a:lnTo>
                    <a:pt x="147" y="43"/>
                  </a:lnTo>
                  <a:lnTo>
                    <a:pt x="147" y="44"/>
                  </a:lnTo>
                  <a:lnTo>
                    <a:pt x="148" y="43"/>
                  </a:lnTo>
                  <a:lnTo>
                    <a:pt x="148" y="42"/>
                  </a:lnTo>
                  <a:lnTo>
                    <a:pt x="147" y="42"/>
                  </a:lnTo>
                  <a:lnTo>
                    <a:pt x="146" y="42"/>
                  </a:lnTo>
                  <a:lnTo>
                    <a:pt x="146" y="43"/>
                  </a:lnTo>
                  <a:lnTo>
                    <a:pt x="145" y="43"/>
                  </a:lnTo>
                  <a:lnTo>
                    <a:pt x="143" y="43"/>
                  </a:lnTo>
                  <a:lnTo>
                    <a:pt x="142" y="44"/>
                  </a:lnTo>
                  <a:lnTo>
                    <a:pt x="143" y="43"/>
                  </a:lnTo>
                  <a:lnTo>
                    <a:pt x="142" y="42"/>
                  </a:lnTo>
                  <a:lnTo>
                    <a:pt x="142" y="43"/>
                  </a:lnTo>
                  <a:lnTo>
                    <a:pt x="141" y="42"/>
                  </a:lnTo>
                  <a:lnTo>
                    <a:pt x="140" y="42"/>
                  </a:lnTo>
                  <a:lnTo>
                    <a:pt x="140" y="43"/>
                  </a:lnTo>
                  <a:lnTo>
                    <a:pt x="139" y="44"/>
                  </a:lnTo>
                  <a:lnTo>
                    <a:pt x="139" y="43"/>
                  </a:lnTo>
                  <a:lnTo>
                    <a:pt x="137" y="43"/>
                  </a:lnTo>
                  <a:lnTo>
                    <a:pt x="137" y="44"/>
                  </a:lnTo>
                  <a:lnTo>
                    <a:pt x="137" y="46"/>
                  </a:lnTo>
                  <a:lnTo>
                    <a:pt x="136" y="46"/>
                  </a:lnTo>
                  <a:lnTo>
                    <a:pt x="137" y="46"/>
                  </a:lnTo>
                  <a:lnTo>
                    <a:pt x="137" y="44"/>
                  </a:lnTo>
                  <a:lnTo>
                    <a:pt x="136" y="44"/>
                  </a:lnTo>
                  <a:lnTo>
                    <a:pt x="135" y="46"/>
                  </a:lnTo>
                  <a:lnTo>
                    <a:pt x="135" y="47"/>
                  </a:lnTo>
                  <a:lnTo>
                    <a:pt x="135" y="48"/>
                  </a:lnTo>
                  <a:lnTo>
                    <a:pt x="135" y="47"/>
                  </a:lnTo>
                  <a:lnTo>
                    <a:pt x="136" y="47"/>
                  </a:lnTo>
                  <a:lnTo>
                    <a:pt x="136" y="48"/>
                  </a:lnTo>
                  <a:lnTo>
                    <a:pt x="134" y="49"/>
                  </a:lnTo>
                  <a:lnTo>
                    <a:pt x="133" y="50"/>
                  </a:lnTo>
                  <a:lnTo>
                    <a:pt x="133" y="49"/>
                  </a:lnTo>
                  <a:lnTo>
                    <a:pt x="133" y="47"/>
                  </a:lnTo>
                  <a:lnTo>
                    <a:pt x="134" y="47"/>
                  </a:lnTo>
                  <a:lnTo>
                    <a:pt x="134" y="46"/>
                  </a:lnTo>
                  <a:lnTo>
                    <a:pt x="135" y="44"/>
                  </a:lnTo>
                  <a:lnTo>
                    <a:pt x="134" y="44"/>
                  </a:lnTo>
                  <a:lnTo>
                    <a:pt x="135" y="40"/>
                  </a:lnTo>
                  <a:lnTo>
                    <a:pt x="136" y="40"/>
                  </a:lnTo>
                  <a:lnTo>
                    <a:pt x="136" y="41"/>
                  </a:lnTo>
                  <a:lnTo>
                    <a:pt x="137" y="41"/>
                  </a:lnTo>
                  <a:lnTo>
                    <a:pt x="137" y="40"/>
                  </a:lnTo>
                  <a:lnTo>
                    <a:pt x="139" y="40"/>
                  </a:lnTo>
                  <a:lnTo>
                    <a:pt x="140" y="40"/>
                  </a:lnTo>
                  <a:lnTo>
                    <a:pt x="141" y="40"/>
                  </a:lnTo>
                  <a:lnTo>
                    <a:pt x="142" y="40"/>
                  </a:lnTo>
                  <a:lnTo>
                    <a:pt x="143" y="40"/>
                  </a:lnTo>
                  <a:lnTo>
                    <a:pt x="143" y="41"/>
                  </a:lnTo>
                  <a:lnTo>
                    <a:pt x="143" y="40"/>
                  </a:lnTo>
                  <a:lnTo>
                    <a:pt x="143" y="38"/>
                  </a:lnTo>
                  <a:lnTo>
                    <a:pt x="142" y="38"/>
                  </a:lnTo>
                  <a:lnTo>
                    <a:pt x="142" y="37"/>
                  </a:lnTo>
                  <a:lnTo>
                    <a:pt x="141" y="38"/>
                  </a:lnTo>
                  <a:lnTo>
                    <a:pt x="141" y="37"/>
                  </a:lnTo>
                  <a:lnTo>
                    <a:pt x="140" y="38"/>
                  </a:lnTo>
                  <a:lnTo>
                    <a:pt x="139" y="38"/>
                  </a:lnTo>
                  <a:lnTo>
                    <a:pt x="140" y="38"/>
                  </a:lnTo>
                  <a:lnTo>
                    <a:pt x="139" y="38"/>
                  </a:lnTo>
                  <a:lnTo>
                    <a:pt x="139" y="37"/>
                  </a:lnTo>
                  <a:lnTo>
                    <a:pt x="137" y="37"/>
                  </a:lnTo>
                  <a:lnTo>
                    <a:pt x="137" y="38"/>
                  </a:lnTo>
                  <a:lnTo>
                    <a:pt x="136" y="38"/>
                  </a:lnTo>
                  <a:lnTo>
                    <a:pt x="137" y="37"/>
                  </a:lnTo>
                  <a:lnTo>
                    <a:pt x="139" y="36"/>
                  </a:lnTo>
                  <a:lnTo>
                    <a:pt x="137" y="36"/>
                  </a:lnTo>
                  <a:lnTo>
                    <a:pt x="137" y="35"/>
                  </a:lnTo>
                  <a:lnTo>
                    <a:pt x="137" y="36"/>
                  </a:lnTo>
                  <a:lnTo>
                    <a:pt x="136" y="36"/>
                  </a:lnTo>
                  <a:lnTo>
                    <a:pt x="136" y="37"/>
                  </a:lnTo>
                  <a:lnTo>
                    <a:pt x="136" y="35"/>
                  </a:lnTo>
                  <a:lnTo>
                    <a:pt x="135" y="36"/>
                  </a:lnTo>
                  <a:lnTo>
                    <a:pt x="134" y="36"/>
                  </a:lnTo>
                  <a:lnTo>
                    <a:pt x="134" y="37"/>
                  </a:lnTo>
                  <a:lnTo>
                    <a:pt x="134" y="38"/>
                  </a:lnTo>
                  <a:lnTo>
                    <a:pt x="135" y="40"/>
                  </a:lnTo>
                  <a:lnTo>
                    <a:pt x="134" y="38"/>
                  </a:lnTo>
                  <a:lnTo>
                    <a:pt x="135" y="40"/>
                  </a:lnTo>
                  <a:lnTo>
                    <a:pt x="134" y="43"/>
                  </a:lnTo>
                  <a:lnTo>
                    <a:pt x="133" y="43"/>
                  </a:lnTo>
                  <a:lnTo>
                    <a:pt x="133" y="44"/>
                  </a:lnTo>
                  <a:lnTo>
                    <a:pt x="131" y="44"/>
                  </a:lnTo>
                  <a:lnTo>
                    <a:pt x="131" y="43"/>
                  </a:lnTo>
                  <a:lnTo>
                    <a:pt x="130" y="44"/>
                  </a:lnTo>
                  <a:lnTo>
                    <a:pt x="130" y="43"/>
                  </a:lnTo>
                  <a:lnTo>
                    <a:pt x="129" y="43"/>
                  </a:lnTo>
                  <a:lnTo>
                    <a:pt x="128" y="43"/>
                  </a:lnTo>
                  <a:lnTo>
                    <a:pt x="129" y="43"/>
                  </a:lnTo>
                  <a:lnTo>
                    <a:pt x="129" y="42"/>
                  </a:lnTo>
                  <a:lnTo>
                    <a:pt x="128" y="42"/>
                  </a:lnTo>
                  <a:lnTo>
                    <a:pt x="127" y="42"/>
                  </a:lnTo>
                  <a:lnTo>
                    <a:pt x="127" y="43"/>
                  </a:lnTo>
                  <a:lnTo>
                    <a:pt x="125" y="43"/>
                  </a:lnTo>
                  <a:lnTo>
                    <a:pt x="124" y="43"/>
                  </a:lnTo>
                  <a:lnTo>
                    <a:pt x="124" y="40"/>
                  </a:lnTo>
                  <a:lnTo>
                    <a:pt x="125" y="38"/>
                  </a:lnTo>
                  <a:lnTo>
                    <a:pt x="125" y="40"/>
                  </a:lnTo>
                  <a:lnTo>
                    <a:pt x="125" y="38"/>
                  </a:lnTo>
                  <a:lnTo>
                    <a:pt x="127" y="38"/>
                  </a:lnTo>
                  <a:lnTo>
                    <a:pt x="128" y="38"/>
                  </a:lnTo>
                  <a:lnTo>
                    <a:pt x="127" y="37"/>
                  </a:lnTo>
                  <a:lnTo>
                    <a:pt x="127" y="36"/>
                  </a:lnTo>
                  <a:lnTo>
                    <a:pt x="128" y="35"/>
                  </a:lnTo>
                  <a:lnTo>
                    <a:pt x="127" y="34"/>
                  </a:lnTo>
                  <a:lnTo>
                    <a:pt x="127" y="32"/>
                  </a:lnTo>
                  <a:lnTo>
                    <a:pt x="125" y="34"/>
                  </a:lnTo>
                  <a:lnTo>
                    <a:pt x="125" y="32"/>
                  </a:lnTo>
                  <a:lnTo>
                    <a:pt x="125" y="31"/>
                  </a:lnTo>
                  <a:lnTo>
                    <a:pt x="125" y="30"/>
                  </a:lnTo>
                  <a:lnTo>
                    <a:pt x="124" y="30"/>
                  </a:lnTo>
                  <a:lnTo>
                    <a:pt x="124" y="31"/>
                  </a:lnTo>
                  <a:lnTo>
                    <a:pt x="123" y="31"/>
                  </a:lnTo>
                  <a:lnTo>
                    <a:pt x="124" y="32"/>
                  </a:lnTo>
                  <a:lnTo>
                    <a:pt x="124" y="31"/>
                  </a:lnTo>
                  <a:lnTo>
                    <a:pt x="124" y="32"/>
                  </a:lnTo>
                  <a:lnTo>
                    <a:pt x="124" y="34"/>
                  </a:lnTo>
                  <a:lnTo>
                    <a:pt x="124" y="35"/>
                  </a:lnTo>
                  <a:lnTo>
                    <a:pt x="125" y="35"/>
                  </a:lnTo>
                  <a:lnTo>
                    <a:pt x="124" y="36"/>
                  </a:lnTo>
                  <a:lnTo>
                    <a:pt x="124" y="37"/>
                  </a:lnTo>
                  <a:lnTo>
                    <a:pt x="123" y="37"/>
                  </a:lnTo>
                  <a:lnTo>
                    <a:pt x="124" y="38"/>
                  </a:lnTo>
                  <a:lnTo>
                    <a:pt x="123" y="37"/>
                  </a:lnTo>
                  <a:lnTo>
                    <a:pt x="123" y="38"/>
                  </a:lnTo>
                  <a:lnTo>
                    <a:pt x="122" y="38"/>
                  </a:lnTo>
                  <a:lnTo>
                    <a:pt x="123" y="38"/>
                  </a:lnTo>
                  <a:lnTo>
                    <a:pt x="123" y="40"/>
                  </a:lnTo>
                  <a:lnTo>
                    <a:pt x="123" y="41"/>
                  </a:lnTo>
                  <a:lnTo>
                    <a:pt x="122" y="42"/>
                  </a:lnTo>
                  <a:lnTo>
                    <a:pt x="121" y="42"/>
                  </a:lnTo>
                  <a:lnTo>
                    <a:pt x="119" y="42"/>
                  </a:lnTo>
                  <a:lnTo>
                    <a:pt x="119" y="41"/>
                  </a:lnTo>
                  <a:lnTo>
                    <a:pt x="118" y="41"/>
                  </a:lnTo>
                  <a:lnTo>
                    <a:pt x="117" y="41"/>
                  </a:lnTo>
                  <a:lnTo>
                    <a:pt x="118" y="40"/>
                  </a:lnTo>
                  <a:lnTo>
                    <a:pt x="118" y="38"/>
                  </a:lnTo>
                  <a:lnTo>
                    <a:pt x="119" y="38"/>
                  </a:lnTo>
                  <a:lnTo>
                    <a:pt x="119" y="37"/>
                  </a:lnTo>
                  <a:lnTo>
                    <a:pt x="119" y="36"/>
                  </a:lnTo>
                  <a:lnTo>
                    <a:pt x="119" y="35"/>
                  </a:lnTo>
                  <a:lnTo>
                    <a:pt x="119" y="34"/>
                  </a:lnTo>
                  <a:lnTo>
                    <a:pt x="118" y="34"/>
                  </a:lnTo>
                  <a:lnTo>
                    <a:pt x="117" y="34"/>
                  </a:lnTo>
                  <a:lnTo>
                    <a:pt x="116" y="34"/>
                  </a:lnTo>
                  <a:lnTo>
                    <a:pt x="116" y="35"/>
                  </a:lnTo>
                  <a:lnTo>
                    <a:pt x="115" y="35"/>
                  </a:lnTo>
                  <a:lnTo>
                    <a:pt x="115" y="36"/>
                  </a:lnTo>
                  <a:lnTo>
                    <a:pt x="113" y="36"/>
                  </a:lnTo>
                  <a:lnTo>
                    <a:pt x="112" y="36"/>
                  </a:lnTo>
                  <a:lnTo>
                    <a:pt x="112" y="37"/>
                  </a:lnTo>
                  <a:lnTo>
                    <a:pt x="113" y="37"/>
                  </a:lnTo>
                  <a:lnTo>
                    <a:pt x="115" y="37"/>
                  </a:lnTo>
                  <a:lnTo>
                    <a:pt x="115" y="38"/>
                  </a:lnTo>
                  <a:lnTo>
                    <a:pt x="115" y="40"/>
                  </a:lnTo>
                  <a:lnTo>
                    <a:pt x="113" y="41"/>
                  </a:lnTo>
                  <a:lnTo>
                    <a:pt x="115" y="41"/>
                  </a:lnTo>
                  <a:lnTo>
                    <a:pt x="115" y="42"/>
                  </a:lnTo>
                  <a:lnTo>
                    <a:pt x="113" y="42"/>
                  </a:lnTo>
                  <a:lnTo>
                    <a:pt x="113" y="41"/>
                  </a:lnTo>
                  <a:lnTo>
                    <a:pt x="113" y="40"/>
                  </a:lnTo>
                  <a:lnTo>
                    <a:pt x="112" y="41"/>
                  </a:lnTo>
                  <a:lnTo>
                    <a:pt x="112" y="42"/>
                  </a:lnTo>
                  <a:lnTo>
                    <a:pt x="111" y="42"/>
                  </a:lnTo>
                  <a:lnTo>
                    <a:pt x="111" y="41"/>
                  </a:lnTo>
                  <a:lnTo>
                    <a:pt x="110" y="41"/>
                  </a:lnTo>
                  <a:lnTo>
                    <a:pt x="110" y="40"/>
                  </a:lnTo>
                  <a:lnTo>
                    <a:pt x="110" y="38"/>
                  </a:lnTo>
                  <a:lnTo>
                    <a:pt x="109" y="38"/>
                  </a:lnTo>
                  <a:lnTo>
                    <a:pt x="109" y="40"/>
                  </a:lnTo>
                  <a:lnTo>
                    <a:pt x="107" y="40"/>
                  </a:lnTo>
                  <a:lnTo>
                    <a:pt x="109" y="38"/>
                  </a:lnTo>
                  <a:lnTo>
                    <a:pt x="107" y="37"/>
                  </a:lnTo>
                  <a:lnTo>
                    <a:pt x="107" y="36"/>
                  </a:lnTo>
                  <a:lnTo>
                    <a:pt x="107" y="37"/>
                  </a:lnTo>
                  <a:lnTo>
                    <a:pt x="109" y="36"/>
                  </a:lnTo>
                  <a:lnTo>
                    <a:pt x="109" y="35"/>
                  </a:lnTo>
                  <a:lnTo>
                    <a:pt x="110" y="35"/>
                  </a:lnTo>
                  <a:lnTo>
                    <a:pt x="110" y="34"/>
                  </a:lnTo>
                  <a:lnTo>
                    <a:pt x="110" y="32"/>
                  </a:lnTo>
                  <a:lnTo>
                    <a:pt x="110" y="31"/>
                  </a:lnTo>
                  <a:lnTo>
                    <a:pt x="110" y="32"/>
                  </a:lnTo>
                  <a:lnTo>
                    <a:pt x="109" y="32"/>
                  </a:lnTo>
                  <a:lnTo>
                    <a:pt x="109" y="31"/>
                  </a:lnTo>
                  <a:lnTo>
                    <a:pt x="109" y="30"/>
                  </a:lnTo>
                  <a:lnTo>
                    <a:pt x="109" y="29"/>
                  </a:lnTo>
                  <a:lnTo>
                    <a:pt x="107" y="29"/>
                  </a:lnTo>
                  <a:lnTo>
                    <a:pt x="107" y="30"/>
                  </a:lnTo>
                  <a:lnTo>
                    <a:pt x="107" y="29"/>
                  </a:lnTo>
                  <a:lnTo>
                    <a:pt x="106" y="29"/>
                  </a:lnTo>
                  <a:lnTo>
                    <a:pt x="106" y="28"/>
                  </a:lnTo>
                  <a:lnTo>
                    <a:pt x="105" y="29"/>
                  </a:lnTo>
                  <a:lnTo>
                    <a:pt x="105" y="28"/>
                  </a:lnTo>
                  <a:lnTo>
                    <a:pt x="104" y="28"/>
                  </a:lnTo>
                  <a:lnTo>
                    <a:pt x="104" y="29"/>
                  </a:lnTo>
                  <a:lnTo>
                    <a:pt x="102" y="31"/>
                  </a:lnTo>
                  <a:lnTo>
                    <a:pt x="101" y="31"/>
                  </a:lnTo>
                  <a:lnTo>
                    <a:pt x="101" y="30"/>
                  </a:lnTo>
                  <a:lnTo>
                    <a:pt x="100" y="29"/>
                  </a:lnTo>
                  <a:lnTo>
                    <a:pt x="100" y="28"/>
                  </a:lnTo>
                  <a:lnTo>
                    <a:pt x="101" y="29"/>
                  </a:lnTo>
                  <a:lnTo>
                    <a:pt x="101" y="26"/>
                  </a:lnTo>
                  <a:lnTo>
                    <a:pt x="100" y="26"/>
                  </a:lnTo>
                  <a:lnTo>
                    <a:pt x="100" y="25"/>
                  </a:lnTo>
                  <a:lnTo>
                    <a:pt x="100" y="24"/>
                  </a:lnTo>
                  <a:lnTo>
                    <a:pt x="99" y="18"/>
                  </a:lnTo>
                  <a:lnTo>
                    <a:pt x="99" y="14"/>
                  </a:lnTo>
                  <a:lnTo>
                    <a:pt x="100" y="13"/>
                  </a:lnTo>
                  <a:lnTo>
                    <a:pt x="101" y="13"/>
                  </a:lnTo>
                  <a:lnTo>
                    <a:pt x="104" y="13"/>
                  </a:lnTo>
                  <a:lnTo>
                    <a:pt x="104" y="12"/>
                  </a:lnTo>
                  <a:lnTo>
                    <a:pt x="104" y="11"/>
                  </a:lnTo>
                  <a:lnTo>
                    <a:pt x="102" y="11"/>
                  </a:lnTo>
                  <a:lnTo>
                    <a:pt x="101" y="11"/>
                  </a:lnTo>
                  <a:lnTo>
                    <a:pt x="102" y="11"/>
                  </a:lnTo>
                  <a:lnTo>
                    <a:pt x="101" y="10"/>
                  </a:lnTo>
                  <a:lnTo>
                    <a:pt x="101" y="11"/>
                  </a:lnTo>
                  <a:lnTo>
                    <a:pt x="101" y="12"/>
                  </a:lnTo>
                  <a:lnTo>
                    <a:pt x="101" y="13"/>
                  </a:lnTo>
                  <a:lnTo>
                    <a:pt x="100" y="13"/>
                  </a:lnTo>
                  <a:lnTo>
                    <a:pt x="99" y="13"/>
                  </a:lnTo>
                  <a:lnTo>
                    <a:pt x="99" y="14"/>
                  </a:lnTo>
                  <a:lnTo>
                    <a:pt x="99" y="13"/>
                  </a:lnTo>
                  <a:lnTo>
                    <a:pt x="99" y="12"/>
                  </a:lnTo>
                  <a:lnTo>
                    <a:pt x="98" y="13"/>
                  </a:lnTo>
                  <a:lnTo>
                    <a:pt x="98" y="11"/>
                  </a:lnTo>
                  <a:lnTo>
                    <a:pt x="96" y="10"/>
                  </a:lnTo>
                  <a:lnTo>
                    <a:pt x="96" y="8"/>
                  </a:lnTo>
                  <a:lnTo>
                    <a:pt x="96" y="7"/>
                  </a:lnTo>
                  <a:lnTo>
                    <a:pt x="96" y="8"/>
                  </a:lnTo>
                  <a:lnTo>
                    <a:pt x="96" y="7"/>
                  </a:lnTo>
                  <a:lnTo>
                    <a:pt x="95" y="7"/>
                  </a:lnTo>
                  <a:lnTo>
                    <a:pt x="95" y="8"/>
                  </a:lnTo>
                  <a:lnTo>
                    <a:pt x="95" y="7"/>
                  </a:lnTo>
                  <a:lnTo>
                    <a:pt x="94" y="7"/>
                  </a:lnTo>
                  <a:lnTo>
                    <a:pt x="94" y="8"/>
                  </a:lnTo>
                  <a:lnTo>
                    <a:pt x="94" y="7"/>
                  </a:lnTo>
                  <a:lnTo>
                    <a:pt x="93" y="7"/>
                  </a:lnTo>
                  <a:lnTo>
                    <a:pt x="93" y="6"/>
                  </a:lnTo>
                  <a:lnTo>
                    <a:pt x="93" y="5"/>
                  </a:lnTo>
                  <a:lnTo>
                    <a:pt x="93" y="3"/>
                  </a:lnTo>
                  <a:lnTo>
                    <a:pt x="93" y="5"/>
                  </a:lnTo>
                  <a:lnTo>
                    <a:pt x="93" y="3"/>
                  </a:lnTo>
                  <a:lnTo>
                    <a:pt x="93" y="5"/>
                  </a:lnTo>
                  <a:lnTo>
                    <a:pt x="92" y="5"/>
                  </a:lnTo>
                  <a:lnTo>
                    <a:pt x="92" y="3"/>
                  </a:lnTo>
                  <a:lnTo>
                    <a:pt x="93" y="2"/>
                  </a:lnTo>
                  <a:lnTo>
                    <a:pt x="92" y="3"/>
                  </a:lnTo>
                  <a:lnTo>
                    <a:pt x="92" y="5"/>
                  </a:lnTo>
                  <a:lnTo>
                    <a:pt x="92" y="3"/>
                  </a:lnTo>
                  <a:lnTo>
                    <a:pt x="92" y="2"/>
                  </a:lnTo>
                  <a:lnTo>
                    <a:pt x="92" y="0"/>
                  </a:lnTo>
                  <a:lnTo>
                    <a:pt x="92" y="1"/>
                  </a:lnTo>
                  <a:lnTo>
                    <a:pt x="90" y="0"/>
                  </a:lnTo>
                  <a:lnTo>
                    <a:pt x="92" y="2"/>
                  </a:lnTo>
                  <a:lnTo>
                    <a:pt x="90" y="1"/>
                  </a:lnTo>
                  <a:lnTo>
                    <a:pt x="92" y="2"/>
                  </a:lnTo>
                  <a:lnTo>
                    <a:pt x="90" y="2"/>
                  </a:lnTo>
                  <a:lnTo>
                    <a:pt x="92" y="3"/>
                  </a:lnTo>
                  <a:lnTo>
                    <a:pt x="92" y="5"/>
                  </a:lnTo>
                  <a:lnTo>
                    <a:pt x="90" y="3"/>
                  </a:lnTo>
                  <a:lnTo>
                    <a:pt x="92" y="5"/>
                  </a:lnTo>
                  <a:lnTo>
                    <a:pt x="93" y="6"/>
                  </a:lnTo>
                  <a:lnTo>
                    <a:pt x="92" y="6"/>
                  </a:lnTo>
                  <a:lnTo>
                    <a:pt x="92" y="5"/>
                  </a:lnTo>
                  <a:lnTo>
                    <a:pt x="90" y="6"/>
                  </a:lnTo>
                  <a:lnTo>
                    <a:pt x="90" y="5"/>
                  </a:lnTo>
                  <a:lnTo>
                    <a:pt x="90" y="3"/>
                  </a:lnTo>
                  <a:lnTo>
                    <a:pt x="90" y="2"/>
                  </a:lnTo>
                  <a:lnTo>
                    <a:pt x="90" y="1"/>
                  </a:lnTo>
                  <a:lnTo>
                    <a:pt x="90" y="0"/>
                  </a:lnTo>
                  <a:lnTo>
                    <a:pt x="89" y="0"/>
                  </a:lnTo>
                  <a:lnTo>
                    <a:pt x="90" y="1"/>
                  </a:lnTo>
                  <a:lnTo>
                    <a:pt x="89" y="1"/>
                  </a:lnTo>
                  <a:lnTo>
                    <a:pt x="89" y="2"/>
                  </a:lnTo>
                  <a:lnTo>
                    <a:pt x="89" y="3"/>
                  </a:lnTo>
                  <a:lnTo>
                    <a:pt x="89" y="5"/>
                  </a:lnTo>
                  <a:lnTo>
                    <a:pt x="89" y="6"/>
                  </a:lnTo>
                  <a:lnTo>
                    <a:pt x="89" y="5"/>
                  </a:lnTo>
                  <a:lnTo>
                    <a:pt x="88" y="5"/>
                  </a:lnTo>
                  <a:lnTo>
                    <a:pt x="88" y="6"/>
                  </a:lnTo>
                  <a:lnTo>
                    <a:pt x="87" y="5"/>
                  </a:lnTo>
                  <a:lnTo>
                    <a:pt x="87" y="6"/>
                  </a:lnTo>
                  <a:lnTo>
                    <a:pt x="88" y="6"/>
                  </a:lnTo>
                  <a:lnTo>
                    <a:pt x="88" y="7"/>
                  </a:lnTo>
                  <a:lnTo>
                    <a:pt x="88" y="8"/>
                  </a:lnTo>
                  <a:lnTo>
                    <a:pt x="88" y="7"/>
                  </a:lnTo>
                  <a:lnTo>
                    <a:pt x="89" y="8"/>
                  </a:lnTo>
                  <a:lnTo>
                    <a:pt x="90" y="11"/>
                  </a:lnTo>
                  <a:lnTo>
                    <a:pt x="93" y="17"/>
                  </a:lnTo>
                  <a:lnTo>
                    <a:pt x="94" y="20"/>
                  </a:lnTo>
                  <a:lnTo>
                    <a:pt x="94" y="19"/>
                  </a:lnTo>
                  <a:lnTo>
                    <a:pt x="94" y="20"/>
                  </a:lnTo>
                  <a:lnTo>
                    <a:pt x="93" y="20"/>
                  </a:lnTo>
                  <a:lnTo>
                    <a:pt x="93" y="19"/>
                  </a:lnTo>
                  <a:lnTo>
                    <a:pt x="94" y="20"/>
                  </a:lnTo>
                  <a:lnTo>
                    <a:pt x="95" y="22"/>
                  </a:lnTo>
                  <a:lnTo>
                    <a:pt x="94" y="22"/>
                  </a:lnTo>
                  <a:lnTo>
                    <a:pt x="93" y="20"/>
                  </a:lnTo>
                  <a:lnTo>
                    <a:pt x="93" y="22"/>
                  </a:lnTo>
                  <a:lnTo>
                    <a:pt x="92" y="20"/>
                  </a:lnTo>
                  <a:lnTo>
                    <a:pt x="93" y="22"/>
                  </a:lnTo>
                  <a:lnTo>
                    <a:pt x="92" y="22"/>
                  </a:lnTo>
                  <a:lnTo>
                    <a:pt x="94" y="22"/>
                  </a:lnTo>
                  <a:lnTo>
                    <a:pt x="95" y="22"/>
                  </a:lnTo>
                  <a:lnTo>
                    <a:pt x="95" y="23"/>
                  </a:lnTo>
                  <a:lnTo>
                    <a:pt x="94" y="23"/>
                  </a:lnTo>
                  <a:lnTo>
                    <a:pt x="93" y="24"/>
                  </a:lnTo>
                  <a:lnTo>
                    <a:pt x="94" y="24"/>
                  </a:lnTo>
                  <a:lnTo>
                    <a:pt x="95" y="24"/>
                  </a:lnTo>
                  <a:lnTo>
                    <a:pt x="98" y="26"/>
                  </a:lnTo>
                  <a:lnTo>
                    <a:pt x="96" y="28"/>
                  </a:lnTo>
                  <a:lnTo>
                    <a:pt x="96" y="29"/>
                  </a:lnTo>
                  <a:lnTo>
                    <a:pt x="95" y="29"/>
                  </a:lnTo>
                  <a:lnTo>
                    <a:pt x="95" y="30"/>
                  </a:lnTo>
                  <a:lnTo>
                    <a:pt x="95" y="31"/>
                  </a:lnTo>
                  <a:lnTo>
                    <a:pt x="96" y="32"/>
                  </a:lnTo>
                  <a:lnTo>
                    <a:pt x="96" y="34"/>
                  </a:lnTo>
                  <a:lnTo>
                    <a:pt x="96" y="35"/>
                  </a:lnTo>
                  <a:lnTo>
                    <a:pt x="96" y="36"/>
                  </a:lnTo>
                  <a:lnTo>
                    <a:pt x="96" y="37"/>
                  </a:lnTo>
                  <a:lnTo>
                    <a:pt x="98" y="38"/>
                  </a:lnTo>
                  <a:lnTo>
                    <a:pt x="96" y="38"/>
                  </a:lnTo>
                  <a:lnTo>
                    <a:pt x="95" y="38"/>
                  </a:lnTo>
                  <a:lnTo>
                    <a:pt x="95" y="40"/>
                  </a:lnTo>
                  <a:lnTo>
                    <a:pt x="95" y="41"/>
                  </a:lnTo>
                  <a:lnTo>
                    <a:pt x="94" y="40"/>
                  </a:lnTo>
                  <a:lnTo>
                    <a:pt x="94" y="41"/>
                  </a:lnTo>
                  <a:lnTo>
                    <a:pt x="94" y="40"/>
                  </a:lnTo>
                  <a:lnTo>
                    <a:pt x="93" y="38"/>
                  </a:lnTo>
                  <a:lnTo>
                    <a:pt x="93" y="40"/>
                  </a:lnTo>
                  <a:lnTo>
                    <a:pt x="93" y="38"/>
                  </a:lnTo>
                  <a:lnTo>
                    <a:pt x="92" y="38"/>
                  </a:lnTo>
                  <a:lnTo>
                    <a:pt x="90" y="38"/>
                  </a:lnTo>
                  <a:lnTo>
                    <a:pt x="92" y="38"/>
                  </a:lnTo>
                  <a:lnTo>
                    <a:pt x="92" y="40"/>
                  </a:lnTo>
                  <a:lnTo>
                    <a:pt x="90" y="38"/>
                  </a:lnTo>
                  <a:lnTo>
                    <a:pt x="90" y="37"/>
                  </a:lnTo>
                  <a:lnTo>
                    <a:pt x="90" y="36"/>
                  </a:lnTo>
                  <a:lnTo>
                    <a:pt x="89" y="36"/>
                  </a:lnTo>
                  <a:lnTo>
                    <a:pt x="89" y="35"/>
                  </a:lnTo>
                  <a:lnTo>
                    <a:pt x="90" y="34"/>
                  </a:lnTo>
                  <a:lnTo>
                    <a:pt x="89" y="35"/>
                  </a:lnTo>
                  <a:lnTo>
                    <a:pt x="89" y="34"/>
                  </a:lnTo>
                  <a:lnTo>
                    <a:pt x="90" y="34"/>
                  </a:lnTo>
                  <a:lnTo>
                    <a:pt x="90" y="32"/>
                  </a:lnTo>
                  <a:lnTo>
                    <a:pt x="89" y="32"/>
                  </a:lnTo>
                  <a:lnTo>
                    <a:pt x="89" y="31"/>
                  </a:lnTo>
                  <a:lnTo>
                    <a:pt x="89" y="30"/>
                  </a:lnTo>
                  <a:lnTo>
                    <a:pt x="89" y="31"/>
                  </a:lnTo>
                  <a:lnTo>
                    <a:pt x="88" y="34"/>
                  </a:lnTo>
                  <a:lnTo>
                    <a:pt x="88" y="32"/>
                  </a:lnTo>
                  <a:lnTo>
                    <a:pt x="88" y="31"/>
                  </a:lnTo>
                  <a:lnTo>
                    <a:pt x="87" y="31"/>
                  </a:lnTo>
                  <a:lnTo>
                    <a:pt x="88" y="31"/>
                  </a:lnTo>
                  <a:lnTo>
                    <a:pt x="87" y="31"/>
                  </a:lnTo>
                  <a:lnTo>
                    <a:pt x="86" y="31"/>
                  </a:lnTo>
                  <a:lnTo>
                    <a:pt x="86" y="30"/>
                  </a:lnTo>
                  <a:lnTo>
                    <a:pt x="86" y="31"/>
                  </a:lnTo>
                  <a:lnTo>
                    <a:pt x="84" y="32"/>
                  </a:lnTo>
                  <a:lnTo>
                    <a:pt x="86" y="31"/>
                  </a:lnTo>
                  <a:lnTo>
                    <a:pt x="86" y="32"/>
                  </a:lnTo>
                  <a:lnTo>
                    <a:pt x="86" y="34"/>
                  </a:lnTo>
                  <a:lnTo>
                    <a:pt x="86" y="35"/>
                  </a:lnTo>
                  <a:lnTo>
                    <a:pt x="87" y="35"/>
                  </a:lnTo>
                  <a:lnTo>
                    <a:pt x="88" y="35"/>
                  </a:lnTo>
                  <a:lnTo>
                    <a:pt x="88" y="36"/>
                  </a:lnTo>
                  <a:lnTo>
                    <a:pt x="87" y="36"/>
                  </a:lnTo>
                  <a:lnTo>
                    <a:pt x="87" y="37"/>
                  </a:lnTo>
                  <a:lnTo>
                    <a:pt x="87" y="38"/>
                  </a:lnTo>
                  <a:lnTo>
                    <a:pt x="88" y="38"/>
                  </a:lnTo>
                  <a:lnTo>
                    <a:pt x="89" y="41"/>
                  </a:lnTo>
                  <a:lnTo>
                    <a:pt x="89" y="42"/>
                  </a:lnTo>
                  <a:lnTo>
                    <a:pt x="89" y="43"/>
                  </a:lnTo>
                  <a:lnTo>
                    <a:pt x="89" y="42"/>
                  </a:lnTo>
                  <a:lnTo>
                    <a:pt x="88" y="42"/>
                  </a:lnTo>
                  <a:lnTo>
                    <a:pt x="88" y="43"/>
                  </a:lnTo>
                  <a:lnTo>
                    <a:pt x="89" y="43"/>
                  </a:lnTo>
                  <a:lnTo>
                    <a:pt x="89" y="44"/>
                  </a:lnTo>
                  <a:lnTo>
                    <a:pt x="88" y="44"/>
                  </a:lnTo>
                  <a:lnTo>
                    <a:pt x="87" y="44"/>
                  </a:lnTo>
                  <a:lnTo>
                    <a:pt x="87" y="43"/>
                  </a:lnTo>
                  <a:lnTo>
                    <a:pt x="86" y="43"/>
                  </a:lnTo>
                  <a:lnTo>
                    <a:pt x="84" y="46"/>
                  </a:lnTo>
                  <a:lnTo>
                    <a:pt x="84" y="44"/>
                  </a:lnTo>
                  <a:lnTo>
                    <a:pt x="83" y="44"/>
                  </a:lnTo>
                  <a:lnTo>
                    <a:pt x="83" y="43"/>
                  </a:lnTo>
                  <a:lnTo>
                    <a:pt x="82" y="43"/>
                  </a:lnTo>
                  <a:lnTo>
                    <a:pt x="82" y="44"/>
                  </a:lnTo>
                  <a:lnTo>
                    <a:pt x="81" y="44"/>
                  </a:lnTo>
                  <a:lnTo>
                    <a:pt x="81" y="43"/>
                  </a:lnTo>
                  <a:lnTo>
                    <a:pt x="81" y="44"/>
                  </a:lnTo>
                  <a:lnTo>
                    <a:pt x="81" y="46"/>
                  </a:lnTo>
                  <a:lnTo>
                    <a:pt x="80" y="47"/>
                  </a:lnTo>
                  <a:lnTo>
                    <a:pt x="80" y="48"/>
                  </a:lnTo>
                  <a:lnTo>
                    <a:pt x="78" y="48"/>
                  </a:lnTo>
                  <a:lnTo>
                    <a:pt x="78" y="47"/>
                  </a:lnTo>
                  <a:lnTo>
                    <a:pt x="78" y="48"/>
                  </a:lnTo>
                  <a:lnTo>
                    <a:pt x="77" y="48"/>
                  </a:lnTo>
                  <a:lnTo>
                    <a:pt x="76" y="48"/>
                  </a:lnTo>
                  <a:lnTo>
                    <a:pt x="77" y="48"/>
                  </a:lnTo>
                  <a:lnTo>
                    <a:pt x="77" y="47"/>
                  </a:lnTo>
                  <a:lnTo>
                    <a:pt x="77" y="46"/>
                  </a:lnTo>
                  <a:lnTo>
                    <a:pt x="76" y="46"/>
                  </a:lnTo>
                  <a:lnTo>
                    <a:pt x="76" y="47"/>
                  </a:lnTo>
                  <a:lnTo>
                    <a:pt x="76" y="48"/>
                  </a:lnTo>
                  <a:lnTo>
                    <a:pt x="76" y="49"/>
                  </a:lnTo>
                  <a:lnTo>
                    <a:pt x="75" y="49"/>
                  </a:lnTo>
                  <a:lnTo>
                    <a:pt x="74" y="49"/>
                  </a:lnTo>
                  <a:lnTo>
                    <a:pt x="74" y="48"/>
                  </a:lnTo>
                  <a:lnTo>
                    <a:pt x="72" y="48"/>
                  </a:lnTo>
                  <a:lnTo>
                    <a:pt x="74" y="50"/>
                  </a:lnTo>
                  <a:lnTo>
                    <a:pt x="75" y="52"/>
                  </a:lnTo>
                  <a:lnTo>
                    <a:pt x="76" y="52"/>
                  </a:lnTo>
                  <a:lnTo>
                    <a:pt x="76" y="53"/>
                  </a:lnTo>
                  <a:lnTo>
                    <a:pt x="75" y="53"/>
                  </a:lnTo>
                  <a:lnTo>
                    <a:pt x="74" y="52"/>
                  </a:lnTo>
                  <a:lnTo>
                    <a:pt x="74" y="50"/>
                  </a:lnTo>
                  <a:lnTo>
                    <a:pt x="74" y="49"/>
                  </a:lnTo>
                  <a:lnTo>
                    <a:pt x="72" y="50"/>
                  </a:lnTo>
                  <a:lnTo>
                    <a:pt x="72" y="52"/>
                  </a:lnTo>
                  <a:lnTo>
                    <a:pt x="71" y="52"/>
                  </a:lnTo>
                  <a:lnTo>
                    <a:pt x="72" y="52"/>
                  </a:lnTo>
                  <a:lnTo>
                    <a:pt x="71" y="53"/>
                  </a:lnTo>
                  <a:lnTo>
                    <a:pt x="71" y="52"/>
                  </a:lnTo>
                  <a:lnTo>
                    <a:pt x="71" y="50"/>
                  </a:lnTo>
                  <a:lnTo>
                    <a:pt x="71" y="49"/>
                  </a:lnTo>
                  <a:lnTo>
                    <a:pt x="71" y="50"/>
                  </a:lnTo>
                  <a:lnTo>
                    <a:pt x="70" y="50"/>
                  </a:lnTo>
                  <a:lnTo>
                    <a:pt x="71" y="49"/>
                  </a:lnTo>
                  <a:lnTo>
                    <a:pt x="70" y="49"/>
                  </a:lnTo>
                  <a:lnTo>
                    <a:pt x="70" y="50"/>
                  </a:lnTo>
                  <a:lnTo>
                    <a:pt x="70" y="49"/>
                  </a:lnTo>
                  <a:lnTo>
                    <a:pt x="70" y="50"/>
                  </a:lnTo>
                  <a:lnTo>
                    <a:pt x="70" y="52"/>
                  </a:lnTo>
                  <a:lnTo>
                    <a:pt x="70" y="53"/>
                  </a:lnTo>
                  <a:lnTo>
                    <a:pt x="69" y="53"/>
                  </a:lnTo>
                  <a:lnTo>
                    <a:pt x="68" y="53"/>
                  </a:lnTo>
                  <a:lnTo>
                    <a:pt x="68" y="54"/>
                  </a:lnTo>
                  <a:lnTo>
                    <a:pt x="66" y="54"/>
                  </a:lnTo>
                  <a:lnTo>
                    <a:pt x="65" y="54"/>
                  </a:lnTo>
                  <a:lnTo>
                    <a:pt x="65" y="55"/>
                  </a:lnTo>
                  <a:lnTo>
                    <a:pt x="64" y="55"/>
                  </a:lnTo>
                  <a:lnTo>
                    <a:pt x="65" y="56"/>
                  </a:lnTo>
                  <a:lnTo>
                    <a:pt x="65" y="58"/>
                  </a:lnTo>
                  <a:lnTo>
                    <a:pt x="66" y="58"/>
                  </a:lnTo>
                  <a:lnTo>
                    <a:pt x="66" y="56"/>
                  </a:lnTo>
                  <a:lnTo>
                    <a:pt x="66" y="58"/>
                  </a:lnTo>
                  <a:lnTo>
                    <a:pt x="68" y="58"/>
                  </a:lnTo>
                  <a:lnTo>
                    <a:pt x="66" y="59"/>
                  </a:lnTo>
                  <a:lnTo>
                    <a:pt x="68" y="59"/>
                  </a:lnTo>
                  <a:lnTo>
                    <a:pt x="68" y="60"/>
                  </a:lnTo>
                  <a:lnTo>
                    <a:pt x="68" y="61"/>
                  </a:lnTo>
                  <a:lnTo>
                    <a:pt x="68" y="60"/>
                  </a:lnTo>
                  <a:lnTo>
                    <a:pt x="69" y="61"/>
                  </a:lnTo>
                  <a:lnTo>
                    <a:pt x="68" y="61"/>
                  </a:lnTo>
                  <a:lnTo>
                    <a:pt x="66" y="60"/>
                  </a:lnTo>
                  <a:lnTo>
                    <a:pt x="66" y="61"/>
                  </a:lnTo>
                  <a:lnTo>
                    <a:pt x="65" y="60"/>
                  </a:lnTo>
                  <a:lnTo>
                    <a:pt x="65" y="59"/>
                  </a:lnTo>
                  <a:lnTo>
                    <a:pt x="65" y="60"/>
                  </a:lnTo>
                  <a:lnTo>
                    <a:pt x="65" y="61"/>
                  </a:lnTo>
                  <a:lnTo>
                    <a:pt x="63" y="60"/>
                  </a:lnTo>
                  <a:lnTo>
                    <a:pt x="64" y="59"/>
                  </a:lnTo>
                  <a:lnTo>
                    <a:pt x="63" y="60"/>
                  </a:lnTo>
                  <a:lnTo>
                    <a:pt x="63" y="59"/>
                  </a:lnTo>
                  <a:lnTo>
                    <a:pt x="62" y="60"/>
                  </a:lnTo>
                  <a:lnTo>
                    <a:pt x="59" y="58"/>
                  </a:lnTo>
                  <a:lnTo>
                    <a:pt x="56" y="56"/>
                  </a:lnTo>
                  <a:lnTo>
                    <a:pt x="57" y="55"/>
                  </a:lnTo>
                  <a:lnTo>
                    <a:pt x="57" y="56"/>
                  </a:lnTo>
                  <a:lnTo>
                    <a:pt x="58" y="56"/>
                  </a:lnTo>
                  <a:lnTo>
                    <a:pt x="58" y="55"/>
                  </a:lnTo>
                  <a:lnTo>
                    <a:pt x="59" y="56"/>
                  </a:lnTo>
                  <a:lnTo>
                    <a:pt x="58" y="55"/>
                  </a:lnTo>
                  <a:lnTo>
                    <a:pt x="57" y="55"/>
                  </a:lnTo>
                  <a:lnTo>
                    <a:pt x="57" y="54"/>
                  </a:lnTo>
                  <a:lnTo>
                    <a:pt x="57" y="53"/>
                  </a:lnTo>
                  <a:lnTo>
                    <a:pt x="58" y="52"/>
                  </a:lnTo>
                  <a:lnTo>
                    <a:pt x="58" y="50"/>
                  </a:lnTo>
                  <a:lnTo>
                    <a:pt x="59" y="50"/>
                  </a:lnTo>
                  <a:lnTo>
                    <a:pt x="59" y="52"/>
                  </a:lnTo>
                  <a:lnTo>
                    <a:pt x="58" y="53"/>
                  </a:lnTo>
                  <a:lnTo>
                    <a:pt x="59" y="52"/>
                  </a:lnTo>
                  <a:lnTo>
                    <a:pt x="59" y="50"/>
                  </a:lnTo>
                  <a:lnTo>
                    <a:pt x="58" y="50"/>
                  </a:lnTo>
                  <a:lnTo>
                    <a:pt x="57" y="50"/>
                  </a:lnTo>
                  <a:lnTo>
                    <a:pt x="57" y="48"/>
                  </a:lnTo>
                  <a:lnTo>
                    <a:pt x="58" y="48"/>
                  </a:lnTo>
                  <a:lnTo>
                    <a:pt x="58" y="47"/>
                  </a:lnTo>
                  <a:lnTo>
                    <a:pt x="58" y="46"/>
                  </a:lnTo>
                  <a:lnTo>
                    <a:pt x="58" y="44"/>
                  </a:lnTo>
                  <a:lnTo>
                    <a:pt x="59" y="44"/>
                  </a:lnTo>
                  <a:lnTo>
                    <a:pt x="58" y="44"/>
                  </a:lnTo>
                  <a:lnTo>
                    <a:pt x="59" y="43"/>
                  </a:lnTo>
                  <a:lnTo>
                    <a:pt x="59" y="42"/>
                  </a:lnTo>
                  <a:lnTo>
                    <a:pt x="60" y="42"/>
                  </a:lnTo>
                  <a:lnTo>
                    <a:pt x="60" y="41"/>
                  </a:lnTo>
                  <a:lnTo>
                    <a:pt x="62" y="41"/>
                  </a:lnTo>
                  <a:lnTo>
                    <a:pt x="62" y="42"/>
                  </a:lnTo>
                  <a:lnTo>
                    <a:pt x="62" y="43"/>
                  </a:lnTo>
                  <a:lnTo>
                    <a:pt x="62" y="42"/>
                  </a:lnTo>
                  <a:lnTo>
                    <a:pt x="63" y="42"/>
                  </a:lnTo>
                  <a:lnTo>
                    <a:pt x="62" y="41"/>
                  </a:lnTo>
                  <a:lnTo>
                    <a:pt x="60" y="40"/>
                  </a:lnTo>
                  <a:lnTo>
                    <a:pt x="60" y="38"/>
                  </a:lnTo>
                  <a:lnTo>
                    <a:pt x="62" y="38"/>
                  </a:lnTo>
                  <a:lnTo>
                    <a:pt x="62" y="40"/>
                  </a:lnTo>
                  <a:lnTo>
                    <a:pt x="63" y="40"/>
                  </a:lnTo>
                  <a:lnTo>
                    <a:pt x="62" y="38"/>
                  </a:lnTo>
                  <a:lnTo>
                    <a:pt x="60" y="38"/>
                  </a:lnTo>
                  <a:lnTo>
                    <a:pt x="62" y="37"/>
                  </a:lnTo>
                  <a:lnTo>
                    <a:pt x="60" y="37"/>
                  </a:lnTo>
                  <a:lnTo>
                    <a:pt x="60" y="36"/>
                  </a:lnTo>
                  <a:lnTo>
                    <a:pt x="62" y="35"/>
                  </a:lnTo>
                  <a:lnTo>
                    <a:pt x="60" y="37"/>
                  </a:lnTo>
                  <a:lnTo>
                    <a:pt x="59" y="37"/>
                  </a:lnTo>
                  <a:lnTo>
                    <a:pt x="59" y="38"/>
                  </a:lnTo>
                  <a:lnTo>
                    <a:pt x="58" y="38"/>
                  </a:lnTo>
                  <a:lnTo>
                    <a:pt x="58" y="37"/>
                  </a:lnTo>
                  <a:lnTo>
                    <a:pt x="58" y="38"/>
                  </a:lnTo>
                  <a:lnTo>
                    <a:pt x="59" y="38"/>
                  </a:lnTo>
                  <a:lnTo>
                    <a:pt x="59" y="40"/>
                  </a:lnTo>
                  <a:lnTo>
                    <a:pt x="58" y="38"/>
                  </a:lnTo>
                  <a:lnTo>
                    <a:pt x="59" y="40"/>
                  </a:lnTo>
                  <a:lnTo>
                    <a:pt x="59" y="41"/>
                  </a:lnTo>
                  <a:lnTo>
                    <a:pt x="58" y="41"/>
                  </a:lnTo>
                  <a:lnTo>
                    <a:pt x="57" y="42"/>
                  </a:lnTo>
                  <a:lnTo>
                    <a:pt x="57" y="43"/>
                  </a:lnTo>
                  <a:lnTo>
                    <a:pt x="58" y="42"/>
                  </a:lnTo>
                  <a:lnTo>
                    <a:pt x="58" y="43"/>
                  </a:lnTo>
                  <a:lnTo>
                    <a:pt x="58" y="44"/>
                  </a:lnTo>
                  <a:lnTo>
                    <a:pt x="57" y="47"/>
                  </a:lnTo>
                  <a:lnTo>
                    <a:pt x="57" y="50"/>
                  </a:lnTo>
                  <a:lnTo>
                    <a:pt x="56" y="50"/>
                  </a:lnTo>
                  <a:lnTo>
                    <a:pt x="56" y="52"/>
                  </a:lnTo>
                  <a:lnTo>
                    <a:pt x="54" y="52"/>
                  </a:lnTo>
                  <a:lnTo>
                    <a:pt x="54" y="53"/>
                  </a:lnTo>
                  <a:lnTo>
                    <a:pt x="54" y="52"/>
                  </a:lnTo>
                  <a:lnTo>
                    <a:pt x="53" y="49"/>
                  </a:lnTo>
                  <a:lnTo>
                    <a:pt x="52" y="47"/>
                  </a:lnTo>
                  <a:lnTo>
                    <a:pt x="53" y="47"/>
                  </a:lnTo>
                  <a:lnTo>
                    <a:pt x="52" y="47"/>
                  </a:lnTo>
                  <a:lnTo>
                    <a:pt x="52" y="46"/>
                  </a:lnTo>
                  <a:lnTo>
                    <a:pt x="53" y="46"/>
                  </a:lnTo>
                  <a:lnTo>
                    <a:pt x="52" y="46"/>
                  </a:lnTo>
                  <a:lnTo>
                    <a:pt x="53" y="44"/>
                  </a:lnTo>
                  <a:lnTo>
                    <a:pt x="53" y="43"/>
                  </a:lnTo>
                  <a:lnTo>
                    <a:pt x="53" y="44"/>
                  </a:lnTo>
                  <a:lnTo>
                    <a:pt x="52" y="44"/>
                  </a:lnTo>
                  <a:lnTo>
                    <a:pt x="52" y="46"/>
                  </a:lnTo>
                  <a:lnTo>
                    <a:pt x="51" y="43"/>
                  </a:lnTo>
                  <a:lnTo>
                    <a:pt x="52" y="42"/>
                  </a:lnTo>
                  <a:lnTo>
                    <a:pt x="53" y="42"/>
                  </a:lnTo>
                  <a:lnTo>
                    <a:pt x="52" y="42"/>
                  </a:lnTo>
                  <a:lnTo>
                    <a:pt x="53" y="41"/>
                  </a:lnTo>
                  <a:lnTo>
                    <a:pt x="52" y="42"/>
                  </a:lnTo>
                  <a:lnTo>
                    <a:pt x="52" y="41"/>
                  </a:lnTo>
                  <a:lnTo>
                    <a:pt x="52" y="42"/>
                  </a:lnTo>
                  <a:lnTo>
                    <a:pt x="51" y="42"/>
                  </a:lnTo>
                  <a:lnTo>
                    <a:pt x="51" y="41"/>
                  </a:lnTo>
                  <a:lnTo>
                    <a:pt x="51" y="40"/>
                  </a:lnTo>
                  <a:lnTo>
                    <a:pt x="51" y="38"/>
                  </a:lnTo>
                  <a:lnTo>
                    <a:pt x="50" y="38"/>
                  </a:lnTo>
                  <a:lnTo>
                    <a:pt x="50" y="40"/>
                  </a:lnTo>
                  <a:lnTo>
                    <a:pt x="48" y="40"/>
                  </a:lnTo>
                  <a:lnTo>
                    <a:pt x="48" y="38"/>
                  </a:lnTo>
                  <a:lnTo>
                    <a:pt x="48" y="40"/>
                  </a:lnTo>
                  <a:lnTo>
                    <a:pt x="48" y="41"/>
                  </a:lnTo>
                  <a:lnTo>
                    <a:pt x="48" y="42"/>
                  </a:lnTo>
                  <a:lnTo>
                    <a:pt x="48" y="43"/>
                  </a:lnTo>
                  <a:lnTo>
                    <a:pt x="48" y="42"/>
                  </a:lnTo>
                  <a:lnTo>
                    <a:pt x="47" y="42"/>
                  </a:lnTo>
                  <a:lnTo>
                    <a:pt x="46" y="42"/>
                  </a:lnTo>
                  <a:lnTo>
                    <a:pt x="45" y="42"/>
                  </a:lnTo>
                  <a:lnTo>
                    <a:pt x="45" y="41"/>
                  </a:lnTo>
                  <a:lnTo>
                    <a:pt x="45" y="42"/>
                  </a:lnTo>
                  <a:lnTo>
                    <a:pt x="45" y="43"/>
                  </a:lnTo>
                  <a:lnTo>
                    <a:pt x="45" y="44"/>
                  </a:lnTo>
                  <a:lnTo>
                    <a:pt x="45" y="43"/>
                  </a:lnTo>
                  <a:lnTo>
                    <a:pt x="46" y="42"/>
                  </a:lnTo>
                  <a:lnTo>
                    <a:pt x="46" y="43"/>
                  </a:lnTo>
                  <a:lnTo>
                    <a:pt x="47" y="44"/>
                  </a:lnTo>
                  <a:lnTo>
                    <a:pt x="46" y="43"/>
                  </a:lnTo>
                  <a:lnTo>
                    <a:pt x="46" y="44"/>
                  </a:lnTo>
                  <a:lnTo>
                    <a:pt x="47" y="44"/>
                  </a:lnTo>
                  <a:lnTo>
                    <a:pt x="48" y="46"/>
                  </a:lnTo>
                  <a:lnTo>
                    <a:pt x="47" y="52"/>
                  </a:lnTo>
                  <a:lnTo>
                    <a:pt x="47" y="50"/>
                  </a:lnTo>
                  <a:lnTo>
                    <a:pt x="46" y="50"/>
                  </a:lnTo>
                  <a:lnTo>
                    <a:pt x="46" y="52"/>
                  </a:lnTo>
                  <a:lnTo>
                    <a:pt x="46" y="53"/>
                  </a:lnTo>
                  <a:lnTo>
                    <a:pt x="45" y="52"/>
                  </a:lnTo>
                  <a:lnTo>
                    <a:pt x="43" y="52"/>
                  </a:lnTo>
                  <a:lnTo>
                    <a:pt x="43" y="53"/>
                  </a:lnTo>
                  <a:lnTo>
                    <a:pt x="43" y="54"/>
                  </a:lnTo>
                  <a:lnTo>
                    <a:pt x="45" y="54"/>
                  </a:lnTo>
                  <a:lnTo>
                    <a:pt x="45" y="55"/>
                  </a:lnTo>
                  <a:lnTo>
                    <a:pt x="45" y="56"/>
                  </a:lnTo>
                  <a:lnTo>
                    <a:pt x="46" y="56"/>
                  </a:lnTo>
                  <a:lnTo>
                    <a:pt x="46" y="58"/>
                  </a:lnTo>
                  <a:lnTo>
                    <a:pt x="45" y="58"/>
                  </a:lnTo>
                  <a:lnTo>
                    <a:pt x="43" y="56"/>
                  </a:lnTo>
                  <a:lnTo>
                    <a:pt x="42" y="55"/>
                  </a:lnTo>
                  <a:lnTo>
                    <a:pt x="43" y="56"/>
                  </a:lnTo>
                  <a:lnTo>
                    <a:pt x="43" y="58"/>
                  </a:lnTo>
                  <a:lnTo>
                    <a:pt x="42" y="58"/>
                  </a:lnTo>
                  <a:lnTo>
                    <a:pt x="42" y="56"/>
                  </a:lnTo>
                  <a:lnTo>
                    <a:pt x="41" y="58"/>
                  </a:lnTo>
                  <a:lnTo>
                    <a:pt x="41" y="59"/>
                  </a:lnTo>
                  <a:lnTo>
                    <a:pt x="42" y="60"/>
                  </a:lnTo>
                  <a:lnTo>
                    <a:pt x="41" y="59"/>
                  </a:lnTo>
                  <a:lnTo>
                    <a:pt x="40" y="59"/>
                  </a:lnTo>
                  <a:lnTo>
                    <a:pt x="40" y="58"/>
                  </a:lnTo>
                  <a:lnTo>
                    <a:pt x="39" y="56"/>
                  </a:lnTo>
                  <a:lnTo>
                    <a:pt x="40" y="55"/>
                  </a:lnTo>
                  <a:lnTo>
                    <a:pt x="39" y="55"/>
                  </a:lnTo>
                  <a:lnTo>
                    <a:pt x="37" y="55"/>
                  </a:lnTo>
                  <a:lnTo>
                    <a:pt x="39" y="56"/>
                  </a:lnTo>
                  <a:lnTo>
                    <a:pt x="37" y="56"/>
                  </a:lnTo>
                  <a:lnTo>
                    <a:pt x="37" y="55"/>
                  </a:lnTo>
                  <a:lnTo>
                    <a:pt x="37" y="53"/>
                  </a:lnTo>
                  <a:lnTo>
                    <a:pt x="36" y="53"/>
                  </a:lnTo>
                  <a:lnTo>
                    <a:pt x="35" y="53"/>
                  </a:lnTo>
                  <a:lnTo>
                    <a:pt x="34" y="53"/>
                  </a:lnTo>
                  <a:lnTo>
                    <a:pt x="34" y="52"/>
                  </a:lnTo>
                  <a:lnTo>
                    <a:pt x="33" y="49"/>
                  </a:lnTo>
                  <a:lnTo>
                    <a:pt x="31" y="49"/>
                  </a:lnTo>
                  <a:lnTo>
                    <a:pt x="31" y="50"/>
                  </a:lnTo>
                  <a:lnTo>
                    <a:pt x="33" y="49"/>
                  </a:lnTo>
                  <a:lnTo>
                    <a:pt x="33" y="50"/>
                  </a:lnTo>
                  <a:lnTo>
                    <a:pt x="34" y="53"/>
                  </a:lnTo>
                  <a:lnTo>
                    <a:pt x="33" y="53"/>
                  </a:lnTo>
                  <a:lnTo>
                    <a:pt x="33" y="52"/>
                  </a:lnTo>
                  <a:lnTo>
                    <a:pt x="31" y="52"/>
                  </a:lnTo>
                  <a:lnTo>
                    <a:pt x="31" y="53"/>
                  </a:lnTo>
                  <a:lnTo>
                    <a:pt x="33" y="52"/>
                  </a:lnTo>
                  <a:lnTo>
                    <a:pt x="33" y="53"/>
                  </a:lnTo>
                  <a:lnTo>
                    <a:pt x="31" y="54"/>
                  </a:lnTo>
                  <a:lnTo>
                    <a:pt x="30" y="54"/>
                  </a:lnTo>
                  <a:lnTo>
                    <a:pt x="30" y="55"/>
                  </a:lnTo>
                  <a:lnTo>
                    <a:pt x="30" y="56"/>
                  </a:lnTo>
                  <a:lnTo>
                    <a:pt x="31" y="56"/>
                  </a:lnTo>
                  <a:lnTo>
                    <a:pt x="33" y="56"/>
                  </a:lnTo>
                  <a:lnTo>
                    <a:pt x="33" y="58"/>
                  </a:lnTo>
                  <a:lnTo>
                    <a:pt x="31" y="56"/>
                  </a:lnTo>
                  <a:lnTo>
                    <a:pt x="33" y="58"/>
                  </a:lnTo>
                  <a:lnTo>
                    <a:pt x="31" y="58"/>
                  </a:lnTo>
                  <a:lnTo>
                    <a:pt x="33" y="58"/>
                  </a:lnTo>
                  <a:lnTo>
                    <a:pt x="34" y="58"/>
                  </a:lnTo>
                  <a:lnTo>
                    <a:pt x="33" y="58"/>
                  </a:lnTo>
                  <a:lnTo>
                    <a:pt x="33" y="59"/>
                  </a:lnTo>
                  <a:lnTo>
                    <a:pt x="34" y="60"/>
                  </a:lnTo>
                  <a:lnTo>
                    <a:pt x="34" y="61"/>
                  </a:lnTo>
                  <a:lnTo>
                    <a:pt x="33" y="60"/>
                  </a:lnTo>
                  <a:lnTo>
                    <a:pt x="31" y="60"/>
                  </a:lnTo>
                  <a:lnTo>
                    <a:pt x="31" y="59"/>
                  </a:lnTo>
                  <a:lnTo>
                    <a:pt x="30" y="58"/>
                  </a:lnTo>
                  <a:lnTo>
                    <a:pt x="30" y="59"/>
                  </a:lnTo>
                  <a:lnTo>
                    <a:pt x="30" y="60"/>
                  </a:lnTo>
                  <a:lnTo>
                    <a:pt x="29" y="60"/>
                  </a:lnTo>
                  <a:lnTo>
                    <a:pt x="28" y="60"/>
                  </a:lnTo>
                  <a:lnTo>
                    <a:pt x="27" y="60"/>
                  </a:lnTo>
                  <a:lnTo>
                    <a:pt x="27" y="62"/>
                  </a:lnTo>
                  <a:lnTo>
                    <a:pt x="27" y="61"/>
                  </a:lnTo>
                  <a:lnTo>
                    <a:pt x="27" y="60"/>
                  </a:lnTo>
                  <a:lnTo>
                    <a:pt x="25" y="59"/>
                  </a:lnTo>
                  <a:lnTo>
                    <a:pt x="25" y="60"/>
                  </a:lnTo>
                  <a:lnTo>
                    <a:pt x="25" y="61"/>
                  </a:lnTo>
                  <a:lnTo>
                    <a:pt x="24" y="61"/>
                  </a:lnTo>
                  <a:lnTo>
                    <a:pt x="24" y="60"/>
                  </a:lnTo>
                  <a:lnTo>
                    <a:pt x="23" y="60"/>
                  </a:lnTo>
                  <a:lnTo>
                    <a:pt x="22" y="60"/>
                  </a:lnTo>
                  <a:lnTo>
                    <a:pt x="22" y="59"/>
                  </a:lnTo>
                  <a:lnTo>
                    <a:pt x="22" y="58"/>
                  </a:lnTo>
                  <a:lnTo>
                    <a:pt x="21" y="58"/>
                  </a:lnTo>
                  <a:lnTo>
                    <a:pt x="21" y="59"/>
                  </a:lnTo>
                  <a:lnTo>
                    <a:pt x="22" y="59"/>
                  </a:lnTo>
                  <a:lnTo>
                    <a:pt x="22" y="60"/>
                  </a:lnTo>
                  <a:lnTo>
                    <a:pt x="22" y="61"/>
                  </a:lnTo>
                  <a:lnTo>
                    <a:pt x="23" y="60"/>
                  </a:lnTo>
                  <a:lnTo>
                    <a:pt x="23" y="61"/>
                  </a:lnTo>
                  <a:lnTo>
                    <a:pt x="23" y="62"/>
                  </a:lnTo>
                  <a:lnTo>
                    <a:pt x="24" y="61"/>
                  </a:lnTo>
                  <a:lnTo>
                    <a:pt x="25" y="62"/>
                  </a:lnTo>
                  <a:lnTo>
                    <a:pt x="27" y="62"/>
                  </a:lnTo>
                  <a:lnTo>
                    <a:pt x="28" y="64"/>
                  </a:lnTo>
                  <a:lnTo>
                    <a:pt x="27" y="64"/>
                  </a:lnTo>
                  <a:lnTo>
                    <a:pt x="28" y="65"/>
                  </a:lnTo>
                  <a:lnTo>
                    <a:pt x="28" y="64"/>
                  </a:lnTo>
                  <a:lnTo>
                    <a:pt x="29" y="64"/>
                  </a:lnTo>
                  <a:lnTo>
                    <a:pt x="29" y="65"/>
                  </a:lnTo>
                  <a:lnTo>
                    <a:pt x="29" y="66"/>
                  </a:lnTo>
                  <a:lnTo>
                    <a:pt x="30" y="66"/>
                  </a:lnTo>
                  <a:lnTo>
                    <a:pt x="33" y="68"/>
                  </a:lnTo>
                  <a:lnTo>
                    <a:pt x="33" y="70"/>
                  </a:lnTo>
                  <a:lnTo>
                    <a:pt x="30" y="70"/>
                  </a:lnTo>
                  <a:lnTo>
                    <a:pt x="28" y="68"/>
                  </a:lnTo>
                  <a:lnTo>
                    <a:pt x="25" y="67"/>
                  </a:lnTo>
                  <a:lnTo>
                    <a:pt x="28" y="68"/>
                  </a:lnTo>
                  <a:lnTo>
                    <a:pt x="25" y="68"/>
                  </a:lnTo>
                  <a:lnTo>
                    <a:pt x="24" y="67"/>
                  </a:lnTo>
                  <a:lnTo>
                    <a:pt x="23" y="67"/>
                  </a:lnTo>
                  <a:lnTo>
                    <a:pt x="23" y="66"/>
                  </a:lnTo>
                  <a:lnTo>
                    <a:pt x="21" y="65"/>
                  </a:lnTo>
                  <a:lnTo>
                    <a:pt x="22" y="67"/>
                  </a:lnTo>
                  <a:lnTo>
                    <a:pt x="23" y="67"/>
                  </a:lnTo>
                  <a:lnTo>
                    <a:pt x="22" y="67"/>
                  </a:lnTo>
                  <a:lnTo>
                    <a:pt x="19" y="66"/>
                  </a:lnTo>
                  <a:lnTo>
                    <a:pt x="18" y="65"/>
                  </a:lnTo>
                  <a:lnTo>
                    <a:pt x="21" y="66"/>
                  </a:lnTo>
                  <a:lnTo>
                    <a:pt x="22" y="67"/>
                  </a:lnTo>
                  <a:lnTo>
                    <a:pt x="22" y="68"/>
                  </a:lnTo>
                  <a:lnTo>
                    <a:pt x="23" y="70"/>
                  </a:lnTo>
                  <a:lnTo>
                    <a:pt x="23" y="68"/>
                  </a:lnTo>
                  <a:lnTo>
                    <a:pt x="23" y="67"/>
                  </a:lnTo>
                  <a:lnTo>
                    <a:pt x="24" y="68"/>
                  </a:lnTo>
                  <a:lnTo>
                    <a:pt x="27" y="68"/>
                  </a:lnTo>
                  <a:lnTo>
                    <a:pt x="28" y="71"/>
                  </a:lnTo>
                  <a:lnTo>
                    <a:pt x="28" y="68"/>
                  </a:lnTo>
                  <a:lnTo>
                    <a:pt x="30" y="70"/>
                  </a:lnTo>
                  <a:lnTo>
                    <a:pt x="31" y="70"/>
                  </a:lnTo>
                  <a:lnTo>
                    <a:pt x="30" y="70"/>
                  </a:lnTo>
                  <a:lnTo>
                    <a:pt x="30" y="71"/>
                  </a:lnTo>
                  <a:lnTo>
                    <a:pt x="31" y="71"/>
                  </a:lnTo>
                  <a:lnTo>
                    <a:pt x="33" y="72"/>
                  </a:lnTo>
                  <a:lnTo>
                    <a:pt x="31" y="71"/>
                  </a:lnTo>
                  <a:lnTo>
                    <a:pt x="33" y="71"/>
                  </a:lnTo>
                  <a:lnTo>
                    <a:pt x="34" y="71"/>
                  </a:lnTo>
                  <a:lnTo>
                    <a:pt x="35" y="71"/>
                  </a:lnTo>
                  <a:lnTo>
                    <a:pt x="35" y="72"/>
                  </a:lnTo>
                  <a:lnTo>
                    <a:pt x="36" y="72"/>
                  </a:lnTo>
                  <a:lnTo>
                    <a:pt x="36" y="73"/>
                  </a:lnTo>
                  <a:lnTo>
                    <a:pt x="36" y="72"/>
                  </a:lnTo>
                  <a:lnTo>
                    <a:pt x="37" y="72"/>
                  </a:lnTo>
                  <a:lnTo>
                    <a:pt x="39" y="73"/>
                  </a:lnTo>
                  <a:lnTo>
                    <a:pt x="39" y="74"/>
                  </a:lnTo>
                  <a:lnTo>
                    <a:pt x="39" y="73"/>
                  </a:lnTo>
                  <a:lnTo>
                    <a:pt x="39" y="74"/>
                  </a:lnTo>
                  <a:lnTo>
                    <a:pt x="40" y="76"/>
                  </a:lnTo>
                  <a:lnTo>
                    <a:pt x="40" y="74"/>
                  </a:lnTo>
                  <a:lnTo>
                    <a:pt x="41" y="74"/>
                  </a:lnTo>
                  <a:lnTo>
                    <a:pt x="41" y="76"/>
                  </a:lnTo>
                  <a:lnTo>
                    <a:pt x="42" y="76"/>
                  </a:lnTo>
                  <a:lnTo>
                    <a:pt x="42" y="77"/>
                  </a:lnTo>
                  <a:lnTo>
                    <a:pt x="42" y="78"/>
                  </a:lnTo>
                  <a:lnTo>
                    <a:pt x="41" y="79"/>
                  </a:lnTo>
                  <a:lnTo>
                    <a:pt x="41" y="78"/>
                  </a:lnTo>
                  <a:lnTo>
                    <a:pt x="40" y="79"/>
                  </a:lnTo>
                  <a:lnTo>
                    <a:pt x="40" y="78"/>
                  </a:lnTo>
                  <a:lnTo>
                    <a:pt x="39" y="77"/>
                  </a:lnTo>
                  <a:lnTo>
                    <a:pt x="39" y="78"/>
                  </a:lnTo>
                  <a:lnTo>
                    <a:pt x="37" y="78"/>
                  </a:lnTo>
                  <a:lnTo>
                    <a:pt x="36" y="78"/>
                  </a:lnTo>
                  <a:lnTo>
                    <a:pt x="37" y="77"/>
                  </a:lnTo>
                  <a:lnTo>
                    <a:pt x="39" y="77"/>
                  </a:lnTo>
                  <a:lnTo>
                    <a:pt x="39" y="76"/>
                  </a:lnTo>
                  <a:lnTo>
                    <a:pt x="37" y="76"/>
                  </a:lnTo>
                  <a:lnTo>
                    <a:pt x="37" y="77"/>
                  </a:lnTo>
                  <a:lnTo>
                    <a:pt x="36" y="77"/>
                  </a:lnTo>
                  <a:lnTo>
                    <a:pt x="36" y="76"/>
                  </a:lnTo>
                  <a:lnTo>
                    <a:pt x="36" y="74"/>
                  </a:lnTo>
                  <a:lnTo>
                    <a:pt x="36" y="73"/>
                  </a:lnTo>
                  <a:lnTo>
                    <a:pt x="35" y="73"/>
                  </a:lnTo>
                  <a:lnTo>
                    <a:pt x="34" y="73"/>
                  </a:lnTo>
                  <a:lnTo>
                    <a:pt x="34" y="74"/>
                  </a:lnTo>
                  <a:lnTo>
                    <a:pt x="34" y="73"/>
                  </a:lnTo>
                  <a:lnTo>
                    <a:pt x="33" y="74"/>
                  </a:lnTo>
                  <a:lnTo>
                    <a:pt x="33" y="76"/>
                  </a:lnTo>
                  <a:lnTo>
                    <a:pt x="33" y="77"/>
                  </a:lnTo>
                  <a:lnTo>
                    <a:pt x="33" y="78"/>
                  </a:lnTo>
                  <a:lnTo>
                    <a:pt x="31" y="78"/>
                  </a:lnTo>
                  <a:lnTo>
                    <a:pt x="30" y="78"/>
                  </a:lnTo>
                  <a:lnTo>
                    <a:pt x="31" y="78"/>
                  </a:lnTo>
                  <a:lnTo>
                    <a:pt x="30" y="77"/>
                  </a:lnTo>
                  <a:lnTo>
                    <a:pt x="30" y="76"/>
                  </a:lnTo>
                  <a:lnTo>
                    <a:pt x="31" y="76"/>
                  </a:lnTo>
                  <a:lnTo>
                    <a:pt x="30" y="74"/>
                  </a:lnTo>
                  <a:lnTo>
                    <a:pt x="30" y="76"/>
                  </a:lnTo>
                  <a:lnTo>
                    <a:pt x="29" y="78"/>
                  </a:lnTo>
                  <a:lnTo>
                    <a:pt x="28" y="76"/>
                  </a:lnTo>
                  <a:lnTo>
                    <a:pt x="28" y="74"/>
                  </a:lnTo>
                  <a:lnTo>
                    <a:pt x="29" y="74"/>
                  </a:lnTo>
                  <a:lnTo>
                    <a:pt x="29" y="73"/>
                  </a:lnTo>
                  <a:lnTo>
                    <a:pt x="28" y="73"/>
                  </a:lnTo>
                  <a:lnTo>
                    <a:pt x="28" y="74"/>
                  </a:lnTo>
                  <a:lnTo>
                    <a:pt x="27" y="72"/>
                  </a:lnTo>
                  <a:lnTo>
                    <a:pt x="27" y="74"/>
                  </a:lnTo>
                  <a:lnTo>
                    <a:pt x="28" y="74"/>
                  </a:lnTo>
                  <a:lnTo>
                    <a:pt x="28" y="76"/>
                  </a:lnTo>
                  <a:lnTo>
                    <a:pt x="25" y="73"/>
                  </a:lnTo>
                  <a:lnTo>
                    <a:pt x="28" y="76"/>
                  </a:lnTo>
                  <a:lnTo>
                    <a:pt x="27" y="76"/>
                  </a:lnTo>
                  <a:lnTo>
                    <a:pt x="25" y="76"/>
                  </a:lnTo>
                  <a:lnTo>
                    <a:pt x="25" y="77"/>
                  </a:lnTo>
                  <a:lnTo>
                    <a:pt x="24" y="76"/>
                  </a:lnTo>
                  <a:lnTo>
                    <a:pt x="23" y="76"/>
                  </a:lnTo>
                  <a:lnTo>
                    <a:pt x="23" y="77"/>
                  </a:lnTo>
                  <a:lnTo>
                    <a:pt x="22" y="77"/>
                  </a:lnTo>
                  <a:lnTo>
                    <a:pt x="22" y="76"/>
                  </a:lnTo>
                  <a:lnTo>
                    <a:pt x="21" y="76"/>
                  </a:lnTo>
                  <a:lnTo>
                    <a:pt x="19" y="76"/>
                  </a:lnTo>
                  <a:lnTo>
                    <a:pt x="19" y="74"/>
                  </a:lnTo>
                  <a:lnTo>
                    <a:pt x="19" y="73"/>
                  </a:lnTo>
                  <a:lnTo>
                    <a:pt x="18" y="74"/>
                  </a:lnTo>
                  <a:lnTo>
                    <a:pt x="18" y="76"/>
                  </a:lnTo>
                  <a:lnTo>
                    <a:pt x="18" y="74"/>
                  </a:lnTo>
                  <a:lnTo>
                    <a:pt x="17" y="74"/>
                  </a:lnTo>
                  <a:lnTo>
                    <a:pt x="17" y="73"/>
                  </a:lnTo>
                  <a:lnTo>
                    <a:pt x="17" y="74"/>
                  </a:lnTo>
                  <a:lnTo>
                    <a:pt x="17" y="76"/>
                  </a:lnTo>
                  <a:lnTo>
                    <a:pt x="18" y="76"/>
                  </a:lnTo>
                  <a:lnTo>
                    <a:pt x="19" y="76"/>
                  </a:lnTo>
                  <a:lnTo>
                    <a:pt x="24" y="78"/>
                  </a:lnTo>
                  <a:lnTo>
                    <a:pt x="27" y="78"/>
                  </a:lnTo>
                  <a:lnTo>
                    <a:pt x="25" y="80"/>
                  </a:lnTo>
                  <a:lnTo>
                    <a:pt x="27" y="80"/>
                  </a:lnTo>
                  <a:lnTo>
                    <a:pt x="27" y="79"/>
                  </a:lnTo>
                  <a:lnTo>
                    <a:pt x="28" y="79"/>
                  </a:lnTo>
                  <a:lnTo>
                    <a:pt x="28" y="80"/>
                  </a:lnTo>
                  <a:lnTo>
                    <a:pt x="28" y="79"/>
                  </a:lnTo>
                  <a:lnTo>
                    <a:pt x="29" y="80"/>
                  </a:lnTo>
                  <a:lnTo>
                    <a:pt x="29" y="79"/>
                  </a:lnTo>
                  <a:lnTo>
                    <a:pt x="29" y="78"/>
                  </a:lnTo>
                  <a:lnTo>
                    <a:pt x="31" y="79"/>
                  </a:lnTo>
                  <a:lnTo>
                    <a:pt x="33" y="79"/>
                  </a:lnTo>
                  <a:lnTo>
                    <a:pt x="33" y="80"/>
                  </a:lnTo>
                  <a:lnTo>
                    <a:pt x="31" y="83"/>
                  </a:lnTo>
                  <a:lnTo>
                    <a:pt x="30" y="84"/>
                  </a:lnTo>
                  <a:lnTo>
                    <a:pt x="29" y="84"/>
                  </a:lnTo>
                  <a:lnTo>
                    <a:pt x="28" y="84"/>
                  </a:lnTo>
                  <a:lnTo>
                    <a:pt x="27" y="83"/>
                  </a:lnTo>
                  <a:lnTo>
                    <a:pt x="25" y="84"/>
                  </a:lnTo>
                  <a:lnTo>
                    <a:pt x="24" y="84"/>
                  </a:lnTo>
                  <a:lnTo>
                    <a:pt x="25" y="85"/>
                  </a:lnTo>
                  <a:lnTo>
                    <a:pt x="24" y="86"/>
                  </a:lnTo>
                  <a:lnTo>
                    <a:pt x="23" y="88"/>
                  </a:lnTo>
                  <a:lnTo>
                    <a:pt x="23" y="89"/>
                  </a:lnTo>
                  <a:lnTo>
                    <a:pt x="22" y="89"/>
                  </a:lnTo>
                  <a:lnTo>
                    <a:pt x="21" y="89"/>
                  </a:lnTo>
                  <a:lnTo>
                    <a:pt x="19" y="89"/>
                  </a:lnTo>
                  <a:lnTo>
                    <a:pt x="19" y="90"/>
                  </a:lnTo>
                  <a:lnTo>
                    <a:pt x="18" y="90"/>
                  </a:lnTo>
                  <a:lnTo>
                    <a:pt x="17" y="89"/>
                  </a:lnTo>
                  <a:lnTo>
                    <a:pt x="18" y="91"/>
                  </a:lnTo>
                  <a:lnTo>
                    <a:pt x="17" y="91"/>
                  </a:lnTo>
                  <a:lnTo>
                    <a:pt x="17" y="92"/>
                  </a:lnTo>
                  <a:lnTo>
                    <a:pt x="16" y="92"/>
                  </a:lnTo>
                  <a:lnTo>
                    <a:pt x="13" y="91"/>
                  </a:lnTo>
                  <a:lnTo>
                    <a:pt x="13" y="90"/>
                  </a:lnTo>
                  <a:lnTo>
                    <a:pt x="13" y="89"/>
                  </a:lnTo>
                  <a:lnTo>
                    <a:pt x="13" y="90"/>
                  </a:lnTo>
                  <a:lnTo>
                    <a:pt x="12" y="90"/>
                  </a:lnTo>
                  <a:lnTo>
                    <a:pt x="11" y="89"/>
                  </a:lnTo>
                  <a:lnTo>
                    <a:pt x="9" y="88"/>
                  </a:lnTo>
                  <a:lnTo>
                    <a:pt x="10" y="88"/>
                  </a:lnTo>
                  <a:lnTo>
                    <a:pt x="11" y="86"/>
                  </a:lnTo>
                  <a:lnTo>
                    <a:pt x="11" y="85"/>
                  </a:lnTo>
                  <a:lnTo>
                    <a:pt x="10" y="84"/>
                  </a:lnTo>
                  <a:lnTo>
                    <a:pt x="10" y="86"/>
                  </a:lnTo>
                  <a:lnTo>
                    <a:pt x="9" y="88"/>
                  </a:lnTo>
                  <a:lnTo>
                    <a:pt x="9" y="86"/>
                  </a:lnTo>
                  <a:lnTo>
                    <a:pt x="10" y="85"/>
                  </a:lnTo>
                  <a:lnTo>
                    <a:pt x="9" y="86"/>
                  </a:lnTo>
                  <a:lnTo>
                    <a:pt x="7" y="86"/>
                  </a:lnTo>
                  <a:lnTo>
                    <a:pt x="9" y="85"/>
                  </a:lnTo>
                  <a:lnTo>
                    <a:pt x="9" y="84"/>
                  </a:lnTo>
                  <a:lnTo>
                    <a:pt x="9" y="85"/>
                  </a:lnTo>
                  <a:lnTo>
                    <a:pt x="10" y="84"/>
                  </a:lnTo>
                  <a:lnTo>
                    <a:pt x="9" y="83"/>
                  </a:lnTo>
                  <a:lnTo>
                    <a:pt x="7" y="84"/>
                  </a:lnTo>
                  <a:lnTo>
                    <a:pt x="7" y="85"/>
                  </a:lnTo>
                  <a:lnTo>
                    <a:pt x="7" y="84"/>
                  </a:lnTo>
                  <a:lnTo>
                    <a:pt x="9" y="83"/>
                  </a:lnTo>
                  <a:lnTo>
                    <a:pt x="9" y="82"/>
                  </a:lnTo>
                  <a:lnTo>
                    <a:pt x="9" y="83"/>
                  </a:lnTo>
                  <a:lnTo>
                    <a:pt x="9" y="82"/>
                  </a:lnTo>
                  <a:lnTo>
                    <a:pt x="9" y="80"/>
                  </a:lnTo>
                  <a:lnTo>
                    <a:pt x="10" y="79"/>
                  </a:lnTo>
                  <a:lnTo>
                    <a:pt x="7" y="80"/>
                  </a:lnTo>
                  <a:lnTo>
                    <a:pt x="7" y="79"/>
                  </a:lnTo>
                  <a:lnTo>
                    <a:pt x="7" y="78"/>
                  </a:lnTo>
                  <a:lnTo>
                    <a:pt x="6" y="78"/>
                  </a:lnTo>
                  <a:lnTo>
                    <a:pt x="7" y="79"/>
                  </a:lnTo>
                  <a:lnTo>
                    <a:pt x="6" y="79"/>
                  </a:lnTo>
                  <a:lnTo>
                    <a:pt x="5" y="79"/>
                  </a:lnTo>
                  <a:lnTo>
                    <a:pt x="5" y="80"/>
                  </a:lnTo>
                  <a:lnTo>
                    <a:pt x="5" y="82"/>
                  </a:lnTo>
                  <a:lnTo>
                    <a:pt x="4" y="82"/>
                  </a:lnTo>
                  <a:lnTo>
                    <a:pt x="3" y="82"/>
                  </a:lnTo>
                  <a:lnTo>
                    <a:pt x="4" y="82"/>
                  </a:lnTo>
                  <a:lnTo>
                    <a:pt x="4" y="83"/>
                  </a:lnTo>
                  <a:lnTo>
                    <a:pt x="3" y="83"/>
                  </a:lnTo>
                  <a:lnTo>
                    <a:pt x="1" y="82"/>
                  </a:lnTo>
                  <a:lnTo>
                    <a:pt x="0" y="83"/>
                  </a:lnTo>
                  <a:lnTo>
                    <a:pt x="0" y="84"/>
                  </a:lnTo>
                  <a:lnTo>
                    <a:pt x="1" y="83"/>
                  </a:lnTo>
                  <a:lnTo>
                    <a:pt x="1" y="84"/>
                  </a:lnTo>
                  <a:lnTo>
                    <a:pt x="3" y="84"/>
                  </a:lnTo>
                  <a:lnTo>
                    <a:pt x="3" y="83"/>
                  </a:lnTo>
                  <a:lnTo>
                    <a:pt x="4" y="84"/>
                  </a:lnTo>
                  <a:lnTo>
                    <a:pt x="5" y="84"/>
                  </a:lnTo>
                  <a:lnTo>
                    <a:pt x="6" y="85"/>
                  </a:lnTo>
                  <a:lnTo>
                    <a:pt x="5" y="85"/>
                  </a:lnTo>
                  <a:lnTo>
                    <a:pt x="5" y="86"/>
                  </a:lnTo>
                  <a:lnTo>
                    <a:pt x="6" y="86"/>
                  </a:lnTo>
                  <a:lnTo>
                    <a:pt x="7" y="86"/>
                  </a:lnTo>
                  <a:lnTo>
                    <a:pt x="9" y="86"/>
                  </a:lnTo>
                  <a:lnTo>
                    <a:pt x="7" y="86"/>
                  </a:lnTo>
                  <a:lnTo>
                    <a:pt x="6" y="86"/>
                  </a:lnTo>
                  <a:lnTo>
                    <a:pt x="7" y="86"/>
                  </a:lnTo>
                  <a:lnTo>
                    <a:pt x="7" y="88"/>
                  </a:lnTo>
                  <a:lnTo>
                    <a:pt x="7" y="89"/>
                  </a:lnTo>
                  <a:lnTo>
                    <a:pt x="6" y="88"/>
                  </a:lnTo>
                  <a:lnTo>
                    <a:pt x="6" y="89"/>
                  </a:lnTo>
                  <a:lnTo>
                    <a:pt x="5" y="89"/>
                  </a:lnTo>
                  <a:lnTo>
                    <a:pt x="5" y="88"/>
                  </a:lnTo>
                  <a:lnTo>
                    <a:pt x="4" y="88"/>
                  </a:lnTo>
                  <a:lnTo>
                    <a:pt x="5" y="88"/>
                  </a:lnTo>
                  <a:lnTo>
                    <a:pt x="4" y="88"/>
                  </a:lnTo>
                  <a:lnTo>
                    <a:pt x="4" y="89"/>
                  </a:lnTo>
                  <a:lnTo>
                    <a:pt x="3" y="89"/>
                  </a:lnTo>
                  <a:lnTo>
                    <a:pt x="4" y="90"/>
                  </a:lnTo>
                  <a:lnTo>
                    <a:pt x="4" y="91"/>
                  </a:lnTo>
                  <a:lnTo>
                    <a:pt x="4" y="92"/>
                  </a:lnTo>
                  <a:lnTo>
                    <a:pt x="4" y="91"/>
                  </a:lnTo>
                  <a:lnTo>
                    <a:pt x="4" y="90"/>
                  </a:lnTo>
                  <a:lnTo>
                    <a:pt x="5" y="90"/>
                  </a:lnTo>
                  <a:lnTo>
                    <a:pt x="5" y="91"/>
                  </a:lnTo>
                  <a:lnTo>
                    <a:pt x="6" y="90"/>
                  </a:lnTo>
                  <a:lnTo>
                    <a:pt x="6" y="91"/>
                  </a:lnTo>
                  <a:lnTo>
                    <a:pt x="7" y="91"/>
                  </a:lnTo>
                  <a:lnTo>
                    <a:pt x="6" y="92"/>
                  </a:lnTo>
                  <a:lnTo>
                    <a:pt x="7" y="92"/>
                  </a:lnTo>
                  <a:lnTo>
                    <a:pt x="7" y="91"/>
                  </a:lnTo>
                  <a:lnTo>
                    <a:pt x="9" y="91"/>
                  </a:lnTo>
                  <a:lnTo>
                    <a:pt x="11" y="91"/>
                  </a:lnTo>
                  <a:lnTo>
                    <a:pt x="12" y="92"/>
                  </a:lnTo>
                  <a:lnTo>
                    <a:pt x="15" y="92"/>
                  </a:lnTo>
                  <a:lnTo>
                    <a:pt x="16" y="94"/>
                  </a:lnTo>
                  <a:lnTo>
                    <a:pt x="17" y="95"/>
                  </a:lnTo>
                  <a:lnTo>
                    <a:pt x="17" y="96"/>
                  </a:lnTo>
                  <a:lnTo>
                    <a:pt x="18" y="97"/>
                  </a:lnTo>
                  <a:lnTo>
                    <a:pt x="18" y="96"/>
                  </a:lnTo>
                  <a:lnTo>
                    <a:pt x="18" y="95"/>
                  </a:lnTo>
                  <a:lnTo>
                    <a:pt x="18" y="96"/>
                  </a:lnTo>
                  <a:lnTo>
                    <a:pt x="19" y="95"/>
                  </a:lnTo>
                  <a:lnTo>
                    <a:pt x="21" y="95"/>
                  </a:lnTo>
                  <a:lnTo>
                    <a:pt x="21" y="96"/>
                  </a:lnTo>
                  <a:lnTo>
                    <a:pt x="22" y="95"/>
                  </a:lnTo>
                  <a:lnTo>
                    <a:pt x="22" y="96"/>
                  </a:lnTo>
                  <a:lnTo>
                    <a:pt x="22" y="97"/>
                  </a:lnTo>
                  <a:lnTo>
                    <a:pt x="23" y="96"/>
                  </a:lnTo>
                  <a:lnTo>
                    <a:pt x="23" y="97"/>
                  </a:lnTo>
                  <a:lnTo>
                    <a:pt x="24" y="97"/>
                  </a:lnTo>
                  <a:lnTo>
                    <a:pt x="24" y="98"/>
                  </a:lnTo>
                  <a:lnTo>
                    <a:pt x="25" y="97"/>
                  </a:lnTo>
                  <a:lnTo>
                    <a:pt x="27" y="97"/>
                  </a:lnTo>
                  <a:lnTo>
                    <a:pt x="27" y="98"/>
                  </a:lnTo>
                  <a:lnTo>
                    <a:pt x="27" y="100"/>
                  </a:lnTo>
                  <a:lnTo>
                    <a:pt x="28" y="102"/>
                  </a:lnTo>
                  <a:lnTo>
                    <a:pt x="27" y="102"/>
                  </a:lnTo>
                  <a:lnTo>
                    <a:pt x="25" y="101"/>
                  </a:lnTo>
                  <a:lnTo>
                    <a:pt x="27" y="101"/>
                  </a:lnTo>
                  <a:lnTo>
                    <a:pt x="25" y="101"/>
                  </a:lnTo>
                  <a:lnTo>
                    <a:pt x="25" y="102"/>
                  </a:lnTo>
                  <a:lnTo>
                    <a:pt x="24" y="102"/>
                  </a:lnTo>
                  <a:lnTo>
                    <a:pt x="24" y="103"/>
                  </a:lnTo>
                  <a:lnTo>
                    <a:pt x="25" y="104"/>
                  </a:lnTo>
                  <a:lnTo>
                    <a:pt x="24" y="106"/>
                  </a:lnTo>
                  <a:lnTo>
                    <a:pt x="23" y="107"/>
                  </a:lnTo>
                  <a:lnTo>
                    <a:pt x="23" y="108"/>
                  </a:lnTo>
                  <a:lnTo>
                    <a:pt x="22" y="107"/>
                  </a:lnTo>
                  <a:lnTo>
                    <a:pt x="22" y="108"/>
                  </a:lnTo>
                  <a:lnTo>
                    <a:pt x="21" y="108"/>
                  </a:lnTo>
                  <a:lnTo>
                    <a:pt x="21" y="109"/>
                  </a:lnTo>
                  <a:lnTo>
                    <a:pt x="19" y="109"/>
                  </a:lnTo>
                  <a:lnTo>
                    <a:pt x="18" y="109"/>
                  </a:lnTo>
                  <a:lnTo>
                    <a:pt x="17" y="109"/>
                  </a:lnTo>
                  <a:lnTo>
                    <a:pt x="16" y="110"/>
                  </a:lnTo>
                  <a:lnTo>
                    <a:pt x="17" y="110"/>
                  </a:lnTo>
                  <a:lnTo>
                    <a:pt x="17" y="112"/>
                  </a:lnTo>
                  <a:lnTo>
                    <a:pt x="17" y="110"/>
                  </a:lnTo>
                  <a:lnTo>
                    <a:pt x="17" y="112"/>
                  </a:lnTo>
                  <a:lnTo>
                    <a:pt x="17" y="113"/>
                  </a:lnTo>
                  <a:lnTo>
                    <a:pt x="18" y="112"/>
                  </a:lnTo>
                  <a:lnTo>
                    <a:pt x="19" y="112"/>
                  </a:lnTo>
                  <a:lnTo>
                    <a:pt x="19" y="113"/>
                  </a:lnTo>
                  <a:lnTo>
                    <a:pt x="19" y="114"/>
                  </a:lnTo>
                  <a:lnTo>
                    <a:pt x="21" y="113"/>
                  </a:lnTo>
                  <a:lnTo>
                    <a:pt x="21" y="114"/>
                  </a:lnTo>
                  <a:lnTo>
                    <a:pt x="21" y="115"/>
                  </a:lnTo>
                  <a:lnTo>
                    <a:pt x="22" y="114"/>
                  </a:lnTo>
                  <a:lnTo>
                    <a:pt x="23" y="113"/>
                  </a:lnTo>
                  <a:lnTo>
                    <a:pt x="23" y="114"/>
                  </a:lnTo>
                  <a:lnTo>
                    <a:pt x="23" y="115"/>
                  </a:lnTo>
                  <a:lnTo>
                    <a:pt x="22" y="115"/>
                  </a:lnTo>
                  <a:lnTo>
                    <a:pt x="23" y="115"/>
                  </a:lnTo>
                  <a:lnTo>
                    <a:pt x="24" y="115"/>
                  </a:lnTo>
                  <a:lnTo>
                    <a:pt x="23" y="117"/>
                  </a:lnTo>
                  <a:lnTo>
                    <a:pt x="23" y="118"/>
                  </a:lnTo>
                  <a:lnTo>
                    <a:pt x="21" y="118"/>
                  </a:lnTo>
                  <a:lnTo>
                    <a:pt x="19" y="117"/>
                  </a:lnTo>
                  <a:lnTo>
                    <a:pt x="18" y="117"/>
                  </a:lnTo>
                  <a:lnTo>
                    <a:pt x="18" y="115"/>
                  </a:lnTo>
                  <a:lnTo>
                    <a:pt x="17" y="115"/>
                  </a:lnTo>
                  <a:lnTo>
                    <a:pt x="16" y="115"/>
                  </a:lnTo>
                  <a:lnTo>
                    <a:pt x="15" y="115"/>
                  </a:lnTo>
                  <a:lnTo>
                    <a:pt x="13" y="115"/>
                  </a:lnTo>
                  <a:lnTo>
                    <a:pt x="13" y="117"/>
                  </a:lnTo>
                  <a:lnTo>
                    <a:pt x="12" y="118"/>
                  </a:lnTo>
                  <a:lnTo>
                    <a:pt x="13" y="117"/>
                  </a:lnTo>
                  <a:lnTo>
                    <a:pt x="12" y="117"/>
                  </a:lnTo>
                  <a:lnTo>
                    <a:pt x="11" y="117"/>
                  </a:lnTo>
                  <a:lnTo>
                    <a:pt x="11" y="118"/>
                  </a:lnTo>
                  <a:lnTo>
                    <a:pt x="10" y="119"/>
                  </a:lnTo>
                  <a:lnTo>
                    <a:pt x="10" y="120"/>
                  </a:lnTo>
                  <a:lnTo>
                    <a:pt x="9" y="120"/>
                  </a:lnTo>
                  <a:lnTo>
                    <a:pt x="9" y="119"/>
                  </a:lnTo>
                  <a:lnTo>
                    <a:pt x="9" y="118"/>
                  </a:lnTo>
                  <a:lnTo>
                    <a:pt x="9" y="119"/>
                  </a:lnTo>
                  <a:lnTo>
                    <a:pt x="7" y="119"/>
                  </a:lnTo>
                  <a:lnTo>
                    <a:pt x="7" y="118"/>
                  </a:lnTo>
                  <a:lnTo>
                    <a:pt x="6" y="118"/>
                  </a:lnTo>
                  <a:lnTo>
                    <a:pt x="5" y="119"/>
                  </a:lnTo>
                  <a:lnTo>
                    <a:pt x="5" y="120"/>
                  </a:lnTo>
                  <a:lnTo>
                    <a:pt x="4" y="120"/>
                  </a:lnTo>
                  <a:lnTo>
                    <a:pt x="4" y="121"/>
                  </a:lnTo>
                  <a:lnTo>
                    <a:pt x="4" y="123"/>
                  </a:lnTo>
                  <a:lnTo>
                    <a:pt x="4" y="124"/>
                  </a:lnTo>
                  <a:lnTo>
                    <a:pt x="4" y="123"/>
                  </a:lnTo>
                  <a:lnTo>
                    <a:pt x="5" y="123"/>
                  </a:lnTo>
                  <a:lnTo>
                    <a:pt x="5" y="125"/>
                  </a:lnTo>
                  <a:lnTo>
                    <a:pt x="5" y="126"/>
                  </a:lnTo>
                  <a:lnTo>
                    <a:pt x="6" y="127"/>
                  </a:lnTo>
                  <a:lnTo>
                    <a:pt x="6" y="130"/>
                  </a:lnTo>
                  <a:lnTo>
                    <a:pt x="6" y="129"/>
                  </a:lnTo>
                  <a:lnTo>
                    <a:pt x="7" y="127"/>
                  </a:lnTo>
                  <a:lnTo>
                    <a:pt x="7" y="129"/>
                  </a:lnTo>
                  <a:lnTo>
                    <a:pt x="9" y="129"/>
                  </a:lnTo>
                  <a:lnTo>
                    <a:pt x="10" y="127"/>
                  </a:lnTo>
                  <a:lnTo>
                    <a:pt x="10" y="126"/>
                  </a:lnTo>
                  <a:lnTo>
                    <a:pt x="10" y="127"/>
                  </a:lnTo>
                  <a:lnTo>
                    <a:pt x="11" y="126"/>
                  </a:lnTo>
                  <a:lnTo>
                    <a:pt x="11" y="129"/>
                  </a:lnTo>
                  <a:lnTo>
                    <a:pt x="12" y="127"/>
                  </a:lnTo>
                  <a:lnTo>
                    <a:pt x="12" y="129"/>
                  </a:lnTo>
                  <a:lnTo>
                    <a:pt x="12" y="130"/>
                  </a:lnTo>
                  <a:lnTo>
                    <a:pt x="13" y="129"/>
                  </a:lnTo>
                  <a:lnTo>
                    <a:pt x="13" y="130"/>
                  </a:lnTo>
                  <a:lnTo>
                    <a:pt x="15" y="130"/>
                  </a:lnTo>
                  <a:lnTo>
                    <a:pt x="15" y="131"/>
                  </a:lnTo>
                  <a:lnTo>
                    <a:pt x="16" y="130"/>
                  </a:lnTo>
                  <a:lnTo>
                    <a:pt x="16" y="132"/>
                  </a:lnTo>
                  <a:lnTo>
                    <a:pt x="17" y="133"/>
                  </a:lnTo>
                  <a:lnTo>
                    <a:pt x="17" y="135"/>
                  </a:lnTo>
                  <a:lnTo>
                    <a:pt x="16" y="135"/>
                  </a:lnTo>
                  <a:lnTo>
                    <a:pt x="15" y="136"/>
                  </a:lnTo>
                  <a:lnTo>
                    <a:pt x="15" y="138"/>
                  </a:lnTo>
                  <a:lnTo>
                    <a:pt x="15" y="139"/>
                  </a:lnTo>
                  <a:lnTo>
                    <a:pt x="15" y="137"/>
                  </a:lnTo>
                  <a:lnTo>
                    <a:pt x="16" y="136"/>
                  </a:lnTo>
                  <a:lnTo>
                    <a:pt x="16" y="137"/>
                  </a:lnTo>
                  <a:lnTo>
                    <a:pt x="16" y="138"/>
                  </a:lnTo>
                  <a:lnTo>
                    <a:pt x="17" y="138"/>
                  </a:lnTo>
                  <a:lnTo>
                    <a:pt x="16" y="139"/>
                  </a:lnTo>
                  <a:lnTo>
                    <a:pt x="15" y="139"/>
                  </a:lnTo>
                  <a:lnTo>
                    <a:pt x="13" y="141"/>
                  </a:lnTo>
                  <a:lnTo>
                    <a:pt x="13" y="143"/>
                  </a:lnTo>
                  <a:lnTo>
                    <a:pt x="13" y="142"/>
                  </a:lnTo>
                  <a:lnTo>
                    <a:pt x="15" y="141"/>
                  </a:lnTo>
                  <a:lnTo>
                    <a:pt x="15" y="142"/>
                  </a:lnTo>
                  <a:lnTo>
                    <a:pt x="16" y="142"/>
                  </a:lnTo>
                  <a:lnTo>
                    <a:pt x="16" y="141"/>
                  </a:lnTo>
                  <a:lnTo>
                    <a:pt x="16" y="143"/>
                  </a:lnTo>
                  <a:lnTo>
                    <a:pt x="17" y="142"/>
                  </a:lnTo>
                  <a:lnTo>
                    <a:pt x="17" y="144"/>
                  </a:lnTo>
                  <a:lnTo>
                    <a:pt x="17" y="145"/>
                  </a:lnTo>
                  <a:lnTo>
                    <a:pt x="16" y="147"/>
                  </a:lnTo>
                  <a:lnTo>
                    <a:pt x="17" y="145"/>
                  </a:lnTo>
                  <a:lnTo>
                    <a:pt x="17" y="148"/>
                  </a:lnTo>
                  <a:lnTo>
                    <a:pt x="18" y="149"/>
                  </a:lnTo>
                  <a:lnTo>
                    <a:pt x="17" y="150"/>
                  </a:lnTo>
                  <a:lnTo>
                    <a:pt x="18" y="150"/>
                  </a:lnTo>
                  <a:lnTo>
                    <a:pt x="18" y="151"/>
                  </a:lnTo>
                  <a:lnTo>
                    <a:pt x="18" y="153"/>
                  </a:lnTo>
                  <a:lnTo>
                    <a:pt x="19" y="153"/>
                  </a:lnTo>
                  <a:lnTo>
                    <a:pt x="19" y="155"/>
                  </a:lnTo>
                  <a:lnTo>
                    <a:pt x="19" y="153"/>
                  </a:lnTo>
                  <a:lnTo>
                    <a:pt x="21" y="154"/>
                  </a:lnTo>
                  <a:lnTo>
                    <a:pt x="19" y="154"/>
                  </a:lnTo>
                  <a:lnTo>
                    <a:pt x="21" y="156"/>
                  </a:lnTo>
                  <a:lnTo>
                    <a:pt x="19" y="156"/>
                  </a:lnTo>
                  <a:lnTo>
                    <a:pt x="18" y="157"/>
                  </a:lnTo>
                  <a:lnTo>
                    <a:pt x="17" y="156"/>
                  </a:lnTo>
                  <a:lnTo>
                    <a:pt x="17" y="159"/>
                  </a:lnTo>
                  <a:lnTo>
                    <a:pt x="17" y="160"/>
                  </a:lnTo>
                  <a:lnTo>
                    <a:pt x="17" y="159"/>
                  </a:lnTo>
                  <a:lnTo>
                    <a:pt x="18" y="160"/>
                  </a:lnTo>
                  <a:lnTo>
                    <a:pt x="19" y="160"/>
                  </a:lnTo>
                  <a:lnTo>
                    <a:pt x="19" y="159"/>
                  </a:lnTo>
                  <a:lnTo>
                    <a:pt x="19" y="160"/>
                  </a:lnTo>
                  <a:lnTo>
                    <a:pt x="21" y="161"/>
                  </a:lnTo>
                  <a:lnTo>
                    <a:pt x="22" y="160"/>
                  </a:lnTo>
                  <a:lnTo>
                    <a:pt x="23" y="160"/>
                  </a:lnTo>
                  <a:lnTo>
                    <a:pt x="24" y="159"/>
                  </a:lnTo>
                  <a:lnTo>
                    <a:pt x="24" y="157"/>
                  </a:lnTo>
                  <a:lnTo>
                    <a:pt x="24" y="160"/>
                  </a:lnTo>
                  <a:lnTo>
                    <a:pt x="25" y="161"/>
                  </a:lnTo>
                  <a:lnTo>
                    <a:pt x="27" y="161"/>
                  </a:lnTo>
                  <a:lnTo>
                    <a:pt x="28" y="160"/>
                  </a:lnTo>
                  <a:lnTo>
                    <a:pt x="28" y="161"/>
                  </a:lnTo>
                  <a:lnTo>
                    <a:pt x="28" y="162"/>
                  </a:lnTo>
                  <a:lnTo>
                    <a:pt x="29" y="160"/>
                  </a:lnTo>
                  <a:lnTo>
                    <a:pt x="30" y="159"/>
                  </a:lnTo>
                  <a:lnTo>
                    <a:pt x="30" y="157"/>
                  </a:lnTo>
                  <a:lnTo>
                    <a:pt x="30" y="156"/>
                  </a:lnTo>
                  <a:lnTo>
                    <a:pt x="31" y="157"/>
                  </a:lnTo>
                  <a:lnTo>
                    <a:pt x="30" y="160"/>
                  </a:lnTo>
                  <a:lnTo>
                    <a:pt x="30" y="161"/>
                  </a:lnTo>
                  <a:lnTo>
                    <a:pt x="30" y="160"/>
                  </a:lnTo>
                  <a:lnTo>
                    <a:pt x="31" y="159"/>
                  </a:lnTo>
                  <a:lnTo>
                    <a:pt x="31" y="157"/>
                  </a:lnTo>
                  <a:lnTo>
                    <a:pt x="33" y="157"/>
                  </a:lnTo>
                  <a:lnTo>
                    <a:pt x="33" y="156"/>
                  </a:lnTo>
                  <a:lnTo>
                    <a:pt x="34" y="156"/>
                  </a:lnTo>
                  <a:lnTo>
                    <a:pt x="34" y="155"/>
                  </a:lnTo>
                  <a:lnTo>
                    <a:pt x="35" y="155"/>
                  </a:lnTo>
                  <a:lnTo>
                    <a:pt x="37" y="154"/>
                  </a:lnTo>
                  <a:lnTo>
                    <a:pt x="39" y="154"/>
                  </a:lnTo>
                  <a:lnTo>
                    <a:pt x="39" y="155"/>
                  </a:lnTo>
                  <a:lnTo>
                    <a:pt x="39" y="156"/>
                  </a:lnTo>
                  <a:lnTo>
                    <a:pt x="40" y="157"/>
                  </a:lnTo>
                  <a:lnTo>
                    <a:pt x="39" y="157"/>
                  </a:lnTo>
                  <a:lnTo>
                    <a:pt x="37" y="157"/>
                  </a:lnTo>
                  <a:lnTo>
                    <a:pt x="36" y="157"/>
                  </a:lnTo>
                  <a:lnTo>
                    <a:pt x="35" y="157"/>
                  </a:lnTo>
                  <a:lnTo>
                    <a:pt x="35" y="156"/>
                  </a:lnTo>
                  <a:lnTo>
                    <a:pt x="34" y="156"/>
                  </a:lnTo>
                  <a:lnTo>
                    <a:pt x="34" y="157"/>
                  </a:lnTo>
                  <a:lnTo>
                    <a:pt x="35" y="157"/>
                  </a:lnTo>
                  <a:lnTo>
                    <a:pt x="34" y="159"/>
                  </a:lnTo>
                  <a:lnTo>
                    <a:pt x="33" y="159"/>
                  </a:lnTo>
                  <a:lnTo>
                    <a:pt x="31" y="159"/>
                  </a:lnTo>
                  <a:lnTo>
                    <a:pt x="31" y="160"/>
                  </a:lnTo>
                  <a:lnTo>
                    <a:pt x="31" y="161"/>
                  </a:lnTo>
                  <a:lnTo>
                    <a:pt x="31" y="163"/>
                  </a:lnTo>
                  <a:lnTo>
                    <a:pt x="29" y="165"/>
                  </a:lnTo>
                  <a:lnTo>
                    <a:pt x="28" y="165"/>
                  </a:lnTo>
                  <a:lnTo>
                    <a:pt x="28" y="163"/>
                  </a:lnTo>
                  <a:lnTo>
                    <a:pt x="27" y="163"/>
                  </a:lnTo>
                  <a:lnTo>
                    <a:pt x="25" y="163"/>
                  </a:lnTo>
                  <a:lnTo>
                    <a:pt x="27" y="165"/>
                  </a:lnTo>
                  <a:lnTo>
                    <a:pt x="28" y="165"/>
                  </a:lnTo>
                  <a:lnTo>
                    <a:pt x="27" y="165"/>
                  </a:lnTo>
                  <a:lnTo>
                    <a:pt x="25" y="166"/>
                  </a:lnTo>
                  <a:lnTo>
                    <a:pt x="24" y="166"/>
                  </a:lnTo>
                  <a:lnTo>
                    <a:pt x="23" y="167"/>
                  </a:lnTo>
                  <a:lnTo>
                    <a:pt x="23" y="169"/>
                  </a:lnTo>
                  <a:lnTo>
                    <a:pt x="24" y="171"/>
                  </a:lnTo>
                  <a:lnTo>
                    <a:pt x="25" y="171"/>
                  </a:lnTo>
                  <a:lnTo>
                    <a:pt x="25" y="172"/>
                  </a:lnTo>
                  <a:lnTo>
                    <a:pt x="25" y="171"/>
                  </a:lnTo>
                  <a:lnTo>
                    <a:pt x="27" y="171"/>
                  </a:lnTo>
                  <a:lnTo>
                    <a:pt x="27" y="172"/>
                  </a:lnTo>
                  <a:lnTo>
                    <a:pt x="28" y="171"/>
                  </a:lnTo>
                  <a:lnTo>
                    <a:pt x="28" y="172"/>
                  </a:lnTo>
                  <a:lnTo>
                    <a:pt x="29" y="173"/>
                  </a:lnTo>
                  <a:lnTo>
                    <a:pt x="30" y="173"/>
                  </a:lnTo>
                  <a:lnTo>
                    <a:pt x="29" y="174"/>
                  </a:lnTo>
                  <a:lnTo>
                    <a:pt x="29" y="173"/>
                  </a:lnTo>
                  <a:lnTo>
                    <a:pt x="28" y="174"/>
                  </a:lnTo>
                  <a:lnTo>
                    <a:pt x="27" y="177"/>
                  </a:lnTo>
                  <a:lnTo>
                    <a:pt x="28" y="177"/>
                  </a:lnTo>
                  <a:lnTo>
                    <a:pt x="28" y="178"/>
                  </a:lnTo>
                  <a:lnTo>
                    <a:pt x="27" y="178"/>
                  </a:lnTo>
                  <a:lnTo>
                    <a:pt x="27" y="179"/>
                  </a:lnTo>
                  <a:lnTo>
                    <a:pt x="27" y="180"/>
                  </a:lnTo>
                  <a:lnTo>
                    <a:pt x="27" y="179"/>
                  </a:lnTo>
                  <a:lnTo>
                    <a:pt x="28" y="178"/>
                  </a:lnTo>
                  <a:lnTo>
                    <a:pt x="28" y="179"/>
                  </a:lnTo>
                  <a:lnTo>
                    <a:pt x="29" y="180"/>
                  </a:lnTo>
                  <a:lnTo>
                    <a:pt x="29" y="181"/>
                  </a:lnTo>
                  <a:lnTo>
                    <a:pt x="30" y="183"/>
                  </a:lnTo>
                  <a:lnTo>
                    <a:pt x="30" y="181"/>
                  </a:lnTo>
                  <a:lnTo>
                    <a:pt x="31" y="180"/>
                  </a:lnTo>
                  <a:lnTo>
                    <a:pt x="33" y="179"/>
                  </a:lnTo>
                  <a:lnTo>
                    <a:pt x="33" y="180"/>
                  </a:lnTo>
                  <a:lnTo>
                    <a:pt x="34" y="179"/>
                  </a:lnTo>
                  <a:lnTo>
                    <a:pt x="34" y="180"/>
                  </a:lnTo>
                  <a:lnTo>
                    <a:pt x="35" y="180"/>
                  </a:lnTo>
                  <a:lnTo>
                    <a:pt x="35" y="178"/>
                  </a:lnTo>
                  <a:lnTo>
                    <a:pt x="34" y="178"/>
                  </a:lnTo>
                  <a:lnTo>
                    <a:pt x="35" y="177"/>
                  </a:lnTo>
                  <a:lnTo>
                    <a:pt x="36" y="177"/>
                  </a:lnTo>
                  <a:lnTo>
                    <a:pt x="36" y="178"/>
                  </a:lnTo>
                  <a:lnTo>
                    <a:pt x="36" y="177"/>
                  </a:lnTo>
                  <a:lnTo>
                    <a:pt x="36" y="175"/>
                  </a:lnTo>
                  <a:lnTo>
                    <a:pt x="36" y="174"/>
                  </a:lnTo>
                  <a:lnTo>
                    <a:pt x="37" y="174"/>
                  </a:lnTo>
                  <a:lnTo>
                    <a:pt x="37" y="175"/>
                  </a:lnTo>
                  <a:lnTo>
                    <a:pt x="39" y="174"/>
                  </a:lnTo>
                  <a:lnTo>
                    <a:pt x="40" y="173"/>
                  </a:lnTo>
                  <a:lnTo>
                    <a:pt x="41" y="172"/>
                  </a:lnTo>
                  <a:lnTo>
                    <a:pt x="41" y="171"/>
                  </a:lnTo>
                  <a:lnTo>
                    <a:pt x="41" y="169"/>
                  </a:lnTo>
                  <a:lnTo>
                    <a:pt x="41" y="171"/>
                  </a:lnTo>
                  <a:lnTo>
                    <a:pt x="41" y="169"/>
                  </a:lnTo>
                  <a:lnTo>
                    <a:pt x="42" y="169"/>
                  </a:lnTo>
                  <a:lnTo>
                    <a:pt x="43" y="168"/>
                  </a:lnTo>
                  <a:lnTo>
                    <a:pt x="43" y="169"/>
                  </a:lnTo>
                  <a:lnTo>
                    <a:pt x="43" y="171"/>
                  </a:lnTo>
                  <a:lnTo>
                    <a:pt x="45" y="169"/>
                  </a:lnTo>
                  <a:lnTo>
                    <a:pt x="45" y="171"/>
                  </a:lnTo>
                  <a:lnTo>
                    <a:pt x="45" y="169"/>
                  </a:lnTo>
                  <a:lnTo>
                    <a:pt x="46" y="171"/>
                  </a:lnTo>
                  <a:lnTo>
                    <a:pt x="46" y="169"/>
                  </a:lnTo>
                  <a:lnTo>
                    <a:pt x="47" y="169"/>
                  </a:lnTo>
                  <a:lnTo>
                    <a:pt x="47" y="171"/>
                  </a:lnTo>
                  <a:lnTo>
                    <a:pt x="47" y="172"/>
                  </a:lnTo>
                  <a:lnTo>
                    <a:pt x="48" y="173"/>
                  </a:lnTo>
                  <a:lnTo>
                    <a:pt x="48" y="174"/>
                  </a:lnTo>
                  <a:lnTo>
                    <a:pt x="48" y="175"/>
                  </a:lnTo>
                  <a:lnTo>
                    <a:pt x="48" y="174"/>
                  </a:lnTo>
                  <a:lnTo>
                    <a:pt x="47" y="174"/>
                  </a:lnTo>
                  <a:lnTo>
                    <a:pt x="47" y="175"/>
                  </a:lnTo>
                  <a:lnTo>
                    <a:pt x="46" y="177"/>
                  </a:lnTo>
                  <a:lnTo>
                    <a:pt x="46" y="175"/>
                  </a:lnTo>
                  <a:lnTo>
                    <a:pt x="46" y="174"/>
                  </a:lnTo>
                  <a:lnTo>
                    <a:pt x="46" y="175"/>
                  </a:lnTo>
                  <a:lnTo>
                    <a:pt x="45" y="175"/>
                  </a:lnTo>
                  <a:lnTo>
                    <a:pt x="45" y="177"/>
                  </a:lnTo>
                  <a:lnTo>
                    <a:pt x="43" y="178"/>
                  </a:lnTo>
                  <a:lnTo>
                    <a:pt x="45" y="179"/>
                  </a:lnTo>
                  <a:lnTo>
                    <a:pt x="43" y="180"/>
                  </a:lnTo>
                  <a:lnTo>
                    <a:pt x="43" y="181"/>
                  </a:lnTo>
                  <a:lnTo>
                    <a:pt x="45" y="180"/>
                  </a:lnTo>
                  <a:lnTo>
                    <a:pt x="45" y="181"/>
                  </a:lnTo>
                  <a:lnTo>
                    <a:pt x="46" y="180"/>
                  </a:lnTo>
                  <a:lnTo>
                    <a:pt x="47" y="181"/>
                  </a:lnTo>
                  <a:lnTo>
                    <a:pt x="47" y="180"/>
                  </a:lnTo>
                  <a:lnTo>
                    <a:pt x="47" y="181"/>
                  </a:lnTo>
                  <a:lnTo>
                    <a:pt x="48" y="181"/>
                  </a:lnTo>
                  <a:lnTo>
                    <a:pt x="48" y="183"/>
                  </a:lnTo>
                  <a:lnTo>
                    <a:pt x="50" y="181"/>
                  </a:lnTo>
                  <a:lnTo>
                    <a:pt x="50" y="180"/>
                  </a:lnTo>
                  <a:lnTo>
                    <a:pt x="51" y="179"/>
                  </a:lnTo>
                  <a:lnTo>
                    <a:pt x="51" y="178"/>
                  </a:lnTo>
                  <a:lnTo>
                    <a:pt x="51" y="179"/>
                  </a:lnTo>
                  <a:lnTo>
                    <a:pt x="51" y="180"/>
                  </a:lnTo>
                  <a:lnTo>
                    <a:pt x="52" y="180"/>
                  </a:lnTo>
                  <a:lnTo>
                    <a:pt x="52" y="178"/>
                  </a:lnTo>
                  <a:lnTo>
                    <a:pt x="52" y="179"/>
                  </a:lnTo>
                  <a:lnTo>
                    <a:pt x="53" y="179"/>
                  </a:lnTo>
                  <a:lnTo>
                    <a:pt x="53" y="180"/>
                  </a:lnTo>
                  <a:lnTo>
                    <a:pt x="53" y="179"/>
                  </a:lnTo>
                  <a:lnTo>
                    <a:pt x="54" y="178"/>
                  </a:lnTo>
                  <a:lnTo>
                    <a:pt x="54" y="177"/>
                  </a:lnTo>
                  <a:lnTo>
                    <a:pt x="54" y="179"/>
                  </a:lnTo>
                  <a:lnTo>
                    <a:pt x="54" y="177"/>
                  </a:lnTo>
                  <a:lnTo>
                    <a:pt x="54" y="175"/>
                  </a:lnTo>
                  <a:lnTo>
                    <a:pt x="54" y="174"/>
                  </a:lnTo>
                  <a:lnTo>
                    <a:pt x="54" y="173"/>
                  </a:lnTo>
                  <a:lnTo>
                    <a:pt x="54" y="172"/>
                  </a:lnTo>
                  <a:lnTo>
                    <a:pt x="56" y="171"/>
                  </a:lnTo>
                  <a:lnTo>
                    <a:pt x="57" y="169"/>
                  </a:lnTo>
                  <a:lnTo>
                    <a:pt x="57" y="171"/>
                  </a:lnTo>
                  <a:lnTo>
                    <a:pt x="57" y="169"/>
                  </a:lnTo>
                  <a:lnTo>
                    <a:pt x="57" y="168"/>
                  </a:lnTo>
                  <a:lnTo>
                    <a:pt x="58" y="167"/>
                  </a:lnTo>
                  <a:lnTo>
                    <a:pt x="59" y="166"/>
                  </a:lnTo>
                  <a:lnTo>
                    <a:pt x="59" y="165"/>
                  </a:lnTo>
                  <a:lnTo>
                    <a:pt x="60" y="165"/>
                  </a:lnTo>
                  <a:lnTo>
                    <a:pt x="60" y="163"/>
                  </a:lnTo>
                  <a:lnTo>
                    <a:pt x="62" y="162"/>
                  </a:lnTo>
                  <a:lnTo>
                    <a:pt x="63" y="163"/>
                  </a:lnTo>
                  <a:lnTo>
                    <a:pt x="64" y="163"/>
                  </a:lnTo>
                  <a:lnTo>
                    <a:pt x="64" y="162"/>
                  </a:lnTo>
                  <a:lnTo>
                    <a:pt x="65" y="162"/>
                  </a:lnTo>
                  <a:lnTo>
                    <a:pt x="65" y="163"/>
                  </a:lnTo>
                  <a:lnTo>
                    <a:pt x="64" y="166"/>
                  </a:lnTo>
                  <a:lnTo>
                    <a:pt x="63" y="167"/>
                  </a:lnTo>
                  <a:lnTo>
                    <a:pt x="63" y="168"/>
                  </a:lnTo>
                  <a:lnTo>
                    <a:pt x="62" y="171"/>
                  </a:lnTo>
                  <a:lnTo>
                    <a:pt x="60" y="172"/>
                  </a:lnTo>
                  <a:lnTo>
                    <a:pt x="60" y="173"/>
                  </a:lnTo>
                  <a:lnTo>
                    <a:pt x="60" y="174"/>
                  </a:lnTo>
                  <a:lnTo>
                    <a:pt x="60" y="175"/>
                  </a:lnTo>
                  <a:lnTo>
                    <a:pt x="60" y="174"/>
                  </a:lnTo>
                  <a:lnTo>
                    <a:pt x="62" y="174"/>
                  </a:lnTo>
                  <a:lnTo>
                    <a:pt x="62" y="175"/>
                  </a:lnTo>
                  <a:lnTo>
                    <a:pt x="62" y="178"/>
                  </a:lnTo>
                  <a:lnTo>
                    <a:pt x="62" y="179"/>
                  </a:lnTo>
                  <a:lnTo>
                    <a:pt x="62" y="180"/>
                  </a:lnTo>
                  <a:lnTo>
                    <a:pt x="62" y="179"/>
                  </a:lnTo>
                  <a:lnTo>
                    <a:pt x="62" y="178"/>
                  </a:lnTo>
                  <a:lnTo>
                    <a:pt x="63" y="178"/>
                  </a:lnTo>
                  <a:lnTo>
                    <a:pt x="63" y="179"/>
                  </a:lnTo>
                  <a:lnTo>
                    <a:pt x="64" y="179"/>
                  </a:lnTo>
                  <a:lnTo>
                    <a:pt x="63" y="178"/>
                  </a:lnTo>
                  <a:lnTo>
                    <a:pt x="63" y="177"/>
                  </a:lnTo>
                  <a:lnTo>
                    <a:pt x="64" y="177"/>
                  </a:lnTo>
                  <a:lnTo>
                    <a:pt x="64" y="178"/>
                  </a:lnTo>
                  <a:lnTo>
                    <a:pt x="65" y="177"/>
                  </a:lnTo>
                  <a:lnTo>
                    <a:pt x="65" y="178"/>
                  </a:lnTo>
                  <a:lnTo>
                    <a:pt x="66" y="179"/>
                  </a:lnTo>
                  <a:lnTo>
                    <a:pt x="66" y="180"/>
                  </a:lnTo>
                  <a:lnTo>
                    <a:pt x="66" y="179"/>
                  </a:lnTo>
                  <a:lnTo>
                    <a:pt x="68" y="179"/>
                  </a:lnTo>
                  <a:lnTo>
                    <a:pt x="69" y="179"/>
                  </a:lnTo>
                  <a:lnTo>
                    <a:pt x="68" y="180"/>
                  </a:lnTo>
                  <a:lnTo>
                    <a:pt x="68" y="181"/>
                  </a:lnTo>
                  <a:lnTo>
                    <a:pt x="68" y="183"/>
                  </a:lnTo>
                  <a:lnTo>
                    <a:pt x="69" y="181"/>
                  </a:lnTo>
                  <a:lnTo>
                    <a:pt x="69" y="180"/>
                  </a:lnTo>
                  <a:lnTo>
                    <a:pt x="70" y="183"/>
                  </a:lnTo>
                  <a:lnTo>
                    <a:pt x="70" y="181"/>
                  </a:lnTo>
                  <a:lnTo>
                    <a:pt x="70" y="180"/>
                  </a:lnTo>
                  <a:lnTo>
                    <a:pt x="70" y="179"/>
                  </a:lnTo>
                  <a:lnTo>
                    <a:pt x="70" y="178"/>
                  </a:lnTo>
                  <a:lnTo>
                    <a:pt x="70" y="177"/>
                  </a:lnTo>
                  <a:lnTo>
                    <a:pt x="70" y="175"/>
                  </a:lnTo>
                  <a:lnTo>
                    <a:pt x="69" y="175"/>
                  </a:lnTo>
                  <a:lnTo>
                    <a:pt x="69" y="174"/>
                  </a:lnTo>
                  <a:lnTo>
                    <a:pt x="69" y="173"/>
                  </a:lnTo>
                  <a:lnTo>
                    <a:pt x="69" y="172"/>
                  </a:lnTo>
                  <a:lnTo>
                    <a:pt x="68" y="172"/>
                  </a:lnTo>
                  <a:lnTo>
                    <a:pt x="66" y="171"/>
                  </a:lnTo>
                  <a:lnTo>
                    <a:pt x="66" y="169"/>
                  </a:lnTo>
                  <a:lnTo>
                    <a:pt x="68" y="168"/>
                  </a:lnTo>
                  <a:lnTo>
                    <a:pt x="68" y="169"/>
                  </a:lnTo>
                  <a:lnTo>
                    <a:pt x="69" y="171"/>
                  </a:lnTo>
                  <a:lnTo>
                    <a:pt x="70" y="169"/>
                  </a:lnTo>
                  <a:lnTo>
                    <a:pt x="69" y="168"/>
                  </a:lnTo>
                  <a:lnTo>
                    <a:pt x="70" y="168"/>
                  </a:lnTo>
                  <a:lnTo>
                    <a:pt x="70" y="167"/>
                  </a:lnTo>
                  <a:lnTo>
                    <a:pt x="69" y="167"/>
                  </a:lnTo>
                  <a:lnTo>
                    <a:pt x="70" y="166"/>
                  </a:lnTo>
                  <a:lnTo>
                    <a:pt x="71" y="167"/>
                  </a:lnTo>
                  <a:lnTo>
                    <a:pt x="70" y="168"/>
                  </a:lnTo>
                  <a:lnTo>
                    <a:pt x="71" y="167"/>
                  </a:lnTo>
                  <a:lnTo>
                    <a:pt x="71" y="168"/>
                  </a:lnTo>
                  <a:lnTo>
                    <a:pt x="72" y="171"/>
                  </a:lnTo>
                  <a:lnTo>
                    <a:pt x="72" y="169"/>
                  </a:lnTo>
                  <a:lnTo>
                    <a:pt x="74" y="168"/>
                  </a:lnTo>
                  <a:lnTo>
                    <a:pt x="74" y="169"/>
                  </a:lnTo>
                  <a:lnTo>
                    <a:pt x="75" y="168"/>
                  </a:lnTo>
                  <a:lnTo>
                    <a:pt x="74" y="167"/>
                  </a:lnTo>
                  <a:lnTo>
                    <a:pt x="74" y="166"/>
                  </a:lnTo>
                  <a:lnTo>
                    <a:pt x="75" y="167"/>
                  </a:lnTo>
                  <a:lnTo>
                    <a:pt x="75" y="166"/>
                  </a:lnTo>
                  <a:lnTo>
                    <a:pt x="76" y="166"/>
                  </a:lnTo>
                  <a:lnTo>
                    <a:pt x="77" y="167"/>
                  </a:lnTo>
                  <a:lnTo>
                    <a:pt x="77" y="166"/>
                  </a:lnTo>
                  <a:lnTo>
                    <a:pt x="78" y="165"/>
                  </a:lnTo>
                  <a:lnTo>
                    <a:pt x="78" y="166"/>
                  </a:lnTo>
                  <a:lnTo>
                    <a:pt x="78" y="167"/>
                  </a:lnTo>
                  <a:lnTo>
                    <a:pt x="80" y="168"/>
                  </a:lnTo>
                  <a:lnTo>
                    <a:pt x="80" y="167"/>
                  </a:lnTo>
                  <a:lnTo>
                    <a:pt x="80" y="168"/>
                  </a:lnTo>
                  <a:lnTo>
                    <a:pt x="81" y="167"/>
                  </a:lnTo>
                  <a:lnTo>
                    <a:pt x="81" y="166"/>
                  </a:lnTo>
                  <a:lnTo>
                    <a:pt x="81" y="165"/>
                  </a:lnTo>
                  <a:lnTo>
                    <a:pt x="82" y="166"/>
                  </a:lnTo>
                  <a:lnTo>
                    <a:pt x="82" y="165"/>
                  </a:lnTo>
                  <a:lnTo>
                    <a:pt x="82" y="163"/>
                  </a:lnTo>
                  <a:lnTo>
                    <a:pt x="83" y="165"/>
                  </a:lnTo>
                  <a:lnTo>
                    <a:pt x="84" y="163"/>
                  </a:lnTo>
                  <a:lnTo>
                    <a:pt x="86" y="165"/>
                  </a:lnTo>
                  <a:lnTo>
                    <a:pt x="84" y="167"/>
                  </a:lnTo>
                  <a:lnTo>
                    <a:pt x="86" y="167"/>
                  </a:lnTo>
                  <a:lnTo>
                    <a:pt x="87" y="166"/>
                  </a:lnTo>
                  <a:lnTo>
                    <a:pt x="87" y="165"/>
                  </a:lnTo>
                  <a:lnTo>
                    <a:pt x="88" y="165"/>
                  </a:lnTo>
                  <a:lnTo>
                    <a:pt x="88" y="163"/>
                  </a:lnTo>
                  <a:lnTo>
                    <a:pt x="88" y="166"/>
                  </a:lnTo>
                  <a:lnTo>
                    <a:pt x="88" y="167"/>
                  </a:lnTo>
                  <a:lnTo>
                    <a:pt x="88" y="168"/>
                  </a:lnTo>
                  <a:lnTo>
                    <a:pt x="88" y="167"/>
                  </a:lnTo>
                  <a:lnTo>
                    <a:pt x="89" y="167"/>
                  </a:lnTo>
                  <a:lnTo>
                    <a:pt x="89" y="168"/>
                  </a:lnTo>
                  <a:lnTo>
                    <a:pt x="90" y="167"/>
                  </a:lnTo>
                  <a:lnTo>
                    <a:pt x="90" y="166"/>
                  </a:lnTo>
                  <a:lnTo>
                    <a:pt x="90" y="165"/>
                  </a:lnTo>
                  <a:lnTo>
                    <a:pt x="90" y="166"/>
                  </a:lnTo>
                  <a:lnTo>
                    <a:pt x="89" y="166"/>
                  </a:lnTo>
                  <a:lnTo>
                    <a:pt x="88" y="166"/>
                  </a:lnTo>
                  <a:lnTo>
                    <a:pt x="88" y="163"/>
                  </a:lnTo>
                  <a:lnTo>
                    <a:pt x="89" y="163"/>
                  </a:lnTo>
                  <a:lnTo>
                    <a:pt x="89" y="162"/>
                  </a:lnTo>
                  <a:lnTo>
                    <a:pt x="90" y="162"/>
                  </a:lnTo>
                  <a:lnTo>
                    <a:pt x="90" y="161"/>
                  </a:lnTo>
                  <a:lnTo>
                    <a:pt x="92" y="160"/>
                  </a:lnTo>
                  <a:lnTo>
                    <a:pt x="92" y="161"/>
                  </a:lnTo>
                  <a:lnTo>
                    <a:pt x="92" y="163"/>
                  </a:lnTo>
                  <a:lnTo>
                    <a:pt x="92" y="162"/>
                  </a:lnTo>
                  <a:lnTo>
                    <a:pt x="92" y="163"/>
                  </a:lnTo>
                  <a:lnTo>
                    <a:pt x="93" y="165"/>
                  </a:lnTo>
                  <a:lnTo>
                    <a:pt x="92" y="166"/>
                  </a:lnTo>
                  <a:lnTo>
                    <a:pt x="92" y="167"/>
                  </a:lnTo>
                  <a:lnTo>
                    <a:pt x="92" y="168"/>
                  </a:lnTo>
                  <a:lnTo>
                    <a:pt x="93" y="167"/>
                  </a:lnTo>
                  <a:lnTo>
                    <a:pt x="94" y="167"/>
                  </a:lnTo>
                  <a:lnTo>
                    <a:pt x="95" y="167"/>
                  </a:lnTo>
                  <a:lnTo>
                    <a:pt x="96" y="165"/>
                  </a:lnTo>
                  <a:lnTo>
                    <a:pt x="96" y="163"/>
                  </a:lnTo>
                  <a:lnTo>
                    <a:pt x="98" y="163"/>
                  </a:lnTo>
                  <a:lnTo>
                    <a:pt x="98" y="162"/>
                  </a:lnTo>
                  <a:lnTo>
                    <a:pt x="99" y="162"/>
                  </a:lnTo>
                  <a:lnTo>
                    <a:pt x="99" y="163"/>
                  </a:lnTo>
                  <a:lnTo>
                    <a:pt x="99" y="165"/>
                  </a:lnTo>
                  <a:lnTo>
                    <a:pt x="100" y="166"/>
                  </a:lnTo>
                  <a:lnTo>
                    <a:pt x="101" y="165"/>
                  </a:lnTo>
                  <a:lnTo>
                    <a:pt x="100" y="163"/>
                  </a:lnTo>
                  <a:lnTo>
                    <a:pt x="100" y="162"/>
                  </a:lnTo>
                  <a:lnTo>
                    <a:pt x="101" y="163"/>
                  </a:lnTo>
                  <a:lnTo>
                    <a:pt x="104" y="165"/>
                  </a:lnTo>
                  <a:lnTo>
                    <a:pt x="105" y="166"/>
                  </a:lnTo>
                  <a:lnTo>
                    <a:pt x="105" y="167"/>
                  </a:lnTo>
                  <a:lnTo>
                    <a:pt x="104" y="166"/>
                  </a:lnTo>
                  <a:lnTo>
                    <a:pt x="104" y="165"/>
                  </a:lnTo>
                  <a:lnTo>
                    <a:pt x="102" y="166"/>
                  </a:lnTo>
                  <a:lnTo>
                    <a:pt x="102" y="167"/>
                  </a:lnTo>
                  <a:lnTo>
                    <a:pt x="101" y="167"/>
                  </a:lnTo>
                  <a:lnTo>
                    <a:pt x="100" y="167"/>
                  </a:lnTo>
                  <a:lnTo>
                    <a:pt x="100" y="166"/>
                  </a:lnTo>
                  <a:lnTo>
                    <a:pt x="100" y="167"/>
                  </a:lnTo>
                  <a:lnTo>
                    <a:pt x="99" y="168"/>
                  </a:lnTo>
                  <a:lnTo>
                    <a:pt x="99" y="167"/>
                  </a:lnTo>
                  <a:lnTo>
                    <a:pt x="98" y="167"/>
                  </a:lnTo>
                  <a:lnTo>
                    <a:pt x="96" y="167"/>
                  </a:lnTo>
                  <a:lnTo>
                    <a:pt x="96" y="168"/>
                  </a:lnTo>
                  <a:lnTo>
                    <a:pt x="98" y="168"/>
                  </a:lnTo>
                  <a:lnTo>
                    <a:pt x="98" y="169"/>
                  </a:lnTo>
                  <a:lnTo>
                    <a:pt x="96" y="171"/>
                  </a:lnTo>
                  <a:lnTo>
                    <a:pt x="95" y="171"/>
                  </a:lnTo>
                  <a:lnTo>
                    <a:pt x="96" y="171"/>
                  </a:lnTo>
                  <a:lnTo>
                    <a:pt x="96" y="172"/>
                  </a:lnTo>
                  <a:lnTo>
                    <a:pt x="98" y="171"/>
                  </a:lnTo>
                  <a:lnTo>
                    <a:pt x="98" y="169"/>
                  </a:lnTo>
                  <a:lnTo>
                    <a:pt x="99" y="171"/>
                  </a:lnTo>
                  <a:lnTo>
                    <a:pt x="99" y="172"/>
                  </a:lnTo>
                  <a:lnTo>
                    <a:pt x="100" y="171"/>
                  </a:lnTo>
                  <a:lnTo>
                    <a:pt x="100" y="172"/>
                  </a:lnTo>
                  <a:lnTo>
                    <a:pt x="101" y="171"/>
                  </a:lnTo>
                  <a:lnTo>
                    <a:pt x="102" y="171"/>
                  </a:lnTo>
                  <a:lnTo>
                    <a:pt x="104" y="171"/>
                  </a:lnTo>
                  <a:lnTo>
                    <a:pt x="104" y="172"/>
                  </a:lnTo>
                  <a:lnTo>
                    <a:pt x="102" y="172"/>
                  </a:lnTo>
                  <a:lnTo>
                    <a:pt x="101" y="172"/>
                  </a:lnTo>
                  <a:lnTo>
                    <a:pt x="100" y="173"/>
                  </a:lnTo>
                  <a:lnTo>
                    <a:pt x="100" y="174"/>
                  </a:lnTo>
                  <a:lnTo>
                    <a:pt x="101" y="173"/>
                  </a:lnTo>
                  <a:lnTo>
                    <a:pt x="101" y="174"/>
                  </a:lnTo>
                  <a:lnTo>
                    <a:pt x="101" y="175"/>
                  </a:lnTo>
                  <a:lnTo>
                    <a:pt x="102" y="174"/>
                  </a:lnTo>
                  <a:lnTo>
                    <a:pt x="102" y="173"/>
                  </a:lnTo>
                  <a:lnTo>
                    <a:pt x="102" y="174"/>
                  </a:lnTo>
                  <a:lnTo>
                    <a:pt x="102" y="175"/>
                  </a:lnTo>
                  <a:lnTo>
                    <a:pt x="102" y="177"/>
                  </a:lnTo>
                  <a:lnTo>
                    <a:pt x="102" y="178"/>
                  </a:lnTo>
                  <a:lnTo>
                    <a:pt x="104" y="178"/>
                  </a:lnTo>
                  <a:lnTo>
                    <a:pt x="104" y="179"/>
                  </a:lnTo>
                  <a:lnTo>
                    <a:pt x="104" y="178"/>
                  </a:lnTo>
                  <a:lnTo>
                    <a:pt x="105" y="177"/>
                  </a:lnTo>
                  <a:lnTo>
                    <a:pt x="105" y="175"/>
                  </a:lnTo>
                  <a:lnTo>
                    <a:pt x="105" y="174"/>
                  </a:lnTo>
                  <a:lnTo>
                    <a:pt x="105" y="173"/>
                  </a:lnTo>
                  <a:lnTo>
                    <a:pt x="105" y="171"/>
                  </a:lnTo>
                  <a:lnTo>
                    <a:pt x="105" y="167"/>
                  </a:lnTo>
                  <a:lnTo>
                    <a:pt x="105" y="166"/>
                  </a:lnTo>
                  <a:lnTo>
                    <a:pt x="107" y="168"/>
                  </a:lnTo>
                  <a:lnTo>
                    <a:pt x="113" y="172"/>
                  </a:lnTo>
                  <a:lnTo>
                    <a:pt x="116" y="183"/>
                  </a:lnTo>
                  <a:lnTo>
                    <a:pt x="118" y="195"/>
                  </a:lnTo>
                  <a:lnTo>
                    <a:pt x="119" y="207"/>
                  </a:lnTo>
                  <a:lnTo>
                    <a:pt x="119" y="213"/>
                  </a:lnTo>
                  <a:lnTo>
                    <a:pt x="121" y="222"/>
                  </a:lnTo>
                  <a:lnTo>
                    <a:pt x="123" y="227"/>
                  </a:lnTo>
                  <a:lnTo>
                    <a:pt x="123" y="233"/>
                  </a:lnTo>
                  <a:lnTo>
                    <a:pt x="122" y="234"/>
                  </a:lnTo>
                  <a:lnTo>
                    <a:pt x="123" y="237"/>
                  </a:lnTo>
                  <a:lnTo>
                    <a:pt x="122" y="243"/>
                  </a:lnTo>
                  <a:lnTo>
                    <a:pt x="119" y="252"/>
                  </a:lnTo>
                  <a:lnTo>
                    <a:pt x="118" y="260"/>
                  </a:lnTo>
                  <a:lnTo>
                    <a:pt x="117" y="266"/>
                  </a:lnTo>
                  <a:lnTo>
                    <a:pt x="133" y="26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4" name="Freeform 67"/>
            <p:cNvSpPr>
              <a:spLocks/>
            </p:cNvSpPr>
            <p:nvPr userDrawn="1"/>
          </p:nvSpPr>
          <p:spPr bwMode="auto">
            <a:xfrm>
              <a:off x="6640513" y="6230938"/>
              <a:ext cx="80963" cy="246063"/>
            </a:xfrm>
            <a:custGeom>
              <a:avLst/>
              <a:gdLst/>
              <a:ahLst/>
              <a:cxnLst>
                <a:cxn ang="0">
                  <a:pos x="228" y="160"/>
                </a:cxn>
                <a:cxn ang="0">
                  <a:pos x="227" y="154"/>
                </a:cxn>
                <a:cxn ang="0">
                  <a:pos x="195" y="150"/>
                </a:cxn>
                <a:cxn ang="0">
                  <a:pos x="193" y="143"/>
                </a:cxn>
                <a:cxn ang="0">
                  <a:pos x="203" y="102"/>
                </a:cxn>
                <a:cxn ang="0">
                  <a:pos x="196" y="89"/>
                </a:cxn>
                <a:cxn ang="0">
                  <a:pos x="163" y="83"/>
                </a:cxn>
                <a:cxn ang="0">
                  <a:pos x="163" y="64"/>
                </a:cxn>
                <a:cxn ang="0">
                  <a:pos x="160" y="63"/>
                </a:cxn>
                <a:cxn ang="0">
                  <a:pos x="167" y="51"/>
                </a:cxn>
                <a:cxn ang="0">
                  <a:pos x="169" y="37"/>
                </a:cxn>
                <a:cxn ang="0">
                  <a:pos x="166" y="23"/>
                </a:cxn>
                <a:cxn ang="0">
                  <a:pos x="158" y="11"/>
                </a:cxn>
                <a:cxn ang="0">
                  <a:pos x="146" y="2"/>
                </a:cxn>
                <a:cxn ang="0">
                  <a:pos x="139" y="1"/>
                </a:cxn>
                <a:cxn ang="0">
                  <a:pos x="132" y="0"/>
                </a:cxn>
                <a:cxn ang="0">
                  <a:pos x="118" y="2"/>
                </a:cxn>
                <a:cxn ang="0">
                  <a:pos x="105" y="11"/>
                </a:cxn>
                <a:cxn ang="0">
                  <a:pos x="97" y="23"/>
                </a:cxn>
                <a:cxn ang="0">
                  <a:pos x="95" y="30"/>
                </a:cxn>
                <a:cxn ang="0">
                  <a:pos x="95" y="37"/>
                </a:cxn>
                <a:cxn ang="0">
                  <a:pos x="97" y="51"/>
                </a:cxn>
                <a:cxn ang="0">
                  <a:pos x="99" y="57"/>
                </a:cxn>
                <a:cxn ang="0">
                  <a:pos x="103" y="61"/>
                </a:cxn>
                <a:cxn ang="0">
                  <a:pos x="95" y="64"/>
                </a:cxn>
                <a:cxn ang="0">
                  <a:pos x="95" y="83"/>
                </a:cxn>
                <a:cxn ang="0">
                  <a:pos x="62" y="89"/>
                </a:cxn>
                <a:cxn ang="0">
                  <a:pos x="55" y="102"/>
                </a:cxn>
                <a:cxn ang="0">
                  <a:pos x="66" y="143"/>
                </a:cxn>
                <a:cxn ang="0">
                  <a:pos x="63" y="150"/>
                </a:cxn>
                <a:cxn ang="0">
                  <a:pos x="31" y="154"/>
                </a:cxn>
                <a:cxn ang="0">
                  <a:pos x="31" y="160"/>
                </a:cxn>
                <a:cxn ang="0">
                  <a:pos x="10" y="162"/>
                </a:cxn>
                <a:cxn ang="0">
                  <a:pos x="0" y="166"/>
                </a:cxn>
                <a:cxn ang="0">
                  <a:pos x="0" y="186"/>
                </a:cxn>
                <a:cxn ang="0">
                  <a:pos x="0" y="190"/>
                </a:cxn>
                <a:cxn ang="0">
                  <a:pos x="48" y="272"/>
                </a:cxn>
                <a:cxn ang="0">
                  <a:pos x="91" y="272"/>
                </a:cxn>
                <a:cxn ang="0">
                  <a:pos x="95" y="483"/>
                </a:cxn>
                <a:cxn ang="0">
                  <a:pos x="95" y="629"/>
                </a:cxn>
                <a:cxn ang="0">
                  <a:pos x="93" y="678"/>
                </a:cxn>
                <a:cxn ang="0">
                  <a:pos x="92" y="691"/>
                </a:cxn>
                <a:cxn ang="0">
                  <a:pos x="91" y="696"/>
                </a:cxn>
                <a:cxn ang="0">
                  <a:pos x="86" y="699"/>
                </a:cxn>
                <a:cxn ang="0">
                  <a:pos x="83" y="701"/>
                </a:cxn>
                <a:cxn ang="0">
                  <a:pos x="80" y="706"/>
                </a:cxn>
                <a:cxn ang="0">
                  <a:pos x="80" y="774"/>
                </a:cxn>
                <a:cxn ang="0">
                  <a:pos x="130" y="774"/>
                </a:cxn>
                <a:cxn ang="0">
                  <a:pos x="179" y="774"/>
                </a:cxn>
                <a:cxn ang="0">
                  <a:pos x="179" y="706"/>
                </a:cxn>
                <a:cxn ang="0">
                  <a:pos x="175" y="701"/>
                </a:cxn>
                <a:cxn ang="0">
                  <a:pos x="172" y="699"/>
                </a:cxn>
                <a:cxn ang="0">
                  <a:pos x="167" y="696"/>
                </a:cxn>
                <a:cxn ang="0">
                  <a:pos x="164" y="678"/>
                </a:cxn>
                <a:cxn ang="0">
                  <a:pos x="163" y="629"/>
                </a:cxn>
                <a:cxn ang="0">
                  <a:pos x="164" y="483"/>
                </a:cxn>
                <a:cxn ang="0">
                  <a:pos x="167" y="272"/>
                </a:cxn>
                <a:cxn ang="0">
                  <a:pos x="210" y="272"/>
                </a:cxn>
                <a:cxn ang="0">
                  <a:pos x="258" y="190"/>
                </a:cxn>
                <a:cxn ang="0">
                  <a:pos x="258" y="186"/>
                </a:cxn>
                <a:cxn ang="0">
                  <a:pos x="258" y="166"/>
                </a:cxn>
                <a:cxn ang="0">
                  <a:pos x="248" y="162"/>
                </a:cxn>
                <a:cxn ang="0">
                  <a:pos x="228" y="160"/>
                </a:cxn>
              </a:cxnLst>
              <a:rect l="0" t="0" r="r" b="b"/>
              <a:pathLst>
                <a:path w="258" h="774">
                  <a:moveTo>
                    <a:pt x="228" y="160"/>
                  </a:moveTo>
                  <a:lnTo>
                    <a:pt x="227" y="154"/>
                  </a:lnTo>
                  <a:lnTo>
                    <a:pt x="195" y="150"/>
                  </a:lnTo>
                  <a:lnTo>
                    <a:pt x="193" y="143"/>
                  </a:lnTo>
                  <a:lnTo>
                    <a:pt x="203" y="102"/>
                  </a:lnTo>
                  <a:lnTo>
                    <a:pt x="196" y="89"/>
                  </a:lnTo>
                  <a:lnTo>
                    <a:pt x="163" y="83"/>
                  </a:lnTo>
                  <a:lnTo>
                    <a:pt x="163" y="64"/>
                  </a:lnTo>
                  <a:lnTo>
                    <a:pt x="160" y="63"/>
                  </a:lnTo>
                  <a:lnTo>
                    <a:pt x="167" y="51"/>
                  </a:lnTo>
                  <a:lnTo>
                    <a:pt x="169" y="37"/>
                  </a:lnTo>
                  <a:lnTo>
                    <a:pt x="166" y="23"/>
                  </a:lnTo>
                  <a:lnTo>
                    <a:pt x="158" y="11"/>
                  </a:lnTo>
                  <a:lnTo>
                    <a:pt x="146" y="2"/>
                  </a:lnTo>
                  <a:lnTo>
                    <a:pt x="139" y="1"/>
                  </a:lnTo>
                  <a:lnTo>
                    <a:pt x="132" y="0"/>
                  </a:lnTo>
                  <a:lnTo>
                    <a:pt x="118" y="2"/>
                  </a:lnTo>
                  <a:lnTo>
                    <a:pt x="105" y="11"/>
                  </a:lnTo>
                  <a:lnTo>
                    <a:pt x="97" y="23"/>
                  </a:lnTo>
                  <a:lnTo>
                    <a:pt x="95" y="30"/>
                  </a:lnTo>
                  <a:lnTo>
                    <a:pt x="95" y="37"/>
                  </a:lnTo>
                  <a:lnTo>
                    <a:pt x="97" y="51"/>
                  </a:lnTo>
                  <a:lnTo>
                    <a:pt x="99" y="57"/>
                  </a:lnTo>
                  <a:lnTo>
                    <a:pt x="103" y="61"/>
                  </a:lnTo>
                  <a:lnTo>
                    <a:pt x="95" y="64"/>
                  </a:lnTo>
                  <a:lnTo>
                    <a:pt x="95" y="83"/>
                  </a:lnTo>
                  <a:lnTo>
                    <a:pt x="62" y="89"/>
                  </a:lnTo>
                  <a:lnTo>
                    <a:pt x="55" y="102"/>
                  </a:lnTo>
                  <a:lnTo>
                    <a:pt x="66" y="143"/>
                  </a:lnTo>
                  <a:lnTo>
                    <a:pt x="63" y="150"/>
                  </a:lnTo>
                  <a:lnTo>
                    <a:pt x="31" y="154"/>
                  </a:lnTo>
                  <a:lnTo>
                    <a:pt x="31" y="160"/>
                  </a:lnTo>
                  <a:lnTo>
                    <a:pt x="10" y="162"/>
                  </a:lnTo>
                  <a:lnTo>
                    <a:pt x="0" y="166"/>
                  </a:lnTo>
                  <a:lnTo>
                    <a:pt x="0" y="186"/>
                  </a:lnTo>
                  <a:lnTo>
                    <a:pt x="0" y="190"/>
                  </a:lnTo>
                  <a:lnTo>
                    <a:pt x="48" y="272"/>
                  </a:lnTo>
                  <a:lnTo>
                    <a:pt x="91" y="272"/>
                  </a:lnTo>
                  <a:lnTo>
                    <a:pt x="95" y="483"/>
                  </a:lnTo>
                  <a:lnTo>
                    <a:pt x="95" y="629"/>
                  </a:lnTo>
                  <a:lnTo>
                    <a:pt x="93" y="678"/>
                  </a:lnTo>
                  <a:lnTo>
                    <a:pt x="92" y="691"/>
                  </a:lnTo>
                  <a:lnTo>
                    <a:pt x="91" y="696"/>
                  </a:lnTo>
                  <a:lnTo>
                    <a:pt x="86" y="699"/>
                  </a:lnTo>
                  <a:lnTo>
                    <a:pt x="83" y="701"/>
                  </a:lnTo>
                  <a:lnTo>
                    <a:pt x="80" y="706"/>
                  </a:lnTo>
                  <a:lnTo>
                    <a:pt x="80" y="774"/>
                  </a:lnTo>
                  <a:lnTo>
                    <a:pt x="130" y="774"/>
                  </a:lnTo>
                  <a:lnTo>
                    <a:pt x="179" y="774"/>
                  </a:lnTo>
                  <a:lnTo>
                    <a:pt x="179" y="706"/>
                  </a:lnTo>
                  <a:lnTo>
                    <a:pt x="175" y="701"/>
                  </a:lnTo>
                  <a:lnTo>
                    <a:pt x="172" y="699"/>
                  </a:lnTo>
                  <a:lnTo>
                    <a:pt x="167" y="696"/>
                  </a:lnTo>
                  <a:lnTo>
                    <a:pt x="164" y="678"/>
                  </a:lnTo>
                  <a:lnTo>
                    <a:pt x="163" y="629"/>
                  </a:lnTo>
                  <a:lnTo>
                    <a:pt x="164" y="483"/>
                  </a:lnTo>
                  <a:lnTo>
                    <a:pt x="167" y="272"/>
                  </a:lnTo>
                  <a:lnTo>
                    <a:pt x="210" y="272"/>
                  </a:lnTo>
                  <a:lnTo>
                    <a:pt x="258" y="190"/>
                  </a:lnTo>
                  <a:lnTo>
                    <a:pt x="258" y="186"/>
                  </a:lnTo>
                  <a:lnTo>
                    <a:pt x="258" y="166"/>
                  </a:lnTo>
                  <a:lnTo>
                    <a:pt x="248" y="162"/>
                  </a:lnTo>
                  <a:lnTo>
                    <a:pt x="228" y="160"/>
                  </a:ln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5" name="Freeform 68"/>
            <p:cNvSpPr>
              <a:spLocks/>
            </p:cNvSpPr>
            <p:nvPr userDrawn="1"/>
          </p:nvSpPr>
          <p:spPr bwMode="auto">
            <a:xfrm>
              <a:off x="5983288" y="6507163"/>
              <a:ext cx="96838" cy="104775"/>
            </a:xfrm>
            <a:custGeom>
              <a:avLst/>
              <a:gdLst/>
              <a:ahLst/>
              <a:cxnLst>
                <a:cxn ang="0">
                  <a:pos x="274" y="146"/>
                </a:cxn>
                <a:cxn ang="0">
                  <a:pos x="258" y="129"/>
                </a:cxn>
                <a:cxn ang="0">
                  <a:pos x="228" y="113"/>
                </a:cxn>
                <a:cxn ang="0">
                  <a:pos x="221" y="109"/>
                </a:cxn>
                <a:cxn ang="0">
                  <a:pos x="241" y="107"/>
                </a:cxn>
                <a:cxn ang="0">
                  <a:pos x="248" y="92"/>
                </a:cxn>
                <a:cxn ang="0">
                  <a:pos x="244" y="77"/>
                </a:cxn>
                <a:cxn ang="0">
                  <a:pos x="228" y="61"/>
                </a:cxn>
                <a:cxn ang="0">
                  <a:pos x="215" y="50"/>
                </a:cxn>
                <a:cxn ang="0">
                  <a:pos x="195" y="55"/>
                </a:cxn>
                <a:cxn ang="0">
                  <a:pos x="182" y="58"/>
                </a:cxn>
                <a:cxn ang="0">
                  <a:pos x="162" y="71"/>
                </a:cxn>
                <a:cxn ang="0">
                  <a:pos x="150" y="83"/>
                </a:cxn>
                <a:cxn ang="0">
                  <a:pos x="164" y="65"/>
                </a:cxn>
                <a:cxn ang="0">
                  <a:pos x="179" y="59"/>
                </a:cxn>
                <a:cxn ang="0">
                  <a:pos x="200" y="45"/>
                </a:cxn>
                <a:cxn ang="0">
                  <a:pos x="192" y="23"/>
                </a:cxn>
                <a:cxn ang="0">
                  <a:pos x="181" y="14"/>
                </a:cxn>
                <a:cxn ang="0">
                  <a:pos x="165" y="10"/>
                </a:cxn>
                <a:cxn ang="0">
                  <a:pos x="147" y="16"/>
                </a:cxn>
                <a:cxn ang="0">
                  <a:pos x="134" y="9"/>
                </a:cxn>
                <a:cxn ang="0">
                  <a:pos x="122" y="18"/>
                </a:cxn>
                <a:cxn ang="0">
                  <a:pos x="109" y="23"/>
                </a:cxn>
                <a:cxn ang="0">
                  <a:pos x="97" y="29"/>
                </a:cxn>
                <a:cxn ang="0">
                  <a:pos x="93" y="40"/>
                </a:cxn>
                <a:cxn ang="0">
                  <a:pos x="80" y="57"/>
                </a:cxn>
                <a:cxn ang="0">
                  <a:pos x="62" y="71"/>
                </a:cxn>
                <a:cxn ang="0">
                  <a:pos x="52" y="83"/>
                </a:cxn>
                <a:cxn ang="0">
                  <a:pos x="32" y="97"/>
                </a:cxn>
                <a:cxn ang="0">
                  <a:pos x="23" y="127"/>
                </a:cxn>
                <a:cxn ang="0">
                  <a:pos x="56" y="130"/>
                </a:cxn>
                <a:cxn ang="0">
                  <a:pos x="25" y="159"/>
                </a:cxn>
                <a:cxn ang="0">
                  <a:pos x="34" y="170"/>
                </a:cxn>
                <a:cxn ang="0">
                  <a:pos x="63" y="158"/>
                </a:cxn>
                <a:cxn ang="0">
                  <a:pos x="56" y="168"/>
                </a:cxn>
                <a:cxn ang="0">
                  <a:pos x="23" y="194"/>
                </a:cxn>
                <a:cxn ang="0">
                  <a:pos x="6" y="232"/>
                </a:cxn>
                <a:cxn ang="0">
                  <a:pos x="31" y="230"/>
                </a:cxn>
                <a:cxn ang="0">
                  <a:pos x="46" y="249"/>
                </a:cxn>
                <a:cxn ang="0">
                  <a:pos x="52" y="251"/>
                </a:cxn>
                <a:cxn ang="0">
                  <a:pos x="57" y="238"/>
                </a:cxn>
                <a:cxn ang="0">
                  <a:pos x="103" y="238"/>
                </a:cxn>
                <a:cxn ang="0">
                  <a:pos x="63" y="257"/>
                </a:cxn>
                <a:cxn ang="0">
                  <a:pos x="71" y="271"/>
                </a:cxn>
                <a:cxn ang="0">
                  <a:pos x="87" y="258"/>
                </a:cxn>
                <a:cxn ang="0">
                  <a:pos x="118" y="267"/>
                </a:cxn>
                <a:cxn ang="0">
                  <a:pos x="129" y="288"/>
                </a:cxn>
                <a:cxn ang="0">
                  <a:pos x="199" y="270"/>
                </a:cxn>
                <a:cxn ang="0">
                  <a:pos x="233" y="272"/>
                </a:cxn>
                <a:cxn ang="0">
                  <a:pos x="198" y="269"/>
                </a:cxn>
                <a:cxn ang="0">
                  <a:pos x="173" y="251"/>
                </a:cxn>
                <a:cxn ang="0">
                  <a:pos x="189" y="247"/>
                </a:cxn>
                <a:cxn ang="0">
                  <a:pos x="216" y="253"/>
                </a:cxn>
                <a:cxn ang="0">
                  <a:pos x="238" y="252"/>
                </a:cxn>
                <a:cxn ang="0">
                  <a:pos x="263" y="231"/>
                </a:cxn>
                <a:cxn ang="0">
                  <a:pos x="232" y="219"/>
                </a:cxn>
                <a:cxn ang="0">
                  <a:pos x="209" y="204"/>
                </a:cxn>
                <a:cxn ang="0">
                  <a:pos x="226" y="204"/>
                </a:cxn>
                <a:cxn ang="0">
                  <a:pos x="211" y="181"/>
                </a:cxn>
                <a:cxn ang="0">
                  <a:pos x="242" y="198"/>
                </a:cxn>
                <a:cxn ang="0">
                  <a:pos x="277" y="212"/>
                </a:cxn>
                <a:cxn ang="0">
                  <a:pos x="257" y="182"/>
                </a:cxn>
                <a:cxn ang="0">
                  <a:pos x="283" y="172"/>
                </a:cxn>
              </a:cxnLst>
              <a:rect l="0" t="0" r="r" b="b"/>
              <a:pathLst>
                <a:path w="305" h="329">
                  <a:moveTo>
                    <a:pt x="303" y="156"/>
                  </a:moveTo>
                  <a:lnTo>
                    <a:pt x="304" y="156"/>
                  </a:lnTo>
                  <a:lnTo>
                    <a:pt x="303" y="156"/>
                  </a:lnTo>
                  <a:lnTo>
                    <a:pt x="301" y="156"/>
                  </a:lnTo>
                  <a:lnTo>
                    <a:pt x="300" y="156"/>
                  </a:lnTo>
                  <a:lnTo>
                    <a:pt x="300" y="154"/>
                  </a:lnTo>
                  <a:lnTo>
                    <a:pt x="299" y="154"/>
                  </a:lnTo>
                  <a:lnTo>
                    <a:pt x="299" y="156"/>
                  </a:lnTo>
                  <a:lnTo>
                    <a:pt x="299" y="157"/>
                  </a:lnTo>
                  <a:lnTo>
                    <a:pt x="297" y="157"/>
                  </a:lnTo>
                  <a:lnTo>
                    <a:pt x="298" y="156"/>
                  </a:lnTo>
                  <a:lnTo>
                    <a:pt x="298" y="154"/>
                  </a:lnTo>
                  <a:lnTo>
                    <a:pt x="299" y="153"/>
                  </a:lnTo>
                  <a:lnTo>
                    <a:pt x="298" y="153"/>
                  </a:lnTo>
                  <a:lnTo>
                    <a:pt x="297" y="153"/>
                  </a:lnTo>
                  <a:lnTo>
                    <a:pt x="297" y="154"/>
                  </a:lnTo>
                  <a:lnTo>
                    <a:pt x="295" y="156"/>
                  </a:lnTo>
                  <a:lnTo>
                    <a:pt x="294" y="156"/>
                  </a:lnTo>
                  <a:lnTo>
                    <a:pt x="294" y="157"/>
                  </a:lnTo>
                  <a:lnTo>
                    <a:pt x="293" y="157"/>
                  </a:lnTo>
                  <a:lnTo>
                    <a:pt x="293" y="156"/>
                  </a:lnTo>
                  <a:lnTo>
                    <a:pt x="292" y="154"/>
                  </a:lnTo>
                  <a:lnTo>
                    <a:pt x="291" y="156"/>
                  </a:lnTo>
                  <a:lnTo>
                    <a:pt x="289" y="156"/>
                  </a:lnTo>
                  <a:lnTo>
                    <a:pt x="291" y="154"/>
                  </a:lnTo>
                  <a:lnTo>
                    <a:pt x="291" y="153"/>
                  </a:lnTo>
                  <a:lnTo>
                    <a:pt x="292" y="152"/>
                  </a:lnTo>
                  <a:lnTo>
                    <a:pt x="292" y="150"/>
                  </a:lnTo>
                  <a:lnTo>
                    <a:pt x="291" y="151"/>
                  </a:lnTo>
                  <a:lnTo>
                    <a:pt x="291" y="150"/>
                  </a:lnTo>
                  <a:lnTo>
                    <a:pt x="289" y="151"/>
                  </a:lnTo>
                  <a:lnTo>
                    <a:pt x="289" y="152"/>
                  </a:lnTo>
                  <a:lnTo>
                    <a:pt x="288" y="152"/>
                  </a:lnTo>
                  <a:lnTo>
                    <a:pt x="287" y="153"/>
                  </a:lnTo>
                  <a:lnTo>
                    <a:pt x="287" y="152"/>
                  </a:lnTo>
                  <a:lnTo>
                    <a:pt x="286" y="152"/>
                  </a:lnTo>
                  <a:lnTo>
                    <a:pt x="286" y="151"/>
                  </a:lnTo>
                  <a:lnTo>
                    <a:pt x="285" y="148"/>
                  </a:lnTo>
                  <a:lnTo>
                    <a:pt x="283" y="148"/>
                  </a:lnTo>
                  <a:lnTo>
                    <a:pt x="282" y="148"/>
                  </a:lnTo>
                  <a:lnTo>
                    <a:pt x="282" y="147"/>
                  </a:lnTo>
                  <a:lnTo>
                    <a:pt x="283" y="146"/>
                  </a:lnTo>
                  <a:lnTo>
                    <a:pt x="282" y="146"/>
                  </a:lnTo>
                  <a:lnTo>
                    <a:pt x="281" y="146"/>
                  </a:lnTo>
                  <a:lnTo>
                    <a:pt x="281" y="147"/>
                  </a:lnTo>
                  <a:lnTo>
                    <a:pt x="280" y="147"/>
                  </a:lnTo>
                  <a:lnTo>
                    <a:pt x="279" y="147"/>
                  </a:lnTo>
                  <a:lnTo>
                    <a:pt x="277" y="147"/>
                  </a:lnTo>
                  <a:lnTo>
                    <a:pt x="279" y="147"/>
                  </a:lnTo>
                  <a:lnTo>
                    <a:pt x="279" y="146"/>
                  </a:lnTo>
                  <a:lnTo>
                    <a:pt x="279" y="145"/>
                  </a:lnTo>
                  <a:lnTo>
                    <a:pt x="279" y="144"/>
                  </a:lnTo>
                  <a:lnTo>
                    <a:pt x="277" y="145"/>
                  </a:lnTo>
                  <a:lnTo>
                    <a:pt x="276" y="145"/>
                  </a:lnTo>
                  <a:lnTo>
                    <a:pt x="276" y="146"/>
                  </a:lnTo>
                  <a:lnTo>
                    <a:pt x="275" y="145"/>
                  </a:lnTo>
                  <a:lnTo>
                    <a:pt x="274" y="145"/>
                  </a:lnTo>
                  <a:lnTo>
                    <a:pt x="274" y="146"/>
                  </a:lnTo>
                  <a:lnTo>
                    <a:pt x="273" y="146"/>
                  </a:lnTo>
                  <a:lnTo>
                    <a:pt x="271" y="145"/>
                  </a:lnTo>
                  <a:lnTo>
                    <a:pt x="271" y="144"/>
                  </a:lnTo>
                  <a:lnTo>
                    <a:pt x="271" y="142"/>
                  </a:lnTo>
                  <a:lnTo>
                    <a:pt x="270" y="142"/>
                  </a:lnTo>
                  <a:lnTo>
                    <a:pt x="269" y="144"/>
                  </a:lnTo>
                  <a:lnTo>
                    <a:pt x="268" y="145"/>
                  </a:lnTo>
                  <a:lnTo>
                    <a:pt x="267" y="145"/>
                  </a:lnTo>
                  <a:lnTo>
                    <a:pt x="267" y="144"/>
                  </a:lnTo>
                  <a:lnTo>
                    <a:pt x="268" y="144"/>
                  </a:lnTo>
                  <a:lnTo>
                    <a:pt x="268" y="142"/>
                  </a:lnTo>
                  <a:lnTo>
                    <a:pt x="268" y="141"/>
                  </a:lnTo>
                  <a:lnTo>
                    <a:pt x="269" y="140"/>
                  </a:lnTo>
                  <a:lnTo>
                    <a:pt x="268" y="140"/>
                  </a:lnTo>
                  <a:lnTo>
                    <a:pt x="268" y="139"/>
                  </a:lnTo>
                  <a:lnTo>
                    <a:pt x="268" y="140"/>
                  </a:lnTo>
                  <a:lnTo>
                    <a:pt x="267" y="140"/>
                  </a:lnTo>
                  <a:lnTo>
                    <a:pt x="265" y="141"/>
                  </a:lnTo>
                  <a:lnTo>
                    <a:pt x="264" y="140"/>
                  </a:lnTo>
                  <a:lnTo>
                    <a:pt x="264" y="141"/>
                  </a:lnTo>
                  <a:lnTo>
                    <a:pt x="263" y="141"/>
                  </a:lnTo>
                  <a:lnTo>
                    <a:pt x="262" y="141"/>
                  </a:lnTo>
                  <a:lnTo>
                    <a:pt x="260" y="141"/>
                  </a:lnTo>
                  <a:lnTo>
                    <a:pt x="259" y="141"/>
                  </a:lnTo>
                  <a:lnTo>
                    <a:pt x="260" y="141"/>
                  </a:lnTo>
                  <a:lnTo>
                    <a:pt x="260" y="140"/>
                  </a:lnTo>
                  <a:lnTo>
                    <a:pt x="262" y="139"/>
                  </a:lnTo>
                  <a:lnTo>
                    <a:pt x="263" y="138"/>
                  </a:lnTo>
                  <a:lnTo>
                    <a:pt x="262" y="138"/>
                  </a:lnTo>
                  <a:lnTo>
                    <a:pt x="262" y="136"/>
                  </a:lnTo>
                  <a:lnTo>
                    <a:pt x="263" y="136"/>
                  </a:lnTo>
                  <a:lnTo>
                    <a:pt x="263" y="138"/>
                  </a:lnTo>
                  <a:lnTo>
                    <a:pt x="264" y="136"/>
                  </a:lnTo>
                  <a:lnTo>
                    <a:pt x="267" y="135"/>
                  </a:lnTo>
                  <a:lnTo>
                    <a:pt x="268" y="134"/>
                  </a:lnTo>
                  <a:lnTo>
                    <a:pt x="269" y="134"/>
                  </a:lnTo>
                  <a:lnTo>
                    <a:pt x="269" y="133"/>
                  </a:lnTo>
                  <a:lnTo>
                    <a:pt x="269" y="132"/>
                  </a:lnTo>
                  <a:lnTo>
                    <a:pt x="269" y="130"/>
                  </a:lnTo>
                  <a:lnTo>
                    <a:pt x="270" y="129"/>
                  </a:lnTo>
                  <a:lnTo>
                    <a:pt x="269" y="129"/>
                  </a:lnTo>
                  <a:lnTo>
                    <a:pt x="268" y="129"/>
                  </a:lnTo>
                  <a:lnTo>
                    <a:pt x="267" y="128"/>
                  </a:lnTo>
                  <a:lnTo>
                    <a:pt x="267" y="127"/>
                  </a:lnTo>
                  <a:lnTo>
                    <a:pt x="265" y="128"/>
                  </a:lnTo>
                  <a:lnTo>
                    <a:pt x="264" y="129"/>
                  </a:lnTo>
                  <a:lnTo>
                    <a:pt x="264" y="130"/>
                  </a:lnTo>
                  <a:lnTo>
                    <a:pt x="263" y="130"/>
                  </a:lnTo>
                  <a:lnTo>
                    <a:pt x="263" y="128"/>
                  </a:lnTo>
                  <a:lnTo>
                    <a:pt x="264" y="128"/>
                  </a:lnTo>
                  <a:lnTo>
                    <a:pt x="263" y="127"/>
                  </a:lnTo>
                  <a:lnTo>
                    <a:pt x="263" y="128"/>
                  </a:lnTo>
                  <a:lnTo>
                    <a:pt x="262" y="127"/>
                  </a:lnTo>
                  <a:lnTo>
                    <a:pt x="262" y="128"/>
                  </a:lnTo>
                  <a:lnTo>
                    <a:pt x="260" y="128"/>
                  </a:lnTo>
                  <a:lnTo>
                    <a:pt x="259" y="128"/>
                  </a:lnTo>
                  <a:lnTo>
                    <a:pt x="259" y="129"/>
                  </a:lnTo>
                  <a:lnTo>
                    <a:pt x="258" y="129"/>
                  </a:lnTo>
                  <a:lnTo>
                    <a:pt x="258" y="128"/>
                  </a:lnTo>
                  <a:lnTo>
                    <a:pt x="258" y="127"/>
                  </a:lnTo>
                  <a:lnTo>
                    <a:pt x="257" y="125"/>
                  </a:lnTo>
                  <a:lnTo>
                    <a:pt x="257" y="127"/>
                  </a:lnTo>
                  <a:lnTo>
                    <a:pt x="256" y="127"/>
                  </a:lnTo>
                  <a:lnTo>
                    <a:pt x="256" y="125"/>
                  </a:lnTo>
                  <a:lnTo>
                    <a:pt x="257" y="124"/>
                  </a:lnTo>
                  <a:lnTo>
                    <a:pt x="256" y="123"/>
                  </a:lnTo>
                  <a:lnTo>
                    <a:pt x="256" y="122"/>
                  </a:lnTo>
                  <a:lnTo>
                    <a:pt x="256" y="123"/>
                  </a:lnTo>
                  <a:lnTo>
                    <a:pt x="254" y="123"/>
                  </a:lnTo>
                  <a:lnTo>
                    <a:pt x="254" y="124"/>
                  </a:lnTo>
                  <a:lnTo>
                    <a:pt x="253" y="124"/>
                  </a:lnTo>
                  <a:lnTo>
                    <a:pt x="253" y="125"/>
                  </a:lnTo>
                  <a:lnTo>
                    <a:pt x="252" y="125"/>
                  </a:lnTo>
                  <a:lnTo>
                    <a:pt x="251" y="125"/>
                  </a:lnTo>
                  <a:lnTo>
                    <a:pt x="251" y="127"/>
                  </a:lnTo>
                  <a:lnTo>
                    <a:pt x="250" y="127"/>
                  </a:lnTo>
                  <a:lnTo>
                    <a:pt x="248" y="127"/>
                  </a:lnTo>
                  <a:lnTo>
                    <a:pt x="248" y="128"/>
                  </a:lnTo>
                  <a:lnTo>
                    <a:pt x="247" y="128"/>
                  </a:lnTo>
                  <a:lnTo>
                    <a:pt x="247" y="127"/>
                  </a:lnTo>
                  <a:lnTo>
                    <a:pt x="248" y="127"/>
                  </a:lnTo>
                  <a:lnTo>
                    <a:pt x="248" y="125"/>
                  </a:lnTo>
                  <a:lnTo>
                    <a:pt x="248" y="124"/>
                  </a:lnTo>
                  <a:lnTo>
                    <a:pt x="247" y="123"/>
                  </a:lnTo>
                  <a:lnTo>
                    <a:pt x="247" y="124"/>
                  </a:lnTo>
                  <a:lnTo>
                    <a:pt x="247" y="123"/>
                  </a:lnTo>
                  <a:lnTo>
                    <a:pt x="246" y="123"/>
                  </a:lnTo>
                  <a:lnTo>
                    <a:pt x="245" y="123"/>
                  </a:lnTo>
                  <a:lnTo>
                    <a:pt x="245" y="122"/>
                  </a:lnTo>
                  <a:lnTo>
                    <a:pt x="242" y="122"/>
                  </a:lnTo>
                  <a:lnTo>
                    <a:pt x="241" y="123"/>
                  </a:lnTo>
                  <a:lnTo>
                    <a:pt x="240" y="123"/>
                  </a:lnTo>
                  <a:lnTo>
                    <a:pt x="240" y="124"/>
                  </a:lnTo>
                  <a:lnTo>
                    <a:pt x="240" y="123"/>
                  </a:lnTo>
                  <a:lnTo>
                    <a:pt x="239" y="124"/>
                  </a:lnTo>
                  <a:lnTo>
                    <a:pt x="239" y="123"/>
                  </a:lnTo>
                  <a:lnTo>
                    <a:pt x="239" y="122"/>
                  </a:lnTo>
                  <a:lnTo>
                    <a:pt x="238" y="122"/>
                  </a:lnTo>
                  <a:lnTo>
                    <a:pt x="236" y="122"/>
                  </a:lnTo>
                  <a:lnTo>
                    <a:pt x="236" y="121"/>
                  </a:lnTo>
                  <a:lnTo>
                    <a:pt x="235" y="121"/>
                  </a:lnTo>
                  <a:lnTo>
                    <a:pt x="235" y="122"/>
                  </a:lnTo>
                  <a:lnTo>
                    <a:pt x="236" y="122"/>
                  </a:lnTo>
                  <a:lnTo>
                    <a:pt x="235" y="122"/>
                  </a:lnTo>
                  <a:lnTo>
                    <a:pt x="234" y="121"/>
                  </a:lnTo>
                  <a:lnTo>
                    <a:pt x="235" y="119"/>
                  </a:lnTo>
                  <a:lnTo>
                    <a:pt x="235" y="118"/>
                  </a:lnTo>
                  <a:lnTo>
                    <a:pt x="235" y="117"/>
                  </a:lnTo>
                  <a:lnTo>
                    <a:pt x="235" y="116"/>
                  </a:lnTo>
                  <a:lnTo>
                    <a:pt x="235" y="117"/>
                  </a:lnTo>
                  <a:lnTo>
                    <a:pt x="234" y="117"/>
                  </a:lnTo>
                  <a:lnTo>
                    <a:pt x="233" y="117"/>
                  </a:lnTo>
                  <a:lnTo>
                    <a:pt x="229" y="116"/>
                  </a:lnTo>
                  <a:lnTo>
                    <a:pt x="229" y="115"/>
                  </a:lnTo>
                  <a:lnTo>
                    <a:pt x="228" y="115"/>
                  </a:lnTo>
                  <a:lnTo>
                    <a:pt x="228" y="113"/>
                  </a:lnTo>
                  <a:lnTo>
                    <a:pt x="227" y="113"/>
                  </a:lnTo>
                  <a:lnTo>
                    <a:pt x="227" y="115"/>
                  </a:lnTo>
                  <a:lnTo>
                    <a:pt x="226" y="113"/>
                  </a:lnTo>
                  <a:lnTo>
                    <a:pt x="224" y="113"/>
                  </a:lnTo>
                  <a:lnTo>
                    <a:pt x="223" y="113"/>
                  </a:lnTo>
                  <a:lnTo>
                    <a:pt x="222" y="113"/>
                  </a:lnTo>
                  <a:lnTo>
                    <a:pt x="221" y="113"/>
                  </a:lnTo>
                  <a:lnTo>
                    <a:pt x="220" y="113"/>
                  </a:lnTo>
                  <a:lnTo>
                    <a:pt x="220" y="112"/>
                  </a:lnTo>
                  <a:lnTo>
                    <a:pt x="218" y="111"/>
                  </a:lnTo>
                  <a:lnTo>
                    <a:pt x="218" y="112"/>
                  </a:lnTo>
                  <a:lnTo>
                    <a:pt x="217" y="112"/>
                  </a:lnTo>
                  <a:lnTo>
                    <a:pt x="217" y="111"/>
                  </a:lnTo>
                  <a:lnTo>
                    <a:pt x="218" y="111"/>
                  </a:lnTo>
                  <a:lnTo>
                    <a:pt x="217" y="110"/>
                  </a:lnTo>
                  <a:lnTo>
                    <a:pt x="217" y="111"/>
                  </a:lnTo>
                  <a:lnTo>
                    <a:pt x="216" y="110"/>
                  </a:lnTo>
                  <a:lnTo>
                    <a:pt x="217" y="110"/>
                  </a:lnTo>
                  <a:lnTo>
                    <a:pt x="216" y="110"/>
                  </a:lnTo>
                  <a:lnTo>
                    <a:pt x="216" y="109"/>
                  </a:lnTo>
                  <a:lnTo>
                    <a:pt x="217" y="107"/>
                  </a:lnTo>
                  <a:lnTo>
                    <a:pt x="216" y="107"/>
                  </a:lnTo>
                  <a:lnTo>
                    <a:pt x="216" y="106"/>
                  </a:lnTo>
                  <a:lnTo>
                    <a:pt x="215" y="106"/>
                  </a:lnTo>
                  <a:lnTo>
                    <a:pt x="215" y="105"/>
                  </a:lnTo>
                  <a:lnTo>
                    <a:pt x="214" y="105"/>
                  </a:lnTo>
                  <a:lnTo>
                    <a:pt x="214" y="104"/>
                  </a:lnTo>
                  <a:lnTo>
                    <a:pt x="212" y="104"/>
                  </a:lnTo>
                  <a:lnTo>
                    <a:pt x="212" y="103"/>
                  </a:lnTo>
                  <a:lnTo>
                    <a:pt x="214" y="103"/>
                  </a:lnTo>
                  <a:lnTo>
                    <a:pt x="214" y="101"/>
                  </a:lnTo>
                  <a:lnTo>
                    <a:pt x="212" y="101"/>
                  </a:lnTo>
                  <a:lnTo>
                    <a:pt x="214" y="101"/>
                  </a:lnTo>
                  <a:lnTo>
                    <a:pt x="215" y="101"/>
                  </a:lnTo>
                  <a:lnTo>
                    <a:pt x="215" y="100"/>
                  </a:lnTo>
                  <a:lnTo>
                    <a:pt x="216" y="100"/>
                  </a:lnTo>
                  <a:lnTo>
                    <a:pt x="216" y="101"/>
                  </a:lnTo>
                  <a:lnTo>
                    <a:pt x="216" y="100"/>
                  </a:lnTo>
                  <a:lnTo>
                    <a:pt x="217" y="100"/>
                  </a:lnTo>
                  <a:lnTo>
                    <a:pt x="217" y="101"/>
                  </a:lnTo>
                  <a:lnTo>
                    <a:pt x="217" y="100"/>
                  </a:lnTo>
                  <a:lnTo>
                    <a:pt x="218" y="100"/>
                  </a:lnTo>
                  <a:lnTo>
                    <a:pt x="218" y="101"/>
                  </a:lnTo>
                  <a:lnTo>
                    <a:pt x="220" y="101"/>
                  </a:lnTo>
                  <a:lnTo>
                    <a:pt x="220" y="103"/>
                  </a:lnTo>
                  <a:lnTo>
                    <a:pt x="221" y="104"/>
                  </a:lnTo>
                  <a:lnTo>
                    <a:pt x="220" y="104"/>
                  </a:lnTo>
                  <a:lnTo>
                    <a:pt x="220" y="105"/>
                  </a:lnTo>
                  <a:lnTo>
                    <a:pt x="220" y="106"/>
                  </a:lnTo>
                  <a:lnTo>
                    <a:pt x="221" y="106"/>
                  </a:lnTo>
                  <a:lnTo>
                    <a:pt x="221" y="107"/>
                  </a:lnTo>
                  <a:lnTo>
                    <a:pt x="222" y="107"/>
                  </a:lnTo>
                  <a:lnTo>
                    <a:pt x="222" y="109"/>
                  </a:lnTo>
                  <a:lnTo>
                    <a:pt x="223" y="109"/>
                  </a:lnTo>
                  <a:lnTo>
                    <a:pt x="222" y="109"/>
                  </a:lnTo>
                  <a:lnTo>
                    <a:pt x="223" y="109"/>
                  </a:lnTo>
                  <a:lnTo>
                    <a:pt x="222" y="109"/>
                  </a:lnTo>
                  <a:lnTo>
                    <a:pt x="221" y="109"/>
                  </a:lnTo>
                  <a:lnTo>
                    <a:pt x="220" y="109"/>
                  </a:lnTo>
                  <a:lnTo>
                    <a:pt x="220" y="110"/>
                  </a:lnTo>
                  <a:lnTo>
                    <a:pt x="221" y="110"/>
                  </a:lnTo>
                  <a:lnTo>
                    <a:pt x="220" y="110"/>
                  </a:lnTo>
                  <a:lnTo>
                    <a:pt x="221" y="110"/>
                  </a:lnTo>
                  <a:lnTo>
                    <a:pt x="221" y="111"/>
                  </a:lnTo>
                  <a:lnTo>
                    <a:pt x="222" y="111"/>
                  </a:lnTo>
                  <a:lnTo>
                    <a:pt x="222" y="112"/>
                  </a:lnTo>
                  <a:lnTo>
                    <a:pt x="222" y="111"/>
                  </a:lnTo>
                  <a:lnTo>
                    <a:pt x="223" y="111"/>
                  </a:lnTo>
                  <a:lnTo>
                    <a:pt x="223" y="112"/>
                  </a:lnTo>
                  <a:lnTo>
                    <a:pt x="223" y="111"/>
                  </a:lnTo>
                  <a:lnTo>
                    <a:pt x="223" y="112"/>
                  </a:lnTo>
                  <a:lnTo>
                    <a:pt x="224" y="112"/>
                  </a:lnTo>
                  <a:lnTo>
                    <a:pt x="224" y="111"/>
                  </a:lnTo>
                  <a:lnTo>
                    <a:pt x="224" y="112"/>
                  </a:lnTo>
                  <a:lnTo>
                    <a:pt x="224" y="111"/>
                  </a:lnTo>
                  <a:lnTo>
                    <a:pt x="226" y="111"/>
                  </a:lnTo>
                  <a:lnTo>
                    <a:pt x="227" y="111"/>
                  </a:lnTo>
                  <a:lnTo>
                    <a:pt x="228" y="111"/>
                  </a:lnTo>
                  <a:lnTo>
                    <a:pt x="229" y="111"/>
                  </a:lnTo>
                  <a:lnTo>
                    <a:pt x="229" y="110"/>
                  </a:lnTo>
                  <a:lnTo>
                    <a:pt x="228" y="110"/>
                  </a:lnTo>
                  <a:lnTo>
                    <a:pt x="228" y="109"/>
                  </a:lnTo>
                  <a:lnTo>
                    <a:pt x="227" y="109"/>
                  </a:lnTo>
                  <a:lnTo>
                    <a:pt x="227" y="107"/>
                  </a:lnTo>
                  <a:lnTo>
                    <a:pt x="227" y="106"/>
                  </a:lnTo>
                  <a:lnTo>
                    <a:pt x="228" y="106"/>
                  </a:lnTo>
                  <a:lnTo>
                    <a:pt x="228" y="105"/>
                  </a:lnTo>
                  <a:lnTo>
                    <a:pt x="227" y="105"/>
                  </a:lnTo>
                  <a:lnTo>
                    <a:pt x="226" y="105"/>
                  </a:lnTo>
                  <a:lnTo>
                    <a:pt x="226" y="104"/>
                  </a:lnTo>
                  <a:lnTo>
                    <a:pt x="227" y="104"/>
                  </a:lnTo>
                  <a:lnTo>
                    <a:pt x="226" y="104"/>
                  </a:lnTo>
                  <a:lnTo>
                    <a:pt x="227" y="104"/>
                  </a:lnTo>
                  <a:lnTo>
                    <a:pt x="228" y="104"/>
                  </a:lnTo>
                  <a:lnTo>
                    <a:pt x="228" y="105"/>
                  </a:lnTo>
                  <a:lnTo>
                    <a:pt x="229" y="105"/>
                  </a:lnTo>
                  <a:lnTo>
                    <a:pt x="230" y="105"/>
                  </a:lnTo>
                  <a:lnTo>
                    <a:pt x="232" y="105"/>
                  </a:lnTo>
                  <a:lnTo>
                    <a:pt x="233" y="105"/>
                  </a:lnTo>
                  <a:lnTo>
                    <a:pt x="233" y="106"/>
                  </a:lnTo>
                  <a:lnTo>
                    <a:pt x="234" y="107"/>
                  </a:lnTo>
                  <a:lnTo>
                    <a:pt x="234" y="106"/>
                  </a:lnTo>
                  <a:lnTo>
                    <a:pt x="234" y="107"/>
                  </a:lnTo>
                  <a:lnTo>
                    <a:pt x="235" y="107"/>
                  </a:lnTo>
                  <a:lnTo>
                    <a:pt x="236" y="106"/>
                  </a:lnTo>
                  <a:lnTo>
                    <a:pt x="238" y="106"/>
                  </a:lnTo>
                  <a:lnTo>
                    <a:pt x="239" y="106"/>
                  </a:lnTo>
                  <a:lnTo>
                    <a:pt x="239" y="105"/>
                  </a:lnTo>
                  <a:lnTo>
                    <a:pt x="239" y="106"/>
                  </a:lnTo>
                  <a:lnTo>
                    <a:pt x="240" y="106"/>
                  </a:lnTo>
                  <a:lnTo>
                    <a:pt x="240" y="107"/>
                  </a:lnTo>
                  <a:lnTo>
                    <a:pt x="241" y="107"/>
                  </a:lnTo>
                  <a:lnTo>
                    <a:pt x="241" y="106"/>
                  </a:lnTo>
                  <a:lnTo>
                    <a:pt x="241" y="107"/>
                  </a:lnTo>
                  <a:lnTo>
                    <a:pt x="242" y="107"/>
                  </a:lnTo>
                  <a:lnTo>
                    <a:pt x="241" y="107"/>
                  </a:lnTo>
                  <a:lnTo>
                    <a:pt x="241" y="109"/>
                  </a:lnTo>
                  <a:lnTo>
                    <a:pt x="242" y="109"/>
                  </a:lnTo>
                  <a:lnTo>
                    <a:pt x="242" y="107"/>
                  </a:lnTo>
                  <a:lnTo>
                    <a:pt x="242" y="109"/>
                  </a:lnTo>
                  <a:lnTo>
                    <a:pt x="244" y="107"/>
                  </a:lnTo>
                  <a:lnTo>
                    <a:pt x="245" y="109"/>
                  </a:lnTo>
                  <a:lnTo>
                    <a:pt x="245" y="107"/>
                  </a:lnTo>
                  <a:lnTo>
                    <a:pt x="245" y="106"/>
                  </a:lnTo>
                  <a:lnTo>
                    <a:pt x="244" y="106"/>
                  </a:lnTo>
                  <a:lnTo>
                    <a:pt x="242" y="106"/>
                  </a:lnTo>
                  <a:lnTo>
                    <a:pt x="244" y="106"/>
                  </a:lnTo>
                  <a:lnTo>
                    <a:pt x="242" y="106"/>
                  </a:lnTo>
                  <a:lnTo>
                    <a:pt x="242" y="105"/>
                  </a:lnTo>
                  <a:lnTo>
                    <a:pt x="244" y="105"/>
                  </a:lnTo>
                  <a:lnTo>
                    <a:pt x="242" y="105"/>
                  </a:lnTo>
                  <a:lnTo>
                    <a:pt x="241" y="105"/>
                  </a:lnTo>
                  <a:lnTo>
                    <a:pt x="241" y="104"/>
                  </a:lnTo>
                  <a:lnTo>
                    <a:pt x="242" y="104"/>
                  </a:lnTo>
                  <a:lnTo>
                    <a:pt x="244" y="104"/>
                  </a:lnTo>
                  <a:lnTo>
                    <a:pt x="244" y="105"/>
                  </a:lnTo>
                  <a:lnTo>
                    <a:pt x="245" y="105"/>
                  </a:lnTo>
                  <a:lnTo>
                    <a:pt x="246" y="105"/>
                  </a:lnTo>
                  <a:lnTo>
                    <a:pt x="245" y="105"/>
                  </a:lnTo>
                  <a:lnTo>
                    <a:pt x="246" y="105"/>
                  </a:lnTo>
                  <a:lnTo>
                    <a:pt x="246" y="106"/>
                  </a:lnTo>
                  <a:lnTo>
                    <a:pt x="247" y="106"/>
                  </a:lnTo>
                  <a:lnTo>
                    <a:pt x="247" y="105"/>
                  </a:lnTo>
                  <a:lnTo>
                    <a:pt x="248" y="105"/>
                  </a:lnTo>
                  <a:lnTo>
                    <a:pt x="250" y="105"/>
                  </a:lnTo>
                  <a:lnTo>
                    <a:pt x="250" y="104"/>
                  </a:lnTo>
                  <a:lnTo>
                    <a:pt x="250" y="105"/>
                  </a:lnTo>
                  <a:lnTo>
                    <a:pt x="251" y="104"/>
                  </a:lnTo>
                  <a:lnTo>
                    <a:pt x="252" y="104"/>
                  </a:lnTo>
                  <a:lnTo>
                    <a:pt x="252" y="103"/>
                  </a:lnTo>
                  <a:lnTo>
                    <a:pt x="252" y="101"/>
                  </a:lnTo>
                  <a:lnTo>
                    <a:pt x="252" y="100"/>
                  </a:lnTo>
                  <a:lnTo>
                    <a:pt x="253" y="100"/>
                  </a:lnTo>
                  <a:lnTo>
                    <a:pt x="253" y="99"/>
                  </a:lnTo>
                  <a:lnTo>
                    <a:pt x="253" y="98"/>
                  </a:lnTo>
                  <a:lnTo>
                    <a:pt x="254" y="98"/>
                  </a:lnTo>
                  <a:lnTo>
                    <a:pt x="254" y="97"/>
                  </a:lnTo>
                  <a:lnTo>
                    <a:pt x="254" y="95"/>
                  </a:lnTo>
                  <a:lnTo>
                    <a:pt x="253" y="95"/>
                  </a:lnTo>
                  <a:lnTo>
                    <a:pt x="253" y="97"/>
                  </a:lnTo>
                  <a:lnTo>
                    <a:pt x="252" y="97"/>
                  </a:lnTo>
                  <a:lnTo>
                    <a:pt x="251" y="97"/>
                  </a:lnTo>
                  <a:lnTo>
                    <a:pt x="251" y="95"/>
                  </a:lnTo>
                  <a:lnTo>
                    <a:pt x="250" y="95"/>
                  </a:lnTo>
                  <a:lnTo>
                    <a:pt x="248" y="95"/>
                  </a:lnTo>
                  <a:lnTo>
                    <a:pt x="248" y="94"/>
                  </a:lnTo>
                  <a:lnTo>
                    <a:pt x="248" y="95"/>
                  </a:lnTo>
                  <a:lnTo>
                    <a:pt x="247" y="95"/>
                  </a:lnTo>
                  <a:lnTo>
                    <a:pt x="247" y="94"/>
                  </a:lnTo>
                  <a:lnTo>
                    <a:pt x="248" y="94"/>
                  </a:lnTo>
                  <a:lnTo>
                    <a:pt x="248" y="93"/>
                  </a:lnTo>
                  <a:lnTo>
                    <a:pt x="250" y="93"/>
                  </a:lnTo>
                  <a:lnTo>
                    <a:pt x="250" y="92"/>
                  </a:lnTo>
                  <a:lnTo>
                    <a:pt x="248" y="92"/>
                  </a:lnTo>
                  <a:lnTo>
                    <a:pt x="250" y="92"/>
                  </a:lnTo>
                  <a:lnTo>
                    <a:pt x="250" y="91"/>
                  </a:lnTo>
                  <a:lnTo>
                    <a:pt x="251" y="91"/>
                  </a:lnTo>
                  <a:lnTo>
                    <a:pt x="251" y="89"/>
                  </a:lnTo>
                  <a:lnTo>
                    <a:pt x="251" y="88"/>
                  </a:lnTo>
                  <a:lnTo>
                    <a:pt x="252" y="88"/>
                  </a:lnTo>
                  <a:lnTo>
                    <a:pt x="251" y="87"/>
                  </a:lnTo>
                  <a:lnTo>
                    <a:pt x="252" y="87"/>
                  </a:lnTo>
                  <a:lnTo>
                    <a:pt x="252" y="86"/>
                  </a:lnTo>
                  <a:lnTo>
                    <a:pt x="252" y="85"/>
                  </a:lnTo>
                  <a:lnTo>
                    <a:pt x="252" y="83"/>
                  </a:lnTo>
                  <a:lnTo>
                    <a:pt x="252" y="82"/>
                  </a:lnTo>
                  <a:lnTo>
                    <a:pt x="252" y="81"/>
                  </a:lnTo>
                  <a:lnTo>
                    <a:pt x="251" y="81"/>
                  </a:lnTo>
                  <a:lnTo>
                    <a:pt x="251" y="82"/>
                  </a:lnTo>
                  <a:lnTo>
                    <a:pt x="250" y="82"/>
                  </a:lnTo>
                  <a:lnTo>
                    <a:pt x="250" y="83"/>
                  </a:lnTo>
                  <a:lnTo>
                    <a:pt x="248" y="83"/>
                  </a:lnTo>
                  <a:lnTo>
                    <a:pt x="248" y="82"/>
                  </a:lnTo>
                  <a:lnTo>
                    <a:pt x="248" y="81"/>
                  </a:lnTo>
                  <a:lnTo>
                    <a:pt x="247" y="81"/>
                  </a:lnTo>
                  <a:lnTo>
                    <a:pt x="247" y="82"/>
                  </a:lnTo>
                  <a:lnTo>
                    <a:pt x="246" y="82"/>
                  </a:lnTo>
                  <a:lnTo>
                    <a:pt x="246" y="83"/>
                  </a:lnTo>
                  <a:lnTo>
                    <a:pt x="246" y="82"/>
                  </a:lnTo>
                  <a:lnTo>
                    <a:pt x="245" y="82"/>
                  </a:lnTo>
                  <a:lnTo>
                    <a:pt x="244" y="83"/>
                  </a:lnTo>
                  <a:lnTo>
                    <a:pt x="242" y="83"/>
                  </a:lnTo>
                  <a:lnTo>
                    <a:pt x="242" y="85"/>
                  </a:lnTo>
                  <a:lnTo>
                    <a:pt x="241" y="85"/>
                  </a:lnTo>
                  <a:lnTo>
                    <a:pt x="240" y="85"/>
                  </a:lnTo>
                  <a:lnTo>
                    <a:pt x="241" y="85"/>
                  </a:lnTo>
                  <a:lnTo>
                    <a:pt x="241" y="83"/>
                  </a:lnTo>
                  <a:lnTo>
                    <a:pt x="242" y="83"/>
                  </a:lnTo>
                  <a:lnTo>
                    <a:pt x="242" y="82"/>
                  </a:lnTo>
                  <a:lnTo>
                    <a:pt x="242" y="81"/>
                  </a:lnTo>
                  <a:lnTo>
                    <a:pt x="241" y="81"/>
                  </a:lnTo>
                  <a:lnTo>
                    <a:pt x="240" y="81"/>
                  </a:lnTo>
                  <a:lnTo>
                    <a:pt x="241" y="81"/>
                  </a:lnTo>
                  <a:lnTo>
                    <a:pt x="240" y="81"/>
                  </a:lnTo>
                  <a:lnTo>
                    <a:pt x="239" y="81"/>
                  </a:lnTo>
                  <a:lnTo>
                    <a:pt x="239" y="82"/>
                  </a:lnTo>
                  <a:lnTo>
                    <a:pt x="238" y="82"/>
                  </a:lnTo>
                  <a:lnTo>
                    <a:pt x="236" y="82"/>
                  </a:lnTo>
                  <a:lnTo>
                    <a:pt x="235" y="82"/>
                  </a:lnTo>
                  <a:lnTo>
                    <a:pt x="235" y="81"/>
                  </a:lnTo>
                  <a:lnTo>
                    <a:pt x="234" y="81"/>
                  </a:lnTo>
                  <a:lnTo>
                    <a:pt x="235" y="81"/>
                  </a:lnTo>
                  <a:lnTo>
                    <a:pt x="236" y="81"/>
                  </a:lnTo>
                  <a:lnTo>
                    <a:pt x="236" y="80"/>
                  </a:lnTo>
                  <a:lnTo>
                    <a:pt x="238" y="80"/>
                  </a:lnTo>
                  <a:lnTo>
                    <a:pt x="239" y="80"/>
                  </a:lnTo>
                  <a:lnTo>
                    <a:pt x="239" y="79"/>
                  </a:lnTo>
                  <a:lnTo>
                    <a:pt x="240" y="79"/>
                  </a:lnTo>
                  <a:lnTo>
                    <a:pt x="241" y="79"/>
                  </a:lnTo>
                  <a:lnTo>
                    <a:pt x="242" y="79"/>
                  </a:lnTo>
                  <a:lnTo>
                    <a:pt x="242" y="77"/>
                  </a:lnTo>
                  <a:lnTo>
                    <a:pt x="244" y="77"/>
                  </a:lnTo>
                  <a:lnTo>
                    <a:pt x="244" y="76"/>
                  </a:lnTo>
                  <a:lnTo>
                    <a:pt x="245" y="76"/>
                  </a:lnTo>
                  <a:lnTo>
                    <a:pt x="246" y="75"/>
                  </a:lnTo>
                  <a:lnTo>
                    <a:pt x="245" y="75"/>
                  </a:lnTo>
                  <a:lnTo>
                    <a:pt x="246" y="75"/>
                  </a:lnTo>
                  <a:lnTo>
                    <a:pt x="245" y="75"/>
                  </a:lnTo>
                  <a:lnTo>
                    <a:pt x="245" y="74"/>
                  </a:lnTo>
                  <a:lnTo>
                    <a:pt x="246" y="74"/>
                  </a:lnTo>
                  <a:lnTo>
                    <a:pt x="246" y="73"/>
                  </a:lnTo>
                  <a:lnTo>
                    <a:pt x="247" y="73"/>
                  </a:lnTo>
                  <a:lnTo>
                    <a:pt x="246" y="71"/>
                  </a:lnTo>
                  <a:lnTo>
                    <a:pt x="245" y="71"/>
                  </a:lnTo>
                  <a:lnTo>
                    <a:pt x="245" y="73"/>
                  </a:lnTo>
                  <a:lnTo>
                    <a:pt x="245" y="71"/>
                  </a:lnTo>
                  <a:lnTo>
                    <a:pt x="244" y="71"/>
                  </a:lnTo>
                  <a:lnTo>
                    <a:pt x="244" y="73"/>
                  </a:lnTo>
                  <a:lnTo>
                    <a:pt x="242" y="73"/>
                  </a:lnTo>
                  <a:lnTo>
                    <a:pt x="242" y="71"/>
                  </a:lnTo>
                  <a:lnTo>
                    <a:pt x="242" y="70"/>
                  </a:lnTo>
                  <a:lnTo>
                    <a:pt x="241" y="71"/>
                  </a:lnTo>
                  <a:lnTo>
                    <a:pt x="240" y="71"/>
                  </a:lnTo>
                  <a:lnTo>
                    <a:pt x="240" y="73"/>
                  </a:lnTo>
                  <a:lnTo>
                    <a:pt x="240" y="74"/>
                  </a:lnTo>
                  <a:lnTo>
                    <a:pt x="239" y="74"/>
                  </a:lnTo>
                  <a:lnTo>
                    <a:pt x="239" y="73"/>
                  </a:lnTo>
                  <a:lnTo>
                    <a:pt x="238" y="73"/>
                  </a:lnTo>
                  <a:lnTo>
                    <a:pt x="236" y="73"/>
                  </a:lnTo>
                  <a:lnTo>
                    <a:pt x="235" y="73"/>
                  </a:lnTo>
                  <a:lnTo>
                    <a:pt x="234" y="74"/>
                  </a:lnTo>
                  <a:lnTo>
                    <a:pt x="234" y="75"/>
                  </a:lnTo>
                  <a:lnTo>
                    <a:pt x="233" y="75"/>
                  </a:lnTo>
                  <a:lnTo>
                    <a:pt x="234" y="74"/>
                  </a:lnTo>
                  <a:lnTo>
                    <a:pt x="234" y="73"/>
                  </a:lnTo>
                  <a:lnTo>
                    <a:pt x="234" y="71"/>
                  </a:lnTo>
                  <a:lnTo>
                    <a:pt x="233" y="71"/>
                  </a:lnTo>
                  <a:lnTo>
                    <a:pt x="233" y="70"/>
                  </a:lnTo>
                  <a:lnTo>
                    <a:pt x="233" y="69"/>
                  </a:lnTo>
                  <a:lnTo>
                    <a:pt x="234" y="69"/>
                  </a:lnTo>
                  <a:lnTo>
                    <a:pt x="234" y="68"/>
                  </a:lnTo>
                  <a:lnTo>
                    <a:pt x="233" y="68"/>
                  </a:lnTo>
                  <a:lnTo>
                    <a:pt x="233" y="69"/>
                  </a:lnTo>
                  <a:lnTo>
                    <a:pt x="233" y="68"/>
                  </a:lnTo>
                  <a:lnTo>
                    <a:pt x="232" y="68"/>
                  </a:lnTo>
                  <a:lnTo>
                    <a:pt x="230" y="68"/>
                  </a:lnTo>
                  <a:lnTo>
                    <a:pt x="230" y="69"/>
                  </a:lnTo>
                  <a:lnTo>
                    <a:pt x="229" y="69"/>
                  </a:lnTo>
                  <a:lnTo>
                    <a:pt x="229" y="68"/>
                  </a:lnTo>
                  <a:lnTo>
                    <a:pt x="228" y="68"/>
                  </a:lnTo>
                  <a:lnTo>
                    <a:pt x="229" y="67"/>
                  </a:lnTo>
                  <a:lnTo>
                    <a:pt x="229" y="65"/>
                  </a:lnTo>
                  <a:lnTo>
                    <a:pt x="228" y="65"/>
                  </a:lnTo>
                  <a:lnTo>
                    <a:pt x="227" y="65"/>
                  </a:lnTo>
                  <a:lnTo>
                    <a:pt x="226" y="64"/>
                  </a:lnTo>
                  <a:lnTo>
                    <a:pt x="226" y="63"/>
                  </a:lnTo>
                  <a:lnTo>
                    <a:pt x="226" y="62"/>
                  </a:lnTo>
                  <a:lnTo>
                    <a:pt x="227" y="62"/>
                  </a:lnTo>
                  <a:lnTo>
                    <a:pt x="227" y="61"/>
                  </a:lnTo>
                  <a:lnTo>
                    <a:pt x="228" y="61"/>
                  </a:lnTo>
                  <a:lnTo>
                    <a:pt x="227" y="61"/>
                  </a:lnTo>
                  <a:lnTo>
                    <a:pt x="228" y="59"/>
                  </a:lnTo>
                  <a:lnTo>
                    <a:pt x="229" y="59"/>
                  </a:lnTo>
                  <a:lnTo>
                    <a:pt x="230" y="59"/>
                  </a:lnTo>
                  <a:lnTo>
                    <a:pt x="230" y="58"/>
                  </a:lnTo>
                  <a:lnTo>
                    <a:pt x="230" y="57"/>
                  </a:lnTo>
                  <a:lnTo>
                    <a:pt x="229" y="57"/>
                  </a:lnTo>
                  <a:lnTo>
                    <a:pt x="230" y="56"/>
                  </a:lnTo>
                  <a:lnTo>
                    <a:pt x="232" y="56"/>
                  </a:lnTo>
                  <a:lnTo>
                    <a:pt x="232" y="55"/>
                  </a:lnTo>
                  <a:lnTo>
                    <a:pt x="233" y="55"/>
                  </a:lnTo>
                  <a:lnTo>
                    <a:pt x="233" y="53"/>
                  </a:lnTo>
                  <a:lnTo>
                    <a:pt x="233" y="52"/>
                  </a:lnTo>
                  <a:lnTo>
                    <a:pt x="233" y="51"/>
                  </a:lnTo>
                  <a:lnTo>
                    <a:pt x="233" y="50"/>
                  </a:lnTo>
                  <a:lnTo>
                    <a:pt x="233" y="49"/>
                  </a:lnTo>
                  <a:lnTo>
                    <a:pt x="232" y="49"/>
                  </a:lnTo>
                  <a:lnTo>
                    <a:pt x="232" y="50"/>
                  </a:lnTo>
                  <a:lnTo>
                    <a:pt x="230" y="50"/>
                  </a:lnTo>
                  <a:lnTo>
                    <a:pt x="229" y="50"/>
                  </a:lnTo>
                  <a:lnTo>
                    <a:pt x="228" y="50"/>
                  </a:lnTo>
                  <a:lnTo>
                    <a:pt x="228" y="51"/>
                  </a:lnTo>
                  <a:lnTo>
                    <a:pt x="227" y="51"/>
                  </a:lnTo>
                  <a:lnTo>
                    <a:pt x="227" y="52"/>
                  </a:lnTo>
                  <a:lnTo>
                    <a:pt x="226" y="52"/>
                  </a:lnTo>
                  <a:lnTo>
                    <a:pt x="224" y="52"/>
                  </a:lnTo>
                  <a:lnTo>
                    <a:pt x="223" y="52"/>
                  </a:lnTo>
                  <a:lnTo>
                    <a:pt x="222" y="52"/>
                  </a:lnTo>
                  <a:lnTo>
                    <a:pt x="222" y="51"/>
                  </a:lnTo>
                  <a:lnTo>
                    <a:pt x="223" y="51"/>
                  </a:lnTo>
                  <a:lnTo>
                    <a:pt x="223" y="50"/>
                  </a:lnTo>
                  <a:lnTo>
                    <a:pt x="224" y="50"/>
                  </a:lnTo>
                  <a:lnTo>
                    <a:pt x="223" y="50"/>
                  </a:lnTo>
                  <a:lnTo>
                    <a:pt x="223" y="49"/>
                  </a:lnTo>
                  <a:lnTo>
                    <a:pt x="223" y="47"/>
                  </a:lnTo>
                  <a:lnTo>
                    <a:pt x="223" y="46"/>
                  </a:lnTo>
                  <a:lnTo>
                    <a:pt x="223" y="45"/>
                  </a:lnTo>
                  <a:lnTo>
                    <a:pt x="222" y="45"/>
                  </a:lnTo>
                  <a:lnTo>
                    <a:pt x="221" y="45"/>
                  </a:lnTo>
                  <a:lnTo>
                    <a:pt x="221" y="46"/>
                  </a:lnTo>
                  <a:lnTo>
                    <a:pt x="220" y="46"/>
                  </a:lnTo>
                  <a:lnTo>
                    <a:pt x="220" y="45"/>
                  </a:lnTo>
                  <a:lnTo>
                    <a:pt x="220" y="44"/>
                  </a:lnTo>
                  <a:lnTo>
                    <a:pt x="218" y="44"/>
                  </a:lnTo>
                  <a:lnTo>
                    <a:pt x="218" y="45"/>
                  </a:lnTo>
                  <a:lnTo>
                    <a:pt x="218" y="46"/>
                  </a:lnTo>
                  <a:lnTo>
                    <a:pt x="217" y="46"/>
                  </a:lnTo>
                  <a:lnTo>
                    <a:pt x="217" y="47"/>
                  </a:lnTo>
                  <a:lnTo>
                    <a:pt x="217" y="49"/>
                  </a:lnTo>
                  <a:lnTo>
                    <a:pt x="218" y="49"/>
                  </a:lnTo>
                  <a:lnTo>
                    <a:pt x="218" y="50"/>
                  </a:lnTo>
                  <a:lnTo>
                    <a:pt x="218" y="51"/>
                  </a:lnTo>
                  <a:lnTo>
                    <a:pt x="217" y="51"/>
                  </a:lnTo>
                  <a:lnTo>
                    <a:pt x="216" y="51"/>
                  </a:lnTo>
                  <a:lnTo>
                    <a:pt x="215" y="51"/>
                  </a:lnTo>
                  <a:lnTo>
                    <a:pt x="215" y="52"/>
                  </a:lnTo>
                  <a:lnTo>
                    <a:pt x="215" y="51"/>
                  </a:lnTo>
                  <a:lnTo>
                    <a:pt x="215" y="50"/>
                  </a:lnTo>
                  <a:lnTo>
                    <a:pt x="216" y="50"/>
                  </a:lnTo>
                  <a:lnTo>
                    <a:pt x="216" y="49"/>
                  </a:lnTo>
                  <a:lnTo>
                    <a:pt x="216" y="47"/>
                  </a:lnTo>
                  <a:lnTo>
                    <a:pt x="215" y="46"/>
                  </a:lnTo>
                  <a:lnTo>
                    <a:pt x="215" y="47"/>
                  </a:lnTo>
                  <a:lnTo>
                    <a:pt x="214" y="49"/>
                  </a:lnTo>
                  <a:lnTo>
                    <a:pt x="214" y="47"/>
                  </a:lnTo>
                  <a:lnTo>
                    <a:pt x="212" y="47"/>
                  </a:lnTo>
                  <a:lnTo>
                    <a:pt x="212" y="49"/>
                  </a:lnTo>
                  <a:lnTo>
                    <a:pt x="211" y="50"/>
                  </a:lnTo>
                  <a:lnTo>
                    <a:pt x="210" y="50"/>
                  </a:lnTo>
                  <a:lnTo>
                    <a:pt x="210" y="51"/>
                  </a:lnTo>
                  <a:lnTo>
                    <a:pt x="210" y="52"/>
                  </a:lnTo>
                  <a:lnTo>
                    <a:pt x="210" y="53"/>
                  </a:lnTo>
                  <a:lnTo>
                    <a:pt x="210" y="55"/>
                  </a:lnTo>
                  <a:lnTo>
                    <a:pt x="209" y="56"/>
                  </a:lnTo>
                  <a:lnTo>
                    <a:pt x="208" y="56"/>
                  </a:lnTo>
                  <a:lnTo>
                    <a:pt x="208" y="55"/>
                  </a:lnTo>
                  <a:lnTo>
                    <a:pt x="209" y="55"/>
                  </a:lnTo>
                  <a:lnTo>
                    <a:pt x="208" y="53"/>
                  </a:lnTo>
                  <a:lnTo>
                    <a:pt x="208" y="52"/>
                  </a:lnTo>
                  <a:lnTo>
                    <a:pt x="208" y="51"/>
                  </a:lnTo>
                  <a:lnTo>
                    <a:pt x="209" y="51"/>
                  </a:lnTo>
                  <a:lnTo>
                    <a:pt x="209" y="50"/>
                  </a:lnTo>
                  <a:lnTo>
                    <a:pt x="208" y="50"/>
                  </a:lnTo>
                  <a:lnTo>
                    <a:pt x="206" y="51"/>
                  </a:lnTo>
                  <a:lnTo>
                    <a:pt x="206" y="50"/>
                  </a:lnTo>
                  <a:lnTo>
                    <a:pt x="206" y="49"/>
                  </a:lnTo>
                  <a:lnTo>
                    <a:pt x="205" y="49"/>
                  </a:lnTo>
                  <a:lnTo>
                    <a:pt x="205" y="47"/>
                  </a:lnTo>
                  <a:lnTo>
                    <a:pt x="205" y="49"/>
                  </a:lnTo>
                  <a:lnTo>
                    <a:pt x="204" y="49"/>
                  </a:lnTo>
                  <a:lnTo>
                    <a:pt x="203" y="49"/>
                  </a:lnTo>
                  <a:lnTo>
                    <a:pt x="203" y="47"/>
                  </a:lnTo>
                  <a:lnTo>
                    <a:pt x="201" y="47"/>
                  </a:lnTo>
                  <a:lnTo>
                    <a:pt x="201" y="49"/>
                  </a:lnTo>
                  <a:lnTo>
                    <a:pt x="201" y="50"/>
                  </a:lnTo>
                  <a:lnTo>
                    <a:pt x="200" y="49"/>
                  </a:lnTo>
                  <a:lnTo>
                    <a:pt x="200" y="50"/>
                  </a:lnTo>
                  <a:lnTo>
                    <a:pt x="199" y="50"/>
                  </a:lnTo>
                  <a:lnTo>
                    <a:pt x="199" y="51"/>
                  </a:lnTo>
                  <a:lnTo>
                    <a:pt x="198" y="51"/>
                  </a:lnTo>
                  <a:lnTo>
                    <a:pt x="198" y="52"/>
                  </a:lnTo>
                  <a:lnTo>
                    <a:pt x="198" y="53"/>
                  </a:lnTo>
                  <a:lnTo>
                    <a:pt x="199" y="53"/>
                  </a:lnTo>
                  <a:lnTo>
                    <a:pt x="199" y="55"/>
                  </a:lnTo>
                  <a:lnTo>
                    <a:pt x="199" y="53"/>
                  </a:lnTo>
                  <a:lnTo>
                    <a:pt x="199" y="55"/>
                  </a:lnTo>
                  <a:lnTo>
                    <a:pt x="199" y="56"/>
                  </a:lnTo>
                  <a:lnTo>
                    <a:pt x="199" y="57"/>
                  </a:lnTo>
                  <a:lnTo>
                    <a:pt x="199" y="58"/>
                  </a:lnTo>
                  <a:lnTo>
                    <a:pt x="198" y="58"/>
                  </a:lnTo>
                  <a:lnTo>
                    <a:pt x="198" y="57"/>
                  </a:lnTo>
                  <a:lnTo>
                    <a:pt x="198" y="56"/>
                  </a:lnTo>
                  <a:lnTo>
                    <a:pt x="197" y="56"/>
                  </a:lnTo>
                  <a:lnTo>
                    <a:pt x="195" y="55"/>
                  </a:lnTo>
                  <a:lnTo>
                    <a:pt x="195" y="56"/>
                  </a:lnTo>
                  <a:lnTo>
                    <a:pt x="195" y="55"/>
                  </a:lnTo>
                  <a:lnTo>
                    <a:pt x="194" y="53"/>
                  </a:lnTo>
                  <a:lnTo>
                    <a:pt x="193" y="53"/>
                  </a:lnTo>
                  <a:lnTo>
                    <a:pt x="193" y="55"/>
                  </a:lnTo>
                  <a:lnTo>
                    <a:pt x="193" y="56"/>
                  </a:lnTo>
                  <a:lnTo>
                    <a:pt x="192" y="56"/>
                  </a:lnTo>
                  <a:lnTo>
                    <a:pt x="192" y="55"/>
                  </a:lnTo>
                  <a:lnTo>
                    <a:pt x="191" y="55"/>
                  </a:lnTo>
                  <a:lnTo>
                    <a:pt x="191" y="56"/>
                  </a:lnTo>
                  <a:lnTo>
                    <a:pt x="191" y="57"/>
                  </a:lnTo>
                  <a:lnTo>
                    <a:pt x="192" y="57"/>
                  </a:lnTo>
                  <a:lnTo>
                    <a:pt x="191" y="57"/>
                  </a:lnTo>
                  <a:lnTo>
                    <a:pt x="192" y="58"/>
                  </a:lnTo>
                  <a:lnTo>
                    <a:pt x="191" y="58"/>
                  </a:lnTo>
                  <a:lnTo>
                    <a:pt x="191" y="59"/>
                  </a:lnTo>
                  <a:lnTo>
                    <a:pt x="191" y="58"/>
                  </a:lnTo>
                  <a:lnTo>
                    <a:pt x="189" y="58"/>
                  </a:lnTo>
                  <a:lnTo>
                    <a:pt x="189" y="59"/>
                  </a:lnTo>
                  <a:lnTo>
                    <a:pt x="189" y="61"/>
                  </a:lnTo>
                  <a:lnTo>
                    <a:pt x="188" y="61"/>
                  </a:lnTo>
                  <a:lnTo>
                    <a:pt x="188" y="59"/>
                  </a:lnTo>
                  <a:lnTo>
                    <a:pt x="188" y="58"/>
                  </a:lnTo>
                  <a:lnTo>
                    <a:pt x="187" y="58"/>
                  </a:lnTo>
                  <a:lnTo>
                    <a:pt x="187" y="59"/>
                  </a:lnTo>
                  <a:lnTo>
                    <a:pt x="186" y="59"/>
                  </a:lnTo>
                  <a:lnTo>
                    <a:pt x="186" y="58"/>
                  </a:lnTo>
                  <a:lnTo>
                    <a:pt x="186" y="59"/>
                  </a:lnTo>
                  <a:lnTo>
                    <a:pt x="185" y="59"/>
                  </a:lnTo>
                  <a:lnTo>
                    <a:pt x="185" y="61"/>
                  </a:lnTo>
                  <a:lnTo>
                    <a:pt x="186" y="61"/>
                  </a:lnTo>
                  <a:lnTo>
                    <a:pt x="186" y="62"/>
                  </a:lnTo>
                  <a:lnTo>
                    <a:pt x="187" y="62"/>
                  </a:lnTo>
                  <a:lnTo>
                    <a:pt x="187" y="61"/>
                  </a:lnTo>
                  <a:lnTo>
                    <a:pt x="188" y="61"/>
                  </a:lnTo>
                  <a:lnTo>
                    <a:pt x="188" y="62"/>
                  </a:lnTo>
                  <a:lnTo>
                    <a:pt x="187" y="62"/>
                  </a:lnTo>
                  <a:lnTo>
                    <a:pt x="186" y="62"/>
                  </a:lnTo>
                  <a:lnTo>
                    <a:pt x="185" y="62"/>
                  </a:lnTo>
                  <a:lnTo>
                    <a:pt x="185" y="61"/>
                  </a:lnTo>
                  <a:lnTo>
                    <a:pt x="183" y="61"/>
                  </a:lnTo>
                  <a:lnTo>
                    <a:pt x="185" y="59"/>
                  </a:lnTo>
                  <a:lnTo>
                    <a:pt x="185" y="58"/>
                  </a:lnTo>
                  <a:lnTo>
                    <a:pt x="186" y="58"/>
                  </a:lnTo>
                  <a:lnTo>
                    <a:pt x="185" y="57"/>
                  </a:lnTo>
                  <a:lnTo>
                    <a:pt x="186" y="57"/>
                  </a:lnTo>
                  <a:lnTo>
                    <a:pt x="186" y="56"/>
                  </a:lnTo>
                  <a:lnTo>
                    <a:pt x="185" y="56"/>
                  </a:lnTo>
                  <a:lnTo>
                    <a:pt x="185" y="57"/>
                  </a:lnTo>
                  <a:lnTo>
                    <a:pt x="183" y="57"/>
                  </a:lnTo>
                  <a:lnTo>
                    <a:pt x="183" y="56"/>
                  </a:lnTo>
                  <a:lnTo>
                    <a:pt x="182" y="56"/>
                  </a:lnTo>
                  <a:lnTo>
                    <a:pt x="182" y="57"/>
                  </a:lnTo>
                  <a:lnTo>
                    <a:pt x="182" y="56"/>
                  </a:lnTo>
                  <a:lnTo>
                    <a:pt x="181" y="56"/>
                  </a:lnTo>
                  <a:lnTo>
                    <a:pt x="182" y="56"/>
                  </a:lnTo>
                  <a:lnTo>
                    <a:pt x="181" y="56"/>
                  </a:lnTo>
                  <a:lnTo>
                    <a:pt x="181" y="57"/>
                  </a:lnTo>
                  <a:lnTo>
                    <a:pt x="182" y="57"/>
                  </a:lnTo>
                  <a:lnTo>
                    <a:pt x="182" y="58"/>
                  </a:lnTo>
                  <a:lnTo>
                    <a:pt x="182" y="59"/>
                  </a:lnTo>
                  <a:lnTo>
                    <a:pt x="183" y="59"/>
                  </a:lnTo>
                  <a:lnTo>
                    <a:pt x="183" y="61"/>
                  </a:lnTo>
                  <a:lnTo>
                    <a:pt x="183" y="62"/>
                  </a:lnTo>
                  <a:lnTo>
                    <a:pt x="182" y="63"/>
                  </a:lnTo>
                  <a:lnTo>
                    <a:pt x="182" y="62"/>
                  </a:lnTo>
                  <a:lnTo>
                    <a:pt x="181" y="62"/>
                  </a:lnTo>
                  <a:lnTo>
                    <a:pt x="180" y="62"/>
                  </a:lnTo>
                  <a:lnTo>
                    <a:pt x="179" y="62"/>
                  </a:lnTo>
                  <a:lnTo>
                    <a:pt x="177" y="62"/>
                  </a:lnTo>
                  <a:lnTo>
                    <a:pt x="176" y="63"/>
                  </a:lnTo>
                  <a:lnTo>
                    <a:pt x="176" y="62"/>
                  </a:lnTo>
                  <a:lnTo>
                    <a:pt x="176" y="63"/>
                  </a:lnTo>
                  <a:lnTo>
                    <a:pt x="175" y="63"/>
                  </a:lnTo>
                  <a:lnTo>
                    <a:pt x="175" y="62"/>
                  </a:lnTo>
                  <a:lnTo>
                    <a:pt x="175" y="63"/>
                  </a:lnTo>
                  <a:lnTo>
                    <a:pt x="174" y="63"/>
                  </a:lnTo>
                  <a:lnTo>
                    <a:pt x="174" y="62"/>
                  </a:lnTo>
                  <a:lnTo>
                    <a:pt x="175" y="62"/>
                  </a:lnTo>
                  <a:lnTo>
                    <a:pt x="174" y="62"/>
                  </a:lnTo>
                  <a:lnTo>
                    <a:pt x="174" y="63"/>
                  </a:lnTo>
                  <a:lnTo>
                    <a:pt x="174" y="64"/>
                  </a:lnTo>
                  <a:lnTo>
                    <a:pt x="175" y="64"/>
                  </a:lnTo>
                  <a:lnTo>
                    <a:pt x="175" y="65"/>
                  </a:lnTo>
                  <a:lnTo>
                    <a:pt x="175" y="64"/>
                  </a:lnTo>
                  <a:lnTo>
                    <a:pt x="175" y="65"/>
                  </a:lnTo>
                  <a:lnTo>
                    <a:pt x="175" y="67"/>
                  </a:lnTo>
                  <a:lnTo>
                    <a:pt x="176" y="67"/>
                  </a:lnTo>
                  <a:lnTo>
                    <a:pt x="176" y="68"/>
                  </a:lnTo>
                  <a:lnTo>
                    <a:pt x="175" y="68"/>
                  </a:lnTo>
                  <a:lnTo>
                    <a:pt x="175" y="67"/>
                  </a:lnTo>
                  <a:lnTo>
                    <a:pt x="175" y="65"/>
                  </a:lnTo>
                  <a:lnTo>
                    <a:pt x="174" y="65"/>
                  </a:lnTo>
                  <a:lnTo>
                    <a:pt x="174" y="67"/>
                  </a:lnTo>
                  <a:lnTo>
                    <a:pt x="174" y="65"/>
                  </a:lnTo>
                  <a:lnTo>
                    <a:pt x="174" y="67"/>
                  </a:lnTo>
                  <a:lnTo>
                    <a:pt x="174" y="68"/>
                  </a:lnTo>
                  <a:lnTo>
                    <a:pt x="173" y="68"/>
                  </a:lnTo>
                  <a:lnTo>
                    <a:pt x="173" y="67"/>
                  </a:lnTo>
                  <a:lnTo>
                    <a:pt x="171" y="67"/>
                  </a:lnTo>
                  <a:lnTo>
                    <a:pt x="170" y="67"/>
                  </a:lnTo>
                  <a:lnTo>
                    <a:pt x="170" y="68"/>
                  </a:lnTo>
                  <a:lnTo>
                    <a:pt x="169" y="68"/>
                  </a:lnTo>
                  <a:lnTo>
                    <a:pt x="168" y="68"/>
                  </a:lnTo>
                  <a:lnTo>
                    <a:pt x="167" y="68"/>
                  </a:lnTo>
                  <a:lnTo>
                    <a:pt x="167" y="69"/>
                  </a:lnTo>
                  <a:lnTo>
                    <a:pt x="165" y="69"/>
                  </a:lnTo>
                  <a:lnTo>
                    <a:pt x="164" y="69"/>
                  </a:lnTo>
                  <a:lnTo>
                    <a:pt x="163" y="69"/>
                  </a:lnTo>
                  <a:lnTo>
                    <a:pt x="163" y="70"/>
                  </a:lnTo>
                  <a:lnTo>
                    <a:pt x="162" y="70"/>
                  </a:lnTo>
                  <a:lnTo>
                    <a:pt x="161" y="70"/>
                  </a:lnTo>
                  <a:lnTo>
                    <a:pt x="162" y="70"/>
                  </a:lnTo>
                  <a:lnTo>
                    <a:pt x="163" y="70"/>
                  </a:lnTo>
                  <a:lnTo>
                    <a:pt x="163" y="71"/>
                  </a:lnTo>
                  <a:lnTo>
                    <a:pt x="162" y="71"/>
                  </a:lnTo>
                  <a:lnTo>
                    <a:pt x="163" y="71"/>
                  </a:lnTo>
                  <a:lnTo>
                    <a:pt x="162" y="71"/>
                  </a:lnTo>
                  <a:lnTo>
                    <a:pt x="161" y="73"/>
                  </a:lnTo>
                  <a:lnTo>
                    <a:pt x="161" y="71"/>
                  </a:lnTo>
                  <a:lnTo>
                    <a:pt x="161" y="70"/>
                  </a:lnTo>
                  <a:lnTo>
                    <a:pt x="161" y="71"/>
                  </a:lnTo>
                  <a:lnTo>
                    <a:pt x="161" y="73"/>
                  </a:lnTo>
                  <a:lnTo>
                    <a:pt x="159" y="73"/>
                  </a:lnTo>
                  <a:lnTo>
                    <a:pt x="159" y="71"/>
                  </a:lnTo>
                  <a:lnTo>
                    <a:pt x="158" y="71"/>
                  </a:lnTo>
                  <a:lnTo>
                    <a:pt x="158" y="73"/>
                  </a:lnTo>
                  <a:lnTo>
                    <a:pt x="157" y="73"/>
                  </a:lnTo>
                  <a:lnTo>
                    <a:pt x="156" y="73"/>
                  </a:lnTo>
                  <a:lnTo>
                    <a:pt x="156" y="74"/>
                  </a:lnTo>
                  <a:lnTo>
                    <a:pt x="156" y="73"/>
                  </a:lnTo>
                  <a:lnTo>
                    <a:pt x="155" y="73"/>
                  </a:lnTo>
                  <a:lnTo>
                    <a:pt x="155" y="74"/>
                  </a:lnTo>
                  <a:lnTo>
                    <a:pt x="155" y="75"/>
                  </a:lnTo>
                  <a:lnTo>
                    <a:pt x="155" y="76"/>
                  </a:lnTo>
                  <a:lnTo>
                    <a:pt x="155" y="77"/>
                  </a:lnTo>
                  <a:lnTo>
                    <a:pt x="156" y="77"/>
                  </a:lnTo>
                  <a:lnTo>
                    <a:pt x="157" y="77"/>
                  </a:lnTo>
                  <a:lnTo>
                    <a:pt x="157" y="79"/>
                  </a:lnTo>
                  <a:lnTo>
                    <a:pt x="158" y="79"/>
                  </a:lnTo>
                  <a:lnTo>
                    <a:pt x="158" y="77"/>
                  </a:lnTo>
                  <a:lnTo>
                    <a:pt x="158" y="76"/>
                  </a:lnTo>
                  <a:lnTo>
                    <a:pt x="158" y="77"/>
                  </a:lnTo>
                  <a:lnTo>
                    <a:pt x="158" y="79"/>
                  </a:lnTo>
                  <a:lnTo>
                    <a:pt x="158" y="77"/>
                  </a:lnTo>
                  <a:lnTo>
                    <a:pt x="159" y="76"/>
                  </a:lnTo>
                  <a:lnTo>
                    <a:pt x="161" y="76"/>
                  </a:lnTo>
                  <a:lnTo>
                    <a:pt x="161" y="77"/>
                  </a:lnTo>
                  <a:lnTo>
                    <a:pt x="159" y="77"/>
                  </a:lnTo>
                  <a:lnTo>
                    <a:pt x="159" y="79"/>
                  </a:lnTo>
                  <a:lnTo>
                    <a:pt x="158" y="79"/>
                  </a:lnTo>
                  <a:lnTo>
                    <a:pt x="157" y="79"/>
                  </a:lnTo>
                  <a:lnTo>
                    <a:pt x="157" y="80"/>
                  </a:lnTo>
                  <a:lnTo>
                    <a:pt x="157" y="81"/>
                  </a:lnTo>
                  <a:lnTo>
                    <a:pt x="157" y="82"/>
                  </a:lnTo>
                  <a:lnTo>
                    <a:pt x="157" y="81"/>
                  </a:lnTo>
                  <a:lnTo>
                    <a:pt x="156" y="81"/>
                  </a:lnTo>
                  <a:lnTo>
                    <a:pt x="156" y="80"/>
                  </a:lnTo>
                  <a:lnTo>
                    <a:pt x="157" y="80"/>
                  </a:lnTo>
                  <a:lnTo>
                    <a:pt x="157" y="79"/>
                  </a:lnTo>
                  <a:lnTo>
                    <a:pt x="156" y="79"/>
                  </a:lnTo>
                  <a:lnTo>
                    <a:pt x="156" y="80"/>
                  </a:lnTo>
                  <a:lnTo>
                    <a:pt x="156" y="79"/>
                  </a:lnTo>
                  <a:lnTo>
                    <a:pt x="155" y="79"/>
                  </a:lnTo>
                  <a:lnTo>
                    <a:pt x="153" y="79"/>
                  </a:lnTo>
                  <a:lnTo>
                    <a:pt x="153" y="80"/>
                  </a:lnTo>
                  <a:lnTo>
                    <a:pt x="152" y="80"/>
                  </a:lnTo>
                  <a:lnTo>
                    <a:pt x="152" y="81"/>
                  </a:lnTo>
                  <a:lnTo>
                    <a:pt x="152" y="82"/>
                  </a:lnTo>
                  <a:lnTo>
                    <a:pt x="151" y="82"/>
                  </a:lnTo>
                  <a:lnTo>
                    <a:pt x="151" y="83"/>
                  </a:lnTo>
                  <a:lnTo>
                    <a:pt x="152" y="83"/>
                  </a:lnTo>
                  <a:lnTo>
                    <a:pt x="151" y="83"/>
                  </a:lnTo>
                  <a:lnTo>
                    <a:pt x="151" y="85"/>
                  </a:lnTo>
                  <a:lnTo>
                    <a:pt x="150" y="85"/>
                  </a:lnTo>
                  <a:lnTo>
                    <a:pt x="150" y="83"/>
                  </a:lnTo>
                  <a:lnTo>
                    <a:pt x="150" y="85"/>
                  </a:lnTo>
                  <a:lnTo>
                    <a:pt x="149" y="85"/>
                  </a:lnTo>
                  <a:lnTo>
                    <a:pt x="150" y="85"/>
                  </a:lnTo>
                  <a:lnTo>
                    <a:pt x="150" y="83"/>
                  </a:lnTo>
                  <a:lnTo>
                    <a:pt x="151" y="83"/>
                  </a:lnTo>
                  <a:lnTo>
                    <a:pt x="150" y="83"/>
                  </a:lnTo>
                  <a:lnTo>
                    <a:pt x="150" y="82"/>
                  </a:lnTo>
                  <a:lnTo>
                    <a:pt x="150" y="81"/>
                  </a:lnTo>
                  <a:lnTo>
                    <a:pt x="151" y="81"/>
                  </a:lnTo>
                  <a:lnTo>
                    <a:pt x="151" y="80"/>
                  </a:lnTo>
                  <a:lnTo>
                    <a:pt x="151" y="79"/>
                  </a:lnTo>
                  <a:lnTo>
                    <a:pt x="152" y="79"/>
                  </a:lnTo>
                  <a:lnTo>
                    <a:pt x="152" y="77"/>
                  </a:lnTo>
                  <a:lnTo>
                    <a:pt x="152" y="76"/>
                  </a:lnTo>
                  <a:lnTo>
                    <a:pt x="152" y="75"/>
                  </a:lnTo>
                  <a:lnTo>
                    <a:pt x="152" y="74"/>
                  </a:lnTo>
                  <a:lnTo>
                    <a:pt x="153" y="74"/>
                  </a:lnTo>
                  <a:lnTo>
                    <a:pt x="152" y="74"/>
                  </a:lnTo>
                  <a:lnTo>
                    <a:pt x="152" y="73"/>
                  </a:lnTo>
                  <a:lnTo>
                    <a:pt x="153" y="73"/>
                  </a:lnTo>
                  <a:lnTo>
                    <a:pt x="153" y="71"/>
                  </a:lnTo>
                  <a:lnTo>
                    <a:pt x="153" y="70"/>
                  </a:lnTo>
                  <a:lnTo>
                    <a:pt x="155" y="70"/>
                  </a:lnTo>
                  <a:lnTo>
                    <a:pt x="156" y="70"/>
                  </a:lnTo>
                  <a:lnTo>
                    <a:pt x="155" y="70"/>
                  </a:lnTo>
                  <a:lnTo>
                    <a:pt x="156" y="70"/>
                  </a:lnTo>
                  <a:lnTo>
                    <a:pt x="156" y="69"/>
                  </a:lnTo>
                  <a:lnTo>
                    <a:pt x="155" y="69"/>
                  </a:lnTo>
                  <a:lnTo>
                    <a:pt x="156" y="69"/>
                  </a:lnTo>
                  <a:lnTo>
                    <a:pt x="156" y="68"/>
                  </a:lnTo>
                  <a:lnTo>
                    <a:pt x="156" y="69"/>
                  </a:lnTo>
                  <a:lnTo>
                    <a:pt x="155" y="68"/>
                  </a:lnTo>
                  <a:lnTo>
                    <a:pt x="155" y="69"/>
                  </a:lnTo>
                  <a:lnTo>
                    <a:pt x="155" y="68"/>
                  </a:lnTo>
                  <a:lnTo>
                    <a:pt x="156" y="68"/>
                  </a:lnTo>
                  <a:lnTo>
                    <a:pt x="157" y="68"/>
                  </a:lnTo>
                  <a:lnTo>
                    <a:pt x="158" y="68"/>
                  </a:lnTo>
                  <a:lnTo>
                    <a:pt x="159" y="68"/>
                  </a:lnTo>
                  <a:lnTo>
                    <a:pt x="161" y="68"/>
                  </a:lnTo>
                  <a:lnTo>
                    <a:pt x="161" y="67"/>
                  </a:lnTo>
                  <a:lnTo>
                    <a:pt x="161" y="65"/>
                  </a:lnTo>
                  <a:lnTo>
                    <a:pt x="159" y="65"/>
                  </a:lnTo>
                  <a:lnTo>
                    <a:pt x="158" y="65"/>
                  </a:lnTo>
                  <a:lnTo>
                    <a:pt x="157" y="65"/>
                  </a:lnTo>
                  <a:lnTo>
                    <a:pt x="157" y="64"/>
                  </a:lnTo>
                  <a:lnTo>
                    <a:pt x="158" y="64"/>
                  </a:lnTo>
                  <a:lnTo>
                    <a:pt x="158" y="63"/>
                  </a:lnTo>
                  <a:lnTo>
                    <a:pt x="158" y="64"/>
                  </a:lnTo>
                  <a:lnTo>
                    <a:pt x="158" y="65"/>
                  </a:lnTo>
                  <a:lnTo>
                    <a:pt x="159" y="65"/>
                  </a:lnTo>
                  <a:lnTo>
                    <a:pt x="161" y="65"/>
                  </a:lnTo>
                  <a:lnTo>
                    <a:pt x="162" y="65"/>
                  </a:lnTo>
                  <a:lnTo>
                    <a:pt x="162" y="64"/>
                  </a:lnTo>
                  <a:lnTo>
                    <a:pt x="162" y="65"/>
                  </a:lnTo>
                  <a:lnTo>
                    <a:pt x="162" y="64"/>
                  </a:lnTo>
                  <a:lnTo>
                    <a:pt x="163" y="64"/>
                  </a:lnTo>
                  <a:lnTo>
                    <a:pt x="163" y="65"/>
                  </a:lnTo>
                  <a:lnTo>
                    <a:pt x="164" y="65"/>
                  </a:lnTo>
                  <a:lnTo>
                    <a:pt x="164" y="64"/>
                  </a:lnTo>
                  <a:lnTo>
                    <a:pt x="165" y="64"/>
                  </a:lnTo>
                  <a:lnTo>
                    <a:pt x="167" y="64"/>
                  </a:lnTo>
                  <a:lnTo>
                    <a:pt x="168" y="63"/>
                  </a:lnTo>
                  <a:lnTo>
                    <a:pt x="167" y="63"/>
                  </a:lnTo>
                  <a:lnTo>
                    <a:pt x="167" y="62"/>
                  </a:lnTo>
                  <a:lnTo>
                    <a:pt x="165" y="62"/>
                  </a:lnTo>
                  <a:lnTo>
                    <a:pt x="165" y="63"/>
                  </a:lnTo>
                  <a:lnTo>
                    <a:pt x="164" y="63"/>
                  </a:lnTo>
                  <a:lnTo>
                    <a:pt x="164" y="62"/>
                  </a:lnTo>
                  <a:lnTo>
                    <a:pt x="165" y="62"/>
                  </a:lnTo>
                  <a:lnTo>
                    <a:pt x="167" y="62"/>
                  </a:lnTo>
                  <a:lnTo>
                    <a:pt x="168" y="62"/>
                  </a:lnTo>
                  <a:lnTo>
                    <a:pt x="168" y="63"/>
                  </a:lnTo>
                  <a:lnTo>
                    <a:pt x="168" y="62"/>
                  </a:lnTo>
                  <a:lnTo>
                    <a:pt x="167" y="62"/>
                  </a:lnTo>
                  <a:lnTo>
                    <a:pt x="168" y="62"/>
                  </a:lnTo>
                  <a:lnTo>
                    <a:pt x="168" y="61"/>
                  </a:lnTo>
                  <a:lnTo>
                    <a:pt x="168" y="59"/>
                  </a:lnTo>
                  <a:lnTo>
                    <a:pt x="168" y="58"/>
                  </a:lnTo>
                  <a:lnTo>
                    <a:pt x="169" y="58"/>
                  </a:lnTo>
                  <a:lnTo>
                    <a:pt x="170" y="58"/>
                  </a:lnTo>
                  <a:lnTo>
                    <a:pt x="170" y="59"/>
                  </a:lnTo>
                  <a:lnTo>
                    <a:pt x="169" y="59"/>
                  </a:lnTo>
                  <a:lnTo>
                    <a:pt x="169" y="58"/>
                  </a:lnTo>
                  <a:lnTo>
                    <a:pt x="169" y="59"/>
                  </a:lnTo>
                  <a:lnTo>
                    <a:pt x="170" y="59"/>
                  </a:lnTo>
                  <a:lnTo>
                    <a:pt x="169" y="59"/>
                  </a:lnTo>
                  <a:lnTo>
                    <a:pt x="169" y="61"/>
                  </a:lnTo>
                  <a:lnTo>
                    <a:pt x="169" y="59"/>
                  </a:lnTo>
                  <a:lnTo>
                    <a:pt x="168" y="59"/>
                  </a:lnTo>
                  <a:lnTo>
                    <a:pt x="169" y="61"/>
                  </a:lnTo>
                  <a:lnTo>
                    <a:pt x="170" y="61"/>
                  </a:lnTo>
                  <a:lnTo>
                    <a:pt x="171" y="61"/>
                  </a:lnTo>
                  <a:lnTo>
                    <a:pt x="171" y="62"/>
                  </a:lnTo>
                  <a:lnTo>
                    <a:pt x="173" y="62"/>
                  </a:lnTo>
                  <a:lnTo>
                    <a:pt x="173" y="61"/>
                  </a:lnTo>
                  <a:lnTo>
                    <a:pt x="173" y="59"/>
                  </a:lnTo>
                  <a:lnTo>
                    <a:pt x="173" y="61"/>
                  </a:lnTo>
                  <a:lnTo>
                    <a:pt x="171" y="61"/>
                  </a:lnTo>
                  <a:lnTo>
                    <a:pt x="173" y="61"/>
                  </a:lnTo>
                  <a:lnTo>
                    <a:pt x="171" y="61"/>
                  </a:lnTo>
                  <a:lnTo>
                    <a:pt x="171" y="59"/>
                  </a:lnTo>
                  <a:lnTo>
                    <a:pt x="173" y="59"/>
                  </a:lnTo>
                  <a:lnTo>
                    <a:pt x="171" y="59"/>
                  </a:lnTo>
                  <a:lnTo>
                    <a:pt x="173" y="59"/>
                  </a:lnTo>
                  <a:lnTo>
                    <a:pt x="173" y="58"/>
                  </a:lnTo>
                  <a:lnTo>
                    <a:pt x="174" y="58"/>
                  </a:lnTo>
                  <a:lnTo>
                    <a:pt x="174" y="57"/>
                  </a:lnTo>
                  <a:lnTo>
                    <a:pt x="174" y="58"/>
                  </a:lnTo>
                  <a:lnTo>
                    <a:pt x="175" y="58"/>
                  </a:lnTo>
                  <a:lnTo>
                    <a:pt x="175" y="57"/>
                  </a:lnTo>
                  <a:lnTo>
                    <a:pt x="176" y="57"/>
                  </a:lnTo>
                  <a:lnTo>
                    <a:pt x="177" y="58"/>
                  </a:lnTo>
                  <a:lnTo>
                    <a:pt x="177" y="57"/>
                  </a:lnTo>
                  <a:lnTo>
                    <a:pt x="177" y="58"/>
                  </a:lnTo>
                  <a:lnTo>
                    <a:pt x="177" y="59"/>
                  </a:lnTo>
                  <a:lnTo>
                    <a:pt x="179" y="59"/>
                  </a:lnTo>
                  <a:lnTo>
                    <a:pt x="179" y="61"/>
                  </a:lnTo>
                  <a:lnTo>
                    <a:pt x="180" y="59"/>
                  </a:lnTo>
                  <a:lnTo>
                    <a:pt x="180" y="61"/>
                  </a:lnTo>
                  <a:lnTo>
                    <a:pt x="181" y="59"/>
                  </a:lnTo>
                  <a:lnTo>
                    <a:pt x="180" y="59"/>
                  </a:lnTo>
                  <a:lnTo>
                    <a:pt x="180" y="58"/>
                  </a:lnTo>
                  <a:lnTo>
                    <a:pt x="180" y="59"/>
                  </a:lnTo>
                  <a:lnTo>
                    <a:pt x="180" y="58"/>
                  </a:lnTo>
                  <a:lnTo>
                    <a:pt x="180" y="57"/>
                  </a:lnTo>
                  <a:lnTo>
                    <a:pt x="179" y="57"/>
                  </a:lnTo>
                  <a:lnTo>
                    <a:pt x="179" y="56"/>
                  </a:lnTo>
                  <a:lnTo>
                    <a:pt x="180" y="56"/>
                  </a:lnTo>
                  <a:lnTo>
                    <a:pt x="179" y="56"/>
                  </a:lnTo>
                  <a:lnTo>
                    <a:pt x="179" y="55"/>
                  </a:lnTo>
                  <a:lnTo>
                    <a:pt x="180" y="55"/>
                  </a:lnTo>
                  <a:lnTo>
                    <a:pt x="181" y="55"/>
                  </a:lnTo>
                  <a:lnTo>
                    <a:pt x="181" y="56"/>
                  </a:lnTo>
                  <a:lnTo>
                    <a:pt x="181" y="55"/>
                  </a:lnTo>
                  <a:lnTo>
                    <a:pt x="182" y="55"/>
                  </a:lnTo>
                  <a:lnTo>
                    <a:pt x="183" y="55"/>
                  </a:lnTo>
                  <a:lnTo>
                    <a:pt x="185" y="55"/>
                  </a:lnTo>
                  <a:lnTo>
                    <a:pt x="185" y="56"/>
                  </a:lnTo>
                  <a:lnTo>
                    <a:pt x="186" y="56"/>
                  </a:lnTo>
                  <a:lnTo>
                    <a:pt x="186" y="55"/>
                  </a:lnTo>
                  <a:lnTo>
                    <a:pt x="185" y="55"/>
                  </a:lnTo>
                  <a:lnTo>
                    <a:pt x="186" y="55"/>
                  </a:lnTo>
                  <a:lnTo>
                    <a:pt x="187" y="55"/>
                  </a:lnTo>
                  <a:lnTo>
                    <a:pt x="188" y="56"/>
                  </a:lnTo>
                  <a:lnTo>
                    <a:pt x="187" y="56"/>
                  </a:lnTo>
                  <a:lnTo>
                    <a:pt x="188" y="56"/>
                  </a:lnTo>
                  <a:lnTo>
                    <a:pt x="188" y="57"/>
                  </a:lnTo>
                  <a:lnTo>
                    <a:pt x="189" y="57"/>
                  </a:lnTo>
                  <a:lnTo>
                    <a:pt x="189" y="56"/>
                  </a:lnTo>
                  <a:lnTo>
                    <a:pt x="188" y="56"/>
                  </a:lnTo>
                  <a:lnTo>
                    <a:pt x="189" y="56"/>
                  </a:lnTo>
                  <a:lnTo>
                    <a:pt x="188" y="55"/>
                  </a:lnTo>
                  <a:lnTo>
                    <a:pt x="188" y="53"/>
                  </a:lnTo>
                  <a:lnTo>
                    <a:pt x="189" y="53"/>
                  </a:lnTo>
                  <a:lnTo>
                    <a:pt x="189" y="55"/>
                  </a:lnTo>
                  <a:lnTo>
                    <a:pt x="189" y="53"/>
                  </a:lnTo>
                  <a:lnTo>
                    <a:pt x="191" y="53"/>
                  </a:lnTo>
                  <a:lnTo>
                    <a:pt x="191" y="52"/>
                  </a:lnTo>
                  <a:lnTo>
                    <a:pt x="192" y="52"/>
                  </a:lnTo>
                  <a:lnTo>
                    <a:pt x="193" y="52"/>
                  </a:lnTo>
                  <a:lnTo>
                    <a:pt x="193" y="51"/>
                  </a:lnTo>
                  <a:lnTo>
                    <a:pt x="194" y="51"/>
                  </a:lnTo>
                  <a:lnTo>
                    <a:pt x="194" y="50"/>
                  </a:lnTo>
                  <a:lnTo>
                    <a:pt x="195" y="50"/>
                  </a:lnTo>
                  <a:lnTo>
                    <a:pt x="197" y="50"/>
                  </a:lnTo>
                  <a:lnTo>
                    <a:pt x="197" y="49"/>
                  </a:lnTo>
                  <a:lnTo>
                    <a:pt x="198" y="49"/>
                  </a:lnTo>
                  <a:lnTo>
                    <a:pt x="198" y="47"/>
                  </a:lnTo>
                  <a:lnTo>
                    <a:pt x="198" y="46"/>
                  </a:lnTo>
                  <a:lnTo>
                    <a:pt x="197" y="46"/>
                  </a:lnTo>
                  <a:lnTo>
                    <a:pt x="198" y="46"/>
                  </a:lnTo>
                  <a:lnTo>
                    <a:pt x="198" y="45"/>
                  </a:lnTo>
                  <a:lnTo>
                    <a:pt x="199" y="45"/>
                  </a:lnTo>
                  <a:lnTo>
                    <a:pt x="200" y="45"/>
                  </a:lnTo>
                  <a:lnTo>
                    <a:pt x="200" y="44"/>
                  </a:lnTo>
                  <a:lnTo>
                    <a:pt x="201" y="44"/>
                  </a:lnTo>
                  <a:lnTo>
                    <a:pt x="201" y="43"/>
                  </a:lnTo>
                  <a:lnTo>
                    <a:pt x="200" y="43"/>
                  </a:lnTo>
                  <a:lnTo>
                    <a:pt x="199" y="43"/>
                  </a:lnTo>
                  <a:lnTo>
                    <a:pt x="199" y="41"/>
                  </a:lnTo>
                  <a:lnTo>
                    <a:pt x="198" y="41"/>
                  </a:lnTo>
                  <a:lnTo>
                    <a:pt x="197" y="41"/>
                  </a:lnTo>
                  <a:lnTo>
                    <a:pt x="197" y="43"/>
                  </a:lnTo>
                  <a:lnTo>
                    <a:pt x="197" y="41"/>
                  </a:lnTo>
                  <a:lnTo>
                    <a:pt x="198" y="41"/>
                  </a:lnTo>
                  <a:lnTo>
                    <a:pt x="198" y="40"/>
                  </a:lnTo>
                  <a:lnTo>
                    <a:pt x="199" y="40"/>
                  </a:lnTo>
                  <a:lnTo>
                    <a:pt x="199" y="39"/>
                  </a:lnTo>
                  <a:lnTo>
                    <a:pt x="199" y="38"/>
                  </a:lnTo>
                  <a:lnTo>
                    <a:pt x="200" y="38"/>
                  </a:lnTo>
                  <a:lnTo>
                    <a:pt x="200" y="37"/>
                  </a:lnTo>
                  <a:lnTo>
                    <a:pt x="200" y="35"/>
                  </a:lnTo>
                  <a:lnTo>
                    <a:pt x="199" y="35"/>
                  </a:lnTo>
                  <a:lnTo>
                    <a:pt x="199" y="37"/>
                  </a:lnTo>
                  <a:lnTo>
                    <a:pt x="198" y="37"/>
                  </a:lnTo>
                  <a:lnTo>
                    <a:pt x="197" y="37"/>
                  </a:lnTo>
                  <a:lnTo>
                    <a:pt x="195" y="37"/>
                  </a:lnTo>
                  <a:lnTo>
                    <a:pt x="195" y="35"/>
                  </a:lnTo>
                  <a:lnTo>
                    <a:pt x="197" y="35"/>
                  </a:lnTo>
                  <a:lnTo>
                    <a:pt x="198" y="35"/>
                  </a:lnTo>
                  <a:lnTo>
                    <a:pt x="198" y="34"/>
                  </a:lnTo>
                  <a:lnTo>
                    <a:pt x="198" y="33"/>
                  </a:lnTo>
                  <a:lnTo>
                    <a:pt x="199" y="33"/>
                  </a:lnTo>
                  <a:lnTo>
                    <a:pt x="198" y="33"/>
                  </a:lnTo>
                  <a:lnTo>
                    <a:pt x="199" y="33"/>
                  </a:lnTo>
                  <a:lnTo>
                    <a:pt x="199" y="32"/>
                  </a:lnTo>
                  <a:lnTo>
                    <a:pt x="199" y="31"/>
                  </a:lnTo>
                  <a:lnTo>
                    <a:pt x="198" y="31"/>
                  </a:lnTo>
                  <a:lnTo>
                    <a:pt x="198" y="32"/>
                  </a:lnTo>
                  <a:lnTo>
                    <a:pt x="197" y="32"/>
                  </a:lnTo>
                  <a:lnTo>
                    <a:pt x="197" y="31"/>
                  </a:lnTo>
                  <a:lnTo>
                    <a:pt x="197" y="29"/>
                  </a:lnTo>
                  <a:lnTo>
                    <a:pt x="198" y="29"/>
                  </a:lnTo>
                  <a:lnTo>
                    <a:pt x="197" y="29"/>
                  </a:lnTo>
                  <a:lnTo>
                    <a:pt x="197" y="28"/>
                  </a:lnTo>
                  <a:lnTo>
                    <a:pt x="197" y="27"/>
                  </a:lnTo>
                  <a:lnTo>
                    <a:pt x="197" y="26"/>
                  </a:lnTo>
                  <a:lnTo>
                    <a:pt x="197" y="25"/>
                  </a:lnTo>
                  <a:lnTo>
                    <a:pt x="195" y="25"/>
                  </a:lnTo>
                  <a:lnTo>
                    <a:pt x="195" y="26"/>
                  </a:lnTo>
                  <a:lnTo>
                    <a:pt x="195" y="27"/>
                  </a:lnTo>
                  <a:lnTo>
                    <a:pt x="195" y="28"/>
                  </a:lnTo>
                  <a:lnTo>
                    <a:pt x="194" y="28"/>
                  </a:lnTo>
                  <a:lnTo>
                    <a:pt x="194" y="27"/>
                  </a:lnTo>
                  <a:lnTo>
                    <a:pt x="193" y="26"/>
                  </a:lnTo>
                  <a:lnTo>
                    <a:pt x="194" y="26"/>
                  </a:lnTo>
                  <a:lnTo>
                    <a:pt x="194" y="25"/>
                  </a:lnTo>
                  <a:lnTo>
                    <a:pt x="194" y="23"/>
                  </a:lnTo>
                  <a:lnTo>
                    <a:pt x="193" y="23"/>
                  </a:lnTo>
                  <a:lnTo>
                    <a:pt x="193" y="25"/>
                  </a:lnTo>
                  <a:lnTo>
                    <a:pt x="192" y="25"/>
                  </a:lnTo>
                  <a:lnTo>
                    <a:pt x="192" y="23"/>
                  </a:lnTo>
                  <a:lnTo>
                    <a:pt x="193" y="23"/>
                  </a:lnTo>
                  <a:lnTo>
                    <a:pt x="192" y="23"/>
                  </a:lnTo>
                  <a:lnTo>
                    <a:pt x="193" y="23"/>
                  </a:lnTo>
                  <a:lnTo>
                    <a:pt x="193" y="22"/>
                  </a:lnTo>
                  <a:lnTo>
                    <a:pt x="192" y="22"/>
                  </a:lnTo>
                  <a:lnTo>
                    <a:pt x="192" y="21"/>
                  </a:lnTo>
                  <a:lnTo>
                    <a:pt x="193" y="21"/>
                  </a:lnTo>
                  <a:lnTo>
                    <a:pt x="192" y="21"/>
                  </a:lnTo>
                  <a:lnTo>
                    <a:pt x="193" y="20"/>
                  </a:lnTo>
                  <a:lnTo>
                    <a:pt x="193" y="21"/>
                  </a:lnTo>
                  <a:lnTo>
                    <a:pt x="193" y="20"/>
                  </a:lnTo>
                  <a:lnTo>
                    <a:pt x="194" y="20"/>
                  </a:lnTo>
                  <a:lnTo>
                    <a:pt x="194" y="18"/>
                  </a:lnTo>
                  <a:lnTo>
                    <a:pt x="193" y="17"/>
                  </a:lnTo>
                  <a:lnTo>
                    <a:pt x="193" y="18"/>
                  </a:lnTo>
                  <a:lnTo>
                    <a:pt x="193" y="17"/>
                  </a:lnTo>
                  <a:lnTo>
                    <a:pt x="193" y="16"/>
                  </a:lnTo>
                  <a:lnTo>
                    <a:pt x="192" y="15"/>
                  </a:lnTo>
                  <a:lnTo>
                    <a:pt x="192" y="16"/>
                  </a:lnTo>
                  <a:lnTo>
                    <a:pt x="192" y="17"/>
                  </a:lnTo>
                  <a:lnTo>
                    <a:pt x="191" y="17"/>
                  </a:lnTo>
                  <a:lnTo>
                    <a:pt x="189" y="17"/>
                  </a:lnTo>
                  <a:lnTo>
                    <a:pt x="189" y="18"/>
                  </a:lnTo>
                  <a:lnTo>
                    <a:pt x="189" y="20"/>
                  </a:lnTo>
                  <a:lnTo>
                    <a:pt x="188" y="20"/>
                  </a:lnTo>
                  <a:lnTo>
                    <a:pt x="187" y="20"/>
                  </a:lnTo>
                  <a:lnTo>
                    <a:pt x="187" y="18"/>
                  </a:lnTo>
                  <a:lnTo>
                    <a:pt x="188" y="18"/>
                  </a:lnTo>
                  <a:lnTo>
                    <a:pt x="187" y="18"/>
                  </a:lnTo>
                  <a:lnTo>
                    <a:pt x="188" y="17"/>
                  </a:lnTo>
                  <a:lnTo>
                    <a:pt x="188" y="16"/>
                  </a:lnTo>
                  <a:lnTo>
                    <a:pt x="188" y="15"/>
                  </a:lnTo>
                  <a:lnTo>
                    <a:pt x="188" y="14"/>
                  </a:lnTo>
                  <a:lnTo>
                    <a:pt x="189" y="12"/>
                  </a:lnTo>
                  <a:lnTo>
                    <a:pt x="189" y="11"/>
                  </a:lnTo>
                  <a:lnTo>
                    <a:pt x="189" y="10"/>
                  </a:lnTo>
                  <a:lnTo>
                    <a:pt x="188" y="10"/>
                  </a:lnTo>
                  <a:lnTo>
                    <a:pt x="188" y="9"/>
                  </a:lnTo>
                  <a:lnTo>
                    <a:pt x="188" y="8"/>
                  </a:lnTo>
                  <a:lnTo>
                    <a:pt x="187" y="8"/>
                  </a:lnTo>
                  <a:lnTo>
                    <a:pt x="187" y="9"/>
                  </a:lnTo>
                  <a:lnTo>
                    <a:pt x="187" y="10"/>
                  </a:lnTo>
                  <a:lnTo>
                    <a:pt x="186" y="10"/>
                  </a:lnTo>
                  <a:lnTo>
                    <a:pt x="186" y="11"/>
                  </a:lnTo>
                  <a:lnTo>
                    <a:pt x="186" y="10"/>
                  </a:lnTo>
                  <a:lnTo>
                    <a:pt x="185" y="10"/>
                  </a:lnTo>
                  <a:lnTo>
                    <a:pt x="183" y="10"/>
                  </a:lnTo>
                  <a:lnTo>
                    <a:pt x="183" y="11"/>
                  </a:lnTo>
                  <a:lnTo>
                    <a:pt x="183" y="10"/>
                  </a:lnTo>
                  <a:lnTo>
                    <a:pt x="183" y="9"/>
                  </a:lnTo>
                  <a:lnTo>
                    <a:pt x="182" y="9"/>
                  </a:lnTo>
                  <a:lnTo>
                    <a:pt x="181" y="9"/>
                  </a:lnTo>
                  <a:lnTo>
                    <a:pt x="181" y="10"/>
                  </a:lnTo>
                  <a:lnTo>
                    <a:pt x="181" y="11"/>
                  </a:lnTo>
                  <a:lnTo>
                    <a:pt x="182" y="11"/>
                  </a:lnTo>
                  <a:lnTo>
                    <a:pt x="182" y="12"/>
                  </a:lnTo>
                  <a:lnTo>
                    <a:pt x="181" y="12"/>
                  </a:lnTo>
                  <a:lnTo>
                    <a:pt x="181" y="14"/>
                  </a:lnTo>
                  <a:lnTo>
                    <a:pt x="182" y="14"/>
                  </a:lnTo>
                  <a:lnTo>
                    <a:pt x="182" y="15"/>
                  </a:lnTo>
                  <a:lnTo>
                    <a:pt x="182" y="16"/>
                  </a:lnTo>
                  <a:lnTo>
                    <a:pt x="182" y="17"/>
                  </a:lnTo>
                  <a:lnTo>
                    <a:pt x="181" y="17"/>
                  </a:lnTo>
                  <a:lnTo>
                    <a:pt x="181" y="18"/>
                  </a:lnTo>
                  <a:lnTo>
                    <a:pt x="180" y="18"/>
                  </a:lnTo>
                  <a:lnTo>
                    <a:pt x="180" y="17"/>
                  </a:lnTo>
                  <a:lnTo>
                    <a:pt x="179" y="17"/>
                  </a:lnTo>
                  <a:lnTo>
                    <a:pt x="179" y="16"/>
                  </a:lnTo>
                  <a:lnTo>
                    <a:pt x="179" y="15"/>
                  </a:lnTo>
                  <a:lnTo>
                    <a:pt x="177" y="15"/>
                  </a:lnTo>
                  <a:lnTo>
                    <a:pt x="177" y="14"/>
                  </a:lnTo>
                  <a:lnTo>
                    <a:pt x="177" y="12"/>
                  </a:lnTo>
                  <a:lnTo>
                    <a:pt x="177" y="11"/>
                  </a:lnTo>
                  <a:lnTo>
                    <a:pt x="176" y="11"/>
                  </a:lnTo>
                  <a:lnTo>
                    <a:pt x="176" y="12"/>
                  </a:lnTo>
                  <a:lnTo>
                    <a:pt x="176" y="14"/>
                  </a:lnTo>
                  <a:lnTo>
                    <a:pt x="175" y="14"/>
                  </a:lnTo>
                  <a:lnTo>
                    <a:pt x="174" y="14"/>
                  </a:lnTo>
                  <a:lnTo>
                    <a:pt x="174" y="15"/>
                  </a:lnTo>
                  <a:lnTo>
                    <a:pt x="174" y="16"/>
                  </a:lnTo>
                  <a:lnTo>
                    <a:pt x="174" y="15"/>
                  </a:lnTo>
                  <a:lnTo>
                    <a:pt x="173" y="15"/>
                  </a:lnTo>
                  <a:lnTo>
                    <a:pt x="173" y="16"/>
                  </a:lnTo>
                  <a:lnTo>
                    <a:pt x="171" y="16"/>
                  </a:lnTo>
                  <a:lnTo>
                    <a:pt x="171" y="15"/>
                  </a:lnTo>
                  <a:lnTo>
                    <a:pt x="173" y="15"/>
                  </a:lnTo>
                  <a:lnTo>
                    <a:pt x="171" y="14"/>
                  </a:lnTo>
                  <a:lnTo>
                    <a:pt x="171" y="12"/>
                  </a:lnTo>
                  <a:lnTo>
                    <a:pt x="170" y="12"/>
                  </a:lnTo>
                  <a:lnTo>
                    <a:pt x="171" y="12"/>
                  </a:lnTo>
                  <a:lnTo>
                    <a:pt x="171" y="11"/>
                  </a:lnTo>
                  <a:lnTo>
                    <a:pt x="170" y="11"/>
                  </a:lnTo>
                  <a:lnTo>
                    <a:pt x="171" y="10"/>
                  </a:lnTo>
                  <a:lnTo>
                    <a:pt x="173" y="10"/>
                  </a:lnTo>
                  <a:lnTo>
                    <a:pt x="173" y="9"/>
                  </a:lnTo>
                  <a:lnTo>
                    <a:pt x="173" y="8"/>
                  </a:lnTo>
                  <a:lnTo>
                    <a:pt x="174" y="6"/>
                  </a:lnTo>
                  <a:lnTo>
                    <a:pt x="173" y="5"/>
                  </a:lnTo>
                  <a:lnTo>
                    <a:pt x="173" y="6"/>
                  </a:lnTo>
                  <a:lnTo>
                    <a:pt x="171" y="5"/>
                  </a:lnTo>
                  <a:lnTo>
                    <a:pt x="171" y="4"/>
                  </a:lnTo>
                  <a:lnTo>
                    <a:pt x="170" y="4"/>
                  </a:lnTo>
                  <a:lnTo>
                    <a:pt x="170" y="5"/>
                  </a:lnTo>
                  <a:lnTo>
                    <a:pt x="169" y="5"/>
                  </a:lnTo>
                  <a:lnTo>
                    <a:pt x="169" y="6"/>
                  </a:lnTo>
                  <a:lnTo>
                    <a:pt x="169" y="8"/>
                  </a:lnTo>
                  <a:lnTo>
                    <a:pt x="170" y="8"/>
                  </a:lnTo>
                  <a:lnTo>
                    <a:pt x="170" y="9"/>
                  </a:lnTo>
                  <a:lnTo>
                    <a:pt x="169" y="9"/>
                  </a:lnTo>
                  <a:lnTo>
                    <a:pt x="169" y="10"/>
                  </a:lnTo>
                  <a:lnTo>
                    <a:pt x="169" y="9"/>
                  </a:lnTo>
                  <a:lnTo>
                    <a:pt x="168" y="9"/>
                  </a:lnTo>
                  <a:lnTo>
                    <a:pt x="167" y="9"/>
                  </a:lnTo>
                  <a:lnTo>
                    <a:pt x="167" y="10"/>
                  </a:lnTo>
                  <a:lnTo>
                    <a:pt x="165" y="11"/>
                  </a:lnTo>
                  <a:lnTo>
                    <a:pt x="165" y="10"/>
                  </a:lnTo>
                  <a:lnTo>
                    <a:pt x="165" y="9"/>
                  </a:lnTo>
                  <a:lnTo>
                    <a:pt x="164" y="9"/>
                  </a:lnTo>
                  <a:lnTo>
                    <a:pt x="165" y="8"/>
                  </a:lnTo>
                  <a:lnTo>
                    <a:pt x="165" y="6"/>
                  </a:lnTo>
                  <a:lnTo>
                    <a:pt x="164" y="6"/>
                  </a:lnTo>
                  <a:lnTo>
                    <a:pt x="163" y="6"/>
                  </a:lnTo>
                  <a:lnTo>
                    <a:pt x="163" y="5"/>
                  </a:lnTo>
                  <a:lnTo>
                    <a:pt x="162" y="5"/>
                  </a:lnTo>
                  <a:lnTo>
                    <a:pt x="162" y="4"/>
                  </a:lnTo>
                  <a:lnTo>
                    <a:pt x="162" y="3"/>
                  </a:lnTo>
                  <a:lnTo>
                    <a:pt x="161" y="3"/>
                  </a:lnTo>
                  <a:lnTo>
                    <a:pt x="161" y="4"/>
                  </a:lnTo>
                  <a:lnTo>
                    <a:pt x="159" y="5"/>
                  </a:lnTo>
                  <a:lnTo>
                    <a:pt x="159" y="4"/>
                  </a:lnTo>
                  <a:lnTo>
                    <a:pt x="159" y="3"/>
                  </a:lnTo>
                  <a:lnTo>
                    <a:pt x="159" y="2"/>
                  </a:lnTo>
                  <a:lnTo>
                    <a:pt x="158" y="2"/>
                  </a:lnTo>
                  <a:lnTo>
                    <a:pt x="158" y="0"/>
                  </a:lnTo>
                  <a:lnTo>
                    <a:pt x="157" y="0"/>
                  </a:lnTo>
                  <a:lnTo>
                    <a:pt x="157" y="2"/>
                  </a:lnTo>
                  <a:lnTo>
                    <a:pt x="157" y="3"/>
                  </a:lnTo>
                  <a:lnTo>
                    <a:pt x="157" y="4"/>
                  </a:lnTo>
                  <a:lnTo>
                    <a:pt x="156" y="4"/>
                  </a:lnTo>
                  <a:lnTo>
                    <a:pt x="157" y="5"/>
                  </a:lnTo>
                  <a:lnTo>
                    <a:pt x="157" y="6"/>
                  </a:lnTo>
                  <a:lnTo>
                    <a:pt x="156" y="6"/>
                  </a:lnTo>
                  <a:lnTo>
                    <a:pt x="156" y="8"/>
                  </a:lnTo>
                  <a:lnTo>
                    <a:pt x="156" y="9"/>
                  </a:lnTo>
                  <a:lnTo>
                    <a:pt x="157" y="9"/>
                  </a:lnTo>
                  <a:lnTo>
                    <a:pt x="157" y="10"/>
                  </a:lnTo>
                  <a:lnTo>
                    <a:pt x="157" y="11"/>
                  </a:lnTo>
                  <a:lnTo>
                    <a:pt x="157" y="12"/>
                  </a:lnTo>
                  <a:lnTo>
                    <a:pt x="157" y="14"/>
                  </a:lnTo>
                  <a:lnTo>
                    <a:pt x="157" y="15"/>
                  </a:lnTo>
                  <a:lnTo>
                    <a:pt x="157" y="16"/>
                  </a:lnTo>
                  <a:lnTo>
                    <a:pt x="157" y="15"/>
                  </a:lnTo>
                  <a:lnTo>
                    <a:pt x="156" y="15"/>
                  </a:lnTo>
                  <a:lnTo>
                    <a:pt x="155" y="15"/>
                  </a:lnTo>
                  <a:lnTo>
                    <a:pt x="153" y="15"/>
                  </a:lnTo>
                  <a:lnTo>
                    <a:pt x="153" y="14"/>
                  </a:lnTo>
                  <a:lnTo>
                    <a:pt x="152" y="14"/>
                  </a:lnTo>
                  <a:lnTo>
                    <a:pt x="152" y="15"/>
                  </a:lnTo>
                  <a:lnTo>
                    <a:pt x="153" y="16"/>
                  </a:lnTo>
                  <a:lnTo>
                    <a:pt x="153" y="17"/>
                  </a:lnTo>
                  <a:lnTo>
                    <a:pt x="153" y="18"/>
                  </a:lnTo>
                  <a:lnTo>
                    <a:pt x="153" y="20"/>
                  </a:lnTo>
                  <a:lnTo>
                    <a:pt x="152" y="20"/>
                  </a:lnTo>
                  <a:lnTo>
                    <a:pt x="152" y="18"/>
                  </a:lnTo>
                  <a:lnTo>
                    <a:pt x="152" y="17"/>
                  </a:lnTo>
                  <a:lnTo>
                    <a:pt x="152" y="16"/>
                  </a:lnTo>
                  <a:lnTo>
                    <a:pt x="151" y="16"/>
                  </a:lnTo>
                  <a:lnTo>
                    <a:pt x="150" y="17"/>
                  </a:lnTo>
                  <a:lnTo>
                    <a:pt x="149" y="17"/>
                  </a:lnTo>
                  <a:lnTo>
                    <a:pt x="150" y="18"/>
                  </a:lnTo>
                  <a:lnTo>
                    <a:pt x="149" y="18"/>
                  </a:lnTo>
                  <a:lnTo>
                    <a:pt x="149" y="17"/>
                  </a:lnTo>
                  <a:lnTo>
                    <a:pt x="147" y="17"/>
                  </a:lnTo>
                  <a:lnTo>
                    <a:pt x="147" y="16"/>
                  </a:lnTo>
                  <a:lnTo>
                    <a:pt x="149" y="16"/>
                  </a:lnTo>
                  <a:lnTo>
                    <a:pt x="149" y="15"/>
                  </a:lnTo>
                  <a:lnTo>
                    <a:pt x="149" y="14"/>
                  </a:lnTo>
                  <a:lnTo>
                    <a:pt x="147" y="14"/>
                  </a:lnTo>
                  <a:lnTo>
                    <a:pt x="147" y="15"/>
                  </a:lnTo>
                  <a:lnTo>
                    <a:pt x="146" y="15"/>
                  </a:lnTo>
                  <a:lnTo>
                    <a:pt x="145" y="15"/>
                  </a:lnTo>
                  <a:lnTo>
                    <a:pt x="146" y="15"/>
                  </a:lnTo>
                  <a:lnTo>
                    <a:pt x="145" y="15"/>
                  </a:lnTo>
                  <a:lnTo>
                    <a:pt x="145" y="14"/>
                  </a:lnTo>
                  <a:lnTo>
                    <a:pt x="145" y="12"/>
                  </a:lnTo>
                  <a:lnTo>
                    <a:pt x="144" y="12"/>
                  </a:lnTo>
                  <a:lnTo>
                    <a:pt x="144" y="11"/>
                  </a:lnTo>
                  <a:lnTo>
                    <a:pt x="142" y="11"/>
                  </a:lnTo>
                  <a:lnTo>
                    <a:pt x="144" y="11"/>
                  </a:lnTo>
                  <a:lnTo>
                    <a:pt x="144" y="10"/>
                  </a:lnTo>
                  <a:lnTo>
                    <a:pt x="145" y="10"/>
                  </a:lnTo>
                  <a:lnTo>
                    <a:pt x="145" y="9"/>
                  </a:lnTo>
                  <a:lnTo>
                    <a:pt x="144" y="9"/>
                  </a:lnTo>
                  <a:lnTo>
                    <a:pt x="142" y="9"/>
                  </a:lnTo>
                  <a:lnTo>
                    <a:pt x="142" y="8"/>
                  </a:lnTo>
                  <a:lnTo>
                    <a:pt x="142" y="6"/>
                  </a:lnTo>
                  <a:lnTo>
                    <a:pt x="142" y="5"/>
                  </a:lnTo>
                  <a:lnTo>
                    <a:pt x="141" y="5"/>
                  </a:lnTo>
                  <a:lnTo>
                    <a:pt x="141" y="4"/>
                  </a:lnTo>
                  <a:lnTo>
                    <a:pt x="140" y="3"/>
                  </a:lnTo>
                  <a:lnTo>
                    <a:pt x="140" y="4"/>
                  </a:lnTo>
                  <a:lnTo>
                    <a:pt x="139" y="4"/>
                  </a:lnTo>
                  <a:lnTo>
                    <a:pt x="139" y="5"/>
                  </a:lnTo>
                  <a:lnTo>
                    <a:pt x="139" y="6"/>
                  </a:lnTo>
                  <a:lnTo>
                    <a:pt x="139" y="8"/>
                  </a:lnTo>
                  <a:lnTo>
                    <a:pt x="139" y="9"/>
                  </a:lnTo>
                  <a:lnTo>
                    <a:pt x="138" y="9"/>
                  </a:lnTo>
                  <a:lnTo>
                    <a:pt x="138" y="8"/>
                  </a:lnTo>
                  <a:lnTo>
                    <a:pt x="138" y="9"/>
                  </a:lnTo>
                  <a:lnTo>
                    <a:pt x="138" y="10"/>
                  </a:lnTo>
                  <a:lnTo>
                    <a:pt x="139" y="10"/>
                  </a:lnTo>
                  <a:lnTo>
                    <a:pt x="140" y="11"/>
                  </a:lnTo>
                  <a:lnTo>
                    <a:pt x="140" y="12"/>
                  </a:lnTo>
                  <a:lnTo>
                    <a:pt x="141" y="12"/>
                  </a:lnTo>
                  <a:lnTo>
                    <a:pt x="141" y="14"/>
                  </a:lnTo>
                  <a:lnTo>
                    <a:pt x="141" y="15"/>
                  </a:lnTo>
                  <a:lnTo>
                    <a:pt x="141" y="16"/>
                  </a:lnTo>
                  <a:lnTo>
                    <a:pt x="140" y="16"/>
                  </a:lnTo>
                  <a:lnTo>
                    <a:pt x="140" y="15"/>
                  </a:lnTo>
                  <a:lnTo>
                    <a:pt x="139" y="15"/>
                  </a:lnTo>
                  <a:lnTo>
                    <a:pt x="138" y="16"/>
                  </a:lnTo>
                  <a:lnTo>
                    <a:pt x="138" y="15"/>
                  </a:lnTo>
                  <a:lnTo>
                    <a:pt x="136" y="15"/>
                  </a:lnTo>
                  <a:lnTo>
                    <a:pt x="136" y="14"/>
                  </a:lnTo>
                  <a:lnTo>
                    <a:pt x="136" y="12"/>
                  </a:lnTo>
                  <a:lnTo>
                    <a:pt x="136" y="11"/>
                  </a:lnTo>
                  <a:lnTo>
                    <a:pt x="136" y="10"/>
                  </a:lnTo>
                  <a:lnTo>
                    <a:pt x="135" y="10"/>
                  </a:lnTo>
                  <a:lnTo>
                    <a:pt x="135" y="9"/>
                  </a:lnTo>
                  <a:lnTo>
                    <a:pt x="135" y="8"/>
                  </a:lnTo>
                  <a:lnTo>
                    <a:pt x="134" y="8"/>
                  </a:lnTo>
                  <a:lnTo>
                    <a:pt x="134" y="9"/>
                  </a:lnTo>
                  <a:lnTo>
                    <a:pt x="134" y="10"/>
                  </a:lnTo>
                  <a:lnTo>
                    <a:pt x="133" y="10"/>
                  </a:lnTo>
                  <a:lnTo>
                    <a:pt x="133" y="9"/>
                  </a:lnTo>
                  <a:lnTo>
                    <a:pt x="133" y="8"/>
                  </a:lnTo>
                  <a:lnTo>
                    <a:pt x="132" y="6"/>
                  </a:lnTo>
                  <a:lnTo>
                    <a:pt x="132" y="8"/>
                  </a:lnTo>
                  <a:lnTo>
                    <a:pt x="132" y="6"/>
                  </a:lnTo>
                  <a:lnTo>
                    <a:pt x="130" y="6"/>
                  </a:lnTo>
                  <a:lnTo>
                    <a:pt x="130" y="5"/>
                  </a:lnTo>
                  <a:lnTo>
                    <a:pt x="129" y="5"/>
                  </a:lnTo>
                  <a:lnTo>
                    <a:pt x="129" y="6"/>
                  </a:lnTo>
                  <a:lnTo>
                    <a:pt x="129" y="8"/>
                  </a:lnTo>
                  <a:lnTo>
                    <a:pt x="129" y="9"/>
                  </a:lnTo>
                  <a:lnTo>
                    <a:pt x="129" y="10"/>
                  </a:lnTo>
                  <a:lnTo>
                    <a:pt x="130" y="11"/>
                  </a:lnTo>
                  <a:lnTo>
                    <a:pt x="130" y="12"/>
                  </a:lnTo>
                  <a:lnTo>
                    <a:pt x="132" y="12"/>
                  </a:lnTo>
                  <a:lnTo>
                    <a:pt x="133" y="12"/>
                  </a:lnTo>
                  <a:lnTo>
                    <a:pt x="132" y="14"/>
                  </a:lnTo>
                  <a:lnTo>
                    <a:pt x="130" y="14"/>
                  </a:lnTo>
                  <a:lnTo>
                    <a:pt x="129" y="14"/>
                  </a:lnTo>
                  <a:lnTo>
                    <a:pt x="129" y="15"/>
                  </a:lnTo>
                  <a:lnTo>
                    <a:pt x="129" y="16"/>
                  </a:lnTo>
                  <a:lnTo>
                    <a:pt x="128" y="16"/>
                  </a:lnTo>
                  <a:lnTo>
                    <a:pt x="128" y="15"/>
                  </a:lnTo>
                  <a:lnTo>
                    <a:pt x="128" y="14"/>
                  </a:lnTo>
                  <a:lnTo>
                    <a:pt x="127" y="12"/>
                  </a:lnTo>
                  <a:lnTo>
                    <a:pt x="127" y="14"/>
                  </a:lnTo>
                  <a:lnTo>
                    <a:pt x="126" y="14"/>
                  </a:lnTo>
                  <a:lnTo>
                    <a:pt x="126" y="12"/>
                  </a:lnTo>
                  <a:lnTo>
                    <a:pt x="124" y="12"/>
                  </a:lnTo>
                  <a:lnTo>
                    <a:pt x="124" y="11"/>
                  </a:lnTo>
                  <a:lnTo>
                    <a:pt x="123" y="12"/>
                  </a:lnTo>
                  <a:lnTo>
                    <a:pt x="123" y="14"/>
                  </a:lnTo>
                  <a:lnTo>
                    <a:pt x="124" y="15"/>
                  </a:lnTo>
                  <a:lnTo>
                    <a:pt x="124" y="16"/>
                  </a:lnTo>
                  <a:lnTo>
                    <a:pt x="124" y="17"/>
                  </a:lnTo>
                  <a:lnTo>
                    <a:pt x="126" y="17"/>
                  </a:lnTo>
                  <a:lnTo>
                    <a:pt x="126" y="21"/>
                  </a:lnTo>
                  <a:lnTo>
                    <a:pt x="126" y="22"/>
                  </a:lnTo>
                  <a:lnTo>
                    <a:pt x="124" y="22"/>
                  </a:lnTo>
                  <a:lnTo>
                    <a:pt x="124" y="23"/>
                  </a:lnTo>
                  <a:lnTo>
                    <a:pt x="126" y="23"/>
                  </a:lnTo>
                  <a:lnTo>
                    <a:pt x="126" y="25"/>
                  </a:lnTo>
                  <a:lnTo>
                    <a:pt x="126" y="26"/>
                  </a:lnTo>
                  <a:lnTo>
                    <a:pt x="126" y="25"/>
                  </a:lnTo>
                  <a:lnTo>
                    <a:pt x="126" y="26"/>
                  </a:lnTo>
                  <a:lnTo>
                    <a:pt x="126" y="27"/>
                  </a:lnTo>
                  <a:lnTo>
                    <a:pt x="124" y="27"/>
                  </a:lnTo>
                  <a:lnTo>
                    <a:pt x="123" y="27"/>
                  </a:lnTo>
                  <a:lnTo>
                    <a:pt x="123" y="26"/>
                  </a:lnTo>
                  <a:lnTo>
                    <a:pt x="123" y="25"/>
                  </a:lnTo>
                  <a:lnTo>
                    <a:pt x="122" y="25"/>
                  </a:lnTo>
                  <a:lnTo>
                    <a:pt x="122" y="23"/>
                  </a:lnTo>
                  <a:lnTo>
                    <a:pt x="122" y="22"/>
                  </a:lnTo>
                  <a:lnTo>
                    <a:pt x="122" y="21"/>
                  </a:lnTo>
                  <a:lnTo>
                    <a:pt x="122" y="20"/>
                  </a:lnTo>
                  <a:lnTo>
                    <a:pt x="122" y="18"/>
                  </a:lnTo>
                  <a:lnTo>
                    <a:pt x="122" y="20"/>
                  </a:lnTo>
                  <a:lnTo>
                    <a:pt x="121" y="18"/>
                  </a:lnTo>
                  <a:lnTo>
                    <a:pt x="121" y="17"/>
                  </a:lnTo>
                  <a:lnTo>
                    <a:pt x="120" y="17"/>
                  </a:lnTo>
                  <a:lnTo>
                    <a:pt x="118" y="17"/>
                  </a:lnTo>
                  <a:lnTo>
                    <a:pt x="118" y="18"/>
                  </a:lnTo>
                  <a:lnTo>
                    <a:pt x="120" y="20"/>
                  </a:lnTo>
                  <a:lnTo>
                    <a:pt x="120" y="21"/>
                  </a:lnTo>
                  <a:lnTo>
                    <a:pt x="118" y="21"/>
                  </a:lnTo>
                  <a:lnTo>
                    <a:pt x="118" y="22"/>
                  </a:lnTo>
                  <a:lnTo>
                    <a:pt x="118" y="23"/>
                  </a:lnTo>
                  <a:lnTo>
                    <a:pt x="120" y="23"/>
                  </a:lnTo>
                  <a:lnTo>
                    <a:pt x="120" y="25"/>
                  </a:lnTo>
                  <a:lnTo>
                    <a:pt x="121" y="25"/>
                  </a:lnTo>
                  <a:lnTo>
                    <a:pt x="121" y="26"/>
                  </a:lnTo>
                  <a:lnTo>
                    <a:pt x="120" y="26"/>
                  </a:lnTo>
                  <a:lnTo>
                    <a:pt x="120" y="27"/>
                  </a:lnTo>
                  <a:lnTo>
                    <a:pt x="120" y="26"/>
                  </a:lnTo>
                  <a:lnTo>
                    <a:pt x="118" y="26"/>
                  </a:lnTo>
                  <a:lnTo>
                    <a:pt x="118" y="27"/>
                  </a:lnTo>
                  <a:lnTo>
                    <a:pt x="118" y="26"/>
                  </a:lnTo>
                  <a:lnTo>
                    <a:pt x="118" y="25"/>
                  </a:lnTo>
                  <a:lnTo>
                    <a:pt x="118" y="23"/>
                  </a:lnTo>
                  <a:lnTo>
                    <a:pt x="117" y="23"/>
                  </a:lnTo>
                  <a:lnTo>
                    <a:pt x="117" y="22"/>
                  </a:lnTo>
                  <a:lnTo>
                    <a:pt x="117" y="23"/>
                  </a:lnTo>
                  <a:lnTo>
                    <a:pt x="116" y="23"/>
                  </a:lnTo>
                  <a:lnTo>
                    <a:pt x="115" y="23"/>
                  </a:lnTo>
                  <a:lnTo>
                    <a:pt x="115" y="22"/>
                  </a:lnTo>
                  <a:lnTo>
                    <a:pt x="116" y="22"/>
                  </a:lnTo>
                  <a:lnTo>
                    <a:pt x="116" y="21"/>
                  </a:lnTo>
                  <a:lnTo>
                    <a:pt x="117" y="21"/>
                  </a:lnTo>
                  <a:lnTo>
                    <a:pt x="117" y="20"/>
                  </a:lnTo>
                  <a:lnTo>
                    <a:pt x="116" y="20"/>
                  </a:lnTo>
                  <a:lnTo>
                    <a:pt x="116" y="18"/>
                  </a:lnTo>
                  <a:lnTo>
                    <a:pt x="116" y="17"/>
                  </a:lnTo>
                  <a:lnTo>
                    <a:pt x="115" y="17"/>
                  </a:lnTo>
                  <a:lnTo>
                    <a:pt x="115" y="18"/>
                  </a:lnTo>
                  <a:lnTo>
                    <a:pt x="114" y="18"/>
                  </a:lnTo>
                  <a:lnTo>
                    <a:pt x="114" y="17"/>
                  </a:lnTo>
                  <a:lnTo>
                    <a:pt x="114" y="16"/>
                  </a:lnTo>
                  <a:lnTo>
                    <a:pt x="114" y="15"/>
                  </a:lnTo>
                  <a:lnTo>
                    <a:pt x="112" y="15"/>
                  </a:lnTo>
                  <a:lnTo>
                    <a:pt x="112" y="14"/>
                  </a:lnTo>
                  <a:lnTo>
                    <a:pt x="111" y="14"/>
                  </a:lnTo>
                  <a:lnTo>
                    <a:pt x="111" y="12"/>
                  </a:lnTo>
                  <a:lnTo>
                    <a:pt x="111" y="14"/>
                  </a:lnTo>
                  <a:lnTo>
                    <a:pt x="110" y="14"/>
                  </a:lnTo>
                  <a:lnTo>
                    <a:pt x="110" y="15"/>
                  </a:lnTo>
                  <a:lnTo>
                    <a:pt x="110" y="16"/>
                  </a:lnTo>
                  <a:lnTo>
                    <a:pt x="109" y="17"/>
                  </a:lnTo>
                  <a:lnTo>
                    <a:pt x="109" y="18"/>
                  </a:lnTo>
                  <a:lnTo>
                    <a:pt x="110" y="18"/>
                  </a:lnTo>
                  <a:lnTo>
                    <a:pt x="110" y="20"/>
                  </a:lnTo>
                  <a:lnTo>
                    <a:pt x="109" y="20"/>
                  </a:lnTo>
                  <a:lnTo>
                    <a:pt x="109" y="21"/>
                  </a:lnTo>
                  <a:lnTo>
                    <a:pt x="109" y="22"/>
                  </a:lnTo>
                  <a:lnTo>
                    <a:pt x="109" y="23"/>
                  </a:lnTo>
                  <a:lnTo>
                    <a:pt x="110" y="23"/>
                  </a:lnTo>
                  <a:lnTo>
                    <a:pt x="110" y="25"/>
                  </a:lnTo>
                  <a:lnTo>
                    <a:pt x="110" y="23"/>
                  </a:lnTo>
                  <a:lnTo>
                    <a:pt x="110" y="25"/>
                  </a:lnTo>
                  <a:lnTo>
                    <a:pt x="110" y="26"/>
                  </a:lnTo>
                  <a:lnTo>
                    <a:pt x="109" y="25"/>
                  </a:lnTo>
                  <a:lnTo>
                    <a:pt x="109" y="23"/>
                  </a:lnTo>
                  <a:lnTo>
                    <a:pt x="108" y="23"/>
                  </a:lnTo>
                  <a:lnTo>
                    <a:pt x="108" y="22"/>
                  </a:lnTo>
                  <a:lnTo>
                    <a:pt x="106" y="22"/>
                  </a:lnTo>
                  <a:lnTo>
                    <a:pt x="106" y="21"/>
                  </a:lnTo>
                  <a:lnTo>
                    <a:pt x="106" y="20"/>
                  </a:lnTo>
                  <a:lnTo>
                    <a:pt x="106" y="18"/>
                  </a:lnTo>
                  <a:lnTo>
                    <a:pt x="106" y="17"/>
                  </a:lnTo>
                  <a:lnTo>
                    <a:pt x="106" y="16"/>
                  </a:lnTo>
                  <a:lnTo>
                    <a:pt x="105" y="16"/>
                  </a:lnTo>
                  <a:lnTo>
                    <a:pt x="104" y="16"/>
                  </a:lnTo>
                  <a:lnTo>
                    <a:pt x="103" y="16"/>
                  </a:lnTo>
                  <a:lnTo>
                    <a:pt x="103" y="15"/>
                  </a:lnTo>
                  <a:lnTo>
                    <a:pt x="102" y="15"/>
                  </a:lnTo>
                  <a:lnTo>
                    <a:pt x="100" y="14"/>
                  </a:lnTo>
                  <a:lnTo>
                    <a:pt x="100" y="12"/>
                  </a:lnTo>
                  <a:lnTo>
                    <a:pt x="99" y="12"/>
                  </a:lnTo>
                  <a:lnTo>
                    <a:pt x="98" y="12"/>
                  </a:lnTo>
                  <a:lnTo>
                    <a:pt x="98" y="14"/>
                  </a:lnTo>
                  <a:lnTo>
                    <a:pt x="98" y="15"/>
                  </a:lnTo>
                  <a:lnTo>
                    <a:pt x="98" y="16"/>
                  </a:lnTo>
                  <a:lnTo>
                    <a:pt x="97" y="16"/>
                  </a:lnTo>
                  <a:lnTo>
                    <a:pt x="97" y="17"/>
                  </a:lnTo>
                  <a:lnTo>
                    <a:pt x="97" y="18"/>
                  </a:lnTo>
                  <a:lnTo>
                    <a:pt x="98" y="18"/>
                  </a:lnTo>
                  <a:lnTo>
                    <a:pt x="97" y="18"/>
                  </a:lnTo>
                  <a:lnTo>
                    <a:pt x="96" y="18"/>
                  </a:lnTo>
                  <a:lnTo>
                    <a:pt x="97" y="20"/>
                  </a:lnTo>
                  <a:lnTo>
                    <a:pt x="96" y="20"/>
                  </a:lnTo>
                  <a:lnTo>
                    <a:pt x="96" y="18"/>
                  </a:lnTo>
                  <a:lnTo>
                    <a:pt x="94" y="18"/>
                  </a:lnTo>
                  <a:lnTo>
                    <a:pt x="93" y="17"/>
                  </a:lnTo>
                  <a:lnTo>
                    <a:pt x="93" y="18"/>
                  </a:lnTo>
                  <a:lnTo>
                    <a:pt x="92" y="18"/>
                  </a:lnTo>
                  <a:lnTo>
                    <a:pt x="92" y="20"/>
                  </a:lnTo>
                  <a:lnTo>
                    <a:pt x="91" y="20"/>
                  </a:lnTo>
                  <a:lnTo>
                    <a:pt x="92" y="20"/>
                  </a:lnTo>
                  <a:lnTo>
                    <a:pt x="92" y="21"/>
                  </a:lnTo>
                  <a:lnTo>
                    <a:pt x="92" y="22"/>
                  </a:lnTo>
                  <a:lnTo>
                    <a:pt x="93" y="23"/>
                  </a:lnTo>
                  <a:lnTo>
                    <a:pt x="93" y="25"/>
                  </a:lnTo>
                  <a:lnTo>
                    <a:pt x="94" y="25"/>
                  </a:lnTo>
                  <a:lnTo>
                    <a:pt x="94" y="26"/>
                  </a:lnTo>
                  <a:lnTo>
                    <a:pt x="96" y="26"/>
                  </a:lnTo>
                  <a:lnTo>
                    <a:pt x="97" y="26"/>
                  </a:lnTo>
                  <a:lnTo>
                    <a:pt x="98" y="26"/>
                  </a:lnTo>
                  <a:lnTo>
                    <a:pt x="98" y="27"/>
                  </a:lnTo>
                  <a:lnTo>
                    <a:pt x="99" y="27"/>
                  </a:lnTo>
                  <a:lnTo>
                    <a:pt x="99" y="28"/>
                  </a:lnTo>
                  <a:lnTo>
                    <a:pt x="99" y="29"/>
                  </a:lnTo>
                  <a:lnTo>
                    <a:pt x="98" y="29"/>
                  </a:lnTo>
                  <a:lnTo>
                    <a:pt x="97" y="29"/>
                  </a:lnTo>
                  <a:lnTo>
                    <a:pt x="96" y="29"/>
                  </a:lnTo>
                  <a:lnTo>
                    <a:pt x="94" y="29"/>
                  </a:lnTo>
                  <a:lnTo>
                    <a:pt x="94" y="28"/>
                  </a:lnTo>
                  <a:lnTo>
                    <a:pt x="93" y="28"/>
                  </a:lnTo>
                  <a:lnTo>
                    <a:pt x="93" y="27"/>
                  </a:lnTo>
                  <a:lnTo>
                    <a:pt x="93" y="26"/>
                  </a:lnTo>
                  <a:lnTo>
                    <a:pt x="92" y="26"/>
                  </a:lnTo>
                  <a:lnTo>
                    <a:pt x="91" y="26"/>
                  </a:lnTo>
                  <a:lnTo>
                    <a:pt x="91" y="25"/>
                  </a:lnTo>
                  <a:lnTo>
                    <a:pt x="90" y="25"/>
                  </a:lnTo>
                  <a:lnTo>
                    <a:pt x="88" y="25"/>
                  </a:lnTo>
                  <a:lnTo>
                    <a:pt x="87" y="25"/>
                  </a:lnTo>
                  <a:lnTo>
                    <a:pt x="87" y="23"/>
                  </a:lnTo>
                  <a:lnTo>
                    <a:pt x="86" y="23"/>
                  </a:lnTo>
                  <a:lnTo>
                    <a:pt x="86" y="25"/>
                  </a:lnTo>
                  <a:lnTo>
                    <a:pt x="86" y="26"/>
                  </a:lnTo>
                  <a:lnTo>
                    <a:pt x="85" y="26"/>
                  </a:lnTo>
                  <a:lnTo>
                    <a:pt x="85" y="28"/>
                  </a:lnTo>
                  <a:lnTo>
                    <a:pt x="83" y="28"/>
                  </a:lnTo>
                  <a:lnTo>
                    <a:pt x="83" y="27"/>
                  </a:lnTo>
                  <a:lnTo>
                    <a:pt x="82" y="27"/>
                  </a:lnTo>
                  <a:lnTo>
                    <a:pt x="82" y="26"/>
                  </a:lnTo>
                  <a:lnTo>
                    <a:pt x="81" y="26"/>
                  </a:lnTo>
                  <a:lnTo>
                    <a:pt x="81" y="27"/>
                  </a:lnTo>
                  <a:lnTo>
                    <a:pt x="81" y="28"/>
                  </a:lnTo>
                  <a:lnTo>
                    <a:pt x="82" y="29"/>
                  </a:lnTo>
                  <a:lnTo>
                    <a:pt x="81" y="31"/>
                  </a:lnTo>
                  <a:lnTo>
                    <a:pt x="81" y="32"/>
                  </a:lnTo>
                  <a:lnTo>
                    <a:pt x="81" y="33"/>
                  </a:lnTo>
                  <a:lnTo>
                    <a:pt x="82" y="33"/>
                  </a:lnTo>
                  <a:lnTo>
                    <a:pt x="82" y="34"/>
                  </a:lnTo>
                  <a:lnTo>
                    <a:pt x="83" y="34"/>
                  </a:lnTo>
                  <a:lnTo>
                    <a:pt x="82" y="34"/>
                  </a:lnTo>
                  <a:lnTo>
                    <a:pt x="82" y="35"/>
                  </a:lnTo>
                  <a:lnTo>
                    <a:pt x="82" y="37"/>
                  </a:lnTo>
                  <a:lnTo>
                    <a:pt x="83" y="37"/>
                  </a:lnTo>
                  <a:lnTo>
                    <a:pt x="83" y="38"/>
                  </a:lnTo>
                  <a:lnTo>
                    <a:pt x="85" y="38"/>
                  </a:lnTo>
                  <a:lnTo>
                    <a:pt x="86" y="38"/>
                  </a:lnTo>
                  <a:lnTo>
                    <a:pt x="87" y="38"/>
                  </a:lnTo>
                  <a:lnTo>
                    <a:pt x="87" y="39"/>
                  </a:lnTo>
                  <a:lnTo>
                    <a:pt x="86" y="39"/>
                  </a:lnTo>
                  <a:lnTo>
                    <a:pt x="85" y="39"/>
                  </a:lnTo>
                  <a:lnTo>
                    <a:pt x="83" y="39"/>
                  </a:lnTo>
                  <a:lnTo>
                    <a:pt x="83" y="40"/>
                  </a:lnTo>
                  <a:lnTo>
                    <a:pt x="85" y="41"/>
                  </a:lnTo>
                  <a:lnTo>
                    <a:pt x="86" y="43"/>
                  </a:lnTo>
                  <a:lnTo>
                    <a:pt x="87" y="43"/>
                  </a:lnTo>
                  <a:lnTo>
                    <a:pt x="90" y="43"/>
                  </a:lnTo>
                  <a:lnTo>
                    <a:pt x="91" y="43"/>
                  </a:lnTo>
                  <a:lnTo>
                    <a:pt x="91" y="41"/>
                  </a:lnTo>
                  <a:lnTo>
                    <a:pt x="91" y="43"/>
                  </a:lnTo>
                  <a:lnTo>
                    <a:pt x="92" y="43"/>
                  </a:lnTo>
                  <a:lnTo>
                    <a:pt x="93" y="44"/>
                  </a:lnTo>
                  <a:lnTo>
                    <a:pt x="93" y="43"/>
                  </a:lnTo>
                  <a:lnTo>
                    <a:pt x="94" y="43"/>
                  </a:lnTo>
                  <a:lnTo>
                    <a:pt x="94" y="41"/>
                  </a:lnTo>
                  <a:lnTo>
                    <a:pt x="93" y="40"/>
                  </a:lnTo>
                  <a:lnTo>
                    <a:pt x="94" y="40"/>
                  </a:lnTo>
                  <a:lnTo>
                    <a:pt x="94" y="41"/>
                  </a:lnTo>
                  <a:lnTo>
                    <a:pt x="96" y="41"/>
                  </a:lnTo>
                  <a:lnTo>
                    <a:pt x="96" y="43"/>
                  </a:lnTo>
                  <a:lnTo>
                    <a:pt x="97" y="43"/>
                  </a:lnTo>
                  <a:lnTo>
                    <a:pt x="97" y="44"/>
                  </a:lnTo>
                  <a:lnTo>
                    <a:pt x="98" y="44"/>
                  </a:lnTo>
                  <a:lnTo>
                    <a:pt x="97" y="44"/>
                  </a:lnTo>
                  <a:lnTo>
                    <a:pt x="97" y="45"/>
                  </a:lnTo>
                  <a:lnTo>
                    <a:pt x="96" y="45"/>
                  </a:lnTo>
                  <a:lnTo>
                    <a:pt x="96" y="46"/>
                  </a:lnTo>
                  <a:lnTo>
                    <a:pt x="96" y="45"/>
                  </a:lnTo>
                  <a:lnTo>
                    <a:pt x="94" y="45"/>
                  </a:lnTo>
                  <a:lnTo>
                    <a:pt x="94" y="46"/>
                  </a:lnTo>
                  <a:lnTo>
                    <a:pt x="93" y="46"/>
                  </a:lnTo>
                  <a:lnTo>
                    <a:pt x="92" y="46"/>
                  </a:lnTo>
                  <a:lnTo>
                    <a:pt x="92" y="47"/>
                  </a:lnTo>
                  <a:lnTo>
                    <a:pt x="93" y="47"/>
                  </a:lnTo>
                  <a:lnTo>
                    <a:pt x="93" y="49"/>
                  </a:lnTo>
                  <a:lnTo>
                    <a:pt x="94" y="49"/>
                  </a:lnTo>
                  <a:lnTo>
                    <a:pt x="94" y="47"/>
                  </a:lnTo>
                  <a:lnTo>
                    <a:pt x="96" y="47"/>
                  </a:lnTo>
                  <a:lnTo>
                    <a:pt x="94" y="47"/>
                  </a:lnTo>
                  <a:lnTo>
                    <a:pt x="96" y="47"/>
                  </a:lnTo>
                  <a:lnTo>
                    <a:pt x="96" y="46"/>
                  </a:lnTo>
                  <a:lnTo>
                    <a:pt x="97" y="45"/>
                  </a:lnTo>
                  <a:lnTo>
                    <a:pt x="98" y="46"/>
                  </a:lnTo>
                  <a:lnTo>
                    <a:pt x="97" y="46"/>
                  </a:lnTo>
                  <a:lnTo>
                    <a:pt x="97" y="47"/>
                  </a:lnTo>
                  <a:lnTo>
                    <a:pt x="98" y="47"/>
                  </a:lnTo>
                  <a:lnTo>
                    <a:pt x="98" y="49"/>
                  </a:lnTo>
                  <a:lnTo>
                    <a:pt x="97" y="49"/>
                  </a:lnTo>
                  <a:lnTo>
                    <a:pt x="96" y="49"/>
                  </a:lnTo>
                  <a:lnTo>
                    <a:pt x="96" y="50"/>
                  </a:lnTo>
                  <a:lnTo>
                    <a:pt x="94" y="50"/>
                  </a:lnTo>
                  <a:lnTo>
                    <a:pt x="94" y="51"/>
                  </a:lnTo>
                  <a:lnTo>
                    <a:pt x="93" y="51"/>
                  </a:lnTo>
                  <a:lnTo>
                    <a:pt x="93" y="50"/>
                  </a:lnTo>
                  <a:lnTo>
                    <a:pt x="92" y="50"/>
                  </a:lnTo>
                  <a:lnTo>
                    <a:pt x="91" y="50"/>
                  </a:lnTo>
                  <a:lnTo>
                    <a:pt x="91" y="52"/>
                  </a:lnTo>
                  <a:lnTo>
                    <a:pt x="91" y="51"/>
                  </a:lnTo>
                  <a:lnTo>
                    <a:pt x="90" y="51"/>
                  </a:lnTo>
                  <a:lnTo>
                    <a:pt x="90" y="52"/>
                  </a:lnTo>
                  <a:lnTo>
                    <a:pt x="88" y="52"/>
                  </a:lnTo>
                  <a:lnTo>
                    <a:pt x="87" y="52"/>
                  </a:lnTo>
                  <a:lnTo>
                    <a:pt x="87" y="53"/>
                  </a:lnTo>
                  <a:lnTo>
                    <a:pt x="86" y="53"/>
                  </a:lnTo>
                  <a:lnTo>
                    <a:pt x="86" y="52"/>
                  </a:lnTo>
                  <a:lnTo>
                    <a:pt x="85" y="53"/>
                  </a:lnTo>
                  <a:lnTo>
                    <a:pt x="83" y="53"/>
                  </a:lnTo>
                  <a:lnTo>
                    <a:pt x="82" y="53"/>
                  </a:lnTo>
                  <a:lnTo>
                    <a:pt x="82" y="55"/>
                  </a:lnTo>
                  <a:lnTo>
                    <a:pt x="82" y="57"/>
                  </a:lnTo>
                  <a:lnTo>
                    <a:pt x="82" y="58"/>
                  </a:lnTo>
                  <a:lnTo>
                    <a:pt x="81" y="58"/>
                  </a:lnTo>
                  <a:lnTo>
                    <a:pt x="81" y="57"/>
                  </a:lnTo>
                  <a:lnTo>
                    <a:pt x="80" y="57"/>
                  </a:lnTo>
                  <a:lnTo>
                    <a:pt x="80" y="56"/>
                  </a:lnTo>
                  <a:lnTo>
                    <a:pt x="80" y="55"/>
                  </a:lnTo>
                  <a:lnTo>
                    <a:pt x="79" y="55"/>
                  </a:lnTo>
                  <a:lnTo>
                    <a:pt x="79" y="56"/>
                  </a:lnTo>
                  <a:lnTo>
                    <a:pt x="77" y="57"/>
                  </a:lnTo>
                  <a:lnTo>
                    <a:pt x="76" y="57"/>
                  </a:lnTo>
                  <a:lnTo>
                    <a:pt x="76" y="56"/>
                  </a:lnTo>
                  <a:lnTo>
                    <a:pt x="76" y="55"/>
                  </a:lnTo>
                  <a:lnTo>
                    <a:pt x="75" y="53"/>
                  </a:lnTo>
                  <a:lnTo>
                    <a:pt x="75" y="55"/>
                  </a:lnTo>
                  <a:lnTo>
                    <a:pt x="74" y="55"/>
                  </a:lnTo>
                  <a:lnTo>
                    <a:pt x="74" y="53"/>
                  </a:lnTo>
                  <a:lnTo>
                    <a:pt x="73" y="53"/>
                  </a:lnTo>
                  <a:lnTo>
                    <a:pt x="71" y="53"/>
                  </a:lnTo>
                  <a:lnTo>
                    <a:pt x="71" y="55"/>
                  </a:lnTo>
                  <a:lnTo>
                    <a:pt x="73" y="56"/>
                  </a:lnTo>
                  <a:lnTo>
                    <a:pt x="73" y="57"/>
                  </a:lnTo>
                  <a:lnTo>
                    <a:pt x="73" y="58"/>
                  </a:lnTo>
                  <a:lnTo>
                    <a:pt x="74" y="58"/>
                  </a:lnTo>
                  <a:lnTo>
                    <a:pt x="74" y="59"/>
                  </a:lnTo>
                  <a:lnTo>
                    <a:pt x="75" y="61"/>
                  </a:lnTo>
                  <a:lnTo>
                    <a:pt x="74" y="61"/>
                  </a:lnTo>
                  <a:lnTo>
                    <a:pt x="74" y="62"/>
                  </a:lnTo>
                  <a:lnTo>
                    <a:pt x="73" y="62"/>
                  </a:lnTo>
                  <a:lnTo>
                    <a:pt x="73" y="61"/>
                  </a:lnTo>
                  <a:lnTo>
                    <a:pt x="73" y="59"/>
                  </a:lnTo>
                  <a:lnTo>
                    <a:pt x="71" y="59"/>
                  </a:lnTo>
                  <a:lnTo>
                    <a:pt x="71" y="61"/>
                  </a:lnTo>
                  <a:lnTo>
                    <a:pt x="70" y="61"/>
                  </a:lnTo>
                  <a:lnTo>
                    <a:pt x="71" y="61"/>
                  </a:lnTo>
                  <a:lnTo>
                    <a:pt x="70" y="62"/>
                  </a:lnTo>
                  <a:lnTo>
                    <a:pt x="70" y="63"/>
                  </a:lnTo>
                  <a:lnTo>
                    <a:pt x="71" y="63"/>
                  </a:lnTo>
                  <a:lnTo>
                    <a:pt x="71" y="64"/>
                  </a:lnTo>
                  <a:lnTo>
                    <a:pt x="71" y="65"/>
                  </a:lnTo>
                  <a:lnTo>
                    <a:pt x="73" y="65"/>
                  </a:lnTo>
                  <a:lnTo>
                    <a:pt x="73" y="67"/>
                  </a:lnTo>
                  <a:lnTo>
                    <a:pt x="74" y="67"/>
                  </a:lnTo>
                  <a:lnTo>
                    <a:pt x="74" y="65"/>
                  </a:lnTo>
                  <a:lnTo>
                    <a:pt x="74" y="67"/>
                  </a:lnTo>
                  <a:lnTo>
                    <a:pt x="74" y="68"/>
                  </a:lnTo>
                  <a:lnTo>
                    <a:pt x="73" y="68"/>
                  </a:lnTo>
                  <a:lnTo>
                    <a:pt x="73" y="67"/>
                  </a:lnTo>
                  <a:lnTo>
                    <a:pt x="71" y="68"/>
                  </a:lnTo>
                  <a:lnTo>
                    <a:pt x="70" y="68"/>
                  </a:lnTo>
                  <a:lnTo>
                    <a:pt x="70" y="69"/>
                  </a:lnTo>
                  <a:lnTo>
                    <a:pt x="69" y="69"/>
                  </a:lnTo>
                  <a:lnTo>
                    <a:pt x="69" y="68"/>
                  </a:lnTo>
                  <a:lnTo>
                    <a:pt x="68" y="68"/>
                  </a:lnTo>
                  <a:lnTo>
                    <a:pt x="67" y="68"/>
                  </a:lnTo>
                  <a:lnTo>
                    <a:pt x="65" y="69"/>
                  </a:lnTo>
                  <a:lnTo>
                    <a:pt x="67" y="69"/>
                  </a:lnTo>
                  <a:lnTo>
                    <a:pt x="67" y="70"/>
                  </a:lnTo>
                  <a:lnTo>
                    <a:pt x="65" y="70"/>
                  </a:lnTo>
                  <a:lnTo>
                    <a:pt x="65" y="71"/>
                  </a:lnTo>
                  <a:lnTo>
                    <a:pt x="64" y="71"/>
                  </a:lnTo>
                  <a:lnTo>
                    <a:pt x="63" y="71"/>
                  </a:lnTo>
                  <a:lnTo>
                    <a:pt x="62" y="71"/>
                  </a:lnTo>
                  <a:lnTo>
                    <a:pt x="63" y="71"/>
                  </a:lnTo>
                  <a:lnTo>
                    <a:pt x="63" y="73"/>
                  </a:lnTo>
                  <a:lnTo>
                    <a:pt x="63" y="74"/>
                  </a:lnTo>
                  <a:lnTo>
                    <a:pt x="62" y="75"/>
                  </a:lnTo>
                  <a:lnTo>
                    <a:pt x="62" y="74"/>
                  </a:lnTo>
                  <a:lnTo>
                    <a:pt x="61" y="74"/>
                  </a:lnTo>
                  <a:lnTo>
                    <a:pt x="59" y="73"/>
                  </a:lnTo>
                  <a:lnTo>
                    <a:pt x="58" y="73"/>
                  </a:lnTo>
                  <a:lnTo>
                    <a:pt x="57" y="73"/>
                  </a:lnTo>
                  <a:lnTo>
                    <a:pt x="57" y="74"/>
                  </a:lnTo>
                  <a:lnTo>
                    <a:pt x="57" y="75"/>
                  </a:lnTo>
                  <a:lnTo>
                    <a:pt x="57" y="74"/>
                  </a:lnTo>
                  <a:lnTo>
                    <a:pt x="56" y="74"/>
                  </a:lnTo>
                  <a:lnTo>
                    <a:pt x="55" y="74"/>
                  </a:lnTo>
                  <a:lnTo>
                    <a:pt x="55" y="75"/>
                  </a:lnTo>
                  <a:lnTo>
                    <a:pt x="53" y="75"/>
                  </a:lnTo>
                  <a:lnTo>
                    <a:pt x="53" y="74"/>
                  </a:lnTo>
                  <a:lnTo>
                    <a:pt x="52" y="74"/>
                  </a:lnTo>
                  <a:lnTo>
                    <a:pt x="52" y="75"/>
                  </a:lnTo>
                  <a:lnTo>
                    <a:pt x="52" y="76"/>
                  </a:lnTo>
                  <a:lnTo>
                    <a:pt x="53" y="76"/>
                  </a:lnTo>
                  <a:lnTo>
                    <a:pt x="52" y="77"/>
                  </a:lnTo>
                  <a:lnTo>
                    <a:pt x="53" y="77"/>
                  </a:lnTo>
                  <a:lnTo>
                    <a:pt x="55" y="77"/>
                  </a:lnTo>
                  <a:lnTo>
                    <a:pt x="55" y="79"/>
                  </a:lnTo>
                  <a:lnTo>
                    <a:pt x="55" y="80"/>
                  </a:lnTo>
                  <a:lnTo>
                    <a:pt x="53" y="80"/>
                  </a:lnTo>
                  <a:lnTo>
                    <a:pt x="53" y="79"/>
                  </a:lnTo>
                  <a:lnTo>
                    <a:pt x="52" y="79"/>
                  </a:lnTo>
                  <a:lnTo>
                    <a:pt x="51" y="79"/>
                  </a:lnTo>
                  <a:lnTo>
                    <a:pt x="51" y="77"/>
                  </a:lnTo>
                  <a:lnTo>
                    <a:pt x="51" y="76"/>
                  </a:lnTo>
                  <a:lnTo>
                    <a:pt x="50" y="76"/>
                  </a:lnTo>
                  <a:lnTo>
                    <a:pt x="50" y="77"/>
                  </a:lnTo>
                  <a:lnTo>
                    <a:pt x="50" y="76"/>
                  </a:lnTo>
                  <a:lnTo>
                    <a:pt x="49" y="76"/>
                  </a:lnTo>
                  <a:lnTo>
                    <a:pt x="49" y="75"/>
                  </a:lnTo>
                  <a:lnTo>
                    <a:pt x="49" y="76"/>
                  </a:lnTo>
                  <a:lnTo>
                    <a:pt x="47" y="76"/>
                  </a:lnTo>
                  <a:lnTo>
                    <a:pt x="49" y="76"/>
                  </a:lnTo>
                  <a:lnTo>
                    <a:pt x="49" y="79"/>
                  </a:lnTo>
                  <a:lnTo>
                    <a:pt x="47" y="79"/>
                  </a:lnTo>
                  <a:lnTo>
                    <a:pt x="46" y="79"/>
                  </a:lnTo>
                  <a:lnTo>
                    <a:pt x="46" y="77"/>
                  </a:lnTo>
                  <a:lnTo>
                    <a:pt x="45" y="79"/>
                  </a:lnTo>
                  <a:lnTo>
                    <a:pt x="46" y="79"/>
                  </a:lnTo>
                  <a:lnTo>
                    <a:pt x="46" y="80"/>
                  </a:lnTo>
                  <a:lnTo>
                    <a:pt x="46" y="81"/>
                  </a:lnTo>
                  <a:lnTo>
                    <a:pt x="47" y="81"/>
                  </a:lnTo>
                  <a:lnTo>
                    <a:pt x="49" y="81"/>
                  </a:lnTo>
                  <a:lnTo>
                    <a:pt x="47" y="82"/>
                  </a:lnTo>
                  <a:lnTo>
                    <a:pt x="49" y="82"/>
                  </a:lnTo>
                  <a:lnTo>
                    <a:pt x="49" y="81"/>
                  </a:lnTo>
                  <a:lnTo>
                    <a:pt x="50" y="81"/>
                  </a:lnTo>
                  <a:lnTo>
                    <a:pt x="49" y="82"/>
                  </a:lnTo>
                  <a:lnTo>
                    <a:pt x="50" y="82"/>
                  </a:lnTo>
                  <a:lnTo>
                    <a:pt x="51" y="83"/>
                  </a:lnTo>
                  <a:lnTo>
                    <a:pt x="52" y="83"/>
                  </a:lnTo>
                  <a:lnTo>
                    <a:pt x="53" y="83"/>
                  </a:lnTo>
                  <a:lnTo>
                    <a:pt x="53" y="85"/>
                  </a:lnTo>
                  <a:lnTo>
                    <a:pt x="55" y="85"/>
                  </a:lnTo>
                  <a:lnTo>
                    <a:pt x="55" y="86"/>
                  </a:lnTo>
                  <a:lnTo>
                    <a:pt x="56" y="86"/>
                  </a:lnTo>
                  <a:lnTo>
                    <a:pt x="57" y="87"/>
                  </a:lnTo>
                  <a:lnTo>
                    <a:pt x="58" y="87"/>
                  </a:lnTo>
                  <a:lnTo>
                    <a:pt x="58" y="88"/>
                  </a:lnTo>
                  <a:lnTo>
                    <a:pt x="59" y="88"/>
                  </a:lnTo>
                  <a:lnTo>
                    <a:pt x="57" y="88"/>
                  </a:lnTo>
                  <a:lnTo>
                    <a:pt x="56" y="88"/>
                  </a:lnTo>
                  <a:lnTo>
                    <a:pt x="55" y="89"/>
                  </a:lnTo>
                  <a:lnTo>
                    <a:pt x="53" y="91"/>
                  </a:lnTo>
                  <a:lnTo>
                    <a:pt x="53" y="89"/>
                  </a:lnTo>
                  <a:lnTo>
                    <a:pt x="52" y="89"/>
                  </a:lnTo>
                  <a:lnTo>
                    <a:pt x="52" y="91"/>
                  </a:lnTo>
                  <a:lnTo>
                    <a:pt x="51" y="91"/>
                  </a:lnTo>
                  <a:lnTo>
                    <a:pt x="51" y="89"/>
                  </a:lnTo>
                  <a:lnTo>
                    <a:pt x="50" y="89"/>
                  </a:lnTo>
                  <a:lnTo>
                    <a:pt x="50" y="88"/>
                  </a:lnTo>
                  <a:lnTo>
                    <a:pt x="49" y="88"/>
                  </a:lnTo>
                  <a:lnTo>
                    <a:pt x="49" y="89"/>
                  </a:lnTo>
                  <a:lnTo>
                    <a:pt x="49" y="91"/>
                  </a:lnTo>
                  <a:lnTo>
                    <a:pt x="47" y="91"/>
                  </a:lnTo>
                  <a:lnTo>
                    <a:pt x="46" y="91"/>
                  </a:lnTo>
                  <a:lnTo>
                    <a:pt x="45" y="91"/>
                  </a:lnTo>
                  <a:lnTo>
                    <a:pt x="44" y="91"/>
                  </a:lnTo>
                  <a:lnTo>
                    <a:pt x="43" y="91"/>
                  </a:lnTo>
                  <a:lnTo>
                    <a:pt x="43" y="92"/>
                  </a:lnTo>
                  <a:lnTo>
                    <a:pt x="43" y="91"/>
                  </a:lnTo>
                  <a:lnTo>
                    <a:pt x="41" y="91"/>
                  </a:lnTo>
                  <a:lnTo>
                    <a:pt x="41" y="92"/>
                  </a:lnTo>
                  <a:lnTo>
                    <a:pt x="40" y="92"/>
                  </a:lnTo>
                  <a:lnTo>
                    <a:pt x="40" y="91"/>
                  </a:lnTo>
                  <a:lnTo>
                    <a:pt x="39" y="91"/>
                  </a:lnTo>
                  <a:lnTo>
                    <a:pt x="38" y="91"/>
                  </a:lnTo>
                  <a:lnTo>
                    <a:pt x="39" y="91"/>
                  </a:lnTo>
                  <a:lnTo>
                    <a:pt x="39" y="92"/>
                  </a:lnTo>
                  <a:lnTo>
                    <a:pt x="39" y="93"/>
                  </a:lnTo>
                  <a:lnTo>
                    <a:pt x="39" y="94"/>
                  </a:lnTo>
                  <a:lnTo>
                    <a:pt x="38" y="94"/>
                  </a:lnTo>
                  <a:lnTo>
                    <a:pt x="37" y="95"/>
                  </a:lnTo>
                  <a:lnTo>
                    <a:pt x="38" y="95"/>
                  </a:lnTo>
                  <a:lnTo>
                    <a:pt x="39" y="97"/>
                  </a:lnTo>
                  <a:lnTo>
                    <a:pt x="40" y="98"/>
                  </a:lnTo>
                  <a:lnTo>
                    <a:pt x="40" y="99"/>
                  </a:lnTo>
                  <a:lnTo>
                    <a:pt x="39" y="99"/>
                  </a:lnTo>
                  <a:lnTo>
                    <a:pt x="40" y="99"/>
                  </a:lnTo>
                  <a:lnTo>
                    <a:pt x="39" y="100"/>
                  </a:lnTo>
                  <a:lnTo>
                    <a:pt x="38" y="100"/>
                  </a:lnTo>
                  <a:lnTo>
                    <a:pt x="37" y="99"/>
                  </a:lnTo>
                  <a:lnTo>
                    <a:pt x="37" y="98"/>
                  </a:lnTo>
                  <a:lnTo>
                    <a:pt x="35" y="99"/>
                  </a:lnTo>
                  <a:lnTo>
                    <a:pt x="35" y="98"/>
                  </a:lnTo>
                  <a:lnTo>
                    <a:pt x="35" y="97"/>
                  </a:lnTo>
                  <a:lnTo>
                    <a:pt x="34" y="97"/>
                  </a:lnTo>
                  <a:lnTo>
                    <a:pt x="33" y="97"/>
                  </a:lnTo>
                  <a:lnTo>
                    <a:pt x="32" y="97"/>
                  </a:lnTo>
                  <a:lnTo>
                    <a:pt x="32" y="95"/>
                  </a:lnTo>
                  <a:lnTo>
                    <a:pt x="31" y="97"/>
                  </a:lnTo>
                  <a:lnTo>
                    <a:pt x="31" y="98"/>
                  </a:lnTo>
                  <a:lnTo>
                    <a:pt x="32" y="98"/>
                  </a:lnTo>
                  <a:lnTo>
                    <a:pt x="32" y="99"/>
                  </a:lnTo>
                  <a:lnTo>
                    <a:pt x="33" y="100"/>
                  </a:lnTo>
                  <a:lnTo>
                    <a:pt x="35" y="100"/>
                  </a:lnTo>
                  <a:lnTo>
                    <a:pt x="35" y="101"/>
                  </a:lnTo>
                  <a:lnTo>
                    <a:pt x="35" y="103"/>
                  </a:lnTo>
                  <a:lnTo>
                    <a:pt x="37" y="103"/>
                  </a:lnTo>
                  <a:lnTo>
                    <a:pt x="38" y="104"/>
                  </a:lnTo>
                  <a:lnTo>
                    <a:pt x="38" y="105"/>
                  </a:lnTo>
                  <a:lnTo>
                    <a:pt x="39" y="105"/>
                  </a:lnTo>
                  <a:lnTo>
                    <a:pt x="39" y="106"/>
                  </a:lnTo>
                  <a:lnTo>
                    <a:pt x="40" y="106"/>
                  </a:lnTo>
                  <a:lnTo>
                    <a:pt x="40" y="105"/>
                  </a:lnTo>
                  <a:lnTo>
                    <a:pt x="41" y="105"/>
                  </a:lnTo>
                  <a:lnTo>
                    <a:pt x="43" y="105"/>
                  </a:lnTo>
                  <a:lnTo>
                    <a:pt x="44" y="106"/>
                  </a:lnTo>
                  <a:lnTo>
                    <a:pt x="43" y="106"/>
                  </a:lnTo>
                  <a:lnTo>
                    <a:pt x="41" y="107"/>
                  </a:lnTo>
                  <a:lnTo>
                    <a:pt x="41" y="109"/>
                  </a:lnTo>
                  <a:lnTo>
                    <a:pt x="40" y="109"/>
                  </a:lnTo>
                  <a:lnTo>
                    <a:pt x="40" y="110"/>
                  </a:lnTo>
                  <a:lnTo>
                    <a:pt x="39" y="110"/>
                  </a:lnTo>
                  <a:lnTo>
                    <a:pt x="38" y="110"/>
                  </a:lnTo>
                  <a:lnTo>
                    <a:pt x="37" y="110"/>
                  </a:lnTo>
                  <a:lnTo>
                    <a:pt x="35" y="110"/>
                  </a:lnTo>
                  <a:lnTo>
                    <a:pt x="35" y="111"/>
                  </a:lnTo>
                  <a:lnTo>
                    <a:pt x="37" y="111"/>
                  </a:lnTo>
                  <a:lnTo>
                    <a:pt x="37" y="112"/>
                  </a:lnTo>
                  <a:lnTo>
                    <a:pt x="35" y="112"/>
                  </a:lnTo>
                  <a:lnTo>
                    <a:pt x="37" y="113"/>
                  </a:lnTo>
                  <a:lnTo>
                    <a:pt x="38" y="116"/>
                  </a:lnTo>
                  <a:lnTo>
                    <a:pt x="37" y="117"/>
                  </a:lnTo>
                  <a:lnTo>
                    <a:pt x="37" y="118"/>
                  </a:lnTo>
                  <a:lnTo>
                    <a:pt x="37" y="119"/>
                  </a:lnTo>
                  <a:lnTo>
                    <a:pt x="37" y="121"/>
                  </a:lnTo>
                  <a:lnTo>
                    <a:pt x="35" y="119"/>
                  </a:lnTo>
                  <a:lnTo>
                    <a:pt x="35" y="121"/>
                  </a:lnTo>
                  <a:lnTo>
                    <a:pt x="35" y="122"/>
                  </a:lnTo>
                  <a:lnTo>
                    <a:pt x="33" y="122"/>
                  </a:lnTo>
                  <a:lnTo>
                    <a:pt x="32" y="122"/>
                  </a:lnTo>
                  <a:lnTo>
                    <a:pt x="31" y="122"/>
                  </a:lnTo>
                  <a:lnTo>
                    <a:pt x="31" y="121"/>
                  </a:lnTo>
                  <a:lnTo>
                    <a:pt x="31" y="122"/>
                  </a:lnTo>
                  <a:lnTo>
                    <a:pt x="29" y="122"/>
                  </a:lnTo>
                  <a:lnTo>
                    <a:pt x="28" y="122"/>
                  </a:lnTo>
                  <a:lnTo>
                    <a:pt x="27" y="123"/>
                  </a:lnTo>
                  <a:lnTo>
                    <a:pt x="26" y="123"/>
                  </a:lnTo>
                  <a:lnTo>
                    <a:pt x="25" y="123"/>
                  </a:lnTo>
                  <a:lnTo>
                    <a:pt x="23" y="123"/>
                  </a:lnTo>
                  <a:lnTo>
                    <a:pt x="23" y="122"/>
                  </a:lnTo>
                  <a:lnTo>
                    <a:pt x="23" y="123"/>
                  </a:lnTo>
                  <a:lnTo>
                    <a:pt x="23" y="124"/>
                  </a:lnTo>
                  <a:lnTo>
                    <a:pt x="25" y="125"/>
                  </a:lnTo>
                  <a:lnTo>
                    <a:pt x="25" y="127"/>
                  </a:lnTo>
                  <a:lnTo>
                    <a:pt x="23" y="127"/>
                  </a:lnTo>
                  <a:lnTo>
                    <a:pt x="22" y="127"/>
                  </a:lnTo>
                  <a:lnTo>
                    <a:pt x="21" y="127"/>
                  </a:lnTo>
                  <a:lnTo>
                    <a:pt x="20" y="127"/>
                  </a:lnTo>
                  <a:lnTo>
                    <a:pt x="18" y="127"/>
                  </a:lnTo>
                  <a:lnTo>
                    <a:pt x="16" y="127"/>
                  </a:lnTo>
                  <a:lnTo>
                    <a:pt x="16" y="128"/>
                  </a:lnTo>
                  <a:lnTo>
                    <a:pt x="17" y="128"/>
                  </a:lnTo>
                  <a:lnTo>
                    <a:pt x="17" y="129"/>
                  </a:lnTo>
                  <a:lnTo>
                    <a:pt x="20" y="130"/>
                  </a:lnTo>
                  <a:lnTo>
                    <a:pt x="21" y="130"/>
                  </a:lnTo>
                  <a:lnTo>
                    <a:pt x="21" y="132"/>
                  </a:lnTo>
                  <a:lnTo>
                    <a:pt x="22" y="132"/>
                  </a:lnTo>
                  <a:lnTo>
                    <a:pt x="22" y="133"/>
                  </a:lnTo>
                  <a:lnTo>
                    <a:pt x="23" y="134"/>
                  </a:lnTo>
                  <a:lnTo>
                    <a:pt x="25" y="134"/>
                  </a:lnTo>
                  <a:lnTo>
                    <a:pt x="26" y="133"/>
                  </a:lnTo>
                  <a:lnTo>
                    <a:pt x="26" y="134"/>
                  </a:lnTo>
                  <a:lnTo>
                    <a:pt x="27" y="133"/>
                  </a:lnTo>
                  <a:lnTo>
                    <a:pt x="27" y="134"/>
                  </a:lnTo>
                  <a:lnTo>
                    <a:pt x="28" y="133"/>
                  </a:lnTo>
                  <a:lnTo>
                    <a:pt x="29" y="134"/>
                  </a:lnTo>
                  <a:lnTo>
                    <a:pt x="31" y="133"/>
                  </a:lnTo>
                  <a:lnTo>
                    <a:pt x="31" y="132"/>
                  </a:lnTo>
                  <a:lnTo>
                    <a:pt x="32" y="132"/>
                  </a:lnTo>
                  <a:lnTo>
                    <a:pt x="33" y="132"/>
                  </a:lnTo>
                  <a:lnTo>
                    <a:pt x="33" y="130"/>
                  </a:lnTo>
                  <a:lnTo>
                    <a:pt x="33" y="129"/>
                  </a:lnTo>
                  <a:lnTo>
                    <a:pt x="34" y="129"/>
                  </a:lnTo>
                  <a:lnTo>
                    <a:pt x="34" y="130"/>
                  </a:lnTo>
                  <a:lnTo>
                    <a:pt x="33" y="132"/>
                  </a:lnTo>
                  <a:lnTo>
                    <a:pt x="33" y="133"/>
                  </a:lnTo>
                  <a:lnTo>
                    <a:pt x="34" y="134"/>
                  </a:lnTo>
                  <a:lnTo>
                    <a:pt x="34" y="135"/>
                  </a:lnTo>
                  <a:lnTo>
                    <a:pt x="35" y="134"/>
                  </a:lnTo>
                  <a:lnTo>
                    <a:pt x="37" y="134"/>
                  </a:lnTo>
                  <a:lnTo>
                    <a:pt x="37" y="133"/>
                  </a:lnTo>
                  <a:lnTo>
                    <a:pt x="37" y="132"/>
                  </a:lnTo>
                  <a:lnTo>
                    <a:pt x="38" y="132"/>
                  </a:lnTo>
                  <a:lnTo>
                    <a:pt x="39" y="130"/>
                  </a:lnTo>
                  <a:lnTo>
                    <a:pt x="39" y="132"/>
                  </a:lnTo>
                  <a:lnTo>
                    <a:pt x="40" y="132"/>
                  </a:lnTo>
                  <a:lnTo>
                    <a:pt x="41" y="130"/>
                  </a:lnTo>
                  <a:lnTo>
                    <a:pt x="43" y="130"/>
                  </a:lnTo>
                  <a:lnTo>
                    <a:pt x="44" y="130"/>
                  </a:lnTo>
                  <a:lnTo>
                    <a:pt x="45" y="130"/>
                  </a:lnTo>
                  <a:lnTo>
                    <a:pt x="46" y="132"/>
                  </a:lnTo>
                  <a:lnTo>
                    <a:pt x="47" y="132"/>
                  </a:lnTo>
                  <a:lnTo>
                    <a:pt x="49" y="130"/>
                  </a:lnTo>
                  <a:lnTo>
                    <a:pt x="50" y="130"/>
                  </a:lnTo>
                  <a:lnTo>
                    <a:pt x="50" y="132"/>
                  </a:lnTo>
                  <a:lnTo>
                    <a:pt x="51" y="132"/>
                  </a:lnTo>
                  <a:lnTo>
                    <a:pt x="52" y="133"/>
                  </a:lnTo>
                  <a:lnTo>
                    <a:pt x="53" y="132"/>
                  </a:lnTo>
                  <a:lnTo>
                    <a:pt x="55" y="132"/>
                  </a:lnTo>
                  <a:lnTo>
                    <a:pt x="53" y="130"/>
                  </a:lnTo>
                  <a:lnTo>
                    <a:pt x="55" y="129"/>
                  </a:lnTo>
                  <a:lnTo>
                    <a:pt x="55" y="130"/>
                  </a:lnTo>
                  <a:lnTo>
                    <a:pt x="56" y="130"/>
                  </a:lnTo>
                  <a:lnTo>
                    <a:pt x="57" y="130"/>
                  </a:lnTo>
                  <a:lnTo>
                    <a:pt x="58" y="130"/>
                  </a:lnTo>
                  <a:lnTo>
                    <a:pt x="58" y="132"/>
                  </a:lnTo>
                  <a:lnTo>
                    <a:pt x="58" y="133"/>
                  </a:lnTo>
                  <a:lnTo>
                    <a:pt x="57" y="133"/>
                  </a:lnTo>
                  <a:lnTo>
                    <a:pt x="57" y="132"/>
                  </a:lnTo>
                  <a:lnTo>
                    <a:pt x="57" y="133"/>
                  </a:lnTo>
                  <a:lnTo>
                    <a:pt x="56" y="133"/>
                  </a:lnTo>
                  <a:lnTo>
                    <a:pt x="56" y="134"/>
                  </a:lnTo>
                  <a:lnTo>
                    <a:pt x="56" y="133"/>
                  </a:lnTo>
                  <a:lnTo>
                    <a:pt x="56" y="134"/>
                  </a:lnTo>
                  <a:lnTo>
                    <a:pt x="56" y="135"/>
                  </a:lnTo>
                  <a:lnTo>
                    <a:pt x="56" y="136"/>
                  </a:lnTo>
                  <a:lnTo>
                    <a:pt x="55" y="135"/>
                  </a:lnTo>
                  <a:lnTo>
                    <a:pt x="55" y="136"/>
                  </a:lnTo>
                  <a:lnTo>
                    <a:pt x="56" y="136"/>
                  </a:lnTo>
                  <a:lnTo>
                    <a:pt x="56" y="138"/>
                  </a:lnTo>
                  <a:lnTo>
                    <a:pt x="55" y="138"/>
                  </a:lnTo>
                  <a:lnTo>
                    <a:pt x="53" y="138"/>
                  </a:lnTo>
                  <a:lnTo>
                    <a:pt x="52" y="138"/>
                  </a:lnTo>
                  <a:lnTo>
                    <a:pt x="51" y="139"/>
                  </a:lnTo>
                  <a:lnTo>
                    <a:pt x="50" y="140"/>
                  </a:lnTo>
                  <a:lnTo>
                    <a:pt x="50" y="141"/>
                  </a:lnTo>
                  <a:lnTo>
                    <a:pt x="49" y="141"/>
                  </a:lnTo>
                  <a:lnTo>
                    <a:pt x="47" y="142"/>
                  </a:lnTo>
                  <a:lnTo>
                    <a:pt x="47" y="144"/>
                  </a:lnTo>
                  <a:lnTo>
                    <a:pt x="46" y="144"/>
                  </a:lnTo>
                  <a:lnTo>
                    <a:pt x="45" y="145"/>
                  </a:lnTo>
                  <a:lnTo>
                    <a:pt x="44" y="146"/>
                  </a:lnTo>
                  <a:lnTo>
                    <a:pt x="44" y="145"/>
                  </a:lnTo>
                  <a:lnTo>
                    <a:pt x="43" y="146"/>
                  </a:lnTo>
                  <a:lnTo>
                    <a:pt x="41" y="146"/>
                  </a:lnTo>
                  <a:lnTo>
                    <a:pt x="41" y="147"/>
                  </a:lnTo>
                  <a:lnTo>
                    <a:pt x="40" y="147"/>
                  </a:lnTo>
                  <a:lnTo>
                    <a:pt x="39" y="147"/>
                  </a:lnTo>
                  <a:lnTo>
                    <a:pt x="38" y="147"/>
                  </a:lnTo>
                  <a:lnTo>
                    <a:pt x="38" y="148"/>
                  </a:lnTo>
                  <a:lnTo>
                    <a:pt x="37" y="148"/>
                  </a:lnTo>
                  <a:lnTo>
                    <a:pt x="37" y="150"/>
                  </a:lnTo>
                  <a:lnTo>
                    <a:pt x="37" y="151"/>
                  </a:lnTo>
                  <a:lnTo>
                    <a:pt x="37" y="152"/>
                  </a:lnTo>
                  <a:lnTo>
                    <a:pt x="35" y="152"/>
                  </a:lnTo>
                  <a:lnTo>
                    <a:pt x="37" y="152"/>
                  </a:lnTo>
                  <a:lnTo>
                    <a:pt x="35" y="152"/>
                  </a:lnTo>
                  <a:lnTo>
                    <a:pt x="34" y="153"/>
                  </a:lnTo>
                  <a:lnTo>
                    <a:pt x="33" y="153"/>
                  </a:lnTo>
                  <a:lnTo>
                    <a:pt x="31" y="153"/>
                  </a:lnTo>
                  <a:lnTo>
                    <a:pt x="31" y="154"/>
                  </a:lnTo>
                  <a:lnTo>
                    <a:pt x="28" y="154"/>
                  </a:lnTo>
                  <a:lnTo>
                    <a:pt x="27" y="153"/>
                  </a:lnTo>
                  <a:lnTo>
                    <a:pt x="27" y="154"/>
                  </a:lnTo>
                  <a:lnTo>
                    <a:pt x="26" y="154"/>
                  </a:lnTo>
                  <a:lnTo>
                    <a:pt x="25" y="154"/>
                  </a:lnTo>
                  <a:lnTo>
                    <a:pt x="26" y="157"/>
                  </a:lnTo>
                  <a:lnTo>
                    <a:pt x="27" y="157"/>
                  </a:lnTo>
                  <a:lnTo>
                    <a:pt x="26" y="158"/>
                  </a:lnTo>
                  <a:lnTo>
                    <a:pt x="25" y="158"/>
                  </a:lnTo>
                  <a:lnTo>
                    <a:pt x="25" y="159"/>
                  </a:lnTo>
                  <a:lnTo>
                    <a:pt x="23" y="159"/>
                  </a:lnTo>
                  <a:lnTo>
                    <a:pt x="22" y="159"/>
                  </a:lnTo>
                  <a:lnTo>
                    <a:pt x="23" y="160"/>
                  </a:lnTo>
                  <a:lnTo>
                    <a:pt x="22" y="162"/>
                  </a:lnTo>
                  <a:lnTo>
                    <a:pt x="21" y="162"/>
                  </a:lnTo>
                  <a:lnTo>
                    <a:pt x="20" y="162"/>
                  </a:lnTo>
                  <a:lnTo>
                    <a:pt x="18" y="162"/>
                  </a:lnTo>
                  <a:lnTo>
                    <a:pt x="17" y="162"/>
                  </a:lnTo>
                  <a:lnTo>
                    <a:pt x="16" y="162"/>
                  </a:lnTo>
                  <a:lnTo>
                    <a:pt x="17" y="164"/>
                  </a:lnTo>
                  <a:lnTo>
                    <a:pt x="17" y="165"/>
                  </a:lnTo>
                  <a:lnTo>
                    <a:pt x="18" y="165"/>
                  </a:lnTo>
                  <a:lnTo>
                    <a:pt x="20" y="165"/>
                  </a:lnTo>
                  <a:lnTo>
                    <a:pt x="21" y="166"/>
                  </a:lnTo>
                  <a:lnTo>
                    <a:pt x="20" y="166"/>
                  </a:lnTo>
                  <a:lnTo>
                    <a:pt x="18" y="166"/>
                  </a:lnTo>
                  <a:lnTo>
                    <a:pt x="17" y="168"/>
                  </a:lnTo>
                  <a:lnTo>
                    <a:pt x="17" y="170"/>
                  </a:lnTo>
                  <a:lnTo>
                    <a:pt x="18" y="171"/>
                  </a:lnTo>
                  <a:lnTo>
                    <a:pt x="18" y="172"/>
                  </a:lnTo>
                  <a:lnTo>
                    <a:pt x="18" y="174"/>
                  </a:lnTo>
                  <a:lnTo>
                    <a:pt x="17" y="175"/>
                  </a:lnTo>
                  <a:lnTo>
                    <a:pt x="17" y="176"/>
                  </a:lnTo>
                  <a:lnTo>
                    <a:pt x="18" y="177"/>
                  </a:lnTo>
                  <a:lnTo>
                    <a:pt x="20" y="177"/>
                  </a:lnTo>
                  <a:lnTo>
                    <a:pt x="18" y="178"/>
                  </a:lnTo>
                  <a:lnTo>
                    <a:pt x="18" y="180"/>
                  </a:lnTo>
                  <a:lnTo>
                    <a:pt x="17" y="181"/>
                  </a:lnTo>
                  <a:lnTo>
                    <a:pt x="17" y="180"/>
                  </a:lnTo>
                  <a:lnTo>
                    <a:pt x="16" y="180"/>
                  </a:lnTo>
                  <a:lnTo>
                    <a:pt x="16" y="181"/>
                  </a:lnTo>
                  <a:lnTo>
                    <a:pt x="15" y="181"/>
                  </a:lnTo>
                  <a:lnTo>
                    <a:pt x="16" y="181"/>
                  </a:lnTo>
                  <a:lnTo>
                    <a:pt x="16" y="182"/>
                  </a:lnTo>
                  <a:lnTo>
                    <a:pt x="17" y="182"/>
                  </a:lnTo>
                  <a:lnTo>
                    <a:pt x="18" y="182"/>
                  </a:lnTo>
                  <a:lnTo>
                    <a:pt x="20" y="182"/>
                  </a:lnTo>
                  <a:lnTo>
                    <a:pt x="21" y="182"/>
                  </a:lnTo>
                  <a:lnTo>
                    <a:pt x="21" y="181"/>
                  </a:lnTo>
                  <a:lnTo>
                    <a:pt x="25" y="181"/>
                  </a:lnTo>
                  <a:lnTo>
                    <a:pt x="25" y="180"/>
                  </a:lnTo>
                  <a:lnTo>
                    <a:pt x="26" y="178"/>
                  </a:lnTo>
                  <a:lnTo>
                    <a:pt x="27" y="177"/>
                  </a:lnTo>
                  <a:lnTo>
                    <a:pt x="27" y="176"/>
                  </a:lnTo>
                  <a:lnTo>
                    <a:pt x="27" y="175"/>
                  </a:lnTo>
                  <a:lnTo>
                    <a:pt x="28" y="174"/>
                  </a:lnTo>
                  <a:lnTo>
                    <a:pt x="28" y="172"/>
                  </a:lnTo>
                  <a:lnTo>
                    <a:pt x="29" y="171"/>
                  </a:lnTo>
                  <a:lnTo>
                    <a:pt x="31" y="172"/>
                  </a:lnTo>
                  <a:lnTo>
                    <a:pt x="32" y="172"/>
                  </a:lnTo>
                  <a:lnTo>
                    <a:pt x="33" y="171"/>
                  </a:lnTo>
                  <a:lnTo>
                    <a:pt x="33" y="172"/>
                  </a:lnTo>
                  <a:lnTo>
                    <a:pt x="34" y="172"/>
                  </a:lnTo>
                  <a:lnTo>
                    <a:pt x="35" y="174"/>
                  </a:lnTo>
                  <a:lnTo>
                    <a:pt x="37" y="172"/>
                  </a:lnTo>
                  <a:lnTo>
                    <a:pt x="37" y="171"/>
                  </a:lnTo>
                  <a:lnTo>
                    <a:pt x="35" y="170"/>
                  </a:lnTo>
                  <a:lnTo>
                    <a:pt x="34" y="170"/>
                  </a:lnTo>
                  <a:lnTo>
                    <a:pt x="34" y="169"/>
                  </a:lnTo>
                  <a:lnTo>
                    <a:pt x="34" y="168"/>
                  </a:lnTo>
                  <a:lnTo>
                    <a:pt x="33" y="168"/>
                  </a:lnTo>
                  <a:lnTo>
                    <a:pt x="32" y="168"/>
                  </a:lnTo>
                  <a:lnTo>
                    <a:pt x="32" y="166"/>
                  </a:lnTo>
                  <a:lnTo>
                    <a:pt x="33" y="166"/>
                  </a:lnTo>
                  <a:lnTo>
                    <a:pt x="34" y="166"/>
                  </a:lnTo>
                  <a:lnTo>
                    <a:pt x="35" y="166"/>
                  </a:lnTo>
                  <a:lnTo>
                    <a:pt x="37" y="166"/>
                  </a:lnTo>
                  <a:lnTo>
                    <a:pt x="38" y="165"/>
                  </a:lnTo>
                  <a:lnTo>
                    <a:pt x="39" y="165"/>
                  </a:lnTo>
                  <a:lnTo>
                    <a:pt x="38" y="164"/>
                  </a:lnTo>
                  <a:lnTo>
                    <a:pt x="39" y="164"/>
                  </a:lnTo>
                  <a:lnTo>
                    <a:pt x="40" y="164"/>
                  </a:lnTo>
                  <a:lnTo>
                    <a:pt x="39" y="163"/>
                  </a:lnTo>
                  <a:lnTo>
                    <a:pt x="40" y="163"/>
                  </a:lnTo>
                  <a:lnTo>
                    <a:pt x="41" y="163"/>
                  </a:lnTo>
                  <a:lnTo>
                    <a:pt x="43" y="163"/>
                  </a:lnTo>
                  <a:lnTo>
                    <a:pt x="43" y="164"/>
                  </a:lnTo>
                  <a:lnTo>
                    <a:pt x="44" y="163"/>
                  </a:lnTo>
                  <a:lnTo>
                    <a:pt x="44" y="162"/>
                  </a:lnTo>
                  <a:lnTo>
                    <a:pt x="45" y="162"/>
                  </a:lnTo>
                  <a:lnTo>
                    <a:pt x="46" y="162"/>
                  </a:lnTo>
                  <a:lnTo>
                    <a:pt x="45" y="160"/>
                  </a:lnTo>
                  <a:lnTo>
                    <a:pt x="46" y="160"/>
                  </a:lnTo>
                  <a:lnTo>
                    <a:pt x="47" y="160"/>
                  </a:lnTo>
                  <a:lnTo>
                    <a:pt x="49" y="160"/>
                  </a:lnTo>
                  <a:lnTo>
                    <a:pt x="49" y="159"/>
                  </a:lnTo>
                  <a:lnTo>
                    <a:pt x="50" y="159"/>
                  </a:lnTo>
                  <a:lnTo>
                    <a:pt x="51" y="159"/>
                  </a:lnTo>
                  <a:lnTo>
                    <a:pt x="51" y="158"/>
                  </a:lnTo>
                  <a:lnTo>
                    <a:pt x="51" y="157"/>
                  </a:lnTo>
                  <a:lnTo>
                    <a:pt x="51" y="156"/>
                  </a:lnTo>
                  <a:lnTo>
                    <a:pt x="52" y="154"/>
                  </a:lnTo>
                  <a:lnTo>
                    <a:pt x="53" y="153"/>
                  </a:lnTo>
                  <a:lnTo>
                    <a:pt x="53" y="154"/>
                  </a:lnTo>
                  <a:lnTo>
                    <a:pt x="53" y="156"/>
                  </a:lnTo>
                  <a:lnTo>
                    <a:pt x="55" y="156"/>
                  </a:lnTo>
                  <a:lnTo>
                    <a:pt x="55" y="158"/>
                  </a:lnTo>
                  <a:lnTo>
                    <a:pt x="55" y="157"/>
                  </a:lnTo>
                  <a:lnTo>
                    <a:pt x="53" y="157"/>
                  </a:lnTo>
                  <a:lnTo>
                    <a:pt x="52" y="158"/>
                  </a:lnTo>
                  <a:lnTo>
                    <a:pt x="52" y="159"/>
                  </a:lnTo>
                  <a:lnTo>
                    <a:pt x="52" y="160"/>
                  </a:lnTo>
                  <a:lnTo>
                    <a:pt x="51" y="160"/>
                  </a:lnTo>
                  <a:lnTo>
                    <a:pt x="51" y="162"/>
                  </a:lnTo>
                  <a:lnTo>
                    <a:pt x="52" y="162"/>
                  </a:lnTo>
                  <a:lnTo>
                    <a:pt x="53" y="162"/>
                  </a:lnTo>
                  <a:lnTo>
                    <a:pt x="55" y="160"/>
                  </a:lnTo>
                  <a:lnTo>
                    <a:pt x="56" y="160"/>
                  </a:lnTo>
                  <a:lnTo>
                    <a:pt x="56" y="159"/>
                  </a:lnTo>
                  <a:lnTo>
                    <a:pt x="57" y="159"/>
                  </a:lnTo>
                  <a:lnTo>
                    <a:pt x="58" y="159"/>
                  </a:lnTo>
                  <a:lnTo>
                    <a:pt x="59" y="159"/>
                  </a:lnTo>
                  <a:lnTo>
                    <a:pt x="59" y="158"/>
                  </a:lnTo>
                  <a:lnTo>
                    <a:pt x="61" y="158"/>
                  </a:lnTo>
                  <a:lnTo>
                    <a:pt x="62" y="158"/>
                  </a:lnTo>
                  <a:lnTo>
                    <a:pt x="63" y="158"/>
                  </a:lnTo>
                  <a:lnTo>
                    <a:pt x="65" y="158"/>
                  </a:lnTo>
                  <a:lnTo>
                    <a:pt x="67" y="157"/>
                  </a:lnTo>
                  <a:lnTo>
                    <a:pt x="65" y="157"/>
                  </a:lnTo>
                  <a:lnTo>
                    <a:pt x="67" y="156"/>
                  </a:lnTo>
                  <a:lnTo>
                    <a:pt x="68" y="156"/>
                  </a:lnTo>
                  <a:lnTo>
                    <a:pt x="70" y="154"/>
                  </a:lnTo>
                  <a:lnTo>
                    <a:pt x="69" y="152"/>
                  </a:lnTo>
                  <a:lnTo>
                    <a:pt x="69" y="151"/>
                  </a:lnTo>
                  <a:lnTo>
                    <a:pt x="68" y="151"/>
                  </a:lnTo>
                  <a:lnTo>
                    <a:pt x="69" y="150"/>
                  </a:lnTo>
                  <a:lnTo>
                    <a:pt x="69" y="151"/>
                  </a:lnTo>
                  <a:lnTo>
                    <a:pt x="69" y="152"/>
                  </a:lnTo>
                  <a:lnTo>
                    <a:pt x="70" y="153"/>
                  </a:lnTo>
                  <a:lnTo>
                    <a:pt x="71" y="152"/>
                  </a:lnTo>
                  <a:lnTo>
                    <a:pt x="73" y="152"/>
                  </a:lnTo>
                  <a:lnTo>
                    <a:pt x="74" y="152"/>
                  </a:lnTo>
                  <a:lnTo>
                    <a:pt x="75" y="153"/>
                  </a:lnTo>
                  <a:lnTo>
                    <a:pt x="76" y="153"/>
                  </a:lnTo>
                  <a:lnTo>
                    <a:pt x="77" y="153"/>
                  </a:lnTo>
                  <a:lnTo>
                    <a:pt x="77" y="154"/>
                  </a:lnTo>
                  <a:lnTo>
                    <a:pt x="77" y="157"/>
                  </a:lnTo>
                  <a:lnTo>
                    <a:pt x="77" y="156"/>
                  </a:lnTo>
                  <a:lnTo>
                    <a:pt x="76" y="156"/>
                  </a:lnTo>
                  <a:lnTo>
                    <a:pt x="75" y="157"/>
                  </a:lnTo>
                  <a:lnTo>
                    <a:pt x="75" y="156"/>
                  </a:lnTo>
                  <a:lnTo>
                    <a:pt x="74" y="156"/>
                  </a:lnTo>
                  <a:lnTo>
                    <a:pt x="73" y="156"/>
                  </a:lnTo>
                  <a:lnTo>
                    <a:pt x="73" y="157"/>
                  </a:lnTo>
                  <a:lnTo>
                    <a:pt x="74" y="157"/>
                  </a:lnTo>
                  <a:lnTo>
                    <a:pt x="74" y="158"/>
                  </a:lnTo>
                  <a:lnTo>
                    <a:pt x="73" y="158"/>
                  </a:lnTo>
                  <a:lnTo>
                    <a:pt x="73" y="159"/>
                  </a:lnTo>
                  <a:lnTo>
                    <a:pt x="74" y="158"/>
                  </a:lnTo>
                  <a:lnTo>
                    <a:pt x="75" y="158"/>
                  </a:lnTo>
                  <a:lnTo>
                    <a:pt x="76" y="158"/>
                  </a:lnTo>
                  <a:lnTo>
                    <a:pt x="75" y="159"/>
                  </a:lnTo>
                  <a:lnTo>
                    <a:pt x="74" y="159"/>
                  </a:lnTo>
                  <a:lnTo>
                    <a:pt x="74" y="160"/>
                  </a:lnTo>
                  <a:lnTo>
                    <a:pt x="73" y="160"/>
                  </a:lnTo>
                  <a:lnTo>
                    <a:pt x="71" y="160"/>
                  </a:lnTo>
                  <a:lnTo>
                    <a:pt x="70" y="159"/>
                  </a:lnTo>
                  <a:lnTo>
                    <a:pt x="69" y="159"/>
                  </a:lnTo>
                  <a:lnTo>
                    <a:pt x="68" y="159"/>
                  </a:lnTo>
                  <a:lnTo>
                    <a:pt x="68" y="160"/>
                  </a:lnTo>
                  <a:lnTo>
                    <a:pt x="68" y="162"/>
                  </a:lnTo>
                  <a:lnTo>
                    <a:pt x="67" y="163"/>
                  </a:lnTo>
                  <a:lnTo>
                    <a:pt x="67" y="164"/>
                  </a:lnTo>
                  <a:lnTo>
                    <a:pt x="67" y="165"/>
                  </a:lnTo>
                  <a:lnTo>
                    <a:pt x="65" y="165"/>
                  </a:lnTo>
                  <a:lnTo>
                    <a:pt x="64" y="166"/>
                  </a:lnTo>
                  <a:lnTo>
                    <a:pt x="65" y="166"/>
                  </a:lnTo>
                  <a:lnTo>
                    <a:pt x="64" y="166"/>
                  </a:lnTo>
                  <a:lnTo>
                    <a:pt x="62" y="166"/>
                  </a:lnTo>
                  <a:lnTo>
                    <a:pt x="62" y="168"/>
                  </a:lnTo>
                  <a:lnTo>
                    <a:pt x="61" y="168"/>
                  </a:lnTo>
                  <a:lnTo>
                    <a:pt x="58" y="169"/>
                  </a:lnTo>
                  <a:lnTo>
                    <a:pt x="57" y="168"/>
                  </a:lnTo>
                  <a:lnTo>
                    <a:pt x="56" y="168"/>
                  </a:lnTo>
                  <a:lnTo>
                    <a:pt x="55" y="168"/>
                  </a:lnTo>
                  <a:lnTo>
                    <a:pt x="53" y="168"/>
                  </a:lnTo>
                  <a:lnTo>
                    <a:pt x="53" y="166"/>
                  </a:lnTo>
                  <a:lnTo>
                    <a:pt x="52" y="166"/>
                  </a:lnTo>
                  <a:lnTo>
                    <a:pt x="51" y="168"/>
                  </a:lnTo>
                  <a:lnTo>
                    <a:pt x="50" y="168"/>
                  </a:lnTo>
                  <a:lnTo>
                    <a:pt x="49" y="169"/>
                  </a:lnTo>
                  <a:lnTo>
                    <a:pt x="47" y="170"/>
                  </a:lnTo>
                  <a:lnTo>
                    <a:pt x="46" y="170"/>
                  </a:lnTo>
                  <a:lnTo>
                    <a:pt x="47" y="170"/>
                  </a:lnTo>
                  <a:lnTo>
                    <a:pt x="46" y="171"/>
                  </a:lnTo>
                  <a:lnTo>
                    <a:pt x="47" y="172"/>
                  </a:lnTo>
                  <a:lnTo>
                    <a:pt x="46" y="172"/>
                  </a:lnTo>
                  <a:lnTo>
                    <a:pt x="46" y="174"/>
                  </a:lnTo>
                  <a:lnTo>
                    <a:pt x="47" y="174"/>
                  </a:lnTo>
                  <a:lnTo>
                    <a:pt x="49" y="175"/>
                  </a:lnTo>
                  <a:lnTo>
                    <a:pt x="47" y="175"/>
                  </a:lnTo>
                  <a:lnTo>
                    <a:pt x="46" y="174"/>
                  </a:lnTo>
                  <a:lnTo>
                    <a:pt x="45" y="174"/>
                  </a:lnTo>
                  <a:lnTo>
                    <a:pt x="44" y="172"/>
                  </a:lnTo>
                  <a:lnTo>
                    <a:pt x="44" y="174"/>
                  </a:lnTo>
                  <a:lnTo>
                    <a:pt x="43" y="174"/>
                  </a:lnTo>
                  <a:lnTo>
                    <a:pt x="43" y="175"/>
                  </a:lnTo>
                  <a:lnTo>
                    <a:pt x="43" y="176"/>
                  </a:lnTo>
                  <a:lnTo>
                    <a:pt x="41" y="176"/>
                  </a:lnTo>
                  <a:lnTo>
                    <a:pt x="40" y="178"/>
                  </a:lnTo>
                  <a:lnTo>
                    <a:pt x="39" y="178"/>
                  </a:lnTo>
                  <a:lnTo>
                    <a:pt x="38" y="178"/>
                  </a:lnTo>
                  <a:lnTo>
                    <a:pt x="37" y="177"/>
                  </a:lnTo>
                  <a:lnTo>
                    <a:pt x="37" y="178"/>
                  </a:lnTo>
                  <a:lnTo>
                    <a:pt x="35" y="178"/>
                  </a:lnTo>
                  <a:lnTo>
                    <a:pt x="34" y="178"/>
                  </a:lnTo>
                  <a:lnTo>
                    <a:pt x="34" y="180"/>
                  </a:lnTo>
                  <a:lnTo>
                    <a:pt x="35" y="180"/>
                  </a:lnTo>
                  <a:lnTo>
                    <a:pt x="34" y="181"/>
                  </a:lnTo>
                  <a:lnTo>
                    <a:pt x="35" y="182"/>
                  </a:lnTo>
                  <a:lnTo>
                    <a:pt x="34" y="182"/>
                  </a:lnTo>
                  <a:lnTo>
                    <a:pt x="34" y="183"/>
                  </a:lnTo>
                  <a:lnTo>
                    <a:pt x="34" y="184"/>
                  </a:lnTo>
                  <a:lnTo>
                    <a:pt x="34" y="186"/>
                  </a:lnTo>
                  <a:lnTo>
                    <a:pt x="35" y="186"/>
                  </a:lnTo>
                  <a:lnTo>
                    <a:pt x="34" y="187"/>
                  </a:lnTo>
                  <a:lnTo>
                    <a:pt x="34" y="188"/>
                  </a:lnTo>
                  <a:lnTo>
                    <a:pt x="33" y="188"/>
                  </a:lnTo>
                  <a:lnTo>
                    <a:pt x="33" y="187"/>
                  </a:lnTo>
                  <a:lnTo>
                    <a:pt x="32" y="187"/>
                  </a:lnTo>
                  <a:lnTo>
                    <a:pt x="32" y="188"/>
                  </a:lnTo>
                  <a:lnTo>
                    <a:pt x="31" y="188"/>
                  </a:lnTo>
                  <a:lnTo>
                    <a:pt x="29" y="188"/>
                  </a:lnTo>
                  <a:lnTo>
                    <a:pt x="28" y="189"/>
                  </a:lnTo>
                  <a:lnTo>
                    <a:pt x="28" y="190"/>
                  </a:lnTo>
                  <a:lnTo>
                    <a:pt x="27" y="189"/>
                  </a:lnTo>
                  <a:lnTo>
                    <a:pt x="26" y="190"/>
                  </a:lnTo>
                  <a:lnTo>
                    <a:pt x="25" y="190"/>
                  </a:lnTo>
                  <a:lnTo>
                    <a:pt x="25" y="192"/>
                  </a:lnTo>
                  <a:lnTo>
                    <a:pt x="26" y="193"/>
                  </a:lnTo>
                  <a:lnTo>
                    <a:pt x="25" y="194"/>
                  </a:lnTo>
                  <a:lnTo>
                    <a:pt x="23" y="194"/>
                  </a:lnTo>
                  <a:lnTo>
                    <a:pt x="23" y="195"/>
                  </a:lnTo>
                  <a:lnTo>
                    <a:pt x="21" y="195"/>
                  </a:lnTo>
                  <a:lnTo>
                    <a:pt x="21" y="196"/>
                  </a:lnTo>
                  <a:lnTo>
                    <a:pt x="20" y="198"/>
                  </a:lnTo>
                  <a:lnTo>
                    <a:pt x="18" y="198"/>
                  </a:lnTo>
                  <a:lnTo>
                    <a:pt x="18" y="199"/>
                  </a:lnTo>
                  <a:lnTo>
                    <a:pt x="18" y="200"/>
                  </a:lnTo>
                  <a:lnTo>
                    <a:pt x="18" y="201"/>
                  </a:lnTo>
                  <a:lnTo>
                    <a:pt x="17" y="201"/>
                  </a:lnTo>
                  <a:lnTo>
                    <a:pt x="18" y="202"/>
                  </a:lnTo>
                  <a:lnTo>
                    <a:pt x="17" y="204"/>
                  </a:lnTo>
                  <a:lnTo>
                    <a:pt x="17" y="205"/>
                  </a:lnTo>
                  <a:lnTo>
                    <a:pt x="16" y="205"/>
                  </a:lnTo>
                  <a:lnTo>
                    <a:pt x="17" y="206"/>
                  </a:lnTo>
                  <a:lnTo>
                    <a:pt x="17" y="207"/>
                  </a:lnTo>
                  <a:lnTo>
                    <a:pt x="17" y="208"/>
                  </a:lnTo>
                  <a:lnTo>
                    <a:pt x="17" y="207"/>
                  </a:lnTo>
                  <a:lnTo>
                    <a:pt x="16" y="207"/>
                  </a:lnTo>
                  <a:lnTo>
                    <a:pt x="15" y="210"/>
                  </a:lnTo>
                  <a:lnTo>
                    <a:pt x="14" y="211"/>
                  </a:lnTo>
                  <a:lnTo>
                    <a:pt x="12" y="211"/>
                  </a:lnTo>
                  <a:lnTo>
                    <a:pt x="11" y="211"/>
                  </a:lnTo>
                  <a:lnTo>
                    <a:pt x="12" y="212"/>
                  </a:lnTo>
                  <a:lnTo>
                    <a:pt x="12" y="213"/>
                  </a:lnTo>
                  <a:lnTo>
                    <a:pt x="11" y="213"/>
                  </a:lnTo>
                  <a:lnTo>
                    <a:pt x="10" y="213"/>
                  </a:lnTo>
                  <a:lnTo>
                    <a:pt x="10" y="214"/>
                  </a:lnTo>
                  <a:lnTo>
                    <a:pt x="10" y="216"/>
                  </a:lnTo>
                  <a:lnTo>
                    <a:pt x="9" y="217"/>
                  </a:lnTo>
                  <a:lnTo>
                    <a:pt x="8" y="217"/>
                  </a:lnTo>
                  <a:lnTo>
                    <a:pt x="8" y="218"/>
                  </a:lnTo>
                  <a:lnTo>
                    <a:pt x="8" y="219"/>
                  </a:lnTo>
                  <a:lnTo>
                    <a:pt x="6" y="219"/>
                  </a:lnTo>
                  <a:lnTo>
                    <a:pt x="6" y="220"/>
                  </a:lnTo>
                  <a:lnTo>
                    <a:pt x="6" y="219"/>
                  </a:lnTo>
                  <a:lnTo>
                    <a:pt x="5" y="220"/>
                  </a:lnTo>
                  <a:lnTo>
                    <a:pt x="4" y="219"/>
                  </a:lnTo>
                  <a:lnTo>
                    <a:pt x="3" y="220"/>
                  </a:lnTo>
                  <a:lnTo>
                    <a:pt x="3" y="219"/>
                  </a:lnTo>
                  <a:lnTo>
                    <a:pt x="0" y="219"/>
                  </a:lnTo>
                  <a:lnTo>
                    <a:pt x="0" y="220"/>
                  </a:lnTo>
                  <a:lnTo>
                    <a:pt x="2" y="222"/>
                  </a:lnTo>
                  <a:lnTo>
                    <a:pt x="2" y="223"/>
                  </a:lnTo>
                  <a:lnTo>
                    <a:pt x="3" y="223"/>
                  </a:lnTo>
                  <a:lnTo>
                    <a:pt x="4" y="223"/>
                  </a:lnTo>
                  <a:lnTo>
                    <a:pt x="5" y="223"/>
                  </a:lnTo>
                  <a:lnTo>
                    <a:pt x="5" y="224"/>
                  </a:lnTo>
                  <a:lnTo>
                    <a:pt x="6" y="226"/>
                  </a:lnTo>
                  <a:lnTo>
                    <a:pt x="6" y="228"/>
                  </a:lnTo>
                  <a:lnTo>
                    <a:pt x="6" y="229"/>
                  </a:lnTo>
                  <a:lnTo>
                    <a:pt x="8" y="229"/>
                  </a:lnTo>
                  <a:lnTo>
                    <a:pt x="5" y="230"/>
                  </a:lnTo>
                  <a:lnTo>
                    <a:pt x="5" y="231"/>
                  </a:lnTo>
                  <a:lnTo>
                    <a:pt x="4" y="230"/>
                  </a:lnTo>
                  <a:lnTo>
                    <a:pt x="4" y="231"/>
                  </a:lnTo>
                  <a:lnTo>
                    <a:pt x="4" y="232"/>
                  </a:lnTo>
                  <a:lnTo>
                    <a:pt x="5" y="232"/>
                  </a:lnTo>
                  <a:lnTo>
                    <a:pt x="6" y="232"/>
                  </a:lnTo>
                  <a:lnTo>
                    <a:pt x="8" y="232"/>
                  </a:lnTo>
                  <a:lnTo>
                    <a:pt x="9" y="231"/>
                  </a:lnTo>
                  <a:lnTo>
                    <a:pt x="9" y="230"/>
                  </a:lnTo>
                  <a:lnTo>
                    <a:pt x="10" y="229"/>
                  </a:lnTo>
                  <a:lnTo>
                    <a:pt x="11" y="229"/>
                  </a:lnTo>
                  <a:lnTo>
                    <a:pt x="11" y="228"/>
                  </a:lnTo>
                  <a:lnTo>
                    <a:pt x="11" y="226"/>
                  </a:lnTo>
                  <a:lnTo>
                    <a:pt x="12" y="226"/>
                  </a:lnTo>
                  <a:lnTo>
                    <a:pt x="14" y="226"/>
                  </a:lnTo>
                  <a:lnTo>
                    <a:pt x="15" y="226"/>
                  </a:lnTo>
                  <a:lnTo>
                    <a:pt x="16" y="226"/>
                  </a:lnTo>
                  <a:lnTo>
                    <a:pt x="18" y="226"/>
                  </a:lnTo>
                  <a:lnTo>
                    <a:pt x="17" y="225"/>
                  </a:lnTo>
                  <a:lnTo>
                    <a:pt x="17" y="224"/>
                  </a:lnTo>
                  <a:lnTo>
                    <a:pt x="18" y="225"/>
                  </a:lnTo>
                  <a:lnTo>
                    <a:pt x="20" y="225"/>
                  </a:lnTo>
                  <a:lnTo>
                    <a:pt x="21" y="226"/>
                  </a:lnTo>
                  <a:lnTo>
                    <a:pt x="21" y="228"/>
                  </a:lnTo>
                  <a:lnTo>
                    <a:pt x="21" y="229"/>
                  </a:lnTo>
                  <a:lnTo>
                    <a:pt x="21" y="230"/>
                  </a:lnTo>
                  <a:lnTo>
                    <a:pt x="22" y="230"/>
                  </a:lnTo>
                  <a:lnTo>
                    <a:pt x="22" y="231"/>
                  </a:lnTo>
                  <a:lnTo>
                    <a:pt x="22" y="230"/>
                  </a:lnTo>
                  <a:lnTo>
                    <a:pt x="23" y="231"/>
                  </a:lnTo>
                  <a:lnTo>
                    <a:pt x="25" y="231"/>
                  </a:lnTo>
                  <a:lnTo>
                    <a:pt x="25" y="230"/>
                  </a:lnTo>
                  <a:lnTo>
                    <a:pt x="25" y="229"/>
                  </a:lnTo>
                  <a:lnTo>
                    <a:pt x="26" y="228"/>
                  </a:lnTo>
                  <a:lnTo>
                    <a:pt x="26" y="226"/>
                  </a:lnTo>
                  <a:lnTo>
                    <a:pt x="27" y="226"/>
                  </a:lnTo>
                  <a:lnTo>
                    <a:pt x="28" y="226"/>
                  </a:lnTo>
                  <a:lnTo>
                    <a:pt x="29" y="226"/>
                  </a:lnTo>
                  <a:lnTo>
                    <a:pt x="28" y="226"/>
                  </a:lnTo>
                  <a:lnTo>
                    <a:pt x="28" y="225"/>
                  </a:lnTo>
                  <a:lnTo>
                    <a:pt x="29" y="225"/>
                  </a:lnTo>
                  <a:lnTo>
                    <a:pt x="31" y="225"/>
                  </a:lnTo>
                  <a:lnTo>
                    <a:pt x="31" y="224"/>
                  </a:lnTo>
                  <a:lnTo>
                    <a:pt x="31" y="223"/>
                  </a:lnTo>
                  <a:lnTo>
                    <a:pt x="32" y="223"/>
                  </a:lnTo>
                  <a:lnTo>
                    <a:pt x="32" y="222"/>
                  </a:lnTo>
                  <a:lnTo>
                    <a:pt x="33" y="222"/>
                  </a:lnTo>
                  <a:lnTo>
                    <a:pt x="34" y="224"/>
                  </a:lnTo>
                  <a:lnTo>
                    <a:pt x="35" y="224"/>
                  </a:lnTo>
                  <a:lnTo>
                    <a:pt x="37" y="223"/>
                  </a:lnTo>
                  <a:lnTo>
                    <a:pt x="38" y="223"/>
                  </a:lnTo>
                  <a:lnTo>
                    <a:pt x="38" y="224"/>
                  </a:lnTo>
                  <a:lnTo>
                    <a:pt x="39" y="225"/>
                  </a:lnTo>
                  <a:lnTo>
                    <a:pt x="38" y="226"/>
                  </a:lnTo>
                  <a:lnTo>
                    <a:pt x="37" y="228"/>
                  </a:lnTo>
                  <a:lnTo>
                    <a:pt x="38" y="226"/>
                  </a:lnTo>
                  <a:lnTo>
                    <a:pt x="37" y="226"/>
                  </a:lnTo>
                  <a:lnTo>
                    <a:pt x="35" y="226"/>
                  </a:lnTo>
                  <a:lnTo>
                    <a:pt x="34" y="228"/>
                  </a:lnTo>
                  <a:lnTo>
                    <a:pt x="33" y="228"/>
                  </a:lnTo>
                  <a:lnTo>
                    <a:pt x="32" y="228"/>
                  </a:lnTo>
                  <a:lnTo>
                    <a:pt x="31" y="228"/>
                  </a:lnTo>
                  <a:lnTo>
                    <a:pt x="31" y="229"/>
                  </a:lnTo>
                  <a:lnTo>
                    <a:pt x="31" y="230"/>
                  </a:lnTo>
                  <a:lnTo>
                    <a:pt x="29" y="230"/>
                  </a:lnTo>
                  <a:lnTo>
                    <a:pt x="29" y="231"/>
                  </a:lnTo>
                  <a:lnTo>
                    <a:pt x="28" y="231"/>
                  </a:lnTo>
                  <a:lnTo>
                    <a:pt x="28" y="232"/>
                  </a:lnTo>
                  <a:lnTo>
                    <a:pt x="28" y="234"/>
                  </a:lnTo>
                  <a:lnTo>
                    <a:pt x="28" y="235"/>
                  </a:lnTo>
                  <a:lnTo>
                    <a:pt x="29" y="236"/>
                  </a:lnTo>
                  <a:lnTo>
                    <a:pt x="31" y="236"/>
                  </a:lnTo>
                  <a:lnTo>
                    <a:pt x="31" y="235"/>
                  </a:lnTo>
                  <a:lnTo>
                    <a:pt x="32" y="235"/>
                  </a:lnTo>
                  <a:lnTo>
                    <a:pt x="33" y="235"/>
                  </a:lnTo>
                  <a:lnTo>
                    <a:pt x="33" y="236"/>
                  </a:lnTo>
                  <a:lnTo>
                    <a:pt x="34" y="235"/>
                  </a:lnTo>
                  <a:lnTo>
                    <a:pt x="35" y="236"/>
                  </a:lnTo>
                  <a:lnTo>
                    <a:pt x="35" y="237"/>
                  </a:lnTo>
                  <a:lnTo>
                    <a:pt x="35" y="238"/>
                  </a:lnTo>
                  <a:lnTo>
                    <a:pt x="37" y="237"/>
                  </a:lnTo>
                  <a:lnTo>
                    <a:pt x="38" y="237"/>
                  </a:lnTo>
                  <a:lnTo>
                    <a:pt x="38" y="238"/>
                  </a:lnTo>
                  <a:lnTo>
                    <a:pt x="38" y="237"/>
                  </a:lnTo>
                  <a:lnTo>
                    <a:pt x="39" y="238"/>
                  </a:lnTo>
                  <a:lnTo>
                    <a:pt x="40" y="237"/>
                  </a:lnTo>
                  <a:lnTo>
                    <a:pt x="40" y="238"/>
                  </a:lnTo>
                  <a:lnTo>
                    <a:pt x="41" y="238"/>
                  </a:lnTo>
                  <a:lnTo>
                    <a:pt x="43" y="238"/>
                  </a:lnTo>
                  <a:lnTo>
                    <a:pt x="45" y="237"/>
                  </a:lnTo>
                  <a:lnTo>
                    <a:pt x="45" y="236"/>
                  </a:lnTo>
                  <a:lnTo>
                    <a:pt x="46" y="236"/>
                  </a:lnTo>
                  <a:lnTo>
                    <a:pt x="47" y="236"/>
                  </a:lnTo>
                  <a:lnTo>
                    <a:pt x="47" y="235"/>
                  </a:lnTo>
                  <a:lnTo>
                    <a:pt x="47" y="236"/>
                  </a:lnTo>
                  <a:lnTo>
                    <a:pt x="46" y="237"/>
                  </a:lnTo>
                  <a:lnTo>
                    <a:pt x="45" y="237"/>
                  </a:lnTo>
                  <a:lnTo>
                    <a:pt x="45" y="238"/>
                  </a:lnTo>
                  <a:lnTo>
                    <a:pt x="45" y="240"/>
                  </a:lnTo>
                  <a:lnTo>
                    <a:pt x="46" y="238"/>
                  </a:lnTo>
                  <a:lnTo>
                    <a:pt x="46" y="240"/>
                  </a:lnTo>
                  <a:lnTo>
                    <a:pt x="46" y="241"/>
                  </a:lnTo>
                  <a:lnTo>
                    <a:pt x="45" y="241"/>
                  </a:lnTo>
                  <a:lnTo>
                    <a:pt x="46" y="242"/>
                  </a:lnTo>
                  <a:lnTo>
                    <a:pt x="47" y="242"/>
                  </a:lnTo>
                  <a:lnTo>
                    <a:pt x="49" y="242"/>
                  </a:lnTo>
                  <a:lnTo>
                    <a:pt x="50" y="242"/>
                  </a:lnTo>
                  <a:lnTo>
                    <a:pt x="51" y="242"/>
                  </a:lnTo>
                  <a:lnTo>
                    <a:pt x="51" y="243"/>
                  </a:lnTo>
                  <a:lnTo>
                    <a:pt x="52" y="245"/>
                  </a:lnTo>
                  <a:lnTo>
                    <a:pt x="52" y="243"/>
                  </a:lnTo>
                  <a:lnTo>
                    <a:pt x="53" y="243"/>
                  </a:lnTo>
                  <a:lnTo>
                    <a:pt x="53" y="245"/>
                  </a:lnTo>
                  <a:lnTo>
                    <a:pt x="52" y="246"/>
                  </a:lnTo>
                  <a:lnTo>
                    <a:pt x="52" y="247"/>
                  </a:lnTo>
                  <a:lnTo>
                    <a:pt x="50" y="248"/>
                  </a:lnTo>
                  <a:lnTo>
                    <a:pt x="49" y="248"/>
                  </a:lnTo>
                  <a:lnTo>
                    <a:pt x="49" y="247"/>
                  </a:lnTo>
                  <a:lnTo>
                    <a:pt x="47" y="247"/>
                  </a:lnTo>
                  <a:lnTo>
                    <a:pt x="47" y="248"/>
                  </a:lnTo>
                  <a:lnTo>
                    <a:pt x="46" y="248"/>
                  </a:lnTo>
                  <a:lnTo>
                    <a:pt x="46" y="249"/>
                  </a:lnTo>
                  <a:lnTo>
                    <a:pt x="46" y="251"/>
                  </a:lnTo>
                  <a:lnTo>
                    <a:pt x="46" y="252"/>
                  </a:lnTo>
                  <a:lnTo>
                    <a:pt x="46" y="253"/>
                  </a:lnTo>
                  <a:lnTo>
                    <a:pt x="47" y="253"/>
                  </a:lnTo>
                  <a:lnTo>
                    <a:pt x="49" y="253"/>
                  </a:lnTo>
                  <a:lnTo>
                    <a:pt x="49" y="254"/>
                  </a:lnTo>
                  <a:lnTo>
                    <a:pt x="50" y="254"/>
                  </a:lnTo>
                  <a:lnTo>
                    <a:pt x="49" y="255"/>
                  </a:lnTo>
                  <a:lnTo>
                    <a:pt x="47" y="255"/>
                  </a:lnTo>
                  <a:lnTo>
                    <a:pt x="46" y="254"/>
                  </a:lnTo>
                  <a:lnTo>
                    <a:pt x="45" y="254"/>
                  </a:lnTo>
                  <a:lnTo>
                    <a:pt x="45" y="255"/>
                  </a:lnTo>
                  <a:lnTo>
                    <a:pt x="44" y="257"/>
                  </a:lnTo>
                  <a:lnTo>
                    <a:pt x="44" y="258"/>
                  </a:lnTo>
                  <a:lnTo>
                    <a:pt x="43" y="258"/>
                  </a:lnTo>
                  <a:lnTo>
                    <a:pt x="43" y="259"/>
                  </a:lnTo>
                  <a:lnTo>
                    <a:pt x="43" y="258"/>
                  </a:lnTo>
                  <a:lnTo>
                    <a:pt x="43" y="259"/>
                  </a:lnTo>
                  <a:lnTo>
                    <a:pt x="43" y="260"/>
                  </a:lnTo>
                  <a:lnTo>
                    <a:pt x="44" y="260"/>
                  </a:lnTo>
                  <a:lnTo>
                    <a:pt x="43" y="260"/>
                  </a:lnTo>
                  <a:lnTo>
                    <a:pt x="43" y="261"/>
                  </a:lnTo>
                  <a:lnTo>
                    <a:pt x="44" y="263"/>
                  </a:lnTo>
                  <a:lnTo>
                    <a:pt x="45" y="263"/>
                  </a:lnTo>
                  <a:lnTo>
                    <a:pt x="45" y="261"/>
                  </a:lnTo>
                  <a:lnTo>
                    <a:pt x="46" y="263"/>
                  </a:lnTo>
                  <a:lnTo>
                    <a:pt x="47" y="261"/>
                  </a:lnTo>
                  <a:lnTo>
                    <a:pt x="47" y="263"/>
                  </a:lnTo>
                  <a:lnTo>
                    <a:pt x="49" y="261"/>
                  </a:lnTo>
                  <a:lnTo>
                    <a:pt x="50" y="261"/>
                  </a:lnTo>
                  <a:lnTo>
                    <a:pt x="50" y="260"/>
                  </a:lnTo>
                  <a:lnTo>
                    <a:pt x="51" y="260"/>
                  </a:lnTo>
                  <a:lnTo>
                    <a:pt x="52" y="260"/>
                  </a:lnTo>
                  <a:lnTo>
                    <a:pt x="52" y="259"/>
                  </a:lnTo>
                  <a:lnTo>
                    <a:pt x="53" y="258"/>
                  </a:lnTo>
                  <a:lnTo>
                    <a:pt x="55" y="259"/>
                  </a:lnTo>
                  <a:lnTo>
                    <a:pt x="56" y="259"/>
                  </a:lnTo>
                  <a:lnTo>
                    <a:pt x="56" y="258"/>
                  </a:lnTo>
                  <a:lnTo>
                    <a:pt x="55" y="258"/>
                  </a:lnTo>
                  <a:lnTo>
                    <a:pt x="55" y="255"/>
                  </a:lnTo>
                  <a:lnTo>
                    <a:pt x="53" y="257"/>
                  </a:lnTo>
                  <a:lnTo>
                    <a:pt x="53" y="258"/>
                  </a:lnTo>
                  <a:lnTo>
                    <a:pt x="52" y="258"/>
                  </a:lnTo>
                  <a:lnTo>
                    <a:pt x="52" y="259"/>
                  </a:lnTo>
                  <a:lnTo>
                    <a:pt x="51" y="259"/>
                  </a:lnTo>
                  <a:lnTo>
                    <a:pt x="50" y="259"/>
                  </a:lnTo>
                  <a:lnTo>
                    <a:pt x="49" y="259"/>
                  </a:lnTo>
                  <a:lnTo>
                    <a:pt x="49" y="258"/>
                  </a:lnTo>
                  <a:lnTo>
                    <a:pt x="50" y="257"/>
                  </a:lnTo>
                  <a:lnTo>
                    <a:pt x="50" y="258"/>
                  </a:lnTo>
                  <a:lnTo>
                    <a:pt x="50" y="257"/>
                  </a:lnTo>
                  <a:lnTo>
                    <a:pt x="51" y="257"/>
                  </a:lnTo>
                  <a:lnTo>
                    <a:pt x="51" y="255"/>
                  </a:lnTo>
                  <a:lnTo>
                    <a:pt x="51" y="254"/>
                  </a:lnTo>
                  <a:lnTo>
                    <a:pt x="50" y="254"/>
                  </a:lnTo>
                  <a:lnTo>
                    <a:pt x="51" y="253"/>
                  </a:lnTo>
                  <a:lnTo>
                    <a:pt x="52" y="252"/>
                  </a:lnTo>
                  <a:lnTo>
                    <a:pt x="52" y="251"/>
                  </a:lnTo>
                  <a:lnTo>
                    <a:pt x="53" y="251"/>
                  </a:lnTo>
                  <a:lnTo>
                    <a:pt x="53" y="252"/>
                  </a:lnTo>
                  <a:lnTo>
                    <a:pt x="55" y="252"/>
                  </a:lnTo>
                  <a:lnTo>
                    <a:pt x="53" y="252"/>
                  </a:lnTo>
                  <a:lnTo>
                    <a:pt x="52" y="253"/>
                  </a:lnTo>
                  <a:lnTo>
                    <a:pt x="53" y="253"/>
                  </a:lnTo>
                  <a:lnTo>
                    <a:pt x="55" y="253"/>
                  </a:lnTo>
                  <a:lnTo>
                    <a:pt x="55" y="252"/>
                  </a:lnTo>
                  <a:lnTo>
                    <a:pt x="56" y="252"/>
                  </a:lnTo>
                  <a:lnTo>
                    <a:pt x="56" y="251"/>
                  </a:lnTo>
                  <a:lnTo>
                    <a:pt x="57" y="251"/>
                  </a:lnTo>
                  <a:lnTo>
                    <a:pt x="58" y="249"/>
                  </a:lnTo>
                  <a:lnTo>
                    <a:pt x="59" y="248"/>
                  </a:lnTo>
                  <a:lnTo>
                    <a:pt x="61" y="248"/>
                  </a:lnTo>
                  <a:lnTo>
                    <a:pt x="61" y="247"/>
                  </a:lnTo>
                  <a:lnTo>
                    <a:pt x="59" y="247"/>
                  </a:lnTo>
                  <a:lnTo>
                    <a:pt x="59" y="246"/>
                  </a:lnTo>
                  <a:lnTo>
                    <a:pt x="58" y="245"/>
                  </a:lnTo>
                  <a:lnTo>
                    <a:pt x="59" y="245"/>
                  </a:lnTo>
                  <a:lnTo>
                    <a:pt x="58" y="243"/>
                  </a:lnTo>
                  <a:lnTo>
                    <a:pt x="59" y="243"/>
                  </a:lnTo>
                  <a:lnTo>
                    <a:pt x="59" y="245"/>
                  </a:lnTo>
                  <a:lnTo>
                    <a:pt x="62" y="245"/>
                  </a:lnTo>
                  <a:lnTo>
                    <a:pt x="62" y="243"/>
                  </a:lnTo>
                  <a:lnTo>
                    <a:pt x="63" y="243"/>
                  </a:lnTo>
                  <a:lnTo>
                    <a:pt x="64" y="242"/>
                  </a:lnTo>
                  <a:lnTo>
                    <a:pt x="65" y="242"/>
                  </a:lnTo>
                  <a:lnTo>
                    <a:pt x="67" y="242"/>
                  </a:lnTo>
                  <a:lnTo>
                    <a:pt x="67" y="241"/>
                  </a:lnTo>
                  <a:lnTo>
                    <a:pt x="67" y="240"/>
                  </a:lnTo>
                  <a:lnTo>
                    <a:pt x="68" y="238"/>
                  </a:lnTo>
                  <a:lnTo>
                    <a:pt x="67" y="237"/>
                  </a:lnTo>
                  <a:lnTo>
                    <a:pt x="67" y="238"/>
                  </a:lnTo>
                  <a:lnTo>
                    <a:pt x="65" y="237"/>
                  </a:lnTo>
                  <a:lnTo>
                    <a:pt x="64" y="236"/>
                  </a:lnTo>
                  <a:lnTo>
                    <a:pt x="64" y="237"/>
                  </a:lnTo>
                  <a:lnTo>
                    <a:pt x="64" y="236"/>
                  </a:lnTo>
                  <a:lnTo>
                    <a:pt x="64" y="235"/>
                  </a:lnTo>
                  <a:lnTo>
                    <a:pt x="64" y="236"/>
                  </a:lnTo>
                  <a:lnTo>
                    <a:pt x="64" y="235"/>
                  </a:lnTo>
                  <a:lnTo>
                    <a:pt x="64" y="234"/>
                  </a:lnTo>
                  <a:lnTo>
                    <a:pt x="63" y="232"/>
                  </a:lnTo>
                  <a:lnTo>
                    <a:pt x="63" y="234"/>
                  </a:lnTo>
                  <a:lnTo>
                    <a:pt x="63" y="235"/>
                  </a:lnTo>
                  <a:lnTo>
                    <a:pt x="63" y="236"/>
                  </a:lnTo>
                  <a:lnTo>
                    <a:pt x="62" y="236"/>
                  </a:lnTo>
                  <a:lnTo>
                    <a:pt x="62" y="235"/>
                  </a:lnTo>
                  <a:lnTo>
                    <a:pt x="62" y="236"/>
                  </a:lnTo>
                  <a:lnTo>
                    <a:pt x="63" y="236"/>
                  </a:lnTo>
                  <a:lnTo>
                    <a:pt x="63" y="237"/>
                  </a:lnTo>
                  <a:lnTo>
                    <a:pt x="62" y="237"/>
                  </a:lnTo>
                  <a:lnTo>
                    <a:pt x="61" y="237"/>
                  </a:lnTo>
                  <a:lnTo>
                    <a:pt x="61" y="236"/>
                  </a:lnTo>
                  <a:lnTo>
                    <a:pt x="59" y="237"/>
                  </a:lnTo>
                  <a:lnTo>
                    <a:pt x="61" y="237"/>
                  </a:lnTo>
                  <a:lnTo>
                    <a:pt x="59" y="238"/>
                  </a:lnTo>
                  <a:lnTo>
                    <a:pt x="58" y="238"/>
                  </a:lnTo>
                  <a:lnTo>
                    <a:pt x="57" y="238"/>
                  </a:lnTo>
                  <a:lnTo>
                    <a:pt x="57" y="236"/>
                  </a:lnTo>
                  <a:lnTo>
                    <a:pt x="58" y="236"/>
                  </a:lnTo>
                  <a:lnTo>
                    <a:pt x="57" y="235"/>
                  </a:lnTo>
                  <a:lnTo>
                    <a:pt x="57" y="234"/>
                  </a:lnTo>
                  <a:lnTo>
                    <a:pt x="57" y="232"/>
                  </a:lnTo>
                  <a:lnTo>
                    <a:pt x="58" y="232"/>
                  </a:lnTo>
                  <a:lnTo>
                    <a:pt x="59" y="232"/>
                  </a:lnTo>
                  <a:lnTo>
                    <a:pt x="61" y="232"/>
                  </a:lnTo>
                  <a:lnTo>
                    <a:pt x="62" y="232"/>
                  </a:lnTo>
                  <a:lnTo>
                    <a:pt x="63" y="232"/>
                  </a:lnTo>
                  <a:lnTo>
                    <a:pt x="64" y="232"/>
                  </a:lnTo>
                  <a:lnTo>
                    <a:pt x="65" y="232"/>
                  </a:lnTo>
                  <a:lnTo>
                    <a:pt x="67" y="231"/>
                  </a:lnTo>
                  <a:lnTo>
                    <a:pt x="69" y="230"/>
                  </a:lnTo>
                  <a:lnTo>
                    <a:pt x="70" y="230"/>
                  </a:lnTo>
                  <a:lnTo>
                    <a:pt x="70" y="231"/>
                  </a:lnTo>
                  <a:lnTo>
                    <a:pt x="69" y="231"/>
                  </a:lnTo>
                  <a:lnTo>
                    <a:pt x="70" y="232"/>
                  </a:lnTo>
                  <a:lnTo>
                    <a:pt x="71" y="232"/>
                  </a:lnTo>
                  <a:lnTo>
                    <a:pt x="73" y="234"/>
                  </a:lnTo>
                  <a:lnTo>
                    <a:pt x="74" y="234"/>
                  </a:lnTo>
                  <a:lnTo>
                    <a:pt x="75" y="234"/>
                  </a:lnTo>
                  <a:lnTo>
                    <a:pt x="76" y="234"/>
                  </a:lnTo>
                  <a:lnTo>
                    <a:pt x="76" y="232"/>
                  </a:lnTo>
                  <a:lnTo>
                    <a:pt x="77" y="232"/>
                  </a:lnTo>
                  <a:lnTo>
                    <a:pt x="79" y="234"/>
                  </a:lnTo>
                  <a:lnTo>
                    <a:pt x="80" y="234"/>
                  </a:lnTo>
                  <a:lnTo>
                    <a:pt x="80" y="235"/>
                  </a:lnTo>
                  <a:lnTo>
                    <a:pt x="81" y="235"/>
                  </a:lnTo>
                  <a:lnTo>
                    <a:pt x="81" y="234"/>
                  </a:lnTo>
                  <a:lnTo>
                    <a:pt x="82" y="234"/>
                  </a:lnTo>
                  <a:lnTo>
                    <a:pt x="83" y="235"/>
                  </a:lnTo>
                  <a:lnTo>
                    <a:pt x="85" y="234"/>
                  </a:lnTo>
                  <a:lnTo>
                    <a:pt x="85" y="231"/>
                  </a:lnTo>
                  <a:lnTo>
                    <a:pt x="86" y="231"/>
                  </a:lnTo>
                  <a:lnTo>
                    <a:pt x="87" y="231"/>
                  </a:lnTo>
                  <a:lnTo>
                    <a:pt x="88" y="231"/>
                  </a:lnTo>
                  <a:lnTo>
                    <a:pt x="92" y="232"/>
                  </a:lnTo>
                  <a:lnTo>
                    <a:pt x="93" y="232"/>
                  </a:lnTo>
                  <a:lnTo>
                    <a:pt x="94" y="232"/>
                  </a:lnTo>
                  <a:lnTo>
                    <a:pt x="97" y="232"/>
                  </a:lnTo>
                  <a:lnTo>
                    <a:pt x="98" y="234"/>
                  </a:lnTo>
                  <a:lnTo>
                    <a:pt x="100" y="234"/>
                  </a:lnTo>
                  <a:lnTo>
                    <a:pt x="102" y="234"/>
                  </a:lnTo>
                  <a:lnTo>
                    <a:pt x="103" y="234"/>
                  </a:lnTo>
                  <a:lnTo>
                    <a:pt x="105" y="234"/>
                  </a:lnTo>
                  <a:lnTo>
                    <a:pt x="109" y="234"/>
                  </a:lnTo>
                  <a:lnTo>
                    <a:pt x="110" y="235"/>
                  </a:lnTo>
                  <a:lnTo>
                    <a:pt x="110" y="236"/>
                  </a:lnTo>
                  <a:lnTo>
                    <a:pt x="109" y="236"/>
                  </a:lnTo>
                  <a:lnTo>
                    <a:pt x="109" y="237"/>
                  </a:lnTo>
                  <a:lnTo>
                    <a:pt x="109" y="236"/>
                  </a:lnTo>
                  <a:lnTo>
                    <a:pt x="108" y="237"/>
                  </a:lnTo>
                  <a:lnTo>
                    <a:pt x="106" y="237"/>
                  </a:lnTo>
                  <a:lnTo>
                    <a:pt x="105" y="236"/>
                  </a:lnTo>
                  <a:lnTo>
                    <a:pt x="105" y="237"/>
                  </a:lnTo>
                  <a:lnTo>
                    <a:pt x="104" y="237"/>
                  </a:lnTo>
                  <a:lnTo>
                    <a:pt x="103" y="238"/>
                  </a:lnTo>
                  <a:lnTo>
                    <a:pt x="103" y="240"/>
                  </a:lnTo>
                  <a:lnTo>
                    <a:pt x="102" y="240"/>
                  </a:lnTo>
                  <a:lnTo>
                    <a:pt x="102" y="241"/>
                  </a:lnTo>
                  <a:lnTo>
                    <a:pt x="102" y="242"/>
                  </a:lnTo>
                  <a:lnTo>
                    <a:pt x="102" y="243"/>
                  </a:lnTo>
                  <a:lnTo>
                    <a:pt x="102" y="245"/>
                  </a:lnTo>
                  <a:lnTo>
                    <a:pt x="103" y="246"/>
                  </a:lnTo>
                  <a:lnTo>
                    <a:pt x="104" y="246"/>
                  </a:lnTo>
                  <a:lnTo>
                    <a:pt x="105" y="247"/>
                  </a:lnTo>
                  <a:lnTo>
                    <a:pt x="108" y="247"/>
                  </a:lnTo>
                  <a:lnTo>
                    <a:pt x="106" y="247"/>
                  </a:lnTo>
                  <a:lnTo>
                    <a:pt x="105" y="248"/>
                  </a:lnTo>
                  <a:lnTo>
                    <a:pt x="103" y="248"/>
                  </a:lnTo>
                  <a:lnTo>
                    <a:pt x="98" y="248"/>
                  </a:lnTo>
                  <a:lnTo>
                    <a:pt x="97" y="248"/>
                  </a:lnTo>
                  <a:lnTo>
                    <a:pt x="94" y="248"/>
                  </a:lnTo>
                  <a:lnTo>
                    <a:pt x="92" y="249"/>
                  </a:lnTo>
                  <a:lnTo>
                    <a:pt x="91" y="249"/>
                  </a:lnTo>
                  <a:lnTo>
                    <a:pt x="90" y="249"/>
                  </a:lnTo>
                  <a:lnTo>
                    <a:pt x="90" y="248"/>
                  </a:lnTo>
                  <a:lnTo>
                    <a:pt x="90" y="247"/>
                  </a:lnTo>
                  <a:lnTo>
                    <a:pt x="91" y="248"/>
                  </a:lnTo>
                  <a:lnTo>
                    <a:pt x="91" y="247"/>
                  </a:lnTo>
                  <a:lnTo>
                    <a:pt x="92" y="246"/>
                  </a:lnTo>
                  <a:lnTo>
                    <a:pt x="91" y="246"/>
                  </a:lnTo>
                  <a:lnTo>
                    <a:pt x="88" y="246"/>
                  </a:lnTo>
                  <a:lnTo>
                    <a:pt x="87" y="246"/>
                  </a:lnTo>
                  <a:lnTo>
                    <a:pt x="87" y="247"/>
                  </a:lnTo>
                  <a:lnTo>
                    <a:pt x="86" y="247"/>
                  </a:lnTo>
                  <a:lnTo>
                    <a:pt x="85" y="246"/>
                  </a:lnTo>
                  <a:lnTo>
                    <a:pt x="83" y="246"/>
                  </a:lnTo>
                  <a:lnTo>
                    <a:pt x="83" y="245"/>
                  </a:lnTo>
                  <a:lnTo>
                    <a:pt x="82" y="245"/>
                  </a:lnTo>
                  <a:lnTo>
                    <a:pt x="81" y="243"/>
                  </a:lnTo>
                  <a:lnTo>
                    <a:pt x="80" y="243"/>
                  </a:lnTo>
                  <a:lnTo>
                    <a:pt x="79" y="243"/>
                  </a:lnTo>
                  <a:lnTo>
                    <a:pt x="77" y="243"/>
                  </a:lnTo>
                  <a:lnTo>
                    <a:pt x="76" y="245"/>
                  </a:lnTo>
                  <a:lnTo>
                    <a:pt x="75" y="246"/>
                  </a:lnTo>
                  <a:lnTo>
                    <a:pt x="74" y="247"/>
                  </a:lnTo>
                  <a:lnTo>
                    <a:pt x="74" y="248"/>
                  </a:lnTo>
                  <a:lnTo>
                    <a:pt x="73" y="247"/>
                  </a:lnTo>
                  <a:lnTo>
                    <a:pt x="73" y="248"/>
                  </a:lnTo>
                  <a:lnTo>
                    <a:pt x="71" y="249"/>
                  </a:lnTo>
                  <a:lnTo>
                    <a:pt x="70" y="251"/>
                  </a:lnTo>
                  <a:lnTo>
                    <a:pt x="70" y="249"/>
                  </a:lnTo>
                  <a:lnTo>
                    <a:pt x="69" y="249"/>
                  </a:lnTo>
                  <a:lnTo>
                    <a:pt x="68" y="249"/>
                  </a:lnTo>
                  <a:lnTo>
                    <a:pt x="67" y="249"/>
                  </a:lnTo>
                  <a:lnTo>
                    <a:pt x="65" y="249"/>
                  </a:lnTo>
                  <a:lnTo>
                    <a:pt x="65" y="251"/>
                  </a:lnTo>
                  <a:lnTo>
                    <a:pt x="65" y="252"/>
                  </a:lnTo>
                  <a:lnTo>
                    <a:pt x="64" y="253"/>
                  </a:lnTo>
                  <a:lnTo>
                    <a:pt x="64" y="254"/>
                  </a:lnTo>
                  <a:lnTo>
                    <a:pt x="64" y="255"/>
                  </a:lnTo>
                  <a:lnTo>
                    <a:pt x="65" y="255"/>
                  </a:lnTo>
                  <a:lnTo>
                    <a:pt x="64" y="255"/>
                  </a:lnTo>
                  <a:lnTo>
                    <a:pt x="63" y="257"/>
                  </a:lnTo>
                  <a:lnTo>
                    <a:pt x="62" y="257"/>
                  </a:lnTo>
                  <a:lnTo>
                    <a:pt x="61" y="257"/>
                  </a:lnTo>
                  <a:lnTo>
                    <a:pt x="59" y="258"/>
                  </a:lnTo>
                  <a:lnTo>
                    <a:pt x="59" y="259"/>
                  </a:lnTo>
                  <a:lnTo>
                    <a:pt x="59" y="260"/>
                  </a:lnTo>
                  <a:lnTo>
                    <a:pt x="61" y="261"/>
                  </a:lnTo>
                  <a:lnTo>
                    <a:pt x="59" y="260"/>
                  </a:lnTo>
                  <a:lnTo>
                    <a:pt x="58" y="260"/>
                  </a:lnTo>
                  <a:lnTo>
                    <a:pt x="58" y="261"/>
                  </a:lnTo>
                  <a:lnTo>
                    <a:pt x="58" y="263"/>
                  </a:lnTo>
                  <a:lnTo>
                    <a:pt x="58" y="264"/>
                  </a:lnTo>
                  <a:lnTo>
                    <a:pt x="57" y="265"/>
                  </a:lnTo>
                  <a:lnTo>
                    <a:pt x="56" y="266"/>
                  </a:lnTo>
                  <a:lnTo>
                    <a:pt x="57" y="266"/>
                  </a:lnTo>
                  <a:lnTo>
                    <a:pt x="58" y="266"/>
                  </a:lnTo>
                  <a:lnTo>
                    <a:pt x="58" y="267"/>
                  </a:lnTo>
                  <a:lnTo>
                    <a:pt x="57" y="267"/>
                  </a:lnTo>
                  <a:lnTo>
                    <a:pt x="56" y="270"/>
                  </a:lnTo>
                  <a:lnTo>
                    <a:pt x="57" y="269"/>
                  </a:lnTo>
                  <a:lnTo>
                    <a:pt x="56" y="269"/>
                  </a:lnTo>
                  <a:lnTo>
                    <a:pt x="56" y="270"/>
                  </a:lnTo>
                  <a:lnTo>
                    <a:pt x="55" y="271"/>
                  </a:lnTo>
                  <a:lnTo>
                    <a:pt x="53" y="272"/>
                  </a:lnTo>
                  <a:lnTo>
                    <a:pt x="52" y="272"/>
                  </a:lnTo>
                  <a:lnTo>
                    <a:pt x="52" y="273"/>
                  </a:lnTo>
                  <a:lnTo>
                    <a:pt x="53" y="276"/>
                  </a:lnTo>
                  <a:lnTo>
                    <a:pt x="55" y="277"/>
                  </a:lnTo>
                  <a:lnTo>
                    <a:pt x="56" y="276"/>
                  </a:lnTo>
                  <a:lnTo>
                    <a:pt x="57" y="276"/>
                  </a:lnTo>
                  <a:lnTo>
                    <a:pt x="57" y="275"/>
                  </a:lnTo>
                  <a:lnTo>
                    <a:pt x="58" y="275"/>
                  </a:lnTo>
                  <a:lnTo>
                    <a:pt x="59" y="275"/>
                  </a:lnTo>
                  <a:lnTo>
                    <a:pt x="59" y="273"/>
                  </a:lnTo>
                  <a:lnTo>
                    <a:pt x="61" y="273"/>
                  </a:lnTo>
                  <a:lnTo>
                    <a:pt x="62" y="273"/>
                  </a:lnTo>
                  <a:lnTo>
                    <a:pt x="63" y="272"/>
                  </a:lnTo>
                  <a:lnTo>
                    <a:pt x="63" y="271"/>
                  </a:lnTo>
                  <a:lnTo>
                    <a:pt x="64" y="272"/>
                  </a:lnTo>
                  <a:lnTo>
                    <a:pt x="63" y="272"/>
                  </a:lnTo>
                  <a:lnTo>
                    <a:pt x="64" y="272"/>
                  </a:lnTo>
                  <a:lnTo>
                    <a:pt x="64" y="273"/>
                  </a:lnTo>
                  <a:lnTo>
                    <a:pt x="65" y="273"/>
                  </a:lnTo>
                  <a:lnTo>
                    <a:pt x="64" y="273"/>
                  </a:lnTo>
                  <a:lnTo>
                    <a:pt x="65" y="271"/>
                  </a:lnTo>
                  <a:lnTo>
                    <a:pt x="67" y="271"/>
                  </a:lnTo>
                  <a:lnTo>
                    <a:pt x="67" y="272"/>
                  </a:lnTo>
                  <a:lnTo>
                    <a:pt x="68" y="271"/>
                  </a:lnTo>
                  <a:lnTo>
                    <a:pt x="67" y="271"/>
                  </a:lnTo>
                  <a:lnTo>
                    <a:pt x="68" y="270"/>
                  </a:lnTo>
                  <a:lnTo>
                    <a:pt x="69" y="270"/>
                  </a:lnTo>
                  <a:lnTo>
                    <a:pt x="70" y="270"/>
                  </a:lnTo>
                  <a:lnTo>
                    <a:pt x="71" y="270"/>
                  </a:lnTo>
                  <a:lnTo>
                    <a:pt x="71" y="269"/>
                  </a:lnTo>
                  <a:lnTo>
                    <a:pt x="73" y="269"/>
                  </a:lnTo>
                  <a:lnTo>
                    <a:pt x="73" y="270"/>
                  </a:lnTo>
                  <a:lnTo>
                    <a:pt x="74" y="270"/>
                  </a:lnTo>
                  <a:lnTo>
                    <a:pt x="73" y="271"/>
                  </a:lnTo>
                  <a:lnTo>
                    <a:pt x="71" y="271"/>
                  </a:lnTo>
                  <a:lnTo>
                    <a:pt x="71" y="272"/>
                  </a:lnTo>
                  <a:lnTo>
                    <a:pt x="73" y="271"/>
                  </a:lnTo>
                  <a:lnTo>
                    <a:pt x="73" y="272"/>
                  </a:lnTo>
                  <a:lnTo>
                    <a:pt x="74" y="272"/>
                  </a:lnTo>
                  <a:lnTo>
                    <a:pt x="75" y="272"/>
                  </a:lnTo>
                  <a:lnTo>
                    <a:pt x="76" y="273"/>
                  </a:lnTo>
                  <a:lnTo>
                    <a:pt x="77" y="273"/>
                  </a:lnTo>
                  <a:lnTo>
                    <a:pt x="77" y="275"/>
                  </a:lnTo>
                  <a:lnTo>
                    <a:pt x="79" y="275"/>
                  </a:lnTo>
                  <a:lnTo>
                    <a:pt x="79" y="273"/>
                  </a:lnTo>
                  <a:lnTo>
                    <a:pt x="79" y="275"/>
                  </a:lnTo>
                  <a:lnTo>
                    <a:pt x="77" y="275"/>
                  </a:lnTo>
                  <a:lnTo>
                    <a:pt x="76" y="276"/>
                  </a:lnTo>
                  <a:lnTo>
                    <a:pt x="79" y="276"/>
                  </a:lnTo>
                  <a:lnTo>
                    <a:pt x="80" y="276"/>
                  </a:lnTo>
                  <a:lnTo>
                    <a:pt x="81" y="276"/>
                  </a:lnTo>
                  <a:lnTo>
                    <a:pt x="82" y="276"/>
                  </a:lnTo>
                  <a:lnTo>
                    <a:pt x="83" y="276"/>
                  </a:lnTo>
                  <a:lnTo>
                    <a:pt x="85" y="275"/>
                  </a:lnTo>
                  <a:lnTo>
                    <a:pt x="86" y="276"/>
                  </a:lnTo>
                  <a:lnTo>
                    <a:pt x="85" y="277"/>
                  </a:lnTo>
                  <a:lnTo>
                    <a:pt x="85" y="278"/>
                  </a:lnTo>
                  <a:lnTo>
                    <a:pt x="86" y="277"/>
                  </a:lnTo>
                  <a:lnTo>
                    <a:pt x="87" y="277"/>
                  </a:lnTo>
                  <a:lnTo>
                    <a:pt x="87" y="278"/>
                  </a:lnTo>
                  <a:lnTo>
                    <a:pt x="88" y="278"/>
                  </a:lnTo>
                  <a:lnTo>
                    <a:pt x="88" y="277"/>
                  </a:lnTo>
                  <a:lnTo>
                    <a:pt x="90" y="278"/>
                  </a:lnTo>
                  <a:lnTo>
                    <a:pt x="90" y="277"/>
                  </a:lnTo>
                  <a:lnTo>
                    <a:pt x="90" y="276"/>
                  </a:lnTo>
                  <a:lnTo>
                    <a:pt x="88" y="276"/>
                  </a:lnTo>
                  <a:lnTo>
                    <a:pt x="88" y="275"/>
                  </a:lnTo>
                  <a:lnTo>
                    <a:pt x="88" y="273"/>
                  </a:lnTo>
                  <a:lnTo>
                    <a:pt x="90" y="275"/>
                  </a:lnTo>
                  <a:lnTo>
                    <a:pt x="91" y="275"/>
                  </a:lnTo>
                  <a:lnTo>
                    <a:pt x="91" y="273"/>
                  </a:lnTo>
                  <a:lnTo>
                    <a:pt x="92" y="273"/>
                  </a:lnTo>
                  <a:lnTo>
                    <a:pt x="92" y="272"/>
                  </a:lnTo>
                  <a:lnTo>
                    <a:pt x="92" y="271"/>
                  </a:lnTo>
                  <a:lnTo>
                    <a:pt x="91" y="271"/>
                  </a:lnTo>
                  <a:lnTo>
                    <a:pt x="90" y="271"/>
                  </a:lnTo>
                  <a:lnTo>
                    <a:pt x="88" y="271"/>
                  </a:lnTo>
                  <a:lnTo>
                    <a:pt x="87" y="270"/>
                  </a:lnTo>
                  <a:lnTo>
                    <a:pt x="86" y="270"/>
                  </a:lnTo>
                  <a:lnTo>
                    <a:pt x="86" y="269"/>
                  </a:lnTo>
                  <a:lnTo>
                    <a:pt x="87" y="267"/>
                  </a:lnTo>
                  <a:lnTo>
                    <a:pt x="87" y="266"/>
                  </a:lnTo>
                  <a:lnTo>
                    <a:pt x="86" y="266"/>
                  </a:lnTo>
                  <a:lnTo>
                    <a:pt x="86" y="265"/>
                  </a:lnTo>
                  <a:lnTo>
                    <a:pt x="85" y="264"/>
                  </a:lnTo>
                  <a:lnTo>
                    <a:pt x="86" y="264"/>
                  </a:lnTo>
                  <a:lnTo>
                    <a:pt x="86" y="263"/>
                  </a:lnTo>
                  <a:lnTo>
                    <a:pt x="87" y="263"/>
                  </a:lnTo>
                  <a:lnTo>
                    <a:pt x="88" y="263"/>
                  </a:lnTo>
                  <a:lnTo>
                    <a:pt x="88" y="261"/>
                  </a:lnTo>
                  <a:lnTo>
                    <a:pt x="87" y="260"/>
                  </a:lnTo>
                  <a:lnTo>
                    <a:pt x="87" y="259"/>
                  </a:lnTo>
                  <a:lnTo>
                    <a:pt x="87" y="258"/>
                  </a:lnTo>
                  <a:lnTo>
                    <a:pt x="87" y="259"/>
                  </a:lnTo>
                  <a:lnTo>
                    <a:pt x="87" y="258"/>
                  </a:lnTo>
                  <a:lnTo>
                    <a:pt x="87" y="257"/>
                  </a:lnTo>
                  <a:lnTo>
                    <a:pt x="86" y="257"/>
                  </a:lnTo>
                  <a:lnTo>
                    <a:pt x="87" y="255"/>
                  </a:lnTo>
                  <a:lnTo>
                    <a:pt x="88" y="253"/>
                  </a:lnTo>
                  <a:lnTo>
                    <a:pt x="87" y="252"/>
                  </a:lnTo>
                  <a:lnTo>
                    <a:pt x="88" y="252"/>
                  </a:lnTo>
                  <a:lnTo>
                    <a:pt x="90" y="252"/>
                  </a:lnTo>
                  <a:lnTo>
                    <a:pt x="90" y="253"/>
                  </a:lnTo>
                  <a:lnTo>
                    <a:pt x="91" y="253"/>
                  </a:lnTo>
                  <a:lnTo>
                    <a:pt x="91" y="252"/>
                  </a:lnTo>
                  <a:lnTo>
                    <a:pt x="92" y="251"/>
                  </a:lnTo>
                  <a:lnTo>
                    <a:pt x="97" y="251"/>
                  </a:lnTo>
                  <a:lnTo>
                    <a:pt x="98" y="251"/>
                  </a:lnTo>
                  <a:lnTo>
                    <a:pt x="99" y="249"/>
                  </a:lnTo>
                  <a:lnTo>
                    <a:pt x="102" y="249"/>
                  </a:lnTo>
                  <a:lnTo>
                    <a:pt x="103" y="251"/>
                  </a:lnTo>
                  <a:lnTo>
                    <a:pt x="102" y="251"/>
                  </a:lnTo>
                  <a:lnTo>
                    <a:pt x="103" y="252"/>
                  </a:lnTo>
                  <a:lnTo>
                    <a:pt x="103" y="251"/>
                  </a:lnTo>
                  <a:lnTo>
                    <a:pt x="104" y="252"/>
                  </a:lnTo>
                  <a:lnTo>
                    <a:pt x="105" y="251"/>
                  </a:lnTo>
                  <a:lnTo>
                    <a:pt x="105" y="252"/>
                  </a:lnTo>
                  <a:lnTo>
                    <a:pt x="106" y="253"/>
                  </a:lnTo>
                  <a:lnTo>
                    <a:pt x="108" y="252"/>
                  </a:lnTo>
                  <a:lnTo>
                    <a:pt x="109" y="253"/>
                  </a:lnTo>
                  <a:lnTo>
                    <a:pt x="110" y="254"/>
                  </a:lnTo>
                  <a:lnTo>
                    <a:pt x="111" y="257"/>
                  </a:lnTo>
                  <a:lnTo>
                    <a:pt x="112" y="257"/>
                  </a:lnTo>
                  <a:lnTo>
                    <a:pt x="114" y="257"/>
                  </a:lnTo>
                  <a:lnTo>
                    <a:pt x="114" y="255"/>
                  </a:lnTo>
                  <a:lnTo>
                    <a:pt x="115" y="255"/>
                  </a:lnTo>
                  <a:lnTo>
                    <a:pt x="115" y="254"/>
                  </a:lnTo>
                  <a:lnTo>
                    <a:pt x="116" y="254"/>
                  </a:lnTo>
                  <a:lnTo>
                    <a:pt x="118" y="254"/>
                  </a:lnTo>
                  <a:lnTo>
                    <a:pt x="120" y="254"/>
                  </a:lnTo>
                  <a:lnTo>
                    <a:pt x="122" y="255"/>
                  </a:lnTo>
                  <a:lnTo>
                    <a:pt x="121" y="257"/>
                  </a:lnTo>
                  <a:lnTo>
                    <a:pt x="120" y="255"/>
                  </a:lnTo>
                  <a:lnTo>
                    <a:pt x="118" y="257"/>
                  </a:lnTo>
                  <a:lnTo>
                    <a:pt x="117" y="257"/>
                  </a:lnTo>
                  <a:lnTo>
                    <a:pt x="118" y="257"/>
                  </a:lnTo>
                  <a:lnTo>
                    <a:pt x="118" y="258"/>
                  </a:lnTo>
                  <a:lnTo>
                    <a:pt x="118" y="260"/>
                  </a:lnTo>
                  <a:lnTo>
                    <a:pt x="118" y="261"/>
                  </a:lnTo>
                  <a:lnTo>
                    <a:pt x="117" y="261"/>
                  </a:lnTo>
                  <a:lnTo>
                    <a:pt x="118" y="263"/>
                  </a:lnTo>
                  <a:lnTo>
                    <a:pt x="120" y="264"/>
                  </a:lnTo>
                  <a:lnTo>
                    <a:pt x="118" y="265"/>
                  </a:lnTo>
                  <a:lnTo>
                    <a:pt x="120" y="266"/>
                  </a:lnTo>
                  <a:lnTo>
                    <a:pt x="120" y="265"/>
                  </a:lnTo>
                  <a:lnTo>
                    <a:pt x="121" y="265"/>
                  </a:lnTo>
                  <a:lnTo>
                    <a:pt x="121" y="266"/>
                  </a:lnTo>
                  <a:lnTo>
                    <a:pt x="122" y="266"/>
                  </a:lnTo>
                  <a:lnTo>
                    <a:pt x="120" y="266"/>
                  </a:lnTo>
                  <a:lnTo>
                    <a:pt x="118" y="266"/>
                  </a:lnTo>
                  <a:lnTo>
                    <a:pt x="118" y="267"/>
                  </a:lnTo>
                  <a:lnTo>
                    <a:pt x="120" y="267"/>
                  </a:lnTo>
                  <a:lnTo>
                    <a:pt x="121" y="267"/>
                  </a:lnTo>
                  <a:lnTo>
                    <a:pt x="121" y="269"/>
                  </a:lnTo>
                  <a:lnTo>
                    <a:pt x="122" y="269"/>
                  </a:lnTo>
                  <a:lnTo>
                    <a:pt x="121" y="270"/>
                  </a:lnTo>
                  <a:lnTo>
                    <a:pt x="121" y="271"/>
                  </a:lnTo>
                  <a:lnTo>
                    <a:pt x="122" y="270"/>
                  </a:lnTo>
                  <a:lnTo>
                    <a:pt x="123" y="269"/>
                  </a:lnTo>
                  <a:lnTo>
                    <a:pt x="123" y="270"/>
                  </a:lnTo>
                  <a:lnTo>
                    <a:pt x="123" y="269"/>
                  </a:lnTo>
                  <a:lnTo>
                    <a:pt x="124" y="270"/>
                  </a:lnTo>
                  <a:lnTo>
                    <a:pt x="124" y="269"/>
                  </a:lnTo>
                  <a:lnTo>
                    <a:pt x="126" y="267"/>
                  </a:lnTo>
                  <a:lnTo>
                    <a:pt x="124" y="267"/>
                  </a:lnTo>
                  <a:lnTo>
                    <a:pt x="123" y="269"/>
                  </a:lnTo>
                  <a:lnTo>
                    <a:pt x="124" y="267"/>
                  </a:lnTo>
                  <a:lnTo>
                    <a:pt x="124" y="266"/>
                  </a:lnTo>
                  <a:lnTo>
                    <a:pt x="126" y="266"/>
                  </a:lnTo>
                  <a:lnTo>
                    <a:pt x="124" y="266"/>
                  </a:lnTo>
                  <a:lnTo>
                    <a:pt x="124" y="265"/>
                  </a:lnTo>
                  <a:lnTo>
                    <a:pt x="124" y="264"/>
                  </a:lnTo>
                  <a:lnTo>
                    <a:pt x="126" y="266"/>
                  </a:lnTo>
                  <a:lnTo>
                    <a:pt x="127" y="266"/>
                  </a:lnTo>
                  <a:lnTo>
                    <a:pt x="127" y="267"/>
                  </a:lnTo>
                  <a:lnTo>
                    <a:pt x="129" y="269"/>
                  </a:lnTo>
                  <a:lnTo>
                    <a:pt x="130" y="271"/>
                  </a:lnTo>
                  <a:lnTo>
                    <a:pt x="132" y="273"/>
                  </a:lnTo>
                  <a:lnTo>
                    <a:pt x="129" y="276"/>
                  </a:lnTo>
                  <a:lnTo>
                    <a:pt x="126" y="275"/>
                  </a:lnTo>
                  <a:lnTo>
                    <a:pt x="124" y="275"/>
                  </a:lnTo>
                  <a:lnTo>
                    <a:pt x="122" y="273"/>
                  </a:lnTo>
                  <a:lnTo>
                    <a:pt x="121" y="273"/>
                  </a:lnTo>
                  <a:lnTo>
                    <a:pt x="118" y="273"/>
                  </a:lnTo>
                  <a:lnTo>
                    <a:pt x="115" y="272"/>
                  </a:lnTo>
                  <a:lnTo>
                    <a:pt x="108" y="272"/>
                  </a:lnTo>
                  <a:lnTo>
                    <a:pt x="103" y="271"/>
                  </a:lnTo>
                  <a:lnTo>
                    <a:pt x="102" y="271"/>
                  </a:lnTo>
                  <a:lnTo>
                    <a:pt x="102" y="270"/>
                  </a:lnTo>
                  <a:lnTo>
                    <a:pt x="102" y="271"/>
                  </a:lnTo>
                  <a:lnTo>
                    <a:pt x="100" y="271"/>
                  </a:lnTo>
                  <a:lnTo>
                    <a:pt x="99" y="271"/>
                  </a:lnTo>
                  <a:lnTo>
                    <a:pt x="100" y="272"/>
                  </a:lnTo>
                  <a:lnTo>
                    <a:pt x="103" y="273"/>
                  </a:lnTo>
                  <a:lnTo>
                    <a:pt x="104" y="273"/>
                  </a:lnTo>
                  <a:lnTo>
                    <a:pt x="109" y="273"/>
                  </a:lnTo>
                  <a:lnTo>
                    <a:pt x="111" y="275"/>
                  </a:lnTo>
                  <a:lnTo>
                    <a:pt x="114" y="275"/>
                  </a:lnTo>
                  <a:lnTo>
                    <a:pt x="116" y="275"/>
                  </a:lnTo>
                  <a:lnTo>
                    <a:pt x="118" y="275"/>
                  </a:lnTo>
                  <a:lnTo>
                    <a:pt x="120" y="276"/>
                  </a:lnTo>
                  <a:lnTo>
                    <a:pt x="122" y="277"/>
                  </a:lnTo>
                  <a:lnTo>
                    <a:pt x="126" y="278"/>
                  </a:lnTo>
                  <a:lnTo>
                    <a:pt x="128" y="278"/>
                  </a:lnTo>
                  <a:lnTo>
                    <a:pt x="130" y="279"/>
                  </a:lnTo>
                  <a:lnTo>
                    <a:pt x="130" y="282"/>
                  </a:lnTo>
                  <a:lnTo>
                    <a:pt x="129" y="283"/>
                  </a:lnTo>
                  <a:lnTo>
                    <a:pt x="129" y="284"/>
                  </a:lnTo>
                  <a:lnTo>
                    <a:pt x="129" y="288"/>
                  </a:lnTo>
                  <a:lnTo>
                    <a:pt x="130" y="289"/>
                  </a:lnTo>
                  <a:lnTo>
                    <a:pt x="130" y="293"/>
                  </a:lnTo>
                  <a:lnTo>
                    <a:pt x="132" y="295"/>
                  </a:lnTo>
                  <a:lnTo>
                    <a:pt x="132" y="299"/>
                  </a:lnTo>
                  <a:lnTo>
                    <a:pt x="130" y="303"/>
                  </a:lnTo>
                  <a:lnTo>
                    <a:pt x="130" y="306"/>
                  </a:lnTo>
                  <a:lnTo>
                    <a:pt x="130" y="318"/>
                  </a:lnTo>
                  <a:lnTo>
                    <a:pt x="130" y="321"/>
                  </a:lnTo>
                  <a:lnTo>
                    <a:pt x="130" y="324"/>
                  </a:lnTo>
                  <a:lnTo>
                    <a:pt x="130" y="326"/>
                  </a:lnTo>
                  <a:lnTo>
                    <a:pt x="132" y="327"/>
                  </a:lnTo>
                  <a:lnTo>
                    <a:pt x="133" y="329"/>
                  </a:lnTo>
                  <a:lnTo>
                    <a:pt x="134" y="329"/>
                  </a:lnTo>
                  <a:lnTo>
                    <a:pt x="136" y="329"/>
                  </a:lnTo>
                  <a:lnTo>
                    <a:pt x="141" y="329"/>
                  </a:lnTo>
                  <a:lnTo>
                    <a:pt x="144" y="327"/>
                  </a:lnTo>
                  <a:lnTo>
                    <a:pt x="145" y="326"/>
                  </a:lnTo>
                  <a:lnTo>
                    <a:pt x="145" y="323"/>
                  </a:lnTo>
                  <a:lnTo>
                    <a:pt x="145" y="320"/>
                  </a:lnTo>
                  <a:lnTo>
                    <a:pt x="144" y="317"/>
                  </a:lnTo>
                  <a:lnTo>
                    <a:pt x="144" y="311"/>
                  </a:lnTo>
                  <a:lnTo>
                    <a:pt x="144" y="308"/>
                  </a:lnTo>
                  <a:lnTo>
                    <a:pt x="145" y="307"/>
                  </a:lnTo>
                  <a:lnTo>
                    <a:pt x="144" y="302"/>
                  </a:lnTo>
                  <a:lnTo>
                    <a:pt x="144" y="300"/>
                  </a:lnTo>
                  <a:lnTo>
                    <a:pt x="142" y="294"/>
                  </a:lnTo>
                  <a:lnTo>
                    <a:pt x="142" y="287"/>
                  </a:lnTo>
                  <a:lnTo>
                    <a:pt x="144" y="284"/>
                  </a:lnTo>
                  <a:lnTo>
                    <a:pt x="146" y="283"/>
                  </a:lnTo>
                  <a:lnTo>
                    <a:pt x="152" y="281"/>
                  </a:lnTo>
                  <a:lnTo>
                    <a:pt x="155" y="279"/>
                  </a:lnTo>
                  <a:lnTo>
                    <a:pt x="157" y="277"/>
                  </a:lnTo>
                  <a:lnTo>
                    <a:pt x="161" y="277"/>
                  </a:lnTo>
                  <a:lnTo>
                    <a:pt x="164" y="277"/>
                  </a:lnTo>
                  <a:lnTo>
                    <a:pt x="165" y="277"/>
                  </a:lnTo>
                  <a:lnTo>
                    <a:pt x="167" y="276"/>
                  </a:lnTo>
                  <a:lnTo>
                    <a:pt x="170" y="276"/>
                  </a:lnTo>
                  <a:lnTo>
                    <a:pt x="174" y="275"/>
                  </a:lnTo>
                  <a:lnTo>
                    <a:pt x="176" y="275"/>
                  </a:lnTo>
                  <a:lnTo>
                    <a:pt x="179" y="275"/>
                  </a:lnTo>
                  <a:lnTo>
                    <a:pt x="180" y="275"/>
                  </a:lnTo>
                  <a:lnTo>
                    <a:pt x="181" y="276"/>
                  </a:lnTo>
                  <a:lnTo>
                    <a:pt x="182" y="277"/>
                  </a:lnTo>
                  <a:lnTo>
                    <a:pt x="183" y="278"/>
                  </a:lnTo>
                  <a:lnTo>
                    <a:pt x="185" y="278"/>
                  </a:lnTo>
                  <a:lnTo>
                    <a:pt x="187" y="278"/>
                  </a:lnTo>
                  <a:lnTo>
                    <a:pt x="185" y="276"/>
                  </a:lnTo>
                  <a:lnTo>
                    <a:pt x="181" y="275"/>
                  </a:lnTo>
                  <a:lnTo>
                    <a:pt x="180" y="272"/>
                  </a:lnTo>
                  <a:lnTo>
                    <a:pt x="177" y="271"/>
                  </a:lnTo>
                  <a:lnTo>
                    <a:pt x="179" y="269"/>
                  </a:lnTo>
                  <a:lnTo>
                    <a:pt x="182" y="269"/>
                  </a:lnTo>
                  <a:lnTo>
                    <a:pt x="185" y="270"/>
                  </a:lnTo>
                  <a:lnTo>
                    <a:pt x="187" y="270"/>
                  </a:lnTo>
                  <a:lnTo>
                    <a:pt x="188" y="269"/>
                  </a:lnTo>
                  <a:lnTo>
                    <a:pt x="194" y="270"/>
                  </a:lnTo>
                  <a:lnTo>
                    <a:pt x="198" y="270"/>
                  </a:lnTo>
                  <a:lnTo>
                    <a:pt x="199" y="270"/>
                  </a:lnTo>
                  <a:lnTo>
                    <a:pt x="200" y="270"/>
                  </a:lnTo>
                  <a:lnTo>
                    <a:pt x="201" y="270"/>
                  </a:lnTo>
                  <a:lnTo>
                    <a:pt x="203" y="270"/>
                  </a:lnTo>
                  <a:lnTo>
                    <a:pt x="204" y="270"/>
                  </a:lnTo>
                  <a:lnTo>
                    <a:pt x="204" y="271"/>
                  </a:lnTo>
                  <a:lnTo>
                    <a:pt x="204" y="272"/>
                  </a:lnTo>
                  <a:lnTo>
                    <a:pt x="205" y="273"/>
                  </a:lnTo>
                  <a:lnTo>
                    <a:pt x="208" y="273"/>
                  </a:lnTo>
                  <a:lnTo>
                    <a:pt x="209" y="273"/>
                  </a:lnTo>
                  <a:lnTo>
                    <a:pt x="209" y="275"/>
                  </a:lnTo>
                  <a:lnTo>
                    <a:pt x="209" y="276"/>
                  </a:lnTo>
                  <a:lnTo>
                    <a:pt x="210" y="276"/>
                  </a:lnTo>
                  <a:lnTo>
                    <a:pt x="211" y="277"/>
                  </a:lnTo>
                  <a:lnTo>
                    <a:pt x="212" y="277"/>
                  </a:lnTo>
                  <a:lnTo>
                    <a:pt x="214" y="278"/>
                  </a:lnTo>
                  <a:lnTo>
                    <a:pt x="215" y="278"/>
                  </a:lnTo>
                  <a:lnTo>
                    <a:pt x="216" y="277"/>
                  </a:lnTo>
                  <a:lnTo>
                    <a:pt x="217" y="277"/>
                  </a:lnTo>
                  <a:lnTo>
                    <a:pt x="217" y="276"/>
                  </a:lnTo>
                  <a:lnTo>
                    <a:pt x="220" y="276"/>
                  </a:lnTo>
                  <a:lnTo>
                    <a:pt x="221" y="277"/>
                  </a:lnTo>
                  <a:lnTo>
                    <a:pt x="221" y="278"/>
                  </a:lnTo>
                  <a:lnTo>
                    <a:pt x="222" y="279"/>
                  </a:lnTo>
                  <a:lnTo>
                    <a:pt x="222" y="281"/>
                  </a:lnTo>
                  <a:lnTo>
                    <a:pt x="223" y="281"/>
                  </a:lnTo>
                  <a:lnTo>
                    <a:pt x="224" y="282"/>
                  </a:lnTo>
                  <a:lnTo>
                    <a:pt x="226" y="282"/>
                  </a:lnTo>
                  <a:lnTo>
                    <a:pt x="227" y="281"/>
                  </a:lnTo>
                  <a:lnTo>
                    <a:pt x="228" y="281"/>
                  </a:lnTo>
                  <a:lnTo>
                    <a:pt x="230" y="281"/>
                  </a:lnTo>
                  <a:lnTo>
                    <a:pt x="232" y="282"/>
                  </a:lnTo>
                  <a:lnTo>
                    <a:pt x="232" y="281"/>
                  </a:lnTo>
                  <a:lnTo>
                    <a:pt x="232" y="279"/>
                  </a:lnTo>
                  <a:lnTo>
                    <a:pt x="232" y="278"/>
                  </a:lnTo>
                  <a:lnTo>
                    <a:pt x="232" y="279"/>
                  </a:lnTo>
                  <a:lnTo>
                    <a:pt x="233" y="279"/>
                  </a:lnTo>
                  <a:lnTo>
                    <a:pt x="233" y="278"/>
                  </a:lnTo>
                  <a:lnTo>
                    <a:pt x="233" y="279"/>
                  </a:lnTo>
                  <a:lnTo>
                    <a:pt x="234" y="278"/>
                  </a:lnTo>
                  <a:lnTo>
                    <a:pt x="235" y="279"/>
                  </a:lnTo>
                  <a:lnTo>
                    <a:pt x="236" y="279"/>
                  </a:lnTo>
                  <a:lnTo>
                    <a:pt x="238" y="279"/>
                  </a:lnTo>
                  <a:lnTo>
                    <a:pt x="236" y="278"/>
                  </a:lnTo>
                  <a:lnTo>
                    <a:pt x="238" y="278"/>
                  </a:lnTo>
                  <a:lnTo>
                    <a:pt x="238" y="277"/>
                  </a:lnTo>
                  <a:lnTo>
                    <a:pt x="239" y="277"/>
                  </a:lnTo>
                  <a:lnTo>
                    <a:pt x="240" y="276"/>
                  </a:lnTo>
                  <a:lnTo>
                    <a:pt x="239" y="275"/>
                  </a:lnTo>
                  <a:lnTo>
                    <a:pt x="238" y="276"/>
                  </a:lnTo>
                  <a:lnTo>
                    <a:pt x="236" y="276"/>
                  </a:lnTo>
                  <a:lnTo>
                    <a:pt x="235" y="276"/>
                  </a:lnTo>
                  <a:lnTo>
                    <a:pt x="234" y="277"/>
                  </a:lnTo>
                  <a:lnTo>
                    <a:pt x="233" y="276"/>
                  </a:lnTo>
                  <a:lnTo>
                    <a:pt x="234" y="276"/>
                  </a:lnTo>
                  <a:lnTo>
                    <a:pt x="234" y="275"/>
                  </a:lnTo>
                  <a:lnTo>
                    <a:pt x="234" y="273"/>
                  </a:lnTo>
                  <a:lnTo>
                    <a:pt x="234" y="272"/>
                  </a:lnTo>
                  <a:lnTo>
                    <a:pt x="233" y="272"/>
                  </a:lnTo>
                  <a:lnTo>
                    <a:pt x="233" y="271"/>
                  </a:lnTo>
                  <a:lnTo>
                    <a:pt x="232" y="272"/>
                  </a:lnTo>
                  <a:lnTo>
                    <a:pt x="232" y="271"/>
                  </a:lnTo>
                  <a:lnTo>
                    <a:pt x="230" y="269"/>
                  </a:lnTo>
                  <a:lnTo>
                    <a:pt x="229" y="270"/>
                  </a:lnTo>
                  <a:lnTo>
                    <a:pt x="229" y="269"/>
                  </a:lnTo>
                  <a:lnTo>
                    <a:pt x="227" y="270"/>
                  </a:lnTo>
                  <a:lnTo>
                    <a:pt x="227" y="269"/>
                  </a:lnTo>
                  <a:lnTo>
                    <a:pt x="228" y="269"/>
                  </a:lnTo>
                  <a:lnTo>
                    <a:pt x="228" y="266"/>
                  </a:lnTo>
                  <a:lnTo>
                    <a:pt x="229" y="266"/>
                  </a:lnTo>
                  <a:lnTo>
                    <a:pt x="228" y="266"/>
                  </a:lnTo>
                  <a:lnTo>
                    <a:pt x="228" y="264"/>
                  </a:lnTo>
                  <a:lnTo>
                    <a:pt x="229" y="264"/>
                  </a:lnTo>
                  <a:lnTo>
                    <a:pt x="228" y="263"/>
                  </a:lnTo>
                  <a:lnTo>
                    <a:pt x="227" y="264"/>
                  </a:lnTo>
                  <a:lnTo>
                    <a:pt x="226" y="265"/>
                  </a:lnTo>
                  <a:lnTo>
                    <a:pt x="223" y="265"/>
                  </a:lnTo>
                  <a:lnTo>
                    <a:pt x="222" y="266"/>
                  </a:lnTo>
                  <a:lnTo>
                    <a:pt x="221" y="267"/>
                  </a:lnTo>
                  <a:lnTo>
                    <a:pt x="220" y="266"/>
                  </a:lnTo>
                  <a:lnTo>
                    <a:pt x="221" y="266"/>
                  </a:lnTo>
                  <a:lnTo>
                    <a:pt x="220" y="266"/>
                  </a:lnTo>
                  <a:lnTo>
                    <a:pt x="218" y="265"/>
                  </a:lnTo>
                  <a:lnTo>
                    <a:pt x="217" y="266"/>
                  </a:lnTo>
                  <a:lnTo>
                    <a:pt x="217" y="265"/>
                  </a:lnTo>
                  <a:lnTo>
                    <a:pt x="216" y="265"/>
                  </a:lnTo>
                  <a:lnTo>
                    <a:pt x="215" y="265"/>
                  </a:lnTo>
                  <a:lnTo>
                    <a:pt x="214" y="264"/>
                  </a:lnTo>
                  <a:lnTo>
                    <a:pt x="212" y="265"/>
                  </a:lnTo>
                  <a:lnTo>
                    <a:pt x="212" y="264"/>
                  </a:lnTo>
                  <a:lnTo>
                    <a:pt x="214" y="263"/>
                  </a:lnTo>
                  <a:lnTo>
                    <a:pt x="212" y="261"/>
                  </a:lnTo>
                  <a:lnTo>
                    <a:pt x="211" y="261"/>
                  </a:lnTo>
                  <a:lnTo>
                    <a:pt x="210" y="263"/>
                  </a:lnTo>
                  <a:lnTo>
                    <a:pt x="210" y="261"/>
                  </a:lnTo>
                  <a:lnTo>
                    <a:pt x="210" y="260"/>
                  </a:lnTo>
                  <a:lnTo>
                    <a:pt x="209" y="260"/>
                  </a:lnTo>
                  <a:lnTo>
                    <a:pt x="208" y="259"/>
                  </a:lnTo>
                  <a:lnTo>
                    <a:pt x="206" y="261"/>
                  </a:lnTo>
                  <a:lnTo>
                    <a:pt x="206" y="263"/>
                  </a:lnTo>
                  <a:lnTo>
                    <a:pt x="205" y="263"/>
                  </a:lnTo>
                  <a:lnTo>
                    <a:pt x="205" y="264"/>
                  </a:lnTo>
                  <a:lnTo>
                    <a:pt x="204" y="264"/>
                  </a:lnTo>
                  <a:lnTo>
                    <a:pt x="205" y="265"/>
                  </a:lnTo>
                  <a:lnTo>
                    <a:pt x="204" y="265"/>
                  </a:lnTo>
                  <a:lnTo>
                    <a:pt x="203" y="264"/>
                  </a:lnTo>
                  <a:lnTo>
                    <a:pt x="201" y="265"/>
                  </a:lnTo>
                  <a:lnTo>
                    <a:pt x="203" y="265"/>
                  </a:lnTo>
                  <a:lnTo>
                    <a:pt x="203" y="266"/>
                  </a:lnTo>
                  <a:lnTo>
                    <a:pt x="204" y="266"/>
                  </a:lnTo>
                  <a:lnTo>
                    <a:pt x="204" y="267"/>
                  </a:lnTo>
                  <a:lnTo>
                    <a:pt x="203" y="267"/>
                  </a:lnTo>
                  <a:lnTo>
                    <a:pt x="203" y="269"/>
                  </a:lnTo>
                  <a:lnTo>
                    <a:pt x="201" y="269"/>
                  </a:lnTo>
                  <a:lnTo>
                    <a:pt x="201" y="267"/>
                  </a:lnTo>
                  <a:lnTo>
                    <a:pt x="199" y="267"/>
                  </a:lnTo>
                  <a:lnTo>
                    <a:pt x="198" y="269"/>
                  </a:lnTo>
                  <a:lnTo>
                    <a:pt x="194" y="267"/>
                  </a:lnTo>
                  <a:lnTo>
                    <a:pt x="192" y="267"/>
                  </a:lnTo>
                  <a:lnTo>
                    <a:pt x="188" y="267"/>
                  </a:lnTo>
                  <a:lnTo>
                    <a:pt x="187" y="267"/>
                  </a:lnTo>
                  <a:lnTo>
                    <a:pt x="186" y="267"/>
                  </a:lnTo>
                  <a:lnTo>
                    <a:pt x="185" y="267"/>
                  </a:lnTo>
                  <a:lnTo>
                    <a:pt x="183" y="267"/>
                  </a:lnTo>
                  <a:lnTo>
                    <a:pt x="181" y="267"/>
                  </a:lnTo>
                  <a:lnTo>
                    <a:pt x="180" y="266"/>
                  </a:lnTo>
                  <a:lnTo>
                    <a:pt x="177" y="266"/>
                  </a:lnTo>
                  <a:lnTo>
                    <a:pt x="176" y="265"/>
                  </a:lnTo>
                  <a:lnTo>
                    <a:pt x="175" y="264"/>
                  </a:lnTo>
                  <a:lnTo>
                    <a:pt x="174" y="264"/>
                  </a:lnTo>
                  <a:lnTo>
                    <a:pt x="171" y="265"/>
                  </a:lnTo>
                  <a:lnTo>
                    <a:pt x="170" y="264"/>
                  </a:lnTo>
                  <a:lnTo>
                    <a:pt x="168" y="264"/>
                  </a:lnTo>
                  <a:lnTo>
                    <a:pt x="167" y="261"/>
                  </a:lnTo>
                  <a:lnTo>
                    <a:pt x="167" y="260"/>
                  </a:lnTo>
                  <a:lnTo>
                    <a:pt x="165" y="261"/>
                  </a:lnTo>
                  <a:lnTo>
                    <a:pt x="164" y="260"/>
                  </a:lnTo>
                  <a:lnTo>
                    <a:pt x="163" y="260"/>
                  </a:lnTo>
                  <a:lnTo>
                    <a:pt x="162" y="260"/>
                  </a:lnTo>
                  <a:lnTo>
                    <a:pt x="159" y="259"/>
                  </a:lnTo>
                  <a:lnTo>
                    <a:pt x="158" y="257"/>
                  </a:lnTo>
                  <a:lnTo>
                    <a:pt x="158" y="258"/>
                  </a:lnTo>
                  <a:lnTo>
                    <a:pt x="158" y="257"/>
                  </a:lnTo>
                  <a:lnTo>
                    <a:pt x="159" y="257"/>
                  </a:lnTo>
                  <a:lnTo>
                    <a:pt x="159" y="255"/>
                  </a:lnTo>
                  <a:lnTo>
                    <a:pt x="159" y="254"/>
                  </a:lnTo>
                  <a:lnTo>
                    <a:pt x="161" y="254"/>
                  </a:lnTo>
                  <a:lnTo>
                    <a:pt x="159" y="255"/>
                  </a:lnTo>
                  <a:lnTo>
                    <a:pt x="161" y="255"/>
                  </a:lnTo>
                  <a:lnTo>
                    <a:pt x="161" y="257"/>
                  </a:lnTo>
                  <a:lnTo>
                    <a:pt x="161" y="258"/>
                  </a:lnTo>
                  <a:lnTo>
                    <a:pt x="162" y="258"/>
                  </a:lnTo>
                  <a:lnTo>
                    <a:pt x="163" y="258"/>
                  </a:lnTo>
                  <a:lnTo>
                    <a:pt x="164" y="258"/>
                  </a:lnTo>
                  <a:lnTo>
                    <a:pt x="164" y="257"/>
                  </a:lnTo>
                  <a:lnTo>
                    <a:pt x="165" y="257"/>
                  </a:lnTo>
                  <a:lnTo>
                    <a:pt x="167" y="258"/>
                  </a:lnTo>
                  <a:lnTo>
                    <a:pt x="168" y="257"/>
                  </a:lnTo>
                  <a:lnTo>
                    <a:pt x="169" y="257"/>
                  </a:lnTo>
                  <a:lnTo>
                    <a:pt x="169" y="258"/>
                  </a:lnTo>
                  <a:lnTo>
                    <a:pt x="170" y="258"/>
                  </a:lnTo>
                  <a:lnTo>
                    <a:pt x="171" y="258"/>
                  </a:lnTo>
                  <a:lnTo>
                    <a:pt x="171" y="257"/>
                  </a:lnTo>
                  <a:lnTo>
                    <a:pt x="171" y="255"/>
                  </a:lnTo>
                  <a:lnTo>
                    <a:pt x="170" y="255"/>
                  </a:lnTo>
                  <a:lnTo>
                    <a:pt x="170" y="253"/>
                  </a:lnTo>
                  <a:lnTo>
                    <a:pt x="170" y="252"/>
                  </a:lnTo>
                  <a:lnTo>
                    <a:pt x="169" y="252"/>
                  </a:lnTo>
                  <a:lnTo>
                    <a:pt x="169" y="251"/>
                  </a:lnTo>
                  <a:lnTo>
                    <a:pt x="168" y="252"/>
                  </a:lnTo>
                  <a:lnTo>
                    <a:pt x="168" y="251"/>
                  </a:lnTo>
                  <a:lnTo>
                    <a:pt x="169" y="251"/>
                  </a:lnTo>
                  <a:lnTo>
                    <a:pt x="170" y="251"/>
                  </a:lnTo>
                  <a:lnTo>
                    <a:pt x="171" y="251"/>
                  </a:lnTo>
                  <a:lnTo>
                    <a:pt x="173" y="251"/>
                  </a:lnTo>
                  <a:lnTo>
                    <a:pt x="173" y="249"/>
                  </a:lnTo>
                  <a:lnTo>
                    <a:pt x="171" y="248"/>
                  </a:lnTo>
                  <a:lnTo>
                    <a:pt x="173" y="248"/>
                  </a:lnTo>
                  <a:lnTo>
                    <a:pt x="174" y="247"/>
                  </a:lnTo>
                  <a:lnTo>
                    <a:pt x="173" y="248"/>
                  </a:lnTo>
                  <a:lnTo>
                    <a:pt x="174" y="249"/>
                  </a:lnTo>
                  <a:lnTo>
                    <a:pt x="174" y="248"/>
                  </a:lnTo>
                  <a:lnTo>
                    <a:pt x="175" y="248"/>
                  </a:lnTo>
                  <a:lnTo>
                    <a:pt x="176" y="248"/>
                  </a:lnTo>
                  <a:lnTo>
                    <a:pt x="176" y="251"/>
                  </a:lnTo>
                  <a:lnTo>
                    <a:pt x="177" y="249"/>
                  </a:lnTo>
                  <a:lnTo>
                    <a:pt x="177" y="251"/>
                  </a:lnTo>
                  <a:lnTo>
                    <a:pt x="180" y="252"/>
                  </a:lnTo>
                  <a:lnTo>
                    <a:pt x="181" y="254"/>
                  </a:lnTo>
                  <a:lnTo>
                    <a:pt x="181" y="255"/>
                  </a:lnTo>
                  <a:lnTo>
                    <a:pt x="181" y="254"/>
                  </a:lnTo>
                  <a:lnTo>
                    <a:pt x="180" y="254"/>
                  </a:lnTo>
                  <a:lnTo>
                    <a:pt x="180" y="255"/>
                  </a:lnTo>
                  <a:lnTo>
                    <a:pt x="180" y="257"/>
                  </a:lnTo>
                  <a:lnTo>
                    <a:pt x="181" y="257"/>
                  </a:lnTo>
                  <a:lnTo>
                    <a:pt x="180" y="257"/>
                  </a:lnTo>
                  <a:lnTo>
                    <a:pt x="179" y="255"/>
                  </a:lnTo>
                  <a:lnTo>
                    <a:pt x="179" y="257"/>
                  </a:lnTo>
                  <a:lnTo>
                    <a:pt x="180" y="257"/>
                  </a:lnTo>
                  <a:lnTo>
                    <a:pt x="180" y="258"/>
                  </a:lnTo>
                  <a:lnTo>
                    <a:pt x="179" y="258"/>
                  </a:lnTo>
                  <a:lnTo>
                    <a:pt x="179" y="259"/>
                  </a:lnTo>
                  <a:lnTo>
                    <a:pt x="180" y="259"/>
                  </a:lnTo>
                  <a:lnTo>
                    <a:pt x="181" y="259"/>
                  </a:lnTo>
                  <a:lnTo>
                    <a:pt x="182" y="260"/>
                  </a:lnTo>
                  <a:lnTo>
                    <a:pt x="183" y="260"/>
                  </a:lnTo>
                  <a:lnTo>
                    <a:pt x="182" y="260"/>
                  </a:lnTo>
                  <a:lnTo>
                    <a:pt x="182" y="259"/>
                  </a:lnTo>
                  <a:lnTo>
                    <a:pt x="183" y="258"/>
                  </a:lnTo>
                  <a:lnTo>
                    <a:pt x="183" y="260"/>
                  </a:lnTo>
                  <a:lnTo>
                    <a:pt x="185" y="260"/>
                  </a:lnTo>
                  <a:lnTo>
                    <a:pt x="186" y="259"/>
                  </a:lnTo>
                  <a:lnTo>
                    <a:pt x="186" y="260"/>
                  </a:lnTo>
                  <a:lnTo>
                    <a:pt x="187" y="260"/>
                  </a:lnTo>
                  <a:lnTo>
                    <a:pt x="188" y="260"/>
                  </a:lnTo>
                  <a:lnTo>
                    <a:pt x="189" y="260"/>
                  </a:lnTo>
                  <a:lnTo>
                    <a:pt x="189" y="259"/>
                  </a:lnTo>
                  <a:lnTo>
                    <a:pt x="188" y="258"/>
                  </a:lnTo>
                  <a:lnTo>
                    <a:pt x="187" y="255"/>
                  </a:lnTo>
                  <a:lnTo>
                    <a:pt x="188" y="257"/>
                  </a:lnTo>
                  <a:lnTo>
                    <a:pt x="189" y="257"/>
                  </a:lnTo>
                  <a:lnTo>
                    <a:pt x="191" y="257"/>
                  </a:lnTo>
                  <a:lnTo>
                    <a:pt x="192" y="257"/>
                  </a:lnTo>
                  <a:lnTo>
                    <a:pt x="192" y="255"/>
                  </a:lnTo>
                  <a:lnTo>
                    <a:pt x="193" y="253"/>
                  </a:lnTo>
                  <a:lnTo>
                    <a:pt x="193" y="252"/>
                  </a:lnTo>
                  <a:lnTo>
                    <a:pt x="194" y="249"/>
                  </a:lnTo>
                  <a:lnTo>
                    <a:pt x="194" y="248"/>
                  </a:lnTo>
                  <a:lnTo>
                    <a:pt x="193" y="247"/>
                  </a:lnTo>
                  <a:lnTo>
                    <a:pt x="193" y="248"/>
                  </a:lnTo>
                  <a:lnTo>
                    <a:pt x="192" y="247"/>
                  </a:lnTo>
                  <a:lnTo>
                    <a:pt x="191" y="246"/>
                  </a:lnTo>
                  <a:lnTo>
                    <a:pt x="189" y="247"/>
                  </a:lnTo>
                  <a:lnTo>
                    <a:pt x="189" y="246"/>
                  </a:lnTo>
                  <a:lnTo>
                    <a:pt x="191" y="246"/>
                  </a:lnTo>
                  <a:lnTo>
                    <a:pt x="192" y="246"/>
                  </a:lnTo>
                  <a:lnTo>
                    <a:pt x="193" y="246"/>
                  </a:lnTo>
                  <a:lnTo>
                    <a:pt x="195" y="246"/>
                  </a:lnTo>
                  <a:lnTo>
                    <a:pt x="195" y="247"/>
                  </a:lnTo>
                  <a:lnTo>
                    <a:pt x="194" y="248"/>
                  </a:lnTo>
                  <a:lnTo>
                    <a:pt x="195" y="248"/>
                  </a:lnTo>
                  <a:lnTo>
                    <a:pt x="195" y="249"/>
                  </a:lnTo>
                  <a:lnTo>
                    <a:pt x="197" y="249"/>
                  </a:lnTo>
                  <a:lnTo>
                    <a:pt x="195" y="248"/>
                  </a:lnTo>
                  <a:lnTo>
                    <a:pt x="197" y="248"/>
                  </a:lnTo>
                  <a:lnTo>
                    <a:pt x="198" y="249"/>
                  </a:lnTo>
                  <a:lnTo>
                    <a:pt x="199" y="249"/>
                  </a:lnTo>
                  <a:lnTo>
                    <a:pt x="200" y="249"/>
                  </a:lnTo>
                  <a:lnTo>
                    <a:pt x="200" y="251"/>
                  </a:lnTo>
                  <a:lnTo>
                    <a:pt x="201" y="249"/>
                  </a:lnTo>
                  <a:lnTo>
                    <a:pt x="203" y="251"/>
                  </a:lnTo>
                  <a:lnTo>
                    <a:pt x="204" y="251"/>
                  </a:lnTo>
                  <a:lnTo>
                    <a:pt x="205" y="251"/>
                  </a:lnTo>
                  <a:lnTo>
                    <a:pt x="206" y="249"/>
                  </a:lnTo>
                  <a:lnTo>
                    <a:pt x="208" y="248"/>
                  </a:lnTo>
                  <a:lnTo>
                    <a:pt x="209" y="248"/>
                  </a:lnTo>
                  <a:lnTo>
                    <a:pt x="210" y="248"/>
                  </a:lnTo>
                  <a:lnTo>
                    <a:pt x="211" y="248"/>
                  </a:lnTo>
                  <a:lnTo>
                    <a:pt x="214" y="248"/>
                  </a:lnTo>
                  <a:lnTo>
                    <a:pt x="215" y="247"/>
                  </a:lnTo>
                  <a:lnTo>
                    <a:pt x="216" y="248"/>
                  </a:lnTo>
                  <a:lnTo>
                    <a:pt x="217" y="247"/>
                  </a:lnTo>
                  <a:lnTo>
                    <a:pt x="217" y="248"/>
                  </a:lnTo>
                  <a:lnTo>
                    <a:pt x="218" y="248"/>
                  </a:lnTo>
                  <a:lnTo>
                    <a:pt x="220" y="247"/>
                  </a:lnTo>
                  <a:lnTo>
                    <a:pt x="220" y="248"/>
                  </a:lnTo>
                  <a:lnTo>
                    <a:pt x="221" y="247"/>
                  </a:lnTo>
                  <a:lnTo>
                    <a:pt x="222" y="248"/>
                  </a:lnTo>
                  <a:lnTo>
                    <a:pt x="222" y="249"/>
                  </a:lnTo>
                  <a:lnTo>
                    <a:pt x="221" y="249"/>
                  </a:lnTo>
                  <a:lnTo>
                    <a:pt x="220" y="249"/>
                  </a:lnTo>
                  <a:lnTo>
                    <a:pt x="218" y="249"/>
                  </a:lnTo>
                  <a:lnTo>
                    <a:pt x="218" y="248"/>
                  </a:lnTo>
                  <a:lnTo>
                    <a:pt x="218" y="249"/>
                  </a:lnTo>
                  <a:lnTo>
                    <a:pt x="217" y="248"/>
                  </a:lnTo>
                  <a:lnTo>
                    <a:pt x="217" y="249"/>
                  </a:lnTo>
                  <a:lnTo>
                    <a:pt x="216" y="248"/>
                  </a:lnTo>
                  <a:lnTo>
                    <a:pt x="216" y="249"/>
                  </a:lnTo>
                  <a:lnTo>
                    <a:pt x="215" y="248"/>
                  </a:lnTo>
                  <a:lnTo>
                    <a:pt x="215" y="249"/>
                  </a:lnTo>
                  <a:lnTo>
                    <a:pt x="215" y="251"/>
                  </a:lnTo>
                  <a:lnTo>
                    <a:pt x="214" y="248"/>
                  </a:lnTo>
                  <a:lnTo>
                    <a:pt x="212" y="249"/>
                  </a:lnTo>
                  <a:lnTo>
                    <a:pt x="214" y="249"/>
                  </a:lnTo>
                  <a:lnTo>
                    <a:pt x="214" y="252"/>
                  </a:lnTo>
                  <a:lnTo>
                    <a:pt x="215" y="252"/>
                  </a:lnTo>
                  <a:lnTo>
                    <a:pt x="214" y="252"/>
                  </a:lnTo>
                  <a:lnTo>
                    <a:pt x="214" y="253"/>
                  </a:lnTo>
                  <a:lnTo>
                    <a:pt x="215" y="253"/>
                  </a:lnTo>
                  <a:lnTo>
                    <a:pt x="215" y="252"/>
                  </a:lnTo>
                  <a:lnTo>
                    <a:pt x="216" y="253"/>
                  </a:lnTo>
                  <a:lnTo>
                    <a:pt x="216" y="252"/>
                  </a:lnTo>
                  <a:lnTo>
                    <a:pt x="217" y="253"/>
                  </a:lnTo>
                  <a:lnTo>
                    <a:pt x="218" y="253"/>
                  </a:lnTo>
                  <a:lnTo>
                    <a:pt x="220" y="255"/>
                  </a:lnTo>
                  <a:lnTo>
                    <a:pt x="221" y="255"/>
                  </a:lnTo>
                  <a:lnTo>
                    <a:pt x="222" y="254"/>
                  </a:lnTo>
                  <a:lnTo>
                    <a:pt x="222" y="253"/>
                  </a:lnTo>
                  <a:lnTo>
                    <a:pt x="223" y="253"/>
                  </a:lnTo>
                  <a:lnTo>
                    <a:pt x="222" y="254"/>
                  </a:lnTo>
                  <a:lnTo>
                    <a:pt x="223" y="255"/>
                  </a:lnTo>
                  <a:lnTo>
                    <a:pt x="223" y="254"/>
                  </a:lnTo>
                  <a:lnTo>
                    <a:pt x="223" y="255"/>
                  </a:lnTo>
                  <a:lnTo>
                    <a:pt x="222" y="257"/>
                  </a:lnTo>
                  <a:lnTo>
                    <a:pt x="224" y="257"/>
                  </a:lnTo>
                  <a:lnTo>
                    <a:pt x="223" y="258"/>
                  </a:lnTo>
                  <a:lnTo>
                    <a:pt x="224" y="258"/>
                  </a:lnTo>
                  <a:lnTo>
                    <a:pt x="223" y="259"/>
                  </a:lnTo>
                  <a:lnTo>
                    <a:pt x="224" y="259"/>
                  </a:lnTo>
                  <a:lnTo>
                    <a:pt x="223" y="259"/>
                  </a:lnTo>
                  <a:lnTo>
                    <a:pt x="222" y="260"/>
                  </a:lnTo>
                  <a:lnTo>
                    <a:pt x="222" y="261"/>
                  </a:lnTo>
                  <a:lnTo>
                    <a:pt x="222" y="263"/>
                  </a:lnTo>
                  <a:lnTo>
                    <a:pt x="223" y="263"/>
                  </a:lnTo>
                  <a:lnTo>
                    <a:pt x="224" y="263"/>
                  </a:lnTo>
                  <a:lnTo>
                    <a:pt x="226" y="263"/>
                  </a:lnTo>
                  <a:lnTo>
                    <a:pt x="226" y="261"/>
                  </a:lnTo>
                  <a:lnTo>
                    <a:pt x="228" y="261"/>
                  </a:lnTo>
                  <a:lnTo>
                    <a:pt x="229" y="261"/>
                  </a:lnTo>
                  <a:lnTo>
                    <a:pt x="230" y="261"/>
                  </a:lnTo>
                  <a:lnTo>
                    <a:pt x="232" y="261"/>
                  </a:lnTo>
                  <a:lnTo>
                    <a:pt x="234" y="261"/>
                  </a:lnTo>
                  <a:lnTo>
                    <a:pt x="235" y="261"/>
                  </a:lnTo>
                  <a:lnTo>
                    <a:pt x="236" y="261"/>
                  </a:lnTo>
                  <a:lnTo>
                    <a:pt x="236" y="263"/>
                  </a:lnTo>
                  <a:lnTo>
                    <a:pt x="238" y="264"/>
                  </a:lnTo>
                  <a:lnTo>
                    <a:pt x="239" y="264"/>
                  </a:lnTo>
                  <a:lnTo>
                    <a:pt x="240" y="264"/>
                  </a:lnTo>
                  <a:lnTo>
                    <a:pt x="241" y="264"/>
                  </a:lnTo>
                  <a:lnTo>
                    <a:pt x="241" y="263"/>
                  </a:lnTo>
                  <a:lnTo>
                    <a:pt x="241" y="261"/>
                  </a:lnTo>
                  <a:lnTo>
                    <a:pt x="242" y="260"/>
                  </a:lnTo>
                  <a:lnTo>
                    <a:pt x="244" y="260"/>
                  </a:lnTo>
                  <a:lnTo>
                    <a:pt x="245" y="259"/>
                  </a:lnTo>
                  <a:lnTo>
                    <a:pt x="246" y="258"/>
                  </a:lnTo>
                  <a:lnTo>
                    <a:pt x="246" y="257"/>
                  </a:lnTo>
                  <a:lnTo>
                    <a:pt x="245" y="257"/>
                  </a:lnTo>
                  <a:lnTo>
                    <a:pt x="245" y="258"/>
                  </a:lnTo>
                  <a:lnTo>
                    <a:pt x="244" y="258"/>
                  </a:lnTo>
                  <a:lnTo>
                    <a:pt x="242" y="258"/>
                  </a:lnTo>
                  <a:lnTo>
                    <a:pt x="242" y="257"/>
                  </a:lnTo>
                  <a:lnTo>
                    <a:pt x="242" y="255"/>
                  </a:lnTo>
                  <a:lnTo>
                    <a:pt x="241" y="257"/>
                  </a:lnTo>
                  <a:lnTo>
                    <a:pt x="241" y="255"/>
                  </a:lnTo>
                  <a:lnTo>
                    <a:pt x="240" y="255"/>
                  </a:lnTo>
                  <a:lnTo>
                    <a:pt x="241" y="254"/>
                  </a:lnTo>
                  <a:lnTo>
                    <a:pt x="241" y="253"/>
                  </a:lnTo>
                  <a:lnTo>
                    <a:pt x="239" y="253"/>
                  </a:lnTo>
                  <a:lnTo>
                    <a:pt x="238" y="252"/>
                  </a:lnTo>
                  <a:lnTo>
                    <a:pt x="239" y="251"/>
                  </a:lnTo>
                  <a:lnTo>
                    <a:pt x="240" y="251"/>
                  </a:lnTo>
                  <a:lnTo>
                    <a:pt x="240" y="249"/>
                  </a:lnTo>
                  <a:lnTo>
                    <a:pt x="241" y="249"/>
                  </a:lnTo>
                  <a:lnTo>
                    <a:pt x="240" y="248"/>
                  </a:lnTo>
                  <a:lnTo>
                    <a:pt x="239" y="248"/>
                  </a:lnTo>
                  <a:lnTo>
                    <a:pt x="239" y="247"/>
                  </a:lnTo>
                  <a:lnTo>
                    <a:pt x="239" y="246"/>
                  </a:lnTo>
                  <a:lnTo>
                    <a:pt x="240" y="246"/>
                  </a:lnTo>
                  <a:lnTo>
                    <a:pt x="241" y="246"/>
                  </a:lnTo>
                  <a:lnTo>
                    <a:pt x="242" y="246"/>
                  </a:lnTo>
                  <a:lnTo>
                    <a:pt x="244" y="246"/>
                  </a:lnTo>
                  <a:lnTo>
                    <a:pt x="245" y="247"/>
                  </a:lnTo>
                  <a:lnTo>
                    <a:pt x="245" y="246"/>
                  </a:lnTo>
                  <a:lnTo>
                    <a:pt x="246" y="246"/>
                  </a:lnTo>
                  <a:lnTo>
                    <a:pt x="247" y="246"/>
                  </a:lnTo>
                  <a:lnTo>
                    <a:pt x="248" y="246"/>
                  </a:lnTo>
                  <a:lnTo>
                    <a:pt x="250" y="246"/>
                  </a:lnTo>
                  <a:lnTo>
                    <a:pt x="251" y="246"/>
                  </a:lnTo>
                  <a:lnTo>
                    <a:pt x="252" y="247"/>
                  </a:lnTo>
                  <a:lnTo>
                    <a:pt x="253" y="247"/>
                  </a:lnTo>
                  <a:lnTo>
                    <a:pt x="257" y="247"/>
                  </a:lnTo>
                  <a:lnTo>
                    <a:pt x="258" y="248"/>
                  </a:lnTo>
                  <a:lnTo>
                    <a:pt x="258" y="247"/>
                  </a:lnTo>
                  <a:lnTo>
                    <a:pt x="259" y="247"/>
                  </a:lnTo>
                  <a:lnTo>
                    <a:pt x="260" y="247"/>
                  </a:lnTo>
                  <a:lnTo>
                    <a:pt x="262" y="246"/>
                  </a:lnTo>
                  <a:lnTo>
                    <a:pt x="260" y="245"/>
                  </a:lnTo>
                  <a:lnTo>
                    <a:pt x="259" y="245"/>
                  </a:lnTo>
                  <a:lnTo>
                    <a:pt x="258" y="245"/>
                  </a:lnTo>
                  <a:lnTo>
                    <a:pt x="259" y="245"/>
                  </a:lnTo>
                  <a:lnTo>
                    <a:pt x="259" y="243"/>
                  </a:lnTo>
                  <a:lnTo>
                    <a:pt x="260" y="243"/>
                  </a:lnTo>
                  <a:lnTo>
                    <a:pt x="260" y="242"/>
                  </a:lnTo>
                  <a:lnTo>
                    <a:pt x="262" y="242"/>
                  </a:lnTo>
                  <a:lnTo>
                    <a:pt x="262" y="241"/>
                  </a:lnTo>
                  <a:lnTo>
                    <a:pt x="260" y="240"/>
                  </a:lnTo>
                  <a:lnTo>
                    <a:pt x="259" y="240"/>
                  </a:lnTo>
                  <a:lnTo>
                    <a:pt x="259" y="238"/>
                  </a:lnTo>
                  <a:lnTo>
                    <a:pt x="258" y="238"/>
                  </a:lnTo>
                  <a:lnTo>
                    <a:pt x="258" y="240"/>
                  </a:lnTo>
                  <a:lnTo>
                    <a:pt x="257" y="240"/>
                  </a:lnTo>
                  <a:lnTo>
                    <a:pt x="257" y="238"/>
                  </a:lnTo>
                  <a:lnTo>
                    <a:pt x="256" y="238"/>
                  </a:lnTo>
                  <a:lnTo>
                    <a:pt x="254" y="237"/>
                  </a:lnTo>
                  <a:lnTo>
                    <a:pt x="256" y="236"/>
                  </a:lnTo>
                  <a:lnTo>
                    <a:pt x="257" y="236"/>
                  </a:lnTo>
                  <a:lnTo>
                    <a:pt x="258" y="236"/>
                  </a:lnTo>
                  <a:lnTo>
                    <a:pt x="259" y="236"/>
                  </a:lnTo>
                  <a:lnTo>
                    <a:pt x="260" y="235"/>
                  </a:lnTo>
                  <a:lnTo>
                    <a:pt x="262" y="235"/>
                  </a:lnTo>
                  <a:lnTo>
                    <a:pt x="262" y="234"/>
                  </a:lnTo>
                  <a:lnTo>
                    <a:pt x="263" y="234"/>
                  </a:lnTo>
                  <a:lnTo>
                    <a:pt x="263" y="232"/>
                  </a:lnTo>
                  <a:lnTo>
                    <a:pt x="264" y="231"/>
                  </a:lnTo>
                  <a:lnTo>
                    <a:pt x="263" y="231"/>
                  </a:lnTo>
                  <a:lnTo>
                    <a:pt x="263" y="230"/>
                  </a:lnTo>
                  <a:lnTo>
                    <a:pt x="263" y="231"/>
                  </a:lnTo>
                  <a:lnTo>
                    <a:pt x="262" y="231"/>
                  </a:lnTo>
                  <a:lnTo>
                    <a:pt x="260" y="232"/>
                  </a:lnTo>
                  <a:lnTo>
                    <a:pt x="259" y="232"/>
                  </a:lnTo>
                  <a:lnTo>
                    <a:pt x="260" y="231"/>
                  </a:lnTo>
                  <a:lnTo>
                    <a:pt x="259" y="230"/>
                  </a:lnTo>
                  <a:lnTo>
                    <a:pt x="258" y="231"/>
                  </a:lnTo>
                  <a:lnTo>
                    <a:pt x="257" y="232"/>
                  </a:lnTo>
                  <a:lnTo>
                    <a:pt x="256" y="234"/>
                  </a:lnTo>
                  <a:lnTo>
                    <a:pt x="254" y="234"/>
                  </a:lnTo>
                  <a:lnTo>
                    <a:pt x="252" y="234"/>
                  </a:lnTo>
                  <a:lnTo>
                    <a:pt x="253" y="232"/>
                  </a:lnTo>
                  <a:lnTo>
                    <a:pt x="253" y="231"/>
                  </a:lnTo>
                  <a:lnTo>
                    <a:pt x="253" y="230"/>
                  </a:lnTo>
                  <a:lnTo>
                    <a:pt x="252" y="230"/>
                  </a:lnTo>
                  <a:lnTo>
                    <a:pt x="252" y="231"/>
                  </a:lnTo>
                  <a:lnTo>
                    <a:pt x="251" y="231"/>
                  </a:lnTo>
                  <a:lnTo>
                    <a:pt x="251" y="230"/>
                  </a:lnTo>
                  <a:lnTo>
                    <a:pt x="251" y="229"/>
                  </a:lnTo>
                  <a:lnTo>
                    <a:pt x="252" y="228"/>
                  </a:lnTo>
                  <a:lnTo>
                    <a:pt x="251" y="228"/>
                  </a:lnTo>
                  <a:lnTo>
                    <a:pt x="250" y="228"/>
                  </a:lnTo>
                  <a:lnTo>
                    <a:pt x="248" y="229"/>
                  </a:lnTo>
                  <a:lnTo>
                    <a:pt x="247" y="229"/>
                  </a:lnTo>
                  <a:lnTo>
                    <a:pt x="247" y="228"/>
                  </a:lnTo>
                  <a:lnTo>
                    <a:pt x="246" y="228"/>
                  </a:lnTo>
                  <a:lnTo>
                    <a:pt x="246" y="229"/>
                  </a:lnTo>
                  <a:lnTo>
                    <a:pt x="245" y="229"/>
                  </a:lnTo>
                  <a:lnTo>
                    <a:pt x="245" y="228"/>
                  </a:lnTo>
                  <a:lnTo>
                    <a:pt x="244" y="226"/>
                  </a:lnTo>
                  <a:lnTo>
                    <a:pt x="242" y="226"/>
                  </a:lnTo>
                  <a:lnTo>
                    <a:pt x="244" y="226"/>
                  </a:lnTo>
                  <a:lnTo>
                    <a:pt x="244" y="225"/>
                  </a:lnTo>
                  <a:lnTo>
                    <a:pt x="245" y="225"/>
                  </a:lnTo>
                  <a:lnTo>
                    <a:pt x="245" y="224"/>
                  </a:lnTo>
                  <a:lnTo>
                    <a:pt x="244" y="223"/>
                  </a:lnTo>
                  <a:lnTo>
                    <a:pt x="244" y="224"/>
                  </a:lnTo>
                  <a:lnTo>
                    <a:pt x="242" y="224"/>
                  </a:lnTo>
                  <a:lnTo>
                    <a:pt x="241" y="224"/>
                  </a:lnTo>
                  <a:lnTo>
                    <a:pt x="241" y="225"/>
                  </a:lnTo>
                  <a:lnTo>
                    <a:pt x="241" y="224"/>
                  </a:lnTo>
                  <a:lnTo>
                    <a:pt x="241" y="223"/>
                  </a:lnTo>
                  <a:lnTo>
                    <a:pt x="240" y="223"/>
                  </a:lnTo>
                  <a:lnTo>
                    <a:pt x="240" y="224"/>
                  </a:lnTo>
                  <a:lnTo>
                    <a:pt x="239" y="224"/>
                  </a:lnTo>
                  <a:lnTo>
                    <a:pt x="239" y="223"/>
                  </a:lnTo>
                  <a:lnTo>
                    <a:pt x="240" y="223"/>
                  </a:lnTo>
                  <a:lnTo>
                    <a:pt x="240" y="222"/>
                  </a:lnTo>
                  <a:lnTo>
                    <a:pt x="239" y="222"/>
                  </a:lnTo>
                  <a:lnTo>
                    <a:pt x="239" y="223"/>
                  </a:lnTo>
                  <a:lnTo>
                    <a:pt x="238" y="223"/>
                  </a:lnTo>
                  <a:lnTo>
                    <a:pt x="239" y="222"/>
                  </a:lnTo>
                  <a:lnTo>
                    <a:pt x="239" y="220"/>
                  </a:lnTo>
                  <a:lnTo>
                    <a:pt x="238" y="220"/>
                  </a:lnTo>
                  <a:lnTo>
                    <a:pt x="236" y="220"/>
                  </a:lnTo>
                  <a:lnTo>
                    <a:pt x="236" y="219"/>
                  </a:lnTo>
                  <a:lnTo>
                    <a:pt x="235" y="219"/>
                  </a:lnTo>
                  <a:lnTo>
                    <a:pt x="234" y="219"/>
                  </a:lnTo>
                  <a:lnTo>
                    <a:pt x="232" y="219"/>
                  </a:lnTo>
                  <a:lnTo>
                    <a:pt x="232" y="220"/>
                  </a:lnTo>
                  <a:lnTo>
                    <a:pt x="230" y="220"/>
                  </a:lnTo>
                  <a:lnTo>
                    <a:pt x="229" y="220"/>
                  </a:lnTo>
                  <a:lnTo>
                    <a:pt x="228" y="220"/>
                  </a:lnTo>
                  <a:lnTo>
                    <a:pt x="228" y="219"/>
                  </a:lnTo>
                  <a:lnTo>
                    <a:pt x="227" y="219"/>
                  </a:lnTo>
                  <a:lnTo>
                    <a:pt x="226" y="219"/>
                  </a:lnTo>
                  <a:lnTo>
                    <a:pt x="224" y="219"/>
                  </a:lnTo>
                  <a:lnTo>
                    <a:pt x="224" y="218"/>
                  </a:lnTo>
                  <a:lnTo>
                    <a:pt x="224" y="217"/>
                  </a:lnTo>
                  <a:lnTo>
                    <a:pt x="223" y="217"/>
                  </a:lnTo>
                  <a:lnTo>
                    <a:pt x="223" y="216"/>
                  </a:lnTo>
                  <a:lnTo>
                    <a:pt x="221" y="214"/>
                  </a:lnTo>
                  <a:lnTo>
                    <a:pt x="220" y="213"/>
                  </a:lnTo>
                  <a:lnTo>
                    <a:pt x="221" y="212"/>
                  </a:lnTo>
                  <a:lnTo>
                    <a:pt x="220" y="213"/>
                  </a:lnTo>
                  <a:lnTo>
                    <a:pt x="220" y="212"/>
                  </a:lnTo>
                  <a:lnTo>
                    <a:pt x="218" y="213"/>
                  </a:lnTo>
                  <a:lnTo>
                    <a:pt x="218" y="212"/>
                  </a:lnTo>
                  <a:lnTo>
                    <a:pt x="217" y="212"/>
                  </a:lnTo>
                  <a:lnTo>
                    <a:pt x="216" y="212"/>
                  </a:lnTo>
                  <a:lnTo>
                    <a:pt x="215" y="212"/>
                  </a:lnTo>
                  <a:lnTo>
                    <a:pt x="214" y="212"/>
                  </a:lnTo>
                  <a:lnTo>
                    <a:pt x="212" y="212"/>
                  </a:lnTo>
                  <a:lnTo>
                    <a:pt x="214" y="211"/>
                  </a:lnTo>
                  <a:lnTo>
                    <a:pt x="212" y="211"/>
                  </a:lnTo>
                  <a:lnTo>
                    <a:pt x="212" y="212"/>
                  </a:lnTo>
                  <a:lnTo>
                    <a:pt x="211" y="212"/>
                  </a:lnTo>
                  <a:lnTo>
                    <a:pt x="211" y="211"/>
                  </a:lnTo>
                  <a:lnTo>
                    <a:pt x="210" y="211"/>
                  </a:lnTo>
                  <a:lnTo>
                    <a:pt x="210" y="210"/>
                  </a:lnTo>
                  <a:lnTo>
                    <a:pt x="209" y="210"/>
                  </a:lnTo>
                  <a:lnTo>
                    <a:pt x="208" y="210"/>
                  </a:lnTo>
                  <a:lnTo>
                    <a:pt x="209" y="210"/>
                  </a:lnTo>
                  <a:lnTo>
                    <a:pt x="208" y="208"/>
                  </a:lnTo>
                  <a:lnTo>
                    <a:pt x="206" y="208"/>
                  </a:lnTo>
                  <a:lnTo>
                    <a:pt x="206" y="210"/>
                  </a:lnTo>
                  <a:lnTo>
                    <a:pt x="208" y="210"/>
                  </a:lnTo>
                  <a:lnTo>
                    <a:pt x="206" y="210"/>
                  </a:lnTo>
                  <a:lnTo>
                    <a:pt x="205" y="210"/>
                  </a:lnTo>
                  <a:lnTo>
                    <a:pt x="204" y="211"/>
                  </a:lnTo>
                  <a:lnTo>
                    <a:pt x="204" y="210"/>
                  </a:lnTo>
                  <a:lnTo>
                    <a:pt x="205" y="210"/>
                  </a:lnTo>
                  <a:lnTo>
                    <a:pt x="205" y="208"/>
                  </a:lnTo>
                  <a:lnTo>
                    <a:pt x="204" y="208"/>
                  </a:lnTo>
                  <a:lnTo>
                    <a:pt x="205" y="207"/>
                  </a:lnTo>
                  <a:lnTo>
                    <a:pt x="204" y="207"/>
                  </a:lnTo>
                  <a:lnTo>
                    <a:pt x="204" y="208"/>
                  </a:lnTo>
                  <a:lnTo>
                    <a:pt x="204" y="207"/>
                  </a:lnTo>
                  <a:lnTo>
                    <a:pt x="203" y="206"/>
                  </a:lnTo>
                  <a:lnTo>
                    <a:pt x="204" y="206"/>
                  </a:lnTo>
                  <a:lnTo>
                    <a:pt x="205" y="206"/>
                  </a:lnTo>
                  <a:lnTo>
                    <a:pt x="205" y="207"/>
                  </a:lnTo>
                  <a:lnTo>
                    <a:pt x="206" y="207"/>
                  </a:lnTo>
                  <a:lnTo>
                    <a:pt x="208" y="206"/>
                  </a:lnTo>
                  <a:lnTo>
                    <a:pt x="208" y="205"/>
                  </a:lnTo>
                  <a:lnTo>
                    <a:pt x="209" y="205"/>
                  </a:lnTo>
                  <a:lnTo>
                    <a:pt x="209" y="204"/>
                  </a:lnTo>
                  <a:lnTo>
                    <a:pt x="209" y="205"/>
                  </a:lnTo>
                  <a:lnTo>
                    <a:pt x="210" y="206"/>
                  </a:lnTo>
                  <a:lnTo>
                    <a:pt x="211" y="206"/>
                  </a:lnTo>
                  <a:lnTo>
                    <a:pt x="212" y="206"/>
                  </a:lnTo>
                  <a:lnTo>
                    <a:pt x="214" y="207"/>
                  </a:lnTo>
                  <a:lnTo>
                    <a:pt x="215" y="208"/>
                  </a:lnTo>
                  <a:lnTo>
                    <a:pt x="216" y="208"/>
                  </a:lnTo>
                  <a:lnTo>
                    <a:pt x="216" y="207"/>
                  </a:lnTo>
                  <a:lnTo>
                    <a:pt x="217" y="207"/>
                  </a:lnTo>
                  <a:lnTo>
                    <a:pt x="216" y="207"/>
                  </a:lnTo>
                  <a:lnTo>
                    <a:pt x="216" y="206"/>
                  </a:lnTo>
                  <a:lnTo>
                    <a:pt x="217" y="206"/>
                  </a:lnTo>
                  <a:lnTo>
                    <a:pt x="218" y="206"/>
                  </a:lnTo>
                  <a:lnTo>
                    <a:pt x="220" y="207"/>
                  </a:lnTo>
                  <a:lnTo>
                    <a:pt x="218" y="207"/>
                  </a:lnTo>
                  <a:lnTo>
                    <a:pt x="218" y="208"/>
                  </a:lnTo>
                  <a:lnTo>
                    <a:pt x="220" y="208"/>
                  </a:lnTo>
                  <a:lnTo>
                    <a:pt x="221" y="208"/>
                  </a:lnTo>
                  <a:lnTo>
                    <a:pt x="221" y="210"/>
                  </a:lnTo>
                  <a:lnTo>
                    <a:pt x="222" y="210"/>
                  </a:lnTo>
                  <a:lnTo>
                    <a:pt x="221" y="210"/>
                  </a:lnTo>
                  <a:lnTo>
                    <a:pt x="221" y="211"/>
                  </a:lnTo>
                  <a:lnTo>
                    <a:pt x="222" y="212"/>
                  </a:lnTo>
                  <a:lnTo>
                    <a:pt x="222" y="211"/>
                  </a:lnTo>
                  <a:lnTo>
                    <a:pt x="223" y="211"/>
                  </a:lnTo>
                  <a:lnTo>
                    <a:pt x="222" y="210"/>
                  </a:lnTo>
                  <a:lnTo>
                    <a:pt x="222" y="211"/>
                  </a:lnTo>
                  <a:lnTo>
                    <a:pt x="223" y="210"/>
                  </a:lnTo>
                  <a:lnTo>
                    <a:pt x="223" y="212"/>
                  </a:lnTo>
                  <a:lnTo>
                    <a:pt x="222" y="212"/>
                  </a:lnTo>
                  <a:lnTo>
                    <a:pt x="223" y="213"/>
                  </a:lnTo>
                  <a:lnTo>
                    <a:pt x="224" y="213"/>
                  </a:lnTo>
                  <a:lnTo>
                    <a:pt x="226" y="213"/>
                  </a:lnTo>
                  <a:lnTo>
                    <a:pt x="226" y="212"/>
                  </a:lnTo>
                  <a:lnTo>
                    <a:pt x="224" y="212"/>
                  </a:lnTo>
                  <a:lnTo>
                    <a:pt x="226" y="211"/>
                  </a:lnTo>
                  <a:lnTo>
                    <a:pt x="226" y="210"/>
                  </a:lnTo>
                  <a:lnTo>
                    <a:pt x="224" y="208"/>
                  </a:lnTo>
                  <a:lnTo>
                    <a:pt x="226" y="208"/>
                  </a:lnTo>
                  <a:lnTo>
                    <a:pt x="226" y="210"/>
                  </a:lnTo>
                  <a:lnTo>
                    <a:pt x="227" y="210"/>
                  </a:lnTo>
                  <a:lnTo>
                    <a:pt x="227" y="211"/>
                  </a:lnTo>
                  <a:lnTo>
                    <a:pt x="228" y="211"/>
                  </a:lnTo>
                  <a:lnTo>
                    <a:pt x="229" y="211"/>
                  </a:lnTo>
                  <a:lnTo>
                    <a:pt x="230" y="211"/>
                  </a:lnTo>
                  <a:lnTo>
                    <a:pt x="232" y="211"/>
                  </a:lnTo>
                  <a:lnTo>
                    <a:pt x="233" y="210"/>
                  </a:lnTo>
                  <a:lnTo>
                    <a:pt x="232" y="210"/>
                  </a:lnTo>
                  <a:lnTo>
                    <a:pt x="232" y="208"/>
                  </a:lnTo>
                  <a:lnTo>
                    <a:pt x="230" y="210"/>
                  </a:lnTo>
                  <a:lnTo>
                    <a:pt x="230" y="208"/>
                  </a:lnTo>
                  <a:lnTo>
                    <a:pt x="230" y="207"/>
                  </a:lnTo>
                  <a:lnTo>
                    <a:pt x="230" y="206"/>
                  </a:lnTo>
                  <a:lnTo>
                    <a:pt x="229" y="206"/>
                  </a:lnTo>
                  <a:lnTo>
                    <a:pt x="228" y="205"/>
                  </a:lnTo>
                  <a:lnTo>
                    <a:pt x="228" y="204"/>
                  </a:lnTo>
                  <a:lnTo>
                    <a:pt x="227" y="204"/>
                  </a:lnTo>
                  <a:lnTo>
                    <a:pt x="226" y="204"/>
                  </a:lnTo>
                  <a:lnTo>
                    <a:pt x="226" y="202"/>
                  </a:lnTo>
                  <a:lnTo>
                    <a:pt x="227" y="201"/>
                  </a:lnTo>
                  <a:lnTo>
                    <a:pt x="228" y="201"/>
                  </a:lnTo>
                  <a:lnTo>
                    <a:pt x="228" y="202"/>
                  </a:lnTo>
                  <a:lnTo>
                    <a:pt x="228" y="204"/>
                  </a:lnTo>
                  <a:lnTo>
                    <a:pt x="229" y="204"/>
                  </a:lnTo>
                  <a:lnTo>
                    <a:pt x="230" y="204"/>
                  </a:lnTo>
                  <a:lnTo>
                    <a:pt x="230" y="202"/>
                  </a:lnTo>
                  <a:lnTo>
                    <a:pt x="232" y="202"/>
                  </a:lnTo>
                  <a:lnTo>
                    <a:pt x="233" y="204"/>
                  </a:lnTo>
                  <a:lnTo>
                    <a:pt x="234" y="204"/>
                  </a:lnTo>
                  <a:lnTo>
                    <a:pt x="234" y="205"/>
                  </a:lnTo>
                  <a:lnTo>
                    <a:pt x="235" y="205"/>
                  </a:lnTo>
                  <a:lnTo>
                    <a:pt x="236" y="205"/>
                  </a:lnTo>
                  <a:lnTo>
                    <a:pt x="236" y="204"/>
                  </a:lnTo>
                  <a:lnTo>
                    <a:pt x="238" y="202"/>
                  </a:lnTo>
                  <a:lnTo>
                    <a:pt x="236" y="204"/>
                  </a:lnTo>
                  <a:lnTo>
                    <a:pt x="236" y="202"/>
                  </a:lnTo>
                  <a:lnTo>
                    <a:pt x="235" y="201"/>
                  </a:lnTo>
                  <a:lnTo>
                    <a:pt x="235" y="202"/>
                  </a:lnTo>
                  <a:lnTo>
                    <a:pt x="234" y="201"/>
                  </a:lnTo>
                  <a:lnTo>
                    <a:pt x="235" y="201"/>
                  </a:lnTo>
                  <a:lnTo>
                    <a:pt x="236" y="200"/>
                  </a:lnTo>
                  <a:lnTo>
                    <a:pt x="236" y="199"/>
                  </a:lnTo>
                  <a:lnTo>
                    <a:pt x="236" y="198"/>
                  </a:lnTo>
                  <a:lnTo>
                    <a:pt x="235" y="198"/>
                  </a:lnTo>
                  <a:lnTo>
                    <a:pt x="234" y="198"/>
                  </a:lnTo>
                  <a:lnTo>
                    <a:pt x="233" y="198"/>
                  </a:lnTo>
                  <a:lnTo>
                    <a:pt x="230" y="196"/>
                  </a:lnTo>
                  <a:lnTo>
                    <a:pt x="230" y="195"/>
                  </a:lnTo>
                  <a:lnTo>
                    <a:pt x="230" y="194"/>
                  </a:lnTo>
                  <a:lnTo>
                    <a:pt x="229" y="194"/>
                  </a:lnTo>
                  <a:lnTo>
                    <a:pt x="228" y="193"/>
                  </a:lnTo>
                  <a:lnTo>
                    <a:pt x="227" y="192"/>
                  </a:lnTo>
                  <a:lnTo>
                    <a:pt x="227" y="190"/>
                  </a:lnTo>
                  <a:lnTo>
                    <a:pt x="226" y="190"/>
                  </a:lnTo>
                  <a:lnTo>
                    <a:pt x="224" y="190"/>
                  </a:lnTo>
                  <a:lnTo>
                    <a:pt x="224" y="188"/>
                  </a:lnTo>
                  <a:lnTo>
                    <a:pt x="223" y="187"/>
                  </a:lnTo>
                  <a:lnTo>
                    <a:pt x="223" y="188"/>
                  </a:lnTo>
                  <a:lnTo>
                    <a:pt x="222" y="187"/>
                  </a:lnTo>
                  <a:lnTo>
                    <a:pt x="222" y="188"/>
                  </a:lnTo>
                  <a:lnTo>
                    <a:pt x="221" y="187"/>
                  </a:lnTo>
                  <a:lnTo>
                    <a:pt x="220" y="186"/>
                  </a:lnTo>
                  <a:lnTo>
                    <a:pt x="220" y="187"/>
                  </a:lnTo>
                  <a:lnTo>
                    <a:pt x="218" y="187"/>
                  </a:lnTo>
                  <a:lnTo>
                    <a:pt x="217" y="186"/>
                  </a:lnTo>
                  <a:lnTo>
                    <a:pt x="217" y="187"/>
                  </a:lnTo>
                  <a:lnTo>
                    <a:pt x="217" y="186"/>
                  </a:lnTo>
                  <a:lnTo>
                    <a:pt x="216" y="184"/>
                  </a:lnTo>
                  <a:lnTo>
                    <a:pt x="215" y="184"/>
                  </a:lnTo>
                  <a:lnTo>
                    <a:pt x="215" y="183"/>
                  </a:lnTo>
                  <a:lnTo>
                    <a:pt x="214" y="182"/>
                  </a:lnTo>
                  <a:lnTo>
                    <a:pt x="214" y="183"/>
                  </a:lnTo>
                  <a:lnTo>
                    <a:pt x="214" y="182"/>
                  </a:lnTo>
                  <a:lnTo>
                    <a:pt x="212" y="182"/>
                  </a:lnTo>
                  <a:lnTo>
                    <a:pt x="212" y="181"/>
                  </a:lnTo>
                  <a:lnTo>
                    <a:pt x="211" y="181"/>
                  </a:lnTo>
                  <a:lnTo>
                    <a:pt x="212" y="180"/>
                  </a:lnTo>
                  <a:lnTo>
                    <a:pt x="211" y="178"/>
                  </a:lnTo>
                  <a:lnTo>
                    <a:pt x="212" y="178"/>
                  </a:lnTo>
                  <a:lnTo>
                    <a:pt x="214" y="178"/>
                  </a:lnTo>
                  <a:lnTo>
                    <a:pt x="214" y="180"/>
                  </a:lnTo>
                  <a:lnTo>
                    <a:pt x="215" y="180"/>
                  </a:lnTo>
                  <a:lnTo>
                    <a:pt x="216" y="180"/>
                  </a:lnTo>
                  <a:lnTo>
                    <a:pt x="217" y="180"/>
                  </a:lnTo>
                  <a:lnTo>
                    <a:pt x="218" y="180"/>
                  </a:lnTo>
                  <a:lnTo>
                    <a:pt x="220" y="181"/>
                  </a:lnTo>
                  <a:lnTo>
                    <a:pt x="221" y="181"/>
                  </a:lnTo>
                  <a:lnTo>
                    <a:pt x="222" y="181"/>
                  </a:lnTo>
                  <a:lnTo>
                    <a:pt x="223" y="181"/>
                  </a:lnTo>
                  <a:lnTo>
                    <a:pt x="223" y="182"/>
                  </a:lnTo>
                  <a:lnTo>
                    <a:pt x="224" y="182"/>
                  </a:lnTo>
                  <a:lnTo>
                    <a:pt x="226" y="182"/>
                  </a:lnTo>
                  <a:lnTo>
                    <a:pt x="227" y="183"/>
                  </a:lnTo>
                  <a:lnTo>
                    <a:pt x="228" y="183"/>
                  </a:lnTo>
                  <a:lnTo>
                    <a:pt x="229" y="184"/>
                  </a:lnTo>
                  <a:lnTo>
                    <a:pt x="232" y="186"/>
                  </a:lnTo>
                  <a:lnTo>
                    <a:pt x="233" y="187"/>
                  </a:lnTo>
                  <a:lnTo>
                    <a:pt x="234" y="188"/>
                  </a:lnTo>
                  <a:lnTo>
                    <a:pt x="233" y="188"/>
                  </a:lnTo>
                  <a:lnTo>
                    <a:pt x="232" y="188"/>
                  </a:lnTo>
                  <a:lnTo>
                    <a:pt x="233" y="188"/>
                  </a:lnTo>
                  <a:lnTo>
                    <a:pt x="233" y="189"/>
                  </a:lnTo>
                  <a:lnTo>
                    <a:pt x="232" y="189"/>
                  </a:lnTo>
                  <a:lnTo>
                    <a:pt x="232" y="190"/>
                  </a:lnTo>
                  <a:lnTo>
                    <a:pt x="233" y="192"/>
                  </a:lnTo>
                  <a:lnTo>
                    <a:pt x="232" y="192"/>
                  </a:lnTo>
                  <a:lnTo>
                    <a:pt x="232" y="193"/>
                  </a:lnTo>
                  <a:lnTo>
                    <a:pt x="232" y="194"/>
                  </a:lnTo>
                  <a:lnTo>
                    <a:pt x="232" y="195"/>
                  </a:lnTo>
                  <a:lnTo>
                    <a:pt x="233" y="195"/>
                  </a:lnTo>
                  <a:lnTo>
                    <a:pt x="234" y="195"/>
                  </a:lnTo>
                  <a:lnTo>
                    <a:pt x="234" y="194"/>
                  </a:lnTo>
                  <a:lnTo>
                    <a:pt x="235" y="194"/>
                  </a:lnTo>
                  <a:lnTo>
                    <a:pt x="235" y="196"/>
                  </a:lnTo>
                  <a:lnTo>
                    <a:pt x="235" y="198"/>
                  </a:lnTo>
                  <a:lnTo>
                    <a:pt x="236" y="198"/>
                  </a:lnTo>
                  <a:lnTo>
                    <a:pt x="236" y="199"/>
                  </a:lnTo>
                  <a:lnTo>
                    <a:pt x="238" y="199"/>
                  </a:lnTo>
                  <a:lnTo>
                    <a:pt x="236" y="199"/>
                  </a:lnTo>
                  <a:lnTo>
                    <a:pt x="238" y="199"/>
                  </a:lnTo>
                  <a:lnTo>
                    <a:pt x="238" y="200"/>
                  </a:lnTo>
                  <a:lnTo>
                    <a:pt x="238" y="201"/>
                  </a:lnTo>
                  <a:lnTo>
                    <a:pt x="239" y="200"/>
                  </a:lnTo>
                  <a:lnTo>
                    <a:pt x="240" y="201"/>
                  </a:lnTo>
                  <a:lnTo>
                    <a:pt x="241" y="201"/>
                  </a:lnTo>
                  <a:lnTo>
                    <a:pt x="241" y="202"/>
                  </a:lnTo>
                  <a:lnTo>
                    <a:pt x="242" y="201"/>
                  </a:lnTo>
                  <a:lnTo>
                    <a:pt x="244" y="201"/>
                  </a:lnTo>
                  <a:lnTo>
                    <a:pt x="244" y="200"/>
                  </a:lnTo>
                  <a:lnTo>
                    <a:pt x="242" y="200"/>
                  </a:lnTo>
                  <a:lnTo>
                    <a:pt x="242" y="199"/>
                  </a:lnTo>
                  <a:lnTo>
                    <a:pt x="242" y="200"/>
                  </a:lnTo>
                  <a:lnTo>
                    <a:pt x="242" y="199"/>
                  </a:lnTo>
                  <a:lnTo>
                    <a:pt x="242" y="198"/>
                  </a:lnTo>
                  <a:lnTo>
                    <a:pt x="244" y="198"/>
                  </a:lnTo>
                  <a:lnTo>
                    <a:pt x="245" y="196"/>
                  </a:lnTo>
                  <a:lnTo>
                    <a:pt x="246" y="196"/>
                  </a:lnTo>
                  <a:lnTo>
                    <a:pt x="246" y="198"/>
                  </a:lnTo>
                  <a:lnTo>
                    <a:pt x="247" y="199"/>
                  </a:lnTo>
                  <a:lnTo>
                    <a:pt x="247" y="201"/>
                  </a:lnTo>
                  <a:lnTo>
                    <a:pt x="248" y="201"/>
                  </a:lnTo>
                  <a:lnTo>
                    <a:pt x="250" y="202"/>
                  </a:lnTo>
                  <a:lnTo>
                    <a:pt x="250" y="204"/>
                  </a:lnTo>
                  <a:lnTo>
                    <a:pt x="250" y="205"/>
                  </a:lnTo>
                  <a:lnTo>
                    <a:pt x="251" y="205"/>
                  </a:lnTo>
                  <a:lnTo>
                    <a:pt x="252" y="206"/>
                  </a:lnTo>
                  <a:lnTo>
                    <a:pt x="253" y="206"/>
                  </a:lnTo>
                  <a:lnTo>
                    <a:pt x="253" y="205"/>
                  </a:lnTo>
                  <a:lnTo>
                    <a:pt x="254" y="204"/>
                  </a:lnTo>
                  <a:lnTo>
                    <a:pt x="256" y="204"/>
                  </a:lnTo>
                  <a:lnTo>
                    <a:pt x="257" y="205"/>
                  </a:lnTo>
                  <a:lnTo>
                    <a:pt x="257" y="206"/>
                  </a:lnTo>
                  <a:lnTo>
                    <a:pt x="258" y="206"/>
                  </a:lnTo>
                  <a:lnTo>
                    <a:pt x="258" y="207"/>
                  </a:lnTo>
                  <a:lnTo>
                    <a:pt x="257" y="207"/>
                  </a:lnTo>
                  <a:lnTo>
                    <a:pt x="258" y="207"/>
                  </a:lnTo>
                  <a:lnTo>
                    <a:pt x="257" y="208"/>
                  </a:lnTo>
                  <a:lnTo>
                    <a:pt x="258" y="208"/>
                  </a:lnTo>
                  <a:lnTo>
                    <a:pt x="259" y="207"/>
                  </a:lnTo>
                  <a:lnTo>
                    <a:pt x="259" y="208"/>
                  </a:lnTo>
                  <a:lnTo>
                    <a:pt x="258" y="210"/>
                  </a:lnTo>
                  <a:lnTo>
                    <a:pt x="259" y="210"/>
                  </a:lnTo>
                  <a:lnTo>
                    <a:pt x="260" y="210"/>
                  </a:lnTo>
                  <a:lnTo>
                    <a:pt x="262" y="208"/>
                  </a:lnTo>
                  <a:lnTo>
                    <a:pt x="260" y="208"/>
                  </a:lnTo>
                  <a:lnTo>
                    <a:pt x="262" y="208"/>
                  </a:lnTo>
                  <a:lnTo>
                    <a:pt x="262" y="207"/>
                  </a:lnTo>
                  <a:lnTo>
                    <a:pt x="262" y="208"/>
                  </a:lnTo>
                  <a:lnTo>
                    <a:pt x="263" y="208"/>
                  </a:lnTo>
                  <a:lnTo>
                    <a:pt x="263" y="210"/>
                  </a:lnTo>
                  <a:lnTo>
                    <a:pt x="264" y="210"/>
                  </a:lnTo>
                  <a:lnTo>
                    <a:pt x="264" y="211"/>
                  </a:lnTo>
                  <a:lnTo>
                    <a:pt x="265" y="212"/>
                  </a:lnTo>
                  <a:lnTo>
                    <a:pt x="264" y="212"/>
                  </a:lnTo>
                  <a:lnTo>
                    <a:pt x="264" y="213"/>
                  </a:lnTo>
                  <a:lnTo>
                    <a:pt x="265" y="213"/>
                  </a:lnTo>
                  <a:lnTo>
                    <a:pt x="265" y="214"/>
                  </a:lnTo>
                  <a:lnTo>
                    <a:pt x="267" y="216"/>
                  </a:lnTo>
                  <a:lnTo>
                    <a:pt x="268" y="216"/>
                  </a:lnTo>
                  <a:lnTo>
                    <a:pt x="268" y="214"/>
                  </a:lnTo>
                  <a:lnTo>
                    <a:pt x="269" y="214"/>
                  </a:lnTo>
                  <a:lnTo>
                    <a:pt x="270" y="213"/>
                  </a:lnTo>
                  <a:lnTo>
                    <a:pt x="269" y="213"/>
                  </a:lnTo>
                  <a:lnTo>
                    <a:pt x="270" y="213"/>
                  </a:lnTo>
                  <a:lnTo>
                    <a:pt x="271" y="213"/>
                  </a:lnTo>
                  <a:lnTo>
                    <a:pt x="273" y="214"/>
                  </a:lnTo>
                  <a:lnTo>
                    <a:pt x="273" y="213"/>
                  </a:lnTo>
                  <a:lnTo>
                    <a:pt x="274" y="213"/>
                  </a:lnTo>
                  <a:lnTo>
                    <a:pt x="275" y="213"/>
                  </a:lnTo>
                  <a:lnTo>
                    <a:pt x="276" y="212"/>
                  </a:lnTo>
                  <a:lnTo>
                    <a:pt x="276" y="213"/>
                  </a:lnTo>
                  <a:lnTo>
                    <a:pt x="277" y="212"/>
                  </a:lnTo>
                  <a:lnTo>
                    <a:pt x="276" y="212"/>
                  </a:lnTo>
                  <a:lnTo>
                    <a:pt x="276" y="211"/>
                  </a:lnTo>
                  <a:lnTo>
                    <a:pt x="277" y="211"/>
                  </a:lnTo>
                  <a:lnTo>
                    <a:pt x="280" y="210"/>
                  </a:lnTo>
                  <a:lnTo>
                    <a:pt x="279" y="208"/>
                  </a:lnTo>
                  <a:lnTo>
                    <a:pt x="277" y="208"/>
                  </a:lnTo>
                  <a:lnTo>
                    <a:pt x="279" y="207"/>
                  </a:lnTo>
                  <a:lnTo>
                    <a:pt x="279" y="206"/>
                  </a:lnTo>
                  <a:lnTo>
                    <a:pt x="280" y="205"/>
                  </a:lnTo>
                  <a:lnTo>
                    <a:pt x="279" y="205"/>
                  </a:lnTo>
                  <a:lnTo>
                    <a:pt x="279" y="204"/>
                  </a:lnTo>
                  <a:lnTo>
                    <a:pt x="279" y="205"/>
                  </a:lnTo>
                  <a:lnTo>
                    <a:pt x="277" y="204"/>
                  </a:lnTo>
                  <a:lnTo>
                    <a:pt x="276" y="204"/>
                  </a:lnTo>
                  <a:lnTo>
                    <a:pt x="275" y="204"/>
                  </a:lnTo>
                  <a:lnTo>
                    <a:pt x="275" y="202"/>
                  </a:lnTo>
                  <a:lnTo>
                    <a:pt x="276" y="204"/>
                  </a:lnTo>
                  <a:lnTo>
                    <a:pt x="276" y="202"/>
                  </a:lnTo>
                  <a:lnTo>
                    <a:pt x="277" y="202"/>
                  </a:lnTo>
                  <a:lnTo>
                    <a:pt x="279" y="201"/>
                  </a:lnTo>
                  <a:lnTo>
                    <a:pt x="277" y="200"/>
                  </a:lnTo>
                  <a:lnTo>
                    <a:pt x="276" y="200"/>
                  </a:lnTo>
                  <a:lnTo>
                    <a:pt x="274" y="200"/>
                  </a:lnTo>
                  <a:lnTo>
                    <a:pt x="275" y="199"/>
                  </a:lnTo>
                  <a:lnTo>
                    <a:pt x="275" y="198"/>
                  </a:lnTo>
                  <a:lnTo>
                    <a:pt x="274" y="199"/>
                  </a:lnTo>
                  <a:lnTo>
                    <a:pt x="273" y="199"/>
                  </a:lnTo>
                  <a:lnTo>
                    <a:pt x="271" y="196"/>
                  </a:lnTo>
                  <a:lnTo>
                    <a:pt x="271" y="195"/>
                  </a:lnTo>
                  <a:lnTo>
                    <a:pt x="270" y="194"/>
                  </a:lnTo>
                  <a:lnTo>
                    <a:pt x="269" y="195"/>
                  </a:lnTo>
                  <a:lnTo>
                    <a:pt x="269" y="193"/>
                  </a:lnTo>
                  <a:lnTo>
                    <a:pt x="270" y="192"/>
                  </a:lnTo>
                  <a:lnTo>
                    <a:pt x="270" y="190"/>
                  </a:lnTo>
                  <a:lnTo>
                    <a:pt x="269" y="189"/>
                  </a:lnTo>
                  <a:lnTo>
                    <a:pt x="269" y="190"/>
                  </a:lnTo>
                  <a:lnTo>
                    <a:pt x="268" y="190"/>
                  </a:lnTo>
                  <a:lnTo>
                    <a:pt x="267" y="189"/>
                  </a:lnTo>
                  <a:lnTo>
                    <a:pt x="265" y="188"/>
                  </a:lnTo>
                  <a:lnTo>
                    <a:pt x="264" y="188"/>
                  </a:lnTo>
                  <a:lnTo>
                    <a:pt x="263" y="188"/>
                  </a:lnTo>
                  <a:lnTo>
                    <a:pt x="263" y="187"/>
                  </a:lnTo>
                  <a:lnTo>
                    <a:pt x="264" y="186"/>
                  </a:lnTo>
                  <a:lnTo>
                    <a:pt x="264" y="184"/>
                  </a:lnTo>
                  <a:lnTo>
                    <a:pt x="263" y="184"/>
                  </a:lnTo>
                  <a:lnTo>
                    <a:pt x="262" y="184"/>
                  </a:lnTo>
                  <a:lnTo>
                    <a:pt x="262" y="186"/>
                  </a:lnTo>
                  <a:lnTo>
                    <a:pt x="262" y="184"/>
                  </a:lnTo>
                  <a:lnTo>
                    <a:pt x="260" y="184"/>
                  </a:lnTo>
                  <a:lnTo>
                    <a:pt x="259" y="184"/>
                  </a:lnTo>
                  <a:lnTo>
                    <a:pt x="258" y="184"/>
                  </a:lnTo>
                  <a:lnTo>
                    <a:pt x="258" y="186"/>
                  </a:lnTo>
                  <a:lnTo>
                    <a:pt x="258" y="184"/>
                  </a:lnTo>
                  <a:lnTo>
                    <a:pt x="257" y="184"/>
                  </a:lnTo>
                  <a:lnTo>
                    <a:pt x="257" y="183"/>
                  </a:lnTo>
                  <a:lnTo>
                    <a:pt x="256" y="183"/>
                  </a:lnTo>
                  <a:lnTo>
                    <a:pt x="256" y="182"/>
                  </a:lnTo>
                  <a:lnTo>
                    <a:pt x="257" y="182"/>
                  </a:lnTo>
                  <a:lnTo>
                    <a:pt x="257" y="181"/>
                  </a:lnTo>
                  <a:lnTo>
                    <a:pt x="256" y="181"/>
                  </a:lnTo>
                  <a:lnTo>
                    <a:pt x="256" y="180"/>
                  </a:lnTo>
                  <a:lnTo>
                    <a:pt x="254" y="180"/>
                  </a:lnTo>
                  <a:lnTo>
                    <a:pt x="254" y="178"/>
                  </a:lnTo>
                  <a:lnTo>
                    <a:pt x="253" y="177"/>
                  </a:lnTo>
                  <a:lnTo>
                    <a:pt x="252" y="176"/>
                  </a:lnTo>
                  <a:lnTo>
                    <a:pt x="252" y="175"/>
                  </a:lnTo>
                  <a:lnTo>
                    <a:pt x="251" y="175"/>
                  </a:lnTo>
                  <a:lnTo>
                    <a:pt x="250" y="174"/>
                  </a:lnTo>
                  <a:lnTo>
                    <a:pt x="251" y="174"/>
                  </a:lnTo>
                  <a:lnTo>
                    <a:pt x="251" y="172"/>
                  </a:lnTo>
                  <a:lnTo>
                    <a:pt x="252" y="172"/>
                  </a:lnTo>
                  <a:lnTo>
                    <a:pt x="252" y="171"/>
                  </a:lnTo>
                  <a:lnTo>
                    <a:pt x="251" y="170"/>
                  </a:lnTo>
                  <a:lnTo>
                    <a:pt x="252" y="170"/>
                  </a:lnTo>
                  <a:lnTo>
                    <a:pt x="253" y="170"/>
                  </a:lnTo>
                  <a:lnTo>
                    <a:pt x="253" y="169"/>
                  </a:lnTo>
                  <a:lnTo>
                    <a:pt x="254" y="169"/>
                  </a:lnTo>
                  <a:lnTo>
                    <a:pt x="256" y="169"/>
                  </a:lnTo>
                  <a:lnTo>
                    <a:pt x="256" y="168"/>
                  </a:lnTo>
                  <a:lnTo>
                    <a:pt x="256" y="166"/>
                  </a:lnTo>
                  <a:lnTo>
                    <a:pt x="257" y="166"/>
                  </a:lnTo>
                  <a:lnTo>
                    <a:pt x="258" y="166"/>
                  </a:lnTo>
                  <a:lnTo>
                    <a:pt x="259" y="166"/>
                  </a:lnTo>
                  <a:lnTo>
                    <a:pt x="259" y="165"/>
                  </a:lnTo>
                  <a:lnTo>
                    <a:pt x="259" y="164"/>
                  </a:lnTo>
                  <a:lnTo>
                    <a:pt x="258" y="164"/>
                  </a:lnTo>
                  <a:lnTo>
                    <a:pt x="259" y="164"/>
                  </a:lnTo>
                  <a:lnTo>
                    <a:pt x="260" y="164"/>
                  </a:lnTo>
                  <a:lnTo>
                    <a:pt x="260" y="165"/>
                  </a:lnTo>
                  <a:lnTo>
                    <a:pt x="260" y="166"/>
                  </a:lnTo>
                  <a:lnTo>
                    <a:pt x="262" y="166"/>
                  </a:lnTo>
                  <a:lnTo>
                    <a:pt x="260" y="166"/>
                  </a:lnTo>
                  <a:lnTo>
                    <a:pt x="260" y="168"/>
                  </a:lnTo>
                  <a:lnTo>
                    <a:pt x="262" y="168"/>
                  </a:lnTo>
                  <a:lnTo>
                    <a:pt x="262" y="169"/>
                  </a:lnTo>
                  <a:lnTo>
                    <a:pt x="263" y="170"/>
                  </a:lnTo>
                  <a:lnTo>
                    <a:pt x="264" y="170"/>
                  </a:lnTo>
                  <a:lnTo>
                    <a:pt x="265" y="170"/>
                  </a:lnTo>
                  <a:lnTo>
                    <a:pt x="267" y="170"/>
                  </a:lnTo>
                  <a:lnTo>
                    <a:pt x="267" y="171"/>
                  </a:lnTo>
                  <a:lnTo>
                    <a:pt x="268" y="172"/>
                  </a:lnTo>
                  <a:lnTo>
                    <a:pt x="268" y="171"/>
                  </a:lnTo>
                  <a:lnTo>
                    <a:pt x="268" y="172"/>
                  </a:lnTo>
                  <a:lnTo>
                    <a:pt x="269" y="172"/>
                  </a:lnTo>
                  <a:lnTo>
                    <a:pt x="270" y="172"/>
                  </a:lnTo>
                  <a:lnTo>
                    <a:pt x="271" y="174"/>
                  </a:lnTo>
                  <a:lnTo>
                    <a:pt x="274" y="175"/>
                  </a:lnTo>
                  <a:lnTo>
                    <a:pt x="275" y="175"/>
                  </a:lnTo>
                  <a:lnTo>
                    <a:pt x="276" y="175"/>
                  </a:lnTo>
                  <a:lnTo>
                    <a:pt x="277" y="175"/>
                  </a:lnTo>
                  <a:lnTo>
                    <a:pt x="279" y="175"/>
                  </a:lnTo>
                  <a:lnTo>
                    <a:pt x="280" y="175"/>
                  </a:lnTo>
                  <a:lnTo>
                    <a:pt x="281" y="175"/>
                  </a:lnTo>
                  <a:lnTo>
                    <a:pt x="281" y="174"/>
                  </a:lnTo>
                  <a:lnTo>
                    <a:pt x="282" y="172"/>
                  </a:lnTo>
                  <a:lnTo>
                    <a:pt x="283" y="172"/>
                  </a:lnTo>
                  <a:lnTo>
                    <a:pt x="285" y="171"/>
                  </a:lnTo>
                  <a:lnTo>
                    <a:pt x="286" y="171"/>
                  </a:lnTo>
                  <a:lnTo>
                    <a:pt x="287" y="171"/>
                  </a:lnTo>
                  <a:lnTo>
                    <a:pt x="288" y="171"/>
                  </a:lnTo>
                  <a:lnTo>
                    <a:pt x="287" y="170"/>
                  </a:lnTo>
                  <a:lnTo>
                    <a:pt x="288" y="169"/>
                  </a:lnTo>
                  <a:lnTo>
                    <a:pt x="289" y="169"/>
                  </a:lnTo>
                  <a:lnTo>
                    <a:pt x="291" y="169"/>
                  </a:lnTo>
                  <a:lnTo>
                    <a:pt x="292" y="169"/>
                  </a:lnTo>
                  <a:lnTo>
                    <a:pt x="292" y="168"/>
                  </a:lnTo>
                  <a:lnTo>
                    <a:pt x="293" y="168"/>
                  </a:lnTo>
                  <a:lnTo>
                    <a:pt x="293" y="166"/>
                  </a:lnTo>
                  <a:lnTo>
                    <a:pt x="294" y="166"/>
                  </a:lnTo>
                  <a:lnTo>
                    <a:pt x="294" y="165"/>
                  </a:lnTo>
                  <a:lnTo>
                    <a:pt x="293" y="165"/>
                  </a:lnTo>
                  <a:lnTo>
                    <a:pt x="293" y="164"/>
                  </a:lnTo>
                  <a:lnTo>
                    <a:pt x="293" y="163"/>
                  </a:lnTo>
                  <a:lnTo>
                    <a:pt x="294" y="163"/>
                  </a:lnTo>
                  <a:lnTo>
                    <a:pt x="293" y="162"/>
                  </a:lnTo>
                  <a:lnTo>
                    <a:pt x="292" y="162"/>
                  </a:lnTo>
                  <a:lnTo>
                    <a:pt x="293" y="162"/>
                  </a:lnTo>
                  <a:lnTo>
                    <a:pt x="294" y="162"/>
                  </a:lnTo>
                  <a:lnTo>
                    <a:pt x="295" y="163"/>
                  </a:lnTo>
                  <a:lnTo>
                    <a:pt x="295" y="164"/>
                  </a:lnTo>
                  <a:lnTo>
                    <a:pt x="297" y="164"/>
                  </a:lnTo>
                  <a:lnTo>
                    <a:pt x="298" y="164"/>
                  </a:lnTo>
                  <a:lnTo>
                    <a:pt x="299" y="164"/>
                  </a:lnTo>
                  <a:lnTo>
                    <a:pt x="300" y="164"/>
                  </a:lnTo>
                  <a:lnTo>
                    <a:pt x="301" y="164"/>
                  </a:lnTo>
                  <a:lnTo>
                    <a:pt x="303" y="162"/>
                  </a:lnTo>
                  <a:lnTo>
                    <a:pt x="303" y="160"/>
                  </a:lnTo>
                  <a:lnTo>
                    <a:pt x="305" y="158"/>
                  </a:lnTo>
                  <a:lnTo>
                    <a:pt x="304" y="158"/>
                  </a:lnTo>
                  <a:lnTo>
                    <a:pt x="305" y="157"/>
                  </a:lnTo>
                  <a:lnTo>
                    <a:pt x="305" y="154"/>
                  </a:lnTo>
                  <a:lnTo>
                    <a:pt x="304" y="154"/>
                  </a:lnTo>
                  <a:lnTo>
                    <a:pt x="303" y="1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6" name="Freeform 69"/>
            <p:cNvSpPr>
              <a:spLocks/>
            </p:cNvSpPr>
            <p:nvPr userDrawn="1"/>
          </p:nvSpPr>
          <p:spPr bwMode="auto">
            <a:xfrm>
              <a:off x="5962650" y="6515101"/>
              <a:ext cx="2976563" cy="144463"/>
            </a:xfrm>
            <a:custGeom>
              <a:avLst/>
              <a:gdLst/>
              <a:ahLst/>
              <a:cxnLst>
                <a:cxn ang="0">
                  <a:pos x="25" y="436"/>
                </a:cxn>
                <a:cxn ang="0">
                  <a:pos x="154" y="358"/>
                </a:cxn>
                <a:cxn ang="0">
                  <a:pos x="302" y="286"/>
                </a:cxn>
                <a:cxn ang="0">
                  <a:pos x="395" y="246"/>
                </a:cxn>
                <a:cxn ang="0">
                  <a:pos x="556" y="188"/>
                </a:cxn>
                <a:cxn ang="0">
                  <a:pos x="680" y="150"/>
                </a:cxn>
                <a:cxn ang="0">
                  <a:pos x="888" y="99"/>
                </a:cxn>
                <a:cxn ang="0">
                  <a:pos x="1042" y="71"/>
                </a:cxn>
                <a:cxn ang="0">
                  <a:pos x="1208" y="47"/>
                </a:cxn>
                <a:cxn ang="0">
                  <a:pos x="1387" y="30"/>
                </a:cxn>
                <a:cxn ang="0">
                  <a:pos x="1577" y="21"/>
                </a:cxn>
                <a:cxn ang="0">
                  <a:pos x="2005" y="19"/>
                </a:cxn>
                <a:cxn ang="0">
                  <a:pos x="2476" y="27"/>
                </a:cxn>
                <a:cxn ang="0">
                  <a:pos x="2960" y="44"/>
                </a:cxn>
                <a:cxn ang="0">
                  <a:pos x="3842" y="86"/>
                </a:cxn>
                <a:cxn ang="0">
                  <a:pos x="4485" y="126"/>
                </a:cxn>
                <a:cxn ang="0">
                  <a:pos x="4908" y="114"/>
                </a:cxn>
                <a:cxn ang="0">
                  <a:pos x="5281" y="99"/>
                </a:cxn>
                <a:cxn ang="0">
                  <a:pos x="5621" y="78"/>
                </a:cxn>
                <a:cxn ang="0">
                  <a:pos x="6421" y="17"/>
                </a:cxn>
                <a:cxn ang="0">
                  <a:pos x="6840" y="0"/>
                </a:cxn>
                <a:cxn ang="0">
                  <a:pos x="7011" y="1"/>
                </a:cxn>
                <a:cxn ang="0">
                  <a:pos x="7112" y="8"/>
                </a:cxn>
                <a:cxn ang="0">
                  <a:pos x="7541" y="77"/>
                </a:cxn>
                <a:cxn ang="0">
                  <a:pos x="8314" y="210"/>
                </a:cxn>
                <a:cxn ang="0">
                  <a:pos x="8947" y="326"/>
                </a:cxn>
                <a:cxn ang="0">
                  <a:pos x="9373" y="407"/>
                </a:cxn>
                <a:cxn ang="0">
                  <a:pos x="8201" y="412"/>
                </a:cxn>
                <a:cxn ang="0">
                  <a:pos x="7029" y="418"/>
                </a:cxn>
                <a:cxn ang="0">
                  <a:pos x="5858" y="424"/>
                </a:cxn>
                <a:cxn ang="0">
                  <a:pos x="4686" y="430"/>
                </a:cxn>
                <a:cxn ang="0">
                  <a:pos x="3515" y="435"/>
                </a:cxn>
                <a:cxn ang="0">
                  <a:pos x="2343" y="441"/>
                </a:cxn>
                <a:cxn ang="0">
                  <a:pos x="1172" y="447"/>
                </a:cxn>
                <a:cxn ang="0">
                  <a:pos x="0" y="453"/>
                </a:cxn>
              </a:cxnLst>
              <a:rect l="0" t="0" r="r" b="b"/>
              <a:pathLst>
                <a:path w="9373" h="453">
                  <a:moveTo>
                    <a:pt x="0" y="453"/>
                  </a:moveTo>
                  <a:lnTo>
                    <a:pt x="25" y="436"/>
                  </a:lnTo>
                  <a:lnTo>
                    <a:pt x="99" y="389"/>
                  </a:lnTo>
                  <a:lnTo>
                    <a:pt x="154" y="358"/>
                  </a:lnTo>
                  <a:lnTo>
                    <a:pt x="223" y="323"/>
                  </a:lnTo>
                  <a:lnTo>
                    <a:pt x="302" y="286"/>
                  </a:lnTo>
                  <a:lnTo>
                    <a:pt x="347" y="267"/>
                  </a:lnTo>
                  <a:lnTo>
                    <a:pt x="395" y="246"/>
                  </a:lnTo>
                  <a:lnTo>
                    <a:pt x="500" y="208"/>
                  </a:lnTo>
                  <a:lnTo>
                    <a:pt x="556" y="188"/>
                  </a:lnTo>
                  <a:lnTo>
                    <a:pt x="617" y="169"/>
                  </a:lnTo>
                  <a:lnTo>
                    <a:pt x="680" y="150"/>
                  </a:lnTo>
                  <a:lnTo>
                    <a:pt x="747" y="132"/>
                  </a:lnTo>
                  <a:lnTo>
                    <a:pt x="888" y="99"/>
                  </a:lnTo>
                  <a:lnTo>
                    <a:pt x="963" y="84"/>
                  </a:lnTo>
                  <a:lnTo>
                    <a:pt x="1042" y="71"/>
                  </a:lnTo>
                  <a:lnTo>
                    <a:pt x="1124" y="57"/>
                  </a:lnTo>
                  <a:lnTo>
                    <a:pt x="1208" y="47"/>
                  </a:lnTo>
                  <a:lnTo>
                    <a:pt x="1296" y="38"/>
                  </a:lnTo>
                  <a:lnTo>
                    <a:pt x="1387" y="30"/>
                  </a:lnTo>
                  <a:lnTo>
                    <a:pt x="1481" y="25"/>
                  </a:lnTo>
                  <a:lnTo>
                    <a:pt x="1577" y="21"/>
                  </a:lnTo>
                  <a:lnTo>
                    <a:pt x="1783" y="19"/>
                  </a:lnTo>
                  <a:lnTo>
                    <a:pt x="2005" y="19"/>
                  </a:lnTo>
                  <a:lnTo>
                    <a:pt x="2236" y="23"/>
                  </a:lnTo>
                  <a:lnTo>
                    <a:pt x="2476" y="27"/>
                  </a:lnTo>
                  <a:lnTo>
                    <a:pt x="2718" y="35"/>
                  </a:lnTo>
                  <a:lnTo>
                    <a:pt x="2960" y="44"/>
                  </a:lnTo>
                  <a:lnTo>
                    <a:pt x="3426" y="65"/>
                  </a:lnTo>
                  <a:lnTo>
                    <a:pt x="3842" y="86"/>
                  </a:lnTo>
                  <a:lnTo>
                    <a:pt x="4178" y="107"/>
                  </a:lnTo>
                  <a:lnTo>
                    <a:pt x="4485" y="126"/>
                  </a:lnTo>
                  <a:lnTo>
                    <a:pt x="4608" y="124"/>
                  </a:lnTo>
                  <a:lnTo>
                    <a:pt x="4908" y="114"/>
                  </a:lnTo>
                  <a:lnTo>
                    <a:pt x="5092" y="108"/>
                  </a:lnTo>
                  <a:lnTo>
                    <a:pt x="5281" y="99"/>
                  </a:lnTo>
                  <a:lnTo>
                    <a:pt x="5462" y="89"/>
                  </a:lnTo>
                  <a:lnTo>
                    <a:pt x="5621" y="78"/>
                  </a:lnTo>
                  <a:lnTo>
                    <a:pt x="5982" y="47"/>
                  </a:lnTo>
                  <a:lnTo>
                    <a:pt x="6421" y="17"/>
                  </a:lnTo>
                  <a:lnTo>
                    <a:pt x="6639" y="5"/>
                  </a:lnTo>
                  <a:lnTo>
                    <a:pt x="6840" y="0"/>
                  </a:lnTo>
                  <a:lnTo>
                    <a:pt x="6929" y="0"/>
                  </a:lnTo>
                  <a:lnTo>
                    <a:pt x="7011" y="1"/>
                  </a:lnTo>
                  <a:lnTo>
                    <a:pt x="7081" y="6"/>
                  </a:lnTo>
                  <a:lnTo>
                    <a:pt x="7112" y="8"/>
                  </a:lnTo>
                  <a:lnTo>
                    <a:pt x="7140" y="12"/>
                  </a:lnTo>
                  <a:lnTo>
                    <a:pt x="7541" y="77"/>
                  </a:lnTo>
                  <a:lnTo>
                    <a:pt x="7937" y="144"/>
                  </a:lnTo>
                  <a:lnTo>
                    <a:pt x="8314" y="210"/>
                  </a:lnTo>
                  <a:lnTo>
                    <a:pt x="8656" y="271"/>
                  </a:lnTo>
                  <a:lnTo>
                    <a:pt x="8947" y="326"/>
                  </a:lnTo>
                  <a:lnTo>
                    <a:pt x="9175" y="369"/>
                  </a:lnTo>
                  <a:lnTo>
                    <a:pt x="9373" y="407"/>
                  </a:lnTo>
                  <a:lnTo>
                    <a:pt x="8787" y="410"/>
                  </a:lnTo>
                  <a:lnTo>
                    <a:pt x="8201" y="412"/>
                  </a:lnTo>
                  <a:lnTo>
                    <a:pt x="7614" y="414"/>
                  </a:lnTo>
                  <a:lnTo>
                    <a:pt x="7029" y="418"/>
                  </a:lnTo>
                  <a:lnTo>
                    <a:pt x="6443" y="420"/>
                  </a:lnTo>
                  <a:lnTo>
                    <a:pt x="5858" y="424"/>
                  </a:lnTo>
                  <a:lnTo>
                    <a:pt x="5271" y="426"/>
                  </a:lnTo>
                  <a:lnTo>
                    <a:pt x="4686" y="430"/>
                  </a:lnTo>
                  <a:lnTo>
                    <a:pt x="4100" y="433"/>
                  </a:lnTo>
                  <a:lnTo>
                    <a:pt x="3515" y="435"/>
                  </a:lnTo>
                  <a:lnTo>
                    <a:pt x="2928" y="437"/>
                  </a:lnTo>
                  <a:lnTo>
                    <a:pt x="2343" y="441"/>
                  </a:lnTo>
                  <a:lnTo>
                    <a:pt x="1757" y="443"/>
                  </a:lnTo>
                  <a:lnTo>
                    <a:pt x="1172" y="447"/>
                  </a:lnTo>
                  <a:lnTo>
                    <a:pt x="585" y="449"/>
                  </a:lnTo>
                  <a:lnTo>
                    <a:pt x="0" y="45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7" name="Freeform 70"/>
            <p:cNvSpPr>
              <a:spLocks/>
            </p:cNvSpPr>
            <p:nvPr userDrawn="1"/>
          </p:nvSpPr>
          <p:spPr bwMode="auto">
            <a:xfrm>
              <a:off x="6608763" y="6438901"/>
              <a:ext cx="2020888" cy="225425"/>
            </a:xfrm>
            <a:custGeom>
              <a:avLst/>
              <a:gdLst/>
              <a:ahLst/>
              <a:cxnLst>
                <a:cxn ang="0">
                  <a:pos x="53" y="521"/>
                </a:cxn>
                <a:cxn ang="0">
                  <a:pos x="115" y="517"/>
                </a:cxn>
                <a:cxn ang="0">
                  <a:pos x="205" y="489"/>
                </a:cxn>
                <a:cxn ang="0">
                  <a:pos x="323" y="427"/>
                </a:cxn>
                <a:cxn ang="0">
                  <a:pos x="416" y="380"/>
                </a:cxn>
                <a:cxn ang="0">
                  <a:pos x="480" y="354"/>
                </a:cxn>
                <a:cxn ang="0">
                  <a:pos x="554" y="337"/>
                </a:cxn>
                <a:cxn ang="0">
                  <a:pos x="673" y="330"/>
                </a:cxn>
                <a:cxn ang="0">
                  <a:pos x="923" y="330"/>
                </a:cxn>
                <a:cxn ang="0">
                  <a:pos x="1322" y="341"/>
                </a:cxn>
                <a:cxn ang="0">
                  <a:pos x="1705" y="346"/>
                </a:cxn>
                <a:cxn ang="0">
                  <a:pos x="1948" y="330"/>
                </a:cxn>
                <a:cxn ang="0">
                  <a:pos x="2194" y="296"/>
                </a:cxn>
                <a:cxn ang="0">
                  <a:pos x="3062" y="160"/>
                </a:cxn>
                <a:cxn ang="0">
                  <a:pos x="3779" y="52"/>
                </a:cxn>
                <a:cxn ang="0">
                  <a:pos x="4065" y="16"/>
                </a:cxn>
                <a:cxn ang="0">
                  <a:pos x="4267" y="0"/>
                </a:cxn>
                <a:cxn ang="0">
                  <a:pos x="4399" y="9"/>
                </a:cxn>
                <a:cxn ang="0">
                  <a:pos x="4573" y="35"/>
                </a:cxn>
                <a:cxn ang="0">
                  <a:pos x="4854" y="89"/>
                </a:cxn>
                <a:cxn ang="0">
                  <a:pos x="5322" y="193"/>
                </a:cxn>
                <a:cxn ang="0">
                  <a:pos x="6010" y="349"/>
                </a:cxn>
                <a:cxn ang="0">
                  <a:pos x="6141" y="372"/>
                </a:cxn>
                <a:cxn ang="0">
                  <a:pos x="6197" y="378"/>
                </a:cxn>
                <a:cxn ang="0">
                  <a:pos x="6283" y="374"/>
                </a:cxn>
                <a:cxn ang="0">
                  <a:pos x="6327" y="379"/>
                </a:cxn>
                <a:cxn ang="0">
                  <a:pos x="6354" y="392"/>
                </a:cxn>
                <a:cxn ang="0">
                  <a:pos x="6365" y="412"/>
                </a:cxn>
                <a:cxn ang="0">
                  <a:pos x="6360" y="436"/>
                </a:cxn>
                <a:cxn ang="0">
                  <a:pos x="6344" y="463"/>
                </a:cxn>
                <a:cxn ang="0">
                  <a:pos x="6287" y="526"/>
                </a:cxn>
                <a:cxn ang="0">
                  <a:pos x="6211" y="591"/>
                </a:cxn>
                <a:cxn ang="0">
                  <a:pos x="6048" y="706"/>
                </a:cxn>
                <a:cxn ang="0">
                  <a:pos x="4390" y="691"/>
                </a:cxn>
                <a:cxn ang="0">
                  <a:pos x="2732" y="676"/>
                </a:cxn>
                <a:cxn ang="0">
                  <a:pos x="1739" y="680"/>
                </a:cxn>
                <a:cxn ang="0">
                  <a:pos x="747" y="685"/>
                </a:cxn>
                <a:cxn ang="0">
                  <a:pos x="62" y="529"/>
                </a:cxn>
                <a:cxn ang="0">
                  <a:pos x="0" y="513"/>
                </a:cxn>
              </a:cxnLst>
              <a:rect l="0" t="0" r="r" b="b"/>
              <a:pathLst>
                <a:path w="6365" h="706">
                  <a:moveTo>
                    <a:pt x="21" y="516"/>
                  </a:moveTo>
                  <a:lnTo>
                    <a:pt x="53" y="521"/>
                  </a:lnTo>
                  <a:lnTo>
                    <a:pt x="85" y="521"/>
                  </a:lnTo>
                  <a:lnTo>
                    <a:pt x="115" y="517"/>
                  </a:lnTo>
                  <a:lnTo>
                    <a:pt x="145" y="510"/>
                  </a:lnTo>
                  <a:lnTo>
                    <a:pt x="205" y="489"/>
                  </a:lnTo>
                  <a:lnTo>
                    <a:pt x="264" y="460"/>
                  </a:lnTo>
                  <a:lnTo>
                    <a:pt x="323" y="427"/>
                  </a:lnTo>
                  <a:lnTo>
                    <a:pt x="384" y="395"/>
                  </a:lnTo>
                  <a:lnTo>
                    <a:pt x="416" y="380"/>
                  </a:lnTo>
                  <a:lnTo>
                    <a:pt x="447" y="366"/>
                  </a:lnTo>
                  <a:lnTo>
                    <a:pt x="480" y="354"/>
                  </a:lnTo>
                  <a:lnTo>
                    <a:pt x="513" y="344"/>
                  </a:lnTo>
                  <a:lnTo>
                    <a:pt x="554" y="337"/>
                  </a:lnTo>
                  <a:lnTo>
                    <a:pt x="608" y="332"/>
                  </a:lnTo>
                  <a:lnTo>
                    <a:pt x="673" y="330"/>
                  </a:lnTo>
                  <a:lnTo>
                    <a:pt x="749" y="329"/>
                  </a:lnTo>
                  <a:lnTo>
                    <a:pt x="923" y="330"/>
                  </a:lnTo>
                  <a:lnTo>
                    <a:pt x="1118" y="336"/>
                  </a:lnTo>
                  <a:lnTo>
                    <a:pt x="1322" y="341"/>
                  </a:lnTo>
                  <a:lnTo>
                    <a:pt x="1522" y="346"/>
                  </a:lnTo>
                  <a:lnTo>
                    <a:pt x="1705" y="346"/>
                  </a:lnTo>
                  <a:lnTo>
                    <a:pt x="1861" y="338"/>
                  </a:lnTo>
                  <a:lnTo>
                    <a:pt x="1948" y="330"/>
                  </a:lnTo>
                  <a:lnTo>
                    <a:pt x="2060" y="315"/>
                  </a:lnTo>
                  <a:lnTo>
                    <a:pt x="2194" y="296"/>
                  </a:lnTo>
                  <a:lnTo>
                    <a:pt x="2347" y="273"/>
                  </a:lnTo>
                  <a:lnTo>
                    <a:pt x="3062" y="160"/>
                  </a:lnTo>
                  <a:lnTo>
                    <a:pt x="3434" y="103"/>
                  </a:lnTo>
                  <a:lnTo>
                    <a:pt x="3779" y="52"/>
                  </a:lnTo>
                  <a:lnTo>
                    <a:pt x="3930" y="32"/>
                  </a:lnTo>
                  <a:lnTo>
                    <a:pt x="4065" y="16"/>
                  </a:lnTo>
                  <a:lnTo>
                    <a:pt x="4180" y="5"/>
                  </a:lnTo>
                  <a:lnTo>
                    <a:pt x="4267" y="0"/>
                  </a:lnTo>
                  <a:lnTo>
                    <a:pt x="4349" y="4"/>
                  </a:lnTo>
                  <a:lnTo>
                    <a:pt x="4399" y="9"/>
                  </a:lnTo>
                  <a:lnTo>
                    <a:pt x="4452" y="16"/>
                  </a:lnTo>
                  <a:lnTo>
                    <a:pt x="4573" y="35"/>
                  </a:lnTo>
                  <a:lnTo>
                    <a:pt x="4708" y="59"/>
                  </a:lnTo>
                  <a:lnTo>
                    <a:pt x="4854" y="89"/>
                  </a:lnTo>
                  <a:lnTo>
                    <a:pt x="5007" y="122"/>
                  </a:lnTo>
                  <a:lnTo>
                    <a:pt x="5322" y="193"/>
                  </a:lnTo>
                  <a:lnTo>
                    <a:pt x="5898" y="325"/>
                  </a:lnTo>
                  <a:lnTo>
                    <a:pt x="6010" y="349"/>
                  </a:lnTo>
                  <a:lnTo>
                    <a:pt x="6102" y="366"/>
                  </a:lnTo>
                  <a:lnTo>
                    <a:pt x="6141" y="372"/>
                  </a:lnTo>
                  <a:lnTo>
                    <a:pt x="6172" y="376"/>
                  </a:lnTo>
                  <a:lnTo>
                    <a:pt x="6197" y="378"/>
                  </a:lnTo>
                  <a:lnTo>
                    <a:pt x="6217" y="378"/>
                  </a:lnTo>
                  <a:lnTo>
                    <a:pt x="6283" y="374"/>
                  </a:lnTo>
                  <a:lnTo>
                    <a:pt x="6307" y="376"/>
                  </a:lnTo>
                  <a:lnTo>
                    <a:pt x="6327" y="379"/>
                  </a:lnTo>
                  <a:lnTo>
                    <a:pt x="6343" y="385"/>
                  </a:lnTo>
                  <a:lnTo>
                    <a:pt x="6354" y="392"/>
                  </a:lnTo>
                  <a:lnTo>
                    <a:pt x="6361" y="401"/>
                  </a:lnTo>
                  <a:lnTo>
                    <a:pt x="6365" y="412"/>
                  </a:lnTo>
                  <a:lnTo>
                    <a:pt x="6364" y="422"/>
                  </a:lnTo>
                  <a:lnTo>
                    <a:pt x="6360" y="436"/>
                  </a:lnTo>
                  <a:lnTo>
                    <a:pt x="6354" y="449"/>
                  </a:lnTo>
                  <a:lnTo>
                    <a:pt x="6344" y="463"/>
                  </a:lnTo>
                  <a:lnTo>
                    <a:pt x="6319" y="493"/>
                  </a:lnTo>
                  <a:lnTo>
                    <a:pt x="6287" y="526"/>
                  </a:lnTo>
                  <a:lnTo>
                    <a:pt x="6250" y="559"/>
                  </a:lnTo>
                  <a:lnTo>
                    <a:pt x="6211" y="591"/>
                  </a:lnTo>
                  <a:lnTo>
                    <a:pt x="6132" y="648"/>
                  </a:lnTo>
                  <a:lnTo>
                    <a:pt x="6048" y="706"/>
                  </a:lnTo>
                  <a:lnTo>
                    <a:pt x="5219" y="698"/>
                  </a:lnTo>
                  <a:lnTo>
                    <a:pt x="4390" y="691"/>
                  </a:lnTo>
                  <a:lnTo>
                    <a:pt x="3561" y="683"/>
                  </a:lnTo>
                  <a:lnTo>
                    <a:pt x="2732" y="676"/>
                  </a:lnTo>
                  <a:lnTo>
                    <a:pt x="2235" y="677"/>
                  </a:lnTo>
                  <a:lnTo>
                    <a:pt x="1739" y="680"/>
                  </a:lnTo>
                  <a:lnTo>
                    <a:pt x="1243" y="682"/>
                  </a:lnTo>
                  <a:lnTo>
                    <a:pt x="747" y="685"/>
                  </a:lnTo>
                  <a:lnTo>
                    <a:pt x="319" y="588"/>
                  </a:lnTo>
                  <a:lnTo>
                    <a:pt x="62" y="529"/>
                  </a:lnTo>
                  <a:lnTo>
                    <a:pt x="3" y="515"/>
                  </a:lnTo>
                  <a:lnTo>
                    <a:pt x="0" y="513"/>
                  </a:lnTo>
                  <a:lnTo>
                    <a:pt x="21" y="5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8" name="Freeform 71"/>
            <p:cNvSpPr>
              <a:spLocks/>
            </p:cNvSpPr>
            <p:nvPr userDrawn="1"/>
          </p:nvSpPr>
          <p:spPr bwMode="auto">
            <a:xfrm>
              <a:off x="6940550" y="6437313"/>
              <a:ext cx="165100" cy="203200"/>
            </a:xfrm>
            <a:custGeom>
              <a:avLst/>
              <a:gdLst/>
              <a:ahLst/>
              <a:cxnLst>
                <a:cxn ang="0">
                  <a:pos x="243" y="410"/>
                </a:cxn>
                <a:cxn ang="0">
                  <a:pos x="230" y="392"/>
                </a:cxn>
                <a:cxn ang="0">
                  <a:pos x="227" y="366"/>
                </a:cxn>
                <a:cxn ang="0">
                  <a:pos x="248" y="352"/>
                </a:cxn>
                <a:cxn ang="0">
                  <a:pos x="206" y="384"/>
                </a:cxn>
                <a:cxn ang="0">
                  <a:pos x="225" y="430"/>
                </a:cxn>
                <a:cxn ang="0">
                  <a:pos x="215" y="404"/>
                </a:cxn>
                <a:cxn ang="0">
                  <a:pos x="186" y="412"/>
                </a:cxn>
                <a:cxn ang="0">
                  <a:pos x="157" y="408"/>
                </a:cxn>
                <a:cxn ang="0">
                  <a:pos x="132" y="397"/>
                </a:cxn>
                <a:cxn ang="0">
                  <a:pos x="118" y="409"/>
                </a:cxn>
                <a:cxn ang="0">
                  <a:pos x="100" y="421"/>
                </a:cxn>
                <a:cxn ang="0">
                  <a:pos x="77" y="404"/>
                </a:cxn>
                <a:cxn ang="0">
                  <a:pos x="13" y="419"/>
                </a:cxn>
                <a:cxn ang="0">
                  <a:pos x="43" y="376"/>
                </a:cxn>
                <a:cxn ang="0">
                  <a:pos x="19" y="354"/>
                </a:cxn>
                <a:cxn ang="0">
                  <a:pos x="9" y="329"/>
                </a:cxn>
                <a:cxn ang="0">
                  <a:pos x="6" y="291"/>
                </a:cxn>
                <a:cxn ang="0">
                  <a:pos x="53" y="285"/>
                </a:cxn>
                <a:cxn ang="0">
                  <a:pos x="63" y="261"/>
                </a:cxn>
                <a:cxn ang="0">
                  <a:pos x="96" y="225"/>
                </a:cxn>
                <a:cxn ang="0">
                  <a:pos x="56" y="217"/>
                </a:cxn>
                <a:cxn ang="0">
                  <a:pos x="35" y="208"/>
                </a:cxn>
                <a:cxn ang="0">
                  <a:pos x="27" y="193"/>
                </a:cxn>
                <a:cxn ang="0">
                  <a:pos x="32" y="160"/>
                </a:cxn>
                <a:cxn ang="0">
                  <a:pos x="73" y="124"/>
                </a:cxn>
                <a:cxn ang="0">
                  <a:pos x="97" y="91"/>
                </a:cxn>
                <a:cxn ang="0">
                  <a:pos x="120" y="87"/>
                </a:cxn>
                <a:cxn ang="0">
                  <a:pos x="141" y="100"/>
                </a:cxn>
                <a:cxn ang="0">
                  <a:pos x="191" y="97"/>
                </a:cxn>
                <a:cxn ang="0">
                  <a:pos x="189" y="57"/>
                </a:cxn>
                <a:cxn ang="0">
                  <a:pos x="212" y="69"/>
                </a:cxn>
                <a:cxn ang="0">
                  <a:pos x="232" y="93"/>
                </a:cxn>
                <a:cxn ang="0">
                  <a:pos x="267" y="73"/>
                </a:cxn>
                <a:cxn ang="0">
                  <a:pos x="303" y="89"/>
                </a:cxn>
                <a:cxn ang="0">
                  <a:pos x="320" y="112"/>
                </a:cxn>
                <a:cxn ang="0">
                  <a:pos x="304" y="75"/>
                </a:cxn>
                <a:cxn ang="0">
                  <a:pos x="280" y="49"/>
                </a:cxn>
                <a:cxn ang="0">
                  <a:pos x="292" y="2"/>
                </a:cxn>
                <a:cxn ang="0">
                  <a:pos x="316" y="34"/>
                </a:cxn>
                <a:cxn ang="0">
                  <a:pos x="370" y="39"/>
                </a:cxn>
                <a:cxn ang="0">
                  <a:pos x="362" y="88"/>
                </a:cxn>
                <a:cxn ang="0">
                  <a:pos x="395" y="101"/>
                </a:cxn>
                <a:cxn ang="0">
                  <a:pos x="423" y="87"/>
                </a:cxn>
                <a:cxn ang="0">
                  <a:pos x="467" y="70"/>
                </a:cxn>
                <a:cxn ang="0">
                  <a:pos x="473" y="104"/>
                </a:cxn>
                <a:cxn ang="0">
                  <a:pos x="443" y="136"/>
                </a:cxn>
                <a:cxn ang="0">
                  <a:pos x="425" y="153"/>
                </a:cxn>
                <a:cxn ang="0">
                  <a:pos x="466" y="160"/>
                </a:cxn>
                <a:cxn ang="0">
                  <a:pos x="487" y="186"/>
                </a:cxn>
                <a:cxn ang="0">
                  <a:pos x="522" y="220"/>
                </a:cxn>
                <a:cxn ang="0">
                  <a:pos x="513" y="246"/>
                </a:cxn>
                <a:cxn ang="0">
                  <a:pos x="481" y="264"/>
                </a:cxn>
                <a:cxn ang="0">
                  <a:pos x="451" y="282"/>
                </a:cxn>
                <a:cxn ang="0">
                  <a:pos x="482" y="336"/>
                </a:cxn>
                <a:cxn ang="0">
                  <a:pos x="440" y="331"/>
                </a:cxn>
                <a:cxn ang="0">
                  <a:pos x="434" y="365"/>
                </a:cxn>
                <a:cxn ang="0">
                  <a:pos x="466" y="418"/>
                </a:cxn>
                <a:cxn ang="0">
                  <a:pos x="425" y="442"/>
                </a:cxn>
                <a:cxn ang="0">
                  <a:pos x="380" y="467"/>
                </a:cxn>
                <a:cxn ang="0">
                  <a:pos x="349" y="450"/>
                </a:cxn>
                <a:cxn ang="0">
                  <a:pos x="299" y="438"/>
                </a:cxn>
                <a:cxn ang="0">
                  <a:pos x="279" y="457"/>
                </a:cxn>
              </a:cxnLst>
              <a:rect l="0" t="0" r="r" b="b"/>
              <a:pathLst>
                <a:path w="523" h="640">
                  <a:moveTo>
                    <a:pt x="272" y="640"/>
                  </a:moveTo>
                  <a:lnTo>
                    <a:pt x="255" y="640"/>
                  </a:lnTo>
                  <a:lnTo>
                    <a:pt x="254" y="623"/>
                  </a:lnTo>
                  <a:lnTo>
                    <a:pt x="253" y="614"/>
                  </a:lnTo>
                  <a:lnTo>
                    <a:pt x="253" y="592"/>
                  </a:lnTo>
                  <a:lnTo>
                    <a:pt x="251" y="588"/>
                  </a:lnTo>
                  <a:lnTo>
                    <a:pt x="253" y="584"/>
                  </a:lnTo>
                  <a:lnTo>
                    <a:pt x="256" y="555"/>
                  </a:lnTo>
                  <a:lnTo>
                    <a:pt x="259" y="540"/>
                  </a:lnTo>
                  <a:lnTo>
                    <a:pt x="261" y="525"/>
                  </a:lnTo>
                  <a:lnTo>
                    <a:pt x="263" y="511"/>
                  </a:lnTo>
                  <a:lnTo>
                    <a:pt x="266" y="502"/>
                  </a:lnTo>
                  <a:lnTo>
                    <a:pt x="272" y="490"/>
                  </a:lnTo>
                  <a:lnTo>
                    <a:pt x="274" y="485"/>
                  </a:lnTo>
                  <a:lnTo>
                    <a:pt x="269" y="471"/>
                  </a:lnTo>
                  <a:lnTo>
                    <a:pt x="265" y="461"/>
                  </a:lnTo>
                  <a:lnTo>
                    <a:pt x="266" y="451"/>
                  </a:lnTo>
                  <a:lnTo>
                    <a:pt x="266" y="445"/>
                  </a:lnTo>
                  <a:lnTo>
                    <a:pt x="265" y="438"/>
                  </a:lnTo>
                  <a:lnTo>
                    <a:pt x="265" y="432"/>
                  </a:lnTo>
                  <a:lnTo>
                    <a:pt x="262" y="428"/>
                  </a:lnTo>
                  <a:lnTo>
                    <a:pt x="260" y="426"/>
                  </a:lnTo>
                  <a:lnTo>
                    <a:pt x="260" y="422"/>
                  </a:lnTo>
                  <a:lnTo>
                    <a:pt x="257" y="413"/>
                  </a:lnTo>
                  <a:lnTo>
                    <a:pt x="256" y="410"/>
                  </a:lnTo>
                  <a:lnTo>
                    <a:pt x="255" y="412"/>
                  </a:lnTo>
                  <a:lnTo>
                    <a:pt x="257" y="414"/>
                  </a:lnTo>
                  <a:lnTo>
                    <a:pt x="256" y="415"/>
                  </a:lnTo>
                  <a:lnTo>
                    <a:pt x="256" y="419"/>
                  </a:lnTo>
                  <a:lnTo>
                    <a:pt x="255" y="422"/>
                  </a:lnTo>
                  <a:lnTo>
                    <a:pt x="254" y="420"/>
                  </a:lnTo>
                  <a:lnTo>
                    <a:pt x="254" y="422"/>
                  </a:lnTo>
                  <a:lnTo>
                    <a:pt x="251" y="421"/>
                  </a:lnTo>
                  <a:lnTo>
                    <a:pt x="250" y="421"/>
                  </a:lnTo>
                  <a:lnTo>
                    <a:pt x="249" y="421"/>
                  </a:lnTo>
                  <a:lnTo>
                    <a:pt x="246" y="424"/>
                  </a:lnTo>
                  <a:lnTo>
                    <a:pt x="245" y="425"/>
                  </a:lnTo>
                  <a:lnTo>
                    <a:pt x="245" y="422"/>
                  </a:lnTo>
                  <a:lnTo>
                    <a:pt x="245" y="421"/>
                  </a:lnTo>
                  <a:lnTo>
                    <a:pt x="244" y="421"/>
                  </a:lnTo>
                  <a:lnTo>
                    <a:pt x="243" y="421"/>
                  </a:lnTo>
                  <a:lnTo>
                    <a:pt x="240" y="424"/>
                  </a:lnTo>
                  <a:lnTo>
                    <a:pt x="236" y="426"/>
                  </a:lnTo>
                  <a:lnTo>
                    <a:pt x="234" y="426"/>
                  </a:lnTo>
                  <a:lnTo>
                    <a:pt x="236" y="424"/>
                  </a:lnTo>
                  <a:lnTo>
                    <a:pt x="237" y="421"/>
                  </a:lnTo>
                  <a:lnTo>
                    <a:pt x="238" y="420"/>
                  </a:lnTo>
                  <a:lnTo>
                    <a:pt x="240" y="419"/>
                  </a:lnTo>
                  <a:lnTo>
                    <a:pt x="239" y="419"/>
                  </a:lnTo>
                  <a:lnTo>
                    <a:pt x="237" y="420"/>
                  </a:lnTo>
                  <a:lnTo>
                    <a:pt x="237" y="418"/>
                  </a:lnTo>
                  <a:lnTo>
                    <a:pt x="239" y="416"/>
                  </a:lnTo>
                  <a:lnTo>
                    <a:pt x="240" y="415"/>
                  </a:lnTo>
                  <a:lnTo>
                    <a:pt x="239" y="414"/>
                  </a:lnTo>
                  <a:lnTo>
                    <a:pt x="242" y="414"/>
                  </a:lnTo>
                  <a:lnTo>
                    <a:pt x="243" y="416"/>
                  </a:lnTo>
                  <a:lnTo>
                    <a:pt x="242" y="418"/>
                  </a:lnTo>
                  <a:lnTo>
                    <a:pt x="243" y="419"/>
                  </a:lnTo>
                  <a:lnTo>
                    <a:pt x="244" y="416"/>
                  </a:lnTo>
                  <a:lnTo>
                    <a:pt x="245" y="415"/>
                  </a:lnTo>
                  <a:lnTo>
                    <a:pt x="244" y="414"/>
                  </a:lnTo>
                  <a:lnTo>
                    <a:pt x="244" y="413"/>
                  </a:lnTo>
                  <a:lnTo>
                    <a:pt x="243" y="410"/>
                  </a:lnTo>
                  <a:lnTo>
                    <a:pt x="244" y="409"/>
                  </a:lnTo>
                  <a:lnTo>
                    <a:pt x="243" y="409"/>
                  </a:lnTo>
                  <a:lnTo>
                    <a:pt x="244" y="408"/>
                  </a:lnTo>
                  <a:lnTo>
                    <a:pt x="246" y="406"/>
                  </a:lnTo>
                  <a:lnTo>
                    <a:pt x="250" y="406"/>
                  </a:lnTo>
                  <a:lnTo>
                    <a:pt x="251" y="407"/>
                  </a:lnTo>
                  <a:lnTo>
                    <a:pt x="254" y="403"/>
                  </a:lnTo>
                  <a:lnTo>
                    <a:pt x="256" y="397"/>
                  </a:lnTo>
                  <a:lnTo>
                    <a:pt x="259" y="395"/>
                  </a:lnTo>
                  <a:lnTo>
                    <a:pt x="259" y="394"/>
                  </a:lnTo>
                  <a:lnTo>
                    <a:pt x="260" y="392"/>
                  </a:lnTo>
                  <a:lnTo>
                    <a:pt x="259" y="394"/>
                  </a:lnTo>
                  <a:lnTo>
                    <a:pt x="259" y="392"/>
                  </a:lnTo>
                  <a:lnTo>
                    <a:pt x="257" y="394"/>
                  </a:lnTo>
                  <a:lnTo>
                    <a:pt x="255" y="395"/>
                  </a:lnTo>
                  <a:lnTo>
                    <a:pt x="253" y="395"/>
                  </a:lnTo>
                  <a:lnTo>
                    <a:pt x="253" y="394"/>
                  </a:lnTo>
                  <a:lnTo>
                    <a:pt x="251" y="394"/>
                  </a:lnTo>
                  <a:lnTo>
                    <a:pt x="250" y="395"/>
                  </a:lnTo>
                  <a:lnTo>
                    <a:pt x="251" y="392"/>
                  </a:lnTo>
                  <a:lnTo>
                    <a:pt x="251" y="391"/>
                  </a:lnTo>
                  <a:lnTo>
                    <a:pt x="251" y="390"/>
                  </a:lnTo>
                  <a:lnTo>
                    <a:pt x="254" y="388"/>
                  </a:lnTo>
                  <a:lnTo>
                    <a:pt x="250" y="390"/>
                  </a:lnTo>
                  <a:lnTo>
                    <a:pt x="250" y="389"/>
                  </a:lnTo>
                  <a:lnTo>
                    <a:pt x="250" y="388"/>
                  </a:lnTo>
                  <a:lnTo>
                    <a:pt x="251" y="386"/>
                  </a:lnTo>
                  <a:lnTo>
                    <a:pt x="249" y="386"/>
                  </a:lnTo>
                  <a:lnTo>
                    <a:pt x="248" y="388"/>
                  </a:lnTo>
                  <a:lnTo>
                    <a:pt x="248" y="386"/>
                  </a:lnTo>
                  <a:lnTo>
                    <a:pt x="246" y="384"/>
                  </a:lnTo>
                  <a:lnTo>
                    <a:pt x="246" y="383"/>
                  </a:lnTo>
                  <a:lnTo>
                    <a:pt x="245" y="385"/>
                  </a:lnTo>
                  <a:lnTo>
                    <a:pt x="244" y="386"/>
                  </a:lnTo>
                  <a:lnTo>
                    <a:pt x="243" y="388"/>
                  </a:lnTo>
                  <a:lnTo>
                    <a:pt x="243" y="389"/>
                  </a:lnTo>
                  <a:lnTo>
                    <a:pt x="242" y="390"/>
                  </a:lnTo>
                  <a:lnTo>
                    <a:pt x="243" y="391"/>
                  </a:lnTo>
                  <a:lnTo>
                    <a:pt x="245" y="391"/>
                  </a:lnTo>
                  <a:lnTo>
                    <a:pt x="245" y="392"/>
                  </a:lnTo>
                  <a:lnTo>
                    <a:pt x="245" y="394"/>
                  </a:lnTo>
                  <a:lnTo>
                    <a:pt x="245" y="396"/>
                  </a:lnTo>
                  <a:lnTo>
                    <a:pt x="244" y="395"/>
                  </a:lnTo>
                  <a:lnTo>
                    <a:pt x="243" y="395"/>
                  </a:lnTo>
                  <a:lnTo>
                    <a:pt x="242" y="395"/>
                  </a:lnTo>
                  <a:lnTo>
                    <a:pt x="242" y="396"/>
                  </a:lnTo>
                  <a:lnTo>
                    <a:pt x="240" y="394"/>
                  </a:lnTo>
                  <a:lnTo>
                    <a:pt x="239" y="392"/>
                  </a:lnTo>
                  <a:lnTo>
                    <a:pt x="237" y="394"/>
                  </a:lnTo>
                  <a:lnTo>
                    <a:pt x="237" y="395"/>
                  </a:lnTo>
                  <a:lnTo>
                    <a:pt x="234" y="395"/>
                  </a:lnTo>
                  <a:lnTo>
                    <a:pt x="234" y="397"/>
                  </a:lnTo>
                  <a:lnTo>
                    <a:pt x="232" y="398"/>
                  </a:lnTo>
                  <a:lnTo>
                    <a:pt x="230" y="400"/>
                  </a:lnTo>
                  <a:lnTo>
                    <a:pt x="230" y="398"/>
                  </a:lnTo>
                  <a:lnTo>
                    <a:pt x="232" y="397"/>
                  </a:lnTo>
                  <a:lnTo>
                    <a:pt x="233" y="396"/>
                  </a:lnTo>
                  <a:lnTo>
                    <a:pt x="232" y="396"/>
                  </a:lnTo>
                  <a:lnTo>
                    <a:pt x="232" y="395"/>
                  </a:lnTo>
                  <a:lnTo>
                    <a:pt x="234" y="394"/>
                  </a:lnTo>
                  <a:lnTo>
                    <a:pt x="233" y="392"/>
                  </a:lnTo>
                  <a:lnTo>
                    <a:pt x="232" y="392"/>
                  </a:lnTo>
                  <a:lnTo>
                    <a:pt x="230" y="392"/>
                  </a:lnTo>
                  <a:lnTo>
                    <a:pt x="231" y="390"/>
                  </a:lnTo>
                  <a:lnTo>
                    <a:pt x="232" y="388"/>
                  </a:lnTo>
                  <a:lnTo>
                    <a:pt x="236" y="386"/>
                  </a:lnTo>
                  <a:lnTo>
                    <a:pt x="238" y="388"/>
                  </a:lnTo>
                  <a:lnTo>
                    <a:pt x="237" y="386"/>
                  </a:lnTo>
                  <a:lnTo>
                    <a:pt x="237" y="385"/>
                  </a:lnTo>
                  <a:lnTo>
                    <a:pt x="240" y="385"/>
                  </a:lnTo>
                  <a:lnTo>
                    <a:pt x="240" y="388"/>
                  </a:lnTo>
                  <a:lnTo>
                    <a:pt x="242" y="386"/>
                  </a:lnTo>
                  <a:lnTo>
                    <a:pt x="243" y="385"/>
                  </a:lnTo>
                  <a:lnTo>
                    <a:pt x="245" y="384"/>
                  </a:lnTo>
                  <a:lnTo>
                    <a:pt x="246" y="382"/>
                  </a:lnTo>
                  <a:lnTo>
                    <a:pt x="246" y="379"/>
                  </a:lnTo>
                  <a:lnTo>
                    <a:pt x="245" y="379"/>
                  </a:lnTo>
                  <a:lnTo>
                    <a:pt x="244" y="380"/>
                  </a:lnTo>
                  <a:lnTo>
                    <a:pt x="242" y="380"/>
                  </a:lnTo>
                  <a:lnTo>
                    <a:pt x="243" y="379"/>
                  </a:lnTo>
                  <a:lnTo>
                    <a:pt x="243" y="377"/>
                  </a:lnTo>
                  <a:lnTo>
                    <a:pt x="243" y="374"/>
                  </a:lnTo>
                  <a:lnTo>
                    <a:pt x="244" y="372"/>
                  </a:lnTo>
                  <a:lnTo>
                    <a:pt x="240" y="373"/>
                  </a:lnTo>
                  <a:lnTo>
                    <a:pt x="238" y="374"/>
                  </a:lnTo>
                  <a:lnTo>
                    <a:pt x="237" y="376"/>
                  </a:lnTo>
                  <a:lnTo>
                    <a:pt x="236" y="377"/>
                  </a:lnTo>
                  <a:lnTo>
                    <a:pt x="234" y="380"/>
                  </a:lnTo>
                  <a:lnTo>
                    <a:pt x="233" y="379"/>
                  </a:lnTo>
                  <a:lnTo>
                    <a:pt x="233" y="376"/>
                  </a:lnTo>
                  <a:lnTo>
                    <a:pt x="234" y="376"/>
                  </a:lnTo>
                  <a:lnTo>
                    <a:pt x="237" y="374"/>
                  </a:lnTo>
                  <a:lnTo>
                    <a:pt x="240" y="372"/>
                  </a:lnTo>
                  <a:lnTo>
                    <a:pt x="240" y="370"/>
                  </a:lnTo>
                  <a:lnTo>
                    <a:pt x="239" y="370"/>
                  </a:lnTo>
                  <a:lnTo>
                    <a:pt x="237" y="373"/>
                  </a:lnTo>
                  <a:lnTo>
                    <a:pt x="236" y="373"/>
                  </a:lnTo>
                  <a:lnTo>
                    <a:pt x="238" y="368"/>
                  </a:lnTo>
                  <a:lnTo>
                    <a:pt x="239" y="366"/>
                  </a:lnTo>
                  <a:lnTo>
                    <a:pt x="240" y="364"/>
                  </a:lnTo>
                  <a:lnTo>
                    <a:pt x="242" y="362"/>
                  </a:lnTo>
                  <a:lnTo>
                    <a:pt x="240" y="362"/>
                  </a:lnTo>
                  <a:lnTo>
                    <a:pt x="239" y="364"/>
                  </a:lnTo>
                  <a:lnTo>
                    <a:pt x="239" y="365"/>
                  </a:lnTo>
                  <a:lnTo>
                    <a:pt x="238" y="366"/>
                  </a:lnTo>
                  <a:lnTo>
                    <a:pt x="238" y="365"/>
                  </a:lnTo>
                  <a:lnTo>
                    <a:pt x="238" y="364"/>
                  </a:lnTo>
                  <a:lnTo>
                    <a:pt x="237" y="362"/>
                  </a:lnTo>
                  <a:lnTo>
                    <a:pt x="236" y="361"/>
                  </a:lnTo>
                  <a:lnTo>
                    <a:pt x="233" y="361"/>
                  </a:lnTo>
                  <a:lnTo>
                    <a:pt x="236" y="362"/>
                  </a:lnTo>
                  <a:lnTo>
                    <a:pt x="236" y="365"/>
                  </a:lnTo>
                  <a:lnTo>
                    <a:pt x="234" y="366"/>
                  </a:lnTo>
                  <a:lnTo>
                    <a:pt x="234" y="365"/>
                  </a:lnTo>
                  <a:lnTo>
                    <a:pt x="233" y="366"/>
                  </a:lnTo>
                  <a:lnTo>
                    <a:pt x="233" y="368"/>
                  </a:lnTo>
                  <a:lnTo>
                    <a:pt x="231" y="371"/>
                  </a:lnTo>
                  <a:lnTo>
                    <a:pt x="230" y="373"/>
                  </a:lnTo>
                  <a:lnTo>
                    <a:pt x="230" y="371"/>
                  </a:lnTo>
                  <a:lnTo>
                    <a:pt x="228" y="367"/>
                  </a:lnTo>
                  <a:lnTo>
                    <a:pt x="228" y="368"/>
                  </a:lnTo>
                  <a:lnTo>
                    <a:pt x="230" y="366"/>
                  </a:lnTo>
                  <a:lnTo>
                    <a:pt x="230" y="365"/>
                  </a:lnTo>
                  <a:lnTo>
                    <a:pt x="228" y="366"/>
                  </a:lnTo>
                  <a:lnTo>
                    <a:pt x="228" y="364"/>
                  </a:lnTo>
                  <a:lnTo>
                    <a:pt x="227" y="366"/>
                  </a:lnTo>
                  <a:lnTo>
                    <a:pt x="226" y="366"/>
                  </a:lnTo>
                  <a:lnTo>
                    <a:pt x="225" y="367"/>
                  </a:lnTo>
                  <a:lnTo>
                    <a:pt x="225" y="365"/>
                  </a:lnTo>
                  <a:lnTo>
                    <a:pt x="226" y="362"/>
                  </a:lnTo>
                  <a:lnTo>
                    <a:pt x="224" y="362"/>
                  </a:lnTo>
                  <a:lnTo>
                    <a:pt x="224" y="360"/>
                  </a:lnTo>
                  <a:lnTo>
                    <a:pt x="224" y="359"/>
                  </a:lnTo>
                  <a:lnTo>
                    <a:pt x="224" y="356"/>
                  </a:lnTo>
                  <a:lnTo>
                    <a:pt x="224" y="355"/>
                  </a:lnTo>
                  <a:lnTo>
                    <a:pt x="226" y="353"/>
                  </a:lnTo>
                  <a:lnTo>
                    <a:pt x="226" y="355"/>
                  </a:lnTo>
                  <a:lnTo>
                    <a:pt x="227" y="358"/>
                  </a:lnTo>
                  <a:lnTo>
                    <a:pt x="227" y="359"/>
                  </a:lnTo>
                  <a:lnTo>
                    <a:pt x="227" y="360"/>
                  </a:lnTo>
                  <a:lnTo>
                    <a:pt x="230" y="359"/>
                  </a:lnTo>
                  <a:lnTo>
                    <a:pt x="231" y="358"/>
                  </a:lnTo>
                  <a:lnTo>
                    <a:pt x="232" y="358"/>
                  </a:lnTo>
                  <a:lnTo>
                    <a:pt x="234" y="358"/>
                  </a:lnTo>
                  <a:lnTo>
                    <a:pt x="234" y="359"/>
                  </a:lnTo>
                  <a:lnTo>
                    <a:pt x="237" y="360"/>
                  </a:lnTo>
                  <a:lnTo>
                    <a:pt x="238" y="360"/>
                  </a:lnTo>
                  <a:lnTo>
                    <a:pt x="239" y="360"/>
                  </a:lnTo>
                  <a:lnTo>
                    <a:pt x="239" y="359"/>
                  </a:lnTo>
                  <a:lnTo>
                    <a:pt x="240" y="358"/>
                  </a:lnTo>
                  <a:lnTo>
                    <a:pt x="243" y="358"/>
                  </a:lnTo>
                  <a:lnTo>
                    <a:pt x="244" y="358"/>
                  </a:lnTo>
                  <a:lnTo>
                    <a:pt x="244" y="359"/>
                  </a:lnTo>
                  <a:lnTo>
                    <a:pt x="245" y="359"/>
                  </a:lnTo>
                  <a:lnTo>
                    <a:pt x="246" y="359"/>
                  </a:lnTo>
                  <a:lnTo>
                    <a:pt x="246" y="358"/>
                  </a:lnTo>
                  <a:lnTo>
                    <a:pt x="245" y="356"/>
                  </a:lnTo>
                  <a:lnTo>
                    <a:pt x="244" y="356"/>
                  </a:lnTo>
                  <a:lnTo>
                    <a:pt x="243" y="355"/>
                  </a:lnTo>
                  <a:lnTo>
                    <a:pt x="242" y="356"/>
                  </a:lnTo>
                  <a:lnTo>
                    <a:pt x="240" y="356"/>
                  </a:lnTo>
                  <a:lnTo>
                    <a:pt x="239" y="358"/>
                  </a:lnTo>
                  <a:lnTo>
                    <a:pt x="238" y="359"/>
                  </a:lnTo>
                  <a:lnTo>
                    <a:pt x="237" y="359"/>
                  </a:lnTo>
                  <a:lnTo>
                    <a:pt x="236" y="358"/>
                  </a:lnTo>
                  <a:lnTo>
                    <a:pt x="236" y="356"/>
                  </a:lnTo>
                  <a:lnTo>
                    <a:pt x="237" y="355"/>
                  </a:lnTo>
                  <a:lnTo>
                    <a:pt x="237" y="354"/>
                  </a:lnTo>
                  <a:lnTo>
                    <a:pt x="239" y="354"/>
                  </a:lnTo>
                  <a:lnTo>
                    <a:pt x="240" y="355"/>
                  </a:lnTo>
                  <a:lnTo>
                    <a:pt x="242" y="354"/>
                  </a:lnTo>
                  <a:lnTo>
                    <a:pt x="240" y="354"/>
                  </a:lnTo>
                  <a:lnTo>
                    <a:pt x="242" y="353"/>
                  </a:lnTo>
                  <a:lnTo>
                    <a:pt x="243" y="352"/>
                  </a:lnTo>
                  <a:lnTo>
                    <a:pt x="242" y="352"/>
                  </a:lnTo>
                  <a:lnTo>
                    <a:pt x="239" y="353"/>
                  </a:lnTo>
                  <a:lnTo>
                    <a:pt x="234" y="353"/>
                  </a:lnTo>
                  <a:lnTo>
                    <a:pt x="236" y="352"/>
                  </a:lnTo>
                  <a:lnTo>
                    <a:pt x="238" y="349"/>
                  </a:lnTo>
                  <a:lnTo>
                    <a:pt x="242" y="349"/>
                  </a:lnTo>
                  <a:lnTo>
                    <a:pt x="244" y="349"/>
                  </a:lnTo>
                  <a:lnTo>
                    <a:pt x="245" y="350"/>
                  </a:lnTo>
                  <a:lnTo>
                    <a:pt x="245" y="352"/>
                  </a:lnTo>
                  <a:lnTo>
                    <a:pt x="246" y="353"/>
                  </a:lnTo>
                  <a:lnTo>
                    <a:pt x="245" y="354"/>
                  </a:lnTo>
                  <a:lnTo>
                    <a:pt x="246" y="355"/>
                  </a:lnTo>
                  <a:lnTo>
                    <a:pt x="248" y="354"/>
                  </a:lnTo>
                  <a:lnTo>
                    <a:pt x="249" y="353"/>
                  </a:lnTo>
                  <a:lnTo>
                    <a:pt x="248" y="352"/>
                  </a:lnTo>
                  <a:lnTo>
                    <a:pt x="246" y="352"/>
                  </a:lnTo>
                  <a:lnTo>
                    <a:pt x="248" y="349"/>
                  </a:lnTo>
                  <a:lnTo>
                    <a:pt x="248" y="348"/>
                  </a:lnTo>
                  <a:lnTo>
                    <a:pt x="248" y="347"/>
                  </a:lnTo>
                  <a:lnTo>
                    <a:pt x="246" y="345"/>
                  </a:lnTo>
                  <a:lnTo>
                    <a:pt x="246" y="344"/>
                  </a:lnTo>
                  <a:lnTo>
                    <a:pt x="248" y="344"/>
                  </a:lnTo>
                  <a:lnTo>
                    <a:pt x="245" y="343"/>
                  </a:lnTo>
                  <a:lnTo>
                    <a:pt x="233" y="343"/>
                  </a:lnTo>
                  <a:lnTo>
                    <a:pt x="212" y="347"/>
                  </a:lnTo>
                  <a:lnTo>
                    <a:pt x="201" y="349"/>
                  </a:lnTo>
                  <a:lnTo>
                    <a:pt x="191" y="354"/>
                  </a:lnTo>
                  <a:lnTo>
                    <a:pt x="187" y="354"/>
                  </a:lnTo>
                  <a:lnTo>
                    <a:pt x="192" y="358"/>
                  </a:lnTo>
                  <a:lnTo>
                    <a:pt x="197" y="360"/>
                  </a:lnTo>
                  <a:lnTo>
                    <a:pt x="200" y="364"/>
                  </a:lnTo>
                  <a:lnTo>
                    <a:pt x="202" y="366"/>
                  </a:lnTo>
                  <a:lnTo>
                    <a:pt x="204" y="367"/>
                  </a:lnTo>
                  <a:lnTo>
                    <a:pt x="201" y="366"/>
                  </a:lnTo>
                  <a:lnTo>
                    <a:pt x="200" y="368"/>
                  </a:lnTo>
                  <a:lnTo>
                    <a:pt x="200" y="372"/>
                  </a:lnTo>
                  <a:lnTo>
                    <a:pt x="201" y="376"/>
                  </a:lnTo>
                  <a:lnTo>
                    <a:pt x="203" y="378"/>
                  </a:lnTo>
                  <a:lnTo>
                    <a:pt x="204" y="379"/>
                  </a:lnTo>
                  <a:lnTo>
                    <a:pt x="206" y="380"/>
                  </a:lnTo>
                  <a:lnTo>
                    <a:pt x="207" y="379"/>
                  </a:lnTo>
                  <a:lnTo>
                    <a:pt x="206" y="380"/>
                  </a:lnTo>
                  <a:lnTo>
                    <a:pt x="206" y="382"/>
                  </a:lnTo>
                  <a:lnTo>
                    <a:pt x="207" y="383"/>
                  </a:lnTo>
                  <a:lnTo>
                    <a:pt x="209" y="384"/>
                  </a:lnTo>
                  <a:lnTo>
                    <a:pt x="209" y="383"/>
                  </a:lnTo>
                  <a:lnTo>
                    <a:pt x="209" y="382"/>
                  </a:lnTo>
                  <a:lnTo>
                    <a:pt x="209" y="380"/>
                  </a:lnTo>
                  <a:lnTo>
                    <a:pt x="210" y="382"/>
                  </a:lnTo>
                  <a:lnTo>
                    <a:pt x="213" y="384"/>
                  </a:lnTo>
                  <a:lnTo>
                    <a:pt x="212" y="384"/>
                  </a:lnTo>
                  <a:lnTo>
                    <a:pt x="210" y="385"/>
                  </a:lnTo>
                  <a:lnTo>
                    <a:pt x="212" y="386"/>
                  </a:lnTo>
                  <a:lnTo>
                    <a:pt x="213" y="388"/>
                  </a:lnTo>
                  <a:lnTo>
                    <a:pt x="213" y="390"/>
                  </a:lnTo>
                  <a:lnTo>
                    <a:pt x="212" y="389"/>
                  </a:lnTo>
                  <a:lnTo>
                    <a:pt x="210" y="388"/>
                  </a:lnTo>
                  <a:lnTo>
                    <a:pt x="210" y="389"/>
                  </a:lnTo>
                  <a:lnTo>
                    <a:pt x="210" y="391"/>
                  </a:lnTo>
                  <a:lnTo>
                    <a:pt x="210" y="394"/>
                  </a:lnTo>
                  <a:lnTo>
                    <a:pt x="209" y="390"/>
                  </a:lnTo>
                  <a:lnTo>
                    <a:pt x="209" y="391"/>
                  </a:lnTo>
                  <a:lnTo>
                    <a:pt x="208" y="394"/>
                  </a:lnTo>
                  <a:lnTo>
                    <a:pt x="209" y="390"/>
                  </a:lnTo>
                  <a:lnTo>
                    <a:pt x="208" y="391"/>
                  </a:lnTo>
                  <a:lnTo>
                    <a:pt x="209" y="389"/>
                  </a:lnTo>
                  <a:lnTo>
                    <a:pt x="209" y="388"/>
                  </a:lnTo>
                  <a:lnTo>
                    <a:pt x="209" y="386"/>
                  </a:lnTo>
                  <a:lnTo>
                    <a:pt x="209" y="385"/>
                  </a:lnTo>
                  <a:lnTo>
                    <a:pt x="207" y="384"/>
                  </a:lnTo>
                  <a:lnTo>
                    <a:pt x="204" y="382"/>
                  </a:lnTo>
                  <a:lnTo>
                    <a:pt x="202" y="378"/>
                  </a:lnTo>
                  <a:lnTo>
                    <a:pt x="202" y="377"/>
                  </a:lnTo>
                  <a:lnTo>
                    <a:pt x="202" y="380"/>
                  </a:lnTo>
                  <a:lnTo>
                    <a:pt x="202" y="384"/>
                  </a:lnTo>
                  <a:lnTo>
                    <a:pt x="203" y="386"/>
                  </a:lnTo>
                  <a:lnTo>
                    <a:pt x="203" y="384"/>
                  </a:lnTo>
                  <a:lnTo>
                    <a:pt x="206" y="384"/>
                  </a:lnTo>
                  <a:lnTo>
                    <a:pt x="204" y="385"/>
                  </a:lnTo>
                  <a:lnTo>
                    <a:pt x="204" y="386"/>
                  </a:lnTo>
                  <a:lnTo>
                    <a:pt x="204" y="388"/>
                  </a:lnTo>
                  <a:lnTo>
                    <a:pt x="207" y="386"/>
                  </a:lnTo>
                  <a:lnTo>
                    <a:pt x="206" y="389"/>
                  </a:lnTo>
                  <a:lnTo>
                    <a:pt x="206" y="391"/>
                  </a:lnTo>
                  <a:lnTo>
                    <a:pt x="209" y="395"/>
                  </a:lnTo>
                  <a:lnTo>
                    <a:pt x="210" y="397"/>
                  </a:lnTo>
                  <a:lnTo>
                    <a:pt x="210" y="396"/>
                  </a:lnTo>
                  <a:lnTo>
                    <a:pt x="213" y="396"/>
                  </a:lnTo>
                  <a:lnTo>
                    <a:pt x="213" y="398"/>
                  </a:lnTo>
                  <a:lnTo>
                    <a:pt x="214" y="400"/>
                  </a:lnTo>
                  <a:lnTo>
                    <a:pt x="216" y="400"/>
                  </a:lnTo>
                  <a:lnTo>
                    <a:pt x="216" y="398"/>
                  </a:lnTo>
                  <a:lnTo>
                    <a:pt x="216" y="396"/>
                  </a:lnTo>
                  <a:lnTo>
                    <a:pt x="218" y="395"/>
                  </a:lnTo>
                  <a:lnTo>
                    <a:pt x="220" y="394"/>
                  </a:lnTo>
                  <a:lnTo>
                    <a:pt x="221" y="394"/>
                  </a:lnTo>
                  <a:lnTo>
                    <a:pt x="221" y="396"/>
                  </a:lnTo>
                  <a:lnTo>
                    <a:pt x="220" y="397"/>
                  </a:lnTo>
                  <a:lnTo>
                    <a:pt x="220" y="400"/>
                  </a:lnTo>
                  <a:lnTo>
                    <a:pt x="220" y="401"/>
                  </a:lnTo>
                  <a:lnTo>
                    <a:pt x="222" y="401"/>
                  </a:lnTo>
                  <a:lnTo>
                    <a:pt x="224" y="401"/>
                  </a:lnTo>
                  <a:lnTo>
                    <a:pt x="225" y="398"/>
                  </a:lnTo>
                  <a:lnTo>
                    <a:pt x="224" y="397"/>
                  </a:lnTo>
                  <a:lnTo>
                    <a:pt x="225" y="395"/>
                  </a:lnTo>
                  <a:lnTo>
                    <a:pt x="225" y="397"/>
                  </a:lnTo>
                  <a:lnTo>
                    <a:pt x="225" y="398"/>
                  </a:lnTo>
                  <a:lnTo>
                    <a:pt x="224" y="401"/>
                  </a:lnTo>
                  <a:lnTo>
                    <a:pt x="222" y="402"/>
                  </a:lnTo>
                  <a:lnTo>
                    <a:pt x="225" y="403"/>
                  </a:lnTo>
                  <a:lnTo>
                    <a:pt x="227" y="404"/>
                  </a:lnTo>
                  <a:lnTo>
                    <a:pt x="228" y="407"/>
                  </a:lnTo>
                  <a:lnTo>
                    <a:pt x="226" y="406"/>
                  </a:lnTo>
                  <a:lnTo>
                    <a:pt x="226" y="407"/>
                  </a:lnTo>
                  <a:lnTo>
                    <a:pt x="227" y="410"/>
                  </a:lnTo>
                  <a:lnTo>
                    <a:pt x="225" y="409"/>
                  </a:lnTo>
                  <a:lnTo>
                    <a:pt x="224" y="407"/>
                  </a:lnTo>
                  <a:lnTo>
                    <a:pt x="225" y="406"/>
                  </a:lnTo>
                  <a:lnTo>
                    <a:pt x="224" y="404"/>
                  </a:lnTo>
                  <a:lnTo>
                    <a:pt x="222" y="403"/>
                  </a:lnTo>
                  <a:lnTo>
                    <a:pt x="221" y="402"/>
                  </a:lnTo>
                  <a:lnTo>
                    <a:pt x="220" y="401"/>
                  </a:lnTo>
                  <a:lnTo>
                    <a:pt x="219" y="402"/>
                  </a:lnTo>
                  <a:lnTo>
                    <a:pt x="221" y="404"/>
                  </a:lnTo>
                  <a:lnTo>
                    <a:pt x="221" y="408"/>
                  </a:lnTo>
                  <a:lnTo>
                    <a:pt x="224" y="409"/>
                  </a:lnTo>
                  <a:lnTo>
                    <a:pt x="224" y="413"/>
                  </a:lnTo>
                  <a:lnTo>
                    <a:pt x="225" y="418"/>
                  </a:lnTo>
                  <a:lnTo>
                    <a:pt x="226" y="420"/>
                  </a:lnTo>
                  <a:lnTo>
                    <a:pt x="227" y="421"/>
                  </a:lnTo>
                  <a:lnTo>
                    <a:pt x="230" y="421"/>
                  </a:lnTo>
                  <a:lnTo>
                    <a:pt x="231" y="422"/>
                  </a:lnTo>
                  <a:lnTo>
                    <a:pt x="232" y="425"/>
                  </a:lnTo>
                  <a:lnTo>
                    <a:pt x="230" y="424"/>
                  </a:lnTo>
                  <a:lnTo>
                    <a:pt x="231" y="425"/>
                  </a:lnTo>
                  <a:lnTo>
                    <a:pt x="228" y="427"/>
                  </a:lnTo>
                  <a:lnTo>
                    <a:pt x="228" y="426"/>
                  </a:lnTo>
                  <a:lnTo>
                    <a:pt x="228" y="427"/>
                  </a:lnTo>
                  <a:lnTo>
                    <a:pt x="227" y="426"/>
                  </a:lnTo>
                  <a:lnTo>
                    <a:pt x="226" y="427"/>
                  </a:lnTo>
                  <a:lnTo>
                    <a:pt x="225" y="430"/>
                  </a:lnTo>
                  <a:lnTo>
                    <a:pt x="224" y="428"/>
                  </a:lnTo>
                  <a:lnTo>
                    <a:pt x="222" y="427"/>
                  </a:lnTo>
                  <a:lnTo>
                    <a:pt x="224" y="424"/>
                  </a:lnTo>
                  <a:lnTo>
                    <a:pt x="224" y="421"/>
                  </a:lnTo>
                  <a:lnTo>
                    <a:pt x="224" y="419"/>
                  </a:lnTo>
                  <a:lnTo>
                    <a:pt x="222" y="413"/>
                  </a:lnTo>
                  <a:lnTo>
                    <a:pt x="222" y="414"/>
                  </a:lnTo>
                  <a:lnTo>
                    <a:pt x="221" y="414"/>
                  </a:lnTo>
                  <a:lnTo>
                    <a:pt x="222" y="415"/>
                  </a:lnTo>
                  <a:lnTo>
                    <a:pt x="220" y="415"/>
                  </a:lnTo>
                  <a:lnTo>
                    <a:pt x="218" y="414"/>
                  </a:lnTo>
                  <a:lnTo>
                    <a:pt x="216" y="413"/>
                  </a:lnTo>
                  <a:lnTo>
                    <a:pt x="216" y="414"/>
                  </a:lnTo>
                  <a:lnTo>
                    <a:pt x="216" y="419"/>
                  </a:lnTo>
                  <a:lnTo>
                    <a:pt x="215" y="419"/>
                  </a:lnTo>
                  <a:lnTo>
                    <a:pt x="214" y="416"/>
                  </a:lnTo>
                  <a:lnTo>
                    <a:pt x="214" y="414"/>
                  </a:lnTo>
                  <a:lnTo>
                    <a:pt x="215" y="414"/>
                  </a:lnTo>
                  <a:lnTo>
                    <a:pt x="216" y="413"/>
                  </a:lnTo>
                  <a:lnTo>
                    <a:pt x="216" y="410"/>
                  </a:lnTo>
                  <a:lnTo>
                    <a:pt x="218" y="409"/>
                  </a:lnTo>
                  <a:lnTo>
                    <a:pt x="218" y="408"/>
                  </a:lnTo>
                  <a:lnTo>
                    <a:pt x="216" y="408"/>
                  </a:lnTo>
                  <a:lnTo>
                    <a:pt x="216" y="409"/>
                  </a:lnTo>
                  <a:lnTo>
                    <a:pt x="215" y="408"/>
                  </a:lnTo>
                  <a:lnTo>
                    <a:pt x="215" y="407"/>
                  </a:lnTo>
                  <a:lnTo>
                    <a:pt x="213" y="410"/>
                  </a:lnTo>
                  <a:lnTo>
                    <a:pt x="212" y="414"/>
                  </a:lnTo>
                  <a:lnTo>
                    <a:pt x="209" y="418"/>
                  </a:lnTo>
                  <a:lnTo>
                    <a:pt x="210" y="420"/>
                  </a:lnTo>
                  <a:lnTo>
                    <a:pt x="212" y="420"/>
                  </a:lnTo>
                  <a:lnTo>
                    <a:pt x="213" y="421"/>
                  </a:lnTo>
                  <a:lnTo>
                    <a:pt x="212" y="421"/>
                  </a:lnTo>
                  <a:lnTo>
                    <a:pt x="212" y="425"/>
                  </a:lnTo>
                  <a:lnTo>
                    <a:pt x="210" y="426"/>
                  </a:lnTo>
                  <a:lnTo>
                    <a:pt x="213" y="426"/>
                  </a:lnTo>
                  <a:lnTo>
                    <a:pt x="213" y="428"/>
                  </a:lnTo>
                  <a:lnTo>
                    <a:pt x="212" y="427"/>
                  </a:lnTo>
                  <a:lnTo>
                    <a:pt x="213" y="431"/>
                  </a:lnTo>
                  <a:lnTo>
                    <a:pt x="212" y="433"/>
                  </a:lnTo>
                  <a:lnTo>
                    <a:pt x="209" y="431"/>
                  </a:lnTo>
                  <a:lnTo>
                    <a:pt x="208" y="428"/>
                  </a:lnTo>
                  <a:lnTo>
                    <a:pt x="208" y="430"/>
                  </a:lnTo>
                  <a:lnTo>
                    <a:pt x="206" y="432"/>
                  </a:lnTo>
                  <a:lnTo>
                    <a:pt x="204" y="431"/>
                  </a:lnTo>
                  <a:lnTo>
                    <a:pt x="204" y="430"/>
                  </a:lnTo>
                  <a:lnTo>
                    <a:pt x="203" y="431"/>
                  </a:lnTo>
                  <a:lnTo>
                    <a:pt x="202" y="427"/>
                  </a:lnTo>
                  <a:lnTo>
                    <a:pt x="203" y="425"/>
                  </a:lnTo>
                  <a:lnTo>
                    <a:pt x="202" y="426"/>
                  </a:lnTo>
                  <a:lnTo>
                    <a:pt x="201" y="424"/>
                  </a:lnTo>
                  <a:lnTo>
                    <a:pt x="204" y="420"/>
                  </a:lnTo>
                  <a:lnTo>
                    <a:pt x="204" y="419"/>
                  </a:lnTo>
                  <a:lnTo>
                    <a:pt x="202" y="420"/>
                  </a:lnTo>
                  <a:lnTo>
                    <a:pt x="200" y="422"/>
                  </a:lnTo>
                  <a:lnTo>
                    <a:pt x="200" y="421"/>
                  </a:lnTo>
                  <a:lnTo>
                    <a:pt x="201" y="418"/>
                  </a:lnTo>
                  <a:lnTo>
                    <a:pt x="202" y="416"/>
                  </a:lnTo>
                  <a:lnTo>
                    <a:pt x="204" y="418"/>
                  </a:lnTo>
                  <a:lnTo>
                    <a:pt x="208" y="416"/>
                  </a:lnTo>
                  <a:lnTo>
                    <a:pt x="210" y="413"/>
                  </a:lnTo>
                  <a:lnTo>
                    <a:pt x="214" y="408"/>
                  </a:lnTo>
                  <a:lnTo>
                    <a:pt x="215" y="404"/>
                  </a:lnTo>
                  <a:lnTo>
                    <a:pt x="214" y="404"/>
                  </a:lnTo>
                  <a:lnTo>
                    <a:pt x="214" y="403"/>
                  </a:lnTo>
                  <a:lnTo>
                    <a:pt x="213" y="402"/>
                  </a:lnTo>
                  <a:lnTo>
                    <a:pt x="213" y="404"/>
                  </a:lnTo>
                  <a:lnTo>
                    <a:pt x="210" y="406"/>
                  </a:lnTo>
                  <a:lnTo>
                    <a:pt x="208" y="406"/>
                  </a:lnTo>
                  <a:lnTo>
                    <a:pt x="207" y="407"/>
                  </a:lnTo>
                  <a:lnTo>
                    <a:pt x="203" y="407"/>
                  </a:lnTo>
                  <a:lnTo>
                    <a:pt x="206" y="406"/>
                  </a:lnTo>
                  <a:lnTo>
                    <a:pt x="207" y="404"/>
                  </a:lnTo>
                  <a:lnTo>
                    <a:pt x="208" y="401"/>
                  </a:lnTo>
                  <a:lnTo>
                    <a:pt x="210" y="402"/>
                  </a:lnTo>
                  <a:lnTo>
                    <a:pt x="212" y="402"/>
                  </a:lnTo>
                  <a:lnTo>
                    <a:pt x="212" y="401"/>
                  </a:lnTo>
                  <a:lnTo>
                    <a:pt x="213" y="401"/>
                  </a:lnTo>
                  <a:lnTo>
                    <a:pt x="213" y="400"/>
                  </a:lnTo>
                  <a:lnTo>
                    <a:pt x="212" y="400"/>
                  </a:lnTo>
                  <a:lnTo>
                    <a:pt x="210" y="398"/>
                  </a:lnTo>
                  <a:lnTo>
                    <a:pt x="209" y="397"/>
                  </a:lnTo>
                  <a:lnTo>
                    <a:pt x="209" y="398"/>
                  </a:lnTo>
                  <a:lnTo>
                    <a:pt x="208" y="398"/>
                  </a:lnTo>
                  <a:lnTo>
                    <a:pt x="206" y="397"/>
                  </a:lnTo>
                  <a:lnTo>
                    <a:pt x="204" y="397"/>
                  </a:lnTo>
                  <a:lnTo>
                    <a:pt x="202" y="397"/>
                  </a:lnTo>
                  <a:lnTo>
                    <a:pt x="201" y="395"/>
                  </a:lnTo>
                  <a:lnTo>
                    <a:pt x="200" y="395"/>
                  </a:lnTo>
                  <a:lnTo>
                    <a:pt x="202" y="398"/>
                  </a:lnTo>
                  <a:lnTo>
                    <a:pt x="203" y="400"/>
                  </a:lnTo>
                  <a:lnTo>
                    <a:pt x="202" y="400"/>
                  </a:lnTo>
                  <a:lnTo>
                    <a:pt x="201" y="403"/>
                  </a:lnTo>
                  <a:lnTo>
                    <a:pt x="202" y="404"/>
                  </a:lnTo>
                  <a:lnTo>
                    <a:pt x="200" y="403"/>
                  </a:lnTo>
                  <a:lnTo>
                    <a:pt x="201" y="406"/>
                  </a:lnTo>
                  <a:lnTo>
                    <a:pt x="200" y="408"/>
                  </a:lnTo>
                  <a:lnTo>
                    <a:pt x="198" y="404"/>
                  </a:lnTo>
                  <a:lnTo>
                    <a:pt x="197" y="404"/>
                  </a:lnTo>
                  <a:lnTo>
                    <a:pt x="197" y="406"/>
                  </a:lnTo>
                  <a:lnTo>
                    <a:pt x="196" y="404"/>
                  </a:lnTo>
                  <a:lnTo>
                    <a:pt x="196" y="406"/>
                  </a:lnTo>
                  <a:lnTo>
                    <a:pt x="196" y="409"/>
                  </a:lnTo>
                  <a:lnTo>
                    <a:pt x="195" y="407"/>
                  </a:lnTo>
                  <a:lnTo>
                    <a:pt x="194" y="407"/>
                  </a:lnTo>
                  <a:lnTo>
                    <a:pt x="192" y="408"/>
                  </a:lnTo>
                  <a:lnTo>
                    <a:pt x="192" y="404"/>
                  </a:lnTo>
                  <a:lnTo>
                    <a:pt x="192" y="402"/>
                  </a:lnTo>
                  <a:lnTo>
                    <a:pt x="194" y="400"/>
                  </a:lnTo>
                  <a:lnTo>
                    <a:pt x="192" y="398"/>
                  </a:lnTo>
                  <a:lnTo>
                    <a:pt x="191" y="397"/>
                  </a:lnTo>
                  <a:lnTo>
                    <a:pt x="190" y="397"/>
                  </a:lnTo>
                  <a:lnTo>
                    <a:pt x="187" y="397"/>
                  </a:lnTo>
                  <a:lnTo>
                    <a:pt x="187" y="398"/>
                  </a:lnTo>
                  <a:lnTo>
                    <a:pt x="190" y="400"/>
                  </a:lnTo>
                  <a:lnTo>
                    <a:pt x="190" y="402"/>
                  </a:lnTo>
                  <a:lnTo>
                    <a:pt x="189" y="402"/>
                  </a:lnTo>
                  <a:lnTo>
                    <a:pt x="187" y="404"/>
                  </a:lnTo>
                  <a:lnTo>
                    <a:pt x="186" y="403"/>
                  </a:lnTo>
                  <a:lnTo>
                    <a:pt x="185" y="401"/>
                  </a:lnTo>
                  <a:lnTo>
                    <a:pt x="185" y="400"/>
                  </a:lnTo>
                  <a:lnTo>
                    <a:pt x="184" y="400"/>
                  </a:lnTo>
                  <a:lnTo>
                    <a:pt x="183" y="402"/>
                  </a:lnTo>
                  <a:lnTo>
                    <a:pt x="184" y="403"/>
                  </a:lnTo>
                  <a:lnTo>
                    <a:pt x="186" y="407"/>
                  </a:lnTo>
                  <a:lnTo>
                    <a:pt x="186" y="412"/>
                  </a:lnTo>
                  <a:lnTo>
                    <a:pt x="184" y="408"/>
                  </a:lnTo>
                  <a:lnTo>
                    <a:pt x="183" y="404"/>
                  </a:lnTo>
                  <a:lnTo>
                    <a:pt x="181" y="404"/>
                  </a:lnTo>
                  <a:lnTo>
                    <a:pt x="181" y="407"/>
                  </a:lnTo>
                  <a:lnTo>
                    <a:pt x="180" y="406"/>
                  </a:lnTo>
                  <a:lnTo>
                    <a:pt x="179" y="407"/>
                  </a:lnTo>
                  <a:lnTo>
                    <a:pt x="178" y="409"/>
                  </a:lnTo>
                  <a:lnTo>
                    <a:pt x="179" y="410"/>
                  </a:lnTo>
                  <a:lnTo>
                    <a:pt x="180" y="412"/>
                  </a:lnTo>
                  <a:lnTo>
                    <a:pt x="183" y="412"/>
                  </a:lnTo>
                  <a:lnTo>
                    <a:pt x="184" y="412"/>
                  </a:lnTo>
                  <a:lnTo>
                    <a:pt x="181" y="413"/>
                  </a:lnTo>
                  <a:lnTo>
                    <a:pt x="180" y="413"/>
                  </a:lnTo>
                  <a:lnTo>
                    <a:pt x="179" y="412"/>
                  </a:lnTo>
                  <a:lnTo>
                    <a:pt x="179" y="413"/>
                  </a:lnTo>
                  <a:lnTo>
                    <a:pt x="179" y="415"/>
                  </a:lnTo>
                  <a:lnTo>
                    <a:pt x="179" y="414"/>
                  </a:lnTo>
                  <a:lnTo>
                    <a:pt x="179" y="415"/>
                  </a:lnTo>
                  <a:lnTo>
                    <a:pt x="178" y="416"/>
                  </a:lnTo>
                  <a:lnTo>
                    <a:pt x="177" y="415"/>
                  </a:lnTo>
                  <a:lnTo>
                    <a:pt x="178" y="412"/>
                  </a:lnTo>
                  <a:lnTo>
                    <a:pt x="178" y="410"/>
                  </a:lnTo>
                  <a:lnTo>
                    <a:pt x="177" y="413"/>
                  </a:lnTo>
                  <a:lnTo>
                    <a:pt x="177" y="414"/>
                  </a:lnTo>
                  <a:lnTo>
                    <a:pt x="175" y="413"/>
                  </a:lnTo>
                  <a:lnTo>
                    <a:pt x="175" y="414"/>
                  </a:lnTo>
                  <a:lnTo>
                    <a:pt x="174" y="414"/>
                  </a:lnTo>
                  <a:lnTo>
                    <a:pt x="173" y="412"/>
                  </a:lnTo>
                  <a:lnTo>
                    <a:pt x="174" y="410"/>
                  </a:lnTo>
                  <a:lnTo>
                    <a:pt x="173" y="409"/>
                  </a:lnTo>
                  <a:lnTo>
                    <a:pt x="173" y="410"/>
                  </a:lnTo>
                  <a:lnTo>
                    <a:pt x="172" y="410"/>
                  </a:lnTo>
                  <a:lnTo>
                    <a:pt x="172" y="413"/>
                  </a:lnTo>
                  <a:lnTo>
                    <a:pt x="172" y="415"/>
                  </a:lnTo>
                  <a:lnTo>
                    <a:pt x="169" y="418"/>
                  </a:lnTo>
                  <a:lnTo>
                    <a:pt x="169" y="415"/>
                  </a:lnTo>
                  <a:lnTo>
                    <a:pt x="172" y="413"/>
                  </a:lnTo>
                  <a:lnTo>
                    <a:pt x="171" y="412"/>
                  </a:lnTo>
                  <a:lnTo>
                    <a:pt x="169" y="412"/>
                  </a:lnTo>
                  <a:lnTo>
                    <a:pt x="168" y="412"/>
                  </a:lnTo>
                  <a:lnTo>
                    <a:pt x="167" y="413"/>
                  </a:lnTo>
                  <a:lnTo>
                    <a:pt x="165" y="413"/>
                  </a:lnTo>
                  <a:lnTo>
                    <a:pt x="165" y="414"/>
                  </a:lnTo>
                  <a:lnTo>
                    <a:pt x="167" y="415"/>
                  </a:lnTo>
                  <a:lnTo>
                    <a:pt x="167" y="418"/>
                  </a:lnTo>
                  <a:lnTo>
                    <a:pt x="166" y="419"/>
                  </a:lnTo>
                  <a:lnTo>
                    <a:pt x="163" y="418"/>
                  </a:lnTo>
                  <a:lnTo>
                    <a:pt x="163" y="420"/>
                  </a:lnTo>
                  <a:lnTo>
                    <a:pt x="162" y="421"/>
                  </a:lnTo>
                  <a:lnTo>
                    <a:pt x="161" y="422"/>
                  </a:lnTo>
                  <a:lnTo>
                    <a:pt x="160" y="421"/>
                  </a:lnTo>
                  <a:lnTo>
                    <a:pt x="160" y="420"/>
                  </a:lnTo>
                  <a:lnTo>
                    <a:pt x="159" y="419"/>
                  </a:lnTo>
                  <a:lnTo>
                    <a:pt x="156" y="419"/>
                  </a:lnTo>
                  <a:lnTo>
                    <a:pt x="157" y="416"/>
                  </a:lnTo>
                  <a:lnTo>
                    <a:pt x="159" y="414"/>
                  </a:lnTo>
                  <a:lnTo>
                    <a:pt x="159" y="413"/>
                  </a:lnTo>
                  <a:lnTo>
                    <a:pt x="157" y="413"/>
                  </a:lnTo>
                  <a:lnTo>
                    <a:pt x="156" y="412"/>
                  </a:lnTo>
                  <a:lnTo>
                    <a:pt x="157" y="410"/>
                  </a:lnTo>
                  <a:lnTo>
                    <a:pt x="159" y="409"/>
                  </a:lnTo>
                  <a:lnTo>
                    <a:pt x="159" y="408"/>
                  </a:lnTo>
                  <a:lnTo>
                    <a:pt x="157" y="408"/>
                  </a:lnTo>
                  <a:lnTo>
                    <a:pt x="157" y="409"/>
                  </a:lnTo>
                  <a:lnTo>
                    <a:pt x="156" y="410"/>
                  </a:lnTo>
                  <a:lnTo>
                    <a:pt x="155" y="412"/>
                  </a:lnTo>
                  <a:lnTo>
                    <a:pt x="154" y="410"/>
                  </a:lnTo>
                  <a:lnTo>
                    <a:pt x="153" y="409"/>
                  </a:lnTo>
                  <a:lnTo>
                    <a:pt x="154" y="407"/>
                  </a:lnTo>
                  <a:lnTo>
                    <a:pt x="154" y="404"/>
                  </a:lnTo>
                  <a:lnTo>
                    <a:pt x="153" y="406"/>
                  </a:lnTo>
                  <a:lnTo>
                    <a:pt x="151" y="406"/>
                  </a:lnTo>
                  <a:lnTo>
                    <a:pt x="151" y="403"/>
                  </a:lnTo>
                  <a:lnTo>
                    <a:pt x="150" y="404"/>
                  </a:lnTo>
                  <a:lnTo>
                    <a:pt x="149" y="404"/>
                  </a:lnTo>
                  <a:lnTo>
                    <a:pt x="149" y="406"/>
                  </a:lnTo>
                  <a:lnTo>
                    <a:pt x="151" y="406"/>
                  </a:lnTo>
                  <a:lnTo>
                    <a:pt x="151" y="408"/>
                  </a:lnTo>
                  <a:lnTo>
                    <a:pt x="151" y="407"/>
                  </a:lnTo>
                  <a:lnTo>
                    <a:pt x="150" y="409"/>
                  </a:lnTo>
                  <a:lnTo>
                    <a:pt x="150" y="410"/>
                  </a:lnTo>
                  <a:lnTo>
                    <a:pt x="149" y="408"/>
                  </a:lnTo>
                  <a:lnTo>
                    <a:pt x="147" y="408"/>
                  </a:lnTo>
                  <a:lnTo>
                    <a:pt x="148" y="407"/>
                  </a:lnTo>
                  <a:lnTo>
                    <a:pt x="147" y="407"/>
                  </a:lnTo>
                  <a:lnTo>
                    <a:pt x="145" y="408"/>
                  </a:lnTo>
                  <a:lnTo>
                    <a:pt x="145" y="407"/>
                  </a:lnTo>
                  <a:lnTo>
                    <a:pt x="145" y="406"/>
                  </a:lnTo>
                  <a:lnTo>
                    <a:pt x="145" y="404"/>
                  </a:lnTo>
                  <a:lnTo>
                    <a:pt x="148" y="404"/>
                  </a:lnTo>
                  <a:lnTo>
                    <a:pt x="148" y="403"/>
                  </a:lnTo>
                  <a:lnTo>
                    <a:pt x="147" y="403"/>
                  </a:lnTo>
                  <a:lnTo>
                    <a:pt x="148" y="403"/>
                  </a:lnTo>
                  <a:lnTo>
                    <a:pt x="149" y="402"/>
                  </a:lnTo>
                  <a:lnTo>
                    <a:pt x="150" y="402"/>
                  </a:lnTo>
                  <a:lnTo>
                    <a:pt x="153" y="401"/>
                  </a:lnTo>
                  <a:lnTo>
                    <a:pt x="154" y="398"/>
                  </a:lnTo>
                  <a:lnTo>
                    <a:pt x="153" y="400"/>
                  </a:lnTo>
                  <a:lnTo>
                    <a:pt x="151" y="400"/>
                  </a:lnTo>
                  <a:lnTo>
                    <a:pt x="149" y="398"/>
                  </a:lnTo>
                  <a:lnTo>
                    <a:pt x="151" y="397"/>
                  </a:lnTo>
                  <a:lnTo>
                    <a:pt x="151" y="396"/>
                  </a:lnTo>
                  <a:lnTo>
                    <a:pt x="150" y="396"/>
                  </a:lnTo>
                  <a:lnTo>
                    <a:pt x="148" y="398"/>
                  </a:lnTo>
                  <a:lnTo>
                    <a:pt x="148" y="397"/>
                  </a:lnTo>
                  <a:lnTo>
                    <a:pt x="149" y="395"/>
                  </a:lnTo>
                  <a:lnTo>
                    <a:pt x="150" y="394"/>
                  </a:lnTo>
                  <a:lnTo>
                    <a:pt x="148" y="395"/>
                  </a:lnTo>
                  <a:lnTo>
                    <a:pt x="147" y="396"/>
                  </a:lnTo>
                  <a:lnTo>
                    <a:pt x="144" y="397"/>
                  </a:lnTo>
                  <a:lnTo>
                    <a:pt x="144" y="395"/>
                  </a:lnTo>
                  <a:lnTo>
                    <a:pt x="143" y="396"/>
                  </a:lnTo>
                  <a:lnTo>
                    <a:pt x="143" y="398"/>
                  </a:lnTo>
                  <a:lnTo>
                    <a:pt x="141" y="396"/>
                  </a:lnTo>
                  <a:lnTo>
                    <a:pt x="139" y="395"/>
                  </a:lnTo>
                  <a:lnTo>
                    <a:pt x="138" y="396"/>
                  </a:lnTo>
                  <a:lnTo>
                    <a:pt x="138" y="397"/>
                  </a:lnTo>
                  <a:lnTo>
                    <a:pt x="137" y="396"/>
                  </a:lnTo>
                  <a:lnTo>
                    <a:pt x="136" y="395"/>
                  </a:lnTo>
                  <a:lnTo>
                    <a:pt x="136" y="392"/>
                  </a:lnTo>
                  <a:lnTo>
                    <a:pt x="136" y="391"/>
                  </a:lnTo>
                  <a:lnTo>
                    <a:pt x="137" y="391"/>
                  </a:lnTo>
                  <a:lnTo>
                    <a:pt x="135" y="391"/>
                  </a:lnTo>
                  <a:lnTo>
                    <a:pt x="133" y="392"/>
                  </a:lnTo>
                  <a:lnTo>
                    <a:pt x="133" y="395"/>
                  </a:lnTo>
                  <a:lnTo>
                    <a:pt x="132" y="397"/>
                  </a:lnTo>
                  <a:lnTo>
                    <a:pt x="133" y="398"/>
                  </a:lnTo>
                  <a:lnTo>
                    <a:pt x="136" y="400"/>
                  </a:lnTo>
                  <a:lnTo>
                    <a:pt x="137" y="401"/>
                  </a:lnTo>
                  <a:lnTo>
                    <a:pt x="138" y="401"/>
                  </a:lnTo>
                  <a:lnTo>
                    <a:pt x="138" y="402"/>
                  </a:lnTo>
                  <a:lnTo>
                    <a:pt x="137" y="402"/>
                  </a:lnTo>
                  <a:lnTo>
                    <a:pt x="136" y="403"/>
                  </a:lnTo>
                  <a:lnTo>
                    <a:pt x="139" y="403"/>
                  </a:lnTo>
                  <a:lnTo>
                    <a:pt x="141" y="407"/>
                  </a:lnTo>
                  <a:lnTo>
                    <a:pt x="138" y="407"/>
                  </a:lnTo>
                  <a:lnTo>
                    <a:pt x="136" y="406"/>
                  </a:lnTo>
                  <a:lnTo>
                    <a:pt x="135" y="407"/>
                  </a:lnTo>
                  <a:lnTo>
                    <a:pt x="132" y="404"/>
                  </a:lnTo>
                  <a:lnTo>
                    <a:pt x="131" y="406"/>
                  </a:lnTo>
                  <a:lnTo>
                    <a:pt x="130" y="406"/>
                  </a:lnTo>
                  <a:lnTo>
                    <a:pt x="128" y="409"/>
                  </a:lnTo>
                  <a:lnTo>
                    <a:pt x="128" y="408"/>
                  </a:lnTo>
                  <a:lnTo>
                    <a:pt x="127" y="406"/>
                  </a:lnTo>
                  <a:lnTo>
                    <a:pt x="127" y="403"/>
                  </a:lnTo>
                  <a:lnTo>
                    <a:pt x="126" y="406"/>
                  </a:lnTo>
                  <a:lnTo>
                    <a:pt x="126" y="407"/>
                  </a:lnTo>
                  <a:lnTo>
                    <a:pt x="126" y="408"/>
                  </a:lnTo>
                  <a:lnTo>
                    <a:pt x="125" y="407"/>
                  </a:lnTo>
                  <a:lnTo>
                    <a:pt x="122" y="406"/>
                  </a:lnTo>
                  <a:lnTo>
                    <a:pt x="124" y="408"/>
                  </a:lnTo>
                  <a:lnTo>
                    <a:pt x="124" y="410"/>
                  </a:lnTo>
                  <a:lnTo>
                    <a:pt x="124" y="412"/>
                  </a:lnTo>
                  <a:lnTo>
                    <a:pt x="125" y="413"/>
                  </a:lnTo>
                  <a:lnTo>
                    <a:pt x="126" y="413"/>
                  </a:lnTo>
                  <a:lnTo>
                    <a:pt x="127" y="414"/>
                  </a:lnTo>
                  <a:lnTo>
                    <a:pt x="127" y="416"/>
                  </a:lnTo>
                  <a:lnTo>
                    <a:pt x="128" y="415"/>
                  </a:lnTo>
                  <a:lnTo>
                    <a:pt x="128" y="413"/>
                  </a:lnTo>
                  <a:lnTo>
                    <a:pt x="130" y="412"/>
                  </a:lnTo>
                  <a:lnTo>
                    <a:pt x="130" y="414"/>
                  </a:lnTo>
                  <a:lnTo>
                    <a:pt x="131" y="418"/>
                  </a:lnTo>
                  <a:lnTo>
                    <a:pt x="130" y="420"/>
                  </a:lnTo>
                  <a:lnTo>
                    <a:pt x="128" y="418"/>
                  </a:lnTo>
                  <a:lnTo>
                    <a:pt x="127" y="416"/>
                  </a:lnTo>
                  <a:lnTo>
                    <a:pt x="128" y="420"/>
                  </a:lnTo>
                  <a:lnTo>
                    <a:pt x="127" y="420"/>
                  </a:lnTo>
                  <a:lnTo>
                    <a:pt x="126" y="419"/>
                  </a:lnTo>
                  <a:lnTo>
                    <a:pt x="124" y="419"/>
                  </a:lnTo>
                  <a:lnTo>
                    <a:pt x="125" y="418"/>
                  </a:lnTo>
                  <a:lnTo>
                    <a:pt x="126" y="416"/>
                  </a:lnTo>
                  <a:lnTo>
                    <a:pt x="126" y="415"/>
                  </a:lnTo>
                  <a:lnTo>
                    <a:pt x="125" y="416"/>
                  </a:lnTo>
                  <a:lnTo>
                    <a:pt x="124" y="416"/>
                  </a:lnTo>
                  <a:lnTo>
                    <a:pt x="124" y="415"/>
                  </a:lnTo>
                  <a:lnTo>
                    <a:pt x="121" y="414"/>
                  </a:lnTo>
                  <a:lnTo>
                    <a:pt x="119" y="415"/>
                  </a:lnTo>
                  <a:lnTo>
                    <a:pt x="119" y="413"/>
                  </a:lnTo>
                  <a:lnTo>
                    <a:pt x="121" y="412"/>
                  </a:lnTo>
                  <a:lnTo>
                    <a:pt x="122" y="412"/>
                  </a:lnTo>
                  <a:lnTo>
                    <a:pt x="122" y="410"/>
                  </a:lnTo>
                  <a:lnTo>
                    <a:pt x="121" y="410"/>
                  </a:lnTo>
                  <a:lnTo>
                    <a:pt x="121" y="409"/>
                  </a:lnTo>
                  <a:lnTo>
                    <a:pt x="121" y="408"/>
                  </a:lnTo>
                  <a:lnTo>
                    <a:pt x="121" y="407"/>
                  </a:lnTo>
                  <a:lnTo>
                    <a:pt x="120" y="406"/>
                  </a:lnTo>
                  <a:lnTo>
                    <a:pt x="119" y="407"/>
                  </a:lnTo>
                  <a:lnTo>
                    <a:pt x="119" y="408"/>
                  </a:lnTo>
                  <a:lnTo>
                    <a:pt x="118" y="409"/>
                  </a:lnTo>
                  <a:lnTo>
                    <a:pt x="118" y="410"/>
                  </a:lnTo>
                  <a:lnTo>
                    <a:pt x="116" y="409"/>
                  </a:lnTo>
                  <a:lnTo>
                    <a:pt x="115" y="407"/>
                  </a:lnTo>
                  <a:lnTo>
                    <a:pt x="115" y="406"/>
                  </a:lnTo>
                  <a:lnTo>
                    <a:pt x="114" y="404"/>
                  </a:lnTo>
                  <a:lnTo>
                    <a:pt x="115" y="402"/>
                  </a:lnTo>
                  <a:lnTo>
                    <a:pt x="115" y="401"/>
                  </a:lnTo>
                  <a:lnTo>
                    <a:pt x="114" y="402"/>
                  </a:lnTo>
                  <a:lnTo>
                    <a:pt x="114" y="401"/>
                  </a:lnTo>
                  <a:lnTo>
                    <a:pt x="113" y="401"/>
                  </a:lnTo>
                  <a:lnTo>
                    <a:pt x="112" y="400"/>
                  </a:lnTo>
                  <a:lnTo>
                    <a:pt x="110" y="400"/>
                  </a:lnTo>
                  <a:lnTo>
                    <a:pt x="110" y="398"/>
                  </a:lnTo>
                  <a:lnTo>
                    <a:pt x="110" y="397"/>
                  </a:lnTo>
                  <a:lnTo>
                    <a:pt x="109" y="400"/>
                  </a:lnTo>
                  <a:lnTo>
                    <a:pt x="110" y="401"/>
                  </a:lnTo>
                  <a:lnTo>
                    <a:pt x="112" y="401"/>
                  </a:lnTo>
                  <a:lnTo>
                    <a:pt x="112" y="402"/>
                  </a:lnTo>
                  <a:lnTo>
                    <a:pt x="112" y="403"/>
                  </a:lnTo>
                  <a:lnTo>
                    <a:pt x="110" y="404"/>
                  </a:lnTo>
                  <a:lnTo>
                    <a:pt x="109" y="406"/>
                  </a:lnTo>
                  <a:lnTo>
                    <a:pt x="112" y="406"/>
                  </a:lnTo>
                  <a:lnTo>
                    <a:pt x="113" y="406"/>
                  </a:lnTo>
                  <a:lnTo>
                    <a:pt x="114" y="408"/>
                  </a:lnTo>
                  <a:lnTo>
                    <a:pt x="113" y="409"/>
                  </a:lnTo>
                  <a:lnTo>
                    <a:pt x="112" y="409"/>
                  </a:lnTo>
                  <a:lnTo>
                    <a:pt x="110" y="410"/>
                  </a:lnTo>
                  <a:lnTo>
                    <a:pt x="109" y="412"/>
                  </a:lnTo>
                  <a:lnTo>
                    <a:pt x="108" y="410"/>
                  </a:lnTo>
                  <a:lnTo>
                    <a:pt x="109" y="408"/>
                  </a:lnTo>
                  <a:lnTo>
                    <a:pt x="108" y="407"/>
                  </a:lnTo>
                  <a:lnTo>
                    <a:pt x="108" y="409"/>
                  </a:lnTo>
                  <a:lnTo>
                    <a:pt x="107" y="412"/>
                  </a:lnTo>
                  <a:lnTo>
                    <a:pt x="107" y="410"/>
                  </a:lnTo>
                  <a:lnTo>
                    <a:pt x="106" y="410"/>
                  </a:lnTo>
                  <a:lnTo>
                    <a:pt x="104" y="412"/>
                  </a:lnTo>
                  <a:lnTo>
                    <a:pt x="104" y="409"/>
                  </a:lnTo>
                  <a:lnTo>
                    <a:pt x="103" y="408"/>
                  </a:lnTo>
                  <a:lnTo>
                    <a:pt x="102" y="409"/>
                  </a:lnTo>
                  <a:lnTo>
                    <a:pt x="103" y="410"/>
                  </a:lnTo>
                  <a:lnTo>
                    <a:pt x="102" y="413"/>
                  </a:lnTo>
                  <a:lnTo>
                    <a:pt x="101" y="414"/>
                  </a:lnTo>
                  <a:lnTo>
                    <a:pt x="100" y="413"/>
                  </a:lnTo>
                  <a:lnTo>
                    <a:pt x="98" y="412"/>
                  </a:lnTo>
                  <a:lnTo>
                    <a:pt x="97" y="414"/>
                  </a:lnTo>
                  <a:lnTo>
                    <a:pt x="98" y="415"/>
                  </a:lnTo>
                  <a:lnTo>
                    <a:pt x="100" y="416"/>
                  </a:lnTo>
                  <a:lnTo>
                    <a:pt x="101" y="415"/>
                  </a:lnTo>
                  <a:lnTo>
                    <a:pt x="102" y="418"/>
                  </a:lnTo>
                  <a:lnTo>
                    <a:pt x="103" y="418"/>
                  </a:lnTo>
                  <a:lnTo>
                    <a:pt x="103" y="414"/>
                  </a:lnTo>
                  <a:lnTo>
                    <a:pt x="104" y="413"/>
                  </a:lnTo>
                  <a:lnTo>
                    <a:pt x="104" y="414"/>
                  </a:lnTo>
                  <a:lnTo>
                    <a:pt x="107" y="414"/>
                  </a:lnTo>
                  <a:lnTo>
                    <a:pt x="107" y="416"/>
                  </a:lnTo>
                  <a:lnTo>
                    <a:pt x="104" y="418"/>
                  </a:lnTo>
                  <a:lnTo>
                    <a:pt x="106" y="419"/>
                  </a:lnTo>
                  <a:lnTo>
                    <a:pt x="104" y="419"/>
                  </a:lnTo>
                  <a:lnTo>
                    <a:pt x="103" y="419"/>
                  </a:lnTo>
                  <a:lnTo>
                    <a:pt x="101" y="418"/>
                  </a:lnTo>
                  <a:lnTo>
                    <a:pt x="101" y="419"/>
                  </a:lnTo>
                  <a:lnTo>
                    <a:pt x="101" y="420"/>
                  </a:lnTo>
                  <a:lnTo>
                    <a:pt x="100" y="421"/>
                  </a:lnTo>
                  <a:lnTo>
                    <a:pt x="100" y="422"/>
                  </a:lnTo>
                  <a:lnTo>
                    <a:pt x="98" y="421"/>
                  </a:lnTo>
                  <a:lnTo>
                    <a:pt x="97" y="418"/>
                  </a:lnTo>
                  <a:lnTo>
                    <a:pt x="95" y="418"/>
                  </a:lnTo>
                  <a:lnTo>
                    <a:pt x="95" y="419"/>
                  </a:lnTo>
                  <a:lnTo>
                    <a:pt x="95" y="416"/>
                  </a:lnTo>
                  <a:lnTo>
                    <a:pt x="94" y="419"/>
                  </a:lnTo>
                  <a:lnTo>
                    <a:pt x="92" y="421"/>
                  </a:lnTo>
                  <a:lnTo>
                    <a:pt x="92" y="420"/>
                  </a:lnTo>
                  <a:lnTo>
                    <a:pt x="89" y="422"/>
                  </a:lnTo>
                  <a:lnTo>
                    <a:pt x="89" y="424"/>
                  </a:lnTo>
                  <a:lnTo>
                    <a:pt x="88" y="421"/>
                  </a:lnTo>
                  <a:lnTo>
                    <a:pt x="86" y="421"/>
                  </a:lnTo>
                  <a:lnTo>
                    <a:pt x="84" y="424"/>
                  </a:lnTo>
                  <a:lnTo>
                    <a:pt x="83" y="425"/>
                  </a:lnTo>
                  <a:lnTo>
                    <a:pt x="82" y="422"/>
                  </a:lnTo>
                  <a:lnTo>
                    <a:pt x="80" y="420"/>
                  </a:lnTo>
                  <a:lnTo>
                    <a:pt x="80" y="419"/>
                  </a:lnTo>
                  <a:lnTo>
                    <a:pt x="79" y="420"/>
                  </a:lnTo>
                  <a:lnTo>
                    <a:pt x="79" y="418"/>
                  </a:lnTo>
                  <a:lnTo>
                    <a:pt x="82" y="415"/>
                  </a:lnTo>
                  <a:lnTo>
                    <a:pt x="84" y="414"/>
                  </a:lnTo>
                  <a:lnTo>
                    <a:pt x="85" y="415"/>
                  </a:lnTo>
                  <a:lnTo>
                    <a:pt x="86" y="415"/>
                  </a:lnTo>
                  <a:lnTo>
                    <a:pt x="85" y="414"/>
                  </a:lnTo>
                  <a:lnTo>
                    <a:pt x="85" y="413"/>
                  </a:lnTo>
                  <a:lnTo>
                    <a:pt x="84" y="414"/>
                  </a:lnTo>
                  <a:lnTo>
                    <a:pt x="82" y="413"/>
                  </a:lnTo>
                  <a:lnTo>
                    <a:pt x="79" y="413"/>
                  </a:lnTo>
                  <a:lnTo>
                    <a:pt x="78" y="413"/>
                  </a:lnTo>
                  <a:lnTo>
                    <a:pt x="76" y="414"/>
                  </a:lnTo>
                  <a:lnTo>
                    <a:pt x="73" y="418"/>
                  </a:lnTo>
                  <a:lnTo>
                    <a:pt x="73" y="415"/>
                  </a:lnTo>
                  <a:lnTo>
                    <a:pt x="73" y="413"/>
                  </a:lnTo>
                  <a:lnTo>
                    <a:pt x="74" y="410"/>
                  </a:lnTo>
                  <a:lnTo>
                    <a:pt x="77" y="410"/>
                  </a:lnTo>
                  <a:lnTo>
                    <a:pt x="78" y="410"/>
                  </a:lnTo>
                  <a:lnTo>
                    <a:pt x="82" y="409"/>
                  </a:lnTo>
                  <a:lnTo>
                    <a:pt x="78" y="408"/>
                  </a:lnTo>
                  <a:lnTo>
                    <a:pt x="74" y="409"/>
                  </a:lnTo>
                  <a:lnTo>
                    <a:pt x="73" y="409"/>
                  </a:lnTo>
                  <a:lnTo>
                    <a:pt x="72" y="410"/>
                  </a:lnTo>
                  <a:lnTo>
                    <a:pt x="71" y="410"/>
                  </a:lnTo>
                  <a:lnTo>
                    <a:pt x="72" y="409"/>
                  </a:lnTo>
                  <a:lnTo>
                    <a:pt x="69" y="410"/>
                  </a:lnTo>
                  <a:lnTo>
                    <a:pt x="69" y="409"/>
                  </a:lnTo>
                  <a:lnTo>
                    <a:pt x="72" y="407"/>
                  </a:lnTo>
                  <a:lnTo>
                    <a:pt x="76" y="407"/>
                  </a:lnTo>
                  <a:lnTo>
                    <a:pt x="78" y="408"/>
                  </a:lnTo>
                  <a:lnTo>
                    <a:pt x="80" y="409"/>
                  </a:lnTo>
                  <a:lnTo>
                    <a:pt x="82" y="409"/>
                  </a:lnTo>
                  <a:lnTo>
                    <a:pt x="84" y="408"/>
                  </a:lnTo>
                  <a:lnTo>
                    <a:pt x="88" y="407"/>
                  </a:lnTo>
                  <a:lnTo>
                    <a:pt x="89" y="406"/>
                  </a:lnTo>
                  <a:lnTo>
                    <a:pt x="88" y="407"/>
                  </a:lnTo>
                  <a:lnTo>
                    <a:pt x="85" y="406"/>
                  </a:lnTo>
                  <a:lnTo>
                    <a:pt x="84" y="407"/>
                  </a:lnTo>
                  <a:lnTo>
                    <a:pt x="82" y="407"/>
                  </a:lnTo>
                  <a:lnTo>
                    <a:pt x="79" y="407"/>
                  </a:lnTo>
                  <a:lnTo>
                    <a:pt x="79" y="406"/>
                  </a:lnTo>
                  <a:lnTo>
                    <a:pt x="78" y="404"/>
                  </a:lnTo>
                  <a:lnTo>
                    <a:pt x="79" y="403"/>
                  </a:lnTo>
                  <a:lnTo>
                    <a:pt x="77" y="404"/>
                  </a:lnTo>
                  <a:lnTo>
                    <a:pt x="74" y="404"/>
                  </a:lnTo>
                  <a:lnTo>
                    <a:pt x="73" y="404"/>
                  </a:lnTo>
                  <a:lnTo>
                    <a:pt x="69" y="404"/>
                  </a:lnTo>
                  <a:lnTo>
                    <a:pt x="69" y="403"/>
                  </a:lnTo>
                  <a:lnTo>
                    <a:pt x="71" y="402"/>
                  </a:lnTo>
                  <a:lnTo>
                    <a:pt x="69" y="401"/>
                  </a:lnTo>
                  <a:lnTo>
                    <a:pt x="67" y="401"/>
                  </a:lnTo>
                  <a:lnTo>
                    <a:pt x="68" y="398"/>
                  </a:lnTo>
                  <a:lnTo>
                    <a:pt x="66" y="398"/>
                  </a:lnTo>
                  <a:lnTo>
                    <a:pt x="66" y="397"/>
                  </a:lnTo>
                  <a:lnTo>
                    <a:pt x="65" y="398"/>
                  </a:lnTo>
                  <a:lnTo>
                    <a:pt x="63" y="400"/>
                  </a:lnTo>
                  <a:lnTo>
                    <a:pt x="63" y="398"/>
                  </a:lnTo>
                  <a:lnTo>
                    <a:pt x="61" y="400"/>
                  </a:lnTo>
                  <a:lnTo>
                    <a:pt x="60" y="403"/>
                  </a:lnTo>
                  <a:lnTo>
                    <a:pt x="57" y="407"/>
                  </a:lnTo>
                  <a:lnTo>
                    <a:pt x="56" y="409"/>
                  </a:lnTo>
                  <a:lnTo>
                    <a:pt x="55" y="404"/>
                  </a:lnTo>
                  <a:lnTo>
                    <a:pt x="54" y="406"/>
                  </a:lnTo>
                  <a:lnTo>
                    <a:pt x="53" y="406"/>
                  </a:lnTo>
                  <a:lnTo>
                    <a:pt x="53" y="407"/>
                  </a:lnTo>
                  <a:lnTo>
                    <a:pt x="53" y="408"/>
                  </a:lnTo>
                  <a:lnTo>
                    <a:pt x="53" y="409"/>
                  </a:lnTo>
                  <a:lnTo>
                    <a:pt x="51" y="410"/>
                  </a:lnTo>
                  <a:lnTo>
                    <a:pt x="53" y="409"/>
                  </a:lnTo>
                  <a:lnTo>
                    <a:pt x="55" y="412"/>
                  </a:lnTo>
                  <a:lnTo>
                    <a:pt x="54" y="415"/>
                  </a:lnTo>
                  <a:lnTo>
                    <a:pt x="53" y="414"/>
                  </a:lnTo>
                  <a:lnTo>
                    <a:pt x="50" y="413"/>
                  </a:lnTo>
                  <a:lnTo>
                    <a:pt x="49" y="412"/>
                  </a:lnTo>
                  <a:lnTo>
                    <a:pt x="49" y="413"/>
                  </a:lnTo>
                  <a:lnTo>
                    <a:pt x="49" y="414"/>
                  </a:lnTo>
                  <a:lnTo>
                    <a:pt x="47" y="413"/>
                  </a:lnTo>
                  <a:lnTo>
                    <a:pt x="47" y="412"/>
                  </a:lnTo>
                  <a:lnTo>
                    <a:pt x="45" y="413"/>
                  </a:lnTo>
                  <a:lnTo>
                    <a:pt x="45" y="414"/>
                  </a:lnTo>
                  <a:lnTo>
                    <a:pt x="43" y="415"/>
                  </a:lnTo>
                  <a:lnTo>
                    <a:pt x="42" y="415"/>
                  </a:lnTo>
                  <a:lnTo>
                    <a:pt x="41" y="415"/>
                  </a:lnTo>
                  <a:lnTo>
                    <a:pt x="39" y="418"/>
                  </a:lnTo>
                  <a:lnTo>
                    <a:pt x="38" y="419"/>
                  </a:lnTo>
                  <a:lnTo>
                    <a:pt x="37" y="418"/>
                  </a:lnTo>
                  <a:lnTo>
                    <a:pt x="35" y="418"/>
                  </a:lnTo>
                  <a:lnTo>
                    <a:pt x="33" y="416"/>
                  </a:lnTo>
                  <a:lnTo>
                    <a:pt x="30" y="418"/>
                  </a:lnTo>
                  <a:lnTo>
                    <a:pt x="27" y="419"/>
                  </a:lnTo>
                  <a:lnTo>
                    <a:pt x="26" y="421"/>
                  </a:lnTo>
                  <a:lnTo>
                    <a:pt x="26" y="422"/>
                  </a:lnTo>
                  <a:lnTo>
                    <a:pt x="25" y="424"/>
                  </a:lnTo>
                  <a:lnTo>
                    <a:pt x="24" y="422"/>
                  </a:lnTo>
                  <a:lnTo>
                    <a:pt x="24" y="421"/>
                  </a:lnTo>
                  <a:lnTo>
                    <a:pt x="21" y="421"/>
                  </a:lnTo>
                  <a:lnTo>
                    <a:pt x="23" y="420"/>
                  </a:lnTo>
                  <a:lnTo>
                    <a:pt x="21" y="420"/>
                  </a:lnTo>
                  <a:lnTo>
                    <a:pt x="21" y="419"/>
                  </a:lnTo>
                  <a:lnTo>
                    <a:pt x="20" y="420"/>
                  </a:lnTo>
                  <a:lnTo>
                    <a:pt x="20" y="419"/>
                  </a:lnTo>
                  <a:lnTo>
                    <a:pt x="18" y="419"/>
                  </a:lnTo>
                  <a:lnTo>
                    <a:pt x="15" y="421"/>
                  </a:lnTo>
                  <a:lnTo>
                    <a:pt x="15" y="420"/>
                  </a:lnTo>
                  <a:lnTo>
                    <a:pt x="13" y="421"/>
                  </a:lnTo>
                  <a:lnTo>
                    <a:pt x="10" y="422"/>
                  </a:lnTo>
                  <a:lnTo>
                    <a:pt x="13" y="419"/>
                  </a:lnTo>
                  <a:lnTo>
                    <a:pt x="12" y="419"/>
                  </a:lnTo>
                  <a:lnTo>
                    <a:pt x="14" y="415"/>
                  </a:lnTo>
                  <a:lnTo>
                    <a:pt x="15" y="412"/>
                  </a:lnTo>
                  <a:lnTo>
                    <a:pt x="18" y="412"/>
                  </a:lnTo>
                  <a:lnTo>
                    <a:pt x="17" y="410"/>
                  </a:lnTo>
                  <a:lnTo>
                    <a:pt x="13" y="413"/>
                  </a:lnTo>
                  <a:lnTo>
                    <a:pt x="10" y="416"/>
                  </a:lnTo>
                  <a:lnTo>
                    <a:pt x="13" y="412"/>
                  </a:lnTo>
                  <a:lnTo>
                    <a:pt x="13" y="409"/>
                  </a:lnTo>
                  <a:lnTo>
                    <a:pt x="12" y="407"/>
                  </a:lnTo>
                  <a:lnTo>
                    <a:pt x="14" y="404"/>
                  </a:lnTo>
                  <a:lnTo>
                    <a:pt x="13" y="404"/>
                  </a:lnTo>
                  <a:lnTo>
                    <a:pt x="12" y="406"/>
                  </a:lnTo>
                  <a:lnTo>
                    <a:pt x="8" y="408"/>
                  </a:lnTo>
                  <a:lnTo>
                    <a:pt x="8" y="406"/>
                  </a:lnTo>
                  <a:lnTo>
                    <a:pt x="8" y="402"/>
                  </a:lnTo>
                  <a:lnTo>
                    <a:pt x="10" y="400"/>
                  </a:lnTo>
                  <a:lnTo>
                    <a:pt x="12" y="400"/>
                  </a:lnTo>
                  <a:lnTo>
                    <a:pt x="14" y="400"/>
                  </a:lnTo>
                  <a:lnTo>
                    <a:pt x="18" y="398"/>
                  </a:lnTo>
                  <a:lnTo>
                    <a:pt x="18" y="397"/>
                  </a:lnTo>
                  <a:lnTo>
                    <a:pt x="20" y="396"/>
                  </a:lnTo>
                  <a:lnTo>
                    <a:pt x="21" y="398"/>
                  </a:lnTo>
                  <a:lnTo>
                    <a:pt x="23" y="397"/>
                  </a:lnTo>
                  <a:lnTo>
                    <a:pt x="24" y="397"/>
                  </a:lnTo>
                  <a:lnTo>
                    <a:pt x="26" y="397"/>
                  </a:lnTo>
                  <a:lnTo>
                    <a:pt x="30" y="395"/>
                  </a:lnTo>
                  <a:lnTo>
                    <a:pt x="32" y="396"/>
                  </a:lnTo>
                  <a:lnTo>
                    <a:pt x="31" y="396"/>
                  </a:lnTo>
                  <a:lnTo>
                    <a:pt x="30" y="397"/>
                  </a:lnTo>
                  <a:lnTo>
                    <a:pt x="27" y="398"/>
                  </a:lnTo>
                  <a:lnTo>
                    <a:pt x="27" y="400"/>
                  </a:lnTo>
                  <a:lnTo>
                    <a:pt x="26" y="401"/>
                  </a:lnTo>
                  <a:lnTo>
                    <a:pt x="27" y="401"/>
                  </a:lnTo>
                  <a:lnTo>
                    <a:pt x="30" y="400"/>
                  </a:lnTo>
                  <a:lnTo>
                    <a:pt x="31" y="398"/>
                  </a:lnTo>
                  <a:lnTo>
                    <a:pt x="31" y="397"/>
                  </a:lnTo>
                  <a:lnTo>
                    <a:pt x="33" y="397"/>
                  </a:lnTo>
                  <a:lnTo>
                    <a:pt x="35" y="397"/>
                  </a:lnTo>
                  <a:lnTo>
                    <a:pt x="37" y="396"/>
                  </a:lnTo>
                  <a:lnTo>
                    <a:pt x="36" y="396"/>
                  </a:lnTo>
                  <a:lnTo>
                    <a:pt x="35" y="396"/>
                  </a:lnTo>
                  <a:lnTo>
                    <a:pt x="35" y="395"/>
                  </a:lnTo>
                  <a:lnTo>
                    <a:pt x="36" y="391"/>
                  </a:lnTo>
                  <a:lnTo>
                    <a:pt x="38" y="390"/>
                  </a:lnTo>
                  <a:lnTo>
                    <a:pt x="38" y="389"/>
                  </a:lnTo>
                  <a:lnTo>
                    <a:pt x="39" y="388"/>
                  </a:lnTo>
                  <a:lnTo>
                    <a:pt x="37" y="389"/>
                  </a:lnTo>
                  <a:lnTo>
                    <a:pt x="36" y="390"/>
                  </a:lnTo>
                  <a:lnTo>
                    <a:pt x="37" y="388"/>
                  </a:lnTo>
                  <a:lnTo>
                    <a:pt x="35" y="388"/>
                  </a:lnTo>
                  <a:lnTo>
                    <a:pt x="32" y="391"/>
                  </a:lnTo>
                  <a:lnTo>
                    <a:pt x="35" y="386"/>
                  </a:lnTo>
                  <a:lnTo>
                    <a:pt x="36" y="384"/>
                  </a:lnTo>
                  <a:lnTo>
                    <a:pt x="38" y="382"/>
                  </a:lnTo>
                  <a:lnTo>
                    <a:pt x="38" y="380"/>
                  </a:lnTo>
                  <a:lnTo>
                    <a:pt x="39" y="379"/>
                  </a:lnTo>
                  <a:lnTo>
                    <a:pt x="37" y="378"/>
                  </a:lnTo>
                  <a:lnTo>
                    <a:pt x="33" y="379"/>
                  </a:lnTo>
                  <a:lnTo>
                    <a:pt x="36" y="376"/>
                  </a:lnTo>
                  <a:lnTo>
                    <a:pt x="38" y="374"/>
                  </a:lnTo>
                  <a:lnTo>
                    <a:pt x="42" y="374"/>
                  </a:lnTo>
                  <a:lnTo>
                    <a:pt x="43" y="376"/>
                  </a:lnTo>
                  <a:lnTo>
                    <a:pt x="45" y="377"/>
                  </a:lnTo>
                  <a:lnTo>
                    <a:pt x="45" y="376"/>
                  </a:lnTo>
                  <a:lnTo>
                    <a:pt x="48" y="377"/>
                  </a:lnTo>
                  <a:lnTo>
                    <a:pt x="49" y="377"/>
                  </a:lnTo>
                  <a:lnTo>
                    <a:pt x="48" y="376"/>
                  </a:lnTo>
                  <a:lnTo>
                    <a:pt x="44" y="374"/>
                  </a:lnTo>
                  <a:lnTo>
                    <a:pt x="44" y="373"/>
                  </a:lnTo>
                  <a:lnTo>
                    <a:pt x="45" y="372"/>
                  </a:lnTo>
                  <a:lnTo>
                    <a:pt x="47" y="371"/>
                  </a:lnTo>
                  <a:lnTo>
                    <a:pt x="45" y="370"/>
                  </a:lnTo>
                  <a:lnTo>
                    <a:pt x="44" y="370"/>
                  </a:lnTo>
                  <a:lnTo>
                    <a:pt x="44" y="372"/>
                  </a:lnTo>
                  <a:lnTo>
                    <a:pt x="43" y="371"/>
                  </a:lnTo>
                  <a:lnTo>
                    <a:pt x="43" y="368"/>
                  </a:lnTo>
                  <a:lnTo>
                    <a:pt x="44" y="367"/>
                  </a:lnTo>
                  <a:lnTo>
                    <a:pt x="43" y="367"/>
                  </a:lnTo>
                  <a:lnTo>
                    <a:pt x="43" y="366"/>
                  </a:lnTo>
                  <a:lnTo>
                    <a:pt x="42" y="367"/>
                  </a:lnTo>
                  <a:lnTo>
                    <a:pt x="39" y="368"/>
                  </a:lnTo>
                  <a:lnTo>
                    <a:pt x="39" y="370"/>
                  </a:lnTo>
                  <a:lnTo>
                    <a:pt x="39" y="367"/>
                  </a:lnTo>
                  <a:lnTo>
                    <a:pt x="39" y="366"/>
                  </a:lnTo>
                  <a:lnTo>
                    <a:pt x="38" y="367"/>
                  </a:lnTo>
                  <a:lnTo>
                    <a:pt x="39" y="364"/>
                  </a:lnTo>
                  <a:lnTo>
                    <a:pt x="41" y="362"/>
                  </a:lnTo>
                  <a:lnTo>
                    <a:pt x="43" y="361"/>
                  </a:lnTo>
                  <a:lnTo>
                    <a:pt x="45" y="359"/>
                  </a:lnTo>
                  <a:lnTo>
                    <a:pt x="47" y="356"/>
                  </a:lnTo>
                  <a:lnTo>
                    <a:pt x="45" y="356"/>
                  </a:lnTo>
                  <a:lnTo>
                    <a:pt x="44" y="358"/>
                  </a:lnTo>
                  <a:lnTo>
                    <a:pt x="44" y="356"/>
                  </a:lnTo>
                  <a:lnTo>
                    <a:pt x="43" y="358"/>
                  </a:lnTo>
                  <a:lnTo>
                    <a:pt x="43" y="359"/>
                  </a:lnTo>
                  <a:lnTo>
                    <a:pt x="43" y="358"/>
                  </a:lnTo>
                  <a:lnTo>
                    <a:pt x="42" y="359"/>
                  </a:lnTo>
                  <a:lnTo>
                    <a:pt x="41" y="359"/>
                  </a:lnTo>
                  <a:lnTo>
                    <a:pt x="39" y="359"/>
                  </a:lnTo>
                  <a:lnTo>
                    <a:pt x="38" y="361"/>
                  </a:lnTo>
                  <a:lnTo>
                    <a:pt x="38" y="359"/>
                  </a:lnTo>
                  <a:lnTo>
                    <a:pt x="39" y="356"/>
                  </a:lnTo>
                  <a:lnTo>
                    <a:pt x="38" y="356"/>
                  </a:lnTo>
                  <a:lnTo>
                    <a:pt x="36" y="355"/>
                  </a:lnTo>
                  <a:lnTo>
                    <a:pt x="36" y="353"/>
                  </a:lnTo>
                  <a:lnTo>
                    <a:pt x="37" y="352"/>
                  </a:lnTo>
                  <a:lnTo>
                    <a:pt x="36" y="350"/>
                  </a:lnTo>
                  <a:lnTo>
                    <a:pt x="35" y="349"/>
                  </a:lnTo>
                  <a:lnTo>
                    <a:pt x="30" y="353"/>
                  </a:lnTo>
                  <a:lnTo>
                    <a:pt x="29" y="358"/>
                  </a:lnTo>
                  <a:lnTo>
                    <a:pt x="24" y="364"/>
                  </a:lnTo>
                  <a:lnTo>
                    <a:pt x="27" y="359"/>
                  </a:lnTo>
                  <a:lnTo>
                    <a:pt x="27" y="355"/>
                  </a:lnTo>
                  <a:lnTo>
                    <a:pt x="25" y="356"/>
                  </a:lnTo>
                  <a:lnTo>
                    <a:pt x="23" y="358"/>
                  </a:lnTo>
                  <a:lnTo>
                    <a:pt x="26" y="356"/>
                  </a:lnTo>
                  <a:lnTo>
                    <a:pt x="29" y="354"/>
                  </a:lnTo>
                  <a:lnTo>
                    <a:pt x="29" y="353"/>
                  </a:lnTo>
                  <a:lnTo>
                    <a:pt x="23" y="355"/>
                  </a:lnTo>
                  <a:lnTo>
                    <a:pt x="19" y="359"/>
                  </a:lnTo>
                  <a:lnTo>
                    <a:pt x="21" y="355"/>
                  </a:lnTo>
                  <a:lnTo>
                    <a:pt x="19" y="356"/>
                  </a:lnTo>
                  <a:lnTo>
                    <a:pt x="18" y="355"/>
                  </a:lnTo>
                  <a:lnTo>
                    <a:pt x="20" y="355"/>
                  </a:lnTo>
                  <a:lnTo>
                    <a:pt x="19" y="354"/>
                  </a:lnTo>
                  <a:lnTo>
                    <a:pt x="18" y="354"/>
                  </a:lnTo>
                  <a:lnTo>
                    <a:pt x="15" y="355"/>
                  </a:lnTo>
                  <a:lnTo>
                    <a:pt x="14" y="355"/>
                  </a:lnTo>
                  <a:lnTo>
                    <a:pt x="14" y="354"/>
                  </a:lnTo>
                  <a:lnTo>
                    <a:pt x="13" y="354"/>
                  </a:lnTo>
                  <a:lnTo>
                    <a:pt x="10" y="354"/>
                  </a:lnTo>
                  <a:lnTo>
                    <a:pt x="12" y="352"/>
                  </a:lnTo>
                  <a:lnTo>
                    <a:pt x="13" y="350"/>
                  </a:lnTo>
                  <a:lnTo>
                    <a:pt x="12" y="350"/>
                  </a:lnTo>
                  <a:lnTo>
                    <a:pt x="13" y="349"/>
                  </a:lnTo>
                  <a:lnTo>
                    <a:pt x="12" y="349"/>
                  </a:lnTo>
                  <a:lnTo>
                    <a:pt x="13" y="348"/>
                  </a:lnTo>
                  <a:lnTo>
                    <a:pt x="13" y="347"/>
                  </a:lnTo>
                  <a:lnTo>
                    <a:pt x="17" y="345"/>
                  </a:lnTo>
                  <a:lnTo>
                    <a:pt x="19" y="344"/>
                  </a:lnTo>
                  <a:lnTo>
                    <a:pt x="18" y="344"/>
                  </a:lnTo>
                  <a:lnTo>
                    <a:pt x="19" y="343"/>
                  </a:lnTo>
                  <a:lnTo>
                    <a:pt x="18" y="343"/>
                  </a:lnTo>
                  <a:lnTo>
                    <a:pt x="19" y="342"/>
                  </a:lnTo>
                  <a:lnTo>
                    <a:pt x="20" y="341"/>
                  </a:lnTo>
                  <a:lnTo>
                    <a:pt x="17" y="341"/>
                  </a:lnTo>
                  <a:lnTo>
                    <a:pt x="15" y="341"/>
                  </a:lnTo>
                  <a:lnTo>
                    <a:pt x="13" y="339"/>
                  </a:lnTo>
                  <a:lnTo>
                    <a:pt x="14" y="338"/>
                  </a:lnTo>
                  <a:lnTo>
                    <a:pt x="17" y="337"/>
                  </a:lnTo>
                  <a:lnTo>
                    <a:pt x="19" y="337"/>
                  </a:lnTo>
                  <a:lnTo>
                    <a:pt x="21" y="337"/>
                  </a:lnTo>
                  <a:lnTo>
                    <a:pt x="23" y="339"/>
                  </a:lnTo>
                  <a:lnTo>
                    <a:pt x="25" y="341"/>
                  </a:lnTo>
                  <a:lnTo>
                    <a:pt x="26" y="341"/>
                  </a:lnTo>
                  <a:lnTo>
                    <a:pt x="27" y="339"/>
                  </a:lnTo>
                  <a:lnTo>
                    <a:pt x="29" y="339"/>
                  </a:lnTo>
                  <a:lnTo>
                    <a:pt x="31" y="339"/>
                  </a:lnTo>
                  <a:lnTo>
                    <a:pt x="32" y="338"/>
                  </a:lnTo>
                  <a:lnTo>
                    <a:pt x="33" y="338"/>
                  </a:lnTo>
                  <a:lnTo>
                    <a:pt x="35" y="337"/>
                  </a:lnTo>
                  <a:lnTo>
                    <a:pt x="36" y="337"/>
                  </a:lnTo>
                  <a:lnTo>
                    <a:pt x="36" y="335"/>
                  </a:lnTo>
                  <a:lnTo>
                    <a:pt x="37" y="335"/>
                  </a:lnTo>
                  <a:lnTo>
                    <a:pt x="37" y="332"/>
                  </a:lnTo>
                  <a:lnTo>
                    <a:pt x="38" y="331"/>
                  </a:lnTo>
                  <a:lnTo>
                    <a:pt x="36" y="332"/>
                  </a:lnTo>
                  <a:lnTo>
                    <a:pt x="32" y="335"/>
                  </a:lnTo>
                  <a:lnTo>
                    <a:pt x="31" y="336"/>
                  </a:lnTo>
                  <a:lnTo>
                    <a:pt x="31" y="332"/>
                  </a:lnTo>
                  <a:lnTo>
                    <a:pt x="30" y="330"/>
                  </a:lnTo>
                  <a:lnTo>
                    <a:pt x="30" y="327"/>
                  </a:lnTo>
                  <a:lnTo>
                    <a:pt x="27" y="327"/>
                  </a:lnTo>
                  <a:lnTo>
                    <a:pt x="25" y="329"/>
                  </a:lnTo>
                  <a:lnTo>
                    <a:pt x="24" y="331"/>
                  </a:lnTo>
                  <a:lnTo>
                    <a:pt x="24" y="329"/>
                  </a:lnTo>
                  <a:lnTo>
                    <a:pt x="21" y="329"/>
                  </a:lnTo>
                  <a:lnTo>
                    <a:pt x="20" y="327"/>
                  </a:lnTo>
                  <a:lnTo>
                    <a:pt x="19" y="327"/>
                  </a:lnTo>
                  <a:lnTo>
                    <a:pt x="18" y="326"/>
                  </a:lnTo>
                  <a:lnTo>
                    <a:pt x="18" y="321"/>
                  </a:lnTo>
                  <a:lnTo>
                    <a:pt x="15" y="324"/>
                  </a:lnTo>
                  <a:lnTo>
                    <a:pt x="17" y="327"/>
                  </a:lnTo>
                  <a:lnTo>
                    <a:pt x="17" y="332"/>
                  </a:lnTo>
                  <a:lnTo>
                    <a:pt x="15" y="335"/>
                  </a:lnTo>
                  <a:lnTo>
                    <a:pt x="12" y="329"/>
                  </a:lnTo>
                  <a:lnTo>
                    <a:pt x="10" y="329"/>
                  </a:lnTo>
                  <a:lnTo>
                    <a:pt x="9" y="329"/>
                  </a:lnTo>
                  <a:lnTo>
                    <a:pt x="8" y="331"/>
                  </a:lnTo>
                  <a:lnTo>
                    <a:pt x="8" y="327"/>
                  </a:lnTo>
                  <a:lnTo>
                    <a:pt x="7" y="326"/>
                  </a:lnTo>
                  <a:lnTo>
                    <a:pt x="6" y="326"/>
                  </a:lnTo>
                  <a:lnTo>
                    <a:pt x="4" y="326"/>
                  </a:lnTo>
                  <a:lnTo>
                    <a:pt x="4" y="325"/>
                  </a:lnTo>
                  <a:lnTo>
                    <a:pt x="6" y="323"/>
                  </a:lnTo>
                  <a:lnTo>
                    <a:pt x="8" y="320"/>
                  </a:lnTo>
                  <a:lnTo>
                    <a:pt x="7" y="319"/>
                  </a:lnTo>
                  <a:lnTo>
                    <a:pt x="8" y="317"/>
                  </a:lnTo>
                  <a:lnTo>
                    <a:pt x="8" y="314"/>
                  </a:lnTo>
                  <a:lnTo>
                    <a:pt x="9" y="313"/>
                  </a:lnTo>
                  <a:lnTo>
                    <a:pt x="10" y="314"/>
                  </a:lnTo>
                  <a:lnTo>
                    <a:pt x="10" y="313"/>
                  </a:lnTo>
                  <a:lnTo>
                    <a:pt x="12" y="313"/>
                  </a:lnTo>
                  <a:lnTo>
                    <a:pt x="14" y="311"/>
                  </a:lnTo>
                  <a:lnTo>
                    <a:pt x="15" y="307"/>
                  </a:lnTo>
                  <a:lnTo>
                    <a:pt x="15" y="308"/>
                  </a:lnTo>
                  <a:lnTo>
                    <a:pt x="17" y="308"/>
                  </a:lnTo>
                  <a:lnTo>
                    <a:pt x="18" y="307"/>
                  </a:lnTo>
                  <a:lnTo>
                    <a:pt x="19" y="307"/>
                  </a:lnTo>
                  <a:lnTo>
                    <a:pt x="20" y="306"/>
                  </a:lnTo>
                  <a:lnTo>
                    <a:pt x="23" y="305"/>
                  </a:lnTo>
                  <a:lnTo>
                    <a:pt x="17" y="302"/>
                  </a:lnTo>
                  <a:lnTo>
                    <a:pt x="12" y="300"/>
                  </a:lnTo>
                  <a:lnTo>
                    <a:pt x="10" y="302"/>
                  </a:lnTo>
                  <a:lnTo>
                    <a:pt x="10" y="305"/>
                  </a:lnTo>
                  <a:lnTo>
                    <a:pt x="9" y="305"/>
                  </a:lnTo>
                  <a:lnTo>
                    <a:pt x="8" y="306"/>
                  </a:lnTo>
                  <a:lnTo>
                    <a:pt x="6" y="308"/>
                  </a:lnTo>
                  <a:lnTo>
                    <a:pt x="6" y="306"/>
                  </a:lnTo>
                  <a:lnTo>
                    <a:pt x="6" y="305"/>
                  </a:lnTo>
                  <a:lnTo>
                    <a:pt x="7" y="303"/>
                  </a:lnTo>
                  <a:lnTo>
                    <a:pt x="7" y="301"/>
                  </a:lnTo>
                  <a:lnTo>
                    <a:pt x="8" y="300"/>
                  </a:lnTo>
                  <a:lnTo>
                    <a:pt x="9" y="300"/>
                  </a:lnTo>
                  <a:lnTo>
                    <a:pt x="10" y="300"/>
                  </a:lnTo>
                  <a:lnTo>
                    <a:pt x="8" y="299"/>
                  </a:lnTo>
                  <a:lnTo>
                    <a:pt x="6" y="297"/>
                  </a:lnTo>
                  <a:lnTo>
                    <a:pt x="6" y="296"/>
                  </a:lnTo>
                  <a:lnTo>
                    <a:pt x="7" y="296"/>
                  </a:lnTo>
                  <a:lnTo>
                    <a:pt x="9" y="299"/>
                  </a:lnTo>
                  <a:lnTo>
                    <a:pt x="15" y="301"/>
                  </a:lnTo>
                  <a:lnTo>
                    <a:pt x="24" y="305"/>
                  </a:lnTo>
                  <a:lnTo>
                    <a:pt x="19" y="300"/>
                  </a:lnTo>
                  <a:lnTo>
                    <a:pt x="18" y="300"/>
                  </a:lnTo>
                  <a:lnTo>
                    <a:pt x="18" y="301"/>
                  </a:lnTo>
                  <a:lnTo>
                    <a:pt x="17" y="300"/>
                  </a:lnTo>
                  <a:lnTo>
                    <a:pt x="15" y="297"/>
                  </a:lnTo>
                  <a:lnTo>
                    <a:pt x="12" y="294"/>
                  </a:lnTo>
                  <a:lnTo>
                    <a:pt x="9" y="291"/>
                  </a:lnTo>
                  <a:lnTo>
                    <a:pt x="9" y="294"/>
                  </a:lnTo>
                  <a:lnTo>
                    <a:pt x="9" y="296"/>
                  </a:lnTo>
                  <a:lnTo>
                    <a:pt x="8" y="295"/>
                  </a:lnTo>
                  <a:lnTo>
                    <a:pt x="7" y="295"/>
                  </a:lnTo>
                  <a:lnTo>
                    <a:pt x="7" y="293"/>
                  </a:lnTo>
                  <a:lnTo>
                    <a:pt x="6" y="293"/>
                  </a:lnTo>
                  <a:lnTo>
                    <a:pt x="6" y="294"/>
                  </a:lnTo>
                  <a:lnTo>
                    <a:pt x="2" y="295"/>
                  </a:lnTo>
                  <a:lnTo>
                    <a:pt x="0" y="295"/>
                  </a:lnTo>
                  <a:lnTo>
                    <a:pt x="2" y="293"/>
                  </a:lnTo>
                  <a:lnTo>
                    <a:pt x="2" y="291"/>
                  </a:lnTo>
                  <a:lnTo>
                    <a:pt x="6" y="291"/>
                  </a:lnTo>
                  <a:lnTo>
                    <a:pt x="7" y="291"/>
                  </a:lnTo>
                  <a:lnTo>
                    <a:pt x="8" y="291"/>
                  </a:lnTo>
                  <a:lnTo>
                    <a:pt x="4" y="287"/>
                  </a:lnTo>
                  <a:lnTo>
                    <a:pt x="3" y="285"/>
                  </a:lnTo>
                  <a:lnTo>
                    <a:pt x="0" y="284"/>
                  </a:lnTo>
                  <a:lnTo>
                    <a:pt x="0" y="283"/>
                  </a:lnTo>
                  <a:lnTo>
                    <a:pt x="1" y="283"/>
                  </a:lnTo>
                  <a:lnTo>
                    <a:pt x="3" y="284"/>
                  </a:lnTo>
                  <a:lnTo>
                    <a:pt x="4" y="284"/>
                  </a:lnTo>
                  <a:lnTo>
                    <a:pt x="6" y="284"/>
                  </a:lnTo>
                  <a:lnTo>
                    <a:pt x="9" y="287"/>
                  </a:lnTo>
                  <a:lnTo>
                    <a:pt x="9" y="289"/>
                  </a:lnTo>
                  <a:lnTo>
                    <a:pt x="8" y="288"/>
                  </a:lnTo>
                  <a:lnTo>
                    <a:pt x="8" y="289"/>
                  </a:lnTo>
                  <a:lnTo>
                    <a:pt x="7" y="287"/>
                  </a:lnTo>
                  <a:lnTo>
                    <a:pt x="4" y="287"/>
                  </a:lnTo>
                  <a:lnTo>
                    <a:pt x="8" y="290"/>
                  </a:lnTo>
                  <a:lnTo>
                    <a:pt x="15" y="296"/>
                  </a:lnTo>
                  <a:lnTo>
                    <a:pt x="17" y="296"/>
                  </a:lnTo>
                  <a:lnTo>
                    <a:pt x="19" y="295"/>
                  </a:lnTo>
                  <a:lnTo>
                    <a:pt x="20" y="296"/>
                  </a:lnTo>
                  <a:lnTo>
                    <a:pt x="19" y="297"/>
                  </a:lnTo>
                  <a:lnTo>
                    <a:pt x="19" y="299"/>
                  </a:lnTo>
                  <a:lnTo>
                    <a:pt x="24" y="303"/>
                  </a:lnTo>
                  <a:lnTo>
                    <a:pt x="26" y="303"/>
                  </a:lnTo>
                  <a:lnTo>
                    <a:pt x="27" y="301"/>
                  </a:lnTo>
                  <a:lnTo>
                    <a:pt x="29" y="300"/>
                  </a:lnTo>
                  <a:lnTo>
                    <a:pt x="27" y="297"/>
                  </a:lnTo>
                  <a:lnTo>
                    <a:pt x="30" y="297"/>
                  </a:lnTo>
                  <a:lnTo>
                    <a:pt x="32" y="300"/>
                  </a:lnTo>
                  <a:lnTo>
                    <a:pt x="33" y="301"/>
                  </a:lnTo>
                  <a:lnTo>
                    <a:pt x="36" y="302"/>
                  </a:lnTo>
                  <a:lnTo>
                    <a:pt x="36" y="299"/>
                  </a:lnTo>
                  <a:lnTo>
                    <a:pt x="37" y="295"/>
                  </a:lnTo>
                  <a:lnTo>
                    <a:pt x="41" y="293"/>
                  </a:lnTo>
                  <a:lnTo>
                    <a:pt x="42" y="291"/>
                  </a:lnTo>
                  <a:lnTo>
                    <a:pt x="45" y="291"/>
                  </a:lnTo>
                  <a:lnTo>
                    <a:pt x="47" y="293"/>
                  </a:lnTo>
                  <a:lnTo>
                    <a:pt x="49" y="293"/>
                  </a:lnTo>
                  <a:lnTo>
                    <a:pt x="50" y="294"/>
                  </a:lnTo>
                  <a:lnTo>
                    <a:pt x="49" y="294"/>
                  </a:lnTo>
                  <a:lnTo>
                    <a:pt x="49" y="296"/>
                  </a:lnTo>
                  <a:lnTo>
                    <a:pt x="50" y="296"/>
                  </a:lnTo>
                  <a:lnTo>
                    <a:pt x="53" y="296"/>
                  </a:lnTo>
                  <a:lnTo>
                    <a:pt x="54" y="297"/>
                  </a:lnTo>
                  <a:lnTo>
                    <a:pt x="54" y="296"/>
                  </a:lnTo>
                  <a:lnTo>
                    <a:pt x="54" y="294"/>
                  </a:lnTo>
                  <a:lnTo>
                    <a:pt x="53" y="295"/>
                  </a:lnTo>
                  <a:lnTo>
                    <a:pt x="51" y="295"/>
                  </a:lnTo>
                  <a:lnTo>
                    <a:pt x="53" y="294"/>
                  </a:lnTo>
                  <a:lnTo>
                    <a:pt x="53" y="293"/>
                  </a:lnTo>
                  <a:lnTo>
                    <a:pt x="51" y="293"/>
                  </a:lnTo>
                  <a:lnTo>
                    <a:pt x="50" y="291"/>
                  </a:lnTo>
                  <a:lnTo>
                    <a:pt x="53" y="290"/>
                  </a:lnTo>
                  <a:lnTo>
                    <a:pt x="53" y="289"/>
                  </a:lnTo>
                  <a:lnTo>
                    <a:pt x="54" y="288"/>
                  </a:lnTo>
                  <a:lnTo>
                    <a:pt x="51" y="289"/>
                  </a:lnTo>
                  <a:lnTo>
                    <a:pt x="49" y="288"/>
                  </a:lnTo>
                  <a:lnTo>
                    <a:pt x="51" y="287"/>
                  </a:lnTo>
                  <a:lnTo>
                    <a:pt x="51" y="285"/>
                  </a:lnTo>
                  <a:lnTo>
                    <a:pt x="53" y="287"/>
                  </a:lnTo>
                  <a:lnTo>
                    <a:pt x="55" y="287"/>
                  </a:lnTo>
                  <a:lnTo>
                    <a:pt x="53" y="285"/>
                  </a:lnTo>
                  <a:lnTo>
                    <a:pt x="56" y="285"/>
                  </a:lnTo>
                  <a:lnTo>
                    <a:pt x="59" y="287"/>
                  </a:lnTo>
                  <a:lnTo>
                    <a:pt x="61" y="285"/>
                  </a:lnTo>
                  <a:lnTo>
                    <a:pt x="61" y="283"/>
                  </a:lnTo>
                  <a:lnTo>
                    <a:pt x="62" y="284"/>
                  </a:lnTo>
                  <a:lnTo>
                    <a:pt x="63" y="285"/>
                  </a:lnTo>
                  <a:lnTo>
                    <a:pt x="63" y="288"/>
                  </a:lnTo>
                  <a:lnTo>
                    <a:pt x="65" y="288"/>
                  </a:lnTo>
                  <a:lnTo>
                    <a:pt x="66" y="285"/>
                  </a:lnTo>
                  <a:lnTo>
                    <a:pt x="67" y="282"/>
                  </a:lnTo>
                  <a:lnTo>
                    <a:pt x="66" y="282"/>
                  </a:lnTo>
                  <a:lnTo>
                    <a:pt x="68" y="282"/>
                  </a:lnTo>
                  <a:lnTo>
                    <a:pt x="67" y="281"/>
                  </a:lnTo>
                  <a:lnTo>
                    <a:pt x="69" y="281"/>
                  </a:lnTo>
                  <a:lnTo>
                    <a:pt x="72" y="279"/>
                  </a:lnTo>
                  <a:lnTo>
                    <a:pt x="71" y="281"/>
                  </a:lnTo>
                  <a:lnTo>
                    <a:pt x="71" y="282"/>
                  </a:lnTo>
                  <a:lnTo>
                    <a:pt x="73" y="282"/>
                  </a:lnTo>
                  <a:lnTo>
                    <a:pt x="74" y="279"/>
                  </a:lnTo>
                  <a:lnTo>
                    <a:pt x="77" y="278"/>
                  </a:lnTo>
                  <a:lnTo>
                    <a:pt x="77" y="276"/>
                  </a:lnTo>
                  <a:lnTo>
                    <a:pt x="76" y="275"/>
                  </a:lnTo>
                  <a:lnTo>
                    <a:pt x="74" y="275"/>
                  </a:lnTo>
                  <a:lnTo>
                    <a:pt x="72" y="276"/>
                  </a:lnTo>
                  <a:lnTo>
                    <a:pt x="69" y="276"/>
                  </a:lnTo>
                  <a:lnTo>
                    <a:pt x="69" y="273"/>
                  </a:lnTo>
                  <a:lnTo>
                    <a:pt x="72" y="272"/>
                  </a:lnTo>
                  <a:lnTo>
                    <a:pt x="72" y="271"/>
                  </a:lnTo>
                  <a:lnTo>
                    <a:pt x="72" y="270"/>
                  </a:lnTo>
                  <a:lnTo>
                    <a:pt x="67" y="266"/>
                  </a:lnTo>
                  <a:lnTo>
                    <a:pt x="66" y="267"/>
                  </a:lnTo>
                  <a:lnTo>
                    <a:pt x="65" y="269"/>
                  </a:lnTo>
                  <a:lnTo>
                    <a:pt x="65" y="266"/>
                  </a:lnTo>
                  <a:lnTo>
                    <a:pt x="66" y="266"/>
                  </a:lnTo>
                  <a:lnTo>
                    <a:pt x="65" y="264"/>
                  </a:lnTo>
                  <a:lnTo>
                    <a:pt x="63" y="265"/>
                  </a:lnTo>
                  <a:lnTo>
                    <a:pt x="62" y="266"/>
                  </a:lnTo>
                  <a:lnTo>
                    <a:pt x="60" y="266"/>
                  </a:lnTo>
                  <a:lnTo>
                    <a:pt x="61" y="265"/>
                  </a:lnTo>
                  <a:lnTo>
                    <a:pt x="62" y="264"/>
                  </a:lnTo>
                  <a:lnTo>
                    <a:pt x="61" y="264"/>
                  </a:lnTo>
                  <a:lnTo>
                    <a:pt x="62" y="263"/>
                  </a:lnTo>
                  <a:lnTo>
                    <a:pt x="60" y="264"/>
                  </a:lnTo>
                  <a:lnTo>
                    <a:pt x="57" y="266"/>
                  </a:lnTo>
                  <a:lnTo>
                    <a:pt x="57" y="265"/>
                  </a:lnTo>
                  <a:lnTo>
                    <a:pt x="56" y="265"/>
                  </a:lnTo>
                  <a:lnTo>
                    <a:pt x="53" y="265"/>
                  </a:lnTo>
                  <a:lnTo>
                    <a:pt x="56" y="264"/>
                  </a:lnTo>
                  <a:lnTo>
                    <a:pt x="57" y="263"/>
                  </a:lnTo>
                  <a:lnTo>
                    <a:pt x="60" y="263"/>
                  </a:lnTo>
                  <a:lnTo>
                    <a:pt x="61" y="261"/>
                  </a:lnTo>
                  <a:lnTo>
                    <a:pt x="59" y="258"/>
                  </a:lnTo>
                  <a:lnTo>
                    <a:pt x="59" y="257"/>
                  </a:lnTo>
                  <a:lnTo>
                    <a:pt x="61" y="257"/>
                  </a:lnTo>
                  <a:lnTo>
                    <a:pt x="62" y="255"/>
                  </a:lnTo>
                  <a:lnTo>
                    <a:pt x="65" y="255"/>
                  </a:lnTo>
                  <a:lnTo>
                    <a:pt x="62" y="258"/>
                  </a:lnTo>
                  <a:lnTo>
                    <a:pt x="61" y="260"/>
                  </a:lnTo>
                  <a:lnTo>
                    <a:pt x="61" y="259"/>
                  </a:lnTo>
                  <a:lnTo>
                    <a:pt x="60" y="258"/>
                  </a:lnTo>
                  <a:lnTo>
                    <a:pt x="61" y="261"/>
                  </a:lnTo>
                  <a:lnTo>
                    <a:pt x="62" y="261"/>
                  </a:lnTo>
                  <a:lnTo>
                    <a:pt x="63" y="261"/>
                  </a:lnTo>
                  <a:lnTo>
                    <a:pt x="66" y="261"/>
                  </a:lnTo>
                  <a:lnTo>
                    <a:pt x="65" y="264"/>
                  </a:lnTo>
                  <a:lnTo>
                    <a:pt x="68" y="266"/>
                  </a:lnTo>
                  <a:lnTo>
                    <a:pt x="72" y="269"/>
                  </a:lnTo>
                  <a:lnTo>
                    <a:pt x="73" y="270"/>
                  </a:lnTo>
                  <a:lnTo>
                    <a:pt x="74" y="269"/>
                  </a:lnTo>
                  <a:lnTo>
                    <a:pt x="73" y="267"/>
                  </a:lnTo>
                  <a:lnTo>
                    <a:pt x="73" y="266"/>
                  </a:lnTo>
                  <a:lnTo>
                    <a:pt x="73" y="265"/>
                  </a:lnTo>
                  <a:lnTo>
                    <a:pt x="72" y="264"/>
                  </a:lnTo>
                  <a:lnTo>
                    <a:pt x="73" y="261"/>
                  </a:lnTo>
                  <a:lnTo>
                    <a:pt x="77" y="263"/>
                  </a:lnTo>
                  <a:lnTo>
                    <a:pt x="74" y="260"/>
                  </a:lnTo>
                  <a:lnTo>
                    <a:pt x="71" y="263"/>
                  </a:lnTo>
                  <a:lnTo>
                    <a:pt x="69" y="265"/>
                  </a:lnTo>
                  <a:lnTo>
                    <a:pt x="69" y="263"/>
                  </a:lnTo>
                  <a:lnTo>
                    <a:pt x="69" y="261"/>
                  </a:lnTo>
                  <a:lnTo>
                    <a:pt x="69" y="259"/>
                  </a:lnTo>
                  <a:lnTo>
                    <a:pt x="71" y="258"/>
                  </a:lnTo>
                  <a:lnTo>
                    <a:pt x="72" y="255"/>
                  </a:lnTo>
                  <a:lnTo>
                    <a:pt x="73" y="254"/>
                  </a:lnTo>
                  <a:lnTo>
                    <a:pt x="72" y="253"/>
                  </a:lnTo>
                  <a:lnTo>
                    <a:pt x="74" y="252"/>
                  </a:lnTo>
                  <a:lnTo>
                    <a:pt x="76" y="251"/>
                  </a:lnTo>
                  <a:lnTo>
                    <a:pt x="76" y="249"/>
                  </a:lnTo>
                  <a:lnTo>
                    <a:pt x="74" y="249"/>
                  </a:lnTo>
                  <a:lnTo>
                    <a:pt x="74" y="248"/>
                  </a:lnTo>
                  <a:lnTo>
                    <a:pt x="73" y="248"/>
                  </a:lnTo>
                  <a:lnTo>
                    <a:pt x="74" y="246"/>
                  </a:lnTo>
                  <a:lnTo>
                    <a:pt x="76" y="245"/>
                  </a:lnTo>
                  <a:lnTo>
                    <a:pt x="77" y="243"/>
                  </a:lnTo>
                  <a:lnTo>
                    <a:pt x="76" y="241"/>
                  </a:lnTo>
                  <a:lnTo>
                    <a:pt x="74" y="243"/>
                  </a:lnTo>
                  <a:lnTo>
                    <a:pt x="72" y="245"/>
                  </a:lnTo>
                  <a:lnTo>
                    <a:pt x="72" y="241"/>
                  </a:lnTo>
                  <a:lnTo>
                    <a:pt x="73" y="240"/>
                  </a:lnTo>
                  <a:lnTo>
                    <a:pt x="74" y="238"/>
                  </a:lnTo>
                  <a:lnTo>
                    <a:pt x="73" y="237"/>
                  </a:lnTo>
                  <a:lnTo>
                    <a:pt x="74" y="237"/>
                  </a:lnTo>
                  <a:lnTo>
                    <a:pt x="77" y="236"/>
                  </a:lnTo>
                  <a:lnTo>
                    <a:pt x="76" y="236"/>
                  </a:lnTo>
                  <a:lnTo>
                    <a:pt x="76" y="235"/>
                  </a:lnTo>
                  <a:lnTo>
                    <a:pt x="72" y="236"/>
                  </a:lnTo>
                  <a:lnTo>
                    <a:pt x="73" y="234"/>
                  </a:lnTo>
                  <a:lnTo>
                    <a:pt x="76" y="231"/>
                  </a:lnTo>
                  <a:lnTo>
                    <a:pt x="78" y="231"/>
                  </a:lnTo>
                  <a:lnTo>
                    <a:pt x="79" y="231"/>
                  </a:lnTo>
                  <a:lnTo>
                    <a:pt x="82" y="229"/>
                  </a:lnTo>
                  <a:lnTo>
                    <a:pt x="84" y="230"/>
                  </a:lnTo>
                  <a:lnTo>
                    <a:pt x="86" y="228"/>
                  </a:lnTo>
                  <a:lnTo>
                    <a:pt x="85" y="230"/>
                  </a:lnTo>
                  <a:lnTo>
                    <a:pt x="88" y="231"/>
                  </a:lnTo>
                  <a:lnTo>
                    <a:pt x="89" y="229"/>
                  </a:lnTo>
                  <a:lnTo>
                    <a:pt x="90" y="230"/>
                  </a:lnTo>
                  <a:lnTo>
                    <a:pt x="91" y="229"/>
                  </a:lnTo>
                  <a:lnTo>
                    <a:pt x="90" y="228"/>
                  </a:lnTo>
                  <a:lnTo>
                    <a:pt x="91" y="224"/>
                  </a:lnTo>
                  <a:lnTo>
                    <a:pt x="92" y="223"/>
                  </a:lnTo>
                  <a:lnTo>
                    <a:pt x="94" y="224"/>
                  </a:lnTo>
                  <a:lnTo>
                    <a:pt x="92" y="225"/>
                  </a:lnTo>
                  <a:lnTo>
                    <a:pt x="95" y="226"/>
                  </a:lnTo>
                  <a:lnTo>
                    <a:pt x="96" y="224"/>
                  </a:lnTo>
                  <a:lnTo>
                    <a:pt x="96" y="225"/>
                  </a:lnTo>
                  <a:lnTo>
                    <a:pt x="96" y="224"/>
                  </a:lnTo>
                  <a:lnTo>
                    <a:pt x="95" y="222"/>
                  </a:lnTo>
                  <a:lnTo>
                    <a:pt x="91" y="222"/>
                  </a:lnTo>
                  <a:lnTo>
                    <a:pt x="89" y="224"/>
                  </a:lnTo>
                  <a:lnTo>
                    <a:pt x="89" y="223"/>
                  </a:lnTo>
                  <a:lnTo>
                    <a:pt x="89" y="222"/>
                  </a:lnTo>
                  <a:lnTo>
                    <a:pt x="90" y="220"/>
                  </a:lnTo>
                  <a:lnTo>
                    <a:pt x="89" y="219"/>
                  </a:lnTo>
                  <a:lnTo>
                    <a:pt x="88" y="220"/>
                  </a:lnTo>
                  <a:lnTo>
                    <a:pt x="86" y="220"/>
                  </a:lnTo>
                  <a:lnTo>
                    <a:pt x="86" y="223"/>
                  </a:lnTo>
                  <a:lnTo>
                    <a:pt x="83" y="224"/>
                  </a:lnTo>
                  <a:lnTo>
                    <a:pt x="83" y="225"/>
                  </a:lnTo>
                  <a:lnTo>
                    <a:pt x="82" y="223"/>
                  </a:lnTo>
                  <a:lnTo>
                    <a:pt x="80" y="220"/>
                  </a:lnTo>
                  <a:lnTo>
                    <a:pt x="82" y="220"/>
                  </a:lnTo>
                  <a:lnTo>
                    <a:pt x="82" y="219"/>
                  </a:lnTo>
                  <a:lnTo>
                    <a:pt x="82" y="217"/>
                  </a:lnTo>
                  <a:lnTo>
                    <a:pt x="82" y="218"/>
                  </a:lnTo>
                  <a:lnTo>
                    <a:pt x="80" y="216"/>
                  </a:lnTo>
                  <a:lnTo>
                    <a:pt x="78" y="214"/>
                  </a:lnTo>
                  <a:lnTo>
                    <a:pt x="74" y="218"/>
                  </a:lnTo>
                  <a:lnTo>
                    <a:pt x="73" y="220"/>
                  </a:lnTo>
                  <a:lnTo>
                    <a:pt x="74" y="217"/>
                  </a:lnTo>
                  <a:lnTo>
                    <a:pt x="73" y="213"/>
                  </a:lnTo>
                  <a:lnTo>
                    <a:pt x="72" y="217"/>
                  </a:lnTo>
                  <a:lnTo>
                    <a:pt x="71" y="216"/>
                  </a:lnTo>
                  <a:lnTo>
                    <a:pt x="68" y="217"/>
                  </a:lnTo>
                  <a:lnTo>
                    <a:pt x="68" y="216"/>
                  </a:lnTo>
                  <a:lnTo>
                    <a:pt x="67" y="217"/>
                  </a:lnTo>
                  <a:lnTo>
                    <a:pt x="66" y="219"/>
                  </a:lnTo>
                  <a:lnTo>
                    <a:pt x="66" y="220"/>
                  </a:lnTo>
                  <a:lnTo>
                    <a:pt x="66" y="222"/>
                  </a:lnTo>
                  <a:lnTo>
                    <a:pt x="63" y="224"/>
                  </a:lnTo>
                  <a:lnTo>
                    <a:pt x="62" y="223"/>
                  </a:lnTo>
                  <a:lnTo>
                    <a:pt x="61" y="222"/>
                  </a:lnTo>
                  <a:lnTo>
                    <a:pt x="60" y="224"/>
                  </a:lnTo>
                  <a:lnTo>
                    <a:pt x="60" y="228"/>
                  </a:lnTo>
                  <a:lnTo>
                    <a:pt x="59" y="226"/>
                  </a:lnTo>
                  <a:lnTo>
                    <a:pt x="59" y="223"/>
                  </a:lnTo>
                  <a:lnTo>
                    <a:pt x="57" y="225"/>
                  </a:lnTo>
                  <a:lnTo>
                    <a:pt x="57" y="226"/>
                  </a:lnTo>
                  <a:lnTo>
                    <a:pt x="56" y="226"/>
                  </a:lnTo>
                  <a:lnTo>
                    <a:pt x="54" y="226"/>
                  </a:lnTo>
                  <a:lnTo>
                    <a:pt x="54" y="229"/>
                  </a:lnTo>
                  <a:lnTo>
                    <a:pt x="51" y="230"/>
                  </a:lnTo>
                  <a:lnTo>
                    <a:pt x="51" y="231"/>
                  </a:lnTo>
                  <a:lnTo>
                    <a:pt x="51" y="228"/>
                  </a:lnTo>
                  <a:lnTo>
                    <a:pt x="53" y="225"/>
                  </a:lnTo>
                  <a:lnTo>
                    <a:pt x="50" y="225"/>
                  </a:lnTo>
                  <a:lnTo>
                    <a:pt x="49" y="225"/>
                  </a:lnTo>
                  <a:lnTo>
                    <a:pt x="51" y="224"/>
                  </a:lnTo>
                  <a:lnTo>
                    <a:pt x="53" y="222"/>
                  </a:lnTo>
                  <a:lnTo>
                    <a:pt x="54" y="220"/>
                  </a:lnTo>
                  <a:lnTo>
                    <a:pt x="56" y="219"/>
                  </a:lnTo>
                  <a:lnTo>
                    <a:pt x="59" y="219"/>
                  </a:lnTo>
                  <a:lnTo>
                    <a:pt x="61" y="220"/>
                  </a:lnTo>
                  <a:lnTo>
                    <a:pt x="61" y="218"/>
                  </a:lnTo>
                  <a:lnTo>
                    <a:pt x="59" y="217"/>
                  </a:lnTo>
                  <a:lnTo>
                    <a:pt x="57" y="217"/>
                  </a:lnTo>
                  <a:lnTo>
                    <a:pt x="55" y="219"/>
                  </a:lnTo>
                  <a:lnTo>
                    <a:pt x="55" y="218"/>
                  </a:lnTo>
                  <a:lnTo>
                    <a:pt x="56" y="217"/>
                  </a:lnTo>
                  <a:lnTo>
                    <a:pt x="57" y="214"/>
                  </a:lnTo>
                  <a:lnTo>
                    <a:pt x="55" y="213"/>
                  </a:lnTo>
                  <a:lnTo>
                    <a:pt x="54" y="214"/>
                  </a:lnTo>
                  <a:lnTo>
                    <a:pt x="53" y="213"/>
                  </a:lnTo>
                  <a:lnTo>
                    <a:pt x="53" y="214"/>
                  </a:lnTo>
                  <a:lnTo>
                    <a:pt x="51" y="216"/>
                  </a:lnTo>
                  <a:lnTo>
                    <a:pt x="51" y="217"/>
                  </a:lnTo>
                  <a:lnTo>
                    <a:pt x="53" y="217"/>
                  </a:lnTo>
                  <a:lnTo>
                    <a:pt x="54" y="219"/>
                  </a:lnTo>
                  <a:lnTo>
                    <a:pt x="51" y="220"/>
                  </a:lnTo>
                  <a:lnTo>
                    <a:pt x="51" y="222"/>
                  </a:lnTo>
                  <a:lnTo>
                    <a:pt x="50" y="220"/>
                  </a:lnTo>
                  <a:lnTo>
                    <a:pt x="49" y="222"/>
                  </a:lnTo>
                  <a:lnTo>
                    <a:pt x="45" y="224"/>
                  </a:lnTo>
                  <a:lnTo>
                    <a:pt x="47" y="220"/>
                  </a:lnTo>
                  <a:lnTo>
                    <a:pt x="47" y="218"/>
                  </a:lnTo>
                  <a:lnTo>
                    <a:pt x="45" y="217"/>
                  </a:lnTo>
                  <a:lnTo>
                    <a:pt x="48" y="216"/>
                  </a:lnTo>
                  <a:lnTo>
                    <a:pt x="45" y="214"/>
                  </a:lnTo>
                  <a:lnTo>
                    <a:pt x="47" y="213"/>
                  </a:lnTo>
                  <a:lnTo>
                    <a:pt x="48" y="212"/>
                  </a:lnTo>
                  <a:lnTo>
                    <a:pt x="50" y="213"/>
                  </a:lnTo>
                  <a:lnTo>
                    <a:pt x="50" y="211"/>
                  </a:lnTo>
                  <a:lnTo>
                    <a:pt x="48" y="211"/>
                  </a:lnTo>
                  <a:lnTo>
                    <a:pt x="45" y="211"/>
                  </a:lnTo>
                  <a:lnTo>
                    <a:pt x="42" y="211"/>
                  </a:lnTo>
                  <a:lnTo>
                    <a:pt x="44" y="211"/>
                  </a:lnTo>
                  <a:lnTo>
                    <a:pt x="47" y="208"/>
                  </a:lnTo>
                  <a:lnTo>
                    <a:pt x="48" y="210"/>
                  </a:lnTo>
                  <a:lnTo>
                    <a:pt x="49" y="210"/>
                  </a:lnTo>
                  <a:lnTo>
                    <a:pt x="53" y="211"/>
                  </a:lnTo>
                  <a:lnTo>
                    <a:pt x="54" y="211"/>
                  </a:lnTo>
                  <a:lnTo>
                    <a:pt x="56" y="210"/>
                  </a:lnTo>
                  <a:lnTo>
                    <a:pt x="57" y="207"/>
                  </a:lnTo>
                  <a:lnTo>
                    <a:pt x="55" y="206"/>
                  </a:lnTo>
                  <a:lnTo>
                    <a:pt x="51" y="207"/>
                  </a:lnTo>
                  <a:lnTo>
                    <a:pt x="50" y="208"/>
                  </a:lnTo>
                  <a:lnTo>
                    <a:pt x="49" y="208"/>
                  </a:lnTo>
                  <a:lnTo>
                    <a:pt x="49" y="207"/>
                  </a:lnTo>
                  <a:lnTo>
                    <a:pt x="51" y="205"/>
                  </a:lnTo>
                  <a:lnTo>
                    <a:pt x="51" y="202"/>
                  </a:lnTo>
                  <a:lnTo>
                    <a:pt x="49" y="201"/>
                  </a:lnTo>
                  <a:lnTo>
                    <a:pt x="48" y="200"/>
                  </a:lnTo>
                  <a:lnTo>
                    <a:pt x="49" y="199"/>
                  </a:lnTo>
                  <a:lnTo>
                    <a:pt x="47" y="196"/>
                  </a:lnTo>
                  <a:lnTo>
                    <a:pt x="44" y="195"/>
                  </a:lnTo>
                  <a:lnTo>
                    <a:pt x="45" y="199"/>
                  </a:lnTo>
                  <a:lnTo>
                    <a:pt x="44" y="200"/>
                  </a:lnTo>
                  <a:lnTo>
                    <a:pt x="43" y="198"/>
                  </a:lnTo>
                  <a:lnTo>
                    <a:pt x="42" y="198"/>
                  </a:lnTo>
                  <a:lnTo>
                    <a:pt x="43" y="199"/>
                  </a:lnTo>
                  <a:lnTo>
                    <a:pt x="42" y="199"/>
                  </a:lnTo>
                  <a:lnTo>
                    <a:pt x="42" y="201"/>
                  </a:lnTo>
                  <a:lnTo>
                    <a:pt x="43" y="202"/>
                  </a:lnTo>
                  <a:lnTo>
                    <a:pt x="42" y="206"/>
                  </a:lnTo>
                  <a:lnTo>
                    <a:pt x="43" y="208"/>
                  </a:lnTo>
                  <a:lnTo>
                    <a:pt x="42" y="207"/>
                  </a:lnTo>
                  <a:lnTo>
                    <a:pt x="41" y="208"/>
                  </a:lnTo>
                  <a:lnTo>
                    <a:pt x="39" y="206"/>
                  </a:lnTo>
                  <a:lnTo>
                    <a:pt x="38" y="204"/>
                  </a:lnTo>
                  <a:lnTo>
                    <a:pt x="36" y="204"/>
                  </a:lnTo>
                  <a:lnTo>
                    <a:pt x="37" y="208"/>
                  </a:lnTo>
                  <a:lnTo>
                    <a:pt x="35" y="208"/>
                  </a:lnTo>
                  <a:lnTo>
                    <a:pt x="32" y="210"/>
                  </a:lnTo>
                  <a:lnTo>
                    <a:pt x="33" y="212"/>
                  </a:lnTo>
                  <a:lnTo>
                    <a:pt x="32" y="214"/>
                  </a:lnTo>
                  <a:lnTo>
                    <a:pt x="30" y="217"/>
                  </a:lnTo>
                  <a:lnTo>
                    <a:pt x="30" y="214"/>
                  </a:lnTo>
                  <a:lnTo>
                    <a:pt x="31" y="212"/>
                  </a:lnTo>
                  <a:lnTo>
                    <a:pt x="32" y="211"/>
                  </a:lnTo>
                  <a:lnTo>
                    <a:pt x="31" y="210"/>
                  </a:lnTo>
                  <a:lnTo>
                    <a:pt x="30" y="210"/>
                  </a:lnTo>
                  <a:lnTo>
                    <a:pt x="29" y="208"/>
                  </a:lnTo>
                  <a:lnTo>
                    <a:pt x="27" y="207"/>
                  </a:lnTo>
                  <a:lnTo>
                    <a:pt x="25" y="210"/>
                  </a:lnTo>
                  <a:lnTo>
                    <a:pt x="25" y="207"/>
                  </a:lnTo>
                  <a:lnTo>
                    <a:pt x="24" y="210"/>
                  </a:lnTo>
                  <a:lnTo>
                    <a:pt x="23" y="210"/>
                  </a:lnTo>
                  <a:lnTo>
                    <a:pt x="23" y="208"/>
                  </a:lnTo>
                  <a:lnTo>
                    <a:pt x="21" y="207"/>
                  </a:lnTo>
                  <a:lnTo>
                    <a:pt x="23" y="207"/>
                  </a:lnTo>
                  <a:lnTo>
                    <a:pt x="20" y="206"/>
                  </a:lnTo>
                  <a:lnTo>
                    <a:pt x="23" y="205"/>
                  </a:lnTo>
                  <a:lnTo>
                    <a:pt x="25" y="205"/>
                  </a:lnTo>
                  <a:lnTo>
                    <a:pt x="26" y="204"/>
                  </a:lnTo>
                  <a:lnTo>
                    <a:pt x="27" y="202"/>
                  </a:lnTo>
                  <a:lnTo>
                    <a:pt x="29" y="200"/>
                  </a:lnTo>
                  <a:lnTo>
                    <a:pt x="25" y="200"/>
                  </a:lnTo>
                  <a:lnTo>
                    <a:pt x="24" y="199"/>
                  </a:lnTo>
                  <a:lnTo>
                    <a:pt x="23" y="201"/>
                  </a:lnTo>
                  <a:lnTo>
                    <a:pt x="20" y="199"/>
                  </a:lnTo>
                  <a:lnTo>
                    <a:pt x="19" y="200"/>
                  </a:lnTo>
                  <a:lnTo>
                    <a:pt x="20" y="202"/>
                  </a:lnTo>
                  <a:lnTo>
                    <a:pt x="18" y="205"/>
                  </a:lnTo>
                  <a:lnTo>
                    <a:pt x="15" y="206"/>
                  </a:lnTo>
                  <a:lnTo>
                    <a:pt x="14" y="204"/>
                  </a:lnTo>
                  <a:lnTo>
                    <a:pt x="14" y="200"/>
                  </a:lnTo>
                  <a:lnTo>
                    <a:pt x="15" y="200"/>
                  </a:lnTo>
                  <a:lnTo>
                    <a:pt x="18" y="200"/>
                  </a:lnTo>
                  <a:lnTo>
                    <a:pt x="20" y="199"/>
                  </a:lnTo>
                  <a:lnTo>
                    <a:pt x="21" y="198"/>
                  </a:lnTo>
                  <a:lnTo>
                    <a:pt x="19" y="198"/>
                  </a:lnTo>
                  <a:lnTo>
                    <a:pt x="18" y="196"/>
                  </a:lnTo>
                  <a:lnTo>
                    <a:pt x="17" y="196"/>
                  </a:lnTo>
                  <a:lnTo>
                    <a:pt x="15" y="196"/>
                  </a:lnTo>
                  <a:lnTo>
                    <a:pt x="12" y="198"/>
                  </a:lnTo>
                  <a:lnTo>
                    <a:pt x="13" y="196"/>
                  </a:lnTo>
                  <a:lnTo>
                    <a:pt x="14" y="194"/>
                  </a:lnTo>
                  <a:lnTo>
                    <a:pt x="13" y="194"/>
                  </a:lnTo>
                  <a:lnTo>
                    <a:pt x="12" y="193"/>
                  </a:lnTo>
                  <a:lnTo>
                    <a:pt x="15" y="192"/>
                  </a:lnTo>
                  <a:lnTo>
                    <a:pt x="15" y="194"/>
                  </a:lnTo>
                  <a:lnTo>
                    <a:pt x="18" y="195"/>
                  </a:lnTo>
                  <a:lnTo>
                    <a:pt x="19" y="195"/>
                  </a:lnTo>
                  <a:lnTo>
                    <a:pt x="19" y="193"/>
                  </a:lnTo>
                  <a:lnTo>
                    <a:pt x="18" y="192"/>
                  </a:lnTo>
                  <a:lnTo>
                    <a:pt x="18" y="189"/>
                  </a:lnTo>
                  <a:lnTo>
                    <a:pt x="19" y="190"/>
                  </a:lnTo>
                  <a:lnTo>
                    <a:pt x="19" y="194"/>
                  </a:lnTo>
                  <a:lnTo>
                    <a:pt x="20" y="195"/>
                  </a:lnTo>
                  <a:lnTo>
                    <a:pt x="20" y="194"/>
                  </a:lnTo>
                  <a:lnTo>
                    <a:pt x="20" y="193"/>
                  </a:lnTo>
                  <a:lnTo>
                    <a:pt x="21" y="192"/>
                  </a:lnTo>
                  <a:lnTo>
                    <a:pt x="24" y="193"/>
                  </a:lnTo>
                  <a:lnTo>
                    <a:pt x="27" y="192"/>
                  </a:lnTo>
                  <a:lnTo>
                    <a:pt x="27" y="193"/>
                  </a:lnTo>
                  <a:lnTo>
                    <a:pt x="30" y="194"/>
                  </a:lnTo>
                  <a:lnTo>
                    <a:pt x="33" y="196"/>
                  </a:lnTo>
                  <a:lnTo>
                    <a:pt x="33" y="194"/>
                  </a:lnTo>
                  <a:lnTo>
                    <a:pt x="31" y="194"/>
                  </a:lnTo>
                  <a:lnTo>
                    <a:pt x="33" y="192"/>
                  </a:lnTo>
                  <a:lnTo>
                    <a:pt x="36" y="190"/>
                  </a:lnTo>
                  <a:lnTo>
                    <a:pt x="37" y="188"/>
                  </a:lnTo>
                  <a:lnTo>
                    <a:pt x="37" y="187"/>
                  </a:lnTo>
                  <a:lnTo>
                    <a:pt x="35" y="189"/>
                  </a:lnTo>
                  <a:lnTo>
                    <a:pt x="33" y="192"/>
                  </a:lnTo>
                  <a:lnTo>
                    <a:pt x="30" y="192"/>
                  </a:lnTo>
                  <a:lnTo>
                    <a:pt x="30" y="190"/>
                  </a:lnTo>
                  <a:lnTo>
                    <a:pt x="32" y="187"/>
                  </a:lnTo>
                  <a:lnTo>
                    <a:pt x="33" y="186"/>
                  </a:lnTo>
                  <a:lnTo>
                    <a:pt x="35" y="184"/>
                  </a:lnTo>
                  <a:lnTo>
                    <a:pt x="35" y="186"/>
                  </a:lnTo>
                  <a:lnTo>
                    <a:pt x="36" y="186"/>
                  </a:lnTo>
                  <a:lnTo>
                    <a:pt x="38" y="184"/>
                  </a:lnTo>
                  <a:lnTo>
                    <a:pt x="36" y="182"/>
                  </a:lnTo>
                  <a:lnTo>
                    <a:pt x="32" y="183"/>
                  </a:lnTo>
                  <a:lnTo>
                    <a:pt x="30" y="184"/>
                  </a:lnTo>
                  <a:lnTo>
                    <a:pt x="30" y="182"/>
                  </a:lnTo>
                  <a:lnTo>
                    <a:pt x="26" y="180"/>
                  </a:lnTo>
                  <a:lnTo>
                    <a:pt x="30" y="178"/>
                  </a:lnTo>
                  <a:lnTo>
                    <a:pt x="31" y="175"/>
                  </a:lnTo>
                  <a:lnTo>
                    <a:pt x="29" y="176"/>
                  </a:lnTo>
                  <a:lnTo>
                    <a:pt x="29" y="174"/>
                  </a:lnTo>
                  <a:lnTo>
                    <a:pt x="32" y="171"/>
                  </a:lnTo>
                  <a:lnTo>
                    <a:pt x="35" y="169"/>
                  </a:lnTo>
                  <a:lnTo>
                    <a:pt x="31" y="169"/>
                  </a:lnTo>
                  <a:lnTo>
                    <a:pt x="25" y="170"/>
                  </a:lnTo>
                  <a:lnTo>
                    <a:pt x="20" y="176"/>
                  </a:lnTo>
                  <a:lnTo>
                    <a:pt x="17" y="180"/>
                  </a:lnTo>
                  <a:lnTo>
                    <a:pt x="17" y="178"/>
                  </a:lnTo>
                  <a:lnTo>
                    <a:pt x="18" y="176"/>
                  </a:lnTo>
                  <a:lnTo>
                    <a:pt x="18" y="174"/>
                  </a:lnTo>
                  <a:lnTo>
                    <a:pt x="17" y="175"/>
                  </a:lnTo>
                  <a:lnTo>
                    <a:pt x="18" y="170"/>
                  </a:lnTo>
                  <a:lnTo>
                    <a:pt x="19" y="168"/>
                  </a:lnTo>
                  <a:lnTo>
                    <a:pt x="20" y="166"/>
                  </a:lnTo>
                  <a:lnTo>
                    <a:pt x="23" y="168"/>
                  </a:lnTo>
                  <a:lnTo>
                    <a:pt x="21" y="165"/>
                  </a:lnTo>
                  <a:lnTo>
                    <a:pt x="23" y="165"/>
                  </a:lnTo>
                  <a:lnTo>
                    <a:pt x="25" y="163"/>
                  </a:lnTo>
                  <a:lnTo>
                    <a:pt x="25" y="162"/>
                  </a:lnTo>
                  <a:lnTo>
                    <a:pt x="19" y="162"/>
                  </a:lnTo>
                  <a:lnTo>
                    <a:pt x="13" y="159"/>
                  </a:lnTo>
                  <a:lnTo>
                    <a:pt x="17" y="159"/>
                  </a:lnTo>
                  <a:lnTo>
                    <a:pt x="19" y="159"/>
                  </a:lnTo>
                  <a:lnTo>
                    <a:pt x="19" y="158"/>
                  </a:lnTo>
                  <a:lnTo>
                    <a:pt x="20" y="158"/>
                  </a:lnTo>
                  <a:lnTo>
                    <a:pt x="20" y="157"/>
                  </a:lnTo>
                  <a:lnTo>
                    <a:pt x="21" y="158"/>
                  </a:lnTo>
                  <a:lnTo>
                    <a:pt x="21" y="157"/>
                  </a:lnTo>
                  <a:lnTo>
                    <a:pt x="24" y="157"/>
                  </a:lnTo>
                  <a:lnTo>
                    <a:pt x="26" y="158"/>
                  </a:lnTo>
                  <a:lnTo>
                    <a:pt x="27" y="159"/>
                  </a:lnTo>
                  <a:lnTo>
                    <a:pt x="29" y="162"/>
                  </a:lnTo>
                  <a:lnTo>
                    <a:pt x="29" y="163"/>
                  </a:lnTo>
                  <a:lnTo>
                    <a:pt x="31" y="163"/>
                  </a:lnTo>
                  <a:lnTo>
                    <a:pt x="31" y="162"/>
                  </a:lnTo>
                  <a:lnTo>
                    <a:pt x="31" y="160"/>
                  </a:lnTo>
                  <a:lnTo>
                    <a:pt x="32" y="160"/>
                  </a:lnTo>
                  <a:lnTo>
                    <a:pt x="36" y="159"/>
                  </a:lnTo>
                  <a:lnTo>
                    <a:pt x="39" y="160"/>
                  </a:lnTo>
                  <a:lnTo>
                    <a:pt x="41" y="160"/>
                  </a:lnTo>
                  <a:lnTo>
                    <a:pt x="43" y="160"/>
                  </a:lnTo>
                  <a:lnTo>
                    <a:pt x="45" y="160"/>
                  </a:lnTo>
                  <a:lnTo>
                    <a:pt x="48" y="160"/>
                  </a:lnTo>
                  <a:lnTo>
                    <a:pt x="50" y="160"/>
                  </a:lnTo>
                  <a:lnTo>
                    <a:pt x="50" y="158"/>
                  </a:lnTo>
                  <a:lnTo>
                    <a:pt x="51" y="158"/>
                  </a:lnTo>
                  <a:lnTo>
                    <a:pt x="53" y="160"/>
                  </a:lnTo>
                  <a:lnTo>
                    <a:pt x="54" y="159"/>
                  </a:lnTo>
                  <a:lnTo>
                    <a:pt x="57" y="160"/>
                  </a:lnTo>
                  <a:lnTo>
                    <a:pt x="60" y="160"/>
                  </a:lnTo>
                  <a:lnTo>
                    <a:pt x="62" y="163"/>
                  </a:lnTo>
                  <a:lnTo>
                    <a:pt x="65" y="163"/>
                  </a:lnTo>
                  <a:lnTo>
                    <a:pt x="66" y="163"/>
                  </a:lnTo>
                  <a:lnTo>
                    <a:pt x="67" y="160"/>
                  </a:lnTo>
                  <a:lnTo>
                    <a:pt x="67" y="157"/>
                  </a:lnTo>
                  <a:lnTo>
                    <a:pt x="66" y="158"/>
                  </a:lnTo>
                  <a:lnTo>
                    <a:pt x="65" y="157"/>
                  </a:lnTo>
                  <a:lnTo>
                    <a:pt x="63" y="158"/>
                  </a:lnTo>
                  <a:lnTo>
                    <a:pt x="63" y="157"/>
                  </a:lnTo>
                  <a:lnTo>
                    <a:pt x="61" y="156"/>
                  </a:lnTo>
                  <a:lnTo>
                    <a:pt x="60" y="154"/>
                  </a:lnTo>
                  <a:lnTo>
                    <a:pt x="59" y="156"/>
                  </a:lnTo>
                  <a:lnTo>
                    <a:pt x="57" y="157"/>
                  </a:lnTo>
                  <a:lnTo>
                    <a:pt x="57" y="153"/>
                  </a:lnTo>
                  <a:lnTo>
                    <a:pt x="57" y="151"/>
                  </a:lnTo>
                  <a:lnTo>
                    <a:pt x="55" y="152"/>
                  </a:lnTo>
                  <a:lnTo>
                    <a:pt x="54" y="153"/>
                  </a:lnTo>
                  <a:lnTo>
                    <a:pt x="53" y="152"/>
                  </a:lnTo>
                  <a:lnTo>
                    <a:pt x="50" y="151"/>
                  </a:lnTo>
                  <a:lnTo>
                    <a:pt x="49" y="153"/>
                  </a:lnTo>
                  <a:lnTo>
                    <a:pt x="49" y="151"/>
                  </a:lnTo>
                  <a:lnTo>
                    <a:pt x="50" y="150"/>
                  </a:lnTo>
                  <a:lnTo>
                    <a:pt x="49" y="148"/>
                  </a:lnTo>
                  <a:lnTo>
                    <a:pt x="51" y="147"/>
                  </a:lnTo>
                  <a:lnTo>
                    <a:pt x="54" y="147"/>
                  </a:lnTo>
                  <a:lnTo>
                    <a:pt x="55" y="148"/>
                  </a:lnTo>
                  <a:lnTo>
                    <a:pt x="55" y="147"/>
                  </a:lnTo>
                  <a:lnTo>
                    <a:pt x="55" y="145"/>
                  </a:lnTo>
                  <a:lnTo>
                    <a:pt x="53" y="144"/>
                  </a:lnTo>
                  <a:lnTo>
                    <a:pt x="53" y="142"/>
                  </a:lnTo>
                  <a:lnTo>
                    <a:pt x="51" y="144"/>
                  </a:lnTo>
                  <a:lnTo>
                    <a:pt x="51" y="142"/>
                  </a:lnTo>
                  <a:lnTo>
                    <a:pt x="54" y="140"/>
                  </a:lnTo>
                  <a:lnTo>
                    <a:pt x="57" y="140"/>
                  </a:lnTo>
                  <a:lnTo>
                    <a:pt x="59" y="141"/>
                  </a:lnTo>
                  <a:lnTo>
                    <a:pt x="60" y="140"/>
                  </a:lnTo>
                  <a:lnTo>
                    <a:pt x="61" y="139"/>
                  </a:lnTo>
                  <a:lnTo>
                    <a:pt x="62" y="136"/>
                  </a:lnTo>
                  <a:lnTo>
                    <a:pt x="66" y="136"/>
                  </a:lnTo>
                  <a:lnTo>
                    <a:pt x="65" y="134"/>
                  </a:lnTo>
                  <a:lnTo>
                    <a:pt x="62" y="133"/>
                  </a:lnTo>
                  <a:lnTo>
                    <a:pt x="62" y="131"/>
                  </a:lnTo>
                  <a:lnTo>
                    <a:pt x="65" y="133"/>
                  </a:lnTo>
                  <a:lnTo>
                    <a:pt x="66" y="131"/>
                  </a:lnTo>
                  <a:lnTo>
                    <a:pt x="67" y="130"/>
                  </a:lnTo>
                  <a:lnTo>
                    <a:pt x="69" y="130"/>
                  </a:lnTo>
                  <a:lnTo>
                    <a:pt x="72" y="129"/>
                  </a:lnTo>
                  <a:lnTo>
                    <a:pt x="73" y="128"/>
                  </a:lnTo>
                  <a:lnTo>
                    <a:pt x="74" y="127"/>
                  </a:lnTo>
                  <a:lnTo>
                    <a:pt x="73" y="124"/>
                  </a:lnTo>
                  <a:lnTo>
                    <a:pt x="73" y="122"/>
                  </a:lnTo>
                  <a:lnTo>
                    <a:pt x="71" y="125"/>
                  </a:lnTo>
                  <a:lnTo>
                    <a:pt x="67" y="128"/>
                  </a:lnTo>
                  <a:lnTo>
                    <a:pt x="68" y="125"/>
                  </a:lnTo>
                  <a:lnTo>
                    <a:pt x="72" y="122"/>
                  </a:lnTo>
                  <a:lnTo>
                    <a:pt x="73" y="121"/>
                  </a:lnTo>
                  <a:lnTo>
                    <a:pt x="72" y="121"/>
                  </a:lnTo>
                  <a:lnTo>
                    <a:pt x="72" y="118"/>
                  </a:lnTo>
                  <a:lnTo>
                    <a:pt x="72" y="117"/>
                  </a:lnTo>
                  <a:lnTo>
                    <a:pt x="69" y="118"/>
                  </a:lnTo>
                  <a:lnTo>
                    <a:pt x="66" y="119"/>
                  </a:lnTo>
                  <a:lnTo>
                    <a:pt x="62" y="121"/>
                  </a:lnTo>
                  <a:lnTo>
                    <a:pt x="63" y="118"/>
                  </a:lnTo>
                  <a:lnTo>
                    <a:pt x="65" y="116"/>
                  </a:lnTo>
                  <a:lnTo>
                    <a:pt x="66" y="115"/>
                  </a:lnTo>
                  <a:lnTo>
                    <a:pt x="68" y="113"/>
                  </a:lnTo>
                  <a:lnTo>
                    <a:pt x="72" y="115"/>
                  </a:lnTo>
                  <a:lnTo>
                    <a:pt x="72" y="112"/>
                  </a:lnTo>
                  <a:lnTo>
                    <a:pt x="63" y="112"/>
                  </a:lnTo>
                  <a:lnTo>
                    <a:pt x="62" y="111"/>
                  </a:lnTo>
                  <a:lnTo>
                    <a:pt x="65" y="110"/>
                  </a:lnTo>
                  <a:lnTo>
                    <a:pt x="67" y="109"/>
                  </a:lnTo>
                  <a:lnTo>
                    <a:pt x="68" y="109"/>
                  </a:lnTo>
                  <a:lnTo>
                    <a:pt x="69" y="109"/>
                  </a:lnTo>
                  <a:lnTo>
                    <a:pt x="72" y="109"/>
                  </a:lnTo>
                  <a:lnTo>
                    <a:pt x="74" y="111"/>
                  </a:lnTo>
                  <a:lnTo>
                    <a:pt x="74" y="109"/>
                  </a:lnTo>
                  <a:lnTo>
                    <a:pt x="77" y="109"/>
                  </a:lnTo>
                  <a:lnTo>
                    <a:pt x="77" y="106"/>
                  </a:lnTo>
                  <a:lnTo>
                    <a:pt x="74" y="105"/>
                  </a:lnTo>
                  <a:lnTo>
                    <a:pt x="73" y="104"/>
                  </a:lnTo>
                  <a:lnTo>
                    <a:pt x="72" y="101"/>
                  </a:lnTo>
                  <a:lnTo>
                    <a:pt x="72" y="99"/>
                  </a:lnTo>
                  <a:lnTo>
                    <a:pt x="73" y="97"/>
                  </a:lnTo>
                  <a:lnTo>
                    <a:pt x="74" y="98"/>
                  </a:lnTo>
                  <a:lnTo>
                    <a:pt x="76" y="100"/>
                  </a:lnTo>
                  <a:lnTo>
                    <a:pt x="77" y="99"/>
                  </a:lnTo>
                  <a:lnTo>
                    <a:pt x="78" y="103"/>
                  </a:lnTo>
                  <a:lnTo>
                    <a:pt x="78" y="106"/>
                  </a:lnTo>
                  <a:lnTo>
                    <a:pt x="79" y="109"/>
                  </a:lnTo>
                  <a:lnTo>
                    <a:pt x="80" y="110"/>
                  </a:lnTo>
                  <a:lnTo>
                    <a:pt x="83" y="111"/>
                  </a:lnTo>
                  <a:lnTo>
                    <a:pt x="85" y="111"/>
                  </a:lnTo>
                  <a:lnTo>
                    <a:pt x="88" y="110"/>
                  </a:lnTo>
                  <a:lnTo>
                    <a:pt x="90" y="109"/>
                  </a:lnTo>
                  <a:lnTo>
                    <a:pt x="91" y="109"/>
                  </a:lnTo>
                  <a:lnTo>
                    <a:pt x="92" y="107"/>
                  </a:lnTo>
                  <a:lnTo>
                    <a:pt x="94" y="107"/>
                  </a:lnTo>
                  <a:lnTo>
                    <a:pt x="95" y="106"/>
                  </a:lnTo>
                  <a:lnTo>
                    <a:pt x="95" y="105"/>
                  </a:lnTo>
                  <a:lnTo>
                    <a:pt x="96" y="104"/>
                  </a:lnTo>
                  <a:lnTo>
                    <a:pt x="96" y="101"/>
                  </a:lnTo>
                  <a:lnTo>
                    <a:pt x="95" y="100"/>
                  </a:lnTo>
                  <a:lnTo>
                    <a:pt x="95" y="99"/>
                  </a:lnTo>
                  <a:lnTo>
                    <a:pt x="95" y="98"/>
                  </a:lnTo>
                  <a:lnTo>
                    <a:pt x="96" y="98"/>
                  </a:lnTo>
                  <a:lnTo>
                    <a:pt x="97" y="99"/>
                  </a:lnTo>
                  <a:lnTo>
                    <a:pt x="98" y="98"/>
                  </a:lnTo>
                  <a:lnTo>
                    <a:pt x="97" y="97"/>
                  </a:lnTo>
                  <a:lnTo>
                    <a:pt x="100" y="97"/>
                  </a:lnTo>
                  <a:lnTo>
                    <a:pt x="100" y="95"/>
                  </a:lnTo>
                  <a:lnTo>
                    <a:pt x="98" y="91"/>
                  </a:lnTo>
                  <a:lnTo>
                    <a:pt x="97" y="91"/>
                  </a:lnTo>
                  <a:lnTo>
                    <a:pt x="96" y="92"/>
                  </a:lnTo>
                  <a:lnTo>
                    <a:pt x="95" y="91"/>
                  </a:lnTo>
                  <a:lnTo>
                    <a:pt x="95" y="89"/>
                  </a:lnTo>
                  <a:lnTo>
                    <a:pt x="95" y="88"/>
                  </a:lnTo>
                  <a:lnTo>
                    <a:pt x="96" y="88"/>
                  </a:lnTo>
                  <a:lnTo>
                    <a:pt x="98" y="89"/>
                  </a:lnTo>
                  <a:lnTo>
                    <a:pt x="97" y="87"/>
                  </a:lnTo>
                  <a:lnTo>
                    <a:pt x="97" y="86"/>
                  </a:lnTo>
                  <a:lnTo>
                    <a:pt x="98" y="86"/>
                  </a:lnTo>
                  <a:lnTo>
                    <a:pt x="98" y="85"/>
                  </a:lnTo>
                  <a:lnTo>
                    <a:pt x="98" y="83"/>
                  </a:lnTo>
                  <a:lnTo>
                    <a:pt x="100" y="83"/>
                  </a:lnTo>
                  <a:lnTo>
                    <a:pt x="101" y="83"/>
                  </a:lnTo>
                  <a:lnTo>
                    <a:pt x="101" y="86"/>
                  </a:lnTo>
                  <a:lnTo>
                    <a:pt x="102" y="86"/>
                  </a:lnTo>
                  <a:lnTo>
                    <a:pt x="102" y="87"/>
                  </a:lnTo>
                  <a:lnTo>
                    <a:pt x="100" y="88"/>
                  </a:lnTo>
                  <a:lnTo>
                    <a:pt x="100" y="89"/>
                  </a:lnTo>
                  <a:lnTo>
                    <a:pt x="100" y="92"/>
                  </a:lnTo>
                  <a:lnTo>
                    <a:pt x="100" y="94"/>
                  </a:lnTo>
                  <a:lnTo>
                    <a:pt x="102" y="93"/>
                  </a:lnTo>
                  <a:lnTo>
                    <a:pt x="101" y="92"/>
                  </a:lnTo>
                  <a:lnTo>
                    <a:pt x="101" y="91"/>
                  </a:lnTo>
                  <a:lnTo>
                    <a:pt x="101" y="89"/>
                  </a:lnTo>
                  <a:lnTo>
                    <a:pt x="102" y="89"/>
                  </a:lnTo>
                  <a:lnTo>
                    <a:pt x="104" y="89"/>
                  </a:lnTo>
                  <a:lnTo>
                    <a:pt x="103" y="93"/>
                  </a:lnTo>
                  <a:lnTo>
                    <a:pt x="104" y="94"/>
                  </a:lnTo>
                  <a:lnTo>
                    <a:pt x="106" y="95"/>
                  </a:lnTo>
                  <a:lnTo>
                    <a:pt x="103" y="98"/>
                  </a:lnTo>
                  <a:lnTo>
                    <a:pt x="104" y="98"/>
                  </a:lnTo>
                  <a:lnTo>
                    <a:pt x="106" y="97"/>
                  </a:lnTo>
                  <a:lnTo>
                    <a:pt x="107" y="97"/>
                  </a:lnTo>
                  <a:lnTo>
                    <a:pt x="108" y="95"/>
                  </a:lnTo>
                  <a:lnTo>
                    <a:pt x="109" y="94"/>
                  </a:lnTo>
                  <a:lnTo>
                    <a:pt x="108" y="93"/>
                  </a:lnTo>
                  <a:lnTo>
                    <a:pt x="106" y="93"/>
                  </a:lnTo>
                  <a:lnTo>
                    <a:pt x="106" y="91"/>
                  </a:lnTo>
                  <a:lnTo>
                    <a:pt x="104" y="87"/>
                  </a:lnTo>
                  <a:lnTo>
                    <a:pt x="106" y="88"/>
                  </a:lnTo>
                  <a:lnTo>
                    <a:pt x="106" y="87"/>
                  </a:lnTo>
                  <a:lnTo>
                    <a:pt x="107" y="87"/>
                  </a:lnTo>
                  <a:lnTo>
                    <a:pt x="108" y="87"/>
                  </a:lnTo>
                  <a:lnTo>
                    <a:pt x="109" y="88"/>
                  </a:lnTo>
                  <a:lnTo>
                    <a:pt x="110" y="87"/>
                  </a:lnTo>
                  <a:lnTo>
                    <a:pt x="112" y="88"/>
                  </a:lnTo>
                  <a:lnTo>
                    <a:pt x="113" y="88"/>
                  </a:lnTo>
                  <a:lnTo>
                    <a:pt x="113" y="89"/>
                  </a:lnTo>
                  <a:lnTo>
                    <a:pt x="113" y="92"/>
                  </a:lnTo>
                  <a:lnTo>
                    <a:pt x="114" y="92"/>
                  </a:lnTo>
                  <a:lnTo>
                    <a:pt x="115" y="91"/>
                  </a:lnTo>
                  <a:lnTo>
                    <a:pt x="115" y="93"/>
                  </a:lnTo>
                  <a:lnTo>
                    <a:pt x="115" y="94"/>
                  </a:lnTo>
                  <a:lnTo>
                    <a:pt x="116" y="92"/>
                  </a:lnTo>
                  <a:lnTo>
                    <a:pt x="116" y="93"/>
                  </a:lnTo>
                  <a:lnTo>
                    <a:pt x="119" y="93"/>
                  </a:lnTo>
                  <a:lnTo>
                    <a:pt x="120" y="91"/>
                  </a:lnTo>
                  <a:lnTo>
                    <a:pt x="118" y="92"/>
                  </a:lnTo>
                  <a:lnTo>
                    <a:pt x="118" y="91"/>
                  </a:lnTo>
                  <a:lnTo>
                    <a:pt x="118" y="89"/>
                  </a:lnTo>
                  <a:lnTo>
                    <a:pt x="119" y="89"/>
                  </a:lnTo>
                  <a:lnTo>
                    <a:pt x="119" y="87"/>
                  </a:lnTo>
                  <a:lnTo>
                    <a:pt x="120" y="87"/>
                  </a:lnTo>
                  <a:lnTo>
                    <a:pt x="121" y="87"/>
                  </a:lnTo>
                  <a:lnTo>
                    <a:pt x="121" y="88"/>
                  </a:lnTo>
                  <a:lnTo>
                    <a:pt x="122" y="87"/>
                  </a:lnTo>
                  <a:lnTo>
                    <a:pt x="124" y="86"/>
                  </a:lnTo>
                  <a:lnTo>
                    <a:pt x="124" y="81"/>
                  </a:lnTo>
                  <a:lnTo>
                    <a:pt x="125" y="83"/>
                  </a:lnTo>
                  <a:lnTo>
                    <a:pt x="125" y="85"/>
                  </a:lnTo>
                  <a:lnTo>
                    <a:pt x="126" y="85"/>
                  </a:lnTo>
                  <a:lnTo>
                    <a:pt x="126" y="87"/>
                  </a:lnTo>
                  <a:lnTo>
                    <a:pt x="125" y="88"/>
                  </a:lnTo>
                  <a:lnTo>
                    <a:pt x="125" y="91"/>
                  </a:lnTo>
                  <a:lnTo>
                    <a:pt x="127" y="92"/>
                  </a:lnTo>
                  <a:lnTo>
                    <a:pt x="127" y="91"/>
                  </a:lnTo>
                  <a:lnTo>
                    <a:pt x="130" y="92"/>
                  </a:lnTo>
                  <a:lnTo>
                    <a:pt x="130" y="95"/>
                  </a:lnTo>
                  <a:lnTo>
                    <a:pt x="132" y="93"/>
                  </a:lnTo>
                  <a:lnTo>
                    <a:pt x="133" y="94"/>
                  </a:lnTo>
                  <a:lnTo>
                    <a:pt x="135" y="94"/>
                  </a:lnTo>
                  <a:lnTo>
                    <a:pt x="135" y="95"/>
                  </a:lnTo>
                  <a:lnTo>
                    <a:pt x="136" y="97"/>
                  </a:lnTo>
                  <a:lnTo>
                    <a:pt x="137" y="98"/>
                  </a:lnTo>
                  <a:lnTo>
                    <a:pt x="138" y="100"/>
                  </a:lnTo>
                  <a:lnTo>
                    <a:pt x="138" y="101"/>
                  </a:lnTo>
                  <a:lnTo>
                    <a:pt x="135" y="98"/>
                  </a:lnTo>
                  <a:lnTo>
                    <a:pt x="130" y="97"/>
                  </a:lnTo>
                  <a:lnTo>
                    <a:pt x="128" y="94"/>
                  </a:lnTo>
                  <a:lnTo>
                    <a:pt x="128" y="97"/>
                  </a:lnTo>
                  <a:lnTo>
                    <a:pt x="130" y="98"/>
                  </a:lnTo>
                  <a:lnTo>
                    <a:pt x="131" y="101"/>
                  </a:lnTo>
                  <a:lnTo>
                    <a:pt x="132" y="101"/>
                  </a:lnTo>
                  <a:lnTo>
                    <a:pt x="135" y="103"/>
                  </a:lnTo>
                  <a:lnTo>
                    <a:pt x="132" y="104"/>
                  </a:lnTo>
                  <a:lnTo>
                    <a:pt x="133" y="109"/>
                  </a:lnTo>
                  <a:lnTo>
                    <a:pt x="135" y="111"/>
                  </a:lnTo>
                  <a:lnTo>
                    <a:pt x="137" y="111"/>
                  </a:lnTo>
                  <a:lnTo>
                    <a:pt x="137" y="113"/>
                  </a:lnTo>
                  <a:lnTo>
                    <a:pt x="138" y="113"/>
                  </a:lnTo>
                  <a:lnTo>
                    <a:pt x="139" y="113"/>
                  </a:lnTo>
                  <a:lnTo>
                    <a:pt x="139" y="117"/>
                  </a:lnTo>
                  <a:lnTo>
                    <a:pt x="141" y="118"/>
                  </a:lnTo>
                  <a:lnTo>
                    <a:pt x="142" y="118"/>
                  </a:lnTo>
                  <a:lnTo>
                    <a:pt x="143" y="116"/>
                  </a:lnTo>
                  <a:lnTo>
                    <a:pt x="144" y="115"/>
                  </a:lnTo>
                  <a:lnTo>
                    <a:pt x="145" y="115"/>
                  </a:lnTo>
                  <a:lnTo>
                    <a:pt x="148" y="113"/>
                  </a:lnTo>
                  <a:lnTo>
                    <a:pt x="145" y="112"/>
                  </a:lnTo>
                  <a:lnTo>
                    <a:pt x="143" y="113"/>
                  </a:lnTo>
                  <a:lnTo>
                    <a:pt x="141" y="112"/>
                  </a:lnTo>
                  <a:lnTo>
                    <a:pt x="141" y="111"/>
                  </a:lnTo>
                  <a:lnTo>
                    <a:pt x="142" y="111"/>
                  </a:lnTo>
                  <a:lnTo>
                    <a:pt x="143" y="109"/>
                  </a:lnTo>
                  <a:lnTo>
                    <a:pt x="144" y="109"/>
                  </a:lnTo>
                  <a:lnTo>
                    <a:pt x="145" y="107"/>
                  </a:lnTo>
                  <a:lnTo>
                    <a:pt x="147" y="107"/>
                  </a:lnTo>
                  <a:lnTo>
                    <a:pt x="148" y="106"/>
                  </a:lnTo>
                  <a:lnTo>
                    <a:pt x="148" y="105"/>
                  </a:lnTo>
                  <a:lnTo>
                    <a:pt x="147" y="103"/>
                  </a:lnTo>
                  <a:lnTo>
                    <a:pt x="143" y="105"/>
                  </a:lnTo>
                  <a:lnTo>
                    <a:pt x="142" y="106"/>
                  </a:lnTo>
                  <a:lnTo>
                    <a:pt x="142" y="105"/>
                  </a:lnTo>
                  <a:lnTo>
                    <a:pt x="141" y="104"/>
                  </a:lnTo>
                  <a:lnTo>
                    <a:pt x="141" y="103"/>
                  </a:lnTo>
                  <a:lnTo>
                    <a:pt x="141" y="100"/>
                  </a:lnTo>
                  <a:lnTo>
                    <a:pt x="141" y="99"/>
                  </a:lnTo>
                  <a:lnTo>
                    <a:pt x="138" y="94"/>
                  </a:lnTo>
                  <a:lnTo>
                    <a:pt x="141" y="97"/>
                  </a:lnTo>
                  <a:lnTo>
                    <a:pt x="143" y="95"/>
                  </a:lnTo>
                  <a:lnTo>
                    <a:pt x="144" y="95"/>
                  </a:lnTo>
                  <a:lnTo>
                    <a:pt x="147" y="97"/>
                  </a:lnTo>
                  <a:lnTo>
                    <a:pt x="148" y="93"/>
                  </a:lnTo>
                  <a:lnTo>
                    <a:pt x="147" y="92"/>
                  </a:lnTo>
                  <a:lnTo>
                    <a:pt x="145" y="93"/>
                  </a:lnTo>
                  <a:lnTo>
                    <a:pt x="143" y="93"/>
                  </a:lnTo>
                  <a:lnTo>
                    <a:pt x="143" y="91"/>
                  </a:lnTo>
                  <a:lnTo>
                    <a:pt x="142" y="89"/>
                  </a:lnTo>
                  <a:lnTo>
                    <a:pt x="145" y="89"/>
                  </a:lnTo>
                  <a:lnTo>
                    <a:pt x="148" y="89"/>
                  </a:lnTo>
                  <a:lnTo>
                    <a:pt x="149" y="89"/>
                  </a:lnTo>
                  <a:lnTo>
                    <a:pt x="149" y="88"/>
                  </a:lnTo>
                  <a:lnTo>
                    <a:pt x="150" y="88"/>
                  </a:lnTo>
                  <a:lnTo>
                    <a:pt x="150" y="87"/>
                  </a:lnTo>
                  <a:lnTo>
                    <a:pt x="153" y="89"/>
                  </a:lnTo>
                  <a:lnTo>
                    <a:pt x="153" y="91"/>
                  </a:lnTo>
                  <a:lnTo>
                    <a:pt x="154" y="91"/>
                  </a:lnTo>
                  <a:lnTo>
                    <a:pt x="154" y="92"/>
                  </a:lnTo>
                  <a:lnTo>
                    <a:pt x="156" y="94"/>
                  </a:lnTo>
                  <a:lnTo>
                    <a:pt x="157" y="95"/>
                  </a:lnTo>
                  <a:lnTo>
                    <a:pt x="159" y="97"/>
                  </a:lnTo>
                  <a:lnTo>
                    <a:pt x="159" y="99"/>
                  </a:lnTo>
                  <a:lnTo>
                    <a:pt x="160" y="101"/>
                  </a:lnTo>
                  <a:lnTo>
                    <a:pt x="160" y="103"/>
                  </a:lnTo>
                  <a:lnTo>
                    <a:pt x="161" y="101"/>
                  </a:lnTo>
                  <a:lnTo>
                    <a:pt x="162" y="103"/>
                  </a:lnTo>
                  <a:lnTo>
                    <a:pt x="163" y="101"/>
                  </a:lnTo>
                  <a:lnTo>
                    <a:pt x="165" y="101"/>
                  </a:lnTo>
                  <a:lnTo>
                    <a:pt x="166" y="99"/>
                  </a:lnTo>
                  <a:lnTo>
                    <a:pt x="167" y="100"/>
                  </a:lnTo>
                  <a:lnTo>
                    <a:pt x="169" y="103"/>
                  </a:lnTo>
                  <a:lnTo>
                    <a:pt x="171" y="104"/>
                  </a:lnTo>
                  <a:lnTo>
                    <a:pt x="173" y="105"/>
                  </a:lnTo>
                  <a:lnTo>
                    <a:pt x="173" y="107"/>
                  </a:lnTo>
                  <a:lnTo>
                    <a:pt x="175" y="107"/>
                  </a:lnTo>
                  <a:lnTo>
                    <a:pt x="177" y="106"/>
                  </a:lnTo>
                  <a:lnTo>
                    <a:pt x="175" y="106"/>
                  </a:lnTo>
                  <a:lnTo>
                    <a:pt x="175" y="104"/>
                  </a:lnTo>
                  <a:lnTo>
                    <a:pt x="177" y="103"/>
                  </a:lnTo>
                  <a:lnTo>
                    <a:pt x="178" y="103"/>
                  </a:lnTo>
                  <a:lnTo>
                    <a:pt x="178" y="101"/>
                  </a:lnTo>
                  <a:lnTo>
                    <a:pt x="179" y="100"/>
                  </a:lnTo>
                  <a:lnTo>
                    <a:pt x="181" y="100"/>
                  </a:lnTo>
                  <a:lnTo>
                    <a:pt x="183" y="101"/>
                  </a:lnTo>
                  <a:lnTo>
                    <a:pt x="184" y="101"/>
                  </a:lnTo>
                  <a:lnTo>
                    <a:pt x="185" y="101"/>
                  </a:lnTo>
                  <a:lnTo>
                    <a:pt x="185" y="103"/>
                  </a:lnTo>
                  <a:lnTo>
                    <a:pt x="185" y="105"/>
                  </a:lnTo>
                  <a:lnTo>
                    <a:pt x="186" y="104"/>
                  </a:lnTo>
                  <a:lnTo>
                    <a:pt x="187" y="103"/>
                  </a:lnTo>
                  <a:lnTo>
                    <a:pt x="189" y="101"/>
                  </a:lnTo>
                  <a:lnTo>
                    <a:pt x="191" y="104"/>
                  </a:lnTo>
                  <a:lnTo>
                    <a:pt x="191" y="101"/>
                  </a:lnTo>
                  <a:lnTo>
                    <a:pt x="189" y="101"/>
                  </a:lnTo>
                  <a:lnTo>
                    <a:pt x="187" y="100"/>
                  </a:lnTo>
                  <a:lnTo>
                    <a:pt x="187" y="97"/>
                  </a:lnTo>
                  <a:lnTo>
                    <a:pt x="189" y="98"/>
                  </a:lnTo>
                  <a:lnTo>
                    <a:pt x="190" y="98"/>
                  </a:lnTo>
                  <a:lnTo>
                    <a:pt x="191" y="97"/>
                  </a:lnTo>
                  <a:lnTo>
                    <a:pt x="192" y="95"/>
                  </a:lnTo>
                  <a:lnTo>
                    <a:pt x="194" y="95"/>
                  </a:lnTo>
                  <a:lnTo>
                    <a:pt x="195" y="97"/>
                  </a:lnTo>
                  <a:lnTo>
                    <a:pt x="196" y="98"/>
                  </a:lnTo>
                  <a:lnTo>
                    <a:pt x="197" y="97"/>
                  </a:lnTo>
                  <a:lnTo>
                    <a:pt x="198" y="97"/>
                  </a:lnTo>
                  <a:lnTo>
                    <a:pt x="197" y="95"/>
                  </a:lnTo>
                  <a:lnTo>
                    <a:pt x="197" y="94"/>
                  </a:lnTo>
                  <a:lnTo>
                    <a:pt x="198" y="93"/>
                  </a:lnTo>
                  <a:lnTo>
                    <a:pt x="200" y="92"/>
                  </a:lnTo>
                  <a:lnTo>
                    <a:pt x="201" y="91"/>
                  </a:lnTo>
                  <a:lnTo>
                    <a:pt x="202" y="89"/>
                  </a:lnTo>
                  <a:lnTo>
                    <a:pt x="198" y="91"/>
                  </a:lnTo>
                  <a:lnTo>
                    <a:pt x="196" y="92"/>
                  </a:lnTo>
                  <a:lnTo>
                    <a:pt x="196" y="91"/>
                  </a:lnTo>
                  <a:lnTo>
                    <a:pt x="197" y="88"/>
                  </a:lnTo>
                  <a:lnTo>
                    <a:pt x="198" y="86"/>
                  </a:lnTo>
                  <a:lnTo>
                    <a:pt x="200" y="86"/>
                  </a:lnTo>
                  <a:lnTo>
                    <a:pt x="201" y="85"/>
                  </a:lnTo>
                  <a:lnTo>
                    <a:pt x="201" y="83"/>
                  </a:lnTo>
                  <a:lnTo>
                    <a:pt x="202" y="82"/>
                  </a:lnTo>
                  <a:lnTo>
                    <a:pt x="207" y="83"/>
                  </a:lnTo>
                  <a:lnTo>
                    <a:pt x="208" y="82"/>
                  </a:lnTo>
                  <a:lnTo>
                    <a:pt x="210" y="82"/>
                  </a:lnTo>
                  <a:lnTo>
                    <a:pt x="208" y="77"/>
                  </a:lnTo>
                  <a:lnTo>
                    <a:pt x="208" y="79"/>
                  </a:lnTo>
                  <a:lnTo>
                    <a:pt x="207" y="80"/>
                  </a:lnTo>
                  <a:lnTo>
                    <a:pt x="207" y="77"/>
                  </a:lnTo>
                  <a:lnTo>
                    <a:pt x="204" y="76"/>
                  </a:lnTo>
                  <a:lnTo>
                    <a:pt x="201" y="77"/>
                  </a:lnTo>
                  <a:lnTo>
                    <a:pt x="197" y="77"/>
                  </a:lnTo>
                  <a:lnTo>
                    <a:pt x="197" y="76"/>
                  </a:lnTo>
                  <a:lnTo>
                    <a:pt x="198" y="75"/>
                  </a:lnTo>
                  <a:lnTo>
                    <a:pt x="201" y="75"/>
                  </a:lnTo>
                  <a:lnTo>
                    <a:pt x="203" y="74"/>
                  </a:lnTo>
                  <a:lnTo>
                    <a:pt x="204" y="75"/>
                  </a:lnTo>
                  <a:lnTo>
                    <a:pt x="207" y="76"/>
                  </a:lnTo>
                  <a:lnTo>
                    <a:pt x="208" y="76"/>
                  </a:lnTo>
                  <a:lnTo>
                    <a:pt x="206" y="69"/>
                  </a:lnTo>
                  <a:lnTo>
                    <a:pt x="203" y="65"/>
                  </a:lnTo>
                  <a:lnTo>
                    <a:pt x="203" y="67"/>
                  </a:lnTo>
                  <a:lnTo>
                    <a:pt x="201" y="67"/>
                  </a:lnTo>
                  <a:lnTo>
                    <a:pt x="200" y="68"/>
                  </a:lnTo>
                  <a:lnTo>
                    <a:pt x="200" y="65"/>
                  </a:lnTo>
                  <a:lnTo>
                    <a:pt x="201" y="63"/>
                  </a:lnTo>
                  <a:lnTo>
                    <a:pt x="201" y="64"/>
                  </a:lnTo>
                  <a:lnTo>
                    <a:pt x="202" y="62"/>
                  </a:lnTo>
                  <a:lnTo>
                    <a:pt x="200" y="62"/>
                  </a:lnTo>
                  <a:lnTo>
                    <a:pt x="197" y="63"/>
                  </a:lnTo>
                  <a:lnTo>
                    <a:pt x="195" y="65"/>
                  </a:lnTo>
                  <a:lnTo>
                    <a:pt x="196" y="62"/>
                  </a:lnTo>
                  <a:lnTo>
                    <a:pt x="196" y="61"/>
                  </a:lnTo>
                  <a:lnTo>
                    <a:pt x="197" y="59"/>
                  </a:lnTo>
                  <a:lnTo>
                    <a:pt x="200" y="61"/>
                  </a:lnTo>
                  <a:lnTo>
                    <a:pt x="201" y="62"/>
                  </a:lnTo>
                  <a:lnTo>
                    <a:pt x="198" y="57"/>
                  </a:lnTo>
                  <a:lnTo>
                    <a:pt x="195" y="57"/>
                  </a:lnTo>
                  <a:lnTo>
                    <a:pt x="192" y="59"/>
                  </a:lnTo>
                  <a:lnTo>
                    <a:pt x="192" y="62"/>
                  </a:lnTo>
                  <a:lnTo>
                    <a:pt x="190" y="62"/>
                  </a:lnTo>
                  <a:lnTo>
                    <a:pt x="190" y="61"/>
                  </a:lnTo>
                  <a:lnTo>
                    <a:pt x="189" y="59"/>
                  </a:lnTo>
                  <a:lnTo>
                    <a:pt x="189" y="57"/>
                  </a:lnTo>
                  <a:lnTo>
                    <a:pt x="190" y="56"/>
                  </a:lnTo>
                  <a:lnTo>
                    <a:pt x="192" y="57"/>
                  </a:lnTo>
                  <a:lnTo>
                    <a:pt x="196" y="56"/>
                  </a:lnTo>
                  <a:lnTo>
                    <a:pt x="197" y="56"/>
                  </a:lnTo>
                  <a:lnTo>
                    <a:pt x="195" y="56"/>
                  </a:lnTo>
                  <a:lnTo>
                    <a:pt x="192" y="56"/>
                  </a:lnTo>
                  <a:lnTo>
                    <a:pt x="194" y="55"/>
                  </a:lnTo>
                  <a:lnTo>
                    <a:pt x="195" y="53"/>
                  </a:lnTo>
                  <a:lnTo>
                    <a:pt x="194" y="53"/>
                  </a:lnTo>
                  <a:lnTo>
                    <a:pt x="192" y="53"/>
                  </a:lnTo>
                  <a:lnTo>
                    <a:pt x="191" y="55"/>
                  </a:lnTo>
                  <a:lnTo>
                    <a:pt x="190" y="53"/>
                  </a:lnTo>
                  <a:lnTo>
                    <a:pt x="192" y="52"/>
                  </a:lnTo>
                  <a:lnTo>
                    <a:pt x="195" y="52"/>
                  </a:lnTo>
                  <a:lnTo>
                    <a:pt x="194" y="51"/>
                  </a:lnTo>
                  <a:lnTo>
                    <a:pt x="191" y="51"/>
                  </a:lnTo>
                  <a:lnTo>
                    <a:pt x="189" y="52"/>
                  </a:lnTo>
                  <a:lnTo>
                    <a:pt x="187" y="50"/>
                  </a:lnTo>
                  <a:lnTo>
                    <a:pt x="190" y="49"/>
                  </a:lnTo>
                  <a:lnTo>
                    <a:pt x="191" y="51"/>
                  </a:lnTo>
                  <a:lnTo>
                    <a:pt x="194" y="50"/>
                  </a:lnTo>
                  <a:lnTo>
                    <a:pt x="191" y="49"/>
                  </a:lnTo>
                  <a:lnTo>
                    <a:pt x="189" y="47"/>
                  </a:lnTo>
                  <a:lnTo>
                    <a:pt x="187" y="47"/>
                  </a:lnTo>
                  <a:lnTo>
                    <a:pt x="184" y="46"/>
                  </a:lnTo>
                  <a:lnTo>
                    <a:pt x="186" y="45"/>
                  </a:lnTo>
                  <a:lnTo>
                    <a:pt x="189" y="46"/>
                  </a:lnTo>
                  <a:lnTo>
                    <a:pt x="191" y="47"/>
                  </a:lnTo>
                  <a:lnTo>
                    <a:pt x="194" y="50"/>
                  </a:lnTo>
                  <a:lnTo>
                    <a:pt x="195" y="50"/>
                  </a:lnTo>
                  <a:lnTo>
                    <a:pt x="196" y="49"/>
                  </a:lnTo>
                  <a:lnTo>
                    <a:pt x="195" y="46"/>
                  </a:lnTo>
                  <a:lnTo>
                    <a:pt x="192" y="45"/>
                  </a:lnTo>
                  <a:lnTo>
                    <a:pt x="190" y="45"/>
                  </a:lnTo>
                  <a:lnTo>
                    <a:pt x="187" y="44"/>
                  </a:lnTo>
                  <a:lnTo>
                    <a:pt x="194" y="44"/>
                  </a:lnTo>
                  <a:lnTo>
                    <a:pt x="195" y="45"/>
                  </a:lnTo>
                  <a:lnTo>
                    <a:pt x="196" y="46"/>
                  </a:lnTo>
                  <a:lnTo>
                    <a:pt x="197" y="45"/>
                  </a:lnTo>
                  <a:lnTo>
                    <a:pt x="198" y="45"/>
                  </a:lnTo>
                  <a:lnTo>
                    <a:pt x="198" y="43"/>
                  </a:lnTo>
                  <a:lnTo>
                    <a:pt x="201" y="41"/>
                  </a:lnTo>
                  <a:lnTo>
                    <a:pt x="202" y="41"/>
                  </a:lnTo>
                  <a:lnTo>
                    <a:pt x="204" y="41"/>
                  </a:lnTo>
                  <a:lnTo>
                    <a:pt x="206" y="40"/>
                  </a:lnTo>
                  <a:lnTo>
                    <a:pt x="204" y="44"/>
                  </a:lnTo>
                  <a:lnTo>
                    <a:pt x="201" y="45"/>
                  </a:lnTo>
                  <a:lnTo>
                    <a:pt x="198" y="46"/>
                  </a:lnTo>
                  <a:lnTo>
                    <a:pt x="198" y="47"/>
                  </a:lnTo>
                  <a:lnTo>
                    <a:pt x="198" y="49"/>
                  </a:lnTo>
                  <a:lnTo>
                    <a:pt x="200" y="50"/>
                  </a:lnTo>
                  <a:lnTo>
                    <a:pt x="200" y="51"/>
                  </a:lnTo>
                  <a:lnTo>
                    <a:pt x="198" y="55"/>
                  </a:lnTo>
                  <a:lnTo>
                    <a:pt x="200" y="53"/>
                  </a:lnTo>
                  <a:lnTo>
                    <a:pt x="201" y="55"/>
                  </a:lnTo>
                  <a:lnTo>
                    <a:pt x="201" y="57"/>
                  </a:lnTo>
                  <a:lnTo>
                    <a:pt x="203" y="64"/>
                  </a:lnTo>
                  <a:lnTo>
                    <a:pt x="208" y="75"/>
                  </a:lnTo>
                  <a:lnTo>
                    <a:pt x="210" y="74"/>
                  </a:lnTo>
                  <a:lnTo>
                    <a:pt x="212" y="74"/>
                  </a:lnTo>
                  <a:lnTo>
                    <a:pt x="212" y="71"/>
                  </a:lnTo>
                  <a:lnTo>
                    <a:pt x="212" y="70"/>
                  </a:lnTo>
                  <a:lnTo>
                    <a:pt x="212" y="69"/>
                  </a:lnTo>
                  <a:lnTo>
                    <a:pt x="213" y="69"/>
                  </a:lnTo>
                  <a:lnTo>
                    <a:pt x="214" y="70"/>
                  </a:lnTo>
                  <a:lnTo>
                    <a:pt x="215" y="70"/>
                  </a:lnTo>
                  <a:lnTo>
                    <a:pt x="214" y="68"/>
                  </a:lnTo>
                  <a:lnTo>
                    <a:pt x="216" y="68"/>
                  </a:lnTo>
                  <a:lnTo>
                    <a:pt x="218" y="68"/>
                  </a:lnTo>
                  <a:lnTo>
                    <a:pt x="219" y="67"/>
                  </a:lnTo>
                  <a:lnTo>
                    <a:pt x="221" y="65"/>
                  </a:lnTo>
                  <a:lnTo>
                    <a:pt x="222" y="67"/>
                  </a:lnTo>
                  <a:lnTo>
                    <a:pt x="224" y="68"/>
                  </a:lnTo>
                  <a:lnTo>
                    <a:pt x="222" y="68"/>
                  </a:lnTo>
                  <a:lnTo>
                    <a:pt x="224" y="69"/>
                  </a:lnTo>
                  <a:lnTo>
                    <a:pt x="225" y="69"/>
                  </a:lnTo>
                  <a:lnTo>
                    <a:pt x="225" y="70"/>
                  </a:lnTo>
                  <a:lnTo>
                    <a:pt x="226" y="71"/>
                  </a:lnTo>
                  <a:lnTo>
                    <a:pt x="226" y="73"/>
                  </a:lnTo>
                  <a:lnTo>
                    <a:pt x="227" y="73"/>
                  </a:lnTo>
                  <a:lnTo>
                    <a:pt x="227" y="74"/>
                  </a:lnTo>
                  <a:lnTo>
                    <a:pt x="222" y="73"/>
                  </a:lnTo>
                  <a:lnTo>
                    <a:pt x="219" y="71"/>
                  </a:lnTo>
                  <a:lnTo>
                    <a:pt x="218" y="73"/>
                  </a:lnTo>
                  <a:lnTo>
                    <a:pt x="219" y="74"/>
                  </a:lnTo>
                  <a:lnTo>
                    <a:pt x="218" y="75"/>
                  </a:lnTo>
                  <a:lnTo>
                    <a:pt x="219" y="77"/>
                  </a:lnTo>
                  <a:lnTo>
                    <a:pt x="219" y="79"/>
                  </a:lnTo>
                  <a:lnTo>
                    <a:pt x="220" y="77"/>
                  </a:lnTo>
                  <a:lnTo>
                    <a:pt x="221" y="77"/>
                  </a:lnTo>
                  <a:lnTo>
                    <a:pt x="222" y="77"/>
                  </a:lnTo>
                  <a:lnTo>
                    <a:pt x="222" y="79"/>
                  </a:lnTo>
                  <a:lnTo>
                    <a:pt x="224" y="79"/>
                  </a:lnTo>
                  <a:lnTo>
                    <a:pt x="226" y="79"/>
                  </a:lnTo>
                  <a:lnTo>
                    <a:pt x="227" y="79"/>
                  </a:lnTo>
                  <a:lnTo>
                    <a:pt x="227" y="80"/>
                  </a:lnTo>
                  <a:lnTo>
                    <a:pt x="231" y="81"/>
                  </a:lnTo>
                  <a:lnTo>
                    <a:pt x="227" y="81"/>
                  </a:lnTo>
                  <a:lnTo>
                    <a:pt x="227" y="82"/>
                  </a:lnTo>
                  <a:lnTo>
                    <a:pt x="226" y="83"/>
                  </a:lnTo>
                  <a:lnTo>
                    <a:pt x="227" y="87"/>
                  </a:lnTo>
                  <a:lnTo>
                    <a:pt x="227" y="88"/>
                  </a:lnTo>
                  <a:lnTo>
                    <a:pt x="226" y="89"/>
                  </a:lnTo>
                  <a:lnTo>
                    <a:pt x="225" y="88"/>
                  </a:lnTo>
                  <a:lnTo>
                    <a:pt x="225" y="87"/>
                  </a:lnTo>
                  <a:lnTo>
                    <a:pt x="225" y="86"/>
                  </a:lnTo>
                  <a:lnTo>
                    <a:pt x="222" y="86"/>
                  </a:lnTo>
                  <a:lnTo>
                    <a:pt x="220" y="86"/>
                  </a:lnTo>
                  <a:lnTo>
                    <a:pt x="218" y="85"/>
                  </a:lnTo>
                  <a:lnTo>
                    <a:pt x="216" y="85"/>
                  </a:lnTo>
                  <a:lnTo>
                    <a:pt x="213" y="86"/>
                  </a:lnTo>
                  <a:lnTo>
                    <a:pt x="214" y="91"/>
                  </a:lnTo>
                  <a:lnTo>
                    <a:pt x="215" y="91"/>
                  </a:lnTo>
                  <a:lnTo>
                    <a:pt x="216" y="89"/>
                  </a:lnTo>
                  <a:lnTo>
                    <a:pt x="219" y="88"/>
                  </a:lnTo>
                  <a:lnTo>
                    <a:pt x="221" y="89"/>
                  </a:lnTo>
                  <a:lnTo>
                    <a:pt x="221" y="91"/>
                  </a:lnTo>
                  <a:lnTo>
                    <a:pt x="222" y="91"/>
                  </a:lnTo>
                  <a:lnTo>
                    <a:pt x="224" y="91"/>
                  </a:lnTo>
                  <a:lnTo>
                    <a:pt x="225" y="91"/>
                  </a:lnTo>
                  <a:lnTo>
                    <a:pt x="226" y="92"/>
                  </a:lnTo>
                  <a:lnTo>
                    <a:pt x="228" y="92"/>
                  </a:lnTo>
                  <a:lnTo>
                    <a:pt x="230" y="94"/>
                  </a:lnTo>
                  <a:lnTo>
                    <a:pt x="228" y="94"/>
                  </a:lnTo>
                  <a:lnTo>
                    <a:pt x="231" y="94"/>
                  </a:lnTo>
                  <a:lnTo>
                    <a:pt x="232" y="93"/>
                  </a:lnTo>
                  <a:lnTo>
                    <a:pt x="233" y="92"/>
                  </a:lnTo>
                  <a:lnTo>
                    <a:pt x="233" y="93"/>
                  </a:lnTo>
                  <a:lnTo>
                    <a:pt x="234" y="93"/>
                  </a:lnTo>
                  <a:lnTo>
                    <a:pt x="236" y="93"/>
                  </a:lnTo>
                  <a:lnTo>
                    <a:pt x="236" y="94"/>
                  </a:lnTo>
                  <a:lnTo>
                    <a:pt x="238" y="94"/>
                  </a:lnTo>
                  <a:lnTo>
                    <a:pt x="238" y="93"/>
                  </a:lnTo>
                  <a:lnTo>
                    <a:pt x="239" y="93"/>
                  </a:lnTo>
                  <a:lnTo>
                    <a:pt x="239" y="91"/>
                  </a:lnTo>
                  <a:lnTo>
                    <a:pt x="243" y="88"/>
                  </a:lnTo>
                  <a:lnTo>
                    <a:pt x="243" y="87"/>
                  </a:lnTo>
                  <a:lnTo>
                    <a:pt x="244" y="87"/>
                  </a:lnTo>
                  <a:lnTo>
                    <a:pt x="245" y="86"/>
                  </a:lnTo>
                  <a:lnTo>
                    <a:pt x="246" y="83"/>
                  </a:lnTo>
                  <a:lnTo>
                    <a:pt x="244" y="81"/>
                  </a:lnTo>
                  <a:lnTo>
                    <a:pt x="242" y="76"/>
                  </a:lnTo>
                  <a:lnTo>
                    <a:pt x="243" y="76"/>
                  </a:lnTo>
                  <a:lnTo>
                    <a:pt x="244" y="79"/>
                  </a:lnTo>
                  <a:lnTo>
                    <a:pt x="244" y="77"/>
                  </a:lnTo>
                  <a:lnTo>
                    <a:pt x="245" y="76"/>
                  </a:lnTo>
                  <a:lnTo>
                    <a:pt x="246" y="76"/>
                  </a:lnTo>
                  <a:lnTo>
                    <a:pt x="248" y="76"/>
                  </a:lnTo>
                  <a:lnTo>
                    <a:pt x="248" y="77"/>
                  </a:lnTo>
                  <a:lnTo>
                    <a:pt x="246" y="79"/>
                  </a:lnTo>
                  <a:lnTo>
                    <a:pt x="245" y="80"/>
                  </a:lnTo>
                  <a:lnTo>
                    <a:pt x="245" y="81"/>
                  </a:lnTo>
                  <a:lnTo>
                    <a:pt x="248" y="80"/>
                  </a:lnTo>
                  <a:lnTo>
                    <a:pt x="249" y="79"/>
                  </a:lnTo>
                  <a:lnTo>
                    <a:pt x="249" y="81"/>
                  </a:lnTo>
                  <a:lnTo>
                    <a:pt x="246" y="82"/>
                  </a:lnTo>
                  <a:lnTo>
                    <a:pt x="248" y="85"/>
                  </a:lnTo>
                  <a:lnTo>
                    <a:pt x="250" y="85"/>
                  </a:lnTo>
                  <a:lnTo>
                    <a:pt x="253" y="85"/>
                  </a:lnTo>
                  <a:lnTo>
                    <a:pt x="250" y="83"/>
                  </a:lnTo>
                  <a:lnTo>
                    <a:pt x="251" y="82"/>
                  </a:lnTo>
                  <a:lnTo>
                    <a:pt x="254" y="82"/>
                  </a:lnTo>
                  <a:lnTo>
                    <a:pt x="254" y="85"/>
                  </a:lnTo>
                  <a:lnTo>
                    <a:pt x="255" y="86"/>
                  </a:lnTo>
                  <a:lnTo>
                    <a:pt x="256" y="85"/>
                  </a:lnTo>
                  <a:lnTo>
                    <a:pt x="256" y="82"/>
                  </a:lnTo>
                  <a:lnTo>
                    <a:pt x="255" y="81"/>
                  </a:lnTo>
                  <a:lnTo>
                    <a:pt x="254" y="80"/>
                  </a:lnTo>
                  <a:lnTo>
                    <a:pt x="255" y="81"/>
                  </a:lnTo>
                  <a:lnTo>
                    <a:pt x="255" y="80"/>
                  </a:lnTo>
                  <a:lnTo>
                    <a:pt x="255" y="79"/>
                  </a:lnTo>
                  <a:lnTo>
                    <a:pt x="256" y="77"/>
                  </a:lnTo>
                  <a:lnTo>
                    <a:pt x="257" y="76"/>
                  </a:lnTo>
                  <a:lnTo>
                    <a:pt x="257" y="75"/>
                  </a:lnTo>
                  <a:lnTo>
                    <a:pt x="257" y="74"/>
                  </a:lnTo>
                  <a:lnTo>
                    <a:pt x="260" y="74"/>
                  </a:lnTo>
                  <a:lnTo>
                    <a:pt x="261" y="76"/>
                  </a:lnTo>
                  <a:lnTo>
                    <a:pt x="262" y="76"/>
                  </a:lnTo>
                  <a:lnTo>
                    <a:pt x="263" y="76"/>
                  </a:lnTo>
                  <a:lnTo>
                    <a:pt x="262" y="74"/>
                  </a:lnTo>
                  <a:lnTo>
                    <a:pt x="263" y="73"/>
                  </a:lnTo>
                  <a:lnTo>
                    <a:pt x="263" y="77"/>
                  </a:lnTo>
                  <a:lnTo>
                    <a:pt x="265" y="77"/>
                  </a:lnTo>
                  <a:lnTo>
                    <a:pt x="267" y="79"/>
                  </a:lnTo>
                  <a:lnTo>
                    <a:pt x="268" y="79"/>
                  </a:lnTo>
                  <a:lnTo>
                    <a:pt x="267" y="76"/>
                  </a:lnTo>
                  <a:lnTo>
                    <a:pt x="266" y="75"/>
                  </a:lnTo>
                  <a:lnTo>
                    <a:pt x="267" y="74"/>
                  </a:lnTo>
                  <a:lnTo>
                    <a:pt x="267" y="73"/>
                  </a:lnTo>
                  <a:lnTo>
                    <a:pt x="267" y="71"/>
                  </a:lnTo>
                  <a:lnTo>
                    <a:pt x="267" y="70"/>
                  </a:lnTo>
                  <a:lnTo>
                    <a:pt x="268" y="69"/>
                  </a:lnTo>
                  <a:lnTo>
                    <a:pt x="268" y="68"/>
                  </a:lnTo>
                  <a:lnTo>
                    <a:pt x="269" y="68"/>
                  </a:lnTo>
                  <a:lnTo>
                    <a:pt x="271" y="67"/>
                  </a:lnTo>
                  <a:lnTo>
                    <a:pt x="272" y="68"/>
                  </a:lnTo>
                  <a:lnTo>
                    <a:pt x="272" y="70"/>
                  </a:lnTo>
                  <a:lnTo>
                    <a:pt x="273" y="73"/>
                  </a:lnTo>
                  <a:lnTo>
                    <a:pt x="272" y="74"/>
                  </a:lnTo>
                  <a:lnTo>
                    <a:pt x="273" y="77"/>
                  </a:lnTo>
                  <a:lnTo>
                    <a:pt x="273" y="79"/>
                  </a:lnTo>
                  <a:lnTo>
                    <a:pt x="272" y="79"/>
                  </a:lnTo>
                  <a:lnTo>
                    <a:pt x="271" y="79"/>
                  </a:lnTo>
                  <a:lnTo>
                    <a:pt x="271" y="80"/>
                  </a:lnTo>
                  <a:lnTo>
                    <a:pt x="272" y="80"/>
                  </a:lnTo>
                  <a:lnTo>
                    <a:pt x="273" y="81"/>
                  </a:lnTo>
                  <a:lnTo>
                    <a:pt x="274" y="82"/>
                  </a:lnTo>
                  <a:lnTo>
                    <a:pt x="274" y="83"/>
                  </a:lnTo>
                  <a:lnTo>
                    <a:pt x="275" y="83"/>
                  </a:lnTo>
                  <a:lnTo>
                    <a:pt x="277" y="82"/>
                  </a:lnTo>
                  <a:lnTo>
                    <a:pt x="278" y="83"/>
                  </a:lnTo>
                  <a:lnTo>
                    <a:pt x="279" y="83"/>
                  </a:lnTo>
                  <a:lnTo>
                    <a:pt x="279" y="86"/>
                  </a:lnTo>
                  <a:lnTo>
                    <a:pt x="280" y="86"/>
                  </a:lnTo>
                  <a:lnTo>
                    <a:pt x="281" y="87"/>
                  </a:lnTo>
                  <a:lnTo>
                    <a:pt x="283" y="88"/>
                  </a:lnTo>
                  <a:lnTo>
                    <a:pt x="283" y="89"/>
                  </a:lnTo>
                  <a:lnTo>
                    <a:pt x="284" y="91"/>
                  </a:lnTo>
                  <a:lnTo>
                    <a:pt x="285" y="91"/>
                  </a:lnTo>
                  <a:lnTo>
                    <a:pt x="286" y="92"/>
                  </a:lnTo>
                  <a:lnTo>
                    <a:pt x="287" y="91"/>
                  </a:lnTo>
                  <a:lnTo>
                    <a:pt x="287" y="87"/>
                  </a:lnTo>
                  <a:lnTo>
                    <a:pt x="287" y="85"/>
                  </a:lnTo>
                  <a:lnTo>
                    <a:pt x="287" y="83"/>
                  </a:lnTo>
                  <a:lnTo>
                    <a:pt x="287" y="82"/>
                  </a:lnTo>
                  <a:lnTo>
                    <a:pt x="289" y="82"/>
                  </a:lnTo>
                  <a:lnTo>
                    <a:pt x="289" y="81"/>
                  </a:lnTo>
                  <a:lnTo>
                    <a:pt x="287" y="81"/>
                  </a:lnTo>
                  <a:lnTo>
                    <a:pt x="287" y="79"/>
                  </a:lnTo>
                  <a:lnTo>
                    <a:pt x="287" y="76"/>
                  </a:lnTo>
                  <a:lnTo>
                    <a:pt x="289" y="77"/>
                  </a:lnTo>
                  <a:lnTo>
                    <a:pt x="290" y="77"/>
                  </a:lnTo>
                  <a:lnTo>
                    <a:pt x="290" y="79"/>
                  </a:lnTo>
                  <a:lnTo>
                    <a:pt x="290" y="82"/>
                  </a:lnTo>
                  <a:lnTo>
                    <a:pt x="289" y="82"/>
                  </a:lnTo>
                  <a:lnTo>
                    <a:pt x="291" y="82"/>
                  </a:lnTo>
                  <a:lnTo>
                    <a:pt x="290" y="83"/>
                  </a:lnTo>
                  <a:lnTo>
                    <a:pt x="289" y="87"/>
                  </a:lnTo>
                  <a:lnTo>
                    <a:pt x="287" y="92"/>
                  </a:lnTo>
                  <a:lnTo>
                    <a:pt x="287" y="93"/>
                  </a:lnTo>
                  <a:lnTo>
                    <a:pt x="289" y="92"/>
                  </a:lnTo>
                  <a:lnTo>
                    <a:pt x="291" y="91"/>
                  </a:lnTo>
                  <a:lnTo>
                    <a:pt x="291" y="92"/>
                  </a:lnTo>
                  <a:lnTo>
                    <a:pt x="292" y="92"/>
                  </a:lnTo>
                  <a:lnTo>
                    <a:pt x="293" y="92"/>
                  </a:lnTo>
                  <a:lnTo>
                    <a:pt x="295" y="89"/>
                  </a:lnTo>
                  <a:lnTo>
                    <a:pt x="296" y="88"/>
                  </a:lnTo>
                  <a:lnTo>
                    <a:pt x="297" y="89"/>
                  </a:lnTo>
                  <a:lnTo>
                    <a:pt x="298" y="89"/>
                  </a:lnTo>
                  <a:lnTo>
                    <a:pt x="299" y="89"/>
                  </a:lnTo>
                  <a:lnTo>
                    <a:pt x="302" y="89"/>
                  </a:lnTo>
                  <a:lnTo>
                    <a:pt x="303" y="89"/>
                  </a:lnTo>
                  <a:lnTo>
                    <a:pt x="299" y="92"/>
                  </a:lnTo>
                  <a:lnTo>
                    <a:pt x="296" y="92"/>
                  </a:lnTo>
                  <a:lnTo>
                    <a:pt x="293" y="94"/>
                  </a:lnTo>
                  <a:lnTo>
                    <a:pt x="291" y="97"/>
                  </a:lnTo>
                  <a:lnTo>
                    <a:pt x="287" y="98"/>
                  </a:lnTo>
                  <a:lnTo>
                    <a:pt x="286" y="100"/>
                  </a:lnTo>
                  <a:lnTo>
                    <a:pt x="285" y="101"/>
                  </a:lnTo>
                  <a:lnTo>
                    <a:pt x="286" y="100"/>
                  </a:lnTo>
                  <a:lnTo>
                    <a:pt x="289" y="99"/>
                  </a:lnTo>
                  <a:lnTo>
                    <a:pt x="292" y="97"/>
                  </a:lnTo>
                  <a:lnTo>
                    <a:pt x="290" y="101"/>
                  </a:lnTo>
                  <a:lnTo>
                    <a:pt x="289" y="103"/>
                  </a:lnTo>
                  <a:lnTo>
                    <a:pt x="291" y="104"/>
                  </a:lnTo>
                  <a:lnTo>
                    <a:pt x="293" y="105"/>
                  </a:lnTo>
                  <a:lnTo>
                    <a:pt x="295" y="104"/>
                  </a:lnTo>
                  <a:lnTo>
                    <a:pt x="298" y="104"/>
                  </a:lnTo>
                  <a:lnTo>
                    <a:pt x="299" y="105"/>
                  </a:lnTo>
                  <a:lnTo>
                    <a:pt x="299" y="106"/>
                  </a:lnTo>
                  <a:lnTo>
                    <a:pt x="301" y="107"/>
                  </a:lnTo>
                  <a:lnTo>
                    <a:pt x="301" y="110"/>
                  </a:lnTo>
                  <a:lnTo>
                    <a:pt x="301" y="111"/>
                  </a:lnTo>
                  <a:lnTo>
                    <a:pt x="301" y="112"/>
                  </a:lnTo>
                  <a:lnTo>
                    <a:pt x="301" y="113"/>
                  </a:lnTo>
                  <a:lnTo>
                    <a:pt x="302" y="115"/>
                  </a:lnTo>
                  <a:lnTo>
                    <a:pt x="303" y="112"/>
                  </a:lnTo>
                  <a:lnTo>
                    <a:pt x="303" y="111"/>
                  </a:lnTo>
                  <a:lnTo>
                    <a:pt x="305" y="109"/>
                  </a:lnTo>
                  <a:lnTo>
                    <a:pt x="305" y="112"/>
                  </a:lnTo>
                  <a:lnTo>
                    <a:pt x="307" y="115"/>
                  </a:lnTo>
                  <a:lnTo>
                    <a:pt x="308" y="112"/>
                  </a:lnTo>
                  <a:lnTo>
                    <a:pt x="308" y="115"/>
                  </a:lnTo>
                  <a:lnTo>
                    <a:pt x="309" y="116"/>
                  </a:lnTo>
                  <a:lnTo>
                    <a:pt x="311" y="115"/>
                  </a:lnTo>
                  <a:lnTo>
                    <a:pt x="311" y="117"/>
                  </a:lnTo>
                  <a:lnTo>
                    <a:pt x="313" y="116"/>
                  </a:lnTo>
                  <a:lnTo>
                    <a:pt x="314" y="116"/>
                  </a:lnTo>
                  <a:lnTo>
                    <a:pt x="316" y="117"/>
                  </a:lnTo>
                  <a:lnTo>
                    <a:pt x="313" y="118"/>
                  </a:lnTo>
                  <a:lnTo>
                    <a:pt x="308" y="118"/>
                  </a:lnTo>
                  <a:lnTo>
                    <a:pt x="309" y="119"/>
                  </a:lnTo>
                  <a:lnTo>
                    <a:pt x="310" y="119"/>
                  </a:lnTo>
                  <a:lnTo>
                    <a:pt x="311" y="121"/>
                  </a:lnTo>
                  <a:lnTo>
                    <a:pt x="313" y="119"/>
                  </a:lnTo>
                  <a:lnTo>
                    <a:pt x="314" y="119"/>
                  </a:lnTo>
                  <a:lnTo>
                    <a:pt x="316" y="121"/>
                  </a:lnTo>
                  <a:lnTo>
                    <a:pt x="319" y="121"/>
                  </a:lnTo>
                  <a:lnTo>
                    <a:pt x="319" y="122"/>
                  </a:lnTo>
                  <a:lnTo>
                    <a:pt x="321" y="122"/>
                  </a:lnTo>
                  <a:lnTo>
                    <a:pt x="321" y="121"/>
                  </a:lnTo>
                  <a:lnTo>
                    <a:pt x="322" y="119"/>
                  </a:lnTo>
                  <a:lnTo>
                    <a:pt x="322" y="117"/>
                  </a:lnTo>
                  <a:lnTo>
                    <a:pt x="325" y="116"/>
                  </a:lnTo>
                  <a:lnTo>
                    <a:pt x="324" y="118"/>
                  </a:lnTo>
                  <a:lnTo>
                    <a:pt x="325" y="118"/>
                  </a:lnTo>
                  <a:lnTo>
                    <a:pt x="326" y="118"/>
                  </a:lnTo>
                  <a:lnTo>
                    <a:pt x="327" y="117"/>
                  </a:lnTo>
                  <a:lnTo>
                    <a:pt x="326" y="117"/>
                  </a:lnTo>
                  <a:lnTo>
                    <a:pt x="326" y="116"/>
                  </a:lnTo>
                  <a:lnTo>
                    <a:pt x="326" y="115"/>
                  </a:lnTo>
                  <a:lnTo>
                    <a:pt x="325" y="112"/>
                  </a:lnTo>
                  <a:lnTo>
                    <a:pt x="322" y="113"/>
                  </a:lnTo>
                  <a:lnTo>
                    <a:pt x="320" y="115"/>
                  </a:lnTo>
                  <a:lnTo>
                    <a:pt x="320" y="112"/>
                  </a:lnTo>
                  <a:lnTo>
                    <a:pt x="322" y="110"/>
                  </a:lnTo>
                  <a:lnTo>
                    <a:pt x="324" y="110"/>
                  </a:lnTo>
                  <a:lnTo>
                    <a:pt x="326" y="111"/>
                  </a:lnTo>
                  <a:lnTo>
                    <a:pt x="326" y="112"/>
                  </a:lnTo>
                  <a:lnTo>
                    <a:pt x="328" y="111"/>
                  </a:lnTo>
                  <a:lnTo>
                    <a:pt x="330" y="111"/>
                  </a:lnTo>
                  <a:lnTo>
                    <a:pt x="331" y="111"/>
                  </a:lnTo>
                  <a:lnTo>
                    <a:pt x="332" y="109"/>
                  </a:lnTo>
                  <a:lnTo>
                    <a:pt x="333" y="107"/>
                  </a:lnTo>
                  <a:lnTo>
                    <a:pt x="334" y="107"/>
                  </a:lnTo>
                  <a:lnTo>
                    <a:pt x="336" y="107"/>
                  </a:lnTo>
                  <a:lnTo>
                    <a:pt x="336" y="106"/>
                  </a:lnTo>
                  <a:lnTo>
                    <a:pt x="334" y="105"/>
                  </a:lnTo>
                  <a:lnTo>
                    <a:pt x="333" y="107"/>
                  </a:lnTo>
                  <a:lnTo>
                    <a:pt x="333" y="105"/>
                  </a:lnTo>
                  <a:lnTo>
                    <a:pt x="333" y="104"/>
                  </a:lnTo>
                  <a:lnTo>
                    <a:pt x="332" y="106"/>
                  </a:lnTo>
                  <a:lnTo>
                    <a:pt x="331" y="109"/>
                  </a:lnTo>
                  <a:lnTo>
                    <a:pt x="330" y="109"/>
                  </a:lnTo>
                  <a:lnTo>
                    <a:pt x="328" y="109"/>
                  </a:lnTo>
                  <a:lnTo>
                    <a:pt x="328" y="106"/>
                  </a:lnTo>
                  <a:lnTo>
                    <a:pt x="328" y="105"/>
                  </a:lnTo>
                  <a:lnTo>
                    <a:pt x="331" y="103"/>
                  </a:lnTo>
                  <a:lnTo>
                    <a:pt x="332" y="101"/>
                  </a:lnTo>
                  <a:lnTo>
                    <a:pt x="332" y="100"/>
                  </a:lnTo>
                  <a:lnTo>
                    <a:pt x="333" y="99"/>
                  </a:lnTo>
                  <a:lnTo>
                    <a:pt x="332" y="97"/>
                  </a:lnTo>
                  <a:lnTo>
                    <a:pt x="324" y="89"/>
                  </a:lnTo>
                  <a:lnTo>
                    <a:pt x="318" y="76"/>
                  </a:lnTo>
                  <a:lnTo>
                    <a:pt x="318" y="77"/>
                  </a:lnTo>
                  <a:lnTo>
                    <a:pt x="319" y="81"/>
                  </a:lnTo>
                  <a:lnTo>
                    <a:pt x="319" y="85"/>
                  </a:lnTo>
                  <a:lnTo>
                    <a:pt x="318" y="83"/>
                  </a:lnTo>
                  <a:lnTo>
                    <a:pt x="318" y="82"/>
                  </a:lnTo>
                  <a:lnTo>
                    <a:pt x="318" y="81"/>
                  </a:lnTo>
                  <a:lnTo>
                    <a:pt x="318" y="82"/>
                  </a:lnTo>
                  <a:lnTo>
                    <a:pt x="316" y="85"/>
                  </a:lnTo>
                  <a:lnTo>
                    <a:pt x="318" y="85"/>
                  </a:lnTo>
                  <a:lnTo>
                    <a:pt x="318" y="87"/>
                  </a:lnTo>
                  <a:lnTo>
                    <a:pt x="316" y="89"/>
                  </a:lnTo>
                  <a:lnTo>
                    <a:pt x="316" y="92"/>
                  </a:lnTo>
                  <a:lnTo>
                    <a:pt x="316" y="88"/>
                  </a:lnTo>
                  <a:lnTo>
                    <a:pt x="315" y="86"/>
                  </a:lnTo>
                  <a:lnTo>
                    <a:pt x="314" y="86"/>
                  </a:lnTo>
                  <a:lnTo>
                    <a:pt x="314" y="87"/>
                  </a:lnTo>
                  <a:lnTo>
                    <a:pt x="313" y="86"/>
                  </a:lnTo>
                  <a:lnTo>
                    <a:pt x="313" y="85"/>
                  </a:lnTo>
                  <a:lnTo>
                    <a:pt x="311" y="82"/>
                  </a:lnTo>
                  <a:lnTo>
                    <a:pt x="309" y="83"/>
                  </a:lnTo>
                  <a:lnTo>
                    <a:pt x="308" y="85"/>
                  </a:lnTo>
                  <a:lnTo>
                    <a:pt x="307" y="86"/>
                  </a:lnTo>
                  <a:lnTo>
                    <a:pt x="305" y="87"/>
                  </a:lnTo>
                  <a:lnTo>
                    <a:pt x="305" y="83"/>
                  </a:lnTo>
                  <a:lnTo>
                    <a:pt x="308" y="81"/>
                  </a:lnTo>
                  <a:lnTo>
                    <a:pt x="307" y="81"/>
                  </a:lnTo>
                  <a:lnTo>
                    <a:pt x="303" y="83"/>
                  </a:lnTo>
                  <a:lnTo>
                    <a:pt x="303" y="85"/>
                  </a:lnTo>
                  <a:lnTo>
                    <a:pt x="303" y="81"/>
                  </a:lnTo>
                  <a:lnTo>
                    <a:pt x="302" y="80"/>
                  </a:lnTo>
                  <a:lnTo>
                    <a:pt x="303" y="80"/>
                  </a:lnTo>
                  <a:lnTo>
                    <a:pt x="303" y="77"/>
                  </a:lnTo>
                  <a:lnTo>
                    <a:pt x="303" y="76"/>
                  </a:lnTo>
                  <a:lnTo>
                    <a:pt x="304" y="75"/>
                  </a:lnTo>
                  <a:lnTo>
                    <a:pt x="308" y="75"/>
                  </a:lnTo>
                  <a:lnTo>
                    <a:pt x="308" y="74"/>
                  </a:lnTo>
                  <a:lnTo>
                    <a:pt x="308" y="73"/>
                  </a:lnTo>
                  <a:lnTo>
                    <a:pt x="309" y="70"/>
                  </a:lnTo>
                  <a:lnTo>
                    <a:pt x="310" y="70"/>
                  </a:lnTo>
                  <a:lnTo>
                    <a:pt x="308" y="70"/>
                  </a:lnTo>
                  <a:lnTo>
                    <a:pt x="307" y="71"/>
                  </a:lnTo>
                  <a:lnTo>
                    <a:pt x="307" y="70"/>
                  </a:lnTo>
                  <a:lnTo>
                    <a:pt x="305" y="70"/>
                  </a:lnTo>
                  <a:lnTo>
                    <a:pt x="304" y="69"/>
                  </a:lnTo>
                  <a:lnTo>
                    <a:pt x="303" y="70"/>
                  </a:lnTo>
                  <a:lnTo>
                    <a:pt x="302" y="69"/>
                  </a:lnTo>
                  <a:lnTo>
                    <a:pt x="301" y="69"/>
                  </a:lnTo>
                  <a:lnTo>
                    <a:pt x="301" y="68"/>
                  </a:lnTo>
                  <a:lnTo>
                    <a:pt x="297" y="67"/>
                  </a:lnTo>
                  <a:lnTo>
                    <a:pt x="297" y="65"/>
                  </a:lnTo>
                  <a:lnTo>
                    <a:pt x="299" y="65"/>
                  </a:lnTo>
                  <a:lnTo>
                    <a:pt x="299" y="64"/>
                  </a:lnTo>
                  <a:lnTo>
                    <a:pt x="299" y="63"/>
                  </a:lnTo>
                  <a:lnTo>
                    <a:pt x="301" y="62"/>
                  </a:lnTo>
                  <a:lnTo>
                    <a:pt x="303" y="62"/>
                  </a:lnTo>
                  <a:lnTo>
                    <a:pt x="304" y="62"/>
                  </a:lnTo>
                  <a:lnTo>
                    <a:pt x="303" y="61"/>
                  </a:lnTo>
                  <a:lnTo>
                    <a:pt x="303" y="59"/>
                  </a:lnTo>
                  <a:lnTo>
                    <a:pt x="302" y="58"/>
                  </a:lnTo>
                  <a:lnTo>
                    <a:pt x="302" y="61"/>
                  </a:lnTo>
                  <a:lnTo>
                    <a:pt x="301" y="58"/>
                  </a:lnTo>
                  <a:lnTo>
                    <a:pt x="299" y="56"/>
                  </a:lnTo>
                  <a:lnTo>
                    <a:pt x="298" y="56"/>
                  </a:lnTo>
                  <a:lnTo>
                    <a:pt x="297" y="56"/>
                  </a:lnTo>
                  <a:lnTo>
                    <a:pt x="297" y="52"/>
                  </a:lnTo>
                  <a:lnTo>
                    <a:pt x="298" y="50"/>
                  </a:lnTo>
                  <a:lnTo>
                    <a:pt x="298" y="47"/>
                  </a:lnTo>
                  <a:lnTo>
                    <a:pt x="298" y="46"/>
                  </a:lnTo>
                  <a:lnTo>
                    <a:pt x="297" y="49"/>
                  </a:lnTo>
                  <a:lnTo>
                    <a:pt x="296" y="50"/>
                  </a:lnTo>
                  <a:lnTo>
                    <a:pt x="295" y="53"/>
                  </a:lnTo>
                  <a:lnTo>
                    <a:pt x="295" y="52"/>
                  </a:lnTo>
                  <a:lnTo>
                    <a:pt x="293" y="50"/>
                  </a:lnTo>
                  <a:lnTo>
                    <a:pt x="293" y="47"/>
                  </a:lnTo>
                  <a:lnTo>
                    <a:pt x="293" y="46"/>
                  </a:lnTo>
                  <a:lnTo>
                    <a:pt x="292" y="46"/>
                  </a:lnTo>
                  <a:lnTo>
                    <a:pt x="292" y="50"/>
                  </a:lnTo>
                  <a:lnTo>
                    <a:pt x="291" y="52"/>
                  </a:lnTo>
                  <a:lnTo>
                    <a:pt x="290" y="52"/>
                  </a:lnTo>
                  <a:lnTo>
                    <a:pt x="290" y="53"/>
                  </a:lnTo>
                  <a:lnTo>
                    <a:pt x="290" y="55"/>
                  </a:lnTo>
                  <a:lnTo>
                    <a:pt x="289" y="56"/>
                  </a:lnTo>
                  <a:lnTo>
                    <a:pt x="289" y="55"/>
                  </a:lnTo>
                  <a:lnTo>
                    <a:pt x="289" y="57"/>
                  </a:lnTo>
                  <a:lnTo>
                    <a:pt x="287" y="57"/>
                  </a:lnTo>
                  <a:lnTo>
                    <a:pt x="287" y="56"/>
                  </a:lnTo>
                  <a:lnTo>
                    <a:pt x="286" y="53"/>
                  </a:lnTo>
                  <a:lnTo>
                    <a:pt x="286" y="52"/>
                  </a:lnTo>
                  <a:lnTo>
                    <a:pt x="285" y="53"/>
                  </a:lnTo>
                  <a:lnTo>
                    <a:pt x="284" y="53"/>
                  </a:lnTo>
                  <a:lnTo>
                    <a:pt x="283" y="55"/>
                  </a:lnTo>
                  <a:lnTo>
                    <a:pt x="281" y="56"/>
                  </a:lnTo>
                  <a:lnTo>
                    <a:pt x="280" y="57"/>
                  </a:lnTo>
                  <a:lnTo>
                    <a:pt x="280" y="53"/>
                  </a:lnTo>
                  <a:lnTo>
                    <a:pt x="281" y="51"/>
                  </a:lnTo>
                  <a:lnTo>
                    <a:pt x="281" y="49"/>
                  </a:lnTo>
                  <a:lnTo>
                    <a:pt x="280" y="49"/>
                  </a:lnTo>
                  <a:lnTo>
                    <a:pt x="280" y="46"/>
                  </a:lnTo>
                  <a:lnTo>
                    <a:pt x="281" y="44"/>
                  </a:lnTo>
                  <a:lnTo>
                    <a:pt x="283" y="43"/>
                  </a:lnTo>
                  <a:lnTo>
                    <a:pt x="283" y="41"/>
                  </a:lnTo>
                  <a:lnTo>
                    <a:pt x="284" y="39"/>
                  </a:lnTo>
                  <a:lnTo>
                    <a:pt x="285" y="38"/>
                  </a:lnTo>
                  <a:lnTo>
                    <a:pt x="285" y="37"/>
                  </a:lnTo>
                  <a:lnTo>
                    <a:pt x="284" y="38"/>
                  </a:lnTo>
                  <a:lnTo>
                    <a:pt x="283" y="39"/>
                  </a:lnTo>
                  <a:lnTo>
                    <a:pt x="283" y="38"/>
                  </a:lnTo>
                  <a:lnTo>
                    <a:pt x="280" y="39"/>
                  </a:lnTo>
                  <a:lnTo>
                    <a:pt x="279" y="39"/>
                  </a:lnTo>
                  <a:lnTo>
                    <a:pt x="278" y="38"/>
                  </a:lnTo>
                  <a:lnTo>
                    <a:pt x="275" y="39"/>
                  </a:lnTo>
                  <a:lnTo>
                    <a:pt x="274" y="40"/>
                  </a:lnTo>
                  <a:lnTo>
                    <a:pt x="271" y="45"/>
                  </a:lnTo>
                  <a:lnTo>
                    <a:pt x="269" y="46"/>
                  </a:lnTo>
                  <a:lnTo>
                    <a:pt x="268" y="49"/>
                  </a:lnTo>
                  <a:lnTo>
                    <a:pt x="267" y="46"/>
                  </a:lnTo>
                  <a:lnTo>
                    <a:pt x="267" y="43"/>
                  </a:lnTo>
                  <a:lnTo>
                    <a:pt x="268" y="40"/>
                  </a:lnTo>
                  <a:lnTo>
                    <a:pt x="268" y="38"/>
                  </a:lnTo>
                  <a:lnTo>
                    <a:pt x="269" y="37"/>
                  </a:lnTo>
                  <a:lnTo>
                    <a:pt x="271" y="35"/>
                  </a:lnTo>
                  <a:lnTo>
                    <a:pt x="273" y="37"/>
                  </a:lnTo>
                  <a:lnTo>
                    <a:pt x="277" y="37"/>
                  </a:lnTo>
                  <a:lnTo>
                    <a:pt x="279" y="34"/>
                  </a:lnTo>
                  <a:lnTo>
                    <a:pt x="281" y="33"/>
                  </a:lnTo>
                  <a:lnTo>
                    <a:pt x="281" y="32"/>
                  </a:lnTo>
                  <a:lnTo>
                    <a:pt x="280" y="31"/>
                  </a:lnTo>
                  <a:lnTo>
                    <a:pt x="280" y="28"/>
                  </a:lnTo>
                  <a:lnTo>
                    <a:pt x="279" y="27"/>
                  </a:lnTo>
                  <a:lnTo>
                    <a:pt x="280" y="24"/>
                  </a:lnTo>
                  <a:lnTo>
                    <a:pt x="278" y="24"/>
                  </a:lnTo>
                  <a:lnTo>
                    <a:pt x="277" y="28"/>
                  </a:lnTo>
                  <a:lnTo>
                    <a:pt x="274" y="29"/>
                  </a:lnTo>
                  <a:lnTo>
                    <a:pt x="274" y="27"/>
                  </a:lnTo>
                  <a:lnTo>
                    <a:pt x="274" y="22"/>
                  </a:lnTo>
                  <a:lnTo>
                    <a:pt x="274" y="21"/>
                  </a:lnTo>
                  <a:lnTo>
                    <a:pt x="273" y="21"/>
                  </a:lnTo>
                  <a:lnTo>
                    <a:pt x="274" y="17"/>
                  </a:lnTo>
                  <a:lnTo>
                    <a:pt x="278" y="16"/>
                  </a:lnTo>
                  <a:lnTo>
                    <a:pt x="279" y="14"/>
                  </a:lnTo>
                  <a:lnTo>
                    <a:pt x="280" y="12"/>
                  </a:lnTo>
                  <a:lnTo>
                    <a:pt x="283" y="11"/>
                  </a:lnTo>
                  <a:lnTo>
                    <a:pt x="283" y="9"/>
                  </a:lnTo>
                  <a:lnTo>
                    <a:pt x="279" y="8"/>
                  </a:lnTo>
                  <a:lnTo>
                    <a:pt x="277" y="6"/>
                  </a:lnTo>
                  <a:lnTo>
                    <a:pt x="279" y="6"/>
                  </a:lnTo>
                  <a:lnTo>
                    <a:pt x="281" y="6"/>
                  </a:lnTo>
                  <a:lnTo>
                    <a:pt x="283" y="5"/>
                  </a:lnTo>
                  <a:lnTo>
                    <a:pt x="283" y="4"/>
                  </a:lnTo>
                  <a:lnTo>
                    <a:pt x="283" y="3"/>
                  </a:lnTo>
                  <a:lnTo>
                    <a:pt x="284" y="2"/>
                  </a:lnTo>
                  <a:lnTo>
                    <a:pt x="285" y="0"/>
                  </a:lnTo>
                  <a:lnTo>
                    <a:pt x="286" y="0"/>
                  </a:lnTo>
                  <a:lnTo>
                    <a:pt x="287" y="0"/>
                  </a:lnTo>
                  <a:lnTo>
                    <a:pt x="289" y="0"/>
                  </a:lnTo>
                  <a:lnTo>
                    <a:pt x="289" y="2"/>
                  </a:lnTo>
                  <a:lnTo>
                    <a:pt x="290" y="2"/>
                  </a:lnTo>
                  <a:lnTo>
                    <a:pt x="290" y="3"/>
                  </a:lnTo>
                  <a:lnTo>
                    <a:pt x="291" y="3"/>
                  </a:lnTo>
                  <a:lnTo>
                    <a:pt x="292" y="2"/>
                  </a:lnTo>
                  <a:lnTo>
                    <a:pt x="293" y="2"/>
                  </a:lnTo>
                  <a:lnTo>
                    <a:pt x="295" y="2"/>
                  </a:lnTo>
                  <a:lnTo>
                    <a:pt x="296" y="0"/>
                  </a:lnTo>
                  <a:lnTo>
                    <a:pt x="295" y="4"/>
                  </a:lnTo>
                  <a:lnTo>
                    <a:pt x="292" y="10"/>
                  </a:lnTo>
                  <a:lnTo>
                    <a:pt x="293" y="11"/>
                  </a:lnTo>
                  <a:lnTo>
                    <a:pt x="295" y="9"/>
                  </a:lnTo>
                  <a:lnTo>
                    <a:pt x="296" y="12"/>
                  </a:lnTo>
                  <a:lnTo>
                    <a:pt x="296" y="16"/>
                  </a:lnTo>
                  <a:lnTo>
                    <a:pt x="297" y="18"/>
                  </a:lnTo>
                  <a:lnTo>
                    <a:pt x="297" y="17"/>
                  </a:lnTo>
                  <a:lnTo>
                    <a:pt x="298" y="18"/>
                  </a:lnTo>
                  <a:lnTo>
                    <a:pt x="299" y="17"/>
                  </a:lnTo>
                  <a:lnTo>
                    <a:pt x="298" y="14"/>
                  </a:lnTo>
                  <a:lnTo>
                    <a:pt x="301" y="14"/>
                  </a:lnTo>
                  <a:lnTo>
                    <a:pt x="304" y="15"/>
                  </a:lnTo>
                  <a:lnTo>
                    <a:pt x="305" y="17"/>
                  </a:lnTo>
                  <a:lnTo>
                    <a:pt x="307" y="20"/>
                  </a:lnTo>
                  <a:lnTo>
                    <a:pt x="305" y="20"/>
                  </a:lnTo>
                  <a:lnTo>
                    <a:pt x="304" y="21"/>
                  </a:lnTo>
                  <a:lnTo>
                    <a:pt x="304" y="20"/>
                  </a:lnTo>
                  <a:lnTo>
                    <a:pt x="303" y="21"/>
                  </a:lnTo>
                  <a:lnTo>
                    <a:pt x="302" y="20"/>
                  </a:lnTo>
                  <a:lnTo>
                    <a:pt x="301" y="18"/>
                  </a:lnTo>
                  <a:lnTo>
                    <a:pt x="301" y="21"/>
                  </a:lnTo>
                  <a:lnTo>
                    <a:pt x="302" y="22"/>
                  </a:lnTo>
                  <a:lnTo>
                    <a:pt x="303" y="24"/>
                  </a:lnTo>
                  <a:lnTo>
                    <a:pt x="304" y="26"/>
                  </a:lnTo>
                  <a:lnTo>
                    <a:pt x="305" y="27"/>
                  </a:lnTo>
                  <a:lnTo>
                    <a:pt x="307" y="29"/>
                  </a:lnTo>
                  <a:lnTo>
                    <a:pt x="308" y="31"/>
                  </a:lnTo>
                  <a:lnTo>
                    <a:pt x="309" y="29"/>
                  </a:lnTo>
                  <a:lnTo>
                    <a:pt x="309" y="31"/>
                  </a:lnTo>
                  <a:lnTo>
                    <a:pt x="310" y="31"/>
                  </a:lnTo>
                  <a:lnTo>
                    <a:pt x="311" y="29"/>
                  </a:lnTo>
                  <a:lnTo>
                    <a:pt x="314" y="29"/>
                  </a:lnTo>
                  <a:lnTo>
                    <a:pt x="315" y="31"/>
                  </a:lnTo>
                  <a:lnTo>
                    <a:pt x="315" y="29"/>
                  </a:lnTo>
                  <a:lnTo>
                    <a:pt x="314" y="28"/>
                  </a:lnTo>
                  <a:lnTo>
                    <a:pt x="314" y="24"/>
                  </a:lnTo>
                  <a:lnTo>
                    <a:pt x="315" y="22"/>
                  </a:lnTo>
                  <a:lnTo>
                    <a:pt x="316" y="22"/>
                  </a:lnTo>
                  <a:lnTo>
                    <a:pt x="318" y="21"/>
                  </a:lnTo>
                  <a:lnTo>
                    <a:pt x="319" y="22"/>
                  </a:lnTo>
                  <a:lnTo>
                    <a:pt x="321" y="23"/>
                  </a:lnTo>
                  <a:lnTo>
                    <a:pt x="322" y="24"/>
                  </a:lnTo>
                  <a:lnTo>
                    <a:pt x="325" y="24"/>
                  </a:lnTo>
                  <a:lnTo>
                    <a:pt x="327" y="23"/>
                  </a:lnTo>
                  <a:lnTo>
                    <a:pt x="325" y="24"/>
                  </a:lnTo>
                  <a:lnTo>
                    <a:pt x="324" y="27"/>
                  </a:lnTo>
                  <a:lnTo>
                    <a:pt x="322" y="26"/>
                  </a:lnTo>
                  <a:lnTo>
                    <a:pt x="321" y="26"/>
                  </a:lnTo>
                  <a:lnTo>
                    <a:pt x="319" y="29"/>
                  </a:lnTo>
                  <a:lnTo>
                    <a:pt x="321" y="31"/>
                  </a:lnTo>
                  <a:lnTo>
                    <a:pt x="324" y="32"/>
                  </a:lnTo>
                  <a:lnTo>
                    <a:pt x="326" y="33"/>
                  </a:lnTo>
                  <a:lnTo>
                    <a:pt x="325" y="34"/>
                  </a:lnTo>
                  <a:lnTo>
                    <a:pt x="325" y="37"/>
                  </a:lnTo>
                  <a:lnTo>
                    <a:pt x="324" y="37"/>
                  </a:lnTo>
                  <a:lnTo>
                    <a:pt x="322" y="32"/>
                  </a:lnTo>
                  <a:lnTo>
                    <a:pt x="320" y="31"/>
                  </a:lnTo>
                  <a:lnTo>
                    <a:pt x="318" y="32"/>
                  </a:lnTo>
                  <a:lnTo>
                    <a:pt x="316" y="34"/>
                  </a:lnTo>
                  <a:lnTo>
                    <a:pt x="316" y="37"/>
                  </a:lnTo>
                  <a:lnTo>
                    <a:pt x="318" y="40"/>
                  </a:lnTo>
                  <a:lnTo>
                    <a:pt x="319" y="39"/>
                  </a:lnTo>
                  <a:lnTo>
                    <a:pt x="321" y="41"/>
                  </a:lnTo>
                  <a:lnTo>
                    <a:pt x="322" y="44"/>
                  </a:lnTo>
                  <a:lnTo>
                    <a:pt x="322" y="45"/>
                  </a:lnTo>
                  <a:lnTo>
                    <a:pt x="324" y="46"/>
                  </a:lnTo>
                  <a:lnTo>
                    <a:pt x="324" y="50"/>
                  </a:lnTo>
                  <a:lnTo>
                    <a:pt x="324" y="51"/>
                  </a:lnTo>
                  <a:lnTo>
                    <a:pt x="325" y="53"/>
                  </a:lnTo>
                  <a:lnTo>
                    <a:pt x="325" y="56"/>
                  </a:lnTo>
                  <a:lnTo>
                    <a:pt x="324" y="57"/>
                  </a:lnTo>
                  <a:lnTo>
                    <a:pt x="325" y="59"/>
                  </a:lnTo>
                  <a:lnTo>
                    <a:pt x="326" y="58"/>
                  </a:lnTo>
                  <a:lnTo>
                    <a:pt x="328" y="57"/>
                  </a:lnTo>
                  <a:lnTo>
                    <a:pt x="331" y="57"/>
                  </a:lnTo>
                  <a:lnTo>
                    <a:pt x="332" y="56"/>
                  </a:lnTo>
                  <a:lnTo>
                    <a:pt x="333" y="55"/>
                  </a:lnTo>
                  <a:lnTo>
                    <a:pt x="333" y="53"/>
                  </a:lnTo>
                  <a:lnTo>
                    <a:pt x="336" y="55"/>
                  </a:lnTo>
                  <a:lnTo>
                    <a:pt x="336" y="53"/>
                  </a:lnTo>
                  <a:lnTo>
                    <a:pt x="337" y="55"/>
                  </a:lnTo>
                  <a:lnTo>
                    <a:pt x="338" y="55"/>
                  </a:lnTo>
                  <a:lnTo>
                    <a:pt x="337" y="56"/>
                  </a:lnTo>
                  <a:lnTo>
                    <a:pt x="338" y="55"/>
                  </a:lnTo>
                  <a:lnTo>
                    <a:pt x="339" y="55"/>
                  </a:lnTo>
                  <a:lnTo>
                    <a:pt x="340" y="56"/>
                  </a:lnTo>
                  <a:lnTo>
                    <a:pt x="342" y="56"/>
                  </a:lnTo>
                  <a:lnTo>
                    <a:pt x="344" y="55"/>
                  </a:lnTo>
                  <a:lnTo>
                    <a:pt x="345" y="53"/>
                  </a:lnTo>
                  <a:lnTo>
                    <a:pt x="346" y="53"/>
                  </a:lnTo>
                  <a:lnTo>
                    <a:pt x="346" y="55"/>
                  </a:lnTo>
                  <a:lnTo>
                    <a:pt x="349" y="56"/>
                  </a:lnTo>
                  <a:lnTo>
                    <a:pt x="350" y="55"/>
                  </a:lnTo>
                  <a:lnTo>
                    <a:pt x="350" y="56"/>
                  </a:lnTo>
                  <a:lnTo>
                    <a:pt x="352" y="57"/>
                  </a:lnTo>
                  <a:lnTo>
                    <a:pt x="354" y="58"/>
                  </a:lnTo>
                  <a:lnTo>
                    <a:pt x="355" y="57"/>
                  </a:lnTo>
                  <a:lnTo>
                    <a:pt x="356" y="57"/>
                  </a:lnTo>
                  <a:lnTo>
                    <a:pt x="356" y="56"/>
                  </a:lnTo>
                  <a:lnTo>
                    <a:pt x="357" y="56"/>
                  </a:lnTo>
                  <a:lnTo>
                    <a:pt x="358" y="56"/>
                  </a:lnTo>
                  <a:lnTo>
                    <a:pt x="358" y="55"/>
                  </a:lnTo>
                  <a:lnTo>
                    <a:pt x="360" y="56"/>
                  </a:lnTo>
                  <a:lnTo>
                    <a:pt x="361" y="56"/>
                  </a:lnTo>
                  <a:lnTo>
                    <a:pt x="362" y="57"/>
                  </a:lnTo>
                  <a:lnTo>
                    <a:pt x="363" y="56"/>
                  </a:lnTo>
                  <a:lnTo>
                    <a:pt x="363" y="55"/>
                  </a:lnTo>
                  <a:lnTo>
                    <a:pt x="363" y="52"/>
                  </a:lnTo>
                  <a:lnTo>
                    <a:pt x="364" y="51"/>
                  </a:lnTo>
                  <a:lnTo>
                    <a:pt x="366" y="50"/>
                  </a:lnTo>
                  <a:lnTo>
                    <a:pt x="367" y="49"/>
                  </a:lnTo>
                  <a:lnTo>
                    <a:pt x="369" y="50"/>
                  </a:lnTo>
                  <a:lnTo>
                    <a:pt x="370" y="50"/>
                  </a:lnTo>
                  <a:lnTo>
                    <a:pt x="372" y="50"/>
                  </a:lnTo>
                  <a:lnTo>
                    <a:pt x="372" y="51"/>
                  </a:lnTo>
                  <a:lnTo>
                    <a:pt x="373" y="51"/>
                  </a:lnTo>
                  <a:lnTo>
                    <a:pt x="372" y="46"/>
                  </a:lnTo>
                  <a:lnTo>
                    <a:pt x="370" y="44"/>
                  </a:lnTo>
                  <a:lnTo>
                    <a:pt x="369" y="43"/>
                  </a:lnTo>
                  <a:lnTo>
                    <a:pt x="369" y="41"/>
                  </a:lnTo>
                  <a:lnTo>
                    <a:pt x="369" y="40"/>
                  </a:lnTo>
                  <a:lnTo>
                    <a:pt x="370" y="39"/>
                  </a:lnTo>
                  <a:lnTo>
                    <a:pt x="370" y="40"/>
                  </a:lnTo>
                  <a:lnTo>
                    <a:pt x="372" y="39"/>
                  </a:lnTo>
                  <a:lnTo>
                    <a:pt x="373" y="39"/>
                  </a:lnTo>
                  <a:lnTo>
                    <a:pt x="374" y="39"/>
                  </a:lnTo>
                  <a:lnTo>
                    <a:pt x="377" y="39"/>
                  </a:lnTo>
                  <a:lnTo>
                    <a:pt x="375" y="41"/>
                  </a:lnTo>
                  <a:lnTo>
                    <a:pt x="377" y="41"/>
                  </a:lnTo>
                  <a:lnTo>
                    <a:pt x="378" y="41"/>
                  </a:lnTo>
                  <a:lnTo>
                    <a:pt x="381" y="41"/>
                  </a:lnTo>
                  <a:lnTo>
                    <a:pt x="379" y="44"/>
                  </a:lnTo>
                  <a:lnTo>
                    <a:pt x="378" y="45"/>
                  </a:lnTo>
                  <a:lnTo>
                    <a:pt x="377" y="46"/>
                  </a:lnTo>
                  <a:lnTo>
                    <a:pt x="375" y="47"/>
                  </a:lnTo>
                  <a:lnTo>
                    <a:pt x="377" y="46"/>
                  </a:lnTo>
                  <a:lnTo>
                    <a:pt x="379" y="46"/>
                  </a:lnTo>
                  <a:lnTo>
                    <a:pt x="378" y="46"/>
                  </a:lnTo>
                  <a:lnTo>
                    <a:pt x="379" y="49"/>
                  </a:lnTo>
                  <a:lnTo>
                    <a:pt x="377" y="49"/>
                  </a:lnTo>
                  <a:lnTo>
                    <a:pt x="375" y="50"/>
                  </a:lnTo>
                  <a:lnTo>
                    <a:pt x="377" y="51"/>
                  </a:lnTo>
                  <a:lnTo>
                    <a:pt x="380" y="50"/>
                  </a:lnTo>
                  <a:lnTo>
                    <a:pt x="383" y="50"/>
                  </a:lnTo>
                  <a:lnTo>
                    <a:pt x="385" y="50"/>
                  </a:lnTo>
                  <a:lnTo>
                    <a:pt x="383" y="52"/>
                  </a:lnTo>
                  <a:lnTo>
                    <a:pt x="379" y="55"/>
                  </a:lnTo>
                  <a:lnTo>
                    <a:pt x="377" y="56"/>
                  </a:lnTo>
                  <a:lnTo>
                    <a:pt x="377" y="58"/>
                  </a:lnTo>
                  <a:lnTo>
                    <a:pt x="378" y="58"/>
                  </a:lnTo>
                  <a:lnTo>
                    <a:pt x="380" y="58"/>
                  </a:lnTo>
                  <a:lnTo>
                    <a:pt x="381" y="57"/>
                  </a:lnTo>
                  <a:lnTo>
                    <a:pt x="384" y="56"/>
                  </a:lnTo>
                  <a:lnTo>
                    <a:pt x="385" y="57"/>
                  </a:lnTo>
                  <a:lnTo>
                    <a:pt x="384" y="58"/>
                  </a:lnTo>
                  <a:lnTo>
                    <a:pt x="384" y="61"/>
                  </a:lnTo>
                  <a:lnTo>
                    <a:pt x="385" y="62"/>
                  </a:lnTo>
                  <a:lnTo>
                    <a:pt x="386" y="64"/>
                  </a:lnTo>
                  <a:lnTo>
                    <a:pt x="384" y="64"/>
                  </a:lnTo>
                  <a:lnTo>
                    <a:pt x="385" y="67"/>
                  </a:lnTo>
                  <a:lnTo>
                    <a:pt x="385" y="69"/>
                  </a:lnTo>
                  <a:lnTo>
                    <a:pt x="384" y="70"/>
                  </a:lnTo>
                  <a:lnTo>
                    <a:pt x="384" y="69"/>
                  </a:lnTo>
                  <a:lnTo>
                    <a:pt x="383" y="70"/>
                  </a:lnTo>
                  <a:lnTo>
                    <a:pt x="383" y="73"/>
                  </a:lnTo>
                  <a:lnTo>
                    <a:pt x="381" y="74"/>
                  </a:lnTo>
                  <a:lnTo>
                    <a:pt x="381" y="77"/>
                  </a:lnTo>
                  <a:lnTo>
                    <a:pt x="380" y="77"/>
                  </a:lnTo>
                  <a:lnTo>
                    <a:pt x="378" y="80"/>
                  </a:lnTo>
                  <a:lnTo>
                    <a:pt x="377" y="80"/>
                  </a:lnTo>
                  <a:lnTo>
                    <a:pt x="377" y="82"/>
                  </a:lnTo>
                  <a:lnTo>
                    <a:pt x="374" y="83"/>
                  </a:lnTo>
                  <a:lnTo>
                    <a:pt x="374" y="82"/>
                  </a:lnTo>
                  <a:lnTo>
                    <a:pt x="373" y="81"/>
                  </a:lnTo>
                  <a:lnTo>
                    <a:pt x="372" y="80"/>
                  </a:lnTo>
                  <a:lnTo>
                    <a:pt x="372" y="82"/>
                  </a:lnTo>
                  <a:lnTo>
                    <a:pt x="370" y="85"/>
                  </a:lnTo>
                  <a:lnTo>
                    <a:pt x="370" y="81"/>
                  </a:lnTo>
                  <a:lnTo>
                    <a:pt x="369" y="83"/>
                  </a:lnTo>
                  <a:lnTo>
                    <a:pt x="368" y="81"/>
                  </a:lnTo>
                  <a:lnTo>
                    <a:pt x="367" y="82"/>
                  </a:lnTo>
                  <a:lnTo>
                    <a:pt x="368" y="85"/>
                  </a:lnTo>
                  <a:lnTo>
                    <a:pt x="366" y="86"/>
                  </a:lnTo>
                  <a:lnTo>
                    <a:pt x="363" y="87"/>
                  </a:lnTo>
                  <a:lnTo>
                    <a:pt x="362" y="88"/>
                  </a:lnTo>
                  <a:lnTo>
                    <a:pt x="362" y="89"/>
                  </a:lnTo>
                  <a:lnTo>
                    <a:pt x="364" y="89"/>
                  </a:lnTo>
                  <a:lnTo>
                    <a:pt x="366" y="91"/>
                  </a:lnTo>
                  <a:lnTo>
                    <a:pt x="367" y="92"/>
                  </a:lnTo>
                  <a:lnTo>
                    <a:pt x="366" y="93"/>
                  </a:lnTo>
                  <a:lnTo>
                    <a:pt x="363" y="92"/>
                  </a:lnTo>
                  <a:lnTo>
                    <a:pt x="363" y="91"/>
                  </a:lnTo>
                  <a:lnTo>
                    <a:pt x="362" y="91"/>
                  </a:lnTo>
                  <a:lnTo>
                    <a:pt x="362" y="93"/>
                  </a:lnTo>
                  <a:lnTo>
                    <a:pt x="366" y="94"/>
                  </a:lnTo>
                  <a:lnTo>
                    <a:pt x="366" y="97"/>
                  </a:lnTo>
                  <a:lnTo>
                    <a:pt x="366" y="98"/>
                  </a:lnTo>
                  <a:lnTo>
                    <a:pt x="369" y="97"/>
                  </a:lnTo>
                  <a:lnTo>
                    <a:pt x="373" y="94"/>
                  </a:lnTo>
                  <a:lnTo>
                    <a:pt x="372" y="92"/>
                  </a:lnTo>
                  <a:lnTo>
                    <a:pt x="372" y="89"/>
                  </a:lnTo>
                  <a:lnTo>
                    <a:pt x="374" y="88"/>
                  </a:lnTo>
                  <a:lnTo>
                    <a:pt x="375" y="86"/>
                  </a:lnTo>
                  <a:lnTo>
                    <a:pt x="375" y="88"/>
                  </a:lnTo>
                  <a:lnTo>
                    <a:pt x="377" y="87"/>
                  </a:lnTo>
                  <a:lnTo>
                    <a:pt x="378" y="87"/>
                  </a:lnTo>
                  <a:lnTo>
                    <a:pt x="379" y="86"/>
                  </a:lnTo>
                  <a:lnTo>
                    <a:pt x="380" y="86"/>
                  </a:lnTo>
                  <a:lnTo>
                    <a:pt x="381" y="86"/>
                  </a:lnTo>
                  <a:lnTo>
                    <a:pt x="381" y="88"/>
                  </a:lnTo>
                  <a:lnTo>
                    <a:pt x="380" y="89"/>
                  </a:lnTo>
                  <a:lnTo>
                    <a:pt x="381" y="89"/>
                  </a:lnTo>
                  <a:lnTo>
                    <a:pt x="380" y="91"/>
                  </a:lnTo>
                  <a:lnTo>
                    <a:pt x="381" y="89"/>
                  </a:lnTo>
                  <a:lnTo>
                    <a:pt x="381" y="92"/>
                  </a:lnTo>
                  <a:lnTo>
                    <a:pt x="383" y="92"/>
                  </a:lnTo>
                  <a:lnTo>
                    <a:pt x="384" y="91"/>
                  </a:lnTo>
                  <a:lnTo>
                    <a:pt x="383" y="89"/>
                  </a:lnTo>
                  <a:lnTo>
                    <a:pt x="383" y="87"/>
                  </a:lnTo>
                  <a:lnTo>
                    <a:pt x="385" y="87"/>
                  </a:lnTo>
                  <a:lnTo>
                    <a:pt x="386" y="86"/>
                  </a:lnTo>
                  <a:lnTo>
                    <a:pt x="387" y="87"/>
                  </a:lnTo>
                  <a:lnTo>
                    <a:pt x="389" y="87"/>
                  </a:lnTo>
                  <a:lnTo>
                    <a:pt x="390" y="88"/>
                  </a:lnTo>
                  <a:lnTo>
                    <a:pt x="390" y="91"/>
                  </a:lnTo>
                  <a:lnTo>
                    <a:pt x="387" y="92"/>
                  </a:lnTo>
                  <a:lnTo>
                    <a:pt x="387" y="91"/>
                  </a:lnTo>
                  <a:lnTo>
                    <a:pt x="385" y="91"/>
                  </a:lnTo>
                  <a:lnTo>
                    <a:pt x="380" y="95"/>
                  </a:lnTo>
                  <a:lnTo>
                    <a:pt x="381" y="97"/>
                  </a:lnTo>
                  <a:lnTo>
                    <a:pt x="384" y="95"/>
                  </a:lnTo>
                  <a:lnTo>
                    <a:pt x="384" y="98"/>
                  </a:lnTo>
                  <a:lnTo>
                    <a:pt x="386" y="99"/>
                  </a:lnTo>
                  <a:lnTo>
                    <a:pt x="387" y="100"/>
                  </a:lnTo>
                  <a:lnTo>
                    <a:pt x="387" y="101"/>
                  </a:lnTo>
                  <a:lnTo>
                    <a:pt x="389" y="100"/>
                  </a:lnTo>
                  <a:lnTo>
                    <a:pt x="390" y="101"/>
                  </a:lnTo>
                  <a:lnTo>
                    <a:pt x="391" y="99"/>
                  </a:lnTo>
                  <a:lnTo>
                    <a:pt x="390" y="103"/>
                  </a:lnTo>
                  <a:lnTo>
                    <a:pt x="389" y="105"/>
                  </a:lnTo>
                  <a:lnTo>
                    <a:pt x="389" y="106"/>
                  </a:lnTo>
                  <a:lnTo>
                    <a:pt x="390" y="107"/>
                  </a:lnTo>
                  <a:lnTo>
                    <a:pt x="391" y="107"/>
                  </a:lnTo>
                  <a:lnTo>
                    <a:pt x="392" y="107"/>
                  </a:lnTo>
                  <a:lnTo>
                    <a:pt x="393" y="106"/>
                  </a:lnTo>
                  <a:lnTo>
                    <a:pt x="395" y="104"/>
                  </a:lnTo>
                  <a:lnTo>
                    <a:pt x="395" y="103"/>
                  </a:lnTo>
                  <a:lnTo>
                    <a:pt x="395" y="101"/>
                  </a:lnTo>
                  <a:lnTo>
                    <a:pt x="395" y="99"/>
                  </a:lnTo>
                  <a:lnTo>
                    <a:pt x="396" y="98"/>
                  </a:lnTo>
                  <a:lnTo>
                    <a:pt x="397" y="97"/>
                  </a:lnTo>
                  <a:lnTo>
                    <a:pt x="397" y="95"/>
                  </a:lnTo>
                  <a:lnTo>
                    <a:pt x="398" y="95"/>
                  </a:lnTo>
                  <a:lnTo>
                    <a:pt x="401" y="95"/>
                  </a:lnTo>
                  <a:lnTo>
                    <a:pt x="401" y="97"/>
                  </a:lnTo>
                  <a:lnTo>
                    <a:pt x="402" y="97"/>
                  </a:lnTo>
                  <a:lnTo>
                    <a:pt x="403" y="98"/>
                  </a:lnTo>
                  <a:lnTo>
                    <a:pt x="403" y="99"/>
                  </a:lnTo>
                  <a:lnTo>
                    <a:pt x="402" y="101"/>
                  </a:lnTo>
                  <a:lnTo>
                    <a:pt x="401" y="101"/>
                  </a:lnTo>
                  <a:lnTo>
                    <a:pt x="402" y="103"/>
                  </a:lnTo>
                  <a:lnTo>
                    <a:pt x="401" y="104"/>
                  </a:lnTo>
                  <a:lnTo>
                    <a:pt x="401" y="105"/>
                  </a:lnTo>
                  <a:lnTo>
                    <a:pt x="401" y="106"/>
                  </a:lnTo>
                  <a:lnTo>
                    <a:pt x="402" y="106"/>
                  </a:lnTo>
                  <a:lnTo>
                    <a:pt x="403" y="105"/>
                  </a:lnTo>
                  <a:lnTo>
                    <a:pt x="404" y="105"/>
                  </a:lnTo>
                  <a:lnTo>
                    <a:pt x="404" y="106"/>
                  </a:lnTo>
                  <a:lnTo>
                    <a:pt x="405" y="105"/>
                  </a:lnTo>
                  <a:lnTo>
                    <a:pt x="407" y="105"/>
                  </a:lnTo>
                  <a:lnTo>
                    <a:pt x="409" y="104"/>
                  </a:lnTo>
                  <a:lnTo>
                    <a:pt x="410" y="103"/>
                  </a:lnTo>
                  <a:lnTo>
                    <a:pt x="410" y="101"/>
                  </a:lnTo>
                  <a:lnTo>
                    <a:pt x="409" y="100"/>
                  </a:lnTo>
                  <a:lnTo>
                    <a:pt x="411" y="99"/>
                  </a:lnTo>
                  <a:lnTo>
                    <a:pt x="413" y="99"/>
                  </a:lnTo>
                  <a:lnTo>
                    <a:pt x="411" y="100"/>
                  </a:lnTo>
                  <a:lnTo>
                    <a:pt x="414" y="100"/>
                  </a:lnTo>
                  <a:lnTo>
                    <a:pt x="413" y="99"/>
                  </a:lnTo>
                  <a:lnTo>
                    <a:pt x="409" y="95"/>
                  </a:lnTo>
                  <a:lnTo>
                    <a:pt x="407" y="97"/>
                  </a:lnTo>
                  <a:lnTo>
                    <a:pt x="404" y="95"/>
                  </a:lnTo>
                  <a:lnTo>
                    <a:pt x="405" y="94"/>
                  </a:lnTo>
                  <a:lnTo>
                    <a:pt x="407" y="94"/>
                  </a:lnTo>
                  <a:lnTo>
                    <a:pt x="408" y="94"/>
                  </a:lnTo>
                  <a:lnTo>
                    <a:pt x="408" y="93"/>
                  </a:lnTo>
                  <a:lnTo>
                    <a:pt x="409" y="93"/>
                  </a:lnTo>
                  <a:lnTo>
                    <a:pt x="410" y="94"/>
                  </a:lnTo>
                  <a:lnTo>
                    <a:pt x="411" y="97"/>
                  </a:lnTo>
                  <a:lnTo>
                    <a:pt x="414" y="99"/>
                  </a:lnTo>
                  <a:lnTo>
                    <a:pt x="415" y="99"/>
                  </a:lnTo>
                  <a:lnTo>
                    <a:pt x="416" y="98"/>
                  </a:lnTo>
                  <a:lnTo>
                    <a:pt x="417" y="95"/>
                  </a:lnTo>
                  <a:lnTo>
                    <a:pt x="419" y="97"/>
                  </a:lnTo>
                  <a:lnTo>
                    <a:pt x="420" y="97"/>
                  </a:lnTo>
                  <a:lnTo>
                    <a:pt x="420" y="98"/>
                  </a:lnTo>
                  <a:lnTo>
                    <a:pt x="421" y="100"/>
                  </a:lnTo>
                  <a:lnTo>
                    <a:pt x="421" y="99"/>
                  </a:lnTo>
                  <a:lnTo>
                    <a:pt x="422" y="98"/>
                  </a:lnTo>
                  <a:lnTo>
                    <a:pt x="422" y="97"/>
                  </a:lnTo>
                  <a:lnTo>
                    <a:pt x="425" y="98"/>
                  </a:lnTo>
                  <a:lnTo>
                    <a:pt x="426" y="98"/>
                  </a:lnTo>
                  <a:lnTo>
                    <a:pt x="425" y="94"/>
                  </a:lnTo>
                  <a:lnTo>
                    <a:pt x="420" y="93"/>
                  </a:lnTo>
                  <a:lnTo>
                    <a:pt x="416" y="92"/>
                  </a:lnTo>
                  <a:lnTo>
                    <a:pt x="417" y="91"/>
                  </a:lnTo>
                  <a:lnTo>
                    <a:pt x="419" y="89"/>
                  </a:lnTo>
                  <a:lnTo>
                    <a:pt x="420" y="89"/>
                  </a:lnTo>
                  <a:lnTo>
                    <a:pt x="421" y="88"/>
                  </a:lnTo>
                  <a:lnTo>
                    <a:pt x="422" y="88"/>
                  </a:lnTo>
                  <a:lnTo>
                    <a:pt x="423" y="87"/>
                  </a:lnTo>
                  <a:lnTo>
                    <a:pt x="423" y="88"/>
                  </a:lnTo>
                  <a:lnTo>
                    <a:pt x="425" y="88"/>
                  </a:lnTo>
                  <a:lnTo>
                    <a:pt x="425" y="91"/>
                  </a:lnTo>
                  <a:lnTo>
                    <a:pt x="426" y="94"/>
                  </a:lnTo>
                  <a:lnTo>
                    <a:pt x="427" y="95"/>
                  </a:lnTo>
                  <a:lnTo>
                    <a:pt x="429" y="94"/>
                  </a:lnTo>
                  <a:lnTo>
                    <a:pt x="431" y="93"/>
                  </a:lnTo>
                  <a:lnTo>
                    <a:pt x="432" y="91"/>
                  </a:lnTo>
                  <a:lnTo>
                    <a:pt x="432" y="89"/>
                  </a:lnTo>
                  <a:lnTo>
                    <a:pt x="434" y="88"/>
                  </a:lnTo>
                  <a:lnTo>
                    <a:pt x="434" y="89"/>
                  </a:lnTo>
                  <a:lnTo>
                    <a:pt x="436" y="91"/>
                  </a:lnTo>
                  <a:lnTo>
                    <a:pt x="437" y="92"/>
                  </a:lnTo>
                  <a:lnTo>
                    <a:pt x="438" y="89"/>
                  </a:lnTo>
                  <a:lnTo>
                    <a:pt x="439" y="91"/>
                  </a:lnTo>
                  <a:lnTo>
                    <a:pt x="440" y="92"/>
                  </a:lnTo>
                  <a:lnTo>
                    <a:pt x="442" y="94"/>
                  </a:lnTo>
                  <a:lnTo>
                    <a:pt x="440" y="94"/>
                  </a:lnTo>
                  <a:lnTo>
                    <a:pt x="438" y="94"/>
                  </a:lnTo>
                  <a:lnTo>
                    <a:pt x="437" y="95"/>
                  </a:lnTo>
                  <a:lnTo>
                    <a:pt x="434" y="95"/>
                  </a:lnTo>
                  <a:lnTo>
                    <a:pt x="436" y="95"/>
                  </a:lnTo>
                  <a:lnTo>
                    <a:pt x="433" y="95"/>
                  </a:lnTo>
                  <a:lnTo>
                    <a:pt x="436" y="98"/>
                  </a:lnTo>
                  <a:lnTo>
                    <a:pt x="437" y="100"/>
                  </a:lnTo>
                  <a:lnTo>
                    <a:pt x="438" y="99"/>
                  </a:lnTo>
                  <a:lnTo>
                    <a:pt x="439" y="100"/>
                  </a:lnTo>
                  <a:lnTo>
                    <a:pt x="439" y="99"/>
                  </a:lnTo>
                  <a:lnTo>
                    <a:pt x="442" y="99"/>
                  </a:lnTo>
                  <a:lnTo>
                    <a:pt x="440" y="98"/>
                  </a:lnTo>
                  <a:lnTo>
                    <a:pt x="439" y="95"/>
                  </a:lnTo>
                  <a:lnTo>
                    <a:pt x="440" y="97"/>
                  </a:lnTo>
                  <a:lnTo>
                    <a:pt x="443" y="93"/>
                  </a:lnTo>
                  <a:lnTo>
                    <a:pt x="444" y="92"/>
                  </a:lnTo>
                  <a:lnTo>
                    <a:pt x="445" y="89"/>
                  </a:lnTo>
                  <a:lnTo>
                    <a:pt x="448" y="89"/>
                  </a:lnTo>
                  <a:lnTo>
                    <a:pt x="448" y="88"/>
                  </a:lnTo>
                  <a:lnTo>
                    <a:pt x="448" y="86"/>
                  </a:lnTo>
                  <a:lnTo>
                    <a:pt x="448" y="85"/>
                  </a:lnTo>
                  <a:lnTo>
                    <a:pt x="449" y="83"/>
                  </a:lnTo>
                  <a:lnTo>
                    <a:pt x="448" y="83"/>
                  </a:lnTo>
                  <a:lnTo>
                    <a:pt x="449" y="82"/>
                  </a:lnTo>
                  <a:lnTo>
                    <a:pt x="450" y="82"/>
                  </a:lnTo>
                  <a:lnTo>
                    <a:pt x="450" y="81"/>
                  </a:lnTo>
                  <a:lnTo>
                    <a:pt x="450" y="79"/>
                  </a:lnTo>
                  <a:lnTo>
                    <a:pt x="451" y="77"/>
                  </a:lnTo>
                  <a:lnTo>
                    <a:pt x="452" y="79"/>
                  </a:lnTo>
                  <a:lnTo>
                    <a:pt x="456" y="79"/>
                  </a:lnTo>
                  <a:lnTo>
                    <a:pt x="455" y="76"/>
                  </a:lnTo>
                  <a:lnTo>
                    <a:pt x="454" y="75"/>
                  </a:lnTo>
                  <a:lnTo>
                    <a:pt x="451" y="76"/>
                  </a:lnTo>
                  <a:lnTo>
                    <a:pt x="452" y="75"/>
                  </a:lnTo>
                  <a:lnTo>
                    <a:pt x="454" y="74"/>
                  </a:lnTo>
                  <a:lnTo>
                    <a:pt x="456" y="75"/>
                  </a:lnTo>
                  <a:lnTo>
                    <a:pt x="457" y="74"/>
                  </a:lnTo>
                  <a:lnTo>
                    <a:pt x="458" y="76"/>
                  </a:lnTo>
                  <a:lnTo>
                    <a:pt x="460" y="76"/>
                  </a:lnTo>
                  <a:lnTo>
                    <a:pt x="461" y="77"/>
                  </a:lnTo>
                  <a:lnTo>
                    <a:pt x="464" y="75"/>
                  </a:lnTo>
                  <a:lnTo>
                    <a:pt x="463" y="73"/>
                  </a:lnTo>
                  <a:lnTo>
                    <a:pt x="464" y="71"/>
                  </a:lnTo>
                  <a:lnTo>
                    <a:pt x="466" y="70"/>
                  </a:lnTo>
                  <a:lnTo>
                    <a:pt x="467" y="70"/>
                  </a:lnTo>
                  <a:lnTo>
                    <a:pt x="466" y="73"/>
                  </a:lnTo>
                  <a:lnTo>
                    <a:pt x="467" y="73"/>
                  </a:lnTo>
                  <a:lnTo>
                    <a:pt x="469" y="70"/>
                  </a:lnTo>
                  <a:lnTo>
                    <a:pt x="470" y="71"/>
                  </a:lnTo>
                  <a:lnTo>
                    <a:pt x="472" y="73"/>
                  </a:lnTo>
                  <a:lnTo>
                    <a:pt x="473" y="73"/>
                  </a:lnTo>
                  <a:lnTo>
                    <a:pt x="474" y="73"/>
                  </a:lnTo>
                  <a:lnTo>
                    <a:pt x="472" y="74"/>
                  </a:lnTo>
                  <a:lnTo>
                    <a:pt x="468" y="75"/>
                  </a:lnTo>
                  <a:lnTo>
                    <a:pt x="469" y="77"/>
                  </a:lnTo>
                  <a:lnTo>
                    <a:pt x="470" y="76"/>
                  </a:lnTo>
                  <a:lnTo>
                    <a:pt x="474" y="74"/>
                  </a:lnTo>
                  <a:lnTo>
                    <a:pt x="472" y="77"/>
                  </a:lnTo>
                  <a:lnTo>
                    <a:pt x="473" y="79"/>
                  </a:lnTo>
                  <a:lnTo>
                    <a:pt x="472" y="79"/>
                  </a:lnTo>
                  <a:lnTo>
                    <a:pt x="470" y="80"/>
                  </a:lnTo>
                  <a:lnTo>
                    <a:pt x="472" y="81"/>
                  </a:lnTo>
                  <a:lnTo>
                    <a:pt x="473" y="81"/>
                  </a:lnTo>
                  <a:lnTo>
                    <a:pt x="475" y="82"/>
                  </a:lnTo>
                  <a:lnTo>
                    <a:pt x="476" y="82"/>
                  </a:lnTo>
                  <a:lnTo>
                    <a:pt x="476" y="83"/>
                  </a:lnTo>
                  <a:lnTo>
                    <a:pt x="479" y="83"/>
                  </a:lnTo>
                  <a:lnTo>
                    <a:pt x="480" y="85"/>
                  </a:lnTo>
                  <a:lnTo>
                    <a:pt x="479" y="85"/>
                  </a:lnTo>
                  <a:lnTo>
                    <a:pt x="480" y="86"/>
                  </a:lnTo>
                  <a:lnTo>
                    <a:pt x="480" y="87"/>
                  </a:lnTo>
                  <a:lnTo>
                    <a:pt x="478" y="87"/>
                  </a:lnTo>
                  <a:lnTo>
                    <a:pt x="479" y="88"/>
                  </a:lnTo>
                  <a:lnTo>
                    <a:pt x="480" y="91"/>
                  </a:lnTo>
                  <a:lnTo>
                    <a:pt x="482" y="89"/>
                  </a:lnTo>
                  <a:lnTo>
                    <a:pt x="482" y="91"/>
                  </a:lnTo>
                  <a:lnTo>
                    <a:pt x="482" y="94"/>
                  </a:lnTo>
                  <a:lnTo>
                    <a:pt x="484" y="94"/>
                  </a:lnTo>
                  <a:lnTo>
                    <a:pt x="482" y="97"/>
                  </a:lnTo>
                  <a:lnTo>
                    <a:pt x="484" y="98"/>
                  </a:lnTo>
                  <a:lnTo>
                    <a:pt x="481" y="101"/>
                  </a:lnTo>
                  <a:lnTo>
                    <a:pt x="481" y="97"/>
                  </a:lnTo>
                  <a:lnTo>
                    <a:pt x="480" y="92"/>
                  </a:lnTo>
                  <a:lnTo>
                    <a:pt x="478" y="92"/>
                  </a:lnTo>
                  <a:lnTo>
                    <a:pt x="474" y="89"/>
                  </a:lnTo>
                  <a:lnTo>
                    <a:pt x="474" y="91"/>
                  </a:lnTo>
                  <a:lnTo>
                    <a:pt x="474" y="94"/>
                  </a:lnTo>
                  <a:lnTo>
                    <a:pt x="474" y="95"/>
                  </a:lnTo>
                  <a:lnTo>
                    <a:pt x="473" y="98"/>
                  </a:lnTo>
                  <a:lnTo>
                    <a:pt x="472" y="99"/>
                  </a:lnTo>
                  <a:lnTo>
                    <a:pt x="469" y="99"/>
                  </a:lnTo>
                  <a:lnTo>
                    <a:pt x="468" y="98"/>
                  </a:lnTo>
                  <a:lnTo>
                    <a:pt x="467" y="99"/>
                  </a:lnTo>
                  <a:lnTo>
                    <a:pt x="460" y="100"/>
                  </a:lnTo>
                  <a:lnTo>
                    <a:pt x="457" y="100"/>
                  </a:lnTo>
                  <a:lnTo>
                    <a:pt x="457" y="101"/>
                  </a:lnTo>
                  <a:lnTo>
                    <a:pt x="457" y="103"/>
                  </a:lnTo>
                  <a:lnTo>
                    <a:pt x="460" y="101"/>
                  </a:lnTo>
                  <a:lnTo>
                    <a:pt x="460" y="103"/>
                  </a:lnTo>
                  <a:lnTo>
                    <a:pt x="461" y="103"/>
                  </a:lnTo>
                  <a:lnTo>
                    <a:pt x="464" y="100"/>
                  </a:lnTo>
                  <a:lnTo>
                    <a:pt x="469" y="100"/>
                  </a:lnTo>
                  <a:lnTo>
                    <a:pt x="472" y="100"/>
                  </a:lnTo>
                  <a:lnTo>
                    <a:pt x="474" y="101"/>
                  </a:lnTo>
                  <a:lnTo>
                    <a:pt x="475" y="103"/>
                  </a:lnTo>
                  <a:lnTo>
                    <a:pt x="474" y="103"/>
                  </a:lnTo>
                  <a:lnTo>
                    <a:pt x="472" y="104"/>
                  </a:lnTo>
                  <a:lnTo>
                    <a:pt x="473" y="104"/>
                  </a:lnTo>
                  <a:lnTo>
                    <a:pt x="470" y="105"/>
                  </a:lnTo>
                  <a:lnTo>
                    <a:pt x="469" y="106"/>
                  </a:lnTo>
                  <a:lnTo>
                    <a:pt x="470" y="107"/>
                  </a:lnTo>
                  <a:lnTo>
                    <a:pt x="468" y="107"/>
                  </a:lnTo>
                  <a:lnTo>
                    <a:pt x="469" y="109"/>
                  </a:lnTo>
                  <a:lnTo>
                    <a:pt x="472" y="111"/>
                  </a:lnTo>
                  <a:lnTo>
                    <a:pt x="470" y="111"/>
                  </a:lnTo>
                  <a:lnTo>
                    <a:pt x="470" y="113"/>
                  </a:lnTo>
                  <a:lnTo>
                    <a:pt x="470" y="115"/>
                  </a:lnTo>
                  <a:lnTo>
                    <a:pt x="469" y="112"/>
                  </a:lnTo>
                  <a:lnTo>
                    <a:pt x="469" y="113"/>
                  </a:lnTo>
                  <a:lnTo>
                    <a:pt x="468" y="112"/>
                  </a:lnTo>
                  <a:lnTo>
                    <a:pt x="467" y="113"/>
                  </a:lnTo>
                  <a:lnTo>
                    <a:pt x="466" y="111"/>
                  </a:lnTo>
                  <a:lnTo>
                    <a:pt x="466" y="107"/>
                  </a:lnTo>
                  <a:lnTo>
                    <a:pt x="466" y="106"/>
                  </a:lnTo>
                  <a:lnTo>
                    <a:pt x="463" y="105"/>
                  </a:lnTo>
                  <a:lnTo>
                    <a:pt x="462" y="104"/>
                  </a:lnTo>
                  <a:lnTo>
                    <a:pt x="461" y="106"/>
                  </a:lnTo>
                  <a:lnTo>
                    <a:pt x="460" y="109"/>
                  </a:lnTo>
                  <a:lnTo>
                    <a:pt x="458" y="110"/>
                  </a:lnTo>
                  <a:lnTo>
                    <a:pt x="455" y="115"/>
                  </a:lnTo>
                  <a:lnTo>
                    <a:pt x="455" y="112"/>
                  </a:lnTo>
                  <a:lnTo>
                    <a:pt x="456" y="110"/>
                  </a:lnTo>
                  <a:lnTo>
                    <a:pt x="454" y="112"/>
                  </a:lnTo>
                  <a:lnTo>
                    <a:pt x="450" y="116"/>
                  </a:lnTo>
                  <a:lnTo>
                    <a:pt x="450" y="113"/>
                  </a:lnTo>
                  <a:lnTo>
                    <a:pt x="451" y="112"/>
                  </a:lnTo>
                  <a:lnTo>
                    <a:pt x="451" y="111"/>
                  </a:lnTo>
                  <a:lnTo>
                    <a:pt x="449" y="111"/>
                  </a:lnTo>
                  <a:lnTo>
                    <a:pt x="448" y="113"/>
                  </a:lnTo>
                  <a:lnTo>
                    <a:pt x="446" y="115"/>
                  </a:lnTo>
                  <a:lnTo>
                    <a:pt x="446" y="116"/>
                  </a:lnTo>
                  <a:lnTo>
                    <a:pt x="445" y="118"/>
                  </a:lnTo>
                  <a:lnTo>
                    <a:pt x="444" y="119"/>
                  </a:lnTo>
                  <a:lnTo>
                    <a:pt x="443" y="121"/>
                  </a:lnTo>
                  <a:lnTo>
                    <a:pt x="444" y="122"/>
                  </a:lnTo>
                  <a:lnTo>
                    <a:pt x="445" y="121"/>
                  </a:lnTo>
                  <a:lnTo>
                    <a:pt x="446" y="119"/>
                  </a:lnTo>
                  <a:lnTo>
                    <a:pt x="446" y="122"/>
                  </a:lnTo>
                  <a:lnTo>
                    <a:pt x="445" y="125"/>
                  </a:lnTo>
                  <a:lnTo>
                    <a:pt x="444" y="128"/>
                  </a:lnTo>
                  <a:lnTo>
                    <a:pt x="445" y="128"/>
                  </a:lnTo>
                  <a:lnTo>
                    <a:pt x="444" y="129"/>
                  </a:lnTo>
                  <a:lnTo>
                    <a:pt x="444" y="131"/>
                  </a:lnTo>
                  <a:lnTo>
                    <a:pt x="445" y="130"/>
                  </a:lnTo>
                  <a:lnTo>
                    <a:pt x="448" y="130"/>
                  </a:lnTo>
                  <a:lnTo>
                    <a:pt x="450" y="129"/>
                  </a:lnTo>
                  <a:lnTo>
                    <a:pt x="452" y="130"/>
                  </a:lnTo>
                  <a:lnTo>
                    <a:pt x="454" y="131"/>
                  </a:lnTo>
                  <a:lnTo>
                    <a:pt x="454" y="133"/>
                  </a:lnTo>
                  <a:lnTo>
                    <a:pt x="452" y="133"/>
                  </a:lnTo>
                  <a:lnTo>
                    <a:pt x="452" y="135"/>
                  </a:lnTo>
                  <a:lnTo>
                    <a:pt x="451" y="135"/>
                  </a:lnTo>
                  <a:lnTo>
                    <a:pt x="451" y="138"/>
                  </a:lnTo>
                  <a:lnTo>
                    <a:pt x="449" y="136"/>
                  </a:lnTo>
                  <a:lnTo>
                    <a:pt x="448" y="135"/>
                  </a:lnTo>
                  <a:lnTo>
                    <a:pt x="446" y="134"/>
                  </a:lnTo>
                  <a:lnTo>
                    <a:pt x="445" y="133"/>
                  </a:lnTo>
                  <a:lnTo>
                    <a:pt x="444" y="134"/>
                  </a:lnTo>
                  <a:lnTo>
                    <a:pt x="443" y="135"/>
                  </a:lnTo>
                  <a:lnTo>
                    <a:pt x="445" y="135"/>
                  </a:lnTo>
                  <a:lnTo>
                    <a:pt x="443" y="136"/>
                  </a:lnTo>
                  <a:lnTo>
                    <a:pt x="443" y="138"/>
                  </a:lnTo>
                  <a:lnTo>
                    <a:pt x="445" y="138"/>
                  </a:lnTo>
                  <a:lnTo>
                    <a:pt x="448" y="138"/>
                  </a:lnTo>
                  <a:lnTo>
                    <a:pt x="450" y="138"/>
                  </a:lnTo>
                  <a:lnTo>
                    <a:pt x="450" y="139"/>
                  </a:lnTo>
                  <a:lnTo>
                    <a:pt x="451" y="139"/>
                  </a:lnTo>
                  <a:lnTo>
                    <a:pt x="450" y="139"/>
                  </a:lnTo>
                  <a:lnTo>
                    <a:pt x="451" y="140"/>
                  </a:lnTo>
                  <a:lnTo>
                    <a:pt x="451" y="141"/>
                  </a:lnTo>
                  <a:lnTo>
                    <a:pt x="450" y="141"/>
                  </a:lnTo>
                  <a:lnTo>
                    <a:pt x="451" y="144"/>
                  </a:lnTo>
                  <a:lnTo>
                    <a:pt x="451" y="145"/>
                  </a:lnTo>
                  <a:lnTo>
                    <a:pt x="449" y="141"/>
                  </a:lnTo>
                  <a:lnTo>
                    <a:pt x="446" y="139"/>
                  </a:lnTo>
                  <a:lnTo>
                    <a:pt x="446" y="140"/>
                  </a:lnTo>
                  <a:lnTo>
                    <a:pt x="446" y="141"/>
                  </a:lnTo>
                  <a:lnTo>
                    <a:pt x="445" y="144"/>
                  </a:lnTo>
                  <a:lnTo>
                    <a:pt x="445" y="147"/>
                  </a:lnTo>
                  <a:lnTo>
                    <a:pt x="445" y="145"/>
                  </a:lnTo>
                  <a:lnTo>
                    <a:pt x="444" y="146"/>
                  </a:lnTo>
                  <a:lnTo>
                    <a:pt x="443" y="144"/>
                  </a:lnTo>
                  <a:lnTo>
                    <a:pt x="444" y="140"/>
                  </a:lnTo>
                  <a:lnTo>
                    <a:pt x="443" y="140"/>
                  </a:lnTo>
                  <a:lnTo>
                    <a:pt x="440" y="140"/>
                  </a:lnTo>
                  <a:lnTo>
                    <a:pt x="442" y="141"/>
                  </a:lnTo>
                  <a:lnTo>
                    <a:pt x="440" y="146"/>
                  </a:lnTo>
                  <a:lnTo>
                    <a:pt x="438" y="144"/>
                  </a:lnTo>
                  <a:lnTo>
                    <a:pt x="438" y="141"/>
                  </a:lnTo>
                  <a:lnTo>
                    <a:pt x="438" y="142"/>
                  </a:lnTo>
                  <a:lnTo>
                    <a:pt x="438" y="147"/>
                  </a:lnTo>
                  <a:lnTo>
                    <a:pt x="440" y="150"/>
                  </a:lnTo>
                  <a:lnTo>
                    <a:pt x="440" y="152"/>
                  </a:lnTo>
                  <a:lnTo>
                    <a:pt x="439" y="153"/>
                  </a:lnTo>
                  <a:lnTo>
                    <a:pt x="439" y="154"/>
                  </a:lnTo>
                  <a:lnTo>
                    <a:pt x="438" y="154"/>
                  </a:lnTo>
                  <a:lnTo>
                    <a:pt x="438" y="156"/>
                  </a:lnTo>
                  <a:lnTo>
                    <a:pt x="437" y="156"/>
                  </a:lnTo>
                  <a:lnTo>
                    <a:pt x="437" y="159"/>
                  </a:lnTo>
                  <a:lnTo>
                    <a:pt x="436" y="157"/>
                  </a:lnTo>
                  <a:lnTo>
                    <a:pt x="436" y="156"/>
                  </a:lnTo>
                  <a:lnTo>
                    <a:pt x="434" y="156"/>
                  </a:lnTo>
                  <a:lnTo>
                    <a:pt x="434" y="154"/>
                  </a:lnTo>
                  <a:lnTo>
                    <a:pt x="434" y="152"/>
                  </a:lnTo>
                  <a:lnTo>
                    <a:pt x="433" y="152"/>
                  </a:lnTo>
                  <a:lnTo>
                    <a:pt x="433" y="151"/>
                  </a:lnTo>
                  <a:lnTo>
                    <a:pt x="434" y="148"/>
                  </a:lnTo>
                  <a:lnTo>
                    <a:pt x="437" y="147"/>
                  </a:lnTo>
                  <a:lnTo>
                    <a:pt x="437" y="145"/>
                  </a:lnTo>
                  <a:lnTo>
                    <a:pt x="436" y="145"/>
                  </a:lnTo>
                  <a:lnTo>
                    <a:pt x="434" y="146"/>
                  </a:lnTo>
                  <a:lnTo>
                    <a:pt x="436" y="144"/>
                  </a:lnTo>
                  <a:lnTo>
                    <a:pt x="433" y="145"/>
                  </a:lnTo>
                  <a:lnTo>
                    <a:pt x="432" y="145"/>
                  </a:lnTo>
                  <a:lnTo>
                    <a:pt x="431" y="147"/>
                  </a:lnTo>
                  <a:lnTo>
                    <a:pt x="431" y="145"/>
                  </a:lnTo>
                  <a:lnTo>
                    <a:pt x="429" y="145"/>
                  </a:lnTo>
                  <a:lnTo>
                    <a:pt x="427" y="145"/>
                  </a:lnTo>
                  <a:lnTo>
                    <a:pt x="425" y="145"/>
                  </a:lnTo>
                  <a:lnTo>
                    <a:pt x="427" y="146"/>
                  </a:lnTo>
                  <a:lnTo>
                    <a:pt x="426" y="148"/>
                  </a:lnTo>
                  <a:lnTo>
                    <a:pt x="423" y="151"/>
                  </a:lnTo>
                  <a:lnTo>
                    <a:pt x="422" y="153"/>
                  </a:lnTo>
                  <a:lnTo>
                    <a:pt x="425" y="153"/>
                  </a:lnTo>
                  <a:lnTo>
                    <a:pt x="426" y="154"/>
                  </a:lnTo>
                  <a:lnTo>
                    <a:pt x="425" y="157"/>
                  </a:lnTo>
                  <a:lnTo>
                    <a:pt x="426" y="157"/>
                  </a:lnTo>
                  <a:lnTo>
                    <a:pt x="427" y="158"/>
                  </a:lnTo>
                  <a:lnTo>
                    <a:pt x="427" y="159"/>
                  </a:lnTo>
                  <a:lnTo>
                    <a:pt x="429" y="160"/>
                  </a:lnTo>
                  <a:lnTo>
                    <a:pt x="431" y="160"/>
                  </a:lnTo>
                  <a:lnTo>
                    <a:pt x="429" y="159"/>
                  </a:lnTo>
                  <a:lnTo>
                    <a:pt x="428" y="158"/>
                  </a:lnTo>
                  <a:lnTo>
                    <a:pt x="431" y="157"/>
                  </a:lnTo>
                  <a:lnTo>
                    <a:pt x="433" y="158"/>
                  </a:lnTo>
                  <a:lnTo>
                    <a:pt x="433" y="159"/>
                  </a:lnTo>
                  <a:lnTo>
                    <a:pt x="436" y="159"/>
                  </a:lnTo>
                  <a:lnTo>
                    <a:pt x="437" y="160"/>
                  </a:lnTo>
                  <a:lnTo>
                    <a:pt x="438" y="159"/>
                  </a:lnTo>
                  <a:lnTo>
                    <a:pt x="440" y="158"/>
                  </a:lnTo>
                  <a:lnTo>
                    <a:pt x="443" y="157"/>
                  </a:lnTo>
                  <a:lnTo>
                    <a:pt x="444" y="158"/>
                  </a:lnTo>
                  <a:lnTo>
                    <a:pt x="444" y="160"/>
                  </a:lnTo>
                  <a:lnTo>
                    <a:pt x="445" y="160"/>
                  </a:lnTo>
                  <a:lnTo>
                    <a:pt x="445" y="159"/>
                  </a:lnTo>
                  <a:lnTo>
                    <a:pt x="445" y="158"/>
                  </a:lnTo>
                  <a:lnTo>
                    <a:pt x="446" y="158"/>
                  </a:lnTo>
                  <a:lnTo>
                    <a:pt x="448" y="158"/>
                  </a:lnTo>
                  <a:lnTo>
                    <a:pt x="449" y="158"/>
                  </a:lnTo>
                  <a:lnTo>
                    <a:pt x="450" y="158"/>
                  </a:lnTo>
                  <a:lnTo>
                    <a:pt x="450" y="159"/>
                  </a:lnTo>
                  <a:lnTo>
                    <a:pt x="451" y="158"/>
                  </a:lnTo>
                  <a:lnTo>
                    <a:pt x="449" y="154"/>
                  </a:lnTo>
                  <a:lnTo>
                    <a:pt x="446" y="154"/>
                  </a:lnTo>
                  <a:lnTo>
                    <a:pt x="444" y="156"/>
                  </a:lnTo>
                  <a:lnTo>
                    <a:pt x="444" y="154"/>
                  </a:lnTo>
                  <a:lnTo>
                    <a:pt x="443" y="154"/>
                  </a:lnTo>
                  <a:lnTo>
                    <a:pt x="443" y="153"/>
                  </a:lnTo>
                  <a:lnTo>
                    <a:pt x="445" y="152"/>
                  </a:lnTo>
                  <a:lnTo>
                    <a:pt x="449" y="153"/>
                  </a:lnTo>
                  <a:lnTo>
                    <a:pt x="451" y="152"/>
                  </a:lnTo>
                  <a:lnTo>
                    <a:pt x="450" y="154"/>
                  </a:lnTo>
                  <a:lnTo>
                    <a:pt x="451" y="157"/>
                  </a:lnTo>
                  <a:lnTo>
                    <a:pt x="452" y="157"/>
                  </a:lnTo>
                  <a:lnTo>
                    <a:pt x="454" y="157"/>
                  </a:lnTo>
                  <a:lnTo>
                    <a:pt x="454" y="156"/>
                  </a:lnTo>
                  <a:lnTo>
                    <a:pt x="455" y="154"/>
                  </a:lnTo>
                  <a:lnTo>
                    <a:pt x="456" y="154"/>
                  </a:lnTo>
                  <a:lnTo>
                    <a:pt x="456" y="153"/>
                  </a:lnTo>
                  <a:lnTo>
                    <a:pt x="457" y="153"/>
                  </a:lnTo>
                  <a:lnTo>
                    <a:pt x="457" y="154"/>
                  </a:lnTo>
                  <a:lnTo>
                    <a:pt x="458" y="156"/>
                  </a:lnTo>
                  <a:lnTo>
                    <a:pt x="457" y="157"/>
                  </a:lnTo>
                  <a:lnTo>
                    <a:pt x="457" y="159"/>
                  </a:lnTo>
                  <a:lnTo>
                    <a:pt x="458" y="159"/>
                  </a:lnTo>
                  <a:lnTo>
                    <a:pt x="460" y="158"/>
                  </a:lnTo>
                  <a:lnTo>
                    <a:pt x="462" y="157"/>
                  </a:lnTo>
                  <a:lnTo>
                    <a:pt x="463" y="156"/>
                  </a:lnTo>
                  <a:lnTo>
                    <a:pt x="466" y="154"/>
                  </a:lnTo>
                  <a:lnTo>
                    <a:pt x="462" y="159"/>
                  </a:lnTo>
                  <a:lnTo>
                    <a:pt x="460" y="162"/>
                  </a:lnTo>
                  <a:lnTo>
                    <a:pt x="460" y="168"/>
                  </a:lnTo>
                  <a:lnTo>
                    <a:pt x="461" y="164"/>
                  </a:lnTo>
                  <a:lnTo>
                    <a:pt x="463" y="163"/>
                  </a:lnTo>
                  <a:lnTo>
                    <a:pt x="463" y="162"/>
                  </a:lnTo>
                  <a:lnTo>
                    <a:pt x="464" y="159"/>
                  </a:lnTo>
                  <a:lnTo>
                    <a:pt x="466" y="160"/>
                  </a:lnTo>
                  <a:lnTo>
                    <a:pt x="467" y="162"/>
                  </a:lnTo>
                  <a:lnTo>
                    <a:pt x="468" y="163"/>
                  </a:lnTo>
                  <a:lnTo>
                    <a:pt x="468" y="164"/>
                  </a:lnTo>
                  <a:lnTo>
                    <a:pt x="468" y="165"/>
                  </a:lnTo>
                  <a:lnTo>
                    <a:pt x="466" y="166"/>
                  </a:lnTo>
                  <a:lnTo>
                    <a:pt x="466" y="169"/>
                  </a:lnTo>
                  <a:lnTo>
                    <a:pt x="468" y="168"/>
                  </a:lnTo>
                  <a:lnTo>
                    <a:pt x="469" y="166"/>
                  </a:lnTo>
                  <a:lnTo>
                    <a:pt x="473" y="168"/>
                  </a:lnTo>
                  <a:lnTo>
                    <a:pt x="474" y="168"/>
                  </a:lnTo>
                  <a:lnTo>
                    <a:pt x="476" y="166"/>
                  </a:lnTo>
                  <a:lnTo>
                    <a:pt x="476" y="168"/>
                  </a:lnTo>
                  <a:lnTo>
                    <a:pt x="478" y="168"/>
                  </a:lnTo>
                  <a:lnTo>
                    <a:pt x="475" y="170"/>
                  </a:lnTo>
                  <a:lnTo>
                    <a:pt x="472" y="170"/>
                  </a:lnTo>
                  <a:lnTo>
                    <a:pt x="469" y="170"/>
                  </a:lnTo>
                  <a:lnTo>
                    <a:pt x="467" y="170"/>
                  </a:lnTo>
                  <a:lnTo>
                    <a:pt x="467" y="172"/>
                  </a:lnTo>
                  <a:lnTo>
                    <a:pt x="468" y="171"/>
                  </a:lnTo>
                  <a:lnTo>
                    <a:pt x="470" y="171"/>
                  </a:lnTo>
                  <a:lnTo>
                    <a:pt x="472" y="172"/>
                  </a:lnTo>
                  <a:lnTo>
                    <a:pt x="473" y="171"/>
                  </a:lnTo>
                  <a:lnTo>
                    <a:pt x="474" y="171"/>
                  </a:lnTo>
                  <a:lnTo>
                    <a:pt x="475" y="172"/>
                  </a:lnTo>
                  <a:lnTo>
                    <a:pt x="476" y="172"/>
                  </a:lnTo>
                  <a:lnTo>
                    <a:pt x="478" y="174"/>
                  </a:lnTo>
                  <a:lnTo>
                    <a:pt x="478" y="171"/>
                  </a:lnTo>
                  <a:lnTo>
                    <a:pt x="478" y="169"/>
                  </a:lnTo>
                  <a:lnTo>
                    <a:pt x="480" y="166"/>
                  </a:lnTo>
                  <a:lnTo>
                    <a:pt x="481" y="165"/>
                  </a:lnTo>
                  <a:lnTo>
                    <a:pt x="479" y="165"/>
                  </a:lnTo>
                  <a:lnTo>
                    <a:pt x="479" y="164"/>
                  </a:lnTo>
                  <a:lnTo>
                    <a:pt x="480" y="160"/>
                  </a:lnTo>
                  <a:lnTo>
                    <a:pt x="482" y="160"/>
                  </a:lnTo>
                  <a:lnTo>
                    <a:pt x="484" y="158"/>
                  </a:lnTo>
                  <a:lnTo>
                    <a:pt x="484" y="160"/>
                  </a:lnTo>
                  <a:lnTo>
                    <a:pt x="484" y="162"/>
                  </a:lnTo>
                  <a:lnTo>
                    <a:pt x="485" y="163"/>
                  </a:lnTo>
                  <a:lnTo>
                    <a:pt x="485" y="165"/>
                  </a:lnTo>
                  <a:lnTo>
                    <a:pt x="486" y="168"/>
                  </a:lnTo>
                  <a:lnTo>
                    <a:pt x="487" y="169"/>
                  </a:lnTo>
                  <a:lnTo>
                    <a:pt x="488" y="169"/>
                  </a:lnTo>
                  <a:lnTo>
                    <a:pt x="487" y="170"/>
                  </a:lnTo>
                  <a:lnTo>
                    <a:pt x="488" y="171"/>
                  </a:lnTo>
                  <a:lnTo>
                    <a:pt x="491" y="171"/>
                  </a:lnTo>
                  <a:lnTo>
                    <a:pt x="492" y="171"/>
                  </a:lnTo>
                  <a:lnTo>
                    <a:pt x="493" y="170"/>
                  </a:lnTo>
                  <a:lnTo>
                    <a:pt x="497" y="170"/>
                  </a:lnTo>
                  <a:lnTo>
                    <a:pt x="495" y="171"/>
                  </a:lnTo>
                  <a:lnTo>
                    <a:pt x="493" y="172"/>
                  </a:lnTo>
                  <a:lnTo>
                    <a:pt x="495" y="172"/>
                  </a:lnTo>
                  <a:lnTo>
                    <a:pt x="496" y="174"/>
                  </a:lnTo>
                  <a:lnTo>
                    <a:pt x="498" y="175"/>
                  </a:lnTo>
                  <a:lnTo>
                    <a:pt x="497" y="176"/>
                  </a:lnTo>
                  <a:lnTo>
                    <a:pt x="496" y="178"/>
                  </a:lnTo>
                  <a:lnTo>
                    <a:pt x="496" y="180"/>
                  </a:lnTo>
                  <a:lnTo>
                    <a:pt x="493" y="177"/>
                  </a:lnTo>
                  <a:lnTo>
                    <a:pt x="491" y="178"/>
                  </a:lnTo>
                  <a:lnTo>
                    <a:pt x="490" y="181"/>
                  </a:lnTo>
                  <a:lnTo>
                    <a:pt x="491" y="181"/>
                  </a:lnTo>
                  <a:lnTo>
                    <a:pt x="491" y="182"/>
                  </a:lnTo>
                  <a:lnTo>
                    <a:pt x="488" y="184"/>
                  </a:lnTo>
                  <a:lnTo>
                    <a:pt x="487" y="186"/>
                  </a:lnTo>
                  <a:lnTo>
                    <a:pt x="487" y="188"/>
                  </a:lnTo>
                  <a:lnTo>
                    <a:pt x="488" y="190"/>
                  </a:lnTo>
                  <a:lnTo>
                    <a:pt x="491" y="190"/>
                  </a:lnTo>
                  <a:lnTo>
                    <a:pt x="493" y="189"/>
                  </a:lnTo>
                  <a:lnTo>
                    <a:pt x="496" y="188"/>
                  </a:lnTo>
                  <a:lnTo>
                    <a:pt x="498" y="187"/>
                  </a:lnTo>
                  <a:lnTo>
                    <a:pt x="495" y="189"/>
                  </a:lnTo>
                  <a:lnTo>
                    <a:pt x="492" y="192"/>
                  </a:lnTo>
                  <a:lnTo>
                    <a:pt x="493" y="192"/>
                  </a:lnTo>
                  <a:lnTo>
                    <a:pt x="495" y="193"/>
                  </a:lnTo>
                  <a:lnTo>
                    <a:pt x="498" y="193"/>
                  </a:lnTo>
                  <a:lnTo>
                    <a:pt x="502" y="193"/>
                  </a:lnTo>
                  <a:lnTo>
                    <a:pt x="502" y="192"/>
                  </a:lnTo>
                  <a:lnTo>
                    <a:pt x="503" y="190"/>
                  </a:lnTo>
                  <a:lnTo>
                    <a:pt x="504" y="189"/>
                  </a:lnTo>
                  <a:lnTo>
                    <a:pt x="507" y="187"/>
                  </a:lnTo>
                  <a:lnTo>
                    <a:pt x="509" y="187"/>
                  </a:lnTo>
                  <a:lnTo>
                    <a:pt x="511" y="187"/>
                  </a:lnTo>
                  <a:lnTo>
                    <a:pt x="510" y="188"/>
                  </a:lnTo>
                  <a:lnTo>
                    <a:pt x="507" y="190"/>
                  </a:lnTo>
                  <a:lnTo>
                    <a:pt x="508" y="193"/>
                  </a:lnTo>
                  <a:lnTo>
                    <a:pt x="509" y="194"/>
                  </a:lnTo>
                  <a:lnTo>
                    <a:pt x="510" y="196"/>
                  </a:lnTo>
                  <a:lnTo>
                    <a:pt x="509" y="198"/>
                  </a:lnTo>
                  <a:lnTo>
                    <a:pt x="511" y="199"/>
                  </a:lnTo>
                  <a:lnTo>
                    <a:pt x="511" y="201"/>
                  </a:lnTo>
                  <a:lnTo>
                    <a:pt x="510" y="201"/>
                  </a:lnTo>
                  <a:lnTo>
                    <a:pt x="509" y="205"/>
                  </a:lnTo>
                  <a:lnTo>
                    <a:pt x="509" y="206"/>
                  </a:lnTo>
                  <a:lnTo>
                    <a:pt x="511" y="206"/>
                  </a:lnTo>
                  <a:lnTo>
                    <a:pt x="513" y="205"/>
                  </a:lnTo>
                  <a:lnTo>
                    <a:pt x="515" y="204"/>
                  </a:lnTo>
                  <a:lnTo>
                    <a:pt x="513" y="204"/>
                  </a:lnTo>
                  <a:lnTo>
                    <a:pt x="513" y="201"/>
                  </a:lnTo>
                  <a:lnTo>
                    <a:pt x="516" y="200"/>
                  </a:lnTo>
                  <a:lnTo>
                    <a:pt x="517" y="200"/>
                  </a:lnTo>
                  <a:lnTo>
                    <a:pt x="519" y="199"/>
                  </a:lnTo>
                  <a:lnTo>
                    <a:pt x="519" y="195"/>
                  </a:lnTo>
                  <a:lnTo>
                    <a:pt x="521" y="193"/>
                  </a:lnTo>
                  <a:lnTo>
                    <a:pt x="520" y="198"/>
                  </a:lnTo>
                  <a:lnTo>
                    <a:pt x="521" y="199"/>
                  </a:lnTo>
                  <a:lnTo>
                    <a:pt x="522" y="199"/>
                  </a:lnTo>
                  <a:lnTo>
                    <a:pt x="521" y="200"/>
                  </a:lnTo>
                  <a:lnTo>
                    <a:pt x="520" y="204"/>
                  </a:lnTo>
                  <a:lnTo>
                    <a:pt x="521" y="205"/>
                  </a:lnTo>
                  <a:lnTo>
                    <a:pt x="520" y="207"/>
                  </a:lnTo>
                  <a:lnTo>
                    <a:pt x="522" y="210"/>
                  </a:lnTo>
                  <a:lnTo>
                    <a:pt x="520" y="212"/>
                  </a:lnTo>
                  <a:lnTo>
                    <a:pt x="517" y="212"/>
                  </a:lnTo>
                  <a:lnTo>
                    <a:pt x="514" y="212"/>
                  </a:lnTo>
                  <a:lnTo>
                    <a:pt x="511" y="211"/>
                  </a:lnTo>
                  <a:lnTo>
                    <a:pt x="508" y="213"/>
                  </a:lnTo>
                  <a:lnTo>
                    <a:pt x="507" y="214"/>
                  </a:lnTo>
                  <a:lnTo>
                    <a:pt x="508" y="214"/>
                  </a:lnTo>
                  <a:lnTo>
                    <a:pt x="511" y="214"/>
                  </a:lnTo>
                  <a:lnTo>
                    <a:pt x="511" y="217"/>
                  </a:lnTo>
                  <a:lnTo>
                    <a:pt x="514" y="217"/>
                  </a:lnTo>
                  <a:lnTo>
                    <a:pt x="514" y="218"/>
                  </a:lnTo>
                  <a:lnTo>
                    <a:pt x="516" y="218"/>
                  </a:lnTo>
                  <a:lnTo>
                    <a:pt x="519" y="219"/>
                  </a:lnTo>
                  <a:lnTo>
                    <a:pt x="521" y="219"/>
                  </a:lnTo>
                  <a:lnTo>
                    <a:pt x="522" y="218"/>
                  </a:lnTo>
                  <a:lnTo>
                    <a:pt x="522" y="220"/>
                  </a:lnTo>
                  <a:lnTo>
                    <a:pt x="523" y="222"/>
                  </a:lnTo>
                  <a:lnTo>
                    <a:pt x="521" y="222"/>
                  </a:lnTo>
                  <a:lnTo>
                    <a:pt x="520" y="223"/>
                  </a:lnTo>
                  <a:lnTo>
                    <a:pt x="522" y="225"/>
                  </a:lnTo>
                  <a:lnTo>
                    <a:pt x="521" y="225"/>
                  </a:lnTo>
                  <a:lnTo>
                    <a:pt x="520" y="228"/>
                  </a:lnTo>
                  <a:lnTo>
                    <a:pt x="519" y="228"/>
                  </a:lnTo>
                  <a:lnTo>
                    <a:pt x="517" y="228"/>
                  </a:lnTo>
                  <a:lnTo>
                    <a:pt x="519" y="230"/>
                  </a:lnTo>
                  <a:lnTo>
                    <a:pt x="517" y="229"/>
                  </a:lnTo>
                  <a:lnTo>
                    <a:pt x="516" y="231"/>
                  </a:lnTo>
                  <a:lnTo>
                    <a:pt x="515" y="231"/>
                  </a:lnTo>
                  <a:lnTo>
                    <a:pt x="514" y="231"/>
                  </a:lnTo>
                  <a:lnTo>
                    <a:pt x="514" y="232"/>
                  </a:lnTo>
                  <a:lnTo>
                    <a:pt x="511" y="232"/>
                  </a:lnTo>
                  <a:lnTo>
                    <a:pt x="510" y="231"/>
                  </a:lnTo>
                  <a:lnTo>
                    <a:pt x="510" y="232"/>
                  </a:lnTo>
                  <a:lnTo>
                    <a:pt x="509" y="230"/>
                  </a:lnTo>
                  <a:lnTo>
                    <a:pt x="508" y="231"/>
                  </a:lnTo>
                  <a:lnTo>
                    <a:pt x="509" y="232"/>
                  </a:lnTo>
                  <a:lnTo>
                    <a:pt x="510" y="234"/>
                  </a:lnTo>
                  <a:lnTo>
                    <a:pt x="513" y="235"/>
                  </a:lnTo>
                  <a:lnTo>
                    <a:pt x="514" y="238"/>
                  </a:lnTo>
                  <a:lnTo>
                    <a:pt x="514" y="241"/>
                  </a:lnTo>
                  <a:lnTo>
                    <a:pt x="513" y="237"/>
                  </a:lnTo>
                  <a:lnTo>
                    <a:pt x="510" y="236"/>
                  </a:lnTo>
                  <a:lnTo>
                    <a:pt x="509" y="237"/>
                  </a:lnTo>
                  <a:lnTo>
                    <a:pt x="508" y="236"/>
                  </a:lnTo>
                  <a:lnTo>
                    <a:pt x="507" y="237"/>
                  </a:lnTo>
                  <a:lnTo>
                    <a:pt x="508" y="235"/>
                  </a:lnTo>
                  <a:lnTo>
                    <a:pt x="507" y="234"/>
                  </a:lnTo>
                  <a:lnTo>
                    <a:pt x="505" y="235"/>
                  </a:lnTo>
                  <a:lnTo>
                    <a:pt x="504" y="237"/>
                  </a:lnTo>
                  <a:lnTo>
                    <a:pt x="503" y="236"/>
                  </a:lnTo>
                  <a:lnTo>
                    <a:pt x="502" y="237"/>
                  </a:lnTo>
                  <a:lnTo>
                    <a:pt x="501" y="238"/>
                  </a:lnTo>
                  <a:lnTo>
                    <a:pt x="499" y="235"/>
                  </a:lnTo>
                  <a:lnTo>
                    <a:pt x="499" y="232"/>
                  </a:lnTo>
                  <a:lnTo>
                    <a:pt x="498" y="232"/>
                  </a:lnTo>
                  <a:lnTo>
                    <a:pt x="497" y="231"/>
                  </a:lnTo>
                  <a:lnTo>
                    <a:pt x="498" y="228"/>
                  </a:lnTo>
                  <a:lnTo>
                    <a:pt x="498" y="225"/>
                  </a:lnTo>
                  <a:lnTo>
                    <a:pt x="496" y="226"/>
                  </a:lnTo>
                  <a:lnTo>
                    <a:pt x="492" y="229"/>
                  </a:lnTo>
                  <a:lnTo>
                    <a:pt x="488" y="232"/>
                  </a:lnTo>
                  <a:lnTo>
                    <a:pt x="488" y="234"/>
                  </a:lnTo>
                  <a:lnTo>
                    <a:pt x="490" y="234"/>
                  </a:lnTo>
                  <a:lnTo>
                    <a:pt x="490" y="235"/>
                  </a:lnTo>
                  <a:lnTo>
                    <a:pt x="488" y="236"/>
                  </a:lnTo>
                  <a:lnTo>
                    <a:pt x="491" y="240"/>
                  </a:lnTo>
                  <a:lnTo>
                    <a:pt x="492" y="241"/>
                  </a:lnTo>
                  <a:lnTo>
                    <a:pt x="498" y="246"/>
                  </a:lnTo>
                  <a:lnTo>
                    <a:pt x="499" y="243"/>
                  </a:lnTo>
                  <a:lnTo>
                    <a:pt x="501" y="241"/>
                  </a:lnTo>
                  <a:lnTo>
                    <a:pt x="503" y="242"/>
                  </a:lnTo>
                  <a:lnTo>
                    <a:pt x="502" y="243"/>
                  </a:lnTo>
                  <a:lnTo>
                    <a:pt x="507" y="245"/>
                  </a:lnTo>
                  <a:lnTo>
                    <a:pt x="505" y="248"/>
                  </a:lnTo>
                  <a:lnTo>
                    <a:pt x="507" y="252"/>
                  </a:lnTo>
                  <a:lnTo>
                    <a:pt x="511" y="251"/>
                  </a:lnTo>
                  <a:lnTo>
                    <a:pt x="511" y="249"/>
                  </a:lnTo>
                  <a:lnTo>
                    <a:pt x="510" y="249"/>
                  </a:lnTo>
                  <a:lnTo>
                    <a:pt x="513" y="246"/>
                  </a:lnTo>
                  <a:lnTo>
                    <a:pt x="515" y="246"/>
                  </a:lnTo>
                  <a:lnTo>
                    <a:pt x="517" y="243"/>
                  </a:lnTo>
                  <a:lnTo>
                    <a:pt x="519" y="245"/>
                  </a:lnTo>
                  <a:lnTo>
                    <a:pt x="517" y="247"/>
                  </a:lnTo>
                  <a:lnTo>
                    <a:pt x="515" y="249"/>
                  </a:lnTo>
                  <a:lnTo>
                    <a:pt x="513" y="251"/>
                  </a:lnTo>
                  <a:lnTo>
                    <a:pt x="513" y="252"/>
                  </a:lnTo>
                  <a:lnTo>
                    <a:pt x="507" y="252"/>
                  </a:lnTo>
                  <a:lnTo>
                    <a:pt x="507" y="254"/>
                  </a:lnTo>
                  <a:lnTo>
                    <a:pt x="505" y="254"/>
                  </a:lnTo>
                  <a:lnTo>
                    <a:pt x="504" y="255"/>
                  </a:lnTo>
                  <a:lnTo>
                    <a:pt x="507" y="257"/>
                  </a:lnTo>
                  <a:lnTo>
                    <a:pt x="505" y="259"/>
                  </a:lnTo>
                  <a:lnTo>
                    <a:pt x="504" y="260"/>
                  </a:lnTo>
                  <a:lnTo>
                    <a:pt x="503" y="258"/>
                  </a:lnTo>
                  <a:lnTo>
                    <a:pt x="503" y="255"/>
                  </a:lnTo>
                  <a:lnTo>
                    <a:pt x="503" y="253"/>
                  </a:lnTo>
                  <a:lnTo>
                    <a:pt x="502" y="254"/>
                  </a:lnTo>
                  <a:lnTo>
                    <a:pt x="501" y="257"/>
                  </a:lnTo>
                  <a:lnTo>
                    <a:pt x="498" y="258"/>
                  </a:lnTo>
                  <a:lnTo>
                    <a:pt x="497" y="257"/>
                  </a:lnTo>
                  <a:lnTo>
                    <a:pt x="497" y="253"/>
                  </a:lnTo>
                  <a:lnTo>
                    <a:pt x="496" y="255"/>
                  </a:lnTo>
                  <a:lnTo>
                    <a:pt x="495" y="258"/>
                  </a:lnTo>
                  <a:lnTo>
                    <a:pt x="492" y="259"/>
                  </a:lnTo>
                  <a:lnTo>
                    <a:pt x="492" y="258"/>
                  </a:lnTo>
                  <a:lnTo>
                    <a:pt x="491" y="255"/>
                  </a:lnTo>
                  <a:lnTo>
                    <a:pt x="492" y="253"/>
                  </a:lnTo>
                  <a:lnTo>
                    <a:pt x="491" y="252"/>
                  </a:lnTo>
                  <a:lnTo>
                    <a:pt x="490" y="253"/>
                  </a:lnTo>
                  <a:lnTo>
                    <a:pt x="487" y="253"/>
                  </a:lnTo>
                  <a:lnTo>
                    <a:pt x="487" y="251"/>
                  </a:lnTo>
                  <a:lnTo>
                    <a:pt x="487" y="248"/>
                  </a:lnTo>
                  <a:lnTo>
                    <a:pt x="486" y="248"/>
                  </a:lnTo>
                  <a:lnTo>
                    <a:pt x="487" y="246"/>
                  </a:lnTo>
                  <a:lnTo>
                    <a:pt x="486" y="243"/>
                  </a:lnTo>
                  <a:lnTo>
                    <a:pt x="485" y="243"/>
                  </a:lnTo>
                  <a:lnTo>
                    <a:pt x="484" y="246"/>
                  </a:lnTo>
                  <a:lnTo>
                    <a:pt x="482" y="245"/>
                  </a:lnTo>
                  <a:lnTo>
                    <a:pt x="484" y="242"/>
                  </a:lnTo>
                  <a:lnTo>
                    <a:pt x="481" y="242"/>
                  </a:lnTo>
                  <a:lnTo>
                    <a:pt x="481" y="245"/>
                  </a:lnTo>
                  <a:lnTo>
                    <a:pt x="481" y="247"/>
                  </a:lnTo>
                  <a:lnTo>
                    <a:pt x="481" y="248"/>
                  </a:lnTo>
                  <a:lnTo>
                    <a:pt x="481" y="251"/>
                  </a:lnTo>
                  <a:lnTo>
                    <a:pt x="481" y="252"/>
                  </a:lnTo>
                  <a:lnTo>
                    <a:pt x="482" y="252"/>
                  </a:lnTo>
                  <a:lnTo>
                    <a:pt x="482" y="255"/>
                  </a:lnTo>
                  <a:lnTo>
                    <a:pt x="481" y="258"/>
                  </a:lnTo>
                  <a:lnTo>
                    <a:pt x="484" y="259"/>
                  </a:lnTo>
                  <a:lnTo>
                    <a:pt x="482" y="260"/>
                  </a:lnTo>
                  <a:lnTo>
                    <a:pt x="485" y="261"/>
                  </a:lnTo>
                  <a:lnTo>
                    <a:pt x="486" y="261"/>
                  </a:lnTo>
                  <a:lnTo>
                    <a:pt x="487" y="259"/>
                  </a:lnTo>
                  <a:lnTo>
                    <a:pt x="490" y="259"/>
                  </a:lnTo>
                  <a:lnTo>
                    <a:pt x="491" y="261"/>
                  </a:lnTo>
                  <a:lnTo>
                    <a:pt x="493" y="263"/>
                  </a:lnTo>
                  <a:lnTo>
                    <a:pt x="492" y="264"/>
                  </a:lnTo>
                  <a:lnTo>
                    <a:pt x="495" y="265"/>
                  </a:lnTo>
                  <a:lnTo>
                    <a:pt x="492" y="266"/>
                  </a:lnTo>
                  <a:lnTo>
                    <a:pt x="487" y="265"/>
                  </a:lnTo>
                  <a:lnTo>
                    <a:pt x="485" y="265"/>
                  </a:lnTo>
                  <a:lnTo>
                    <a:pt x="481" y="264"/>
                  </a:lnTo>
                  <a:lnTo>
                    <a:pt x="479" y="265"/>
                  </a:lnTo>
                  <a:lnTo>
                    <a:pt x="475" y="267"/>
                  </a:lnTo>
                  <a:lnTo>
                    <a:pt x="475" y="265"/>
                  </a:lnTo>
                  <a:lnTo>
                    <a:pt x="473" y="267"/>
                  </a:lnTo>
                  <a:lnTo>
                    <a:pt x="473" y="264"/>
                  </a:lnTo>
                  <a:lnTo>
                    <a:pt x="469" y="263"/>
                  </a:lnTo>
                  <a:lnTo>
                    <a:pt x="469" y="265"/>
                  </a:lnTo>
                  <a:lnTo>
                    <a:pt x="470" y="266"/>
                  </a:lnTo>
                  <a:lnTo>
                    <a:pt x="469" y="266"/>
                  </a:lnTo>
                  <a:lnTo>
                    <a:pt x="468" y="269"/>
                  </a:lnTo>
                  <a:lnTo>
                    <a:pt x="469" y="270"/>
                  </a:lnTo>
                  <a:lnTo>
                    <a:pt x="468" y="270"/>
                  </a:lnTo>
                  <a:lnTo>
                    <a:pt x="468" y="272"/>
                  </a:lnTo>
                  <a:lnTo>
                    <a:pt x="467" y="270"/>
                  </a:lnTo>
                  <a:lnTo>
                    <a:pt x="466" y="267"/>
                  </a:lnTo>
                  <a:lnTo>
                    <a:pt x="466" y="269"/>
                  </a:lnTo>
                  <a:lnTo>
                    <a:pt x="466" y="266"/>
                  </a:lnTo>
                  <a:lnTo>
                    <a:pt x="464" y="267"/>
                  </a:lnTo>
                  <a:lnTo>
                    <a:pt x="463" y="269"/>
                  </a:lnTo>
                  <a:lnTo>
                    <a:pt x="463" y="267"/>
                  </a:lnTo>
                  <a:lnTo>
                    <a:pt x="462" y="267"/>
                  </a:lnTo>
                  <a:lnTo>
                    <a:pt x="461" y="266"/>
                  </a:lnTo>
                  <a:lnTo>
                    <a:pt x="460" y="266"/>
                  </a:lnTo>
                  <a:lnTo>
                    <a:pt x="460" y="265"/>
                  </a:lnTo>
                  <a:lnTo>
                    <a:pt x="457" y="265"/>
                  </a:lnTo>
                  <a:lnTo>
                    <a:pt x="456" y="266"/>
                  </a:lnTo>
                  <a:lnTo>
                    <a:pt x="455" y="269"/>
                  </a:lnTo>
                  <a:lnTo>
                    <a:pt x="454" y="270"/>
                  </a:lnTo>
                  <a:lnTo>
                    <a:pt x="452" y="272"/>
                  </a:lnTo>
                  <a:lnTo>
                    <a:pt x="452" y="269"/>
                  </a:lnTo>
                  <a:lnTo>
                    <a:pt x="450" y="269"/>
                  </a:lnTo>
                  <a:lnTo>
                    <a:pt x="448" y="269"/>
                  </a:lnTo>
                  <a:lnTo>
                    <a:pt x="448" y="270"/>
                  </a:lnTo>
                  <a:lnTo>
                    <a:pt x="446" y="269"/>
                  </a:lnTo>
                  <a:lnTo>
                    <a:pt x="444" y="269"/>
                  </a:lnTo>
                  <a:lnTo>
                    <a:pt x="442" y="270"/>
                  </a:lnTo>
                  <a:lnTo>
                    <a:pt x="442" y="273"/>
                  </a:lnTo>
                  <a:lnTo>
                    <a:pt x="440" y="272"/>
                  </a:lnTo>
                  <a:lnTo>
                    <a:pt x="439" y="271"/>
                  </a:lnTo>
                  <a:lnTo>
                    <a:pt x="439" y="272"/>
                  </a:lnTo>
                  <a:lnTo>
                    <a:pt x="438" y="273"/>
                  </a:lnTo>
                  <a:lnTo>
                    <a:pt x="439" y="275"/>
                  </a:lnTo>
                  <a:lnTo>
                    <a:pt x="440" y="275"/>
                  </a:lnTo>
                  <a:lnTo>
                    <a:pt x="439" y="277"/>
                  </a:lnTo>
                  <a:lnTo>
                    <a:pt x="439" y="278"/>
                  </a:lnTo>
                  <a:lnTo>
                    <a:pt x="440" y="278"/>
                  </a:lnTo>
                  <a:lnTo>
                    <a:pt x="443" y="278"/>
                  </a:lnTo>
                  <a:lnTo>
                    <a:pt x="443" y="277"/>
                  </a:lnTo>
                  <a:lnTo>
                    <a:pt x="444" y="278"/>
                  </a:lnTo>
                  <a:lnTo>
                    <a:pt x="445" y="277"/>
                  </a:lnTo>
                  <a:lnTo>
                    <a:pt x="445" y="273"/>
                  </a:lnTo>
                  <a:lnTo>
                    <a:pt x="448" y="276"/>
                  </a:lnTo>
                  <a:lnTo>
                    <a:pt x="448" y="277"/>
                  </a:lnTo>
                  <a:lnTo>
                    <a:pt x="450" y="277"/>
                  </a:lnTo>
                  <a:lnTo>
                    <a:pt x="451" y="279"/>
                  </a:lnTo>
                  <a:lnTo>
                    <a:pt x="450" y="279"/>
                  </a:lnTo>
                  <a:lnTo>
                    <a:pt x="449" y="281"/>
                  </a:lnTo>
                  <a:lnTo>
                    <a:pt x="450" y="282"/>
                  </a:lnTo>
                  <a:lnTo>
                    <a:pt x="449" y="282"/>
                  </a:lnTo>
                  <a:lnTo>
                    <a:pt x="448" y="283"/>
                  </a:lnTo>
                  <a:lnTo>
                    <a:pt x="450" y="284"/>
                  </a:lnTo>
                  <a:lnTo>
                    <a:pt x="451" y="283"/>
                  </a:lnTo>
                  <a:lnTo>
                    <a:pt x="451" y="282"/>
                  </a:lnTo>
                  <a:lnTo>
                    <a:pt x="452" y="284"/>
                  </a:lnTo>
                  <a:lnTo>
                    <a:pt x="451" y="287"/>
                  </a:lnTo>
                  <a:lnTo>
                    <a:pt x="450" y="287"/>
                  </a:lnTo>
                  <a:lnTo>
                    <a:pt x="450" y="288"/>
                  </a:lnTo>
                  <a:lnTo>
                    <a:pt x="452" y="288"/>
                  </a:lnTo>
                  <a:lnTo>
                    <a:pt x="454" y="289"/>
                  </a:lnTo>
                  <a:lnTo>
                    <a:pt x="455" y="289"/>
                  </a:lnTo>
                  <a:lnTo>
                    <a:pt x="456" y="290"/>
                  </a:lnTo>
                  <a:lnTo>
                    <a:pt x="456" y="294"/>
                  </a:lnTo>
                  <a:lnTo>
                    <a:pt x="457" y="295"/>
                  </a:lnTo>
                  <a:lnTo>
                    <a:pt x="458" y="295"/>
                  </a:lnTo>
                  <a:lnTo>
                    <a:pt x="461" y="295"/>
                  </a:lnTo>
                  <a:lnTo>
                    <a:pt x="462" y="295"/>
                  </a:lnTo>
                  <a:lnTo>
                    <a:pt x="462" y="293"/>
                  </a:lnTo>
                  <a:lnTo>
                    <a:pt x="463" y="291"/>
                  </a:lnTo>
                  <a:lnTo>
                    <a:pt x="464" y="290"/>
                  </a:lnTo>
                  <a:lnTo>
                    <a:pt x="467" y="290"/>
                  </a:lnTo>
                  <a:lnTo>
                    <a:pt x="466" y="293"/>
                  </a:lnTo>
                  <a:lnTo>
                    <a:pt x="466" y="294"/>
                  </a:lnTo>
                  <a:lnTo>
                    <a:pt x="467" y="294"/>
                  </a:lnTo>
                  <a:lnTo>
                    <a:pt x="466" y="296"/>
                  </a:lnTo>
                  <a:lnTo>
                    <a:pt x="467" y="299"/>
                  </a:lnTo>
                  <a:lnTo>
                    <a:pt x="468" y="300"/>
                  </a:lnTo>
                  <a:lnTo>
                    <a:pt x="468" y="301"/>
                  </a:lnTo>
                  <a:lnTo>
                    <a:pt x="468" y="300"/>
                  </a:lnTo>
                  <a:lnTo>
                    <a:pt x="469" y="301"/>
                  </a:lnTo>
                  <a:lnTo>
                    <a:pt x="469" y="305"/>
                  </a:lnTo>
                  <a:lnTo>
                    <a:pt x="469" y="307"/>
                  </a:lnTo>
                  <a:lnTo>
                    <a:pt x="472" y="307"/>
                  </a:lnTo>
                  <a:lnTo>
                    <a:pt x="473" y="306"/>
                  </a:lnTo>
                  <a:lnTo>
                    <a:pt x="474" y="306"/>
                  </a:lnTo>
                  <a:lnTo>
                    <a:pt x="475" y="307"/>
                  </a:lnTo>
                  <a:lnTo>
                    <a:pt x="478" y="307"/>
                  </a:lnTo>
                  <a:lnTo>
                    <a:pt x="476" y="307"/>
                  </a:lnTo>
                  <a:lnTo>
                    <a:pt x="478" y="306"/>
                  </a:lnTo>
                  <a:lnTo>
                    <a:pt x="479" y="305"/>
                  </a:lnTo>
                  <a:lnTo>
                    <a:pt x="480" y="305"/>
                  </a:lnTo>
                  <a:lnTo>
                    <a:pt x="481" y="307"/>
                  </a:lnTo>
                  <a:lnTo>
                    <a:pt x="480" y="308"/>
                  </a:lnTo>
                  <a:lnTo>
                    <a:pt x="482" y="309"/>
                  </a:lnTo>
                  <a:lnTo>
                    <a:pt x="486" y="312"/>
                  </a:lnTo>
                  <a:lnTo>
                    <a:pt x="485" y="312"/>
                  </a:lnTo>
                  <a:lnTo>
                    <a:pt x="484" y="313"/>
                  </a:lnTo>
                  <a:lnTo>
                    <a:pt x="485" y="314"/>
                  </a:lnTo>
                  <a:lnTo>
                    <a:pt x="486" y="314"/>
                  </a:lnTo>
                  <a:lnTo>
                    <a:pt x="486" y="319"/>
                  </a:lnTo>
                  <a:lnTo>
                    <a:pt x="484" y="321"/>
                  </a:lnTo>
                  <a:lnTo>
                    <a:pt x="482" y="321"/>
                  </a:lnTo>
                  <a:lnTo>
                    <a:pt x="482" y="323"/>
                  </a:lnTo>
                  <a:lnTo>
                    <a:pt x="479" y="326"/>
                  </a:lnTo>
                  <a:lnTo>
                    <a:pt x="476" y="327"/>
                  </a:lnTo>
                  <a:lnTo>
                    <a:pt x="475" y="329"/>
                  </a:lnTo>
                  <a:lnTo>
                    <a:pt x="474" y="329"/>
                  </a:lnTo>
                  <a:lnTo>
                    <a:pt x="473" y="330"/>
                  </a:lnTo>
                  <a:lnTo>
                    <a:pt x="475" y="331"/>
                  </a:lnTo>
                  <a:lnTo>
                    <a:pt x="481" y="333"/>
                  </a:lnTo>
                  <a:lnTo>
                    <a:pt x="485" y="333"/>
                  </a:lnTo>
                  <a:lnTo>
                    <a:pt x="486" y="335"/>
                  </a:lnTo>
                  <a:lnTo>
                    <a:pt x="488" y="337"/>
                  </a:lnTo>
                  <a:lnTo>
                    <a:pt x="488" y="339"/>
                  </a:lnTo>
                  <a:lnTo>
                    <a:pt x="487" y="338"/>
                  </a:lnTo>
                  <a:lnTo>
                    <a:pt x="485" y="337"/>
                  </a:lnTo>
                  <a:lnTo>
                    <a:pt x="482" y="336"/>
                  </a:lnTo>
                  <a:lnTo>
                    <a:pt x="481" y="336"/>
                  </a:lnTo>
                  <a:lnTo>
                    <a:pt x="481" y="335"/>
                  </a:lnTo>
                  <a:lnTo>
                    <a:pt x="479" y="333"/>
                  </a:lnTo>
                  <a:lnTo>
                    <a:pt x="474" y="332"/>
                  </a:lnTo>
                  <a:lnTo>
                    <a:pt x="474" y="333"/>
                  </a:lnTo>
                  <a:lnTo>
                    <a:pt x="473" y="335"/>
                  </a:lnTo>
                  <a:lnTo>
                    <a:pt x="472" y="336"/>
                  </a:lnTo>
                  <a:lnTo>
                    <a:pt x="472" y="337"/>
                  </a:lnTo>
                  <a:lnTo>
                    <a:pt x="470" y="339"/>
                  </a:lnTo>
                  <a:lnTo>
                    <a:pt x="469" y="339"/>
                  </a:lnTo>
                  <a:lnTo>
                    <a:pt x="468" y="341"/>
                  </a:lnTo>
                  <a:lnTo>
                    <a:pt x="467" y="341"/>
                  </a:lnTo>
                  <a:lnTo>
                    <a:pt x="468" y="337"/>
                  </a:lnTo>
                  <a:lnTo>
                    <a:pt x="468" y="335"/>
                  </a:lnTo>
                  <a:lnTo>
                    <a:pt x="468" y="332"/>
                  </a:lnTo>
                  <a:lnTo>
                    <a:pt x="470" y="331"/>
                  </a:lnTo>
                  <a:lnTo>
                    <a:pt x="472" y="330"/>
                  </a:lnTo>
                  <a:lnTo>
                    <a:pt x="469" y="330"/>
                  </a:lnTo>
                  <a:lnTo>
                    <a:pt x="468" y="330"/>
                  </a:lnTo>
                  <a:lnTo>
                    <a:pt x="467" y="332"/>
                  </a:lnTo>
                  <a:lnTo>
                    <a:pt x="467" y="333"/>
                  </a:lnTo>
                  <a:lnTo>
                    <a:pt x="466" y="335"/>
                  </a:lnTo>
                  <a:lnTo>
                    <a:pt x="466" y="332"/>
                  </a:lnTo>
                  <a:lnTo>
                    <a:pt x="467" y="329"/>
                  </a:lnTo>
                  <a:lnTo>
                    <a:pt x="464" y="330"/>
                  </a:lnTo>
                  <a:lnTo>
                    <a:pt x="464" y="331"/>
                  </a:lnTo>
                  <a:lnTo>
                    <a:pt x="463" y="332"/>
                  </a:lnTo>
                  <a:lnTo>
                    <a:pt x="462" y="330"/>
                  </a:lnTo>
                  <a:lnTo>
                    <a:pt x="461" y="329"/>
                  </a:lnTo>
                  <a:lnTo>
                    <a:pt x="460" y="327"/>
                  </a:lnTo>
                  <a:lnTo>
                    <a:pt x="458" y="327"/>
                  </a:lnTo>
                  <a:lnTo>
                    <a:pt x="457" y="326"/>
                  </a:lnTo>
                  <a:lnTo>
                    <a:pt x="457" y="324"/>
                  </a:lnTo>
                  <a:lnTo>
                    <a:pt x="455" y="325"/>
                  </a:lnTo>
                  <a:lnTo>
                    <a:pt x="454" y="326"/>
                  </a:lnTo>
                  <a:lnTo>
                    <a:pt x="454" y="325"/>
                  </a:lnTo>
                  <a:lnTo>
                    <a:pt x="455" y="323"/>
                  </a:lnTo>
                  <a:lnTo>
                    <a:pt x="454" y="321"/>
                  </a:lnTo>
                  <a:lnTo>
                    <a:pt x="450" y="321"/>
                  </a:lnTo>
                  <a:lnTo>
                    <a:pt x="450" y="319"/>
                  </a:lnTo>
                  <a:lnTo>
                    <a:pt x="449" y="319"/>
                  </a:lnTo>
                  <a:lnTo>
                    <a:pt x="448" y="320"/>
                  </a:lnTo>
                  <a:lnTo>
                    <a:pt x="446" y="319"/>
                  </a:lnTo>
                  <a:lnTo>
                    <a:pt x="450" y="318"/>
                  </a:lnTo>
                  <a:lnTo>
                    <a:pt x="450" y="317"/>
                  </a:lnTo>
                  <a:lnTo>
                    <a:pt x="448" y="315"/>
                  </a:lnTo>
                  <a:lnTo>
                    <a:pt x="449" y="314"/>
                  </a:lnTo>
                  <a:lnTo>
                    <a:pt x="448" y="315"/>
                  </a:lnTo>
                  <a:lnTo>
                    <a:pt x="446" y="314"/>
                  </a:lnTo>
                  <a:lnTo>
                    <a:pt x="445" y="312"/>
                  </a:lnTo>
                  <a:lnTo>
                    <a:pt x="443" y="312"/>
                  </a:lnTo>
                  <a:lnTo>
                    <a:pt x="444" y="317"/>
                  </a:lnTo>
                  <a:lnTo>
                    <a:pt x="444" y="324"/>
                  </a:lnTo>
                  <a:lnTo>
                    <a:pt x="444" y="325"/>
                  </a:lnTo>
                  <a:lnTo>
                    <a:pt x="445" y="327"/>
                  </a:lnTo>
                  <a:lnTo>
                    <a:pt x="445" y="330"/>
                  </a:lnTo>
                  <a:lnTo>
                    <a:pt x="444" y="329"/>
                  </a:lnTo>
                  <a:lnTo>
                    <a:pt x="443" y="325"/>
                  </a:lnTo>
                  <a:lnTo>
                    <a:pt x="443" y="321"/>
                  </a:lnTo>
                  <a:lnTo>
                    <a:pt x="442" y="323"/>
                  </a:lnTo>
                  <a:lnTo>
                    <a:pt x="439" y="326"/>
                  </a:lnTo>
                  <a:lnTo>
                    <a:pt x="439" y="327"/>
                  </a:lnTo>
                  <a:lnTo>
                    <a:pt x="440" y="331"/>
                  </a:lnTo>
                  <a:lnTo>
                    <a:pt x="438" y="333"/>
                  </a:lnTo>
                  <a:lnTo>
                    <a:pt x="434" y="337"/>
                  </a:lnTo>
                  <a:lnTo>
                    <a:pt x="433" y="338"/>
                  </a:lnTo>
                  <a:lnTo>
                    <a:pt x="438" y="343"/>
                  </a:lnTo>
                  <a:lnTo>
                    <a:pt x="440" y="344"/>
                  </a:lnTo>
                  <a:lnTo>
                    <a:pt x="440" y="343"/>
                  </a:lnTo>
                  <a:lnTo>
                    <a:pt x="444" y="344"/>
                  </a:lnTo>
                  <a:lnTo>
                    <a:pt x="445" y="345"/>
                  </a:lnTo>
                  <a:lnTo>
                    <a:pt x="444" y="347"/>
                  </a:lnTo>
                  <a:lnTo>
                    <a:pt x="445" y="347"/>
                  </a:lnTo>
                  <a:lnTo>
                    <a:pt x="446" y="347"/>
                  </a:lnTo>
                  <a:lnTo>
                    <a:pt x="448" y="347"/>
                  </a:lnTo>
                  <a:lnTo>
                    <a:pt x="449" y="344"/>
                  </a:lnTo>
                  <a:lnTo>
                    <a:pt x="449" y="342"/>
                  </a:lnTo>
                  <a:lnTo>
                    <a:pt x="450" y="341"/>
                  </a:lnTo>
                  <a:lnTo>
                    <a:pt x="452" y="343"/>
                  </a:lnTo>
                  <a:lnTo>
                    <a:pt x="451" y="347"/>
                  </a:lnTo>
                  <a:lnTo>
                    <a:pt x="451" y="349"/>
                  </a:lnTo>
                  <a:lnTo>
                    <a:pt x="452" y="347"/>
                  </a:lnTo>
                  <a:lnTo>
                    <a:pt x="454" y="347"/>
                  </a:lnTo>
                  <a:lnTo>
                    <a:pt x="454" y="349"/>
                  </a:lnTo>
                  <a:lnTo>
                    <a:pt x="455" y="348"/>
                  </a:lnTo>
                  <a:lnTo>
                    <a:pt x="456" y="348"/>
                  </a:lnTo>
                  <a:lnTo>
                    <a:pt x="456" y="350"/>
                  </a:lnTo>
                  <a:lnTo>
                    <a:pt x="452" y="350"/>
                  </a:lnTo>
                  <a:lnTo>
                    <a:pt x="452" y="352"/>
                  </a:lnTo>
                  <a:lnTo>
                    <a:pt x="454" y="353"/>
                  </a:lnTo>
                  <a:lnTo>
                    <a:pt x="455" y="354"/>
                  </a:lnTo>
                  <a:lnTo>
                    <a:pt x="456" y="356"/>
                  </a:lnTo>
                  <a:lnTo>
                    <a:pt x="455" y="359"/>
                  </a:lnTo>
                  <a:lnTo>
                    <a:pt x="454" y="358"/>
                  </a:lnTo>
                  <a:lnTo>
                    <a:pt x="454" y="359"/>
                  </a:lnTo>
                  <a:lnTo>
                    <a:pt x="452" y="362"/>
                  </a:lnTo>
                  <a:lnTo>
                    <a:pt x="451" y="361"/>
                  </a:lnTo>
                  <a:lnTo>
                    <a:pt x="449" y="359"/>
                  </a:lnTo>
                  <a:lnTo>
                    <a:pt x="450" y="356"/>
                  </a:lnTo>
                  <a:lnTo>
                    <a:pt x="450" y="353"/>
                  </a:lnTo>
                  <a:lnTo>
                    <a:pt x="449" y="354"/>
                  </a:lnTo>
                  <a:lnTo>
                    <a:pt x="448" y="355"/>
                  </a:lnTo>
                  <a:lnTo>
                    <a:pt x="446" y="355"/>
                  </a:lnTo>
                  <a:lnTo>
                    <a:pt x="446" y="352"/>
                  </a:lnTo>
                  <a:lnTo>
                    <a:pt x="445" y="352"/>
                  </a:lnTo>
                  <a:lnTo>
                    <a:pt x="444" y="352"/>
                  </a:lnTo>
                  <a:lnTo>
                    <a:pt x="443" y="348"/>
                  </a:lnTo>
                  <a:lnTo>
                    <a:pt x="443" y="347"/>
                  </a:lnTo>
                  <a:lnTo>
                    <a:pt x="443" y="349"/>
                  </a:lnTo>
                  <a:lnTo>
                    <a:pt x="439" y="349"/>
                  </a:lnTo>
                  <a:lnTo>
                    <a:pt x="439" y="348"/>
                  </a:lnTo>
                  <a:lnTo>
                    <a:pt x="440" y="347"/>
                  </a:lnTo>
                  <a:lnTo>
                    <a:pt x="440" y="345"/>
                  </a:lnTo>
                  <a:lnTo>
                    <a:pt x="437" y="343"/>
                  </a:lnTo>
                  <a:lnTo>
                    <a:pt x="434" y="341"/>
                  </a:lnTo>
                  <a:lnTo>
                    <a:pt x="433" y="343"/>
                  </a:lnTo>
                  <a:lnTo>
                    <a:pt x="434" y="344"/>
                  </a:lnTo>
                  <a:lnTo>
                    <a:pt x="436" y="348"/>
                  </a:lnTo>
                  <a:lnTo>
                    <a:pt x="437" y="350"/>
                  </a:lnTo>
                  <a:lnTo>
                    <a:pt x="434" y="355"/>
                  </a:lnTo>
                  <a:lnTo>
                    <a:pt x="433" y="356"/>
                  </a:lnTo>
                  <a:lnTo>
                    <a:pt x="433" y="359"/>
                  </a:lnTo>
                  <a:lnTo>
                    <a:pt x="432" y="361"/>
                  </a:lnTo>
                  <a:lnTo>
                    <a:pt x="432" y="362"/>
                  </a:lnTo>
                  <a:lnTo>
                    <a:pt x="433" y="365"/>
                  </a:lnTo>
                  <a:lnTo>
                    <a:pt x="434" y="365"/>
                  </a:lnTo>
                  <a:lnTo>
                    <a:pt x="436" y="362"/>
                  </a:lnTo>
                  <a:lnTo>
                    <a:pt x="437" y="361"/>
                  </a:lnTo>
                  <a:lnTo>
                    <a:pt x="439" y="362"/>
                  </a:lnTo>
                  <a:lnTo>
                    <a:pt x="439" y="365"/>
                  </a:lnTo>
                  <a:lnTo>
                    <a:pt x="442" y="365"/>
                  </a:lnTo>
                  <a:lnTo>
                    <a:pt x="444" y="366"/>
                  </a:lnTo>
                  <a:lnTo>
                    <a:pt x="445" y="367"/>
                  </a:lnTo>
                  <a:lnTo>
                    <a:pt x="446" y="366"/>
                  </a:lnTo>
                  <a:lnTo>
                    <a:pt x="448" y="365"/>
                  </a:lnTo>
                  <a:lnTo>
                    <a:pt x="450" y="364"/>
                  </a:lnTo>
                  <a:lnTo>
                    <a:pt x="452" y="365"/>
                  </a:lnTo>
                  <a:lnTo>
                    <a:pt x="449" y="365"/>
                  </a:lnTo>
                  <a:lnTo>
                    <a:pt x="448" y="367"/>
                  </a:lnTo>
                  <a:lnTo>
                    <a:pt x="448" y="368"/>
                  </a:lnTo>
                  <a:lnTo>
                    <a:pt x="449" y="368"/>
                  </a:lnTo>
                  <a:lnTo>
                    <a:pt x="452" y="368"/>
                  </a:lnTo>
                  <a:lnTo>
                    <a:pt x="454" y="368"/>
                  </a:lnTo>
                  <a:lnTo>
                    <a:pt x="455" y="367"/>
                  </a:lnTo>
                  <a:lnTo>
                    <a:pt x="456" y="367"/>
                  </a:lnTo>
                  <a:lnTo>
                    <a:pt x="458" y="367"/>
                  </a:lnTo>
                  <a:lnTo>
                    <a:pt x="458" y="366"/>
                  </a:lnTo>
                  <a:lnTo>
                    <a:pt x="460" y="367"/>
                  </a:lnTo>
                  <a:lnTo>
                    <a:pt x="460" y="370"/>
                  </a:lnTo>
                  <a:lnTo>
                    <a:pt x="457" y="373"/>
                  </a:lnTo>
                  <a:lnTo>
                    <a:pt x="458" y="374"/>
                  </a:lnTo>
                  <a:lnTo>
                    <a:pt x="460" y="376"/>
                  </a:lnTo>
                  <a:lnTo>
                    <a:pt x="458" y="380"/>
                  </a:lnTo>
                  <a:lnTo>
                    <a:pt x="457" y="384"/>
                  </a:lnTo>
                  <a:lnTo>
                    <a:pt x="456" y="385"/>
                  </a:lnTo>
                  <a:lnTo>
                    <a:pt x="456" y="388"/>
                  </a:lnTo>
                  <a:lnTo>
                    <a:pt x="455" y="389"/>
                  </a:lnTo>
                  <a:lnTo>
                    <a:pt x="457" y="390"/>
                  </a:lnTo>
                  <a:lnTo>
                    <a:pt x="456" y="395"/>
                  </a:lnTo>
                  <a:lnTo>
                    <a:pt x="456" y="396"/>
                  </a:lnTo>
                  <a:lnTo>
                    <a:pt x="454" y="396"/>
                  </a:lnTo>
                  <a:lnTo>
                    <a:pt x="454" y="397"/>
                  </a:lnTo>
                  <a:lnTo>
                    <a:pt x="454" y="400"/>
                  </a:lnTo>
                  <a:lnTo>
                    <a:pt x="452" y="400"/>
                  </a:lnTo>
                  <a:lnTo>
                    <a:pt x="452" y="398"/>
                  </a:lnTo>
                  <a:lnTo>
                    <a:pt x="452" y="401"/>
                  </a:lnTo>
                  <a:lnTo>
                    <a:pt x="454" y="402"/>
                  </a:lnTo>
                  <a:lnTo>
                    <a:pt x="455" y="402"/>
                  </a:lnTo>
                  <a:lnTo>
                    <a:pt x="455" y="400"/>
                  </a:lnTo>
                  <a:lnTo>
                    <a:pt x="455" y="398"/>
                  </a:lnTo>
                  <a:lnTo>
                    <a:pt x="456" y="398"/>
                  </a:lnTo>
                  <a:lnTo>
                    <a:pt x="457" y="402"/>
                  </a:lnTo>
                  <a:lnTo>
                    <a:pt x="457" y="404"/>
                  </a:lnTo>
                  <a:lnTo>
                    <a:pt x="458" y="406"/>
                  </a:lnTo>
                  <a:lnTo>
                    <a:pt x="460" y="407"/>
                  </a:lnTo>
                  <a:lnTo>
                    <a:pt x="461" y="408"/>
                  </a:lnTo>
                  <a:lnTo>
                    <a:pt x="461" y="409"/>
                  </a:lnTo>
                  <a:lnTo>
                    <a:pt x="461" y="410"/>
                  </a:lnTo>
                  <a:lnTo>
                    <a:pt x="462" y="410"/>
                  </a:lnTo>
                  <a:lnTo>
                    <a:pt x="462" y="412"/>
                  </a:lnTo>
                  <a:lnTo>
                    <a:pt x="463" y="412"/>
                  </a:lnTo>
                  <a:lnTo>
                    <a:pt x="464" y="412"/>
                  </a:lnTo>
                  <a:lnTo>
                    <a:pt x="466" y="413"/>
                  </a:lnTo>
                  <a:lnTo>
                    <a:pt x="468" y="415"/>
                  </a:lnTo>
                  <a:lnTo>
                    <a:pt x="466" y="415"/>
                  </a:lnTo>
                  <a:lnTo>
                    <a:pt x="464" y="415"/>
                  </a:lnTo>
                  <a:lnTo>
                    <a:pt x="463" y="414"/>
                  </a:lnTo>
                  <a:lnTo>
                    <a:pt x="463" y="415"/>
                  </a:lnTo>
                  <a:lnTo>
                    <a:pt x="466" y="418"/>
                  </a:lnTo>
                  <a:lnTo>
                    <a:pt x="468" y="419"/>
                  </a:lnTo>
                  <a:lnTo>
                    <a:pt x="468" y="421"/>
                  </a:lnTo>
                  <a:lnTo>
                    <a:pt x="466" y="420"/>
                  </a:lnTo>
                  <a:lnTo>
                    <a:pt x="463" y="418"/>
                  </a:lnTo>
                  <a:lnTo>
                    <a:pt x="463" y="419"/>
                  </a:lnTo>
                  <a:lnTo>
                    <a:pt x="461" y="419"/>
                  </a:lnTo>
                  <a:lnTo>
                    <a:pt x="461" y="420"/>
                  </a:lnTo>
                  <a:lnTo>
                    <a:pt x="458" y="422"/>
                  </a:lnTo>
                  <a:lnTo>
                    <a:pt x="456" y="424"/>
                  </a:lnTo>
                  <a:lnTo>
                    <a:pt x="455" y="425"/>
                  </a:lnTo>
                  <a:lnTo>
                    <a:pt x="455" y="421"/>
                  </a:lnTo>
                  <a:lnTo>
                    <a:pt x="455" y="420"/>
                  </a:lnTo>
                  <a:lnTo>
                    <a:pt x="456" y="418"/>
                  </a:lnTo>
                  <a:lnTo>
                    <a:pt x="457" y="415"/>
                  </a:lnTo>
                  <a:lnTo>
                    <a:pt x="456" y="414"/>
                  </a:lnTo>
                  <a:lnTo>
                    <a:pt x="455" y="416"/>
                  </a:lnTo>
                  <a:lnTo>
                    <a:pt x="454" y="416"/>
                  </a:lnTo>
                  <a:lnTo>
                    <a:pt x="452" y="413"/>
                  </a:lnTo>
                  <a:lnTo>
                    <a:pt x="451" y="412"/>
                  </a:lnTo>
                  <a:lnTo>
                    <a:pt x="451" y="415"/>
                  </a:lnTo>
                  <a:lnTo>
                    <a:pt x="449" y="415"/>
                  </a:lnTo>
                  <a:lnTo>
                    <a:pt x="449" y="418"/>
                  </a:lnTo>
                  <a:lnTo>
                    <a:pt x="450" y="420"/>
                  </a:lnTo>
                  <a:lnTo>
                    <a:pt x="448" y="418"/>
                  </a:lnTo>
                  <a:lnTo>
                    <a:pt x="449" y="420"/>
                  </a:lnTo>
                  <a:lnTo>
                    <a:pt x="450" y="421"/>
                  </a:lnTo>
                  <a:lnTo>
                    <a:pt x="448" y="420"/>
                  </a:lnTo>
                  <a:lnTo>
                    <a:pt x="448" y="421"/>
                  </a:lnTo>
                  <a:lnTo>
                    <a:pt x="446" y="422"/>
                  </a:lnTo>
                  <a:lnTo>
                    <a:pt x="445" y="425"/>
                  </a:lnTo>
                  <a:lnTo>
                    <a:pt x="444" y="426"/>
                  </a:lnTo>
                  <a:lnTo>
                    <a:pt x="443" y="428"/>
                  </a:lnTo>
                  <a:lnTo>
                    <a:pt x="442" y="427"/>
                  </a:lnTo>
                  <a:lnTo>
                    <a:pt x="442" y="425"/>
                  </a:lnTo>
                  <a:lnTo>
                    <a:pt x="440" y="427"/>
                  </a:lnTo>
                  <a:lnTo>
                    <a:pt x="440" y="428"/>
                  </a:lnTo>
                  <a:lnTo>
                    <a:pt x="439" y="426"/>
                  </a:lnTo>
                  <a:lnTo>
                    <a:pt x="438" y="426"/>
                  </a:lnTo>
                  <a:lnTo>
                    <a:pt x="438" y="428"/>
                  </a:lnTo>
                  <a:lnTo>
                    <a:pt x="438" y="431"/>
                  </a:lnTo>
                  <a:lnTo>
                    <a:pt x="437" y="430"/>
                  </a:lnTo>
                  <a:lnTo>
                    <a:pt x="436" y="431"/>
                  </a:lnTo>
                  <a:lnTo>
                    <a:pt x="434" y="432"/>
                  </a:lnTo>
                  <a:lnTo>
                    <a:pt x="433" y="432"/>
                  </a:lnTo>
                  <a:lnTo>
                    <a:pt x="432" y="433"/>
                  </a:lnTo>
                  <a:lnTo>
                    <a:pt x="431" y="432"/>
                  </a:lnTo>
                  <a:lnTo>
                    <a:pt x="431" y="433"/>
                  </a:lnTo>
                  <a:lnTo>
                    <a:pt x="429" y="433"/>
                  </a:lnTo>
                  <a:lnTo>
                    <a:pt x="429" y="431"/>
                  </a:lnTo>
                  <a:lnTo>
                    <a:pt x="428" y="428"/>
                  </a:lnTo>
                  <a:lnTo>
                    <a:pt x="428" y="426"/>
                  </a:lnTo>
                  <a:lnTo>
                    <a:pt x="427" y="426"/>
                  </a:lnTo>
                  <a:lnTo>
                    <a:pt x="427" y="428"/>
                  </a:lnTo>
                  <a:lnTo>
                    <a:pt x="426" y="431"/>
                  </a:lnTo>
                  <a:lnTo>
                    <a:pt x="426" y="433"/>
                  </a:lnTo>
                  <a:lnTo>
                    <a:pt x="428" y="436"/>
                  </a:lnTo>
                  <a:lnTo>
                    <a:pt x="428" y="439"/>
                  </a:lnTo>
                  <a:lnTo>
                    <a:pt x="429" y="440"/>
                  </a:lnTo>
                  <a:lnTo>
                    <a:pt x="428" y="440"/>
                  </a:lnTo>
                  <a:lnTo>
                    <a:pt x="426" y="438"/>
                  </a:lnTo>
                  <a:lnTo>
                    <a:pt x="425" y="438"/>
                  </a:lnTo>
                  <a:lnTo>
                    <a:pt x="423" y="439"/>
                  </a:lnTo>
                  <a:lnTo>
                    <a:pt x="425" y="442"/>
                  </a:lnTo>
                  <a:lnTo>
                    <a:pt x="423" y="444"/>
                  </a:lnTo>
                  <a:lnTo>
                    <a:pt x="423" y="445"/>
                  </a:lnTo>
                  <a:lnTo>
                    <a:pt x="422" y="444"/>
                  </a:lnTo>
                  <a:lnTo>
                    <a:pt x="421" y="445"/>
                  </a:lnTo>
                  <a:lnTo>
                    <a:pt x="419" y="448"/>
                  </a:lnTo>
                  <a:lnTo>
                    <a:pt x="419" y="451"/>
                  </a:lnTo>
                  <a:lnTo>
                    <a:pt x="420" y="455"/>
                  </a:lnTo>
                  <a:lnTo>
                    <a:pt x="422" y="458"/>
                  </a:lnTo>
                  <a:lnTo>
                    <a:pt x="421" y="460"/>
                  </a:lnTo>
                  <a:lnTo>
                    <a:pt x="420" y="461"/>
                  </a:lnTo>
                  <a:lnTo>
                    <a:pt x="419" y="463"/>
                  </a:lnTo>
                  <a:lnTo>
                    <a:pt x="417" y="467"/>
                  </a:lnTo>
                  <a:lnTo>
                    <a:pt x="415" y="469"/>
                  </a:lnTo>
                  <a:lnTo>
                    <a:pt x="414" y="472"/>
                  </a:lnTo>
                  <a:lnTo>
                    <a:pt x="414" y="468"/>
                  </a:lnTo>
                  <a:lnTo>
                    <a:pt x="413" y="466"/>
                  </a:lnTo>
                  <a:lnTo>
                    <a:pt x="411" y="463"/>
                  </a:lnTo>
                  <a:lnTo>
                    <a:pt x="410" y="463"/>
                  </a:lnTo>
                  <a:lnTo>
                    <a:pt x="408" y="465"/>
                  </a:lnTo>
                  <a:lnTo>
                    <a:pt x="409" y="462"/>
                  </a:lnTo>
                  <a:lnTo>
                    <a:pt x="408" y="462"/>
                  </a:lnTo>
                  <a:lnTo>
                    <a:pt x="407" y="465"/>
                  </a:lnTo>
                  <a:lnTo>
                    <a:pt x="405" y="467"/>
                  </a:lnTo>
                  <a:lnTo>
                    <a:pt x="405" y="463"/>
                  </a:lnTo>
                  <a:lnTo>
                    <a:pt x="404" y="461"/>
                  </a:lnTo>
                  <a:lnTo>
                    <a:pt x="405" y="458"/>
                  </a:lnTo>
                  <a:lnTo>
                    <a:pt x="407" y="458"/>
                  </a:lnTo>
                  <a:lnTo>
                    <a:pt x="408" y="460"/>
                  </a:lnTo>
                  <a:lnTo>
                    <a:pt x="409" y="458"/>
                  </a:lnTo>
                  <a:lnTo>
                    <a:pt x="410" y="455"/>
                  </a:lnTo>
                  <a:lnTo>
                    <a:pt x="410" y="451"/>
                  </a:lnTo>
                  <a:lnTo>
                    <a:pt x="411" y="449"/>
                  </a:lnTo>
                  <a:lnTo>
                    <a:pt x="409" y="449"/>
                  </a:lnTo>
                  <a:lnTo>
                    <a:pt x="407" y="448"/>
                  </a:lnTo>
                  <a:lnTo>
                    <a:pt x="405" y="450"/>
                  </a:lnTo>
                  <a:lnTo>
                    <a:pt x="405" y="448"/>
                  </a:lnTo>
                  <a:lnTo>
                    <a:pt x="407" y="446"/>
                  </a:lnTo>
                  <a:lnTo>
                    <a:pt x="404" y="449"/>
                  </a:lnTo>
                  <a:lnTo>
                    <a:pt x="402" y="450"/>
                  </a:lnTo>
                  <a:lnTo>
                    <a:pt x="401" y="454"/>
                  </a:lnTo>
                  <a:lnTo>
                    <a:pt x="398" y="455"/>
                  </a:lnTo>
                  <a:lnTo>
                    <a:pt x="396" y="455"/>
                  </a:lnTo>
                  <a:lnTo>
                    <a:pt x="396" y="454"/>
                  </a:lnTo>
                  <a:lnTo>
                    <a:pt x="396" y="452"/>
                  </a:lnTo>
                  <a:lnTo>
                    <a:pt x="393" y="455"/>
                  </a:lnTo>
                  <a:lnTo>
                    <a:pt x="393" y="456"/>
                  </a:lnTo>
                  <a:lnTo>
                    <a:pt x="393" y="458"/>
                  </a:lnTo>
                  <a:lnTo>
                    <a:pt x="393" y="460"/>
                  </a:lnTo>
                  <a:lnTo>
                    <a:pt x="392" y="462"/>
                  </a:lnTo>
                  <a:lnTo>
                    <a:pt x="391" y="463"/>
                  </a:lnTo>
                  <a:lnTo>
                    <a:pt x="390" y="466"/>
                  </a:lnTo>
                  <a:lnTo>
                    <a:pt x="389" y="467"/>
                  </a:lnTo>
                  <a:lnTo>
                    <a:pt x="387" y="469"/>
                  </a:lnTo>
                  <a:lnTo>
                    <a:pt x="386" y="471"/>
                  </a:lnTo>
                  <a:lnTo>
                    <a:pt x="385" y="473"/>
                  </a:lnTo>
                  <a:lnTo>
                    <a:pt x="385" y="474"/>
                  </a:lnTo>
                  <a:lnTo>
                    <a:pt x="384" y="472"/>
                  </a:lnTo>
                  <a:lnTo>
                    <a:pt x="384" y="473"/>
                  </a:lnTo>
                  <a:lnTo>
                    <a:pt x="381" y="473"/>
                  </a:lnTo>
                  <a:lnTo>
                    <a:pt x="379" y="473"/>
                  </a:lnTo>
                  <a:lnTo>
                    <a:pt x="379" y="472"/>
                  </a:lnTo>
                  <a:lnTo>
                    <a:pt x="381" y="469"/>
                  </a:lnTo>
                  <a:lnTo>
                    <a:pt x="380" y="467"/>
                  </a:lnTo>
                  <a:lnTo>
                    <a:pt x="379" y="467"/>
                  </a:lnTo>
                  <a:lnTo>
                    <a:pt x="381" y="466"/>
                  </a:lnTo>
                  <a:lnTo>
                    <a:pt x="380" y="466"/>
                  </a:lnTo>
                  <a:lnTo>
                    <a:pt x="381" y="465"/>
                  </a:lnTo>
                  <a:lnTo>
                    <a:pt x="383" y="462"/>
                  </a:lnTo>
                  <a:lnTo>
                    <a:pt x="381" y="463"/>
                  </a:lnTo>
                  <a:lnTo>
                    <a:pt x="381" y="461"/>
                  </a:lnTo>
                  <a:lnTo>
                    <a:pt x="383" y="458"/>
                  </a:lnTo>
                  <a:lnTo>
                    <a:pt x="381" y="456"/>
                  </a:lnTo>
                  <a:lnTo>
                    <a:pt x="381" y="449"/>
                  </a:lnTo>
                  <a:lnTo>
                    <a:pt x="383" y="438"/>
                  </a:lnTo>
                  <a:lnTo>
                    <a:pt x="381" y="428"/>
                  </a:lnTo>
                  <a:lnTo>
                    <a:pt x="379" y="432"/>
                  </a:lnTo>
                  <a:lnTo>
                    <a:pt x="378" y="438"/>
                  </a:lnTo>
                  <a:lnTo>
                    <a:pt x="379" y="439"/>
                  </a:lnTo>
                  <a:lnTo>
                    <a:pt x="377" y="438"/>
                  </a:lnTo>
                  <a:lnTo>
                    <a:pt x="370" y="439"/>
                  </a:lnTo>
                  <a:lnTo>
                    <a:pt x="377" y="438"/>
                  </a:lnTo>
                  <a:lnTo>
                    <a:pt x="380" y="430"/>
                  </a:lnTo>
                  <a:lnTo>
                    <a:pt x="378" y="430"/>
                  </a:lnTo>
                  <a:lnTo>
                    <a:pt x="374" y="430"/>
                  </a:lnTo>
                  <a:lnTo>
                    <a:pt x="373" y="430"/>
                  </a:lnTo>
                  <a:lnTo>
                    <a:pt x="370" y="431"/>
                  </a:lnTo>
                  <a:lnTo>
                    <a:pt x="369" y="431"/>
                  </a:lnTo>
                  <a:lnTo>
                    <a:pt x="367" y="430"/>
                  </a:lnTo>
                  <a:lnTo>
                    <a:pt x="366" y="427"/>
                  </a:lnTo>
                  <a:lnTo>
                    <a:pt x="367" y="425"/>
                  </a:lnTo>
                  <a:lnTo>
                    <a:pt x="364" y="426"/>
                  </a:lnTo>
                  <a:lnTo>
                    <a:pt x="362" y="427"/>
                  </a:lnTo>
                  <a:lnTo>
                    <a:pt x="361" y="426"/>
                  </a:lnTo>
                  <a:lnTo>
                    <a:pt x="357" y="427"/>
                  </a:lnTo>
                  <a:lnTo>
                    <a:pt x="358" y="431"/>
                  </a:lnTo>
                  <a:lnTo>
                    <a:pt x="358" y="433"/>
                  </a:lnTo>
                  <a:lnTo>
                    <a:pt x="360" y="434"/>
                  </a:lnTo>
                  <a:lnTo>
                    <a:pt x="360" y="436"/>
                  </a:lnTo>
                  <a:lnTo>
                    <a:pt x="358" y="437"/>
                  </a:lnTo>
                  <a:lnTo>
                    <a:pt x="358" y="439"/>
                  </a:lnTo>
                  <a:lnTo>
                    <a:pt x="360" y="442"/>
                  </a:lnTo>
                  <a:lnTo>
                    <a:pt x="361" y="445"/>
                  </a:lnTo>
                  <a:lnTo>
                    <a:pt x="358" y="440"/>
                  </a:lnTo>
                  <a:lnTo>
                    <a:pt x="357" y="442"/>
                  </a:lnTo>
                  <a:lnTo>
                    <a:pt x="356" y="443"/>
                  </a:lnTo>
                  <a:lnTo>
                    <a:pt x="357" y="448"/>
                  </a:lnTo>
                  <a:lnTo>
                    <a:pt x="355" y="451"/>
                  </a:lnTo>
                  <a:lnTo>
                    <a:pt x="352" y="454"/>
                  </a:lnTo>
                  <a:lnTo>
                    <a:pt x="355" y="449"/>
                  </a:lnTo>
                  <a:lnTo>
                    <a:pt x="355" y="446"/>
                  </a:lnTo>
                  <a:lnTo>
                    <a:pt x="355" y="444"/>
                  </a:lnTo>
                  <a:lnTo>
                    <a:pt x="352" y="444"/>
                  </a:lnTo>
                  <a:lnTo>
                    <a:pt x="352" y="446"/>
                  </a:lnTo>
                  <a:lnTo>
                    <a:pt x="352" y="448"/>
                  </a:lnTo>
                  <a:lnTo>
                    <a:pt x="351" y="450"/>
                  </a:lnTo>
                  <a:lnTo>
                    <a:pt x="351" y="448"/>
                  </a:lnTo>
                  <a:lnTo>
                    <a:pt x="350" y="448"/>
                  </a:lnTo>
                  <a:lnTo>
                    <a:pt x="350" y="450"/>
                  </a:lnTo>
                  <a:lnTo>
                    <a:pt x="350" y="454"/>
                  </a:lnTo>
                  <a:lnTo>
                    <a:pt x="351" y="455"/>
                  </a:lnTo>
                  <a:lnTo>
                    <a:pt x="349" y="460"/>
                  </a:lnTo>
                  <a:lnTo>
                    <a:pt x="346" y="461"/>
                  </a:lnTo>
                  <a:lnTo>
                    <a:pt x="349" y="456"/>
                  </a:lnTo>
                  <a:lnTo>
                    <a:pt x="349" y="454"/>
                  </a:lnTo>
                  <a:lnTo>
                    <a:pt x="349" y="448"/>
                  </a:lnTo>
                  <a:lnTo>
                    <a:pt x="349" y="450"/>
                  </a:lnTo>
                  <a:lnTo>
                    <a:pt x="348" y="452"/>
                  </a:lnTo>
                  <a:lnTo>
                    <a:pt x="346" y="456"/>
                  </a:lnTo>
                  <a:lnTo>
                    <a:pt x="345" y="457"/>
                  </a:lnTo>
                  <a:lnTo>
                    <a:pt x="344" y="458"/>
                  </a:lnTo>
                  <a:lnTo>
                    <a:pt x="343" y="460"/>
                  </a:lnTo>
                  <a:lnTo>
                    <a:pt x="342" y="458"/>
                  </a:lnTo>
                  <a:lnTo>
                    <a:pt x="340" y="457"/>
                  </a:lnTo>
                  <a:lnTo>
                    <a:pt x="340" y="458"/>
                  </a:lnTo>
                  <a:lnTo>
                    <a:pt x="338" y="460"/>
                  </a:lnTo>
                  <a:lnTo>
                    <a:pt x="336" y="462"/>
                  </a:lnTo>
                  <a:lnTo>
                    <a:pt x="334" y="461"/>
                  </a:lnTo>
                  <a:lnTo>
                    <a:pt x="333" y="457"/>
                  </a:lnTo>
                  <a:lnTo>
                    <a:pt x="333" y="455"/>
                  </a:lnTo>
                  <a:lnTo>
                    <a:pt x="336" y="454"/>
                  </a:lnTo>
                  <a:lnTo>
                    <a:pt x="337" y="454"/>
                  </a:lnTo>
                  <a:lnTo>
                    <a:pt x="337" y="451"/>
                  </a:lnTo>
                  <a:lnTo>
                    <a:pt x="336" y="450"/>
                  </a:lnTo>
                  <a:lnTo>
                    <a:pt x="337" y="449"/>
                  </a:lnTo>
                  <a:lnTo>
                    <a:pt x="338" y="446"/>
                  </a:lnTo>
                  <a:lnTo>
                    <a:pt x="337" y="446"/>
                  </a:lnTo>
                  <a:lnTo>
                    <a:pt x="334" y="449"/>
                  </a:lnTo>
                  <a:lnTo>
                    <a:pt x="333" y="452"/>
                  </a:lnTo>
                  <a:lnTo>
                    <a:pt x="332" y="455"/>
                  </a:lnTo>
                  <a:lnTo>
                    <a:pt x="332" y="458"/>
                  </a:lnTo>
                  <a:lnTo>
                    <a:pt x="332" y="457"/>
                  </a:lnTo>
                  <a:lnTo>
                    <a:pt x="330" y="460"/>
                  </a:lnTo>
                  <a:lnTo>
                    <a:pt x="328" y="460"/>
                  </a:lnTo>
                  <a:lnTo>
                    <a:pt x="328" y="457"/>
                  </a:lnTo>
                  <a:lnTo>
                    <a:pt x="327" y="454"/>
                  </a:lnTo>
                  <a:lnTo>
                    <a:pt x="326" y="451"/>
                  </a:lnTo>
                  <a:lnTo>
                    <a:pt x="324" y="452"/>
                  </a:lnTo>
                  <a:lnTo>
                    <a:pt x="322" y="452"/>
                  </a:lnTo>
                  <a:lnTo>
                    <a:pt x="320" y="456"/>
                  </a:lnTo>
                  <a:lnTo>
                    <a:pt x="318" y="456"/>
                  </a:lnTo>
                  <a:lnTo>
                    <a:pt x="319" y="454"/>
                  </a:lnTo>
                  <a:lnTo>
                    <a:pt x="319" y="451"/>
                  </a:lnTo>
                  <a:lnTo>
                    <a:pt x="316" y="451"/>
                  </a:lnTo>
                  <a:lnTo>
                    <a:pt x="318" y="452"/>
                  </a:lnTo>
                  <a:lnTo>
                    <a:pt x="315" y="456"/>
                  </a:lnTo>
                  <a:lnTo>
                    <a:pt x="313" y="457"/>
                  </a:lnTo>
                  <a:lnTo>
                    <a:pt x="310" y="458"/>
                  </a:lnTo>
                  <a:lnTo>
                    <a:pt x="313" y="455"/>
                  </a:lnTo>
                  <a:lnTo>
                    <a:pt x="314" y="452"/>
                  </a:lnTo>
                  <a:lnTo>
                    <a:pt x="314" y="450"/>
                  </a:lnTo>
                  <a:lnTo>
                    <a:pt x="316" y="448"/>
                  </a:lnTo>
                  <a:lnTo>
                    <a:pt x="315" y="446"/>
                  </a:lnTo>
                  <a:lnTo>
                    <a:pt x="314" y="448"/>
                  </a:lnTo>
                  <a:lnTo>
                    <a:pt x="314" y="446"/>
                  </a:lnTo>
                  <a:lnTo>
                    <a:pt x="311" y="446"/>
                  </a:lnTo>
                  <a:lnTo>
                    <a:pt x="311" y="444"/>
                  </a:lnTo>
                  <a:lnTo>
                    <a:pt x="309" y="444"/>
                  </a:lnTo>
                  <a:lnTo>
                    <a:pt x="308" y="445"/>
                  </a:lnTo>
                  <a:lnTo>
                    <a:pt x="309" y="443"/>
                  </a:lnTo>
                  <a:lnTo>
                    <a:pt x="307" y="443"/>
                  </a:lnTo>
                  <a:lnTo>
                    <a:pt x="305" y="444"/>
                  </a:lnTo>
                  <a:lnTo>
                    <a:pt x="305" y="442"/>
                  </a:lnTo>
                  <a:lnTo>
                    <a:pt x="304" y="442"/>
                  </a:lnTo>
                  <a:lnTo>
                    <a:pt x="303" y="439"/>
                  </a:lnTo>
                  <a:lnTo>
                    <a:pt x="303" y="438"/>
                  </a:lnTo>
                  <a:lnTo>
                    <a:pt x="304" y="437"/>
                  </a:lnTo>
                  <a:lnTo>
                    <a:pt x="301" y="439"/>
                  </a:lnTo>
                  <a:lnTo>
                    <a:pt x="298" y="440"/>
                  </a:lnTo>
                  <a:lnTo>
                    <a:pt x="299" y="438"/>
                  </a:lnTo>
                  <a:lnTo>
                    <a:pt x="302" y="437"/>
                  </a:lnTo>
                  <a:lnTo>
                    <a:pt x="304" y="436"/>
                  </a:lnTo>
                  <a:lnTo>
                    <a:pt x="305" y="434"/>
                  </a:lnTo>
                  <a:lnTo>
                    <a:pt x="304" y="434"/>
                  </a:lnTo>
                  <a:lnTo>
                    <a:pt x="302" y="434"/>
                  </a:lnTo>
                  <a:lnTo>
                    <a:pt x="301" y="433"/>
                  </a:lnTo>
                  <a:lnTo>
                    <a:pt x="301" y="434"/>
                  </a:lnTo>
                  <a:lnTo>
                    <a:pt x="299" y="434"/>
                  </a:lnTo>
                  <a:lnTo>
                    <a:pt x="297" y="434"/>
                  </a:lnTo>
                  <a:lnTo>
                    <a:pt x="297" y="436"/>
                  </a:lnTo>
                  <a:lnTo>
                    <a:pt x="295" y="434"/>
                  </a:lnTo>
                  <a:lnTo>
                    <a:pt x="293" y="431"/>
                  </a:lnTo>
                  <a:lnTo>
                    <a:pt x="293" y="428"/>
                  </a:lnTo>
                  <a:lnTo>
                    <a:pt x="293" y="426"/>
                  </a:lnTo>
                  <a:lnTo>
                    <a:pt x="296" y="425"/>
                  </a:lnTo>
                  <a:lnTo>
                    <a:pt x="297" y="425"/>
                  </a:lnTo>
                  <a:lnTo>
                    <a:pt x="298" y="424"/>
                  </a:lnTo>
                  <a:lnTo>
                    <a:pt x="297" y="421"/>
                  </a:lnTo>
                  <a:lnTo>
                    <a:pt x="297" y="419"/>
                  </a:lnTo>
                  <a:lnTo>
                    <a:pt x="295" y="420"/>
                  </a:lnTo>
                  <a:lnTo>
                    <a:pt x="293" y="421"/>
                  </a:lnTo>
                  <a:lnTo>
                    <a:pt x="293" y="419"/>
                  </a:lnTo>
                  <a:lnTo>
                    <a:pt x="292" y="421"/>
                  </a:lnTo>
                  <a:lnTo>
                    <a:pt x="291" y="424"/>
                  </a:lnTo>
                  <a:lnTo>
                    <a:pt x="290" y="422"/>
                  </a:lnTo>
                  <a:lnTo>
                    <a:pt x="290" y="425"/>
                  </a:lnTo>
                  <a:lnTo>
                    <a:pt x="287" y="426"/>
                  </a:lnTo>
                  <a:lnTo>
                    <a:pt x="285" y="428"/>
                  </a:lnTo>
                  <a:lnTo>
                    <a:pt x="285" y="426"/>
                  </a:lnTo>
                  <a:lnTo>
                    <a:pt x="286" y="425"/>
                  </a:lnTo>
                  <a:lnTo>
                    <a:pt x="284" y="426"/>
                  </a:lnTo>
                  <a:lnTo>
                    <a:pt x="284" y="425"/>
                  </a:lnTo>
                  <a:lnTo>
                    <a:pt x="283" y="425"/>
                  </a:lnTo>
                  <a:lnTo>
                    <a:pt x="281" y="424"/>
                  </a:lnTo>
                  <a:lnTo>
                    <a:pt x="280" y="424"/>
                  </a:lnTo>
                  <a:lnTo>
                    <a:pt x="278" y="425"/>
                  </a:lnTo>
                  <a:lnTo>
                    <a:pt x="277" y="424"/>
                  </a:lnTo>
                  <a:lnTo>
                    <a:pt x="279" y="422"/>
                  </a:lnTo>
                  <a:lnTo>
                    <a:pt x="278" y="422"/>
                  </a:lnTo>
                  <a:lnTo>
                    <a:pt x="279" y="421"/>
                  </a:lnTo>
                  <a:lnTo>
                    <a:pt x="280" y="421"/>
                  </a:lnTo>
                  <a:lnTo>
                    <a:pt x="281" y="422"/>
                  </a:lnTo>
                  <a:lnTo>
                    <a:pt x="283" y="420"/>
                  </a:lnTo>
                  <a:lnTo>
                    <a:pt x="281" y="419"/>
                  </a:lnTo>
                  <a:lnTo>
                    <a:pt x="279" y="419"/>
                  </a:lnTo>
                  <a:lnTo>
                    <a:pt x="278" y="418"/>
                  </a:lnTo>
                  <a:lnTo>
                    <a:pt x="277" y="419"/>
                  </a:lnTo>
                  <a:lnTo>
                    <a:pt x="275" y="419"/>
                  </a:lnTo>
                  <a:lnTo>
                    <a:pt x="274" y="419"/>
                  </a:lnTo>
                  <a:lnTo>
                    <a:pt x="274" y="418"/>
                  </a:lnTo>
                  <a:lnTo>
                    <a:pt x="274" y="416"/>
                  </a:lnTo>
                  <a:lnTo>
                    <a:pt x="275" y="415"/>
                  </a:lnTo>
                  <a:lnTo>
                    <a:pt x="278" y="414"/>
                  </a:lnTo>
                  <a:lnTo>
                    <a:pt x="280" y="413"/>
                  </a:lnTo>
                  <a:lnTo>
                    <a:pt x="279" y="413"/>
                  </a:lnTo>
                  <a:lnTo>
                    <a:pt x="278" y="413"/>
                  </a:lnTo>
                  <a:lnTo>
                    <a:pt x="277" y="413"/>
                  </a:lnTo>
                  <a:lnTo>
                    <a:pt x="274" y="415"/>
                  </a:lnTo>
                  <a:lnTo>
                    <a:pt x="272" y="416"/>
                  </a:lnTo>
                  <a:lnTo>
                    <a:pt x="274" y="426"/>
                  </a:lnTo>
                  <a:lnTo>
                    <a:pt x="279" y="439"/>
                  </a:lnTo>
                  <a:lnTo>
                    <a:pt x="278" y="448"/>
                  </a:lnTo>
                  <a:lnTo>
                    <a:pt x="279" y="457"/>
                  </a:lnTo>
                  <a:lnTo>
                    <a:pt x="286" y="473"/>
                  </a:lnTo>
                  <a:lnTo>
                    <a:pt x="291" y="483"/>
                  </a:lnTo>
                  <a:lnTo>
                    <a:pt x="291" y="490"/>
                  </a:lnTo>
                  <a:lnTo>
                    <a:pt x="286" y="498"/>
                  </a:lnTo>
                  <a:lnTo>
                    <a:pt x="280" y="511"/>
                  </a:lnTo>
                  <a:lnTo>
                    <a:pt x="275" y="533"/>
                  </a:lnTo>
                  <a:lnTo>
                    <a:pt x="273" y="553"/>
                  </a:lnTo>
                  <a:lnTo>
                    <a:pt x="271" y="574"/>
                  </a:lnTo>
                  <a:lnTo>
                    <a:pt x="269" y="603"/>
                  </a:lnTo>
                  <a:lnTo>
                    <a:pt x="271" y="630"/>
                  </a:lnTo>
                  <a:lnTo>
                    <a:pt x="272" y="64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9" name="Freeform 72"/>
            <p:cNvSpPr>
              <a:spLocks/>
            </p:cNvSpPr>
            <p:nvPr userDrawn="1"/>
          </p:nvSpPr>
          <p:spPr bwMode="auto">
            <a:xfrm>
              <a:off x="8397875" y="6397626"/>
              <a:ext cx="176213" cy="188913"/>
            </a:xfrm>
            <a:custGeom>
              <a:avLst/>
              <a:gdLst/>
              <a:ahLst/>
              <a:cxnLst>
                <a:cxn ang="0">
                  <a:pos x="71" y="263"/>
                </a:cxn>
                <a:cxn ang="0">
                  <a:pos x="95" y="226"/>
                </a:cxn>
                <a:cxn ang="0">
                  <a:pos x="156" y="203"/>
                </a:cxn>
                <a:cxn ang="0">
                  <a:pos x="154" y="199"/>
                </a:cxn>
                <a:cxn ang="0">
                  <a:pos x="116" y="196"/>
                </a:cxn>
                <a:cxn ang="0">
                  <a:pos x="102" y="173"/>
                </a:cxn>
                <a:cxn ang="0">
                  <a:pos x="120" y="145"/>
                </a:cxn>
                <a:cxn ang="0">
                  <a:pos x="129" y="131"/>
                </a:cxn>
                <a:cxn ang="0">
                  <a:pos x="132" y="88"/>
                </a:cxn>
                <a:cxn ang="0">
                  <a:pos x="167" y="86"/>
                </a:cxn>
                <a:cxn ang="0">
                  <a:pos x="200" y="98"/>
                </a:cxn>
                <a:cxn ang="0">
                  <a:pos x="222" y="101"/>
                </a:cxn>
                <a:cxn ang="0">
                  <a:pos x="248" y="121"/>
                </a:cxn>
                <a:cxn ang="0">
                  <a:pos x="266" y="139"/>
                </a:cxn>
                <a:cxn ang="0">
                  <a:pos x="273" y="125"/>
                </a:cxn>
                <a:cxn ang="0">
                  <a:pos x="252" y="108"/>
                </a:cxn>
                <a:cxn ang="0">
                  <a:pos x="230" y="98"/>
                </a:cxn>
                <a:cxn ang="0">
                  <a:pos x="199" y="74"/>
                </a:cxn>
                <a:cxn ang="0">
                  <a:pos x="206" y="43"/>
                </a:cxn>
                <a:cxn ang="0">
                  <a:pos x="217" y="19"/>
                </a:cxn>
                <a:cxn ang="0">
                  <a:pos x="241" y="13"/>
                </a:cxn>
                <a:cxn ang="0">
                  <a:pos x="271" y="17"/>
                </a:cxn>
                <a:cxn ang="0">
                  <a:pos x="300" y="7"/>
                </a:cxn>
                <a:cxn ang="0">
                  <a:pos x="320" y="8"/>
                </a:cxn>
                <a:cxn ang="0">
                  <a:pos x="336" y="32"/>
                </a:cxn>
                <a:cxn ang="0">
                  <a:pos x="355" y="35"/>
                </a:cxn>
                <a:cxn ang="0">
                  <a:pos x="386" y="43"/>
                </a:cxn>
                <a:cxn ang="0">
                  <a:pos x="402" y="66"/>
                </a:cxn>
                <a:cxn ang="0">
                  <a:pos x="380" y="83"/>
                </a:cxn>
                <a:cxn ang="0">
                  <a:pos x="426" y="108"/>
                </a:cxn>
                <a:cxn ang="0">
                  <a:pos x="459" y="143"/>
                </a:cxn>
                <a:cxn ang="0">
                  <a:pos x="467" y="160"/>
                </a:cxn>
                <a:cxn ang="0">
                  <a:pos x="477" y="193"/>
                </a:cxn>
                <a:cxn ang="0">
                  <a:pos x="495" y="235"/>
                </a:cxn>
                <a:cxn ang="0">
                  <a:pos x="488" y="268"/>
                </a:cxn>
                <a:cxn ang="0">
                  <a:pos x="504" y="312"/>
                </a:cxn>
                <a:cxn ang="0">
                  <a:pos x="456" y="291"/>
                </a:cxn>
                <a:cxn ang="0">
                  <a:pos x="445" y="304"/>
                </a:cxn>
                <a:cxn ang="0">
                  <a:pos x="520" y="358"/>
                </a:cxn>
                <a:cxn ang="0">
                  <a:pos x="536" y="416"/>
                </a:cxn>
                <a:cxn ang="0">
                  <a:pos x="503" y="428"/>
                </a:cxn>
                <a:cxn ang="0">
                  <a:pos x="473" y="461"/>
                </a:cxn>
                <a:cxn ang="0">
                  <a:pos x="439" y="440"/>
                </a:cxn>
                <a:cxn ang="0">
                  <a:pos x="396" y="419"/>
                </a:cxn>
                <a:cxn ang="0">
                  <a:pos x="427" y="454"/>
                </a:cxn>
                <a:cxn ang="0">
                  <a:pos x="426" y="487"/>
                </a:cxn>
                <a:cxn ang="0">
                  <a:pos x="400" y="465"/>
                </a:cxn>
                <a:cxn ang="0">
                  <a:pos x="329" y="484"/>
                </a:cxn>
                <a:cxn ang="0">
                  <a:pos x="225" y="502"/>
                </a:cxn>
                <a:cxn ang="0">
                  <a:pos x="128" y="501"/>
                </a:cxn>
                <a:cxn ang="0">
                  <a:pos x="187" y="487"/>
                </a:cxn>
                <a:cxn ang="0">
                  <a:pos x="237" y="451"/>
                </a:cxn>
                <a:cxn ang="0">
                  <a:pos x="176" y="449"/>
                </a:cxn>
                <a:cxn ang="0">
                  <a:pos x="137" y="473"/>
                </a:cxn>
                <a:cxn ang="0">
                  <a:pos x="82" y="440"/>
                </a:cxn>
                <a:cxn ang="0">
                  <a:pos x="118" y="407"/>
                </a:cxn>
                <a:cxn ang="0">
                  <a:pos x="184" y="376"/>
                </a:cxn>
                <a:cxn ang="0">
                  <a:pos x="138" y="373"/>
                </a:cxn>
                <a:cxn ang="0">
                  <a:pos x="167" y="332"/>
                </a:cxn>
                <a:cxn ang="0">
                  <a:pos x="113" y="363"/>
                </a:cxn>
                <a:cxn ang="0">
                  <a:pos x="48" y="379"/>
                </a:cxn>
                <a:cxn ang="0">
                  <a:pos x="101" y="315"/>
                </a:cxn>
                <a:cxn ang="0">
                  <a:pos x="22" y="300"/>
                </a:cxn>
              </a:cxnLst>
              <a:rect l="0" t="0" r="r" b="b"/>
              <a:pathLst>
                <a:path w="556" h="597">
                  <a:moveTo>
                    <a:pt x="5" y="282"/>
                  </a:moveTo>
                  <a:lnTo>
                    <a:pt x="4" y="281"/>
                  </a:lnTo>
                  <a:lnTo>
                    <a:pt x="6" y="281"/>
                  </a:lnTo>
                  <a:lnTo>
                    <a:pt x="8" y="281"/>
                  </a:lnTo>
                  <a:lnTo>
                    <a:pt x="8" y="282"/>
                  </a:lnTo>
                  <a:lnTo>
                    <a:pt x="10" y="282"/>
                  </a:lnTo>
                  <a:lnTo>
                    <a:pt x="10" y="280"/>
                  </a:lnTo>
                  <a:lnTo>
                    <a:pt x="12" y="280"/>
                  </a:lnTo>
                  <a:lnTo>
                    <a:pt x="12" y="282"/>
                  </a:lnTo>
                  <a:lnTo>
                    <a:pt x="13" y="282"/>
                  </a:lnTo>
                  <a:lnTo>
                    <a:pt x="16" y="284"/>
                  </a:lnTo>
                  <a:lnTo>
                    <a:pt x="13" y="282"/>
                  </a:lnTo>
                  <a:lnTo>
                    <a:pt x="13" y="281"/>
                  </a:lnTo>
                  <a:lnTo>
                    <a:pt x="12" y="278"/>
                  </a:lnTo>
                  <a:lnTo>
                    <a:pt x="13" y="278"/>
                  </a:lnTo>
                  <a:lnTo>
                    <a:pt x="16" y="278"/>
                  </a:lnTo>
                  <a:lnTo>
                    <a:pt x="17" y="279"/>
                  </a:lnTo>
                  <a:lnTo>
                    <a:pt x="17" y="280"/>
                  </a:lnTo>
                  <a:lnTo>
                    <a:pt x="18" y="281"/>
                  </a:lnTo>
                  <a:lnTo>
                    <a:pt x="20" y="282"/>
                  </a:lnTo>
                  <a:lnTo>
                    <a:pt x="20" y="284"/>
                  </a:lnTo>
                  <a:lnTo>
                    <a:pt x="23" y="284"/>
                  </a:lnTo>
                  <a:lnTo>
                    <a:pt x="23" y="281"/>
                  </a:lnTo>
                  <a:lnTo>
                    <a:pt x="24" y="279"/>
                  </a:lnTo>
                  <a:lnTo>
                    <a:pt x="25" y="280"/>
                  </a:lnTo>
                  <a:lnTo>
                    <a:pt x="26" y="281"/>
                  </a:lnTo>
                  <a:lnTo>
                    <a:pt x="29" y="281"/>
                  </a:lnTo>
                  <a:lnTo>
                    <a:pt x="26" y="279"/>
                  </a:lnTo>
                  <a:lnTo>
                    <a:pt x="26" y="276"/>
                  </a:lnTo>
                  <a:lnTo>
                    <a:pt x="25" y="275"/>
                  </a:lnTo>
                  <a:lnTo>
                    <a:pt x="24" y="273"/>
                  </a:lnTo>
                  <a:lnTo>
                    <a:pt x="25" y="270"/>
                  </a:lnTo>
                  <a:lnTo>
                    <a:pt x="26" y="272"/>
                  </a:lnTo>
                  <a:lnTo>
                    <a:pt x="28" y="272"/>
                  </a:lnTo>
                  <a:lnTo>
                    <a:pt x="29" y="273"/>
                  </a:lnTo>
                  <a:lnTo>
                    <a:pt x="30" y="274"/>
                  </a:lnTo>
                  <a:lnTo>
                    <a:pt x="31" y="275"/>
                  </a:lnTo>
                  <a:lnTo>
                    <a:pt x="32" y="275"/>
                  </a:lnTo>
                  <a:lnTo>
                    <a:pt x="34" y="278"/>
                  </a:lnTo>
                  <a:lnTo>
                    <a:pt x="32" y="276"/>
                  </a:lnTo>
                  <a:lnTo>
                    <a:pt x="32" y="274"/>
                  </a:lnTo>
                  <a:lnTo>
                    <a:pt x="35" y="274"/>
                  </a:lnTo>
                  <a:lnTo>
                    <a:pt x="37" y="274"/>
                  </a:lnTo>
                  <a:lnTo>
                    <a:pt x="36" y="273"/>
                  </a:lnTo>
                  <a:lnTo>
                    <a:pt x="37" y="270"/>
                  </a:lnTo>
                  <a:lnTo>
                    <a:pt x="38" y="268"/>
                  </a:lnTo>
                  <a:lnTo>
                    <a:pt x="41" y="269"/>
                  </a:lnTo>
                  <a:lnTo>
                    <a:pt x="43" y="268"/>
                  </a:lnTo>
                  <a:lnTo>
                    <a:pt x="42" y="267"/>
                  </a:lnTo>
                  <a:lnTo>
                    <a:pt x="41" y="264"/>
                  </a:lnTo>
                  <a:lnTo>
                    <a:pt x="42" y="264"/>
                  </a:lnTo>
                  <a:lnTo>
                    <a:pt x="43" y="264"/>
                  </a:lnTo>
                  <a:lnTo>
                    <a:pt x="45" y="264"/>
                  </a:lnTo>
                  <a:lnTo>
                    <a:pt x="46" y="264"/>
                  </a:lnTo>
                  <a:lnTo>
                    <a:pt x="46" y="266"/>
                  </a:lnTo>
                  <a:lnTo>
                    <a:pt x="47" y="267"/>
                  </a:lnTo>
                  <a:lnTo>
                    <a:pt x="48" y="267"/>
                  </a:lnTo>
                  <a:lnTo>
                    <a:pt x="49" y="266"/>
                  </a:lnTo>
                  <a:lnTo>
                    <a:pt x="51" y="267"/>
                  </a:lnTo>
                  <a:lnTo>
                    <a:pt x="49" y="266"/>
                  </a:lnTo>
                  <a:lnTo>
                    <a:pt x="49" y="263"/>
                  </a:lnTo>
                  <a:lnTo>
                    <a:pt x="48" y="262"/>
                  </a:lnTo>
                  <a:lnTo>
                    <a:pt x="48" y="261"/>
                  </a:lnTo>
                  <a:lnTo>
                    <a:pt x="49" y="261"/>
                  </a:lnTo>
                  <a:lnTo>
                    <a:pt x="51" y="262"/>
                  </a:lnTo>
                  <a:lnTo>
                    <a:pt x="52" y="263"/>
                  </a:lnTo>
                  <a:lnTo>
                    <a:pt x="53" y="263"/>
                  </a:lnTo>
                  <a:lnTo>
                    <a:pt x="55" y="263"/>
                  </a:lnTo>
                  <a:lnTo>
                    <a:pt x="55" y="262"/>
                  </a:lnTo>
                  <a:lnTo>
                    <a:pt x="57" y="262"/>
                  </a:lnTo>
                  <a:lnTo>
                    <a:pt x="58" y="263"/>
                  </a:lnTo>
                  <a:lnTo>
                    <a:pt x="59" y="263"/>
                  </a:lnTo>
                  <a:lnTo>
                    <a:pt x="59" y="264"/>
                  </a:lnTo>
                  <a:lnTo>
                    <a:pt x="60" y="264"/>
                  </a:lnTo>
                  <a:lnTo>
                    <a:pt x="61" y="263"/>
                  </a:lnTo>
                  <a:lnTo>
                    <a:pt x="64" y="262"/>
                  </a:lnTo>
                  <a:lnTo>
                    <a:pt x="63" y="261"/>
                  </a:lnTo>
                  <a:lnTo>
                    <a:pt x="63" y="259"/>
                  </a:lnTo>
                  <a:lnTo>
                    <a:pt x="63" y="258"/>
                  </a:lnTo>
                  <a:lnTo>
                    <a:pt x="64" y="258"/>
                  </a:lnTo>
                  <a:lnTo>
                    <a:pt x="65" y="258"/>
                  </a:lnTo>
                  <a:lnTo>
                    <a:pt x="66" y="259"/>
                  </a:lnTo>
                  <a:lnTo>
                    <a:pt x="67" y="261"/>
                  </a:lnTo>
                  <a:lnTo>
                    <a:pt x="69" y="263"/>
                  </a:lnTo>
                  <a:lnTo>
                    <a:pt x="71" y="263"/>
                  </a:lnTo>
                  <a:lnTo>
                    <a:pt x="70" y="261"/>
                  </a:lnTo>
                  <a:lnTo>
                    <a:pt x="70" y="259"/>
                  </a:lnTo>
                  <a:lnTo>
                    <a:pt x="69" y="258"/>
                  </a:lnTo>
                  <a:lnTo>
                    <a:pt x="69" y="256"/>
                  </a:lnTo>
                  <a:lnTo>
                    <a:pt x="69" y="255"/>
                  </a:lnTo>
                  <a:lnTo>
                    <a:pt x="67" y="255"/>
                  </a:lnTo>
                  <a:lnTo>
                    <a:pt x="67" y="253"/>
                  </a:lnTo>
                  <a:lnTo>
                    <a:pt x="69" y="252"/>
                  </a:lnTo>
                  <a:lnTo>
                    <a:pt x="70" y="252"/>
                  </a:lnTo>
                  <a:lnTo>
                    <a:pt x="71" y="253"/>
                  </a:lnTo>
                  <a:lnTo>
                    <a:pt x="72" y="253"/>
                  </a:lnTo>
                  <a:lnTo>
                    <a:pt x="72" y="255"/>
                  </a:lnTo>
                  <a:lnTo>
                    <a:pt x="73" y="256"/>
                  </a:lnTo>
                  <a:lnTo>
                    <a:pt x="75" y="255"/>
                  </a:lnTo>
                  <a:lnTo>
                    <a:pt x="76" y="256"/>
                  </a:lnTo>
                  <a:lnTo>
                    <a:pt x="77" y="255"/>
                  </a:lnTo>
                  <a:lnTo>
                    <a:pt x="78" y="255"/>
                  </a:lnTo>
                  <a:lnTo>
                    <a:pt x="79" y="256"/>
                  </a:lnTo>
                  <a:lnTo>
                    <a:pt x="82" y="256"/>
                  </a:lnTo>
                  <a:lnTo>
                    <a:pt x="84" y="256"/>
                  </a:lnTo>
                  <a:lnTo>
                    <a:pt x="83" y="255"/>
                  </a:lnTo>
                  <a:lnTo>
                    <a:pt x="82" y="253"/>
                  </a:lnTo>
                  <a:lnTo>
                    <a:pt x="81" y="251"/>
                  </a:lnTo>
                  <a:lnTo>
                    <a:pt x="78" y="250"/>
                  </a:lnTo>
                  <a:lnTo>
                    <a:pt x="78" y="249"/>
                  </a:lnTo>
                  <a:lnTo>
                    <a:pt x="79" y="246"/>
                  </a:lnTo>
                  <a:lnTo>
                    <a:pt x="78" y="247"/>
                  </a:lnTo>
                  <a:lnTo>
                    <a:pt x="77" y="247"/>
                  </a:lnTo>
                  <a:lnTo>
                    <a:pt x="76" y="246"/>
                  </a:lnTo>
                  <a:lnTo>
                    <a:pt x="75" y="246"/>
                  </a:lnTo>
                  <a:lnTo>
                    <a:pt x="72" y="245"/>
                  </a:lnTo>
                  <a:lnTo>
                    <a:pt x="71" y="245"/>
                  </a:lnTo>
                  <a:lnTo>
                    <a:pt x="71" y="244"/>
                  </a:lnTo>
                  <a:lnTo>
                    <a:pt x="70" y="244"/>
                  </a:lnTo>
                  <a:lnTo>
                    <a:pt x="69" y="243"/>
                  </a:lnTo>
                  <a:lnTo>
                    <a:pt x="69" y="241"/>
                  </a:lnTo>
                  <a:lnTo>
                    <a:pt x="67" y="241"/>
                  </a:lnTo>
                  <a:lnTo>
                    <a:pt x="66" y="240"/>
                  </a:lnTo>
                  <a:lnTo>
                    <a:pt x="67" y="239"/>
                  </a:lnTo>
                  <a:lnTo>
                    <a:pt x="67" y="238"/>
                  </a:lnTo>
                  <a:lnTo>
                    <a:pt x="66" y="235"/>
                  </a:lnTo>
                  <a:lnTo>
                    <a:pt x="65" y="233"/>
                  </a:lnTo>
                  <a:lnTo>
                    <a:pt x="66" y="233"/>
                  </a:lnTo>
                  <a:lnTo>
                    <a:pt x="67" y="233"/>
                  </a:lnTo>
                  <a:lnTo>
                    <a:pt x="69" y="233"/>
                  </a:lnTo>
                  <a:lnTo>
                    <a:pt x="69" y="234"/>
                  </a:lnTo>
                  <a:lnTo>
                    <a:pt x="70" y="234"/>
                  </a:lnTo>
                  <a:lnTo>
                    <a:pt x="70" y="232"/>
                  </a:lnTo>
                  <a:lnTo>
                    <a:pt x="70" y="231"/>
                  </a:lnTo>
                  <a:lnTo>
                    <a:pt x="72" y="231"/>
                  </a:lnTo>
                  <a:lnTo>
                    <a:pt x="73" y="232"/>
                  </a:lnTo>
                  <a:lnTo>
                    <a:pt x="75" y="233"/>
                  </a:lnTo>
                  <a:lnTo>
                    <a:pt x="75" y="234"/>
                  </a:lnTo>
                  <a:lnTo>
                    <a:pt x="76" y="235"/>
                  </a:lnTo>
                  <a:lnTo>
                    <a:pt x="78" y="234"/>
                  </a:lnTo>
                  <a:lnTo>
                    <a:pt x="77" y="232"/>
                  </a:lnTo>
                  <a:lnTo>
                    <a:pt x="77" y="231"/>
                  </a:lnTo>
                  <a:lnTo>
                    <a:pt x="76" y="231"/>
                  </a:lnTo>
                  <a:lnTo>
                    <a:pt x="78" y="229"/>
                  </a:lnTo>
                  <a:lnTo>
                    <a:pt x="78" y="231"/>
                  </a:lnTo>
                  <a:lnTo>
                    <a:pt x="79" y="229"/>
                  </a:lnTo>
                  <a:lnTo>
                    <a:pt x="79" y="231"/>
                  </a:lnTo>
                  <a:lnTo>
                    <a:pt x="82" y="231"/>
                  </a:lnTo>
                  <a:lnTo>
                    <a:pt x="83" y="232"/>
                  </a:lnTo>
                  <a:lnTo>
                    <a:pt x="84" y="233"/>
                  </a:lnTo>
                  <a:lnTo>
                    <a:pt x="85" y="233"/>
                  </a:lnTo>
                  <a:lnTo>
                    <a:pt x="85" y="232"/>
                  </a:lnTo>
                  <a:lnTo>
                    <a:pt x="85" y="231"/>
                  </a:lnTo>
                  <a:lnTo>
                    <a:pt x="87" y="228"/>
                  </a:lnTo>
                  <a:lnTo>
                    <a:pt x="87" y="227"/>
                  </a:lnTo>
                  <a:lnTo>
                    <a:pt x="89" y="227"/>
                  </a:lnTo>
                  <a:lnTo>
                    <a:pt x="89" y="229"/>
                  </a:lnTo>
                  <a:lnTo>
                    <a:pt x="89" y="231"/>
                  </a:lnTo>
                  <a:lnTo>
                    <a:pt x="90" y="231"/>
                  </a:lnTo>
                  <a:lnTo>
                    <a:pt x="90" y="227"/>
                  </a:lnTo>
                  <a:lnTo>
                    <a:pt x="89" y="225"/>
                  </a:lnTo>
                  <a:lnTo>
                    <a:pt x="90" y="222"/>
                  </a:lnTo>
                  <a:lnTo>
                    <a:pt x="90" y="221"/>
                  </a:lnTo>
                  <a:lnTo>
                    <a:pt x="91" y="222"/>
                  </a:lnTo>
                  <a:lnTo>
                    <a:pt x="93" y="222"/>
                  </a:lnTo>
                  <a:lnTo>
                    <a:pt x="93" y="223"/>
                  </a:lnTo>
                  <a:lnTo>
                    <a:pt x="94" y="222"/>
                  </a:lnTo>
                  <a:lnTo>
                    <a:pt x="94" y="223"/>
                  </a:lnTo>
                  <a:lnTo>
                    <a:pt x="94" y="226"/>
                  </a:lnTo>
                  <a:lnTo>
                    <a:pt x="95" y="226"/>
                  </a:lnTo>
                  <a:lnTo>
                    <a:pt x="96" y="227"/>
                  </a:lnTo>
                  <a:lnTo>
                    <a:pt x="95" y="227"/>
                  </a:lnTo>
                  <a:lnTo>
                    <a:pt x="96" y="227"/>
                  </a:lnTo>
                  <a:lnTo>
                    <a:pt x="97" y="227"/>
                  </a:lnTo>
                  <a:lnTo>
                    <a:pt x="99" y="228"/>
                  </a:lnTo>
                  <a:lnTo>
                    <a:pt x="100" y="228"/>
                  </a:lnTo>
                  <a:lnTo>
                    <a:pt x="101" y="229"/>
                  </a:lnTo>
                  <a:lnTo>
                    <a:pt x="104" y="229"/>
                  </a:lnTo>
                  <a:lnTo>
                    <a:pt x="104" y="231"/>
                  </a:lnTo>
                  <a:lnTo>
                    <a:pt x="105" y="232"/>
                  </a:lnTo>
                  <a:lnTo>
                    <a:pt x="106" y="231"/>
                  </a:lnTo>
                  <a:lnTo>
                    <a:pt x="106" y="229"/>
                  </a:lnTo>
                  <a:lnTo>
                    <a:pt x="105" y="228"/>
                  </a:lnTo>
                  <a:lnTo>
                    <a:pt x="104" y="227"/>
                  </a:lnTo>
                  <a:lnTo>
                    <a:pt x="104" y="225"/>
                  </a:lnTo>
                  <a:lnTo>
                    <a:pt x="105" y="223"/>
                  </a:lnTo>
                  <a:lnTo>
                    <a:pt x="106" y="223"/>
                  </a:lnTo>
                  <a:lnTo>
                    <a:pt x="107" y="225"/>
                  </a:lnTo>
                  <a:lnTo>
                    <a:pt x="107" y="223"/>
                  </a:lnTo>
                  <a:lnTo>
                    <a:pt x="108" y="222"/>
                  </a:lnTo>
                  <a:lnTo>
                    <a:pt x="108" y="223"/>
                  </a:lnTo>
                  <a:lnTo>
                    <a:pt x="110" y="223"/>
                  </a:lnTo>
                  <a:lnTo>
                    <a:pt x="110" y="222"/>
                  </a:lnTo>
                  <a:lnTo>
                    <a:pt x="111" y="222"/>
                  </a:lnTo>
                  <a:lnTo>
                    <a:pt x="111" y="221"/>
                  </a:lnTo>
                  <a:lnTo>
                    <a:pt x="114" y="221"/>
                  </a:lnTo>
                  <a:lnTo>
                    <a:pt x="116" y="221"/>
                  </a:lnTo>
                  <a:lnTo>
                    <a:pt x="117" y="222"/>
                  </a:lnTo>
                  <a:lnTo>
                    <a:pt x="118" y="222"/>
                  </a:lnTo>
                  <a:lnTo>
                    <a:pt x="118" y="223"/>
                  </a:lnTo>
                  <a:lnTo>
                    <a:pt x="119" y="223"/>
                  </a:lnTo>
                  <a:lnTo>
                    <a:pt x="120" y="223"/>
                  </a:lnTo>
                  <a:lnTo>
                    <a:pt x="120" y="222"/>
                  </a:lnTo>
                  <a:lnTo>
                    <a:pt x="122" y="221"/>
                  </a:lnTo>
                  <a:lnTo>
                    <a:pt x="124" y="221"/>
                  </a:lnTo>
                  <a:lnTo>
                    <a:pt x="125" y="220"/>
                  </a:lnTo>
                  <a:lnTo>
                    <a:pt x="126" y="219"/>
                  </a:lnTo>
                  <a:lnTo>
                    <a:pt x="128" y="219"/>
                  </a:lnTo>
                  <a:lnTo>
                    <a:pt x="126" y="220"/>
                  </a:lnTo>
                  <a:lnTo>
                    <a:pt x="126" y="221"/>
                  </a:lnTo>
                  <a:lnTo>
                    <a:pt x="126" y="220"/>
                  </a:lnTo>
                  <a:lnTo>
                    <a:pt x="128" y="220"/>
                  </a:lnTo>
                  <a:lnTo>
                    <a:pt x="129" y="220"/>
                  </a:lnTo>
                  <a:lnTo>
                    <a:pt x="130" y="219"/>
                  </a:lnTo>
                  <a:lnTo>
                    <a:pt x="130" y="217"/>
                  </a:lnTo>
                  <a:lnTo>
                    <a:pt x="129" y="217"/>
                  </a:lnTo>
                  <a:lnTo>
                    <a:pt x="128" y="219"/>
                  </a:lnTo>
                  <a:lnTo>
                    <a:pt x="128" y="217"/>
                  </a:lnTo>
                  <a:lnTo>
                    <a:pt x="128" y="215"/>
                  </a:lnTo>
                  <a:lnTo>
                    <a:pt x="128" y="214"/>
                  </a:lnTo>
                  <a:lnTo>
                    <a:pt x="128" y="213"/>
                  </a:lnTo>
                  <a:lnTo>
                    <a:pt x="128" y="211"/>
                  </a:lnTo>
                  <a:lnTo>
                    <a:pt x="129" y="210"/>
                  </a:lnTo>
                  <a:lnTo>
                    <a:pt x="129" y="211"/>
                  </a:lnTo>
                  <a:lnTo>
                    <a:pt x="131" y="211"/>
                  </a:lnTo>
                  <a:lnTo>
                    <a:pt x="132" y="213"/>
                  </a:lnTo>
                  <a:lnTo>
                    <a:pt x="134" y="211"/>
                  </a:lnTo>
                  <a:lnTo>
                    <a:pt x="136" y="210"/>
                  </a:lnTo>
                  <a:lnTo>
                    <a:pt x="138" y="209"/>
                  </a:lnTo>
                  <a:lnTo>
                    <a:pt x="138" y="208"/>
                  </a:lnTo>
                  <a:lnTo>
                    <a:pt x="138" y="207"/>
                  </a:lnTo>
                  <a:lnTo>
                    <a:pt x="140" y="207"/>
                  </a:lnTo>
                  <a:lnTo>
                    <a:pt x="141" y="207"/>
                  </a:lnTo>
                  <a:lnTo>
                    <a:pt x="141" y="205"/>
                  </a:lnTo>
                  <a:lnTo>
                    <a:pt x="141" y="204"/>
                  </a:lnTo>
                  <a:lnTo>
                    <a:pt x="142" y="205"/>
                  </a:lnTo>
                  <a:lnTo>
                    <a:pt x="143" y="205"/>
                  </a:lnTo>
                  <a:lnTo>
                    <a:pt x="144" y="207"/>
                  </a:lnTo>
                  <a:lnTo>
                    <a:pt x="144" y="205"/>
                  </a:lnTo>
                  <a:lnTo>
                    <a:pt x="146" y="205"/>
                  </a:lnTo>
                  <a:lnTo>
                    <a:pt x="147" y="205"/>
                  </a:lnTo>
                  <a:lnTo>
                    <a:pt x="148" y="205"/>
                  </a:lnTo>
                  <a:lnTo>
                    <a:pt x="149" y="205"/>
                  </a:lnTo>
                  <a:lnTo>
                    <a:pt x="149" y="207"/>
                  </a:lnTo>
                  <a:lnTo>
                    <a:pt x="150" y="205"/>
                  </a:lnTo>
                  <a:lnTo>
                    <a:pt x="152" y="205"/>
                  </a:lnTo>
                  <a:lnTo>
                    <a:pt x="153" y="205"/>
                  </a:lnTo>
                  <a:lnTo>
                    <a:pt x="153" y="204"/>
                  </a:lnTo>
                  <a:lnTo>
                    <a:pt x="155" y="204"/>
                  </a:lnTo>
                  <a:lnTo>
                    <a:pt x="154" y="204"/>
                  </a:lnTo>
                  <a:lnTo>
                    <a:pt x="155" y="204"/>
                  </a:lnTo>
                  <a:lnTo>
                    <a:pt x="155" y="205"/>
                  </a:lnTo>
                  <a:lnTo>
                    <a:pt x="155" y="204"/>
                  </a:lnTo>
                  <a:lnTo>
                    <a:pt x="155" y="203"/>
                  </a:lnTo>
                  <a:lnTo>
                    <a:pt x="156" y="203"/>
                  </a:lnTo>
                  <a:lnTo>
                    <a:pt x="155" y="203"/>
                  </a:lnTo>
                  <a:lnTo>
                    <a:pt x="156" y="202"/>
                  </a:lnTo>
                  <a:lnTo>
                    <a:pt x="158" y="202"/>
                  </a:lnTo>
                  <a:lnTo>
                    <a:pt x="159" y="202"/>
                  </a:lnTo>
                  <a:lnTo>
                    <a:pt x="160" y="202"/>
                  </a:lnTo>
                  <a:lnTo>
                    <a:pt x="160" y="203"/>
                  </a:lnTo>
                  <a:lnTo>
                    <a:pt x="160" y="202"/>
                  </a:lnTo>
                  <a:lnTo>
                    <a:pt x="159" y="201"/>
                  </a:lnTo>
                  <a:lnTo>
                    <a:pt x="160" y="201"/>
                  </a:lnTo>
                  <a:lnTo>
                    <a:pt x="159" y="199"/>
                  </a:lnTo>
                  <a:lnTo>
                    <a:pt x="160" y="199"/>
                  </a:lnTo>
                  <a:lnTo>
                    <a:pt x="161" y="199"/>
                  </a:lnTo>
                  <a:lnTo>
                    <a:pt x="161" y="201"/>
                  </a:lnTo>
                  <a:lnTo>
                    <a:pt x="161" y="199"/>
                  </a:lnTo>
                  <a:lnTo>
                    <a:pt x="163" y="199"/>
                  </a:lnTo>
                  <a:lnTo>
                    <a:pt x="161" y="199"/>
                  </a:lnTo>
                  <a:lnTo>
                    <a:pt x="163" y="198"/>
                  </a:lnTo>
                  <a:lnTo>
                    <a:pt x="163" y="197"/>
                  </a:lnTo>
                  <a:lnTo>
                    <a:pt x="163" y="196"/>
                  </a:lnTo>
                  <a:lnTo>
                    <a:pt x="161" y="196"/>
                  </a:lnTo>
                  <a:lnTo>
                    <a:pt x="163" y="195"/>
                  </a:lnTo>
                  <a:lnTo>
                    <a:pt x="163" y="193"/>
                  </a:lnTo>
                  <a:lnTo>
                    <a:pt x="164" y="195"/>
                  </a:lnTo>
                  <a:lnTo>
                    <a:pt x="164" y="193"/>
                  </a:lnTo>
                  <a:lnTo>
                    <a:pt x="163" y="193"/>
                  </a:lnTo>
                  <a:lnTo>
                    <a:pt x="165" y="192"/>
                  </a:lnTo>
                  <a:lnTo>
                    <a:pt x="166" y="191"/>
                  </a:lnTo>
                  <a:lnTo>
                    <a:pt x="166" y="190"/>
                  </a:lnTo>
                  <a:lnTo>
                    <a:pt x="167" y="190"/>
                  </a:lnTo>
                  <a:lnTo>
                    <a:pt x="167" y="189"/>
                  </a:lnTo>
                  <a:lnTo>
                    <a:pt x="167" y="187"/>
                  </a:lnTo>
                  <a:lnTo>
                    <a:pt x="169" y="187"/>
                  </a:lnTo>
                  <a:lnTo>
                    <a:pt x="169" y="186"/>
                  </a:lnTo>
                  <a:lnTo>
                    <a:pt x="170" y="186"/>
                  </a:lnTo>
                  <a:lnTo>
                    <a:pt x="169" y="186"/>
                  </a:lnTo>
                  <a:lnTo>
                    <a:pt x="169" y="185"/>
                  </a:lnTo>
                  <a:lnTo>
                    <a:pt x="169" y="184"/>
                  </a:lnTo>
                  <a:lnTo>
                    <a:pt x="169" y="183"/>
                  </a:lnTo>
                  <a:lnTo>
                    <a:pt x="167" y="183"/>
                  </a:lnTo>
                  <a:lnTo>
                    <a:pt x="166" y="183"/>
                  </a:lnTo>
                  <a:lnTo>
                    <a:pt x="166" y="184"/>
                  </a:lnTo>
                  <a:lnTo>
                    <a:pt x="166" y="183"/>
                  </a:lnTo>
                  <a:lnTo>
                    <a:pt x="166" y="184"/>
                  </a:lnTo>
                  <a:lnTo>
                    <a:pt x="165" y="183"/>
                  </a:lnTo>
                  <a:lnTo>
                    <a:pt x="164" y="181"/>
                  </a:lnTo>
                  <a:lnTo>
                    <a:pt x="164" y="183"/>
                  </a:lnTo>
                  <a:lnTo>
                    <a:pt x="163" y="183"/>
                  </a:lnTo>
                  <a:lnTo>
                    <a:pt x="161" y="183"/>
                  </a:lnTo>
                  <a:lnTo>
                    <a:pt x="160" y="183"/>
                  </a:lnTo>
                  <a:lnTo>
                    <a:pt x="160" y="181"/>
                  </a:lnTo>
                  <a:lnTo>
                    <a:pt x="159" y="183"/>
                  </a:lnTo>
                  <a:lnTo>
                    <a:pt x="158" y="183"/>
                  </a:lnTo>
                  <a:lnTo>
                    <a:pt x="158" y="184"/>
                  </a:lnTo>
                  <a:lnTo>
                    <a:pt x="156" y="184"/>
                  </a:lnTo>
                  <a:lnTo>
                    <a:pt x="156" y="185"/>
                  </a:lnTo>
                  <a:lnTo>
                    <a:pt x="155" y="185"/>
                  </a:lnTo>
                  <a:lnTo>
                    <a:pt x="155" y="186"/>
                  </a:lnTo>
                  <a:lnTo>
                    <a:pt x="155" y="187"/>
                  </a:lnTo>
                  <a:lnTo>
                    <a:pt x="155" y="189"/>
                  </a:lnTo>
                  <a:lnTo>
                    <a:pt x="156" y="189"/>
                  </a:lnTo>
                  <a:lnTo>
                    <a:pt x="156" y="190"/>
                  </a:lnTo>
                  <a:lnTo>
                    <a:pt x="155" y="191"/>
                  </a:lnTo>
                  <a:lnTo>
                    <a:pt x="155" y="192"/>
                  </a:lnTo>
                  <a:lnTo>
                    <a:pt x="154" y="192"/>
                  </a:lnTo>
                  <a:lnTo>
                    <a:pt x="154" y="193"/>
                  </a:lnTo>
                  <a:lnTo>
                    <a:pt x="153" y="193"/>
                  </a:lnTo>
                  <a:lnTo>
                    <a:pt x="153" y="195"/>
                  </a:lnTo>
                  <a:lnTo>
                    <a:pt x="152" y="195"/>
                  </a:lnTo>
                  <a:lnTo>
                    <a:pt x="152" y="196"/>
                  </a:lnTo>
                  <a:lnTo>
                    <a:pt x="150" y="196"/>
                  </a:lnTo>
                  <a:lnTo>
                    <a:pt x="152" y="196"/>
                  </a:lnTo>
                  <a:lnTo>
                    <a:pt x="150" y="196"/>
                  </a:lnTo>
                  <a:lnTo>
                    <a:pt x="152" y="197"/>
                  </a:lnTo>
                  <a:lnTo>
                    <a:pt x="152" y="196"/>
                  </a:lnTo>
                  <a:lnTo>
                    <a:pt x="153" y="196"/>
                  </a:lnTo>
                  <a:lnTo>
                    <a:pt x="154" y="196"/>
                  </a:lnTo>
                  <a:lnTo>
                    <a:pt x="155" y="197"/>
                  </a:lnTo>
                  <a:lnTo>
                    <a:pt x="156" y="197"/>
                  </a:lnTo>
                  <a:lnTo>
                    <a:pt x="156" y="198"/>
                  </a:lnTo>
                  <a:lnTo>
                    <a:pt x="155" y="198"/>
                  </a:lnTo>
                  <a:lnTo>
                    <a:pt x="156" y="198"/>
                  </a:lnTo>
                  <a:lnTo>
                    <a:pt x="155" y="198"/>
                  </a:lnTo>
                  <a:lnTo>
                    <a:pt x="154" y="199"/>
                  </a:lnTo>
                  <a:lnTo>
                    <a:pt x="154" y="201"/>
                  </a:lnTo>
                  <a:lnTo>
                    <a:pt x="154" y="199"/>
                  </a:lnTo>
                  <a:lnTo>
                    <a:pt x="154" y="201"/>
                  </a:lnTo>
                  <a:lnTo>
                    <a:pt x="153" y="202"/>
                  </a:lnTo>
                  <a:lnTo>
                    <a:pt x="152" y="202"/>
                  </a:lnTo>
                  <a:lnTo>
                    <a:pt x="150" y="201"/>
                  </a:lnTo>
                  <a:lnTo>
                    <a:pt x="150" y="202"/>
                  </a:lnTo>
                  <a:lnTo>
                    <a:pt x="149" y="202"/>
                  </a:lnTo>
                  <a:lnTo>
                    <a:pt x="148" y="202"/>
                  </a:lnTo>
                  <a:lnTo>
                    <a:pt x="147" y="202"/>
                  </a:lnTo>
                  <a:lnTo>
                    <a:pt x="147" y="201"/>
                  </a:lnTo>
                  <a:lnTo>
                    <a:pt x="146" y="201"/>
                  </a:lnTo>
                  <a:lnTo>
                    <a:pt x="144" y="201"/>
                  </a:lnTo>
                  <a:lnTo>
                    <a:pt x="143" y="201"/>
                  </a:lnTo>
                  <a:lnTo>
                    <a:pt x="142" y="201"/>
                  </a:lnTo>
                  <a:lnTo>
                    <a:pt x="142" y="202"/>
                  </a:lnTo>
                  <a:lnTo>
                    <a:pt x="141" y="201"/>
                  </a:lnTo>
                  <a:lnTo>
                    <a:pt x="140" y="201"/>
                  </a:lnTo>
                  <a:lnTo>
                    <a:pt x="140" y="199"/>
                  </a:lnTo>
                  <a:lnTo>
                    <a:pt x="140" y="198"/>
                  </a:lnTo>
                  <a:lnTo>
                    <a:pt x="142" y="198"/>
                  </a:lnTo>
                  <a:lnTo>
                    <a:pt x="142" y="197"/>
                  </a:lnTo>
                  <a:lnTo>
                    <a:pt x="141" y="196"/>
                  </a:lnTo>
                  <a:lnTo>
                    <a:pt x="142" y="196"/>
                  </a:lnTo>
                  <a:lnTo>
                    <a:pt x="143" y="195"/>
                  </a:lnTo>
                  <a:lnTo>
                    <a:pt x="143" y="193"/>
                  </a:lnTo>
                  <a:lnTo>
                    <a:pt x="142" y="193"/>
                  </a:lnTo>
                  <a:lnTo>
                    <a:pt x="142" y="192"/>
                  </a:lnTo>
                  <a:lnTo>
                    <a:pt x="142" y="191"/>
                  </a:lnTo>
                  <a:lnTo>
                    <a:pt x="143" y="190"/>
                  </a:lnTo>
                  <a:lnTo>
                    <a:pt x="142" y="190"/>
                  </a:lnTo>
                  <a:lnTo>
                    <a:pt x="143" y="190"/>
                  </a:lnTo>
                  <a:lnTo>
                    <a:pt x="144" y="190"/>
                  </a:lnTo>
                  <a:lnTo>
                    <a:pt x="146" y="190"/>
                  </a:lnTo>
                  <a:lnTo>
                    <a:pt x="146" y="187"/>
                  </a:lnTo>
                  <a:lnTo>
                    <a:pt x="144" y="187"/>
                  </a:lnTo>
                  <a:lnTo>
                    <a:pt x="143" y="187"/>
                  </a:lnTo>
                  <a:lnTo>
                    <a:pt x="144" y="187"/>
                  </a:lnTo>
                  <a:lnTo>
                    <a:pt x="143" y="187"/>
                  </a:lnTo>
                  <a:lnTo>
                    <a:pt x="142" y="187"/>
                  </a:lnTo>
                  <a:lnTo>
                    <a:pt x="141" y="189"/>
                  </a:lnTo>
                  <a:lnTo>
                    <a:pt x="140" y="189"/>
                  </a:lnTo>
                  <a:lnTo>
                    <a:pt x="140" y="190"/>
                  </a:lnTo>
                  <a:lnTo>
                    <a:pt x="138" y="190"/>
                  </a:lnTo>
                  <a:lnTo>
                    <a:pt x="137" y="190"/>
                  </a:lnTo>
                  <a:lnTo>
                    <a:pt x="137" y="191"/>
                  </a:lnTo>
                  <a:lnTo>
                    <a:pt x="137" y="190"/>
                  </a:lnTo>
                  <a:lnTo>
                    <a:pt x="136" y="190"/>
                  </a:lnTo>
                  <a:lnTo>
                    <a:pt x="135" y="191"/>
                  </a:lnTo>
                  <a:lnTo>
                    <a:pt x="135" y="190"/>
                  </a:lnTo>
                  <a:lnTo>
                    <a:pt x="134" y="190"/>
                  </a:lnTo>
                  <a:lnTo>
                    <a:pt x="134" y="191"/>
                  </a:lnTo>
                  <a:lnTo>
                    <a:pt x="132" y="191"/>
                  </a:lnTo>
                  <a:lnTo>
                    <a:pt x="134" y="191"/>
                  </a:lnTo>
                  <a:lnTo>
                    <a:pt x="134" y="192"/>
                  </a:lnTo>
                  <a:lnTo>
                    <a:pt x="132" y="192"/>
                  </a:lnTo>
                  <a:lnTo>
                    <a:pt x="132" y="191"/>
                  </a:lnTo>
                  <a:lnTo>
                    <a:pt x="131" y="192"/>
                  </a:lnTo>
                  <a:lnTo>
                    <a:pt x="131" y="193"/>
                  </a:lnTo>
                  <a:lnTo>
                    <a:pt x="132" y="193"/>
                  </a:lnTo>
                  <a:lnTo>
                    <a:pt x="131" y="193"/>
                  </a:lnTo>
                  <a:lnTo>
                    <a:pt x="130" y="193"/>
                  </a:lnTo>
                  <a:lnTo>
                    <a:pt x="129" y="193"/>
                  </a:lnTo>
                  <a:lnTo>
                    <a:pt x="128" y="193"/>
                  </a:lnTo>
                  <a:lnTo>
                    <a:pt x="126" y="193"/>
                  </a:lnTo>
                  <a:lnTo>
                    <a:pt x="125" y="193"/>
                  </a:lnTo>
                  <a:lnTo>
                    <a:pt x="125" y="192"/>
                  </a:lnTo>
                  <a:lnTo>
                    <a:pt x="124" y="192"/>
                  </a:lnTo>
                  <a:lnTo>
                    <a:pt x="123" y="192"/>
                  </a:lnTo>
                  <a:lnTo>
                    <a:pt x="123" y="191"/>
                  </a:lnTo>
                  <a:lnTo>
                    <a:pt x="122" y="190"/>
                  </a:lnTo>
                  <a:lnTo>
                    <a:pt x="122" y="191"/>
                  </a:lnTo>
                  <a:lnTo>
                    <a:pt x="122" y="192"/>
                  </a:lnTo>
                  <a:lnTo>
                    <a:pt x="120" y="191"/>
                  </a:lnTo>
                  <a:lnTo>
                    <a:pt x="120" y="192"/>
                  </a:lnTo>
                  <a:lnTo>
                    <a:pt x="120" y="193"/>
                  </a:lnTo>
                  <a:lnTo>
                    <a:pt x="119" y="193"/>
                  </a:lnTo>
                  <a:lnTo>
                    <a:pt x="119" y="195"/>
                  </a:lnTo>
                  <a:lnTo>
                    <a:pt x="118" y="195"/>
                  </a:lnTo>
                  <a:lnTo>
                    <a:pt x="117" y="193"/>
                  </a:lnTo>
                  <a:lnTo>
                    <a:pt x="117" y="192"/>
                  </a:lnTo>
                  <a:lnTo>
                    <a:pt x="117" y="193"/>
                  </a:lnTo>
                  <a:lnTo>
                    <a:pt x="116" y="193"/>
                  </a:lnTo>
                  <a:lnTo>
                    <a:pt x="116" y="195"/>
                  </a:lnTo>
                  <a:lnTo>
                    <a:pt x="116" y="196"/>
                  </a:lnTo>
                  <a:lnTo>
                    <a:pt x="116" y="195"/>
                  </a:lnTo>
                  <a:lnTo>
                    <a:pt x="116" y="196"/>
                  </a:lnTo>
                  <a:lnTo>
                    <a:pt x="114" y="197"/>
                  </a:lnTo>
                  <a:lnTo>
                    <a:pt x="114" y="196"/>
                  </a:lnTo>
                  <a:lnTo>
                    <a:pt x="113" y="196"/>
                  </a:lnTo>
                  <a:lnTo>
                    <a:pt x="113" y="195"/>
                  </a:lnTo>
                  <a:lnTo>
                    <a:pt x="112" y="195"/>
                  </a:lnTo>
                  <a:lnTo>
                    <a:pt x="112" y="196"/>
                  </a:lnTo>
                  <a:lnTo>
                    <a:pt x="111" y="196"/>
                  </a:lnTo>
                  <a:lnTo>
                    <a:pt x="111" y="195"/>
                  </a:lnTo>
                  <a:lnTo>
                    <a:pt x="111" y="193"/>
                  </a:lnTo>
                  <a:lnTo>
                    <a:pt x="111" y="192"/>
                  </a:lnTo>
                  <a:lnTo>
                    <a:pt x="112" y="192"/>
                  </a:lnTo>
                  <a:lnTo>
                    <a:pt x="113" y="192"/>
                  </a:lnTo>
                  <a:lnTo>
                    <a:pt x="114" y="192"/>
                  </a:lnTo>
                  <a:lnTo>
                    <a:pt x="113" y="191"/>
                  </a:lnTo>
                  <a:lnTo>
                    <a:pt x="114" y="191"/>
                  </a:lnTo>
                  <a:lnTo>
                    <a:pt x="113" y="191"/>
                  </a:lnTo>
                  <a:lnTo>
                    <a:pt x="113" y="190"/>
                  </a:lnTo>
                  <a:lnTo>
                    <a:pt x="116" y="190"/>
                  </a:lnTo>
                  <a:lnTo>
                    <a:pt x="114" y="190"/>
                  </a:lnTo>
                  <a:lnTo>
                    <a:pt x="116" y="190"/>
                  </a:lnTo>
                  <a:lnTo>
                    <a:pt x="117" y="190"/>
                  </a:lnTo>
                  <a:lnTo>
                    <a:pt x="117" y="189"/>
                  </a:lnTo>
                  <a:lnTo>
                    <a:pt x="116" y="189"/>
                  </a:lnTo>
                  <a:lnTo>
                    <a:pt x="116" y="187"/>
                  </a:lnTo>
                  <a:lnTo>
                    <a:pt x="114" y="187"/>
                  </a:lnTo>
                  <a:lnTo>
                    <a:pt x="113" y="187"/>
                  </a:lnTo>
                  <a:lnTo>
                    <a:pt x="113" y="189"/>
                  </a:lnTo>
                  <a:lnTo>
                    <a:pt x="111" y="189"/>
                  </a:lnTo>
                  <a:lnTo>
                    <a:pt x="110" y="190"/>
                  </a:lnTo>
                  <a:lnTo>
                    <a:pt x="110" y="191"/>
                  </a:lnTo>
                  <a:lnTo>
                    <a:pt x="110" y="190"/>
                  </a:lnTo>
                  <a:lnTo>
                    <a:pt x="110" y="189"/>
                  </a:lnTo>
                  <a:lnTo>
                    <a:pt x="108" y="190"/>
                  </a:lnTo>
                  <a:lnTo>
                    <a:pt x="107" y="191"/>
                  </a:lnTo>
                  <a:lnTo>
                    <a:pt x="107" y="192"/>
                  </a:lnTo>
                  <a:lnTo>
                    <a:pt x="107" y="191"/>
                  </a:lnTo>
                  <a:lnTo>
                    <a:pt x="106" y="191"/>
                  </a:lnTo>
                  <a:lnTo>
                    <a:pt x="106" y="190"/>
                  </a:lnTo>
                  <a:lnTo>
                    <a:pt x="105" y="190"/>
                  </a:lnTo>
                  <a:lnTo>
                    <a:pt x="104" y="190"/>
                  </a:lnTo>
                  <a:lnTo>
                    <a:pt x="102" y="190"/>
                  </a:lnTo>
                  <a:lnTo>
                    <a:pt x="102" y="189"/>
                  </a:lnTo>
                  <a:lnTo>
                    <a:pt x="101" y="189"/>
                  </a:lnTo>
                  <a:lnTo>
                    <a:pt x="100" y="189"/>
                  </a:lnTo>
                  <a:lnTo>
                    <a:pt x="100" y="187"/>
                  </a:lnTo>
                  <a:lnTo>
                    <a:pt x="99" y="187"/>
                  </a:lnTo>
                  <a:lnTo>
                    <a:pt x="99" y="186"/>
                  </a:lnTo>
                  <a:lnTo>
                    <a:pt x="97" y="186"/>
                  </a:lnTo>
                  <a:lnTo>
                    <a:pt x="96" y="186"/>
                  </a:lnTo>
                  <a:lnTo>
                    <a:pt x="97" y="186"/>
                  </a:lnTo>
                  <a:lnTo>
                    <a:pt x="97" y="185"/>
                  </a:lnTo>
                  <a:lnTo>
                    <a:pt x="96" y="184"/>
                  </a:lnTo>
                  <a:lnTo>
                    <a:pt x="97" y="184"/>
                  </a:lnTo>
                  <a:lnTo>
                    <a:pt x="97" y="183"/>
                  </a:lnTo>
                  <a:lnTo>
                    <a:pt x="96" y="183"/>
                  </a:lnTo>
                  <a:lnTo>
                    <a:pt x="97" y="183"/>
                  </a:lnTo>
                  <a:lnTo>
                    <a:pt x="97" y="181"/>
                  </a:lnTo>
                  <a:lnTo>
                    <a:pt x="97" y="183"/>
                  </a:lnTo>
                  <a:lnTo>
                    <a:pt x="96" y="183"/>
                  </a:lnTo>
                  <a:lnTo>
                    <a:pt x="96" y="181"/>
                  </a:lnTo>
                  <a:lnTo>
                    <a:pt x="95" y="181"/>
                  </a:lnTo>
                  <a:lnTo>
                    <a:pt x="95" y="180"/>
                  </a:lnTo>
                  <a:lnTo>
                    <a:pt x="95" y="179"/>
                  </a:lnTo>
                  <a:lnTo>
                    <a:pt x="94" y="179"/>
                  </a:lnTo>
                  <a:lnTo>
                    <a:pt x="94" y="178"/>
                  </a:lnTo>
                  <a:lnTo>
                    <a:pt x="94" y="177"/>
                  </a:lnTo>
                  <a:lnTo>
                    <a:pt x="94" y="175"/>
                  </a:lnTo>
                  <a:lnTo>
                    <a:pt x="93" y="174"/>
                  </a:lnTo>
                  <a:lnTo>
                    <a:pt x="94" y="174"/>
                  </a:lnTo>
                  <a:lnTo>
                    <a:pt x="94" y="173"/>
                  </a:lnTo>
                  <a:lnTo>
                    <a:pt x="95" y="173"/>
                  </a:lnTo>
                  <a:lnTo>
                    <a:pt x="95" y="174"/>
                  </a:lnTo>
                  <a:lnTo>
                    <a:pt x="96" y="174"/>
                  </a:lnTo>
                  <a:lnTo>
                    <a:pt x="96" y="175"/>
                  </a:lnTo>
                  <a:lnTo>
                    <a:pt x="96" y="174"/>
                  </a:lnTo>
                  <a:lnTo>
                    <a:pt x="97" y="174"/>
                  </a:lnTo>
                  <a:lnTo>
                    <a:pt x="96" y="174"/>
                  </a:lnTo>
                  <a:lnTo>
                    <a:pt x="97" y="174"/>
                  </a:lnTo>
                  <a:lnTo>
                    <a:pt x="99" y="174"/>
                  </a:lnTo>
                  <a:lnTo>
                    <a:pt x="99" y="173"/>
                  </a:lnTo>
                  <a:lnTo>
                    <a:pt x="100" y="173"/>
                  </a:lnTo>
                  <a:lnTo>
                    <a:pt x="100" y="172"/>
                  </a:lnTo>
                  <a:lnTo>
                    <a:pt x="101" y="172"/>
                  </a:lnTo>
                  <a:lnTo>
                    <a:pt x="101" y="173"/>
                  </a:lnTo>
                  <a:lnTo>
                    <a:pt x="102" y="173"/>
                  </a:lnTo>
                  <a:lnTo>
                    <a:pt x="104" y="173"/>
                  </a:lnTo>
                  <a:lnTo>
                    <a:pt x="104" y="172"/>
                  </a:lnTo>
                  <a:lnTo>
                    <a:pt x="104" y="171"/>
                  </a:lnTo>
                  <a:lnTo>
                    <a:pt x="104" y="172"/>
                  </a:lnTo>
                  <a:lnTo>
                    <a:pt x="105" y="172"/>
                  </a:lnTo>
                  <a:lnTo>
                    <a:pt x="106" y="172"/>
                  </a:lnTo>
                  <a:lnTo>
                    <a:pt x="105" y="172"/>
                  </a:lnTo>
                  <a:lnTo>
                    <a:pt x="105" y="171"/>
                  </a:lnTo>
                  <a:lnTo>
                    <a:pt x="105" y="169"/>
                  </a:lnTo>
                  <a:lnTo>
                    <a:pt x="104" y="169"/>
                  </a:lnTo>
                  <a:lnTo>
                    <a:pt x="104" y="168"/>
                  </a:lnTo>
                  <a:lnTo>
                    <a:pt x="102" y="168"/>
                  </a:lnTo>
                  <a:lnTo>
                    <a:pt x="102" y="167"/>
                  </a:lnTo>
                  <a:lnTo>
                    <a:pt x="102" y="166"/>
                  </a:lnTo>
                  <a:lnTo>
                    <a:pt x="104" y="166"/>
                  </a:lnTo>
                  <a:lnTo>
                    <a:pt x="102" y="166"/>
                  </a:lnTo>
                  <a:lnTo>
                    <a:pt x="102" y="165"/>
                  </a:lnTo>
                  <a:lnTo>
                    <a:pt x="101" y="165"/>
                  </a:lnTo>
                  <a:lnTo>
                    <a:pt x="100" y="163"/>
                  </a:lnTo>
                  <a:lnTo>
                    <a:pt x="100" y="162"/>
                  </a:lnTo>
                  <a:lnTo>
                    <a:pt x="100" y="161"/>
                  </a:lnTo>
                  <a:lnTo>
                    <a:pt x="100" y="160"/>
                  </a:lnTo>
                  <a:lnTo>
                    <a:pt x="99" y="160"/>
                  </a:lnTo>
                  <a:lnTo>
                    <a:pt x="99" y="159"/>
                  </a:lnTo>
                  <a:lnTo>
                    <a:pt x="99" y="157"/>
                  </a:lnTo>
                  <a:lnTo>
                    <a:pt x="97" y="157"/>
                  </a:lnTo>
                  <a:lnTo>
                    <a:pt x="97" y="156"/>
                  </a:lnTo>
                  <a:lnTo>
                    <a:pt x="97" y="155"/>
                  </a:lnTo>
                  <a:lnTo>
                    <a:pt x="97" y="154"/>
                  </a:lnTo>
                  <a:lnTo>
                    <a:pt x="97" y="152"/>
                  </a:lnTo>
                  <a:lnTo>
                    <a:pt x="97" y="151"/>
                  </a:lnTo>
                  <a:lnTo>
                    <a:pt x="97" y="150"/>
                  </a:lnTo>
                  <a:lnTo>
                    <a:pt x="97" y="149"/>
                  </a:lnTo>
                  <a:lnTo>
                    <a:pt x="96" y="148"/>
                  </a:lnTo>
                  <a:lnTo>
                    <a:pt x="96" y="146"/>
                  </a:lnTo>
                  <a:lnTo>
                    <a:pt x="97" y="145"/>
                  </a:lnTo>
                  <a:lnTo>
                    <a:pt x="99" y="145"/>
                  </a:lnTo>
                  <a:lnTo>
                    <a:pt x="99" y="146"/>
                  </a:lnTo>
                  <a:lnTo>
                    <a:pt x="99" y="148"/>
                  </a:lnTo>
                  <a:lnTo>
                    <a:pt x="100" y="148"/>
                  </a:lnTo>
                  <a:lnTo>
                    <a:pt x="100" y="149"/>
                  </a:lnTo>
                  <a:lnTo>
                    <a:pt x="101" y="149"/>
                  </a:lnTo>
                  <a:lnTo>
                    <a:pt x="102" y="149"/>
                  </a:lnTo>
                  <a:lnTo>
                    <a:pt x="102" y="150"/>
                  </a:lnTo>
                  <a:lnTo>
                    <a:pt x="104" y="150"/>
                  </a:lnTo>
                  <a:lnTo>
                    <a:pt x="104" y="151"/>
                  </a:lnTo>
                  <a:lnTo>
                    <a:pt x="105" y="151"/>
                  </a:lnTo>
                  <a:lnTo>
                    <a:pt x="105" y="150"/>
                  </a:lnTo>
                  <a:lnTo>
                    <a:pt x="105" y="149"/>
                  </a:lnTo>
                  <a:lnTo>
                    <a:pt x="105" y="148"/>
                  </a:lnTo>
                  <a:lnTo>
                    <a:pt x="105" y="146"/>
                  </a:lnTo>
                  <a:lnTo>
                    <a:pt x="106" y="146"/>
                  </a:lnTo>
                  <a:lnTo>
                    <a:pt x="107" y="146"/>
                  </a:lnTo>
                  <a:lnTo>
                    <a:pt x="107" y="148"/>
                  </a:lnTo>
                  <a:lnTo>
                    <a:pt x="107" y="149"/>
                  </a:lnTo>
                  <a:lnTo>
                    <a:pt x="108" y="149"/>
                  </a:lnTo>
                  <a:lnTo>
                    <a:pt x="108" y="150"/>
                  </a:lnTo>
                  <a:lnTo>
                    <a:pt x="108" y="149"/>
                  </a:lnTo>
                  <a:lnTo>
                    <a:pt x="110" y="148"/>
                  </a:lnTo>
                  <a:lnTo>
                    <a:pt x="111" y="148"/>
                  </a:lnTo>
                  <a:lnTo>
                    <a:pt x="111" y="149"/>
                  </a:lnTo>
                  <a:lnTo>
                    <a:pt x="112" y="149"/>
                  </a:lnTo>
                  <a:lnTo>
                    <a:pt x="112" y="150"/>
                  </a:lnTo>
                  <a:lnTo>
                    <a:pt x="113" y="150"/>
                  </a:lnTo>
                  <a:lnTo>
                    <a:pt x="113" y="151"/>
                  </a:lnTo>
                  <a:lnTo>
                    <a:pt x="114" y="151"/>
                  </a:lnTo>
                  <a:lnTo>
                    <a:pt x="114" y="152"/>
                  </a:lnTo>
                  <a:lnTo>
                    <a:pt x="116" y="152"/>
                  </a:lnTo>
                  <a:lnTo>
                    <a:pt x="116" y="154"/>
                  </a:lnTo>
                  <a:lnTo>
                    <a:pt x="117" y="154"/>
                  </a:lnTo>
                  <a:lnTo>
                    <a:pt x="118" y="154"/>
                  </a:lnTo>
                  <a:lnTo>
                    <a:pt x="118" y="152"/>
                  </a:lnTo>
                  <a:lnTo>
                    <a:pt x="117" y="151"/>
                  </a:lnTo>
                  <a:lnTo>
                    <a:pt x="116" y="151"/>
                  </a:lnTo>
                  <a:lnTo>
                    <a:pt x="116" y="150"/>
                  </a:lnTo>
                  <a:lnTo>
                    <a:pt x="114" y="149"/>
                  </a:lnTo>
                  <a:lnTo>
                    <a:pt x="114" y="148"/>
                  </a:lnTo>
                  <a:lnTo>
                    <a:pt x="114" y="146"/>
                  </a:lnTo>
                  <a:lnTo>
                    <a:pt x="116" y="146"/>
                  </a:lnTo>
                  <a:lnTo>
                    <a:pt x="116" y="145"/>
                  </a:lnTo>
                  <a:lnTo>
                    <a:pt x="117" y="145"/>
                  </a:lnTo>
                  <a:lnTo>
                    <a:pt x="117" y="146"/>
                  </a:lnTo>
                  <a:lnTo>
                    <a:pt x="118" y="146"/>
                  </a:lnTo>
                  <a:lnTo>
                    <a:pt x="119" y="146"/>
                  </a:lnTo>
                  <a:lnTo>
                    <a:pt x="120" y="145"/>
                  </a:lnTo>
                  <a:lnTo>
                    <a:pt x="120" y="146"/>
                  </a:lnTo>
                  <a:lnTo>
                    <a:pt x="122" y="146"/>
                  </a:lnTo>
                  <a:lnTo>
                    <a:pt x="122" y="148"/>
                  </a:lnTo>
                  <a:lnTo>
                    <a:pt x="123" y="148"/>
                  </a:lnTo>
                  <a:lnTo>
                    <a:pt x="125" y="148"/>
                  </a:lnTo>
                  <a:lnTo>
                    <a:pt x="125" y="149"/>
                  </a:lnTo>
                  <a:lnTo>
                    <a:pt x="126" y="149"/>
                  </a:lnTo>
                  <a:lnTo>
                    <a:pt x="128" y="149"/>
                  </a:lnTo>
                  <a:lnTo>
                    <a:pt x="128" y="148"/>
                  </a:lnTo>
                  <a:lnTo>
                    <a:pt x="129" y="146"/>
                  </a:lnTo>
                  <a:lnTo>
                    <a:pt x="129" y="145"/>
                  </a:lnTo>
                  <a:lnTo>
                    <a:pt x="129" y="146"/>
                  </a:lnTo>
                  <a:lnTo>
                    <a:pt x="128" y="145"/>
                  </a:lnTo>
                  <a:lnTo>
                    <a:pt x="128" y="146"/>
                  </a:lnTo>
                  <a:lnTo>
                    <a:pt x="126" y="146"/>
                  </a:lnTo>
                  <a:lnTo>
                    <a:pt x="126" y="145"/>
                  </a:lnTo>
                  <a:lnTo>
                    <a:pt x="125" y="144"/>
                  </a:lnTo>
                  <a:lnTo>
                    <a:pt x="124" y="144"/>
                  </a:lnTo>
                  <a:lnTo>
                    <a:pt x="123" y="144"/>
                  </a:lnTo>
                  <a:lnTo>
                    <a:pt x="123" y="143"/>
                  </a:lnTo>
                  <a:lnTo>
                    <a:pt x="122" y="143"/>
                  </a:lnTo>
                  <a:lnTo>
                    <a:pt x="122" y="140"/>
                  </a:lnTo>
                  <a:lnTo>
                    <a:pt x="120" y="140"/>
                  </a:lnTo>
                  <a:lnTo>
                    <a:pt x="120" y="142"/>
                  </a:lnTo>
                  <a:lnTo>
                    <a:pt x="119" y="142"/>
                  </a:lnTo>
                  <a:lnTo>
                    <a:pt x="118" y="142"/>
                  </a:lnTo>
                  <a:lnTo>
                    <a:pt x="117" y="142"/>
                  </a:lnTo>
                  <a:lnTo>
                    <a:pt x="116" y="142"/>
                  </a:lnTo>
                  <a:lnTo>
                    <a:pt x="116" y="140"/>
                  </a:lnTo>
                  <a:lnTo>
                    <a:pt x="114" y="142"/>
                  </a:lnTo>
                  <a:lnTo>
                    <a:pt x="114" y="140"/>
                  </a:lnTo>
                  <a:lnTo>
                    <a:pt x="114" y="139"/>
                  </a:lnTo>
                  <a:lnTo>
                    <a:pt x="113" y="138"/>
                  </a:lnTo>
                  <a:lnTo>
                    <a:pt x="113" y="137"/>
                  </a:lnTo>
                  <a:lnTo>
                    <a:pt x="112" y="137"/>
                  </a:lnTo>
                  <a:lnTo>
                    <a:pt x="111" y="137"/>
                  </a:lnTo>
                  <a:lnTo>
                    <a:pt x="110" y="137"/>
                  </a:lnTo>
                  <a:lnTo>
                    <a:pt x="110" y="136"/>
                  </a:lnTo>
                  <a:lnTo>
                    <a:pt x="110" y="134"/>
                  </a:lnTo>
                  <a:lnTo>
                    <a:pt x="110" y="133"/>
                  </a:lnTo>
                  <a:lnTo>
                    <a:pt x="110" y="132"/>
                  </a:lnTo>
                  <a:lnTo>
                    <a:pt x="108" y="132"/>
                  </a:lnTo>
                  <a:lnTo>
                    <a:pt x="108" y="131"/>
                  </a:lnTo>
                  <a:lnTo>
                    <a:pt x="107" y="131"/>
                  </a:lnTo>
                  <a:lnTo>
                    <a:pt x="107" y="130"/>
                  </a:lnTo>
                  <a:lnTo>
                    <a:pt x="108" y="130"/>
                  </a:lnTo>
                  <a:lnTo>
                    <a:pt x="108" y="128"/>
                  </a:lnTo>
                  <a:lnTo>
                    <a:pt x="110" y="128"/>
                  </a:lnTo>
                  <a:lnTo>
                    <a:pt x="110" y="130"/>
                  </a:lnTo>
                  <a:lnTo>
                    <a:pt x="111" y="130"/>
                  </a:lnTo>
                  <a:lnTo>
                    <a:pt x="112" y="130"/>
                  </a:lnTo>
                  <a:lnTo>
                    <a:pt x="113" y="130"/>
                  </a:lnTo>
                  <a:lnTo>
                    <a:pt x="113" y="131"/>
                  </a:lnTo>
                  <a:lnTo>
                    <a:pt x="114" y="131"/>
                  </a:lnTo>
                  <a:lnTo>
                    <a:pt x="116" y="131"/>
                  </a:lnTo>
                  <a:lnTo>
                    <a:pt x="116" y="130"/>
                  </a:lnTo>
                  <a:lnTo>
                    <a:pt x="114" y="130"/>
                  </a:lnTo>
                  <a:lnTo>
                    <a:pt x="114" y="128"/>
                  </a:lnTo>
                  <a:lnTo>
                    <a:pt x="114" y="127"/>
                  </a:lnTo>
                  <a:lnTo>
                    <a:pt x="114" y="126"/>
                  </a:lnTo>
                  <a:lnTo>
                    <a:pt x="116" y="126"/>
                  </a:lnTo>
                  <a:lnTo>
                    <a:pt x="116" y="127"/>
                  </a:lnTo>
                  <a:lnTo>
                    <a:pt x="117" y="128"/>
                  </a:lnTo>
                  <a:lnTo>
                    <a:pt x="118" y="128"/>
                  </a:lnTo>
                  <a:lnTo>
                    <a:pt x="119" y="128"/>
                  </a:lnTo>
                  <a:lnTo>
                    <a:pt x="119" y="131"/>
                  </a:lnTo>
                  <a:lnTo>
                    <a:pt x="119" y="132"/>
                  </a:lnTo>
                  <a:lnTo>
                    <a:pt x="120" y="132"/>
                  </a:lnTo>
                  <a:lnTo>
                    <a:pt x="120" y="133"/>
                  </a:lnTo>
                  <a:lnTo>
                    <a:pt x="120" y="132"/>
                  </a:lnTo>
                  <a:lnTo>
                    <a:pt x="122" y="132"/>
                  </a:lnTo>
                  <a:lnTo>
                    <a:pt x="123" y="132"/>
                  </a:lnTo>
                  <a:lnTo>
                    <a:pt x="123" y="131"/>
                  </a:lnTo>
                  <a:lnTo>
                    <a:pt x="124" y="131"/>
                  </a:lnTo>
                  <a:lnTo>
                    <a:pt x="126" y="131"/>
                  </a:lnTo>
                  <a:lnTo>
                    <a:pt x="129" y="131"/>
                  </a:lnTo>
                  <a:lnTo>
                    <a:pt x="129" y="132"/>
                  </a:lnTo>
                  <a:lnTo>
                    <a:pt x="129" y="133"/>
                  </a:lnTo>
                  <a:lnTo>
                    <a:pt x="130" y="133"/>
                  </a:lnTo>
                  <a:lnTo>
                    <a:pt x="130" y="134"/>
                  </a:lnTo>
                  <a:lnTo>
                    <a:pt x="131" y="134"/>
                  </a:lnTo>
                  <a:lnTo>
                    <a:pt x="131" y="133"/>
                  </a:lnTo>
                  <a:lnTo>
                    <a:pt x="130" y="132"/>
                  </a:lnTo>
                  <a:lnTo>
                    <a:pt x="130" y="131"/>
                  </a:lnTo>
                  <a:lnTo>
                    <a:pt x="129" y="131"/>
                  </a:lnTo>
                  <a:lnTo>
                    <a:pt x="129" y="130"/>
                  </a:lnTo>
                  <a:lnTo>
                    <a:pt x="129" y="128"/>
                  </a:lnTo>
                  <a:lnTo>
                    <a:pt x="130" y="127"/>
                  </a:lnTo>
                  <a:lnTo>
                    <a:pt x="130" y="128"/>
                  </a:lnTo>
                  <a:lnTo>
                    <a:pt x="131" y="128"/>
                  </a:lnTo>
                  <a:lnTo>
                    <a:pt x="132" y="130"/>
                  </a:lnTo>
                  <a:lnTo>
                    <a:pt x="132" y="128"/>
                  </a:lnTo>
                  <a:lnTo>
                    <a:pt x="132" y="126"/>
                  </a:lnTo>
                  <a:lnTo>
                    <a:pt x="131" y="125"/>
                  </a:lnTo>
                  <a:lnTo>
                    <a:pt x="131" y="124"/>
                  </a:lnTo>
                  <a:lnTo>
                    <a:pt x="131" y="122"/>
                  </a:lnTo>
                  <a:lnTo>
                    <a:pt x="132" y="122"/>
                  </a:lnTo>
                  <a:lnTo>
                    <a:pt x="132" y="124"/>
                  </a:lnTo>
                  <a:lnTo>
                    <a:pt x="134" y="122"/>
                  </a:lnTo>
                  <a:lnTo>
                    <a:pt x="135" y="122"/>
                  </a:lnTo>
                  <a:lnTo>
                    <a:pt x="136" y="124"/>
                  </a:lnTo>
                  <a:lnTo>
                    <a:pt x="136" y="125"/>
                  </a:lnTo>
                  <a:lnTo>
                    <a:pt x="136" y="124"/>
                  </a:lnTo>
                  <a:lnTo>
                    <a:pt x="137" y="125"/>
                  </a:lnTo>
                  <a:lnTo>
                    <a:pt x="138" y="125"/>
                  </a:lnTo>
                  <a:lnTo>
                    <a:pt x="138" y="124"/>
                  </a:lnTo>
                  <a:lnTo>
                    <a:pt x="140" y="124"/>
                  </a:lnTo>
                  <a:lnTo>
                    <a:pt x="140" y="122"/>
                  </a:lnTo>
                  <a:lnTo>
                    <a:pt x="138" y="122"/>
                  </a:lnTo>
                  <a:lnTo>
                    <a:pt x="140" y="121"/>
                  </a:lnTo>
                  <a:lnTo>
                    <a:pt x="140" y="120"/>
                  </a:lnTo>
                  <a:lnTo>
                    <a:pt x="138" y="120"/>
                  </a:lnTo>
                  <a:lnTo>
                    <a:pt x="138" y="119"/>
                  </a:lnTo>
                  <a:lnTo>
                    <a:pt x="138" y="118"/>
                  </a:lnTo>
                  <a:lnTo>
                    <a:pt x="140" y="118"/>
                  </a:lnTo>
                  <a:lnTo>
                    <a:pt x="140" y="116"/>
                  </a:lnTo>
                  <a:lnTo>
                    <a:pt x="141" y="116"/>
                  </a:lnTo>
                  <a:lnTo>
                    <a:pt x="141" y="118"/>
                  </a:lnTo>
                  <a:lnTo>
                    <a:pt x="142" y="118"/>
                  </a:lnTo>
                  <a:lnTo>
                    <a:pt x="142" y="119"/>
                  </a:lnTo>
                  <a:lnTo>
                    <a:pt x="143" y="119"/>
                  </a:lnTo>
                  <a:lnTo>
                    <a:pt x="143" y="118"/>
                  </a:lnTo>
                  <a:lnTo>
                    <a:pt x="144" y="116"/>
                  </a:lnTo>
                  <a:lnTo>
                    <a:pt x="144" y="115"/>
                  </a:lnTo>
                  <a:lnTo>
                    <a:pt x="146" y="116"/>
                  </a:lnTo>
                  <a:lnTo>
                    <a:pt x="146" y="115"/>
                  </a:lnTo>
                  <a:lnTo>
                    <a:pt x="146" y="114"/>
                  </a:lnTo>
                  <a:lnTo>
                    <a:pt x="144" y="114"/>
                  </a:lnTo>
                  <a:lnTo>
                    <a:pt x="144" y="113"/>
                  </a:lnTo>
                  <a:lnTo>
                    <a:pt x="144" y="112"/>
                  </a:lnTo>
                  <a:lnTo>
                    <a:pt x="143" y="110"/>
                  </a:lnTo>
                  <a:lnTo>
                    <a:pt x="143" y="112"/>
                  </a:lnTo>
                  <a:lnTo>
                    <a:pt x="143" y="110"/>
                  </a:lnTo>
                  <a:lnTo>
                    <a:pt x="142" y="110"/>
                  </a:lnTo>
                  <a:lnTo>
                    <a:pt x="143" y="109"/>
                  </a:lnTo>
                  <a:lnTo>
                    <a:pt x="142" y="109"/>
                  </a:lnTo>
                  <a:lnTo>
                    <a:pt x="142" y="108"/>
                  </a:lnTo>
                  <a:lnTo>
                    <a:pt x="141" y="107"/>
                  </a:lnTo>
                  <a:lnTo>
                    <a:pt x="141" y="108"/>
                  </a:lnTo>
                  <a:lnTo>
                    <a:pt x="141" y="107"/>
                  </a:lnTo>
                  <a:lnTo>
                    <a:pt x="141" y="108"/>
                  </a:lnTo>
                  <a:lnTo>
                    <a:pt x="140" y="108"/>
                  </a:lnTo>
                  <a:lnTo>
                    <a:pt x="138" y="107"/>
                  </a:lnTo>
                  <a:lnTo>
                    <a:pt x="138" y="106"/>
                  </a:lnTo>
                  <a:lnTo>
                    <a:pt x="137" y="106"/>
                  </a:lnTo>
                  <a:lnTo>
                    <a:pt x="136" y="106"/>
                  </a:lnTo>
                  <a:lnTo>
                    <a:pt x="136" y="104"/>
                  </a:lnTo>
                  <a:lnTo>
                    <a:pt x="136" y="103"/>
                  </a:lnTo>
                  <a:lnTo>
                    <a:pt x="136" y="102"/>
                  </a:lnTo>
                  <a:lnTo>
                    <a:pt x="137" y="102"/>
                  </a:lnTo>
                  <a:lnTo>
                    <a:pt x="137" y="103"/>
                  </a:lnTo>
                  <a:lnTo>
                    <a:pt x="138" y="102"/>
                  </a:lnTo>
                  <a:lnTo>
                    <a:pt x="140" y="102"/>
                  </a:lnTo>
                  <a:lnTo>
                    <a:pt x="138" y="101"/>
                  </a:lnTo>
                  <a:lnTo>
                    <a:pt x="137" y="101"/>
                  </a:lnTo>
                  <a:lnTo>
                    <a:pt x="136" y="101"/>
                  </a:lnTo>
                  <a:lnTo>
                    <a:pt x="135" y="101"/>
                  </a:lnTo>
                  <a:lnTo>
                    <a:pt x="135" y="100"/>
                  </a:lnTo>
                  <a:lnTo>
                    <a:pt x="135" y="98"/>
                  </a:lnTo>
                  <a:lnTo>
                    <a:pt x="134" y="98"/>
                  </a:lnTo>
                  <a:lnTo>
                    <a:pt x="132" y="98"/>
                  </a:lnTo>
                  <a:lnTo>
                    <a:pt x="132" y="97"/>
                  </a:lnTo>
                  <a:lnTo>
                    <a:pt x="131" y="97"/>
                  </a:lnTo>
                  <a:lnTo>
                    <a:pt x="132" y="96"/>
                  </a:lnTo>
                  <a:lnTo>
                    <a:pt x="132" y="94"/>
                  </a:lnTo>
                  <a:lnTo>
                    <a:pt x="134" y="92"/>
                  </a:lnTo>
                  <a:lnTo>
                    <a:pt x="132" y="91"/>
                  </a:lnTo>
                  <a:lnTo>
                    <a:pt x="132" y="90"/>
                  </a:lnTo>
                  <a:lnTo>
                    <a:pt x="132" y="89"/>
                  </a:lnTo>
                  <a:lnTo>
                    <a:pt x="132" y="88"/>
                  </a:lnTo>
                  <a:lnTo>
                    <a:pt x="134" y="88"/>
                  </a:lnTo>
                  <a:lnTo>
                    <a:pt x="135" y="88"/>
                  </a:lnTo>
                  <a:lnTo>
                    <a:pt x="135" y="89"/>
                  </a:lnTo>
                  <a:lnTo>
                    <a:pt x="136" y="90"/>
                  </a:lnTo>
                  <a:lnTo>
                    <a:pt x="136" y="89"/>
                  </a:lnTo>
                  <a:lnTo>
                    <a:pt x="137" y="89"/>
                  </a:lnTo>
                  <a:lnTo>
                    <a:pt x="140" y="89"/>
                  </a:lnTo>
                  <a:lnTo>
                    <a:pt x="140" y="88"/>
                  </a:lnTo>
                  <a:lnTo>
                    <a:pt x="141" y="88"/>
                  </a:lnTo>
                  <a:lnTo>
                    <a:pt x="140" y="89"/>
                  </a:lnTo>
                  <a:lnTo>
                    <a:pt x="141" y="89"/>
                  </a:lnTo>
                  <a:lnTo>
                    <a:pt x="141" y="90"/>
                  </a:lnTo>
                  <a:lnTo>
                    <a:pt x="142" y="91"/>
                  </a:lnTo>
                  <a:lnTo>
                    <a:pt x="143" y="92"/>
                  </a:lnTo>
                  <a:lnTo>
                    <a:pt x="143" y="94"/>
                  </a:lnTo>
                  <a:lnTo>
                    <a:pt x="144" y="94"/>
                  </a:lnTo>
                  <a:lnTo>
                    <a:pt x="146" y="94"/>
                  </a:lnTo>
                  <a:lnTo>
                    <a:pt x="147" y="94"/>
                  </a:lnTo>
                  <a:lnTo>
                    <a:pt x="146" y="94"/>
                  </a:lnTo>
                  <a:lnTo>
                    <a:pt x="147" y="92"/>
                  </a:lnTo>
                  <a:lnTo>
                    <a:pt x="148" y="92"/>
                  </a:lnTo>
                  <a:lnTo>
                    <a:pt x="148" y="94"/>
                  </a:lnTo>
                  <a:lnTo>
                    <a:pt x="148" y="95"/>
                  </a:lnTo>
                  <a:lnTo>
                    <a:pt x="149" y="94"/>
                  </a:lnTo>
                  <a:lnTo>
                    <a:pt x="150" y="94"/>
                  </a:lnTo>
                  <a:lnTo>
                    <a:pt x="152" y="94"/>
                  </a:lnTo>
                  <a:lnTo>
                    <a:pt x="152" y="92"/>
                  </a:lnTo>
                  <a:lnTo>
                    <a:pt x="153" y="92"/>
                  </a:lnTo>
                  <a:lnTo>
                    <a:pt x="152" y="92"/>
                  </a:lnTo>
                  <a:lnTo>
                    <a:pt x="150" y="91"/>
                  </a:lnTo>
                  <a:lnTo>
                    <a:pt x="150" y="90"/>
                  </a:lnTo>
                  <a:lnTo>
                    <a:pt x="149" y="90"/>
                  </a:lnTo>
                  <a:lnTo>
                    <a:pt x="149" y="89"/>
                  </a:lnTo>
                  <a:lnTo>
                    <a:pt x="148" y="89"/>
                  </a:lnTo>
                  <a:lnTo>
                    <a:pt x="149" y="89"/>
                  </a:lnTo>
                  <a:lnTo>
                    <a:pt x="149" y="86"/>
                  </a:lnTo>
                  <a:lnTo>
                    <a:pt x="149" y="85"/>
                  </a:lnTo>
                  <a:lnTo>
                    <a:pt x="149" y="84"/>
                  </a:lnTo>
                  <a:lnTo>
                    <a:pt x="150" y="84"/>
                  </a:lnTo>
                  <a:lnTo>
                    <a:pt x="150" y="83"/>
                  </a:lnTo>
                  <a:lnTo>
                    <a:pt x="150" y="82"/>
                  </a:lnTo>
                  <a:lnTo>
                    <a:pt x="150" y="80"/>
                  </a:lnTo>
                  <a:lnTo>
                    <a:pt x="152" y="80"/>
                  </a:lnTo>
                  <a:lnTo>
                    <a:pt x="153" y="80"/>
                  </a:lnTo>
                  <a:lnTo>
                    <a:pt x="154" y="80"/>
                  </a:lnTo>
                  <a:lnTo>
                    <a:pt x="154" y="82"/>
                  </a:lnTo>
                  <a:lnTo>
                    <a:pt x="155" y="83"/>
                  </a:lnTo>
                  <a:lnTo>
                    <a:pt x="155" y="82"/>
                  </a:lnTo>
                  <a:lnTo>
                    <a:pt x="155" y="79"/>
                  </a:lnTo>
                  <a:lnTo>
                    <a:pt x="158" y="79"/>
                  </a:lnTo>
                  <a:lnTo>
                    <a:pt x="158" y="82"/>
                  </a:lnTo>
                  <a:lnTo>
                    <a:pt x="159" y="82"/>
                  </a:lnTo>
                  <a:lnTo>
                    <a:pt x="159" y="83"/>
                  </a:lnTo>
                  <a:lnTo>
                    <a:pt x="160" y="83"/>
                  </a:lnTo>
                  <a:lnTo>
                    <a:pt x="160" y="84"/>
                  </a:lnTo>
                  <a:lnTo>
                    <a:pt x="160" y="85"/>
                  </a:lnTo>
                  <a:lnTo>
                    <a:pt x="160" y="88"/>
                  </a:lnTo>
                  <a:lnTo>
                    <a:pt x="159" y="88"/>
                  </a:lnTo>
                  <a:lnTo>
                    <a:pt x="159" y="89"/>
                  </a:lnTo>
                  <a:lnTo>
                    <a:pt x="159" y="90"/>
                  </a:lnTo>
                  <a:lnTo>
                    <a:pt x="159" y="91"/>
                  </a:lnTo>
                  <a:lnTo>
                    <a:pt x="159" y="92"/>
                  </a:lnTo>
                  <a:lnTo>
                    <a:pt x="160" y="92"/>
                  </a:lnTo>
                  <a:lnTo>
                    <a:pt x="161" y="92"/>
                  </a:lnTo>
                  <a:lnTo>
                    <a:pt x="161" y="91"/>
                  </a:lnTo>
                  <a:lnTo>
                    <a:pt x="163" y="91"/>
                  </a:lnTo>
                  <a:lnTo>
                    <a:pt x="163" y="92"/>
                  </a:lnTo>
                  <a:lnTo>
                    <a:pt x="164" y="92"/>
                  </a:lnTo>
                  <a:lnTo>
                    <a:pt x="164" y="91"/>
                  </a:lnTo>
                  <a:lnTo>
                    <a:pt x="164" y="92"/>
                  </a:lnTo>
                  <a:lnTo>
                    <a:pt x="165" y="92"/>
                  </a:lnTo>
                  <a:lnTo>
                    <a:pt x="166" y="92"/>
                  </a:lnTo>
                  <a:lnTo>
                    <a:pt x="165" y="92"/>
                  </a:lnTo>
                  <a:lnTo>
                    <a:pt x="165" y="91"/>
                  </a:lnTo>
                  <a:lnTo>
                    <a:pt x="164" y="90"/>
                  </a:lnTo>
                  <a:lnTo>
                    <a:pt x="165" y="90"/>
                  </a:lnTo>
                  <a:lnTo>
                    <a:pt x="165" y="89"/>
                  </a:lnTo>
                  <a:lnTo>
                    <a:pt x="164" y="88"/>
                  </a:lnTo>
                  <a:lnTo>
                    <a:pt x="164" y="86"/>
                  </a:lnTo>
                  <a:lnTo>
                    <a:pt x="164" y="85"/>
                  </a:lnTo>
                  <a:lnTo>
                    <a:pt x="164" y="84"/>
                  </a:lnTo>
                  <a:lnTo>
                    <a:pt x="165" y="84"/>
                  </a:lnTo>
                  <a:lnTo>
                    <a:pt x="166" y="83"/>
                  </a:lnTo>
                  <a:lnTo>
                    <a:pt x="166" y="84"/>
                  </a:lnTo>
                  <a:lnTo>
                    <a:pt x="167" y="86"/>
                  </a:lnTo>
                  <a:lnTo>
                    <a:pt x="167" y="85"/>
                  </a:lnTo>
                  <a:lnTo>
                    <a:pt x="169" y="86"/>
                  </a:lnTo>
                  <a:lnTo>
                    <a:pt x="169" y="85"/>
                  </a:lnTo>
                  <a:lnTo>
                    <a:pt x="170" y="85"/>
                  </a:lnTo>
                  <a:lnTo>
                    <a:pt x="170" y="86"/>
                  </a:lnTo>
                  <a:lnTo>
                    <a:pt x="170" y="88"/>
                  </a:lnTo>
                  <a:lnTo>
                    <a:pt x="171" y="89"/>
                  </a:lnTo>
                  <a:lnTo>
                    <a:pt x="172" y="89"/>
                  </a:lnTo>
                  <a:lnTo>
                    <a:pt x="173" y="89"/>
                  </a:lnTo>
                  <a:lnTo>
                    <a:pt x="175" y="89"/>
                  </a:lnTo>
                  <a:lnTo>
                    <a:pt x="175" y="90"/>
                  </a:lnTo>
                  <a:lnTo>
                    <a:pt x="175" y="91"/>
                  </a:lnTo>
                  <a:lnTo>
                    <a:pt x="175" y="92"/>
                  </a:lnTo>
                  <a:lnTo>
                    <a:pt x="173" y="92"/>
                  </a:lnTo>
                  <a:lnTo>
                    <a:pt x="173" y="94"/>
                  </a:lnTo>
                  <a:lnTo>
                    <a:pt x="173" y="95"/>
                  </a:lnTo>
                  <a:lnTo>
                    <a:pt x="173" y="97"/>
                  </a:lnTo>
                  <a:lnTo>
                    <a:pt x="175" y="97"/>
                  </a:lnTo>
                  <a:lnTo>
                    <a:pt x="175" y="98"/>
                  </a:lnTo>
                  <a:lnTo>
                    <a:pt x="175" y="100"/>
                  </a:lnTo>
                  <a:lnTo>
                    <a:pt x="176" y="100"/>
                  </a:lnTo>
                  <a:lnTo>
                    <a:pt x="177" y="100"/>
                  </a:lnTo>
                  <a:lnTo>
                    <a:pt x="178" y="100"/>
                  </a:lnTo>
                  <a:lnTo>
                    <a:pt x="178" y="98"/>
                  </a:lnTo>
                  <a:lnTo>
                    <a:pt x="177" y="98"/>
                  </a:lnTo>
                  <a:lnTo>
                    <a:pt x="177" y="97"/>
                  </a:lnTo>
                  <a:lnTo>
                    <a:pt x="177" y="96"/>
                  </a:lnTo>
                  <a:lnTo>
                    <a:pt x="178" y="96"/>
                  </a:lnTo>
                  <a:lnTo>
                    <a:pt x="178" y="95"/>
                  </a:lnTo>
                  <a:lnTo>
                    <a:pt x="178" y="94"/>
                  </a:lnTo>
                  <a:lnTo>
                    <a:pt x="177" y="92"/>
                  </a:lnTo>
                  <a:lnTo>
                    <a:pt x="177" y="91"/>
                  </a:lnTo>
                  <a:lnTo>
                    <a:pt x="176" y="91"/>
                  </a:lnTo>
                  <a:lnTo>
                    <a:pt x="177" y="90"/>
                  </a:lnTo>
                  <a:lnTo>
                    <a:pt x="177" y="89"/>
                  </a:lnTo>
                  <a:lnTo>
                    <a:pt x="178" y="89"/>
                  </a:lnTo>
                  <a:lnTo>
                    <a:pt x="178" y="90"/>
                  </a:lnTo>
                  <a:lnTo>
                    <a:pt x="179" y="90"/>
                  </a:lnTo>
                  <a:lnTo>
                    <a:pt x="181" y="90"/>
                  </a:lnTo>
                  <a:lnTo>
                    <a:pt x="181" y="89"/>
                  </a:lnTo>
                  <a:lnTo>
                    <a:pt x="182" y="89"/>
                  </a:lnTo>
                  <a:lnTo>
                    <a:pt x="182" y="88"/>
                  </a:lnTo>
                  <a:lnTo>
                    <a:pt x="182" y="86"/>
                  </a:lnTo>
                  <a:lnTo>
                    <a:pt x="182" y="85"/>
                  </a:lnTo>
                  <a:lnTo>
                    <a:pt x="183" y="85"/>
                  </a:lnTo>
                  <a:lnTo>
                    <a:pt x="183" y="86"/>
                  </a:lnTo>
                  <a:lnTo>
                    <a:pt x="184" y="86"/>
                  </a:lnTo>
                  <a:lnTo>
                    <a:pt x="185" y="86"/>
                  </a:lnTo>
                  <a:lnTo>
                    <a:pt x="187" y="86"/>
                  </a:lnTo>
                  <a:lnTo>
                    <a:pt x="187" y="85"/>
                  </a:lnTo>
                  <a:lnTo>
                    <a:pt x="188" y="85"/>
                  </a:lnTo>
                  <a:lnTo>
                    <a:pt x="189" y="85"/>
                  </a:lnTo>
                  <a:lnTo>
                    <a:pt x="189" y="86"/>
                  </a:lnTo>
                  <a:lnTo>
                    <a:pt x="189" y="89"/>
                  </a:lnTo>
                  <a:lnTo>
                    <a:pt x="189" y="90"/>
                  </a:lnTo>
                  <a:lnTo>
                    <a:pt x="190" y="89"/>
                  </a:lnTo>
                  <a:lnTo>
                    <a:pt x="191" y="88"/>
                  </a:lnTo>
                  <a:lnTo>
                    <a:pt x="191" y="89"/>
                  </a:lnTo>
                  <a:lnTo>
                    <a:pt x="191" y="90"/>
                  </a:lnTo>
                  <a:lnTo>
                    <a:pt x="193" y="90"/>
                  </a:lnTo>
                  <a:lnTo>
                    <a:pt x="193" y="91"/>
                  </a:lnTo>
                  <a:lnTo>
                    <a:pt x="194" y="91"/>
                  </a:lnTo>
                  <a:lnTo>
                    <a:pt x="194" y="92"/>
                  </a:lnTo>
                  <a:lnTo>
                    <a:pt x="195" y="92"/>
                  </a:lnTo>
                  <a:lnTo>
                    <a:pt x="195" y="94"/>
                  </a:lnTo>
                  <a:lnTo>
                    <a:pt x="196" y="94"/>
                  </a:lnTo>
                  <a:lnTo>
                    <a:pt x="196" y="95"/>
                  </a:lnTo>
                  <a:lnTo>
                    <a:pt x="195" y="96"/>
                  </a:lnTo>
                  <a:lnTo>
                    <a:pt x="194" y="97"/>
                  </a:lnTo>
                  <a:lnTo>
                    <a:pt x="194" y="98"/>
                  </a:lnTo>
                  <a:lnTo>
                    <a:pt x="194" y="100"/>
                  </a:lnTo>
                  <a:lnTo>
                    <a:pt x="194" y="101"/>
                  </a:lnTo>
                  <a:lnTo>
                    <a:pt x="194" y="102"/>
                  </a:lnTo>
                  <a:lnTo>
                    <a:pt x="194" y="103"/>
                  </a:lnTo>
                  <a:lnTo>
                    <a:pt x="195" y="103"/>
                  </a:lnTo>
                  <a:lnTo>
                    <a:pt x="196" y="104"/>
                  </a:lnTo>
                  <a:lnTo>
                    <a:pt x="196" y="103"/>
                  </a:lnTo>
                  <a:lnTo>
                    <a:pt x="195" y="103"/>
                  </a:lnTo>
                  <a:lnTo>
                    <a:pt x="195" y="102"/>
                  </a:lnTo>
                  <a:lnTo>
                    <a:pt x="196" y="101"/>
                  </a:lnTo>
                  <a:lnTo>
                    <a:pt x="197" y="101"/>
                  </a:lnTo>
                  <a:lnTo>
                    <a:pt x="199" y="100"/>
                  </a:lnTo>
                  <a:lnTo>
                    <a:pt x="200" y="100"/>
                  </a:lnTo>
                  <a:lnTo>
                    <a:pt x="201" y="100"/>
                  </a:lnTo>
                  <a:lnTo>
                    <a:pt x="200" y="98"/>
                  </a:lnTo>
                  <a:lnTo>
                    <a:pt x="201" y="98"/>
                  </a:lnTo>
                  <a:lnTo>
                    <a:pt x="201" y="97"/>
                  </a:lnTo>
                  <a:lnTo>
                    <a:pt x="201" y="96"/>
                  </a:lnTo>
                  <a:lnTo>
                    <a:pt x="202" y="96"/>
                  </a:lnTo>
                  <a:lnTo>
                    <a:pt x="203" y="96"/>
                  </a:lnTo>
                  <a:lnTo>
                    <a:pt x="205" y="96"/>
                  </a:lnTo>
                  <a:lnTo>
                    <a:pt x="205" y="97"/>
                  </a:lnTo>
                  <a:lnTo>
                    <a:pt x="206" y="98"/>
                  </a:lnTo>
                  <a:lnTo>
                    <a:pt x="206" y="100"/>
                  </a:lnTo>
                  <a:lnTo>
                    <a:pt x="205" y="100"/>
                  </a:lnTo>
                  <a:lnTo>
                    <a:pt x="206" y="100"/>
                  </a:lnTo>
                  <a:lnTo>
                    <a:pt x="206" y="98"/>
                  </a:lnTo>
                  <a:lnTo>
                    <a:pt x="207" y="98"/>
                  </a:lnTo>
                  <a:lnTo>
                    <a:pt x="207" y="97"/>
                  </a:lnTo>
                  <a:lnTo>
                    <a:pt x="208" y="97"/>
                  </a:lnTo>
                  <a:lnTo>
                    <a:pt x="208" y="98"/>
                  </a:lnTo>
                  <a:lnTo>
                    <a:pt x="208" y="100"/>
                  </a:lnTo>
                  <a:lnTo>
                    <a:pt x="209" y="100"/>
                  </a:lnTo>
                  <a:lnTo>
                    <a:pt x="209" y="101"/>
                  </a:lnTo>
                  <a:lnTo>
                    <a:pt x="208" y="101"/>
                  </a:lnTo>
                  <a:lnTo>
                    <a:pt x="208" y="102"/>
                  </a:lnTo>
                  <a:lnTo>
                    <a:pt x="207" y="102"/>
                  </a:lnTo>
                  <a:lnTo>
                    <a:pt x="208" y="102"/>
                  </a:lnTo>
                  <a:lnTo>
                    <a:pt x="208" y="103"/>
                  </a:lnTo>
                  <a:lnTo>
                    <a:pt x="208" y="104"/>
                  </a:lnTo>
                  <a:lnTo>
                    <a:pt x="208" y="106"/>
                  </a:lnTo>
                  <a:lnTo>
                    <a:pt x="208" y="107"/>
                  </a:lnTo>
                  <a:lnTo>
                    <a:pt x="208" y="108"/>
                  </a:lnTo>
                  <a:lnTo>
                    <a:pt x="209" y="107"/>
                  </a:lnTo>
                  <a:lnTo>
                    <a:pt x="208" y="106"/>
                  </a:lnTo>
                  <a:lnTo>
                    <a:pt x="208" y="104"/>
                  </a:lnTo>
                  <a:lnTo>
                    <a:pt x="209" y="104"/>
                  </a:lnTo>
                  <a:lnTo>
                    <a:pt x="211" y="104"/>
                  </a:lnTo>
                  <a:lnTo>
                    <a:pt x="211" y="107"/>
                  </a:lnTo>
                  <a:lnTo>
                    <a:pt x="212" y="108"/>
                  </a:lnTo>
                  <a:lnTo>
                    <a:pt x="213" y="108"/>
                  </a:lnTo>
                  <a:lnTo>
                    <a:pt x="213" y="109"/>
                  </a:lnTo>
                  <a:lnTo>
                    <a:pt x="213" y="108"/>
                  </a:lnTo>
                  <a:lnTo>
                    <a:pt x="213" y="107"/>
                  </a:lnTo>
                  <a:lnTo>
                    <a:pt x="213" y="106"/>
                  </a:lnTo>
                  <a:lnTo>
                    <a:pt x="213" y="104"/>
                  </a:lnTo>
                  <a:lnTo>
                    <a:pt x="213" y="103"/>
                  </a:lnTo>
                  <a:lnTo>
                    <a:pt x="214" y="103"/>
                  </a:lnTo>
                  <a:lnTo>
                    <a:pt x="214" y="104"/>
                  </a:lnTo>
                  <a:lnTo>
                    <a:pt x="215" y="104"/>
                  </a:lnTo>
                  <a:lnTo>
                    <a:pt x="215" y="106"/>
                  </a:lnTo>
                  <a:lnTo>
                    <a:pt x="215" y="107"/>
                  </a:lnTo>
                  <a:lnTo>
                    <a:pt x="217" y="108"/>
                  </a:lnTo>
                  <a:lnTo>
                    <a:pt x="217" y="107"/>
                  </a:lnTo>
                  <a:lnTo>
                    <a:pt x="217" y="106"/>
                  </a:lnTo>
                  <a:lnTo>
                    <a:pt x="218" y="106"/>
                  </a:lnTo>
                  <a:lnTo>
                    <a:pt x="218" y="107"/>
                  </a:lnTo>
                  <a:lnTo>
                    <a:pt x="219" y="107"/>
                  </a:lnTo>
                  <a:lnTo>
                    <a:pt x="219" y="108"/>
                  </a:lnTo>
                  <a:lnTo>
                    <a:pt x="219" y="109"/>
                  </a:lnTo>
                  <a:lnTo>
                    <a:pt x="218" y="109"/>
                  </a:lnTo>
                  <a:lnTo>
                    <a:pt x="217" y="110"/>
                  </a:lnTo>
                  <a:lnTo>
                    <a:pt x="215" y="110"/>
                  </a:lnTo>
                  <a:lnTo>
                    <a:pt x="215" y="109"/>
                  </a:lnTo>
                  <a:lnTo>
                    <a:pt x="214" y="109"/>
                  </a:lnTo>
                  <a:lnTo>
                    <a:pt x="214" y="110"/>
                  </a:lnTo>
                  <a:lnTo>
                    <a:pt x="214" y="112"/>
                  </a:lnTo>
                  <a:lnTo>
                    <a:pt x="214" y="110"/>
                  </a:lnTo>
                  <a:lnTo>
                    <a:pt x="215" y="110"/>
                  </a:lnTo>
                  <a:lnTo>
                    <a:pt x="217" y="112"/>
                  </a:lnTo>
                  <a:lnTo>
                    <a:pt x="218" y="112"/>
                  </a:lnTo>
                  <a:lnTo>
                    <a:pt x="219" y="112"/>
                  </a:lnTo>
                  <a:lnTo>
                    <a:pt x="220" y="112"/>
                  </a:lnTo>
                  <a:lnTo>
                    <a:pt x="220" y="110"/>
                  </a:lnTo>
                  <a:lnTo>
                    <a:pt x="220" y="109"/>
                  </a:lnTo>
                  <a:lnTo>
                    <a:pt x="222" y="109"/>
                  </a:lnTo>
                  <a:lnTo>
                    <a:pt x="222" y="108"/>
                  </a:lnTo>
                  <a:lnTo>
                    <a:pt x="220" y="108"/>
                  </a:lnTo>
                  <a:lnTo>
                    <a:pt x="220" y="107"/>
                  </a:lnTo>
                  <a:lnTo>
                    <a:pt x="220" y="106"/>
                  </a:lnTo>
                  <a:lnTo>
                    <a:pt x="219" y="106"/>
                  </a:lnTo>
                  <a:lnTo>
                    <a:pt x="219" y="104"/>
                  </a:lnTo>
                  <a:lnTo>
                    <a:pt x="219" y="103"/>
                  </a:lnTo>
                  <a:lnTo>
                    <a:pt x="219" y="102"/>
                  </a:lnTo>
                  <a:lnTo>
                    <a:pt x="218" y="102"/>
                  </a:lnTo>
                  <a:lnTo>
                    <a:pt x="218" y="101"/>
                  </a:lnTo>
                  <a:lnTo>
                    <a:pt x="219" y="101"/>
                  </a:lnTo>
                  <a:lnTo>
                    <a:pt x="220" y="101"/>
                  </a:lnTo>
                  <a:lnTo>
                    <a:pt x="220" y="102"/>
                  </a:lnTo>
                  <a:lnTo>
                    <a:pt x="222" y="101"/>
                  </a:lnTo>
                  <a:lnTo>
                    <a:pt x="223" y="101"/>
                  </a:lnTo>
                  <a:lnTo>
                    <a:pt x="224" y="101"/>
                  </a:lnTo>
                  <a:lnTo>
                    <a:pt x="224" y="102"/>
                  </a:lnTo>
                  <a:lnTo>
                    <a:pt x="224" y="101"/>
                  </a:lnTo>
                  <a:lnTo>
                    <a:pt x="225" y="101"/>
                  </a:lnTo>
                  <a:lnTo>
                    <a:pt x="224" y="101"/>
                  </a:lnTo>
                  <a:lnTo>
                    <a:pt x="224" y="100"/>
                  </a:lnTo>
                  <a:lnTo>
                    <a:pt x="225" y="100"/>
                  </a:lnTo>
                  <a:lnTo>
                    <a:pt x="225" y="101"/>
                  </a:lnTo>
                  <a:lnTo>
                    <a:pt x="226" y="101"/>
                  </a:lnTo>
                  <a:lnTo>
                    <a:pt x="226" y="102"/>
                  </a:lnTo>
                  <a:lnTo>
                    <a:pt x="225" y="102"/>
                  </a:lnTo>
                  <a:lnTo>
                    <a:pt x="225" y="103"/>
                  </a:lnTo>
                  <a:lnTo>
                    <a:pt x="225" y="104"/>
                  </a:lnTo>
                  <a:lnTo>
                    <a:pt x="224" y="104"/>
                  </a:lnTo>
                  <a:lnTo>
                    <a:pt x="224" y="106"/>
                  </a:lnTo>
                  <a:lnTo>
                    <a:pt x="224" y="107"/>
                  </a:lnTo>
                  <a:lnTo>
                    <a:pt x="223" y="107"/>
                  </a:lnTo>
                  <a:lnTo>
                    <a:pt x="222" y="107"/>
                  </a:lnTo>
                  <a:lnTo>
                    <a:pt x="222" y="108"/>
                  </a:lnTo>
                  <a:lnTo>
                    <a:pt x="223" y="108"/>
                  </a:lnTo>
                  <a:lnTo>
                    <a:pt x="223" y="110"/>
                  </a:lnTo>
                  <a:lnTo>
                    <a:pt x="222" y="110"/>
                  </a:lnTo>
                  <a:lnTo>
                    <a:pt x="223" y="112"/>
                  </a:lnTo>
                  <a:lnTo>
                    <a:pt x="223" y="113"/>
                  </a:lnTo>
                  <a:lnTo>
                    <a:pt x="224" y="113"/>
                  </a:lnTo>
                  <a:lnTo>
                    <a:pt x="224" y="112"/>
                  </a:lnTo>
                  <a:lnTo>
                    <a:pt x="225" y="112"/>
                  </a:lnTo>
                  <a:lnTo>
                    <a:pt x="228" y="112"/>
                  </a:lnTo>
                  <a:lnTo>
                    <a:pt x="229" y="110"/>
                  </a:lnTo>
                  <a:lnTo>
                    <a:pt x="229" y="112"/>
                  </a:lnTo>
                  <a:lnTo>
                    <a:pt x="230" y="112"/>
                  </a:lnTo>
                  <a:lnTo>
                    <a:pt x="231" y="112"/>
                  </a:lnTo>
                  <a:lnTo>
                    <a:pt x="231" y="110"/>
                  </a:lnTo>
                  <a:lnTo>
                    <a:pt x="232" y="110"/>
                  </a:lnTo>
                  <a:lnTo>
                    <a:pt x="232" y="112"/>
                  </a:lnTo>
                  <a:lnTo>
                    <a:pt x="234" y="112"/>
                  </a:lnTo>
                  <a:lnTo>
                    <a:pt x="235" y="113"/>
                  </a:lnTo>
                  <a:lnTo>
                    <a:pt x="235" y="112"/>
                  </a:lnTo>
                  <a:lnTo>
                    <a:pt x="235" y="113"/>
                  </a:lnTo>
                  <a:lnTo>
                    <a:pt x="236" y="113"/>
                  </a:lnTo>
                  <a:lnTo>
                    <a:pt x="237" y="112"/>
                  </a:lnTo>
                  <a:lnTo>
                    <a:pt x="238" y="112"/>
                  </a:lnTo>
                  <a:lnTo>
                    <a:pt x="238" y="113"/>
                  </a:lnTo>
                  <a:lnTo>
                    <a:pt x="240" y="113"/>
                  </a:lnTo>
                  <a:lnTo>
                    <a:pt x="238" y="112"/>
                  </a:lnTo>
                  <a:lnTo>
                    <a:pt x="240" y="110"/>
                  </a:lnTo>
                  <a:lnTo>
                    <a:pt x="238" y="110"/>
                  </a:lnTo>
                  <a:lnTo>
                    <a:pt x="240" y="110"/>
                  </a:lnTo>
                  <a:lnTo>
                    <a:pt x="240" y="112"/>
                  </a:lnTo>
                  <a:lnTo>
                    <a:pt x="240" y="113"/>
                  </a:lnTo>
                  <a:lnTo>
                    <a:pt x="240" y="114"/>
                  </a:lnTo>
                  <a:lnTo>
                    <a:pt x="238" y="115"/>
                  </a:lnTo>
                  <a:lnTo>
                    <a:pt x="238" y="116"/>
                  </a:lnTo>
                  <a:lnTo>
                    <a:pt x="237" y="116"/>
                  </a:lnTo>
                  <a:lnTo>
                    <a:pt x="236" y="116"/>
                  </a:lnTo>
                  <a:lnTo>
                    <a:pt x="237" y="116"/>
                  </a:lnTo>
                  <a:lnTo>
                    <a:pt x="237" y="119"/>
                  </a:lnTo>
                  <a:lnTo>
                    <a:pt x="237" y="120"/>
                  </a:lnTo>
                  <a:lnTo>
                    <a:pt x="236" y="121"/>
                  </a:lnTo>
                  <a:lnTo>
                    <a:pt x="236" y="120"/>
                  </a:lnTo>
                  <a:lnTo>
                    <a:pt x="236" y="121"/>
                  </a:lnTo>
                  <a:lnTo>
                    <a:pt x="236" y="122"/>
                  </a:lnTo>
                  <a:lnTo>
                    <a:pt x="237" y="122"/>
                  </a:lnTo>
                  <a:lnTo>
                    <a:pt x="237" y="121"/>
                  </a:lnTo>
                  <a:lnTo>
                    <a:pt x="237" y="120"/>
                  </a:lnTo>
                  <a:lnTo>
                    <a:pt x="238" y="119"/>
                  </a:lnTo>
                  <a:lnTo>
                    <a:pt x="238" y="120"/>
                  </a:lnTo>
                  <a:lnTo>
                    <a:pt x="240" y="120"/>
                  </a:lnTo>
                  <a:lnTo>
                    <a:pt x="240" y="119"/>
                  </a:lnTo>
                  <a:lnTo>
                    <a:pt x="241" y="119"/>
                  </a:lnTo>
                  <a:lnTo>
                    <a:pt x="241" y="120"/>
                  </a:lnTo>
                  <a:lnTo>
                    <a:pt x="240" y="120"/>
                  </a:lnTo>
                  <a:lnTo>
                    <a:pt x="240" y="121"/>
                  </a:lnTo>
                  <a:lnTo>
                    <a:pt x="240" y="122"/>
                  </a:lnTo>
                  <a:lnTo>
                    <a:pt x="241" y="122"/>
                  </a:lnTo>
                  <a:lnTo>
                    <a:pt x="242" y="122"/>
                  </a:lnTo>
                  <a:lnTo>
                    <a:pt x="242" y="121"/>
                  </a:lnTo>
                  <a:lnTo>
                    <a:pt x="243" y="121"/>
                  </a:lnTo>
                  <a:lnTo>
                    <a:pt x="243" y="120"/>
                  </a:lnTo>
                  <a:lnTo>
                    <a:pt x="244" y="120"/>
                  </a:lnTo>
                  <a:lnTo>
                    <a:pt x="246" y="120"/>
                  </a:lnTo>
                  <a:lnTo>
                    <a:pt x="246" y="121"/>
                  </a:lnTo>
                  <a:lnTo>
                    <a:pt x="247" y="121"/>
                  </a:lnTo>
                  <a:lnTo>
                    <a:pt x="248" y="121"/>
                  </a:lnTo>
                  <a:lnTo>
                    <a:pt x="248" y="122"/>
                  </a:lnTo>
                  <a:lnTo>
                    <a:pt x="249" y="122"/>
                  </a:lnTo>
                  <a:lnTo>
                    <a:pt x="250" y="122"/>
                  </a:lnTo>
                  <a:lnTo>
                    <a:pt x="250" y="121"/>
                  </a:lnTo>
                  <a:lnTo>
                    <a:pt x="252" y="121"/>
                  </a:lnTo>
                  <a:lnTo>
                    <a:pt x="253" y="122"/>
                  </a:lnTo>
                  <a:lnTo>
                    <a:pt x="253" y="124"/>
                  </a:lnTo>
                  <a:lnTo>
                    <a:pt x="254" y="124"/>
                  </a:lnTo>
                  <a:lnTo>
                    <a:pt x="254" y="125"/>
                  </a:lnTo>
                  <a:lnTo>
                    <a:pt x="255" y="125"/>
                  </a:lnTo>
                  <a:lnTo>
                    <a:pt x="256" y="125"/>
                  </a:lnTo>
                  <a:lnTo>
                    <a:pt x="256" y="124"/>
                  </a:lnTo>
                  <a:lnTo>
                    <a:pt x="258" y="124"/>
                  </a:lnTo>
                  <a:lnTo>
                    <a:pt x="258" y="125"/>
                  </a:lnTo>
                  <a:lnTo>
                    <a:pt x="259" y="125"/>
                  </a:lnTo>
                  <a:lnTo>
                    <a:pt x="259" y="126"/>
                  </a:lnTo>
                  <a:lnTo>
                    <a:pt x="259" y="127"/>
                  </a:lnTo>
                  <a:lnTo>
                    <a:pt x="260" y="127"/>
                  </a:lnTo>
                  <a:lnTo>
                    <a:pt x="260" y="126"/>
                  </a:lnTo>
                  <a:lnTo>
                    <a:pt x="261" y="126"/>
                  </a:lnTo>
                  <a:lnTo>
                    <a:pt x="262" y="126"/>
                  </a:lnTo>
                  <a:lnTo>
                    <a:pt x="262" y="127"/>
                  </a:lnTo>
                  <a:lnTo>
                    <a:pt x="261" y="127"/>
                  </a:lnTo>
                  <a:lnTo>
                    <a:pt x="260" y="127"/>
                  </a:lnTo>
                  <a:lnTo>
                    <a:pt x="260" y="128"/>
                  </a:lnTo>
                  <a:lnTo>
                    <a:pt x="260" y="127"/>
                  </a:lnTo>
                  <a:lnTo>
                    <a:pt x="260" y="128"/>
                  </a:lnTo>
                  <a:lnTo>
                    <a:pt x="261" y="128"/>
                  </a:lnTo>
                  <a:lnTo>
                    <a:pt x="260" y="128"/>
                  </a:lnTo>
                  <a:lnTo>
                    <a:pt x="260" y="130"/>
                  </a:lnTo>
                  <a:lnTo>
                    <a:pt x="261" y="130"/>
                  </a:lnTo>
                  <a:lnTo>
                    <a:pt x="262" y="130"/>
                  </a:lnTo>
                  <a:lnTo>
                    <a:pt x="262" y="128"/>
                  </a:lnTo>
                  <a:lnTo>
                    <a:pt x="262" y="130"/>
                  </a:lnTo>
                  <a:lnTo>
                    <a:pt x="264" y="128"/>
                  </a:lnTo>
                  <a:lnTo>
                    <a:pt x="264" y="127"/>
                  </a:lnTo>
                  <a:lnTo>
                    <a:pt x="264" y="126"/>
                  </a:lnTo>
                  <a:lnTo>
                    <a:pt x="264" y="127"/>
                  </a:lnTo>
                  <a:lnTo>
                    <a:pt x="265" y="127"/>
                  </a:lnTo>
                  <a:lnTo>
                    <a:pt x="265" y="128"/>
                  </a:lnTo>
                  <a:lnTo>
                    <a:pt x="264" y="128"/>
                  </a:lnTo>
                  <a:lnTo>
                    <a:pt x="265" y="128"/>
                  </a:lnTo>
                  <a:lnTo>
                    <a:pt x="265" y="130"/>
                  </a:lnTo>
                  <a:lnTo>
                    <a:pt x="265" y="131"/>
                  </a:lnTo>
                  <a:lnTo>
                    <a:pt x="265" y="130"/>
                  </a:lnTo>
                  <a:lnTo>
                    <a:pt x="267" y="130"/>
                  </a:lnTo>
                  <a:lnTo>
                    <a:pt x="268" y="130"/>
                  </a:lnTo>
                  <a:lnTo>
                    <a:pt x="270" y="130"/>
                  </a:lnTo>
                  <a:lnTo>
                    <a:pt x="271" y="130"/>
                  </a:lnTo>
                  <a:lnTo>
                    <a:pt x="271" y="131"/>
                  </a:lnTo>
                  <a:lnTo>
                    <a:pt x="272" y="131"/>
                  </a:lnTo>
                  <a:lnTo>
                    <a:pt x="272" y="132"/>
                  </a:lnTo>
                  <a:lnTo>
                    <a:pt x="272" y="131"/>
                  </a:lnTo>
                  <a:lnTo>
                    <a:pt x="273" y="131"/>
                  </a:lnTo>
                  <a:lnTo>
                    <a:pt x="273" y="132"/>
                  </a:lnTo>
                  <a:lnTo>
                    <a:pt x="274" y="132"/>
                  </a:lnTo>
                  <a:lnTo>
                    <a:pt x="273" y="133"/>
                  </a:lnTo>
                  <a:lnTo>
                    <a:pt x="274" y="133"/>
                  </a:lnTo>
                  <a:lnTo>
                    <a:pt x="274" y="134"/>
                  </a:lnTo>
                  <a:lnTo>
                    <a:pt x="273" y="134"/>
                  </a:lnTo>
                  <a:lnTo>
                    <a:pt x="274" y="134"/>
                  </a:lnTo>
                  <a:lnTo>
                    <a:pt x="274" y="136"/>
                  </a:lnTo>
                  <a:lnTo>
                    <a:pt x="274" y="137"/>
                  </a:lnTo>
                  <a:lnTo>
                    <a:pt x="273" y="138"/>
                  </a:lnTo>
                  <a:lnTo>
                    <a:pt x="274" y="138"/>
                  </a:lnTo>
                  <a:lnTo>
                    <a:pt x="273" y="138"/>
                  </a:lnTo>
                  <a:lnTo>
                    <a:pt x="273" y="139"/>
                  </a:lnTo>
                  <a:lnTo>
                    <a:pt x="272" y="139"/>
                  </a:lnTo>
                  <a:lnTo>
                    <a:pt x="272" y="140"/>
                  </a:lnTo>
                  <a:lnTo>
                    <a:pt x="271" y="140"/>
                  </a:lnTo>
                  <a:lnTo>
                    <a:pt x="270" y="140"/>
                  </a:lnTo>
                  <a:lnTo>
                    <a:pt x="268" y="140"/>
                  </a:lnTo>
                  <a:lnTo>
                    <a:pt x="268" y="139"/>
                  </a:lnTo>
                  <a:lnTo>
                    <a:pt x="268" y="138"/>
                  </a:lnTo>
                  <a:lnTo>
                    <a:pt x="268" y="139"/>
                  </a:lnTo>
                  <a:lnTo>
                    <a:pt x="267" y="140"/>
                  </a:lnTo>
                  <a:lnTo>
                    <a:pt x="267" y="139"/>
                  </a:lnTo>
                  <a:lnTo>
                    <a:pt x="267" y="138"/>
                  </a:lnTo>
                  <a:lnTo>
                    <a:pt x="266" y="138"/>
                  </a:lnTo>
                  <a:lnTo>
                    <a:pt x="265" y="137"/>
                  </a:lnTo>
                  <a:lnTo>
                    <a:pt x="264" y="137"/>
                  </a:lnTo>
                  <a:lnTo>
                    <a:pt x="265" y="138"/>
                  </a:lnTo>
                  <a:lnTo>
                    <a:pt x="265" y="140"/>
                  </a:lnTo>
                  <a:lnTo>
                    <a:pt x="265" y="139"/>
                  </a:lnTo>
                  <a:lnTo>
                    <a:pt x="266" y="139"/>
                  </a:lnTo>
                  <a:lnTo>
                    <a:pt x="266" y="138"/>
                  </a:lnTo>
                  <a:lnTo>
                    <a:pt x="266" y="139"/>
                  </a:lnTo>
                  <a:lnTo>
                    <a:pt x="266" y="140"/>
                  </a:lnTo>
                  <a:lnTo>
                    <a:pt x="265" y="140"/>
                  </a:lnTo>
                  <a:lnTo>
                    <a:pt x="266" y="140"/>
                  </a:lnTo>
                  <a:lnTo>
                    <a:pt x="268" y="140"/>
                  </a:lnTo>
                  <a:lnTo>
                    <a:pt x="270" y="140"/>
                  </a:lnTo>
                  <a:lnTo>
                    <a:pt x="270" y="142"/>
                  </a:lnTo>
                  <a:lnTo>
                    <a:pt x="271" y="143"/>
                  </a:lnTo>
                  <a:lnTo>
                    <a:pt x="271" y="144"/>
                  </a:lnTo>
                  <a:lnTo>
                    <a:pt x="270" y="145"/>
                  </a:lnTo>
                  <a:lnTo>
                    <a:pt x="270" y="146"/>
                  </a:lnTo>
                  <a:lnTo>
                    <a:pt x="271" y="146"/>
                  </a:lnTo>
                  <a:lnTo>
                    <a:pt x="271" y="148"/>
                  </a:lnTo>
                  <a:lnTo>
                    <a:pt x="270" y="148"/>
                  </a:lnTo>
                  <a:lnTo>
                    <a:pt x="271" y="148"/>
                  </a:lnTo>
                  <a:lnTo>
                    <a:pt x="271" y="146"/>
                  </a:lnTo>
                  <a:lnTo>
                    <a:pt x="272" y="146"/>
                  </a:lnTo>
                  <a:lnTo>
                    <a:pt x="272" y="145"/>
                  </a:lnTo>
                  <a:lnTo>
                    <a:pt x="273" y="145"/>
                  </a:lnTo>
                  <a:lnTo>
                    <a:pt x="272" y="144"/>
                  </a:lnTo>
                  <a:lnTo>
                    <a:pt x="271" y="144"/>
                  </a:lnTo>
                  <a:lnTo>
                    <a:pt x="271" y="143"/>
                  </a:lnTo>
                  <a:lnTo>
                    <a:pt x="271" y="142"/>
                  </a:lnTo>
                  <a:lnTo>
                    <a:pt x="272" y="142"/>
                  </a:lnTo>
                  <a:lnTo>
                    <a:pt x="273" y="143"/>
                  </a:lnTo>
                  <a:lnTo>
                    <a:pt x="273" y="142"/>
                  </a:lnTo>
                  <a:lnTo>
                    <a:pt x="274" y="142"/>
                  </a:lnTo>
                  <a:lnTo>
                    <a:pt x="276" y="142"/>
                  </a:lnTo>
                  <a:lnTo>
                    <a:pt x="277" y="143"/>
                  </a:lnTo>
                  <a:lnTo>
                    <a:pt x="278" y="143"/>
                  </a:lnTo>
                  <a:lnTo>
                    <a:pt x="278" y="144"/>
                  </a:lnTo>
                  <a:lnTo>
                    <a:pt x="279" y="144"/>
                  </a:lnTo>
                  <a:lnTo>
                    <a:pt x="279" y="145"/>
                  </a:lnTo>
                  <a:lnTo>
                    <a:pt x="279" y="146"/>
                  </a:lnTo>
                  <a:lnTo>
                    <a:pt x="281" y="148"/>
                  </a:lnTo>
                  <a:lnTo>
                    <a:pt x="282" y="148"/>
                  </a:lnTo>
                  <a:lnTo>
                    <a:pt x="282" y="149"/>
                  </a:lnTo>
                  <a:lnTo>
                    <a:pt x="281" y="149"/>
                  </a:lnTo>
                  <a:lnTo>
                    <a:pt x="282" y="149"/>
                  </a:lnTo>
                  <a:lnTo>
                    <a:pt x="281" y="149"/>
                  </a:lnTo>
                  <a:lnTo>
                    <a:pt x="279" y="150"/>
                  </a:lnTo>
                  <a:lnTo>
                    <a:pt x="279" y="151"/>
                  </a:lnTo>
                  <a:lnTo>
                    <a:pt x="281" y="151"/>
                  </a:lnTo>
                  <a:lnTo>
                    <a:pt x="282" y="151"/>
                  </a:lnTo>
                  <a:lnTo>
                    <a:pt x="283" y="152"/>
                  </a:lnTo>
                  <a:lnTo>
                    <a:pt x="283" y="151"/>
                  </a:lnTo>
                  <a:lnTo>
                    <a:pt x="283" y="152"/>
                  </a:lnTo>
                  <a:lnTo>
                    <a:pt x="284" y="152"/>
                  </a:lnTo>
                  <a:lnTo>
                    <a:pt x="284" y="154"/>
                  </a:lnTo>
                  <a:lnTo>
                    <a:pt x="284" y="152"/>
                  </a:lnTo>
                  <a:lnTo>
                    <a:pt x="284" y="151"/>
                  </a:lnTo>
                  <a:lnTo>
                    <a:pt x="283" y="151"/>
                  </a:lnTo>
                  <a:lnTo>
                    <a:pt x="283" y="150"/>
                  </a:lnTo>
                  <a:lnTo>
                    <a:pt x="282" y="150"/>
                  </a:lnTo>
                  <a:lnTo>
                    <a:pt x="283" y="150"/>
                  </a:lnTo>
                  <a:lnTo>
                    <a:pt x="284" y="149"/>
                  </a:lnTo>
                  <a:lnTo>
                    <a:pt x="283" y="148"/>
                  </a:lnTo>
                  <a:lnTo>
                    <a:pt x="283" y="146"/>
                  </a:lnTo>
                  <a:lnTo>
                    <a:pt x="282" y="146"/>
                  </a:lnTo>
                  <a:lnTo>
                    <a:pt x="282" y="145"/>
                  </a:lnTo>
                  <a:lnTo>
                    <a:pt x="281" y="145"/>
                  </a:lnTo>
                  <a:lnTo>
                    <a:pt x="281" y="144"/>
                  </a:lnTo>
                  <a:lnTo>
                    <a:pt x="282" y="144"/>
                  </a:lnTo>
                  <a:lnTo>
                    <a:pt x="281" y="143"/>
                  </a:lnTo>
                  <a:lnTo>
                    <a:pt x="281" y="142"/>
                  </a:lnTo>
                  <a:lnTo>
                    <a:pt x="279" y="142"/>
                  </a:lnTo>
                  <a:lnTo>
                    <a:pt x="279" y="140"/>
                  </a:lnTo>
                  <a:lnTo>
                    <a:pt x="279" y="139"/>
                  </a:lnTo>
                  <a:lnTo>
                    <a:pt x="279" y="137"/>
                  </a:lnTo>
                  <a:lnTo>
                    <a:pt x="279" y="136"/>
                  </a:lnTo>
                  <a:lnTo>
                    <a:pt x="279" y="134"/>
                  </a:lnTo>
                  <a:lnTo>
                    <a:pt x="278" y="134"/>
                  </a:lnTo>
                  <a:lnTo>
                    <a:pt x="278" y="133"/>
                  </a:lnTo>
                  <a:lnTo>
                    <a:pt x="278" y="132"/>
                  </a:lnTo>
                  <a:lnTo>
                    <a:pt x="278" y="131"/>
                  </a:lnTo>
                  <a:lnTo>
                    <a:pt x="277" y="131"/>
                  </a:lnTo>
                  <a:lnTo>
                    <a:pt x="277" y="130"/>
                  </a:lnTo>
                  <a:lnTo>
                    <a:pt x="277" y="128"/>
                  </a:lnTo>
                  <a:lnTo>
                    <a:pt x="277" y="127"/>
                  </a:lnTo>
                  <a:lnTo>
                    <a:pt x="277" y="126"/>
                  </a:lnTo>
                  <a:lnTo>
                    <a:pt x="276" y="126"/>
                  </a:lnTo>
                  <a:lnTo>
                    <a:pt x="274" y="126"/>
                  </a:lnTo>
                  <a:lnTo>
                    <a:pt x="273" y="126"/>
                  </a:lnTo>
                  <a:lnTo>
                    <a:pt x="273" y="125"/>
                  </a:lnTo>
                  <a:lnTo>
                    <a:pt x="274" y="125"/>
                  </a:lnTo>
                  <a:lnTo>
                    <a:pt x="273" y="125"/>
                  </a:lnTo>
                  <a:lnTo>
                    <a:pt x="273" y="124"/>
                  </a:lnTo>
                  <a:lnTo>
                    <a:pt x="273" y="122"/>
                  </a:lnTo>
                  <a:lnTo>
                    <a:pt x="273" y="124"/>
                  </a:lnTo>
                  <a:lnTo>
                    <a:pt x="274" y="124"/>
                  </a:lnTo>
                  <a:lnTo>
                    <a:pt x="274" y="122"/>
                  </a:lnTo>
                  <a:lnTo>
                    <a:pt x="273" y="122"/>
                  </a:lnTo>
                  <a:lnTo>
                    <a:pt x="273" y="121"/>
                  </a:lnTo>
                  <a:lnTo>
                    <a:pt x="272" y="121"/>
                  </a:lnTo>
                  <a:lnTo>
                    <a:pt x="272" y="122"/>
                  </a:lnTo>
                  <a:lnTo>
                    <a:pt x="272" y="121"/>
                  </a:lnTo>
                  <a:lnTo>
                    <a:pt x="271" y="121"/>
                  </a:lnTo>
                  <a:lnTo>
                    <a:pt x="271" y="122"/>
                  </a:lnTo>
                  <a:lnTo>
                    <a:pt x="270" y="122"/>
                  </a:lnTo>
                  <a:lnTo>
                    <a:pt x="268" y="122"/>
                  </a:lnTo>
                  <a:lnTo>
                    <a:pt x="267" y="122"/>
                  </a:lnTo>
                  <a:lnTo>
                    <a:pt x="267" y="121"/>
                  </a:lnTo>
                  <a:lnTo>
                    <a:pt x="266" y="121"/>
                  </a:lnTo>
                  <a:lnTo>
                    <a:pt x="265" y="121"/>
                  </a:lnTo>
                  <a:lnTo>
                    <a:pt x="265" y="120"/>
                  </a:lnTo>
                  <a:lnTo>
                    <a:pt x="265" y="119"/>
                  </a:lnTo>
                  <a:lnTo>
                    <a:pt x="266" y="118"/>
                  </a:lnTo>
                  <a:lnTo>
                    <a:pt x="266" y="119"/>
                  </a:lnTo>
                  <a:lnTo>
                    <a:pt x="266" y="118"/>
                  </a:lnTo>
                  <a:lnTo>
                    <a:pt x="267" y="119"/>
                  </a:lnTo>
                  <a:lnTo>
                    <a:pt x="267" y="118"/>
                  </a:lnTo>
                  <a:lnTo>
                    <a:pt x="268" y="118"/>
                  </a:lnTo>
                  <a:lnTo>
                    <a:pt x="268" y="116"/>
                  </a:lnTo>
                  <a:lnTo>
                    <a:pt x="270" y="116"/>
                  </a:lnTo>
                  <a:lnTo>
                    <a:pt x="270" y="118"/>
                  </a:lnTo>
                  <a:lnTo>
                    <a:pt x="271" y="118"/>
                  </a:lnTo>
                  <a:lnTo>
                    <a:pt x="271" y="116"/>
                  </a:lnTo>
                  <a:lnTo>
                    <a:pt x="270" y="116"/>
                  </a:lnTo>
                  <a:lnTo>
                    <a:pt x="270" y="115"/>
                  </a:lnTo>
                  <a:lnTo>
                    <a:pt x="268" y="115"/>
                  </a:lnTo>
                  <a:lnTo>
                    <a:pt x="268" y="114"/>
                  </a:lnTo>
                  <a:lnTo>
                    <a:pt x="267" y="114"/>
                  </a:lnTo>
                  <a:lnTo>
                    <a:pt x="267" y="115"/>
                  </a:lnTo>
                  <a:lnTo>
                    <a:pt x="267" y="116"/>
                  </a:lnTo>
                  <a:lnTo>
                    <a:pt x="267" y="118"/>
                  </a:lnTo>
                  <a:lnTo>
                    <a:pt x="267" y="116"/>
                  </a:lnTo>
                  <a:lnTo>
                    <a:pt x="266" y="116"/>
                  </a:lnTo>
                  <a:lnTo>
                    <a:pt x="265" y="118"/>
                  </a:lnTo>
                  <a:lnTo>
                    <a:pt x="264" y="118"/>
                  </a:lnTo>
                  <a:lnTo>
                    <a:pt x="262" y="118"/>
                  </a:lnTo>
                  <a:lnTo>
                    <a:pt x="261" y="116"/>
                  </a:lnTo>
                  <a:lnTo>
                    <a:pt x="261" y="115"/>
                  </a:lnTo>
                  <a:lnTo>
                    <a:pt x="261" y="116"/>
                  </a:lnTo>
                  <a:lnTo>
                    <a:pt x="260" y="116"/>
                  </a:lnTo>
                  <a:lnTo>
                    <a:pt x="259" y="116"/>
                  </a:lnTo>
                  <a:lnTo>
                    <a:pt x="258" y="116"/>
                  </a:lnTo>
                  <a:lnTo>
                    <a:pt x="258" y="115"/>
                  </a:lnTo>
                  <a:lnTo>
                    <a:pt x="256" y="115"/>
                  </a:lnTo>
                  <a:lnTo>
                    <a:pt x="255" y="115"/>
                  </a:lnTo>
                  <a:lnTo>
                    <a:pt x="254" y="115"/>
                  </a:lnTo>
                  <a:lnTo>
                    <a:pt x="253" y="115"/>
                  </a:lnTo>
                  <a:lnTo>
                    <a:pt x="252" y="114"/>
                  </a:lnTo>
                  <a:lnTo>
                    <a:pt x="253" y="114"/>
                  </a:lnTo>
                  <a:lnTo>
                    <a:pt x="253" y="113"/>
                  </a:lnTo>
                  <a:lnTo>
                    <a:pt x="253" y="112"/>
                  </a:lnTo>
                  <a:lnTo>
                    <a:pt x="254" y="112"/>
                  </a:lnTo>
                  <a:lnTo>
                    <a:pt x="255" y="112"/>
                  </a:lnTo>
                  <a:lnTo>
                    <a:pt x="255" y="113"/>
                  </a:lnTo>
                  <a:lnTo>
                    <a:pt x="256" y="113"/>
                  </a:lnTo>
                  <a:lnTo>
                    <a:pt x="256" y="112"/>
                  </a:lnTo>
                  <a:lnTo>
                    <a:pt x="255" y="110"/>
                  </a:lnTo>
                  <a:lnTo>
                    <a:pt x="254" y="110"/>
                  </a:lnTo>
                  <a:lnTo>
                    <a:pt x="253" y="110"/>
                  </a:lnTo>
                  <a:lnTo>
                    <a:pt x="253" y="112"/>
                  </a:lnTo>
                  <a:lnTo>
                    <a:pt x="253" y="110"/>
                  </a:lnTo>
                  <a:lnTo>
                    <a:pt x="252" y="112"/>
                  </a:lnTo>
                  <a:lnTo>
                    <a:pt x="250" y="112"/>
                  </a:lnTo>
                  <a:lnTo>
                    <a:pt x="250" y="113"/>
                  </a:lnTo>
                  <a:lnTo>
                    <a:pt x="249" y="113"/>
                  </a:lnTo>
                  <a:lnTo>
                    <a:pt x="249" y="112"/>
                  </a:lnTo>
                  <a:lnTo>
                    <a:pt x="250" y="112"/>
                  </a:lnTo>
                  <a:lnTo>
                    <a:pt x="250" y="110"/>
                  </a:lnTo>
                  <a:lnTo>
                    <a:pt x="252" y="110"/>
                  </a:lnTo>
                  <a:lnTo>
                    <a:pt x="250" y="110"/>
                  </a:lnTo>
                  <a:lnTo>
                    <a:pt x="250" y="109"/>
                  </a:lnTo>
                  <a:lnTo>
                    <a:pt x="252" y="109"/>
                  </a:lnTo>
                  <a:lnTo>
                    <a:pt x="252" y="108"/>
                  </a:lnTo>
                  <a:lnTo>
                    <a:pt x="250" y="108"/>
                  </a:lnTo>
                  <a:lnTo>
                    <a:pt x="252" y="108"/>
                  </a:lnTo>
                  <a:lnTo>
                    <a:pt x="252" y="107"/>
                  </a:lnTo>
                  <a:lnTo>
                    <a:pt x="250" y="106"/>
                  </a:lnTo>
                  <a:lnTo>
                    <a:pt x="250" y="104"/>
                  </a:lnTo>
                  <a:lnTo>
                    <a:pt x="249" y="104"/>
                  </a:lnTo>
                  <a:lnTo>
                    <a:pt x="248" y="104"/>
                  </a:lnTo>
                  <a:lnTo>
                    <a:pt x="247" y="104"/>
                  </a:lnTo>
                  <a:lnTo>
                    <a:pt x="247" y="106"/>
                  </a:lnTo>
                  <a:lnTo>
                    <a:pt x="248" y="106"/>
                  </a:lnTo>
                  <a:lnTo>
                    <a:pt x="247" y="107"/>
                  </a:lnTo>
                  <a:lnTo>
                    <a:pt x="248" y="107"/>
                  </a:lnTo>
                  <a:lnTo>
                    <a:pt x="249" y="107"/>
                  </a:lnTo>
                  <a:lnTo>
                    <a:pt x="248" y="107"/>
                  </a:lnTo>
                  <a:lnTo>
                    <a:pt x="248" y="108"/>
                  </a:lnTo>
                  <a:lnTo>
                    <a:pt x="249" y="108"/>
                  </a:lnTo>
                  <a:lnTo>
                    <a:pt x="249" y="109"/>
                  </a:lnTo>
                  <a:lnTo>
                    <a:pt x="249" y="108"/>
                  </a:lnTo>
                  <a:lnTo>
                    <a:pt x="248" y="108"/>
                  </a:lnTo>
                  <a:lnTo>
                    <a:pt x="248" y="109"/>
                  </a:lnTo>
                  <a:lnTo>
                    <a:pt x="247" y="109"/>
                  </a:lnTo>
                  <a:lnTo>
                    <a:pt x="246" y="109"/>
                  </a:lnTo>
                  <a:lnTo>
                    <a:pt x="244" y="109"/>
                  </a:lnTo>
                  <a:lnTo>
                    <a:pt x="244" y="110"/>
                  </a:lnTo>
                  <a:lnTo>
                    <a:pt x="243" y="110"/>
                  </a:lnTo>
                  <a:lnTo>
                    <a:pt x="243" y="112"/>
                  </a:lnTo>
                  <a:lnTo>
                    <a:pt x="242" y="112"/>
                  </a:lnTo>
                  <a:lnTo>
                    <a:pt x="241" y="110"/>
                  </a:lnTo>
                  <a:lnTo>
                    <a:pt x="242" y="110"/>
                  </a:lnTo>
                  <a:lnTo>
                    <a:pt x="242" y="109"/>
                  </a:lnTo>
                  <a:lnTo>
                    <a:pt x="241" y="108"/>
                  </a:lnTo>
                  <a:lnTo>
                    <a:pt x="241" y="107"/>
                  </a:lnTo>
                  <a:lnTo>
                    <a:pt x="242" y="107"/>
                  </a:lnTo>
                  <a:lnTo>
                    <a:pt x="242" y="108"/>
                  </a:lnTo>
                  <a:lnTo>
                    <a:pt x="243" y="108"/>
                  </a:lnTo>
                  <a:lnTo>
                    <a:pt x="243" y="109"/>
                  </a:lnTo>
                  <a:lnTo>
                    <a:pt x="244" y="109"/>
                  </a:lnTo>
                  <a:lnTo>
                    <a:pt x="244" y="108"/>
                  </a:lnTo>
                  <a:lnTo>
                    <a:pt x="243" y="109"/>
                  </a:lnTo>
                  <a:lnTo>
                    <a:pt x="243" y="108"/>
                  </a:lnTo>
                  <a:lnTo>
                    <a:pt x="243" y="107"/>
                  </a:lnTo>
                  <a:lnTo>
                    <a:pt x="243" y="106"/>
                  </a:lnTo>
                  <a:lnTo>
                    <a:pt x="243" y="107"/>
                  </a:lnTo>
                  <a:lnTo>
                    <a:pt x="242" y="107"/>
                  </a:lnTo>
                  <a:lnTo>
                    <a:pt x="242" y="106"/>
                  </a:lnTo>
                  <a:lnTo>
                    <a:pt x="242" y="104"/>
                  </a:lnTo>
                  <a:lnTo>
                    <a:pt x="241" y="103"/>
                  </a:lnTo>
                  <a:lnTo>
                    <a:pt x="240" y="103"/>
                  </a:lnTo>
                  <a:lnTo>
                    <a:pt x="241" y="102"/>
                  </a:lnTo>
                  <a:lnTo>
                    <a:pt x="240" y="103"/>
                  </a:lnTo>
                  <a:lnTo>
                    <a:pt x="241" y="104"/>
                  </a:lnTo>
                  <a:lnTo>
                    <a:pt x="240" y="104"/>
                  </a:lnTo>
                  <a:lnTo>
                    <a:pt x="240" y="106"/>
                  </a:lnTo>
                  <a:lnTo>
                    <a:pt x="240" y="104"/>
                  </a:lnTo>
                  <a:lnTo>
                    <a:pt x="240" y="103"/>
                  </a:lnTo>
                  <a:lnTo>
                    <a:pt x="238" y="103"/>
                  </a:lnTo>
                  <a:lnTo>
                    <a:pt x="237" y="103"/>
                  </a:lnTo>
                  <a:lnTo>
                    <a:pt x="237" y="104"/>
                  </a:lnTo>
                  <a:lnTo>
                    <a:pt x="237" y="103"/>
                  </a:lnTo>
                  <a:lnTo>
                    <a:pt x="236" y="103"/>
                  </a:lnTo>
                  <a:lnTo>
                    <a:pt x="236" y="102"/>
                  </a:lnTo>
                  <a:lnTo>
                    <a:pt x="235" y="102"/>
                  </a:lnTo>
                  <a:lnTo>
                    <a:pt x="235" y="103"/>
                  </a:lnTo>
                  <a:lnTo>
                    <a:pt x="234" y="104"/>
                  </a:lnTo>
                  <a:lnTo>
                    <a:pt x="234" y="103"/>
                  </a:lnTo>
                  <a:lnTo>
                    <a:pt x="232" y="104"/>
                  </a:lnTo>
                  <a:lnTo>
                    <a:pt x="234" y="104"/>
                  </a:lnTo>
                  <a:lnTo>
                    <a:pt x="234" y="106"/>
                  </a:lnTo>
                  <a:lnTo>
                    <a:pt x="232" y="106"/>
                  </a:lnTo>
                  <a:lnTo>
                    <a:pt x="232" y="107"/>
                  </a:lnTo>
                  <a:lnTo>
                    <a:pt x="231" y="108"/>
                  </a:lnTo>
                  <a:lnTo>
                    <a:pt x="230" y="108"/>
                  </a:lnTo>
                  <a:lnTo>
                    <a:pt x="228" y="108"/>
                  </a:lnTo>
                  <a:lnTo>
                    <a:pt x="228" y="107"/>
                  </a:lnTo>
                  <a:lnTo>
                    <a:pt x="228" y="106"/>
                  </a:lnTo>
                  <a:lnTo>
                    <a:pt x="229" y="106"/>
                  </a:lnTo>
                  <a:lnTo>
                    <a:pt x="229" y="104"/>
                  </a:lnTo>
                  <a:lnTo>
                    <a:pt x="229" y="106"/>
                  </a:lnTo>
                  <a:lnTo>
                    <a:pt x="228" y="106"/>
                  </a:lnTo>
                  <a:lnTo>
                    <a:pt x="228" y="104"/>
                  </a:lnTo>
                  <a:lnTo>
                    <a:pt x="229" y="104"/>
                  </a:lnTo>
                  <a:lnTo>
                    <a:pt x="229" y="103"/>
                  </a:lnTo>
                  <a:lnTo>
                    <a:pt x="229" y="102"/>
                  </a:lnTo>
                  <a:lnTo>
                    <a:pt x="230" y="102"/>
                  </a:lnTo>
                  <a:lnTo>
                    <a:pt x="230" y="101"/>
                  </a:lnTo>
                  <a:lnTo>
                    <a:pt x="230" y="100"/>
                  </a:lnTo>
                  <a:lnTo>
                    <a:pt x="230" y="98"/>
                  </a:lnTo>
                  <a:lnTo>
                    <a:pt x="229" y="98"/>
                  </a:lnTo>
                  <a:lnTo>
                    <a:pt x="228" y="98"/>
                  </a:lnTo>
                  <a:lnTo>
                    <a:pt x="228" y="100"/>
                  </a:lnTo>
                  <a:lnTo>
                    <a:pt x="226" y="100"/>
                  </a:lnTo>
                  <a:lnTo>
                    <a:pt x="226" y="98"/>
                  </a:lnTo>
                  <a:lnTo>
                    <a:pt x="225" y="98"/>
                  </a:lnTo>
                  <a:lnTo>
                    <a:pt x="224" y="98"/>
                  </a:lnTo>
                  <a:lnTo>
                    <a:pt x="224" y="97"/>
                  </a:lnTo>
                  <a:lnTo>
                    <a:pt x="223" y="97"/>
                  </a:lnTo>
                  <a:lnTo>
                    <a:pt x="222" y="97"/>
                  </a:lnTo>
                  <a:lnTo>
                    <a:pt x="219" y="97"/>
                  </a:lnTo>
                  <a:lnTo>
                    <a:pt x="219" y="98"/>
                  </a:lnTo>
                  <a:lnTo>
                    <a:pt x="220" y="98"/>
                  </a:lnTo>
                  <a:lnTo>
                    <a:pt x="220" y="100"/>
                  </a:lnTo>
                  <a:lnTo>
                    <a:pt x="219" y="100"/>
                  </a:lnTo>
                  <a:lnTo>
                    <a:pt x="219" y="98"/>
                  </a:lnTo>
                  <a:lnTo>
                    <a:pt x="218" y="98"/>
                  </a:lnTo>
                  <a:lnTo>
                    <a:pt x="219" y="97"/>
                  </a:lnTo>
                  <a:lnTo>
                    <a:pt x="218" y="97"/>
                  </a:lnTo>
                  <a:lnTo>
                    <a:pt x="217" y="98"/>
                  </a:lnTo>
                  <a:lnTo>
                    <a:pt x="215" y="98"/>
                  </a:lnTo>
                  <a:lnTo>
                    <a:pt x="214" y="98"/>
                  </a:lnTo>
                  <a:lnTo>
                    <a:pt x="214" y="100"/>
                  </a:lnTo>
                  <a:lnTo>
                    <a:pt x="215" y="100"/>
                  </a:lnTo>
                  <a:lnTo>
                    <a:pt x="215" y="101"/>
                  </a:lnTo>
                  <a:lnTo>
                    <a:pt x="214" y="101"/>
                  </a:lnTo>
                  <a:lnTo>
                    <a:pt x="213" y="102"/>
                  </a:lnTo>
                  <a:lnTo>
                    <a:pt x="213" y="103"/>
                  </a:lnTo>
                  <a:lnTo>
                    <a:pt x="212" y="102"/>
                  </a:lnTo>
                  <a:lnTo>
                    <a:pt x="211" y="101"/>
                  </a:lnTo>
                  <a:lnTo>
                    <a:pt x="211" y="100"/>
                  </a:lnTo>
                  <a:lnTo>
                    <a:pt x="211" y="101"/>
                  </a:lnTo>
                  <a:lnTo>
                    <a:pt x="212" y="100"/>
                  </a:lnTo>
                  <a:lnTo>
                    <a:pt x="213" y="100"/>
                  </a:lnTo>
                  <a:lnTo>
                    <a:pt x="212" y="100"/>
                  </a:lnTo>
                  <a:lnTo>
                    <a:pt x="213" y="98"/>
                  </a:lnTo>
                  <a:lnTo>
                    <a:pt x="213" y="97"/>
                  </a:lnTo>
                  <a:lnTo>
                    <a:pt x="213" y="96"/>
                  </a:lnTo>
                  <a:lnTo>
                    <a:pt x="212" y="96"/>
                  </a:lnTo>
                  <a:lnTo>
                    <a:pt x="212" y="97"/>
                  </a:lnTo>
                  <a:lnTo>
                    <a:pt x="211" y="97"/>
                  </a:lnTo>
                  <a:lnTo>
                    <a:pt x="211" y="96"/>
                  </a:lnTo>
                  <a:lnTo>
                    <a:pt x="209" y="96"/>
                  </a:lnTo>
                  <a:lnTo>
                    <a:pt x="209" y="95"/>
                  </a:lnTo>
                  <a:lnTo>
                    <a:pt x="208" y="95"/>
                  </a:lnTo>
                  <a:lnTo>
                    <a:pt x="208" y="94"/>
                  </a:lnTo>
                  <a:lnTo>
                    <a:pt x="207" y="94"/>
                  </a:lnTo>
                  <a:lnTo>
                    <a:pt x="206" y="92"/>
                  </a:lnTo>
                  <a:lnTo>
                    <a:pt x="205" y="92"/>
                  </a:lnTo>
                  <a:lnTo>
                    <a:pt x="203" y="91"/>
                  </a:lnTo>
                  <a:lnTo>
                    <a:pt x="202" y="91"/>
                  </a:lnTo>
                  <a:lnTo>
                    <a:pt x="202" y="90"/>
                  </a:lnTo>
                  <a:lnTo>
                    <a:pt x="202" y="89"/>
                  </a:lnTo>
                  <a:lnTo>
                    <a:pt x="201" y="89"/>
                  </a:lnTo>
                  <a:lnTo>
                    <a:pt x="200" y="89"/>
                  </a:lnTo>
                  <a:lnTo>
                    <a:pt x="199" y="89"/>
                  </a:lnTo>
                  <a:lnTo>
                    <a:pt x="199" y="88"/>
                  </a:lnTo>
                  <a:lnTo>
                    <a:pt x="197" y="86"/>
                  </a:lnTo>
                  <a:lnTo>
                    <a:pt x="196" y="86"/>
                  </a:lnTo>
                  <a:lnTo>
                    <a:pt x="196" y="85"/>
                  </a:lnTo>
                  <a:lnTo>
                    <a:pt x="196" y="84"/>
                  </a:lnTo>
                  <a:lnTo>
                    <a:pt x="196" y="83"/>
                  </a:lnTo>
                  <a:lnTo>
                    <a:pt x="197" y="82"/>
                  </a:lnTo>
                  <a:lnTo>
                    <a:pt x="196" y="82"/>
                  </a:lnTo>
                  <a:lnTo>
                    <a:pt x="195" y="82"/>
                  </a:lnTo>
                  <a:lnTo>
                    <a:pt x="195" y="80"/>
                  </a:lnTo>
                  <a:lnTo>
                    <a:pt x="194" y="80"/>
                  </a:lnTo>
                  <a:lnTo>
                    <a:pt x="193" y="80"/>
                  </a:lnTo>
                  <a:lnTo>
                    <a:pt x="191" y="80"/>
                  </a:lnTo>
                  <a:lnTo>
                    <a:pt x="191" y="79"/>
                  </a:lnTo>
                  <a:lnTo>
                    <a:pt x="190" y="78"/>
                  </a:lnTo>
                  <a:lnTo>
                    <a:pt x="189" y="78"/>
                  </a:lnTo>
                  <a:lnTo>
                    <a:pt x="190" y="77"/>
                  </a:lnTo>
                  <a:lnTo>
                    <a:pt x="190" y="76"/>
                  </a:lnTo>
                  <a:lnTo>
                    <a:pt x="191" y="76"/>
                  </a:lnTo>
                  <a:lnTo>
                    <a:pt x="193" y="76"/>
                  </a:lnTo>
                  <a:lnTo>
                    <a:pt x="194" y="74"/>
                  </a:lnTo>
                  <a:lnTo>
                    <a:pt x="194" y="73"/>
                  </a:lnTo>
                  <a:lnTo>
                    <a:pt x="195" y="73"/>
                  </a:lnTo>
                  <a:lnTo>
                    <a:pt x="196" y="73"/>
                  </a:lnTo>
                  <a:lnTo>
                    <a:pt x="196" y="74"/>
                  </a:lnTo>
                  <a:lnTo>
                    <a:pt x="197" y="74"/>
                  </a:lnTo>
                  <a:lnTo>
                    <a:pt x="199" y="74"/>
                  </a:lnTo>
                  <a:lnTo>
                    <a:pt x="199" y="76"/>
                  </a:lnTo>
                  <a:lnTo>
                    <a:pt x="199" y="74"/>
                  </a:lnTo>
                  <a:lnTo>
                    <a:pt x="197" y="73"/>
                  </a:lnTo>
                  <a:lnTo>
                    <a:pt x="196" y="73"/>
                  </a:lnTo>
                  <a:lnTo>
                    <a:pt x="196" y="72"/>
                  </a:lnTo>
                  <a:lnTo>
                    <a:pt x="195" y="72"/>
                  </a:lnTo>
                  <a:lnTo>
                    <a:pt x="194" y="72"/>
                  </a:lnTo>
                  <a:lnTo>
                    <a:pt x="194" y="71"/>
                  </a:lnTo>
                  <a:lnTo>
                    <a:pt x="194" y="70"/>
                  </a:lnTo>
                  <a:lnTo>
                    <a:pt x="193" y="70"/>
                  </a:lnTo>
                  <a:lnTo>
                    <a:pt x="193" y="68"/>
                  </a:lnTo>
                  <a:lnTo>
                    <a:pt x="193" y="67"/>
                  </a:lnTo>
                  <a:lnTo>
                    <a:pt x="191" y="67"/>
                  </a:lnTo>
                  <a:lnTo>
                    <a:pt x="191" y="66"/>
                  </a:lnTo>
                  <a:lnTo>
                    <a:pt x="191" y="65"/>
                  </a:lnTo>
                  <a:lnTo>
                    <a:pt x="191" y="64"/>
                  </a:lnTo>
                  <a:lnTo>
                    <a:pt x="193" y="64"/>
                  </a:lnTo>
                  <a:lnTo>
                    <a:pt x="194" y="65"/>
                  </a:lnTo>
                  <a:lnTo>
                    <a:pt x="196" y="65"/>
                  </a:lnTo>
                  <a:lnTo>
                    <a:pt x="197" y="65"/>
                  </a:lnTo>
                  <a:lnTo>
                    <a:pt x="199" y="66"/>
                  </a:lnTo>
                  <a:lnTo>
                    <a:pt x="200" y="66"/>
                  </a:lnTo>
                  <a:lnTo>
                    <a:pt x="201" y="66"/>
                  </a:lnTo>
                  <a:lnTo>
                    <a:pt x="201" y="65"/>
                  </a:lnTo>
                  <a:lnTo>
                    <a:pt x="201" y="64"/>
                  </a:lnTo>
                  <a:lnTo>
                    <a:pt x="200" y="64"/>
                  </a:lnTo>
                  <a:lnTo>
                    <a:pt x="201" y="64"/>
                  </a:lnTo>
                  <a:lnTo>
                    <a:pt x="201" y="62"/>
                  </a:lnTo>
                  <a:lnTo>
                    <a:pt x="200" y="62"/>
                  </a:lnTo>
                  <a:lnTo>
                    <a:pt x="199" y="62"/>
                  </a:lnTo>
                  <a:lnTo>
                    <a:pt x="197" y="62"/>
                  </a:lnTo>
                  <a:lnTo>
                    <a:pt x="196" y="62"/>
                  </a:lnTo>
                  <a:lnTo>
                    <a:pt x="196" y="61"/>
                  </a:lnTo>
                  <a:lnTo>
                    <a:pt x="195" y="61"/>
                  </a:lnTo>
                  <a:lnTo>
                    <a:pt x="196" y="61"/>
                  </a:lnTo>
                  <a:lnTo>
                    <a:pt x="195" y="60"/>
                  </a:lnTo>
                  <a:lnTo>
                    <a:pt x="195" y="59"/>
                  </a:lnTo>
                  <a:lnTo>
                    <a:pt x="195" y="58"/>
                  </a:lnTo>
                  <a:lnTo>
                    <a:pt x="194" y="58"/>
                  </a:lnTo>
                  <a:lnTo>
                    <a:pt x="194" y="56"/>
                  </a:lnTo>
                  <a:lnTo>
                    <a:pt x="194" y="55"/>
                  </a:lnTo>
                  <a:lnTo>
                    <a:pt x="195" y="55"/>
                  </a:lnTo>
                  <a:lnTo>
                    <a:pt x="196" y="55"/>
                  </a:lnTo>
                  <a:lnTo>
                    <a:pt x="196" y="56"/>
                  </a:lnTo>
                  <a:lnTo>
                    <a:pt x="197" y="56"/>
                  </a:lnTo>
                  <a:lnTo>
                    <a:pt x="197" y="58"/>
                  </a:lnTo>
                  <a:lnTo>
                    <a:pt x="199" y="56"/>
                  </a:lnTo>
                  <a:lnTo>
                    <a:pt x="199" y="55"/>
                  </a:lnTo>
                  <a:lnTo>
                    <a:pt x="197" y="55"/>
                  </a:lnTo>
                  <a:lnTo>
                    <a:pt x="197" y="54"/>
                  </a:lnTo>
                  <a:lnTo>
                    <a:pt x="199" y="54"/>
                  </a:lnTo>
                  <a:lnTo>
                    <a:pt x="199" y="53"/>
                  </a:lnTo>
                  <a:lnTo>
                    <a:pt x="197" y="53"/>
                  </a:lnTo>
                  <a:lnTo>
                    <a:pt x="197" y="52"/>
                  </a:lnTo>
                  <a:lnTo>
                    <a:pt x="196" y="52"/>
                  </a:lnTo>
                  <a:lnTo>
                    <a:pt x="197" y="52"/>
                  </a:lnTo>
                  <a:lnTo>
                    <a:pt x="197" y="50"/>
                  </a:lnTo>
                  <a:lnTo>
                    <a:pt x="197" y="49"/>
                  </a:lnTo>
                  <a:lnTo>
                    <a:pt x="199" y="49"/>
                  </a:lnTo>
                  <a:lnTo>
                    <a:pt x="199" y="48"/>
                  </a:lnTo>
                  <a:lnTo>
                    <a:pt x="199" y="47"/>
                  </a:lnTo>
                  <a:lnTo>
                    <a:pt x="197" y="47"/>
                  </a:lnTo>
                  <a:lnTo>
                    <a:pt x="197" y="45"/>
                  </a:lnTo>
                  <a:lnTo>
                    <a:pt x="197" y="44"/>
                  </a:lnTo>
                  <a:lnTo>
                    <a:pt x="199" y="44"/>
                  </a:lnTo>
                  <a:lnTo>
                    <a:pt x="200" y="43"/>
                  </a:lnTo>
                  <a:lnTo>
                    <a:pt x="200" y="44"/>
                  </a:lnTo>
                  <a:lnTo>
                    <a:pt x="201" y="44"/>
                  </a:lnTo>
                  <a:lnTo>
                    <a:pt x="201" y="45"/>
                  </a:lnTo>
                  <a:lnTo>
                    <a:pt x="201" y="47"/>
                  </a:lnTo>
                  <a:lnTo>
                    <a:pt x="201" y="48"/>
                  </a:lnTo>
                  <a:lnTo>
                    <a:pt x="201" y="49"/>
                  </a:lnTo>
                  <a:lnTo>
                    <a:pt x="201" y="50"/>
                  </a:lnTo>
                  <a:lnTo>
                    <a:pt x="202" y="49"/>
                  </a:lnTo>
                  <a:lnTo>
                    <a:pt x="202" y="48"/>
                  </a:lnTo>
                  <a:lnTo>
                    <a:pt x="203" y="48"/>
                  </a:lnTo>
                  <a:lnTo>
                    <a:pt x="203" y="47"/>
                  </a:lnTo>
                  <a:lnTo>
                    <a:pt x="203" y="45"/>
                  </a:lnTo>
                  <a:lnTo>
                    <a:pt x="202" y="45"/>
                  </a:lnTo>
                  <a:lnTo>
                    <a:pt x="202" y="44"/>
                  </a:lnTo>
                  <a:lnTo>
                    <a:pt x="201" y="44"/>
                  </a:lnTo>
                  <a:lnTo>
                    <a:pt x="202" y="43"/>
                  </a:lnTo>
                  <a:lnTo>
                    <a:pt x="202" y="42"/>
                  </a:lnTo>
                  <a:lnTo>
                    <a:pt x="203" y="42"/>
                  </a:lnTo>
                  <a:lnTo>
                    <a:pt x="205" y="42"/>
                  </a:lnTo>
                  <a:lnTo>
                    <a:pt x="205" y="43"/>
                  </a:lnTo>
                  <a:lnTo>
                    <a:pt x="206" y="43"/>
                  </a:lnTo>
                  <a:lnTo>
                    <a:pt x="207" y="43"/>
                  </a:lnTo>
                  <a:lnTo>
                    <a:pt x="207" y="42"/>
                  </a:lnTo>
                  <a:lnTo>
                    <a:pt x="205" y="42"/>
                  </a:lnTo>
                  <a:lnTo>
                    <a:pt x="206" y="42"/>
                  </a:lnTo>
                  <a:lnTo>
                    <a:pt x="205" y="41"/>
                  </a:lnTo>
                  <a:lnTo>
                    <a:pt x="205" y="39"/>
                  </a:lnTo>
                  <a:lnTo>
                    <a:pt x="206" y="38"/>
                  </a:lnTo>
                  <a:lnTo>
                    <a:pt x="207" y="38"/>
                  </a:lnTo>
                  <a:lnTo>
                    <a:pt x="206" y="38"/>
                  </a:lnTo>
                  <a:lnTo>
                    <a:pt x="207" y="37"/>
                  </a:lnTo>
                  <a:lnTo>
                    <a:pt x="206" y="37"/>
                  </a:lnTo>
                  <a:lnTo>
                    <a:pt x="206" y="36"/>
                  </a:lnTo>
                  <a:lnTo>
                    <a:pt x="205" y="36"/>
                  </a:lnTo>
                  <a:lnTo>
                    <a:pt x="203" y="35"/>
                  </a:lnTo>
                  <a:lnTo>
                    <a:pt x="202" y="35"/>
                  </a:lnTo>
                  <a:lnTo>
                    <a:pt x="202" y="33"/>
                  </a:lnTo>
                  <a:lnTo>
                    <a:pt x="203" y="33"/>
                  </a:lnTo>
                  <a:lnTo>
                    <a:pt x="203" y="32"/>
                  </a:lnTo>
                  <a:lnTo>
                    <a:pt x="203" y="31"/>
                  </a:lnTo>
                  <a:lnTo>
                    <a:pt x="205" y="32"/>
                  </a:lnTo>
                  <a:lnTo>
                    <a:pt x="205" y="31"/>
                  </a:lnTo>
                  <a:lnTo>
                    <a:pt x="205" y="30"/>
                  </a:lnTo>
                  <a:lnTo>
                    <a:pt x="205" y="29"/>
                  </a:lnTo>
                  <a:lnTo>
                    <a:pt x="203" y="29"/>
                  </a:lnTo>
                  <a:lnTo>
                    <a:pt x="203" y="27"/>
                  </a:lnTo>
                  <a:lnTo>
                    <a:pt x="205" y="27"/>
                  </a:lnTo>
                  <a:lnTo>
                    <a:pt x="206" y="27"/>
                  </a:lnTo>
                  <a:lnTo>
                    <a:pt x="206" y="26"/>
                  </a:lnTo>
                  <a:lnTo>
                    <a:pt x="207" y="27"/>
                  </a:lnTo>
                  <a:lnTo>
                    <a:pt x="207" y="29"/>
                  </a:lnTo>
                  <a:lnTo>
                    <a:pt x="207" y="30"/>
                  </a:lnTo>
                  <a:lnTo>
                    <a:pt x="208" y="30"/>
                  </a:lnTo>
                  <a:lnTo>
                    <a:pt x="208" y="31"/>
                  </a:lnTo>
                  <a:lnTo>
                    <a:pt x="209" y="31"/>
                  </a:lnTo>
                  <a:lnTo>
                    <a:pt x="209" y="30"/>
                  </a:lnTo>
                  <a:lnTo>
                    <a:pt x="211" y="30"/>
                  </a:lnTo>
                  <a:lnTo>
                    <a:pt x="211" y="31"/>
                  </a:lnTo>
                  <a:lnTo>
                    <a:pt x="211" y="32"/>
                  </a:lnTo>
                  <a:lnTo>
                    <a:pt x="211" y="35"/>
                  </a:lnTo>
                  <a:lnTo>
                    <a:pt x="212" y="35"/>
                  </a:lnTo>
                  <a:lnTo>
                    <a:pt x="213" y="35"/>
                  </a:lnTo>
                  <a:lnTo>
                    <a:pt x="214" y="35"/>
                  </a:lnTo>
                  <a:lnTo>
                    <a:pt x="215" y="35"/>
                  </a:lnTo>
                  <a:lnTo>
                    <a:pt x="215" y="33"/>
                  </a:lnTo>
                  <a:lnTo>
                    <a:pt x="217" y="33"/>
                  </a:lnTo>
                  <a:lnTo>
                    <a:pt x="215" y="33"/>
                  </a:lnTo>
                  <a:lnTo>
                    <a:pt x="214" y="32"/>
                  </a:lnTo>
                  <a:lnTo>
                    <a:pt x="215" y="32"/>
                  </a:lnTo>
                  <a:lnTo>
                    <a:pt x="214" y="32"/>
                  </a:lnTo>
                  <a:lnTo>
                    <a:pt x="214" y="31"/>
                  </a:lnTo>
                  <a:lnTo>
                    <a:pt x="214" y="30"/>
                  </a:lnTo>
                  <a:lnTo>
                    <a:pt x="213" y="30"/>
                  </a:lnTo>
                  <a:lnTo>
                    <a:pt x="214" y="29"/>
                  </a:lnTo>
                  <a:lnTo>
                    <a:pt x="213" y="29"/>
                  </a:lnTo>
                  <a:lnTo>
                    <a:pt x="213" y="27"/>
                  </a:lnTo>
                  <a:lnTo>
                    <a:pt x="213" y="26"/>
                  </a:lnTo>
                  <a:lnTo>
                    <a:pt x="213" y="25"/>
                  </a:lnTo>
                  <a:lnTo>
                    <a:pt x="213" y="24"/>
                  </a:lnTo>
                  <a:lnTo>
                    <a:pt x="212" y="24"/>
                  </a:lnTo>
                  <a:lnTo>
                    <a:pt x="212" y="23"/>
                  </a:lnTo>
                  <a:lnTo>
                    <a:pt x="212" y="21"/>
                  </a:lnTo>
                  <a:lnTo>
                    <a:pt x="211" y="21"/>
                  </a:lnTo>
                  <a:lnTo>
                    <a:pt x="212" y="20"/>
                  </a:lnTo>
                  <a:lnTo>
                    <a:pt x="211" y="20"/>
                  </a:lnTo>
                  <a:lnTo>
                    <a:pt x="211" y="19"/>
                  </a:lnTo>
                  <a:lnTo>
                    <a:pt x="211" y="18"/>
                  </a:lnTo>
                  <a:lnTo>
                    <a:pt x="212" y="18"/>
                  </a:lnTo>
                  <a:lnTo>
                    <a:pt x="212" y="17"/>
                  </a:lnTo>
                  <a:lnTo>
                    <a:pt x="213" y="17"/>
                  </a:lnTo>
                  <a:lnTo>
                    <a:pt x="212" y="18"/>
                  </a:lnTo>
                  <a:lnTo>
                    <a:pt x="213" y="18"/>
                  </a:lnTo>
                  <a:lnTo>
                    <a:pt x="213" y="17"/>
                  </a:lnTo>
                  <a:lnTo>
                    <a:pt x="213" y="15"/>
                  </a:lnTo>
                  <a:lnTo>
                    <a:pt x="213" y="14"/>
                  </a:lnTo>
                  <a:lnTo>
                    <a:pt x="213" y="13"/>
                  </a:lnTo>
                  <a:lnTo>
                    <a:pt x="214" y="12"/>
                  </a:lnTo>
                  <a:lnTo>
                    <a:pt x="214" y="13"/>
                  </a:lnTo>
                  <a:lnTo>
                    <a:pt x="217" y="13"/>
                  </a:lnTo>
                  <a:lnTo>
                    <a:pt x="215" y="13"/>
                  </a:lnTo>
                  <a:lnTo>
                    <a:pt x="215" y="14"/>
                  </a:lnTo>
                  <a:lnTo>
                    <a:pt x="217" y="14"/>
                  </a:lnTo>
                  <a:lnTo>
                    <a:pt x="215" y="15"/>
                  </a:lnTo>
                  <a:lnTo>
                    <a:pt x="217" y="17"/>
                  </a:lnTo>
                  <a:lnTo>
                    <a:pt x="217" y="18"/>
                  </a:lnTo>
                  <a:lnTo>
                    <a:pt x="217" y="19"/>
                  </a:lnTo>
                  <a:lnTo>
                    <a:pt x="218" y="19"/>
                  </a:lnTo>
                  <a:lnTo>
                    <a:pt x="218" y="18"/>
                  </a:lnTo>
                  <a:lnTo>
                    <a:pt x="219" y="18"/>
                  </a:lnTo>
                  <a:lnTo>
                    <a:pt x="220" y="18"/>
                  </a:lnTo>
                  <a:lnTo>
                    <a:pt x="222" y="18"/>
                  </a:lnTo>
                  <a:lnTo>
                    <a:pt x="222" y="19"/>
                  </a:lnTo>
                  <a:lnTo>
                    <a:pt x="223" y="19"/>
                  </a:lnTo>
                  <a:lnTo>
                    <a:pt x="223" y="18"/>
                  </a:lnTo>
                  <a:lnTo>
                    <a:pt x="223" y="17"/>
                  </a:lnTo>
                  <a:lnTo>
                    <a:pt x="223" y="15"/>
                  </a:lnTo>
                  <a:lnTo>
                    <a:pt x="224" y="14"/>
                  </a:lnTo>
                  <a:lnTo>
                    <a:pt x="224" y="15"/>
                  </a:lnTo>
                  <a:lnTo>
                    <a:pt x="225" y="15"/>
                  </a:lnTo>
                  <a:lnTo>
                    <a:pt x="226" y="15"/>
                  </a:lnTo>
                  <a:lnTo>
                    <a:pt x="226" y="17"/>
                  </a:lnTo>
                  <a:lnTo>
                    <a:pt x="226" y="18"/>
                  </a:lnTo>
                  <a:lnTo>
                    <a:pt x="225" y="18"/>
                  </a:lnTo>
                  <a:lnTo>
                    <a:pt x="225" y="19"/>
                  </a:lnTo>
                  <a:lnTo>
                    <a:pt x="225" y="21"/>
                  </a:lnTo>
                  <a:lnTo>
                    <a:pt x="226" y="21"/>
                  </a:lnTo>
                  <a:lnTo>
                    <a:pt x="226" y="23"/>
                  </a:lnTo>
                  <a:lnTo>
                    <a:pt x="228" y="23"/>
                  </a:lnTo>
                  <a:lnTo>
                    <a:pt x="226" y="23"/>
                  </a:lnTo>
                  <a:lnTo>
                    <a:pt x="226" y="24"/>
                  </a:lnTo>
                  <a:lnTo>
                    <a:pt x="225" y="24"/>
                  </a:lnTo>
                  <a:lnTo>
                    <a:pt x="225" y="25"/>
                  </a:lnTo>
                  <a:lnTo>
                    <a:pt x="224" y="26"/>
                  </a:lnTo>
                  <a:lnTo>
                    <a:pt x="224" y="27"/>
                  </a:lnTo>
                  <a:lnTo>
                    <a:pt x="224" y="29"/>
                  </a:lnTo>
                  <a:lnTo>
                    <a:pt x="225" y="29"/>
                  </a:lnTo>
                  <a:lnTo>
                    <a:pt x="225" y="30"/>
                  </a:lnTo>
                  <a:lnTo>
                    <a:pt x="225" y="31"/>
                  </a:lnTo>
                  <a:lnTo>
                    <a:pt x="226" y="30"/>
                  </a:lnTo>
                  <a:lnTo>
                    <a:pt x="226" y="31"/>
                  </a:lnTo>
                  <a:lnTo>
                    <a:pt x="228" y="31"/>
                  </a:lnTo>
                  <a:lnTo>
                    <a:pt x="229" y="32"/>
                  </a:lnTo>
                  <a:lnTo>
                    <a:pt x="229" y="31"/>
                  </a:lnTo>
                  <a:lnTo>
                    <a:pt x="230" y="31"/>
                  </a:lnTo>
                  <a:lnTo>
                    <a:pt x="230" y="30"/>
                  </a:lnTo>
                  <a:lnTo>
                    <a:pt x="230" y="29"/>
                  </a:lnTo>
                  <a:lnTo>
                    <a:pt x="231" y="29"/>
                  </a:lnTo>
                  <a:lnTo>
                    <a:pt x="231" y="27"/>
                  </a:lnTo>
                  <a:lnTo>
                    <a:pt x="231" y="26"/>
                  </a:lnTo>
                  <a:lnTo>
                    <a:pt x="232" y="25"/>
                  </a:lnTo>
                  <a:lnTo>
                    <a:pt x="232" y="23"/>
                  </a:lnTo>
                  <a:lnTo>
                    <a:pt x="232" y="21"/>
                  </a:lnTo>
                  <a:lnTo>
                    <a:pt x="232" y="20"/>
                  </a:lnTo>
                  <a:lnTo>
                    <a:pt x="234" y="20"/>
                  </a:lnTo>
                  <a:lnTo>
                    <a:pt x="235" y="19"/>
                  </a:lnTo>
                  <a:lnTo>
                    <a:pt x="235" y="20"/>
                  </a:lnTo>
                  <a:lnTo>
                    <a:pt x="236" y="20"/>
                  </a:lnTo>
                  <a:lnTo>
                    <a:pt x="236" y="21"/>
                  </a:lnTo>
                  <a:lnTo>
                    <a:pt x="236" y="23"/>
                  </a:lnTo>
                  <a:lnTo>
                    <a:pt x="236" y="24"/>
                  </a:lnTo>
                  <a:lnTo>
                    <a:pt x="237" y="24"/>
                  </a:lnTo>
                  <a:lnTo>
                    <a:pt x="238" y="24"/>
                  </a:lnTo>
                  <a:lnTo>
                    <a:pt x="238" y="25"/>
                  </a:lnTo>
                  <a:lnTo>
                    <a:pt x="238" y="26"/>
                  </a:lnTo>
                  <a:lnTo>
                    <a:pt x="240" y="27"/>
                  </a:lnTo>
                  <a:lnTo>
                    <a:pt x="240" y="26"/>
                  </a:lnTo>
                  <a:lnTo>
                    <a:pt x="241" y="26"/>
                  </a:lnTo>
                  <a:lnTo>
                    <a:pt x="241" y="25"/>
                  </a:lnTo>
                  <a:lnTo>
                    <a:pt x="242" y="26"/>
                  </a:lnTo>
                  <a:lnTo>
                    <a:pt x="243" y="27"/>
                  </a:lnTo>
                  <a:lnTo>
                    <a:pt x="243" y="26"/>
                  </a:lnTo>
                  <a:lnTo>
                    <a:pt x="242" y="26"/>
                  </a:lnTo>
                  <a:lnTo>
                    <a:pt x="242" y="25"/>
                  </a:lnTo>
                  <a:lnTo>
                    <a:pt x="243" y="25"/>
                  </a:lnTo>
                  <a:lnTo>
                    <a:pt x="243" y="24"/>
                  </a:lnTo>
                  <a:lnTo>
                    <a:pt x="243" y="23"/>
                  </a:lnTo>
                  <a:lnTo>
                    <a:pt x="244" y="23"/>
                  </a:lnTo>
                  <a:lnTo>
                    <a:pt x="246" y="21"/>
                  </a:lnTo>
                  <a:lnTo>
                    <a:pt x="244" y="21"/>
                  </a:lnTo>
                  <a:lnTo>
                    <a:pt x="244" y="20"/>
                  </a:lnTo>
                  <a:lnTo>
                    <a:pt x="244" y="19"/>
                  </a:lnTo>
                  <a:lnTo>
                    <a:pt x="244" y="18"/>
                  </a:lnTo>
                  <a:lnTo>
                    <a:pt x="244" y="19"/>
                  </a:lnTo>
                  <a:lnTo>
                    <a:pt x="246" y="19"/>
                  </a:lnTo>
                  <a:lnTo>
                    <a:pt x="244" y="18"/>
                  </a:lnTo>
                  <a:lnTo>
                    <a:pt x="244" y="17"/>
                  </a:lnTo>
                  <a:lnTo>
                    <a:pt x="243" y="17"/>
                  </a:lnTo>
                  <a:lnTo>
                    <a:pt x="242" y="17"/>
                  </a:lnTo>
                  <a:lnTo>
                    <a:pt x="242" y="15"/>
                  </a:lnTo>
                  <a:lnTo>
                    <a:pt x="242" y="14"/>
                  </a:lnTo>
                  <a:lnTo>
                    <a:pt x="241" y="13"/>
                  </a:lnTo>
                  <a:lnTo>
                    <a:pt x="241" y="12"/>
                  </a:lnTo>
                  <a:lnTo>
                    <a:pt x="240" y="11"/>
                  </a:lnTo>
                  <a:lnTo>
                    <a:pt x="241" y="9"/>
                  </a:lnTo>
                  <a:lnTo>
                    <a:pt x="242" y="9"/>
                  </a:lnTo>
                  <a:lnTo>
                    <a:pt x="242" y="11"/>
                  </a:lnTo>
                  <a:lnTo>
                    <a:pt x="243" y="11"/>
                  </a:lnTo>
                  <a:lnTo>
                    <a:pt x="243" y="8"/>
                  </a:lnTo>
                  <a:lnTo>
                    <a:pt x="243" y="7"/>
                  </a:lnTo>
                  <a:lnTo>
                    <a:pt x="244" y="6"/>
                  </a:lnTo>
                  <a:lnTo>
                    <a:pt x="246" y="5"/>
                  </a:lnTo>
                  <a:lnTo>
                    <a:pt x="246" y="6"/>
                  </a:lnTo>
                  <a:lnTo>
                    <a:pt x="247" y="5"/>
                  </a:lnTo>
                  <a:lnTo>
                    <a:pt x="247" y="6"/>
                  </a:lnTo>
                  <a:lnTo>
                    <a:pt x="247" y="7"/>
                  </a:lnTo>
                  <a:lnTo>
                    <a:pt x="247" y="8"/>
                  </a:lnTo>
                  <a:lnTo>
                    <a:pt x="248" y="8"/>
                  </a:lnTo>
                  <a:lnTo>
                    <a:pt x="248" y="9"/>
                  </a:lnTo>
                  <a:lnTo>
                    <a:pt x="249" y="9"/>
                  </a:lnTo>
                  <a:lnTo>
                    <a:pt x="249" y="11"/>
                  </a:lnTo>
                  <a:lnTo>
                    <a:pt x="249" y="12"/>
                  </a:lnTo>
                  <a:lnTo>
                    <a:pt x="248" y="12"/>
                  </a:lnTo>
                  <a:lnTo>
                    <a:pt x="248" y="13"/>
                  </a:lnTo>
                  <a:lnTo>
                    <a:pt x="247" y="13"/>
                  </a:lnTo>
                  <a:lnTo>
                    <a:pt x="247" y="14"/>
                  </a:lnTo>
                  <a:lnTo>
                    <a:pt x="247" y="15"/>
                  </a:lnTo>
                  <a:lnTo>
                    <a:pt x="248" y="15"/>
                  </a:lnTo>
                  <a:lnTo>
                    <a:pt x="248" y="17"/>
                  </a:lnTo>
                  <a:lnTo>
                    <a:pt x="248" y="15"/>
                  </a:lnTo>
                  <a:lnTo>
                    <a:pt x="249" y="15"/>
                  </a:lnTo>
                  <a:lnTo>
                    <a:pt x="250" y="14"/>
                  </a:lnTo>
                  <a:lnTo>
                    <a:pt x="252" y="14"/>
                  </a:lnTo>
                  <a:lnTo>
                    <a:pt x="253" y="14"/>
                  </a:lnTo>
                  <a:lnTo>
                    <a:pt x="253" y="15"/>
                  </a:lnTo>
                  <a:lnTo>
                    <a:pt x="253" y="18"/>
                  </a:lnTo>
                  <a:lnTo>
                    <a:pt x="254" y="18"/>
                  </a:lnTo>
                  <a:lnTo>
                    <a:pt x="254" y="19"/>
                  </a:lnTo>
                  <a:lnTo>
                    <a:pt x="255" y="20"/>
                  </a:lnTo>
                  <a:lnTo>
                    <a:pt x="255" y="18"/>
                  </a:lnTo>
                  <a:lnTo>
                    <a:pt x="256" y="18"/>
                  </a:lnTo>
                  <a:lnTo>
                    <a:pt x="256" y="17"/>
                  </a:lnTo>
                  <a:lnTo>
                    <a:pt x="255" y="17"/>
                  </a:lnTo>
                  <a:lnTo>
                    <a:pt x="255" y="15"/>
                  </a:lnTo>
                  <a:lnTo>
                    <a:pt x="256" y="15"/>
                  </a:lnTo>
                  <a:lnTo>
                    <a:pt x="255" y="13"/>
                  </a:lnTo>
                  <a:lnTo>
                    <a:pt x="255" y="12"/>
                  </a:lnTo>
                  <a:lnTo>
                    <a:pt x="256" y="12"/>
                  </a:lnTo>
                  <a:lnTo>
                    <a:pt x="256" y="11"/>
                  </a:lnTo>
                  <a:lnTo>
                    <a:pt x="258" y="9"/>
                  </a:lnTo>
                  <a:lnTo>
                    <a:pt x="259" y="9"/>
                  </a:lnTo>
                  <a:lnTo>
                    <a:pt x="260" y="11"/>
                  </a:lnTo>
                  <a:lnTo>
                    <a:pt x="260" y="9"/>
                  </a:lnTo>
                  <a:lnTo>
                    <a:pt x="260" y="8"/>
                  </a:lnTo>
                  <a:lnTo>
                    <a:pt x="260" y="7"/>
                  </a:lnTo>
                  <a:lnTo>
                    <a:pt x="261" y="7"/>
                  </a:lnTo>
                  <a:lnTo>
                    <a:pt x="261" y="6"/>
                  </a:lnTo>
                  <a:lnTo>
                    <a:pt x="261" y="3"/>
                  </a:lnTo>
                  <a:lnTo>
                    <a:pt x="264" y="3"/>
                  </a:lnTo>
                  <a:lnTo>
                    <a:pt x="264" y="5"/>
                  </a:lnTo>
                  <a:lnTo>
                    <a:pt x="264" y="6"/>
                  </a:lnTo>
                  <a:lnTo>
                    <a:pt x="265" y="7"/>
                  </a:lnTo>
                  <a:lnTo>
                    <a:pt x="265" y="6"/>
                  </a:lnTo>
                  <a:lnTo>
                    <a:pt x="266" y="5"/>
                  </a:lnTo>
                  <a:lnTo>
                    <a:pt x="266" y="3"/>
                  </a:lnTo>
                  <a:lnTo>
                    <a:pt x="267" y="2"/>
                  </a:lnTo>
                  <a:lnTo>
                    <a:pt x="267" y="0"/>
                  </a:lnTo>
                  <a:lnTo>
                    <a:pt x="268" y="0"/>
                  </a:lnTo>
                  <a:lnTo>
                    <a:pt x="271" y="0"/>
                  </a:lnTo>
                  <a:lnTo>
                    <a:pt x="271" y="1"/>
                  </a:lnTo>
                  <a:lnTo>
                    <a:pt x="271" y="2"/>
                  </a:lnTo>
                  <a:lnTo>
                    <a:pt x="270" y="3"/>
                  </a:lnTo>
                  <a:lnTo>
                    <a:pt x="270" y="5"/>
                  </a:lnTo>
                  <a:lnTo>
                    <a:pt x="271" y="6"/>
                  </a:lnTo>
                  <a:lnTo>
                    <a:pt x="272" y="6"/>
                  </a:lnTo>
                  <a:lnTo>
                    <a:pt x="272" y="7"/>
                  </a:lnTo>
                  <a:lnTo>
                    <a:pt x="271" y="8"/>
                  </a:lnTo>
                  <a:lnTo>
                    <a:pt x="271" y="9"/>
                  </a:lnTo>
                  <a:lnTo>
                    <a:pt x="270" y="11"/>
                  </a:lnTo>
                  <a:lnTo>
                    <a:pt x="271" y="11"/>
                  </a:lnTo>
                  <a:lnTo>
                    <a:pt x="272" y="11"/>
                  </a:lnTo>
                  <a:lnTo>
                    <a:pt x="272" y="12"/>
                  </a:lnTo>
                  <a:lnTo>
                    <a:pt x="272" y="13"/>
                  </a:lnTo>
                  <a:lnTo>
                    <a:pt x="272" y="14"/>
                  </a:lnTo>
                  <a:lnTo>
                    <a:pt x="272" y="15"/>
                  </a:lnTo>
                  <a:lnTo>
                    <a:pt x="271" y="15"/>
                  </a:lnTo>
                  <a:lnTo>
                    <a:pt x="271" y="17"/>
                  </a:lnTo>
                  <a:lnTo>
                    <a:pt x="271" y="18"/>
                  </a:lnTo>
                  <a:lnTo>
                    <a:pt x="270" y="18"/>
                  </a:lnTo>
                  <a:lnTo>
                    <a:pt x="271" y="18"/>
                  </a:lnTo>
                  <a:lnTo>
                    <a:pt x="271" y="19"/>
                  </a:lnTo>
                  <a:lnTo>
                    <a:pt x="271" y="20"/>
                  </a:lnTo>
                  <a:lnTo>
                    <a:pt x="271" y="21"/>
                  </a:lnTo>
                  <a:lnTo>
                    <a:pt x="270" y="23"/>
                  </a:lnTo>
                  <a:lnTo>
                    <a:pt x="270" y="24"/>
                  </a:lnTo>
                  <a:lnTo>
                    <a:pt x="270" y="25"/>
                  </a:lnTo>
                  <a:lnTo>
                    <a:pt x="270" y="26"/>
                  </a:lnTo>
                  <a:lnTo>
                    <a:pt x="270" y="27"/>
                  </a:lnTo>
                  <a:lnTo>
                    <a:pt x="270" y="26"/>
                  </a:lnTo>
                  <a:lnTo>
                    <a:pt x="271" y="25"/>
                  </a:lnTo>
                  <a:lnTo>
                    <a:pt x="272" y="25"/>
                  </a:lnTo>
                  <a:lnTo>
                    <a:pt x="272" y="26"/>
                  </a:lnTo>
                  <a:lnTo>
                    <a:pt x="273" y="26"/>
                  </a:lnTo>
                  <a:lnTo>
                    <a:pt x="274" y="25"/>
                  </a:lnTo>
                  <a:lnTo>
                    <a:pt x="276" y="25"/>
                  </a:lnTo>
                  <a:lnTo>
                    <a:pt x="276" y="24"/>
                  </a:lnTo>
                  <a:lnTo>
                    <a:pt x="277" y="24"/>
                  </a:lnTo>
                  <a:lnTo>
                    <a:pt x="278" y="24"/>
                  </a:lnTo>
                  <a:lnTo>
                    <a:pt x="278" y="25"/>
                  </a:lnTo>
                  <a:lnTo>
                    <a:pt x="278" y="26"/>
                  </a:lnTo>
                  <a:lnTo>
                    <a:pt x="278" y="27"/>
                  </a:lnTo>
                  <a:lnTo>
                    <a:pt x="277" y="29"/>
                  </a:lnTo>
                  <a:lnTo>
                    <a:pt x="277" y="30"/>
                  </a:lnTo>
                  <a:lnTo>
                    <a:pt x="277" y="31"/>
                  </a:lnTo>
                  <a:lnTo>
                    <a:pt x="277" y="32"/>
                  </a:lnTo>
                  <a:lnTo>
                    <a:pt x="277" y="33"/>
                  </a:lnTo>
                  <a:lnTo>
                    <a:pt x="277" y="35"/>
                  </a:lnTo>
                  <a:lnTo>
                    <a:pt x="278" y="35"/>
                  </a:lnTo>
                  <a:lnTo>
                    <a:pt x="278" y="33"/>
                  </a:lnTo>
                  <a:lnTo>
                    <a:pt x="279" y="33"/>
                  </a:lnTo>
                  <a:lnTo>
                    <a:pt x="279" y="32"/>
                  </a:lnTo>
                  <a:lnTo>
                    <a:pt x="279" y="31"/>
                  </a:lnTo>
                  <a:lnTo>
                    <a:pt x="279" y="30"/>
                  </a:lnTo>
                  <a:lnTo>
                    <a:pt x="281" y="29"/>
                  </a:lnTo>
                  <a:lnTo>
                    <a:pt x="283" y="30"/>
                  </a:lnTo>
                  <a:lnTo>
                    <a:pt x="284" y="30"/>
                  </a:lnTo>
                  <a:lnTo>
                    <a:pt x="285" y="30"/>
                  </a:lnTo>
                  <a:lnTo>
                    <a:pt x="284" y="31"/>
                  </a:lnTo>
                  <a:lnTo>
                    <a:pt x="284" y="32"/>
                  </a:lnTo>
                  <a:lnTo>
                    <a:pt x="285" y="31"/>
                  </a:lnTo>
                  <a:lnTo>
                    <a:pt x="288" y="31"/>
                  </a:lnTo>
                  <a:lnTo>
                    <a:pt x="288" y="30"/>
                  </a:lnTo>
                  <a:lnTo>
                    <a:pt x="287" y="30"/>
                  </a:lnTo>
                  <a:lnTo>
                    <a:pt x="287" y="29"/>
                  </a:lnTo>
                  <a:lnTo>
                    <a:pt x="288" y="29"/>
                  </a:lnTo>
                  <a:lnTo>
                    <a:pt x="288" y="27"/>
                  </a:lnTo>
                  <a:lnTo>
                    <a:pt x="287" y="27"/>
                  </a:lnTo>
                  <a:lnTo>
                    <a:pt x="287" y="26"/>
                  </a:lnTo>
                  <a:lnTo>
                    <a:pt x="287" y="24"/>
                  </a:lnTo>
                  <a:lnTo>
                    <a:pt x="287" y="23"/>
                  </a:lnTo>
                  <a:lnTo>
                    <a:pt x="288" y="23"/>
                  </a:lnTo>
                  <a:lnTo>
                    <a:pt x="288" y="24"/>
                  </a:lnTo>
                  <a:lnTo>
                    <a:pt x="289" y="25"/>
                  </a:lnTo>
                  <a:lnTo>
                    <a:pt x="290" y="25"/>
                  </a:lnTo>
                  <a:lnTo>
                    <a:pt x="290" y="26"/>
                  </a:lnTo>
                  <a:lnTo>
                    <a:pt x="291" y="26"/>
                  </a:lnTo>
                  <a:lnTo>
                    <a:pt x="291" y="25"/>
                  </a:lnTo>
                  <a:lnTo>
                    <a:pt x="291" y="24"/>
                  </a:lnTo>
                  <a:lnTo>
                    <a:pt x="293" y="24"/>
                  </a:lnTo>
                  <a:lnTo>
                    <a:pt x="293" y="23"/>
                  </a:lnTo>
                  <a:lnTo>
                    <a:pt x="293" y="21"/>
                  </a:lnTo>
                  <a:lnTo>
                    <a:pt x="294" y="20"/>
                  </a:lnTo>
                  <a:lnTo>
                    <a:pt x="295" y="20"/>
                  </a:lnTo>
                  <a:lnTo>
                    <a:pt x="296" y="19"/>
                  </a:lnTo>
                  <a:lnTo>
                    <a:pt x="295" y="18"/>
                  </a:lnTo>
                  <a:lnTo>
                    <a:pt x="294" y="18"/>
                  </a:lnTo>
                  <a:lnTo>
                    <a:pt x="293" y="17"/>
                  </a:lnTo>
                  <a:lnTo>
                    <a:pt x="293" y="15"/>
                  </a:lnTo>
                  <a:lnTo>
                    <a:pt x="294" y="15"/>
                  </a:lnTo>
                  <a:lnTo>
                    <a:pt x="294" y="14"/>
                  </a:lnTo>
                  <a:lnTo>
                    <a:pt x="295" y="14"/>
                  </a:lnTo>
                  <a:lnTo>
                    <a:pt x="296" y="15"/>
                  </a:lnTo>
                  <a:lnTo>
                    <a:pt x="296" y="14"/>
                  </a:lnTo>
                  <a:lnTo>
                    <a:pt x="296" y="13"/>
                  </a:lnTo>
                  <a:lnTo>
                    <a:pt x="296" y="12"/>
                  </a:lnTo>
                  <a:lnTo>
                    <a:pt x="296" y="11"/>
                  </a:lnTo>
                  <a:lnTo>
                    <a:pt x="296" y="9"/>
                  </a:lnTo>
                  <a:lnTo>
                    <a:pt x="296" y="8"/>
                  </a:lnTo>
                  <a:lnTo>
                    <a:pt x="297" y="8"/>
                  </a:lnTo>
                  <a:lnTo>
                    <a:pt x="299" y="8"/>
                  </a:lnTo>
                  <a:lnTo>
                    <a:pt x="299" y="7"/>
                  </a:lnTo>
                  <a:lnTo>
                    <a:pt x="300" y="7"/>
                  </a:lnTo>
                  <a:lnTo>
                    <a:pt x="300" y="6"/>
                  </a:lnTo>
                  <a:lnTo>
                    <a:pt x="300" y="5"/>
                  </a:lnTo>
                  <a:lnTo>
                    <a:pt x="301" y="5"/>
                  </a:lnTo>
                  <a:lnTo>
                    <a:pt x="301" y="6"/>
                  </a:lnTo>
                  <a:lnTo>
                    <a:pt x="302" y="6"/>
                  </a:lnTo>
                  <a:lnTo>
                    <a:pt x="303" y="6"/>
                  </a:lnTo>
                  <a:lnTo>
                    <a:pt x="303" y="7"/>
                  </a:lnTo>
                  <a:lnTo>
                    <a:pt x="302" y="7"/>
                  </a:lnTo>
                  <a:lnTo>
                    <a:pt x="302" y="8"/>
                  </a:lnTo>
                  <a:lnTo>
                    <a:pt x="302" y="9"/>
                  </a:lnTo>
                  <a:lnTo>
                    <a:pt x="302" y="11"/>
                  </a:lnTo>
                  <a:lnTo>
                    <a:pt x="302" y="12"/>
                  </a:lnTo>
                  <a:lnTo>
                    <a:pt x="302" y="13"/>
                  </a:lnTo>
                  <a:lnTo>
                    <a:pt x="302" y="14"/>
                  </a:lnTo>
                  <a:lnTo>
                    <a:pt x="302" y="15"/>
                  </a:lnTo>
                  <a:lnTo>
                    <a:pt x="302" y="14"/>
                  </a:lnTo>
                  <a:lnTo>
                    <a:pt x="303" y="14"/>
                  </a:lnTo>
                  <a:lnTo>
                    <a:pt x="305" y="14"/>
                  </a:lnTo>
                  <a:lnTo>
                    <a:pt x="305" y="13"/>
                  </a:lnTo>
                  <a:lnTo>
                    <a:pt x="305" y="14"/>
                  </a:lnTo>
                  <a:lnTo>
                    <a:pt x="306" y="14"/>
                  </a:lnTo>
                  <a:lnTo>
                    <a:pt x="306" y="15"/>
                  </a:lnTo>
                  <a:lnTo>
                    <a:pt x="306" y="17"/>
                  </a:lnTo>
                  <a:lnTo>
                    <a:pt x="305" y="17"/>
                  </a:lnTo>
                  <a:lnTo>
                    <a:pt x="303" y="18"/>
                  </a:lnTo>
                  <a:lnTo>
                    <a:pt x="302" y="18"/>
                  </a:lnTo>
                  <a:lnTo>
                    <a:pt x="302" y="19"/>
                  </a:lnTo>
                  <a:lnTo>
                    <a:pt x="301" y="19"/>
                  </a:lnTo>
                  <a:lnTo>
                    <a:pt x="301" y="20"/>
                  </a:lnTo>
                  <a:lnTo>
                    <a:pt x="300" y="21"/>
                  </a:lnTo>
                  <a:lnTo>
                    <a:pt x="299" y="21"/>
                  </a:lnTo>
                  <a:lnTo>
                    <a:pt x="299" y="23"/>
                  </a:lnTo>
                  <a:lnTo>
                    <a:pt x="300" y="23"/>
                  </a:lnTo>
                  <a:lnTo>
                    <a:pt x="300" y="24"/>
                  </a:lnTo>
                  <a:lnTo>
                    <a:pt x="300" y="25"/>
                  </a:lnTo>
                  <a:lnTo>
                    <a:pt x="299" y="25"/>
                  </a:lnTo>
                  <a:lnTo>
                    <a:pt x="299" y="26"/>
                  </a:lnTo>
                  <a:lnTo>
                    <a:pt x="299" y="27"/>
                  </a:lnTo>
                  <a:lnTo>
                    <a:pt x="300" y="27"/>
                  </a:lnTo>
                  <a:lnTo>
                    <a:pt x="300" y="29"/>
                  </a:lnTo>
                  <a:lnTo>
                    <a:pt x="300" y="27"/>
                  </a:lnTo>
                  <a:lnTo>
                    <a:pt x="301" y="26"/>
                  </a:lnTo>
                  <a:lnTo>
                    <a:pt x="300" y="26"/>
                  </a:lnTo>
                  <a:lnTo>
                    <a:pt x="301" y="26"/>
                  </a:lnTo>
                  <a:lnTo>
                    <a:pt x="302" y="26"/>
                  </a:lnTo>
                  <a:lnTo>
                    <a:pt x="302" y="25"/>
                  </a:lnTo>
                  <a:lnTo>
                    <a:pt x="302" y="26"/>
                  </a:lnTo>
                  <a:lnTo>
                    <a:pt x="303" y="26"/>
                  </a:lnTo>
                  <a:lnTo>
                    <a:pt x="305" y="27"/>
                  </a:lnTo>
                  <a:lnTo>
                    <a:pt x="306" y="27"/>
                  </a:lnTo>
                  <a:lnTo>
                    <a:pt x="306" y="26"/>
                  </a:lnTo>
                  <a:lnTo>
                    <a:pt x="306" y="25"/>
                  </a:lnTo>
                  <a:lnTo>
                    <a:pt x="307" y="25"/>
                  </a:lnTo>
                  <a:lnTo>
                    <a:pt x="308" y="25"/>
                  </a:lnTo>
                  <a:lnTo>
                    <a:pt x="308" y="24"/>
                  </a:lnTo>
                  <a:lnTo>
                    <a:pt x="308" y="21"/>
                  </a:lnTo>
                  <a:lnTo>
                    <a:pt x="308" y="20"/>
                  </a:lnTo>
                  <a:lnTo>
                    <a:pt x="308" y="19"/>
                  </a:lnTo>
                  <a:lnTo>
                    <a:pt x="307" y="18"/>
                  </a:lnTo>
                  <a:lnTo>
                    <a:pt x="308" y="18"/>
                  </a:lnTo>
                  <a:lnTo>
                    <a:pt x="308" y="17"/>
                  </a:lnTo>
                  <a:lnTo>
                    <a:pt x="309" y="17"/>
                  </a:lnTo>
                  <a:lnTo>
                    <a:pt x="309" y="15"/>
                  </a:lnTo>
                  <a:lnTo>
                    <a:pt x="311" y="14"/>
                  </a:lnTo>
                  <a:lnTo>
                    <a:pt x="311" y="13"/>
                  </a:lnTo>
                  <a:lnTo>
                    <a:pt x="312" y="13"/>
                  </a:lnTo>
                  <a:lnTo>
                    <a:pt x="312" y="14"/>
                  </a:lnTo>
                  <a:lnTo>
                    <a:pt x="312" y="15"/>
                  </a:lnTo>
                  <a:lnTo>
                    <a:pt x="313" y="18"/>
                  </a:lnTo>
                  <a:lnTo>
                    <a:pt x="313" y="17"/>
                  </a:lnTo>
                  <a:lnTo>
                    <a:pt x="314" y="15"/>
                  </a:lnTo>
                  <a:lnTo>
                    <a:pt x="314" y="14"/>
                  </a:lnTo>
                  <a:lnTo>
                    <a:pt x="314" y="13"/>
                  </a:lnTo>
                  <a:lnTo>
                    <a:pt x="315" y="12"/>
                  </a:lnTo>
                  <a:lnTo>
                    <a:pt x="315" y="11"/>
                  </a:lnTo>
                  <a:lnTo>
                    <a:pt x="317" y="11"/>
                  </a:lnTo>
                  <a:lnTo>
                    <a:pt x="317" y="12"/>
                  </a:lnTo>
                  <a:lnTo>
                    <a:pt x="318" y="12"/>
                  </a:lnTo>
                  <a:lnTo>
                    <a:pt x="318" y="11"/>
                  </a:lnTo>
                  <a:lnTo>
                    <a:pt x="318" y="9"/>
                  </a:lnTo>
                  <a:lnTo>
                    <a:pt x="318" y="8"/>
                  </a:lnTo>
                  <a:lnTo>
                    <a:pt x="319" y="8"/>
                  </a:lnTo>
                  <a:lnTo>
                    <a:pt x="319" y="7"/>
                  </a:lnTo>
                  <a:lnTo>
                    <a:pt x="319" y="8"/>
                  </a:lnTo>
                  <a:lnTo>
                    <a:pt x="320" y="8"/>
                  </a:lnTo>
                  <a:lnTo>
                    <a:pt x="321" y="8"/>
                  </a:lnTo>
                  <a:lnTo>
                    <a:pt x="321" y="9"/>
                  </a:lnTo>
                  <a:lnTo>
                    <a:pt x="320" y="11"/>
                  </a:lnTo>
                  <a:lnTo>
                    <a:pt x="320" y="12"/>
                  </a:lnTo>
                  <a:lnTo>
                    <a:pt x="320" y="13"/>
                  </a:lnTo>
                  <a:lnTo>
                    <a:pt x="321" y="14"/>
                  </a:lnTo>
                  <a:lnTo>
                    <a:pt x="321" y="15"/>
                  </a:lnTo>
                  <a:lnTo>
                    <a:pt x="321" y="17"/>
                  </a:lnTo>
                  <a:lnTo>
                    <a:pt x="320" y="17"/>
                  </a:lnTo>
                  <a:lnTo>
                    <a:pt x="320" y="18"/>
                  </a:lnTo>
                  <a:lnTo>
                    <a:pt x="319" y="18"/>
                  </a:lnTo>
                  <a:lnTo>
                    <a:pt x="319" y="19"/>
                  </a:lnTo>
                  <a:lnTo>
                    <a:pt x="319" y="20"/>
                  </a:lnTo>
                  <a:lnTo>
                    <a:pt x="318" y="20"/>
                  </a:lnTo>
                  <a:lnTo>
                    <a:pt x="317" y="20"/>
                  </a:lnTo>
                  <a:lnTo>
                    <a:pt x="317" y="21"/>
                  </a:lnTo>
                  <a:lnTo>
                    <a:pt x="315" y="21"/>
                  </a:lnTo>
                  <a:lnTo>
                    <a:pt x="314" y="23"/>
                  </a:lnTo>
                  <a:lnTo>
                    <a:pt x="315" y="23"/>
                  </a:lnTo>
                  <a:lnTo>
                    <a:pt x="317" y="23"/>
                  </a:lnTo>
                  <a:lnTo>
                    <a:pt x="317" y="24"/>
                  </a:lnTo>
                  <a:lnTo>
                    <a:pt x="318" y="23"/>
                  </a:lnTo>
                  <a:lnTo>
                    <a:pt x="319" y="23"/>
                  </a:lnTo>
                  <a:lnTo>
                    <a:pt x="320" y="23"/>
                  </a:lnTo>
                  <a:lnTo>
                    <a:pt x="320" y="24"/>
                  </a:lnTo>
                  <a:lnTo>
                    <a:pt x="320" y="25"/>
                  </a:lnTo>
                  <a:lnTo>
                    <a:pt x="321" y="26"/>
                  </a:lnTo>
                  <a:lnTo>
                    <a:pt x="321" y="27"/>
                  </a:lnTo>
                  <a:lnTo>
                    <a:pt x="323" y="27"/>
                  </a:lnTo>
                  <a:lnTo>
                    <a:pt x="323" y="26"/>
                  </a:lnTo>
                  <a:lnTo>
                    <a:pt x="324" y="26"/>
                  </a:lnTo>
                  <a:lnTo>
                    <a:pt x="323" y="25"/>
                  </a:lnTo>
                  <a:lnTo>
                    <a:pt x="324" y="23"/>
                  </a:lnTo>
                  <a:lnTo>
                    <a:pt x="325" y="23"/>
                  </a:lnTo>
                  <a:lnTo>
                    <a:pt x="326" y="24"/>
                  </a:lnTo>
                  <a:lnTo>
                    <a:pt x="326" y="23"/>
                  </a:lnTo>
                  <a:lnTo>
                    <a:pt x="327" y="23"/>
                  </a:lnTo>
                  <a:lnTo>
                    <a:pt x="329" y="21"/>
                  </a:lnTo>
                  <a:lnTo>
                    <a:pt x="330" y="20"/>
                  </a:lnTo>
                  <a:lnTo>
                    <a:pt x="331" y="19"/>
                  </a:lnTo>
                  <a:lnTo>
                    <a:pt x="332" y="21"/>
                  </a:lnTo>
                  <a:lnTo>
                    <a:pt x="332" y="23"/>
                  </a:lnTo>
                  <a:lnTo>
                    <a:pt x="331" y="24"/>
                  </a:lnTo>
                  <a:lnTo>
                    <a:pt x="330" y="25"/>
                  </a:lnTo>
                  <a:lnTo>
                    <a:pt x="330" y="26"/>
                  </a:lnTo>
                  <a:lnTo>
                    <a:pt x="329" y="27"/>
                  </a:lnTo>
                  <a:lnTo>
                    <a:pt x="329" y="30"/>
                  </a:lnTo>
                  <a:lnTo>
                    <a:pt x="327" y="30"/>
                  </a:lnTo>
                  <a:lnTo>
                    <a:pt x="327" y="31"/>
                  </a:lnTo>
                  <a:lnTo>
                    <a:pt x="326" y="37"/>
                  </a:lnTo>
                  <a:lnTo>
                    <a:pt x="326" y="38"/>
                  </a:lnTo>
                  <a:lnTo>
                    <a:pt x="327" y="38"/>
                  </a:lnTo>
                  <a:lnTo>
                    <a:pt x="327" y="39"/>
                  </a:lnTo>
                  <a:lnTo>
                    <a:pt x="327" y="38"/>
                  </a:lnTo>
                  <a:lnTo>
                    <a:pt x="329" y="38"/>
                  </a:lnTo>
                  <a:lnTo>
                    <a:pt x="330" y="38"/>
                  </a:lnTo>
                  <a:lnTo>
                    <a:pt x="329" y="39"/>
                  </a:lnTo>
                  <a:lnTo>
                    <a:pt x="329" y="41"/>
                  </a:lnTo>
                  <a:lnTo>
                    <a:pt x="327" y="41"/>
                  </a:lnTo>
                  <a:lnTo>
                    <a:pt x="327" y="42"/>
                  </a:lnTo>
                  <a:lnTo>
                    <a:pt x="326" y="43"/>
                  </a:lnTo>
                  <a:lnTo>
                    <a:pt x="327" y="43"/>
                  </a:lnTo>
                  <a:lnTo>
                    <a:pt x="327" y="44"/>
                  </a:lnTo>
                  <a:lnTo>
                    <a:pt x="327" y="45"/>
                  </a:lnTo>
                  <a:lnTo>
                    <a:pt x="327" y="47"/>
                  </a:lnTo>
                  <a:lnTo>
                    <a:pt x="329" y="48"/>
                  </a:lnTo>
                  <a:lnTo>
                    <a:pt x="330" y="48"/>
                  </a:lnTo>
                  <a:lnTo>
                    <a:pt x="330" y="47"/>
                  </a:lnTo>
                  <a:lnTo>
                    <a:pt x="331" y="47"/>
                  </a:lnTo>
                  <a:lnTo>
                    <a:pt x="331" y="45"/>
                  </a:lnTo>
                  <a:lnTo>
                    <a:pt x="332" y="45"/>
                  </a:lnTo>
                  <a:lnTo>
                    <a:pt x="332" y="43"/>
                  </a:lnTo>
                  <a:lnTo>
                    <a:pt x="333" y="43"/>
                  </a:lnTo>
                  <a:lnTo>
                    <a:pt x="333" y="42"/>
                  </a:lnTo>
                  <a:lnTo>
                    <a:pt x="333" y="41"/>
                  </a:lnTo>
                  <a:lnTo>
                    <a:pt x="332" y="38"/>
                  </a:lnTo>
                  <a:lnTo>
                    <a:pt x="332" y="37"/>
                  </a:lnTo>
                  <a:lnTo>
                    <a:pt x="333" y="37"/>
                  </a:lnTo>
                  <a:lnTo>
                    <a:pt x="333" y="36"/>
                  </a:lnTo>
                  <a:lnTo>
                    <a:pt x="333" y="35"/>
                  </a:lnTo>
                  <a:lnTo>
                    <a:pt x="332" y="35"/>
                  </a:lnTo>
                  <a:lnTo>
                    <a:pt x="333" y="33"/>
                  </a:lnTo>
                  <a:lnTo>
                    <a:pt x="335" y="33"/>
                  </a:lnTo>
                  <a:lnTo>
                    <a:pt x="336" y="33"/>
                  </a:lnTo>
                  <a:lnTo>
                    <a:pt x="336" y="32"/>
                  </a:lnTo>
                  <a:lnTo>
                    <a:pt x="336" y="31"/>
                  </a:lnTo>
                  <a:lnTo>
                    <a:pt x="336" y="30"/>
                  </a:lnTo>
                  <a:lnTo>
                    <a:pt x="337" y="30"/>
                  </a:lnTo>
                  <a:lnTo>
                    <a:pt x="338" y="30"/>
                  </a:lnTo>
                  <a:lnTo>
                    <a:pt x="340" y="30"/>
                  </a:lnTo>
                  <a:lnTo>
                    <a:pt x="340" y="31"/>
                  </a:lnTo>
                  <a:lnTo>
                    <a:pt x="340" y="32"/>
                  </a:lnTo>
                  <a:lnTo>
                    <a:pt x="340" y="35"/>
                  </a:lnTo>
                  <a:lnTo>
                    <a:pt x="338" y="35"/>
                  </a:lnTo>
                  <a:lnTo>
                    <a:pt x="338" y="36"/>
                  </a:lnTo>
                  <a:lnTo>
                    <a:pt x="338" y="37"/>
                  </a:lnTo>
                  <a:lnTo>
                    <a:pt x="340" y="38"/>
                  </a:lnTo>
                  <a:lnTo>
                    <a:pt x="340" y="37"/>
                  </a:lnTo>
                  <a:lnTo>
                    <a:pt x="341" y="37"/>
                  </a:lnTo>
                  <a:lnTo>
                    <a:pt x="341" y="38"/>
                  </a:lnTo>
                  <a:lnTo>
                    <a:pt x="342" y="38"/>
                  </a:lnTo>
                  <a:lnTo>
                    <a:pt x="341" y="38"/>
                  </a:lnTo>
                  <a:lnTo>
                    <a:pt x="341" y="39"/>
                  </a:lnTo>
                  <a:lnTo>
                    <a:pt x="340" y="39"/>
                  </a:lnTo>
                  <a:lnTo>
                    <a:pt x="340" y="41"/>
                  </a:lnTo>
                  <a:lnTo>
                    <a:pt x="338" y="41"/>
                  </a:lnTo>
                  <a:lnTo>
                    <a:pt x="338" y="42"/>
                  </a:lnTo>
                  <a:lnTo>
                    <a:pt x="337" y="42"/>
                  </a:lnTo>
                  <a:lnTo>
                    <a:pt x="337" y="43"/>
                  </a:lnTo>
                  <a:lnTo>
                    <a:pt x="336" y="43"/>
                  </a:lnTo>
                  <a:lnTo>
                    <a:pt x="336" y="44"/>
                  </a:lnTo>
                  <a:lnTo>
                    <a:pt x="337" y="44"/>
                  </a:lnTo>
                  <a:lnTo>
                    <a:pt x="336" y="44"/>
                  </a:lnTo>
                  <a:lnTo>
                    <a:pt x="337" y="45"/>
                  </a:lnTo>
                  <a:lnTo>
                    <a:pt x="338" y="47"/>
                  </a:lnTo>
                  <a:lnTo>
                    <a:pt x="340" y="47"/>
                  </a:lnTo>
                  <a:lnTo>
                    <a:pt x="341" y="47"/>
                  </a:lnTo>
                  <a:lnTo>
                    <a:pt x="341" y="45"/>
                  </a:lnTo>
                  <a:lnTo>
                    <a:pt x="341" y="44"/>
                  </a:lnTo>
                  <a:lnTo>
                    <a:pt x="342" y="41"/>
                  </a:lnTo>
                  <a:lnTo>
                    <a:pt x="343" y="39"/>
                  </a:lnTo>
                  <a:lnTo>
                    <a:pt x="343" y="41"/>
                  </a:lnTo>
                  <a:lnTo>
                    <a:pt x="344" y="41"/>
                  </a:lnTo>
                  <a:lnTo>
                    <a:pt x="346" y="41"/>
                  </a:lnTo>
                  <a:lnTo>
                    <a:pt x="347" y="41"/>
                  </a:lnTo>
                  <a:lnTo>
                    <a:pt x="348" y="41"/>
                  </a:lnTo>
                  <a:lnTo>
                    <a:pt x="347" y="41"/>
                  </a:lnTo>
                  <a:lnTo>
                    <a:pt x="348" y="39"/>
                  </a:lnTo>
                  <a:lnTo>
                    <a:pt x="347" y="39"/>
                  </a:lnTo>
                  <a:lnTo>
                    <a:pt x="344" y="39"/>
                  </a:lnTo>
                  <a:lnTo>
                    <a:pt x="346" y="39"/>
                  </a:lnTo>
                  <a:lnTo>
                    <a:pt x="344" y="39"/>
                  </a:lnTo>
                  <a:lnTo>
                    <a:pt x="344" y="38"/>
                  </a:lnTo>
                  <a:lnTo>
                    <a:pt x="344" y="37"/>
                  </a:lnTo>
                  <a:lnTo>
                    <a:pt x="343" y="37"/>
                  </a:lnTo>
                  <a:lnTo>
                    <a:pt x="343" y="36"/>
                  </a:lnTo>
                  <a:lnTo>
                    <a:pt x="344" y="35"/>
                  </a:lnTo>
                  <a:lnTo>
                    <a:pt x="344" y="33"/>
                  </a:lnTo>
                  <a:lnTo>
                    <a:pt x="344" y="32"/>
                  </a:lnTo>
                  <a:lnTo>
                    <a:pt x="344" y="31"/>
                  </a:lnTo>
                  <a:lnTo>
                    <a:pt x="346" y="31"/>
                  </a:lnTo>
                  <a:lnTo>
                    <a:pt x="347" y="31"/>
                  </a:lnTo>
                  <a:lnTo>
                    <a:pt x="347" y="32"/>
                  </a:lnTo>
                  <a:lnTo>
                    <a:pt x="348" y="32"/>
                  </a:lnTo>
                  <a:lnTo>
                    <a:pt x="348" y="31"/>
                  </a:lnTo>
                  <a:lnTo>
                    <a:pt x="349" y="31"/>
                  </a:lnTo>
                  <a:lnTo>
                    <a:pt x="349" y="30"/>
                  </a:lnTo>
                  <a:lnTo>
                    <a:pt x="349" y="29"/>
                  </a:lnTo>
                  <a:lnTo>
                    <a:pt x="349" y="27"/>
                  </a:lnTo>
                  <a:lnTo>
                    <a:pt x="350" y="26"/>
                  </a:lnTo>
                  <a:lnTo>
                    <a:pt x="352" y="26"/>
                  </a:lnTo>
                  <a:lnTo>
                    <a:pt x="352" y="25"/>
                  </a:lnTo>
                  <a:lnTo>
                    <a:pt x="352" y="24"/>
                  </a:lnTo>
                  <a:lnTo>
                    <a:pt x="353" y="24"/>
                  </a:lnTo>
                  <a:lnTo>
                    <a:pt x="353" y="23"/>
                  </a:lnTo>
                  <a:lnTo>
                    <a:pt x="354" y="23"/>
                  </a:lnTo>
                  <a:lnTo>
                    <a:pt x="354" y="24"/>
                  </a:lnTo>
                  <a:lnTo>
                    <a:pt x="355" y="24"/>
                  </a:lnTo>
                  <a:lnTo>
                    <a:pt x="356" y="24"/>
                  </a:lnTo>
                  <a:lnTo>
                    <a:pt x="356" y="25"/>
                  </a:lnTo>
                  <a:lnTo>
                    <a:pt x="356" y="26"/>
                  </a:lnTo>
                  <a:lnTo>
                    <a:pt x="356" y="27"/>
                  </a:lnTo>
                  <a:lnTo>
                    <a:pt x="356" y="29"/>
                  </a:lnTo>
                  <a:lnTo>
                    <a:pt x="356" y="30"/>
                  </a:lnTo>
                  <a:lnTo>
                    <a:pt x="358" y="30"/>
                  </a:lnTo>
                  <a:lnTo>
                    <a:pt x="358" y="31"/>
                  </a:lnTo>
                  <a:lnTo>
                    <a:pt x="358" y="32"/>
                  </a:lnTo>
                  <a:lnTo>
                    <a:pt x="356" y="33"/>
                  </a:lnTo>
                  <a:lnTo>
                    <a:pt x="355" y="33"/>
                  </a:lnTo>
                  <a:lnTo>
                    <a:pt x="355" y="35"/>
                  </a:lnTo>
                  <a:lnTo>
                    <a:pt x="356" y="35"/>
                  </a:lnTo>
                  <a:lnTo>
                    <a:pt x="356" y="36"/>
                  </a:lnTo>
                  <a:lnTo>
                    <a:pt x="358" y="36"/>
                  </a:lnTo>
                  <a:lnTo>
                    <a:pt x="358" y="37"/>
                  </a:lnTo>
                  <a:lnTo>
                    <a:pt x="359" y="37"/>
                  </a:lnTo>
                  <a:lnTo>
                    <a:pt x="359" y="38"/>
                  </a:lnTo>
                  <a:lnTo>
                    <a:pt x="358" y="39"/>
                  </a:lnTo>
                  <a:lnTo>
                    <a:pt x="358" y="41"/>
                  </a:lnTo>
                  <a:lnTo>
                    <a:pt x="358" y="42"/>
                  </a:lnTo>
                  <a:lnTo>
                    <a:pt x="356" y="42"/>
                  </a:lnTo>
                  <a:lnTo>
                    <a:pt x="356" y="43"/>
                  </a:lnTo>
                  <a:lnTo>
                    <a:pt x="355" y="43"/>
                  </a:lnTo>
                  <a:lnTo>
                    <a:pt x="355" y="42"/>
                  </a:lnTo>
                  <a:lnTo>
                    <a:pt x="355" y="43"/>
                  </a:lnTo>
                  <a:lnTo>
                    <a:pt x="355" y="44"/>
                  </a:lnTo>
                  <a:lnTo>
                    <a:pt x="356" y="44"/>
                  </a:lnTo>
                  <a:lnTo>
                    <a:pt x="358" y="43"/>
                  </a:lnTo>
                  <a:lnTo>
                    <a:pt x="359" y="42"/>
                  </a:lnTo>
                  <a:lnTo>
                    <a:pt x="359" y="41"/>
                  </a:lnTo>
                  <a:lnTo>
                    <a:pt x="360" y="39"/>
                  </a:lnTo>
                  <a:lnTo>
                    <a:pt x="359" y="39"/>
                  </a:lnTo>
                  <a:lnTo>
                    <a:pt x="360" y="38"/>
                  </a:lnTo>
                  <a:lnTo>
                    <a:pt x="361" y="38"/>
                  </a:lnTo>
                  <a:lnTo>
                    <a:pt x="362" y="38"/>
                  </a:lnTo>
                  <a:lnTo>
                    <a:pt x="362" y="37"/>
                  </a:lnTo>
                  <a:lnTo>
                    <a:pt x="364" y="37"/>
                  </a:lnTo>
                  <a:lnTo>
                    <a:pt x="362" y="36"/>
                  </a:lnTo>
                  <a:lnTo>
                    <a:pt x="362" y="35"/>
                  </a:lnTo>
                  <a:lnTo>
                    <a:pt x="361" y="35"/>
                  </a:lnTo>
                  <a:lnTo>
                    <a:pt x="362" y="33"/>
                  </a:lnTo>
                  <a:lnTo>
                    <a:pt x="361" y="33"/>
                  </a:lnTo>
                  <a:lnTo>
                    <a:pt x="362" y="32"/>
                  </a:lnTo>
                  <a:lnTo>
                    <a:pt x="362" y="31"/>
                  </a:lnTo>
                  <a:lnTo>
                    <a:pt x="362" y="30"/>
                  </a:lnTo>
                  <a:lnTo>
                    <a:pt x="364" y="29"/>
                  </a:lnTo>
                  <a:lnTo>
                    <a:pt x="365" y="29"/>
                  </a:lnTo>
                  <a:lnTo>
                    <a:pt x="365" y="27"/>
                  </a:lnTo>
                  <a:lnTo>
                    <a:pt x="366" y="27"/>
                  </a:lnTo>
                  <a:lnTo>
                    <a:pt x="368" y="27"/>
                  </a:lnTo>
                  <a:lnTo>
                    <a:pt x="370" y="26"/>
                  </a:lnTo>
                  <a:lnTo>
                    <a:pt x="371" y="25"/>
                  </a:lnTo>
                  <a:lnTo>
                    <a:pt x="372" y="25"/>
                  </a:lnTo>
                  <a:lnTo>
                    <a:pt x="372" y="24"/>
                  </a:lnTo>
                  <a:lnTo>
                    <a:pt x="373" y="23"/>
                  </a:lnTo>
                  <a:lnTo>
                    <a:pt x="373" y="21"/>
                  </a:lnTo>
                  <a:lnTo>
                    <a:pt x="374" y="21"/>
                  </a:lnTo>
                  <a:lnTo>
                    <a:pt x="374" y="20"/>
                  </a:lnTo>
                  <a:lnTo>
                    <a:pt x="376" y="21"/>
                  </a:lnTo>
                  <a:lnTo>
                    <a:pt x="377" y="21"/>
                  </a:lnTo>
                  <a:lnTo>
                    <a:pt x="377" y="24"/>
                  </a:lnTo>
                  <a:lnTo>
                    <a:pt x="377" y="25"/>
                  </a:lnTo>
                  <a:lnTo>
                    <a:pt x="377" y="26"/>
                  </a:lnTo>
                  <a:lnTo>
                    <a:pt x="378" y="27"/>
                  </a:lnTo>
                  <a:lnTo>
                    <a:pt x="379" y="27"/>
                  </a:lnTo>
                  <a:lnTo>
                    <a:pt x="379" y="29"/>
                  </a:lnTo>
                  <a:lnTo>
                    <a:pt x="380" y="29"/>
                  </a:lnTo>
                  <a:lnTo>
                    <a:pt x="380" y="30"/>
                  </a:lnTo>
                  <a:lnTo>
                    <a:pt x="379" y="31"/>
                  </a:lnTo>
                  <a:lnTo>
                    <a:pt x="379" y="32"/>
                  </a:lnTo>
                  <a:lnTo>
                    <a:pt x="382" y="32"/>
                  </a:lnTo>
                  <a:lnTo>
                    <a:pt x="382" y="33"/>
                  </a:lnTo>
                  <a:lnTo>
                    <a:pt x="380" y="33"/>
                  </a:lnTo>
                  <a:lnTo>
                    <a:pt x="382" y="33"/>
                  </a:lnTo>
                  <a:lnTo>
                    <a:pt x="382" y="32"/>
                  </a:lnTo>
                  <a:lnTo>
                    <a:pt x="383" y="32"/>
                  </a:lnTo>
                  <a:lnTo>
                    <a:pt x="384" y="32"/>
                  </a:lnTo>
                  <a:lnTo>
                    <a:pt x="385" y="32"/>
                  </a:lnTo>
                  <a:lnTo>
                    <a:pt x="385" y="31"/>
                  </a:lnTo>
                  <a:lnTo>
                    <a:pt x="386" y="31"/>
                  </a:lnTo>
                  <a:lnTo>
                    <a:pt x="386" y="32"/>
                  </a:lnTo>
                  <a:lnTo>
                    <a:pt x="388" y="32"/>
                  </a:lnTo>
                  <a:lnTo>
                    <a:pt x="388" y="33"/>
                  </a:lnTo>
                  <a:lnTo>
                    <a:pt x="389" y="35"/>
                  </a:lnTo>
                  <a:lnTo>
                    <a:pt x="390" y="33"/>
                  </a:lnTo>
                  <a:lnTo>
                    <a:pt x="390" y="35"/>
                  </a:lnTo>
                  <a:lnTo>
                    <a:pt x="390" y="36"/>
                  </a:lnTo>
                  <a:lnTo>
                    <a:pt x="389" y="36"/>
                  </a:lnTo>
                  <a:lnTo>
                    <a:pt x="389" y="37"/>
                  </a:lnTo>
                  <a:lnTo>
                    <a:pt x="389" y="38"/>
                  </a:lnTo>
                  <a:lnTo>
                    <a:pt x="388" y="38"/>
                  </a:lnTo>
                  <a:lnTo>
                    <a:pt x="388" y="39"/>
                  </a:lnTo>
                  <a:lnTo>
                    <a:pt x="388" y="41"/>
                  </a:lnTo>
                  <a:lnTo>
                    <a:pt x="386" y="41"/>
                  </a:lnTo>
                  <a:lnTo>
                    <a:pt x="386" y="42"/>
                  </a:lnTo>
                  <a:lnTo>
                    <a:pt x="386" y="43"/>
                  </a:lnTo>
                  <a:lnTo>
                    <a:pt x="385" y="43"/>
                  </a:lnTo>
                  <a:lnTo>
                    <a:pt x="385" y="44"/>
                  </a:lnTo>
                  <a:lnTo>
                    <a:pt x="384" y="44"/>
                  </a:lnTo>
                  <a:lnTo>
                    <a:pt x="383" y="44"/>
                  </a:lnTo>
                  <a:lnTo>
                    <a:pt x="382" y="45"/>
                  </a:lnTo>
                  <a:lnTo>
                    <a:pt x="380" y="45"/>
                  </a:lnTo>
                  <a:lnTo>
                    <a:pt x="380" y="47"/>
                  </a:lnTo>
                  <a:lnTo>
                    <a:pt x="379" y="45"/>
                  </a:lnTo>
                  <a:lnTo>
                    <a:pt x="378" y="45"/>
                  </a:lnTo>
                  <a:lnTo>
                    <a:pt x="377" y="47"/>
                  </a:lnTo>
                  <a:lnTo>
                    <a:pt x="377" y="48"/>
                  </a:lnTo>
                  <a:lnTo>
                    <a:pt x="376" y="48"/>
                  </a:lnTo>
                  <a:lnTo>
                    <a:pt x="376" y="49"/>
                  </a:lnTo>
                  <a:lnTo>
                    <a:pt x="374" y="50"/>
                  </a:lnTo>
                  <a:lnTo>
                    <a:pt x="374" y="52"/>
                  </a:lnTo>
                  <a:lnTo>
                    <a:pt x="376" y="53"/>
                  </a:lnTo>
                  <a:lnTo>
                    <a:pt x="377" y="53"/>
                  </a:lnTo>
                  <a:lnTo>
                    <a:pt x="378" y="52"/>
                  </a:lnTo>
                  <a:lnTo>
                    <a:pt x="379" y="52"/>
                  </a:lnTo>
                  <a:lnTo>
                    <a:pt x="380" y="52"/>
                  </a:lnTo>
                  <a:lnTo>
                    <a:pt x="382" y="52"/>
                  </a:lnTo>
                  <a:lnTo>
                    <a:pt x="383" y="52"/>
                  </a:lnTo>
                  <a:lnTo>
                    <a:pt x="383" y="50"/>
                  </a:lnTo>
                  <a:lnTo>
                    <a:pt x="384" y="50"/>
                  </a:lnTo>
                  <a:lnTo>
                    <a:pt x="385" y="50"/>
                  </a:lnTo>
                  <a:lnTo>
                    <a:pt x="385" y="49"/>
                  </a:lnTo>
                  <a:lnTo>
                    <a:pt x="385" y="48"/>
                  </a:lnTo>
                  <a:lnTo>
                    <a:pt x="386" y="48"/>
                  </a:lnTo>
                  <a:lnTo>
                    <a:pt x="386" y="47"/>
                  </a:lnTo>
                  <a:lnTo>
                    <a:pt x="389" y="47"/>
                  </a:lnTo>
                  <a:lnTo>
                    <a:pt x="389" y="45"/>
                  </a:lnTo>
                  <a:lnTo>
                    <a:pt x="390" y="45"/>
                  </a:lnTo>
                  <a:lnTo>
                    <a:pt x="390" y="44"/>
                  </a:lnTo>
                  <a:lnTo>
                    <a:pt x="391" y="43"/>
                  </a:lnTo>
                  <a:lnTo>
                    <a:pt x="392" y="43"/>
                  </a:lnTo>
                  <a:lnTo>
                    <a:pt x="392" y="42"/>
                  </a:lnTo>
                  <a:lnTo>
                    <a:pt x="394" y="43"/>
                  </a:lnTo>
                  <a:lnTo>
                    <a:pt x="395" y="43"/>
                  </a:lnTo>
                  <a:lnTo>
                    <a:pt x="396" y="43"/>
                  </a:lnTo>
                  <a:lnTo>
                    <a:pt x="397" y="43"/>
                  </a:lnTo>
                  <a:lnTo>
                    <a:pt x="397" y="42"/>
                  </a:lnTo>
                  <a:lnTo>
                    <a:pt x="398" y="42"/>
                  </a:lnTo>
                  <a:lnTo>
                    <a:pt x="398" y="43"/>
                  </a:lnTo>
                  <a:lnTo>
                    <a:pt x="400" y="43"/>
                  </a:lnTo>
                  <a:lnTo>
                    <a:pt x="401" y="44"/>
                  </a:lnTo>
                  <a:lnTo>
                    <a:pt x="401" y="45"/>
                  </a:lnTo>
                  <a:lnTo>
                    <a:pt x="401" y="47"/>
                  </a:lnTo>
                  <a:lnTo>
                    <a:pt x="401" y="49"/>
                  </a:lnTo>
                  <a:lnTo>
                    <a:pt x="402" y="49"/>
                  </a:lnTo>
                  <a:lnTo>
                    <a:pt x="403" y="49"/>
                  </a:lnTo>
                  <a:lnTo>
                    <a:pt x="403" y="48"/>
                  </a:lnTo>
                  <a:lnTo>
                    <a:pt x="405" y="48"/>
                  </a:lnTo>
                  <a:lnTo>
                    <a:pt x="405" y="47"/>
                  </a:lnTo>
                  <a:lnTo>
                    <a:pt x="406" y="47"/>
                  </a:lnTo>
                  <a:lnTo>
                    <a:pt x="406" y="45"/>
                  </a:lnTo>
                  <a:lnTo>
                    <a:pt x="406" y="44"/>
                  </a:lnTo>
                  <a:lnTo>
                    <a:pt x="407" y="44"/>
                  </a:lnTo>
                  <a:lnTo>
                    <a:pt x="408" y="44"/>
                  </a:lnTo>
                  <a:lnTo>
                    <a:pt x="408" y="45"/>
                  </a:lnTo>
                  <a:lnTo>
                    <a:pt x="408" y="47"/>
                  </a:lnTo>
                  <a:lnTo>
                    <a:pt x="408" y="48"/>
                  </a:lnTo>
                  <a:lnTo>
                    <a:pt x="408" y="49"/>
                  </a:lnTo>
                  <a:lnTo>
                    <a:pt x="408" y="50"/>
                  </a:lnTo>
                  <a:lnTo>
                    <a:pt x="407" y="50"/>
                  </a:lnTo>
                  <a:lnTo>
                    <a:pt x="407" y="52"/>
                  </a:lnTo>
                  <a:lnTo>
                    <a:pt x="407" y="53"/>
                  </a:lnTo>
                  <a:lnTo>
                    <a:pt x="408" y="54"/>
                  </a:lnTo>
                  <a:lnTo>
                    <a:pt x="409" y="54"/>
                  </a:lnTo>
                  <a:lnTo>
                    <a:pt x="409" y="56"/>
                  </a:lnTo>
                  <a:lnTo>
                    <a:pt x="408" y="56"/>
                  </a:lnTo>
                  <a:lnTo>
                    <a:pt x="408" y="58"/>
                  </a:lnTo>
                  <a:lnTo>
                    <a:pt x="407" y="59"/>
                  </a:lnTo>
                  <a:lnTo>
                    <a:pt x="406" y="59"/>
                  </a:lnTo>
                  <a:lnTo>
                    <a:pt x="406" y="60"/>
                  </a:lnTo>
                  <a:lnTo>
                    <a:pt x="405" y="61"/>
                  </a:lnTo>
                  <a:lnTo>
                    <a:pt x="405" y="62"/>
                  </a:lnTo>
                  <a:lnTo>
                    <a:pt x="405" y="61"/>
                  </a:lnTo>
                  <a:lnTo>
                    <a:pt x="406" y="61"/>
                  </a:lnTo>
                  <a:lnTo>
                    <a:pt x="406" y="64"/>
                  </a:lnTo>
                  <a:lnTo>
                    <a:pt x="406" y="65"/>
                  </a:lnTo>
                  <a:lnTo>
                    <a:pt x="405" y="66"/>
                  </a:lnTo>
                  <a:lnTo>
                    <a:pt x="403" y="66"/>
                  </a:lnTo>
                  <a:lnTo>
                    <a:pt x="403" y="67"/>
                  </a:lnTo>
                  <a:lnTo>
                    <a:pt x="402" y="67"/>
                  </a:lnTo>
                  <a:lnTo>
                    <a:pt x="402" y="66"/>
                  </a:lnTo>
                  <a:lnTo>
                    <a:pt x="401" y="67"/>
                  </a:lnTo>
                  <a:lnTo>
                    <a:pt x="401" y="68"/>
                  </a:lnTo>
                  <a:lnTo>
                    <a:pt x="400" y="68"/>
                  </a:lnTo>
                  <a:lnTo>
                    <a:pt x="398" y="68"/>
                  </a:lnTo>
                  <a:lnTo>
                    <a:pt x="397" y="68"/>
                  </a:lnTo>
                  <a:lnTo>
                    <a:pt x="397" y="71"/>
                  </a:lnTo>
                  <a:lnTo>
                    <a:pt x="398" y="71"/>
                  </a:lnTo>
                  <a:lnTo>
                    <a:pt x="398" y="70"/>
                  </a:lnTo>
                  <a:lnTo>
                    <a:pt x="400" y="70"/>
                  </a:lnTo>
                  <a:lnTo>
                    <a:pt x="400" y="68"/>
                  </a:lnTo>
                  <a:lnTo>
                    <a:pt x="401" y="68"/>
                  </a:lnTo>
                  <a:lnTo>
                    <a:pt x="402" y="70"/>
                  </a:lnTo>
                  <a:lnTo>
                    <a:pt x="403" y="70"/>
                  </a:lnTo>
                  <a:lnTo>
                    <a:pt x="403" y="68"/>
                  </a:lnTo>
                  <a:lnTo>
                    <a:pt x="403" y="70"/>
                  </a:lnTo>
                  <a:lnTo>
                    <a:pt x="405" y="70"/>
                  </a:lnTo>
                  <a:lnTo>
                    <a:pt x="405" y="72"/>
                  </a:lnTo>
                  <a:lnTo>
                    <a:pt x="403" y="72"/>
                  </a:lnTo>
                  <a:lnTo>
                    <a:pt x="403" y="73"/>
                  </a:lnTo>
                  <a:lnTo>
                    <a:pt x="402" y="73"/>
                  </a:lnTo>
                  <a:lnTo>
                    <a:pt x="401" y="74"/>
                  </a:lnTo>
                  <a:lnTo>
                    <a:pt x="401" y="76"/>
                  </a:lnTo>
                  <a:lnTo>
                    <a:pt x="400" y="76"/>
                  </a:lnTo>
                  <a:lnTo>
                    <a:pt x="398" y="76"/>
                  </a:lnTo>
                  <a:lnTo>
                    <a:pt x="397" y="76"/>
                  </a:lnTo>
                  <a:lnTo>
                    <a:pt x="396" y="77"/>
                  </a:lnTo>
                  <a:lnTo>
                    <a:pt x="394" y="77"/>
                  </a:lnTo>
                  <a:lnTo>
                    <a:pt x="392" y="76"/>
                  </a:lnTo>
                  <a:lnTo>
                    <a:pt x="391" y="76"/>
                  </a:lnTo>
                  <a:lnTo>
                    <a:pt x="391" y="74"/>
                  </a:lnTo>
                  <a:lnTo>
                    <a:pt x="391" y="73"/>
                  </a:lnTo>
                  <a:lnTo>
                    <a:pt x="391" y="74"/>
                  </a:lnTo>
                  <a:lnTo>
                    <a:pt x="390" y="73"/>
                  </a:lnTo>
                  <a:lnTo>
                    <a:pt x="390" y="74"/>
                  </a:lnTo>
                  <a:lnTo>
                    <a:pt x="391" y="74"/>
                  </a:lnTo>
                  <a:lnTo>
                    <a:pt x="391" y="76"/>
                  </a:lnTo>
                  <a:lnTo>
                    <a:pt x="390" y="76"/>
                  </a:lnTo>
                  <a:lnTo>
                    <a:pt x="390" y="77"/>
                  </a:lnTo>
                  <a:lnTo>
                    <a:pt x="389" y="77"/>
                  </a:lnTo>
                  <a:lnTo>
                    <a:pt x="388" y="78"/>
                  </a:lnTo>
                  <a:lnTo>
                    <a:pt x="386" y="77"/>
                  </a:lnTo>
                  <a:lnTo>
                    <a:pt x="385" y="77"/>
                  </a:lnTo>
                  <a:lnTo>
                    <a:pt x="385" y="76"/>
                  </a:lnTo>
                  <a:lnTo>
                    <a:pt x="385" y="74"/>
                  </a:lnTo>
                  <a:lnTo>
                    <a:pt x="385" y="73"/>
                  </a:lnTo>
                  <a:lnTo>
                    <a:pt x="384" y="72"/>
                  </a:lnTo>
                  <a:lnTo>
                    <a:pt x="384" y="73"/>
                  </a:lnTo>
                  <a:lnTo>
                    <a:pt x="383" y="73"/>
                  </a:lnTo>
                  <a:lnTo>
                    <a:pt x="382" y="74"/>
                  </a:lnTo>
                  <a:lnTo>
                    <a:pt x="380" y="76"/>
                  </a:lnTo>
                  <a:lnTo>
                    <a:pt x="379" y="77"/>
                  </a:lnTo>
                  <a:lnTo>
                    <a:pt x="379" y="78"/>
                  </a:lnTo>
                  <a:lnTo>
                    <a:pt x="380" y="78"/>
                  </a:lnTo>
                  <a:lnTo>
                    <a:pt x="380" y="79"/>
                  </a:lnTo>
                  <a:lnTo>
                    <a:pt x="378" y="78"/>
                  </a:lnTo>
                  <a:lnTo>
                    <a:pt x="379" y="79"/>
                  </a:lnTo>
                  <a:lnTo>
                    <a:pt x="380" y="79"/>
                  </a:lnTo>
                  <a:lnTo>
                    <a:pt x="380" y="80"/>
                  </a:lnTo>
                  <a:lnTo>
                    <a:pt x="382" y="80"/>
                  </a:lnTo>
                  <a:lnTo>
                    <a:pt x="382" y="82"/>
                  </a:lnTo>
                  <a:lnTo>
                    <a:pt x="383" y="82"/>
                  </a:lnTo>
                  <a:lnTo>
                    <a:pt x="383" y="80"/>
                  </a:lnTo>
                  <a:lnTo>
                    <a:pt x="384" y="82"/>
                  </a:lnTo>
                  <a:lnTo>
                    <a:pt x="384" y="83"/>
                  </a:lnTo>
                  <a:lnTo>
                    <a:pt x="386" y="83"/>
                  </a:lnTo>
                  <a:lnTo>
                    <a:pt x="388" y="82"/>
                  </a:lnTo>
                  <a:lnTo>
                    <a:pt x="388" y="83"/>
                  </a:lnTo>
                  <a:lnTo>
                    <a:pt x="389" y="83"/>
                  </a:lnTo>
                  <a:lnTo>
                    <a:pt x="389" y="84"/>
                  </a:lnTo>
                  <a:lnTo>
                    <a:pt x="389" y="85"/>
                  </a:lnTo>
                  <a:lnTo>
                    <a:pt x="388" y="85"/>
                  </a:lnTo>
                  <a:lnTo>
                    <a:pt x="386" y="86"/>
                  </a:lnTo>
                  <a:lnTo>
                    <a:pt x="385" y="86"/>
                  </a:lnTo>
                  <a:lnTo>
                    <a:pt x="385" y="88"/>
                  </a:lnTo>
                  <a:lnTo>
                    <a:pt x="384" y="86"/>
                  </a:lnTo>
                  <a:lnTo>
                    <a:pt x="383" y="86"/>
                  </a:lnTo>
                  <a:lnTo>
                    <a:pt x="383" y="85"/>
                  </a:lnTo>
                  <a:lnTo>
                    <a:pt x="383" y="84"/>
                  </a:lnTo>
                  <a:lnTo>
                    <a:pt x="382" y="83"/>
                  </a:lnTo>
                  <a:lnTo>
                    <a:pt x="382" y="82"/>
                  </a:lnTo>
                  <a:lnTo>
                    <a:pt x="380" y="82"/>
                  </a:lnTo>
                  <a:lnTo>
                    <a:pt x="379" y="80"/>
                  </a:lnTo>
                  <a:lnTo>
                    <a:pt x="378" y="82"/>
                  </a:lnTo>
                  <a:lnTo>
                    <a:pt x="380" y="82"/>
                  </a:lnTo>
                  <a:lnTo>
                    <a:pt x="380" y="83"/>
                  </a:lnTo>
                  <a:lnTo>
                    <a:pt x="379" y="84"/>
                  </a:lnTo>
                  <a:lnTo>
                    <a:pt x="378" y="84"/>
                  </a:lnTo>
                  <a:lnTo>
                    <a:pt x="378" y="85"/>
                  </a:lnTo>
                  <a:lnTo>
                    <a:pt x="378" y="86"/>
                  </a:lnTo>
                  <a:lnTo>
                    <a:pt x="379" y="88"/>
                  </a:lnTo>
                  <a:lnTo>
                    <a:pt x="380" y="88"/>
                  </a:lnTo>
                  <a:lnTo>
                    <a:pt x="382" y="86"/>
                  </a:lnTo>
                  <a:lnTo>
                    <a:pt x="383" y="86"/>
                  </a:lnTo>
                  <a:lnTo>
                    <a:pt x="383" y="88"/>
                  </a:lnTo>
                  <a:lnTo>
                    <a:pt x="383" y="89"/>
                  </a:lnTo>
                  <a:lnTo>
                    <a:pt x="383" y="90"/>
                  </a:lnTo>
                  <a:lnTo>
                    <a:pt x="383" y="91"/>
                  </a:lnTo>
                  <a:lnTo>
                    <a:pt x="384" y="91"/>
                  </a:lnTo>
                  <a:lnTo>
                    <a:pt x="385" y="91"/>
                  </a:lnTo>
                  <a:lnTo>
                    <a:pt x="386" y="91"/>
                  </a:lnTo>
                  <a:lnTo>
                    <a:pt x="386" y="90"/>
                  </a:lnTo>
                  <a:lnTo>
                    <a:pt x="388" y="90"/>
                  </a:lnTo>
                  <a:lnTo>
                    <a:pt x="388" y="89"/>
                  </a:lnTo>
                  <a:lnTo>
                    <a:pt x="389" y="89"/>
                  </a:lnTo>
                  <a:lnTo>
                    <a:pt x="390" y="90"/>
                  </a:lnTo>
                  <a:lnTo>
                    <a:pt x="391" y="92"/>
                  </a:lnTo>
                  <a:lnTo>
                    <a:pt x="392" y="92"/>
                  </a:lnTo>
                  <a:lnTo>
                    <a:pt x="394" y="92"/>
                  </a:lnTo>
                  <a:lnTo>
                    <a:pt x="394" y="94"/>
                  </a:lnTo>
                  <a:lnTo>
                    <a:pt x="395" y="95"/>
                  </a:lnTo>
                  <a:lnTo>
                    <a:pt x="396" y="95"/>
                  </a:lnTo>
                  <a:lnTo>
                    <a:pt x="397" y="95"/>
                  </a:lnTo>
                  <a:lnTo>
                    <a:pt x="398" y="95"/>
                  </a:lnTo>
                  <a:lnTo>
                    <a:pt x="401" y="95"/>
                  </a:lnTo>
                  <a:lnTo>
                    <a:pt x="402" y="96"/>
                  </a:lnTo>
                  <a:lnTo>
                    <a:pt x="403" y="96"/>
                  </a:lnTo>
                  <a:lnTo>
                    <a:pt x="405" y="96"/>
                  </a:lnTo>
                  <a:lnTo>
                    <a:pt x="406" y="96"/>
                  </a:lnTo>
                  <a:lnTo>
                    <a:pt x="406" y="97"/>
                  </a:lnTo>
                  <a:lnTo>
                    <a:pt x="406" y="98"/>
                  </a:lnTo>
                  <a:lnTo>
                    <a:pt x="406" y="102"/>
                  </a:lnTo>
                  <a:lnTo>
                    <a:pt x="406" y="104"/>
                  </a:lnTo>
                  <a:lnTo>
                    <a:pt x="407" y="106"/>
                  </a:lnTo>
                  <a:lnTo>
                    <a:pt x="408" y="106"/>
                  </a:lnTo>
                  <a:lnTo>
                    <a:pt x="408" y="104"/>
                  </a:lnTo>
                  <a:lnTo>
                    <a:pt x="409" y="104"/>
                  </a:lnTo>
                  <a:lnTo>
                    <a:pt x="409" y="103"/>
                  </a:lnTo>
                  <a:lnTo>
                    <a:pt x="408" y="103"/>
                  </a:lnTo>
                  <a:lnTo>
                    <a:pt x="409" y="102"/>
                  </a:lnTo>
                  <a:lnTo>
                    <a:pt x="409" y="100"/>
                  </a:lnTo>
                  <a:lnTo>
                    <a:pt x="411" y="100"/>
                  </a:lnTo>
                  <a:lnTo>
                    <a:pt x="411" y="98"/>
                  </a:lnTo>
                  <a:lnTo>
                    <a:pt x="412" y="98"/>
                  </a:lnTo>
                  <a:lnTo>
                    <a:pt x="413" y="98"/>
                  </a:lnTo>
                  <a:lnTo>
                    <a:pt x="413" y="100"/>
                  </a:lnTo>
                  <a:lnTo>
                    <a:pt x="413" y="101"/>
                  </a:lnTo>
                  <a:lnTo>
                    <a:pt x="414" y="102"/>
                  </a:lnTo>
                  <a:lnTo>
                    <a:pt x="415" y="102"/>
                  </a:lnTo>
                  <a:lnTo>
                    <a:pt x="417" y="101"/>
                  </a:lnTo>
                  <a:lnTo>
                    <a:pt x="417" y="100"/>
                  </a:lnTo>
                  <a:lnTo>
                    <a:pt x="417" y="98"/>
                  </a:lnTo>
                  <a:lnTo>
                    <a:pt x="417" y="97"/>
                  </a:lnTo>
                  <a:lnTo>
                    <a:pt x="418" y="97"/>
                  </a:lnTo>
                  <a:lnTo>
                    <a:pt x="419" y="97"/>
                  </a:lnTo>
                  <a:lnTo>
                    <a:pt x="420" y="97"/>
                  </a:lnTo>
                  <a:lnTo>
                    <a:pt x="421" y="97"/>
                  </a:lnTo>
                  <a:lnTo>
                    <a:pt x="423" y="96"/>
                  </a:lnTo>
                  <a:lnTo>
                    <a:pt x="423" y="95"/>
                  </a:lnTo>
                  <a:lnTo>
                    <a:pt x="424" y="96"/>
                  </a:lnTo>
                  <a:lnTo>
                    <a:pt x="425" y="96"/>
                  </a:lnTo>
                  <a:lnTo>
                    <a:pt x="425" y="97"/>
                  </a:lnTo>
                  <a:lnTo>
                    <a:pt x="425" y="98"/>
                  </a:lnTo>
                  <a:lnTo>
                    <a:pt x="425" y="100"/>
                  </a:lnTo>
                  <a:lnTo>
                    <a:pt x="424" y="100"/>
                  </a:lnTo>
                  <a:lnTo>
                    <a:pt x="424" y="101"/>
                  </a:lnTo>
                  <a:lnTo>
                    <a:pt x="424" y="102"/>
                  </a:lnTo>
                  <a:lnTo>
                    <a:pt x="424" y="103"/>
                  </a:lnTo>
                  <a:lnTo>
                    <a:pt x="423" y="104"/>
                  </a:lnTo>
                  <a:lnTo>
                    <a:pt x="423" y="106"/>
                  </a:lnTo>
                  <a:lnTo>
                    <a:pt x="421" y="106"/>
                  </a:lnTo>
                  <a:lnTo>
                    <a:pt x="420" y="107"/>
                  </a:lnTo>
                  <a:lnTo>
                    <a:pt x="420" y="109"/>
                  </a:lnTo>
                  <a:lnTo>
                    <a:pt x="420" y="110"/>
                  </a:lnTo>
                  <a:lnTo>
                    <a:pt x="421" y="112"/>
                  </a:lnTo>
                  <a:lnTo>
                    <a:pt x="423" y="112"/>
                  </a:lnTo>
                  <a:lnTo>
                    <a:pt x="424" y="110"/>
                  </a:lnTo>
                  <a:lnTo>
                    <a:pt x="424" y="109"/>
                  </a:lnTo>
                  <a:lnTo>
                    <a:pt x="424" y="108"/>
                  </a:lnTo>
                  <a:lnTo>
                    <a:pt x="425" y="108"/>
                  </a:lnTo>
                  <a:lnTo>
                    <a:pt x="426" y="108"/>
                  </a:lnTo>
                  <a:lnTo>
                    <a:pt x="427" y="108"/>
                  </a:lnTo>
                  <a:lnTo>
                    <a:pt x="427" y="109"/>
                  </a:lnTo>
                  <a:lnTo>
                    <a:pt x="427" y="110"/>
                  </a:lnTo>
                  <a:lnTo>
                    <a:pt x="427" y="112"/>
                  </a:lnTo>
                  <a:lnTo>
                    <a:pt x="427" y="113"/>
                  </a:lnTo>
                  <a:lnTo>
                    <a:pt x="426" y="114"/>
                  </a:lnTo>
                  <a:lnTo>
                    <a:pt x="425" y="115"/>
                  </a:lnTo>
                  <a:lnTo>
                    <a:pt x="425" y="116"/>
                  </a:lnTo>
                  <a:lnTo>
                    <a:pt x="425" y="118"/>
                  </a:lnTo>
                  <a:lnTo>
                    <a:pt x="424" y="119"/>
                  </a:lnTo>
                  <a:lnTo>
                    <a:pt x="423" y="119"/>
                  </a:lnTo>
                  <a:lnTo>
                    <a:pt x="421" y="119"/>
                  </a:lnTo>
                  <a:lnTo>
                    <a:pt x="420" y="120"/>
                  </a:lnTo>
                  <a:lnTo>
                    <a:pt x="421" y="120"/>
                  </a:lnTo>
                  <a:lnTo>
                    <a:pt x="421" y="121"/>
                  </a:lnTo>
                  <a:lnTo>
                    <a:pt x="423" y="121"/>
                  </a:lnTo>
                  <a:lnTo>
                    <a:pt x="424" y="121"/>
                  </a:lnTo>
                  <a:lnTo>
                    <a:pt x="425" y="121"/>
                  </a:lnTo>
                  <a:lnTo>
                    <a:pt x="427" y="121"/>
                  </a:lnTo>
                  <a:lnTo>
                    <a:pt x="429" y="121"/>
                  </a:lnTo>
                  <a:lnTo>
                    <a:pt x="429" y="122"/>
                  </a:lnTo>
                  <a:lnTo>
                    <a:pt x="427" y="124"/>
                  </a:lnTo>
                  <a:lnTo>
                    <a:pt x="429" y="124"/>
                  </a:lnTo>
                  <a:lnTo>
                    <a:pt x="430" y="125"/>
                  </a:lnTo>
                  <a:lnTo>
                    <a:pt x="430" y="124"/>
                  </a:lnTo>
                  <a:lnTo>
                    <a:pt x="431" y="124"/>
                  </a:lnTo>
                  <a:lnTo>
                    <a:pt x="431" y="122"/>
                  </a:lnTo>
                  <a:lnTo>
                    <a:pt x="432" y="122"/>
                  </a:lnTo>
                  <a:lnTo>
                    <a:pt x="433" y="122"/>
                  </a:lnTo>
                  <a:lnTo>
                    <a:pt x="435" y="122"/>
                  </a:lnTo>
                  <a:lnTo>
                    <a:pt x="436" y="122"/>
                  </a:lnTo>
                  <a:lnTo>
                    <a:pt x="436" y="124"/>
                  </a:lnTo>
                  <a:lnTo>
                    <a:pt x="435" y="126"/>
                  </a:lnTo>
                  <a:lnTo>
                    <a:pt x="436" y="126"/>
                  </a:lnTo>
                  <a:lnTo>
                    <a:pt x="437" y="126"/>
                  </a:lnTo>
                  <a:lnTo>
                    <a:pt x="437" y="128"/>
                  </a:lnTo>
                  <a:lnTo>
                    <a:pt x="438" y="128"/>
                  </a:lnTo>
                  <a:lnTo>
                    <a:pt x="439" y="128"/>
                  </a:lnTo>
                  <a:lnTo>
                    <a:pt x="442" y="127"/>
                  </a:lnTo>
                  <a:lnTo>
                    <a:pt x="443" y="127"/>
                  </a:lnTo>
                  <a:lnTo>
                    <a:pt x="443" y="128"/>
                  </a:lnTo>
                  <a:lnTo>
                    <a:pt x="443" y="130"/>
                  </a:lnTo>
                  <a:lnTo>
                    <a:pt x="442" y="130"/>
                  </a:lnTo>
                  <a:lnTo>
                    <a:pt x="442" y="131"/>
                  </a:lnTo>
                  <a:lnTo>
                    <a:pt x="441" y="133"/>
                  </a:lnTo>
                  <a:lnTo>
                    <a:pt x="442" y="133"/>
                  </a:lnTo>
                  <a:lnTo>
                    <a:pt x="442" y="134"/>
                  </a:lnTo>
                  <a:lnTo>
                    <a:pt x="443" y="134"/>
                  </a:lnTo>
                  <a:lnTo>
                    <a:pt x="443" y="133"/>
                  </a:lnTo>
                  <a:lnTo>
                    <a:pt x="444" y="133"/>
                  </a:lnTo>
                  <a:lnTo>
                    <a:pt x="444" y="132"/>
                  </a:lnTo>
                  <a:lnTo>
                    <a:pt x="445" y="132"/>
                  </a:lnTo>
                  <a:lnTo>
                    <a:pt x="447" y="132"/>
                  </a:lnTo>
                  <a:lnTo>
                    <a:pt x="448" y="132"/>
                  </a:lnTo>
                  <a:lnTo>
                    <a:pt x="449" y="132"/>
                  </a:lnTo>
                  <a:lnTo>
                    <a:pt x="449" y="131"/>
                  </a:lnTo>
                  <a:lnTo>
                    <a:pt x="450" y="131"/>
                  </a:lnTo>
                  <a:lnTo>
                    <a:pt x="451" y="131"/>
                  </a:lnTo>
                  <a:lnTo>
                    <a:pt x="451" y="132"/>
                  </a:lnTo>
                  <a:lnTo>
                    <a:pt x="451" y="133"/>
                  </a:lnTo>
                  <a:lnTo>
                    <a:pt x="451" y="134"/>
                  </a:lnTo>
                  <a:lnTo>
                    <a:pt x="453" y="133"/>
                  </a:lnTo>
                  <a:lnTo>
                    <a:pt x="454" y="133"/>
                  </a:lnTo>
                  <a:lnTo>
                    <a:pt x="455" y="134"/>
                  </a:lnTo>
                  <a:lnTo>
                    <a:pt x="455" y="133"/>
                  </a:lnTo>
                  <a:lnTo>
                    <a:pt x="455" y="134"/>
                  </a:lnTo>
                  <a:lnTo>
                    <a:pt x="456" y="134"/>
                  </a:lnTo>
                  <a:lnTo>
                    <a:pt x="457" y="134"/>
                  </a:lnTo>
                  <a:lnTo>
                    <a:pt x="459" y="134"/>
                  </a:lnTo>
                  <a:lnTo>
                    <a:pt x="459" y="133"/>
                  </a:lnTo>
                  <a:lnTo>
                    <a:pt x="460" y="133"/>
                  </a:lnTo>
                  <a:lnTo>
                    <a:pt x="461" y="134"/>
                  </a:lnTo>
                  <a:lnTo>
                    <a:pt x="461" y="136"/>
                  </a:lnTo>
                  <a:lnTo>
                    <a:pt x="460" y="136"/>
                  </a:lnTo>
                  <a:lnTo>
                    <a:pt x="460" y="137"/>
                  </a:lnTo>
                  <a:lnTo>
                    <a:pt x="460" y="138"/>
                  </a:lnTo>
                  <a:lnTo>
                    <a:pt x="460" y="139"/>
                  </a:lnTo>
                  <a:lnTo>
                    <a:pt x="459" y="139"/>
                  </a:lnTo>
                  <a:lnTo>
                    <a:pt x="457" y="139"/>
                  </a:lnTo>
                  <a:lnTo>
                    <a:pt x="457" y="140"/>
                  </a:lnTo>
                  <a:lnTo>
                    <a:pt x="456" y="140"/>
                  </a:lnTo>
                  <a:lnTo>
                    <a:pt x="456" y="142"/>
                  </a:lnTo>
                  <a:lnTo>
                    <a:pt x="456" y="143"/>
                  </a:lnTo>
                  <a:lnTo>
                    <a:pt x="457" y="143"/>
                  </a:lnTo>
                  <a:lnTo>
                    <a:pt x="459" y="143"/>
                  </a:lnTo>
                  <a:lnTo>
                    <a:pt x="459" y="142"/>
                  </a:lnTo>
                  <a:lnTo>
                    <a:pt x="461" y="142"/>
                  </a:lnTo>
                  <a:lnTo>
                    <a:pt x="462" y="142"/>
                  </a:lnTo>
                  <a:lnTo>
                    <a:pt x="462" y="140"/>
                  </a:lnTo>
                  <a:lnTo>
                    <a:pt x="462" y="139"/>
                  </a:lnTo>
                  <a:lnTo>
                    <a:pt x="464" y="139"/>
                  </a:lnTo>
                  <a:lnTo>
                    <a:pt x="464" y="138"/>
                  </a:lnTo>
                  <a:lnTo>
                    <a:pt x="465" y="138"/>
                  </a:lnTo>
                  <a:lnTo>
                    <a:pt x="465" y="139"/>
                  </a:lnTo>
                  <a:lnTo>
                    <a:pt x="465" y="138"/>
                  </a:lnTo>
                  <a:lnTo>
                    <a:pt x="466" y="138"/>
                  </a:lnTo>
                  <a:lnTo>
                    <a:pt x="467" y="138"/>
                  </a:lnTo>
                  <a:lnTo>
                    <a:pt x="467" y="137"/>
                  </a:lnTo>
                  <a:lnTo>
                    <a:pt x="468" y="136"/>
                  </a:lnTo>
                  <a:lnTo>
                    <a:pt x="468" y="137"/>
                  </a:lnTo>
                  <a:lnTo>
                    <a:pt x="470" y="137"/>
                  </a:lnTo>
                  <a:lnTo>
                    <a:pt x="468" y="138"/>
                  </a:lnTo>
                  <a:lnTo>
                    <a:pt x="468" y="142"/>
                  </a:lnTo>
                  <a:lnTo>
                    <a:pt x="470" y="140"/>
                  </a:lnTo>
                  <a:lnTo>
                    <a:pt x="471" y="142"/>
                  </a:lnTo>
                  <a:lnTo>
                    <a:pt x="471" y="140"/>
                  </a:lnTo>
                  <a:lnTo>
                    <a:pt x="472" y="139"/>
                  </a:lnTo>
                  <a:lnTo>
                    <a:pt x="473" y="139"/>
                  </a:lnTo>
                  <a:lnTo>
                    <a:pt x="473" y="140"/>
                  </a:lnTo>
                  <a:lnTo>
                    <a:pt x="473" y="142"/>
                  </a:lnTo>
                  <a:lnTo>
                    <a:pt x="472" y="143"/>
                  </a:lnTo>
                  <a:lnTo>
                    <a:pt x="471" y="143"/>
                  </a:lnTo>
                  <a:lnTo>
                    <a:pt x="471" y="144"/>
                  </a:lnTo>
                  <a:lnTo>
                    <a:pt x="471" y="145"/>
                  </a:lnTo>
                  <a:lnTo>
                    <a:pt x="471" y="146"/>
                  </a:lnTo>
                  <a:lnTo>
                    <a:pt x="470" y="146"/>
                  </a:lnTo>
                  <a:lnTo>
                    <a:pt x="467" y="146"/>
                  </a:lnTo>
                  <a:lnTo>
                    <a:pt x="468" y="148"/>
                  </a:lnTo>
                  <a:lnTo>
                    <a:pt x="467" y="146"/>
                  </a:lnTo>
                  <a:lnTo>
                    <a:pt x="466" y="146"/>
                  </a:lnTo>
                  <a:lnTo>
                    <a:pt x="467" y="148"/>
                  </a:lnTo>
                  <a:lnTo>
                    <a:pt x="468" y="148"/>
                  </a:lnTo>
                  <a:lnTo>
                    <a:pt x="467" y="149"/>
                  </a:lnTo>
                  <a:lnTo>
                    <a:pt x="466" y="149"/>
                  </a:lnTo>
                  <a:lnTo>
                    <a:pt x="465" y="149"/>
                  </a:lnTo>
                  <a:lnTo>
                    <a:pt x="464" y="150"/>
                  </a:lnTo>
                  <a:lnTo>
                    <a:pt x="462" y="150"/>
                  </a:lnTo>
                  <a:lnTo>
                    <a:pt x="461" y="150"/>
                  </a:lnTo>
                  <a:lnTo>
                    <a:pt x="460" y="150"/>
                  </a:lnTo>
                  <a:lnTo>
                    <a:pt x="460" y="149"/>
                  </a:lnTo>
                  <a:lnTo>
                    <a:pt x="457" y="150"/>
                  </a:lnTo>
                  <a:lnTo>
                    <a:pt x="459" y="151"/>
                  </a:lnTo>
                  <a:lnTo>
                    <a:pt x="459" y="152"/>
                  </a:lnTo>
                  <a:lnTo>
                    <a:pt x="457" y="152"/>
                  </a:lnTo>
                  <a:lnTo>
                    <a:pt x="456" y="154"/>
                  </a:lnTo>
                  <a:lnTo>
                    <a:pt x="455" y="154"/>
                  </a:lnTo>
                  <a:lnTo>
                    <a:pt x="455" y="155"/>
                  </a:lnTo>
                  <a:lnTo>
                    <a:pt x="454" y="155"/>
                  </a:lnTo>
                  <a:lnTo>
                    <a:pt x="454" y="156"/>
                  </a:lnTo>
                  <a:lnTo>
                    <a:pt x="453" y="156"/>
                  </a:lnTo>
                  <a:lnTo>
                    <a:pt x="453" y="157"/>
                  </a:lnTo>
                  <a:lnTo>
                    <a:pt x="451" y="157"/>
                  </a:lnTo>
                  <a:lnTo>
                    <a:pt x="450" y="159"/>
                  </a:lnTo>
                  <a:lnTo>
                    <a:pt x="449" y="160"/>
                  </a:lnTo>
                  <a:lnTo>
                    <a:pt x="448" y="160"/>
                  </a:lnTo>
                  <a:lnTo>
                    <a:pt x="449" y="160"/>
                  </a:lnTo>
                  <a:lnTo>
                    <a:pt x="451" y="160"/>
                  </a:lnTo>
                  <a:lnTo>
                    <a:pt x="453" y="160"/>
                  </a:lnTo>
                  <a:lnTo>
                    <a:pt x="454" y="160"/>
                  </a:lnTo>
                  <a:lnTo>
                    <a:pt x="455" y="160"/>
                  </a:lnTo>
                  <a:lnTo>
                    <a:pt x="455" y="161"/>
                  </a:lnTo>
                  <a:lnTo>
                    <a:pt x="456" y="161"/>
                  </a:lnTo>
                  <a:lnTo>
                    <a:pt x="456" y="162"/>
                  </a:lnTo>
                  <a:lnTo>
                    <a:pt x="457" y="163"/>
                  </a:lnTo>
                  <a:lnTo>
                    <a:pt x="457" y="162"/>
                  </a:lnTo>
                  <a:lnTo>
                    <a:pt x="459" y="162"/>
                  </a:lnTo>
                  <a:lnTo>
                    <a:pt x="460" y="161"/>
                  </a:lnTo>
                  <a:lnTo>
                    <a:pt x="460" y="162"/>
                  </a:lnTo>
                  <a:lnTo>
                    <a:pt x="461" y="162"/>
                  </a:lnTo>
                  <a:lnTo>
                    <a:pt x="460" y="162"/>
                  </a:lnTo>
                  <a:lnTo>
                    <a:pt x="460" y="163"/>
                  </a:lnTo>
                  <a:lnTo>
                    <a:pt x="461" y="163"/>
                  </a:lnTo>
                  <a:lnTo>
                    <a:pt x="461" y="165"/>
                  </a:lnTo>
                  <a:lnTo>
                    <a:pt x="461" y="163"/>
                  </a:lnTo>
                  <a:lnTo>
                    <a:pt x="462" y="163"/>
                  </a:lnTo>
                  <a:lnTo>
                    <a:pt x="462" y="162"/>
                  </a:lnTo>
                  <a:lnTo>
                    <a:pt x="464" y="162"/>
                  </a:lnTo>
                  <a:lnTo>
                    <a:pt x="464" y="161"/>
                  </a:lnTo>
                  <a:lnTo>
                    <a:pt x="466" y="160"/>
                  </a:lnTo>
                  <a:lnTo>
                    <a:pt x="467" y="160"/>
                  </a:lnTo>
                  <a:lnTo>
                    <a:pt x="468" y="161"/>
                  </a:lnTo>
                  <a:lnTo>
                    <a:pt x="468" y="162"/>
                  </a:lnTo>
                  <a:lnTo>
                    <a:pt x="467" y="162"/>
                  </a:lnTo>
                  <a:lnTo>
                    <a:pt x="467" y="163"/>
                  </a:lnTo>
                  <a:lnTo>
                    <a:pt x="468" y="165"/>
                  </a:lnTo>
                  <a:lnTo>
                    <a:pt x="470" y="165"/>
                  </a:lnTo>
                  <a:lnTo>
                    <a:pt x="471" y="165"/>
                  </a:lnTo>
                  <a:lnTo>
                    <a:pt x="472" y="165"/>
                  </a:lnTo>
                  <a:lnTo>
                    <a:pt x="473" y="165"/>
                  </a:lnTo>
                  <a:lnTo>
                    <a:pt x="473" y="163"/>
                  </a:lnTo>
                  <a:lnTo>
                    <a:pt x="474" y="163"/>
                  </a:lnTo>
                  <a:lnTo>
                    <a:pt x="476" y="163"/>
                  </a:lnTo>
                  <a:lnTo>
                    <a:pt x="477" y="165"/>
                  </a:lnTo>
                  <a:lnTo>
                    <a:pt x="478" y="165"/>
                  </a:lnTo>
                  <a:lnTo>
                    <a:pt x="479" y="165"/>
                  </a:lnTo>
                  <a:lnTo>
                    <a:pt x="480" y="163"/>
                  </a:lnTo>
                  <a:lnTo>
                    <a:pt x="480" y="165"/>
                  </a:lnTo>
                  <a:lnTo>
                    <a:pt x="482" y="165"/>
                  </a:lnTo>
                  <a:lnTo>
                    <a:pt x="483" y="166"/>
                  </a:lnTo>
                  <a:lnTo>
                    <a:pt x="483" y="165"/>
                  </a:lnTo>
                  <a:lnTo>
                    <a:pt x="483" y="163"/>
                  </a:lnTo>
                  <a:lnTo>
                    <a:pt x="484" y="163"/>
                  </a:lnTo>
                  <a:lnTo>
                    <a:pt x="484" y="162"/>
                  </a:lnTo>
                  <a:lnTo>
                    <a:pt x="484" y="165"/>
                  </a:lnTo>
                  <a:lnTo>
                    <a:pt x="485" y="165"/>
                  </a:lnTo>
                  <a:lnTo>
                    <a:pt x="485" y="163"/>
                  </a:lnTo>
                  <a:lnTo>
                    <a:pt x="486" y="163"/>
                  </a:lnTo>
                  <a:lnTo>
                    <a:pt x="485" y="165"/>
                  </a:lnTo>
                  <a:lnTo>
                    <a:pt x="485" y="166"/>
                  </a:lnTo>
                  <a:lnTo>
                    <a:pt x="484" y="166"/>
                  </a:lnTo>
                  <a:lnTo>
                    <a:pt x="484" y="167"/>
                  </a:lnTo>
                  <a:lnTo>
                    <a:pt x="484" y="168"/>
                  </a:lnTo>
                  <a:lnTo>
                    <a:pt x="485" y="168"/>
                  </a:lnTo>
                  <a:lnTo>
                    <a:pt x="485" y="169"/>
                  </a:lnTo>
                  <a:lnTo>
                    <a:pt x="486" y="169"/>
                  </a:lnTo>
                  <a:lnTo>
                    <a:pt x="486" y="171"/>
                  </a:lnTo>
                  <a:lnTo>
                    <a:pt x="488" y="171"/>
                  </a:lnTo>
                  <a:lnTo>
                    <a:pt x="488" y="172"/>
                  </a:lnTo>
                  <a:lnTo>
                    <a:pt x="488" y="173"/>
                  </a:lnTo>
                  <a:lnTo>
                    <a:pt x="484" y="173"/>
                  </a:lnTo>
                  <a:lnTo>
                    <a:pt x="484" y="175"/>
                  </a:lnTo>
                  <a:lnTo>
                    <a:pt x="482" y="177"/>
                  </a:lnTo>
                  <a:lnTo>
                    <a:pt x="483" y="178"/>
                  </a:lnTo>
                  <a:lnTo>
                    <a:pt x="484" y="178"/>
                  </a:lnTo>
                  <a:lnTo>
                    <a:pt x="483" y="180"/>
                  </a:lnTo>
                  <a:lnTo>
                    <a:pt x="485" y="181"/>
                  </a:lnTo>
                  <a:lnTo>
                    <a:pt x="485" y="180"/>
                  </a:lnTo>
                  <a:lnTo>
                    <a:pt x="486" y="180"/>
                  </a:lnTo>
                  <a:lnTo>
                    <a:pt x="489" y="180"/>
                  </a:lnTo>
                  <a:lnTo>
                    <a:pt x="490" y="179"/>
                  </a:lnTo>
                  <a:lnTo>
                    <a:pt x="490" y="178"/>
                  </a:lnTo>
                  <a:lnTo>
                    <a:pt x="491" y="177"/>
                  </a:lnTo>
                  <a:lnTo>
                    <a:pt x="492" y="175"/>
                  </a:lnTo>
                  <a:lnTo>
                    <a:pt x="494" y="175"/>
                  </a:lnTo>
                  <a:lnTo>
                    <a:pt x="494" y="174"/>
                  </a:lnTo>
                  <a:lnTo>
                    <a:pt x="495" y="174"/>
                  </a:lnTo>
                  <a:lnTo>
                    <a:pt x="496" y="174"/>
                  </a:lnTo>
                  <a:lnTo>
                    <a:pt x="497" y="173"/>
                  </a:lnTo>
                  <a:lnTo>
                    <a:pt x="498" y="173"/>
                  </a:lnTo>
                  <a:lnTo>
                    <a:pt x="500" y="174"/>
                  </a:lnTo>
                  <a:lnTo>
                    <a:pt x="500" y="175"/>
                  </a:lnTo>
                  <a:lnTo>
                    <a:pt x="500" y="177"/>
                  </a:lnTo>
                  <a:lnTo>
                    <a:pt x="498" y="178"/>
                  </a:lnTo>
                  <a:lnTo>
                    <a:pt x="498" y="179"/>
                  </a:lnTo>
                  <a:lnTo>
                    <a:pt x="496" y="180"/>
                  </a:lnTo>
                  <a:lnTo>
                    <a:pt x="495" y="180"/>
                  </a:lnTo>
                  <a:lnTo>
                    <a:pt x="492" y="181"/>
                  </a:lnTo>
                  <a:lnTo>
                    <a:pt x="491" y="183"/>
                  </a:lnTo>
                  <a:lnTo>
                    <a:pt x="492" y="185"/>
                  </a:lnTo>
                  <a:lnTo>
                    <a:pt x="491" y="185"/>
                  </a:lnTo>
                  <a:lnTo>
                    <a:pt x="491" y="186"/>
                  </a:lnTo>
                  <a:lnTo>
                    <a:pt x="489" y="186"/>
                  </a:lnTo>
                  <a:lnTo>
                    <a:pt x="488" y="187"/>
                  </a:lnTo>
                  <a:lnTo>
                    <a:pt x="486" y="189"/>
                  </a:lnTo>
                  <a:lnTo>
                    <a:pt x="486" y="190"/>
                  </a:lnTo>
                  <a:lnTo>
                    <a:pt x="485" y="190"/>
                  </a:lnTo>
                  <a:lnTo>
                    <a:pt x="485" y="191"/>
                  </a:lnTo>
                  <a:lnTo>
                    <a:pt x="484" y="191"/>
                  </a:lnTo>
                  <a:lnTo>
                    <a:pt x="483" y="190"/>
                  </a:lnTo>
                  <a:lnTo>
                    <a:pt x="482" y="191"/>
                  </a:lnTo>
                  <a:lnTo>
                    <a:pt x="480" y="190"/>
                  </a:lnTo>
                  <a:lnTo>
                    <a:pt x="478" y="191"/>
                  </a:lnTo>
                  <a:lnTo>
                    <a:pt x="477" y="192"/>
                  </a:lnTo>
                  <a:lnTo>
                    <a:pt x="476" y="192"/>
                  </a:lnTo>
                  <a:lnTo>
                    <a:pt x="477" y="193"/>
                  </a:lnTo>
                  <a:lnTo>
                    <a:pt x="479" y="193"/>
                  </a:lnTo>
                  <a:lnTo>
                    <a:pt x="479" y="196"/>
                  </a:lnTo>
                  <a:lnTo>
                    <a:pt x="480" y="196"/>
                  </a:lnTo>
                  <a:lnTo>
                    <a:pt x="482" y="196"/>
                  </a:lnTo>
                  <a:lnTo>
                    <a:pt x="482" y="197"/>
                  </a:lnTo>
                  <a:lnTo>
                    <a:pt x="482" y="198"/>
                  </a:lnTo>
                  <a:lnTo>
                    <a:pt x="484" y="199"/>
                  </a:lnTo>
                  <a:lnTo>
                    <a:pt x="485" y="198"/>
                  </a:lnTo>
                  <a:lnTo>
                    <a:pt x="488" y="198"/>
                  </a:lnTo>
                  <a:lnTo>
                    <a:pt x="489" y="199"/>
                  </a:lnTo>
                  <a:lnTo>
                    <a:pt x="490" y="198"/>
                  </a:lnTo>
                  <a:lnTo>
                    <a:pt x="491" y="198"/>
                  </a:lnTo>
                  <a:lnTo>
                    <a:pt x="491" y="199"/>
                  </a:lnTo>
                  <a:lnTo>
                    <a:pt x="490" y="201"/>
                  </a:lnTo>
                  <a:lnTo>
                    <a:pt x="489" y="202"/>
                  </a:lnTo>
                  <a:lnTo>
                    <a:pt x="489" y="203"/>
                  </a:lnTo>
                  <a:lnTo>
                    <a:pt x="490" y="202"/>
                  </a:lnTo>
                  <a:lnTo>
                    <a:pt x="491" y="202"/>
                  </a:lnTo>
                  <a:lnTo>
                    <a:pt x="491" y="203"/>
                  </a:lnTo>
                  <a:lnTo>
                    <a:pt x="491" y="204"/>
                  </a:lnTo>
                  <a:lnTo>
                    <a:pt x="490" y="207"/>
                  </a:lnTo>
                  <a:lnTo>
                    <a:pt x="486" y="209"/>
                  </a:lnTo>
                  <a:lnTo>
                    <a:pt x="489" y="210"/>
                  </a:lnTo>
                  <a:lnTo>
                    <a:pt x="489" y="213"/>
                  </a:lnTo>
                  <a:lnTo>
                    <a:pt x="489" y="214"/>
                  </a:lnTo>
                  <a:lnTo>
                    <a:pt x="490" y="214"/>
                  </a:lnTo>
                  <a:lnTo>
                    <a:pt x="490" y="216"/>
                  </a:lnTo>
                  <a:lnTo>
                    <a:pt x="489" y="217"/>
                  </a:lnTo>
                  <a:lnTo>
                    <a:pt x="491" y="217"/>
                  </a:lnTo>
                  <a:lnTo>
                    <a:pt x="491" y="219"/>
                  </a:lnTo>
                  <a:lnTo>
                    <a:pt x="492" y="220"/>
                  </a:lnTo>
                  <a:lnTo>
                    <a:pt x="495" y="220"/>
                  </a:lnTo>
                  <a:lnTo>
                    <a:pt x="496" y="220"/>
                  </a:lnTo>
                  <a:lnTo>
                    <a:pt x="497" y="220"/>
                  </a:lnTo>
                  <a:lnTo>
                    <a:pt x="498" y="220"/>
                  </a:lnTo>
                  <a:lnTo>
                    <a:pt x="500" y="220"/>
                  </a:lnTo>
                  <a:lnTo>
                    <a:pt x="501" y="220"/>
                  </a:lnTo>
                  <a:lnTo>
                    <a:pt x="502" y="220"/>
                  </a:lnTo>
                  <a:lnTo>
                    <a:pt x="506" y="221"/>
                  </a:lnTo>
                  <a:lnTo>
                    <a:pt x="506" y="222"/>
                  </a:lnTo>
                  <a:lnTo>
                    <a:pt x="508" y="222"/>
                  </a:lnTo>
                  <a:lnTo>
                    <a:pt x="509" y="222"/>
                  </a:lnTo>
                  <a:lnTo>
                    <a:pt x="510" y="222"/>
                  </a:lnTo>
                  <a:lnTo>
                    <a:pt x="513" y="221"/>
                  </a:lnTo>
                  <a:lnTo>
                    <a:pt x="514" y="221"/>
                  </a:lnTo>
                  <a:lnTo>
                    <a:pt x="514" y="222"/>
                  </a:lnTo>
                  <a:lnTo>
                    <a:pt x="513" y="223"/>
                  </a:lnTo>
                  <a:lnTo>
                    <a:pt x="512" y="227"/>
                  </a:lnTo>
                  <a:lnTo>
                    <a:pt x="512" y="228"/>
                  </a:lnTo>
                  <a:lnTo>
                    <a:pt x="513" y="228"/>
                  </a:lnTo>
                  <a:lnTo>
                    <a:pt x="515" y="228"/>
                  </a:lnTo>
                  <a:lnTo>
                    <a:pt x="518" y="228"/>
                  </a:lnTo>
                  <a:lnTo>
                    <a:pt x="519" y="229"/>
                  </a:lnTo>
                  <a:lnTo>
                    <a:pt x="521" y="229"/>
                  </a:lnTo>
                  <a:lnTo>
                    <a:pt x="523" y="229"/>
                  </a:lnTo>
                  <a:lnTo>
                    <a:pt x="523" y="228"/>
                  </a:lnTo>
                  <a:lnTo>
                    <a:pt x="525" y="228"/>
                  </a:lnTo>
                  <a:lnTo>
                    <a:pt x="526" y="229"/>
                  </a:lnTo>
                  <a:lnTo>
                    <a:pt x="526" y="231"/>
                  </a:lnTo>
                  <a:lnTo>
                    <a:pt x="525" y="232"/>
                  </a:lnTo>
                  <a:lnTo>
                    <a:pt x="524" y="233"/>
                  </a:lnTo>
                  <a:lnTo>
                    <a:pt x="521" y="235"/>
                  </a:lnTo>
                  <a:lnTo>
                    <a:pt x="519" y="235"/>
                  </a:lnTo>
                  <a:lnTo>
                    <a:pt x="519" y="237"/>
                  </a:lnTo>
                  <a:lnTo>
                    <a:pt x="518" y="237"/>
                  </a:lnTo>
                  <a:lnTo>
                    <a:pt x="516" y="238"/>
                  </a:lnTo>
                  <a:lnTo>
                    <a:pt x="514" y="240"/>
                  </a:lnTo>
                  <a:lnTo>
                    <a:pt x="513" y="241"/>
                  </a:lnTo>
                  <a:lnTo>
                    <a:pt x="512" y="241"/>
                  </a:lnTo>
                  <a:lnTo>
                    <a:pt x="510" y="241"/>
                  </a:lnTo>
                  <a:lnTo>
                    <a:pt x="509" y="240"/>
                  </a:lnTo>
                  <a:lnTo>
                    <a:pt x="508" y="241"/>
                  </a:lnTo>
                  <a:lnTo>
                    <a:pt x="507" y="241"/>
                  </a:lnTo>
                  <a:lnTo>
                    <a:pt x="504" y="241"/>
                  </a:lnTo>
                  <a:lnTo>
                    <a:pt x="502" y="241"/>
                  </a:lnTo>
                  <a:lnTo>
                    <a:pt x="501" y="240"/>
                  </a:lnTo>
                  <a:lnTo>
                    <a:pt x="501" y="239"/>
                  </a:lnTo>
                  <a:lnTo>
                    <a:pt x="500" y="239"/>
                  </a:lnTo>
                  <a:lnTo>
                    <a:pt x="498" y="239"/>
                  </a:lnTo>
                  <a:lnTo>
                    <a:pt x="497" y="238"/>
                  </a:lnTo>
                  <a:lnTo>
                    <a:pt x="496" y="237"/>
                  </a:lnTo>
                  <a:lnTo>
                    <a:pt x="496" y="235"/>
                  </a:lnTo>
                  <a:lnTo>
                    <a:pt x="496" y="234"/>
                  </a:lnTo>
                  <a:lnTo>
                    <a:pt x="494" y="234"/>
                  </a:lnTo>
                  <a:lnTo>
                    <a:pt x="495" y="235"/>
                  </a:lnTo>
                  <a:lnTo>
                    <a:pt x="495" y="238"/>
                  </a:lnTo>
                  <a:lnTo>
                    <a:pt x="496" y="238"/>
                  </a:lnTo>
                  <a:lnTo>
                    <a:pt x="496" y="240"/>
                  </a:lnTo>
                  <a:lnTo>
                    <a:pt x="496" y="241"/>
                  </a:lnTo>
                  <a:lnTo>
                    <a:pt x="495" y="243"/>
                  </a:lnTo>
                  <a:lnTo>
                    <a:pt x="494" y="244"/>
                  </a:lnTo>
                  <a:lnTo>
                    <a:pt x="491" y="243"/>
                  </a:lnTo>
                  <a:lnTo>
                    <a:pt x="490" y="241"/>
                  </a:lnTo>
                  <a:lnTo>
                    <a:pt x="490" y="240"/>
                  </a:lnTo>
                  <a:lnTo>
                    <a:pt x="489" y="240"/>
                  </a:lnTo>
                  <a:lnTo>
                    <a:pt x="489" y="238"/>
                  </a:lnTo>
                  <a:lnTo>
                    <a:pt x="486" y="238"/>
                  </a:lnTo>
                  <a:lnTo>
                    <a:pt x="486" y="237"/>
                  </a:lnTo>
                  <a:lnTo>
                    <a:pt x="485" y="237"/>
                  </a:lnTo>
                  <a:lnTo>
                    <a:pt x="484" y="238"/>
                  </a:lnTo>
                  <a:lnTo>
                    <a:pt x="483" y="238"/>
                  </a:lnTo>
                  <a:lnTo>
                    <a:pt x="483" y="237"/>
                  </a:lnTo>
                  <a:lnTo>
                    <a:pt x="482" y="237"/>
                  </a:lnTo>
                  <a:lnTo>
                    <a:pt x="479" y="234"/>
                  </a:lnTo>
                  <a:lnTo>
                    <a:pt x="477" y="235"/>
                  </a:lnTo>
                  <a:lnTo>
                    <a:pt x="476" y="237"/>
                  </a:lnTo>
                  <a:lnTo>
                    <a:pt x="474" y="235"/>
                  </a:lnTo>
                  <a:lnTo>
                    <a:pt x="472" y="237"/>
                  </a:lnTo>
                  <a:lnTo>
                    <a:pt x="468" y="237"/>
                  </a:lnTo>
                  <a:lnTo>
                    <a:pt x="468" y="235"/>
                  </a:lnTo>
                  <a:lnTo>
                    <a:pt x="467" y="237"/>
                  </a:lnTo>
                  <a:lnTo>
                    <a:pt x="466" y="237"/>
                  </a:lnTo>
                  <a:lnTo>
                    <a:pt x="465" y="238"/>
                  </a:lnTo>
                  <a:lnTo>
                    <a:pt x="462" y="238"/>
                  </a:lnTo>
                  <a:lnTo>
                    <a:pt x="461" y="240"/>
                  </a:lnTo>
                  <a:lnTo>
                    <a:pt x="457" y="238"/>
                  </a:lnTo>
                  <a:lnTo>
                    <a:pt x="457" y="235"/>
                  </a:lnTo>
                  <a:lnTo>
                    <a:pt x="457" y="234"/>
                  </a:lnTo>
                  <a:lnTo>
                    <a:pt x="456" y="234"/>
                  </a:lnTo>
                  <a:lnTo>
                    <a:pt x="454" y="235"/>
                  </a:lnTo>
                  <a:lnTo>
                    <a:pt x="453" y="235"/>
                  </a:lnTo>
                  <a:lnTo>
                    <a:pt x="451" y="235"/>
                  </a:lnTo>
                  <a:lnTo>
                    <a:pt x="450" y="237"/>
                  </a:lnTo>
                  <a:lnTo>
                    <a:pt x="450" y="238"/>
                  </a:lnTo>
                  <a:lnTo>
                    <a:pt x="450" y="240"/>
                  </a:lnTo>
                  <a:lnTo>
                    <a:pt x="451" y="239"/>
                  </a:lnTo>
                  <a:lnTo>
                    <a:pt x="453" y="238"/>
                  </a:lnTo>
                  <a:lnTo>
                    <a:pt x="453" y="239"/>
                  </a:lnTo>
                  <a:lnTo>
                    <a:pt x="453" y="240"/>
                  </a:lnTo>
                  <a:lnTo>
                    <a:pt x="453" y="243"/>
                  </a:lnTo>
                  <a:lnTo>
                    <a:pt x="454" y="240"/>
                  </a:lnTo>
                  <a:lnTo>
                    <a:pt x="454" y="243"/>
                  </a:lnTo>
                  <a:lnTo>
                    <a:pt x="454" y="244"/>
                  </a:lnTo>
                  <a:lnTo>
                    <a:pt x="454" y="245"/>
                  </a:lnTo>
                  <a:lnTo>
                    <a:pt x="455" y="245"/>
                  </a:lnTo>
                  <a:lnTo>
                    <a:pt x="455" y="246"/>
                  </a:lnTo>
                  <a:lnTo>
                    <a:pt x="456" y="245"/>
                  </a:lnTo>
                  <a:lnTo>
                    <a:pt x="456" y="246"/>
                  </a:lnTo>
                  <a:lnTo>
                    <a:pt x="454" y="246"/>
                  </a:lnTo>
                  <a:lnTo>
                    <a:pt x="455" y="249"/>
                  </a:lnTo>
                  <a:lnTo>
                    <a:pt x="456" y="247"/>
                  </a:lnTo>
                  <a:lnTo>
                    <a:pt x="457" y="249"/>
                  </a:lnTo>
                  <a:lnTo>
                    <a:pt x="459" y="249"/>
                  </a:lnTo>
                  <a:lnTo>
                    <a:pt x="460" y="249"/>
                  </a:lnTo>
                  <a:lnTo>
                    <a:pt x="462" y="250"/>
                  </a:lnTo>
                  <a:lnTo>
                    <a:pt x="464" y="250"/>
                  </a:lnTo>
                  <a:lnTo>
                    <a:pt x="464" y="251"/>
                  </a:lnTo>
                  <a:lnTo>
                    <a:pt x="465" y="252"/>
                  </a:lnTo>
                  <a:lnTo>
                    <a:pt x="465" y="253"/>
                  </a:lnTo>
                  <a:lnTo>
                    <a:pt x="465" y="255"/>
                  </a:lnTo>
                  <a:lnTo>
                    <a:pt x="466" y="255"/>
                  </a:lnTo>
                  <a:lnTo>
                    <a:pt x="467" y="256"/>
                  </a:lnTo>
                  <a:lnTo>
                    <a:pt x="470" y="257"/>
                  </a:lnTo>
                  <a:lnTo>
                    <a:pt x="471" y="259"/>
                  </a:lnTo>
                  <a:lnTo>
                    <a:pt x="472" y="259"/>
                  </a:lnTo>
                  <a:lnTo>
                    <a:pt x="473" y="261"/>
                  </a:lnTo>
                  <a:lnTo>
                    <a:pt x="473" y="262"/>
                  </a:lnTo>
                  <a:lnTo>
                    <a:pt x="474" y="262"/>
                  </a:lnTo>
                  <a:lnTo>
                    <a:pt x="474" y="263"/>
                  </a:lnTo>
                  <a:lnTo>
                    <a:pt x="476" y="263"/>
                  </a:lnTo>
                  <a:lnTo>
                    <a:pt x="476" y="262"/>
                  </a:lnTo>
                  <a:lnTo>
                    <a:pt x="479" y="263"/>
                  </a:lnTo>
                  <a:lnTo>
                    <a:pt x="480" y="263"/>
                  </a:lnTo>
                  <a:lnTo>
                    <a:pt x="480" y="264"/>
                  </a:lnTo>
                  <a:lnTo>
                    <a:pt x="482" y="266"/>
                  </a:lnTo>
                  <a:lnTo>
                    <a:pt x="484" y="266"/>
                  </a:lnTo>
                  <a:lnTo>
                    <a:pt x="484" y="267"/>
                  </a:lnTo>
                  <a:lnTo>
                    <a:pt x="486" y="267"/>
                  </a:lnTo>
                  <a:lnTo>
                    <a:pt x="486" y="268"/>
                  </a:lnTo>
                  <a:lnTo>
                    <a:pt x="488" y="268"/>
                  </a:lnTo>
                  <a:lnTo>
                    <a:pt x="489" y="269"/>
                  </a:lnTo>
                  <a:lnTo>
                    <a:pt x="490" y="269"/>
                  </a:lnTo>
                  <a:lnTo>
                    <a:pt x="490" y="270"/>
                  </a:lnTo>
                  <a:lnTo>
                    <a:pt x="489" y="272"/>
                  </a:lnTo>
                  <a:lnTo>
                    <a:pt x="490" y="273"/>
                  </a:lnTo>
                  <a:lnTo>
                    <a:pt x="490" y="274"/>
                  </a:lnTo>
                  <a:lnTo>
                    <a:pt x="491" y="275"/>
                  </a:lnTo>
                  <a:lnTo>
                    <a:pt x="490" y="276"/>
                  </a:lnTo>
                  <a:lnTo>
                    <a:pt x="492" y="276"/>
                  </a:lnTo>
                  <a:lnTo>
                    <a:pt x="496" y="276"/>
                  </a:lnTo>
                  <a:lnTo>
                    <a:pt x="500" y="276"/>
                  </a:lnTo>
                  <a:lnTo>
                    <a:pt x="500" y="279"/>
                  </a:lnTo>
                  <a:lnTo>
                    <a:pt x="501" y="279"/>
                  </a:lnTo>
                  <a:lnTo>
                    <a:pt x="503" y="279"/>
                  </a:lnTo>
                  <a:lnTo>
                    <a:pt x="506" y="279"/>
                  </a:lnTo>
                  <a:lnTo>
                    <a:pt x="507" y="278"/>
                  </a:lnTo>
                  <a:lnTo>
                    <a:pt x="508" y="280"/>
                  </a:lnTo>
                  <a:lnTo>
                    <a:pt x="509" y="280"/>
                  </a:lnTo>
                  <a:lnTo>
                    <a:pt x="510" y="280"/>
                  </a:lnTo>
                  <a:lnTo>
                    <a:pt x="510" y="281"/>
                  </a:lnTo>
                  <a:lnTo>
                    <a:pt x="509" y="284"/>
                  </a:lnTo>
                  <a:lnTo>
                    <a:pt x="508" y="285"/>
                  </a:lnTo>
                  <a:lnTo>
                    <a:pt x="507" y="285"/>
                  </a:lnTo>
                  <a:lnTo>
                    <a:pt x="508" y="286"/>
                  </a:lnTo>
                  <a:lnTo>
                    <a:pt x="510" y="287"/>
                  </a:lnTo>
                  <a:lnTo>
                    <a:pt x="512" y="288"/>
                  </a:lnTo>
                  <a:lnTo>
                    <a:pt x="514" y="288"/>
                  </a:lnTo>
                  <a:lnTo>
                    <a:pt x="515" y="288"/>
                  </a:lnTo>
                  <a:lnTo>
                    <a:pt x="514" y="291"/>
                  </a:lnTo>
                  <a:lnTo>
                    <a:pt x="516" y="292"/>
                  </a:lnTo>
                  <a:lnTo>
                    <a:pt x="519" y="293"/>
                  </a:lnTo>
                  <a:lnTo>
                    <a:pt x="520" y="293"/>
                  </a:lnTo>
                  <a:lnTo>
                    <a:pt x="521" y="293"/>
                  </a:lnTo>
                  <a:lnTo>
                    <a:pt x="523" y="293"/>
                  </a:lnTo>
                  <a:lnTo>
                    <a:pt x="525" y="293"/>
                  </a:lnTo>
                  <a:lnTo>
                    <a:pt x="526" y="293"/>
                  </a:lnTo>
                  <a:lnTo>
                    <a:pt x="525" y="297"/>
                  </a:lnTo>
                  <a:lnTo>
                    <a:pt x="524" y="298"/>
                  </a:lnTo>
                  <a:lnTo>
                    <a:pt x="523" y="299"/>
                  </a:lnTo>
                  <a:lnTo>
                    <a:pt x="521" y="300"/>
                  </a:lnTo>
                  <a:lnTo>
                    <a:pt x="520" y="300"/>
                  </a:lnTo>
                  <a:lnTo>
                    <a:pt x="518" y="302"/>
                  </a:lnTo>
                  <a:lnTo>
                    <a:pt x="520" y="302"/>
                  </a:lnTo>
                  <a:lnTo>
                    <a:pt x="523" y="302"/>
                  </a:lnTo>
                  <a:lnTo>
                    <a:pt x="524" y="304"/>
                  </a:lnTo>
                  <a:lnTo>
                    <a:pt x="526" y="305"/>
                  </a:lnTo>
                  <a:lnTo>
                    <a:pt x="525" y="308"/>
                  </a:lnTo>
                  <a:lnTo>
                    <a:pt x="524" y="309"/>
                  </a:lnTo>
                  <a:lnTo>
                    <a:pt x="523" y="310"/>
                  </a:lnTo>
                  <a:lnTo>
                    <a:pt x="523" y="311"/>
                  </a:lnTo>
                  <a:lnTo>
                    <a:pt x="523" y="312"/>
                  </a:lnTo>
                  <a:lnTo>
                    <a:pt x="523" y="314"/>
                  </a:lnTo>
                  <a:lnTo>
                    <a:pt x="523" y="315"/>
                  </a:lnTo>
                  <a:lnTo>
                    <a:pt x="525" y="316"/>
                  </a:lnTo>
                  <a:lnTo>
                    <a:pt x="525" y="317"/>
                  </a:lnTo>
                  <a:lnTo>
                    <a:pt x="525" y="320"/>
                  </a:lnTo>
                  <a:lnTo>
                    <a:pt x="524" y="320"/>
                  </a:lnTo>
                  <a:lnTo>
                    <a:pt x="524" y="321"/>
                  </a:lnTo>
                  <a:lnTo>
                    <a:pt x="521" y="321"/>
                  </a:lnTo>
                  <a:lnTo>
                    <a:pt x="519" y="321"/>
                  </a:lnTo>
                  <a:lnTo>
                    <a:pt x="521" y="324"/>
                  </a:lnTo>
                  <a:lnTo>
                    <a:pt x="523" y="326"/>
                  </a:lnTo>
                  <a:lnTo>
                    <a:pt x="524" y="327"/>
                  </a:lnTo>
                  <a:lnTo>
                    <a:pt x="524" y="326"/>
                  </a:lnTo>
                  <a:lnTo>
                    <a:pt x="525" y="326"/>
                  </a:lnTo>
                  <a:lnTo>
                    <a:pt x="526" y="326"/>
                  </a:lnTo>
                  <a:lnTo>
                    <a:pt x="526" y="327"/>
                  </a:lnTo>
                  <a:lnTo>
                    <a:pt x="527" y="327"/>
                  </a:lnTo>
                  <a:lnTo>
                    <a:pt x="527" y="328"/>
                  </a:lnTo>
                  <a:lnTo>
                    <a:pt x="526" y="329"/>
                  </a:lnTo>
                  <a:lnTo>
                    <a:pt x="525" y="330"/>
                  </a:lnTo>
                  <a:lnTo>
                    <a:pt x="523" y="330"/>
                  </a:lnTo>
                  <a:lnTo>
                    <a:pt x="520" y="330"/>
                  </a:lnTo>
                  <a:lnTo>
                    <a:pt x="520" y="329"/>
                  </a:lnTo>
                  <a:lnTo>
                    <a:pt x="518" y="329"/>
                  </a:lnTo>
                  <a:lnTo>
                    <a:pt x="516" y="328"/>
                  </a:lnTo>
                  <a:lnTo>
                    <a:pt x="512" y="327"/>
                  </a:lnTo>
                  <a:lnTo>
                    <a:pt x="510" y="324"/>
                  </a:lnTo>
                  <a:lnTo>
                    <a:pt x="509" y="323"/>
                  </a:lnTo>
                  <a:lnTo>
                    <a:pt x="508" y="321"/>
                  </a:lnTo>
                  <a:lnTo>
                    <a:pt x="507" y="318"/>
                  </a:lnTo>
                  <a:lnTo>
                    <a:pt x="506" y="317"/>
                  </a:lnTo>
                  <a:lnTo>
                    <a:pt x="506" y="315"/>
                  </a:lnTo>
                  <a:lnTo>
                    <a:pt x="504" y="315"/>
                  </a:lnTo>
                  <a:lnTo>
                    <a:pt x="504" y="312"/>
                  </a:lnTo>
                  <a:lnTo>
                    <a:pt x="502" y="311"/>
                  </a:lnTo>
                  <a:lnTo>
                    <a:pt x="501" y="311"/>
                  </a:lnTo>
                  <a:lnTo>
                    <a:pt x="500" y="312"/>
                  </a:lnTo>
                  <a:lnTo>
                    <a:pt x="498" y="312"/>
                  </a:lnTo>
                  <a:lnTo>
                    <a:pt x="497" y="311"/>
                  </a:lnTo>
                  <a:lnTo>
                    <a:pt x="496" y="311"/>
                  </a:lnTo>
                  <a:lnTo>
                    <a:pt x="495" y="311"/>
                  </a:lnTo>
                  <a:lnTo>
                    <a:pt x="494" y="312"/>
                  </a:lnTo>
                  <a:lnTo>
                    <a:pt x="492" y="314"/>
                  </a:lnTo>
                  <a:lnTo>
                    <a:pt x="490" y="312"/>
                  </a:lnTo>
                  <a:lnTo>
                    <a:pt x="490" y="310"/>
                  </a:lnTo>
                  <a:lnTo>
                    <a:pt x="490" y="309"/>
                  </a:lnTo>
                  <a:lnTo>
                    <a:pt x="491" y="308"/>
                  </a:lnTo>
                  <a:lnTo>
                    <a:pt x="492" y="308"/>
                  </a:lnTo>
                  <a:lnTo>
                    <a:pt x="494" y="308"/>
                  </a:lnTo>
                  <a:lnTo>
                    <a:pt x="494" y="306"/>
                  </a:lnTo>
                  <a:lnTo>
                    <a:pt x="492" y="305"/>
                  </a:lnTo>
                  <a:lnTo>
                    <a:pt x="494" y="304"/>
                  </a:lnTo>
                  <a:lnTo>
                    <a:pt x="495" y="304"/>
                  </a:lnTo>
                  <a:lnTo>
                    <a:pt x="496" y="304"/>
                  </a:lnTo>
                  <a:lnTo>
                    <a:pt x="497" y="304"/>
                  </a:lnTo>
                  <a:lnTo>
                    <a:pt x="497" y="302"/>
                  </a:lnTo>
                  <a:lnTo>
                    <a:pt x="495" y="303"/>
                  </a:lnTo>
                  <a:lnTo>
                    <a:pt x="495" y="302"/>
                  </a:lnTo>
                  <a:lnTo>
                    <a:pt x="494" y="302"/>
                  </a:lnTo>
                  <a:lnTo>
                    <a:pt x="491" y="302"/>
                  </a:lnTo>
                  <a:lnTo>
                    <a:pt x="490" y="302"/>
                  </a:lnTo>
                  <a:lnTo>
                    <a:pt x="488" y="300"/>
                  </a:lnTo>
                  <a:lnTo>
                    <a:pt x="486" y="299"/>
                  </a:lnTo>
                  <a:lnTo>
                    <a:pt x="484" y="299"/>
                  </a:lnTo>
                  <a:lnTo>
                    <a:pt x="486" y="298"/>
                  </a:lnTo>
                  <a:lnTo>
                    <a:pt x="484" y="298"/>
                  </a:lnTo>
                  <a:lnTo>
                    <a:pt x="484" y="296"/>
                  </a:lnTo>
                  <a:lnTo>
                    <a:pt x="484" y="294"/>
                  </a:lnTo>
                  <a:lnTo>
                    <a:pt x="483" y="294"/>
                  </a:lnTo>
                  <a:lnTo>
                    <a:pt x="483" y="296"/>
                  </a:lnTo>
                  <a:lnTo>
                    <a:pt x="480" y="296"/>
                  </a:lnTo>
                  <a:lnTo>
                    <a:pt x="479" y="296"/>
                  </a:lnTo>
                  <a:lnTo>
                    <a:pt x="478" y="297"/>
                  </a:lnTo>
                  <a:lnTo>
                    <a:pt x="477" y="296"/>
                  </a:lnTo>
                  <a:lnTo>
                    <a:pt x="476" y="294"/>
                  </a:lnTo>
                  <a:lnTo>
                    <a:pt x="476" y="293"/>
                  </a:lnTo>
                  <a:lnTo>
                    <a:pt x="473" y="293"/>
                  </a:lnTo>
                  <a:lnTo>
                    <a:pt x="472" y="292"/>
                  </a:lnTo>
                  <a:lnTo>
                    <a:pt x="473" y="291"/>
                  </a:lnTo>
                  <a:lnTo>
                    <a:pt x="472" y="291"/>
                  </a:lnTo>
                  <a:lnTo>
                    <a:pt x="471" y="291"/>
                  </a:lnTo>
                  <a:lnTo>
                    <a:pt x="470" y="290"/>
                  </a:lnTo>
                  <a:lnTo>
                    <a:pt x="468" y="290"/>
                  </a:lnTo>
                  <a:lnTo>
                    <a:pt x="467" y="290"/>
                  </a:lnTo>
                  <a:lnTo>
                    <a:pt x="466" y="288"/>
                  </a:lnTo>
                  <a:lnTo>
                    <a:pt x="465" y="290"/>
                  </a:lnTo>
                  <a:lnTo>
                    <a:pt x="464" y="287"/>
                  </a:lnTo>
                  <a:lnTo>
                    <a:pt x="464" y="286"/>
                  </a:lnTo>
                  <a:lnTo>
                    <a:pt x="462" y="286"/>
                  </a:lnTo>
                  <a:lnTo>
                    <a:pt x="462" y="285"/>
                  </a:lnTo>
                  <a:lnTo>
                    <a:pt x="462" y="282"/>
                  </a:lnTo>
                  <a:lnTo>
                    <a:pt x="464" y="282"/>
                  </a:lnTo>
                  <a:lnTo>
                    <a:pt x="462" y="282"/>
                  </a:lnTo>
                  <a:lnTo>
                    <a:pt x="462" y="281"/>
                  </a:lnTo>
                  <a:lnTo>
                    <a:pt x="461" y="280"/>
                  </a:lnTo>
                  <a:lnTo>
                    <a:pt x="460" y="279"/>
                  </a:lnTo>
                  <a:lnTo>
                    <a:pt x="459" y="278"/>
                  </a:lnTo>
                  <a:lnTo>
                    <a:pt x="459" y="279"/>
                  </a:lnTo>
                  <a:lnTo>
                    <a:pt x="459" y="280"/>
                  </a:lnTo>
                  <a:lnTo>
                    <a:pt x="459" y="281"/>
                  </a:lnTo>
                  <a:lnTo>
                    <a:pt x="457" y="282"/>
                  </a:lnTo>
                  <a:lnTo>
                    <a:pt x="455" y="282"/>
                  </a:lnTo>
                  <a:lnTo>
                    <a:pt x="455" y="284"/>
                  </a:lnTo>
                  <a:lnTo>
                    <a:pt x="456" y="285"/>
                  </a:lnTo>
                  <a:lnTo>
                    <a:pt x="457" y="285"/>
                  </a:lnTo>
                  <a:lnTo>
                    <a:pt x="459" y="285"/>
                  </a:lnTo>
                  <a:lnTo>
                    <a:pt x="460" y="285"/>
                  </a:lnTo>
                  <a:lnTo>
                    <a:pt x="460" y="287"/>
                  </a:lnTo>
                  <a:lnTo>
                    <a:pt x="461" y="287"/>
                  </a:lnTo>
                  <a:lnTo>
                    <a:pt x="461" y="288"/>
                  </a:lnTo>
                  <a:lnTo>
                    <a:pt x="461" y="290"/>
                  </a:lnTo>
                  <a:lnTo>
                    <a:pt x="461" y="291"/>
                  </a:lnTo>
                  <a:lnTo>
                    <a:pt x="462" y="292"/>
                  </a:lnTo>
                  <a:lnTo>
                    <a:pt x="462" y="293"/>
                  </a:lnTo>
                  <a:lnTo>
                    <a:pt x="460" y="292"/>
                  </a:lnTo>
                  <a:lnTo>
                    <a:pt x="460" y="293"/>
                  </a:lnTo>
                  <a:lnTo>
                    <a:pt x="459" y="292"/>
                  </a:lnTo>
                  <a:lnTo>
                    <a:pt x="457" y="291"/>
                  </a:lnTo>
                  <a:lnTo>
                    <a:pt x="456" y="291"/>
                  </a:lnTo>
                  <a:lnTo>
                    <a:pt x="456" y="290"/>
                  </a:lnTo>
                  <a:lnTo>
                    <a:pt x="455" y="290"/>
                  </a:lnTo>
                  <a:lnTo>
                    <a:pt x="455" y="288"/>
                  </a:lnTo>
                  <a:lnTo>
                    <a:pt x="451" y="288"/>
                  </a:lnTo>
                  <a:lnTo>
                    <a:pt x="450" y="287"/>
                  </a:lnTo>
                  <a:lnTo>
                    <a:pt x="449" y="287"/>
                  </a:lnTo>
                  <a:lnTo>
                    <a:pt x="447" y="287"/>
                  </a:lnTo>
                  <a:lnTo>
                    <a:pt x="445" y="287"/>
                  </a:lnTo>
                  <a:lnTo>
                    <a:pt x="444" y="286"/>
                  </a:lnTo>
                  <a:lnTo>
                    <a:pt x="441" y="286"/>
                  </a:lnTo>
                  <a:lnTo>
                    <a:pt x="438" y="285"/>
                  </a:lnTo>
                  <a:lnTo>
                    <a:pt x="437" y="285"/>
                  </a:lnTo>
                  <a:lnTo>
                    <a:pt x="435" y="285"/>
                  </a:lnTo>
                  <a:lnTo>
                    <a:pt x="436" y="284"/>
                  </a:lnTo>
                  <a:lnTo>
                    <a:pt x="433" y="282"/>
                  </a:lnTo>
                  <a:lnTo>
                    <a:pt x="432" y="282"/>
                  </a:lnTo>
                  <a:lnTo>
                    <a:pt x="429" y="279"/>
                  </a:lnTo>
                  <a:lnTo>
                    <a:pt x="430" y="276"/>
                  </a:lnTo>
                  <a:lnTo>
                    <a:pt x="431" y="274"/>
                  </a:lnTo>
                  <a:lnTo>
                    <a:pt x="431" y="272"/>
                  </a:lnTo>
                  <a:lnTo>
                    <a:pt x="431" y="273"/>
                  </a:lnTo>
                  <a:lnTo>
                    <a:pt x="430" y="273"/>
                  </a:lnTo>
                  <a:lnTo>
                    <a:pt x="430" y="274"/>
                  </a:lnTo>
                  <a:lnTo>
                    <a:pt x="430" y="275"/>
                  </a:lnTo>
                  <a:lnTo>
                    <a:pt x="429" y="276"/>
                  </a:lnTo>
                  <a:lnTo>
                    <a:pt x="426" y="275"/>
                  </a:lnTo>
                  <a:lnTo>
                    <a:pt x="425" y="275"/>
                  </a:lnTo>
                  <a:lnTo>
                    <a:pt x="424" y="274"/>
                  </a:lnTo>
                  <a:lnTo>
                    <a:pt x="421" y="275"/>
                  </a:lnTo>
                  <a:lnTo>
                    <a:pt x="420" y="278"/>
                  </a:lnTo>
                  <a:lnTo>
                    <a:pt x="418" y="279"/>
                  </a:lnTo>
                  <a:lnTo>
                    <a:pt x="418" y="278"/>
                  </a:lnTo>
                  <a:lnTo>
                    <a:pt x="417" y="278"/>
                  </a:lnTo>
                  <a:lnTo>
                    <a:pt x="415" y="278"/>
                  </a:lnTo>
                  <a:lnTo>
                    <a:pt x="414" y="279"/>
                  </a:lnTo>
                  <a:lnTo>
                    <a:pt x="414" y="282"/>
                  </a:lnTo>
                  <a:lnTo>
                    <a:pt x="415" y="281"/>
                  </a:lnTo>
                  <a:lnTo>
                    <a:pt x="417" y="281"/>
                  </a:lnTo>
                  <a:lnTo>
                    <a:pt x="418" y="282"/>
                  </a:lnTo>
                  <a:lnTo>
                    <a:pt x="419" y="284"/>
                  </a:lnTo>
                  <a:lnTo>
                    <a:pt x="419" y="281"/>
                  </a:lnTo>
                  <a:lnTo>
                    <a:pt x="420" y="281"/>
                  </a:lnTo>
                  <a:lnTo>
                    <a:pt x="423" y="281"/>
                  </a:lnTo>
                  <a:lnTo>
                    <a:pt x="424" y="281"/>
                  </a:lnTo>
                  <a:lnTo>
                    <a:pt x="423" y="282"/>
                  </a:lnTo>
                  <a:lnTo>
                    <a:pt x="423" y="284"/>
                  </a:lnTo>
                  <a:lnTo>
                    <a:pt x="423" y="285"/>
                  </a:lnTo>
                  <a:lnTo>
                    <a:pt x="423" y="287"/>
                  </a:lnTo>
                  <a:lnTo>
                    <a:pt x="424" y="287"/>
                  </a:lnTo>
                  <a:lnTo>
                    <a:pt x="421" y="287"/>
                  </a:lnTo>
                  <a:lnTo>
                    <a:pt x="420" y="287"/>
                  </a:lnTo>
                  <a:lnTo>
                    <a:pt x="419" y="286"/>
                  </a:lnTo>
                  <a:lnTo>
                    <a:pt x="419" y="285"/>
                  </a:lnTo>
                  <a:lnTo>
                    <a:pt x="418" y="285"/>
                  </a:lnTo>
                  <a:lnTo>
                    <a:pt x="418" y="287"/>
                  </a:lnTo>
                  <a:lnTo>
                    <a:pt x="419" y="287"/>
                  </a:lnTo>
                  <a:lnTo>
                    <a:pt x="421" y="288"/>
                  </a:lnTo>
                  <a:lnTo>
                    <a:pt x="421" y="290"/>
                  </a:lnTo>
                  <a:lnTo>
                    <a:pt x="425" y="291"/>
                  </a:lnTo>
                  <a:lnTo>
                    <a:pt x="425" y="290"/>
                  </a:lnTo>
                  <a:lnTo>
                    <a:pt x="426" y="290"/>
                  </a:lnTo>
                  <a:lnTo>
                    <a:pt x="429" y="288"/>
                  </a:lnTo>
                  <a:lnTo>
                    <a:pt x="429" y="287"/>
                  </a:lnTo>
                  <a:lnTo>
                    <a:pt x="430" y="287"/>
                  </a:lnTo>
                  <a:lnTo>
                    <a:pt x="431" y="288"/>
                  </a:lnTo>
                  <a:lnTo>
                    <a:pt x="432" y="290"/>
                  </a:lnTo>
                  <a:lnTo>
                    <a:pt x="431" y="290"/>
                  </a:lnTo>
                  <a:lnTo>
                    <a:pt x="432" y="291"/>
                  </a:lnTo>
                  <a:lnTo>
                    <a:pt x="431" y="292"/>
                  </a:lnTo>
                  <a:lnTo>
                    <a:pt x="433" y="293"/>
                  </a:lnTo>
                  <a:lnTo>
                    <a:pt x="435" y="294"/>
                  </a:lnTo>
                  <a:lnTo>
                    <a:pt x="435" y="296"/>
                  </a:lnTo>
                  <a:lnTo>
                    <a:pt x="433" y="296"/>
                  </a:lnTo>
                  <a:lnTo>
                    <a:pt x="435" y="296"/>
                  </a:lnTo>
                  <a:lnTo>
                    <a:pt x="433" y="298"/>
                  </a:lnTo>
                  <a:lnTo>
                    <a:pt x="435" y="299"/>
                  </a:lnTo>
                  <a:lnTo>
                    <a:pt x="436" y="298"/>
                  </a:lnTo>
                  <a:lnTo>
                    <a:pt x="437" y="299"/>
                  </a:lnTo>
                  <a:lnTo>
                    <a:pt x="438" y="300"/>
                  </a:lnTo>
                  <a:lnTo>
                    <a:pt x="437" y="302"/>
                  </a:lnTo>
                  <a:lnTo>
                    <a:pt x="439" y="302"/>
                  </a:lnTo>
                  <a:lnTo>
                    <a:pt x="443" y="302"/>
                  </a:lnTo>
                  <a:lnTo>
                    <a:pt x="444" y="303"/>
                  </a:lnTo>
                  <a:lnTo>
                    <a:pt x="444" y="304"/>
                  </a:lnTo>
                  <a:lnTo>
                    <a:pt x="445" y="304"/>
                  </a:lnTo>
                  <a:lnTo>
                    <a:pt x="449" y="305"/>
                  </a:lnTo>
                  <a:lnTo>
                    <a:pt x="451" y="304"/>
                  </a:lnTo>
                  <a:lnTo>
                    <a:pt x="453" y="303"/>
                  </a:lnTo>
                  <a:lnTo>
                    <a:pt x="454" y="303"/>
                  </a:lnTo>
                  <a:lnTo>
                    <a:pt x="455" y="304"/>
                  </a:lnTo>
                  <a:lnTo>
                    <a:pt x="456" y="304"/>
                  </a:lnTo>
                  <a:lnTo>
                    <a:pt x="457" y="304"/>
                  </a:lnTo>
                  <a:lnTo>
                    <a:pt x="460" y="304"/>
                  </a:lnTo>
                  <a:lnTo>
                    <a:pt x="459" y="303"/>
                  </a:lnTo>
                  <a:lnTo>
                    <a:pt x="460" y="302"/>
                  </a:lnTo>
                  <a:lnTo>
                    <a:pt x="460" y="303"/>
                  </a:lnTo>
                  <a:lnTo>
                    <a:pt x="464" y="303"/>
                  </a:lnTo>
                  <a:lnTo>
                    <a:pt x="462" y="303"/>
                  </a:lnTo>
                  <a:lnTo>
                    <a:pt x="465" y="304"/>
                  </a:lnTo>
                  <a:lnTo>
                    <a:pt x="467" y="305"/>
                  </a:lnTo>
                  <a:lnTo>
                    <a:pt x="468" y="305"/>
                  </a:lnTo>
                  <a:lnTo>
                    <a:pt x="468" y="306"/>
                  </a:lnTo>
                  <a:lnTo>
                    <a:pt x="470" y="306"/>
                  </a:lnTo>
                  <a:lnTo>
                    <a:pt x="472" y="308"/>
                  </a:lnTo>
                  <a:lnTo>
                    <a:pt x="472" y="309"/>
                  </a:lnTo>
                  <a:lnTo>
                    <a:pt x="471" y="309"/>
                  </a:lnTo>
                  <a:lnTo>
                    <a:pt x="471" y="310"/>
                  </a:lnTo>
                  <a:lnTo>
                    <a:pt x="471" y="311"/>
                  </a:lnTo>
                  <a:lnTo>
                    <a:pt x="471" y="315"/>
                  </a:lnTo>
                  <a:lnTo>
                    <a:pt x="468" y="315"/>
                  </a:lnTo>
                  <a:lnTo>
                    <a:pt x="467" y="316"/>
                  </a:lnTo>
                  <a:lnTo>
                    <a:pt x="467" y="317"/>
                  </a:lnTo>
                  <a:lnTo>
                    <a:pt x="470" y="317"/>
                  </a:lnTo>
                  <a:lnTo>
                    <a:pt x="470" y="316"/>
                  </a:lnTo>
                  <a:lnTo>
                    <a:pt x="471" y="315"/>
                  </a:lnTo>
                  <a:lnTo>
                    <a:pt x="472" y="314"/>
                  </a:lnTo>
                  <a:lnTo>
                    <a:pt x="473" y="314"/>
                  </a:lnTo>
                  <a:lnTo>
                    <a:pt x="474" y="314"/>
                  </a:lnTo>
                  <a:lnTo>
                    <a:pt x="476" y="314"/>
                  </a:lnTo>
                  <a:lnTo>
                    <a:pt x="476" y="312"/>
                  </a:lnTo>
                  <a:lnTo>
                    <a:pt x="477" y="315"/>
                  </a:lnTo>
                  <a:lnTo>
                    <a:pt x="477" y="314"/>
                  </a:lnTo>
                  <a:lnTo>
                    <a:pt x="477" y="315"/>
                  </a:lnTo>
                  <a:lnTo>
                    <a:pt x="478" y="315"/>
                  </a:lnTo>
                  <a:lnTo>
                    <a:pt x="478" y="316"/>
                  </a:lnTo>
                  <a:lnTo>
                    <a:pt x="479" y="317"/>
                  </a:lnTo>
                  <a:lnTo>
                    <a:pt x="479" y="318"/>
                  </a:lnTo>
                  <a:lnTo>
                    <a:pt x="480" y="320"/>
                  </a:lnTo>
                  <a:lnTo>
                    <a:pt x="482" y="320"/>
                  </a:lnTo>
                  <a:lnTo>
                    <a:pt x="484" y="322"/>
                  </a:lnTo>
                  <a:lnTo>
                    <a:pt x="484" y="323"/>
                  </a:lnTo>
                  <a:lnTo>
                    <a:pt x="485" y="323"/>
                  </a:lnTo>
                  <a:lnTo>
                    <a:pt x="486" y="323"/>
                  </a:lnTo>
                  <a:lnTo>
                    <a:pt x="488" y="322"/>
                  </a:lnTo>
                  <a:lnTo>
                    <a:pt x="490" y="322"/>
                  </a:lnTo>
                  <a:lnTo>
                    <a:pt x="489" y="323"/>
                  </a:lnTo>
                  <a:lnTo>
                    <a:pt x="490" y="323"/>
                  </a:lnTo>
                  <a:lnTo>
                    <a:pt x="491" y="323"/>
                  </a:lnTo>
                  <a:lnTo>
                    <a:pt x="492" y="323"/>
                  </a:lnTo>
                  <a:lnTo>
                    <a:pt x="492" y="324"/>
                  </a:lnTo>
                  <a:lnTo>
                    <a:pt x="492" y="328"/>
                  </a:lnTo>
                  <a:lnTo>
                    <a:pt x="492" y="330"/>
                  </a:lnTo>
                  <a:lnTo>
                    <a:pt x="494" y="330"/>
                  </a:lnTo>
                  <a:lnTo>
                    <a:pt x="494" y="333"/>
                  </a:lnTo>
                  <a:lnTo>
                    <a:pt x="494" y="335"/>
                  </a:lnTo>
                  <a:lnTo>
                    <a:pt x="492" y="336"/>
                  </a:lnTo>
                  <a:lnTo>
                    <a:pt x="492" y="339"/>
                  </a:lnTo>
                  <a:lnTo>
                    <a:pt x="494" y="339"/>
                  </a:lnTo>
                  <a:lnTo>
                    <a:pt x="495" y="340"/>
                  </a:lnTo>
                  <a:lnTo>
                    <a:pt x="496" y="340"/>
                  </a:lnTo>
                  <a:lnTo>
                    <a:pt x="497" y="340"/>
                  </a:lnTo>
                  <a:lnTo>
                    <a:pt x="498" y="339"/>
                  </a:lnTo>
                  <a:lnTo>
                    <a:pt x="498" y="340"/>
                  </a:lnTo>
                  <a:lnTo>
                    <a:pt x="500" y="340"/>
                  </a:lnTo>
                  <a:lnTo>
                    <a:pt x="503" y="341"/>
                  </a:lnTo>
                  <a:lnTo>
                    <a:pt x="503" y="342"/>
                  </a:lnTo>
                  <a:lnTo>
                    <a:pt x="504" y="344"/>
                  </a:lnTo>
                  <a:lnTo>
                    <a:pt x="508" y="344"/>
                  </a:lnTo>
                  <a:lnTo>
                    <a:pt x="509" y="344"/>
                  </a:lnTo>
                  <a:lnTo>
                    <a:pt x="510" y="345"/>
                  </a:lnTo>
                  <a:lnTo>
                    <a:pt x="510" y="348"/>
                  </a:lnTo>
                  <a:lnTo>
                    <a:pt x="509" y="350"/>
                  </a:lnTo>
                  <a:lnTo>
                    <a:pt x="512" y="351"/>
                  </a:lnTo>
                  <a:lnTo>
                    <a:pt x="512" y="352"/>
                  </a:lnTo>
                  <a:lnTo>
                    <a:pt x="513" y="352"/>
                  </a:lnTo>
                  <a:lnTo>
                    <a:pt x="514" y="354"/>
                  </a:lnTo>
                  <a:lnTo>
                    <a:pt x="518" y="354"/>
                  </a:lnTo>
                  <a:lnTo>
                    <a:pt x="519" y="357"/>
                  </a:lnTo>
                  <a:lnTo>
                    <a:pt x="519" y="358"/>
                  </a:lnTo>
                  <a:lnTo>
                    <a:pt x="520" y="358"/>
                  </a:lnTo>
                  <a:lnTo>
                    <a:pt x="521" y="358"/>
                  </a:lnTo>
                  <a:lnTo>
                    <a:pt x="523" y="358"/>
                  </a:lnTo>
                  <a:lnTo>
                    <a:pt x="521" y="359"/>
                  </a:lnTo>
                  <a:lnTo>
                    <a:pt x="521" y="360"/>
                  </a:lnTo>
                  <a:lnTo>
                    <a:pt x="521" y="362"/>
                  </a:lnTo>
                  <a:lnTo>
                    <a:pt x="521" y="364"/>
                  </a:lnTo>
                  <a:lnTo>
                    <a:pt x="523" y="365"/>
                  </a:lnTo>
                  <a:lnTo>
                    <a:pt x="524" y="365"/>
                  </a:lnTo>
                  <a:lnTo>
                    <a:pt x="521" y="366"/>
                  </a:lnTo>
                  <a:lnTo>
                    <a:pt x="523" y="368"/>
                  </a:lnTo>
                  <a:lnTo>
                    <a:pt x="524" y="369"/>
                  </a:lnTo>
                  <a:lnTo>
                    <a:pt x="525" y="370"/>
                  </a:lnTo>
                  <a:lnTo>
                    <a:pt x="526" y="371"/>
                  </a:lnTo>
                  <a:lnTo>
                    <a:pt x="525" y="373"/>
                  </a:lnTo>
                  <a:lnTo>
                    <a:pt x="524" y="375"/>
                  </a:lnTo>
                  <a:lnTo>
                    <a:pt x="525" y="377"/>
                  </a:lnTo>
                  <a:lnTo>
                    <a:pt x="525" y="376"/>
                  </a:lnTo>
                  <a:lnTo>
                    <a:pt x="527" y="376"/>
                  </a:lnTo>
                  <a:lnTo>
                    <a:pt x="530" y="380"/>
                  </a:lnTo>
                  <a:lnTo>
                    <a:pt x="530" y="381"/>
                  </a:lnTo>
                  <a:lnTo>
                    <a:pt x="532" y="381"/>
                  </a:lnTo>
                  <a:lnTo>
                    <a:pt x="533" y="381"/>
                  </a:lnTo>
                  <a:lnTo>
                    <a:pt x="533" y="382"/>
                  </a:lnTo>
                  <a:lnTo>
                    <a:pt x="536" y="382"/>
                  </a:lnTo>
                  <a:lnTo>
                    <a:pt x="535" y="385"/>
                  </a:lnTo>
                  <a:lnTo>
                    <a:pt x="533" y="386"/>
                  </a:lnTo>
                  <a:lnTo>
                    <a:pt x="532" y="387"/>
                  </a:lnTo>
                  <a:lnTo>
                    <a:pt x="535" y="388"/>
                  </a:lnTo>
                  <a:lnTo>
                    <a:pt x="535" y="387"/>
                  </a:lnTo>
                  <a:lnTo>
                    <a:pt x="536" y="387"/>
                  </a:lnTo>
                  <a:lnTo>
                    <a:pt x="536" y="388"/>
                  </a:lnTo>
                  <a:lnTo>
                    <a:pt x="537" y="388"/>
                  </a:lnTo>
                  <a:lnTo>
                    <a:pt x="537" y="389"/>
                  </a:lnTo>
                  <a:lnTo>
                    <a:pt x="537" y="391"/>
                  </a:lnTo>
                  <a:lnTo>
                    <a:pt x="538" y="391"/>
                  </a:lnTo>
                  <a:lnTo>
                    <a:pt x="539" y="393"/>
                  </a:lnTo>
                  <a:lnTo>
                    <a:pt x="539" y="392"/>
                  </a:lnTo>
                  <a:lnTo>
                    <a:pt x="542" y="394"/>
                  </a:lnTo>
                  <a:lnTo>
                    <a:pt x="542" y="395"/>
                  </a:lnTo>
                  <a:lnTo>
                    <a:pt x="541" y="397"/>
                  </a:lnTo>
                  <a:lnTo>
                    <a:pt x="543" y="398"/>
                  </a:lnTo>
                  <a:lnTo>
                    <a:pt x="544" y="399"/>
                  </a:lnTo>
                  <a:lnTo>
                    <a:pt x="545" y="400"/>
                  </a:lnTo>
                  <a:lnTo>
                    <a:pt x="547" y="399"/>
                  </a:lnTo>
                  <a:lnTo>
                    <a:pt x="548" y="398"/>
                  </a:lnTo>
                  <a:lnTo>
                    <a:pt x="549" y="398"/>
                  </a:lnTo>
                  <a:lnTo>
                    <a:pt x="550" y="399"/>
                  </a:lnTo>
                  <a:lnTo>
                    <a:pt x="550" y="400"/>
                  </a:lnTo>
                  <a:lnTo>
                    <a:pt x="551" y="399"/>
                  </a:lnTo>
                  <a:lnTo>
                    <a:pt x="554" y="398"/>
                  </a:lnTo>
                  <a:lnTo>
                    <a:pt x="556" y="399"/>
                  </a:lnTo>
                  <a:lnTo>
                    <a:pt x="555" y="400"/>
                  </a:lnTo>
                  <a:lnTo>
                    <a:pt x="555" y="401"/>
                  </a:lnTo>
                  <a:lnTo>
                    <a:pt x="554" y="403"/>
                  </a:lnTo>
                  <a:lnTo>
                    <a:pt x="553" y="401"/>
                  </a:lnTo>
                  <a:lnTo>
                    <a:pt x="553" y="403"/>
                  </a:lnTo>
                  <a:lnTo>
                    <a:pt x="550" y="404"/>
                  </a:lnTo>
                  <a:lnTo>
                    <a:pt x="549" y="404"/>
                  </a:lnTo>
                  <a:lnTo>
                    <a:pt x="548" y="405"/>
                  </a:lnTo>
                  <a:lnTo>
                    <a:pt x="547" y="404"/>
                  </a:lnTo>
                  <a:lnTo>
                    <a:pt x="547" y="405"/>
                  </a:lnTo>
                  <a:lnTo>
                    <a:pt x="545" y="406"/>
                  </a:lnTo>
                  <a:lnTo>
                    <a:pt x="547" y="407"/>
                  </a:lnTo>
                  <a:lnTo>
                    <a:pt x="544" y="410"/>
                  </a:lnTo>
                  <a:lnTo>
                    <a:pt x="544" y="411"/>
                  </a:lnTo>
                  <a:lnTo>
                    <a:pt x="543" y="412"/>
                  </a:lnTo>
                  <a:lnTo>
                    <a:pt x="544" y="413"/>
                  </a:lnTo>
                  <a:lnTo>
                    <a:pt x="544" y="415"/>
                  </a:lnTo>
                  <a:lnTo>
                    <a:pt x="543" y="416"/>
                  </a:lnTo>
                  <a:lnTo>
                    <a:pt x="545" y="417"/>
                  </a:lnTo>
                  <a:lnTo>
                    <a:pt x="547" y="418"/>
                  </a:lnTo>
                  <a:lnTo>
                    <a:pt x="548" y="418"/>
                  </a:lnTo>
                  <a:lnTo>
                    <a:pt x="549" y="419"/>
                  </a:lnTo>
                  <a:lnTo>
                    <a:pt x="549" y="421"/>
                  </a:lnTo>
                  <a:lnTo>
                    <a:pt x="547" y="421"/>
                  </a:lnTo>
                  <a:lnTo>
                    <a:pt x="547" y="422"/>
                  </a:lnTo>
                  <a:lnTo>
                    <a:pt x="545" y="422"/>
                  </a:lnTo>
                  <a:lnTo>
                    <a:pt x="544" y="422"/>
                  </a:lnTo>
                  <a:lnTo>
                    <a:pt x="544" y="421"/>
                  </a:lnTo>
                  <a:lnTo>
                    <a:pt x="542" y="421"/>
                  </a:lnTo>
                  <a:lnTo>
                    <a:pt x="541" y="419"/>
                  </a:lnTo>
                  <a:lnTo>
                    <a:pt x="541" y="418"/>
                  </a:lnTo>
                  <a:lnTo>
                    <a:pt x="539" y="418"/>
                  </a:lnTo>
                  <a:lnTo>
                    <a:pt x="538" y="416"/>
                  </a:lnTo>
                  <a:lnTo>
                    <a:pt x="536" y="416"/>
                  </a:lnTo>
                  <a:lnTo>
                    <a:pt x="535" y="413"/>
                  </a:lnTo>
                  <a:lnTo>
                    <a:pt x="535" y="412"/>
                  </a:lnTo>
                  <a:lnTo>
                    <a:pt x="535" y="411"/>
                  </a:lnTo>
                  <a:lnTo>
                    <a:pt x="533" y="411"/>
                  </a:lnTo>
                  <a:lnTo>
                    <a:pt x="532" y="411"/>
                  </a:lnTo>
                  <a:lnTo>
                    <a:pt x="530" y="411"/>
                  </a:lnTo>
                  <a:lnTo>
                    <a:pt x="527" y="411"/>
                  </a:lnTo>
                  <a:lnTo>
                    <a:pt x="523" y="411"/>
                  </a:lnTo>
                  <a:lnTo>
                    <a:pt x="524" y="410"/>
                  </a:lnTo>
                  <a:lnTo>
                    <a:pt x="524" y="407"/>
                  </a:lnTo>
                  <a:lnTo>
                    <a:pt x="524" y="405"/>
                  </a:lnTo>
                  <a:lnTo>
                    <a:pt x="523" y="407"/>
                  </a:lnTo>
                  <a:lnTo>
                    <a:pt x="523" y="409"/>
                  </a:lnTo>
                  <a:lnTo>
                    <a:pt x="520" y="410"/>
                  </a:lnTo>
                  <a:lnTo>
                    <a:pt x="518" y="411"/>
                  </a:lnTo>
                  <a:lnTo>
                    <a:pt x="516" y="411"/>
                  </a:lnTo>
                  <a:lnTo>
                    <a:pt x="516" y="413"/>
                  </a:lnTo>
                  <a:lnTo>
                    <a:pt x="518" y="413"/>
                  </a:lnTo>
                  <a:lnTo>
                    <a:pt x="518" y="416"/>
                  </a:lnTo>
                  <a:lnTo>
                    <a:pt x="518" y="417"/>
                  </a:lnTo>
                  <a:lnTo>
                    <a:pt x="516" y="418"/>
                  </a:lnTo>
                  <a:lnTo>
                    <a:pt x="516" y="417"/>
                  </a:lnTo>
                  <a:lnTo>
                    <a:pt x="515" y="418"/>
                  </a:lnTo>
                  <a:lnTo>
                    <a:pt x="514" y="418"/>
                  </a:lnTo>
                  <a:lnTo>
                    <a:pt x="513" y="418"/>
                  </a:lnTo>
                  <a:lnTo>
                    <a:pt x="512" y="419"/>
                  </a:lnTo>
                  <a:lnTo>
                    <a:pt x="510" y="419"/>
                  </a:lnTo>
                  <a:lnTo>
                    <a:pt x="512" y="418"/>
                  </a:lnTo>
                  <a:lnTo>
                    <a:pt x="512" y="416"/>
                  </a:lnTo>
                  <a:lnTo>
                    <a:pt x="510" y="416"/>
                  </a:lnTo>
                  <a:lnTo>
                    <a:pt x="510" y="415"/>
                  </a:lnTo>
                  <a:lnTo>
                    <a:pt x="509" y="413"/>
                  </a:lnTo>
                  <a:lnTo>
                    <a:pt x="509" y="412"/>
                  </a:lnTo>
                  <a:lnTo>
                    <a:pt x="508" y="411"/>
                  </a:lnTo>
                  <a:lnTo>
                    <a:pt x="507" y="411"/>
                  </a:lnTo>
                  <a:lnTo>
                    <a:pt x="506" y="411"/>
                  </a:lnTo>
                  <a:lnTo>
                    <a:pt x="504" y="411"/>
                  </a:lnTo>
                  <a:lnTo>
                    <a:pt x="503" y="410"/>
                  </a:lnTo>
                  <a:lnTo>
                    <a:pt x="504" y="409"/>
                  </a:lnTo>
                  <a:lnTo>
                    <a:pt x="503" y="409"/>
                  </a:lnTo>
                  <a:lnTo>
                    <a:pt x="501" y="407"/>
                  </a:lnTo>
                  <a:lnTo>
                    <a:pt x="500" y="406"/>
                  </a:lnTo>
                  <a:lnTo>
                    <a:pt x="500" y="405"/>
                  </a:lnTo>
                  <a:lnTo>
                    <a:pt x="498" y="404"/>
                  </a:lnTo>
                  <a:lnTo>
                    <a:pt x="497" y="403"/>
                  </a:lnTo>
                  <a:lnTo>
                    <a:pt x="496" y="403"/>
                  </a:lnTo>
                  <a:lnTo>
                    <a:pt x="495" y="405"/>
                  </a:lnTo>
                  <a:lnTo>
                    <a:pt x="494" y="405"/>
                  </a:lnTo>
                  <a:lnTo>
                    <a:pt x="494" y="406"/>
                  </a:lnTo>
                  <a:lnTo>
                    <a:pt x="491" y="406"/>
                  </a:lnTo>
                  <a:lnTo>
                    <a:pt x="490" y="404"/>
                  </a:lnTo>
                  <a:lnTo>
                    <a:pt x="488" y="405"/>
                  </a:lnTo>
                  <a:lnTo>
                    <a:pt x="488" y="406"/>
                  </a:lnTo>
                  <a:lnTo>
                    <a:pt x="486" y="406"/>
                  </a:lnTo>
                  <a:lnTo>
                    <a:pt x="485" y="407"/>
                  </a:lnTo>
                  <a:lnTo>
                    <a:pt x="484" y="410"/>
                  </a:lnTo>
                  <a:lnTo>
                    <a:pt x="486" y="410"/>
                  </a:lnTo>
                  <a:lnTo>
                    <a:pt x="488" y="411"/>
                  </a:lnTo>
                  <a:lnTo>
                    <a:pt x="489" y="412"/>
                  </a:lnTo>
                  <a:lnTo>
                    <a:pt x="488" y="411"/>
                  </a:lnTo>
                  <a:lnTo>
                    <a:pt x="490" y="411"/>
                  </a:lnTo>
                  <a:lnTo>
                    <a:pt x="491" y="411"/>
                  </a:lnTo>
                  <a:lnTo>
                    <a:pt x="492" y="411"/>
                  </a:lnTo>
                  <a:lnTo>
                    <a:pt x="494" y="413"/>
                  </a:lnTo>
                  <a:lnTo>
                    <a:pt x="494" y="412"/>
                  </a:lnTo>
                  <a:lnTo>
                    <a:pt x="495" y="412"/>
                  </a:lnTo>
                  <a:lnTo>
                    <a:pt x="497" y="412"/>
                  </a:lnTo>
                  <a:lnTo>
                    <a:pt x="498" y="412"/>
                  </a:lnTo>
                  <a:lnTo>
                    <a:pt x="498" y="413"/>
                  </a:lnTo>
                  <a:lnTo>
                    <a:pt x="500" y="413"/>
                  </a:lnTo>
                  <a:lnTo>
                    <a:pt x="500" y="415"/>
                  </a:lnTo>
                  <a:lnTo>
                    <a:pt x="501" y="415"/>
                  </a:lnTo>
                  <a:lnTo>
                    <a:pt x="501" y="416"/>
                  </a:lnTo>
                  <a:lnTo>
                    <a:pt x="501" y="417"/>
                  </a:lnTo>
                  <a:lnTo>
                    <a:pt x="502" y="417"/>
                  </a:lnTo>
                  <a:lnTo>
                    <a:pt x="502" y="418"/>
                  </a:lnTo>
                  <a:lnTo>
                    <a:pt x="504" y="419"/>
                  </a:lnTo>
                  <a:lnTo>
                    <a:pt x="506" y="419"/>
                  </a:lnTo>
                  <a:lnTo>
                    <a:pt x="506" y="421"/>
                  </a:lnTo>
                  <a:lnTo>
                    <a:pt x="504" y="421"/>
                  </a:lnTo>
                  <a:lnTo>
                    <a:pt x="504" y="422"/>
                  </a:lnTo>
                  <a:lnTo>
                    <a:pt x="504" y="423"/>
                  </a:lnTo>
                  <a:lnTo>
                    <a:pt x="504" y="425"/>
                  </a:lnTo>
                  <a:lnTo>
                    <a:pt x="504" y="427"/>
                  </a:lnTo>
                  <a:lnTo>
                    <a:pt x="503" y="428"/>
                  </a:lnTo>
                  <a:lnTo>
                    <a:pt x="502" y="427"/>
                  </a:lnTo>
                  <a:lnTo>
                    <a:pt x="500" y="428"/>
                  </a:lnTo>
                  <a:lnTo>
                    <a:pt x="500" y="427"/>
                  </a:lnTo>
                  <a:lnTo>
                    <a:pt x="497" y="427"/>
                  </a:lnTo>
                  <a:lnTo>
                    <a:pt x="496" y="427"/>
                  </a:lnTo>
                  <a:lnTo>
                    <a:pt x="495" y="427"/>
                  </a:lnTo>
                  <a:lnTo>
                    <a:pt x="495" y="428"/>
                  </a:lnTo>
                  <a:lnTo>
                    <a:pt x="492" y="427"/>
                  </a:lnTo>
                  <a:lnTo>
                    <a:pt x="491" y="428"/>
                  </a:lnTo>
                  <a:lnTo>
                    <a:pt x="491" y="429"/>
                  </a:lnTo>
                  <a:lnTo>
                    <a:pt x="490" y="430"/>
                  </a:lnTo>
                  <a:lnTo>
                    <a:pt x="491" y="431"/>
                  </a:lnTo>
                  <a:lnTo>
                    <a:pt x="490" y="431"/>
                  </a:lnTo>
                  <a:lnTo>
                    <a:pt x="489" y="431"/>
                  </a:lnTo>
                  <a:lnTo>
                    <a:pt x="488" y="430"/>
                  </a:lnTo>
                  <a:lnTo>
                    <a:pt x="488" y="433"/>
                  </a:lnTo>
                  <a:lnTo>
                    <a:pt x="486" y="430"/>
                  </a:lnTo>
                  <a:lnTo>
                    <a:pt x="488" y="431"/>
                  </a:lnTo>
                  <a:lnTo>
                    <a:pt x="486" y="433"/>
                  </a:lnTo>
                  <a:lnTo>
                    <a:pt x="485" y="431"/>
                  </a:lnTo>
                  <a:lnTo>
                    <a:pt x="484" y="431"/>
                  </a:lnTo>
                  <a:lnTo>
                    <a:pt x="483" y="431"/>
                  </a:lnTo>
                  <a:lnTo>
                    <a:pt x="482" y="433"/>
                  </a:lnTo>
                  <a:lnTo>
                    <a:pt x="480" y="431"/>
                  </a:lnTo>
                  <a:lnTo>
                    <a:pt x="478" y="431"/>
                  </a:lnTo>
                  <a:lnTo>
                    <a:pt x="474" y="430"/>
                  </a:lnTo>
                  <a:lnTo>
                    <a:pt x="473" y="429"/>
                  </a:lnTo>
                  <a:lnTo>
                    <a:pt x="472" y="429"/>
                  </a:lnTo>
                  <a:lnTo>
                    <a:pt x="471" y="429"/>
                  </a:lnTo>
                  <a:lnTo>
                    <a:pt x="471" y="428"/>
                  </a:lnTo>
                  <a:lnTo>
                    <a:pt x="470" y="427"/>
                  </a:lnTo>
                  <a:lnTo>
                    <a:pt x="468" y="428"/>
                  </a:lnTo>
                  <a:lnTo>
                    <a:pt x="470" y="429"/>
                  </a:lnTo>
                  <a:lnTo>
                    <a:pt x="472" y="429"/>
                  </a:lnTo>
                  <a:lnTo>
                    <a:pt x="473" y="430"/>
                  </a:lnTo>
                  <a:lnTo>
                    <a:pt x="474" y="431"/>
                  </a:lnTo>
                  <a:lnTo>
                    <a:pt x="473" y="433"/>
                  </a:lnTo>
                  <a:lnTo>
                    <a:pt x="473" y="435"/>
                  </a:lnTo>
                  <a:lnTo>
                    <a:pt x="473" y="433"/>
                  </a:lnTo>
                  <a:lnTo>
                    <a:pt x="472" y="435"/>
                  </a:lnTo>
                  <a:lnTo>
                    <a:pt x="471" y="436"/>
                  </a:lnTo>
                  <a:lnTo>
                    <a:pt x="473" y="437"/>
                  </a:lnTo>
                  <a:lnTo>
                    <a:pt x="471" y="439"/>
                  </a:lnTo>
                  <a:lnTo>
                    <a:pt x="470" y="439"/>
                  </a:lnTo>
                  <a:lnTo>
                    <a:pt x="468" y="440"/>
                  </a:lnTo>
                  <a:lnTo>
                    <a:pt x="467" y="440"/>
                  </a:lnTo>
                  <a:lnTo>
                    <a:pt x="466" y="439"/>
                  </a:lnTo>
                  <a:lnTo>
                    <a:pt x="465" y="440"/>
                  </a:lnTo>
                  <a:lnTo>
                    <a:pt x="464" y="440"/>
                  </a:lnTo>
                  <a:lnTo>
                    <a:pt x="462" y="441"/>
                  </a:lnTo>
                  <a:lnTo>
                    <a:pt x="464" y="442"/>
                  </a:lnTo>
                  <a:lnTo>
                    <a:pt x="462" y="443"/>
                  </a:lnTo>
                  <a:lnTo>
                    <a:pt x="460" y="441"/>
                  </a:lnTo>
                  <a:lnTo>
                    <a:pt x="459" y="441"/>
                  </a:lnTo>
                  <a:lnTo>
                    <a:pt x="460" y="443"/>
                  </a:lnTo>
                  <a:lnTo>
                    <a:pt x="460" y="445"/>
                  </a:lnTo>
                  <a:lnTo>
                    <a:pt x="461" y="446"/>
                  </a:lnTo>
                  <a:lnTo>
                    <a:pt x="460" y="447"/>
                  </a:lnTo>
                  <a:lnTo>
                    <a:pt x="461" y="448"/>
                  </a:lnTo>
                  <a:lnTo>
                    <a:pt x="462" y="449"/>
                  </a:lnTo>
                  <a:lnTo>
                    <a:pt x="465" y="449"/>
                  </a:lnTo>
                  <a:lnTo>
                    <a:pt x="466" y="449"/>
                  </a:lnTo>
                  <a:lnTo>
                    <a:pt x="468" y="449"/>
                  </a:lnTo>
                  <a:lnTo>
                    <a:pt x="467" y="448"/>
                  </a:lnTo>
                  <a:lnTo>
                    <a:pt x="468" y="448"/>
                  </a:lnTo>
                  <a:lnTo>
                    <a:pt x="470" y="447"/>
                  </a:lnTo>
                  <a:lnTo>
                    <a:pt x="471" y="447"/>
                  </a:lnTo>
                  <a:lnTo>
                    <a:pt x="470" y="449"/>
                  </a:lnTo>
                  <a:lnTo>
                    <a:pt x="471" y="449"/>
                  </a:lnTo>
                  <a:lnTo>
                    <a:pt x="472" y="451"/>
                  </a:lnTo>
                  <a:lnTo>
                    <a:pt x="472" y="452"/>
                  </a:lnTo>
                  <a:lnTo>
                    <a:pt x="471" y="453"/>
                  </a:lnTo>
                  <a:lnTo>
                    <a:pt x="471" y="455"/>
                  </a:lnTo>
                  <a:lnTo>
                    <a:pt x="473" y="457"/>
                  </a:lnTo>
                  <a:lnTo>
                    <a:pt x="471" y="459"/>
                  </a:lnTo>
                  <a:lnTo>
                    <a:pt x="470" y="459"/>
                  </a:lnTo>
                  <a:lnTo>
                    <a:pt x="470" y="458"/>
                  </a:lnTo>
                  <a:lnTo>
                    <a:pt x="468" y="458"/>
                  </a:lnTo>
                  <a:lnTo>
                    <a:pt x="468" y="459"/>
                  </a:lnTo>
                  <a:lnTo>
                    <a:pt x="468" y="461"/>
                  </a:lnTo>
                  <a:lnTo>
                    <a:pt x="466" y="461"/>
                  </a:lnTo>
                  <a:lnTo>
                    <a:pt x="467" y="463"/>
                  </a:lnTo>
                  <a:lnTo>
                    <a:pt x="470" y="463"/>
                  </a:lnTo>
                  <a:lnTo>
                    <a:pt x="472" y="461"/>
                  </a:lnTo>
                  <a:lnTo>
                    <a:pt x="473" y="461"/>
                  </a:lnTo>
                  <a:lnTo>
                    <a:pt x="473" y="463"/>
                  </a:lnTo>
                  <a:lnTo>
                    <a:pt x="473" y="464"/>
                  </a:lnTo>
                  <a:lnTo>
                    <a:pt x="476" y="466"/>
                  </a:lnTo>
                  <a:lnTo>
                    <a:pt x="476" y="467"/>
                  </a:lnTo>
                  <a:lnTo>
                    <a:pt x="477" y="467"/>
                  </a:lnTo>
                  <a:lnTo>
                    <a:pt x="478" y="467"/>
                  </a:lnTo>
                  <a:lnTo>
                    <a:pt x="478" y="469"/>
                  </a:lnTo>
                  <a:lnTo>
                    <a:pt x="479" y="470"/>
                  </a:lnTo>
                  <a:lnTo>
                    <a:pt x="479" y="471"/>
                  </a:lnTo>
                  <a:lnTo>
                    <a:pt x="478" y="471"/>
                  </a:lnTo>
                  <a:lnTo>
                    <a:pt x="476" y="472"/>
                  </a:lnTo>
                  <a:lnTo>
                    <a:pt x="478" y="472"/>
                  </a:lnTo>
                  <a:lnTo>
                    <a:pt x="477" y="473"/>
                  </a:lnTo>
                  <a:lnTo>
                    <a:pt x="477" y="475"/>
                  </a:lnTo>
                  <a:lnTo>
                    <a:pt x="476" y="476"/>
                  </a:lnTo>
                  <a:lnTo>
                    <a:pt x="473" y="475"/>
                  </a:lnTo>
                  <a:lnTo>
                    <a:pt x="472" y="476"/>
                  </a:lnTo>
                  <a:lnTo>
                    <a:pt x="471" y="473"/>
                  </a:lnTo>
                  <a:lnTo>
                    <a:pt x="470" y="475"/>
                  </a:lnTo>
                  <a:lnTo>
                    <a:pt x="467" y="475"/>
                  </a:lnTo>
                  <a:lnTo>
                    <a:pt x="466" y="475"/>
                  </a:lnTo>
                  <a:lnTo>
                    <a:pt x="466" y="473"/>
                  </a:lnTo>
                  <a:lnTo>
                    <a:pt x="465" y="472"/>
                  </a:lnTo>
                  <a:lnTo>
                    <a:pt x="464" y="472"/>
                  </a:lnTo>
                  <a:lnTo>
                    <a:pt x="461" y="472"/>
                  </a:lnTo>
                  <a:lnTo>
                    <a:pt x="460" y="470"/>
                  </a:lnTo>
                  <a:lnTo>
                    <a:pt x="459" y="469"/>
                  </a:lnTo>
                  <a:lnTo>
                    <a:pt x="456" y="469"/>
                  </a:lnTo>
                  <a:lnTo>
                    <a:pt x="454" y="469"/>
                  </a:lnTo>
                  <a:lnTo>
                    <a:pt x="454" y="467"/>
                  </a:lnTo>
                  <a:lnTo>
                    <a:pt x="457" y="467"/>
                  </a:lnTo>
                  <a:lnTo>
                    <a:pt x="456" y="465"/>
                  </a:lnTo>
                  <a:lnTo>
                    <a:pt x="457" y="464"/>
                  </a:lnTo>
                  <a:lnTo>
                    <a:pt x="459" y="465"/>
                  </a:lnTo>
                  <a:lnTo>
                    <a:pt x="460" y="466"/>
                  </a:lnTo>
                  <a:lnTo>
                    <a:pt x="461" y="469"/>
                  </a:lnTo>
                  <a:lnTo>
                    <a:pt x="464" y="470"/>
                  </a:lnTo>
                  <a:lnTo>
                    <a:pt x="465" y="470"/>
                  </a:lnTo>
                  <a:lnTo>
                    <a:pt x="465" y="469"/>
                  </a:lnTo>
                  <a:lnTo>
                    <a:pt x="466" y="469"/>
                  </a:lnTo>
                  <a:lnTo>
                    <a:pt x="467" y="469"/>
                  </a:lnTo>
                  <a:lnTo>
                    <a:pt x="465" y="466"/>
                  </a:lnTo>
                  <a:lnTo>
                    <a:pt x="465" y="467"/>
                  </a:lnTo>
                  <a:lnTo>
                    <a:pt x="465" y="466"/>
                  </a:lnTo>
                  <a:lnTo>
                    <a:pt x="464" y="465"/>
                  </a:lnTo>
                  <a:lnTo>
                    <a:pt x="464" y="463"/>
                  </a:lnTo>
                  <a:lnTo>
                    <a:pt x="462" y="461"/>
                  </a:lnTo>
                  <a:lnTo>
                    <a:pt x="465" y="460"/>
                  </a:lnTo>
                  <a:lnTo>
                    <a:pt x="462" y="460"/>
                  </a:lnTo>
                  <a:lnTo>
                    <a:pt x="462" y="458"/>
                  </a:lnTo>
                  <a:lnTo>
                    <a:pt x="461" y="458"/>
                  </a:lnTo>
                  <a:lnTo>
                    <a:pt x="460" y="457"/>
                  </a:lnTo>
                  <a:lnTo>
                    <a:pt x="461" y="455"/>
                  </a:lnTo>
                  <a:lnTo>
                    <a:pt x="457" y="455"/>
                  </a:lnTo>
                  <a:lnTo>
                    <a:pt x="457" y="457"/>
                  </a:lnTo>
                  <a:lnTo>
                    <a:pt x="459" y="457"/>
                  </a:lnTo>
                  <a:lnTo>
                    <a:pt x="459" y="458"/>
                  </a:lnTo>
                  <a:lnTo>
                    <a:pt x="460" y="458"/>
                  </a:lnTo>
                  <a:lnTo>
                    <a:pt x="461" y="458"/>
                  </a:lnTo>
                  <a:lnTo>
                    <a:pt x="459" y="460"/>
                  </a:lnTo>
                  <a:lnTo>
                    <a:pt x="456" y="458"/>
                  </a:lnTo>
                  <a:lnTo>
                    <a:pt x="455" y="457"/>
                  </a:lnTo>
                  <a:lnTo>
                    <a:pt x="454" y="457"/>
                  </a:lnTo>
                  <a:lnTo>
                    <a:pt x="454" y="455"/>
                  </a:lnTo>
                  <a:lnTo>
                    <a:pt x="451" y="454"/>
                  </a:lnTo>
                  <a:lnTo>
                    <a:pt x="450" y="453"/>
                  </a:lnTo>
                  <a:lnTo>
                    <a:pt x="449" y="452"/>
                  </a:lnTo>
                  <a:lnTo>
                    <a:pt x="448" y="451"/>
                  </a:lnTo>
                  <a:lnTo>
                    <a:pt x="445" y="449"/>
                  </a:lnTo>
                  <a:lnTo>
                    <a:pt x="445" y="447"/>
                  </a:lnTo>
                  <a:lnTo>
                    <a:pt x="447" y="447"/>
                  </a:lnTo>
                  <a:lnTo>
                    <a:pt x="448" y="447"/>
                  </a:lnTo>
                  <a:lnTo>
                    <a:pt x="448" y="446"/>
                  </a:lnTo>
                  <a:lnTo>
                    <a:pt x="449" y="446"/>
                  </a:lnTo>
                  <a:lnTo>
                    <a:pt x="449" y="445"/>
                  </a:lnTo>
                  <a:lnTo>
                    <a:pt x="448" y="443"/>
                  </a:lnTo>
                  <a:lnTo>
                    <a:pt x="449" y="442"/>
                  </a:lnTo>
                  <a:lnTo>
                    <a:pt x="448" y="440"/>
                  </a:lnTo>
                  <a:lnTo>
                    <a:pt x="448" y="442"/>
                  </a:lnTo>
                  <a:lnTo>
                    <a:pt x="448" y="443"/>
                  </a:lnTo>
                  <a:lnTo>
                    <a:pt x="444" y="443"/>
                  </a:lnTo>
                  <a:lnTo>
                    <a:pt x="443" y="442"/>
                  </a:lnTo>
                  <a:lnTo>
                    <a:pt x="442" y="441"/>
                  </a:lnTo>
                  <a:lnTo>
                    <a:pt x="441" y="441"/>
                  </a:lnTo>
                  <a:lnTo>
                    <a:pt x="439" y="440"/>
                  </a:lnTo>
                  <a:lnTo>
                    <a:pt x="438" y="440"/>
                  </a:lnTo>
                  <a:lnTo>
                    <a:pt x="437" y="440"/>
                  </a:lnTo>
                  <a:lnTo>
                    <a:pt x="436" y="440"/>
                  </a:lnTo>
                  <a:lnTo>
                    <a:pt x="435" y="439"/>
                  </a:lnTo>
                  <a:lnTo>
                    <a:pt x="435" y="437"/>
                  </a:lnTo>
                  <a:lnTo>
                    <a:pt x="435" y="435"/>
                  </a:lnTo>
                  <a:lnTo>
                    <a:pt x="433" y="433"/>
                  </a:lnTo>
                  <a:lnTo>
                    <a:pt x="435" y="430"/>
                  </a:lnTo>
                  <a:lnTo>
                    <a:pt x="436" y="431"/>
                  </a:lnTo>
                  <a:lnTo>
                    <a:pt x="435" y="430"/>
                  </a:lnTo>
                  <a:lnTo>
                    <a:pt x="436" y="431"/>
                  </a:lnTo>
                  <a:lnTo>
                    <a:pt x="437" y="430"/>
                  </a:lnTo>
                  <a:lnTo>
                    <a:pt x="438" y="429"/>
                  </a:lnTo>
                  <a:lnTo>
                    <a:pt x="439" y="429"/>
                  </a:lnTo>
                  <a:lnTo>
                    <a:pt x="438" y="429"/>
                  </a:lnTo>
                  <a:lnTo>
                    <a:pt x="438" y="428"/>
                  </a:lnTo>
                  <a:lnTo>
                    <a:pt x="438" y="427"/>
                  </a:lnTo>
                  <a:lnTo>
                    <a:pt x="439" y="428"/>
                  </a:lnTo>
                  <a:lnTo>
                    <a:pt x="438" y="425"/>
                  </a:lnTo>
                  <a:lnTo>
                    <a:pt x="438" y="424"/>
                  </a:lnTo>
                  <a:lnTo>
                    <a:pt x="441" y="421"/>
                  </a:lnTo>
                  <a:lnTo>
                    <a:pt x="441" y="423"/>
                  </a:lnTo>
                  <a:lnTo>
                    <a:pt x="442" y="423"/>
                  </a:lnTo>
                  <a:lnTo>
                    <a:pt x="442" y="424"/>
                  </a:lnTo>
                  <a:lnTo>
                    <a:pt x="442" y="425"/>
                  </a:lnTo>
                  <a:lnTo>
                    <a:pt x="442" y="427"/>
                  </a:lnTo>
                  <a:lnTo>
                    <a:pt x="443" y="428"/>
                  </a:lnTo>
                  <a:lnTo>
                    <a:pt x="443" y="427"/>
                  </a:lnTo>
                  <a:lnTo>
                    <a:pt x="444" y="429"/>
                  </a:lnTo>
                  <a:lnTo>
                    <a:pt x="442" y="429"/>
                  </a:lnTo>
                  <a:lnTo>
                    <a:pt x="441" y="429"/>
                  </a:lnTo>
                  <a:lnTo>
                    <a:pt x="442" y="430"/>
                  </a:lnTo>
                  <a:lnTo>
                    <a:pt x="442" y="431"/>
                  </a:lnTo>
                  <a:lnTo>
                    <a:pt x="444" y="431"/>
                  </a:lnTo>
                  <a:lnTo>
                    <a:pt x="444" y="430"/>
                  </a:lnTo>
                  <a:lnTo>
                    <a:pt x="445" y="429"/>
                  </a:lnTo>
                  <a:lnTo>
                    <a:pt x="447" y="429"/>
                  </a:lnTo>
                  <a:lnTo>
                    <a:pt x="447" y="431"/>
                  </a:lnTo>
                  <a:lnTo>
                    <a:pt x="448" y="433"/>
                  </a:lnTo>
                  <a:lnTo>
                    <a:pt x="450" y="434"/>
                  </a:lnTo>
                  <a:lnTo>
                    <a:pt x="451" y="431"/>
                  </a:lnTo>
                  <a:lnTo>
                    <a:pt x="451" y="429"/>
                  </a:lnTo>
                  <a:lnTo>
                    <a:pt x="451" y="428"/>
                  </a:lnTo>
                  <a:lnTo>
                    <a:pt x="450" y="428"/>
                  </a:lnTo>
                  <a:lnTo>
                    <a:pt x="451" y="425"/>
                  </a:lnTo>
                  <a:lnTo>
                    <a:pt x="453" y="424"/>
                  </a:lnTo>
                  <a:lnTo>
                    <a:pt x="451" y="422"/>
                  </a:lnTo>
                  <a:lnTo>
                    <a:pt x="450" y="421"/>
                  </a:lnTo>
                  <a:lnTo>
                    <a:pt x="448" y="421"/>
                  </a:lnTo>
                  <a:lnTo>
                    <a:pt x="445" y="421"/>
                  </a:lnTo>
                  <a:lnTo>
                    <a:pt x="442" y="421"/>
                  </a:lnTo>
                  <a:lnTo>
                    <a:pt x="441" y="421"/>
                  </a:lnTo>
                  <a:lnTo>
                    <a:pt x="438" y="422"/>
                  </a:lnTo>
                  <a:lnTo>
                    <a:pt x="436" y="422"/>
                  </a:lnTo>
                  <a:lnTo>
                    <a:pt x="435" y="421"/>
                  </a:lnTo>
                  <a:lnTo>
                    <a:pt x="431" y="418"/>
                  </a:lnTo>
                  <a:lnTo>
                    <a:pt x="429" y="418"/>
                  </a:lnTo>
                  <a:lnTo>
                    <a:pt x="427" y="418"/>
                  </a:lnTo>
                  <a:lnTo>
                    <a:pt x="427" y="419"/>
                  </a:lnTo>
                  <a:lnTo>
                    <a:pt x="429" y="421"/>
                  </a:lnTo>
                  <a:lnTo>
                    <a:pt x="430" y="419"/>
                  </a:lnTo>
                  <a:lnTo>
                    <a:pt x="429" y="421"/>
                  </a:lnTo>
                  <a:lnTo>
                    <a:pt x="429" y="422"/>
                  </a:lnTo>
                  <a:lnTo>
                    <a:pt x="427" y="421"/>
                  </a:lnTo>
                  <a:lnTo>
                    <a:pt x="425" y="422"/>
                  </a:lnTo>
                  <a:lnTo>
                    <a:pt x="424" y="424"/>
                  </a:lnTo>
                  <a:lnTo>
                    <a:pt x="421" y="424"/>
                  </a:lnTo>
                  <a:lnTo>
                    <a:pt x="419" y="424"/>
                  </a:lnTo>
                  <a:lnTo>
                    <a:pt x="418" y="423"/>
                  </a:lnTo>
                  <a:lnTo>
                    <a:pt x="417" y="422"/>
                  </a:lnTo>
                  <a:lnTo>
                    <a:pt x="415" y="422"/>
                  </a:lnTo>
                  <a:lnTo>
                    <a:pt x="414" y="422"/>
                  </a:lnTo>
                  <a:lnTo>
                    <a:pt x="413" y="423"/>
                  </a:lnTo>
                  <a:lnTo>
                    <a:pt x="412" y="423"/>
                  </a:lnTo>
                  <a:lnTo>
                    <a:pt x="411" y="424"/>
                  </a:lnTo>
                  <a:lnTo>
                    <a:pt x="411" y="425"/>
                  </a:lnTo>
                  <a:lnTo>
                    <a:pt x="408" y="425"/>
                  </a:lnTo>
                  <a:lnTo>
                    <a:pt x="407" y="424"/>
                  </a:lnTo>
                  <a:lnTo>
                    <a:pt x="406" y="423"/>
                  </a:lnTo>
                  <a:lnTo>
                    <a:pt x="403" y="425"/>
                  </a:lnTo>
                  <a:lnTo>
                    <a:pt x="402" y="424"/>
                  </a:lnTo>
                  <a:lnTo>
                    <a:pt x="401" y="419"/>
                  </a:lnTo>
                  <a:lnTo>
                    <a:pt x="400" y="418"/>
                  </a:lnTo>
                  <a:lnTo>
                    <a:pt x="397" y="419"/>
                  </a:lnTo>
                  <a:lnTo>
                    <a:pt x="396" y="419"/>
                  </a:lnTo>
                  <a:lnTo>
                    <a:pt x="389" y="421"/>
                  </a:lnTo>
                  <a:lnTo>
                    <a:pt x="386" y="421"/>
                  </a:lnTo>
                  <a:lnTo>
                    <a:pt x="385" y="421"/>
                  </a:lnTo>
                  <a:lnTo>
                    <a:pt x="384" y="422"/>
                  </a:lnTo>
                  <a:lnTo>
                    <a:pt x="380" y="423"/>
                  </a:lnTo>
                  <a:lnTo>
                    <a:pt x="377" y="423"/>
                  </a:lnTo>
                  <a:lnTo>
                    <a:pt x="374" y="423"/>
                  </a:lnTo>
                  <a:lnTo>
                    <a:pt x="374" y="424"/>
                  </a:lnTo>
                  <a:lnTo>
                    <a:pt x="370" y="424"/>
                  </a:lnTo>
                  <a:lnTo>
                    <a:pt x="368" y="423"/>
                  </a:lnTo>
                  <a:lnTo>
                    <a:pt x="364" y="424"/>
                  </a:lnTo>
                  <a:lnTo>
                    <a:pt x="358" y="424"/>
                  </a:lnTo>
                  <a:lnTo>
                    <a:pt x="355" y="425"/>
                  </a:lnTo>
                  <a:lnTo>
                    <a:pt x="355" y="428"/>
                  </a:lnTo>
                  <a:lnTo>
                    <a:pt x="358" y="428"/>
                  </a:lnTo>
                  <a:lnTo>
                    <a:pt x="358" y="430"/>
                  </a:lnTo>
                  <a:lnTo>
                    <a:pt x="359" y="430"/>
                  </a:lnTo>
                  <a:lnTo>
                    <a:pt x="361" y="430"/>
                  </a:lnTo>
                  <a:lnTo>
                    <a:pt x="362" y="430"/>
                  </a:lnTo>
                  <a:lnTo>
                    <a:pt x="364" y="429"/>
                  </a:lnTo>
                  <a:lnTo>
                    <a:pt x="364" y="430"/>
                  </a:lnTo>
                  <a:lnTo>
                    <a:pt x="365" y="429"/>
                  </a:lnTo>
                  <a:lnTo>
                    <a:pt x="366" y="431"/>
                  </a:lnTo>
                  <a:lnTo>
                    <a:pt x="366" y="430"/>
                  </a:lnTo>
                  <a:lnTo>
                    <a:pt x="367" y="431"/>
                  </a:lnTo>
                  <a:lnTo>
                    <a:pt x="367" y="433"/>
                  </a:lnTo>
                  <a:lnTo>
                    <a:pt x="370" y="434"/>
                  </a:lnTo>
                  <a:lnTo>
                    <a:pt x="372" y="435"/>
                  </a:lnTo>
                  <a:lnTo>
                    <a:pt x="372" y="436"/>
                  </a:lnTo>
                  <a:lnTo>
                    <a:pt x="371" y="436"/>
                  </a:lnTo>
                  <a:lnTo>
                    <a:pt x="371" y="439"/>
                  </a:lnTo>
                  <a:lnTo>
                    <a:pt x="371" y="440"/>
                  </a:lnTo>
                  <a:lnTo>
                    <a:pt x="371" y="442"/>
                  </a:lnTo>
                  <a:lnTo>
                    <a:pt x="371" y="443"/>
                  </a:lnTo>
                  <a:lnTo>
                    <a:pt x="370" y="445"/>
                  </a:lnTo>
                  <a:lnTo>
                    <a:pt x="367" y="446"/>
                  </a:lnTo>
                  <a:lnTo>
                    <a:pt x="367" y="447"/>
                  </a:lnTo>
                  <a:lnTo>
                    <a:pt x="366" y="447"/>
                  </a:lnTo>
                  <a:lnTo>
                    <a:pt x="365" y="447"/>
                  </a:lnTo>
                  <a:lnTo>
                    <a:pt x="364" y="447"/>
                  </a:lnTo>
                  <a:lnTo>
                    <a:pt x="361" y="447"/>
                  </a:lnTo>
                  <a:lnTo>
                    <a:pt x="362" y="448"/>
                  </a:lnTo>
                  <a:lnTo>
                    <a:pt x="365" y="449"/>
                  </a:lnTo>
                  <a:lnTo>
                    <a:pt x="368" y="449"/>
                  </a:lnTo>
                  <a:lnTo>
                    <a:pt x="378" y="449"/>
                  </a:lnTo>
                  <a:lnTo>
                    <a:pt x="379" y="449"/>
                  </a:lnTo>
                  <a:lnTo>
                    <a:pt x="379" y="451"/>
                  </a:lnTo>
                  <a:lnTo>
                    <a:pt x="383" y="451"/>
                  </a:lnTo>
                  <a:lnTo>
                    <a:pt x="388" y="452"/>
                  </a:lnTo>
                  <a:lnTo>
                    <a:pt x="389" y="452"/>
                  </a:lnTo>
                  <a:lnTo>
                    <a:pt x="391" y="452"/>
                  </a:lnTo>
                  <a:lnTo>
                    <a:pt x="392" y="452"/>
                  </a:lnTo>
                  <a:lnTo>
                    <a:pt x="392" y="449"/>
                  </a:lnTo>
                  <a:lnTo>
                    <a:pt x="392" y="448"/>
                  </a:lnTo>
                  <a:lnTo>
                    <a:pt x="391" y="449"/>
                  </a:lnTo>
                  <a:lnTo>
                    <a:pt x="390" y="449"/>
                  </a:lnTo>
                  <a:lnTo>
                    <a:pt x="390" y="448"/>
                  </a:lnTo>
                  <a:lnTo>
                    <a:pt x="390" y="447"/>
                  </a:lnTo>
                  <a:lnTo>
                    <a:pt x="391" y="446"/>
                  </a:lnTo>
                  <a:lnTo>
                    <a:pt x="396" y="447"/>
                  </a:lnTo>
                  <a:lnTo>
                    <a:pt x="396" y="446"/>
                  </a:lnTo>
                  <a:lnTo>
                    <a:pt x="398" y="446"/>
                  </a:lnTo>
                  <a:lnTo>
                    <a:pt x="397" y="447"/>
                  </a:lnTo>
                  <a:lnTo>
                    <a:pt x="400" y="448"/>
                  </a:lnTo>
                  <a:lnTo>
                    <a:pt x="401" y="446"/>
                  </a:lnTo>
                  <a:lnTo>
                    <a:pt x="405" y="445"/>
                  </a:lnTo>
                  <a:lnTo>
                    <a:pt x="403" y="443"/>
                  </a:lnTo>
                  <a:lnTo>
                    <a:pt x="405" y="443"/>
                  </a:lnTo>
                  <a:lnTo>
                    <a:pt x="407" y="442"/>
                  </a:lnTo>
                  <a:lnTo>
                    <a:pt x="408" y="442"/>
                  </a:lnTo>
                  <a:lnTo>
                    <a:pt x="409" y="441"/>
                  </a:lnTo>
                  <a:lnTo>
                    <a:pt x="413" y="441"/>
                  </a:lnTo>
                  <a:lnTo>
                    <a:pt x="414" y="442"/>
                  </a:lnTo>
                  <a:lnTo>
                    <a:pt x="415" y="442"/>
                  </a:lnTo>
                  <a:lnTo>
                    <a:pt x="417" y="443"/>
                  </a:lnTo>
                  <a:lnTo>
                    <a:pt x="418" y="445"/>
                  </a:lnTo>
                  <a:lnTo>
                    <a:pt x="419" y="445"/>
                  </a:lnTo>
                  <a:lnTo>
                    <a:pt x="419" y="447"/>
                  </a:lnTo>
                  <a:lnTo>
                    <a:pt x="421" y="448"/>
                  </a:lnTo>
                  <a:lnTo>
                    <a:pt x="421" y="449"/>
                  </a:lnTo>
                  <a:lnTo>
                    <a:pt x="423" y="448"/>
                  </a:lnTo>
                  <a:lnTo>
                    <a:pt x="423" y="451"/>
                  </a:lnTo>
                  <a:lnTo>
                    <a:pt x="424" y="451"/>
                  </a:lnTo>
                  <a:lnTo>
                    <a:pt x="426" y="452"/>
                  </a:lnTo>
                  <a:lnTo>
                    <a:pt x="427" y="454"/>
                  </a:lnTo>
                  <a:lnTo>
                    <a:pt x="429" y="453"/>
                  </a:lnTo>
                  <a:lnTo>
                    <a:pt x="430" y="452"/>
                  </a:lnTo>
                  <a:lnTo>
                    <a:pt x="432" y="452"/>
                  </a:lnTo>
                  <a:lnTo>
                    <a:pt x="432" y="453"/>
                  </a:lnTo>
                  <a:lnTo>
                    <a:pt x="433" y="453"/>
                  </a:lnTo>
                  <a:lnTo>
                    <a:pt x="436" y="453"/>
                  </a:lnTo>
                  <a:lnTo>
                    <a:pt x="437" y="454"/>
                  </a:lnTo>
                  <a:lnTo>
                    <a:pt x="437" y="455"/>
                  </a:lnTo>
                  <a:lnTo>
                    <a:pt x="437" y="458"/>
                  </a:lnTo>
                  <a:lnTo>
                    <a:pt x="439" y="458"/>
                  </a:lnTo>
                  <a:lnTo>
                    <a:pt x="439" y="459"/>
                  </a:lnTo>
                  <a:lnTo>
                    <a:pt x="438" y="461"/>
                  </a:lnTo>
                  <a:lnTo>
                    <a:pt x="438" y="463"/>
                  </a:lnTo>
                  <a:lnTo>
                    <a:pt x="437" y="463"/>
                  </a:lnTo>
                  <a:lnTo>
                    <a:pt x="439" y="464"/>
                  </a:lnTo>
                  <a:lnTo>
                    <a:pt x="442" y="466"/>
                  </a:lnTo>
                  <a:lnTo>
                    <a:pt x="443" y="466"/>
                  </a:lnTo>
                  <a:lnTo>
                    <a:pt x="444" y="466"/>
                  </a:lnTo>
                  <a:lnTo>
                    <a:pt x="445" y="465"/>
                  </a:lnTo>
                  <a:lnTo>
                    <a:pt x="447" y="466"/>
                  </a:lnTo>
                  <a:lnTo>
                    <a:pt x="447" y="467"/>
                  </a:lnTo>
                  <a:lnTo>
                    <a:pt x="449" y="470"/>
                  </a:lnTo>
                  <a:lnTo>
                    <a:pt x="447" y="471"/>
                  </a:lnTo>
                  <a:lnTo>
                    <a:pt x="447" y="472"/>
                  </a:lnTo>
                  <a:lnTo>
                    <a:pt x="447" y="473"/>
                  </a:lnTo>
                  <a:lnTo>
                    <a:pt x="448" y="472"/>
                  </a:lnTo>
                  <a:lnTo>
                    <a:pt x="449" y="472"/>
                  </a:lnTo>
                  <a:lnTo>
                    <a:pt x="450" y="475"/>
                  </a:lnTo>
                  <a:lnTo>
                    <a:pt x="450" y="476"/>
                  </a:lnTo>
                  <a:lnTo>
                    <a:pt x="450" y="478"/>
                  </a:lnTo>
                  <a:lnTo>
                    <a:pt x="451" y="480"/>
                  </a:lnTo>
                  <a:lnTo>
                    <a:pt x="453" y="481"/>
                  </a:lnTo>
                  <a:lnTo>
                    <a:pt x="453" y="482"/>
                  </a:lnTo>
                  <a:lnTo>
                    <a:pt x="455" y="483"/>
                  </a:lnTo>
                  <a:lnTo>
                    <a:pt x="453" y="482"/>
                  </a:lnTo>
                  <a:lnTo>
                    <a:pt x="453" y="483"/>
                  </a:lnTo>
                  <a:lnTo>
                    <a:pt x="453" y="484"/>
                  </a:lnTo>
                  <a:lnTo>
                    <a:pt x="450" y="482"/>
                  </a:lnTo>
                  <a:lnTo>
                    <a:pt x="450" y="484"/>
                  </a:lnTo>
                  <a:lnTo>
                    <a:pt x="451" y="486"/>
                  </a:lnTo>
                  <a:lnTo>
                    <a:pt x="453" y="488"/>
                  </a:lnTo>
                  <a:lnTo>
                    <a:pt x="454" y="488"/>
                  </a:lnTo>
                  <a:lnTo>
                    <a:pt x="455" y="489"/>
                  </a:lnTo>
                  <a:lnTo>
                    <a:pt x="456" y="492"/>
                  </a:lnTo>
                  <a:lnTo>
                    <a:pt x="459" y="494"/>
                  </a:lnTo>
                  <a:lnTo>
                    <a:pt x="460" y="494"/>
                  </a:lnTo>
                  <a:lnTo>
                    <a:pt x="460" y="496"/>
                  </a:lnTo>
                  <a:lnTo>
                    <a:pt x="459" y="498"/>
                  </a:lnTo>
                  <a:lnTo>
                    <a:pt x="459" y="501"/>
                  </a:lnTo>
                  <a:lnTo>
                    <a:pt x="456" y="501"/>
                  </a:lnTo>
                  <a:lnTo>
                    <a:pt x="454" y="501"/>
                  </a:lnTo>
                  <a:lnTo>
                    <a:pt x="453" y="501"/>
                  </a:lnTo>
                  <a:lnTo>
                    <a:pt x="451" y="500"/>
                  </a:lnTo>
                  <a:lnTo>
                    <a:pt x="451" y="499"/>
                  </a:lnTo>
                  <a:lnTo>
                    <a:pt x="450" y="499"/>
                  </a:lnTo>
                  <a:lnTo>
                    <a:pt x="449" y="499"/>
                  </a:lnTo>
                  <a:lnTo>
                    <a:pt x="447" y="496"/>
                  </a:lnTo>
                  <a:lnTo>
                    <a:pt x="445" y="496"/>
                  </a:lnTo>
                  <a:lnTo>
                    <a:pt x="444" y="496"/>
                  </a:lnTo>
                  <a:lnTo>
                    <a:pt x="443" y="496"/>
                  </a:lnTo>
                  <a:lnTo>
                    <a:pt x="443" y="495"/>
                  </a:lnTo>
                  <a:lnTo>
                    <a:pt x="442" y="494"/>
                  </a:lnTo>
                  <a:lnTo>
                    <a:pt x="442" y="492"/>
                  </a:lnTo>
                  <a:lnTo>
                    <a:pt x="441" y="492"/>
                  </a:lnTo>
                  <a:lnTo>
                    <a:pt x="439" y="493"/>
                  </a:lnTo>
                  <a:lnTo>
                    <a:pt x="442" y="494"/>
                  </a:lnTo>
                  <a:lnTo>
                    <a:pt x="442" y="495"/>
                  </a:lnTo>
                  <a:lnTo>
                    <a:pt x="438" y="494"/>
                  </a:lnTo>
                  <a:lnTo>
                    <a:pt x="439" y="495"/>
                  </a:lnTo>
                  <a:lnTo>
                    <a:pt x="436" y="496"/>
                  </a:lnTo>
                  <a:lnTo>
                    <a:pt x="438" y="495"/>
                  </a:lnTo>
                  <a:lnTo>
                    <a:pt x="436" y="492"/>
                  </a:lnTo>
                  <a:lnTo>
                    <a:pt x="436" y="493"/>
                  </a:lnTo>
                  <a:lnTo>
                    <a:pt x="435" y="492"/>
                  </a:lnTo>
                  <a:lnTo>
                    <a:pt x="435" y="493"/>
                  </a:lnTo>
                  <a:lnTo>
                    <a:pt x="432" y="492"/>
                  </a:lnTo>
                  <a:lnTo>
                    <a:pt x="433" y="492"/>
                  </a:lnTo>
                  <a:lnTo>
                    <a:pt x="432" y="490"/>
                  </a:lnTo>
                  <a:lnTo>
                    <a:pt x="431" y="490"/>
                  </a:lnTo>
                  <a:lnTo>
                    <a:pt x="429" y="489"/>
                  </a:lnTo>
                  <a:lnTo>
                    <a:pt x="429" y="490"/>
                  </a:lnTo>
                  <a:lnTo>
                    <a:pt x="426" y="489"/>
                  </a:lnTo>
                  <a:lnTo>
                    <a:pt x="425" y="489"/>
                  </a:lnTo>
                  <a:lnTo>
                    <a:pt x="426" y="489"/>
                  </a:lnTo>
                  <a:lnTo>
                    <a:pt x="426" y="487"/>
                  </a:lnTo>
                  <a:lnTo>
                    <a:pt x="425" y="488"/>
                  </a:lnTo>
                  <a:lnTo>
                    <a:pt x="424" y="489"/>
                  </a:lnTo>
                  <a:lnTo>
                    <a:pt x="423" y="489"/>
                  </a:lnTo>
                  <a:lnTo>
                    <a:pt x="424" y="490"/>
                  </a:lnTo>
                  <a:lnTo>
                    <a:pt x="425" y="493"/>
                  </a:lnTo>
                  <a:lnTo>
                    <a:pt x="426" y="494"/>
                  </a:lnTo>
                  <a:lnTo>
                    <a:pt x="424" y="493"/>
                  </a:lnTo>
                  <a:lnTo>
                    <a:pt x="423" y="494"/>
                  </a:lnTo>
                  <a:lnTo>
                    <a:pt x="421" y="493"/>
                  </a:lnTo>
                  <a:lnTo>
                    <a:pt x="419" y="494"/>
                  </a:lnTo>
                  <a:lnTo>
                    <a:pt x="418" y="496"/>
                  </a:lnTo>
                  <a:lnTo>
                    <a:pt x="415" y="496"/>
                  </a:lnTo>
                  <a:lnTo>
                    <a:pt x="414" y="498"/>
                  </a:lnTo>
                  <a:lnTo>
                    <a:pt x="413" y="498"/>
                  </a:lnTo>
                  <a:lnTo>
                    <a:pt x="413" y="496"/>
                  </a:lnTo>
                  <a:lnTo>
                    <a:pt x="413" y="498"/>
                  </a:lnTo>
                  <a:lnTo>
                    <a:pt x="413" y="499"/>
                  </a:lnTo>
                  <a:lnTo>
                    <a:pt x="414" y="499"/>
                  </a:lnTo>
                  <a:lnTo>
                    <a:pt x="417" y="500"/>
                  </a:lnTo>
                  <a:lnTo>
                    <a:pt x="415" y="501"/>
                  </a:lnTo>
                  <a:lnTo>
                    <a:pt x="413" y="500"/>
                  </a:lnTo>
                  <a:lnTo>
                    <a:pt x="412" y="501"/>
                  </a:lnTo>
                  <a:lnTo>
                    <a:pt x="411" y="501"/>
                  </a:lnTo>
                  <a:lnTo>
                    <a:pt x="409" y="501"/>
                  </a:lnTo>
                  <a:lnTo>
                    <a:pt x="408" y="500"/>
                  </a:lnTo>
                  <a:lnTo>
                    <a:pt x="406" y="501"/>
                  </a:lnTo>
                  <a:lnTo>
                    <a:pt x="405" y="500"/>
                  </a:lnTo>
                  <a:lnTo>
                    <a:pt x="402" y="499"/>
                  </a:lnTo>
                  <a:lnTo>
                    <a:pt x="400" y="500"/>
                  </a:lnTo>
                  <a:lnTo>
                    <a:pt x="401" y="502"/>
                  </a:lnTo>
                  <a:lnTo>
                    <a:pt x="401" y="504"/>
                  </a:lnTo>
                  <a:lnTo>
                    <a:pt x="398" y="504"/>
                  </a:lnTo>
                  <a:lnTo>
                    <a:pt x="397" y="502"/>
                  </a:lnTo>
                  <a:lnTo>
                    <a:pt x="396" y="505"/>
                  </a:lnTo>
                  <a:lnTo>
                    <a:pt x="396" y="504"/>
                  </a:lnTo>
                  <a:lnTo>
                    <a:pt x="395" y="504"/>
                  </a:lnTo>
                  <a:lnTo>
                    <a:pt x="394" y="504"/>
                  </a:lnTo>
                  <a:lnTo>
                    <a:pt x="394" y="505"/>
                  </a:lnTo>
                  <a:lnTo>
                    <a:pt x="392" y="502"/>
                  </a:lnTo>
                  <a:lnTo>
                    <a:pt x="392" y="501"/>
                  </a:lnTo>
                  <a:lnTo>
                    <a:pt x="392" y="499"/>
                  </a:lnTo>
                  <a:lnTo>
                    <a:pt x="395" y="500"/>
                  </a:lnTo>
                  <a:lnTo>
                    <a:pt x="395" y="498"/>
                  </a:lnTo>
                  <a:lnTo>
                    <a:pt x="395" y="496"/>
                  </a:lnTo>
                  <a:lnTo>
                    <a:pt x="394" y="498"/>
                  </a:lnTo>
                  <a:lnTo>
                    <a:pt x="394" y="499"/>
                  </a:lnTo>
                  <a:lnTo>
                    <a:pt x="391" y="498"/>
                  </a:lnTo>
                  <a:lnTo>
                    <a:pt x="390" y="495"/>
                  </a:lnTo>
                  <a:lnTo>
                    <a:pt x="389" y="495"/>
                  </a:lnTo>
                  <a:lnTo>
                    <a:pt x="388" y="493"/>
                  </a:lnTo>
                  <a:lnTo>
                    <a:pt x="389" y="492"/>
                  </a:lnTo>
                  <a:lnTo>
                    <a:pt x="390" y="493"/>
                  </a:lnTo>
                  <a:lnTo>
                    <a:pt x="390" y="492"/>
                  </a:lnTo>
                  <a:lnTo>
                    <a:pt x="391" y="492"/>
                  </a:lnTo>
                  <a:lnTo>
                    <a:pt x="392" y="492"/>
                  </a:lnTo>
                  <a:lnTo>
                    <a:pt x="396" y="493"/>
                  </a:lnTo>
                  <a:lnTo>
                    <a:pt x="395" y="490"/>
                  </a:lnTo>
                  <a:lnTo>
                    <a:pt x="396" y="490"/>
                  </a:lnTo>
                  <a:lnTo>
                    <a:pt x="396" y="489"/>
                  </a:lnTo>
                  <a:lnTo>
                    <a:pt x="397" y="488"/>
                  </a:lnTo>
                  <a:lnTo>
                    <a:pt x="398" y="489"/>
                  </a:lnTo>
                  <a:lnTo>
                    <a:pt x="398" y="487"/>
                  </a:lnTo>
                  <a:lnTo>
                    <a:pt x="397" y="486"/>
                  </a:lnTo>
                  <a:lnTo>
                    <a:pt x="398" y="484"/>
                  </a:lnTo>
                  <a:lnTo>
                    <a:pt x="398" y="483"/>
                  </a:lnTo>
                  <a:lnTo>
                    <a:pt x="398" y="482"/>
                  </a:lnTo>
                  <a:lnTo>
                    <a:pt x="400" y="480"/>
                  </a:lnTo>
                  <a:lnTo>
                    <a:pt x="402" y="477"/>
                  </a:lnTo>
                  <a:lnTo>
                    <a:pt x="401" y="477"/>
                  </a:lnTo>
                  <a:lnTo>
                    <a:pt x="400" y="478"/>
                  </a:lnTo>
                  <a:lnTo>
                    <a:pt x="398" y="476"/>
                  </a:lnTo>
                  <a:lnTo>
                    <a:pt x="397" y="476"/>
                  </a:lnTo>
                  <a:lnTo>
                    <a:pt x="394" y="475"/>
                  </a:lnTo>
                  <a:lnTo>
                    <a:pt x="395" y="473"/>
                  </a:lnTo>
                  <a:lnTo>
                    <a:pt x="395" y="472"/>
                  </a:lnTo>
                  <a:lnTo>
                    <a:pt x="396" y="473"/>
                  </a:lnTo>
                  <a:lnTo>
                    <a:pt x="397" y="471"/>
                  </a:lnTo>
                  <a:lnTo>
                    <a:pt x="397" y="472"/>
                  </a:lnTo>
                  <a:lnTo>
                    <a:pt x="396" y="470"/>
                  </a:lnTo>
                  <a:lnTo>
                    <a:pt x="396" y="469"/>
                  </a:lnTo>
                  <a:lnTo>
                    <a:pt x="397" y="469"/>
                  </a:lnTo>
                  <a:lnTo>
                    <a:pt x="397" y="467"/>
                  </a:lnTo>
                  <a:lnTo>
                    <a:pt x="397" y="466"/>
                  </a:lnTo>
                  <a:lnTo>
                    <a:pt x="398" y="465"/>
                  </a:lnTo>
                  <a:lnTo>
                    <a:pt x="400" y="465"/>
                  </a:lnTo>
                  <a:lnTo>
                    <a:pt x="398" y="465"/>
                  </a:lnTo>
                  <a:lnTo>
                    <a:pt x="397" y="464"/>
                  </a:lnTo>
                  <a:lnTo>
                    <a:pt x="397" y="463"/>
                  </a:lnTo>
                  <a:lnTo>
                    <a:pt x="395" y="459"/>
                  </a:lnTo>
                  <a:lnTo>
                    <a:pt x="397" y="458"/>
                  </a:lnTo>
                  <a:lnTo>
                    <a:pt x="395" y="457"/>
                  </a:lnTo>
                  <a:lnTo>
                    <a:pt x="394" y="458"/>
                  </a:lnTo>
                  <a:lnTo>
                    <a:pt x="392" y="459"/>
                  </a:lnTo>
                  <a:lnTo>
                    <a:pt x="392" y="458"/>
                  </a:lnTo>
                  <a:lnTo>
                    <a:pt x="391" y="458"/>
                  </a:lnTo>
                  <a:lnTo>
                    <a:pt x="391" y="455"/>
                  </a:lnTo>
                  <a:lnTo>
                    <a:pt x="389" y="455"/>
                  </a:lnTo>
                  <a:lnTo>
                    <a:pt x="379" y="453"/>
                  </a:lnTo>
                  <a:lnTo>
                    <a:pt x="377" y="453"/>
                  </a:lnTo>
                  <a:lnTo>
                    <a:pt x="376" y="453"/>
                  </a:lnTo>
                  <a:lnTo>
                    <a:pt x="372" y="453"/>
                  </a:lnTo>
                  <a:lnTo>
                    <a:pt x="370" y="454"/>
                  </a:lnTo>
                  <a:lnTo>
                    <a:pt x="371" y="455"/>
                  </a:lnTo>
                  <a:lnTo>
                    <a:pt x="370" y="455"/>
                  </a:lnTo>
                  <a:lnTo>
                    <a:pt x="368" y="455"/>
                  </a:lnTo>
                  <a:lnTo>
                    <a:pt x="366" y="455"/>
                  </a:lnTo>
                  <a:lnTo>
                    <a:pt x="365" y="455"/>
                  </a:lnTo>
                  <a:lnTo>
                    <a:pt x="364" y="455"/>
                  </a:lnTo>
                  <a:lnTo>
                    <a:pt x="365" y="457"/>
                  </a:lnTo>
                  <a:lnTo>
                    <a:pt x="362" y="458"/>
                  </a:lnTo>
                  <a:lnTo>
                    <a:pt x="360" y="458"/>
                  </a:lnTo>
                  <a:lnTo>
                    <a:pt x="358" y="458"/>
                  </a:lnTo>
                  <a:lnTo>
                    <a:pt x="356" y="460"/>
                  </a:lnTo>
                  <a:lnTo>
                    <a:pt x="355" y="460"/>
                  </a:lnTo>
                  <a:lnTo>
                    <a:pt x="354" y="464"/>
                  </a:lnTo>
                  <a:lnTo>
                    <a:pt x="350" y="464"/>
                  </a:lnTo>
                  <a:lnTo>
                    <a:pt x="349" y="465"/>
                  </a:lnTo>
                  <a:lnTo>
                    <a:pt x="349" y="464"/>
                  </a:lnTo>
                  <a:lnTo>
                    <a:pt x="348" y="463"/>
                  </a:lnTo>
                  <a:lnTo>
                    <a:pt x="347" y="461"/>
                  </a:lnTo>
                  <a:lnTo>
                    <a:pt x="344" y="460"/>
                  </a:lnTo>
                  <a:lnTo>
                    <a:pt x="341" y="460"/>
                  </a:lnTo>
                  <a:lnTo>
                    <a:pt x="338" y="461"/>
                  </a:lnTo>
                  <a:lnTo>
                    <a:pt x="336" y="463"/>
                  </a:lnTo>
                  <a:lnTo>
                    <a:pt x="333" y="464"/>
                  </a:lnTo>
                  <a:lnTo>
                    <a:pt x="337" y="465"/>
                  </a:lnTo>
                  <a:lnTo>
                    <a:pt x="338" y="463"/>
                  </a:lnTo>
                  <a:lnTo>
                    <a:pt x="341" y="464"/>
                  </a:lnTo>
                  <a:lnTo>
                    <a:pt x="342" y="465"/>
                  </a:lnTo>
                  <a:lnTo>
                    <a:pt x="341" y="466"/>
                  </a:lnTo>
                  <a:lnTo>
                    <a:pt x="340" y="467"/>
                  </a:lnTo>
                  <a:lnTo>
                    <a:pt x="341" y="469"/>
                  </a:lnTo>
                  <a:lnTo>
                    <a:pt x="341" y="471"/>
                  </a:lnTo>
                  <a:lnTo>
                    <a:pt x="341" y="472"/>
                  </a:lnTo>
                  <a:lnTo>
                    <a:pt x="340" y="473"/>
                  </a:lnTo>
                  <a:lnTo>
                    <a:pt x="341" y="473"/>
                  </a:lnTo>
                  <a:lnTo>
                    <a:pt x="342" y="473"/>
                  </a:lnTo>
                  <a:lnTo>
                    <a:pt x="342" y="476"/>
                  </a:lnTo>
                  <a:lnTo>
                    <a:pt x="342" y="477"/>
                  </a:lnTo>
                  <a:lnTo>
                    <a:pt x="340" y="477"/>
                  </a:lnTo>
                  <a:lnTo>
                    <a:pt x="338" y="478"/>
                  </a:lnTo>
                  <a:lnTo>
                    <a:pt x="341" y="481"/>
                  </a:lnTo>
                  <a:lnTo>
                    <a:pt x="338" y="482"/>
                  </a:lnTo>
                  <a:lnTo>
                    <a:pt x="337" y="482"/>
                  </a:lnTo>
                  <a:lnTo>
                    <a:pt x="336" y="481"/>
                  </a:lnTo>
                  <a:lnTo>
                    <a:pt x="336" y="482"/>
                  </a:lnTo>
                  <a:lnTo>
                    <a:pt x="335" y="483"/>
                  </a:lnTo>
                  <a:lnTo>
                    <a:pt x="337" y="483"/>
                  </a:lnTo>
                  <a:lnTo>
                    <a:pt x="340" y="483"/>
                  </a:lnTo>
                  <a:lnTo>
                    <a:pt x="340" y="484"/>
                  </a:lnTo>
                  <a:lnTo>
                    <a:pt x="338" y="484"/>
                  </a:lnTo>
                  <a:lnTo>
                    <a:pt x="336" y="486"/>
                  </a:lnTo>
                  <a:lnTo>
                    <a:pt x="336" y="487"/>
                  </a:lnTo>
                  <a:lnTo>
                    <a:pt x="335" y="488"/>
                  </a:lnTo>
                  <a:lnTo>
                    <a:pt x="336" y="488"/>
                  </a:lnTo>
                  <a:lnTo>
                    <a:pt x="336" y="489"/>
                  </a:lnTo>
                  <a:lnTo>
                    <a:pt x="336" y="490"/>
                  </a:lnTo>
                  <a:lnTo>
                    <a:pt x="335" y="490"/>
                  </a:lnTo>
                  <a:lnTo>
                    <a:pt x="332" y="490"/>
                  </a:lnTo>
                  <a:lnTo>
                    <a:pt x="332" y="487"/>
                  </a:lnTo>
                  <a:lnTo>
                    <a:pt x="331" y="488"/>
                  </a:lnTo>
                  <a:lnTo>
                    <a:pt x="329" y="489"/>
                  </a:lnTo>
                  <a:lnTo>
                    <a:pt x="329" y="488"/>
                  </a:lnTo>
                  <a:lnTo>
                    <a:pt x="329" y="487"/>
                  </a:lnTo>
                  <a:lnTo>
                    <a:pt x="326" y="486"/>
                  </a:lnTo>
                  <a:lnTo>
                    <a:pt x="329" y="486"/>
                  </a:lnTo>
                  <a:lnTo>
                    <a:pt x="331" y="487"/>
                  </a:lnTo>
                  <a:lnTo>
                    <a:pt x="330" y="486"/>
                  </a:lnTo>
                  <a:lnTo>
                    <a:pt x="330" y="483"/>
                  </a:lnTo>
                  <a:lnTo>
                    <a:pt x="329" y="484"/>
                  </a:lnTo>
                  <a:lnTo>
                    <a:pt x="329" y="482"/>
                  </a:lnTo>
                  <a:lnTo>
                    <a:pt x="329" y="481"/>
                  </a:lnTo>
                  <a:lnTo>
                    <a:pt x="330" y="480"/>
                  </a:lnTo>
                  <a:lnTo>
                    <a:pt x="327" y="482"/>
                  </a:lnTo>
                  <a:lnTo>
                    <a:pt x="325" y="483"/>
                  </a:lnTo>
                  <a:lnTo>
                    <a:pt x="324" y="484"/>
                  </a:lnTo>
                  <a:lnTo>
                    <a:pt x="321" y="487"/>
                  </a:lnTo>
                  <a:lnTo>
                    <a:pt x="318" y="492"/>
                  </a:lnTo>
                  <a:lnTo>
                    <a:pt x="317" y="496"/>
                  </a:lnTo>
                  <a:lnTo>
                    <a:pt x="320" y="500"/>
                  </a:lnTo>
                  <a:lnTo>
                    <a:pt x="326" y="499"/>
                  </a:lnTo>
                  <a:lnTo>
                    <a:pt x="330" y="498"/>
                  </a:lnTo>
                  <a:lnTo>
                    <a:pt x="332" y="496"/>
                  </a:lnTo>
                  <a:lnTo>
                    <a:pt x="336" y="496"/>
                  </a:lnTo>
                  <a:lnTo>
                    <a:pt x="340" y="496"/>
                  </a:lnTo>
                  <a:lnTo>
                    <a:pt x="346" y="494"/>
                  </a:lnTo>
                  <a:lnTo>
                    <a:pt x="360" y="494"/>
                  </a:lnTo>
                  <a:lnTo>
                    <a:pt x="368" y="493"/>
                  </a:lnTo>
                  <a:lnTo>
                    <a:pt x="370" y="492"/>
                  </a:lnTo>
                  <a:lnTo>
                    <a:pt x="371" y="489"/>
                  </a:lnTo>
                  <a:lnTo>
                    <a:pt x="372" y="489"/>
                  </a:lnTo>
                  <a:lnTo>
                    <a:pt x="372" y="492"/>
                  </a:lnTo>
                  <a:lnTo>
                    <a:pt x="374" y="492"/>
                  </a:lnTo>
                  <a:lnTo>
                    <a:pt x="376" y="493"/>
                  </a:lnTo>
                  <a:lnTo>
                    <a:pt x="373" y="494"/>
                  </a:lnTo>
                  <a:lnTo>
                    <a:pt x="370" y="495"/>
                  </a:lnTo>
                  <a:lnTo>
                    <a:pt x="366" y="496"/>
                  </a:lnTo>
                  <a:lnTo>
                    <a:pt x="358" y="496"/>
                  </a:lnTo>
                  <a:lnTo>
                    <a:pt x="353" y="498"/>
                  </a:lnTo>
                  <a:lnTo>
                    <a:pt x="348" y="498"/>
                  </a:lnTo>
                  <a:lnTo>
                    <a:pt x="344" y="499"/>
                  </a:lnTo>
                  <a:lnTo>
                    <a:pt x="341" y="499"/>
                  </a:lnTo>
                  <a:lnTo>
                    <a:pt x="338" y="501"/>
                  </a:lnTo>
                  <a:lnTo>
                    <a:pt x="333" y="502"/>
                  </a:lnTo>
                  <a:lnTo>
                    <a:pt x="329" y="504"/>
                  </a:lnTo>
                  <a:lnTo>
                    <a:pt x="324" y="506"/>
                  </a:lnTo>
                  <a:lnTo>
                    <a:pt x="318" y="508"/>
                  </a:lnTo>
                  <a:lnTo>
                    <a:pt x="319" y="512"/>
                  </a:lnTo>
                  <a:lnTo>
                    <a:pt x="319" y="514"/>
                  </a:lnTo>
                  <a:lnTo>
                    <a:pt x="320" y="517"/>
                  </a:lnTo>
                  <a:lnTo>
                    <a:pt x="320" y="522"/>
                  </a:lnTo>
                  <a:lnTo>
                    <a:pt x="319" y="524"/>
                  </a:lnTo>
                  <a:lnTo>
                    <a:pt x="318" y="531"/>
                  </a:lnTo>
                  <a:lnTo>
                    <a:pt x="317" y="536"/>
                  </a:lnTo>
                  <a:lnTo>
                    <a:pt x="317" y="541"/>
                  </a:lnTo>
                  <a:lnTo>
                    <a:pt x="318" y="550"/>
                  </a:lnTo>
                  <a:lnTo>
                    <a:pt x="318" y="554"/>
                  </a:lnTo>
                  <a:lnTo>
                    <a:pt x="318" y="576"/>
                  </a:lnTo>
                  <a:lnTo>
                    <a:pt x="318" y="583"/>
                  </a:lnTo>
                  <a:lnTo>
                    <a:pt x="318" y="589"/>
                  </a:lnTo>
                  <a:lnTo>
                    <a:pt x="318" y="591"/>
                  </a:lnTo>
                  <a:lnTo>
                    <a:pt x="317" y="594"/>
                  </a:lnTo>
                  <a:lnTo>
                    <a:pt x="314" y="596"/>
                  </a:lnTo>
                  <a:lnTo>
                    <a:pt x="312" y="596"/>
                  </a:lnTo>
                  <a:lnTo>
                    <a:pt x="307" y="597"/>
                  </a:lnTo>
                  <a:lnTo>
                    <a:pt x="300" y="597"/>
                  </a:lnTo>
                  <a:lnTo>
                    <a:pt x="294" y="595"/>
                  </a:lnTo>
                  <a:lnTo>
                    <a:pt x="291" y="593"/>
                  </a:lnTo>
                  <a:lnTo>
                    <a:pt x="293" y="586"/>
                  </a:lnTo>
                  <a:lnTo>
                    <a:pt x="294" y="580"/>
                  </a:lnTo>
                  <a:lnTo>
                    <a:pt x="294" y="574"/>
                  </a:lnTo>
                  <a:lnTo>
                    <a:pt x="294" y="564"/>
                  </a:lnTo>
                  <a:lnTo>
                    <a:pt x="294" y="560"/>
                  </a:lnTo>
                  <a:lnTo>
                    <a:pt x="294" y="558"/>
                  </a:lnTo>
                  <a:lnTo>
                    <a:pt x="295" y="548"/>
                  </a:lnTo>
                  <a:lnTo>
                    <a:pt x="295" y="543"/>
                  </a:lnTo>
                  <a:lnTo>
                    <a:pt x="296" y="532"/>
                  </a:lnTo>
                  <a:lnTo>
                    <a:pt x="296" y="520"/>
                  </a:lnTo>
                  <a:lnTo>
                    <a:pt x="295" y="516"/>
                  </a:lnTo>
                  <a:lnTo>
                    <a:pt x="289" y="513"/>
                  </a:lnTo>
                  <a:lnTo>
                    <a:pt x="279" y="508"/>
                  </a:lnTo>
                  <a:lnTo>
                    <a:pt x="273" y="506"/>
                  </a:lnTo>
                  <a:lnTo>
                    <a:pt x="270" y="504"/>
                  </a:lnTo>
                  <a:lnTo>
                    <a:pt x="265" y="501"/>
                  </a:lnTo>
                  <a:lnTo>
                    <a:pt x="258" y="501"/>
                  </a:lnTo>
                  <a:lnTo>
                    <a:pt x="255" y="501"/>
                  </a:lnTo>
                  <a:lnTo>
                    <a:pt x="252" y="501"/>
                  </a:lnTo>
                  <a:lnTo>
                    <a:pt x="246" y="500"/>
                  </a:lnTo>
                  <a:lnTo>
                    <a:pt x="240" y="499"/>
                  </a:lnTo>
                  <a:lnTo>
                    <a:pt x="235" y="499"/>
                  </a:lnTo>
                  <a:lnTo>
                    <a:pt x="231" y="499"/>
                  </a:lnTo>
                  <a:lnTo>
                    <a:pt x="230" y="499"/>
                  </a:lnTo>
                  <a:lnTo>
                    <a:pt x="229" y="499"/>
                  </a:lnTo>
                  <a:lnTo>
                    <a:pt x="226" y="500"/>
                  </a:lnTo>
                  <a:lnTo>
                    <a:pt x="225" y="502"/>
                  </a:lnTo>
                  <a:lnTo>
                    <a:pt x="222" y="504"/>
                  </a:lnTo>
                  <a:lnTo>
                    <a:pt x="219" y="506"/>
                  </a:lnTo>
                  <a:lnTo>
                    <a:pt x="217" y="506"/>
                  </a:lnTo>
                  <a:lnTo>
                    <a:pt x="215" y="504"/>
                  </a:lnTo>
                  <a:lnTo>
                    <a:pt x="220" y="501"/>
                  </a:lnTo>
                  <a:lnTo>
                    <a:pt x="225" y="498"/>
                  </a:lnTo>
                  <a:lnTo>
                    <a:pt x="229" y="494"/>
                  </a:lnTo>
                  <a:lnTo>
                    <a:pt x="231" y="493"/>
                  </a:lnTo>
                  <a:lnTo>
                    <a:pt x="232" y="490"/>
                  </a:lnTo>
                  <a:lnTo>
                    <a:pt x="232" y="488"/>
                  </a:lnTo>
                  <a:lnTo>
                    <a:pt x="230" y="487"/>
                  </a:lnTo>
                  <a:lnTo>
                    <a:pt x="225" y="488"/>
                  </a:lnTo>
                  <a:lnTo>
                    <a:pt x="219" y="488"/>
                  </a:lnTo>
                  <a:lnTo>
                    <a:pt x="217" y="488"/>
                  </a:lnTo>
                  <a:lnTo>
                    <a:pt x="213" y="488"/>
                  </a:lnTo>
                  <a:lnTo>
                    <a:pt x="203" y="489"/>
                  </a:lnTo>
                  <a:lnTo>
                    <a:pt x="196" y="489"/>
                  </a:lnTo>
                  <a:lnTo>
                    <a:pt x="194" y="489"/>
                  </a:lnTo>
                  <a:lnTo>
                    <a:pt x="191" y="490"/>
                  </a:lnTo>
                  <a:lnTo>
                    <a:pt x="188" y="490"/>
                  </a:lnTo>
                  <a:lnTo>
                    <a:pt x="187" y="490"/>
                  </a:lnTo>
                  <a:lnTo>
                    <a:pt x="185" y="489"/>
                  </a:lnTo>
                  <a:lnTo>
                    <a:pt x="184" y="492"/>
                  </a:lnTo>
                  <a:lnTo>
                    <a:pt x="184" y="495"/>
                  </a:lnTo>
                  <a:lnTo>
                    <a:pt x="182" y="496"/>
                  </a:lnTo>
                  <a:lnTo>
                    <a:pt x="179" y="496"/>
                  </a:lnTo>
                  <a:lnTo>
                    <a:pt x="177" y="496"/>
                  </a:lnTo>
                  <a:lnTo>
                    <a:pt x="176" y="495"/>
                  </a:lnTo>
                  <a:lnTo>
                    <a:pt x="176" y="496"/>
                  </a:lnTo>
                  <a:lnTo>
                    <a:pt x="176" y="499"/>
                  </a:lnTo>
                  <a:lnTo>
                    <a:pt x="176" y="500"/>
                  </a:lnTo>
                  <a:lnTo>
                    <a:pt x="173" y="501"/>
                  </a:lnTo>
                  <a:lnTo>
                    <a:pt x="171" y="502"/>
                  </a:lnTo>
                  <a:lnTo>
                    <a:pt x="169" y="504"/>
                  </a:lnTo>
                  <a:lnTo>
                    <a:pt x="167" y="505"/>
                  </a:lnTo>
                  <a:lnTo>
                    <a:pt x="166" y="504"/>
                  </a:lnTo>
                  <a:lnTo>
                    <a:pt x="164" y="505"/>
                  </a:lnTo>
                  <a:lnTo>
                    <a:pt x="164" y="502"/>
                  </a:lnTo>
                  <a:lnTo>
                    <a:pt x="161" y="502"/>
                  </a:lnTo>
                  <a:lnTo>
                    <a:pt x="160" y="501"/>
                  </a:lnTo>
                  <a:lnTo>
                    <a:pt x="158" y="501"/>
                  </a:lnTo>
                  <a:lnTo>
                    <a:pt x="156" y="500"/>
                  </a:lnTo>
                  <a:lnTo>
                    <a:pt x="156" y="501"/>
                  </a:lnTo>
                  <a:lnTo>
                    <a:pt x="154" y="502"/>
                  </a:lnTo>
                  <a:lnTo>
                    <a:pt x="153" y="506"/>
                  </a:lnTo>
                  <a:lnTo>
                    <a:pt x="152" y="507"/>
                  </a:lnTo>
                  <a:lnTo>
                    <a:pt x="152" y="508"/>
                  </a:lnTo>
                  <a:lnTo>
                    <a:pt x="152" y="510"/>
                  </a:lnTo>
                  <a:lnTo>
                    <a:pt x="149" y="510"/>
                  </a:lnTo>
                  <a:lnTo>
                    <a:pt x="148" y="512"/>
                  </a:lnTo>
                  <a:lnTo>
                    <a:pt x="147" y="512"/>
                  </a:lnTo>
                  <a:lnTo>
                    <a:pt x="146" y="511"/>
                  </a:lnTo>
                  <a:lnTo>
                    <a:pt x="146" y="510"/>
                  </a:lnTo>
                  <a:lnTo>
                    <a:pt x="143" y="508"/>
                  </a:lnTo>
                  <a:lnTo>
                    <a:pt x="142" y="510"/>
                  </a:lnTo>
                  <a:lnTo>
                    <a:pt x="142" y="508"/>
                  </a:lnTo>
                  <a:lnTo>
                    <a:pt x="141" y="508"/>
                  </a:lnTo>
                  <a:lnTo>
                    <a:pt x="137" y="508"/>
                  </a:lnTo>
                  <a:lnTo>
                    <a:pt x="136" y="510"/>
                  </a:lnTo>
                  <a:lnTo>
                    <a:pt x="135" y="511"/>
                  </a:lnTo>
                  <a:lnTo>
                    <a:pt x="135" y="510"/>
                  </a:lnTo>
                  <a:lnTo>
                    <a:pt x="135" y="507"/>
                  </a:lnTo>
                  <a:lnTo>
                    <a:pt x="136" y="506"/>
                  </a:lnTo>
                  <a:lnTo>
                    <a:pt x="135" y="507"/>
                  </a:lnTo>
                  <a:lnTo>
                    <a:pt x="132" y="506"/>
                  </a:lnTo>
                  <a:lnTo>
                    <a:pt x="134" y="505"/>
                  </a:lnTo>
                  <a:lnTo>
                    <a:pt x="131" y="506"/>
                  </a:lnTo>
                  <a:lnTo>
                    <a:pt x="130" y="505"/>
                  </a:lnTo>
                  <a:lnTo>
                    <a:pt x="129" y="507"/>
                  </a:lnTo>
                  <a:lnTo>
                    <a:pt x="125" y="508"/>
                  </a:lnTo>
                  <a:lnTo>
                    <a:pt x="123" y="507"/>
                  </a:lnTo>
                  <a:lnTo>
                    <a:pt x="126" y="506"/>
                  </a:lnTo>
                  <a:lnTo>
                    <a:pt x="124" y="504"/>
                  </a:lnTo>
                  <a:lnTo>
                    <a:pt x="123" y="502"/>
                  </a:lnTo>
                  <a:lnTo>
                    <a:pt x="122" y="501"/>
                  </a:lnTo>
                  <a:lnTo>
                    <a:pt x="120" y="501"/>
                  </a:lnTo>
                  <a:lnTo>
                    <a:pt x="120" y="500"/>
                  </a:lnTo>
                  <a:lnTo>
                    <a:pt x="120" y="499"/>
                  </a:lnTo>
                  <a:lnTo>
                    <a:pt x="122" y="498"/>
                  </a:lnTo>
                  <a:lnTo>
                    <a:pt x="122" y="499"/>
                  </a:lnTo>
                  <a:lnTo>
                    <a:pt x="124" y="500"/>
                  </a:lnTo>
                  <a:lnTo>
                    <a:pt x="125" y="500"/>
                  </a:lnTo>
                  <a:lnTo>
                    <a:pt x="126" y="501"/>
                  </a:lnTo>
                  <a:lnTo>
                    <a:pt x="126" y="500"/>
                  </a:lnTo>
                  <a:lnTo>
                    <a:pt x="128" y="501"/>
                  </a:lnTo>
                  <a:lnTo>
                    <a:pt x="128" y="500"/>
                  </a:lnTo>
                  <a:lnTo>
                    <a:pt x="128" y="501"/>
                  </a:lnTo>
                  <a:lnTo>
                    <a:pt x="129" y="501"/>
                  </a:lnTo>
                  <a:lnTo>
                    <a:pt x="131" y="502"/>
                  </a:lnTo>
                  <a:lnTo>
                    <a:pt x="131" y="501"/>
                  </a:lnTo>
                  <a:lnTo>
                    <a:pt x="130" y="500"/>
                  </a:lnTo>
                  <a:lnTo>
                    <a:pt x="130" y="499"/>
                  </a:lnTo>
                  <a:lnTo>
                    <a:pt x="130" y="498"/>
                  </a:lnTo>
                  <a:lnTo>
                    <a:pt x="131" y="495"/>
                  </a:lnTo>
                  <a:lnTo>
                    <a:pt x="131" y="494"/>
                  </a:lnTo>
                  <a:lnTo>
                    <a:pt x="132" y="493"/>
                  </a:lnTo>
                  <a:lnTo>
                    <a:pt x="134" y="493"/>
                  </a:lnTo>
                  <a:lnTo>
                    <a:pt x="135" y="492"/>
                  </a:lnTo>
                  <a:lnTo>
                    <a:pt x="136" y="489"/>
                  </a:lnTo>
                  <a:lnTo>
                    <a:pt x="137" y="488"/>
                  </a:lnTo>
                  <a:lnTo>
                    <a:pt x="138" y="489"/>
                  </a:lnTo>
                  <a:lnTo>
                    <a:pt x="140" y="488"/>
                  </a:lnTo>
                  <a:lnTo>
                    <a:pt x="142" y="490"/>
                  </a:lnTo>
                  <a:lnTo>
                    <a:pt x="143" y="488"/>
                  </a:lnTo>
                  <a:lnTo>
                    <a:pt x="141" y="488"/>
                  </a:lnTo>
                  <a:lnTo>
                    <a:pt x="142" y="487"/>
                  </a:lnTo>
                  <a:lnTo>
                    <a:pt x="140" y="486"/>
                  </a:lnTo>
                  <a:lnTo>
                    <a:pt x="141" y="483"/>
                  </a:lnTo>
                  <a:lnTo>
                    <a:pt x="140" y="483"/>
                  </a:lnTo>
                  <a:lnTo>
                    <a:pt x="141" y="482"/>
                  </a:lnTo>
                  <a:lnTo>
                    <a:pt x="141" y="480"/>
                  </a:lnTo>
                  <a:lnTo>
                    <a:pt x="138" y="478"/>
                  </a:lnTo>
                  <a:lnTo>
                    <a:pt x="140" y="477"/>
                  </a:lnTo>
                  <a:lnTo>
                    <a:pt x="141" y="477"/>
                  </a:lnTo>
                  <a:lnTo>
                    <a:pt x="141" y="476"/>
                  </a:lnTo>
                  <a:lnTo>
                    <a:pt x="143" y="478"/>
                  </a:lnTo>
                  <a:lnTo>
                    <a:pt x="144" y="480"/>
                  </a:lnTo>
                  <a:lnTo>
                    <a:pt x="146" y="481"/>
                  </a:lnTo>
                  <a:lnTo>
                    <a:pt x="147" y="480"/>
                  </a:lnTo>
                  <a:lnTo>
                    <a:pt x="149" y="482"/>
                  </a:lnTo>
                  <a:lnTo>
                    <a:pt x="152" y="482"/>
                  </a:lnTo>
                  <a:lnTo>
                    <a:pt x="152" y="483"/>
                  </a:lnTo>
                  <a:lnTo>
                    <a:pt x="154" y="484"/>
                  </a:lnTo>
                  <a:lnTo>
                    <a:pt x="155" y="483"/>
                  </a:lnTo>
                  <a:lnTo>
                    <a:pt x="155" y="482"/>
                  </a:lnTo>
                  <a:lnTo>
                    <a:pt x="156" y="483"/>
                  </a:lnTo>
                  <a:lnTo>
                    <a:pt x="159" y="482"/>
                  </a:lnTo>
                  <a:lnTo>
                    <a:pt x="160" y="484"/>
                  </a:lnTo>
                  <a:lnTo>
                    <a:pt x="160" y="482"/>
                  </a:lnTo>
                  <a:lnTo>
                    <a:pt x="160" y="481"/>
                  </a:lnTo>
                  <a:lnTo>
                    <a:pt x="161" y="481"/>
                  </a:lnTo>
                  <a:lnTo>
                    <a:pt x="161" y="480"/>
                  </a:lnTo>
                  <a:lnTo>
                    <a:pt x="163" y="480"/>
                  </a:lnTo>
                  <a:lnTo>
                    <a:pt x="164" y="481"/>
                  </a:lnTo>
                  <a:lnTo>
                    <a:pt x="164" y="480"/>
                  </a:lnTo>
                  <a:lnTo>
                    <a:pt x="166" y="481"/>
                  </a:lnTo>
                  <a:lnTo>
                    <a:pt x="167" y="480"/>
                  </a:lnTo>
                  <a:lnTo>
                    <a:pt x="170" y="482"/>
                  </a:lnTo>
                  <a:lnTo>
                    <a:pt x="170" y="478"/>
                  </a:lnTo>
                  <a:lnTo>
                    <a:pt x="169" y="478"/>
                  </a:lnTo>
                  <a:lnTo>
                    <a:pt x="169" y="477"/>
                  </a:lnTo>
                  <a:lnTo>
                    <a:pt x="167" y="476"/>
                  </a:lnTo>
                  <a:lnTo>
                    <a:pt x="169" y="475"/>
                  </a:lnTo>
                  <a:lnTo>
                    <a:pt x="171" y="473"/>
                  </a:lnTo>
                  <a:lnTo>
                    <a:pt x="172" y="475"/>
                  </a:lnTo>
                  <a:lnTo>
                    <a:pt x="173" y="476"/>
                  </a:lnTo>
                  <a:lnTo>
                    <a:pt x="175" y="476"/>
                  </a:lnTo>
                  <a:lnTo>
                    <a:pt x="175" y="475"/>
                  </a:lnTo>
                  <a:lnTo>
                    <a:pt x="175" y="473"/>
                  </a:lnTo>
                  <a:lnTo>
                    <a:pt x="175" y="471"/>
                  </a:lnTo>
                  <a:lnTo>
                    <a:pt x="176" y="471"/>
                  </a:lnTo>
                  <a:lnTo>
                    <a:pt x="178" y="470"/>
                  </a:lnTo>
                  <a:lnTo>
                    <a:pt x="179" y="473"/>
                  </a:lnTo>
                  <a:lnTo>
                    <a:pt x="179" y="476"/>
                  </a:lnTo>
                  <a:lnTo>
                    <a:pt x="181" y="476"/>
                  </a:lnTo>
                  <a:lnTo>
                    <a:pt x="183" y="477"/>
                  </a:lnTo>
                  <a:lnTo>
                    <a:pt x="183" y="478"/>
                  </a:lnTo>
                  <a:lnTo>
                    <a:pt x="184" y="478"/>
                  </a:lnTo>
                  <a:lnTo>
                    <a:pt x="184" y="480"/>
                  </a:lnTo>
                  <a:lnTo>
                    <a:pt x="185" y="480"/>
                  </a:lnTo>
                  <a:lnTo>
                    <a:pt x="187" y="480"/>
                  </a:lnTo>
                  <a:lnTo>
                    <a:pt x="189" y="480"/>
                  </a:lnTo>
                  <a:lnTo>
                    <a:pt x="188" y="481"/>
                  </a:lnTo>
                  <a:lnTo>
                    <a:pt x="187" y="482"/>
                  </a:lnTo>
                  <a:lnTo>
                    <a:pt x="187" y="483"/>
                  </a:lnTo>
                  <a:lnTo>
                    <a:pt x="185" y="483"/>
                  </a:lnTo>
                  <a:lnTo>
                    <a:pt x="185" y="484"/>
                  </a:lnTo>
                  <a:lnTo>
                    <a:pt x="185" y="486"/>
                  </a:lnTo>
                  <a:lnTo>
                    <a:pt x="188" y="486"/>
                  </a:lnTo>
                  <a:lnTo>
                    <a:pt x="187" y="487"/>
                  </a:lnTo>
                  <a:lnTo>
                    <a:pt x="187" y="488"/>
                  </a:lnTo>
                  <a:lnTo>
                    <a:pt x="188" y="487"/>
                  </a:lnTo>
                  <a:lnTo>
                    <a:pt x="189" y="487"/>
                  </a:lnTo>
                  <a:lnTo>
                    <a:pt x="190" y="486"/>
                  </a:lnTo>
                  <a:lnTo>
                    <a:pt x="193" y="484"/>
                  </a:lnTo>
                  <a:lnTo>
                    <a:pt x="194" y="484"/>
                  </a:lnTo>
                  <a:lnTo>
                    <a:pt x="195" y="486"/>
                  </a:lnTo>
                  <a:lnTo>
                    <a:pt x="196" y="487"/>
                  </a:lnTo>
                  <a:lnTo>
                    <a:pt x="201" y="486"/>
                  </a:lnTo>
                  <a:lnTo>
                    <a:pt x="207" y="486"/>
                  </a:lnTo>
                  <a:lnTo>
                    <a:pt x="213" y="486"/>
                  </a:lnTo>
                  <a:lnTo>
                    <a:pt x="215" y="486"/>
                  </a:lnTo>
                  <a:lnTo>
                    <a:pt x="218" y="484"/>
                  </a:lnTo>
                  <a:lnTo>
                    <a:pt x="219" y="484"/>
                  </a:lnTo>
                  <a:lnTo>
                    <a:pt x="220" y="484"/>
                  </a:lnTo>
                  <a:lnTo>
                    <a:pt x="223" y="484"/>
                  </a:lnTo>
                  <a:lnTo>
                    <a:pt x="226" y="484"/>
                  </a:lnTo>
                  <a:lnTo>
                    <a:pt x="228" y="484"/>
                  </a:lnTo>
                  <a:lnTo>
                    <a:pt x="234" y="482"/>
                  </a:lnTo>
                  <a:lnTo>
                    <a:pt x="236" y="481"/>
                  </a:lnTo>
                  <a:lnTo>
                    <a:pt x="236" y="478"/>
                  </a:lnTo>
                  <a:lnTo>
                    <a:pt x="238" y="478"/>
                  </a:lnTo>
                  <a:lnTo>
                    <a:pt x="241" y="480"/>
                  </a:lnTo>
                  <a:lnTo>
                    <a:pt x="243" y="481"/>
                  </a:lnTo>
                  <a:lnTo>
                    <a:pt x="247" y="480"/>
                  </a:lnTo>
                  <a:lnTo>
                    <a:pt x="250" y="478"/>
                  </a:lnTo>
                  <a:lnTo>
                    <a:pt x="252" y="477"/>
                  </a:lnTo>
                  <a:lnTo>
                    <a:pt x="252" y="475"/>
                  </a:lnTo>
                  <a:lnTo>
                    <a:pt x="252" y="473"/>
                  </a:lnTo>
                  <a:lnTo>
                    <a:pt x="254" y="473"/>
                  </a:lnTo>
                  <a:lnTo>
                    <a:pt x="258" y="472"/>
                  </a:lnTo>
                  <a:lnTo>
                    <a:pt x="259" y="471"/>
                  </a:lnTo>
                  <a:lnTo>
                    <a:pt x="262" y="471"/>
                  </a:lnTo>
                  <a:lnTo>
                    <a:pt x="265" y="470"/>
                  </a:lnTo>
                  <a:lnTo>
                    <a:pt x="267" y="469"/>
                  </a:lnTo>
                  <a:lnTo>
                    <a:pt x="270" y="466"/>
                  </a:lnTo>
                  <a:lnTo>
                    <a:pt x="268" y="467"/>
                  </a:lnTo>
                  <a:lnTo>
                    <a:pt x="267" y="466"/>
                  </a:lnTo>
                  <a:lnTo>
                    <a:pt x="266" y="466"/>
                  </a:lnTo>
                  <a:lnTo>
                    <a:pt x="266" y="463"/>
                  </a:lnTo>
                  <a:lnTo>
                    <a:pt x="267" y="461"/>
                  </a:lnTo>
                  <a:lnTo>
                    <a:pt x="266" y="461"/>
                  </a:lnTo>
                  <a:lnTo>
                    <a:pt x="266" y="460"/>
                  </a:lnTo>
                  <a:lnTo>
                    <a:pt x="264" y="460"/>
                  </a:lnTo>
                  <a:lnTo>
                    <a:pt x="264" y="461"/>
                  </a:lnTo>
                  <a:lnTo>
                    <a:pt x="265" y="463"/>
                  </a:lnTo>
                  <a:lnTo>
                    <a:pt x="264" y="464"/>
                  </a:lnTo>
                  <a:lnTo>
                    <a:pt x="264" y="465"/>
                  </a:lnTo>
                  <a:lnTo>
                    <a:pt x="264" y="467"/>
                  </a:lnTo>
                  <a:lnTo>
                    <a:pt x="262" y="467"/>
                  </a:lnTo>
                  <a:lnTo>
                    <a:pt x="260" y="469"/>
                  </a:lnTo>
                  <a:lnTo>
                    <a:pt x="258" y="466"/>
                  </a:lnTo>
                  <a:lnTo>
                    <a:pt x="258" y="465"/>
                  </a:lnTo>
                  <a:lnTo>
                    <a:pt x="255" y="466"/>
                  </a:lnTo>
                  <a:lnTo>
                    <a:pt x="253" y="466"/>
                  </a:lnTo>
                  <a:lnTo>
                    <a:pt x="249" y="465"/>
                  </a:lnTo>
                  <a:lnTo>
                    <a:pt x="248" y="466"/>
                  </a:lnTo>
                  <a:lnTo>
                    <a:pt x="248" y="467"/>
                  </a:lnTo>
                  <a:lnTo>
                    <a:pt x="246" y="469"/>
                  </a:lnTo>
                  <a:lnTo>
                    <a:pt x="244" y="469"/>
                  </a:lnTo>
                  <a:lnTo>
                    <a:pt x="244" y="467"/>
                  </a:lnTo>
                  <a:lnTo>
                    <a:pt x="244" y="465"/>
                  </a:lnTo>
                  <a:lnTo>
                    <a:pt x="246" y="464"/>
                  </a:lnTo>
                  <a:lnTo>
                    <a:pt x="247" y="464"/>
                  </a:lnTo>
                  <a:lnTo>
                    <a:pt x="247" y="463"/>
                  </a:lnTo>
                  <a:lnTo>
                    <a:pt x="247" y="459"/>
                  </a:lnTo>
                  <a:lnTo>
                    <a:pt x="247" y="458"/>
                  </a:lnTo>
                  <a:lnTo>
                    <a:pt x="248" y="455"/>
                  </a:lnTo>
                  <a:lnTo>
                    <a:pt x="249" y="455"/>
                  </a:lnTo>
                  <a:lnTo>
                    <a:pt x="250" y="457"/>
                  </a:lnTo>
                  <a:lnTo>
                    <a:pt x="250" y="454"/>
                  </a:lnTo>
                  <a:lnTo>
                    <a:pt x="249" y="453"/>
                  </a:lnTo>
                  <a:lnTo>
                    <a:pt x="248" y="454"/>
                  </a:lnTo>
                  <a:lnTo>
                    <a:pt x="247" y="454"/>
                  </a:lnTo>
                  <a:lnTo>
                    <a:pt x="246" y="454"/>
                  </a:lnTo>
                  <a:lnTo>
                    <a:pt x="244" y="453"/>
                  </a:lnTo>
                  <a:lnTo>
                    <a:pt x="242" y="453"/>
                  </a:lnTo>
                  <a:lnTo>
                    <a:pt x="242" y="452"/>
                  </a:lnTo>
                  <a:lnTo>
                    <a:pt x="243" y="451"/>
                  </a:lnTo>
                  <a:lnTo>
                    <a:pt x="242" y="449"/>
                  </a:lnTo>
                  <a:lnTo>
                    <a:pt x="240" y="448"/>
                  </a:lnTo>
                  <a:lnTo>
                    <a:pt x="241" y="451"/>
                  </a:lnTo>
                  <a:lnTo>
                    <a:pt x="240" y="452"/>
                  </a:lnTo>
                  <a:lnTo>
                    <a:pt x="238" y="451"/>
                  </a:lnTo>
                  <a:lnTo>
                    <a:pt x="237" y="451"/>
                  </a:lnTo>
                  <a:lnTo>
                    <a:pt x="235" y="451"/>
                  </a:lnTo>
                  <a:lnTo>
                    <a:pt x="235" y="454"/>
                  </a:lnTo>
                  <a:lnTo>
                    <a:pt x="234" y="453"/>
                  </a:lnTo>
                  <a:lnTo>
                    <a:pt x="232" y="454"/>
                  </a:lnTo>
                  <a:lnTo>
                    <a:pt x="231" y="457"/>
                  </a:lnTo>
                  <a:lnTo>
                    <a:pt x="229" y="458"/>
                  </a:lnTo>
                  <a:lnTo>
                    <a:pt x="228" y="460"/>
                  </a:lnTo>
                  <a:lnTo>
                    <a:pt x="226" y="463"/>
                  </a:lnTo>
                  <a:lnTo>
                    <a:pt x="228" y="461"/>
                  </a:lnTo>
                  <a:lnTo>
                    <a:pt x="229" y="461"/>
                  </a:lnTo>
                  <a:lnTo>
                    <a:pt x="229" y="463"/>
                  </a:lnTo>
                  <a:lnTo>
                    <a:pt x="229" y="464"/>
                  </a:lnTo>
                  <a:lnTo>
                    <a:pt x="228" y="465"/>
                  </a:lnTo>
                  <a:lnTo>
                    <a:pt x="229" y="465"/>
                  </a:lnTo>
                  <a:lnTo>
                    <a:pt x="230" y="464"/>
                  </a:lnTo>
                  <a:lnTo>
                    <a:pt x="230" y="465"/>
                  </a:lnTo>
                  <a:lnTo>
                    <a:pt x="230" y="466"/>
                  </a:lnTo>
                  <a:lnTo>
                    <a:pt x="229" y="469"/>
                  </a:lnTo>
                  <a:lnTo>
                    <a:pt x="230" y="467"/>
                  </a:lnTo>
                  <a:lnTo>
                    <a:pt x="231" y="469"/>
                  </a:lnTo>
                  <a:lnTo>
                    <a:pt x="229" y="470"/>
                  </a:lnTo>
                  <a:lnTo>
                    <a:pt x="228" y="471"/>
                  </a:lnTo>
                  <a:lnTo>
                    <a:pt x="226" y="472"/>
                  </a:lnTo>
                  <a:lnTo>
                    <a:pt x="224" y="472"/>
                  </a:lnTo>
                  <a:lnTo>
                    <a:pt x="223" y="472"/>
                  </a:lnTo>
                  <a:lnTo>
                    <a:pt x="224" y="471"/>
                  </a:lnTo>
                  <a:lnTo>
                    <a:pt x="224" y="469"/>
                  </a:lnTo>
                  <a:lnTo>
                    <a:pt x="223" y="469"/>
                  </a:lnTo>
                  <a:lnTo>
                    <a:pt x="222" y="472"/>
                  </a:lnTo>
                  <a:lnTo>
                    <a:pt x="219" y="472"/>
                  </a:lnTo>
                  <a:lnTo>
                    <a:pt x="219" y="470"/>
                  </a:lnTo>
                  <a:lnTo>
                    <a:pt x="218" y="471"/>
                  </a:lnTo>
                  <a:lnTo>
                    <a:pt x="217" y="471"/>
                  </a:lnTo>
                  <a:lnTo>
                    <a:pt x="214" y="471"/>
                  </a:lnTo>
                  <a:lnTo>
                    <a:pt x="214" y="472"/>
                  </a:lnTo>
                  <a:lnTo>
                    <a:pt x="213" y="471"/>
                  </a:lnTo>
                  <a:lnTo>
                    <a:pt x="211" y="471"/>
                  </a:lnTo>
                  <a:lnTo>
                    <a:pt x="211" y="470"/>
                  </a:lnTo>
                  <a:lnTo>
                    <a:pt x="213" y="466"/>
                  </a:lnTo>
                  <a:lnTo>
                    <a:pt x="214" y="464"/>
                  </a:lnTo>
                  <a:lnTo>
                    <a:pt x="212" y="466"/>
                  </a:lnTo>
                  <a:lnTo>
                    <a:pt x="211" y="466"/>
                  </a:lnTo>
                  <a:lnTo>
                    <a:pt x="209" y="465"/>
                  </a:lnTo>
                  <a:lnTo>
                    <a:pt x="208" y="465"/>
                  </a:lnTo>
                  <a:lnTo>
                    <a:pt x="207" y="464"/>
                  </a:lnTo>
                  <a:lnTo>
                    <a:pt x="207" y="463"/>
                  </a:lnTo>
                  <a:lnTo>
                    <a:pt x="206" y="463"/>
                  </a:lnTo>
                  <a:lnTo>
                    <a:pt x="206" y="458"/>
                  </a:lnTo>
                  <a:lnTo>
                    <a:pt x="206" y="455"/>
                  </a:lnTo>
                  <a:lnTo>
                    <a:pt x="203" y="453"/>
                  </a:lnTo>
                  <a:lnTo>
                    <a:pt x="203" y="449"/>
                  </a:lnTo>
                  <a:lnTo>
                    <a:pt x="205" y="451"/>
                  </a:lnTo>
                  <a:lnTo>
                    <a:pt x="206" y="448"/>
                  </a:lnTo>
                  <a:lnTo>
                    <a:pt x="208" y="447"/>
                  </a:lnTo>
                  <a:lnTo>
                    <a:pt x="211" y="447"/>
                  </a:lnTo>
                  <a:lnTo>
                    <a:pt x="211" y="445"/>
                  </a:lnTo>
                  <a:lnTo>
                    <a:pt x="208" y="445"/>
                  </a:lnTo>
                  <a:lnTo>
                    <a:pt x="207" y="446"/>
                  </a:lnTo>
                  <a:lnTo>
                    <a:pt x="205" y="446"/>
                  </a:lnTo>
                  <a:lnTo>
                    <a:pt x="203" y="445"/>
                  </a:lnTo>
                  <a:lnTo>
                    <a:pt x="201" y="446"/>
                  </a:lnTo>
                  <a:lnTo>
                    <a:pt x="201" y="448"/>
                  </a:lnTo>
                  <a:lnTo>
                    <a:pt x="202" y="449"/>
                  </a:lnTo>
                  <a:lnTo>
                    <a:pt x="201" y="451"/>
                  </a:lnTo>
                  <a:lnTo>
                    <a:pt x="200" y="452"/>
                  </a:lnTo>
                  <a:lnTo>
                    <a:pt x="200" y="453"/>
                  </a:lnTo>
                  <a:lnTo>
                    <a:pt x="199" y="453"/>
                  </a:lnTo>
                  <a:lnTo>
                    <a:pt x="200" y="449"/>
                  </a:lnTo>
                  <a:lnTo>
                    <a:pt x="197" y="449"/>
                  </a:lnTo>
                  <a:lnTo>
                    <a:pt x="196" y="452"/>
                  </a:lnTo>
                  <a:lnTo>
                    <a:pt x="194" y="452"/>
                  </a:lnTo>
                  <a:lnTo>
                    <a:pt x="191" y="452"/>
                  </a:lnTo>
                  <a:lnTo>
                    <a:pt x="190" y="452"/>
                  </a:lnTo>
                  <a:lnTo>
                    <a:pt x="190" y="453"/>
                  </a:lnTo>
                  <a:lnTo>
                    <a:pt x="189" y="453"/>
                  </a:lnTo>
                  <a:lnTo>
                    <a:pt x="188" y="454"/>
                  </a:lnTo>
                  <a:lnTo>
                    <a:pt x="185" y="455"/>
                  </a:lnTo>
                  <a:lnTo>
                    <a:pt x="185" y="454"/>
                  </a:lnTo>
                  <a:lnTo>
                    <a:pt x="184" y="455"/>
                  </a:lnTo>
                  <a:lnTo>
                    <a:pt x="183" y="454"/>
                  </a:lnTo>
                  <a:lnTo>
                    <a:pt x="182" y="453"/>
                  </a:lnTo>
                  <a:lnTo>
                    <a:pt x="181" y="453"/>
                  </a:lnTo>
                  <a:lnTo>
                    <a:pt x="178" y="452"/>
                  </a:lnTo>
                  <a:lnTo>
                    <a:pt x="178" y="449"/>
                  </a:lnTo>
                  <a:lnTo>
                    <a:pt x="176" y="449"/>
                  </a:lnTo>
                  <a:lnTo>
                    <a:pt x="175" y="449"/>
                  </a:lnTo>
                  <a:lnTo>
                    <a:pt x="172" y="451"/>
                  </a:lnTo>
                  <a:lnTo>
                    <a:pt x="171" y="451"/>
                  </a:lnTo>
                  <a:lnTo>
                    <a:pt x="167" y="449"/>
                  </a:lnTo>
                  <a:lnTo>
                    <a:pt x="167" y="448"/>
                  </a:lnTo>
                  <a:lnTo>
                    <a:pt x="166" y="448"/>
                  </a:lnTo>
                  <a:lnTo>
                    <a:pt x="164" y="449"/>
                  </a:lnTo>
                  <a:lnTo>
                    <a:pt x="161" y="448"/>
                  </a:lnTo>
                  <a:lnTo>
                    <a:pt x="161" y="449"/>
                  </a:lnTo>
                  <a:lnTo>
                    <a:pt x="159" y="449"/>
                  </a:lnTo>
                  <a:lnTo>
                    <a:pt x="158" y="448"/>
                  </a:lnTo>
                  <a:lnTo>
                    <a:pt x="156" y="448"/>
                  </a:lnTo>
                  <a:lnTo>
                    <a:pt x="155" y="449"/>
                  </a:lnTo>
                  <a:lnTo>
                    <a:pt x="154" y="448"/>
                  </a:lnTo>
                  <a:lnTo>
                    <a:pt x="152" y="449"/>
                  </a:lnTo>
                  <a:lnTo>
                    <a:pt x="152" y="451"/>
                  </a:lnTo>
                  <a:lnTo>
                    <a:pt x="152" y="452"/>
                  </a:lnTo>
                  <a:lnTo>
                    <a:pt x="152" y="453"/>
                  </a:lnTo>
                  <a:lnTo>
                    <a:pt x="152" y="452"/>
                  </a:lnTo>
                  <a:lnTo>
                    <a:pt x="154" y="452"/>
                  </a:lnTo>
                  <a:lnTo>
                    <a:pt x="155" y="452"/>
                  </a:lnTo>
                  <a:lnTo>
                    <a:pt x="156" y="452"/>
                  </a:lnTo>
                  <a:lnTo>
                    <a:pt x="158" y="452"/>
                  </a:lnTo>
                  <a:lnTo>
                    <a:pt x="159" y="452"/>
                  </a:lnTo>
                  <a:lnTo>
                    <a:pt x="158" y="452"/>
                  </a:lnTo>
                  <a:lnTo>
                    <a:pt x="159" y="449"/>
                  </a:lnTo>
                  <a:lnTo>
                    <a:pt x="159" y="451"/>
                  </a:lnTo>
                  <a:lnTo>
                    <a:pt x="159" y="452"/>
                  </a:lnTo>
                  <a:lnTo>
                    <a:pt x="160" y="451"/>
                  </a:lnTo>
                  <a:lnTo>
                    <a:pt x="161" y="451"/>
                  </a:lnTo>
                  <a:lnTo>
                    <a:pt x="161" y="452"/>
                  </a:lnTo>
                  <a:lnTo>
                    <a:pt x="163" y="451"/>
                  </a:lnTo>
                  <a:lnTo>
                    <a:pt x="164" y="452"/>
                  </a:lnTo>
                  <a:lnTo>
                    <a:pt x="164" y="451"/>
                  </a:lnTo>
                  <a:lnTo>
                    <a:pt x="164" y="452"/>
                  </a:lnTo>
                  <a:lnTo>
                    <a:pt x="165" y="452"/>
                  </a:lnTo>
                  <a:lnTo>
                    <a:pt x="166" y="453"/>
                  </a:lnTo>
                  <a:lnTo>
                    <a:pt x="166" y="454"/>
                  </a:lnTo>
                  <a:lnTo>
                    <a:pt x="166" y="452"/>
                  </a:lnTo>
                  <a:lnTo>
                    <a:pt x="167" y="451"/>
                  </a:lnTo>
                  <a:lnTo>
                    <a:pt x="169" y="451"/>
                  </a:lnTo>
                  <a:lnTo>
                    <a:pt x="169" y="453"/>
                  </a:lnTo>
                  <a:lnTo>
                    <a:pt x="167" y="457"/>
                  </a:lnTo>
                  <a:lnTo>
                    <a:pt x="166" y="457"/>
                  </a:lnTo>
                  <a:lnTo>
                    <a:pt x="165" y="457"/>
                  </a:lnTo>
                  <a:lnTo>
                    <a:pt x="166" y="457"/>
                  </a:lnTo>
                  <a:lnTo>
                    <a:pt x="166" y="459"/>
                  </a:lnTo>
                  <a:lnTo>
                    <a:pt x="166" y="458"/>
                  </a:lnTo>
                  <a:lnTo>
                    <a:pt x="165" y="458"/>
                  </a:lnTo>
                  <a:lnTo>
                    <a:pt x="164" y="458"/>
                  </a:lnTo>
                  <a:lnTo>
                    <a:pt x="163" y="458"/>
                  </a:lnTo>
                  <a:lnTo>
                    <a:pt x="161" y="458"/>
                  </a:lnTo>
                  <a:lnTo>
                    <a:pt x="159" y="459"/>
                  </a:lnTo>
                  <a:lnTo>
                    <a:pt x="156" y="464"/>
                  </a:lnTo>
                  <a:lnTo>
                    <a:pt x="154" y="464"/>
                  </a:lnTo>
                  <a:lnTo>
                    <a:pt x="154" y="463"/>
                  </a:lnTo>
                  <a:lnTo>
                    <a:pt x="153" y="460"/>
                  </a:lnTo>
                  <a:lnTo>
                    <a:pt x="152" y="458"/>
                  </a:lnTo>
                  <a:lnTo>
                    <a:pt x="150" y="458"/>
                  </a:lnTo>
                  <a:lnTo>
                    <a:pt x="152" y="461"/>
                  </a:lnTo>
                  <a:lnTo>
                    <a:pt x="152" y="463"/>
                  </a:lnTo>
                  <a:lnTo>
                    <a:pt x="150" y="463"/>
                  </a:lnTo>
                  <a:lnTo>
                    <a:pt x="150" y="461"/>
                  </a:lnTo>
                  <a:lnTo>
                    <a:pt x="149" y="464"/>
                  </a:lnTo>
                  <a:lnTo>
                    <a:pt x="150" y="465"/>
                  </a:lnTo>
                  <a:lnTo>
                    <a:pt x="148" y="464"/>
                  </a:lnTo>
                  <a:lnTo>
                    <a:pt x="149" y="466"/>
                  </a:lnTo>
                  <a:lnTo>
                    <a:pt x="148" y="466"/>
                  </a:lnTo>
                  <a:lnTo>
                    <a:pt x="149" y="469"/>
                  </a:lnTo>
                  <a:lnTo>
                    <a:pt x="147" y="470"/>
                  </a:lnTo>
                  <a:lnTo>
                    <a:pt x="149" y="471"/>
                  </a:lnTo>
                  <a:lnTo>
                    <a:pt x="150" y="470"/>
                  </a:lnTo>
                  <a:lnTo>
                    <a:pt x="150" y="471"/>
                  </a:lnTo>
                  <a:lnTo>
                    <a:pt x="152" y="471"/>
                  </a:lnTo>
                  <a:lnTo>
                    <a:pt x="152" y="473"/>
                  </a:lnTo>
                  <a:lnTo>
                    <a:pt x="152" y="476"/>
                  </a:lnTo>
                  <a:lnTo>
                    <a:pt x="150" y="477"/>
                  </a:lnTo>
                  <a:lnTo>
                    <a:pt x="150" y="476"/>
                  </a:lnTo>
                  <a:lnTo>
                    <a:pt x="148" y="477"/>
                  </a:lnTo>
                  <a:lnTo>
                    <a:pt x="147" y="477"/>
                  </a:lnTo>
                  <a:lnTo>
                    <a:pt x="147" y="476"/>
                  </a:lnTo>
                  <a:lnTo>
                    <a:pt x="144" y="475"/>
                  </a:lnTo>
                  <a:lnTo>
                    <a:pt x="141" y="473"/>
                  </a:lnTo>
                  <a:lnTo>
                    <a:pt x="138" y="473"/>
                  </a:lnTo>
                  <a:lnTo>
                    <a:pt x="137" y="473"/>
                  </a:lnTo>
                  <a:lnTo>
                    <a:pt x="136" y="475"/>
                  </a:lnTo>
                  <a:lnTo>
                    <a:pt x="130" y="475"/>
                  </a:lnTo>
                  <a:lnTo>
                    <a:pt x="129" y="473"/>
                  </a:lnTo>
                  <a:lnTo>
                    <a:pt x="126" y="475"/>
                  </a:lnTo>
                  <a:lnTo>
                    <a:pt x="125" y="476"/>
                  </a:lnTo>
                  <a:lnTo>
                    <a:pt x="124" y="478"/>
                  </a:lnTo>
                  <a:lnTo>
                    <a:pt x="122" y="478"/>
                  </a:lnTo>
                  <a:lnTo>
                    <a:pt x="119" y="480"/>
                  </a:lnTo>
                  <a:lnTo>
                    <a:pt x="118" y="478"/>
                  </a:lnTo>
                  <a:lnTo>
                    <a:pt x="117" y="476"/>
                  </a:lnTo>
                  <a:lnTo>
                    <a:pt x="117" y="475"/>
                  </a:lnTo>
                  <a:lnTo>
                    <a:pt x="114" y="472"/>
                  </a:lnTo>
                  <a:lnTo>
                    <a:pt x="112" y="472"/>
                  </a:lnTo>
                  <a:lnTo>
                    <a:pt x="112" y="470"/>
                  </a:lnTo>
                  <a:lnTo>
                    <a:pt x="110" y="469"/>
                  </a:lnTo>
                  <a:lnTo>
                    <a:pt x="108" y="466"/>
                  </a:lnTo>
                  <a:lnTo>
                    <a:pt x="108" y="465"/>
                  </a:lnTo>
                  <a:lnTo>
                    <a:pt x="110" y="466"/>
                  </a:lnTo>
                  <a:lnTo>
                    <a:pt x="111" y="466"/>
                  </a:lnTo>
                  <a:lnTo>
                    <a:pt x="111" y="467"/>
                  </a:lnTo>
                  <a:lnTo>
                    <a:pt x="112" y="466"/>
                  </a:lnTo>
                  <a:lnTo>
                    <a:pt x="113" y="466"/>
                  </a:lnTo>
                  <a:lnTo>
                    <a:pt x="113" y="467"/>
                  </a:lnTo>
                  <a:lnTo>
                    <a:pt x="114" y="466"/>
                  </a:lnTo>
                  <a:lnTo>
                    <a:pt x="114" y="465"/>
                  </a:lnTo>
                  <a:lnTo>
                    <a:pt x="116" y="464"/>
                  </a:lnTo>
                  <a:lnTo>
                    <a:pt x="117" y="465"/>
                  </a:lnTo>
                  <a:lnTo>
                    <a:pt x="117" y="464"/>
                  </a:lnTo>
                  <a:lnTo>
                    <a:pt x="118" y="464"/>
                  </a:lnTo>
                  <a:lnTo>
                    <a:pt x="119" y="463"/>
                  </a:lnTo>
                  <a:lnTo>
                    <a:pt x="117" y="460"/>
                  </a:lnTo>
                  <a:lnTo>
                    <a:pt x="117" y="459"/>
                  </a:lnTo>
                  <a:lnTo>
                    <a:pt x="118" y="459"/>
                  </a:lnTo>
                  <a:lnTo>
                    <a:pt x="122" y="459"/>
                  </a:lnTo>
                  <a:lnTo>
                    <a:pt x="123" y="458"/>
                  </a:lnTo>
                  <a:lnTo>
                    <a:pt x="123" y="457"/>
                  </a:lnTo>
                  <a:lnTo>
                    <a:pt x="120" y="455"/>
                  </a:lnTo>
                  <a:lnTo>
                    <a:pt x="120" y="454"/>
                  </a:lnTo>
                  <a:lnTo>
                    <a:pt x="119" y="454"/>
                  </a:lnTo>
                  <a:lnTo>
                    <a:pt x="119" y="453"/>
                  </a:lnTo>
                  <a:lnTo>
                    <a:pt x="117" y="452"/>
                  </a:lnTo>
                  <a:lnTo>
                    <a:pt x="118" y="452"/>
                  </a:lnTo>
                  <a:lnTo>
                    <a:pt x="118" y="451"/>
                  </a:lnTo>
                  <a:lnTo>
                    <a:pt x="119" y="449"/>
                  </a:lnTo>
                  <a:lnTo>
                    <a:pt x="122" y="451"/>
                  </a:lnTo>
                  <a:lnTo>
                    <a:pt x="123" y="451"/>
                  </a:lnTo>
                  <a:lnTo>
                    <a:pt x="122" y="449"/>
                  </a:lnTo>
                  <a:lnTo>
                    <a:pt x="122" y="447"/>
                  </a:lnTo>
                  <a:lnTo>
                    <a:pt x="122" y="445"/>
                  </a:lnTo>
                  <a:lnTo>
                    <a:pt x="120" y="446"/>
                  </a:lnTo>
                  <a:lnTo>
                    <a:pt x="118" y="446"/>
                  </a:lnTo>
                  <a:lnTo>
                    <a:pt x="117" y="446"/>
                  </a:lnTo>
                  <a:lnTo>
                    <a:pt x="116" y="446"/>
                  </a:lnTo>
                  <a:lnTo>
                    <a:pt x="114" y="445"/>
                  </a:lnTo>
                  <a:lnTo>
                    <a:pt x="113" y="445"/>
                  </a:lnTo>
                  <a:lnTo>
                    <a:pt x="112" y="446"/>
                  </a:lnTo>
                  <a:lnTo>
                    <a:pt x="112" y="447"/>
                  </a:lnTo>
                  <a:lnTo>
                    <a:pt x="110" y="447"/>
                  </a:lnTo>
                  <a:lnTo>
                    <a:pt x="110" y="446"/>
                  </a:lnTo>
                  <a:lnTo>
                    <a:pt x="108" y="447"/>
                  </a:lnTo>
                  <a:lnTo>
                    <a:pt x="107" y="446"/>
                  </a:lnTo>
                  <a:lnTo>
                    <a:pt x="106" y="446"/>
                  </a:lnTo>
                  <a:lnTo>
                    <a:pt x="105" y="446"/>
                  </a:lnTo>
                  <a:lnTo>
                    <a:pt x="102" y="445"/>
                  </a:lnTo>
                  <a:lnTo>
                    <a:pt x="101" y="446"/>
                  </a:lnTo>
                  <a:lnTo>
                    <a:pt x="100" y="446"/>
                  </a:lnTo>
                  <a:lnTo>
                    <a:pt x="97" y="447"/>
                  </a:lnTo>
                  <a:lnTo>
                    <a:pt x="97" y="448"/>
                  </a:lnTo>
                  <a:lnTo>
                    <a:pt x="96" y="448"/>
                  </a:lnTo>
                  <a:lnTo>
                    <a:pt x="89" y="447"/>
                  </a:lnTo>
                  <a:lnTo>
                    <a:pt x="87" y="449"/>
                  </a:lnTo>
                  <a:lnTo>
                    <a:pt x="85" y="449"/>
                  </a:lnTo>
                  <a:lnTo>
                    <a:pt x="84" y="447"/>
                  </a:lnTo>
                  <a:lnTo>
                    <a:pt x="83" y="447"/>
                  </a:lnTo>
                  <a:lnTo>
                    <a:pt x="81" y="446"/>
                  </a:lnTo>
                  <a:lnTo>
                    <a:pt x="79" y="445"/>
                  </a:lnTo>
                  <a:lnTo>
                    <a:pt x="81" y="443"/>
                  </a:lnTo>
                  <a:lnTo>
                    <a:pt x="82" y="443"/>
                  </a:lnTo>
                  <a:lnTo>
                    <a:pt x="82" y="445"/>
                  </a:lnTo>
                  <a:lnTo>
                    <a:pt x="84" y="445"/>
                  </a:lnTo>
                  <a:lnTo>
                    <a:pt x="85" y="443"/>
                  </a:lnTo>
                  <a:lnTo>
                    <a:pt x="84" y="443"/>
                  </a:lnTo>
                  <a:lnTo>
                    <a:pt x="84" y="442"/>
                  </a:lnTo>
                  <a:lnTo>
                    <a:pt x="82" y="441"/>
                  </a:lnTo>
                  <a:lnTo>
                    <a:pt x="82" y="440"/>
                  </a:lnTo>
                  <a:lnTo>
                    <a:pt x="81" y="440"/>
                  </a:lnTo>
                  <a:lnTo>
                    <a:pt x="79" y="440"/>
                  </a:lnTo>
                  <a:lnTo>
                    <a:pt x="81" y="436"/>
                  </a:lnTo>
                  <a:lnTo>
                    <a:pt x="82" y="434"/>
                  </a:lnTo>
                  <a:lnTo>
                    <a:pt x="83" y="434"/>
                  </a:lnTo>
                  <a:lnTo>
                    <a:pt x="84" y="434"/>
                  </a:lnTo>
                  <a:lnTo>
                    <a:pt x="85" y="433"/>
                  </a:lnTo>
                  <a:lnTo>
                    <a:pt x="87" y="434"/>
                  </a:lnTo>
                  <a:lnTo>
                    <a:pt x="89" y="435"/>
                  </a:lnTo>
                  <a:lnTo>
                    <a:pt x="89" y="433"/>
                  </a:lnTo>
                  <a:lnTo>
                    <a:pt x="89" y="431"/>
                  </a:lnTo>
                  <a:lnTo>
                    <a:pt x="90" y="431"/>
                  </a:lnTo>
                  <a:lnTo>
                    <a:pt x="93" y="430"/>
                  </a:lnTo>
                  <a:lnTo>
                    <a:pt x="90" y="428"/>
                  </a:lnTo>
                  <a:lnTo>
                    <a:pt x="89" y="429"/>
                  </a:lnTo>
                  <a:lnTo>
                    <a:pt x="85" y="428"/>
                  </a:lnTo>
                  <a:lnTo>
                    <a:pt x="84" y="428"/>
                  </a:lnTo>
                  <a:lnTo>
                    <a:pt x="83" y="427"/>
                  </a:lnTo>
                  <a:lnTo>
                    <a:pt x="79" y="425"/>
                  </a:lnTo>
                  <a:lnTo>
                    <a:pt x="79" y="424"/>
                  </a:lnTo>
                  <a:lnTo>
                    <a:pt x="78" y="423"/>
                  </a:lnTo>
                  <a:lnTo>
                    <a:pt x="78" y="422"/>
                  </a:lnTo>
                  <a:lnTo>
                    <a:pt x="76" y="419"/>
                  </a:lnTo>
                  <a:lnTo>
                    <a:pt x="77" y="419"/>
                  </a:lnTo>
                  <a:lnTo>
                    <a:pt x="77" y="418"/>
                  </a:lnTo>
                  <a:lnTo>
                    <a:pt x="78" y="418"/>
                  </a:lnTo>
                  <a:lnTo>
                    <a:pt x="78" y="419"/>
                  </a:lnTo>
                  <a:lnTo>
                    <a:pt x="81" y="419"/>
                  </a:lnTo>
                  <a:lnTo>
                    <a:pt x="81" y="421"/>
                  </a:lnTo>
                  <a:lnTo>
                    <a:pt x="82" y="421"/>
                  </a:lnTo>
                  <a:lnTo>
                    <a:pt x="83" y="422"/>
                  </a:lnTo>
                  <a:lnTo>
                    <a:pt x="83" y="419"/>
                  </a:lnTo>
                  <a:lnTo>
                    <a:pt x="83" y="418"/>
                  </a:lnTo>
                  <a:lnTo>
                    <a:pt x="85" y="417"/>
                  </a:lnTo>
                  <a:lnTo>
                    <a:pt x="85" y="418"/>
                  </a:lnTo>
                  <a:lnTo>
                    <a:pt x="87" y="419"/>
                  </a:lnTo>
                  <a:lnTo>
                    <a:pt x="88" y="422"/>
                  </a:lnTo>
                  <a:lnTo>
                    <a:pt x="89" y="422"/>
                  </a:lnTo>
                  <a:lnTo>
                    <a:pt x="90" y="423"/>
                  </a:lnTo>
                  <a:lnTo>
                    <a:pt x="90" y="424"/>
                  </a:lnTo>
                  <a:lnTo>
                    <a:pt x="93" y="424"/>
                  </a:lnTo>
                  <a:lnTo>
                    <a:pt x="97" y="424"/>
                  </a:lnTo>
                  <a:lnTo>
                    <a:pt x="96" y="422"/>
                  </a:lnTo>
                  <a:lnTo>
                    <a:pt x="95" y="421"/>
                  </a:lnTo>
                  <a:lnTo>
                    <a:pt x="94" y="419"/>
                  </a:lnTo>
                  <a:lnTo>
                    <a:pt x="95" y="418"/>
                  </a:lnTo>
                  <a:lnTo>
                    <a:pt x="95" y="417"/>
                  </a:lnTo>
                  <a:lnTo>
                    <a:pt x="96" y="418"/>
                  </a:lnTo>
                  <a:lnTo>
                    <a:pt x="97" y="418"/>
                  </a:lnTo>
                  <a:lnTo>
                    <a:pt x="99" y="418"/>
                  </a:lnTo>
                  <a:lnTo>
                    <a:pt x="99" y="421"/>
                  </a:lnTo>
                  <a:lnTo>
                    <a:pt x="100" y="421"/>
                  </a:lnTo>
                  <a:lnTo>
                    <a:pt x="100" y="419"/>
                  </a:lnTo>
                  <a:lnTo>
                    <a:pt x="100" y="418"/>
                  </a:lnTo>
                  <a:lnTo>
                    <a:pt x="99" y="417"/>
                  </a:lnTo>
                  <a:lnTo>
                    <a:pt x="100" y="416"/>
                  </a:lnTo>
                  <a:lnTo>
                    <a:pt x="99" y="416"/>
                  </a:lnTo>
                  <a:lnTo>
                    <a:pt x="97" y="413"/>
                  </a:lnTo>
                  <a:lnTo>
                    <a:pt x="100" y="413"/>
                  </a:lnTo>
                  <a:lnTo>
                    <a:pt x="101" y="413"/>
                  </a:lnTo>
                  <a:lnTo>
                    <a:pt x="104" y="415"/>
                  </a:lnTo>
                  <a:lnTo>
                    <a:pt x="104" y="416"/>
                  </a:lnTo>
                  <a:lnTo>
                    <a:pt x="106" y="416"/>
                  </a:lnTo>
                  <a:lnTo>
                    <a:pt x="106" y="415"/>
                  </a:lnTo>
                  <a:lnTo>
                    <a:pt x="106" y="413"/>
                  </a:lnTo>
                  <a:lnTo>
                    <a:pt x="107" y="412"/>
                  </a:lnTo>
                  <a:lnTo>
                    <a:pt x="108" y="413"/>
                  </a:lnTo>
                  <a:lnTo>
                    <a:pt x="110" y="413"/>
                  </a:lnTo>
                  <a:lnTo>
                    <a:pt x="110" y="415"/>
                  </a:lnTo>
                  <a:lnTo>
                    <a:pt x="111" y="413"/>
                  </a:lnTo>
                  <a:lnTo>
                    <a:pt x="111" y="412"/>
                  </a:lnTo>
                  <a:lnTo>
                    <a:pt x="112" y="411"/>
                  </a:lnTo>
                  <a:lnTo>
                    <a:pt x="114" y="411"/>
                  </a:lnTo>
                  <a:lnTo>
                    <a:pt x="113" y="410"/>
                  </a:lnTo>
                  <a:lnTo>
                    <a:pt x="113" y="409"/>
                  </a:lnTo>
                  <a:lnTo>
                    <a:pt x="112" y="409"/>
                  </a:lnTo>
                  <a:lnTo>
                    <a:pt x="111" y="407"/>
                  </a:lnTo>
                  <a:lnTo>
                    <a:pt x="112" y="405"/>
                  </a:lnTo>
                  <a:lnTo>
                    <a:pt x="113" y="405"/>
                  </a:lnTo>
                  <a:lnTo>
                    <a:pt x="113" y="404"/>
                  </a:lnTo>
                  <a:lnTo>
                    <a:pt x="113" y="405"/>
                  </a:lnTo>
                  <a:lnTo>
                    <a:pt x="114" y="406"/>
                  </a:lnTo>
                  <a:lnTo>
                    <a:pt x="116" y="406"/>
                  </a:lnTo>
                  <a:lnTo>
                    <a:pt x="117" y="407"/>
                  </a:lnTo>
                  <a:lnTo>
                    <a:pt x="118" y="407"/>
                  </a:lnTo>
                  <a:lnTo>
                    <a:pt x="118" y="405"/>
                  </a:lnTo>
                  <a:lnTo>
                    <a:pt x="117" y="405"/>
                  </a:lnTo>
                  <a:lnTo>
                    <a:pt x="118" y="405"/>
                  </a:lnTo>
                  <a:lnTo>
                    <a:pt x="119" y="404"/>
                  </a:lnTo>
                  <a:lnTo>
                    <a:pt x="120" y="406"/>
                  </a:lnTo>
                  <a:lnTo>
                    <a:pt x="120" y="405"/>
                  </a:lnTo>
                  <a:lnTo>
                    <a:pt x="120" y="404"/>
                  </a:lnTo>
                  <a:lnTo>
                    <a:pt x="120" y="403"/>
                  </a:lnTo>
                  <a:lnTo>
                    <a:pt x="122" y="403"/>
                  </a:lnTo>
                  <a:lnTo>
                    <a:pt x="123" y="404"/>
                  </a:lnTo>
                  <a:lnTo>
                    <a:pt x="124" y="404"/>
                  </a:lnTo>
                  <a:lnTo>
                    <a:pt x="122" y="403"/>
                  </a:lnTo>
                  <a:lnTo>
                    <a:pt x="122" y="400"/>
                  </a:lnTo>
                  <a:lnTo>
                    <a:pt x="123" y="399"/>
                  </a:lnTo>
                  <a:lnTo>
                    <a:pt x="124" y="400"/>
                  </a:lnTo>
                  <a:lnTo>
                    <a:pt x="125" y="399"/>
                  </a:lnTo>
                  <a:lnTo>
                    <a:pt x="126" y="399"/>
                  </a:lnTo>
                  <a:lnTo>
                    <a:pt x="128" y="398"/>
                  </a:lnTo>
                  <a:lnTo>
                    <a:pt x="129" y="398"/>
                  </a:lnTo>
                  <a:lnTo>
                    <a:pt x="130" y="398"/>
                  </a:lnTo>
                  <a:lnTo>
                    <a:pt x="131" y="398"/>
                  </a:lnTo>
                  <a:lnTo>
                    <a:pt x="135" y="399"/>
                  </a:lnTo>
                  <a:lnTo>
                    <a:pt x="135" y="400"/>
                  </a:lnTo>
                  <a:lnTo>
                    <a:pt x="137" y="400"/>
                  </a:lnTo>
                  <a:lnTo>
                    <a:pt x="140" y="400"/>
                  </a:lnTo>
                  <a:lnTo>
                    <a:pt x="141" y="400"/>
                  </a:lnTo>
                  <a:lnTo>
                    <a:pt x="142" y="399"/>
                  </a:lnTo>
                  <a:lnTo>
                    <a:pt x="141" y="398"/>
                  </a:lnTo>
                  <a:lnTo>
                    <a:pt x="141" y="397"/>
                  </a:lnTo>
                  <a:lnTo>
                    <a:pt x="142" y="397"/>
                  </a:lnTo>
                  <a:lnTo>
                    <a:pt x="146" y="398"/>
                  </a:lnTo>
                  <a:lnTo>
                    <a:pt x="147" y="397"/>
                  </a:lnTo>
                  <a:lnTo>
                    <a:pt x="148" y="394"/>
                  </a:lnTo>
                  <a:lnTo>
                    <a:pt x="148" y="393"/>
                  </a:lnTo>
                  <a:lnTo>
                    <a:pt x="149" y="393"/>
                  </a:lnTo>
                  <a:lnTo>
                    <a:pt x="150" y="391"/>
                  </a:lnTo>
                  <a:lnTo>
                    <a:pt x="154" y="389"/>
                  </a:lnTo>
                  <a:lnTo>
                    <a:pt x="154" y="388"/>
                  </a:lnTo>
                  <a:lnTo>
                    <a:pt x="155" y="387"/>
                  </a:lnTo>
                  <a:lnTo>
                    <a:pt x="155" y="385"/>
                  </a:lnTo>
                  <a:lnTo>
                    <a:pt x="156" y="386"/>
                  </a:lnTo>
                  <a:lnTo>
                    <a:pt x="158" y="386"/>
                  </a:lnTo>
                  <a:lnTo>
                    <a:pt x="159" y="386"/>
                  </a:lnTo>
                  <a:lnTo>
                    <a:pt x="160" y="385"/>
                  </a:lnTo>
                  <a:lnTo>
                    <a:pt x="161" y="385"/>
                  </a:lnTo>
                  <a:lnTo>
                    <a:pt x="163" y="385"/>
                  </a:lnTo>
                  <a:lnTo>
                    <a:pt x="164" y="385"/>
                  </a:lnTo>
                  <a:lnTo>
                    <a:pt x="165" y="385"/>
                  </a:lnTo>
                  <a:lnTo>
                    <a:pt x="166" y="385"/>
                  </a:lnTo>
                  <a:lnTo>
                    <a:pt x="167" y="385"/>
                  </a:lnTo>
                  <a:lnTo>
                    <a:pt x="169" y="385"/>
                  </a:lnTo>
                  <a:lnTo>
                    <a:pt x="169" y="383"/>
                  </a:lnTo>
                  <a:lnTo>
                    <a:pt x="169" y="382"/>
                  </a:lnTo>
                  <a:lnTo>
                    <a:pt x="170" y="382"/>
                  </a:lnTo>
                  <a:lnTo>
                    <a:pt x="170" y="383"/>
                  </a:lnTo>
                  <a:lnTo>
                    <a:pt x="170" y="385"/>
                  </a:lnTo>
                  <a:lnTo>
                    <a:pt x="172" y="383"/>
                  </a:lnTo>
                  <a:lnTo>
                    <a:pt x="171" y="382"/>
                  </a:lnTo>
                  <a:lnTo>
                    <a:pt x="172" y="382"/>
                  </a:lnTo>
                  <a:lnTo>
                    <a:pt x="173" y="381"/>
                  </a:lnTo>
                  <a:lnTo>
                    <a:pt x="175" y="380"/>
                  </a:lnTo>
                  <a:lnTo>
                    <a:pt x="175" y="381"/>
                  </a:lnTo>
                  <a:lnTo>
                    <a:pt x="177" y="381"/>
                  </a:lnTo>
                  <a:lnTo>
                    <a:pt x="177" y="380"/>
                  </a:lnTo>
                  <a:lnTo>
                    <a:pt x="176" y="380"/>
                  </a:lnTo>
                  <a:lnTo>
                    <a:pt x="177" y="380"/>
                  </a:lnTo>
                  <a:lnTo>
                    <a:pt x="177" y="379"/>
                  </a:lnTo>
                  <a:lnTo>
                    <a:pt x="178" y="379"/>
                  </a:lnTo>
                  <a:lnTo>
                    <a:pt x="179" y="379"/>
                  </a:lnTo>
                  <a:lnTo>
                    <a:pt x="179" y="381"/>
                  </a:lnTo>
                  <a:lnTo>
                    <a:pt x="181" y="381"/>
                  </a:lnTo>
                  <a:lnTo>
                    <a:pt x="181" y="380"/>
                  </a:lnTo>
                  <a:lnTo>
                    <a:pt x="183" y="381"/>
                  </a:lnTo>
                  <a:lnTo>
                    <a:pt x="184" y="381"/>
                  </a:lnTo>
                  <a:lnTo>
                    <a:pt x="184" y="380"/>
                  </a:lnTo>
                  <a:lnTo>
                    <a:pt x="183" y="380"/>
                  </a:lnTo>
                  <a:lnTo>
                    <a:pt x="182" y="380"/>
                  </a:lnTo>
                  <a:lnTo>
                    <a:pt x="182" y="379"/>
                  </a:lnTo>
                  <a:lnTo>
                    <a:pt x="183" y="379"/>
                  </a:lnTo>
                  <a:lnTo>
                    <a:pt x="183" y="377"/>
                  </a:lnTo>
                  <a:lnTo>
                    <a:pt x="184" y="377"/>
                  </a:lnTo>
                  <a:lnTo>
                    <a:pt x="184" y="376"/>
                  </a:lnTo>
                  <a:lnTo>
                    <a:pt x="185" y="377"/>
                  </a:lnTo>
                  <a:lnTo>
                    <a:pt x="185" y="376"/>
                  </a:lnTo>
                  <a:lnTo>
                    <a:pt x="184" y="376"/>
                  </a:lnTo>
                  <a:lnTo>
                    <a:pt x="187" y="374"/>
                  </a:lnTo>
                  <a:lnTo>
                    <a:pt x="185" y="374"/>
                  </a:lnTo>
                  <a:lnTo>
                    <a:pt x="185" y="373"/>
                  </a:lnTo>
                  <a:lnTo>
                    <a:pt x="184" y="374"/>
                  </a:lnTo>
                  <a:lnTo>
                    <a:pt x="184" y="375"/>
                  </a:lnTo>
                  <a:lnTo>
                    <a:pt x="183" y="375"/>
                  </a:lnTo>
                  <a:lnTo>
                    <a:pt x="183" y="376"/>
                  </a:lnTo>
                  <a:lnTo>
                    <a:pt x="182" y="376"/>
                  </a:lnTo>
                  <a:lnTo>
                    <a:pt x="179" y="376"/>
                  </a:lnTo>
                  <a:lnTo>
                    <a:pt x="179" y="374"/>
                  </a:lnTo>
                  <a:lnTo>
                    <a:pt x="179" y="373"/>
                  </a:lnTo>
                  <a:lnTo>
                    <a:pt x="177" y="371"/>
                  </a:lnTo>
                  <a:lnTo>
                    <a:pt x="176" y="371"/>
                  </a:lnTo>
                  <a:lnTo>
                    <a:pt x="176" y="370"/>
                  </a:lnTo>
                  <a:lnTo>
                    <a:pt x="176" y="373"/>
                  </a:lnTo>
                  <a:lnTo>
                    <a:pt x="175" y="374"/>
                  </a:lnTo>
                  <a:lnTo>
                    <a:pt x="172" y="374"/>
                  </a:lnTo>
                  <a:lnTo>
                    <a:pt x="171" y="374"/>
                  </a:lnTo>
                  <a:lnTo>
                    <a:pt x="169" y="374"/>
                  </a:lnTo>
                  <a:lnTo>
                    <a:pt x="169" y="376"/>
                  </a:lnTo>
                  <a:lnTo>
                    <a:pt x="166" y="376"/>
                  </a:lnTo>
                  <a:lnTo>
                    <a:pt x="165" y="377"/>
                  </a:lnTo>
                  <a:lnTo>
                    <a:pt x="164" y="377"/>
                  </a:lnTo>
                  <a:lnTo>
                    <a:pt x="163" y="377"/>
                  </a:lnTo>
                  <a:lnTo>
                    <a:pt x="163" y="376"/>
                  </a:lnTo>
                  <a:lnTo>
                    <a:pt x="161" y="375"/>
                  </a:lnTo>
                  <a:lnTo>
                    <a:pt x="163" y="375"/>
                  </a:lnTo>
                  <a:lnTo>
                    <a:pt x="163" y="374"/>
                  </a:lnTo>
                  <a:lnTo>
                    <a:pt x="160" y="374"/>
                  </a:lnTo>
                  <a:lnTo>
                    <a:pt x="159" y="375"/>
                  </a:lnTo>
                  <a:lnTo>
                    <a:pt x="158" y="376"/>
                  </a:lnTo>
                  <a:lnTo>
                    <a:pt x="158" y="377"/>
                  </a:lnTo>
                  <a:lnTo>
                    <a:pt x="158" y="376"/>
                  </a:lnTo>
                  <a:lnTo>
                    <a:pt x="159" y="376"/>
                  </a:lnTo>
                  <a:lnTo>
                    <a:pt x="158" y="377"/>
                  </a:lnTo>
                  <a:lnTo>
                    <a:pt x="155" y="379"/>
                  </a:lnTo>
                  <a:lnTo>
                    <a:pt x="154" y="379"/>
                  </a:lnTo>
                  <a:lnTo>
                    <a:pt x="154" y="380"/>
                  </a:lnTo>
                  <a:lnTo>
                    <a:pt x="153" y="380"/>
                  </a:lnTo>
                  <a:lnTo>
                    <a:pt x="153" y="381"/>
                  </a:lnTo>
                  <a:lnTo>
                    <a:pt x="154" y="382"/>
                  </a:lnTo>
                  <a:lnTo>
                    <a:pt x="154" y="383"/>
                  </a:lnTo>
                  <a:lnTo>
                    <a:pt x="152" y="383"/>
                  </a:lnTo>
                  <a:lnTo>
                    <a:pt x="153" y="382"/>
                  </a:lnTo>
                  <a:lnTo>
                    <a:pt x="150" y="383"/>
                  </a:lnTo>
                  <a:lnTo>
                    <a:pt x="152" y="381"/>
                  </a:lnTo>
                  <a:lnTo>
                    <a:pt x="150" y="381"/>
                  </a:lnTo>
                  <a:lnTo>
                    <a:pt x="150" y="383"/>
                  </a:lnTo>
                  <a:lnTo>
                    <a:pt x="152" y="385"/>
                  </a:lnTo>
                  <a:lnTo>
                    <a:pt x="150" y="386"/>
                  </a:lnTo>
                  <a:lnTo>
                    <a:pt x="149" y="386"/>
                  </a:lnTo>
                  <a:lnTo>
                    <a:pt x="148" y="387"/>
                  </a:lnTo>
                  <a:lnTo>
                    <a:pt x="147" y="387"/>
                  </a:lnTo>
                  <a:lnTo>
                    <a:pt x="146" y="385"/>
                  </a:lnTo>
                  <a:lnTo>
                    <a:pt x="147" y="383"/>
                  </a:lnTo>
                  <a:lnTo>
                    <a:pt x="144" y="382"/>
                  </a:lnTo>
                  <a:lnTo>
                    <a:pt x="146" y="381"/>
                  </a:lnTo>
                  <a:lnTo>
                    <a:pt x="146" y="380"/>
                  </a:lnTo>
                  <a:lnTo>
                    <a:pt x="147" y="379"/>
                  </a:lnTo>
                  <a:lnTo>
                    <a:pt x="146" y="377"/>
                  </a:lnTo>
                  <a:lnTo>
                    <a:pt x="146" y="380"/>
                  </a:lnTo>
                  <a:lnTo>
                    <a:pt x="144" y="380"/>
                  </a:lnTo>
                  <a:lnTo>
                    <a:pt x="143" y="380"/>
                  </a:lnTo>
                  <a:lnTo>
                    <a:pt x="143" y="382"/>
                  </a:lnTo>
                  <a:lnTo>
                    <a:pt x="142" y="383"/>
                  </a:lnTo>
                  <a:lnTo>
                    <a:pt x="141" y="383"/>
                  </a:lnTo>
                  <a:lnTo>
                    <a:pt x="141" y="382"/>
                  </a:lnTo>
                  <a:lnTo>
                    <a:pt x="141" y="383"/>
                  </a:lnTo>
                  <a:lnTo>
                    <a:pt x="138" y="382"/>
                  </a:lnTo>
                  <a:lnTo>
                    <a:pt x="137" y="383"/>
                  </a:lnTo>
                  <a:lnTo>
                    <a:pt x="137" y="382"/>
                  </a:lnTo>
                  <a:lnTo>
                    <a:pt x="136" y="383"/>
                  </a:lnTo>
                  <a:lnTo>
                    <a:pt x="135" y="383"/>
                  </a:lnTo>
                  <a:lnTo>
                    <a:pt x="135" y="382"/>
                  </a:lnTo>
                  <a:lnTo>
                    <a:pt x="134" y="382"/>
                  </a:lnTo>
                  <a:lnTo>
                    <a:pt x="132" y="381"/>
                  </a:lnTo>
                  <a:lnTo>
                    <a:pt x="134" y="380"/>
                  </a:lnTo>
                  <a:lnTo>
                    <a:pt x="134" y="379"/>
                  </a:lnTo>
                  <a:lnTo>
                    <a:pt x="135" y="379"/>
                  </a:lnTo>
                  <a:lnTo>
                    <a:pt x="136" y="379"/>
                  </a:lnTo>
                  <a:lnTo>
                    <a:pt x="136" y="377"/>
                  </a:lnTo>
                  <a:lnTo>
                    <a:pt x="136" y="376"/>
                  </a:lnTo>
                  <a:lnTo>
                    <a:pt x="136" y="375"/>
                  </a:lnTo>
                  <a:lnTo>
                    <a:pt x="137" y="374"/>
                  </a:lnTo>
                  <a:lnTo>
                    <a:pt x="138" y="373"/>
                  </a:lnTo>
                  <a:lnTo>
                    <a:pt x="138" y="374"/>
                  </a:lnTo>
                  <a:lnTo>
                    <a:pt x="140" y="373"/>
                  </a:lnTo>
                  <a:lnTo>
                    <a:pt x="141" y="373"/>
                  </a:lnTo>
                  <a:lnTo>
                    <a:pt x="142" y="371"/>
                  </a:lnTo>
                  <a:lnTo>
                    <a:pt x="142" y="370"/>
                  </a:lnTo>
                  <a:lnTo>
                    <a:pt x="142" y="369"/>
                  </a:lnTo>
                  <a:lnTo>
                    <a:pt x="143" y="369"/>
                  </a:lnTo>
                  <a:lnTo>
                    <a:pt x="144" y="369"/>
                  </a:lnTo>
                  <a:lnTo>
                    <a:pt x="146" y="369"/>
                  </a:lnTo>
                  <a:lnTo>
                    <a:pt x="144" y="368"/>
                  </a:lnTo>
                  <a:lnTo>
                    <a:pt x="144" y="366"/>
                  </a:lnTo>
                  <a:lnTo>
                    <a:pt x="143" y="365"/>
                  </a:lnTo>
                  <a:lnTo>
                    <a:pt x="142" y="365"/>
                  </a:lnTo>
                  <a:lnTo>
                    <a:pt x="142" y="366"/>
                  </a:lnTo>
                  <a:lnTo>
                    <a:pt x="141" y="368"/>
                  </a:lnTo>
                  <a:lnTo>
                    <a:pt x="140" y="369"/>
                  </a:lnTo>
                  <a:lnTo>
                    <a:pt x="138" y="369"/>
                  </a:lnTo>
                  <a:lnTo>
                    <a:pt x="136" y="369"/>
                  </a:lnTo>
                  <a:lnTo>
                    <a:pt x="136" y="368"/>
                  </a:lnTo>
                  <a:lnTo>
                    <a:pt x="135" y="368"/>
                  </a:lnTo>
                  <a:lnTo>
                    <a:pt x="134" y="368"/>
                  </a:lnTo>
                  <a:lnTo>
                    <a:pt x="132" y="369"/>
                  </a:lnTo>
                  <a:lnTo>
                    <a:pt x="131" y="369"/>
                  </a:lnTo>
                  <a:lnTo>
                    <a:pt x="130" y="369"/>
                  </a:lnTo>
                  <a:lnTo>
                    <a:pt x="129" y="370"/>
                  </a:lnTo>
                  <a:lnTo>
                    <a:pt x="128" y="370"/>
                  </a:lnTo>
                  <a:lnTo>
                    <a:pt x="126" y="371"/>
                  </a:lnTo>
                  <a:lnTo>
                    <a:pt x="125" y="370"/>
                  </a:lnTo>
                  <a:lnTo>
                    <a:pt x="124" y="370"/>
                  </a:lnTo>
                  <a:lnTo>
                    <a:pt x="125" y="369"/>
                  </a:lnTo>
                  <a:lnTo>
                    <a:pt x="124" y="368"/>
                  </a:lnTo>
                  <a:lnTo>
                    <a:pt x="126" y="368"/>
                  </a:lnTo>
                  <a:lnTo>
                    <a:pt x="126" y="366"/>
                  </a:lnTo>
                  <a:lnTo>
                    <a:pt x="128" y="365"/>
                  </a:lnTo>
                  <a:lnTo>
                    <a:pt x="128" y="366"/>
                  </a:lnTo>
                  <a:lnTo>
                    <a:pt x="129" y="366"/>
                  </a:lnTo>
                  <a:lnTo>
                    <a:pt x="129" y="365"/>
                  </a:lnTo>
                  <a:lnTo>
                    <a:pt x="128" y="364"/>
                  </a:lnTo>
                  <a:lnTo>
                    <a:pt x="126" y="363"/>
                  </a:lnTo>
                  <a:lnTo>
                    <a:pt x="126" y="362"/>
                  </a:lnTo>
                  <a:lnTo>
                    <a:pt x="126" y="360"/>
                  </a:lnTo>
                  <a:lnTo>
                    <a:pt x="126" y="359"/>
                  </a:lnTo>
                  <a:lnTo>
                    <a:pt x="128" y="358"/>
                  </a:lnTo>
                  <a:lnTo>
                    <a:pt x="129" y="358"/>
                  </a:lnTo>
                  <a:lnTo>
                    <a:pt x="130" y="358"/>
                  </a:lnTo>
                  <a:lnTo>
                    <a:pt x="132" y="358"/>
                  </a:lnTo>
                  <a:lnTo>
                    <a:pt x="136" y="357"/>
                  </a:lnTo>
                  <a:lnTo>
                    <a:pt x="136" y="354"/>
                  </a:lnTo>
                  <a:lnTo>
                    <a:pt x="136" y="352"/>
                  </a:lnTo>
                  <a:lnTo>
                    <a:pt x="137" y="351"/>
                  </a:lnTo>
                  <a:lnTo>
                    <a:pt x="138" y="351"/>
                  </a:lnTo>
                  <a:lnTo>
                    <a:pt x="140" y="351"/>
                  </a:lnTo>
                  <a:lnTo>
                    <a:pt x="141" y="350"/>
                  </a:lnTo>
                  <a:lnTo>
                    <a:pt x="142" y="348"/>
                  </a:lnTo>
                  <a:lnTo>
                    <a:pt x="142" y="347"/>
                  </a:lnTo>
                  <a:lnTo>
                    <a:pt x="142" y="345"/>
                  </a:lnTo>
                  <a:lnTo>
                    <a:pt x="144" y="345"/>
                  </a:lnTo>
                  <a:lnTo>
                    <a:pt x="144" y="346"/>
                  </a:lnTo>
                  <a:lnTo>
                    <a:pt x="144" y="345"/>
                  </a:lnTo>
                  <a:lnTo>
                    <a:pt x="146" y="345"/>
                  </a:lnTo>
                  <a:lnTo>
                    <a:pt x="147" y="345"/>
                  </a:lnTo>
                  <a:lnTo>
                    <a:pt x="148" y="341"/>
                  </a:lnTo>
                  <a:lnTo>
                    <a:pt x="148" y="340"/>
                  </a:lnTo>
                  <a:lnTo>
                    <a:pt x="149" y="339"/>
                  </a:lnTo>
                  <a:lnTo>
                    <a:pt x="150" y="340"/>
                  </a:lnTo>
                  <a:lnTo>
                    <a:pt x="150" y="339"/>
                  </a:lnTo>
                  <a:lnTo>
                    <a:pt x="152" y="338"/>
                  </a:lnTo>
                  <a:lnTo>
                    <a:pt x="153" y="339"/>
                  </a:lnTo>
                  <a:lnTo>
                    <a:pt x="153" y="340"/>
                  </a:lnTo>
                  <a:lnTo>
                    <a:pt x="154" y="339"/>
                  </a:lnTo>
                  <a:lnTo>
                    <a:pt x="155" y="338"/>
                  </a:lnTo>
                  <a:lnTo>
                    <a:pt x="156" y="336"/>
                  </a:lnTo>
                  <a:lnTo>
                    <a:pt x="156" y="338"/>
                  </a:lnTo>
                  <a:lnTo>
                    <a:pt x="158" y="338"/>
                  </a:lnTo>
                  <a:lnTo>
                    <a:pt x="160" y="336"/>
                  </a:lnTo>
                  <a:lnTo>
                    <a:pt x="160" y="339"/>
                  </a:lnTo>
                  <a:lnTo>
                    <a:pt x="161" y="336"/>
                  </a:lnTo>
                  <a:lnTo>
                    <a:pt x="161" y="335"/>
                  </a:lnTo>
                  <a:lnTo>
                    <a:pt x="163" y="334"/>
                  </a:lnTo>
                  <a:lnTo>
                    <a:pt x="165" y="334"/>
                  </a:lnTo>
                  <a:lnTo>
                    <a:pt x="166" y="334"/>
                  </a:lnTo>
                  <a:lnTo>
                    <a:pt x="165" y="333"/>
                  </a:lnTo>
                  <a:lnTo>
                    <a:pt x="166" y="332"/>
                  </a:lnTo>
                  <a:lnTo>
                    <a:pt x="167" y="330"/>
                  </a:lnTo>
                  <a:lnTo>
                    <a:pt x="167" y="332"/>
                  </a:lnTo>
                  <a:lnTo>
                    <a:pt x="167" y="329"/>
                  </a:lnTo>
                  <a:lnTo>
                    <a:pt x="170" y="329"/>
                  </a:lnTo>
                  <a:lnTo>
                    <a:pt x="169" y="328"/>
                  </a:lnTo>
                  <a:lnTo>
                    <a:pt x="169" y="327"/>
                  </a:lnTo>
                  <a:lnTo>
                    <a:pt x="170" y="328"/>
                  </a:lnTo>
                  <a:lnTo>
                    <a:pt x="170" y="327"/>
                  </a:lnTo>
                  <a:lnTo>
                    <a:pt x="172" y="327"/>
                  </a:lnTo>
                  <a:lnTo>
                    <a:pt x="170" y="324"/>
                  </a:lnTo>
                  <a:lnTo>
                    <a:pt x="171" y="323"/>
                  </a:lnTo>
                  <a:lnTo>
                    <a:pt x="171" y="324"/>
                  </a:lnTo>
                  <a:lnTo>
                    <a:pt x="172" y="323"/>
                  </a:lnTo>
                  <a:lnTo>
                    <a:pt x="170" y="323"/>
                  </a:lnTo>
                  <a:lnTo>
                    <a:pt x="169" y="323"/>
                  </a:lnTo>
                  <a:lnTo>
                    <a:pt x="167" y="324"/>
                  </a:lnTo>
                  <a:lnTo>
                    <a:pt x="166" y="324"/>
                  </a:lnTo>
                  <a:lnTo>
                    <a:pt x="165" y="324"/>
                  </a:lnTo>
                  <a:lnTo>
                    <a:pt x="164" y="324"/>
                  </a:lnTo>
                  <a:lnTo>
                    <a:pt x="161" y="326"/>
                  </a:lnTo>
                  <a:lnTo>
                    <a:pt x="160" y="326"/>
                  </a:lnTo>
                  <a:lnTo>
                    <a:pt x="158" y="326"/>
                  </a:lnTo>
                  <a:lnTo>
                    <a:pt x="156" y="327"/>
                  </a:lnTo>
                  <a:lnTo>
                    <a:pt x="154" y="328"/>
                  </a:lnTo>
                  <a:lnTo>
                    <a:pt x="155" y="328"/>
                  </a:lnTo>
                  <a:lnTo>
                    <a:pt x="154" y="328"/>
                  </a:lnTo>
                  <a:lnTo>
                    <a:pt x="153" y="328"/>
                  </a:lnTo>
                  <a:lnTo>
                    <a:pt x="150" y="328"/>
                  </a:lnTo>
                  <a:lnTo>
                    <a:pt x="149" y="329"/>
                  </a:lnTo>
                  <a:lnTo>
                    <a:pt x="148" y="329"/>
                  </a:lnTo>
                  <a:lnTo>
                    <a:pt x="147" y="329"/>
                  </a:lnTo>
                  <a:lnTo>
                    <a:pt x="147" y="330"/>
                  </a:lnTo>
                  <a:lnTo>
                    <a:pt x="146" y="330"/>
                  </a:lnTo>
                  <a:lnTo>
                    <a:pt x="143" y="332"/>
                  </a:lnTo>
                  <a:lnTo>
                    <a:pt x="141" y="333"/>
                  </a:lnTo>
                  <a:lnTo>
                    <a:pt x="140" y="333"/>
                  </a:lnTo>
                  <a:lnTo>
                    <a:pt x="138" y="334"/>
                  </a:lnTo>
                  <a:lnTo>
                    <a:pt x="135" y="335"/>
                  </a:lnTo>
                  <a:lnTo>
                    <a:pt x="134" y="336"/>
                  </a:lnTo>
                  <a:lnTo>
                    <a:pt x="132" y="338"/>
                  </a:lnTo>
                  <a:lnTo>
                    <a:pt x="130" y="340"/>
                  </a:lnTo>
                  <a:lnTo>
                    <a:pt x="130" y="341"/>
                  </a:lnTo>
                  <a:lnTo>
                    <a:pt x="130" y="340"/>
                  </a:lnTo>
                  <a:lnTo>
                    <a:pt x="131" y="340"/>
                  </a:lnTo>
                  <a:lnTo>
                    <a:pt x="132" y="340"/>
                  </a:lnTo>
                  <a:lnTo>
                    <a:pt x="134" y="341"/>
                  </a:lnTo>
                  <a:lnTo>
                    <a:pt x="132" y="341"/>
                  </a:lnTo>
                  <a:lnTo>
                    <a:pt x="134" y="342"/>
                  </a:lnTo>
                  <a:lnTo>
                    <a:pt x="135" y="342"/>
                  </a:lnTo>
                  <a:lnTo>
                    <a:pt x="134" y="342"/>
                  </a:lnTo>
                  <a:lnTo>
                    <a:pt x="135" y="344"/>
                  </a:lnTo>
                  <a:lnTo>
                    <a:pt x="135" y="345"/>
                  </a:lnTo>
                  <a:lnTo>
                    <a:pt x="134" y="345"/>
                  </a:lnTo>
                  <a:lnTo>
                    <a:pt x="132" y="347"/>
                  </a:lnTo>
                  <a:lnTo>
                    <a:pt x="135" y="347"/>
                  </a:lnTo>
                  <a:lnTo>
                    <a:pt x="136" y="348"/>
                  </a:lnTo>
                  <a:lnTo>
                    <a:pt x="135" y="348"/>
                  </a:lnTo>
                  <a:lnTo>
                    <a:pt x="135" y="350"/>
                  </a:lnTo>
                  <a:lnTo>
                    <a:pt x="135" y="351"/>
                  </a:lnTo>
                  <a:lnTo>
                    <a:pt x="135" y="352"/>
                  </a:lnTo>
                  <a:lnTo>
                    <a:pt x="135" y="353"/>
                  </a:lnTo>
                  <a:lnTo>
                    <a:pt x="134" y="353"/>
                  </a:lnTo>
                  <a:lnTo>
                    <a:pt x="132" y="354"/>
                  </a:lnTo>
                  <a:lnTo>
                    <a:pt x="130" y="354"/>
                  </a:lnTo>
                  <a:lnTo>
                    <a:pt x="131" y="353"/>
                  </a:lnTo>
                  <a:lnTo>
                    <a:pt x="128" y="352"/>
                  </a:lnTo>
                  <a:lnTo>
                    <a:pt x="128" y="356"/>
                  </a:lnTo>
                  <a:lnTo>
                    <a:pt x="126" y="358"/>
                  </a:lnTo>
                  <a:lnTo>
                    <a:pt x="126" y="359"/>
                  </a:lnTo>
                  <a:lnTo>
                    <a:pt x="125" y="359"/>
                  </a:lnTo>
                  <a:lnTo>
                    <a:pt x="124" y="360"/>
                  </a:lnTo>
                  <a:lnTo>
                    <a:pt x="125" y="362"/>
                  </a:lnTo>
                  <a:lnTo>
                    <a:pt x="123" y="360"/>
                  </a:lnTo>
                  <a:lnTo>
                    <a:pt x="124" y="362"/>
                  </a:lnTo>
                  <a:lnTo>
                    <a:pt x="124" y="363"/>
                  </a:lnTo>
                  <a:lnTo>
                    <a:pt x="123" y="364"/>
                  </a:lnTo>
                  <a:lnTo>
                    <a:pt x="122" y="364"/>
                  </a:lnTo>
                  <a:lnTo>
                    <a:pt x="120" y="363"/>
                  </a:lnTo>
                  <a:lnTo>
                    <a:pt x="119" y="364"/>
                  </a:lnTo>
                  <a:lnTo>
                    <a:pt x="119" y="365"/>
                  </a:lnTo>
                  <a:lnTo>
                    <a:pt x="118" y="365"/>
                  </a:lnTo>
                  <a:lnTo>
                    <a:pt x="117" y="365"/>
                  </a:lnTo>
                  <a:lnTo>
                    <a:pt x="117" y="366"/>
                  </a:lnTo>
                  <a:lnTo>
                    <a:pt x="114" y="365"/>
                  </a:lnTo>
                  <a:lnTo>
                    <a:pt x="113" y="365"/>
                  </a:lnTo>
                  <a:lnTo>
                    <a:pt x="113" y="364"/>
                  </a:lnTo>
                  <a:lnTo>
                    <a:pt x="113" y="363"/>
                  </a:lnTo>
                  <a:lnTo>
                    <a:pt x="114" y="362"/>
                  </a:lnTo>
                  <a:lnTo>
                    <a:pt x="114" y="360"/>
                  </a:lnTo>
                  <a:lnTo>
                    <a:pt x="116" y="359"/>
                  </a:lnTo>
                  <a:lnTo>
                    <a:pt x="114" y="358"/>
                  </a:lnTo>
                  <a:lnTo>
                    <a:pt x="113" y="357"/>
                  </a:lnTo>
                  <a:lnTo>
                    <a:pt x="111" y="356"/>
                  </a:lnTo>
                  <a:lnTo>
                    <a:pt x="110" y="357"/>
                  </a:lnTo>
                  <a:lnTo>
                    <a:pt x="108" y="358"/>
                  </a:lnTo>
                  <a:lnTo>
                    <a:pt x="106" y="360"/>
                  </a:lnTo>
                  <a:lnTo>
                    <a:pt x="105" y="364"/>
                  </a:lnTo>
                  <a:lnTo>
                    <a:pt x="104" y="365"/>
                  </a:lnTo>
                  <a:lnTo>
                    <a:pt x="102" y="366"/>
                  </a:lnTo>
                  <a:lnTo>
                    <a:pt x="102" y="368"/>
                  </a:lnTo>
                  <a:lnTo>
                    <a:pt x="102" y="370"/>
                  </a:lnTo>
                  <a:lnTo>
                    <a:pt x="101" y="370"/>
                  </a:lnTo>
                  <a:lnTo>
                    <a:pt x="100" y="371"/>
                  </a:lnTo>
                  <a:lnTo>
                    <a:pt x="99" y="371"/>
                  </a:lnTo>
                  <a:lnTo>
                    <a:pt x="99" y="373"/>
                  </a:lnTo>
                  <a:lnTo>
                    <a:pt x="96" y="373"/>
                  </a:lnTo>
                  <a:lnTo>
                    <a:pt x="95" y="373"/>
                  </a:lnTo>
                  <a:lnTo>
                    <a:pt x="95" y="371"/>
                  </a:lnTo>
                  <a:lnTo>
                    <a:pt x="95" y="370"/>
                  </a:lnTo>
                  <a:lnTo>
                    <a:pt x="94" y="370"/>
                  </a:lnTo>
                  <a:lnTo>
                    <a:pt x="93" y="370"/>
                  </a:lnTo>
                  <a:lnTo>
                    <a:pt x="93" y="369"/>
                  </a:lnTo>
                  <a:lnTo>
                    <a:pt x="91" y="369"/>
                  </a:lnTo>
                  <a:lnTo>
                    <a:pt x="91" y="370"/>
                  </a:lnTo>
                  <a:lnTo>
                    <a:pt x="89" y="370"/>
                  </a:lnTo>
                  <a:lnTo>
                    <a:pt x="89" y="371"/>
                  </a:lnTo>
                  <a:lnTo>
                    <a:pt x="88" y="373"/>
                  </a:lnTo>
                  <a:lnTo>
                    <a:pt x="88" y="374"/>
                  </a:lnTo>
                  <a:lnTo>
                    <a:pt x="88" y="375"/>
                  </a:lnTo>
                  <a:lnTo>
                    <a:pt x="87" y="376"/>
                  </a:lnTo>
                  <a:lnTo>
                    <a:pt x="88" y="376"/>
                  </a:lnTo>
                  <a:lnTo>
                    <a:pt x="87" y="376"/>
                  </a:lnTo>
                  <a:lnTo>
                    <a:pt x="89" y="377"/>
                  </a:lnTo>
                  <a:lnTo>
                    <a:pt x="87" y="379"/>
                  </a:lnTo>
                  <a:lnTo>
                    <a:pt x="87" y="377"/>
                  </a:lnTo>
                  <a:lnTo>
                    <a:pt x="85" y="376"/>
                  </a:lnTo>
                  <a:lnTo>
                    <a:pt x="84" y="377"/>
                  </a:lnTo>
                  <a:lnTo>
                    <a:pt x="85" y="380"/>
                  </a:lnTo>
                  <a:lnTo>
                    <a:pt x="84" y="380"/>
                  </a:lnTo>
                  <a:lnTo>
                    <a:pt x="83" y="380"/>
                  </a:lnTo>
                  <a:lnTo>
                    <a:pt x="81" y="380"/>
                  </a:lnTo>
                  <a:lnTo>
                    <a:pt x="79" y="379"/>
                  </a:lnTo>
                  <a:lnTo>
                    <a:pt x="83" y="377"/>
                  </a:lnTo>
                  <a:lnTo>
                    <a:pt x="81" y="377"/>
                  </a:lnTo>
                  <a:lnTo>
                    <a:pt x="79" y="376"/>
                  </a:lnTo>
                  <a:lnTo>
                    <a:pt x="79" y="379"/>
                  </a:lnTo>
                  <a:lnTo>
                    <a:pt x="78" y="379"/>
                  </a:lnTo>
                  <a:lnTo>
                    <a:pt x="76" y="381"/>
                  </a:lnTo>
                  <a:lnTo>
                    <a:pt x="75" y="381"/>
                  </a:lnTo>
                  <a:lnTo>
                    <a:pt x="75" y="382"/>
                  </a:lnTo>
                  <a:lnTo>
                    <a:pt x="75" y="383"/>
                  </a:lnTo>
                  <a:lnTo>
                    <a:pt x="73" y="383"/>
                  </a:lnTo>
                  <a:lnTo>
                    <a:pt x="75" y="385"/>
                  </a:lnTo>
                  <a:lnTo>
                    <a:pt x="76" y="385"/>
                  </a:lnTo>
                  <a:lnTo>
                    <a:pt x="76" y="386"/>
                  </a:lnTo>
                  <a:lnTo>
                    <a:pt x="73" y="387"/>
                  </a:lnTo>
                  <a:lnTo>
                    <a:pt x="73" y="388"/>
                  </a:lnTo>
                  <a:lnTo>
                    <a:pt x="72" y="389"/>
                  </a:lnTo>
                  <a:lnTo>
                    <a:pt x="71" y="391"/>
                  </a:lnTo>
                  <a:lnTo>
                    <a:pt x="70" y="391"/>
                  </a:lnTo>
                  <a:lnTo>
                    <a:pt x="69" y="391"/>
                  </a:lnTo>
                  <a:lnTo>
                    <a:pt x="67" y="389"/>
                  </a:lnTo>
                  <a:lnTo>
                    <a:pt x="66" y="388"/>
                  </a:lnTo>
                  <a:lnTo>
                    <a:pt x="65" y="387"/>
                  </a:lnTo>
                  <a:lnTo>
                    <a:pt x="67" y="387"/>
                  </a:lnTo>
                  <a:lnTo>
                    <a:pt x="64" y="386"/>
                  </a:lnTo>
                  <a:lnTo>
                    <a:pt x="61" y="387"/>
                  </a:lnTo>
                  <a:lnTo>
                    <a:pt x="60" y="388"/>
                  </a:lnTo>
                  <a:lnTo>
                    <a:pt x="59" y="387"/>
                  </a:lnTo>
                  <a:lnTo>
                    <a:pt x="58" y="387"/>
                  </a:lnTo>
                  <a:lnTo>
                    <a:pt x="57" y="387"/>
                  </a:lnTo>
                  <a:lnTo>
                    <a:pt x="54" y="387"/>
                  </a:lnTo>
                  <a:lnTo>
                    <a:pt x="54" y="386"/>
                  </a:lnTo>
                  <a:lnTo>
                    <a:pt x="52" y="385"/>
                  </a:lnTo>
                  <a:lnTo>
                    <a:pt x="53" y="385"/>
                  </a:lnTo>
                  <a:lnTo>
                    <a:pt x="53" y="383"/>
                  </a:lnTo>
                  <a:lnTo>
                    <a:pt x="53" y="382"/>
                  </a:lnTo>
                  <a:lnTo>
                    <a:pt x="52" y="382"/>
                  </a:lnTo>
                  <a:lnTo>
                    <a:pt x="51" y="382"/>
                  </a:lnTo>
                  <a:lnTo>
                    <a:pt x="51" y="381"/>
                  </a:lnTo>
                  <a:lnTo>
                    <a:pt x="47" y="380"/>
                  </a:lnTo>
                  <a:lnTo>
                    <a:pt x="48" y="379"/>
                  </a:lnTo>
                  <a:lnTo>
                    <a:pt x="53" y="379"/>
                  </a:lnTo>
                  <a:lnTo>
                    <a:pt x="52" y="377"/>
                  </a:lnTo>
                  <a:lnTo>
                    <a:pt x="49" y="376"/>
                  </a:lnTo>
                  <a:lnTo>
                    <a:pt x="48" y="374"/>
                  </a:lnTo>
                  <a:lnTo>
                    <a:pt x="47" y="373"/>
                  </a:lnTo>
                  <a:lnTo>
                    <a:pt x="47" y="371"/>
                  </a:lnTo>
                  <a:lnTo>
                    <a:pt x="48" y="370"/>
                  </a:lnTo>
                  <a:lnTo>
                    <a:pt x="49" y="370"/>
                  </a:lnTo>
                  <a:lnTo>
                    <a:pt x="49" y="371"/>
                  </a:lnTo>
                  <a:lnTo>
                    <a:pt x="52" y="370"/>
                  </a:lnTo>
                  <a:lnTo>
                    <a:pt x="52" y="369"/>
                  </a:lnTo>
                  <a:lnTo>
                    <a:pt x="54" y="369"/>
                  </a:lnTo>
                  <a:lnTo>
                    <a:pt x="55" y="369"/>
                  </a:lnTo>
                  <a:lnTo>
                    <a:pt x="57" y="368"/>
                  </a:lnTo>
                  <a:lnTo>
                    <a:pt x="54" y="369"/>
                  </a:lnTo>
                  <a:lnTo>
                    <a:pt x="54" y="368"/>
                  </a:lnTo>
                  <a:lnTo>
                    <a:pt x="53" y="368"/>
                  </a:lnTo>
                  <a:lnTo>
                    <a:pt x="52" y="366"/>
                  </a:lnTo>
                  <a:lnTo>
                    <a:pt x="51" y="364"/>
                  </a:lnTo>
                  <a:lnTo>
                    <a:pt x="49" y="364"/>
                  </a:lnTo>
                  <a:lnTo>
                    <a:pt x="51" y="363"/>
                  </a:lnTo>
                  <a:lnTo>
                    <a:pt x="52" y="363"/>
                  </a:lnTo>
                  <a:lnTo>
                    <a:pt x="53" y="363"/>
                  </a:lnTo>
                  <a:lnTo>
                    <a:pt x="54" y="363"/>
                  </a:lnTo>
                  <a:lnTo>
                    <a:pt x="57" y="363"/>
                  </a:lnTo>
                  <a:lnTo>
                    <a:pt x="55" y="362"/>
                  </a:lnTo>
                  <a:lnTo>
                    <a:pt x="57" y="359"/>
                  </a:lnTo>
                  <a:lnTo>
                    <a:pt x="59" y="359"/>
                  </a:lnTo>
                  <a:lnTo>
                    <a:pt x="60" y="360"/>
                  </a:lnTo>
                  <a:lnTo>
                    <a:pt x="61" y="359"/>
                  </a:lnTo>
                  <a:lnTo>
                    <a:pt x="61" y="357"/>
                  </a:lnTo>
                  <a:lnTo>
                    <a:pt x="61" y="356"/>
                  </a:lnTo>
                  <a:lnTo>
                    <a:pt x="61" y="354"/>
                  </a:lnTo>
                  <a:lnTo>
                    <a:pt x="63" y="354"/>
                  </a:lnTo>
                  <a:lnTo>
                    <a:pt x="65" y="352"/>
                  </a:lnTo>
                  <a:lnTo>
                    <a:pt x="67" y="353"/>
                  </a:lnTo>
                  <a:lnTo>
                    <a:pt x="67" y="351"/>
                  </a:lnTo>
                  <a:lnTo>
                    <a:pt x="65" y="347"/>
                  </a:lnTo>
                  <a:lnTo>
                    <a:pt x="64" y="346"/>
                  </a:lnTo>
                  <a:lnTo>
                    <a:pt x="65" y="345"/>
                  </a:lnTo>
                  <a:lnTo>
                    <a:pt x="66" y="344"/>
                  </a:lnTo>
                  <a:lnTo>
                    <a:pt x="67" y="345"/>
                  </a:lnTo>
                  <a:lnTo>
                    <a:pt x="69" y="345"/>
                  </a:lnTo>
                  <a:lnTo>
                    <a:pt x="70" y="344"/>
                  </a:lnTo>
                  <a:lnTo>
                    <a:pt x="71" y="344"/>
                  </a:lnTo>
                  <a:lnTo>
                    <a:pt x="72" y="342"/>
                  </a:lnTo>
                  <a:lnTo>
                    <a:pt x="73" y="341"/>
                  </a:lnTo>
                  <a:lnTo>
                    <a:pt x="76" y="341"/>
                  </a:lnTo>
                  <a:lnTo>
                    <a:pt x="76" y="340"/>
                  </a:lnTo>
                  <a:lnTo>
                    <a:pt x="77" y="340"/>
                  </a:lnTo>
                  <a:lnTo>
                    <a:pt x="78" y="340"/>
                  </a:lnTo>
                  <a:lnTo>
                    <a:pt x="77" y="339"/>
                  </a:lnTo>
                  <a:lnTo>
                    <a:pt x="76" y="336"/>
                  </a:lnTo>
                  <a:lnTo>
                    <a:pt x="76" y="334"/>
                  </a:lnTo>
                  <a:lnTo>
                    <a:pt x="77" y="335"/>
                  </a:lnTo>
                  <a:lnTo>
                    <a:pt x="77" y="334"/>
                  </a:lnTo>
                  <a:lnTo>
                    <a:pt x="78" y="334"/>
                  </a:lnTo>
                  <a:lnTo>
                    <a:pt x="79" y="334"/>
                  </a:lnTo>
                  <a:lnTo>
                    <a:pt x="81" y="335"/>
                  </a:lnTo>
                  <a:lnTo>
                    <a:pt x="81" y="334"/>
                  </a:lnTo>
                  <a:lnTo>
                    <a:pt x="83" y="333"/>
                  </a:lnTo>
                  <a:lnTo>
                    <a:pt x="85" y="334"/>
                  </a:lnTo>
                  <a:lnTo>
                    <a:pt x="87" y="334"/>
                  </a:lnTo>
                  <a:lnTo>
                    <a:pt x="87" y="336"/>
                  </a:lnTo>
                  <a:lnTo>
                    <a:pt x="87" y="335"/>
                  </a:lnTo>
                  <a:lnTo>
                    <a:pt x="88" y="334"/>
                  </a:lnTo>
                  <a:lnTo>
                    <a:pt x="88" y="333"/>
                  </a:lnTo>
                  <a:lnTo>
                    <a:pt x="89" y="333"/>
                  </a:lnTo>
                  <a:lnTo>
                    <a:pt x="90" y="332"/>
                  </a:lnTo>
                  <a:lnTo>
                    <a:pt x="90" y="330"/>
                  </a:lnTo>
                  <a:lnTo>
                    <a:pt x="89" y="329"/>
                  </a:lnTo>
                  <a:lnTo>
                    <a:pt x="89" y="328"/>
                  </a:lnTo>
                  <a:lnTo>
                    <a:pt x="90" y="328"/>
                  </a:lnTo>
                  <a:lnTo>
                    <a:pt x="90" y="327"/>
                  </a:lnTo>
                  <a:lnTo>
                    <a:pt x="91" y="326"/>
                  </a:lnTo>
                  <a:lnTo>
                    <a:pt x="93" y="324"/>
                  </a:lnTo>
                  <a:lnTo>
                    <a:pt x="93" y="323"/>
                  </a:lnTo>
                  <a:lnTo>
                    <a:pt x="94" y="322"/>
                  </a:lnTo>
                  <a:lnTo>
                    <a:pt x="96" y="321"/>
                  </a:lnTo>
                  <a:lnTo>
                    <a:pt x="96" y="320"/>
                  </a:lnTo>
                  <a:lnTo>
                    <a:pt x="97" y="318"/>
                  </a:lnTo>
                  <a:lnTo>
                    <a:pt x="97" y="317"/>
                  </a:lnTo>
                  <a:lnTo>
                    <a:pt x="99" y="316"/>
                  </a:lnTo>
                  <a:lnTo>
                    <a:pt x="100" y="316"/>
                  </a:lnTo>
                  <a:lnTo>
                    <a:pt x="101" y="315"/>
                  </a:lnTo>
                  <a:lnTo>
                    <a:pt x="99" y="314"/>
                  </a:lnTo>
                  <a:lnTo>
                    <a:pt x="99" y="312"/>
                  </a:lnTo>
                  <a:lnTo>
                    <a:pt x="100" y="312"/>
                  </a:lnTo>
                  <a:lnTo>
                    <a:pt x="99" y="312"/>
                  </a:lnTo>
                  <a:lnTo>
                    <a:pt x="97" y="311"/>
                  </a:lnTo>
                  <a:lnTo>
                    <a:pt x="97" y="310"/>
                  </a:lnTo>
                  <a:lnTo>
                    <a:pt x="99" y="309"/>
                  </a:lnTo>
                  <a:lnTo>
                    <a:pt x="97" y="308"/>
                  </a:lnTo>
                  <a:lnTo>
                    <a:pt x="96" y="308"/>
                  </a:lnTo>
                  <a:lnTo>
                    <a:pt x="96" y="306"/>
                  </a:lnTo>
                  <a:lnTo>
                    <a:pt x="95" y="306"/>
                  </a:lnTo>
                  <a:lnTo>
                    <a:pt x="94" y="306"/>
                  </a:lnTo>
                  <a:lnTo>
                    <a:pt x="90" y="305"/>
                  </a:lnTo>
                  <a:lnTo>
                    <a:pt x="91" y="304"/>
                  </a:lnTo>
                  <a:lnTo>
                    <a:pt x="90" y="302"/>
                  </a:lnTo>
                  <a:lnTo>
                    <a:pt x="89" y="302"/>
                  </a:lnTo>
                  <a:lnTo>
                    <a:pt x="88" y="302"/>
                  </a:lnTo>
                  <a:lnTo>
                    <a:pt x="87" y="302"/>
                  </a:lnTo>
                  <a:lnTo>
                    <a:pt x="84" y="300"/>
                  </a:lnTo>
                  <a:lnTo>
                    <a:pt x="84" y="299"/>
                  </a:lnTo>
                  <a:lnTo>
                    <a:pt x="85" y="298"/>
                  </a:lnTo>
                  <a:lnTo>
                    <a:pt x="85" y="297"/>
                  </a:lnTo>
                  <a:lnTo>
                    <a:pt x="84" y="298"/>
                  </a:lnTo>
                  <a:lnTo>
                    <a:pt x="82" y="297"/>
                  </a:lnTo>
                  <a:lnTo>
                    <a:pt x="82" y="298"/>
                  </a:lnTo>
                  <a:lnTo>
                    <a:pt x="82" y="299"/>
                  </a:lnTo>
                  <a:lnTo>
                    <a:pt x="83" y="300"/>
                  </a:lnTo>
                  <a:lnTo>
                    <a:pt x="82" y="302"/>
                  </a:lnTo>
                  <a:lnTo>
                    <a:pt x="81" y="302"/>
                  </a:lnTo>
                  <a:lnTo>
                    <a:pt x="82" y="302"/>
                  </a:lnTo>
                  <a:lnTo>
                    <a:pt x="82" y="303"/>
                  </a:lnTo>
                  <a:lnTo>
                    <a:pt x="81" y="303"/>
                  </a:lnTo>
                  <a:lnTo>
                    <a:pt x="81" y="304"/>
                  </a:lnTo>
                  <a:lnTo>
                    <a:pt x="79" y="305"/>
                  </a:lnTo>
                  <a:lnTo>
                    <a:pt x="78" y="308"/>
                  </a:lnTo>
                  <a:lnTo>
                    <a:pt x="77" y="309"/>
                  </a:lnTo>
                  <a:lnTo>
                    <a:pt x="76" y="308"/>
                  </a:lnTo>
                  <a:lnTo>
                    <a:pt x="75" y="308"/>
                  </a:lnTo>
                  <a:lnTo>
                    <a:pt x="72" y="308"/>
                  </a:lnTo>
                  <a:lnTo>
                    <a:pt x="71" y="308"/>
                  </a:lnTo>
                  <a:lnTo>
                    <a:pt x="71" y="310"/>
                  </a:lnTo>
                  <a:lnTo>
                    <a:pt x="70" y="311"/>
                  </a:lnTo>
                  <a:lnTo>
                    <a:pt x="69" y="311"/>
                  </a:lnTo>
                  <a:lnTo>
                    <a:pt x="66" y="311"/>
                  </a:lnTo>
                  <a:lnTo>
                    <a:pt x="64" y="312"/>
                  </a:lnTo>
                  <a:lnTo>
                    <a:pt x="63" y="315"/>
                  </a:lnTo>
                  <a:lnTo>
                    <a:pt x="61" y="314"/>
                  </a:lnTo>
                  <a:lnTo>
                    <a:pt x="60" y="315"/>
                  </a:lnTo>
                  <a:lnTo>
                    <a:pt x="58" y="316"/>
                  </a:lnTo>
                  <a:lnTo>
                    <a:pt x="57" y="316"/>
                  </a:lnTo>
                  <a:lnTo>
                    <a:pt x="55" y="316"/>
                  </a:lnTo>
                  <a:lnTo>
                    <a:pt x="53" y="316"/>
                  </a:lnTo>
                  <a:lnTo>
                    <a:pt x="52" y="316"/>
                  </a:lnTo>
                  <a:lnTo>
                    <a:pt x="51" y="316"/>
                  </a:lnTo>
                  <a:lnTo>
                    <a:pt x="49" y="317"/>
                  </a:lnTo>
                  <a:lnTo>
                    <a:pt x="47" y="316"/>
                  </a:lnTo>
                  <a:lnTo>
                    <a:pt x="45" y="317"/>
                  </a:lnTo>
                  <a:lnTo>
                    <a:pt x="45" y="316"/>
                  </a:lnTo>
                  <a:lnTo>
                    <a:pt x="45" y="315"/>
                  </a:lnTo>
                  <a:lnTo>
                    <a:pt x="43" y="315"/>
                  </a:lnTo>
                  <a:lnTo>
                    <a:pt x="43" y="314"/>
                  </a:lnTo>
                  <a:lnTo>
                    <a:pt x="42" y="312"/>
                  </a:lnTo>
                  <a:lnTo>
                    <a:pt x="41" y="311"/>
                  </a:lnTo>
                  <a:lnTo>
                    <a:pt x="40" y="310"/>
                  </a:lnTo>
                  <a:lnTo>
                    <a:pt x="38" y="310"/>
                  </a:lnTo>
                  <a:lnTo>
                    <a:pt x="37" y="311"/>
                  </a:lnTo>
                  <a:lnTo>
                    <a:pt x="37" y="310"/>
                  </a:lnTo>
                  <a:lnTo>
                    <a:pt x="36" y="310"/>
                  </a:lnTo>
                  <a:lnTo>
                    <a:pt x="34" y="310"/>
                  </a:lnTo>
                  <a:lnTo>
                    <a:pt x="35" y="309"/>
                  </a:lnTo>
                  <a:lnTo>
                    <a:pt x="32" y="309"/>
                  </a:lnTo>
                  <a:lnTo>
                    <a:pt x="32" y="308"/>
                  </a:lnTo>
                  <a:lnTo>
                    <a:pt x="31" y="306"/>
                  </a:lnTo>
                  <a:lnTo>
                    <a:pt x="31" y="305"/>
                  </a:lnTo>
                  <a:lnTo>
                    <a:pt x="30" y="305"/>
                  </a:lnTo>
                  <a:lnTo>
                    <a:pt x="29" y="305"/>
                  </a:lnTo>
                  <a:lnTo>
                    <a:pt x="29" y="306"/>
                  </a:lnTo>
                  <a:lnTo>
                    <a:pt x="28" y="305"/>
                  </a:lnTo>
                  <a:lnTo>
                    <a:pt x="25" y="305"/>
                  </a:lnTo>
                  <a:lnTo>
                    <a:pt x="25" y="304"/>
                  </a:lnTo>
                  <a:lnTo>
                    <a:pt x="24" y="304"/>
                  </a:lnTo>
                  <a:lnTo>
                    <a:pt x="23" y="302"/>
                  </a:lnTo>
                  <a:lnTo>
                    <a:pt x="22" y="302"/>
                  </a:lnTo>
                  <a:lnTo>
                    <a:pt x="20" y="302"/>
                  </a:lnTo>
                  <a:lnTo>
                    <a:pt x="22" y="300"/>
                  </a:lnTo>
                  <a:lnTo>
                    <a:pt x="22" y="299"/>
                  </a:lnTo>
                  <a:lnTo>
                    <a:pt x="23" y="299"/>
                  </a:lnTo>
                  <a:lnTo>
                    <a:pt x="23" y="298"/>
                  </a:lnTo>
                  <a:lnTo>
                    <a:pt x="24" y="297"/>
                  </a:lnTo>
                  <a:lnTo>
                    <a:pt x="23" y="296"/>
                  </a:lnTo>
                  <a:lnTo>
                    <a:pt x="20" y="294"/>
                  </a:lnTo>
                  <a:lnTo>
                    <a:pt x="23" y="293"/>
                  </a:lnTo>
                  <a:lnTo>
                    <a:pt x="24" y="292"/>
                  </a:lnTo>
                  <a:lnTo>
                    <a:pt x="25" y="292"/>
                  </a:lnTo>
                  <a:lnTo>
                    <a:pt x="23" y="292"/>
                  </a:lnTo>
                  <a:lnTo>
                    <a:pt x="19" y="293"/>
                  </a:lnTo>
                  <a:lnTo>
                    <a:pt x="19" y="296"/>
                  </a:lnTo>
                  <a:lnTo>
                    <a:pt x="18" y="296"/>
                  </a:lnTo>
                  <a:lnTo>
                    <a:pt x="18" y="297"/>
                  </a:lnTo>
                  <a:lnTo>
                    <a:pt x="17" y="297"/>
                  </a:lnTo>
                  <a:lnTo>
                    <a:pt x="14" y="298"/>
                  </a:lnTo>
                  <a:lnTo>
                    <a:pt x="12" y="297"/>
                  </a:lnTo>
                  <a:lnTo>
                    <a:pt x="11" y="298"/>
                  </a:lnTo>
                  <a:lnTo>
                    <a:pt x="10" y="297"/>
                  </a:lnTo>
                  <a:lnTo>
                    <a:pt x="10" y="298"/>
                  </a:lnTo>
                  <a:lnTo>
                    <a:pt x="8" y="297"/>
                  </a:lnTo>
                  <a:lnTo>
                    <a:pt x="7" y="296"/>
                  </a:lnTo>
                  <a:lnTo>
                    <a:pt x="6" y="293"/>
                  </a:lnTo>
                  <a:lnTo>
                    <a:pt x="5" y="293"/>
                  </a:lnTo>
                  <a:lnTo>
                    <a:pt x="5" y="292"/>
                  </a:lnTo>
                  <a:lnTo>
                    <a:pt x="5" y="290"/>
                  </a:lnTo>
                  <a:lnTo>
                    <a:pt x="1" y="287"/>
                  </a:lnTo>
                  <a:lnTo>
                    <a:pt x="2" y="285"/>
                  </a:lnTo>
                  <a:lnTo>
                    <a:pt x="1" y="284"/>
                  </a:lnTo>
                  <a:lnTo>
                    <a:pt x="0" y="280"/>
                  </a:lnTo>
                  <a:lnTo>
                    <a:pt x="2" y="279"/>
                  </a:lnTo>
                  <a:lnTo>
                    <a:pt x="2" y="280"/>
                  </a:lnTo>
                  <a:lnTo>
                    <a:pt x="5" y="281"/>
                  </a:lnTo>
                  <a:lnTo>
                    <a:pt x="5" y="28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0" name="Freeform 73"/>
            <p:cNvSpPr>
              <a:spLocks/>
            </p:cNvSpPr>
            <p:nvPr userDrawn="1"/>
          </p:nvSpPr>
          <p:spPr bwMode="auto">
            <a:xfrm>
              <a:off x="7435850" y="6467476"/>
              <a:ext cx="103188" cy="111125"/>
            </a:xfrm>
            <a:custGeom>
              <a:avLst/>
              <a:gdLst/>
              <a:ahLst/>
              <a:cxnLst>
                <a:cxn ang="0">
                  <a:pos x="37" y="151"/>
                </a:cxn>
                <a:cxn ang="0">
                  <a:pos x="52" y="131"/>
                </a:cxn>
                <a:cxn ang="0">
                  <a:pos x="90" y="120"/>
                </a:cxn>
                <a:cxn ang="0">
                  <a:pos x="82" y="116"/>
                </a:cxn>
                <a:cxn ang="0">
                  <a:pos x="61" y="112"/>
                </a:cxn>
                <a:cxn ang="0">
                  <a:pos x="64" y="87"/>
                </a:cxn>
                <a:cxn ang="0">
                  <a:pos x="75" y="77"/>
                </a:cxn>
                <a:cxn ang="0">
                  <a:pos x="78" y="52"/>
                </a:cxn>
                <a:cxn ang="0">
                  <a:pos x="103" y="58"/>
                </a:cxn>
                <a:cxn ang="0">
                  <a:pos x="122" y="62"/>
                </a:cxn>
                <a:cxn ang="0">
                  <a:pos x="139" y="65"/>
                </a:cxn>
                <a:cxn ang="0">
                  <a:pos x="158" y="77"/>
                </a:cxn>
                <a:cxn ang="0">
                  <a:pos x="165" y="88"/>
                </a:cxn>
                <a:cxn ang="0">
                  <a:pos x="150" y="66"/>
                </a:cxn>
                <a:cxn ang="0">
                  <a:pos x="133" y="60"/>
                </a:cxn>
                <a:cxn ang="0">
                  <a:pos x="116" y="44"/>
                </a:cxn>
                <a:cxn ang="0">
                  <a:pos x="120" y="23"/>
                </a:cxn>
                <a:cxn ang="0">
                  <a:pos x="133" y="13"/>
                </a:cxn>
                <a:cxn ang="0">
                  <a:pos x="146" y="9"/>
                </a:cxn>
                <a:cxn ang="0">
                  <a:pos x="162" y="18"/>
                </a:cxn>
                <a:cxn ang="0">
                  <a:pos x="174" y="15"/>
                </a:cxn>
                <a:cxn ang="0">
                  <a:pos x="192" y="13"/>
                </a:cxn>
                <a:cxn ang="0">
                  <a:pos x="200" y="22"/>
                </a:cxn>
                <a:cxn ang="0">
                  <a:pos x="220" y="15"/>
                </a:cxn>
                <a:cxn ang="0">
                  <a:pos x="238" y="31"/>
                </a:cxn>
                <a:cxn ang="0">
                  <a:pos x="223" y="50"/>
                </a:cxn>
                <a:cxn ang="0">
                  <a:pos x="245" y="64"/>
                </a:cxn>
                <a:cxn ang="0">
                  <a:pos x="268" y="83"/>
                </a:cxn>
                <a:cxn ang="0">
                  <a:pos x="276" y="96"/>
                </a:cxn>
                <a:cxn ang="0">
                  <a:pos x="282" y="117"/>
                </a:cxn>
                <a:cxn ang="0">
                  <a:pos x="289" y="140"/>
                </a:cxn>
                <a:cxn ang="0">
                  <a:pos x="275" y="153"/>
                </a:cxn>
                <a:cxn ang="0">
                  <a:pos x="305" y="187"/>
                </a:cxn>
                <a:cxn ang="0">
                  <a:pos x="274" y="170"/>
                </a:cxn>
                <a:cxn ang="0">
                  <a:pos x="246" y="164"/>
                </a:cxn>
                <a:cxn ang="0">
                  <a:pos x="275" y="183"/>
                </a:cxn>
                <a:cxn ang="0">
                  <a:pos x="311" y="223"/>
                </a:cxn>
                <a:cxn ang="0">
                  <a:pos x="301" y="239"/>
                </a:cxn>
                <a:cxn ang="0">
                  <a:pos x="283" y="253"/>
                </a:cxn>
                <a:cxn ang="0">
                  <a:pos x="279" y="274"/>
                </a:cxn>
                <a:cxn ang="0">
                  <a:pos x="255" y="256"/>
                </a:cxn>
                <a:cxn ang="0">
                  <a:pos x="234" y="245"/>
                </a:cxn>
                <a:cxn ang="0">
                  <a:pos x="241" y="259"/>
                </a:cxn>
                <a:cxn ang="0">
                  <a:pos x="257" y="289"/>
                </a:cxn>
                <a:cxn ang="0">
                  <a:pos x="232" y="285"/>
                </a:cxn>
                <a:cxn ang="0">
                  <a:pos x="199" y="278"/>
                </a:cxn>
                <a:cxn ang="0">
                  <a:pos x="186" y="296"/>
                </a:cxn>
                <a:cxn ang="0">
                  <a:pos x="118" y="285"/>
                </a:cxn>
                <a:cxn ang="0">
                  <a:pos x="76" y="289"/>
                </a:cxn>
                <a:cxn ang="0">
                  <a:pos x="121" y="283"/>
                </a:cxn>
                <a:cxn ang="0">
                  <a:pos x="139" y="262"/>
                </a:cxn>
                <a:cxn ang="0">
                  <a:pos x="106" y="265"/>
                </a:cxn>
                <a:cxn ang="0">
                  <a:pos x="79" y="277"/>
                </a:cxn>
                <a:cxn ang="0">
                  <a:pos x="50" y="258"/>
                </a:cxn>
                <a:cxn ang="0">
                  <a:pos x="65" y="236"/>
                </a:cxn>
                <a:cxn ang="0">
                  <a:pos x="105" y="220"/>
                </a:cxn>
                <a:cxn ang="0">
                  <a:pos x="84" y="224"/>
                </a:cxn>
                <a:cxn ang="0">
                  <a:pos x="84" y="202"/>
                </a:cxn>
                <a:cxn ang="0">
                  <a:pos x="79" y="202"/>
                </a:cxn>
                <a:cxn ang="0">
                  <a:pos x="44" y="223"/>
                </a:cxn>
                <a:cxn ang="0">
                  <a:pos x="46" y="199"/>
                </a:cxn>
                <a:cxn ang="0">
                  <a:pos x="43" y="179"/>
                </a:cxn>
                <a:cxn ang="0">
                  <a:pos x="2" y="167"/>
                </a:cxn>
              </a:cxnLst>
              <a:rect l="0" t="0" r="r" b="b"/>
              <a:pathLst>
                <a:path w="324" h="349">
                  <a:moveTo>
                    <a:pt x="3" y="165"/>
                  </a:moveTo>
                  <a:lnTo>
                    <a:pt x="3" y="164"/>
                  </a:lnTo>
                  <a:lnTo>
                    <a:pt x="4" y="165"/>
                  </a:lnTo>
                  <a:lnTo>
                    <a:pt x="5" y="164"/>
                  </a:lnTo>
                  <a:lnTo>
                    <a:pt x="5" y="165"/>
                  </a:lnTo>
                  <a:lnTo>
                    <a:pt x="5" y="164"/>
                  </a:lnTo>
                  <a:lnTo>
                    <a:pt x="8" y="164"/>
                  </a:lnTo>
                  <a:lnTo>
                    <a:pt x="8" y="165"/>
                  </a:lnTo>
                  <a:lnTo>
                    <a:pt x="9" y="165"/>
                  </a:lnTo>
                  <a:lnTo>
                    <a:pt x="8" y="165"/>
                  </a:lnTo>
                  <a:lnTo>
                    <a:pt x="8" y="164"/>
                  </a:lnTo>
                  <a:lnTo>
                    <a:pt x="8" y="163"/>
                  </a:lnTo>
                  <a:lnTo>
                    <a:pt x="9" y="163"/>
                  </a:lnTo>
                  <a:lnTo>
                    <a:pt x="10" y="163"/>
                  </a:lnTo>
                  <a:lnTo>
                    <a:pt x="10" y="164"/>
                  </a:lnTo>
                  <a:lnTo>
                    <a:pt x="10" y="165"/>
                  </a:lnTo>
                  <a:lnTo>
                    <a:pt x="13" y="165"/>
                  </a:lnTo>
                  <a:lnTo>
                    <a:pt x="13" y="166"/>
                  </a:lnTo>
                  <a:lnTo>
                    <a:pt x="14" y="166"/>
                  </a:lnTo>
                  <a:lnTo>
                    <a:pt x="14" y="164"/>
                  </a:lnTo>
                  <a:lnTo>
                    <a:pt x="15" y="164"/>
                  </a:lnTo>
                  <a:lnTo>
                    <a:pt x="16" y="164"/>
                  </a:lnTo>
                  <a:lnTo>
                    <a:pt x="17" y="165"/>
                  </a:lnTo>
                  <a:lnTo>
                    <a:pt x="16" y="163"/>
                  </a:lnTo>
                  <a:lnTo>
                    <a:pt x="16" y="161"/>
                  </a:lnTo>
                  <a:lnTo>
                    <a:pt x="15" y="160"/>
                  </a:lnTo>
                  <a:lnTo>
                    <a:pt x="15" y="158"/>
                  </a:lnTo>
                  <a:lnTo>
                    <a:pt x="16" y="159"/>
                  </a:lnTo>
                  <a:lnTo>
                    <a:pt x="17" y="159"/>
                  </a:lnTo>
                  <a:lnTo>
                    <a:pt x="17" y="160"/>
                  </a:lnTo>
                  <a:lnTo>
                    <a:pt x="19" y="161"/>
                  </a:lnTo>
                  <a:lnTo>
                    <a:pt x="20" y="163"/>
                  </a:lnTo>
                  <a:lnTo>
                    <a:pt x="20" y="161"/>
                  </a:lnTo>
                  <a:lnTo>
                    <a:pt x="20" y="160"/>
                  </a:lnTo>
                  <a:lnTo>
                    <a:pt x="21" y="160"/>
                  </a:lnTo>
                  <a:lnTo>
                    <a:pt x="22" y="160"/>
                  </a:lnTo>
                  <a:lnTo>
                    <a:pt x="21" y="159"/>
                  </a:lnTo>
                  <a:lnTo>
                    <a:pt x="23" y="157"/>
                  </a:lnTo>
                  <a:lnTo>
                    <a:pt x="23" y="158"/>
                  </a:lnTo>
                  <a:lnTo>
                    <a:pt x="26" y="157"/>
                  </a:lnTo>
                  <a:lnTo>
                    <a:pt x="25" y="155"/>
                  </a:lnTo>
                  <a:lnTo>
                    <a:pt x="25" y="154"/>
                  </a:lnTo>
                  <a:lnTo>
                    <a:pt x="26" y="154"/>
                  </a:lnTo>
                  <a:lnTo>
                    <a:pt x="27" y="154"/>
                  </a:lnTo>
                  <a:lnTo>
                    <a:pt x="27" y="155"/>
                  </a:lnTo>
                  <a:lnTo>
                    <a:pt x="28" y="155"/>
                  </a:lnTo>
                  <a:lnTo>
                    <a:pt x="29" y="157"/>
                  </a:lnTo>
                  <a:lnTo>
                    <a:pt x="29" y="155"/>
                  </a:lnTo>
                  <a:lnTo>
                    <a:pt x="28" y="154"/>
                  </a:lnTo>
                  <a:lnTo>
                    <a:pt x="28" y="153"/>
                  </a:lnTo>
                  <a:lnTo>
                    <a:pt x="28" y="152"/>
                  </a:lnTo>
                  <a:lnTo>
                    <a:pt x="29" y="153"/>
                  </a:lnTo>
                  <a:lnTo>
                    <a:pt x="31" y="154"/>
                  </a:lnTo>
                  <a:lnTo>
                    <a:pt x="32" y="154"/>
                  </a:lnTo>
                  <a:lnTo>
                    <a:pt x="33" y="153"/>
                  </a:lnTo>
                  <a:lnTo>
                    <a:pt x="34" y="154"/>
                  </a:lnTo>
                  <a:lnTo>
                    <a:pt x="35" y="154"/>
                  </a:lnTo>
                  <a:lnTo>
                    <a:pt x="37" y="154"/>
                  </a:lnTo>
                  <a:lnTo>
                    <a:pt x="37" y="153"/>
                  </a:lnTo>
                  <a:lnTo>
                    <a:pt x="37" y="152"/>
                  </a:lnTo>
                  <a:lnTo>
                    <a:pt x="37" y="151"/>
                  </a:lnTo>
                  <a:lnTo>
                    <a:pt x="38" y="151"/>
                  </a:lnTo>
                  <a:lnTo>
                    <a:pt x="39" y="152"/>
                  </a:lnTo>
                  <a:lnTo>
                    <a:pt x="39" y="153"/>
                  </a:lnTo>
                  <a:lnTo>
                    <a:pt x="40" y="154"/>
                  </a:lnTo>
                  <a:lnTo>
                    <a:pt x="41" y="154"/>
                  </a:lnTo>
                  <a:lnTo>
                    <a:pt x="41" y="153"/>
                  </a:lnTo>
                  <a:lnTo>
                    <a:pt x="40" y="152"/>
                  </a:lnTo>
                  <a:lnTo>
                    <a:pt x="40" y="149"/>
                  </a:lnTo>
                  <a:lnTo>
                    <a:pt x="39" y="148"/>
                  </a:lnTo>
                  <a:lnTo>
                    <a:pt x="40" y="148"/>
                  </a:lnTo>
                  <a:lnTo>
                    <a:pt x="40" y="147"/>
                  </a:lnTo>
                  <a:lnTo>
                    <a:pt x="41" y="148"/>
                  </a:lnTo>
                  <a:lnTo>
                    <a:pt x="43" y="148"/>
                  </a:lnTo>
                  <a:lnTo>
                    <a:pt x="44" y="149"/>
                  </a:lnTo>
                  <a:lnTo>
                    <a:pt x="44" y="148"/>
                  </a:lnTo>
                  <a:lnTo>
                    <a:pt x="45" y="149"/>
                  </a:lnTo>
                  <a:lnTo>
                    <a:pt x="46" y="149"/>
                  </a:lnTo>
                  <a:lnTo>
                    <a:pt x="47" y="149"/>
                  </a:lnTo>
                  <a:lnTo>
                    <a:pt x="49" y="149"/>
                  </a:lnTo>
                  <a:lnTo>
                    <a:pt x="47" y="148"/>
                  </a:lnTo>
                  <a:lnTo>
                    <a:pt x="47" y="147"/>
                  </a:lnTo>
                  <a:lnTo>
                    <a:pt x="45" y="146"/>
                  </a:lnTo>
                  <a:lnTo>
                    <a:pt x="46" y="146"/>
                  </a:lnTo>
                  <a:lnTo>
                    <a:pt x="46" y="144"/>
                  </a:lnTo>
                  <a:lnTo>
                    <a:pt x="45" y="144"/>
                  </a:lnTo>
                  <a:lnTo>
                    <a:pt x="45" y="146"/>
                  </a:lnTo>
                  <a:lnTo>
                    <a:pt x="45" y="144"/>
                  </a:lnTo>
                  <a:lnTo>
                    <a:pt x="44" y="143"/>
                  </a:lnTo>
                  <a:lnTo>
                    <a:pt x="43" y="143"/>
                  </a:lnTo>
                  <a:lnTo>
                    <a:pt x="41" y="143"/>
                  </a:lnTo>
                  <a:lnTo>
                    <a:pt x="40" y="142"/>
                  </a:lnTo>
                  <a:lnTo>
                    <a:pt x="39" y="141"/>
                  </a:lnTo>
                  <a:lnTo>
                    <a:pt x="40" y="141"/>
                  </a:lnTo>
                  <a:lnTo>
                    <a:pt x="39" y="141"/>
                  </a:lnTo>
                  <a:lnTo>
                    <a:pt x="39" y="140"/>
                  </a:lnTo>
                  <a:lnTo>
                    <a:pt x="39" y="138"/>
                  </a:lnTo>
                  <a:lnTo>
                    <a:pt x="38" y="136"/>
                  </a:lnTo>
                  <a:lnTo>
                    <a:pt x="39" y="136"/>
                  </a:lnTo>
                  <a:lnTo>
                    <a:pt x="40" y="136"/>
                  </a:lnTo>
                  <a:lnTo>
                    <a:pt x="40" y="137"/>
                  </a:lnTo>
                  <a:lnTo>
                    <a:pt x="41" y="136"/>
                  </a:lnTo>
                  <a:lnTo>
                    <a:pt x="41" y="135"/>
                  </a:lnTo>
                  <a:lnTo>
                    <a:pt x="43" y="135"/>
                  </a:lnTo>
                  <a:lnTo>
                    <a:pt x="43" y="136"/>
                  </a:lnTo>
                  <a:lnTo>
                    <a:pt x="44" y="136"/>
                  </a:lnTo>
                  <a:lnTo>
                    <a:pt x="44" y="137"/>
                  </a:lnTo>
                  <a:lnTo>
                    <a:pt x="46" y="137"/>
                  </a:lnTo>
                  <a:lnTo>
                    <a:pt x="45" y="136"/>
                  </a:lnTo>
                  <a:lnTo>
                    <a:pt x="45" y="135"/>
                  </a:lnTo>
                  <a:lnTo>
                    <a:pt x="46" y="134"/>
                  </a:lnTo>
                  <a:lnTo>
                    <a:pt x="46" y="135"/>
                  </a:lnTo>
                  <a:lnTo>
                    <a:pt x="49" y="135"/>
                  </a:lnTo>
                  <a:lnTo>
                    <a:pt x="49" y="136"/>
                  </a:lnTo>
                  <a:lnTo>
                    <a:pt x="50" y="136"/>
                  </a:lnTo>
                  <a:lnTo>
                    <a:pt x="50" y="135"/>
                  </a:lnTo>
                  <a:lnTo>
                    <a:pt x="51" y="134"/>
                  </a:lnTo>
                  <a:lnTo>
                    <a:pt x="52" y="134"/>
                  </a:lnTo>
                  <a:lnTo>
                    <a:pt x="52" y="135"/>
                  </a:lnTo>
                  <a:lnTo>
                    <a:pt x="53" y="135"/>
                  </a:lnTo>
                  <a:lnTo>
                    <a:pt x="52" y="132"/>
                  </a:lnTo>
                  <a:lnTo>
                    <a:pt x="52" y="131"/>
                  </a:lnTo>
                  <a:lnTo>
                    <a:pt x="52" y="130"/>
                  </a:lnTo>
                  <a:lnTo>
                    <a:pt x="53" y="130"/>
                  </a:lnTo>
                  <a:lnTo>
                    <a:pt x="55" y="130"/>
                  </a:lnTo>
                  <a:lnTo>
                    <a:pt x="55" y="131"/>
                  </a:lnTo>
                  <a:lnTo>
                    <a:pt x="55" y="130"/>
                  </a:lnTo>
                  <a:lnTo>
                    <a:pt x="55" y="131"/>
                  </a:lnTo>
                  <a:lnTo>
                    <a:pt x="55" y="132"/>
                  </a:lnTo>
                  <a:lnTo>
                    <a:pt x="56" y="131"/>
                  </a:lnTo>
                  <a:lnTo>
                    <a:pt x="56" y="132"/>
                  </a:lnTo>
                  <a:lnTo>
                    <a:pt x="56" y="134"/>
                  </a:lnTo>
                  <a:lnTo>
                    <a:pt x="56" y="132"/>
                  </a:lnTo>
                  <a:lnTo>
                    <a:pt x="57" y="132"/>
                  </a:lnTo>
                  <a:lnTo>
                    <a:pt x="58" y="134"/>
                  </a:lnTo>
                  <a:lnTo>
                    <a:pt x="59" y="134"/>
                  </a:lnTo>
                  <a:lnTo>
                    <a:pt x="61" y="135"/>
                  </a:lnTo>
                  <a:lnTo>
                    <a:pt x="61" y="136"/>
                  </a:lnTo>
                  <a:lnTo>
                    <a:pt x="62" y="135"/>
                  </a:lnTo>
                  <a:lnTo>
                    <a:pt x="62" y="134"/>
                  </a:lnTo>
                  <a:lnTo>
                    <a:pt x="61" y="134"/>
                  </a:lnTo>
                  <a:lnTo>
                    <a:pt x="61" y="131"/>
                  </a:lnTo>
                  <a:lnTo>
                    <a:pt x="62" y="130"/>
                  </a:lnTo>
                  <a:lnTo>
                    <a:pt x="62" y="131"/>
                  </a:lnTo>
                  <a:lnTo>
                    <a:pt x="63" y="131"/>
                  </a:lnTo>
                  <a:lnTo>
                    <a:pt x="62" y="131"/>
                  </a:lnTo>
                  <a:lnTo>
                    <a:pt x="63" y="130"/>
                  </a:lnTo>
                  <a:lnTo>
                    <a:pt x="64" y="130"/>
                  </a:lnTo>
                  <a:lnTo>
                    <a:pt x="65" y="130"/>
                  </a:lnTo>
                  <a:lnTo>
                    <a:pt x="67" y="129"/>
                  </a:lnTo>
                  <a:lnTo>
                    <a:pt x="68" y="129"/>
                  </a:lnTo>
                  <a:lnTo>
                    <a:pt x="68" y="130"/>
                  </a:lnTo>
                  <a:lnTo>
                    <a:pt x="69" y="130"/>
                  </a:lnTo>
                  <a:lnTo>
                    <a:pt x="69" y="131"/>
                  </a:lnTo>
                  <a:lnTo>
                    <a:pt x="70" y="131"/>
                  </a:lnTo>
                  <a:lnTo>
                    <a:pt x="70" y="130"/>
                  </a:lnTo>
                  <a:lnTo>
                    <a:pt x="72" y="129"/>
                  </a:lnTo>
                  <a:lnTo>
                    <a:pt x="73" y="129"/>
                  </a:lnTo>
                  <a:lnTo>
                    <a:pt x="74" y="129"/>
                  </a:lnTo>
                  <a:lnTo>
                    <a:pt x="74" y="128"/>
                  </a:lnTo>
                  <a:lnTo>
                    <a:pt x="74" y="129"/>
                  </a:lnTo>
                  <a:lnTo>
                    <a:pt x="75" y="129"/>
                  </a:lnTo>
                  <a:lnTo>
                    <a:pt x="75" y="128"/>
                  </a:lnTo>
                  <a:lnTo>
                    <a:pt x="75" y="126"/>
                  </a:lnTo>
                  <a:lnTo>
                    <a:pt x="74" y="125"/>
                  </a:lnTo>
                  <a:lnTo>
                    <a:pt x="75" y="124"/>
                  </a:lnTo>
                  <a:lnTo>
                    <a:pt x="75" y="123"/>
                  </a:lnTo>
                  <a:lnTo>
                    <a:pt x="75" y="124"/>
                  </a:lnTo>
                  <a:lnTo>
                    <a:pt x="76" y="124"/>
                  </a:lnTo>
                  <a:lnTo>
                    <a:pt x="78" y="124"/>
                  </a:lnTo>
                  <a:lnTo>
                    <a:pt x="81" y="123"/>
                  </a:lnTo>
                  <a:lnTo>
                    <a:pt x="80" y="122"/>
                  </a:lnTo>
                  <a:lnTo>
                    <a:pt x="81" y="122"/>
                  </a:lnTo>
                  <a:lnTo>
                    <a:pt x="82" y="122"/>
                  </a:lnTo>
                  <a:lnTo>
                    <a:pt x="82" y="120"/>
                  </a:lnTo>
                  <a:lnTo>
                    <a:pt x="82" y="119"/>
                  </a:lnTo>
                  <a:lnTo>
                    <a:pt x="84" y="120"/>
                  </a:lnTo>
                  <a:lnTo>
                    <a:pt x="84" y="122"/>
                  </a:lnTo>
                  <a:lnTo>
                    <a:pt x="85" y="120"/>
                  </a:lnTo>
                  <a:lnTo>
                    <a:pt x="86" y="120"/>
                  </a:lnTo>
                  <a:lnTo>
                    <a:pt x="87" y="120"/>
                  </a:lnTo>
                  <a:lnTo>
                    <a:pt x="88" y="120"/>
                  </a:lnTo>
                  <a:lnTo>
                    <a:pt x="90" y="120"/>
                  </a:lnTo>
                  <a:lnTo>
                    <a:pt x="90" y="119"/>
                  </a:lnTo>
                  <a:lnTo>
                    <a:pt x="91" y="119"/>
                  </a:lnTo>
                  <a:lnTo>
                    <a:pt x="91" y="120"/>
                  </a:lnTo>
                  <a:lnTo>
                    <a:pt x="91" y="119"/>
                  </a:lnTo>
                  <a:lnTo>
                    <a:pt x="91" y="118"/>
                  </a:lnTo>
                  <a:lnTo>
                    <a:pt x="92" y="118"/>
                  </a:lnTo>
                  <a:lnTo>
                    <a:pt x="93" y="118"/>
                  </a:lnTo>
                  <a:lnTo>
                    <a:pt x="93" y="117"/>
                  </a:lnTo>
                  <a:lnTo>
                    <a:pt x="94" y="117"/>
                  </a:lnTo>
                  <a:lnTo>
                    <a:pt x="94" y="116"/>
                  </a:lnTo>
                  <a:lnTo>
                    <a:pt x="96" y="116"/>
                  </a:lnTo>
                  <a:lnTo>
                    <a:pt x="94" y="116"/>
                  </a:lnTo>
                  <a:lnTo>
                    <a:pt x="94" y="114"/>
                  </a:lnTo>
                  <a:lnTo>
                    <a:pt x="94" y="113"/>
                  </a:lnTo>
                  <a:lnTo>
                    <a:pt x="96" y="113"/>
                  </a:lnTo>
                  <a:lnTo>
                    <a:pt x="94" y="113"/>
                  </a:lnTo>
                  <a:lnTo>
                    <a:pt x="96" y="113"/>
                  </a:lnTo>
                  <a:lnTo>
                    <a:pt x="97" y="113"/>
                  </a:lnTo>
                  <a:lnTo>
                    <a:pt x="96" y="112"/>
                  </a:lnTo>
                  <a:lnTo>
                    <a:pt x="97" y="112"/>
                  </a:lnTo>
                  <a:lnTo>
                    <a:pt x="97" y="111"/>
                  </a:lnTo>
                  <a:lnTo>
                    <a:pt x="98" y="110"/>
                  </a:lnTo>
                  <a:lnTo>
                    <a:pt x="99" y="108"/>
                  </a:lnTo>
                  <a:lnTo>
                    <a:pt x="98" y="108"/>
                  </a:lnTo>
                  <a:lnTo>
                    <a:pt x="98" y="107"/>
                  </a:lnTo>
                  <a:lnTo>
                    <a:pt x="97" y="107"/>
                  </a:lnTo>
                  <a:lnTo>
                    <a:pt x="96" y="107"/>
                  </a:lnTo>
                  <a:lnTo>
                    <a:pt x="96" y="106"/>
                  </a:lnTo>
                  <a:lnTo>
                    <a:pt x="96" y="107"/>
                  </a:lnTo>
                  <a:lnTo>
                    <a:pt x="94" y="107"/>
                  </a:lnTo>
                  <a:lnTo>
                    <a:pt x="93" y="107"/>
                  </a:lnTo>
                  <a:lnTo>
                    <a:pt x="92" y="107"/>
                  </a:lnTo>
                  <a:lnTo>
                    <a:pt x="91" y="107"/>
                  </a:lnTo>
                  <a:lnTo>
                    <a:pt x="91" y="108"/>
                  </a:lnTo>
                  <a:lnTo>
                    <a:pt x="91" y="110"/>
                  </a:lnTo>
                  <a:lnTo>
                    <a:pt x="91" y="111"/>
                  </a:lnTo>
                  <a:lnTo>
                    <a:pt x="92" y="111"/>
                  </a:lnTo>
                  <a:lnTo>
                    <a:pt x="91" y="112"/>
                  </a:lnTo>
                  <a:lnTo>
                    <a:pt x="91" y="113"/>
                  </a:lnTo>
                  <a:lnTo>
                    <a:pt x="90" y="113"/>
                  </a:lnTo>
                  <a:lnTo>
                    <a:pt x="88" y="114"/>
                  </a:lnTo>
                  <a:lnTo>
                    <a:pt x="88" y="116"/>
                  </a:lnTo>
                  <a:lnTo>
                    <a:pt x="88" y="114"/>
                  </a:lnTo>
                  <a:lnTo>
                    <a:pt x="90" y="114"/>
                  </a:lnTo>
                  <a:lnTo>
                    <a:pt x="91" y="116"/>
                  </a:lnTo>
                  <a:lnTo>
                    <a:pt x="92" y="116"/>
                  </a:lnTo>
                  <a:lnTo>
                    <a:pt x="91" y="116"/>
                  </a:lnTo>
                  <a:lnTo>
                    <a:pt x="91" y="117"/>
                  </a:lnTo>
                  <a:lnTo>
                    <a:pt x="90" y="117"/>
                  </a:lnTo>
                  <a:lnTo>
                    <a:pt x="90" y="118"/>
                  </a:lnTo>
                  <a:lnTo>
                    <a:pt x="88" y="118"/>
                  </a:lnTo>
                  <a:lnTo>
                    <a:pt x="87" y="118"/>
                  </a:lnTo>
                  <a:lnTo>
                    <a:pt x="86" y="118"/>
                  </a:lnTo>
                  <a:lnTo>
                    <a:pt x="85" y="118"/>
                  </a:lnTo>
                  <a:lnTo>
                    <a:pt x="84" y="118"/>
                  </a:lnTo>
                  <a:lnTo>
                    <a:pt x="84" y="117"/>
                  </a:lnTo>
                  <a:lnTo>
                    <a:pt x="82" y="117"/>
                  </a:lnTo>
                  <a:lnTo>
                    <a:pt x="82" y="118"/>
                  </a:lnTo>
                  <a:lnTo>
                    <a:pt x="82" y="117"/>
                  </a:lnTo>
                  <a:lnTo>
                    <a:pt x="81" y="117"/>
                  </a:lnTo>
                  <a:lnTo>
                    <a:pt x="82" y="116"/>
                  </a:lnTo>
                  <a:lnTo>
                    <a:pt x="82" y="114"/>
                  </a:lnTo>
                  <a:lnTo>
                    <a:pt x="84" y="114"/>
                  </a:lnTo>
                  <a:lnTo>
                    <a:pt x="84" y="113"/>
                  </a:lnTo>
                  <a:lnTo>
                    <a:pt x="82" y="112"/>
                  </a:lnTo>
                  <a:lnTo>
                    <a:pt x="84" y="112"/>
                  </a:lnTo>
                  <a:lnTo>
                    <a:pt x="84" y="111"/>
                  </a:lnTo>
                  <a:lnTo>
                    <a:pt x="85" y="111"/>
                  </a:lnTo>
                  <a:lnTo>
                    <a:pt x="85" y="110"/>
                  </a:lnTo>
                  <a:lnTo>
                    <a:pt x="84" y="110"/>
                  </a:lnTo>
                  <a:lnTo>
                    <a:pt x="82" y="110"/>
                  </a:lnTo>
                  <a:lnTo>
                    <a:pt x="82" y="111"/>
                  </a:lnTo>
                  <a:lnTo>
                    <a:pt x="81" y="111"/>
                  </a:lnTo>
                  <a:lnTo>
                    <a:pt x="80" y="111"/>
                  </a:lnTo>
                  <a:lnTo>
                    <a:pt x="80" y="112"/>
                  </a:lnTo>
                  <a:lnTo>
                    <a:pt x="80" y="111"/>
                  </a:lnTo>
                  <a:lnTo>
                    <a:pt x="79" y="111"/>
                  </a:lnTo>
                  <a:lnTo>
                    <a:pt x="79" y="112"/>
                  </a:lnTo>
                  <a:lnTo>
                    <a:pt x="79" y="111"/>
                  </a:lnTo>
                  <a:lnTo>
                    <a:pt x="78" y="111"/>
                  </a:lnTo>
                  <a:lnTo>
                    <a:pt x="78" y="112"/>
                  </a:lnTo>
                  <a:lnTo>
                    <a:pt x="76" y="112"/>
                  </a:lnTo>
                  <a:lnTo>
                    <a:pt x="76" y="113"/>
                  </a:lnTo>
                  <a:lnTo>
                    <a:pt x="78" y="113"/>
                  </a:lnTo>
                  <a:lnTo>
                    <a:pt x="76" y="113"/>
                  </a:lnTo>
                  <a:lnTo>
                    <a:pt x="75" y="113"/>
                  </a:lnTo>
                  <a:lnTo>
                    <a:pt x="74" y="113"/>
                  </a:lnTo>
                  <a:lnTo>
                    <a:pt x="73" y="113"/>
                  </a:lnTo>
                  <a:lnTo>
                    <a:pt x="73" y="112"/>
                  </a:lnTo>
                  <a:lnTo>
                    <a:pt x="72" y="112"/>
                  </a:lnTo>
                  <a:lnTo>
                    <a:pt x="70" y="112"/>
                  </a:lnTo>
                  <a:lnTo>
                    <a:pt x="70" y="113"/>
                  </a:lnTo>
                  <a:lnTo>
                    <a:pt x="69" y="113"/>
                  </a:lnTo>
                  <a:lnTo>
                    <a:pt x="69" y="114"/>
                  </a:lnTo>
                  <a:lnTo>
                    <a:pt x="69" y="113"/>
                  </a:lnTo>
                  <a:lnTo>
                    <a:pt x="68" y="113"/>
                  </a:lnTo>
                  <a:lnTo>
                    <a:pt x="68" y="114"/>
                  </a:lnTo>
                  <a:lnTo>
                    <a:pt x="67" y="114"/>
                  </a:lnTo>
                  <a:lnTo>
                    <a:pt x="67" y="116"/>
                  </a:lnTo>
                  <a:lnTo>
                    <a:pt x="67" y="114"/>
                  </a:lnTo>
                  <a:lnTo>
                    <a:pt x="65" y="114"/>
                  </a:lnTo>
                  <a:lnTo>
                    <a:pt x="64" y="114"/>
                  </a:lnTo>
                  <a:lnTo>
                    <a:pt x="64" y="113"/>
                  </a:lnTo>
                  <a:lnTo>
                    <a:pt x="64" y="112"/>
                  </a:lnTo>
                  <a:lnTo>
                    <a:pt x="65" y="112"/>
                  </a:lnTo>
                  <a:lnTo>
                    <a:pt x="65" y="113"/>
                  </a:lnTo>
                  <a:lnTo>
                    <a:pt x="67" y="113"/>
                  </a:lnTo>
                  <a:lnTo>
                    <a:pt x="67" y="112"/>
                  </a:lnTo>
                  <a:lnTo>
                    <a:pt x="67" y="111"/>
                  </a:lnTo>
                  <a:lnTo>
                    <a:pt x="68" y="111"/>
                  </a:lnTo>
                  <a:lnTo>
                    <a:pt x="67" y="110"/>
                  </a:lnTo>
                  <a:lnTo>
                    <a:pt x="67" y="111"/>
                  </a:lnTo>
                  <a:lnTo>
                    <a:pt x="65" y="111"/>
                  </a:lnTo>
                  <a:lnTo>
                    <a:pt x="64" y="111"/>
                  </a:lnTo>
                  <a:lnTo>
                    <a:pt x="64" y="112"/>
                  </a:lnTo>
                  <a:lnTo>
                    <a:pt x="64" y="111"/>
                  </a:lnTo>
                  <a:lnTo>
                    <a:pt x="63" y="111"/>
                  </a:lnTo>
                  <a:lnTo>
                    <a:pt x="63" y="112"/>
                  </a:lnTo>
                  <a:lnTo>
                    <a:pt x="63" y="113"/>
                  </a:lnTo>
                  <a:lnTo>
                    <a:pt x="63" y="112"/>
                  </a:lnTo>
                  <a:lnTo>
                    <a:pt x="62" y="112"/>
                  </a:lnTo>
                  <a:lnTo>
                    <a:pt x="61" y="112"/>
                  </a:lnTo>
                  <a:lnTo>
                    <a:pt x="61" y="111"/>
                  </a:lnTo>
                  <a:lnTo>
                    <a:pt x="59" y="111"/>
                  </a:lnTo>
                  <a:lnTo>
                    <a:pt x="58" y="111"/>
                  </a:lnTo>
                  <a:lnTo>
                    <a:pt x="58" y="110"/>
                  </a:lnTo>
                  <a:lnTo>
                    <a:pt x="57" y="110"/>
                  </a:lnTo>
                  <a:lnTo>
                    <a:pt x="57" y="108"/>
                  </a:lnTo>
                  <a:lnTo>
                    <a:pt x="56" y="107"/>
                  </a:lnTo>
                  <a:lnTo>
                    <a:pt x="57" y="107"/>
                  </a:lnTo>
                  <a:lnTo>
                    <a:pt x="57" y="106"/>
                  </a:lnTo>
                  <a:lnTo>
                    <a:pt x="57" y="107"/>
                  </a:lnTo>
                  <a:lnTo>
                    <a:pt x="56" y="106"/>
                  </a:lnTo>
                  <a:lnTo>
                    <a:pt x="56" y="105"/>
                  </a:lnTo>
                  <a:lnTo>
                    <a:pt x="55" y="105"/>
                  </a:lnTo>
                  <a:lnTo>
                    <a:pt x="55" y="104"/>
                  </a:lnTo>
                  <a:lnTo>
                    <a:pt x="55" y="102"/>
                  </a:lnTo>
                  <a:lnTo>
                    <a:pt x="55" y="101"/>
                  </a:lnTo>
                  <a:lnTo>
                    <a:pt x="56" y="101"/>
                  </a:lnTo>
                  <a:lnTo>
                    <a:pt x="56" y="102"/>
                  </a:lnTo>
                  <a:lnTo>
                    <a:pt x="57" y="102"/>
                  </a:lnTo>
                  <a:lnTo>
                    <a:pt x="58" y="102"/>
                  </a:lnTo>
                  <a:lnTo>
                    <a:pt x="58" y="101"/>
                  </a:lnTo>
                  <a:lnTo>
                    <a:pt x="59" y="101"/>
                  </a:lnTo>
                  <a:lnTo>
                    <a:pt x="61" y="101"/>
                  </a:lnTo>
                  <a:lnTo>
                    <a:pt x="61" y="100"/>
                  </a:lnTo>
                  <a:lnTo>
                    <a:pt x="61" y="101"/>
                  </a:lnTo>
                  <a:lnTo>
                    <a:pt x="62" y="101"/>
                  </a:lnTo>
                  <a:lnTo>
                    <a:pt x="62" y="100"/>
                  </a:lnTo>
                  <a:lnTo>
                    <a:pt x="61" y="100"/>
                  </a:lnTo>
                  <a:lnTo>
                    <a:pt x="61" y="99"/>
                  </a:lnTo>
                  <a:lnTo>
                    <a:pt x="59" y="99"/>
                  </a:lnTo>
                  <a:lnTo>
                    <a:pt x="59" y="98"/>
                  </a:lnTo>
                  <a:lnTo>
                    <a:pt x="61" y="98"/>
                  </a:lnTo>
                  <a:lnTo>
                    <a:pt x="59" y="98"/>
                  </a:lnTo>
                  <a:lnTo>
                    <a:pt x="59" y="96"/>
                  </a:lnTo>
                  <a:lnTo>
                    <a:pt x="58" y="96"/>
                  </a:lnTo>
                  <a:lnTo>
                    <a:pt x="58" y="95"/>
                  </a:lnTo>
                  <a:lnTo>
                    <a:pt x="58" y="94"/>
                  </a:lnTo>
                  <a:lnTo>
                    <a:pt x="58" y="93"/>
                  </a:lnTo>
                  <a:lnTo>
                    <a:pt x="57" y="93"/>
                  </a:lnTo>
                  <a:lnTo>
                    <a:pt x="57" y="92"/>
                  </a:lnTo>
                  <a:lnTo>
                    <a:pt x="57" y="90"/>
                  </a:lnTo>
                  <a:lnTo>
                    <a:pt x="57" y="89"/>
                  </a:lnTo>
                  <a:lnTo>
                    <a:pt x="57" y="88"/>
                  </a:lnTo>
                  <a:lnTo>
                    <a:pt x="57" y="87"/>
                  </a:lnTo>
                  <a:lnTo>
                    <a:pt x="56" y="87"/>
                  </a:lnTo>
                  <a:lnTo>
                    <a:pt x="57" y="87"/>
                  </a:lnTo>
                  <a:lnTo>
                    <a:pt x="57" y="86"/>
                  </a:lnTo>
                  <a:lnTo>
                    <a:pt x="58" y="86"/>
                  </a:lnTo>
                  <a:lnTo>
                    <a:pt x="58" y="87"/>
                  </a:lnTo>
                  <a:lnTo>
                    <a:pt x="59" y="87"/>
                  </a:lnTo>
                  <a:lnTo>
                    <a:pt x="59" y="88"/>
                  </a:lnTo>
                  <a:lnTo>
                    <a:pt x="61" y="88"/>
                  </a:lnTo>
                  <a:lnTo>
                    <a:pt x="61" y="89"/>
                  </a:lnTo>
                  <a:lnTo>
                    <a:pt x="61" y="88"/>
                  </a:lnTo>
                  <a:lnTo>
                    <a:pt x="61" y="87"/>
                  </a:lnTo>
                  <a:lnTo>
                    <a:pt x="62" y="87"/>
                  </a:lnTo>
                  <a:lnTo>
                    <a:pt x="62" y="86"/>
                  </a:lnTo>
                  <a:lnTo>
                    <a:pt x="63" y="87"/>
                  </a:lnTo>
                  <a:lnTo>
                    <a:pt x="63" y="88"/>
                  </a:lnTo>
                  <a:lnTo>
                    <a:pt x="63" y="87"/>
                  </a:lnTo>
                  <a:lnTo>
                    <a:pt x="64" y="87"/>
                  </a:lnTo>
                  <a:lnTo>
                    <a:pt x="65" y="87"/>
                  </a:lnTo>
                  <a:lnTo>
                    <a:pt x="65" y="88"/>
                  </a:lnTo>
                  <a:lnTo>
                    <a:pt x="67" y="88"/>
                  </a:lnTo>
                  <a:lnTo>
                    <a:pt x="67" y="89"/>
                  </a:lnTo>
                  <a:lnTo>
                    <a:pt x="68" y="90"/>
                  </a:lnTo>
                  <a:lnTo>
                    <a:pt x="69" y="90"/>
                  </a:lnTo>
                  <a:lnTo>
                    <a:pt x="69" y="89"/>
                  </a:lnTo>
                  <a:lnTo>
                    <a:pt x="68" y="89"/>
                  </a:lnTo>
                  <a:lnTo>
                    <a:pt x="68" y="88"/>
                  </a:lnTo>
                  <a:lnTo>
                    <a:pt x="67" y="88"/>
                  </a:lnTo>
                  <a:lnTo>
                    <a:pt x="67" y="87"/>
                  </a:lnTo>
                  <a:lnTo>
                    <a:pt x="67" y="86"/>
                  </a:lnTo>
                  <a:lnTo>
                    <a:pt x="68" y="86"/>
                  </a:lnTo>
                  <a:lnTo>
                    <a:pt x="69" y="86"/>
                  </a:lnTo>
                  <a:lnTo>
                    <a:pt x="70" y="86"/>
                  </a:lnTo>
                  <a:lnTo>
                    <a:pt x="70" y="87"/>
                  </a:lnTo>
                  <a:lnTo>
                    <a:pt x="72" y="87"/>
                  </a:lnTo>
                  <a:lnTo>
                    <a:pt x="73" y="87"/>
                  </a:lnTo>
                  <a:lnTo>
                    <a:pt x="74" y="87"/>
                  </a:lnTo>
                  <a:lnTo>
                    <a:pt x="75" y="87"/>
                  </a:lnTo>
                  <a:lnTo>
                    <a:pt x="75" y="86"/>
                  </a:lnTo>
                  <a:lnTo>
                    <a:pt x="74" y="86"/>
                  </a:lnTo>
                  <a:lnTo>
                    <a:pt x="74" y="84"/>
                  </a:lnTo>
                  <a:lnTo>
                    <a:pt x="73" y="84"/>
                  </a:lnTo>
                  <a:lnTo>
                    <a:pt x="72" y="84"/>
                  </a:lnTo>
                  <a:lnTo>
                    <a:pt x="72" y="83"/>
                  </a:lnTo>
                  <a:lnTo>
                    <a:pt x="70" y="83"/>
                  </a:lnTo>
                  <a:lnTo>
                    <a:pt x="69" y="83"/>
                  </a:lnTo>
                  <a:lnTo>
                    <a:pt x="68" y="83"/>
                  </a:lnTo>
                  <a:lnTo>
                    <a:pt x="67" y="83"/>
                  </a:lnTo>
                  <a:lnTo>
                    <a:pt x="67" y="82"/>
                  </a:lnTo>
                  <a:lnTo>
                    <a:pt x="67" y="81"/>
                  </a:lnTo>
                  <a:lnTo>
                    <a:pt x="65" y="81"/>
                  </a:lnTo>
                  <a:lnTo>
                    <a:pt x="64" y="81"/>
                  </a:lnTo>
                  <a:lnTo>
                    <a:pt x="64" y="80"/>
                  </a:lnTo>
                  <a:lnTo>
                    <a:pt x="64" y="78"/>
                  </a:lnTo>
                  <a:lnTo>
                    <a:pt x="64" y="77"/>
                  </a:lnTo>
                  <a:lnTo>
                    <a:pt x="63" y="77"/>
                  </a:lnTo>
                  <a:lnTo>
                    <a:pt x="62" y="77"/>
                  </a:lnTo>
                  <a:lnTo>
                    <a:pt x="63" y="76"/>
                  </a:lnTo>
                  <a:lnTo>
                    <a:pt x="64" y="76"/>
                  </a:lnTo>
                  <a:lnTo>
                    <a:pt x="65" y="76"/>
                  </a:lnTo>
                  <a:lnTo>
                    <a:pt x="67" y="76"/>
                  </a:lnTo>
                  <a:lnTo>
                    <a:pt x="67" y="77"/>
                  </a:lnTo>
                  <a:lnTo>
                    <a:pt x="67" y="76"/>
                  </a:lnTo>
                  <a:lnTo>
                    <a:pt x="67" y="75"/>
                  </a:lnTo>
                  <a:lnTo>
                    <a:pt x="67" y="74"/>
                  </a:lnTo>
                  <a:lnTo>
                    <a:pt x="68" y="74"/>
                  </a:lnTo>
                  <a:lnTo>
                    <a:pt x="68" y="75"/>
                  </a:lnTo>
                  <a:lnTo>
                    <a:pt x="68" y="76"/>
                  </a:lnTo>
                  <a:lnTo>
                    <a:pt x="69" y="76"/>
                  </a:lnTo>
                  <a:lnTo>
                    <a:pt x="69" y="75"/>
                  </a:lnTo>
                  <a:lnTo>
                    <a:pt x="70" y="76"/>
                  </a:lnTo>
                  <a:lnTo>
                    <a:pt x="69" y="76"/>
                  </a:lnTo>
                  <a:lnTo>
                    <a:pt x="69" y="77"/>
                  </a:lnTo>
                  <a:lnTo>
                    <a:pt x="70" y="77"/>
                  </a:lnTo>
                  <a:lnTo>
                    <a:pt x="70" y="78"/>
                  </a:lnTo>
                  <a:lnTo>
                    <a:pt x="72" y="77"/>
                  </a:lnTo>
                  <a:lnTo>
                    <a:pt x="73" y="77"/>
                  </a:lnTo>
                  <a:lnTo>
                    <a:pt x="74" y="77"/>
                  </a:lnTo>
                  <a:lnTo>
                    <a:pt x="75" y="77"/>
                  </a:lnTo>
                  <a:lnTo>
                    <a:pt x="75" y="78"/>
                  </a:lnTo>
                  <a:lnTo>
                    <a:pt x="76" y="78"/>
                  </a:lnTo>
                  <a:lnTo>
                    <a:pt x="76" y="80"/>
                  </a:lnTo>
                  <a:lnTo>
                    <a:pt x="76" y="78"/>
                  </a:lnTo>
                  <a:lnTo>
                    <a:pt x="76" y="77"/>
                  </a:lnTo>
                  <a:lnTo>
                    <a:pt x="75" y="77"/>
                  </a:lnTo>
                  <a:lnTo>
                    <a:pt x="75" y="76"/>
                  </a:lnTo>
                  <a:lnTo>
                    <a:pt x="75" y="75"/>
                  </a:lnTo>
                  <a:lnTo>
                    <a:pt x="76" y="75"/>
                  </a:lnTo>
                  <a:lnTo>
                    <a:pt x="76" y="76"/>
                  </a:lnTo>
                  <a:lnTo>
                    <a:pt x="78" y="76"/>
                  </a:lnTo>
                  <a:lnTo>
                    <a:pt x="78" y="75"/>
                  </a:lnTo>
                  <a:lnTo>
                    <a:pt x="78" y="74"/>
                  </a:lnTo>
                  <a:lnTo>
                    <a:pt x="76" y="74"/>
                  </a:lnTo>
                  <a:lnTo>
                    <a:pt x="76" y="72"/>
                  </a:lnTo>
                  <a:lnTo>
                    <a:pt x="78" y="72"/>
                  </a:lnTo>
                  <a:lnTo>
                    <a:pt x="79" y="72"/>
                  </a:lnTo>
                  <a:lnTo>
                    <a:pt x="80" y="72"/>
                  </a:lnTo>
                  <a:lnTo>
                    <a:pt x="80" y="74"/>
                  </a:lnTo>
                  <a:lnTo>
                    <a:pt x="81" y="74"/>
                  </a:lnTo>
                  <a:lnTo>
                    <a:pt x="81" y="72"/>
                  </a:lnTo>
                  <a:lnTo>
                    <a:pt x="81" y="71"/>
                  </a:lnTo>
                  <a:lnTo>
                    <a:pt x="82" y="71"/>
                  </a:lnTo>
                  <a:lnTo>
                    <a:pt x="81" y="71"/>
                  </a:lnTo>
                  <a:lnTo>
                    <a:pt x="81" y="70"/>
                  </a:lnTo>
                  <a:lnTo>
                    <a:pt x="81" y="69"/>
                  </a:lnTo>
                  <a:lnTo>
                    <a:pt x="82" y="69"/>
                  </a:lnTo>
                  <a:lnTo>
                    <a:pt x="82" y="70"/>
                  </a:lnTo>
                  <a:lnTo>
                    <a:pt x="84" y="70"/>
                  </a:lnTo>
                  <a:lnTo>
                    <a:pt x="84" y="69"/>
                  </a:lnTo>
                  <a:lnTo>
                    <a:pt x="85" y="69"/>
                  </a:lnTo>
                  <a:lnTo>
                    <a:pt x="85" y="68"/>
                  </a:lnTo>
                  <a:lnTo>
                    <a:pt x="85" y="69"/>
                  </a:lnTo>
                  <a:lnTo>
                    <a:pt x="85" y="68"/>
                  </a:lnTo>
                  <a:lnTo>
                    <a:pt x="85" y="66"/>
                  </a:lnTo>
                  <a:lnTo>
                    <a:pt x="84" y="65"/>
                  </a:lnTo>
                  <a:lnTo>
                    <a:pt x="84" y="64"/>
                  </a:lnTo>
                  <a:lnTo>
                    <a:pt x="82" y="64"/>
                  </a:lnTo>
                  <a:lnTo>
                    <a:pt x="84" y="64"/>
                  </a:lnTo>
                  <a:lnTo>
                    <a:pt x="82" y="63"/>
                  </a:lnTo>
                  <a:lnTo>
                    <a:pt x="82" y="64"/>
                  </a:lnTo>
                  <a:lnTo>
                    <a:pt x="81" y="64"/>
                  </a:lnTo>
                  <a:lnTo>
                    <a:pt x="81" y="63"/>
                  </a:lnTo>
                  <a:lnTo>
                    <a:pt x="80" y="63"/>
                  </a:lnTo>
                  <a:lnTo>
                    <a:pt x="80" y="62"/>
                  </a:lnTo>
                  <a:lnTo>
                    <a:pt x="79" y="62"/>
                  </a:lnTo>
                  <a:lnTo>
                    <a:pt x="80" y="62"/>
                  </a:lnTo>
                  <a:lnTo>
                    <a:pt x="80" y="60"/>
                  </a:lnTo>
                  <a:lnTo>
                    <a:pt x="81" y="60"/>
                  </a:lnTo>
                  <a:lnTo>
                    <a:pt x="81" y="59"/>
                  </a:lnTo>
                  <a:lnTo>
                    <a:pt x="80" y="59"/>
                  </a:lnTo>
                  <a:lnTo>
                    <a:pt x="79" y="59"/>
                  </a:lnTo>
                  <a:lnTo>
                    <a:pt x="79" y="58"/>
                  </a:lnTo>
                  <a:lnTo>
                    <a:pt x="78" y="58"/>
                  </a:lnTo>
                  <a:lnTo>
                    <a:pt x="78" y="57"/>
                  </a:lnTo>
                  <a:lnTo>
                    <a:pt x="76" y="57"/>
                  </a:lnTo>
                  <a:lnTo>
                    <a:pt x="78" y="57"/>
                  </a:lnTo>
                  <a:lnTo>
                    <a:pt x="78" y="56"/>
                  </a:lnTo>
                  <a:lnTo>
                    <a:pt x="78" y="54"/>
                  </a:lnTo>
                  <a:lnTo>
                    <a:pt x="78" y="53"/>
                  </a:lnTo>
                  <a:lnTo>
                    <a:pt x="78" y="52"/>
                  </a:lnTo>
                  <a:lnTo>
                    <a:pt x="79" y="52"/>
                  </a:lnTo>
                  <a:lnTo>
                    <a:pt x="79" y="53"/>
                  </a:lnTo>
                  <a:lnTo>
                    <a:pt x="80" y="53"/>
                  </a:lnTo>
                  <a:lnTo>
                    <a:pt x="80" y="52"/>
                  </a:lnTo>
                  <a:lnTo>
                    <a:pt x="81" y="52"/>
                  </a:lnTo>
                  <a:lnTo>
                    <a:pt x="82" y="52"/>
                  </a:lnTo>
                  <a:lnTo>
                    <a:pt x="82" y="53"/>
                  </a:lnTo>
                  <a:lnTo>
                    <a:pt x="84" y="54"/>
                  </a:lnTo>
                  <a:lnTo>
                    <a:pt x="84" y="56"/>
                  </a:lnTo>
                  <a:lnTo>
                    <a:pt x="85" y="56"/>
                  </a:lnTo>
                  <a:lnTo>
                    <a:pt x="86" y="56"/>
                  </a:lnTo>
                  <a:lnTo>
                    <a:pt x="85" y="54"/>
                  </a:lnTo>
                  <a:lnTo>
                    <a:pt x="86" y="54"/>
                  </a:lnTo>
                  <a:lnTo>
                    <a:pt x="86" y="56"/>
                  </a:lnTo>
                  <a:lnTo>
                    <a:pt x="87" y="56"/>
                  </a:lnTo>
                  <a:lnTo>
                    <a:pt x="88" y="56"/>
                  </a:lnTo>
                  <a:lnTo>
                    <a:pt x="88" y="54"/>
                  </a:lnTo>
                  <a:lnTo>
                    <a:pt x="87" y="53"/>
                  </a:lnTo>
                  <a:lnTo>
                    <a:pt x="87" y="52"/>
                  </a:lnTo>
                  <a:lnTo>
                    <a:pt x="87" y="51"/>
                  </a:lnTo>
                  <a:lnTo>
                    <a:pt x="87" y="50"/>
                  </a:lnTo>
                  <a:lnTo>
                    <a:pt x="88" y="50"/>
                  </a:lnTo>
                  <a:lnTo>
                    <a:pt x="88" y="48"/>
                  </a:lnTo>
                  <a:lnTo>
                    <a:pt x="88" y="47"/>
                  </a:lnTo>
                  <a:lnTo>
                    <a:pt x="90" y="47"/>
                  </a:lnTo>
                  <a:lnTo>
                    <a:pt x="90" y="48"/>
                  </a:lnTo>
                  <a:lnTo>
                    <a:pt x="91" y="48"/>
                  </a:lnTo>
                  <a:lnTo>
                    <a:pt x="91" y="50"/>
                  </a:lnTo>
                  <a:lnTo>
                    <a:pt x="91" y="48"/>
                  </a:lnTo>
                  <a:lnTo>
                    <a:pt x="91" y="47"/>
                  </a:lnTo>
                  <a:lnTo>
                    <a:pt x="92" y="47"/>
                  </a:lnTo>
                  <a:lnTo>
                    <a:pt x="92" y="48"/>
                  </a:lnTo>
                  <a:lnTo>
                    <a:pt x="93" y="48"/>
                  </a:lnTo>
                  <a:lnTo>
                    <a:pt x="93" y="50"/>
                  </a:lnTo>
                  <a:lnTo>
                    <a:pt x="93" y="51"/>
                  </a:lnTo>
                  <a:lnTo>
                    <a:pt x="93" y="52"/>
                  </a:lnTo>
                  <a:lnTo>
                    <a:pt x="93" y="53"/>
                  </a:lnTo>
                  <a:lnTo>
                    <a:pt x="93" y="54"/>
                  </a:lnTo>
                  <a:lnTo>
                    <a:pt x="94" y="54"/>
                  </a:lnTo>
                  <a:lnTo>
                    <a:pt x="96" y="54"/>
                  </a:lnTo>
                  <a:lnTo>
                    <a:pt x="97" y="54"/>
                  </a:lnTo>
                  <a:lnTo>
                    <a:pt x="96" y="53"/>
                  </a:lnTo>
                  <a:lnTo>
                    <a:pt x="96" y="52"/>
                  </a:lnTo>
                  <a:lnTo>
                    <a:pt x="96" y="51"/>
                  </a:lnTo>
                  <a:lnTo>
                    <a:pt x="96" y="50"/>
                  </a:lnTo>
                  <a:lnTo>
                    <a:pt x="97" y="50"/>
                  </a:lnTo>
                  <a:lnTo>
                    <a:pt x="97" y="51"/>
                  </a:lnTo>
                  <a:lnTo>
                    <a:pt x="98" y="51"/>
                  </a:lnTo>
                  <a:lnTo>
                    <a:pt x="99" y="51"/>
                  </a:lnTo>
                  <a:lnTo>
                    <a:pt x="99" y="52"/>
                  </a:lnTo>
                  <a:lnTo>
                    <a:pt x="100" y="52"/>
                  </a:lnTo>
                  <a:lnTo>
                    <a:pt x="102" y="52"/>
                  </a:lnTo>
                  <a:lnTo>
                    <a:pt x="102" y="53"/>
                  </a:lnTo>
                  <a:lnTo>
                    <a:pt x="102" y="54"/>
                  </a:lnTo>
                  <a:lnTo>
                    <a:pt x="102" y="56"/>
                  </a:lnTo>
                  <a:lnTo>
                    <a:pt x="102" y="57"/>
                  </a:lnTo>
                  <a:lnTo>
                    <a:pt x="102" y="58"/>
                  </a:lnTo>
                  <a:lnTo>
                    <a:pt x="103" y="59"/>
                  </a:lnTo>
                  <a:lnTo>
                    <a:pt x="104" y="59"/>
                  </a:lnTo>
                  <a:lnTo>
                    <a:pt x="104" y="58"/>
                  </a:lnTo>
                  <a:lnTo>
                    <a:pt x="103" y="58"/>
                  </a:lnTo>
                  <a:lnTo>
                    <a:pt x="103" y="57"/>
                  </a:lnTo>
                  <a:lnTo>
                    <a:pt x="104" y="57"/>
                  </a:lnTo>
                  <a:lnTo>
                    <a:pt x="104" y="56"/>
                  </a:lnTo>
                  <a:lnTo>
                    <a:pt x="104" y="54"/>
                  </a:lnTo>
                  <a:lnTo>
                    <a:pt x="103" y="54"/>
                  </a:lnTo>
                  <a:lnTo>
                    <a:pt x="103" y="53"/>
                  </a:lnTo>
                  <a:lnTo>
                    <a:pt x="104" y="53"/>
                  </a:lnTo>
                  <a:lnTo>
                    <a:pt x="105" y="53"/>
                  </a:lnTo>
                  <a:lnTo>
                    <a:pt x="105" y="52"/>
                  </a:lnTo>
                  <a:lnTo>
                    <a:pt x="106" y="52"/>
                  </a:lnTo>
                  <a:lnTo>
                    <a:pt x="105" y="51"/>
                  </a:lnTo>
                  <a:lnTo>
                    <a:pt x="106" y="51"/>
                  </a:lnTo>
                  <a:lnTo>
                    <a:pt x="108" y="51"/>
                  </a:lnTo>
                  <a:lnTo>
                    <a:pt x="109" y="51"/>
                  </a:lnTo>
                  <a:lnTo>
                    <a:pt x="110" y="51"/>
                  </a:lnTo>
                  <a:lnTo>
                    <a:pt x="110" y="52"/>
                  </a:lnTo>
                  <a:lnTo>
                    <a:pt x="110" y="53"/>
                  </a:lnTo>
                  <a:lnTo>
                    <a:pt x="110" y="52"/>
                  </a:lnTo>
                  <a:lnTo>
                    <a:pt x="111" y="52"/>
                  </a:lnTo>
                  <a:lnTo>
                    <a:pt x="111" y="53"/>
                  </a:lnTo>
                  <a:lnTo>
                    <a:pt x="112" y="53"/>
                  </a:lnTo>
                  <a:lnTo>
                    <a:pt x="112" y="54"/>
                  </a:lnTo>
                  <a:lnTo>
                    <a:pt x="114" y="54"/>
                  </a:lnTo>
                  <a:lnTo>
                    <a:pt x="114" y="56"/>
                  </a:lnTo>
                  <a:lnTo>
                    <a:pt x="115" y="56"/>
                  </a:lnTo>
                  <a:lnTo>
                    <a:pt x="114" y="57"/>
                  </a:lnTo>
                  <a:lnTo>
                    <a:pt x="112" y="57"/>
                  </a:lnTo>
                  <a:lnTo>
                    <a:pt x="112" y="58"/>
                  </a:lnTo>
                  <a:lnTo>
                    <a:pt x="112" y="59"/>
                  </a:lnTo>
                  <a:lnTo>
                    <a:pt x="112" y="60"/>
                  </a:lnTo>
                  <a:lnTo>
                    <a:pt x="114" y="60"/>
                  </a:lnTo>
                  <a:lnTo>
                    <a:pt x="114" y="62"/>
                  </a:lnTo>
                  <a:lnTo>
                    <a:pt x="115" y="62"/>
                  </a:lnTo>
                  <a:lnTo>
                    <a:pt x="114" y="62"/>
                  </a:lnTo>
                  <a:lnTo>
                    <a:pt x="114" y="60"/>
                  </a:lnTo>
                  <a:lnTo>
                    <a:pt x="115" y="60"/>
                  </a:lnTo>
                  <a:lnTo>
                    <a:pt x="115" y="59"/>
                  </a:lnTo>
                  <a:lnTo>
                    <a:pt x="116" y="59"/>
                  </a:lnTo>
                  <a:lnTo>
                    <a:pt x="116" y="58"/>
                  </a:lnTo>
                  <a:lnTo>
                    <a:pt x="117" y="58"/>
                  </a:lnTo>
                  <a:lnTo>
                    <a:pt x="117" y="57"/>
                  </a:lnTo>
                  <a:lnTo>
                    <a:pt x="118" y="57"/>
                  </a:lnTo>
                  <a:lnTo>
                    <a:pt x="120" y="57"/>
                  </a:lnTo>
                  <a:lnTo>
                    <a:pt x="120" y="58"/>
                  </a:lnTo>
                  <a:lnTo>
                    <a:pt x="120" y="59"/>
                  </a:lnTo>
                  <a:lnTo>
                    <a:pt x="121" y="59"/>
                  </a:lnTo>
                  <a:lnTo>
                    <a:pt x="121" y="58"/>
                  </a:lnTo>
                  <a:lnTo>
                    <a:pt x="120" y="58"/>
                  </a:lnTo>
                  <a:lnTo>
                    <a:pt x="121" y="58"/>
                  </a:lnTo>
                  <a:lnTo>
                    <a:pt x="122" y="58"/>
                  </a:lnTo>
                  <a:lnTo>
                    <a:pt x="122" y="59"/>
                  </a:lnTo>
                  <a:lnTo>
                    <a:pt x="122" y="60"/>
                  </a:lnTo>
                  <a:lnTo>
                    <a:pt x="121" y="60"/>
                  </a:lnTo>
                  <a:lnTo>
                    <a:pt x="122" y="60"/>
                  </a:lnTo>
                  <a:lnTo>
                    <a:pt x="121" y="60"/>
                  </a:lnTo>
                  <a:lnTo>
                    <a:pt x="121" y="62"/>
                  </a:lnTo>
                  <a:lnTo>
                    <a:pt x="121" y="63"/>
                  </a:lnTo>
                  <a:lnTo>
                    <a:pt x="122" y="63"/>
                  </a:lnTo>
                  <a:lnTo>
                    <a:pt x="122" y="64"/>
                  </a:lnTo>
                  <a:lnTo>
                    <a:pt x="122" y="63"/>
                  </a:lnTo>
                  <a:lnTo>
                    <a:pt x="122" y="62"/>
                  </a:lnTo>
                  <a:lnTo>
                    <a:pt x="123" y="62"/>
                  </a:lnTo>
                  <a:lnTo>
                    <a:pt x="123" y="63"/>
                  </a:lnTo>
                  <a:lnTo>
                    <a:pt x="123" y="64"/>
                  </a:lnTo>
                  <a:lnTo>
                    <a:pt x="124" y="64"/>
                  </a:lnTo>
                  <a:lnTo>
                    <a:pt x="124" y="63"/>
                  </a:lnTo>
                  <a:lnTo>
                    <a:pt x="124" y="62"/>
                  </a:lnTo>
                  <a:lnTo>
                    <a:pt x="126" y="62"/>
                  </a:lnTo>
                  <a:lnTo>
                    <a:pt x="126" y="63"/>
                  </a:lnTo>
                  <a:lnTo>
                    <a:pt x="126" y="64"/>
                  </a:lnTo>
                  <a:lnTo>
                    <a:pt x="127" y="63"/>
                  </a:lnTo>
                  <a:lnTo>
                    <a:pt x="127" y="62"/>
                  </a:lnTo>
                  <a:lnTo>
                    <a:pt x="127" y="63"/>
                  </a:lnTo>
                  <a:lnTo>
                    <a:pt x="128" y="63"/>
                  </a:lnTo>
                  <a:lnTo>
                    <a:pt x="128" y="64"/>
                  </a:lnTo>
                  <a:lnTo>
                    <a:pt x="127" y="64"/>
                  </a:lnTo>
                  <a:lnTo>
                    <a:pt x="127" y="65"/>
                  </a:lnTo>
                  <a:lnTo>
                    <a:pt x="126" y="65"/>
                  </a:lnTo>
                  <a:lnTo>
                    <a:pt x="126" y="64"/>
                  </a:lnTo>
                  <a:lnTo>
                    <a:pt x="124" y="64"/>
                  </a:lnTo>
                  <a:lnTo>
                    <a:pt x="124" y="65"/>
                  </a:lnTo>
                  <a:lnTo>
                    <a:pt x="126" y="65"/>
                  </a:lnTo>
                  <a:lnTo>
                    <a:pt x="127" y="65"/>
                  </a:lnTo>
                  <a:lnTo>
                    <a:pt x="127" y="66"/>
                  </a:lnTo>
                  <a:lnTo>
                    <a:pt x="128" y="66"/>
                  </a:lnTo>
                  <a:lnTo>
                    <a:pt x="128" y="65"/>
                  </a:lnTo>
                  <a:lnTo>
                    <a:pt x="129" y="65"/>
                  </a:lnTo>
                  <a:lnTo>
                    <a:pt x="129" y="64"/>
                  </a:lnTo>
                  <a:lnTo>
                    <a:pt x="129" y="63"/>
                  </a:lnTo>
                  <a:lnTo>
                    <a:pt x="128" y="63"/>
                  </a:lnTo>
                  <a:lnTo>
                    <a:pt x="128" y="62"/>
                  </a:lnTo>
                  <a:lnTo>
                    <a:pt x="128" y="60"/>
                  </a:lnTo>
                  <a:lnTo>
                    <a:pt x="127" y="60"/>
                  </a:lnTo>
                  <a:lnTo>
                    <a:pt x="127" y="59"/>
                  </a:lnTo>
                  <a:lnTo>
                    <a:pt x="128" y="59"/>
                  </a:lnTo>
                  <a:lnTo>
                    <a:pt x="128" y="60"/>
                  </a:lnTo>
                  <a:lnTo>
                    <a:pt x="129" y="59"/>
                  </a:lnTo>
                  <a:lnTo>
                    <a:pt x="131" y="59"/>
                  </a:lnTo>
                  <a:lnTo>
                    <a:pt x="131" y="60"/>
                  </a:lnTo>
                  <a:lnTo>
                    <a:pt x="131" y="59"/>
                  </a:lnTo>
                  <a:lnTo>
                    <a:pt x="132" y="59"/>
                  </a:lnTo>
                  <a:lnTo>
                    <a:pt x="132" y="60"/>
                  </a:lnTo>
                  <a:lnTo>
                    <a:pt x="131" y="60"/>
                  </a:lnTo>
                  <a:lnTo>
                    <a:pt x="131" y="62"/>
                  </a:lnTo>
                  <a:lnTo>
                    <a:pt x="131" y="63"/>
                  </a:lnTo>
                  <a:lnTo>
                    <a:pt x="129" y="63"/>
                  </a:lnTo>
                  <a:lnTo>
                    <a:pt x="129" y="64"/>
                  </a:lnTo>
                  <a:lnTo>
                    <a:pt x="129" y="65"/>
                  </a:lnTo>
                  <a:lnTo>
                    <a:pt x="129" y="66"/>
                  </a:lnTo>
                  <a:lnTo>
                    <a:pt x="131" y="66"/>
                  </a:lnTo>
                  <a:lnTo>
                    <a:pt x="131" y="65"/>
                  </a:lnTo>
                  <a:lnTo>
                    <a:pt x="132" y="65"/>
                  </a:lnTo>
                  <a:lnTo>
                    <a:pt x="133" y="65"/>
                  </a:lnTo>
                  <a:lnTo>
                    <a:pt x="134" y="65"/>
                  </a:lnTo>
                  <a:lnTo>
                    <a:pt x="135" y="65"/>
                  </a:lnTo>
                  <a:lnTo>
                    <a:pt x="137" y="66"/>
                  </a:lnTo>
                  <a:lnTo>
                    <a:pt x="137" y="65"/>
                  </a:lnTo>
                  <a:lnTo>
                    <a:pt x="138" y="66"/>
                  </a:lnTo>
                  <a:lnTo>
                    <a:pt x="138" y="65"/>
                  </a:lnTo>
                  <a:lnTo>
                    <a:pt x="139" y="65"/>
                  </a:lnTo>
                  <a:lnTo>
                    <a:pt x="139" y="66"/>
                  </a:lnTo>
                  <a:lnTo>
                    <a:pt x="139" y="65"/>
                  </a:lnTo>
                  <a:lnTo>
                    <a:pt x="139" y="66"/>
                  </a:lnTo>
                  <a:lnTo>
                    <a:pt x="139" y="65"/>
                  </a:lnTo>
                  <a:lnTo>
                    <a:pt x="140" y="65"/>
                  </a:lnTo>
                  <a:lnTo>
                    <a:pt x="140" y="66"/>
                  </a:lnTo>
                  <a:lnTo>
                    <a:pt x="140" y="68"/>
                  </a:lnTo>
                  <a:lnTo>
                    <a:pt x="139" y="68"/>
                  </a:lnTo>
                  <a:lnTo>
                    <a:pt x="139" y="69"/>
                  </a:lnTo>
                  <a:lnTo>
                    <a:pt x="138" y="69"/>
                  </a:lnTo>
                  <a:lnTo>
                    <a:pt x="138" y="70"/>
                  </a:lnTo>
                  <a:lnTo>
                    <a:pt x="139" y="70"/>
                  </a:lnTo>
                  <a:lnTo>
                    <a:pt x="138" y="71"/>
                  </a:lnTo>
                  <a:lnTo>
                    <a:pt x="138" y="72"/>
                  </a:lnTo>
                  <a:lnTo>
                    <a:pt x="138" y="71"/>
                  </a:lnTo>
                  <a:lnTo>
                    <a:pt x="139" y="70"/>
                  </a:lnTo>
                  <a:lnTo>
                    <a:pt x="139" y="71"/>
                  </a:lnTo>
                  <a:lnTo>
                    <a:pt x="140" y="70"/>
                  </a:lnTo>
                  <a:lnTo>
                    <a:pt x="139" y="70"/>
                  </a:lnTo>
                  <a:lnTo>
                    <a:pt x="140" y="70"/>
                  </a:lnTo>
                  <a:lnTo>
                    <a:pt x="140" y="71"/>
                  </a:lnTo>
                  <a:lnTo>
                    <a:pt x="140" y="72"/>
                  </a:lnTo>
                  <a:lnTo>
                    <a:pt x="141" y="72"/>
                  </a:lnTo>
                  <a:lnTo>
                    <a:pt x="141" y="71"/>
                  </a:lnTo>
                  <a:lnTo>
                    <a:pt x="143" y="70"/>
                  </a:lnTo>
                  <a:lnTo>
                    <a:pt x="143" y="71"/>
                  </a:lnTo>
                  <a:lnTo>
                    <a:pt x="144" y="71"/>
                  </a:lnTo>
                  <a:lnTo>
                    <a:pt x="145" y="71"/>
                  </a:lnTo>
                  <a:lnTo>
                    <a:pt x="145" y="72"/>
                  </a:lnTo>
                  <a:lnTo>
                    <a:pt x="146" y="71"/>
                  </a:lnTo>
                  <a:lnTo>
                    <a:pt x="147" y="71"/>
                  </a:lnTo>
                  <a:lnTo>
                    <a:pt x="147" y="72"/>
                  </a:lnTo>
                  <a:lnTo>
                    <a:pt x="147" y="74"/>
                  </a:lnTo>
                  <a:lnTo>
                    <a:pt x="149" y="74"/>
                  </a:lnTo>
                  <a:lnTo>
                    <a:pt x="150" y="74"/>
                  </a:lnTo>
                  <a:lnTo>
                    <a:pt x="151" y="74"/>
                  </a:lnTo>
                  <a:lnTo>
                    <a:pt x="151" y="75"/>
                  </a:lnTo>
                  <a:lnTo>
                    <a:pt x="152" y="75"/>
                  </a:lnTo>
                  <a:lnTo>
                    <a:pt x="151" y="75"/>
                  </a:lnTo>
                  <a:lnTo>
                    <a:pt x="151" y="74"/>
                  </a:lnTo>
                  <a:lnTo>
                    <a:pt x="152" y="74"/>
                  </a:lnTo>
                  <a:lnTo>
                    <a:pt x="152" y="75"/>
                  </a:lnTo>
                  <a:lnTo>
                    <a:pt x="152" y="74"/>
                  </a:lnTo>
                  <a:lnTo>
                    <a:pt x="153" y="75"/>
                  </a:lnTo>
                  <a:lnTo>
                    <a:pt x="152" y="75"/>
                  </a:lnTo>
                  <a:lnTo>
                    <a:pt x="151" y="75"/>
                  </a:lnTo>
                  <a:lnTo>
                    <a:pt x="152" y="75"/>
                  </a:lnTo>
                  <a:lnTo>
                    <a:pt x="152" y="76"/>
                  </a:lnTo>
                  <a:lnTo>
                    <a:pt x="153" y="76"/>
                  </a:lnTo>
                  <a:lnTo>
                    <a:pt x="153" y="75"/>
                  </a:lnTo>
                  <a:lnTo>
                    <a:pt x="153" y="74"/>
                  </a:lnTo>
                  <a:lnTo>
                    <a:pt x="153" y="75"/>
                  </a:lnTo>
                  <a:lnTo>
                    <a:pt x="155" y="75"/>
                  </a:lnTo>
                  <a:lnTo>
                    <a:pt x="153" y="76"/>
                  </a:lnTo>
                  <a:lnTo>
                    <a:pt x="155" y="76"/>
                  </a:lnTo>
                  <a:lnTo>
                    <a:pt x="155" y="77"/>
                  </a:lnTo>
                  <a:lnTo>
                    <a:pt x="155" y="76"/>
                  </a:lnTo>
                  <a:lnTo>
                    <a:pt x="156" y="76"/>
                  </a:lnTo>
                  <a:lnTo>
                    <a:pt x="157" y="76"/>
                  </a:lnTo>
                  <a:lnTo>
                    <a:pt x="158" y="76"/>
                  </a:lnTo>
                  <a:lnTo>
                    <a:pt x="158" y="77"/>
                  </a:lnTo>
                  <a:lnTo>
                    <a:pt x="158" y="78"/>
                  </a:lnTo>
                  <a:lnTo>
                    <a:pt x="158" y="77"/>
                  </a:lnTo>
                  <a:lnTo>
                    <a:pt x="159" y="77"/>
                  </a:lnTo>
                  <a:lnTo>
                    <a:pt x="159" y="78"/>
                  </a:lnTo>
                  <a:lnTo>
                    <a:pt x="159" y="80"/>
                  </a:lnTo>
                  <a:lnTo>
                    <a:pt x="161" y="80"/>
                  </a:lnTo>
                  <a:lnTo>
                    <a:pt x="159" y="80"/>
                  </a:lnTo>
                  <a:lnTo>
                    <a:pt x="161" y="80"/>
                  </a:lnTo>
                  <a:lnTo>
                    <a:pt x="159" y="81"/>
                  </a:lnTo>
                  <a:lnTo>
                    <a:pt x="159" y="82"/>
                  </a:lnTo>
                  <a:lnTo>
                    <a:pt x="158" y="82"/>
                  </a:lnTo>
                  <a:lnTo>
                    <a:pt x="157" y="82"/>
                  </a:lnTo>
                  <a:lnTo>
                    <a:pt x="157" y="83"/>
                  </a:lnTo>
                  <a:lnTo>
                    <a:pt x="156" y="83"/>
                  </a:lnTo>
                  <a:lnTo>
                    <a:pt x="156" y="82"/>
                  </a:lnTo>
                  <a:lnTo>
                    <a:pt x="157" y="82"/>
                  </a:lnTo>
                  <a:lnTo>
                    <a:pt x="157" y="81"/>
                  </a:lnTo>
                  <a:lnTo>
                    <a:pt x="157" y="82"/>
                  </a:lnTo>
                  <a:lnTo>
                    <a:pt x="156" y="82"/>
                  </a:lnTo>
                  <a:lnTo>
                    <a:pt x="156" y="83"/>
                  </a:lnTo>
                  <a:lnTo>
                    <a:pt x="156" y="82"/>
                  </a:lnTo>
                  <a:lnTo>
                    <a:pt x="156" y="81"/>
                  </a:lnTo>
                  <a:lnTo>
                    <a:pt x="155" y="81"/>
                  </a:lnTo>
                  <a:lnTo>
                    <a:pt x="153" y="81"/>
                  </a:lnTo>
                  <a:lnTo>
                    <a:pt x="155" y="82"/>
                  </a:lnTo>
                  <a:lnTo>
                    <a:pt x="155" y="81"/>
                  </a:lnTo>
                  <a:lnTo>
                    <a:pt x="155" y="82"/>
                  </a:lnTo>
                  <a:lnTo>
                    <a:pt x="156" y="82"/>
                  </a:lnTo>
                  <a:lnTo>
                    <a:pt x="155" y="82"/>
                  </a:lnTo>
                  <a:lnTo>
                    <a:pt x="156" y="82"/>
                  </a:lnTo>
                  <a:lnTo>
                    <a:pt x="155" y="83"/>
                  </a:lnTo>
                  <a:lnTo>
                    <a:pt x="157" y="83"/>
                  </a:lnTo>
                  <a:lnTo>
                    <a:pt x="158" y="83"/>
                  </a:lnTo>
                  <a:lnTo>
                    <a:pt x="158" y="84"/>
                  </a:lnTo>
                  <a:lnTo>
                    <a:pt x="157" y="86"/>
                  </a:lnTo>
                  <a:lnTo>
                    <a:pt x="158" y="86"/>
                  </a:lnTo>
                  <a:lnTo>
                    <a:pt x="158" y="87"/>
                  </a:lnTo>
                  <a:lnTo>
                    <a:pt x="157" y="87"/>
                  </a:lnTo>
                  <a:lnTo>
                    <a:pt x="158" y="87"/>
                  </a:lnTo>
                  <a:lnTo>
                    <a:pt x="158" y="86"/>
                  </a:lnTo>
                  <a:lnTo>
                    <a:pt x="159" y="86"/>
                  </a:lnTo>
                  <a:lnTo>
                    <a:pt x="159" y="84"/>
                  </a:lnTo>
                  <a:lnTo>
                    <a:pt x="158" y="84"/>
                  </a:lnTo>
                  <a:lnTo>
                    <a:pt x="158" y="83"/>
                  </a:lnTo>
                  <a:lnTo>
                    <a:pt x="159" y="83"/>
                  </a:lnTo>
                  <a:lnTo>
                    <a:pt x="159" y="84"/>
                  </a:lnTo>
                  <a:lnTo>
                    <a:pt x="159" y="83"/>
                  </a:lnTo>
                  <a:lnTo>
                    <a:pt x="161" y="83"/>
                  </a:lnTo>
                  <a:lnTo>
                    <a:pt x="161" y="84"/>
                  </a:lnTo>
                  <a:lnTo>
                    <a:pt x="162" y="84"/>
                  </a:lnTo>
                  <a:lnTo>
                    <a:pt x="163" y="84"/>
                  </a:lnTo>
                  <a:lnTo>
                    <a:pt x="163" y="86"/>
                  </a:lnTo>
                  <a:lnTo>
                    <a:pt x="163" y="87"/>
                  </a:lnTo>
                  <a:lnTo>
                    <a:pt x="164" y="87"/>
                  </a:lnTo>
                  <a:lnTo>
                    <a:pt x="164" y="88"/>
                  </a:lnTo>
                  <a:lnTo>
                    <a:pt x="163" y="87"/>
                  </a:lnTo>
                  <a:lnTo>
                    <a:pt x="163" y="88"/>
                  </a:lnTo>
                  <a:lnTo>
                    <a:pt x="163" y="89"/>
                  </a:lnTo>
                  <a:lnTo>
                    <a:pt x="164" y="89"/>
                  </a:lnTo>
                  <a:lnTo>
                    <a:pt x="165" y="89"/>
                  </a:lnTo>
                  <a:lnTo>
                    <a:pt x="165" y="90"/>
                  </a:lnTo>
                  <a:lnTo>
                    <a:pt x="165" y="89"/>
                  </a:lnTo>
                  <a:lnTo>
                    <a:pt x="165" y="88"/>
                  </a:lnTo>
                  <a:lnTo>
                    <a:pt x="164" y="88"/>
                  </a:lnTo>
                  <a:lnTo>
                    <a:pt x="165" y="88"/>
                  </a:lnTo>
                  <a:lnTo>
                    <a:pt x="165" y="87"/>
                  </a:lnTo>
                  <a:lnTo>
                    <a:pt x="164" y="87"/>
                  </a:lnTo>
                  <a:lnTo>
                    <a:pt x="164" y="86"/>
                  </a:lnTo>
                  <a:lnTo>
                    <a:pt x="163" y="86"/>
                  </a:lnTo>
                  <a:lnTo>
                    <a:pt x="163" y="84"/>
                  </a:lnTo>
                  <a:lnTo>
                    <a:pt x="164" y="84"/>
                  </a:lnTo>
                  <a:lnTo>
                    <a:pt x="164" y="83"/>
                  </a:lnTo>
                  <a:lnTo>
                    <a:pt x="163" y="83"/>
                  </a:lnTo>
                  <a:lnTo>
                    <a:pt x="163" y="82"/>
                  </a:lnTo>
                  <a:lnTo>
                    <a:pt x="163" y="81"/>
                  </a:lnTo>
                  <a:lnTo>
                    <a:pt x="163" y="80"/>
                  </a:lnTo>
                  <a:lnTo>
                    <a:pt x="162" y="80"/>
                  </a:lnTo>
                  <a:lnTo>
                    <a:pt x="162" y="78"/>
                  </a:lnTo>
                  <a:lnTo>
                    <a:pt x="162" y="77"/>
                  </a:lnTo>
                  <a:lnTo>
                    <a:pt x="162" y="76"/>
                  </a:lnTo>
                  <a:lnTo>
                    <a:pt x="162" y="75"/>
                  </a:lnTo>
                  <a:lnTo>
                    <a:pt x="161" y="75"/>
                  </a:lnTo>
                  <a:lnTo>
                    <a:pt x="162" y="75"/>
                  </a:lnTo>
                  <a:lnTo>
                    <a:pt x="161" y="75"/>
                  </a:lnTo>
                  <a:lnTo>
                    <a:pt x="161" y="74"/>
                  </a:lnTo>
                  <a:lnTo>
                    <a:pt x="161" y="75"/>
                  </a:lnTo>
                  <a:lnTo>
                    <a:pt x="159" y="75"/>
                  </a:lnTo>
                  <a:lnTo>
                    <a:pt x="159" y="74"/>
                  </a:lnTo>
                  <a:lnTo>
                    <a:pt x="159" y="72"/>
                  </a:lnTo>
                  <a:lnTo>
                    <a:pt x="161" y="72"/>
                  </a:lnTo>
                  <a:lnTo>
                    <a:pt x="159" y="72"/>
                  </a:lnTo>
                  <a:lnTo>
                    <a:pt x="159" y="71"/>
                  </a:lnTo>
                  <a:lnTo>
                    <a:pt x="159" y="72"/>
                  </a:lnTo>
                  <a:lnTo>
                    <a:pt x="158" y="71"/>
                  </a:lnTo>
                  <a:lnTo>
                    <a:pt x="157" y="72"/>
                  </a:lnTo>
                  <a:lnTo>
                    <a:pt x="156" y="72"/>
                  </a:lnTo>
                  <a:lnTo>
                    <a:pt x="156" y="71"/>
                  </a:lnTo>
                  <a:lnTo>
                    <a:pt x="155" y="71"/>
                  </a:lnTo>
                  <a:lnTo>
                    <a:pt x="155" y="70"/>
                  </a:lnTo>
                  <a:lnTo>
                    <a:pt x="156" y="70"/>
                  </a:lnTo>
                  <a:lnTo>
                    <a:pt x="156" y="69"/>
                  </a:lnTo>
                  <a:lnTo>
                    <a:pt x="157" y="69"/>
                  </a:lnTo>
                  <a:lnTo>
                    <a:pt x="158" y="69"/>
                  </a:lnTo>
                  <a:lnTo>
                    <a:pt x="157" y="69"/>
                  </a:lnTo>
                  <a:lnTo>
                    <a:pt x="157" y="68"/>
                  </a:lnTo>
                  <a:lnTo>
                    <a:pt x="156" y="68"/>
                  </a:lnTo>
                  <a:lnTo>
                    <a:pt x="156" y="69"/>
                  </a:lnTo>
                  <a:lnTo>
                    <a:pt x="155" y="69"/>
                  </a:lnTo>
                  <a:lnTo>
                    <a:pt x="153" y="69"/>
                  </a:lnTo>
                  <a:lnTo>
                    <a:pt x="152" y="69"/>
                  </a:lnTo>
                  <a:lnTo>
                    <a:pt x="152" y="68"/>
                  </a:lnTo>
                  <a:lnTo>
                    <a:pt x="152" y="69"/>
                  </a:lnTo>
                  <a:lnTo>
                    <a:pt x="151" y="69"/>
                  </a:lnTo>
                  <a:lnTo>
                    <a:pt x="150" y="69"/>
                  </a:lnTo>
                  <a:lnTo>
                    <a:pt x="150" y="68"/>
                  </a:lnTo>
                  <a:lnTo>
                    <a:pt x="149" y="68"/>
                  </a:lnTo>
                  <a:lnTo>
                    <a:pt x="147" y="68"/>
                  </a:lnTo>
                  <a:lnTo>
                    <a:pt x="146" y="68"/>
                  </a:lnTo>
                  <a:lnTo>
                    <a:pt x="147" y="68"/>
                  </a:lnTo>
                  <a:lnTo>
                    <a:pt x="147" y="66"/>
                  </a:lnTo>
                  <a:lnTo>
                    <a:pt x="147" y="65"/>
                  </a:lnTo>
                  <a:lnTo>
                    <a:pt x="149" y="65"/>
                  </a:lnTo>
                  <a:lnTo>
                    <a:pt x="149" y="66"/>
                  </a:lnTo>
                  <a:lnTo>
                    <a:pt x="150" y="66"/>
                  </a:lnTo>
                  <a:lnTo>
                    <a:pt x="150" y="65"/>
                  </a:lnTo>
                  <a:lnTo>
                    <a:pt x="149" y="65"/>
                  </a:lnTo>
                  <a:lnTo>
                    <a:pt x="147" y="65"/>
                  </a:lnTo>
                  <a:lnTo>
                    <a:pt x="146" y="65"/>
                  </a:lnTo>
                  <a:lnTo>
                    <a:pt x="146" y="66"/>
                  </a:lnTo>
                  <a:lnTo>
                    <a:pt x="145" y="66"/>
                  </a:lnTo>
                  <a:lnTo>
                    <a:pt x="146" y="65"/>
                  </a:lnTo>
                  <a:lnTo>
                    <a:pt x="147" y="65"/>
                  </a:lnTo>
                  <a:lnTo>
                    <a:pt x="146" y="65"/>
                  </a:lnTo>
                  <a:lnTo>
                    <a:pt x="146" y="64"/>
                  </a:lnTo>
                  <a:lnTo>
                    <a:pt x="146" y="63"/>
                  </a:lnTo>
                  <a:lnTo>
                    <a:pt x="146" y="62"/>
                  </a:lnTo>
                  <a:lnTo>
                    <a:pt x="145" y="62"/>
                  </a:lnTo>
                  <a:lnTo>
                    <a:pt x="144" y="62"/>
                  </a:lnTo>
                  <a:lnTo>
                    <a:pt x="144" y="63"/>
                  </a:lnTo>
                  <a:lnTo>
                    <a:pt x="145" y="63"/>
                  </a:lnTo>
                  <a:lnTo>
                    <a:pt x="144" y="63"/>
                  </a:lnTo>
                  <a:lnTo>
                    <a:pt x="145" y="63"/>
                  </a:lnTo>
                  <a:lnTo>
                    <a:pt x="145" y="64"/>
                  </a:lnTo>
                  <a:lnTo>
                    <a:pt x="144" y="64"/>
                  </a:lnTo>
                  <a:lnTo>
                    <a:pt x="143" y="64"/>
                  </a:lnTo>
                  <a:lnTo>
                    <a:pt x="143" y="65"/>
                  </a:lnTo>
                  <a:lnTo>
                    <a:pt x="141" y="65"/>
                  </a:lnTo>
                  <a:lnTo>
                    <a:pt x="141" y="66"/>
                  </a:lnTo>
                  <a:lnTo>
                    <a:pt x="141" y="65"/>
                  </a:lnTo>
                  <a:lnTo>
                    <a:pt x="140" y="65"/>
                  </a:lnTo>
                  <a:lnTo>
                    <a:pt x="141" y="65"/>
                  </a:lnTo>
                  <a:lnTo>
                    <a:pt x="141" y="64"/>
                  </a:lnTo>
                  <a:lnTo>
                    <a:pt x="140" y="64"/>
                  </a:lnTo>
                  <a:lnTo>
                    <a:pt x="140" y="63"/>
                  </a:lnTo>
                  <a:lnTo>
                    <a:pt x="141" y="63"/>
                  </a:lnTo>
                  <a:lnTo>
                    <a:pt x="141" y="64"/>
                  </a:lnTo>
                  <a:lnTo>
                    <a:pt x="143" y="64"/>
                  </a:lnTo>
                  <a:lnTo>
                    <a:pt x="141" y="64"/>
                  </a:lnTo>
                  <a:lnTo>
                    <a:pt x="141" y="63"/>
                  </a:lnTo>
                  <a:lnTo>
                    <a:pt x="141" y="62"/>
                  </a:lnTo>
                  <a:lnTo>
                    <a:pt x="140" y="62"/>
                  </a:lnTo>
                  <a:lnTo>
                    <a:pt x="140" y="60"/>
                  </a:lnTo>
                  <a:lnTo>
                    <a:pt x="140" y="62"/>
                  </a:lnTo>
                  <a:lnTo>
                    <a:pt x="139" y="62"/>
                  </a:lnTo>
                  <a:lnTo>
                    <a:pt x="138" y="62"/>
                  </a:lnTo>
                  <a:lnTo>
                    <a:pt x="138" y="60"/>
                  </a:lnTo>
                  <a:lnTo>
                    <a:pt x="137" y="60"/>
                  </a:lnTo>
                  <a:lnTo>
                    <a:pt x="137" y="62"/>
                  </a:lnTo>
                  <a:lnTo>
                    <a:pt x="135" y="62"/>
                  </a:lnTo>
                  <a:lnTo>
                    <a:pt x="137" y="60"/>
                  </a:lnTo>
                  <a:lnTo>
                    <a:pt x="135" y="62"/>
                  </a:lnTo>
                  <a:lnTo>
                    <a:pt x="137" y="62"/>
                  </a:lnTo>
                  <a:lnTo>
                    <a:pt x="135" y="62"/>
                  </a:lnTo>
                  <a:lnTo>
                    <a:pt x="135" y="63"/>
                  </a:lnTo>
                  <a:lnTo>
                    <a:pt x="135" y="64"/>
                  </a:lnTo>
                  <a:lnTo>
                    <a:pt x="135" y="63"/>
                  </a:lnTo>
                  <a:lnTo>
                    <a:pt x="134" y="64"/>
                  </a:lnTo>
                  <a:lnTo>
                    <a:pt x="133" y="64"/>
                  </a:lnTo>
                  <a:lnTo>
                    <a:pt x="133" y="63"/>
                  </a:lnTo>
                  <a:lnTo>
                    <a:pt x="134" y="62"/>
                  </a:lnTo>
                  <a:lnTo>
                    <a:pt x="133" y="62"/>
                  </a:lnTo>
                  <a:lnTo>
                    <a:pt x="133" y="63"/>
                  </a:lnTo>
                  <a:lnTo>
                    <a:pt x="133" y="62"/>
                  </a:lnTo>
                  <a:lnTo>
                    <a:pt x="134" y="60"/>
                  </a:lnTo>
                  <a:lnTo>
                    <a:pt x="133" y="60"/>
                  </a:lnTo>
                  <a:lnTo>
                    <a:pt x="134" y="60"/>
                  </a:lnTo>
                  <a:lnTo>
                    <a:pt x="134" y="59"/>
                  </a:lnTo>
                  <a:lnTo>
                    <a:pt x="134" y="58"/>
                  </a:lnTo>
                  <a:lnTo>
                    <a:pt x="133" y="58"/>
                  </a:lnTo>
                  <a:lnTo>
                    <a:pt x="133" y="59"/>
                  </a:lnTo>
                  <a:lnTo>
                    <a:pt x="132" y="59"/>
                  </a:lnTo>
                  <a:lnTo>
                    <a:pt x="132" y="58"/>
                  </a:lnTo>
                  <a:lnTo>
                    <a:pt x="131" y="58"/>
                  </a:lnTo>
                  <a:lnTo>
                    <a:pt x="129" y="58"/>
                  </a:lnTo>
                  <a:lnTo>
                    <a:pt x="128" y="58"/>
                  </a:lnTo>
                  <a:lnTo>
                    <a:pt x="128" y="59"/>
                  </a:lnTo>
                  <a:lnTo>
                    <a:pt x="127" y="58"/>
                  </a:lnTo>
                  <a:lnTo>
                    <a:pt x="128" y="58"/>
                  </a:lnTo>
                  <a:lnTo>
                    <a:pt x="127" y="58"/>
                  </a:lnTo>
                  <a:lnTo>
                    <a:pt x="126" y="58"/>
                  </a:lnTo>
                  <a:lnTo>
                    <a:pt x="124" y="58"/>
                  </a:lnTo>
                  <a:lnTo>
                    <a:pt x="124" y="59"/>
                  </a:lnTo>
                  <a:lnTo>
                    <a:pt x="126" y="59"/>
                  </a:lnTo>
                  <a:lnTo>
                    <a:pt x="124" y="59"/>
                  </a:lnTo>
                  <a:lnTo>
                    <a:pt x="124" y="60"/>
                  </a:lnTo>
                  <a:lnTo>
                    <a:pt x="123" y="60"/>
                  </a:lnTo>
                  <a:lnTo>
                    <a:pt x="123" y="59"/>
                  </a:lnTo>
                  <a:lnTo>
                    <a:pt x="124" y="59"/>
                  </a:lnTo>
                  <a:lnTo>
                    <a:pt x="123" y="59"/>
                  </a:lnTo>
                  <a:lnTo>
                    <a:pt x="124" y="58"/>
                  </a:lnTo>
                  <a:lnTo>
                    <a:pt x="124" y="57"/>
                  </a:lnTo>
                  <a:lnTo>
                    <a:pt x="123" y="57"/>
                  </a:lnTo>
                  <a:lnTo>
                    <a:pt x="123" y="58"/>
                  </a:lnTo>
                  <a:lnTo>
                    <a:pt x="123" y="57"/>
                  </a:lnTo>
                  <a:lnTo>
                    <a:pt x="122" y="57"/>
                  </a:lnTo>
                  <a:lnTo>
                    <a:pt x="122" y="56"/>
                  </a:lnTo>
                  <a:lnTo>
                    <a:pt x="121" y="56"/>
                  </a:lnTo>
                  <a:lnTo>
                    <a:pt x="120" y="54"/>
                  </a:lnTo>
                  <a:lnTo>
                    <a:pt x="118" y="54"/>
                  </a:lnTo>
                  <a:lnTo>
                    <a:pt x="118" y="53"/>
                  </a:lnTo>
                  <a:lnTo>
                    <a:pt x="117" y="53"/>
                  </a:lnTo>
                  <a:lnTo>
                    <a:pt x="118" y="53"/>
                  </a:lnTo>
                  <a:lnTo>
                    <a:pt x="117" y="53"/>
                  </a:lnTo>
                  <a:lnTo>
                    <a:pt x="116" y="52"/>
                  </a:lnTo>
                  <a:lnTo>
                    <a:pt x="115" y="51"/>
                  </a:lnTo>
                  <a:lnTo>
                    <a:pt x="114" y="51"/>
                  </a:lnTo>
                  <a:lnTo>
                    <a:pt x="115" y="50"/>
                  </a:lnTo>
                  <a:lnTo>
                    <a:pt x="115" y="48"/>
                  </a:lnTo>
                  <a:lnTo>
                    <a:pt x="114" y="48"/>
                  </a:lnTo>
                  <a:lnTo>
                    <a:pt x="114" y="47"/>
                  </a:lnTo>
                  <a:lnTo>
                    <a:pt x="114" y="48"/>
                  </a:lnTo>
                  <a:lnTo>
                    <a:pt x="114" y="47"/>
                  </a:lnTo>
                  <a:lnTo>
                    <a:pt x="112" y="47"/>
                  </a:lnTo>
                  <a:lnTo>
                    <a:pt x="112" y="48"/>
                  </a:lnTo>
                  <a:lnTo>
                    <a:pt x="112" y="47"/>
                  </a:lnTo>
                  <a:lnTo>
                    <a:pt x="111" y="47"/>
                  </a:lnTo>
                  <a:lnTo>
                    <a:pt x="111" y="46"/>
                  </a:lnTo>
                  <a:lnTo>
                    <a:pt x="110" y="46"/>
                  </a:lnTo>
                  <a:lnTo>
                    <a:pt x="111" y="46"/>
                  </a:lnTo>
                  <a:lnTo>
                    <a:pt x="111" y="45"/>
                  </a:lnTo>
                  <a:lnTo>
                    <a:pt x="112" y="45"/>
                  </a:lnTo>
                  <a:lnTo>
                    <a:pt x="112" y="44"/>
                  </a:lnTo>
                  <a:lnTo>
                    <a:pt x="114" y="44"/>
                  </a:lnTo>
                  <a:lnTo>
                    <a:pt x="115" y="44"/>
                  </a:lnTo>
                  <a:lnTo>
                    <a:pt x="116" y="45"/>
                  </a:lnTo>
                  <a:lnTo>
                    <a:pt x="116" y="44"/>
                  </a:lnTo>
                  <a:lnTo>
                    <a:pt x="115" y="44"/>
                  </a:lnTo>
                  <a:lnTo>
                    <a:pt x="114" y="42"/>
                  </a:lnTo>
                  <a:lnTo>
                    <a:pt x="114" y="44"/>
                  </a:lnTo>
                  <a:lnTo>
                    <a:pt x="114" y="42"/>
                  </a:lnTo>
                  <a:lnTo>
                    <a:pt x="112" y="42"/>
                  </a:lnTo>
                  <a:lnTo>
                    <a:pt x="112" y="41"/>
                  </a:lnTo>
                  <a:lnTo>
                    <a:pt x="112" y="40"/>
                  </a:lnTo>
                  <a:lnTo>
                    <a:pt x="111" y="40"/>
                  </a:lnTo>
                  <a:lnTo>
                    <a:pt x="111" y="39"/>
                  </a:lnTo>
                  <a:lnTo>
                    <a:pt x="111" y="37"/>
                  </a:lnTo>
                  <a:lnTo>
                    <a:pt x="112" y="37"/>
                  </a:lnTo>
                  <a:lnTo>
                    <a:pt x="112" y="39"/>
                  </a:lnTo>
                  <a:lnTo>
                    <a:pt x="114" y="39"/>
                  </a:lnTo>
                  <a:lnTo>
                    <a:pt x="115" y="39"/>
                  </a:lnTo>
                  <a:lnTo>
                    <a:pt x="116" y="39"/>
                  </a:lnTo>
                  <a:lnTo>
                    <a:pt x="117" y="39"/>
                  </a:lnTo>
                  <a:lnTo>
                    <a:pt x="117" y="37"/>
                  </a:lnTo>
                  <a:lnTo>
                    <a:pt x="116" y="37"/>
                  </a:lnTo>
                  <a:lnTo>
                    <a:pt x="115" y="37"/>
                  </a:lnTo>
                  <a:lnTo>
                    <a:pt x="115" y="36"/>
                  </a:lnTo>
                  <a:lnTo>
                    <a:pt x="115" y="37"/>
                  </a:lnTo>
                  <a:lnTo>
                    <a:pt x="115" y="36"/>
                  </a:lnTo>
                  <a:lnTo>
                    <a:pt x="114" y="36"/>
                  </a:lnTo>
                  <a:lnTo>
                    <a:pt x="114" y="35"/>
                  </a:lnTo>
                  <a:lnTo>
                    <a:pt x="114" y="34"/>
                  </a:lnTo>
                  <a:lnTo>
                    <a:pt x="112" y="34"/>
                  </a:lnTo>
                  <a:lnTo>
                    <a:pt x="112" y="33"/>
                  </a:lnTo>
                  <a:lnTo>
                    <a:pt x="114" y="33"/>
                  </a:lnTo>
                  <a:lnTo>
                    <a:pt x="115" y="33"/>
                  </a:lnTo>
                  <a:lnTo>
                    <a:pt x="115" y="34"/>
                  </a:lnTo>
                  <a:lnTo>
                    <a:pt x="116" y="34"/>
                  </a:lnTo>
                  <a:lnTo>
                    <a:pt x="116" y="33"/>
                  </a:lnTo>
                  <a:lnTo>
                    <a:pt x="115" y="33"/>
                  </a:lnTo>
                  <a:lnTo>
                    <a:pt x="116" y="33"/>
                  </a:lnTo>
                  <a:lnTo>
                    <a:pt x="116" y="31"/>
                  </a:lnTo>
                  <a:lnTo>
                    <a:pt x="115" y="31"/>
                  </a:lnTo>
                  <a:lnTo>
                    <a:pt x="115" y="30"/>
                  </a:lnTo>
                  <a:lnTo>
                    <a:pt x="115" y="29"/>
                  </a:lnTo>
                  <a:lnTo>
                    <a:pt x="116" y="29"/>
                  </a:lnTo>
                  <a:lnTo>
                    <a:pt x="116" y="28"/>
                  </a:lnTo>
                  <a:lnTo>
                    <a:pt x="115" y="28"/>
                  </a:lnTo>
                  <a:lnTo>
                    <a:pt x="115" y="27"/>
                  </a:lnTo>
                  <a:lnTo>
                    <a:pt x="116" y="27"/>
                  </a:lnTo>
                  <a:lnTo>
                    <a:pt x="117" y="27"/>
                  </a:lnTo>
                  <a:lnTo>
                    <a:pt x="117" y="28"/>
                  </a:lnTo>
                  <a:lnTo>
                    <a:pt x="117" y="29"/>
                  </a:lnTo>
                  <a:lnTo>
                    <a:pt x="117" y="30"/>
                  </a:lnTo>
                  <a:lnTo>
                    <a:pt x="117" y="29"/>
                  </a:lnTo>
                  <a:lnTo>
                    <a:pt x="118" y="29"/>
                  </a:lnTo>
                  <a:lnTo>
                    <a:pt x="118" y="28"/>
                  </a:lnTo>
                  <a:lnTo>
                    <a:pt x="118" y="27"/>
                  </a:lnTo>
                  <a:lnTo>
                    <a:pt x="117" y="27"/>
                  </a:lnTo>
                  <a:lnTo>
                    <a:pt x="117" y="25"/>
                  </a:lnTo>
                  <a:lnTo>
                    <a:pt x="118" y="25"/>
                  </a:lnTo>
                  <a:lnTo>
                    <a:pt x="118" y="24"/>
                  </a:lnTo>
                  <a:lnTo>
                    <a:pt x="118" y="25"/>
                  </a:lnTo>
                  <a:lnTo>
                    <a:pt x="120" y="25"/>
                  </a:lnTo>
                  <a:lnTo>
                    <a:pt x="121" y="25"/>
                  </a:lnTo>
                  <a:lnTo>
                    <a:pt x="120" y="25"/>
                  </a:lnTo>
                  <a:lnTo>
                    <a:pt x="120" y="24"/>
                  </a:lnTo>
                  <a:lnTo>
                    <a:pt x="120" y="23"/>
                  </a:lnTo>
                  <a:lnTo>
                    <a:pt x="121" y="23"/>
                  </a:lnTo>
                  <a:lnTo>
                    <a:pt x="120" y="22"/>
                  </a:lnTo>
                  <a:lnTo>
                    <a:pt x="121" y="22"/>
                  </a:lnTo>
                  <a:lnTo>
                    <a:pt x="120" y="22"/>
                  </a:lnTo>
                  <a:lnTo>
                    <a:pt x="118" y="21"/>
                  </a:lnTo>
                  <a:lnTo>
                    <a:pt x="118" y="19"/>
                  </a:lnTo>
                  <a:lnTo>
                    <a:pt x="120" y="19"/>
                  </a:lnTo>
                  <a:lnTo>
                    <a:pt x="120" y="18"/>
                  </a:lnTo>
                  <a:lnTo>
                    <a:pt x="120" y="17"/>
                  </a:lnTo>
                  <a:lnTo>
                    <a:pt x="118" y="17"/>
                  </a:lnTo>
                  <a:lnTo>
                    <a:pt x="120" y="17"/>
                  </a:lnTo>
                  <a:lnTo>
                    <a:pt x="120" y="16"/>
                  </a:lnTo>
                  <a:lnTo>
                    <a:pt x="120" y="17"/>
                  </a:lnTo>
                  <a:lnTo>
                    <a:pt x="120" y="16"/>
                  </a:lnTo>
                  <a:lnTo>
                    <a:pt x="121" y="16"/>
                  </a:lnTo>
                  <a:lnTo>
                    <a:pt x="121" y="17"/>
                  </a:lnTo>
                  <a:lnTo>
                    <a:pt x="121" y="18"/>
                  </a:lnTo>
                  <a:lnTo>
                    <a:pt x="122" y="18"/>
                  </a:lnTo>
                  <a:lnTo>
                    <a:pt x="123" y="18"/>
                  </a:lnTo>
                  <a:lnTo>
                    <a:pt x="123" y="19"/>
                  </a:lnTo>
                  <a:lnTo>
                    <a:pt x="123" y="21"/>
                  </a:lnTo>
                  <a:lnTo>
                    <a:pt x="124" y="21"/>
                  </a:lnTo>
                  <a:lnTo>
                    <a:pt x="126" y="21"/>
                  </a:lnTo>
                  <a:lnTo>
                    <a:pt x="126" y="19"/>
                  </a:lnTo>
                  <a:lnTo>
                    <a:pt x="126" y="21"/>
                  </a:lnTo>
                  <a:lnTo>
                    <a:pt x="126" y="19"/>
                  </a:lnTo>
                  <a:lnTo>
                    <a:pt x="124" y="19"/>
                  </a:lnTo>
                  <a:lnTo>
                    <a:pt x="126" y="19"/>
                  </a:lnTo>
                  <a:lnTo>
                    <a:pt x="124" y="19"/>
                  </a:lnTo>
                  <a:lnTo>
                    <a:pt x="124" y="18"/>
                  </a:lnTo>
                  <a:lnTo>
                    <a:pt x="124" y="17"/>
                  </a:lnTo>
                  <a:lnTo>
                    <a:pt x="124" y="16"/>
                  </a:lnTo>
                  <a:lnTo>
                    <a:pt x="124" y="15"/>
                  </a:lnTo>
                  <a:lnTo>
                    <a:pt x="123" y="15"/>
                  </a:lnTo>
                  <a:lnTo>
                    <a:pt x="123" y="13"/>
                  </a:lnTo>
                  <a:lnTo>
                    <a:pt x="123" y="12"/>
                  </a:lnTo>
                  <a:lnTo>
                    <a:pt x="123" y="11"/>
                  </a:lnTo>
                  <a:lnTo>
                    <a:pt x="124" y="11"/>
                  </a:lnTo>
                  <a:lnTo>
                    <a:pt x="123" y="11"/>
                  </a:lnTo>
                  <a:lnTo>
                    <a:pt x="124" y="11"/>
                  </a:lnTo>
                  <a:lnTo>
                    <a:pt x="124" y="10"/>
                  </a:lnTo>
                  <a:lnTo>
                    <a:pt x="124" y="9"/>
                  </a:lnTo>
                  <a:lnTo>
                    <a:pt x="124" y="7"/>
                  </a:lnTo>
                  <a:lnTo>
                    <a:pt x="124" y="9"/>
                  </a:lnTo>
                  <a:lnTo>
                    <a:pt x="126" y="9"/>
                  </a:lnTo>
                  <a:lnTo>
                    <a:pt x="126" y="10"/>
                  </a:lnTo>
                  <a:lnTo>
                    <a:pt x="127" y="10"/>
                  </a:lnTo>
                  <a:lnTo>
                    <a:pt x="127" y="11"/>
                  </a:lnTo>
                  <a:lnTo>
                    <a:pt x="127" y="12"/>
                  </a:lnTo>
                  <a:lnTo>
                    <a:pt x="127" y="11"/>
                  </a:lnTo>
                  <a:lnTo>
                    <a:pt x="128" y="11"/>
                  </a:lnTo>
                  <a:lnTo>
                    <a:pt x="129" y="11"/>
                  </a:lnTo>
                  <a:lnTo>
                    <a:pt x="129" y="12"/>
                  </a:lnTo>
                  <a:lnTo>
                    <a:pt x="129" y="11"/>
                  </a:lnTo>
                  <a:lnTo>
                    <a:pt x="131" y="11"/>
                  </a:lnTo>
                  <a:lnTo>
                    <a:pt x="131" y="10"/>
                  </a:lnTo>
                  <a:lnTo>
                    <a:pt x="132" y="10"/>
                  </a:lnTo>
                  <a:lnTo>
                    <a:pt x="132" y="11"/>
                  </a:lnTo>
                  <a:lnTo>
                    <a:pt x="132" y="12"/>
                  </a:lnTo>
                  <a:lnTo>
                    <a:pt x="132" y="13"/>
                  </a:lnTo>
                  <a:lnTo>
                    <a:pt x="133" y="13"/>
                  </a:lnTo>
                  <a:lnTo>
                    <a:pt x="132" y="15"/>
                  </a:lnTo>
                  <a:lnTo>
                    <a:pt x="131" y="16"/>
                  </a:lnTo>
                  <a:lnTo>
                    <a:pt x="131" y="17"/>
                  </a:lnTo>
                  <a:lnTo>
                    <a:pt x="131" y="18"/>
                  </a:lnTo>
                  <a:lnTo>
                    <a:pt x="132" y="18"/>
                  </a:lnTo>
                  <a:lnTo>
                    <a:pt x="133" y="18"/>
                  </a:lnTo>
                  <a:lnTo>
                    <a:pt x="133" y="19"/>
                  </a:lnTo>
                  <a:lnTo>
                    <a:pt x="134" y="19"/>
                  </a:lnTo>
                  <a:lnTo>
                    <a:pt x="133" y="19"/>
                  </a:lnTo>
                  <a:lnTo>
                    <a:pt x="134" y="19"/>
                  </a:lnTo>
                  <a:lnTo>
                    <a:pt x="134" y="18"/>
                  </a:lnTo>
                  <a:lnTo>
                    <a:pt x="134" y="17"/>
                  </a:lnTo>
                  <a:lnTo>
                    <a:pt x="134" y="16"/>
                  </a:lnTo>
                  <a:lnTo>
                    <a:pt x="135" y="16"/>
                  </a:lnTo>
                  <a:lnTo>
                    <a:pt x="135" y="15"/>
                  </a:lnTo>
                  <a:lnTo>
                    <a:pt x="135" y="13"/>
                  </a:lnTo>
                  <a:lnTo>
                    <a:pt x="135" y="12"/>
                  </a:lnTo>
                  <a:lnTo>
                    <a:pt x="137" y="12"/>
                  </a:lnTo>
                  <a:lnTo>
                    <a:pt x="138" y="12"/>
                  </a:lnTo>
                  <a:lnTo>
                    <a:pt x="138" y="13"/>
                  </a:lnTo>
                  <a:lnTo>
                    <a:pt x="138" y="15"/>
                  </a:lnTo>
                  <a:lnTo>
                    <a:pt x="139" y="15"/>
                  </a:lnTo>
                  <a:lnTo>
                    <a:pt x="139" y="16"/>
                  </a:lnTo>
                  <a:lnTo>
                    <a:pt x="140" y="17"/>
                  </a:lnTo>
                  <a:lnTo>
                    <a:pt x="140" y="16"/>
                  </a:lnTo>
                  <a:lnTo>
                    <a:pt x="141" y="16"/>
                  </a:lnTo>
                  <a:lnTo>
                    <a:pt x="141" y="17"/>
                  </a:lnTo>
                  <a:lnTo>
                    <a:pt x="143" y="17"/>
                  </a:lnTo>
                  <a:lnTo>
                    <a:pt x="141" y="16"/>
                  </a:lnTo>
                  <a:lnTo>
                    <a:pt x="141" y="15"/>
                  </a:lnTo>
                  <a:lnTo>
                    <a:pt x="143" y="15"/>
                  </a:lnTo>
                  <a:lnTo>
                    <a:pt x="143" y="13"/>
                  </a:lnTo>
                  <a:lnTo>
                    <a:pt x="143" y="12"/>
                  </a:lnTo>
                  <a:lnTo>
                    <a:pt x="143" y="11"/>
                  </a:lnTo>
                  <a:lnTo>
                    <a:pt x="143" y="12"/>
                  </a:lnTo>
                  <a:lnTo>
                    <a:pt x="144" y="11"/>
                  </a:lnTo>
                  <a:lnTo>
                    <a:pt x="143" y="11"/>
                  </a:lnTo>
                  <a:lnTo>
                    <a:pt x="141" y="10"/>
                  </a:lnTo>
                  <a:lnTo>
                    <a:pt x="141" y="11"/>
                  </a:lnTo>
                  <a:lnTo>
                    <a:pt x="141" y="10"/>
                  </a:lnTo>
                  <a:lnTo>
                    <a:pt x="141" y="9"/>
                  </a:lnTo>
                  <a:lnTo>
                    <a:pt x="140" y="9"/>
                  </a:lnTo>
                  <a:lnTo>
                    <a:pt x="140" y="7"/>
                  </a:lnTo>
                  <a:lnTo>
                    <a:pt x="139" y="7"/>
                  </a:lnTo>
                  <a:lnTo>
                    <a:pt x="140" y="6"/>
                  </a:lnTo>
                  <a:lnTo>
                    <a:pt x="141" y="6"/>
                  </a:lnTo>
                  <a:lnTo>
                    <a:pt x="141" y="7"/>
                  </a:lnTo>
                  <a:lnTo>
                    <a:pt x="141" y="6"/>
                  </a:lnTo>
                  <a:lnTo>
                    <a:pt x="141" y="5"/>
                  </a:lnTo>
                  <a:lnTo>
                    <a:pt x="143" y="4"/>
                  </a:lnTo>
                  <a:lnTo>
                    <a:pt x="144" y="4"/>
                  </a:lnTo>
                  <a:lnTo>
                    <a:pt x="144" y="5"/>
                  </a:lnTo>
                  <a:lnTo>
                    <a:pt x="145" y="5"/>
                  </a:lnTo>
                  <a:lnTo>
                    <a:pt x="145" y="6"/>
                  </a:lnTo>
                  <a:lnTo>
                    <a:pt x="145" y="7"/>
                  </a:lnTo>
                  <a:lnTo>
                    <a:pt x="145" y="9"/>
                  </a:lnTo>
                  <a:lnTo>
                    <a:pt x="144" y="9"/>
                  </a:lnTo>
                  <a:lnTo>
                    <a:pt x="144" y="10"/>
                  </a:lnTo>
                  <a:lnTo>
                    <a:pt x="145" y="10"/>
                  </a:lnTo>
                  <a:lnTo>
                    <a:pt x="146" y="10"/>
                  </a:lnTo>
                  <a:lnTo>
                    <a:pt x="146" y="9"/>
                  </a:lnTo>
                  <a:lnTo>
                    <a:pt x="147" y="9"/>
                  </a:lnTo>
                  <a:lnTo>
                    <a:pt x="147" y="10"/>
                  </a:lnTo>
                  <a:lnTo>
                    <a:pt x="147" y="11"/>
                  </a:lnTo>
                  <a:lnTo>
                    <a:pt x="149" y="11"/>
                  </a:lnTo>
                  <a:lnTo>
                    <a:pt x="149" y="12"/>
                  </a:lnTo>
                  <a:lnTo>
                    <a:pt x="149" y="11"/>
                  </a:lnTo>
                  <a:lnTo>
                    <a:pt x="150" y="11"/>
                  </a:lnTo>
                  <a:lnTo>
                    <a:pt x="149" y="10"/>
                  </a:lnTo>
                  <a:lnTo>
                    <a:pt x="150" y="10"/>
                  </a:lnTo>
                  <a:lnTo>
                    <a:pt x="149" y="9"/>
                  </a:lnTo>
                  <a:lnTo>
                    <a:pt x="149" y="7"/>
                  </a:lnTo>
                  <a:lnTo>
                    <a:pt x="150" y="7"/>
                  </a:lnTo>
                  <a:lnTo>
                    <a:pt x="150" y="6"/>
                  </a:lnTo>
                  <a:lnTo>
                    <a:pt x="151" y="6"/>
                  </a:lnTo>
                  <a:lnTo>
                    <a:pt x="151" y="7"/>
                  </a:lnTo>
                  <a:lnTo>
                    <a:pt x="151" y="6"/>
                  </a:lnTo>
                  <a:lnTo>
                    <a:pt x="152" y="6"/>
                  </a:lnTo>
                  <a:lnTo>
                    <a:pt x="152" y="5"/>
                  </a:lnTo>
                  <a:lnTo>
                    <a:pt x="152" y="4"/>
                  </a:lnTo>
                  <a:lnTo>
                    <a:pt x="152" y="3"/>
                  </a:lnTo>
                  <a:lnTo>
                    <a:pt x="153" y="3"/>
                  </a:lnTo>
                  <a:lnTo>
                    <a:pt x="153" y="4"/>
                  </a:lnTo>
                  <a:lnTo>
                    <a:pt x="155" y="5"/>
                  </a:lnTo>
                  <a:lnTo>
                    <a:pt x="155" y="4"/>
                  </a:lnTo>
                  <a:lnTo>
                    <a:pt x="155" y="3"/>
                  </a:lnTo>
                  <a:lnTo>
                    <a:pt x="156" y="3"/>
                  </a:lnTo>
                  <a:lnTo>
                    <a:pt x="156" y="1"/>
                  </a:lnTo>
                  <a:lnTo>
                    <a:pt x="156" y="0"/>
                  </a:lnTo>
                  <a:lnTo>
                    <a:pt x="157" y="0"/>
                  </a:lnTo>
                  <a:lnTo>
                    <a:pt x="158" y="0"/>
                  </a:lnTo>
                  <a:lnTo>
                    <a:pt x="158" y="1"/>
                  </a:lnTo>
                  <a:lnTo>
                    <a:pt x="158" y="3"/>
                  </a:lnTo>
                  <a:lnTo>
                    <a:pt x="157" y="3"/>
                  </a:lnTo>
                  <a:lnTo>
                    <a:pt x="157" y="4"/>
                  </a:lnTo>
                  <a:lnTo>
                    <a:pt x="158" y="4"/>
                  </a:lnTo>
                  <a:lnTo>
                    <a:pt x="158" y="5"/>
                  </a:lnTo>
                  <a:lnTo>
                    <a:pt x="158" y="6"/>
                  </a:lnTo>
                  <a:lnTo>
                    <a:pt x="157" y="6"/>
                  </a:lnTo>
                  <a:lnTo>
                    <a:pt x="158" y="7"/>
                  </a:lnTo>
                  <a:lnTo>
                    <a:pt x="159" y="7"/>
                  </a:lnTo>
                  <a:lnTo>
                    <a:pt x="159" y="9"/>
                  </a:lnTo>
                  <a:lnTo>
                    <a:pt x="158" y="9"/>
                  </a:lnTo>
                  <a:lnTo>
                    <a:pt x="158" y="10"/>
                  </a:lnTo>
                  <a:lnTo>
                    <a:pt x="158" y="11"/>
                  </a:lnTo>
                  <a:lnTo>
                    <a:pt x="157" y="11"/>
                  </a:lnTo>
                  <a:lnTo>
                    <a:pt x="158" y="11"/>
                  </a:lnTo>
                  <a:lnTo>
                    <a:pt x="158" y="12"/>
                  </a:lnTo>
                  <a:lnTo>
                    <a:pt x="158" y="13"/>
                  </a:lnTo>
                  <a:lnTo>
                    <a:pt x="157" y="13"/>
                  </a:lnTo>
                  <a:lnTo>
                    <a:pt x="157" y="15"/>
                  </a:lnTo>
                  <a:lnTo>
                    <a:pt x="157" y="16"/>
                  </a:lnTo>
                  <a:lnTo>
                    <a:pt x="157" y="17"/>
                  </a:lnTo>
                  <a:lnTo>
                    <a:pt x="157" y="16"/>
                  </a:lnTo>
                  <a:lnTo>
                    <a:pt x="158" y="16"/>
                  </a:lnTo>
                  <a:lnTo>
                    <a:pt x="159" y="16"/>
                  </a:lnTo>
                  <a:lnTo>
                    <a:pt x="161" y="16"/>
                  </a:lnTo>
                  <a:lnTo>
                    <a:pt x="161" y="15"/>
                  </a:lnTo>
                  <a:lnTo>
                    <a:pt x="162" y="15"/>
                  </a:lnTo>
                  <a:lnTo>
                    <a:pt x="162" y="16"/>
                  </a:lnTo>
                  <a:lnTo>
                    <a:pt x="162" y="17"/>
                  </a:lnTo>
                  <a:lnTo>
                    <a:pt x="162" y="18"/>
                  </a:lnTo>
                  <a:lnTo>
                    <a:pt x="162" y="19"/>
                  </a:lnTo>
                  <a:lnTo>
                    <a:pt x="162" y="21"/>
                  </a:lnTo>
                  <a:lnTo>
                    <a:pt x="163" y="21"/>
                  </a:lnTo>
                  <a:lnTo>
                    <a:pt x="163" y="19"/>
                  </a:lnTo>
                  <a:lnTo>
                    <a:pt x="163" y="18"/>
                  </a:lnTo>
                  <a:lnTo>
                    <a:pt x="163" y="17"/>
                  </a:lnTo>
                  <a:lnTo>
                    <a:pt x="164" y="17"/>
                  </a:lnTo>
                  <a:lnTo>
                    <a:pt x="164" y="18"/>
                  </a:lnTo>
                  <a:lnTo>
                    <a:pt x="165" y="18"/>
                  </a:lnTo>
                  <a:lnTo>
                    <a:pt x="165" y="19"/>
                  </a:lnTo>
                  <a:lnTo>
                    <a:pt x="167" y="19"/>
                  </a:lnTo>
                  <a:lnTo>
                    <a:pt x="167" y="18"/>
                  </a:lnTo>
                  <a:lnTo>
                    <a:pt x="168" y="18"/>
                  </a:lnTo>
                  <a:lnTo>
                    <a:pt x="168" y="17"/>
                  </a:lnTo>
                  <a:lnTo>
                    <a:pt x="167" y="17"/>
                  </a:lnTo>
                  <a:lnTo>
                    <a:pt x="167" y="16"/>
                  </a:lnTo>
                  <a:lnTo>
                    <a:pt x="167" y="15"/>
                  </a:lnTo>
                  <a:lnTo>
                    <a:pt x="168" y="15"/>
                  </a:lnTo>
                  <a:lnTo>
                    <a:pt x="168" y="16"/>
                  </a:lnTo>
                  <a:lnTo>
                    <a:pt x="169" y="16"/>
                  </a:lnTo>
                  <a:lnTo>
                    <a:pt x="170" y="16"/>
                  </a:lnTo>
                  <a:lnTo>
                    <a:pt x="170" y="15"/>
                  </a:lnTo>
                  <a:lnTo>
                    <a:pt x="170" y="13"/>
                  </a:lnTo>
                  <a:lnTo>
                    <a:pt x="171" y="12"/>
                  </a:lnTo>
                  <a:lnTo>
                    <a:pt x="173" y="12"/>
                  </a:lnTo>
                  <a:lnTo>
                    <a:pt x="173" y="11"/>
                  </a:lnTo>
                  <a:lnTo>
                    <a:pt x="171" y="11"/>
                  </a:lnTo>
                  <a:lnTo>
                    <a:pt x="173" y="11"/>
                  </a:lnTo>
                  <a:lnTo>
                    <a:pt x="171" y="11"/>
                  </a:lnTo>
                  <a:lnTo>
                    <a:pt x="170" y="10"/>
                  </a:lnTo>
                  <a:lnTo>
                    <a:pt x="171" y="10"/>
                  </a:lnTo>
                  <a:lnTo>
                    <a:pt x="171" y="9"/>
                  </a:lnTo>
                  <a:lnTo>
                    <a:pt x="171" y="10"/>
                  </a:lnTo>
                  <a:lnTo>
                    <a:pt x="173" y="10"/>
                  </a:lnTo>
                  <a:lnTo>
                    <a:pt x="173" y="9"/>
                  </a:lnTo>
                  <a:lnTo>
                    <a:pt x="173" y="7"/>
                  </a:lnTo>
                  <a:lnTo>
                    <a:pt x="173" y="6"/>
                  </a:lnTo>
                  <a:lnTo>
                    <a:pt x="173" y="5"/>
                  </a:lnTo>
                  <a:lnTo>
                    <a:pt x="174" y="5"/>
                  </a:lnTo>
                  <a:lnTo>
                    <a:pt x="175" y="5"/>
                  </a:lnTo>
                  <a:lnTo>
                    <a:pt x="175" y="4"/>
                  </a:lnTo>
                  <a:lnTo>
                    <a:pt x="176" y="4"/>
                  </a:lnTo>
                  <a:lnTo>
                    <a:pt x="176" y="5"/>
                  </a:lnTo>
                  <a:lnTo>
                    <a:pt x="176" y="6"/>
                  </a:lnTo>
                  <a:lnTo>
                    <a:pt x="176" y="7"/>
                  </a:lnTo>
                  <a:lnTo>
                    <a:pt x="176" y="9"/>
                  </a:lnTo>
                  <a:lnTo>
                    <a:pt x="176" y="10"/>
                  </a:lnTo>
                  <a:lnTo>
                    <a:pt x="176" y="9"/>
                  </a:lnTo>
                  <a:lnTo>
                    <a:pt x="177" y="10"/>
                  </a:lnTo>
                  <a:lnTo>
                    <a:pt x="177" y="9"/>
                  </a:lnTo>
                  <a:lnTo>
                    <a:pt x="179" y="10"/>
                  </a:lnTo>
                  <a:lnTo>
                    <a:pt x="177" y="10"/>
                  </a:lnTo>
                  <a:lnTo>
                    <a:pt x="177" y="11"/>
                  </a:lnTo>
                  <a:lnTo>
                    <a:pt x="176" y="11"/>
                  </a:lnTo>
                  <a:lnTo>
                    <a:pt x="176" y="12"/>
                  </a:lnTo>
                  <a:lnTo>
                    <a:pt x="175" y="12"/>
                  </a:lnTo>
                  <a:lnTo>
                    <a:pt x="175" y="13"/>
                  </a:lnTo>
                  <a:lnTo>
                    <a:pt x="174" y="13"/>
                  </a:lnTo>
                  <a:lnTo>
                    <a:pt x="175" y="13"/>
                  </a:lnTo>
                  <a:lnTo>
                    <a:pt x="175" y="15"/>
                  </a:lnTo>
                  <a:lnTo>
                    <a:pt x="174" y="15"/>
                  </a:lnTo>
                  <a:lnTo>
                    <a:pt x="175" y="15"/>
                  </a:lnTo>
                  <a:lnTo>
                    <a:pt x="175" y="16"/>
                  </a:lnTo>
                  <a:lnTo>
                    <a:pt x="174" y="16"/>
                  </a:lnTo>
                  <a:lnTo>
                    <a:pt x="174" y="17"/>
                  </a:lnTo>
                  <a:lnTo>
                    <a:pt x="175" y="17"/>
                  </a:lnTo>
                  <a:lnTo>
                    <a:pt x="175" y="16"/>
                  </a:lnTo>
                  <a:lnTo>
                    <a:pt x="176" y="16"/>
                  </a:lnTo>
                  <a:lnTo>
                    <a:pt x="177" y="16"/>
                  </a:lnTo>
                  <a:lnTo>
                    <a:pt x="177" y="17"/>
                  </a:lnTo>
                  <a:lnTo>
                    <a:pt x="179" y="17"/>
                  </a:lnTo>
                  <a:lnTo>
                    <a:pt x="179" y="16"/>
                  </a:lnTo>
                  <a:lnTo>
                    <a:pt x="179" y="15"/>
                  </a:lnTo>
                  <a:lnTo>
                    <a:pt x="180" y="15"/>
                  </a:lnTo>
                  <a:lnTo>
                    <a:pt x="180" y="13"/>
                  </a:lnTo>
                  <a:lnTo>
                    <a:pt x="180" y="12"/>
                  </a:lnTo>
                  <a:lnTo>
                    <a:pt x="179" y="11"/>
                  </a:lnTo>
                  <a:lnTo>
                    <a:pt x="180" y="11"/>
                  </a:lnTo>
                  <a:lnTo>
                    <a:pt x="180" y="10"/>
                  </a:lnTo>
                  <a:lnTo>
                    <a:pt x="181" y="9"/>
                  </a:lnTo>
                  <a:lnTo>
                    <a:pt x="182" y="9"/>
                  </a:lnTo>
                  <a:lnTo>
                    <a:pt x="182" y="10"/>
                  </a:lnTo>
                  <a:lnTo>
                    <a:pt x="181" y="10"/>
                  </a:lnTo>
                  <a:lnTo>
                    <a:pt x="182" y="10"/>
                  </a:lnTo>
                  <a:lnTo>
                    <a:pt x="182" y="11"/>
                  </a:lnTo>
                  <a:lnTo>
                    <a:pt x="182" y="10"/>
                  </a:lnTo>
                  <a:lnTo>
                    <a:pt x="183" y="10"/>
                  </a:lnTo>
                  <a:lnTo>
                    <a:pt x="183" y="9"/>
                  </a:lnTo>
                  <a:lnTo>
                    <a:pt x="183" y="7"/>
                  </a:lnTo>
                  <a:lnTo>
                    <a:pt x="185" y="6"/>
                  </a:lnTo>
                  <a:lnTo>
                    <a:pt x="185" y="7"/>
                  </a:lnTo>
                  <a:lnTo>
                    <a:pt x="185" y="6"/>
                  </a:lnTo>
                  <a:lnTo>
                    <a:pt x="186" y="6"/>
                  </a:lnTo>
                  <a:lnTo>
                    <a:pt x="186" y="5"/>
                  </a:lnTo>
                  <a:lnTo>
                    <a:pt x="187" y="6"/>
                  </a:lnTo>
                  <a:lnTo>
                    <a:pt x="187" y="7"/>
                  </a:lnTo>
                  <a:lnTo>
                    <a:pt x="187" y="9"/>
                  </a:lnTo>
                  <a:lnTo>
                    <a:pt x="187" y="10"/>
                  </a:lnTo>
                  <a:lnTo>
                    <a:pt x="187" y="11"/>
                  </a:lnTo>
                  <a:lnTo>
                    <a:pt x="187" y="10"/>
                  </a:lnTo>
                  <a:lnTo>
                    <a:pt x="187" y="11"/>
                  </a:lnTo>
                  <a:lnTo>
                    <a:pt x="186" y="11"/>
                  </a:lnTo>
                  <a:lnTo>
                    <a:pt x="186" y="12"/>
                  </a:lnTo>
                  <a:lnTo>
                    <a:pt x="185" y="12"/>
                  </a:lnTo>
                  <a:lnTo>
                    <a:pt x="185" y="13"/>
                  </a:lnTo>
                  <a:lnTo>
                    <a:pt x="183" y="13"/>
                  </a:lnTo>
                  <a:lnTo>
                    <a:pt x="183" y="15"/>
                  </a:lnTo>
                  <a:lnTo>
                    <a:pt x="185" y="15"/>
                  </a:lnTo>
                  <a:lnTo>
                    <a:pt x="186" y="15"/>
                  </a:lnTo>
                  <a:lnTo>
                    <a:pt x="186" y="13"/>
                  </a:lnTo>
                  <a:lnTo>
                    <a:pt x="186" y="15"/>
                  </a:lnTo>
                  <a:lnTo>
                    <a:pt x="187" y="15"/>
                  </a:lnTo>
                  <a:lnTo>
                    <a:pt x="187" y="16"/>
                  </a:lnTo>
                  <a:lnTo>
                    <a:pt x="187" y="17"/>
                  </a:lnTo>
                  <a:lnTo>
                    <a:pt x="188" y="16"/>
                  </a:lnTo>
                  <a:lnTo>
                    <a:pt x="188" y="15"/>
                  </a:lnTo>
                  <a:lnTo>
                    <a:pt x="188" y="13"/>
                  </a:lnTo>
                  <a:lnTo>
                    <a:pt x="189" y="13"/>
                  </a:lnTo>
                  <a:lnTo>
                    <a:pt x="189" y="15"/>
                  </a:lnTo>
                  <a:lnTo>
                    <a:pt x="191" y="15"/>
                  </a:lnTo>
                  <a:lnTo>
                    <a:pt x="191" y="13"/>
                  </a:lnTo>
                  <a:lnTo>
                    <a:pt x="192" y="13"/>
                  </a:lnTo>
                  <a:lnTo>
                    <a:pt x="192" y="12"/>
                  </a:lnTo>
                  <a:lnTo>
                    <a:pt x="193" y="12"/>
                  </a:lnTo>
                  <a:lnTo>
                    <a:pt x="193" y="13"/>
                  </a:lnTo>
                  <a:lnTo>
                    <a:pt x="193" y="15"/>
                  </a:lnTo>
                  <a:lnTo>
                    <a:pt x="192" y="16"/>
                  </a:lnTo>
                  <a:lnTo>
                    <a:pt x="192" y="17"/>
                  </a:lnTo>
                  <a:lnTo>
                    <a:pt x="192" y="18"/>
                  </a:lnTo>
                  <a:lnTo>
                    <a:pt x="191" y="18"/>
                  </a:lnTo>
                  <a:lnTo>
                    <a:pt x="191" y="22"/>
                  </a:lnTo>
                  <a:lnTo>
                    <a:pt x="191" y="23"/>
                  </a:lnTo>
                  <a:lnTo>
                    <a:pt x="191" y="24"/>
                  </a:lnTo>
                  <a:lnTo>
                    <a:pt x="191" y="23"/>
                  </a:lnTo>
                  <a:lnTo>
                    <a:pt x="192" y="23"/>
                  </a:lnTo>
                  <a:lnTo>
                    <a:pt x="192" y="24"/>
                  </a:lnTo>
                  <a:lnTo>
                    <a:pt x="191" y="24"/>
                  </a:lnTo>
                  <a:lnTo>
                    <a:pt x="191" y="25"/>
                  </a:lnTo>
                  <a:lnTo>
                    <a:pt x="191" y="27"/>
                  </a:lnTo>
                  <a:lnTo>
                    <a:pt x="191" y="28"/>
                  </a:lnTo>
                  <a:lnTo>
                    <a:pt x="192" y="28"/>
                  </a:lnTo>
                  <a:lnTo>
                    <a:pt x="193" y="28"/>
                  </a:lnTo>
                  <a:lnTo>
                    <a:pt x="193" y="27"/>
                  </a:lnTo>
                  <a:lnTo>
                    <a:pt x="193" y="25"/>
                  </a:lnTo>
                  <a:lnTo>
                    <a:pt x="194" y="25"/>
                  </a:lnTo>
                  <a:lnTo>
                    <a:pt x="194" y="24"/>
                  </a:lnTo>
                  <a:lnTo>
                    <a:pt x="194" y="23"/>
                  </a:lnTo>
                  <a:lnTo>
                    <a:pt x="194" y="22"/>
                  </a:lnTo>
                  <a:lnTo>
                    <a:pt x="194" y="21"/>
                  </a:lnTo>
                  <a:lnTo>
                    <a:pt x="196" y="21"/>
                  </a:lnTo>
                  <a:lnTo>
                    <a:pt x="196" y="19"/>
                  </a:lnTo>
                  <a:lnTo>
                    <a:pt x="196" y="18"/>
                  </a:lnTo>
                  <a:lnTo>
                    <a:pt x="197" y="18"/>
                  </a:lnTo>
                  <a:lnTo>
                    <a:pt x="198" y="18"/>
                  </a:lnTo>
                  <a:lnTo>
                    <a:pt x="198" y="19"/>
                  </a:lnTo>
                  <a:lnTo>
                    <a:pt x="198" y="21"/>
                  </a:lnTo>
                  <a:lnTo>
                    <a:pt x="197" y="21"/>
                  </a:lnTo>
                  <a:lnTo>
                    <a:pt x="197" y="22"/>
                  </a:lnTo>
                  <a:lnTo>
                    <a:pt x="197" y="23"/>
                  </a:lnTo>
                  <a:lnTo>
                    <a:pt x="198" y="23"/>
                  </a:lnTo>
                  <a:lnTo>
                    <a:pt x="198" y="22"/>
                  </a:lnTo>
                  <a:lnTo>
                    <a:pt x="199" y="22"/>
                  </a:lnTo>
                  <a:lnTo>
                    <a:pt x="199" y="23"/>
                  </a:lnTo>
                  <a:lnTo>
                    <a:pt x="198" y="24"/>
                  </a:lnTo>
                  <a:lnTo>
                    <a:pt x="197" y="24"/>
                  </a:lnTo>
                  <a:lnTo>
                    <a:pt x="197" y="25"/>
                  </a:lnTo>
                  <a:lnTo>
                    <a:pt x="196" y="25"/>
                  </a:lnTo>
                  <a:lnTo>
                    <a:pt x="196" y="27"/>
                  </a:lnTo>
                  <a:lnTo>
                    <a:pt x="197" y="27"/>
                  </a:lnTo>
                  <a:lnTo>
                    <a:pt x="196" y="27"/>
                  </a:lnTo>
                  <a:lnTo>
                    <a:pt x="197" y="27"/>
                  </a:lnTo>
                  <a:lnTo>
                    <a:pt x="197" y="28"/>
                  </a:lnTo>
                  <a:lnTo>
                    <a:pt x="198" y="28"/>
                  </a:lnTo>
                  <a:lnTo>
                    <a:pt x="199" y="27"/>
                  </a:lnTo>
                  <a:lnTo>
                    <a:pt x="199" y="24"/>
                  </a:lnTo>
                  <a:lnTo>
                    <a:pt x="200" y="24"/>
                  </a:lnTo>
                  <a:lnTo>
                    <a:pt x="202" y="24"/>
                  </a:lnTo>
                  <a:lnTo>
                    <a:pt x="203" y="24"/>
                  </a:lnTo>
                  <a:lnTo>
                    <a:pt x="202" y="24"/>
                  </a:lnTo>
                  <a:lnTo>
                    <a:pt x="200" y="24"/>
                  </a:lnTo>
                  <a:lnTo>
                    <a:pt x="202" y="23"/>
                  </a:lnTo>
                  <a:lnTo>
                    <a:pt x="200" y="23"/>
                  </a:lnTo>
                  <a:lnTo>
                    <a:pt x="200" y="22"/>
                  </a:lnTo>
                  <a:lnTo>
                    <a:pt x="200" y="21"/>
                  </a:lnTo>
                  <a:lnTo>
                    <a:pt x="200" y="19"/>
                  </a:lnTo>
                  <a:lnTo>
                    <a:pt x="202" y="18"/>
                  </a:lnTo>
                  <a:lnTo>
                    <a:pt x="203" y="18"/>
                  </a:lnTo>
                  <a:lnTo>
                    <a:pt x="203" y="19"/>
                  </a:lnTo>
                  <a:lnTo>
                    <a:pt x="203" y="18"/>
                  </a:lnTo>
                  <a:lnTo>
                    <a:pt x="204" y="18"/>
                  </a:lnTo>
                  <a:lnTo>
                    <a:pt x="204" y="17"/>
                  </a:lnTo>
                  <a:lnTo>
                    <a:pt x="203" y="17"/>
                  </a:lnTo>
                  <a:lnTo>
                    <a:pt x="204" y="17"/>
                  </a:lnTo>
                  <a:lnTo>
                    <a:pt x="204" y="16"/>
                  </a:lnTo>
                  <a:lnTo>
                    <a:pt x="205" y="16"/>
                  </a:lnTo>
                  <a:lnTo>
                    <a:pt x="205" y="15"/>
                  </a:lnTo>
                  <a:lnTo>
                    <a:pt x="205" y="13"/>
                  </a:lnTo>
                  <a:lnTo>
                    <a:pt x="206" y="13"/>
                  </a:lnTo>
                  <a:lnTo>
                    <a:pt x="206" y="15"/>
                  </a:lnTo>
                  <a:lnTo>
                    <a:pt x="208" y="15"/>
                  </a:lnTo>
                  <a:lnTo>
                    <a:pt x="208" y="16"/>
                  </a:lnTo>
                  <a:lnTo>
                    <a:pt x="208" y="17"/>
                  </a:lnTo>
                  <a:lnTo>
                    <a:pt x="208" y="18"/>
                  </a:lnTo>
                  <a:lnTo>
                    <a:pt x="208" y="19"/>
                  </a:lnTo>
                  <a:lnTo>
                    <a:pt x="208" y="21"/>
                  </a:lnTo>
                  <a:lnTo>
                    <a:pt x="206" y="21"/>
                  </a:lnTo>
                  <a:lnTo>
                    <a:pt x="208" y="21"/>
                  </a:lnTo>
                  <a:lnTo>
                    <a:pt x="208" y="22"/>
                  </a:lnTo>
                  <a:lnTo>
                    <a:pt x="209" y="22"/>
                  </a:lnTo>
                  <a:lnTo>
                    <a:pt x="209" y="23"/>
                  </a:lnTo>
                  <a:lnTo>
                    <a:pt x="209" y="24"/>
                  </a:lnTo>
                  <a:lnTo>
                    <a:pt x="209" y="25"/>
                  </a:lnTo>
                  <a:lnTo>
                    <a:pt x="208" y="25"/>
                  </a:lnTo>
                  <a:lnTo>
                    <a:pt x="206" y="25"/>
                  </a:lnTo>
                  <a:lnTo>
                    <a:pt x="208" y="27"/>
                  </a:lnTo>
                  <a:lnTo>
                    <a:pt x="209" y="27"/>
                  </a:lnTo>
                  <a:lnTo>
                    <a:pt x="209" y="25"/>
                  </a:lnTo>
                  <a:lnTo>
                    <a:pt x="209" y="24"/>
                  </a:lnTo>
                  <a:lnTo>
                    <a:pt x="210" y="24"/>
                  </a:lnTo>
                  <a:lnTo>
                    <a:pt x="209" y="24"/>
                  </a:lnTo>
                  <a:lnTo>
                    <a:pt x="210" y="23"/>
                  </a:lnTo>
                  <a:lnTo>
                    <a:pt x="211" y="23"/>
                  </a:lnTo>
                  <a:lnTo>
                    <a:pt x="211" y="22"/>
                  </a:lnTo>
                  <a:lnTo>
                    <a:pt x="211" y="23"/>
                  </a:lnTo>
                  <a:lnTo>
                    <a:pt x="211" y="22"/>
                  </a:lnTo>
                  <a:lnTo>
                    <a:pt x="211" y="21"/>
                  </a:lnTo>
                  <a:lnTo>
                    <a:pt x="211" y="19"/>
                  </a:lnTo>
                  <a:lnTo>
                    <a:pt x="210" y="19"/>
                  </a:lnTo>
                  <a:lnTo>
                    <a:pt x="211" y="19"/>
                  </a:lnTo>
                  <a:lnTo>
                    <a:pt x="211" y="18"/>
                  </a:lnTo>
                  <a:lnTo>
                    <a:pt x="211" y="17"/>
                  </a:lnTo>
                  <a:lnTo>
                    <a:pt x="212" y="17"/>
                  </a:lnTo>
                  <a:lnTo>
                    <a:pt x="214" y="17"/>
                  </a:lnTo>
                  <a:lnTo>
                    <a:pt x="215" y="17"/>
                  </a:lnTo>
                  <a:lnTo>
                    <a:pt x="215" y="16"/>
                  </a:lnTo>
                  <a:lnTo>
                    <a:pt x="216" y="16"/>
                  </a:lnTo>
                  <a:lnTo>
                    <a:pt x="216" y="15"/>
                  </a:lnTo>
                  <a:lnTo>
                    <a:pt x="217" y="15"/>
                  </a:lnTo>
                  <a:lnTo>
                    <a:pt x="217" y="13"/>
                  </a:lnTo>
                  <a:lnTo>
                    <a:pt x="218" y="13"/>
                  </a:lnTo>
                  <a:lnTo>
                    <a:pt x="218" y="12"/>
                  </a:lnTo>
                  <a:lnTo>
                    <a:pt x="218" y="13"/>
                  </a:lnTo>
                  <a:lnTo>
                    <a:pt x="220" y="13"/>
                  </a:lnTo>
                  <a:lnTo>
                    <a:pt x="220" y="15"/>
                  </a:lnTo>
                  <a:lnTo>
                    <a:pt x="220" y="16"/>
                  </a:lnTo>
                  <a:lnTo>
                    <a:pt x="220" y="17"/>
                  </a:lnTo>
                  <a:lnTo>
                    <a:pt x="221" y="17"/>
                  </a:lnTo>
                  <a:lnTo>
                    <a:pt x="222" y="18"/>
                  </a:lnTo>
                  <a:lnTo>
                    <a:pt x="221" y="18"/>
                  </a:lnTo>
                  <a:lnTo>
                    <a:pt x="221" y="19"/>
                  </a:lnTo>
                  <a:lnTo>
                    <a:pt x="222" y="19"/>
                  </a:lnTo>
                  <a:lnTo>
                    <a:pt x="222" y="21"/>
                  </a:lnTo>
                  <a:lnTo>
                    <a:pt x="222" y="19"/>
                  </a:lnTo>
                  <a:lnTo>
                    <a:pt x="223" y="19"/>
                  </a:lnTo>
                  <a:lnTo>
                    <a:pt x="224" y="19"/>
                  </a:lnTo>
                  <a:lnTo>
                    <a:pt x="224" y="18"/>
                  </a:lnTo>
                  <a:lnTo>
                    <a:pt x="226" y="18"/>
                  </a:lnTo>
                  <a:lnTo>
                    <a:pt x="226" y="19"/>
                  </a:lnTo>
                  <a:lnTo>
                    <a:pt x="226" y="21"/>
                  </a:lnTo>
                  <a:lnTo>
                    <a:pt x="227" y="21"/>
                  </a:lnTo>
                  <a:lnTo>
                    <a:pt x="227" y="22"/>
                  </a:lnTo>
                  <a:lnTo>
                    <a:pt x="227" y="23"/>
                  </a:lnTo>
                  <a:lnTo>
                    <a:pt x="226" y="23"/>
                  </a:lnTo>
                  <a:lnTo>
                    <a:pt x="226" y="24"/>
                  </a:lnTo>
                  <a:lnTo>
                    <a:pt x="224" y="25"/>
                  </a:lnTo>
                  <a:lnTo>
                    <a:pt x="224" y="27"/>
                  </a:lnTo>
                  <a:lnTo>
                    <a:pt x="223" y="27"/>
                  </a:lnTo>
                  <a:lnTo>
                    <a:pt x="222" y="27"/>
                  </a:lnTo>
                  <a:lnTo>
                    <a:pt x="222" y="28"/>
                  </a:lnTo>
                  <a:lnTo>
                    <a:pt x="221" y="28"/>
                  </a:lnTo>
                  <a:lnTo>
                    <a:pt x="220" y="27"/>
                  </a:lnTo>
                  <a:lnTo>
                    <a:pt x="220" y="28"/>
                  </a:lnTo>
                  <a:lnTo>
                    <a:pt x="220" y="29"/>
                  </a:lnTo>
                  <a:lnTo>
                    <a:pt x="218" y="29"/>
                  </a:lnTo>
                  <a:lnTo>
                    <a:pt x="218" y="30"/>
                  </a:lnTo>
                  <a:lnTo>
                    <a:pt x="220" y="31"/>
                  </a:lnTo>
                  <a:lnTo>
                    <a:pt x="220" y="30"/>
                  </a:lnTo>
                  <a:lnTo>
                    <a:pt x="221" y="30"/>
                  </a:lnTo>
                  <a:lnTo>
                    <a:pt x="222" y="30"/>
                  </a:lnTo>
                  <a:lnTo>
                    <a:pt x="223" y="30"/>
                  </a:lnTo>
                  <a:lnTo>
                    <a:pt x="224" y="30"/>
                  </a:lnTo>
                  <a:lnTo>
                    <a:pt x="224" y="29"/>
                  </a:lnTo>
                  <a:lnTo>
                    <a:pt x="224" y="28"/>
                  </a:lnTo>
                  <a:lnTo>
                    <a:pt x="226" y="28"/>
                  </a:lnTo>
                  <a:lnTo>
                    <a:pt x="227" y="28"/>
                  </a:lnTo>
                  <a:lnTo>
                    <a:pt x="227" y="27"/>
                  </a:lnTo>
                  <a:lnTo>
                    <a:pt x="228" y="27"/>
                  </a:lnTo>
                  <a:lnTo>
                    <a:pt x="228" y="25"/>
                  </a:lnTo>
                  <a:lnTo>
                    <a:pt x="229" y="25"/>
                  </a:lnTo>
                  <a:lnTo>
                    <a:pt x="230" y="25"/>
                  </a:lnTo>
                  <a:lnTo>
                    <a:pt x="232" y="25"/>
                  </a:lnTo>
                  <a:lnTo>
                    <a:pt x="233" y="25"/>
                  </a:lnTo>
                  <a:lnTo>
                    <a:pt x="233" y="27"/>
                  </a:lnTo>
                  <a:lnTo>
                    <a:pt x="234" y="28"/>
                  </a:lnTo>
                  <a:lnTo>
                    <a:pt x="234" y="29"/>
                  </a:lnTo>
                  <a:lnTo>
                    <a:pt x="235" y="29"/>
                  </a:lnTo>
                  <a:lnTo>
                    <a:pt x="235" y="28"/>
                  </a:lnTo>
                  <a:lnTo>
                    <a:pt x="236" y="28"/>
                  </a:lnTo>
                  <a:lnTo>
                    <a:pt x="236" y="27"/>
                  </a:lnTo>
                  <a:lnTo>
                    <a:pt x="238" y="27"/>
                  </a:lnTo>
                  <a:lnTo>
                    <a:pt x="238" y="28"/>
                  </a:lnTo>
                  <a:lnTo>
                    <a:pt x="238" y="29"/>
                  </a:lnTo>
                  <a:lnTo>
                    <a:pt x="238" y="30"/>
                  </a:lnTo>
                  <a:lnTo>
                    <a:pt x="236" y="31"/>
                  </a:lnTo>
                  <a:lnTo>
                    <a:pt x="238" y="31"/>
                  </a:lnTo>
                  <a:lnTo>
                    <a:pt x="238" y="33"/>
                  </a:lnTo>
                  <a:lnTo>
                    <a:pt x="239" y="33"/>
                  </a:lnTo>
                  <a:lnTo>
                    <a:pt x="239" y="34"/>
                  </a:lnTo>
                  <a:lnTo>
                    <a:pt x="238" y="34"/>
                  </a:lnTo>
                  <a:lnTo>
                    <a:pt x="238" y="35"/>
                  </a:lnTo>
                  <a:lnTo>
                    <a:pt x="236" y="35"/>
                  </a:lnTo>
                  <a:lnTo>
                    <a:pt x="236" y="36"/>
                  </a:lnTo>
                  <a:lnTo>
                    <a:pt x="235" y="36"/>
                  </a:lnTo>
                  <a:lnTo>
                    <a:pt x="236" y="36"/>
                  </a:lnTo>
                  <a:lnTo>
                    <a:pt x="236" y="37"/>
                  </a:lnTo>
                  <a:lnTo>
                    <a:pt x="236" y="39"/>
                  </a:lnTo>
                  <a:lnTo>
                    <a:pt x="235" y="39"/>
                  </a:lnTo>
                  <a:lnTo>
                    <a:pt x="235" y="40"/>
                  </a:lnTo>
                  <a:lnTo>
                    <a:pt x="234" y="40"/>
                  </a:lnTo>
                  <a:lnTo>
                    <a:pt x="233" y="40"/>
                  </a:lnTo>
                  <a:lnTo>
                    <a:pt x="233" y="41"/>
                  </a:lnTo>
                  <a:lnTo>
                    <a:pt x="232" y="40"/>
                  </a:lnTo>
                  <a:lnTo>
                    <a:pt x="232" y="41"/>
                  </a:lnTo>
                  <a:lnTo>
                    <a:pt x="232" y="42"/>
                  </a:lnTo>
                  <a:lnTo>
                    <a:pt x="232" y="41"/>
                  </a:lnTo>
                  <a:lnTo>
                    <a:pt x="233" y="41"/>
                  </a:lnTo>
                  <a:lnTo>
                    <a:pt x="234" y="41"/>
                  </a:lnTo>
                  <a:lnTo>
                    <a:pt x="235" y="41"/>
                  </a:lnTo>
                  <a:lnTo>
                    <a:pt x="235" y="42"/>
                  </a:lnTo>
                  <a:lnTo>
                    <a:pt x="235" y="44"/>
                  </a:lnTo>
                  <a:lnTo>
                    <a:pt x="234" y="44"/>
                  </a:lnTo>
                  <a:lnTo>
                    <a:pt x="234" y="45"/>
                  </a:lnTo>
                  <a:lnTo>
                    <a:pt x="233" y="45"/>
                  </a:lnTo>
                  <a:lnTo>
                    <a:pt x="232" y="45"/>
                  </a:lnTo>
                  <a:lnTo>
                    <a:pt x="230" y="45"/>
                  </a:lnTo>
                  <a:lnTo>
                    <a:pt x="229" y="45"/>
                  </a:lnTo>
                  <a:lnTo>
                    <a:pt x="228" y="45"/>
                  </a:lnTo>
                  <a:lnTo>
                    <a:pt x="228" y="44"/>
                  </a:lnTo>
                  <a:lnTo>
                    <a:pt x="227" y="44"/>
                  </a:lnTo>
                  <a:lnTo>
                    <a:pt x="228" y="44"/>
                  </a:lnTo>
                  <a:lnTo>
                    <a:pt x="228" y="45"/>
                  </a:lnTo>
                  <a:lnTo>
                    <a:pt x="227" y="46"/>
                  </a:lnTo>
                  <a:lnTo>
                    <a:pt x="226" y="46"/>
                  </a:lnTo>
                  <a:lnTo>
                    <a:pt x="224" y="46"/>
                  </a:lnTo>
                  <a:lnTo>
                    <a:pt x="224" y="45"/>
                  </a:lnTo>
                  <a:lnTo>
                    <a:pt x="224" y="44"/>
                  </a:lnTo>
                  <a:lnTo>
                    <a:pt x="223" y="42"/>
                  </a:lnTo>
                  <a:lnTo>
                    <a:pt x="223" y="44"/>
                  </a:lnTo>
                  <a:lnTo>
                    <a:pt x="222" y="45"/>
                  </a:lnTo>
                  <a:lnTo>
                    <a:pt x="221" y="45"/>
                  </a:lnTo>
                  <a:lnTo>
                    <a:pt x="221" y="46"/>
                  </a:lnTo>
                  <a:lnTo>
                    <a:pt x="222" y="47"/>
                  </a:lnTo>
                  <a:lnTo>
                    <a:pt x="221" y="46"/>
                  </a:lnTo>
                  <a:lnTo>
                    <a:pt x="221" y="47"/>
                  </a:lnTo>
                  <a:lnTo>
                    <a:pt x="222" y="47"/>
                  </a:lnTo>
                  <a:lnTo>
                    <a:pt x="222" y="48"/>
                  </a:lnTo>
                  <a:lnTo>
                    <a:pt x="223" y="48"/>
                  </a:lnTo>
                  <a:lnTo>
                    <a:pt x="224" y="48"/>
                  </a:lnTo>
                  <a:lnTo>
                    <a:pt x="226" y="48"/>
                  </a:lnTo>
                  <a:lnTo>
                    <a:pt x="227" y="50"/>
                  </a:lnTo>
                  <a:lnTo>
                    <a:pt x="226" y="51"/>
                  </a:lnTo>
                  <a:lnTo>
                    <a:pt x="224" y="51"/>
                  </a:lnTo>
                  <a:lnTo>
                    <a:pt x="224" y="52"/>
                  </a:lnTo>
                  <a:lnTo>
                    <a:pt x="224" y="51"/>
                  </a:lnTo>
                  <a:lnTo>
                    <a:pt x="223" y="51"/>
                  </a:lnTo>
                  <a:lnTo>
                    <a:pt x="223" y="50"/>
                  </a:lnTo>
                  <a:lnTo>
                    <a:pt x="222" y="50"/>
                  </a:lnTo>
                  <a:lnTo>
                    <a:pt x="222" y="48"/>
                  </a:lnTo>
                  <a:lnTo>
                    <a:pt x="221" y="48"/>
                  </a:lnTo>
                  <a:lnTo>
                    <a:pt x="221" y="47"/>
                  </a:lnTo>
                  <a:lnTo>
                    <a:pt x="221" y="48"/>
                  </a:lnTo>
                  <a:lnTo>
                    <a:pt x="222" y="48"/>
                  </a:lnTo>
                  <a:lnTo>
                    <a:pt x="222" y="50"/>
                  </a:lnTo>
                  <a:lnTo>
                    <a:pt x="221" y="50"/>
                  </a:lnTo>
                  <a:lnTo>
                    <a:pt x="221" y="51"/>
                  </a:lnTo>
                  <a:lnTo>
                    <a:pt x="220" y="51"/>
                  </a:lnTo>
                  <a:lnTo>
                    <a:pt x="221" y="52"/>
                  </a:lnTo>
                  <a:lnTo>
                    <a:pt x="222" y="52"/>
                  </a:lnTo>
                  <a:lnTo>
                    <a:pt x="222" y="51"/>
                  </a:lnTo>
                  <a:lnTo>
                    <a:pt x="223" y="51"/>
                  </a:lnTo>
                  <a:lnTo>
                    <a:pt x="223" y="52"/>
                  </a:lnTo>
                  <a:lnTo>
                    <a:pt x="223" y="53"/>
                  </a:lnTo>
                  <a:lnTo>
                    <a:pt x="223" y="54"/>
                  </a:lnTo>
                  <a:lnTo>
                    <a:pt x="224" y="54"/>
                  </a:lnTo>
                  <a:lnTo>
                    <a:pt x="226" y="54"/>
                  </a:lnTo>
                  <a:lnTo>
                    <a:pt x="226" y="53"/>
                  </a:lnTo>
                  <a:lnTo>
                    <a:pt x="227" y="53"/>
                  </a:lnTo>
                  <a:lnTo>
                    <a:pt x="228" y="54"/>
                  </a:lnTo>
                  <a:lnTo>
                    <a:pt x="229" y="54"/>
                  </a:lnTo>
                  <a:lnTo>
                    <a:pt x="229" y="56"/>
                  </a:lnTo>
                  <a:lnTo>
                    <a:pt x="230" y="56"/>
                  </a:lnTo>
                  <a:lnTo>
                    <a:pt x="232" y="56"/>
                  </a:lnTo>
                  <a:lnTo>
                    <a:pt x="233" y="56"/>
                  </a:lnTo>
                  <a:lnTo>
                    <a:pt x="234" y="56"/>
                  </a:lnTo>
                  <a:lnTo>
                    <a:pt x="234" y="57"/>
                  </a:lnTo>
                  <a:lnTo>
                    <a:pt x="235" y="57"/>
                  </a:lnTo>
                  <a:lnTo>
                    <a:pt x="236" y="57"/>
                  </a:lnTo>
                  <a:lnTo>
                    <a:pt x="236" y="58"/>
                  </a:lnTo>
                  <a:lnTo>
                    <a:pt x="236" y="60"/>
                  </a:lnTo>
                  <a:lnTo>
                    <a:pt x="236" y="62"/>
                  </a:lnTo>
                  <a:lnTo>
                    <a:pt x="238" y="62"/>
                  </a:lnTo>
                  <a:lnTo>
                    <a:pt x="239" y="62"/>
                  </a:lnTo>
                  <a:lnTo>
                    <a:pt x="238" y="60"/>
                  </a:lnTo>
                  <a:lnTo>
                    <a:pt x="239" y="60"/>
                  </a:lnTo>
                  <a:lnTo>
                    <a:pt x="239" y="59"/>
                  </a:lnTo>
                  <a:lnTo>
                    <a:pt x="239" y="58"/>
                  </a:lnTo>
                  <a:lnTo>
                    <a:pt x="240" y="58"/>
                  </a:lnTo>
                  <a:lnTo>
                    <a:pt x="240" y="59"/>
                  </a:lnTo>
                  <a:lnTo>
                    <a:pt x="241" y="59"/>
                  </a:lnTo>
                  <a:lnTo>
                    <a:pt x="241" y="60"/>
                  </a:lnTo>
                  <a:lnTo>
                    <a:pt x="242" y="60"/>
                  </a:lnTo>
                  <a:lnTo>
                    <a:pt x="242" y="59"/>
                  </a:lnTo>
                  <a:lnTo>
                    <a:pt x="242" y="58"/>
                  </a:lnTo>
                  <a:lnTo>
                    <a:pt x="244" y="57"/>
                  </a:lnTo>
                  <a:lnTo>
                    <a:pt x="244" y="58"/>
                  </a:lnTo>
                  <a:lnTo>
                    <a:pt x="245" y="58"/>
                  </a:lnTo>
                  <a:lnTo>
                    <a:pt x="246" y="58"/>
                  </a:lnTo>
                  <a:lnTo>
                    <a:pt x="246" y="57"/>
                  </a:lnTo>
                  <a:lnTo>
                    <a:pt x="247" y="57"/>
                  </a:lnTo>
                  <a:lnTo>
                    <a:pt x="247" y="58"/>
                  </a:lnTo>
                  <a:lnTo>
                    <a:pt x="247" y="59"/>
                  </a:lnTo>
                  <a:lnTo>
                    <a:pt x="247" y="60"/>
                  </a:lnTo>
                  <a:lnTo>
                    <a:pt x="247" y="62"/>
                  </a:lnTo>
                  <a:lnTo>
                    <a:pt x="246" y="62"/>
                  </a:lnTo>
                  <a:lnTo>
                    <a:pt x="246" y="63"/>
                  </a:lnTo>
                  <a:lnTo>
                    <a:pt x="245" y="63"/>
                  </a:lnTo>
                  <a:lnTo>
                    <a:pt x="245" y="64"/>
                  </a:lnTo>
                  <a:lnTo>
                    <a:pt x="245" y="65"/>
                  </a:lnTo>
                  <a:lnTo>
                    <a:pt x="246" y="65"/>
                  </a:lnTo>
                  <a:lnTo>
                    <a:pt x="246" y="66"/>
                  </a:lnTo>
                  <a:lnTo>
                    <a:pt x="246" y="65"/>
                  </a:lnTo>
                  <a:lnTo>
                    <a:pt x="247" y="64"/>
                  </a:lnTo>
                  <a:lnTo>
                    <a:pt x="247" y="63"/>
                  </a:lnTo>
                  <a:lnTo>
                    <a:pt x="248" y="63"/>
                  </a:lnTo>
                  <a:lnTo>
                    <a:pt x="248" y="64"/>
                  </a:lnTo>
                  <a:lnTo>
                    <a:pt x="248" y="65"/>
                  </a:lnTo>
                  <a:lnTo>
                    <a:pt x="248" y="66"/>
                  </a:lnTo>
                  <a:lnTo>
                    <a:pt x="248" y="68"/>
                  </a:lnTo>
                  <a:lnTo>
                    <a:pt x="247" y="68"/>
                  </a:lnTo>
                  <a:lnTo>
                    <a:pt x="247" y="69"/>
                  </a:lnTo>
                  <a:lnTo>
                    <a:pt x="247" y="70"/>
                  </a:lnTo>
                  <a:lnTo>
                    <a:pt x="246" y="70"/>
                  </a:lnTo>
                  <a:lnTo>
                    <a:pt x="245" y="70"/>
                  </a:lnTo>
                  <a:lnTo>
                    <a:pt x="245" y="71"/>
                  </a:lnTo>
                  <a:lnTo>
                    <a:pt x="245" y="70"/>
                  </a:lnTo>
                  <a:lnTo>
                    <a:pt x="246" y="71"/>
                  </a:lnTo>
                  <a:lnTo>
                    <a:pt x="247" y="71"/>
                  </a:lnTo>
                  <a:lnTo>
                    <a:pt x="248" y="71"/>
                  </a:lnTo>
                  <a:lnTo>
                    <a:pt x="250" y="71"/>
                  </a:lnTo>
                  <a:lnTo>
                    <a:pt x="250" y="72"/>
                  </a:lnTo>
                  <a:lnTo>
                    <a:pt x="250" y="74"/>
                  </a:lnTo>
                  <a:lnTo>
                    <a:pt x="251" y="72"/>
                  </a:lnTo>
                  <a:lnTo>
                    <a:pt x="252" y="72"/>
                  </a:lnTo>
                  <a:lnTo>
                    <a:pt x="253" y="72"/>
                  </a:lnTo>
                  <a:lnTo>
                    <a:pt x="253" y="74"/>
                  </a:lnTo>
                  <a:lnTo>
                    <a:pt x="255" y="74"/>
                  </a:lnTo>
                  <a:lnTo>
                    <a:pt x="255" y="75"/>
                  </a:lnTo>
                  <a:lnTo>
                    <a:pt x="255" y="76"/>
                  </a:lnTo>
                  <a:lnTo>
                    <a:pt x="255" y="75"/>
                  </a:lnTo>
                  <a:lnTo>
                    <a:pt x="256" y="75"/>
                  </a:lnTo>
                  <a:lnTo>
                    <a:pt x="257" y="75"/>
                  </a:lnTo>
                  <a:lnTo>
                    <a:pt x="258" y="75"/>
                  </a:lnTo>
                  <a:lnTo>
                    <a:pt x="258" y="76"/>
                  </a:lnTo>
                  <a:lnTo>
                    <a:pt x="257" y="77"/>
                  </a:lnTo>
                  <a:lnTo>
                    <a:pt x="257" y="78"/>
                  </a:lnTo>
                  <a:lnTo>
                    <a:pt x="258" y="78"/>
                  </a:lnTo>
                  <a:lnTo>
                    <a:pt x="259" y="78"/>
                  </a:lnTo>
                  <a:lnTo>
                    <a:pt x="259" y="77"/>
                  </a:lnTo>
                  <a:lnTo>
                    <a:pt x="261" y="77"/>
                  </a:lnTo>
                  <a:lnTo>
                    <a:pt x="262" y="77"/>
                  </a:lnTo>
                  <a:lnTo>
                    <a:pt x="263" y="77"/>
                  </a:lnTo>
                  <a:lnTo>
                    <a:pt x="263" y="78"/>
                  </a:lnTo>
                  <a:lnTo>
                    <a:pt x="264" y="78"/>
                  </a:lnTo>
                  <a:lnTo>
                    <a:pt x="265" y="78"/>
                  </a:lnTo>
                  <a:lnTo>
                    <a:pt x="267" y="78"/>
                  </a:lnTo>
                  <a:lnTo>
                    <a:pt x="267" y="80"/>
                  </a:lnTo>
                  <a:lnTo>
                    <a:pt x="267" y="78"/>
                  </a:lnTo>
                  <a:lnTo>
                    <a:pt x="268" y="78"/>
                  </a:lnTo>
                  <a:lnTo>
                    <a:pt x="269" y="78"/>
                  </a:lnTo>
                  <a:lnTo>
                    <a:pt x="269" y="80"/>
                  </a:lnTo>
                  <a:lnTo>
                    <a:pt x="268" y="80"/>
                  </a:lnTo>
                  <a:lnTo>
                    <a:pt x="268" y="81"/>
                  </a:lnTo>
                  <a:lnTo>
                    <a:pt x="268" y="82"/>
                  </a:lnTo>
                  <a:lnTo>
                    <a:pt x="267" y="82"/>
                  </a:lnTo>
                  <a:lnTo>
                    <a:pt x="265" y="83"/>
                  </a:lnTo>
                  <a:lnTo>
                    <a:pt x="267" y="84"/>
                  </a:lnTo>
                  <a:lnTo>
                    <a:pt x="267" y="83"/>
                  </a:lnTo>
                  <a:lnTo>
                    <a:pt x="268" y="83"/>
                  </a:lnTo>
                  <a:lnTo>
                    <a:pt x="269" y="83"/>
                  </a:lnTo>
                  <a:lnTo>
                    <a:pt x="269" y="82"/>
                  </a:lnTo>
                  <a:lnTo>
                    <a:pt x="270" y="82"/>
                  </a:lnTo>
                  <a:lnTo>
                    <a:pt x="270" y="81"/>
                  </a:lnTo>
                  <a:lnTo>
                    <a:pt x="270" y="82"/>
                  </a:lnTo>
                  <a:lnTo>
                    <a:pt x="271" y="82"/>
                  </a:lnTo>
                  <a:lnTo>
                    <a:pt x="271" y="81"/>
                  </a:lnTo>
                  <a:lnTo>
                    <a:pt x="273" y="81"/>
                  </a:lnTo>
                  <a:lnTo>
                    <a:pt x="273" y="80"/>
                  </a:lnTo>
                  <a:lnTo>
                    <a:pt x="273" y="81"/>
                  </a:lnTo>
                  <a:lnTo>
                    <a:pt x="274" y="81"/>
                  </a:lnTo>
                  <a:lnTo>
                    <a:pt x="273" y="81"/>
                  </a:lnTo>
                  <a:lnTo>
                    <a:pt x="273" y="83"/>
                  </a:lnTo>
                  <a:lnTo>
                    <a:pt x="274" y="83"/>
                  </a:lnTo>
                  <a:lnTo>
                    <a:pt x="275" y="83"/>
                  </a:lnTo>
                  <a:lnTo>
                    <a:pt x="275" y="82"/>
                  </a:lnTo>
                  <a:lnTo>
                    <a:pt x="275" y="83"/>
                  </a:lnTo>
                  <a:lnTo>
                    <a:pt x="275" y="84"/>
                  </a:lnTo>
                  <a:lnTo>
                    <a:pt x="275" y="86"/>
                  </a:lnTo>
                  <a:lnTo>
                    <a:pt x="274" y="86"/>
                  </a:lnTo>
                  <a:lnTo>
                    <a:pt x="273" y="86"/>
                  </a:lnTo>
                  <a:lnTo>
                    <a:pt x="273" y="87"/>
                  </a:lnTo>
                  <a:lnTo>
                    <a:pt x="271" y="86"/>
                  </a:lnTo>
                  <a:lnTo>
                    <a:pt x="271" y="87"/>
                  </a:lnTo>
                  <a:lnTo>
                    <a:pt x="273" y="87"/>
                  </a:lnTo>
                  <a:lnTo>
                    <a:pt x="271" y="87"/>
                  </a:lnTo>
                  <a:lnTo>
                    <a:pt x="271" y="88"/>
                  </a:lnTo>
                  <a:lnTo>
                    <a:pt x="270" y="88"/>
                  </a:lnTo>
                  <a:lnTo>
                    <a:pt x="269" y="88"/>
                  </a:lnTo>
                  <a:lnTo>
                    <a:pt x="268" y="88"/>
                  </a:lnTo>
                  <a:lnTo>
                    <a:pt x="267" y="88"/>
                  </a:lnTo>
                  <a:lnTo>
                    <a:pt x="267" y="89"/>
                  </a:lnTo>
                  <a:lnTo>
                    <a:pt x="267" y="90"/>
                  </a:lnTo>
                  <a:lnTo>
                    <a:pt x="265" y="90"/>
                  </a:lnTo>
                  <a:lnTo>
                    <a:pt x="264" y="90"/>
                  </a:lnTo>
                  <a:lnTo>
                    <a:pt x="264" y="92"/>
                  </a:lnTo>
                  <a:lnTo>
                    <a:pt x="263" y="92"/>
                  </a:lnTo>
                  <a:lnTo>
                    <a:pt x="263" y="93"/>
                  </a:lnTo>
                  <a:lnTo>
                    <a:pt x="262" y="93"/>
                  </a:lnTo>
                  <a:lnTo>
                    <a:pt x="262" y="94"/>
                  </a:lnTo>
                  <a:lnTo>
                    <a:pt x="261" y="94"/>
                  </a:lnTo>
                  <a:lnTo>
                    <a:pt x="262" y="94"/>
                  </a:lnTo>
                  <a:lnTo>
                    <a:pt x="263" y="94"/>
                  </a:lnTo>
                  <a:lnTo>
                    <a:pt x="264" y="94"/>
                  </a:lnTo>
                  <a:lnTo>
                    <a:pt x="265" y="94"/>
                  </a:lnTo>
                  <a:lnTo>
                    <a:pt x="265" y="95"/>
                  </a:lnTo>
                  <a:lnTo>
                    <a:pt x="267" y="95"/>
                  </a:lnTo>
                  <a:lnTo>
                    <a:pt x="268" y="95"/>
                  </a:lnTo>
                  <a:lnTo>
                    <a:pt x="268" y="94"/>
                  </a:lnTo>
                  <a:lnTo>
                    <a:pt x="268" y="95"/>
                  </a:lnTo>
                  <a:lnTo>
                    <a:pt x="268" y="96"/>
                  </a:lnTo>
                  <a:lnTo>
                    <a:pt x="269" y="95"/>
                  </a:lnTo>
                  <a:lnTo>
                    <a:pt x="270" y="95"/>
                  </a:lnTo>
                  <a:lnTo>
                    <a:pt x="270" y="94"/>
                  </a:lnTo>
                  <a:lnTo>
                    <a:pt x="271" y="94"/>
                  </a:lnTo>
                  <a:lnTo>
                    <a:pt x="273" y="94"/>
                  </a:lnTo>
                  <a:lnTo>
                    <a:pt x="273" y="95"/>
                  </a:lnTo>
                  <a:lnTo>
                    <a:pt x="273" y="96"/>
                  </a:lnTo>
                  <a:lnTo>
                    <a:pt x="274" y="96"/>
                  </a:lnTo>
                  <a:lnTo>
                    <a:pt x="275" y="96"/>
                  </a:lnTo>
                  <a:lnTo>
                    <a:pt x="276" y="96"/>
                  </a:lnTo>
                  <a:lnTo>
                    <a:pt x="277" y="96"/>
                  </a:lnTo>
                  <a:lnTo>
                    <a:pt x="279" y="96"/>
                  </a:lnTo>
                  <a:lnTo>
                    <a:pt x="280" y="95"/>
                  </a:lnTo>
                  <a:lnTo>
                    <a:pt x="280" y="96"/>
                  </a:lnTo>
                  <a:lnTo>
                    <a:pt x="281" y="96"/>
                  </a:lnTo>
                  <a:lnTo>
                    <a:pt x="281" y="98"/>
                  </a:lnTo>
                  <a:lnTo>
                    <a:pt x="281" y="96"/>
                  </a:lnTo>
                  <a:lnTo>
                    <a:pt x="281" y="95"/>
                  </a:lnTo>
                  <a:lnTo>
                    <a:pt x="282" y="95"/>
                  </a:lnTo>
                  <a:lnTo>
                    <a:pt x="282" y="96"/>
                  </a:lnTo>
                  <a:lnTo>
                    <a:pt x="282" y="95"/>
                  </a:lnTo>
                  <a:lnTo>
                    <a:pt x="283" y="96"/>
                  </a:lnTo>
                  <a:lnTo>
                    <a:pt x="282" y="96"/>
                  </a:lnTo>
                  <a:lnTo>
                    <a:pt x="282" y="98"/>
                  </a:lnTo>
                  <a:lnTo>
                    <a:pt x="282" y="99"/>
                  </a:lnTo>
                  <a:lnTo>
                    <a:pt x="283" y="99"/>
                  </a:lnTo>
                  <a:lnTo>
                    <a:pt x="283" y="100"/>
                  </a:lnTo>
                  <a:lnTo>
                    <a:pt x="285" y="100"/>
                  </a:lnTo>
                  <a:lnTo>
                    <a:pt x="285" y="101"/>
                  </a:lnTo>
                  <a:lnTo>
                    <a:pt x="283" y="101"/>
                  </a:lnTo>
                  <a:lnTo>
                    <a:pt x="282" y="101"/>
                  </a:lnTo>
                  <a:lnTo>
                    <a:pt x="282" y="102"/>
                  </a:lnTo>
                  <a:lnTo>
                    <a:pt x="281" y="104"/>
                  </a:lnTo>
                  <a:lnTo>
                    <a:pt x="281" y="105"/>
                  </a:lnTo>
                  <a:lnTo>
                    <a:pt x="282" y="105"/>
                  </a:lnTo>
                  <a:lnTo>
                    <a:pt x="281" y="105"/>
                  </a:lnTo>
                  <a:lnTo>
                    <a:pt x="282" y="106"/>
                  </a:lnTo>
                  <a:lnTo>
                    <a:pt x="283" y="106"/>
                  </a:lnTo>
                  <a:lnTo>
                    <a:pt x="285" y="105"/>
                  </a:lnTo>
                  <a:lnTo>
                    <a:pt x="286" y="105"/>
                  </a:lnTo>
                  <a:lnTo>
                    <a:pt x="286" y="104"/>
                  </a:lnTo>
                  <a:lnTo>
                    <a:pt x="286" y="105"/>
                  </a:lnTo>
                  <a:lnTo>
                    <a:pt x="286" y="104"/>
                  </a:lnTo>
                  <a:lnTo>
                    <a:pt x="287" y="104"/>
                  </a:lnTo>
                  <a:lnTo>
                    <a:pt x="287" y="102"/>
                  </a:lnTo>
                  <a:lnTo>
                    <a:pt x="288" y="102"/>
                  </a:lnTo>
                  <a:lnTo>
                    <a:pt x="289" y="102"/>
                  </a:lnTo>
                  <a:lnTo>
                    <a:pt x="289" y="101"/>
                  </a:lnTo>
                  <a:lnTo>
                    <a:pt x="291" y="101"/>
                  </a:lnTo>
                  <a:lnTo>
                    <a:pt x="291" y="102"/>
                  </a:lnTo>
                  <a:lnTo>
                    <a:pt x="291" y="104"/>
                  </a:lnTo>
                  <a:lnTo>
                    <a:pt x="291" y="105"/>
                  </a:lnTo>
                  <a:lnTo>
                    <a:pt x="289" y="106"/>
                  </a:lnTo>
                  <a:lnTo>
                    <a:pt x="288" y="106"/>
                  </a:lnTo>
                  <a:lnTo>
                    <a:pt x="287" y="106"/>
                  </a:lnTo>
                  <a:lnTo>
                    <a:pt x="286" y="107"/>
                  </a:lnTo>
                  <a:lnTo>
                    <a:pt x="287" y="108"/>
                  </a:lnTo>
                  <a:lnTo>
                    <a:pt x="286" y="108"/>
                  </a:lnTo>
                  <a:lnTo>
                    <a:pt x="285" y="108"/>
                  </a:lnTo>
                  <a:lnTo>
                    <a:pt x="283" y="110"/>
                  </a:lnTo>
                  <a:lnTo>
                    <a:pt x="283" y="111"/>
                  </a:lnTo>
                  <a:lnTo>
                    <a:pt x="282" y="112"/>
                  </a:lnTo>
                  <a:lnTo>
                    <a:pt x="281" y="112"/>
                  </a:lnTo>
                  <a:lnTo>
                    <a:pt x="280" y="111"/>
                  </a:lnTo>
                  <a:lnTo>
                    <a:pt x="279" y="112"/>
                  </a:lnTo>
                  <a:lnTo>
                    <a:pt x="277" y="112"/>
                  </a:lnTo>
                  <a:lnTo>
                    <a:pt x="279" y="113"/>
                  </a:lnTo>
                  <a:lnTo>
                    <a:pt x="280" y="113"/>
                  </a:lnTo>
                  <a:lnTo>
                    <a:pt x="280" y="114"/>
                  </a:lnTo>
                  <a:lnTo>
                    <a:pt x="281" y="116"/>
                  </a:lnTo>
                  <a:lnTo>
                    <a:pt x="282" y="117"/>
                  </a:lnTo>
                  <a:lnTo>
                    <a:pt x="283" y="117"/>
                  </a:lnTo>
                  <a:lnTo>
                    <a:pt x="285" y="117"/>
                  </a:lnTo>
                  <a:lnTo>
                    <a:pt x="286" y="117"/>
                  </a:lnTo>
                  <a:lnTo>
                    <a:pt x="286" y="118"/>
                  </a:lnTo>
                  <a:lnTo>
                    <a:pt x="285" y="118"/>
                  </a:lnTo>
                  <a:lnTo>
                    <a:pt x="285" y="119"/>
                  </a:lnTo>
                  <a:lnTo>
                    <a:pt x="286" y="118"/>
                  </a:lnTo>
                  <a:lnTo>
                    <a:pt x="286" y="119"/>
                  </a:lnTo>
                  <a:lnTo>
                    <a:pt x="286" y="120"/>
                  </a:lnTo>
                  <a:lnTo>
                    <a:pt x="283" y="123"/>
                  </a:lnTo>
                  <a:lnTo>
                    <a:pt x="285" y="123"/>
                  </a:lnTo>
                  <a:lnTo>
                    <a:pt x="285" y="125"/>
                  </a:lnTo>
                  <a:lnTo>
                    <a:pt x="285" y="126"/>
                  </a:lnTo>
                  <a:lnTo>
                    <a:pt x="285" y="128"/>
                  </a:lnTo>
                  <a:lnTo>
                    <a:pt x="286" y="126"/>
                  </a:lnTo>
                  <a:lnTo>
                    <a:pt x="287" y="128"/>
                  </a:lnTo>
                  <a:lnTo>
                    <a:pt x="287" y="129"/>
                  </a:lnTo>
                  <a:lnTo>
                    <a:pt x="288" y="129"/>
                  </a:lnTo>
                  <a:lnTo>
                    <a:pt x="289" y="129"/>
                  </a:lnTo>
                  <a:lnTo>
                    <a:pt x="291" y="129"/>
                  </a:lnTo>
                  <a:lnTo>
                    <a:pt x="292" y="129"/>
                  </a:lnTo>
                  <a:lnTo>
                    <a:pt x="293" y="129"/>
                  </a:lnTo>
                  <a:lnTo>
                    <a:pt x="294" y="129"/>
                  </a:lnTo>
                  <a:lnTo>
                    <a:pt x="294" y="130"/>
                  </a:lnTo>
                  <a:lnTo>
                    <a:pt x="295" y="130"/>
                  </a:lnTo>
                  <a:lnTo>
                    <a:pt x="297" y="130"/>
                  </a:lnTo>
                  <a:lnTo>
                    <a:pt x="299" y="130"/>
                  </a:lnTo>
                  <a:lnTo>
                    <a:pt x="299" y="129"/>
                  </a:lnTo>
                  <a:lnTo>
                    <a:pt x="299" y="130"/>
                  </a:lnTo>
                  <a:lnTo>
                    <a:pt x="299" y="131"/>
                  </a:lnTo>
                  <a:lnTo>
                    <a:pt x="298" y="132"/>
                  </a:lnTo>
                  <a:lnTo>
                    <a:pt x="298" y="134"/>
                  </a:lnTo>
                  <a:lnTo>
                    <a:pt x="299" y="134"/>
                  </a:lnTo>
                  <a:lnTo>
                    <a:pt x="300" y="134"/>
                  </a:lnTo>
                  <a:lnTo>
                    <a:pt x="301" y="134"/>
                  </a:lnTo>
                  <a:lnTo>
                    <a:pt x="301" y="135"/>
                  </a:lnTo>
                  <a:lnTo>
                    <a:pt x="303" y="134"/>
                  </a:lnTo>
                  <a:lnTo>
                    <a:pt x="304" y="135"/>
                  </a:lnTo>
                  <a:lnTo>
                    <a:pt x="304" y="134"/>
                  </a:lnTo>
                  <a:lnTo>
                    <a:pt x="306" y="135"/>
                  </a:lnTo>
                  <a:lnTo>
                    <a:pt x="306" y="136"/>
                  </a:lnTo>
                  <a:lnTo>
                    <a:pt x="305" y="136"/>
                  </a:lnTo>
                  <a:lnTo>
                    <a:pt x="304" y="138"/>
                  </a:lnTo>
                  <a:lnTo>
                    <a:pt x="303" y="138"/>
                  </a:lnTo>
                  <a:lnTo>
                    <a:pt x="301" y="138"/>
                  </a:lnTo>
                  <a:lnTo>
                    <a:pt x="300" y="140"/>
                  </a:lnTo>
                  <a:lnTo>
                    <a:pt x="299" y="141"/>
                  </a:lnTo>
                  <a:lnTo>
                    <a:pt x="298" y="141"/>
                  </a:lnTo>
                  <a:lnTo>
                    <a:pt x="297" y="141"/>
                  </a:lnTo>
                  <a:lnTo>
                    <a:pt x="295" y="141"/>
                  </a:lnTo>
                  <a:lnTo>
                    <a:pt x="294" y="141"/>
                  </a:lnTo>
                  <a:lnTo>
                    <a:pt x="293" y="141"/>
                  </a:lnTo>
                  <a:lnTo>
                    <a:pt x="292" y="141"/>
                  </a:lnTo>
                  <a:lnTo>
                    <a:pt x="292" y="140"/>
                  </a:lnTo>
                  <a:lnTo>
                    <a:pt x="291" y="140"/>
                  </a:lnTo>
                  <a:lnTo>
                    <a:pt x="289" y="140"/>
                  </a:lnTo>
                  <a:lnTo>
                    <a:pt x="289" y="138"/>
                  </a:lnTo>
                  <a:lnTo>
                    <a:pt x="289" y="137"/>
                  </a:lnTo>
                  <a:lnTo>
                    <a:pt x="287" y="137"/>
                  </a:lnTo>
                  <a:lnTo>
                    <a:pt x="288" y="138"/>
                  </a:lnTo>
                  <a:lnTo>
                    <a:pt x="289" y="140"/>
                  </a:lnTo>
                  <a:lnTo>
                    <a:pt x="289" y="141"/>
                  </a:lnTo>
                  <a:lnTo>
                    <a:pt x="288" y="141"/>
                  </a:lnTo>
                  <a:lnTo>
                    <a:pt x="288" y="142"/>
                  </a:lnTo>
                  <a:lnTo>
                    <a:pt x="287" y="142"/>
                  </a:lnTo>
                  <a:lnTo>
                    <a:pt x="286" y="142"/>
                  </a:lnTo>
                  <a:lnTo>
                    <a:pt x="286" y="141"/>
                  </a:lnTo>
                  <a:lnTo>
                    <a:pt x="285" y="141"/>
                  </a:lnTo>
                  <a:lnTo>
                    <a:pt x="285" y="140"/>
                  </a:lnTo>
                  <a:lnTo>
                    <a:pt x="283" y="140"/>
                  </a:lnTo>
                  <a:lnTo>
                    <a:pt x="283" y="138"/>
                  </a:lnTo>
                  <a:lnTo>
                    <a:pt x="282" y="138"/>
                  </a:lnTo>
                  <a:lnTo>
                    <a:pt x="282" y="140"/>
                  </a:lnTo>
                  <a:lnTo>
                    <a:pt x="281" y="138"/>
                  </a:lnTo>
                  <a:lnTo>
                    <a:pt x="279" y="137"/>
                  </a:lnTo>
                  <a:lnTo>
                    <a:pt x="277" y="137"/>
                  </a:lnTo>
                  <a:lnTo>
                    <a:pt x="277" y="138"/>
                  </a:lnTo>
                  <a:lnTo>
                    <a:pt x="276" y="138"/>
                  </a:lnTo>
                  <a:lnTo>
                    <a:pt x="275" y="138"/>
                  </a:lnTo>
                  <a:lnTo>
                    <a:pt x="273" y="138"/>
                  </a:lnTo>
                  <a:lnTo>
                    <a:pt x="273" y="137"/>
                  </a:lnTo>
                  <a:lnTo>
                    <a:pt x="273" y="138"/>
                  </a:lnTo>
                  <a:lnTo>
                    <a:pt x="271" y="138"/>
                  </a:lnTo>
                  <a:lnTo>
                    <a:pt x="270" y="138"/>
                  </a:lnTo>
                  <a:lnTo>
                    <a:pt x="269" y="140"/>
                  </a:lnTo>
                  <a:lnTo>
                    <a:pt x="268" y="141"/>
                  </a:lnTo>
                  <a:lnTo>
                    <a:pt x="267" y="140"/>
                  </a:lnTo>
                  <a:lnTo>
                    <a:pt x="267" y="138"/>
                  </a:lnTo>
                  <a:lnTo>
                    <a:pt x="267" y="137"/>
                  </a:lnTo>
                  <a:lnTo>
                    <a:pt x="265" y="137"/>
                  </a:lnTo>
                  <a:lnTo>
                    <a:pt x="264" y="137"/>
                  </a:lnTo>
                  <a:lnTo>
                    <a:pt x="264" y="138"/>
                  </a:lnTo>
                  <a:lnTo>
                    <a:pt x="263" y="137"/>
                  </a:lnTo>
                  <a:lnTo>
                    <a:pt x="263" y="138"/>
                  </a:lnTo>
                  <a:lnTo>
                    <a:pt x="263" y="140"/>
                  </a:lnTo>
                  <a:lnTo>
                    <a:pt x="263" y="141"/>
                  </a:lnTo>
                  <a:lnTo>
                    <a:pt x="263" y="140"/>
                  </a:lnTo>
                  <a:lnTo>
                    <a:pt x="264" y="140"/>
                  </a:lnTo>
                  <a:lnTo>
                    <a:pt x="264" y="141"/>
                  </a:lnTo>
                  <a:lnTo>
                    <a:pt x="264" y="142"/>
                  </a:lnTo>
                  <a:lnTo>
                    <a:pt x="264" y="141"/>
                  </a:lnTo>
                  <a:lnTo>
                    <a:pt x="264" y="142"/>
                  </a:lnTo>
                  <a:lnTo>
                    <a:pt x="264" y="143"/>
                  </a:lnTo>
                  <a:lnTo>
                    <a:pt x="265" y="143"/>
                  </a:lnTo>
                  <a:lnTo>
                    <a:pt x="264" y="144"/>
                  </a:lnTo>
                  <a:lnTo>
                    <a:pt x="265" y="144"/>
                  </a:lnTo>
                  <a:lnTo>
                    <a:pt x="265" y="143"/>
                  </a:lnTo>
                  <a:lnTo>
                    <a:pt x="267" y="144"/>
                  </a:lnTo>
                  <a:lnTo>
                    <a:pt x="264" y="144"/>
                  </a:lnTo>
                  <a:lnTo>
                    <a:pt x="265" y="146"/>
                  </a:lnTo>
                  <a:lnTo>
                    <a:pt x="265" y="144"/>
                  </a:lnTo>
                  <a:lnTo>
                    <a:pt x="267" y="146"/>
                  </a:lnTo>
                  <a:lnTo>
                    <a:pt x="268" y="146"/>
                  </a:lnTo>
                  <a:lnTo>
                    <a:pt x="269" y="146"/>
                  </a:lnTo>
                  <a:lnTo>
                    <a:pt x="270" y="147"/>
                  </a:lnTo>
                  <a:lnTo>
                    <a:pt x="270" y="148"/>
                  </a:lnTo>
                  <a:lnTo>
                    <a:pt x="271" y="148"/>
                  </a:lnTo>
                  <a:lnTo>
                    <a:pt x="271" y="149"/>
                  </a:lnTo>
                  <a:lnTo>
                    <a:pt x="273" y="151"/>
                  </a:lnTo>
                  <a:lnTo>
                    <a:pt x="274" y="152"/>
                  </a:lnTo>
                  <a:lnTo>
                    <a:pt x="275" y="152"/>
                  </a:lnTo>
                  <a:lnTo>
                    <a:pt x="275" y="153"/>
                  </a:lnTo>
                  <a:lnTo>
                    <a:pt x="276" y="153"/>
                  </a:lnTo>
                  <a:lnTo>
                    <a:pt x="276" y="154"/>
                  </a:lnTo>
                  <a:lnTo>
                    <a:pt x="277" y="154"/>
                  </a:lnTo>
                  <a:lnTo>
                    <a:pt x="277" y="153"/>
                  </a:lnTo>
                  <a:lnTo>
                    <a:pt x="279" y="154"/>
                  </a:lnTo>
                  <a:lnTo>
                    <a:pt x="280" y="154"/>
                  </a:lnTo>
                  <a:lnTo>
                    <a:pt x="280" y="155"/>
                  </a:lnTo>
                  <a:lnTo>
                    <a:pt x="281" y="155"/>
                  </a:lnTo>
                  <a:lnTo>
                    <a:pt x="282" y="155"/>
                  </a:lnTo>
                  <a:lnTo>
                    <a:pt x="283" y="155"/>
                  </a:lnTo>
                  <a:lnTo>
                    <a:pt x="283" y="157"/>
                  </a:lnTo>
                  <a:lnTo>
                    <a:pt x="285" y="158"/>
                  </a:lnTo>
                  <a:lnTo>
                    <a:pt x="286" y="158"/>
                  </a:lnTo>
                  <a:lnTo>
                    <a:pt x="285" y="159"/>
                  </a:lnTo>
                  <a:lnTo>
                    <a:pt x="285" y="160"/>
                  </a:lnTo>
                  <a:lnTo>
                    <a:pt x="286" y="160"/>
                  </a:lnTo>
                  <a:lnTo>
                    <a:pt x="286" y="161"/>
                  </a:lnTo>
                  <a:lnTo>
                    <a:pt x="287" y="161"/>
                  </a:lnTo>
                  <a:lnTo>
                    <a:pt x="289" y="161"/>
                  </a:lnTo>
                  <a:lnTo>
                    <a:pt x="291" y="161"/>
                  </a:lnTo>
                  <a:lnTo>
                    <a:pt x="291" y="163"/>
                  </a:lnTo>
                  <a:lnTo>
                    <a:pt x="292" y="163"/>
                  </a:lnTo>
                  <a:lnTo>
                    <a:pt x="293" y="163"/>
                  </a:lnTo>
                  <a:lnTo>
                    <a:pt x="294" y="163"/>
                  </a:lnTo>
                  <a:lnTo>
                    <a:pt x="295" y="163"/>
                  </a:lnTo>
                  <a:lnTo>
                    <a:pt x="295" y="164"/>
                  </a:lnTo>
                  <a:lnTo>
                    <a:pt x="297" y="164"/>
                  </a:lnTo>
                  <a:lnTo>
                    <a:pt x="298" y="164"/>
                  </a:lnTo>
                  <a:lnTo>
                    <a:pt x="297" y="166"/>
                  </a:lnTo>
                  <a:lnTo>
                    <a:pt x="295" y="166"/>
                  </a:lnTo>
                  <a:lnTo>
                    <a:pt x="297" y="167"/>
                  </a:lnTo>
                  <a:lnTo>
                    <a:pt x="298" y="167"/>
                  </a:lnTo>
                  <a:lnTo>
                    <a:pt x="298" y="169"/>
                  </a:lnTo>
                  <a:lnTo>
                    <a:pt x="299" y="169"/>
                  </a:lnTo>
                  <a:lnTo>
                    <a:pt x="300" y="169"/>
                  </a:lnTo>
                  <a:lnTo>
                    <a:pt x="299" y="170"/>
                  </a:lnTo>
                  <a:lnTo>
                    <a:pt x="300" y="171"/>
                  </a:lnTo>
                  <a:lnTo>
                    <a:pt x="301" y="171"/>
                  </a:lnTo>
                  <a:lnTo>
                    <a:pt x="303" y="171"/>
                  </a:lnTo>
                  <a:lnTo>
                    <a:pt x="304" y="171"/>
                  </a:lnTo>
                  <a:lnTo>
                    <a:pt x="305" y="171"/>
                  </a:lnTo>
                  <a:lnTo>
                    <a:pt x="306" y="171"/>
                  </a:lnTo>
                  <a:lnTo>
                    <a:pt x="305" y="173"/>
                  </a:lnTo>
                  <a:lnTo>
                    <a:pt x="305" y="175"/>
                  </a:lnTo>
                  <a:lnTo>
                    <a:pt x="304" y="176"/>
                  </a:lnTo>
                  <a:lnTo>
                    <a:pt x="303" y="176"/>
                  </a:lnTo>
                  <a:lnTo>
                    <a:pt x="301" y="176"/>
                  </a:lnTo>
                  <a:lnTo>
                    <a:pt x="303" y="177"/>
                  </a:lnTo>
                  <a:lnTo>
                    <a:pt x="304" y="176"/>
                  </a:lnTo>
                  <a:lnTo>
                    <a:pt x="305" y="177"/>
                  </a:lnTo>
                  <a:lnTo>
                    <a:pt x="306" y="179"/>
                  </a:lnTo>
                  <a:lnTo>
                    <a:pt x="305" y="179"/>
                  </a:lnTo>
                  <a:lnTo>
                    <a:pt x="305" y="181"/>
                  </a:lnTo>
                  <a:lnTo>
                    <a:pt x="304" y="182"/>
                  </a:lnTo>
                  <a:lnTo>
                    <a:pt x="304" y="183"/>
                  </a:lnTo>
                  <a:lnTo>
                    <a:pt x="305" y="183"/>
                  </a:lnTo>
                  <a:lnTo>
                    <a:pt x="305" y="184"/>
                  </a:lnTo>
                  <a:lnTo>
                    <a:pt x="305" y="185"/>
                  </a:lnTo>
                  <a:lnTo>
                    <a:pt x="306" y="185"/>
                  </a:lnTo>
                  <a:lnTo>
                    <a:pt x="306" y="187"/>
                  </a:lnTo>
                  <a:lnTo>
                    <a:pt x="305" y="187"/>
                  </a:lnTo>
                  <a:lnTo>
                    <a:pt x="304" y="187"/>
                  </a:lnTo>
                  <a:lnTo>
                    <a:pt x="303" y="188"/>
                  </a:lnTo>
                  <a:lnTo>
                    <a:pt x="304" y="189"/>
                  </a:lnTo>
                  <a:lnTo>
                    <a:pt x="305" y="190"/>
                  </a:lnTo>
                  <a:lnTo>
                    <a:pt x="305" y="191"/>
                  </a:lnTo>
                  <a:lnTo>
                    <a:pt x="305" y="190"/>
                  </a:lnTo>
                  <a:lnTo>
                    <a:pt x="306" y="190"/>
                  </a:lnTo>
                  <a:lnTo>
                    <a:pt x="306" y="191"/>
                  </a:lnTo>
                  <a:lnTo>
                    <a:pt x="307" y="191"/>
                  </a:lnTo>
                  <a:lnTo>
                    <a:pt x="306" y="193"/>
                  </a:lnTo>
                  <a:lnTo>
                    <a:pt x="305" y="193"/>
                  </a:lnTo>
                  <a:lnTo>
                    <a:pt x="304" y="193"/>
                  </a:lnTo>
                  <a:lnTo>
                    <a:pt x="303" y="193"/>
                  </a:lnTo>
                  <a:lnTo>
                    <a:pt x="301" y="193"/>
                  </a:lnTo>
                  <a:lnTo>
                    <a:pt x="301" y="191"/>
                  </a:lnTo>
                  <a:lnTo>
                    <a:pt x="298" y="191"/>
                  </a:lnTo>
                  <a:lnTo>
                    <a:pt x="298" y="190"/>
                  </a:lnTo>
                  <a:lnTo>
                    <a:pt x="297" y="189"/>
                  </a:lnTo>
                  <a:lnTo>
                    <a:pt x="295" y="188"/>
                  </a:lnTo>
                  <a:lnTo>
                    <a:pt x="295" y="187"/>
                  </a:lnTo>
                  <a:lnTo>
                    <a:pt x="294" y="185"/>
                  </a:lnTo>
                  <a:lnTo>
                    <a:pt x="294" y="184"/>
                  </a:lnTo>
                  <a:lnTo>
                    <a:pt x="293" y="183"/>
                  </a:lnTo>
                  <a:lnTo>
                    <a:pt x="293" y="182"/>
                  </a:lnTo>
                  <a:lnTo>
                    <a:pt x="292" y="182"/>
                  </a:lnTo>
                  <a:lnTo>
                    <a:pt x="292" y="183"/>
                  </a:lnTo>
                  <a:lnTo>
                    <a:pt x="291" y="183"/>
                  </a:lnTo>
                  <a:lnTo>
                    <a:pt x="289" y="182"/>
                  </a:lnTo>
                  <a:lnTo>
                    <a:pt x="288" y="182"/>
                  </a:lnTo>
                  <a:lnTo>
                    <a:pt x="288" y="183"/>
                  </a:lnTo>
                  <a:lnTo>
                    <a:pt x="287" y="183"/>
                  </a:lnTo>
                  <a:lnTo>
                    <a:pt x="285" y="182"/>
                  </a:lnTo>
                  <a:lnTo>
                    <a:pt x="285" y="181"/>
                  </a:lnTo>
                  <a:lnTo>
                    <a:pt x="286" y="181"/>
                  </a:lnTo>
                  <a:lnTo>
                    <a:pt x="286" y="179"/>
                  </a:lnTo>
                  <a:lnTo>
                    <a:pt x="287" y="179"/>
                  </a:lnTo>
                  <a:lnTo>
                    <a:pt x="288" y="179"/>
                  </a:lnTo>
                  <a:lnTo>
                    <a:pt x="287" y="178"/>
                  </a:lnTo>
                  <a:lnTo>
                    <a:pt x="288" y="178"/>
                  </a:lnTo>
                  <a:lnTo>
                    <a:pt x="289" y="178"/>
                  </a:lnTo>
                  <a:lnTo>
                    <a:pt x="289" y="177"/>
                  </a:lnTo>
                  <a:lnTo>
                    <a:pt x="288" y="177"/>
                  </a:lnTo>
                  <a:lnTo>
                    <a:pt x="288" y="176"/>
                  </a:lnTo>
                  <a:lnTo>
                    <a:pt x="287" y="176"/>
                  </a:lnTo>
                  <a:lnTo>
                    <a:pt x="286" y="176"/>
                  </a:lnTo>
                  <a:lnTo>
                    <a:pt x="285" y="176"/>
                  </a:lnTo>
                  <a:lnTo>
                    <a:pt x="283" y="175"/>
                  </a:lnTo>
                  <a:lnTo>
                    <a:pt x="282" y="175"/>
                  </a:lnTo>
                  <a:lnTo>
                    <a:pt x="283" y="175"/>
                  </a:lnTo>
                  <a:lnTo>
                    <a:pt x="282" y="173"/>
                  </a:lnTo>
                  <a:lnTo>
                    <a:pt x="281" y="173"/>
                  </a:lnTo>
                  <a:lnTo>
                    <a:pt x="282" y="172"/>
                  </a:lnTo>
                  <a:lnTo>
                    <a:pt x="281" y="172"/>
                  </a:lnTo>
                  <a:lnTo>
                    <a:pt x="280" y="173"/>
                  </a:lnTo>
                  <a:lnTo>
                    <a:pt x="279" y="173"/>
                  </a:lnTo>
                  <a:lnTo>
                    <a:pt x="277" y="172"/>
                  </a:lnTo>
                  <a:lnTo>
                    <a:pt x="277" y="171"/>
                  </a:lnTo>
                  <a:lnTo>
                    <a:pt x="276" y="171"/>
                  </a:lnTo>
                  <a:lnTo>
                    <a:pt x="275" y="171"/>
                  </a:lnTo>
                  <a:lnTo>
                    <a:pt x="275" y="170"/>
                  </a:lnTo>
                  <a:lnTo>
                    <a:pt x="274" y="170"/>
                  </a:lnTo>
                  <a:lnTo>
                    <a:pt x="273" y="170"/>
                  </a:lnTo>
                  <a:lnTo>
                    <a:pt x="271" y="169"/>
                  </a:lnTo>
                  <a:lnTo>
                    <a:pt x="270" y="169"/>
                  </a:lnTo>
                  <a:lnTo>
                    <a:pt x="270" y="167"/>
                  </a:lnTo>
                  <a:lnTo>
                    <a:pt x="269" y="167"/>
                  </a:lnTo>
                  <a:lnTo>
                    <a:pt x="270" y="166"/>
                  </a:lnTo>
                  <a:lnTo>
                    <a:pt x="270" y="165"/>
                  </a:lnTo>
                  <a:lnTo>
                    <a:pt x="269" y="165"/>
                  </a:lnTo>
                  <a:lnTo>
                    <a:pt x="269" y="164"/>
                  </a:lnTo>
                  <a:lnTo>
                    <a:pt x="268" y="163"/>
                  </a:lnTo>
                  <a:lnTo>
                    <a:pt x="267" y="163"/>
                  </a:lnTo>
                  <a:lnTo>
                    <a:pt x="267" y="164"/>
                  </a:lnTo>
                  <a:lnTo>
                    <a:pt x="267" y="165"/>
                  </a:lnTo>
                  <a:lnTo>
                    <a:pt x="265" y="165"/>
                  </a:lnTo>
                  <a:lnTo>
                    <a:pt x="265" y="166"/>
                  </a:lnTo>
                  <a:lnTo>
                    <a:pt x="267" y="166"/>
                  </a:lnTo>
                  <a:lnTo>
                    <a:pt x="268" y="166"/>
                  </a:lnTo>
                  <a:lnTo>
                    <a:pt x="268" y="167"/>
                  </a:lnTo>
                  <a:lnTo>
                    <a:pt x="269" y="167"/>
                  </a:lnTo>
                  <a:lnTo>
                    <a:pt x="269" y="169"/>
                  </a:lnTo>
                  <a:lnTo>
                    <a:pt x="269" y="170"/>
                  </a:lnTo>
                  <a:lnTo>
                    <a:pt x="270" y="171"/>
                  </a:lnTo>
                  <a:lnTo>
                    <a:pt x="269" y="171"/>
                  </a:lnTo>
                  <a:lnTo>
                    <a:pt x="268" y="171"/>
                  </a:lnTo>
                  <a:lnTo>
                    <a:pt x="267" y="170"/>
                  </a:lnTo>
                  <a:lnTo>
                    <a:pt x="265" y="170"/>
                  </a:lnTo>
                  <a:lnTo>
                    <a:pt x="265" y="169"/>
                  </a:lnTo>
                  <a:lnTo>
                    <a:pt x="263" y="169"/>
                  </a:lnTo>
                  <a:lnTo>
                    <a:pt x="262" y="169"/>
                  </a:lnTo>
                  <a:lnTo>
                    <a:pt x="261" y="169"/>
                  </a:lnTo>
                  <a:lnTo>
                    <a:pt x="261" y="167"/>
                  </a:lnTo>
                  <a:lnTo>
                    <a:pt x="259" y="167"/>
                  </a:lnTo>
                  <a:lnTo>
                    <a:pt x="258" y="167"/>
                  </a:lnTo>
                  <a:lnTo>
                    <a:pt x="257" y="167"/>
                  </a:lnTo>
                  <a:lnTo>
                    <a:pt x="255" y="167"/>
                  </a:lnTo>
                  <a:lnTo>
                    <a:pt x="255" y="166"/>
                  </a:lnTo>
                  <a:lnTo>
                    <a:pt x="253" y="166"/>
                  </a:lnTo>
                  <a:lnTo>
                    <a:pt x="255" y="166"/>
                  </a:lnTo>
                  <a:lnTo>
                    <a:pt x="252" y="165"/>
                  </a:lnTo>
                  <a:lnTo>
                    <a:pt x="250" y="163"/>
                  </a:lnTo>
                  <a:lnTo>
                    <a:pt x="250" y="161"/>
                  </a:lnTo>
                  <a:lnTo>
                    <a:pt x="251" y="160"/>
                  </a:lnTo>
                  <a:lnTo>
                    <a:pt x="251" y="159"/>
                  </a:lnTo>
                  <a:lnTo>
                    <a:pt x="251" y="160"/>
                  </a:lnTo>
                  <a:lnTo>
                    <a:pt x="250" y="160"/>
                  </a:lnTo>
                  <a:lnTo>
                    <a:pt x="250" y="161"/>
                  </a:lnTo>
                  <a:lnTo>
                    <a:pt x="248" y="161"/>
                  </a:lnTo>
                  <a:lnTo>
                    <a:pt x="247" y="161"/>
                  </a:lnTo>
                  <a:lnTo>
                    <a:pt x="247" y="160"/>
                  </a:lnTo>
                  <a:lnTo>
                    <a:pt x="246" y="161"/>
                  </a:lnTo>
                  <a:lnTo>
                    <a:pt x="245" y="163"/>
                  </a:lnTo>
                  <a:lnTo>
                    <a:pt x="244" y="163"/>
                  </a:lnTo>
                  <a:lnTo>
                    <a:pt x="242" y="163"/>
                  </a:lnTo>
                  <a:lnTo>
                    <a:pt x="241" y="163"/>
                  </a:lnTo>
                  <a:lnTo>
                    <a:pt x="241" y="164"/>
                  </a:lnTo>
                  <a:lnTo>
                    <a:pt x="241" y="165"/>
                  </a:lnTo>
                  <a:lnTo>
                    <a:pt x="242" y="165"/>
                  </a:lnTo>
                  <a:lnTo>
                    <a:pt x="244" y="165"/>
                  </a:lnTo>
                  <a:lnTo>
                    <a:pt x="245" y="165"/>
                  </a:lnTo>
                  <a:lnTo>
                    <a:pt x="245" y="164"/>
                  </a:lnTo>
                  <a:lnTo>
                    <a:pt x="246" y="164"/>
                  </a:lnTo>
                  <a:lnTo>
                    <a:pt x="247" y="164"/>
                  </a:lnTo>
                  <a:lnTo>
                    <a:pt x="247" y="165"/>
                  </a:lnTo>
                  <a:lnTo>
                    <a:pt x="246" y="165"/>
                  </a:lnTo>
                  <a:lnTo>
                    <a:pt x="246" y="166"/>
                  </a:lnTo>
                  <a:lnTo>
                    <a:pt x="246" y="167"/>
                  </a:lnTo>
                  <a:lnTo>
                    <a:pt x="246" y="169"/>
                  </a:lnTo>
                  <a:lnTo>
                    <a:pt x="246" y="167"/>
                  </a:lnTo>
                  <a:lnTo>
                    <a:pt x="245" y="167"/>
                  </a:lnTo>
                  <a:lnTo>
                    <a:pt x="244" y="167"/>
                  </a:lnTo>
                  <a:lnTo>
                    <a:pt x="244" y="166"/>
                  </a:lnTo>
                  <a:lnTo>
                    <a:pt x="244" y="167"/>
                  </a:lnTo>
                  <a:lnTo>
                    <a:pt x="244" y="169"/>
                  </a:lnTo>
                  <a:lnTo>
                    <a:pt x="245" y="169"/>
                  </a:lnTo>
                  <a:lnTo>
                    <a:pt x="246" y="169"/>
                  </a:lnTo>
                  <a:lnTo>
                    <a:pt x="246" y="170"/>
                  </a:lnTo>
                  <a:lnTo>
                    <a:pt x="247" y="170"/>
                  </a:lnTo>
                  <a:lnTo>
                    <a:pt x="248" y="170"/>
                  </a:lnTo>
                  <a:lnTo>
                    <a:pt x="250" y="169"/>
                  </a:lnTo>
                  <a:lnTo>
                    <a:pt x="251" y="169"/>
                  </a:lnTo>
                  <a:lnTo>
                    <a:pt x="252" y="169"/>
                  </a:lnTo>
                  <a:lnTo>
                    <a:pt x="251" y="170"/>
                  </a:lnTo>
                  <a:lnTo>
                    <a:pt x="252" y="170"/>
                  </a:lnTo>
                  <a:lnTo>
                    <a:pt x="251" y="171"/>
                  </a:lnTo>
                  <a:lnTo>
                    <a:pt x="252" y="172"/>
                  </a:lnTo>
                  <a:lnTo>
                    <a:pt x="253" y="172"/>
                  </a:lnTo>
                  <a:lnTo>
                    <a:pt x="253" y="173"/>
                  </a:lnTo>
                  <a:lnTo>
                    <a:pt x="252" y="173"/>
                  </a:lnTo>
                  <a:lnTo>
                    <a:pt x="252" y="175"/>
                  </a:lnTo>
                  <a:lnTo>
                    <a:pt x="253" y="175"/>
                  </a:lnTo>
                  <a:lnTo>
                    <a:pt x="255" y="175"/>
                  </a:lnTo>
                  <a:lnTo>
                    <a:pt x="255" y="176"/>
                  </a:lnTo>
                  <a:lnTo>
                    <a:pt x="256" y="176"/>
                  </a:lnTo>
                  <a:lnTo>
                    <a:pt x="258" y="176"/>
                  </a:lnTo>
                  <a:lnTo>
                    <a:pt x="258" y="177"/>
                  </a:lnTo>
                  <a:lnTo>
                    <a:pt x="259" y="177"/>
                  </a:lnTo>
                  <a:lnTo>
                    <a:pt x="262" y="178"/>
                  </a:lnTo>
                  <a:lnTo>
                    <a:pt x="263" y="177"/>
                  </a:lnTo>
                  <a:lnTo>
                    <a:pt x="264" y="177"/>
                  </a:lnTo>
                  <a:lnTo>
                    <a:pt x="265" y="177"/>
                  </a:lnTo>
                  <a:lnTo>
                    <a:pt x="267" y="178"/>
                  </a:lnTo>
                  <a:lnTo>
                    <a:pt x="268" y="178"/>
                  </a:lnTo>
                  <a:lnTo>
                    <a:pt x="268" y="177"/>
                  </a:lnTo>
                  <a:lnTo>
                    <a:pt x="267" y="177"/>
                  </a:lnTo>
                  <a:lnTo>
                    <a:pt x="268" y="176"/>
                  </a:lnTo>
                  <a:lnTo>
                    <a:pt x="268" y="177"/>
                  </a:lnTo>
                  <a:lnTo>
                    <a:pt x="270" y="177"/>
                  </a:lnTo>
                  <a:lnTo>
                    <a:pt x="269" y="177"/>
                  </a:lnTo>
                  <a:lnTo>
                    <a:pt x="270" y="178"/>
                  </a:lnTo>
                  <a:lnTo>
                    <a:pt x="273" y="178"/>
                  </a:lnTo>
                  <a:lnTo>
                    <a:pt x="273" y="179"/>
                  </a:lnTo>
                  <a:lnTo>
                    <a:pt x="274" y="179"/>
                  </a:lnTo>
                  <a:lnTo>
                    <a:pt x="275" y="179"/>
                  </a:lnTo>
                  <a:lnTo>
                    <a:pt x="275" y="181"/>
                  </a:lnTo>
                  <a:lnTo>
                    <a:pt x="274" y="181"/>
                  </a:lnTo>
                  <a:lnTo>
                    <a:pt x="274" y="182"/>
                  </a:lnTo>
                  <a:lnTo>
                    <a:pt x="274" y="184"/>
                  </a:lnTo>
                  <a:lnTo>
                    <a:pt x="273" y="184"/>
                  </a:lnTo>
                  <a:lnTo>
                    <a:pt x="274" y="185"/>
                  </a:lnTo>
                  <a:lnTo>
                    <a:pt x="274" y="184"/>
                  </a:lnTo>
                  <a:lnTo>
                    <a:pt x="275" y="184"/>
                  </a:lnTo>
                  <a:lnTo>
                    <a:pt x="275" y="183"/>
                  </a:lnTo>
                  <a:lnTo>
                    <a:pt x="276" y="183"/>
                  </a:lnTo>
                  <a:lnTo>
                    <a:pt x="277" y="183"/>
                  </a:lnTo>
                  <a:lnTo>
                    <a:pt x="277" y="184"/>
                  </a:lnTo>
                  <a:lnTo>
                    <a:pt x="277" y="183"/>
                  </a:lnTo>
                  <a:lnTo>
                    <a:pt x="277" y="184"/>
                  </a:lnTo>
                  <a:lnTo>
                    <a:pt x="279" y="184"/>
                  </a:lnTo>
                  <a:lnTo>
                    <a:pt x="280" y="185"/>
                  </a:lnTo>
                  <a:lnTo>
                    <a:pt x="279" y="187"/>
                  </a:lnTo>
                  <a:lnTo>
                    <a:pt x="280" y="187"/>
                  </a:lnTo>
                  <a:lnTo>
                    <a:pt x="281" y="187"/>
                  </a:lnTo>
                  <a:lnTo>
                    <a:pt x="282" y="188"/>
                  </a:lnTo>
                  <a:lnTo>
                    <a:pt x="282" y="189"/>
                  </a:lnTo>
                  <a:lnTo>
                    <a:pt x="283" y="189"/>
                  </a:lnTo>
                  <a:lnTo>
                    <a:pt x="285" y="188"/>
                  </a:lnTo>
                  <a:lnTo>
                    <a:pt x="285" y="189"/>
                  </a:lnTo>
                  <a:lnTo>
                    <a:pt x="286" y="189"/>
                  </a:lnTo>
                  <a:lnTo>
                    <a:pt x="287" y="189"/>
                  </a:lnTo>
                  <a:lnTo>
                    <a:pt x="287" y="190"/>
                  </a:lnTo>
                  <a:lnTo>
                    <a:pt x="287" y="191"/>
                  </a:lnTo>
                  <a:lnTo>
                    <a:pt x="287" y="193"/>
                  </a:lnTo>
                  <a:lnTo>
                    <a:pt x="287" y="194"/>
                  </a:lnTo>
                  <a:lnTo>
                    <a:pt x="287" y="195"/>
                  </a:lnTo>
                  <a:lnTo>
                    <a:pt x="287" y="196"/>
                  </a:lnTo>
                  <a:lnTo>
                    <a:pt x="287" y="197"/>
                  </a:lnTo>
                  <a:lnTo>
                    <a:pt x="287" y="199"/>
                  </a:lnTo>
                  <a:lnTo>
                    <a:pt x="288" y="199"/>
                  </a:lnTo>
                  <a:lnTo>
                    <a:pt x="289" y="199"/>
                  </a:lnTo>
                  <a:lnTo>
                    <a:pt x="291" y="199"/>
                  </a:lnTo>
                  <a:lnTo>
                    <a:pt x="293" y="199"/>
                  </a:lnTo>
                  <a:lnTo>
                    <a:pt x="293" y="200"/>
                  </a:lnTo>
                  <a:lnTo>
                    <a:pt x="294" y="201"/>
                  </a:lnTo>
                  <a:lnTo>
                    <a:pt x="295" y="201"/>
                  </a:lnTo>
                  <a:lnTo>
                    <a:pt x="297" y="201"/>
                  </a:lnTo>
                  <a:lnTo>
                    <a:pt x="298" y="202"/>
                  </a:lnTo>
                  <a:lnTo>
                    <a:pt x="298" y="203"/>
                  </a:lnTo>
                  <a:lnTo>
                    <a:pt x="297" y="205"/>
                  </a:lnTo>
                  <a:lnTo>
                    <a:pt x="298" y="205"/>
                  </a:lnTo>
                  <a:lnTo>
                    <a:pt x="298" y="206"/>
                  </a:lnTo>
                  <a:lnTo>
                    <a:pt x="299" y="206"/>
                  </a:lnTo>
                  <a:lnTo>
                    <a:pt x="299" y="207"/>
                  </a:lnTo>
                  <a:lnTo>
                    <a:pt x="301" y="207"/>
                  </a:lnTo>
                  <a:lnTo>
                    <a:pt x="301" y="208"/>
                  </a:lnTo>
                  <a:lnTo>
                    <a:pt x="303" y="209"/>
                  </a:lnTo>
                  <a:lnTo>
                    <a:pt x="304" y="209"/>
                  </a:lnTo>
                  <a:lnTo>
                    <a:pt x="304" y="211"/>
                  </a:lnTo>
                  <a:lnTo>
                    <a:pt x="304" y="212"/>
                  </a:lnTo>
                  <a:lnTo>
                    <a:pt x="304" y="213"/>
                  </a:lnTo>
                  <a:lnTo>
                    <a:pt x="305" y="213"/>
                  </a:lnTo>
                  <a:lnTo>
                    <a:pt x="304" y="214"/>
                  </a:lnTo>
                  <a:lnTo>
                    <a:pt x="305" y="214"/>
                  </a:lnTo>
                  <a:lnTo>
                    <a:pt x="305" y="215"/>
                  </a:lnTo>
                  <a:lnTo>
                    <a:pt x="306" y="217"/>
                  </a:lnTo>
                  <a:lnTo>
                    <a:pt x="306" y="218"/>
                  </a:lnTo>
                  <a:lnTo>
                    <a:pt x="305" y="219"/>
                  </a:lnTo>
                  <a:lnTo>
                    <a:pt x="305" y="220"/>
                  </a:lnTo>
                  <a:lnTo>
                    <a:pt x="306" y="220"/>
                  </a:lnTo>
                  <a:lnTo>
                    <a:pt x="307" y="220"/>
                  </a:lnTo>
                  <a:lnTo>
                    <a:pt x="309" y="221"/>
                  </a:lnTo>
                  <a:lnTo>
                    <a:pt x="309" y="223"/>
                  </a:lnTo>
                  <a:lnTo>
                    <a:pt x="310" y="223"/>
                  </a:lnTo>
                  <a:lnTo>
                    <a:pt x="311" y="223"/>
                  </a:lnTo>
                  <a:lnTo>
                    <a:pt x="312" y="224"/>
                  </a:lnTo>
                  <a:lnTo>
                    <a:pt x="311" y="224"/>
                  </a:lnTo>
                  <a:lnTo>
                    <a:pt x="311" y="225"/>
                  </a:lnTo>
                  <a:lnTo>
                    <a:pt x="310" y="226"/>
                  </a:lnTo>
                  <a:lnTo>
                    <a:pt x="311" y="226"/>
                  </a:lnTo>
                  <a:lnTo>
                    <a:pt x="312" y="226"/>
                  </a:lnTo>
                  <a:lnTo>
                    <a:pt x="312" y="227"/>
                  </a:lnTo>
                  <a:lnTo>
                    <a:pt x="314" y="229"/>
                  </a:lnTo>
                  <a:lnTo>
                    <a:pt x="315" y="229"/>
                  </a:lnTo>
                  <a:lnTo>
                    <a:pt x="316" y="230"/>
                  </a:lnTo>
                  <a:lnTo>
                    <a:pt x="315" y="231"/>
                  </a:lnTo>
                  <a:lnTo>
                    <a:pt x="316" y="232"/>
                  </a:lnTo>
                  <a:lnTo>
                    <a:pt x="317" y="232"/>
                  </a:lnTo>
                  <a:lnTo>
                    <a:pt x="317" y="233"/>
                  </a:lnTo>
                  <a:lnTo>
                    <a:pt x="317" y="232"/>
                  </a:lnTo>
                  <a:lnTo>
                    <a:pt x="317" y="233"/>
                  </a:lnTo>
                  <a:lnTo>
                    <a:pt x="318" y="233"/>
                  </a:lnTo>
                  <a:lnTo>
                    <a:pt x="320" y="232"/>
                  </a:lnTo>
                  <a:lnTo>
                    <a:pt x="321" y="233"/>
                  </a:lnTo>
                  <a:lnTo>
                    <a:pt x="321" y="232"/>
                  </a:lnTo>
                  <a:lnTo>
                    <a:pt x="323" y="232"/>
                  </a:lnTo>
                  <a:lnTo>
                    <a:pt x="324" y="232"/>
                  </a:lnTo>
                  <a:lnTo>
                    <a:pt x="323" y="233"/>
                  </a:lnTo>
                  <a:lnTo>
                    <a:pt x="322" y="235"/>
                  </a:lnTo>
                  <a:lnTo>
                    <a:pt x="322" y="236"/>
                  </a:lnTo>
                  <a:lnTo>
                    <a:pt x="321" y="236"/>
                  </a:lnTo>
                  <a:lnTo>
                    <a:pt x="320" y="236"/>
                  </a:lnTo>
                  <a:lnTo>
                    <a:pt x="318" y="236"/>
                  </a:lnTo>
                  <a:lnTo>
                    <a:pt x="317" y="237"/>
                  </a:lnTo>
                  <a:lnTo>
                    <a:pt x="318" y="238"/>
                  </a:lnTo>
                  <a:lnTo>
                    <a:pt x="317" y="239"/>
                  </a:lnTo>
                  <a:lnTo>
                    <a:pt x="317" y="241"/>
                  </a:lnTo>
                  <a:lnTo>
                    <a:pt x="316" y="241"/>
                  </a:lnTo>
                  <a:lnTo>
                    <a:pt x="317" y="241"/>
                  </a:lnTo>
                  <a:lnTo>
                    <a:pt x="317" y="242"/>
                  </a:lnTo>
                  <a:lnTo>
                    <a:pt x="316" y="243"/>
                  </a:lnTo>
                  <a:lnTo>
                    <a:pt x="318" y="243"/>
                  </a:lnTo>
                  <a:lnTo>
                    <a:pt x="318" y="244"/>
                  </a:lnTo>
                  <a:lnTo>
                    <a:pt x="320" y="244"/>
                  </a:lnTo>
                  <a:lnTo>
                    <a:pt x="320" y="245"/>
                  </a:lnTo>
                  <a:lnTo>
                    <a:pt x="318" y="245"/>
                  </a:lnTo>
                  <a:lnTo>
                    <a:pt x="317" y="247"/>
                  </a:lnTo>
                  <a:lnTo>
                    <a:pt x="317" y="245"/>
                  </a:lnTo>
                  <a:lnTo>
                    <a:pt x="316" y="245"/>
                  </a:lnTo>
                  <a:lnTo>
                    <a:pt x="315" y="244"/>
                  </a:lnTo>
                  <a:lnTo>
                    <a:pt x="314" y="243"/>
                  </a:lnTo>
                  <a:lnTo>
                    <a:pt x="312" y="243"/>
                  </a:lnTo>
                  <a:lnTo>
                    <a:pt x="312" y="242"/>
                  </a:lnTo>
                  <a:lnTo>
                    <a:pt x="311" y="242"/>
                  </a:lnTo>
                  <a:lnTo>
                    <a:pt x="311" y="241"/>
                  </a:lnTo>
                  <a:lnTo>
                    <a:pt x="311" y="239"/>
                  </a:lnTo>
                  <a:lnTo>
                    <a:pt x="310" y="241"/>
                  </a:lnTo>
                  <a:lnTo>
                    <a:pt x="309" y="241"/>
                  </a:lnTo>
                  <a:lnTo>
                    <a:pt x="307" y="239"/>
                  </a:lnTo>
                  <a:lnTo>
                    <a:pt x="305" y="239"/>
                  </a:lnTo>
                  <a:lnTo>
                    <a:pt x="305" y="238"/>
                  </a:lnTo>
                  <a:lnTo>
                    <a:pt x="305" y="237"/>
                  </a:lnTo>
                  <a:lnTo>
                    <a:pt x="305" y="238"/>
                  </a:lnTo>
                  <a:lnTo>
                    <a:pt x="304" y="238"/>
                  </a:lnTo>
                  <a:lnTo>
                    <a:pt x="303" y="239"/>
                  </a:lnTo>
                  <a:lnTo>
                    <a:pt x="301" y="239"/>
                  </a:lnTo>
                  <a:lnTo>
                    <a:pt x="301" y="241"/>
                  </a:lnTo>
                  <a:lnTo>
                    <a:pt x="301" y="242"/>
                  </a:lnTo>
                  <a:lnTo>
                    <a:pt x="301" y="241"/>
                  </a:lnTo>
                  <a:lnTo>
                    <a:pt x="301" y="243"/>
                  </a:lnTo>
                  <a:lnTo>
                    <a:pt x="301" y="244"/>
                  </a:lnTo>
                  <a:lnTo>
                    <a:pt x="300" y="244"/>
                  </a:lnTo>
                  <a:lnTo>
                    <a:pt x="299" y="244"/>
                  </a:lnTo>
                  <a:lnTo>
                    <a:pt x="298" y="244"/>
                  </a:lnTo>
                  <a:lnTo>
                    <a:pt x="298" y="245"/>
                  </a:lnTo>
                  <a:lnTo>
                    <a:pt x="298" y="244"/>
                  </a:lnTo>
                  <a:lnTo>
                    <a:pt x="298" y="243"/>
                  </a:lnTo>
                  <a:lnTo>
                    <a:pt x="297" y="242"/>
                  </a:lnTo>
                  <a:lnTo>
                    <a:pt x="297" y="241"/>
                  </a:lnTo>
                  <a:lnTo>
                    <a:pt x="295" y="239"/>
                  </a:lnTo>
                  <a:lnTo>
                    <a:pt x="295" y="241"/>
                  </a:lnTo>
                  <a:lnTo>
                    <a:pt x="294" y="239"/>
                  </a:lnTo>
                  <a:lnTo>
                    <a:pt x="294" y="241"/>
                  </a:lnTo>
                  <a:lnTo>
                    <a:pt x="293" y="239"/>
                  </a:lnTo>
                  <a:lnTo>
                    <a:pt x="293" y="238"/>
                  </a:lnTo>
                  <a:lnTo>
                    <a:pt x="292" y="238"/>
                  </a:lnTo>
                  <a:lnTo>
                    <a:pt x="291" y="237"/>
                  </a:lnTo>
                  <a:lnTo>
                    <a:pt x="291" y="236"/>
                  </a:lnTo>
                  <a:lnTo>
                    <a:pt x="289" y="235"/>
                  </a:lnTo>
                  <a:lnTo>
                    <a:pt x="288" y="235"/>
                  </a:lnTo>
                  <a:lnTo>
                    <a:pt x="288" y="237"/>
                  </a:lnTo>
                  <a:lnTo>
                    <a:pt x="287" y="237"/>
                  </a:lnTo>
                  <a:lnTo>
                    <a:pt x="286" y="237"/>
                  </a:lnTo>
                  <a:lnTo>
                    <a:pt x="285" y="236"/>
                  </a:lnTo>
                  <a:lnTo>
                    <a:pt x="283" y="237"/>
                  </a:lnTo>
                  <a:lnTo>
                    <a:pt x="282" y="238"/>
                  </a:lnTo>
                  <a:lnTo>
                    <a:pt x="283" y="239"/>
                  </a:lnTo>
                  <a:lnTo>
                    <a:pt x="285" y="241"/>
                  </a:lnTo>
                  <a:lnTo>
                    <a:pt x="285" y="239"/>
                  </a:lnTo>
                  <a:lnTo>
                    <a:pt x="286" y="241"/>
                  </a:lnTo>
                  <a:lnTo>
                    <a:pt x="286" y="239"/>
                  </a:lnTo>
                  <a:lnTo>
                    <a:pt x="287" y="239"/>
                  </a:lnTo>
                  <a:lnTo>
                    <a:pt x="287" y="241"/>
                  </a:lnTo>
                  <a:lnTo>
                    <a:pt x="288" y="241"/>
                  </a:lnTo>
                  <a:lnTo>
                    <a:pt x="289" y="241"/>
                  </a:lnTo>
                  <a:lnTo>
                    <a:pt x="291" y="242"/>
                  </a:lnTo>
                  <a:lnTo>
                    <a:pt x="292" y="242"/>
                  </a:lnTo>
                  <a:lnTo>
                    <a:pt x="292" y="243"/>
                  </a:lnTo>
                  <a:lnTo>
                    <a:pt x="293" y="243"/>
                  </a:lnTo>
                  <a:lnTo>
                    <a:pt x="293" y="244"/>
                  </a:lnTo>
                  <a:lnTo>
                    <a:pt x="294" y="244"/>
                  </a:lnTo>
                  <a:lnTo>
                    <a:pt x="294" y="245"/>
                  </a:lnTo>
                  <a:lnTo>
                    <a:pt x="293" y="247"/>
                  </a:lnTo>
                  <a:lnTo>
                    <a:pt x="294" y="247"/>
                  </a:lnTo>
                  <a:lnTo>
                    <a:pt x="293" y="247"/>
                  </a:lnTo>
                  <a:lnTo>
                    <a:pt x="294" y="247"/>
                  </a:lnTo>
                  <a:lnTo>
                    <a:pt x="294" y="248"/>
                  </a:lnTo>
                  <a:lnTo>
                    <a:pt x="293" y="249"/>
                  </a:lnTo>
                  <a:lnTo>
                    <a:pt x="292" y="249"/>
                  </a:lnTo>
                  <a:lnTo>
                    <a:pt x="291" y="249"/>
                  </a:lnTo>
                  <a:lnTo>
                    <a:pt x="289" y="249"/>
                  </a:lnTo>
                  <a:lnTo>
                    <a:pt x="288" y="249"/>
                  </a:lnTo>
                  <a:lnTo>
                    <a:pt x="287" y="249"/>
                  </a:lnTo>
                  <a:lnTo>
                    <a:pt x="286" y="250"/>
                  </a:lnTo>
                  <a:lnTo>
                    <a:pt x="286" y="251"/>
                  </a:lnTo>
                  <a:lnTo>
                    <a:pt x="285" y="251"/>
                  </a:lnTo>
                  <a:lnTo>
                    <a:pt x="283" y="253"/>
                  </a:lnTo>
                  <a:lnTo>
                    <a:pt x="283" y="251"/>
                  </a:lnTo>
                  <a:lnTo>
                    <a:pt x="283" y="253"/>
                  </a:lnTo>
                  <a:lnTo>
                    <a:pt x="282" y="251"/>
                  </a:lnTo>
                  <a:lnTo>
                    <a:pt x="281" y="251"/>
                  </a:lnTo>
                  <a:lnTo>
                    <a:pt x="280" y="253"/>
                  </a:lnTo>
                  <a:lnTo>
                    <a:pt x="280" y="251"/>
                  </a:lnTo>
                  <a:lnTo>
                    <a:pt x="279" y="253"/>
                  </a:lnTo>
                  <a:lnTo>
                    <a:pt x="276" y="251"/>
                  </a:lnTo>
                  <a:lnTo>
                    <a:pt x="276" y="250"/>
                  </a:lnTo>
                  <a:lnTo>
                    <a:pt x="275" y="250"/>
                  </a:lnTo>
                  <a:lnTo>
                    <a:pt x="274" y="250"/>
                  </a:lnTo>
                  <a:lnTo>
                    <a:pt x="274" y="249"/>
                  </a:lnTo>
                  <a:lnTo>
                    <a:pt x="273" y="250"/>
                  </a:lnTo>
                  <a:lnTo>
                    <a:pt x="274" y="250"/>
                  </a:lnTo>
                  <a:lnTo>
                    <a:pt x="275" y="250"/>
                  </a:lnTo>
                  <a:lnTo>
                    <a:pt x="276" y="251"/>
                  </a:lnTo>
                  <a:lnTo>
                    <a:pt x="276" y="253"/>
                  </a:lnTo>
                  <a:lnTo>
                    <a:pt x="275" y="254"/>
                  </a:lnTo>
                  <a:lnTo>
                    <a:pt x="275" y="253"/>
                  </a:lnTo>
                  <a:lnTo>
                    <a:pt x="275" y="254"/>
                  </a:lnTo>
                  <a:lnTo>
                    <a:pt x="274" y="255"/>
                  </a:lnTo>
                  <a:lnTo>
                    <a:pt x="275" y="255"/>
                  </a:lnTo>
                  <a:lnTo>
                    <a:pt x="274" y="256"/>
                  </a:lnTo>
                  <a:lnTo>
                    <a:pt x="273" y="256"/>
                  </a:lnTo>
                  <a:lnTo>
                    <a:pt x="271" y="256"/>
                  </a:lnTo>
                  <a:lnTo>
                    <a:pt x="270" y="256"/>
                  </a:lnTo>
                  <a:lnTo>
                    <a:pt x="269" y="258"/>
                  </a:lnTo>
                  <a:lnTo>
                    <a:pt x="269" y="259"/>
                  </a:lnTo>
                  <a:lnTo>
                    <a:pt x="268" y="258"/>
                  </a:lnTo>
                  <a:lnTo>
                    <a:pt x="268" y="259"/>
                  </a:lnTo>
                  <a:lnTo>
                    <a:pt x="268" y="260"/>
                  </a:lnTo>
                  <a:lnTo>
                    <a:pt x="269" y="260"/>
                  </a:lnTo>
                  <a:lnTo>
                    <a:pt x="268" y="261"/>
                  </a:lnTo>
                  <a:lnTo>
                    <a:pt x="269" y="261"/>
                  </a:lnTo>
                  <a:lnTo>
                    <a:pt x="269" y="262"/>
                  </a:lnTo>
                  <a:lnTo>
                    <a:pt x="270" y="262"/>
                  </a:lnTo>
                  <a:lnTo>
                    <a:pt x="271" y="262"/>
                  </a:lnTo>
                  <a:lnTo>
                    <a:pt x="273" y="262"/>
                  </a:lnTo>
                  <a:lnTo>
                    <a:pt x="273" y="261"/>
                  </a:lnTo>
                  <a:lnTo>
                    <a:pt x="274" y="261"/>
                  </a:lnTo>
                  <a:lnTo>
                    <a:pt x="274" y="262"/>
                  </a:lnTo>
                  <a:lnTo>
                    <a:pt x="275" y="262"/>
                  </a:lnTo>
                  <a:lnTo>
                    <a:pt x="275" y="264"/>
                  </a:lnTo>
                  <a:lnTo>
                    <a:pt x="274" y="265"/>
                  </a:lnTo>
                  <a:lnTo>
                    <a:pt x="274" y="266"/>
                  </a:lnTo>
                  <a:lnTo>
                    <a:pt x="275" y="267"/>
                  </a:lnTo>
                  <a:lnTo>
                    <a:pt x="274" y="268"/>
                  </a:lnTo>
                  <a:lnTo>
                    <a:pt x="274" y="267"/>
                  </a:lnTo>
                  <a:lnTo>
                    <a:pt x="273" y="267"/>
                  </a:lnTo>
                  <a:lnTo>
                    <a:pt x="273" y="268"/>
                  </a:lnTo>
                  <a:lnTo>
                    <a:pt x="273" y="270"/>
                  </a:lnTo>
                  <a:lnTo>
                    <a:pt x="271" y="270"/>
                  </a:lnTo>
                  <a:lnTo>
                    <a:pt x="273" y="271"/>
                  </a:lnTo>
                  <a:lnTo>
                    <a:pt x="274" y="270"/>
                  </a:lnTo>
                  <a:lnTo>
                    <a:pt x="275" y="270"/>
                  </a:lnTo>
                  <a:lnTo>
                    <a:pt x="276" y="270"/>
                  </a:lnTo>
                  <a:lnTo>
                    <a:pt x="275" y="271"/>
                  </a:lnTo>
                  <a:lnTo>
                    <a:pt x="276" y="272"/>
                  </a:lnTo>
                  <a:lnTo>
                    <a:pt x="277" y="273"/>
                  </a:lnTo>
                  <a:lnTo>
                    <a:pt x="279" y="273"/>
                  </a:lnTo>
                  <a:lnTo>
                    <a:pt x="279" y="274"/>
                  </a:lnTo>
                  <a:lnTo>
                    <a:pt x="277" y="276"/>
                  </a:lnTo>
                  <a:lnTo>
                    <a:pt x="279" y="276"/>
                  </a:lnTo>
                  <a:lnTo>
                    <a:pt x="277" y="277"/>
                  </a:lnTo>
                  <a:lnTo>
                    <a:pt x="276" y="278"/>
                  </a:lnTo>
                  <a:lnTo>
                    <a:pt x="276" y="277"/>
                  </a:lnTo>
                  <a:lnTo>
                    <a:pt x="275" y="278"/>
                  </a:lnTo>
                  <a:lnTo>
                    <a:pt x="274" y="277"/>
                  </a:lnTo>
                  <a:lnTo>
                    <a:pt x="273" y="277"/>
                  </a:lnTo>
                  <a:lnTo>
                    <a:pt x="271" y="277"/>
                  </a:lnTo>
                  <a:lnTo>
                    <a:pt x="270" y="276"/>
                  </a:lnTo>
                  <a:lnTo>
                    <a:pt x="269" y="276"/>
                  </a:lnTo>
                  <a:lnTo>
                    <a:pt x="268" y="274"/>
                  </a:lnTo>
                  <a:lnTo>
                    <a:pt x="267" y="273"/>
                  </a:lnTo>
                  <a:lnTo>
                    <a:pt x="267" y="274"/>
                  </a:lnTo>
                  <a:lnTo>
                    <a:pt x="264" y="273"/>
                  </a:lnTo>
                  <a:lnTo>
                    <a:pt x="267" y="273"/>
                  </a:lnTo>
                  <a:lnTo>
                    <a:pt x="267" y="271"/>
                  </a:lnTo>
                  <a:lnTo>
                    <a:pt x="268" y="271"/>
                  </a:lnTo>
                  <a:lnTo>
                    <a:pt x="268" y="272"/>
                  </a:lnTo>
                  <a:lnTo>
                    <a:pt x="268" y="273"/>
                  </a:lnTo>
                  <a:lnTo>
                    <a:pt x="269" y="273"/>
                  </a:lnTo>
                  <a:lnTo>
                    <a:pt x="270" y="274"/>
                  </a:lnTo>
                  <a:lnTo>
                    <a:pt x="271" y="273"/>
                  </a:lnTo>
                  <a:lnTo>
                    <a:pt x="273" y="273"/>
                  </a:lnTo>
                  <a:lnTo>
                    <a:pt x="271" y="272"/>
                  </a:lnTo>
                  <a:lnTo>
                    <a:pt x="270" y="273"/>
                  </a:lnTo>
                  <a:lnTo>
                    <a:pt x="270" y="272"/>
                  </a:lnTo>
                  <a:lnTo>
                    <a:pt x="270" y="271"/>
                  </a:lnTo>
                  <a:lnTo>
                    <a:pt x="270" y="270"/>
                  </a:lnTo>
                  <a:lnTo>
                    <a:pt x="269" y="270"/>
                  </a:lnTo>
                  <a:lnTo>
                    <a:pt x="270" y="268"/>
                  </a:lnTo>
                  <a:lnTo>
                    <a:pt x="269" y="268"/>
                  </a:lnTo>
                  <a:lnTo>
                    <a:pt x="269" y="267"/>
                  </a:lnTo>
                  <a:lnTo>
                    <a:pt x="268" y="266"/>
                  </a:lnTo>
                  <a:lnTo>
                    <a:pt x="269" y="266"/>
                  </a:lnTo>
                  <a:lnTo>
                    <a:pt x="267" y="266"/>
                  </a:lnTo>
                  <a:lnTo>
                    <a:pt x="267" y="267"/>
                  </a:lnTo>
                  <a:lnTo>
                    <a:pt x="268" y="267"/>
                  </a:lnTo>
                  <a:lnTo>
                    <a:pt x="269" y="267"/>
                  </a:lnTo>
                  <a:lnTo>
                    <a:pt x="267" y="268"/>
                  </a:lnTo>
                  <a:lnTo>
                    <a:pt x="267" y="267"/>
                  </a:lnTo>
                  <a:lnTo>
                    <a:pt x="265" y="267"/>
                  </a:lnTo>
                  <a:lnTo>
                    <a:pt x="264" y="266"/>
                  </a:lnTo>
                  <a:lnTo>
                    <a:pt x="263" y="265"/>
                  </a:lnTo>
                  <a:lnTo>
                    <a:pt x="262" y="264"/>
                  </a:lnTo>
                  <a:lnTo>
                    <a:pt x="261" y="264"/>
                  </a:lnTo>
                  <a:lnTo>
                    <a:pt x="261" y="262"/>
                  </a:lnTo>
                  <a:lnTo>
                    <a:pt x="259" y="262"/>
                  </a:lnTo>
                  <a:lnTo>
                    <a:pt x="259" y="261"/>
                  </a:lnTo>
                  <a:lnTo>
                    <a:pt x="261" y="261"/>
                  </a:lnTo>
                  <a:lnTo>
                    <a:pt x="262" y="261"/>
                  </a:lnTo>
                  <a:lnTo>
                    <a:pt x="262" y="260"/>
                  </a:lnTo>
                  <a:lnTo>
                    <a:pt x="261" y="259"/>
                  </a:lnTo>
                  <a:lnTo>
                    <a:pt x="262" y="258"/>
                  </a:lnTo>
                  <a:lnTo>
                    <a:pt x="261" y="258"/>
                  </a:lnTo>
                  <a:lnTo>
                    <a:pt x="261" y="259"/>
                  </a:lnTo>
                  <a:lnTo>
                    <a:pt x="258" y="259"/>
                  </a:lnTo>
                  <a:lnTo>
                    <a:pt x="258" y="258"/>
                  </a:lnTo>
                  <a:lnTo>
                    <a:pt x="257" y="258"/>
                  </a:lnTo>
                  <a:lnTo>
                    <a:pt x="256" y="256"/>
                  </a:lnTo>
                  <a:lnTo>
                    <a:pt x="255" y="256"/>
                  </a:lnTo>
                  <a:lnTo>
                    <a:pt x="253" y="256"/>
                  </a:lnTo>
                  <a:lnTo>
                    <a:pt x="253" y="255"/>
                  </a:lnTo>
                  <a:lnTo>
                    <a:pt x="253" y="254"/>
                  </a:lnTo>
                  <a:lnTo>
                    <a:pt x="252" y="253"/>
                  </a:lnTo>
                  <a:lnTo>
                    <a:pt x="253" y="251"/>
                  </a:lnTo>
                  <a:lnTo>
                    <a:pt x="255" y="251"/>
                  </a:lnTo>
                  <a:lnTo>
                    <a:pt x="255" y="250"/>
                  </a:lnTo>
                  <a:lnTo>
                    <a:pt x="256" y="250"/>
                  </a:lnTo>
                  <a:lnTo>
                    <a:pt x="255" y="249"/>
                  </a:lnTo>
                  <a:lnTo>
                    <a:pt x="256" y="249"/>
                  </a:lnTo>
                  <a:lnTo>
                    <a:pt x="256" y="248"/>
                  </a:lnTo>
                  <a:lnTo>
                    <a:pt x="257" y="245"/>
                  </a:lnTo>
                  <a:lnTo>
                    <a:pt x="257" y="247"/>
                  </a:lnTo>
                  <a:lnTo>
                    <a:pt x="257" y="248"/>
                  </a:lnTo>
                  <a:lnTo>
                    <a:pt x="257" y="249"/>
                  </a:lnTo>
                  <a:lnTo>
                    <a:pt x="258" y="249"/>
                  </a:lnTo>
                  <a:lnTo>
                    <a:pt x="258" y="250"/>
                  </a:lnTo>
                  <a:lnTo>
                    <a:pt x="257" y="250"/>
                  </a:lnTo>
                  <a:lnTo>
                    <a:pt x="257" y="251"/>
                  </a:lnTo>
                  <a:lnTo>
                    <a:pt x="258" y="251"/>
                  </a:lnTo>
                  <a:lnTo>
                    <a:pt x="259" y="251"/>
                  </a:lnTo>
                  <a:lnTo>
                    <a:pt x="259" y="250"/>
                  </a:lnTo>
                  <a:lnTo>
                    <a:pt x="261" y="250"/>
                  </a:lnTo>
                  <a:lnTo>
                    <a:pt x="261" y="251"/>
                  </a:lnTo>
                  <a:lnTo>
                    <a:pt x="261" y="253"/>
                  </a:lnTo>
                  <a:lnTo>
                    <a:pt x="262" y="253"/>
                  </a:lnTo>
                  <a:lnTo>
                    <a:pt x="263" y="253"/>
                  </a:lnTo>
                  <a:lnTo>
                    <a:pt x="263" y="250"/>
                  </a:lnTo>
                  <a:lnTo>
                    <a:pt x="263" y="249"/>
                  </a:lnTo>
                  <a:lnTo>
                    <a:pt x="263" y="248"/>
                  </a:lnTo>
                  <a:lnTo>
                    <a:pt x="263" y="247"/>
                  </a:lnTo>
                  <a:lnTo>
                    <a:pt x="262" y="245"/>
                  </a:lnTo>
                  <a:lnTo>
                    <a:pt x="261" y="245"/>
                  </a:lnTo>
                  <a:lnTo>
                    <a:pt x="259" y="245"/>
                  </a:lnTo>
                  <a:lnTo>
                    <a:pt x="258" y="245"/>
                  </a:lnTo>
                  <a:lnTo>
                    <a:pt x="257" y="245"/>
                  </a:lnTo>
                  <a:lnTo>
                    <a:pt x="256" y="245"/>
                  </a:lnTo>
                  <a:lnTo>
                    <a:pt x="255" y="247"/>
                  </a:lnTo>
                  <a:lnTo>
                    <a:pt x="253" y="245"/>
                  </a:lnTo>
                  <a:lnTo>
                    <a:pt x="251" y="244"/>
                  </a:lnTo>
                  <a:lnTo>
                    <a:pt x="250" y="244"/>
                  </a:lnTo>
                  <a:lnTo>
                    <a:pt x="250" y="245"/>
                  </a:lnTo>
                  <a:lnTo>
                    <a:pt x="251" y="244"/>
                  </a:lnTo>
                  <a:lnTo>
                    <a:pt x="250" y="245"/>
                  </a:lnTo>
                  <a:lnTo>
                    <a:pt x="248" y="245"/>
                  </a:lnTo>
                  <a:lnTo>
                    <a:pt x="247" y="247"/>
                  </a:lnTo>
                  <a:lnTo>
                    <a:pt x="247" y="248"/>
                  </a:lnTo>
                  <a:lnTo>
                    <a:pt x="245" y="247"/>
                  </a:lnTo>
                  <a:lnTo>
                    <a:pt x="244" y="248"/>
                  </a:lnTo>
                  <a:lnTo>
                    <a:pt x="244" y="247"/>
                  </a:lnTo>
                  <a:lnTo>
                    <a:pt x="242" y="247"/>
                  </a:lnTo>
                  <a:lnTo>
                    <a:pt x="241" y="247"/>
                  </a:lnTo>
                  <a:lnTo>
                    <a:pt x="240" y="247"/>
                  </a:lnTo>
                  <a:lnTo>
                    <a:pt x="239" y="248"/>
                  </a:lnTo>
                  <a:lnTo>
                    <a:pt x="239" y="249"/>
                  </a:lnTo>
                  <a:lnTo>
                    <a:pt x="238" y="249"/>
                  </a:lnTo>
                  <a:lnTo>
                    <a:pt x="238" y="248"/>
                  </a:lnTo>
                  <a:lnTo>
                    <a:pt x="236" y="247"/>
                  </a:lnTo>
                  <a:lnTo>
                    <a:pt x="235" y="248"/>
                  </a:lnTo>
                  <a:lnTo>
                    <a:pt x="234" y="248"/>
                  </a:lnTo>
                  <a:lnTo>
                    <a:pt x="234" y="245"/>
                  </a:lnTo>
                  <a:lnTo>
                    <a:pt x="233" y="244"/>
                  </a:lnTo>
                  <a:lnTo>
                    <a:pt x="232" y="244"/>
                  </a:lnTo>
                  <a:lnTo>
                    <a:pt x="230" y="244"/>
                  </a:lnTo>
                  <a:lnTo>
                    <a:pt x="227" y="245"/>
                  </a:lnTo>
                  <a:lnTo>
                    <a:pt x="224" y="245"/>
                  </a:lnTo>
                  <a:lnTo>
                    <a:pt x="223" y="247"/>
                  </a:lnTo>
                  <a:lnTo>
                    <a:pt x="222" y="247"/>
                  </a:lnTo>
                  <a:lnTo>
                    <a:pt x="220" y="247"/>
                  </a:lnTo>
                  <a:lnTo>
                    <a:pt x="218" y="247"/>
                  </a:lnTo>
                  <a:lnTo>
                    <a:pt x="218" y="248"/>
                  </a:lnTo>
                  <a:lnTo>
                    <a:pt x="216" y="248"/>
                  </a:lnTo>
                  <a:lnTo>
                    <a:pt x="215" y="247"/>
                  </a:lnTo>
                  <a:lnTo>
                    <a:pt x="212" y="248"/>
                  </a:lnTo>
                  <a:lnTo>
                    <a:pt x="208" y="248"/>
                  </a:lnTo>
                  <a:lnTo>
                    <a:pt x="208" y="250"/>
                  </a:lnTo>
                  <a:lnTo>
                    <a:pt x="209" y="251"/>
                  </a:lnTo>
                  <a:lnTo>
                    <a:pt x="210" y="250"/>
                  </a:lnTo>
                  <a:lnTo>
                    <a:pt x="211" y="250"/>
                  </a:lnTo>
                  <a:lnTo>
                    <a:pt x="212" y="250"/>
                  </a:lnTo>
                  <a:lnTo>
                    <a:pt x="212" y="251"/>
                  </a:lnTo>
                  <a:lnTo>
                    <a:pt x="212" y="250"/>
                  </a:lnTo>
                  <a:lnTo>
                    <a:pt x="214" y="251"/>
                  </a:lnTo>
                  <a:lnTo>
                    <a:pt x="215" y="253"/>
                  </a:lnTo>
                  <a:lnTo>
                    <a:pt x="215" y="254"/>
                  </a:lnTo>
                  <a:lnTo>
                    <a:pt x="216" y="254"/>
                  </a:lnTo>
                  <a:lnTo>
                    <a:pt x="216" y="255"/>
                  </a:lnTo>
                  <a:lnTo>
                    <a:pt x="216" y="256"/>
                  </a:lnTo>
                  <a:lnTo>
                    <a:pt x="216" y="258"/>
                  </a:lnTo>
                  <a:lnTo>
                    <a:pt x="216" y="259"/>
                  </a:lnTo>
                  <a:lnTo>
                    <a:pt x="216" y="260"/>
                  </a:lnTo>
                  <a:lnTo>
                    <a:pt x="215" y="260"/>
                  </a:lnTo>
                  <a:lnTo>
                    <a:pt x="214" y="261"/>
                  </a:lnTo>
                  <a:lnTo>
                    <a:pt x="212" y="261"/>
                  </a:lnTo>
                  <a:lnTo>
                    <a:pt x="210" y="261"/>
                  </a:lnTo>
                  <a:lnTo>
                    <a:pt x="211" y="262"/>
                  </a:lnTo>
                  <a:lnTo>
                    <a:pt x="212" y="262"/>
                  </a:lnTo>
                  <a:lnTo>
                    <a:pt x="215" y="262"/>
                  </a:lnTo>
                  <a:lnTo>
                    <a:pt x="220" y="262"/>
                  </a:lnTo>
                  <a:lnTo>
                    <a:pt x="221" y="262"/>
                  </a:lnTo>
                  <a:lnTo>
                    <a:pt x="223" y="264"/>
                  </a:lnTo>
                  <a:lnTo>
                    <a:pt x="226" y="264"/>
                  </a:lnTo>
                  <a:lnTo>
                    <a:pt x="227" y="264"/>
                  </a:lnTo>
                  <a:lnTo>
                    <a:pt x="228" y="264"/>
                  </a:lnTo>
                  <a:lnTo>
                    <a:pt x="229" y="264"/>
                  </a:lnTo>
                  <a:lnTo>
                    <a:pt x="228" y="262"/>
                  </a:lnTo>
                  <a:lnTo>
                    <a:pt x="227" y="262"/>
                  </a:lnTo>
                  <a:lnTo>
                    <a:pt x="227" y="261"/>
                  </a:lnTo>
                  <a:lnTo>
                    <a:pt x="228" y="260"/>
                  </a:lnTo>
                  <a:lnTo>
                    <a:pt x="230" y="261"/>
                  </a:lnTo>
                  <a:lnTo>
                    <a:pt x="230" y="260"/>
                  </a:lnTo>
                  <a:lnTo>
                    <a:pt x="232" y="260"/>
                  </a:lnTo>
                  <a:lnTo>
                    <a:pt x="232" y="261"/>
                  </a:lnTo>
                  <a:lnTo>
                    <a:pt x="233" y="261"/>
                  </a:lnTo>
                  <a:lnTo>
                    <a:pt x="233" y="260"/>
                  </a:lnTo>
                  <a:lnTo>
                    <a:pt x="235" y="260"/>
                  </a:lnTo>
                  <a:lnTo>
                    <a:pt x="235" y="259"/>
                  </a:lnTo>
                  <a:lnTo>
                    <a:pt x="236" y="259"/>
                  </a:lnTo>
                  <a:lnTo>
                    <a:pt x="238" y="258"/>
                  </a:lnTo>
                  <a:lnTo>
                    <a:pt x="239" y="258"/>
                  </a:lnTo>
                  <a:lnTo>
                    <a:pt x="240" y="258"/>
                  </a:lnTo>
                  <a:lnTo>
                    <a:pt x="241" y="259"/>
                  </a:lnTo>
                  <a:lnTo>
                    <a:pt x="242" y="259"/>
                  </a:lnTo>
                  <a:lnTo>
                    <a:pt x="244" y="259"/>
                  </a:lnTo>
                  <a:lnTo>
                    <a:pt x="244" y="260"/>
                  </a:lnTo>
                  <a:lnTo>
                    <a:pt x="245" y="261"/>
                  </a:lnTo>
                  <a:lnTo>
                    <a:pt x="246" y="262"/>
                  </a:lnTo>
                  <a:lnTo>
                    <a:pt x="246" y="264"/>
                  </a:lnTo>
                  <a:lnTo>
                    <a:pt x="247" y="264"/>
                  </a:lnTo>
                  <a:lnTo>
                    <a:pt x="248" y="264"/>
                  </a:lnTo>
                  <a:lnTo>
                    <a:pt x="248" y="265"/>
                  </a:lnTo>
                  <a:lnTo>
                    <a:pt x="250" y="265"/>
                  </a:lnTo>
                  <a:lnTo>
                    <a:pt x="251" y="264"/>
                  </a:lnTo>
                  <a:lnTo>
                    <a:pt x="252" y="264"/>
                  </a:lnTo>
                  <a:lnTo>
                    <a:pt x="252" y="265"/>
                  </a:lnTo>
                  <a:lnTo>
                    <a:pt x="255" y="265"/>
                  </a:lnTo>
                  <a:lnTo>
                    <a:pt x="255" y="266"/>
                  </a:lnTo>
                  <a:lnTo>
                    <a:pt x="256" y="267"/>
                  </a:lnTo>
                  <a:lnTo>
                    <a:pt x="256" y="268"/>
                  </a:lnTo>
                  <a:lnTo>
                    <a:pt x="256" y="270"/>
                  </a:lnTo>
                  <a:lnTo>
                    <a:pt x="255" y="270"/>
                  </a:lnTo>
                  <a:lnTo>
                    <a:pt x="256" y="271"/>
                  </a:lnTo>
                  <a:lnTo>
                    <a:pt x="257" y="272"/>
                  </a:lnTo>
                  <a:lnTo>
                    <a:pt x="258" y="272"/>
                  </a:lnTo>
                  <a:lnTo>
                    <a:pt x="259" y="272"/>
                  </a:lnTo>
                  <a:lnTo>
                    <a:pt x="261" y="273"/>
                  </a:lnTo>
                  <a:lnTo>
                    <a:pt x="262" y="274"/>
                  </a:lnTo>
                  <a:lnTo>
                    <a:pt x="261" y="276"/>
                  </a:lnTo>
                  <a:lnTo>
                    <a:pt x="259" y="277"/>
                  </a:lnTo>
                  <a:lnTo>
                    <a:pt x="261" y="276"/>
                  </a:lnTo>
                  <a:lnTo>
                    <a:pt x="262" y="276"/>
                  </a:lnTo>
                  <a:lnTo>
                    <a:pt x="262" y="277"/>
                  </a:lnTo>
                  <a:lnTo>
                    <a:pt x="263" y="278"/>
                  </a:lnTo>
                  <a:lnTo>
                    <a:pt x="263" y="279"/>
                  </a:lnTo>
                  <a:lnTo>
                    <a:pt x="263" y="280"/>
                  </a:lnTo>
                  <a:lnTo>
                    <a:pt x="264" y="280"/>
                  </a:lnTo>
                  <a:lnTo>
                    <a:pt x="265" y="282"/>
                  </a:lnTo>
                  <a:lnTo>
                    <a:pt x="264" y="282"/>
                  </a:lnTo>
                  <a:lnTo>
                    <a:pt x="263" y="283"/>
                  </a:lnTo>
                  <a:lnTo>
                    <a:pt x="262" y="282"/>
                  </a:lnTo>
                  <a:lnTo>
                    <a:pt x="262" y="283"/>
                  </a:lnTo>
                  <a:lnTo>
                    <a:pt x="263" y="283"/>
                  </a:lnTo>
                  <a:lnTo>
                    <a:pt x="264" y="285"/>
                  </a:lnTo>
                  <a:lnTo>
                    <a:pt x="264" y="284"/>
                  </a:lnTo>
                  <a:lnTo>
                    <a:pt x="264" y="285"/>
                  </a:lnTo>
                  <a:lnTo>
                    <a:pt x="265" y="285"/>
                  </a:lnTo>
                  <a:lnTo>
                    <a:pt x="265" y="286"/>
                  </a:lnTo>
                  <a:lnTo>
                    <a:pt x="267" y="288"/>
                  </a:lnTo>
                  <a:lnTo>
                    <a:pt x="268" y="289"/>
                  </a:lnTo>
                  <a:lnTo>
                    <a:pt x="268" y="290"/>
                  </a:lnTo>
                  <a:lnTo>
                    <a:pt x="268" y="292"/>
                  </a:lnTo>
                  <a:lnTo>
                    <a:pt x="265" y="292"/>
                  </a:lnTo>
                  <a:lnTo>
                    <a:pt x="264" y="292"/>
                  </a:lnTo>
                  <a:lnTo>
                    <a:pt x="263" y="292"/>
                  </a:lnTo>
                  <a:lnTo>
                    <a:pt x="263" y="291"/>
                  </a:lnTo>
                  <a:lnTo>
                    <a:pt x="262" y="291"/>
                  </a:lnTo>
                  <a:lnTo>
                    <a:pt x="261" y="290"/>
                  </a:lnTo>
                  <a:lnTo>
                    <a:pt x="259" y="290"/>
                  </a:lnTo>
                  <a:lnTo>
                    <a:pt x="258" y="289"/>
                  </a:lnTo>
                  <a:lnTo>
                    <a:pt x="257" y="288"/>
                  </a:lnTo>
                  <a:lnTo>
                    <a:pt x="257" y="286"/>
                  </a:lnTo>
                  <a:lnTo>
                    <a:pt x="256" y="288"/>
                  </a:lnTo>
                  <a:lnTo>
                    <a:pt x="257" y="289"/>
                  </a:lnTo>
                  <a:lnTo>
                    <a:pt x="256" y="288"/>
                  </a:lnTo>
                  <a:lnTo>
                    <a:pt x="256" y="289"/>
                  </a:lnTo>
                  <a:lnTo>
                    <a:pt x="255" y="290"/>
                  </a:lnTo>
                  <a:lnTo>
                    <a:pt x="256" y="289"/>
                  </a:lnTo>
                  <a:lnTo>
                    <a:pt x="255" y="288"/>
                  </a:lnTo>
                  <a:lnTo>
                    <a:pt x="253" y="286"/>
                  </a:lnTo>
                  <a:lnTo>
                    <a:pt x="253" y="288"/>
                  </a:lnTo>
                  <a:lnTo>
                    <a:pt x="252" y="288"/>
                  </a:lnTo>
                  <a:lnTo>
                    <a:pt x="251" y="286"/>
                  </a:lnTo>
                  <a:lnTo>
                    <a:pt x="250" y="285"/>
                  </a:lnTo>
                  <a:lnTo>
                    <a:pt x="250" y="286"/>
                  </a:lnTo>
                  <a:lnTo>
                    <a:pt x="248" y="285"/>
                  </a:lnTo>
                  <a:lnTo>
                    <a:pt x="247" y="285"/>
                  </a:lnTo>
                  <a:lnTo>
                    <a:pt x="248" y="285"/>
                  </a:lnTo>
                  <a:lnTo>
                    <a:pt x="248" y="284"/>
                  </a:lnTo>
                  <a:lnTo>
                    <a:pt x="247" y="285"/>
                  </a:lnTo>
                  <a:lnTo>
                    <a:pt x="246" y="285"/>
                  </a:lnTo>
                  <a:lnTo>
                    <a:pt x="246" y="286"/>
                  </a:lnTo>
                  <a:lnTo>
                    <a:pt x="247" y="288"/>
                  </a:lnTo>
                  <a:lnTo>
                    <a:pt x="248" y="289"/>
                  </a:lnTo>
                  <a:lnTo>
                    <a:pt x="247" y="288"/>
                  </a:lnTo>
                  <a:lnTo>
                    <a:pt x="246" y="288"/>
                  </a:lnTo>
                  <a:lnTo>
                    <a:pt x="245" y="289"/>
                  </a:lnTo>
                  <a:lnTo>
                    <a:pt x="244" y="290"/>
                  </a:lnTo>
                  <a:lnTo>
                    <a:pt x="242" y="290"/>
                  </a:lnTo>
                  <a:lnTo>
                    <a:pt x="241" y="290"/>
                  </a:lnTo>
                  <a:lnTo>
                    <a:pt x="240" y="290"/>
                  </a:lnTo>
                  <a:lnTo>
                    <a:pt x="241" y="291"/>
                  </a:lnTo>
                  <a:lnTo>
                    <a:pt x="242" y="291"/>
                  </a:lnTo>
                  <a:lnTo>
                    <a:pt x="240" y="292"/>
                  </a:lnTo>
                  <a:lnTo>
                    <a:pt x="239" y="292"/>
                  </a:lnTo>
                  <a:lnTo>
                    <a:pt x="238" y="291"/>
                  </a:lnTo>
                  <a:lnTo>
                    <a:pt x="236" y="292"/>
                  </a:lnTo>
                  <a:lnTo>
                    <a:pt x="235" y="291"/>
                  </a:lnTo>
                  <a:lnTo>
                    <a:pt x="234" y="291"/>
                  </a:lnTo>
                  <a:lnTo>
                    <a:pt x="233" y="291"/>
                  </a:lnTo>
                  <a:lnTo>
                    <a:pt x="233" y="292"/>
                  </a:lnTo>
                  <a:lnTo>
                    <a:pt x="234" y="294"/>
                  </a:lnTo>
                  <a:lnTo>
                    <a:pt x="233" y="294"/>
                  </a:lnTo>
                  <a:lnTo>
                    <a:pt x="232" y="294"/>
                  </a:lnTo>
                  <a:lnTo>
                    <a:pt x="230" y="295"/>
                  </a:lnTo>
                  <a:lnTo>
                    <a:pt x="230" y="294"/>
                  </a:lnTo>
                  <a:lnTo>
                    <a:pt x="229" y="294"/>
                  </a:lnTo>
                  <a:lnTo>
                    <a:pt x="229" y="295"/>
                  </a:lnTo>
                  <a:lnTo>
                    <a:pt x="228" y="294"/>
                  </a:lnTo>
                  <a:lnTo>
                    <a:pt x="228" y="292"/>
                  </a:lnTo>
                  <a:lnTo>
                    <a:pt x="229" y="291"/>
                  </a:lnTo>
                  <a:lnTo>
                    <a:pt x="230" y="291"/>
                  </a:lnTo>
                  <a:lnTo>
                    <a:pt x="230" y="290"/>
                  </a:lnTo>
                  <a:lnTo>
                    <a:pt x="229" y="291"/>
                  </a:lnTo>
                  <a:lnTo>
                    <a:pt x="228" y="290"/>
                  </a:lnTo>
                  <a:lnTo>
                    <a:pt x="227" y="289"/>
                  </a:lnTo>
                  <a:lnTo>
                    <a:pt x="226" y="288"/>
                  </a:lnTo>
                  <a:lnTo>
                    <a:pt x="227" y="288"/>
                  </a:lnTo>
                  <a:lnTo>
                    <a:pt x="227" y="286"/>
                  </a:lnTo>
                  <a:lnTo>
                    <a:pt x="228" y="286"/>
                  </a:lnTo>
                  <a:lnTo>
                    <a:pt x="228" y="288"/>
                  </a:lnTo>
                  <a:lnTo>
                    <a:pt x="230" y="288"/>
                  </a:lnTo>
                  <a:lnTo>
                    <a:pt x="230" y="286"/>
                  </a:lnTo>
                  <a:lnTo>
                    <a:pt x="230" y="285"/>
                  </a:lnTo>
                  <a:lnTo>
                    <a:pt x="232" y="285"/>
                  </a:lnTo>
                  <a:lnTo>
                    <a:pt x="233" y="285"/>
                  </a:lnTo>
                  <a:lnTo>
                    <a:pt x="232" y="284"/>
                  </a:lnTo>
                  <a:lnTo>
                    <a:pt x="232" y="283"/>
                  </a:lnTo>
                  <a:lnTo>
                    <a:pt x="232" y="282"/>
                  </a:lnTo>
                  <a:lnTo>
                    <a:pt x="233" y="282"/>
                  </a:lnTo>
                  <a:lnTo>
                    <a:pt x="233" y="280"/>
                  </a:lnTo>
                  <a:lnTo>
                    <a:pt x="234" y="279"/>
                  </a:lnTo>
                  <a:lnTo>
                    <a:pt x="233" y="279"/>
                  </a:lnTo>
                  <a:lnTo>
                    <a:pt x="233" y="278"/>
                  </a:lnTo>
                  <a:lnTo>
                    <a:pt x="232" y="278"/>
                  </a:lnTo>
                  <a:lnTo>
                    <a:pt x="229" y="277"/>
                  </a:lnTo>
                  <a:lnTo>
                    <a:pt x="230" y="276"/>
                  </a:lnTo>
                  <a:lnTo>
                    <a:pt x="232" y="276"/>
                  </a:lnTo>
                  <a:lnTo>
                    <a:pt x="232" y="274"/>
                  </a:lnTo>
                  <a:lnTo>
                    <a:pt x="232" y="273"/>
                  </a:lnTo>
                  <a:lnTo>
                    <a:pt x="232" y="272"/>
                  </a:lnTo>
                  <a:lnTo>
                    <a:pt x="233" y="272"/>
                  </a:lnTo>
                  <a:lnTo>
                    <a:pt x="232" y="271"/>
                  </a:lnTo>
                  <a:lnTo>
                    <a:pt x="232" y="270"/>
                  </a:lnTo>
                  <a:lnTo>
                    <a:pt x="230" y="268"/>
                  </a:lnTo>
                  <a:lnTo>
                    <a:pt x="232" y="267"/>
                  </a:lnTo>
                  <a:lnTo>
                    <a:pt x="229" y="267"/>
                  </a:lnTo>
                  <a:lnTo>
                    <a:pt x="229" y="268"/>
                  </a:lnTo>
                  <a:lnTo>
                    <a:pt x="228" y="267"/>
                  </a:lnTo>
                  <a:lnTo>
                    <a:pt x="228" y="266"/>
                  </a:lnTo>
                  <a:lnTo>
                    <a:pt x="227" y="266"/>
                  </a:lnTo>
                  <a:lnTo>
                    <a:pt x="221" y="265"/>
                  </a:lnTo>
                  <a:lnTo>
                    <a:pt x="220" y="265"/>
                  </a:lnTo>
                  <a:lnTo>
                    <a:pt x="218" y="265"/>
                  </a:lnTo>
                  <a:lnTo>
                    <a:pt x="217" y="265"/>
                  </a:lnTo>
                  <a:lnTo>
                    <a:pt x="215" y="265"/>
                  </a:lnTo>
                  <a:lnTo>
                    <a:pt x="216" y="266"/>
                  </a:lnTo>
                  <a:lnTo>
                    <a:pt x="215" y="266"/>
                  </a:lnTo>
                  <a:lnTo>
                    <a:pt x="214" y="266"/>
                  </a:lnTo>
                  <a:lnTo>
                    <a:pt x="212" y="266"/>
                  </a:lnTo>
                  <a:lnTo>
                    <a:pt x="212" y="267"/>
                  </a:lnTo>
                  <a:lnTo>
                    <a:pt x="211" y="267"/>
                  </a:lnTo>
                  <a:lnTo>
                    <a:pt x="210" y="267"/>
                  </a:lnTo>
                  <a:lnTo>
                    <a:pt x="208" y="267"/>
                  </a:lnTo>
                  <a:lnTo>
                    <a:pt x="208" y="268"/>
                  </a:lnTo>
                  <a:lnTo>
                    <a:pt x="206" y="268"/>
                  </a:lnTo>
                  <a:lnTo>
                    <a:pt x="206" y="271"/>
                  </a:lnTo>
                  <a:lnTo>
                    <a:pt x="204" y="271"/>
                  </a:lnTo>
                  <a:lnTo>
                    <a:pt x="204" y="272"/>
                  </a:lnTo>
                  <a:lnTo>
                    <a:pt x="204" y="271"/>
                  </a:lnTo>
                  <a:lnTo>
                    <a:pt x="203" y="271"/>
                  </a:lnTo>
                  <a:lnTo>
                    <a:pt x="202" y="270"/>
                  </a:lnTo>
                  <a:lnTo>
                    <a:pt x="200" y="268"/>
                  </a:lnTo>
                  <a:lnTo>
                    <a:pt x="199" y="268"/>
                  </a:lnTo>
                  <a:lnTo>
                    <a:pt x="197" y="270"/>
                  </a:lnTo>
                  <a:lnTo>
                    <a:pt x="194" y="271"/>
                  </a:lnTo>
                  <a:lnTo>
                    <a:pt x="197" y="270"/>
                  </a:lnTo>
                  <a:lnTo>
                    <a:pt x="199" y="271"/>
                  </a:lnTo>
                  <a:lnTo>
                    <a:pt x="199" y="272"/>
                  </a:lnTo>
                  <a:lnTo>
                    <a:pt x="198" y="272"/>
                  </a:lnTo>
                  <a:lnTo>
                    <a:pt x="198" y="273"/>
                  </a:lnTo>
                  <a:lnTo>
                    <a:pt x="199" y="276"/>
                  </a:lnTo>
                  <a:lnTo>
                    <a:pt x="198" y="276"/>
                  </a:lnTo>
                  <a:lnTo>
                    <a:pt x="198" y="277"/>
                  </a:lnTo>
                  <a:lnTo>
                    <a:pt x="199" y="277"/>
                  </a:lnTo>
                  <a:lnTo>
                    <a:pt x="199" y="278"/>
                  </a:lnTo>
                  <a:lnTo>
                    <a:pt x="198" y="279"/>
                  </a:lnTo>
                  <a:lnTo>
                    <a:pt x="199" y="280"/>
                  </a:lnTo>
                  <a:lnTo>
                    <a:pt x="198" y="282"/>
                  </a:lnTo>
                  <a:lnTo>
                    <a:pt x="197" y="280"/>
                  </a:lnTo>
                  <a:lnTo>
                    <a:pt x="196" y="280"/>
                  </a:lnTo>
                  <a:lnTo>
                    <a:pt x="196" y="282"/>
                  </a:lnTo>
                  <a:lnTo>
                    <a:pt x="198" y="282"/>
                  </a:lnTo>
                  <a:lnTo>
                    <a:pt x="198" y="283"/>
                  </a:lnTo>
                  <a:lnTo>
                    <a:pt x="197" y="283"/>
                  </a:lnTo>
                  <a:lnTo>
                    <a:pt x="196" y="284"/>
                  </a:lnTo>
                  <a:lnTo>
                    <a:pt x="196" y="283"/>
                  </a:lnTo>
                  <a:lnTo>
                    <a:pt x="196" y="284"/>
                  </a:lnTo>
                  <a:lnTo>
                    <a:pt x="194" y="284"/>
                  </a:lnTo>
                  <a:lnTo>
                    <a:pt x="196" y="285"/>
                  </a:lnTo>
                  <a:lnTo>
                    <a:pt x="196" y="286"/>
                  </a:lnTo>
                  <a:lnTo>
                    <a:pt x="194" y="286"/>
                  </a:lnTo>
                  <a:lnTo>
                    <a:pt x="193" y="284"/>
                  </a:lnTo>
                  <a:lnTo>
                    <a:pt x="193" y="285"/>
                  </a:lnTo>
                  <a:lnTo>
                    <a:pt x="192" y="285"/>
                  </a:lnTo>
                  <a:lnTo>
                    <a:pt x="192" y="284"/>
                  </a:lnTo>
                  <a:lnTo>
                    <a:pt x="191" y="283"/>
                  </a:lnTo>
                  <a:lnTo>
                    <a:pt x="192" y="283"/>
                  </a:lnTo>
                  <a:lnTo>
                    <a:pt x="193" y="284"/>
                  </a:lnTo>
                  <a:lnTo>
                    <a:pt x="192" y="283"/>
                  </a:lnTo>
                  <a:lnTo>
                    <a:pt x="192" y="282"/>
                  </a:lnTo>
                  <a:lnTo>
                    <a:pt x="191" y="283"/>
                  </a:lnTo>
                  <a:lnTo>
                    <a:pt x="192" y="282"/>
                  </a:lnTo>
                  <a:lnTo>
                    <a:pt x="192" y="280"/>
                  </a:lnTo>
                  <a:lnTo>
                    <a:pt x="191" y="282"/>
                  </a:lnTo>
                  <a:lnTo>
                    <a:pt x="189" y="282"/>
                  </a:lnTo>
                  <a:lnTo>
                    <a:pt x="188" y="283"/>
                  </a:lnTo>
                  <a:lnTo>
                    <a:pt x="187" y="284"/>
                  </a:lnTo>
                  <a:lnTo>
                    <a:pt x="186" y="288"/>
                  </a:lnTo>
                  <a:lnTo>
                    <a:pt x="185" y="290"/>
                  </a:lnTo>
                  <a:lnTo>
                    <a:pt x="187" y="291"/>
                  </a:lnTo>
                  <a:lnTo>
                    <a:pt x="191" y="291"/>
                  </a:lnTo>
                  <a:lnTo>
                    <a:pt x="192" y="290"/>
                  </a:lnTo>
                  <a:lnTo>
                    <a:pt x="194" y="290"/>
                  </a:lnTo>
                  <a:lnTo>
                    <a:pt x="196" y="290"/>
                  </a:lnTo>
                  <a:lnTo>
                    <a:pt x="198" y="289"/>
                  </a:lnTo>
                  <a:lnTo>
                    <a:pt x="202" y="289"/>
                  </a:lnTo>
                  <a:lnTo>
                    <a:pt x="210" y="288"/>
                  </a:lnTo>
                  <a:lnTo>
                    <a:pt x="215" y="288"/>
                  </a:lnTo>
                  <a:lnTo>
                    <a:pt x="216" y="286"/>
                  </a:lnTo>
                  <a:lnTo>
                    <a:pt x="216" y="285"/>
                  </a:lnTo>
                  <a:lnTo>
                    <a:pt x="216" y="286"/>
                  </a:lnTo>
                  <a:lnTo>
                    <a:pt x="218" y="286"/>
                  </a:lnTo>
                  <a:lnTo>
                    <a:pt x="218" y="288"/>
                  </a:lnTo>
                  <a:lnTo>
                    <a:pt x="217" y="289"/>
                  </a:lnTo>
                  <a:lnTo>
                    <a:pt x="215" y="289"/>
                  </a:lnTo>
                  <a:lnTo>
                    <a:pt x="214" y="290"/>
                  </a:lnTo>
                  <a:lnTo>
                    <a:pt x="209" y="290"/>
                  </a:lnTo>
                  <a:lnTo>
                    <a:pt x="205" y="290"/>
                  </a:lnTo>
                  <a:lnTo>
                    <a:pt x="203" y="290"/>
                  </a:lnTo>
                  <a:lnTo>
                    <a:pt x="200" y="291"/>
                  </a:lnTo>
                  <a:lnTo>
                    <a:pt x="199" y="291"/>
                  </a:lnTo>
                  <a:lnTo>
                    <a:pt x="197" y="292"/>
                  </a:lnTo>
                  <a:lnTo>
                    <a:pt x="194" y="294"/>
                  </a:lnTo>
                  <a:lnTo>
                    <a:pt x="191" y="294"/>
                  </a:lnTo>
                  <a:lnTo>
                    <a:pt x="188" y="295"/>
                  </a:lnTo>
                  <a:lnTo>
                    <a:pt x="186" y="296"/>
                  </a:lnTo>
                  <a:lnTo>
                    <a:pt x="186" y="298"/>
                  </a:lnTo>
                  <a:lnTo>
                    <a:pt x="186" y="300"/>
                  </a:lnTo>
                  <a:lnTo>
                    <a:pt x="187" y="301"/>
                  </a:lnTo>
                  <a:lnTo>
                    <a:pt x="187" y="304"/>
                  </a:lnTo>
                  <a:lnTo>
                    <a:pt x="186" y="306"/>
                  </a:lnTo>
                  <a:lnTo>
                    <a:pt x="185" y="309"/>
                  </a:lnTo>
                  <a:lnTo>
                    <a:pt x="185" y="313"/>
                  </a:lnTo>
                  <a:lnTo>
                    <a:pt x="185" y="315"/>
                  </a:lnTo>
                  <a:lnTo>
                    <a:pt x="185" y="321"/>
                  </a:lnTo>
                  <a:lnTo>
                    <a:pt x="185" y="324"/>
                  </a:lnTo>
                  <a:lnTo>
                    <a:pt x="186" y="336"/>
                  </a:lnTo>
                  <a:lnTo>
                    <a:pt x="186" y="340"/>
                  </a:lnTo>
                  <a:lnTo>
                    <a:pt x="185" y="343"/>
                  </a:lnTo>
                  <a:lnTo>
                    <a:pt x="185" y="345"/>
                  </a:lnTo>
                  <a:lnTo>
                    <a:pt x="185" y="346"/>
                  </a:lnTo>
                  <a:lnTo>
                    <a:pt x="183" y="348"/>
                  </a:lnTo>
                  <a:lnTo>
                    <a:pt x="182" y="348"/>
                  </a:lnTo>
                  <a:lnTo>
                    <a:pt x="179" y="349"/>
                  </a:lnTo>
                  <a:lnTo>
                    <a:pt x="175" y="348"/>
                  </a:lnTo>
                  <a:lnTo>
                    <a:pt x="171" y="348"/>
                  </a:lnTo>
                  <a:lnTo>
                    <a:pt x="170" y="345"/>
                  </a:lnTo>
                  <a:lnTo>
                    <a:pt x="170" y="342"/>
                  </a:lnTo>
                  <a:lnTo>
                    <a:pt x="171" y="338"/>
                  </a:lnTo>
                  <a:lnTo>
                    <a:pt x="171" y="336"/>
                  </a:lnTo>
                  <a:lnTo>
                    <a:pt x="171" y="328"/>
                  </a:lnTo>
                  <a:lnTo>
                    <a:pt x="171" y="327"/>
                  </a:lnTo>
                  <a:lnTo>
                    <a:pt x="171" y="325"/>
                  </a:lnTo>
                  <a:lnTo>
                    <a:pt x="171" y="320"/>
                  </a:lnTo>
                  <a:lnTo>
                    <a:pt x="173" y="318"/>
                  </a:lnTo>
                  <a:lnTo>
                    <a:pt x="173" y="310"/>
                  </a:lnTo>
                  <a:lnTo>
                    <a:pt x="173" y="304"/>
                  </a:lnTo>
                  <a:lnTo>
                    <a:pt x="171" y="301"/>
                  </a:lnTo>
                  <a:lnTo>
                    <a:pt x="168" y="300"/>
                  </a:lnTo>
                  <a:lnTo>
                    <a:pt x="163" y="297"/>
                  </a:lnTo>
                  <a:lnTo>
                    <a:pt x="159" y="295"/>
                  </a:lnTo>
                  <a:lnTo>
                    <a:pt x="157" y="294"/>
                  </a:lnTo>
                  <a:lnTo>
                    <a:pt x="155" y="292"/>
                  </a:lnTo>
                  <a:lnTo>
                    <a:pt x="151" y="292"/>
                  </a:lnTo>
                  <a:lnTo>
                    <a:pt x="149" y="292"/>
                  </a:lnTo>
                  <a:lnTo>
                    <a:pt x="147" y="292"/>
                  </a:lnTo>
                  <a:lnTo>
                    <a:pt x="144" y="291"/>
                  </a:lnTo>
                  <a:lnTo>
                    <a:pt x="140" y="291"/>
                  </a:lnTo>
                  <a:lnTo>
                    <a:pt x="137" y="291"/>
                  </a:lnTo>
                  <a:lnTo>
                    <a:pt x="135" y="291"/>
                  </a:lnTo>
                  <a:lnTo>
                    <a:pt x="134" y="291"/>
                  </a:lnTo>
                  <a:lnTo>
                    <a:pt x="133" y="291"/>
                  </a:lnTo>
                  <a:lnTo>
                    <a:pt x="132" y="292"/>
                  </a:lnTo>
                  <a:lnTo>
                    <a:pt x="131" y="292"/>
                  </a:lnTo>
                  <a:lnTo>
                    <a:pt x="129" y="294"/>
                  </a:lnTo>
                  <a:lnTo>
                    <a:pt x="128" y="295"/>
                  </a:lnTo>
                  <a:lnTo>
                    <a:pt x="126" y="294"/>
                  </a:lnTo>
                  <a:lnTo>
                    <a:pt x="128" y="292"/>
                  </a:lnTo>
                  <a:lnTo>
                    <a:pt x="132" y="290"/>
                  </a:lnTo>
                  <a:lnTo>
                    <a:pt x="133" y="288"/>
                  </a:lnTo>
                  <a:lnTo>
                    <a:pt x="135" y="286"/>
                  </a:lnTo>
                  <a:lnTo>
                    <a:pt x="134" y="284"/>
                  </a:lnTo>
                  <a:lnTo>
                    <a:pt x="132" y="285"/>
                  </a:lnTo>
                  <a:lnTo>
                    <a:pt x="128" y="285"/>
                  </a:lnTo>
                  <a:lnTo>
                    <a:pt x="126" y="285"/>
                  </a:lnTo>
                  <a:lnTo>
                    <a:pt x="124" y="285"/>
                  </a:lnTo>
                  <a:lnTo>
                    <a:pt x="118" y="285"/>
                  </a:lnTo>
                  <a:lnTo>
                    <a:pt x="115" y="285"/>
                  </a:lnTo>
                  <a:lnTo>
                    <a:pt x="112" y="285"/>
                  </a:lnTo>
                  <a:lnTo>
                    <a:pt x="111" y="286"/>
                  </a:lnTo>
                  <a:lnTo>
                    <a:pt x="110" y="286"/>
                  </a:lnTo>
                  <a:lnTo>
                    <a:pt x="109" y="286"/>
                  </a:lnTo>
                  <a:lnTo>
                    <a:pt x="108" y="285"/>
                  </a:lnTo>
                  <a:lnTo>
                    <a:pt x="108" y="288"/>
                  </a:lnTo>
                  <a:lnTo>
                    <a:pt x="108" y="289"/>
                  </a:lnTo>
                  <a:lnTo>
                    <a:pt x="106" y="289"/>
                  </a:lnTo>
                  <a:lnTo>
                    <a:pt x="104" y="290"/>
                  </a:lnTo>
                  <a:lnTo>
                    <a:pt x="103" y="289"/>
                  </a:lnTo>
                  <a:lnTo>
                    <a:pt x="103" y="291"/>
                  </a:lnTo>
                  <a:lnTo>
                    <a:pt x="103" y="292"/>
                  </a:lnTo>
                  <a:lnTo>
                    <a:pt x="102" y="292"/>
                  </a:lnTo>
                  <a:lnTo>
                    <a:pt x="100" y="294"/>
                  </a:lnTo>
                  <a:lnTo>
                    <a:pt x="98" y="294"/>
                  </a:lnTo>
                  <a:lnTo>
                    <a:pt x="98" y="295"/>
                  </a:lnTo>
                  <a:lnTo>
                    <a:pt x="97" y="294"/>
                  </a:lnTo>
                  <a:lnTo>
                    <a:pt x="96" y="295"/>
                  </a:lnTo>
                  <a:lnTo>
                    <a:pt x="96" y="292"/>
                  </a:lnTo>
                  <a:lnTo>
                    <a:pt x="94" y="294"/>
                  </a:lnTo>
                  <a:lnTo>
                    <a:pt x="93" y="292"/>
                  </a:lnTo>
                  <a:lnTo>
                    <a:pt x="92" y="292"/>
                  </a:lnTo>
                  <a:lnTo>
                    <a:pt x="91" y="292"/>
                  </a:lnTo>
                  <a:lnTo>
                    <a:pt x="90" y="294"/>
                  </a:lnTo>
                  <a:lnTo>
                    <a:pt x="90" y="295"/>
                  </a:lnTo>
                  <a:lnTo>
                    <a:pt x="88" y="296"/>
                  </a:lnTo>
                  <a:lnTo>
                    <a:pt x="88" y="297"/>
                  </a:lnTo>
                  <a:lnTo>
                    <a:pt x="87" y="297"/>
                  </a:lnTo>
                  <a:lnTo>
                    <a:pt x="86" y="298"/>
                  </a:lnTo>
                  <a:lnTo>
                    <a:pt x="85" y="298"/>
                  </a:lnTo>
                  <a:lnTo>
                    <a:pt x="84" y="297"/>
                  </a:lnTo>
                  <a:lnTo>
                    <a:pt x="82" y="297"/>
                  </a:lnTo>
                  <a:lnTo>
                    <a:pt x="82" y="296"/>
                  </a:lnTo>
                  <a:lnTo>
                    <a:pt x="82" y="297"/>
                  </a:lnTo>
                  <a:lnTo>
                    <a:pt x="80" y="297"/>
                  </a:lnTo>
                  <a:lnTo>
                    <a:pt x="79" y="297"/>
                  </a:lnTo>
                  <a:lnTo>
                    <a:pt x="79" y="296"/>
                  </a:lnTo>
                  <a:lnTo>
                    <a:pt x="79" y="295"/>
                  </a:lnTo>
                  <a:lnTo>
                    <a:pt x="79" y="296"/>
                  </a:lnTo>
                  <a:lnTo>
                    <a:pt x="78" y="295"/>
                  </a:lnTo>
                  <a:lnTo>
                    <a:pt x="76" y="295"/>
                  </a:lnTo>
                  <a:lnTo>
                    <a:pt x="75" y="296"/>
                  </a:lnTo>
                  <a:lnTo>
                    <a:pt x="74" y="296"/>
                  </a:lnTo>
                  <a:lnTo>
                    <a:pt x="72" y="296"/>
                  </a:lnTo>
                  <a:lnTo>
                    <a:pt x="74" y="295"/>
                  </a:lnTo>
                  <a:lnTo>
                    <a:pt x="73" y="294"/>
                  </a:lnTo>
                  <a:lnTo>
                    <a:pt x="72" y="294"/>
                  </a:lnTo>
                  <a:lnTo>
                    <a:pt x="72" y="292"/>
                  </a:lnTo>
                  <a:lnTo>
                    <a:pt x="70" y="291"/>
                  </a:lnTo>
                  <a:lnTo>
                    <a:pt x="72" y="290"/>
                  </a:lnTo>
                  <a:lnTo>
                    <a:pt x="72" y="291"/>
                  </a:lnTo>
                  <a:lnTo>
                    <a:pt x="73" y="292"/>
                  </a:lnTo>
                  <a:lnTo>
                    <a:pt x="74" y="292"/>
                  </a:lnTo>
                  <a:lnTo>
                    <a:pt x="75" y="292"/>
                  </a:lnTo>
                  <a:lnTo>
                    <a:pt x="76" y="294"/>
                  </a:lnTo>
                  <a:lnTo>
                    <a:pt x="78" y="292"/>
                  </a:lnTo>
                  <a:lnTo>
                    <a:pt x="76" y="292"/>
                  </a:lnTo>
                  <a:lnTo>
                    <a:pt x="76" y="291"/>
                  </a:lnTo>
                  <a:lnTo>
                    <a:pt x="76" y="290"/>
                  </a:lnTo>
                  <a:lnTo>
                    <a:pt x="76" y="289"/>
                  </a:lnTo>
                  <a:lnTo>
                    <a:pt x="76" y="288"/>
                  </a:lnTo>
                  <a:lnTo>
                    <a:pt x="76" y="289"/>
                  </a:lnTo>
                  <a:lnTo>
                    <a:pt x="78" y="288"/>
                  </a:lnTo>
                  <a:lnTo>
                    <a:pt x="79" y="288"/>
                  </a:lnTo>
                  <a:lnTo>
                    <a:pt x="80" y="285"/>
                  </a:lnTo>
                  <a:lnTo>
                    <a:pt x="81" y="285"/>
                  </a:lnTo>
                  <a:lnTo>
                    <a:pt x="84" y="286"/>
                  </a:lnTo>
                  <a:lnTo>
                    <a:pt x="84" y="285"/>
                  </a:lnTo>
                  <a:lnTo>
                    <a:pt x="82" y="284"/>
                  </a:lnTo>
                  <a:lnTo>
                    <a:pt x="82" y="282"/>
                  </a:lnTo>
                  <a:lnTo>
                    <a:pt x="81" y="282"/>
                  </a:lnTo>
                  <a:lnTo>
                    <a:pt x="82" y="282"/>
                  </a:lnTo>
                  <a:lnTo>
                    <a:pt x="82" y="280"/>
                  </a:lnTo>
                  <a:lnTo>
                    <a:pt x="81" y="279"/>
                  </a:lnTo>
                  <a:lnTo>
                    <a:pt x="82" y="278"/>
                  </a:lnTo>
                  <a:lnTo>
                    <a:pt x="84" y="279"/>
                  </a:lnTo>
                  <a:lnTo>
                    <a:pt x="85" y="279"/>
                  </a:lnTo>
                  <a:lnTo>
                    <a:pt x="85" y="280"/>
                  </a:lnTo>
                  <a:lnTo>
                    <a:pt x="86" y="280"/>
                  </a:lnTo>
                  <a:lnTo>
                    <a:pt x="87" y="280"/>
                  </a:lnTo>
                  <a:lnTo>
                    <a:pt x="88" y="282"/>
                  </a:lnTo>
                  <a:lnTo>
                    <a:pt x="90" y="283"/>
                  </a:lnTo>
                  <a:lnTo>
                    <a:pt x="91" y="282"/>
                  </a:lnTo>
                  <a:lnTo>
                    <a:pt x="92" y="282"/>
                  </a:lnTo>
                  <a:lnTo>
                    <a:pt x="93" y="283"/>
                  </a:lnTo>
                  <a:lnTo>
                    <a:pt x="93" y="282"/>
                  </a:lnTo>
                  <a:lnTo>
                    <a:pt x="93" y="280"/>
                  </a:lnTo>
                  <a:lnTo>
                    <a:pt x="94" y="280"/>
                  </a:lnTo>
                  <a:lnTo>
                    <a:pt x="96" y="280"/>
                  </a:lnTo>
                  <a:lnTo>
                    <a:pt x="97" y="280"/>
                  </a:lnTo>
                  <a:lnTo>
                    <a:pt x="98" y="279"/>
                  </a:lnTo>
                  <a:lnTo>
                    <a:pt x="99" y="280"/>
                  </a:lnTo>
                  <a:lnTo>
                    <a:pt x="99" y="279"/>
                  </a:lnTo>
                  <a:lnTo>
                    <a:pt x="98" y="279"/>
                  </a:lnTo>
                  <a:lnTo>
                    <a:pt x="98" y="278"/>
                  </a:lnTo>
                  <a:lnTo>
                    <a:pt x="98" y="277"/>
                  </a:lnTo>
                  <a:lnTo>
                    <a:pt x="99" y="277"/>
                  </a:lnTo>
                  <a:lnTo>
                    <a:pt x="100" y="277"/>
                  </a:lnTo>
                  <a:lnTo>
                    <a:pt x="102" y="278"/>
                  </a:lnTo>
                  <a:lnTo>
                    <a:pt x="102" y="277"/>
                  </a:lnTo>
                  <a:lnTo>
                    <a:pt x="102" y="276"/>
                  </a:lnTo>
                  <a:lnTo>
                    <a:pt x="103" y="276"/>
                  </a:lnTo>
                  <a:lnTo>
                    <a:pt x="104" y="274"/>
                  </a:lnTo>
                  <a:lnTo>
                    <a:pt x="105" y="277"/>
                  </a:lnTo>
                  <a:lnTo>
                    <a:pt x="105" y="278"/>
                  </a:lnTo>
                  <a:lnTo>
                    <a:pt x="106" y="278"/>
                  </a:lnTo>
                  <a:lnTo>
                    <a:pt x="106" y="279"/>
                  </a:lnTo>
                  <a:lnTo>
                    <a:pt x="108" y="279"/>
                  </a:lnTo>
                  <a:lnTo>
                    <a:pt x="108" y="280"/>
                  </a:lnTo>
                  <a:lnTo>
                    <a:pt x="109" y="279"/>
                  </a:lnTo>
                  <a:lnTo>
                    <a:pt x="110" y="280"/>
                  </a:lnTo>
                  <a:lnTo>
                    <a:pt x="109" y="282"/>
                  </a:lnTo>
                  <a:lnTo>
                    <a:pt x="109" y="283"/>
                  </a:lnTo>
                  <a:lnTo>
                    <a:pt x="109" y="284"/>
                  </a:lnTo>
                  <a:lnTo>
                    <a:pt x="110" y="284"/>
                  </a:lnTo>
                  <a:lnTo>
                    <a:pt x="111" y="284"/>
                  </a:lnTo>
                  <a:lnTo>
                    <a:pt x="112" y="283"/>
                  </a:lnTo>
                  <a:lnTo>
                    <a:pt x="114" y="283"/>
                  </a:lnTo>
                  <a:lnTo>
                    <a:pt x="115" y="284"/>
                  </a:lnTo>
                  <a:lnTo>
                    <a:pt x="117" y="283"/>
                  </a:lnTo>
                  <a:lnTo>
                    <a:pt x="121" y="283"/>
                  </a:lnTo>
                  <a:lnTo>
                    <a:pt x="124" y="283"/>
                  </a:lnTo>
                  <a:lnTo>
                    <a:pt x="126" y="283"/>
                  </a:lnTo>
                  <a:lnTo>
                    <a:pt x="127" y="283"/>
                  </a:lnTo>
                  <a:lnTo>
                    <a:pt x="128" y="283"/>
                  </a:lnTo>
                  <a:lnTo>
                    <a:pt x="129" y="283"/>
                  </a:lnTo>
                  <a:lnTo>
                    <a:pt x="132" y="283"/>
                  </a:lnTo>
                  <a:lnTo>
                    <a:pt x="133" y="283"/>
                  </a:lnTo>
                  <a:lnTo>
                    <a:pt x="137" y="282"/>
                  </a:lnTo>
                  <a:lnTo>
                    <a:pt x="138" y="280"/>
                  </a:lnTo>
                  <a:lnTo>
                    <a:pt x="138" y="279"/>
                  </a:lnTo>
                  <a:lnTo>
                    <a:pt x="140" y="279"/>
                  </a:lnTo>
                  <a:lnTo>
                    <a:pt x="143" y="280"/>
                  </a:lnTo>
                  <a:lnTo>
                    <a:pt x="144" y="279"/>
                  </a:lnTo>
                  <a:lnTo>
                    <a:pt x="147" y="277"/>
                  </a:lnTo>
                  <a:lnTo>
                    <a:pt x="147" y="276"/>
                  </a:lnTo>
                  <a:lnTo>
                    <a:pt x="149" y="277"/>
                  </a:lnTo>
                  <a:lnTo>
                    <a:pt x="150" y="276"/>
                  </a:lnTo>
                  <a:lnTo>
                    <a:pt x="151" y="276"/>
                  </a:lnTo>
                  <a:lnTo>
                    <a:pt x="152" y="274"/>
                  </a:lnTo>
                  <a:lnTo>
                    <a:pt x="155" y="274"/>
                  </a:lnTo>
                  <a:lnTo>
                    <a:pt x="156" y="273"/>
                  </a:lnTo>
                  <a:lnTo>
                    <a:pt x="157" y="272"/>
                  </a:lnTo>
                  <a:lnTo>
                    <a:pt x="156" y="273"/>
                  </a:lnTo>
                  <a:lnTo>
                    <a:pt x="156" y="272"/>
                  </a:lnTo>
                  <a:lnTo>
                    <a:pt x="155" y="272"/>
                  </a:lnTo>
                  <a:lnTo>
                    <a:pt x="156" y="271"/>
                  </a:lnTo>
                  <a:lnTo>
                    <a:pt x="156" y="270"/>
                  </a:lnTo>
                  <a:lnTo>
                    <a:pt x="155" y="270"/>
                  </a:lnTo>
                  <a:lnTo>
                    <a:pt x="155" y="268"/>
                  </a:lnTo>
                  <a:lnTo>
                    <a:pt x="153" y="268"/>
                  </a:lnTo>
                  <a:lnTo>
                    <a:pt x="153" y="270"/>
                  </a:lnTo>
                  <a:lnTo>
                    <a:pt x="155" y="271"/>
                  </a:lnTo>
                  <a:lnTo>
                    <a:pt x="153" y="271"/>
                  </a:lnTo>
                  <a:lnTo>
                    <a:pt x="153" y="273"/>
                  </a:lnTo>
                  <a:lnTo>
                    <a:pt x="151" y="273"/>
                  </a:lnTo>
                  <a:lnTo>
                    <a:pt x="150" y="272"/>
                  </a:lnTo>
                  <a:lnTo>
                    <a:pt x="150" y="271"/>
                  </a:lnTo>
                  <a:lnTo>
                    <a:pt x="149" y="272"/>
                  </a:lnTo>
                  <a:lnTo>
                    <a:pt x="147" y="272"/>
                  </a:lnTo>
                  <a:lnTo>
                    <a:pt x="146" y="272"/>
                  </a:lnTo>
                  <a:lnTo>
                    <a:pt x="145" y="272"/>
                  </a:lnTo>
                  <a:lnTo>
                    <a:pt x="144" y="273"/>
                  </a:lnTo>
                  <a:lnTo>
                    <a:pt x="143" y="273"/>
                  </a:lnTo>
                  <a:lnTo>
                    <a:pt x="143" y="272"/>
                  </a:lnTo>
                  <a:lnTo>
                    <a:pt x="143" y="271"/>
                  </a:lnTo>
                  <a:lnTo>
                    <a:pt x="144" y="271"/>
                  </a:lnTo>
                  <a:lnTo>
                    <a:pt x="144" y="270"/>
                  </a:lnTo>
                  <a:lnTo>
                    <a:pt x="144" y="268"/>
                  </a:lnTo>
                  <a:lnTo>
                    <a:pt x="144" y="267"/>
                  </a:lnTo>
                  <a:lnTo>
                    <a:pt x="145" y="266"/>
                  </a:lnTo>
                  <a:lnTo>
                    <a:pt x="146" y="266"/>
                  </a:lnTo>
                  <a:lnTo>
                    <a:pt x="146" y="265"/>
                  </a:lnTo>
                  <a:lnTo>
                    <a:pt x="145" y="265"/>
                  </a:lnTo>
                  <a:lnTo>
                    <a:pt x="144" y="265"/>
                  </a:lnTo>
                  <a:lnTo>
                    <a:pt x="143" y="265"/>
                  </a:lnTo>
                  <a:lnTo>
                    <a:pt x="141" y="265"/>
                  </a:lnTo>
                  <a:lnTo>
                    <a:pt x="141" y="264"/>
                  </a:lnTo>
                  <a:lnTo>
                    <a:pt x="141" y="262"/>
                  </a:lnTo>
                  <a:lnTo>
                    <a:pt x="140" y="262"/>
                  </a:lnTo>
                  <a:lnTo>
                    <a:pt x="140" y="264"/>
                  </a:lnTo>
                  <a:lnTo>
                    <a:pt x="139" y="262"/>
                  </a:lnTo>
                  <a:lnTo>
                    <a:pt x="138" y="264"/>
                  </a:lnTo>
                  <a:lnTo>
                    <a:pt x="137" y="264"/>
                  </a:lnTo>
                  <a:lnTo>
                    <a:pt x="137" y="265"/>
                  </a:lnTo>
                  <a:lnTo>
                    <a:pt x="135" y="265"/>
                  </a:lnTo>
                  <a:lnTo>
                    <a:pt x="133" y="267"/>
                  </a:lnTo>
                  <a:lnTo>
                    <a:pt x="133" y="268"/>
                  </a:lnTo>
                  <a:lnTo>
                    <a:pt x="132" y="270"/>
                  </a:lnTo>
                  <a:lnTo>
                    <a:pt x="133" y="270"/>
                  </a:lnTo>
                  <a:lnTo>
                    <a:pt x="133" y="271"/>
                  </a:lnTo>
                  <a:lnTo>
                    <a:pt x="134" y="271"/>
                  </a:lnTo>
                  <a:lnTo>
                    <a:pt x="134" y="272"/>
                  </a:lnTo>
                  <a:lnTo>
                    <a:pt x="133" y="273"/>
                  </a:lnTo>
                  <a:lnTo>
                    <a:pt x="134" y="273"/>
                  </a:lnTo>
                  <a:lnTo>
                    <a:pt x="134" y="274"/>
                  </a:lnTo>
                  <a:lnTo>
                    <a:pt x="133" y="274"/>
                  </a:lnTo>
                  <a:lnTo>
                    <a:pt x="131" y="276"/>
                  </a:lnTo>
                  <a:lnTo>
                    <a:pt x="129" y="276"/>
                  </a:lnTo>
                  <a:lnTo>
                    <a:pt x="131" y="274"/>
                  </a:lnTo>
                  <a:lnTo>
                    <a:pt x="131" y="273"/>
                  </a:lnTo>
                  <a:lnTo>
                    <a:pt x="129" y="273"/>
                  </a:lnTo>
                  <a:lnTo>
                    <a:pt x="129" y="276"/>
                  </a:lnTo>
                  <a:lnTo>
                    <a:pt x="128" y="276"/>
                  </a:lnTo>
                  <a:lnTo>
                    <a:pt x="127" y="274"/>
                  </a:lnTo>
                  <a:lnTo>
                    <a:pt x="127" y="276"/>
                  </a:lnTo>
                  <a:lnTo>
                    <a:pt x="126" y="276"/>
                  </a:lnTo>
                  <a:lnTo>
                    <a:pt x="124" y="276"/>
                  </a:lnTo>
                  <a:lnTo>
                    <a:pt x="123" y="274"/>
                  </a:lnTo>
                  <a:lnTo>
                    <a:pt x="124" y="272"/>
                  </a:lnTo>
                  <a:lnTo>
                    <a:pt x="126" y="271"/>
                  </a:lnTo>
                  <a:lnTo>
                    <a:pt x="123" y="272"/>
                  </a:lnTo>
                  <a:lnTo>
                    <a:pt x="122" y="272"/>
                  </a:lnTo>
                  <a:lnTo>
                    <a:pt x="121" y="272"/>
                  </a:lnTo>
                  <a:lnTo>
                    <a:pt x="121" y="271"/>
                  </a:lnTo>
                  <a:lnTo>
                    <a:pt x="120" y="270"/>
                  </a:lnTo>
                  <a:lnTo>
                    <a:pt x="120" y="267"/>
                  </a:lnTo>
                  <a:lnTo>
                    <a:pt x="120" y="266"/>
                  </a:lnTo>
                  <a:lnTo>
                    <a:pt x="118" y="265"/>
                  </a:lnTo>
                  <a:lnTo>
                    <a:pt x="118" y="262"/>
                  </a:lnTo>
                  <a:lnTo>
                    <a:pt x="120" y="262"/>
                  </a:lnTo>
                  <a:lnTo>
                    <a:pt x="120" y="261"/>
                  </a:lnTo>
                  <a:lnTo>
                    <a:pt x="121" y="261"/>
                  </a:lnTo>
                  <a:lnTo>
                    <a:pt x="123" y="261"/>
                  </a:lnTo>
                  <a:lnTo>
                    <a:pt x="122" y="260"/>
                  </a:lnTo>
                  <a:lnTo>
                    <a:pt x="121" y="260"/>
                  </a:lnTo>
                  <a:lnTo>
                    <a:pt x="118" y="260"/>
                  </a:lnTo>
                  <a:lnTo>
                    <a:pt x="117" y="261"/>
                  </a:lnTo>
                  <a:lnTo>
                    <a:pt x="118" y="262"/>
                  </a:lnTo>
                  <a:lnTo>
                    <a:pt x="117" y="264"/>
                  </a:lnTo>
                  <a:lnTo>
                    <a:pt x="116" y="264"/>
                  </a:lnTo>
                  <a:lnTo>
                    <a:pt x="116" y="265"/>
                  </a:lnTo>
                  <a:lnTo>
                    <a:pt x="116" y="262"/>
                  </a:lnTo>
                  <a:lnTo>
                    <a:pt x="115" y="262"/>
                  </a:lnTo>
                  <a:lnTo>
                    <a:pt x="115" y="264"/>
                  </a:lnTo>
                  <a:lnTo>
                    <a:pt x="112" y="264"/>
                  </a:lnTo>
                  <a:lnTo>
                    <a:pt x="111" y="264"/>
                  </a:lnTo>
                  <a:lnTo>
                    <a:pt x="110" y="265"/>
                  </a:lnTo>
                  <a:lnTo>
                    <a:pt x="109" y="265"/>
                  </a:lnTo>
                  <a:lnTo>
                    <a:pt x="109" y="266"/>
                  </a:lnTo>
                  <a:lnTo>
                    <a:pt x="109" y="265"/>
                  </a:lnTo>
                  <a:lnTo>
                    <a:pt x="108" y="266"/>
                  </a:lnTo>
                  <a:lnTo>
                    <a:pt x="106" y="265"/>
                  </a:lnTo>
                  <a:lnTo>
                    <a:pt x="105" y="265"/>
                  </a:lnTo>
                  <a:lnTo>
                    <a:pt x="104" y="262"/>
                  </a:lnTo>
                  <a:lnTo>
                    <a:pt x="103" y="262"/>
                  </a:lnTo>
                  <a:lnTo>
                    <a:pt x="102" y="262"/>
                  </a:lnTo>
                  <a:lnTo>
                    <a:pt x="100" y="262"/>
                  </a:lnTo>
                  <a:lnTo>
                    <a:pt x="99" y="264"/>
                  </a:lnTo>
                  <a:lnTo>
                    <a:pt x="98" y="262"/>
                  </a:lnTo>
                  <a:lnTo>
                    <a:pt x="97" y="261"/>
                  </a:lnTo>
                  <a:lnTo>
                    <a:pt x="96" y="262"/>
                  </a:lnTo>
                  <a:lnTo>
                    <a:pt x="94" y="262"/>
                  </a:lnTo>
                  <a:lnTo>
                    <a:pt x="93" y="262"/>
                  </a:lnTo>
                  <a:lnTo>
                    <a:pt x="92" y="262"/>
                  </a:lnTo>
                  <a:lnTo>
                    <a:pt x="91" y="262"/>
                  </a:lnTo>
                  <a:lnTo>
                    <a:pt x="90" y="262"/>
                  </a:lnTo>
                  <a:lnTo>
                    <a:pt x="88" y="262"/>
                  </a:lnTo>
                  <a:lnTo>
                    <a:pt x="88" y="264"/>
                  </a:lnTo>
                  <a:lnTo>
                    <a:pt x="90" y="264"/>
                  </a:lnTo>
                  <a:lnTo>
                    <a:pt x="91" y="264"/>
                  </a:lnTo>
                  <a:lnTo>
                    <a:pt x="92" y="264"/>
                  </a:lnTo>
                  <a:lnTo>
                    <a:pt x="92" y="262"/>
                  </a:lnTo>
                  <a:lnTo>
                    <a:pt x="93" y="262"/>
                  </a:lnTo>
                  <a:lnTo>
                    <a:pt x="93" y="264"/>
                  </a:lnTo>
                  <a:lnTo>
                    <a:pt x="94" y="264"/>
                  </a:lnTo>
                  <a:lnTo>
                    <a:pt x="96" y="264"/>
                  </a:lnTo>
                  <a:lnTo>
                    <a:pt x="97" y="265"/>
                  </a:lnTo>
                  <a:lnTo>
                    <a:pt x="98" y="264"/>
                  </a:lnTo>
                  <a:lnTo>
                    <a:pt x="99" y="264"/>
                  </a:lnTo>
                  <a:lnTo>
                    <a:pt x="98" y="265"/>
                  </a:lnTo>
                  <a:lnTo>
                    <a:pt x="98" y="266"/>
                  </a:lnTo>
                  <a:lnTo>
                    <a:pt x="97" y="266"/>
                  </a:lnTo>
                  <a:lnTo>
                    <a:pt x="97" y="267"/>
                  </a:lnTo>
                  <a:lnTo>
                    <a:pt x="96" y="267"/>
                  </a:lnTo>
                  <a:lnTo>
                    <a:pt x="94" y="267"/>
                  </a:lnTo>
                  <a:lnTo>
                    <a:pt x="93" y="268"/>
                  </a:lnTo>
                  <a:lnTo>
                    <a:pt x="92" y="271"/>
                  </a:lnTo>
                  <a:lnTo>
                    <a:pt x="90" y="271"/>
                  </a:lnTo>
                  <a:lnTo>
                    <a:pt x="90" y="270"/>
                  </a:lnTo>
                  <a:lnTo>
                    <a:pt x="88" y="268"/>
                  </a:lnTo>
                  <a:lnTo>
                    <a:pt x="88" y="267"/>
                  </a:lnTo>
                  <a:lnTo>
                    <a:pt x="87" y="267"/>
                  </a:lnTo>
                  <a:lnTo>
                    <a:pt x="88" y="270"/>
                  </a:lnTo>
                  <a:lnTo>
                    <a:pt x="87" y="270"/>
                  </a:lnTo>
                  <a:lnTo>
                    <a:pt x="88" y="270"/>
                  </a:lnTo>
                  <a:lnTo>
                    <a:pt x="87" y="271"/>
                  </a:lnTo>
                  <a:lnTo>
                    <a:pt x="88" y="271"/>
                  </a:lnTo>
                  <a:lnTo>
                    <a:pt x="87" y="271"/>
                  </a:lnTo>
                  <a:lnTo>
                    <a:pt x="87" y="272"/>
                  </a:lnTo>
                  <a:lnTo>
                    <a:pt x="86" y="272"/>
                  </a:lnTo>
                  <a:lnTo>
                    <a:pt x="87" y="273"/>
                  </a:lnTo>
                  <a:lnTo>
                    <a:pt x="86" y="274"/>
                  </a:lnTo>
                  <a:lnTo>
                    <a:pt x="87" y="274"/>
                  </a:lnTo>
                  <a:lnTo>
                    <a:pt x="88" y="274"/>
                  </a:lnTo>
                  <a:lnTo>
                    <a:pt x="88" y="277"/>
                  </a:lnTo>
                  <a:lnTo>
                    <a:pt x="88" y="278"/>
                  </a:lnTo>
                  <a:lnTo>
                    <a:pt x="87" y="278"/>
                  </a:lnTo>
                  <a:lnTo>
                    <a:pt x="86" y="278"/>
                  </a:lnTo>
                  <a:lnTo>
                    <a:pt x="85" y="277"/>
                  </a:lnTo>
                  <a:lnTo>
                    <a:pt x="82" y="277"/>
                  </a:lnTo>
                  <a:lnTo>
                    <a:pt x="81" y="277"/>
                  </a:lnTo>
                  <a:lnTo>
                    <a:pt x="80" y="277"/>
                  </a:lnTo>
                  <a:lnTo>
                    <a:pt x="79" y="277"/>
                  </a:lnTo>
                  <a:lnTo>
                    <a:pt x="76" y="277"/>
                  </a:lnTo>
                  <a:lnTo>
                    <a:pt x="75" y="277"/>
                  </a:lnTo>
                  <a:lnTo>
                    <a:pt x="74" y="277"/>
                  </a:lnTo>
                  <a:lnTo>
                    <a:pt x="73" y="278"/>
                  </a:lnTo>
                  <a:lnTo>
                    <a:pt x="72" y="279"/>
                  </a:lnTo>
                  <a:lnTo>
                    <a:pt x="70" y="279"/>
                  </a:lnTo>
                  <a:lnTo>
                    <a:pt x="69" y="279"/>
                  </a:lnTo>
                  <a:lnTo>
                    <a:pt x="68" y="278"/>
                  </a:lnTo>
                  <a:lnTo>
                    <a:pt x="68" y="277"/>
                  </a:lnTo>
                  <a:lnTo>
                    <a:pt x="67" y="276"/>
                  </a:lnTo>
                  <a:lnTo>
                    <a:pt x="65" y="276"/>
                  </a:lnTo>
                  <a:lnTo>
                    <a:pt x="65" y="274"/>
                  </a:lnTo>
                  <a:lnTo>
                    <a:pt x="64" y="273"/>
                  </a:lnTo>
                  <a:lnTo>
                    <a:pt x="63" y="272"/>
                  </a:lnTo>
                  <a:lnTo>
                    <a:pt x="64" y="272"/>
                  </a:lnTo>
                  <a:lnTo>
                    <a:pt x="65" y="272"/>
                  </a:lnTo>
                  <a:lnTo>
                    <a:pt x="67" y="273"/>
                  </a:lnTo>
                  <a:lnTo>
                    <a:pt x="67" y="272"/>
                  </a:lnTo>
                  <a:lnTo>
                    <a:pt x="68" y="271"/>
                  </a:lnTo>
                  <a:lnTo>
                    <a:pt x="69" y="271"/>
                  </a:lnTo>
                  <a:lnTo>
                    <a:pt x="68" y="268"/>
                  </a:lnTo>
                  <a:lnTo>
                    <a:pt x="69" y="268"/>
                  </a:lnTo>
                  <a:lnTo>
                    <a:pt x="70" y="268"/>
                  </a:lnTo>
                  <a:lnTo>
                    <a:pt x="72" y="267"/>
                  </a:lnTo>
                  <a:lnTo>
                    <a:pt x="70" y="266"/>
                  </a:lnTo>
                  <a:lnTo>
                    <a:pt x="70" y="265"/>
                  </a:lnTo>
                  <a:lnTo>
                    <a:pt x="69" y="265"/>
                  </a:lnTo>
                  <a:lnTo>
                    <a:pt x="68" y="264"/>
                  </a:lnTo>
                  <a:lnTo>
                    <a:pt x="69" y="264"/>
                  </a:lnTo>
                  <a:lnTo>
                    <a:pt x="70" y="262"/>
                  </a:lnTo>
                  <a:lnTo>
                    <a:pt x="72" y="264"/>
                  </a:lnTo>
                  <a:lnTo>
                    <a:pt x="72" y="262"/>
                  </a:lnTo>
                  <a:lnTo>
                    <a:pt x="70" y="262"/>
                  </a:lnTo>
                  <a:lnTo>
                    <a:pt x="72" y="261"/>
                  </a:lnTo>
                  <a:lnTo>
                    <a:pt x="70" y="260"/>
                  </a:lnTo>
                  <a:lnTo>
                    <a:pt x="69" y="260"/>
                  </a:lnTo>
                  <a:lnTo>
                    <a:pt x="68" y="260"/>
                  </a:lnTo>
                  <a:lnTo>
                    <a:pt x="67" y="260"/>
                  </a:lnTo>
                  <a:lnTo>
                    <a:pt x="65" y="260"/>
                  </a:lnTo>
                  <a:lnTo>
                    <a:pt x="65" y="261"/>
                  </a:lnTo>
                  <a:lnTo>
                    <a:pt x="64" y="261"/>
                  </a:lnTo>
                  <a:lnTo>
                    <a:pt x="64" y="260"/>
                  </a:lnTo>
                  <a:lnTo>
                    <a:pt x="63" y="261"/>
                  </a:lnTo>
                  <a:lnTo>
                    <a:pt x="63" y="260"/>
                  </a:lnTo>
                  <a:lnTo>
                    <a:pt x="62" y="261"/>
                  </a:lnTo>
                  <a:lnTo>
                    <a:pt x="61" y="260"/>
                  </a:lnTo>
                  <a:lnTo>
                    <a:pt x="59" y="260"/>
                  </a:lnTo>
                  <a:lnTo>
                    <a:pt x="58" y="260"/>
                  </a:lnTo>
                  <a:lnTo>
                    <a:pt x="57" y="261"/>
                  </a:lnTo>
                  <a:lnTo>
                    <a:pt x="57" y="262"/>
                  </a:lnTo>
                  <a:lnTo>
                    <a:pt x="56" y="261"/>
                  </a:lnTo>
                  <a:lnTo>
                    <a:pt x="52" y="261"/>
                  </a:lnTo>
                  <a:lnTo>
                    <a:pt x="51" y="262"/>
                  </a:lnTo>
                  <a:lnTo>
                    <a:pt x="50" y="262"/>
                  </a:lnTo>
                  <a:lnTo>
                    <a:pt x="50" y="261"/>
                  </a:lnTo>
                  <a:lnTo>
                    <a:pt x="49" y="261"/>
                  </a:lnTo>
                  <a:lnTo>
                    <a:pt x="47" y="260"/>
                  </a:lnTo>
                  <a:lnTo>
                    <a:pt x="46" y="260"/>
                  </a:lnTo>
                  <a:lnTo>
                    <a:pt x="47" y="259"/>
                  </a:lnTo>
                  <a:lnTo>
                    <a:pt x="50" y="259"/>
                  </a:lnTo>
                  <a:lnTo>
                    <a:pt x="50" y="258"/>
                  </a:lnTo>
                  <a:lnTo>
                    <a:pt x="49" y="258"/>
                  </a:lnTo>
                  <a:lnTo>
                    <a:pt x="47" y="258"/>
                  </a:lnTo>
                  <a:lnTo>
                    <a:pt x="47" y="256"/>
                  </a:lnTo>
                  <a:lnTo>
                    <a:pt x="46" y="256"/>
                  </a:lnTo>
                  <a:lnTo>
                    <a:pt x="47" y="255"/>
                  </a:lnTo>
                  <a:lnTo>
                    <a:pt x="49" y="253"/>
                  </a:lnTo>
                  <a:lnTo>
                    <a:pt x="49" y="254"/>
                  </a:lnTo>
                  <a:lnTo>
                    <a:pt x="50" y="253"/>
                  </a:lnTo>
                  <a:lnTo>
                    <a:pt x="51" y="254"/>
                  </a:lnTo>
                  <a:lnTo>
                    <a:pt x="52" y="254"/>
                  </a:lnTo>
                  <a:lnTo>
                    <a:pt x="52" y="253"/>
                  </a:lnTo>
                  <a:lnTo>
                    <a:pt x="52" y="251"/>
                  </a:lnTo>
                  <a:lnTo>
                    <a:pt x="55" y="251"/>
                  </a:lnTo>
                  <a:lnTo>
                    <a:pt x="53" y="250"/>
                  </a:lnTo>
                  <a:lnTo>
                    <a:pt x="52" y="250"/>
                  </a:lnTo>
                  <a:lnTo>
                    <a:pt x="50" y="250"/>
                  </a:lnTo>
                  <a:lnTo>
                    <a:pt x="50" y="249"/>
                  </a:lnTo>
                  <a:lnTo>
                    <a:pt x="49" y="249"/>
                  </a:lnTo>
                  <a:lnTo>
                    <a:pt x="46" y="248"/>
                  </a:lnTo>
                  <a:lnTo>
                    <a:pt x="46" y="247"/>
                  </a:lnTo>
                  <a:lnTo>
                    <a:pt x="45" y="244"/>
                  </a:lnTo>
                  <a:lnTo>
                    <a:pt x="46" y="244"/>
                  </a:lnTo>
                  <a:lnTo>
                    <a:pt x="47" y="245"/>
                  </a:lnTo>
                  <a:lnTo>
                    <a:pt x="49" y="245"/>
                  </a:lnTo>
                  <a:lnTo>
                    <a:pt x="49" y="244"/>
                  </a:lnTo>
                  <a:lnTo>
                    <a:pt x="50" y="243"/>
                  </a:lnTo>
                  <a:lnTo>
                    <a:pt x="50" y="244"/>
                  </a:lnTo>
                  <a:lnTo>
                    <a:pt x="51" y="245"/>
                  </a:lnTo>
                  <a:lnTo>
                    <a:pt x="52" y="245"/>
                  </a:lnTo>
                  <a:lnTo>
                    <a:pt x="52" y="247"/>
                  </a:lnTo>
                  <a:lnTo>
                    <a:pt x="53" y="248"/>
                  </a:lnTo>
                  <a:lnTo>
                    <a:pt x="57" y="248"/>
                  </a:lnTo>
                  <a:lnTo>
                    <a:pt x="56" y="247"/>
                  </a:lnTo>
                  <a:lnTo>
                    <a:pt x="56" y="245"/>
                  </a:lnTo>
                  <a:lnTo>
                    <a:pt x="56" y="244"/>
                  </a:lnTo>
                  <a:lnTo>
                    <a:pt x="56" y="243"/>
                  </a:lnTo>
                  <a:lnTo>
                    <a:pt x="56" y="244"/>
                  </a:lnTo>
                  <a:lnTo>
                    <a:pt x="57" y="244"/>
                  </a:lnTo>
                  <a:lnTo>
                    <a:pt x="58" y="245"/>
                  </a:lnTo>
                  <a:lnTo>
                    <a:pt x="58" y="244"/>
                  </a:lnTo>
                  <a:lnTo>
                    <a:pt x="58" y="243"/>
                  </a:lnTo>
                  <a:lnTo>
                    <a:pt x="58" y="242"/>
                  </a:lnTo>
                  <a:lnTo>
                    <a:pt x="57" y="241"/>
                  </a:lnTo>
                  <a:lnTo>
                    <a:pt x="58" y="241"/>
                  </a:lnTo>
                  <a:lnTo>
                    <a:pt x="59" y="241"/>
                  </a:lnTo>
                  <a:lnTo>
                    <a:pt x="61" y="242"/>
                  </a:lnTo>
                  <a:lnTo>
                    <a:pt x="61" y="243"/>
                  </a:lnTo>
                  <a:lnTo>
                    <a:pt x="62" y="243"/>
                  </a:lnTo>
                  <a:lnTo>
                    <a:pt x="62" y="242"/>
                  </a:lnTo>
                  <a:lnTo>
                    <a:pt x="62" y="241"/>
                  </a:lnTo>
                  <a:lnTo>
                    <a:pt x="63" y="241"/>
                  </a:lnTo>
                  <a:lnTo>
                    <a:pt x="64" y="242"/>
                  </a:lnTo>
                  <a:lnTo>
                    <a:pt x="65" y="242"/>
                  </a:lnTo>
                  <a:lnTo>
                    <a:pt x="64" y="241"/>
                  </a:lnTo>
                  <a:lnTo>
                    <a:pt x="65" y="241"/>
                  </a:lnTo>
                  <a:lnTo>
                    <a:pt x="67" y="241"/>
                  </a:lnTo>
                  <a:lnTo>
                    <a:pt x="67" y="239"/>
                  </a:lnTo>
                  <a:lnTo>
                    <a:pt x="65" y="239"/>
                  </a:lnTo>
                  <a:lnTo>
                    <a:pt x="65" y="238"/>
                  </a:lnTo>
                  <a:lnTo>
                    <a:pt x="65" y="237"/>
                  </a:lnTo>
                  <a:lnTo>
                    <a:pt x="65" y="236"/>
                  </a:lnTo>
                  <a:lnTo>
                    <a:pt x="67" y="236"/>
                  </a:lnTo>
                  <a:lnTo>
                    <a:pt x="65" y="237"/>
                  </a:lnTo>
                  <a:lnTo>
                    <a:pt x="67" y="237"/>
                  </a:lnTo>
                  <a:lnTo>
                    <a:pt x="68" y="237"/>
                  </a:lnTo>
                  <a:lnTo>
                    <a:pt x="68" y="238"/>
                  </a:lnTo>
                  <a:lnTo>
                    <a:pt x="69" y="237"/>
                  </a:lnTo>
                  <a:lnTo>
                    <a:pt x="68" y="236"/>
                  </a:lnTo>
                  <a:lnTo>
                    <a:pt x="69" y="236"/>
                  </a:lnTo>
                  <a:lnTo>
                    <a:pt x="70" y="237"/>
                  </a:lnTo>
                  <a:lnTo>
                    <a:pt x="70" y="236"/>
                  </a:lnTo>
                  <a:lnTo>
                    <a:pt x="70" y="235"/>
                  </a:lnTo>
                  <a:lnTo>
                    <a:pt x="72" y="236"/>
                  </a:lnTo>
                  <a:lnTo>
                    <a:pt x="73" y="236"/>
                  </a:lnTo>
                  <a:lnTo>
                    <a:pt x="72" y="235"/>
                  </a:lnTo>
                  <a:lnTo>
                    <a:pt x="70" y="233"/>
                  </a:lnTo>
                  <a:lnTo>
                    <a:pt x="72" y="232"/>
                  </a:lnTo>
                  <a:lnTo>
                    <a:pt x="73" y="233"/>
                  </a:lnTo>
                  <a:lnTo>
                    <a:pt x="73" y="232"/>
                  </a:lnTo>
                  <a:lnTo>
                    <a:pt x="74" y="232"/>
                  </a:lnTo>
                  <a:lnTo>
                    <a:pt x="75" y="232"/>
                  </a:lnTo>
                  <a:lnTo>
                    <a:pt x="76" y="232"/>
                  </a:lnTo>
                  <a:lnTo>
                    <a:pt x="79" y="232"/>
                  </a:lnTo>
                  <a:lnTo>
                    <a:pt x="79" y="233"/>
                  </a:lnTo>
                  <a:lnTo>
                    <a:pt x="80" y="233"/>
                  </a:lnTo>
                  <a:lnTo>
                    <a:pt x="81" y="233"/>
                  </a:lnTo>
                  <a:lnTo>
                    <a:pt x="82" y="233"/>
                  </a:lnTo>
                  <a:lnTo>
                    <a:pt x="82" y="232"/>
                  </a:lnTo>
                  <a:lnTo>
                    <a:pt x="82" y="231"/>
                  </a:lnTo>
                  <a:lnTo>
                    <a:pt x="84" y="232"/>
                  </a:lnTo>
                  <a:lnTo>
                    <a:pt x="85" y="232"/>
                  </a:lnTo>
                  <a:lnTo>
                    <a:pt x="86" y="231"/>
                  </a:lnTo>
                  <a:lnTo>
                    <a:pt x="86" y="230"/>
                  </a:lnTo>
                  <a:lnTo>
                    <a:pt x="87" y="229"/>
                  </a:lnTo>
                  <a:lnTo>
                    <a:pt x="88" y="229"/>
                  </a:lnTo>
                  <a:lnTo>
                    <a:pt x="90" y="227"/>
                  </a:lnTo>
                  <a:lnTo>
                    <a:pt x="90" y="226"/>
                  </a:lnTo>
                  <a:lnTo>
                    <a:pt x="91" y="226"/>
                  </a:lnTo>
                  <a:lnTo>
                    <a:pt x="91" y="225"/>
                  </a:lnTo>
                  <a:lnTo>
                    <a:pt x="92" y="225"/>
                  </a:lnTo>
                  <a:lnTo>
                    <a:pt x="93" y="225"/>
                  </a:lnTo>
                  <a:lnTo>
                    <a:pt x="93" y="224"/>
                  </a:lnTo>
                  <a:lnTo>
                    <a:pt x="94" y="225"/>
                  </a:lnTo>
                  <a:lnTo>
                    <a:pt x="96" y="225"/>
                  </a:lnTo>
                  <a:lnTo>
                    <a:pt x="96" y="224"/>
                  </a:lnTo>
                  <a:lnTo>
                    <a:pt x="96" y="225"/>
                  </a:lnTo>
                  <a:lnTo>
                    <a:pt x="97" y="224"/>
                  </a:lnTo>
                  <a:lnTo>
                    <a:pt x="97" y="225"/>
                  </a:lnTo>
                  <a:lnTo>
                    <a:pt x="98" y="225"/>
                  </a:lnTo>
                  <a:lnTo>
                    <a:pt x="98" y="224"/>
                  </a:lnTo>
                  <a:lnTo>
                    <a:pt x="99" y="223"/>
                  </a:lnTo>
                  <a:lnTo>
                    <a:pt x="99" y="224"/>
                  </a:lnTo>
                  <a:lnTo>
                    <a:pt x="100" y="224"/>
                  </a:lnTo>
                  <a:lnTo>
                    <a:pt x="100" y="223"/>
                  </a:lnTo>
                  <a:lnTo>
                    <a:pt x="102" y="223"/>
                  </a:lnTo>
                  <a:lnTo>
                    <a:pt x="102" y="221"/>
                  </a:lnTo>
                  <a:lnTo>
                    <a:pt x="102" y="223"/>
                  </a:lnTo>
                  <a:lnTo>
                    <a:pt x="103" y="223"/>
                  </a:lnTo>
                  <a:lnTo>
                    <a:pt x="104" y="221"/>
                  </a:lnTo>
                  <a:lnTo>
                    <a:pt x="103" y="221"/>
                  </a:lnTo>
                  <a:lnTo>
                    <a:pt x="104" y="221"/>
                  </a:lnTo>
                  <a:lnTo>
                    <a:pt x="105" y="220"/>
                  </a:lnTo>
                  <a:lnTo>
                    <a:pt x="105" y="221"/>
                  </a:lnTo>
                  <a:lnTo>
                    <a:pt x="104" y="223"/>
                  </a:lnTo>
                  <a:lnTo>
                    <a:pt x="105" y="223"/>
                  </a:lnTo>
                  <a:lnTo>
                    <a:pt x="105" y="221"/>
                  </a:lnTo>
                  <a:lnTo>
                    <a:pt x="105" y="223"/>
                  </a:lnTo>
                  <a:lnTo>
                    <a:pt x="106" y="223"/>
                  </a:lnTo>
                  <a:lnTo>
                    <a:pt x="108" y="223"/>
                  </a:lnTo>
                  <a:lnTo>
                    <a:pt x="108" y="221"/>
                  </a:lnTo>
                  <a:lnTo>
                    <a:pt x="106" y="221"/>
                  </a:lnTo>
                  <a:lnTo>
                    <a:pt x="106" y="220"/>
                  </a:lnTo>
                  <a:lnTo>
                    <a:pt x="108" y="220"/>
                  </a:lnTo>
                  <a:lnTo>
                    <a:pt x="108" y="219"/>
                  </a:lnTo>
                  <a:lnTo>
                    <a:pt x="109" y="219"/>
                  </a:lnTo>
                  <a:lnTo>
                    <a:pt x="109" y="218"/>
                  </a:lnTo>
                  <a:lnTo>
                    <a:pt x="108" y="218"/>
                  </a:lnTo>
                  <a:lnTo>
                    <a:pt x="108" y="219"/>
                  </a:lnTo>
                  <a:lnTo>
                    <a:pt x="106" y="219"/>
                  </a:lnTo>
                  <a:lnTo>
                    <a:pt x="105" y="219"/>
                  </a:lnTo>
                  <a:lnTo>
                    <a:pt x="105" y="220"/>
                  </a:lnTo>
                  <a:lnTo>
                    <a:pt x="104" y="218"/>
                  </a:lnTo>
                  <a:lnTo>
                    <a:pt x="103" y="217"/>
                  </a:lnTo>
                  <a:lnTo>
                    <a:pt x="103" y="218"/>
                  </a:lnTo>
                  <a:lnTo>
                    <a:pt x="102" y="218"/>
                  </a:lnTo>
                  <a:lnTo>
                    <a:pt x="100" y="218"/>
                  </a:lnTo>
                  <a:lnTo>
                    <a:pt x="98" y="219"/>
                  </a:lnTo>
                  <a:lnTo>
                    <a:pt x="99" y="219"/>
                  </a:lnTo>
                  <a:lnTo>
                    <a:pt x="98" y="220"/>
                  </a:lnTo>
                  <a:lnTo>
                    <a:pt x="98" y="219"/>
                  </a:lnTo>
                  <a:lnTo>
                    <a:pt x="97" y="219"/>
                  </a:lnTo>
                  <a:lnTo>
                    <a:pt x="96" y="220"/>
                  </a:lnTo>
                  <a:lnTo>
                    <a:pt x="97" y="220"/>
                  </a:lnTo>
                  <a:lnTo>
                    <a:pt x="96" y="220"/>
                  </a:lnTo>
                  <a:lnTo>
                    <a:pt x="94" y="220"/>
                  </a:lnTo>
                  <a:lnTo>
                    <a:pt x="94" y="219"/>
                  </a:lnTo>
                  <a:lnTo>
                    <a:pt x="93" y="219"/>
                  </a:lnTo>
                  <a:lnTo>
                    <a:pt x="92" y="219"/>
                  </a:lnTo>
                  <a:lnTo>
                    <a:pt x="92" y="220"/>
                  </a:lnTo>
                  <a:lnTo>
                    <a:pt x="91" y="220"/>
                  </a:lnTo>
                  <a:lnTo>
                    <a:pt x="91" y="221"/>
                  </a:lnTo>
                  <a:lnTo>
                    <a:pt x="90" y="221"/>
                  </a:lnTo>
                  <a:lnTo>
                    <a:pt x="90" y="223"/>
                  </a:lnTo>
                  <a:lnTo>
                    <a:pt x="90" y="224"/>
                  </a:lnTo>
                  <a:lnTo>
                    <a:pt x="88" y="224"/>
                  </a:lnTo>
                  <a:lnTo>
                    <a:pt x="90" y="224"/>
                  </a:lnTo>
                  <a:lnTo>
                    <a:pt x="88" y="224"/>
                  </a:lnTo>
                  <a:lnTo>
                    <a:pt x="88" y="223"/>
                  </a:lnTo>
                  <a:lnTo>
                    <a:pt x="88" y="224"/>
                  </a:lnTo>
                  <a:lnTo>
                    <a:pt x="88" y="225"/>
                  </a:lnTo>
                  <a:lnTo>
                    <a:pt x="87" y="225"/>
                  </a:lnTo>
                  <a:lnTo>
                    <a:pt x="87" y="226"/>
                  </a:lnTo>
                  <a:lnTo>
                    <a:pt x="86" y="225"/>
                  </a:lnTo>
                  <a:lnTo>
                    <a:pt x="85" y="225"/>
                  </a:lnTo>
                  <a:lnTo>
                    <a:pt x="86" y="224"/>
                  </a:lnTo>
                  <a:lnTo>
                    <a:pt x="85" y="223"/>
                  </a:lnTo>
                  <a:lnTo>
                    <a:pt x="85" y="221"/>
                  </a:lnTo>
                  <a:lnTo>
                    <a:pt x="86" y="221"/>
                  </a:lnTo>
                  <a:lnTo>
                    <a:pt x="85" y="220"/>
                  </a:lnTo>
                  <a:lnTo>
                    <a:pt x="85" y="221"/>
                  </a:lnTo>
                  <a:lnTo>
                    <a:pt x="84" y="221"/>
                  </a:lnTo>
                  <a:lnTo>
                    <a:pt x="84" y="223"/>
                  </a:lnTo>
                  <a:lnTo>
                    <a:pt x="84" y="224"/>
                  </a:lnTo>
                  <a:lnTo>
                    <a:pt x="82" y="224"/>
                  </a:lnTo>
                  <a:lnTo>
                    <a:pt x="81" y="224"/>
                  </a:lnTo>
                  <a:lnTo>
                    <a:pt x="80" y="224"/>
                  </a:lnTo>
                  <a:lnTo>
                    <a:pt x="80" y="223"/>
                  </a:lnTo>
                  <a:lnTo>
                    <a:pt x="80" y="224"/>
                  </a:lnTo>
                  <a:lnTo>
                    <a:pt x="79" y="224"/>
                  </a:lnTo>
                  <a:lnTo>
                    <a:pt x="79" y="223"/>
                  </a:lnTo>
                  <a:lnTo>
                    <a:pt x="78" y="223"/>
                  </a:lnTo>
                  <a:lnTo>
                    <a:pt x="78" y="221"/>
                  </a:lnTo>
                  <a:lnTo>
                    <a:pt x="79" y="221"/>
                  </a:lnTo>
                  <a:lnTo>
                    <a:pt x="80" y="221"/>
                  </a:lnTo>
                  <a:lnTo>
                    <a:pt x="80" y="220"/>
                  </a:lnTo>
                  <a:lnTo>
                    <a:pt x="79" y="220"/>
                  </a:lnTo>
                  <a:lnTo>
                    <a:pt x="80" y="220"/>
                  </a:lnTo>
                  <a:lnTo>
                    <a:pt x="80" y="219"/>
                  </a:lnTo>
                  <a:lnTo>
                    <a:pt x="80" y="218"/>
                  </a:lnTo>
                  <a:lnTo>
                    <a:pt x="81" y="218"/>
                  </a:lnTo>
                  <a:lnTo>
                    <a:pt x="82" y="218"/>
                  </a:lnTo>
                  <a:lnTo>
                    <a:pt x="82" y="217"/>
                  </a:lnTo>
                  <a:lnTo>
                    <a:pt x="82" y="215"/>
                  </a:lnTo>
                  <a:lnTo>
                    <a:pt x="84" y="215"/>
                  </a:lnTo>
                  <a:lnTo>
                    <a:pt x="85" y="215"/>
                  </a:lnTo>
                  <a:lnTo>
                    <a:pt x="85" y="214"/>
                  </a:lnTo>
                  <a:lnTo>
                    <a:pt x="84" y="213"/>
                  </a:lnTo>
                  <a:lnTo>
                    <a:pt x="82" y="213"/>
                  </a:lnTo>
                  <a:lnTo>
                    <a:pt x="82" y="214"/>
                  </a:lnTo>
                  <a:lnTo>
                    <a:pt x="82" y="215"/>
                  </a:lnTo>
                  <a:lnTo>
                    <a:pt x="81" y="215"/>
                  </a:lnTo>
                  <a:lnTo>
                    <a:pt x="80" y="215"/>
                  </a:lnTo>
                  <a:lnTo>
                    <a:pt x="79" y="214"/>
                  </a:lnTo>
                  <a:lnTo>
                    <a:pt x="79" y="215"/>
                  </a:lnTo>
                  <a:lnTo>
                    <a:pt x="78" y="214"/>
                  </a:lnTo>
                  <a:lnTo>
                    <a:pt x="78" y="215"/>
                  </a:lnTo>
                  <a:lnTo>
                    <a:pt x="76" y="215"/>
                  </a:lnTo>
                  <a:lnTo>
                    <a:pt x="75" y="215"/>
                  </a:lnTo>
                  <a:lnTo>
                    <a:pt x="75" y="217"/>
                  </a:lnTo>
                  <a:lnTo>
                    <a:pt x="74" y="217"/>
                  </a:lnTo>
                  <a:lnTo>
                    <a:pt x="73" y="217"/>
                  </a:lnTo>
                  <a:lnTo>
                    <a:pt x="73" y="215"/>
                  </a:lnTo>
                  <a:lnTo>
                    <a:pt x="74" y="215"/>
                  </a:lnTo>
                  <a:lnTo>
                    <a:pt x="74" y="214"/>
                  </a:lnTo>
                  <a:lnTo>
                    <a:pt x="74" y="213"/>
                  </a:lnTo>
                  <a:lnTo>
                    <a:pt x="74" y="214"/>
                  </a:lnTo>
                  <a:lnTo>
                    <a:pt x="75" y="214"/>
                  </a:lnTo>
                  <a:lnTo>
                    <a:pt x="75" y="213"/>
                  </a:lnTo>
                  <a:lnTo>
                    <a:pt x="74" y="212"/>
                  </a:lnTo>
                  <a:lnTo>
                    <a:pt x="74" y="211"/>
                  </a:lnTo>
                  <a:lnTo>
                    <a:pt x="74" y="209"/>
                  </a:lnTo>
                  <a:lnTo>
                    <a:pt x="75" y="209"/>
                  </a:lnTo>
                  <a:lnTo>
                    <a:pt x="76" y="209"/>
                  </a:lnTo>
                  <a:lnTo>
                    <a:pt x="78" y="209"/>
                  </a:lnTo>
                  <a:lnTo>
                    <a:pt x="80" y="208"/>
                  </a:lnTo>
                  <a:lnTo>
                    <a:pt x="79" y="207"/>
                  </a:lnTo>
                  <a:lnTo>
                    <a:pt x="79" y="206"/>
                  </a:lnTo>
                  <a:lnTo>
                    <a:pt x="80" y="206"/>
                  </a:lnTo>
                  <a:lnTo>
                    <a:pt x="81" y="206"/>
                  </a:lnTo>
                  <a:lnTo>
                    <a:pt x="81" y="205"/>
                  </a:lnTo>
                  <a:lnTo>
                    <a:pt x="82" y="205"/>
                  </a:lnTo>
                  <a:lnTo>
                    <a:pt x="82" y="203"/>
                  </a:lnTo>
                  <a:lnTo>
                    <a:pt x="84" y="203"/>
                  </a:lnTo>
                  <a:lnTo>
                    <a:pt x="84" y="202"/>
                  </a:lnTo>
                  <a:lnTo>
                    <a:pt x="84" y="201"/>
                  </a:lnTo>
                  <a:lnTo>
                    <a:pt x="85" y="202"/>
                  </a:lnTo>
                  <a:lnTo>
                    <a:pt x="85" y="201"/>
                  </a:lnTo>
                  <a:lnTo>
                    <a:pt x="86" y="201"/>
                  </a:lnTo>
                  <a:lnTo>
                    <a:pt x="87" y="200"/>
                  </a:lnTo>
                  <a:lnTo>
                    <a:pt x="86" y="199"/>
                  </a:lnTo>
                  <a:lnTo>
                    <a:pt x="87" y="197"/>
                  </a:lnTo>
                  <a:lnTo>
                    <a:pt x="87" y="199"/>
                  </a:lnTo>
                  <a:lnTo>
                    <a:pt x="88" y="197"/>
                  </a:lnTo>
                  <a:lnTo>
                    <a:pt x="90" y="199"/>
                  </a:lnTo>
                  <a:lnTo>
                    <a:pt x="91" y="197"/>
                  </a:lnTo>
                  <a:lnTo>
                    <a:pt x="91" y="196"/>
                  </a:lnTo>
                  <a:lnTo>
                    <a:pt x="92" y="197"/>
                  </a:lnTo>
                  <a:lnTo>
                    <a:pt x="93" y="196"/>
                  </a:lnTo>
                  <a:lnTo>
                    <a:pt x="93" y="197"/>
                  </a:lnTo>
                  <a:lnTo>
                    <a:pt x="94" y="197"/>
                  </a:lnTo>
                  <a:lnTo>
                    <a:pt x="94" y="196"/>
                  </a:lnTo>
                  <a:lnTo>
                    <a:pt x="94" y="195"/>
                  </a:lnTo>
                  <a:lnTo>
                    <a:pt x="96" y="195"/>
                  </a:lnTo>
                  <a:lnTo>
                    <a:pt x="97" y="195"/>
                  </a:lnTo>
                  <a:lnTo>
                    <a:pt x="97" y="194"/>
                  </a:lnTo>
                  <a:lnTo>
                    <a:pt x="97" y="193"/>
                  </a:lnTo>
                  <a:lnTo>
                    <a:pt x="97" y="194"/>
                  </a:lnTo>
                  <a:lnTo>
                    <a:pt x="98" y="194"/>
                  </a:lnTo>
                  <a:lnTo>
                    <a:pt x="98" y="193"/>
                  </a:lnTo>
                  <a:lnTo>
                    <a:pt x="99" y="193"/>
                  </a:lnTo>
                  <a:lnTo>
                    <a:pt x="98" y="191"/>
                  </a:lnTo>
                  <a:lnTo>
                    <a:pt x="99" y="191"/>
                  </a:lnTo>
                  <a:lnTo>
                    <a:pt x="100" y="191"/>
                  </a:lnTo>
                  <a:lnTo>
                    <a:pt x="99" y="190"/>
                  </a:lnTo>
                  <a:lnTo>
                    <a:pt x="99" y="189"/>
                  </a:lnTo>
                  <a:lnTo>
                    <a:pt x="100" y="189"/>
                  </a:lnTo>
                  <a:lnTo>
                    <a:pt x="99" y="189"/>
                  </a:lnTo>
                  <a:lnTo>
                    <a:pt x="98" y="189"/>
                  </a:lnTo>
                  <a:lnTo>
                    <a:pt x="97" y="190"/>
                  </a:lnTo>
                  <a:lnTo>
                    <a:pt x="96" y="190"/>
                  </a:lnTo>
                  <a:lnTo>
                    <a:pt x="94" y="190"/>
                  </a:lnTo>
                  <a:lnTo>
                    <a:pt x="93" y="190"/>
                  </a:lnTo>
                  <a:lnTo>
                    <a:pt x="92" y="190"/>
                  </a:lnTo>
                  <a:lnTo>
                    <a:pt x="91" y="191"/>
                  </a:lnTo>
                  <a:lnTo>
                    <a:pt x="90" y="191"/>
                  </a:lnTo>
                  <a:lnTo>
                    <a:pt x="88" y="191"/>
                  </a:lnTo>
                  <a:lnTo>
                    <a:pt x="87" y="193"/>
                  </a:lnTo>
                  <a:lnTo>
                    <a:pt x="86" y="193"/>
                  </a:lnTo>
                  <a:lnTo>
                    <a:pt x="85" y="193"/>
                  </a:lnTo>
                  <a:lnTo>
                    <a:pt x="84" y="194"/>
                  </a:lnTo>
                  <a:lnTo>
                    <a:pt x="82" y="194"/>
                  </a:lnTo>
                  <a:lnTo>
                    <a:pt x="81" y="195"/>
                  </a:lnTo>
                  <a:lnTo>
                    <a:pt x="80" y="195"/>
                  </a:lnTo>
                  <a:lnTo>
                    <a:pt x="79" y="196"/>
                  </a:lnTo>
                  <a:lnTo>
                    <a:pt x="78" y="197"/>
                  </a:lnTo>
                  <a:lnTo>
                    <a:pt x="75" y="199"/>
                  </a:lnTo>
                  <a:lnTo>
                    <a:pt x="76" y="199"/>
                  </a:lnTo>
                  <a:lnTo>
                    <a:pt x="78" y="199"/>
                  </a:lnTo>
                  <a:lnTo>
                    <a:pt x="78" y="200"/>
                  </a:lnTo>
                  <a:lnTo>
                    <a:pt x="79" y="200"/>
                  </a:lnTo>
                  <a:lnTo>
                    <a:pt x="79" y="201"/>
                  </a:lnTo>
                  <a:lnTo>
                    <a:pt x="78" y="201"/>
                  </a:lnTo>
                  <a:lnTo>
                    <a:pt x="79" y="201"/>
                  </a:lnTo>
                  <a:lnTo>
                    <a:pt x="78" y="202"/>
                  </a:lnTo>
                  <a:lnTo>
                    <a:pt x="79" y="202"/>
                  </a:lnTo>
                  <a:lnTo>
                    <a:pt x="79" y="203"/>
                  </a:lnTo>
                  <a:lnTo>
                    <a:pt x="79" y="205"/>
                  </a:lnTo>
                  <a:lnTo>
                    <a:pt x="79" y="206"/>
                  </a:lnTo>
                  <a:lnTo>
                    <a:pt x="78" y="207"/>
                  </a:lnTo>
                  <a:lnTo>
                    <a:pt x="76" y="207"/>
                  </a:lnTo>
                  <a:lnTo>
                    <a:pt x="76" y="206"/>
                  </a:lnTo>
                  <a:lnTo>
                    <a:pt x="75" y="206"/>
                  </a:lnTo>
                  <a:lnTo>
                    <a:pt x="74" y="208"/>
                  </a:lnTo>
                  <a:lnTo>
                    <a:pt x="74" y="209"/>
                  </a:lnTo>
                  <a:lnTo>
                    <a:pt x="73" y="211"/>
                  </a:lnTo>
                  <a:lnTo>
                    <a:pt x="72" y="211"/>
                  </a:lnTo>
                  <a:lnTo>
                    <a:pt x="73" y="211"/>
                  </a:lnTo>
                  <a:lnTo>
                    <a:pt x="72" y="212"/>
                  </a:lnTo>
                  <a:lnTo>
                    <a:pt x="72" y="213"/>
                  </a:lnTo>
                  <a:lnTo>
                    <a:pt x="70" y="212"/>
                  </a:lnTo>
                  <a:lnTo>
                    <a:pt x="69" y="213"/>
                  </a:lnTo>
                  <a:lnTo>
                    <a:pt x="68" y="213"/>
                  </a:lnTo>
                  <a:lnTo>
                    <a:pt x="68" y="214"/>
                  </a:lnTo>
                  <a:lnTo>
                    <a:pt x="67" y="213"/>
                  </a:lnTo>
                  <a:lnTo>
                    <a:pt x="65" y="212"/>
                  </a:lnTo>
                  <a:lnTo>
                    <a:pt x="67" y="212"/>
                  </a:lnTo>
                  <a:lnTo>
                    <a:pt x="67" y="211"/>
                  </a:lnTo>
                  <a:lnTo>
                    <a:pt x="67" y="212"/>
                  </a:lnTo>
                  <a:lnTo>
                    <a:pt x="67" y="211"/>
                  </a:lnTo>
                  <a:lnTo>
                    <a:pt x="67" y="209"/>
                  </a:lnTo>
                  <a:lnTo>
                    <a:pt x="65" y="208"/>
                  </a:lnTo>
                  <a:lnTo>
                    <a:pt x="64" y="208"/>
                  </a:lnTo>
                  <a:lnTo>
                    <a:pt x="63" y="209"/>
                  </a:lnTo>
                  <a:lnTo>
                    <a:pt x="62" y="211"/>
                  </a:lnTo>
                  <a:lnTo>
                    <a:pt x="62" y="213"/>
                  </a:lnTo>
                  <a:lnTo>
                    <a:pt x="61" y="213"/>
                  </a:lnTo>
                  <a:lnTo>
                    <a:pt x="59" y="214"/>
                  </a:lnTo>
                  <a:lnTo>
                    <a:pt x="59" y="215"/>
                  </a:lnTo>
                  <a:lnTo>
                    <a:pt x="59" y="217"/>
                  </a:lnTo>
                  <a:lnTo>
                    <a:pt x="58" y="217"/>
                  </a:lnTo>
                  <a:lnTo>
                    <a:pt x="57" y="218"/>
                  </a:lnTo>
                  <a:lnTo>
                    <a:pt x="56" y="218"/>
                  </a:lnTo>
                  <a:lnTo>
                    <a:pt x="56" y="217"/>
                  </a:lnTo>
                  <a:lnTo>
                    <a:pt x="55" y="217"/>
                  </a:lnTo>
                  <a:lnTo>
                    <a:pt x="55" y="215"/>
                  </a:lnTo>
                  <a:lnTo>
                    <a:pt x="53" y="215"/>
                  </a:lnTo>
                  <a:lnTo>
                    <a:pt x="53" y="217"/>
                  </a:lnTo>
                  <a:lnTo>
                    <a:pt x="52" y="217"/>
                  </a:lnTo>
                  <a:lnTo>
                    <a:pt x="51" y="218"/>
                  </a:lnTo>
                  <a:lnTo>
                    <a:pt x="51" y="219"/>
                  </a:lnTo>
                  <a:lnTo>
                    <a:pt x="52" y="220"/>
                  </a:lnTo>
                  <a:lnTo>
                    <a:pt x="51" y="220"/>
                  </a:lnTo>
                  <a:lnTo>
                    <a:pt x="52" y="220"/>
                  </a:lnTo>
                  <a:lnTo>
                    <a:pt x="51" y="220"/>
                  </a:lnTo>
                  <a:lnTo>
                    <a:pt x="50" y="220"/>
                  </a:lnTo>
                  <a:lnTo>
                    <a:pt x="50" y="221"/>
                  </a:lnTo>
                  <a:lnTo>
                    <a:pt x="49" y="221"/>
                  </a:lnTo>
                  <a:lnTo>
                    <a:pt x="47" y="221"/>
                  </a:lnTo>
                  <a:lnTo>
                    <a:pt x="46" y="221"/>
                  </a:lnTo>
                  <a:lnTo>
                    <a:pt x="49" y="220"/>
                  </a:lnTo>
                  <a:lnTo>
                    <a:pt x="47" y="220"/>
                  </a:lnTo>
                  <a:lnTo>
                    <a:pt x="46" y="220"/>
                  </a:lnTo>
                  <a:lnTo>
                    <a:pt x="46" y="221"/>
                  </a:lnTo>
                  <a:lnTo>
                    <a:pt x="45" y="221"/>
                  </a:lnTo>
                  <a:lnTo>
                    <a:pt x="45" y="223"/>
                  </a:lnTo>
                  <a:lnTo>
                    <a:pt x="44" y="223"/>
                  </a:lnTo>
                  <a:lnTo>
                    <a:pt x="44" y="224"/>
                  </a:lnTo>
                  <a:lnTo>
                    <a:pt x="43" y="224"/>
                  </a:lnTo>
                  <a:lnTo>
                    <a:pt x="44" y="224"/>
                  </a:lnTo>
                  <a:lnTo>
                    <a:pt x="45" y="225"/>
                  </a:lnTo>
                  <a:lnTo>
                    <a:pt x="43" y="226"/>
                  </a:lnTo>
                  <a:lnTo>
                    <a:pt x="43" y="227"/>
                  </a:lnTo>
                  <a:lnTo>
                    <a:pt x="41" y="229"/>
                  </a:lnTo>
                  <a:lnTo>
                    <a:pt x="41" y="227"/>
                  </a:lnTo>
                  <a:lnTo>
                    <a:pt x="40" y="227"/>
                  </a:lnTo>
                  <a:lnTo>
                    <a:pt x="39" y="227"/>
                  </a:lnTo>
                  <a:lnTo>
                    <a:pt x="38" y="226"/>
                  </a:lnTo>
                  <a:lnTo>
                    <a:pt x="39" y="226"/>
                  </a:lnTo>
                  <a:lnTo>
                    <a:pt x="38" y="225"/>
                  </a:lnTo>
                  <a:lnTo>
                    <a:pt x="35" y="226"/>
                  </a:lnTo>
                  <a:lnTo>
                    <a:pt x="35" y="227"/>
                  </a:lnTo>
                  <a:lnTo>
                    <a:pt x="35" y="226"/>
                  </a:lnTo>
                  <a:lnTo>
                    <a:pt x="34" y="226"/>
                  </a:lnTo>
                  <a:lnTo>
                    <a:pt x="33" y="226"/>
                  </a:lnTo>
                  <a:lnTo>
                    <a:pt x="32" y="225"/>
                  </a:lnTo>
                  <a:lnTo>
                    <a:pt x="31" y="225"/>
                  </a:lnTo>
                  <a:lnTo>
                    <a:pt x="31" y="224"/>
                  </a:lnTo>
                  <a:lnTo>
                    <a:pt x="29" y="223"/>
                  </a:lnTo>
                  <a:lnTo>
                    <a:pt x="28" y="221"/>
                  </a:lnTo>
                  <a:lnTo>
                    <a:pt x="31" y="221"/>
                  </a:lnTo>
                  <a:lnTo>
                    <a:pt x="31" y="220"/>
                  </a:lnTo>
                  <a:lnTo>
                    <a:pt x="29" y="219"/>
                  </a:lnTo>
                  <a:lnTo>
                    <a:pt x="27" y="217"/>
                  </a:lnTo>
                  <a:lnTo>
                    <a:pt x="28" y="217"/>
                  </a:lnTo>
                  <a:lnTo>
                    <a:pt x="29" y="217"/>
                  </a:lnTo>
                  <a:lnTo>
                    <a:pt x="31" y="217"/>
                  </a:lnTo>
                  <a:lnTo>
                    <a:pt x="31" y="215"/>
                  </a:lnTo>
                  <a:lnTo>
                    <a:pt x="32" y="215"/>
                  </a:lnTo>
                  <a:lnTo>
                    <a:pt x="33" y="215"/>
                  </a:lnTo>
                  <a:lnTo>
                    <a:pt x="33" y="214"/>
                  </a:lnTo>
                  <a:lnTo>
                    <a:pt x="32" y="215"/>
                  </a:lnTo>
                  <a:lnTo>
                    <a:pt x="32" y="214"/>
                  </a:lnTo>
                  <a:lnTo>
                    <a:pt x="31" y="214"/>
                  </a:lnTo>
                  <a:lnTo>
                    <a:pt x="29" y="213"/>
                  </a:lnTo>
                  <a:lnTo>
                    <a:pt x="29" y="212"/>
                  </a:lnTo>
                  <a:lnTo>
                    <a:pt x="31" y="212"/>
                  </a:lnTo>
                  <a:lnTo>
                    <a:pt x="32" y="212"/>
                  </a:lnTo>
                  <a:lnTo>
                    <a:pt x="33" y="212"/>
                  </a:lnTo>
                  <a:lnTo>
                    <a:pt x="33" y="211"/>
                  </a:lnTo>
                  <a:lnTo>
                    <a:pt x="33" y="209"/>
                  </a:lnTo>
                  <a:lnTo>
                    <a:pt x="34" y="211"/>
                  </a:lnTo>
                  <a:lnTo>
                    <a:pt x="35" y="211"/>
                  </a:lnTo>
                  <a:lnTo>
                    <a:pt x="35" y="208"/>
                  </a:lnTo>
                  <a:lnTo>
                    <a:pt x="37" y="207"/>
                  </a:lnTo>
                  <a:lnTo>
                    <a:pt x="38" y="206"/>
                  </a:lnTo>
                  <a:lnTo>
                    <a:pt x="39" y="207"/>
                  </a:lnTo>
                  <a:lnTo>
                    <a:pt x="39" y="205"/>
                  </a:lnTo>
                  <a:lnTo>
                    <a:pt x="38" y="203"/>
                  </a:lnTo>
                  <a:lnTo>
                    <a:pt x="38" y="202"/>
                  </a:lnTo>
                  <a:lnTo>
                    <a:pt x="38" y="201"/>
                  </a:lnTo>
                  <a:lnTo>
                    <a:pt x="39" y="201"/>
                  </a:lnTo>
                  <a:lnTo>
                    <a:pt x="40" y="201"/>
                  </a:lnTo>
                  <a:lnTo>
                    <a:pt x="41" y="201"/>
                  </a:lnTo>
                  <a:lnTo>
                    <a:pt x="43" y="200"/>
                  </a:lnTo>
                  <a:lnTo>
                    <a:pt x="44" y="200"/>
                  </a:lnTo>
                  <a:lnTo>
                    <a:pt x="45" y="199"/>
                  </a:lnTo>
                  <a:lnTo>
                    <a:pt x="46" y="199"/>
                  </a:lnTo>
                  <a:lnTo>
                    <a:pt x="45" y="199"/>
                  </a:lnTo>
                  <a:lnTo>
                    <a:pt x="45" y="197"/>
                  </a:lnTo>
                  <a:lnTo>
                    <a:pt x="44" y="196"/>
                  </a:lnTo>
                  <a:lnTo>
                    <a:pt x="44" y="195"/>
                  </a:lnTo>
                  <a:lnTo>
                    <a:pt x="45" y="195"/>
                  </a:lnTo>
                  <a:lnTo>
                    <a:pt x="46" y="195"/>
                  </a:lnTo>
                  <a:lnTo>
                    <a:pt x="47" y="196"/>
                  </a:lnTo>
                  <a:lnTo>
                    <a:pt x="47" y="195"/>
                  </a:lnTo>
                  <a:lnTo>
                    <a:pt x="49" y="195"/>
                  </a:lnTo>
                  <a:lnTo>
                    <a:pt x="50" y="195"/>
                  </a:lnTo>
                  <a:lnTo>
                    <a:pt x="51" y="196"/>
                  </a:lnTo>
                  <a:lnTo>
                    <a:pt x="51" y="195"/>
                  </a:lnTo>
                  <a:lnTo>
                    <a:pt x="52" y="194"/>
                  </a:lnTo>
                  <a:lnTo>
                    <a:pt x="52" y="193"/>
                  </a:lnTo>
                  <a:lnTo>
                    <a:pt x="52" y="191"/>
                  </a:lnTo>
                  <a:lnTo>
                    <a:pt x="53" y="191"/>
                  </a:lnTo>
                  <a:lnTo>
                    <a:pt x="53" y="190"/>
                  </a:lnTo>
                  <a:lnTo>
                    <a:pt x="55" y="190"/>
                  </a:lnTo>
                  <a:lnTo>
                    <a:pt x="55" y="189"/>
                  </a:lnTo>
                  <a:lnTo>
                    <a:pt x="55" y="188"/>
                  </a:lnTo>
                  <a:lnTo>
                    <a:pt x="56" y="188"/>
                  </a:lnTo>
                  <a:lnTo>
                    <a:pt x="56" y="187"/>
                  </a:lnTo>
                  <a:lnTo>
                    <a:pt x="57" y="185"/>
                  </a:lnTo>
                  <a:lnTo>
                    <a:pt x="57" y="184"/>
                  </a:lnTo>
                  <a:lnTo>
                    <a:pt x="58" y="184"/>
                  </a:lnTo>
                  <a:lnTo>
                    <a:pt x="59" y="184"/>
                  </a:lnTo>
                  <a:lnTo>
                    <a:pt x="58" y="184"/>
                  </a:lnTo>
                  <a:lnTo>
                    <a:pt x="58" y="183"/>
                  </a:lnTo>
                  <a:lnTo>
                    <a:pt x="58" y="182"/>
                  </a:lnTo>
                  <a:lnTo>
                    <a:pt x="57" y="183"/>
                  </a:lnTo>
                  <a:lnTo>
                    <a:pt x="57" y="182"/>
                  </a:lnTo>
                  <a:lnTo>
                    <a:pt x="57" y="181"/>
                  </a:lnTo>
                  <a:lnTo>
                    <a:pt x="58" y="181"/>
                  </a:lnTo>
                  <a:lnTo>
                    <a:pt x="57" y="181"/>
                  </a:lnTo>
                  <a:lnTo>
                    <a:pt x="56" y="179"/>
                  </a:lnTo>
                  <a:lnTo>
                    <a:pt x="55" y="178"/>
                  </a:lnTo>
                  <a:lnTo>
                    <a:pt x="55" y="179"/>
                  </a:lnTo>
                  <a:lnTo>
                    <a:pt x="53" y="178"/>
                  </a:lnTo>
                  <a:lnTo>
                    <a:pt x="52" y="177"/>
                  </a:lnTo>
                  <a:lnTo>
                    <a:pt x="52" y="176"/>
                  </a:lnTo>
                  <a:lnTo>
                    <a:pt x="51" y="176"/>
                  </a:lnTo>
                  <a:lnTo>
                    <a:pt x="50" y="176"/>
                  </a:lnTo>
                  <a:lnTo>
                    <a:pt x="50" y="175"/>
                  </a:lnTo>
                  <a:lnTo>
                    <a:pt x="49" y="175"/>
                  </a:lnTo>
                  <a:lnTo>
                    <a:pt x="50" y="175"/>
                  </a:lnTo>
                  <a:lnTo>
                    <a:pt x="50" y="173"/>
                  </a:lnTo>
                  <a:lnTo>
                    <a:pt x="49" y="175"/>
                  </a:lnTo>
                  <a:lnTo>
                    <a:pt x="47" y="173"/>
                  </a:lnTo>
                  <a:lnTo>
                    <a:pt x="47" y="175"/>
                  </a:lnTo>
                  <a:lnTo>
                    <a:pt x="49" y="176"/>
                  </a:lnTo>
                  <a:lnTo>
                    <a:pt x="47" y="176"/>
                  </a:lnTo>
                  <a:lnTo>
                    <a:pt x="47" y="177"/>
                  </a:lnTo>
                  <a:lnTo>
                    <a:pt x="47" y="176"/>
                  </a:lnTo>
                  <a:lnTo>
                    <a:pt x="47" y="177"/>
                  </a:lnTo>
                  <a:lnTo>
                    <a:pt x="47" y="178"/>
                  </a:lnTo>
                  <a:lnTo>
                    <a:pt x="46" y="178"/>
                  </a:lnTo>
                  <a:lnTo>
                    <a:pt x="46" y="179"/>
                  </a:lnTo>
                  <a:lnTo>
                    <a:pt x="45" y="181"/>
                  </a:lnTo>
                  <a:lnTo>
                    <a:pt x="45" y="179"/>
                  </a:lnTo>
                  <a:lnTo>
                    <a:pt x="44" y="179"/>
                  </a:lnTo>
                  <a:lnTo>
                    <a:pt x="43" y="179"/>
                  </a:lnTo>
                  <a:lnTo>
                    <a:pt x="41" y="181"/>
                  </a:lnTo>
                  <a:lnTo>
                    <a:pt x="40" y="182"/>
                  </a:lnTo>
                  <a:lnTo>
                    <a:pt x="39" y="182"/>
                  </a:lnTo>
                  <a:lnTo>
                    <a:pt x="38" y="183"/>
                  </a:lnTo>
                  <a:lnTo>
                    <a:pt x="37" y="184"/>
                  </a:lnTo>
                  <a:lnTo>
                    <a:pt x="37" y="183"/>
                  </a:lnTo>
                  <a:lnTo>
                    <a:pt x="34" y="184"/>
                  </a:lnTo>
                  <a:lnTo>
                    <a:pt x="33" y="185"/>
                  </a:lnTo>
                  <a:lnTo>
                    <a:pt x="32" y="184"/>
                  </a:lnTo>
                  <a:lnTo>
                    <a:pt x="32" y="185"/>
                  </a:lnTo>
                  <a:lnTo>
                    <a:pt x="31" y="185"/>
                  </a:lnTo>
                  <a:lnTo>
                    <a:pt x="29" y="184"/>
                  </a:lnTo>
                  <a:lnTo>
                    <a:pt x="29" y="185"/>
                  </a:lnTo>
                  <a:lnTo>
                    <a:pt x="28" y="185"/>
                  </a:lnTo>
                  <a:lnTo>
                    <a:pt x="27" y="185"/>
                  </a:lnTo>
                  <a:lnTo>
                    <a:pt x="27" y="184"/>
                  </a:lnTo>
                  <a:lnTo>
                    <a:pt x="26" y="184"/>
                  </a:lnTo>
                  <a:lnTo>
                    <a:pt x="26" y="183"/>
                  </a:lnTo>
                  <a:lnTo>
                    <a:pt x="25" y="183"/>
                  </a:lnTo>
                  <a:lnTo>
                    <a:pt x="23" y="182"/>
                  </a:lnTo>
                  <a:lnTo>
                    <a:pt x="23" y="181"/>
                  </a:lnTo>
                  <a:lnTo>
                    <a:pt x="22" y="181"/>
                  </a:lnTo>
                  <a:lnTo>
                    <a:pt x="22" y="182"/>
                  </a:lnTo>
                  <a:lnTo>
                    <a:pt x="22" y="181"/>
                  </a:lnTo>
                  <a:lnTo>
                    <a:pt x="21" y="181"/>
                  </a:lnTo>
                  <a:lnTo>
                    <a:pt x="20" y="181"/>
                  </a:lnTo>
                  <a:lnTo>
                    <a:pt x="21" y="181"/>
                  </a:lnTo>
                  <a:lnTo>
                    <a:pt x="20" y="181"/>
                  </a:lnTo>
                  <a:lnTo>
                    <a:pt x="20" y="179"/>
                  </a:lnTo>
                  <a:lnTo>
                    <a:pt x="19" y="178"/>
                  </a:lnTo>
                  <a:lnTo>
                    <a:pt x="17" y="178"/>
                  </a:lnTo>
                  <a:lnTo>
                    <a:pt x="17" y="179"/>
                  </a:lnTo>
                  <a:lnTo>
                    <a:pt x="16" y="178"/>
                  </a:lnTo>
                  <a:lnTo>
                    <a:pt x="15" y="178"/>
                  </a:lnTo>
                  <a:lnTo>
                    <a:pt x="14" y="177"/>
                  </a:lnTo>
                  <a:lnTo>
                    <a:pt x="13" y="176"/>
                  </a:lnTo>
                  <a:lnTo>
                    <a:pt x="11" y="176"/>
                  </a:lnTo>
                  <a:lnTo>
                    <a:pt x="13" y="176"/>
                  </a:lnTo>
                  <a:lnTo>
                    <a:pt x="13" y="175"/>
                  </a:lnTo>
                  <a:lnTo>
                    <a:pt x="14" y="175"/>
                  </a:lnTo>
                  <a:lnTo>
                    <a:pt x="14" y="173"/>
                  </a:lnTo>
                  <a:lnTo>
                    <a:pt x="14" y="172"/>
                  </a:lnTo>
                  <a:lnTo>
                    <a:pt x="13" y="172"/>
                  </a:lnTo>
                  <a:lnTo>
                    <a:pt x="14" y="171"/>
                  </a:lnTo>
                  <a:lnTo>
                    <a:pt x="15" y="171"/>
                  </a:lnTo>
                  <a:lnTo>
                    <a:pt x="14" y="171"/>
                  </a:lnTo>
                  <a:lnTo>
                    <a:pt x="11" y="171"/>
                  </a:lnTo>
                  <a:lnTo>
                    <a:pt x="11" y="172"/>
                  </a:lnTo>
                  <a:lnTo>
                    <a:pt x="11" y="173"/>
                  </a:lnTo>
                  <a:lnTo>
                    <a:pt x="10" y="173"/>
                  </a:lnTo>
                  <a:lnTo>
                    <a:pt x="9" y="173"/>
                  </a:lnTo>
                  <a:lnTo>
                    <a:pt x="8" y="173"/>
                  </a:lnTo>
                  <a:lnTo>
                    <a:pt x="6" y="175"/>
                  </a:lnTo>
                  <a:lnTo>
                    <a:pt x="6" y="173"/>
                  </a:lnTo>
                  <a:lnTo>
                    <a:pt x="5" y="175"/>
                  </a:lnTo>
                  <a:lnTo>
                    <a:pt x="5" y="173"/>
                  </a:lnTo>
                  <a:lnTo>
                    <a:pt x="4" y="173"/>
                  </a:lnTo>
                  <a:lnTo>
                    <a:pt x="4" y="171"/>
                  </a:lnTo>
                  <a:lnTo>
                    <a:pt x="3" y="171"/>
                  </a:lnTo>
                  <a:lnTo>
                    <a:pt x="3" y="170"/>
                  </a:lnTo>
                  <a:lnTo>
                    <a:pt x="2" y="167"/>
                  </a:lnTo>
                  <a:lnTo>
                    <a:pt x="2" y="166"/>
                  </a:lnTo>
                  <a:lnTo>
                    <a:pt x="0" y="165"/>
                  </a:lnTo>
                  <a:lnTo>
                    <a:pt x="0" y="164"/>
                  </a:lnTo>
                  <a:lnTo>
                    <a:pt x="2" y="164"/>
                  </a:lnTo>
                  <a:lnTo>
                    <a:pt x="3" y="165"/>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1" name="Freeform 74"/>
            <p:cNvSpPr>
              <a:spLocks/>
            </p:cNvSpPr>
            <p:nvPr userDrawn="1"/>
          </p:nvSpPr>
          <p:spPr bwMode="auto">
            <a:xfrm>
              <a:off x="6119813" y="6311901"/>
              <a:ext cx="219075" cy="266700"/>
            </a:xfrm>
            <a:custGeom>
              <a:avLst/>
              <a:gdLst/>
              <a:ahLst/>
              <a:cxnLst>
                <a:cxn ang="0">
                  <a:pos x="392" y="612"/>
                </a:cxn>
                <a:cxn ang="0">
                  <a:pos x="399" y="597"/>
                </a:cxn>
                <a:cxn ang="0">
                  <a:pos x="395" y="664"/>
                </a:cxn>
                <a:cxn ang="0">
                  <a:pos x="436" y="642"/>
                </a:cxn>
                <a:cxn ang="0">
                  <a:pos x="423" y="662"/>
                </a:cxn>
                <a:cxn ang="0">
                  <a:pos x="452" y="694"/>
                </a:cxn>
                <a:cxn ang="0">
                  <a:pos x="500" y="722"/>
                </a:cxn>
                <a:cxn ang="0">
                  <a:pos x="590" y="685"/>
                </a:cxn>
                <a:cxn ang="0">
                  <a:pos x="581" y="640"/>
                </a:cxn>
                <a:cxn ang="0">
                  <a:pos x="509" y="626"/>
                </a:cxn>
                <a:cxn ang="0">
                  <a:pos x="559" y="599"/>
                </a:cxn>
                <a:cxn ang="0">
                  <a:pos x="546" y="566"/>
                </a:cxn>
                <a:cxn ang="0">
                  <a:pos x="513" y="518"/>
                </a:cxn>
                <a:cxn ang="0">
                  <a:pos x="472" y="457"/>
                </a:cxn>
                <a:cxn ang="0">
                  <a:pos x="534" y="450"/>
                </a:cxn>
                <a:cxn ang="0">
                  <a:pos x="619" y="395"/>
                </a:cxn>
                <a:cxn ang="0">
                  <a:pos x="670" y="329"/>
                </a:cxn>
                <a:cxn ang="0">
                  <a:pos x="605" y="261"/>
                </a:cxn>
                <a:cxn ang="0">
                  <a:pos x="619" y="228"/>
                </a:cxn>
                <a:cxn ang="0">
                  <a:pos x="599" y="156"/>
                </a:cxn>
                <a:cxn ang="0">
                  <a:pos x="572" y="114"/>
                </a:cxn>
                <a:cxn ang="0">
                  <a:pos x="513" y="30"/>
                </a:cxn>
                <a:cxn ang="0">
                  <a:pos x="457" y="46"/>
                </a:cxn>
                <a:cxn ang="0">
                  <a:pos x="431" y="73"/>
                </a:cxn>
                <a:cxn ang="0">
                  <a:pos x="424" y="103"/>
                </a:cxn>
                <a:cxn ang="0">
                  <a:pos x="403" y="114"/>
                </a:cxn>
                <a:cxn ang="0">
                  <a:pos x="415" y="77"/>
                </a:cxn>
                <a:cxn ang="0">
                  <a:pos x="327" y="54"/>
                </a:cxn>
                <a:cxn ang="0">
                  <a:pos x="310" y="17"/>
                </a:cxn>
                <a:cxn ang="0">
                  <a:pos x="293" y="67"/>
                </a:cxn>
                <a:cxn ang="0">
                  <a:pos x="255" y="76"/>
                </a:cxn>
                <a:cxn ang="0">
                  <a:pos x="210" y="62"/>
                </a:cxn>
                <a:cxn ang="0">
                  <a:pos x="208" y="107"/>
                </a:cxn>
                <a:cxn ang="0">
                  <a:pos x="176" y="121"/>
                </a:cxn>
                <a:cxn ang="0">
                  <a:pos x="180" y="167"/>
                </a:cxn>
                <a:cxn ang="0">
                  <a:pos x="239" y="183"/>
                </a:cxn>
                <a:cxn ang="0">
                  <a:pos x="262" y="180"/>
                </a:cxn>
                <a:cxn ang="0">
                  <a:pos x="259" y="219"/>
                </a:cxn>
                <a:cxn ang="0">
                  <a:pos x="194" y="255"/>
                </a:cxn>
                <a:cxn ang="0">
                  <a:pos x="140" y="219"/>
                </a:cxn>
                <a:cxn ang="0">
                  <a:pos x="91" y="233"/>
                </a:cxn>
                <a:cxn ang="0">
                  <a:pos x="124" y="305"/>
                </a:cxn>
                <a:cxn ang="0">
                  <a:pos x="117" y="344"/>
                </a:cxn>
                <a:cxn ang="0">
                  <a:pos x="52" y="345"/>
                </a:cxn>
                <a:cxn ang="0">
                  <a:pos x="12" y="355"/>
                </a:cxn>
                <a:cxn ang="0">
                  <a:pos x="25" y="393"/>
                </a:cxn>
                <a:cxn ang="0">
                  <a:pos x="40" y="445"/>
                </a:cxn>
                <a:cxn ang="0">
                  <a:pos x="80" y="440"/>
                </a:cxn>
                <a:cxn ang="0">
                  <a:pos x="126" y="424"/>
                </a:cxn>
                <a:cxn ang="0">
                  <a:pos x="124" y="469"/>
                </a:cxn>
                <a:cxn ang="0">
                  <a:pos x="76" y="514"/>
                </a:cxn>
                <a:cxn ang="0">
                  <a:pos x="82" y="555"/>
                </a:cxn>
                <a:cxn ang="0">
                  <a:pos x="165" y="543"/>
                </a:cxn>
                <a:cxn ang="0">
                  <a:pos x="173" y="566"/>
                </a:cxn>
                <a:cxn ang="0">
                  <a:pos x="134" y="608"/>
                </a:cxn>
                <a:cxn ang="0">
                  <a:pos x="199" y="637"/>
                </a:cxn>
                <a:cxn ang="0">
                  <a:pos x="229" y="578"/>
                </a:cxn>
                <a:cxn ang="0">
                  <a:pos x="227" y="530"/>
                </a:cxn>
                <a:cxn ang="0">
                  <a:pos x="273" y="591"/>
                </a:cxn>
                <a:cxn ang="0">
                  <a:pos x="279" y="520"/>
                </a:cxn>
                <a:cxn ang="0">
                  <a:pos x="288" y="543"/>
                </a:cxn>
                <a:cxn ang="0">
                  <a:pos x="328" y="531"/>
                </a:cxn>
                <a:cxn ang="0">
                  <a:pos x="350" y="551"/>
                </a:cxn>
              </a:cxnLst>
              <a:rect l="0" t="0" r="r" b="b"/>
              <a:pathLst>
                <a:path w="688" h="840">
                  <a:moveTo>
                    <a:pt x="457" y="834"/>
                  </a:moveTo>
                  <a:lnTo>
                    <a:pt x="452" y="834"/>
                  </a:lnTo>
                  <a:lnTo>
                    <a:pt x="423" y="835"/>
                  </a:lnTo>
                  <a:lnTo>
                    <a:pt x="406" y="833"/>
                  </a:lnTo>
                  <a:lnTo>
                    <a:pt x="404" y="821"/>
                  </a:lnTo>
                  <a:lnTo>
                    <a:pt x="403" y="811"/>
                  </a:lnTo>
                  <a:lnTo>
                    <a:pt x="401" y="807"/>
                  </a:lnTo>
                  <a:lnTo>
                    <a:pt x="400" y="786"/>
                  </a:lnTo>
                  <a:lnTo>
                    <a:pt x="394" y="725"/>
                  </a:lnTo>
                  <a:lnTo>
                    <a:pt x="393" y="715"/>
                  </a:lnTo>
                  <a:lnTo>
                    <a:pt x="392" y="696"/>
                  </a:lnTo>
                  <a:lnTo>
                    <a:pt x="391" y="683"/>
                  </a:lnTo>
                  <a:lnTo>
                    <a:pt x="389" y="672"/>
                  </a:lnTo>
                  <a:lnTo>
                    <a:pt x="388" y="661"/>
                  </a:lnTo>
                  <a:lnTo>
                    <a:pt x="387" y="649"/>
                  </a:lnTo>
                  <a:lnTo>
                    <a:pt x="387" y="644"/>
                  </a:lnTo>
                  <a:lnTo>
                    <a:pt x="388" y="644"/>
                  </a:lnTo>
                  <a:lnTo>
                    <a:pt x="391" y="646"/>
                  </a:lnTo>
                  <a:lnTo>
                    <a:pt x="392" y="647"/>
                  </a:lnTo>
                  <a:lnTo>
                    <a:pt x="393" y="646"/>
                  </a:lnTo>
                  <a:lnTo>
                    <a:pt x="393" y="644"/>
                  </a:lnTo>
                  <a:lnTo>
                    <a:pt x="393" y="642"/>
                  </a:lnTo>
                  <a:lnTo>
                    <a:pt x="392" y="641"/>
                  </a:lnTo>
                  <a:lnTo>
                    <a:pt x="391" y="640"/>
                  </a:lnTo>
                  <a:lnTo>
                    <a:pt x="388" y="640"/>
                  </a:lnTo>
                  <a:lnTo>
                    <a:pt x="388" y="637"/>
                  </a:lnTo>
                  <a:lnTo>
                    <a:pt x="389" y="636"/>
                  </a:lnTo>
                  <a:lnTo>
                    <a:pt x="391" y="636"/>
                  </a:lnTo>
                  <a:lnTo>
                    <a:pt x="392" y="636"/>
                  </a:lnTo>
                  <a:lnTo>
                    <a:pt x="393" y="636"/>
                  </a:lnTo>
                  <a:lnTo>
                    <a:pt x="393" y="635"/>
                  </a:lnTo>
                  <a:lnTo>
                    <a:pt x="394" y="632"/>
                  </a:lnTo>
                  <a:lnTo>
                    <a:pt x="397" y="630"/>
                  </a:lnTo>
                  <a:lnTo>
                    <a:pt x="397" y="626"/>
                  </a:lnTo>
                  <a:lnTo>
                    <a:pt x="395" y="627"/>
                  </a:lnTo>
                  <a:lnTo>
                    <a:pt x="394" y="629"/>
                  </a:lnTo>
                  <a:lnTo>
                    <a:pt x="392" y="631"/>
                  </a:lnTo>
                  <a:lnTo>
                    <a:pt x="391" y="632"/>
                  </a:lnTo>
                  <a:lnTo>
                    <a:pt x="388" y="632"/>
                  </a:lnTo>
                  <a:lnTo>
                    <a:pt x="387" y="633"/>
                  </a:lnTo>
                  <a:lnTo>
                    <a:pt x="387" y="632"/>
                  </a:lnTo>
                  <a:lnTo>
                    <a:pt x="386" y="627"/>
                  </a:lnTo>
                  <a:lnTo>
                    <a:pt x="385" y="611"/>
                  </a:lnTo>
                  <a:lnTo>
                    <a:pt x="386" y="606"/>
                  </a:lnTo>
                  <a:lnTo>
                    <a:pt x="387" y="605"/>
                  </a:lnTo>
                  <a:lnTo>
                    <a:pt x="389" y="603"/>
                  </a:lnTo>
                  <a:lnTo>
                    <a:pt x="389" y="601"/>
                  </a:lnTo>
                  <a:lnTo>
                    <a:pt x="387" y="599"/>
                  </a:lnTo>
                  <a:lnTo>
                    <a:pt x="386" y="597"/>
                  </a:lnTo>
                  <a:lnTo>
                    <a:pt x="386" y="590"/>
                  </a:lnTo>
                  <a:lnTo>
                    <a:pt x="385" y="585"/>
                  </a:lnTo>
                  <a:lnTo>
                    <a:pt x="385" y="583"/>
                  </a:lnTo>
                  <a:lnTo>
                    <a:pt x="387" y="582"/>
                  </a:lnTo>
                  <a:lnTo>
                    <a:pt x="386" y="579"/>
                  </a:lnTo>
                  <a:lnTo>
                    <a:pt x="385" y="578"/>
                  </a:lnTo>
                  <a:lnTo>
                    <a:pt x="385" y="576"/>
                  </a:lnTo>
                  <a:lnTo>
                    <a:pt x="385" y="572"/>
                  </a:lnTo>
                  <a:lnTo>
                    <a:pt x="385" y="570"/>
                  </a:lnTo>
                  <a:lnTo>
                    <a:pt x="383" y="567"/>
                  </a:lnTo>
                  <a:lnTo>
                    <a:pt x="386" y="563"/>
                  </a:lnTo>
                  <a:lnTo>
                    <a:pt x="387" y="565"/>
                  </a:lnTo>
                  <a:lnTo>
                    <a:pt x="387" y="567"/>
                  </a:lnTo>
                  <a:lnTo>
                    <a:pt x="388" y="567"/>
                  </a:lnTo>
                  <a:lnTo>
                    <a:pt x="388" y="565"/>
                  </a:lnTo>
                  <a:lnTo>
                    <a:pt x="389" y="563"/>
                  </a:lnTo>
                  <a:lnTo>
                    <a:pt x="388" y="561"/>
                  </a:lnTo>
                  <a:lnTo>
                    <a:pt x="386" y="560"/>
                  </a:lnTo>
                  <a:lnTo>
                    <a:pt x="386" y="559"/>
                  </a:lnTo>
                  <a:lnTo>
                    <a:pt x="386" y="551"/>
                  </a:lnTo>
                  <a:lnTo>
                    <a:pt x="385" y="547"/>
                  </a:lnTo>
                  <a:lnTo>
                    <a:pt x="386" y="543"/>
                  </a:lnTo>
                  <a:lnTo>
                    <a:pt x="387" y="540"/>
                  </a:lnTo>
                  <a:lnTo>
                    <a:pt x="388" y="537"/>
                  </a:lnTo>
                  <a:lnTo>
                    <a:pt x="391" y="535"/>
                  </a:lnTo>
                  <a:lnTo>
                    <a:pt x="393" y="534"/>
                  </a:lnTo>
                  <a:lnTo>
                    <a:pt x="394" y="536"/>
                  </a:lnTo>
                  <a:lnTo>
                    <a:pt x="395" y="539"/>
                  </a:lnTo>
                  <a:lnTo>
                    <a:pt x="394" y="542"/>
                  </a:lnTo>
                  <a:lnTo>
                    <a:pt x="393" y="543"/>
                  </a:lnTo>
                  <a:lnTo>
                    <a:pt x="392" y="546"/>
                  </a:lnTo>
                  <a:lnTo>
                    <a:pt x="392" y="549"/>
                  </a:lnTo>
                  <a:lnTo>
                    <a:pt x="392" y="557"/>
                  </a:lnTo>
                  <a:lnTo>
                    <a:pt x="392" y="567"/>
                  </a:lnTo>
                  <a:lnTo>
                    <a:pt x="391" y="572"/>
                  </a:lnTo>
                  <a:lnTo>
                    <a:pt x="391" y="577"/>
                  </a:lnTo>
                  <a:lnTo>
                    <a:pt x="391" y="581"/>
                  </a:lnTo>
                  <a:lnTo>
                    <a:pt x="389" y="584"/>
                  </a:lnTo>
                  <a:lnTo>
                    <a:pt x="391" y="585"/>
                  </a:lnTo>
                  <a:lnTo>
                    <a:pt x="391" y="587"/>
                  </a:lnTo>
                  <a:lnTo>
                    <a:pt x="389" y="587"/>
                  </a:lnTo>
                  <a:lnTo>
                    <a:pt x="391" y="589"/>
                  </a:lnTo>
                  <a:lnTo>
                    <a:pt x="392" y="590"/>
                  </a:lnTo>
                  <a:lnTo>
                    <a:pt x="391" y="594"/>
                  </a:lnTo>
                  <a:lnTo>
                    <a:pt x="391" y="596"/>
                  </a:lnTo>
                  <a:lnTo>
                    <a:pt x="391" y="599"/>
                  </a:lnTo>
                  <a:lnTo>
                    <a:pt x="392" y="601"/>
                  </a:lnTo>
                  <a:lnTo>
                    <a:pt x="392" y="603"/>
                  </a:lnTo>
                  <a:lnTo>
                    <a:pt x="392" y="605"/>
                  </a:lnTo>
                  <a:lnTo>
                    <a:pt x="391" y="607"/>
                  </a:lnTo>
                  <a:lnTo>
                    <a:pt x="391" y="608"/>
                  </a:lnTo>
                  <a:lnTo>
                    <a:pt x="392" y="612"/>
                  </a:lnTo>
                  <a:lnTo>
                    <a:pt x="392" y="614"/>
                  </a:lnTo>
                  <a:lnTo>
                    <a:pt x="391" y="615"/>
                  </a:lnTo>
                  <a:lnTo>
                    <a:pt x="389" y="618"/>
                  </a:lnTo>
                  <a:lnTo>
                    <a:pt x="388" y="619"/>
                  </a:lnTo>
                  <a:lnTo>
                    <a:pt x="388" y="623"/>
                  </a:lnTo>
                  <a:lnTo>
                    <a:pt x="391" y="625"/>
                  </a:lnTo>
                  <a:lnTo>
                    <a:pt x="392" y="629"/>
                  </a:lnTo>
                  <a:lnTo>
                    <a:pt x="393" y="629"/>
                  </a:lnTo>
                  <a:lnTo>
                    <a:pt x="393" y="626"/>
                  </a:lnTo>
                  <a:lnTo>
                    <a:pt x="393" y="624"/>
                  </a:lnTo>
                  <a:lnTo>
                    <a:pt x="393" y="621"/>
                  </a:lnTo>
                  <a:lnTo>
                    <a:pt x="393" y="620"/>
                  </a:lnTo>
                  <a:lnTo>
                    <a:pt x="394" y="620"/>
                  </a:lnTo>
                  <a:lnTo>
                    <a:pt x="395" y="624"/>
                  </a:lnTo>
                  <a:lnTo>
                    <a:pt x="397" y="623"/>
                  </a:lnTo>
                  <a:lnTo>
                    <a:pt x="397" y="619"/>
                  </a:lnTo>
                  <a:lnTo>
                    <a:pt x="397" y="618"/>
                  </a:lnTo>
                  <a:lnTo>
                    <a:pt x="397" y="615"/>
                  </a:lnTo>
                  <a:lnTo>
                    <a:pt x="397" y="613"/>
                  </a:lnTo>
                  <a:lnTo>
                    <a:pt x="397" y="611"/>
                  </a:lnTo>
                  <a:lnTo>
                    <a:pt x="395" y="609"/>
                  </a:lnTo>
                  <a:lnTo>
                    <a:pt x="394" y="608"/>
                  </a:lnTo>
                  <a:lnTo>
                    <a:pt x="395" y="609"/>
                  </a:lnTo>
                  <a:lnTo>
                    <a:pt x="399" y="612"/>
                  </a:lnTo>
                  <a:lnTo>
                    <a:pt x="400" y="612"/>
                  </a:lnTo>
                  <a:lnTo>
                    <a:pt x="401" y="613"/>
                  </a:lnTo>
                  <a:lnTo>
                    <a:pt x="400" y="615"/>
                  </a:lnTo>
                  <a:lnTo>
                    <a:pt x="399" y="618"/>
                  </a:lnTo>
                  <a:lnTo>
                    <a:pt x="400" y="618"/>
                  </a:lnTo>
                  <a:lnTo>
                    <a:pt x="401" y="617"/>
                  </a:lnTo>
                  <a:lnTo>
                    <a:pt x="404" y="618"/>
                  </a:lnTo>
                  <a:lnTo>
                    <a:pt x="406" y="620"/>
                  </a:lnTo>
                  <a:lnTo>
                    <a:pt x="409" y="620"/>
                  </a:lnTo>
                  <a:lnTo>
                    <a:pt x="410" y="619"/>
                  </a:lnTo>
                  <a:lnTo>
                    <a:pt x="407" y="617"/>
                  </a:lnTo>
                  <a:lnTo>
                    <a:pt x="406" y="617"/>
                  </a:lnTo>
                  <a:lnTo>
                    <a:pt x="406" y="614"/>
                  </a:lnTo>
                  <a:lnTo>
                    <a:pt x="409" y="615"/>
                  </a:lnTo>
                  <a:lnTo>
                    <a:pt x="410" y="615"/>
                  </a:lnTo>
                  <a:lnTo>
                    <a:pt x="411" y="614"/>
                  </a:lnTo>
                  <a:lnTo>
                    <a:pt x="412" y="613"/>
                  </a:lnTo>
                  <a:lnTo>
                    <a:pt x="412" y="609"/>
                  </a:lnTo>
                  <a:lnTo>
                    <a:pt x="411" y="608"/>
                  </a:lnTo>
                  <a:lnTo>
                    <a:pt x="410" y="612"/>
                  </a:lnTo>
                  <a:lnTo>
                    <a:pt x="409" y="612"/>
                  </a:lnTo>
                  <a:lnTo>
                    <a:pt x="409" y="611"/>
                  </a:lnTo>
                  <a:lnTo>
                    <a:pt x="407" y="609"/>
                  </a:lnTo>
                  <a:lnTo>
                    <a:pt x="405" y="611"/>
                  </a:lnTo>
                  <a:lnTo>
                    <a:pt x="404" y="611"/>
                  </a:lnTo>
                  <a:lnTo>
                    <a:pt x="403" y="609"/>
                  </a:lnTo>
                  <a:lnTo>
                    <a:pt x="404" y="608"/>
                  </a:lnTo>
                  <a:lnTo>
                    <a:pt x="405" y="607"/>
                  </a:lnTo>
                  <a:lnTo>
                    <a:pt x="404" y="606"/>
                  </a:lnTo>
                  <a:lnTo>
                    <a:pt x="401" y="605"/>
                  </a:lnTo>
                  <a:lnTo>
                    <a:pt x="399" y="607"/>
                  </a:lnTo>
                  <a:lnTo>
                    <a:pt x="398" y="607"/>
                  </a:lnTo>
                  <a:lnTo>
                    <a:pt x="398" y="606"/>
                  </a:lnTo>
                  <a:lnTo>
                    <a:pt x="398" y="605"/>
                  </a:lnTo>
                  <a:lnTo>
                    <a:pt x="397" y="603"/>
                  </a:lnTo>
                  <a:lnTo>
                    <a:pt x="397" y="601"/>
                  </a:lnTo>
                  <a:lnTo>
                    <a:pt x="395" y="600"/>
                  </a:lnTo>
                  <a:lnTo>
                    <a:pt x="395" y="597"/>
                  </a:lnTo>
                  <a:lnTo>
                    <a:pt x="395" y="594"/>
                  </a:lnTo>
                  <a:lnTo>
                    <a:pt x="395" y="593"/>
                  </a:lnTo>
                  <a:lnTo>
                    <a:pt x="397" y="597"/>
                  </a:lnTo>
                  <a:lnTo>
                    <a:pt x="397" y="599"/>
                  </a:lnTo>
                  <a:lnTo>
                    <a:pt x="398" y="599"/>
                  </a:lnTo>
                  <a:lnTo>
                    <a:pt x="398" y="595"/>
                  </a:lnTo>
                  <a:lnTo>
                    <a:pt x="398" y="593"/>
                  </a:lnTo>
                  <a:lnTo>
                    <a:pt x="398" y="590"/>
                  </a:lnTo>
                  <a:lnTo>
                    <a:pt x="397" y="588"/>
                  </a:lnTo>
                  <a:lnTo>
                    <a:pt x="394" y="588"/>
                  </a:lnTo>
                  <a:lnTo>
                    <a:pt x="394" y="587"/>
                  </a:lnTo>
                  <a:lnTo>
                    <a:pt x="394" y="585"/>
                  </a:lnTo>
                  <a:lnTo>
                    <a:pt x="395" y="583"/>
                  </a:lnTo>
                  <a:lnTo>
                    <a:pt x="393" y="579"/>
                  </a:lnTo>
                  <a:lnTo>
                    <a:pt x="393" y="576"/>
                  </a:lnTo>
                  <a:lnTo>
                    <a:pt x="393" y="573"/>
                  </a:lnTo>
                  <a:lnTo>
                    <a:pt x="394" y="573"/>
                  </a:lnTo>
                  <a:lnTo>
                    <a:pt x="397" y="575"/>
                  </a:lnTo>
                  <a:lnTo>
                    <a:pt x="398" y="577"/>
                  </a:lnTo>
                  <a:lnTo>
                    <a:pt x="400" y="579"/>
                  </a:lnTo>
                  <a:lnTo>
                    <a:pt x="401" y="582"/>
                  </a:lnTo>
                  <a:lnTo>
                    <a:pt x="403" y="583"/>
                  </a:lnTo>
                  <a:lnTo>
                    <a:pt x="405" y="585"/>
                  </a:lnTo>
                  <a:lnTo>
                    <a:pt x="404" y="587"/>
                  </a:lnTo>
                  <a:lnTo>
                    <a:pt x="401" y="585"/>
                  </a:lnTo>
                  <a:lnTo>
                    <a:pt x="400" y="585"/>
                  </a:lnTo>
                  <a:lnTo>
                    <a:pt x="400" y="587"/>
                  </a:lnTo>
                  <a:lnTo>
                    <a:pt x="400" y="589"/>
                  </a:lnTo>
                  <a:lnTo>
                    <a:pt x="401" y="591"/>
                  </a:lnTo>
                  <a:lnTo>
                    <a:pt x="400" y="593"/>
                  </a:lnTo>
                  <a:lnTo>
                    <a:pt x="401" y="595"/>
                  </a:lnTo>
                  <a:lnTo>
                    <a:pt x="404" y="593"/>
                  </a:lnTo>
                  <a:lnTo>
                    <a:pt x="405" y="591"/>
                  </a:lnTo>
                  <a:lnTo>
                    <a:pt x="406" y="590"/>
                  </a:lnTo>
                  <a:lnTo>
                    <a:pt x="409" y="591"/>
                  </a:lnTo>
                  <a:lnTo>
                    <a:pt x="407" y="593"/>
                  </a:lnTo>
                  <a:lnTo>
                    <a:pt x="406" y="594"/>
                  </a:lnTo>
                  <a:lnTo>
                    <a:pt x="404" y="595"/>
                  </a:lnTo>
                  <a:lnTo>
                    <a:pt x="399" y="597"/>
                  </a:lnTo>
                  <a:lnTo>
                    <a:pt x="399" y="600"/>
                  </a:lnTo>
                  <a:lnTo>
                    <a:pt x="403" y="600"/>
                  </a:lnTo>
                  <a:lnTo>
                    <a:pt x="404" y="597"/>
                  </a:lnTo>
                  <a:lnTo>
                    <a:pt x="406" y="597"/>
                  </a:lnTo>
                  <a:lnTo>
                    <a:pt x="409" y="596"/>
                  </a:lnTo>
                  <a:lnTo>
                    <a:pt x="411" y="596"/>
                  </a:lnTo>
                  <a:lnTo>
                    <a:pt x="413" y="595"/>
                  </a:lnTo>
                  <a:lnTo>
                    <a:pt x="416" y="594"/>
                  </a:lnTo>
                  <a:lnTo>
                    <a:pt x="418" y="596"/>
                  </a:lnTo>
                  <a:lnTo>
                    <a:pt x="417" y="597"/>
                  </a:lnTo>
                  <a:lnTo>
                    <a:pt x="415" y="599"/>
                  </a:lnTo>
                  <a:lnTo>
                    <a:pt x="413" y="599"/>
                  </a:lnTo>
                  <a:lnTo>
                    <a:pt x="410" y="599"/>
                  </a:lnTo>
                  <a:lnTo>
                    <a:pt x="410" y="600"/>
                  </a:lnTo>
                  <a:lnTo>
                    <a:pt x="411" y="601"/>
                  </a:lnTo>
                  <a:lnTo>
                    <a:pt x="413" y="602"/>
                  </a:lnTo>
                  <a:lnTo>
                    <a:pt x="416" y="601"/>
                  </a:lnTo>
                  <a:lnTo>
                    <a:pt x="417" y="602"/>
                  </a:lnTo>
                  <a:lnTo>
                    <a:pt x="415" y="605"/>
                  </a:lnTo>
                  <a:lnTo>
                    <a:pt x="412" y="605"/>
                  </a:lnTo>
                  <a:lnTo>
                    <a:pt x="411" y="603"/>
                  </a:lnTo>
                  <a:lnTo>
                    <a:pt x="411" y="602"/>
                  </a:lnTo>
                  <a:lnTo>
                    <a:pt x="410" y="601"/>
                  </a:lnTo>
                  <a:lnTo>
                    <a:pt x="409" y="602"/>
                  </a:lnTo>
                  <a:lnTo>
                    <a:pt x="406" y="602"/>
                  </a:lnTo>
                  <a:lnTo>
                    <a:pt x="405" y="602"/>
                  </a:lnTo>
                  <a:lnTo>
                    <a:pt x="404" y="602"/>
                  </a:lnTo>
                  <a:lnTo>
                    <a:pt x="403" y="601"/>
                  </a:lnTo>
                  <a:lnTo>
                    <a:pt x="401" y="602"/>
                  </a:lnTo>
                  <a:lnTo>
                    <a:pt x="401" y="603"/>
                  </a:lnTo>
                  <a:lnTo>
                    <a:pt x="404" y="603"/>
                  </a:lnTo>
                  <a:lnTo>
                    <a:pt x="406" y="605"/>
                  </a:lnTo>
                  <a:lnTo>
                    <a:pt x="407" y="606"/>
                  </a:lnTo>
                  <a:lnTo>
                    <a:pt x="406" y="607"/>
                  </a:lnTo>
                  <a:lnTo>
                    <a:pt x="409" y="607"/>
                  </a:lnTo>
                  <a:lnTo>
                    <a:pt x="409" y="606"/>
                  </a:lnTo>
                  <a:lnTo>
                    <a:pt x="410" y="607"/>
                  </a:lnTo>
                  <a:lnTo>
                    <a:pt x="411" y="607"/>
                  </a:lnTo>
                  <a:lnTo>
                    <a:pt x="413" y="608"/>
                  </a:lnTo>
                  <a:lnTo>
                    <a:pt x="415" y="609"/>
                  </a:lnTo>
                  <a:lnTo>
                    <a:pt x="415" y="611"/>
                  </a:lnTo>
                  <a:lnTo>
                    <a:pt x="413" y="612"/>
                  </a:lnTo>
                  <a:lnTo>
                    <a:pt x="413" y="613"/>
                  </a:lnTo>
                  <a:lnTo>
                    <a:pt x="413" y="615"/>
                  </a:lnTo>
                  <a:lnTo>
                    <a:pt x="415" y="615"/>
                  </a:lnTo>
                  <a:lnTo>
                    <a:pt x="416" y="614"/>
                  </a:lnTo>
                  <a:lnTo>
                    <a:pt x="416" y="613"/>
                  </a:lnTo>
                  <a:lnTo>
                    <a:pt x="416" y="612"/>
                  </a:lnTo>
                  <a:lnTo>
                    <a:pt x="417" y="611"/>
                  </a:lnTo>
                  <a:lnTo>
                    <a:pt x="419" y="608"/>
                  </a:lnTo>
                  <a:lnTo>
                    <a:pt x="419" y="607"/>
                  </a:lnTo>
                  <a:lnTo>
                    <a:pt x="421" y="607"/>
                  </a:lnTo>
                  <a:lnTo>
                    <a:pt x="423" y="607"/>
                  </a:lnTo>
                  <a:lnTo>
                    <a:pt x="424" y="606"/>
                  </a:lnTo>
                  <a:lnTo>
                    <a:pt x="424" y="608"/>
                  </a:lnTo>
                  <a:lnTo>
                    <a:pt x="423" y="609"/>
                  </a:lnTo>
                  <a:lnTo>
                    <a:pt x="421" y="611"/>
                  </a:lnTo>
                  <a:lnTo>
                    <a:pt x="421" y="612"/>
                  </a:lnTo>
                  <a:lnTo>
                    <a:pt x="421" y="613"/>
                  </a:lnTo>
                  <a:lnTo>
                    <a:pt x="422" y="614"/>
                  </a:lnTo>
                  <a:lnTo>
                    <a:pt x="419" y="614"/>
                  </a:lnTo>
                  <a:lnTo>
                    <a:pt x="418" y="612"/>
                  </a:lnTo>
                  <a:lnTo>
                    <a:pt x="417" y="614"/>
                  </a:lnTo>
                  <a:lnTo>
                    <a:pt x="417" y="617"/>
                  </a:lnTo>
                  <a:lnTo>
                    <a:pt x="417" y="619"/>
                  </a:lnTo>
                  <a:lnTo>
                    <a:pt x="416" y="621"/>
                  </a:lnTo>
                  <a:lnTo>
                    <a:pt x="413" y="624"/>
                  </a:lnTo>
                  <a:lnTo>
                    <a:pt x="410" y="626"/>
                  </a:lnTo>
                  <a:lnTo>
                    <a:pt x="405" y="631"/>
                  </a:lnTo>
                  <a:lnTo>
                    <a:pt x="405" y="635"/>
                  </a:lnTo>
                  <a:lnTo>
                    <a:pt x="405" y="637"/>
                  </a:lnTo>
                  <a:lnTo>
                    <a:pt x="404" y="640"/>
                  </a:lnTo>
                  <a:lnTo>
                    <a:pt x="403" y="643"/>
                  </a:lnTo>
                  <a:lnTo>
                    <a:pt x="400" y="646"/>
                  </a:lnTo>
                  <a:lnTo>
                    <a:pt x="398" y="646"/>
                  </a:lnTo>
                  <a:lnTo>
                    <a:pt x="397" y="646"/>
                  </a:lnTo>
                  <a:lnTo>
                    <a:pt x="394" y="647"/>
                  </a:lnTo>
                  <a:lnTo>
                    <a:pt x="394" y="648"/>
                  </a:lnTo>
                  <a:lnTo>
                    <a:pt x="393" y="650"/>
                  </a:lnTo>
                  <a:lnTo>
                    <a:pt x="394" y="653"/>
                  </a:lnTo>
                  <a:lnTo>
                    <a:pt x="395" y="654"/>
                  </a:lnTo>
                  <a:lnTo>
                    <a:pt x="393" y="658"/>
                  </a:lnTo>
                  <a:lnTo>
                    <a:pt x="392" y="660"/>
                  </a:lnTo>
                  <a:lnTo>
                    <a:pt x="391" y="661"/>
                  </a:lnTo>
                  <a:lnTo>
                    <a:pt x="389" y="664"/>
                  </a:lnTo>
                  <a:lnTo>
                    <a:pt x="391" y="664"/>
                  </a:lnTo>
                  <a:lnTo>
                    <a:pt x="392" y="662"/>
                  </a:lnTo>
                  <a:lnTo>
                    <a:pt x="393" y="661"/>
                  </a:lnTo>
                  <a:lnTo>
                    <a:pt x="392" y="666"/>
                  </a:lnTo>
                  <a:lnTo>
                    <a:pt x="392" y="668"/>
                  </a:lnTo>
                  <a:lnTo>
                    <a:pt x="392" y="671"/>
                  </a:lnTo>
                  <a:lnTo>
                    <a:pt x="392" y="674"/>
                  </a:lnTo>
                  <a:lnTo>
                    <a:pt x="392" y="677"/>
                  </a:lnTo>
                  <a:lnTo>
                    <a:pt x="392" y="678"/>
                  </a:lnTo>
                  <a:lnTo>
                    <a:pt x="393" y="677"/>
                  </a:lnTo>
                  <a:lnTo>
                    <a:pt x="393" y="673"/>
                  </a:lnTo>
                  <a:lnTo>
                    <a:pt x="393" y="671"/>
                  </a:lnTo>
                  <a:lnTo>
                    <a:pt x="394" y="670"/>
                  </a:lnTo>
                  <a:lnTo>
                    <a:pt x="394" y="668"/>
                  </a:lnTo>
                  <a:lnTo>
                    <a:pt x="394" y="665"/>
                  </a:lnTo>
                  <a:lnTo>
                    <a:pt x="395" y="664"/>
                  </a:lnTo>
                  <a:lnTo>
                    <a:pt x="397" y="664"/>
                  </a:lnTo>
                  <a:lnTo>
                    <a:pt x="398" y="661"/>
                  </a:lnTo>
                  <a:lnTo>
                    <a:pt x="398" y="660"/>
                  </a:lnTo>
                  <a:lnTo>
                    <a:pt x="398" y="658"/>
                  </a:lnTo>
                  <a:lnTo>
                    <a:pt x="399" y="653"/>
                  </a:lnTo>
                  <a:lnTo>
                    <a:pt x="399" y="652"/>
                  </a:lnTo>
                  <a:lnTo>
                    <a:pt x="400" y="652"/>
                  </a:lnTo>
                  <a:lnTo>
                    <a:pt x="400" y="655"/>
                  </a:lnTo>
                  <a:lnTo>
                    <a:pt x="399" y="658"/>
                  </a:lnTo>
                  <a:lnTo>
                    <a:pt x="400" y="660"/>
                  </a:lnTo>
                  <a:lnTo>
                    <a:pt x="403" y="662"/>
                  </a:lnTo>
                  <a:lnTo>
                    <a:pt x="404" y="662"/>
                  </a:lnTo>
                  <a:lnTo>
                    <a:pt x="405" y="661"/>
                  </a:lnTo>
                  <a:lnTo>
                    <a:pt x="406" y="659"/>
                  </a:lnTo>
                  <a:lnTo>
                    <a:pt x="406" y="656"/>
                  </a:lnTo>
                  <a:lnTo>
                    <a:pt x="405" y="655"/>
                  </a:lnTo>
                  <a:lnTo>
                    <a:pt x="405" y="653"/>
                  </a:lnTo>
                  <a:lnTo>
                    <a:pt x="405" y="649"/>
                  </a:lnTo>
                  <a:lnTo>
                    <a:pt x="405" y="647"/>
                  </a:lnTo>
                  <a:lnTo>
                    <a:pt x="404" y="646"/>
                  </a:lnTo>
                  <a:lnTo>
                    <a:pt x="404" y="643"/>
                  </a:lnTo>
                  <a:lnTo>
                    <a:pt x="406" y="641"/>
                  </a:lnTo>
                  <a:lnTo>
                    <a:pt x="407" y="638"/>
                  </a:lnTo>
                  <a:lnTo>
                    <a:pt x="409" y="637"/>
                  </a:lnTo>
                  <a:lnTo>
                    <a:pt x="411" y="633"/>
                  </a:lnTo>
                  <a:lnTo>
                    <a:pt x="412" y="632"/>
                  </a:lnTo>
                  <a:lnTo>
                    <a:pt x="415" y="629"/>
                  </a:lnTo>
                  <a:lnTo>
                    <a:pt x="413" y="632"/>
                  </a:lnTo>
                  <a:lnTo>
                    <a:pt x="412" y="635"/>
                  </a:lnTo>
                  <a:lnTo>
                    <a:pt x="410" y="636"/>
                  </a:lnTo>
                  <a:lnTo>
                    <a:pt x="410" y="638"/>
                  </a:lnTo>
                  <a:lnTo>
                    <a:pt x="410" y="641"/>
                  </a:lnTo>
                  <a:lnTo>
                    <a:pt x="409" y="641"/>
                  </a:lnTo>
                  <a:lnTo>
                    <a:pt x="407" y="641"/>
                  </a:lnTo>
                  <a:lnTo>
                    <a:pt x="407" y="642"/>
                  </a:lnTo>
                  <a:lnTo>
                    <a:pt x="406" y="647"/>
                  </a:lnTo>
                  <a:lnTo>
                    <a:pt x="406" y="652"/>
                  </a:lnTo>
                  <a:lnTo>
                    <a:pt x="406" y="654"/>
                  </a:lnTo>
                  <a:lnTo>
                    <a:pt x="407" y="655"/>
                  </a:lnTo>
                  <a:lnTo>
                    <a:pt x="409" y="654"/>
                  </a:lnTo>
                  <a:lnTo>
                    <a:pt x="409" y="650"/>
                  </a:lnTo>
                  <a:lnTo>
                    <a:pt x="410" y="650"/>
                  </a:lnTo>
                  <a:lnTo>
                    <a:pt x="411" y="654"/>
                  </a:lnTo>
                  <a:lnTo>
                    <a:pt x="412" y="653"/>
                  </a:lnTo>
                  <a:lnTo>
                    <a:pt x="412" y="649"/>
                  </a:lnTo>
                  <a:lnTo>
                    <a:pt x="412" y="648"/>
                  </a:lnTo>
                  <a:lnTo>
                    <a:pt x="411" y="647"/>
                  </a:lnTo>
                  <a:lnTo>
                    <a:pt x="409" y="646"/>
                  </a:lnTo>
                  <a:lnTo>
                    <a:pt x="409" y="643"/>
                  </a:lnTo>
                  <a:lnTo>
                    <a:pt x="409" y="642"/>
                  </a:lnTo>
                  <a:lnTo>
                    <a:pt x="411" y="640"/>
                  </a:lnTo>
                  <a:lnTo>
                    <a:pt x="412" y="638"/>
                  </a:lnTo>
                  <a:lnTo>
                    <a:pt x="412" y="636"/>
                  </a:lnTo>
                  <a:lnTo>
                    <a:pt x="413" y="635"/>
                  </a:lnTo>
                  <a:lnTo>
                    <a:pt x="415" y="632"/>
                  </a:lnTo>
                  <a:lnTo>
                    <a:pt x="416" y="630"/>
                  </a:lnTo>
                  <a:lnTo>
                    <a:pt x="417" y="629"/>
                  </a:lnTo>
                  <a:lnTo>
                    <a:pt x="418" y="627"/>
                  </a:lnTo>
                  <a:lnTo>
                    <a:pt x="419" y="626"/>
                  </a:lnTo>
                  <a:lnTo>
                    <a:pt x="419" y="629"/>
                  </a:lnTo>
                  <a:lnTo>
                    <a:pt x="421" y="630"/>
                  </a:lnTo>
                  <a:lnTo>
                    <a:pt x="419" y="631"/>
                  </a:lnTo>
                  <a:lnTo>
                    <a:pt x="417" y="631"/>
                  </a:lnTo>
                  <a:lnTo>
                    <a:pt x="417" y="632"/>
                  </a:lnTo>
                  <a:lnTo>
                    <a:pt x="418" y="633"/>
                  </a:lnTo>
                  <a:lnTo>
                    <a:pt x="419" y="633"/>
                  </a:lnTo>
                  <a:lnTo>
                    <a:pt x="419" y="635"/>
                  </a:lnTo>
                  <a:lnTo>
                    <a:pt x="419" y="636"/>
                  </a:lnTo>
                  <a:lnTo>
                    <a:pt x="417" y="637"/>
                  </a:lnTo>
                  <a:lnTo>
                    <a:pt x="417" y="641"/>
                  </a:lnTo>
                  <a:lnTo>
                    <a:pt x="417" y="646"/>
                  </a:lnTo>
                  <a:lnTo>
                    <a:pt x="417" y="649"/>
                  </a:lnTo>
                  <a:lnTo>
                    <a:pt x="418" y="647"/>
                  </a:lnTo>
                  <a:lnTo>
                    <a:pt x="419" y="642"/>
                  </a:lnTo>
                  <a:lnTo>
                    <a:pt x="419" y="640"/>
                  </a:lnTo>
                  <a:lnTo>
                    <a:pt x="421" y="638"/>
                  </a:lnTo>
                  <a:lnTo>
                    <a:pt x="422" y="638"/>
                  </a:lnTo>
                  <a:lnTo>
                    <a:pt x="423" y="635"/>
                  </a:lnTo>
                  <a:lnTo>
                    <a:pt x="423" y="631"/>
                  </a:lnTo>
                  <a:lnTo>
                    <a:pt x="422" y="629"/>
                  </a:lnTo>
                  <a:lnTo>
                    <a:pt x="422" y="627"/>
                  </a:lnTo>
                  <a:lnTo>
                    <a:pt x="422" y="623"/>
                  </a:lnTo>
                  <a:lnTo>
                    <a:pt x="423" y="625"/>
                  </a:lnTo>
                  <a:lnTo>
                    <a:pt x="423" y="626"/>
                  </a:lnTo>
                  <a:lnTo>
                    <a:pt x="424" y="627"/>
                  </a:lnTo>
                  <a:lnTo>
                    <a:pt x="424" y="629"/>
                  </a:lnTo>
                  <a:lnTo>
                    <a:pt x="424" y="632"/>
                  </a:lnTo>
                  <a:lnTo>
                    <a:pt x="425" y="631"/>
                  </a:lnTo>
                  <a:lnTo>
                    <a:pt x="427" y="630"/>
                  </a:lnTo>
                  <a:lnTo>
                    <a:pt x="425" y="633"/>
                  </a:lnTo>
                  <a:lnTo>
                    <a:pt x="425" y="636"/>
                  </a:lnTo>
                  <a:lnTo>
                    <a:pt x="424" y="637"/>
                  </a:lnTo>
                  <a:lnTo>
                    <a:pt x="424" y="640"/>
                  </a:lnTo>
                  <a:lnTo>
                    <a:pt x="425" y="640"/>
                  </a:lnTo>
                  <a:lnTo>
                    <a:pt x="428" y="640"/>
                  </a:lnTo>
                  <a:lnTo>
                    <a:pt x="430" y="638"/>
                  </a:lnTo>
                  <a:lnTo>
                    <a:pt x="431" y="637"/>
                  </a:lnTo>
                  <a:lnTo>
                    <a:pt x="431" y="636"/>
                  </a:lnTo>
                  <a:lnTo>
                    <a:pt x="431" y="637"/>
                  </a:lnTo>
                  <a:lnTo>
                    <a:pt x="433" y="640"/>
                  </a:lnTo>
                  <a:lnTo>
                    <a:pt x="436" y="642"/>
                  </a:lnTo>
                  <a:lnTo>
                    <a:pt x="439" y="643"/>
                  </a:lnTo>
                  <a:lnTo>
                    <a:pt x="440" y="642"/>
                  </a:lnTo>
                  <a:lnTo>
                    <a:pt x="438" y="640"/>
                  </a:lnTo>
                  <a:lnTo>
                    <a:pt x="436" y="637"/>
                  </a:lnTo>
                  <a:lnTo>
                    <a:pt x="438" y="637"/>
                  </a:lnTo>
                  <a:lnTo>
                    <a:pt x="440" y="640"/>
                  </a:lnTo>
                  <a:lnTo>
                    <a:pt x="442" y="640"/>
                  </a:lnTo>
                  <a:lnTo>
                    <a:pt x="444" y="640"/>
                  </a:lnTo>
                  <a:lnTo>
                    <a:pt x="447" y="637"/>
                  </a:lnTo>
                  <a:lnTo>
                    <a:pt x="447" y="636"/>
                  </a:lnTo>
                  <a:lnTo>
                    <a:pt x="445" y="636"/>
                  </a:lnTo>
                  <a:lnTo>
                    <a:pt x="442" y="636"/>
                  </a:lnTo>
                  <a:lnTo>
                    <a:pt x="439" y="635"/>
                  </a:lnTo>
                  <a:lnTo>
                    <a:pt x="438" y="633"/>
                  </a:lnTo>
                  <a:lnTo>
                    <a:pt x="435" y="632"/>
                  </a:lnTo>
                  <a:lnTo>
                    <a:pt x="434" y="630"/>
                  </a:lnTo>
                  <a:lnTo>
                    <a:pt x="433" y="630"/>
                  </a:lnTo>
                  <a:lnTo>
                    <a:pt x="430" y="627"/>
                  </a:lnTo>
                  <a:lnTo>
                    <a:pt x="429" y="625"/>
                  </a:lnTo>
                  <a:lnTo>
                    <a:pt x="427" y="624"/>
                  </a:lnTo>
                  <a:lnTo>
                    <a:pt x="424" y="623"/>
                  </a:lnTo>
                  <a:lnTo>
                    <a:pt x="425" y="619"/>
                  </a:lnTo>
                  <a:lnTo>
                    <a:pt x="428" y="617"/>
                  </a:lnTo>
                  <a:lnTo>
                    <a:pt x="431" y="614"/>
                  </a:lnTo>
                  <a:lnTo>
                    <a:pt x="434" y="613"/>
                  </a:lnTo>
                  <a:lnTo>
                    <a:pt x="438" y="611"/>
                  </a:lnTo>
                  <a:lnTo>
                    <a:pt x="440" y="608"/>
                  </a:lnTo>
                  <a:lnTo>
                    <a:pt x="444" y="606"/>
                  </a:lnTo>
                  <a:lnTo>
                    <a:pt x="446" y="606"/>
                  </a:lnTo>
                  <a:lnTo>
                    <a:pt x="448" y="609"/>
                  </a:lnTo>
                  <a:lnTo>
                    <a:pt x="448" y="614"/>
                  </a:lnTo>
                  <a:lnTo>
                    <a:pt x="446" y="618"/>
                  </a:lnTo>
                  <a:lnTo>
                    <a:pt x="442" y="621"/>
                  </a:lnTo>
                  <a:lnTo>
                    <a:pt x="440" y="624"/>
                  </a:lnTo>
                  <a:lnTo>
                    <a:pt x="438" y="626"/>
                  </a:lnTo>
                  <a:lnTo>
                    <a:pt x="434" y="626"/>
                  </a:lnTo>
                  <a:lnTo>
                    <a:pt x="433" y="627"/>
                  </a:lnTo>
                  <a:lnTo>
                    <a:pt x="435" y="629"/>
                  </a:lnTo>
                  <a:lnTo>
                    <a:pt x="438" y="627"/>
                  </a:lnTo>
                  <a:lnTo>
                    <a:pt x="441" y="625"/>
                  </a:lnTo>
                  <a:lnTo>
                    <a:pt x="444" y="623"/>
                  </a:lnTo>
                  <a:lnTo>
                    <a:pt x="446" y="620"/>
                  </a:lnTo>
                  <a:lnTo>
                    <a:pt x="448" y="619"/>
                  </a:lnTo>
                  <a:lnTo>
                    <a:pt x="446" y="623"/>
                  </a:lnTo>
                  <a:lnTo>
                    <a:pt x="446" y="625"/>
                  </a:lnTo>
                  <a:lnTo>
                    <a:pt x="446" y="627"/>
                  </a:lnTo>
                  <a:lnTo>
                    <a:pt x="447" y="632"/>
                  </a:lnTo>
                  <a:lnTo>
                    <a:pt x="448" y="632"/>
                  </a:lnTo>
                  <a:lnTo>
                    <a:pt x="448" y="629"/>
                  </a:lnTo>
                  <a:lnTo>
                    <a:pt x="448" y="626"/>
                  </a:lnTo>
                  <a:lnTo>
                    <a:pt x="448" y="624"/>
                  </a:lnTo>
                  <a:lnTo>
                    <a:pt x="448" y="623"/>
                  </a:lnTo>
                  <a:lnTo>
                    <a:pt x="450" y="621"/>
                  </a:lnTo>
                  <a:lnTo>
                    <a:pt x="450" y="619"/>
                  </a:lnTo>
                  <a:lnTo>
                    <a:pt x="451" y="618"/>
                  </a:lnTo>
                  <a:lnTo>
                    <a:pt x="452" y="619"/>
                  </a:lnTo>
                  <a:lnTo>
                    <a:pt x="453" y="617"/>
                  </a:lnTo>
                  <a:lnTo>
                    <a:pt x="453" y="615"/>
                  </a:lnTo>
                  <a:lnTo>
                    <a:pt x="452" y="613"/>
                  </a:lnTo>
                  <a:lnTo>
                    <a:pt x="451" y="611"/>
                  </a:lnTo>
                  <a:lnTo>
                    <a:pt x="453" y="612"/>
                  </a:lnTo>
                  <a:lnTo>
                    <a:pt x="456" y="615"/>
                  </a:lnTo>
                  <a:lnTo>
                    <a:pt x="458" y="617"/>
                  </a:lnTo>
                  <a:lnTo>
                    <a:pt x="459" y="619"/>
                  </a:lnTo>
                  <a:lnTo>
                    <a:pt x="458" y="624"/>
                  </a:lnTo>
                  <a:lnTo>
                    <a:pt x="456" y="629"/>
                  </a:lnTo>
                  <a:lnTo>
                    <a:pt x="451" y="638"/>
                  </a:lnTo>
                  <a:lnTo>
                    <a:pt x="444" y="644"/>
                  </a:lnTo>
                  <a:lnTo>
                    <a:pt x="441" y="648"/>
                  </a:lnTo>
                  <a:lnTo>
                    <a:pt x="440" y="650"/>
                  </a:lnTo>
                  <a:lnTo>
                    <a:pt x="438" y="653"/>
                  </a:lnTo>
                  <a:lnTo>
                    <a:pt x="436" y="653"/>
                  </a:lnTo>
                  <a:lnTo>
                    <a:pt x="434" y="653"/>
                  </a:lnTo>
                  <a:lnTo>
                    <a:pt x="431" y="653"/>
                  </a:lnTo>
                  <a:lnTo>
                    <a:pt x="428" y="652"/>
                  </a:lnTo>
                  <a:lnTo>
                    <a:pt x="425" y="649"/>
                  </a:lnTo>
                  <a:lnTo>
                    <a:pt x="424" y="648"/>
                  </a:lnTo>
                  <a:lnTo>
                    <a:pt x="423" y="644"/>
                  </a:lnTo>
                  <a:lnTo>
                    <a:pt x="423" y="642"/>
                  </a:lnTo>
                  <a:lnTo>
                    <a:pt x="422" y="642"/>
                  </a:lnTo>
                  <a:lnTo>
                    <a:pt x="421" y="644"/>
                  </a:lnTo>
                  <a:lnTo>
                    <a:pt x="421" y="647"/>
                  </a:lnTo>
                  <a:lnTo>
                    <a:pt x="422" y="648"/>
                  </a:lnTo>
                  <a:lnTo>
                    <a:pt x="424" y="650"/>
                  </a:lnTo>
                  <a:lnTo>
                    <a:pt x="427" y="653"/>
                  </a:lnTo>
                  <a:lnTo>
                    <a:pt x="428" y="654"/>
                  </a:lnTo>
                  <a:lnTo>
                    <a:pt x="430" y="655"/>
                  </a:lnTo>
                  <a:lnTo>
                    <a:pt x="433" y="658"/>
                  </a:lnTo>
                  <a:lnTo>
                    <a:pt x="433" y="660"/>
                  </a:lnTo>
                  <a:lnTo>
                    <a:pt x="430" y="658"/>
                  </a:lnTo>
                  <a:lnTo>
                    <a:pt x="428" y="655"/>
                  </a:lnTo>
                  <a:lnTo>
                    <a:pt x="425" y="655"/>
                  </a:lnTo>
                  <a:lnTo>
                    <a:pt x="423" y="655"/>
                  </a:lnTo>
                  <a:lnTo>
                    <a:pt x="423" y="658"/>
                  </a:lnTo>
                  <a:lnTo>
                    <a:pt x="425" y="659"/>
                  </a:lnTo>
                  <a:lnTo>
                    <a:pt x="424" y="660"/>
                  </a:lnTo>
                  <a:lnTo>
                    <a:pt x="423" y="659"/>
                  </a:lnTo>
                  <a:lnTo>
                    <a:pt x="421" y="658"/>
                  </a:lnTo>
                  <a:lnTo>
                    <a:pt x="419" y="658"/>
                  </a:lnTo>
                  <a:lnTo>
                    <a:pt x="422" y="660"/>
                  </a:lnTo>
                  <a:lnTo>
                    <a:pt x="423" y="662"/>
                  </a:lnTo>
                  <a:lnTo>
                    <a:pt x="422" y="664"/>
                  </a:lnTo>
                  <a:lnTo>
                    <a:pt x="421" y="666"/>
                  </a:lnTo>
                  <a:lnTo>
                    <a:pt x="419" y="666"/>
                  </a:lnTo>
                  <a:lnTo>
                    <a:pt x="418" y="666"/>
                  </a:lnTo>
                  <a:lnTo>
                    <a:pt x="416" y="665"/>
                  </a:lnTo>
                  <a:lnTo>
                    <a:pt x="416" y="666"/>
                  </a:lnTo>
                  <a:lnTo>
                    <a:pt x="417" y="667"/>
                  </a:lnTo>
                  <a:lnTo>
                    <a:pt x="412" y="673"/>
                  </a:lnTo>
                  <a:lnTo>
                    <a:pt x="409" y="674"/>
                  </a:lnTo>
                  <a:lnTo>
                    <a:pt x="406" y="678"/>
                  </a:lnTo>
                  <a:lnTo>
                    <a:pt x="404" y="680"/>
                  </a:lnTo>
                  <a:lnTo>
                    <a:pt x="403" y="684"/>
                  </a:lnTo>
                  <a:lnTo>
                    <a:pt x="403" y="688"/>
                  </a:lnTo>
                  <a:lnTo>
                    <a:pt x="404" y="688"/>
                  </a:lnTo>
                  <a:lnTo>
                    <a:pt x="405" y="685"/>
                  </a:lnTo>
                  <a:lnTo>
                    <a:pt x="405" y="683"/>
                  </a:lnTo>
                  <a:lnTo>
                    <a:pt x="407" y="680"/>
                  </a:lnTo>
                  <a:lnTo>
                    <a:pt x="410" y="679"/>
                  </a:lnTo>
                  <a:lnTo>
                    <a:pt x="412" y="676"/>
                  </a:lnTo>
                  <a:lnTo>
                    <a:pt x="415" y="673"/>
                  </a:lnTo>
                  <a:lnTo>
                    <a:pt x="417" y="671"/>
                  </a:lnTo>
                  <a:lnTo>
                    <a:pt x="419" y="670"/>
                  </a:lnTo>
                  <a:lnTo>
                    <a:pt x="422" y="667"/>
                  </a:lnTo>
                  <a:lnTo>
                    <a:pt x="424" y="665"/>
                  </a:lnTo>
                  <a:lnTo>
                    <a:pt x="427" y="666"/>
                  </a:lnTo>
                  <a:lnTo>
                    <a:pt x="428" y="667"/>
                  </a:lnTo>
                  <a:lnTo>
                    <a:pt x="425" y="671"/>
                  </a:lnTo>
                  <a:lnTo>
                    <a:pt x="424" y="673"/>
                  </a:lnTo>
                  <a:lnTo>
                    <a:pt x="423" y="674"/>
                  </a:lnTo>
                  <a:lnTo>
                    <a:pt x="425" y="674"/>
                  </a:lnTo>
                  <a:lnTo>
                    <a:pt x="428" y="671"/>
                  </a:lnTo>
                  <a:lnTo>
                    <a:pt x="429" y="670"/>
                  </a:lnTo>
                  <a:lnTo>
                    <a:pt x="430" y="670"/>
                  </a:lnTo>
                  <a:lnTo>
                    <a:pt x="433" y="667"/>
                  </a:lnTo>
                  <a:lnTo>
                    <a:pt x="431" y="665"/>
                  </a:lnTo>
                  <a:lnTo>
                    <a:pt x="431" y="662"/>
                  </a:lnTo>
                  <a:lnTo>
                    <a:pt x="434" y="662"/>
                  </a:lnTo>
                  <a:lnTo>
                    <a:pt x="438" y="664"/>
                  </a:lnTo>
                  <a:lnTo>
                    <a:pt x="439" y="666"/>
                  </a:lnTo>
                  <a:lnTo>
                    <a:pt x="439" y="668"/>
                  </a:lnTo>
                  <a:lnTo>
                    <a:pt x="438" y="670"/>
                  </a:lnTo>
                  <a:lnTo>
                    <a:pt x="436" y="668"/>
                  </a:lnTo>
                  <a:lnTo>
                    <a:pt x="434" y="668"/>
                  </a:lnTo>
                  <a:lnTo>
                    <a:pt x="433" y="670"/>
                  </a:lnTo>
                  <a:lnTo>
                    <a:pt x="431" y="671"/>
                  </a:lnTo>
                  <a:lnTo>
                    <a:pt x="429" y="672"/>
                  </a:lnTo>
                  <a:lnTo>
                    <a:pt x="427" y="674"/>
                  </a:lnTo>
                  <a:lnTo>
                    <a:pt x="427" y="678"/>
                  </a:lnTo>
                  <a:lnTo>
                    <a:pt x="425" y="679"/>
                  </a:lnTo>
                  <a:lnTo>
                    <a:pt x="423" y="678"/>
                  </a:lnTo>
                  <a:lnTo>
                    <a:pt x="422" y="680"/>
                  </a:lnTo>
                  <a:lnTo>
                    <a:pt x="423" y="682"/>
                  </a:lnTo>
                  <a:lnTo>
                    <a:pt x="428" y="682"/>
                  </a:lnTo>
                  <a:lnTo>
                    <a:pt x="430" y="679"/>
                  </a:lnTo>
                  <a:lnTo>
                    <a:pt x="431" y="677"/>
                  </a:lnTo>
                  <a:lnTo>
                    <a:pt x="434" y="677"/>
                  </a:lnTo>
                  <a:lnTo>
                    <a:pt x="436" y="676"/>
                  </a:lnTo>
                  <a:lnTo>
                    <a:pt x="438" y="674"/>
                  </a:lnTo>
                  <a:lnTo>
                    <a:pt x="439" y="674"/>
                  </a:lnTo>
                  <a:lnTo>
                    <a:pt x="439" y="676"/>
                  </a:lnTo>
                  <a:lnTo>
                    <a:pt x="435" y="679"/>
                  </a:lnTo>
                  <a:lnTo>
                    <a:pt x="434" y="680"/>
                  </a:lnTo>
                  <a:lnTo>
                    <a:pt x="431" y="682"/>
                  </a:lnTo>
                  <a:lnTo>
                    <a:pt x="429" y="684"/>
                  </a:lnTo>
                  <a:lnTo>
                    <a:pt x="427" y="685"/>
                  </a:lnTo>
                  <a:lnTo>
                    <a:pt x="428" y="686"/>
                  </a:lnTo>
                  <a:lnTo>
                    <a:pt x="429" y="688"/>
                  </a:lnTo>
                  <a:lnTo>
                    <a:pt x="431" y="688"/>
                  </a:lnTo>
                  <a:lnTo>
                    <a:pt x="434" y="691"/>
                  </a:lnTo>
                  <a:lnTo>
                    <a:pt x="436" y="694"/>
                  </a:lnTo>
                  <a:lnTo>
                    <a:pt x="439" y="696"/>
                  </a:lnTo>
                  <a:lnTo>
                    <a:pt x="438" y="698"/>
                  </a:lnTo>
                  <a:lnTo>
                    <a:pt x="436" y="700"/>
                  </a:lnTo>
                  <a:lnTo>
                    <a:pt x="435" y="696"/>
                  </a:lnTo>
                  <a:lnTo>
                    <a:pt x="434" y="694"/>
                  </a:lnTo>
                  <a:lnTo>
                    <a:pt x="431" y="694"/>
                  </a:lnTo>
                  <a:lnTo>
                    <a:pt x="429" y="692"/>
                  </a:lnTo>
                  <a:lnTo>
                    <a:pt x="429" y="694"/>
                  </a:lnTo>
                  <a:lnTo>
                    <a:pt x="431" y="697"/>
                  </a:lnTo>
                  <a:lnTo>
                    <a:pt x="431" y="698"/>
                  </a:lnTo>
                  <a:lnTo>
                    <a:pt x="428" y="700"/>
                  </a:lnTo>
                  <a:lnTo>
                    <a:pt x="427" y="701"/>
                  </a:lnTo>
                  <a:lnTo>
                    <a:pt x="429" y="704"/>
                  </a:lnTo>
                  <a:lnTo>
                    <a:pt x="431" y="704"/>
                  </a:lnTo>
                  <a:lnTo>
                    <a:pt x="431" y="707"/>
                  </a:lnTo>
                  <a:lnTo>
                    <a:pt x="434" y="708"/>
                  </a:lnTo>
                  <a:lnTo>
                    <a:pt x="436" y="707"/>
                  </a:lnTo>
                  <a:lnTo>
                    <a:pt x="438" y="704"/>
                  </a:lnTo>
                  <a:lnTo>
                    <a:pt x="440" y="706"/>
                  </a:lnTo>
                  <a:lnTo>
                    <a:pt x="442" y="706"/>
                  </a:lnTo>
                  <a:lnTo>
                    <a:pt x="442" y="704"/>
                  </a:lnTo>
                  <a:lnTo>
                    <a:pt x="442" y="702"/>
                  </a:lnTo>
                  <a:lnTo>
                    <a:pt x="441" y="701"/>
                  </a:lnTo>
                  <a:lnTo>
                    <a:pt x="440" y="700"/>
                  </a:lnTo>
                  <a:lnTo>
                    <a:pt x="441" y="700"/>
                  </a:lnTo>
                  <a:lnTo>
                    <a:pt x="442" y="701"/>
                  </a:lnTo>
                  <a:lnTo>
                    <a:pt x="445" y="700"/>
                  </a:lnTo>
                  <a:lnTo>
                    <a:pt x="446" y="696"/>
                  </a:lnTo>
                  <a:lnTo>
                    <a:pt x="447" y="695"/>
                  </a:lnTo>
                  <a:lnTo>
                    <a:pt x="450" y="694"/>
                  </a:lnTo>
                  <a:lnTo>
                    <a:pt x="452" y="694"/>
                  </a:lnTo>
                  <a:lnTo>
                    <a:pt x="453" y="692"/>
                  </a:lnTo>
                  <a:lnTo>
                    <a:pt x="456" y="691"/>
                  </a:lnTo>
                  <a:lnTo>
                    <a:pt x="458" y="691"/>
                  </a:lnTo>
                  <a:lnTo>
                    <a:pt x="458" y="694"/>
                  </a:lnTo>
                  <a:lnTo>
                    <a:pt x="457" y="695"/>
                  </a:lnTo>
                  <a:lnTo>
                    <a:pt x="456" y="696"/>
                  </a:lnTo>
                  <a:lnTo>
                    <a:pt x="454" y="698"/>
                  </a:lnTo>
                  <a:lnTo>
                    <a:pt x="453" y="697"/>
                  </a:lnTo>
                  <a:lnTo>
                    <a:pt x="452" y="696"/>
                  </a:lnTo>
                  <a:lnTo>
                    <a:pt x="450" y="696"/>
                  </a:lnTo>
                  <a:lnTo>
                    <a:pt x="448" y="698"/>
                  </a:lnTo>
                  <a:lnTo>
                    <a:pt x="447" y="701"/>
                  </a:lnTo>
                  <a:lnTo>
                    <a:pt x="448" y="703"/>
                  </a:lnTo>
                  <a:lnTo>
                    <a:pt x="450" y="706"/>
                  </a:lnTo>
                  <a:lnTo>
                    <a:pt x="451" y="706"/>
                  </a:lnTo>
                  <a:lnTo>
                    <a:pt x="453" y="704"/>
                  </a:lnTo>
                  <a:lnTo>
                    <a:pt x="454" y="702"/>
                  </a:lnTo>
                  <a:lnTo>
                    <a:pt x="458" y="703"/>
                  </a:lnTo>
                  <a:lnTo>
                    <a:pt x="459" y="702"/>
                  </a:lnTo>
                  <a:lnTo>
                    <a:pt x="459" y="703"/>
                  </a:lnTo>
                  <a:lnTo>
                    <a:pt x="457" y="706"/>
                  </a:lnTo>
                  <a:lnTo>
                    <a:pt x="454" y="707"/>
                  </a:lnTo>
                  <a:lnTo>
                    <a:pt x="453" y="708"/>
                  </a:lnTo>
                  <a:lnTo>
                    <a:pt x="452" y="708"/>
                  </a:lnTo>
                  <a:lnTo>
                    <a:pt x="453" y="710"/>
                  </a:lnTo>
                  <a:lnTo>
                    <a:pt x="453" y="713"/>
                  </a:lnTo>
                  <a:lnTo>
                    <a:pt x="453" y="714"/>
                  </a:lnTo>
                  <a:lnTo>
                    <a:pt x="451" y="713"/>
                  </a:lnTo>
                  <a:lnTo>
                    <a:pt x="450" y="713"/>
                  </a:lnTo>
                  <a:lnTo>
                    <a:pt x="447" y="713"/>
                  </a:lnTo>
                  <a:lnTo>
                    <a:pt x="447" y="709"/>
                  </a:lnTo>
                  <a:lnTo>
                    <a:pt x="447" y="707"/>
                  </a:lnTo>
                  <a:lnTo>
                    <a:pt x="444" y="708"/>
                  </a:lnTo>
                  <a:lnTo>
                    <a:pt x="446" y="710"/>
                  </a:lnTo>
                  <a:lnTo>
                    <a:pt x="445" y="714"/>
                  </a:lnTo>
                  <a:lnTo>
                    <a:pt x="445" y="713"/>
                  </a:lnTo>
                  <a:lnTo>
                    <a:pt x="444" y="714"/>
                  </a:lnTo>
                  <a:lnTo>
                    <a:pt x="442" y="715"/>
                  </a:lnTo>
                  <a:lnTo>
                    <a:pt x="441" y="718"/>
                  </a:lnTo>
                  <a:lnTo>
                    <a:pt x="442" y="719"/>
                  </a:lnTo>
                  <a:lnTo>
                    <a:pt x="444" y="721"/>
                  </a:lnTo>
                  <a:lnTo>
                    <a:pt x="444" y="724"/>
                  </a:lnTo>
                  <a:lnTo>
                    <a:pt x="445" y="724"/>
                  </a:lnTo>
                  <a:lnTo>
                    <a:pt x="447" y="720"/>
                  </a:lnTo>
                  <a:lnTo>
                    <a:pt x="450" y="719"/>
                  </a:lnTo>
                  <a:lnTo>
                    <a:pt x="453" y="718"/>
                  </a:lnTo>
                  <a:lnTo>
                    <a:pt x="456" y="716"/>
                  </a:lnTo>
                  <a:lnTo>
                    <a:pt x="456" y="719"/>
                  </a:lnTo>
                  <a:lnTo>
                    <a:pt x="459" y="719"/>
                  </a:lnTo>
                  <a:lnTo>
                    <a:pt x="459" y="718"/>
                  </a:lnTo>
                  <a:lnTo>
                    <a:pt x="458" y="715"/>
                  </a:lnTo>
                  <a:lnTo>
                    <a:pt x="457" y="714"/>
                  </a:lnTo>
                  <a:lnTo>
                    <a:pt x="457" y="713"/>
                  </a:lnTo>
                  <a:lnTo>
                    <a:pt x="459" y="712"/>
                  </a:lnTo>
                  <a:lnTo>
                    <a:pt x="460" y="714"/>
                  </a:lnTo>
                  <a:lnTo>
                    <a:pt x="460" y="718"/>
                  </a:lnTo>
                  <a:lnTo>
                    <a:pt x="463" y="719"/>
                  </a:lnTo>
                  <a:lnTo>
                    <a:pt x="464" y="718"/>
                  </a:lnTo>
                  <a:lnTo>
                    <a:pt x="464" y="715"/>
                  </a:lnTo>
                  <a:lnTo>
                    <a:pt x="462" y="712"/>
                  </a:lnTo>
                  <a:lnTo>
                    <a:pt x="464" y="712"/>
                  </a:lnTo>
                  <a:lnTo>
                    <a:pt x="466" y="712"/>
                  </a:lnTo>
                  <a:lnTo>
                    <a:pt x="470" y="712"/>
                  </a:lnTo>
                  <a:lnTo>
                    <a:pt x="471" y="712"/>
                  </a:lnTo>
                  <a:lnTo>
                    <a:pt x="474" y="712"/>
                  </a:lnTo>
                  <a:lnTo>
                    <a:pt x="475" y="713"/>
                  </a:lnTo>
                  <a:lnTo>
                    <a:pt x="474" y="716"/>
                  </a:lnTo>
                  <a:lnTo>
                    <a:pt x="471" y="719"/>
                  </a:lnTo>
                  <a:lnTo>
                    <a:pt x="470" y="720"/>
                  </a:lnTo>
                  <a:lnTo>
                    <a:pt x="468" y="720"/>
                  </a:lnTo>
                  <a:lnTo>
                    <a:pt x="466" y="721"/>
                  </a:lnTo>
                  <a:lnTo>
                    <a:pt x="469" y="724"/>
                  </a:lnTo>
                  <a:lnTo>
                    <a:pt x="471" y="722"/>
                  </a:lnTo>
                  <a:lnTo>
                    <a:pt x="474" y="721"/>
                  </a:lnTo>
                  <a:lnTo>
                    <a:pt x="476" y="722"/>
                  </a:lnTo>
                  <a:lnTo>
                    <a:pt x="476" y="725"/>
                  </a:lnTo>
                  <a:lnTo>
                    <a:pt x="475" y="727"/>
                  </a:lnTo>
                  <a:lnTo>
                    <a:pt x="474" y="728"/>
                  </a:lnTo>
                  <a:lnTo>
                    <a:pt x="471" y="728"/>
                  </a:lnTo>
                  <a:lnTo>
                    <a:pt x="469" y="727"/>
                  </a:lnTo>
                  <a:lnTo>
                    <a:pt x="469" y="730"/>
                  </a:lnTo>
                  <a:lnTo>
                    <a:pt x="472" y="733"/>
                  </a:lnTo>
                  <a:lnTo>
                    <a:pt x="474" y="733"/>
                  </a:lnTo>
                  <a:lnTo>
                    <a:pt x="476" y="734"/>
                  </a:lnTo>
                  <a:lnTo>
                    <a:pt x="477" y="734"/>
                  </a:lnTo>
                  <a:lnTo>
                    <a:pt x="480" y="736"/>
                  </a:lnTo>
                  <a:lnTo>
                    <a:pt x="480" y="733"/>
                  </a:lnTo>
                  <a:lnTo>
                    <a:pt x="481" y="731"/>
                  </a:lnTo>
                  <a:lnTo>
                    <a:pt x="481" y="730"/>
                  </a:lnTo>
                  <a:lnTo>
                    <a:pt x="482" y="724"/>
                  </a:lnTo>
                  <a:lnTo>
                    <a:pt x="482" y="722"/>
                  </a:lnTo>
                  <a:lnTo>
                    <a:pt x="484" y="724"/>
                  </a:lnTo>
                  <a:lnTo>
                    <a:pt x="486" y="721"/>
                  </a:lnTo>
                  <a:lnTo>
                    <a:pt x="488" y="720"/>
                  </a:lnTo>
                  <a:lnTo>
                    <a:pt x="490" y="720"/>
                  </a:lnTo>
                  <a:lnTo>
                    <a:pt x="492" y="719"/>
                  </a:lnTo>
                  <a:lnTo>
                    <a:pt x="495" y="718"/>
                  </a:lnTo>
                  <a:lnTo>
                    <a:pt x="498" y="715"/>
                  </a:lnTo>
                  <a:lnTo>
                    <a:pt x="499" y="714"/>
                  </a:lnTo>
                  <a:lnTo>
                    <a:pt x="500" y="718"/>
                  </a:lnTo>
                  <a:lnTo>
                    <a:pt x="500" y="722"/>
                  </a:lnTo>
                  <a:lnTo>
                    <a:pt x="503" y="726"/>
                  </a:lnTo>
                  <a:lnTo>
                    <a:pt x="507" y="726"/>
                  </a:lnTo>
                  <a:lnTo>
                    <a:pt x="510" y="724"/>
                  </a:lnTo>
                  <a:lnTo>
                    <a:pt x="512" y="721"/>
                  </a:lnTo>
                  <a:lnTo>
                    <a:pt x="512" y="719"/>
                  </a:lnTo>
                  <a:lnTo>
                    <a:pt x="512" y="716"/>
                  </a:lnTo>
                  <a:lnTo>
                    <a:pt x="513" y="715"/>
                  </a:lnTo>
                  <a:lnTo>
                    <a:pt x="513" y="714"/>
                  </a:lnTo>
                  <a:lnTo>
                    <a:pt x="516" y="715"/>
                  </a:lnTo>
                  <a:lnTo>
                    <a:pt x="515" y="718"/>
                  </a:lnTo>
                  <a:lnTo>
                    <a:pt x="515" y="724"/>
                  </a:lnTo>
                  <a:lnTo>
                    <a:pt x="518" y="722"/>
                  </a:lnTo>
                  <a:lnTo>
                    <a:pt x="519" y="721"/>
                  </a:lnTo>
                  <a:lnTo>
                    <a:pt x="519" y="724"/>
                  </a:lnTo>
                  <a:lnTo>
                    <a:pt x="519" y="732"/>
                  </a:lnTo>
                  <a:lnTo>
                    <a:pt x="522" y="734"/>
                  </a:lnTo>
                  <a:lnTo>
                    <a:pt x="525" y="736"/>
                  </a:lnTo>
                  <a:lnTo>
                    <a:pt x="527" y="736"/>
                  </a:lnTo>
                  <a:lnTo>
                    <a:pt x="528" y="733"/>
                  </a:lnTo>
                  <a:lnTo>
                    <a:pt x="529" y="731"/>
                  </a:lnTo>
                  <a:lnTo>
                    <a:pt x="528" y="731"/>
                  </a:lnTo>
                  <a:lnTo>
                    <a:pt x="525" y="730"/>
                  </a:lnTo>
                  <a:lnTo>
                    <a:pt x="523" y="730"/>
                  </a:lnTo>
                  <a:lnTo>
                    <a:pt x="522" y="728"/>
                  </a:lnTo>
                  <a:lnTo>
                    <a:pt x="522" y="726"/>
                  </a:lnTo>
                  <a:lnTo>
                    <a:pt x="522" y="724"/>
                  </a:lnTo>
                  <a:lnTo>
                    <a:pt x="523" y="724"/>
                  </a:lnTo>
                  <a:lnTo>
                    <a:pt x="527" y="726"/>
                  </a:lnTo>
                  <a:lnTo>
                    <a:pt x="529" y="727"/>
                  </a:lnTo>
                  <a:lnTo>
                    <a:pt x="531" y="727"/>
                  </a:lnTo>
                  <a:lnTo>
                    <a:pt x="534" y="728"/>
                  </a:lnTo>
                  <a:lnTo>
                    <a:pt x="535" y="728"/>
                  </a:lnTo>
                  <a:lnTo>
                    <a:pt x="537" y="726"/>
                  </a:lnTo>
                  <a:lnTo>
                    <a:pt x="535" y="724"/>
                  </a:lnTo>
                  <a:lnTo>
                    <a:pt x="536" y="724"/>
                  </a:lnTo>
                  <a:lnTo>
                    <a:pt x="537" y="724"/>
                  </a:lnTo>
                  <a:lnTo>
                    <a:pt x="540" y="725"/>
                  </a:lnTo>
                  <a:lnTo>
                    <a:pt x="541" y="724"/>
                  </a:lnTo>
                  <a:lnTo>
                    <a:pt x="537" y="720"/>
                  </a:lnTo>
                  <a:lnTo>
                    <a:pt x="537" y="719"/>
                  </a:lnTo>
                  <a:lnTo>
                    <a:pt x="540" y="719"/>
                  </a:lnTo>
                  <a:lnTo>
                    <a:pt x="545" y="720"/>
                  </a:lnTo>
                  <a:lnTo>
                    <a:pt x="547" y="720"/>
                  </a:lnTo>
                  <a:lnTo>
                    <a:pt x="548" y="719"/>
                  </a:lnTo>
                  <a:lnTo>
                    <a:pt x="548" y="718"/>
                  </a:lnTo>
                  <a:lnTo>
                    <a:pt x="551" y="715"/>
                  </a:lnTo>
                  <a:lnTo>
                    <a:pt x="551" y="713"/>
                  </a:lnTo>
                  <a:lnTo>
                    <a:pt x="553" y="713"/>
                  </a:lnTo>
                  <a:lnTo>
                    <a:pt x="554" y="713"/>
                  </a:lnTo>
                  <a:lnTo>
                    <a:pt x="557" y="710"/>
                  </a:lnTo>
                  <a:lnTo>
                    <a:pt x="557" y="708"/>
                  </a:lnTo>
                  <a:lnTo>
                    <a:pt x="558" y="706"/>
                  </a:lnTo>
                  <a:lnTo>
                    <a:pt x="563" y="707"/>
                  </a:lnTo>
                  <a:lnTo>
                    <a:pt x="565" y="706"/>
                  </a:lnTo>
                  <a:lnTo>
                    <a:pt x="566" y="703"/>
                  </a:lnTo>
                  <a:lnTo>
                    <a:pt x="566" y="707"/>
                  </a:lnTo>
                  <a:lnTo>
                    <a:pt x="566" y="710"/>
                  </a:lnTo>
                  <a:lnTo>
                    <a:pt x="568" y="713"/>
                  </a:lnTo>
                  <a:lnTo>
                    <a:pt x="570" y="716"/>
                  </a:lnTo>
                  <a:lnTo>
                    <a:pt x="572" y="715"/>
                  </a:lnTo>
                  <a:lnTo>
                    <a:pt x="576" y="713"/>
                  </a:lnTo>
                  <a:lnTo>
                    <a:pt x="574" y="716"/>
                  </a:lnTo>
                  <a:lnTo>
                    <a:pt x="572" y="719"/>
                  </a:lnTo>
                  <a:lnTo>
                    <a:pt x="574" y="721"/>
                  </a:lnTo>
                  <a:lnTo>
                    <a:pt x="576" y="721"/>
                  </a:lnTo>
                  <a:lnTo>
                    <a:pt x="578" y="721"/>
                  </a:lnTo>
                  <a:lnTo>
                    <a:pt x="580" y="720"/>
                  </a:lnTo>
                  <a:lnTo>
                    <a:pt x="583" y="719"/>
                  </a:lnTo>
                  <a:lnTo>
                    <a:pt x="583" y="718"/>
                  </a:lnTo>
                  <a:lnTo>
                    <a:pt x="586" y="715"/>
                  </a:lnTo>
                  <a:lnTo>
                    <a:pt x="590" y="713"/>
                  </a:lnTo>
                  <a:lnTo>
                    <a:pt x="593" y="710"/>
                  </a:lnTo>
                  <a:lnTo>
                    <a:pt x="595" y="709"/>
                  </a:lnTo>
                  <a:lnTo>
                    <a:pt x="595" y="708"/>
                  </a:lnTo>
                  <a:lnTo>
                    <a:pt x="593" y="707"/>
                  </a:lnTo>
                  <a:lnTo>
                    <a:pt x="595" y="706"/>
                  </a:lnTo>
                  <a:lnTo>
                    <a:pt x="598" y="706"/>
                  </a:lnTo>
                  <a:lnTo>
                    <a:pt x="601" y="704"/>
                  </a:lnTo>
                  <a:lnTo>
                    <a:pt x="601" y="703"/>
                  </a:lnTo>
                  <a:lnTo>
                    <a:pt x="601" y="701"/>
                  </a:lnTo>
                  <a:lnTo>
                    <a:pt x="600" y="700"/>
                  </a:lnTo>
                  <a:lnTo>
                    <a:pt x="601" y="697"/>
                  </a:lnTo>
                  <a:lnTo>
                    <a:pt x="601" y="695"/>
                  </a:lnTo>
                  <a:lnTo>
                    <a:pt x="600" y="694"/>
                  </a:lnTo>
                  <a:lnTo>
                    <a:pt x="601" y="692"/>
                  </a:lnTo>
                  <a:lnTo>
                    <a:pt x="604" y="691"/>
                  </a:lnTo>
                  <a:lnTo>
                    <a:pt x="605" y="689"/>
                  </a:lnTo>
                  <a:lnTo>
                    <a:pt x="606" y="686"/>
                  </a:lnTo>
                  <a:lnTo>
                    <a:pt x="604" y="685"/>
                  </a:lnTo>
                  <a:lnTo>
                    <a:pt x="602" y="683"/>
                  </a:lnTo>
                  <a:lnTo>
                    <a:pt x="601" y="683"/>
                  </a:lnTo>
                  <a:lnTo>
                    <a:pt x="600" y="684"/>
                  </a:lnTo>
                  <a:lnTo>
                    <a:pt x="598" y="686"/>
                  </a:lnTo>
                  <a:lnTo>
                    <a:pt x="595" y="688"/>
                  </a:lnTo>
                  <a:lnTo>
                    <a:pt x="596" y="685"/>
                  </a:lnTo>
                  <a:lnTo>
                    <a:pt x="596" y="683"/>
                  </a:lnTo>
                  <a:lnTo>
                    <a:pt x="594" y="683"/>
                  </a:lnTo>
                  <a:lnTo>
                    <a:pt x="593" y="682"/>
                  </a:lnTo>
                  <a:lnTo>
                    <a:pt x="592" y="680"/>
                  </a:lnTo>
                  <a:lnTo>
                    <a:pt x="590" y="682"/>
                  </a:lnTo>
                  <a:lnTo>
                    <a:pt x="590" y="685"/>
                  </a:lnTo>
                  <a:lnTo>
                    <a:pt x="588" y="685"/>
                  </a:lnTo>
                  <a:lnTo>
                    <a:pt x="587" y="690"/>
                  </a:lnTo>
                  <a:lnTo>
                    <a:pt x="587" y="689"/>
                  </a:lnTo>
                  <a:lnTo>
                    <a:pt x="586" y="685"/>
                  </a:lnTo>
                  <a:lnTo>
                    <a:pt x="583" y="688"/>
                  </a:lnTo>
                  <a:lnTo>
                    <a:pt x="582" y="690"/>
                  </a:lnTo>
                  <a:lnTo>
                    <a:pt x="581" y="691"/>
                  </a:lnTo>
                  <a:lnTo>
                    <a:pt x="580" y="691"/>
                  </a:lnTo>
                  <a:lnTo>
                    <a:pt x="581" y="688"/>
                  </a:lnTo>
                  <a:lnTo>
                    <a:pt x="581" y="685"/>
                  </a:lnTo>
                  <a:lnTo>
                    <a:pt x="578" y="686"/>
                  </a:lnTo>
                  <a:lnTo>
                    <a:pt x="578" y="684"/>
                  </a:lnTo>
                  <a:lnTo>
                    <a:pt x="576" y="684"/>
                  </a:lnTo>
                  <a:lnTo>
                    <a:pt x="575" y="686"/>
                  </a:lnTo>
                  <a:lnTo>
                    <a:pt x="574" y="688"/>
                  </a:lnTo>
                  <a:lnTo>
                    <a:pt x="571" y="688"/>
                  </a:lnTo>
                  <a:lnTo>
                    <a:pt x="569" y="689"/>
                  </a:lnTo>
                  <a:lnTo>
                    <a:pt x="568" y="688"/>
                  </a:lnTo>
                  <a:lnTo>
                    <a:pt x="570" y="685"/>
                  </a:lnTo>
                  <a:lnTo>
                    <a:pt x="572" y="684"/>
                  </a:lnTo>
                  <a:lnTo>
                    <a:pt x="572" y="683"/>
                  </a:lnTo>
                  <a:lnTo>
                    <a:pt x="571" y="679"/>
                  </a:lnTo>
                  <a:lnTo>
                    <a:pt x="569" y="677"/>
                  </a:lnTo>
                  <a:lnTo>
                    <a:pt x="568" y="677"/>
                  </a:lnTo>
                  <a:lnTo>
                    <a:pt x="566" y="678"/>
                  </a:lnTo>
                  <a:lnTo>
                    <a:pt x="566" y="677"/>
                  </a:lnTo>
                  <a:lnTo>
                    <a:pt x="566" y="674"/>
                  </a:lnTo>
                  <a:lnTo>
                    <a:pt x="565" y="673"/>
                  </a:lnTo>
                  <a:lnTo>
                    <a:pt x="564" y="672"/>
                  </a:lnTo>
                  <a:lnTo>
                    <a:pt x="564" y="671"/>
                  </a:lnTo>
                  <a:lnTo>
                    <a:pt x="563" y="668"/>
                  </a:lnTo>
                  <a:lnTo>
                    <a:pt x="562" y="667"/>
                  </a:lnTo>
                  <a:lnTo>
                    <a:pt x="558" y="667"/>
                  </a:lnTo>
                  <a:lnTo>
                    <a:pt x="556" y="667"/>
                  </a:lnTo>
                  <a:lnTo>
                    <a:pt x="549" y="667"/>
                  </a:lnTo>
                  <a:lnTo>
                    <a:pt x="551" y="666"/>
                  </a:lnTo>
                  <a:lnTo>
                    <a:pt x="548" y="662"/>
                  </a:lnTo>
                  <a:lnTo>
                    <a:pt x="548" y="661"/>
                  </a:lnTo>
                  <a:lnTo>
                    <a:pt x="548" y="660"/>
                  </a:lnTo>
                  <a:lnTo>
                    <a:pt x="546" y="659"/>
                  </a:lnTo>
                  <a:lnTo>
                    <a:pt x="543" y="658"/>
                  </a:lnTo>
                  <a:lnTo>
                    <a:pt x="543" y="656"/>
                  </a:lnTo>
                  <a:lnTo>
                    <a:pt x="543" y="653"/>
                  </a:lnTo>
                  <a:lnTo>
                    <a:pt x="545" y="653"/>
                  </a:lnTo>
                  <a:lnTo>
                    <a:pt x="546" y="654"/>
                  </a:lnTo>
                  <a:lnTo>
                    <a:pt x="547" y="655"/>
                  </a:lnTo>
                  <a:lnTo>
                    <a:pt x="548" y="656"/>
                  </a:lnTo>
                  <a:lnTo>
                    <a:pt x="551" y="660"/>
                  </a:lnTo>
                  <a:lnTo>
                    <a:pt x="551" y="662"/>
                  </a:lnTo>
                  <a:lnTo>
                    <a:pt x="553" y="665"/>
                  </a:lnTo>
                  <a:lnTo>
                    <a:pt x="556" y="665"/>
                  </a:lnTo>
                  <a:lnTo>
                    <a:pt x="557" y="664"/>
                  </a:lnTo>
                  <a:lnTo>
                    <a:pt x="557" y="661"/>
                  </a:lnTo>
                  <a:lnTo>
                    <a:pt x="556" y="659"/>
                  </a:lnTo>
                  <a:lnTo>
                    <a:pt x="553" y="656"/>
                  </a:lnTo>
                  <a:lnTo>
                    <a:pt x="552" y="655"/>
                  </a:lnTo>
                  <a:lnTo>
                    <a:pt x="548" y="653"/>
                  </a:lnTo>
                  <a:lnTo>
                    <a:pt x="547" y="650"/>
                  </a:lnTo>
                  <a:lnTo>
                    <a:pt x="546" y="649"/>
                  </a:lnTo>
                  <a:lnTo>
                    <a:pt x="545" y="649"/>
                  </a:lnTo>
                  <a:lnTo>
                    <a:pt x="543" y="648"/>
                  </a:lnTo>
                  <a:lnTo>
                    <a:pt x="543" y="647"/>
                  </a:lnTo>
                  <a:lnTo>
                    <a:pt x="545" y="646"/>
                  </a:lnTo>
                  <a:lnTo>
                    <a:pt x="546" y="644"/>
                  </a:lnTo>
                  <a:lnTo>
                    <a:pt x="547" y="646"/>
                  </a:lnTo>
                  <a:lnTo>
                    <a:pt x="549" y="647"/>
                  </a:lnTo>
                  <a:lnTo>
                    <a:pt x="552" y="649"/>
                  </a:lnTo>
                  <a:lnTo>
                    <a:pt x="556" y="652"/>
                  </a:lnTo>
                  <a:lnTo>
                    <a:pt x="558" y="653"/>
                  </a:lnTo>
                  <a:lnTo>
                    <a:pt x="559" y="654"/>
                  </a:lnTo>
                  <a:lnTo>
                    <a:pt x="558" y="656"/>
                  </a:lnTo>
                  <a:lnTo>
                    <a:pt x="557" y="658"/>
                  </a:lnTo>
                  <a:lnTo>
                    <a:pt x="558" y="659"/>
                  </a:lnTo>
                  <a:lnTo>
                    <a:pt x="559" y="658"/>
                  </a:lnTo>
                  <a:lnTo>
                    <a:pt x="562" y="656"/>
                  </a:lnTo>
                  <a:lnTo>
                    <a:pt x="562" y="655"/>
                  </a:lnTo>
                  <a:lnTo>
                    <a:pt x="564" y="655"/>
                  </a:lnTo>
                  <a:lnTo>
                    <a:pt x="564" y="656"/>
                  </a:lnTo>
                  <a:lnTo>
                    <a:pt x="564" y="658"/>
                  </a:lnTo>
                  <a:lnTo>
                    <a:pt x="568" y="655"/>
                  </a:lnTo>
                  <a:lnTo>
                    <a:pt x="569" y="654"/>
                  </a:lnTo>
                  <a:lnTo>
                    <a:pt x="571" y="654"/>
                  </a:lnTo>
                  <a:lnTo>
                    <a:pt x="572" y="656"/>
                  </a:lnTo>
                  <a:lnTo>
                    <a:pt x="575" y="658"/>
                  </a:lnTo>
                  <a:lnTo>
                    <a:pt x="578" y="659"/>
                  </a:lnTo>
                  <a:lnTo>
                    <a:pt x="580" y="658"/>
                  </a:lnTo>
                  <a:lnTo>
                    <a:pt x="581" y="655"/>
                  </a:lnTo>
                  <a:lnTo>
                    <a:pt x="580" y="654"/>
                  </a:lnTo>
                  <a:lnTo>
                    <a:pt x="578" y="653"/>
                  </a:lnTo>
                  <a:lnTo>
                    <a:pt x="580" y="650"/>
                  </a:lnTo>
                  <a:lnTo>
                    <a:pt x="581" y="650"/>
                  </a:lnTo>
                  <a:lnTo>
                    <a:pt x="578" y="650"/>
                  </a:lnTo>
                  <a:lnTo>
                    <a:pt x="575" y="650"/>
                  </a:lnTo>
                  <a:lnTo>
                    <a:pt x="576" y="647"/>
                  </a:lnTo>
                  <a:lnTo>
                    <a:pt x="576" y="644"/>
                  </a:lnTo>
                  <a:lnTo>
                    <a:pt x="578" y="646"/>
                  </a:lnTo>
                  <a:lnTo>
                    <a:pt x="581" y="647"/>
                  </a:lnTo>
                  <a:lnTo>
                    <a:pt x="581" y="646"/>
                  </a:lnTo>
                  <a:lnTo>
                    <a:pt x="582" y="643"/>
                  </a:lnTo>
                  <a:lnTo>
                    <a:pt x="582" y="642"/>
                  </a:lnTo>
                  <a:lnTo>
                    <a:pt x="581" y="640"/>
                  </a:lnTo>
                  <a:lnTo>
                    <a:pt x="581" y="638"/>
                  </a:lnTo>
                  <a:lnTo>
                    <a:pt x="582" y="638"/>
                  </a:lnTo>
                  <a:lnTo>
                    <a:pt x="582" y="637"/>
                  </a:lnTo>
                  <a:lnTo>
                    <a:pt x="582" y="635"/>
                  </a:lnTo>
                  <a:lnTo>
                    <a:pt x="580" y="635"/>
                  </a:lnTo>
                  <a:lnTo>
                    <a:pt x="578" y="636"/>
                  </a:lnTo>
                  <a:lnTo>
                    <a:pt x="576" y="635"/>
                  </a:lnTo>
                  <a:lnTo>
                    <a:pt x="576" y="637"/>
                  </a:lnTo>
                  <a:lnTo>
                    <a:pt x="575" y="638"/>
                  </a:lnTo>
                  <a:lnTo>
                    <a:pt x="572" y="638"/>
                  </a:lnTo>
                  <a:lnTo>
                    <a:pt x="571" y="638"/>
                  </a:lnTo>
                  <a:lnTo>
                    <a:pt x="570" y="641"/>
                  </a:lnTo>
                  <a:lnTo>
                    <a:pt x="569" y="640"/>
                  </a:lnTo>
                  <a:lnTo>
                    <a:pt x="568" y="641"/>
                  </a:lnTo>
                  <a:lnTo>
                    <a:pt x="565" y="641"/>
                  </a:lnTo>
                  <a:lnTo>
                    <a:pt x="563" y="641"/>
                  </a:lnTo>
                  <a:lnTo>
                    <a:pt x="562" y="640"/>
                  </a:lnTo>
                  <a:lnTo>
                    <a:pt x="563" y="638"/>
                  </a:lnTo>
                  <a:lnTo>
                    <a:pt x="565" y="636"/>
                  </a:lnTo>
                  <a:lnTo>
                    <a:pt x="569" y="636"/>
                  </a:lnTo>
                  <a:lnTo>
                    <a:pt x="571" y="636"/>
                  </a:lnTo>
                  <a:lnTo>
                    <a:pt x="572" y="635"/>
                  </a:lnTo>
                  <a:lnTo>
                    <a:pt x="571" y="633"/>
                  </a:lnTo>
                  <a:lnTo>
                    <a:pt x="572" y="632"/>
                  </a:lnTo>
                  <a:lnTo>
                    <a:pt x="574" y="632"/>
                  </a:lnTo>
                  <a:lnTo>
                    <a:pt x="576" y="631"/>
                  </a:lnTo>
                  <a:lnTo>
                    <a:pt x="578" y="630"/>
                  </a:lnTo>
                  <a:lnTo>
                    <a:pt x="581" y="629"/>
                  </a:lnTo>
                  <a:lnTo>
                    <a:pt x="583" y="629"/>
                  </a:lnTo>
                  <a:lnTo>
                    <a:pt x="588" y="629"/>
                  </a:lnTo>
                  <a:lnTo>
                    <a:pt x="589" y="626"/>
                  </a:lnTo>
                  <a:lnTo>
                    <a:pt x="589" y="624"/>
                  </a:lnTo>
                  <a:lnTo>
                    <a:pt x="588" y="623"/>
                  </a:lnTo>
                  <a:lnTo>
                    <a:pt x="587" y="620"/>
                  </a:lnTo>
                  <a:lnTo>
                    <a:pt x="586" y="618"/>
                  </a:lnTo>
                  <a:lnTo>
                    <a:pt x="583" y="619"/>
                  </a:lnTo>
                  <a:lnTo>
                    <a:pt x="581" y="619"/>
                  </a:lnTo>
                  <a:lnTo>
                    <a:pt x="578" y="619"/>
                  </a:lnTo>
                  <a:lnTo>
                    <a:pt x="577" y="621"/>
                  </a:lnTo>
                  <a:lnTo>
                    <a:pt x="576" y="624"/>
                  </a:lnTo>
                  <a:lnTo>
                    <a:pt x="576" y="625"/>
                  </a:lnTo>
                  <a:lnTo>
                    <a:pt x="574" y="627"/>
                  </a:lnTo>
                  <a:lnTo>
                    <a:pt x="571" y="630"/>
                  </a:lnTo>
                  <a:lnTo>
                    <a:pt x="570" y="631"/>
                  </a:lnTo>
                  <a:lnTo>
                    <a:pt x="568" y="632"/>
                  </a:lnTo>
                  <a:lnTo>
                    <a:pt x="564" y="633"/>
                  </a:lnTo>
                  <a:lnTo>
                    <a:pt x="558" y="637"/>
                  </a:lnTo>
                  <a:lnTo>
                    <a:pt x="556" y="637"/>
                  </a:lnTo>
                  <a:lnTo>
                    <a:pt x="552" y="638"/>
                  </a:lnTo>
                  <a:lnTo>
                    <a:pt x="551" y="637"/>
                  </a:lnTo>
                  <a:lnTo>
                    <a:pt x="549" y="637"/>
                  </a:lnTo>
                  <a:lnTo>
                    <a:pt x="552" y="635"/>
                  </a:lnTo>
                  <a:lnTo>
                    <a:pt x="553" y="633"/>
                  </a:lnTo>
                  <a:lnTo>
                    <a:pt x="556" y="632"/>
                  </a:lnTo>
                  <a:lnTo>
                    <a:pt x="556" y="630"/>
                  </a:lnTo>
                  <a:lnTo>
                    <a:pt x="554" y="629"/>
                  </a:lnTo>
                  <a:lnTo>
                    <a:pt x="553" y="629"/>
                  </a:lnTo>
                  <a:lnTo>
                    <a:pt x="551" y="627"/>
                  </a:lnTo>
                  <a:lnTo>
                    <a:pt x="549" y="630"/>
                  </a:lnTo>
                  <a:lnTo>
                    <a:pt x="546" y="631"/>
                  </a:lnTo>
                  <a:lnTo>
                    <a:pt x="542" y="633"/>
                  </a:lnTo>
                  <a:lnTo>
                    <a:pt x="543" y="631"/>
                  </a:lnTo>
                  <a:lnTo>
                    <a:pt x="546" y="629"/>
                  </a:lnTo>
                  <a:lnTo>
                    <a:pt x="547" y="626"/>
                  </a:lnTo>
                  <a:lnTo>
                    <a:pt x="546" y="625"/>
                  </a:lnTo>
                  <a:lnTo>
                    <a:pt x="543" y="626"/>
                  </a:lnTo>
                  <a:lnTo>
                    <a:pt x="542" y="627"/>
                  </a:lnTo>
                  <a:lnTo>
                    <a:pt x="542" y="630"/>
                  </a:lnTo>
                  <a:lnTo>
                    <a:pt x="541" y="632"/>
                  </a:lnTo>
                  <a:lnTo>
                    <a:pt x="540" y="632"/>
                  </a:lnTo>
                  <a:lnTo>
                    <a:pt x="540" y="629"/>
                  </a:lnTo>
                  <a:lnTo>
                    <a:pt x="537" y="629"/>
                  </a:lnTo>
                  <a:lnTo>
                    <a:pt x="536" y="630"/>
                  </a:lnTo>
                  <a:lnTo>
                    <a:pt x="534" y="630"/>
                  </a:lnTo>
                  <a:lnTo>
                    <a:pt x="534" y="631"/>
                  </a:lnTo>
                  <a:lnTo>
                    <a:pt x="533" y="635"/>
                  </a:lnTo>
                  <a:lnTo>
                    <a:pt x="533" y="636"/>
                  </a:lnTo>
                  <a:lnTo>
                    <a:pt x="530" y="637"/>
                  </a:lnTo>
                  <a:lnTo>
                    <a:pt x="530" y="635"/>
                  </a:lnTo>
                  <a:lnTo>
                    <a:pt x="528" y="633"/>
                  </a:lnTo>
                  <a:lnTo>
                    <a:pt x="528" y="635"/>
                  </a:lnTo>
                  <a:lnTo>
                    <a:pt x="527" y="633"/>
                  </a:lnTo>
                  <a:lnTo>
                    <a:pt x="524" y="632"/>
                  </a:lnTo>
                  <a:lnTo>
                    <a:pt x="523" y="631"/>
                  </a:lnTo>
                  <a:lnTo>
                    <a:pt x="525" y="629"/>
                  </a:lnTo>
                  <a:lnTo>
                    <a:pt x="527" y="627"/>
                  </a:lnTo>
                  <a:lnTo>
                    <a:pt x="530" y="625"/>
                  </a:lnTo>
                  <a:lnTo>
                    <a:pt x="529" y="623"/>
                  </a:lnTo>
                  <a:lnTo>
                    <a:pt x="528" y="621"/>
                  </a:lnTo>
                  <a:lnTo>
                    <a:pt x="525" y="621"/>
                  </a:lnTo>
                  <a:lnTo>
                    <a:pt x="522" y="621"/>
                  </a:lnTo>
                  <a:lnTo>
                    <a:pt x="522" y="624"/>
                  </a:lnTo>
                  <a:lnTo>
                    <a:pt x="522" y="626"/>
                  </a:lnTo>
                  <a:lnTo>
                    <a:pt x="521" y="624"/>
                  </a:lnTo>
                  <a:lnTo>
                    <a:pt x="518" y="624"/>
                  </a:lnTo>
                  <a:lnTo>
                    <a:pt x="517" y="624"/>
                  </a:lnTo>
                  <a:lnTo>
                    <a:pt x="516" y="624"/>
                  </a:lnTo>
                  <a:lnTo>
                    <a:pt x="513" y="624"/>
                  </a:lnTo>
                  <a:lnTo>
                    <a:pt x="513" y="621"/>
                  </a:lnTo>
                  <a:lnTo>
                    <a:pt x="512" y="623"/>
                  </a:lnTo>
                  <a:lnTo>
                    <a:pt x="509" y="626"/>
                  </a:lnTo>
                  <a:lnTo>
                    <a:pt x="509" y="627"/>
                  </a:lnTo>
                  <a:lnTo>
                    <a:pt x="506" y="625"/>
                  </a:lnTo>
                  <a:lnTo>
                    <a:pt x="504" y="625"/>
                  </a:lnTo>
                  <a:lnTo>
                    <a:pt x="504" y="623"/>
                  </a:lnTo>
                  <a:lnTo>
                    <a:pt x="505" y="623"/>
                  </a:lnTo>
                  <a:lnTo>
                    <a:pt x="507" y="623"/>
                  </a:lnTo>
                  <a:lnTo>
                    <a:pt x="510" y="621"/>
                  </a:lnTo>
                  <a:lnTo>
                    <a:pt x="511" y="619"/>
                  </a:lnTo>
                  <a:lnTo>
                    <a:pt x="513" y="617"/>
                  </a:lnTo>
                  <a:lnTo>
                    <a:pt x="512" y="615"/>
                  </a:lnTo>
                  <a:lnTo>
                    <a:pt x="511" y="614"/>
                  </a:lnTo>
                  <a:lnTo>
                    <a:pt x="511" y="613"/>
                  </a:lnTo>
                  <a:lnTo>
                    <a:pt x="513" y="612"/>
                  </a:lnTo>
                  <a:lnTo>
                    <a:pt x="516" y="611"/>
                  </a:lnTo>
                  <a:lnTo>
                    <a:pt x="516" y="609"/>
                  </a:lnTo>
                  <a:lnTo>
                    <a:pt x="516" y="608"/>
                  </a:lnTo>
                  <a:lnTo>
                    <a:pt x="515" y="608"/>
                  </a:lnTo>
                  <a:lnTo>
                    <a:pt x="511" y="608"/>
                  </a:lnTo>
                  <a:lnTo>
                    <a:pt x="509" y="607"/>
                  </a:lnTo>
                  <a:lnTo>
                    <a:pt x="509" y="606"/>
                  </a:lnTo>
                  <a:lnTo>
                    <a:pt x="511" y="606"/>
                  </a:lnTo>
                  <a:lnTo>
                    <a:pt x="513" y="606"/>
                  </a:lnTo>
                  <a:lnTo>
                    <a:pt x="516" y="606"/>
                  </a:lnTo>
                  <a:lnTo>
                    <a:pt x="517" y="607"/>
                  </a:lnTo>
                  <a:lnTo>
                    <a:pt x="518" y="605"/>
                  </a:lnTo>
                  <a:lnTo>
                    <a:pt x="519" y="605"/>
                  </a:lnTo>
                  <a:lnTo>
                    <a:pt x="524" y="607"/>
                  </a:lnTo>
                  <a:lnTo>
                    <a:pt x="525" y="608"/>
                  </a:lnTo>
                  <a:lnTo>
                    <a:pt x="528" y="612"/>
                  </a:lnTo>
                  <a:lnTo>
                    <a:pt x="528" y="615"/>
                  </a:lnTo>
                  <a:lnTo>
                    <a:pt x="529" y="618"/>
                  </a:lnTo>
                  <a:lnTo>
                    <a:pt x="533" y="618"/>
                  </a:lnTo>
                  <a:lnTo>
                    <a:pt x="534" y="617"/>
                  </a:lnTo>
                  <a:lnTo>
                    <a:pt x="535" y="617"/>
                  </a:lnTo>
                  <a:lnTo>
                    <a:pt x="537" y="615"/>
                  </a:lnTo>
                  <a:lnTo>
                    <a:pt x="539" y="617"/>
                  </a:lnTo>
                  <a:lnTo>
                    <a:pt x="541" y="617"/>
                  </a:lnTo>
                  <a:lnTo>
                    <a:pt x="542" y="617"/>
                  </a:lnTo>
                  <a:lnTo>
                    <a:pt x="547" y="617"/>
                  </a:lnTo>
                  <a:lnTo>
                    <a:pt x="549" y="615"/>
                  </a:lnTo>
                  <a:lnTo>
                    <a:pt x="551" y="613"/>
                  </a:lnTo>
                  <a:lnTo>
                    <a:pt x="551" y="612"/>
                  </a:lnTo>
                  <a:lnTo>
                    <a:pt x="549" y="611"/>
                  </a:lnTo>
                  <a:lnTo>
                    <a:pt x="546" y="613"/>
                  </a:lnTo>
                  <a:lnTo>
                    <a:pt x="543" y="612"/>
                  </a:lnTo>
                  <a:lnTo>
                    <a:pt x="541" y="612"/>
                  </a:lnTo>
                  <a:lnTo>
                    <a:pt x="540" y="612"/>
                  </a:lnTo>
                  <a:lnTo>
                    <a:pt x="539" y="611"/>
                  </a:lnTo>
                  <a:lnTo>
                    <a:pt x="535" y="611"/>
                  </a:lnTo>
                  <a:lnTo>
                    <a:pt x="535" y="608"/>
                  </a:lnTo>
                  <a:lnTo>
                    <a:pt x="533" y="608"/>
                  </a:lnTo>
                  <a:lnTo>
                    <a:pt x="531" y="607"/>
                  </a:lnTo>
                  <a:lnTo>
                    <a:pt x="528" y="606"/>
                  </a:lnTo>
                  <a:lnTo>
                    <a:pt x="524" y="603"/>
                  </a:lnTo>
                  <a:lnTo>
                    <a:pt x="528" y="603"/>
                  </a:lnTo>
                  <a:lnTo>
                    <a:pt x="531" y="603"/>
                  </a:lnTo>
                  <a:lnTo>
                    <a:pt x="531" y="601"/>
                  </a:lnTo>
                  <a:lnTo>
                    <a:pt x="528" y="600"/>
                  </a:lnTo>
                  <a:lnTo>
                    <a:pt x="527" y="597"/>
                  </a:lnTo>
                  <a:lnTo>
                    <a:pt x="527" y="596"/>
                  </a:lnTo>
                  <a:lnTo>
                    <a:pt x="525" y="595"/>
                  </a:lnTo>
                  <a:lnTo>
                    <a:pt x="523" y="595"/>
                  </a:lnTo>
                  <a:lnTo>
                    <a:pt x="521" y="595"/>
                  </a:lnTo>
                  <a:lnTo>
                    <a:pt x="517" y="594"/>
                  </a:lnTo>
                  <a:lnTo>
                    <a:pt x="516" y="591"/>
                  </a:lnTo>
                  <a:lnTo>
                    <a:pt x="515" y="589"/>
                  </a:lnTo>
                  <a:lnTo>
                    <a:pt x="513" y="585"/>
                  </a:lnTo>
                  <a:lnTo>
                    <a:pt x="515" y="588"/>
                  </a:lnTo>
                  <a:lnTo>
                    <a:pt x="518" y="591"/>
                  </a:lnTo>
                  <a:lnTo>
                    <a:pt x="521" y="594"/>
                  </a:lnTo>
                  <a:lnTo>
                    <a:pt x="522" y="591"/>
                  </a:lnTo>
                  <a:lnTo>
                    <a:pt x="521" y="590"/>
                  </a:lnTo>
                  <a:lnTo>
                    <a:pt x="521" y="589"/>
                  </a:lnTo>
                  <a:lnTo>
                    <a:pt x="524" y="590"/>
                  </a:lnTo>
                  <a:lnTo>
                    <a:pt x="525" y="591"/>
                  </a:lnTo>
                  <a:lnTo>
                    <a:pt x="528" y="594"/>
                  </a:lnTo>
                  <a:lnTo>
                    <a:pt x="531" y="595"/>
                  </a:lnTo>
                  <a:lnTo>
                    <a:pt x="533" y="597"/>
                  </a:lnTo>
                  <a:lnTo>
                    <a:pt x="535" y="600"/>
                  </a:lnTo>
                  <a:lnTo>
                    <a:pt x="537" y="602"/>
                  </a:lnTo>
                  <a:lnTo>
                    <a:pt x="537" y="603"/>
                  </a:lnTo>
                  <a:lnTo>
                    <a:pt x="535" y="603"/>
                  </a:lnTo>
                  <a:lnTo>
                    <a:pt x="534" y="602"/>
                  </a:lnTo>
                  <a:lnTo>
                    <a:pt x="534" y="605"/>
                  </a:lnTo>
                  <a:lnTo>
                    <a:pt x="535" y="606"/>
                  </a:lnTo>
                  <a:lnTo>
                    <a:pt x="537" y="608"/>
                  </a:lnTo>
                  <a:lnTo>
                    <a:pt x="541" y="608"/>
                  </a:lnTo>
                  <a:lnTo>
                    <a:pt x="543" y="609"/>
                  </a:lnTo>
                  <a:lnTo>
                    <a:pt x="547" y="608"/>
                  </a:lnTo>
                  <a:lnTo>
                    <a:pt x="549" y="608"/>
                  </a:lnTo>
                  <a:lnTo>
                    <a:pt x="552" y="607"/>
                  </a:lnTo>
                  <a:lnTo>
                    <a:pt x="549" y="606"/>
                  </a:lnTo>
                  <a:lnTo>
                    <a:pt x="547" y="605"/>
                  </a:lnTo>
                  <a:lnTo>
                    <a:pt x="547" y="603"/>
                  </a:lnTo>
                  <a:lnTo>
                    <a:pt x="549" y="603"/>
                  </a:lnTo>
                  <a:lnTo>
                    <a:pt x="553" y="605"/>
                  </a:lnTo>
                  <a:lnTo>
                    <a:pt x="559" y="605"/>
                  </a:lnTo>
                  <a:lnTo>
                    <a:pt x="560" y="603"/>
                  </a:lnTo>
                  <a:lnTo>
                    <a:pt x="562" y="600"/>
                  </a:lnTo>
                  <a:lnTo>
                    <a:pt x="562" y="599"/>
                  </a:lnTo>
                  <a:lnTo>
                    <a:pt x="559" y="599"/>
                  </a:lnTo>
                  <a:lnTo>
                    <a:pt x="557" y="599"/>
                  </a:lnTo>
                  <a:lnTo>
                    <a:pt x="553" y="597"/>
                  </a:lnTo>
                  <a:lnTo>
                    <a:pt x="551" y="597"/>
                  </a:lnTo>
                  <a:lnTo>
                    <a:pt x="547" y="595"/>
                  </a:lnTo>
                  <a:lnTo>
                    <a:pt x="545" y="595"/>
                  </a:lnTo>
                  <a:lnTo>
                    <a:pt x="540" y="593"/>
                  </a:lnTo>
                  <a:lnTo>
                    <a:pt x="537" y="593"/>
                  </a:lnTo>
                  <a:lnTo>
                    <a:pt x="534" y="590"/>
                  </a:lnTo>
                  <a:lnTo>
                    <a:pt x="531" y="590"/>
                  </a:lnTo>
                  <a:lnTo>
                    <a:pt x="530" y="588"/>
                  </a:lnTo>
                  <a:lnTo>
                    <a:pt x="527" y="585"/>
                  </a:lnTo>
                  <a:lnTo>
                    <a:pt x="525" y="584"/>
                  </a:lnTo>
                  <a:lnTo>
                    <a:pt x="524" y="582"/>
                  </a:lnTo>
                  <a:lnTo>
                    <a:pt x="523" y="579"/>
                  </a:lnTo>
                  <a:lnTo>
                    <a:pt x="523" y="578"/>
                  </a:lnTo>
                  <a:lnTo>
                    <a:pt x="521" y="577"/>
                  </a:lnTo>
                  <a:lnTo>
                    <a:pt x="519" y="576"/>
                  </a:lnTo>
                  <a:lnTo>
                    <a:pt x="518" y="576"/>
                  </a:lnTo>
                  <a:lnTo>
                    <a:pt x="515" y="576"/>
                  </a:lnTo>
                  <a:lnTo>
                    <a:pt x="513" y="576"/>
                  </a:lnTo>
                  <a:lnTo>
                    <a:pt x="513" y="573"/>
                  </a:lnTo>
                  <a:lnTo>
                    <a:pt x="513" y="572"/>
                  </a:lnTo>
                  <a:lnTo>
                    <a:pt x="513" y="570"/>
                  </a:lnTo>
                  <a:lnTo>
                    <a:pt x="515" y="570"/>
                  </a:lnTo>
                  <a:lnTo>
                    <a:pt x="518" y="572"/>
                  </a:lnTo>
                  <a:lnTo>
                    <a:pt x="521" y="572"/>
                  </a:lnTo>
                  <a:lnTo>
                    <a:pt x="522" y="572"/>
                  </a:lnTo>
                  <a:lnTo>
                    <a:pt x="524" y="572"/>
                  </a:lnTo>
                  <a:lnTo>
                    <a:pt x="525" y="577"/>
                  </a:lnTo>
                  <a:lnTo>
                    <a:pt x="525" y="579"/>
                  </a:lnTo>
                  <a:lnTo>
                    <a:pt x="527" y="581"/>
                  </a:lnTo>
                  <a:lnTo>
                    <a:pt x="528" y="581"/>
                  </a:lnTo>
                  <a:lnTo>
                    <a:pt x="529" y="583"/>
                  </a:lnTo>
                  <a:lnTo>
                    <a:pt x="530" y="585"/>
                  </a:lnTo>
                  <a:lnTo>
                    <a:pt x="533" y="585"/>
                  </a:lnTo>
                  <a:lnTo>
                    <a:pt x="534" y="587"/>
                  </a:lnTo>
                  <a:lnTo>
                    <a:pt x="535" y="589"/>
                  </a:lnTo>
                  <a:lnTo>
                    <a:pt x="539" y="589"/>
                  </a:lnTo>
                  <a:lnTo>
                    <a:pt x="542" y="590"/>
                  </a:lnTo>
                  <a:lnTo>
                    <a:pt x="543" y="591"/>
                  </a:lnTo>
                  <a:lnTo>
                    <a:pt x="546" y="593"/>
                  </a:lnTo>
                  <a:lnTo>
                    <a:pt x="548" y="593"/>
                  </a:lnTo>
                  <a:lnTo>
                    <a:pt x="551" y="591"/>
                  </a:lnTo>
                  <a:lnTo>
                    <a:pt x="553" y="594"/>
                  </a:lnTo>
                  <a:lnTo>
                    <a:pt x="556" y="596"/>
                  </a:lnTo>
                  <a:lnTo>
                    <a:pt x="558" y="596"/>
                  </a:lnTo>
                  <a:lnTo>
                    <a:pt x="563" y="595"/>
                  </a:lnTo>
                  <a:lnTo>
                    <a:pt x="563" y="594"/>
                  </a:lnTo>
                  <a:lnTo>
                    <a:pt x="560" y="593"/>
                  </a:lnTo>
                  <a:lnTo>
                    <a:pt x="558" y="593"/>
                  </a:lnTo>
                  <a:lnTo>
                    <a:pt x="554" y="590"/>
                  </a:lnTo>
                  <a:lnTo>
                    <a:pt x="552" y="590"/>
                  </a:lnTo>
                  <a:lnTo>
                    <a:pt x="556" y="589"/>
                  </a:lnTo>
                  <a:lnTo>
                    <a:pt x="558" y="589"/>
                  </a:lnTo>
                  <a:lnTo>
                    <a:pt x="560" y="589"/>
                  </a:lnTo>
                  <a:lnTo>
                    <a:pt x="563" y="587"/>
                  </a:lnTo>
                  <a:lnTo>
                    <a:pt x="565" y="583"/>
                  </a:lnTo>
                  <a:lnTo>
                    <a:pt x="565" y="582"/>
                  </a:lnTo>
                  <a:lnTo>
                    <a:pt x="565" y="578"/>
                  </a:lnTo>
                  <a:lnTo>
                    <a:pt x="563" y="579"/>
                  </a:lnTo>
                  <a:lnTo>
                    <a:pt x="563" y="577"/>
                  </a:lnTo>
                  <a:lnTo>
                    <a:pt x="562" y="577"/>
                  </a:lnTo>
                  <a:lnTo>
                    <a:pt x="560" y="579"/>
                  </a:lnTo>
                  <a:lnTo>
                    <a:pt x="562" y="579"/>
                  </a:lnTo>
                  <a:lnTo>
                    <a:pt x="560" y="579"/>
                  </a:lnTo>
                  <a:lnTo>
                    <a:pt x="559" y="582"/>
                  </a:lnTo>
                  <a:lnTo>
                    <a:pt x="554" y="582"/>
                  </a:lnTo>
                  <a:lnTo>
                    <a:pt x="554" y="583"/>
                  </a:lnTo>
                  <a:lnTo>
                    <a:pt x="554" y="582"/>
                  </a:lnTo>
                  <a:lnTo>
                    <a:pt x="553" y="579"/>
                  </a:lnTo>
                  <a:lnTo>
                    <a:pt x="552" y="579"/>
                  </a:lnTo>
                  <a:lnTo>
                    <a:pt x="551" y="581"/>
                  </a:lnTo>
                  <a:lnTo>
                    <a:pt x="551" y="584"/>
                  </a:lnTo>
                  <a:lnTo>
                    <a:pt x="551" y="585"/>
                  </a:lnTo>
                  <a:lnTo>
                    <a:pt x="549" y="587"/>
                  </a:lnTo>
                  <a:lnTo>
                    <a:pt x="548" y="584"/>
                  </a:lnTo>
                  <a:lnTo>
                    <a:pt x="547" y="582"/>
                  </a:lnTo>
                  <a:lnTo>
                    <a:pt x="545" y="582"/>
                  </a:lnTo>
                  <a:lnTo>
                    <a:pt x="542" y="579"/>
                  </a:lnTo>
                  <a:lnTo>
                    <a:pt x="542" y="577"/>
                  </a:lnTo>
                  <a:lnTo>
                    <a:pt x="541" y="577"/>
                  </a:lnTo>
                  <a:lnTo>
                    <a:pt x="540" y="575"/>
                  </a:lnTo>
                  <a:lnTo>
                    <a:pt x="540" y="573"/>
                  </a:lnTo>
                  <a:lnTo>
                    <a:pt x="536" y="572"/>
                  </a:lnTo>
                  <a:lnTo>
                    <a:pt x="534" y="571"/>
                  </a:lnTo>
                  <a:lnTo>
                    <a:pt x="534" y="570"/>
                  </a:lnTo>
                  <a:lnTo>
                    <a:pt x="535" y="567"/>
                  </a:lnTo>
                  <a:lnTo>
                    <a:pt x="537" y="567"/>
                  </a:lnTo>
                  <a:lnTo>
                    <a:pt x="540" y="569"/>
                  </a:lnTo>
                  <a:lnTo>
                    <a:pt x="543" y="570"/>
                  </a:lnTo>
                  <a:lnTo>
                    <a:pt x="546" y="571"/>
                  </a:lnTo>
                  <a:lnTo>
                    <a:pt x="549" y="572"/>
                  </a:lnTo>
                  <a:lnTo>
                    <a:pt x="552" y="573"/>
                  </a:lnTo>
                  <a:lnTo>
                    <a:pt x="556" y="573"/>
                  </a:lnTo>
                  <a:lnTo>
                    <a:pt x="557" y="572"/>
                  </a:lnTo>
                  <a:lnTo>
                    <a:pt x="557" y="569"/>
                  </a:lnTo>
                  <a:lnTo>
                    <a:pt x="554" y="569"/>
                  </a:lnTo>
                  <a:lnTo>
                    <a:pt x="552" y="569"/>
                  </a:lnTo>
                  <a:lnTo>
                    <a:pt x="549" y="569"/>
                  </a:lnTo>
                  <a:lnTo>
                    <a:pt x="546" y="567"/>
                  </a:lnTo>
                  <a:lnTo>
                    <a:pt x="546" y="566"/>
                  </a:lnTo>
                  <a:lnTo>
                    <a:pt x="547" y="566"/>
                  </a:lnTo>
                  <a:lnTo>
                    <a:pt x="551" y="567"/>
                  </a:lnTo>
                  <a:lnTo>
                    <a:pt x="552" y="566"/>
                  </a:lnTo>
                  <a:lnTo>
                    <a:pt x="553" y="565"/>
                  </a:lnTo>
                  <a:lnTo>
                    <a:pt x="553" y="564"/>
                  </a:lnTo>
                  <a:lnTo>
                    <a:pt x="554" y="564"/>
                  </a:lnTo>
                  <a:lnTo>
                    <a:pt x="556" y="565"/>
                  </a:lnTo>
                  <a:lnTo>
                    <a:pt x="558" y="567"/>
                  </a:lnTo>
                  <a:lnTo>
                    <a:pt x="560" y="570"/>
                  </a:lnTo>
                  <a:lnTo>
                    <a:pt x="562" y="569"/>
                  </a:lnTo>
                  <a:lnTo>
                    <a:pt x="563" y="566"/>
                  </a:lnTo>
                  <a:lnTo>
                    <a:pt x="563" y="563"/>
                  </a:lnTo>
                  <a:lnTo>
                    <a:pt x="562" y="560"/>
                  </a:lnTo>
                  <a:lnTo>
                    <a:pt x="558" y="560"/>
                  </a:lnTo>
                  <a:lnTo>
                    <a:pt x="557" y="559"/>
                  </a:lnTo>
                  <a:lnTo>
                    <a:pt x="556" y="560"/>
                  </a:lnTo>
                  <a:lnTo>
                    <a:pt x="554" y="560"/>
                  </a:lnTo>
                  <a:lnTo>
                    <a:pt x="552" y="559"/>
                  </a:lnTo>
                  <a:lnTo>
                    <a:pt x="551" y="560"/>
                  </a:lnTo>
                  <a:lnTo>
                    <a:pt x="547" y="560"/>
                  </a:lnTo>
                  <a:lnTo>
                    <a:pt x="547" y="559"/>
                  </a:lnTo>
                  <a:lnTo>
                    <a:pt x="549" y="558"/>
                  </a:lnTo>
                  <a:lnTo>
                    <a:pt x="549" y="555"/>
                  </a:lnTo>
                  <a:lnTo>
                    <a:pt x="548" y="555"/>
                  </a:lnTo>
                  <a:lnTo>
                    <a:pt x="542" y="555"/>
                  </a:lnTo>
                  <a:lnTo>
                    <a:pt x="540" y="557"/>
                  </a:lnTo>
                  <a:lnTo>
                    <a:pt x="539" y="558"/>
                  </a:lnTo>
                  <a:lnTo>
                    <a:pt x="537" y="557"/>
                  </a:lnTo>
                  <a:lnTo>
                    <a:pt x="540" y="553"/>
                  </a:lnTo>
                  <a:lnTo>
                    <a:pt x="542" y="552"/>
                  </a:lnTo>
                  <a:lnTo>
                    <a:pt x="545" y="551"/>
                  </a:lnTo>
                  <a:lnTo>
                    <a:pt x="547" y="549"/>
                  </a:lnTo>
                  <a:lnTo>
                    <a:pt x="547" y="547"/>
                  </a:lnTo>
                  <a:lnTo>
                    <a:pt x="549" y="547"/>
                  </a:lnTo>
                  <a:lnTo>
                    <a:pt x="552" y="546"/>
                  </a:lnTo>
                  <a:lnTo>
                    <a:pt x="554" y="546"/>
                  </a:lnTo>
                  <a:lnTo>
                    <a:pt x="557" y="543"/>
                  </a:lnTo>
                  <a:lnTo>
                    <a:pt x="558" y="542"/>
                  </a:lnTo>
                  <a:lnTo>
                    <a:pt x="559" y="541"/>
                  </a:lnTo>
                  <a:lnTo>
                    <a:pt x="559" y="539"/>
                  </a:lnTo>
                  <a:lnTo>
                    <a:pt x="557" y="536"/>
                  </a:lnTo>
                  <a:lnTo>
                    <a:pt x="556" y="536"/>
                  </a:lnTo>
                  <a:lnTo>
                    <a:pt x="552" y="537"/>
                  </a:lnTo>
                  <a:lnTo>
                    <a:pt x="551" y="539"/>
                  </a:lnTo>
                  <a:lnTo>
                    <a:pt x="549" y="537"/>
                  </a:lnTo>
                  <a:lnTo>
                    <a:pt x="549" y="536"/>
                  </a:lnTo>
                  <a:lnTo>
                    <a:pt x="551" y="535"/>
                  </a:lnTo>
                  <a:lnTo>
                    <a:pt x="548" y="534"/>
                  </a:lnTo>
                  <a:lnTo>
                    <a:pt x="547" y="534"/>
                  </a:lnTo>
                  <a:lnTo>
                    <a:pt x="546" y="537"/>
                  </a:lnTo>
                  <a:lnTo>
                    <a:pt x="545" y="540"/>
                  </a:lnTo>
                  <a:lnTo>
                    <a:pt x="545" y="537"/>
                  </a:lnTo>
                  <a:lnTo>
                    <a:pt x="545" y="535"/>
                  </a:lnTo>
                  <a:lnTo>
                    <a:pt x="543" y="534"/>
                  </a:lnTo>
                  <a:lnTo>
                    <a:pt x="542" y="536"/>
                  </a:lnTo>
                  <a:lnTo>
                    <a:pt x="541" y="537"/>
                  </a:lnTo>
                  <a:lnTo>
                    <a:pt x="537" y="540"/>
                  </a:lnTo>
                  <a:lnTo>
                    <a:pt x="535" y="540"/>
                  </a:lnTo>
                  <a:lnTo>
                    <a:pt x="535" y="539"/>
                  </a:lnTo>
                  <a:lnTo>
                    <a:pt x="537" y="537"/>
                  </a:lnTo>
                  <a:lnTo>
                    <a:pt x="539" y="536"/>
                  </a:lnTo>
                  <a:lnTo>
                    <a:pt x="540" y="534"/>
                  </a:lnTo>
                  <a:lnTo>
                    <a:pt x="537" y="533"/>
                  </a:lnTo>
                  <a:lnTo>
                    <a:pt x="536" y="533"/>
                  </a:lnTo>
                  <a:lnTo>
                    <a:pt x="535" y="530"/>
                  </a:lnTo>
                  <a:lnTo>
                    <a:pt x="534" y="528"/>
                  </a:lnTo>
                  <a:lnTo>
                    <a:pt x="535" y="525"/>
                  </a:lnTo>
                  <a:lnTo>
                    <a:pt x="537" y="529"/>
                  </a:lnTo>
                  <a:lnTo>
                    <a:pt x="540" y="529"/>
                  </a:lnTo>
                  <a:lnTo>
                    <a:pt x="541" y="529"/>
                  </a:lnTo>
                  <a:lnTo>
                    <a:pt x="543" y="528"/>
                  </a:lnTo>
                  <a:lnTo>
                    <a:pt x="545" y="526"/>
                  </a:lnTo>
                  <a:lnTo>
                    <a:pt x="545" y="523"/>
                  </a:lnTo>
                  <a:lnTo>
                    <a:pt x="542" y="522"/>
                  </a:lnTo>
                  <a:lnTo>
                    <a:pt x="539" y="519"/>
                  </a:lnTo>
                  <a:lnTo>
                    <a:pt x="537" y="518"/>
                  </a:lnTo>
                  <a:lnTo>
                    <a:pt x="536" y="520"/>
                  </a:lnTo>
                  <a:lnTo>
                    <a:pt x="535" y="522"/>
                  </a:lnTo>
                  <a:lnTo>
                    <a:pt x="531" y="520"/>
                  </a:lnTo>
                  <a:lnTo>
                    <a:pt x="529" y="520"/>
                  </a:lnTo>
                  <a:lnTo>
                    <a:pt x="529" y="522"/>
                  </a:lnTo>
                  <a:lnTo>
                    <a:pt x="527" y="522"/>
                  </a:lnTo>
                  <a:lnTo>
                    <a:pt x="525" y="523"/>
                  </a:lnTo>
                  <a:lnTo>
                    <a:pt x="524" y="523"/>
                  </a:lnTo>
                  <a:lnTo>
                    <a:pt x="527" y="526"/>
                  </a:lnTo>
                  <a:lnTo>
                    <a:pt x="529" y="528"/>
                  </a:lnTo>
                  <a:lnTo>
                    <a:pt x="529" y="530"/>
                  </a:lnTo>
                  <a:lnTo>
                    <a:pt x="528" y="531"/>
                  </a:lnTo>
                  <a:lnTo>
                    <a:pt x="527" y="529"/>
                  </a:lnTo>
                  <a:lnTo>
                    <a:pt x="524" y="529"/>
                  </a:lnTo>
                  <a:lnTo>
                    <a:pt x="523" y="526"/>
                  </a:lnTo>
                  <a:lnTo>
                    <a:pt x="522" y="526"/>
                  </a:lnTo>
                  <a:lnTo>
                    <a:pt x="521" y="524"/>
                  </a:lnTo>
                  <a:lnTo>
                    <a:pt x="523" y="522"/>
                  </a:lnTo>
                  <a:lnTo>
                    <a:pt x="524" y="519"/>
                  </a:lnTo>
                  <a:lnTo>
                    <a:pt x="524" y="518"/>
                  </a:lnTo>
                  <a:lnTo>
                    <a:pt x="522" y="516"/>
                  </a:lnTo>
                  <a:lnTo>
                    <a:pt x="521" y="514"/>
                  </a:lnTo>
                  <a:lnTo>
                    <a:pt x="518" y="516"/>
                  </a:lnTo>
                  <a:lnTo>
                    <a:pt x="516" y="517"/>
                  </a:lnTo>
                  <a:lnTo>
                    <a:pt x="513" y="518"/>
                  </a:lnTo>
                  <a:lnTo>
                    <a:pt x="513" y="520"/>
                  </a:lnTo>
                  <a:lnTo>
                    <a:pt x="513" y="523"/>
                  </a:lnTo>
                  <a:lnTo>
                    <a:pt x="511" y="522"/>
                  </a:lnTo>
                  <a:lnTo>
                    <a:pt x="510" y="520"/>
                  </a:lnTo>
                  <a:lnTo>
                    <a:pt x="511" y="517"/>
                  </a:lnTo>
                  <a:lnTo>
                    <a:pt x="512" y="516"/>
                  </a:lnTo>
                  <a:lnTo>
                    <a:pt x="515" y="514"/>
                  </a:lnTo>
                  <a:lnTo>
                    <a:pt x="519" y="513"/>
                  </a:lnTo>
                  <a:lnTo>
                    <a:pt x="521" y="511"/>
                  </a:lnTo>
                  <a:lnTo>
                    <a:pt x="519" y="510"/>
                  </a:lnTo>
                  <a:lnTo>
                    <a:pt x="518" y="510"/>
                  </a:lnTo>
                  <a:lnTo>
                    <a:pt x="518" y="508"/>
                  </a:lnTo>
                  <a:lnTo>
                    <a:pt x="519" y="507"/>
                  </a:lnTo>
                  <a:lnTo>
                    <a:pt x="523" y="507"/>
                  </a:lnTo>
                  <a:lnTo>
                    <a:pt x="525" y="506"/>
                  </a:lnTo>
                  <a:lnTo>
                    <a:pt x="527" y="504"/>
                  </a:lnTo>
                  <a:lnTo>
                    <a:pt x="528" y="501"/>
                  </a:lnTo>
                  <a:lnTo>
                    <a:pt x="529" y="499"/>
                  </a:lnTo>
                  <a:lnTo>
                    <a:pt x="531" y="498"/>
                  </a:lnTo>
                  <a:lnTo>
                    <a:pt x="533" y="496"/>
                  </a:lnTo>
                  <a:lnTo>
                    <a:pt x="533" y="495"/>
                  </a:lnTo>
                  <a:lnTo>
                    <a:pt x="531" y="494"/>
                  </a:lnTo>
                  <a:lnTo>
                    <a:pt x="530" y="493"/>
                  </a:lnTo>
                  <a:lnTo>
                    <a:pt x="529" y="492"/>
                  </a:lnTo>
                  <a:lnTo>
                    <a:pt x="528" y="494"/>
                  </a:lnTo>
                  <a:lnTo>
                    <a:pt x="527" y="495"/>
                  </a:lnTo>
                  <a:lnTo>
                    <a:pt x="525" y="494"/>
                  </a:lnTo>
                  <a:lnTo>
                    <a:pt x="523" y="493"/>
                  </a:lnTo>
                  <a:lnTo>
                    <a:pt x="522" y="494"/>
                  </a:lnTo>
                  <a:lnTo>
                    <a:pt x="522" y="495"/>
                  </a:lnTo>
                  <a:lnTo>
                    <a:pt x="521" y="496"/>
                  </a:lnTo>
                  <a:lnTo>
                    <a:pt x="519" y="496"/>
                  </a:lnTo>
                  <a:lnTo>
                    <a:pt x="517" y="498"/>
                  </a:lnTo>
                  <a:lnTo>
                    <a:pt x="516" y="496"/>
                  </a:lnTo>
                  <a:lnTo>
                    <a:pt x="516" y="495"/>
                  </a:lnTo>
                  <a:lnTo>
                    <a:pt x="518" y="493"/>
                  </a:lnTo>
                  <a:lnTo>
                    <a:pt x="521" y="492"/>
                  </a:lnTo>
                  <a:lnTo>
                    <a:pt x="522" y="489"/>
                  </a:lnTo>
                  <a:lnTo>
                    <a:pt x="521" y="487"/>
                  </a:lnTo>
                  <a:lnTo>
                    <a:pt x="518" y="487"/>
                  </a:lnTo>
                  <a:lnTo>
                    <a:pt x="517" y="489"/>
                  </a:lnTo>
                  <a:lnTo>
                    <a:pt x="516" y="487"/>
                  </a:lnTo>
                  <a:lnTo>
                    <a:pt x="515" y="483"/>
                  </a:lnTo>
                  <a:lnTo>
                    <a:pt x="513" y="483"/>
                  </a:lnTo>
                  <a:lnTo>
                    <a:pt x="512" y="486"/>
                  </a:lnTo>
                  <a:lnTo>
                    <a:pt x="511" y="487"/>
                  </a:lnTo>
                  <a:lnTo>
                    <a:pt x="509" y="486"/>
                  </a:lnTo>
                  <a:lnTo>
                    <a:pt x="505" y="483"/>
                  </a:lnTo>
                  <a:lnTo>
                    <a:pt x="504" y="483"/>
                  </a:lnTo>
                  <a:lnTo>
                    <a:pt x="503" y="483"/>
                  </a:lnTo>
                  <a:lnTo>
                    <a:pt x="501" y="481"/>
                  </a:lnTo>
                  <a:lnTo>
                    <a:pt x="499" y="481"/>
                  </a:lnTo>
                  <a:lnTo>
                    <a:pt x="498" y="481"/>
                  </a:lnTo>
                  <a:lnTo>
                    <a:pt x="498" y="478"/>
                  </a:lnTo>
                  <a:lnTo>
                    <a:pt x="498" y="477"/>
                  </a:lnTo>
                  <a:lnTo>
                    <a:pt x="495" y="476"/>
                  </a:lnTo>
                  <a:lnTo>
                    <a:pt x="498" y="476"/>
                  </a:lnTo>
                  <a:lnTo>
                    <a:pt x="499" y="478"/>
                  </a:lnTo>
                  <a:lnTo>
                    <a:pt x="500" y="480"/>
                  </a:lnTo>
                  <a:lnTo>
                    <a:pt x="503" y="480"/>
                  </a:lnTo>
                  <a:lnTo>
                    <a:pt x="504" y="480"/>
                  </a:lnTo>
                  <a:lnTo>
                    <a:pt x="505" y="480"/>
                  </a:lnTo>
                  <a:lnTo>
                    <a:pt x="506" y="481"/>
                  </a:lnTo>
                  <a:lnTo>
                    <a:pt x="510" y="481"/>
                  </a:lnTo>
                  <a:lnTo>
                    <a:pt x="511" y="477"/>
                  </a:lnTo>
                  <a:lnTo>
                    <a:pt x="512" y="478"/>
                  </a:lnTo>
                  <a:lnTo>
                    <a:pt x="515" y="480"/>
                  </a:lnTo>
                  <a:lnTo>
                    <a:pt x="516" y="478"/>
                  </a:lnTo>
                  <a:lnTo>
                    <a:pt x="518" y="476"/>
                  </a:lnTo>
                  <a:lnTo>
                    <a:pt x="521" y="476"/>
                  </a:lnTo>
                  <a:lnTo>
                    <a:pt x="523" y="475"/>
                  </a:lnTo>
                  <a:lnTo>
                    <a:pt x="525" y="475"/>
                  </a:lnTo>
                  <a:lnTo>
                    <a:pt x="528" y="474"/>
                  </a:lnTo>
                  <a:lnTo>
                    <a:pt x="529" y="471"/>
                  </a:lnTo>
                  <a:lnTo>
                    <a:pt x="527" y="469"/>
                  </a:lnTo>
                  <a:lnTo>
                    <a:pt x="525" y="468"/>
                  </a:lnTo>
                  <a:lnTo>
                    <a:pt x="525" y="466"/>
                  </a:lnTo>
                  <a:lnTo>
                    <a:pt x="523" y="469"/>
                  </a:lnTo>
                  <a:lnTo>
                    <a:pt x="521" y="466"/>
                  </a:lnTo>
                  <a:lnTo>
                    <a:pt x="519" y="469"/>
                  </a:lnTo>
                  <a:lnTo>
                    <a:pt x="518" y="469"/>
                  </a:lnTo>
                  <a:lnTo>
                    <a:pt x="516" y="468"/>
                  </a:lnTo>
                  <a:lnTo>
                    <a:pt x="515" y="469"/>
                  </a:lnTo>
                  <a:lnTo>
                    <a:pt x="513" y="468"/>
                  </a:lnTo>
                  <a:lnTo>
                    <a:pt x="510" y="469"/>
                  </a:lnTo>
                  <a:lnTo>
                    <a:pt x="507" y="469"/>
                  </a:lnTo>
                  <a:lnTo>
                    <a:pt x="507" y="465"/>
                  </a:lnTo>
                  <a:lnTo>
                    <a:pt x="504" y="465"/>
                  </a:lnTo>
                  <a:lnTo>
                    <a:pt x="500" y="464"/>
                  </a:lnTo>
                  <a:lnTo>
                    <a:pt x="499" y="462"/>
                  </a:lnTo>
                  <a:lnTo>
                    <a:pt x="498" y="462"/>
                  </a:lnTo>
                  <a:lnTo>
                    <a:pt x="495" y="463"/>
                  </a:lnTo>
                  <a:lnTo>
                    <a:pt x="494" y="460"/>
                  </a:lnTo>
                  <a:lnTo>
                    <a:pt x="493" y="460"/>
                  </a:lnTo>
                  <a:lnTo>
                    <a:pt x="489" y="460"/>
                  </a:lnTo>
                  <a:lnTo>
                    <a:pt x="487" y="459"/>
                  </a:lnTo>
                  <a:lnTo>
                    <a:pt x="486" y="457"/>
                  </a:lnTo>
                  <a:lnTo>
                    <a:pt x="482" y="454"/>
                  </a:lnTo>
                  <a:lnTo>
                    <a:pt x="481" y="456"/>
                  </a:lnTo>
                  <a:lnTo>
                    <a:pt x="477" y="456"/>
                  </a:lnTo>
                  <a:lnTo>
                    <a:pt x="472" y="457"/>
                  </a:lnTo>
                  <a:lnTo>
                    <a:pt x="471" y="456"/>
                  </a:lnTo>
                  <a:lnTo>
                    <a:pt x="475" y="454"/>
                  </a:lnTo>
                  <a:lnTo>
                    <a:pt x="477" y="454"/>
                  </a:lnTo>
                  <a:lnTo>
                    <a:pt x="480" y="453"/>
                  </a:lnTo>
                  <a:lnTo>
                    <a:pt x="483" y="453"/>
                  </a:lnTo>
                  <a:lnTo>
                    <a:pt x="484" y="453"/>
                  </a:lnTo>
                  <a:lnTo>
                    <a:pt x="486" y="453"/>
                  </a:lnTo>
                  <a:lnTo>
                    <a:pt x="484" y="451"/>
                  </a:lnTo>
                  <a:lnTo>
                    <a:pt x="482" y="450"/>
                  </a:lnTo>
                  <a:lnTo>
                    <a:pt x="482" y="448"/>
                  </a:lnTo>
                  <a:lnTo>
                    <a:pt x="480" y="446"/>
                  </a:lnTo>
                  <a:lnTo>
                    <a:pt x="477" y="447"/>
                  </a:lnTo>
                  <a:lnTo>
                    <a:pt x="477" y="450"/>
                  </a:lnTo>
                  <a:lnTo>
                    <a:pt x="476" y="450"/>
                  </a:lnTo>
                  <a:lnTo>
                    <a:pt x="475" y="448"/>
                  </a:lnTo>
                  <a:lnTo>
                    <a:pt x="474" y="446"/>
                  </a:lnTo>
                  <a:lnTo>
                    <a:pt x="474" y="445"/>
                  </a:lnTo>
                  <a:lnTo>
                    <a:pt x="475" y="442"/>
                  </a:lnTo>
                  <a:lnTo>
                    <a:pt x="474" y="440"/>
                  </a:lnTo>
                  <a:lnTo>
                    <a:pt x="476" y="440"/>
                  </a:lnTo>
                  <a:lnTo>
                    <a:pt x="478" y="441"/>
                  </a:lnTo>
                  <a:lnTo>
                    <a:pt x="480" y="442"/>
                  </a:lnTo>
                  <a:lnTo>
                    <a:pt x="482" y="444"/>
                  </a:lnTo>
                  <a:lnTo>
                    <a:pt x="482" y="441"/>
                  </a:lnTo>
                  <a:lnTo>
                    <a:pt x="482" y="440"/>
                  </a:lnTo>
                  <a:lnTo>
                    <a:pt x="481" y="439"/>
                  </a:lnTo>
                  <a:lnTo>
                    <a:pt x="478" y="438"/>
                  </a:lnTo>
                  <a:lnTo>
                    <a:pt x="477" y="436"/>
                  </a:lnTo>
                  <a:lnTo>
                    <a:pt x="476" y="435"/>
                  </a:lnTo>
                  <a:lnTo>
                    <a:pt x="474" y="435"/>
                  </a:lnTo>
                  <a:lnTo>
                    <a:pt x="475" y="433"/>
                  </a:lnTo>
                  <a:lnTo>
                    <a:pt x="478" y="432"/>
                  </a:lnTo>
                  <a:lnTo>
                    <a:pt x="481" y="430"/>
                  </a:lnTo>
                  <a:lnTo>
                    <a:pt x="482" y="429"/>
                  </a:lnTo>
                  <a:lnTo>
                    <a:pt x="482" y="428"/>
                  </a:lnTo>
                  <a:lnTo>
                    <a:pt x="478" y="429"/>
                  </a:lnTo>
                  <a:lnTo>
                    <a:pt x="477" y="430"/>
                  </a:lnTo>
                  <a:lnTo>
                    <a:pt x="476" y="430"/>
                  </a:lnTo>
                  <a:lnTo>
                    <a:pt x="475" y="429"/>
                  </a:lnTo>
                  <a:lnTo>
                    <a:pt x="472" y="429"/>
                  </a:lnTo>
                  <a:lnTo>
                    <a:pt x="472" y="430"/>
                  </a:lnTo>
                  <a:lnTo>
                    <a:pt x="470" y="432"/>
                  </a:lnTo>
                  <a:lnTo>
                    <a:pt x="468" y="429"/>
                  </a:lnTo>
                  <a:lnTo>
                    <a:pt x="465" y="426"/>
                  </a:lnTo>
                  <a:lnTo>
                    <a:pt x="465" y="424"/>
                  </a:lnTo>
                  <a:lnTo>
                    <a:pt x="468" y="423"/>
                  </a:lnTo>
                  <a:lnTo>
                    <a:pt x="470" y="422"/>
                  </a:lnTo>
                  <a:lnTo>
                    <a:pt x="471" y="421"/>
                  </a:lnTo>
                  <a:lnTo>
                    <a:pt x="474" y="421"/>
                  </a:lnTo>
                  <a:lnTo>
                    <a:pt x="475" y="419"/>
                  </a:lnTo>
                  <a:lnTo>
                    <a:pt x="476" y="419"/>
                  </a:lnTo>
                  <a:lnTo>
                    <a:pt x="477" y="422"/>
                  </a:lnTo>
                  <a:lnTo>
                    <a:pt x="478" y="423"/>
                  </a:lnTo>
                  <a:lnTo>
                    <a:pt x="483" y="423"/>
                  </a:lnTo>
                  <a:lnTo>
                    <a:pt x="484" y="421"/>
                  </a:lnTo>
                  <a:lnTo>
                    <a:pt x="487" y="422"/>
                  </a:lnTo>
                  <a:lnTo>
                    <a:pt x="489" y="423"/>
                  </a:lnTo>
                  <a:lnTo>
                    <a:pt x="492" y="422"/>
                  </a:lnTo>
                  <a:lnTo>
                    <a:pt x="495" y="422"/>
                  </a:lnTo>
                  <a:lnTo>
                    <a:pt x="493" y="424"/>
                  </a:lnTo>
                  <a:lnTo>
                    <a:pt x="493" y="427"/>
                  </a:lnTo>
                  <a:lnTo>
                    <a:pt x="490" y="428"/>
                  </a:lnTo>
                  <a:lnTo>
                    <a:pt x="492" y="430"/>
                  </a:lnTo>
                  <a:lnTo>
                    <a:pt x="492" y="432"/>
                  </a:lnTo>
                  <a:lnTo>
                    <a:pt x="490" y="432"/>
                  </a:lnTo>
                  <a:lnTo>
                    <a:pt x="488" y="429"/>
                  </a:lnTo>
                  <a:lnTo>
                    <a:pt x="484" y="430"/>
                  </a:lnTo>
                  <a:lnTo>
                    <a:pt x="484" y="433"/>
                  </a:lnTo>
                  <a:lnTo>
                    <a:pt x="483" y="434"/>
                  </a:lnTo>
                  <a:lnTo>
                    <a:pt x="487" y="434"/>
                  </a:lnTo>
                  <a:lnTo>
                    <a:pt x="492" y="433"/>
                  </a:lnTo>
                  <a:lnTo>
                    <a:pt x="494" y="432"/>
                  </a:lnTo>
                  <a:lnTo>
                    <a:pt x="489" y="434"/>
                  </a:lnTo>
                  <a:lnTo>
                    <a:pt x="489" y="435"/>
                  </a:lnTo>
                  <a:lnTo>
                    <a:pt x="489" y="436"/>
                  </a:lnTo>
                  <a:lnTo>
                    <a:pt x="494" y="435"/>
                  </a:lnTo>
                  <a:lnTo>
                    <a:pt x="498" y="435"/>
                  </a:lnTo>
                  <a:lnTo>
                    <a:pt x="494" y="438"/>
                  </a:lnTo>
                  <a:lnTo>
                    <a:pt x="492" y="440"/>
                  </a:lnTo>
                  <a:lnTo>
                    <a:pt x="492" y="442"/>
                  </a:lnTo>
                  <a:lnTo>
                    <a:pt x="495" y="442"/>
                  </a:lnTo>
                  <a:lnTo>
                    <a:pt x="497" y="440"/>
                  </a:lnTo>
                  <a:lnTo>
                    <a:pt x="499" y="440"/>
                  </a:lnTo>
                  <a:lnTo>
                    <a:pt x="500" y="442"/>
                  </a:lnTo>
                  <a:lnTo>
                    <a:pt x="503" y="444"/>
                  </a:lnTo>
                  <a:lnTo>
                    <a:pt x="504" y="446"/>
                  </a:lnTo>
                  <a:lnTo>
                    <a:pt x="506" y="446"/>
                  </a:lnTo>
                  <a:lnTo>
                    <a:pt x="509" y="444"/>
                  </a:lnTo>
                  <a:lnTo>
                    <a:pt x="512" y="446"/>
                  </a:lnTo>
                  <a:lnTo>
                    <a:pt x="515" y="446"/>
                  </a:lnTo>
                  <a:lnTo>
                    <a:pt x="518" y="446"/>
                  </a:lnTo>
                  <a:lnTo>
                    <a:pt x="521" y="444"/>
                  </a:lnTo>
                  <a:lnTo>
                    <a:pt x="522" y="442"/>
                  </a:lnTo>
                  <a:lnTo>
                    <a:pt x="521" y="441"/>
                  </a:lnTo>
                  <a:lnTo>
                    <a:pt x="522" y="442"/>
                  </a:lnTo>
                  <a:lnTo>
                    <a:pt x="525" y="446"/>
                  </a:lnTo>
                  <a:lnTo>
                    <a:pt x="527" y="450"/>
                  </a:lnTo>
                  <a:lnTo>
                    <a:pt x="529" y="452"/>
                  </a:lnTo>
                  <a:lnTo>
                    <a:pt x="533" y="456"/>
                  </a:lnTo>
                  <a:lnTo>
                    <a:pt x="534" y="454"/>
                  </a:lnTo>
                  <a:lnTo>
                    <a:pt x="534" y="450"/>
                  </a:lnTo>
                  <a:lnTo>
                    <a:pt x="531" y="447"/>
                  </a:lnTo>
                  <a:lnTo>
                    <a:pt x="533" y="446"/>
                  </a:lnTo>
                  <a:lnTo>
                    <a:pt x="534" y="445"/>
                  </a:lnTo>
                  <a:lnTo>
                    <a:pt x="536" y="446"/>
                  </a:lnTo>
                  <a:lnTo>
                    <a:pt x="541" y="448"/>
                  </a:lnTo>
                  <a:lnTo>
                    <a:pt x="542" y="448"/>
                  </a:lnTo>
                  <a:lnTo>
                    <a:pt x="545" y="454"/>
                  </a:lnTo>
                  <a:lnTo>
                    <a:pt x="547" y="458"/>
                  </a:lnTo>
                  <a:lnTo>
                    <a:pt x="546" y="464"/>
                  </a:lnTo>
                  <a:lnTo>
                    <a:pt x="549" y="465"/>
                  </a:lnTo>
                  <a:lnTo>
                    <a:pt x="553" y="466"/>
                  </a:lnTo>
                  <a:lnTo>
                    <a:pt x="553" y="468"/>
                  </a:lnTo>
                  <a:lnTo>
                    <a:pt x="557" y="469"/>
                  </a:lnTo>
                  <a:lnTo>
                    <a:pt x="562" y="470"/>
                  </a:lnTo>
                  <a:lnTo>
                    <a:pt x="563" y="470"/>
                  </a:lnTo>
                  <a:lnTo>
                    <a:pt x="565" y="468"/>
                  </a:lnTo>
                  <a:lnTo>
                    <a:pt x="565" y="465"/>
                  </a:lnTo>
                  <a:lnTo>
                    <a:pt x="564" y="465"/>
                  </a:lnTo>
                  <a:lnTo>
                    <a:pt x="562" y="465"/>
                  </a:lnTo>
                  <a:lnTo>
                    <a:pt x="562" y="462"/>
                  </a:lnTo>
                  <a:lnTo>
                    <a:pt x="560" y="460"/>
                  </a:lnTo>
                  <a:lnTo>
                    <a:pt x="557" y="459"/>
                  </a:lnTo>
                  <a:lnTo>
                    <a:pt x="556" y="458"/>
                  </a:lnTo>
                  <a:lnTo>
                    <a:pt x="553" y="456"/>
                  </a:lnTo>
                  <a:lnTo>
                    <a:pt x="556" y="453"/>
                  </a:lnTo>
                  <a:lnTo>
                    <a:pt x="559" y="452"/>
                  </a:lnTo>
                  <a:lnTo>
                    <a:pt x="560" y="450"/>
                  </a:lnTo>
                  <a:lnTo>
                    <a:pt x="558" y="447"/>
                  </a:lnTo>
                  <a:lnTo>
                    <a:pt x="554" y="447"/>
                  </a:lnTo>
                  <a:lnTo>
                    <a:pt x="552" y="446"/>
                  </a:lnTo>
                  <a:lnTo>
                    <a:pt x="551" y="442"/>
                  </a:lnTo>
                  <a:lnTo>
                    <a:pt x="549" y="439"/>
                  </a:lnTo>
                  <a:lnTo>
                    <a:pt x="545" y="436"/>
                  </a:lnTo>
                  <a:lnTo>
                    <a:pt x="545" y="434"/>
                  </a:lnTo>
                  <a:lnTo>
                    <a:pt x="547" y="436"/>
                  </a:lnTo>
                  <a:lnTo>
                    <a:pt x="552" y="441"/>
                  </a:lnTo>
                  <a:lnTo>
                    <a:pt x="556" y="444"/>
                  </a:lnTo>
                  <a:lnTo>
                    <a:pt x="560" y="446"/>
                  </a:lnTo>
                  <a:lnTo>
                    <a:pt x="562" y="446"/>
                  </a:lnTo>
                  <a:lnTo>
                    <a:pt x="564" y="441"/>
                  </a:lnTo>
                  <a:lnTo>
                    <a:pt x="564" y="445"/>
                  </a:lnTo>
                  <a:lnTo>
                    <a:pt x="566" y="448"/>
                  </a:lnTo>
                  <a:lnTo>
                    <a:pt x="569" y="448"/>
                  </a:lnTo>
                  <a:lnTo>
                    <a:pt x="571" y="447"/>
                  </a:lnTo>
                  <a:lnTo>
                    <a:pt x="571" y="445"/>
                  </a:lnTo>
                  <a:lnTo>
                    <a:pt x="572" y="445"/>
                  </a:lnTo>
                  <a:lnTo>
                    <a:pt x="576" y="447"/>
                  </a:lnTo>
                  <a:lnTo>
                    <a:pt x="582" y="447"/>
                  </a:lnTo>
                  <a:lnTo>
                    <a:pt x="586" y="447"/>
                  </a:lnTo>
                  <a:lnTo>
                    <a:pt x="587" y="445"/>
                  </a:lnTo>
                  <a:lnTo>
                    <a:pt x="589" y="445"/>
                  </a:lnTo>
                  <a:lnTo>
                    <a:pt x="589" y="442"/>
                  </a:lnTo>
                  <a:lnTo>
                    <a:pt x="592" y="440"/>
                  </a:lnTo>
                  <a:lnTo>
                    <a:pt x="598" y="441"/>
                  </a:lnTo>
                  <a:lnTo>
                    <a:pt x="598" y="438"/>
                  </a:lnTo>
                  <a:lnTo>
                    <a:pt x="599" y="436"/>
                  </a:lnTo>
                  <a:lnTo>
                    <a:pt x="600" y="436"/>
                  </a:lnTo>
                  <a:lnTo>
                    <a:pt x="602" y="438"/>
                  </a:lnTo>
                  <a:lnTo>
                    <a:pt x="604" y="435"/>
                  </a:lnTo>
                  <a:lnTo>
                    <a:pt x="610" y="435"/>
                  </a:lnTo>
                  <a:lnTo>
                    <a:pt x="612" y="434"/>
                  </a:lnTo>
                  <a:lnTo>
                    <a:pt x="613" y="434"/>
                  </a:lnTo>
                  <a:lnTo>
                    <a:pt x="615" y="432"/>
                  </a:lnTo>
                  <a:lnTo>
                    <a:pt x="615" y="429"/>
                  </a:lnTo>
                  <a:lnTo>
                    <a:pt x="617" y="429"/>
                  </a:lnTo>
                  <a:lnTo>
                    <a:pt x="621" y="432"/>
                  </a:lnTo>
                  <a:lnTo>
                    <a:pt x="623" y="432"/>
                  </a:lnTo>
                  <a:lnTo>
                    <a:pt x="622" y="428"/>
                  </a:lnTo>
                  <a:lnTo>
                    <a:pt x="622" y="426"/>
                  </a:lnTo>
                  <a:lnTo>
                    <a:pt x="622" y="423"/>
                  </a:lnTo>
                  <a:lnTo>
                    <a:pt x="623" y="421"/>
                  </a:lnTo>
                  <a:lnTo>
                    <a:pt x="629" y="423"/>
                  </a:lnTo>
                  <a:lnTo>
                    <a:pt x="633" y="419"/>
                  </a:lnTo>
                  <a:lnTo>
                    <a:pt x="634" y="419"/>
                  </a:lnTo>
                  <a:lnTo>
                    <a:pt x="637" y="419"/>
                  </a:lnTo>
                  <a:lnTo>
                    <a:pt x="640" y="418"/>
                  </a:lnTo>
                  <a:lnTo>
                    <a:pt x="643" y="417"/>
                  </a:lnTo>
                  <a:lnTo>
                    <a:pt x="643" y="415"/>
                  </a:lnTo>
                  <a:lnTo>
                    <a:pt x="642" y="412"/>
                  </a:lnTo>
                  <a:lnTo>
                    <a:pt x="642" y="410"/>
                  </a:lnTo>
                  <a:lnTo>
                    <a:pt x="643" y="407"/>
                  </a:lnTo>
                  <a:lnTo>
                    <a:pt x="642" y="405"/>
                  </a:lnTo>
                  <a:lnTo>
                    <a:pt x="637" y="405"/>
                  </a:lnTo>
                  <a:lnTo>
                    <a:pt x="636" y="406"/>
                  </a:lnTo>
                  <a:lnTo>
                    <a:pt x="630" y="406"/>
                  </a:lnTo>
                  <a:lnTo>
                    <a:pt x="631" y="406"/>
                  </a:lnTo>
                  <a:lnTo>
                    <a:pt x="629" y="406"/>
                  </a:lnTo>
                  <a:lnTo>
                    <a:pt x="623" y="409"/>
                  </a:lnTo>
                  <a:lnTo>
                    <a:pt x="623" y="407"/>
                  </a:lnTo>
                  <a:lnTo>
                    <a:pt x="621" y="410"/>
                  </a:lnTo>
                  <a:lnTo>
                    <a:pt x="618" y="410"/>
                  </a:lnTo>
                  <a:lnTo>
                    <a:pt x="619" y="407"/>
                  </a:lnTo>
                  <a:lnTo>
                    <a:pt x="622" y="404"/>
                  </a:lnTo>
                  <a:lnTo>
                    <a:pt x="623" y="400"/>
                  </a:lnTo>
                  <a:lnTo>
                    <a:pt x="622" y="399"/>
                  </a:lnTo>
                  <a:lnTo>
                    <a:pt x="621" y="398"/>
                  </a:lnTo>
                  <a:lnTo>
                    <a:pt x="619" y="399"/>
                  </a:lnTo>
                  <a:lnTo>
                    <a:pt x="617" y="401"/>
                  </a:lnTo>
                  <a:lnTo>
                    <a:pt x="613" y="399"/>
                  </a:lnTo>
                  <a:lnTo>
                    <a:pt x="615" y="397"/>
                  </a:lnTo>
                  <a:lnTo>
                    <a:pt x="619" y="395"/>
                  </a:lnTo>
                  <a:lnTo>
                    <a:pt x="621" y="394"/>
                  </a:lnTo>
                  <a:lnTo>
                    <a:pt x="624" y="393"/>
                  </a:lnTo>
                  <a:lnTo>
                    <a:pt x="625" y="391"/>
                  </a:lnTo>
                  <a:lnTo>
                    <a:pt x="625" y="388"/>
                  </a:lnTo>
                  <a:lnTo>
                    <a:pt x="628" y="386"/>
                  </a:lnTo>
                  <a:lnTo>
                    <a:pt x="629" y="386"/>
                  </a:lnTo>
                  <a:lnTo>
                    <a:pt x="630" y="389"/>
                  </a:lnTo>
                  <a:lnTo>
                    <a:pt x="634" y="389"/>
                  </a:lnTo>
                  <a:lnTo>
                    <a:pt x="637" y="389"/>
                  </a:lnTo>
                  <a:lnTo>
                    <a:pt x="639" y="387"/>
                  </a:lnTo>
                  <a:lnTo>
                    <a:pt x="640" y="383"/>
                  </a:lnTo>
                  <a:lnTo>
                    <a:pt x="637" y="383"/>
                  </a:lnTo>
                  <a:lnTo>
                    <a:pt x="634" y="383"/>
                  </a:lnTo>
                  <a:lnTo>
                    <a:pt x="633" y="383"/>
                  </a:lnTo>
                  <a:lnTo>
                    <a:pt x="630" y="382"/>
                  </a:lnTo>
                  <a:lnTo>
                    <a:pt x="631" y="380"/>
                  </a:lnTo>
                  <a:lnTo>
                    <a:pt x="634" y="379"/>
                  </a:lnTo>
                  <a:lnTo>
                    <a:pt x="634" y="376"/>
                  </a:lnTo>
                  <a:lnTo>
                    <a:pt x="634" y="373"/>
                  </a:lnTo>
                  <a:lnTo>
                    <a:pt x="636" y="376"/>
                  </a:lnTo>
                  <a:lnTo>
                    <a:pt x="637" y="377"/>
                  </a:lnTo>
                  <a:lnTo>
                    <a:pt x="640" y="379"/>
                  </a:lnTo>
                  <a:lnTo>
                    <a:pt x="643" y="381"/>
                  </a:lnTo>
                  <a:lnTo>
                    <a:pt x="648" y="381"/>
                  </a:lnTo>
                  <a:lnTo>
                    <a:pt x="653" y="381"/>
                  </a:lnTo>
                  <a:lnTo>
                    <a:pt x="654" y="379"/>
                  </a:lnTo>
                  <a:lnTo>
                    <a:pt x="655" y="375"/>
                  </a:lnTo>
                  <a:lnTo>
                    <a:pt x="654" y="373"/>
                  </a:lnTo>
                  <a:lnTo>
                    <a:pt x="649" y="375"/>
                  </a:lnTo>
                  <a:lnTo>
                    <a:pt x="646" y="374"/>
                  </a:lnTo>
                  <a:lnTo>
                    <a:pt x="645" y="374"/>
                  </a:lnTo>
                  <a:lnTo>
                    <a:pt x="643" y="373"/>
                  </a:lnTo>
                  <a:lnTo>
                    <a:pt x="642" y="370"/>
                  </a:lnTo>
                  <a:lnTo>
                    <a:pt x="641" y="370"/>
                  </a:lnTo>
                  <a:lnTo>
                    <a:pt x="640" y="374"/>
                  </a:lnTo>
                  <a:lnTo>
                    <a:pt x="639" y="371"/>
                  </a:lnTo>
                  <a:lnTo>
                    <a:pt x="637" y="370"/>
                  </a:lnTo>
                  <a:lnTo>
                    <a:pt x="636" y="368"/>
                  </a:lnTo>
                  <a:lnTo>
                    <a:pt x="635" y="364"/>
                  </a:lnTo>
                  <a:lnTo>
                    <a:pt x="637" y="362"/>
                  </a:lnTo>
                  <a:lnTo>
                    <a:pt x="640" y="361"/>
                  </a:lnTo>
                  <a:lnTo>
                    <a:pt x="642" y="364"/>
                  </a:lnTo>
                  <a:lnTo>
                    <a:pt x="643" y="367"/>
                  </a:lnTo>
                  <a:lnTo>
                    <a:pt x="646" y="370"/>
                  </a:lnTo>
                  <a:lnTo>
                    <a:pt x="649" y="371"/>
                  </a:lnTo>
                  <a:lnTo>
                    <a:pt x="652" y="369"/>
                  </a:lnTo>
                  <a:lnTo>
                    <a:pt x="651" y="368"/>
                  </a:lnTo>
                  <a:lnTo>
                    <a:pt x="651" y="367"/>
                  </a:lnTo>
                  <a:lnTo>
                    <a:pt x="653" y="368"/>
                  </a:lnTo>
                  <a:lnTo>
                    <a:pt x="655" y="369"/>
                  </a:lnTo>
                  <a:lnTo>
                    <a:pt x="660" y="369"/>
                  </a:lnTo>
                  <a:lnTo>
                    <a:pt x="660" y="367"/>
                  </a:lnTo>
                  <a:lnTo>
                    <a:pt x="658" y="365"/>
                  </a:lnTo>
                  <a:lnTo>
                    <a:pt x="655" y="364"/>
                  </a:lnTo>
                  <a:lnTo>
                    <a:pt x="653" y="364"/>
                  </a:lnTo>
                  <a:lnTo>
                    <a:pt x="648" y="363"/>
                  </a:lnTo>
                  <a:lnTo>
                    <a:pt x="648" y="362"/>
                  </a:lnTo>
                  <a:lnTo>
                    <a:pt x="651" y="359"/>
                  </a:lnTo>
                  <a:lnTo>
                    <a:pt x="654" y="359"/>
                  </a:lnTo>
                  <a:lnTo>
                    <a:pt x="658" y="362"/>
                  </a:lnTo>
                  <a:lnTo>
                    <a:pt x="659" y="364"/>
                  </a:lnTo>
                  <a:lnTo>
                    <a:pt x="661" y="369"/>
                  </a:lnTo>
                  <a:lnTo>
                    <a:pt x="664" y="369"/>
                  </a:lnTo>
                  <a:lnTo>
                    <a:pt x="667" y="367"/>
                  </a:lnTo>
                  <a:lnTo>
                    <a:pt x="670" y="367"/>
                  </a:lnTo>
                  <a:lnTo>
                    <a:pt x="671" y="367"/>
                  </a:lnTo>
                  <a:lnTo>
                    <a:pt x="672" y="363"/>
                  </a:lnTo>
                  <a:lnTo>
                    <a:pt x="671" y="363"/>
                  </a:lnTo>
                  <a:lnTo>
                    <a:pt x="670" y="362"/>
                  </a:lnTo>
                  <a:lnTo>
                    <a:pt x="666" y="362"/>
                  </a:lnTo>
                  <a:lnTo>
                    <a:pt x="664" y="362"/>
                  </a:lnTo>
                  <a:lnTo>
                    <a:pt x="661" y="364"/>
                  </a:lnTo>
                  <a:lnTo>
                    <a:pt x="660" y="364"/>
                  </a:lnTo>
                  <a:lnTo>
                    <a:pt x="660" y="362"/>
                  </a:lnTo>
                  <a:lnTo>
                    <a:pt x="661" y="361"/>
                  </a:lnTo>
                  <a:lnTo>
                    <a:pt x="664" y="358"/>
                  </a:lnTo>
                  <a:lnTo>
                    <a:pt x="667" y="357"/>
                  </a:lnTo>
                  <a:lnTo>
                    <a:pt x="667" y="356"/>
                  </a:lnTo>
                  <a:lnTo>
                    <a:pt x="669" y="353"/>
                  </a:lnTo>
                  <a:lnTo>
                    <a:pt x="671" y="352"/>
                  </a:lnTo>
                  <a:lnTo>
                    <a:pt x="675" y="353"/>
                  </a:lnTo>
                  <a:lnTo>
                    <a:pt x="677" y="352"/>
                  </a:lnTo>
                  <a:lnTo>
                    <a:pt x="678" y="350"/>
                  </a:lnTo>
                  <a:lnTo>
                    <a:pt x="678" y="345"/>
                  </a:lnTo>
                  <a:lnTo>
                    <a:pt x="678" y="343"/>
                  </a:lnTo>
                  <a:lnTo>
                    <a:pt x="681" y="343"/>
                  </a:lnTo>
                  <a:lnTo>
                    <a:pt x="684" y="340"/>
                  </a:lnTo>
                  <a:lnTo>
                    <a:pt x="686" y="337"/>
                  </a:lnTo>
                  <a:lnTo>
                    <a:pt x="688" y="334"/>
                  </a:lnTo>
                  <a:lnTo>
                    <a:pt x="687" y="332"/>
                  </a:lnTo>
                  <a:lnTo>
                    <a:pt x="684" y="329"/>
                  </a:lnTo>
                  <a:lnTo>
                    <a:pt x="682" y="331"/>
                  </a:lnTo>
                  <a:lnTo>
                    <a:pt x="680" y="334"/>
                  </a:lnTo>
                  <a:lnTo>
                    <a:pt x="678" y="335"/>
                  </a:lnTo>
                  <a:lnTo>
                    <a:pt x="676" y="338"/>
                  </a:lnTo>
                  <a:lnTo>
                    <a:pt x="676" y="337"/>
                  </a:lnTo>
                  <a:lnTo>
                    <a:pt x="676" y="334"/>
                  </a:lnTo>
                  <a:lnTo>
                    <a:pt x="677" y="333"/>
                  </a:lnTo>
                  <a:lnTo>
                    <a:pt x="676" y="331"/>
                  </a:lnTo>
                  <a:lnTo>
                    <a:pt x="672" y="331"/>
                  </a:lnTo>
                  <a:lnTo>
                    <a:pt x="670" y="329"/>
                  </a:lnTo>
                  <a:lnTo>
                    <a:pt x="670" y="328"/>
                  </a:lnTo>
                  <a:lnTo>
                    <a:pt x="667" y="327"/>
                  </a:lnTo>
                  <a:lnTo>
                    <a:pt x="667" y="325"/>
                  </a:lnTo>
                  <a:lnTo>
                    <a:pt x="665" y="323"/>
                  </a:lnTo>
                  <a:lnTo>
                    <a:pt x="661" y="325"/>
                  </a:lnTo>
                  <a:lnTo>
                    <a:pt x="659" y="327"/>
                  </a:lnTo>
                  <a:lnTo>
                    <a:pt x="655" y="328"/>
                  </a:lnTo>
                  <a:lnTo>
                    <a:pt x="652" y="328"/>
                  </a:lnTo>
                  <a:lnTo>
                    <a:pt x="651" y="326"/>
                  </a:lnTo>
                  <a:lnTo>
                    <a:pt x="649" y="328"/>
                  </a:lnTo>
                  <a:lnTo>
                    <a:pt x="646" y="328"/>
                  </a:lnTo>
                  <a:lnTo>
                    <a:pt x="643" y="327"/>
                  </a:lnTo>
                  <a:lnTo>
                    <a:pt x="641" y="326"/>
                  </a:lnTo>
                  <a:lnTo>
                    <a:pt x="640" y="323"/>
                  </a:lnTo>
                  <a:lnTo>
                    <a:pt x="637" y="323"/>
                  </a:lnTo>
                  <a:lnTo>
                    <a:pt x="637" y="328"/>
                  </a:lnTo>
                  <a:lnTo>
                    <a:pt x="635" y="327"/>
                  </a:lnTo>
                  <a:lnTo>
                    <a:pt x="633" y="327"/>
                  </a:lnTo>
                  <a:lnTo>
                    <a:pt x="631" y="328"/>
                  </a:lnTo>
                  <a:lnTo>
                    <a:pt x="628" y="328"/>
                  </a:lnTo>
                  <a:lnTo>
                    <a:pt x="624" y="326"/>
                  </a:lnTo>
                  <a:lnTo>
                    <a:pt x="622" y="326"/>
                  </a:lnTo>
                  <a:lnTo>
                    <a:pt x="622" y="323"/>
                  </a:lnTo>
                  <a:lnTo>
                    <a:pt x="623" y="321"/>
                  </a:lnTo>
                  <a:lnTo>
                    <a:pt x="621" y="320"/>
                  </a:lnTo>
                  <a:lnTo>
                    <a:pt x="618" y="321"/>
                  </a:lnTo>
                  <a:lnTo>
                    <a:pt x="615" y="321"/>
                  </a:lnTo>
                  <a:lnTo>
                    <a:pt x="611" y="319"/>
                  </a:lnTo>
                  <a:lnTo>
                    <a:pt x="608" y="321"/>
                  </a:lnTo>
                  <a:lnTo>
                    <a:pt x="607" y="321"/>
                  </a:lnTo>
                  <a:lnTo>
                    <a:pt x="605" y="319"/>
                  </a:lnTo>
                  <a:lnTo>
                    <a:pt x="604" y="314"/>
                  </a:lnTo>
                  <a:lnTo>
                    <a:pt x="601" y="315"/>
                  </a:lnTo>
                  <a:lnTo>
                    <a:pt x="601" y="317"/>
                  </a:lnTo>
                  <a:lnTo>
                    <a:pt x="599" y="319"/>
                  </a:lnTo>
                  <a:lnTo>
                    <a:pt x="596" y="317"/>
                  </a:lnTo>
                  <a:lnTo>
                    <a:pt x="594" y="320"/>
                  </a:lnTo>
                  <a:lnTo>
                    <a:pt x="593" y="319"/>
                  </a:lnTo>
                  <a:lnTo>
                    <a:pt x="593" y="315"/>
                  </a:lnTo>
                  <a:lnTo>
                    <a:pt x="594" y="314"/>
                  </a:lnTo>
                  <a:lnTo>
                    <a:pt x="594" y="311"/>
                  </a:lnTo>
                  <a:lnTo>
                    <a:pt x="593" y="311"/>
                  </a:lnTo>
                  <a:lnTo>
                    <a:pt x="588" y="312"/>
                  </a:lnTo>
                  <a:lnTo>
                    <a:pt x="587" y="312"/>
                  </a:lnTo>
                  <a:lnTo>
                    <a:pt x="588" y="309"/>
                  </a:lnTo>
                  <a:lnTo>
                    <a:pt x="592" y="306"/>
                  </a:lnTo>
                  <a:lnTo>
                    <a:pt x="593" y="308"/>
                  </a:lnTo>
                  <a:lnTo>
                    <a:pt x="595" y="309"/>
                  </a:lnTo>
                  <a:lnTo>
                    <a:pt x="596" y="310"/>
                  </a:lnTo>
                  <a:lnTo>
                    <a:pt x="600" y="309"/>
                  </a:lnTo>
                  <a:lnTo>
                    <a:pt x="600" y="306"/>
                  </a:lnTo>
                  <a:lnTo>
                    <a:pt x="600" y="305"/>
                  </a:lnTo>
                  <a:lnTo>
                    <a:pt x="598" y="304"/>
                  </a:lnTo>
                  <a:lnTo>
                    <a:pt x="596" y="303"/>
                  </a:lnTo>
                  <a:lnTo>
                    <a:pt x="598" y="302"/>
                  </a:lnTo>
                  <a:lnTo>
                    <a:pt x="600" y="302"/>
                  </a:lnTo>
                  <a:lnTo>
                    <a:pt x="602" y="300"/>
                  </a:lnTo>
                  <a:lnTo>
                    <a:pt x="605" y="300"/>
                  </a:lnTo>
                  <a:lnTo>
                    <a:pt x="606" y="303"/>
                  </a:lnTo>
                  <a:lnTo>
                    <a:pt x="608" y="304"/>
                  </a:lnTo>
                  <a:lnTo>
                    <a:pt x="610" y="304"/>
                  </a:lnTo>
                  <a:lnTo>
                    <a:pt x="615" y="303"/>
                  </a:lnTo>
                  <a:lnTo>
                    <a:pt x="615" y="300"/>
                  </a:lnTo>
                  <a:lnTo>
                    <a:pt x="616" y="298"/>
                  </a:lnTo>
                  <a:lnTo>
                    <a:pt x="617" y="298"/>
                  </a:lnTo>
                  <a:lnTo>
                    <a:pt x="619" y="297"/>
                  </a:lnTo>
                  <a:lnTo>
                    <a:pt x="622" y="298"/>
                  </a:lnTo>
                  <a:lnTo>
                    <a:pt x="624" y="296"/>
                  </a:lnTo>
                  <a:lnTo>
                    <a:pt x="627" y="293"/>
                  </a:lnTo>
                  <a:lnTo>
                    <a:pt x="627" y="292"/>
                  </a:lnTo>
                  <a:lnTo>
                    <a:pt x="625" y="290"/>
                  </a:lnTo>
                  <a:lnTo>
                    <a:pt x="624" y="288"/>
                  </a:lnTo>
                  <a:lnTo>
                    <a:pt x="622" y="287"/>
                  </a:lnTo>
                  <a:lnTo>
                    <a:pt x="621" y="290"/>
                  </a:lnTo>
                  <a:lnTo>
                    <a:pt x="618" y="291"/>
                  </a:lnTo>
                  <a:lnTo>
                    <a:pt x="616" y="292"/>
                  </a:lnTo>
                  <a:lnTo>
                    <a:pt x="613" y="291"/>
                  </a:lnTo>
                  <a:lnTo>
                    <a:pt x="611" y="288"/>
                  </a:lnTo>
                  <a:lnTo>
                    <a:pt x="610" y="288"/>
                  </a:lnTo>
                  <a:lnTo>
                    <a:pt x="607" y="291"/>
                  </a:lnTo>
                  <a:lnTo>
                    <a:pt x="605" y="290"/>
                  </a:lnTo>
                  <a:lnTo>
                    <a:pt x="604" y="287"/>
                  </a:lnTo>
                  <a:lnTo>
                    <a:pt x="601" y="287"/>
                  </a:lnTo>
                  <a:lnTo>
                    <a:pt x="599" y="290"/>
                  </a:lnTo>
                  <a:lnTo>
                    <a:pt x="598" y="290"/>
                  </a:lnTo>
                  <a:lnTo>
                    <a:pt x="596" y="287"/>
                  </a:lnTo>
                  <a:lnTo>
                    <a:pt x="600" y="286"/>
                  </a:lnTo>
                  <a:lnTo>
                    <a:pt x="600" y="284"/>
                  </a:lnTo>
                  <a:lnTo>
                    <a:pt x="598" y="281"/>
                  </a:lnTo>
                  <a:lnTo>
                    <a:pt x="595" y="280"/>
                  </a:lnTo>
                  <a:lnTo>
                    <a:pt x="595" y="279"/>
                  </a:lnTo>
                  <a:lnTo>
                    <a:pt x="596" y="278"/>
                  </a:lnTo>
                  <a:lnTo>
                    <a:pt x="600" y="275"/>
                  </a:lnTo>
                  <a:lnTo>
                    <a:pt x="605" y="274"/>
                  </a:lnTo>
                  <a:lnTo>
                    <a:pt x="605" y="272"/>
                  </a:lnTo>
                  <a:lnTo>
                    <a:pt x="605" y="267"/>
                  </a:lnTo>
                  <a:lnTo>
                    <a:pt x="602" y="267"/>
                  </a:lnTo>
                  <a:lnTo>
                    <a:pt x="600" y="266"/>
                  </a:lnTo>
                  <a:lnTo>
                    <a:pt x="601" y="263"/>
                  </a:lnTo>
                  <a:lnTo>
                    <a:pt x="602" y="261"/>
                  </a:lnTo>
                  <a:lnTo>
                    <a:pt x="605" y="261"/>
                  </a:lnTo>
                  <a:lnTo>
                    <a:pt x="610" y="260"/>
                  </a:lnTo>
                  <a:lnTo>
                    <a:pt x="612" y="258"/>
                  </a:lnTo>
                  <a:lnTo>
                    <a:pt x="615" y="256"/>
                  </a:lnTo>
                  <a:lnTo>
                    <a:pt x="617" y="256"/>
                  </a:lnTo>
                  <a:lnTo>
                    <a:pt x="618" y="255"/>
                  </a:lnTo>
                  <a:lnTo>
                    <a:pt x="617" y="252"/>
                  </a:lnTo>
                  <a:lnTo>
                    <a:pt x="616" y="250"/>
                  </a:lnTo>
                  <a:lnTo>
                    <a:pt x="616" y="248"/>
                  </a:lnTo>
                  <a:lnTo>
                    <a:pt x="615" y="246"/>
                  </a:lnTo>
                  <a:lnTo>
                    <a:pt x="612" y="245"/>
                  </a:lnTo>
                  <a:lnTo>
                    <a:pt x="611" y="246"/>
                  </a:lnTo>
                  <a:lnTo>
                    <a:pt x="610" y="248"/>
                  </a:lnTo>
                  <a:lnTo>
                    <a:pt x="608" y="249"/>
                  </a:lnTo>
                  <a:lnTo>
                    <a:pt x="607" y="250"/>
                  </a:lnTo>
                  <a:lnTo>
                    <a:pt x="605" y="250"/>
                  </a:lnTo>
                  <a:lnTo>
                    <a:pt x="601" y="249"/>
                  </a:lnTo>
                  <a:lnTo>
                    <a:pt x="601" y="246"/>
                  </a:lnTo>
                  <a:lnTo>
                    <a:pt x="602" y="245"/>
                  </a:lnTo>
                  <a:lnTo>
                    <a:pt x="601" y="243"/>
                  </a:lnTo>
                  <a:lnTo>
                    <a:pt x="600" y="244"/>
                  </a:lnTo>
                  <a:lnTo>
                    <a:pt x="598" y="245"/>
                  </a:lnTo>
                  <a:lnTo>
                    <a:pt x="596" y="246"/>
                  </a:lnTo>
                  <a:lnTo>
                    <a:pt x="593" y="245"/>
                  </a:lnTo>
                  <a:lnTo>
                    <a:pt x="590" y="244"/>
                  </a:lnTo>
                  <a:lnTo>
                    <a:pt x="590" y="242"/>
                  </a:lnTo>
                  <a:lnTo>
                    <a:pt x="588" y="240"/>
                  </a:lnTo>
                  <a:lnTo>
                    <a:pt x="587" y="240"/>
                  </a:lnTo>
                  <a:lnTo>
                    <a:pt x="586" y="239"/>
                  </a:lnTo>
                  <a:lnTo>
                    <a:pt x="584" y="240"/>
                  </a:lnTo>
                  <a:lnTo>
                    <a:pt x="583" y="243"/>
                  </a:lnTo>
                  <a:lnTo>
                    <a:pt x="582" y="243"/>
                  </a:lnTo>
                  <a:lnTo>
                    <a:pt x="582" y="239"/>
                  </a:lnTo>
                  <a:lnTo>
                    <a:pt x="582" y="238"/>
                  </a:lnTo>
                  <a:lnTo>
                    <a:pt x="580" y="240"/>
                  </a:lnTo>
                  <a:lnTo>
                    <a:pt x="577" y="242"/>
                  </a:lnTo>
                  <a:lnTo>
                    <a:pt x="576" y="239"/>
                  </a:lnTo>
                  <a:lnTo>
                    <a:pt x="577" y="237"/>
                  </a:lnTo>
                  <a:lnTo>
                    <a:pt x="576" y="236"/>
                  </a:lnTo>
                  <a:lnTo>
                    <a:pt x="574" y="236"/>
                  </a:lnTo>
                  <a:lnTo>
                    <a:pt x="572" y="237"/>
                  </a:lnTo>
                  <a:lnTo>
                    <a:pt x="570" y="236"/>
                  </a:lnTo>
                  <a:lnTo>
                    <a:pt x="568" y="234"/>
                  </a:lnTo>
                  <a:lnTo>
                    <a:pt x="571" y="234"/>
                  </a:lnTo>
                  <a:lnTo>
                    <a:pt x="572" y="233"/>
                  </a:lnTo>
                  <a:lnTo>
                    <a:pt x="571" y="231"/>
                  </a:lnTo>
                  <a:lnTo>
                    <a:pt x="571" y="230"/>
                  </a:lnTo>
                  <a:lnTo>
                    <a:pt x="571" y="226"/>
                  </a:lnTo>
                  <a:lnTo>
                    <a:pt x="574" y="225"/>
                  </a:lnTo>
                  <a:lnTo>
                    <a:pt x="572" y="230"/>
                  </a:lnTo>
                  <a:lnTo>
                    <a:pt x="574" y="231"/>
                  </a:lnTo>
                  <a:lnTo>
                    <a:pt x="575" y="231"/>
                  </a:lnTo>
                  <a:lnTo>
                    <a:pt x="576" y="234"/>
                  </a:lnTo>
                  <a:lnTo>
                    <a:pt x="577" y="234"/>
                  </a:lnTo>
                  <a:lnTo>
                    <a:pt x="580" y="232"/>
                  </a:lnTo>
                  <a:lnTo>
                    <a:pt x="581" y="231"/>
                  </a:lnTo>
                  <a:lnTo>
                    <a:pt x="580" y="228"/>
                  </a:lnTo>
                  <a:lnTo>
                    <a:pt x="577" y="225"/>
                  </a:lnTo>
                  <a:lnTo>
                    <a:pt x="580" y="225"/>
                  </a:lnTo>
                  <a:lnTo>
                    <a:pt x="582" y="231"/>
                  </a:lnTo>
                  <a:lnTo>
                    <a:pt x="583" y="230"/>
                  </a:lnTo>
                  <a:lnTo>
                    <a:pt x="584" y="232"/>
                  </a:lnTo>
                  <a:lnTo>
                    <a:pt x="584" y="234"/>
                  </a:lnTo>
                  <a:lnTo>
                    <a:pt x="586" y="236"/>
                  </a:lnTo>
                  <a:lnTo>
                    <a:pt x="589" y="237"/>
                  </a:lnTo>
                  <a:lnTo>
                    <a:pt x="590" y="237"/>
                  </a:lnTo>
                  <a:lnTo>
                    <a:pt x="593" y="236"/>
                  </a:lnTo>
                  <a:lnTo>
                    <a:pt x="593" y="234"/>
                  </a:lnTo>
                  <a:lnTo>
                    <a:pt x="593" y="233"/>
                  </a:lnTo>
                  <a:lnTo>
                    <a:pt x="590" y="232"/>
                  </a:lnTo>
                  <a:lnTo>
                    <a:pt x="590" y="231"/>
                  </a:lnTo>
                  <a:lnTo>
                    <a:pt x="590" y="227"/>
                  </a:lnTo>
                  <a:lnTo>
                    <a:pt x="587" y="227"/>
                  </a:lnTo>
                  <a:lnTo>
                    <a:pt x="587" y="226"/>
                  </a:lnTo>
                  <a:lnTo>
                    <a:pt x="586" y="225"/>
                  </a:lnTo>
                  <a:lnTo>
                    <a:pt x="584" y="224"/>
                  </a:lnTo>
                  <a:lnTo>
                    <a:pt x="583" y="224"/>
                  </a:lnTo>
                  <a:lnTo>
                    <a:pt x="581" y="221"/>
                  </a:lnTo>
                  <a:lnTo>
                    <a:pt x="582" y="219"/>
                  </a:lnTo>
                  <a:lnTo>
                    <a:pt x="583" y="216"/>
                  </a:lnTo>
                  <a:lnTo>
                    <a:pt x="584" y="218"/>
                  </a:lnTo>
                  <a:lnTo>
                    <a:pt x="584" y="221"/>
                  </a:lnTo>
                  <a:lnTo>
                    <a:pt x="584" y="222"/>
                  </a:lnTo>
                  <a:lnTo>
                    <a:pt x="587" y="224"/>
                  </a:lnTo>
                  <a:lnTo>
                    <a:pt x="593" y="221"/>
                  </a:lnTo>
                  <a:lnTo>
                    <a:pt x="590" y="221"/>
                  </a:lnTo>
                  <a:lnTo>
                    <a:pt x="589" y="220"/>
                  </a:lnTo>
                  <a:lnTo>
                    <a:pt x="593" y="219"/>
                  </a:lnTo>
                  <a:lnTo>
                    <a:pt x="594" y="221"/>
                  </a:lnTo>
                  <a:lnTo>
                    <a:pt x="593" y="224"/>
                  </a:lnTo>
                  <a:lnTo>
                    <a:pt x="596" y="225"/>
                  </a:lnTo>
                  <a:lnTo>
                    <a:pt x="598" y="224"/>
                  </a:lnTo>
                  <a:lnTo>
                    <a:pt x="599" y="224"/>
                  </a:lnTo>
                  <a:lnTo>
                    <a:pt x="600" y="221"/>
                  </a:lnTo>
                  <a:lnTo>
                    <a:pt x="601" y="222"/>
                  </a:lnTo>
                  <a:lnTo>
                    <a:pt x="605" y="222"/>
                  </a:lnTo>
                  <a:lnTo>
                    <a:pt x="607" y="222"/>
                  </a:lnTo>
                  <a:lnTo>
                    <a:pt x="610" y="221"/>
                  </a:lnTo>
                  <a:lnTo>
                    <a:pt x="612" y="221"/>
                  </a:lnTo>
                  <a:lnTo>
                    <a:pt x="613" y="225"/>
                  </a:lnTo>
                  <a:lnTo>
                    <a:pt x="618" y="227"/>
                  </a:lnTo>
                  <a:lnTo>
                    <a:pt x="619" y="228"/>
                  </a:lnTo>
                  <a:lnTo>
                    <a:pt x="622" y="226"/>
                  </a:lnTo>
                  <a:lnTo>
                    <a:pt x="627" y="222"/>
                  </a:lnTo>
                  <a:lnTo>
                    <a:pt x="628" y="220"/>
                  </a:lnTo>
                  <a:lnTo>
                    <a:pt x="629" y="218"/>
                  </a:lnTo>
                  <a:lnTo>
                    <a:pt x="625" y="216"/>
                  </a:lnTo>
                  <a:lnTo>
                    <a:pt x="628" y="214"/>
                  </a:lnTo>
                  <a:lnTo>
                    <a:pt x="630" y="213"/>
                  </a:lnTo>
                  <a:lnTo>
                    <a:pt x="631" y="210"/>
                  </a:lnTo>
                  <a:lnTo>
                    <a:pt x="634" y="209"/>
                  </a:lnTo>
                  <a:lnTo>
                    <a:pt x="635" y="208"/>
                  </a:lnTo>
                  <a:lnTo>
                    <a:pt x="640" y="207"/>
                  </a:lnTo>
                  <a:lnTo>
                    <a:pt x="642" y="205"/>
                  </a:lnTo>
                  <a:lnTo>
                    <a:pt x="643" y="203"/>
                  </a:lnTo>
                  <a:lnTo>
                    <a:pt x="647" y="201"/>
                  </a:lnTo>
                  <a:lnTo>
                    <a:pt x="649" y="196"/>
                  </a:lnTo>
                  <a:lnTo>
                    <a:pt x="651" y="195"/>
                  </a:lnTo>
                  <a:lnTo>
                    <a:pt x="651" y="193"/>
                  </a:lnTo>
                  <a:lnTo>
                    <a:pt x="649" y="192"/>
                  </a:lnTo>
                  <a:lnTo>
                    <a:pt x="643" y="192"/>
                  </a:lnTo>
                  <a:lnTo>
                    <a:pt x="641" y="193"/>
                  </a:lnTo>
                  <a:lnTo>
                    <a:pt x="637" y="192"/>
                  </a:lnTo>
                  <a:lnTo>
                    <a:pt x="634" y="195"/>
                  </a:lnTo>
                  <a:lnTo>
                    <a:pt x="629" y="193"/>
                  </a:lnTo>
                  <a:lnTo>
                    <a:pt x="634" y="192"/>
                  </a:lnTo>
                  <a:lnTo>
                    <a:pt x="635" y="190"/>
                  </a:lnTo>
                  <a:lnTo>
                    <a:pt x="634" y="189"/>
                  </a:lnTo>
                  <a:lnTo>
                    <a:pt x="631" y="187"/>
                  </a:lnTo>
                  <a:lnTo>
                    <a:pt x="634" y="184"/>
                  </a:lnTo>
                  <a:lnTo>
                    <a:pt x="637" y="183"/>
                  </a:lnTo>
                  <a:lnTo>
                    <a:pt x="637" y="178"/>
                  </a:lnTo>
                  <a:lnTo>
                    <a:pt x="635" y="177"/>
                  </a:lnTo>
                  <a:lnTo>
                    <a:pt x="634" y="177"/>
                  </a:lnTo>
                  <a:lnTo>
                    <a:pt x="631" y="180"/>
                  </a:lnTo>
                  <a:lnTo>
                    <a:pt x="629" y="181"/>
                  </a:lnTo>
                  <a:lnTo>
                    <a:pt x="628" y="179"/>
                  </a:lnTo>
                  <a:lnTo>
                    <a:pt x="625" y="181"/>
                  </a:lnTo>
                  <a:lnTo>
                    <a:pt x="623" y="183"/>
                  </a:lnTo>
                  <a:lnTo>
                    <a:pt x="624" y="180"/>
                  </a:lnTo>
                  <a:lnTo>
                    <a:pt x="625" y="177"/>
                  </a:lnTo>
                  <a:lnTo>
                    <a:pt x="628" y="178"/>
                  </a:lnTo>
                  <a:lnTo>
                    <a:pt x="629" y="177"/>
                  </a:lnTo>
                  <a:lnTo>
                    <a:pt x="630" y="175"/>
                  </a:lnTo>
                  <a:lnTo>
                    <a:pt x="631" y="177"/>
                  </a:lnTo>
                  <a:lnTo>
                    <a:pt x="634" y="175"/>
                  </a:lnTo>
                  <a:lnTo>
                    <a:pt x="634" y="172"/>
                  </a:lnTo>
                  <a:lnTo>
                    <a:pt x="631" y="171"/>
                  </a:lnTo>
                  <a:lnTo>
                    <a:pt x="629" y="169"/>
                  </a:lnTo>
                  <a:lnTo>
                    <a:pt x="627" y="171"/>
                  </a:lnTo>
                  <a:lnTo>
                    <a:pt x="624" y="172"/>
                  </a:lnTo>
                  <a:lnTo>
                    <a:pt x="623" y="172"/>
                  </a:lnTo>
                  <a:lnTo>
                    <a:pt x="624" y="171"/>
                  </a:lnTo>
                  <a:lnTo>
                    <a:pt x="631" y="167"/>
                  </a:lnTo>
                  <a:lnTo>
                    <a:pt x="633" y="167"/>
                  </a:lnTo>
                  <a:lnTo>
                    <a:pt x="635" y="165"/>
                  </a:lnTo>
                  <a:lnTo>
                    <a:pt x="636" y="162"/>
                  </a:lnTo>
                  <a:lnTo>
                    <a:pt x="637" y="160"/>
                  </a:lnTo>
                  <a:lnTo>
                    <a:pt x="639" y="157"/>
                  </a:lnTo>
                  <a:lnTo>
                    <a:pt x="636" y="155"/>
                  </a:lnTo>
                  <a:lnTo>
                    <a:pt x="634" y="155"/>
                  </a:lnTo>
                  <a:lnTo>
                    <a:pt x="634" y="157"/>
                  </a:lnTo>
                  <a:lnTo>
                    <a:pt x="631" y="157"/>
                  </a:lnTo>
                  <a:lnTo>
                    <a:pt x="630" y="157"/>
                  </a:lnTo>
                  <a:lnTo>
                    <a:pt x="628" y="159"/>
                  </a:lnTo>
                  <a:lnTo>
                    <a:pt x="625" y="161"/>
                  </a:lnTo>
                  <a:lnTo>
                    <a:pt x="624" y="160"/>
                  </a:lnTo>
                  <a:lnTo>
                    <a:pt x="619" y="161"/>
                  </a:lnTo>
                  <a:lnTo>
                    <a:pt x="618" y="165"/>
                  </a:lnTo>
                  <a:lnTo>
                    <a:pt x="616" y="163"/>
                  </a:lnTo>
                  <a:lnTo>
                    <a:pt x="616" y="162"/>
                  </a:lnTo>
                  <a:lnTo>
                    <a:pt x="617" y="160"/>
                  </a:lnTo>
                  <a:lnTo>
                    <a:pt x="618" y="159"/>
                  </a:lnTo>
                  <a:lnTo>
                    <a:pt x="623" y="159"/>
                  </a:lnTo>
                  <a:lnTo>
                    <a:pt x="628" y="157"/>
                  </a:lnTo>
                  <a:lnTo>
                    <a:pt x="629" y="155"/>
                  </a:lnTo>
                  <a:lnTo>
                    <a:pt x="630" y="150"/>
                  </a:lnTo>
                  <a:lnTo>
                    <a:pt x="633" y="148"/>
                  </a:lnTo>
                  <a:lnTo>
                    <a:pt x="631" y="143"/>
                  </a:lnTo>
                  <a:lnTo>
                    <a:pt x="631" y="141"/>
                  </a:lnTo>
                  <a:lnTo>
                    <a:pt x="629" y="138"/>
                  </a:lnTo>
                  <a:lnTo>
                    <a:pt x="628" y="138"/>
                  </a:lnTo>
                  <a:lnTo>
                    <a:pt x="627" y="138"/>
                  </a:lnTo>
                  <a:lnTo>
                    <a:pt x="624" y="138"/>
                  </a:lnTo>
                  <a:lnTo>
                    <a:pt x="624" y="141"/>
                  </a:lnTo>
                  <a:lnTo>
                    <a:pt x="625" y="144"/>
                  </a:lnTo>
                  <a:lnTo>
                    <a:pt x="623" y="147"/>
                  </a:lnTo>
                  <a:lnTo>
                    <a:pt x="622" y="149"/>
                  </a:lnTo>
                  <a:lnTo>
                    <a:pt x="621" y="150"/>
                  </a:lnTo>
                  <a:lnTo>
                    <a:pt x="618" y="149"/>
                  </a:lnTo>
                  <a:lnTo>
                    <a:pt x="615" y="148"/>
                  </a:lnTo>
                  <a:lnTo>
                    <a:pt x="612" y="148"/>
                  </a:lnTo>
                  <a:lnTo>
                    <a:pt x="608" y="149"/>
                  </a:lnTo>
                  <a:lnTo>
                    <a:pt x="610" y="153"/>
                  </a:lnTo>
                  <a:lnTo>
                    <a:pt x="610" y="156"/>
                  </a:lnTo>
                  <a:lnTo>
                    <a:pt x="612" y="162"/>
                  </a:lnTo>
                  <a:lnTo>
                    <a:pt x="610" y="161"/>
                  </a:lnTo>
                  <a:lnTo>
                    <a:pt x="608" y="159"/>
                  </a:lnTo>
                  <a:lnTo>
                    <a:pt x="607" y="154"/>
                  </a:lnTo>
                  <a:lnTo>
                    <a:pt x="604" y="151"/>
                  </a:lnTo>
                  <a:lnTo>
                    <a:pt x="600" y="151"/>
                  </a:lnTo>
                  <a:lnTo>
                    <a:pt x="598" y="154"/>
                  </a:lnTo>
                  <a:lnTo>
                    <a:pt x="599" y="156"/>
                  </a:lnTo>
                  <a:lnTo>
                    <a:pt x="596" y="157"/>
                  </a:lnTo>
                  <a:lnTo>
                    <a:pt x="594" y="160"/>
                  </a:lnTo>
                  <a:lnTo>
                    <a:pt x="594" y="162"/>
                  </a:lnTo>
                  <a:lnTo>
                    <a:pt x="594" y="165"/>
                  </a:lnTo>
                  <a:lnTo>
                    <a:pt x="594" y="166"/>
                  </a:lnTo>
                  <a:lnTo>
                    <a:pt x="593" y="165"/>
                  </a:lnTo>
                  <a:lnTo>
                    <a:pt x="592" y="161"/>
                  </a:lnTo>
                  <a:lnTo>
                    <a:pt x="589" y="163"/>
                  </a:lnTo>
                  <a:lnTo>
                    <a:pt x="586" y="163"/>
                  </a:lnTo>
                  <a:lnTo>
                    <a:pt x="583" y="167"/>
                  </a:lnTo>
                  <a:lnTo>
                    <a:pt x="582" y="169"/>
                  </a:lnTo>
                  <a:lnTo>
                    <a:pt x="580" y="169"/>
                  </a:lnTo>
                  <a:lnTo>
                    <a:pt x="577" y="168"/>
                  </a:lnTo>
                  <a:lnTo>
                    <a:pt x="576" y="168"/>
                  </a:lnTo>
                  <a:lnTo>
                    <a:pt x="575" y="165"/>
                  </a:lnTo>
                  <a:lnTo>
                    <a:pt x="574" y="162"/>
                  </a:lnTo>
                  <a:lnTo>
                    <a:pt x="570" y="161"/>
                  </a:lnTo>
                  <a:lnTo>
                    <a:pt x="565" y="160"/>
                  </a:lnTo>
                  <a:lnTo>
                    <a:pt x="566" y="159"/>
                  </a:lnTo>
                  <a:lnTo>
                    <a:pt x="570" y="161"/>
                  </a:lnTo>
                  <a:lnTo>
                    <a:pt x="571" y="159"/>
                  </a:lnTo>
                  <a:lnTo>
                    <a:pt x="572" y="156"/>
                  </a:lnTo>
                  <a:lnTo>
                    <a:pt x="576" y="154"/>
                  </a:lnTo>
                  <a:lnTo>
                    <a:pt x="577" y="153"/>
                  </a:lnTo>
                  <a:lnTo>
                    <a:pt x="576" y="149"/>
                  </a:lnTo>
                  <a:lnTo>
                    <a:pt x="575" y="147"/>
                  </a:lnTo>
                  <a:lnTo>
                    <a:pt x="576" y="148"/>
                  </a:lnTo>
                  <a:lnTo>
                    <a:pt x="577" y="147"/>
                  </a:lnTo>
                  <a:lnTo>
                    <a:pt x="577" y="142"/>
                  </a:lnTo>
                  <a:lnTo>
                    <a:pt x="578" y="139"/>
                  </a:lnTo>
                  <a:lnTo>
                    <a:pt x="582" y="136"/>
                  </a:lnTo>
                  <a:lnTo>
                    <a:pt x="587" y="135"/>
                  </a:lnTo>
                  <a:lnTo>
                    <a:pt x="589" y="137"/>
                  </a:lnTo>
                  <a:lnTo>
                    <a:pt x="588" y="139"/>
                  </a:lnTo>
                  <a:lnTo>
                    <a:pt x="588" y="138"/>
                  </a:lnTo>
                  <a:lnTo>
                    <a:pt x="586" y="138"/>
                  </a:lnTo>
                  <a:lnTo>
                    <a:pt x="581" y="141"/>
                  </a:lnTo>
                  <a:lnTo>
                    <a:pt x="578" y="144"/>
                  </a:lnTo>
                  <a:lnTo>
                    <a:pt x="580" y="148"/>
                  </a:lnTo>
                  <a:lnTo>
                    <a:pt x="583" y="150"/>
                  </a:lnTo>
                  <a:lnTo>
                    <a:pt x="587" y="151"/>
                  </a:lnTo>
                  <a:lnTo>
                    <a:pt x="588" y="149"/>
                  </a:lnTo>
                  <a:lnTo>
                    <a:pt x="590" y="150"/>
                  </a:lnTo>
                  <a:lnTo>
                    <a:pt x="593" y="149"/>
                  </a:lnTo>
                  <a:lnTo>
                    <a:pt x="593" y="148"/>
                  </a:lnTo>
                  <a:lnTo>
                    <a:pt x="596" y="149"/>
                  </a:lnTo>
                  <a:lnTo>
                    <a:pt x="598" y="147"/>
                  </a:lnTo>
                  <a:lnTo>
                    <a:pt x="600" y="145"/>
                  </a:lnTo>
                  <a:lnTo>
                    <a:pt x="601" y="143"/>
                  </a:lnTo>
                  <a:lnTo>
                    <a:pt x="599" y="142"/>
                  </a:lnTo>
                  <a:lnTo>
                    <a:pt x="598" y="139"/>
                  </a:lnTo>
                  <a:lnTo>
                    <a:pt x="599" y="138"/>
                  </a:lnTo>
                  <a:lnTo>
                    <a:pt x="602" y="135"/>
                  </a:lnTo>
                  <a:lnTo>
                    <a:pt x="602" y="139"/>
                  </a:lnTo>
                  <a:lnTo>
                    <a:pt x="606" y="138"/>
                  </a:lnTo>
                  <a:lnTo>
                    <a:pt x="606" y="136"/>
                  </a:lnTo>
                  <a:lnTo>
                    <a:pt x="608" y="135"/>
                  </a:lnTo>
                  <a:lnTo>
                    <a:pt x="612" y="133"/>
                  </a:lnTo>
                  <a:lnTo>
                    <a:pt x="615" y="132"/>
                  </a:lnTo>
                  <a:lnTo>
                    <a:pt x="612" y="131"/>
                  </a:lnTo>
                  <a:lnTo>
                    <a:pt x="611" y="130"/>
                  </a:lnTo>
                  <a:lnTo>
                    <a:pt x="611" y="127"/>
                  </a:lnTo>
                  <a:lnTo>
                    <a:pt x="612" y="126"/>
                  </a:lnTo>
                  <a:lnTo>
                    <a:pt x="613" y="125"/>
                  </a:lnTo>
                  <a:lnTo>
                    <a:pt x="613" y="123"/>
                  </a:lnTo>
                  <a:lnTo>
                    <a:pt x="611" y="121"/>
                  </a:lnTo>
                  <a:lnTo>
                    <a:pt x="610" y="121"/>
                  </a:lnTo>
                  <a:lnTo>
                    <a:pt x="610" y="118"/>
                  </a:lnTo>
                  <a:lnTo>
                    <a:pt x="607" y="118"/>
                  </a:lnTo>
                  <a:lnTo>
                    <a:pt x="607" y="120"/>
                  </a:lnTo>
                  <a:lnTo>
                    <a:pt x="607" y="124"/>
                  </a:lnTo>
                  <a:lnTo>
                    <a:pt x="605" y="123"/>
                  </a:lnTo>
                  <a:lnTo>
                    <a:pt x="602" y="120"/>
                  </a:lnTo>
                  <a:lnTo>
                    <a:pt x="601" y="120"/>
                  </a:lnTo>
                  <a:lnTo>
                    <a:pt x="602" y="127"/>
                  </a:lnTo>
                  <a:lnTo>
                    <a:pt x="605" y="130"/>
                  </a:lnTo>
                  <a:lnTo>
                    <a:pt x="602" y="131"/>
                  </a:lnTo>
                  <a:lnTo>
                    <a:pt x="601" y="130"/>
                  </a:lnTo>
                  <a:lnTo>
                    <a:pt x="601" y="126"/>
                  </a:lnTo>
                  <a:lnTo>
                    <a:pt x="599" y="124"/>
                  </a:lnTo>
                  <a:lnTo>
                    <a:pt x="598" y="125"/>
                  </a:lnTo>
                  <a:lnTo>
                    <a:pt x="595" y="126"/>
                  </a:lnTo>
                  <a:lnTo>
                    <a:pt x="593" y="125"/>
                  </a:lnTo>
                  <a:lnTo>
                    <a:pt x="593" y="124"/>
                  </a:lnTo>
                  <a:lnTo>
                    <a:pt x="592" y="125"/>
                  </a:lnTo>
                  <a:lnTo>
                    <a:pt x="589" y="126"/>
                  </a:lnTo>
                  <a:lnTo>
                    <a:pt x="587" y="126"/>
                  </a:lnTo>
                  <a:lnTo>
                    <a:pt x="587" y="127"/>
                  </a:lnTo>
                  <a:lnTo>
                    <a:pt x="586" y="129"/>
                  </a:lnTo>
                  <a:lnTo>
                    <a:pt x="584" y="131"/>
                  </a:lnTo>
                  <a:lnTo>
                    <a:pt x="584" y="130"/>
                  </a:lnTo>
                  <a:lnTo>
                    <a:pt x="584" y="125"/>
                  </a:lnTo>
                  <a:lnTo>
                    <a:pt x="581" y="121"/>
                  </a:lnTo>
                  <a:lnTo>
                    <a:pt x="580" y="120"/>
                  </a:lnTo>
                  <a:lnTo>
                    <a:pt x="578" y="125"/>
                  </a:lnTo>
                  <a:lnTo>
                    <a:pt x="576" y="124"/>
                  </a:lnTo>
                  <a:lnTo>
                    <a:pt x="575" y="123"/>
                  </a:lnTo>
                  <a:lnTo>
                    <a:pt x="575" y="121"/>
                  </a:lnTo>
                  <a:lnTo>
                    <a:pt x="576" y="119"/>
                  </a:lnTo>
                  <a:lnTo>
                    <a:pt x="575" y="117"/>
                  </a:lnTo>
                  <a:lnTo>
                    <a:pt x="572" y="114"/>
                  </a:lnTo>
                  <a:lnTo>
                    <a:pt x="571" y="115"/>
                  </a:lnTo>
                  <a:lnTo>
                    <a:pt x="570" y="117"/>
                  </a:lnTo>
                  <a:lnTo>
                    <a:pt x="568" y="114"/>
                  </a:lnTo>
                  <a:lnTo>
                    <a:pt x="563" y="111"/>
                  </a:lnTo>
                  <a:lnTo>
                    <a:pt x="563" y="109"/>
                  </a:lnTo>
                  <a:lnTo>
                    <a:pt x="562" y="107"/>
                  </a:lnTo>
                  <a:lnTo>
                    <a:pt x="562" y="105"/>
                  </a:lnTo>
                  <a:lnTo>
                    <a:pt x="562" y="102"/>
                  </a:lnTo>
                  <a:lnTo>
                    <a:pt x="559" y="101"/>
                  </a:lnTo>
                  <a:lnTo>
                    <a:pt x="558" y="101"/>
                  </a:lnTo>
                  <a:lnTo>
                    <a:pt x="556" y="100"/>
                  </a:lnTo>
                  <a:lnTo>
                    <a:pt x="557" y="97"/>
                  </a:lnTo>
                  <a:lnTo>
                    <a:pt x="559" y="100"/>
                  </a:lnTo>
                  <a:lnTo>
                    <a:pt x="562" y="98"/>
                  </a:lnTo>
                  <a:lnTo>
                    <a:pt x="564" y="96"/>
                  </a:lnTo>
                  <a:lnTo>
                    <a:pt x="565" y="95"/>
                  </a:lnTo>
                  <a:lnTo>
                    <a:pt x="566" y="91"/>
                  </a:lnTo>
                  <a:lnTo>
                    <a:pt x="568" y="88"/>
                  </a:lnTo>
                  <a:lnTo>
                    <a:pt x="566" y="86"/>
                  </a:lnTo>
                  <a:lnTo>
                    <a:pt x="565" y="85"/>
                  </a:lnTo>
                  <a:lnTo>
                    <a:pt x="562" y="85"/>
                  </a:lnTo>
                  <a:lnTo>
                    <a:pt x="562" y="89"/>
                  </a:lnTo>
                  <a:lnTo>
                    <a:pt x="560" y="90"/>
                  </a:lnTo>
                  <a:lnTo>
                    <a:pt x="558" y="89"/>
                  </a:lnTo>
                  <a:lnTo>
                    <a:pt x="554" y="90"/>
                  </a:lnTo>
                  <a:lnTo>
                    <a:pt x="554" y="94"/>
                  </a:lnTo>
                  <a:lnTo>
                    <a:pt x="552" y="96"/>
                  </a:lnTo>
                  <a:lnTo>
                    <a:pt x="551" y="95"/>
                  </a:lnTo>
                  <a:lnTo>
                    <a:pt x="552" y="90"/>
                  </a:lnTo>
                  <a:lnTo>
                    <a:pt x="551" y="90"/>
                  </a:lnTo>
                  <a:lnTo>
                    <a:pt x="554" y="86"/>
                  </a:lnTo>
                  <a:lnTo>
                    <a:pt x="553" y="85"/>
                  </a:lnTo>
                  <a:lnTo>
                    <a:pt x="552" y="83"/>
                  </a:lnTo>
                  <a:lnTo>
                    <a:pt x="547" y="84"/>
                  </a:lnTo>
                  <a:lnTo>
                    <a:pt x="547" y="88"/>
                  </a:lnTo>
                  <a:lnTo>
                    <a:pt x="543" y="90"/>
                  </a:lnTo>
                  <a:lnTo>
                    <a:pt x="541" y="90"/>
                  </a:lnTo>
                  <a:lnTo>
                    <a:pt x="543" y="85"/>
                  </a:lnTo>
                  <a:lnTo>
                    <a:pt x="545" y="83"/>
                  </a:lnTo>
                  <a:lnTo>
                    <a:pt x="547" y="79"/>
                  </a:lnTo>
                  <a:lnTo>
                    <a:pt x="546" y="78"/>
                  </a:lnTo>
                  <a:lnTo>
                    <a:pt x="543" y="78"/>
                  </a:lnTo>
                  <a:lnTo>
                    <a:pt x="543" y="77"/>
                  </a:lnTo>
                  <a:lnTo>
                    <a:pt x="542" y="78"/>
                  </a:lnTo>
                  <a:lnTo>
                    <a:pt x="541" y="80"/>
                  </a:lnTo>
                  <a:lnTo>
                    <a:pt x="540" y="82"/>
                  </a:lnTo>
                  <a:lnTo>
                    <a:pt x="537" y="80"/>
                  </a:lnTo>
                  <a:lnTo>
                    <a:pt x="536" y="83"/>
                  </a:lnTo>
                  <a:lnTo>
                    <a:pt x="534" y="85"/>
                  </a:lnTo>
                  <a:lnTo>
                    <a:pt x="530" y="86"/>
                  </a:lnTo>
                  <a:lnTo>
                    <a:pt x="529" y="86"/>
                  </a:lnTo>
                  <a:lnTo>
                    <a:pt x="530" y="82"/>
                  </a:lnTo>
                  <a:lnTo>
                    <a:pt x="528" y="82"/>
                  </a:lnTo>
                  <a:lnTo>
                    <a:pt x="527" y="82"/>
                  </a:lnTo>
                  <a:lnTo>
                    <a:pt x="525" y="79"/>
                  </a:lnTo>
                  <a:lnTo>
                    <a:pt x="522" y="79"/>
                  </a:lnTo>
                  <a:lnTo>
                    <a:pt x="522" y="77"/>
                  </a:lnTo>
                  <a:lnTo>
                    <a:pt x="524" y="76"/>
                  </a:lnTo>
                  <a:lnTo>
                    <a:pt x="528" y="74"/>
                  </a:lnTo>
                  <a:lnTo>
                    <a:pt x="529" y="73"/>
                  </a:lnTo>
                  <a:lnTo>
                    <a:pt x="528" y="71"/>
                  </a:lnTo>
                  <a:lnTo>
                    <a:pt x="523" y="71"/>
                  </a:lnTo>
                  <a:lnTo>
                    <a:pt x="521" y="71"/>
                  </a:lnTo>
                  <a:lnTo>
                    <a:pt x="522" y="68"/>
                  </a:lnTo>
                  <a:lnTo>
                    <a:pt x="525" y="67"/>
                  </a:lnTo>
                  <a:lnTo>
                    <a:pt x="528" y="64"/>
                  </a:lnTo>
                  <a:lnTo>
                    <a:pt x="528" y="61"/>
                  </a:lnTo>
                  <a:lnTo>
                    <a:pt x="529" y="59"/>
                  </a:lnTo>
                  <a:lnTo>
                    <a:pt x="527" y="58"/>
                  </a:lnTo>
                  <a:lnTo>
                    <a:pt x="523" y="61"/>
                  </a:lnTo>
                  <a:lnTo>
                    <a:pt x="522" y="64"/>
                  </a:lnTo>
                  <a:lnTo>
                    <a:pt x="519" y="62"/>
                  </a:lnTo>
                  <a:lnTo>
                    <a:pt x="518" y="59"/>
                  </a:lnTo>
                  <a:lnTo>
                    <a:pt x="521" y="56"/>
                  </a:lnTo>
                  <a:lnTo>
                    <a:pt x="522" y="55"/>
                  </a:lnTo>
                  <a:lnTo>
                    <a:pt x="522" y="54"/>
                  </a:lnTo>
                  <a:lnTo>
                    <a:pt x="521" y="52"/>
                  </a:lnTo>
                  <a:lnTo>
                    <a:pt x="519" y="50"/>
                  </a:lnTo>
                  <a:lnTo>
                    <a:pt x="519" y="49"/>
                  </a:lnTo>
                  <a:lnTo>
                    <a:pt x="515" y="50"/>
                  </a:lnTo>
                  <a:lnTo>
                    <a:pt x="513" y="49"/>
                  </a:lnTo>
                  <a:lnTo>
                    <a:pt x="516" y="47"/>
                  </a:lnTo>
                  <a:lnTo>
                    <a:pt x="519" y="46"/>
                  </a:lnTo>
                  <a:lnTo>
                    <a:pt x="521" y="43"/>
                  </a:lnTo>
                  <a:lnTo>
                    <a:pt x="519" y="41"/>
                  </a:lnTo>
                  <a:lnTo>
                    <a:pt x="518" y="40"/>
                  </a:lnTo>
                  <a:lnTo>
                    <a:pt x="513" y="41"/>
                  </a:lnTo>
                  <a:lnTo>
                    <a:pt x="512" y="43"/>
                  </a:lnTo>
                  <a:lnTo>
                    <a:pt x="510" y="42"/>
                  </a:lnTo>
                  <a:lnTo>
                    <a:pt x="509" y="40"/>
                  </a:lnTo>
                  <a:lnTo>
                    <a:pt x="506" y="38"/>
                  </a:lnTo>
                  <a:lnTo>
                    <a:pt x="503" y="41"/>
                  </a:lnTo>
                  <a:lnTo>
                    <a:pt x="498" y="42"/>
                  </a:lnTo>
                  <a:lnTo>
                    <a:pt x="495" y="41"/>
                  </a:lnTo>
                  <a:lnTo>
                    <a:pt x="495" y="40"/>
                  </a:lnTo>
                  <a:lnTo>
                    <a:pt x="501" y="37"/>
                  </a:lnTo>
                  <a:lnTo>
                    <a:pt x="501" y="35"/>
                  </a:lnTo>
                  <a:lnTo>
                    <a:pt x="506" y="35"/>
                  </a:lnTo>
                  <a:lnTo>
                    <a:pt x="510" y="32"/>
                  </a:lnTo>
                  <a:lnTo>
                    <a:pt x="511" y="32"/>
                  </a:lnTo>
                  <a:lnTo>
                    <a:pt x="513" y="30"/>
                  </a:lnTo>
                  <a:lnTo>
                    <a:pt x="511" y="26"/>
                  </a:lnTo>
                  <a:lnTo>
                    <a:pt x="506" y="26"/>
                  </a:lnTo>
                  <a:lnTo>
                    <a:pt x="506" y="24"/>
                  </a:lnTo>
                  <a:lnTo>
                    <a:pt x="505" y="23"/>
                  </a:lnTo>
                  <a:lnTo>
                    <a:pt x="501" y="22"/>
                  </a:lnTo>
                  <a:lnTo>
                    <a:pt x="499" y="25"/>
                  </a:lnTo>
                  <a:lnTo>
                    <a:pt x="497" y="26"/>
                  </a:lnTo>
                  <a:lnTo>
                    <a:pt x="497" y="23"/>
                  </a:lnTo>
                  <a:lnTo>
                    <a:pt x="497" y="22"/>
                  </a:lnTo>
                  <a:lnTo>
                    <a:pt x="495" y="22"/>
                  </a:lnTo>
                  <a:lnTo>
                    <a:pt x="490" y="22"/>
                  </a:lnTo>
                  <a:lnTo>
                    <a:pt x="489" y="26"/>
                  </a:lnTo>
                  <a:lnTo>
                    <a:pt x="488" y="26"/>
                  </a:lnTo>
                  <a:lnTo>
                    <a:pt x="488" y="22"/>
                  </a:lnTo>
                  <a:lnTo>
                    <a:pt x="487" y="18"/>
                  </a:lnTo>
                  <a:lnTo>
                    <a:pt x="486" y="14"/>
                  </a:lnTo>
                  <a:lnTo>
                    <a:pt x="486" y="12"/>
                  </a:lnTo>
                  <a:lnTo>
                    <a:pt x="483" y="12"/>
                  </a:lnTo>
                  <a:lnTo>
                    <a:pt x="482" y="12"/>
                  </a:lnTo>
                  <a:lnTo>
                    <a:pt x="480" y="13"/>
                  </a:lnTo>
                  <a:lnTo>
                    <a:pt x="478" y="14"/>
                  </a:lnTo>
                  <a:lnTo>
                    <a:pt x="476" y="13"/>
                  </a:lnTo>
                  <a:lnTo>
                    <a:pt x="475" y="13"/>
                  </a:lnTo>
                  <a:lnTo>
                    <a:pt x="475" y="11"/>
                  </a:lnTo>
                  <a:lnTo>
                    <a:pt x="476" y="10"/>
                  </a:lnTo>
                  <a:lnTo>
                    <a:pt x="477" y="7"/>
                  </a:lnTo>
                  <a:lnTo>
                    <a:pt x="477" y="6"/>
                  </a:lnTo>
                  <a:lnTo>
                    <a:pt x="477" y="4"/>
                  </a:lnTo>
                  <a:lnTo>
                    <a:pt x="478" y="2"/>
                  </a:lnTo>
                  <a:lnTo>
                    <a:pt x="477" y="1"/>
                  </a:lnTo>
                  <a:lnTo>
                    <a:pt x="477" y="0"/>
                  </a:lnTo>
                  <a:lnTo>
                    <a:pt x="476" y="0"/>
                  </a:lnTo>
                  <a:lnTo>
                    <a:pt x="474" y="1"/>
                  </a:lnTo>
                  <a:lnTo>
                    <a:pt x="474" y="2"/>
                  </a:lnTo>
                  <a:lnTo>
                    <a:pt x="474" y="5"/>
                  </a:lnTo>
                  <a:lnTo>
                    <a:pt x="471" y="6"/>
                  </a:lnTo>
                  <a:lnTo>
                    <a:pt x="471" y="5"/>
                  </a:lnTo>
                  <a:lnTo>
                    <a:pt x="471" y="2"/>
                  </a:lnTo>
                  <a:lnTo>
                    <a:pt x="471" y="1"/>
                  </a:lnTo>
                  <a:lnTo>
                    <a:pt x="469" y="0"/>
                  </a:lnTo>
                  <a:lnTo>
                    <a:pt x="466" y="0"/>
                  </a:lnTo>
                  <a:lnTo>
                    <a:pt x="466" y="2"/>
                  </a:lnTo>
                  <a:lnTo>
                    <a:pt x="465" y="4"/>
                  </a:lnTo>
                  <a:lnTo>
                    <a:pt x="464" y="5"/>
                  </a:lnTo>
                  <a:lnTo>
                    <a:pt x="462" y="6"/>
                  </a:lnTo>
                  <a:lnTo>
                    <a:pt x="462" y="8"/>
                  </a:lnTo>
                  <a:lnTo>
                    <a:pt x="462" y="11"/>
                  </a:lnTo>
                  <a:lnTo>
                    <a:pt x="463" y="12"/>
                  </a:lnTo>
                  <a:lnTo>
                    <a:pt x="463" y="13"/>
                  </a:lnTo>
                  <a:lnTo>
                    <a:pt x="462" y="13"/>
                  </a:lnTo>
                  <a:lnTo>
                    <a:pt x="460" y="13"/>
                  </a:lnTo>
                  <a:lnTo>
                    <a:pt x="460" y="16"/>
                  </a:lnTo>
                  <a:lnTo>
                    <a:pt x="460" y="18"/>
                  </a:lnTo>
                  <a:lnTo>
                    <a:pt x="459" y="19"/>
                  </a:lnTo>
                  <a:lnTo>
                    <a:pt x="458" y="22"/>
                  </a:lnTo>
                  <a:lnTo>
                    <a:pt x="457" y="20"/>
                  </a:lnTo>
                  <a:lnTo>
                    <a:pt x="456" y="19"/>
                  </a:lnTo>
                  <a:lnTo>
                    <a:pt x="454" y="19"/>
                  </a:lnTo>
                  <a:lnTo>
                    <a:pt x="453" y="19"/>
                  </a:lnTo>
                  <a:lnTo>
                    <a:pt x="451" y="20"/>
                  </a:lnTo>
                  <a:lnTo>
                    <a:pt x="451" y="22"/>
                  </a:lnTo>
                  <a:lnTo>
                    <a:pt x="452" y="23"/>
                  </a:lnTo>
                  <a:lnTo>
                    <a:pt x="452" y="25"/>
                  </a:lnTo>
                  <a:lnTo>
                    <a:pt x="453" y="26"/>
                  </a:lnTo>
                  <a:lnTo>
                    <a:pt x="456" y="28"/>
                  </a:lnTo>
                  <a:lnTo>
                    <a:pt x="458" y="28"/>
                  </a:lnTo>
                  <a:lnTo>
                    <a:pt x="459" y="28"/>
                  </a:lnTo>
                  <a:lnTo>
                    <a:pt x="460" y="30"/>
                  </a:lnTo>
                  <a:lnTo>
                    <a:pt x="460" y="32"/>
                  </a:lnTo>
                  <a:lnTo>
                    <a:pt x="459" y="32"/>
                  </a:lnTo>
                  <a:lnTo>
                    <a:pt x="457" y="32"/>
                  </a:lnTo>
                  <a:lnTo>
                    <a:pt x="456" y="31"/>
                  </a:lnTo>
                  <a:lnTo>
                    <a:pt x="453" y="29"/>
                  </a:lnTo>
                  <a:lnTo>
                    <a:pt x="452" y="28"/>
                  </a:lnTo>
                  <a:lnTo>
                    <a:pt x="451" y="25"/>
                  </a:lnTo>
                  <a:lnTo>
                    <a:pt x="450" y="23"/>
                  </a:lnTo>
                  <a:lnTo>
                    <a:pt x="448" y="22"/>
                  </a:lnTo>
                  <a:lnTo>
                    <a:pt x="446" y="20"/>
                  </a:lnTo>
                  <a:lnTo>
                    <a:pt x="445" y="20"/>
                  </a:lnTo>
                  <a:lnTo>
                    <a:pt x="444" y="22"/>
                  </a:lnTo>
                  <a:lnTo>
                    <a:pt x="442" y="24"/>
                  </a:lnTo>
                  <a:lnTo>
                    <a:pt x="444" y="26"/>
                  </a:lnTo>
                  <a:lnTo>
                    <a:pt x="445" y="29"/>
                  </a:lnTo>
                  <a:lnTo>
                    <a:pt x="447" y="34"/>
                  </a:lnTo>
                  <a:lnTo>
                    <a:pt x="450" y="35"/>
                  </a:lnTo>
                  <a:lnTo>
                    <a:pt x="451" y="36"/>
                  </a:lnTo>
                  <a:lnTo>
                    <a:pt x="450" y="37"/>
                  </a:lnTo>
                  <a:lnTo>
                    <a:pt x="448" y="37"/>
                  </a:lnTo>
                  <a:lnTo>
                    <a:pt x="448" y="38"/>
                  </a:lnTo>
                  <a:lnTo>
                    <a:pt x="448" y="40"/>
                  </a:lnTo>
                  <a:lnTo>
                    <a:pt x="450" y="40"/>
                  </a:lnTo>
                  <a:lnTo>
                    <a:pt x="451" y="41"/>
                  </a:lnTo>
                  <a:lnTo>
                    <a:pt x="453" y="41"/>
                  </a:lnTo>
                  <a:lnTo>
                    <a:pt x="454" y="40"/>
                  </a:lnTo>
                  <a:lnTo>
                    <a:pt x="456" y="40"/>
                  </a:lnTo>
                  <a:lnTo>
                    <a:pt x="456" y="41"/>
                  </a:lnTo>
                  <a:lnTo>
                    <a:pt x="454" y="41"/>
                  </a:lnTo>
                  <a:lnTo>
                    <a:pt x="453" y="42"/>
                  </a:lnTo>
                  <a:lnTo>
                    <a:pt x="456" y="43"/>
                  </a:lnTo>
                  <a:lnTo>
                    <a:pt x="457" y="43"/>
                  </a:lnTo>
                  <a:lnTo>
                    <a:pt x="457" y="46"/>
                  </a:lnTo>
                  <a:lnTo>
                    <a:pt x="454" y="46"/>
                  </a:lnTo>
                  <a:lnTo>
                    <a:pt x="452" y="46"/>
                  </a:lnTo>
                  <a:lnTo>
                    <a:pt x="450" y="46"/>
                  </a:lnTo>
                  <a:lnTo>
                    <a:pt x="448" y="44"/>
                  </a:lnTo>
                  <a:lnTo>
                    <a:pt x="448" y="43"/>
                  </a:lnTo>
                  <a:lnTo>
                    <a:pt x="447" y="43"/>
                  </a:lnTo>
                  <a:lnTo>
                    <a:pt x="446" y="43"/>
                  </a:lnTo>
                  <a:lnTo>
                    <a:pt x="445" y="44"/>
                  </a:lnTo>
                  <a:lnTo>
                    <a:pt x="444" y="46"/>
                  </a:lnTo>
                  <a:lnTo>
                    <a:pt x="446" y="50"/>
                  </a:lnTo>
                  <a:lnTo>
                    <a:pt x="448" y="52"/>
                  </a:lnTo>
                  <a:lnTo>
                    <a:pt x="450" y="53"/>
                  </a:lnTo>
                  <a:lnTo>
                    <a:pt x="452" y="54"/>
                  </a:lnTo>
                  <a:lnTo>
                    <a:pt x="453" y="53"/>
                  </a:lnTo>
                  <a:lnTo>
                    <a:pt x="456" y="52"/>
                  </a:lnTo>
                  <a:lnTo>
                    <a:pt x="457" y="49"/>
                  </a:lnTo>
                  <a:lnTo>
                    <a:pt x="459" y="49"/>
                  </a:lnTo>
                  <a:lnTo>
                    <a:pt x="462" y="49"/>
                  </a:lnTo>
                  <a:lnTo>
                    <a:pt x="464" y="49"/>
                  </a:lnTo>
                  <a:lnTo>
                    <a:pt x="464" y="50"/>
                  </a:lnTo>
                  <a:lnTo>
                    <a:pt x="463" y="52"/>
                  </a:lnTo>
                  <a:lnTo>
                    <a:pt x="462" y="52"/>
                  </a:lnTo>
                  <a:lnTo>
                    <a:pt x="459" y="52"/>
                  </a:lnTo>
                  <a:lnTo>
                    <a:pt x="458" y="52"/>
                  </a:lnTo>
                  <a:lnTo>
                    <a:pt x="457" y="52"/>
                  </a:lnTo>
                  <a:lnTo>
                    <a:pt x="457" y="53"/>
                  </a:lnTo>
                  <a:lnTo>
                    <a:pt x="458" y="54"/>
                  </a:lnTo>
                  <a:lnTo>
                    <a:pt x="459" y="54"/>
                  </a:lnTo>
                  <a:lnTo>
                    <a:pt x="462" y="54"/>
                  </a:lnTo>
                  <a:lnTo>
                    <a:pt x="460" y="55"/>
                  </a:lnTo>
                  <a:lnTo>
                    <a:pt x="460" y="56"/>
                  </a:lnTo>
                  <a:lnTo>
                    <a:pt x="460" y="59"/>
                  </a:lnTo>
                  <a:lnTo>
                    <a:pt x="463" y="59"/>
                  </a:lnTo>
                  <a:lnTo>
                    <a:pt x="464" y="59"/>
                  </a:lnTo>
                  <a:lnTo>
                    <a:pt x="465" y="58"/>
                  </a:lnTo>
                  <a:lnTo>
                    <a:pt x="465" y="56"/>
                  </a:lnTo>
                  <a:lnTo>
                    <a:pt x="465" y="55"/>
                  </a:lnTo>
                  <a:lnTo>
                    <a:pt x="465" y="54"/>
                  </a:lnTo>
                  <a:lnTo>
                    <a:pt x="465" y="53"/>
                  </a:lnTo>
                  <a:lnTo>
                    <a:pt x="466" y="53"/>
                  </a:lnTo>
                  <a:lnTo>
                    <a:pt x="469" y="53"/>
                  </a:lnTo>
                  <a:lnTo>
                    <a:pt x="470" y="53"/>
                  </a:lnTo>
                  <a:lnTo>
                    <a:pt x="470" y="54"/>
                  </a:lnTo>
                  <a:lnTo>
                    <a:pt x="470" y="55"/>
                  </a:lnTo>
                  <a:lnTo>
                    <a:pt x="469" y="55"/>
                  </a:lnTo>
                  <a:lnTo>
                    <a:pt x="468" y="54"/>
                  </a:lnTo>
                  <a:lnTo>
                    <a:pt x="466" y="55"/>
                  </a:lnTo>
                  <a:lnTo>
                    <a:pt x="468" y="56"/>
                  </a:lnTo>
                  <a:lnTo>
                    <a:pt x="466" y="58"/>
                  </a:lnTo>
                  <a:lnTo>
                    <a:pt x="466" y="59"/>
                  </a:lnTo>
                  <a:lnTo>
                    <a:pt x="465" y="59"/>
                  </a:lnTo>
                  <a:lnTo>
                    <a:pt x="464" y="60"/>
                  </a:lnTo>
                  <a:lnTo>
                    <a:pt x="463" y="60"/>
                  </a:lnTo>
                  <a:lnTo>
                    <a:pt x="462" y="60"/>
                  </a:lnTo>
                  <a:lnTo>
                    <a:pt x="460" y="60"/>
                  </a:lnTo>
                  <a:lnTo>
                    <a:pt x="460" y="61"/>
                  </a:lnTo>
                  <a:lnTo>
                    <a:pt x="462" y="61"/>
                  </a:lnTo>
                  <a:lnTo>
                    <a:pt x="464" y="64"/>
                  </a:lnTo>
                  <a:lnTo>
                    <a:pt x="465" y="65"/>
                  </a:lnTo>
                  <a:lnTo>
                    <a:pt x="464" y="66"/>
                  </a:lnTo>
                  <a:lnTo>
                    <a:pt x="462" y="66"/>
                  </a:lnTo>
                  <a:lnTo>
                    <a:pt x="460" y="65"/>
                  </a:lnTo>
                  <a:lnTo>
                    <a:pt x="459" y="65"/>
                  </a:lnTo>
                  <a:lnTo>
                    <a:pt x="459" y="66"/>
                  </a:lnTo>
                  <a:lnTo>
                    <a:pt x="459" y="67"/>
                  </a:lnTo>
                  <a:lnTo>
                    <a:pt x="458" y="67"/>
                  </a:lnTo>
                  <a:lnTo>
                    <a:pt x="457" y="67"/>
                  </a:lnTo>
                  <a:lnTo>
                    <a:pt x="456" y="67"/>
                  </a:lnTo>
                  <a:lnTo>
                    <a:pt x="454" y="67"/>
                  </a:lnTo>
                  <a:lnTo>
                    <a:pt x="453" y="68"/>
                  </a:lnTo>
                  <a:lnTo>
                    <a:pt x="453" y="67"/>
                  </a:lnTo>
                  <a:lnTo>
                    <a:pt x="453" y="66"/>
                  </a:lnTo>
                  <a:lnTo>
                    <a:pt x="452" y="66"/>
                  </a:lnTo>
                  <a:lnTo>
                    <a:pt x="452" y="65"/>
                  </a:lnTo>
                  <a:lnTo>
                    <a:pt x="451" y="65"/>
                  </a:lnTo>
                  <a:lnTo>
                    <a:pt x="450" y="65"/>
                  </a:lnTo>
                  <a:lnTo>
                    <a:pt x="448" y="65"/>
                  </a:lnTo>
                  <a:lnTo>
                    <a:pt x="447" y="65"/>
                  </a:lnTo>
                  <a:lnTo>
                    <a:pt x="446" y="66"/>
                  </a:lnTo>
                  <a:lnTo>
                    <a:pt x="445" y="66"/>
                  </a:lnTo>
                  <a:lnTo>
                    <a:pt x="441" y="66"/>
                  </a:lnTo>
                  <a:lnTo>
                    <a:pt x="441" y="65"/>
                  </a:lnTo>
                  <a:lnTo>
                    <a:pt x="440" y="64"/>
                  </a:lnTo>
                  <a:lnTo>
                    <a:pt x="440" y="62"/>
                  </a:lnTo>
                  <a:lnTo>
                    <a:pt x="439" y="61"/>
                  </a:lnTo>
                  <a:lnTo>
                    <a:pt x="436" y="61"/>
                  </a:lnTo>
                  <a:lnTo>
                    <a:pt x="435" y="62"/>
                  </a:lnTo>
                  <a:lnTo>
                    <a:pt x="434" y="64"/>
                  </a:lnTo>
                  <a:lnTo>
                    <a:pt x="434" y="65"/>
                  </a:lnTo>
                  <a:lnTo>
                    <a:pt x="434" y="66"/>
                  </a:lnTo>
                  <a:lnTo>
                    <a:pt x="433" y="65"/>
                  </a:lnTo>
                  <a:lnTo>
                    <a:pt x="431" y="64"/>
                  </a:lnTo>
                  <a:lnTo>
                    <a:pt x="429" y="65"/>
                  </a:lnTo>
                  <a:lnTo>
                    <a:pt x="428" y="65"/>
                  </a:lnTo>
                  <a:lnTo>
                    <a:pt x="427" y="66"/>
                  </a:lnTo>
                  <a:lnTo>
                    <a:pt x="427" y="67"/>
                  </a:lnTo>
                  <a:lnTo>
                    <a:pt x="428" y="68"/>
                  </a:lnTo>
                  <a:lnTo>
                    <a:pt x="429" y="70"/>
                  </a:lnTo>
                  <a:lnTo>
                    <a:pt x="430" y="71"/>
                  </a:lnTo>
                  <a:lnTo>
                    <a:pt x="430" y="72"/>
                  </a:lnTo>
                  <a:lnTo>
                    <a:pt x="431" y="73"/>
                  </a:lnTo>
                  <a:lnTo>
                    <a:pt x="433" y="73"/>
                  </a:lnTo>
                  <a:lnTo>
                    <a:pt x="434" y="72"/>
                  </a:lnTo>
                  <a:lnTo>
                    <a:pt x="436" y="73"/>
                  </a:lnTo>
                  <a:lnTo>
                    <a:pt x="438" y="74"/>
                  </a:lnTo>
                  <a:lnTo>
                    <a:pt x="439" y="77"/>
                  </a:lnTo>
                  <a:lnTo>
                    <a:pt x="440" y="77"/>
                  </a:lnTo>
                  <a:lnTo>
                    <a:pt x="441" y="79"/>
                  </a:lnTo>
                  <a:lnTo>
                    <a:pt x="442" y="79"/>
                  </a:lnTo>
                  <a:lnTo>
                    <a:pt x="445" y="80"/>
                  </a:lnTo>
                  <a:lnTo>
                    <a:pt x="447" y="79"/>
                  </a:lnTo>
                  <a:lnTo>
                    <a:pt x="448" y="79"/>
                  </a:lnTo>
                  <a:lnTo>
                    <a:pt x="450" y="80"/>
                  </a:lnTo>
                  <a:lnTo>
                    <a:pt x="450" y="82"/>
                  </a:lnTo>
                  <a:lnTo>
                    <a:pt x="450" y="83"/>
                  </a:lnTo>
                  <a:lnTo>
                    <a:pt x="450" y="84"/>
                  </a:lnTo>
                  <a:lnTo>
                    <a:pt x="452" y="85"/>
                  </a:lnTo>
                  <a:lnTo>
                    <a:pt x="453" y="84"/>
                  </a:lnTo>
                  <a:lnTo>
                    <a:pt x="454" y="84"/>
                  </a:lnTo>
                  <a:lnTo>
                    <a:pt x="456" y="82"/>
                  </a:lnTo>
                  <a:lnTo>
                    <a:pt x="454" y="80"/>
                  </a:lnTo>
                  <a:lnTo>
                    <a:pt x="457" y="80"/>
                  </a:lnTo>
                  <a:lnTo>
                    <a:pt x="459" y="80"/>
                  </a:lnTo>
                  <a:lnTo>
                    <a:pt x="460" y="82"/>
                  </a:lnTo>
                  <a:lnTo>
                    <a:pt x="460" y="83"/>
                  </a:lnTo>
                  <a:lnTo>
                    <a:pt x="462" y="85"/>
                  </a:lnTo>
                  <a:lnTo>
                    <a:pt x="460" y="86"/>
                  </a:lnTo>
                  <a:lnTo>
                    <a:pt x="458" y="85"/>
                  </a:lnTo>
                  <a:lnTo>
                    <a:pt x="458" y="84"/>
                  </a:lnTo>
                  <a:lnTo>
                    <a:pt x="457" y="84"/>
                  </a:lnTo>
                  <a:lnTo>
                    <a:pt x="454" y="85"/>
                  </a:lnTo>
                  <a:lnTo>
                    <a:pt x="453" y="85"/>
                  </a:lnTo>
                  <a:lnTo>
                    <a:pt x="452" y="88"/>
                  </a:lnTo>
                  <a:lnTo>
                    <a:pt x="453" y="89"/>
                  </a:lnTo>
                  <a:lnTo>
                    <a:pt x="453" y="91"/>
                  </a:lnTo>
                  <a:lnTo>
                    <a:pt x="454" y="92"/>
                  </a:lnTo>
                  <a:lnTo>
                    <a:pt x="456" y="94"/>
                  </a:lnTo>
                  <a:lnTo>
                    <a:pt x="456" y="96"/>
                  </a:lnTo>
                  <a:lnTo>
                    <a:pt x="456" y="97"/>
                  </a:lnTo>
                  <a:lnTo>
                    <a:pt x="453" y="96"/>
                  </a:lnTo>
                  <a:lnTo>
                    <a:pt x="453" y="94"/>
                  </a:lnTo>
                  <a:lnTo>
                    <a:pt x="452" y="94"/>
                  </a:lnTo>
                  <a:lnTo>
                    <a:pt x="451" y="96"/>
                  </a:lnTo>
                  <a:lnTo>
                    <a:pt x="451" y="97"/>
                  </a:lnTo>
                  <a:lnTo>
                    <a:pt x="448" y="97"/>
                  </a:lnTo>
                  <a:lnTo>
                    <a:pt x="448" y="96"/>
                  </a:lnTo>
                  <a:lnTo>
                    <a:pt x="448" y="94"/>
                  </a:lnTo>
                  <a:lnTo>
                    <a:pt x="447" y="94"/>
                  </a:lnTo>
                  <a:lnTo>
                    <a:pt x="446" y="96"/>
                  </a:lnTo>
                  <a:lnTo>
                    <a:pt x="445" y="96"/>
                  </a:lnTo>
                  <a:lnTo>
                    <a:pt x="445" y="94"/>
                  </a:lnTo>
                  <a:lnTo>
                    <a:pt x="444" y="92"/>
                  </a:lnTo>
                  <a:lnTo>
                    <a:pt x="442" y="92"/>
                  </a:lnTo>
                  <a:lnTo>
                    <a:pt x="441" y="92"/>
                  </a:lnTo>
                  <a:lnTo>
                    <a:pt x="440" y="92"/>
                  </a:lnTo>
                  <a:lnTo>
                    <a:pt x="440" y="94"/>
                  </a:lnTo>
                  <a:lnTo>
                    <a:pt x="439" y="92"/>
                  </a:lnTo>
                  <a:lnTo>
                    <a:pt x="440" y="90"/>
                  </a:lnTo>
                  <a:lnTo>
                    <a:pt x="440" y="89"/>
                  </a:lnTo>
                  <a:lnTo>
                    <a:pt x="441" y="86"/>
                  </a:lnTo>
                  <a:lnTo>
                    <a:pt x="441" y="84"/>
                  </a:lnTo>
                  <a:lnTo>
                    <a:pt x="441" y="83"/>
                  </a:lnTo>
                  <a:lnTo>
                    <a:pt x="441" y="82"/>
                  </a:lnTo>
                  <a:lnTo>
                    <a:pt x="439" y="83"/>
                  </a:lnTo>
                  <a:lnTo>
                    <a:pt x="438" y="82"/>
                  </a:lnTo>
                  <a:lnTo>
                    <a:pt x="436" y="82"/>
                  </a:lnTo>
                  <a:lnTo>
                    <a:pt x="435" y="83"/>
                  </a:lnTo>
                  <a:lnTo>
                    <a:pt x="435" y="85"/>
                  </a:lnTo>
                  <a:lnTo>
                    <a:pt x="434" y="88"/>
                  </a:lnTo>
                  <a:lnTo>
                    <a:pt x="434" y="91"/>
                  </a:lnTo>
                  <a:lnTo>
                    <a:pt x="434" y="92"/>
                  </a:lnTo>
                  <a:lnTo>
                    <a:pt x="433" y="94"/>
                  </a:lnTo>
                  <a:lnTo>
                    <a:pt x="433" y="91"/>
                  </a:lnTo>
                  <a:lnTo>
                    <a:pt x="433" y="89"/>
                  </a:lnTo>
                  <a:lnTo>
                    <a:pt x="433" y="85"/>
                  </a:lnTo>
                  <a:lnTo>
                    <a:pt x="433" y="83"/>
                  </a:lnTo>
                  <a:lnTo>
                    <a:pt x="433" y="80"/>
                  </a:lnTo>
                  <a:lnTo>
                    <a:pt x="431" y="79"/>
                  </a:lnTo>
                  <a:lnTo>
                    <a:pt x="429" y="80"/>
                  </a:lnTo>
                  <a:lnTo>
                    <a:pt x="429" y="82"/>
                  </a:lnTo>
                  <a:lnTo>
                    <a:pt x="428" y="83"/>
                  </a:lnTo>
                  <a:lnTo>
                    <a:pt x="427" y="82"/>
                  </a:lnTo>
                  <a:lnTo>
                    <a:pt x="425" y="82"/>
                  </a:lnTo>
                  <a:lnTo>
                    <a:pt x="424" y="82"/>
                  </a:lnTo>
                  <a:lnTo>
                    <a:pt x="424" y="83"/>
                  </a:lnTo>
                  <a:lnTo>
                    <a:pt x="423" y="84"/>
                  </a:lnTo>
                  <a:lnTo>
                    <a:pt x="423" y="83"/>
                  </a:lnTo>
                  <a:lnTo>
                    <a:pt x="422" y="82"/>
                  </a:lnTo>
                  <a:lnTo>
                    <a:pt x="421" y="82"/>
                  </a:lnTo>
                  <a:lnTo>
                    <a:pt x="422" y="84"/>
                  </a:lnTo>
                  <a:lnTo>
                    <a:pt x="422" y="88"/>
                  </a:lnTo>
                  <a:lnTo>
                    <a:pt x="422" y="89"/>
                  </a:lnTo>
                  <a:lnTo>
                    <a:pt x="423" y="91"/>
                  </a:lnTo>
                  <a:lnTo>
                    <a:pt x="424" y="92"/>
                  </a:lnTo>
                  <a:lnTo>
                    <a:pt x="424" y="95"/>
                  </a:lnTo>
                  <a:lnTo>
                    <a:pt x="424" y="97"/>
                  </a:lnTo>
                  <a:lnTo>
                    <a:pt x="425" y="98"/>
                  </a:lnTo>
                  <a:lnTo>
                    <a:pt x="427" y="100"/>
                  </a:lnTo>
                  <a:lnTo>
                    <a:pt x="427" y="101"/>
                  </a:lnTo>
                  <a:lnTo>
                    <a:pt x="425" y="101"/>
                  </a:lnTo>
                  <a:lnTo>
                    <a:pt x="424" y="101"/>
                  </a:lnTo>
                  <a:lnTo>
                    <a:pt x="424" y="103"/>
                  </a:lnTo>
                  <a:lnTo>
                    <a:pt x="424" y="105"/>
                  </a:lnTo>
                  <a:lnTo>
                    <a:pt x="424" y="107"/>
                  </a:lnTo>
                  <a:lnTo>
                    <a:pt x="424" y="109"/>
                  </a:lnTo>
                  <a:lnTo>
                    <a:pt x="425" y="112"/>
                  </a:lnTo>
                  <a:lnTo>
                    <a:pt x="425" y="113"/>
                  </a:lnTo>
                  <a:lnTo>
                    <a:pt x="424" y="114"/>
                  </a:lnTo>
                  <a:lnTo>
                    <a:pt x="423" y="113"/>
                  </a:lnTo>
                  <a:lnTo>
                    <a:pt x="422" y="112"/>
                  </a:lnTo>
                  <a:lnTo>
                    <a:pt x="422" y="111"/>
                  </a:lnTo>
                  <a:lnTo>
                    <a:pt x="422" y="109"/>
                  </a:lnTo>
                  <a:lnTo>
                    <a:pt x="422" y="108"/>
                  </a:lnTo>
                  <a:lnTo>
                    <a:pt x="422" y="106"/>
                  </a:lnTo>
                  <a:lnTo>
                    <a:pt x="422" y="105"/>
                  </a:lnTo>
                  <a:lnTo>
                    <a:pt x="422" y="103"/>
                  </a:lnTo>
                  <a:lnTo>
                    <a:pt x="421" y="103"/>
                  </a:lnTo>
                  <a:lnTo>
                    <a:pt x="419" y="103"/>
                  </a:lnTo>
                  <a:lnTo>
                    <a:pt x="419" y="106"/>
                  </a:lnTo>
                  <a:lnTo>
                    <a:pt x="418" y="107"/>
                  </a:lnTo>
                  <a:lnTo>
                    <a:pt x="417" y="108"/>
                  </a:lnTo>
                  <a:lnTo>
                    <a:pt x="416" y="107"/>
                  </a:lnTo>
                  <a:lnTo>
                    <a:pt x="417" y="106"/>
                  </a:lnTo>
                  <a:lnTo>
                    <a:pt x="418" y="105"/>
                  </a:lnTo>
                  <a:lnTo>
                    <a:pt x="418" y="103"/>
                  </a:lnTo>
                  <a:lnTo>
                    <a:pt x="418" y="102"/>
                  </a:lnTo>
                  <a:lnTo>
                    <a:pt x="417" y="102"/>
                  </a:lnTo>
                  <a:lnTo>
                    <a:pt x="416" y="101"/>
                  </a:lnTo>
                  <a:lnTo>
                    <a:pt x="416" y="100"/>
                  </a:lnTo>
                  <a:lnTo>
                    <a:pt x="415" y="100"/>
                  </a:lnTo>
                  <a:lnTo>
                    <a:pt x="413" y="101"/>
                  </a:lnTo>
                  <a:lnTo>
                    <a:pt x="413" y="102"/>
                  </a:lnTo>
                  <a:lnTo>
                    <a:pt x="411" y="102"/>
                  </a:lnTo>
                  <a:lnTo>
                    <a:pt x="411" y="101"/>
                  </a:lnTo>
                  <a:lnTo>
                    <a:pt x="411" y="100"/>
                  </a:lnTo>
                  <a:lnTo>
                    <a:pt x="410" y="98"/>
                  </a:lnTo>
                  <a:lnTo>
                    <a:pt x="410" y="97"/>
                  </a:lnTo>
                  <a:lnTo>
                    <a:pt x="409" y="96"/>
                  </a:lnTo>
                  <a:lnTo>
                    <a:pt x="407" y="96"/>
                  </a:lnTo>
                  <a:lnTo>
                    <a:pt x="405" y="96"/>
                  </a:lnTo>
                  <a:lnTo>
                    <a:pt x="405" y="97"/>
                  </a:lnTo>
                  <a:lnTo>
                    <a:pt x="404" y="100"/>
                  </a:lnTo>
                  <a:lnTo>
                    <a:pt x="404" y="101"/>
                  </a:lnTo>
                  <a:lnTo>
                    <a:pt x="404" y="102"/>
                  </a:lnTo>
                  <a:lnTo>
                    <a:pt x="405" y="103"/>
                  </a:lnTo>
                  <a:lnTo>
                    <a:pt x="406" y="106"/>
                  </a:lnTo>
                  <a:lnTo>
                    <a:pt x="404" y="106"/>
                  </a:lnTo>
                  <a:lnTo>
                    <a:pt x="403" y="107"/>
                  </a:lnTo>
                  <a:lnTo>
                    <a:pt x="403" y="109"/>
                  </a:lnTo>
                  <a:lnTo>
                    <a:pt x="404" y="109"/>
                  </a:lnTo>
                  <a:lnTo>
                    <a:pt x="405" y="111"/>
                  </a:lnTo>
                  <a:lnTo>
                    <a:pt x="406" y="111"/>
                  </a:lnTo>
                  <a:lnTo>
                    <a:pt x="406" y="112"/>
                  </a:lnTo>
                  <a:lnTo>
                    <a:pt x="406" y="113"/>
                  </a:lnTo>
                  <a:lnTo>
                    <a:pt x="407" y="113"/>
                  </a:lnTo>
                  <a:lnTo>
                    <a:pt x="409" y="112"/>
                  </a:lnTo>
                  <a:lnTo>
                    <a:pt x="410" y="113"/>
                  </a:lnTo>
                  <a:lnTo>
                    <a:pt x="410" y="115"/>
                  </a:lnTo>
                  <a:lnTo>
                    <a:pt x="412" y="115"/>
                  </a:lnTo>
                  <a:lnTo>
                    <a:pt x="411" y="118"/>
                  </a:lnTo>
                  <a:lnTo>
                    <a:pt x="411" y="119"/>
                  </a:lnTo>
                  <a:lnTo>
                    <a:pt x="412" y="119"/>
                  </a:lnTo>
                  <a:lnTo>
                    <a:pt x="413" y="120"/>
                  </a:lnTo>
                  <a:lnTo>
                    <a:pt x="415" y="120"/>
                  </a:lnTo>
                  <a:lnTo>
                    <a:pt x="413" y="123"/>
                  </a:lnTo>
                  <a:lnTo>
                    <a:pt x="415" y="124"/>
                  </a:lnTo>
                  <a:lnTo>
                    <a:pt x="416" y="124"/>
                  </a:lnTo>
                  <a:lnTo>
                    <a:pt x="417" y="123"/>
                  </a:lnTo>
                  <a:lnTo>
                    <a:pt x="419" y="123"/>
                  </a:lnTo>
                  <a:lnTo>
                    <a:pt x="418" y="124"/>
                  </a:lnTo>
                  <a:lnTo>
                    <a:pt x="418" y="126"/>
                  </a:lnTo>
                  <a:lnTo>
                    <a:pt x="418" y="127"/>
                  </a:lnTo>
                  <a:lnTo>
                    <a:pt x="417" y="126"/>
                  </a:lnTo>
                  <a:lnTo>
                    <a:pt x="416" y="126"/>
                  </a:lnTo>
                  <a:lnTo>
                    <a:pt x="415" y="126"/>
                  </a:lnTo>
                  <a:lnTo>
                    <a:pt x="413" y="126"/>
                  </a:lnTo>
                  <a:lnTo>
                    <a:pt x="412" y="125"/>
                  </a:lnTo>
                  <a:lnTo>
                    <a:pt x="412" y="123"/>
                  </a:lnTo>
                  <a:lnTo>
                    <a:pt x="411" y="121"/>
                  </a:lnTo>
                  <a:lnTo>
                    <a:pt x="410" y="120"/>
                  </a:lnTo>
                  <a:lnTo>
                    <a:pt x="409" y="119"/>
                  </a:lnTo>
                  <a:lnTo>
                    <a:pt x="409" y="118"/>
                  </a:lnTo>
                  <a:lnTo>
                    <a:pt x="409" y="117"/>
                  </a:lnTo>
                  <a:lnTo>
                    <a:pt x="407" y="115"/>
                  </a:lnTo>
                  <a:lnTo>
                    <a:pt x="407" y="114"/>
                  </a:lnTo>
                  <a:lnTo>
                    <a:pt x="406" y="114"/>
                  </a:lnTo>
                  <a:lnTo>
                    <a:pt x="405" y="115"/>
                  </a:lnTo>
                  <a:lnTo>
                    <a:pt x="405" y="117"/>
                  </a:lnTo>
                  <a:lnTo>
                    <a:pt x="404" y="117"/>
                  </a:lnTo>
                  <a:lnTo>
                    <a:pt x="404" y="118"/>
                  </a:lnTo>
                  <a:lnTo>
                    <a:pt x="406" y="120"/>
                  </a:lnTo>
                  <a:lnTo>
                    <a:pt x="406" y="121"/>
                  </a:lnTo>
                  <a:lnTo>
                    <a:pt x="406" y="123"/>
                  </a:lnTo>
                  <a:lnTo>
                    <a:pt x="409" y="124"/>
                  </a:lnTo>
                  <a:lnTo>
                    <a:pt x="407" y="125"/>
                  </a:lnTo>
                  <a:lnTo>
                    <a:pt x="406" y="125"/>
                  </a:lnTo>
                  <a:lnTo>
                    <a:pt x="405" y="125"/>
                  </a:lnTo>
                  <a:lnTo>
                    <a:pt x="404" y="124"/>
                  </a:lnTo>
                  <a:lnTo>
                    <a:pt x="404" y="123"/>
                  </a:lnTo>
                  <a:lnTo>
                    <a:pt x="404" y="120"/>
                  </a:lnTo>
                  <a:lnTo>
                    <a:pt x="404" y="119"/>
                  </a:lnTo>
                  <a:lnTo>
                    <a:pt x="403" y="117"/>
                  </a:lnTo>
                  <a:lnTo>
                    <a:pt x="403" y="114"/>
                  </a:lnTo>
                  <a:lnTo>
                    <a:pt x="404" y="113"/>
                  </a:lnTo>
                  <a:lnTo>
                    <a:pt x="403" y="112"/>
                  </a:lnTo>
                  <a:lnTo>
                    <a:pt x="401" y="111"/>
                  </a:lnTo>
                  <a:lnTo>
                    <a:pt x="400" y="109"/>
                  </a:lnTo>
                  <a:lnTo>
                    <a:pt x="399" y="111"/>
                  </a:lnTo>
                  <a:lnTo>
                    <a:pt x="399" y="112"/>
                  </a:lnTo>
                  <a:lnTo>
                    <a:pt x="398" y="112"/>
                  </a:lnTo>
                  <a:lnTo>
                    <a:pt x="398" y="113"/>
                  </a:lnTo>
                  <a:lnTo>
                    <a:pt x="399" y="115"/>
                  </a:lnTo>
                  <a:lnTo>
                    <a:pt x="400" y="117"/>
                  </a:lnTo>
                  <a:lnTo>
                    <a:pt x="400" y="118"/>
                  </a:lnTo>
                  <a:lnTo>
                    <a:pt x="399" y="120"/>
                  </a:lnTo>
                  <a:lnTo>
                    <a:pt x="399" y="123"/>
                  </a:lnTo>
                  <a:lnTo>
                    <a:pt x="399" y="125"/>
                  </a:lnTo>
                  <a:lnTo>
                    <a:pt x="398" y="125"/>
                  </a:lnTo>
                  <a:lnTo>
                    <a:pt x="397" y="124"/>
                  </a:lnTo>
                  <a:lnTo>
                    <a:pt x="397" y="123"/>
                  </a:lnTo>
                  <a:lnTo>
                    <a:pt x="395" y="121"/>
                  </a:lnTo>
                  <a:lnTo>
                    <a:pt x="395" y="120"/>
                  </a:lnTo>
                  <a:lnTo>
                    <a:pt x="397" y="118"/>
                  </a:lnTo>
                  <a:lnTo>
                    <a:pt x="395" y="118"/>
                  </a:lnTo>
                  <a:lnTo>
                    <a:pt x="393" y="117"/>
                  </a:lnTo>
                  <a:lnTo>
                    <a:pt x="392" y="117"/>
                  </a:lnTo>
                  <a:lnTo>
                    <a:pt x="391" y="118"/>
                  </a:lnTo>
                  <a:lnTo>
                    <a:pt x="391" y="119"/>
                  </a:lnTo>
                  <a:lnTo>
                    <a:pt x="391" y="120"/>
                  </a:lnTo>
                  <a:lnTo>
                    <a:pt x="392" y="123"/>
                  </a:lnTo>
                  <a:lnTo>
                    <a:pt x="393" y="124"/>
                  </a:lnTo>
                  <a:lnTo>
                    <a:pt x="392" y="124"/>
                  </a:lnTo>
                  <a:lnTo>
                    <a:pt x="391" y="121"/>
                  </a:lnTo>
                  <a:lnTo>
                    <a:pt x="391" y="120"/>
                  </a:lnTo>
                  <a:lnTo>
                    <a:pt x="391" y="119"/>
                  </a:lnTo>
                  <a:lnTo>
                    <a:pt x="389" y="118"/>
                  </a:lnTo>
                  <a:lnTo>
                    <a:pt x="388" y="118"/>
                  </a:lnTo>
                  <a:lnTo>
                    <a:pt x="386" y="119"/>
                  </a:lnTo>
                  <a:lnTo>
                    <a:pt x="385" y="119"/>
                  </a:lnTo>
                  <a:lnTo>
                    <a:pt x="385" y="117"/>
                  </a:lnTo>
                  <a:lnTo>
                    <a:pt x="385" y="115"/>
                  </a:lnTo>
                  <a:lnTo>
                    <a:pt x="386" y="114"/>
                  </a:lnTo>
                  <a:lnTo>
                    <a:pt x="387" y="113"/>
                  </a:lnTo>
                  <a:lnTo>
                    <a:pt x="387" y="112"/>
                  </a:lnTo>
                  <a:lnTo>
                    <a:pt x="388" y="112"/>
                  </a:lnTo>
                  <a:lnTo>
                    <a:pt x="388" y="111"/>
                  </a:lnTo>
                  <a:lnTo>
                    <a:pt x="389" y="109"/>
                  </a:lnTo>
                  <a:lnTo>
                    <a:pt x="389" y="108"/>
                  </a:lnTo>
                  <a:lnTo>
                    <a:pt x="388" y="107"/>
                  </a:lnTo>
                  <a:lnTo>
                    <a:pt x="387" y="106"/>
                  </a:lnTo>
                  <a:lnTo>
                    <a:pt x="385" y="107"/>
                  </a:lnTo>
                  <a:lnTo>
                    <a:pt x="383" y="107"/>
                  </a:lnTo>
                  <a:lnTo>
                    <a:pt x="382" y="107"/>
                  </a:lnTo>
                  <a:lnTo>
                    <a:pt x="383" y="106"/>
                  </a:lnTo>
                  <a:lnTo>
                    <a:pt x="385" y="105"/>
                  </a:lnTo>
                  <a:lnTo>
                    <a:pt x="387" y="105"/>
                  </a:lnTo>
                  <a:lnTo>
                    <a:pt x="388" y="103"/>
                  </a:lnTo>
                  <a:lnTo>
                    <a:pt x="389" y="103"/>
                  </a:lnTo>
                  <a:lnTo>
                    <a:pt x="389" y="105"/>
                  </a:lnTo>
                  <a:lnTo>
                    <a:pt x="389" y="106"/>
                  </a:lnTo>
                  <a:lnTo>
                    <a:pt x="391" y="106"/>
                  </a:lnTo>
                  <a:lnTo>
                    <a:pt x="392" y="105"/>
                  </a:lnTo>
                  <a:lnTo>
                    <a:pt x="393" y="103"/>
                  </a:lnTo>
                  <a:lnTo>
                    <a:pt x="394" y="103"/>
                  </a:lnTo>
                  <a:lnTo>
                    <a:pt x="397" y="102"/>
                  </a:lnTo>
                  <a:lnTo>
                    <a:pt x="397" y="100"/>
                  </a:lnTo>
                  <a:lnTo>
                    <a:pt x="395" y="100"/>
                  </a:lnTo>
                  <a:lnTo>
                    <a:pt x="394" y="98"/>
                  </a:lnTo>
                  <a:lnTo>
                    <a:pt x="393" y="98"/>
                  </a:lnTo>
                  <a:lnTo>
                    <a:pt x="393" y="100"/>
                  </a:lnTo>
                  <a:lnTo>
                    <a:pt x="391" y="100"/>
                  </a:lnTo>
                  <a:lnTo>
                    <a:pt x="389" y="97"/>
                  </a:lnTo>
                  <a:lnTo>
                    <a:pt x="389" y="96"/>
                  </a:lnTo>
                  <a:lnTo>
                    <a:pt x="388" y="96"/>
                  </a:lnTo>
                  <a:lnTo>
                    <a:pt x="387" y="97"/>
                  </a:lnTo>
                  <a:lnTo>
                    <a:pt x="386" y="97"/>
                  </a:lnTo>
                  <a:lnTo>
                    <a:pt x="386" y="96"/>
                  </a:lnTo>
                  <a:lnTo>
                    <a:pt x="388" y="94"/>
                  </a:lnTo>
                  <a:lnTo>
                    <a:pt x="389" y="92"/>
                  </a:lnTo>
                  <a:lnTo>
                    <a:pt x="392" y="92"/>
                  </a:lnTo>
                  <a:lnTo>
                    <a:pt x="393" y="90"/>
                  </a:lnTo>
                  <a:lnTo>
                    <a:pt x="395" y="89"/>
                  </a:lnTo>
                  <a:lnTo>
                    <a:pt x="398" y="89"/>
                  </a:lnTo>
                  <a:lnTo>
                    <a:pt x="399" y="89"/>
                  </a:lnTo>
                  <a:lnTo>
                    <a:pt x="400" y="89"/>
                  </a:lnTo>
                  <a:lnTo>
                    <a:pt x="401" y="88"/>
                  </a:lnTo>
                  <a:lnTo>
                    <a:pt x="401" y="86"/>
                  </a:lnTo>
                  <a:lnTo>
                    <a:pt x="403" y="88"/>
                  </a:lnTo>
                  <a:lnTo>
                    <a:pt x="404" y="89"/>
                  </a:lnTo>
                  <a:lnTo>
                    <a:pt x="405" y="89"/>
                  </a:lnTo>
                  <a:lnTo>
                    <a:pt x="406" y="88"/>
                  </a:lnTo>
                  <a:lnTo>
                    <a:pt x="406" y="85"/>
                  </a:lnTo>
                  <a:lnTo>
                    <a:pt x="407" y="88"/>
                  </a:lnTo>
                  <a:lnTo>
                    <a:pt x="410" y="88"/>
                  </a:lnTo>
                  <a:lnTo>
                    <a:pt x="412" y="88"/>
                  </a:lnTo>
                  <a:lnTo>
                    <a:pt x="413" y="86"/>
                  </a:lnTo>
                  <a:lnTo>
                    <a:pt x="415" y="85"/>
                  </a:lnTo>
                  <a:lnTo>
                    <a:pt x="416" y="84"/>
                  </a:lnTo>
                  <a:lnTo>
                    <a:pt x="416" y="83"/>
                  </a:lnTo>
                  <a:lnTo>
                    <a:pt x="416" y="82"/>
                  </a:lnTo>
                  <a:lnTo>
                    <a:pt x="416" y="80"/>
                  </a:lnTo>
                  <a:lnTo>
                    <a:pt x="416" y="79"/>
                  </a:lnTo>
                  <a:lnTo>
                    <a:pt x="416" y="77"/>
                  </a:lnTo>
                  <a:lnTo>
                    <a:pt x="415" y="77"/>
                  </a:lnTo>
                  <a:lnTo>
                    <a:pt x="412" y="77"/>
                  </a:lnTo>
                  <a:lnTo>
                    <a:pt x="410" y="78"/>
                  </a:lnTo>
                  <a:lnTo>
                    <a:pt x="410" y="80"/>
                  </a:lnTo>
                  <a:lnTo>
                    <a:pt x="409" y="82"/>
                  </a:lnTo>
                  <a:lnTo>
                    <a:pt x="407" y="83"/>
                  </a:lnTo>
                  <a:lnTo>
                    <a:pt x="406" y="82"/>
                  </a:lnTo>
                  <a:lnTo>
                    <a:pt x="407" y="80"/>
                  </a:lnTo>
                  <a:lnTo>
                    <a:pt x="409" y="79"/>
                  </a:lnTo>
                  <a:lnTo>
                    <a:pt x="409" y="78"/>
                  </a:lnTo>
                  <a:lnTo>
                    <a:pt x="407" y="77"/>
                  </a:lnTo>
                  <a:lnTo>
                    <a:pt x="406" y="78"/>
                  </a:lnTo>
                  <a:lnTo>
                    <a:pt x="405" y="76"/>
                  </a:lnTo>
                  <a:lnTo>
                    <a:pt x="404" y="77"/>
                  </a:lnTo>
                  <a:lnTo>
                    <a:pt x="404" y="79"/>
                  </a:lnTo>
                  <a:lnTo>
                    <a:pt x="401" y="80"/>
                  </a:lnTo>
                  <a:lnTo>
                    <a:pt x="400" y="80"/>
                  </a:lnTo>
                  <a:lnTo>
                    <a:pt x="398" y="80"/>
                  </a:lnTo>
                  <a:lnTo>
                    <a:pt x="397" y="80"/>
                  </a:lnTo>
                  <a:lnTo>
                    <a:pt x="400" y="78"/>
                  </a:lnTo>
                  <a:lnTo>
                    <a:pt x="401" y="77"/>
                  </a:lnTo>
                  <a:lnTo>
                    <a:pt x="401" y="76"/>
                  </a:lnTo>
                  <a:lnTo>
                    <a:pt x="401" y="74"/>
                  </a:lnTo>
                  <a:lnTo>
                    <a:pt x="403" y="72"/>
                  </a:lnTo>
                  <a:lnTo>
                    <a:pt x="403" y="71"/>
                  </a:lnTo>
                  <a:lnTo>
                    <a:pt x="401" y="68"/>
                  </a:lnTo>
                  <a:lnTo>
                    <a:pt x="400" y="70"/>
                  </a:lnTo>
                  <a:lnTo>
                    <a:pt x="399" y="68"/>
                  </a:lnTo>
                  <a:lnTo>
                    <a:pt x="398" y="70"/>
                  </a:lnTo>
                  <a:lnTo>
                    <a:pt x="398" y="71"/>
                  </a:lnTo>
                  <a:lnTo>
                    <a:pt x="397" y="72"/>
                  </a:lnTo>
                  <a:lnTo>
                    <a:pt x="397" y="73"/>
                  </a:lnTo>
                  <a:lnTo>
                    <a:pt x="395" y="73"/>
                  </a:lnTo>
                  <a:lnTo>
                    <a:pt x="395" y="74"/>
                  </a:lnTo>
                  <a:lnTo>
                    <a:pt x="395" y="77"/>
                  </a:lnTo>
                  <a:lnTo>
                    <a:pt x="394" y="77"/>
                  </a:lnTo>
                  <a:lnTo>
                    <a:pt x="393" y="78"/>
                  </a:lnTo>
                  <a:lnTo>
                    <a:pt x="393" y="79"/>
                  </a:lnTo>
                  <a:lnTo>
                    <a:pt x="391" y="80"/>
                  </a:lnTo>
                  <a:lnTo>
                    <a:pt x="391" y="78"/>
                  </a:lnTo>
                  <a:lnTo>
                    <a:pt x="392" y="76"/>
                  </a:lnTo>
                  <a:lnTo>
                    <a:pt x="393" y="74"/>
                  </a:lnTo>
                  <a:lnTo>
                    <a:pt x="394" y="71"/>
                  </a:lnTo>
                  <a:lnTo>
                    <a:pt x="394" y="68"/>
                  </a:lnTo>
                  <a:lnTo>
                    <a:pt x="393" y="68"/>
                  </a:lnTo>
                  <a:lnTo>
                    <a:pt x="391" y="68"/>
                  </a:lnTo>
                  <a:lnTo>
                    <a:pt x="391" y="70"/>
                  </a:lnTo>
                  <a:lnTo>
                    <a:pt x="389" y="71"/>
                  </a:lnTo>
                  <a:lnTo>
                    <a:pt x="388" y="71"/>
                  </a:lnTo>
                  <a:lnTo>
                    <a:pt x="386" y="71"/>
                  </a:lnTo>
                  <a:lnTo>
                    <a:pt x="385" y="71"/>
                  </a:lnTo>
                  <a:lnTo>
                    <a:pt x="382" y="73"/>
                  </a:lnTo>
                  <a:lnTo>
                    <a:pt x="380" y="74"/>
                  </a:lnTo>
                  <a:lnTo>
                    <a:pt x="379" y="74"/>
                  </a:lnTo>
                  <a:lnTo>
                    <a:pt x="379" y="72"/>
                  </a:lnTo>
                  <a:lnTo>
                    <a:pt x="377" y="71"/>
                  </a:lnTo>
                  <a:lnTo>
                    <a:pt x="375" y="71"/>
                  </a:lnTo>
                  <a:lnTo>
                    <a:pt x="377" y="68"/>
                  </a:lnTo>
                  <a:lnTo>
                    <a:pt x="379" y="67"/>
                  </a:lnTo>
                  <a:lnTo>
                    <a:pt x="376" y="65"/>
                  </a:lnTo>
                  <a:lnTo>
                    <a:pt x="374" y="64"/>
                  </a:lnTo>
                  <a:lnTo>
                    <a:pt x="372" y="65"/>
                  </a:lnTo>
                  <a:lnTo>
                    <a:pt x="371" y="67"/>
                  </a:lnTo>
                  <a:lnTo>
                    <a:pt x="370" y="70"/>
                  </a:lnTo>
                  <a:lnTo>
                    <a:pt x="368" y="71"/>
                  </a:lnTo>
                  <a:lnTo>
                    <a:pt x="364" y="72"/>
                  </a:lnTo>
                  <a:lnTo>
                    <a:pt x="362" y="71"/>
                  </a:lnTo>
                  <a:lnTo>
                    <a:pt x="362" y="70"/>
                  </a:lnTo>
                  <a:lnTo>
                    <a:pt x="362" y="67"/>
                  </a:lnTo>
                  <a:lnTo>
                    <a:pt x="363" y="66"/>
                  </a:lnTo>
                  <a:lnTo>
                    <a:pt x="364" y="64"/>
                  </a:lnTo>
                  <a:lnTo>
                    <a:pt x="364" y="61"/>
                  </a:lnTo>
                  <a:lnTo>
                    <a:pt x="362" y="59"/>
                  </a:lnTo>
                  <a:lnTo>
                    <a:pt x="362" y="58"/>
                  </a:lnTo>
                  <a:lnTo>
                    <a:pt x="360" y="55"/>
                  </a:lnTo>
                  <a:lnTo>
                    <a:pt x="359" y="55"/>
                  </a:lnTo>
                  <a:lnTo>
                    <a:pt x="358" y="55"/>
                  </a:lnTo>
                  <a:lnTo>
                    <a:pt x="357" y="56"/>
                  </a:lnTo>
                  <a:lnTo>
                    <a:pt x="354" y="58"/>
                  </a:lnTo>
                  <a:lnTo>
                    <a:pt x="353" y="58"/>
                  </a:lnTo>
                  <a:lnTo>
                    <a:pt x="351" y="58"/>
                  </a:lnTo>
                  <a:lnTo>
                    <a:pt x="351" y="59"/>
                  </a:lnTo>
                  <a:lnTo>
                    <a:pt x="347" y="60"/>
                  </a:lnTo>
                  <a:lnTo>
                    <a:pt x="347" y="58"/>
                  </a:lnTo>
                  <a:lnTo>
                    <a:pt x="348" y="56"/>
                  </a:lnTo>
                  <a:lnTo>
                    <a:pt x="347" y="54"/>
                  </a:lnTo>
                  <a:lnTo>
                    <a:pt x="345" y="54"/>
                  </a:lnTo>
                  <a:lnTo>
                    <a:pt x="344" y="55"/>
                  </a:lnTo>
                  <a:lnTo>
                    <a:pt x="342" y="56"/>
                  </a:lnTo>
                  <a:lnTo>
                    <a:pt x="342" y="59"/>
                  </a:lnTo>
                  <a:lnTo>
                    <a:pt x="340" y="58"/>
                  </a:lnTo>
                  <a:lnTo>
                    <a:pt x="339" y="56"/>
                  </a:lnTo>
                  <a:lnTo>
                    <a:pt x="338" y="55"/>
                  </a:lnTo>
                  <a:lnTo>
                    <a:pt x="336" y="55"/>
                  </a:lnTo>
                  <a:lnTo>
                    <a:pt x="334" y="54"/>
                  </a:lnTo>
                  <a:lnTo>
                    <a:pt x="334" y="56"/>
                  </a:lnTo>
                  <a:lnTo>
                    <a:pt x="333" y="58"/>
                  </a:lnTo>
                  <a:lnTo>
                    <a:pt x="333" y="56"/>
                  </a:lnTo>
                  <a:lnTo>
                    <a:pt x="330" y="55"/>
                  </a:lnTo>
                  <a:lnTo>
                    <a:pt x="329" y="55"/>
                  </a:lnTo>
                  <a:lnTo>
                    <a:pt x="327" y="55"/>
                  </a:lnTo>
                  <a:lnTo>
                    <a:pt x="327" y="54"/>
                  </a:lnTo>
                  <a:lnTo>
                    <a:pt x="327" y="53"/>
                  </a:lnTo>
                  <a:lnTo>
                    <a:pt x="329" y="53"/>
                  </a:lnTo>
                  <a:lnTo>
                    <a:pt x="330" y="53"/>
                  </a:lnTo>
                  <a:lnTo>
                    <a:pt x="332" y="53"/>
                  </a:lnTo>
                  <a:lnTo>
                    <a:pt x="333" y="53"/>
                  </a:lnTo>
                  <a:lnTo>
                    <a:pt x="335" y="52"/>
                  </a:lnTo>
                  <a:lnTo>
                    <a:pt x="336" y="52"/>
                  </a:lnTo>
                  <a:lnTo>
                    <a:pt x="338" y="52"/>
                  </a:lnTo>
                  <a:lnTo>
                    <a:pt x="339" y="52"/>
                  </a:lnTo>
                  <a:lnTo>
                    <a:pt x="341" y="52"/>
                  </a:lnTo>
                  <a:lnTo>
                    <a:pt x="342" y="52"/>
                  </a:lnTo>
                  <a:lnTo>
                    <a:pt x="346" y="52"/>
                  </a:lnTo>
                  <a:lnTo>
                    <a:pt x="347" y="52"/>
                  </a:lnTo>
                  <a:lnTo>
                    <a:pt x="348" y="50"/>
                  </a:lnTo>
                  <a:lnTo>
                    <a:pt x="350" y="49"/>
                  </a:lnTo>
                  <a:lnTo>
                    <a:pt x="351" y="48"/>
                  </a:lnTo>
                  <a:lnTo>
                    <a:pt x="350" y="46"/>
                  </a:lnTo>
                  <a:lnTo>
                    <a:pt x="348" y="46"/>
                  </a:lnTo>
                  <a:lnTo>
                    <a:pt x="347" y="44"/>
                  </a:lnTo>
                  <a:lnTo>
                    <a:pt x="346" y="46"/>
                  </a:lnTo>
                  <a:lnTo>
                    <a:pt x="345" y="47"/>
                  </a:lnTo>
                  <a:lnTo>
                    <a:pt x="344" y="48"/>
                  </a:lnTo>
                  <a:lnTo>
                    <a:pt x="342" y="48"/>
                  </a:lnTo>
                  <a:lnTo>
                    <a:pt x="341" y="47"/>
                  </a:lnTo>
                  <a:lnTo>
                    <a:pt x="344" y="46"/>
                  </a:lnTo>
                  <a:lnTo>
                    <a:pt x="342" y="44"/>
                  </a:lnTo>
                  <a:lnTo>
                    <a:pt x="342" y="43"/>
                  </a:lnTo>
                  <a:lnTo>
                    <a:pt x="342" y="41"/>
                  </a:lnTo>
                  <a:lnTo>
                    <a:pt x="344" y="42"/>
                  </a:lnTo>
                  <a:lnTo>
                    <a:pt x="345" y="43"/>
                  </a:lnTo>
                  <a:lnTo>
                    <a:pt x="347" y="43"/>
                  </a:lnTo>
                  <a:lnTo>
                    <a:pt x="348" y="42"/>
                  </a:lnTo>
                  <a:lnTo>
                    <a:pt x="350" y="40"/>
                  </a:lnTo>
                  <a:lnTo>
                    <a:pt x="351" y="41"/>
                  </a:lnTo>
                  <a:lnTo>
                    <a:pt x="352" y="42"/>
                  </a:lnTo>
                  <a:lnTo>
                    <a:pt x="353" y="42"/>
                  </a:lnTo>
                  <a:lnTo>
                    <a:pt x="354" y="41"/>
                  </a:lnTo>
                  <a:lnTo>
                    <a:pt x="357" y="40"/>
                  </a:lnTo>
                  <a:lnTo>
                    <a:pt x="357" y="38"/>
                  </a:lnTo>
                  <a:lnTo>
                    <a:pt x="359" y="36"/>
                  </a:lnTo>
                  <a:lnTo>
                    <a:pt x="359" y="34"/>
                  </a:lnTo>
                  <a:lnTo>
                    <a:pt x="359" y="32"/>
                  </a:lnTo>
                  <a:lnTo>
                    <a:pt x="357" y="31"/>
                  </a:lnTo>
                  <a:lnTo>
                    <a:pt x="354" y="31"/>
                  </a:lnTo>
                  <a:lnTo>
                    <a:pt x="354" y="34"/>
                  </a:lnTo>
                  <a:lnTo>
                    <a:pt x="353" y="35"/>
                  </a:lnTo>
                  <a:lnTo>
                    <a:pt x="352" y="35"/>
                  </a:lnTo>
                  <a:lnTo>
                    <a:pt x="352" y="32"/>
                  </a:lnTo>
                  <a:lnTo>
                    <a:pt x="352" y="30"/>
                  </a:lnTo>
                  <a:lnTo>
                    <a:pt x="353" y="28"/>
                  </a:lnTo>
                  <a:lnTo>
                    <a:pt x="356" y="25"/>
                  </a:lnTo>
                  <a:lnTo>
                    <a:pt x="356" y="23"/>
                  </a:lnTo>
                  <a:lnTo>
                    <a:pt x="354" y="20"/>
                  </a:lnTo>
                  <a:lnTo>
                    <a:pt x="352" y="20"/>
                  </a:lnTo>
                  <a:lnTo>
                    <a:pt x="351" y="20"/>
                  </a:lnTo>
                  <a:lnTo>
                    <a:pt x="347" y="23"/>
                  </a:lnTo>
                  <a:lnTo>
                    <a:pt x="347" y="24"/>
                  </a:lnTo>
                  <a:lnTo>
                    <a:pt x="347" y="26"/>
                  </a:lnTo>
                  <a:lnTo>
                    <a:pt x="347" y="29"/>
                  </a:lnTo>
                  <a:lnTo>
                    <a:pt x="346" y="29"/>
                  </a:lnTo>
                  <a:lnTo>
                    <a:pt x="345" y="28"/>
                  </a:lnTo>
                  <a:lnTo>
                    <a:pt x="345" y="26"/>
                  </a:lnTo>
                  <a:lnTo>
                    <a:pt x="345" y="24"/>
                  </a:lnTo>
                  <a:lnTo>
                    <a:pt x="345" y="23"/>
                  </a:lnTo>
                  <a:lnTo>
                    <a:pt x="344" y="20"/>
                  </a:lnTo>
                  <a:lnTo>
                    <a:pt x="342" y="20"/>
                  </a:lnTo>
                  <a:lnTo>
                    <a:pt x="341" y="22"/>
                  </a:lnTo>
                  <a:lnTo>
                    <a:pt x="340" y="24"/>
                  </a:lnTo>
                  <a:lnTo>
                    <a:pt x="339" y="25"/>
                  </a:lnTo>
                  <a:lnTo>
                    <a:pt x="338" y="26"/>
                  </a:lnTo>
                  <a:lnTo>
                    <a:pt x="336" y="26"/>
                  </a:lnTo>
                  <a:lnTo>
                    <a:pt x="334" y="28"/>
                  </a:lnTo>
                  <a:lnTo>
                    <a:pt x="332" y="29"/>
                  </a:lnTo>
                  <a:lnTo>
                    <a:pt x="330" y="29"/>
                  </a:lnTo>
                  <a:lnTo>
                    <a:pt x="330" y="30"/>
                  </a:lnTo>
                  <a:lnTo>
                    <a:pt x="330" y="31"/>
                  </a:lnTo>
                  <a:lnTo>
                    <a:pt x="332" y="32"/>
                  </a:lnTo>
                  <a:lnTo>
                    <a:pt x="330" y="34"/>
                  </a:lnTo>
                  <a:lnTo>
                    <a:pt x="329" y="35"/>
                  </a:lnTo>
                  <a:lnTo>
                    <a:pt x="328" y="34"/>
                  </a:lnTo>
                  <a:lnTo>
                    <a:pt x="327" y="32"/>
                  </a:lnTo>
                  <a:lnTo>
                    <a:pt x="326" y="30"/>
                  </a:lnTo>
                  <a:lnTo>
                    <a:pt x="326" y="29"/>
                  </a:lnTo>
                  <a:lnTo>
                    <a:pt x="324" y="26"/>
                  </a:lnTo>
                  <a:lnTo>
                    <a:pt x="323" y="24"/>
                  </a:lnTo>
                  <a:lnTo>
                    <a:pt x="322" y="24"/>
                  </a:lnTo>
                  <a:lnTo>
                    <a:pt x="321" y="24"/>
                  </a:lnTo>
                  <a:lnTo>
                    <a:pt x="320" y="24"/>
                  </a:lnTo>
                  <a:lnTo>
                    <a:pt x="318" y="25"/>
                  </a:lnTo>
                  <a:lnTo>
                    <a:pt x="317" y="28"/>
                  </a:lnTo>
                  <a:lnTo>
                    <a:pt x="316" y="28"/>
                  </a:lnTo>
                  <a:lnTo>
                    <a:pt x="316" y="25"/>
                  </a:lnTo>
                  <a:lnTo>
                    <a:pt x="316" y="23"/>
                  </a:lnTo>
                  <a:lnTo>
                    <a:pt x="316" y="20"/>
                  </a:lnTo>
                  <a:lnTo>
                    <a:pt x="317" y="19"/>
                  </a:lnTo>
                  <a:lnTo>
                    <a:pt x="316" y="17"/>
                  </a:lnTo>
                  <a:lnTo>
                    <a:pt x="315" y="14"/>
                  </a:lnTo>
                  <a:lnTo>
                    <a:pt x="314" y="13"/>
                  </a:lnTo>
                  <a:lnTo>
                    <a:pt x="311" y="13"/>
                  </a:lnTo>
                  <a:lnTo>
                    <a:pt x="310" y="14"/>
                  </a:lnTo>
                  <a:lnTo>
                    <a:pt x="310" y="17"/>
                  </a:lnTo>
                  <a:lnTo>
                    <a:pt x="309" y="19"/>
                  </a:lnTo>
                  <a:lnTo>
                    <a:pt x="309" y="22"/>
                  </a:lnTo>
                  <a:lnTo>
                    <a:pt x="307" y="23"/>
                  </a:lnTo>
                  <a:lnTo>
                    <a:pt x="306" y="22"/>
                  </a:lnTo>
                  <a:lnTo>
                    <a:pt x="306" y="20"/>
                  </a:lnTo>
                  <a:lnTo>
                    <a:pt x="305" y="18"/>
                  </a:lnTo>
                  <a:lnTo>
                    <a:pt x="305" y="17"/>
                  </a:lnTo>
                  <a:lnTo>
                    <a:pt x="304" y="16"/>
                  </a:lnTo>
                  <a:lnTo>
                    <a:pt x="303" y="14"/>
                  </a:lnTo>
                  <a:lnTo>
                    <a:pt x="304" y="13"/>
                  </a:lnTo>
                  <a:lnTo>
                    <a:pt x="305" y="11"/>
                  </a:lnTo>
                  <a:lnTo>
                    <a:pt x="304" y="10"/>
                  </a:lnTo>
                  <a:lnTo>
                    <a:pt x="300" y="8"/>
                  </a:lnTo>
                  <a:lnTo>
                    <a:pt x="299" y="8"/>
                  </a:lnTo>
                  <a:lnTo>
                    <a:pt x="298" y="10"/>
                  </a:lnTo>
                  <a:lnTo>
                    <a:pt x="297" y="12"/>
                  </a:lnTo>
                  <a:lnTo>
                    <a:pt x="295" y="14"/>
                  </a:lnTo>
                  <a:lnTo>
                    <a:pt x="293" y="16"/>
                  </a:lnTo>
                  <a:lnTo>
                    <a:pt x="293" y="17"/>
                  </a:lnTo>
                  <a:lnTo>
                    <a:pt x="292" y="19"/>
                  </a:lnTo>
                  <a:lnTo>
                    <a:pt x="293" y="20"/>
                  </a:lnTo>
                  <a:lnTo>
                    <a:pt x="295" y="22"/>
                  </a:lnTo>
                  <a:lnTo>
                    <a:pt x="297" y="23"/>
                  </a:lnTo>
                  <a:lnTo>
                    <a:pt x="299" y="24"/>
                  </a:lnTo>
                  <a:lnTo>
                    <a:pt x="299" y="25"/>
                  </a:lnTo>
                  <a:lnTo>
                    <a:pt x="298" y="26"/>
                  </a:lnTo>
                  <a:lnTo>
                    <a:pt x="297" y="26"/>
                  </a:lnTo>
                  <a:lnTo>
                    <a:pt x="295" y="28"/>
                  </a:lnTo>
                  <a:lnTo>
                    <a:pt x="297" y="29"/>
                  </a:lnTo>
                  <a:lnTo>
                    <a:pt x="297" y="30"/>
                  </a:lnTo>
                  <a:lnTo>
                    <a:pt x="295" y="30"/>
                  </a:lnTo>
                  <a:lnTo>
                    <a:pt x="295" y="29"/>
                  </a:lnTo>
                  <a:lnTo>
                    <a:pt x="294" y="28"/>
                  </a:lnTo>
                  <a:lnTo>
                    <a:pt x="293" y="25"/>
                  </a:lnTo>
                  <a:lnTo>
                    <a:pt x="292" y="24"/>
                  </a:lnTo>
                  <a:lnTo>
                    <a:pt x="291" y="24"/>
                  </a:lnTo>
                  <a:lnTo>
                    <a:pt x="289" y="23"/>
                  </a:lnTo>
                  <a:lnTo>
                    <a:pt x="288" y="20"/>
                  </a:lnTo>
                  <a:lnTo>
                    <a:pt x="287" y="20"/>
                  </a:lnTo>
                  <a:lnTo>
                    <a:pt x="286" y="22"/>
                  </a:lnTo>
                  <a:lnTo>
                    <a:pt x="285" y="22"/>
                  </a:lnTo>
                  <a:lnTo>
                    <a:pt x="282" y="22"/>
                  </a:lnTo>
                  <a:lnTo>
                    <a:pt x="282" y="24"/>
                  </a:lnTo>
                  <a:lnTo>
                    <a:pt x="283" y="25"/>
                  </a:lnTo>
                  <a:lnTo>
                    <a:pt x="283" y="28"/>
                  </a:lnTo>
                  <a:lnTo>
                    <a:pt x="282" y="29"/>
                  </a:lnTo>
                  <a:lnTo>
                    <a:pt x="282" y="30"/>
                  </a:lnTo>
                  <a:lnTo>
                    <a:pt x="285" y="32"/>
                  </a:lnTo>
                  <a:lnTo>
                    <a:pt x="287" y="32"/>
                  </a:lnTo>
                  <a:lnTo>
                    <a:pt x="288" y="31"/>
                  </a:lnTo>
                  <a:lnTo>
                    <a:pt x="289" y="32"/>
                  </a:lnTo>
                  <a:lnTo>
                    <a:pt x="289" y="34"/>
                  </a:lnTo>
                  <a:lnTo>
                    <a:pt x="288" y="36"/>
                  </a:lnTo>
                  <a:lnTo>
                    <a:pt x="291" y="36"/>
                  </a:lnTo>
                  <a:lnTo>
                    <a:pt x="292" y="36"/>
                  </a:lnTo>
                  <a:lnTo>
                    <a:pt x="293" y="37"/>
                  </a:lnTo>
                  <a:lnTo>
                    <a:pt x="294" y="38"/>
                  </a:lnTo>
                  <a:lnTo>
                    <a:pt x="295" y="38"/>
                  </a:lnTo>
                  <a:lnTo>
                    <a:pt x="298" y="40"/>
                  </a:lnTo>
                  <a:lnTo>
                    <a:pt x="298" y="42"/>
                  </a:lnTo>
                  <a:lnTo>
                    <a:pt x="297" y="43"/>
                  </a:lnTo>
                  <a:lnTo>
                    <a:pt x="294" y="43"/>
                  </a:lnTo>
                  <a:lnTo>
                    <a:pt x="293" y="41"/>
                  </a:lnTo>
                  <a:lnTo>
                    <a:pt x="293" y="40"/>
                  </a:lnTo>
                  <a:lnTo>
                    <a:pt x="291" y="38"/>
                  </a:lnTo>
                  <a:lnTo>
                    <a:pt x="289" y="38"/>
                  </a:lnTo>
                  <a:lnTo>
                    <a:pt x="288" y="40"/>
                  </a:lnTo>
                  <a:lnTo>
                    <a:pt x="287" y="42"/>
                  </a:lnTo>
                  <a:lnTo>
                    <a:pt x="286" y="42"/>
                  </a:lnTo>
                  <a:lnTo>
                    <a:pt x="283" y="41"/>
                  </a:lnTo>
                  <a:lnTo>
                    <a:pt x="281" y="41"/>
                  </a:lnTo>
                  <a:lnTo>
                    <a:pt x="281" y="40"/>
                  </a:lnTo>
                  <a:lnTo>
                    <a:pt x="279" y="38"/>
                  </a:lnTo>
                  <a:lnTo>
                    <a:pt x="277" y="38"/>
                  </a:lnTo>
                  <a:lnTo>
                    <a:pt x="276" y="41"/>
                  </a:lnTo>
                  <a:lnTo>
                    <a:pt x="277" y="44"/>
                  </a:lnTo>
                  <a:lnTo>
                    <a:pt x="279" y="47"/>
                  </a:lnTo>
                  <a:lnTo>
                    <a:pt x="280" y="49"/>
                  </a:lnTo>
                  <a:lnTo>
                    <a:pt x="281" y="49"/>
                  </a:lnTo>
                  <a:lnTo>
                    <a:pt x="285" y="49"/>
                  </a:lnTo>
                  <a:lnTo>
                    <a:pt x="286" y="49"/>
                  </a:lnTo>
                  <a:lnTo>
                    <a:pt x="288" y="50"/>
                  </a:lnTo>
                  <a:lnTo>
                    <a:pt x="289" y="50"/>
                  </a:lnTo>
                  <a:lnTo>
                    <a:pt x="292" y="50"/>
                  </a:lnTo>
                  <a:lnTo>
                    <a:pt x="293" y="52"/>
                  </a:lnTo>
                  <a:lnTo>
                    <a:pt x="292" y="53"/>
                  </a:lnTo>
                  <a:lnTo>
                    <a:pt x="289" y="53"/>
                  </a:lnTo>
                  <a:lnTo>
                    <a:pt x="287" y="53"/>
                  </a:lnTo>
                  <a:lnTo>
                    <a:pt x="287" y="54"/>
                  </a:lnTo>
                  <a:lnTo>
                    <a:pt x="288" y="55"/>
                  </a:lnTo>
                  <a:lnTo>
                    <a:pt x="288" y="56"/>
                  </a:lnTo>
                  <a:lnTo>
                    <a:pt x="287" y="58"/>
                  </a:lnTo>
                  <a:lnTo>
                    <a:pt x="286" y="58"/>
                  </a:lnTo>
                  <a:lnTo>
                    <a:pt x="283" y="58"/>
                  </a:lnTo>
                  <a:lnTo>
                    <a:pt x="283" y="59"/>
                  </a:lnTo>
                  <a:lnTo>
                    <a:pt x="285" y="62"/>
                  </a:lnTo>
                  <a:lnTo>
                    <a:pt x="287" y="65"/>
                  </a:lnTo>
                  <a:lnTo>
                    <a:pt x="289" y="66"/>
                  </a:lnTo>
                  <a:lnTo>
                    <a:pt x="292" y="65"/>
                  </a:lnTo>
                  <a:lnTo>
                    <a:pt x="293" y="65"/>
                  </a:lnTo>
                  <a:lnTo>
                    <a:pt x="293" y="67"/>
                  </a:lnTo>
                  <a:lnTo>
                    <a:pt x="294" y="68"/>
                  </a:lnTo>
                  <a:lnTo>
                    <a:pt x="297" y="68"/>
                  </a:lnTo>
                  <a:lnTo>
                    <a:pt x="298" y="67"/>
                  </a:lnTo>
                  <a:lnTo>
                    <a:pt x="299" y="66"/>
                  </a:lnTo>
                  <a:lnTo>
                    <a:pt x="299" y="65"/>
                  </a:lnTo>
                  <a:lnTo>
                    <a:pt x="299" y="62"/>
                  </a:lnTo>
                  <a:lnTo>
                    <a:pt x="299" y="61"/>
                  </a:lnTo>
                  <a:lnTo>
                    <a:pt x="301" y="62"/>
                  </a:lnTo>
                  <a:lnTo>
                    <a:pt x="301" y="64"/>
                  </a:lnTo>
                  <a:lnTo>
                    <a:pt x="303" y="64"/>
                  </a:lnTo>
                  <a:lnTo>
                    <a:pt x="304" y="64"/>
                  </a:lnTo>
                  <a:lnTo>
                    <a:pt x="305" y="62"/>
                  </a:lnTo>
                  <a:lnTo>
                    <a:pt x="305" y="61"/>
                  </a:lnTo>
                  <a:lnTo>
                    <a:pt x="307" y="62"/>
                  </a:lnTo>
                  <a:lnTo>
                    <a:pt x="307" y="64"/>
                  </a:lnTo>
                  <a:lnTo>
                    <a:pt x="309" y="65"/>
                  </a:lnTo>
                  <a:lnTo>
                    <a:pt x="307" y="65"/>
                  </a:lnTo>
                  <a:lnTo>
                    <a:pt x="305" y="65"/>
                  </a:lnTo>
                  <a:lnTo>
                    <a:pt x="303" y="66"/>
                  </a:lnTo>
                  <a:lnTo>
                    <a:pt x="301" y="66"/>
                  </a:lnTo>
                  <a:lnTo>
                    <a:pt x="300" y="68"/>
                  </a:lnTo>
                  <a:lnTo>
                    <a:pt x="299" y="71"/>
                  </a:lnTo>
                  <a:lnTo>
                    <a:pt x="299" y="72"/>
                  </a:lnTo>
                  <a:lnTo>
                    <a:pt x="301" y="74"/>
                  </a:lnTo>
                  <a:lnTo>
                    <a:pt x="304" y="76"/>
                  </a:lnTo>
                  <a:lnTo>
                    <a:pt x="306" y="76"/>
                  </a:lnTo>
                  <a:lnTo>
                    <a:pt x="309" y="76"/>
                  </a:lnTo>
                  <a:lnTo>
                    <a:pt x="309" y="74"/>
                  </a:lnTo>
                  <a:lnTo>
                    <a:pt x="310" y="73"/>
                  </a:lnTo>
                  <a:lnTo>
                    <a:pt x="311" y="71"/>
                  </a:lnTo>
                  <a:lnTo>
                    <a:pt x="311" y="70"/>
                  </a:lnTo>
                  <a:lnTo>
                    <a:pt x="314" y="71"/>
                  </a:lnTo>
                  <a:lnTo>
                    <a:pt x="315" y="72"/>
                  </a:lnTo>
                  <a:lnTo>
                    <a:pt x="316" y="73"/>
                  </a:lnTo>
                  <a:lnTo>
                    <a:pt x="312" y="76"/>
                  </a:lnTo>
                  <a:lnTo>
                    <a:pt x="311" y="77"/>
                  </a:lnTo>
                  <a:lnTo>
                    <a:pt x="310" y="79"/>
                  </a:lnTo>
                  <a:lnTo>
                    <a:pt x="311" y="83"/>
                  </a:lnTo>
                  <a:lnTo>
                    <a:pt x="312" y="85"/>
                  </a:lnTo>
                  <a:lnTo>
                    <a:pt x="314" y="89"/>
                  </a:lnTo>
                  <a:lnTo>
                    <a:pt x="316" y="92"/>
                  </a:lnTo>
                  <a:lnTo>
                    <a:pt x="315" y="94"/>
                  </a:lnTo>
                  <a:lnTo>
                    <a:pt x="315" y="92"/>
                  </a:lnTo>
                  <a:lnTo>
                    <a:pt x="314" y="91"/>
                  </a:lnTo>
                  <a:lnTo>
                    <a:pt x="312" y="89"/>
                  </a:lnTo>
                  <a:lnTo>
                    <a:pt x="311" y="88"/>
                  </a:lnTo>
                  <a:lnTo>
                    <a:pt x="309" y="85"/>
                  </a:lnTo>
                  <a:lnTo>
                    <a:pt x="307" y="84"/>
                  </a:lnTo>
                  <a:lnTo>
                    <a:pt x="306" y="83"/>
                  </a:lnTo>
                  <a:lnTo>
                    <a:pt x="306" y="85"/>
                  </a:lnTo>
                  <a:lnTo>
                    <a:pt x="305" y="86"/>
                  </a:lnTo>
                  <a:lnTo>
                    <a:pt x="304" y="88"/>
                  </a:lnTo>
                  <a:lnTo>
                    <a:pt x="303" y="89"/>
                  </a:lnTo>
                  <a:lnTo>
                    <a:pt x="301" y="90"/>
                  </a:lnTo>
                  <a:lnTo>
                    <a:pt x="301" y="91"/>
                  </a:lnTo>
                  <a:lnTo>
                    <a:pt x="300" y="91"/>
                  </a:lnTo>
                  <a:lnTo>
                    <a:pt x="300" y="89"/>
                  </a:lnTo>
                  <a:lnTo>
                    <a:pt x="300" y="86"/>
                  </a:lnTo>
                  <a:lnTo>
                    <a:pt x="299" y="86"/>
                  </a:lnTo>
                  <a:lnTo>
                    <a:pt x="298" y="86"/>
                  </a:lnTo>
                  <a:lnTo>
                    <a:pt x="298" y="88"/>
                  </a:lnTo>
                  <a:lnTo>
                    <a:pt x="297" y="90"/>
                  </a:lnTo>
                  <a:lnTo>
                    <a:pt x="297" y="91"/>
                  </a:lnTo>
                  <a:lnTo>
                    <a:pt x="295" y="91"/>
                  </a:lnTo>
                  <a:lnTo>
                    <a:pt x="294" y="90"/>
                  </a:lnTo>
                  <a:lnTo>
                    <a:pt x="294" y="89"/>
                  </a:lnTo>
                  <a:lnTo>
                    <a:pt x="294" y="86"/>
                  </a:lnTo>
                  <a:lnTo>
                    <a:pt x="293" y="85"/>
                  </a:lnTo>
                  <a:lnTo>
                    <a:pt x="293" y="83"/>
                  </a:lnTo>
                  <a:lnTo>
                    <a:pt x="292" y="82"/>
                  </a:lnTo>
                  <a:lnTo>
                    <a:pt x="291" y="80"/>
                  </a:lnTo>
                  <a:lnTo>
                    <a:pt x="287" y="82"/>
                  </a:lnTo>
                  <a:lnTo>
                    <a:pt x="286" y="83"/>
                  </a:lnTo>
                  <a:lnTo>
                    <a:pt x="286" y="85"/>
                  </a:lnTo>
                  <a:lnTo>
                    <a:pt x="286" y="89"/>
                  </a:lnTo>
                  <a:lnTo>
                    <a:pt x="286" y="91"/>
                  </a:lnTo>
                  <a:lnTo>
                    <a:pt x="283" y="92"/>
                  </a:lnTo>
                  <a:lnTo>
                    <a:pt x="283" y="91"/>
                  </a:lnTo>
                  <a:lnTo>
                    <a:pt x="283" y="89"/>
                  </a:lnTo>
                  <a:lnTo>
                    <a:pt x="281" y="89"/>
                  </a:lnTo>
                  <a:lnTo>
                    <a:pt x="280" y="91"/>
                  </a:lnTo>
                  <a:lnTo>
                    <a:pt x="280" y="92"/>
                  </a:lnTo>
                  <a:lnTo>
                    <a:pt x="277" y="92"/>
                  </a:lnTo>
                  <a:lnTo>
                    <a:pt x="277" y="91"/>
                  </a:lnTo>
                  <a:lnTo>
                    <a:pt x="275" y="90"/>
                  </a:lnTo>
                  <a:lnTo>
                    <a:pt x="273" y="86"/>
                  </a:lnTo>
                  <a:lnTo>
                    <a:pt x="273" y="84"/>
                  </a:lnTo>
                  <a:lnTo>
                    <a:pt x="271" y="83"/>
                  </a:lnTo>
                  <a:lnTo>
                    <a:pt x="270" y="79"/>
                  </a:lnTo>
                  <a:lnTo>
                    <a:pt x="270" y="78"/>
                  </a:lnTo>
                  <a:lnTo>
                    <a:pt x="268" y="76"/>
                  </a:lnTo>
                  <a:lnTo>
                    <a:pt x="265" y="77"/>
                  </a:lnTo>
                  <a:lnTo>
                    <a:pt x="265" y="78"/>
                  </a:lnTo>
                  <a:lnTo>
                    <a:pt x="263" y="80"/>
                  </a:lnTo>
                  <a:lnTo>
                    <a:pt x="261" y="83"/>
                  </a:lnTo>
                  <a:lnTo>
                    <a:pt x="258" y="82"/>
                  </a:lnTo>
                  <a:lnTo>
                    <a:pt x="258" y="79"/>
                  </a:lnTo>
                  <a:lnTo>
                    <a:pt x="259" y="76"/>
                  </a:lnTo>
                  <a:lnTo>
                    <a:pt x="257" y="74"/>
                  </a:lnTo>
                  <a:lnTo>
                    <a:pt x="256" y="76"/>
                  </a:lnTo>
                  <a:lnTo>
                    <a:pt x="255" y="76"/>
                  </a:lnTo>
                  <a:lnTo>
                    <a:pt x="253" y="79"/>
                  </a:lnTo>
                  <a:lnTo>
                    <a:pt x="251" y="82"/>
                  </a:lnTo>
                  <a:lnTo>
                    <a:pt x="247" y="82"/>
                  </a:lnTo>
                  <a:lnTo>
                    <a:pt x="247" y="79"/>
                  </a:lnTo>
                  <a:lnTo>
                    <a:pt x="250" y="77"/>
                  </a:lnTo>
                  <a:lnTo>
                    <a:pt x="251" y="76"/>
                  </a:lnTo>
                  <a:lnTo>
                    <a:pt x="252" y="73"/>
                  </a:lnTo>
                  <a:lnTo>
                    <a:pt x="251" y="73"/>
                  </a:lnTo>
                  <a:lnTo>
                    <a:pt x="250" y="72"/>
                  </a:lnTo>
                  <a:lnTo>
                    <a:pt x="251" y="71"/>
                  </a:lnTo>
                  <a:lnTo>
                    <a:pt x="251" y="70"/>
                  </a:lnTo>
                  <a:lnTo>
                    <a:pt x="250" y="67"/>
                  </a:lnTo>
                  <a:lnTo>
                    <a:pt x="247" y="66"/>
                  </a:lnTo>
                  <a:lnTo>
                    <a:pt x="244" y="65"/>
                  </a:lnTo>
                  <a:lnTo>
                    <a:pt x="244" y="64"/>
                  </a:lnTo>
                  <a:lnTo>
                    <a:pt x="244" y="61"/>
                  </a:lnTo>
                  <a:lnTo>
                    <a:pt x="244" y="59"/>
                  </a:lnTo>
                  <a:lnTo>
                    <a:pt x="241" y="58"/>
                  </a:lnTo>
                  <a:lnTo>
                    <a:pt x="240" y="56"/>
                  </a:lnTo>
                  <a:lnTo>
                    <a:pt x="238" y="55"/>
                  </a:lnTo>
                  <a:lnTo>
                    <a:pt x="236" y="56"/>
                  </a:lnTo>
                  <a:lnTo>
                    <a:pt x="236" y="58"/>
                  </a:lnTo>
                  <a:lnTo>
                    <a:pt x="234" y="60"/>
                  </a:lnTo>
                  <a:lnTo>
                    <a:pt x="233" y="62"/>
                  </a:lnTo>
                  <a:lnTo>
                    <a:pt x="230" y="66"/>
                  </a:lnTo>
                  <a:lnTo>
                    <a:pt x="228" y="65"/>
                  </a:lnTo>
                  <a:lnTo>
                    <a:pt x="229" y="64"/>
                  </a:lnTo>
                  <a:lnTo>
                    <a:pt x="230" y="62"/>
                  </a:lnTo>
                  <a:lnTo>
                    <a:pt x="230" y="61"/>
                  </a:lnTo>
                  <a:lnTo>
                    <a:pt x="229" y="61"/>
                  </a:lnTo>
                  <a:lnTo>
                    <a:pt x="230" y="60"/>
                  </a:lnTo>
                  <a:lnTo>
                    <a:pt x="232" y="59"/>
                  </a:lnTo>
                  <a:lnTo>
                    <a:pt x="230" y="58"/>
                  </a:lnTo>
                  <a:lnTo>
                    <a:pt x="232" y="56"/>
                  </a:lnTo>
                  <a:lnTo>
                    <a:pt x="233" y="56"/>
                  </a:lnTo>
                  <a:lnTo>
                    <a:pt x="232" y="54"/>
                  </a:lnTo>
                  <a:lnTo>
                    <a:pt x="234" y="54"/>
                  </a:lnTo>
                  <a:lnTo>
                    <a:pt x="235" y="52"/>
                  </a:lnTo>
                  <a:lnTo>
                    <a:pt x="234" y="52"/>
                  </a:lnTo>
                  <a:lnTo>
                    <a:pt x="235" y="50"/>
                  </a:lnTo>
                  <a:lnTo>
                    <a:pt x="236" y="49"/>
                  </a:lnTo>
                  <a:lnTo>
                    <a:pt x="238" y="48"/>
                  </a:lnTo>
                  <a:lnTo>
                    <a:pt x="236" y="46"/>
                  </a:lnTo>
                  <a:lnTo>
                    <a:pt x="234" y="44"/>
                  </a:lnTo>
                  <a:lnTo>
                    <a:pt x="233" y="43"/>
                  </a:lnTo>
                  <a:lnTo>
                    <a:pt x="232" y="43"/>
                  </a:lnTo>
                  <a:lnTo>
                    <a:pt x="230" y="44"/>
                  </a:lnTo>
                  <a:lnTo>
                    <a:pt x="230" y="48"/>
                  </a:lnTo>
                  <a:lnTo>
                    <a:pt x="228" y="47"/>
                  </a:lnTo>
                  <a:lnTo>
                    <a:pt x="228" y="48"/>
                  </a:lnTo>
                  <a:lnTo>
                    <a:pt x="228" y="50"/>
                  </a:lnTo>
                  <a:lnTo>
                    <a:pt x="227" y="53"/>
                  </a:lnTo>
                  <a:lnTo>
                    <a:pt x="226" y="53"/>
                  </a:lnTo>
                  <a:lnTo>
                    <a:pt x="226" y="54"/>
                  </a:lnTo>
                  <a:lnTo>
                    <a:pt x="226" y="56"/>
                  </a:lnTo>
                  <a:lnTo>
                    <a:pt x="224" y="56"/>
                  </a:lnTo>
                  <a:lnTo>
                    <a:pt x="223" y="54"/>
                  </a:lnTo>
                  <a:lnTo>
                    <a:pt x="224" y="52"/>
                  </a:lnTo>
                  <a:lnTo>
                    <a:pt x="224" y="49"/>
                  </a:lnTo>
                  <a:lnTo>
                    <a:pt x="224" y="48"/>
                  </a:lnTo>
                  <a:lnTo>
                    <a:pt x="223" y="47"/>
                  </a:lnTo>
                  <a:lnTo>
                    <a:pt x="224" y="46"/>
                  </a:lnTo>
                  <a:lnTo>
                    <a:pt x="226" y="43"/>
                  </a:lnTo>
                  <a:lnTo>
                    <a:pt x="224" y="41"/>
                  </a:lnTo>
                  <a:lnTo>
                    <a:pt x="223" y="40"/>
                  </a:lnTo>
                  <a:lnTo>
                    <a:pt x="221" y="40"/>
                  </a:lnTo>
                  <a:lnTo>
                    <a:pt x="220" y="41"/>
                  </a:lnTo>
                  <a:lnTo>
                    <a:pt x="220" y="43"/>
                  </a:lnTo>
                  <a:lnTo>
                    <a:pt x="218" y="43"/>
                  </a:lnTo>
                  <a:lnTo>
                    <a:pt x="217" y="41"/>
                  </a:lnTo>
                  <a:lnTo>
                    <a:pt x="217" y="40"/>
                  </a:lnTo>
                  <a:lnTo>
                    <a:pt x="216" y="41"/>
                  </a:lnTo>
                  <a:lnTo>
                    <a:pt x="215" y="40"/>
                  </a:lnTo>
                  <a:lnTo>
                    <a:pt x="215" y="37"/>
                  </a:lnTo>
                  <a:lnTo>
                    <a:pt x="214" y="37"/>
                  </a:lnTo>
                  <a:lnTo>
                    <a:pt x="214" y="35"/>
                  </a:lnTo>
                  <a:lnTo>
                    <a:pt x="212" y="34"/>
                  </a:lnTo>
                  <a:lnTo>
                    <a:pt x="210" y="32"/>
                  </a:lnTo>
                  <a:lnTo>
                    <a:pt x="209" y="31"/>
                  </a:lnTo>
                  <a:lnTo>
                    <a:pt x="206" y="32"/>
                  </a:lnTo>
                  <a:lnTo>
                    <a:pt x="206" y="36"/>
                  </a:lnTo>
                  <a:lnTo>
                    <a:pt x="206" y="37"/>
                  </a:lnTo>
                  <a:lnTo>
                    <a:pt x="209" y="40"/>
                  </a:lnTo>
                  <a:lnTo>
                    <a:pt x="206" y="41"/>
                  </a:lnTo>
                  <a:lnTo>
                    <a:pt x="205" y="41"/>
                  </a:lnTo>
                  <a:lnTo>
                    <a:pt x="205" y="43"/>
                  </a:lnTo>
                  <a:lnTo>
                    <a:pt x="208" y="44"/>
                  </a:lnTo>
                  <a:lnTo>
                    <a:pt x="210" y="47"/>
                  </a:lnTo>
                  <a:lnTo>
                    <a:pt x="211" y="48"/>
                  </a:lnTo>
                  <a:lnTo>
                    <a:pt x="214" y="50"/>
                  </a:lnTo>
                  <a:lnTo>
                    <a:pt x="214" y="52"/>
                  </a:lnTo>
                  <a:lnTo>
                    <a:pt x="212" y="52"/>
                  </a:lnTo>
                  <a:lnTo>
                    <a:pt x="209" y="50"/>
                  </a:lnTo>
                  <a:lnTo>
                    <a:pt x="206" y="50"/>
                  </a:lnTo>
                  <a:lnTo>
                    <a:pt x="205" y="52"/>
                  </a:lnTo>
                  <a:lnTo>
                    <a:pt x="206" y="53"/>
                  </a:lnTo>
                  <a:lnTo>
                    <a:pt x="208" y="55"/>
                  </a:lnTo>
                  <a:lnTo>
                    <a:pt x="209" y="56"/>
                  </a:lnTo>
                  <a:lnTo>
                    <a:pt x="210" y="60"/>
                  </a:lnTo>
                  <a:lnTo>
                    <a:pt x="211" y="61"/>
                  </a:lnTo>
                  <a:lnTo>
                    <a:pt x="210" y="62"/>
                  </a:lnTo>
                  <a:lnTo>
                    <a:pt x="208" y="62"/>
                  </a:lnTo>
                  <a:lnTo>
                    <a:pt x="205" y="62"/>
                  </a:lnTo>
                  <a:lnTo>
                    <a:pt x="204" y="61"/>
                  </a:lnTo>
                  <a:lnTo>
                    <a:pt x="204" y="60"/>
                  </a:lnTo>
                  <a:lnTo>
                    <a:pt x="203" y="60"/>
                  </a:lnTo>
                  <a:lnTo>
                    <a:pt x="199" y="61"/>
                  </a:lnTo>
                  <a:lnTo>
                    <a:pt x="197" y="64"/>
                  </a:lnTo>
                  <a:lnTo>
                    <a:pt x="196" y="66"/>
                  </a:lnTo>
                  <a:lnTo>
                    <a:pt x="197" y="66"/>
                  </a:lnTo>
                  <a:lnTo>
                    <a:pt x="198" y="68"/>
                  </a:lnTo>
                  <a:lnTo>
                    <a:pt x="199" y="71"/>
                  </a:lnTo>
                  <a:lnTo>
                    <a:pt x="200" y="72"/>
                  </a:lnTo>
                  <a:lnTo>
                    <a:pt x="203" y="73"/>
                  </a:lnTo>
                  <a:lnTo>
                    <a:pt x="204" y="76"/>
                  </a:lnTo>
                  <a:lnTo>
                    <a:pt x="205" y="77"/>
                  </a:lnTo>
                  <a:lnTo>
                    <a:pt x="208" y="78"/>
                  </a:lnTo>
                  <a:lnTo>
                    <a:pt x="209" y="79"/>
                  </a:lnTo>
                  <a:lnTo>
                    <a:pt x="210" y="78"/>
                  </a:lnTo>
                  <a:lnTo>
                    <a:pt x="211" y="77"/>
                  </a:lnTo>
                  <a:lnTo>
                    <a:pt x="212" y="77"/>
                  </a:lnTo>
                  <a:lnTo>
                    <a:pt x="215" y="77"/>
                  </a:lnTo>
                  <a:lnTo>
                    <a:pt x="217" y="78"/>
                  </a:lnTo>
                  <a:lnTo>
                    <a:pt x="217" y="79"/>
                  </a:lnTo>
                  <a:lnTo>
                    <a:pt x="216" y="82"/>
                  </a:lnTo>
                  <a:lnTo>
                    <a:pt x="215" y="80"/>
                  </a:lnTo>
                  <a:lnTo>
                    <a:pt x="214" y="79"/>
                  </a:lnTo>
                  <a:lnTo>
                    <a:pt x="211" y="79"/>
                  </a:lnTo>
                  <a:lnTo>
                    <a:pt x="209" y="79"/>
                  </a:lnTo>
                  <a:lnTo>
                    <a:pt x="206" y="80"/>
                  </a:lnTo>
                  <a:lnTo>
                    <a:pt x="205" y="79"/>
                  </a:lnTo>
                  <a:lnTo>
                    <a:pt x="204" y="78"/>
                  </a:lnTo>
                  <a:lnTo>
                    <a:pt x="200" y="77"/>
                  </a:lnTo>
                  <a:lnTo>
                    <a:pt x="200" y="79"/>
                  </a:lnTo>
                  <a:lnTo>
                    <a:pt x="199" y="80"/>
                  </a:lnTo>
                  <a:lnTo>
                    <a:pt x="200" y="82"/>
                  </a:lnTo>
                  <a:lnTo>
                    <a:pt x="203" y="84"/>
                  </a:lnTo>
                  <a:lnTo>
                    <a:pt x="205" y="85"/>
                  </a:lnTo>
                  <a:lnTo>
                    <a:pt x="205" y="88"/>
                  </a:lnTo>
                  <a:lnTo>
                    <a:pt x="203" y="89"/>
                  </a:lnTo>
                  <a:lnTo>
                    <a:pt x="203" y="90"/>
                  </a:lnTo>
                  <a:lnTo>
                    <a:pt x="204" y="90"/>
                  </a:lnTo>
                  <a:lnTo>
                    <a:pt x="205" y="91"/>
                  </a:lnTo>
                  <a:lnTo>
                    <a:pt x="208" y="94"/>
                  </a:lnTo>
                  <a:lnTo>
                    <a:pt x="206" y="95"/>
                  </a:lnTo>
                  <a:lnTo>
                    <a:pt x="205" y="95"/>
                  </a:lnTo>
                  <a:lnTo>
                    <a:pt x="205" y="94"/>
                  </a:lnTo>
                  <a:lnTo>
                    <a:pt x="204" y="91"/>
                  </a:lnTo>
                  <a:lnTo>
                    <a:pt x="203" y="91"/>
                  </a:lnTo>
                  <a:lnTo>
                    <a:pt x="202" y="94"/>
                  </a:lnTo>
                  <a:lnTo>
                    <a:pt x="200" y="95"/>
                  </a:lnTo>
                  <a:lnTo>
                    <a:pt x="199" y="96"/>
                  </a:lnTo>
                  <a:lnTo>
                    <a:pt x="199" y="97"/>
                  </a:lnTo>
                  <a:lnTo>
                    <a:pt x="202" y="98"/>
                  </a:lnTo>
                  <a:lnTo>
                    <a:pt x="203" y="98"/>
                  </a:lnTo>
                  <a:lnTo>
                    <a:pt x="204" y="98"/>
                  </a:lnTo>
                  <a:lnTo>
                    <a:pt x="205" y="101"/>
                  </a:lnTo>
                  <a:lnTo>
                    <a:pt x="208" y="101"/>
                  </a:lnTo>
                  <a:lnTo>
                    <a:pt x="209" y="100"/>
                  </a:lnTo>
                  <a:lnTo>
                    <a:pt x="210" y="98"/>
                  </a:lnTo>
                  <a:lnTo>
                    <a:pt x="211" y="98"/>
                  </a:lnTo>
                  <a:lnTo>
                    <a:pt x="215" y="98"/>
                  </a:lnTo>
                  <a:lnTo>
                    <a:pt x="216" y="98"/>
                  </a:lnTo>
                  <a:lnTo>
                    <a:pt x="218" y="98"/>
                  </a:lnTo>
                  <a:lnTo>
                    <a:pt x="220" y="98"/>
                  </a:lnTo>
                  <a:lnTo>
                    <a:pt x="222" y="101"/>
                  </a:lnTo>
                  <a:lnTo>
                    <a:pt x="222" y="102"/>
                  </a:lnTo>
                  <a:lnTo>
                    <a:pt x="223" y="103"/>
                  </a:lnTo>
                  <a:lnTo>
                    <a:pt x="224" y="103"/>
                  </a:lnTo>
                  <a:lnTo>
                    <a:pt x="226" y="103"/>
                  </a:lnTo>
                  <a:lnTo>
                    <a:pt x="227" y="102"/>
                  </a:lnTo>
                  <a:lnTo>
                    <a:pt x="228" y="101"/>
                  </a:lnTo>
                  <a:lnTo>
                    <a:pt x="230" y="102"/>
                  </a:lnTo>
                  <a:lnTo>
                    <a:pt x="232" y="102"/>
                  </a:lnTo>
                  <a:lnTo>
                    <a:pt x="234" y="103"/>
                  </a:lnTo>
                  <a:lnTo>
                    <a:pt x="235" y="106"/>
                  </a:lnTo>
                  <a:lnTo>
                    <a:pt x="233" y="107"/>
                  </a:lnTo>
                  <a:lnTo>
                    <a:pt x="232" y="106"/>
                  </a:lnTo>
                  <a:lnTo>
                    <a:pt x="229" y="106"/>
                  </a:lnTo>
                  <a:lnTo>
                    <a:pt x="228" y="105"/>
                  </a:lnTo>
                  <a:lnTo>
                    <a:pt x="228" y="103"/>
                  </a:lnTo>
                  <a:lnTo>
                    <a:pt x="227" y="105"/>
                  </a:lnTo>
                  <a:lnTo>
                    <a:pt x="226" y="106"/>
                  </a:lnTo>
                  <a:lnTo>
                    <a:pt x="224" y="107"/>
                  </a:lnTo>
                  <a:lnTo>
                    <a:pt x="222" y="107"/>
                  </a:lnTo>
                  <a:lnTo>
                    <a:pt x="220" y="108"/>
                  </a:lnTo>
                  <a:lnTo>
                    <a:pt x="217" y="107"/>
                  </a:lnTo>
                  <a:lnTo>
                    <a:pt x="217" y="106"/>
                  </a:lnTo>
                  <a:lnTo>
                    <a:pt x="217" y="105"/>
                  </a:lnTo>
                  <a:lnTo>
                    <a:pt x="216" y="103"/>
                  </a:lnTo>
                  <a:lnTo>
                    <a:pt x="215" y="103"/>
                  </a:lnTo>
                  <a:lnTo>
                    <a:pt x="215" y="105"/>
                  </a:lnTo>
                  <a:lnTo>
                    <a:pt x="214" y="105"/>
                  </a:lnTo>
                  <a:lnTo>
                    <a:pt x="212" y="106"/>
                  </a:lnTo>
                  <a:lnTo>
                    <a:pt x="214" y="107"/>
                  </a:lnTo>
                  <a:lnTo>
                    <a:pt x="214" y="109"/>
                  </a:lnTo>
                  <a:lnTo>
                    <a:pt x="212" y="109"/>
                  </a:lnTo>
                  <a:lnTo>
                    <a:pt x="211" y="109"/>
                  </a:lnTo>
                  <a:lnTo>
                    <a:pt x="211" y="108"/>
                  </a:lnTo>
                  <a:lnTo>
                    <a:pt x="211" y="106"/>
                  </a:lnTo>
                  <a:lnTo>
                    <a:pt x="209" y="107"/>
                  </a:lnTo>
                  <a:lnTo>
                    <a:pt x="208" y="107"/>
                  </a:lnTo>
                  <a:lnTo>
                    <a:pt x="208" y="105"/>
                  </a:lnTo>
                  <a:lnTo>
                    <a:pt x="208" y="103"/>
                  </a:lnTo>
                  <a:lnTo>
                    <a:pt x="206" y="102"/>
                  </a:lnTo>
                  <a:lnTo>
                    <a:pt x="204" y="102"/>
                  </a:lnTo>
                  <a:lnTo>
                    <a:pt x="202" y="103"/>
                  </a:lnTo>
                  <a:lnTo>
                    <a:pt x="199" y="103"/>
                  </a:lnTo>
                  <a:lnTo>
                    <a:pt x="198" y="105"/>
                  </a:lnTo>
                  <a:lnTo>
                    <a:pt x="197" y="105"/>
                  </a:lnTo>
                  <a:lnTo>
                    <a:pt x="198" y="107"/>
                  </a:lnTo>
                  <a:lnTo>
                    <a:pt x="199" y="109"/>
                  </a:lnTo>
                  <a:lnTo>
                    <a:pt x="200" y="111"/>
                  </a:lnTo>
                  <a:lnTo>
                    <a:pt x="202" y="112"/>
                  </a:lnTo>
                  <a:lnTo>
                    <a:pt x="203" y="113"/>
                  </a:lnTo>
                  <a:lnTo>
                    <a:pt x="203" y="114"/>
                  </a:lnTo>
                  <a:lnTo>
                    <a:pt x="204" y="115"/>
                  </a:lnTo>
                  <a:lnTo>
                    <a:pt x="206" y="117"/>
                  </a:lnTo>
                  <a:lnTo>
                    <a:pt x="208" y="118"/>
                  </a:lnTo>
                  <a:lnTo>
                    <a:pt x="205" y="119"/>
                  </a:lnTo>
                  <a:lnTo>
                    <a:pt x="204" y="120"/>
                  </a:lnTo>
                  <a:lnTo>
                    <a:pt x="203" y="118"/>
                  </a:lnTo>
                  <a:lnTo>
                    <a:pt x="200" y="118"/>
                  </a:lnTo>
                  <a:lnTo>
                    <a:pt x="200" y="119"/>
                  </a:lnTo>
                  <a:lnTo>
                    <a:pt x="199" y="120"/>
                  </a:lnTo>
                  <a:lnTo>
                    <a:pt x="198" y="120"/>
                  </a:lnTo>
                  <a:lnTo>
                    <a:pt x="197" y="119"/>
                  </a:lnTo>
                  <a:lnTo>
                    <a:pt x="197" y="117"/>
                  </a:lnTo>
                  <a:lnTo>
                    <a:pt x="196" y="117"/>
                  </a:lnTo>
                  <a:lnTo>
                    <a:pt x="194" y="117"/>
                  </a:lnTo>
                  <a:lnTo>
                    <a:pt x="193" y="117"/>
                  </a:lnTo>
                  <a:lnTo>
                    <a:pt x="192" y="118"/>
                  </a:lnTo>
                  <a:lnTo>
                    <a:pt x="191" y="118"/>
                  </a:lnTo>
                  <a:lnTo>
                    <a:pt x="191" y="119"/>
                  </a:lnTo>
                  <a:lnTo>
                    <a:pt x="191" y="121"/>
                  </a:lnTo>
                  <a:lnTo>
                    <a:pt x="192" y="121"/>
                  </a:lnTo>
                  <a:lnTo>
                    <a:pt x="194" y="124"/>
                  </a:lnTo>
                  <a:lnTo>
                    <a:pt x="196" y="126"/>
                  </a:lnTo>
                  <a:lnTo>
                    <a:pt x="198" y="125"/>
                  </a:lnTo>
                  <a:lnTo>
                    <a:pt x="199" y="125"/>
                  </a:lnTo>
                  <a:lnTo>
                    <a:pt x="202" y="125"/>
                  </a:lnTo>
                  <a:lnTo>
                    <a:pt x="203" y="125"/>
                  </a:lnTo>
                  <a:lnTo>
                    <a:pt x="204" y="125"/>
                  </a:lnTo>
                  <a:lnTo>
                    <a:pt x="206" y="125"/>
                  </a:lnTo>
                  <a:lnTo>
                    <a:pt x="208" y="125"/>
                  </a:lnTo>
                  <a:lnTo>
                    <a:pt x="209" y="124"/>
                  </a:lnTo>
                  <a:lnTo>
                    <a:pt x="209" y="123"/>
                  </a:lnTo>
                  <a:lnTo>
                    <a:pt x="210" y="120"/>
                  </a:lnTo>
                  <a:lnTo>
                    <a:pt x="211" y="119"/>
                  </a:lnTo>
                  <a:lnTo>
                    <a:pt x="212" y="119"/>
                  </a:lnTo>
                  <a:lnTo>
                    <a:pt x="216" y="118"/>
                  </a:lnTo>
                  <a:lnTo>
                    <a:pt x="218" y="117"/>
                  </a:lnTo>
                  <a:lnTo>
                    <a:pt x="220" y="115"/>
                  </a:lnTo>
                  <a:lnTo>
                    <a:pt x="221" y="114"/>
                  </a:lnTo>
                  <a:lnTo>
                    <a:pt x="222" y="113"/>
                  </a:lnTo>
                  <a:lnTo>
                    <a:pt x="224" y="114"/>
                  </a:lnTo>
                  <a:lnTo>
                    <a:pt x="226" y="115"/>
                  </a:lnTo>
                  <a:lnTo>
                    <a:pt x="226" y="118"/>
                  </a:lnTo>
                  <a:lnTo>
                    <a:pt x="224" y="118"/>
                  </a:lnTo>
                  <a:lnTo>
                    <a:pt x="223" y="117"/>
                  </a:lnTo>
                  <a:lnTo>
                    <a:pt x="221" y="118"/>
                  </a:lnTo>
                  <a:lnTo>
                    <a:pt x="218" y="119"/>
                  </a:lnTo>
                  <a:lnTo>
                    <a:pt x="218" y="121"/>
                  </a:lnTo>
                  <a:lnTo>
                    <a:pt x="217" y="123"/>
                  </a:lnTo>
                  <a:lnTo>
                    <a:pt x="217" y="124"/>
                  </a:lnTo>
                  <a:lnTo>
                    <a:pt x="215" y="124"/>
                  </a:lnTo>
                  <a:lnTo>
                    <a:pt x="215" y="121"/>
                  </a:lnTo>
                  <a:lnTo>
                    <a:pt x="214" y="123"/>
                  </a:lnTo>
                  <a:lnTo>
                    <a:pt x="212" y="124"/>
                  </a:lnTo>
                  <a:lnTo>
                    <a:pt x="212" y="126"/>
                  </a:lnTo>
                  <a:lnTo>
                    <a:pt x="211" y="127"/>
                  </a:lnTo>
                  <a:lnTo>
                    <a:pt x="209" y="130"/>
                  </a:lnTo>
                  <a:lnTo>
                    <a:pt x="208" y="129"/>
                  </a:lnTo>
                  <a:lnTo>
                    <a:pt x="208" y="127"/>
                  </a:lnTo>
                  <a:lnTo>
                    <a:pt x="206" y="127"/>
                  </a:lnTo>
                  <a:lnTo>
                    <a:pt x="204" y="129"/>
                  </a:lnTo>
                  <a:lnTo>
                    <a:pt x="204" y="130"/>
                  </a:lnTo>
                  <a:lnTo>
                    <a:pt x="202" y="130"/>
                  </a:lnTo>
                  <a:lnTo>
                    <a:pt x="200" y="129"/>
                  </a:lnTo>
                  <a:lnTo>
                    <a:pt x="198" y="129"/>
                  </a:lnTo>
                  <a:lnTo>
                    <a:pt x="197" y="127"/>
                  </a:lnTo>
                  <a:lnTo>
                    <a:pt x="194" y="127"/>
                  </a:lnTo>
                  <a:lnTo>
                    <a:pt x="194" y="126"/>
                  </a:lnTo>
                  <a:lnTo>
                    <a:pt x="193" y="126"/>
                  </a:lnTo>
                  <a:lnTo>
                    <a:pt x="193" y="125"/>
                  </a:lnTo>
                  <a:lnTo>
                    <a:pt x="191" y="124"/>
                  </a:lnTo>
                  <a:lnTo>
                    <a:pt x="189" y="125"/>
                  </a:lnTo>
                  <a:lnTo>
                    <a:pt x="188" y="126"/>
                  </a:lnTo>
                  <a:lnTo>
                    <a:pt x="187" y="124"/>
                  </a:lnTo>
                  <a:lnTo>
                    <a:pt x="186" y="123"/>
                  </a:lnTo>
                  <a:lnTo>
                    <a:pt x="185" y="120"/>
                  </a:lnTo>
                  <a:lnTo>
                    <a:pt x="183" y="119"/>
                  </a:lnTo>
                  <a:lnTo>
                    <a:pt x="182" y="118"/>
                  </a:lnTo>
                  <a:lnTo>
                    <a:pt x="180" y="117"/>
                  </a:lnTo>
                  <a:lnTo>
                    <a:pt x="180" y="114"/>
                  </a:lnTo>
                  <a:lnTo>
                    <a:pt x="180" y="113"/>
                  </a:lnTo>
                  <a:lnTo>
                    <a:pt x="177" y="112"/>
                  </a:lnTo>
                  <a:lnTo>
                    <a:pt x="175" y="113"/>
                  </a:lnTo>
                  <a:lnTo>
                    <a:pt x="175" y="114"/>
                  </a:lnTo>
                  <a:lnTo>
                    <a:pt x="175" y="115"/>
                  </a:lnTo>
                  <a:lnTo>
                    <a:pt x="175" y="117"/>
                  </a:lnTo>
                  <a:lnTo>
                    <a:pt x="176" y="120"/>
                  </a:lnTo>
                  <a:lnTo>
                    <a:pt x="176" y="121"/>
                  </a:lnTo>
                  <a:lnTo>
                    <a:pt x="175" y="123"/>
                  </a:lnTo>
                  <a:lnTo>
                    <a:pt x="173" y="121"/>
                  </a:lnTo>
                  <a:lnTo>
                    <a:pt x="171" y="120"/>
                  </a:lnTo>
                  <a:lnTo>
                    <a:pt x="170" y="119"/>
                  </a:lnTo>
                  <a:lnTo>
                    <a:pt x="169" y="119"/>
                  </a:lnTo>
                  <a:lnTo>
                    <a:pt x="168" y="119"/>
                  </a:lnTo>
                  <a:lnTo>
                    <a:pt x="165" y="119"/>
                  </a:lnTo>
                  <a:lnTo>
                    <a:pt x="163" y="118"/>
                  </a:lnTo>
                  <a:lnTo>
                    <a:pt x="162" y="118"/>
                  </a:lnTo>
                  <a:lnTo>
                    <a:pt x="161" y="117"/>
                  </a:lnTo>
                  <a:lnTo>
                    <a:pt x="157" y="118"/>
                  </a:lnTo>
                  <a:lnTo>
                    <a:pt x="157" y="117"/>
                  </a:lnTo>
                  <a:lnTo>
                    <a:pt x="156" y="115"/>
                  </a:lnTo>
                  <a:lnTo>
                    <a:pt x="155" y="114"/>
                  </a:lnTo>
                  <a:lnTo>
                    <a:pt x="155" y="113"/>
                  </a:lnTo>
                  <a:lnTo>
                    <a:pt x="152" y="112"/>
                  </a:lnTo>
                  <a:lnTo>
                    <a:pt x="151" y="111"/>
                  </a:lnTo>
                  <a:lnTo>
                    <a:pt x="151" y="112"/>
                  </a:lnTo>
                  <a:lnTo>
                    <a:pt x="149" y="112"/>
                  </a:lnTo>
                  <a:lnTo>
                    <a:pt x="147" y="113"/>
                  </a:lnTo>
                  <a:lnTo>
                    <a:pt x="147" y="115"/>
                  </a:lnTo>
                  <a:lnTo>
                    <a:pt x="150" y="117"/>
                  </a:lnTo>
                  <a:lnTo>
                    <a:pt x="150" y="118"/>
                  </a:lnTo>
                  <a:lnTo>
                    <a:pt x="147" y="119"/>
                  </a:lnTo>
                  <a:lnTo>
                    <a:pt x="146" y="118"/>
                  </a:lnTo>
                  <a:lnTo>
                    <a:pt x="145" y="117"/>
                  </a:lnTo>
                  <a:lnTo>
                    <a:pt x="145" y="114"/>
                  </a:lnTo>
                  <a:lnTo>
                    <a:pt x="144" y="113"/>
                  </a:lnTo>
                  <a:lnTo>
                    <a:pt x="143" y="114"/>
                  </a:lnTo>
                  <a:lnTo>
                    <a:pt x="140" y="115"/>
                  </a:lnTo>
                  <a:lnTo>
                    <a:pt x="139" y="115"/>
                  </a:lnTo>
                  <a:lnTo>
                    <a:pt x="138" y="117"/>
                  </a:lnTo>
                  <a:lnTo>
                    <a:pt x="139" y="119"/>
                  </a:lnTo>
                  <a:lnTo>
                    <a:pt x="140" y="120"/>
                  </a:lnTo>
                  <a:lnTo>
                    <a:pt x="143" y="120"/>
                  </a:lnTo>
                  <a:lnTo>
                    <a:pt x="143" y="123"/>
                  </a:lnTo>
                  <a:lnTo>
                    <a:pt x="143" y="125"/>
                  </a:lnTo>
                  <a:lnTo>
                    <a:pt x="144" y="126"/>
                  </a:lnTo>
                  <a:lnTo>
                    <a:pt x="145" y="125"/>
                  </a:lnTo>
                  <a:lnTo>
                    <a:pt x="146" y="125"/>
                  </a:lnTo>
                  <a:lnTo>
                    <a:pt x="149" y="125"/>
                  </a:lnTo>
                  <a:lnTo>
                    <a:pt x="147" y="126"/>
                  </a:lnTo>
                  <a:lnTo>
                    <a:pt x="145" y="127"/>
                  </a:lnTo>
                  <a:lnTo>
                    <a:pt x="143" y="129"/>
                  </a:lnTo>
                  <a:lnTo>
                    <a:pt x="141" y="129"/>
                  </a:lnTo>
                  <a:lnTo>
                    <a:pt x="143" y="131"/>
                  </a:lnTo>
                  <a:lnTo>
                    <a:pt x="145" y="131"/>
                  </a:lnTo>
                  <a:lnTo>
                    <a:pt x="147" y="132"/>
                  </a:lnTo>
                  <a:lnTo>
                    <a:pt x="149" y="133"/>
                  </a:lnTo>
                  <a:lnTo>
                    <a:pt x="150" y="135"/>
                  </a:lnTo>
                  <a:lnTo>
                    <a:pt x="151" y="133"/>
                  </a:lnTo>
                  <a:lnTo>
                    <a:pt x="152" y="132"/>
                  </a:lnTo>
                  <a:lnTo>
                    <a:pt x="155" y="132"/>
                  </a:lnTo>
                  <a:lnTo>
                    <a:pt x="156" y="132"/>
                  </a:lnTo>
                  <a:lnTo>
                    <a:pt x="157" y="132"/>
                  </a:lnTo>
                  <a:lnTo>
                    <a:pt x="158" y="133"/>
                  </a:lnTo>
                  <a:lnTo>
                    <a:pt x="158" y="136"/>
                  </a:lnTo>
                  <a:lnTo>
                    <a:pt x="159" y="138"/>
                  </a:lnTo>
                  <a:lnTo>
                    <a:pt x="162" y="138"/>
                  </a:lnTo>
                  <a:lnTo>
                    <a:pt x="164" y="138"/>
                  </a:lnTo>
                  <a:lnTo>
                    <a:pt x="165" y="137"/>
                  </a:lnTo>
                  <a:lnTo>
                    <a:pt x="167" y="137"/>
                  </a:lnTo>
                  <a:lnTo>
                    <a:pt x="168" y="137"/>
                  </a:lnTo>
                  <a:lnTo>
                    <a:pt x="170" y="138"/>
                  </a:lnTo>
                  <a:lnTo>
                    <a:pt x="171" y="138"/>
                  </a:lnTo>
                  <a:lnTo>
                    <a:pt x="174" y="138"/>
                  </a:lnTo>
                  <a:lnTo>
                    <a:pt x="175" y="136"/>
                  </a:lnTo>
                  <a:lnTo>
                    <a:pt x="175" y="133"/>
                  </a:lnTo>
                  <a:lnTo>
                    <a:pt x="175" y="135"/>
                  </a:lnTo>
                  <a:lnTo>
                    <a:pt x="176" y="135"/>
                  </a:lnTo>
                  <a:lnTo>
                    <a:pt x="177" y="136"/>
                  </a:lnTo>
                  <a:lnTo>
                    <a:pt x="179" y="137"/>
                  </a:lnTo>
                  <a:lnTo>
                    <a:pt x="181" y="138"/>
                  </a:lnTo>
                  <a:lnTo>
                    <a:pt x="180" y="139"/>
                  </a:lnTo>
                  <a:lnTo>
                    <a:pt x="179" y="141"/>
                  </a:lnTo>
                  <a:lnTo>
                    <a:pt x="181" y="142"/>
                  </a:lnTo>
                  <a:lnTo>
                    <a:pt x="180" y="143"/>
                  </a:lnTo>
                  <a:lnTo>
                    <a:pt x="179" y="143"/>
                  </a:lnTo>
                  <a:lnTo>
                    <a:pt x="176" y="144"/>
                  </a:lnTo>
                  <a:lnTo>
                    <a:pt x="174" y="147"/>
                  </a:lnTo>
                  <a:lnTo>
                    <a:pt x="175" y="149"/>
                  </a:lnTo>
                  <a:lnTo>
                    <a:pt x="176" y="150"/>
                  </a:lnTo>
                  <a:lnTo>
                    <a:pt x="179" y="151"/>
                  </a:lnTo>
                  <a:lnTo>
                    <a:pt x="180" y="151"/>
                  </a:lnTo>
                  <a:lnTo>
                    <a:pt x="181" y="153"/>
                  </a:lnTo>
                  <a:lnTo>
                    <a:pt x="181" y="155"/>
                  </a:lnTo>
                  <a:lnTo>
                    <a:pt x="180" y="156"/>
                  </a:lnTo>
                  <a:lnTo>
                    <a:pt x="182" y="157"/>
                  </a:lnTo>
                  <a:lnTo>
                    <a:pt x="183" y="157"/>
                  </a:lnTo>
                  <a:lnTo>
                    <a:pt x="185" y="157"/>
                  </a:lnTo>
                  <a:lnTo>
                    <a:pt x="186" y="159"/>
                  </a:lnTo>
                  <a:lnTo>
                    <a:pt x="185" y="160"/>
                  </a:lnTo>
                  <a:lnTo>
                    <a:pt x="185" y="162"/>
                  </a:lnTo>
                  <a:lnTo>
                    <a:pt x="186" y="163"/>
                  </a:lnTo>
                  <a:lnTo>
                    <a:pt x="185" y="163"/>
                  </a:lnTo>
                  <a:lnTo>
                    <a:pt x="182" y="163"/>
                  </a:lnTo>
                  <a:lnTo>
                    <a:pt x="181" y="163"/>
                  </a:lnTo>
                  <a:lnTo>
                    <a:pt x="181" y="165"/>
                  </a:lnTo>
                  <a:lnTo>
                    <a:pt x="180" y="165"/>
                  </a:lnTo>
                  <a:lnTo>
                    <a:pt x="179" y="166"/>
                  </a:lnTo>
                  <a:lnTo>
                    <a:pt x="180" y="167"/>
                  </a:lnTo>
                  <a:lnTo>
                    <a:pt x="181" y="168"/>
                  </a:lnTo>
                  <a:lnTo>
                    <a:pt x="182" y="169"/>
                  </a:lnTo>
                  <a:lnTo>
                    <a:pt x="183" y="171"/>
                  </a:lnTo>
                  <a:lnTo>
                    <a:pt x="185" y="171"/>
                  </a:lnTo>
                  <a:lnTo>
                    <a:pt x="187" y="171"/>
                  </a:lnTo>
                  <a:lnTo>
                    <a:pt x="188" y="171"/>
                  </a:lnTo>
                  <a:lnTo>
                    <a:pt x="188" y="172"/>
                  </a:lnTo>
                  <a:lnTo>
                    <a:pt x="189" y="174"/>
                  </a:lnTo>
                  <a:lnTo>
                    <a:pt x="192" y="174"/>
                  </a:lnTo>
                  <a:lnTo>
                    <a:pt x="194" y="175"/>
                  </a:lnTo>
                  <a:lnTo>
                    <a:pt x="194" y="174"/>
                  </a:lnTo>
                  <a:lnTo>
                    <a:pt x="196" y="174"/>
                  </a:lnTo>
                  <a:lnTo>
                    <a:pt x="197" y="173"/>
                  </a:lnTo>
                  <a:lnTo>
                    <a:pt x="199" y="172"/>
                  </a:lnTo>
                  <a:lnTo>
                    <a:pt x="200" y="171"/>
                  </a:lnTo>
                  <a:lnTo>
                    <a:pt x="203" y="168"/>
                  </a:lnTo>
                  <a:lnTo>
                    <a:pt x="205" y="168"/>
                  </a:lnTo>
                  <a:lnTo>
                    <a:pt x="206" y="169"/>
                  </a:lnTo>
                  <a:lnTo>
                    <a:pt x="208" y="168"/>
                  </a:lnTo>
                  <a:lnTo>
                    <a:pt x="209" y="168"/>
                  </a:lnTo>
                  <a:lnTo>
                    <a:pt x="210" y="169"/>
                  </a:lnTo>
                  <a:lnTo>
                    <a:pt x="211" y="171"/>
                  </a:lnTo>
                  <a:lnTo>
                    <a:pt x="214" y="171"/>
                  </a:lnTo>
                  <a:lnTo>
                    <a:pt x="216" y="171"/>
                  </a:lnTo>
                  <a:lnTo>
                    <a:pt x="217" y="171"/>
                  </a:lnTo>
                  <a:lnTo>
                    <a:pt x="217" y="168"/>
                  </a:lnTo>
                  <a:lnTo>
                    <a:pt x="218" y="167"/>
                  </a:lnTo>
                  <a:lnTo>
                    <a:pt x="220" y="169"/>
                  </a:lnTo>
                  <a:lnTo>
                    <a:pt x="222" y="168"/>
                  </a:lnTo>
                  <a:lnTo>
                    <a:pt x="223" y="168"/>
                  </a:lnTo>
                  <a:lnTo>
                    <a:pt x="224" y="166"/>
                  </a:lnTo>
                  <a:lnTo>
                    <a:pt x="227" y="165"/>
                  </a:lnTo>
                  <a:lnTo>
                    <a:pt x="227" y="163"/>
                  </a:lnTo>
                  <a:lnTo>
                    <a:pt x="228" y="161"/>
                  </a:lnTo>
                  <a:lnTo>
                    <a:pt x="229" y="161"/>
                  </a:lnTo>
                  <a:lnTo>
                    <a:pt x="232" y="162"/>
                  </a:lnTo>
                  <a:lnTo>
                    <a:pt x="233" y="163"/>
                  </a:lnTo>
                  <a:lnTo>
                    <a:pt x="235" y="163"/>
                  </a:lnTo>
                  <a:lnTo>
                    <a:pt x="238" y="163"/>
                  </a:lnTo>
                  <a:lnTo>
                    <a:pt x="240" y="163"/>
                  </a:lnTo>
                  <a:lnTo>
                    <a:pt x="241" y="163"/>
                  </a:lnTo>
                  <a:lnTo>
                    <a:pt x="242" y="163"/>
                  </a:lnTo>
                  <a:lnTo>
                    <a:pt x="242" y="165"/>
                  </a:lnTo>
                  <a:lnTo>
                    <a:pt x="242" y="166"/>
                  </a:lnTo>
                  <a:lnTo>
                    <a:pt x="241" y="167"/>
                  </a:lnTo>
                  <a:lnTo>
                    <a:pt x="240" y="167"/>
                  </a:lnTo>
                  <a:lnTo>
                    <a:pt x="239" y="167"/>
                  </a:lnTo>
                  <a:lnTo>
                    <a:pt x="239" y="168"/>
                  </a:lnTo>
                  <a:lnTo>
                    <a:pt x="238" y="168"/>
                  </a:lnTo>
                  <a:lnTo>
                    <a:pt x="238" y="171"/>
                  </a:lnTo>
                  <a:lnTo>
                    <a:pt x="236" y="171"/>
                  </a:lnTo>
                  <a:lnTo>
                    <a:pt x="235" y="172"/>
                  </a:lnTo>
                  <a:lnTo>
                    <a:pt x="234" y="172"/>
                  </a:lnTo>
                  <a:lnTo>
                    <a:pt x="232" y="172"/>
                  </a:lnTo>
                  <a:lnTo>
                    <a:pt x="230" y="173"/>
                  </a:lnTo>
                  <a:lnTo>
                    <a:pt x="230" y="174"/>
                  </a:lnTo>
                  <a:lnTo>
                    <a:pt x="229" y="174"/>
                  </a:lnTo>
                  <a:lnTo>
                    <a:pt x="228" y="175"/>
                  </a:lnTo>
                  <a:lnTo>
                    <a:pt x="227" y="175"/>
                  </a:lnTo>
                  <a:lnTo>
                    <a:pt x="227" y="177"/>
                  </a:lnTo>
                  <a:lnTo>
                    <a:pt x="226" y="178"/>
                  </a:lnTo>
                  <a:lnTo>
                    <a:pt x="226" y="180"/>
                  </a:lnTo>
                  <a:lnTo>
                    <a:pt x="228" y="180"/>
                  </a:lnTo>
                  <a:lnTo>
                    <a:pt x="230" y="180"/>
                  </a:lnTo>
                  <a:lnTo>
                    <a:pt x="230" y="179"/>
                  </a:lnTo>
                  <a:lnTo>
                    <a:pt x="232" y="178"/>
                  </a:lnTo>
                  <a:lnTo>
                    <a:pt x="233" y="177"/>
                  </a:lnTo>
                  <a:lnTo>
                    <a:pt x="234" y="177"/>
                  </a:lnTo>
                  <a:lnTo>
                    <a:pt x="235" y="175"/>
                  </a:lnTo>
                  <a:lnTo>
                    <a:pt x="236" y="174"/>
                  </a:lnTo>
                  <a:lnTo>
                    <a:pt x="239" y="173"/>
                  </a:lnTo>
                  <a:lnTo>
                    <a:pt x="241" y="172"/>
                  </a:lnTo>
                  <a:lnTo>
                    <a:pt x="244" y="171"/>
                  </a:lnTo>
                  <a:lnTo>
                    <a:pt x="246" y="171"/>
                  </a:lnTo>
                  <a:lnTo>
                    <a:pt x="245" y="172"/>
                  </a:lnTo>
                  <a:lnTo>
                    <a:pt x="244" y="173"/>
                  </a:lnTo>
                  <a:lnTo>
                    <a:pt x="241" y="174"/>
                  </a:lnTo>
                  <a:lnTo>
                    <a:pt x="240" y="174"/>
                  </a:lnTo>
                  <a:lnTo>
                    <a:pt x="241" y="177"/>
                  </a:lnTo>
                  <a:lnTo>
                    <a:pt x="242" y="175"/>
                  </a:lnTo>
                  <a:lnTo>
                    <a:pt x="244" y="174"/>
                  </a:lnTo>
                  <a:lnTo>
                    <a:pt x="245" y="174"/>
                  </a:lnTo>
                  <a:lnTo>
                    <a:pt x="246" y="173"/>
                  </a:lnTo>
                  <a:lnTo>
                    <a:pt x="247" y="172"/>
                  </a:lnTo>
                  <a:lnTo>
                    <a:pt x="250" y="171"/>
                  </a:lnTo>
                  <a:lnTo>
                    <a:pt x="251" y="171"/>
                  </a:lnTo>
                  <a:lnTo>
                    <a:pt x="251" y="173"/>
                  </a:lnTo>
                  <a:lnTo>
                    <a:pt x="248" y="174"/>
                  </a:lnTo>
                  <a:lnTo>
                    <a:pt x="247" y="175"/>
                  </a:lnTo>
                  <a:lnTo>
                    <a:pt x="247" y="177"/>
                  </a:lnTo>
                  <a:lnTo>
                    <a:pt x="248" y="178"/>
                  </a:lnTo>
                  <a:lnTo>
                    <a:pt x="247" y="179"/>
                  </a:lnTo>
                  <a:lnTo>
                    <a:pt x="246" y="179"/>
                  </a:lnTo>
                  <a:lnTo>
                    <a:pt x="244" y="179"/>
                  </a:lnTo>
                  <a:lnTo>
                    <a:pt x="242" y="181"/>
                  </a:lnTo>
                  <a:lnTo>
                    <a:pt x="241" y="183"/>
                  </a:lnTo>
                  <a:lnTo>
                    <a:pt x="240" y="181"/>
                  </a:lnTo>
                  <a:lnTo>
                    <a:pt x="239" y="180"/>
                  </a:lnTo>
                  <a:lnTo>
                    <a:pt x="236" y="180"/>
                  </a:lnTo>
                  <a:lnTo>
                    <a:pt x="238" y="181"/>
                  </a:lnTo>
                  <a:lnTo>
                    <a:pt x="239" y="183"/>
                  </a:lnTo>
                  <a:lnTo>
                    <a:pt x="239" y="185"/>
                  </a:lnTo>
                  <a:lnTo>
                    <a:pt x="239" y="186"/>
                  </a:lnTo>
                  <a:lnTo>
                    <a:pt x="238" y="189"/>
                  </a:lnTo>
                  <a:lnTo>
                    <a:pt x="238" y="190"/>
                  </a:lnTo>
                  <a:lnTo>
                    <a:pt x="236" y="191"/>
                  </a:lnTo>
                  <a:lnTo>
                    <a:pt x="235" y="192"/>
                  </a:lnTo>
                  <a:lnTo>
                    <a:pt x="234" y="193"/>
                  </a:lnTo>
                  <a:lnTo>
                    <a:pt x="235" y="193"/>
                  </a:lnTo>
                  <a:lnTo>
                    <a:pt x="238" y="195"/>
                  </a:lnTo>
                  <a:lnTo>
                    <a:pt x="240" y="195"/>
                  </a:lnTo>
                  <a:lnTo>
                    <a:pt x="242" y="195"/>
                  </a:lnTo>
                  <a:lnTo>
                    <a:pt x="244" y="193"/>
                  </a:lnTo>
                  <a:lnTo>
                    <a:pt x="246" y="193"/>
                  </a:lnTo>
                  <a:lnTo>
                    <a:pt x="248" y="193"/>
                  </a:lnTo>
                  <a:lnTo>
                    <a:pt x="250" y="192"/>
                  </a:lnTo>
                  <a:lnTo>
                    <a:pt x="251" y="192"/>
                  </a:lnTo>
                  <a:lnTo>
                    <a:pt x="252" y="191"/>
                  </a:lnTo>
                  <a:lnTo>
                    <a:pt x="252" y="190"/>
                  </a:lnTo>
                  <a:lnTo>
                    <a:pt x="251" y="187"/>
                  </a:lnTo>
                  <a:lnTo>
                    <a:pt x="250" y="187"/>
                  </a:lnTo>
                  <a:lnTo>
                    <a:pt x="250" y="185"/>
                  </a:lnTo>
                  <a:lnTo>
                    <a:pt x="250" y="184"/>
                  </a:lnTo>
                  <a:lnTo>
                    <a:pt x="251" y="183"/>
                  </a:lnTo>
                  <a:lnTo>
                    <a:pt x="252" y="183"/>
                  </a:lnTo>
                  <a:lnTo>
                    <a:pt x="252" y="181"/>
                  </a:lnTo>
                  <a:lnTo>
                    <a:pt x="252" y="180"/>
                  </a:lnTo>
                  <a:lnTo>
                    <a:pt x="252" y="179"/>
                  </a:lnTo>
                  <a:lnTo>
                    <a:pt x="251" y="178"/>
                  </a:lnTo>
                  <a:lnTo>
                    <a:pt x="253" y="178"/>
                  </a:lnTo>
                  <a:lnTo>
                    <a:pt x="253" y="177"/>
                  </a:lnTo>
                  <a:lnTo>
                    <a:pt x="253" y="175"/>
                  </a:lnTo>
                  <a:lnTo>
                    <a:pt x="253" y="174"/>
                  </a:lnTo>
                  <a:lnTo>
                    <a:pt x="253" y="173"/>
                  </a:lnTo>
                  <a:lnTo>
                    <a:pt x="255" y="169"/>
                  </a:lnTo>
                  <a:lnTo>
                    <a:pt x="256" y="169"/>
                  </a:lnTo>
                  <a:lnTo>
                    <a:pt x="258" y="168"/>
                  </a:lnTo>
                  <a:lnTo>
                    <a:pt x="257" y="167"/>
                  </a:lnTo>
                  <a:lnTo>
                    <a:pt x="257" y="166"/>
                  </a:lnTo>
                  <a:lnTo>
                    <a:pt x="256" y="165"/>
                  </a:lnTo>
                  <a:lnTo>
                    <a:pt x="255" y="163"/>
                  </a:lnTo>
                  <a:lnTo>
                    <a:pt x="256" y="161"/>
                  </a:lnTo>
                  <a:lnTo>
                    <a:pt x="257" y="161"/>
                  </a:lnTo>
                  <a:lnTo>
                    <a:pt x="258" y="161"/>
                  </a:lnTo>
                  <a:lnTo>
                    <a:pt x="258" y="162"/>
                  </a:lnTo>
                  <a:lnTo>
                    <a:pt x="259" y="162"/>
                  </a:lnTo>
                  <a:lnTo>
                    <a:pt x="261" y="161"/>
                  </a:lnTo>
                  <a:lnTo>
                    <a:pt x="263" y="160"/>
                  </a:lnTo>
                  <a:lnTo>
                    <a:pt x="264" y="160"/>
                  </a:lnTo>
                  <a:lnTo>
                    <a:pt x="267" y="159"/>
                  </a:lnTo>
                  <a:lnTo>
                    <a:pt x="269" y="159"/>
                  </a:lnTo>
                  <a:lnTo>
                    <a:pt x="274" y="159"/>
                  </a:lnTo>
                  <a:lnTo>
                    <a:pt x="276" y="160"/>
                  </a:lnTo>
                  <a:lnTo>
                    <a:pt x="277" y="161"/>
                  </a:lnTo>
                  <a:lnTo>
                    <a:pt x="279" y="162"/>
                  </a:lnTo>
                  <a:lnTo>
                    <a:pt x="280" y="162"/>
                  </a:lnTo>
                  <a:lnTo>
                    <a:pt x="282" y="162"/>
                  </a:lnTo>
                  <a:lnTo>
                    <a:pt x="283" y="161"/>
                  </a:lnTo>
                  <a:lnTo>
                    <a:pt x="285" y="162"/>
                  </a:lnTo>
                  <a:lnTo>
                    <a:pt x="282" y="163"/>
                  </a:lnTo>
                  <a:lnTo>
                    <a:pt x="281" y="163"/>
                  </a:lnTo>
                  <a:lnTo>
                    <a:pt x="280" y="165"/>
                  </a:lnTo>
                  <a:lnTo>
                    <a:pt x="280" y="166"/>
                  </a:lnTo>
                  <a:lnTo>
                    <a:pt x="281" y="167"/>
                  </a:lnTo>
                  <a:lnTo>
                    <a:pt x="282" y="167"/>
                  </a:lnTo>
                  <a:lnTo>
                    <a:pt x="283" y="166"/>
                  </a:lnTo>
                  <a:lnTo>
                    <a:pt x="285" y="166"/>
                  </a:lnTo>
                  <a:lnTo>
                    <a:pt x="287" y="165"/>
                  </a:lnTo>
                  <a:lnTo>
                    <a:pt x="287" y="167"/>
                  </a:lnTo>
                  <a:lnTo>
                    <a:pt x="286" y="168"/>
                  </a:lnTo>
                  <a:lnTo>
                    <a:pt x="285" y="168"/>
                  </a:lnTo>
                  <a:lnTo>
                    <a:pt x="283" y="171"/>
                  </a:lnTo>
                  <a:lnTo>
                    <a:pt x="281" y="172"/>
                  </a:lnTo>
                  <a:lnTo>
                    <a:pt x="280" y="171"/>
                  </a:lnTo>
                  <a:lnTo>
                    <a:pt x="279" y="172"/>
                  </a:lnTo>
                  <a:lnTo>
                    <a:pt x="277" y="173"/>
                  </a:lnTo>
                  <a:lnTo>
                    <a:pt x="277" y="174"/>
                  </a:lnTo>
                  <a:lnTo>
                    <a:pt x="276" y="178"/>
                  </a:lnTo>
                  <a:lnTo>
                    <a:pt x="275" y="177"/>
                  </a:lnTo>
                  <a:lnTo>
                    <a:pt x="275" y="174"/>
                  </a:lnTo>
                  <a:lnTo>
                    <a:pt x="274" y="174"/>
                  </a:lnTo>
                  <a:lnTo>
                    <a:pt x="274" y="175"/>
                  </a:lnTo>
                  <a:lnTo>
                    <a:pt x="273" y="178"/>
                  </a:lnTo>
                  <a:lnTo>
                    <a:pt x="271" y="178"/>
                  </a:lnTo>
                  <a:lnTo>
                    <a:pt x="270" y="177"/>
                  </a:lnTo>
                  <a:lnTo>
                    <a:pt x="270" y="174"/>
                  </a:lnTo>
                  <a:lnTo>
                    <a:pt x="269" y="172"/>
                  </a:lnTo>
                  <a:lnTo>
                    <a:pt x="268" y="172"/>
                  </a:lnTo>
                  <a:lnTo>
                    <a:pt x="267" y="174"/>
                  </a:lnTo>
                  <a:lnTo>
                    <a:pt x="265" y="175"/>
                  </a:lnTo>
                  <a:lnTo>
                    <a:pt x="264" y="174"/>
                  </a:lnTo>
                  <a:lnTo>
                    <a:pt x="262" y="172"/>
                  </a:lnTo>
                  <a:lnTo>
                    <a:pt x="261" y="173"/>
                  </a:lnTo>
                  <a:lnTo>
                    <a:pt x="261" y="174"/>
                  </a:lnTo>
                  <a:lnTo>
                    <a:pt x="262" y="175"/>
                  </a:lnTo>
                  <a:lnTo>
                    <a:pt x="263" y="177"/>
                  </a:lnTo>
                  <a:lnTo>
                    <a:pt x="264" y="177"/>
                  </a:lnTo>
                  <a:lnTo>
                    <a:pt x="267" y="178"/>
                  </a:lnTo>
                  <a:lnTo>
                    <a:pt x="268" y="179"/>
                  </a:lnTo>
                  <a:lnTo>
                    <a:pt x="267" y="180"/>
                  </a:lnTo>
                  <a:lnTo>
                    <a:pt x="263" y="180"/>
                  </a:lnTo>
                  <a:lnTo>
                    <a:pt x="262" y="180"/>
                  </a:lnTo>
                  <a:lnTo>
                    <a:pt x="261" y="181"/>
                  </a:lnTo>
                  <a:lnTo>
                    <a:pt x="261" y="183"/>
                  </a:lnTo>
                  <a:lnTo>
                    <a:pt x="262" y="184"/>
                  </a:lnTo>
                  <a:lnTo>
                    <a:pt x="264" y="184"/>
                  </a:lnTo>
                  <a:lnTo>
                    <a:pt x="267" y="184"/>
                  </a:lnTo>
                  <a:lnTo>
                    <a:pt x="268" y="184"/>
                  </a:lnTo>
                  <a:lnTo>
                    <a:pt x="269" y="183"/>
                  </a:lnTo>
                  <a:lnTo>
                    <a:pt x="270" y="181"/>
                  </a:lnTo>
                  <a:lnTo>
                    <a:pt x="271" y="180"/>
                  </a:lnTo>
                  <a:lnTo>
                    <a:pt x="274" y="179"/>
                  </a:lnTo>
                  <a:lnTo>
                    <a:pt x="275" y="179"/>
                  </a:lnTo>
                  <a:lnTo>
                    <a:pt x="275" y="181"/>
                  </a:lnTo>
                  <a:lnTo>
                    <a:pt x="274" y="183"/>
                  </a:lnTo>
                  <a:lnTo>
                    <a:pt x="275" y="183"/>
                  </a:lnTo>
                  <a:lnTo>
                    <a:pt x="276" y="183"/>
                  </a:lnTo>
                  <a:lnTo>
                    <a:pt x="277" y="181"/>
                  </a:lnTo>
                  <a:lnTo>
                    <a:pt x="279" y="180"/>
                  </a:lnTo>
                  <a:lnTo>
                    <a:pt x="282" y="180"/>
                  </a:lnTo>
                  <a:lnTo>
                    <a:pt x="283" y="179"/>
                  </a:lnTo>
                  <a:lnTo>
                    <a:pt x="283" y="177"/>
                  </a:lnTo>
                  <a:lnTo>
                    <a:pt x="283" y="175"/>
                  </a:lnTo>
                  <a:lnTo>
                    <a:pt x="283" y="174"/>
                  </a:lnTo>
                  <a:lnTo>
                    <a:pt x="283" y="173"/>
                  </a:lnTo>
                  <a:lnTo>
                    <a:pt x="285" y="172"/>
                  </a:lnTo>
                  <a:lnTo>
                    <a:pt x="286" y="171"/>
                  </a:lnTo>
                  <a:lnTo>
                    <a:pt x="287" y="169"/>
                  </a:lnTo>
                  <a:lnTo>
                    <a:pt x="289" y="167"/>
                  </a:lnTo>
                  <a:lnTo>
                    <a:pt x="291" y="166"/>
                  </a:lnTo>
                  <a:lnTo>
                    <a:pt x="292" y="166"/>
                  </a:lnTo>
                  <a:lnTo>
                    <a:pt x="293" y="167"/>
                  </a:lnTo>
                  <a:lnTo>
                    <a:pt x="292" y="168"/>
                  </a:lnTo>
                  <a:lnTo>
                    <a:pt x="292" y="169"/>
                  </a:lnTo>
                  <a:lnTo>
                    <a:pt x="291" y="172"/>
                  </a:lnTo>
                  <a:lnTo>
                    <a:pt x="291" y="174"/>
                  </a:lnTo>
                  <a:lnTo>
                    <a:pt x="292" y="177"/>
                  </a:lnTo>
                  <a:lnTo>
                    <a:pt x="293" y="178"/>
                  </a:lnTo>
                  <a:lnTo>
                    <a:pt x="297" y="180"/>
                  </a:lnTo>
                  <a:lnTo>
                    <a:pt x="301" y="181"/>
                  </a:lnTo>
                  <a:lnTo>
                    <a:pt x="300" y="183"/>
                  </a:lnTo>
                  <a:lnTo>
                    <a:pt x="299" y="183"/>
                  </a:lnTo>
                  <a:lnTo>
                    <a:pt x="297" y="183"/>
                  </a:lnTo>
                  <a:lnTo>
                    <a:pt x="294" y="184"/>
                  </a:lnTo>
                  <a:lnTo>
                    <a:pt x="293" y="184"/>
                  </a:lnTo>
                  <a:lnTo>
                    <a:pt x="289" y="185"/>
                  </a:lnTo>
                  <a:lnTo>
                    <a:pt x="289" y="187"/>
                  </a:lnTo>
                  <a:lnTo>
                    <a:pt x="291" y="189"/>
                  </a:lnTo>
                  <a:lnTo>
                    <a:pt x="293" y="187"/>
                  </a:lnTo>
                  <a:lnTo>
                    <a:pt x="295" y="186"/>
                  </a:lnTo>
                  <a:lnTo>
                    <a:pt x="294" y="189"/>
                  </a:lnTo>
                  <a:lnTo>
                    <a:pt x="292" y="190"/>
                  </a:lnTo>
                  <a:lnTo>
                    <a:pt x="289" y="190"/>
                  </a:lnTo>
                  <a:lnTo>
                    <a:pt x="286" y="191"/>
                  </a:lnTo>
                  <a:lnTo>
                    <a:pt x="283" y="193"/>
                  </a:lnTo>
                  <a:lnTo>
                    <a:pt x="282" y="195"/>
                  </a:lnTo>
                  <a:lnTo>
                    <a:pt x="280" y="197"/>
                  </a:lnTo>
                  <a:lnTo>
                    <a:pt x="279" y="199"/>
                  </a:lnTo>
                  <a:lnTo>
                    <a:pt x="277" y="202"/>
                  </a:lnTo>
                  <a:lnTo>
                    <a:pt x="276" y="203"/>
                  </a:lnTo>
                  <a:lnTo>
                    <a:pt x="275" y="204"/>
                  </a:lnTo>
                  <a:lnTo>
                    <a:pt x="273" y="203"/>
                  </a:lnTo>
                  <a:lnTo>
                    <a:pt x="273" y="201"/>
                  </a:lnTo>
                  <a:lnTo>
                    <a:pt x="271" y="201"/>
                  </a:lnTo>
                  <a:lnTo>
                    <a:pt x="270" y="201"/>
                  </a:lnTo>
                  <a:lnTo>
                    <a:pt x="269" y="202"/>
                  </a:lnTo>
                  <a:lnTo>
                    <a:pt x="268" y="202"/>
                  </a:lnTo>
                  <a:lnTo>
                    <a:pt x="268" y="203"/>
                  </a:lnTo>
                  <a:lnTo>
                    <a:pt x="269" y="204"/>
                  </a:lnTo>
                  <a:lnTo>
                    <a:pt x="270" y="207"/>
                  </a:lnTo>
                  <a:lnTo>
                    <a:pt x="269" y="207"/>
                  </a:lnTo>
                  <a:lnTo>
                    <a:pt x="268" y="208"/>
                  </a:lnTo>
                  <a:lnTo>
                    <a:pt x="267" y="209"/>
                  </a:lnTo>
                  <a:lnTo>
                    <a:pt x="265" y="209"/>
                  </a:lnTo>
                  <a:lnTo>
                    <a:pt x="264" y="208"/>
                  </a:lnTo>
                  <a:lnTo>
                    <a:pt x="262" y="207"/>
                  </a:lnTo>
                  <a:lnTo>
                    <a:pt x="261" y="207"/>
                  </a:lnTo>
                  <a:lnTo>
                    <a:pt x="259" y="205"/>
                  </a:lnTo>
                  <a:lnTo>
                    <a:pt x="259" y="203"/>
                  </a:lnTo>
                  <a:lnTo>
                    <a:pt x="257" y="203"/>
                  </a:lnTo>
                  <a:lnTo>
                    <a:pt x="257" y="204"/>
                  </a:lnTo>
                  <a:lnTo>
                    <a:pt x="257" y="205"/>
                  </a:lnTo>
                  <a:lnTo>
                    <a:pt x="255" y="205"/>
                  </a:lnTo>
                  <a:lnTo>
                    <a:pt x="252" y="205"/>
                  </a:lnTo>
                  <a:lnTo>
                    <a:pt x="252" y="208"/>
                  </a:lnTo>
                  <a:lnTo>
                    <a:pt x="253" y="210"/>
                  </a:lnTo>
                  <a:lnTo>
                    <a:pt x="256" y="210"/>
                  </a:lnTo>
                  <a:lnTo>
                    <a:pt x="258" y="210"/>
                  </a:lnTo>
                  <a:lnTo>
                    <a:pt x="263" y="210"/>
                  </a:lnTo>
                  <a:lnTo>
                    <a:pt x="264" y="210"/>
                  </a:lnTo>
                  <a:lnTo>
                    <a:pt x="261" y="212"/>
                  </a:lnTo>
                  <a:lnTo>
                    <a:pt x="257" y="213"/>
                  </a:lnTo>
                  <a:lnTo>
                    <a:pt x="256" y="213"/>
                  </a:lnTo>
                  <a:lnTo>
                    <a:pt x="253" y="215"/>
                  </a:lnTo>
                  <a:lnTo>
                    <a:pt x="253" y="216"/>
                  </a:lnTo>
                  <a:lnTo>
                    <a:pt x="255" y="218"/>
                  </a:lnTo>
                  <a:lnTo>
                    <a:pt x="256" y="218"/>
                  </a:lnTo>
                  <a:lnTo>
                    <a:pt x="258" y="218"/>
                  </a:lnTo>
                  <a:lnTo>
                    <a:pt x="261" y="216"/>
                  </a:lnTo>
                  <a:lnTo>
                    <a:pt x="262" y="216"/>
                  </a:lnTo>
                  <a:lnTo>
                    <a:pt x="263" y="219"/>
                  </a:lnTo>
                  <a:lnTo>
                    <a:pt x="261" y="219"/>
                  </a:lnTo>
                  <a:lnTo>
                    <a:pt x="259" y="219"/>
                  </a:lnTo>
                  <a:lnTo>
                    <a:pt x="256" y="219"/>
                  </a:lnTo>
                  <a:lnTo>
                    <a:pt x="253" y="219"/>
                  </a:lnTo>
                  <a:lnTo>
                    <a:pt x="252" y="219"/>
                  </a:lnTo>
                  <a:lnTo>
                    <a:pt x="251" y="220"/>
                  </a:lnTo>
                  <a:lnTo>
                    <a:pt x="251" y="222"/>
                  </a:lnTo>
                  <a:lnTo>
                    <a:pt x="253" y="222"/>
                  </a:lnTo>
                  <a:lnTo>
                    <a:pt x="255" y="224"/>
                  </a:lnTo>
                  <a:lnTo>
                    <a:pt x="253" y="225"/>
                  </a:lnTo>
                  <a:lnTo>
                    <a:pt x="256" y="226"/>
                  </a:lnTo>
                  <a:lnTo>
                    <a:pt x="256" y="225"/>
                  </a:lnTo>
                  <a:lnTo>
                    <a:pt x="253" y="227"/>
                  </a:lnTo>
                  <a:lnTo>
                    <a:pt x="253" y="228"/>
                  </a:lnTo>
                  <a:lnTo>
                    <a:pt x="255" y="228"/>
                  </a:lnTo>
                  <a:lnTo>
                    <a:pt x="256" y="231"/>
                  </a:lnTo>
                  <a:lnTo>
                    <a:pt x="255" y="231"/>
                  </a:lnTo>
                  <a:lnTo>
                    <a:pt x="253" y="231"/>
                  </a:lnTo>
                  <a:lnTo>
                    <a:pt x="252" y="232"/>
                  </a:lnTo>
                  <a:lnTo>
                    <a:pt x="252" y="234"/>
                  </a:lnTo>
                  <a:lnTo>
                    <a:pt x="251" y="233"/>
                  </a:lnTo>
                  <a:lnTo>
                    <a:pt x="250" y="233"/>
                  </a:lnTo>
                  <a:lnTo>
                    <a:pt x="250" y="236"/>
                  </a:lnTo>
                  <a:lnTo>
                    <a:pt x="248" y="237"/>
                  </a:lnTo>
                  <a:lnTo>
                    <a:pt x="247" y="237"/>
                  </a:lnTo>
                  <a:lnTo>
                    <a:pt x="245" y="236"/>
                  </a:lnTo>
                  <a:lnTo>
                    <a:pt x="245" y="234"/>
                  </a:lnTo>
                  <a:lnTo>
                    <a:pt x="244" y="233"/>
                  </a:lnTo>
                  <a:lnTo>
                    <a:pt x="242" y="233"/>
                  </a:lnTo>
                  <a:lnTo>
                    <a:pt x="241" y="233"/>
                  </a:lnTo>
                  <a:lnTo>
                    <a:pt x="241" y="234"/>
                  </a:lnTo>
                  <a:lnTo>
                    <a:pt x="240" y="237"/>
                  </a:lnTo>
                  <a:lnTo>
                    <a:pt x="239" y="237"/>
                  </a:lnTo>
                  <a:lnTo>
                    <a:pt x="239" y="236"/>
                  </a:lnTo>
                  <a:lnTo>
                    <a:pt x="238" y="234"/>
                  </a:lnTo>
                  <a:lnTo>
                    <a:pt x="236" y="236"/>
                  </a:lnTo>
                  <a:lnTo>
                    <a:pt x="235" y="237"/>
                  </a:lnTo>
                  <a:lnTo>
                    <a:pt x="236" y="238"/>
                  </a:lnTo>
                  <a:lnTo>
                    <a:pt x="235" y="238"/>
                  </a:lnTo>
                  <a:lnTo>
                    <a:pt x="234" y="237"/>
                  </a:lnTo>
                  <a:lnTo>
                    <a:pt x="233" y="236"/>
                  </a:lnTo>
                  <a:lnTo>
                    <a:pt x="230" y="236"/>
                  </a:lnTo>
                  <a:lnTo>
                    <a:pt x="230" y="239"/>
                  </a:lnTo>
                  <a:lnTo>
                    <a:pt x="230" y="240"/>
                  </a:lnTo>
                  <a:lnTo>
                    <a:pt x="228" y="239"/>
                  </a:lnTo>
                  <a:lnTo>
                    <a:pt x="227" y="238"/>
                  </a:lnTo>
                  <a:lnTo>
                    <a:pt x="224" y="239"/>
                  </a:lnTo>
                  <a:lnTo>
                    <a:pt x="224" y="240"/>
                  </a:lnTo>
                  <a:lnTo>
                    <a:pt x="224" y="242"/>
                  </a:lnTo>
                  <a:lnTo>
                    <a:pt x="223" y="240"/>
                  </a:lnTo>
                  <a:lnTo>
                    <a:pt x="221" y="240"/>
                  </a:lnTo>
                  <a:lnTo>
                    <a:pt x="220" y="240"/>
                  </a:lnTo>
                  <a:lnTo>
                    <a:pt x="217" y="239"/>
                  </a:lnTo>
                  <a:lnTo>
                    <a:pt x="217" y="240"/>
                  </a:lnTo>
                  <a:lnTo>
                    <a:pt x="215" y="240"/>
                  </a:lnTo>
                  <a:lnTo>
                    <a:pt x="214" y="240"/>
                  </a:lnTo>
                  <a:lnTo>
                    <a:pt x="210" y="239"/>
                  </a:lnTo>
                  <a:lnTo>
                    <a:pt x="210" y="240"/>
                  </a:lnTo>
                  <a:lnTo>
                    <a:pt x="209" y="243"/>
                  </a:lnTo>
                  <a:lnTo>
                    <a:pt x="210" y="243"/>
                  </a:lnTo>
                  <a:lnTo>
                    <a:pt x="212" y="245"/>
                  </a:lnTo>
                  <a:lnTo>
                    <a:pt x="212" y="246"/>
                  </a:lnTo>
                  <a:lnTo>
                    <a:pt x="211" y="248"/>
                  </a:lnTo>
                  <a:lnTo>
                    <a:pt x="212" y="249"/>
                  </a:lnTo>
                  <a:lnTo>
                    <a:pt x="214" y="250"/>
                  </a:lnTo>
                  <a:lnTo>
                    <a:pt x="215" y="252"/>
                  </a:lnTo>
                  <a:lnTo>
                    <a:pt x="217" y="254"/>
                  </a:lnTo>
                  <a:lnTo>
                    <a:pt x="217" y="255"/>
                  </a:lnTo>
                  <a:lnTo>
                    <a:pt x="215" y="255"/>
                  </a:lnTo>
                  <a:lnTo>
                    <a:pt x="212" y="255"/>
                  </a:lnTo>
                  <a:lnTo>
                    <a:pt x="210" y="255"/>
                  </a:lnTo>
                  <a:lnTo>
                    <a:pt x="209" y="254"/>
                  </a:lnTo>
                  <a:lnTo>
                    <a:pt x="211" y="254"/>
                  </a:lnTo>
                  <a:lnTo>
                    <a:pt x="211" y="251"/>
                  </a:lnTo>
                  <a:lnTo>
                    <a:pt x="212" y="250"/>
                  </a:lnTo>
                  <a:lnTo>
                    <a:pt x="211" y="250"/>
                  </a:lnTo>
                  <a:lnTo>
                    <a:pt x="210" y="250"/>
                  </a:lnTo>
                  <a:lnTo>
                    <a:pt x="209" y="251"/>
                  </a:lnTo>
                  <a:lnTo>
                    <a:pt x="208" y="251"/>
                  </a:lnTo>
                  <a:lnTo>
                    <a:pt x="209" y="250"/>
                  </a:lnTo>
                  <a:lnTo>
                    <a:pt x="209" y="249"/>
                  </a:lnTo>
                  <a:lnTo>
                    <a:pt x="209" y="246"/>
                  </a:lnTo>
                  <a:lnTo>
                    <a:pt x="209" y="245"/>
                  </a:lnTo>
                  <a:lnTo>
                    <a:pt x="208" y="244"/>
                  </a:lnTo>
                  <a:lnTo>
                    <a:pt x="206" y="244"/>
                  </a:lnTo>
                  <a:lnTo>
                    <a:pt x="206" y="246"/>
                  </a:lnTo>
                  <a:lnTo>
                    <a:pt x="206" y="249"/>
                  </a:lnTo>
                  <a:lnTo>
                    <a:pt x="204" y="249"/>
                  </a:lnTo>
                  <a:lnTo>
                    <a:pt x="204" y="248"/>
                  </a:lnTo>
                  <a:lnTo>
                    <a:pt x="203" y="246"/>
                  </a:lnTo>
                  <a:lnTo>
                    <a:pt x="202" y="248"/>
                  </a:lnTo>
                  <a:lnTo>
                    <a:pt x="202" y="249"/>
                  </a:lnTo>
                  <a:lnTo>
                    <a:pt x="199" y="250"/>
                  </a:lnTo>
                  <a:lnTo>
                    <a:pt x="198" y="249"/>
                  </a:lnTo>
                  <a:lnTo>
                    <a:pt x="198" y="248"/>
                  </a:lnTo>
                  <a:lnTo>
                    <a:pt x="197" y="246"/>
                  </a:lnTo>
                  <a:lnTo>
                    <a:pt x="196" y="246"/>
                  </a:lnTo>
                  <a:lnTo>
                    <a:pt x="194" y="248"/>
                  </a:lnTo>
                  <a:lnTo>
                    <a:pt x="193" y="250"/>
                  </a:lnTo>
                  <a:lnTo>
                    <a:pt x="192" y="251"/>
                  </a:lnTo>
                  <a:lnTo>
                    <a:pt x="192" y="254"/>
                  </a:lnTo>
                  <a:lnTo>
                    <a:pt x="193" y="255"/>
                  </a:lnTo>
                  <a:lnTo>
                    <a:pt x="194" y="255"/>
                  </a:lnTo>
                  <a:lnTo>
                    <a:pt x="197" y="257"/>
                  </a:lnTo>
                  <a:lnTo>
                    <a:pt x="198" y="260"/>
                  </a:lnTo>
                  <a:lnTo>
                    <a:pt x="196" y="260"/>
                  </a:lnTo>
                  <a:lnTo>
                    <a:pt x="194" y="258"/>
                  </a:lnTo>
                  <a:lnTo>
                    <a:pt x="193" y="256"/>
                  </a:lnTo>
                  <a:lnTo>
                    <a:pt x="192" y="255"/>
                  </a:lnTo>
                  <a:lnTo>
                    <a:pt x="189" y="256"/>
                  </a:lnTo>
                  <a:lnTo>
                    <a:pt x="189" y="255"/>
                  </a:lnTo>
                  <a:lnTo>
                    <a:pt x="188" y="254"/>
                  </a:lnTo>
                  <a:lnTo>
                    <a:pt x="189" y="251"/>
                  </a:lnTo>
                  <a:lnTo>
                    <a:pt x="189" y="250"/>
                  </a:lnTo>
                  <a:lnTo>
                    <a:pt x="191" y="250"/>
                  </a:lnTo>
                  <a:lnTo>
                    <a:pt x="192" y="248"/>
                  </a:lnTo>
                  <a:lnTo>
                    <a:pt x="192" y="245"/>
                  </a:lnTo>
                  <a:lnTo>
                    <a:pt x="192" y="244"/>
                  </a:lnTo>
                  <a:lnTo>
                    <a:pt x="192" y="243"/>
                  </a:lnTo>
                  <a:lnTo>
                    <a:pt x="189" y="242"/>
                  </a:lnTo>
                  <a:lnTo>
                    <a:pt x="189" y="240"/>
                  </a:lnTo>
                  <a:lnTo>
                    <a:pt x="191" y="238"/>
                  </a:lnTo>
                  <a:lnTo>
                    <a:pt x="189" y="236"/>
                  </a:lnTo>
                  <a:lnTo>
                    <a:pt x="189" y="234"/>
                  </a:lnTo>
                  <a:lnTo>
                    <a:pt x="185" y="238"/>
                  </a:lnTo>
                  <a:lnTo>
                    <a:pt x="183" y="239"/>
                  </a:lnTo>
                  <a:lnTo>
                    <a:pt x="182" y="239"/>
                  </a:lnTo>
                  <a:lnTo>
                    <a:pt x="181" y="239"/>
                  </a:lnTo>
                  <a:lnTo>
                    <a:pt x="181" y="237"/>
                  </a:lnTo>
                  <a:lnTo>
                    <a:pt x="180" y="237"/>
                  </a:lnTo>
                  <a:lnTo>
                    <a:pt x="179" y="233"/>
                  </a:lnTo>
                  <a:lnTo>
                    <a:pt x="177" y="233"/>
                  </a:lnTo>
                  <a:lnTo>
                    <a:pt x="176" y="234"/>
                  </a:lnTo>
                  <a:lnTo>
                    <a:pt x="175" y="234"/>
                  </a:lnTo>
                  <a:lnTo>
                    <a:pt x="174" y="233"/>
                  </a:lnTo>
                  <a:lnTo>
                    <a:pt x="174" y="232"/>
                  </a:lnTo>
                  <a:lnTo>
                    <a:pt x="175" y="230"/>
                  </a:lnTo>
                  <a:lnTo>
                    <a:pt x="176" y="227"/>
                  </a:lnTo>
                  <a:lnTo>
                    <a:pt x="176" y="225"/>
                  </a:lnTo>
                  <a:lnTo>
                    <a:pt x="174" y="222"/>
                  </a:lnTo>
                  <a:lnTo>
                    <a:pt x="174" y="221"/>
                  </a:lnTo>
                  <a:lnTo>
                    <a:pt x="171" y="222"/>
                  </a:lnTo>
                  <a:lnTo>
                    <a:pt x="170" y="222"/>
                  </a:lnTo>
                  <a:lnTo>
                    <a:pt x="168" y="222"/>
                  </a:lnTo>
                  <a:lnTo>
                    <a:pt x="167" y="222"/>
                  </a:lnTo>
                  <a:lnTo>
                    <a:pt x="167" y="225"/>
                  </a:lnTo>
                  <a:lnTo>
                    <a:pt x="165" y="226"/>
                  </a:lnTo>
                  <a:lnTo>
                    <a:pt x="167" y="227"/>
                  </a:lnTo>
                  <a:lnTo>
                    <a:pt x="168" y="228"/>
                  </a:lnTo>
                  <a:lnTo>
                    <a:pt x="165" y="230"/>
                  </a:lnTo>
                  <a:lnTo>
                    <a:pt x="165" y="231"/>
                  </a:lnTo>
                  <a:lnTo>
                    <a:pt x="167" y="233"/>
                  </a:lnTo>
                  <a:lnTo>
                    <a:pt x="168" y="233"/>
                  </a:lnTo>
                  <a:lnTo>
                    <a:pt x="168" y="236"/>
                  </a:lnTo>
                  <a:lnTo>
                    <a:pt x="168" y="237"/>
                  </a:lnTo>
                  <a:lnTo>
                    <a:pt x="168" y="239"/>
                  </a:lnTo>
                  <a:lnTo>
                    <a:pt x="168" y="242"/>
                  </a:lnTo>
                  <a:lnTo>
                    <a:pt x="171" y="242"/>
                  </a:lnTo>
                  <a:lnTo>
                    <a:pt x="170" y="243"/>
                  </a:lnTo>
                  <a:lnTo>
                    <a:pt x="169" y="244"/>
                  </a:lnTo>
                  <a:lnTo>
                    <a:pt x="170" y="246"/>
                  </a:lnTo>
                  <a:lnTo>
                    <a:pt x="170" y="249"/>
                  </a:lnTo>
                  <a:lnTo>
                    <a:pt x="169" y="248"/>
                  </a:lnTo>
                  <a:lnTo>
                    <a:pt x="168" y="245"/>
                  </a:lnTo>
                  <a:lnTo>
                    <a:pt x="168" y="243"/>
                  </a:lnTo>
                  <a:lnTo>
                    <a:pt x="165" y="242"/>
                  </a:lnTo>
                  <a:lnTo>
                    <a:pt x="165" y="239"/>
                  </a:lnTo>
                  <a:lnTo>
                    <a:pt x="163" y="238"/>
                  </a:lnTo>
                  <a:lnTo>
                    <a:pt x="163" y="236"/>
                  </a:lnTo>
                  <a:lnTo>
                    <a:pt x="162" y="234"/>
                  </a:lnTo>
                  <a:lnTo>
                    <a:pt x="161" y="232"/>
                  </a:lnTo>
                  <a:lnTo>
                    <a:pt x="159" y="233"/>
                  </a:lnTo>
                  <a:lnTo>
                    <a:pt x="158" y="233"/>
                  </a:lnTo>
                  <a:lnTo>
                    <a:pt x="158" y="234"/>
                  </a:lnTo>
                  <a:lnTo>
                    <a:pt x="158" y="236"/>
                  </a:lnTo>
                  <a:lnTo>
                    <a:pt x="158" y="239"/>
                  </a:lnTo>
                  <a:lnTo>
                    <a:pt x="159" y="240"/>
                  </a:lnTo>
                  <a:lnTo>
                    <a:pt x="162" y="242"/>
                  </a:lnTo>
                  <a:lnTo>
                    <a:pt x="163" y="243"/>
                  </a:lnTo>
                  <a:lnTo>
                    <a:pt x="162" y="244"/>
                  </a:lnTo>
                  <a:lnTo>
                    <a:pt x="161" y="244"/>
                  </a:lnTo>
                  <a:lnTo>
                    <a:pt x="158" y="243"/>
                  </a:lnTo>
                  <a:lnTo>
                    <a:pt x="157" y="242"/>
                  </a:lnTo>
                  <a:lnTo>
                    <a:pt x="157" y="240"/>
                  </a:lnTo>
                  <a:lnTo>
                    <a:pt x="156" y="239"/>
                  </a:lnTo>
                  <a:lnTo>
                    <a:pt x="155" y="238"/>
                  </a:lnTo>
                  <a:lnTo>
                    <a:pt x="155" y="237"/>
                  </a:lnTo>
                  <a:lnTo>
                    <a:pt x="153" y="236"/>
                  </a:lnTo>
                  <a:lnTo>
                    <a:pt x="152" y="234"/>
                  </a:lnTo>
                  <a:lnTo>
                    <a:pt x="152" y="233"/>
                  </a:lnTo>
                  <a:lnTo>
                    <a:pt x="153" y="232"/>
                  </a:lnTo>
                  <a:lnTo>
                    <a:pt x="155" y="231"/>
                  </a:lnTo>
                  <a:lnTo>
                    <a:pt x="155" y="228"/>
                  </a:lnTo>
                  <a:lnTo>
                    <a:pt x="153" y="227"/>
                  </a:lnTo>
                  <a:lnTo>
                    <a:pt x="151" y="227"/>
                  </a:lnTo>
                  <a:lnTo>
                    <a:pt x="150" y="227"/>
                  </a:lnTo>
                  <a:lnTo>
                    <a:pt x="149" y="228"/>
                  </a:lnTo>
                  <a:lnTo>
                    <a:pt x="147" y="228"/>
                  </a:lnTo>
                  <a:lnTo>
                    <a:pt x="145" y="227"/>
                  </a:lnTo>
                  <a:lnTo>
                    <a:pt x="145" y="225"/>
                  </a:lnTo>
                  <a:lnTo>
                    <a:pt x="144" y="224"/>
                  </a:lnTo>
                  <a:lnTo>
                    <a:pt x="141" y="222"/>
                  </a:lnTo>
                  <a:lnTo>
                    <a:pt x="141" y="221"/>
                  </a:lnTo>
                  <a:lnTo>
                    <a:pt x="140" y="219"/>
                  </a:lnTo>
                  <a:lnTo>
                    <a:pt x="139" y="218"/>
                  </a:lnTo>
                  <a:lnTo>
                    <a:pt x="137" y="216"/>
                  </a:lnTo>
                  <a:lnTo>
                    <a:pt x="134" y="216"/>
                  </a:lnTo>
                  <a:lnTo>
                    <a:pt x="134" y="219"/>
                  </a:lnTo>
                  <a:lnTo>
                    <a:pt x="134" y="220"/>
                  </a:lnTo>
                  <a:lnTo>
                    <a:pt x="133" y="221"/>
                  </a:lnTo>
                  <a:lnTo>
                    <a:pt x="133" y="224"/>
                  </a:lnTo>
                  <a:lnTo>
                    <a:pt x="135" y="225"/>
                  </a:lnTo>
                  <a:lnTo>
                    <a:pt x="137" y="227"/>
                  </a:lnTo>
                  <a:lnTo>
                    <a:pt x="139" y="228"/>
                  </a:lnTo>
                  <a:lnTo>
                    <a:pt x="140" y="230"/>
                  </a:lnTo>
                  <a:lnTo>
                    <a:pt x="141" y="230"/>
                  </a:lnTo>
                  <a:lnTo>
                    <a:pt x="144" y="231"/>
                  </a:lnTo>
                  <a:lnTo>
                    <a:pt x="144" y="232"/>
                  </a:lnTo>
                  <a:lnTo>
                    <a:pt x="143" y="233"/>
                  </a:lnTo>
                  <a:lnTo>
                    <a:pt x="141" y="233"/>
                  </a:lnTo>
                  <a:lnTo>
                    <a:pt x="139" y="231"/>
                  </a:lnTo>
                  <a:lnTo>
                    <a:pt x="138" y="228"/>
                  </a:lnTo>
                  <a:lnTo>
                    <a:pt x="137" y="231"/>
                  </a:lnTo>
                  <a:lnTo>
                    <a:pt x="135" y="232"/>
                  </a:lnTo>
                  <a:lnTo>
                    <a:pt x="134" y="228"/>
                  </a:lnTo>
                  <a:lnTo>
                    <a:pt x="133" y="226"/>
                  </a:lnTo>
                  <a:lnTo>
                    <a:pt x="130" y="227"/>
                  </a:lnTo>
                  <a:lnTo>
                    <a:pt x="130" y="228"/>
                  </a:lnTo>
                  <a:lnTo>
                    <a:pt x="129" y="227"/>
                  </a:lnTo>
                  <a:lnTo>
                    <a:pt x="127" y="225"/>
                  </a:lnTo>
                  <a:lnTo>
                    <a:pt x="127" y="222"/>
                  </a:lnTo>
                  <a:lnTo>
                    <a:pt x="124" y="222"/>
                  </a:lnTo>
                  <a:lnTo>
                    <a:pt x="123" y="225"/>
                  </a:lnTo>
                  <a:lnTo>
                    <a:pt x="122" y="224"/>
                  </a:lnTo>
                  <a:lnTo>
                    <a:pt x="121" y="222"/>
                  </a:lnTo>
                  <a:lnTo>
                    <a:pt x="122" y="219"/>
                  </a:lnTo>
                  <a:lnTo>
                    <a:pt x="122" y="218"/>
                  </a:lnTo>
                  <a:lnTo>
                    <a:pt x="120" y="215"/>
                  </a:lnTo>
                  <a:lnTo>
                    <a:pt x="117" y="216"/>
                  </a:lnTo>
                  <a:lnTo>
                    <a:pt x="115" y="218"/>
                  </a:lnTo>
                  <a:lnTo>
                    <a:pt x="111" y="218"/>
                  </a:lnTo>
                  <a:lnTo>
                    <a:pt x="110" y="216"/>
                  </a:lnTo>
                  <a:lnTo>
                    <a:pt x="109" y="215"/>
                  </a:lnTo>
                  <a:lnTo>
                    <a:pt x="108" y="214"/>
                  </a:lnTo>
                  <a:lnTo>
                    <a:pt x="105" y="213"/>
                  </a:lnTo>
                  <a:lnTo>
                    <a:pt x="103" y="213"/>
                  </a:lnTo>
                  <a:lnTo>
                    <a:pt x="102" y="214"/>
                  </a:lnTo>
                  <a:lnTo>
                    <a:pt x="103" y="215"/>
                  </a:lnTo>
                  <a:lnTo>
                    <a:pt x="102" y="216"/>
                  </a:lnTo>
                  <a:lnTo>
                    <a:pt x="99" y="216"/>
                  </a:lnTo>
                  <a:lnTo>
                    <a:pt x="98" y="215"/>
                  </a:lnTo>
                  <a:lnTo>
                    <a:pt x="98" y="214"/>
                  </a:lnTo>
                  <a:lnTo>
                    <a:pt x="98" y="213"/>
                  </a:lnTo>
                  <a:lnTo>
                    <a:pt x="98" y="212"/>
                  </a:lnTo>
                  <a:lnTo>
                    <a:pt x="97" y="209"/>
                  </a:lnTo>
                  <a:lnTo>
                    <a:pt x="94" y="209"/>
                  </a:lnTo>
                  <a:lnTo>
                    <a:pt x="92" y="207"/>
                  </a:lnTo>
                  <a:lnTo>
                    <a:pt x="92" y="205"/>
                  </a:lnTo>
                  <a:lnTo>
                    <a:pt x="92" y="204"/>
                  </a:lnTo>
                  <a:lnTo>
                    <a:pt x="91" y="202"/>
                  </a:lnTo>
                  <a:lnTo>
                    <a:pt x="88" y="202"/>
                  </a:lnTo>
                  <a:lnTo>
                    <a:pt x="88" y="203"/>
                  </a:lnTo>
                  <a:lnTo>
                    <a:pt x="88" y="205"/>
                  </a:lnTo>
                  <a:lnTo>
                    <a:pt x="87" y="204"/>
                  </a:lnTo>
                  <a:lnTo>
                    <a:pt x="86" y="203"/>
                  </a:lnTo>
                  <a:lnTo>
                    <a:pt x="85" y="202"/>
                  </a:lnTo>
                  <a:lnTo>
                    <a:pt x="84" y="202"/>
                  </a:lnTo>
                  <a:lnTo>
                    <a:pt x="81" y="201"/>
                  </a:lnTo>
                  <a:lnTo>
                    <a:pt x="80" y="201"/>
                  </a:lnTo>
                  <a:lnTo>
                    <a:pt x="79" y="201"/>
                  </a:lnTo>
                  <a:lnTo>
                    <a:pt x="78" y="201"/>
                  </a:lnTo>
                  <a:lnTo>
                    <a:pt x="76" y="201"/>
                  </a:lnTo>
                  <a:lnTo>
                    <a:pt x="75" y="201"/>
                  </a:lnTo>
                  <a:lnTo>
                    <a:pt x="75" y="204"/>
                  </a:lnTo>
                  <a:lnTo>
                    <a:pt x="78" y="207"/>
                  </a:lnTo>
                  <a:lnTo>
                    <a:pt x="80" y="209"/>
                  </a:lnTo>
                  <a:lnTo>
                    <a:pt x="80" y="212"/>
                  </a:lnTo>
                  <a:lnTo>
                    <a:pt x="79" y="212"/>
                  </a:lnTo>
                  <a:lnTo>
                    <a:pt x="79" y="213"/>
                  </a:lnTo>
                  <a:lnTo>
                    <a:pt x="79" y="215"/>
                  </a:lnTo>
                  <a:lnTo>
                    <a:pt x="80" y="216"/>
                  </a:lnTo>
                  <a:lnTo>
                    <a:pt x="81" y="216"/>
                  </a:lnTo>
                  <a:lnTo>
                    <a:pt x="82" y="219"/>
                  </a:lnTo>
                  <a:lnTo>
                    <a:pt x="84" y="219"/>
                  </a:lnTo>
                  <a:lnTo>
                    <a:pt x="87" y="219"/>
                  </a:lnTo>
                  <a:lnTo>
                    <a:pt x="88" y="220"/>
                  </a:lnTo>
                  <a:lnTo>
                    <a:pt x="88" y="221"/>
                  </a:lnTo>
                  <a:lnTo>
                    <a:pt x="87" y="221"/>
                  </a:lnTo>
                  <a:lnTo>
                    <a:pt x="86" y="221"/>
                  </a:lnTo>
                  <a:lnTo>
                    <a:pt x="84" y="222"/>
                  </a:lnTo>
                  <a:lnTo>
                    <a:pt x="82" y="224"/>
                  </a:lnTo>
                  <a:lnTo>
                    <a:pt x="84" y="226"/>
                  </a:lnTo>
                  <a:lnTo>
                    <a:pt x="86" y="226"/>
                  </a:lnTo>
                  <a:lnTo>
                    <a:pt x="87" y="227"/>
                  </a:lnTo>
                  <a:lnTo>
                    <a:pt x="86" y="228"/>
                  </a:lnTo>
                  <a:lnTo>
                    <a:pt x="88" y="230"/>
                  </a:lnTo>
                  <a:lnTo>
                    <a:pt x="90" y="230"/>
                  </a:lnTo>
                  <a:lnTo>
                    <a:pt x="91" y="231"/>
                  </a:lnTo>
                  <a:lnTo>
                    <a:pt x="93" y="231"/>
                  </a:lnTo>
                  <a:lnTo>
                    <a:pt x="94" y="232"/>
                  </a:lnTo>
                  <a:lnTo>
                    <a:pt x="96" y="232"/>
                  </a:lnTo>
                  <a:lnTo>
                    <a:pt x="96" y="233"/>
                  </a:lnTo>
                  <a:lnTo>
                    <a:pt x="94" y="234"/>
                  </a:lnTo>
                  <a:lnTo>
                    <a:pt x="93" y="234"/>
                  </a:lnTo>
                  <a:lnTo>
                    <a:pt x="91" y="233"/>
                  </a:lnTo>
                  <a:lnTo>
                    <a:pt x="90" y="232"/>
                  </a:lnTo>
                  <a:lnTo>
                    <a:pt x="87" y="232"/>
                  </a:lnTo>
                  <a:lnTo>
                    <a:pt x="86" y="231"/>
                  </a:lnTo>
                  <a:lnTo>
                    <a:pt x="86" y="230"/>
                  </a:lnTo>
                  <a:lnTo>
                    <a:pt x="84" y="230"/>
                  </a:lnTo>
                  <a:lnTo>
                    <a:pt x="84" y="231"/>
                  </a:lnTo>
                  <a:lnTo>
                    <a:pt x="82" y="230"/>
                  </a:lnTo>
                  <a:lnTo>
                    <a:pt x="80" y="228"/>
                  </a:lnTo>
                  <a:lnTo>
                    <a:pt x="80" y="230"/>
                  </a:lnTo>
                  <a:lnTo>
                    <a:pt x="79" y="230"/>
                  </a:lnTo>
                  <a:lnTo>
                    <a:pt x="76" y="230"/>
                  </a:lnTo>
                  <a:lnTo>
                    <a:pt x="76" y="231"/>
                  </a:lnTo>
                  <a:lnTo>
                    <a:pt x="74" y="233"/>
                  </a:lnTo>
                  <a:lnTo>
                    <a:pt x="73" y="234"/>
                  </a:lnTo>
                  <a:lnTo>
                    <a:pt x="75" y="237"/>
                  </a:lnTo>
                  <a:lnTo>
                    <a:pt x="78" y="237"/>
                  </a:lnTo>
                  <a:lnTo>
                    <a:pt x="78" y="239"/>
                  </a:lnTo>
                  <a:lnTo>
                    <a:pt x="81" y="240"/>
                  </a:lnTo>
                  <a:lnTo>
                    <a:pt x="84" y="240"/>
                  </a:lnTo>
                  <a:lnTo>
                    <a:pt x="87" y="240"/>
                  </a:lnTo>
                  <a:lnTo>
                    <a:pt x="90" y="242"/>
                  </a:lnTo>
                  <a:lnTo>
                    <a:pt x="91" y="243"/>
                  </a:lnTo>
                  <a:lnTo>
                    <a:pt x="91" y="245"/>
                  </a:lnTo>
                  <a:lnTo>
                    <a:pt x="92" y="248"/>
                  </a:lnTo>
                  <a:lnTo>
                    <a:pt x="94" y="249"/>
                  </a:lnTo>
                  <a:lnTo>
                    <a:pt x="97" y="249"/>
                  </a:lnTo>
                  <a:lnTo>
                    <a:pt x="98" y="248"/>
                  </a:lnTo>
                  <a:lnTo>
                    <a:pt x="100" y="248"/>
                  </a:lnTo>
                  <a:lnTo>
                    <a:pt x="102" y="248"/>
                  </a:lnTo>
                  <a:lnTo>
                    <a:pt x="104" y="250"/>
                  </a:lnTo>
                  <a:lnTo>
                    <a:pt x="106" y="251"/>
                  </a:lnTo>
                  <a:lnTo>
                    <a:pt x="108" y="251"/>
                  </a:lnTo>
                  <a:lnTo>
                    <a:pt x="109" y="250"/>
                  </a:lnTo>
                  <a:lnTo>
                    <a:pt x="110" y="250"/>
                  </a:lnTo>
                  <a:lnTo>
                    <a:pt x="111" y="251"/>
                  </a:lnTo>
                  <a:lnTo>
                    <a:pt x="111" y="255"/>
                  </a:lnTo>
                  <a:lnTo>
                    <a:pt x="109" y="256"/>
                  </a:lnTo>
                  <a:lnTo>
                    <a:pt x="106" y="256"/>
                  </a:lnTo>
                  <a:lnTo>
                    <a:pt x="104" y="256"/>
                  </a:lnTo>
                  <a:lnTo>
                    <a:pt x="103" y="258"/>
                  </a:lnTo>
                  <a:lnTo>
                    <a:pt x="103" y="260"/>
                  </a:lnTo>
                  <a:lnTo>
                    <a:pt x="105" y="261"/>
                  </a:lnTo>
                  <a:lnTo>
                    <a:pt x="108" y="261"/>
                  </a:lnTo>
                  <a:lnTo>
                    <a:pt x="110" y="263"/>
                  </a:lnTo>
                  <a:lnTo>
                    <a:pt x="111" y="262"/>
                  </a:lnTo>
                  <a:lnTo>
                    <a:pt x="112" y="261"/>
                  </a:lnTo>
                  <a:lnTo>
                    <a:pt x="114" y="260"/>
                  </a:lnTo>
                  <a:lnTo>
                    <a:pt x="115" y="260"/>
                  </a:lnTo>
                  <a:lnTo>
                    <a:pt x="116" y="260"/>
                  </a:lnTo>
                  <a:lnTo>
                    <a:pt x="118" y="260"/>
                  </a:lnTo>
                  <a:lnTo>
                    <a:pt x="122" y="260"/>
                  </a:lnTo>
                  <a:lnTo>
                    <a:pt x="124" y="262"/>
                  </a:lnTo>
                  <a:lnTo>
                    <a:pt x="124" y="263"/>
                  </a:lnTo>
                  <a:lnTo>
                    <a:pt x="124" y="266"/>
                  </a:lnTo>
                  <a:lnTo>
                    <a:pt x="122" y="266"/>
                  </a:lnTo>
                  <a:lnTo>
                    <a:pt x="121" y="264"/>
                  </a:lnTo>
                  <a:lnTo>
                    <a:pt x="120" y="264"/>
                  </a:lnTo>
                  <a:lnTo>
                    <a:pt x="118" y="264"/>
                  </a:lnTo>
                  <a:lnTo>
                    <a:pt x="117" y="264"/>
                  </a:lnTo>
                  <a:lnTo>
                    <a:pt x="116" y="266"/>
                  </a:lnTo>
                  <a:lnTo>
                    <a:pt x="115" y="267"/>
                  </a:lnTo>
                  <a:lnTo>
                    <a:pt x="112" y="267"/>
                  </a:lnTo>
                  <a:lnTo>
                    <a:pt x="111" y="267"/>
                  </a:lnTo>
                  <a:lnTo>
                    <a:pt x="109" y="267"/>
                  </a:lnTo>
                  <a:lnTo>
                    <a:pt x="106" y="269"/>
                  </a:lnTo>
                  <a:lnTo>
                    <a:pt x="106" y="274"/>
                  </a:lnTo>
                  <a:lnTo>
                    <a:pt x="108" y="274"/>
                  </a:lnTo>
                  <a:lnTo>
                    <a:pt x="109" y="274"/>
                  </a:lnTo>
                  <a:lnTo>
                    <a:pt x="111" y="275"/>
                  </a:lnTo>
                  <a:lnTo>
                    <a:pt x="114" y="275"/>
                  </a:lnTo>
                  <a:lnTo>
                    <a:pt x="116" y="275"/>
                  </a:lnTo>
                  <a:lnTo>
                    <a:pt x="117" y="275"/>
                  </a:lnTo>
                  <a:lnTo>
                    <a:pt x="118" y="274"/>
                  </a:lnTo>
                  <a:lnTo>
                    <a:pt x="120" y="272"/>
                  </a:lnTo>
                  <a:lnTo>
                    <a:pt x="122" y="272"/>
                  </a:lnTo>
                  <a:lnTo>
                    <a:pt x="123" y="273"/>
                  </a:lnTo>
                  <a:lnTo>
                    <a:pt x="122" y="275"/>
                  </a:lnTo>
                  <a:lnTo>
                    <a:pt x="121" y="275"/>
                  </a:lnTo>
                  <a:lnTo>
                    <a:pt x="120" y="275"/>
                  </a:lnTo>
                  <a:lnTo>
                    <a:pt x="118" y="278"/>
                  </a:lnTo>
                  <a:lnTo>
                    <a:pt x="118" y="279"/>
                  </a:lnTo>
                  <a:lnTo>
                    <a:pt x="121" y="280"/>
                  </a:lnTo>
                  <a:lnTo>
                    <a:pt x="123" y="280"/>
                  </a:lnTo>
                  <a:lnTo>
                    <a:pt x="124" y="282"/>
                  </a:lnTo>
                  <a:lnTo>
                    <a:pt x="126" y="284"/>
                  </a:lnTo>
                  <a:lnTo>
                    <a:pt x="127" y="284"/>
                  </a:lnTo>
                  <a:lnTo>
                    <a:pt x="128" y="285"/>
                  </a:lnTo>
                  <a:lnTo>
                    <a:pt x="128" y="287"/>
                  </a:lnTo>
                  <a:lnTo>
                    <a:pt x="126" y="287"/>
                  </a:lnTo>
                  <a:lnTo>
                    <a:pt x="123" y="286"/>
                  </a:lnTo>
                  <a:lnTo>
                    <a:pt x="120" y="287"/>
                  </a:lnTo>
                  <a:lnTo>
                    <a:pt x="121" y="291"/>
                  </a:lnTo>
                  <a:lnTo>
                    <a:pt x="121" y="292"/>
                  </a:lnTo>
                  <a:lnTo>
                    <a:pt x="122" y="294"/>
                  </a:lnTo>
                  <a:lnTo>
                    <a:pt x="120" y="296"/>
                  </a:lnTo>
                  <a:lnTo>
                    <a:pt x="118" y="297"/>
                  </a:lnTo>
                  <a:lnTo>
                    <a:pt x="120" y="299"/>
                  </a:lnTo>
                  <a:lnTo>
                    <a:pt x="122" y="299"/>
                  </a:lnTo>
                  <a:lnTo>
                    <a:pt x="124" y="300"/>
                  </a:lnTo>
                  <a:lnTo>
                    <a:pt x="126" y="303"/>
                  </a:lnTo>
                  <a:lnTo>
                    <a:pt x="124" y="305"/>
                  </a:lnTo>
                  <a:lnTo>
                    <a:pt x="122" y="308"/>
                  </a:lnTo>
                  <a:lnTo>
                    <a:pt x="121" y="309"/>
                  </a:lnTo>
                  <a:lnTo>
                    <a:pt x="122" y="310"/>
                  </a:lnTo>
                  <a:lnTo>
                    <a:pt x="124" y="310"/>
                  </a:lnTo>
                  <a:lnTo>
                    <a:pt x="126" y="309"/>
                  </a:lnTo>
                  <a:lnTo>
                    <a:pt x="128" y="311"/>
                  </a:lnTo>
                  <a:lnTo>
                    <a:pt x="129" y="312"/>
                  </a:lnTo>
                  <a:lnTo>
                    <a:pt x="133" y="315"/>
                  </a:lnTo>
                  <a:lnTo>
                    <a:pt x="132" y="317"/>
                  </a:lnTo>
                  <a:lnTo>
                    <a:pt x="129" y="317"/>
                  </a:lnTo>
                  <a:lnTo>
                    <a:pt x="128" y="319"/>
                  </a:lnTo>
                  <a:lnTo>
                    <a:pt x="126" y="320"/>
                  </a:lnTo>
                  <a:lnTo>
                    <a:pt x="123" y="322"/>
                  </a:lnTo>
                  <a:lnTo>
                    <a:pt x="122" y="323"/>
                  </a:lnTo>
                  <a:lnTo>
                    <a:pt x="121" y="322"/>
                  </a:lnTo>
                  <a:lnTo>
                    <a:pt x="120" y="321"/>
                  </a:lnTo>
                  <a:lnTo>
                    <a:pt x="118" y="321"/>
                  </a:lnTo>
                  <a:lnTo>
                    <a:pt x="118" y="323"/>
                  </a:lnTo>
                  <a:lnTo>
                    <a:pt x="118" y="326"/>
                  </a:lnTo>
                  <a:lnTo>
                    <a:pt x="121" y="327"/>
                  </a:lnTo>
                  <a:lnTo>
                    <a:pt x="118" y="328"/>
                  </a:lnTo>
                  <a:lnTo>
                    <a:pt x="117" y="329"/>
                  </a:lnTo>
                  <a:lnTo>
                    <a:pt x="115" y="331"/>
                  </a:lnTo>
                  <a:lnTo>
                    <a:pt x="115" y="328"/>
                  </a:lnTo>
                  <a:lnTo>
                    <a:pt x="112" y="328"/>
                  </a:lnTo>
                  <a:lnTo>
                    <a:pt x="111" y="328"/>
                  </a:lnTo>
                  <a:lnTo>
                    <a:pt x="111" y="331"/>
                  </a:lnTo>
                  <a:lnTo>
                    <a:pt x="111" y="333"/>
                  </a:lnTo>
                  <a:lnTo>
                    <a:pt x="109" y="333"/>
                  </a:lnTo>
                  <a:lnTo>
                    <a:pt x="108" y="331"/>
                  </a:lnTo>
                  <a:lnTo>
                    <a:pt x="106" y="331"/>
                  </a:lnTo>
                  <a:lnTo>
                    <a:pt x="104" y="331"/>
                  </a:lnTo>
                  <a:lnTo>
                    <a:pt x="103" y="332"/>
                  </a:lnTo>
                  <a:lnTo>
                    <a:pt x="103" y="334"/>
                  </a:lnTo>
                  <a:lnTo>
                    <a:pt x="100" y="334"/>
                  </a:lnTo>
                  <a:lnTo>
                    <a:pt x="100" y="335"/>
                  </a:lnTo>
                  <a:lnTo>
                    <a:pt x="99" y="338"/>
                  </a:lnTo>
                  <a:lnTo>
                    <a:pt x="96" y="338"/>
                  </a:lnTo>
                  <a:lnTo>
                    <a:pt x="94" y="337"/>
                  </a:lnTo>
                  <a:lnTo>
                    <a:pt x="93" y="337"/>
                  </a:lnTo>
                  <a:lnTo>
                    <a:pt x="90" y="337"/>
                  </a:lnTo>
                  <a:lnTo>
                    <a:pt x="88" y="334"/>
                  </a:lnTo>
                  <a:lnTo>
                    <a:pt x="87" y="334"/>
                  </a:lnTo>
                  <a:lnTo>
                    <a:pt x="86" y="333"/>
                  </a:lnTo>
                  <a:lnTo>
                    <a:pt x="84" y="333"/>
                  </a:lnTo>
                  <a:lnTo>
                    <a:pt x="84" y="334"/>
                  </a:lnTo>
                  <a:lnTo>
                    <a:pt x="82" y="335"/>
                  </a:lnTo>
                  <a:lnTo>
                    <a:pt x="86" y="338"/>
                  </a:lnTo>
                  <a:lnTo>
                    <a:pt x="86" y="340"/>
                  </a:lnTo>
                  <a:lnTo>
                    <a:pt x="86" y="343"/>
                  </a:lnTo>
                  <a:lnTo>
                    <a:pt x="88" y="344"/>
                  </a:lnTo>
                  <a:lnTo>
                    <a:pt x="90" y="344"/>
                  </a:lnTo>
                  <a:lnTo>
                    <a:pt x="91" y="344"/>
                  </a:lnTo>
                  <a:lnTo>
                    <a:pt x="91" y="346"/>
                  </a:lnTo>
                  <a:lnTo>
                    <a:pt x="88" y="346"/>
                  </a:lnTo>
                  <a:lnTo>
                    <a:pt x="87" y="347"/>
                  </a:lnTo>
                  <a:lnTo>
                    <a:pt x="87" y="349"/>
                  </a:lnTo>
                  <a:lnTo>
                    <a:pt x="87" y="350"/>
                  </a:lnTo>
                  <a:lnTo>
                    <a:pt x="90" y="349"/>
                  </a:lnTo>
                  <a:lnTo>
                    <a:pt x="91" y="350"/>
                  </a:lnTo>
                  <a:lnTo>
                    <a:pt x="92" y="351"/>
                  </a:lnTo>
                  <a:lnTo>
                    <a:pt x="93" y="351"/>
                  </a:lnTo>
                  <a:lnTo>
                    <a:pt x="96" y="351"/>
                  </a:lnTo>
                  <a:lnTo>
                    <a:pt x="97" y="350"/>
                  </a:lnTo>
                  <a:lnTo>
                    <a:pt x="98" y="350"/>
                  </a:lnTo>
                  <a:lnTo>
                    <a:pt x="99" y="349"/>
                  </a:lnTo>
                  <a:lnTo>
                    <a:pt x="99" y="347"/>
                  </a:lnTo>
                  <a:lnTo>
                    <a:pt x="99" y="346"/>
                  </a:lnTo>
                  <a:lnTo>
                    <a:pt x="97" y="345"/>
                  </a:lnTo>
                  <a:lnTo>
                    <a:pt x="94" y="345"/>
                  </a:lnTo>
                  <a:lnTo>
                    <a:pt x="94" y="344"/>
                  </a:lnTo>
                  <a:lnTo>
                    <a:pt x="97" y="343"/>
                  </a:lnTo>
                  <a:lnTo>
                    <a:pt x="98" y="343"/>
                  </a:lnTo>
                  <a:lnTo>
                    <a:pt x="99" y="344"/>
                  </a:lnTo>
                  <a:lnTo>
                    <a:pt x="100" y="343"/>
                  </a:lnTo>
                  <a:lnTo>
                    <a:pt x="102" y="341"/>
                  </a:lnTo>
                  <a:lnTo>
                    <a:pt x="102" y="340"/>
                  </a:lnTo>
                  <a:lnTo>
                    <a:pt x="104" y="339"/>
                  </a:lnTo>
                  <a:lnTo>
                    <a:pt x="105" y="337"/>
                  </a:lnTo>
                  <a:lnTo>
                    <a:pt x="108" y="338"/>
                  </a:lnTo>
                  <a:lnTo>
                    <a:pt x="110" y="338"/>
                  </a:lnTo>
                  <a:lnTo>
                    <a:pt x="111" y="338"/>
                  </a:lnTo>
                  <a:lnTo>
                    <a:pt x="112" y="338"/>
                  </a:lnTo>
                  <a:lnTo>
                    <a:pt x="115" y="338"/>
                  </a:lnTo>
                  <a:lnTo>
                    <a:pt x="116" y="338"/>
                  </a:lnTo>
                  <a:lnTo>
                    <a:pt x="117" y="338"/>
                  </a:lnTo>
                  <a:lnTo>
                    <a:pt x="118" y="337"/>
                  </a:lnTo>
                  <a:lnTo>
                    <a:pt x="120" y="335"/>
                  </a:lnTo>
                  <a:lnTo>
                    <a:pt x="122" y="335"/>
                  </a:lnTo>
                  <a:lnTo>
                    <a:pt x="122" y="337"/>
                  </a:lnTo>
                  <a:lnTo>
                    <a:pt x="126" y="338"/>
                  </a:lnTo>
                  <a:lnTo>
                    <a:pt x="127" y="340"/>
                  </a:lnTo>
                  <a:lnTo>
                    <a:pt x="130" y="340"/>
                  </a:lnTo>
                  <a:lnTo>
                    <a:pt x="132" y="341"/>
                  </a:lnTo>
                  <a:lnTo>
                    <a:pt x="129" y="341"/>
                  </a:lnTo>
                  <a:lnTo>
                    <a:pt x="126" y="341"/>
                  </a:lnTo>
                  <a:lnTo>
                    <a:pt x="124" y="343"/>
                  </a:lnTo>
                  <a:lnTo>
                    <a:pt x="123" y="344"/>
                  </a:lnTo>
                  <a:lnTo>
                    <a:pt x="122" y="344"/>
                  </a:lnTo>
                  <a:lnTo>
                    <a:pt x="120" y="344"/>
                  </a:lnTo>
                  <a:lnTo>
                    <a:pt x="117" y="344"/>
                  </a:lnTo>
                  <a:lnTo>
                    <a:pt x="116" y="344"/>
                  </a:lnTo>
                  <a:lnTo>
                    <a:pt x="115" y="341"/>
                  </a:lnTo>
                  <a:lnTo>
                    <a:pt x="112" y="341"/>
                  </a:lnTo>
                  <a:lnTo>
                    <a:pt x="111" y="341"/>
                  </a:lnTo>
                  <a:lnTo>
                    <a:pt x="109" y="341"/>
                  </a:lnTo>
                  <a:lnTo>
                    <a:pt x="106" y="341"/>
                  </a:lnTo>
                  <a:lnTo>
                    <a:pt x="105" y="341"/>
                  </a:lnTo>
                  <a:lnTo>
                    <a:pt x="103" y="344"/>
                  </a:lnTo>
                  <a:lnTo>
                    <a:pt x="102" y="345"/>
                  </a:lnTo>
                  <a:lnTo>
                    <a:pt x="102" y="346"/>
                  </a:lnTo>
                  <a:lnTo>
                    <a:pt x="102" y="347"/>
                  </a:lnTo>
                  <a:lnTo>
                    <a:pt x="104" y="347"/>
                  </a:lnTo>
                  <a:lnTo>
                    <a:pt x="105" y="347"/>
                  </a:lnTo>
                  <a:lnTo>
                    <a:pt x="106" y="347"/>
                  </a:lnTo>
                  <a:lnTo>
                    <a:pt x="108" y="347"/>
                  </a:lnTo>
                  <a:lnTo>
                    <a:pt x="109" y="345"/>
                  </a:lnTo>
                  <a:lnTo>
                    <a:pt x="110" y="345"/>
                  </a:lnTo>
                  <a:lnTo>
                    <a:pt x="110" y="347"/>
                  </a:lnTo>
                  <a:lnTo>
                    <a:pt x="112" y="347"/>
                  </a:lnTo>
                  <a:lnTo>
                    <a:pt x="111" y="349"/>
                  </a:lnTo>
                  <a:lnTo>
                    <a:pt x="110" y="349"/>
                  </a:lnTo>
                  <a:lnTo>
                    <a:pt x="109" y="349"/>
                  </a:lnTo>
                  <a:lnTo>
                    <a:pt x="109" y="352"/>
                  </a:lnTo>
                  <a:lnTo>
                    <a:pt x="108" y="352"/>
                  </a:lnTo>
                  <a:lnTo>
                    <a:pt x="108" y="351"/>
                  </a:lnTo>
                  <a:lnTo>
                    <a:pt x="106" y="350"/>
                  </a:lnTo>
                  <a:lnTo>
                    <a:pt x="104" y="349"/>
                  </a:lnTo>
                  <a:lnTo>
                    <a:pt x="104" y="350"/>
                  </a:lnTo>
                  <a:lnTo>
                    <a:pt x="103" y="351"/>
                  </a:lnTo>
                  <a:lnTo>
                    <a:pt x="104" y="352"/>
                  </a:lnTo>
                  <a:lnTo>
                    <a:pt x="104" y="353"/>
                  </a:lnTo>
                  <a:lnTo>
                    <a:pt x="102" y="355"/>
                  </a:lnTo>
                  <a:lnTo>
                    <a:pt x="103" y="356"/>
                  </a:lnTo>
                  <a:lnTo>
                    <a:pt x="104" y="356"/>
                  </a:lnTo>
                  <a:lnTo>
                    <a:pt x="104" y="357"/>
                  </a:lnTo>
                  <a:lnTo>
                    <a:pt x="102" y="358"/>
                  </a:lnTo>
                  <a:lnTo>
                    <a:pt x="99" y="362"/>
                  </a:lnTo>
                  <a:lnTo>
                    <a:pt x="98" y="361"/>
                  </a:lnTo>
                  <a:lnTo>
                    <a:pt x="97" y="359"/>
                  </a:lnTo>
                  <a:lnTo>
                    <a:pt x="96" y="357"/>
                  </a:lnTo>
                  <a:lnTo>
                    <a:pt x="96" y="356"/>
                  </a:lnTo>
                  <a:lnTo>
                    <a:pt x="93" y="356"/>
                  </a:lnTo>
                  <a:lnTo>
                    <a:pt x="93" y="359"/>
                  </a:lnTo>
                  <a:lnTo>
                    <a:pt x="92" y="361"/>
                  </a:lnTo>
                  <a:lnTo>
                    <a:pt x="91" y="359"/>
                  </a:lnTo>
                  <a:lnTo>
                    <a:pt x="91" y="358"/>
                  </a:lnTo>
                  <a:lnTo>
                    <a:pt x="90" y="356"/>
                  </a:lnTo>
                  <a:lnTo>
                    <a:pt x="88" y="355"/>
                  </a:lnTo>
                  <a:lnTo>
                    <a:pt x="87" y="355"/>
                  </a:lnTo>
                  <a:lnTo>
                    <a:pt x="86" y="355"/>
                  </a:lnTo>
                  <a:lnTo>
                    <a:pt x="84" y="356"/>
                  </a:lnTo>
                  <a:lnTo>
                    <a:pt x="82" y="357"/>
                  </a:lnTo>
                  <a:lnTo>
                    <a:pt x="81" y="357"/>
                  </a:lnTo>
                  <a:lnTo>
                    <a:pt x="80" y="358"/>
                  </a:lnTo>
                  <a:lnTo>
                    <a:pt x="79" y="358"/>
                  </a:lnTo>
                  <a:lnTo>
                    <a:pt x="78" y="357"/>
                  </a:lnTo>
                  <a:lnTo>
                    <a:pt x="78" y="356"/>
                  </a:lnTo>
                  <a:lnTo>
                    <a:pt x="79" y="356"/>
                  </a:lnTo>
                  <a:lnTo>
                    <a:pt x="80" y="355"/>
                  </a:lnTo>
                  <a:lnTo>
                    <a:pt x="81" y="355"/>
                  </a:lnTo>
                  <a:lnTo>
                    <a:pt x="82" y="355"/>
                  </a:lnTo>
                  <a:lnTo>
                    <a:pt x="84" y="353"/>
                  </a:lnTo>
                  <a:lnTo>
                    <a:pt x="84" y="352"/>
                  </a:lnTo>
                  <a:lnTo>
                    <a:pt x="82" y="351"/>
                  </a:lnTo>
                  <a:lnTo>
                    <a:pt x="80" y="351"/>
                  </a:lnTo>
                  <a:lnTo>
                    <a:pt x="79" y="350"/>
                  </a:lnTo>
                  <a:lnTo>
                    <a:pt x="76" y="349"/>
                  </a:lnTo>
                  <a:lnTo>
                    <a:pt x="75" y="347"/>
                  </a:lnTo>
                  <a:lnTo>
                    <a:pt x="75" y="346"/>
                  </a:lnTo>
                  <a:lnTo>
                    <a:pt x="74" y="346"/>
                  </a:lnTo>
                  <a:lnTo>
                    <a:pt x="74" y="347"/>
                  </a:lnTo>
                  <a:lnTo>
                    <a:pt x="71" y="347"/>
                  </a:lnTo>
                  <a:lnTo>
                    <a:pt x="71" y="349"/>
                  </a:lnTo>
                  <a:lnTo>
                    <a:pt x="71" y="351"/>
                  </a:lnTo>
                  <a:lnTo>
                    <a:pt x="73" y="352"/>
                  </a:lnTo>
                  <a:lnTo>
                    <a:pt x="71" y="353"/>
                  </a:lnTo>
                  <a:lnTo>
                    <a:pt x="70" y="355"/>
                  </a:lnTo>
                  <a:lnTo>
                    <a:pt x="68" y="356"/>
                  </a:lnTo>
                  <a:lnTo>
                    <a:pt x="68" y="355"/>
                  </a:lnTo>
                  <a:lnTo>
                    <a:pt x="68" y="353"/>
                  </a:lnTo>
                  <a:lnTo>
                    <a:pt x="68" y="352"/>
                  </a:lnTo>
                  <a:lnTo>
                    <a:pt x="65" y="352"/>
                  </a:lnTo>
                  <a:lnTo>
                    <a:pt x="65" y="351"/>
                  </a:lnTo>
                  <a:lnTo>
                    <a:pt x="65" y="350"/>
                  </a:lnTo>
                  <a:lnTo>
                    <a:pt x="67" y="347"/>
                  </a:lnTo>
                  <a:lnTo>
                    <a:pt x="67" y="346"/>
                  </a:lnTo>
                  <a:lnTo>
                    <a:pt x="65" y="344"/>
                  </a:lnTo>
                  <a:lnTo>
                    <a:pt x="64" y="344"/>
                  </a:lnTo>
                  <a:lnTo>
                    <a:pt x="62" y="344"/>
                  </a:lnTo>
                  <a:lnTo>
                    <a:pt x="61" y="341"/>
                  </a:lnTo>
                  <a:lnTo>
                    <a:pt x="61" y="340"/>
                  </a:lnTo>
                  <a:lnTo>
                    <a:pt x="61" y="339"/>
                  </a:lnTo>
                  <a:lnTo>
                    <a:pt x="59" y="338"/>
                  </a:lnTo>
                  <a:lnTo>
                    <a:pt x="57" y="338"/>
                  </a:lnTo>
                  <a:lnTo>
                    <a:pt x="56" y="338"/>
                  </a:lnTo>
                  <a:lnTo>
                    <a:pt x="56" y="339"/>
                  </a:lnTo>
                  <a:lnTo>
                    <a:pt x="56" y="341"/>
                  </a:lnTo>
                  <a:lnTo>
                    <a:pt x="56" y="343"/>
                  </a:lnTo>
                  <a:lnTo>
                    <a:pt x="55" y="344"/>
                  </a:lnTo>
                  <a:lnTo>
                    <a:pt x="55" y="345"/>
                  </a:lnTo>
                  <a:lnTo>
                    <a:pt x="52" y="345"/>
                  </a:lnTo>
                  <a:lnTo>
                    <a:pt x="52" y="346"/>
                  </a:lnTo>
                  <a:lnTo>
                    <a:pt x="53" y="346"/>
                  </a:lnTo>
                  <a:lnTo>
                    <a:pt x="55" y="347"/>
                  </a:lnTo>
                  <a:lnTo>
                    <a:pt x="56" y="349"/>
                  </a:lnTo>
                  <a:lnTo>
                    <a:pt x="56" y="350"/>
                  </a:lnTo>
                  <a:lnTo>
                    <a:pt x="56" y="351"/>
                  </a:lnTo>
                  <a:lnTo>
                    <a:pt x="59" y="352"/>
                  </a:lnTo>
                  <a:lnTo>
                    <a:pt x="61" y="352"/>
                  </a:lnTo>
                  <a:lnTo>
                    <a:pt x="61" y="355"/>
                  </a:lnTo>
                  <a:lnTo>
                    <a:pt x="59" y="355"/>
                  </a:lnTo>
                  <a:lnTo>
                    <a:pt x="59" y="356"/>
                  </a:lnTo>
                  <a:lnTo>
                    <a:pt x="61" y="357"/>
                  </a:lnTo>
                  <a:lnTo>
                    <a:pt x="63" y="358"/>
                  </a:lnTo>
                  <a:lnTo>
                    <a:pt x="62" y="359"/>
                  </a:lnTo>
                  <a:lnTo>
                    <a:pt x="61" y="359"/>
                  </a:lnTo>
                  <a:lnTo>
                    <a:pt x="59" y="358"/>
                  </a:lnTo>
                  <a:lnTo>
                    <a:pt x="58" y="356"/>
                  </a:lnTo>
                  <a:lnTo>
                    <a:pt x="57" y="356"/>
                  </a:lnTo>
                  <a:lnTo>
                    <a:pt x="57" y="357"/>
                  </a:lnTo>
                  <a:lnTo>
                    <a:pt x="57" y="358"/>
                  </a:lnTo>
                  <a:lnTo>
                    <a:pt x="58" y="361"/>
                  </a:lnTo>
                  <a:lnTo>
                    <a:pt x="59" y="362"/>
                  </a:lnTo>
                  <a:lnTo>
                    <a:pt x="61" y="364"/>
                  </a:lnTo>
                  <a:lnTo>
                    <a:pt x="61" y="365"/>
                  </a:lnTo>
                  <a:lnTo>
                    <a:pt x="59" y="365"/>
                  </a:lnTo>
                  <a:lnTo>
                    <a:pt x="58" y="365"/>
                  </a:lnTo>
                  <a:lnTo>
                    <a:pt x="57" y="363"/>
                  </a:lnTo>
                  <a:lnTo>
                    <a:pt x="56" y="361"/>
                  </a:lnTo>
                  <a:lnTo>
                    <a:pt x="55" y="362"/>
                  </a:lnTo>
                  <a:lnTo>
                    <a:pt x="55" y="363"/>
                  </a:lnTo>
                  <a:lnTo>
                    <a:pt x="53" y="364"/>
                  </a:lnTo>
                  <a:lnTo>
                    <a:pt x="52" y="364"/>
                  </a:lnTo>
                  <a:lnTo>
                    <a:pt x="52" y="361"/>
                  </a:lnTo>
                  <a:lnTo>
                    <a:pt x="55" y="359"/>
                  </a:lnTo>
                  <a:lnTo>
                    <a:pt x="55" y="358"/>
                  </a:lnTo>
                  <a:lnTo>
                    <a:pt x="52" y="357"/>
                  </a:lnTo>
                  <a:lnTo>
                    <a:pt x="51" y="356"/>
                  </a:lnTo>
                  <a:lnTo>
                    <a:pt x="50" y="355"/>
                  </a:lnTo>
                  <a:lnTo>
                    <a:pt x="50" y="353"/>
                  </a:lnTo>
                  <a:lnTo>
                    <a:pt x="47" y="353"/>
                  </a:lnTo>
                  <a:lnTo>
                    <a:pt x="47" y="355"/>
                  </a:lnTo>
                  <a:lnTo>
                    <a:pt x="47" y="357"/>
                  </a:lnTo>
                  <a:lnTo>
                    <a:pt x="45" y="357"/>
                  </a:lnTo>
                  <a:lnTo>
                    <a:pt x="45" y="356"/>
                  </a:lnTo>
                  <a:lnTo>
                    <a:pt x="44" y="357"/>
                  </a:lnTo>
                  <a:lnTo>
                    <a:pt x="44" y="358"/>
                  </a:lnTo>
                  <a:lnTo>
                    <a:pt x="46" y="359"/>
                  </a:lnTo>
                  <a:lnTo>
                    <a:pt x="45" y="361"/>
                  </a:lnTo>
                  <a:lnTo>
                    <a:pt x="44" y="359"/>
                  </a:lnTo>
                  <a:lnTo>
                    <a:pt x="43" y="359"/>
                  </a:lnTo>
                  <a:lnTo>
                    <a:pt x="41" y="358"/>
                  </a:lnTo>
                  <a:lnTo>
                    <a:pt x="39" y="358"/>
                  </a:lnTo>
                  <a:lnTo>
                    <a:pt x="38" y="358"/>
                  </a:lnTo>
                  <a:lnTo>
                    <a:pt x="38" y="357"/>
                  </a:lnTo>
                  <a:lnTo>
                    <a:pt x="38" y="356"/>
                  </a:lnTo>
                  <a:lnTo>
                    <a:pt x="39" y="355"/>
                  </a:lnTo>
                  <a:lnTo>
                    <a:pt x="38" y="355"/>
                  </a:lnTo>
                  <a:lnTo>
                    <a:pt x="38" y="352"/>
                  </a:lnTo>
                  <a:lnTo>
                    <a:pt x="35" y="351"/>
                  </a:lnTo>
                  <a:lnTo>
                    <a:pt x="34" y="352"/>
                  </a:lnTo>
                  <a:lnTo>
                    <a:pt x="34" y="355"/>
                  </a:lnTo>
                  <a:lnTo>
                    <a:pt x="34" y="357"/>
                  </a:lnTo>
                  <a:lnTo>
                    <a:pt x="33" y="356"/>
                  </a:lnTo>
                  <a:lnTo>
                    <a:pt x="32" y="353"/>
                  </a:lnTo>
                  <a:lnTo>
                    <a:pt x="32" y="352"/>
                  </a:lnTo>
                  <a:lnTo>
                    <a:pt x="31" y="352"/>
                  </a:lnTo>
                  <a:lnTo>
                    <a:pt x="29" y="351"/>
                  </a:lnTo>
                  <a:lnTo>
                    <a:pt x="27" y="349"/>
                  </a:lnTo>
                  <a:lnTo>
                    <a:pt x="26" y="350"/>
                  </a:lnTo>
                  <a:lnTo>
                    <a:pt x="25" y="352"/>
                  </a:lnTo>
                  <a:lnTo>
                    <a:pt x="23" y="351"/>
                  </a:lnTo>
                  <a:lnTo>
                    <a:pt x="23" y="353"/>
                  </a:lnTo>
                  <a:lnTo>
                    <a:pt x="25" y="355"/>
                  </a:lnTo>
                  <a:lnTo>
                    <a:pt x="27" y="356"/>
                  </a:lnTo>
                  <a:lnTo>
                    <a:pt x="28" y="358"/>
                  </a:lnTo>
                  <a:lnTo>
                    <a:pt x="28" y="359"/>
                  </a:lnTo>
                  <a:lnTo>
                    <a:pt x="28" y="362"/>
                  </a:lnTo>
                  <a:lnTo>
                    <a:pt x="27" y="362"/>
                  </a:lnTo>
                  <a:lnTo>
                    <a:pt x="26" y="362"/>
                  </a:lnTo>
                  <a:lnTo>
                    <a:pt x="26" y="359"/>
                  </a:lnTo>
                  <a:lnTo>
                    <a:pt x="26" y="357"/>
                  </a:lnTo>
                  <a:lnTo>
                    <a:pt x="25" y="356"/>
                  </a:lnTo>
                  <a:lnTo>
                    <a:pt x="23" y="355"/>
                  </a:lnTo>
                  <a:lnTo>
                    <a:pt x="22" y="355"/>
                  </a:lnTo>
                  <a:lnTo>
                    <a:pt x="21" y="353"/>
                  </a:lnTo>
                  <a:lnTo>
                    <a:pt x="21" y="352"/>
                  </a:lnTo>
                  <a:lnTo>
                    <a:pt x="20" y="352"/>
                  </a:lnTo>
                  <a:lnTo>
                    <a:pt x="19" y="355"/>
                  </a:lnTo>
                  <a:lnTo>
                    <a:pt x="19" y="356"/>
                  </a:lnTo>
                  <a:lnTo>
                    <a:pt x="17" y="355"/>
                  </a:lnTo>
                  <a:lnTo>
                    <a:pt x="19" y="352"/>
                  </a:lnTo>
                  <a:lnTo>
                    <a:pt x="20" y="351"/>
                  </a:lnTo>
                  <a:lnTo>
                    <a:pt x="20" y="350"/>
                  </a:lnTo>
                  <a:lnTo>
                    <a:pt x="19" y="349"/>
                  </a:lnTo>
                  <a:lnTo>
                    <a:pt x="19" y="347"/>
                  </a:lnTo>
                  <a:lnTo>
                    <a:pt x="15" y="347"/>
                  </a:lnTo>
                  <a:lnTo>
                    <a:pt x="14" y="347"/>
                  </a:lnTo>
                  <a:lnTo>
                    <a:pt x="14" y="349"/>
                  </a:lnTo>
                  <a:lnTo>
                    <a:pt x="14" y="351"/>
                  </a:lnTo>
                  <a:lnTo>
                    <a:pt x="14" y="352"/>
                  </a:lnTo>
                  <a:lnTo>
                    <a:pt x="12" y="355"/>
                  </a:lnTo>
                  <a:lnTo>
                    <a:pt x="12" y="352"/>
                  </a:lnTo>
                  <a:lnTo>
                    <a:pt x="12" y="351"/>
                  </a:lnTo>
                  <a:lnTo>
                    <a:pt x="12" y="350"/>
                  </a:lnTo>
                  <a:lnTo>
                    <a:pt x="10" y="349"/>
                  </a:lnTo>
                  <a:lnTo>
                    <a:pt x="8" y="349"/>
                  </a:lnTo>
                  <a:lnTo>
                    <a:pt x="8" y="347"/>
                  </a:lnTo>
                  <a:lnTo>
                    <a:pt x="6" y="347"/>
                  </a:lnTo>
                  <a:lnTo>
                    <a:pt x="5" y="346"/>
                  </a:lnTo>
                  <a:lnTo>
                    <a:pt x="5" y="347"/>
                  </a:lnTo>
                  <a:lnTo>
                    <a:pt x="2" y="349"/>
                  </a:lnTo>
                  <a:lnTo>
                    <a:pt x="0" y="349"/>
                  </a:lnTo>
                  <a:lnTo>
                    <a:pt x="0" y="350"/>
                  </a:lnTo>
                  <a:lnTo>
                    <a:pt x="0" y="351"/>
                  </a:lnTo>
                  <a:lnTo>
                    <a:pt x="3" y="353"/>
                  </a:lnTo>
                  <a:lnTo>
                    <a:pt x="4" y="353"/>
                  </a:lnTo>
                  <a:lnTo>
                    <a:pt x="3" y="355"/>
                  </a:lnTo>
                  <a:lnTo>
                    <a:pt x="3" y="356"/>
                  </a:lnTo>
                  <a:lnTo>
                    <a:pt x="5" y="358"/>
                  </a:lnTo>
                  <a:lnTo>
                    <a:pt x="6" y="358"/>
                  </a:lnTo>
                  <a:lnTo>
                    <a:pt x="8" y="357"/>
                  </a:lnTo>
                  <a:lnTo>
                    <a:pt x="8" y="359"/>
                  </a:lnTo>
                  <a:lnTo>
                    <a:pt x="9" y="361"/>
                  </a:lnTo>
                  <a:lnTo>
                    <a:pt x="10" y="361"/>
                  </a:lnTo>
                  <a:lnTo>
                    <a:pt x="12" y="362"/>
                  </a:lnTo>
                  <a:lnTo>
                    <a:pt x="11" y="363"/>
                  </a:lnTo>
                  <a:lnTo>
                    <a:pt x="10" y="364"/>
                  </a:lnTo>
                  <a:lnTo>
                    <a:pt x="11" y="367"/>
                  </a:lnTo>
                  <a:lnTo>
                    <a:pt x="10" y="368"/>
                  </a:lnTo>
                  <a:lnTo>
                    <a:pt x="9" y="369"/>
                  </a:lnTo>
                  <a:lnTo>
                    <a:pt x="11" y="371"/>
                  </a:lnTo>
                  <a:lnTo>
                    <a:pt x="11" y="374"/>
                  </a:lnTo>
                  <a:lnTo>
                    <a:pt x="12" y="375"/>
                  </a:lnTo>
                  <a:lnTo>
                    <a:pt x="14" y="376"/>
                  </a:lnTo>
                  <a:lnTo>
                    <a:pt x="16" y="377"/>
                  </a:lnTo>
                  <a:lnTo>
                    <a:pt x="17" y="377"/>
                  </a:lnTo>
                  <a:lnTo>
                    <a:pt x="20" y="377"/>
                  </a:lnTo>
                  <a:lnTo>
                    <a:pt x="21" y="377"/>
                  </a:lnTo>
                  <a:lnTo>
                    <a:pt x="22" y="377"/>
                  </a:lnTo>
                  <a:lnTo>
                    <a:pt x="25" y="377"/>
                  </a:lnTo>
                  <a:lnTo>
                    <a:pt x="26" y="376"/>
                  </a:lnTo>
                  <a:lnTo>
                    <a:pt x="28" y="375"/>
                  </a:lnTo>
                  <a:lnTo>
                    <a:pt x="29" y="376"/>
                  </a:lnTo>
                  <a:lnTo>
                    <a:pt x="28" y="377"/>
                  </a:lnTo>
                  <a:lnTo>
                    <a:pt x="29" y="379"/>
                  </a:lnTo>
                  <a:lnTo>
                    <a:pt x="32" y="379"/>
                  </a:lnTo>
                  <a:lnTo>
                    <a:pt x="34" y="377"/>
                  </a:lnTo>
                  <a:lnTo>
                    <a:pt x="35" y="379"/>
                  </a:lnTo>
                  <a:lnTo>
                    <a:pt x="37" y="379"/>
                  </a:lnTo>
                  <a:lnTo>
                    <a:pt x="38" y="377"/>
                  </a:lnTo>
                  <a:lnTo>
                    <a:pt x="39" y="377"/>
                  </a:lnTo>
                  <a:lnTo>
                    <a:pt x="37" y="380"/>
                  </a:lnTo>
                  <a:lnTo>
                    <a:pt x="34" y="380"/>
                  </a:lnTo>
                  <a:lnTo>
                    <a:pt x="33" y="380"/>
                  </a:lnTo>
                  <a:lnTo>
                    <a:pt x="32" y="381"/>
                  </a:lnTo>
                  <a:lnTo>
                    <a:pt x="31" y="381"/>
                  </a:lnTo>
                  <a:lnTo>
                    <a:pt x="29" y="380"/>
                  </a:lnTo>
                  <a:lnTo>
                    <a:pt x="28" y="379"/>
                  </a:lnTo>
                  <a:lnTo>
                    <a:pt x="27" y="379"/>
                  </a:lnTo>
                  <a:lnTo>
                    <a:pt x="26" y="379"/>
                  </a:lnTo>
                  <a:lnTo>
                    <a:pt x="25" y="380"/>
                  </a:lnTo>
                  <a:lnTo>
                    <a:pt x="23" y="380"/>
                  </a:lnTo>
                  <a:lnTo>
                    <a:pt x="21" y="380"/>
                  </a:lnTo>
                  <a:lnTo>
                    <a:pt x="17" y="380"/>
                  </a:lnTo>
                  <a:lnTo>
                    <a:pt x="16" y="380"/>
                  </a:lnTo>
                  <a:lnTo>
                    <a:pt x="15" y="381"/>
                  </a:lnTo>
                  <a:lnTo>
                    <a:pt x="14" y="383"/>
                  </a:lnTo>
                  <a:lnTo>
                    <a:pt x="15" y="385"/>
                  </a:lnTo>
                  <a:lnTo>
                    <a:pt x="16" y="385"/>
                  </a:lnTo>
                  <a:lnTo>
                    <a:pt x="17" y="386"/>
                  </a:lnTo>
                  <a:lnTo>
                    <a:pt x="19" y="386"/>
                  </a:lnTo>
                  <a:lnTo>
                    <a:pt x="20" y="388"/>
                  </a:lnTo>
                  <a:lnTo>
                    <a:pt x="21" y="386"/>
                  </a:lnTo>
                  <a:lnTo>
                    <a:pt x="22" y="385"/>
                  </a:lnTo>
                  <a:lnTo>
                    <a:pt x="23" y="386"/>
                  </a:lnTo>
                  <a:lnTo>
                    <a:pt x="25" y="387"/>
                  </a:lnTo>
                  <a:lnTo>
                    <a:pt x="26" y="387"/>
                  </a:lnTo>
                  <a:lnTo>
                    <a:pt x="27" y="387"/>
                  </a:lnTo>
                  <a:lnTo>
                    <a:pt x="28" y="387"/>
                  </a:lnTo>
                  <a:lnTo>
                    <a:pt x="31" y="387"/>
                  </a:lnTo>
                  <a:lnTo>
                    <a:pt x="32" y="387"/>
                  </a:lnTo>
                  <a:lnTo>
                    <a:pt x="33" y="387"/>
                  </a:lnTo>
                  <a:lnTo>
                    <a:pt x="34" y="386"/>
                  </a:lnTo>
                  <a:lnTo>
                    <a:pt x="35" y="386"/>
                  </a:lnTo>
                  <a:lnTo>
                    <a:pt x="38" y="387"/>
                  </a:lnTo>
                  <a:lnTo>
                    <a:pt x="38" y="389"/>
                  </a:lnTo>
                  <a:lnTo>
                    <a:pt x="37" y="388"/>
                  </a:lnTo>
                  <a:lnTo>
                    <a:pt x="34" y="387"/>
                  </a:lnTo>
                  <a:lnTo>
                    <a:pt x="32" y="388"/>
                  </a:lnTo>
                  <a:lnTo>
                    <a:pt x="31" y="388"/>
                  </a:lnTo>
                  <a:lnTo>
                    <a:pt x="31" y="389"/>
                  </a:lnTo>
                  <a:lnTo>
                    <a:pt x="33" y="391"/>
                  </a:lnTo>
                  <a:lnTo>
                    <a:pt x="34" y="392"/>
                  </a:lnTo>
                  <a:lnTo>
                    <a:pt x="34" y="393"/>
                  </a:lnTo>
                  <a:lnTo>
                    <a:pt x="33" y="394"/>
                  </a:lnTo>
                  <a:lnTo>
                    <a:pt x="32" y="394"/>
                  </a:lnTo>
                  <a:lnTo>
                    <a:pt x="29" y="393"/>
                  </a:lnTo>
                  <a:lnTo>
                    <a:pt x="29" y="392"/>
                  </a:lnTo>
                  <a:lnTo>
                    <a:pt x="27" y="391"/>
                  </a:lnTo>
                  <a:lnTo>
                    <a:pt x="27" y="392"/>
                  </a:lnTo>
                  <a:lnTo>
                    <a:pt x="26" y="394"/>
                  </a:lnTo>
                  <a:lnTo>
                    <a:pt x="25" y="393"/>
                  </a:lnTo>
                  <a:lnTo>
                    <a:pt x="23" y="392"/>
                  </a:lnTo>
                  <a:lnTo>
                    <a:pt x="22" y="393"/>
                  </a:lnTo>
                  <a:lnTo>
                    <a:pt x="22" y="394"/>
                  </a:lnTo>
                  <a:lnTo>
                    <a:pt x="20" y="394"/>
                  </a:lnTo>
                  <a:lnTo>
                    <a:pt x="20" y="395"/>
                  </a:lnTo>
                  <a:lnTo>
                    <a:pt x="22" y="398"/>
                  </a:lnTo>
                  <a:lnTo>
                    <a:pt x="25" y="399"/>
                  </a:lnTo>
                  <a:lnTo>
                    <a:pt x="26" y="401"/>
                  </a:lnTo>
                  <a:lnTo>
                    <a:pt x="27" y="401"/>
                  </a:lnTo>
                  <a:lnTo>
                    <a:pt x="26" y="403"/>
                  </a:lnTo>
                  <a:lnTo>
                    <a:pt x="23" y="401"/>
                  </a:lnTo>
                  <a:lnTo>
                    <a:pt x="22" y="401"/>
                  </a:lnTo>
                  <a:lnTo>
                    <a:pt x="21" y="401"/>
                  </a:lnTo>
                  <a:lnTo>
                    <a:pt x="20" y="401"/>
                  </a:lnTo>
                  <a:lnTo>
                    <a:pt x="20" y="404"/>
                  </a:lnTo>
                  <a:lnTo>
                    <a:pt x="21" y="406"/>
                  </a:lnTo>
                  <a:lnTo>
                    <a:pt x="22" y="407"/>
                  </a:lnTo>
                  <a:lnTo>
                    <a:pt x="20" y="407"/>
                  </a:lnTo>
                  <a:lnTo>
                    <a:pt x="17" y="406"/>
                  </a:lnTo>
                  <a:lnTo>
                    <a:pt x="19" y="410"/>
                  </a:lnTo>
                  <a:lnTo>
                    <a:pt x="19" y="411"/>
                  </a:lnTo>
                  <a:lnTo>
                    <a:pt x="20" y="412"/>
                  </a:lnTo>
                  <a:lnTo>
                    <a:pt x="19" y="412"/>
                  </a:lnTo>
                  <a:lnTo>
                    <a:pt x="17" y="411"/>
                  </a:lnTo>
                  <a:lnTo>
                    <a:pt x="17" y="410"/>
                  </a:lnTo>
                  <a:lnTo>
                    <a:pt x="16" y="407"/>
                  </a:lnTo>
                  <a:lnTo>
                    <a:pt x="15" y="407"/>
                  </a:lnTo>
                  <a:lnTo>
                    <a:pt x="14" y="407"/>
                  </a:lnTo>
                  <a:lnTo>
                    <a:pt x="12" y="409"/>
                  </a:lnTo>
                  <a:lnTo>
                    <a:pt x="12" y="411"/>
                  </a:lnTo>
                  <a:lnTo>
                    <a:pt x="11" y="412"/>
                  </a:lnTo>
                  <a:lnTo>
                    <a:pt x="10" y="411"/>
                  </a:lnTo>
                  <a:lnTo>
                    <a:pt x="10" y="410"/>
                  </a:lnTo>
                  <a:lnTo>
                    <a:pt x="10" y="409"/>
                  </a:lnTo>
                  <a:lnTo>
                    <a:pt x="9" y="409"/>
                  </a:lnTo>
                  <a:lnTo>
                    <a:pt x="6" y="409"/>
                  </a:lnTo>
                  <a:lnTo>
                    <a:pt x="5" y="410"/>
                  </a:lnTo>
                  <a:lnTo>
                    <a:pt x="4" y="411"/>
                  </a:lnTo>
                  <a:lnTo>
                    <a:pt x="2" y="412"/>
                  </a:lnTo>
                  <a:lnTo>
                    <a:pt x="2" y="413"/>
                  </a:lnTo>
                  <a:lnTo>
                    <a:pt x="3" y="416"/>
                  </a:lnTo>
                  <a:lnTo>
                    <a:pt x="3" y="417"/>
                  </a:lnTo>
                  <a:lnTo>
                    <a:pt x="5" y="418"/>
                  </a:lnTo>
                  <a:lnTo>
                    <a:pt x="9" y="422"/>
                  </a:lnTo>
                  <a:lnTo>
                    <a:pt x="10" y="422"/>
                  </a:lnTo>
                  <a:lnTo>
                    <a:pt x="11" y="423"/>
                  </a:lnTo>
                  <a:lnTo>
                    <a:pt x="12" y="424"/>
                  </a:lnTo>
                  <a:lnTo>
                    <a:pt x="16" y="424"/>
                  </a:lnTo>
                  <a:lnTo>
                    <a:pt x="15" y="426"/>
                  </a:lnTo>
                  <a:lnTo>
                    <a:pt x="12" y="426"/>
                  </a:lnTo>
                  <a:lnTo>
                    <a:pt x="11" y="426"/>
                  </a:lnTo>
                  <a:lnTo>
                    <a:pt x="9" y="426"/>
                  </a:lnTo>
                  <a:lnTo>
                    <a:pt x="9" y="428"/>
                  </a:lnTo>
                  <a:lnTo>
                    <a:pt x="10" y="429"/>
                  </a:lnTo>
                  <a:lnTo>
                    <a:pt x="8" y="430"/>
                  </a:lnTo>
                  <a:lnTo>
                    <a:pt x="6" y="430"/>
                  </a:lnTo>
                  <a:lnTo>
                    <a:pt x="10" y="434"/>
                  </a:lnTo>
                  <a:lnTo>
                    <a:pt x="11" y="434"/>
                  </a:lnTo>
                  <a:lnTo>
                    <a:pt x="12" y="433"/>
                  </a:lnTo>
                  <a:lnTo>
                    <a:pt x="14" y="434"/>
                  </a:lnTo>
                  <a:lnTo>
                    <a:pt x="14" y="435"/>
                  </a:lnTo>
                  <a:lnTo>
                    <a:pt x="15" y="435"/>
                  </a:lnTo>
                  <a:lnTo>
                    <a:pt x="17" y="435"/>
                  </a:lnTo>
                  <a:lnTo>
                    <a:pt x="19" y="434"/>
                  </a:lnTo>
                  <a:lnTo>
                    <a:pt x="21" y="434"/>
                  </a:lnTo>
                  <a:lnTo>
                    <a:pt x="22" y="433"/>
                  </a:lnTo>
                  <a:lnTo>
                    <a:pt x="23" y="432"/>
                  </a:lnTo>
                  <a:lnTo>
                    <a:pt x="26" y="429"/>
                  </a:lnTo>
                  <a:lnTo>
                    <a:pt x="28" y="429"/>
                  </a:lnTo>
                  <a:lnTo>
                    <a:pt x="31" y="429"/>
                  </a:lnTo>
                  <a:lnTo>
                    <a:pt x="32" y="429"/>
                  </a:lnTo>
                  <a:lnTo>
                    <a:pt x="32" y="430"/>
                  </a:lnTo>
                  <a:lnTo>
                    <a:pt x="32" y="432"/>
                  </a:lnTo>
                  <a:lnTo>
                    <a:pt x="31" y="432"/>
                  </a:lnTo>
                  <a:lnTo>
                    <a:pt x="28" y="433"/>
                  </a:lnTo>
                  <a:lnTo>
                    <a:pt x="27" y="432"/>
                  </a:lnTo>
                  <a:lnTo>
                    <a:pt x="26" y="432"/>
                  </a:lnTo>
                  <a:lnTo>
                    <a:pt x="25" y="433"/>
                  </a:lnTo>
                  <a:lnTo>
                    <a:pt x="23" y="435"/>
                  </a:lnTo>
                  <a:lnTo>
                    <a:pt x="25" y="436"/>
                  </a:lnTo>
                  <a:lnTo>
                    <a:pt x="27" y="439"/>
                  </a:lnTo>
                  <a:lnTo>
                    <a:pt x="31" y="439"/>
                  </a:lnTo>
                  <a:lnTo>
                    <a:pt x="32" y="438"/>
                  </a:lnTo>
                  <a:lnTo>
                    <a:pt x="32" y="436"/>
                  </a:lnTo>
                  <a:lnTo>
                    <a:pt x="33" y="436"/>
                  </a:lnTo>
                  <a:lnTo>
                    <a:pt x="34" y="435"/>
                  </a:lnTo>
                  <a:lnTo>
                    <a:pt x="35" y="438"/>
                  </a:lnTo>
                  <a:lnTo>
                    <a:pt x="37" y="438"/>
                  </a:lnTo>
                  <a:lnTo>
                    <a:pt x="39" y="438"/>
                  </a:lnTo>
                  <a:lnTo>
                    <a:pt x="39" y="436"/>
                  </a:lnTo>
                  <a:lnTo>
                    <a:pt x="41" y="435"/>
                  </a:lnTo>
                  <a:lnTo>
                    <a:pt x="43" y="435"/>
                  </a:lnTo>
                  <a:lnTo>
                    <a:pt x="44" y="433"/>
                  </a:lnTo>
                  <a:lnTo>
                    <a:pt x="45" y="434"/>
                  </a:lnTo>
                  <a:lnTo>
                    <a:pt x="47" y="435"/>
                  </a:lnTo>
                  <a:lnTo>
                    <a:pt x="49" y="438"/>
                  </a:lnTo>
                  <a:lnTo>
                    <a:pt x="47" y="440"/>
                  </a:lnTo>
                  <a:lnTo>
                    <a:pt x="45" y="442"/>
                  </a:lnTo>
                  <a:lnTo>
                    <a:pt x="44" y="444"/>
                  </a:lnTo>
                  <a:lnTo>
                    <a:pt x="41" y="445"/>
                  </a:lnTo>
                  <a:lnTo>
                    <a:pt x="40" y="445"/>
                  </a:lnTo>
                  <a:lnTo>
                    <a:pt x="39" y="445"/>
                  </a:lnTo>
                  <a:lnTo>
                    <a:pt x="38" y="445"/>
                  </a:lnTo>
                  <a:lnTo>
                    <a:pt x="37" y="444"/>
                  </a:lnTo>
                  <a:lnTo>
                    <a:pt x="37" y="446"/>
                  </a:lnTo>
                  <a:lnTo>
                    <a:pt x="37" y="447"/>
                  </a:lnTo>
                  <a:lnTo>
                    <a:pt x="35" y="448"/>
                  </a:lnTo>
                  <a:lnTo>
                    <a:pt x="34" y="450"/>
                  </a:lnTo>
                  <a:lnTo>
                    <a:pt x="33" y="451"/>
                  </a:lnTo>
                  <a:lnTo>
                    <a:pt x="33" y="450"/>
                  </a:lnTo>
                  <a:lnTo>
                    <a:pt x="32" y="450"/>
                  </a:lnTo>
                  <a:lnTo>
                    <a:pt x="31" y="450"/>
                  </a:lnTo>
                  <a:lnTo>
                    <a:pt x="29" y="450"/>
                  </a:lnTo>
                  <a:lnTo>
                    <a:pt x="28" y="452"/>
                  </a:lnTo>
                  <a:lnTo>
                    <a:pt x="27" y="452"/>
                  </a:lnTo>
                  <a:lnTo>
                    <a:pt x="27" y="456"/>
                  </a:lnTo>
                  <a:lnTo>
                    <a:pt x="29" y="456"/>
                  </a:lnTo>
                  <a:lnTo>
                    <a:pt x="31" y="456"/>
                  </a:lnTo>
                  <a:lnTo>
                    <a:pt x="32" y="456"/>
                  </a:lnTo>
                  <a:lnTo>
                    <a:pt x="33" y="456"/>
                  </a:lnTo>
                  <a:lnTo>
                    <a:pt x="34" y="457"/>
                  </a:lnTo>
                  <a:lnTo>
                    <a:pt x="35" y="457"/>
                  </a:lnTo>
                  <a:lnTo>
                    <a:pt x="39" y="457"/>
                  </a:lnTo>
                  <a:lnTo>
                    <a:pt x="39" y="456"/>
                  </a:lnTo>
                  <a:lnTo>
                    <a:pt x="40" y="454"/>
                  </a:lnTo>
                  <a:lnTo>
                    <a:pt x="41" y="453"/>
                  </a:lnTo>
                  <a:lnTo>
                    <a:pt x="43" y="453"/>
                  </a:lnTo>
                  <a:lnTo>
                    <a:pt x="44" y="453"/>
                  </a:lnTo>
                  <a:lnTo>
                    <a:pt x="45" y="451"/>
                  </a:lnTo>
                  <a:lnTo>
                    <a:pt x="46" y="450"/>
                  </a:lnTo>
                  <a:lnTo>
                    <a:pt x="47" y="448"/>
                  </a:lnTo>
                  <a:lnTo>
                    <a:pt x="47" y="446"/>
                  </a:lnTo>
                  <a:lnTo>
                    <a:pt x="47" y="445"/>
                  </a:lnTo>
                  <a:lnTo>
                    <a:pt x="49" y="444"/>
                  </a:lnTo>
                  <a:lnTo>
                    <a:pt x="50" y="441"/>
                  </a:lnTo>
                  <a:lnTo>
                    <a:pt x="50" y="440"/>
                  </a:lnTo>
                  <a:lnTo>
                    <a:pt x="51" y="441"/>
                  </a:lnTo>
                  <a:lnTo>
                    <a:pt x="51" y="442"/>
                  </a:lnTo>
                  <a:lnTo>
                    <a:pt x="50" y="445"/>
                  </a:lnTo>
                  <a:lnTo>
                    <a:pt x="50" y="446"/>
                  </a:lnTo>
                  <a:lnTo>
                    <a:pt x="51" y="446"/>
                  </a:lnTo>
                  <a:lnTo>
                    <a:pt x="53" y="446"/>
                  </a:lnTo>
                  <a:lnTo>
                    <a:pt x="55" y="446"/>
                  </a:lnTo>
                  <a:lnTo>
                    <a:pt x="56" y="445"/>
                  </a:lnTo>
                  <a:lnTo>
                    <a:pt x="56" y="442"/>
                  </a:lnTo>
                  <a:lnTo>
                    <a:pt x="55" y="442"/>
                  </a:lnTo>
                  <a:lnTo>
                    <a:pt x="55" y="441"/>
                  </a:lnTo>
                  <a:lnTo>
                    <a:pt x="56" y="440"/>
                  </a:lnTo>
                  <a:lnTo>
                    <a:pt x="57" y="440"/>
                  </a:lnTo>
                  <a:lnTo>
                    <a:pt x="58" y="439"/>
                  </a:lnTo>
                  <a:lnTo>
                    <a:pt x="59" y="438"/>
                  </a:lnTo>
                  <a:lnTo>
                    <a:pt x="59" y="436"/>
                  </a:lnTo>
                  <a:lnTo>
                    <a:pt x="61" y="435"/>
                  </a:lnTo>
                  <a:lnTo>
                    <a:pt x="61" y="434"/>
                  </a:lnTo>
                  <a:lnTo>
                    <a:pt x="62" y="432"/>
                  </a:lnTo>
                  <a:lnTo>
                    <a:pt x="63" y="432"/>
                  </a:lnTo>
                  <a:lnTo>
                    <a:pt x="64" y="433"/>
                  </a:lnTo>
                  <a:lnTo>
                    <a:pt x="65" y="433"/>
                  </a:lnTo>
                  <a:lnTo>
                    <a:pt x="65" y="434"/>
                  </a:lnTo>
                  <a:lnTo>
                    <a:pt x="67" y="434"/>
                  </a:lnTo>
                  <a:lnTo>
                    <a:pt x="68" y="433"/>
                  </a:lnTo>
                  <a:lnTo>
                    <a:pt x="69" y="433"/>
                  </a:lnTo>
                  <a:lnTo>
                    <a:pt x="70" y="433"/>
                  </a:lnTo>
                  <a:lnTo>
                    <a:pt x="71" y="433"/>
                  </a:lnTo>
                  <a:lnTo>
                    <a:pt x="71" y="434"/>
                  </a:lnTo>
                  <a:lnTo>
                    <a:pt x="69" y="435"/>
                  </a:lnTo>
                  <a:lnTo>
                    <a:pt x="69" y="436"/>
                  </a:lnTo>
                  <a:lnTo>
                    <a:pt x="68" y="436"/>
                  </a:lnTo>
                  <a:lnTo>
                    <a:pt x="65" y="439"/>
                  </a:lnTo>
                  <a:lnTo>
                    <a:pt x="64" y="439"/>
                  </a:lnTo>
                  <a:lnTo>
                    <a:pt x="64" y="438"/>
                  </a:lnTo>
                  <a:lnTo>
                    <a:pt x="64" y="436"/>
                  </a:lnTo>
                  <a:lnTo>
                    <a:pt x="63" y="435"/>
                  </a:lnTo>
                  <a:lnTo>
                    <a:pt x="61" y="438"/>
                  </a:lnTo>
                  <a:lnTo>
                    <a:pt x="58" y="440"/>
                  </a:lnTo>
                  <a:lnTo>
                    <a:pt x="61" y="442"/>
                  </a:lnTo>
                  <a:lnTo>
                    <a:pt x="63" y="442"/>
                  </a:lnTo>
                  <a:lnTo>
                    <a:pt x="64" y="444"/>
                  </a:lnTo>
                  <a:lnTo>
                    <a:pt x="65" y="445"/>
                  </a:lnTo>
                  <a:lnTo>
                    <a:pt x="68" y="446"/>
                  </a:lnTo>
                  <a:lnTo>
                    <a:pt x="70" y="446"/>
                  </a:lnTo>
                  <a:lnTo>
                    <a:pt x="71" y="446"/>
                  </a:lnTo>
                  <a:lnTo>
                    <a:pt x="74" y="444"/>
                  </a:lnTo>
                  <a:lnTo>
                    <a:pt x="75" y="442"/>
                  </a:lnTo>
                  <a:lnTo>
                    <a:pt x="76" y="441"/>
                  </a:lnTo>
                  <a:lnTo>
                    <a:pt x="78" y="440"/>
                  </a:lnTo>
                  <a:lnTo>
                    <a:pt x="79" y="439"/>
                  </a:lnTo>
                  <a:lnTo>
                    <a:pt x="81" y="438"/>
                  </a:lnTo>
                  <a:lnTo>
                    <a:pt x="82" y="436"/>
                  </a:lnTo>
                  <a:lnTo>
                    <a:pt x="82" y="434"/>
                  </a:lnTo>
                  <a:lnTo>
                    <a:pt x="84" y="433"/>
                  </a:lnTo>
                  <a:lnTo>
                    <a:pt x="85" y="434"/>
                  </a:lnTo>
                  <a:lnTo>
                    <a:pt x="86" y="433"/>
                  </a:lnTo>
                  <a:lnTo>
                    <a:pt x="87" y="433"/>
                  </a:lnTo>
                  <a:lnTo>
                    <a:pt x="87" y="434"/>
                  </a:lnTo>
                  <a:lnTo>
                    <a:pt x="85" y="435"/>
                  </a:lnTo>
                  <a:lnTo>
                    <a:pt x="84" y="436"/>
                  </a:lnTo>
                  <a:lnTo>
                    <a:pt x="85" y="438"/>
                  </a:lnTo>
                  <a:lnTo>
                    <a:pt x="84" y="438"/>
                  </a:lnTo>
                  <a:lnTo>
                    <a:pt x="82" y="439"/>
                  </a:lnTo>
                  <a:lnTo>
                    <a:pt x="81" y="439"/>
                  </a:lnTo>
                  <a:lnTo>
                    <a:pt x="80" y="440"/>
                  </a:lnTo>
                  <a:lnTo>
                    <a:pt x="79" y="441"/>
                  </a:lnTo>
                  <a:lnTo>
                    <a:pt x="79" y="442"/>
                  </a:lnTo>
                  <a:lnTo>
                    <a:pt x="82" y="444"/>
                  </a:lnTo>
                  <a:lnTo>
                    <a:pt x="86" y="445"/>
                  </a:lnTo>
                  <a:lnTo>
                    <a:pt x="88" y="445"/>
                  </a:lnTo>
                  <a:lnTo>
                    <a:pt x="88" y="446"/>
                  </a:lnTo>
                  <a:lnTo>
                    <a:pt x="91" y="447"/>
                  </a:lnTo>
                  <a:lnTo>
                    <a:pt x="92" y="448"/>
                  </a:lnTo>
                  <a:lnTo>
                    <a:pt x="93" y="450"/>
                  </a:lnTo>
                  <a:lnTo>
                    <a:pt x="92" y="450"/>
                  </a:lnTo>
                  <a:lnTo>
                    <a:pt x="88" y="452"/>
                  </a:lnTo>
                  <a:lnTo>
                    <a:pt x="87" y="452"/>
                  </a:lnTo>
                  <a:lnTo>
                    <a:pt x="85" y="453"/>
                  </a:lnTo>
                  <a:lnTo>
                    <a:pt x="82" y="453"/>
                  </a:lnTo>
                  <a:lnTo>
                    <a:pt x="80" y="454"/>
                  </a:lnTo>
                  <a:lnTo>
                    <a:pt x="81" y="457"/>
                  </a:lnTo>
                  <a:lnTo>
                    <a:pt x="82" y="458"/>
                  </a:lnTo>
                  <a:lnTo>
                    <a:pt x="81" y="459"/>
                  </a:lnTo>
                  <a:lnTo>
                    <a:pt x="80" y="459"/>
                  </a:lnTo>
                  <a:lnTo>
                    <a:pt x="81" y="460"/>
                  </a:lnTo>
                  <a:lnTo>
                    <a:pt x="82" y="460"/>
                  </a:lnTo>
                  <a:lnTo>
                    <a:pt x="84" y="460"/>
                  </a:lnTo>
                  <a:lnTo>
                    <a:pt x="86" y="460"/>
                  </a:lnTo>
                  <a:lnTo>
                    <a:pt x="88" y="460"/>
                  </a:lnTo>
                  <a:lnTo>
                    <a:pt x="90" y="459"/>
                  </a:lnTo>
                  <a:lnTo>
                    <a:pt x="91" y="458"/>
                  </a:lnTo>
                  <a:lnTo>
                    <a:pt x="91" y="457"/>
                  </a:lnTo>
                  <a:lnTo>
                    <a:pt x="92" y="456"/>
                  </a:lnTo>
                  <a:lnTo>
                    <a:pt x="93" y="457"/>
                  </a:lnTo>
                  <a:lnTo>
                    <a:pt x="94" y="457"/>
                  </a:lnTo>
                  <a:lnTo>
                    <a:pt x="94" y="454"/>
                  </a:lnTo>
                  <a:lnTo>
                    <a:pt x="94" y="453"/>
                  </a:lnTo>
                  <a:lnTo>
                    <a:pt x="94" y="452"/>
                  </a:lnTo>
                  <a:lnTo>
                    <a:pt x="97" y="450"/>
                  </a:lnTo>
                  <a:lnTo>
                    <a:pt x="98" y="447"/>
                  </a:lnTo>
                  <a:lnTo>
                    <a:pt x="98" y="445"/>
                  </a:lnTo>
                  <a:lnTo>
                    <a:pt x="99" y="444"/>
                  </a:lnTo>
                  <a:lnTo>
                    <a:pt x="99" y="442"/>
                  </a:lnTo>
                  <a:lnTo>
                    <a:pt x="102" y="442"/>
                  </a:lnTo>
                  <a:lnTo>
                    <a:pt x="102" y="444"/>
                  </a:lnTo>
                  <a:lnTo>
                    <a:pt x="102" y="446"/>
                  </a:lnTo>
                  <a:lnTo>
                    <a:pt x="105" y="446"/>
                  </a:lnTo>
                  <a:lnTo>
                    <a:pt x="106" y="445"/>
                  </a:lnTo>
                  <a:lnTo>
                    <a:pt x="108" y="444"/>
                  </a:lnTo>
                  <a:lnTo>
                    <a:pt x="109" y="442"/>
                  </a:lnTo>
                  <a:lnTo>
                    <a:pt x="111" y="441"/>
                  </a:lnTo>
                  <a:lnTo>
                    <a:pt x="112" y="440"/>
                  </a:lnTo>
                  <a:lnTo>
                    <a:pt x="112" y="441"/>
                  </a:lnTo>
                  <a:lnTo>
                    <a:pt x="111" y="442"/>
                  </a:lnTo>
                  <a:lnTo>
                    <a:pt x="109" y="444"/>
                  </a:lnTo>
                  <a:lnTo>
                    <a:pt x="106" y="446"/>
                  </a:lnTo>
                  <a:lnTo>
                    <a:pt x="105" y="447"/>
                  </a:lnTo>
                  <a:lnTo>
                    <a:pt x="103" y="448"/>
                  </a:lnTo>
                  <a:lnTo>
                    <a:pt x="102" y="450"/>
                  </a:lnTo>
                  <a:lnTo>
                    <a:pt x="103" y="452"/>
                  </a:lnTo>
                  <a:lnTo>
                    <a:pt x="105" y="451"/>
                  </a:lnTo>
                  <a:lnTo>
                    <a:pt x="109" y="448"/>
                  </a:lnTo>
                  <a:lnTo>
                    <a:pt x="110" y="447"/>
                  </a:lnTo>
                  <a:lnTo>
                    <a:pt x="112" y="446"/>
                  </a:lnTo>
                  <a:lnTo>
                    <a:pt x="115" y="445"/>
                  </a:lnTo>
                  <a:lnTo>
                    <a:pt x="116" y="446"/>
                  </a:lnTo>
                  <a:lnTo>
                    <a:pt x="116" y="448"/>
                  </a:lnTo>
                  <a:lnTo>
                    <a:pt x="117" y="450"/>
                  </a:lnTo>
                  <a:lnTo>
                    <a:pt x="118" y="448"/>
                  </a:lnTo>
                  <a:lnTo>
                    <a:pt x="120" y="447"/>
                  </a:lnTo>
                  <a:lnTo>
                    <a:pt x="120" y="445"/>
                  </a:lnTo>
                  <a:lnTo>
                    <a:pt x="120" y="444"/>
                  </a:lnTo>
                  <a:lnTo>
                    <a:pt x="120" y="442"/>
                  </a:lnTo>
                  <a:lnTo>
                    <a:pt x="121" y="442"/>
                  </a:lnTo>
                  <a:lnTo>
                    <a:pt x="122" y="442"/>
                  </a:lnTo>
                  <a:lnTo>
                    <a:pt x="124" y="444"/>
                  </a:lnTo>
                  <a:lnTo>
                    <a:pt x="126" y="445"/>
                  </a:lnTo>
                  <a:lnTo>
                    <a:pt x="128" y="445"/>
                  </a:lnTo>
                  <a:lnTo>
                    <a:pt x="129" y="445"/>
                  </a:lnTo>
                  <a:lnTo>
                    <a:pt x="132" y="444"/>
                  </a:lnTo>
                  <a:lnTo>
                    <a:pt x="133" y="442"/>
                  </a:lnTo>
                  <a:lnTo>
                    <a:pt x="133" y="440"/>
                  </a:lnTo>
                  <a:lnTo>
                    <a:pt x="132" y="439"/>
                  </a:lnTo>
                  <a:lnTo>
                    <a:pt x="132" y="438"/>
                  </a:lnTo>
                  <a:lnTo>
                    <a:pt x="130" y="438"/>
                  </a:lnTo>
                  <a:lnTo>
                    <a:pt x="128" y="439"/>
                  </a:lnTo>
                  <a:lnTo>
                    <a:pt x="126" y="439"/>
                  </a:lnTo>
                  <a:lnTo>
                    <a:pt x="124" y="438"/>
                  </a:lnTo>
                  <a:lnTo>
                    <a:pt x="124" y="436"/>
                  </a:lnTo>
                  <a:lnTo>
                    <a:pt x="123" y="436"/>
                  </a:lnTo>
                  <a:lnTo>
                    <a:pt x="121" y="435"/>
                  </a:lnTo>
                  <a:lnTo>
                    <a:pt x="120" y="435"/>
                  </a:lnTo>
                  <a:lnTo>
                    <a:pt x="122" y="434"/>
                  </a:lnTo>
                  <a:lnTo>
                    <a:pt x="124" y="434"/>
                  </a:lnTo>
                  <a:lnTo>
                    <a:pt x="124" y="435"/>
                  </a:lnTo>
                  <a:lnTo>
                    <a:pt x="126" y="436"/>
                  </a:lnTo>
                  <a:lnTo>
                    <a:pt x="128" y="436"/>
                  </a:lnTo>
                  <a:lnTo>
                    <a:pt x="129" y="434"/>
                  </a:lnTo>
                  <a:lnTo>
                    <a:pt x="129" y="433"/>
                  </a:lnTo>
                  <a:lnTo>
                    <a:pt x="129" y="432"/>
                  </a:lnTo>
                  <a:lnTo>
                    <a:pt x="128" y="430"/>
                  </a:lnTo>
                  <a:lnTo>
                    <a:pt x="124" y="429"/>
                  </a:lnTo>
                  <a:lnTo>
                    <a:pt x="123" y="429"/>
                  </a:lnTo>
                  <a:lnTo>
                    <a:pt x="123" y="427"/>
                  </a:lnTo>
                  <a:lnTo>
                    <a:pt x="124" y="426"/>
                  </a:lnTo>
                  <a:lnTo>
                    <a:pt x="126" y="424"/>
                  </a:lnTo>
                  <a:lnTo>
                    <a:pt x="127" y="424"/>
                  </a:lnTo>
                  <a:lnTo>
                    <a:pt x="128" y="426"/>
                  </a:lnTo>
                  <a:lnTo>
                    <a:pt x="128" y="428"/>
                  </a:lnTo>
                  <a:lnTo>
                    <a:pt x="129" y="429"/>
                  </a:lnTo>
                  <a:lnTo>
                    <a:pt x="132" y="430"/>
                  </a:lnTo>
                  <a:lnTo>
                    <a:pt x="133" y="432"/>
                  </a:lnTo>
                  <a:lnTo>
                    <a:pt x="135" y="433"/>
                  </a:lnTo>
                  <a:lnTo>
                    <a:pt x="138" y="433"/>
                  </a:lnTo>
                  <a:lnTo>
                    <a:pt x="139" y="433"/>
                  </a:lnTo>
                  <a:lnTo>
                    <a:pt x="140" y="435"/>
                  </a:lnTo>
                  <a:lnTo>
                    <a:pt x="139" y="435"/>
                  </a:lnTo>
                  <a:lnTo>
                    <a:pt x="137" y="434"/>
                  </a:lnTo>
                  <a:lnTo>
                    <a:pt x="137" y="436"/>
                  </a:lnTo>
                  <a:lnTo>
                    <a:pt x="137" y="438"/>
                  </a:lnTo>
                  <a:lnTo>
                    <a:pt x="139" y="438"/>
                  </a:lnTo>
                  <a:lnTo>
                    <a:pt x="141" y="440"/>
                  </a:lnTo>
                  <a:lnTo>
                    <a:pt x="143" y="444"/>
                  </a:lnTo>
                  <a:lnTo>
                    <a:pt x="144" y="446"/>
                  </a:lnTo>
                  <a:lnTo>
                    <a:pt x="144" y="448"/>
                  </a:lnTo>
                  <a:lnTo>
                    <a:pt x="141" y="448"/>
                  </a:lnTo>
                  <a:lnTo>
                    <a:pt x="141" y="446"/>
                  </a:lnTo>
                  <a:lnTo>
                    <a:pt x="139" y="442"/>
                  </a:lnTo>
                  <a:lnTo>
                    <a:pt x="138" y="442"/>
                  </a:lnTo>
                  <a:lnTo>
                    <a:pt x="139" y="445"/>
                  </a:lnTo>
                  <a:lnTo>
                    <a:pt x="139" y="446"/>
                  </a:lnTo>
                  <a:lnTo>
                    <a:pt x="139" y="448"/>
                  </a:lnTo>
                  <a:lnTo>
                    <a:pt x="138" y="448"/>
                  </a:lnTo>
                  <a:lnTo>
                    <a:pt x="137" y="451"/>
                  </a:lnTo>
                  <a:lnTo>
                    <a:pt x="137" y="452"/>
                  </a:lnTo>
                  <a:lnTo>
                    <a:pt x="139" y="453"/>
                  </a:lnTo>
                  <a:lnTo>
                    <a:pt x="140" y="452"/>
                  </a:lnTo>
                  <a:lnTo>
                    <a:pt x="143" y="452"/>
                  </a:lnTo>
                  <a:lnTo>
                    <a:pt x="141" y="453"/>
                  </a:lnTo>
                  <a:lnTo>
                    <a:pt x="140" y="454"/>
                  </a:lnTo>
                  <a:lnTo>
                    <a:pt x="139" y="454"/>
                  </a:lnTo>
                  <a:lnTo>
                    <a:pt x="138" y="456"/>
                  </a:lnTo>
                  <a:lnTo>
                    <a:pt x="137" y="456"/>
                  </a:lnTo>
                  <a:lnTo>
                    <a:pt x="135" y="458"/>
                  </a:lnTo>
                  <a:lnTo>
                    <a:pt x="135" y="460"/>
                  </a:lnTo>
                  <a:lnTo>
                    <a:pt x="137" y="460"/>
                  </a:lnTo>
                  <a:lnTo>
                    <a:pt x="134" y="462"/>
                  </a:lnTo>
                  <a:lnTo>
                    <a:pt x="133" y="462"/>
                  </a:lnTo>
                  <a:lnTo>
                    <a:pt x="132" y="459"/>
                  </a:lnTo>
                  <a:lnTo>
                    <a:pt x="129" y="459"/>
                  </a:lnTo>
                  <a:lnTo>
                    <a:pt x="128" y="460"/>
                  </a:lnTo>
                  <a:lnTo>
                    <a:pt x="128" y="463"/>
                  </a:lnTo>
                  <a:lnTo>
                    <a:pt x="128" y="464"/>
                  </a:lnTo>
                  <a:lnTo>
                    <a:pt x="128" y="466"/>
                  </a:lnTo>
                  <a:lnTo>
                    <a:pt x="129" y="466"/>
                  </a:lnTo>
                  <a:lnTo>
                    <a:pt x="132" y="466"/>
                  </a:lnTo>
                  <a:lnTo>
                    <a:pt x="133" y="466"/>
                  </a:lnTo>
                  <a:lnTo>
                    <a:pt x="134" y="466"/>
                  </a:lnTo>
                  <a:lnTo>
                    <a:pt x="135" y="465"/>
                  </a:lnTo>
                  <a:lnTo>
                    <a:pt x="135" y="464"/>
                  </a:lnTo>
                  <a:lnTo>
                    <a:pt x="137" y="465"/>
                  </a:lnTo>
                  <a:lnTo>
                    <a:pt x="138" y="466"/>
                  </a:lnTo>
                  <a:lnTo>
                    <a:pt x="141" y="466"/>
                  </a:lnTo>
                  <a:lnTo>
                    <a:pt x="143" y="465"/>
                  </a:lnTo>
                  <a:lnTo>
                    <a:pt x="144" y="466"/>
                  </a:lnTo>
                  <a:lnTo>
                    <a:pt x="144" y="468"/>
                  </a:lnTo>
                  <a:lnTo>
                    <a:pt x="145" y="469"/>
                  </a:lnTo>
                  <a:lnTo>
                    <a:pt x="147" y="468"/>
                  </a:lnTo>
                  <a:lnTo>
                    <a:pt x="147" y="466"/>
                  </a:lnTo>
                  <a:lnTo>
                    <a:pt x="150" y="465"/>
                  </a:lnTo>
                  <a:lnTo>
                    <a:pt x="152" y="464"/>
                  </a:lnTo>
                  <a:lnTo>
                    <a:pt x="152" y="463"/>
                  </a:lnTo>
                  <a:lnTo>
                    <a:pt x="151" y="463"/>
                  </a:lnTo>
                  <a:lnTo>
                    <a:pt x="149" y="463"/>
                  </a:lnTo>
                  <a:lnTo>
                    <a:pt x="146" y="463"/>
                  </a:lnTo>
                  <a:lnTo>
                    <a:pt x="149" y="460"/>
                  </a:lnTo>
                  <a:lnTo>
                    <a:pt x="150" y="459"/>
                  </a:lnTo>
                  <a:lnTo>
                    <a:pt x="151" y="458"/>
                  </a:lnTo>
                  <a:lnTo>
                    <a:pt x="152" y="458"/>
                  </a:lnTo>
                  <a:lnTo>
                    <a:pt x="153" y="458"/>
                  </a:lnTo>
                  <a:lnTo>
                    <a:pt x="155" y="460"/>
                  </a:lnTo>
                  <a:lnTo>
                    <a:pt x="155" y="462"/>
                  </a:lnTo>
                  <a:lnTo>
                    <a:pt x="155" y="463"/>
                  </a:lnTo>
                  <a:lnTo>
                    <a:pt x="156" y="462"/>
                  </a:lnTo>
                  <a:lnTo>
                    <a:pt x="157" y="464"/>
                  </a:lnTo>
                  <a:lnTo>
                    <a:pt x="158" y="465"/>
                  </a:lnTo>
                  <a:lnTo>
                    <a:pt x="156" y="465"/>
                  </a:lnTo>
                  <a:lnTo>
                    <a:pt x="153" y="465"/>
                  </a:lnTo>
                  <a:lnTo>
                    <a:pt x="151" y="466"/>
                  </a:lnTo>
                  <a:lnTo>
                    <a:pt x="150" y="468"/>
                  </a:lnTo>
                  <a:lnTo>
                    <a:pt x="149" y="469"/>
                  </a:lnTo>
                  <a:lnTo>
                    <a:pt x="147" y="470"/>
                  </a:lnTo>
                  <a:lnTo>
                    <a:pt x="144" y="472"/>
                  </a:lnTo>
                  <a:lnTo>
                    <a:pt x="143" y="470"/>
                  </a:lnTo>
                  <a:lnTo>
                    <a:pt x="141" y="469"/>
                  </a:lnTo>
                  <a:lnTo>
                    <a:pt x="140" y="469"/>
                  </a:lnTo>
                  <a:lnTo>
                    <a:pt x="138" y="468"/>
                  </a:lnTo>
                  <a:lnTo>
                    <a:pt x="137" y="468"/>
                  </a:lnTo>
                  <a:lnTo>
                    <a:pt x="137" y="470"/>
                  </a:lnTo>
                  <a:lnTo>
                    <a:pt x="135" y="470"/>
                  </a:lnTo>
                  <a:lnTo>
                    <a:pt x="133" y="470"/>
                  </a:lnTo>
                  <a:lnTo>
                    <a:pt x="133" y="469"/>
                  </a:lnTo>
                  <a:lnTo>
                    <a:pt x="132" y="469"/>
                  </a:lnTo>
                  <a:lnTo>
                    <a:pt x="130" y="470"/>
                  </a:lnTo>
                  <a:lnTo>
                    <a:pt x="128" y="471"/>
                  </a:lnTo>
                  <a:lnTo>
                    <a:pt x="126" y="471"/>
                  </a:lnTo>
                  <a:lnTo>
                    <a:pt x="124" y="469"/>
                  </a:lnTo>
                  <a:lnTo>
                    <a:pt x="122" y="468"/>
                  </a:lnTo>
                  <a:lnTo>
                    <a:pt x="121" y="469"/>
                  </a:lnTo>
                  <a:lnTo>
                    <a:pt x="121" y="471"/>
                  </a:lnTo>
                  <a:lnTo>
                    <a:pt x="120" y="471"/>
                  </a:lnTo>
                  <a:lnTo>
                    <a:pt x="118" y="472"/>
                  </a:lnTo>
                  <a:lnTo>
                    <a:pt x="117" y="475"/>
                  </a:lnTo>
                  <a:lnTo>
                    <a:pt x="115" y="472"/>
                  </a:lnTo>
                  <a:lnTo>
                    <a:pt x="114" y="472"/>
                  </a:lnTo>
                  <a:lnTo>
                    <a:pt x="112" y="474"/>
                  </a:lnTo>
                  <a:lnTo>
                    <a:pt x="114" y="476"/>
                  </a:lnTo>
                  <a:lnTo>
                    <a:pt x="110" y="476"/>
                  </a:lnTo>
                  <a:lnTo>
                    <a:pt x="110" y="477"/>
                  </a:lnTo>
                  <a:lnTo>
                    <a:pt x="112" y="478"/>
                  </a:lnTo>
                  <a:lnTo>
                    <a:pt x="114" y="480"/>
                  </a:lnTo>
                  <a:lnTo>
                    <a:pt x="115" y="480"/>
                  </a:lnTo>
                  <a:lnTo>
                    <a:pt x="115" y="481"/>
                  </a:lnTo>
                  <a:lnTo>
                    <a:pt x="117" y="481"/>
                  </a:lnTo>
                  <a:lnTo>
                    <a:pt x="118" y="481"/>
                  </a:lnTo>
                  <a:lnTo>
                    <a:pt x="121" y="480"/>
                  </a:lnTo>
                  <a:lnTo>
                    <a:pt x="123" y="480"/>
                  </a:lnTo>
                  <a:lnTo>
                    <a:pt x="123" y="478"/>
                  </a:lnTo>
                  <a:lnTo>
                    <a:pt x="124" y="477"/>
                  </a:lnTo>
                  <a:lnTo>
                    <a:pt x="126" y="478"/>
                  </a:lnTo>
                  <a:lnTo>
                    <a:pt x="127" y="478"/>
                  </a:lnTo>
                  <a:lnTo>
                    <a:pt x="128" y="477"/>
                  </a:lnTo>
                  <a:lnTo>
                    <a:pt x="128" y="476"/>
                  </a:lnTo>
                  <a:lnTo>
                    <a:pt x="128" y="478"/>
                  </a:lnTo>
                  <a:lnTo>
                    <a:pt x="127" y="480"/>
                  </a:lnTo>
                  <a:lnTo>
                    <a:pt x="124" y="482"/>
                  </a:lnTo>
                  <a:lnTo>
                    <a:pt x="123" y="483"/>
                  </a:lnTo>
                  <a:lnTo>
                    <a:pt x="122" y="483"/>
                  </a:lnTo>
                  <a:lnTo>
                    <a:pt x="120" y="483"/>
                  </a:lnTo>
                  <a:lnTo>
                    <a:pt x="118" y="484"/>
                  </a:lnTo>
                  <a:lnTo>
                    <a:pt x="116" y="486"/>
                  </a:lnTo>
                  <a:lnTo>
                    <a:pt x="115" y="487"/>
                  </a:lnTo>
                  <a:lnTo>
                    <a:pt x="114" y="488"/>
                  </a:lnTo>
                  <a:lnTo>
                    <a:pt x="112" y="486"/>
                  </a:lnTo>
                  <a:lnTo>
                    <a:pt x="112" y="484"/>
                  </a:lnTo>
                  <a:lnTo>
                    <a:pt x="111" y="486"/>
                  </a:lnTo>
                  <a:lnTo>
                    <a:pt x="109" y="486"/>
                  </a:lnTo>
                  <a:lnTo>
                    <a:pt x="106" y="488"/>
                  </a:lnTo>
                  <a:lnTo>
                    <a:pt x="105" y="488"/>
                  </a:lnTo>
                  <a:lnTo>
                    <a:pt x="103" y="489"/>
                  </a:lnTo>
                  <a:lnTo>
                    <a:pt x="102" y="489"/>
                  </a:lnTo>
                  <a:lnTo>
                    <a:pt x="100" y="489"/>
                  </a:lnTo>
                  <a:lnTo>
                    <a:pt x="96" y="492"/>
                  </a:lnTo>
                  <a:lnTo>
                    <a:pt x="96" y="493"/>
                  </a:lnTo>
                  <a:lnTo>
                    <a:pt x="94" y="494"/>
                  </a:lnTo>
                  <a:lnTo>
                    <a:pt x="94" y="495"/>
                  </a:lnTo>
                  <a:lnTo>
                    <a:pt x="93" y="496"/>
                  </a:lnTo>
                  <a:lnTo>
                    <a:pt x="91" y="496"/>
                  </a:lnTo>
                  <a:lnTo>
                    <a:pt x="88" y="498"/>
                  </a:lnTo>
                  <a:lnTo>
                    <a:pt x="87" y="498"/>
                  </a:lnTo>
                  <a:lnTo>
                    <a:pt x="85" y="498"/>
                  </a:lnTo>
                  <a:lnTo>
                    <a:pt x="81" y="498"/>
                  </a:lnTo>
                  <a:lnTo>
                    <a:pt x="81" y="499"/>
                  </a:lnTo>
                  <a:lnTo>
                    <a:pt x="80" y="500"/>
                  </a:lnTo>
                  <a:lnTo>
                    <a:pt x="79" y="498"/>
                  </a:lnTo>
                  <a:lnTo>
                    <a:pt x="76" y="499"/>
                  </a:lnTo>
                  <a:lnTo>
                    <a:pt x="76" y="500"/>
                  </a:lnTo>
                  <a:lnTo>
                    <a:pt x="73" y="500"/>
                  </a:lnTo>
                  <a:lnTo>
                    <a:pt x="73" y="502"/>
                  </a:lnTo>
                  <a:lnTo>
                    <a:pt x="71" y="502"/>
                  </a:lnTo>
                  <a:lnTo>
                    <a:pt x="71" y="501"/>
                  </a:lnTo>
                  <a:lnTo>
                    <a:pt x="70" y="499"/>
                  </a:lnTo>
                  <a:lnTo>
                    <a:pt x="67" y="499"/>
                  </a:lnTo>
                  <a:lnTo>
                    <a:pt x="67" y="498"/>
                  </a:lnTo>
                  <a:lnTo>
                    <a:pt x="65" y="495"/>
                  </a:lnTo>
                  <a:lnTo>
                    <a:pt x="64" y="495"/>
                  </a:lnTo>
                  <a:lnTo>
                    <a:pt x="63" y="496"/>
                  </a:lnTo>
                  <a:lnTo>
                    <a:pt x="62" y="498"/>
                  </a:lnTo>
                  <a:lnTo>
                    <a:pt x="61" y="498"/>
                  </a:lnTo>
                  <a:lnTo>
                    <a:pt x="61" y="499"/>
                  </a:lnTo>
                  <a:lnTo>
                    <a:pt x="61" y="501"/>
                  </a:lnTo>
                  <a:lnTo>
                    <a:pt x="62" y="502"/>
                  </a:lnTo>
                  <a:lnTo>
                    <a:pt x="62" y="504"/>
                  </a:lnTo>
                  <a:lnTo>
                    <a:pt x="62" y="505"/>
                  </a:lnTo>
                  <a:lnTo>
                    <a:pt x="63" y="506"/>
                  </a:lnTo>
                  <a:lnTo>
                    <a:pt x="64" y="506"/>
                  </a:lnTo>
                  <a:lnTo>
                    <a:pt x="63" y="508"/>
                  </a:lnTo>
                  <a:lnTo>
                    <a:pt x="62" y="510"/>
                  </a:lnTo>
                  <a:lnTo>
                    <a:pt x="62" y="511"/>
                  </a:lnTo>
                  <a:lnTo>
                    <a:pt x="64" y="511"/>
                  </a:lnTo>
                  <a:lnTo>
                    <a:pt x="67" y="511"/>
                  </a:lnTo>
                  <a:lnTo>
                    <a:pt x="68" y="512"/>
                  </a:lnTo>
                  <a:lnTo>
                    <a:pt x="69" y="513"/>
                  </a:lnTo>
                  <a:lnTo>
                    <a:pt x="70" y="512"/>
                  </a:lnTo>
                  <a:lnTo>
                    <a:pt x="73" y="512"/>
                  </a:lnTo>
                  <a:lnTo>
                    <a:pt x="75" y="511"/>
                  </a:lnTo>
                  <a:lnTo>
                    <a:pt x="76" y="511"/>
                  </a:lnTo>
                  <a:lnTo>
                    <a:pt x="79" y="511"/>
                  </a:lnTo>
                  <a:lnTo>
                    <a:pt x="80" y="511"/>
                  </a:lnTo>
                  <a:lnTo>
                    <a:pt x="82" y="513"/>
                  </a:lnTo>
                  <a:lnTo>
                    <a:pt x="85" y="517"/>
                  </a:lnTo>
                  <a:lnTo>
                    <a:pt x="84" y="517"/>
                  </a:lnTo>
                  <a:lnTo>
                    <a:pt x="82" y="516"/>
                  </a:lnTo>
                  <a:lnTo>
                    <a:pt x="81" y="516"/>
                  </a:lnTo>
                  <a:lnTo>
                    <a:pt x="80" y="517"/>
                  </a:lnTo>
                  <a:lnTo>
                    <a:pt x="79" y="517"/>
                  </a:lnTo>
                  <a:lnTo>
                    <a:pt x="78" y="516"/>
                  </a:lnTo>
                  <a:lnTo>
                    <a:pt x="76" y="514"/>
                  </a:lnTo>
                  <a:lnTo>
                    <a:pt x="74" y="514"/>
                  </a:lnTo>
                  <a:lnTo>
                    <a:pt x="71" y="514"/>
                  </a:lnTo>
                  <a:lnTo>
                    <a:pt x="70" y="514"/>
                  </a:lnTo>
                  <a:lnTo>
                    <a:pt x="69" y="516"/>
                  </a:lnTo>
                  <a:lnTo>
                    <a:pt x="71" y="517"/>
                  </a:lnTo>
                  <a:lnTo>
                    <a:pt x="73" y="518"/>
                  </a:lnTo>
                  <a:lnTo>
                    <a:pt x="71" y="520"/>
                  </a:lnTo>
                  <a:lnTo>
                    <a:pt x="74" y="522"/>
                  </a:lnTo>
                  <a:lnTo>
                    <a:pt x="75" y="522"/>
                  </a:lnTo>
                  <a:lnTo>
                    <a:pt x="78" y="523"/>
                  </a:lnTo>
                  <a:lnTo>
                    <a:pt x="78" y="525"/>
                  </a:lnTo>
                  <a:lnTo>
                    <a:pt x="76" y="525"/>
                  </a:lnTo>
                  <a:lnTo>
                    <a:pt x="75" y="526"/>
                  </a:lnTo>
                  <a:lnTo>
                    <a:pt x="76" y="526"/>
                  </a:lnTo>
                  <a:lnTo>
                    <a:pt x="80" y="526"/>
                  </a:lnTo>
                  <a:lnTo>
                    <a:pt x="81" y="525"/>
                  </a:lnTo>
                  <a:lnTo>
                    <a:pt x="81" y="524"/>
                  </a:lnTo>
                  <a:lnTo>
                    <a:pt x="84" y="523"/>
                  </a:lnTo>
                  <a:lnTo>
                    <a:pt x="84" y="524"/>
                  </a:lnTo>
                  <a:lnTo>
                    <a:pt x="82" y="526"/>
                  </a:lnTo>
                  <a:lnTo>
                    <a:pt x="81" y="529"/>
                  </a:lnTo>
                  <a:lnTo>
                    <a:pt x="79" y="530"/>
                  </a:lnTo>
                  <a:lnTo>
                    <a:pt x="76" y="530"/>
                  </a:lnTo>
                  <a:lnTo>
                    <a:pt x="75" y="530"/>
                  </a:lnTo>
                  <a:lnTo>
                    <a:pt x="73" y="529"/>
                  </a:lnTo>
                  <a:lnTo>
                    <a:pt x="73" y="526"/>
                  </a:lnTo>
                  <a:lnTo>
                    <a:pt x="74" y="524"/>
                  </a:lnTo>
                  <a:lnTo>
                    <a:pt x="73" y="523"/>
                  </a:lnTo>
                  <a:lnTo>
                    <a:pt x="70" y="522"/>
                  </a:lnTo>
                  <a:lnTo>
                    <a:pt x="70" y="520"/>
                  </a:lnTo>
                  <a:lnTo>
                    <a:pt x="70" y="519"/>
                  </a:lnTo>
                  <a:lnTo>
                    <a:pt x="69" y="518"/>
                  </a:lnTo>
                  <a:lnTo>
                    <a:pt x="67" y="517"/>
                  </a:lnTo>
                  <a:lnTo>
                    <a:pt x="65" y="517"/>
                  </a:lnTo>
                  <a:lnTo>
                    <a:pt x="64" y="518"/>
                  </a:lnTo>
                  <a:lnTo>
                    <a:pt x="63" y="518"/>
                  </a:lnTo>
                  <a:lnTo>
                    <a:pt x="62" y="519"/>
                  </a:lnTo>
                  <a:lnTo>
                    <a:pt x="59" y="520"/>
                  </a:lnTo>
                  <a:lnTo>
                    <a:pt x="57" y="522"/>
                  </a:lnTo>
                  <a:lnTo>
                    <a:pt x="56" y="522"/>
                  </a:lnTo>
                  <a:lnTo>
                    <a:pt x="55" y="524"/>
                  </a:lnTo>
                  <a:lnTo>
                    <a:pt x="55" y="526"/>
                  </a:lnTo>
                  <a:lnTo>
                    <a:pt x="57" y="526"/>
                  </a:lnTo>
                  <a:lnTo>
                    <a:pt x="59" y="528"/>
                  </a:lnTo>
                  <a:lnTo>
                    <a:pt x="61" y="529"/>
                  </a:lnTo>
                  <a:lnTo>
                    <a:pt x="62" y="530"/>
                  </a:lnTo>
                  <a:lnTo>
                    <a:pt x="61" y="531"/>
                  </a:lnTo>
                  <a:lnTo>
                    <a:pt x="59" y="534"/>
                  </a:lnTo>
                  <a:lnTo>
                    <a:pt x="61" y="534"/>
                  </a:lnTo>
                  <a:lnTo>
                    <a:pt x="62" y="536"/>
                  </a:lnTo>
                  <a:lnTo>
                    <a:pt x="63" y="537"/>
                  </a:lnTo>
                  <a:lnTo>
                    <a:pt x="67" y="541"/>
                  </a:lnTo>
                  <a:lnTo>
                    <a:pt x="68" y="541"/>
                  </a:lnTo>
                  <a:lnTo>
                    <a:pt x="70" y="542"/>
                  </a:lnTo>
                  <a:lnTo>
                    <a:pt x="71" y="542"/>
                  </a:lnTo>
                  <a:lnTo>
                    <a:pt x="75" y="541"/>
                  </a:lnTo>
                  <a:lnTo>
                    <a:pt x="76" y="541"/>
                  </a:lnTo>
                  <a:lnTo>
                    <a:pt x="79" y="540"/>
                  </a:lnTo>
                  <a:lnTo>
                    <a:pt x="81" y="540"/>
                  </a:lnTo>
                  <a:lnTo>
                    <a:pt x="82" y="539"/>
                  </a:lnTo>
                  <a:lnTo>
                    <a:pt x="84" y="536"/>
                  </a:lnTo>
                  <a:lnTo>
                    <a:pt x="86" y="535"/>
                  </a:lnTo>
                  <a:lnTo>
                    <a:pt x="87" y="535"/>
                  </a:lnTo>
                  <a:lnTo>
                    <a:pt x="88" y="534"/>
                  </a:lnTo>
                  <a:lnTo>
                    <a:pt x="91" y="535"/>
                  </a:lnTo>
                  <a:lnTo>
                    <a:pt x="92" y="536"/>
                  </a:lnTo>
                  <a:lnTo>
                    <a:pt x="90" y="536"/>
                  </a:lnTo>
                  <a:lnTo>
                    <a:pt x="87" y="537"/>
                  </a:lnTo>
                  <a:lnTo>
                    <a:pt x="85" y="539"/>
                  </a:lnTo>
                  <a:lnTo>
                    <a:pt x="84" y="540"/>
                  </a:lnTo>
                  <a:lnTo>
                    <a:pt x="84" y="541"/>
                  </a:lnTo>
                  <a:lnTo>
                    <a:pt x="85" y="543"/>
                  </a:lnTo>
                  <a:lnTo>
                    <a:pt x="86" y="545"/>
                  </a:lnTo>
                  <a:lnTo>
                    <a:pt x="81" y="545"/>
                  </a:lnTo>
                  <a:lnTo>
                    <a:pt x="80" y="545"/>
                  </a:lnTo>
                  <a:lnTo>
                    <a:pt x="79" y="546"/>
                  </a:lnTo>
                  <a:lnTo>
                    <a:pt x="78" y="546"/>
                  </a:lnTo>
                  <a:lnTo>
                    <a:pt x="76" y="548"/>
                  </a:lnTo>
                  <a:lnTo>
                    <a:pt x="78" y="549"/>
                  </a:lnTo>
                  <a:lnTo>
                    <a:pt x="80" y="549"/>
                  </a:lnTo>
                  <a:lnTo>
                    <a:pt x="81" y="551"/>
                  </a:lnTo>
                  <a:lnTo>
                    <a:pt x="79" y="551"/>
                  </a:lnTo>
                  <a:lnTo>
                    <a:pt x="76" y="552"/>
                  </a:lnTo>
                  <a:lnTo>
                    <a:pt x="75" y="551"/>
                  </a:lnTo>
                  <a:lnTo>
                    <a:pt x="74" y="548"/>
                  </a:lnTo>
                  <a:lnTo>
                    <a:pt x="74" y="547"/>
                  </a:lnTo>
                  <a:lnTo>
                    <a:pt x="73" y="548"/>
                  </a:lnTo>
                  <a:lnTo>
                    <a:pt x="71" y="551"/>
                  </a:lnTo>
                  <a:lnTo>
                    <a:pt x="69" y="553"/>
                  </a:lnTo>
                  <a:lnTo>
                    <a:pt x="67" y="554"/>
                  </a:lnTo>
                  <a:lnTo>
                    <a:pt x="68" y="555"/>
                  </a:lnTo>
                  <a:lnTo>
                    <a:pt x="69" y="558"/>
                  </a:lnTo>
                  <a:lnTo>
                    <a:pt x="70" y="557"/>
                  </a:lnTo>
                  <a:lnTo>
                    <a:pt x="73" y="558"/>
                  </a:lnTo>
                  <a:lnTo>
                    <a:pt x="74" y="557"/>
                  </a:lnTo>
                  <a:lnTo>
                    <a:pt x="75" y="555"/>
                  </a:lnTo>
                  <a:lnTo>
                    <a:pt x="75" y="557"/>
                  </a:lnTo>
                  <a:lnTo>
                    <a:pt x="78" y="558"/>
                  </a:lnTo>
                  <a:lnTo>
                    <a:pt x="79" y="558"/>
                  </a:lnTo>
                  <a:lnTo>
                    <a:pt x="81" y="557"/>
                  </a:lnTo>
                  <a:lnTo>
                    <a:pt x="82" y="555"/>
                  </a:lnTo>
                  <a:lnTo>
                    <a:pt x="84" y="554"/>
                  </a:lnTo>
                  <a:lnTo>
                    <a:pt x="85" y="553"/>
                  </a:lnTo>
                  <a:lnTo>
                    <a:pt x="87" y="553"/>
                  </a:lnTo>
                  <a:lnTo>
                    <a:pt x="88" y="552"/>
                  </a:lnTo>
                  <a:lnTo>
                    <a:pt x="90" y="551"/>
                  </a:lnTo>
                  <a:lnTo>
                    <a:pt x="90" y="552"/>
                  </a:lnTo>
                  <a:lnTo>
                    <a:pt x="91" y="557"/>
                  </a:lnTo>
                  <a:lnTo>
                    <a:pt x="91" y="559"/>
                  </a:lnTo>
                  <a:lnTo>
                    <a:pt x="94" y="560"/>
                  </a:lnTo>
                  <a:lnTo>
                    <a:pt x="96" y="559"/>
                  </a:lnTo>
                  <a:lnTo>
                    <a:pt x="99" y="558"/>
                  </a:lnTo>
                  <a:lnTo>
                    <a:pt x="100" y="557"/>
                  </a:lnTo>
                  <a:lnTo>
                    <a:pt x="100" y="554"/>
                  </a:lnTo>
                  <a:lnTo>
                    <a:pt x="102" y="554"/>
                  </a:lnTo>
                  <a:lnTo>
                    <a:pt x="100" y="554"/>
                  </a:lnTo>
                  <a:lnTo>
                    <a:pt x="98" y="557"/>
                  </a:lnTo>
                  <a:lnTo>
                    <a:pt x="96" y="557"/>
                  </a:lnTo>
                  <a:lnTo>
                    <a:pt x="97" y="554"/>
                  </a:lnTo>
                  <a:lnTo>
                    <a:pt x="98" y="553"/>
                  </a:lnTo>
                  <a:lnTo>
                    <a:pt x="99" y="553"/>
                  </a:lnTo>
                  <a:lnTo>
                    <a:pt x="102" y="552"/>
                  </a:lnTo>
                  <a:lnTo>
                    <a:pt x="103" y="551"/>
                  </a:lnTo>
                  <a:lnTo>
                    <a:pt x="103" y="549"/>
                  </a:lnTo>
                  <a:lnTo>
                    <a:pt x="99" y="548"/>
                  </a:lnTo>
                  <a:lnTo>
                    <a:pt x="98" y="548"/>
                  </a:lnTo>
                  <a:lnTo>
                    <a:pt x="99" y="547"/>
                  </a:lnTo>
                  <a:lnTo>
                    <a:pt x="103" y="548"/>
                  </a:lnTo>
                  <a:lnTo>
                    <a:pt x="104" y="547"/>
                  </a:lnTo>
                  <a:lnTo>
                    <a:pt x="105" y="546"/>
                  </a:lnTo>
                  <a:lnTo>
                    <a:pt x="105" y="543"/>
                  </a:lnTo>
                  <a:lnTo>
                    <a:pt x="105" y="542"/>
                  </a:lnTo>
                  <a:lnTo>
                    <a:pt x="104" y="541"/>
                  </a:lnTo>
                  <a:lnTo>
                    <a:pt x="103" y="540"/>
                  </a:lnTo>
                  <a:lnTo>
                    <a:pt x="104" y="539"/>
                  </a:lnTo>
                  <a:lnTo>
                    <a:pt x="103" y="536"/>
                  </a:lnTo>
                  <a:lnTo>
                    <a:pt x="102" y="535"/>
                  </a:lnTo>
                  <a:lnTo>
                    <a:pt x="104" y="534"/>
                  </a:lnTo>
                  <a:lnTo>
                    <a:pt x="105" y="533"/>
                  </a:lnTo>
                  <a:lnTo>
                    <a:pt x="105" y="534"/>
                  </a:lnTo>
                  <a:lnTo>
                    <a:pt x="105" y="535"/>
                  </a:lnTo>
                  <a:lnTo>
                    <a:pt x="105" y="536"/>
                  </a:lnTo>
                  <a:lnTo>
                    <a:pt x="106" y="537"/>
                  </a:lnTo>
                  <a:lnTo>
                    <a:pt x="108" y="537"/>
                  </a:lnTo>
                  <a:lnTo>
                    <a:pt x="109" y="539"/>
                  </a:lnTo>
                  <a:lnTo>
                    <a:pt x="110" y="540"/>
                  </a:lnTo>
                  <a:lnTo>
                    <a:pt x="112" y="539"/>
                  </a:lnTo>
                  <a:lnTo>
                    <a:pt x="112" y="540"/>
                  </a:lnTo>
                  <a:lnTo>
                    <a:pt x="114" y="542"/>
                  </a:lnTo>
                  <a:lnTo>
                    <a:pt x="116" y="542"/>
                  </a:lnTo>
                  <a:lnTo>
                    <a:pt x="117" y="541"/>
                  </a:lnTo>
                  <a:lnTo>
                    <a:pt x="118" y="540"/>
                  </a:lnTo>
                  <a:lnTo>
                    <a:pt x="120" y="539"/>
                  </a:lnTo>
                  <a:lnTo>
                    <a:pt x="121" y="535"/>
                  </a:lnTo>
                  <a:lnTo>
                    <a:pt x="121" y="534"/>
                  </a:lnTo>
                  <a:lnTo>
                    <a:pt x="120" y="533"/>
                  </a:lnTo>
                  <a:lnTo>
                    <a:pt x="121" y="531"/>
                  </a:lnTo>
                  <a:lnTo>
                    <a:pt x="122" y="528"/>
                  </a:lnTo>
                  <a:lnTo>
                    <a:pt x="123" y="529"/>
                  </a:lnTo>
                  <a:lnTo>
                    <a:pt x="122" y="531"/>
                  </a:lnTo>
                  <a:lnTo>
                    <a:pt x="122" y="533"/>
                  </a:lnTo>
                  <a:lnTo>
                    <a:pt x="122" y="534"/>
                  </a:lnTo>
                  <a:lnTo>
                    <a:pt x="123" y="535"/>
                  </a:lnTo>
                  <a:lnTo>
                    <a:pt x="124" y="536"/>
                  </a:lnTo>
                  <a:lnTo>
                    <a:pt x="124" y="540"/>
                  </a:lnTo>
                  <a:lnTo>
                    <a:pt x="126" y="542"/>
                  </a:lnTo>
                  <a:lnTo>
                    <a:pt x="127" y="542"/>
                  </a:lnTo>
                  <a:lnTo>
                    <a:pt x="128" y="537"/>
                  </a:lnTo>
                  <a:lnTo>
                    <a:pt x="129" y="536"/>
                  </a:lnTo>
                  <a:lnTo>
                    <a:pt x="129" y="539"/>
                  </a:lnTo>
                  <a:lnTo>
                    <a:pt x="129" y="542"/>
                  </a:lnTo>
                  <a:lnTo>
                    <a:pt x="129" y="546"/>
                  </a:lnTo>
                  <a:lnTo>
                    <a:pt x="130" y="546"/>
                  </a:lnTo>
                  <a:lnTo>
                    <a:pt x="133" y="545"/>
                  </a:lnTo>
                  <a:lnTo>
                    <a:pt x="134" y="542"/>
                  </a:lnTo>
                  <a:lnTo>
                    <a:pt x="135" y="541"/>
                  </a:lnTo>
                  <a:lnTo>
                    <a:pt x="137" y="540"/>
                  </a:lnTo>
                  <a:lnTo>
                    <a:pt x="138" y="541"/>
                  </a:lnTo>
                  <a:lnTo>
                    <a:pt x="138" y="542"/>
                  </a:lnTo>
                  <a:lnTo>
                    <a:pt x="140" y="542"/>
                  </a:lnTo>
                  <a:lnTo>
                    <a:pt x="144" y="542"/>
                  </a:lnTo>
                  <a:lnTo>
                    <a:pt x="144" y="541"/>
                  </a:lnTo>
                  <a:lnTo>
                    <a:pt x="145" y="540"/>
                  </a:lnTo>
                  <a:lnTo>
                    <a:pt x="145" y="539"/>
                  </a:lnTo>
                  <a:lnTo>
                    <a:pt x="146" y="539"/>
                  </a:lnTo>
                  <a:lnTo>
                    <a:pt x="149" y="539"/>
                  </a:lnTo>
                  <a:lnTo>
                    <a:pt x="151" y="540"/>
                  </a:lnTo>
                  <a:lnTo>
                    <a:pt x="152" y="539"/>
                  </a:lnTo>
                  <a:lnTo>
                    <a:pt x="152" y="537"/>
                  </a:lnTo>
                  <a:lnTo>
                    <a:pt x="155" y="539"/>
                  </a:lnTo>
                  <a:lnTo>
                    <a:pt x="156" y="539"/>
                  </a:lnTo>
                  <a:lnTo>
                    <a:pt x="157" y="537"/>
                  </a:lnTo>
                  <a:lnTo>
                    <a:pt x="157" y="536"/>
                  </a:lnTo>
                  <a:lnTo>
                    <a:pt x="157" y="535"/>
                  </a:lnTo>
                  <a:lnTo>
                    <a:pt x="157" y="534"/>
                  </a:lnTo>
                  <a:lnTo>
                    <a:pt x="159" y="534"/>
                  </a:lnTo>
                  <a:lnTo>
                    <a:pt x="159" y="536"/>
                  </a:lnTo>
                  <a:lnTo>
                    <a:pt x="162" y="536"/>
                  </a:lnTo>
                  <a:lnTo>
                    <a:pt x="163" y="537"/>
                  </a:lnTo>
                  <a:lnTo>
                    <a:pt x="164" y="539"/>
                  </a:lnTo>
                  <a:lnTo>
                    <a:pt x="164" y="541"/>
                  </a:lnTo>
                  <a:lnTo>
                    <a:pt x="165" y="543"/>
                  </a:lnTo>
                  <a:lnTo>
                    <a:pt x="164" y="546"/>
                  </a:lnTo>
                  <a:lnTo>
                    <a:pt x="163" y="547"/>
                  </a:lnTo>
                  <a:lnTo>
                    <a:pt x="162" y="546"/>
                  </a:lnTo>
                  <a:lnTo>
                    <a:pt x="161" y="545"/>
                  </a:lnTo>
                  <a:lnTo>
                    <a:pt x="159" y="543"/>
                  </a:lnTo>
                  <a:lnTo>
                    <a:pt x="157" y="543"/>
                  </a:lnTo>
                  <a:lnTo>
                    <a:pt x="156" y="545"/>
                  </a:lnTo>
                  <a:lnTo>
                    <a:pt x="157" y="546"/>
                  </a:lnTo>
                  <a:lnTo>
                    <a:pt x="157" y="548"/>
                  </a:lnTo>
                  <a:lnTo>
                    <a:pt x="158" y="549"/>
                  </a:lnTo>
                  <a:lnTo>
                    <a:pt x="157" y="549"/>
                  </a:lnTo>
                  <a:lnTo>
                    <a:pt x="156" y="548"/>
                  </a:lnTo>
                  <a:lnTo>
                    <a:pt x="156" y="547"/>
                  </a:lnTo>
                  <a:lnTo>
                    <a:pt x="155" y="546"/>
                  </a:lnTo>
                  <a:lnTo>
                    <a:pt x="153" y="546"/>
                  </a:lnTo>
                  <a:lnTo>
                    <a:pt x="152" y="546"/>
                  </a:lnTo>
                  <a:lnTo>
                    <a:pt x="152" y="547"/>
                  </a:lnTo>
                  <a:lnTo>
                    <a:pt x="152" y="548"/>
                  </a:lnTo>
                  <a:lnTo>
                    <a:pt x="152" y="549"/>
                  </a:lnTo>
                  <a:lnTo>
                    <a:pt x="152" y="551"/>
                  </a:lnTo>
                  <a:lnTo>
                    <a:pt x="152" y="553"/>
                  </a:lnTo>
                  <a:lnTo>
                    <a:pt x="151" y="553"/>
                  </a:lnTo>
                  <a:lnTo>
                    <a:pt x="150" y="552"/>
                  </a:lnTo>
                  <a:lnTo>
                    <a:pt x="149" y="551"/>
                  </a:lnTo>
                  <a:lnTo>
                    <a:pt x="149" y="553"/>
                  </a:lnTo>
                  <a:lnTo>
                    <a:pt x="150" y="555"/>
                  </a:lnTo>
                  <a:lnTo>
                    <a:pt x="153" y="557"/>
                  </a:lnTo>
                  <a:lnTo>
                    <a:pt x="155" y="557"/>
                  </a:lnTo>
                  <a:lnTo>
                    <a:pt x="157" y="554"/>
                  </a:lnTo>
                  <a:lnTo>
                    <a:pt x="158" y="553"/>
                  </a:lnTo>
                  <a:lnTo>
                    <a:pt x="159" y="553"/>
                  </a:lnTo>
                  <a:lnTo>
                    <a:pt x="162" y="552"/>
                  </a:lnTo>
                  <a:lnTo>
                    <a:pt x="162" y="553"/>
                  </a:lnTo>
                  <a:lnTo>
                    <a:pt x="165" y="553"/>
                  </a:lnTo>
                  <a:lnTo>
                    <a:pt x="168" y="553"/>
                  </a:lnTo>
                  <a:lnTo>
                    <a:pt x="169" y="552"/>
                  </a:lnTo>
                  <a:lnTo>
                    <a:pt x="170" y="551"/>
                  </a:lnTo>
                  <a:lnTo>
                    <a:pt x="171" y="549"/>
                  </a:lnTo>
                  <a:lnTo>
                    <a:pt x="170" y="548"/>
                  </a:lnTo>
                  <a:lnTo>
                    <a:pt x="170" y="547"/>
                  </a:lnTo>
                  <a:lnTo>
                    <a:pt x="171" y="545"/>
                  </a:lnTo>
                  <a:lnTo>
                    <a:pt x="174" y="543"/>
                  </a:lnTo>
                  <a:lnTo>
                    <a:pt x="177" y="543"/>
                  </a:lnTo>
                  <a:lnTo>
                    <a:pt x="180" y="543"/>
                  </a:lnTo>
                  <a:lnTo>
                    <a:pt x="182" y="545"/>
                  </a:lnTo>
                  <a:lnTo>
                    <a:pt x="183" y="545"/>
                  </a:lnTo>
                  <a:lnTo>
                    <a:pt x="186" y="545"/>
                  </a:lnTo>
                  <a:lnTo>
                    <a:pt x="185" y="547"/>
                  </a:lnTo>
                  <a:lnTo>
                    <a:pt x="183" y="547"/>
                  </a:lnTo>
                  <a:lnTo>
                    <a:pt x="181" y="548"/>
                  </a:lnTo>
                  <a:lnTo>
                    <a:pt x="180" y="547"/>
                  </a:lnTo>
                  <a:lnTo>
                    <a:pt x="179" y="548"/>
                  </a:lnTo>
                  <a:lnTo>
                    <a:pt x="177" y="549"/>
                  </a:lnTo>
                  <a:lnTo>
                    <a:pt x="177" y="551"/>
                  </a:lnTo>
                  <a:lnTo>
                    <a:pt x="176" y="551"/>
                  </a:lnTo>
                  <a:lnTo>
                    <a:pt x="174" y="551"/>
                  </a:lnTo>
                  <a:lnTo>
                    <a:pt x="174" y="552"/>
                  </a:lnTo>
                  <a:lnTo>
                    <a:pt x="175" y="555"/>
                  </a:lnTo>
                  <a:lnTo>
                    <a:pt x="177" y="557"/>
                  </a:lnTo>
                  <a:lnTo>
                    <a:pt x="179" y="557"/>
                  </a:lnTo>
                  <a:lnTo>
                    <a:pt x="181" y="557"/>
                  </a:lnTo>
                  <a:lnTo>
                    <a:pt x="182" y="554"/>
                  </a:lnTo>
                  <a:lnTo>
                    <a:pt x="183" y="553"/>
                  </a:lnTo>
                  <a:lnTo>
                    <a:pt x="183" y="552"/>
                  </a:lnTo>
                  <a:lnTo>
                    <a:pt x="183" y="551"/>
                  </a:lnTo>
                  <a:lnTo>
                    <a:pt x="186" y="549"/>
                  </a:lnTo>
                  <a:lnTo>
                    <a:pt x="187" y="548"/>
                  </a:lnTo>
                  <a:lnTo>
                    <a:pt x="189" y="546"/>
                  </a:lnTo>
                  <a:lnTo>
                    <a:pt x="191" y="546"/>
                  </a:lnTo>
                  <a:lnTo>
                    <a:pt x="193" y="546"/>
                  </a:lnTo>
                  <a:lnTo>
                    <a:pt x="193" y="547"/>
                  </a:lnTo>
                  <a:lnTo>
                    <a:pt x="189" y="549"/>
                  </a:lnTo>
                  <a:lnTo>
                    <a:pt x="189" y="551"/>
                  </a:lnTo>
                  <a:lnTo>
                    <a:pt x="189" y="552"/>
                  </a:lnTo>
                  <a:lnTo>
                    <a:pt x="191" y="553"/>
                  </a:lnTo>
                  <a:lnTo>
                    <a:pt x="193" y="551"/>
                  </a:lnTo>
                  <a:lnTo>
                    <a:pt x="196" y="549"/>
                  </a:lnTo>
                  <a:lnTo>
                    <a:pt x="193" y="553"/>
                  </a:lnTo>
                  <a:lnTo>
                    <a:pt x="192" y="553"/>
                  </a:lnTo>
                  <a:lnTo>
                    <a:pt x="189" y="555"/>
                  </a:lnTo>
                  <a:lnTo>
                    <a:pt x="188" y="557"/>
                  </a:lnTo>
                  <a:lnTo>
                    <a:pt x="186" y="558"/>
                  </a:lnTo>
                  <a:lnTo>
                    <a:pt x="185" y="558"/>
                  </a:lnTo>
                  <a:lnTo>
                    <a:pt x="182" y="558"/>
                  </a:lnTo>
                  <a:lnTo>
                    <a:pt x="182" y="559"/>
                  </a:lnTo>
                  <a:lnTo>
                    <a:pt x="182" y="560"/>
                  </a:lnTo>
                  <a:lnTo>
                    <a:pt x="181" y="561"/>
                  </a:lnTo>
                  <a:lnTo>
                    <a:pt x="180" y="563"/>
                  </a:lnTo>
                  <a:lnTo>
                    <a:pt x="177" y="564"/>
                  </a:lnTo>
                  <a:lnTo>
                    <a:pt x="176" y="564"/>
                  </a:lnTo>
                  <a:lnTo>
                    <a:pt x="175" y="563"/>
                  </a:lnTo>
                  <a:lnTo>
                    <a:pt x="174" y="563"/>
                  </a:lnTo>
                  <a:lnTo>
                    <a:pt x="173" y="561"/>
                  </a:lnTo>
                  <a:lnTo>
                    <a:pt x="170" y="560"/>
                  </a:lnTo>
                  <a:lnTo>
                    <a:pt x="170" y="559"/>
                  </a:lnTo>
                  <a:lnTo>
                    <a:pt x="168" y="559"/>
                  </a:lnTo>
                  <a:lnTo>
                    <a:pt x="168" y="561"/>
                  </a:lnTo>
                  <a:lnTo>
                    <a:pt x="169" y="563"/>
                  </a:lnTo>
                  <a:lnTo>
                    <a:pt x="170" y="564"/>
                  </a:lnTo>
                  <a:lnTo>
                    <a:pt x="170" y="565"/>
                  </a:lnTo>
                  <a:lnTo>
                    <a:pt x="173" y="566"/>
                  </a:lnTo>
                  <a:lnTo>
                    <a:pt x="174" y="567"/>
                  </a:lnTo>
                  <a:lnTo>
                    <a:pt x="173" y="570"/>
                  </a:lnTo>
                  <a:lnTo>
                    <a:pt x="171" y="569"/>
                  </a:lnTo>
                  <a:lnTo>
                    <a:pt x="171" y="566"/>
                  </a:lnTo>
                  <a:lnTo>
                    <a:pt x="170" y="565"/>
                  </a:lnTo>
                  <a:lnTo>
                    <a:pt x="165" y="565"/>
                  </a:lnTo>
                  <a:lnTo>
                    <a:pt x="164" y="566"/>
                  </a:lnTo>
                  <a:lnTo>
                    <a:pt x="162" y="569"/>
                  </a:lnTo>
                  <a:lnTo>
                    <a:pt x="161" y="569"/>
                  </a:lnTo>
                  <a:lnTo>
                    <a:pt x="159" y="567"/>
                  </a:lnTo>
                  <a:lnTo>
                    <a:pt x="159" y="566"/>
                  </a:lnTo>
                  <a:lnTo>
                    <a:pt x="158" y="566"/>
                  </a:lnTo>
                  <a:lnTo>
                    <a:pt x="158" y="567"/>
                  </a:lnTo>
                  <a:lnTo>
                    <a:pt x="157" y="567"/>
                  </a:lnTo>
                  <a:lnTo>
                    <a:pt x="156" y="566"/>
                  </a:lnTo>
                  <a:lnTo>
                    <a:pt x="155" y="567"/>
                  </a:lnTo>
                  <a:lnTo>
                    <a:pt x="155" y="570"/>
                  </a:lnTo>
                  <a:lnTo>
                    <a:pt x="155" y="572"/>
                  </a:lnTo>
                  <a:lnTo>
                    <a:pt x="152" y="575"/>
                  </a:lnTo>
                  <a:lnTo>
                    <a:pt x="151" y="576"/>
                  </a:lnTo>
                  <a:lnTo>
                    <a:pt x="151" y="573"/>
                  </a:lnTo>
                  <a:lnTo>
                    <a:pt x="152" y="572"/>
                  </a:lnTo>
                  <a:lnTo>
                    <a:pt x="151" y="571"/>
                  </a:lnTo>
                  <a:lnTo>
                    <a:pt x="149" y="571"/>
                  </a:lnTo>
                  <a:lnTo>
                    <a:pt x="147" y="572"/>
                  </a:lnTo>
                  <a:lnTo>
                    <a:pt x="146" y="570"/>
                  </a:lnTo>
                  <a:lnTo>
                    <a:pt x="145" y="570"/>
                  </a:lnTo>
                  <a:lnTo>
                    <a:pt x="144" y="569"/>
                  </a:lnTo>
                  <a:lnTo>
                    <a:pt x="141" y="570"/>
                  </a:lnTo>
                  <a:lnTo>
                    <a:pt x="140" y="571"/>
                  </a:lnTo>
                  <a:lnTo>
                    <a:pt x="138" y="572"/>
                  </a:lnTo>
                  <a:lnTo>
                    <a:pt x="134" y="572"/>
                  </a:lnTo>
                  <a:lnTo>
                    <a:pt x="132" y="573"/>
                  </a:lnTo>
                  <a:lnTo>
                    <a:pt x="130" y="572"/>
                  </a:lnTo>
                  <a:lnTo>
                    <a:pt x="129" y="571"/>
                  </a:lnTo>
                  <a:lnTo>
                    <a:pt x="128" y="572"/>
                  </a:lnTo>
                  <a:lnTo>
                    <a:pt x="127" y="571"/>
                  </a:lnTo>
                  <a:lnTo>
                    <a:pt x="126" y="572"/>
                  </a:lnTo>
                  <a:lnTo>
                    <a:pt x="124" y="575"/>
                  </a:lnTo>
                  <a:lnTo>
                    <a:pt x="123" y="575"/>
                  </a:lnTo>
                  <a:lnTo>
                    <a:pt x="124" y="578"/>
                  </a:lnTo>
                  <a:lnTo>
                    <a:pt x="127" y="578"/>
                  </a:lnTo>
                  <a:lnTo>
                    <a:pt x="128" y="578"/>
                  </a:lnTo>
                  <a:lnTo>
                    <a:pt x="128" y="579"/>
                  </a:lnTo>
                  <a:lnTo>
                    <a:pt x="130" y="579"/>
                  </a:lnTo>
                  <a:lnTo>
                    <a:pt x="130" y="578"/>
                  </a:lnTo>
                  <a:lnTo>
                    <a:pt x="132" y="581"/>
                  </a:lnTo>
                  <a:lnTo>
                    <a:pt x="133" y="582"/>
                  </a:lnTo>
                  <a:lnTo>
                    <a:pt x="133" y="583"/>
                  </a:lnTo>
                  <a:lnTo>
                    <a:pt x="132" y="584"/>
                  </a:lnTo>
                  <a:lnTo>
                    <a:pt x="134" y="585"/>
                  </a:lnTo>
                  <a:lnTo>
                    <a:pt x="137" y="585"/>
                  </a:lnTo>
                  <a:lnTo>
                    <a:pt x="137" y="587"/>
                  </a:lnTo>
                  <a:lnTo>
                    <a:pt x="138" y="585"/>
                  </a:lnTo>
                  <a:lnTo>
                    <a:pt x="138" y="584"/>
                  </a:lnTo>
                  <a:lnTo>
                    <a:pt x="137" y="583"/>
                  </a:lnTo>
                  <a:lnTo>
                    <a:pt x="137" y="581"/>
                  </a:lnTo>
                  <a:lnTo>
                    <a:pt x="138" y="579"/>
                  </a:lnTo>
                  <a:lnTo>
                    <a:pt x="139" y="581"/>
                  </a:lnTo>
                  <a:lnTo>
                    <a:pt x="140" y="583"/>
                  </a:lnTo>
                  <a:lnTo>
                    <a:pt x="141" y="583"/>
                  </a:lnTo>
                  <a:lnTo>
                    <a:pt x="144" y="583"/>
                  </a:lnTo>
                  <a:lnTo>
                    <a:pt x="146" y="582"/>
                  </a:lnTo>
                  <a:lnTo>
                    <a:pt x="149" y="582"/>
                  </a:lnTo>
                  <a:lnTo>
                    <a:pt x="146" y="584"/>
                  </a:lnTo>
                  <a:lnTo>
                    <a:pt x="145" y="585"/>
                  </a:lnTo>
                  <a:lnTo>
                    <a:pt x="143" y="585"/>
                  </a:lnTo>
                  <a:lnTo>
                    <a:pt x="141" y="587"/>
                  </a:lnTo>
                  <a:lnTo>
                    <a:pt x="141" y="588"/>
                  </a:lnTo>
                  <a:lnTo>
                    <a:pt x="144" y="589"/>
                  </a:lnTo>
                  <a:lnTo>
                    <a:pt x="145" y="589"/>
                  </a:lnTo>
                  <a:lnTo>
                    <a:pt x="146" y="589"/>
                  </a:lnTo>
                  <a:lnTo>
                    <a:pt x="149" y="589"/>
                  </a:lnTo>
                  <a:lnTo>
                    <a:pt x="150" y="587"/>
                  </a:lnTo>
                  <a:lnTo>
                    <a:pt x="152" y="585"/>
                  </a:lnTo>
                  <a:lnTo>
                    <a:pt x="153" y="584"/>
                  </a:lnTo>
                  <a:lnTo>
                    <a:pt x="155" y="584"/>
                  </a:lnTo>
                  <a:lnTo>
                    <a:pt x="157" y="584"/>
                  </a:lnTo>
                  <a:lnTo>
                    <a:pt x="156" y="585"/>
                  </a:lnTo>
                  <a:lnTo>
                    <a:pt x="156" y="588"/>
                  </a:lnTo>
                  <a:lnTo>
                    <a:pt x="153" y="589"/>
                  </a:lnTo>
                  <a:lnTo>
                    <a:pt x="152" y="591"/>
                  </a:lnTo>
                  <a:lnTo>
                    <a:pt x="151" y="591"/>
                  </a:lnTo>
                  <a:lnTo>
                    <a:pt x="149" y="593"/>
                  </a:lnTo>
                  <a:lnTo>
                    <a:pt x="149" y="595"/>
                  </a:lnTo>
                  <a:lnTo>
                    <a:pt x="150" y="596"/>
                  </a:lnTo>
                  <a:lnTo>
                    <a:pt x="149" y="600"/>
                  </a:lnTo>
                  <a:lnTo>
                    <a:pt x="147" y="599"/>
                  </a:lnTo>
                  <a:lnTo>
                    <a:pt x="146" y="597"/>
                  </a:lnTo>
                  <a:lnTo>
                    <a:pt x="144" y="597"/>
                  </a:lnTo>
                  <a:lnTo>
                    <a:pt x="144" y="599"/>
                  </a:lnTo>
                  <a:lnTo>
                    <a:pt x="143" y="601"/>
                  </a:lnTo>
                  <a:lnTo>
                    <a:pt x="145" y="603"/>
                  </a:lnTo>
                  <a:lnTo>
                    <a:pt x="143" y="603"/>
                  </a:lnTo>
                  <a:lnTo>
                    <a:pt x="140" y="603"/>
                  </a:lnTo>
                  <a:lnTo>
                    <a:pt x="140" y="606"/>
                  </a:lnTo>
                  <a:lnTo>
                    <a:pt x="139" y="607"/>
                  </a:lnTo>
                  <a:lnTo>
                    <a:pt x="138" y="608"/>
                  </a:lnTo>
                  <a:lnTo>
                    <a:pt x="137" y="608"/>
                  </a:lnTo>
                  <a:lnTo>
                    <a:pt x="134" y="607"/>
                  </a:lnTo>
                  <a:lnTo>
                    <a:pt x="134" y="608"/>
                  </a:lnTo>
                  <a:lnTo>
                    <a:pt x="134" y="609"/>
                  </a:lnTo>
                  <a:lnTo>
                    <a:pt x="133" y="612"/>
                  </a:lnTo>
                  <a:lnTo>
                    <a:pt x="135" y="615"/>
                  </a:lnTo>
                  <a:lnTo>
                    <a:pt x="138" y="617"/>
                  </a:lnTo>
                  <a:lnTo>
                    <a:pt x="138" y="618"/>
                  </a:lnTo>
                  <a:lnTo>
                    <a:pt x="134" y="618"/>
                  </a:lnTo>
                  <a:lnTo>
                    <a:pt x="133" y="615"/>
                  </a:lnTo>
                  <a:lnTo>
                    <a:pt x="132" y="615"/>
                  </a:lnTo>
                  <a:lnTo>
                    <a:pt x="130" y="615"/>
                  </a:lnTo>
                  <a:lnTo>
                    <a:pt x="129" y="615"/>
                  </a:lnTo>
                  <a:lnTo>
                    <a:pt x="127" y="614"/>
                  </a:lnTo>
                  <a:lnTo>
                    <a:pt x="126" y="614"/>
                  </a:lnTo>
                  <a:lnTo>
                    <a:pt x="126" y="617"/>
                  </a:lnTo>
                  <a:lnTo>
                    <a:pt x="124" y="618"/>
                  </a:lnTo>
                  <a:lnTo>
                    <a:pt x="124" y="620"/>
                  </a:lnTo>
                  <a:lnTo>
                    <a:pt x="127" y="620"/>
                  </a:lnTo>
                  <a:lnTo>
                    <a:pt x="128" y="620"/>
                  </a:lnTo>
                  <a:lnTo>
                    <a:pt x="129" y="621"/>
                  </a:lnTo>
                  <a:lnTo>
                    <a:pt x="129" y="623"/>
                  </a:lnTo>
                  <a:lnTo>
                    <a:pt x="132" y="624"/>
                  </a:lnTo>
                  <a:lnTo>
                    <a:pt x="133" y="624"/>
                  </a:lnTo>
                  <a:lnTo>
                    <a:pt x="134" y="623"/>
                  </a:lnTo>
                  <a:lnTo>
                    <a:pt x="135" y="623"/>
                  </a:lnTo>
                  <a:lnTo>
                    <a:pt x="139" y="623"/>
                  </a:lnTo>
                  <a:lnTo>
                    <a:pt x="140" y="623"/>
                  </a:lnTo>
                  <a:lnTo>
                    <a:pt x="143" y="623"/>
                  </a:lnTo>
                  <a:lnTo>
                    <a:pt x="146" y="623"/>
                  </a:lnTo>
                  <a:lnTo>
                    <a:pt x="147" y="624"/>
                  </a:lnTo>
                  <a:lnTo>
                    <a:pt x="149" y="625"/>
                  </a:lnTo>
                  <a:lnTo>
                    <a:pt x="152" y="626"/>
                  </a:lnTo>
                  <a:lnTo>
                    <a:pt x="153" y="625"/>
                  </a:lnTo>
                  <a:lnTo>
                    <a:pt x="155" y="625"/>
                  </a:lnTo>
                  <a:lnTo>
                    <a:pt x="156" y="625"/>
                  </a:lnTo>
                  <a:lnTo>
                    <a:pt x="157" y="625"/>
                  </a:lnTo>
                  <a:lnTo>
                    <a:pt x="158" y="624"/>
                  </a:lnTo>
                  <a:lnTo>
                    <a:pt x="158" y="623"/>
                  </a:lnTo>
                  <a:lnTo>
                    <a:pt x="159" y="623"/>
                  </a:lnTo>
                  <a:lnTo>
                    <a:pt x="162" y="623"/>
                  </a:lnTo>
                  <a:lnTo>
                    <a:pt x="162" y="625"/>
                  </a:lnTo>
                  <a:lnTo>
                    <a:pt x="159" y="626"/>
                  </a:lnTo>
                  <a:lnTo>
                    <a:pt x="158" y="627"/>
                  </a:lnTo>
                  <a:lnTo>
                    <a:pt x="158" y="629"/>
                  </a:lnTo>
                  <a:lnTo>
                    <a:pt x="159" y="630"/>
                  </a:lnTo>
                  <a:lnTo>
                    <a:pt x="163" y="630"/>
                  </a:lnTo>
                  <a:lnTo>
                    <a:pt x="163" y="631"/>
                  </a:lnTo>
                  <a:lnTo>
                    <a:pt x="162" y="632"/>
                  </a:lnTo>
                  <a:lnTo>
                    <a:pt x="159" y="633"/>
                  </a:lnTo>
                  <a:lnTo>
                    <a:pt x="158" y="633"/>
                  </a:lnTo>
                  <a:lnTo>
                    <a:pt x="157" y="633"/>
                  </a:lnTo>
                  <a:lnTo>
                    <a:pt x="156" y="632"/>
                  </a:lnTo>
                  <a:lnTo>
                    <a:pt x="155" y="631"/>
                  </a:lnTo>
                  <a:lnTo>
                    <a:pt x="153" y="632"/>
                  </a:lnTo>
                  <a:lnTo>
                    <a:pt x="153" y="635"/>
                  </a:lnTo>
                  <a:lnTo>
                    <a:pt x="151" y="636"/>
                  </a:lnTo>
                  <a:lnTo>
                    <a:pt x="151" y="637"/>
                  </a:lnTo>
                  <a:lnTo>
                    <a:pt x="152" y="638"/>
                  </a:lnTo>
                  <a:lnTo>
                    <a:pt x="155" y="640"/>
                  </a:lnTo>
                  <a:lnTo>
                    <a:pt x="155" y="641"/>
                  </a:lnTo>
                  <a:lnTo>
                    <a:pt x="157" y="642"/>
                  </a:lnTo>
                  <a:lnTo>
                    <a:pt x="158" y="642"/>
                  </a:lnTo>
                  <a:lnTo>
                    <a:pt x="159" y="643"/>
                  </a:lnTo>
                  <a:lnTo>
                    <a:pt x="162" y="642"/>
                  </a:lnTo>
                  <a:lnTo>
                    <a:pt x="163" y="642"/>
                  </a:lnTo>
                  <a:lnTo>
                    <a:pt x="165" y="641"/>
                  </a:lnTo>
                  <a:lnTo>
                    <a:pt x="168" y="638"/>
                  </a:lnTo>
                  <a:lnTo>
                    <a:pt x="168" y="637"/>
                  </a:lnTo>
                  <a:lnTo>
                    <a:pt x="169" y="635"/>
                  </a:lnTo>
                  <a:lnTo>
                    <a:pt x="171" y="632"/>
                  </a:lnTo>
                  <a:lnTo>
                    <a:pt x="173" y="630"/>
                  </a:lnTo>
                  <a:lnTo>
                    <a:pt x="174" y="627"/>
                  </a:lnTo>
                  <a:lnTo>
                    <a:pt x="175" y="624"/>
                  </a:lnTo>
                  <a:lnTo>
                    <a:pt x="176" y="621"/>
                  </a:lnTo>
                  <a:lnTo>
                    <a:pt x="177" y="620"/>
                  </a:lnTo>
                  <a:lnTo>
                    <a:pt x="180" y="623"/>
                  </a:lnTo>
                  <a:lnTo>
                    <a:pt x="179" y="625"/>
                  </a:lnTo>
                  <a:lnTo>
                    <a:pt x="177" y="626"/>
                  </a:lnTo>
                  <a:lnTo>
                    <a:pt x="177" y="629"/>
                  </a:lnTo>
                  <a:lnTo>
                    <a:pt x="176" y="630"/>
                  </a:lnTo>
                  <a:lnTo>
                    <a:pt x="176" y="631"/>
                  </a:lnTo>
                  <a:lnTo>
                    <a:pt x="177" y="633"/>
                  </a:lnTo>
                  <a:lnTo>
                    <a:pt x="180" y="633"/>
                  </a:lnTo>
                  <a:lnTo>
                    <a:pt x="181" y="633"/>
                  </a:lnTo>
                  <a:lnTo>
                    <a:pt x="181" y="635"/>
                  </a:lnTo>
                  <a:lnTo>
                    <a:pt x="183" y="635"/>
                  </a:lnTo>
                  <a:lnTo>
                    <a:pt x="185" y="635"/>
                  </a:lnTo>
                  <a:lnTo>
                    <a:pt x="186" y="633"/>
                  </a:lnTo>
                  <a:lnTo>
                    <a:pt x="187" y="632"/>
                  </a:lnTo>
                  <a:lnTo>
                    <a:pt x="187" y="631"/>
                  </a:lnTo>
                  <a:lnTo>
                    <a:pt x="186" y="629"/>
                  </a:lnTo>
                  <a:lnTo>
                    <a:pt x="187" y="629"/>
                  </a:lnTo>
                  <a:lnTo>
                    <a:pt x="188" y="630"/>
                  </a:lnTo>
                  <a:lnTo>
                    <a:pt x="189" y="631"/>
                  </a:lnTo>
                  <a:lnTo>
                    <a:pt x="192" y="631"/>
                  </a:lnTo>
                  <a:lnTo>
                    <a:pt x="193" y="632"/>
                  </a:lnTo>
                  <a:lnTo>
                    <a:pt x="193" y="635"/>
                  </a:lnTo>
                  <a:lnTo>
                    <a:pt x="193" y="637"/>
                  </a:lnTo>
                  <a:lnTo>
                    <a:pt x="193" y="640"/>
                  </a:lnTo>
                  <a:lnTo>
                    <a:pt x="196" y="640"/>
                  </a:lnTo>
                  <a:lnTo>
                    <a:pt x="197" y="638"/>
                  </a:lnTo>
                  <a:lnTo>
                    <a:pt x="198" y="638"/>
                  </a:lnTo>
                  <a:lnTo>
                    <a:pt x="199" y="637"/>
                  </a:lnTo>
                  <a:lnTo>
                    <a:pt x="200" y="636"/>
                  </a:lnTo>
                  <a:lnTo>
                    <a:pt x="203" y="636"/>
                  </a:lnTo>
                  <a:lnTo>
                    <a:pt x="204" y="635"/>
                  </a:lnTo>
                  <a:lnTo>
                    <a:pt x="205" y="632"/>
                  </a:lnTo>
                  <a:lnTo>
                    <a:pt x="206" y="631"/>
                  </a:lnTo>
                  <a:lnTo>
                    <a:pt x="206" y="629"/>
                  </a:lnTo>
                  <a:lnTo>
                    <a:pt x="205" y="629"/>
                  </a:lnTo>
                  <a:lnTo>
                    <a:pt x="204" y="630"/>
                  </a:lnTo>
                  <a:lnTo>
                    <a:pt x="200" y="631"/>
                  </a:lnTo>
                  <a:lnTo>
                    <a:pt x="202" y="629"/>
                  </a:lnTo>
                  <a:lnTo>
                    <a:pt x="203" y="627"/>
                  </a:lnTo>
                  <a:lnTo>
                    <a:pt x="205" y="626"/>
                  </a:lnTo>
                  <a:lnTo>
                    <a:pt x="208" y="626"/>
                  </a:lnTo>
                  <a:lnTo>
                    <a:pt x="209" y="626"/>
                  </a:lnTo>
                  <a:lnTo>
                    <a:pt x="209" y="624"/>
                  </a:lnTo>
                  <a:lnTo>
                    <a:pt x="209" y="621"/>
                  </a:lnTo>
                  <a:lnTo>
                    <a:pt x="208" y="620"/>
                  </a:lnTo>
                  <a:lnTo>
                    <a:pt x="209" y="619"/>
                  </a:lnTo>
                  <a:lnTo>
                    <a:pt x="210" y="618"/>
                  </a:lnTo>
                  <a:lnTo>
                    <a:pt x="210" y="617"/>
                  </a:lnTo>
                  <a:lnTo>
                    <a:pt x="210" y="615"/>
                  </a:lnTo>
                  <a:lnTo>
                    <a:pt x="210" y="613"/>
                  </a:lnTo>
                  <a:lnTo>
                    <a:pt x="210" y="612"/>
                  </a:lnTo>
                  <a:lnTo>
                    <a:pt x="211" y="613"/>
                  </a:lnTo>
                  <a:lnTo>
                    <a:pt x="212" y="613"/>
                  </a:lnTo>
                  <a:lnTo>
                    <a:pt x="214" y="611"/>
                  </a:lnTo>
                  <a:lnTo>
                    <a:pt x="215" y="609"/>
                  </a:lnTo>
                  <a:lnTo>
                    <a:pt x="215" y="608"/>
                  </a:lnTo>
                  <a:lnTo>
                    <a:pt x="215" y="607"/>
                  </a:lnTo>
                  <a:lnTo>
                    <a:pt x="214" y="606"/>
                  </a:lnTo>
                  <a:lnTo>
                    <a:pt x="212" y="606"/>
                  </a:lnTo>
                  <a:lnTo>
                    <a:pt x="212" y="605"/>
                  </a:lnTo>
                  <a:lnTo>
                    <a:pt x="214" y="603"/>
                  </a:lnTo>
                  <a:lnTo>
                    <a:pt x="215" y="603"/>
                  </a:lnTo>
                  <a:lnTo>
                    <a:pt x="216" y="605"/>
                  </a:lnTo>
                  <a:lnTo>
                    <a:pt x="217" y="606"/>
                  </a:lnTo>
                  <a:lnTo>
                    <a:pt x="217" y="607"/>
                  </a:lnTo>
                  <a:lnTo>
                    <a:pt x="217" y="609"/>
                  </a:lnTo>
                  <a:lnTo>
                    <a:pt x="218" y="612"/>
                  </a:lnTo>
                  <a:lnTo>
                    <a:pt x="221" y="614"/>
                  </a:lnTo>
                  <a:lnTo>
                    <a:pt x="222" y="615"/>
                  </a:lnTo>
                  <a:lnTo>
                    <a:pt x="226" y="617"/>
                  </a:lnTo>
                  <a:lnTo>
                    <a:pt x="227" y="617"/>
                  </a:lnTo>
                  <a:lnTo>
                    <a:pt x="229" y="615"/>
                  </a:lnTo>
                  <a:lnTo>
                    <a:pt x="230" y="614"/>
                  </a:lnTo>
                  <a:lnTo>
                    <a:pt x="230" y="612"/>
                  </a:lnTo>
                  <a:lnTo>
                    <a:pt x="229" y="611"/>
                  </a:lnTo>
                  <a:lnTo>
                    <a:pt x="228" y="611"/>
                  </a:lnTo>
                  <a:lnTo>
                    <a:pt x="226" y="608"/>
                  </a:lnTo>
                  <a:lnTo>
                    <a:pt x="223" y="607"/>
                  </a:lnTo>
                  <a:lnTo>
                    <a:pt x="221" y="605"/>
                  </a:lnTo>
                  <a:lnTo>
                    <a:pt x="220" y="603"/>
                  </a:lnTo>
                  <a:lnTo>
                    <a:pt x="218" y="602"/>
                  </a:lnTo>
                  <a:lnTo>
                    <a:pt x="217" y="600"/>
                  </a:lnTo>
                  <a:lnTo>
                    <a:pt x="218" y="600"/>
                  </a:lnTo>
                  <a:lnTo>
                    <a:pt x="220" y="599"/>
                  </a:lnTo>
                  <a:lnTo>
                    <a:pt x="222" y="597"/>
                  </a:lnTo>
                  <a:lnTo>
                    <a:pt x="224" y="595"/>
                  </a:lnTo>
                  <a:lnTo>
                    <a:pt x="226" y="595"/>
                  </a:lnTo>
                  <a:lnTo>
                    <a:pt x="228" y="594"/>
                  </a:lnTo>
                  <a:lnTo>
                    <a:pt x="229" y="593"/>
                  </a:lnTo>
                  <a:lnTo>
                    <a:pt x="229" y="591"/>
                  </a:lnTo>
                  <a:lnTo>
                    <a:pt x="227" y="593"/>
                  </a:lnTo>
                  <a:lnTo>
                    <a:pt x="226" y="593"/>
                  </a:lnTo>
                  <a:lnTo>
                    <a:pt x="223" y="594"/>
                  </a:lnTo>
                  <a:lnTo>
                    <a:pt x="223" y="593"/>
                  </a:lnTo>
                  <a:lnTo>
                    <a:pt x="223" y="591"/>
                  </a:lnTo>
                  <a:lnTo>
                    <a:pt x="226" y="591"/>
                  </a:lnTo>
                  <a:lnTo>
                    <a:pt x="228" y="590"/>
                  </a:lnTo>
                  <a:lnTo>
                    <a:pt x="230" y="590"/>
                  </a:lnTo>
                  <a:lnTo>
                    <a:pt x="232" y="590"/>
                  </a:lnTo>
                  <a:lnTo>
                    <a:pt x="233" y="591"/>
                  </a:lnTo>
                  <a:lnTo>
                    <a:pt x="234" y="593"/>
                  </a:lnTo>
                  <a:lnTo>
                    <a:pt x="235" y="593"/>
                  </a:lnTo>
                  <a:lnTo>
                    <a:pt x="236" y="591"/>
                  </a:lnTo>
                  <a:lnTo>
                    <a:pt x="236" y="590"/>
                  </a:lnTo>
                  <a:lnTo>
                    <a:pt x="236" y="589"/>
                  </a:lnTo>
                  <a:lnTo>
                    <a:pt x="234" y="589"/>
                  </a:lnTo>
                  <a:lnTo>
                    <a:pt x="233" y="589"/>
                  </a:lnTo>
                  <a:lnTo>
                    <a:pt x="233" y="588"/>
                  </a:lnTo>
                  <a:lnTo>
                    <a:pt x="234" y="587"/>
                  </a:lnTo>
                  <a:lnTo>
                    <a:pt x="235" y="587"/>
                  </a:lnTo>
                  <a:lnTo>
                    <a:pt x="236" y="587"/>
                  </a:lnTo>
                  <a:lnTo>
                    <a:pt x="238" y="589"/>
                  </a:lnTo>
                  <a:lnTo>
                    <a:pt x="240" y="590"/>
                  </a:lnTo>
                  <a:lnTo>
                    <a:pt x="242" y="590"/>
                  </a:lnTo>
                  <a:lnTo>
                    <a:pt x="245" y="589"/>
                  </a:lnTo>
                  <a:lnTo>
                    <a:pt x="246" y="587"/>
                  </a:lnTo>
                  <a:lnTo>
                    <a:pt x="245" y="585"/>
                  </a:lnTo>
                  <a:lnTo>
                    <a:pt x="244" y="584"/>
                  </a:lnTo>
                  <a:lnTo>
                    <a:pt x="242" y="583"/>
                  </a:lnTo>
                  <a:lnTo>
                    <a:pt x="240" y="582"/>
                  </a:lnTo>
                  <a:lnTo>
                    <a:pt x="239" y="583"/>
                  </a:lnTo>
                  <a:lnTo>
                    <a:pt x="238" y="583"/>
                  </a:lnTo>
                  <a:lnTo>
                    <a:pt x="236" y="582"/>
                  </a:lnTo>
                  <a:lnTo>
                    <a:pt x="235" y="581"/>
                  </a:lnTo>
                  <a:lnTo>
                    <a:pt x="234" y="581"/>
                  </a:lnTo>
                  <a:lnTo>
                    <a:pt x="232" y="582"/>
                  </a:lnTo>
                  <a:lnTo>
                    <a:pt x="229" y="581"/>
                  </a:lnTo>
                  <a:lnTo>
                    <a:pt x="229" y="579"/>
                  </a:lnTo>
                  <a:lnTo>
                    <a:pt x="229" y="578"/>
                  </a:lnTo>
                  <a:lnTo>
                    <a:pt x="230" y="578"/>
                  </a:lnTo>
                  <a:lnTo>
                    <a:pt x="234" y="581"/>
                  </a:lnTo>
                  <a:lnTo>
                    <a:pt x="235" y="579"/>
                  </a:lnTo>
                  <a:lnTo>
                    <a:pt x="238" y="578"/>
                  </a:lnTo>
                  <a:lnTo>
                    <a:pt x="240" y="578"/>
                  </a:lnTo>
                  <a:lnTo>
                    <a:pt x="240" y="577"/>
                  </a:lnTo>
                  <a:lnTo>
                    <a:pt x="240" y="575"/>
                  </a:lnTo>
                  <a:lnTo>
                    <a:pt x="240" y="572"/>
                  </a:lnTo>
                  <a:lnTo>
                    <a:pt x="240" y="571"/>
                  </a:lnTo>
                  <a:lnTo>
                    <a:pt x="239" y="572"/>
                  </a:lnTo>
                  <a:lnTo>
                    <a:pt x="238" y="573"/>
                  </a:lnTo>
                  <a:lnTo>
                    <a:pt x="236" y="572"/>
                  </a:lnTo>
                  <a:lnTo>
                    <a:pt x="235" y="572"/>
                  </a:lnTo>
                  <a:lnTo>
                    <a:pt x="234" y="573"/>
                  </a:lnTo>
                  <a:lnTo>
                    <a:pt x="233" y="573"/>
                  </a:lnTo>
                  <a:lnTo>
                    <a:pt x="230" y="575"/>
                  </a:lnTo>
                  <a:lnTo>
                    <a:pt x="228" y="576"/>
                  </a:lnTo>
                  <a:lnTo>
                    <a:pt x="227" y="577"/>
                  </a:lnTo>
                  <a:lnTo>
                    <a:pt x="227" y="578"/>
                  </a:lnTo>
                  <a:lnTo>
                    <a:pt x="226" y="581"/>
                  </a:lnTo>
                  <a:lnTo>
                    <a:pt x="224" y="579"/>
                  </a:lnTo>
                  <a:lnTo>
                    <a:pt x="226" y="577"/>
                  </a:lnTo>
                  <a:lnTo>
                    <a:pt x="227" y="576"/>
                  </a:lnTo>
                  <a:lnTo>
                    <a:pt x="228" y="573"/>
                  </a:lnTo>
                  <a:lnTo>
                    <a:pt x="230" y="572"/>
                  </a:lnTo>
                  <a:lnTo>
                    <a:pt x="232" y="572"/>
                  </a:lnTo>
                  <a:lnTo>
                    <a:pt x="232" y="570"/>
                  </a:lnTo>
                  <a:lnTo>
                    <a:pt x="230" y="569"/>
                  </a:lnTo>
                  <a:lnTo>
                    <a:pt x="229" y="567"/>
                  </a:lnTo>
                  <a:lnTo>
                    <a:pt x="227" y="571"/>
                  </a:lnTo>
                  <a:lnTo>
                    <a:pt x="227" y="572"/>
                  </a:lnTo>
                  <a:lnTo>
                    <a:pt x="226" y="570"/>
                  </a:lnTo>
                  <a:lnTo>
                    <a:pt x="227" y="569"/>
                  </a:lnTo>
                  <a:lnTo>
                    <a:pt x="227" y="567"/>
                  </a:lnTo>
                  <a:lnTo>
                    <a:pt x="226" y="567"/>
                  </a:lnTo>
                  <a:lnTo>
                    <a:pt x="224" y="566"/>
                  </a:lnTo>
                  <a:lnTo>
                    <a:pt x="223" y="567"/>
                  </a:lnTo>
                  <a:lnTo>
                    <a:pt x="223" y="569"/>
                  </a:lnTo>
                  <a:lnTo>
                    <a:pt x="223" y="570"/>
                  </a:lnTo>
                  <a:lnTo>
                    <a:pt x="222" y="570"/>
                  </a:lnTo>
                  <a:lnTo>
                    <a:pt x="221" y="566"/>
                  </a:lnTo>
                  <a:lnTo>
                    <a:pt x="218" y="565"/>
                  </a:lnTo>
                  <a:lnTo>
                    <a:pt x="218" y="564"/>
                  </a:lnTo>
                  <a:lnTo>
                    <a:pt x="217" y="563"/>
                  </a:lnTo>
                  <a:lnTo>
                    <a:pt x="216" y="561"/>
                  </a:lnTo>
                  <a:lnTo>
                    <a:pt x="215" y="560"/>
                  </a:lnTo>
                  <a:lnTo>
                    <a:pt x="215" y="559"/>
                  </a:lnTo>
                  <a:lnTo>
                    <a:pt x="216" y="557"/>
                  </a:lnTo>
                  <a:lnTo>
                    <a:pt x="217" y="555"/>
                  </a:lnTo>
                  <a:lnTo>
                    <a:pt x="218" y="555"/>
                  </a:lnTo>
                  <a:lnTo>
                    <a:pt x="220" y="557"/>
                  </a:lnTo>
                  <a:lnTo>
                    <a:pt x="221" y="557"/>
                  </a:lnTo>
                  <a:lnTo>
                    <a:pt x="223" y="558"/>
                  </a:lnTo>
                  <a:lnTo>
                    <a:pt x="224" y="559"/>
                  </a:lnTo>
                  <a:lnTo>
                    <a:pt x="228" y="560"/>
                  </a:lnTo>
                  <a:lnTo>
                    <a:pt x="229" y="559"/>
                  </a:lnTo>
                  <a:lnTo>
                    <a:pt x="229" y="558"/>
                  </a:lnTo>
                  <a:lnTo>
                    <a:pt x="230" y="557"/>
                  </a:lnTo>
                  <a:lnTo>
                    <a:pt x="230" y="554"/>
                  </a:lnTo>
                  <a:lnTo>
                    <a:pt x="229" y="553"/>
                  </a:lnTo>
                  <a:lnTo>
                    <a:pt x="227" y="554"/>
                  </a:lnTo>
                  <a:lnTo>
                    <a:pt x="223" y="554"/>
                  </a:lnTo>
                  <a:lnTo>
                    <a:pt x="221" y="553"/>
                  </a:lnTo>
                  <a:lnTo>
                    <a:pt x="218" y="552"/>
                  </a:lnTo>
                  <a:lnTo>
                    <a:pt x="217" y="551"/>
                  </a:lnTo>
                  <a:lnTo>
                    <a:pt x="216" y="551"/>
                  </a:lnTo>
                  <a:lnTo>
                    <a:pt x="216" y="548"/>
                  </a:lnTo>
                  <a:lnTo>
                    <a:pt x="216" y="547"/>
                  </a:lnTo>
                  <a:lnTo>
                    <a:pt x="216" y="545"/>
                  </a:lnTo>
                  <a:lnTo>
                    <a:pt x="212" y="543"/>
                  </a:lnTo>
                  <a:lnTo>
                    <a:pt x="211" y="543"/>
                  </a:lnTo>
                  <a:lnTo>
                    <a:pt x="210" y="541"/>
                  </a:lnTo>
                  <a:lnTo>
                    <a:pt x="209" y="541"/>
                  </a:lnTo>
                  <a:lnTo>
                    <a:pt x="209" y="539"/>
                  </a:lnTo>
                  <a:lnTo>
                    <a:pt x="209" y="536"/>
                  </a:lnTo>
                  <a:lnTo>
                    <a:pt x="210" y="534"/>
                  </a:lnTo>
                  <a:lnTo>
                    <a:pt x="210" y="533"/>
                  </a:lnTo>
                  <a:lnTo>
                    <a:pt x="210" y="529"/>
                  </a:lnTo>
                  <a:lnTo>
                    <a:pt x="211" y="526"/>
                  </a:lnTo>
                  <a:lnTo>
                    <a:pt x="212" y="525"/>
                  </a:lnTo>
                  <a:lnTo>
                    <a:pt x="214" y="523"/>
                  </a:lnTo>
                  <a:lnTo>
                    <a:pt x="215" y="522"/>
                  </a:lnTo>
                  <a:lnTo>
                    <a:pt x="217" y="524"/>
                  </a:lnTo>
                  <a:lnTo>
                    <a:pt x="220" y="525"/>
                  </a:lnTo>
                  <a:lnTo>
                    <a:pt x="222" y="526"/>
                  </a:lnTo>
                  <a:lnTo>
                    <a:pt x="220" y="528"/>
                  </a:lnTo>
                  <a:lnTo>
                    <a:pt x="218" y="528"/>
                  </a:lnTo>
                  <a:lnTo>
                    <a:pt x="217" y="526"/>
                  </a:lnTo>
                  <a:lnTo>
                    <a:pt x="216" y="526"/>
                  </a:lnTo>
                  <a:lnTo>
                    <a:pt x="216" y="529"/>
                  </a:lnTo>
                  <a:lnTo>
                    <a:pt x="214" y="529"/>
                  </a:lnTo>
                  <a:lnTo>
                    <a:pt x="214" y="530"/>
                  </a:lnTo>
                  <a:lnTo>
                    <a:pt x="215" y="530"/>
                  </a:lnTo>
                  <a:lnTo>
                    <a:pt x="214" y="534"/>
                  </a:lnTo>
                  <a:lnTo>
                    <a:pt x="215" y="535"/>
                  </a:lnTo>
                  <a:lnTo>
                    <a:pt x="216" y="535"/>
                  </a:lnTo>
                  <a:lnTo>
                    <a:pt x="218" y="534"/>
                  </a:lnTo>
                  <a:lnTo>
                    <a:pt x="220" y="533"/>
                  </a:lnTo>
                  <a:lnTo>
                    <a:pt x="221" y="530"/>
                  </a:lnTo>
                  <a:lnTo>
                    <a:pt x="222" y="530"/>
                  </a:lnTo>
                  <a:lnTo>
                    <a:pt x="227" y="530"/>
                  </a:lnTo>
                  <a:lnTo>
                    <a:pt x="229" y="530"/>
                  </a:lnTo>
                  <a:lnTo>
                    <a:pt x="232" y="530"/>
                  </a:lnTo>
                  <a:lnTo>
                    <a:pt x="233" y="531"/>
                  </a:lnTo>
                  <a:lnTo>
                    <a:pt x="233" y="534"/>
                  </a:lnTo>
                  <a:lnTo>
                    <a:pt x="232" y="536"/>
                  </a:lnTo>
                  <a:lnTo>
                    <a:pt x="229" y="536"/>
                  </a:lnTo>
                  <a:lnTo>
                    <a:pt x="228" y="535"/>
                  </a:lnTo>
                  <a:lnTo>
                    <a:pt x="226" y="535"/>
                  </a:lnTo>
                  <a:lnTo>
                    <a:pt x="224" y="535"/>
                  </a:lnTo>
                  <a:lnTo>
                    <a:pt x="224" y="537"/>
                  </a:lnTo>
                  <a:lnTo>
                    <a:pt x="226" y="540"/>
                  </a:lnTo>
                  <a:lnTo>
                    <a:pt x="227" y="541"/>
                  </a:lnTo>
                  <a:lnTo>
                    <a:pt x="230" y="543"/>
                  </a:lnTo>
                  <a:lnTo>
                    <a:pt x="232" y="543"/>
                  </a:lnTo>
                  <a:lnTo>
                    <a:pt x="234" y="543"/>
                  </a:lnTo>
                  <a:lnTo>
                    <a:pt x="233" y="541"/>
                  </a:lnTo>
                  <a:lnTo>
                    <a:pt x="234" y="540"/>
                  </a:lnTo>
                  <a:lnTo>
                    <a:pt x="235" y="537"/>
                  </a:lnTo>
                  <a:lnTo>
                    <a:pt x="235" y="534"/>
                  </a:lnTo>
                  <a:lnTo>
                    <a:pt x="238" y="533"/>
                  </a:lnTo>
                  <a:lnTo>
                    <a:pt x="239" y="534"/>
                  </a:lnTo>
                  <a:lnTo>
                    <a:pt x="240" y="536"/>
                  </a:lnTo>
                  <a:lnTo>
                    <a:pt x="244" y="536"/>
                  </a:lnTo>
                  <a:lnTo>
                    <a:pt x="247" y="535"/>
                  </a:lnTo>
                  <a:lnTo>
                    <a:pt x="248" y="534"/>
                  </a:lnTo>
                  <a:lnTo>
                    <a:pt x="250" y="533"/>
                  </a:lnTo>
                  <a:lnTo>
                    <a:pt x="250" y="531"/>
                  </a:lnTo>
                  <a:lnTo>
                    <a:pt x="248" y="530"/>
                  </a:lnTo>
                  <a:lnTo>
                    <a:pt x="246" y="530"/>
                  </a:lnTo>
                  <a:lnTo>
                    <a:pt x="244" y="529"/>
                  </a:lnTo>
                  <a:lnTo>
                    <a:pt x="247" y="529"/>
                  </a:lnTo>
                  <a:lnTo>
                    <a:pt x="250" y="529"/>
                  </a:lnTo>
                  <a:lnTo>
                    <a:pt x="252" y="528"/>
                  </a:lnTo>
                  <a:lnTo>
                    <a:pt x="253" y="528"/>
                  </a:lnTo>
                  <a:lnTo>
                    <a:pt x="257" y="528"/>
                  </a:lnTo>
                  <a:lnTo>
                    <a:pt x="258" y="528"/>
                  </a:lnTo>
                  <a:lnTo>
                    <a:pt x="259" y="528"/>
                  </a:lnTo>
                  <a:lnTo>
                    <a:pt x="259" y="526"/>
                  </a:lnTo>
                  <a:lnTo>
                    <a:pt x="257" y="525"/>
                  </a:lnTo>
                  <a:lnTo>
                    <a:pt x="258" y="524"/>
                  </a:lnTo>
                  <a:lnTo>
                    <a:pt x="261" y="524"/>
                  </a:lnTo>
                  <a:lnTo>
                    <a:pt x="262" y="524"/>
                  </a:lnTo>
                  <a:lnTo>
                    <a:pt x="264" y="524"/>
                  </a:lnTo>
                  <a:lnTo>
                    <a:pt x="262" y="526"/>
                  </a:lnTo>
                  <a:lnTo>
                    <a:pt x="261" y="528"/>
                  </a:lnTo>
                  <a:lnTo>
                    <a:pt x="263" y="529"/>
                  </a:lnTo>
                  <a:lnTo>
                    <a:pt x="264" y="528"/>
                  </a:lnTo>
                  <a:lnTo>
                    <a:pt x="265" y="525"/>
                  </a:lnTo>
                  <a:lnTo>
                    <a:pt x="265" y="524"/>
                  </a:lnTo>
                  <a:lnTo>
                    <a:pt x="264" y="522"/>
                  </a:lnTo>
                  <a:lnTo>
                    <a:pt x="264" y="520"/>
                  </a:lnTo>
                  <a:lnTo>
                    <a:pt x="265" y="520"/>
                  </a:lnTo>
                  <a:lnTo>
                    <a:pt x="267" y="522"/>
                  </a:lnTo>
                  <a:lnTo>
                    <a:pt x="267" y="523"/>
                  </a:lnTo>
                  <a:lnTo>
                    <a:pt x="268" y="524"/>
                  </a:lnTo>
                  <a:lnTo>
                    <a:pt x="267" y="526"/>
                  </a:lnTo>
                  <a:lnTo>
                    <a:pt x="265" y="530"/>
                  </a:lnTo>
                  <a:lnTo>
                    <a:pt x="264" y="530"/>
                  </a:lnTo>
                  <a:lnTo>
                    <a:pt x="262" y="533"/>
                  </a:lnTo>
                  <a:lnTo>
                    <a:pt x="261" y="534"/>
                  </a:lnTo>
                  <a:lnTo>
                    <a:pt x="264" y="534"/>
                  </a:lnTo>
                  <a:lnTo>
                    <a:pt x="265" y="533"/>
                  </a:lnTo>
                  <a:lnTo>
                    <a:pt x="265" y="534"/>
                  </a:lnTo>
                  <a:lnTo>
                    <a:pt x="264" y="535"/>
                  </a:lnTo>
                  <a:lnTo>
                    <a:pt x="263" y="536"/>
                  </a:lnTo>
                  <a:lnTo>
                    <a:pt x="264" y="537"/>
                  </a:lnTo>
                  <a:lnTo>
                    <a:pt x="267" y="536"/>
                  </a:lnTo>
                  <a:lnTo>
                    <a:pt x="267" y="540"/>
                  </a:lnTo>
                  <a:lnTo>
                    <a:pt x="265" y="541"/>
                  </a:lnTo>
                  <a:lnTo>
                    <a:pt x="263" y="552"/>
                  </a:lnTo>
                  <a:lnTo>
                    <a:pt x="263" y="554"/>
                  </a:lnTo>
                  <a:lnTo>
                    <a:pt x="263" y="555"/>
                  </a:lnTo>
                  <a:lnTo>
                    <a:pt x="263" y="557"/>
                  </a:lnTo>
                  <a:lnTo>
                    <a:pt x="263" y="559"/>
                  </a:lnTo>
                  <a:lnTo>
                    <a:pt x="262" y="563"/>
                  </a:lnTo>
                  <a:lnTo>
                    <a:pt x="264" y="564"/>
                  </a:lnTo>
                  <a:lnTo>
                    <a:pt x="264" y="566"/>
                  </a:lnTo>
                  <a:lnTo>
                    <a:pt x="263" y="566"/>
                  </a:lnTo>
                  <a:lnTo>
                    <a:pt x="265" y="569"/>
                  </a:lnTo>
                  <a:lnTo>
                    <a:pt x="267" y="569"/>
                  </a:lnTo>
                  <a:lnTo>
                    <a:pt x="268" y="571"/>
                  </a:lnTo>
                  <a:lnTo>
                    <a:pt x="270" y="573"/>
                  </a:lnTo>
                  <a:lnTo>
                    <a:pt x="271" y="576"/>
                  </a:lnTo>
                  <a:lnTo>
                    <a:pt x="271" y="579"/>
                  </a:lnTo>
                  <a:lnTo>
                    <a:pt x="273" y="582"/>
                  </a:lnTo>
                  <a:lnTo>
                    <a:pt x="273" y="583"/>
                  </a:lnTo>
                  <a:lnTo>
                    <a:pt x="271" y="588"/>
                  </a:lnTo>
                  <a:lnTo>
                    <a:pt x="271" y="593"/>
                  </a:lnTo>
                  <a:lnTo>
                    <a:pt x="269" y="595"/>
                  </a:lnTo>
                  <a:lnTo>
                    <a:pt x="269" y="596"/>
                  </a:lnTo>
                  <a:lnTo>
                    <a:pt x="269" y="600"/>
                  </a:lnTo>
                  <a:lnTo>
                    <a:pt x="269" y="602"/>
                  </a:lnTo>
                  <a:lnTo>
                    <a:pt x="271" y="602"/>
                  </a:lnTo>
                  <a:lnTo>
                    <a:pt x="273" y="601"/>
                  </a:lnTo>
                  <a:lnTo>
                    <a:pt x="273" y="600"/>
                  </a:lnTo>
                  <a:lnTo>
                    <a:pt x="270" y="600"/>
                  </a:lnTo>
                  <a:lnTo>
                    <a:pt x="270" y="599"/>
                  </a:lnTo>
                  <a:lnTo>
                    <a:pt x="270" y="596"/>
                  </a:lnTo>
                  <a:lnTo>
                    <a:pt x="271" y="595"/>
                  </a:lnTo>
                  <a:lnTo>
                    <a:pt x="273" y="594"/>
                  </a:lnTo>
                  <a:lnTo>
                    <a:pt x="273" y="591"/>
                  </a:lnTo>
                  <a:lnTo>
                    <a:pt x="274" y="591"/>
                  </a:lnTo>
                  <a:lnTo>
                    <a:pt x="275" y="593"/>
                  </a:lnTo>
                  <a:lnTo>
                    <a:pt x="276" y="595"/>
                  </a:lnTo>
                  <a:lnTo>
                    <a:pt x="277" y="597"/>
                  </a:lnTo>
                  <a:lnTo>
                    <a:pt x="279" y="600"/>
                  </a:lnTo>
                  <a:lnTo>
                    <a:pt x="279" y="601"/>
                  </a:lnTo>
                  <a:lnTo>
                    <a:pt x="281" y="603"/>
                  </a:lnTo>
                  <a:lnTo>
                    <a:pt x="281" y="606"/>
                  </a:lnTo>
                  <a:lnTo>
                    <a:pt x="282" y="608"/>
                  </a:lnTo>
                  <a:lnTo>
                    <a:pt x="283" y="611"/>
                  </a:lnTo>
                  <a:lnTo>
                    <a:pt x="285" y="612"/>
                  </a:lnTo>
                  <a:lnTo>
                    <a:pt x="286" y="614"/>
                  </a:lnTo>
                  <a:lnTo>
                    <a:pt x="287" y="617"/>
                  </a:lnTo>
                  <a:lnTo>
                    <a:pt x="288" y="618"/>
                  </a:lnTo>
                  <a:lnTo>
                    <a:pt x="289" y="621"/>
                  </a:lnTo>
                  <a:lnTo>
                    <a:pt x="291" y="621"/>
                  </a:lnTo>
                  <a:lnTo>
                    <a:pt x="291" y="620"/>
                  </a:lnTo>
                  <a:lnTo>
                    <a:pt x="291" y="617"/>
                  </a:lnTo>
                  <a:lnTo>
                    <a:pt x="289" y="614"/>
                  </a:lnTo>
                  <a:lnTo>
                    <a:pt x="285" y="607"/>
                  </a:lnTo>
                  <a:lnTo>
                    <a:pt x="282" y="603"/>
                  </a:lnTo>
                  <a:lnTo>
                    <a:pt x="281" y="600"/>
                  </a:lnTo>
                  <a:lnTo>
                    <a:pt x="279" y="596"/>
                  </a:lnTo>
                  <a:lnTo>
                    <a:pt x="277" y="593"/>
                  </a:lnTo>
                  <a:lnTo>
                    <a:pt x="276" y="590"/>
                  </a:lnTo>
                  <a:lnTo>
                    <a:pt x="275" y="585"/>
                  </a:lnTo>
                  <a:lnTo>
                    <a:pt x="275" y="583"/>
                  </a:lnTo>
                  <a:lnTo>
                    <a:pt x="274" y="576"/>
                  </a:lnTo>
                  <a:lnTo>
                    <a:pt x="270" y="569"/>
                  </a:lnTo>
                  <a:lnTo>
                    <a:pt x="268" y="564"/>
                  </a:lnTo>
                  <a:lnTo>
                    <a:pt x="265" y="559"/>
                  </a:lnTo>
                  <a:lnTo>
                    <a:pt x="265" y="555"/>
                  </a:lnTo>
                  <a:lnTo>
                    <a:pt x="267" y="551"/>
                  </a:lnTo>
                  <a:lnTo>
                    <a:pt x="268" y="545"/>
                  </a:lnTo>
                  <a:lnTo>
                    <a:pt x="270" y="539"/>
                  </a:lnTo>
                  <a:lnTo>
                    <a:pt x="270" y="533"/>
                  </a:lnTo>
                  <a:lnTo>
                    <a:pt x="270" y="524"/>
                  </a:lnTo>
                  <a:lnTo>
                    <a:pt x="271" y="522"/>
                  </a:lnTo>
                  <a:lnTo>
                    <a:pt x="273" y="519"/>
                  </a:lnTo>
                  <a:lnTo>
                    <a:pt x="274" y="510"/>
                  </a:lnTo>
                  <a:lnTo>
                    <a:pt x="275" y="508"/>
                  </a:lnTo>
                  <a:lnTo>
                    <a:pt x="277" y="507"/>
                  </a:lnTo>
                  <a:lnTo>
                    <a:pt x="277" y="511"/>
                  </a:lnTo>
                  <a:lnTo>
                    <a:pt x="277" y="512"/>
                  </a:lnTo>
                  <a:lnTo>
                    <a:pt x="277" y="513"/>
                  </a:lnTo>
                  <a:lnTo>
                    <a:pt x="276" y="514"/>
                  </a:lnTo>
                  <a:lnTo>
                    <a:pt x="276" y="516"/>
                  </a:lnTo>
                  <a:lnTo>
                    <a:pt x="275" y="517"/>
                  </a:lnTo>
                  <a:lnTo>
                    <a:pt x="275" y="518"/>
                  </a:lnTo>
                  <a:lnTo>
                    <a:pt x="274" y="520"/>
                  </a:lnTo>
                  <a:lnTo>
                    <a:pt x="273" y="524"/>
                  </a:lnTo>
                  <a:lnTo>
                    <a:pt x="273" y="525"/>
                  </a:lnTo>
                  <a:lnTo>
                    <a:pt x="271" y="528"/>
                  </a:lnTo>
                  <a:lnTo>
                    <a:pt x="271" y="531"/>
                  </a:lnTo>
                  <a:lnTo>
                    <a:pt x="271" y="534"/>
                  </a:lnTo>
                  <a:lnTo>
                    <a:pt x="271" y="536"/>
                  </a:lnTo>
                  <a:lnTo>
                    <a:pt x="271" y="539"/>
                  </a:lnTo>
                  <a:lnTo>
                    <a:pt x="271" y="541"/>
                  </a:lnTo>
                  <a:lnTo>
                    <a:pt x="270" y="545"/>
                  </a:lnTo>
                  <a:lnTo>
                    <a:pt x="271" y="547"/>
                  </a:lnTo>
                  <a:lnTo>
                    <a:pt x="270" y="548"/>
                  </a:lnTo>
                  <a:lnTo>
                    <a:pt x="269" y="551"/>
                  </a:lnTo>
                  <a:lnTo>
                    <a:pt x="269" y="552"/>
                  </a:lnTo>
                  <a:lnTo>
                    <a:pt x="270" y="555"/>
                  </a:lnTo>
                  <a:lnTo>
                    <a:pt x="269" y="557"/>
                  </a:lnTo>
                  <a:lnTo>
                    <a:pt x="268" y="558"/>
                  </a:lnTo>
                  <a:lnTo>
                    <a:pt x="270" y="559"/>
                  </a:lnTo>
                  <a:lnTo>
                    <a:pt x="270" y="560"/>
                  </a:lnTo>
                  <a:lnTo>
                    <a:pt x="269" y="561"/>
                  </a:lnTo>
                  <a:lnTo>
                    <a:pt x="269" y="563"/>
                  </a:lnTo>
                  <a:lnTo>
                    <a:pt x="271" y="564"/>
                  </a:lnTo>
                  <a:lnTo>
                    <a:pt x="273" y="564"/>
                  </a:lnTo>
                  <a:lnTo>
                    <a:pt x="274" y="564"/>
                  </a:lnTo>
                  <a:lnTo>
                    <a:pt x="275" y="563"/>
                  </a:lnTo>
                  <a:lnTo>
                    <a:pt x="274" y="561"/>
                  </a:lnTo>
                  <a:lnTo>
                    <a:pt x="273" y="561"/>
                  </a:lnTo>
                  <a:lnTo>
                    <a:pt x="274" y="559"/>
                  </a:lnTo>
                  <a:lnTo>
                    <a:pt x="275" y="559"/>
                  </a:lnTo>
                  <a:lnTo>
                    <a:pt x="276" y="559"/>
                  </a:lnTo>
                  <a:lnTo>
                    <a:pt x="280" y="558"/>
                  </a:lnTo>
                  <a:lnTo>
                    <a:pt x="279" y="557"/>
                  </a:lnTo>
                  <a:lnTo>
                    <a:pt x="276" y="557"/>
                  </a:lnTo>
                  <a:lnTo>
                    <a:pt x="275" y="555"/>
                  </a:lnTo>
                  <a:lnTo>
                    <a:pt x="276" y="555"/>
                  </a:lnTo>
                  <a:lnTo>
                    <a:pt x="277" y="554"/>
                  </a:lnTo>
                  <a:lnTo>
                    <a:pt x="277" y="553"/>
                  </a:lnTo>
                  <a:lnTo>
                    <a:pt x="276" y="552"/>
                  </a:lnTo>
                  <a:lnTo>
                    <a:pt x="275" y="551"/>
                  </a:lnTo>
                  <a:lnTo>
                    <a:pt x="275" y="549"/>
                  </a:lnTo>
                  <a:lnTo>
                    <a:pt x="274" y="547"/>
                  </a:lnTo>
                  <a:lnTo>
                    <a:pt x="274" y="546"/>
                  </a:lnTo>
                  <a:lnTo>
                    <a:pt x="273" y="543"/>
                  </a:lnTo>
                  <a:lnTo>
                    <a:pt x="273" y="540"/>
                  </a:lnTo>
                  <a:lnTo>
                    <a:pt x="273" y="536"/>
                  </a:lnTo>
                  <a:lnTo>
                    <a:pt x="273" y="531"/>
                  </a:lnTo>
                  <a:lnTo>
                    <a:pt x="274" y="526"/>
                  </a:lnTo>
                  <a:lnTo>
                    <a:pt x="275" y="522"/>
                  </a:lnTo>
                  <a:lnTo>
                    <a:pt x="276" y="519"/>
                  </a:lnTo>
                  <a:lnTo>
                    <a:pt x="277" y="518"/>
                  </a:lnTo>
                  <a:lnTo>
                    <a:pt x="277" y="519"/>
                  </a:lnTo>
                  <a:lnTo>
                    <a:pt x="279" y="520"/>
                  </a:lnTo>
                  <a:lnTo>
                    <a:pt x="280" y="522"/>
                  </a:lnTo>
                  <a:lnTo>
                    <a:pt x="280" y="523"/>
                  </a:lnTo>
                  <a:lnTo>
                    <a:pt x="279" y="525"/>
                  </a:lnTo>
                  <a:lnTo>
                    <a:pt x="279" y="529"/>
                  </a:lnTo>
                  <a:lnTo>
                    <a:pt x="279" y="530"/>
                  </a:lnTo>
                  <a:lnTo>
                    <a:pt x="280" y="528"/>
                  </a:lnTo>
                  <a:lnTo>
                    <a:pt x="280" y="525"/>
                  </a:lnTo>
                  <a:lnTo>
                    <a:pt x="280" y="524"/>
                  </a:lnTo>
                  <a:lnTo>
                    <a:pt x="281" y="524"/>
                  </a:lnTo>
                  <a:lnTo>
                    <a:pt x="281" y="528"/>
                  </a:lnTo>
                  <a:lnTo>
                    <a:pt x="281" y="531"/>
                  </a:lnTo>
                  <a:lnTo>
                    <a:pt x="281" y="534"/>
                  </a:lnTo>
                  <a:lnTo>
                    <a:pt x="280" y="537"/>
                  </a:lnTo>
                  <a:lnTo>
                    <a:pt x="279" y="539"/>
                  </a:lnTo>
                  <a:lnTo>
                    <a:pt x="277" y="539"/>
                  </a:lnTo>
                  <a:lnTo>
                    <a:pt x="281" y="540"/>
                  </a:lnTo>
                  <a:lnTo>
                    <a:pt x="282" y="539"/>
                  </a:lnTo>
                  <a:lnTo>
                    <a:pt x="282" y="537"/>
                  </a:lnTo>
                  <a:lnTo>
                    <a:pt x="283" y="535"/>
                  </a:lnTo>
                  <a:lnTo>
                    <a:pt x="285" y="536"/>
                  </a:lnTo>
                  <a:lnTo>
                    <a:pt x="285" y="539"/>
                  </a:lnTo>
                  <a:lnTo>
                    <a:pt x="285" y="541"/>
                  </a:lnTo>
                  <a:lnTo>
                    <a:pt x="286" y="542"/>
                  </a:lnTo>
                  <a:lnTo>
                    <a:pt x="287" y="542"/>
                  </a:lnTo>
                  <a:lnTo>
                    <a:pt x="287" y="539"/>
                  </a:lnTo>
                  <a:lnTo>
                    <a:pt x="288" y="537"/>
                  </a:lnTo>
                  <a:lnTo>
                    <a:pt x="287" y="536"/>
                  </a:lnTo>
                  <a:lnTo>
                    <a:pt x="286" y="534"/>
                  </a:lnTo>
                  <a:lnTo>
                    <a:pt x="283" y="533"/>
                  </a:lnTo>
                  <a:lnTo>
                    <a:pt x="282" y="530"/>
                  </a:lnTo>
                  <a:lnTo>
                    <a:pt x="282" y="528"/>
                  </a:lnTo>
                  <a:lnTo>
                    <a:pt x="282" y="524"/>
                  </a:lnTo>
                  <a:lnTo>
                    <a:pt x="282" y="522"/>
                  </a:lnTo>
                  <a:lnTo>
                    <a:pt x="282" y="519"/>
                  </a:lnTo>
                  <a:lnTo>
                    <a:pt x="280" y="518"/>
                  </a:lnTo>
                  <a:lnTo>
                    <a:pt x="279" y="517"/>
                  </a:lnTo>
                  <a:lnTo>
                    <a:pt x="279" y="516"/>
                  </a:lnTo>
                  <a:lnTo>
                    <a:pt x="279" y="513"/>
                  </a:lnTo>
                  <a:lnTo>
                    <a:pt x="279" y="511"/>
                  </a:lnTo>
                  <a:lnTo>
                    <a:pt x="279" y="508"/>
                  </a:lnTo>
                  <a:lnTo>
                    <a:pt x="281" y="511"/>
                  </a:lnTo>
                  <a:lnTo>
                    <a:pt x="282" y="513"/>
                  </a:lnTo>
                  <a:lnTo>
                    <a:pt x="283" y="513"/>
                  </a:lnTo>
                  <a:lnTo>
                    <a:pt x="283" y="514"/>
                  </a:lnTo>
                  <a:lnTo>
                    <a:pt x="282" y="514"/>
                  </a:lnTo>
                  <a:lnTo>
                    <a:pt x="281" y="516"/>
                  </a:lnTo>
                  <a:lnTo>
                    <a:pt x="281" y="517"/>
                  </a:lnTo>
                  <a:lnTo>
                    <a:pt x="283" y="518"/>
                  </a:lnTo>
                  <a:lnTo>
                    <a:pt x="286" y="518"/>
                  </a:lnTo>
                  <a:lnTo>
                    <a:pt x="287" y="517"/>
                  </a:lnTo>
                  <a:lnTo>
                    <a:pt x="287" y="516"/>
                  </a:lnTo>
                  <a:lnTo>
                    <a:pt x="286" y="514"/>
                  </a:lnTo>
                  <a:lnTo>
                    <a:pt x="287" y="513"/>
                  </a:lnTo>
                  <a:lnTo>
                    <a:pt x="288" y="514"/>
                  </a:lnTo>
                  <a:lnTo>
                    <a:pt x="289" y="517"/>
                  </a:lnTo>
                  <a:lnTo>
                    <a:pt x="289" y="519"/>
                  </a:lnTo>
                  <a:lnTo>
                    <a:pt x="287" y="518"/>
                  </a:lnTo>
                  <a:lnTo>
                    <a:pt x="287" y="519"/>
                  </a:lnTo>
                  <a:lnTo>
                    <a:pt x="286" y="520"/>
                  </a:lnTo>
                  <a:lnTo>
                    <a:pt x="287" y="523"/>
                  </a:lnTo>
                  <a:lnTo>
                    <a:pt x="289" y="523"/>
                  </a:lnTo>
                  <a:lnTo>
                    <a:pt x="292" y="523"/>
                  </a:lnTo>
                  <a:lnTo>
                    <a:pt x="293" y="522"/>
                  </a:lnTo>
                  <a:lnTo>
                    <a:pt x="298" y="520"/>
                  </a:lnTo>
                  <a:lnTo>
                    <a:pt x="298" y="522"/>
                  </a:lnTo>
                  <a:lnTo>
                    <a:pt x="299" y="519"/>
                  </a:lnTo>
                  <a:lnTo>
                    <a:pt x="300" y="518"/>
                  </a:lnTo>
                  <a:lnTo>
                    <a:pt x="300" y="517"/>
                  </a:lnTo>
                  <a:lnTo>
                    <a:pt x="301" y="520"/>
                  </a:lnTo>
                  <a:lnTo>
                    <a:pt x="304" y="520"/>
                  </a:lnTo>
                  <a:lnTo>
                    <a:pt x="305" y="522"/>
                  </a:lnTo>
                  <a:lnTo>
                    <a:pt x="303" y="522"/>
                  </a:lnTo>
                  <a:lnTo>
                    <a:pt x="301" y="523"/>
                  </a:lnTo>
                  <a:lnTo>
                    <a:pt x="299" y="523"/>
                  </a:lnTo>
                  <a:lnTo>
                    <a:pt x="298" y="523"/>
                  </a:lnTo>
                  <a:lnTo>
                    <a:pt x="298" y="524"/>
                  </a:lnTo>
                  <a:lnTo>
                    <a:pt x="300" y="525"/>
                  </a:lnTo>
                  <a:lnTo>
                    <a:pt x="299" y="528"/>
                  </a:lnTo>
                  <a:lnTo>
                    <a:pt x="298" y="528"/>
                  </a:lnTo>
                  <a:lnTo>
                    <a:pt x="298" y="530"/>
                  </a:lnTo>
                  <a:lnTo>
                    <a:pt x="297" y="533"/>
                  </a:lnTo>
                  <a:lnTo>
                    <a:pt x="295" y="531"/>
                  </a:lnTo>
                  <a:lnTo>
                    <a:pt x="295" y="529"/>
                  </a:lnTo>
                  <a:lnTo>
                    <a:pt x="293" y="530"/>
                  </a:lnTo>
                  <a:lnTo>
                    <a:pt x="292" y="531"/>
                  </a:lnTo>
                  <a:lnTo>
                    <a:pt x="292" y="534"/>
                  </a:lnTo>
                  <a:lnTo>
                    <a:pt x="291" y="535"/>
                  </a:lnTo>
                  <a:lnTo>
                    <a:pt x="291" y="536"/>
                  </a:lnTo>
                  <a:lnTo>
                    <a:pt x="293" y="536"/>
                  </a:lnTo>
                  <a:lnTo>
                    <a:pt x="294" y="536"/>
                  </a:lnTo>
                  <a:lnTo>
                    <a:pt x="295" y="539"/>
                  </a:lnTo>
                  <a:lnTo>
                    <a:pt x="298" y="539"/>
                  </a:lnTo>
                  <a:lnTo>
                    <a:pt x="297" y="540"/>
                  </a:lnTo>
                  <a:lnTo>
                    <a:pt x="295" y="540"/>
                  </a:lnTo>
                  <a:lnTo>
                    <a:pt x="294" y="540"/>
                  </a:lnTo>
                  <a:lnTo>
                    <a:pt x="293" y="540"/>
                  </a:lnTo>
                  <a:lnTo>
                    <a:pt x="292" y="540"/>
                  </a:lnTo>
                  <a:lnTo>
                    <a:pt x="291" y="540"/>
                  </a:lnTo>
                  <a:lnTo>
                    <a:pt x="289" y="541"/>
                  </a:lnTo>
                  <a:lnTo>
                    <a:pt x="288" y="542"/>
                  </a:lnTo>
                  <a:lnTo>
                    <a:pt x="288" y="543"/>
                  </a:lnTo>
                  <a:lnTo>
                    <a:pt x="287" y="545"/>
                  </a:lnTo>
                  <a:lnTo>
                    <a:pt x="286" y="545"/>
                  </a:lnTo>
                  <a:lnTo>
                    <a:pt x="285" y="543"/>
                  </a:lnTo>
                  <a:lnTo>
                    <a:pt x="282" y="543"/>
                  </a:lnTo>
                  <a:lnTo>
                    <a:pt x="282" y="545"/>
                  </a:lnTo>
                  <a:lnTo>
                    <a:pt x="282" y="547"/>
                  </a:lnTo>
                  <a:lnTo>
                    <a:pt x="283" y="548"/>
                  </a:lnTo>
                  <a:lnTo>
                    <a:pt x="285" y="548"/>
                  </a:lnTo>
                  <a:lnTo>
                    <a:pt x="287" y="548"/>
                  </a:lnTo>
                  <a:lnTo>
                    <a:pt x="286" y="549"/>
                  </a:lnTo>
                  <a:lnTo>
                    <a:pt x="286" y="552"/>
                  </a:lnTo>
                  <a:lnTo>
                    <a:pt x="287" y="554"/>
                  </a:lnTo>
                  <a:lnTo>
                    <a:pt x="288" y="554"/>
                  </a:lnTo>
                  <a:lnTo>
                    <a:pt x="289" y="553"/>
                  </a:lnTo>
                  <a:lnTo>
                    <a:pt x="289" y="551"/>
                  </a:lnTo>
                  <a:lnTo>
                    <a:pt x="291" y="549"/>
                  </a:lnTo>
                  <a:lnTo>
                    <a:pt x="292" y="548"/>
                  </a:lnTo>
                  <a:lnTo>
                    <a:pt x="294" y="548"/>
                  </a:lnTo>
                  <a:lnTo>
                    <a:pt x="295" y="546"/>
                  </a:lnTo>
                  <a:lnTo>
                    <a:pt x="297" y="545"/>
                  </a:lnTo>
                  <a:lnTo>
                    <a:pt x="299" y="545"/>
                  </a:lnTo>
                  <a:lnTo>
                    <a:pt x="300" y="545"/>
                  </a:lnTo>
                  <a:lnTo>
                    <a:pt x="300" y="542"/>
                  </a:lnTo>
                  <a:lnTo>
                    <a:pt x="300" y="541"/>
                  </a:lnTo>
                  <a:lnTo>
                    <a:pt x="300" y="540"/>
                  </a:lnTo>
                  <a:lnTo>
                    <a:pt x="303" y="537"/>
                  </a:lnTo>
                  <a:lnTo>
                    <a:pt x="304" y="534"/>
                  </a:lnTo>
                  <a:lnTo>
                    <a:pt x="305" y="533"/>
                  </a:lnTo>
                  <a:lnTo>
                    <a:pt x="304" y="530"/>
                  </a:lnTo>
                  <a:lnTo>
                    <a:pt x="304" y="529"/>
                  </a:lnTo>
                  <a:lnTo>
                    <a:pt x="304" y="526"/>
                  </a:lnTo>
                  <a:lnTo>
                    <a:pt x="305" y="525"/>
                  </a:lnTo>
                  <a:lnTo>
                    <a:pt x="307" y="525"/>
                  </a:lnTo>
                  <a:lnTo>
                    <a:pt x="310" y="525"/>
                  </a:lnTo>
                  <a:lnTo>
                    <a:pt x="311" y="525"/>
                  </a:lnTo>
                  <a:lnTo>
                    <a:pt x="312" y="528"/>
                  </a:lnTo>
                  <a:lnTo>
                    <a:pt x="310" y="529"/>
                  </a:lnTo>
                  <a:lnTo>
                    <a:pt x="309" y="528"/>
                  </a:lnTo>
                  <a:lnTo>
                    <a:pt x="306" y="528"/>
                  </a:lnTo>
                  <a:lnTo>
                    <a:pt x="305" y="529"/>
                  </a:lnTo>
                  <a:lnTo>
                    <a:pt x="306" y="530"/>
                  </a:lnTo>
                  <a:lnTo>
                    <a:pt x="305" y="533"/>
                  </a:lnTo>
                  <a:lnTo>
                    <a:pt x="305" y="535"/>
                  </a:lnTo>
                  <a:lnTo>
                    <a:pt x="304" y="537"/>
                  </a:lnTo>
                  <a:lnTo>
                    <a:pt x="304" y="540"/>
                  </a:lnTo>
                  <a:lnTo>
                    <a:pt x="303" y="540"/>
                  </a:lnTo>
                  <a:lnTo>
                    <a:pt x="301" y="542"/>
                  </a:lnTo>
                  <a:lnTo>
                    <a:pt x="300" y="546"/>
                  </a:lnTo>
                  <a:lnTo>
                    <a:pt x="300" y="548"/>
                  </a:lnTo>
                  <a:lnTo>
                    <a:pt x="299" y="551"/>
                  </a:lnTo>
                  <a:lnTo>
                    <a:pt x="301" y="552"/>
                  </a:lnTo>
                  <a:lnTo>
                    <a:pt x="304" y="551"/>
                  </a:lnTo>
                  <a:lnTo>
                    <a:pt x="305" y="551"/>
                  </a:lnTo>
                  <a:lnTo>
                    <a:pt x="306" y="549"/>
                  </a:lnTo>
                  <a:lnTo>
                    <a:pt x="307" y="548"/>
                  </a:lnTo>
                  <a:lnTo>
                    <a:pt x="310" y="548"/>
                  </a:lnTo>
                  <a:lnTo>
                    <a:pt x="310" y="549"/>
                  </a:lnTo>
                  <a:lnTo>
                    <a:pt x="309" y="551"/>
                  </a:lnTo>
                  <a:lnTo>
                    <a:pt x="310" y="551"/>
                  </a:lnTo>
                  <a:lnTo>
                    <a:pt x="311" y="549"/>
                  </a:lnTo>
                  <a:lnTo>
                    <a:pt x="312" y="549"/>
                  </a:lnTo>
                  <a:lnTo>
                    <a:pt x="314" y="547"/>
                  </a:lnTo>
                  <a:lnTo>
                    <a:pt x="315" y="547"/>
                  </a:lnTo>
                  <a:lnTo>
                    <a:pt x="315" y="546"/>
                  </a:lnTo>
                  <a:lnTo>
                    <a:pt x="316" y="543"/>
                  </a:lnTo>
                  <a:lnTo>
                    <a:pt x="317" y="542"/>
                  </a:lnTo>
                  <a:lnTo>
                    <a:pt x="320" y="543"/>
                  </a:lnTo>
                  <a:lnTo>
                    <a:pt x="321" y="541"/>
                  </a:lnTo>
                  <a:lnTo>
                    <a:pt x="321" y="540"/>
                  </a:lnTo>
                  <a:lnTo>
                    <a:pt x="321" y="537"/>
                  </a:lnTo>
                  <a:lnTo>
                    <a:pt x="322" y="536"/>
                  </a:lnTo>
                  <a:lnTo>
                    <a:pt x="323" y="537"/>
                  </a:lnTo>
                  <a:lnTo>
                    <a:pt x="322" y="540"/>
                  </a:lnTo>
                  <a:lnTo>
                    <a:pt x="322" y="541"/>
                  </a:lnTo>
                  <a:lnTo>
                    <a:pt x="321" y="546"/>
                  </a:lnTo>
                  <a:lnTo>
                    <a:pt x="323" y="546"/>
                  </a:lnTo>
                  <a:lnTo>
                    <a:pt x="326" y="546"/>
                  </a:lnTo>
                  <a:lnTo>
                    <a:pt x="328" y="546"/>
                  </a:lnTo>
                  <a:lnTo>
                    <a:pt x="328" y="543"/>
                  </a:lnTo>
                  <a:lnTo>
                    <a:pt x="326" y="541"/>
                  </a:lnTo>
                  <a:lnTo>
                    <a:pt x="326" y="540"/>
                  </a:lnTo>
                  <a:lnTo>
                    <a:pt x="328" y="540"/>
                  </a:lnTo>
                  <a:lnTo>
                    <a:pt x="329" y="542"/>
                  </a:lnTo>
                  <a:lnTo>
                    <a:pt x="329" y="545"/>
                  </a:lnTo>
                  <a:lnTo>
                    <a:pt x="330" y="543"/>
                  </a:lnTo>
                  <a:lnTo>
                    <a:pt x="330" y="541"/>
                  </a:lnTo>
                  <a:lnTo>
                    <a:pt x="332" y="540"/>
                  </a:lnTo>
                  <a:lnTo>
                    <a:pt x="335" y="540"/>
                  </a:lnTo>
                  <a:lnTo>
                    <a:pt x="338" y="537"/>
                  </a:lnTo>
                  <a:lnTo>
                    <a:pt x="339" y="535"/>
                  </a:lnTo>
                  <a:lnTo>
                    <a:pt x="339" y="534"/>
                  </a:lnTo>
                  <a:lnTo>
                    <a:pt x="338" y="533"/>
                  </a:lnTo>
                  <a:lnTo>
                    <a:pt x="336" y="533"/>
                  </a:lnTo>
                  <a:lnTo>
                    <a:pt x="334" y="534"/>
                  </a:lnTo>
                  <a:lnTo>
                    <a:pt x="333" y="533"/>
                  </a:lnTo>
                  <a:lnTo>
                    <a:pt x="333" y="531"/>
                  </a:lnTo>
                  <a:lnTo>
                    <a:pt x="333" y="533"/>
                  </a:lnTo>
                  <a:lnTo>
                    <a:pt x="332" y="535"/>
                  </a:lnTo>
                  <a:lnTo>
                    <a:pt x="330" y="535"/>
                  </a:lnTo>
                  <a:lnTo>
                    <a:pt x="327" y="534"/>
                  </a:lnTo>
                  <a:lnTo>
                    <a:pt x="328" y="531"/>
                  </a:lnTo>
                  <a:lnTo>
                    <a:pt x="329" y="529"/>
                  </a:lnTo>
                  <a:lnTo>
                    <a:pt x="330" y="530"/>
                  </a:lnTo>
                  <a:lnTo>
                    <a:pt x="332" y="530"/>
                  </a:lnTo>
                  <a:lnTo>
                    <a:pt x="334" y="530"/>
                  </a:lnTo>
                  <a:lnTo>
                    <a:pt x="334" y="528"/>
                  </a:lnTo>
                  <a:lnTo>
                    <a:pt x="334" y="525"/>
                  </a:lnTo>
                  <a:lnTo>
                    <a:pt x="334" y="522"/>
                  </a:lnTo>
                  <a:lnTo>
                    <a:pt x="333" y="522"/>
                  </a:lnTo>
                  <a:lnTo>
                    <a:pt x="330" y="522"/>
                  </a:lnTo>
                  <a:lnTo>
                    <a:pt x="330" y="524"/>
                  </a:lnTo>
                  <a:lnTo>
                    <a:pt x="329" y="525"/>
                  </a:lnTo>
                  <a:lnTo>
                    <a:pt x="328" y="525"/>
                  </a:lnTo>
                  <a:lnTo>
                    <a:pt x="327" y="526"/>
                  </a:lnTo>
                  <a:lnTo>
                    <a:pt x="327" y="529"/>
                  </a:lnTo>
                  <a:lnTo>
                    <a:pt x="324" y="529"/>
                  </a:lnTo>
                  <a:lnTo>
                    <a:pt x="324" y="528"/>
                  </a:lnTo>
                  <a:lnTo>
                    <a:pt x="327" y="525"/>
                  </a:lnTo>
                  <a:lnTo>
                    <a:pt x="327" y="524"/>
                  </a:lnTo>
                  <a:lnTo>
                    <a:pt x="329" y="522"/>
                  </a:lnTo>
                  <a:lnTo>
                    <a:pt x="332" y="520"/>
                  </a:lnTo>
                  <a:lnTo>
                    <a:pt x="333" y="520"/>
                  </a:lnTo>
                  <a:lnTo>
                    <a:pt x="335" y="518"/>
                  </a:lnTo>
                  <a:lnTo>
                    <a:pt x="336" y="517"/>
                  </a:lnTo>
                  <a:lnTo>
                    <a:pt x="338" y="517"/>
                  </a:lnTo>
                  <a:lnTo>
                    <a:pt x="339" y="518"/>
                  </a:lnTo>
                  <a:lnTo>
                    <a:pt x="339" y="522"/>
                  </a:lnTo>
                  <a:lnTo>
                    <a:pt x="336" y="523"/>
                  </a:lnTo>
                  <a:lnTo>
                    <a:pt x="336" y="525"/>
                  </a:lnTo>
                  <a:lnTo>
                    <a:pt x="335" y="528"/>
                  </a:lnTo>
                  <a:lnTo>
                    <a:pt x="335" y="529"/>
                  </a:lnTo>
                  <a:lnTo>
                    <a:pt x="338" y="526"/>
                  </a:lnTo>
                  <a:lnTo>
                    <a:pt x="339" y="524"/>
                  </a:lnTo>
                  <a:lnTo>
                    <a:pt x="341" y="520"/>
                  </a:lnTo>
                  <a:lnTo>
                    <a:pt x="341" y="518"/>
                  </a:lnTo>
                  <a:lnTo>
                    <a:pt x="342" y="517"/>
                  </a:lnTo>
                  <a:lnTo>
                    <a:pt x="345" y="517"/>
                  </a:lnTo>
                  <a:lnTo>
                    <a:pt x="346" y="516"/>
                  </a:lnTo>
                  <a:lnTo>
                    <a:pt x="347" y="514"/>
                  </a:lnTo>
                  <a:lnTo>
                    <a:pt x="350" y="513"/>
                  </a:lnTo>
                  <a:lnTo>
                    <a:pt x="351" y="513"/>
                  </a:lnTo>
                  <a:lnTo>
                    <a:pt x="353" y="511"/>
                  </a:lnTo>
                  <a:lnTo>
                    <a:pt x="353" y="510"/>
                  </a:lnTo>
                  <a:lnTo>
                    <a:pt x="354" y="510"/>
                  </a:lnTo>
                  <a:lnTo>
                    <a:pt x="356" y="514"/>
                  </a:lnTo>
                  <a:lnTo>
                    <a:pt x="356" y="516"/>
                  </a:lnTo>
                  <a:lnTo>
                    <a:pt x="356" y="517"/>
                  </a:lnTo>
                  <a:lnTo>
                    <a:pt x="354" y="518"/>
                  </a:lnTo>
                  <a:lnTo>
                    <a:pt x="352" y="519"/>
                  </a:lnTo>
                  <a:lnTo>
                    <a:pt x="351" y="517"/>
                  </a:lnTo>
                  <a:lnTo>
                    <a:pt x="351" y="516"/>
                  </a:lnTo>
                  <a:lnTo>
                    <a:pt x="348" y="516"/>
                  </a:lnTo>
                  <a:lnTo>
                    <a:pt x="348" y="517"/>
                  </a:lnTo>
                  <a:lnTo>
                    <a:pt x="348" y="519"/>
                  </a:lnTo>
                  <a:lnTo>
                    <a:pt x="351" y="520"/>
                  </a:lnTo>
                  <a:lnTo>
                    <a:pt x="352" y="522"/>
                  </a:lnTo>
                  <a:lnTo>
                    <a:pt x="354" y="523"/>
                  </a:lnTo>
                  <a:lnTo>
                    <a:pt x="354" y="522"/>
                  </a:lnTo>
                  <a:lnTo>
                    <a:pt x="354" y="523"/>
                  </a:lnTo>
                  <a:lnTo>
                    <a:pt x="353" y="525"/>
                  </a:lnTo>
                  <a:lnTo>
                    <a:pt x="350" y="528"/>
                  </a:lnTo>
                  <a:lnTo>
                    <a:pt x="348" y="529"/>
                  </a:lnTo>
                  <a:lnTo>
                    <a:pt x="347" y="531"/>
                  </a:lnTo>
                  <a:lnTo>
                    <a:pt x="346" y="534"/>
                  </a:lnTo>
                  <a:lnTo>
                    <a:pt x="345" y="536"/>
                  </a:lnTo>
                  <a:lnTo>
                    <a:pt x="344" y="537"/>
                  </a:lnTo>
                  <a:lnTo>
                    <a:pt x="342" y="541"/>
                  </a:lnTo>
                  <a:lnTo>
                    <a:pt x="340" y="545"/>
                  </a:lnTo>
                  <a:lnTo>
                    <a:pt x="339" y="545"/>
                  </a:lnTo>
                  <a:lnTo>
                    <a:pt x="336" y="546"/>
                  </a:lnTo>
                  <a:lnTo>
                    <a:pt x="335" y="546"/>
                  </a:lnTo>
                  <a:lnTo>
                    <a:pt x="334" y="545"/>
                  </a:lnTo>
                  <a:lnTo>
                    <a:pt x="333" y="545"/>
                  </a:lnTo>
                  <a:lnTo>
                    <a:pt x="333" y="546"/>
                  </a:lnTo>
                  <a:lnTo>
                    <a:pt x="330" y="547"/>
                  </a:lnTo>
                  <a:lnTo>
                    <a:pt x="330" y="549"/>
                  </a:lnTo>
                  <a:lnTo>
                    <a:pt x="333" y="551"/>
                  </a:lnTo>
                  <a:lnTo>
                    <a:pt x="334" y="551"/>
                  </a:lnTo>
                  <a:lnTo>
                    <a:pt x="334" y="548"/>
                  </a:lnTo>
                  <a:lnTo>
                    <a:pt x="335" y="547"/>
                  </a:lnTo>
                  <a:lnTo>
                    <a:pt x="339" y="547"/>
                  </a:lnTo>
                  <a:lnTo>
                    <a:pt x="341" y="546"/>
                  </a:lnTo>
                  <a:lnTo>
                    <a:pt x="345" y="543"/>
                  </a:lnTo>
                  <a:lnTo>
                    <a:pt x="345" y="541"/>
                  </a:lnTo>
                  <a:lnTo>
                    <a:pt x="345" y="545"/>
                  </a:lnTo>
                  <a:lnTo>
                    <a:pt x="344" y="547"/>
                  </a:lnTo>
                  <a:lnTo>
                    <a:pt x="342" y="549"/>
                  </a:lnTo>
                  <a:lnTo>
                    <a:pt x="340" y="553"/>
                  </a:lnTo>
                  <a:lnTo>
                    <a:pt x="339" y="557"/>
                  </a:lnTo>
                  <a:lnTo>
                    <a:pt x="336" y="558"/>
                  </a:lnTo>
                  <a:lnTo>
                    <a:pt x="338" y="560"/>
                  </a:lnTo>
                  <a:lnTo>
                    <a:pt x="340" y="557"/>
                  </a:lnTo>
                  <a:lnTo>
                    <a:pt x="341" y="554"/>
                  </a:lnTo>
                  <a:lnTo>
                    <a:pt x="344" y="552"/>
                  </a:lnTo>
                  <a:lnTo>
                    <a:pt x="345" y="549"/>
                  </a:lnTo>
                  <a:lnTo>
                    <a:pt x="346" y="547"/>
                  </a:lnTo>
                  <a:lnTo>
                    <a:pt x="347" y="545"/>
                  </a:lnTo>
                  <a:lnTo>
                    <a:pt x="347" y="551"/>
                  </a:lnTo>
                  <a:lnTo>
                    <a:pt x="348" y="552"/>
                  </a:lnTo>
                  <a:lnTo>
                    <a:pt x="350" y="553"/>
                  </a:lnTo>
                  <a:lnTo>
                    <a:pt x="351" y="553"/>
                  </a:lnTo>
                  <a:lnTo>
                    <a:pt x="350" y="551"/>
                  </a:lnTo>
                  <a:lnTo>
                    <a:pt x="350" y="549"/>
                  </a:lnTo>
                  <a:lnTo>
                    <a:pt x="350" y="548"/>
                  </a:lnTo>
                  <a:lnTo>
                    <a:pt x="348" y="546"/>
                  </a:lnTo>
                  <a:lnTo>
                    <a:pt x="348" y="543"/>
                  </a:lnTo>
                  <a:lnTo>
                    <a:pt x="348" y="541"/>
                  </a:lnTo>
                  <a:lnTo>
                    <a:pt x="347" y="539"/>
                  </a:lnTo>
                  <a:lnTo>
                    <a:pt x="347" y="537"/>
                  </a:lnTo>
                  <a:lnTo>
                    <a:pt x="351" y="539"/>
                  </a:lnTo>
                  <a:lnTo>
                    <a:pt x="352" y="542"/>
                  </a:lnTo>
                  <a:lnTo>
                    <a:pt x="354" y="545"/>
                  </a:lnTo>
                  <a:lnTo>
                    <a:pt x="354" y="542"/>
                  </a:lnTo>
                  <a:lnTo>
                    <a:pt x="353" y="541"/>
                  </a:lnTo>
                  <a:lnTo>
                    <a:pt x="352" y="539"/>
                  </a:lnTo>
                  <a:lnTo>
                    <a:pt x="351" y="537"/>
                  </a:lnTo>
                  <a:lnTo>
                    <a:pt x="348" y="536"/>
                  </a:lnTo>
                  <a:lnTo>
                    <a:pt x="348" y="534"/>
                  </a:lnTo>
                  <a:lnTo>
                    <a:pt x="350" y="531"/>
                  </a:lnTo>
                  <a:lnTo>
                    <a:pt x="351" y="529"/>
                  </a:lnTo>
                  <a:lnTo>
                    <a:pt x="352" y="528"/>
                  </a:lnTo>
                  <a:lnTo>
                    <a:pt x="353" y="526"/>
                  </a:lnTo>
                  <a:lnTo>
                    <a:pt x="356" y="525"/>
                  </a:lnTo>
                  <a:lnTo>
                    <a:pt x="357" y="528"/>
                  </a:lnTo>
                  <a:lnTo>
                    <a:pt x="357" y="536"/>
                  </a:lnTo>
                  <a:lnTo>
                    <a:pt x="357" y="552"/>
                  </a:lnTo>
                  <a:lnTo>
                    <a:pt x="358" y="566"/>
                  </a:lnTo>
                  <a:lnTo>
                    <a:pt x="358" y="583"/>
                  </a:lnTo>
                  <a:lnTo>
                    <a:pt x="359" y="593"/>
                  </a:lnTo>
                  <a:lnTo>
                    <a:pt x="357" y="593"/>
                  </a:lnTo>
                  <a:lnTo>
                    <a:pt x="356" y="591"/>
                  </a:lnTo>
                  <a:lnTo>
                    <a:pt x="354" y="590"/>
                  </a:lnTo>
                  <a:lnTo>
                    <a:pt x="353" y="588"/>
                  </a:lnTo>
                  <a:lnTo>
                    <a:pt x="353" y="587"/>
                  </a:lnTo>
                  <a:lnTo>
                    <a:pt x="352" y="587"/>
                  </a:lnTo>
                  <a:lnTo>
                    <a:pt x="351" y="587"/>
                  </a:lnTo>
                  <a:lnTo>
                    <a:pt x="351" y="588"/>
                  </a:lnTo>
                  <a:lnTo>
                    <a:pt x="350" y="591"/>
                  </a:lnTo>
                  <a:lnTo>
                    <a:pt x="348" y="590"/>
                  </a:lnTo>
                  <a:lnTo>
                    <a:pt x="348" y="588"/>
                  </a:lnTo>
                  <a:lnTo>
                    <a:pt x="347" y="588"/>
                  </a:lnTo>
                  <a:lnTo>
                    <a:pt x="347" y="589"/>
                  </a:lnTo>
                  <a:lnTo>
                    <a:pt x="346" y="590"/>
                  </a:lnTo>
                  <a:lnTo>
                    <a:pt x="345" y="589"/>
                  </a:lnTo>
                  <a:lnTo>
                    <a:pt x="344" y="589"/>
                  </a:lnTo>
                  <a:lnTo>
                    <a:pt x="344" y="590"/>
                  </a:lnTo>
                  <a:lnTo>
                    <a:pt x="342" y="590"/>
                  </a:lnTo>
                  <a:lnTo>
                    <a:pt x="341" y="591"/>
                  </a:lnTo>
                  <a:lnTo>
                    <a:pt x="341" y="594"/>
                  </a:lnTo>
                  <a:lnTo>
                    <a:pt x="339" y="595"/>
                  </a:lnTo>
                  <a:lnTo>
                    <a:pt x="339" y="596"/>
                  </a:lnTo>
                  <a:lnTo>
                    <a:pt x="340" y="597"/>
                  </a:lnTo>
                  <a:lnTo>
                    <a:pt x="342" y="597"/>
                  </a:lnTo>
                  <a:lnTo>
                    <a:pt x="345" y="599"/>
                  </a:lnTo>
                  <a:lnTo>
                    <a:pt x="346" y="600"/>
                  </a:lnTo>
                  <a:lnTo>
                    <a:pt x="347" y="600"/>
                  </a:lnTo>
                  <a:lnTo>
                    <a:pt x="350" y="597"/>
                  </a:lnTo>
                  <a:lnTo>
                    <a:pt x="352" y="596"/>
                  </a:lnTo>
                  <a:lnTo>
                    <a:pt x="353" y="599"/>
                  </a:lnTo>
                  <a:lnTo>
                    <a:pt x="356" y="602"/>
                  </a:lnTo>
                  <a:lnTo>
                    <a:pt x="358" y="605"/>
                  </a:lnTo>
                  <a:lnTo>
                    <a:pt x="358" y="612"/>
                  </a:lnTo>
                  <a:lnTo>
                    <a:pt x="358" y="624"/>
                  </a:lnTo>
                  <a:lnTo>
                    <a:pt x="358" y="640"/>
                  </a:lnTo>
                  <a:lnTo>
                    <a:pt x="358" y="656"/>
                  </a:lnTo>
                  <a:lnTo>
                    <a:pt x="359" y="674"/>
                  </a:lnTo>
                  <a:lnTo>
                    <a:pt x="360" y="694"/>
                  </a:lnTo>
                  <a:lnTo>
                    <a:pt x="362" y="713"/>
                  </a:lnTo>
                  <a:lnTo>
                    <a:pt x="362" y="734"/>
                  </a:lnTo>
                  <a:lnTo>
                    <a:pt x="363" y="781"/>
                  </a:lnTo>
                  <a:lnTo>
                    <a:pt x="364" y="805"/>
                  </a:lnTo>
                  <a:lnTo>
                    <a:pt x="365" y="831"/>
                  </a:lnTo>
                  <a:lnTo>
                    <a:pt x="360" y="834"/>
                  </a:lnTo>
                  <a:lnTo>
                    <a:pt x="353" y="838"/>
                  </a:lnTo>
                  <a:lnTo>
                    <a:pt x="345" y="839"/>
                  </a:lnTo>
                  <a:lnTo>
                    <a:pt x="328" y="840"/>
                  </a:lnTo>
                  <a:lnTo>
                    <a:pt x="326" y="840"/>
                  </a:lnTo>
                  <a:lnTo>
                    <a:pt x="354" y="840"/>
                  </a:lnTo>
                  <a:lnTo>
                    <a:pt x="374" y="838"/>
                  </a:lnTo>
                  <a:lnTo>
                    <a:pt x="383" y="839"/>
                  </a:lnTo>
                  <a:lnTo>
                    <a:pt x="388" y="839"/>
                  </a:lnTo>
                  <a:lnTo>
                    <a:pt x="401" y="837"/>
                  </a:lnTo>
                  <a:lnTo>
                    <a:pt x="412" y="839"/>
                  </a:lnTo>
                  <a:lnTo>
                    <a:pt x="425" y="840"/>
                  </a:lnTo>
                  <a:lnTo>
                    <a:pt x="439" y="839"/>
                  </a:lnTo>
                  <a:lnTo>
                    <a:pt x="453" y="838"/>
                  </a:lnTo>
                  <a:lnTo>
                    <a:pt x="458" y="837"/>
                  </a:lnTo>
                  <a:lnTo>
                    <a:pt x="457" y="834"/>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2" name="Freeform 75"/>
            <p:cNvSpPr>
              <a:spLocks/>
            </p:cNvSpPr>
            <p:nvPr userDrawn="1"/>
          </p:nvSpPr>
          <p:spPr bwMode="auto">
            <a:xfrm>
              <a:off x="6286500" y="6189663"/>
              <a:ext cx="244475" cy="395288"/>
            </a:xfrm>
            <a:custGeom>
              <a:avLst/>
              <a:gdLst/>
              <a:ahLst/>
              <a:cxnLst>
                <a:cxn ang="0">
                  <a:pos x="365" y="103"/>
                </a:cxn>
                <a:cxn ang="0">
                  <a:pos x="307" y="192"/>
                </a:cxn>
                <a:cxn ang="0">
                  <a:pos x="259" y="239"/>
                </a:cxn>
                <a:cxn ang="0">
                  <a:pos x="283" y="292"/>
                </a:cxn>
                <a:cxn ang="0">
                  <a:pos x="239" y="317"/>
                </a:cxn>
                <a:cxn ang="0">
                  <a:pos x="204" y="418"/>
                </a:cxn>
                <a:cxn ang="0">
                  <a:pos x="211" y="442"/>
                </a:cxn>
                <a:cxn ang="0">
                  <a:pos x="147" y="505"/>
                </a:cxn>
                <a:cxn ang="0">
                  <a:pos x="174" y="535"/>
                </a:cxn>
                <a:cxn ang="0">
                  <a:pos x="126" y="561"/>
                </a:cxn>
                <a:cxn ang="0">
                  <a:pos x="156" y="571"/>
                </a:cxn>
                <a:cxn ang="0">
                  <a:pos x="194" y="583"/>
                </a:cxn>
                <a:cxn ang="0">
                  <a:pos x="117" y="610"/>
                </a:cxn>
                <a:cxn ang="0">
                  <a:pos x="88" y="635"/>
                </a:cxn>
                <a:cxn ang="0">
                  <a:pos x="88" y="670"/>
                </a:cxn>
                <a:cxn ang="0">
                  <a:pos x="77" y="697"/>
                </a:cxn>
                <a:cxn ang="0">
                  <a:pos x="111" y="730"/>
                </a:cxn>
                <a:cxn ang="0">
                  <a:pos x="146" y="754"/>
                </a:cxn>
                <a:cxn ang="0">
                  <a:pos x="183" y="760"/>
                </a:cxn>
                <a:cxn ang="0">
                  <a:pos x="216" y="753"/>
                </a:cxn>
                <a:cxn ang="0">
                  <a:pos x="159" y="804"/>
                </a:cxn>
                <a:cxn ang="0">
                  <a:pos x="100" y="826"/>
                </a:cxn>
                <a:cxn ang="0">
                  <a:pos x="99" y="869"/>
                </a:cxn>
                <a:cxn ang="0">
                  <a:pos x="45" y="902"/>
                </a:cxn>
                <a:cxn ang="0">
                  <a:pos x="82" y="920"/>
                </a:cxn>
                <a:cxn ang="0">
                  <a:pos x="15" y="931"/>
                </a:cxn>
                <a:cxn ang="0">
                  <a:pos x="49" y="983"/>
                </a:cxn>
                <a:cxn ang="0">
                  <a:pos x="81" y="1003"/>
                </a:cxn>
                <a:cxn ang="0">
                  <a:pos x="90" y="1066"/>
                </a:cxn>
                <a:cxn ang="0">
                  <a:pos x="163" y="1129"/>
                </a:cxn>
                <a:cxn ang="0">
                  <a:pos x="264" y="1119"/>
                </a:cxn>
                <a:cxn ang="0">
                  <a:pos x="357" y="1247"/>
                </a:cxn>
                <a:cxn ang="0">
                  <a:pos x="493" y="1140"/>
                </a:cxn>
                <a:cxn ang="0">
                  <a:pos x="586" y="1184"/>
                </a:cxn>
                <a:cxn ang="0">
                  <a:pos x="669" y="1155"/>
                </a:cxn>
                <a:cxn ang="0">
                  <a:pos x="753" y="1066"/>
                </a:cxn>
                <a:cxn ang="0">
                  <a:pos x="689" y="1009"/>
                </a:cxn>
                <a:cxn ang="0">
                  <a:pos x="673" y="963"/>
                </a:cxn>
                <a:cxn ang="0">
                  <a:pos x="654" y="949"/>
                </a:cxn>
                <a:cxn ang="0">
                  <a:pos x="673" y="908"/>
                </a:cxn>
                <a:cxn ang="0">
                  <a:pos x="699" y="857"/>
                </a:cxn>
                <a:cxn ang="0">
                  <a:pos x="700" y="805"/>
                </a:cxn>
                <a:cxn ang="0">
                  <a:pos x="553" y="761"/>
                </a:cxn>
                <a:cxn ang="0">
                  <a:pos x="618" y="761"/>
                </a:cxn>
                <a:cxn ang="0">
                  <a:pos x="666" y="724"/>
                </a:cxn>
                <a:cxn ang="0">
                  <a:pos x="694" y="686"/>
                </a:cxn>
                <a:cxn ang="0">
                  <a:pos x="671" y="638"/>
                </a:cxn>
                <a:cxn ang="0">
                  <a:pos x="652" y="581"/>
                </a:cxn>
                <a:cxn ang="0">
                  <a:pos x="569" y="510"/>
                </a:cxn>
                <a:cxn ang="0">
                  <a:pos x="620" y="494"/>
                </a:cxn>
                <a:cxn ang="0">
                  <a:pos x="547" y="423"/>
                </a:cxn>
                <a:cxn ang="0">
                  <a:pos x="589" y="424"/>
                </a:cxn>
                <a:cxn ang="0">
                  <a:pos x="427" y="353"/>
                </a:cxn>
                <a:cxn ang="0">
                  <a:pos x="506" y="311"/>
                </a:cxn>
                <a:cxn ang="0">
                  <a:pos x="523" y="254"/>
                </a:cxn>
                <a:cxn ang="0">
                  <a:pos x="472" y="224"/>
                </a:cxn>
                <a:cxn ang="0">
                  <a:pos x="498" y="192"/>
                </a:cxn>
                <a:cxn ang="0">
                  <a:pos x="446" y="145"/>
                </a:cxn>
                <a:cxn ang="0">
                  <a:pos x="451" y="126"/>
                </a:cxn>
                <a:cxn ang="0">
                  <a:pos x="441" y="107"/>
                </a:cxn>
                <a:cxn ang="0">
                  <a:pos x="425" y="101"/>
                </a:cxn>
                <a:cxn ang="0">
                  <a:pos x="425" y="38"/>
                </a:cxn>
                <a:cxn ang="0">
                  <a:pos x="399" y="28"/>
                </a:cxn>
              </a:cxnLst>
              <a:rect l="0" t="0" r="r" b="b"/>
              <a:pathLst>
                <a:path w="766" h="1247">
                  <a:moveTo>
                    <a:pt x="384" y="20"/>
                  </a:moveTo>
                  <a:lnTo>
                    <a:pt x="381" y="13"/>
                  </a:lnTo>
                  <a:lnTo>
                    <a:pt x="377" y="0"/>
                  </a:lnTo>
                  <a:lnTo>
                    <a:pt x="376" y="0"/>
                  </a:lnTo>
                  <a:lnTo>
                    <a:pt x="377" y="6"/>
                  </a:lnTo>
                  <a:lnTo>
                    <a:pt x="380" y="14"/>
                  </a:lnTo>
                  <a:lnTo>
                    <a:pt x="383" y="20"/>
                  </a:lnTo>
                  <a:lnTo>
                    <a:pt x="383" y="24"/>
                  </a:lnTo>
                  <a:lnTo>
                    <a:pt x="380" y="17"/>
                  </a:lnTo>
                  <a:lnTo>
                    <a:pt x="378" y="17"/>
                  </a:lnTo>
                  <a:lnTo>
                    <a:pt x="382" y="24"/>
                  </a:lnTo>
                  <a:lnTo>
                    <a:pt x="381" y="25"/>
                  </a:lnTo>
                  <a:lnTo>
                    <a:pt x="371" y="19"/>
                  </a:lnTo>
                  <a:lnTo>
                    <a:pt x="370" y="20"/>
                  </a:lnTo>
                  <a:lnTo>
                    <a:pt x="383" y="29"/>
                  </a:lnTo>
                  <a:lnTo>
                    <a:pt x="383" y="31"/>
                  </a:lnTo>
                  <a:lnTo>
                    <a:pt x="382" y="31"/>
                  </a:lnTo>
                  <a:lnTo>
                    <a:pt x="378" y="28"/>
                  </a:lnTo>
                  <a:lnTo>
                    <a:pt x="377" y="29"/>
                  </a:lnTo>
                  <a:lnTo>
                    <a:pt x="381" y="34"/>
                  </a:lnTo>
                  <a:lnTo>
                    <a:pt x="381" y="35"/>
                  </a:lnTo>
                  <a:lnTo>
                    <a:pt x="374" y="35"/>
                  </a:lnTo>
                  <a:lnTo>
                    <a:pt x="381" y="36"/>
                  </a:lnTo>
                  <a:lnTo>
                    <a:pt x="382" y="37"/>
                  </a:lnTo>
                  <a:lnTo>
                    <a:pt x="382" y="41"/>
                  </a:lnTo>
                  <a:lnTo>
                    <a:pt x="376" y="41"/>
                  </a:lnTo>
                  <a:lnTo>
                    <a:pt x="376" y="42"/>
                  </a:lnTo>
                  <a:lnTo>
                    <a:pt x="382" y="43"/>
                  </a:lnTo>
                  <a:lnTo>
                    <a:pt x="378" y="44"/>
                  </a:lnTo>
                  <a:lnTo>
                    <a:pt x="382" y="44"/>
                  </a:lnTo>
                  <a:lnTo>
                    <a:pt x="382" y="47"/>
                  </a:lnTo>
                  <a:lnTo>
                    <a:pt x="380" y="47"/>
                  </a:lnTo>
                  <a:lnTo>
                    <a:pt x="380" y="44"/>
                  </a:lnTo>
                  <a:lnTo>
                    <a:pt x="378" y="47"/>
                  </a:lnTo>
                  <a:lnTo>
                    <a:pt x="377" y="46"/>
                  </a:lnTo>
                  <a:lnTo>
                    <a:pt x="374" y="40"/>
                  </a:lnTo>
                  <a:lnTo>
                    <a:pt x="376" y="47"/>
                  </a:lnTo>
                  <a:lnTo>
                    <a:pt x="374" y="47"/>
                  </a:lnTo>
                  <a:lnTo>
                    <a:pt x="371" y="46"/>
                  </a:lnTo>
                  <a:lnTo>
                    <a:pt x="370" y="46"/>
                  </a:lnTo>
                  <a:lnTo>
                    <a:pt x="372" y="47"/>
                  </a:lnTo>
                  <a:lnTo>
                    <a:pt x="375" y="48"/>
                  </a:lnTo>
                  <a:lnTo>
                    <a:pt x="375" y="49"/>
                  </a:lnTo>
                  <a:lnTo>
                    <a:pt x="371" y="48"/>
                  </a:lnTo>
                  <a:lnTo>
                    <a:pt x="371" y="49"/>
                  </a:lnTo>
                  <a:lnTo>
                    <a:pt x="376" y="50"/>
                  </a:lnTo>
                  <a:lnTo>
                    <a:pt x="376" y="52"/>
                  </a:lnTo>
                  <a:lnTo>
                    <a:pt x="375" y="54"/>
                  </a:lnTo>
                  <a:lnTo>
                    <a:pt x="374" y="54"/>
                  </a:lnTo>
                  <a:lnTo>
                    <a:pt x="371" y="52"/>
                  </a:lnTo>
                  <a:lnTo>
                    <a:pt x="364" y="47"/>
                  </a:lnTo>
                  <a:lnTo>
                    <a:pt x="366" y="50"/>
                  </a:lnTo>
                  <a:lnTo>
                    <a:pt x="363" y="50"/>
                  </a:lnTo>
                  <a:lnTo>
                    <a:pt x="359" y="50"/>
                  </a:lnTo>
                  <a:lnTo>
                    <a:pt x="362" y="52"/>
                  </a:lnTo>
                  <a:lnTo>
                    <a:pt x="369" y="53"/>
                  </a:lnTo>
                  <a:lnTo>
                    <a:pt x="369" y="54"/>
                  </a:lnTo>
                  <a:lnTo>
                    <a:pt x="363" y="59"/>
                  </a:lnTo>
                  <a:lnTo>
                    <a:pt x="370" y="54"/>
                  </a:lnTo>
                  <a:lnTo>
                    <a:pt x="371" y="55"/>
                  </a:lnTo>
                  <a:lnTo>
                    <a:pt x="369" y="57"/>
                  </a:lnTo>
                  <a:lnTo>
                    <a:pt x="372" y="55"/>
                  </a:lnTo>
                  <a:lnTo>
                    <a:pt x="374" y="57"/>
                  </a:lnTo>
                  <a:lnTo>
                    <a:pt x="375" y="58"/>
                  </a:lnTo>
                  <a:lnTo>
                    <a:pt x="374" y="60"/>
                  </a:lnTo>
                  <a:lnTo>
                    <a:pt x="377" y="57"/>
                  </a:lnTo>
                  <a:lnTo>
                    <a:pt x="384" y="61"/>
                  </a:lnTo>
                  <a:lnTo>
                    <a:pt x="384" y="66"/>
                  </a:lnTo>
                  <a:lnTo>
                    <a:pt x="382" y="67"/>
                  </a:lnTo>
                  <a:lnTo>
                    <a:pt x="380" y="66"/>
                  </a:lnTo>
                  <a:lnTo>
                    <a:pt x="377" y="64"/>
                  </a:lnTo>
                  <a:lnTo>
                    <a:pt x="377" y="66"/>
                  </a:lnTo>
                  <a:lnTo>
                    <a:pt x="374" y="66"/>
                  </a:lnTo>
                  <a:lnTo>
                    <a:pt x="372" y="65"/>
                  </a:lnTo>
                  <a:lnTo>
                    <a:pt x="370" y="63"/>
                  </a:lnTo>
                  <a:lnTo>
                    <a:pt x="372" y="67"/>
                  </a:lnTo>
                  <a:lnTo>
                    <a:pt x="366" y="67"/>
                  </a:lnTo>
                  <a:lnTo>
                    <a:pt x="368" y="69"/>
                  </a:lnTo>
                  <a:lnTo>
                    <a:pt x="372" y="69"/>
                  </a:lnTo>
                  <a:lnTo>
                    <a:pt x="372" y="70"/>
                  </a:lnTo>
                  <a:lnTo>
                    <a:pt x="370" y="73"/>
                  </a:lnTo>
                  <a:lnTo>
                    <a:pt x="375" y="70"/>
                  </a:lnTo>
                  <a:lnTo>
                    <a:pt x="377" y="70"/>
                  </a:lnTo>
                  <a:lnTo>
                    <a:pt x="378" y="69"/>
                  </a:lnTo>
                  <a:lnTo>
                    <a:pt x="381" y="69"/>
                  </a:lnTo>
                  <a:lnTo>
                    <a:pt x="380" y="71"/>
                  </a:lnTo>
                  <a:lnTo>
                    <a:pt x="375" y="71"/>
                  </a:lnTo>
                  <a:lnTo>
                    <a:pt x="376" y="71"/>
                  </a:lnTo>
                  <a:lnTo>
                    <a:pt x="378" y="72"/>
                  </a:lnTo>
                  <a:lnTo>
                    <a:pt x="377" y="73"/>
                  </a:lnTo>
                  <a:lnTo>
                    <a:pt x="372" y="76"/>
                  </a:lnTo>
                  <a:lnTo>
                    <a:pt x="374" y="76"/>
                  </a:lnTo>
                  <a:lnTo>
                    <a:pt x="378" y="77"/>
                  </a:lnTo>
                  <a:lnTo>
                    <a:pt x="377" y="78"/>
                  </a:lnTo>
                  <a:lnTo>
                    <a:pt x="372" y="83"/>
                  </a:lnTo>
                  <a:lnTo>
                    <a:pt x="372" y="84"/>
                  </a:lnTo>
                  <a:lnTo>
                    <a:pt x="375" y="85"/>
                  </a:lnTo>
                  <a:lnTo>
                    <a:pt x="376" y="87"/>
                  </a:lnTo>
                  <a:lnTo>
                    <a:pt x="375" y="87"/>
                  </a:lnTo>
                  <a:lnTo>
                    <a:pt x="375" y="88"/>
                  </a:lnTo>
                  <a:lnTo>
                    <a:pt x="376" y="89"/>
                  </a:lnTo>
                  <a:lnTo>
                    <a:pt x="377" y="89"/>
                  </a:lnTo>
                  <a:lnTo>
                    <a:pt x="377" y="90"/>
                  </a:lnTo>
                  <a:lnTo>
                    <a:pt x="374" y="90"/>
                  </a:lnTo>
                  <a:lnTo>
                    <a:pt x="371" y="89"/>
                  </a:lnTo>
                  <a:lnTo>
                    <a:pt x="372" y="91"/>
                  </a:lnTo>
                  <a:lnTo>
                    <a:pt x="370" y="96"/>
                  </a:lnTo>
                  <a:lnTo>
                    <a:pt x="371" y="96"/>
                  </a:lnTo>
                  <a:lnTo>
                    <a:pt x="374" y="91"/>
                  </a:lnTo>
                  <a:lnTo>
                    <a:pt x="377" y="93"/>
                  </a:lnTo>
                  <a:lnTo>
                    <a:pt x="375" y="95"/>
                  </a:lnTo>
                  <a:lnTo>
                    <a:pt x="371" y="99"/>
                  </a:lnTo>
                  <a:lnTo>
                    <a:pt x="365" y="103"/>
                  </a:lnTo>
                  <a:lnTo>
                    <a:pt x="356" y="108"/>
                  </a:lnTo>
                  <a:lnTo>
                    <a:pt x="352" y="108"/>
                  </a:lnTo>
                  <a:lnTo>
                    <a:pt x="354" y="109"/>
                  </a:lnTo>
                  <a:lnTo>
                    <a:pt x="353" y="111"/>
                  </a:lnTo>
                  <a:lnTo>
                    <a:pt x="348" y="108"/>
                  </a:lnTo>
                  <a:lnTo>
                    <a:pt x="352" y="111"/>
                  </a:lnTo>
                  <a:lnTo>
                    <a:pt x="346" y="113"/>
                  </a:lnTo>
                  <a:lnTo>
                    <a:pt x="346" y="114"/>
                  </a:lnTo>
                  <a:lnTo>
                    <a:pt x="353" y="113"/>
                  </a:lnTo>
                  <a:lnTo>
                    <a:pt x="352" y="115"/>
                  </a:lnTo>
                  <a:lnTo>
                    <a:pt x="353" y="119"/>
                  </a:lnTo>
                  <a:lnTo>
                    <a:pt x="354" y="119"/>
                  </a:lnTo>
                  <a:lnTo>
                    <a:pt x="354" y="115"/>
                  </a:lnTo>
                  <a:lnTo>
                    <a:pt x="356" y="114"/>
                  </a:lnTo>
                  <a:lnTo>
                    <a:pt x="356" y="112"/>
                  </a:lnTo>
                  <a:lnTo>
                    <a:pt x="357" y="112"/>
                  </a:lnTo>
                  <a:lnTo>
                    <a:pt x="358" y="115"/>
                  </a:lnTo>
                  <a:lnTo>
                    <a:pt x="358" y="111"/>
                  </a:lnTo>
                  <a:lnTo>
                    <a:pt x="363" y="108"/>
                  </a:lnTo>
                  <a:lnTo>
                    <a:pt x="363" y="111"/>
                  </a:lnTo>
                  <a:lnTo>
                    <a:pt x="360" y="114"/>
                  </a:lnTo>
                  <a:lnTo>
                    <a:pt x="360" y="115"/>
                  </a:lnTo>
                  <a:lnTo>
                    <a:pt x="362" y="118"/>
                  </a:lnTo>
                  <a:lnTo>
                    <a:pt x="363" y="120"/>
                  </a:lnTo>
                  <a:lnTo>
                    <a:pt x="364" y="121"/>
                  </a:lnTo>
                  <a:lnTo>
                    <a:pt x="360" y="124"/>
                  </a:lnTo>
                  <a:lnTo>
                    <a:pt x="358" y="123"/>
                  </a:lnTo>
                  <a:lnTo>
                    <a:pt x="357" y="123"/>
                  </a:lnTo>
                  <a:lnTo>
                    <a:pt x="358" y="124"/>
                  </a:lnTo>
                  <a:lnTo>
                    <a:pt x="356" y="124"/>
                  </a:lnTo>
                  <a:lnTo>
                    <a:pt x="353" y="125"/>
                  </a:lnTo>
                  <a:lnTo>
                    <a:pt x="357" y="126"/>
                  </a:lnTo>
                  <a:lnTo>
                    <a:pt x="358" y="125"/>
                  </a:lnTo>
                  <a:lnTo>
                    <a:pt x="359" y="126"/>
                  </a:lnTo>
                  <a:lnTo>
                    <a:pt x="357" y="127"/>
                  </a:lnTo>
                  <a:lnTo>
                    <a:pt x="353" y="130"/>
                  </a:lnTo>
                  <a:lnTo>
                    <a:pt x="352" y="132"/>
                  </a:lnTo>
                  <a:lnTo>
                    <a:pt x="353" y="132"/>
                  </a:lnTo>
                  <a:lnTo>
                    <a:pt x="354" y="132"/>
                  </a:lnTo>
                  <a:lnTo>
                    <a:pt x="356" y="132"/>
                  </a:lnTo>
                  <a:lnTo>
                    <a:pt x="356" y="133"/>
                  </a:lnTo>
                  <a:lnTo>
                    <a:pt x="356" y="135"/>
                  </a:lnTo>
                  <a:lnTo>
                    <a:pt x="353" y="135"/>
                  </a:lnTo>
                  <a:lnTo>
                    <a:pt x="352" y="133"/>
                  </a:lnTo>
                  <a:lnTo>
                    <a:pt x="347" y="133"/>
                  </a:lnTo>
                  <a:lnTo>
                    <a:pt x="346" y="135"/>
                  </a:lnTo>
                  <a:lnTo>
                    <a:pt x="345" y="137"/>
                  </a:lnTo>
                  <a:lnTo>
                    <a:pt x="344" y="139"/>
                  </a:lnTo>
                  <a:lnTo>
                    <a:pt x="339" y="139"/>
                  </a:lnTo>
                  <a:lnTo>
                    <a:pt x="333" y="142"/>
                  </a:lnTo>
                  <a:lnTo>
                    <a:pt x="329" y="144"/>
                  </a:lnTo>
                  <a:lnTo>
                    <a:pt x="329" y="147"/>
                  </a:lnTo>
                  <a:lnTo>
                    <a:pt x="325" y="147"/>
                  </a:lnTo>
                  <a:lnTo>
                    <a:pt x="327" y="145"/>
                  </a:lnTo>
                  <a:lnTo>
                    <a:pt x="324" y="145"/>
                  </a:lnTo>
                  <a:lnTo>
                    <a:pt x="321" y="147"/>
                  </a:lnTo>
                  <a:lnTo>
                    <a:pt x="319" y="149"/>
                  </a:lnTo>
                  <a:lnTo>
                    <a:pt x="311" y="155"/>
                  </a:lnTo>
                  <a:lnTo>
                    <a:pt x="307" y="156"/>
                  </a:lnTo>
                  <a:lnTo>
                    <a:pt x="305" y="156"/>
                  </a:lnTo>
                  <a:lnTo>
                    <a:pt x="306" y="157"/>
                  </a:lnTo>
                  <a:lnTo>
                    <a:pt x="305" y="159"/>
                  </a:lnTo>
                  <a:lnTo>
                    <a:pt x="303" y="160"/>
                  </a:lnTo>
                  <a:lnTo>
                    <a:pt x="301" y="160"/>
                  </a:lnTo>
                  <a:lnTo>
                    <a:pt x="300" y="162"/>
                  </a:lnTo>
                  <a:lnTo>
                    <a:pt x="298" y="164"/>
                  </a:lnTo>
                  <a:lnTo>
                    <a:pt x="299" y="164"/>
                  </a:lnTo>
                  <a:lnTo>
                    <a:pt x="298" y="165"/>
                  </a:lnTo>
                  <a:lnTo>
                    <a:pt x="295" y="165"/>
                  </a:lnTo>
                  <a:lnTo>
                    <a:pt x="295" y="166"/>
                  </a:lnTo>
                  <a:lnTo>
                    <a:pt x="297" y="166"/>
                  </a:lnTo>
                  <a:lnTo>
                    <a:pt x="293" y="170"/>
                  </a:lnTo>
                  <a:lnTo>
                    <a:pt x="298" y="167"/>
                  </a:lnTo>
                  <a:lnTo>
                    <a:pt x="299" y="171"/>
                  </a:lnTo>
                  <a:lnTo>
                    <a:pt x="299" y="166"/>
                  </a:lnTo>
                  <a:lnTo>
                    <a:pt x="300" y="166"/>
                  </a:lnTo>
                  <a:lnTo>
                    <a:pt x="301" y="167"/>
                  </a:lnTo>
                  <a:lnTo>
                    <a:pt x="301" y="166"/>
                  </a:lnTo>
                  <a:lnTo>
                    <a:pt x="303" y="164"/>
                  </a:lnTo>
                  <a:lnTo>
                    <a:pt x="307" y="159"/>
                  </a:lnTo>
                  <a:lnTo>
                    <a:pt x="307" y="165"/>
                  </a:lnTo>
                  <a:lnTo>
                    <a:pt x="309" y="166"/>
                  </a:lnTo>
                  <a:lnTo>
                    <a:pt x="309" y="168"/>
                  </a:lnTo>
                  <a:lnTo>
                    <a:pt x="310" y="170"/>
                  </a:lnTo>
                  <a:lnTo>
                    <a:pt x="311" y="166"/>
                  </a:lnTo>
                  <a:lnTo>
                    <a:pt x="310" y="159"/>
                  </a:lnTo>
                  <a:lnTo>
                    <a:pt x="310" y="157"/>
                  </a:lnTo>
                  <a:lnTo>
                    <a:pt x="311" y="161"/>
                  </a:lnTo>
                  <a:lnTo>
                    <a:pt x="311" y="168"/>
                  </a:lnTo>
                  <a:lnTo>
                    <a:pt x="312" y="168"/>
                  </a:lnTo>
                  <a:lnTo>
                    <a:pt x="312" y="170"/>
                  </a:lnTo>
                  <a:lnTo>
                    <a:pt x="313" y="171"/>
                  </a:lnTo>
                  <a:lnTo>
                    <a:pt x="315" y="171"/>
                  </a:lnTo>
                  <a:lnTo>
                    <a:pt x="313" y="172"/>
                  </a:lnTo>
                  <a:lnTo>
                    <a:pt x="310" y="173"/>
                  </a:lnTo>
                  <a:lnTo>
                    <a:pt x="311" y="174"/>
                  </a:lnTo>
                  <a:lnTo>
                    <a:pt x="311" y="176"/>
                  </a:lnTo>
                  <a:lnTo>
                    <a:pt x="309" y="176"/>
                  </a:lnTo>
                  <a:lnTo>
                    <a:pt x="309" y="178"/>
                  </a:lnTo>
                  <a:lnTo>
                    <a:pt x="311" y="178"/>
                  </a:lnTo>
                  <a:lnTo>
                    <a:pt x="310" y="179"/>
                  </a:lnTo>
                  <a:lnTo>
                    <a:pt x="309" y="180"/>
                  </a:lnTo>
                  <a:lnTo>
                    <a:pt x="309" y="182"/>
                  </a:lnTo>
                  <a:lnTo>
                    <a:pt x="309" y="183"/>
                  </a:lnTo>
                  <a:lnTo>
                    <a:pt x="309" y="186"/>
                  </a:lnTo>
                  <a:lnTo>
                    <a:pt x="309" y="188"/>
                  </a:lnTo>
                  <a:lnTo>
                    <a:pt x="309" y="189"/>
                  </a:lnTo>
                  <a:lnTo>
                    <a:pt x="310" y="190"/>
                  </a:lnTo>
                  <a:lnTo>
                    <a:pt x="313" y="190"/>
                  </a:lnTo>
                  <a:lnTo>
                    <a:pt x="313" y="191"/>
                  </a:lnTo>
                  <a:lnTo>
                    <a:pt x="312" y="191"/>
                  </a:lnTo>
                  <a:lnTo>
                    <a:pt x="309" y="192"/>
                  </a:lnTo>
                  <a:lnTo>
                    <a:pt x="307" y="192"/>
                  </a:lnTo>
                  <a:lnTo>
                    <a:pt x="307" y="194"/>
                  </a:lnTo>
                  <a:lnTo>
                    <a:pt x="307" y="195"/>
                  </a:lnTo>
                  <a:lnTo>
                    <a:pt x="305" y="195"/>
                  </a:lnTo>
                  <a:lnTo>
                    <a:pt x="303" y="194"/>
                  </a:lnTo>
                  <a:lnTo>
                    <a:pt x="301" y="194"/>
                  </a:lnTo>
                  <a:lnTo>
                    <a:pt x="301" y="195"/>
                  </a:lnTo>
                  <a:lnTo>
                    <a:pt x="304" y="196"/>
                  </a:lnTo>
                  <a:lnTo>
                    <a:pt x="301" y="197"/>
                  </a:lnTo>
                  <a:lnTo>
                    <a:pt x="300" y="197"/>
                  </a:lnTo>
                  <a:lnTo>
                    <a:pt x="300" y="196"/>
                  </a:lnTo>
                  <a:lnTo>
                    <a:pt x="298" y="196"/>
                  </a:lnTo>
                  <a:lnTo>
                    <a:pt x="298" y="197"/>
                  </a:lnTo>
                  <a:lnTo>
                    <a:pt x="294" y="197"/>
                  </a:lnTo>
                  <a:lnTo>
                    <a:pt x="294" y="198"/>
                  </a:lnTo>
                  <a:lnTo>
                    <a:pt x="289" y="201"/>
                  </a:lnTo>
                  <a:lnTo>
                    <a:pt x="291" y="201"/>
                  </a:lnTo>
                  <a:lnTo>
                    <a:pt x="294" y="200"/>
                  </a:lnTo>
                  <a:lnTo>
                    <a:pt x="295" y="201"/>
                  </a:lnTo>
                  <a:lnTo>
                    <a:pt x="294" y="207"/>
                  </a:lnTo>
                  <a:lnTo>
                    <a:pt x="297" y="201"/>
                  </a:lnTo>
                  <a:lnTo>
                    <a:pt x="298" y="200"/>
                  </a:lnTo>
                  <a:lnTo>
                    <a:pt x="298" y="201"/>
                  </a:lnTo>
                  <a:lnTo>
                    <a:pt x="298" y="204"/>
                  </a:lnTo>
                  <a:lnTo>
                    <a:pt x="299" y="204"/>
                  </a:lnTo>
                  <a:lnTo>
                    <a:pt x="301" y="202"/>
                  </a:lnTo>
                  <a:lnTo>
                    <a:pt x="303" y="198"/>
                  </a:lnTo>
                  <a:lnTo>
                    <a:pt x="304" y="198"/>
                  </a:lnTo>
                  <a:lnTo>
                    <a:pt x="304" y="201"/>
                  </a:lnTo>
                  <a:lnTo>
                    <a:pt x="304" y="202"/>
                  </a:lnTo>
                  <a:lnTo>
                    <a:pt x="305" y="203"/>
                  </a:lnTo>
                  <a:lnTo>
                    <a:pt x="307" y="210"/>
                  </a:lnTo>
                  <a:lnTo>
                    <a:pt x="309" y="212"/>
                  </a:lnTo>
                  <a:lnTo>
                    <a:pt x="310" y="209"/>
                  </a:lnTo>
                  <a:lnTo>
                    <a:pt x="310" y="210"/>
                  </a:lnTo>
                  <a:lnTo>
                    <a:pt x="311" y="212"/>
                  </a:lnTo>
                  <a:lnTo>
                    <a:pt x="312" y="213"/>
                  </a:lnTo>
                  <a:lnTo>
                    <a:pt x="311" y="209"/>
                  </a:lnTo>
                  <a:lnTo>
                    <a:pt x="312" y="209"/>
                  </a:lnTo>
                  <a:lnTo>
                    <a:pt x="313" y="210"/>
                  </a:lnTo>
                  <a:lnTo>
                    <a:pt x="315" y="208"/>
                  </a:lnTo>
                  <a:lnTo>
                    <a:pt x="316" y="208"/>
                  </a:lnTo>
                  <a:lnTo>
                    <a:pt x="316" y="212"/>
                  </a:lnTo>
                  <a:lnTo>
                    <a:pt x="317" y="212"/>
                  </a:lnTo>
                  <a:lnTo>
                    <a:pt x="317" y="213"/>
                  </a:lnTo>
                  <a:lnTo>
                    <a:pt x="317" y="208"/>
                  </a:lnTo>
                  <a:lnTo>
                    <a:pt x="317" y="207"/>
                  </a:lnTo>
                  <a:lnTo>
                    <a:pt x="318" y="206"/>
                  </a:lnTo>
                  <a:lnTo>
                    <a:pt x="318" y="208"/>
                  </a:lnTo>
                  <a:lnTo>
                    <a:pt x="319" y="208"/>
                  </a:lnTo>
                  <a:lnTo>
                    <a:pt x="319" y="209"/>
                  </a:lnTo>
                  <a:lnTo>
                    <a:pt x="321" y="209"/>
                  </a:lnTo>
                  <a:lnTo>
                    <a:pt x="321" y="204"/>
                  </a:lnTo>
                  <a:lnTo>
                    <a:pt x="322" y="206"/>
                  </a:lnTo>
                  <a:lnTo>
                    <a:pt x="322" y="207"/>
                  </a:lnTo>
                  <a:lnTo>
                    <a:pt x="323" y="209"/>
                  </a:lnTo>
                  <a:lnTo>
                    <a:pt x="324" y="210"/>
                  </a:lnTo>
                  <a:lnTo>
                    <a:pt x="324" y="214"/>
                  </a:lnTo>
                  <a:lnTo>
                    <a:pt x="323" y="216"/>
                  </a:lnTo>
                  <a:lnTo>
                    <a:pt x="321" y="216"/>
                  </a:lnTo>
                  <a:lnTo>
                    <a:pt x="317" y="219"/>
                  </a:lnTo>
                  <a:lnTo>
                    <a:pt x="315" y="222"/>
                  </a:lnTo>
                  <a:lnTo>
                    <a:pt x="309" y="222"/>
                  </a:lnTo>
                  <a:lnTo>
                    <a:pt x="306" y="224"/>
                  </a:lnTo>
                  <a:lnTo>
                    <a:pt x="299" y="225"/>
                  </a:lnTo>
                  <a:lnTo>
                    <a:pt x="298" y="226"/>
                  </a:lnTo>
                  <a:lnTo>
                    <a:pt x="294" y="226"/>
                  </a:lnTo>
                  <a:lnTo>
                    <a:pt x="292" y="225"/>
                  </a:lnTo>
                  <a:lnTo>
                    <a:pt x="292" y="226"/>
                  </a:lnTo>
                  <a:lnTo>
                    <a:pt x="289" y="226"/>
                  </a:lnTo>
                  <a:lnTo>
                    <a:pt x="286" y="222"/>
                  </a:lnTo>
                  <a:lnTo>
                    <a:pt x="286" y="224"/>
                  </a:lnTo>
                  <a:lnTo>
                    <a:pt x="288" y="225"/>
                  </a:lnTo>
                  <a:lnTo>
                    <a:pt x="288" y="226"/>
                  </a:lnTo>
                  <a:lnTo>
                    <a:pt x="286" y="226"/>
                  </a:lnTo>
                  <a:lnTo>
                    <a:pt x="286" y="225"/>
                  </a:lnTo>
                  <a:lnTo>
                    <a:pt x="283" y="225"/>
                  </a:lnTo>
                  <a:lnTo>
                    <a:pt x="277" y="221"/>
                  </a:lnTo>
                  <a:lnTo>
                    <a:pt x="276" y="221"/>
                  </a:lnTo>
                  <a:lnTo>
                    <a:pt x="281" y="226"/>
                  </a:lnTo>
                  <a:lnTo>
                    <a:pt x="270" y="226"/>
                  </a:lnTo>
                  <a:lnTo>
                    <a:pt x="270" y="227"/>
                  </a:lnTo>
                  <a:lnTo>
                    <a:pt x="280" y="228"/>
                  </a:lnTo>
                  <a:lnTo>
                    <a:pt x="281" y="227"/>
                  </a:lnTo>
                  <a:lnTo>
                    <a:pt x="280" y="230"/>
                  </a:lnTo>
                  <a:lnTo>
                    <a:pt x="286" y="227"/>
                  </a:lnTo>
                  <a:lnTo>
                    <a:pt x="287" y="227"/>
                  </a:lnTo>
                  <a:lnTo>
                    <a:pt x="288" y="228"/>
                  </a:lnTo>
                  <a:lnTo>
                    <a:pt x="287" y="231"/>
                  </a:lnTo>
                  <a:lnTo>
                    <a:pt x="287" y="232"/>
                  </a:lnTo>
                  <a:lnTo>
                    <a:pt x="287" y="234"/>
                  </a:lnTo>
                  <a:lnTo>
                    <a:pt x="289" y="238"/>
                  </a:lnTo>
                  <a:lnTo>
                    <a:pt x="291" y="239"/>
                  </a:lnTo>
                  <a:lnTo>
                    <a:pt x="287" y="240"/>
                  </a:lnTo>
                  <a:lnTo>
                    <a:pt x="287" y="242"/>
                  </a:lnTo>
                  <a:lnTo>
                    <a:pt x="288" y="242"/>
                  </a:lnTo>
                  <a:lnTo>
                    <a:pt x="288" y="243"/>
                  </a:lnTo>
                  <a:lnTo>
                    <a:pt x="286" y="244"/>
                  </a:lnTo>
                  <a:lnTo>
                    <a:pt x="285" y="246"/>
                  </a:lnTo>
                  <a:lnTo>
                    <a:pt x="285" y="249"/>
                  </a:lnTo>
                  <a:lnTo>
                    <a:pt x="283" y="249"/>
                  </a:lnTo>
                  <a:lnTo>
                    <a:pt x="282" y="246"/>
                  </a:lnTo>
                  <a:lnTo>
                    <a:pt x="282" y="245"/>
                  </a:lnTo>
                  <a:lnTo>
                    <a:pt x="281" y="243"/>
                  </a:lnTo>
                  <a:lnTo>
                    <a:pt x="280" y="243"/>
                  </a:lnTo>
                  <a:lnTo>
                    <a:pt x="280" y="245"/>
                  </a:lnTo>
                  <a:lnTo>
                    <a:pt x="279" y="248"/>
                  </a:lnTo>
                  <a:lnTo>
                    <a:pt x="271" y="242"/>
                  </a:lnTo>
                  <a:lnTo>
                    <a:pt x="269" y="240"/>
                  </a:lnTo>
                  <a:lnTo>
                    <a:pt x="262" y="236"/>
                  </a:lnTo>
                  <a:lnTo>
                    <a:pt x="260" y="236"/>
                  </a:lnTo>
                  <a:lnTo>
                    <a:pt x="265" y="240"/>
                  </a:lnTo>
                  <a:lnTo>
                    <a:pt x="264" y="240"/>
                  </a:lnTo>
                  <a:lnTo>
                    <a:pt x="259" y="239"/>
                  </a:lnTo>
                  <a:lnTo>
                    <a:pt x="262" y="240"/>
                  </a:lnTo>
                  <a:lnTo>
                    <a:pt x="262" y="242"/>
                  </a:lnTo>
                  <a:lnTo>
                    <a:pt x="264" y="243"/>
                  </a:lnTo>
                  <a:lnTo>
                    <a:pt x="265" y="244"/>
                  </a:lnTo>
                  <a:lnTo>
                    <a:pt x="264" y="245"/>
                  </a:lnTo>
                  <a:lnTo>
                    <a:pt x="264" y="246"/>
                  </a:lnTo>
                  <a:lnTo>
                    <a:pt x="266" y="245"/>
                  </a:lnTo>
                  <a:lnTo>
                    <a:pt x="268" y="245"/>
                  </a:lnTo>
                  <a:lnTo>
                    <a:pt x="269" y="244"/>
                  </a:lnTo>
                  <a:lnTo>
                    <a:pt x="269" y="245"/>
                  </a:lnTo>
                  <a:lnTo>
                    <a:pt x="266" y="248"/>
                  </a:lnTo>
                  <a:lnTo>
                    <a:pt x="269" y="248"/>
                  </a:lnTo>
                  <a:lnTo>
                    <a:pt x="271" y="245"/>
                  </a:lnTo>
                  <a:lnTo>
                    <a:pt x="275" y="248"/>
                  </a:lnTo>
                  <a:lnTo>
                    <a:pt x="271" y="248"/>
                  </a:lnTo>
                  <a:lnTo>
                    <a:pt x="269" y="249"/>
                  </a:lnTo>
                  <a:lnTo>
                    <a:pt x="268" y="251"/>
                  </a:lnTo>
                  <a:lnTo>
                    <a:pt x="268" y="252"/>
                  </a:lnTo>
                  <a:lnTo>
                    <a:pt x="269" y="251"/>
                  </a:lnTo>
                  <a:lnTo>
                    <a:pt x="270" y="250"/>
                  </a:lnTo>
                  <a:lnTo>
                    <a:pt x="271" y="250"/>
                  </a:lnTo>
                  <a:lnTo>
                    <a:pt x="274" y="250"/>
                  </a:lnTo>
                  <a:lnTo>
                    <a:pt x="275" y="250"/>
                  </a:lnTo>
                  <a:lnTo>
                    <a:pt x="275" y="254"/>
                  </a:lnTo>
                  <a:lnTo>
                    <a:pt x="277" y="252"/>
                  </a:lnTo>
                  <a:lnTo>
                    <a:pt x="280" y="252"/>
                  </a:lnTo>
                  <a:lnTo>
                    <a:pt x="281" y="254"/>
                  </a:lnTo>
                  <a:lnTo>
                    <a:pt x="280" y="254"/>
                  </a:lnTo>
                  <a:lnTo>
                    <a:pt x="277" y="255"/>
                  </a:lnTo>
                  <a:lnTo>
                    <a:pt x="273" y="258"/>
                  </a:lnTo>
                  <a:lnTo>
                    <a:pt x="268" y="261"/>
                  </a:lnTo>
                  <a:lnTo>
                    <a:pt x="262" y="261"/>
                  </a:lnTo>
                  <a:lnTo>
                    <a:pt x="262" y="262"/>
                  </a:lnTo>
                  <a:lnTo>
                    <a:pt x="266" y="263"/>
                  </a:lnTo>
                  <a:lnTo>
                    <a:pt x="266" y="264"/>
                  </a:lnTo>
                  <a:lnTo>
                    <a:pt x="259" y="268"/>
                  </a:lnTo>
                  <a:lnTo>
                    <a:pt x="260" y="268"/>
                  </a:lnTo>
                  <a:lnTo>
                    <a:pt x="268" y="266"/>
                  </a:lnTo>
                  <a:lnTo>
                    <a:pt x="269" y="266"/>
                  </a:lnTo>
                  <a:lnTo>
                    <a:pt x="268" y="267"/>
                  </a:lnTo>
                  <a:lnTo>
                    <a:pt x="268" y="269"/>
                  </a:lnTo>
                  <a:lnTo>
                    <a:pt x="269" y="269"/>
                  </a:lnTo>
                  <a:lnTo>
                    <a:pt x="269" y="268"/>
                  </a:lnTo>
                  <a:lnTo>
                    <a:pt x="270" y="264"/>
                  </a:lnTo>
                  <a:lnTo>
                    <a:pt x="271" y="264"/>
                  </a:lnTo>
                  <a:lnTo>
                    <a:pt x="276" y="271"/>
                  </a:lnTo>
                  <a:lnTo>
                    <a:pt x="276" y="268"/>
                  </a:lnTo>
                  <a:lnTo>
                    <a:pt x="277" y="268"/>
                  </a:lnTo>
                  <a:lnTo>
                    <a:pt x="279" y="269"/>
                  </a:lnTo>
                  <a:lnTo>
                    <a:pt x="279" y="271"/>
                  </a:lnTo>
                  <a:lnTo>
                    <a:pt x="277" y="272"/>
                  </a:lnTo>
                  <a:lnTo>
                    <a:pt x="277" y="273"/>
                  </a:lnTo>
                  <a:lnTo>
                    <a:pt x="275" y="273"/>
                  </a:lnTo>
                  <a:lnTo>
                    <a:pt x="273" y="274"/>
                  </a:lnTo>
                  <a:lnTo>
                    <a:pt x="271" y="278"/>
                  </a:lnTo>
                  <a:lnTo>
                    <a:pt x="273" y="279"/>
                  </a:lnTo>
                  <a:lnTo>
                    <a:pt x="269" y="281"/>
                  </a:lnTo>
                  <a:lnTo>
                    <a:pt x="269" y="284"/>
                  </a:lnTo>
                  <a:lnTo>
                    <a:pt x="266" y="285"/>
                  </a:lnTo>
                  <a:lnTo>
                    <a:pt x="265" y="285"/>
                  </a:lnTo>
                  <a:lnTo>
                    <a:pt x="264" y="284"/>
                  </a:lnTo>
                  <a:lnTo>
                    <a:pt x="264" y="285"/>
                  </a:lnTo>
                  <a:lnTo>
                    <a:pt x="264" y="286"/>
                  </a:lnTo>
                  <a:lnTo>
                    <a:pt x="264" y="287"/>
                  </a:lnTo>
                  <a:lnTo>
                    <a:pt x="260" y="289"/>
                  </a:lnTo>
                  <a:lnTo>
                    <a:pt x="259" y="287"/>
                  </a:lnTo>
                  <a:lnTo>
                    <a:pt x="258" y="289"/>
                  </a:lnTo>
                  <a:lnTo>
                    <a:pt x="256" y="289"/>
                  </a:lnTo>
                  <a:lnTo>
                    <a:pt x="254" y="290"/>
                  </a:lnTo>
                  <a:lnTo>
                    <a:pt x="252" y="290"/>
                  </a:lnTo>
                  <a:lnTo>
                    <a:pt x="252" y="291"/>
                  </a:lnTo>
                  <a:lnTo>
                    <a:pt x="256" y="291"/>
                  </a:lnTo>
                  <a:lnTo>
                    <a:pt x="256" y="292"/>
                  </a:lnTo>
                  <a:lnTo>
                    <a:pt x="253" y="293"/>
                  </a:lnTo>
                  <a:lnTo>
                    <a:pt x="253" y="296"/>
                  </a:lnTo>
                  <a:lnTo>
                    <a:pt x="254" y="297"/>
                  </a:lnTo>
                  <a:lnTo>
                    <a:pt x="256" y="297"/>
                  </a:lnTo>
                  <a:lnTo>
                    <a:pt x="257" y="295"/>
                  </a:lnTo>
                  <a:lnTo>
                    <a:pt x="257" y="297"/>
                  </a:lnTo>
                  <a:lnTo>
                    <a:pt x="258" y="292"/>
                  </a:lnTo>
                  <a:lnTo>
                    <a:pt x="260" y="291"/>
                  </a:lnTo>
                  <a:lnTo>
                    <a:pt x="259" y="293"/>
                  </a:lnTo>
                  <a:lnTo>
                    <a:pt x="260" y="293"/>
                  </a:lnTo>
                  <a:lnTo>
                    <a:pt x="260" y="291"/>
                  </a:lnTo>
                  <a:lnTo>
                    <a:pt x="263" y="291"/>
                  </a:lnTo>
                  <a:lnTo>
                    <a:pt x="264" y="290"/>
                  </a:lnTo>
                  <a:lnTo>
                    <a:pt x="264" y="291"/>
                  </a:lnTo>
                  <a:lnTo>
                    <a:pt x="264" y="292"/>
                  </a:lnTo>
                  <a:lnTo>
                    <a:pt x="264" y="293"/>
                  </a:lnTo>
                  <a:lnTo>
                    <a:pt x="264" y="296"/>
                  </a:lnTo>
                  <a:lnTo>
                    <a:pt x="264" y="298"/>
                  </a:lnTo>
                  <a:lnTo>
                    <a:pt x="265" y="301"/>
                  </a:lnTo>
                  <a:lnTo>
                    <a:pt x="266" y="302"/>
                  </a:lnTo>
                  <a:lnTo>
                    <a:pt x="268" y="298"/>
                  </a:lnTo>
                  <a:lnTo>
                    <a:pt x="266" y="295"/>
                  </a:lnTo>
                  <a:lnTo>
                    <a:pt x="268" y="295"/>
                  </a:lnTo>
                  <a:lnTo>
                    <a:pt x="269" y="295"/>
                  </a:lnTo>
                  <a:lnTo>
                    <a:pt x="269" y="301"/>
                  </a:lnTo>
                  <a:lnTo>
                    <a:pt x="270" y="301"/>
                  </a:lnTo>
                  <a:lnTo>
                    <a:pt x="273" y="297"/>
                  </a:lnTo>
                  <a:lnTo>
                    <a:pt x="273" y="295"/>
                  </a:lnTo>
                  <a:lnTo>
                    <a:pt x="275" y="293"/>
                  </a:lnTo>
                  <a:lnTo>
                    <a:pt x="275" y="295"/>
                  </a:lnTo>
                  <a:lnTo>
                    <a:pt x="276" y="295"/>
                  </a:lnTo>
                  <a:lnTo>
                    <a:pt x="277" y="293"/>
                  </a:lnTo>
                  <a:lnTo>
                    <a:pt x="279" y="295"/>
                  </a:lnTo>
                  <a:lnTo>
                    <a:pt x="280" y="293"/>
                  </a:lnTo>
                  <a:lnTo>
                    <a:pt x="279" y="292"/>
                  </a:lnTo>
                  <a:lnTo>
                    <a:pt x="279" y="289"/>
                  </a:lnTo>
                  <a:lnTo>
                    <a:pt x="279" y="287"/>
                  </a:lnTo>
                  <a:lnTo>
                    <a:pt x="280" y="287"/>
                  </a:lnTo>
                  <a:lnTo>
                    <a:pt x="282" y="291"/>
                  </a:lnTo>
                  <a:lnTo>
                    <a:pt x="283" y="292"/>
                  </a:lnTo>
                  <a:lnTo>
                    <a:pt x="285" y="292"/>
                  </a:lnTo>
                  <a:lnTo>
                    <a:pt x="285" y="290"/>
                  </a:lnTo>
                  <a:lnTo>
                    <a:pt x="285" y="289"/>
                  </a:lnTo>
                  <a:lnTo>
                    <a:pt x="285" y="285"/>
                  </a:lnTo>
                  <a:lnTo>
                    <a:pt x="285" y="284"/>
                  </a:lnTo>
                  <a:lnTo>
                    <a:pt x="286" y="284"/>
                  </a:lnTo>
                  <a:lnTo>
                    <a:pt x="287" y="285"/>
                  </a:lnTo>
                  <a:lnTo>
                    <a:pt x="287" y="286"/>
                  </a:lnTo>
                  <a:lnTo>
                    <a:pt x="287" y="287"/>
                  </a:lnTo>
                  <a:lnTo>
                    <a:pt x="287" y="289"/>
                  </a:lnTo>
                  <a:lnTo>
                    <a:pt x="288" y="291"/>
                  </a:lnTo>
                  <a:lnTo>
                    <a:pt x="289" y="289"/>
                  </a:lnTo>
                  <a:lnTo>
                    <a:pt x="289" y="285"/>
                  </a:lnTo>
                  <a:lnTo>
                    <a:pt x="289" y="284"/>
                  </a:lnTo>
                  <a:lnTo>
                    <a:pt x="289" y="283"/>
                  </a:lnTo>
                  <a:lnTo>
                    <a:pt x="289" y="281"/>
                  </a:lnTo>
                  <a:lnTo>
                    <a:pt x="288" y="280"/>
                  </a:lnTo>
                  <a:lnTo>
                    <a:pt x="288" y="279"/>
                  </a:lnTo>
                  <a:lnTo>
                    <a:pt x="291" y="279"/>
                  </a:lnTo>
                  <a:lnTo>
                    <a:pt x="292" y="279"/>
                  </a:lnTo>
                  <a:lnTo>
                    <a:pt x="292" y="280"/>
                  </a:lnTo>
                  <a:lnTo>
                    <a:pt x="291" y="283"/>
                  </a:lnTo>
                  <a:lnTo>
                    <a:pt x="291" y="285"/>
                  </a:lnTo>
                  <a:lnTo>
                    <a:pt x="292" y="286"/>
                  </a:lnTo>
                  <a:lnTo>
                    <a:pt x="292" y="287"/>
                  </a:lnTo>
                  <a:lnTo>
                    <a:pt x="292" y="289"/>
                  </a:lnTo>
                  <a:lnTo>
                    <a:pt x="289" y="290"/>
                  </a:lnTo>
                  <a:lnTo>
                    <a:pt x="288" y="291"/>
                  </a:lnTo>
                  <a:lnTo>
                    <a:pt x="286" y="293"/>
                  </a:lnTo>
                  <a:lnTo>
                    <a:pt x="283" y="296"/>
                  </a:lnTo>
                  <a:lnTo>
                    <a:pt x="281" y="297"/>
                  </a:lnTo>
                  <a:lnTo>
                    <a:pt x="280" y="299"/>
                  </a:lnTo>
                  <a:lnTo>
                    <a:pt x="279" y="299"/>
                  </a:lnTo>
                  <a:lnTo>
                    <a:pt x="277" y="297"/>
                  </a:lnTo>
                  <a:lnTo>
                    <a:pt x="276" y="299"/>
                  </a:lnTo>
                  <a:lnTo>
                    <a:pt x="277" y="299"/>
                  </a:lnTo>
                  <a:lnTo>
                    <a:pt x="274" y="302"/>
                  </a:lnTo>
                  <a:lnTo>
                    <a:pt x="271" y="304"/>
                  </a:lnTo>
                  <a:lnTo>
                    <a:pt x="269" y="304"/>
                  </a:lnTo>
                  <a:lnTo>
                    <a:pt x="266" y="303"/>
                  </a:lnTo>
                  <a:lnTo>
                    <a:pt x="265" y="303"/>
                  </a:lnTo>
                  <a:lnTo>
                    <a:pt x="263" y="302"/>
                  </a:lnTo>
                  <a:lnTo>
                    <a:pt x="262" y="303"/>
                  </a:lnTo>
                  <a:lnTo>
                    <a:pt x="260" y="303"/>
                  </a:lnTo>
                  <a:lnTo>
                    <a:pt x="256" y="301"/>
                  </a:lnTo>
                  <a:lnTo>
                    <a:pt x="254" y="299"/>
                  </a:lnTo>
                  <a:lnTo>
                    <a:pt x="252" y="297"/>
                  </a:lnTo>
                  <a:lnTo>
                    <a:pt x="251" y="296"/>
                  </a:lnTo>
                  <a:lnTo>
                    <a:pt x="247" y="293"/>
                  </a:lnTo>
                  <a:lnTo>
                    <a:pt x="246" y="290"/>
                  </a:lnTo>
                  <a:lnTo>
                    <a:pt x="247" y="289"/>
                  </a:lnTo>
                  <a:lnTo>
                    <a:pt x="247" y="287"/>
                  </a:lnTo>
                  <a:lnTo>
                    <a:pt x="245" y="290"/>
                  </a:lnTo>
                  <a:lnTo>
                    <a:pt x="244" y="289"/>
                  </a:lnTo>
                  <a:lnTo>
                    <a:pt x="248" y="284"/>
                  </a:lnTo>
                  <a:lnTo>
                    <a:pt x="247" y="283"/>
                  </a:lnTo>
                  <a:lnTo>
                    <a:pt x="245" y="284"/>
                  </a:lnTo>
                  <a:lnTo>
                    <a:pt x="242" y="283"/>
                  </a:lnTo>
                  <a:lnTo>
                    <a:pt x="244" y="285"/>
                  </a:lnTo>
                  <a:lnTo>
                    <a:pt x="242" y="286"/>
                  </a:lnTo>
                  <a:lnTo>
                    <a:pt x="233" y="277"/>
                  </a:lnTo>
                  <a:lnTo>
                    <a:pt x="232" y="277"/>
                  </a:lnTo>
                  <a:lnTo>
                    <a:pt x="234" y="280"/>
                  </a:lnTo>
                  <a:lnTo>
                    <a:pt x="233" y="280"/>
                  </a:lnTo>
                  <a:lnTo>
                    <a:pt x="227" y="279"/>
                  </a:lnTo>
                  <a:lnTo>
                    <a:pt x="227" y="280"/>
                  </a:lnTo>
                  <a:lnTo>
                    <a:pt x="232" y="283"/>
                  </a:lnTo>
                  <a:lnTo>
                    <a:pt x="230" y="283"/>
                  </a:lnTo>
                  <a:lnTo>
                    <a:pt x="234" y="284"/>
                  </a:lnTo>
                  <a:lnTo>
                    <a:pt x="232" y="286"/>
                  </a:lnTo>
                  <a:lnTo>
                    <a:pt x="234" y="285"/>
                  </a:lnTo>
                  <a:lnTo>
                    <a:pt x="235" y="285"/>
                  </a:lnTo>
                  <a:lnTo>
                    <a:pt x="239" y="286"/>
                  </a:lnTo>
                  <a:lnTo>
                    <a:pt x="239" y="287"/>
                  </a:lnTo>
                  <a:lnTo>
                    <a:pt x="233" y="291"/>
                  </a:lnTo>
                  <a:lnTo>
                    <a:pt x="234" y="291"/>
                  </a:lnTo>
                  <a:lnTo>
                    <a:pt x="239" y="290"/>
                  </a:lnTo>
                  <a:lnTo>
                    <a:pt x="239" y="291"/>
                  </a:lnTo>
                  <a:lnTo>
                    <a:pt x="239" y="292"/>
                  </a:lnTo>
                  <a:lnTo>
                    <a:pt x="241" y="292"/>
                  </a:lnTo>
                  <a:lnTo>
                    <a:pt x="244" y="292"/>
                  </a:lnTo>
                  <a:lnTo>
                    <a:pt x="242" y="295"/>
                  </a:lnTo>
                  <a:lnTo>
                    <a:pt x="245" y="295"/>
                  </a:lnTo>
                  <a:lnTo>
                    <a:pt x="239" y="301"/>
                  </a:lnTo>
                  <a:lnTo>
                    <a:pt x="245" y="297"/>
                  </a:lnTo>
                  <a:lnTo>
                    <a:pt x="247" y="296"/>
                  </a:lnTo>
                  <a:lnTo>
                    <a:pt x="247" y="297"/>
                  </a:lnTo>
                  <a:lnTo>
                    <a:pt x="244" y="299"/>
                  </a:lnTo>
                  <a:lnTo>
                    <a:pt x="241" y="301"/>
                  </a:lnTo>
                  <a:lnTo>
                    <a:pt x="239" y="302"/>
                  </a:lnTo>
                  <a:lnTo>
                    <a:pt x="242" y="305"/>
                  </a:lnTo>
                  <a:lnTo>
                    <a:pt x="239" y="307"/>
                  </a:lnTo>
                  <a:lnTo>
                    <a:pt x="239" y="309"/>
                  </a:lnTo>
                  <a:lnTo>
                    <a:pt x="241" y="310"/>
                  </a:lnTo>
                  <a:lnTo>
                    <a:pt x="239" y="314"/>
                  </a:lnTo>
                  <a:lnTo>
                    <a:pt x="242" y="316"/>
                  </a:lnTo>
                  <a:lnTo>
                    <a:pt x="245" y="315"/>
                  </a:lnTo>
                  <a:lnTo>
                    <a:pt x="245" y="314"/>
                  </a:lnTo>
                  <a:lnTo>
                    <a:pt x="246" y="311"/>
                  </a:lnTo>
                  <a:lnTo>
                    <a:pt x="246" y="309"/>
                  </a:lnTo>
                  <a:lnTo>
                    <a:pt x="246" y="308"/>
                  </a:lnTo>
                  <a:lnTo>
                    <a:pt x="247" y="308"/>
                  </a:lnTo>
                  <a:lnTo>
                    <a:pt x="247" y="309"/>
                  </a:lnTo>
                  <a:lnTo>
                    <a:pt x="247" y="311"/>
                  </a:lnTo>
                  <a:lnTo>
                    <a:pt x="248" y="314"/>
                  </a:lnTo>
                  <a:lnTo>
                    <a:pt x="251" y="315"/>
                  </a:lnTo>
                  <a:lnTo>
                    <a:pt x="250" y="317"/>
                  </a:lnTo>
                  <a:lnTo>
                    <a:pt x="248" y="317"/>
                  </a:lnTo>
                  <a:lnTo>
                    <a:pt x="247" y="315"/>
                  </a:lnTo>
                  <a:lnTo>
                    <a:pt x="246" y="317"/>
                  </a:lnTo>
                  <a:lnTo>
                    <a:pt x="245" y="320"/>
                  </a:lnTo>
                  <a:lnTo>
                    <a:pt x="244" y="320"/>
                  </a:lnTo>
                  <a:lnTo>
                    <a:pt x="239" y="317"/>
                  </a:lnTo>
                  <a:lnTo>
                    <a:pt x="239" y="319"/>
                  </a:lnTo>
                  <a:lnTo>
                    <a:pt x="234" y="322"/>
                  </a:lnTo>
                  <a:lnTo>
                    <a:pt x="236" y="322"/>
                  </a:lnTo>
                  <a:lnTo>
                    <a:pt x="239" y="322"/>
                  </a:lnTo>
                  <a:lnTo>
                    <a:pt x="242" y="321"/>
                  </a:lnTo>
                  <a:lnTo>
                    <a:pt x="242" y="323"/>
                  </a:lnTo>
                  <a:lnTo>
                    <a:pt x="239" y="325"/>
                  </a:lnTo>
                  <a:lnTo>
                    <a:pt x="239" y="326"/>
                  </a:lnTo>
                  <a:lnTo>
                    <a:pt x="242" y="326"/>
                  </a:lnTo>
                  <a:lnTo>
                    <a:pt x="244" y="327"/>
                  </a:lnTo>
                  <a:lnTo>
                    <a:pt x="245" y="325"/>
                  </a:lnTo>
                  <a:lnTo>
                    <a:pt x="247" y="325"/>
                  </a:lnTo>
                  <a:lnTo>
                    <a:pt x="245" y="329"/>
                  </a:lnTo>
                  <a:lnTo>
                    <a:pt x="246" y="331"/>
                  </a:lnTo>
                  <a:lnTo>
                    <a:pt x="248" y="328"/>
                  </a:lnTo>
                  <a:lnTo>
                    <a:pt x="250" y="328"/>
                  </a:lnTo>
                  <a:lnTo>
                    <a:pt x="251" y="327"/>
                  </a:lnTo>
                  <a:lnTo>
                    <a:pt x="252" y="327"/>
                  </a:lnTo>
                  <a:lnTo>
                    <a:pt x="252" y="329"/>
                  </a:lnTo>
                  <a:lnTo>
                    <a:pt x="253" y="329"/>
                  </a:lnTo>
                  <a:lnTo>
                    <a:pt x="253" y="326"/>
                  </a:lnTo>
                  <a:lnTo>
                    <a:pt x="254" y="326"/>
                  </a:lnTo>
                  <a:lnTo>
                    <a:pt x="254" y="329"/>
                  </a:lnTo>
                  <a:lnTo>
                    <a:pt x="256" y="329"/>
                  </a:lnTo>
                  <a:lnTo>
                    <a:pt x="257" y="332"/>
                  </a:lnTo>
                  <a:lnTo>
                    <a:pt x="257" y="334"/>
                  </a:lnTo>
                  <a:lnTo>
                    <a:pt x="253" y="334"/>
                  </a:lnTo>
                  <a:lnTo>
                    <a:pt x="253" y="337"/>
                  </a:lnTo>
                  <a:lnTo>
                    <a:pt x="256" y="337"/>
                  </a:lnTo>
                  <a:lnTo>
                    <a:pt x="256" y="338"/>
                  </a:lnTo>
                  <a:lnTo>
                    <a:pt x="248" y="338"/>
                  </a:lnTo>
                  <a:lnTo>
                    <a:pt x="250" y="340"/>
                  </a:lnTo>
                  <a:lnTo>
                    <a:pt x="248" y="341"/>
                  </a:lnTo>
                  <a:lnTo>
                    <a:pt x="247" y="341"/>
                  </a:lnTo>
                  <a:lnTo>
                    <a:pt x="246" y="340"/>
                  </a:lnTo>
                  <a:lnTo>
                    <a:pt x="245" y="340"/>
                  </a:lnTo>
                  <a:lnTo>
                    <a:pt x="245" y="345"/>
                  </a:lnTo>
                  <a:lnTo>
                    <a:pt x="239" y="350"/>
                  </a:lnTo>
                  <a:lnTo>
                    <a:pt x="239" y="347"/>
                  </a:lnTo>
                  <a:lnTo>
                    <a:pt x="235" y="347"/>
                  </a:lnTo>
                  <a:lnTo>
                    <a:pt x="236" y="350"/>
                  </a:lnTo>
                  <a:lnTo>
                    <a:pt x="234" y="349"/>
                  </a:lnTo>
                  <a:lnTo>
                    <a:pt x="232" y="347"/>
                  </a:lnTo>
                  <a:lnTo>
                    <a:pt x="230" y="347"/>
                  </a:lnTo>
                  <a:lnTo>
                    <a:pt x="228" y="350"/>
                  </a:lnTo>
                  <a:lnTo>
                    <a:pt x="232" y="350"/>
                  </a:lnTo>
                  <a:lnTo>
                    <a:pt x="232" y="353"/>
                  </a:lnTo>
                  <a:lnTo>
                    <a:pt x="230" y="355"/>
                  </a:lnTo>
                  <a:lnTo>
                    <a:pt x="232" y="355"/>
                  </a:lnTo>
                  <a:lnTo>
                    <a:pt x="233" y="352"/>
                  </a:lnTo>
                  <a:lnTo>
                    <a:pt x="234" y="351"/>
                  </a:lnTo>
                  <a:lnTo>
                    <a:pt x="235" y="351"/>
                  </a:lnTo>
                  <a:lnTo>
                    <a:pt x="233" y="355"/>
                  </a:lnTo>
                  <a:lnTo>
                    <a:pt x="234" y="355"/>
                  </a:lnTo>
                  <a:lnTo>
                    <a:pt x="235" y="353"/>
                  </a:lnTo>
                  <a:lnTo>
                    <a:pt x="239" y="355"/>
                  </a:lnTo>
                  <a:lnTo>
                    <a:pt x="235" y="356"/>
                  </a:lnTo>
                  <a:lnTo>
                    <a:pt x="234" y="358"/>
                  </a:lnTo>
                  <a:lnTo>
                    <a:pt x="235" y="359"/>
                  </a:lnTo>
                  <a:lnTo>
                    <a:pt x="235" y="362"/>
                  </a:lnTo>
                  <a:lnTo>
                    <a:pt x="235" y="364"/>
                  </a:lnTo>
                  <a:lnTo>
                    <a:pt x="233" y="367"/>
                  </a:lnTo>
                  <a:lnTo>
                    <a:pt x="233" y="368"/>
                  </a:lnTo>
                  <a:lnTo>
                    <a:pt x="232" y="368"/>
                  </a:lnTo>
                  <a:lnTo>
                    <a:pt x="229" y="368"/>
                  </a:lnTo>
                  <a:lnTo>
                    <a:pt x="228" y="370"/>
                  </a:lnTo>
                  <a:lnTo>
                    <a:pt x="226" y="373"/>
                  </a:lnTo>
                  <a:lnTo>
                    <a:pt x="222" y="370"/>
                  </a:lnTo>
                  <a:lnTo>
                    <a:pt x="224" y="374"/>
                  </a:lnTo>
                  <a:lnTo>
                    <a:pt x="217" y="381"/>
                  </a:lnTo>
                  <a:lnTo>
                    <a:pt x="217" y="384"/>
                  </a:lnTo>
                  <a:lnTo>
                    <a:pt x="216" y="384"/>
                  </a:lnTo>
                  <a:lnTo>
                    <a:pt x="211" y="388"/>
                  </a:lnTo>
                  <a:lnTo>
                    <a:pt x="209" y="390"/>
                  </a:lnTo>
                  <a:lnTo>
                    <a:pt x="205" y="391"/>
                  </a:lnTo>
                  <a:lnTo>
                    <a:pt x="206" y="392"/>
                  </a:lnTo>
                  <a:lnTo>
                    <a:pt x="205" y="393"/>
                  </a:lnTo>
                  <a:lnTo>
                    <a:pt x="206" y="393"/>
                  </a:lnTo>
                  <a:lnTo>
                    <a:pt x="200" y="397"/>
                  </a:lnTo>
                  <a:lnTo>
                    <a:pt x="201" y="398"/>
                  </a:lnTo>
                  <a:lnTo>
                    <a:pt x="209" y="396"/>
                  </a:lnTo>
                  <a:lnTo>
                    <a:pt x="210" y="396"/>
                  </a:lnTo>
                  <a:lnTo>
                    <a:pt x="201" y="403"/>
                  </a:lnTo>
                  <a:lnTo>
                    <a:pt x="199" y="402"/>
                  </a:lnTo>
                  <a:lnTo>
                    <a:pt x="199" y="405"/>
                  </a:lnTo>
                  <a:lnTo>
                    <a:pt x="194" y="406"/>
                  </a:lnTo>
                  <a:lnTo>
                    <a:pt x="198" y="408"/>
                  </a:lnTo>
                  <a:lnTo>
                    <a:pt x="197" y="409"/>
                  </a:lnTo>
                  <a:lnTo>
                    <a:pt x="191" y="409"/>
                  </a:lnTo>
                  <a:lnTo>
                    <a:pt x="187" y="414"/>
                  </a:lnTo>
                  <a:lnTo>
                    <a:pt x="185" y="415"/>
                  </a:lnTo>
                  <a:lnTo>
                    <a:pt x="187" y="415"/>
                  </a:lnTo>
                  <a:lnTo>
                    <a:pt x="182" y="421"/>
                  </a:lnTo>
                  <a:lnTo>
                    <a:pt x="182" y="422"/>
                  </a:lnTo>
                  <a:lnTo>
                    <a:pt x="187" y="417"/>
                  </a:lnTo>
                  <a:lnTo>
                    <a:pt x="188" y="418"/>
                  </a:lnTo>
                  <a:lnTo>
                    <a:pt x="191" y="420"/>
                  </a:lnTo>
                  <a:lnTo>
                    <a:pt x="191" y="418"/>
                  </a:lnTo>
                  <a:lnTo>
                    <a:pt x="191" y="421"/>
                  </a:lnTo>
                  <a:lnTo>
                    <a:pt x="193" y="421"/>
                  </a:lnTo>
                  <a:lnTo>
                    <a:pt x="193" y="417"/>
                  </a:lnTo>
                  <a:lnTo>
                    <a:pt x="192" y="416"/>
                  </a:lnTo>
                  <a:lnTo>
                    <a:pt x="193" y="416"/>
                  </a:lnTo>
                  <a:lnTo>
                    <a:pt x="194" y="415"/>
                  </a:lnTo>
                  <a:lnTo>
                    <a:pt x="194" y="412"/>
                  </a:lnTo>
                  <a:lnTo>
                    <a:pt x="197" y="412"/>
                  </a:lnTo>
                  <a:lnTo>
                    <a:pt x="197" y="415"/>
                  </a:lnTo>
                  <a:lnTo>
                    <a:pt x="198" y="410"/>
                  </a:lnTo>
                  <a:lnTo>
                    <a:pt x="199" y="410"/>
                  </a:lnTo>
                  <a:lnTo>
                    <a:pt x="199" y="421"/>
                  </a:lnTo>
                  <a:lnTo>
                    <a:pt x="200" y="422"/>
                  </a:lnTo>
                  <a:lnTo>
                    <a:pt x="201" y="418"/>
                  </a:lnTo>
                  <a:lnTo>
                    <a:pt x="204" y="418"/>
                  </a:lnTo>
                  <a:lnTo>
                    <a:pt x="204" y="422"/>
                  </a:lnTo>
                  <a:lnTo>
                    <a:pt x="205" y="421"/>
                  </a:lnTo>
                  <a:lnTo>
                    <a:pt x="207" y="421"/>
                  </a:lnTo>
                  <a:lnTo>
                    <a:pt x="207" y="417"/>
                  </a:lnTo>
                  <a:lnTo>
                    <a:pt x="207" y="415"/>
                  </a:lnTo>
                  <a:lnTo>
                    <a:pt x="207" y="412"/>
                  </a:lnTo>
                  <a:lnTo>
                    <a:pt x="209" y="412"/>
                  </a:lnTo>
                  <a:lnTo>
                    <a:pt x="210" y="412"/>
                  </a:lnTo>
                  <a:lnTo>
                    <a:pt x="211" y="406"/>
                  </a:lnTo>
                  <a:lnTo>
                    <a:pt x="214" y="406"/>
                  </a:lnTo>
                  <a:lnTo>
                    <a:pt x="215" y="406"/>
                  </a:lnTo>
                  <a:lnTo>
                    <a:pt x="216" y="409"/>
                  </a:lnTo>
                  <a:lnTo>
                    <a:pt x="217" y="411"/>
                  </a:lnTo>
                  <a:lnTo>
                    <a:pt x="218" y="410"/>
                  </a:lnTo>
                  <a:lnTo>
                    <a:pt x="218" y="408"/>
                  </a:lnTo>
                  <a:lnTo>
                    <a:pt x="218" y="404"/>
                  </a:lnTo>
                  <a:lnTo>
                    <a:pt x="220" y="403"/>
                  </a:lnTo>
                  <a:lnTo>
                    <a:pt x="221" y="405"/>
                  </a:lnTo>
                  <a:lnTo>
                    <a:pt x="222" y="405"/>
                  </a:lnTo>
                  <a:lnTo>
                    <a:pt x="222" y="404"/>
                  </a:lnTo>
                  <a:lnTo>
                    <a:pt x="224" y="404"/>
                  </a:lnTo>
                  <a:lnTo>
                    <a:pt x="224" y="405"/>
                  </a:lnTo>
                  <a:lnTo>
                    <a:pt x="223" y="409"/>
                  </a:lnTo>
                  <a:lnTo>
                    <a:pt x="220" y="412"/>
                  </a:lnTo>
                  <a:lnTo>
                    <a:pt x="215" y="414"/>
                  </a:lnTo>
                  <a:lnTo>
                    <a:pt x="218" y="415"/>
                  </a:lnTo>
                  <a:lnTo>
                    <a:pt x="215" y="420"/>
                  </a:lnTo>
                  <a:lnTo>
                    <a:pt x="212" y="421"/>
                  </a:lnTo>
                  <a:lnTo>
                    <a:pt x="210" y="426"/>
                  </a:lnTo>
                  <a:lnTo>
                    <a:pt x="204" y="429"/>
                  </a:lnTo>
                  <a:lnTo>
                    <a:pt x="204" y="430"/>
                  </a:lnTo>
                  <a:lnTo>
                    <a:pt x="199" y="435"/>
                  </a:lnTo>
                  <a:lnTo>
                    <a:pt x="199" y="436"/>
                  </a:lnTo>
                  <a:lnTo>
                    <a:pt x="203" y="434"/>
                  </a:lnTo>
                  <a:lnTo>
                    <a:pt x="203" y="435"/>
                  </a:lnTo>
                  <a:lnTo>
                    <a:pt x="198" y="440"/>
                  </a:lnTo>
                  <a:lnTo>
                    <a:pt x="204" y="436"/>
                  </a:lnTo>
                  <a:lnTo>
                    <a:pt x="205" y="436"/>
                  </a:lnTo>
                  <a:lnTo>
                    <a:pt x="206" y="440"/>
                  </a:lnTo>
                  <a:lnTo>
                    <a:pt x="205" y="434"/>
                  </a:lnTo>
                  <a:lnTo>
                    <a:pt x="206" y="433"/>
                  </a:lnTo>
                  <a:lnTo>
                    <a:pt x="210" y="436"/>
                  </a:lnTo>
                  <a:lnTo>
                    <a:pt x="209" y="432"/>
                  </a:lnTo>
                  <a:lnTo>
                    <a:pt x="210" y="430"/>
                  </a:lnTo>
                  <a:lnTo>
                    <a:pt x="211" y="433"/>
                  </a:lnTo>
                  <a:lnTo>
                    <a:pt x="212" y="436"/>
                  </a:lnTo>
                  <a:lnTo>
                    <a:pt x="214" y="427"/>
                  </a:lnTo>
                  <a:lnTo>
                    <a:pt x="215" y="436"/>
                  </a:lnTo>
                  <a:lnTo>
                    <a:pt x="215" y="439"/>
                  </a:lnTo>
                  <a:lnTo>
                    <a:pt x="216" y="439"/>
                  </a:lnTo>
                  <a:lnTo>
                    <a:pt x="217" y="436"/>
                  </a:lnTo>
                  <a:lnTo>
                    <a:pt x="216" y="429"/>
                  </a:lnTo>
                  <a:lnTo>
                    <a:pt x="218" y="432"/>
                  </a:lnTo>
                  <a:lnTo>
                    <a:pt x="220" y="430"/>
                  </a:lnTo>
                  <a:lnTo>
                    <a:pt x="217" y="421"/>
                  </a:lnTo>
                  <a:lnTo>
                    <a:pt x="218" y="418"/>
                  </a:lnTo>
                  <a:lnTo>
                    <a:pt x="218" y="423"/>
                  </a:lnTo>
                  <a:lnTo>
                    <a:pt x="220" y="428"/>
                  </a:lnTo>
                  <a:lnTo>
                    <a:pt x="222" y="428"/>
                  </a:lnTo>
                  <a:lnTo>
                    <a:pt x="220" y="418"/>
                  </a:lnTo>
                  <a:lnTo>
                    <a:pt x="221" y="417"/>
                  </a:lnTo>
                  <a:lnTo>
                    <a:pt x="222" y="422"/>
                  </a:lnTo>
                  <a:lnTo>
                    <a:pt x="222" y="424"/>
                  </a:lnTo>
                  <a:lnTo>
                    <a:pt x="223" y="424"/>
                  </a:lnTo>
                  <a:lnTo>
                    <a:pt x="222" y="414"/>
                  </a:lnTo>
                  <a:lnTo>
                    <a:pt x="223" y="412"/>
                  </a:lnTo>
                  <a:lnTo>
                    <a:pt x="223" y="422"/>
                  </a:lnTo>
                  <a:lnTo>
                    <a:pt x="223" y="424"/>
                  </a:lnTo>
                  <a:lnTo>
                    <a:pt x="224" y="426"/>
                  </a:lnTo>
                  <a:lnTo>
                    <a:pt x="227" y="427"/>
                  </a:lnTo>
                  <a:lnTo>
                    <a:pt x="229" y="426"/>
                  </a:lnTo>
                  <a:lnTo>
                    <a:pt x="229" y="418"/>
                  </a:lnTo>
                  <a:lnTo>
                    <a:pt x="229" y="417"/>
                  </a:lnTo>
                  <a:lnTo>
                    <a:pt x="232" y="416"/>
                  </a:lnTo>
                  <a:lnTo>
                    <a:pt x="234" y="417"/>
                  </a:lnTo>
                  <a:lnTo>
                    <a:pt x="234" y="414"/>
                  </a:lnTo>
                  <a:lnTo>
                    <a:pt x="233" y="410"/>
                  </a:lnTo>
                  <a:lnTo>
                    <a:pt x="234" y="409"/>
                  </a:lnTo>
                  <a:lnTo>
                    <a:pt x="234" y="410"/>
                  </a:lnTo>
                  <a:lnTo>
                    <a:pt x="235" y="412"/>
                  </a:lnTo>
                  <a:lnTo>
                    <a:pt x="236" y="416"/>
                  </a:lnTo>
                  <a:lnTo>
                    <a:pt x="239" y="416"/>
                  </a:lnTo>
                  <a:lnTo>
                    <a:pt x="239" y="412"/>
                  </a:lnTo>
                  <a:lnTo>
                    <a:pt x="242" y="412"/>
                  </a:lnTo>
                  <a:lnTo>
                    <a:pt x="244" y="414"/>
                  </a:lnTo>
                  <a:lnTo>
                    <a:pt x="244" y="416"/>
                  </a:lnTo>
                  <a:lnTo>
                    <a:pt x="241" y="418"/>
                  </a:lnTo>
                  <a:lnTo>
                    <a:pt x="239" y="422"/>
                  </a:lnTo>
                  <a:lnTo>
                    <a:pt x="241" y="421"/>
                  </a:lnTo>
                  <a:lnTo>
                    <a:pt x="239" y="423"/>
                  </a:lnTo>
                  <a:lnTo>
                    <a:pt x="239" y="426"/>
                  </a:lnTo>
                  <a:lnTo>
                    <a:pt x="234" y="430"/>
                  </a:lnTo>
                  <a:lnTo>
                    <a:pt x="232" y="433"/>
                  </a:lnTo>
                  <a:lnTo>
                    <a:pt x="228" y="433"/>
                  </a:lnTo>
                  <a:lnTo>
                    <a:pt x="230" y="434"/>
                  </a:lnTo>
                  <a:lnTo>
                    <a:pt x="230" y="435"/>
                  </a:lnTo>
                  <a:lnTo>
                    <a:pt x="224" y="436"/>
                  </a:lnTo>
                  <a:lnTo>
                    <a:pt x="223" y="438"/>
                  </a:lnTo>
                  <a:lnTo>
                    <a:pt x="224" y="438"/>
                  </a:lnTo>
                  <a:lnTo>
                    <a:pt x="226" y="438"/>
                  </a:lnTo>
                  <a:lnTo>
                    <a:pt x="226" y="439"/>
                  </a:lnTo>
                  <a:lnTo>
                    <a:pt x="224" y="439"/>
                  </a:lnTo>
                  <a:lnTo>
                    <a:pt x="224" y="440"/>
                  </a:lnTo>
                  <a:lnTo>
                    <a:pt x="222" y="442"/>
                  </a:lnTo>
                  <a:lnTo>
                    <a:pt x="222" y="444"/>
                  </a:lnTo>
                  <a:lnTo>
                    <a:pt x="221" y="444"/>
                  </a:lnTo>
                  <a:lnTo>
                    <a:pt x="220" y="444"/>
                  </a:lnTo>
                  <a:lnTo>
                    <a:pt x="218" y="441"/>
                  </a:lnTo>
                  <a:lnTo>
                    <a:pt x="217" y="440"/>
                  </a:lnTo>
                  <a:lnTo>
                    <a:pt x="217" y="441"/>
                  </a:lnTo>
                  <a:lnTo>
                    <a:pt x="217" y="444"/>
                  </a:lnTo>
                  <a:lnTo>
                    <a:pt x="212" y="442"/>
                  </a:lnTo>
                  <a:lnTo>
                    <a:pt x="211" y="442"/>
                  </a:lnTo>
                  <a:lnTo>
                    <a:pt x="211" y="444"/>
                  </a:lnTo>
                  <a:lnTo>
                    <a:pt x="215" y="445"/>
                  </a:lnTo>
                  <a:lnTo>
                    <a:pt x="216" y="445"/>
                  </a:lnTo>
                  <a:lnTo>
                    <a:pt x="215" y="446"/>
                  </a:lnTo>
                  <a:lnTo>
                    <a:pt x="211" y="448"/>
                  </a:lnTo>
                  <a:lnTo>
                    <a:pt x="215" y="450"/>
                  </a:lnTo>
                  <a:lnTo>
                    <a:pt x="214" y="451"/>
                  </a:lnTo>
                  <a:lnTo>
                    <a:pt x="212" y="452"/>
                  </a:lnTo>
                  <a:lnTo>
                    <a:pt x="211" y="452"/>
                  </a:lnTo>
                  <a:lnTo>
                    <a:pt x="210" y="452"/>
                  </a:lnTo>
                  <a:lnTo>
                    <a:pt x="209" y="451"/>
                  </a:lnTo>
                  <a:lnTo>
                    <a:pt x="209" y="452"/>
                  </a:lnTo>
                  <a:lnTo>
                    <a:pt x="209" y="453"/>
                  </a:lnTo>
                  <a:lnTo>
                    <a:pt x="210" y="453"/>
                  </a:lnTo>
                  <a:lnTo>
                    <a:pt x="209" y="454"/>
                  </a:lnTo>
                  <a:lnTo>
                    <a:pt x="207" y="454"/>
                  </a:lnTo>
                  <a:lnTo>
                    <a:pt x="204" y="453"/>
                  </a:lnTo>
                  <a:lnTo>
                    <a:pt x="203" y="453"/>
                  </a:lnTo>
                  <a:lnTo>
                    <a:pt x="203" y="454"/>
                  </a:lnTo>
                  <a:lnTo>
                    <a:pt x="206" y="456"/>
                  </a:lnTo>
                  <a:lnTo>
                    <a:pt x="207" y="456"/>
                  </a:lnTo>
                  <a:lnTo>
                    <a:pt x="206" y="457"/>
                  </a:lnTo>
                  <a:lnTo>
                    <a:pt x="203" y="460"/>
                  </a:lnTo>
                  <a:lnTo>
                    <a:pt x="209" y="457"/>
                  </a:lnTo>
                  <a:lnTo>
                    <a:pt x="210" y="457"/>
                  </a:lnTo>
                  <a:lnTo>
                    <a:pt x="210" y="458"/>
                  </a:lnTo>
                  <a:lnTo>
                    <a:pt x="210" y="462"/>
                  </a:lnTo>
                  <a:lnTo>
                    <a:pt x="209" y="463"/>
                  </a:lnTo>
                  <a:lnTo>
                    <a:pt x="205" y="463"/>
                  </a:lnTo>
                  <a:lnTo>
                    <a:pt x="203" y="463"/>
                  </a:lnTo>
                  <a:lnTo>
                    <a:pt x="199" y="464"/>
                  </a:lnTo>
                  <a:lnTo>
                    <a:pt x="197" y="464"/>
                  </a:lnTo>
                  <a:lnTo>
                    <a:pt x="194" y="464"/>
                  </a:lnTo>
                  <a:lnTo>
                    <a:pt x="193" y="465"/>
                  </a:lnTo>
                  <a:lnTo>
                    <a:pt x="199" y="465"/>
                  </a:lnTo>
                  <a:lnTo>
                    <a:pt x="199" y="466"/>
                  </a:lnTo>
                  <a:lnTo>
                    <a:pt x="195" y="468"/>
                  </a:lnTo>
                  <a:lnTo>
                    <a:pt x="194" y="468"/>
                  </a:lnTo>
                  <a:lnTo>
                    <a:pt x="199" y="469"/>
                  </a:lnTo>
                  <a:lnTo>
                    <a:pt x="200" y="469"/>
                  </a:lnTo>
                  <a:lnTo>
                    <a:pt x="201" y="470"/>
                  </a:lnTo>
                  <a:lnTo>
                    <a:pt x="201" y="472"/>
                  </a:lnTo>
                  <a:lnTo>
                    <a:pt x="201" y="474"/>
                  </a:lnTo>
                  <a:lnTo>
                    <a:pt x="203" y="474"/>
                  </a:lnTo>
                  <a:lnTo>
                    <a:pt x="203" y="472"/>
                  </a:lnTo>
                  <a:lnTo>
                    <a:pt x="203" y="468"/>
                  </a:lnTo>
                  <a:lnTo>
                    <a:pt x="201" y="468"/>
                  </a:lnTo>
                  <a:lnTo>
                    <a:pt x="203" y="466"/>
                  </a:lnTo>
                  <a:lnTo>
                    <a:pt x="204" y="466"/>
                  </a:lnTo>
                  <a:lnTo>
                    <a:pt x="204" y="471"/>
                  </a:lnTo>
                  <a:lnTo>
                    <a:pt x="205" y="469"/>
                  </a:lnTo>
                  <a:lnTo>
                    <a:pt x="206" y="468"/>
                  </a:lnTo>
                  <a:lnTo>
                    <a:pt x="206" y="466"/>
                  </a:lnTo>
                  <a:lnTo>
                    <a:pt x="207" y="465"/>
                  </a:lnTo>
                  <a:lnTo>
                    <a:pt x="207" y="470"/>
                  </a:lnTo>
                  <a:lnTo>
                    <a:pt x="209" y="470"/>
                  </a:lnTo>
                  <a:lnTo>
                    <a:pt x="209" y="471"/>
                  </a:lnTo>
                  <a:lnTo>
                    <a:pt x="206" y="471"/>
                  </a:lnTo>
                  <a:lnTo>
                    <a:pt x="205" y="474"/>
                  </a:lnTo>
                  <a:lnTo>
                    <a:pt x="205" y="475"/>
                  </a:lnTo>
                  <a:lnTo>
                    <a:pt x="206" y="476"/>
                  </a:lnTo>
                  <a:lnTo>
                    <a:pt x="203" y="476"/>
                  </a:lnTo>
                  <a:lnTo>
                    <a:pt x="201" y="476"/>
                  </a:lnTo>
                  <a:lnTo>
                    <a:pt x="199" y="475"/>
                  </a:lnTo>
                  <a:lnTo>
                    <a:pt x="198" y="475"/>
                  </a:lnTo>
                  <a:lnTo>
                    <a:pt x="197" y="476"/>
                  </a:lnTo>
                  <a:lnTo>
                    <a:pt x="193" y="471"/>
                  </a:lnTo>
                  <a:lnTo>
                    <a:pt x="192" y="472"/>
                  </a:lnTo>
                  <a:lnTo>
                    <a:pt x="194" y="476"/>
                  </a:lnTo>
                  <a:lnTo>
                    <a:pt x="192" y="476"/>
                  </a:lnTo>
                  <a:lnTo>
                    <a:pt x="191" y="474"/>
                  </a:lnTo>
                  <a:lnTo>
                    <a:pt x="189" y="474"/>
                  </a:lnTo>
                  <a:lnTo>
                    <a:pt x="188" y="475"/>
                  </a:lnTo>
                  <a:lnTo>
                    <a:pt x="188" y="476"/>
                  </a:lnTo>
                  <a:lnTo>
                    <a:pt x="187" y="478"/>
                  </a:lnTo>
                  <a:lnTo>
                    <a:pt x="186" y="478"/>
                  </a:lnTo>
                  <a:lnTo>
                    <a:pt x="188" y="480"/>
                  </a:lnTo>
                  <a:lnTo>
                    <a:pt x="189" y="478"/>
                  </a:lnTo>
                  <a:lnTo>
                    <a:pt x="191" y="478"/>
                  </a:lnTo>
                  <a:lnTo>
                    <a:pt x="192" y="477"/>
                  </a:lnTo>
                  <a:lnTo>
                    <a:pt x="193" y="478"/>
                  </a:lnTo>
                  <a:lnTo>
                    <a:pt x="193" y="480"/>
                  </a:lnTo>
                  <a:lnTo>
                    <a:pt x="191" y="483"/>
                  </a:lnTo>
                  <a:lnTo>
                    <a:pt x="186" y="484"/>
                  </a:lnTo>
                  <a:lnTo>
                    <a:pt x="182" y="482"/>
                  </a:lnTo>
                  <a:lnTo>
                    <a:pt x="176" y="482"/>
                  </a:lnTo>
                  <a:lnTo>
                    <a:pt x="173" y="486"/>
                  </a:lnTo>
                  <a:lnTo>
                    <a:pt x="171" y="487"/>
                  </a:lnTo>
                  <a:lnTo>
                    <a:pt x="169" y="487"/>
                  </a:lnTo>
                  <a:lnTo>
                    <a:pt x="168" y="488"/>
                  </a:lnTo>
                  <a:lnTo>
                    <a:pt x="167" y="487"/>
                  </a:lnTo>
                  <a:lnTo>
                    <a:pt x="165" y="489"/>
                  </a:lnTo>
                  <a:lnTo>
                    <a:pt x="163" y="492"/>
                  </a:lnTo>
                  <a:lnTo>
                    <a:pt x="163" y="493"/>
                  </a:lnTo>
                  <a:lnTo>
                    <a:pt x="161" y="493"/>
                  </a:lnTo>
                  <a:lnTo>
                    <a:pt x="158" y="493"/>
                  </a:lnTo>
                  <a:lnTo>
                    <a:pt x="158" y="492"/>
                  </a:lnTo>
                  <a:lnTo>
                    <a:pt x="158" y="489"/>
                  </a:lnTo>
                  <a:lnTo>
                    <a:pt x="156" y="488"/>
                  </a:lnTo>
                  <a:lnTo>
                    <a:pt x="156" y="489"/>
                  </a:lnTo>
                  <a:lnTo>
                    <a:pt x="156" y="491"/>
                  </a:lnTo>
                  <a:lnTo>
                    <a:pt x="157" y="493"/>
                  </a:lnTo>
                  <a:lnTo>
                    <a:pt x="158" y="495"/>
                  </a:lnTo>
                  <a:lnTo>
                    <a:pt x="157" y="497"/>
                  </a:lnTo>
                  <a:lnTo>
                    <a:pt x="156" y="498"/>
                  </a:lnTo>
                  <a:lnTo>
                    <a:pt x="153" y="498"/>
                  </a:lnTo>
                  <a:lnTo>
                    <a:pt x="152" y="497"/>
                  </a:lnTo>
                  <a:lnTo>
                    <a:pt x="150" y="497"/>
                  </a:lnTo>
                  <a:lnTo>
                    <a:pt x="147" y="499"/>
                  </a:lnTo>
                  <a:lnTo>
                    <a:pt x="150" y="499"/>
                  </a:lnTo>
                  <a:lnTo>
                    <a:pt x="153" y="499"/>
                  </a:lnTo>
                  <a:lnTo>
                    <a:pt x="152" y="500"/>
                  </a:lnTo>
                  <a:lnTo>
                    <a:pt x="147" y="505"/>
                  </a:lnTo>
                  <a:lnTo>
                    <a:pt x="146" y="504"/>
                  </a:lnTo>
                  <a:lnTo>
                    <a:pt x="145" y="505"/>
                  </a:lnTo>
                  <a:lnTo>
                    <a:pt x="144" y="506"/>
                  </a:lnTo>
                  <a:lnTo>
                    <a:pt x="138" y="506"/>
                  </a:lnTo>
                  <a:lnTo>
                    <a:pt x="134" y="506"/>
                  </a:lnTo>
                  <a:lnTo>
                    <a:pt x="133" y="506"/>
                  </a:lnTo>
                  <a:lnTo>
                    <a:pt x="130" y="506"/>
                  </a:lnTo>
                  <a:lnTo>
                    <a:pt x="130" y="507"/>
                  </a:lnTo>
                  <a:lnTo>
                    <a:pt x="133" y="507"/>
                  </a:lnTo>
                  <a:lnTo>
                    <a:pt x="135" y="509"/>
                  </a:lnTo>
                  <a:lnTo>
                    <a:pt x="132" y="512"/>
                  </a:lnTo>
                  <a:lnTo>
                    <a:pt x="132" y="513"/>
                  </a:lnTo>
                  <a:lnTo>
                    <a:pt x="133" y="513"/>
                  </a:lnTo>
                  <a:lnTo>
                    <a:pt x="136" y="510"/>
                  </a:lnTo>
                  <a:lnTo>
                    <a:pt x="138" y="510"/>
                  </a:lnTo>
                  <a:lnTo>
                    <a:pt x="139" y="510"/>
                  </a:lnTo>
                  <a:lnTo>
                    <a:pt x="139" y="511"/>
                  </a:lnTo>
                  <a:lnTo>
                    <a:pt x="138" y="512"/>
                  </a:lnTo>
                  <a:lnTo>
                    <a:pt x="138" y="513"/>
                  </a:lnTo>
                  <a:lnTo>
                    <a:pt x="139" y="513"/>
                  </a:lnTo>
                  <a:lnTo>
                    <a:pt x="140" y="511"/>
                  </a:lnTo>
                  <a:lnTo>
                    <a:pt x="140" y="510"/>
                  </a:lnTo>
                  <a:lnTo>
                    <a:pt x="142" y="507"/>
                  </a:lnTo>
                  <a:lnTo>
                    <a:pt x="146" y="507"/>
                  </a:lnTo>
                  <a:lnTo>
                    <a:pt x="146" y="510"/>
                  </a:lnTo>
                  <a:lnTo>
                    <a:pt x="141" y="513"/>
                  </a:lnTo>
                  <a:lnTo>
                    <a:pt x="140" y="516"/>
                  </a:lnTo>
                  <a:lnTo>
                    <a:pt x="133" y="521"/>
                  </a:lnTo>
                  <a:lnTo>
                    <a:pt x="133" y="522"/>
                  </a:lnTo>
                  <a:lnTo>
                    <a:pt x="138" y="519"/>
                  </a:lnTo>
                  <a:lnTo>
                    <a:pt x="139" y="519"/>
                  </a:lnTo>
                  <a:lnTo>
                    <a:pt x="139" y="522"/>
                  </a:lnTo>
                  <a:lnTo>
                    <a:pt x="140" y="522"/>
                  </a:lnTo>
                  <a:lnTo>
                    <a:pt x="140" y="518"/>
                  </a:lnTo>
                  <a:lnTo>
                    <a:pt x="141" y="517"/>
                  </a:lnTo>
                  <a:lnTo>
                    <a:pt x="142" y="517"/>
                  </a:lnTo>
                  <a:lnTo>
                    <a:pt x="144" y="522"/>
                  </a:lnTo>
                  <a:lnTo>
                    <a:pt x="145" y="525"/>
                  </a:lnTo>
                  <a:lnTo>
                    <a:pt x="146" y="527"/>
                  </a:lnTo>
                  <a:lnTo>
                    <a:pt x="147" y="527"/>
                  </a:lnTo>
                  <a:lnTo>
                    <a:pt x="149" y="528"/>
                  </a:lnTo>
                  <a:lnTo>
                    <a:pt x="149" y="523"/>
                  </a:lnTo>
                  <a:lnTo>
                    <a:pt x="152" y="522"/>
                  </a:lnTo>
                  <a:lnTo>
                    <a:pt x="153" y="521"/>
                  </a:lnTo>
                  <a:lnTo>
                    <a:pt x="153" y="518"/>
                  </a:lnTo>
                  <a:lnTo>
                    <a:pt x="155" y="517"/>
                  </a:lnTo>
                  <a:lnTo>
                    <a:pt x="155" y="518"/>
                  </a:lnTo>
                  <a:lnTo>
                    <a:pt x="157" y="519"/>
                  </a:lnTo>
                  <a:lnTo>
                    <a:pt x="158" y="522"/>
                  </a:lnTo>
                  <a:lnTo>
                    <a:pt x="159" y="523"/>
                  </a:lnTo>
                  <a:lnTo>
                    <a:pt x="159" y="528"/>
                  </a:lnTo>
                  <a:lnTo>
                    <a:pt x="161" y="528"/>
                  </a:lnTo>
                  <a:lnTo>
                    <a:pt x="162" y="528"/>
                  </a:lnTo>
                  <a:lnTo>
                    <a:pt x="162" y="527"/>
                  </a:lnTo>
                  <a:lnTo>
                    <a:pt x="162" y="519"/>
                  </a:lnTo>
                  <a:lnTo>
                    <a:pt x="163" y="518"/>
                  </a:lnTo>
                  <a:lnTo>
                    <a:pt x="163" y="524"/>
                  </a:lnTo>
                  <a:lnTo>
                    <a:pt x="164" y="524"/>
                  </a:lnTo>
                  <a:lnTo>
                    <a:pt x="164" y="523"/>
                  </a:lnTo>
                  <a:lnTo>
                    <a:pt x="165" y="521"/>
                  </a:lnTo>
                  <a:lnTo>
                    <a:pt x="165" y="519"/>
                  </a:lnTo>
                  <a:lnTo>
                    <a:pt x="167" y="519"/>
                  </a:lnTo>
                  <a:lnTo>
                    <a:pt x="168" y="521"/>
                  </a:lnTo>
                  <a:lnTo>
                    <a:pt x="168" y="522"/>
                  </a:lnTo>
                  <a:lnTo>
                    <a:pt x="169" y="521"/>
                  </a:lnTo>
                  <a:lnTo>
                    <a:pt x="170" y="519"/>
                  </a:lnTo>
                  <a:lnTo>
                    <a:pt x="169" y="518"/>
                  </a:lnTo>
                  <a:lnTo>
                    <a:pt x="168" y="516"/>
                  </a:lnTo>
                  <a:lnTo>
                    <a:pt x="169" y="515"/>
                  </a:lnTo>
                  <a:lnTo>
                    <a:pt x="169" y="512"/>
                  </a:lnTo>
                  <a:lnTo>
                    <a:pt x="169" y="511"/>
                  </a:lnTo>
                  <a:lnTo>
                    <a:pt x="170" y="511"/>
                  </a:lnTo>
                  <a:lnTo>
                    <a:pt x="171" y="511"/>
                  </a:lnTo>
                  <a:lnTo>
                    <a:pt x="170" y="512"/>
                  </a:lnTo>
                  <a:lnTo>
                    <a:pt x="170" y="513"/>
                  </a:lnTo>
                  <a:lnTo>
                    <a:pt x="170" y="515"/>
                  </a:lnTo>
                  <a:lnTo>
                    <a:pt x="169" y="516"/>
                  </a:lnTo>
                  <a:lnTo>
                    <a:pt x="170" y="518"/>
                  </a:lnTo>
                  <a:lnTo>
                    <a:pt x="170" y="519"/>
                  </a:lnTo>
                  <a:lnTo>
                    <a:pt x="171" y="519"/>
                  </a:lnTo>
                  <a:lnTo>
                    <a:pt x="171" y="521"/>
                  </a:lnTo>
                  <a:lnTo>
                    <a:pt x="170" y="524"/>
                  </a:lnTo>
                  <a:lnTo>
                    <a:pt x="170" y="528"/>
                  </a:lnTo>
                  <a:lnTo>
                    <a:pt x="171" y="528"/>
                  </a:lnTo>
                  <a:lnTo>
                    <a:pt x="173" y="525"/>
                  </a:lnTo>
                  <a:lnTo>
                    <a:pt x="173" y="524"/>
                  </a:lnTo>
                  <a:lnTo>
                    <a:pt x="174" y="523"/>
                  </a:lnTo>
                  <a:lnTo>
                    <a:pt x="175" y="522"/>
                  </a:lnTo>
                  <a:lnTo>
                    <a:pt x="175" y="517"/>
                  </a:lnTo>
                  <a:lnTo>
                    <a:pt x="175" y="516"/>
                  </a:lnTo>
                  <a:lnTo>
                    <a:pt x="176" y="516"/>
                  </a:lnTo>
                  <a:lnTo>
                    <a:pt x="176" y="517"/>
                  </a:lnTo>
                  <a:lnTo>
                    <a:pt x="179" y="519"/>
                  </a:lnTo>
                  <a:lnTo>
                    <a:pt x="179" y="521"/>
                  </a:lnTo>
                  <a:lnTo>
                    <a:pt x="180" y="522"/>
                  </a:lnTo>
                  <a:lnTo>
                    <a:pt x="181" y="523"/>
                  </a:lnTo>
                  <a:lnTo>
                    <a:pt x="181" y="524"/>
                  </a:lnTo>
                  <a:lnTo>
                    <a:pt x="180" y="527"/>
                  </a:lnTo>
                  <a:lnTo>
                    <a:pt x="179" y="527"/>
                  </a:lnTo>
                  <a:lnTo>
                    <a:pt x="176" y="528"/>
                  </a:lnTo>
                  <a:lnTo>
                    <a:pt x="175" y="528"/>
                  </a:lnTo>
                  <a:lnTo>
                    <a:pt x="173" y="530"/>
                  </a:lnTo>
                  <a:lnTo>
                    <a:pt x="171" y="531"/>
                  </a:lnTo>
                  <a:lnTo>
                    <a:pt x="173" y="531"/>
                  </a:lnTo>
                  <a:lnTo>
                    <a:pt x="174" y="531"/>
                  </a:lnTo>
                  <a:lnTo>
                    <a:pt x="176" y="531"/>
                  </a:lnTo>
                  <a:lnTo>
                    <a:pt x="176" y="530"/>
                  </a:lnTo>
                  <a:lnTo>
                    <a:pt x="177" y="530"/>
                  </a:lnTo>
                  <a:lnTo>
                    <a:pt x="177" y="531"/>
                  </a:lnTo>
                  <a:lnTo>
                    <a:pt x="177" y="533"/>
                  </a:lnTo>
                  <a:lnTo>
                    <a:pt x="176" y="534"/>
                  </a:lnTo>
                  <a:lnTo>
                    <a:pt x="175" y="535"/>
                  </a:lnTo>
                  <a:lnTo>
                    <a:pt x="174" y="535"/>
                  </a:lnTo>
                  <a:lnTo>
                    <a:pt x="173" y="535"/>
                  </a:lnTo>
                  <a:lnTo>
                    <a:pt x="171" y="533"/>
                  </a:lnTo>
                  <a:lnTo>
                    <a:pt x="170" y="533"/>
                  </a:lnTo>
                  <a:lnTo>
                    <a:pt x="170" y="534"/>
                  </a:lnTo>
                  <a:lnTo>
                    <a:pt x="170" y="535"/>
                  </a:lnTo>
                  <a:lnTo>
                    <a:pt x="165" y="535"/>
                  </a:lnTo>
                  <a:lnTo>
                    <a:pt x="164" y="534"/>
                  </a:lnTo>
                  <a:lnTo>
                    <a:pt x="162" y="534"/>
                  </a:lnTo>
                  <a:lnTo>
                    <a:pt x="162" y="533"/>
                  </a:lnTo>
                  <a:lnTo>
                    <a:pt x="161" y="533"/>
                  </a:lnTo>
                  <a:lnTo>
                    <a:pt x="159" y="534"/>
                  </a:lnTo>
                  <a:lnTo>
                    <a:pt x="151" y="535"/>
                  </a:lnTo>
                  <a:lnTo>
                    <a:pt x="150" y="534"/>
                  </a:lnTo>
                  <a:lnTo>
                    <a:pt x="149" y="534"/>
                  </a:lnTo>
                  <a:lnTo>
                    <a:pt x="146" y="535"/>
                  </a:lnTo>
                  <a:lnTo>
                    <a:pt x="145" y="535"/>
                  </a:lnTo>
                  <a:lnTo>
                    <a:pt x="144" y="534"/>
                  </a:lnTo>
                  <a:lnTo>
                    <a:pt x="142" y="534"/>
                  </a:lnTo>
                  <a:lnTo>
                    <a:pt x="141" y="534"/>
                  </a:lnTo>
                  <a:lnTo>
                    <a:pt x="138" y="534"/>
                  </a:lnTo>
                  <a:lnTo>
                    <a:pt x="136" y="535"/>
                  </a:lnTo>
                  <a:lnTo>
                    <a:pt x="133" y="536"/>
                  </a:lnTo>
                  <a:lnTo>
                    <a:pt x="132" y="535"/>
                  </a:lnTo>
                  <a:lnTo>
                    <a:pt x="129" y="535"/>
                  </a:lnTo>
                  <a:lnTo>
                    <a:pt x="127" y="536"/>
                  </a:lnTo>
                  <a:lnTo>
                    <a:pt x="124" y="537"/>
                  </a:lnTo>
                  <a:lnTo>
                    <a:pt x="123" y="537"/>
                  </a:lnTo>
                  <a:lnTo>
                    <a:pt x="122" y="539"/>
                  </a:lnTo>
                  <a:lnTo>
                    <a:pt x="118" y="539"/>
                  </a:lnTo>
                  <a:lnTo>
                    <a:pt x="117" y="540"/>
                  </a:lnTo>
                  <a:lnTo>
                    <a:pt x="116" y="541"/>
                  </a:lnTo>
                  <a:lnTo>
                    <a:pt x="112" y="541"/>
                  </a:lnTo>
                  <a:lnTo>
                    <a:pt x="111" y="542"/>
                  </a:lnTo>
                  <a:lnTo>
                    <a:pt x="110" y="542"/>
                  </a:lnTo>
                  <a:lnTo>
                    <a:pt x="109" y="543"/>
                  </a:lnTo>
                  <a:lnTo>
                    <a:pt x="108" y="545"/>
                  </a:lnTo>
                  <a:lnTo>
                    <a:pt x="106" y="546"/>
                  </a:lnTo>
                  <a:lnTo>
                    <a:pt x="105" y="547"/>
                  </a:lnTo>
                  <a:lnTo>
                    <a:pt x="103" y="547"/>
                  </a:lnTo>
                  <a:lnTo>
                    <a:pt x="100" y="546"/>
                  </a:lnTo>
                  <a:lnTo>
                    <a:pt x="99" y="546"/>
                  </a:lnTo>
                  <a:lnTo>
                    <a:pt x="98" y="547"/>
                  </a:lnTo>
                  <a:lnTo>
                    <a:pt x="97" y="547"/>
                  </a:lnTo>
                  <a:lnTo>
                    <a:pt x="94" y="546"/>
                  </a:lnTo>
                  <a:lnTo>
                    <a:pt x="93" y="546"/>
                  </a:lnTo>
                  <a:lnTo>
                    <a:pt x="97" y="548"/>
                  </a:lnTo>
                  <a:lnTo>
                    <a:pt x="96" y="549"/>
                  </a:lnTo>
                  <a:lnTo>
                    <a:pt x="90" y="553"/>
                  </a:lnTo>
                  <a:lnTo>
                    <a:pt x="96" y="552"/>
                  </a:lnTo>
                  <a:lnTo>
                    <a:pt x="97" y="552"/>
                  </a:lnTo>
                  <a:lnTo>
                    <a:pt x="98" y="553"/>
                  </a:lnTo>
                  <a:lnTo>
                    <a:pt x="97" y="555"/>
                  </a:lnTo>
                  <a:lnTo>
                    <a:pt x="99" y="554"/>
                  </a:lnTo>
                  <a:lnTo>
                    <a:pt x="99" y="553"/>
                  </a:lnTo>
                  <a:lnTo>
                    <a:pt x="99" y="551"/>
                  </a:lnTo>
                  <a:lnTo>
                    <a:pt x="100" y="551"/>
                  </a:lnTo>
                  <a:lnTo>
                    <a:pt x="100" y="552"/>
                  </a:lnTo>
                  <a:lnTo>
                    <a:pt x="102" y="553"/>
                  </a:lnTo>
                  <a:lnTo>
                    <a:pt x="103" y="549"/>
                  </a:lnTo>
                  <a:lnTo>
                    <a:pt x="104" y="549"/>
                  </a:lnTo>
                  <a:lnTo>
                    <a:pt x="104" y="553"/>
                  </a:lnTo>
                  <a:lnTo>
                    <a:pt x="105" y="554"/>
                  </a:lnTo>
                  <a:lnTo>
                    <a:pt x="106" y="555"/>
                  </a:lnTo>
                  <a:lnTo>
                    <a:pt x="106" y="558"/>
                  </a:lnTo>
                  <a:lnTo>
                    <a:pt x="108" y="558"/>
                  </a:lnTo>
                  <a:lnTo>
                    <a:pt x="109" y="559"/>
                  </a:lnTo>
                  <a:lnTo>
                    <a:pt x="110" y="560"/>
                  </a:lnTo>
                  <a:lnTo>
                    <a:pt x="110" y="563"/>
                  </a:lnTo>
                  <a:lnTo>
                    <a:pt x="111" y="564"/>
                  </a:lnTo>
                  <a:lnTo>
                    <a:pt x="112" y="563"/>
                  </a:lnTo>
                  <a:lnTo>
                    <a:pt x="114" y="561"/>
                  </a:lnTo>
                  <a:lnTo>
                    <a:pt x="114" y="559"/>
                  </a:lnTo>
                  <a:lnTo>
                    <a:pt x="111" y="558"/>
                  </a:lnTo>
                  <a:lnTo>
                    <a:pt x="114" y="557"/>
                  </a:lnTo>
                  <a:lnTo>
                    <a:pt x="114" y="555"/>
                  </a:lnTo>
                  <a:lnTo>
                    <a:pt x="112" y="553"/>
                  </a:lnTo>
                  <a:lnTo>
                    <a:pt x="112" y="551"/>
                  </a:lnTo>
                  <a:lnTo>
                    <a:pt x="114" y="549"/>
                  </a:lnTo>
                  <a:lnTo>
                    <a:pt x="112" y="547"/>
                  </a:lnTo>
                  <a:lnTo>
                    <a:pt x="114" y="546"/>
                  </a:lnTo>
                  <a:lnTo>
                    <a:pt x="115" y="545"/>
                  </a:lnTo>
                  <a:lnTo>
                    <a:pt x="116" y="545"/>
                  </a:lnTo>
                  <a:lnTo>
                    <a:pt x="116" y="546"/>
                  </a:lnTo>
                  <a:lnTo>
                    <a:pt x="115" y="547"/>
                  </a:lnTo>
                  <a:lnTo>
                    <a:pt x="115" y="549"/>
                  </a:lnTo>
                  <a:lnTo>
                    <a:pt x="116" y="549"/>
                  </a:lnTo>
                  <a:lnTo>
                    <a:pt x="117" y="549"/>
                  </a:lnTo>
                  <a:lnTo>
                    <a:pt x="117" y="551"/>
                  </a:lnTo>
                  <a:lnTo>
                    <a:pt x="117" y="552"/>
                  </a:lnTo>
                  <a:lnTo>
                    <a:pt x="116" y="553"/>
                  </a:lnTo>
                  <a:lnTo>
                    <a:pt x="116" y="555"/>
                  </a:lnTo>
                  <a:lnTo>
                    <a:pt x="116" y="558"/>
                  </a:lnTo>
                  <a:lnTo>
                    <a:pt x="117" y="558"/>
                  </a:lnTo>
                  <a:lnTo>
                    <a:pt x="117" y="555"/>
                  </a:lnTo>
                  <a:lnTo>
                    <a:pt x="118" y="553"/>
                  </a:lnTo>
                  <a:lnTo>
                    <a:pt x="120" y="553"/>
                  </a:lnTo>
                  <a:lnTo>
                    <a:pt x="120" y="555"/>
                  </a:lnTo>
                  <a:lnTo>
                    <a:pt x="121" y="557"/>
                  </a:lnTo>
                  <a:lnTo>
                    <a:pt x="122" y="555"/>
                  </a:lnTo>
                  <a:lnTo>
                    <a:pt x="121" y="554"/>
                  </a:lnTo>
                  <a:lnTo>
                    <a:pt x="122" y="553"/>
                  </a:lnTo>
                  <a:lnTo>
                    <a:pt x="122" y="552"/>
                  </a:lnTo>
                  <a:lnTo>
                    <a:pt x="123" y="551"/>
                  </a:lnTo>
                  <a:lnTo>
                    <a:pt x="124" y="552"/>
                  </a:lnTo>
                  <a:lnTo>
                    <a:pt x="124" y="553"/>
                  </a:lnTo>
                  <a:lnTo>
                    <a:pt x="124" y="554"/>
                  </a:lnTo>
                  <a:lnTo>
                    <a:pt x="124" y="557"/>
                  </a:lnTo>
                  <a:lnTo>
                    <a:pt x="123" y="558"/>
                  </a:lnTo>
                  <a:lnTo>
                    <a:pt x="123" y="563"/>
                  </a:lnTo>
                  <a:lnTo>
                    <a:pt x="123" y="565"/>
                  </a:lnTo>
                  <a:lnTo>
                    <a:pt x="124" y="564"/>
                  </a:lnTo>
                  <a:lnTo>
                    <a:pt x="126" y="564"/>
                  </a:lnTo>
                  <a:lnTo>
                    <a:pt x="126" y="561"/>
                  </a:lnTo>
                  <a:lnTo>
                    <a:pt x="126" y="560"/>
                  </a:lnTo>
                  <a:lnTo>
                    <a:pt x="127" y="559"/>
                  </a:lnTo>
                  <a:lnTo>
                    <a:pt x="127" y="558"/>
                  </a:lnTo>
                  <a:lnTo>
                    <a:pt x="128" y="557"/>
                  </a:lnTo>
                  <a:lnTo>
                    <a:pt x="128" y="552"/>
                  </a:lnTo>
                  <a:lnTo>
                    <a:pt x="129" y="553"/>
                  </a:lnTo>
                  <a:lnTo>
                    <a:pt x="130" y="553"/>
                  </a:lnTo>
                  <a:lnTo>
                    <a:pt x="130" y="552"/>
                  </a:lnTo>
                  <a:lnTo>
                    <a:pt x="132" y="552"/>
                  </a:lnTo>
                  <a:lnTo>
                    <a:pt x="132" y="549"/>
                  </a:lnTo>
                  <a:lnTo>
                    <a:pt x="132" y="547"/>
                  </a:lnTo>
                  <a:lnTo>
                    <a:pt x="133" y="549"/>
                  </a:lnTo>
                  <a:lnTo>
                    <a:pt x="133" y="552"/>
                  </a:lnTo>
                  <a:lnTo>
                    <a:pt x="133" y="554"/>
                  </a:lnTo>
                  <a:lnTo>
                    <a:pt x="132" y="554"/>
                  </a:lnTo>
                  <a:lnTo>
                    <a:pt x="132" y="557"/>
                  </a:lnTo>
                  <a:lnTo>
                    <a:pt x="132" y="558"/>
                  </a:lnTo>
                  <a:lnTo>
                    <a:pt x="133" y="557"/>
                  </a:lnTo>
                  <a:lnTo>
                    <a:pt x="134" y="557"/>
                  </a:lnTo>
                  <a:lnTo>
                    <a:pt x="135" y="557"/>
                  </a:lnTo>
                  <a:lnTo>
                    <a:pt x="135" y="555"/>
                  </a:lnTo>
                  <a:lnTo>
                    <a:pt x="136" y="560"/>
                  </a:lnTo>
                  <a:lnTo>
                    <a:pt x="136" y="561"/>
                  </a:lnTo>
                  <a:lnTo>
                    <a:pt x="138" y="561"/>
                  </a:lnTo>
                  <a:lnTo>
                    <a:pt x="138" y="555"/>
                  </a:lnTo>
                  <a:lnTo>
                    <a:pt x="139" y="555"/>
                  </a:lnTo>
                  <a:lnTo>
                    <a:pt x="139" y="558"/>
                  </a:lnTo>
                  <a:lnTo>
                    <a:pt x="139" y="559"/>
                  </a:lnTo>
                  <a:lnTo>
                    <a:pt x="140" y="559"/>
                  </a:lnTo>
                  <a:lnTo>
                    <a:pt x="140" y="560"/>
                  </a:lnTo>
                  <a:lnTo>
                    <a:pt x="141" y="561"/>
                  </a:lnTo>
                  <a:lnTo>
                    <a:pt x="141" y="563"/>
                  </a:lnTo>
                  <a:lnTo>
                    <a:pt x="141" y="565"/>
                  </a:lnTo>
                  <a:lnTo>
                    <a:pt x="142" y="565"/>
                  </a:lnTo>
                  <a:lnTo>
                    <a:pt x="142" y="566"/>
                  </a:lnTo>
                  <a:lnTo>
                    <a:pt x="144" y="567"/>
                  </a:lnTo>
                  <a:lnTo>
                    <a:pt x="145" y="567"/>
                  </a:lnTo>
                  <a:lnTo>
                    <a:pt x="145" y="566"/>
                  </a:lnTo>
                  <a:lnTo>
                    <a:pt x="146" y="566"/>
                  </a:lnTo>
                  <a:lnTo>
                    <a:pt x="146" y="565"/>
                  </a:lnTo>
                  <a:lnTo>
                    <a:pt x="146" y="564"/>
                  </a:lnTo>
                  <a:lnTo>
                    <a:pt x="146" y="563"/>
                  </a:lnTo>
                  <a:lnTo>
                    <a:pt x="147" y="561"/>
                  </a:lnTo>
                  <a:lnTo>
                    <a:pt x="147" y="560"/>
                  </a:lnTo>
                  <a:lnTo>
                    <a:pt x="149" y="561"/>
                  </a:lnTo>
                  <a:lnTo>
                    <a:pt x="149" y="560"/>
                  </a:lnTo>
                  <a:lnTo>
                    <a:pt x="149" y="559"/>
                  </a:lnTo>
                  <a:lnTo>
                    <a:pt x="149" y="558"/>
                  </a:lnTo>
                  <a:lnTo>
                    <a:pt x="149" y="557"/>
                  </a:lnTo>
                  <a:lnTo>
                    <a:pt x="150" y="557"/>
                  </a:lnTo>
                  <a:lnTo>
                    <a:pt x="151" y="557"/>
                  </a:lnTo>
                  <a:lnTo>
                    <a:pt x="151" y="558"/>
                  </a:lnTo>
                  <a:lnTo>
                    <a:pt x="152" y="559"/>
                  </a:lnTo>
                  <a:lnTo>
                    <a:pt x="152" y="558"/>
                  </a:lnTo>
                  <a:lnTo>
                    <a:pt x="153" y="559"/>
                  </a:lnTo>
                  <a:lnTo>
                    <a:pt x="153" y="560"/>
                  </a:lnTo>
                  <a:lnTo>
                    <a:pt x="153" y="561"/>
                  </a:lnTo>
                  <a:lnTo>
                    <a:pt x="152" y="563"/>
                  </a:lnTo>
                  <a:lnTo>
                    <a:pt x="153" y="564"/>
                  </a:lnTo>
                  <a:lnTo>
                    <a:pt x="152" y="565"/>
                  </a:lnTo>
                  <a:lnTo>
                    <a:pt x="152" y="566"/>
                  </a:lnTo>
                  <a:lnTo>
                    <a:pt x="152" y="567"/>
                  </a:lnTo>
                  <a:lnTo>
                    <a:pt x="153" y="567"/>
                  </a:lnTo>
                  <a:lnTo>
                    <a:pt x="153" y="566"/>
                  </a:lnTo>
                  <a:lnTo>
                    <a:pt x="155" y="566"/>
                  </a:lnTo>
                  <a:lnTo>
                    <a:pt x="156" y="565"/>
                  </a:lnTo>
                  <a:lnTo>
                    <a:pt x="157" y="565"/>
                  </a:lnTo>
                  <a:lnTo>
                    <a:pt x="158" y="565"/>
                  </a:lnTo>
                  <a:lnTo>
                    <a:pt x="159" y="565"/>
                  </a:lnTo>
                  <a:lnTo>
                    <a:pt x="159" y="566"/>
                  </a:lnTo>
                  <a:lnTo>
                    <a:pt x="161" y="566"/>
                  </a:lnTo>
                  <a:lnTo>
                    <a:pt x="162" y="565"/>
                  </a:lnTo>
                  <a:lnTo>
                    <a:pt x="162" y="563"/>
                  </a:lnTo>
                  <a:lnTo>
                    <a:pt x="162" y="561"/>
                  </a:lnTo>
                  <a:lnTo>
                    <a:pt x="163" y="563"/>
                  </a:lnTo>
                  <a:lnTo>
                    <a:pt x="164" y="563"/>
                  </a:lnTo>
                  <a:lnTo>
                    <a:pt x="163" y="564"/>
                  </a:lnTo>
                  <a:lnTo>
                    <a:pt x="163" y="565"/>
                  </a:lnTo>
                  <a:lnTo>
                    <a:pt x="163" y="566"/>
                  </a:lnTo>
                  <a:lnTo>
                    <a:pt x="164" y="566"/>
                  </a:lnTo>
                  <a:lnTo>
                    <a:pt x="165" y="566"/>
                  </a:lnTo>
                  <a:lnTo>
                    <a:pt x="167" y="566"/>
                  </a:lnTo>
                  <a:lnTo>
                    <a:pt x="168" y="565"/>
                  </a:lnTo>
                  <a:lnTo>
                    <a:pt x="168" y="564"/>
                  </a:lnTo>
                  <a:lnTo>
                    <a:pt x="169" y="564"/>
                  </a:lnTo>
                  <a:lnTo>
                    <a:pt x="170" y="563"/>
                  </a:lnTo>
                  <a:lnTo>
                    <a:pt x="171" y="564"/>
                  </a:lnTo>
                  <a:lnTo>
                    <a:pt x="171" y="565"/>
                  </a:lnTo>
                  <a:lnTo>
                    <a:pt x="173" y="565"/>
                  </a:lnTo>
                  <a:lnTo>
                    <a:pt x="173" y="566"/>
                  </a:lnTo>
                  <a:lnTo>
                    <a:pt x="174" y="567"/>
                  </a:lnTo>
                  <a:lnTo>
                    <a:pt x="173" y="567"/>
                  </a:lnTo>
                  <a:lnTo>
                    <a:pt x="170" y="567"/>
                  </a:lnTo>
                  <a:lnTo>
                    <a:pt x="170" y="569"/>
                  </a:lnTo>
                  <a:lnTo>
                    <a:pt x="169" y="569"/>
                  </a:lnTo>
                  <a:lnTo>
                    <a:pt x="168" y="569"/>
                  </a:lnTo>
                  <a:lnTo>
                    <a:pt x="167" y="569"/>
                  </a:lnTo>
                  <a:lnTo>
                    <a:pt x="167" y="566"/>
                  </a:lnTo>
                  <a:lnTo>
                    <a:pt x="165" y="567"/>
                  </a:lnTo>
                  <a:lnTo>
                    <a:pt x="164" y="567"/>
                  </a:lnTo>
                  <a:lnTo>
                    <a:pt x="163" y="567"/>
                  </a:lnTo>
                  <a:lnTo>
                    <a:pt x="162" y="567"/>
                  </a:lnTo>
                  <a:lnTo>
                    <a:pt x="161" y="569"/>
                  </a:lnTo>
                  <a:lnTo>
                    <a:pt x="159" y="569"/>
                  </a:lnTo>
                  <a:lnTo>
                    <a:pt x="158" y="569"/>
                  </a:lnTo>
                  <a:lnTo>
                    <a:pt x="157" y="569"/>
                  </a:lnTo>
                  <a:lnTo>
                    <a:pt x="151" y="569"/>
                  </a:lnTo>
                  <a:lnTo>
                    <a:pt x="150" y="570"/>
                  </a:lnTo>
                  <a:lnTo>
                    <a:pt x="151" y="570"/>
                  </a:lnTo>
                  <a:lnTo>
                    <a:pt x="153" y="570"/>
                  </a:lnTo>
                  <a:lnTo>
                    <a:pt x="153" y="571"/>
                  </a:lnTo>
                  <a:lnTo>
                    <a:pt x="155" y="571"/>
                  </a:lnTo>
                  <a:lnTo>
                    <a:pt x="156" y="571"/>
                  </a:lnTo>
                  <a:lnTo>
                    <a:pt x="156" y="572"/>
                  </a:lnTo>
                  <a:lnTo>
                    <a:pt x="155" y="573"/>
                  </a:lnTo>
                  <a:lnTo>
                    <a:pt x="153" y="575"/>
                  </a:lnTo>
                  <a:lnTo>
                    <a:pt x="153" y="576"/>
                  </a:lnTo>
                  <a:lnTo>
                    <a:pt x="155" y="576"/>
                  </a:lnTo>
                  <a:lnTo>
                    <a:pt x="156" y="575"/>
                  </a:lnTo>
                  <a:lnTo>
                    <a:pt x="157" y="573"/>
                  </a:lnTo>
                  <a:lnTo>
                    <a:pt x="157" y="572"/>
                  </a:lnTo>
                  <a:lnTo>
                    <a:pt x="158" y="571"/>
                  </a:lnTo>
                  <a:lnTo>
                    <a:pt x="159" y="571"/>
                  </a:lnTo>
                  <a:lnTo>
                    <a:pt x="159" y="572"/>
                  </a:lnTo>
                  <a:lnTo>
                    <a:pt x="159" y="573"/>
                  </a:lnTo>
                  <a:lnTo>
                    <a:pt x="158" y="575"/>
                  </a:lnTo>
                  <a:lnTo>
                    <a:pt x="159" y="575"/>
                  </a:lnTo>
                  <a:lnTo>
                    <a:pt x="161" y="575"/>
                  </a:lnTo>
                  <a:lnTo>
                    <a:pt x="161" y="572"/>
                  </a:lnTo>
                  <a:lnTo>
                    <a:pt x="162" y="571"/>
                  </a:lnTo>
                  <a:lnTo>
                    <a:pt x="162" y="572"/>
                  </a:lnTo>
                  <a:lnTo>
                    <a:pt x="163" y="572"/>
                  </a:lnTo>
                  <a:lnTo>
                    <a:pt x="163" y="571"/>
                  </a:lnTo>
                  <a:lnTo>
                    <a:pt x="164" y="571"/>
                  </a:lnTo>
                  <a:lnTo>
                    <a:pt x="164" y="570"/>
                  </a:lnTo>
                  <a:lnTo>
                    <a:pt x="165" y="570"/>
                  </a:lnTo>
                  <a:lnTo>
                    <a:pt x="165" y="571"/>
                  </a:lnTo>
                  <a:lnTo>
                    <a:pt x="164" y="572"/>
                  </a:lnTo>
                  <a:lnTo>
                    <a:pt x="164" y="573"/>
                  </a:lnTo>
                  <a:lnTo>
                    <a:pt x="164" y="575"/>
                  </a:lnTo>
                  <a:lnTo>
                    <a:pt x="164" y="576"/>
                  </a:lnTo>
                  <a:lnTo>
                    <a:pt x="163" y="577"/>
                  </a:lnTo>
                  <a:lnTo>
                    <a:pt x="163" y="578"/>
                  </a:lnTo>
                  <a:lnTo>
                    <a:pt x="163" y="579"/>
                  </a:lnTo>
                  <a:lnTo>
                    <a:pt x="164" y="579"/>
                  </a:lnTo>
                  <a:lnTo>
                    <a:pt x="165" y="578"/>
                  </a:lnTo>
                  <a:lnTo>
                    <a:pt x="167" y="577"/>
                  </a:lnTo>
                  <a:lnTo>
                    <a:pt x="167" y="576"/>
                  </a:lnTo>
                  <a:lnTo>
                    <a:pt x="167" y="575"/>
                  </a:lnTo>
                  <a:lnTo>
                    <a:pt x="168" y="573"/>
                  </a:lnTo>
                  <a:lnTo>
                    <a:pt x="168" y="572"/>
                  </a:lnTo>
                  <a:lnTo>
                    <a:pt x="169" y="572"/>
                  </a:lnTo>
                  <a:lnTo>
                    <a:pt x="169" y="571"/>
                  </a:lnTo>
                  <a:lnTo>
                    <a:pt x="170" y="571"/>
                  </a:lnTo>
                  <a:lnTo>
                    <a:pt x="171" y="572"/>
                  </a:lnTo>
                  <a:lnTo>
                    <a:pt x="170" y="575"/>
                  </a:lnTo>
                  <a:lnTo>
                    <a:pt x="170" y="576"/>
                  </a:lnTo>
                  <a:lnTo>
                    <a:pt x="170" y="577"/>
                  </a:lnTo>
                  <a:lnTo>
                    <a:pt x="171" y="576"/>
                  </a:lnTo>
                  <a:lnTo>
                    <a:pt x="171" y="575"/>
                  </a:lnTo>
                  <a:lnTo>
                    <a:pt x="173" y="573"/>
                  </a:lnTo>
                  <a:lnTo>
                    <a:pt x="174" y="572"/>
                  </a:lnTo>
                  <a:lnTo>
                    <a:pt x="175" y="572"/>
                  </a:lnTo>
                  <a:lnTo>
                    <a:pt x="175" y="573"/>
                  </a:lnTo>
                  <a:lnTo>
                    <a:pt x="174" y="575"/>
                  </a:lnTo>
                  <a:lnTo>
                    <a:pt x="174" y="576"/>
                  </a:lnTo>
                  <a:lnTo>
                    <a:pt x="174" y="577"/>
                  </a:lnTo>
                  <a:lnTo>
                    <a:pt x="174" y="578"/>
                  </a:lnTo>
                  <a:lnTo>
                    <a:pt x="175" y="578"/>
                  </a:lnTo>
                  <a:lnTo>
                    <a:pt x="175" y="579"/>
                  </a:lnTo>
                  <a:lnTo>
                    <a:pt x="174" y="581"/>
                  </a:lnTo>
                  <a:lnTo>
                    <a:pt x="175" y="582"/>
                  </a:lnTo>
                  <a:lnTo>
                    <a:pt x="176" y="581"/>
                  </a:lnTo>
                  <a:lnTo>
                    <a:pt x="176" y="579"/>
                  </a:lnTo>
                  <a:lnTo>
                    <a:pt x="177" y="578"/>
                  </a:lnTo>
                  <a:lnTo>
                    <a:pt x="177" y="577"/>
                  </a:lnTo>
                  <a:lnTo>
                    <a:pt x="177" y="576"/>
                  </a:lnTo>
                  <a:lnTo>
                    <a:pt x="179" y="577"/>
                  </a:lnTo>
                  <a:lnTo>
                    <a:pt x="179" y="578"/>
                  </a:lnTo>
                  <a:lnTo>
                    <a:pt x="180" y="578"/>
                  </a:lnTo>
                  <a:lnTo>
                    <a:pt x="180" y="577"/>
                  </a:lnTo>
                  <a:lnTo>
                    <a:pt x="180" y="576"/>
                  </a:lnTo>
                  <a:lnTo>
                    <a:pt x="180" y="575"/>
                  </a:lnTo>
                  <a:lnTo>
                    <a:pt x="180" y="573"/>
                  </a:lnTo>
                  <a:lnTo>
                    <a:pt x="181" y="572"/>
                  </a:lnTo>
                  <a:lnTo>
                    <a:pt x="181" y="570"/>
                  </a:lnTo>
                  <a:lnTo>
                    <a:pt x="181" y="569"/>
                  </a:lnTo>
                  <a:lnTo>
                    <a:pt x="181" y="565"/>
                  </a:lnTo>
                  <a:lnTo>
                    <a:pt x="180" y="564"/>
                  </a:lnTo>
                  <a:lnTo>
                    <a:pt x="179" y="561"/>
                  </a:lnTo>
                  <a:lnTo>
                    <a:pt x="180" y="561"/>
                  </a:lnTo>
                  <a:lnTo>
                    <a:pt x="180" y="563"/>
                  </a:lnTo>
                  <a:lnTo>
                    <a:pt x="181" y="565"/>
                  </a:lnTo>
                  <a:lnTo>
                    <a:pt x="181" y="566"/>
                  </a:lnTo>
                  <a:lnTo>
                    <a:pt x="182" y="567"/>
                  </a:lnTo>
                  <a:lnTo>
                    <a:pt x="182" y="569"/>
                  </a:lnTo>
                  <a:lnTo>
                    <a:pt x="183" y="570"/>
                  </a:lnTo>
                  <a:lnTo>
                    <a:pt x="182" y="572"/>
                  </a:lnTo>
                  <a:lnTo>
                    <a:pt x="182" y="573"/>
                  </a:lnTo>
                  <a:lnTo>
                    <a:pt x="182" y="576"/>
                  </a:lnTo>
                  <a:lnTo>
                    <a:pt x="182" y="577"/>
                  </a:lnTo>
                  <a:lnTo>
                    <a:pt x="181" y="578"/>
                  </a:lnTo>
                  <a:lnTo>
                    <a:pt x="181" y="579"/>
                  </a:lnTo>
                  <a:lnTo>
                    <a:pt x="181" y="581"/>
                  </a:lnTo>
                  <a:lnTo>
                    <a:pt x="181" y="582"/>
                  </a:lnTo>
                  <a:lnTo>
                    <a:pt x="182" y="583"/>
                  </a:lnTo>
                  <a:lnTo>
                    <a:pt x="183" y="583"/>
                  </a:lnTo>
                  <a:lnTo>
                    <a:pt x="185" y="582"/>
                  </a:lnTo>
                  <a:lnTo>
                    <a:pt x="185" y="581"/>
                  </a:lnTo>
                  <a:lnTo>
                    <a:pt x="185" y="579"/>
                  </a:lnTo>
                  <a:lnTo>
                    <a:pt x="185" y="578"/>
                  </a:lnTo>
                  <a:lnTo>
                    <a:pt x="186" y="578"/>
                  </a:lnTo>
                  <a:lnTo>
                    <a:pt x="186" y="579"/>
                  </a:lnTo>
                  <a:lnTo>
                    <a:pt x="186" y="581"/>
                  </a:lnTo>
                  <a:lnTo>
                    <a:pt x="186" y="582"/>
                  </a:lnTo>
                  <a:lnTo>
                    <a:pt x="187" y="582"/>
                  </a:lnTo>
                  <a:lnTo>
                    <a:pt x="188" y="582"/>
                  </a:lnTo>
                  <a:lnTo>
                    <a:pt x="188" y="581"/>
                  </a:lnTo>
                  <a:lnTo>
                    <a:pt x="189" y="581"/>
                  </a:lnTo>
                  <a:lnTo>
                    <a:pt x="189" y="579"/>
                  </a:lnTo>
                  <a:lnTo>
                    <a:pt x="191" y="581"/>
                  </a:lnTo>
                  <a:lnTo>
                    <a:pt x="192" y="581"/>
                  </a:lnTo>
                  <a:lnTo>
                    <a:pt x="192" y="582"/>
                  </a:lnTo>
                  <a:lnTo>
                    <a:pt x="192" y="583"/>
                  </a:lnTo>
                  <a:lnTo>
                    <a:pt x="193" y="583"/>
                  </a:lnTo>
                  <a:lnTo>
                    <a:pt x="194" y="583"/>
                  </a:lnTo>
                  <a:lnTo>
                    <a:pt x="194" y="584"/>
                  </a:lnTo>
                  <a:lnTo>
                    <a:pt x="193" y="585"/>
                  </a:lnTo>
                  <a:lnTo>
                    <a:pt x="193" y="587"/>
                  </a:lnTo>
                  <a:lnTo>
                    <a:pt x="191" y="588"/>
                  </a:lnTo>
                  <a:lnTo>
                    <a:pt x="191" y="589"/>
                  </a:lnTo>
                  <a:lnTo>
                    <a:pt x="191" y="590"/>
                  </a:lnTo>
                  <a:lnTo>
                    <a:pt x="192" y="590"/>
                  </a:lnTo>
                  <a:lnTo>
                    <a:pt x="193" y="590"/>
                  </a:lnTo>
                  <a:lnTo>
                    <a:pt x="194" y="589"/>
                  </a:lnTo>
                  <a:lnTo>
                    <a:pt x="195" y="588"/>
                  </a:lnTo>
                  <a:lnTo>
                    <a:pt x="197" y="588"/>
                  </a:lnTo>
                  <a:lnTo>
                    <a:pt x="197" y="587"/>
                  </a:lnTo>
                  <a:lnTo>
                    <a:pt x="198" y="585"/>
                  </a:lnTo>
                  <a:lnTo>
                    <a:pt x="199" y="585"/>
                  </a:lnTo>
                  <a:lnTo>
                    <a:pt x="199" y="587"/>
                  </a:lnTo>
                  <a:lnTo>
                    <a:pt x="200" y="588"/>
                  </a:lnTo>
                  <a:lnTo>
                    <a:pt x="200" y="589"/>
                  </a:lnTo>
                  <a:lnTo>
                    <a:pt x="200" y="590"/>
                  </a:lnTo>
                  <a:lnTo>
                    <a:pt x="199" y="591"/>
                  </a:lnTo>
                  <a:lnTo>
                    <a:pt x="199" y="593"/>
                  </a:lnTo>
                  <a:lnTo>
                    <a:pt x="199" y="594"/>
                  </a:lnTo>
                  <a:lnTo>
                    <a:pt x="197" y="594"/>
                  </a:lnTo>
                  <a:lnTo>
                    <a:pt x="195" y="594"/>
                  </a:lnTo>
                  <a:lnTo>
                    <a:pt x="193" y="594"/>
                  </a:lnTo>
                  <a:lnTo>
                    <a:pt x="192" y="594"/>
                  </a:lnTo>
                  <a:lnTo>
                    <a:pt x="191" y="594"/>
                  </a:lnTo>
                  <a:lnTo>
                    <a:pt x="191" y="595"/>
                  </a:lnTo>
                  <a:lnTo>
                    <a:pt x="189" y="595"/>
                  </a:lnTo>
                  <a:lnTo>
                    <a:pt x="188" y="595"/>
                  </a:lnTo>
                  <a:lnTo>
                    <a:pt x="186" y="595"/>
                  </a:lnTo>
                  <a:lnTo>
                    <a:pt x="183" y="595"/>
                  </a:lnTo>
                  <a:lnTo>
                    <a:pt x="182" y="595"/>
                  </a:lnTo>
                  <a:lnTo>
                    <a:pt x="182" y="596"/>
                  </a:lnTo>
                  <a:lnTo>
                    <a:pt x="181" y="596"/>
                  </a:lnTo>
                  <a:lnTo>
                    <a:pt x="180" y="598"/>
                  </a:lnTo>
                  <a:lnTo>
                    <a:pt x="179" y="598"/>
                  </a:lnTo>
                  <a:lnTo>
                    <a:pt x="177" y="598"/>
                  </a:lnTo>
                  <a:lnTo>
                    <a:pt x="176" y="598"/>
                  </a:lnTo>
                  <a:lnTo>
                    <a:pt x="175" y="598"/>
                  </a:lnTo>
                  <a:lnTo>
                    <a:pt x="174" y="598"/>
                  </a:lnTo>
                  <a:lnTo>
                    <a:pt x="173" y="599"/>
                  </a:lnTo>
                  <a:lnTo>
                    <a:pt x="171" y="599"/>
                  </a:lnTo>
                  <a:lnTo>
                    <a:pt x="171" y="600"/>
                  </a:lnTo>
                  <a:lnTo>
                    <a:pt x="170" y="599"/>
                  </a:lnTo>
                  <a:lnTo>
                    <a:pt x="169" y="599"/>
                  </a:lnTo>
                  <a:lnTo>
                    <a:pt x="168" y="599"/>
                  </a:lnTo>
                  <a:lnTo>
                    <a:pt x="161" y="600"/>
                  </a:lnTo>
                  <a:lnTo>
                    <a:pt x="159" y="599"/>
                  </a:lnTo>
                  <a:lnTo>
                    <a:pt x="158" y="599"/>
                  </a:lnTo>
                  <a:lnTo>
                    <a:pt x="157" y="600"/>
                  </a:lnTo>
                  <a:lnTo>
                    <a:pt x="155" y="600"/>
                  </a:lnTo>
                  <a:lnTo>
                    <a:pt x="153" y="600"/>
                  </a:lnTo>
                  <a:lnTo>
                    <a:pt x="151" y="600"/>
                  </a:lnTo>
                  <a:lnTo>
                    <a:pt x="150" y="600"/>
                  </a:lnTo>
                  <a:lnTo>
                    <a:pt x="149" y="600"/>
                  </a:lnTo>
                  <a:lnTo>
                    <a:pt x="147" y="600"/>
                  </a:lnTo>
                  <a:lnTo>
                    <a:pt x="145" y="600"/>
                  </a:lnTo>
                  <a:lnTo>
                    <a:pt x="145" y="601"/>
                  </a:lnTo>
                  <a:lnTo>
                    <a:pt x="142" y="600"/>
                  </a:lnTo>
                  <a:lnTo>
                    <a:pt x="141" y="600"/>
                  </a:lnTo>
                  <a:lnTo>
                    <a:pt x="141" y="599"/>
                  </a:lnTo>
                  <a:lnTo>
                    <a:pt x="142" y="599"/>
                  </a:lnTo>
                  <a:lnTo>
                    <a:pt x="142" y="598"/>
                  </a:lnTo>
                  <a:lnTo>
                    <a:pt x="141" y="598"/>
                  </a:lnTo>
                  <a:lnTo>
                    <a:pt x="140" y="598"/>
                  </a:lnTo>
                  <a:lnTo>
                    <a:pt x="140" y="599"/>
                  </a:lnTo>
                  <a:lnTo>
                    <a:pt x="139" y="600"/>
                  </a:lnTo>
                  <a:lnTo>
                    <a:pt x="136" y="600"/>
                  </a:lnTo>
                  <a:lnTo>
                    <a:pt x="138" y="600"/>
                  </a:lnTo>
                  <a:lnTo>
                    <a:pt x="138" y="601"/>
                  </a:lnTo>
                  <a:lnTo>
                    <a:pt x="136" y="602"/>
                  </a:lnTo>
                  <a:lnTo>
                    <a:pt x="135" y="602"/>
                  </a:lnTo>
                  <a:lnTo>
                    <a:pt x="134" y="604"/>
                  </a:lnTo>
                  <a:lnTo>
                    <a:pt x="133" y="604"/>
                  </a:lnTo>
                  <a:lnTo>
                    <a:pt x="133" y="602"/>
                  </a:lnTo>
                  <a:lnTo>
                    <a:pt x="130" y="602"/>
                  </a:lnTo>
                  <a:lnTo>
                    <a:pt x="129" y="604"/>
                  </a:lnTo>
                  <a:lnTo>
                    <a:pt x="129" y="602"/>
                  </a:lnTo>
                  <a:lnTo>
                    <a:pt x="128" y="601"/>
                  </a:lnTo>
                  <a:lnTo>
                    <a:pt x="127" y="601"/>
                  </a:lnTo>
                  <a:lnTo>
                    <a:pt x="127" y="602"/>
                  </a:lnTo>
                  <a:lnTo>
                    <a:pt x="128" y="602"/>
                  </a:lnTo>
                  <a:lnTo>
                    <a:pt x="128" y="604"/>
                  </a:lnTo>
                  <a:lnTo>
                    <a:pt x="127" y="605"/>
                  </a:lnTo>
                  <a:lnTo>
                    <a:pt x="126" y="605"/>
                  </a:lnTo>
                  <a:lnTo>
                    <a:pt x="126" y="606"/>
                  </a:lnTo>
                  <a:lnTo>
                    <a:pt x="124" y="606"/>
                  </a:lnTo>
                  <a:lnTo>
                    <a:pt x="123" y="606"/>
                  </a:lnTo>
                  <a:lnTo>
                    <a:pt x="123" y="605"/>
                  </a:lnTo>
                  <a:lnTo>
                    <a:pt x="122" y="605"/>
                  </a:lnTo>
                  <a:lnTo>
                    <a:pt x="121" y="606"/>
                  </a:lnTo>
                  <a:lnTo>
                    <a:pt x="120" y="606"/>
                  </a:lnTo>
                  <a:lnTo>
                    <a:pt x="117" y="605"/>
                  </a:lnTo>
                  <a:lnTo>
                    <a:pt x="115" y="606"/>
                  </a:lnTo>
                  <a:lnTo>
                    <a:pt x="112" y="606"/>
                  </a:lnTo>
                  <a:lnTo>
                    <a:pt x="111" y="606"/>
                  </a:lnTo>
                  <a:lnTo>
                    <a:pt x="106" y="605"/>
                  </a:lnTo>
                  <a:lnTo>
                    <a:pt x="105" y="606"/>
                  </a:lnTo>
                  <a:lnTo>
                    <a:pt x="106" y="606"/>
                  </a:lnTo>
                  <a:lnTo>
                    <a:pt x="106" y="607"/>
                  </a:lnTo>
                  <a:lnTo>
                    <a:pt x="108" y="607"/>
                  </a:lnTo>
                  <a:lnTo>
                    <a:pt x="111" y="607"/>
                  </a:lnTo>
                  <a:lnTo>
                    <a:pt x="114" y="607"/>
                  </a:lnTo>
                  <a:lnTo>
                    <a:pt x="115" y="607"/>
                  </a:lnTo>
                  <a:lnTo>
                    <a:pt x="116" y="607"/>
                  </a:lnTo>
                  <a:lnTo>
                    <a:pt x="116" y="608"/>
                  </a:lnTo>
                  <a:lnTo>
                    <a:pt x="115" y="610"/>
                  </a:lnTo>
                  <a:lnTo>
                    <a:pt x="115" y="611"/>
                  </a:lnTo>
                  <a:lnTo>
                    <a:pt x="115" y="613"/>
                  </a:lnTo>
                  <a:lnTo>
                    <a:pt x="116" y="612"/>
                  </a:lnTo>
                  <a:lnTo>
                    <a:pt x="116" y="611"/>
                  </a:lnTo>
                  <a:lnTo>
                    <a:pt x="117" y="611"/>
                  </a:lnTo>
                  <a:lnTo>
                    <a:pt x="117" y="610"/>
                  </a:lnTo>
                  <a:lnTo>
                    <a:pt x="118" y="608"/>
                  </a:lnTo>
                  <a:lnTo>
                    <a:pt x="120" y="607"/>
                  </a:lnTo>
                  <a:lnTo>
                    <a:pt x="121" y="608"/>
                  </a:lnTo>
                  <a:lnTo>
                    <a:pt x="122" y="608"/>
                  </a:lnTo>
                  <a:lnTo>
                    <a:pt x="121" y="610"/>
                  </a:lnTo>
                  <a:lnTo>
                    <a:pt x="121" y="611"/>
                  </a:lnTo>
                  <a:lnTo>
                    <a:pt x="121" y="612"/>
                  </a:lnTo>
                  <a:lnTo>
                    <a:pt x="122" y="613"/>
                  </a:lnTo>
                  <a:lnTo>
                    <a:pt x="122" y="612"/>
                  </a:lnTo>
                  <a:lnTo>
                    <a:pt x="123" y="611"/>
                  </a:lnTo>
                  <a:lnTo>
                    <a:pt x="123" y="610"/>
                  </a:lnTo>
                  <a:lnTo>
                    <a:pt x="124" y="608"/>
                  </a:lnTo>
                  <a:lnTo>
                    <a:pt x="126" y="607"/>
                  </a:lnTo>
                  <a:lnTo>
                    <a:pt x="127" y="607"/>
                  </a:lnTo>
                  <a:lnTo>
                    <a:pt x="127" y="608"/>
                  </a:lnTo>
                  <a:lnTo>
                    <a:pt x="127" y="610"/>
                  </a:lnTo>
                  <a:lnTo>
                    <a:pt x="127" y="612"/>
                  </a:lnTo>
                  <a:lnTo>
                    <a:pt x="127" y="613"/>
                  </a:lnTo>
                  <a:lnTo>
                    <a:pt x="126" y="614"/>
                  </a:lnTo>
                  <a:lnTo>
                    <a:pt x="127" y="616"/>
                  </a:lnTo>
                  <a:lnTo>
                    <a:pt x="127" y="617"/>
                  </a:lnTo>
                  <a:lnTo>
                    <a:pt x="127" y="618"/>
                  </a:lnTo>
                  <a:lnTo>
                    <a:pt x="127" y="619"/>
                  </a:lnTo>
                  <a:lnTo>
                    <a:pt x="127" y="620"/>
                  </a:lnTo>
                  <a:lnTo>
                    <a:pt x="126" y="622"/>
                  </a:lnTo>
                  <a:lnTo>
                    <a:pt x="127" y="622"/>
                  </a:lnTo>
                  <a:lnTo>
                    <a:pt x="128" y="622"/>
                  </a:lnTo>
                  <a:lnTo>
                    <a:pt x="127" y="623"/>
                  </a:lnTo>
                  <a:lnTo>
                    <a:pt x="127" y="624"/>
                  </a:lnTo>
                  <a:lnTo>
                    <a:pt x="126" y="624"/>
                  </a:lnTo>
                  <a:lnTo>
                    <a:pt x="124" y="623"/>
                  </a:lnTo>
                  <a:lnTo>
                    <a:pt x="123" y="623"/>
                  </a:lnTo>
                  <a:lnTo>
                    <a:pt x="122" y="624"/>
                  </a:lnTo>
                  <a:lnTo>
                    <a:pt x="121" y="624"/>
                  </a:lnTo>
                  <a:lnTo>
                    <a:pt x="120" y="623"/>
                  </a:lnTo>
                  <a:lnTo>
                    <a:pt x="117" y="623"/>
                  </a:lnTo>
                  <a:lnTo>
                    <a:pt x="116" y="623"/>
                  </a:lnTo>
                  <a:lnTo>
                    <a:pt x="115" y="622"/>
                  </a:lnTo>
                  <a:lnTo>
                    <a:pt x="114" y="622"/>
                  </a:lnTo>
                  <a:lnTo>
                    <a:pt x="112" y="620"/>
                  </a:lnTo>
                  <a:lnTo>
                    <a:pt x="111" y="620"/>
                  </a:lnTo>
                  <a:lnTo>
                    <a:pt x="110" y="620"/>
                  </a:lnTo>
                  <a:lnTo>
                    <a:pt x="108" y="620"/>
                  </a:lnTo>
                  <a:lnTo>
                    <a:pt x="106" y="620"/>
                  </a:lnTo>
                  <a:lnTo>
                    <a:pt x="105" y="620"/>
                  </a:lnTo>
                  <a:lnTo>
                    <a:pt x="104" y="619"/>
                  </a:lnTo>
                  <a:lnTo>
                    <a:pt x="103" y="619"/>
                  </a:lnTo>
                  <a:lnTo>
                    <a:pt x="102" y="619"/>
                  </a:lnTo>
                  <a:lnTo>
                    <a:pt x="102" y="620"/>
                  </a:lnTo>
                  <a:lnTo>
                    <a:pt x="99" y="620"/>
                  </a:lnTo>
                  <a:lnTo>
                    <a:pt x="97" y="620"/>
                  </a:lnTo>
                  <a:lnTo>
                    <a:pt x="96" y="620"/>
                  </a:lnTo>
                  <a:lnTo>
                    <a:pt x="94" y="620"/>
                  </a:lnTo>
                  <a:lnTo>
                    <a:pt x="93" y="619"/>
                  </a:lnTo>
                  <a:lnTo>
                    <a:pt x="92" y="618"/>
                  </a:lnTo>
                  <a:lnTo>
                    <a:pt x="90" y="617"/>
                  </a:lnTo>
                  <a:lnTo>
                    <a:pt x="88" y="617"/>
                  </a:lnTo>
                  <a:lnTo>
                    <a:pt x="87" y="617"/>
                  </a:lnTo>
                  <a:lnTo>
                    <a:pt x="88" y="618"/>
                  </a:lnTo>
                  <a:lnTo>
                    <a:pt x="90" y="619"/>
                  </a:lnTo>
                  <a:lnTo>
                    <a:pt x="91" y="619"/>
                  </a:lnTo>
                  <a:lnTo>
                    <a:pt x="92" y="620"/>
                  </a:lnTo>
                  <a:lnTo>
                    <a:pt x="93" y="620"/>
                  </a:lnTo>
                  <a:lnTo>
                    <a:pt x="93" y="622"/>
                  </a:lnTo>
                  <a:lnTo>
                    <a:pt x="92" y="623"/>
                  </a:lnTo>
                  <a:lnTo>
                    <a:pt x="91" y="623"/>
                  </a:lnTo>
                  <a:lnTo>
                    <a:pt x="90" y="623"/>
                  </a:lnTo>
                  <a:lnTo>
                    <a:pt x="87" y="623"/>
                  </a:lnTo>
                  <a:lnTo>
                    <a:pt x="86" y="623"/>
                  </a:lnTo>
                  <a:lnTo>
                    <a:pt x="85" y="624"/>
                  </a:lnTo>
                  <a:lnTo>
                    <a:pt x="83" y="624"/>
                  </a:lnTo>
                  <a:lnTo>
                    <a:pt x="83" y="625"/>
                  </a:lnTo>
                  <a:lnTo>
                    <a:pt x="86" y="625"/>
                  </a:lnTo>
                  <a:lnTo>
                    <a:pt x="88" y="625"/>
                  </a:lnTo>
                  <a:lnTo>
                    <a:pt x="87" y="626"/>
                  </a:lnTo>
                  <a:lnTo>
                    <a:pt x="86" y="626"/>
                  </a:lnTo>
                  <a:lnTo>
                    <a:pt x="85" y="628"/>
                  </a:lnTo>
                  <a:lnTo>
                    <a:pt x="83" y="628"/>
                  </a:lnTo>
                  <a:lnTo>
                    <a:pt x="82" y="629"/>
                  </a:lnTo>
                  <a:lnTo>
                    <a:pt x="81" y="629"/>
                  </a:lnTo>
                  <a:lnTo>
                    <a:pt x="80" y="628"/>
                  </a:lnTo>
                  <a:lnTo>
                    <a:pt x="79" y="628"/>
                  </a:lnTo>
                  <a:lnTo>
                    <a:pt x="77" y="628"/>
                  </a:lnTo>
                  <a:lnTo>
                    <a:pt x="76" y="628"/>
                  </a:lnTo>
                  <a:lnTo>
                    <a:pt x="76" y="629"/>
                  </a:lnTo>
                  <a:lnTo>
                    <a:pt x="77" y="629"/>
                  </a:lnTo>
                  <a:lnTo>
                    <a:pt x="79" y="629"/>
                  </a:lnTo>
                  <a:lnTo>
                    <a:pt x="79" y="630"/>
                  </a:lnTo>
                  <a:lnTo>
                    <a:pt x="73" y="630"/>
                  </a:lnTo>
                  <a:lnTo>
                    <a:pt x="73" y="631"/>
                  </a:lnTo>
                  <a:lnTo>
                    <a:pt x="74" y="631"/>
                  </a:lnTo>
                  <a:lnTo>
                    <a:pt x="76" y="631"/>
                  </a:lnTo>
                  <a:lnTo>
                    <a:pt x="77" y="631"/>
                  </a:lnTo>
                  <a:lnTo>
                    <a:pt x="79" y="631"/>
                  </a:lnTo>
                  <a:lnTo>
                    <a:pt x="79" y="632"/>
                  </a:lnTo>
                  <a:lnTo>
                    <a:pt x="80" y="632"/>
                  </a:lnTo>
                  <a:lnTo>
                    <a:pt x="81" y="631"/>
                  </a:lnTo>
                  <a:lnTo>
                    <a:pt x="82" y="631"/>
                  </a:lnTo>
                  <a:lnTo>
                    <a:pt x="82" y="630"/>
                  </a:lnTo>
                  <a:lnTo>
                    <a:pt x="83" y="631"/>
                  </a:lnTo>
                  <a:lnTo>
                    <a:pt x="83" y="632"/>
                  </a:lnTo>
                  <a:lnTo>
                    <a:pt x="82" y="636"/>
                  </a:lnTo>
                  <a:lnTo>
                    <a:pt x="82" y="640"/>
                  </a:lnTo>
                  <a:lnTo>
                    <a:pt x="83" y="641"/>
                  </a:lnTo>
                  <a:lnTo>
                    <a:pt x="85" y="641"/>
                  </a:lnTo>
                  <a:lnTo>
                    <a:pt x="86" y="640"/>
                  </a:lnTo>
                  <a:lnTo>
                    <a:pt x="86" y="637"/>
                  </a:lnTo>
                  <a:lnTo>
                    <a:pt x="87" y="640"/>
                  </a:lnTo>
                  <a:lnTo>
                    <a:pt x="86" y="641"/>
                  </a:lnTo>
                  <a:lnTo>
                    <a:pt x="87" y="642"/>
                  </a:lnTo>
                  <a:lnTo>
                    <a:pt x="88" y="641"/>
                  </a:lnTo>
                  <a:lnTo>
                    <a:pt x="88" y="638"/>
                  </a:lnTo>
                  <a:lnTo>
                    <a:pt x="88" y="635"/>
                  </a:lnTo>
                  <a:lnTo>
                    <a:pt x="88" y="632"/>
                  </a:lnTo>
                  <a:lnTo>
                    <a:pt x="88" y="630"/>
                  </a:lnTo>
                  <a:lnTo>
                    <a:pt x="90" y="629"/>
                  </a:lnTo>
                  <a:lnTo>
                    <a:pt x="91" y="628"/>
                  </a:lnTo>
                  <a:lnTo>
                    <a:pt x="92" y="628"/>
                  </a:lnTo>
                  <a:lnTo>
                    <a:pt x="93" y="628"/>
                  </a:lnTo>
                  <a:lnTo>
                    <a:pt x="92" y="629"/>
                  </a:lnTo>
                  <a:lnTo>
                    <a:pt x="92" y="630"/>
                  </a:lnTo>
                  <a:lnTo>
                    <a:pt x="91" y="631"/>
                  </a:lnTo>
                  <a:lnTo>
                    <a:pt x="90" y="632"/>
                  </a:lnTo>
                  <a:lnTo>
                    <a:pt x="90" y="634"/>
                  </a:lnTo>
                  <a:lnTo>
                    <a:pt x="90" y="636"/>
                  </a:lnTo>
                  <a:lnTo>
                    <a:pt x="90" y="637"/>
                  </a:lnTo>
                  <a:lnTo>
                    <a:pt x="90" y="640"/>
                  </a:lnTo>
                  <a:lnTo>
                    <a:pt x="90" y="641"/>
                  </a:lnTo>
                  <a:lnTo>
                    <a:pt x="90" y="642"/>
                  </a:lnTo>
                  <a:lnTo>
                    <a:pt x="91" y="647"/>
                  </a:lnTo>
                  <a:lnTo>
                    <a:pt x="91" y="648"/>
                  </a:lnTo>
                  <a:lnTo>
                    <a:pt x="92" y="647"/>
                  </a:lnTo>
                  <a:lnTo>
                    <a:pt x="92" y="646"/>
                  </a:lnTo>
                  <a:lnTo>
                    <a:pt x="92" y="635"/>
                  </a:lnTo>
                  <a:lnTo>
                    <a:pt x="93" y="635"/>
                  </a:lnTo>
                  <a:lnTo>
                    <a:pt x="93" y="636"/>
                  </a:lnTo>
                  <a:lnTo>
                    <a:pt x="93" y="637"/>
                  </a:lnTo>
                  <a:lnTo>
                    <a:pt x="93" y="638"/>
                  </a:lnTo>
                  <a:lnTo>
                    <a:pt x="94" y="638"/>
                  </a:lnTo>
                  <a:lnTo>
                    <a:pt x="94" y="640"/>
                  </a:lnTo>
                  <a:lnTo>
                    <a:pt x="93" y="640"/>
                  </a:lnTo>
                  <a:lnTo>
                    <a:pt x="93" y="641"/>
                  </a:lnTo>
                  <a:lnTo>
                    <a:pt x="93" y="642"/>
                  </a:lnTo>
                  <a:lnTo>
                    <a:pt x="94" y="642"/>
                  </a:lnTo>
                  <a:lnTo>
                    <a:pt x="93" y="643"/>
                  </a:lnTo>
                  <a:lnTo>
                    <a:pt x="93" y="644"/>
                  </a:lnTo>
                  <a:lnTo>
                    <a:pt x="94" y="646"/>
                  </a:lnTo>
                  <a:lnTo>
                    <a:pt x="94" y="650"/>
                  </a:lnTo>
                  <a:lnTo>
                    <a:pt x="94" y="652"/>
                  </a:lnTo>
                  <a:lnTo>
                    <a:pt x="96" y="652"/>
                  </a:lnTo>
                  <a:lnTo>
                    <a:pt x="96" y="653"/>
                  </a:lnTo>
                  <a:lnTo>
                    <a:pt x="96" y="652"/>
                  </a:lnTo>
                  <a:lnTo>
                    <a:pt x="96" y="650"/>
                  </a:lnTo>
                  <a:lnTo>
                    <a:pt x="96" y="640"/>
                  </a:lnTo>
                  <a:lnTo>
                    <a:pt x="97" y="640"/>
                  </a:lnTo>
                  <a:lnTo>
                    <a:pt x="97" y="638"/>
                  </a:lnTo>
                  <a:lnTo>
                    <a:pt x="98" y="638"/>
                  </a:lnTo>
                  <a:lnTo>
                    <a:pt x="98" y="641"/>
                  </a:lnTo>
                  <a:lnTo>
                    <a:pt x="98" y="642"/>
                  </a:lnTo>
                  <a:lnTo>
                    <a:pt x="99" y="642"/>
                  </a:lnTo>
                  <a:lnTo>
                    <a:pt x="100" y="642"/>
                  </a:lnTo>
                  <a:lnTo>
                    <a:pt x="100" y="641"/>
                  </a:lnTo>
                  <a:lnTo>
                    <a:pt x="100" y="640"/>
                  </a:lnTo>
                  <a:lnTo>
                    <a:pt x="102" y="638"/>
                  </a:lnTo>
                  <a:lnTo>
                    <a:pt x="103" y="638"/>
                  </a:lnTo>
                  <a:lnTo>
                    <a:pt x="104" y="638"/>
                  </a:lnTo>
                  <a:lnTo>
                    <a:pt x="104" y="640"/>
                  </a:lnTo>
                  <a:lnTo>
                    <a:pt x="106" y="640"/>
                  </a:lnTo>
                  <a:lnTo>
                    <a:pt x="105" y="638"/>
                  </a:lnTo>
                  <a:lnTo>
                    <a:pt x="105" y="637"/>
                  </a:lnTo>
                  <a:lnTo>
                    <a:pt x="105" y="636"/>
                  </a:lnTo>
                  <a:lnTo>
                    <a:pt x="105" y="635"/>
                  </a:lnTo>
                  <a:lnTo>
                    <a:pt x="105" y="634"/>
                  </a:lnTo>
                  <a:lnTo>
                    <a:pt x="105" y="632"/>
                  </a:lnTo>
                  <a:lnTo>
                    <a:pt x="106" y="632"/>
                  </a:lnTo>
                  <a:lnTo>
                    <a:pt x="106" y="634"/>
                  </a:lnTo>
                  <a:lnTo>
                    <a:pt x="108" y="634"/>
                  </a:lnTo>
                  <a:lnTo>
                    <a:pt x="109" y="634"/>
                  </a:lnTo>
                  <a:lnTo>
                    <a:pt x="109" y="635"/>
                  </a:lnTo>
                  <a:lnTo>
                    <a:pt x="109" y="636"/>
                  </a:lnTo>
                  <a:lnTo>
                    <a:pt x="108" y="637"/>
                  </a:lnTo>
                  <a:lnTo>
                    <a:pt x="108" y="638"/>
                  </a:lnTo>
                  <a:lnTo>
                    <a:pt x="108" y="640"/>
                  </a:lnTo>
                  <a:lnTo>
                    <a:pt x="108" y="641"/>
                  </a:lnTo>
                  <a:lnTo>
                    <a:pt x="105" y="642"/>
                  </a:lnTo>
                  <a:lnTo>
                    <a:pt x="105" y="643"/>
                  </a:lnTo>
                  <a:lnTo>
                    <a:pt x="106" y="643"/>
                  </a:lnTo>
                  <a:lnTo>
                    <a:pt x="108" y="642"/>
                  </a:lnTo>
                  <a:lnTo>
                    <a:pt x="108" y="643"/>
                  </a:lnTo>
                  <a:lnTo>
                    <a:pt x="108" y="644"/>
                  </a:lnTo>
                  <a:lnTo>
                    <a:pt x="109" y="646"/>
                  </a:lnTo>
                  <a:lnTo>
                    <a:pt x="108" y="647"/>
                  </a:lnTo>
                  <a:lnTo>
                    <a:pt x="108" y="648"/>
                  </a:lnTo>
                  <a:lnTo>
                    <a:pt x="109" y="648"/>
                  </a:lnTo>
                  <a:lnTo>
                    <a:pt x="110" y="647"/>
                  </a:lnTo>
                  <a:lnTo>
                    <a:pt x="110" y="646"/>
                  </a:lnTo>
                  <a:lnTo>
                    <a:pt x="110" y="644"/>
                  </a:lnTo>
                  <a:lnTo>
                    <a:pt x="111" y="644"/>
                  </a:lnTo>
                  <a:lnTo>
                    <a:pt x="112" y="644"/>
                  </a:lnTo>
                  <a:lnTo>
                    <a:pt x="112" y="647"/>
                  </a:lnTo>
                  <a:lnTo>
                    <a:pt x="112" y="648"/>
                  </a:lnTo>
                  <a:lnTo>
                    <a:pt x="111" y="649"/>
                  </a:lnTo>
                  <a:lnTo>
                    <a:pt x="110" y="650"/>
                  </a:lnTo>
                  <a:lnTo>
                    <a:pt x="110" y="652"/>
                  </a:lnTo>
                  <a:lnTo>
                    <a:pt x="110" y="653"/>
                  </a:lnTo>
                  <a:lnTo>
                    <a:pt x="109" y="654"/>
                  </a:lnTo>
                  <a:lnTo>
                    <a:pt x="110" y="656"/>
                  </a:lnTo>
                  <a:lnTo>
                    <a:pt x="111" y="658"/>
                  </a:lnTo>
                  <a:lnTo>
                    <a:pt x="110" y="658"/>
                  </a:lnTo>
                  <a:lnTo>
                    <a:pt x="109" y="658"/>
                  </a:lnTo>
                  <a:lnTo>
                    <a:pt x="108" y="659"/>
                  </a:lnTo>
                  <a:lnTo>
                    <a:pt x="106" y="660"/>
                  </a:lnTo>
                  <a:lnTo>
                    <a:pt x="105" y="661"/>
                  </a:lnTo>
                  <a:lnTo>
                    <a:pt x="104" y="662"/>
                  </a:lnTo>
                  <a:lnTo>
                    <a:pt x="103" y="664"/>
                  </a:lnTo>
                  <a:lnTo>
                    <a:pt x="102" y="664"/>
                  </a:lnTo>
                  <a:lnTo>
                    <a:pt x="102" y="665"/>
                  </a:lnTo>
                  <a:lnTo>
                    <a:pt x="100" y="666"/>
                  </a:lnTo>
                  <a:lnTo>
                    <a:pt x="100" y="667"/>
                  </a:lnTo>
                  <a:lnTo>
                    <a:pt x="99" y="667"/>
                  </a:lnTo>
                  <a:lnTo>
                    <a:pt x="96" y="667"/>
                  </a:lnTo>
                  <a:lnTo>
                    <a:pt x="94" y="667"/>
                  </a:lnTo>
                  <a:lnTo>
                    <a:pt x="93" y="668"/>
                  </a:lnTo>
                  <a:lnTo>
                    <a:pt x="92" y="670"/>
                  </a:lnTo>
                  <a:lnTo>
                    <a:pt x="90" y="671"/>
                  </a:lnTo>
                  <a:lnTo>
                    <a:pt x="88" y="670"/>
                  </a:lnTo>
                  <a:lnTo>
                    <a:pt x="87" y="670"/>
                  </a:lnTo>
                  <a:lnTo>
                    <a:pt x="86" y="668"/>
                  </a:lnTo>
                  <a:lnTo>
                    <a:pt x="85" y="668"/>
                  </a:lnTo>
                  <a:lnTo>
                    <a:pt x="82" y="668"/>
                  </a:lnTo>
                  <a:lnTo>
                    <a:pt x="83" y="668"/>
                  </a:lnTo>
                  <a:lnTo>
                    <a:pt x="85" y="670"/>
                  </a:lnTo>
                  <a:lnTo>
                    <a:pt x="85" y="671"/>
                  </a:lnTo>
                  <a:lnTo>
                    <a:pt x="83" y="671"/>
                  </a:lnTo>
                  <a:lnTo>
                    <a:pt x="82" y="671"/>
                  </a:lnTo>
                  <a:lnTo>
                    <a:pt x="81" y="672"/>
                  </a:lnTo>
                  <a:lnTo>
                    <a:pt x="80" y="672"/>
                  </a:lnTo>
                  <a:lnTo>
                    <a:pt x="81" y="673"/>
                  </a:lnTo>
                  <a:lnTo>
                    <a:pt x="82" y="673"/>
                  </a:lnTo>
                  <a:lnTo>
                    <a:pt x="83" y="672"/>
                  </a:lnTo>
                  <a:lnTo>
                    <a:pt x="85" y="672"/>
                  </a:lnTo>
                  <a:lnTo>
                    <a:pt x="86" y="672"/>
                  </a:lnTo>
                  <a:lnTo>
                    <a:pt x="86" y="673"/>
                  </a:lnTo>
                  <a:lnTo>
                    <a:pt x="86" y="674"/>
                  </a:lnTo>
                  <a:lnTo>
                    <a:pt x="85" y="676"/>
                  </a:lnTo>
                  <a:lnTo>
                    <a:pt x="85" y="677"/>
                  </a:lnTo>
                  <a:lnTo>
                    <a:pt x="86" y="676"/>
                  </a:lnTo>
                  <a:lnTo>
                    <a:pt x="87" y="674"/>
                  </a:lnTo>
                  <a:lnTo>
                    <a:pt x="87" y="673"/>
                  </a:lnTo>
                  <a:lnTo>
                    <a:pt x="88" y="673"/>
                  </a:lnTo>
                  <a:lnTo>
                    <a:pt x="90" y="673"/>
                  </a:lnTo>
                  <a:lnTo>
                    <a:pt x="90" y="676"/>
                  </a:lnTo>
                  <a:lnTo>
                    <a:pt x="90" y="677"/>
                  </a:lnTo>
                  <a:lnTo>
                    <a:pt x="91" y="676"/>
                  </a:lnTo>
                  <a:lnTo>
                    <a:pt x="91" y="674"/>
                  </a:lnTo>
                  <a:lnTo>
                    <a:pt x="91" y="673"/>
                  </a:lnTo>
                  <a:lnTo>
                    <a:pt x="91" y="671"/>
                  </a:lnTo>
                  <a:lnTo>
                    <a:pt x="92" y="671"/>
                  </a:lnTo>
                  <a:lnTo>
                    <a:pt x="92" y="672"/>
                  </a:lnTo>
                  <a:lnTo>
                    <a:pt x="92" y="673"/>
                  </a:lnTo>
                  <a:lnTo>
                    <a:pt x="92" y="676"/>
                  </a:lnTo>
                  <a:lnTo>
                    <a:pt x="92" y="677"/>
                  </a:lnTo>
                  <a:lnTo>
                    <a:pt x="93" y="678"/>
                  </a:lnTo>
                  <a:lnTo>
                    <a:pt x="92" y="680"/>
                  </a:lnTo>
                  <a:lnTo>
                    <a:pt x="91" y="682"/>
                  </a:lnTo>
                  <a:lnTo>
                    <a:pt x="88" y="682"/>
                  </a:lnTo>
                  <a:lnTo>
                    <a:pt x="85" y="682"/>
                  </a:lnTo>
                  <a:lnTo>
                    <a:pt x="83" y="680"/>
                  </a:lnTo>
                  <a:lnTo>
                    <a:pt x="82" y="679"/>
                  </a:lnTo>
                  <a:lnTo>
                    <a:pt x="81" y="679"/>
                  </a:lnTo>
                  <a:lnTo>
                    <a:pt x="81" y="680"/>
                  </a:lnTo>
                  <a:lnTo>
                    <a:pt x="80" y="680"/>
                  </a:lnTo>
                  <a:lnTo>
                    <a:pt x="79" y="679"/>
                  </a:lnTo>
                  <a:lnTo>
                    <a:pt x="79" y="678"/>
                  </a:lnTo>
                  <a:lnTo>
                    <a:pt x="79" y="679"/>
                  </a:lnTo>
                  <a:lnTo>
                    <a:pt x="79" y="680"/>
                  </a:lnTo>
                  <a:lnTo>
                    <a:pt x="77" y="679"/>
                  </a:lnTo>
                  <a:lnTo>
                    <a:pt x="76" y="678"/>
                  </a:lnTo>
                  <a:lnTo>
                    <a:pt x="76" y="677"/>
                  </a:lnTo>
                  <a:lnTo>
                    <a:pt x="75" y="678"/>
                  </a:lnTo>
                  <a:lnTo>
                    <a:pt x="75" y="679"/>
                  </a:lnTo>
                  <a:lnTo>
                    <a:pt x="73" y="679"/>
                  </a:lnTo>
                  <a:lnTo>
                    <a:pt x="70" y="678"/>
                  </a:lnTo>
                  <a:lnTo>
                    <a:pt x="69" y="678"/>
                  </a:lnTo>
                  <a:lnTo>
                    <a:pt x="69" y="679"/>
                  </a:lnTo>
                  <a:lnTo>
                    <a:pt x="70" y="679"/>
                  </a:lnTo>
                  <a:lnTo>
                    <a:pt x="71" y="679"/>
                  </a:lnTo>
                  <a:lnTo>
                    <a:pt x="73" y="680"/>
                  </a:lnTo>
                  <a:lnTo>
                    <a:pt x="73" y="682"/>
                  </a:lnTo>
                  <a:lnTo>
                    <a:pt x="73" y="683"/>
                  </a:lnTo>
                  <a:lnTo>
                    <a:pt x="74" y="683"/>
                  </a:lnTo>
                  <a:lnTo>
                    <a:pt x="75" y="683"/>
                  </a:lnTo>
                  <a:lnTo>
                    <a:pt x="76" y="684"/>
                  </a:lnTo>
                  <a:lnTo>
                    <a:pt x="76" y="683"/>
                  </a:lnTo>
                  <a:lnTo>
                    <a:pt x="77" y="682"/>
                  </a:lnTo>
                  <a:lnTo>
                    <a:pt x="79" y="682"/>
                  </a:lnTo>
                  <a:lnTo>
                    <a:pt x="79" y="683"/>
                  </a:lnTo>
                  <a:lnTo>
                    <a:pt x="77" y="683"/>
                  </a:lnTo>
                  <a:lnTo>
                    <a:pt x="77" y="684"/>
                  </a:lnTo>
                  <a:lnTo>
                    <a:pt x="77" y="685"/>
                  </a:lnTo>
                  <a:lnTo>
                    <a:pt x="79" y="684"/>
                  </a:lnTo>
                  <a:lnTo>
                    <a:pt x="80" y="685"/>
                  </a:lnTo>
                  <a:lnTo>
                    <a:pt x="79" y="685"/>
                  </a:lnTo>
                  <a:lnTo>
                    <a:pt x="79" y="688"/>
                  </a:lnTo>
                  <a:lnTo>
                    <a:pt x="80" y="688"/>
                  </a:lnTo>
                  <a:lnTo>
                    <a:pt x="80" y="686"/>
                  </a:lnTo>
                  <a:lnTo>
                    <a:pt x="80" y="685"/>
                  </a:lnTo>
                  <a:lnTo>
                    <a:pt x="80" y="684"/>
                  </a:lnTo>
                  <a:lnTo>
                    <a:pt x="80" y="683"/>
                  </a:lnTo>
                  <a:lnTo>
                    <a:pt x="82" y="683"/>
                  </a:lnTo>
                  <a:lnTo>
                    <a:pt x="83" y="683"/>
                  </a:lnTo>
                  <a:lnTo>
                    <a:pt x="82" y="685"/>
                  </a:lnTo>
                  <a:lnTo>
                    <a:pt x="81" y="685"/>
                  </a:lnTo>
                  <a:lnTo>
                    <a:pt x="81" y="686"/>
                  </a:lnTo>
                  <a:lnTo>
                    <a:pt x="81" y="688"/>
                  </a:lnTo>
                  <a:lnTo>
                    <a:pt x="82" y="688"/>
                  </a:lnTo>
                  <a:lnTo>
                    <a:pt x="82" y="686"/>
                  </a:lnTo>
                  <a:lnTo>
                    <a:pt x="83" y="686"/>
                  </a:lnTo>
                  <a:lnTo>
                    <a:pt x="83" y="685"/>
                  </a:lnTo>
                  <a:lnTo>
                    <a:pt x="85" y="684"/>
                  </a:lnTo>
                  <a:lnTo>
                    <a:pt x="87" y="684"/>
                  </a:lnTo>
                  <a:lnTo>
                    <a:pt x="87" y="685"/>
                  </a:lnTo>
                  <a:lnTo>
                    <a:pt x="86" y="685"/>
                  </a:lnTo>
                  <a:lnTo>
                    <a:pt x="86" y="688"/>
                  </a:lnTo>
                  <a:lnTo>
                    <a:pt x="85" y="689"/>
                  </a:lnTo>
                  <a:lnTo>
                    <a:pt x="85" y="690"/>
                  </a:lnTo>
                  <a:lnTo>
                    <a:pt x="85" y="691"/>
                  </a:lnTo>
                  <a:lnTo>
                    <a:pt x="85" y="692"/>
                  </a:lnTo>
                  <a:lnTo>
                    <a:pt x="85" y="694"/>
                  </a:lnTo>
                  <a:lnTo>
                    <a:pt x="83" y="694"/>
                  </a:lnTo>
                  <a:lnTo>
                    <a:pt x="81" y="692"/>
                  </a:lnTo>
                  <a:lnTo>
                    <a:pt x="80" y="691"/>
                  </a:lnTo>
                  <a:lnTo>
                    <a:pt x="80" y="692"/>
                  </a:lnTo>
                  <a:lnTo>
                    <a:pt x="81" y="692"/>
                  </a:lnTo>
                  <a:lnTo>
                    <a:pt x="81" y="694"/>
                  </a:lnTo>
                  <a:lnTo>
                    <a:pt x="82" y="695"/>
                  </a:lnTo>
                  <a:lnTo>
                    <a:pt x="81" y="695"/>
                  </a:lnTo>
                  <a:lnTo>
                    <a:pt x="80" y="696"/>
                  </a:lnTo>
                  <a:lnTo>
                    <a:pt x="77" y="697"/>
                  </a:lnTo>
                  <a:lnTo>
                    <a:pt x="75" y="697"/>
                  </a:lnTo>
                  <a:lnTo>
                    <a:pt x="74" y="698"/>
                  </a:lnTo>
                  <a:lnTo>
                    <a:pt x="75" y="698"/>
                  </a:lnTo>
                  <a:lnTo>
                    <a:pt x="76" y="698"/>
                  </a:lnTo>
                  <a:lnTo>
                    <a:pt x="77" y="698"/>
                  </a:lnTo>
                  <a:lnTo>
                    <a:pt x="79" y="698"/>
                  </a:lnTo>
                  <a:lnTo>
                    <a:pt x="80" y="698"/>
                  </a:lnTo>
                  <a:lnTo>
                    <a:pt x="80" y="697"/>
                  </a:lnTo>
                  <a:lnTo>
                    <a:pt x="81" y="697"/>
                  </a:lnTo>
                  <a:lnTo>
                    <a:pt x="82" y="698"/>
                  </a:lnTo>
                  <a:lnTo>
                    <a:pt x="81" y="698"/>
                  </a:lnTo>
                  <a:lnTo>
                    <a:pt x="80" y="700"/>
                  </a:lnTo>
                  <a:lnTo>
                    <a:pt x="79" y="701"/>
                  </a:lnTo>
                  <a:lnTo>
                    <a:pt x="79" y="702"/>
                  </a:lnTo>
                  <a:lnTo>
                    <a:pt x="77" y="702"/>
                  </a:lnTo>
                  <a:lnTo>
                    <a:pt x="77" y="703"/>
                  </a:lnTo>
                  <a:lnTo>
                    <a:pt x="79" y="703"/>
                  </a:lnTo>
                  <a:lnTo>
                    <a:pt x="80" y="702"/>
                  </a:lnTo>
                  <a:lnTo>
                    <a:pt x="81" y="702"/>
                  </a:lnTo>
                  <a:lnTo>
                    <a:pt x="81" y="705"/>
                  </a:lnTo>
                  <a:lnTo>
                    <a:pt x="81" y="706"/>
                  </a:lnTo>
                  <a:lnTo>
                    <a:pt x="81" y="707"/>
                  </a:lnTo>
                  <a:lnTo>
                    <a:pt x="82" y="706"/>
                  </a:lnTo>
                  <a:lnTo>
                    <a:pt x="82" y="703"/>
                  </a:lnTo>
                  <a:lnTo>
                    <a:pt x="83" y="702"/>
                  </a:lnTo>
                  <a:lnTo>
                    <a:pt x="83" y="701"/>
                  </a:lnTo>
                  <a:lnTo>
                    <a:pt x="85" y="700"/>
                  </a:lnTo>
                  <a:lnTo>
                    <a:pt x="86" y="701"/>
                  </a:lnTo>
                  <a:lnTo>
                    <a:pt x="86" y="702"/>
                  </a:lnTo>
                  <a:lnTo>
                    <a:pt x="85" y="703"/>
                  </a:lnTo>
                  <a:lnTo>
                    <a:pt x="85" y="705"/>
                  </a:lnTo>
                  <a:lnTo>
                    <a:pt x="86" y="705"/>
                  </a:lnTo>
                  <a:lnTo>
                    <a:pt x="87" y="705"/>
                  </a:lnTo>
                  <a:lnTo>
                    <a:pt x="87" y="714"/>
                  </a:lnTo>
                  <a:lnTo>
                    <a:pt x="87" y="715"/>
                  </a:lnTo>
                  <a:lnTo>
                    <a:pt x="88" y="717"/>
                  </a:lnTo>
                  <a:lnTo>
                    <a:pt x="90" y="717"/>
                  </a:lnTo>
                  <a:lnTo>
                    <a:pt x="90" y="715"/>
                  </a:lnTo>
                  <a:lnTo>
                    <a:pt x="90" y="714"/>
                  </a:lnTo>
                  <a:lnTo>
                    <a:pt x="91" y="711"/>
                  </a:lnTo>
                  <a:lnTo>
                    <a:pt x="91" y="713"/>
                  </a:lnTo>
                  <a:lnTo>
                    <a:pt x="92" y="714"/>
                  </a:lnTo>
                  <a:lnTo>
                    <a:pt x="92" y="712"/>
                  </a:lnTo>
                  <a:lnTo>
                    <a:pt x="93" y="711"/>
                  </a:lnTo>
                  <a:lnTo>
                    <a:pt x="93" y="709"/>
                  </a:lnTo>
                  <a:lnTo>
                    <a:pt x="94" y="708"/>
                  </a:lnTo>
                  <a:lnTo>
                    <a:pt x="96" y="707"/>
                  </a:lnTo>
                  <a:lnTo>
                    <a:pt x="97" y="708"/>
                  </a:lnTo>
                  <a:lnTo>
                    <a:pt x="98" y="709"/>
                  </a:lnTo>
                  <a:lnTo>
                    <a:pt x="99" y="708"/>
                  </a:lnTo>
                  <a:lnTo>
                    <a:pt x="100" y="708"/>
                  </a:lnTo>
                  <a:lnTo>
                    <a:pt x="100" y="711"/>
                  </a:lnTo>
                  <a:lnTo>
                    <a:pt x="102" y="712"/>
                  </a:lnTo>
                  <a:lnTo>
                    <a:pt x="103" y="713"/>
                  </a:lnTo>
                  <a:lnTo>
                    <a:pt x="102" y="714"/>
                  </a:lnTo>
                  <a:lnTo>
                    <a:pt x="100" y="715"/>
                  </a:lnTo>
                  <a:lnTo>
                    <a:pt x="100" y="717"/>
                  </a:lnTo>
                  <a:lnTo>
                    <a:pt x="100" y="718"/>
                  </a:lnTo>
                  <a:lnTo>
                    <a:pt x="99" y="718"/>
                  </a:lnTo>
                  <a:lnTo>
                    <a:pt x="99" y="719"/>
                  </a:lnTo>
                  <a:lnTo>
                    <a:pt x="99" y="720"/>
                  </a:lnTo>
                  <a:lnTo>
                    <a:pt x="100" y="720"/>
                  </a:lnTo>
                  <a:lnTo>
                    <a:pt x="100" y="719"/>
                  </a:lnTo>
                  <a:lnTo>
                    <a:pt x="102" y="719"/>
                  </a:lnTo>
                  <a:lnTo>
                    <a:pt x="102" y="718"/>
                  </a:lnTo>
                  <a:lnTo>
                    <a:pt x="102" y="717"/>
                  </a:lnTo>
                  <a:lnTo>
                    <a:pt x="103" y="717"/>
                  </a:lnTo>
                  <a:lnTo>
                    <a:pt x="103" y="719"/>
                  </a:lnTo>
                  <a:lnTo>
                    <a:pt x="103" y="720"/>
                  </a:lnTo>
                  <a:lnTo>
                    <a:pt x="104" y="720"/>
                  </a:lnTo>
                  <a:lnTo>
                    <a:pt x="105" y="718"/>
                  </a:lnTo>
                  <a:lnTo>
                    <a:pt x="105" y="717"/>
                  </a:lnTo>
                  <a:lnTo>
                    <a:pt x="106" y="715"/>
                  </a:lnTo>
                  <a:lnTo>
                    <a:pt x="106" y="717"/>
                  </a:lnTo>
                  <a:lnTo>
                    <a:pt x="108" y="715"/>
                  </a:lnTo>
                  <a:lnTo>
                    <a:pt x="108" y="713"/>
                  </a:lnTo>
                  <a:lnTo>
                    <a:pt x="109" y="713"/>
                  </a:lnTo>
                  <a:lnTo>
                    <a:pt x="109" y="714"/>
                  </a:lnTo>
                  <a:lnTo>
                    <a:pt x="110" y="714"/>
                  </a:lnTo>
                  <a:lnTo>
                    <a:pt x="111" y="714"/>
                  </a:lnTo>
                  <a:lnTo>
                    <a:pt x="111" y="715"/>
                  </a:lnTo>
                  <a:lnTo>
                    <a:pt x="112" y="717"/>
                  </a:lnTo>
                  <a:lnTo>
                    <a:pt x="114" y="717"/>
                  </a:lnTo>
                  <a:lnTo>
                    <a:pt x="114" y="718"/>
                  </a:lnTo>
                  <a:lnTo>
                    <a:pt x="114" y="719"/>
                  </a:lnTo>
                  <a:lnTo>
                    <a:pt x="116" y="719"/>
                  </a:lnTo>
                  <a:lnTo>
                    <a:pt x="115" y="718"/>
                  </a:lnTo>
                  <a:lnTo>
                    <a:pt x="116" y="714"/>
                  </a:lnTo>
                  <a:lnTo>
                    <a:pt x="117" y="715"/>
                  </a:lnTo>
                  <a:lnTo>
                    <a:pt x="118" y="717"/>
                  </a:lnTo>
                  <a:lnTo>
                    <a:pt x="120" y="717"/>
                  </a:lnTo>
                  <a:lnTo>
                    <a:pt x="118" y="718"/>
                  </a:lnTo>
                  <a:lnTo>
                    <a:pt x="118" y="720"/>
                  </a:lnTo>
                  <a:lnTo>
                    <a:pt x="117" y="721"/>
                  </a:lnTo>
                  <a:lnTo>
                    <a:pt x="117" y="723"/>
                  </a:lnTo>
                  <a:lnTo>
                    <a:pt x="118" y="723"/>
                  </a:lnTo>
                  <a:lnTo>
                    <a:pt x="120" y="721"/>
                  </a:lnTo>
                  <a:lnTo>
                    <a:pt x="121" y="721"/>
                  </a:lnTo>
                  <a:lnTo>
                    <a:pt x="122" y="723"/>
                  </a:lnTo>
                  <a:lnTo>
                    <a:pt x="124" y="725"/>
                  </a:lnTo>
                  <a:lnTo>
                    <a:pt x="124" y="726"/>
                  </a:lnTo>
                  <a:lnTo>
                    <a:pt x="126" y="727"/>
                  </a:lnTo>
                  <a:lnTo>
                    <a:pt x="126" y="730"/>
                  </a:lnTo>
                  <a:lnTo>
                    <a:pt x="124" y="731"/>
                  </a:lnTo>
                  <a:lnTo>
                    <a:pt x="123" y="731"/>
                  </a:lnTo>
                  <a:lnTo>
                    <a:pt x="121" y="732"/>
                  </a:lnTo>
                  <a:lnTo>
                    <a:pt x="120" y="731"/>
                  </a:lnTo>
                  <a:lnTo>
                    <a:pt x="118" y="731"/>
                  </a:lnTo>
                  <a:lnTo>
                    <a:pt x="117" y="732"/>
                  </a:lnTo>
                  <a:lnTo>
                    <a:pt x="116" y="732"/>
                  </a:lnTo>
                  <a:lnTo>
                    <a:pt x="114" y="732"/>
                  </a:lnTo>
                  <a:lnTo>
                    <a:pt x="112" y="731"/>
                  </a:lnTo>
                  <a:lnTo>
                    <a:pt x="111" y="730"/>
                  </a:lnTo>
                  <a:lnTo>
                    <a:pt x="109" y="730"/>
                  </a:lnTo>
                  <a:lnTo>
                    <a:pt x="108" y="730"/>
                  </a:lnTo>
                  <a:lnTo>
                    <a:pt x="104" y="730"/>
                  </a:lnTo>
                  <a:lnTo>
                    <a:pt x="103" y="729"/>
                  </a:lnTo>
                  <a:lnTo>
                    <a:pt x="100" y="729"/>
                  </a:lnTo>
                  <a:lnTo>
                    <a:pt x="100" y="730"/>
                  </a:lnTo>
                  <a:lnTo>
                    <a:pt x="102" y="730"/>
                  </a:lnTo>
                  <a:lnTo>
                    <a:pt x="103" y="730"/>
                  </a:lnTo>
                  <a:lnTo>
                    <a:pt x="104" y="731"/>
                  </a:lnTo>
                  <a:lnTo>
                    <a:pt x="105" y="732"/>
                  </a:lnTo>
                  <a:lnTo>
                    <a:pt x="104" y="733"/>
                  </a:lnTo>
                  <a:lnTo>
                    <a:pt x="104" y="735"/>
                  </a:lnTo>
                  <a:lnTo>
                    <a:pt x="105" y="735"/>
                  </a:lnTo>
                  <a:lnTo>
                    <a:pt x="106" y="735"/>
                  </a:lnTo>
                  <a:lnTo>
                    <a:pt x="108" y="733"/>
                  </a:lnTo>
                  <a:lnTo>
                    <a:pt x="109" y="732"/>
                  </a:lnTo>
                  <a:lnTo>
                    <a:pt x="110" y="732"/>
                  </a:lnTo>
                  <a:lnTo>
                    <a:pt x="112" y="733"/>
                  </a:lnTo>
                  <a:lnTo>
                    <a:pt x="111" y="735"/>
                  </a:lnTo>
                  <a:lnTo>
                    <a:pt x="111" y="736"/>
                  </a:lnTo>
                  <a:lnTo>
                    <a:pt x="110" y="738"/>
                  </a:lnTo>
                  <a:lnTo>
                    <a:pt x="111" y="738"/>
                  </a:lnTo>
                  <a:lnTo>
                    <a:pt x="112" y="738"/>
                  </a:lnTo>
                  <a:lnTo>
                    <a:pt x="114" y="736"/>
                  </a:lnTo>
                  <a:lnTo>
                    <a:pt x="114" y="735"/>
                  </a:lnTo>
                  <a:lnTo>
                    <a:pt x="114" y="733"/>
                  </a:lnTo>
                  <a:lnTo>
                    <a:pt x="115" y="733"/>
                  </a:lnTo>
                  <a:lnTo>
                    <a:pt x="117" y="733"/>
                  </a:lnTo>
                  <a:lnTo>
                    <a:pt x="118" y="733"/>
                  </a:lnTo>
                  <a:lnTo>
                    <a:pt x="117" y="736"/>
                  </a:lnTo>
                  <a:lnTo>
                    <a:pt x="116" y="737"/>
                  </a:lnTo>
                  <a:lnTo>
                    <a:pt x="116" y="739"/>
                  </a:lnTo>
                  <a:lnTo>
                    <a:pt x="116" y="742"/>
                  </a:lnTo>
                  <a:lnTo>
                    <a:pt x="116" y="743"/>
                  </a:lnTo>
                  <a:lnTo>
                    <a:pt x="116" y="744"/>
                  </a:lnTo>
                  <a:lnTo>
                    <a:pt x="116" y="747"/>
                  </a:lnTo>
                  <a:lnTo>
                    <a:pt x="116" y="749"/>
                  </a:lnTo>
                  <a:lnTo>
                    <a:pt x="117" y="750"/>
                  </a:lnTo>
                  <a:lnTo>
                    <a:pt x="118" y="750"/>
                  </a:lnTo>
                  <a:lnTo>
                    <a:pt x="120" y="750"/>
                  </a:lnTo>
                  <a:lnTo>
                    <a:pt x="120" y="749"/>
                  </a:lnTo>
                  <a:lnTo>
                    <a:pt x="120" y="745"/>
                  </a:lnTo>
                  <a:lnTo>
                    <a:pt x="120" y="743"/>
                  </a:lnTo>
                  <a:lnTo>
                    <a:pt x="120" y="741"/>
                  </a:lnTo>
                  <a:lnTo>
                    <a:pt x="120" y="738"/>
                  </a:lnTo>
                  <a:lnTo>
                    <a:pt x="121" y="737"/>
                  </a:lnTo>
                  <a:lnTo>
                    <a:pt x="122" y="736"/>
                  </a:lnTo>
                  <a:lnTo>
                    <a:pt x="122" y="735"/>
                  </a:lnTo>
                  <a:lnTo>
                    <a:pt x="123" y="732"/>
                  </a:lnTo>
                  <a:lnTo>
                    <a:pt x="123" y="735"/>
                  </a:lnTo>
                  <a:lnTo>
                    <a:pt x="122" y="737"/>
                  </a:lnTo>
                  <a:lnTo>
                    <a:pt x="123" y="736"/>
                  </a:lnTo>
                  <a:lnTo>
                    <a:pt x="124" y="735"/>
                  </a:lnTo>
                  <a:lnTo>
                    <a:pt x="124" y="736"/>
                  </a:lnTo>
                  <a:lnTo>
                    <a:pt x="124" y="739"/>
                  </a:lnTo>
                  <a:lnTo>
                    <a:pt x="124" y="742"/>
                  </a:lnTo>
                  <a:lnTo>
                    <a:pt x="123" y="743"/>
                  </a:lnTo>
                  <a:lnTo>
                    <a:pt x="123" y="744"/>
                  </a:lnTo>
                  <a:lnTo>
                    <a:pt x="123" y="747"/>
                  </a:lnTo>
                  <a:lnTo>
                    <a:pt x="124" y="748"/>
                  </a:lnTo>
                  <a:lnTo>
                    <a:pt x="124" y="749"/>
                  </a:lnTo>
                  <a:lnTo>
                    <a:pt x="126" y="749"/>
                  </a:lnTo>
                  <a:lnTo>
                    <a:pt x="126" y="748"/>
                  </a:lnTo>
                  <a:lnTo>
                    <a:pt x="127" y="744"/>
                  </a:lnTo>
                  <a:lnTo>
                    <a:pt x="127" y="741"/>
                  </a:lnTo>
                  <a:lnTo>
                    <a:pt x="127" y="738"/>
                  </a:lnTo>
                  <a:lnTo>
                    <a:pt x="127" y="736"/>
                  </a:lnTo>
                  <a:lnTo>
                    <a:pt x="127" y="733"/>
                  </a:lnTo>
                  <a:lnTo>
                    <a:pt x="128" y="732"/>
                  </a:lnTo>
                  <a:lnTo>
                    <a:pt x="129" y="732"/>
                  </a:lnTo>
                  <a:lnTo>
                    <a:pt x="128" y="735"/>
                  </a:lnTo>
                  <a:lnTo>
                    <a:pt x="127" y="738"/>
                  </a:lnTo>
                  <a:lnTo>
                    <a:pt x="127" y="739"/>
                  </a:lnTo>
                  <a:lnTo>
                    <a:pt x="127" y="742"/>
                  </a:lnTo>
                  <a:lnTo>
                    <a:pt x="128" y="744"/>
                  </a:lnTo>
                  <a:lnTo>
                    <a:pt x="129" y="743"/>
                  </a:lnTo>
                  <a:lnTo>
                    <a:pt x="130" y="743"/>
                  </a:lnTo>
                  <a:lnTo>
                    <a:pt x="129" y="745"/>
                  </a:lnTo>
                  <a:lnTo>
                    <a:pt x="129" y="748"/>
                  </a:lnTo>
                  <a:lnTo>
                    <a:pt x="129" y="750"/>
                  </a:lnTo>
                  <a:lnTo>
                    <a:pt x="129" y="751"/>
                  </a:lnTo>
                  <a:lnTo>
                    <a:pt x="129" y="753"/>
                  </a:lnTo>
                  <a:lnTo>
                    <a:pt x="130" y="753"/>
                  </a:lnTo>
                  <a:lnTo>
                    <a:pt x="130" y="751"/>
                  </a:lnTo>
                  <a:lnTo>
                    <a:pt x="132" y="749"/>
                  </a:lnTo>
                  <a:lnTo>
                    <a:pt x="132" y="748"/>
                  </a:lnTo>
                  <a:lnTo>
                    <a:pt x="133" y="748"/>
                  </a:lnTo>
                  <a:lnTo>
                    <a:pt x="133" y="747"/>
                  </a:lnTo>
                  <a:lnTo>
                    <a:pt x="134" y="747"/>
                  </a:lnTo>
                  <a:lnTo>
                    <a:pt x="134" y="748"/>
                  </a:lnTo>
                  <a:lnTo>
                    <a:pt x="134" y="749"/>
                  </a:lnTo>
                  <a:lnTo>
                    <a:pt x="134" y="750"/>
                  </a:lnTo>
                  <a:lnTo>
                    <a:pt x="134" y="751"/>
                  </a:lnTo>
                  <a:lnTo>
                    <a:pt x="134" y="753"/>
                  </a:lnTo>
                  <a:lnTo>
                    <a:pt x="135" y="754"/>
                  </a:lnTo>
                  <a:lnTo>
                    <a:pt x="135" y="753"/>
                  </a:lnTo>
                  <a:lnTo>
                    <a:pt x="136" y="750"/>
                  </a:lnTo>
                  <a:lnTo>
                    <a:pt x="136" y="748"/>
                  </a:lnTo>
                  <a:lnTo>
                    <a:pt x="136" y="747"/>
                  </a:lnTo>
                  <a:lnTo>
                    <a:pt x="138" y="747"/>
                  </a:lnTo>
                  <a:lnTo>
                    <a:pt x="139" y="745"/>
                  </a:lnTo>
                  <a:lnTo>
                    <a:pt x="140" y="745"/>
                  </a:lnTo>
                  <a:lnTo>
                    <a:pt x="140" y="749"/>
                  </a:lnTo>
                  <a:lnTo>
                    <a:pt x="140" y="751"/>
                  </a:lnTo>
                  <a:lnTo>
                    <a:pt x="141" y="753"/>
                  </a:lnTo>
                  <a:lnTo>
                    <a:pt x="142" y="751"/>
                  </a:lnTo>
                  <a:lnTo>
                    <a:pt x="142" y="749"/>
                  </a:lnTo>
                  <a:lnTo>
                    <a:pt x="144" y="748"/>
                  </a:lnTo>
                  <a:lnTo>
                    <a:pt x="144" y="749"/>
                  </a:lnTo>
                  <a:lnTo>
                    <a:pt x="145" y="751"/>
                  </a:lnTo>
                  <a:lnTo>
                    <a:pt x="146" y="751"/>
                  </a:lnTo>
                  <a:lnTo>
                    <a:pt x="146" y="753"/>
                  </a:lnTo>
                  <a:lnTo>
                    <a:pt x="146" y="754"/>
                  </a:lnTo>
                  <a:lnTo>
                    <a:pt x="146" y="755"/>
                  </a:lnTo>
                  <a:lnTo>
                    <a:pt x="145" y="756"/>
                  </a:lnTo>
                  <a:lnTo>
                    <a:pt x="144" y="757"/>
                  </a:lnTo>
                  <a:lnTo>
                    <a:pt x="144" y="760"/>
                  </a:lnTo>
                  <a:lnTo>
                    <a:pt x="144" y="761"/>
                  </a:lnTo>
                  <a:lnTo>
                    <a:pt x="144" y="762"/>
                  </a:lnTo>
                  <a:lnTo>
                    <a:pt x="145" y="763"/>
                  </a:lnTo>
                  <a:lnTo>
                    <a:pt x="145" y="765"/>
                  </a:lnTo>
                  <a:lnTo>
                    <a:pt x="146" y="765"/>
                  </a:lnTo>
                  <a:lnTo>
                    <a:pt x="146" y="763"/>
                  </a:lnTo>
                  <a:lnTo>
                    <a:pt x="146" y="761"/>
                  </a:lnTo>
                  <a:lnTo>
                    <a:pt x="147" y="759"/>
                  </a:lnTo>
                  <a:lnTo>
                    <a:pt x="149" y="756"/>
                  </a:lnTo>
                  <a:lnTo>
                    <a:pt x="149" y="755"/>
                  </a:lnTo>
                  <a:lnTo>
                    <a:pt x="151" y="755"/>
                  </a:lnTo>
                  <a:lnTo>
                    <a:pt x="152" y="756"/>
                  </a:lnTo>
                  <a:lnTo>
                    <a:pt x="152" y="757"/>
                  </a:lnTo>
                  <a:lnTo>
                    <a:pt x="151" y="760"/>
                  </a:lnTo>
                  <a:lnTo>
                    <a:pt x="151" y="762"/>
                  </a:lnTo>
                  <a:lnTo>
                    <a:pt x="152" y="763"/>
                  </a:lnTo>
                  <a:lnTo>
                    <a:pt x="153" y="765"/>
                  </a:lnTo>
                  <a:lnTo>
                    <a:pt x="155" y="763"/>
                  </a:lnTo>
                  <a:lnTo>
                    <a:pt x="153" y="762"/>
                  </a:lnTo>
                  <a:lnTo>
                    <a:pt x="153" y="760"/>
                  </a:lnTo>
                  <a:lnTo>
                    <a:pt x="155" y="759"/>
                  </a:lnTo>
                  <a:lnTo>
                    <a:pt x="156" y="760"/>
                  </a:lnTo>
                  <a:lnTo>
                    <a:pt x="157" y="760"/>
                  </a:lnTo>
                  <a:lnTo>
                    <a:pt x="157" y="759"/>
                  </a:lnTo>
                  <a:lnTo>
                    <a:pt x="157" y="757"/>
                  </a:lnTo>
                  <a:lnTo>
                    <a:pt x="157" y="756"/>
                  </a:lnTo>
                  <a:lnTo>
                    <a:pt x="158" y="756"/>
                  </a:lnTo>
                  <a:lnTo>
                    <a:pt x="158" y="755"/>
                  </a:lnTo>
                  <a:lnTo>
                    <a:pt x="159" y="753"/>
                  </a:lnTo>
                  <a:lnTo>
                    <a:pt x="159" y="751"/>
                  </a:lnTo>
                  <a:lnTo>
                    <a:pt x="161" y="748"/>
                  </a:lnTo>
                  <a:lnTo>
                    <a:pt x="161" y="747"/>
                  </a:lnTo>
                  <a:lnTo>
                    <a:pt x="161" y="748"/>
                  </a:lnTo>
                  <a:lnTo>
                    <a:pt x="161" y="750"/>
                  </a:lnTo>
                  <a:lnTo>
                    <a:pt x="159" y="754"/>
                  </a:lnTo>
                  <a:lnTo>
                    <a:pt x="159" y="756"/>
                  </a:lnTo>
                  <a:lnTo>
                    <a:pt x="159" y="757"/>
                  </a:lnTo>
                  <a:lnTo>
                    <a:pt x="161" y="755"/>
                  </a:lnTo>
                  <a:lnTo>
                    <a:pt x="161" y="754"/>
                  </a:lnTo>
                  <a:lnTo>
                    <a:pt x="161" y="757"/>
                  </a:lnTo>
                  <a:lnTo>
                    <a:pt x="161" y="759"/>
                  </a:lnTo>
                  <a:lnTo>
                    <a:pt x="161" y="761"/>
                  </a:lnTo>
                  <a:lnTo>
                    <a:pt x="161" y="762"/>
                  </a:lnTo>
                  <a:lnTo>
                    <a:pt x="159" y="765"/>
                  </a:lnTo>
                  <a:lnTo>
                    <a:pt x="159" y="766"/>
                  </a:lnTo>
                  <a:lnTo>
                    <a:pt x="159" y="767"/>
                  </a:lnTo>
                  <a:lnTo>
                    <a:pt x="159" y="768"/>
                  </a:lnTo>
                  <a:lnTo>
                    <a:pt x="161" y="769"/>
                  </a:lnTo>
                  <a:lnTo>
                    <a:pt x="162" y="767"/>
                  </a:lnTo>
                  <a:lnTo>
                    <a:pt x="162" y="766"/>
                  </a:lnTo>
                  <a:lnTo>
                    <a:pt x="162" y="765"/>
                  </a:lnTo>
                  <a:lnTo>
                    <a:pt x="163" y="765"/>
                  </a:lnTo>
                  <a:lnTo>
                    <a:pt x="163" y="766"/>
                  </a:lnTo>
                  <a:lnTo>
                    <a:pt x="164" y="767"/>
                  </a:lnTo>
                  <a:lnTo>
                    <a:pt x="165" y="768"/>
                  </a:lnTo>
                  <a:lnTo>
                    <a:pt x="165" y="769"/>
                  </a:lnTo>
                  <a:lnTo>
                    <a:pt x="167" y="769"/>
                  </a:lnTo>
                  <a:lnTo>
                    <a:pt x="167" y="768"/>
                  </a:lnTo>
                  <a:lnTo>
                    <a:pt x="168" y="767"/>
                  </a:lnTo>
                  <a:lnTo>
                    <a:pt x="168" y="766"/>
                  </a:lnTo>
                  <a:lnTo>
                    <a:pt x="168" y="765"/>
                  </a:lnTo>
                  <a:lnTo>
                    <a:pt x="169" y="763"/>
                  </a:lnTo>
                  <a:lnTo>
                    <a:pt x="170" y="765"/>
                  </a:lnTo>
                  <a:lnTo>
                    <a:pt x="170" y="767"/>
                  </a:lnTo>
                  <a:lnTo>
                    <a:pt x="170" y="772"/>
                  </a:lnTo>
                  <a:lnTo>
                    <a:pt x="171" y="771"/>
                  </a:lnTo>
                  <a:lnTo>
                    <a:pt x="171" y="769"/>
                  </a:lnTo>
                  <a:lnTo>
                    <a:pt x="171" y="766"/>
                  </a:lnTo>
                  <a:lnTo>
                    <a:pt x="173" y="766"/>
                  </a:lnTo>
                  <a:lnTo>
                    <a:pt x="173" y="763"/>
                  </a:lnTo>
                  <a:lnTo>
                    <a:pt x="173" y="762"/>
                  </a:lnTo>
                  <a:lnTo>
                    <a:pt x="174" y="763"/>
                  </a:lnTo>
                  <a:lnTo>
                    <a:pt x="175" y="763"/>
                  </a:lnTo>
                  <a:lnTo>
                    <a:pt x="175" y="762"/>
                  </a:lnTo>
                  <a:lnTo>
                    <a:pt x="175" y="761"/>
                  </a:lnTo>
                  <a:lnTo>
                    <a:pt x="175" y="759"/>
                  </a:lnTo>
                  <a:lnTo>
                    <a:pt x="176" y="757"/>
                  </a:lnTo>
                  <a:lnTo>
                    <a:pt x="176" y="760"/>
                  </a:lnTo>
                  <a:lnTo>
                    <a:pt x="177" y="760"/>
                  </a:lnTo>
                  <a:lnTo>
                    <a:pt x="179" y="761"/>
                  </a:lnTo>
                  <a:lnTo>
                    <a:pt x="179" y="762"/>
                  </a:lnTo>
                  <a:lnTo>
                    <a:pt x="177" y="763"/>
                  </a:lnTo>
                  <a:lnTo>
                    <a:pt x="176" y="765"/>
                  </a:lnTo>
                  <a:lnTo>
                    <a:pt x="177" y="765"/>
                  </a:lnTo>
                  <a:lnTo>
                    <a:pt x="179" y="763"/>
                  </a:lnTo>
                  <a:lnTo>
                    <a:pt x="179" y="766"/>
                  </a:lnTo>
                  <a:lnTo>
                    <a:pt x="179" y="767"/>
                  </a:lnTo>
                  <a:lnTo>
                    <a:pt x="180" y="767"/>
                  </a:lnTo>
                  <a:lnTo>
                    <a:pt x="180" y="765"/>
                  </a:lnTo>
                  <a:lnTo>
                    <a:pt x="180" y="762"/>
                  </a:lnTo>
                  <a:lnTo>
                    <a:pt x="181" y="762"/>
                  </a:lnTo>
                  <a:lnTo>
                    <a:pt x="181" y="761"/>
                  </a:lnTo>
                  <a:lnTo>
                    <a:pt x="181" y="759"/>
                  </a:lnTo>
                  <a:lnTo>
                    <a:pt x="181" y="757"/>
                  </a:lnTo>
                  <a:lnTo>
                    <a:pt x="181" y="756"/>
                  </a:lnTo>
                  <a:lnTo>
                    <a:pt x="182" y="755"/>
                  </a:lnTo>
                  <a:lnTo>
                    <a:pt x="181" y="757"/>
                  </a:lnTo>
                  <a:lnTo>
                    <a:pt x="181" y="759"/>
                  </a:lnTo>
                  <a:lnTo>
                    <a:pt x="182" y="760"/>
                  </a:lnTo>
                  <a:lnTo>
                    <a:pt x="182" y="759"/>
                  </a:lnTo>
                  <a:lnTo>
                    <a:pt x="182" y="760"/>
                  </a:lnTo>
                  <a:lnTo>
                    <a:pt x="182" y="762"/>
                  </a:lnTo>
                  <a:lnTo>
                    <a:pt x="182" y="763"/>
                  </a:lnTo>
                  <a:lnTo>
                    <a:pt x="182" y="765"/>
                  </a:lnTo>
                  <a:lnTo>
                    <a:pt x="183" y="765"/>
                  </a:lnTo>
                  <a:lnTo>
                    <a:pt x="185" y="763"/>
                  </a:lnTo>
                  <a:lnTo>
                    <a:pt x="183" y="762"/>
                  </a:lnTo>
                  <a:lnTo>
                    <a:pt x="183" y="761"/>
                  </a:lnTo>
                  <a:lnTo>
                    <a:pt x="183" y="760"/>
                  </a:lnTo>
                  <a:lnTo>
                    <a:pt x="183" y="759"/>
                  </a:lnTo>
                  <a:lnTo>
                    <a:pt x="185" y="757"/>
                  </a:lnTo>
                  <a:lnTo>
                    <a:pt x="186" y="756"/>
                  </a:lnTo>
                  <a:lnTo>
                    <a:pt x="186" y="755"/>
                  </a:lnTo>
                  <a:lnTo>
                    <a:pt x="186" y="753"/>
                  </a:lnTo>
                  <a:lnTo>
                    <a:pt x="185" y="753"/>
                  </a:lnTo>
                  <a:lnTo>
                    <a:pt x="186" y="751"/>
                  </a:lnTo>
                  <a:lnTo>
                    <a:pt x="187" y="750"/>
                  </a:lnTo>
                  <a:lnTo>
                    <a:pt x="187" y="749"/>
                  </a:lnTo>
                  <a:lnTo>
                    <a:pt x="188" y="748"/>
                  </a:lnTo>
                  <a:lnTo>
                    <a:pt x="188" y="747"/>
                  </a:lnTo>
                  <a:lnTo>
                    <a:pt x="189" y="747"/>
                  </a:lnTo>
                  <a:lnTo>
                    <a:pt x="188" y="748"/>
                  </a:lnTo>
                  <a:lnTo>
                    <a:pt x="188" y="750"/>
                  </a:lnTo>
                  <a:lnTo>
                    <a:pt x="187" y="751"/>
                  </a:lnTo>
                  <a:lnTo>
                    <a:pt x="187" y="753"/>
                  </a:lnTo>
                  <a:lnTo>
                    <a:pt x="188" y="753"/>
                  </a:lnTo>
                  <a:lnTo>
                    <a:pt x="187" y="754"/>
                  </a:lnTo>
                  <a:lnTo>
                    <a:pt x="186" y="755"/>
                  </a:lnTo>
                  <a:lnTo>
                    <a:pt x="187" y="755"/>
                  </a:lnTo>
                  <a:lnTo>
                    <a:pt x="188" y="755"/>
                  </a:lnTo>
                  <a:lnTo>
                    <a:pt x="188" y="756"/>
                  </a:lnTo>
                  <a:lnTo>
                    <a:pt x="187" y="756"/>
                  </a:lnTo>
                  <a:lnTo>
                    <a:pt x="186" y="757"/>
                  </a:lnTo>
                  <a:lnTo>
                    <a:pt x="185" y="759"/>
                  </a:lnTo>
                  <a:lnTo>
                    <a:pt x="186" y="760"/>
                  </a:lnTo>
                  <a:lnTo>
                    <a:pt x="185" y="760"/>
                  </a:lnTo>
                  <a:lnTo>
                    <a:pt x="183" y="760"/>
                  </a:lnTo>
                  <a:lnTo>
                    <a:pt x="185" y="761"/>
                  </a:lnTo>
                  <a:lnTo>
                    <a:pt x="185" y="762"/>
                  </a:lnTo>
                  <a:lnTo>
                    <a:pt x="186" y="762"/>
                  </a:lnTo>
                  <a:lnTo>
                    <a:pt x="187" y="761"/>
                  </a:lnTo>
                  <a:lnTo>
                    <a:pt x="186" y="760"/>
                  </a:lnTo>
                  <a:lnTo>
                    <a:pt x="187" y="759"/>
                  </a:lnTo>
                  <a:lnTo>
                    <a:pt x="188" y="757"/>
                  </a:lnTo>
                  <a:lnTo>
                    <a:pt x="189" y="759"/>
                  </a:lnTo>
                  <a:lnTo>
                    <a:pt x="189" y="760"/>
                  </a:lnTo>
                  <a:lnTo>
                    <a:pt x="189" y="761"/>
                  </a:lnTo>
                  <a:lnTo>
                    <a:pt x="188" y="761"/>
                  </a:lnTo>
                  <a:lnTo>
                    <a:pt x="188" y="762"/>
                  </a:lnTo>
                  <a:lnTo>
                    <a:pt x="188" y="763"/>
                  </a:lnTo>
                  <a:lnTo>
                    <a:pt x="189" y="762"/>
                  </a:lnTo>
                  <a:lnTo>
                    <a:pt x="191" y="762"/>
                  </a:lnTo>
                  <a:lnTo>
                    <a:pt x="191" y="763"/>
                  </a:lnTo>
                  <a:lnTo>
                    <a:pt x="189" y="767"/>
                  </a:lnTo>
                  <a:lnTo>
                    <a:pt x="188" y="768"/>
                  </a:lnTo>
                  <a:lnTo>
                    <a:pt x="189" y="768"/>
                  </a:lnTo>
                  <a:lnTo>
                    <a:pt x="191" y="767"/>
                  </a:lnTo>
                  <a:lnTo>
                    <a:pt x="192" y="768"/>
                  </a:lnTo>
                  <a:lnTo>
                    <a:pt x="191" y="771"/>
                  </a:lnTo>
                  <a:lnTo>
                    <a:pt x="191" y="772"/>
                  </a:lnTo>
                  <a:lnTo>
                    <a:pt x="189" y="775"/>
                  </a:lnTo>
                  <a:lnTo>
                    <a:pt x="191" y="779"/>
                  </a:lnTo>
                  <a:lnTo>
                    <a:pt x="191" y="778"/>
                  </a:lnTo>
                  <a:lnTo>
                    <a:pt x="191" y="777"/>
                  </a:lnTo>
                  <a:lnTo>
                    <a:pt x="192" y="773"/>
                  </a:lnTo>
                  <a:lnTo>
                    <a:pt x="193" y="771"/>
                  </a:lnTo>
                  <a:lnTo>
                    <a:pt x="193" y="772"/>
                  </a:lnTo>
                  <a:lnTo>
                    <a:pt x="194" y="773"/>
                  </a:lnTo>
                  <a:lnTo>
                    <a:pt x="195" y="773"/>
                  </a:lnTo>
                  <a:lnTo>
                    <a:pt x="194" y="774"/>
                  </a:lnTo>
                  <a:lnTo>
                    <a:pt x="193" y="777"/>
                  </a:lnTo>
                  <a:lnTo>
                    <a:pt x="194" y="775"/>
                  </a:lnTo>
                  <a:lnTo>
                    <a:pt x="195" y="775"/>
                  </a:lnTo>
                  <a:lnTo>
                    <a:pt x="195" y="778"/>
                  </a:lnTo>
                  <a:lnTo>
                    <a:pt x="195" y="780"/>
                  </a:lnTo>
                  <a:lnTo>
                    <a:pt x="197" y="780"/>
                  </a:lnTo>
                  <a:lnTo>
                    <a:pt x="197" y="777"/>
                  </a:lnTo>
                  <a:lnTo>
                    <a:pt x="197" y="774"/>
                  </a:lnTo>
                  <a:lnTo>
                    <a:pt x="198" y="773"/>
                  </a:lnTo>
                  <a:lnTo>
                    <a:pt x="199" y="771"/>
                  </a:lnTo>
                  <a:lnTo>
                    <a:pt x="199" y="768"/>
                  </a:lnTo>
                  <a:lnTo>
                    <a:pt x="199" y="765"/>
                  </a:lnTo>
                  <a:lnTo>
                    <a:pt x="199" y="762"/>
                  </a:lnTo>
                  <a:lnTo>
                    <a:pt x="200" y="759"/>
                  </a:lnTo>
                  <a:lnTo>
                    <a:pt x="201" y="759"/>
                  </a:lnTo>
                  <a:lnTo>
                    <a:pt x="203" y="760"/>
                  </a:lnTo>
                  <a:lnTo>
                    <a:pt x="204" y="762"/>
                  </a:lnTo>
                  <a:lnTo>
                    <a:pt x="204" y="767"/>
                  </a:lnTo>
                  <a:lnTo>
                    <a:pt x="204" y="771"/>
                  </a:lnTo>
                  <a:lnTo>
                    <a:pt x="204" y="773"/>
                  </a:lnTo>
                  <a:lnTo>
                    <a:pt x="203" y="777"/>
                  </a:lnTo>
                  <a:lnTo>
                    <a:pt x="201" y="778"/>
                  </a:lnTo>
                  <a:lnTo>
                    <a:pt x="203" y="780"/>
                  </a:lnTo>
                  <a:lnTo>
                    <a:pt x="204" y="778"/>
                  </a:lnTo>
                  <a:lnTo>
                    <a:pt x="205" y="775"/>
                  </a:lnTo>
                  <a:lnTo>
                    <a:pt x="205" y="773"/>
                  </a:lnTo>
                  <a:lnTo>
                    <a:pt x="206" y="769"/>
                  </a:lnTo>
                  <a:lnTo>
                    <a:pt x="206" y="767"/>
                  </a:lnTo>
                  <a:lnTo>
                    <a:pt x="207" y="766"/>
                  </a:lnTo>
                  <a:lnTo>
                    <a:pt x="207" y="769"/>
                  </a:lnTo>
                  <a:lnTo>
                    <a:pt x="209" y="768"/>
                  </a:lnTo>
                  <a:lnTo>
                    <a:pt x="210" y="768"/>
                  </a:lnTo>
                  <a:lnTo>
                    <a:pt x="210" y="772"/>
                  </a:lnTo>
                  <a:lnTo>
                    <a:pt x="210" y="773"/>
                  </a:lnTo>
                  <a:lnTo>
                    <a:pt x="207" y="779"/>
                  </a:lnTo>
                  <a:lnTo>
                    <a:pt x="207" y="781"/>
                  </a:lnTo>
                  <a:lnTo>
                    <a:pt x="209" y="784"/>
                  </a:lnTo>
                  <a:lnTo>
                    <a:pt x="210" y="784"/>
                  </a:lnTo>
                  <a:lnTo>
                    <a:pt x="210" y="781"/>
                  </a:lnTo>
                  <a:lnTo>
                    <a:pt x="211" y="780"/>
                  </a:lnTo>
                  <a:lnTo>
                    <a:pt x="211" y="783"/>
                  </a:lnTo>
                  <a:lnTo>
                    <a:pt x="212" y="784"/>
                  </a:lnTo>
                  <a:lnTo>
                    <a:pt x="214" y="780"/>
                  </a:lnTo>
                  <a:lnTo>
                    <a:pt x="214" y="778"/>
                  </a:lnTo>
                  <a:lnTo>
                    <a:pt x="214" y="775"/>
                  </a:lnTo>
                  <a:lnTo>
                    <a:pt x="212" y="769"/>
                  </a:lnTo>
                  <a:lnTo>
                    <a:pt x="211" y="767"/>
                  </a:lnTo>
                  <a:lnTo>
                    <a:pt x="212" y="765"/>
                  </a:lnTo>
                  <a:lnTo>
                    <a:pt x="212" y="762"/>
                  </a:lnTo>
                  <a:lnTo>
                    <a:pt x="212" y="759"/>
                  </a:lnTo>
                  <a:lnTo>
                    <a:pt x="214" y="755"/>
                  </a:lnTo>
                  <a:lnTo>
                    <a:pt x="216" y="753"/>
                  </a:lnTo>
                  <a:lnTo>
                    <a:pt x="217" y="749"/>
                  </a:lnTo>
                  <a:lnTo>
                    <a:pt x="217" y="753"/>
                  </a:lnTo>
                  <a:lnTo>
                    <a:pt x="218" y="756"/>
                  </a:lnTo>
                  <a:lnTo>
                    <a:pt x="220" y="755"/>
                  </a:lnTo>
                  <a:lnTo>
                    <a:pt x="221" y="755"/>
                  </a:lnTo>
                  <a:lnTo>
                    <a:pt x="222" y="759"/>
                  </a:lnTo>
                  <a:lnTo>
                    <a:pt x="223" y="762"/>
                  </a:lnTo>
                  <a:lnTo>
                    <a:pt x="223" y="761"/>
                  </a:lnTo>
                  <a:lnTo>
                    <a:pt x="223" y="756"/>
                  </a:lnTo>
                  <a:lnTo>
                    <a:pt x="224" y="750"/>
                  </a:lnTo>
                  <a:lnTo>
                    <a:pt x="224" y="744"/>
                  </a:lnTo>
                  <a:lnTo>
                    <a:pt x="226" y="743"/>
                  </a:lnTo>
                  <a:lnTo>
                    <a:pt x="226" y="751"/>
                  </a:lnTo>
                  <a:lnTo>
                    <a:pt x="227" y="753"/>
                  </a:lnTo>
                  <a:lnTo>
                    <a:pt x="228" y="749"/>
                  </a:lnTo>
                  <a:lnTo>
                    <a:pt x="229" y="748"/>
                  </a:lnTo>
                  <a:lnTo>
                    <a:pt x="229" y="744"/>
                  </a:lnTo>
                  <a:lnTo>
                    <a:pt x="229" y="741"/>
                  </a:lnTo>
                  <a:lnTo>
                    <a:pt x="230" y="741"/>
                  </a:lnTo>
                  <a:lnTo>
                    <a:pt x="232" y="744"/>
                  </a:lnTo>
                  <a:lnTo>
                    <a:pt x="232" y="748"/>
                  </a:lnTo>
                  <a:lnTo>
                    <a:pt x="232" y="743"/>
                  </a:lnTo>
                  <a:lnTo>
                    <a:pt x="234" y="739"/>
                  </a:lnTo>
                  <a:lnTo>
                    <a:pt x="234" y="736"/>
                  </a:lnTo>
                  <a:lnTo>
                    <a:pt x="234" y="733"/>
                  </a:lnTo>
                  <a:lnTo>
                    <a:pt x="235" y="730"/>
                  </a:lnTo>
                  <a:lnTo>
                    <a:pt x="239" y="731"/>
                  </a:lnTo>
                  <a:lnTo>
                    <a:pt x="240" y="732"/>
                  </a:lnTo>
                  <a:lnTo>
                    <a:pt x="239" y="735"/>
                  </a:lnTo>
                  <a:lnTo>
                    <a:pt x="235" y="738"/>
                  </a:lnTo>
                  <a:lnTo>
                    <a:pt x="234" y="741"/>
                  </a:lnTo>
                  <a:lnTo>
                    <a:pt x="234" y="743"/>
                  </a:lnTo>
                  <a:lnTo>
                    <a:pt x="234" y="745"/>
                  </a:lnTo>
                  <a:lnTo>
                    <a:pt x="234" y="748"/>
                  </a:lnTo>
                  <a:lnTo>
                    <a:pt x="235" y="749"/>
                  </a:lnTo>
                  <a:lnTo>
                    <a:pt x="239" y="749"/>
                  </a:lnTo>
                  <a:lnTo>
                    <a:pt x="239" y="750"/>
                  </a:lnTo>
                  <a:lnTo>
                    <a:pt x="239" y="754"/>
                  </a:lnTo>
                  <a:lnTo>
                    <a:pt x="239" y="755"/>
                  </a:lnTo>
                  <a:lnTo>
                    <a:pt x="235" y="755"/>
                  </a:lnTo>
                  <a:lnTo>
                    <a:pt x="234" y="756"/>
                  </a:lnTo>
                  <a:lnTo>
                    <a:pt x="233" y="753"/>
                  </a:lnTo>
                  <a:lnTo>
                    <a:pt x="232" y="754"/>
                  </a:lnTo>
                  <a:lnTo>
                    <a:pt x="232" y="756"/>
                  </a:lnTo>
                  <a:lnTo>
                    <a:pt x="229" y="756"/>
                  </a:lnTo>
                  <a:lnTo>
                    <a:pt x="227" y="757"/>
                  </a:lnTo>
                  <a:lnTo>
                    <a:pt x="226" y="761"/>
                  </a:lnTo>
                  <a:lnTo>
                    <a:pt x="228" y="761"/>
                  </a:lnTo>
                  <a:lnTo>
                    <a:pt x="230" y="760"/>
                  </a:lnTo>
                  <a:lnTo>
                    <a:pt x="230" y="761"/>
                  </a:lnTo>
                  <a:lnTo>
                    <a:pt x="233" y="761"/>
                  </a:lnTo>
                  <a:lnTo>
                    <a:pt x="233" y="762"/>
                  </a:lnTo>
                  <a:lnTo>
                    <a:pt x="233" y="767"/>
                  </a:lnTo>
                  <a:lnTo>
                    <a:pt x="232" y="771"/>
                  </a:lnTo>
                  <a:lnTo>
                    <a:pt x="232" y="774"/>
                  </a:lnTo>
                  <a:lnTo>
                    <a:pt x="230" y="777"/>
                  </a:lnTo>
                  <a:lnTo>
                    <a:pt x="229" y="779"/>
                  </a:lnTo>
                  <a:lnTo>
                    <a:pt x="226" y="781"/>
                  </a:lnTo>
                  <a:lnTo>
                    <a:pt x="224" y="784"/>
                  </a:lnTo>
                  <a:lnTo>
                    <a:pt x="221" y="783"/>
                  </a:lnTo>
                  <a:lnTo>
                    <a:pt x="218" y="784"/>
                  </a:lnTo>
                  <a:lnTo>
                    <a:pt x="217" y="785"/>
                  </a:lnTo>
                  <a:lnTo>
                    <a:pt x="214" y="785"/>
                  </a:lnTo>
                  <a:lnTo>
                    <a:pt x="207" y="786"/>
                  </a:lnTo>
                  <a:lnTo>
                    <a:pt x="201" y="787"/>
                  </a:lnTo>
                  <a:lnTo>
                    <a:pt x="199" y="789"/>
                  </a:lnTo>
                  <a:lnTo>
                    <a:pt x="194" y="789"/>
                  </a:lnTo>
                  <a:lnTo>
                    <a:pt x="187" y="792"/>
                  </a:lnTo>
                  <a:lnTo>
                    <a:pt x="183" y="792"/>
                  </a:lnTo>
                  <a:lnTo>
                    <a:pt x="182" y="793"/>
                  </a:lnTo>
                  <a:lnTo>
                    <a:pt x="182" y="795"/>
                  </a:lnTo>
                  <a:lnTo>
                    <a:pt x="186" y="793"/>
                  </a:lnTo>
                  <a:lnTo>
                    <a:pt x="189" y="792"/>
                  </a:lnTo>
                  <a:lnTo>
                    <a:pt x="188" y="795"/>
                  </a:lnTo>
                  <a:lnTo>
                    <a:pt x="188" y="796"/>
                  </a:lnTo>
                  <a:lnTo>
                    <a:pt x="188" y="797"/>
                  </a:lnTo>
                  <a:lnTo>
                    <a:pt x="189" y="796"/>
                  </a:lnTo>
                  <a:lnTo>
                    <a:pt x="192" y="793"/>
                  </a:lnTo>
                  <a:lnTo>
                    <a:pt x="193" y="792"/>
                  </a:lnTo>
                  <a:lnTo>
                    <a:pt x="194" y="792"/>
                  </a:lnTo>
                  <a:lnTo>
                    <a:pt x="193" y="796"/>
                  </a:lnTo>
                  <a:lnTo>
                    <a:pt x="191" y="797"/>
                  </a:lnTo>
                  <a:lnTo>
                    <a:pt x="193" y="797"/>
                  </a:lnTo>
                  <a:lnTo>
                    <a:pt x="195" y="797"/>
                  </a:lnTo>
                  <a:lnTo>
                    <a:pt x="197" y="796"/>
                  </a:lnTo>
                  <a:lnTo>
                    <a:pt x="198" y="795"/>
                  </a:lnTo>
                  <a:lnTo>
                    <a:pt x="198" y="797"/>
                  </a:lnTo>
                  <a:lnTo>
                    <a:pt x="199" y="797"/>
                  </a:lnTo>
                  <a:lnTo>
                    <a:pt x="201" y="797"/>
                  </a:lnTo>
                  <a:lnTo>
                    <a:pt x="203" y="797"/>
                  </a:lnTo>
                  <a:lnTo>
                    <a:pt x="205" y="797"/>
                  </a:lnTo>
                  <a:lnTo>
                    <a:pt x="204" y="798"/>
                  </a:lnTo>
                  <a:lnTo>
                    <a:pt x="201" y="798"/>
                  </a:lnTo>
                  <a:lnTo>
                    <a:pt x="199" y="798"/>
                  </a:lnTo>
                  <a:lnTo>
                    <a:pt x="194" y="798"/>
                  </a:lnTo>
                  <a:lnTo>
                    <a:pt x="192" y="799"/>
                  </a:lnTo>
                  <a:lnTo>
                    <a:pt x="188" y="801"/>
                  </a:lnTo>
                  <a:lnTo>
                    <a:pt x="187" y="803"/>
                  </a:lnTo>
                  <a:lnTo>
                    <a:pt x="185" y="803"/>
                  </a:lnTo>
                  <a:lnTo>
                    <a:pt x="180" y="801"/>
                  </a:lnTo>
                  <a:lnTo>
                    <a:pt x="179" y="801"/>
                  </a:lnTo>
                  <a:lnTo>
                    <a:pt x="179" y="802"/>
                  </a:lnTo>
                  <a:lnTo>
                    <a:pt x="177" y="802"/>
                  </a:lnTo>
                  <a:lnTo>
                    <a:pt x="177" y="804"/>
                  </a:lnTo>
                  <a:lnTo>
                    <a:pt x="181" y="804"/>
                  </a:lnTo>
                  <a:lnTo>
                    <a:pt x="179" y="805"/>
                  </a:lnTo>
                  <a:lnTo>
                    <a:pt x="176" y="807"/>
                  </a:lnTo>
                  <a:lnTo>
                    <a:pt x="174" y="807"/>
                  </a:lnTo>
                  <a:lnTo>
                    <a:pt x="170" y="805"/>
                  </a:lnTo>
                  <a:lnTo>
                    <a:pt x="167" y="803"/>
                  </a:lnTo>
                  <a:lnTo>
                    <a:pt x="163" y="803"/>
                  </a:lnTo>
                  <a:lnTo>
                    <a:pt x="159" y="803"/>
                  </a:lnTo>
                  <a:lnTo>
                    <a:pt x="159" y="804"/>
                  </a:lnTo>
                  <a:lnTo>
                    <a:pt x="158" y="804"/>
                  </a:lnTo>
                  <a:lnTo>
                    <a:pt x="156" y="803"/>
                  </a:lnTo>
                  <a:lnTo>
                    <a:pt x="152" y="801"/>
                  </a:lnTo>
                  <a:lnTo>
                    <a:pt x="147" y="799"/>
                  </a:lnTo>
                  <a:lnTo>
                    <a:pt x="146" y="798"/>
                  </a:lnTo>
                  <a:lnTo>
                    <a:pt x="145" y="797"/>
                  </a:lnTo>
                  <a:lnTo>
                    <a:pt x="146" y="798"/>
                  </a:lnTo>
                  <a:lnTo>
                    <a:pt x="146" y="799"/>
                  </a:lnTo>
                  <a:lnTo>
                    <a:pt x="144" y="799"/>
                  </a:lnTo>
                  <a:lnTo>
                    <a:pt x="142" y="798"/>
                  </a:lnTo>
                  <a:lnTo>
                    <a:pt x="142" y="797"/>
                  </a:lnTo>
                  <a:lnTo>
                    <a:pt x="140" y="797"/>
                  </a:lnTo>
                  <a:lnTo>
                    <a:pt x="138" y="797"/>
                  </a:lnTo>
                  <a:lnTo>
                    <a:pt x="136" y="797"/>
                  </a:lnTo>
                  <a:lnTo>
                    <a:pt x="135" y="796"/>
                  </a:lnTo>
                  <a:lnTo>
                    <a:pt x="132" y="795"/>
                  </a:lnTo>
                  <a:lnTo>
                    <a:pt x="130" y="796"/>
                  </a:lnTo>
                  <a:lnTo>
                    <a:pt x="129" y="795"/>
                  </a:lnTo>
                  <a:lnTo>
                    <a:pt x="130" y="792"/>
                  </a:lnTo>
                  <a:lnTo>
                    <a:pt x="128" y="792"/>
                  </a:lnTo>
                  <a:lnTo>
                    <a:pt x="127" y="793"/>
                  </a:lnTo>
                  <a:lnTo>
                    <a:pt x="126" y="793"/>
                  </a:lnTo>
                  <a:lnTo>
                    <a:pt x="124" y="793"/>
                  </a:lnTo>
                  <a:lnTo>
                    <a:pt x="124" y="791"/>
                  </a:lnTo>
                  <a:lnTo>
                    <a:pt x="123" y="789"/>
                  </a:lnTo>
                  <a:lnTo>
                    <a:pt x="122" y="791"/>
                  </a:lnTo>
                  <a:lnTo>
                    <a:pt x="121" y="792"/>
                  </a:lnTo>
                  <a:lnTo>
                    <a:pt x="118" y="792"/>
                  </a:lnTo>
                  <a:lnTo>
                    <a:pt x="117" y="791"/>
                  </a:lnTo>
                  <a:lnTo>
                    <a:pt x="116" y="791"/>
                  </a:lnTo>
                  <a:lnTo>
                    <a:pt x="114" y="791"/>
                  </a:lnTo>
                  <a:lnTo>
                    <a:pt x="112" y="791"/>
                  </a:lnTo>
                  <a:lnTo>
                    <a:pt x="112" y="790"/>
                  </a:lnTo>
                  <a:lnTo>
                    <a:pt x="110" y="789"/>
                  </a:lnTo>
                  <a:lnTo>
                    <a:pt x="108" y="789"/>
                  </a:lnTo>
                  <a:lnTo>
                    <a:pt x="103" y="785"/>
                  </a:lnTo>
                  <a:lnTo>
                    <a:pt x="104" y="787"/>
                  </a:lnTo>
                  <a:lnTo>
                    <a:pt x="104" y="790"/>
                  </a:lnTo>
                  <a:lnTo>
                    <a:pt x="102" y="789"/>
                  </a:lnTo>
                  <a:lnTo>
                    <a:pt x="100" y="787"/>
                  </a:lnTo>
                  <a:lnTo>
                    <a:pt x="102" y="790"/>
                  </a:lnTo>
                  <a:lnTo>
                    <a:pt x="103" y="790"/>
                  </a:lnTo>
                  <a:lnTo>
                    <a:pt x="99" y="791"/>
                  </a:lnTo>
                  <a:lnTo>
                    <a:pt x="97" y="792"/>
                  </a:lnTo>
                  <a:lnTo>
                    <a:pt x="100" y="792"/>
                  </a:lnTo>
                  <a:lnTo>
                    <a:pt x="103" y="792"/>
                  </a:lnTo>
                  <a:lnTo>
                    <a:pt x="106" y="791"/>
                  </a:lnTo>
                  <a:lnTo>
                    <a:pt x="105" y="796"/>
                  </a:lnTo>
                  <a:lnTo>
                    <a:pt x="105" y="797"/>
                  </a:lnTo>
                  <a:lnTo>
                    <a:pt x="106" y="796"/>
                  </a:lnTo>
                  <a:lnTo>
                    <a:pt x="109" y="793"/>
                  </a:lnTo>
                  <a:lnTo>
                    <a:pt x="109" y="792"/>
                  </a:lnTo>
                  <a:lnTo>
                    <a:pt x="111" y="792"/>
                  </a:lnTo>
                  <a:lnTo>
                    <a:pt x="111" y="795"/>
                  </a:lnTo>
                  <a:lnTo>
                    <a:pt x="111" y="793"/>
                  </a:lnTo>
                  <a:lnTo>
                    <a:pt x="112" y="793"/>
                  </a:lnTo>
                  <a:lnTo>
                    <a:pt x="115" y="793"/>
                  </a:lnTo>
                  <a:lnTo>
                    <a:pt x="115" y="795"/>
                  </a:lnTo>
                  <a:lnTo>
                    <a:pt x="112" y="797"/>
                  </a:lnTo>
                  <a:lnTo>
                    <a:pt x="111" y="799"/>
                  </a:lnTo>
                  <a:lnTo>
                    <a:pt x="111" y="803"/>
                  </a:lnTo>
                  <a:lnTo>
                    <a:pt x="111" y="807"/>
                  </a:lnTo>
                  <a:lnTo>
                    <a:pt x="114" y="810"/>
                  </a:lnTo>
                  <a:lnTo>
                    <a:pt x="115" y="812"/>
                  </a:lnTo>
                  <a:lnTo>
                    <a:pt x="115" y="809"/>
                  </a:lnTo>
                  <a:lnTo>
                    <a:pt x="115" y="805"/>
                  </a:lnTo>
                  <a:lnTo>
                    <a:pt x="116" y="804"/>
                  </a:lnTo>
                  <a:lnTo>
                    <a:pt x="116" y="807"/>
                  </a:lnTo>
                  <a:lnTo>
                    <a:pt x="117" y="808"/>
                  </a:lnTo>
                  <a:lnTo>
                    <a:pt x="117" y="810"/>
                  </a:lnTo>
                  <a:lnTo>
                    <a:pt x="116" y="813"/>
                  </a:lnTo>
                  <a:lnTo>
                    <a:pt x="117" y="813"/>
                  </a:lnTo>
                  <a:lnTo>
                    <a:pt x="118" y="813"/>
                  </a:lnTo>
                  <a:lnTo>
                    <a:pt x="121" y="814"/>
                  </a:lnTo>
                  <a:lnTo>
                    <a:pt x="121" y="818"/>
                  </a:lnTo>
                  <a:lnTo>
                    <a:pt x="123" y="820"/>
                  </a:lnTo>
                  <a:lnTo>
                    <a:pt x="123" y="821"/>
                  </a:lnTo>
                  <a:lnTo>
                    <a:pt x="122" y="821"/>
                  </a:lnTo>
                  <a:lnTo>
                    <a:pt x="120" y="819"/>
                  </a:lnTo>
                  <a:lnTo>
                    <a:pt x="117" y="819"/>
                  </a:lnTo>
                  <a:lnTo>
                    <a:pt x="115" y="819"/>
                  </a:lnTo>
                  <a:lnTo>
                    <a:pt x="114" y="820"/>
                  </a:lnTo>
                  <a:lnTo>
                    <a:pt x="111" y="819"/>
                  </a:lnTo>
                  <a:lnTo>
                    <a:pt x="109" y="819"/>
                  </a:lnTo>
                  <a:lnTo>
                    <a:pt x="106" y="819"/>
                  </a:lnTo>
                  <a:lnTo>
                    <a:pt x="104" y="821"/>
                  </a:lnTo>
                  <a:lnTo>
                    <a:pt x="105" y="821"/>
                  </a:lnTo>
                  <a:lnTo>
                    <a:pt x="108" y="821"/>
                  </a:lnTo>
                  <a:lnTo>
                    <a:pt x="109" y="822"/>
                  </a:lnTo>
                  <a:lnTo>
                    <a:pt x="110" y="821"/>
                  </a:lnTo>
                  <a:lnTo>
                    <a:pt x="111" y="821"/>
                  </a:lnTo>
                  <a:lnTo>
                    <a:pt x="112" y="821"/>
                  </a:lnTo>
                  <a:lnTo>
                    <a:pt x="115" y="820"/>
                  </a:lnTo>
                  <a:lnTo>
                    <a:pt x="115" y="822"/>
                  </a:lnTo>
                  <a:lnTo>
                    <a:pt x="114" y="824"/>
                  </a:lnTo>
                  <a:lnTo>
                    <a:pt x="112" y="825"/>
                  </a:lnTo>
                  <a:lnTo>
                    <a:pt x="114" y="825"/>
                  </a:lnTo>
                  <a:lnTo>
                    <a:pt x="116" y="825"/>
                  </a:lnTo>
                  <a:lnTo>
                    <a:pt x="116" y="824"/>
                  </a:lnTo>
                  <a:lnTo>
                    <a:pt x="117" y="824"/>
                  </a:lnTo>
                  <a:lnTo>
                    <a:pt x="118" y="822"/>
                  </a:lnTo>
                  <a:lnTo>
                    <a:pt x="120" y="824"/>
                  </a:lnTo>
                  <a:lnTo>
                    <a:pt x="118" y="825"/>
                  </a:lnTo>
                  <a:lnTo>
                    <a:pt x="117" y="826"/>
                  </a:lnTo>
                  <a:lnTo>
                    <a:pt x="118" y="827"/>
                  </a:lnTo>
                  <a:lnTo>
                    <a:pt x="117" y="828"/>
                  </a:lnTo>
                  <a:lnTo>
                    <a:pt x="116" y="827"/>
                  </a:lnTo>
                  <a:lnTo>
                    <a:pt x="114" y="826"/>
                  </a:lnTo>
                  <a:lnTo>
                    <a:pt x="112" y="826"/>
                  </a:lnTo>
                  <a:lnTo>
                    <a:pt x="109" y="826"/>
                  </a:lnTo>
                  <a:lnTo>
                    <a:pt x="106" y="826"/>
                  </a:lnTo>
                  <a:lnTo>
                    <a:pt x="102" y="825"/>
                  </a:lnTo>
                  <a:lnTo>
                    <a:pt x="100" y="826"/>
                  </a:lnTo>
                  <a:lnTo>
                    <a:pt x="102" y="826"/>
                  </a:lnTo>
                  <a:lnTo>
                    <a:pt x="103" y="827"/>
                  </a:lnTo>
                  <a:lnTo>
                    <a:pt x="103" y="828"/>
                  </a:lnTo>
                  <a:lnTo>
                    <a:pt x="99" y="827"/>
                  </a:lnTo>
                  <a:lnTo>
                    <a:pt x="99" y="830"/>
                  </a:lnTo>
                  <a:lnTo>
                    <a:pt x="100" y="830"/>
                  </a:lnTo>
                  <a:lnTo>
                    <a:pt x="103" y="828"/>
                  </a:lnTo>
                  <a:lnTo>
                    <a:pt x="104" y="828"/>
                  </a:lnTo>
                  <a:lnTo>
                    <a:pt x="105" y="831"/>
                  </a:lnTo>
                  <a:lnTo>
                    <a:pt x="104" y="832"/>
                  </a:lnTo>
                  <a:lnTo>
                    <a:pt x="102" y="832"/>
                  </a:lnTo>
                  <a:lnTo>
                    <a:pt x="98" y="832"/>
                  </a:lnTo>
                  <a:lnTo>
                    <a:pt x="96" y="831"/>
                  </a:lnTo>
                  <a:lnTo>
                    <a:pt x="90" y="827"/>
                  </a:lnTo>
                  <a:lnTo>
                    <a:pt x="88" y="826"/>
                  </a:lnTo>
                  <a:lnTo>
                    <a:pt x="88" y="827"/>
                  </a:lnTo>
                  <a:lnTo>
                    <a:pt x="88" y="830"/>
                  </a:lnTo>
                  <a:lnTo>
                    <a:pt x="87" y="828"/>
                  </a:lnTo>
                  <a:lnTo>
                    <a:pt x="85" y="828"/>
                  </a:lnTo>
                  <a:lnTo>
                    <a:pt x="83" y="827"/>
                  </a:lnTo>
                  <a:lnTo>
                    <a:pt x="81" y="826"/>
                  </a:lnTo>
                  <a:lnTo>
                    <a:pt x="79" y="824"/>
                  </a:lnTo>
                  <a:lnTo>
                    <a:pt x="77" y="825"/>
                  </a:lnTo>
                  <a:lnTo>
                    <a:pt x="76" y="826"/>
                  </a:lnTo>
                  <a:lnTo>
                    <a:pt x="74" y="824"/>
                  </a:lnTo>
                  <a:lnTo>
                    <a:pt x="71" y="824"/>
                  </a:lnTo>
                  <a:lnTo>
                    <a:pt x="70" y="824"/>
                  </a:lnTo>
                  <a:lnTo>
                    <a:pt x="73" y="826"/>
                  </a:lnTo>
                  <a:lnTo>
                    <a:pt x="75" y="827"/>
                  </a:lnTo>
                  <a:lnTo>
                    <a:pt x="75" y="828"/>
                  </a:lnTo>
                  <a:lnTo>
                    <a:pt x="73" y="830"/>
                  </a:lnTo>
                  <a:lnTo>
                    <a:pt x="71" y="831"/>
                  </a:lnTo>
                  <a:lnTo>
                    <a:pt x="71" y="832"/>
                  </a:lnTo>
                  <a:lnTo>
                    <a:pt x="74" y="831"/>
                  </a:lnTo>
                  <a:lnTo>
                    <a:pt x="75" y="830"/>
                  </a:lnTo>
                  <a:lnTo>
                    <a:pt x="77" y="828"/>
                  </a:lnTo>
                  <a:lnTo>
                    <a:pt x="81" y="828"/>
                  </a:lnTo>
                  <a:lnTo>
                    <a:pt x="79" y="832"/>
                  </a:lnTo>
                  <a:lnTo>
                    <a:pt x="77" y="834"/>
                  </a:lnTo>
                  <a:lnTo>
                    <a:pt x="79" y="833"/>
                  </a:lnTo>
                  <a:lnTo>
                    <a:pt x="80" y="832"/>
                  </a:lnTo>
                  <a:lnTo>
                    <a:pt x="81" y="831"/>
                  </a:lnTo>
                  <a:lnTo>
                    <a:pt x="82" y="830"/>
                  </a:lnTo>
                  <a:lnTo>
                    <a:pt x="83" y="830"/>
                  </a:lnTo>
                  <a:lnTo>
                    <a:pt x="85" y="831"/>
                  </a:lnTo>
                  <a:lnTo>
                    <a:pt x="83" y="834"/>
                  </a:lnTo>
                  <a:lnTo>
                    <a:pt x="82" y="837"/>
                  </a:lnTo>
                  <a:lnTo>
                    <a:pt x="81" y="838"/>
                  </a:lnTo>
                  <a:lnTo>
                    <a:pt x="82" y="839"/>
                  </a:lnTo>
                  <a:lnTo>
                    <a:pt x="83" y="839"/>
                  </a:lnTo>
                  <a:lnTo>
                    <a:pt x="82" y="840"/>
                  </a:lnTo>
                  <a:lnTo>
                    <a:pt x="81" y="842"/>
                  </a:lnTo>
                  <a:lnTo>
                    <a:pt x="79" y="842"/>
                  </a:lnTo>
                  <a:lnTo>
                    <a:pt x="76" y="840"/>
                  </a:lnTo>
                  <a:lnTo>
                    <a:pt x="74" y="838"/>
                  </a:lnTo>
                  <a:lnTo>
                    <a:pt x="73" y="838"/>
                  </a:lnTo>
                  <a:lnTo>
                    <a:pt x="73" y="839"/>
                  </a:lnTo>
                  <a:lnTo>
                    <a:pt x="69" y="839"/>
                  </a:lnTo>
                  <a:lnTo>
                    <a:pt x="68" y="838"/>
                  </a:lnTo>
                  <a:lnTo>
                    <a:pt x="65" y="839"/>
                  </a:lnTo>
                  <a:lnTo>
                    <a:pt x="70" y="840"/>
                  </a:lnTo>
                  <a:lnTo>
                    <a:pt x="73" y="840"/>
                  </a:lnTo>
                  <a:lnTo>
                    <a:pt x="71" y="843"/>
                  </a:lnTo>
                  <a:lnTo>
                    <a:pt x="71" y="844"/>
                  </a:lnTo>
                  <a:lnTo>
                    <a:pt x="73" y="845"/>
                  </a:lnTo>
                  <a:lnTo>
                    <a:pt x="74" y="844"/>
                  </a:lnTo>
                  <a:lnTo>
                    <a:pt x="75" y="843"/>
                  </a:lnTo>
                  <a:lnTo>
                    <a:pt x="77" y="842"/>
                  </a:lnTo>
                  <a:lnTo>
                    <a:pt x="77" y="843"/>
                  </a:lnTo>
                  <a:lnTo>
                    <a:pt x="77" y="845"/>
                  </a:lnTo>
                  <a:lnTo>
                    <a:pt x="77" y="846"/>
                  </a:lnTo>
                  <a:lnTo>
                    <a:pt x="79" y="845"/>
                  </a:lnTo>
                  <a:lnTo>
                    <a:pt x="80" y="844"/>
                  </a:lnTo>
                  <a:lnTo>
                    <a:pt x="81" y="844"/>
                  </a:lnTo>
                  <a:lnTo>
                    <a:pt x="81" y="845"/>
                  </a:lnTo>
                  <a:lnTo>
                    <a:pt x="80" y="848"/>
                  </a:lnTo>
                  <a:lnTo>
                    <a:pt x="81" y="848"/>
                  </a:lnTo>
                  <a:lnTo>
                    <a:pt x="81" y="845"/>
                  </a:lnTo>
                  <a:lnTo>
                    <a:pt x="83" y="844"/>
                  </a:lnTo>
                  <a:lnTo>
                    <a:pt x="85" y="844"/>
                  </a:lnTo>
                  <a:lnTo>
                    <a:pt x="86" y="845"/>
                  </a:lnTo>
                  <a:lnTo>
                    <a:pt x="82" y="849"/>
                  </a:lnTo>
                  <a:lnTo>
                    <a:pt x="83" y="850"/>
                  </a:lnTo>
                  <a:lnTo>
                    <a:pt x="86" y="848"/>
                  </a:lnTo>
                  <a:lnTo>
                    <a:pt x="87" y="846"/>
                  </a:lnTo>
                  <a:lnTo>
                    <a:pt x="88" y="846"/>
                  </a:lnTo>
                  <a:lnTo>
                    <a:pt x="88" y="849"/>
                  </a:lnTo>
                  <a:lnTo>
                    <a:pt x="88" y="850"/>
                  </a:lnTo>
                  <a:lnTo>
                    <a:pt x="88" y="854"/>
                  </a:lnTo>
                  <a:lnTo>
                    <a:pt x="90" y="852"/>
                  </a:lnTo>
                  <a:lnTo>
                    <a:pt x="91" y="852"/>
                  </a:lnTo>
                  <a:lnTo>
                    <a:pt x="91" y="854"/>
                  </a:lnTo>
                  <a:lnTo>
                    <a:pt x="92" y="857"/>
                  </a:lnTo>
                  <a:lnTo>
                    <a:pt x="91" y="861"/>
                  </a:lnTo>
                  <a:lnTo>
                    <a:pt x="91" y="860"/>
                  </a:lnTo>
                  <a:lnTo>
                    <a:pt x="94" y="860"/>
                  </a:lnTo>
                  <a:lnTo>
                    <a:pt x="96" y="858"/>
                  </a:lnTo>
                  <a:lnTo>
                    <a:pt x="96" y="861"/>
                  </a:lnTo>
                  <a:lnTo>
                    <a:pt x="93" y="862"/>
                  </a:lnTo>
                  <a:lnTo>
                    <a:pt x="90" y="862"/>
                  </a:lnTo>
                  <a:lnTo>
                    <a:pt x="91" y="863"/>
                  </a:lnTo>
                  <a:lnTo>
                    <a:pt x="93" y="864"/>
                  </a:lnTo>
                  <a:lnTo>
                    <a:pt x="94" y="866"/>
                  </a:lnTo>
                  <a:lnTo>
                    <a:pt x="91" y="868"/>
                  </a:lnTo>
                  <a:lnTo>
                    <a:pt x="88" y="869"/>
                  </a:lnTo>
                  <a:lnTo>
                    <a:pt x="90" y="872"/>
                  </a:lnTo>
                  <a:lnTo>
                    <a:pt x="91" y="870"/>
                  </a:lnTo>
                  <a:lnTo>
                    <a:pt x="93" y="869"/>
                  </a:lnTo>
                  <a:lnTo>
                    <a:pt x="94" y="868"/>
                  </a:lnTo>
                  <a:lnTo>
                    <a:pt x="96" y="869"/>
                  </a:lnTo>
                  <a:lnTo>
                    <a:pt x="98" y="868"/>
                  </a:lnTo>
                  <a:lnTo>
                    <a:pt x="99" y="867"/>
                  </a:lnTo>
                  <a:lnTo>
                    <a:pt x="99" y="869"/>
                  </a:lnTo>
                  <a:lnTo>
                    <a:pt x="99" y="870"/>
                  </a:lnTo>
                  <a:lnTo>
                    <a:pt x="99" y="872"/>
                  </a:lnTo>
                  <a:lnTo>
                    <a:pt x="97" y="872"/>
                  </a:lnTo>
                  <a:lnTo>
                    <a:pt x="93" y="872"/>
                  </a:lnTo>
                  <a:lnTo>
                    <a:pt x="91" y="872"/>
                  </a:lnTo>
                  <a:lnTo>
                    <a:pt x="87" y="872"/>
                  </a:lnTo>
                  <a:lnTo>
                    <a:pt x="83" y="872"/>
                  </a:lnTo>
                  <a:lnTo>
                    <a:pt x="82" y="872"/>
                  </a:lnTo>
                  <a:lnTo>
                    <a:pt x="79" y="870"/>
                  </a:lnTo>
                  <a:lnTo>
                    <a:pt x="76" y="870"/>
                  </a:lnTo>
                  <a:lnTo>
                    <a:pt x="74" y="872"/>
                  </a:lnTo>
                  <a:lnTo>
                    <a:pt x="71" y="870"/>
                  </a:lnTo>
                  <a:lnTo>
                    <a:pt x="71" y="873"/>
                  </a:lnTo>
                  <a:lnTo>
                    <a:pt x="74" y="875"/>
                  </a:lnTo>
                  <a:lnTo>
                    <a:pt x="75" y="876"/>
                  </a:lnTo>
                  <a:lnTo>
                    <a:pt x="76" y="875"/>
                  </a:lnTo>
                  <a:lnTo>
                    <a:pt x="77" y="875"/>
                  </a:lnTo>
                  <a:lnTo>
                    <a:pt x="77" y="879"/>
                  </a:lnTo>
                  <a:lnTo>
                    <a:pt x="79" y="881"/>
                  </a:lnTo>
                  <a:lnTo>
                    <a:pt x="79" y="879"/>
                  </a:lnTo>
                  <a:lnTo>
                    <a:pt x="80" y="878"/>
                  </a:lnTo>
                  <a:lnTo>
                    <a:pt x="80" y="875"/>
                  </a:lnTo>
                  <a:lnTo>
                    <a:pt x="81" y="875"/>
                  </a:lnTo>
                  <a:lnTo>
                    <a:pt x="81" y="879"/>
                  </a:lnTo>
                  <a:lnTo>
                    <a:pt x="80" y="881"/>
                  </a:lnTo>
                  <a:lnTo>
                    <a:pt x="80" y="885"/>
                  </a:lnTo>
                  <a:lnTo>
                    <a:pt x="80" y="890"/>
                  </a:lnTo>
                  <a:lnTo>
                    <a:pt x="81" y="891"/>
                  </a:lnTo>
                  <a:lnTo>
                    <a:pt x="82" y="888"/>
                  </a:lnTo>
                  <a:lnTo>
                    <a:pt x="82" y="887"/>
                  </a:lnTo>
                  <a:lnTo>
                    <a:pt x="83" y="882"/>
                  </a:lnTo>
                  <a:lnTo>
                    <a:pt x="83" y="881"/>
                  </a:lnTo>
                  <a:lnTo>
                    <a:pt x="85" y="879"/>
                  </a:lnTo>
                  <a:lnTo>
                    <a:pt x="86" y="879"/>
                  </a:lnTo>
                  <a:lnTo>
                    <a:pt x="86" y="880"/>
                  </a:lnTo>
                  <a:lnTo>
                    <a:pt x="86" y="881"/>
                  </a:lnTo>
                  <a:lnTo>
                    <a:pt x="86" y="884"/>
                  </a:lnTo>
                  <a:lnTo>
                    <a:pt x="86" y="886"/>
                  </a:lnTo>
                  <a:lnTo>
                    <a:pt x="87" y="886"/>
                  </a:lnTo>
                  <a:lnTo>
                    <a:pt x="88" y="884"/>
                  </a:lnTo>
                  <a:lnTo>
                    <a:pt x="90" y="882"/>
                  </a:lnTo>
                  <a:lnTo>
                    <a:pt x="91" y="881"/>
                  </a:lnTo>
                  <a:lnTo>
                    <a:pt x="92" y="880"/>
                  </a:lnTo>
                  <a:lnTo>
                    <a:pt x="92" y="882"/>
                  </a:lnTo>
                  <a:lnTo>
                    <a:pt x="92" y="884"/>
                  </a:lnTo>
                  <a:lnTo>
                    <a:pt x="91" y="886"/>
                  </a:lnTo>
                  <a:lnTo>
                    <a:pt x="91" y="887"/>
                  </a:lnTo>
                  <a:lnTo>
                    <a:pt x="90" y="888"/>
                  </a:lnTo>
                  <a:lnTo>
                    <a:pt x="88" y="891"/>
                  </a:lnTo>
                  <a:lnTo>
                    <a:pt x="87" y="893"/>
                  </a:lnTo>
                  <a:lnTo>
                    <a:pt x="87" y="894"/>
                  </a:lnTo>
                  <a:lnTo>
                    <a:pt x="88" y="893"/>
                  </a:lnTo>
                  <a:lnTo>
                    <a:pt x="90" y="893"/>
                  </a:lnTo>
                  <a:lnTo>
                    <a:pt x="92" y="893"/>
                  </a:lnTo>
                  <a:lnTo>
                    <a:pt x="93" y="893"/>
                  </a:lnTo>
                  <a:lnTo>
                    <a:pt x="92" y="894"/>
                  </a:lnTo>
                  <a:lnTo>
                    <a:pt x="91" y="896"/>
                  </a:lnTo>
                  <a:lnTo>
                    <a:pt x="90" y="896"/>
                  </a:lnTo>
                  <a:lnTo>
                    <a:pt x="87" y="894"/>
                  </a:lnTo>
                  <a:lnTo>
                    <a:pt x="86" y="894"/>
                  </a:lnTo>
                  <a:lnTo>
                    <a:pt x="83" y="894"/>
                  </a:lnTo>
                  <a:lnTo>
                    <a:pt x="81" y="893"/>
                  </a:lnTo>
                  <a:lnTo>
                    <a:pt x="79" y="892"/>
                  </a:lnTo>
                  <a:lnTo>
                    <a:pt x="76" y="891"/>
                  </a:lnTo>
                  <a:lnTo>
                    <a:pt x="74" y="891"/>
                  </a:lnTo>
                  <a:lnTo>
                    <a:pt x="70" y="891"/>
                  </a:lnTo>
                  <a:lnTo>
                    <a:pt x="65" y="888"/>
                  </a:lnTo>
                  <a:lnTo>
                    <a:pt x="63" y="888"/>
                  </a:lnTo>
                  <a:lnTo>
                    <a:pt x="62" y="890"/>
                  </a:lnTo>
                  <a:lnTo>
                    <a:pt x="59" y="888"/>
                  </a:lnTo>
                  <a:lnTo>
                    <a:pt x="57" y="887"/>
                  </a:lnTo>
                  <a:lnTo>
                    <a:pt x="55" y="886"/>
                  </a:lnTo>
                  <a:lnTo>
                    <a:pt x="51" y="886"/>
                  </a:lnTo>
                  <a:lnTo>
                    <a:pt x="50" y="886"/>
                  </a:lnTo>
                  <a:lnTo>
                    <a:pt x="47" y="885"/>
                  </a:lnTo>
                  <a:lnTo>
                    <a:pt x="46" y="885"/>
                  </a:lnTo>
                  <a:lnTo>
                    <a:pt x="46" y="886"/>
                  </a:lnTo>
                  <a:lnTo>
                    <a:pt x="47" y="887"/>
                  </a:lnTo>
                  <a:lnTo>
                    <a:pt x="45" y="887"/>
                  </a:lnTo>
                  <a:lnTo>
                    <a:pt x="44" y="886"/>
                  </a:lnTo>
                  <a:lnTo>
                    <a:pt x="43" y="885"/>
                  </a:lnTo>
                  <a:lnTo>
                    <a:pt x="43" y="886"/>
                  </a:lnTo>
                  <a:lnTo>
                    <a:pt x="41" y="885"/>
                  </a:lnTo>
                  <a:lnTo>
                    <a:pt x="40" y="884"/>
                  </a:lnTo>
                  <a:lnTo>
                    <a:pt x="37" y="881"/>
                  </a:lnTo>
                  <a:lnTo>
                    <a:pt x="35" y="884"/>
                  </a:lnTo>
                  <a:lnTo>
                    <a:pt x="37" y="885"/>
                  </a:lnTo>
                  <a:lnTo>
                    <a:pt x="31" y="884"/>
                  </a:lnTo>
                  <a:lnTo>
                    <a:pt x="32" y="885"/>
                  </a:lnTo>
                  <a:lnTo>
                    <a:pt x="34" y="886"/>
                  </a:lnTo>
                  <a:lnTo>
                    <a:pt x="37" y="886"/>
                  </a:lnTo>
                  <a:lnTo>
                    <a:pt x="37" y="887"/>
                  </a:lnTo>
                  <a:lnTo>
                    <a:pt x="34" y="890"/>
                  </a:lnTo>
                  <a:lnTo>
                    <a:pt x="32" y="891"/>
                  </a:lnTo>
                  <a:lnTo>
                    <a:pt x="33" y="891"/>
                  </a:lnTo>
                  <a:lnTo>
                    <a:pt x="34" y="891"/>
                  </a:lnTo>
                  <a:lnTo>
                    <a:pt x="38" y="888"/>
                  </a:lnTo>
                  <a:lnTo>
                    <a:pt x="40" y="888"/>
                  </a:lnTo>
                  <a:lnTo>
                    <a:pt x="41" y="888"/>
                  </a:lnTo>
                  <a:lnTo>
                    <a:pt x="41" y="890"/>
                  </a:lnTo>
                  <a:lnTo>
                    <a:pt x="40" y="892"/>
                  </a:lnTo>
                  <a:lnTo>
                    <a:pt x="40" y="893"/>
                  </a:lnTo>
                  <a:lnTo>
                    <a:pt x="41" y="893"/>
                  </a:lnTo>
                  <a:lnTo>
                    <a:pt x="43" y="892"/>
                  </a:lnTo>
                  <a:lnTo>
                    <a:pt x="43" y="890"/>
                  </a:lnTo>
                  <a:lnTo>
                    <a:pt x="44" y="888"/>
                  </a:lnTo>
                  <a:lnTo>
                    <a:pt x="47" y="888"/>
                  </a:lnTo>
                  <a:lnTo>
                    <a:pt x="49" y="890"/>
                  </a:lnTo>
                  <a:lnTo>
                    <a:pt x="47" y="892"/>
                  </a:lnTo>
                  <a:lnTo>
                    <a:pt x="46" y="893"/>
                  </a:lnTo>
                  <a:lnTo>
                    <a:pt x="45" y="894"/>
                  </a:lnTo>
                  <a:lnTo>
                    <a:pt x="44" y="897"/>
                  </a:lnTo>
                  <a:lnTo>
                    <a:pt x="45" y="902"/>
                  </a:lnTo>
                  <a:lnTo>
                    <a:pt x="45" y="904"/>
                  </a:lnTo>
                  <a:lnTo>
                    <a:pt x="46" y="906"/>
                  </a:lnTo>
                  <a:lnTo>
                    <a:pt x="46" y="909"/>
                  </a:lnTo>
                  <a:lnTo>
                    <a:pt x="47" y="909"/>
                  </a:lnTo>
                  <a:lnTo>
                    <a:pt x="47" y="906"/>
                  </a:lnTo>
                  <a:lnTo>
                    <a:pt x="49" y="905"/>
                  </a:lnTo>
                  <a:lnTo>
                    <a:pt x="50" y="903"/>
                  </a:lnTo>
                  <a:lnTo>
                    <a:pt x="50" y="902"/>
                  </a:lnTo>
                  <a:lnTo>
                    <a:pt x="50" y="898"/>
                  </a:lnTo>
                  <a:lnTo>
                    <a:pt x="51" y="900"/>
                  </a:lnTo>
                  <a:lnTo>
                    <a:pt x="51" y="902"/>
                  </a:lnTo>
                  <a:lnTo>
                    <a:pt x="51" y="900"/>
                  </a:lnTo>
                  <a:lnTo>
                    <a:pt x="52" y="898"/>
                  </a:lnTo>
                  <a:lnTo>
                    <a:pt x="52" y="896"/>
                  </a:lnTo>
                  <a:lnTo>
                    <a:pt x="55" y="893"/>
                  </a:lnTo>
                  <a:lnTo>
                    <a:pt x="55" y="892"/>
                  </a:lnTo>
                  <a:lnTo>
                    <a:pt x="55" y="894"/>
                  </a:lnTo>
                  <a:lnTo>
                    <a:pt x="53" y="896"/>
                  </a:lnTo>
                  <a:lnTo>
                    <a:pt x="55" y="896"/>
                  </a:lnTo>
                  <a:lnTo>
                    <a:pt x="56" y="896"/>
                  </a:lnTo>
                  <a:lnTo>
                    <a:pt x="57" y="894"/>
                  </a:lnTo>
                  <a:lnTo>
                    <a:pt x="58" y="893"/>
                  </a:lnTo>
                  <a:lnTo>
                    <a:pt x="58" y="892"/>
                  </a:lnTo>
                  <a:lnTo>
                    <a:pt x="58" y="894"/>
                  </a:lnTo>
                  <a:lnTo>
                    <a:pt x="57" y="897"/>
                  </a:lnTo>
                  <a:lnTo>
                    <a:pt x="56" y="899"/>
                  </a:lnTo>
                  <a:lnTo>
                    <a:pt x="57" y="900"/>
                  </a:lnTo>
                  <a:lnTo>
                    <a:pt x="58" y="900"/>
                  </a:lnTo>
                  <a:lnTo>
                    <a:pt x="59" y="898"/>
                  </a:lnTo>
                  <a:lnTo>
                    <a:pt x="61" y="897"/>
                  </a:lnTo>
                  <a:lnTo>
                    <a:pt x="62" y="899"/>
                  </a:lnTo>
                  <a:lnTo>
                    <a:pt x="59" y="902"/>
                  </a:lnTo>
                  <a:lnTo>
                    <a:pt x="59" y="903"/>
                  </a:lnTo>
                  <a:lnTo>
                    <a:pt x="57" y="905"/>
                  </a:lnTo>
                  <a:lnTo>
                    <a:pt x="58" y="909"/>
                  </a:lnTo>
                  <a:lnTo>
                    <a:pt x="58" y="910"/>
                  </a:lnTo>
                  <a:lnTo>
                    <a:pt x="59" y="908"/>
                  </a:lnTo>
                  <a:lnTo>
                    <a:pt x="61" y="905"/>
                  </a:lnTo>
                  <a:lnTo>
                    <a:pt x="62" y="903"/>
                  </a:lnTo>
                  <a:lnTo>
                    <a:pt x="63" y="900"/>
                  </a:lnTo>
                  <a:lnTo>
                    <a:pt x="64" y="900"/>
                  </a:lnTo>
                  <a:lnTo>
                    <a:pt x="64" y="903"/>
                  </a:lnTo>
                  <a:lnTo>
                    <a:pt x="65" y="903"/>
                  </a:lnTo>
                  <a:lnTo>
                    <a:pt x="65" y="904"/>
                  </a:lnTo>
                  <a:lnTo>
                    <a:pt x="65" y="906"/>
                  </a:lnTo>
                  <a:lnTo>
                    <a:pt x="65" y="908"/>
                  </a:lnTo>
                  <a:lnTo>
                    <a:pt x="67" y="908"/>
                  </a:lnTo>
                  <a:lnTo>
                    <a:pt x="68" y="904"/>
                  </a:lnTo>
                  <a:lnTo>
                    <a:pt x="68" y="903"/>
                  </a:lnTo>
                  <a:lnTo>
                    <a:pt x="69" y="902"/>
                  </a:lnTo>
                  <a:lnTo>
                    <a:pt x="70" y="902"/>
                  </a:lnTo>
                  <a:lnTo>
                    <a:pt x="71" y="903"/>
                  </a:lnTo>
                  <a:lnTo>
                    <a:pt x="70" y="904"/>
                  </a:lnTo>
                  <a:lnTo>
                    <a:pt x="69" y="905"/>
                  </a:lnTo>
                  <a:lnTo>
                    <a:pt x="68" y="908"/>
                  </a:lnTo>
                  <a:lnTo>
                    <a:pt x="67" y="910"/>
                  </a:lnTo>
                  <a:lnTo>
                    <a:pt x="68" y="910"/>
                  </a:lnTo>
                  <a:lnTo>
                    <a:pt x="70" y="908"/>
                  </a:lnTo>
                  <a:lnTo>
                    <a:pt x="69" y="911"/>
                  </a:lnTo>
                  <a:lnTo>
                    <a:pt x="68" y="914"/>
                  </a:lnTo>
                  <a:lnTo>
                    <a:pt x="67" y="915"/>
                  </a:lnTo>
                  <a:lnTo>
                    <a:pt x="65" y="916"/>
                  </a:lnTo>
                  <a:lnTo>
                    <a:pt x="58" y="920"/>
                  </a:lnTo>
                  <a:lnTo>
                    <a:pt x="58" y="921"/>
                  </a:lnTo>
                  <a:lnTo>
                    <a:pt x="61" y="921"/>
                  </a:lnTo>
                  <a:lnTo>
                    <a:pt x="62" y="920"/>
                  </a:lnTo>
                  <a:lnTo>
                    <a:pt x="62" y="922"/>
                  </a:lnTo>
                  <a:lnTo>
                    <a:pt x="62" y="923"/>
                  </a:lnTo>
                  <a:lnTo>
                    <a:pt x="63" y="923"/>
                  </a:lnTo>
                  <a:lnTo>
                    <a:pt x="63" y="922"/>
                  </a:lnTo>
                  <a:lnTo>
                    <a:pt x="64" y="921"/>
                  </a:lnTo>
                  <a:lnTo>
                    <a:pt x="65" y="919"/>
                  </a:lnTo>
                  <a:lnTo>
                    <a:pt x="67" y="919"/>
                  </a:lnTo>
                  <a:lnTo>
                    <a:pt x="67" y="920"/>
                  </a:lnTo>
                  <a:lnTo>
                    <a:pt x="67" y="922"/>
                  </a:lnTo>
                  <a:lnTo>
                    <a:pt x="67" y="925"/>
                  </a:lnTo>
                  <a:lnTo>
                    <a:pt x="68" y="926"/>
                  </a:lnTo>
                  <a:lnTo>
                    <a:pt x="68" y="925"/>
                  </a:lnTo>
                  <a:lnTo>
                    <a:pt x="69" y="925"/>
                  </a:lnTo>
                  <a:lnTo>
                    <a:pt x="69" y="923"/>
                  </a:lnTo>
                  <a:lnTo>
                    <a:pt x="70" y="923"/>
                  </a:lnTo>
                  <a:lnTo>
                    <a:pt x="71" y="925"/>
                  </a:lnTo>
                  <a:lnTo>
                    <a:pt x="74" y="923"/>
                  </a:lnTo>
                  <a:lnTo>
                    <a:pt x="73" y="921"/>
                  </a:lnTo>
                  <a:lnTo>
                    <a:pt x="71" y="920"/>
                  </a:lnTo>
                  <a:lnTo>
                    <a:pt x="71" y="917"/>
                  </a:lnTo>
                  <a:lnTo>
                    <a:pt x="73" y="915"/>
                  </a:lnTo>
                  <a:lnTo>
                    <a:pt x="74" y="916"/>
                  </a:lnTo>
                  <a:lnTo>
                    <a:pt x="74" y="917"/>
                  </a:lnTo>
                  <a:lnTo>
                    <a:pt x="75" y="916"/>
                  </a:lnTo>
                  <a:lnTo>
                    <a:pt x="76" y="916"/>
                  </a:lnTo>
                  <a:lnTo>
                    <a:pt x="76" y="920"/>
                  </a:lnTo>
                  <a:lnTo>
                    <a:pt x="77" y="920"/>
                  </a:lnTo>
                  <a:lnTo>
                    <a:pt x="79" y="921"/>
                  </a:lnTo>
                  <a:lnTo>
                    <a:pt x="79" y="920"/>
                  </a:lnTo>
                  <a:lnTo>
                    <a:pt x="79" y="916"/>
                  </a:lnTo>
                  <a:lnTo>
                    <a:pt x="79" y="914"/>
                  </a:lnTo>
                  <a:lnTo>
                    <a:pt x="80" y="911"/>
                  </a:lnTo>
                  <a:lnTo>
                    <a:pt x="80" y="909"/>
                  </a:lnTo>
                  <a:lnTo>
                    <a:pt x="80" y="908"/>
                  </a:lnTo>
                  <a:lnTo>
                    <a:pt x="81" y="910"/>
                  </a:lnTo>
                  <a:lnTo>
                    <a:pt x="81" y="911"/>
                  </a:lnTo>
                  <a:lnTo>
                    <a:pt x="82" y="910"/>
                  </a:lnTo>
                  <a:lnTo>
                    <a:pt x="82" y="909"/>
                  </a:lnTo>
                  <a:lnTo>
                    <a:pt x="82" y="910"/>
                  </a:lnTo>
                  <a:lnTo>
                    <a:pt x="82" y="911"/>
                  </a:lnTo>
                  <a:lnTo>
                    <a:pt x="82" y="914"/>
                  </a:lnTo>
                  <a:lnTo>
                    <a:pt x="83" y="914"/>
                  </a:lnTo>
                  <a:lnTo>
                    <a:pt x="83" y="915"/>
                  </a:lnTo>
                  <a:lnTo>
                    <a:pt x="83" y="917"/>
                  </a:lnTo>
                  <a:lnTo>
                    <a:pt x="85" y="919"/>
                  </a:lnTo>
                  <a:lnTo>
                    <a:pt x="83" y="920"/>
                  </a:lnTo>
                  <a:lnTo>
                    <a:pt x="82" y="920"/>
                  </a:lnTo>
                  <a:lnTo>
                    <a:pt x="80" y="921"/>
                  </a:lnTo>
                  <a:lnTo>
                    <a:pt x="80" y="922"/>
                  </a:lnTo>
                  <a:lnTo>
                    <a:pt x="81" y="922"/>
                  </a:lnTo>
                  <a:lnTo>
                    <a:pt x="79" y="923"/>
                  </a:lnTo>
                  <a:lnTo>
                    <a:pt x="79" y="926"/>
                  </a:lnTo>
                  <a:lnTo>
                    <a:pt x="76" y="926"/>
                  </a:lnTo>
                  <a:lnTo>
                    <a:pt x="73" y="928"/>
                  </a:lnTo>
                  <a:lnTo>
                    <a:pt x="71" y="928"/>
                  </a:lnTo>
                  <a:lnTo>
                    <a:pt x="69" y="928"/>
                  </a:lnTo>
                  <a:lnTo>
                    <a:pt x="67" y="928"/>
                  </a:lnTo>
                  <a:lnTo>
                    <a:pt x="64" y="928"/>
                  </a:lnTo>
                  <a:lnTo>
                    <a:pt x="62" y="928"/>
                  </a:lnTo>
                  <a:lnTo>
                    <a:pt x="62" y="929"/>
                  </a:lnTo>
                  <a:lnTo>
                    <a:pt x="62" y="931"/>
                  </a:lnTo>
                  <a:lnTo>
                    <a:pt x="61" y="931"/>
                  </a:lnTo>
                  <a:lnTo>
                    <a:pt x="59" y="932"/>
                  </a:lnTo>
                  <a:lnTo>
                    <a:pt x="62" y="932"/>
                  </a:lnTo>
                  <a:lnTo>
                    <a:pt x="64" y="932"/>
                  </a:lnTo>
                  <a:lnTo>
                    <a:pt x="65" y="933"/>
                  </a:lnTo>
                  <a:lnTo>
                    <a:pt x="65" y="935"/>
                  </a:lnTo>
                  <a:lnTo>
                    <a:pt x="65" y="934"/>
                  </a:lnTo>
                  <a:lnTo>
                    <a:pt x="67" y="933"/>
                  </a:lnTo>
                  <a:lnTo>
                    <a:pt x="67" y="931"/>
                  </a:lnTo>
                  <a:lnTo>
                    <a:pt x="69" y="931"/>
                  </a:lnTo>
                  <a:lnTo>
                    <a:pt x="70" y="931"/>
                  </a:lnTo>
                  <a:lnTo>
                    <a:pt x="69" y="933"/>
                  </a:lnTo>
                  <a:lnTo>
                    <a:pt x="68" y="934"/>
                  </a:lnTo>
                  <a:lnTo>
                    <a:pt x="67" y="938"/>
                  </a:lnTo>
                  <a:lnTo>
                    <a:pt x="68" y="939"/>
                  </a:lnTo>
                  <a:lnTo>
                    <a:pt x="69" y="938"/>
                  </a:lnTo>
                  <a:lnTo>
                    <a:pt x="70" y="937"/>
                  </a:lnTo>
                  <a:lnTo>
                    <a:pt x="73" y="934"/>
                  </a:lnTo>
                  <a:lnTo>
                    <a:pt x="73" y="933"/>
                  </a:lnTo>
                  <a:lnTo>
                    <a:pt x="75" y="931"/>
                  </a:lnTo>
                  <a:lnTo>
                    <a:pt x="75" y="929"/>
                  </a:lnTo>
                  <a:lnTo>
                    <a:pt x="77" y="929"/>
                  </a:lnTo>
                  <a:lnTo>
                    <a:pt x="77" y="931"/>
                  </a:lnTo>
                  <a:lnTo>
                    <a:pt x="77" y="933"/>
                  </a:lnTo>
                  <a:lnTo>
                    <a:pt x="76" y="934"/>
                  </a:lnTo>
                  <a:lnTo>
                    <a:pt x="76" y="937"/>
                  </a:lnTo>
                  <a:lnTo>
                    <a:pt x="76" y="939"/>
                  </a:lnTo>
                  <a:lnTo>
                    <a:pt x="76" y="941"/>
                  </a:lnTo>
                  <a:lnTo>
                    <a:pt x="77" y="941"/>
                  </a:lnTo>
                  <a:lnTo>
                    <a:pt x="77" y="940"/>
                  </a:lnTo>
                  <a:lnTo>
                    <a:pt x="79" y="938"/>
                  </a:lnTo>
                  <a:lnTo>
                    <a:pt x="79" y="935"/>
                  </a:lnTo>
                  <a:lnTo>
                    <a:pt x="80" y="934"/>
                  </a:lnTo>
                  <a:lnTo>
                    <a:pt x="80" y="937"/>
                  </a:lnTo>
                  <a:lnTo>
                    <a:pt x="80" y="938"/>
                  </a:lnTo>
                  <a:lnTo>
                    <a:pt x="80" y="937"/>
                  </a:lnTo>
                  <a:lnTo>
                    <a:pt x="81" y="935"/>
                  </a:lnTo>
                  <a:lnTo>
                    <a:pt x="81" y="934"/>
                  </a:lnTo>
                  <a:lnTo>
                    <a:pt x="82" y="932"/>
                  </a:lnTo>
                  <a:lnTo>
                    <a:pt x="83" y="931"/>
                  </a:lnTo>
                  <a:lnTo>
                    <a:pt x="83" y="932"/>
                  </a:lnTo>
                  <a:lnTo>
                    <a:pt x="83" y="935"/>
                  </a:lnTo>
                  <a:lnTo>
                    <a:pt x="83" y="937"/>
                  </a:lnTo>
                  <a:lnTo>
                    <a:pt x="85" y="935"/>
                  </a:lnTo>
                  <a:lnTo>
                    <a:pt x="86" y="933"/>
                  </a:lnTo>
                  <a:lnTo>
                    <a:pt x="87" y="931"/>
                  </a:lnTo>
                  <a:lnTo>
                    <a:pt x="87" y="932"/>
                  </a:lnTo>
                  <a:lnTo>
                    <a:pt x="86" y="935"/>
                  </a:lnTo>
                  <a:lnTo>
                    <a:pt x="86" y="938"/>
                  </a:lnTo>
                  <a:lnTo>
                    <a:pt x="86" y="939"/>
                  </a:lnTo>
                  <a:lnTo>
                    <a:pt x="87" y="941"/>
                  </a:lnTo>
                  <a:lnTo>
                    <a:pt x="86" y="944"/>
                  </a:lnTo>
                  <a:lnTo>
                    <a:pt x="85" y="947"/>
                  </a:lnTo>
                  <a:lnTo>
                    <a:pt x="85" y="950"/>
                  </a:lnTo>
                  <a:lnTo>
                    <a:pt x="83" y="953"/>
                  </a:lnTo>
                  <a:lnTo>
                    <a:pt x="86" y="952"/>
                  </a:lnTo>
                  <a:lnTo>
                    <a:pt x="86" y="953"/>
                  </a:lnTo>
                  <a:lnTo>
                    <a:pt x="85" y="955"/>
                  </a:lnTo>
                  <a:lnTo>
                    <a:pt x="82" y="955"/>
                  </a:lnTo>
                  <a:lnTo>
                    <a:pt x="81" y="955"/>
                  </a:lnTo>
                  <a:lnTo>
                    <a:pt x="79" y="955"/>
                  </a:lnTo>
                  <a:lnTo>
                    <a:pt x="77" y="953"/>
                  </a:lnTo>
                  <a:lnTo>
                    <a:pt x="74" y="953"/>
                  </a:lnTo>
                  <a:lnTo>
                    <a:pt x="71" y="953"/>
                  </a:lnTo>
                  <a:lnTo>
                    <a:pt x="69" y="950"/>
                  </a:lnTo>
                  <a:lnTo>
                    <a:pt x="67" y="949"/>
                  </a:lnTo>
                  <a:lnTo>
                    <a:pt x="64" y="946"/>
                  </a:lnTo>
                  <a:lnTo>
                    <a:pt x="63" y="945"/>
                  </a:lnTo>
                  <a:lnTo>
                    <a:pt x="62" y="945"/>
                  </a:lnTo>
                  <a:lnTo>
                    <a:pt x="62" y="943"/>
                  </a:lnTo>
                  <a:lnTo>
                    <a:pt x="59" y="944"/>
                  </a:lnTo>
                  <a:lnTo>
                    <a:pt x="58" y="943"/>
                  </a:lnTo>
                  <a:lnTo>
                    <a:pt x="58" y="940"/>
                  </a:lnTo>
                  <a:lnTo>
                    <a:pt x="57" y="941"/>
                  </a:lnTo>
                  <a:lnTo>
                    <a:pt x="56" y="940"/>
                  </a:lnTo>
                  <a:lnTo>
                    <a:pt x="55" y="943"/>
                  </a:lnTo>
                  <a:lnTo>
                    <a:pt x="53" y="944"/>
                  </a:lnTo>
                  <a:lnTo>
                    <a:pt x="51" y="945"/>
                  </a:lnTo>
                  <a:lnTo>
                    <a:pt x="52" y="946"/>
                  </a:lnTo>
                  <a:lnTo>
                    <a:pt x="55" y="947"/>
                  </a:lnTo>
                  <a:lnTo>
                    <a:pt x="56" y="949"/>
                  </a:lnTo>
                  <a:lnTo>
                    <a:pt x="59" y="951"/>
                  </a:lnTo>
                  <a:lnTo>
                    <a:pt x="61" y="950"/>
                  </a:lnTo>
                  <a:lnTo>
                    <a:pt x="59" y="952"/>
                  </a:lnTo>
                  <a:lnTo>
                    <a:pt x="58" y="953"/>
                  </a:lnTo>
                  <a:lnTo>
                    <a:pt x="56" y="953"/>
                  </a:lnTo>
                  <a:lnTo>
                    <a:pt x="53" y="952"/>
                  </a:lnTo>
                  <a:lnTo>
                    <a:pt x="51" y="951"/>
                  </a:lnTo>
                  <a:lnTo>
                    <a:pt x="47" y="951"/>
                  </a:lnTo>
                  <a:lnTo>
                    <a:pt x="45" y="949"/>
                  </a:lnTo>
                  <a:lnTo>
                    <a:pt x="41" y="947"/>
                  </a:lnTo>
                  <a:lnTo>
                    <a:pt x="38" y="945"/>
                  </a:lnTo>
                  <a:lnTo>
                    <a:pt x="34" y="941"/>
                  </a:lnTo>
                  <a:lnTo>
                    <a:pt x="27" y="937"/>
                  </a:lnTo>
                  <a:lnTo>
                    <a:pt x="21" y="934"/>
                  </a:lnTo>
                  <a:lnTo>
                    <a:pt x="18" y="932"/>
                  </a:lnTo>
                  <a:lnTo>
                    <a:pt x="17" y="932"/>
                  </a:lnTo>
                  <a:lnTo>
                    <a:pt x="16" y="932"/>
                  </a:lnTo>
                  <a:lnTo>
                    <a:pt x="15" y="931"/>
                  </a:lnTo>
                  <a:lnTo>
                    <a:pt x="12" y="928"/>
                  </a:lnTo>
                  <a:lnTo>
                    <a:pt x="10" y="928"/>
                  </a:lnTo>
                  <a:lnTo>
                    <a:pt x="8" y="927"/>
                  </a:lnTo>
                  <a:lnTo>
                    <a:pt x="0" y="925"/>
                  </a:lnTo>
                  <a:lnTo>
                    <a:pt x="0" y="927"/>
                  </a:lnTo>
                  <a:lnTo>
                    <a:pt x="2" y="927"/>
                  </a:lnTo>
                  <a:lnTo>
                    <a:pt x="5" y="929"/>
                  </a:lnTo>
                  <a:lnTo>
                    <a:pt x="5" y="931"/>
                  </a:lnTo>
                  <a:lnTo>
                    <a:pt x="5" y="932"/>
                  </a:lnTo>
                  <a:lnTo>
                    <a:pt x="6" y="933"/>
                  </a:lnTo>
                  <a:lnTo>
                    <a:pt x="9" y="931"/>
                  </a:lnTo>
                  <a:lnTo>
                    <a:pt x="11" y="932"/>
                  </a:lnTo>
                  <a:lnTo>
                    <a:pt x="9" y="933"/>
                  </a:lnTo>
                  <a:lnTo>
                    <a:pt x="8" y="934"/>
                  </a:lnTo>
                  <a:lnTo>
                    <a:pt x="10" y="935"/>
                  </a:lnTo>
                  <a:lnTo>
                    <a:pt x="12" y="935"/>
                  </a:lnTo>
                  <a:lnTo>
                    <a:pt x="15" y="935"/>
                  </a:lnTo>
                  <a:lnTo>
                    <a:pt x="12" y="938"/>
                  </a:lnTo>
                  <a:lnTo>
                    <a:pt x="14" y="940"/>
                  </a:lnTo>
                  <a:lnTo>
                    <a:pt x="15" y="938"/>
                  </a:lnTo>
                  <a:lnTo>
                    <a:pt x="17" y="937"/>
                  </a:lnTo>
                  <a:lnTo>
                    <a:pt x="17" y="938"/>
                  </a:lnTo>
                  <a:lnTo>
                    <a:pt x="15" y="941"/>
                  </a:lnTo>
                  <a:lnTo>
                    <a:pt x="16" y="943"/>
                  </a:lnTo>
                  <a:lnTo>
                    <a:pt x="17" y="941"/>
                  </a:lnTo>
                  <a:lnTo>
                    <a:pt x="20" y="939"/>
                  </a:lnTo>
                  <a:lnTo>
                    <a:pt x="21" y="938"/>
                  </a:lnTo>
                  <a:lnTo>
                    <a:pt x="22" y="939"/>
                  </a:lnTo>
                  <a:lnTo>
                    <a:pt x="21" y="943"/>
                  </a:lnTo>
                  <a:lnTo>
                    <a:pt x="20" y="943"/>
                  </a:lnTo>
                  <a:lnTo>
                    <a:pt x="18" y="944"/>
                  </a:lnTo>
                  <a:lnTo>
                    <a:pt x="20" y="944"/>
                  </a:lnTo>
                  <a:lnTo>
                    <a:pt x="18" y="946"/>
                  </a:lnTo>
                  <a:lnTo>
                    <a:pt x="17" y="946"/>
                  </a:lnTo>
                  <a:lnTo>
                    <a:pt x="17" y="949"/>
                  </a:lnTo>
                  <a:lnTo>
                    <a:pt x="22" y="947"/>
                  </a:lnTo>
                  <a:lnTo>
                    <a:pt x="23" y="945"/>
                  </a:lnTo>
                  <a:lnTo>
                    <a:pt x="26" y="944"/>
                  </a:lnTo>
                  <a:lnTo>
                    <a:pt x="24" y="946"/>
                  </a:lnTo>
                  <a:lnTo>
                    <a:pt x="24" y="950"/>
                  </a:lnTo>
                  <a:lnTo>
                    <a:pt x="26" y="949"/>
                  </a:lnTo>
                  <a:lnTo>
                    <a:pt x="28" y="945"/>
                  </a:lnTo>
                  <a:lnTo>
                    <a:pt x="28" y="946"/>
                  </a:lnTo>
                  <a:lnTo>
                    <a:pt x="27" y="950"/>
                  </a:lnTo>
                  <a:lnTo>
                    <a:pt x="24" y="953"/>
                  </a:lnTo>
                  <a:lnTo>
                    <a:pt x="23" y="958"/>
                  </a:lnTo>
                  <a:lnTo>
                    <a:pt x="23" y="961"/>
                  </a:lnTo>
                  <a:lnTo>
                    <a:pt x="23" y="964"/>
                  </a:lnTo>
                  <a:lnTo>
                    <a:pt x="26" y="962"/>
                  </a:lnTo>
                  <a:lnTo>
                    <a:pt x="27" y="961"/>
                  </a:lnTo>
                  <a:lnTo>
                    <a:pt x="28" y="959"/>
                  </a:lnTo>
                  <a:lnTo>
                    <a:pt x="28" y="957"/>
                  </a:lnTo>
                  <a:lnTo>
                    <a:pt x="29" y="956"/>
                  </a:lnTo>
                  <a:lnTo>
                    <a:pt x="31" y="956"/>
                  </a:lnTo>
                  <a:lnTo>
                    <a:pt x="32" y="956"/>
                  </a:lnTo>
                  <a:lnTo>
                    <a:pt x="31" y="958"/>
                  </a:lnTo>
                  <a:lnTo>
                    <a:pt x="29" y="961"/>
                  </a:lnTo>
                  <a:lnTo>
                    <a:pt x="28" y="962"/>
                  </a:lnTo>
                  <a:lnTo>
                    <a:pt x="28" y="963"/>
                  </a:lnTo>
                  <a:lnTo>
                    <a:pt x="29" y="963"/>
                  </a:lnTo>
                  <a:lnTo>
                    <a:pt x="29" y="964"/>
                  </a:lnTo>
                  <a:lnTo>
                    <a:pt x="29" y="965"/>
                  </a:lnTo>
                  <a:lnTo>
                    <a:pt x="29" y="967"/>
                  </a:lnTo>
                  <a:lnTo>
                    <a:pt x="29" y="968"/>
                  </a:lnTo>
                  <a:lnTo>
                    <a:pt x="31" y="968"/>
                  </a:lnTo>
                  <a:lnTo>
                    <a:pt x="31" y="967"/>
                  </a:lnTo>
                  <a:lnTo>
                    <a:pt x="32" y="965"/>
                  </a:lnTo>
                  <a:lnTo>
                    <a:pt x="33" y="964"/>
                  </a:lnTo>
                  <a:lnTo>
                    <a:pt x="34" y="964"/>
                  </a:lnTo>
                  <a:lnTo>
                    <a:pt x="33" y="968"/>
                  </a:lnTo>
                  <a:lnTo>
                    <a:pt x="33" y="971"/>
                  </a:lnTo>
                  <a:lnTo>
                    <a:pt x="35" y="971"/>
                  </a:lnTo>
                  <a:lnTo>
                    <a:pt x="37" y="971"/>
                  </a:lnTo>
                  <a:lnTo>
                    <a:pt x="37" y="969"/>
                  </a:lnTo>
                  <a:lnTo>
                    <a:pt x="37" y="967"/>
                  </a:lnTo>
                  <a:lnTo>
                    <a:pt x="37" y="964"/>
                  </a:lnTo>
                  <a:lnTo>
                    <a:pt x="38" y="963"/>
                  </a:lnTo>
                  <a:lnTo>
                    <a:pt x="38" y="965"/>
                  </a:lnTo>
                  <a:lnTo>
                    <a:pt x="39" y="969"/>
                  </a:lnTo>
                  <a:lnTo>
                    <a:pt x="40" y="969"/>
                  </a:lnTo>
                  <a:lnTo>
                    <a:pt x="40" y="965"/>
                  </a:lnTo>
                  <a:lnTo>
                    <a:pt x="41" y="964"/>
                  </a:lnTo>
                  <a:lnTo>
                    <a:pt x="41" y="963"/>
                  </a:lnTo>
                  <a:lnTo>
                    <a:pt x="43" y="964"/>
                  </a:lnTo>
                  <a:lnTo>
                    <a:pt x="43" y="967"/>
                  </a:lnTo>
                  <a:lnTo>
                    <a:pt x="43" y="968"/>
                  </a:lnTo>
                  <a:lnTo>
                    <a:pt x="44" y="969"/>
                  </a:lnTo>
                  <a:lnTo>
                    <a:pt x="44" y="971"/>
                  </a:lnTo>
                  <a:lnTo>
                    <a:pt x="43" y="974"/>
                  </a:lnTo>
                  <a:lnTo>
                    <a:pt x="43" y="976"/>
                  </a:lnTo>
                  <a:lnTo>
                    <a:pt x="44" y="977"/>
                  </a:lnTo>
                  <a:lnTo>
                    <a:pt x="44" y="980"/>
                  </a:lnTo>
                  <a:lnTo>
                    <a:pt x="43" y="982"/>
                  </a:lnTo>
                  <a:lnTo>
                    <a:pt x="44" y="983"/>
                  </a:lnTo>
                  <a:lnTo>
                    <a:pt x="45" y="982"/>
                  </a:lnTo>
                  <a:lnTo>
                    <a:pt x="46" y="981"/>
                  </a:lnTo>
                  <a:lnTo>
                    <a:pt x="46" y="979"/>
                  </a:lnTo>
                  <a:lnTo>
                    <a:pt x="46" y="977"/>
                  </a:lnTo>
                  <a:lnTo>
                    <a:pt x="46" y="975"/>
                  </a:lnTo>
                  <a:lnTo>
                    <a:pt x="49" y="976"/>
                  </a:lnTo>
                  <a:lnTo>
                    <a:pt x="49" y="975"/>
                  </a:lnTo>
                  <a:lnTo>
                    <a:pt x="50" y="975"/>
                  </a:lnTo>
                  <a:lnTo>
                    <a:pt x="51" y="975"/>
                  </a:lnTo>
                  <a:lnTo>
                    <a:pt x="51" y="976"/>
                  </a:lnTo>
                  <a:lnTo>
                    <a:pt x="50" y="979"/>
                  </a:lnTo>
                  <a:lnTo>
                    <a:pt x="51" y="977"/>
                  </a:lnTo>
                  <a:lnTo>
                    <a:pt x="53" y="976"/>
                  </a:lnTo>
                  <a:lnTo>
                    <a:pt x="53" y="975"/>
                  </a:lnTo>
                  <a:lnTo>
                    <a:pt x="55" y="974"/>
                  </a:lnTo>
                  <a:lnTo>
                    <a:pt x="53" y="977"/>
                  </a:lnTo>
                  <a:lnTo>
                    <a:pt x="53" y="979"/>
                  </a:lnTo>
                  <a:lnTo>
                    <a:pt x="51" y="981"/>
                  </a:lnTo>
                  <a:lnTo>
                    <a:pt x="49" y="983"/>
                  </a:lnTo>
                  <a:lnTo>
                    <a:pt x="44" y="985"/>
                  </a:lnTo>
                  <a:lnTo>
                    <a:pt x="43" y="986"/>
                  </a:lnTo>
                  <a:lnTo>
                    <a:pt x="40" y="988"/>
                  </a:lnTo>
                  <a:lnTo>
                    <a:pt x="38" y="988"/>
                  </a:lnTo>
                  <a:lnTo>
                    <a:pt x="31" y="985"/>
                  </a:lnTo>
                  <a:lnTo>
                    <a:pt x="29" y="986"/>
                  </a:lnTo>
                  <a:lnTo>
                    <a:pt x="35" y="988"/>
                  </a:lnTo>
                  <a:lnTo>
                    <a:pt x="37" y="989"/>
                  </a:lnTo>
                  <a:lnTo>
                    <a:pt x="32" y="993"/>
                  </a:lnTo>
                  <a:lnTo>
                    <a:pt x="32" y="994"/>
                  </a:lnTo>
                  <a:lnTo>
                    <a:pt x="32" y="995"/>
                  </a:lnTo>
                  <a:lnTo>
                    <a:pt x="34" y="993"/>
                  </a:lnTo>
                  <a:lnTo>
                    <a:pt x="35" y="993"/>
                  </a:lnTo>
                  <a:lnTo>
                    <a:pt x="35" y="998"/>
                  </a:lnTo>
                  <a:lnTo>
                    <a:pt x="37" y="997"/>
                  </a:lnTo>
                  <a:lnTo>
                    <a:pt x="37" y="994"/>
                  </a:lnTo>
                  <a:lnTo>
                    <a:pt x="38" y="993"/>
                  </a:lnTo>
                  <a:lnTo>
                    <a:pt x="39" y="991"/>
                  </a:lnTo>
                  <a:lnTo>
                    <a:pt x="40" y="991"/>
                  </a:lnTo>
                  <a:lnTo>
                    <a:pt x="40" y="993"/>
                  </a:lnTo>
                  <a:lnTo>
                    <a:pt x="40" y="997"/>
                  </a:lnTo>
                  <a:lnTo>
                    <a:pt x="41" y="997"/>
                  </a:lnTo>
                  <a:lnTo>
                    <a:pt x="43" y="997"/>
                  </a:lnTo>
                  <a:lnTo>
                    <a:pt x="43" y="994"/>
                  </a:lnTo>
                  <a:lnTo>
                    <a:pt x="41" y="994"/>
                  </a:lnTo>
                  <a:lnTo>
                    <a:pt x="43" y="992"/>
                  </a:lnTo>
                  <a:lnTo>
                    <a:pt x="44" y="992"/>
                  </a:lnTo>
                  <a:lnTo>
                    <a:pt x="45" y="992"/>
                  </a:lnTo>
                  <a:lnTo>
                    <a:pt x="47" y="992"/>
                  </a:lnTo>
                  <a:lnTo>
                    <a:pt x="45" y="994"/>
                  </a:lnTo>
                  <a:lnTo>
                    <a:pt x="43" y="997"/>
                  </a:lnTo>
                  <a:lnTo>
                    <a:pt x="41" y="999"/>
                  </a:lnTo>
                  <a:lnTo>
                    <a:pt x="43" y="1000"/>
                  </a:lnTo>
                  <a:lnTo>
                    <a:pt x="45" y="998"/>
                  </a:lnTo>
                  <a:lnTo>
                    <a:pt x="45" y="999"/>
                  </a:lnTo>
                  <a:lnTo>
                    <a:pt x="43" y="1003"/>
                  </a:lnTo>
                  <a:lnTo>
                    <a:pt x="44" y="1005"/>
                  </a:lnTo>
                  <a:lnTo>
                    <a:pt x="45" y="1004"/>
                  </a:lnTo>
                  <a:lnTo>
                    <a:pt x="46" y="1001"/>
                  </a:lnTo>
                  <a:lnTo>
                    <a:pt x="49" y="999"/>
                  </a:lnTo>
                  <a:lnTo>
                    <a:pt x="50" y="997"/>
                  </a:lnTo>
                  <a:lnTo>
                    <a:pt x="53" y="993"/>
                  </a:lnTo>
                  <a:lnTo>
                    <a:pt x="56" y="994"/>
                  </a:lnTo>
                  <a:lnTo>
                    <a:pt x="59" y="994"/>
                  </a:lnTo>
                  <a:lnTo>
                    <a:pt x="58" y="998"/>
                  </a:lnTo>
                  <a:lnTo>
                    <a:pt x="55" y="1001"/>
                  </a:lnTo>
                  <a:lnTo>
                    <a:pt x="55" y="1004"/>
                  </a:lnTo>
                  <a:lnTo>
                    <a:pt x="52" y="1005"/>
                  </a:lnTo>
                  <a:lnTo>
                    <a:pt x="49" y="1006"/>
                  </a:lnTo>
                  <a:lnTo>
                    <a:pt x="45" y="1010"/>
                  </a:lnTo>
                  <a:lnTo>
                    <a:pt x="44" y="1012"/>
                  </a:lnTo>
                  <a:lnTo>
                    <a:pt x="45" y="1012"/>
                  </a:lnTo>
                  <a:lnTo>
                    <a:pt x="47" y="1012"/>
                  </a:lnTo>
                  <a:lnTo>
                    <a:pt x="49" y="1012"/>
                  </a:lnTo>
                  <a:lnTo>
                    <a:pt x="50" y="1011"/>
                  </a:lnTo>
                  <a:lnTo>
                    <a:pt x="51" y="1009"/>
                  </a:lnTo>
                  <a:lnTo>
                    <a:pt x="53" y="1006"/>
                  </a:lnTo>
                  <a:lnTo>
                    <a:pt x="56" y="1005"/>
                  </a:lnTo>
                  <a:lnTo>
                    <a:pt x="55" y="1007"/>
                  </a:lnTo>
                  <a:lnTo>
                    <a:pt x="53" y="1012"/>
                  </a:lnTo>
                  <a:lnTo>
                    <a:pt x="56" y="1012"/>
                  </a:lnTo>
                  <a:lnTo>
                    <a:pt x="58" y="1011"/>
                  </a:lnTo>
                  <a:lnTo>
                    <a:pt x="57" y="1013"/>
                  </a:lnTo>
                  <a:lnTo>
                    <a:pt x="58" y="1015"/>
                  </a:lnTo>
                  <a:lnTo>
                    <a:pt x="59" y="1012"/>
                  </a:lnTo>
                  <a:lnTo>
                    <a:pt x="61" y="1011"/>
                  </a:lnTo>
                  <a:lnTo>
                    <a:pt x="61" y="1009"/>
                  </a:lnTo>
                  <a:lnTo>
                    <a:pt x="62" y="1005"/>
                  </a:lnTo>
                  <a:lnTo>
                    <a:pt x="63" y="1003"/>
                  </a:lnTo>
                  <a:lnTo>
                    <a:pt x="63" y="1005"/>
                  </a:lnTo>
                  <a:lnTo>
                    <a:pt x="63" y="1006"/>
                  </a:lnTo>
                  <a:lnTo>
                    <a:pt x="63" y="1005"/>
                  </a:lnTo>
                  <a:lnTo>
                    <a:pt x="63" y="1000"/>
                  </a:lnTo>
                  <a:lnTo>
                    <a:pt x="64" y="999"/>
                  </a:lnTo>
                  <a:lnTo>
                    <a:pt x="65" y="998"/>
                  </a:lnTo>
                  <a:lnTo>
                    <a:pt x="65" y="1000"/>
                  </a:lnTo>
                  <a:lnTo>
                    <a:pt x="67" y="997"/>
                  </a:lnTo>
                  <a:lnTo>
                    <a:pt x="67" y="995"/>
                  </a:lnTo>
                  <a:lnTo>
                    <a:pt x="69" y="995"/>
                  </a:lnTo>
                  <a:lnTo>
                    <a:pt x="68" y="998"/>
                  </a:lnTo>
                  <a:lnTo>
                    <a:pt x="68" y="1000"/>
                  </a:lnTo>
                  <a:lnTo>
                    <a:pt x="67" y="1004"/>
                  </a:lnTo>
                  <a:lnTo>
                    <a:pt x="67" y="1007"/>
                  </a:lnTo>
                  <a:lnTo>
                    <a:pt x="67" y="1009"/>
                  </a:lnTo>
                  <a:lnTo>
                    <a:pt x="65" y="1011"/>
                  </a:lnTo>
                  <a:lnTo>
                    <a:pt x="65" y="1013"/>
                  </a:lnTo>
                  <a:lnTo>
                    <a:pt x="65" y="1015"/>
                  </a:lnTo>
                  <a:lnTo>
                    <a:pt x="67" y="1019"/>
                  </a:lnTo>
                  <a:lnTo>
                    <a:pt x="67" y="1018"/>
                  </a:lnTo>
                  <a:lnTo>
                    <a:pt x="69" y="1017"/>
                  </a:lnTo>
                  <a:lnTo>
                    <a:pt x="70" y="1016"/>
                  </a:lnTo>
                  <a:lnTo>
                    <a:pt x="71" y="1015"/>
                  </a:lnTo>
                  <a:lnTo>
                    <a:pt x="71" y="1010"/>
                  </a:lnTo>
                  <a:lnTo>
                    <a:pt x="71" y="1009"/>
                  </a:lnTo>
                  <a:lnTo>
                    <a:pt x="73" y="1009"/>
                  </a:lnTo>
                  <a:lnTo>
                    <a:pt x="73" y="1011"/>
                  </a:lnTo>
                  <a:lnTo>
                    <a:pt x="73" y="1013"/>
                  </a:lnTo>
                  <a:lnTo>
                    <a:pt x="73" y="1016"/>
                  </a:lnTo>
                  <a:lnTo>
                    <a:pt x="73" y="1019"/>
                  </a:lnTo>
                  <a:lnTo>
                    <a:pt x="74" y="1022"/>
                  </a:lnTo>
                  <a:lnTo>
                    <a:pt x="74" y="1021"/>
                  </a:lnTo>
                  <a:lnTo>
                    <a:pt x="75" y="1022"/>
                  </a:lnTo>
                  <a:lnTo>
                    <a:pt x="76" y="1024"/>
                  </a:lnTo>
                  <a:lnTo>
                    <a:pt x="77" y="1024"/>
                  </a:lnTo>
                  <a:lnTo>
                    <a:pt x="77" y="1019"/>
                  </a:lnTo>
                  <a:lnTo>
                    <a:pt x="76" y="1015"/>
                  </a:lnTo>
                  <a:lnTo>
                    <a:pt x="77" y="1011"/>
                  </a:lnTo>
                  <a:lnTo>
                    <a:pt x="77" y="1006"/>
                  </a:lnTo>
                  <a:lnTo>
                    <a:pt x="79" y="1013"/>
                  </a:lnTo>
                  <a:lnTo>
                    <a:pt x="80" y="1013"/>
                  </a:lnTo>
                  <a:lnTo>
                    <a:pt x="80" y="1010"/>
                  </a:lnTo>
                  <a:lnTo>
                    <a:pt x="80" y="1005"/>
                  </a:lnTo>
                  <a:lnTo>
                    <a:pt x="81" y="1003"/>
                  </a:lnTo>
                  <a:lnTo>
                    <a:pt x="81" y="998"/>
                  </a:lnTo>
                  <a:lnTo>
                    <a:pt x="83" y="997"/>
                  </a:lnTo>
                  <a:lnTo>
                    <a:pt x="83" y="1000"/>
                  </a:lnTo>
                  <a:lnTo>
                    <a:pt x="83" y="1006"/>
                  </a:lnTo>
                  <a:lnTo>
                    <a:pt x="81" y="1010"/>
                  </a:lnTo>
                  <a:lnTo>
                    <a:pt x="81" y="1013"/>
                  </a:lnTo>
                  <a:lnTo>
                    <a:pt x="80" y="1017"/>
                  </a:lnTo>
                  <a:lnTo>
                    <a:pt x="79" y="1019"/>
                  </a:lnTo>
                  <a:lnTo>
                    <a:pt x="80" y="1021"/>
                  </a:lnTo>
                  <a:lnTo>
                    <a:pt x="81" y="1022"/>
                  </a:lnTo>
                  <a:lnTo>
                    <a:pt x="82" y="1021"/>
                  </a:lnTo>
                  <a:lnTo>
                    <a:pt x="82" y="1019"/>
                  </a:lnTo>
                  <a:lnTo>
                    <a:pt x="83" y="1017"/>
                  </a:lnTo>
                  <a:lnTo>
                    <a:pt x="83" y="1015"/>
                  </a:lnTo>
                  <a:lnTo>
                    <a:pt x="85" y="1013"/>
                  </a:lnTo>
                  <a:lnTo>
                    <a:pt x="83" y="1012"/>
                  </a:lnTo>
                  <a:lnTo>
                    <a:pt x="85" y="1009"/>
                  </a:lnTo>
                  <a:lnTo>
                    <a:pt x="86" y="1009"/>
                  </a:lnTo>
                  <a:lnTo>
                    <a:pt x="86" y="1013"/>
                  </a:lnTo>
                  <a:lnTo>
                    <a:pt x="86" y="1015"/>
                  </a:lnTo>
                  <a:lnTo>
                    <a:pt x="87" y="1016"/>
                  </a:lnTo>
                  <a:lnTo>
                    <a:pt x="88" y="1012"/>
                  </a:lnTo>
                  <a:lnTo>
                    <a:pt x="90" y="1010"/>
                  </a:lnTo>
                  <a:lnTo>
                    <a:pt x="90" y="1009"/>
                  </a:lnTo>
                  <a:lnTo>
                    <a:pt x="92" y="1004"/>
                  </a:lnTo>
                  <a:lnTo>
                    <a:pt x="92" y="1006"/>
                  </a:lnTo>
                  <a:lnTo>
                    <a:pt x="92" y="1009"/>
                  </a:lnTo>
                  <a:lnTo>
                    <a:pt x="91" y="1012"/>
                  </a:lnTo>
                  <a:lnTo>
                    <a:pt x="91" y="1016"/>
                  </a:lnTo>
                  <a:lnTo>
                    <a:pt x="92" y="1016"/>
                  </a:lnTo>
                  <a:lnTo>
                    <a:pt x="91" y="1018"/>
                  </a:lnTo>
                  <a:lnTo>
                    <a:pt x="93" y="1019"/>
                  </a:lnTo>
                  <a:lnTo>
                    <a:pt x="93" y="1018"/>
                  </a:lnTo>
                  <a:lnTo>
                    <a:pt x="93" y="1021"/>
                  </a:lnTo>
                  <a:lnTo>
                    <a:pt x="92" y="1023"/>
                  </a:lnTo>
                  <a:lnTo>
                    <a:pt x="91" y="1024"/>
                  </a:lnTo>
                  <a:lnTo>
                    <a:pt x="88" y="1027"/>
                  </a:lnTo>
                  <a:lnTo>
                    <a:pt x="90" y="1027"/>
                  </a:lnTo>
                  <a:lnTo>
                    <a:pt x="92" y="1026"/>
                  </a:lnTo>
                  <a:lnTo>
                    <a:pt x="91" y="1028"/>
                  </a:lnTo>
                  <a:lnTo>
                    <a:pt x="91" y="1029"/>
                  </a:lnTo>
                  <a:lnTo>
                    <a:pt x="91" y="1030"/>
                  </a:lnTo>
                  <a:lnTo>
                    <a:pt x="92" y="1032"/>
                  </a:lnTo>
                  <a:lnTo>
                    <a:pt x="94" y="1032"/>
                  </a:lnTo>
                  <a:lnTo>
                    <a:pt x="98" y="1024"/>
                  </a:lnTo>
                  <a:lnTo>
                    <a:pt x="98" y="1022"/>
                  </a:lnTo>
                  <a:lnTo>
                    <a:pt x="99" y="1021"/>
                  </a:lnTo>
                  <a:lnTo>
                    <a:pt x="99" y="1013"/>
                  </a:lnTo>
                  <a:lnTo>
                    <a:pt x="99" y="1010"/>
                  </a:lnTo>
                  <a:lnTo>
                    <a:pt x="99" y="1005"/>
                  </a:lnTo>
                  <a:lnTo>
                    <a:pt x="99" y="1004"/>
                  </a:lnTo>
                  <a:lnTo>
                    <a:pt x="100" y="1005"/>
                  </a:lnTo>
                  <a:lnTo>
                    <a:pt x="100" y="1006"/>
                  </a:lnTo>
                  <a:lnTo>
                    <a:pt x="100" y="1009"/>
                  </a:lnTo>
                  <a:lnTo>
                    <a:pt x="103" y="1010"/>
                  </a:lnTo>
                  <a:lnTo>
                    <a:pt x="103" y="1012"/>
                  </a:lnTo>
                  <a:lnTo>
                    <a:pt x="102" y="1016"/>
                  </a:lnTo>
                  <a:lnTo>
                    <a:pt x="102" y="1019"/>
                  </a:lnTo>
                  <a:lnTo>
                    <a:pt x="102" y="1021"/>
                  </a:lnTo>
                  <a:lnTo>
                    <a:pt x="102" y="1022"/>
                  </a:lnTo>
                  <a:lnTo>
                    <a:pt x="100" y="1024"/>
                  </a:lnTo>
                  <a:lnTo>
                    <a:pt x="99" y="1026"/>
                  </a:lnTo>
                  <a:lnTo>
                    <a:pt x="98" y="1028"/>
                  </a:lnTo>
                  <a:lnTo>
                    <a:pt x="97" y="1030"/>
                  </a:lnTo>
                  <a:lnTo>
                    <a:pt x="97" y="1034"/>
                  </a:lnTo>
                  <a:lnTo>
                    <a:pt x="98" y="1035"/>
                  </a:lnTo>
                  <a:lnTo>
                    <a:pt x="98" y="1038"/>
                  </a:lnTo>
                  <a:lnTo>
                    <a:pt x="98" y="1040"/>
                  </a:lnTo>
                  <a:lnTo>
                    <a:pt x="97" y="1042"/>
                  </a:lnTo>
                  <a:lnTo>
                    <a:pt x="97" y="1045"/>
                  </a:lnTo>
                  <a:lnTo>
                    <a:pt x="96" y="1047"/>
                  </a:lnTo>
                  <a:lnTo>
                    <a:pt x="92" y="1047"/>
                  </a:lnTo>
                  <a:lnTo>
                    <a:pt x="88" y="1046"/>
                  </a:lnTo>
                  <a:lnTo>
                    <a:pt x="85" y="1044"/>
                  </a:lnTo>
                  <a:lnTo>
                    <a:pt x="80" y="1042"/>
                  </a:lnTo>
                  <a:lnTo>
                    <a:pt x="79" y="1041"/>
                  </a:lnTo>
                  <a:lnTo>
                    <a:pt x="77" y="1041"/>
                  </a:lnTo>
                  <a:lnTo>
                    <a:pt x="74" y="1040"/>
                  </a:lnTo>
                  <a:lnTo>
                    <a:pt x="71" y="1040"/>
                  </a:lnTo>
                  <a:lnTo>
                    <a:pt x="69" y="1039"/>
                  </a:lnTo>
                  <a:lnTo>
                    <a:pt x="68" y="1041"/>
                  </a:lnTo>
                  <a:lnTo>
                    <a:pt x="70" y="1042"/>
                  </a:lnTo>
                  <a:lnTo>
                    <a:pt x="70" y="1045"/>
                  </a:lnTo>
                  <a:lnTo>
                    <a:pt x="73" y="1044"/>
                  </a:lnTo>
                  <a:lnTo>
                    <a:pt x="71" y="1046"/>
                  </a:lnTo>
                  <a:lnTo>
                    <a:pt x="73" y="1047"/>
                  </a:lnTo>
                  <a:lnTo>
                    <a:pt x="74" y="1046"/>
                  </a:lnTo>
                  <a:lnTo>
                    <a:pt x="75" y="1046"/>
                  </a:lnTo>
                  <a:lnTo>
                    <a:pt x="76" y="1045"/>
                  </a:lnTo>
                  <a:lnTo>
                    <a:pt x="77" y="1046"/>
                  </a:lnTo>
                  <a:lnTo>
                    <a:pt x="74" y="1048"/>
                  </a:lnTo>
                  <a:lnTo>
                    <a:pt x="74" y="1050"/>
                  </a:lnTo>
                  <a:lnTo>
                    <a:pt x="75" y="1051"/>
                  </a:lnTo>
                  <a:lnTo>
                    <a:pt x="76" y="1052"/>
                  </a:lnTo>
                  <a:lnTo>
                    <a:pt x="79" y="1051"/>
                  </a:lnTo>
                  <a:lnTo>
                    <a:pt x="80" y="1050"/>
                  </a:lnTo>
                  <a:lnTo>
                    <a:pt x="79" y="1052"/>
                  </a:lnTo>
                  <a:lnTo>
                    <a:pt x="79" y="1054"/>
                  </a:lnTo>
                  <a:lnTo>
                    <a:pt x="79" y="1056"/>
                  </a:lnTo>
                  <a:lnTo>
                    <a:pt x="80" y="1056"/>
                  </a:lnTo>
                  <a:lnTo>
                    <a:pt x="80" y="1057"/>
                  </a:lnTo>
                  <a:lnTo>
                    <a:pt x="80" y="1058"/>
                  </a:lnTo>
                  <a:lnTo>
                    <a:pt x="81" y="1060"/>
                  </a:lnTo>
                  <a:lnTo>
                    <a:pt x="82" y="1060"/>
                  </a:lnTo>
                  <a:lnTo>
                    <a:pt x="85" y="1060"/>
                  </a:lnTo>
                  <a:lnTo>
                    <a:pt x="85" y="1062"/>
                  </a:lnTo>
                  <a:lnTo>
                    <a:pt x="87" y="1064"/>
                  </a:lnTo>
                  <a:lnTo>
                    <a:pt x="85" y="1065"/>
                  </a:lnTo>
                  <a:lnTo>
                    <a:pt x="85" y="1066"/>
                  </a:lnTo>
                  <a:lnTo>
                    <a:pt x="86" y="1066"/>
                  </a:lnTo>
                  <a:lnTo>
                    <a:pt x="87" y="1069"/>
                  </a:lnTo>
                  <a:lnTo>
                    <a:pt x="88" y="1068"/>
                  </a:lnTo>
                  <a:lnTo>
                    <a:pt x="90" y="1066"/>
                  </a:lnTo>
                  <a:lnTo>
                    <a:pt x="91" y="1068"/>
                  </a:lnTo>
                  <a:lnTo>
                    <a:pt x="92" y="1066"/>
                  </a:lnTo>
                  <a:lnTo>
                    <a:pt x="93" y="1064"/>
                  </a:lnTo>
                  <a:lnTo>
                    <a:pt x="93" y="1062"/>
                  </a:lnTo>
                  <a:lnTo>
                    <a:pt x="94" y="1063"/>
                  </a:lnTo>
                  <a:lnTo>
                    <a:pt x="93" y="1066"/>
                  </a:lnTo>
                  <a:lnTo>
                    <a:pt x="92" y="1068"/>
                  </a:lnTo>
                  <a:lnTo>
                    <a:pt x="92" y="1070"/>
                  </a:lnTo>
                  <a:lnTo>
                    <a:pt x="93" y="1070"/>
                  </a:lnTo>
                  <a:lnTo>
                    <a:pt x="93" y="1071"/>
                  </a:lnTo>
                  <a:lnTo>
                    <a:pt x="93" y="1074"/>
                  </a:lnTo>
                  <a:lnTo>
                    <a:pt x="96" y="1074"/>
                  </a:lnTo>
                  <a:lnTo>
                    <a:pt x="98" y="1074"/>
                  </a:lnTo>
                  <a:lnTo>
                    <a:pt x="100" y="1074"/>
                  </a:lnTo>
                  <a:lnTo>
                    <a:pt x="102" y="1075"/>
                  </a:lnTo>
                  <a:lnTo>
                    <a:pt x="104" y="1074"/>
                  </a:lnTo>
                  <a:lnTo>
                    <a:pt x="105" y="1072"/>
                  </a:lnTo>
                  <a:lnTo>
                    <a:pt x="106" y="1075"/>
                  </a:lnTo>
                  <a:lnTo>
                    <a:pt x="108" y="1075"/>
                  </a:lnTo>
                  <a:lnTo>
                    <a:pt x="109" y="1074"/>
                  </a:lnTo>
                  <a:lnTo>
                    <a:pt x="110" y="1072"/>
                  </a:lnTo>
                  <a:lnTo>
                    <a:pt x="112" y="1072"/>
                  </a:lnTo>
                  <a:lnTo>
                    <a:pt x="114" y="1071"/>
                  </a:lnTo>
                  <a:lnTo>
                    <a:pt x="115" y="1071"/>
                  </a:lnTo>
                  <a:lnTo>
                    <a:pt x="116" y="1074"/>
                  </a:lnTo>
                  <a:lnTo>
                    <a:pt x="117" y="1074"/>
                  </a:lnTo>
                  <a:lnTo>
                    <a:pt x="120" y="1072"/>
                  </a:lnTo>
                  <a:lnTo>
                    <a:pt x="121" y="1072"/>
                  </a:lnTo>
                  <a:lnTo>
                    <a:pt x="122" y="1072"/>
                  </a:lnTo>
                  <a:lnTo>
                    <a:pt x="122" y="1074"/>
                  </a:lnTo>
                  <a:lnTo>
                    <a:pt x="124" y="1074"/>
                  </a:lnTo>
                  <a:lnTo>
                    <a:pt x="126" y="1074"/>
                  </a:lnTo>
                  <a:lnTo>
                    <a:pt x="128" y="1074"/>
                  </a:lnTo>
                  <a:lnTo>
                    <a:pt x="128" y="1075"/>
                  </a:lnTo>
                  <a:lnTo>
                    <a:pt x="129" y="1074"/>
                  </a:lnTo>
                  <a:lnTo>
                    <a:pt x="130" y="1072"/>
                  </a:lnTo>
                  <a:lnTo>
                    <a:pt x="132" y="1072"/>
                  </a:lnTo>
                  <a:lnTo>
                    <a:pt x="133" y="1075"/>
                  </a:lnTo>
                  <a:lnTo>
                    <a:pt x="134" y="1075"/>
                  </a:lnTo>
                  <a:lnTo>
                    <a:pt x="135" y="1075"/>
                  </a:lnTo>
                  <a:lnTo>
                    <a:pt x="136" y="1074"/>
                  </a:lnTo>
                  <a:lnTo>
                    <a:pt x="136" y="1075"/>
                  </a:lnTo>
                  <a:lnTo>
                    <a:pt x="138" y="1075"/>
                  </a:lnTo>
                  <a:lnTo>
                    <a:pt x="140" y="1076"/>
                  </a:lnTo>
                  <a:lnTo>
                    <a:pt x="141" y="1077"/>
                  </a:lnTo>
                  <a:lnTo>
                    <a:pt x="142" y="1080"/>
                  </a:lnTo>
                  <a:lnTo>
                    <a:pt x="142" y="1081"/>
                  </a:lnTo>
                  <a:lnTo>
                    <a:pt x="144" y="1082"/>
                  </a:lnTo>
                  <a:lnTo>
                    <a:pt x="146" y="1083"/>
                  </a:lnTo>
                  <a:lnTo>
                    <a:pt x="149" y="1083"/>
                  </a:lnTo>
                  <a:lnTo>
                    <a:pt x="150" y="1082"/>
                  </a:lnTo>
                  <a:lnTo>
                    <a:pt x="147" y="1084"/>
                  </a:lnTo>
                  <a:lnTo>
                    <a:pt x="146" y="1086"/>
                  </a:lnTo>
                  <a:lnTo>
                    <a:pt x="146" y="1087"/>
                  </a:lnTo>
                  <a:lnTo>
                    <a:pt x="147" y="1086"/>
                  </a:lnTo>
                  <a:lnTo>
                    <a:pt x="150" y="1086"/>
                  </a:lnTo>
                  <a:lnTo>
                    <a:pt x="151" y="1086"/>
                  </a:lnTo>
                  <a:lnTo>
                    <a:pt x="151" y="1087"/>
                  </a:lnTo>
                  <a:lnTo>
                    <a:pt x="149" y="1087"/>
                  </a:lnTo>
                  <a:lnTo>
                    <a:pt x="149" y="1089"/>
                  </a:lnTo>
                  <a:lnTo>
                    <a:pt x="150" y="1089"/>
                  </a:lnTo>
                  <a:lnTo>
                    <a:pt x="149" y="1092"/>
                  </a:lnTo>
                  <a:lnTo>
                    <a:pt x="150" y="1092"/>
                  </a:lnTo>
                  <a:lnTo>
                    <a:pt x="151" y="1090"/>
                  </a:lnTo>
                  <a:lnTo>
                    <a:pt x="152" y="1090"/>
                  </a:lnTo>
                  <a:lnTo>
                    <a:pt x="152" y="1092"/>
                  </a:lnTo>
                  <a:lnTo>
                    <a:pt x="152" y="1093"/>
                  </a:lnTo>
                  <a:lnTo>
                    <a:pt x="153" y="1094"/>
                  </a:lnTo>
                  <a:lnTo>
                    <a:pt x="153" y="1093"/>
                  </a:lnTo>
                  <a:lnTo>
                    <a:pt x="155" y="1093"/>
                  </a:lnTo>
                  <a:lnTo>
                    <a:pt x="155" y="1095"/>
                  </a:lnTo>
                  <a:lnTo>
                    <a:pt x="156" y="1096"/>
                  </a:lnTo>
                  <a:lnTo>
                    <a:pt x="157" y="1094"/>
                  </a:lnTo>
                  <a:lnTo>
                    <a:pt x="158" y="1094"/>
                  </a:lnTo>
                  <a:lnTo>
                    <a:pt x="157" y="1096"/>
                  </a:lnTo>
                  <a:lnTo>
                    <a:pt x="156" y="1098"/>
                  </a:lnTo>
                  <a:lnTo>
                    <a:pt x="155" y="1100"/>
                  </a:lnTo>
                  <a:lnTo>
                    <a:pt x="156" y="1101"/>
                  </a:lnTo>
                  <a:lnTo>
                    <a:pt x="157" y="1100"/>
                  </a:lnTo>
                  <a:lnTo>
                    <a:pt x="158" y="1098"/>
                  </a:lnTo>
                  <a:lnTo>
                    <a:pt x="159" y="1095"/>
                  </a:lnTo>
                  <a:lnTo>
                    <a:pt x="159" y="1096"/>
                  </a:lnTo>
                  <a:lnTo>
                    <a:pt x="159" y="1100"/>
                  </a:lnTo>
                  <a:lnTo>
                    <a:pt x="159" y="1101"/>
                  </a:lnTo>
                  <a:lnTo>
                    <a:pt x="159" y="1102"/>
                  </a:lnTo>
                  <a:lnTo>
                    <a:pt x="158" y="1105"/>
                  </a:lnTo>
                  <a:lnTo>
                    <a:pt x="158" y="1108"/>
                  </a:lnTo>
                  <a:lnTo>
                    <a:pt x="157" y="1110"/>
                  </a:lnTo>
                  <a:lnTo>
                    <a:pt x="156" y="1112"/>
                  </a:lnTo>
                  <a:lnTo>
                    <a:pt x="155" y="1114"/>
                  </a:lnTo>
                  <a:lnTo>
                    <a:pt x="153" y="1118"/>
                  </a:lnTo>
                  <a:lnTo>
                    <a:pt x="151" y="1122"/>
                  </a:lnTo>
                  <a:lnTo>
                    <a:pt x="149" y="1124"/>
                  </a:lnTo>
                  <a:lnTo>
                    <a:pt x="147" y="1125"/>
                  </a:lnTo>
                  <a:lnTo>
                    <a:pt x="149" y="1128"/>
                  </a:lnTo>
                  <a:lnTo>
                    <a:pt x="150" y="1129"/>
                  </a:lnTo>
                  <a:lnTo>
                    <a:pt x="150" y="1130"/>
                  </a:lnTo>
                  <a:lnTo>
                    <a:pt x="150" y="1133"/>
                  </a:lnTo>
                  <a:lnTo>
                    <a:pt x="151" y="1134"/>
                  </a:lnTo>
                  <a:lnTo>
                    <a:pt x="152" y="1133"/>
                  </a:lnTo>
                  <a:lnTo>
                    <a:pt x="153" y="1134"/>
                  </a:lnTo>
                  <a:lnTo>
                    <a:pt x="153" y="1135"/>
                  </a:lnTo>
                  <a:lnTo>
                    <a:pt x="156" y="1135"/>
                  </a:lnTo>
                  <a:lnTo>
                    <a:pt x="153" y="1137"/>
                  </a:lnTo>
                  <a:lnTo>
                    <a:pt x="152" y="1140"/>
                  </a:lnTo>
                  <a:lnTo>
                    <a:pt x="153" y="1139"/>
                  </a:lnTo>
                  <a:lnTo>
                    <a:pt x="155" y="1137"/>
                  </a:lnTo>
                  <a:lnTo>
                    <a:pt x="156" y="1135"/>
                  </a:lnTo>
                  <a:lnTo>
                    <a:pt x="158" y="1133"/>
                  </a:lnTo>
                  <a:lnTo>
                    <a:pt x="159" y="1131"/>
                  </a:lnTo>
                  <a:lnTo>
                    <a:pt x="161" y="1130"/>
                  </a:lnTo>
                  <a:lnTo>
                    <a:pt x="163" y="1128"/>
                  </a:lnTo>
                  <a:lnTo>
                    <a:pt x="163" y="1129"/>
                  </a:lnTo>
                  <a:lnTo>
                    <a:pt x="164" y="1130"/>
                  </a:lnTo>
                  <a:lnTo>
                    <a:pt x="165" y="1131"/>
                  </a:lnTo>
                  <a:lnTo>
                    <a:pt x="168" y="1133"/>
                  </a:lnTo>
                  <a:lnTo>
                    <a:pt x="170" y="1133"/>
                  </a:lnTo>
                  <a:lnTo>
                    <a:pt x="170" y="1135"/>
                  </a:lnTo>
                  <a:lnTo>
                    <a:pt x="171" y="1136"/>
                  </a:lnTo>
                  <a:lnTo>
                    <a:pt x="171" y="1137"/>
                  </a:lnTo>
                  <a:lnTo>
                    <a:pt x="173" y="1136"/>
                  </a:lnTo>
                  <a:lnTo>
                    <a:pt x="174" y="1136"/>
                  </a:lnTo>
                  <a:lnTo>
                    <a:pt x="175" y="1139"/>
                  </a:lnTo>
                  <a:lnTo>
                    <a:pt x="174" y="1140"/>
                  </a:lnTo>
                  <a:lnTo>
                    <a:pt x="175" y="1141"/>
                  </a:lnTo>
                  <a:lnTo>
                    <a:pt x="176" y="1141"/>
                  </a:lnTo>
                  <a:lnTo>
                    <a:pt x="177" y="1141"/>
                  </a:lnTo>
                  <a:lnTo>
                    <a:pt x="177" y="1142"/>
                  </a:lnTo>
                  <a:lnTo>
                    <a:pt x="177" y="1145"/>
                  </a:lnTo>
                  <a:lnTo>
                    <a:pt x="179" y="1143"/>
                  </a:lnTo>
                  <a:lnTo>
                    <a:pt x="180" y="1143"/>
                  </a:lnTo>
                  <a:lnTo>
                    <a:pt x="181" y="1145"/>
                  </a:lnTo>
                  <a:lnTo>
                    <a:pt x="182" y="1145"/>
                  </a:lnTo>
                  <a:lnTo>
                    <a:pt x="183" y="1145"/>
                  </a:lnTo>
                  <a:lnTo>
                    <a:pt x="186" y="1145"/>
                  </a:lnTo>
                  <a:lnTo>
                    <a:pt x="186" y="1143"/>
                  </a:lnTo>
                  <a:lnTo>
                    <a:pt x="186" y="1140"/>
                  </a:lnTo>
                  <a:lnTo>
                    <a:pt x="187" y="1137"/>
                  </a:lnTo>
                  <a:lnTo>
                    <a:pt x="187" y="1135"/>
                  </a:lnTo>
                  <a:lnTo>
                    <a:pt x="187" y="1134"/>
                  </a:lnTo>
                  <a:lnTo>
                    <a:pt x="187" y="1131"/>
                  </a:lnTo>
                  <a:lnTo>
                    <a:pt x="187" y="1129"/>
                  </a:lnTo>
                  <a:lnTo>
                    <a:pt x="186" y="1126"/>
                  </a:lnTo>
                  <a:lnTo>
                    <a:pt x="185" y="1125"/>
                  </a:lnTo>
                  <a:lnTo>
                    <a:pt x="183" y="1125"/>
                  </a:lnTo>
                  <a:lnTo>
                    <a:pt x="182" y="1124"/>
                  </a:lnTo>
                  <a:lnTo>
                    <a:pt x="183" y="1122"/>
                  </a:lnTo>
                  <a:lnTo>
                    <a:pt x="186" y="1118"/>
                  </a:lnTo>
                  <a:lnTo>
                    <a:pt x="187" y="1117"/>
                  </a:lnTo>
                  <a:lnTo>
                    <a:pt x="191" y="1117"/>
                  </a:lnTo>
                  <a:lnTo>
                    <a:pt x="192" y="1116"/>
                  </a:lnTo>
                  <a:lnTo>
                    <a:pt x="193" y="1113"/>
                  </a:lnTo>
                  <a:lnTo>
                    <a:pt x="194" y="1114"/>
                  </a:lnTo>
                  <a:lnTo>
                    <a:pt x="197" y="1114"/>
                  </a:lnTo>
                  <a:lnTo>
                    <a:pt x="199" y="1114"/>
                  </a:lnTo>
                  <a:lnTo>
                    <a:pt x="200" y="1114"/>
                  </a:lnTo>
                  <a:lnTo>
                    <a:pt x="201" y="1116"/>
                  </a:lnTo>
                  <a:lnTo>
                    <a:pt x="203" y="1116"/>
                  </a:lnTo>
                  <a:lnTo>
                    <a:pt x="205" y="1117"/>
                  </a:lnTo>
                  <a:lnTo>
                    <a:pt x="206" y="1116"/>
                  </a:lnTo>
                  <a:lnTo>
                    <a:pt x="207" y="1114"/>
                  </a:lnTo>
                  <a:lnTo>
                    <a:pt x="207" y="1116"/>
                  </a:lnTo>
                  <a:lnTo>
                    <a:pt x="209" y="1114"/>
                  </a:lnTo>
                  <a:lnTo>
                    <a:pt x="209" y="1113"/>
                  </a:lnTo>
                  <a:lnTo>
                    <a:pt x="210" y="1112"/>
                  </a:lnTo>
                  <a:lnTo>
                    <a:pt x="211" y="1112"/>
                  </a:lnTo>
                  <a:lnTo>
                    <a:pt x="214" y="1111"/>
                  </a:lnTo>
                  <a:lnTo>
                    <a:pt x="214" y="1110"/>
                  </a:lnTo>
                  <a:lnTo>
                    <a:pt x="215" y="1107"/>
                  </a:lnTo>
                  <a:lnTo>
                    <a:pt x="218" y="1107"/>
                  </a:lnTo>
                  <a:lnTo>
                    <a:pt x="220" y="1106"/>
                  </a:lnTo>
                  <a:lnTo>
                    <a:pt x="220" y="1108"/>
                  </a:lnTo>
                  <a:lnTo>
                    <a:pt x="221" y="1111"/>
                  </a:lnTo>
                  <a:lnTo>
                    <a:pt x="223" y="1110"/>
                  </a:lnTo>
                  <a:lnTo>
                    <a:pt x="223" y="1108"/>
                  </a:lnTo>
                  <a:lnTo>
                    <a:pt x="223" y="1107"/>
                  </a:lnTo>
                  <a:lnTo>
                    <a:pt x="223" y="1105"/>
                  </a:lnTo>
                  <a:lnTo>
                    <a:pt x="223" y="1102"/>
                  </a:lnTo>
                  <a:lnTo>
                    <a:pt x="224" y="1105"/>
                  </a:lnTo>
                  <a:lnTo>
                    <a:pt x="224" y="1107"/>
                  </a:lnTo>
                  <a:lnTo>
                    <a:pt x="224" y="1108"/>
                  </a:lnTo>
                  <a:lnTo>
                    <a:pt x="226" y="1108"/>
                  </a:lnTo>
                  <a:lnTo>
                    <a:pt x="226" y="1111"/>
                  </a:lnTo>
                  <a:lnTo>
                    <a:pt x="224" y="1112"/>
                  </a:lnTo>
                  <a:lnTo>
                    <a:pt x="226" y="1113"/>
                  </a:lnTo>
                  <a:lnTo>
                    <a:pt x="227" y="1112"/>
                  </a:lnTo>
                  <a:lnTo>
                    <a:pt x="228" y="1112"/>
                  </a:lnTo>
                  <a:lnTo>
                    <a:pt x="229" y="1112"/>
                  </a:lnTo>
                  <a:lnTo>
                    <a:pt x="229" y="1113"/>
                  </a:lnTo>
                  <a:lnTo>
                    <a:pt x="230" y="1113"/>
                  </a:lnTo>
                  <a:lnTo>
                    <a:pt x="230" y="1112"/>
                  </a:lnTo>
                  <a:lnTo>
                    <a:pt x="230" y="1110"/>
                  </a:lnTo>
                  <a:lnTo>
                    <a:pt x="232" y="1110"/>
                  </a:lnTo>
                  <a:lnTo>
                    <a:pt x="233" y="1112"/>
                  </a:lnTo>
                  <a:lnTo>
                    <a:pt x="233" y="1114"/>
                  </a:lnTo>
                  <a:lnTo>
                    <a:pt x="233" y="1116"/>
                  </a:lnTo>
                  <a:lnTo>
                    <a:pt x="234" y="1116"/>
                  </a:lnTo>
                  <a:lnTo>
                    <a:pt x="235" y="1117"/>
                  </a:lnTo>
                  <a:lnTo>
                    <a:pt x="239" y="1114"/>
                  </a:lnTo>
                  <a:lnTo>
                    <a:pt x="239" y="1119"/>
                  </a:lnTo>
                  <a:lnTo>
                    <a:pt x="240" y="1116"/>
                  </a:lnTo>
                  <a:lnTo>
                    <a:pt x="239" y="1113"/>
                  </a:lnTo>
                  <a:lnTo>
                    <a:pt x="242" y="1116"/>
                  </a:lnTo>
                  <a:lnTo>
                    <a:pt x="242" y="1117"/>
                  </a:lnTo>
                  <a:lnTo>
                    <a:pt x="242" y="1118"/>
                  </a:lnTo>
                  <a:lnTo>
                    <a:pt x="242" y="1119"/>
                  </a:lnTo>
                  <a:lnTo>
                    <a:pt x="242" y="1122"/>
                  </a:lnTo>
                  <a:lnTo>
                    <a:pt x="244" y="1120"/>
                  </a:lnTo>
                  <a:lnTo>
                    <a:pt x="245" y="1119"/>
                  </a:lnTo>
                  <a:lnTo>
                    <a:pt x="247" y="1118"/>
                  </a:lnTo>
                  <a:lnTo>
                    <a:pt x="248" y="1117"/>
                  </a:lnTo>
                  <a:lnTo>
                    <a:pt x="248" y="1119"/>
                  </a:lnTo>
                  <a:lnTo>
                    <a:pt x="250" y="1120"/>
                  </a:lnTo>
                  <a:lnTo>
                    <a:pt x="251" y="1122"/>
                  </a:lnTo>
                  <a:lnTo>
                    <a:pt x="252" y="1122"/>
                  </a:lnTo>
                  <a:lnTo>
                    <a:pt x="253" y="1120"/>
                  </a:lnTo>
                  <a:lnTo>
                    <a:pt x="256" y="1119"/>
                  </a:lnTo>
                  <a:lnTo>
                    <a:pt x="257" y="1118"/>
                  </a:lnTo>
                  <a:lnTo>
                    <a:pt x="259" y="1117"/>
                  </a:lnTo>
                  <a:lnTo>
                    <a:pt x="260" y="1116"/>
                  </a:lnTo>
                  <a:lnTo>
                    <a:pt x="260" y="1114"/>
                  </a:lnTo>
                  <a:lnTo>
                    <a:pt x="262" y="1113"/>
                  </a:lnTo>
                  <a:lnTo>
                    <a:pt x="262" y="1116"/>
                  </a:lnTo>
                  <a:lnTo>
                    <a:pt x="262" y="1118"/>
                  </a:lnTo>
                  <a:lnTo>
                    <a:pt x="263" y="1118"/>
                  </a:lnTo>
                  <a:lnTo>
                    <a:pt x="264" y="1119"/>
                  </a:lnTo>
                  <a:lnTo>
                    <a:pt x="266" y="1120"/>
                  </a:lnTo>
                  <a:lnTo>
                    <a:pt x="268" y="1122"/>
                  </a:lnTo>
                  <a:lnTo>
                    <a:pt x="269" y="1123"/>
                  </a:lnTo>
                  <a:lnTo>
                    <a:pt x="269" y="1124"/>
                  </a:lnTo>
                  <a:lnTo>
                    <a:pt x="270" y="1125"/>
                  </a:lnTo>
                  <a:lnTo>
                    <a:pt x="273" y="1125"/>
                  </a:lnTo>
                  <a:lnTo>
                    <a:pt x="271" y="1128"/>
                  </a:lnTo>
                  <a:lnTo>
                    <a:pt x="271" y="1129"/>
                  </a:lnTo>
                  <a:lnTo>
                    <a:pt x="273" y="1128"/>
                  </a:lnTo>
                  <a:lnTo>
                    <a:pt x="274" y="1128"/>
                  </a:lnTo>
                  <a:lnTo>
                    <a:pt x="274" y="1130"/>
                  </a:lnTo>
                  <a:lnTo>
                    <a:pt x="274" y="1133"/>
                  </a:lnTo>
                  <a:lnTo>
                    <a:pt x="275" y="1133"/>
                  </a:lnTo>
                  <a:lnTo>
                    <a:pt x="276" y="1133"/>
                  </a:lnTo>
                  <a:lnTo>
                    <a:pt x="279" y="1131"/>
                  </a:lnTo>
                  <a:lnTo>
                    <a:pt x="279" y="1133"/>
                  </a:lnTo>
                  <a:lnTo>
                    <a:pt x="276" y="1134"/>
                  </a:lnTo>
                  <a:lnTo>
                    <a:pt x="275" y="1136"/>
                  </a:lnTo>
                  <a:lnTo>
                    <a:pt x="276" y="1136"/>
                  </a:lnTo>
                  <a:lnTo>
                    <a:pt x="277" y="1136"/>
                  </a:lnTo>
                  <a:lnTo>
                    <a:pt x="280" y="1135"/>
                  </a:lnTo>
                  <a:lnTo>
                    <a:pt x="282" y="1133"/>
                  </a:lnTo>
                  <a:lnTo>
                    <a:pt x="285" y="1131"/>
                  </a:lnTo>
                  <a:lnTo>
                    <a:pt x="286" y="1131"/>
                  </a:lnTo>
                  <a:lnTo>
                    <a:pt x="287" y="1130"/>
                  </a:lnTo>
                  <a:lnTo>
                    <a:pt x="289" y="1130"/>
                  </a:lnTo>
                  <a:lnTo>
                    <a:pt x="291" y="1130"/>
                  </a:lnTo>
                  <a:lnTo>
                    <a:pt x="292" y="1129"/>
                  </a:lnTo>
                  <a:lnTo>
                    <a:pt x="293" y="1128"/>
                  </a:lnTo>
                  <a:lnTo>
                    <a:pt x="294" y="1129"/>
                  </a:lnTo>
                  <a:lnTo>
                    <a:pt x="295" y="1129"/>
                  </a:lnTo>
                  <a:lnTo>
                    <a:pt x="297" y="1128"/>
                  </a:lnTo>
                  <a:lnTo>
                    <a:pt x="298" y="1128"/>
                  </a:lnTo>
                  <a:lnTo>
                    <a:pt x="300" y="1128"/>
                  </a:lnTo>
                  <a:lnTo>
                    <a:pt x="301" y="1128"/>
                  </a:lnTo>
                  <a:lnTo>
                    <a:pt x="303" y="1129"/>
                  </a:lnTo>
                  <a:lnTo>
                    <a:pt x="303" y="1130"/>
                  </a:lnTo>
                  <a:lnTo>
                    <a:pt x="304" y="1130"/>
                  </a:lnTo>
                  <a:lnTo>
                    <a:pt x="305" y="1130"/>
                  </a:lnTo>
                  <a:lnTo>
                    <a:pt x="305" y="1129"/>
                  </a:lnTo>
                  <a:lnTo>
                    <a:pt x="306" y="1129"/>
                  </a:lnTo>
                  <a:lnTo>
                    <a:pt x="307" y="1126"/>
                  </a:lnTo>
                  <a:lnTo>
                    <a:pt x="307" y="1124"/>
                  </a:lnTo>
                  <a:lnTo>
                    <a:pt x="307" y="1122"/>
                  </a:lnTo>
                  <a:lnTo>
                    <a:pt x="309" y="1123"/>
                  </a:lnTo>
                  <a:lnTo>
                    <a:pt x="309" y="1125"/>
                  </a:lnTo>
                  <a:lnTo>
                    <a:pt x="309" y="1126"/>
                  </a:lnTo>
                  <a:lnTo>
                    <a:pt x="309" y="1130"/>
                  </a:lnTo>
                  <a:lnTo>
                    <a:pt x="310" y="1130"/>
                  </a:lnTo>
                  <a:lnTo>
                    <a:pt x="310" y="1131"/>
                  </a:lnTo>
                  <a:lnTo>
                    <a:pt x="310" y="1133"/>
                  </a:lnTo>
                  <a:lnTo>
                    <a:pt x="311" y="1135"/>
                  </a:lnTo>
                  <a:lnTo>
                    <a:pt x="311" y="1136"/>
                  </a:lnTo>
                  <a:lnTo>
                    <a:pt x="311" y="1139"/>
                  </a:lnTo>
                  <a:lnTo>
                    <a:pt x="312" y="1140"/>
                  </a:lnTo>
                  <a:lnTo>
                    <a:pt x="313" y="1141"/>
                  </a:lnTo>
                  <a:lnTo>
                    <a:pt x="312" y="1145"/>
                  </a:lnTo>
                  <a:lnTo>
                    <a:pt x="313" y="1146"/>
                  </a:lnTo>
                  <a:lnTo>
                    <a:pt x="313" y="1147"/>
                  </a:lnTo>
                  <a:lnTo>
                    <a:pt x="313" y="1149"/>
                  </a:lnTo>
                  <a:lnTo>
                    <a:pt x="315" y="1151"/>
                  </a:lnTo>
                  <a:lnTo>
                    <a:pt x="316" y="1152"/>
                  </a:lnTo>
                  <a:lnTo>
                    <a:pt x="317" y="1155"/>
                  </a:lnTo>
                  <a:lnTo>
                    <a:pt x="317" y="1157"/>
                  </a:lnTo>
                  <a:lnTo>
                    <a:pt x="318" y="1159"/>
                  </a:lnTo>
                  <a:lnTo>
                    <a:pt x="319" y="1161"/>
                  </a:lnTo>
                  <a:lnTo>
                    <a:pt x="322" y="1163"/>
                  </a:lnTo>
                  <a:lnTo>
                    <a:pt x="325" y="1164"/>
                  </a:lnTo>
                  <a:lnTo>
                    <a:pt x="327" y="1163"/>
                  </a:lnTo>
                  <a:lnTo>
                    <a:pt x="328" y="1163"/>
                  </a:lnTo>
                  <a:lnTo>
                    <a:pt x="329" y="1163"/>
                  </a:lnTo>
                  <a:lnTo>
                    <a:pt x="330" y="1161"/>
                  </a:lnTo>
                  <a:lnTo>
                    <a:pt x="333" y="1161"/>
                  </a:lnTo>
                  <a:lnTo>
                    <a:pt x="333" y="1159"/>
                  </a:lnTo>
                  <a:lnTo>
                    <a:pt x="334" y="1159"/>
                  </a:lnTo>
                  <a:lnTo>
                    <a:pt x="336" y="1159"/>
                  </a:lnTo>
                  <a:lnTo>
                    <a:pt x="338" y="1158"/>
                  </a:lnTo>
                  <a:lnTo>
                    <a:pt x="338" y="1157"/>
                  </a:lnTo>
                  <a:lnTo>
                    <a:pt x="339" y="1157"/>
                  </a:lnTo>
                  <a:lnTo>
                    <a:pt x="340" y="1157"/>
                  </a:lnTo>
                  <a:lnTo>
                    <a:pt x="341" y="1157"/>
                  </a:lnTo>
                  <a:lnTo>
                    <a:pt x="342" y="1158"/>
                  </a:lnTo>
                  <a:lnTo>
                    <a:pt x="342" y="1160"/>
                  </a:lnTo>
                  <a:lnTo>
                    <a:pt x="342" y="1161"/>
                  </a:lnTo>
                  <a:lnTo>
                    <a:pt x="344" y="1160"/>
                  </a:lnTo>
                  <a:lnTo>
                    <a:pt x="344" y="1161"/>
                  </a:lnTo>
                  <a:lnTo>
                    <a:pt x="344" y="1163"/>
                  </a:lnTo>
                  <a:lnTo>
                    <a:pt x="345" y="1164"/>
                  </a:lnTo>
                  <a:lnTo>
                    <a:pt x="345" y="1163"/>
                  </a:lnTo>
                  <a:lnTo>
                    <a:pt x="346" y="1163"/>
                  </a:lnTo>
                  <a:lnTo>
                    <a:pt x="346" y="1164"/>
                  </a:lnTo>
                  <a:lnTo>
                    <a:pt x="346" y="1166"/>
                  </a:lnTo>
                  <a:lnTo>
                    <a:pt x="347" y="1165"/>
                  </a:lnTo>
                  <a:lnTo>
                    <a:pt x="347" y="1166"/>
                  </a:lnTo>
                  <a:lnTo>
                    <a:pt x="347" y="1169"/>
                  </a:lnTo>
                  <a:lnTo>
                    <a:pt x="347" y="1170"/>
                  </a:lnTo>
                  <a:lnTo>
                    <a:pt x="347" y="1171"/>
                  </a:lnTo>
                  <a:lnTo>
                    <a:pt x="348" y="1172"/>
                  </a:lnTo>
                  <a:lnTo>
                    <a:pt x="350" y="1172"/>
                  </a:lnTo>
                  <a:lnTo>
                    <a:pt x="348" y="1173"/>
                  </a:lnTo>
                  <a:lnTo>
                    <a:pt x="350" y="1176"/>
                  </a:lnTo>
                  <a:lnTo>
                    <a:pt x="350" y="1177"/>
                  </a:lnTo>
                  <a:lnTo>
                    <a:pt x="350" y="1179"/>
                  </a:lnTo>
                  <a:lnTo>
                    <a:pt x="350" y="1181"/>
                  </a:lnTo>
                  <a:lnTo>
                    <a:pt x="351" y="1182"/>
                  </a:lnTo>
                  <a:lnTo>
                    <a:pt x="351" y="1194"/>
                  </a:lnTo>
                  <a:lnTo>
                    <a:pt x="351" y="1207"/>
                  </a:lnTo>
                  <a:lnTo>
                    <a:pt x="351" y="1220"/>
                  </a:lnTo>
                  <a:lnTo>
                    <a:pt x="351" y="1237"/>
                  </a:lnTo>
                  <a:lnTo>
                    <a:pt x="351" y="1241"/>
                  </a:lnTo>
                  <a:lnTo>
                    <a:pt x="351" y="1244"/>
                  </a:lnTo>
                  <a:lnTo>
                    <a:pt x="353" y="1247"/>
                  </a:lnTo>
                  <a:lnTo>
                    <a:pt x="357" y="1247"/>
                  </a:lnTo>
                  <a:lnTo>
                    <a:pt x="386" y="1247"/>
                  </a:lnTo>
                  <a:lnTo>
                    <a:pt x="387" y="1221"/>
                  </a:lnTo>
                  <a:lnTo>
                    <a:pt x="387" y="1199"/>
                  </a:lnTo>
                  <a:lnTo>
                    <a:pt x="388" y="1175"/>
                  </a:lnTo>
                  <a:lnTo>
                    <a:pt x="388" y="1169"/>
                  </a:lnTo>
                  <a:lnTo>
                    <a:pt x="391" y="1167"/>
                  </a:lnTo>
                  <a:lnTo>
                    <a:pt x="392" y="1166"/>
                  </a:lnTo>
                  <a:lnTo>
                    <a:pt x="394" y="1166"/>
                  </a:lnTo>
                  <a:lnTo>
                    <a:pt x="395" y="1165"/>
                  </a:lnTo>
                  <a:lnTo>
                    <a:pt x="397" y="1164"/>
                  </a:lnTo>
                  <a:lnTo>
                    <a:pt x="398" y="1163"/>
                  </a:lnTo>
                  <a:lnTo>
                    <a:pt x="399" y="1161"/>
                  </a:lnTo>
                  <a:lnTo>
                    <a:pt x="400" y="1160"/>
                  </a:lnTo>
                  <a:lnTo>
                    <a:pt x="401" y="1159"/>
                  </a:lnTo>
                  <a:lnTo>
                    <a:pt x="403" y="1158"/>
                  </a:lnTo>
                  <a:lnTo>
                    <a:pt x="401" y="1158"/>
                  </a:lnTo>
                  <a:lnTo>
                    <a:pt x="401" y="1157"/>
                  </a:lnTo>
                  <a:lnTo>
                    <a:pt x="400" y="1154"/>
                  </a:lnTo>
                  <a:lnTo>
                    <a:pt x="400" y="1153"/>
                  </a:lnTo>
                  <a:lnTo>
                    <a:pt x="400" y="1152"/>
                  </a:lnTo>
                  <a:lnTo>
                    <a:pt x="400" y="1151"/>
                  </a:lnTo>
                  <a:lnTo>
                    <a:pt x="399" y="1148"/>
                  </a:lnTo>
                  <a:lnTo>
                    <a:pt x="398" y="1149"/>
                  </a:lnTo>
                  <a:lnTo>
                    <a:pt x="398" y="1148"/>
                  </a:lnTo>
                  <a:lnTo>
                    <a:pt x="397" y="1147"/>
                  </a:lnTo>
                  <a:lnTo>
                    <a:pt x="398" y="1146"/>
                  </a:lnTo>
                  <a:lnTo>
                    <a:pt x="398" y="1145"/>
                  </a:lnTo>
                  <a:lnTo>
                    <a:pt x="398" y="1142"/>
                  </a:lnTo>
                  <a:lnTo>
                    <a:pt x="399" y="1141"/>
                  </a:lnTo>
                  <a:lnTo>
                    <a:pt x="400" y="1139"/>
                  </a:lnTo>
                  <a:lnTo>
                    <a:pt x="401" y="1137"/>
                  </a:lnTo>
                  <a:lnTo>
                    <a:pt x="404" y="1137"/>
                  </a:lnTo>
                  <a:lnTo>
                    <a:pt x="405" y="1137"/>
                  </a:lnTo>
                  <a:lnTo>
                    <a:pt x="406" y="1137"/>
                  </a:lnTo>
                  <a:lnTo>
                    <a:pt x="410" y="1140"/>
                  </a:lnTo>
                  <a:lnTo>
                    <a:pt x="412" y="1140"/>
                  </a:lnTo>
                  <a:lnTo>
                    <a:pt x="415" y="1141"/>
                  </a:lnTo>
                  <a:lnTo>
                    <a:pt x="417" y="1141"/>
                  </a:lnTo>
                  <a:lnTo>
                    <a:pt x="417" y="1140"/>
                  </a:lnTo>
                  <a:lnTo>
                    <a:pt x="418" y="1140"/>
                  </a:lnTo>
                  <a:lnTo>
                    <a:pt x="418" y="1141"/>
                  </a:lnTo>
                  <a:lnTo>
                    <a:pt x="419" y="1142"/>
                  </a:lnTo>
                  <a:lnTo>
                    <a:pt x="421" y="1141"/>
                  </a:lnTo>
                  <a:lnTo>
                    <a:pt x="422" y="1142"/>
                  </a:lnTo>
                  <a:lnTo>
                    <a:pt x="423" y="1145"/>
                  </a:lnTo>
                  <a:lnTo>
                    <a:pt x="425" y="1146"/>
                  </a:lnTo>
                  <a:lnTo>
                    <a:pt x="427" y="1148"/>
                  </a:lnTo>
                  <a:lnTo>
                    <a:pt x="429" y="1149"/>
                  </a:lnTo>
                  <a:lnTo>
                    <a:pt x="430" y="1149"/>
                  </a:lnTo>
                  <a:lnTo>
                    <a:pt x="430" y="1152"/>
                  </a:lnTo>
                  <a:lnTo>
                    <a:pt x="430" y="1153"/>
                  </a:lnTo>
                  <a:lnTo>
                    <a:pt x="430" y="1154"/>
                  </a:lnTo>
                  <a:lnTo>
                    <a:pt x="431" y="1153"/>
                  </a:lnTo>
                  <a:lnTo>
                    <a:pt x="433" y="1154"/>
                  </a:lnTo>
                  <a:lnTo>
                    <a:pt x="434" y="1154"/>
                  </a:lnTo>
                  <a:lnTo>
                    <a:pt x="434" y="1155"/>
                  </a:lnTo>
                  <a:lnTo>
                    <a:pt x="435" y="1158"/>
                  </a:lnTo>
                  <a:lnTo>
                    <a:pt x="436" y="1155"/>
                  </a:lnTo>
                  <a:lnTo>
                    <a:pt x="436" y="1158"/>
                  </a:lnTo>
                  <a:lnTo>
                    <a:pt x="436" y="1159"/>
                  </a:lnTo>
                  <a:lnTo>
                    <a:pt x="436" y="1160"/>
                  </a:lnTo>
                  <a:lnTo>
                    <a:pt x="439" y="1160"/>
                  </a:lnTo>
                  <a:lnTo>
                    <a:pt x="439" y="1159"/>
                  </a:lnTo>
                  <a:lnTo>
                    <a:pt x="440" y="1159"/>
                  </a:lnTo>
                  <a:lnTo>
                    <a:pt x="441" y="1160"/>
                  </a:lnTo>
                  <a:lnTo>
                    <a:pt x="442" y="1160"/>
                  </a:lnTo>
                  <a:lnTo>
                    <a:pt x="442" y="1159"/>
                  </a:lnTo>
                  <a:lnTo>
                    <a:pt x="443" y="1159"/>
                  </a:lnTo>
                  <a:lnTo>
                    <a:pt x="443" y="1160"/>
                  </a:lnTo>
                  <a:lnTo>
                    <a:pt x="446" y="1160"/>
                  </a:lnTo>
                  <a:lnTo>
                    <a:pt x="450" y="1159"/>
                  </a:lnTo>
                  <a:lnTo>
                    <a:pt x="452" y="1157"/>
                  </a:lnTo>
                  <a:lnTo>
                    <a:pt x="454" y="1155"/>
                  </a:lnTo>
                  <a:lnTo>
                    <a:pt x="456" y="1152"/>
                  </a:lnTo>
                  <a:lnTo>
                    <a:pt x="457" y="1153"/>
                  </a:lnTo>
                  <a:lnTo>
                    <a:pt x="457" y="1155"/>
                  </a:lnTo>
                  <a:lnTo>
                    <a:pt x="457" y="1157"/>
                  </a:lnTo>
                  <a:lnTo>
                    <a:pt x="459" y="1155"/>
                  </a:lnTo>
                  <a:lnTo>
                    <a:pt x="459" y="1154"/>
                  </a:lnTo>
                  <a:lnTo>
                    <a:pt x="460" y="1155"/>
                  </a:lnTo>
                  <a:lnTo>
                    <a:pt x="462" y="1157"/>
                  </a:lnTo>
                  <a:lnTo>
                    <a:pt x="463" y="1157"/>
                  </a:lnTo>
                  <a:lnTo>
                    <a:pt x="463" y="1154"/>
                  </a:lnTo>
                  <a:lnTo>
                    <a:pt x="464" y="1154"/>
                  </a:lnTo>
                  <a:lnTo>
                    <a:pt x="465" y="1155"/>
                  </a:lnTo>
                  <a:lnTo>
                    <a:pt x="466" y="1155"/>
                  </a:lnTo>
                  <a:lnTo>
                    <a:pt x="466" y="1154"/>
                  </a:lnTo>
                  <a:lnTo>
                    <a:pt x="468" y="1153"/>
                  </a:lnTo>
                  <a:lnTo>
                    <a:pt x="469" y="1153"/>
                  </a:lnTo>
                  <a:lnTo>
                    <a:pt x="470" y="1151"/>
                  </a:lnTo>
                  <a:lnTo>
                    <a:pt x="471" y="1149"/>
                  </a:lnTo>
                  <a:lnTo>
                    <a:pt x="472" y="1148"/>
                  </a:lnTo>
                  <a:lnTo>
                    <a:pt x="472" y="1146"/>
                  </a:lnTo>
                  <a:lnTo>
                    <a:pt x="474" y="1145"/>
                  </a:lnTo>
                  <a:lnTo>
                    <a:pt x="474" y="1143"/>
                  </a:lnTo>
                  <a:lnTo>
                    <a:pt x="475" y="1141"/>
                  </a:lnTo>
                  <a:lnTo>
                    <a:pt x="477" y="1141"/>
                  </a:lnTo>
                  <a:lnTo>
                    <a:pt x="480" y="1140"/>
                  </a:lnTo>
                  <a:lnTo>
                    <a:pt x="481" y="1139"/>
                  </a:lnTo>
                  <a:lnTo>
                    <a:pt x="481" y="1136"/>
                  </a:lnTo>
                  <a:lnTo>
                    <a:pt x="482" y="1135"/>
                  </a:lnTo>
                  <a:lnTo>
                    <a:pt x="482" y="1137"/>
                  </a:lnTo>
                  <a:lnTo>
                    <a:pt x="483" y="1139"/>
                  </a:lnTo>
                  <a:lnTo>
                    <a:pt x="484" y="1137"/>
                  </a:lnTo>
                  <a:lnTo>
                    <a:pt x="486" y="1137"/>
                  </a:lnTo>
                  <a:lnTo>
                    <a:pt x="487" y="1137"/>
                  </a:lnTo>
                  <a:lnTo>
                    <a:pt x="488" y="1137"/>
                  </a:lnTo>
                  <a:lnTo>
                    <a:pt x="488" y="1136"/>
                  </a:lnTo>
                  <a:lnTo>
                    <a:pt x="489" y="1137"/>
                  </a:lnTo>
                  <a:lnTo>
                    <a:pt x="490" y="1137"/>
                  </a:lnTo>
                  <a:lnTo>
                    <a:pt x="492" y="1139"/>
                  </a:lnTo>
                  <a:lnTo>
                    <a:pt x="492" y="1140"/>
                  </a:lnTo>
                  <a:lnTo>
                    <a:pt x="493" y="1140"/>
                  </a:lnTo>
                  <a:lnTo>
                    <a:pt x="494" y="1139"/>
                  </a:lnTo>
                  <a:lnTo>
                    <a:pt x="495" y="1137"/>
                  </a:lnTo>
                  <a:lnTo>
                    <a:pt x="496" y="1139"/>
                  </a:lnTo>
                  <a:lnTo>
                    <a:pt x="496" y="1137"/>
                  </a:lnTo>
                  <a:lnTo>
                    <a:pt x="498" y="1137"/>
                  </a:lnTo>
                  <a:lnTo>
                    <a:pt x="499" y="1137"/>
                  </a:lnTo>
                  <a:lnTo>
                    <a:pt x="501" y="1137"/>
                  </a:lnTo>
                  <a:lnTo>
                    <a:pt x="502" y="1139"/>
                  </a:lnTo>
                  <a:lnTo>
                    <a:pt x="507" y="1142"/>
                  </a:lnTo>
                  <a:lnTo>
                    <a:pt x="509" y="1146"/>
                  </a:lnTo>
                  <a:lnTo>
                    <a:pt x="510" y="1147"/>
                  </a:lnTo>
                  <a:lnTo>
                    <a:pt x="511" y="1149"/>
                  </a:lnTo>
                  <a:lnTo>
                    <a:pt x="512" y="1151"/>
                  </a:lnTo>
                  <a:lnTo>
                    <a:pt x="516" y="1152"/>
                  </a:lnTo>
                  <a:lnTo>
                    <a:pt x="518" y="1153"/>
                  </a:lnTo>
                  <a:lnTo>
                    <a:pt x="521" y="1152"/>
                  </a:lnTo>
                  <a:lnTo>
                    <a:pt x="523" y="1151"/>
                  </a:lnTo>
                  <a:lnTo>
                    <a:pt x="523" y="1149"/>
                  </a:lnTo>
                  <a:lnTo>
                    <a:pt x="524" y="1147"/>
                  </a:lnTo>
                  <a:lnTo>
                    <a:pt x="524" y="1146"/>
                  </a:lnTo>
                  <a:lnTo>
                    <a:pt x="523" y="1141"/>
                  </a:lnTo>
                  <a:lnTo>
                    <a:pt x="523" y="1139"/>
                  </a:lnTo>
                  <a:lnTo>
                    <a:pt x="524" y="1139"/>
                  </a:lnTo>
                  <a:lnTo>
                    <a:pt x="524" y="1140"/>
                  </a:lnTo>
                  <a:lnTo>
                    <a:pt x="524" y="1145"/>
                  </a:lnTo>
                  <a:lnTo>
                    <a:pt x="524" y="1147"/>
                  </a:lnTo>
                  <a:lnTo>
                    <a:pt x="525" y="1148"/>
                  </a:lnTo>
                  <a:lnTo>
                    <a:pt x="527" y="1148"/>
                  </a:lnTo>
                  <a:lnTo>
                    <a:pt x="528" y="1148"/>
                  </a:lnTo>
                  <a:lnTo>
                    <a:pt x="529" y="1147"/>
                  </a:lnTo>
                  <a:lnTo>
                    <a:pt x="529" y="1146"/>
                  </a:lnTo>
                  <a:lnTo>
                    <a:pt x="529" y="1142"/>
                  </a:lnTo>
                  <a:lnTo>
                    <a:pt x="529" y="1139"/>
                  </a:lnTo>
                  <a:lnTo>
                    <a:pt x="530" y="1141"/>
                  </a:lnTo>
                  <a:lnTo>
                    <a:pt x="530" y="1142"/>
                  </a:lnTo>
                  <a:lnTo>
                    <a:pt x="530" y="1145"/>
                  </a:lnTo>
                  <a:lnTo>
                    <a:pt x="530" y="1147"/>
                  </a:lnTo>
                  <a:lnTo>
                    <a:pt x="531" y="1148"/>
                  </a:lnTo>
                  <a:lnTo>
                    <a:pt x="533" y="1149"/>
                  </a:lnTo>
                  <a:lnTo>
                    <a:pt x="533" y="1147"/>
                  </a:lnTo>
                  <a:lnTo>
                    <a:pt x="533" y="1146"/>
                  </a:lnTo>
                  <a:lnTo>
                    <a:pt x="534" y="1145"/>
                  </a:lnTo>
                  <a:lnTo>
                    <a:pt x="535" y="1145"/>
                  </a:lnTo>
                  <a:lnTo>
                    <a:pt x="535" y="1148"/>
                  </a:lnTo>
                  <a:lnTo>
                    <a:pt x="535" y="1149"/>
                  </a:lnTo>
                  <a:lnTo>
                    <a:pt x="536" y="1149"/>
                  </a:lnTo>
                  <a:lnTo>
                    <a:pt x="537" y="1149"/>
                  </a:lnTo>
                  <a:lnTo>
                    <a:pt x="537" y="1148"/>
                  </a:lnTo>
                  <a:lnTo>
                    <a:pt x="537" y="1147"/>
                  </a:lnTo>
                  <a:lnTo>
                    <a:pt x="539" y="1146"/>
                  </a:lnTo>
                  <a:lnTo>
                    <a:pt x="539" y="1143"/>
                  </a:lnTo>
                  <a:lnTo>
                    <a:pt x="539" y="1142"/>
                  </a:lnTo>
                  <a:lnTo>
                    <a:pt x="540" y="1142"/>
                  </a:lnTo>
                  <a:lnTo>
                    <a:pt x="540" y="1143"/>
                  </a:lnTo>
                  <a:lnTo>
                    <a:pt x="542" y="1147"/>
                  </a:lnTo>
                  <a:lnTo>
                    <a:pt x="545" y="1148"/>
                  </a:lnTo>
                  <a:lnTo>
                    <a:pt x="547" y="1147"/>
                  </a:lnTo>
                  <a:lnTo>
                    <a:pt x="547" y="1145"/>
                  </a:lnTo>
                  <a:lnTo>
                    <a:pt x="548" y="1146"/>
                  </a:lnTo>
                  <a:lnTo>
                    <a:pt x="548" y="1147"/>
                  </a:lnTo>
                  <a:lnTo>
                    <a:pt x="548" y="1148"/>
                  </a:lnTo>
                  <a:lnTo>
                    <a:pt x="549" y="1151"/>
                  </a:lnTo>
                  <a:lnTo>
                    <a:pt x="549" y="1149"/>
                  </a:lnTo>
                  <a:lnTo>
                    <a:pt x="551" y="1148"/>
                  </a:lnTo>
                  <a:lnTo>
                    <a:pt x="552" y="1148"/>
                  </a:lnTo>
                  <a:lnTo>
                    <a:pt x="551" y="1151"/>
                  </a:lnTo>
                  <a:lnTo>
                    <a:pt x="552" y="1151"/>
                  </a:lnTo>
                  <a:lnTo>
                    <a:pt x="552" y="1152"/>
                  </a:lnTo>
                  <a:lnTo>
                    <a:pt x="552" y="1154"/>
                  </a:lnTo>
                  <a:lnTo>
                    <a:pt x="552" y="1155"/>
                  </a:lnTo>
                  <a:lnTo>
                    <a:pt x="553" y="1154"/>
                  </a:lnTo>
                  <a:lnTo>
                    <a:pt x="554" y="1155"/>
                  </a:lnTo>
                  <a:lnTo>
                    <a:pt x="553" y="1157"/>
                  </a:lnTo>
                  <a:lnTo>
                    <a:pt x="554" y="1159"/>
                  </a:lnTo>
                  <a:lnTo>
                    <a:pt x="555" y="1159"/>
                  </a:lnTo>
                  <a:lnTo>
                    <a:pt x="557" y="1160"/>
                  </a:lnTo>
                  <a:lnTo>
                    <a:pt x="558" y="1160"/>
                  </a:lnTo>
                  <a:lnTo>
                    <a:pt x="559" y="1161"/>
                  </a:lnTo>
                  <a:lnTo>
                    <a:pt x="559" y="1163"/>
                  </a:lnTo>
                  <a:lnTo>
                    <a:pt x="560" y="1164"/>
                  </a:lnTo>
                  <a:lnTo>
                    <a:pt x="560" y="1166"/>
                  </a:lnTo>
                  <a:lnTo>
                    <a:pt x="561" y="1166"/>
                  </a:lnTo>
                  <a:lnTo>
                    <a:pt x="561" y="1169"/>
                  </a:lnTo>
                  <a:lnTo>
                    <a:pt x="564" y="1171"/>
                  </a:lnTo>
                  <a:lnTo>
                    <a:pt x="564" y="1172"/>
                  </a:lnTo>
                  <a:lnTo>
                    <a:pt x="564" y="1173"/>
                  </a:lnTo>
                  <a:lnTo>
                    <a:pt x="564" y="1175"/>
                  </a:lnTo>
                  <a:lnTo>
                    <a:pt x="566" y="1177"/>
                  </a:lnTo>
                  <a:lnTo>
                    <a:pt x="567" y="1178"/>
                  </a:lnTo>
                  <a:lnTo>
                    <a:pt x="570" y="1181"/>
                  </a:lnTo>
                  <a:lnTo>
                    <a:pt x="572" y="1182"/>
                  </a:lnTo>
                  <a:lnTo>
                    <a:pt x="574" y="1182"/>
                  </a:lnTo>
                  <a:lnTo>
                    <a:pt x="575" y="1181"/>
                  </a:lnTo>
                  <a:lnTo>
                    <a:pt x="575" y="1179"/>
                  </a:lnTo>
                  <a:lnTo>
                    <a:pt x="575" y="1177"/>
                  </a:lnTo>
                  <a:lnTo>
                    <a:pt x="575" y="1175"/>
                  </a:lnTo>
                  <a:lnTo>
                    <a:pt x="575" y="1173"/>
                  </a:lnTo>
                  <a:lnTo>
                    <a:pt x="575" y="1172"/>
                  </a:lnTo>
                  <a:lnTo>
                    <a:pt x="575" y="1175"/>
                  </a:lnTo>
                  <a:lnTo>
                    <a:pt x="576" y="1177"/>
                  </a:lnTo>
                  <a:lnTo>
                    <a:pt x="576" y="1178"/>
                  </a:lnTo>
                  <a:lnTo>
                    <a:pt x="576" y="1179"/>
                  </a:lnTo>
                  <a:lnTo>
                    <a:pt x="576" y="1183"/>
                  </a:lnTo>
                  <a:lnTo>
                    <a:pt x="576" y="1184"/>
                  </a:lnTo>
                  <a:lnTo>
                    <a:pt x="577" y="1185"/>
                  </a:lnTo>
                  <a:lnTo>
                    <a:pt x="577" y="1187"/>
                  </a:lnTo>
                  <a:lnTo>
                    <a:pt x="580" y="1187"/>
                  </a:lnTo>
                  <a:lnTo>
                    <a:pt x="581" y="1187"/>
                  </a:lnTo>
                  <a:lnTo>
                    <a:pt x="582" y="1188"/>
                  </a:lnTo>
                  <a:lnTo>
                    <a:pt x="583" y="1188"/>
                  </a:lnTo>
                  <a:lnTo>
                    <a:pt x="584" y="1187"/>
                  </a:lnTo>
                  <a:lnTo>
                    <a:pt x="584" y="1185"/>
                  </a:lnTo>
                  <a:lnTo>
                    <a:pt x="586" y="1184"/>
                  </a:lnTo>
                  <a:lnTo>
                    <a:pt x="587" y="1185"/>
                  </a:lnTo>
                  <a:lnTo>
                    <a:pt x="587" y="1184"/>
                  </a:lnTo>
                  <a:lnTo>
                    <a:pt x="587" y="1183"/>
                  </a:lnTo>
                  <a:lnTo>
                    <a:pt x="588" y="1183"/>
                  </a:lnTo>
                  <a:lnTo>
                    <a:pt x="588" y="1182"/>
                  </a:lnTo>
                  <a:lnTo>
                    <a:pt x="589" y="1181"/>
                  </a:lnTo>
                  <a:lnTo>
                    <a:pt x="590" y="1178"/>
                  </a:lnTo>
                  <a:lnTo>
                    <a:pt x="592" y="1177"/>
                  </a:lnTo>
                  <a:lnTo>
                    <a:pt x="593" y="1178"/>
                  </a:lnTo>
                  <a:lnTo>
                    <a:pt x="592" y="1179"/>
                  </a:lnTo>
                  <a:lnTo>
                    <a:pt x="593" y="1181"/>
                  </a:lnTo>
                  <a:lnTo>
                    <a:pt x="594" y="1181"/>
                  </a:lnTo>
                  <a:lnTo>
                    <a:pt x="594" y="1182"/>
                  </a:lnTo>
                  <a:lnTo>
                    <a:pt x="594" y="1183"/>
                  </a:lnTo>
                  <a:lnTo>
                    <a:pt x="593" y="1183"/>
                  </a:lnTo>
                  <a:lnTo>
                    <a:pt x="592" y="1185"/>
                  </a:lnTo>
                  <a:lnTo>
                    <a:pt x="593" y="1185"/>
                  </a:lnTo>
                  <a:lnTo>
                    <a:pt x="594" y="1185"/>
                  </a:lnTo>
                  <a:lnTo>
                    <a:pt x="593" y="1187"/>
                  </a:lnTo>
                  <a:lnTo>
                    <a:pt x="592" y="1187"/>
                  </a:lnTo>
                  <a:lnTo>
                    <a:pt x="592" y="1189"/>
                  </a:lnTo>
                  <a:lnTo>
                    <a:pt x="593" y="1190"/>
                  </a:lnTo>
                  <a:lnTo>
                    <a:pt x="593" y="1193"/>
                  </a:lnTo>
                  <a:lnTo>
                    <a:pt x="593" y="1195"/>
                  </a:lnTo>
                  <a:lnTo>
                    <a:pt x="594" y="1195"/>
                  </a:lnTo>
                  <a:lnTo>
                    <a:pt x="594" y="1196"/>
                  </a:lnTo>
                  <a:lnTo>
                    <a:pt x="593" y="1197"/>
                  </a:lnTo>
                  <a:lnTo>
                    <a:pt x="593" y="1199"/>
                  </a:lnTo>
                  <a:lnTo>
                    <a:pt x="595" y="1199"/>
                  </a:lnTo>
                  <a:lnTo>
                    <a:pt x="595" y="1197"/>
                  </a:lnTo>
                  <a:lnTo>
                    <a:pt x="595" y="1199"/>
                  </a:lnTo>
                  <a:lnTo>
                    <a:pt x="595" y="1200"/>
                  </a:lnTo>
                  <a:lnTo>
                    <a:pt x="598" y="1201"/>
                  </a:lnTo>
                  <a:lnTo>
                    <a:pt x="599" y="1201"/>
                  </a:lnTo>
                  <a:lnTo>
                    <a:pt x="599" y="1202"/>
                  </a:lnTo>
                  <a:lnTo>
                    <a:pt x="601" y="1203"/>
                  </a:lnTo>
                  <a:lnTo>
                    <a:pt x="601" y="1202"/>
                  </a:lnTo>
                  <a:lnTo>
                    <a:pt x="601" y="1205"/>
                  </a:lnTo>
                  <a:lnTo>
                    <a:pt x="604" y="1205"/>
                  </a:lnTo>
                  <a:lnTo>
                    <a:pt x="604" y="1206"/>
                  </a:lnTo>
                  <a:lnTo>
                    <a:pt x="605" y="1207"/>
                  </a:lnTo>
                  <a:lnTo>
                    <a:pt x="606" y="1207"/>
                  </a:lnTo>
                  <a:lnTo>
                    <a:pt x="608" y="1207"/>
                  </a:lnTo>
                  <a:lnTo>
                    <a:pt x="608" y="1205"/>
                  </a:lnTo>
                  <a:lnTo>
                    <a:pt x="607" y="1202"/>
                  </a:lnTo>
                  <a:lnTo>
                    <a:pt x="607" y="1201"/>
                  </a:lnTo>
                  <a:lnTo>
                    <a:pt x="608" y="1201"/>
                  </a:lnTo>
                  <a:lnTo>
                    <a:pt x="610" y="1200"/>
                  </a:lnTo>
                  <a:lnTo>
                    <a:pt x="611" y="1199"/>
                  </a:lnTo>
                  <a:lnTo>
                    <a:pt x="612" y="1197"/>
                  </a:lnTo>
                  <a:lnTo>
                    <a:pt x="614" y="1196"/>
                  </a:lnTo>
                  <a:lnTo>
                    <a:pt x="616" y="1197"/>
                  </a:lnTo>
                  <a:lnTo>
                    <a:pt x="616" y="1195"/>
                  </a:lnTo>
                  <a:lnTo>
                    <a:pt x="617" y="1194"/>
                  </a:lnTo>
                  <a:lnTo>
                    <a:pt x="617" y="1193"/>
                  </a:lnTo>
                  <a:lnTo>
                    <a:pt x="618" y="1191"/>
                  </a:lnTo>
                  <a:lnTo>
                    <a:pt x="619" y="1190"/>
                  </a:lnTo>
                  <a:lnTo>
                    <a:pt x="620" y="1190"/>
                  </a:lnTo>
                  <a:lnTo>
                    <a:pt x="622" y="1189"/>
                  </a:lnTo>
                  <a:lnTo>
                    <a:pt x="623" y="1190"/>
                  </a:lnTo>
                  <a:lnTo>
                    <a:pt x="623" y="1189"/>
                  </a:lnTo>
                  <a:lnTo>
                    <a:pt x="624" y="1189"/>
                  </a:lnTo>
                  <a:lnTo>
                    <a:pt x="625" y="1189"/>
                  </a:lnTo>
                  <a:lnTo>
                    <a:pt x="631" y="1189"/>
                  </a:lnTo>
                  <a:lnTo>
                    <a:pt x="634" y="1187"/>
                  </a:lnTo>
                  <a:lnTo>
                    <a:pt x="634" y="1185"/>
                  </a:lnTo>
                  <a:lnTo>
                    <a:pt x="635" y="1185"/>
                  </a:lnTo>
                  <a:lnTo>
                    <a:pt x="635" y="1187"/>
                  </a:lnTo>
                  <a:lnTo>
                    <a:pt x="637" y="1187"/>
                  </a:lnTo>
                  <a:lnTo>
                    <a:pt x="637" y="1188"/>
                  </a:lnTo>
                  <a:lnTo>
                    <a:pt x="639" y="1188"/>
                  </a:lnTo>
                  <a:lnTo>
                    <a:pt x="640" y="1188"/>
                  </a:lnTo>
                  <a:lnTo>
                    <a:pt x="641" y="1188"/>
                  </a:lnTo>
                  <a:lnTo>
                    <a:pt x="643" y="1188"/>
                  </a:lnTo>
                  <a:lnTo>
                    <a:pt x="645" y="1188"/>
                  </a:lnTo>
                  <a:lnTo>
                    <a:pt x="645" y="1185"/>
                  </a:lnTo>
                  <a:lnTo>
                    <a:pt x="645" y="1184"/>
                  </a:lnTo>
                  <a:lnTo>
                    <a:pt x="646" y="1184"/>
                  </a:lnTo>
                  <a:lnTo>
                    <a:pt x="648" y="1184"/>
                  </a:lnTo>
                  <a:lnTo>
                    <a:pt x="649" y="1183"/>
                  </a:lnTo>
                  <a:lnTo>
                    <a:pt x="651" y="1183"/>
                  </a:lnTo>
                  <a:lnTo>
                    <a:pt x="651" y="1181"/>
                  </a:lnTo>
                  <a:lnTo>
                    <a:pt x="652" y="1178"/>
                  </a:lnTo>
                  <a:lnTo>
                    <a:pt x="652" y="1181"/>
                  </a:lnTo>
                  <a:lnTo>
                    <a:pt x="653" y="1181"/>
                  </a:lnTo>
                  <a:lnTo>
                    <a:pt x="653" y="1179"/>
                  </a:lnTo>
                  <a:lnTo>
                    <a:pt x="657" y="1177"/>
                  </a:lnTo>
                  <a:lnTo>
                    <a:pt x="657" y="1175"/>
                  </a:lnTo>
                  <a:lnTo>
                    <a:pt x="658" y="1173"/>
                  </a:lnTo>
                  <a:lnTo>
                    <a:pt x="659" y="1171"/>
                  </a:lnTo>
                  <a:lnTo>
                    <a:pt x="659" y="1170"/>
                  </a:lnTo>
                  <a:lnTo>
                    <a:pt x="659" y="1167"/>
                  </a:lnTo>
                  <a:lnTo>
                    <a:pt x="658" y="1169"/>
                  </a:lnTo>
                  <a:lnTo>
                    <a:pt x="658" y="1166"/>
                  </a:lnTo>
                  <a:lnTo>
                    <a:pt x="658" y="1164"/>
                  </a:lnTo>
                  <a:lnTo>
                    <a:pt x="658" y="1163"/>
                  </a:lnTo>
                  <a:lnTo>
                    <a:pt x="658" y="1165"/>
                  </a:lnTo>
                  <a:lnTo>
                    <a:pt x="659" y="1165"/>
                  </a:lnTo>
                  <a:lnTo>
                    <a:pt x="660" y="1166"/>
                  </a:lnTo>
                  <a:lnTo>
                    <a:pt x="661" y="1167"/>
                  </a:lnTo>
                  <a:lnTo>
                    <a:pt x="661" y="1166"/>
                  </a:lnTo>
                  <a:lnTo>
                    <a:pt x="663" y="1165"/>
                  </a:lnTo>
                  <a:lnTo>
                    <a:pt x="663" y="1164"/>
                  </a:lnTo>
                  <a:lnTo>
                    <a:pt x="663" y="1161"/>
                  </a:lnTo>
                  <a:lnTo>
                    <a:pt x="664" y="1161"/>
                  </a:lnTo>
                  <a:lnTo>
                    <a:pt x="665" y="1161"/>
                  </a:lnTo>
                  <a:lnTo>
                    <a:pt x="666" y="1161"/>
                  </a:lnTo>
                  <a:lnTo>
                    <a:pt x="667" y="1161"/>
                  </a:lnTo>
                  <a:lnTo>
                    <a:pt x="667" y="1160"/>
                  </a:lnTo>
                  <a:lnTo>
                    <a:pt x="669" y="1159"/>
                  </a:lnTo>
                  <a:lnTo>
                    <a:pt x="669" y="1158"/>
                  </a:lnTo>
                  <a:lnTo>
                    <a:pt x="669" y="1157"/>
                  </a:lnTo>
                  <a:lnTo>
                    <a:pt x="669" y="1155"/>
                  </a:lnTo>
                  <a:lnTo>
                    <a:pt x="669" y="1154"/>
                  </a:lnTo>
                  <a:lnTo>
                    <a:pt x="670" y="1154"/>
                  </a:lnTo>
                  <a:lnTo>
                    <a:pt x="671" y="1153"/>
                  </a:lnTo>
                  <a:lnTo>
                    <a:pt x="673" y="1153"/>
                  </a:lnTo>
                  <a:lnTo>
                    <a:pt x="673" y="1152"/>
                  </a:lnTo>
                  <a:lnTo>
                    <a:pt x="673" y="1151"/>
                  </a:lnTo>
                  <a:lnTo>
                    <a:pt x="675" y="1148"/>
                  </a:lnTo>
                  <a:lnTo>
                    <a:pt x="675" y="1146"/>
                  </a:lnTo>
                  <a:lnTo>
                    <a:pt x="673" y="1146"/>
                  </a:lnTo>
                  <a:lnTo>
                    <a:pt x="672" y="1145"/>
                  </a:lnTo>
                  <a:lnTo>
                    <a:pt x="672" y="1143"/>
                  </a:lnTo>
                  <a:lnTo>
                    <a:pt x="673" y="1142"/>
                  </a:lnTo>
                  <a:lnTo>
                    <a:pt x="673" y="1141"/>
                  </a:lnTo>
                  <a:lnTo>
                    <a:pt x="675" y="1141"/>
                  </a:lnTo>
                  <a:lnTo>
                    <a:pt x="676" y="1140"/>
                  </a:lnTo>
                  <a:lnTo>
                    <a:pt x="677" y="1141"/>
                  </a:lnTo>
                  <a:lnTo>
                    <a:pt x="678" y="1141"/>
                  </a:lnTo>
                  <a:lnTo>
                    <a:pt x="681" y="1137"/>
                  </a:lnTo>
                  <a:lnTo>
                    <a:pt x="682" y="1136"/>
                  </a:lnTo>
                  <a:lnTo>
                    <a:pt x="682" y="1135"/>
                  </a:lnTo>
                  <a:lnTo>
                    <a:pt x="683" y="1135"/>
                  </a:lnTo>
                  <a:lnTo>
                    <a:pt x="683" y="1136"/>
                  </a:lnTo>
                  <a:lnTo>
                    <a:pt x="684" y="1136"/>
                  </a:lnTo>
                  <a:lnTo>
                    <a:pt x="685" y="1136"/>
                  </a:lnTo>
                  <a:lnTo>
                    <a:pt x="685" y="1137"/>
                  </a:lnTo>
                  <a:lnTo>
                    <a:pt x="687" y="1137"/>
                  </a:lnTo>
                  <a:lnTo>
                    <a:pt x="688" y="1136"/>
                  </a:lnTo>
                  <a:lnTo>
                    <a:pt x="689" y="1136"/>
                  </a:lnTo>
                  <a:lnTo>
                    <a:pt x="690" y="1135"/>
                  </a:lnTo>
                  <a:lnTo>
                    <a:pt x="692" y="1135"/>
                  </a:lnTo>
                  <a:lnTo>
                    <a:pt x="694" y="1134"/>
                  </a:lnTo>
                  <a:lnTo>
                    <a:pt x="695" y="1135"/>
                  </a:lnTo>
                  <a:lnTo>
                    <a:pt x="696" y="1135"/>
                  </a:lnTo>
                  <a:lnTo>
                    <a:pt x="698" y="1135"/>
                  </a:lnTo>
                  <a:lnTo>
                    <a:pt x="699" y="1134"/>
                  </a:lnTo>
                  <a:lnTo>
                    <a:pt x="700" y="1134"/>
                  </a:lnTo>
                  <a:lnTo>
                    <a:pt x="701" y="1134"/>
                  </a:lnTo>
                  <a:lnTo>
                    <a:pt x="702" y="1134"/>
                  </a:lnTo>
                  <a:lnTo>
                    <a:pt x="702" y="1133"/>
                  </a:lnTo>
                  <a:lnTo>
                    <a:pt x="702" y="1130"/>
                  </a:lnTo>
                  <a:lnTo>
                    <a:pt x="701" y="1129"/>
                  </a:lnTo>
                  <a:lnTo>
                    <a:pt x="702" y="1129"/>
                  </a:lnTo>
                  <a:lnTo>
                    <a:pt x="702" y="1126"/>
                  </a:lnTo>
                  <a:lnTo>
                    <a:pt x="702" y="1125"/>
                  </a:lnTo>
                  <a:lnTo>
                    <a:pt x="704" y="1124"/>
                  </a:lnTo>
                  <a:lnTo>
                    <a:pt x="705" y="1123"/>
                  </a:lnTo>
                  <a:lnTo>
                    <a:pt x="705" y="1122"/>
                  </a:lnTo>
                  <a:lnTo>
                    <a:pt x="706" y="1119"/>
                  </a:lnTo>
                  <a:lnTo>
                    <a:pt x="707" y="1120"/>
                  </a:lnTo>
                  <a:lnTo>
                    <a:pt x="707" y="1122"/>
                  </a:lnTo>
                  <a:lnTo>
                    <a:pt x="708" y="1119"/>
                  </a:lnTo>
                  <a:lnTo>
                    <a:pt x="708" y="1118"/>
                  </a:lnTo>
                  <a:lnTo>
                    <a:pt x="710" y="1118"/>
                  </a:lnTo>
                  <a:lnTo>
                    <a:pt x="710" y="1119"/>
                  </a:lnTo>
                  <a:lnTo>
                    <a:pt x="711" y="1119"/>
                  </a:lnTo>
                  <a:lnTo>
                    <a:pt x="712" y="1119"/>
                  </a:lnTo>
                  <a:lnTo>
                    <a:pt x="713" y="1119"/>
                  </a:lnTo>
                  <a:lnTo>
                    <a:pt x="714" y="1119"/>
                  </a:lnTo>
                  <a:lnTo>
                    <a:pt x="716" y="1119"/>
                  </a:lnTo>
                  <a:lnTo>
                    <a:pt x="717" y="1119"/>
                  </a:lnTo>
                  <a:lnTo>
                    <a:pt x="718" y="1119"/>
                  </a:lnTo>
                  <a:lnTo>
                    <a:pt x="719" y="1120"/>
                  </a:lnTo>
                  <a:lnTo>
                    <a:pt x="719" y="1119"/>
                  </a:lnTo>
                  <a:lnTo>
                    <a:pt x="720" y="1120"/>
                  </a:lnTo>
                  <a:lnTo>
                    <a:pt x="722" y="1120"/>
                  </a:lnTo>
                  <a:lnTo>
                    <a:pt x="723" y="1119"/>
                  </a:lnTo>
                  <a:lnTo>
                    <a:pt x="724" y="1118"/>
                  </a:lnTo>
                  <a:lnTo>
                    <a:pt x="725" y="1118"/>
                  </a:lnTo>
                  <a:lnTo>
                    <a:pt x="725" y="1117"/>
                  </a:lnTo>
                  <a:lnTo>
                    <a:pt x="726" y="1116"/>
                  </a:lnTo>
                  <a:lnTo>
                    <a:pt x="726" y="1114"/>
                  </a:lnTo>
                  <a:lnTo>
                    <a:pt x="726" y="1113"/>
                  </a:lnTo>
                  <a:lnTo>
                    <a:pt x="726" y="1112"/>
                  </a:lnTo>
                  <a:lnTo>
                    <a:pt x="728" y="1111"/>
                  </a:lnTo>
                  <a:lnTo>
                    <a:pt x="728" y="1113"/>
                  </a:lnTo>
                  <a:lnTo>
                    <a:pt x="729" y="1113"/>
                  </a:lnTo>
                  <a:lnTo>
                    <a:pt x="729" y="1111"/>
                  </a:lnTo>
                  <a:lnTo>
                    <a:pt x="729" y="1110"/>
                  </a:lnTo>
                  <a:lnTo>
                    <a:pt x="730" y="1108"/>
                  </a:lnTo>
                  <a:lnTo>
                    <a:pt x="731" y="1108"/>
                  </a:lnTo>
                  <a:lnTo>
                    <a:pt x="732" y="1107"/>
                  </a:lnTo>
                  <a:lnTo>
                    <a:pt x="734" y="1106"/>
                  </a:lnTo>
                  <a:lnTo>
                    <a:pt x="735" y="1106"/>
                  </a:lnTo>
                  <a:lnTo>
                    <a:pt x="736" y="1105"/>
                  </a:lnTo>
                  <a:lnTo>
                    <a:pt x="738" y="1105"/>
                  </a:lnTo>
                  <a:lnTo>
                    <a:pt x="740" y="1104"/>
                  </a:lnTo>
                  <a:lnTo>
                    <a:pt x="743" y="1104"/>
                  </a:lnTo>
                  <a:lnTo>
                    <a:pt x="746" y="1102"/>
                  </a:lnTo>
                  <a:lnTo>
                    <a:pt x="748" y="1101"/>
                  </a:lnTo>
                  <a:lnTo>
                    <a:pt x="751" y="1100"/>
                  </a:lnTo>
                  <a:lnTo>
                    <a:pt x="749" y="1099"/>
                  </a:lnTo>
                  <a:lnTo>
                    <a:pt x="748" y="1098"/>
                  </a:lnTo>
                  <a:lnTo>
                    <a:pt x="747" y="1096"/>
                  </a:lnTo>
                  <a:lnTo>
                    <a:pt x="749" y="1098"/>
                  </a:lnTo>
                  <a:lnTo>
                    <a:pt x="751" y="1098"/>
                  </a:lnTo>
                  <a:lnTo>
                    <a:pt x="751" y="1095"/>
                  </a:lnTo>
                  <a:lnTo>
                    <a:pt x="752" y="1094"/>
                  </a:lnTo>
                  <a:lnTo>
                    <a:pt x="752" y="1093"/>
                  </a:lnTo>
                  <a:lnTo>
                    <a:pt x="751" y="1089"/>
                  </a:lnTo>
                  <a:lnTo>
                    <a:pt x="751" y="1088"/>
                  </a:lnTo>
                  <a:lnTo>
                    <a:pt x="749" y="1087"/>
                  </a:lnTo>
                  <a:lnTo>
                    <a:pt x="751" y="1087"/>
                  </a:lnTo>
                  <a:lnTo>
                    <a:pt x="751" y="1086"/>
                  </a:lnTo>
                  <a:lnTo>
                    <a:pt x="751" y="1084"/>
                  </a:lnTo>
                  <a:lnTo>
                    <a:pt x="751" y="1082"/>
                  </a:lnTo>
                  <a:lnTo>
                    <a:pt x="752" y="1081"/>
                  </a:lnTo>
                  <a:lnTo>
                    <a:pt x="753" y="1080"/>
                  </a:lnTo>
                  <a:lnTo>
                    <a:pt x="753" y="1078"/>
                  </a:lnTo>
                  <a:lnTo>
                    <a:pt x="752" y="1077"/>
                  </a:lnTo>
                  <a:lnTo>
                    <a:pt x="753" y="1070"/>
                  </a:lnTo>
                  <a:lnTo>
                    <a:pt x="753" y="1068"/>
                  </a:lnTo>
                  <a:lnTo>
                    <a:pt x="754" y="1068"/>
                  </a:lnTo>
                  <a:lnTo>
                    <a:pt x="753" y="1066"/>
                  </a:lnTo>
                  <a:lnTo>
                    <a:pt x="754" y="1066"/>
                  </a:lnTo>
                  <a:lnTo>
                    <a:pt x="754" y="1065"/>
                  </a:lnTo>
                  <a:lnTo>
                    <a:pt x="755" y="1066"/>
                  </a:lnTo>
                  <a:lnTo>
                    <a:pt x="755" y="1065"/>
                  </a:lnTo>
                  <a:lnTo>
                    <a:pt x="757" y="1065"/>
                  </a:lnTo>
                  <a:lnTo>
                    <a:pt x="758" y="1064"/>
                  </a:lnTo>
                  <a:lnTo>
                    <a:pt x="759" y="1064"/>
                  </a:lnTo>
                  <a:lnTo>
                    <a:pt x="760" y="1063"/>
                  </a:lnTo>
                  <a:lnTo>
                    <a:pt x="760" y="1062"/>
                  </a:lnTo>
                  <a:lnTo>
                    <a:pt x="761" y="1062"/>
                  </a:lnTo>
                  <a:lnTo>
                    <a:pt x="764" y="1059"/>
                  </a:lnTo>
                  <a:lnTo>
                    <a:pt x="765" y="1058"/>
                  </a:lnTo>
                  <a:lnTo>
                    <a:pt x="766" y="1058"/>
                  </a:lnTo>
                  <a:lnTo>
                    <a:pt x="766" y="1056"/>
                  </a:lnTo>
                  <a:lnTo>
                    <a:pt x="765" y="1054"/>
                  </a:lnTo>
                  <a:lnTo>
                    <a:pt x="763" y="1056"/>
                  </a:lnTo>
                  <a:lnTo>
                    <a:pt x="760" y="1056"/>
                  </a:lnTo>
                  <a:lnTo>
                    <a:pt x="757" y="1057"/>
                  </a:lnTo>
                  <a:lnTo>
                    <a:pt x="752" y="1058"/>
                  </a:lnTo>
                  <a:lnTo>
                    <a:pt x="748" y="1060"/>
                  </a:lnTo>
                  <a:lnTo>
                    <a:pt x="743" y="1062"/>
                  </a:lnTo>
                  <a:lnTo>
                    <a:pt x="741" y="1064"/>
                  </a:lnTo>
                  <a:lnTo>
                    <a:pt x="735" y="1065"/>
                  </a:lnTo>
                  <a:lnTo>
                    <a:pt x="730" y="1066"/>
                  </a:lnTo>
                  <a:lnTo>
                    <a:pt x="726" y="1068"/>
                  </a:lnTo>
                  <a:lnTo>
                    <a:pt x="722" y="1069"/>
                  </a:lnTo>
                  <a:lnTo>
                    <a:pt x="719" y="1069"/>
                  </a:lnTo>
                  <a:lnTo>
                    <a:pt x="712" y="1070"/>
                  </a:lnTo>
                  <a:lnTo>
                    <a:pt x="706" y="1069"/>
                  </a:lnTo>
                  <a:lnTo>
                    <a:pt x="701" y="1069"/>
                  </a:lnTo>
                  <a:lnTo>
                    <a:pt x="695" y="1068"/>
                  </a:lnTo>
                  <a:lnTo>
                    <a:pt x="692" y="1068"/>
                  </a:lnTo>
                  <a:lnTo>
                    <a:pt x="688" y="1066"/>
                  </a:lnTo>
                  <a:lnTo>
                    <a:pt x="677" y="1066"/>
                  </a:lnTo>
                  <a:lnTo>
                    <a:pt x="676" y="1065"/>
                  </a:lnTo>
                  <a:lnTo>
                    <a:pt x="672" y="1064"/>
                  </a:lnTo>
                  <a:lnTo>
                    <a:pt x="670" y="1062"/>
                  </a:lnTo>
                  <a:lnTo>
                    <a:pt x="670" y="1059"/>
                  </a:lnTo>
                  <a:lnTo>
                    <a:pt x="669" y="1057"/>
                  </a:lnTo>
                  <a:lnTo>
                    <a:pt x="669" y="1056"/>
                  </a:lnTo>
                  <a:lnTo>
                    <a:pt x="667" y="1054"/>
                  </a:lnTo>
                  <a:lnTo>
                    <a:pt x="667" y="1052"/>
                  </a:lnTo>
                  <a:lnTo>
                    <a:pt x="669" y="1052"/>
                  </a:lnTo>
                  <a:lnTo>
                    <a:pt x="670" y="1054"/>
                  </a:lnTo>
                  <a:lnTo>
                    <a:pt x="671" y="1053"/>
                  </a:lnTo>
                  <a:lnTo>
                    <a:pt x="672" y="1053"/>
                  </a:lnTo>
                  <a:lnTo>
                    <a:pt x="673" y="1052"/>
                  </a:lnTo>
                  <a:lnTo>
                    <a:pt x="675" y="1052"/>
                  </a:lnTo>
                  <a:lnTo>
                    <a:pt x="676" y="1051"/>
                  </a:lnTo>
                  <a:lnTo>
                    <a:pt x="676" y="1050"/>
                  </a:lnTo>
                  <a:lnTo>
                    <a:pt x="677" y="1048"/>
                  </a:lnTo>
                  <a:lnTo>
                    <a:pt x="678" y="1048"/>
                  </a:lnTo>
                  <a:lnTo>
                    <a:pt x="679" y="1048"/>
                  </a:lnTo>
                  <a:lnTo>
                    <a:pt x="681" y="1047"/>
                  </a:lnTo>
                  <a:lnTo>
                    <a:pt x="681" y="1048"/>
                  </a:lnTo>
                  <a:lnTo>
                    <a:pt x="682" y="1048"/>
                  </a:lnTo>
                  <a:lnTo>
                    <a:pt x="684" y="1048"/>
                  </a:lnTo>
                  <a:lnTo>
                    <a:pt x="685" y="1048"/>
                  </a:lnTo>
                  <a:lnTo>
                    <a:pt x="688" y="1047"/>
                  </a:lnTo>
                  <a:lnTo>
                    <a:pt x="689" y="1047"/>
                  </a:lnTo>
                  <a:lnTo>
                    <a:pt x="690" y="1046"/>
                  </a:lnTo>
                  <a:lnTo>
                    <a:pt x="690" y="1044"/>
                  </a:lnTo>
                  <a:lnTo>
                    <a:pt x="692" y="1042"/>
                  </a:lnTo>
                  <a:lnTo>
                    <a:pt x="692" y="1044"/>
                  </a:lnTo>
                  <a:lnTo>
                    <a:pt x="692" y="1045"/>
                  </a:lnTo>
                  <a:lnTo>
                    <a:pt x="692" y="1046"/>
                  </a:lnTo>
                  <a:lnTo>
                    <a:pt x="693" y="1045"/>
                  </a:lnTo>
                  <a:lnTo>
                    <a:pt x="694" y="1044"/>
                  </a:lnTo>
                  <a:lnTo>
                    <a:pt x="694" y="1042"/>
                  </a:lnTo>
                  <a:lnTo>
                    <a:pt x="695" y="1041"/>
                  </a:lnTo>
                  <a:lnTo>
                    <a:pt x="695" y="1044"/>
                  </a:lnTo>
                  <a:lnTo>
                    <a:pt x="696" y="1044"/>
                  </a:lnTo>
                  <a:lnTo>
                    <a:pt x="696" y="1042"/>
                  </a:lnTo>
                  <a:lnTo>
                    <a:pt x="698" y="1042"/>
                  </a:lnTo>
                  <a:lnTo>
                    <a:pt x="700" y="1041"/>
                  </a:lnTo>
                  <a:lnTo>
                    <a:pt x="701" y="1040"/>
                  </a:lnTo>
                  <a:lnTo>
                    <a:pt x="701" y="1038"/>
                  </a:lnTo>
                  <a:lnTo>
                    <a:pt x="702" y="1038"/>
                  </a:lnTo>
                  <a:lnTo>
                    <a:pt x="702" y="1035"/>
                  </a:lnTo>
                  <a:lnTo>
                    <a:pt x="704" y="1034"/>
                  </a:lnTo>
                  <a:lnTo>
                    <a:pt x="705" y="1034"/>
                  </a:lnTo>
                  <a:lnTo>
                    <a:pt x="706" y="1033"/>
                  </a:lnTo>
                  <a:lnTo>
                    <a:pt x="706" y="1030"/>
                  </a:lnTo>
                  <a:lnTo>
                    <a:pt x="707" y="1029"/>
                  </a:lnTo>
                  <a:lnTo>
                    <a:pt x="708" y="1029"/>
                  </a:lnTo>
                  <a:lnTo>
                    <a:pt x="710" y="1028"/>
                  </a:lnTo>
                  <a:lnTo>
                    <a:pt x="710" y="1027"/>
                  </a:lnTo>
                  <a:lnTo>
                    <a:pt x="710" y="1026"/>
                  </a:lnTo>
                  <a:lnTo>
                    <a:pt x="710" y="1027"/>
                  </a:lnTo>
                  <a:lnTo>
                    <a:pt x="711" y="1026"/>
                  </a:lnTo>
                  <a:lnTo>
                    <a:pt x="711" y="1024"/>
                  </a:lnTo>
                  <a:lnTo>
                    <a:pt x="711" y="1023"/>
                  </a:lnTo>
                  <a:lnTo>
                    <a:pt x="712" y="1022"/>
                  </a:lnTo>
                  <a:lnTo>
                    <a:pt x="712" y="1021"/>
                  </a:lnTo>
                  <a:lnTo>
                    <a:pt x="711" y="1019"/>
                  </a:lnTo>
                  <a:lnTo>
                    <a:pt x="708" y="1021"/>
                  </a:lnTo>
                  <a:lnTo>
                    <a:pt x="706" y="1021"/>
                  </a:lnTo>
                  <a:lnTo>
                    <a:pt x="699" y="1021"/>
                  </a:lnTo>
                  <a:lnTo>
                    <a:pt x="693" y="1022"/>
                  </a:lnTo>
                  <a:lnTo>
                    <a:pt x="690" y="1022"/>
                  </a:lnTo>
                  <a:lnTo>
                    <a:pt x="687" y="1022"/>
                  </a:lnTo>
                  <a:lnTo>
                    <a:pt x="684" y="1022"/>
                  </a:lnTo>
                  <a:lnTo>
                    <a:pt x="682" y="1019"/>
                  </a:lnTo>
                  <a:lnTo>
                    <a:pt x="682" y="1018"/>
                  </a:lnTo>
                  <a:lnTo>
                    <a:pt x="681" y="1017"/>
                  </a:lnTo>
                  <a:lnTo>
                    <a:pt x="682" y="1016"/>
                  </a:lnTo>
                  <a:lnTo>
                    <a:pt x="682" y="1013"/>
                  </a:lnTo>
                  <a:lnTo>
                    <a:pt x="683" y="1012"/>
                  </a:lnTo>
                  <a:lnTo>
                    <a:pt x="684" y="1011"/>
                  </a:lnTo>
                  <a:lnTo>
                    <a:pt x="685" y="1010"/>
                  </a:lnTo>
                  <a:lnTo>
                    <a:pt x="687" y="1009"/>
                  </a:lnTo>
                  <a:lnTo>
                    <a:pt x="688" y="1010"/>
                  </a:lnTo>
                  <a:lnTo>
                    <a:pt x="689" y="1009"/>
                  </a:lnTo>
                  <a:lnTo>
                    <a:pt x="689" y="1007"/>
                  </a:lnTo>
                  <a:lnTo>
                    <a:pt x="690" y="1007"/>
                  </a:lnTo>
                  <a:lnTo>
                    <a:pt x="690" y="1006"/>
                  </a:lnTo>
                  <a:lnTo>
                    <a:pt x="692" y="1006"/>
                  </a:lnTo>
                  <a:lnTo>
                    <a:pt x="693" y="1006"/>
                  </a:lnTo>
                  <a:lnTo>
                    <a:pt x="694" y="1006"/>
                  </a:lnTo>
                  <a:lnTo>
                    <a:pt x="695" y="1006"/>
                  </a:lnTo>
                  <a:lnTo>
                    <a:pt x="695" y="1005"/>
                  </a:lnTo>
                  <a:lnTo>
                    <a:pt x="696" y="1005"/>
                  </a:lnTo>
                  <a:lnTo>
                    <a:pt x="699" y="1004"/>
                  </a:lnTo>
                  <a:lnTo>
                    <a:pt x="699" y="1003"/>
                  </a:lnTo>
                  <a:lnTo>
                    <a:pt x="700" y="1003"/>
                  </a:lnTo>
                  <a:lnTo>
                    <a:pt x="701" y="1001"/>
                  </a:lnTo>
                  <a:lnTo>
                    <a:pt x="701" y="1000"/>
                  </a:lnTo>
                  <a:lnTo>
                    <a:pt x="704" y="1000"/>
                  </a:lnTo>
                  <a:lnTo>
                    <a:pt x="704" y="999"/>
                  </a:lnTo>
                  <a:lnTo>
                    <a:pt x="706" y="998"/>
                  </a:lnTo>
                  <a:lnTo>
                    <a:pt x="707" y="997"/>
                  </a:lnTo>
                  <a:lnTo>
                    <a:pt x="708" y="997"/>
                  </a:lnTo>
                  <a:lnTo>
                    <a:pt x="711" y="995"/>
                  </a:lnTo>
                  <a:lnTo>
                    <a:pt x="711" y="994"/>
                  </a:lnTo>
                  <a:lnTo>
                    <a:pt x="711" y="993"/>
                  </a:lnTo>
                  <a:lnTo>
                    <a:pt x="713" y="991"/>
                  </a:lnTo>
                  <a:lnTo>
                    <a:pt x="714" y="989"/>
                  </a:lnTo>
                  <a:lnTo>
                    <a:pt x="716" y="988"/>
                  </a:lnTo>
                  <a:lnTo>
                    <a:pt x="716" y="987"/>
                  </a:lnTo>
                  <a:lnTo>
                    <a:pt x="716" y="985"/>
                  </a:lnTo>
                  <a:lnTo>
                    <a:pt x="716" y="982"/>
                  </a:lnTo>
                  <a:lnTo>
                    <a:pt x="717" y="981"/>
                  </a:lnTo>
                  <a:lnTo>
                    <a:pt x="718" y="979"/>
                  </a:lnTo>
                  <a:lnTo>
                    <a:pt x="719" y="977"/>
                  </a:lnTo>
                  <a:lnTo>
                    <a:pt x="719" y="976"/>
                  </a:lnTo>
                  <a:lnTo>
                    <a:pt x="719" y="975"/>
                  </a:lnTo>
                  <a:lnTo>
                    <a:pt x="719" y="974"/>
                  </a:lnTo>
                  <a:lnTo>
                    <a:pt x="718" y="974"/>
                  </a:lnTo>
                  <a:lnTo>
                    <a:pt x="716" y="976"/>
                  </a:lnTo>
                  <a:lnTo>
                    <a:pt x="713" y="977"/>
                  </a:lnTo>
                  <a:lnTo>
                    <a:pt x="712" y="977"/>
                  </a:lnTo>
                  <a:lnTo>
                    <a:pt x="711" y="977"/>
                  </a:lnTo>
                  <a:lnTo>
                    <a:pt x="712" y="976"/>
                  </a:lnTo>
                  <a:lnTo>
                    <a:pt x="713" y="976"/>
                  </a:lnTo>
                  <a:lnTo>
                    <a:pt x="714" y="975"/>
                  </a:lnTo>
                  <a:lnTo>
                    <a:pt x="716" y="975"/>
                  </a:lnTo>
                  <a:lnTo>
                    <a:pt x="717" y="974"/>
                  </a:lnTo>
                  <a:lnTo>
                    <a:pt x="718" y="973"/>
                  </a:lnTo>
                  <a:lnTo>
                    <a:pt x="717" y="973"/>
                  </a:lnTo>
                  <a:lnTo>
                    <a:pt x="714" y="971"/>
                  </a:lnTo>
                  <a:lnTo>
                    <a:pt x="714" y="970"/>
                  </a:lnTo>
                  <a:lnTo>
                    <a:pt x="713" y="970"/>
                  </a:lnTo>
                  <a:lnTo>
                    <a:pt x="711" y="969"/>
                  </a:lnTo>
                  <a:lnTo>
                    <a:pt x="710" y="968"/>
                  </a:lnTo>
                  <a:lnTo>
                    <a:pt x="710" y="967"/>
                  </a:lnTo>
                  <a:lnTo>
                    <a:pt x="711" y="968"/>
                  </a:lnTo>
                  <a:lnTo>
                    <a:pt x="713" y="968"/>
                  </a:lnTo>
                  <a:lnTo>
                    <a:pt x="714" y="967"/>
                  </a:lnTo>
                  <a:lnTo>
                    <a:pt x="716" y="965"/>
                  </a:lnTo>
                  <a:lnTo>
                    <a:pt x="717" y="964"/>
                  </a:lnTo>
                  <a:lnTo>
                    <a:pt x="714" y="965"/>
                  </a:lnTo>
                  <a:lnTo>
                    <a:pt x="713" y="965"/>
                  </a:lnTo>
                  <a:lnTo>
                    <a:pt x="713" y="964"/>
                  </a:lnTo>
                  <a:lnTo>
                    <a:pt x="714" y="963"/>
                  </a:lnTo>
                  <a:lnTo>
                    <a:pt x="716" y="963"/>
                  </a:lnTo>
                  <a:lnTo>
                    <a:pt x="717" y="962"/>
                  </a:lnTo>
                  <a:lnTo>
                    <a:pt x="714" y="962"/>
                  </a:lnTo>
                  <a:lnTo>
                    <a:pt x="714" y="961"/>
                  </a:lnTo>
                  <a:lnTo>
                    <a:pt x="714" y="959"/>
                  </a:lnTo>
                  <a:lnTo>
                    <a:pt x="713" y="958"/>
                  </a:lnTo>
                  <a:lnTo>
                    <a:pt x="712" y="959"/>
                  </a:lnTo>
                  <a:lnTo>
                    <a:pt x="711" y="959"/>
                  </a:lnTo>
                  <a:lnTo>
                    <a:pt x="710" y="958"/>
                  </a:lnTo>
                  <a:lnTo>
                    <a:pt x="708" y="958"/>
                  </a:lnTo>
                  <a:lnTo>
                    <a:pt x="708" y="961"/>
                  </a:lnTo>
                  <a:lnTo>
                    <a:pt x="708" y="964"/>
                  </a:lnTo>
                  <a:lnTo>
                    <a:pt x="707" y="965"/>
                  </a:lnTo>
                  <a:lnTo>
                    <a:pt x="705" y="967"/>
                  </a:lnTo>
                  <a:lnTo>
                    <a:pt x="704" y="969"/>
                  </a:lnTo>
                  <a:lnTo>
                    <a:pt x="704" y="970"/>
                  </a:lnTo>
                  <a:lnTo>
                    <a:pt x="701" y="971"/>
                  </a:lnTo>
                  <a:lnTo>
                    <a:pt x="699" y="971"/>
                  </a:lnTo>
                  <a:lnTo>
                    <a:pt x="698" y="973"/>
                  </a:lnTo>
                  <a:lnTo>
                    <a:pt x="696" y="974"/>
                  </a:lnTo>
                  <a:lnTo>
                    <a:pt x="695" y="974"/>
                  </a:lnTo>
                  <a:lnTo>
                    <a:pt x="693" y="975"/>
                  </a:lnTo>
                  <a:lnTo>
                    <a:pt x="690" y="976"/>
                  </a:lnTo>
                  <a:lnTo>
                    <a:pt x="689" y="976"/>
                  </a:lnTo>
                  <a:lnTo>
                    <a:pt x="685" y="977"/>
                  </a:lnTo>
                  <a:lnTo>
                    <a:pt x="684" y="977"/>
                  </a:lnTo>
                  <a:lnTo>
                    <a:pt x="682" y="979"/>
                  </a:lnTo>
                  <a:lnTo>
                    <a:pt x="681" y="977"/>
                  </a:lnTo>
                  <a:lnTo>
                    <a:pt x="682" y="977"/>
                  </a:lnTo>
                  <a:lnTo>
                    <a:pt x="683" y="975"/>
                  </a:lnTo>
                  <a:lnTo>
                    <a:pt x="683" y="974"/>
                  </a:lnTo>
                  <a:lnTo>
                    <a:pt x="682" y="973"/>
                  </a:lnTo>
                  <a:lnTo>
                    <a:pt x="682" y="971"/>
                  </a:lnTo>
                  <a:lnTo>
                    <a:pt x="681" y="970"/>
                  </a:lnTo>
                  <a:lnTo>
                    <a:pt x="679" y="969"/>
                  </a:lnTo>
                  <a:lnTo>
                    <a:pt x="681" y="969"/>
                  </a:lnTo>
                  <a:lnTo>
                    <a:pt x="682" y="969"/>
                  </a:lnTo>
                  <a:lnTo>
                    <a:pt x="682" y="968"/>
                  </a:lnTo>
                  <a:lnTo>
                    <a:pt x="683" y="968"/>
                  </a:lnTo>
                  <a:lnTo>
                    <a:pt x="684" y="968"/>
                  </a:lnTo>
                  <a:lnTo>
                    <a:pt x="684" y="967"/>
                  </a:lnTo>
                  <a:lnTo>
                    <a:pt x="682" y="965"/>
                  </a:lnTo>
                  <a:lnTo>
                    <a:pt x="683" y="964"/>
                  </a:lnTo>
                  <a:lnTo>
                    <a:pt x="683" y="962"/>
                  </a:lnTo>
                  <a:lnTo>
                    <a:pt x="683" y="961"/>
                  </a:lnTo>
                  <a:lnTo>
                    <a:pt x="682" y="962"/>
                  </a:lnTo>
                  <a:lnTo>
                    <a:pt x="681" y="962"/>
                  </a:lnTo>
                  <a:lnTo>
                    <a:pt x="679" y="962"/>
                  </a:lnTo>
                  <a:lnTo>
                    <a:pt x="678" y="962"/>
                  </a:lnTo>
                  <a:lnTo>
                    <a:pt x="677" y="962"/>
                  </a:lnTo>
                  <a:lnTo>
                    <a:pt x="675" y="963"/>
                  </a:lnTo>
                  <a:lnTo>
                    <a:pt x="673" y="963"/>
                  </a:lnTo>
                  <a:lnTo>
                    <a:pt x="672" y="963"/>
                  </a:lnTo>
                  <a:lnTo>
                    <a:pt x="673" y="962"/>
                  </a:lnTo>
                  <a:lnTo>
                    <a:pt x="675" y="962"/>
                  </a:lnTo>
                  <a:lnTo>
                    <a:pt x="675" y="961"/>
                  </a:lnTo>
                  <a:lnTo>
                    <a:pt x="675" y="959"/>
                  </a:lnTo>
                  <a:lnTo>
                    <a:pt x="673" y="958"/>
                  </a:lnTo>
                  <a:lnTo>
                    <a:pt x="673" y="956"/>
                  </a:lnTo>
                  <a:lnTo>
                    <a:pt x="672" y="953"/>
                  </a:lnTo>
                  <a:lnTo>
                    <a:pt x="671" y="952"/>
                  </a:lnTo>
                  <a:lnTo>
                    <a:pt x="670" y="952"/>
                  </a:lnTo>
                  <a:lnTo>
                    <a:pt x="670" y="951"/>
                  </a:lnTo>
                  <a:lnTo>
                    <a:pt x="669" y="952"/>
                  </a:lnTo>
                  <a:lnTo>
                    <a:pt x="669" y="953"/>
                  </a:lnTo>
                  <a:lnTo>
                    <a:pt x="669" y="955"/>
                  </a:lnTo>
                  <a:lnTo>
                    <a:pt x="667" y="956"/>
                  </a:lnTo>
                  <a:lnTo>
                    <a:pt x="667" y="957"/>
                  </a:lnTo>
                  <a:lnTo>
                    <a:pt x="666" y="958"/>
                  </a:lnTo>
                  <a:lnTo>
                    <a:pt x="665" y="958"/>
                  </a:lnTo>
                  <a:lnTo>
                    <a:pt x="665" y="957"/>
                  </a:lnTo>
                  <a:lnTo>
                    <a:pt x="664" y="959"/>
                  </a:lnTo>
                  <a:lnTo>
                    <a:pt x="663" y="959"/>
                  </a:lnTo>
                  <a:lnTo>
                    <a:pt x="661" y="962"/>
                  </a:lnTo>
                  <a:lnTo>
                    <a:pt x="663" y="962"/>
                  </a:lnTo>
                  <a:lnTo>
                    <a:pt x="665" y="961"/>
                  </a:lnTo>
                  <a:lnTo>
                    <a:pt x="665" y="962"/>
                  </a:lnTo>
                  <a:lnTo>
                    <a:pt x="664" y="962"/>
                  </a:lnTo>
                  <a:lnTo>
                    <a:pt x="663" y="963"/>
                  </a:lnTo>
                  <a:lnTo>
                    <a:pt x="663" y="965"/>
                  </a:lnTo>
                  <a:lnTo>
                    <a:pt x="664" y="965"/>
                  </a:lnTo>
                  <a:lnTo>
                    <a:pt x="664" y="967"/>
                  </a:lnTo>
                  <a:lnTo>
                    <a:pt x="663" y="967"/>
                  </a:lnTo>
                  <a:lnTo>
                    <a:pt x="663" y="969"/>
                  </a:lnTo>
                  <a:lnTo>
                    <a:pt x="661" y="970"/>
                  </a:lnTo>
                  <a:lnTo>
                    <a:pt x="659" y="970"/>
                  </a:lnTo>
                  <a:lnTo>
                    <a:pt x="659" y="971"/>
                  </a:lnTo>
                  <a:lnTo>
                    <a:pt x="660" y="971"/>
                  </a:lnTo>
                  <a:lnTo>
                    <a:pt x="661" y="973"/>
                  </a:lnTo>
                  <a:lnTo>
                    <a:pt x="663" y="973"/>
                  </a:lnTo>
                  <a:lnTo>
                    <a:pt x="663" y="974"/>
                  </a:lnTo>
                  <a:lnTo>
                    <a:pt x="663" y="975"/>
                  </a:lnTo>
                  <a:lnTo>
                    <a:pt x="661" y="975"/>
                  </a:lnTo>
                  <a:lnTo>
                    <a:pt x="660" y="974"/>
                  </a:lnTo>
                  <a:lnTo>
                    <a:pt x="660" y="976"/>
                  </a:lnTo>
                  <a:lnTo>
                    <a:pt x="659" y="976"/>
                  </a:lnTo>
                  <a:lnTo>
                    <a:pt x="655" y="977"/>
                  </a:lnTo>
                  <a:lnTo>
                    <a:pt x="654" y="979"/>
                  </a:lnTo>
                  <a:lnTo>
                    <a:pt x="651" y="979"/>
                  </a:lnTo>
                  <a:lnTo>
                    <a:pt x="649" y="979"/>
                  </a:lnTo>
                  <a:lnTo>
                    <a:pt x="646" y="980"/>
                  </a:lnTo>
                  <a:lnTo>
                    <a:pt x="642" y="980"/>
                  </a:lnTo>
                  <a:lnTo>
                    <a:pt x="639" y="979"/>
                  </a:lnTo>
                  <a:lnTo>
                    <a:pt x="636" y="979"/>
                  </a:lnTo>
                  <a:lnTo>
                    <a:pt x="634" y="977"/>
                  </a:lnTo>
                  <a:lnTo>
                    <a:pt x="631" y="977"/>
                  </a:lnTo>
                  <a:lnTo>
                    <a:pt x="628" y="976"/>
                  </a:lnTo>
                  <a:lnTo>
                    <a:pt x="626" y="975"/>
                  </a:lnTo>
                  <a:lnTo>
                    <a:pt x="625" y="973"/>
                  </a:lnTo>
                  <a:lnTo>
                    <a:pt x="625" y="971"/>
                  </a:lnTo>
                  <a:lnTo>
                    <a:pt x="628" y="973"/>
                  </a:lnTo>
                  <a:lnTo>
                    <a:pt x="628" y="971"/>
                  </a:lnTo>
                  <a:lnTo>
                    <a:pt x="629" y="969"/>
                  </a:lnTo>
                  <a:lnTo>
                    <a:pt x="630" y="971"/>
                  </a:lnTo>
                  <a:lnTo>
                    <a:pt x="631" y="973"/>
                  </a:lnTo>
                  <a:lnTo>
                    <a:pt x="633" y="975"/>
                  </a:lnTo>
                  <a:lnTo>
                    <a:pt x="634" y="976"/>
                  </a:lnTo>
                  <a:lnTo>
                    <a:pt x="635" y="976"/>
                  </a:lnTo>
                  <a:lnTo>
                    <a:pt x="635" y="975"/>
                  </a:lnTo>
                  <a:lnTo>
                    <a:pt x="633" y="971"/>
                  </a:lnTo>
                  <a:lnTo>
                    <a:pt x="631" y="969"/>
                  </a:lnTo>
                  <a:lnTo>
                    <a:pt x="630" y="968"/>
                  </a:lnTo>
                  <a:lnTo>
                    <a:pt x="630" y="965"/>
                  </a:lnTo>
                  <a:lnTo>
                    <a:pt x="630" y="964"/>
                  </a:lnTo>
                  <a:lnTo>
                    <a:pt x="631" y="967"/>
                  </a:lnTo>
                  <a:lnTo>
                    <a:pt x="631" y="968"/>
                  </a:lnTo>
                  <a:lnTo>
                    <a:pt x="633" y="968"/>
                  </a:lnTo>
                  <a:lnTo>
                    <a:pt x="633" y="965"/>
                  </a:lnTo>
                  <a:lnTo>
                    <a:pt x="634" y="965"/>
                  </a:lnTo>
                  <a:lnTo>
                    <a:pt x="635" y="965"/>
                  </a:lnTo>
                  <a:lnTo>
                    <a:pt x="636" y="968"/>
                  </a:lnTo>
                  <a:lnTo>
                    <a:pt x="636" y="967"/>
                  </a:lnTo>
                  <a:lnTo>
                    <a:pt x="637" y="965"/>
                  </a:lnTo>
                  <a:lnTo>
                    <a:pt x="637" y="964"/>
                  </a:lnTo>
                  <a:lnTo>
                    <a:pt x="636" y="962"/>
                  </a:lnTo>
                  <a:lnTo>
                    <a:pt x="634" y="959"/>
                  </a:lnTo>
                  <a:lnTo>
                    <a:pt x="633" y="958"/>
                  </a:lnTo>
                  <a:lnTo>
                    <a:pt x="634" y="956"/>
                  </a:lnTo>
                  <a:lnTo>
                    <a:pt x="635" y="957"/>
                  </a:lnTo>
                  <a:lnTo>
                    <a:pt x="635" y="958"/>
                  </a:lnTo>
                  <a:lnTo>
                    <a:pt x="636" y="959"/>
                  </a:lnTo>
                  <a:lnTo>
                    <a:pt x="637" y="959"/>
                  </a:lnTo>
                  <a:lnTo>
                    <a:pt x="639" y="959"/>
                  </a:lnTo>
                  <a:lnTo>
                    <a:pt x="639" y="958"/>
                  </a:lnTo>
                  <a:lnTo>
                    <a:pt x="640" y="958"/>
                  </a:lnTo>
                  <a:lnTo>
                    <a:pt x="641" y="959"/>
                  </a:lnTo>
                  <a:lnTo>
                    <a:pt x="642" y="961"/>
                  </a:lnTo>
                  <a:lnTo>
                    <a:pt x="643" y="959"/>
                  </a:lnTo>
                  <a:lnTo>
                    <a:pt x="643" y="958"/>
                  </a:lnTo>
                  <a:lnTo>
                    <a:pt x="645" y="957"/>
                  </a:lnTo>
                  <a:lnTo>
                    <a:pt x="645" y="956"/>
                  </a:lnTo>
                  <a:lnTo>
                    <a:pt x="645" y="955"/>
                  </a:lnTo>
                  <a:lnTo>
                    <a:pt x="643" y="952"/>
                  </a:lnTo>
                  <a:lnTo>
                    <a:pt x="642" y="951"/>
                  </a:lnTo>
                  <a:lnTo>
                    <a:pt x="642" y="950"/>
                  </a:lnTo>
                  <a:lnTo>
                    <a:pt x="642" y="949"/>
                  </a:lnTo>
                  <a:lnTo>
                    <a:pt x="643" y="949"/>
                  </a:lnTo>
                  <a:lnTo>
                    <a:pt x="645" y="950"/>
                  </a:lnTo>
                  <a:lnTo>
                    <a:pt x="647" y="949"/>
                  </a:lnTo>
                  <a:lnTo>
                    <a:pt x="649" y="950"/>
                  </a:lnTo>
                  <a:lnTo>
                    <a:pt x="651" y="951"/>
                  </a:lnTo>
                  <a:lnTo>
                    <a:pt x="652" y="951"/>
                  </a:lnTo>
                  <a:lnTo>
                    <a:pt x="652" y="950"/>
                  </a:lnTo>
                  <a:lnTo>
                    <a:pt x="653" y="949"/>
                  </a:lnTo>
                  <a:lnTo>
                    <a:pt x="654" y="949"/>
                  </a:lnTo>
                  <a:lnTo>
                    <a:pt x="654" y="947"/>
                  </a:lnTo>
                  <a:lnTo>
                    <a:pt x="652" y="946"/>
                  </a:lnTo>
                  <a:lnTo>
                    <a:pt x="649" y="946"/>
                  </a:lnTo>
                  <a:lnTo>
                    <a:pt x="648" y="946"/>
                  </a:lnTo>
                  <a:lnTo>
                    <a:pt x="646" y="944"/>
                  </a:lnTo>
                  <a:lnTo>
                    <a:pt x="645" y="941"/>
                  </a:lnTo>
                  <a:lnTo>
                    <a:pt x="643" y="940"/>
                  </a:lnTo>
                  <a:lnTo>
                    <a:pt x="643" y="939"/>
                  </a:lnTo>
                  <a:lnTo>
                    <a:pt x="645" y="939"/>
                  </a:lnTo>
                  <a:lnTo>
                    <a:pt x="646" y="940"/>
                  </a:lnTo>
                  <a:lnTo>
                    <a:pt x="647" y="941"/>
                  </a:lnTo>
                  <a:lnTo>
                    <a:pt x="649" y="943"/>
                  </a:lnTo>
                  <a:lnTo>
                    <a:pt x="651" y="944"/>
                  </a:lnTo>
                  <a:lnTo>
                    <a:pt x="652" y="944"/>
                  </a:lnTo>
                  <a:lnTo>
                    <a:pt x="653" y="943"/>
                  </a:lnTo>
                  <a:lnTo>
                    <a:pt x="652" y="941"/>
                  </a:lnTo>
                  <a:lnTo>
                    <a:pt x="649" y="940"/>
                  </a:lnTo>
                  <a:lnTo>
                    <a:pt x="647" y="939"/>
                  </a:lnTo>
                  <a:lnTo>
                    <a:pt x="646" y="938"/>
                  </a:lnTo>
                  <a:lnTo>
                    <a:pt x="643" y="937"/>
                  </a:lnTo>
                  <a:lnTo>
                    <a:pt x="642" y="935"/>
                  </a:lnTo>
                  <a:lnTo>
                    <a:pt x="641" y="934"/>
                  </a:lnTo>
                  <a:lnTo>
                    <a:pt x="641" y="933"/>
                  </a:lnTo>
                  <a:lnTo>
                    <a:pt x="642" y="934"/>
                  </a:lnTo>
                  <a:lnTo>
                    <a:pt x="643" y="935"/>
                  </a:lnTo>
                  <a:lnTo>
                    <a:pt x="645" y="937"/>
                  </a:lnTo>
                  <a:lnTo>
                    <a:pt x="646" y="937"/>
                  </a:lnTo>
                  <a:lnTo>
                    <a:pt x="647" y="937"/>
                  </a:lnTo>
                  <a:lnTo>
                    <a:pt x="649" y="935"/>
                  </a:lnTo>
                  <a:lnTo>
                    <a:pt x="651" y="935"/>
                  </a:lnTo>
                  <a:lnTo>
                    <a:pt x="652" y="935"/>
                  </a:lnTo>
                  <a:lnTo>
                    <a:pt x="651" y="934"/>
                  </a:lnTo>
                  <a:lnTo>
                    <a:pt x="649" y="933"/>
                  </a:lnTo>
                  <a:lnTo>
                    <a:pt x="651" y="931"/>
                  </a:lnTo>
                  <a:lnTo>
                    <a:pt x="653" y="932"/>
                  </a:lnTo>
                  <a:lnTo>
                    <a:pt x="651" y="929"/>
                  </a:lnTo>
                  <a:lnTo>
                    <a:pt x="651" y="928"/>
                  </a:lnTo>
                  <a:lnTo>
                    <a:pt x="653" y="927"/>
                  </a:lnTo>
                  <a:lnTo>
                    <a:pt x="654" y="926"/>
                  </a:lnTo>
                  <a:lnTo>
                    <a:pt x="653" y="923"/>
                  </a:lnTo>
                  <a:lnTo>
                    <a:pt x="651" y="925"/>
                  </a:lnTo>
                  <a:lnTo>
                    <a:pt x="649" y="925"/>
                  </a:lnTo>
                  <a:lnTo>
                    <a:pt x="646" y="923"/>
                  </a:lnTo>
                  <a:lnTo>
                    <a:pt x="642" y="919"/>
                  </a:lnTo>
                  <a:lnTo>
                    <a:pt x="639" y="916"/>
                  </a:lnTo>
                  <a:lnTo>
                    <a:pt x="637" y="915"/>
                  </a:lnTo>
                  <a:lnTo>
                    <a:pt x="639" y="909"/>
                  </a:lnTo>
                  <a:lnTo>
                    <a:pt x="639" y="905"/>
                  </a:lnTo>
                  <a:lnTo>
                    <a:pt x="640" y="906"/>
                  </a:lnTo>
                  <a:lnTo>
                    <a:pt x="641" y="910"/>
                  </a:lnTo>
                  <a:lnTo>
                    <a:pt x="641" y="915"/>
                  </a:lnTo>
                  <a:lnTo>
                    <a:pt x="642" y="914"/>
                  </a:lnTo>
                  <a:lnTo>
                    <a:pt x="642" y="912"/>
                  </a:lnTo>
                  <a:lnTo>
                    <a:pt x="643" y="914"/>
                  </a:lnTo>
                  <a:lnTo>
                    <a:pt x="645" y="911"/>
                  </a:lnTo>
                  <a:lnTo>
                    <a:pt x="643" y="908"/>
                  </a:lnTo>
                  <a:lnTo>
                    <a:pt x="645" y="908"/>
                  </a:lnTo>
                  <a:lnTo>
                    <a:pt x="646" y="908"/>
                  </a:lnTo>
                  <a:lnTo>
                    <a:pt x="646" y="914"/>
                  </a:lnTo>
                  <a:lnTo>
                    <a:pt x="646" y="915"/>
                  </a:lnTo>
                  <a:lnTo>
                    <a:pt x="648" y="917"/>
                  </a:lnTo>
                  <a:lnTo>
                    <a:pt x="651" y="919"/>
                  </a:lnTo>
                  <a:lnTo>
                    <a:pt x="651" y="916"/>
                  </a:lnTo>
                  <a:lnTo>
                    <a:pt x="649" y="912"/>
                  </a:lnTo>
                  <a:lnTo>
                    <a:pt x="648" y="911"/>
                  </a:lnTo>
                  <a:lnTo>
                    <a:pt x="648" y="910"/>
                  </a:lnTo>
                  <a:lnTo>
                    <a:pt x="647" y="908"/>
                  </a:lnTo>
                  <a:lnTo>
                    <a:pt x="645" y="905"/>
                  </a:lnTo>
                  <a:lnTo>
                    <a:pt x="643" y="903"/>
                  </a:lnTo>
                  <a:lnTo>
                    <a:pt x="643" y="900"/>
                  </a:lnTo>
                  <a:lnTo>
                    <a:pt x="645" y="903"/>
                  </a:lnTo>
                  <a:lnTo>
                    <a:pt x="646" y="903"/>
                  </a:lnTo>
                  <a:lnTo>
                    <a:pt x="646" y="900"/>
                  </a:lnTo>
                  <a:lnTo>
                    <a:pt x="646" y="899"/>
                  </a:lnTo>
                  <a:lnTo>
                    <a:pt x="647" y="899"/>
                  </a:lnTo>
                  <a:lnTo>
                    <a:pt x="647" y="902"/>
                  </a:lnTo>
                  <a:lnTo>
                    <a:pt x="648" y="904"/>
                  </a:lnTo>
                  <a:lnTo>
                    <a:pt x="648" y="906"/>
                  </a:lnTo>
                  <a:lnTo>
                    <a:pt x="649" y="908"/>
                  </a:lnTo>
                  <a:lnTo>
                    <a:pt x="651" y="909"/>
                  </a:lnTo>
                  <a:lnTo>
                    <a:pt x="652" y="910"/>
                  </a:lnTo>
                  <a:lnTo>
                    <a:pt x="652" y="906"/>
                  </a:lnTo>
                  <a:lnTo>
                    <a:pt x="652" y="904"/>
                  </a:lnTo>
                  <a:lnTo>
                    <a:pt x="654" y="903"/>
                  </a:lnTo>
                  <a:lnTo>
                    <a:pt x="653" y="900"/>
                  </a:lnTo>
                  <a:lnTo>
                    <a:pt x="652" y="899"/>
                  </a:lnTo>
                  <a:lnTo>
                    <a:pt x="651" y="898"/>
                  </a:lnTo>
                  <a:lnTo>
                    <a:pt x="651" y="896"/>
                  </a:lnTo>
                  <a:lnTo>
                    <a:pt x="652" y="896"/>
                  </a:lnTo>
                  <a:lnTo>
                    <a:pt x="653" y="899"/>
                  </a:lnTo>
                  <a:lnTo>
                    <a:pt x="654" y="900"/>
                  </a:lnTo>
                  <a:lnTo>
                    <a:pt x="655" y="900"/>
                  </a:lnTo>
                  <a:lnTo>
                    <a:pt x="657" y="902"/>
                  </a:lnTo>
                  <a:lnTo>
                    <a:pt x="658" y="905"/>
                  </a:lnTo>
                  <a:lnTo>
                    <a:pt x="659" y="905"/>
                  </a:lnTo>
                  <a:lnTo>
                    <a:pt x="660" y="905"/>
                  </a:lnTo>
                  <a:lnTo>
                    <a:pt x="661" y="905"/>
                  </a:lnTo>
                  <a:lnTo>
                    <a:pt x="661" y="908"/>
                  </a:lnTo>
                  <a:lnTo>
                    <a:pt x="663" y="908"/>
                  </a:lnTo>
                  <a:lnTo>
                    <a:pt x="664" y="906"/>
                  </a:lnTo>
                  <a:lnTo>
                    <a:pt x="664" y="905"/>
                  </a:lnTo>
                  <a:lnTo>
                    <a:pt x="664" y="902"/>
                  </a:lnTo>
                  <a:lnTo>
                    <a:pt x="665" y="902"/>
                  </a:lnTo>
                  <a:lnTo>
                    <a:pt x="666" y="909"/>
                  </a:lnTo>
                  <a:lnTo>
                    <a:pt x="666" y="911"/>
                  </a:lnTo>
                  <a:lnTo>
                    <a:pt x="667" y="912"/>
                  </a:lnTo>
                  <a:lnTo>
                    <a:pt x="669" y="911"/>
                  </a:lnTo>
                  <a:lnTo>
                    <a:pt x="669" y="908"/>
                  </a:lnTo>
                  <a:lnTo>
                    <a:pt x="669" y="905"/>
                  </a:lnTo>
                  <a:lnTo>
                    <a:pt x="670" y="902"/>
                  </a:lnTo>
                  <a:lnTo>
                    <a:pt x="671" y="903"/>
                  </a:lnTo>
                  <a:lnTo>
                    <a:pt x="672" y="908"/>
                  </a:lnTo>
                  <a:lnTo>
                    <a:pt x="673" y="908"/>
                  </a:lnTo>
                  <a:lnTo>
                    <a:pt x="675" y="905"/>
                  </a:lnTo>
                  <a:lnTo>
                    <a:pt x="675" y="909"/>
                  </a:lnTo>
                  <a:lnTo>
                    <a:pt x="676" y="910"/>
                  </a:lnTo>
                  <a:lnTo>
                    <a:pt x="677" y="910"/>
                  </a:lnTo>
                  <a:lnTo>
                    <a:pt x="677" y="908"/>
                  </a:lnTo>
                  <a:lnTo>
                    <a:pt x="677" y="903"/>
                  </a:lnTo>
                  <a:lnTo>
                    <a:pt x="678" y="902"/>
                  </a:lnTo>
                  <a:lnTo>
                    <a:pt x="679" y="900"/>
                  </a:lnTo>
                  <a:lnTo>
                    <a:pt x="679" y="899"/>
                  </a:lnTo>
                  <a:lnTo>
                    <a:pt x="678" y="897"/>
                  </a:lnTo>
                  <a:lnTo>
                    <a:pt x="676" y="894"/>
                  </a:lnTo>
                  <a:lnTo>
                    <a:pt x="677" y="893"/>
                  </a:lnTo>
                  <a:lnTo>
                    <a:pt x="681" y="893"/>
                  </a:lnTo>
                  <a:lnTo>
                    <a:pt x="681" y="892"/>
                  </a:lnTo>
                  <a:lnTo>
                    <a:pt x="683" y="892"/>
                  </a:lnTo>
                  <a:lnTo>
                    <a:pt x="683" y="896"/>
                  </a:lnTo>
                  <a:lnTo>
                    <a:pt x="685" y="898"/>
                  </a:lnTo>
                  <a:lnTo>
                    <a:pt x="685" y="896"/>
                  </a:lnTo>
                  <a:lnTo>
                    <a:pt x="687" y="894"/>
                  </a:lnTo>
                  <a:lnTo>
                    <a:pt x="689" y="896"/>
                  </a:lnTo>
                  <a:lnTo>
                    <a:pt x="694" y="899"/>
                  </a:lnTo>
                  <a:lnTo>
                    <a:pt x="696" y="899"/>
                  </a:lnTo>
                  <a:lnTo>
                    <a:pt x="694" y="897"/>
                  </a:lnTo>
                  <a:lnTo>
                    <a:pt x="693" y="894"/>
                  </a:lnTo>
                  <a:lnTo>
                    <a:pt x="690" y="893"/>
                  </a:lnTo>
                  <a:lnTo>
                    <a:pt x="684" y="891"/>
                  </a:lnTo>
                  <a:lnTo>
                    <a:pt x="683" y="888"/>
                  </a:lnTo>
                  <a:lnTo>
                    <a:pt x="681" y="886"/>
                  </a:lnTo>
                  <a:lnTo>
                    <a:pt x="678" y="884"/>
                  </a:lnTo>
                  <a:lnTo>
                    <a:pt x="678" y="881"/>
                  </a:lnTo>
                  <a:lnTo>
                    <a:pt x="678" y="880"/>
                  </a:lnTo>
                  <a:lnTo>
                    <a:pt x="679" y="880"/>
                  </a:lnTo>
                  <a:lnTo>
                    <a:pt x="681" y="884"/>
                  </a:lnTo>
                  <a:lnTo>
                    <a:pt x="682" y="885"/>
                  </a:lnTo>
                  <a:lnTo>
                    <a:pt x="683" y="886"/>
                  </a:lnTo>
                  <a:lnTo>
                    <a:pt x="685" y="886"/>
                  </a:lnTo>
                  <a:lnTo>
                    <a:pt x="687" y="886"/>
                  </a:lnTo>
                  <a:lnTo>
                    <a:pt x="687" y="887"/>
                  </a:lnTo>
                  <a:lnTo>
                    <a:pt x="688" y="885"/>
                  </a:lnTo>
                  <a:lnTo>
                    <a:pt x="688" y="881"/>
                  </a:lnTo>
                  <a:lnTo>
                    <a:pt x="688" y="879"/>
                  </a:lnTo>
                  <a:lnTo>
                    <a:pt x="689" y="881"/>
                  </a:lnTo>
                  <a:lnTo>
                    <a:pt x="689" y="884"/>
                  </a:lnTo>
                  <a:lnTo>
                    <a:pt x="689" y="887"/>
                  </a:lnTo>
                  <a:lnTo>
                    <a:pt x="690" y="887"/>
                  </a:lnTo>
                  <a:lnTo>
                    <a:pt x="690" y="890"/>
                  </a:lnTo>
                  <a:lnTo>
                    <a:pt x="690" y="891"/>
                  </a:lnTo>
                  <a:lnTo>
                    <a:pt x="692" y="892"/>
                  </a:lnTo>
                  <a:lnTo>
                    <a:pt x="692" y="891"/>
                  </a:lnTo>
                  <a:lnTo>
                    <a:pt x="693" y="890"/>
                  </a:lnTo>
                  <a:lnTo>
                    <a:pt x="693" y="888"/>
                  </a:lnTo>
                  <a:lnTo>
                    <a:pt x="692" y="886"/>
                  </a:lnTo>
                  <a:lnTo>
                    <a:pt x="693" y="884"/>
                  </a:lnTo>
                  <a:lnTo>
                    <a:pt x="694" y="882"/>
                  </a:lnTo>
                  <a:lnTo>
                    <a:pt x="694" y="886"/>
                  </a:lnTo>
                  <a:lnTo>
                    <a:pt x="694" y="887"/>
                  </a:lnTo>
                  <a:lnTo>
                    <a:pt x="695" y="888"/>
                  </a:lnTo>
                  <a:lnTo>
                    <a:pt x="695" y="892"/>
                  </a:lnTo>
                  <a:lnTo>
                    <a:pt x="696" y="891"/>
                  </a:lnTo>
                  <a:lnTo>
                    <a:pt x="696" y="888"/>
                  </a:lnTo>
                  <a:lnTo>
                    <a:pt x="696" y="886"/>
                  </a:lnTo>
                  <a:lnTo>
                    <a:pt x="696" y="882"/>
                  </a:lnTo>
                  <a:lnTo>
                    <a:pt x="696" y="880"/>
                  </a:lnTo>
                  <a:lnTo>
                    <a:pt x="698" y="884"/>
                  </a:lnTo>
                  <a:lnTo>
                    <a:pt x="700" y="884"/>
                  </a:lnTo>
                  <a:lnTo>
                    <a:pt x="701" y="886"/>
                  </a:lnTo>
                  <a:lnTo>
                    <a:pt x="701" y="891"/>
                  </a:lnTo>
                  <a:lnTo>
                    <a:pt x="702" y="891"/>
                  </a:lnTo>
                  <a:lnTo>
                    <a:pt x="704" y="888"/>
                  </a:lnTo>
                  <a:lnTo>
                    <a:pt x="705" y="886"/>
                  </a:lnTo>
                  <a:lnTo>
                    <a:pt x="705" y="882"/>
                  </a:lnTo>
                  <a:lnTo>
                    <a:pt x="704" y="880"/>
                  </a:lnTo>
                  <a:lnTo>
                    <a:pt x="705" y="876"/>
                  </a:lnTo>
                  <a:lnTo>
                    <a:pt x="704" y="875"/>
                  </a:lnTo>
                  <a:lnTo>
                    <a:pt x="704" y="873"/>
                  </a:lnTo>
                  <a:lnTo>
                    <a:pt x="705" y="873"/>
                  </a:lnTo>
                  <a:lnTo>
                    <a:pt x="706" y="876"/>
                  </a:lnTo>
                  <a:lnTo>
                    <a:pt x="706" y="878"/>
                  </a:lnTo>
                  <a:lnTo>
                    <a:pt x="707" y="881"/>
                  </a:lnTo>
                  <a:lnTo>
                    <a:pt x="708" y="882"/>
                  </a:lnTo>
                  <a:lnTo>
                    <a:pt x="711" y="880"/>
                  </a:lnTo>
                  <a:lnTo>
                    <a:pt x="710" y="876"/>
                  </a:lnTo>
                  <a:lnTo>
                    <a:pt x="710" y="874"/>
                  </a:lnTo>
                  <a:lnTo>
                    <a:pt x="711" y="872"/>
                  </a:lnTo>
                  <a:lnTo>
                    <a:pt x="712" y="869"/>
                  </a:lnTo>
                  <a:lnTo>
                    <a:pt x="713" y="872"/>
                  </a:lnTo>
                  <a:lnTo>
                    <a:pt x="716" y="878"/>
                  </a:lnTo>
                  <a:lnTo>
                    <a:pt x="716" y="880"/>
                  </a:lnTo>
                  <a:lnTo>
                    <a:pt x="719" y="879"/>
                  </a:lnTo>
                  <a:lnTo>
                    <a:pt x="719" y="875"/>
                  </a:lnTo>
                  <a:lnTo>
                    <a:pt x="720" y="875"/>
                  </a:lnTo>
                  <a:lnTo>
                    <a:pt x="720" y="878"/>
                  </a:lnTo>
                  <a:lnTo>
                    <a:pt x="720" y="881"/>
                  </a:lnTo>
                  <a:lnTo>
                    <a:pt x="720" y="886"/>
                  </a:lnTo>
                  <a:lnTo>
                    <a:pt x="722" y="887"/>
                  </a:lnTo>
                  <a:lnTo>
                    <a:pt x="723" y="885"/>
                  </a:lnTo>
                  <a:lnTo>
                    <a:pt x="723" y="882"/>
                  </a:lnTo>
                  <a:lnTo>
                    <a:pt x="724" y="884"/>
                  </a:lnTo>
                  <a:lnTo>
                    <a:pt x="725" y="884"/>
                  </a:lnTo>
                  <a:lnTo>
                    <a:pt x="728" y="882"/>
                  </a:lnTo>
                  <a:lnTo>
                    <a:pt x="728" y="879"/>
                  </a:lnTo>
                  <a:lnTo>
                    <a:pt x="729" y="875"/>
                  </a:lnTo>
                  <a:lnTo>
                    <a:pt x="731" y="875"/>
                  </a:lnTo>
                  <a:lnTo>
                    <a:pt x="732" y="876"/>
                  </a:lnTo>
                  <a:lnTo>
                    <a:pt x="735" y="876"/>
                  </a:lnTo>
                  <a:lnTo>
                    <a:pt x="732" y="874"/>
                  </a:lnTo>
                  <a:lnTo>
                    <a:pt x="731" y="872"/>
                  </a:lnTo>
                  <a:lnTo>
                    <a:pt x="729" y="869"/>
                  </a:lnTo>
                  <a:lnTo>
                    <a:pt x="725" y="866"/>
                  </a:lnTo>
                  <a:lnTo>
                    <a:pt x="717" y="862"/>
                  </a:lnTo>
                  <a:lnTo>
                    <a:pt x="712" y="858"/>
                  </a:lnTo>
                  <a:lnTo>
                    <a:pt x="704" y="857"/>
                  </a:lnTo>
                  <a:lnTo>
                    <a:pt x="699" y="857"/>
                  </a:lnTo>
                  <a:lnTo>
                    <a:pt x="695" y="858"/>
                  </a:lnTo>
                  <a:lnTo>
                    <a:pt x="694" y="858"/>
                  </a:lnTo>
                  <a:lnTo>
                    <a:pt x="692" y="858"/>
                  </a:lnTo>
                  <a:lnTo>
                    <a:pt x="690" y="857"/>
                  </a:lnTo>
                  <a:lnTo>
                    <a:pt x="688" y="858"/>
                  </a:lnTo>
                  <a:lnTo>
                    <a:pt x="683" y="856"/>
                  </a:lnTo>
                  <a:lnTo>
                    <a:pt x="679" y="855"/>
                  </a:lnTo>
                  <a:lnTo>
                    <a:pt x="676" y="852"/>
                  </a:lnTo>
                  <a:lnTo>
                    <a:pt x="676" y="851"/>
                  </a:lnTo>
                  <a:lnTo>
                    <a:pt x="678" y="850"/>
                  </a:lnTo>
                  <a:lnTo>
                    <a:pt x="679" y="850"/>
                  </a:lnTo>
                  <a:lnTo>
                    <a:pt x="684" y="852"/>
                  </a:lnTo>
                  <a:lnTo>
                    <a:pt x="685" y="851"/>
                  </a:lnTo>
                  <a:lnTo>
                    <a:pt x="683" y="850"/>
                  </a:lnTo>
                  <a:lnTo>
                    <a:pt x="681" y="849"/>
                  </a:lnTo>
                  <a:lnTo>
                    <a:pt x="684" y="846"/>
                  </a:lnTo>
                  <a:lnTo>
                    <a:pt x="684" y="845"/>
                  </a:lnTo>
                  <a:lnTo>
                    <a:pt x="679" y="846"/>
                  </a:lnTo>
                  <a:lnTo>
                    <a:pt x="678" y="846"/>
                  </a:lnTo>
                  <a:lnTo>
                    <a:pt x="677" y="848"/>
                  </a:lnTo>
                  <a:lnTo>
                    <a:pt x="676" y="848"/>
                  </a:lnTo>
                  <a:lnTo>
                    <a:pt x="675" y="849"/>
                  </a:lnTo>
                  <a:lnTo>
                    <a:pt x="672" y="851"/>
                  </a:lnTo>
                  <a:lnTo>
                    <a:pt x="670" y="850"/>
                  </a:lnTo>
                  <a:lnTo>
                    <a:pt x="667" y="852"/>
                  </a:lnTo>
                  <a:lnTo>
                    <a:pt x="666" y="855"/>
                  </a:lnTo>
                  <a:lnTo>
                    <a:pt x="661" y="852"/>
                  </a:lnTo>
                  <a:lnTo>
                    <a:pt x="655" y="849"/>
                  </a:lnTo>
                  <a:lnTo>
                    <a:pt x="648" y="846"/>
                  </a:lnTo>
                  <a:lnTo>
                    <a:pt x="646" y="848"/>
                  </a:lnTo>
                  <a:lnTo>
                    <a:pt x="645" y="846"/>
                  </a:lnTo>
                  <a:lnTo>
                    <a:pt x="643" y="845"/>
                  </a:lnTo>
                  <a:lnTo>
                    <a:pt x="646" y="844"/>
                  </a:lnTo>
                  <a:lnTo>
                    <a:pt x="646" y="842"/>
                  </a:lnTo>
                  <a:lnTo>
                    <a:pt x="645" y="839"/>
                  </a:lnTo>
                  <a:lnTo>
                    <a:pt x="646" y="836"/>
                  </a:lnTo>
                  <a:lnTo>
                    <a:pt x="647" y="837"/>
                  </a:lnTo>
                  <a:lnTo>
                    <a:pt x="648" y="840"/>
                  </a:lnTo>
                  <a:lnTo>
                    <a:pt x="649" y="840"/>
                  </a:lnTo>
                  <a:lnTo>
                    <a:pt x="651" y="837"/>
                  </a:lnTo>
                  <a:lnTo>
                    <a:pt x="651" y="836"/>
                  </a:lnTo>
                  <a:lnTo>
                    <a:pt x="651" y="834"/>
                  </a:lnTo>
                  <a:lnTo>
                    <a:pt x="653" y="836"/>
                  </a:lnTo>
                  <a:lnTo>
                    <a:pt x="654" y="837"/>
                  </a:lnTo>
                  <a:lnTo>
                    <a:pt x="655" y="836"/>
                  </a:lnTo>
                  <a:lnTo>
                    <a:pt x="657" y="834"/>
                  </a:lnTo>
                  <a:lnTo>
                    <a:pt x="657" y="836"/>
                  </a:lnTo>
                  <a:lnTo>
                    <a:pt x="658" y="836"/>
                  </a:lnTo>
                  <a:lnTo>
                    <a:pt x="659" y="833"/>
                  </a:lnTo>
                  <a:lnTo>
                    <a:pt x="661" y="832"/>
                  </a:lnTo>
                  <a:lnTo>
                    <a:pt x="664" y="831"/>
                  </a:lnTo>
                  <a:lnTo>
                    <a:pt x="669" y="828"/>
                  </a:lnTo>
                  <a:lnTo>
                    <a:pt x="669" y="825"/>
                  </a:lnTo>
                  <a:lnTo>
                    <a:pt x="670" y="824"/>
                  </a:lnTo>
                  <a:lnTo>
                    <a:pt x="671" y="824"/>
                  </a:lnTo>
                  <a:lnTo>
                    <a:pt x="673" y="824"/>
                  </a:lnTo>
                  <a:lnTo>
                    <a:pt x="675" y="822"/>
                  </a:lnTo>
                  <a:lnTo>
                    <a:pt x="673" y="820"/>
                  </a:lnTo>
                  <a:lnTo>
                    <a:pt x="672" y="816"/>
                  </a:lnTo>
                  <a:lnTo>
                    <a:pt x="675" y="816"/>
                  </a:lnTo>
                  <a:lnTo>
                    <a:pt x="676" y="816"/>
                  </a:lnTo>
                  <a:lnTo>
                    <a:pt x="676" y="821"/>
                  </a:lnTo>
                  <a:lnTo>
                    <a:pt x="677" y="824"/>
                  </a:lnTo>
                  <a:lnTo>
                    <a:pt x="678" y="825"/>
                  </a:lnTo>
                  <a:lnTo>
                    <a:pt x="678" y="822"/>
                  </a:lnTo>
                  <a:lnTo>
                    <a:pt x="678" y="819"/>
                  </a:lnTo>
                  <a:lnTo>
                    <a:pt x="679" y="816"/>
                  </a:lnTo>
                  <a:lnTo>
                    <a:pt x="681" y="816"/>
                  </a:lnTo>
                  <a:lnTo>
                    <a:pt x="681" y="818"/>
                  </a:lnTo>
                  <a:lnTo>
                    <a:pt x="682" y="822"/>
                  </a:lnTo>
                  <a:lnTo>
                    <a:pt x="681" y="826"/>
                  </a:lnTo>
                  <a:lnTo>
                    <a:pt x="682" y="830"/>
                  </a:lnTo>
                  <a:lnTo>
                    <a:pt x="682" y="826"/>
                  </a:lnTo>
                  <a:lnTo>
                    <a:pt x="683" y="822"/>
                  </a:lnTo>
                  <a:lnTo>
                    <a:pt x="684" y="821"/>
                  </a:lnTo>
                  <a:lnTo>
                    <a:pt x="684" y="819"/>
                  </a:lnTo>
                  <a:lnTo>
                    <a:pt x="683" y="816"/>
                  </a:lnTo>
                  <a:lnTo>
                    <a:pt x="682" y="814"/>
                  </a:lnTo>
                  <a:lnTo>
                    <a:pt x="684" y="812"/>
                  </a:lnTo>
                  <a:lnTo>
                    <a:pt x="684" y="809"/>
                  </a:lnTo>
                  <a:lnTo>
                    <a:pt x="685" y="808"/>
                  </a:lnTo>
                  <a:lnTo>
                    <a:pt x="687" y="810"/>
                  </a:lnTo>
                  <a:lnTo>
                    <a:pt x="689" y="812"/>
                  </a:lnTo>
                  <a:lnTo>
                    <a:pt x="689" y="809"/>
                  </a:lnTo>
                  <a:lnTo>
                    <a:pt x="689" y="807"/>
                  </a:lnTo>
                  <a:lnTo>
                    <a:pt x="690" y="805"/>
                  </a:lnTo>
                  <a:lnTo>
                    <a:pt x="690" y="803"/>
                  </a:lnTo>
                  <a:lnTo>
                    <a:pt x="689" y="799"/>
                  </a:lnTo>
                  <a:lnTo>
                    <a:pt x="688" y="797"/>
                  </a:lnTo>
                  <a:lnTo>
                    <a:pt x="688" y="796"/>
                  </a:lnTo>
                  <a:lnTo>
                    <a:pt x="690" y="796"/>
                  </a:lnTo>
                  <a:lnTo>
                    <a:pt x="693" y="797"/>
                  </a:lnTo>
                  <a:lnTo>
                    <a:pt x="693" y="799"/>
                  </a:lnTo>
                  <a:lnTo>
                    <a:pt x="692" y="803"/>
                  </a:lnTo>
                  <a:lnTo>
                    <a:pt x="692" y="807"/>
                  </a:lnTo>
                  <a:lnTo>
                    <a:pt x="692" y="810"/>
                  </a:lnTo>
                  <a:lnTo>
                    <a:pt x="693" y="813"/>
                  </a:lnTo>
                  <a:lnTo>
                    <a:pt x="694" y="809"/>
                  </a:lnTo>
                  <a:lnTo>
                    <a:pt x="694" y="804"/>
                  </a:lnTo>
                  <a:lnTo>
                    <a:pt x="694" y="807"/>
                  </a:lnTo>
                  <a:lnTo>
                    <a:pt x="694" y="809"/>
                  </a:lnTo>
                  <a:lnTo>
                    <a:pt x="695" y="809"/>
                  </a:lnTo>
                  <a:lnTo>
                    <a:pt x="696" y="808"/>
                  </a:lnTo>
                  <a:lnTo>
                    <a:pt x="696" y="804"/>
                  </a:lnTo>
                  <a:lnTo>
                    <a:pt x="696" y="801"/>
                  </a:lnTo>
                  <a:lnTo>
                    <a:pt x="696" y="798"/>
                  </a:lnTo>
                  <a:lnTo>
                    <a:pt x="698" y="798"/>
                  </a:lnTo>
                  <a:lnTo>
                    <a:pt x="698" y="802"/>
                  </a:lnTo>
                  <a:lnTo>
                    <a:pt x="698" y="810"/>
                  </a:lnTo>
                  <a:lnTo>
                    <a:pt x="699" y="812"/>
                  </a:lnTo>
                  <a:lnTo>
                    <a:pt x="700" y="814"/>
                  </a:lnTo>
                  <a:lnTo>
                    <a:pt x="700" y="812"/>
                  </a:lnTo>
                  <a:lnTo>
                    <a:pt x="700" y="805"/>
                  </a:lnTo>
                  <a:lnTo>
                    <a:pt x="700" y="803"/>
                  </a:lnTo>
                  <a:lnTo>
                    <a:pt x="701" y="805"/>
                  </a:lnTo>
                  <a:lnTo>
                    <a:pt x="701" y="809"/>
                  </a:lnTo>
                  <a:lnTo>
                    <a:pt x="701" y="814"/>
                  </a:lnTo>
                  <a:lnTo>
                    <a:pt x="702" y="815"/>
                  </a:lnTo>
                  <a:lnTo>
                    <a:pt x="704" y="813"/>
                  </a:lnTo>
                  <a:lnTo>
                    <a:pt x="704" y="809"/>
                  </a:lnTo>
                  <a:lnTo>
                    <a:pt x="705" y="805"/>
                  </a:lnTo>
                  <a:lnTo>
                    <a:pt x="705" y="804"/>
                  </a:lnTo>
                  <a:lnTo>
                    <a:pt x="706" y="805"/>
                  </a:lnTo>
                  <a:lnTo>
                    <a:pt x="707" y="804"/>
                  </a:lnTo>
                  <a:lnTo>
                    <a:pt x="708" y="804"/>
                  </a:lnTo>
                  <a:lnTo>
                    <a:pt x="710" y="807"/>
                  </a:lnTo>
                  <a:lnTo>
                    <a:pt x="711" y="808"/>
                  </a:lnTo>
                  <a:lnTo>
                    <a:pt x="711" y="809"/>
                  </a:lnTo>
                  <a:lnTo>
                    <a:pt x="713" y="812"/>
                  </a:lnTo>
                  <a:lnTo>
                    <a:pt x="713" y="808"/>
                  </a:lnTo>
                  <a:lnTo>
                    <a:pt x="712" y="805"/>
                  </a:lnTo>
                  <a:lnTo>
                    <a:pt x="714" y="807"/>
                  </a:lnTo>
                  <a:lnTo>
                    <a:pt x="718" y="807"/>
                  </a:lnTo>
                  <a:lnTo>
                    <a:pt x="717" y="805"/>
                  </a:lnTo>
                  <a:lnTo>
                    <a:pt x="713" y="803"/>
                  </a:lnTo>
                  <a:lnTo>
                    <a:pt x="713" y="802"/>
                  </a:lnTo>
                  <a:lnTo>
                    <a:pt x="711" y="802"/>
                  </a:lnTo>
                  <a:lnTo>
                    <a:pt x="710" y="802"/>
                  </a:lnTo>
                  <a:lnTo>
                    <a:pt x="708" y="801"/>
                  </a:lnTo>
                  <a:lnTo>
                    <a:pt x="706" y="802"/>
                  </a:lnTo>
                  <a:lnTo>
                    <a:pt x="705" y="799"/>
                  </a:lnTo>
                  <a:lnTo>
                    <a:pt x="701" y="797"/>
                  </a:lnTo>
                  <a:lnTo>
                    <a:pt x="696" y="795"/>
                  </a:lnTo>
                  <a:lnTo>
                    <a:pt x="694" y="793"/>
                  </a:lnTo>
                  <a:lnTo>
                    <a:pt x="693" y="795"/>
                  </a:lnTo>
                  <a:lnTo>
                    <a:pt x="688" y="793"/>
                  </a:lnTo>
                  <a:lnTo>
                    <a:pt x="687" y="793"/>
                  </a:lnTo>
                  <a:lnTo>
                    <a:pt x="684" y="793"/>
                  </a:lnTo>
                  <a:lnTo>
                    <a:pt x="679" y="793"/>
                  </a:lnTo>
                  <a:lnTo>
                    <a:pt x="676" y="793"/>
                  </a:lnTo>
                  <a:lnTo>
                    <a:pt x="675" y="795"/>
                  </a:lnTo>
                  <a:lnTo>
                    <a:pt x="671" y="795"/>
                  </a:lnTo>
                  <a:lnTo>
                    <a:pt x="669" y="796"/>
                  </a:lnTo>
                  <a:lnTo>
                    <a:pt x="667" y="796"/>
                  </a:lnTo>
                  <a:lnTo>
                    <a:pt x="664" y="797"/>
                  </a:lnTo>
                  <a:lnTo>
                    <a:pt x="661" y="798"/>
                  </a:lnTo>
                  <a:lnTo>
                    <a:pt x="657" y="798"/>
                  </a:lnTo>
                  <a:lnTo>
                    <a:pt x="651" y="798"/>
                  </a:lnTo>
                  <a:lnTo>
                    <a:pt x="651" y="799"/>
                  </a:lnTo>
                  <a:lnTo>
                    <a:pt x="649" y="799"/>
                  </a:lnTo>
                  <a:lnTo>
                    <a:pt x="648" y="798"/>
                  </a:lnTo>
                  <a:lnTo>
                    <a:pt x="646" y="798"/>
                  </a:lnTo>
                  <a:lnTo>
                    <a:pt x="645" y="799"/>
                  </a:lnTo>
                  <a:lnTo>
                    <a:pt x="641" y="799"/>
                  </a:lnTo>
                  <a:lnTo>
                    <a:pt x="641" y="801"/>
                  </a:lnTo>
                  <a:lnTo>
                    <a:pt x="640" y="801"/>
                  </a:lnTo>
                  <a:lnTo>
                    <a:pt x="637" y="799"/>
                  </a:lnTo>
                  <a:lnTo>
                    <a:pt x="631" y="799"/>
                  </a:lnTo>
                  <a:lnTo>
                    <a:pt x="626" y="799"/>
                  </a:lnTo>
                  <a:lnTo>
                    <a:pt x="624" y="798"/>
                  </a:lnTo>
                  <a:lnTo>
                    <a:pt x="623" y="799"/>
                  </a:lnTo>
                  <a:lnTo>
                    <a:pt x="622" y="799"/>
                  </a:lnTo>
                  <a:lnTo>
                    <a:pt x="620" y="802"/>
                  </a:lnTo>
                  <a:lnTo>
                    <a:pt x="619" y="801"/>
                  </a:lnTo>
                  <a:lnTo>
                    <a:pt x="618" y="801"/>
                  </a:lnTo>
                  <a:lnTo>
                    <a:pt x="617" y="801"/>
                  </a:lnTo>
                  <a:lnTo>
                    <a:pt x="616" y="799"/>
                  </a:lnTo>
                  <a:lnTo>
                    <a:pt x="614" y="797"/>
                  </a:lnTo>
                  <a:lnTo>
                    <a:pt x="611" y="796"/>
                  </a:lnTo>
                  <a:lnTo>
                    <a:pt x="608" y="796"/>
                  </a:lnTo>
                  <a:lnTo>
                    <a:pt x="604" y="795"/>
                  </a:lnTo>
                  <a:lnTo>
                    <a:pt x="599" y="792"/>
                  </a:lnTo>
                  <a:lnTo>
                    <a:pt x="595" y="790"/>
                  </a:lnTo>
                  <a:lnTo>
                    <a:pt x="595" y="789"/>
                  </a:lnTo>
                  <a:lnTo>
                    <a:pt x="598" y="790"/>
                  </a:lnTo>
                  <a:lnTo>
                    <a:pt x="601" y="792"/>
                  </a:lnTo>
                  <a:lnTo>
                    <a:pt x="601" y="791"/>
                  </a:lnTo>
                  <a:lnTo>
                    <a:pt x="596" y="787"/>
                  </a:lnTo>
                  <a:lnTo>
                    <a:pt x="598" y="786"/>
                  </a:lnTo>
                  <a:lnTo>
                    <a:pt x="602" y="786"/>
                  </a:lnTo>
                  <a:lnTo>
                    <a:pt x="604" y="786"/>
                  </a:lnTo>
                  <a:lnTo>
                    <a:pt x="598" y="785"/>
                  </a:lnTo>
                  <a:lnTo>
                    <a:pt x="595" y="784"/>
                  </a:lnTo>
                  <a:lnTo>
                    <a:pt x="595" y="783"/>
                  </a:lnTo>
                  <a:lnTo>
                    <a:pt x="594" y="781"/>
                  </a:lnTo>
                  <a:lnTo>
                    <a:pt x="593" y="781"/>
                  </a:lnTo>
                  <a:lnTo>
                    <a:pt x="590" y="781"/>
                  </a:lnTo>
                  <a:lnTo>
                    <a:pt x="592" y="783"/>
                  </a:lnTo>
                  <a:lnTo>
                    <a:pt x="592" y="784"/>
                  </a:lnTo>
                  <a:lnTo>
                    <a:pt x="592" y="785"/>
                  </a:lnTo>
                  <a:lnTo>
                    <a:pt x="588" y="787"/>
                  </a:lnTo>
                  <a:lnTo>
                    <a:pt x="587" y="789"/>
                  </a:lnTo>
                  <a:lnTo>
                    <a:pt x="583" y="789"/>
                  </a:lnTo>
                  <a:lnTo>
                    <a:pt x="580" y="786"/>
                  </a:lnTo>
                  <a:lnTo>
                    <a:pt x="572" y="784"/>
                  </a:lnTo>
                  <a:lnTo>
                    <a:pt x="571" y="784"/>
                  </a:lnTo>
                  <a:lnTo>
                    <a:pt x="570" y="785"/>
                  </a:lnTo>
                  <a:lnTo>
                    <a:pt x="569" y="785"/>
                  </a:lnTo>
                  <a:lnTo>
                    <a:pt x="565" y="786"/>
                  </a:lnTo>
                  <a:lnTo>
                    <a:pt x="563" y="785"/>
                  </a:lnTo>
                  <a:lnTo>
                    <a:pt x="560" y="784"/>
                  </a:lnTo>
                  <a:lnTo>
                    <a:pt x="560" y="781"/>
                  </a:lnTo>
                  <a:lnTo>
                    <a:pt x="558" y="781"/>
                  </a:lnTo>
                  <a:lnTo>
                    <a:pt x="554" y="781"/>
                  </a:lnTo>
                  <a:lnTo>
                    <a:pt x="553" y="780"/>
                  </a:lnTo>
                  <a:lnTo>
                    <a:pt x="551" y="780"/>
                  </a:lnTo>
                  <a:lnTo>
                    <a:pt x="548" y="779"/>
                  </a:lnTo>
                  <a:lnTo>
                    <a:pt x="546" y="769"/>
                  </a:lnTo>
                  <a:lnTo>
                    <a:pt x="543" y="767"/>
                  </a:lnTo>
                  <a:lnTo>
                    <a:pt x="543" y="765"/>
                  </a:lnTo>
                  <a:lnTo>
                    <a:pt x="545" y="761"/>
                  </a:lnTo>
                  <a:lnTo>
                    <a:pt x="545" y="756"/>
                  </a:lnTo>
                  <a:lnTo>
                    <a:pt x="546" y="756"/>
                  </a:lnTo>
                  <a:lnTo>
                    <a:pt x="549" y="759"/>
                  </a:lnTo>
                  <a:lnTo>
                    <a:pt x="552" y="759"/>
                  </a:lnTo>
                  <a:lnTo>
                    <a:pt x="553" y="761"/>
                  </a:lnTo>
                  <a:lnTo>
                    <a:pt x="554" y="762"/>
                  </a:lnTo>
                  <a:lnTo>
                    <a:pt x="555" y="765"/>
                  </a:lnTo>
                  <a:lnTo>
                    <a:pt x="555" y="768"/>
                  </a:lnTo>
                  <a:lnTo>
                    <a:pt x="557" y="772"/>
                  </a:lnTo>
                  <a:lnTo>
                    <a:pt x="558" y="772"/>
                  </a:lnTo>
                  <a:lnTo>
                    <a:pt x="559" y="769"/>
                  </a:lnTo>
                  <a:lnTo>
                    <a:pt x="559" y="767"/>
                  </a:lnTo>
                  <a:lnTo>
                    <a:pt x="558" y="765"/>
                  </a:lnTo>
                  <a:lnTo>
                    <a:pt x="560" y="762"/>
                  </a:lnTo>
                  <a:lnTo>
                    <a:pt x="561" y="765"/>
                  </a:lnTo>
                  <a:lnTo>
                    <a:pt x="561" y="767"/>
                  </a:lnTo>
                  <a:lnTo>
                    <a:pt x="563" y="769"/>
                  </a:lnTo>
                  <a:lnTo>
                    <a:pt x="563" y="771"/>
                  </a:lnTo>
                  <a:lnTo>
                    <a:pt x="564" y="769"/>
                  </a:lnTo>
                  <a:lnTo>
                    <a:pt x="565" y="767"/>
                  </a:lnTo>
                  <a:lnTo>
                    <a:pt x="564" y="765"/>
                  </a:lnTo>
                  <a:lnTo>
                    <a:pt x="565" y="763"/>
                  </a:lnTo>
                  <a:lnTo>
                    <a:pt x="565" y="762"/>
                  </a:lnTo>
                  <a:lnTo>
                    <a:pt x="564" y="761"/>
                  </a:lnTo>
                  <a:lnTo>
                    <a:pt x="565" y="759"/>
                  </a:lnTo>
                  <a:lnTo>
                    <a:pt x="566" y="761"/>
                  </a:lnTo>
                  <a:lnTo>
                    <a:pt x="566" y="759"/>
                  </a:lnTo>
                  <a:lnTo>
                    <a:pt x="567" y="759"/>
                  </a:lnTo>
                  <a:lnTo>
                    <a:pt x="569" y="760"/>
                  </a:lnTo>
                  <a:lnTo>
                    <a:pt x="571" y="759"/>
                  </a:lnTo>
                  <a:lnTo>
                    <a:pt x="570" y="757"/>
                  </a:lnTo>
                  <a:lnTo>
                    <a:pt x="571" y="756"/>
                  </a:lnTo>
                  <a:lnTo>
                    <a:pt x="571" y="759"/>
                  </a:lnTo>
                  <a:lnTo>
                    <a:pt x="572" y="761"/>
                  </a:lnTo>
                  <a:lnTo>
                    <a:pt x="571" y="765"/>
                  </a:lnTo>
                  <a:lnTo>
                    <a:pt x="572" y="767"/>
                  </a:lnTo>
                  <a:lnTo>
                    <a:pt x="572" y="765"/>
                  </a:lnTo>
                  <a:lnTo>
                    <a:pt x="574" y="762"/>
                  </a:lnTo>
                  <a:lnTo>
                    <a:pt x="575" y="761"/>
                  </a:lnTo>
                  <a:lnTo>
                    <a:pt x="574" y="759"/>
                  </a:lnTo>
                  <a:lnTo>
                    <a:pt x="574" y="755"/>
                  </a:lnTo>
                  <a:lnTo>
                    <a:pt x="575" y="753"/>
                  </a:lnTo>
                  <a:lnTo>
                    <a:pt x="575" y="755"/>
                  </a:lnTo>
                  <a:lnTo>
                    <a:pt x="576" y="756"/>
                  </a:lnTo>
                  <a:lnTo>
                    <a:pt x="578" y="756"/>
                  </a:lnTo>
                  <a:lnTo>
                    <a:pt x="578" y="759"/>
                  </a:lnTo>
                  <a:lnTo>
                    <a:pt x="578" y="765"/>
                  </a:lnTo>
                  <a:lnTo>
                    <a:pt x="578" y="769"/>
                  </a:lnTo>
                  <a:lnTo>
                    <a:pt x="580" y="765"/>
                  </a:lnTo>
                  <a:lnTo>
                    <a:pt x="580" y="761"/>
                  </a:lnTo>
                  <a:lnTo>
                    <a:pt x="580" y="756"/>
                  </a:lnTo>
                  <a:lnTo>
                    <a:pt x="580" y="753"/>
                  </a:lnTo>
                  <a:lnTo>
                    <a:pt x="581" y="753"/>
                  </a:lnTo>
                  <a:lnTo>
                    <a:pt x="582" y="759"/>
                  </a:lnTo>
                  <a:lnTo>
                    <a:pt x="583" y="760"/>
                  </a:lnTo>
                  <a:lnTo>
                    <a:pt x="583" y="757"/>
                  </a:lnTo>
                  <a:lnTo>
                    <a:pt x="584" y="757"/>
                  </a:lnTo>
                  <a:lnTo>
                    <a:pt x="584" y="760"/>
                  </a:lnTo>
                  <a:lnTo>
                    <a:pt x="586" y="766"/>
                  </a:lnTo>
                  <a:lnTo>
                    <a:pt x="587" y="762"/>
                  </a:lnTo>
                  <a:lnTo>
                    <a:pt x="587" y="760"/>
                  </a:lnTo>
                  <a:lnTo>
                    <a:pt x="587" y="756"/>
                  </a:lnTo>
                  <a:lnTo>
                    <a:pt x="587" y="747"/>
                  </a:lnTo>
                  <a:lnTo>
                    <a:pt x="588" y="747"/>
                  </a:lnTo>
                  <a:lnTo>
                    <a:pt x="590" y="750"/>
                  </a:lnTo>
                  <a:lnTo>
                    <a:pt x="590" y="754"/>
                  </a:lnTo>
                  <a:lnTo>
                    <a:pt x="589" y="757"/>
                  </a:lnTo>
                  <a:lnTo>
                    <a:pt x="588" y="763"/>
                  </a:lnTo>
                  <a:lnTo>
                    <a:pt x="589" y="767"/>
                  </a:lnTo>
                  <a:lnTo>
                    <a:pt x="590" y="766"/>
                  </a:lnTo>
                  <a:lnTo>
                    <a:pt x="592" y="762"/>
                  </a:lnTo>
                  <a:lnTo>
                    <a:pt x="593" y="762"/>
                  </a:lnTo>
                  <a:lnTo>
                    <a:pt x="593" y="763"/>
                  </a:lnTo>
                  <a:lnTo>
                    <a:pt x="594" y="763"/>
                  </a:lnTo>
                  <a:lnTo>
                    <a:pt x="595" y="761"/>
                  </a:lnTo>
                  <a:lnTo>
                    <a:pt x="594" y="757"/>
                  </a:lnTo>
                  <a:lnTo>
                    <a:pt x="594" y="754"/>
                  </a:lnTo>
                  <a:lnTo>
                    <a:pt x="594" y="750"/>
                  </a:lnTo>
                  <a:lnTo>
                    <a:pt x="595" y="750"/>
                  </a:lnTo>
                  <a:lnTo>
                    <a:pt x="595" y="754"/>
                  </a:lnTo>
                  <a:lnTo>
                    <a:pt x="595" y="760"/>
                  </a:lnTo>
                  <a:lnTo>
                    <a:pt x="596" y="762"/>
                  </a:lnTo>
                  <a:lnTo>
                    <a:pt x="598" y="763"/>
                  </a:lnTo>
                  <a:lnTo>
                    <a:pt x="598" y="760"/>
                  </a:lnTo>
                  <a:lnTo>
                    <a:pt x="599" y="759"/>
                  </a:lnTo>
                  <a:lnTo>
                    <a:pt x="600" y="762"/>
                  </a:lnTo>
                  <a:lnTo>
                    <a:pt x="600" y="765"/>
                  </a:lnTo>
                  <a:lnTo>
                    <a:pt x="599" y="767"/>
                  </a:lnTo>
                  <a:lnTo>
                    <a:pt x="600" y="771"/>
                  </a:lnTo>
                  <a:lnTo>
                    <a:pt x="601" y="767"/>
                  </a:lnTo>
                  <a:lnTo>
                    <a:pt x="601" y="769"/>
                  </a:lnTo>
                  <a:lnTo>
                    <a:pt x="601" y="771"/>
                  </a:lnTo>
                  <a:lnTo>
                    <a:pt x="602" y="772"/>
                  </a:lnTo>
                  <a:lnTo>
                    <a:pt x="605" y="773"/>
                  </a:lnTo>
                  <a:lnTo>
                    <a:pt x="604" y="767"/>
                  </a:lnTo>
                  <a:lnTo>
                    <a:pt x="604" y="765"/>
                  </a:lnTo>
                  <a:lnTo>
                    <a:pt x="604" y="761"/>
                  </a:lnTo>
                  <a:lnTo>
                    <a:pt x="606" y="759"/>
                  </a:lnTo>
                  <a:lnTo>
                    <a:pt x="606" y="760"/>
                  </a:lnTo>
                  <a:lnTo>
                    <a:pt x="606" y="762"/>
                  </a:lnTo>
                  <a:lnTo>
                    <a:pt x="606" y="765"/>
                  </a:lnTo>
                  <a:lnTo>
                    <a:pt x="606" y="768"/>
                  </a:lnTo>
                  <a:lnTo>
                    <a:pt x="606" y="772"/>
                  </a:lnTo>
                  <a:lnTo>
                    <a:pt x="606" y="773"/>
                  </a:lnTo>
                  <a:lnTo>
                    <a:pt x="607" y="773"/>
                  </a:lnTo>
                  <a:lnTo>
                    <a:pt x="607" y="771"/>
                  </a:lnTo>
                  <a:lnTo>
                    <a:pt x="607" y="768"/>
                  </a:lnTo>
                  <a:lnTo>
                    <a:pt x="610" y="766"/>
                  </a:lnTo>
                  <a:lnTo>
                    <a:pt x="610" y="762"/>
                  </a:lnTo>
                  <a:lnTo>
                    <a:pt x="611" y="762"/>
                  </a:lnTo>
                  <a:lnTo>
                    <a:pt x="613" y="765"/>
                  </a:lnTo>
                  <a:lnTo>
                    <a:pt x="614" y="768"/>
                  </a:lnTo>
                  <a:lnTo>
                    <a:pt x="614" y="771"/>
                  </a:lnTo>
                  <a:lnTo>
                    <a:pt x="617" y="766"/>
                  </a:lnTo>
                  <a:lnTo>
                    <a:pt x="624" y="768"/>
                  </a:lnTo>
                  <a:lnTo>
                    <a:pt x="622" y="766"/>
                  </a:lnTo>
                  <a:lnTo>
                    <a:pt x="618" y="763"/>
                  </a:lnTo>
                  <a:lnTo>
                    <a:pt x="618" y="761"/>
                  </a:lnTo>
                  <a:lnTo>
                    <a:pt x="616" y="761"/>
                  </a:lnTo>
                  <a:lnTo>
                    <a:pt x="614" y="760"/>
                  </a:lnTo>
                  <a:lnTo>
                    <a:pt x="610" y="759"/>
                  </a:lnTo>
                  <a:lnTo>
                    <a:pt x="607" y="755"/>
                  </a:lnTo>
                  <a:lnTo>
                    <a:pt x="605" y="754"/>
                  </a:lnTo>
                  <a:lnTo>
                    <a:pt x="602" y="750"/>
                  </a:lnTo>
                  <a:lnTo>
                    <a:pt x="599" y="749"/>
                  </a:lnTo>
                  <a:lnTo>
                    <a:pt x="587" y="743"/>
                  </a:lnTo>
                  <a:lnTo>
                    <a:pt x="586" y="742"/>
                  </a:lnTo>
                  <a:lnTo>
                    <a:pt x="588" y="741"/>
                  </a:lnTo>
                  <a:lnTo>
                    <a:pt x="589" y="741"/>
                  </a:lnTo>
                  <a:lnTo>
                    <a:pt x="592" y="743"/>
                  </a:lnTo>
                  <a:lnTo>
                    <a:pt x="592" y="742"/>
                  </a:lnTo>
                  <a:lnTo>
                    <a:pt x="593" y="742"/>
                  </a:lnTo>
                  <a:lnTo>
                    <a:pt x="596" y="744"/>
                  </a:lnTo>
                  <a:lnTo>
                    <a:pt x="598" y="745"/>
                  </a:lnTo>
                  <a:lnTo>
                    <a:pt x="598" y="743"/>
                  </a:lnTo>
                  <a:lnTo>
                    <a:pt x="599" y="741"/>
                  </a:lnTo>
                  <a:lnTo>
                    <a:pt x="599" y="738"/>
                  </a:lnTo>
                  <a:lnTo>
                    <a:pt x="600" y="738"/>
                  </a:lnTo>
                  <a:lnTo>
                    <a:pt x="599" y="736"/>
                  </a:lnTo>
                  <a:lnTo>
                    <a:pt x="598" y="732"/>
                  </a:lnTo>
                  <a:lnTo>
                    <a:pt x="595" y="731"/>
                  </a:lnTo>
                  <a:lnTo>
                    <a:pt x="595" y="730"/>
                  </a:lnTo>
                  <a:lnTo>
                    <a:pt x="596" y="726"/>
                  </a:lnTo>
                  <a:lnTo>
                    <a:pt x="598" y="723"/>
                  </a:lnTo>
                  <a:lnTo>
                    <a:pt x="599" y="723"/>
                  </a:lnTo>
                  <a:lnTo>
                    <a:pt x="599" y="727"/>
                  </a:lnTo>
                  <a:lnTo>
                    <a:pt x="599" y="731"/>
                  </a:lnTo>
                  <a:lnTo>
                    <a:pt x="601" y="731"/>
                  </a:lnTo>
                  <a:lnTo>
                    <a:pt x="601" y="729"/>
                  </a:lnTo>
                  <a:lnTo>
                    <a:pt x="604" y="729"/>
                  </a:lnTo>
                  <a:lnTo>
                    <a:pt x="605" y="730"/>
                  </a:lnTo>
                  <a:lnTo>
                    <a:pt x="606" y="730"/>
                  </a:lnTo>
                  <a:lnTo>
                    <a:pt x="607" y="731"/>
                  </a:lnTo>
                  <a:lnTo>
                    <a:pt x="608" y="731"/>
                  </a:lnTo>
                  <a:lnTo>
                    <a:pt x="611" y="730"/>
                  </a:lnTo>
                  <a:lnTo>
                    <a:pt x="610" y="729"/>
                  </a:lnTo>
                  <a:lnTo>
                    <a:pt x="607" y="726"/>
                  </a:lnTo>
                  <a:lnTo>
                    <a:pt x="606" y="724"/>
                  </a:lnTo>
                  <a:lnTo>
                    <a:pt x="606" y="721"/>
                  </a:lnTo>
                  <a:lnTo>
                    <a:pt x="607" y="718"/>
                  </a:lnTo>
                  <a:lnTo>
                    <a:pt x="608" y="719"/>
                  </a:lnTo>
                  <a:lnTo>
                    <a:pt x="610" y="721"/>
                  </a:lnTo>
                  <a:lnTo>
                    <a:pt x="611" y="725"/>
                  </a:lnTo>
                  <a:lnTo>
                    <a:pt x="611" y="726"/>
                  </a:lnTo>
                  <a:lnTo>
                    <a:pt x="614" y="725"/>
                  </a:lnTo>
                  <a:lnTo>
                    <a:pt x="614" y="724"/>
                  </a:lnTo>
                  <a:lnTo>
                    <a:pt x="616" y="727"/>
                  </a:lnTo>
                  <a:lnTo>
                    <a:pt x="616" y="732"/>
                  </a:lnTo>
                  <a:lnTo>
                    <a:pt x="617" y="735"/>
                  </a:lnTo>
                  <a:lnTo>
                    <a:pt x="618" y="732"/>
                  </a:lnTo>
                  <a:lnTo>
                    <a:pt x="618" y="729"/>
                  </a:lnTo>
                  <a:lnTo>
                    <a:pt x="619" y="726"/>
                  </a:lnTo>
                  <a:lnTo>
                    <a:pt x="619" y="721"/>
                  </a:lnTo>
                  <a:lnTo>
                    <a:pt x="622" y="718"/>
                  </a:lnTo>
                  <a:lnTo>
                    <a:pt x="623" y="718"/>
                  </a:lnTo>
                  <a:lnTo>
                    <a:pt x="626" y="719"/>
                  </a:lnTo>
                  <a:lnTo>
                    <a:pt x="626" y="725"/>
                  </a:lnTo>
                  <a:lnTo>
                    <a:pt x="626" y="732"/>
                  </a:lnTo>
                  <a:lnTo>
                    <a:pt x="628" y="731"/>
                  </a:lnTo>
                  <a:lnTo>
                    <a:pt x="629" y="725"/>
                  </a:lnTo>
                  <a:lnTo>
                    <a:pt x="629" y="719"/>
                  </a:lnTo>
                  <a:lnTo>
                    <a:pt x="629" y="718"/>
                  </a:lnTo>
                  <a:lnTo>
                    <a:pt x="630" y="718"/>
                  </a:lnTo>
                  <a:lnTo>
                    <a:pt x="630" y="719"/>
                  </a:lnTo>
                  <a:lnTo>
                    <a:pt x="630" y="724"/>
                  </a:lnTo>
                  <a:lnTo>
                    <a:pt x="631" y="724"/>
                  </a:lnTo>
                  <a:lnTo>
                    <a:pt x="631" y="726"/>
                  </a:lnTo>
                  <a:lnTo>
                    <a:pt x="633" y="726"/>
                  </a:lnTo>
                  <a:lnTo>
                    <a:pt x="634" y="724"/>
                  </a:lnTo>
                  <a:lnTo>
                    <a:pt x="635" y="719"/>
                  </a:lnTo>
                  <a:lnTo>
                    <a:pt x="636" y="721"/>
                  </a:lnTo>
                  <a:lnTo>
                    <a:pt x="637" y="725"/>
                  </a:lnTo>
                  <a:lnTo>
                    <a:pt x="640" y="724"/>
                  </a:lnTo>
                  <a:lnTo>
                    <a:pt x="641" y="723"/>
                  </a:lnTo>
                  <a:lnTo>
                    <a:pt x="641" y="720"/>
                  </a:lnTo>
                  <a:lnTo>
                    <a:pt x="642" y="719"/>
                  </a:lnTo>
                  <a:lnTo>
                    <a:pt x="646" y="721"/>
                  </a:lnTo>
                  <a:lnTo>
                    <a:pt x="648" y="721"/>
                  </a:lnTo>
                  <a:lnTo>
                    <a:pt x="651" y="721"/>
                  </a:lnTo>
                  <a:lnTo>
                    <a:pt x="649" y="724"/>
                  </a:lnTo>
                  <a:lnTo>
                    <a:pt x="652" y="720"/>
                  </a:lnTo>
                  <a:lnTo>
                    <a:pt x="654" y="721"/>
                  </a:lnTo>
                  <a:lnTo>
                    <a:pt x="655" y="718"/>
                  </a:lnTo>
                  <a:lnTo>
                    <a:pt x="654" y="714"/>
                  </a:lnTo>
                  <a:lnTo>
                    <a:pt x="655" y="713"/>
                  </a:lnTo>
                  <a:lnTo>
                    <a:pt x="654" y="711"/>
                  </a:lnTo>
                  <a:lnTo>
                    <a:pt x="655" y="711"/>
                  </a:lnTo>
                  <a:lnTo>
                    <a:pt x="657" y="713"/>
                  </a:lnTo>
                  <a:lnTo>
                    <a:pt x="655" y="715"/>
                  </a:lnTo>
                  <a:lnTo>
                    <a:pt x="657" y="718"/>
                  </a:lnTo>
                  <a:lnTo>
                    <a:pt x="655" y="721"/>
                  </a:lnTo>
                  <a:lnTo>
                    <a:pt x="657" y="726"/>
                  </a:lnTo>
                  <a:lnTo>
                    <a:pt x="659" y="727"/>
                  </a:lnTo>
                  <a:lnTo>
                    <a:pt x="659" y="726"/>
                  </a:lnTo>
                  <a:lnTo>
                    <a:pt x="659" y="720"/>
                  </a:lnTo>
                  <a:lnTo>
                    <a:pt x="659" y="718"/>
                  </a:lnTo>
                  <a:lnTo>
                    <a:pt x="660" y="715"/>
                  </a:lnTo>
                  <a:lnTo>
                    <a:pt x="661" y="718"/>
                  </a:lnTo>
                  <a:lnTo>
                    <a:pt x="661" y="723"/>
                  </a:lnTo>
                  <a:lnTo>
                    <a:pt x="661" y="725"/>
                  </a:lnTo>
                  <a:lnTo>
                    <a:pt x="661" y="727"/>
                  </a:lnTo>
                  <a:lnTo>
                    <a:pt x="663" y="730"/>
                  </a:lnTo>
                  <a:lnTo>
                    <a:pt x="664" y="729"/>
                  </a:lnTo>
                  <a:lnTo>
                    <a:pt x="664" y="727"/>
                  </a:lnTo>
                  <a:lnTo>
                    <a:pt x="664" y="724"/>
                  </a:lnTo>
                  <a:lnTo>
                    <a:pt x="664" y="719"/>
                  </a:lnTo>
                  <a:lnTo>
                    <a:pt x="664" y="718"/>
                  </a:lnTo>
                  <a:lnTo>
                    <a:pt x="664" y="717"/>
                  </a:lnTo>
                  <a:lnTo>
                    <a:pt x="665" y="718"/>
                  </a:lnTo>
                  <a:lnTo>
                    <a:pt x="666" y="723"/>
                  </a:lnTo>
                  <a:lnTo>
                    <a:pt x="666" y="724"/>
                  </a:lnTo>
                  <a:lnTo>
                    <a:pt x="666" y="726"/>
                  </a:lnTo>
                  <a:lnTo>
                    <a:pt x="669" y="725"/>
                  </a:lnTo>
                  <a:lnTo>
                    <a:pt x="667" y="726"/>
                  </a:lnTo>
                  <a:lnTo>
                    <a:pt x="667" y="732"/>
                  </a:lnTo>
                  <a:lnTo>
                    <a:pt x="667" y="736"/>
                  </a:lnTo>
                  <a:lnTo>
                    <a:pt x="669" y="735"/>
                  </a:lnTo>
                  <a:lnTo>
                    <a:pt x="669" y="733"/>
                  </a:lnTo>
                  <a:lnTo>
                    <a:pt x="670" y="733"/>
                  </a:lnTo>
                  <a:lnTo>
                    <a:pt x="671" y="735"/>
                  </a:lnTo>
                  <a:lnTo>
                    <a:pt x="672" y="731"/>
                  </a:lnTo>
                  <a:lnTo>
                    <a:pt x="672" y="729"/>
                  </a:lnTo>
                  <a:lnTo>
                    <a:pt x="676" y="730"/>
                  </a:lnTo>
                  <a:lnTo>
                    <a:pt x="677" y="729"/>
                  </a:lnTo>
                  <a:lnTo>
                    <a:pt x="677" y="727"/>
                  </a:lnTo>
                  <a:lnTo>
                    <a:pt x="675" y="726"/>
                  </a:lnTo>
                  <a:lnTo>
                    <a:pt x="676" y="724"/>
                  </a:lnTo>
                  <a:lnTo>
                    <a:pt x="677" y="723"/>
                  </a:lnTo>
                  <a:lnTo>
                    <a:pt x="676" y="723"/>
                  </a:lnTo>
                  <a:lnTo>
                    <a:pt x="673" y="723"/>
                  </a:lnTo>
                  <a:lnTo>
                    <a:pt x="669" y="721"/>
                  </a:lnTo>
                  <a:lnTo>
                    <a:pt x="667" y="717"/>
                  </a:lnTo>
                  <a:lnTo>
                    <a:pt x="671" y="717"/>
                  </a:lnTo>
                  <a:lnTo>
                    <a:pt x="669" y="715"/>
                  </a:lnTo>
                  <a:lnTo>
                    <a:pt x="665" y="713"/>
                  </a:lnTo>
                  <a:lnTo>
                    <a:pt x="664" y="712"/>
                  </a:lnTo>
                  <a:lnTo>
                    <a:pt x="658" y="709"/>
                  </a:lnTo>
                  <a:lnTo>
                    <a:pt x="655" y="705"/>
                  </a:lnTo>
                  <a:lnTo>
                    <a:pt x="652" y="703"/>
                  </a:lnTo>
                  <a:lnTo>
                    <a:pt x="647" y="703"/>
                  </a:lnTo>
                  <a:lnTo>
                    <a:pt x="641" y="702"/>
                  </a:lnTo>
                  <a:lnTo>
                    <a:pt x="637" y="702"/>
                  </a:lnTo>
                  <a:lnTo>
                    <a:pt x="637" y="700"/>
                  </a:lnTo>
                  <a:lnTo>
                    <a:pt x="639" y="698"/>
                  </a:lnTo>
                  <a:lnTo>
                    <a:pt x="636" y="697"/>
                  </a:lnTo>
                  <a:lnTo>
                    <a:pt x="635" y="697"/>
                  </a:lnTo>
                  <a:lnTo>
                    <a:pt x="634" y="697"/>
                  </a:lnTo>
                  <a:lnTo>
                    <a:pt x="630" y="697"/>
                  </a:lnTo>
                  <a:lnTo>
                    <a:pt x="629" y="697"/>
                  </a:lnTo>
                  <a:lnTo>
                    <a:pt x="629" y="692"/>
                  </a:lnTo>
                  <a:lnTo>
                    <a:pt x="630" y="690"/>
                  </a:lnTo>
                  <a:lnTo>
                    <a:pt x="634" y="689"/>
                  </a:lnTo>
                  <a:lnTo>
                    <a:pt x="635" y="689"/>
                  </a:lnTo>
                  <a:lnTo>
                    <a:pt x="634" y="692"/>
                  </a:lnTo>
                  <a:lnTo>
                    <a:pt x="635" y="692"/>
                  </a:lnTo>
                  <a:lnTo>
                    <a:pt x="637" y="689"/>
                  </a:lnTo>
                  <a:lnTo>
                    <a:pt x="637" y="690"/>
                  </a:lnTo>
                  <a:lnTo>
                    <a:pt x="639" y="692"/>
                  </a:lnTo>
                  <a:lnTo>
                    <a:pt x="640" y="692"/>
                  </a:lnTo>
                  <a:lnTo>
                    <a:pt x="640" y="691"/>
                  </a:lnTo>
                  <a:lnTo>
                    <a:pt x="641" y="690"/>
                  </a:lnTo>
                  <a:lnTo>
                    <a:pt x="641" y="694"/>
                  </a:lnTo>
                  <a:lnTo>
                    <a:pt x="642" y="695"/>
                  </a:lnTo>
                  <a:lnTo>
                    <a:pt x="642" y="698"/>
                  </a:lnTo>
                  <a:lnTo>
                    <a:pt x="645" y="700"/>
                  </a:lnTo>
                  <a:lnTo>
                    <a:pt x="645" y="701"/>
                  </a:lnTo>
                  <a:lnTo>
                    <a:pt x="646" y="701"/>
                  </a:lnTo>
                  <a:lnTo>
                    <a:pt x="646" y="697"/>
                  </a:lnTo>
                  <a:lnTo>
                    <a:pt x="646" y="695"/>
                  </a:lnTo>
                  <a:lnTo>
                    <a:pt x="647" y="692"/>
                  </a:lnTo>
                  <a:lnTo>
                    <a:pt x="648" y="691"/>
                  </a:lnTo>
                  <a:lnTo>
                    <a:pt x="649" y="690"/>
                  </a:lnTo>
                  <a:lnTo>
                    <a:pt x="652" y="692"/>
                  </a:lnTo>
                  <a:lnTo>
                    <a:pt x="653" y="694"/>
                  </a:lnTo>
                  <a:lnTo>
                    <a:pt x="655" y="697"/>
                  </a:lnTo>
                  <a:lnTo>
                    <a:pt x="657" y="697"/>
                  </a:lnTo>
                  <a:lnTo>
                    <a:pt x="658" y="698"/>
                  </a:lnTo>
                  <a:lnTo>
                    <a:pt x="659" y="696"/>
                  </a:lnTo>
                  <a:lnTo>
                    <a:pt x="659" y="695"/>
                  </a:lnTo>
                  <a:lnTo>
                    <a:pt x="659" y="697"/>
                  </a:lnTo>
                  <a:lnTo>
                    <a:pt x="661" y="698"/>
                  </a:lnTo>
                  <a:lnTo>
                    <a:pt x="661" y="700"/>
                  </a:lnTo>
                  <a:lnTo>
                    <a:pt x="663" y="700"/>
                  </a:lnTo>
                  <a:lnTo>
                    <a:pt x="664" y="696"/>
                  </a:lnTo>
                  <a:lnTo>
                    <a:pt x="664" y="692"/>
                  </a:lnTo>
                  <a:lnTo>
                    <a:pt x="664" y="694"/>
                  </a:lnTo>
                  <a:lnTo>
                    <a:pt x="665" y="692"/>
                  </a:lnTo>
                  <a:lnTo>
                    <a:pt x="666" y="691"/>
                  </a:lnTo>
                  <a:lnTo>
                    <a:pt x="667" y="691"/>
                  </a:lnTo>
                  <a:lnTo>
                    <a:pt x="669" y="695"/>
                  </a:lnTo>
                  <a:lnTo>
                    <a:pt x="670" y="697"/>
                  </a:lnTo>
                  <a:lnTo>
                    <a:pt x="670" y="702"/>
                  </a:lnTo>
                  <a:lnTo>
                    <a:pt x="672" y="705"/>
                  </a:lnTo>
                  <a:lnTo>
                    <a:pt x="673" y="703"/>
                  </a:lnTo>
                  <a:lnTo>
                    <a:pt x="673" y="700"/>
                  </a:lnTo>
                  <a:lnTo>
                    <a:pt x="673" y="695"/>
                  </a:lnTo>
                  <a:lnTo>
                    <a:pt x="675" y="691"/>
                  </a:lnTo>
                  <a:lnTo>
                    <a:pt x="676" y="692"/>
                  </a:lnTo>
                  <a:lnTo>
                    <a:pt x="676" y="696"/>
                  </a:lnTo>
                  <a:lnTo>
                    <a:pt x="676" y="700"/>
                  </a:lnTo>
                  <a:lnTo>
                    <a:pt x="676" y="702"/>
                  </a:lnTo>
                  <a:lnTo>
                    <a:pt x="677" y="701"/>
                  </a:lnTo>
                  <a:lnTo>
                    <a:pt x="678" y="698"/>
                  </a:lnTo>
                  <a:lnTo>
                    <a:pt x="679" y="695"/>
                  </a:lnTo>
                  <a:lnTo>
                    <a:pt x="681" y="692"/>
                  </a:lnTo>
                  <a:lnTo>
                    <a:pt x="683" y="695"/>
                  </a:lnTo>
                  <a:lnTo>
                    <a:pt x="685" y="696"/>
                  </a:lnTo>
                  <a:lnTo>
                    <a:pt x="687" y="696"/>
                  </a:lnTo>
                  <a:lnTo>
                    <a:pt x="688" y="696"/>
                  </a:lnTo>
                  <a:lnTo>
                    <a:pt x="690" y="697"/>
                  </a:lnTo>
                  <a:lnTo>
                    <a:pt x="692" y="701"/>
                  </a:lnTo>
                  <a:lnTo>
                    <a:pt x="693" y="705"/>
                  </a:lnTo>
                  <a:lnTo>
                    <a:pt x="694" y="707"/>
                  </a:lnTo>
                  <a:lnTo>
                    <a:pt x="695" y="706"/>
                  </a:lnTo>
                  <a:lnTo>
                    <a:pt x="696" y="706"/>
                  </a:lnTo>
                  <a:lnTo>
                    <a:pt x="696" y="703"/>
                  </a:lnTo>
                  <a:lnTo>
                    <a:pt x="698" y="700"/>
                  </a:lnTo>
                  <a:lnTo>
                    <a:pt x="700" y="701"/>
                  </a:lnTo>
                  <a:lnTo>
                    <a:pt x="701" y="702"/>
                  </a:lnTo>
                  <a:lnTo>
                    <a:pt x="702" y="701"/>
                  </a:lnTo>
                  <a:lnTo>
                    <a:pt x="700" y="697"/>
                  </a:lnTo>
                  <a:lnTo>
                    <a:pt x="698" y="692"/>
                  </a:lnTo>
                  <a:lnTo>
                    <a:pt x="695" y="690"/>
                  </a:lnTo>
                  <a:lnTo>
                    <a:pt x="694" y="686"/>
                  </a:lnTo>
                  <a:lnTo>
                    <a:pt x="693" y="683"/>
                  </a:lnTo>
                  <a:lnTo>
                    <a:pt x="693" y="679"/>
                  </a:lnTo>
                  <a:lnTo>
                    <a:pt x="694" y="680"/>
                  </a:lnTo>
                  <a:lnTo>
                    <a:pt x="695" y="686"/>
                  </a:lnTo>
                  <a:lnTo>
                    <a:pt x="696" y="684"/>
                  </a:lnTo>
                  <a:lnTo>
                    <a:pt x="696" y="680"/>
                  </a:lnTo>
                  <a:lnTo>
                    <a:pt x="698" y="679"/>
                  </a:lnTo>
                  <a:lnTo>
                    <a:pt x="699" y="676"/>
                  </a:lnTo>
                  <a:lnTo>
                    <a:pt x="698" y="673"/>
                  </a:lnTo>
                  <a:lnTo>
                    <a:pt x="695" y="670"/>
                  </a:lnTo>
                  <a:lnTo>
                    <a:pt x="694" y="667"/>
                  </a:lnTo>
                  <a:lnTo>
                    <a:pt x="695" y="666"/>
                  </a:lnTo>
                  <a:lnTo>
                    <a:pt x="699" y="667"/>
                  </a:lnTo>
                  <a:lnTo>
                    <a:pt x="700" y="667"/>
                  </a:lnTo>
                  <a:lnTo>
                    <a:pt x="700" y="676"/>
                  </a:lnTo>
                  <a:lnTo>
                    <a:pt x="701" y="682"/>
                  </a:lnTo>
                  <a:lnTo>
                    <a:pt x="702" y="683"/>
                  </a:lnTo>
                  <a:lnTo>
                    <a:pt x="702" y="680"/>
                  </a:lnTo>
                  <a:lnTo>
                    <a:pt x="702" y="677"/>
                  </a:lnTo>
                  <a:lnTo>
                    <a:pt x="704" y="672"/>
                  </a:lnTo>
                  <a:lnTo>
                    <a:pt x="704" y="668"/>
                  </a:lnTo>
                  <a:lnTo>
                    <a:pt x="705" y="672"/>
                  </a:lnTo>
                  <a:lnTo>
                    <a:pt x="705" y="676"/>
                  </a:lnTo>
                  <a:lnTo>
                    <a:pt x="706" y="678"/>
                  </a:lnTo>
                  <a:lnTo>
                    <a:pt x="706" y="680"/>
                  </a:lnTo>
                  <a:lnTo>
                    <a:pt x="706" y="685"/>
                  </a:lnTo>
                  <a:lnTo>
                    <a:pt x="706" y="686"/>
                  </a:lnTo>
                  <a:lnTo>
                    <a:pt x="708" y="686"/>
                  </a:lnTo>
                  <a:lnTo>
                    <a:pt x="710" y="683"/>
                  </a:lnTo>
                  <a:lnTo>
                    <a:pt x="710" y="678"/>
                  </a:lnTo>
                  <a:lnTo>
                    <a:pt x="710" y="676"/>
                  </a:lnTo>
                  <a:lnTo>
                    <a:pt x="711" y="674"/>
                  </a:lnTo>
                  <a:lnTo>
                    <a:pt x="712" y="673"/>
                  </a:lnTo>
                  <a:lnTo>
                    <a:pt x="713" y="677"/>
                  </a:lnTo>
                  <a:lnTo>
                    <a:pt x="716" y="677"/>
                  </a:lnTo>
                  <a:lnTo>
                    <a:pt x="716" y="674"/>
                  </a:lnTo>
                  <a:lnTo>
                    <a:pt x="716" y="673"/>
                  </a:lnTo>
                  <a:lnTo>
                    <a:pt x="718" y="673"/>
                  </a:lnTo>
                  <a:lnTo>
                    <a:pt x="719" y="676"/>
                  </a:lnTo>
                  <a:lnTo>
                    <a:pt x="720" y="674"/>
                  </a:lnTo>
                  <a:lnTo>
                    <a:pt x="720" y="672"/>
                  </a:lnTo>
                  <a:lnTo>
                    <a:pt x="719" y="670"/>
                  </a:lnTo>
                  <a:lnTo>
                    <a:pt x="716" y="671"/>
                  </a:lnTo>
                  <a:lnTo>
                    <a:pt x="713" y="670"/>
                  </a:lnTo>
                  <a:lnTo>
                    <a:pt x="711" y="667"/>
                  </a:lnTo>
                  <a:lnTo>
                    <a:pt x="707" y="665"/>
                  </a:lnTo>
                  <a:lnTo>
                    <a:pt x="706" y="665"/>
                  </a:lnTo>
                  <a:lnTo>
                    <a:pt x="702" y="665"/>
                  </a:lnTo>
                  <a:lnTo>
                    <a:pt x="700" y="664"/>
                  </a:lnTo>
                  <a:lnTo>
                    <a:pt x="695" y="662"/>
                  </a:lnTo>
                  <a:lnTo>
                    <a:pt x="692" y="662"/>
                  </a:lnTo>
                  <a:lnTo>
                    <a:pt x="690" y="661"/>
                  </a:lnTo>
                  <a:lnTo>
                    <a:pt x="689" y="661"/>
                  </a:lnTo>
                  <a:lnTo>
                    <a:pt x="685" y="660"/>
                  </a:lnTo>
                  <a:lnTo>
                    <a:pt x="679" y="659"/>
                  </a:lnTo>
                  <a:lnTo>
                    <a:pt x="681" y="658"/>
                  </a:lnTo>
                  <a:lnTo>
                    <a:pt x="679" y="658"/>
                  </a:lnTo>
                  <a:lnTo>
                    <a:pt x="677" y="659"/>
                  </a:lnTo>
                  <a:lnTo>
                    <a:pt x="676" y="659"/>
                  </a:lnTo>
                  <a:lnTo>
                    <a:pt x="672" y="658"/>
                  </a:lnTo>
                  <a:lnTo>
                    <a:pt x="673" y="655"/>
                  </a:lnTo>
                  <a:lnTo>
                    <a:pt x="671" y="656"/>
                  </a:lnTo>
                  <a:lnTo>
                    <a:pt x="669" y="658"/>
                  </a:lnTo>
                  <a:lnTo>
                    <a:pt x="665" y="656"/>
                  </a:lnTo>
                  <a:lnTo>
                    <a:pt x="657" y="655"/>
                  </a:lnTo>
                  <a:lnTo>
                    <a:pt x="651" y="654"/>
                  </a:lnTo>
                  <a:lnTo>
                    <a:pt x="646" y="654"/>
                  </a:lnTo>
                  <a:lnTo>
                    <a:pt x="641" y="654"/>
                  </a:lnTo>
                  <a:lnTo>
                    <a:pt x="639" y="653"/>
                  </a:lnTo>
                  <a:lnTo>
                    <a:pt x="640" y="652"/>
                  </a:lnTo>
                  <a:lnTo>
                    <a:pt x="642" y="650"/>
                  </a:lnTo>
                  <a:lnTo>
                    <a:pt x="641" y="649"/>
                  </a:lnTo>
                  <a:lnTo>
                    <a:pt x="641" y="647"/>
                  </a:lnTo>
                  <a:lnTo>
                    <a:pt x="639" y="644"/>
                  </a:lnTo>
                  <a:lnTo>
                    <a:pt x="637" y="642"/>
                  </a:lnTo>
                  <a:lnTo>
                    <a:pt x="640" y="640"/>
                  </a:lnTo>
                  <a:lnTo>
                    <a:pt x="641" y="636"/>
                  </a:lnTo>
                  <a:lnTo>
                    <a:pt x="641" y="635"/>
                  </a:lnTo>
                  <a:lnTo>
                    <a:pt x="642" y="635"/>
                  </a:lnTo>
                  <a:lnTo>
                    <a:pt x="642" y="637"/>
                  </a:lnTo>
                  <a:lnTo>
                    <a:pt x="646" y="638"/>
                  </a:lnTo>
                  <a:lnTo>
                    <a:pt x="646" y="642"/>
                  </a:lnTo>
                  <a:lnTo>
                    <a:pt x="647" y="647"/>
                  </a:lnTo>
                  <a:lnTo>
                    <a:pt x="648" y="649"/>
                  </a:lnTo>
                  <a:lnTo>
                    <a:pt x="649" y="648"/>
                  </a:lnTo>
                  <a:lnTo>
                    <a:pt x="651" y="648"/>
                  </a:lnTo>
                  <a:lnTo>
                    <a:pt x="653" y="647"/>
                  </a:lnTo>
                  <a:lnTo>
                    <a:pt x="653" y="646"/>
                  </a:lnTo>
                  <a:lnTo>
                    <a:pt x="654" y="642"/>
                  </a:lnTo>
                  <a:lnTo>
                    <a:pt x="654" y="646"/>
                  </a:lnTo>
                  <a:lnTo>
                    <a:pt x="655" y="647"/>
                  </a:lnTo>
                  <a:lnTo>
                    <a:pt x="655" y="644"/>
                  </a:lnTo>
                  <a:lnTo>
                    <a:pt x="657" y="643"/>
                  </a:lnTo>
                  <a:lnTo>
                    <a:pt x="659" y="643"/>
                  </a:lnTo>
                  <a:lnTo>
                    <a:pt x="663" y="646"/>
                  </a:lnTo>
                  <a:lnTo>
                    <a:pt x="663" y="644"/>
                  </a:lnTo>
                  <a:lnTo>
                    <a:pt x="661" y="642"/>
                  </a:lnTo>
                  <a:lnTo>
                    <a:pt x="658" y="640"/>
                  </a:lnTo>
                  <a:lnTo>
                    <a:pt x="657" y="637"/>
                  </a:lnTo>
                  <a:lnTo>
                    <a:pt x="657" y="635"/>
                  </a:lnTo>
                  <a:lnTo>
                    <a:pt x="658" y="631"/>
                  </a:lnTo>
                  <a:lnTo>
                    <a:pt x="659" y="629"/>
                  </a:lnTo>
                  <a:lnTo>
                    <a:pt x="661" y="629"/>
                  </a:lnTo>
                  <a:lnTo>
                    <a:pt x="663" y="629"/>
                  </a:lnTo>
                  <a:lnTo>
                    <a:pt x="663" y="630"/>
                  </a:lnTo>
                  <a:lnTo>
                    <a:pt x="664" y="630"/>
                  </a:lnTo>
                  <a:lnTo>
                    <a:pt x="667" y="628"/>
                  </a:lnTo>
                  <a:lnTo>
                    <a:pt x="670" y="624"/>
                  </a:lnTo>
                  <a:lnTo>
                    <a:pt x="669" y="628"/>
                  </a:lnTo>
                  <a:lnTo>
                    <a:pt x="667" y="631"/>
                  </a:lnTo>
                  <a:lnTo>
                    <a:pt x="667" y="632"/>
                  </a:lnTo>
                  <a:lnTo>
                    <a:pt x="669" y="637"/>
                  </a:lnTo>
                  <a:lnTo>
                    <a:pt x="671" y="638"/>
                  </a:lnTo>
                  <a:lnTo>
                    <a:pt x="670" y="641"/>
                  </a:lnTo>
                  <a:lnTo>
                    <a:pt x="670" y="643"/>
                  </a:lnTo>
                  <a:lnTo>
                    <a:pt x="671" y="642"/>
                  </a:lnTo>
                  <a:lnTo>
                    <a:pt x="672" y="644"/>
                  </a:lnTo>
                  <a:lnTo>
                    <a:pt x="675" y="644"/>
                  </a:lnTo>
                  <a:lnTo>
                    <a:pt x="676" y="643"/>
                  </a:lnTo>
                  <a:lnTo>
                    <a:pt x="677" y="643"/>
                  </a:lnTo>
                  <a:lnTo>
                    <a:pt x="679" y="644"/>
                  </a:lnTo>
                  <a:lnTo>
                    <a:pt x="682" y="643"/>
                  </a:lnTo>
                  <a:lnTo>
                    <a:pt x="682" y="641"/>
                  </a:lnTo>
                  <a:lnTo>
                    <a:pt x="682" y="638"/>
                  </a:lnTo>
                  <a:lnTo>
                    <a:pt x="684" y="640"/>
                  </a:lnTo>
                  <a:lnTo>
                    <a:pt x="688" y="637"/>
                  </a:lnTo>
                  <a:lnTo>
                    <a:pt x="685" y="636"/>
                  </a:lnTo>
                  <a:lnTo>
                    <a:pt x="682" y="634"/>
                  </a:lnTo>
                  <a:lnTo>
                    <a:pt x="678" y="630"/>
                  </a:lnTo>
                  <a:lnTo>
                    <a:pt x="677" y="628"/>
                  </a:lnTo>
                  <a:lnTo>
                    <a:pt x="676" y="624"/>
                  </a:lnTo>
                  <a:lnTo>
                    <a:pt x="673" y="620"/>
                  </a:lnTo>
                  <a:lnTo>
                    <a:pt x="675" y="619"/>
                  </a:lnTo>
                  <a:lnTo>
                    <a:pt x="672" y="618"/>
                  </a:lnTo>
                  <a:lnTo>
                    <a:pt x="671" y="618"/>
                  </a:lnTo>
                  <a:lnTo>
                    <a:pt x="669" y="616"/>
                  </a:lnTo>
                  <a:lnTo>
                    <a:pt x="666" y="614"/>
                  </a:lnTo>
                  <a:lnTo>
                    <a:pt x="664" y="613"/>
                  </a:lnTo>
                  <a:lnTo>
                    <a:pt x="660" y="612"/>
                  </a:lnTo>
                  <a:lnTo>
                    <a:pt x="655" y="611"/>
                  </a:lnTo>
                  <a:lnTo>
                    <a:pt x="649" y="610"/>
                  </a:lnTo>
                  <a:lnTo>
                    <a:pt x="647" y="610"/>
                  </a:lnTo>
                  <a:lnTo>
                    <a:pt x="646" y="606"/>
                  </a:lnTo>
                  <a:lnTo>
                    <a:pt x="647" y="605"/>
                  </a:lnTo>
                  <a:lnTo>
                    <a:pt x="649" y="604"/>
                  </a:lnTo>
                  <a:lnTo>
                    <a:pt x="648" y="602"/>
                  </a:lnTo>
                  <a:lnTo>
                    <a:pt x="649" y="599"/>
                  </a:lnTo>
                  <a:lnTo>
                    <a:pt x="651" y="599"/>
                  </a:lnTo>
                  <a:lnTo>
                    <a:pt x="653" y="600"/>
                  </a:lnTo>
                  <a:lnTo>
                    <a:pt x="654" y="605"/>
                  </a:lnTo>
                  <a:lnTo>
                    <a:pt x="655" y="605"/>
                  </a:lnTo>
                  <a:lnTo>
                    <a:pt x="657" y="605"/>
                  </a:lnTo>
                  <a:lnTo>
                    <a:pt x="654" y="601"/>
                  </a:lnTo>
                  <a:lnTo>
                    <a:pt x="655" y="599"/>
                  </a:lnTo>
                  <a:lnTo>
                    <a:pt x="658" y="599"/>
                  </a:lnTo>
                  <a:lnTo>
                    <a:pt x="660" y="599"/>
                  </a:lnTo>
                  <a:lnTo>
                    <a:pt x="658" y="598"/>
                  </a:lnTo>
                  <a:lnTo>
                    <a:pt x="657" y="596"/>
                  </a:lnTo>
                  <a:lnTo>
                    <a:pt x="654" y="594"/>
                  </a:lnTo>
                  <a:lnTo>
                    <a:pt x="652" y="595"/>
                  </a:lnTo>
                  <a:lnTo>
                    <a:pt x="649" y="594"/>
                  </a:lnTo>
                  <a:lnTo>
                    <a:pt x="648" y="595"/>
                  </a:lnTo>
                  <a:lnTo>
                    <a:pt x="646" y="595"/>
                  </a:lnTo>
                  <a:lnTo>
                    <a:pt x="643" y="594"/>
                  </a:lnTo>
                  <a:lnTo>
                    <a:pt x="641" y="593"/>
                  </a:lnTo>
                  <a:lnTo>
                    <a:pt x="640" y="593"/>
                  </a:lnTo>
                  <a:lnTo>
                    <a:pt x="637" y="591"/>
                  </a:lnTo>
                  <a:lnTo>
                    <a:pt x="636" y="590"/>
                  </a:lnTo>
                  <a:lnTo>
                    <a:pt x="635" y="588"/>
                  </a:lnTo>
                  <a:lnTo>
                    <a:pt x="634" y="585"/>
                  </a:lnTo>
                  <a:lnTo>
                    <a:pt x="633" y="584"/>
                  </a:lnTo>
                  <a:lnTo>
                    <a:pt x="631" y="587"/>
                  </a:lnTo>
                  <a:lnTo>
                    <a:pt x="630" y="585"/>
                  </a:lnTo>
                  <a:lnTo>
                    <a:pt x="630" y="581"/>
                  </a:lnTo>
                  <a:lnTo>
                    <a:pt x="631" y="581"/>
                  </a:lnTo>
                  <a:lnTo>
                    <a:pt x="633" y="581"/>
                  </a:lnTo>
                  <a:lnTo>
                    <a:pt x="630" y="578"/>
                  </a:lnTo>
                  <a:lnTo>
                    <a:pt x="628" y="576"/>
                  </a:lnTo>
                  <a:lnTo>
                    <a:pt x="623" y="569"/>
                  </a:lnTo>
                  <a:lnTo>
                    <a:pt x="620" y="567"/>
                  </a:lnTo>
                  <a:lnTo>
                    <a:pt x="618" y="565"/>
                  </a:lnTo>
                  <a:lnTo>
                    <a:pt x="618" y="563"/>
                  </a:lnTo>
                  <a:lnTo>
                    <a:pt x="620" y="560"/>
                  </a:lnTo>
                  <a:lnTo>
                    <a:pt x="623" y="559"/>
                  </a:lnTo>
                  <a:lnTo>
                    <a:pt x="623" y="561"/>
                  </a:lnTo>
                  <a:lnTo>
                    <a:pt x="623" y="564"/>
                  </a:lnTo>
                  <a:lnTo>
                    <a:pt x="625" y="564"/>
                  </a:lnTo>
                  <a:lnTo>
                    <a:pt x="625" y="565"/>
                  </a:lnTo>
                  <a:lnTo>
                    <a:pt x="625" y="569"/>
                  </a:lnTo>
                  <a:lnTo>
                    <a:pt x="626" y="570"/>
                  </a:lnTo>
                  <a:lnTo>
                    <a:pt x="626" y="572"/>
                  </a:lnTo>
                  <a:lnTo>
                    <a:pt x="628" y="572"/>
                  </a:lnTo>
                  <a:lnTo>
                    <a:pt x="629" y="571"/>
                  </a:lnTo>
                  <a:lnTo>
                    <a:pt x="630" y="567"/>
                  </a:lnTo>
                  <a:lnTo>
                    <a:pt x="630" y="566"/>
                  </a:lnTo>
                  <a:lnTo>
                    <a:pt x="629" y="564"/>
                  </a:lnTo>
                  <a:lnTo>
                    <a:pt x="630" y="561"/>
                  </a:lnTo>
                  <a:lnTo>
                    <a:pt x="631" y="561"/>
                  </a:lnTo>
                  <a:lnTo>
                    <a:pt x="633" y="564"/>
                  </a:lnTo>
                  <a:lnTo>
                    <a:pt x="634" y="565"/>
                  </a:lnTo>
                  <a:lnTo>
                    <a:pt x="634" y="570"/>
                  </a:lnTo>
                  <a:lnTo>
                    <a:pt x="635" y="573"/>
                  </a:lnTo>
                  <a:lnTo>
                    <a:pt x="636" y="571"/>
                  </a:lnTo>
                  <a:lnTo>
                    <a:pt x="636" y="570"/>
                  </a:lnTo>
                  <a:lnTo>
                    <a:pt x="636" y="565"/>
                  </a:lnTo>
                  <a:lnTo>
                    <a:pt x="637" y="566"/>
                  </a:lnTo>
                  <a:lnTo>
                    <a:pt x="639" y="567"/>
                  </a:lnTo>
                  <a:lnTo>
                    <a:pt x="639" y="565"/>
                  </a:lnTo>
                  <a:lnTo>
                    <a:pt x="641" y="567"/>
                  </a:lnTo>
                  <a:lnTo>
                    <a:pt x="641" y="570"/>
                  </a:lnTo>
                  <a:lnTo>
                    <a:pt x="642" y="571"/>
                  </a:lnTo>
                  <a:lnTo>
                    <a:pt x="643" y="570"/>
                  </a:lnTo>
                  <a:lnTo>
                    <a:pt x="643" y="565"/>
                  </a:lnTo>
                  <a:lnTo>
                    <a:pt x="643" y="561"/>
                  </a:lnTo>
                  <a:lnTo>
                    <a:pt x="645" y="561"/>
                  </a:lnTo>
                  <a:lnTo>
                    <a:pt x="647" y="563"/>
                  </a:lnTo>
                  <a:lnTo>
                    <a:pt x="646" y="567"/>
                  </a:lnTo>
                  <a:lnTo>
                    <a:pt x="645" y="570"/>
                  </a:lnTo>
                  <a:lnTo>
                    <a:pt x="646" y="571"/>
                  </a:lnTo>
                  <a:lnTo>
                    <a:pt x="646" y="576"/>
                  </a:lnTo>
                  <a:lnTo>
                    <a:pt x="646" y="577"/>
                  </a:lnTo>
                  <a:lnTo>
                    <a:pt x="647" y="578"/>
                  </a:lnTo>
                  <a:lnTo>
                    <a:pt x="648" y="579"/>
                  </a:lnTo>
                  <a:lnTo>
                    <a:pt x="649" y="577"/>
                  </a:lnTo>
                  <a:lnTo>
                    <a:pt x="649" y="581"/>
                  </a:lnTo>
                  <a:lnTo>
                    <a:pt x="652" y="581"/>
                  </a:lnTo>
                  <a:lnTo>
                    <a:pt x="653" y="582"/>
                  </a:lnTo>
                  <a:lnTo>
                    <a:pt x="653" y="577"/>
                  </a:lnTo>
                  <a:lnTo>
                    <a:pt x="653" y="573"/>
                  </a:lnTo>
                  <a:lnTo>
                    <a:pt x="653" y="571"/>
                  </a:lnTo>
                  <a:lnTo>
                    <a:pt x="651" y="567"/>
                  </a:lnTo>
                  <a:lnTo>
                    <a:pt x="651" y="566"/>
                  </a:lnTo>
                  <a:lnTo>
                    <a:pt x="649" y="561"/>
                  </a:lnTo>
                  <a:lnTo>
                    <a:pt x="649" y="557"/>
                  </a:lnTo>
                  <a:lnTo>
                    <a:pt x="649" y="551"/>
                  </a:lnTo>
                  <a:lnTo>
                    <a:pt x="651" y="551"/>
                  </a:lnTo>
                  <a:lnTo>
                    <a:pt x="653" y="551"/>
                  </a:lnTo>
                  <a:lnTo>
                    <a:pt x="653" y="554"/>
                  </a:lnTo>
                  <a:lnTo>
                    <a:pt x="653" y="557"/>
                  </a:lnTo>
                  <a:lnTo>
                    <a:pt x="655" y="557"/>
                  </a:lnTo>
                  <a:lnTo>
                    <a:pt x="657" y="555"/>
                  </a:lnTo>
                  <a:lnTo>
                    <a:pt x="657" y="552"/>
                  </a:lnTo>
                  <a:lnTo>
                    <a:pt x="659" y="548"/>
                  </a:lnTo>
                  <a:lnTo>
                    <a:pt x="660" y="547"/>
                  </a:lnTo>
                  <a:lnTo>
                    <a:pt x="659" y="554"/>
                  </a:lnTo>
                  <a:lnTo>
                    <a:pt x="660" y="557"/>
                  </a:lnTo>
                  <a:lnTo>
                    <a:pt x="663" y="555"/>
                  </a:lnTo>
                  <a:lnTo>
                    <a:pt x="664" y="552"/>
                  </a:lnTo>
                  <a:lnTo>
                    <a:pt x="664" y="548"/>
                  </a:lnTo>
                  <a:lnTo>
                    <a:pt x="665" y="546"/>
                  </a:lnTo>
                  <a:lnTo>
                    <a:pt x="665" y="549"/>
                  </a:lnTo>
                  <a:lnTo>
                    <a:pt x="665" y="555"/>
                  </a:lnTo>
                  <a:lnTo>
                    <a:pt x="666" y="558"/>
                  </a:lnTo>
                  <a:lnTo>
                    <a:pt x="667" y="557"/>
                  </a:lnTo>
                  <a:lnTo>
                    <a:pt x="669" y="552"/>
                  </a:lnTo>
                  <a:lnTo>
                    <a:pt x="669" y="548"/>
                  </a:lnTo>
                  <a:lnTo>
                    <a:pt x="669" y="545"/>
                  </a:lnTo>
                  <a:lnTo>
                    <a:pt x="669" y="541"/>
                  </a:lnTo>
                  <a:lnTo>
                    <a:pt x="667" y="536"/>
                  </a:lnTo>
                  <a:lnTo>
                    <a:pt x="669" y="536"/>
                  </a:lnTo>
                  <a:lnTo>
                    <a:pt x="671" y="536"/>
                  </a:lnTo>
                  <a:lnTo>
                    <a:pt x="673" y="537"/>
                  </a:lnTo>
                  <a:lnTo>
                    <a:pt x="672" y="535"/>
                  </a:lnTo>
                  <a:lnTo>
                    <a:pt x="672" y="533"/>
                  </a:lnTo>
                  <a:lnTo>
                    <a:pt x="675" y="533"/>
                  </a:lnTo>
                  <a:lnTo>
                    <a:pt x="676" y="533"/>
                  </a:lnTo>
                  <a:lnTo>
                    <a:pt x="677" y="531"/>
                  </a:lnTo>
                  <a:lnTo>
                    <a:pt x="675" y="531"/>
                  </a:lnTo>
                  <a:lnTo>
                    <a:pt x="673" y="529"/>
                  </a:lnTo>
                  <a:lnTo>
                    <a:pt x="672" y="528"/>
                  </a:lnTo>
                  <a:lnTo>
                    <a:pt x="671" y="528"/>
                  </a:lnTo>
                  <a:lnTo>
                    <a:pt x="671" y="530"/>
                  </a:lnTo>
                  <a:lnTo>
                    <a:pt x="669" y="531"/>
                  </a:lnTo>
                  <a:lnTo>
                    <a:pt x="669" y="530"/>
                  </a:lnTo>
                  <a:lnTo>
                    <a:pt x="667" y="530"/>
                  </a:lnTo>
                  <a:lnTo>
                    <a:pt x="666" y="531"/>
                  </a:lnTo>
                  <a:lnTo>
                    <a:pt x="665" y="531"/>
                  </a:lnTo>
                  <a:lnTo>
                    <a:pt x="663" y="531"/>
                  </a:lnTo>
                  <a:lnTo>
                    <a:pt x="663" y="530"/>
                  </a:lnTo>
                  <a:lnTo>
                    <a:pt x="661" y="530"/>
                  </a:lnTo>
                  <a:lnTo>
                    <a:pt x="661" y="534"/>
                  </a:lnTo>
                  <a:lnTo>
                    <a:pt x="659" y="534"/>
                  </a:lnTo>
                  <a:lnTo>
                    <a:pt x="658" y="533"/>
                  </a:lnTo>
                  <a:lnTo>
                    <a:pt x="657" y="534"/>
                  </a:lnTo>
                  <a:lnTo>
                    <a:pt x="655" y="535"/>
                  </a:lnTo>
                  <a:lnTo>
                    <a:pt x="653" y="537"/>
                  </a:lnTo>
                  <a:lnTo>
                    <a:pt x="652" y="539"/>
                  </a:lnTo>
                  <a:lnTo>
                    <a:pt x="645" y="539"/>
                  </a:lnTo>
                  <a:lnTo>
                    <a:pt x="641" y="539"/>
                  </a:lnTo>
                  <a:lnTo>
                    <a:pt x="637" y="540"/>
                  </a:lnTo>
                  <a:lnTo>
                    <a:pt x="633" y="541"/>
                  </a:lnTo>
                  <a:lnTo>
                    <a:pt x="626" y="541"/>
                  </a:lnTo>
                  <a:lnTo>
                    <a:pt x="623" y="541"/>
                  </a:lnTo>
                  <a:lnTo>
                    <a:pt x="618" y="542"/>
                  </a:lnTo>
                  <a:lnTo>
                    <a:pt x="614" y="541"/>
                  </a:lnTo>
                  <a:lnTo>
                    <a:pt x="612" y="542"/>
                  </a:lnTo>
                  <a:lnTo>
                    <a:pt x="607" y="545"/>
                  </a:lnTo>
                  <a:lnTo>
                    <a:pt x="601" y="543"/>
                  </a:lnTo>
                  <a:lnTo>
                    <a:pt x="599" y="543"/>
                  </a:lnTo>
                  <a:lnTo>
                    <a:pt x="595" y="541"/>
                  </a:lnTo>
                  <a:lnTo>
                    <a:pt x="593" y="541"/>
                  </a:lnTo>
                  <a:lnTo>
                    <a:pt x="590" y="537"/>
                  </a:lnTo>
                  <a:lnTo>
                    <a:pt x="589" y="535"/>
                  </a:lnTo>
                  <a:lnTo>
                    <a:pt x="588" y="534"/>
                  </a:lnTo>
                  <a:lnTo>
                    <a:pt x="584" y="534"/>
                  </a:lnTo>
                  <a:lnTo>
                    <a:pt x="581" y="536"/>
                  </a:lnTo>
                  <a:lnTo>
                    <a:pt x="580" y="537"/>
                  </a:lnTo>
                  <a:lnTo>
                    <a:pt x="577" y="537"/>
                  </a:lnTo>
                  <a:lnTo>
                    <a:pt x="575" y="537"/>
                  </a:lnTo>
                  <a:lnTo>
                    <a:pt x="571" y="535"/>
                  </a:lnTo>
                  <a:lnTo>
                    <a:pt x="567" y="531"/>
                  </a:lnTo>
                  <a:lnTo>
                    <a:pt x="563" y="527"/>
                  </a:lnTo>
                  <a:lnTo>
                    <a:pt x="559" y="524"/>
                  </a:lnTo>
                  <a:lnTo>
                    <a:pt x="555" y="521"/>
                  </a:lnTo>
                  <a:lnTo>
                    <a:pt x="552" y="516"/>
                  </a:lnTo>
                  <a:lnTo>
                    <a:pt x="552" y="515"/>
                  </a:lnTo>
                  <a:lnTo>
                    <a:pt x="555" y="515"/>
                  </a:lnTo>
                  <a:lnTo>
                    <a:pt x="555" y="513"/>
                  </a:lnTo>
                  <a:lnTo>
                    <a:pt x="553" y="512"/>
                  </a:lnTo>
                  <a:lnTo>
                    <a:pt x="552" y="510"/>
                  </a:lnTo>
                  <a:lnTo>
                    <a:pt x="551" y="505"/>
                  </a:lnTo>
                  <a:lnTo>
                    <a:pt x="552" y="505"/>
                  </a:lnTo>
                  <a:lnTo>
                    <a:pt x="553" y="507"/>
                  </a:lnTo>
                  <a:lnTo>
                    <a:pt x="554" y="510"/>
                  </a:lnTo>
                  <a:lnTo>
                    <a:pt x="557" y="511"/>
                  </a:lnTo>
                  <a:lnTo>
                    <a:pt x="557" y="510"/>
                  </a:lnTo>
                  <a:lnTo>
                    <a:pt x="559" y="507"/>
                  </a:lnTo>
                  <a:lnTo>
                    <a:pt x="560" y="507"/>
                  </a:lnTo>
                  <a:lnTo>
                    <a:pt x="559" y="510"/>
                  </a:lnTo>
                  <a:lnTo>
                    <a:pt x="560" y="512"/>
                  </a:lnTo>
                  <a:lnTo>
                    <a:pt x="559" y="518"/>
                  </a:lnTo>
                  <a:lnTo>
                    <a:pt x="561" y="521"/>
                  </a:lnTo>
                  <a:lnTo>
                    <a:pt x="561" y="518"/>
                  </a:lnTo>
                  <a:lnTo>
                    <a:pt x="563" y="515"/>
                  </a:lnTo>
                  <a:lnTo>
                    <a:pt x="564" y="513"/>
                  </a:lnTo>
                  <a:lnTo>
                    <a:pt x="565" y="515"/>
                  </a:lnTo>
                  <a:lnTo>
                    <a:pt x="565" y="513"/>
                  </a:lnTo>
                  <a:lnTo>
                    <a:pt x="566" y="511"/>
                  </a:lnTo>
                  <a:lnTo>
                    <a:pt x="569" y="510"/>
                  </a:lnTo>
                  <a:lnTo>
                    <a:pt x="569" y="511"/>
                  </a:lnTo>
                  <a:lnTo>
                    <a:pt x="570" y="516"/>
                  </a:lnTo>
                  <a:lnTo>
                    <a:pt x="570" y="517"/>
                  </a:lnTo>
                  <a:lnTo>
                    <a:pt x="571" y="518"/>
                  </a:lnTo>
                  <a:lnTo>
                    <a:pt x="572" y="517"/>
                  </a:lnTo>
                  <a:lnTo>
                    <a:pt x="572" y="512"/>
                  </a:lnTo>
                  <a:lnTo>
                    <a:pt x="574" y="510"/>
                  </a:lnTo>
                  <a:lnTo>
                    <a:pt x="575" y="511"/>
                  </a:lnTo>
                  <a:lnTo>
                    <a:pt x="575" y="513"/>
                  </a:lnTo>
                  <a:lnTo>
                    <a:pt x="576" y="509"/>
                  </a:lnTo>
                  <a:lnTo>
                    <a:pt x="577" y="507"/>
                  </a:lnTo>
                  <a:lnTo>
                    <a:pt x="577" y="515"/>
                  </a:lnTo>
                  <a:lnTo>
                    <a:pt x="577" y="518"/>
                  </a:lnTo>
                  <a:lnTo>
                    <a:pt x="580" y="517"/>
                  </a:lnTo>
                  <a:lnTo>
                    <a:pt x="582" y="512"/>
                  </a:lnTo>
                  <a:lnTo>
                    <a:pt x="584" y="510"/>
                  </a:lnTo>
                  <a:lnTo>
                    <a:pt x="584" y="516"/>
                  </a:lnTo>
                  <a:lnTo>
                    <a:pt x="583" y="519"/>
                  </a:lnTo>
                  <a:lnTo>
                    <a:pt x="586" y="517"/>
                  </a:lnTo>
                  <a:lnTo>
                    <a:pt x="587" y="513"/>
                  </a:lnTo>
                  <a:lnTo>
                    <a:pt x="588" y="510"/>
                  </a:lnTo>
                  <a:lnTo>
                    <a:pt x="590" y="506"/>
                  </a:lnTo>
                  <a:lnTo>
                    <a:pt x="589" y="515"/>
                  </a:lnTo>
                  <a:lnTo>
                    <a:pt x="588" y="518"/>
                  </a:lnTo>
                  <a:lnTo>
                    <a:pt x="592" y="516"/>
                  </a:lnTo>
                  <a:lnTo>
                    <a:pt x="593" y="512"/>
                  </a:lnTo>
                  <a:lnTo>
                    <a:pt x="592" y="518"/>
                  </a:lnTo>
                  <a:lnTo>
                    <a:pt x="592" y="521"/>
                  </a:lnTo>
                  <a:lnTo>
                    <a:pt x="594" y="521"/>
                  </a:lnTo>
                  <a:lnTo>
                    <a:pt x="594" y="517"/>
                  </a:lnTo>
                  <a:lnTo>
                    <a:pt x="595" y="516"/>
                  </a:lnTo>
                  <a:lnTo>
                    <a:pt x="599" y="516"/>
                  </a:lnTo>
                  <a:lnTo>
                    <a:pt x="600" y="513"/>
                  </a:lnTo>
                  <a:lnTo>
                    <a:pt x="600" y="516"/>
                  </a:lnTo>
                  <a:lnTo>
                    <a:pt x="598" y="519"/>
                  </a:lnTo>
                  <a:lnTo>
                    <a:pt x="598" y="522"/>
                  </a:lnTo>
                  <a:lnTo>
                    <a:pt x="601" y="518"/>
                  </a:lnTo>
                  <a:lnTo>
                    <a:pt x="602" y="517"/>
                  </a:lnTo>
                  <a:lnTo>
                    <a:pt x="604" y="523"/>
                  </a:lnTo>
                  <a:lnTo>
                    <a:pt x="606" y="525"/>
                  </a:lnTo>
                  <a:lnTo>
                    <a:pt x="607" y="527"/>
                  </a:lnTo>
                  <a:lnTo>
                    <a:pt x="611" y="525"/>
                  </a:lnTo>
                  <a:lnTo>
                    <a:pt x="611" y="524"/>
                  </a:lnTo>
                  <a:lnTo>
                    <a:pt x="612" y="525"/>
                  </a:lnTo>
                  <a:lnTo>
                    <a:pt x="611" y="528"/>
                  </a:lnTo>
                  <a:lnTo>
                    <a:pt x="611" y="531"/>
                  </a:lnTo>
                  <a:lnTo>
                    <a:pt x="612" y="535"/>
                  </a:lnTo>
                  <a:lnTo>
                    <a:pt x="613" y="535"/>
                  </a:lnTo>
                  <a:lnTo>
                    <a:pt x="613" y="531"/>
                  </a:lnTo>
                  <a:lnTo>
                    <a:pt x="614" y="529"/>
                  </a:lnTo>
                  <a:lnTo>
                    <a:pt x="616" y="525"/>
                  </a:lnTo>
                  <a:lnTo>
                    <a:pt x="616" y="528"/>
                  </a:lnTo>
                  <a:lnTo>
                    <a:pt x="617" y="529"/>
                  </a:lnTo>
                  <a:lnTo>
                    <a:pt x="618" y="527"/>
                  </a:lnTo>
                  <a:lnTo>
                    <a:pt x="619" y="523"/>
                  </a:lnTo>
                  <a:lnTo>
                    <a:pt x="620" y="518"/>
                  </a:lnTo>
                  <a:lnTo>
                    <a:pt x="619" y="525"/>
                  </a:lnTo>
                  <a:lnTo>
                    <a:pt x="620" y="530"/>
                  </a:lnTo>
                  <a:lnTo>
                    <a:pt x="620" y="533"/>
                  </a:lnTo>
                  <a:lnTo>
                    <a:pt x="623" y="535"/>
                  </a:lnTo>
                  <a:lnTo>
                    <a:pt x="624" y="536"/>
                  </a:lnTo>
                  <a:lnTo>
                    <a:pt x="626" y="535"/>
                  </a:lnTo>
                  <a:lnTo>
                    <a:pt x="628" y="533"/>
                  </a:lnTo>
                  <a:lnTo>
                    <a:pt x="628" y="529"/>
                  </a:lnTo>
                  <a:lnTo>
                    <a:pt x="628" y="525"/>
                  </a:lnTo>
                  <a:lnTo>
                    <a:pt x="629" y="529"/>
                  </a:lnTo>
                  <a:lnTo>
                    <a:pt x="629" y="531"/>
                  </a:lnTo>
                  <a:lnTo>
                    <a:pt x="630" y="529"/>
                  </a:lnTo>
                  <a:lnTo>
                    <a:pt x="633" y="529"/>
                  </a:lnTo>
                  <a:lnTo>
                    <a:pt x="633" y="533"/>
                  </a:lnTo>
                  <a:lnTo>
                    <a:pt x="634" y="535"/>
                  </a:lnTo>
                  <a:lnTo>
                    <a:pt x="635" y="533"/>
                  </a:lnTo>
                  <a:lnTo>
                    <a:pt x="635" y="530"/>
                  </a:lnTo>
                  <a:lnTo>
                    <a:pt x="641" y="534"/>
                  </a:lnTo>
                  <a:lnTo>
                    <a:pt x="640" y="531"/>
                  </a:lnTo>
                  <a:lnTo>
                    <a:pt x="637" y="530"/>
                  </a:lnTo>
                  <a:lnTo>
                    <a:pt x="640" y="528"/>
                  </a:lnTo>
                  <a:lnTo>
                    <a:pt x="637" y="528"/>
                  </a:lnTo>
                  <a:lnTo>
                    <a:pt x="634" y="528"/>
                  </a:lnTo>
                  <a:lnTo>
                    <a:pt x="631" y="527"/>
                  </a:lnTo>
                  <a:lnTo>
                    <a:pt x="636" y="525"/>
                  </a:lnTo>
                  <a:lnTo>
                    <a:pt x="635" y="524"/>
                  </a:lnTo>
                  <a:lnTo>
                    <a:pt x="631" y="524"/>
                  </a:lnTo>
                  <a:lnTo>
                    <a:pt x="629" y="524"/>
                  </a:lnTo>
                  <a:lnTo>
                    <a:pt x="628" y="522"/>
                  </a:lnTo>
                  <a:lnTo>
                    <a:pt x="629" y="521"/>
                  </a:lnTo>
                  <a:lnTo>
                    <a:pt x="628" y="519"/>
                  </a:lnTo>
                  <a:lnTo>
                    <a:pt x="626" y="518"/>
                  </a:lnTo>
                  <a:lnTo>
                    <a:pt x="624" y="517"/>
                  </a:lnTo>
                  <a:lnTo>
                    <a:pt x="620" y="515"/>
                  </a:lnTo>
                  <a:lnTo>
                    <a:pt x="620" y="513"/>
                  </a:lnTo>
                  <a:lnTo>
                    <a:pt x="620" y="512"/>
                  </a:lnTo>
                  <a:lnTo>
                    <a:pt x="618" y="510"/>
                  </a:lnTo>
                  <a:lnTo>
                    <a:pt x="617" y="507"/>
                  </a:lnTo>
                  <a:lnTo>
                    <a:pt x="614" y="506"/>
                  </a:lnTo>
                  <a:lnTo>
                    <a:pt x="612" y="504"/>
                  </a:lnTo>
                  <a:lnTo>
                    <a:pt x="612" y="501"/>
                  </a:lnTo>
                  <a:lnTo>
                    <a:pt x="613" y="500"/>
                  </a:lnTo>
                  <a:lnTo>
                    <a:pt x="614" y="498"/>
                  </a:lnTo>
                  <a:lnTo>
                    <a:pt x="616" y="500"/>
                  </a:lnTo>
                  <a:lnTo>
                    <a:pt x="617" y="504"/>
                  </a:lnTo>
                  <a:lnTo>
                    <a:pt x="618" y="505"/>
                  </a:lnTo>
                  <a:lnTo>
                    <a:pt x="619" y="507"/>
                  </a:lnTo>
                  <a:lnTo>
                    <a:pt x="620" y="506"/>
                  </a:lnTo>
                  <a:lnTo>
                    <a:pt x="620" y="504"/>
                  </a:lnTo>
                  <a:lnTo>
                    <a:pt x="622" y="504"/>
                  </a:lnTo>
                  <a:lnTo>
                    <a:pt x="623" y="503"/>
                  </a:lnTo>
                  <a:lnTo>
                    <a:pt x="623" y="501"/>
                  </a:lnTo>
                  <a:lnTo>
                    <a:pt x="624" y="500"/>
                  </a:lnTo>
                  <a:lnTo>
                    <a:pt x="622" y="499"/>
                  </a:lnTo>
                  <a:lnTo>
                    <a:pt x="619" y="498"/>
                  </a:lnTo>
                  <a:lnTo>
                    <a:pt x="616" y="494"/>
                  </a:lnTo>
                  <a:lnTo>
                    <a:pt x="620" y="494"/>
                  </a:lnTo>
                  <a:lnTo>
                    <a:pt x="622" y="493"/>
                  </a:lnTo>
                  <a:lnTo>
                    <a:pt x="618" y="492"/>
                  </a:lnTo>
                  <a:lnTo>
                    <a:pt x="616" y="492"/>
                  </a:lnTo>
                  <a:lnTo>
                    <a:pt x="611" y="492"/>
                  </a:lnTo>
                  <a:lnTo>
                    <a:pt x="606" y="489"/>
                  </a:lnTo>
                  <a:lnTo>
                    <a:pt x="600" y="487"/>
                  </a:lnTo>
                  <a:lnTo>
                    <a:pt x="596" y="484"/>
                  </a:lnTo>
                  <a:lnTo>
                    <a:pt x="589" y="481"/>
                  </a:lnTo>
                  <a:lnTo>
                    <a:pt x="586" y="480"/>
                  </a:lnTo>
                  <a:lnTo>
                    <a:pt x="581" y="477"/>
                  </a:lnTo>
                  <a:lnTo>
                    <a:pt x="577" y="477"/>
                  </a:lnTo>
                  <a:lnTo>
                    <a:pt x="572" y="475"/>
                  </a:lnTo>
                  <a:lnTo>
                    <a:pt x="569" y="475"/>
                  </a:lnTo>
                  <a:lnTo>
                    <a:pt x="569" y="474"/>
                  </a:lnTo>
                  <a:lnTo>
                    <a:pt x="570" y="472"/>
                  </a:lnTo>
                  <a:lnTo>
                    <a:pt x="572" y="471"/>
                  </a:lnTo>
                  <a:lnTo>
                    <a:pt x="567" y="470"/>
                  </a:lnTo>
                  <a:lnTo>
                    <a:pt x="564" y="469"/>
                  </a:lnTo>
                  <a:lnTo>
                    <a:pt x="561" y="468"/>
                  </a:lnTo>
                  <a:lnTo>
                    <a:pt x="558" y="468"/>
                  </a:lnTo>
                  <a:lnTo>
                    <a:pt x="558" y="464"/>
                  </a:lnTo>
                  <a:lnTo>
                    <a:pt x="558" y="460"/>
                  </a:lnTo>
                  <a:lnTo>
                    <a:pt x="558" y="457"/>
                  </a:lnTo>
                  <a:lnTo>
                    <a:pt x="560" y="453"/>
                  </a:lnTo>
                  <a:lnTo>
                    <a:pt x="563" y="450"/>
                  </a:lnTo>
                  <a:lnTo>
                    <a:pt x="563" y="453"/>
                  </a:lnTo>
                  <a:lnTo>
                    <a:pt x="563" y="454"/>
                  </a:lnTo>
                  <a:lnTo>
                    <a:pt x="565" y="456"/>
                  </a:lnTo>
                  <a:lnTo>
                    <a:pt x="567" y="456"/>
                  </a:lnTo>
                  <a:lnTo>
                    <a:pt x="567" y="457"/>
                  </a:lnTo>
                  <a:lnTo>
                    <a:pt x="570" y="458"/>
                  </a:lnTo>
                  <a:lnTo>
                    <a:pt x="571" y="458"/>
                  </a:lnTo>
                  <a:lnTo>
                    <a:pt x="572" y="454"/>
                  </a:lnTo>
                  <a:lnTo>
                    <a:pt x="574" y="452"/>
                  </a:lnTo>
                  <a:lnTo>
                    <a:pt x="572" y="458"/>
                  </a:lnTo>
                  <a:lnTo>
                    <a:pt x="575" y="460"/>
                  </a:lnTo>
                  <a:lnTo>
                    <a:pt x="576" y="459"/>
                  </a:lnTo>
                  <a:lnTo>
                    <a:pt x="576" y="456"/>
                  </a:lnTo>
                  <a:lnTo>
                    <a:pt x="578" y="452"/>
                  </a:lnTo>
                  <a:lnTo>
                    <a:pt x="578" y="456"/>
                  </a:lnTo>
                  <a:lnTo>
                    <a:pt x="581" y="458"/>
                  </a:lnTo>
                  <a:lnTo>
                    <a:pt x="581" y="454"/>
                  </a:lnTo>
                  <a:lnTo>
                    <a:pt x="583" y="453"/>
                  </a:lnTo>
                  <a:lnTo>
                    <a:pt x="582" y="458"/>
                  </a:lnTo>
                  <a:lnTo>
                    <a:pt x="582" y="463"/>
                  </a:lnTo>
                  <a:lnTo>
                    <a:pt x="584" y="464"/>
                  </a:lnTo>
                  <a:lnTo>
                    <a:pt x="587" y="464"/>
                  </a:lnTo>
                  <a:lnTo>
                    <a:pt x="587" y="460"/>
                  </a:lnTo>
                  <a:lnTo>
                    <a:pt x="587" y="458"/>
                  </a:lnTo>
                  <a:lnTo>
                    <a:pt x="588" y="456"/>
                  </a:lnTo>
                  <a:lnTo>
                    <a:pt x="589" y="457"/>
                  </a:lnTo>
                  <a:lnTo>
                    <a:pt x="588" y="462"/>
                  </a:lnTo>
                  <a:lnTo>
                    <a:pt x="592" y="460"/>
                  </a:lnTo>
                  <a:lnTo>
                    <a:pt x="592" y="458"/>
                  </a:lnTo>
                  <a:lnTo>
                    <a:pt x="593" y="459"/>
                  </a:lnTo>
                  <a:lnTo>
                    <a:pt x="594" y="457"/>
                  </a:lnTo>
                  <a:lnTo>
                    <a:pt x="595" y="456"/>
                  </a:lnTo>
                  <a:lnTo>
                    <a:pt x="595" y="460"/>
                  </a:lnTo>
                  <a:lnTo>
                    <a:pt x="596" y="460"/>
                  </a:lnTo>
                  <a:lnTo>
                    <a:pt x="599" y="463"/>
                  </a:lnTo>
                  <a:lnTo>
                    <a:pt x="600" y="460"/>
                  </a:lnTo>
                  <a:lnTo>
                    <a:pt x="600" y="466"/>
                  </a:lnTo>
                  <a:lnTo>
                    <a:pt x="600" y="470"/>
                  </a:lnTo>
                  <a:lnTo>
                    <a:pt x="602" y="469"/>
                  </a:lnTo>
                  <a:lnTo>
                    <a:pt x="604" y="466"/>
                  </a:lnTo>
                  <a:lnTo>
                    <a:pt x="605" y="465"/>
                  </a:lnTo>
                  <a:lnTo>
                    <a:pt x="606" y="460"/>
                  </a:lnTo>
                  <a:lnTo>
                    <a:pt x="607" y="459"/>
                  </a:lnTo>
                  <a:lnTo>
                    <a:pt x="610" y="462"/>
                  </a:lnTo>
                  <a:lnTo>
                    <a:pt x="611" y="459"/>
                  </a:lnTo>
                  <a:lnTo>
                    <a:pt x="612" y="458"/>
                  </a:lnTo>
                  <a:lnTo>
                    <a:pt x="614" y="459"/>
                  </a:lnTo>
                  <a:lnTo>
                    <a:pt x="614" y="463"/>
                  </a:lnTo>
                  <a:lnTo>
                    <a:pt x="616" y="462"/>
                  </a:lnTo>
                  <a:lnTo>
                    <a:pt x="619" y="462"/>
                  </a:lnTo>
                  <a:lnTo>
                    <a:pt x="623" y="462"/>
                  </a:lnTo>
                  <a:lnTo>
                    <a:pt x="623" y="460"/>
                  </a:lnTo>
                  <a:lnTo>
                    <a:pt x="618" y="458"/>
                  </a:lnTo>
                  <a:lnTo>
                    <a:pt x="612" y="454"/>
                  </a:lnTo>
                  <a:lnTo>
                    <a:pt x="612" y="452"/>
                  </a:lnTo>
                  <a:lnTo>
                    <a:pt x="610" y="453"/>
                  </a:lnTo>
                  <a:lnTo>
                    <a:pt x="605" y="452"/>
                  </a:lnTo>
                  <a:lnTo>
                    <a:pt x="602" y="451"/>
                  </a:lnTo>
                  <a:lnTo>
                    <a:pt x="601" y="448"/>
                  </a:lnTo>
                  <a:lnTo>
                    <a:pt x="606" y="448"/>
                  </a:lnTo>
                  <a:lnTo>
                    <a:pt x="610" y="450"/>
                  </a:lnTo>
                  <a:lnTo>
                    <a:pt x="607" y="448"/>
                  </a:lnTo>
                  <a:lnTo>
                    <a:pt x="601" y="445"/>
                  </a:lnTo>
                  <a:lnTo>
                    <a:pt x="600" y="445"/>
                  </a:lnTo>
                  <a:lnTo>
                    <a:pt x="605" y="444"/>
                  </a:lnTo>
                  <a:lnTo>
                    <a:pt x="605" y="442"/>
                  </a:lnTo>
                  <a:lnTo>
                    <a:pt x="600" y="442"/>
                  </a:lnTo>
                  <a:lnTo>
                    <a:pt x="594" y="441"/>
                  </a:lnTo>
                  <a:lnTo>
                    <a:pt x="594" y="439"/>
                  </a:lnTo>
                  <a:lnTo>
                    <a:pt x="592" y="439"/>
                  </a:lnTo>
                  <a:lnTo>
                    <a:pt x="589" y="438"/>
                  </a:lnTo>
                  <a:lnTo>
                    <a:pt x="590" y="436"/>
                  </a:lnTo>
                  <a:lnTo>
                    <a:pt x="588" y="436"/>
                  </a:lnTo>
                  <a:lnTo>
                    <a:pt x="582" y="436"/>
                  </a:lnTo>
                  <a:lnTo>
                    <a:pt x="582" y="433"/>
                  </a:lnTo>
                  <a:lnTo>
                    <a:pt x="581" y="432"/>
                  </a:lnTo>
                  <a:lnTo>
                    <a:pt x="578" y="434"/>
                  </a:lnTo>
                  <a:lnTo>
                    <a:pt x="575" y="433"/>
                  </a:lnTo>
                  <a:lnTo>
                    <a:pt x="574" y="432"/>
                  </a:lnTo>
                  <a:lnTo>
                    <a:pt x="574" y="429"/>
                  </a:lnTo>
                  <a:lnTo>
                    <a:pt x="571" y="430"/>
                  </a:lnTo>
                  <a:lnTo>
                    <a:pt x="570" y="428"/>
                  </a:lnTo>
                  <a:lnTo>
                    <a:pt x="566" y="428"/>
                  </a:lnTo>
                  <a:lnTo>
                    <a:pt x="563" y="429"/>
                  </a:lnTo>
                  <a:lnTo>
                    <a:pt x="560" y="429"/>
                  </a:lnTo>
                  <a:lnTo>
                    <a:pt x="559" y="428"/>
                  </a:lnTo>
                  <a:lnTo>
                    <a:pt x="552" y="424"/>
                  </a:lnTo>
                  <a:lnTo>
                    <a:pt x="547" y="423"/>
                  </a:lnTo>
                  <a:lnTo>
                    <a:pt x="543" y="421"/>
                  </a:lnTo>
                  <a:lnTo>
                    <a:pt x="541" y="421"/>
                  </a:lnTo>
                  <a:lnTo>
                    <a:pt x="539" y="421"/>
                  </a:lnTo>
                  <a:lnTo>
                    <a:pt x="534" y="420"/>
                  </a:lnTo>
                  <a:lnTo>
                    <a:pt x="530" y="418"/>
                  </a:lnTo>
                  <a:lnTo>
                    <a:pt x="528" y="418"/>
                  </a:lnTo>
                  <a:lnTo>
                    <a:pt x="525" y="418"/>
                  </a:lnTo>
                  <a:lnTo>
                    <a:pt x="523" y="416"/>
                  </a:lnTo>
                  <a:lnTo>
                    <a:pt x="521" y="418"/>
                  </a:lnTo>
                  <a:lnTo>
                    <a:pt x="519" y="415"/>
                  </a:lnTo>
                  <a:lnTo>
                    <a:pt x="517" y="415"/>
                  </a:lnTo>
                  <a:lnTo>
                    <a:pt x="515" y="415"/>
                  </a:lnTo>
                  <a:lnTo>
                    <a:pt x="511" y="417"/>
                  </a:lnTo>
                  <a:lnTo>
                    <a:pt x="510" y="416"/>
                  </a:lnTo>
                  <a:lnTo>
                    <a:pt x="507" y="416"/>
                  </a:lnTo>
                  <a:lnTo>
                    <a:pt x="505" y="415"/>
                  </a:lnTo>
                  <a:lnTo>
                    <a:pt x="502" y="415"/>
                  </a:lnTo>
                  <a:lnTo>
                    <a:pt x="501" y="414"/>
                  </a:lnTo>
                  <a:lnTo>
                    <a:pt x="496" y="411"/>
                  </a:lnTo>
                  <a:lnTo>
                    <a:pt x="494" y="410"/>
                  </a:lnTo>
                  <a:lnTo>
                    <a:pt x="493" y="411"/>
                  </a:lnTo>
                  <a:lnTo>
                    <a:pt x="493" y="409"/>
                  </a:lnTo>
                  <a:lnTo>
                    <a:pt x="495" y="409"/>
                  </a:lnTo>
                  <a:lnTo>
                    <a:pt x="498" y="410"/>
                  </a:lnTo>
                  <a:lnTo>
                    <a:pt x="501" y="412"/>
                  </a:lnTo>
                  <a:lnTo>
                    <a:pt x="504" y="414"/>
                  </a:lnTo>
                  <a:lnTo>
                    <a:pt x="506" y="414"/>
                  </a:lnTo>
                  <a:lnTo>
                    <a:pt x="507" y="412"/>
                  </a:lnTo>
                  <a:lnTo>
                    <a:pt x="509" y="412"/>
                  </a:lnTo>
                  <a:lnTo>
                    <a:pt x="510" y="415"/>
                  </a:lnTo>
                  <a:lnTo>
                    <a:pt x="511" y="415"/>
                  </a:lnTo>
                  <a:lnTo>
                    <a:pt x="512" y="415"/>
                  </a:lnTo>
                  <a:lnTo>
                    <a:pt x="515" y="411"/>
                  </a:lnTo>
                  <a:lnTo>
                    <a:pt x="515" y="410"/>
                  </a:lnTo>
                  <a:lnTo>
                    <a:pt x="516" y="410"/>
                  </a:lnTo>
                  <a:lnTo>
                    <a:pt x="516" y="411"/>
                  </a:lnTo>
                  <a:lnTo>
                    <a:pt x="517" y="414"/>
                  </a:lnTo>
                  <a:lnTo>
                    <a:pt x="518" y="414"/>
                  </a:lnTo>
                  <a:lnTo>
                    <a:pt x="519" y="414"/>
                  </a:lnTo>
                  <a:lnTo>
                    <a:pt x="521" y="412"/>
                  </a:lnTo>
                  <a:lnTo>
                    <a:pt x="521" y="415"/>
                  </a:lnTo>
                  <a:lnTo>
                    <a:pt x="523" y="415"/>
                  </a:lnTo>
                  <a:lnTo>
                    <a:pt x="525" y="415"/>
                  </a:lnTo>
                  <a:lnTo>
                    <a:pt x="527" y="415"/>
                  </a:lnTo>
                  <a:lnTo>
                    <a:pt x="529" y="416"/>
                  </a:lnTo>
                  <a:lnTo>
                    <a:pt x="530" y="417"/>
                  </a:lnTo>
                  <a:lnTo>
                    <a:pt x="533" y="416"/>
                  </a:lnTo>
                  <a:lnTo>
                    <a:pt x="533" y="415"/>
                  </a:lnTo>
                  <a:lnTo>
                    <a:pt x="534" y="414"/>
                  </a:lnTo>
                  <a:lnTo>
                    <a:pt x="533" y="411"/>
                  </a:lnTo>
                  <a:lnTo>
                    <a:pt x="535" y="414"/>
                  </a:lnTo>
                  <a:lnTo>
                    <a:pt x="537" y="416"/>
                  </a:lnTo>
                  <a:lnTo>
                    <a:pt x="537" y="415"/>
                  </a:lnTo>
                  <a:lnTo>
                    <a:pt x="539" y="418"/>
                  </a:lnTo>
                  <a:lnTo>
                    <a:pt x="540" y="418"/>
                  </a:lnTo>
                  <a:lnTo>
                    <a:pt x="540" y="417"/>
                  </a:lnTo>
                  <a:lnTo>
                    <a:pt x="541" y="416"/>
                  </a:lnTo>
                  <a:lnTo>
                    <a:pt x="543" y="418"/>
                  </a:lnTo>
                  <a:lnTo>
                    <a:pt x="543" y="420"/>
                  </a:lnTo>
                  <a:lnTo>
                    <a:pt x="546" y="418"/>
                  </a:lnTo>
                  <a:lnTo>
                    <a:pt x="547" y="416"/>
                  </a:lnTo>
                  <a:lnTo>
                    <a:pt x="546" y="420"/>
                  </a:lnTo>
                  <a:lnTo>
                    <a:pt x="547" y="421"/>
                  </a:lnTo>
                  <a:lnTo>
                    <a:pt x="549" y="421"/>
                  </a:lnTo>
                  <a:lnTo>
                    <a:pt x="553" y="420"/>
                  </a:lnTo>
                  <a:lnTo>
                    <a:pt x="553" y="418"/>
                  </a:lnTo>
                  <a:lnTo>
                    <a:pt x="557" y="423"/>
                  </a:lnTo>
                  <a:lnTo>
                    <a:pt x="557" y="422"/>
                  </a:lnTo>
                  <a:lnTo>
                    <a:pt x="557" y="420"/>
                  </a:lnTo>
                  <a:lnTo>
                    <a:pt x="554" y="417"/>
                  </a:lnTo>
                  <a:lnTo>
                    <a:pt x="555" y="416"/>
                  </a:lnTo>
                  <a:lnTo>
                    <a:pt x="555" y="417"/>
                  </a:lnTo>
                  <a:lnTo>
                    <a:pt x="557" y="417"/>
                  </a:lnTo>
                  <a:lnTo>
                    <a:pt x="557" y="415"/>
                  </a:lnTo>
                  <a:lnTo>
                    <a:pt x="558" y="415"/>
                  </a:lnTo>
                  <a:lnTo>
                    <a:pt x="559" y="416"/>
                  </a:lnTo>
                  <a:lnTo>
                    <a:pt x="559" y="420"/>
                  </a:lnTo>
                  <a:lnTo>
                    <a:pt x="559" y="421"/>
                  </a:lnTo>
                  <a:lnTo>
                    <a:pt x="560" y="421"/>
                  </a:lnTo>
                  <a:lnTo>
                    <a:pt x="561" y="423"/>
                  </a:lnTo>
                  <a:lnTo>
                    <a:pt x="561" y="426"/>
                  </a:lnTo>
                  <a:lnTo>
                    <a:pt x="563" y="427"/>
                  </a:lnTo>
                  <a:lnTo>
                    <a:pt x="564" y="424"/>
                  </a:lnTo>
                  <a:lnTo>
                    <a:pt x="564" y="421"/>
                  </a:lnTo>
                  <a:lnTo>
                    <a:pt x="564" y="417"/>
                  </a:lnTo>
                  <a:lnTo>
                    <a:pt x="565" y="418"/>
                  </a:lnTo>
                  <a:lnTo>
                    <a:pt x="566" y="426"/>
                  </a:lnTo>
                  <a:lnTo>
                    <a:pt x="567" y="424"/>
                  </a:lnTo>
                  <a:lnTo>
                    <a:pt x="567" y="422"/>
                  </a:lnTo>
                  <a:lnTo>
                    <a:pt x="569" y="420"/>
                  </a:lnTo>
                  <a:lnTo>
                    <a:pt x="570" y="420"/>
                  </a:lnTo>
                  <a:lnTo>
                    <a:pt x="570" y="416"/>
                  </a:lnTo>
                  <a:lnTo>
                    <a:pt x="570" y="415"/>
                  </a:lnTo>
                  <a:lnTo>
                    <a:pt x="571" y="420"/>
                  </a:lnTo>
                  <a:lnTo>
                    <a:pt x="571" y="423"/>
                  </a:lnTo>
                  <a:lnTo>
                    <a:pt x="574" y="424"/>
                  </a:lnTo>
                  <a:lnTo>
                    <a:pt x="576" y="424"/>
                  </a:lnTo>
                  <a:lnTo>
                    <a:pt x="577" y="420"/>
                  </a:lnTo>
                  <a:lnTo>
                    <a:pt x="577" y="424"/>
                  </a:lnTo>
                  <a:lnTo>
                    <a:pt x="578" y="428"/>
                  </a:lnTo>
                  <a:lnTo>
                    <a:pt x="577" y="429"/>
                  </a:lnTo>
                  <a:lnTo>
                    <a:pt x="580" y="430"/>
                  </a:lnTo>
                  <a:lnTo>
                    <a:pt x="581" y="429"/>
                  </a:lnTo>
                  <a:lnTo>
                    <a:pt x="581" y="428"/>
                  </a:lnTo>
                  <a:lnTo>
                    <a:pt x="582" y="427"/>
                  </a:lnTo>
                  <a:lnTo>
                    <a:pt x="583" y="424"/>
                  </a:lnTo>
                  <a:lnTo>
                    <a:pt x="584" y="423"/>
                  </a:lnTo>
                  <a:lnTo>
                    <a:pt x="584" y="420"/>
                  </a:lnTo>
                  <a:lnTo>
                    <a:pt x="584" y="418"/>
                  </a:lnTo>
                  <a:lnTo>
                    <a:pt x="587" y="420"/>
                  </a:lnTo>
                  <a:lnTo>
                    <a:pt x="587" y="422"/>
                  </a:lnTo>
                  <a:lnTo>
                    <a:pt x="588" y="426"/>
                  </a:lnTo>
                  <a:lnTo>
                    <a:pt x="589" y="424"/>
                  </a:lnTo>
                  <a:lnTo>
                    <a:pt x="590" y="422"/>
                  </a:lnTo>
                  <a:lnTo>
                    <a:pt x="592" y="424"/>
                  </a:lnTo>
                  <a:lnTo>
                    <a:pt x="592" y="427"/>
                  </a:lnTo>
                  <a:lnTo>
                    <a:pt x="593" y="429"/>
                  </a:lnTo>
                  <a:lnTo>
                    <a:pt x="595" y="426"/>
                  </a:lnTo>
                  <a:lnTo>
                    <a:pt x="598" y="426"/>
                  </a:lnTo>
                  <a:lnTo>
                    <a:pt x="598" y="427"/>
                  </a:lnTo>
                  <a:lnTo>
                    <a:pt x="599" y="427"/>
                  </a:lnTo>
                  <a:lnTo>
                    <a:pt x="599" y="424"/>
                  </a:lnTo>
                  <a:lnTo>
                    <a:pt x="601" y="420"/>
                  </a:lnTo>
                  <a:lnTo>
                    <a:pt x="602" y="418"/>
                  </a:lnTo>
                  <a:lnTo>
                    <a:pt x="604" y="420"/>
                  </a:lnTo>
                  <a:lnTo>
                    <a:pt x="606" y="420"/>
                  </a:lnTo>
                  <a:lnTo>
                    <a:pt x="606" y="422"/>
                  </a:lnTo>
                  <a:lnTo>
                    <a:pt x="607" y="426"/>
                  </a:lnTo>
                  <a:lnTo>
                    <a:pt x="610" y="424"/>
                  </a:lnTo>
                  <a:lnTo>
                    <a:pt x="610" y="422"/>
                  </a:lnTo>
                  <a:lnTo>
                    <a:pt x="616" y="424"/>
                  </a:lnTo>
                  <a:lnTo>
                    <a:pt x="616" y="423"/>
                  </a:lnTo>
                  <a:lnTo>
                    <a:pt x="612" y="421"/>
                  </a:lnTo>
                  <a:lnTo>
                    <a:pt x="610" y="421"/>
                  </a:lnTo>
                  <a:lnTo>
                    <a:pt x="612" y="418"/>
                  </a:lnTo>
                  <a:lnTo>
                    <a:pt x="612" y="417"/>
                  </a:lnTo>
                  <a:lnTo>
                    <a:pt x="608" y="417"/>
                  </a:lnTo>
                  <a:lnTo>
                    <a:pt x="610" y="417"/>
                  </a:lnTo>
                  <a:lnTo>
                    <a:pt x="608" y="415"/>
                  </a:lnTo>
                  <a:lnTo>
                    <a:pt x="606" y="415"/>
                  </a:lnTo>
                  <a:lnTo>
                    <a:pt x="602" y="414"/>
                  </a:lnTo>
                  <a:lnTo>
                    <a:pt x="600" y="412"/>
                  </a:lnTo>
                  <a:lnTo>
                    <a:pt x="598" y="411"/>
                  </a:lnTo>
                  <a:lnTo>
                    <a:pt x="595" y="410"/>
                  </a:lnTo>
                  <a:lnTo>
                    <a:pt x="593" y="406"/>
                  </a:lnTo>
                  <a:lnTo>
                    <a:pt x="592" y="405"/>
                  </a:lnTo>
                  <a:lnTo>
                    <a:pt x="590" y="402"/>
                  </a:lnTo>
                  <a:lnTo>
                    <a:pt x="592" y="402"/>
                  </a:lnTo>
                  <a:lnTo>
                    <a:pt x="596" y="403"/>
                  </a:lnTo>
                  <a:lnTo>
                    <a:pt x="595" y="400"/>
                  </a:lnTo>
                  <a:lnTo>
                    <a:pt x="593" y="399"/>
                  </a:lnTo>
                  <a:lnTo>
                    <a:pt x="592" y="396"/>
                  </a:lnTo>
                  <a:lnTo>
                    <a:pt x="590" y="397"/>
                  </a:lnTo>
                  <a:lnTo>
                    <a:pt x="589" y="398"/>
                  </a:lnTo>
                  <a:lnTo>
                    <a:pt x="587" y="398"/>
                  </a:lnTo>
                  <a:lnTo>
                    <a:pt x="583" y="398"/>
                  </a:lnTo>
                  <a:lnTo>
                    <a:pt x="575" y="396"/>
                  </a:lnTo>
                  <a:lnTo>
                    <a:pt x="570" y="394"/>
                  </a:lnTo>
                  <a:lnTo>
                    <a:pt x="570" y="392"/>
                  </a:lnTo>
                  <a:lnTo>
                    <a:pt x="569" y="393"/>
                  </a:lnTo>
                  <a:lnTo>
                    <a:pt x="565" y="393"/>
                  </a:lnTo>
                  <a:lnTo>
                    <a:pt x="564" y="392"/>
                  </a:lnTo>
                  <a:lnTo>
                    <a:pt x="563" y="391"/>
                  </a:lnTo>
                  <a:lnTo>
                    <a:pt x="560" y="390"/>
                  </a:lnTo>
                  <a:lnTo>
                    <a:pt x="553" y="390"/>
                  </a:lnTo>
                  <a:lnTo>
                    <a:pt x="548" y="390"/>
                  </a:lnTo>
                  <a:lnTo>
                    <a:pt x="546" y="388"/>
                  </a:lnTo>
                  <a:lnTo>
                    <a:pt x="545" y="387"/>
                  </a:lnTo>
                  <a:lnTo>
                    <a:pt x="542" y="387"/>
                  </a:lnTo>
                  <a:lnTo>
                    <a:pt x="537" y="386"/>
                  </a:lnTo>
                  <a:lnTo>
                    <a:pt x="535" y="385"/>
                  </a:lnTo>
                  <a:lnTo>
                    <a:pt x="534" y="381"/>
                  </a:lnTo>
                  <a:lnTo>
                    <a:pt x="530" y="380"/>
                  </a:lnTo>
                  <a:lnTo>
                    <a:pt x="528" y="380"/>
                  </a:lnTo>
                  <a:lnTo>
                    <a:pt x="523" y="378"/>
                  </a:lnTo>
                  <a:lnTo>
                    <a:pt x="521" y="378"/>
                  </a:lnTo>
                  <a:lnTo>
                    <a:pt x="518" y="378"/>
                  </a:lnTo>
                  <a:lnTo>
                    <a:pt x="513" y="378"/>
                  </a:lnTo>
                  <a:lnTo>
                    <a:pt x="515" y="375"/>
                  </a:lnTo>
                  <a:lnTo>
                    <a:pt x="511" y="376"/>
                  </a:lnTo>
                  <a:lnTo>
                    <a:pt x="509" y="378"/>
                  </a:lnTo>
                  <a:lnTo>
                    <a:pt x="502" y="378"/>
                  </a:lnTo>
                  <a:lnTo>
                    <a:pt x="501" y="376"/>
                  </a:lnTo>
                  <a:lnTo>
                    <a:pt x="495" y="375"/>
                  </a:lnTo>
                  <a:lnTo>
                    <a:pt x="492" y="374"/>
                  </a:lnTo>
                  <a:lnTo>
                    <a:pt x="487" y="374"/>
                  </a:lnTo>
                  <a:lnTo>
                    <a:pt x="482" y="371"/>
                  </a:lnTo>
                  <a:lnTo>
                    <a:pt x="476" y="371"/>
                  </a:lnTo>
                  <a:lnTo>
                    <a:pt x="472" y="369"/>
                  </a:lnTo>
                  <a:lnTo>
                    <a:pt x="469" y="368"/>
                  </a:lnTo>
                  <a:lnTo>
                    <a:pt x="470" y="369"/>
                  </a:lnTo>
                  <a:lnTo>
                    <a:pt x="468" y="371"/>
                  </a:lnTo>
                  <a:lnTo>
                    <a:pt x="465" y="371"/>
                  </a:lnTo>
                  <a:lnTo>
                    <a:pt x="463" y="370"/>
                  </a:lnTo>
                  <a:lnTo>
                    <a:pt x="459" y="369"/>
                  </a:lnTo>
                  <a:lnTo>
                    <a:pt x="457" y="368"/>
                  </a:lnTo>
                  <a:lnTo>
                    <a:pt x="453" y="369"/>
                  </a:lnTo>
                  <a:lnTo>
                    <a:pt x="452" y="370"/>
                  </a:lnTo>
                  <a:lnTo>
                    <a:pt x="448" y="368"/>
                  </a:lnTo>
                  <a:lnTo>
                    <a:pt x="446" y="367"/>
                  </a:lnTo>
                  <a:lnTo>
                    <a:pt x="442" y="365"/>
                  </a:lnTo>
                  <a:lnTo>
                    <a:pt x="437" y="367"/>
                  </a:lnTo>
                  <a:lnTo>
                    <a:pt x="437" y="364"/>
                  </a:lnTo>
                  <a:lnTo>
                    <a:pt x="436" y="362"/>
                  </a:lnTo>
                  <a:lnTo>
                    <a:pt x="433" y="361"/>
                  </a:lnTo>
                  <a:lnTo>
                    <a:pt x="430" y="359"/>
                  </a:lnTo>
                  <a:lnTo>
                    <a:pt x="428" y="357"/>
                  </a:lnTo>
                  <a:lnTo>
                    <a:pt x="424" y="355"/>
                  </a:lnTo>
                  <a:lnTo>
                    <a:pt x="419" y="351"/>
                  </a:lnTo>
                  <a:lnTo>
                    <a:pt x="417" y="349"/>
                  </a:lnTo>
                  <a:lnTo>
                    <a:pt x="417" y="339"/>
                  </a:lnTo>
                  <a:lnTo>
                    <a:pt x="418" y="337"/>
                  </a:lnTo>
                  <a:lnTo>
                    <a:pt x="418" y="335"/>
                  </a:lnTo>
                  <a:lnTo>
                    <a:pt x="419" y="340"/>
                  </a:lnTo>
                  <a:lnTo>
                    <a:pt x="421" y="340"/>
                  </a:lnTo>
                  <a:lnTo>
                    <a:pt x="423" y="339"/>
                  </a:lnTo>
                  <a:lnTo>
                    <a:pt x="422" y="335"/>
                  </a:lnTo>
                  <a:lnTo>
                    <a:pt x="423" y="334"/>
                  </a:lnTo>
                  <a:lnTo>
                    <a:pt x="424" y="337"/>
                  </a:lnTo>
                  <a:lnTo>
                    <a:pt x="423" y="340"/>
                  </a:lnTo>
                  <a:lnTo>
                    <a:pt x="423" y="344"/>
                  </a:lnTo>
                  <a:lnTo>
                    <a:pt x="422" y="346"/>
                  </a:lnTo>
                  <a:lnTo>
                    <a:pt x="422" y="349"/>
                  </a:lnTo>
                  <a:lnTo>
                    <a:pt x="423" y="350"/>
                  </a:lnTo>
                  <a:lnTo>
                    <a:pt x="424" y="351"/>
                  </a:lnTo>
                  <a:lnTo>
                    <a:pt x="427" y="353"/>
                  </a:lnTo>
                  <a:lnTo>
                    <a:pt x="428" y="355"/>
                  </a:lnTo>
                  <a:lnTo>
                    <a:pt x="430" y="357"/>
                  </a:lnTo>
                  <a:lnTo>
                    <a:pt x="431" y="356"/>
                  </a:lnTo>
                  <a:lnTo>
                    <a:pt x="433" y="358"/>
                  </a:lnTo>
                  <a:lnTo>
                    <a:pt x="434" y="358"/>
                  </a:lnTo>
                  <a:lnTo>
                    <a:pt x="436" y="358"/>
                  </a:lnTo>
                  <a:lnTo>
                    <a:pt x="437" y="361"/>
                  </a:lnTo>
                  <a:lnTo>
                    <a:pt x="439" y="359"/>
                  </a:lnTo>
                  <a:lnTo>
                    <a:pt x="439" y="357"/>
                  </a:lnTo>
                  <a:lnTo>
                    <a:pt x="436" y="355"/>
                  </a:lnTo>
                  <a:lnTo>
                    <a:pt x="436" y="353"/>
                  </a:lnTo>
                  <a:lnTo>
                    <a:pt x="436" y="349"/>
                  </a:lnTo>
                  <a:lnTo>
                    <a:pt x="435" y="345"/>
                  </a:lnTo>
                  <a:lnTo>
                    <a:pt x="436" y="341"/>
                  </a:lnTo>
                  <a:lnTo>
                    <a:pt x="436" y="338"/>
                  </a:lnTo>
                  <a:lnTo>
                    <a:pt x="437" y="338"/>
                  </a:lnTo>
                  <a:lnTo>
                    <a:pt x="437" y="339"/>
                  </a:lnTo>
                  <a:lnTo>
                    <a:pt x="436" y="343"/>
                  </a:lnTo>
                  <a:lnTo>
                    <a:pt x="439" y="343"/>
                  </a:lnTo>
                  <a:lnTo>
                    <a:pt x="440" y="344"/>
                  </a:lnTo>
                  <a:lnTo>
                    <a:pt x="437" y="346"/>
                  </a:lnTo>
                  <a:lnTo>
                    <a:pt x="439" y="347"/>
                  </a:lnTo>
                  <a:lnTo>
                    <a:pt x="440" y="347"/>
                  </a:lnTo>
                  <a:lnTo>
                    <a:pt x="441" y="345"/>
                  </a:lnTo>
                  <a:lnTo>
                    <a:pt x="441" y="343"/>
                  </a:lnTo>
                  <a:lnTo>
                    <a:pt x="441" y="340"/>
                  </a:lnTo>
                  <a:lnTo>
                    <a:pt x="443" y="340"/>
                  </a:lnTo>
                  <a:lnTo>
                    <a:pt x="443" y="345"/>
                  </a:lnTo>
                  <a:lnTo>
                    <a:pt x="443" y="347"/>
                  </a:lnTo>
                  <a:lnTo>
                    <a:pt x="445" y="349"/>
                  </a:lnTo>
                  <a:lnTo>
                    <a:pt x="446" y="349"/>
                  </a:lnTo>
                  <a:lnTo>
                    <a:pt x="448" y="347"/>
                  </a:lnTo>
                  <a:lnTo>
                    <a:pt x="448" y="349"/>
                  </a:lnTo>
                  <a:lnTo>
                    <a:pt x="448" y="351"/>
                  </a:lnTo>
                  <a:lnTo>
                    <a:pt x="450" y="352"/>
                  </a:lnTo>
                  <a:lnTo>
                    <a:pt x="451" y="351"/>
                  </a:lnTo>
                  <a:lnTo>
                    <a:pt x="451" y="353"/>
                  </a:lnTo>
                  <a:lnTo>
                    <a:pt x="452" y="353"/>
                  </a:lnTo>
                  <a:lnTo>
                    <a:pt x="453" y="352"/>
                  </a:lnTo>
                  <a:lnTo>
                    <a:pt x="454" y="350"/>
                  </a:lnTo>
                  <a:lnTo>
                    <a:pt x="456" y="349"/>
                  </a:lnTo>
                  <a:lnTo>
                    <a:pt x="454" y="353"/>
                  </a:lnTo>
                  <a:lnTo>
                    <a:pt x="454" y="358"/>
                  </a:lnTo>
                  <a:lnTo>
                    <a:pt x="456" y="358"/>
                  </a:lnTo>
                  <a:lnTo>
                    <a:pt x="457" y="356"/>
                  </a:lnTo>
                  <a:lnTo>
                    <a:pt x="457" y="353"/>
                  </a:lnTo>
                  <a:lnTo>
                    <a:pt x="457" y="350"/>
                  </a:lnTo>
                  <a:lnTo>
                    <a:pt x="459" y="349"/>
                  </a:lnTo>
                  <a:lnTo>
                    <a:pt x="458" y="353"/>
                  </a:lnTo>
                  <a:lnTo>
                    <a:pt x="458" y="358"/>
                  </a:lnTo>
                  <a:lnTo>
                    <a:pt x="458" y="359"/>
                  </a:lnTo>
                  <a:lnTo>
                    <a:pt x="459" y="359"/>
                  </a:lnTo>
                  <a:lnTo>
                    <a:pt x="459" y="358"/>
                  </a:lnTo>
                  <a:lnTo>
                    <a:pt x="460" y="359"/>
                  </a:lnTo>
                  <a:lnTo>
                    <a:pt x="460" y="362"/>
                  </a:lnTo>
                  <a:lnTo>
                    <a:pt x="462" y="364"/>
                  </a:lnTo>
                  <a:lnTo>
                    <a:pt x="463" y="364"/>
                  </a:lnTo>
                  <a:lnTo>
                    <a:pt x="463" y="359"/>
                  </a:lnTo>
                  <a:lnTo>
                    <a:pt x="463" y="358"/>
                  </a:lnTo>
                  <a:lnTo>
                    <a:pt x="465" y="357"/>
                  </a:lnTo>
                  <a:lnTo>
                    <a:pt x="468" y="356"/>
                  </a:lnTo>
                  <a:lnTo>
                    <a:pt x="469" y="355"/>
                  </a:lnTo>
                  <a:lnTo>
                    <a:pt x="465" y="351"/>
                  </a:lnTo>
                  <a:lnTo>
                    <a:pt x="464" y="347"/>
                  </a:lnTo>
                  <a:lnTo>
                    <a:pt x="464" y="346"/>
                  </a:lnTo>
                  <a:lnTo>
                    <a:pt x="466" y="346"/>
                  </a:lnTo>
                  <a:lnTo>
                    <a:pt x="465" y="347"/>
                  </a:lnTo>
                  <a:lnTo>
                    <a:pt x="466" y="349"/>
                  </a:lnTo>
                  <a:lnTo>
                    <a:pt x="470" y="347"/>
                  </a:lnTo>
                  <a:lnTo>
                    <a:pt x="471" y="346"/>
                  </a:lnTo>
                  <a:lnTo>
                    <a:pt x="471" y="343"/>
                  </a:lnTo>
                  <a:lnTo>
                    <a:pt x="471" y="341"/>
                  </a:lnTo>
                  <a:lnTo>
                    <a:pt x="472" y="343"/>
                  </a:lnTo>
                  <a:lnTo>
                    <a:pt x="474" y="345"/>
                  </a:lnTo>
                  <a:lnTo>
                    <a:pt x="475" y="344"/>
                  </a:lnTo>
                  <a:lnTo>
                    <a:pt x="475" y="341"/>
                  </a:lnTo>
                  <a:lnTo>
                    <a:pt x="477" y="340"/>
                  </a:lnTo>
                  <a:lnTo>
                    <a:pt x="477" y="339"/>
                  </a:lnTo>
                  <a:lnTo>
                    <a:pt x="476" y="335"/>
                  </a:lnTo>
                  <a:lnTo>
                    <a:pt x="480" y="337"/>
                  </a:lnTo>
                  <a:lnTo>
                    <a:pt x="481" y="334"/>
                  </a:lnTo>
                  <a:lnTo>
                    <a:pt x="480" y="326"/>
                  </a:lnTo>
                  <a:lnTo>
                    <a:pt x="481" y="321"/>
                  </a:lnTo>
                  <a:lnTo>
                    <a:pt x="481" y="320"/>
                  </a:lnTo>
                  <a:lnTo>
                    <a:pt x="482" y="323"/>
                  </a:lnTo>
                  <a:lnTo>
                    <a:pt x="483" y="323"/>
                  </a:lnTo>
                  <a:lnTo>
                    <a:pt x="483" y="320"/>
                  </a:lnTo>
                  <a:lnTo>
                    <a:pt x="483" y="317"/>
                  </a:lnTo>
                  <a:lnTo>
                    <a:pt x="484" y="319"/>
                  </a:lnTo>
                  <a:lnTo>
                    <a:pt x="486" y="317"/>
                  </a:lnTo>
                  <a:lnTo>
                    <a:pt x="488" y="317"/>
                  </a:lnTo>
                  <a:lnTo>
                    <a:pt x="489" y="319"/>
                  </a:lnTo>
                  <a:lnTo>
                    <a:pt x="490" y="321"/>
                  </a:lnTo>
                  <a:lnTo>
                    <a:pt x="490" y="325"/>
                  </a:lnTo>
                  <a:lnTo>
                    <a:pt x="490" y="326"/>
                  </a:lnTo>
                  <a:lnTo>
                    <a:pt x="492" y="326"/>
                  </a:lnTo>
                  <a:lnTo>
                    <a:pt x="492" y="328"/>
                  </a:lnTo>
                  <a:lnTo>
                    <a:pt x="493" y="326"/>
                  </a:lnTo>
                  <a:lnTo>
                    <a:pt x="493" y="320"/>
                  </a:lnTo>
                  <a:lnTo>
                    <a:pt x="492" y="317"/>
                  </a:lnTo>
                  <a:lnTo>
                    <a:pt x="493" y="315"/>
                  </a:lnTo>
                  <a:lnTo>
                    <a:pt x="495" y="313"/>
                  </a:lnTo>
                  <a:lnTo>
                    <a:pt x="495" y="310"/>
                  </a:lnTo>
                  <a:lnTo>
                    <a:pt x="494" y="307"/>
                  </a:lnTo>
                  <a:lnTo>
                    <a:pt x="495" y="303"/>
                  </a:lnTo>
                  <a:lnTo>
                    <a:pt x="496" y="301"/>
                  </a:lnTo>
                  <a:lnTo>
                    <a:pt x="498" y="304"/>
                  </a:lnTo>
                  <a:lnTo>
                    <a:pt x="501" y="303"/>
                  </a:lnTo>
                  <a:lnTo>
                    <a:pt x="502" y="305"/>
                  </a:lnTo>
                  <a:lnTo>
                    <a:pt x="504" y="304"/>
                  </a:lnTo>
                  <a:lnTo>
                    <a:pt x="505" y="303"/>
                  </a:lnTo>
                  <a:lnTo>
                    <a:pt x="505" y="310"/>
                  </a:lnTo>
                  <a:lnTo>
                    <a:pt x="506" y="311"/>
                  </a:lnTo>
                  <a:lnTo>
                    <a:pt x="509" y="311"/>
                  </a:lnTo>
                  <a:lnTo>
                    <a:pt x="509" y="309"/>
                  </a:lnTo>
                  <a:lnTo>
                    <a:pt x="507" y="304"/>
                  </a:lnTo>
                  <a:lnTo>
                    <a:pt x="507" y="299"/>
                  </a:lnTo>
                  <a:lnTo>
                    <a:pt x="509" y="298"/>
                  </a:lnTo>
                  <a:lnTo>
                    <a:pt x="510" y="297"/>
                  </a:lnTo>
                  <a:lnTo>
                    <a:pt x="510" y="293"/>
                  </a:lnTo>
                  <a:lnTo>
                    <a:pt x="512" y="295"/>
                  </a:lnTo>
                  <a:lnTo>
                    <a:pt x="512" y="292"/>
                  </a:lnTo>
                  <a:lnTo>
                    <a:pt x="512" y="289"/>
                  </a:lnTo>
                  <a:lnTo>
                    <a:pt x="513" y="289"/>
                  </a:lnTo>
                  <a:lnTo>
                    <a:pt x="515" y="291"/>
                  </a:lnTo>
                  <a:lnTo>
                    <a:pt x="518" y="291"/>
                  </a:lnTo>
                  <a:lnTo>
                    <a:pt x="519" y="289"/>
                  </a:lnTo>
                  <a:lnTo>
                    <a:pt x="521" y="286"/>
                  </a:lnTo>
                  <a:lnTo>
                    <a:pt x="519" y="284"/>
                  </a:lnTo>
                  <a:lnTo>
                    <a:pt x="519" y="280"/>
                  </a:lnTo>
                  <a:lnTo>
                    <a:pt x="519" y="279"/>
                  </a:lnTo>
                  <a:lnTo>
                    <a:pt x="521" y="279"/>
                  </a:lnTo>
                  <a:lnTo>
                    <a:pt x="523" y="280"/>
                  </a:lnTo>
                  <a:lnTo>
                    <a:pt x="523" y="279"/>
                  </a:lnTo>
                  <a:lnTo>
                    <a:pt x="521" y="278"/>
                  </a:lnTo>
                  <a:lnTo>
                    <a:pt x="521" y="275"/>
                  </a:lnTo>
                  <a:lnTo>
                    <a:pt x="518" y="274"/>
                  </a:lnTo>
                  <a:lnTo>
                    <a:pt x="516" y="274"/>
                  </a:lnTo>
                  <a:lnTo>
                    <a:pt x="515" y="273"/>
                  </a:lnTo>
                  <a:lnTo>
                    <a:pt x="516" y="272"/>
                  </a:lnTo>
                  <a:lnTo>
                    <a:pt x="518" y="272"/>
                  </a:lnTo>
                  <a:lnTo>
                    <a:pt x="521" y="272"/>
                  </a:lnTo>
                  <a:lnTo>
                    <a:pt x="522" y="274"/>
                  </a:lnTo>
                  <a:lnTo>
                    <a:pt x="523" y="277"/>
                  </a:lnTo>
                  <a:lnTo>
                    <a:pt x="523" y="278"/>
                  </a:lnTo>
                  <a:lnTo>
                    <a:pt x="523" y="277"/>
                  </a:lnTo>
                  <a:lnTo>
                    <a:pt x="524" y="275"/>
                  </a:lnTo>
                  <a:lnTo>
                    <a:pt x="525" y="278"/>
                  </a:lnTo>
                  <a:lnTo>
                    <a:pt x="525" y="277"/>
                  </a:lnTo>
                  <a:lnTo>
                    <a:pt x="525" y="275"/>
                  </a:lnTo>
                  <a:lnTo>
                    <a:pt x="524" y="273"/>
                  </a:lnTo>
                  <a:lnTo>
                    <a:pt x="527" y="272"/>
                  </a:lnTo>
                  <a:lnTo>
                    <a:pt x="528" y="272"/>
                  </a:lnTo>
                  <a:lnTo>
                    <a:pt x="529" y="271"/>
                  </a:lnTo>
                  <a:lnTo>
                    <a:pt x="530" y="269"/>
                  </a:lnTo>
                  <a:lnTo>
                    <a:pt x="528" y="269"/>
                  </a:lnTo>
                  <a:lnTo>
                    <a:pt x="527" y="269"/>
                  </a:lnTo>
                  <a:lnTo>
                    <a:pt x="525" y="269"/>
                  </a:lnTo>
                  <a:lnTo>
                    <a:pt x="524" y="269"/>
                  </a:lnTo>
                  <a:lnTo>
                    <a:pt x="523" y="268"/>
                  </a:lnTo>
                  <a:lnTo>
                    <a:pt x="522" y="267"/>
                  </a:lnTo>
                  <a:lnTo>
                    <a:pt x="525" y="266"/>
                  </a:lnTo>
                  <a:lnTo>
                    <a:pt x="527" y="264"/>
                  </a:lnTo>
                  <a:lnTo>
                    <a:pt x="523" y="263"/>
                  </a:lnTo>
                  <a:lnTo>
                    <a:pt x="527" y="262"/>
                  </a:lnTo>
                  <a:lnTo>
                    <a:pt x="528" y="261"/>
                  </a:lnTo>
                  <a:lnTo>
                    <a:pt x="530" y="262"/>
                  </a:lnTo>
                  <a:lnTo>
                    <a:pt x="530" y="260"/>
                  </a:lnTo>
                  <a:lnTo>
                    <a:pt x="531" y="260"/>
                  </a:lnTo>
                  <a:lnTo>
                    <a:pt x="533" y="261"/>
                  </a:lnTo>
                  <a:lnTo>
                    <a:pt x="534" y="261"/>
                  </a:lnTo>
                  <a:lnTo>
                    <a:pt x="535" y="261"/>
                  </a:lnTo>
                  <a:lnTo>
                    <a:pt x="534" y="260"/>
                  </a:lnTo>
                  <a:lnTo>
                    <a:pt x="533" y="258"/>
                  </a:lnTo>
                  <a:lnTo>
                    <a:pt x="535" y="257"/>
                  </a:lnTo>
                  <a:lnTo>
                    <a:pt x="536" y="258"/>
                  </a:lnTo>
                  <a:lnTo>
                    <a:pt x="539" y="260"/>
                  </a:lnTo>
                  <a:lnTo>
                    <a:pt x="540" y="258"/>
                  </a:lnTo>
                  <a:lnTo>
                    <a:pt x="536" y="256"/>
                  </a:lnTo>
                  <a:lnTo>
                    <a:pt x="535" y="255"/>
                  </a:lnTo>
                  <a:lnTo>
                    <a:pt x="540" y="255"/>
                  </a:lnTo>
                  <a:lnTo>
                    <a:pt x="541" y="254"/>
                  </a:lnTo>
                  <a:lnTo>
                    <a:pt x="535" y="254"/>
                  </a:lnTo>
                  <a:lnTo>
                    <a:pt x="534" y="254"/>
                  </a:lnTo>
                  <a:lnTo>
                    <a:pt x="533" y="252"/>
                  </a:lnTo>
                  <a:lnTo>
                    <a:pt x="533" y="251"/>
                  </a:lnTo>
                  <a:lnTo>
                    <a:pt x="531" y="250"/>
                  </a:lnTo>
                  <a:lnTo>
                    <a:pt x="530" y="255"/>
                  </a:lnTo>
                  <a:lnTo>
                    <a:pt x="529" y="255"/>
                  </a:lnTo>
                  <a:lnTo>
                    <a:pt x="528" y="256"/>
                  </a:lnTo>
                  <a:lnTo>
                    <a:pt x="528" y="257"/>
                  </a:lnTo>
                  <a:lnTo>
                    <a:pt x="527" y="257"/>
                  </a:lnTo>
                  <a:lnTo>
                    <a:pt x="525" y="258"/>
                  </a:lnTo>
                  <a:lnTo>
                    <a:pt x="524" y="258"/>
                  </a:lnTo>
                  <a:lnTo>
                    <a:pt x="523" y="257"/>
                  </a:lnTo>
                  <a:lnTo>
                    <a:pt x="523" y="255"/>
                  </a:lnTo>
                  <a:lnTo>
                    <a:pt x="522" y="255"/>
                  </a:lnTo>
                  <a:lnTo>
                    <a:pt x="522" y="256"/>
                  </a:lnTo>
                  <a:lnTo>
                    <a:pt x="522" y="257"/>
                  </a:lnTo>
                  <a:lnTo>
                    <a:pt x="519" y="258"/>
                  </a:lnTo>
                  <a:lnTo>
                    <a:pt x="519" y="260"/>
                  </a:lnTo>
                  <a:lnTo>
                    <a:pt x="521" y="262"/>
                  </a:lnTo>
                  <a:lnTo>
                    <a:pt x="519" y="262"/>
                  </a:lnTo>
                  <a:lnTo>
                    <a:pt x="518" y="263"/>
                  </a:lnTo>
                  <a:lnTo>
                    <a:pt x="518" y="262"/>
                  </a:lnTo>
                  <a:lnTo>
                    <a:pt x="517" y="260"/>
                  </a:lnTo>
                  <a:lnTo>
                    <a:pt x="516" y="260"/>
                  </a:lnTo>
                  <a:lnTo>
                    <a:pt x="515" y="260"/>
                  </a:lnTo>
                  <a:lnTo>
                    <a:pt x="513" y="260"/>
                  </a:lnTo>
                  <a:lnTo>
                    <a:pt x="511" y="260"/>
                  </a:lnTo>
                  <a:lnTo>
                    <a:pt x="511" y="258"/>
                  </a:lnTo>
                  <a:lnTo>
                    <a:pt x="512" y="257"/>
                  </a:lnTo>
                  <a:lnTo>
                    <a:pt x="513" y="257"/>
                  </a:lnTo>
                  <a:lnTo>
                    <a:pt x="515" y="256"/>
                  </a:lnTo>
                  <a:lnTo>
                    <a:pt x="516" y="255"/>
                  </a:lnTo>
                  <a:lnTo>
                    <a:pt x="516" y="254"/>
                  </a:lnTo>
                  <a:lnTo>
                    <a:pt x="518" y="252"/>
                  </a:lnTo>
                  <a:lnTo>
                    <a:pt x="519" y="252"/>
                  </a:lnTo>
                  <a:lnTo>
                    <a:pt x="521" y="252"/>
                  </a:lnTo>
                  <a:lnTo>
                    <a:pt x="519" y="251"/>
                  </a:lnTo>
                  <a:lnTo>
                    <a:pt x="521" y="250"/>
                  </a:lnTo>
                  <a:lnTo>
                    <a:pt x="522" y="251"/>
                  </a:lnTo>
                  <a:lnTo>
                    <a:pt x="523" y="251"/>
                  </a:lnTo>
                  <a:lnTo>
                    <a:pt x="522" y="252"/>
                  </a:lnTo>
                  <a:lnTo>
                    <a:pt x="522" y="254"/>
                  </a:lnTo>
                  <a:lnTo>
                    <a:pt x="523" y="254"/>
                  </a:lnTo>
                  <a:lnTo>
                    <a:pt x="524" y="252"/>
                  </a:lnTo>
                  <a:lnTo>
                    <a:pt x="524" y="251"/>
                  </a:lnTo>
                  <a:lnTo>
                    <a:pt x="525" y="251"/>
                  </a:lnTo>
                  <a:lnTo>
                    <a:pt x="527" y="252"/>
                  </a:lnTo>
                  <a:lnTo>
                    <a:pt x="527" y="251"/>
                  </a:lnTo>
                  <a:lnTo>
                    <a:pt x="524" y="250"/>
                  </a:lnTo>
                  <a:lnTo>
                    <a:pt x="523" y="249"/>
                  </a:lnTo>
                  <a:lnTo>
                    <a:pt x="525" y="248"/>
                  </a:lnTo>
                  <a:lnTo>
                    <a:pt x="528" y="248"/>
                  </a:lnTo>
                  <a:lnTo>
                    <a:pt x="528" y="246"/>
                  </a:lnTo>
                  <a:lnTo>
                    <a:pt x="530" y="246"/>
                  </a:lnTo>
                  <a:lnTo>
                    <a:pt x="524" y="246"/>
                  </a:lnTo>
                  <a:lnTo>
                    <a:pt x="522" y="248"/>
                  </a:lnTo>
                  <a:lnTo>
                    <a:pt x="517" y="249"/>
                  </a:lnTo>
                  <a:lnTo>
                    <a:pt x="515" y="251"/>
                  </a:lnTo>
                  <a:lnTo>
                    <a:pt x="515" y="254"/>
                  </a:lnTo>
                  <a:lnTo>
                    <a:pt x="513" y="255"/>
                  </a:lnTo>
                  <a:lnTo>
                    <a:pt x="511" y="255"/>
                  </a:lnTo>
                  <a:lnTo>
                    <a:pt x="510" y="252"/>
                  </a:lnTo>
                  <a:lnTo>
                    <a:pt x="510" y="251"/>
                  </a:lnTo>
                  <a:lnTo>
                    <a:pt x="513" y="251"/>
                  </a:lnTo>
                  <a:lnTo>
                    <a:pt x="509" y="251"/>
                  </a:lnTo>
                  <a:lnTo>
                    <a:pt x="509" y="248"/>
                  </a:lnTo>
                  <a:lnTo>
                    <a:pt x="507" y="249"/>
                  </a:lnTo>
                  <a:lnTo>
                    <a:pt x="507" y="251"/>
                  </a:lnTo>
                  <a:lnTo>
                    <a:pt x="507" y="252"/>
                  </a:lnTo>
                  <a:lnTo>
                    <a:pt x="507" y="256"/>
                  </a:lnTo>
                  <a:lnTo>
                    <a:pt x="505" y="258"/>
                  </a:lnTo>
                  <a:lnTo>
                    <a:pt x="502" y="260"/>
                  </a:lnTo>
                  <a:lnTo>
                    <a:pt x="500" y="260"/>
                  </a:lnTo>
                  <a:lnTo>
                    <a:pt x="500" y="261"/>
                  </a:lnTo>
                  <a:lnTo>
                    <a:pt x="498" y="261"/>
                  </a:lnTo>
                  <a:lnTo>
                    <a:pt x="498" y="260"/>
                  </a:lnTo>
                  <a:lnTo>
                    <a:pt x="498" y="257"/>
                  </a:lnTo>
                  <a:lnTo>
                    <a:pt x="496" y="257"/>
                  </a:lnTo>
                  <a:lnTo>
                    <a:pt x="495" y="258"/>
                  </a:lnTo>
                  <a:lnTo>
                    <a:pt x="494" y="258"/>
                  </a:lnTo>
                  <a:lnTo>
                    <a:pt x="494" y="256"/>
                  </a:lnTo>
                  <a:lnTo>
                    <a:pt x="494" y="255"/>
                  </a:lnTo>
                  <a:lnTo>
                    <a:pt x="493" y="257"/>
                  </a:lnTo>
                  <a:lnTo>
                    <a:pt x="492" y="256"/>
                  </a:lnTo>
                  <a:lnTo>
                    <a:pt x="489" y="255"/>
                  </a:lnTo>
                  <a:lnTo>
                    <a:pt x="488" y="252"/>
                  </a:lnTo>
                  <a:lnTo>
                    <a:pt x="489" y="251"/>
                  </a:lnTo>
                  <a:lnTo>
                    <a:pt x="490" y="251"/>
                  </a:lnTo>
                  <a:lnTo>
                    <a:pt x="492" y="251"/>
                  </a:lnTo>
                  <a:lnTo>
                    <a:pt x="493" y="250"/>
                  </a:lnTo>
                  <a:lnTo>
                    <a:pt x="493" y="249"/>
                  </a:lnTo>
                  <a:lnTo>
                    <a:pt x="494" y="248"/>
                  </a:lnTo>
                  <a:lnTo>
                    <a:pt x="495" y="246"/>
                  </a:lnTo>
                  <a:lnTo>
                    <a:pt x="498" y="245"/>
                  </a:lnTo>
                  <a:lnTo>
                    <a:pt x="499" y="245"/>
                  </a:lnTo>
                  <a:lnTo>
                    <a:pt x="500" y="245"/>
                  </a:lnTo>
                  <a:lnTo>
                    <a:pt x="500" y="243"/>
                  </a:lnTo>
                  <a:lnTo>
                    <a:pt x="501" y="243"/>
                  </a:lnTo>
                  <a:lnTo>
                    <a:pt x="504" y="244"/>
                  </a:lnTo>
                  <a:lnTo>
                    <a:pt x="506" y="244"/>
                  </a:lnTo>
                  <a:lnTo>
                    <a:pt x="506" y="243"/>
                  </a:lnTo>
                  <a:lnTo>
                    <a:pt x="502" y="242"/>
                  </a:lnTo>
                  <a:lnTo>
                    <a:pt x="502" y="240"/>
                  </a:lnTo>
                  <a:lnTo>
                    <a:pt x="501" y="240"/>
                  </a:lnTo>
                  <a:lnTo>
                    <a:pt x="504" y="239"/>
                  </a:lnTo>
                  <a:lnTo>
                    <a:pt x="501" y="239"/>
                  </a:lnTo>
                  <a:lnTo>
                    <a:pt x="500" y="238"/>
                  </a:lnTo>
                  <a:lnTo>
                    <a:pt x="501" y="237"/>
                  </a:lnTo>
                  <a:lnTo>
                    <a:pt x="502" y="234"/>
                  </a:lnTo>
                  <a:lnTo>
                    <a:pt x="502" y="233"/>
                  </a:lnTo>
                  <a:lnTo>
                    <a:pt x="499" y="238"/>
                  </a:lnTo>
                  <a:lnTo>
                    <a:pt x="498" y="238"/>
                  </a:lnTo>
                  <a:lnTo>
                    <a:pt x="498" y="237"/>
                  </a:lnTo>
                  <a:lnTo>
                    <a:pt x="496" y="238"/>
                  </a:lnTo>
                  <a:lnTo>
                    <a:pt x="495" y="239"/>
                  </a:lnTo>
                  <a:lnTo>
                    <a:pt x="494" y="239"/>
                  </a:lnTo>
                  <a:lnTo>
                    <a:pt x="493" y="242"/>
                  </a:lnTo>
                  <a:lnTo>
                    <a:pt x="492" y="243"/>
                  </a:lnTo>
                  <a:lnTo>
                    <a:pt x="490" y="243"/>
                  </a:lnTo>
                  <a:lnTo>
                    <a:pt x="489" y="242"/>
                  </a:lnTo>
                  <a:lnTo>
                    <a:pt x="488" y="240"/>
                  </a:lnTo>
                  <a:lnTo>
                    <a:pt x="487" y="242"/>
                  </a:lnTo>
                  <a:lnTo>
                    <a:pt x="486" y="244"/>
                  </a:lnTo>
                  <a:lnTo>
                    <a:pt x="484" y="244"/>
                  </a:lnTo>
                  <a:lnTo>
                    <a:pt x="483" y="243"/>
                  </a:lnTo>
                  <a:lnTo>
                    <a:pt x="482" y="243"/>
                  </a:lnTo>
                  <a:lnTo>
                    <a:pt x="482" y="245"/>
                  </a:lnTo>
                  <a:lnTo>
                    <a:pt x="481" y="248"/>
                  </a:lnTo>
                  <a:lnTo>
                    <a:pt x="478" y="248"/>
                  </a:lnTo>
                  <a:lnTo>
                    <a:pt x="474" y="245"/>
                  </a:lnTo>
                  <a:lnTo>
                    <a:pt x="472" y="244"/>
                  </a:lnTo>
                  <a:lnTo>
                    <a:pt x="470" y="242"/>
                  </a:lnTo>
                  <a:lnTo>
                    <a:pt x="469" y="239"/>
                  </a:lnTo>
                  <a:lnTo>
                    <a:pt x="468" y="237"/>
                  </a:lnTo>
                  <a:lnTo>
                    <a:pt x="469" y="237"/>
                  </a:lnTo>
                  <a:lnTo>
                    <a:pt x="470" y="236"/>
                  </a:lnTo>
                  <a:lnTo>
                    <a:pt x="468" y="234"/>
                  </a:lnTo>
                  <a:lnTo>
                    <a:pt x="466" y="234"/>
                  </a:lnTo>
                  <a:lnTo>
                    <a:pt x="466" y="233"/>
                  </a:lnTo>
                  <a:lnTo>
                    <a:pt x="470" y="233"/>
                  </a:lnTo>
                  <a:lnTo>
                    <a:pt x="471" y="233"/>
                  </a:lnTo>
                  <a:lnTo>
                    <a:pt x="471" y="232"/>
                  </a:lnTo>
                  <a:lnTo>
                    <a:pt x="470" y="231"/>
                  </a:lnTo>
                  <a:lnTo>
                    <a:pt x="466" y="231"/>
                  </a:lnTo>
                  <a:lnTo>
                    <a:pt x="465" y="230"/>
                  </a:lnTo>
                  <a:lnTo>
                    <a:pt x="465" y="226"/>
                  </a:lnTo>
                  <a:lnTo>
                    <a:pt x="466" y="226"/>
                  </a:lnTo>
                  <a:lnTo>
                    <a:pt x="468" y="226"/>
                  </a:lnTo>
                  <a:lnTo>
                    <a:pt x="469" y="226"/>
                  </a:lnTo>
                  <a:lnTo>
                    <a:pt x="469" y="230"/>
                  </a:lnTo>
                  <a:lnTo>
                    <a:pt x="470" y="228"/>
                  </a:lnTo>
                  <a:lnTo>
                    <a:pt x="470" y="226"/>
                  </a:lnTo>
                  <a:lnTo>
                    <a:pt x="471" y="226"/>
                  </a:lnTo>
                  <a:lnTo>
                    <a:pt x="472" y="226"/>
                  </a:lnTo>
                  <a:lnTo>
                    <a:pt x="474" y="225"/>
                  </a:lnTo>
                  <a:lnTo>
                    <a:pt x="472" y="224"/>
                  </a:lnTo>
                  <a:lnTo>
                    <a:pt x="474" y="224"/>
                  </a:lnTo>
                  <a:lnTo>
                    <a:pt x="475" y="225"/>
                  </a:lnTo>
                  <a:lnTo>
                    <a:pt x="474" y="226"/>
                  </a:lnTo>
                  <a:lnTo>
                    <a:pt x="475" y="227"/>
                  </a:lnTo>
                  <a:lnTo>
                    <a:pt x="476" y="225"/>
                  </a:lnTo>
                  <a:lnTo>
                    <a:pt x="477" y="225"/>
                  </a:lnTo>
                  <a:lnTo>
                    <a:pt x="477" y="226"/>
                  </a:lnTo>
                  <a:lnTo>
                    <a:pt x="478" y="226"/>
                  </a:lnTo>
                  <a:lnTo>
                    <a:pt x="480" y="224"/>
                  </a:lnTo>
                  <a:lnTo>
                    <a:pt x="481" y="224"/>
                  </a:lnTo>
                  <a:lnTo>
                    <a:pt x="481" y="219"/>
                  </a:lnTo>
                  <a:lnTo>
                    <a:pt x="482" y="219"/>
                  </a:lnTo>
                  <a:lnTo>
                    <a:pt x="482" y="220"/>
                  </a:lnTo>
                  <a:lnTo>
                    <a:pt x="482" y="221"/>
                  </a:lnTo>
                  <a:lnTo>
                    <a:pt x="483" y="221"/>
                  </a:lnTo>
                  <a:lnTo>
                    <a:pt x="484" y="221"/>
                  </a:lnTo>
                  <a:lnTo>
                    <a:pt x="484" y="220"/>
                  </a:lnTo>
                  <a:lnTo>
                    <a:pt x="486" y="220"/>
                  </a:lnTo>
                  <a:lnTo>
                    <a:pt x="487" y="220"/>
                  </a:lnTo>
                  <a:lnTo>
                    <a:pt x="488" y="219"/>
                  </a:lnTo>
                  <a:lnTo>
                    <a:pt x="488" y="216"/>
                  </a:lnTo>
                  <a:lnTo>
                    <a:pt x="489" y="214"/>
                  </a:lnTo>
                  <a:lnTo>
                    <a:pt x="490" y="213"/>
                  </a:lnTo>
                  <a:lnTo>
                    <a:pt x="492" y="213"/>
                  </a:lnTo>
                  <a:lnTo>
                    <a:pt x="490" y="212"/>
                  </a:lnTo>
                  <a:lnTo>
                    <a:pt x="490" y="210"/>
                  </a:lnTo>
                  <a:lnTo>
                    <a:pt x="492" y="209"/>
                  </a:lnTo>
                  <a:lnTo>
                    <a:pt x="493" y="210"/>
                  </a:lnTo>
                  <a:lnTo>
                    <a:pt x="494" y="210"/>
                  </a:lnTo>
                  <a:lnTo>
                    <a:pt x="493" y="209"/>
                  </a:lnTo>
                  <a:lnTo>
                    <a:pt x="490" y="208"/>
                  </a:lnTo>
                  <a:lnTo>
                    <a:pt x="490" y="206"/>
                  </a:lnTo>
                  <a:lnTo>
                    <a:pt x="492" y="206"/>
                  </a:lnTo>
                  <a:lnTo>
                    <a:pt x="492" y="208"/>
                  </a:lnTo>
                  <a:lnTo>
                    <a:pt x="493" y="208"/>
                  </a:lnTo>
                  <a:lnTo>
                    <a:pt x="494" y="207"/>
                  </a:lnTo>
                  <a:lnTo>
                    <a:pt x="495" y="208"/>
                  </a:lnTo>
                  <a:lnTo>
                    <a:pt x="496" y="208"/>
                  </a:lnTo>
                  <a:lnTo>
                    <a:pt x="498" y="208"/>
                  </a:lnTo>
                  <a:lnTo>
                    <a:pt x="496" y="207"/>
                  </a:lnTo>
                  <a:lnTo>
                    <a:pt x="498" y="207"/>
                  </a:lnTo>
                  <a:lnTo>
                    <a:pt x="499" y="208"/>
                  </a:lnTo>
                  <a:lnTo>
                    <a:pt x="499" y="207"/>
                  </a:lnTo>
                  <a:lnTo>
                    <a:pt x="500" y="207"/>
                  </a:lnTo>
                  <a:lnTo>
                    <a:pt x="499" y="206"/>
                  </a:lnTo>
                  <a:lnTo>
                    <a:pt x="496" y="203"/>
                  </a:lnTo>
                  <a:lnTo>
                    <a:pt x="495" y="202"/>
                  </a:lnTo>
                  <a:lnTo>
                    <a:pt x="494" y="202"/>
                  </a:lnTo>
                  <a:lnTo>
                    <a:pt x="492" y="201"/>
                  </a:lnTo>
                  <a:lnTo>
                    <a:pt x="495" y="201"/>
                  </a:lnTo>
                  <a:lnTo>
                    <a:pt x="495" y="200"/>
                  </a:lnTo>
                  <a:lnTo>
                    <a:pt x="498" y="200"/>
                  </a:lnTo>
                  <a:lnTo>
                    <a:pt x="500" y="202"/>
                  </a:lnTo>
                  <a:lnTo>
                    <a:pt x="501" y="202"/>
                  </a:lnTo>
                  <a:lnTo>
                    <a:pt x="501" y="201"/>
                  </a:lnTo>
                  <a:lnTo>
                    <a:pt x="498" y="198"/>
                  </a:lnTo>
                  <a:lnTo>
                    <a:pt x="499" y="197"/>
                  </a:lnTo>
                  <a:lnTo>
                    <a:pt x="500" y="196"/>
                  </a:lnTo>
                  <a:lnTo>
                    <a:pt x="501" y="196"/>
                  </a:lnTo>
                  <a:lnTo>
                    <a:pt x="505" y="200"/>
                  </a:lnTo>
                  <a:lnTo>
                    <a:pt x="507" y="200"/>
                  </a:lnTo>
                  <a:lnTo>
                    <a:pt x="507" y="198"/>
                  </a:lnTo>
                  <a:lnTo>
                    <a:pt x="504" y="196"/>
                  </a:lnTo>
                  <a:lnTo>
                    <a:pt x="502" y="195"/>
                  </a:lnTo>
                  <a:lnTo>
                    <a:pt x="505" y="195"/>
                  </a:lnTo>
                  <a:lnTo>
                    <a:pt x="510" y="195"/>
                  </a:lnTo>
                  <a:lnTo>
                    <a:pt x="510" y="196"/>
                  </a:lnTo>
                  <a:lnTo>
                    <a:pt x="511" y="196"/>
                  </a:lnTo>
                  <a:lnTo>
                    <a:pt x="511" y="195"/>
                  </a:lnTo>
                  <a:lnTo>
                    <a:pt x="510" y="194"/>
                  </a:lnTo>
                  <a:lnTo>
                    <a:pt x="511" y="194"/>
                  </a:lnTo>
                  <a:lnTo>
                    <a:pt x="511" y="190"/>
                  </a:lnTo>
                  <a:lnTo>
                    <a:pt x="515" y="190"/>
                  </a:lnTo>
                  <a:lnTo>
                    <a:pt x="515" y="191"/>
                  </a:lnTo>
                  <a:lnTo>
                    <a:pt x="517" y="191"/>
                  </a:lnTo>
                  <a:lnTo>
                    <a:pt x="517" y="190"/>
                  </a:lnTo>
                  <a:lnTo>
                    <a:pt x="516" y="190"/>
                  </a:lnTo>
                  <a:lnTo>
                    <a:pt x="515" y="189"/>
                  </a:lnTo>
                  <a:lnTo>
                    <a:pt x="515" y="188"/>
                  </a:lnTo>
                  <a:lnTo>
                    <a:pt x="516" y="186"/>
                  </a:lnTo>
                  <a:lnTo>
                    <a:pt x="521" y="188"/>
                  </a:lnTo>
                  <a:lnTo>
                    <a:pt x="522" y="188"/>
                  </a:lnTo>
                  <a:lnTo>
                    <a:pt x="523" y="188"/>
                  </a:lnTo>
                  <a:lnTo>
                    <a:pt x="523" y="186"/>
                  </a:lnTo>
                  <a:lnTo>
                    <a:pt x="519" y="185"/>
                  </a:lnTo>
                  <a:lnTo>
                    <a:pt x="519" y="184"/>
                  </a:lnTo>
                  <a:lnTo>
                    <a:pt x="521" y="182"/>
                  </a:lnTo>
                  <a:lnTo>
                    <a:pt x="523" y="180"/>
                  </a:lnTo>
                  <a:lnTo>
                    <a:pt x="522" y="179"/>
                  </a:lnTo>
                  <a:lnTo>
                    <a:pt x="521" y="180"/>
                  </a:lnTo>
                  <a:lnTo>
                    <a:pt x="518" y="182"/>
                  </a:lnTo>
                  <a:lnTo>
                    <a:pt x="513" y="184"/>
                  </a:lnTo>
                  <a:lnTo>
                    <a:pt x="512" y="185"/>
                  </a:lnTo>
                  <a:lnTo>
                    <a:pt x="512" y="188"/>
                  </a:lnTo>
                  <a:lnTo>
                    <a:pt x="511" y="188"/>
                  </a:lnTo>
                  <a:lnTo>
                    <a:pt x="510" y="188"/>
                  </a:lnTo>
                  <a:lnTo>
                    <a:pt x="511" y="185"/>
                  </a:lnTo>
                  <a:lnTo>
                    <a:pt x="511" y="184"/>
                  </a:lnTo>
                  <a:lnTo>
                    <a:pt x="510" y="186"/>
                  </a:lnTo>
                  <a:lnTo>
                    <a:pt x="509" y="188"/>
                  </a:lnTo>
                  <a:lnTo>
                    <a:pt x="507" y="189"/>
                  </a:lnTo>
                  <a:lnTo>
                    <a:pt x="506" y="189"/>
                  </a:lnTo>
                  <a:lnTo>
                    <a:pt x="505" y="190"/>
                  </a:lnTo>
                  <a:lnTo>
                    <a:pt x="504" y="189"/>
                  </a:lnTo>
                  <a:lnTo>
                    <a:pt x="504" y="188"/>
                  </a:lnTo>
                  <a:lnTo>
                    <a:pt x="504" y="186"/>
                  </a:lnTo>
                  <a:lnTo>
                    <a:pt x="502" y="185"/>
                  </a:lnTo>
                  <a:lnTo>
                    <a:pt x="501" y="186"/>
                  </a:lnTo>
                  <a:lnTo>
                    <a:pt x="501" y="190"/>
                  </a:lnTo>
                  <a:lnTo>
                    <a:pt x="501" y="194"/>
                  </a:lnTo>
                  <a:lnTo>
                    <a:pt x="499" y="195"/>
                  </a:lnTo>
                  <a:lnTo>
                    <a:pt x="498" y="191"/>
                  </a:lnTo>
                  <a:lnTo>
                    <a:pt x="498" y="192"/>
                  </a:lnTo>
                  <a:lnTo>
                    <a:pt x="496" y="194"/>
                  </a:lnTo>
                  <a:lnTo>
                    <a:pt x="495" y="194"/>
                  </a:lnTo>
                  <a:lnTo>
                    <a:pt x="494" y="195"/>
                  </a:lnTo>
                  <a:lnTo>
                    <a:pt x="494" y="196"/>
                  </a:lnTo>
                  <a:lnTo>
                    <a:pt x="490" y="197"/>
                  </a:lnTo>
                  <a:lnTo>
                    <a:pt x="488" y="195"/>
                  </a:lnTo>
                  <a:lnTo>
                    <a:pt x="488" y="196"/>
                  </a:lnTo>
                  <a:lnTo>
                    <a:pt x="488" y="197"/>
                  </a:lnTo>
                  <a:lnTo>
                    <a:pt x="478" y="204"/>
                  </a:lnTo>
                  <a:lnTo>
                    <a:pt x="476" y="206"/>
                  </a:lnTo>
                  <a:lnTo>
                    <a:pt x="474" y="206"/>
                  </a:lnTo>
                  <a:lnTo>
                    <a:pt x="472" y="207"/>
                  </a:lnTo>
                  <a:lnTo>
                    <a:pt x="471" y="208"/>
                  </a:lnTo>
                  <a:lnTo>
                    <a:pt x="470" y="209"/>
                  </a:lnTo>
                  <a:lnTo>
                    <a:pt x="468" y="209"/>
                  </a:lnTo>
                  <a:lnTo>
                    <a:pt x="466" y="208"/>
                  </a:lnTo>
                  <a:lnTo>
                    <a:pt x="465" y="208"/>
                  </a:lnTo>
                  <a:lnTo>
                    <a:pt x="464" y="209"/>
                  </a:lnTo>
                  <a:lnTo>
                    <a:pt x="462" y="209"/>
                  </a:lnTo>
                  <a:lnTo>
                    <a:pt x="460" y="208"/>
                  </a:lnTo>
                  <a:lnTo>
                    <a:pt x="457" y="207"/>
                  </a:lnTo>
                  <a:lnTo>
                    <a:pt x="453" y="204"/>
                  </a:lnTo>
                  <a:lnTo>
                    <a:pt x="452" y="204"/>
                  </a:lnTo>
                  <a:lnTo>
                    <a:pt x="451" y="204"/>
                  </a:lnTo>
                  <a:lnTo>
                    <a:pt x="446" y="206"/>
                  </a:lnTo>
                  <a:lnTo>
                    <a:pt x="443" y="204"/>
                  </a:lnTo>
                  <a:lnTo>
                    <a:pt x="443" y="202"/>
                  </a:lnTo>
                  <a:lnTo>
                    <a:pt x="443" y="200"/>
                  </a:lnTo>
                  <a:lnTo>
                    <a:pt x="442" y="197"/>
                  </a:lnTo>
                  <a:lnTo>
                    <a:pt x="443" y="197"/>
                  </a:lnTo>
                  <a:lnTo>
                    <a:pt x="445" y="198"/>
                  </a:lnTo>
                  <a:lnTo>
                    <a:pt x="448" y="201"/>
                  </a:lnTo>
                  <a:lnTo>
                    <a:pt x="450" y="201"/>
                  </a:lnTo>
                  <a:lnTo>
                    <a:pt x="451" y="200"/>
                  </a:lnTo>
                  <a:lnTo>
                    <a:pt x="448" y="200"/>
                  </a:lnTo>
                  <a:lnTo>
                    <a:pt x="447" y="197"/>
                  </a:lnTo>
                  <a:lnTo>
                    <a:pt x="445" y="196"/>
                  </a:lnTo>
                  <a:lnTo>
                    <a:pt x="442" y="195"/>
                  </a:lnTo>
                  <a:lnTo>
                    <a:pt x="443" y="194"/>
                  </a:lnTo>
                  <a:lnTo>
                    <a:pt x="445" y="194"/>
                  </a:lnTo>
                  <a:lnTo>
                    <a:pt x="446" y="192"/>
                  </a:lnTo>
                  <a:lnTo>
                    <a:pt x="443" y="192"/>
                  </a:lnTo>
                  <a:lnTo>
                    <a:pt x="442" y="190"/>
                  </a:lnTo>
                  <a:lnTo>
                    <a:pt x="443" y="189"/>
                  </a:lnTo>
                  <a:lnTo>
                    <a:pt x="446" y="189"/>
                  </a:lnTo>
                  <a:lnTo>
                    <a:pt x="448" y="188"/>
                  </a:lnTo>
                  <a:lnTo>
                    <a:pt x="450" y="186"/>
                  </a:lnTo>
                  <a:lnTo>
                    <a:pt x="448" y="186"/>
                  </a:lnTo>
                  <a:lnTo>
                    <a:pt x="445" y="186"/>
                  </a:lnTo>
                  <a:lnTo>
                    <a:pt x="441" y="188"/>
                  </a:lnTo>
                  <a:lnTo>
                    <a:pt x="439" y="189"/>
                  </a:lnTo>
                  <a:lnTo>
                    <a:pt x="433" y="183"/>
                  </a:lnTo>
                  <a:lnTo>
                    <a:pt x="431" y="183"/>
                  </a:lnTo>
                  <a:lnTo>
                    <a:pt x="429" y="180"/>
                  </a:lnTo>
                  <a:lnTo>
                    <a:pt x="429" y="179"/>
                  </a:lnTo>
                  <a:lnTo>
                    <a:pt x="428" y="178"/>
                  </a:lnTo>
                  <a:lnTo>
                    <a:pt x="427" y="178"/>
                  </a:lnTo>
                  <a:lnTo>
                    <a:pt x="425" y="176"/>
                  </a:lnTo>
                  <a:lnTo>
                    <a:pt x="424" y="176"/>
                  </a:lnTo>
                  <a:lnTo>
                    <a:pt x="423" y="174"/>
                  </a:lnTo>
                  <a:lnTo>
                    <a:pt x="422" y="172"/>
                  </a:lnTo>
                  <a:lnTo>
                    <a:pt x="422" y="168"/>
                  </a:lnTo>
                  <a:lnTo>
                    <a:pt x="423" y="167"/>
                  </a:lnTo>
                  <a:lnTo>
                    <a:pt x="424" y="167"/>
                  </a:lnTo>
                  <a:lnTo>
                    <a:pt x="423" y="166"/>
                  </a:lnTo>
                  <a:lnTo>
                    <a:pt x="423" y="165"/>
                  </a:lnTo>
                  <a:lnTo>
                    <a:pt x="424" y="162"/>
                  </a:lnTo>
                  <a:lnTo>
                    <a:pt x="425" y="161"/>
                  </a:lnTo>
                  <a:lnTo>
                    <a:pt x="427" y="162"/>
                  </a:lnTo>
                  <a:lnTo>
                    <a:pt x="428" y="164"/>
                  </a:lnTo>
                  <a:lnTo>
                    <a:pt x="429" y="164"/>
                  </a:lnTo>
                  <a:lnTo>
                    <a:pt x="429" y="166"/>
                  </a:lnTo>
                  <a:lnTo>
                    <a:pt x="430" y="166"/>
                  </a:lnTo>
                  <a:lnTo>
                    <a:pt x="431" y="165"/>
                  </a:lnTo>
                  <a:lnTo>
                    <a:pt x="431" y="168"/>
                  </a:lnTo>
                  <a:lnTo>
                    <a:pt x="433" y="168"/>
                  </a:lnTo>
                  <a:lnTo>
                    <a:pt x="433" y="167"/>
                  </a:lnTo>
                  <a:lnTo>
                    <a:pt x="433" y="165"/>
                  </a:lnTo>
                  <a:lnTo>
                    <a:pt x="433" y="164"/>
                  </a:lnTo>
                  <a:lnTo>
                    <a:pt x="434" y="165"/>
                  </a:lnTo>
                  <a:lnTo>
                    <a:pt x="437" y="168"/>
                  </a:lnTo>
                  <a:lnTo>
                    <a:pt x="440" y="168"/>
                  </a:lnTo>
                  <a:lnTo>
                    <a:pt x="439" y="167"/>
                  </a:lnTo>
                  <a:lnTo>
                    <a:pt x="435" y="164"/>
                  </a:lnTo>
                  <a:lnTo>
                    <a:pt x="435" y="161"/>
                  </a:lnTo>
                  <a:lnTo>
                    <a:pt x="436" y="161"/>
                  </a:lnTo>
                  <a:lnTo>
                    <a:pt x="437" y="162"/>
                  </a:lnTo>
                  <a:lnTo>
                    <a:pt x="439" y="162"/>
                  </a:lnTo>
                  <a:lnTo>
                    <a:pt x="440" y="164"/>
                  </a:lnTo>
                  <a:lnTo>
                    <a:pt x="441" y="164"/>
                  </a:lnTo>
                  <a:lnTo>
                    <a:pt x="442" y="162"/>
                  </a:lnTo>
                  <a:lnTo>
                    <a:pt x="442" y="160"/>
                  </a:lnTo>
                  <a:lnTo>
                    <a:pt x="442" y="159"/>
                  </a:lnTo>
                  <a:lnTo>
                    <a:pt x="442" y="157"/>
                  </a:lnTo>
                  <a:lnTo>
                    <a:pt x="443" y="157"/>
                  </a:lnTo>
                  <a:lnTo>
                    <a:pt x="442" y="156"/>
                  </a:lnTo>
                  <a:lnTo>
                    <a:pt x="442" y="155"/>
                  </a:lnTo>
                  <a:lnTo>
                    <a:pt x="445" y="154"/>
                  </a:lnTo>
                  <a:lnTo>
                    <a:pt x="445" y="153"/>
                  </a:lnTo>
                  <a:lnTo>
                    <a:pt x="443" y="151"/>
                  </a:lnTo>
                  <a:lnTo>
                    <a:pt x="442" y="151"/>
                  </a:lnTo>
                  <a:lnTo>
                    <a:pt x="442" y="150"/>
                  </a:lnTo>
                  <a:lnTo>
                    <a:pt x="441" y="154"/>
                  </a:lnTo>
                  <a:lnTo>
                    <a:pt x="441" y="153"/>
                  </a:lnTo>
                  <a:lnTo>
                    <a:pt x="441" y="151"/>
                  </a:lnTo>
                  <a:lnTo>
                    <a:pt x="442" y="149"/>
                  </a:lnTo>
                  <a:lnTo>
                    <a:pt x="442" y="147"/>
                  </a:lnTo>
                  <a:lnTo>
                    <a:pt x="445" y="145"/>
                  </a:lnTo>
                  <a:lnTo>
                    <a:pt x="446" y="148"/>
                  </a:lnTo>
                  <a:lnTo>
                    <a:pt x="448" y="149"/>
                  </a:lnTo>
                  <a:lnTo>
                    <a:pt x="448" y="148"/>
                  </a:lnTo>
                  <a:lnTo>
                    <a:pt x="447" y="147"/>
                  </a:lnTo>
                  <a:lnTo>
                    <a:pt x="446" y="145"/>
                  </a:lnTo>
                  <a:lnTo>
                    <a:pt x="446" y="144"/>
                  </a:lnTo>
                  <a:lnTo>
                    <a:pt x="447" y="144"/>
                  </a:lnTo>
                  <a:lnTo>
                    <a:pt x="448" y="144"/>
                  </a:lnTo>
                  <a:lnTo>
                    <a:pt x="448" y="138"/>
                  </a:lnTo>
                  <a:lnTo>
                    <a:pt x="450" y="138"/>
                  </a:lnTo>
                  <a:lnTo>
                    <a:pt x="450" y="139"/>
                  </a:lnTo>
                  <a:lnTo>
                    <a:pt x="451" y="141"/>
                  </a:lnTo>
                  <a:lnTo>
                    <a:pt x="452" y="142"/>
                  </a:lnTo>
                  <a:lnTo>
                    <a:pt x="452" y="144"/>
                  </a:lnTo>
                  <a:lnTo>
                    <a:pt x="453" y="144"/>
                  </a:lnTo>
                  <a:lnTo>
                    <a:pt x="454" y="143"/>
                  </a:lnTo>
                  <a:lnTo>
                    <a:pt x="454" y="142"/>
                  </a:lnTo>
                  <a:lnTo>
                    <a:pt x="454" y="141"/>
                  </a:lnTo>
                  <a:lnTo>
                    <a:pt x="456" y="139"/>
                  </a:lnTo>
                  <a:lnTo>
                    <a:pt x="454" y="138"/>
                  </a:lnTo>
                  <a:lnTo>
                    <a:pt x="453" y="139"/>
                  </a:lnTo>
                  <a:lnTo>
                    <a:pt x="452" y="138"/>
                  </a:lnTo>
                  <a:lnTo>
                    <a:pt x="451" y="137"/>
                  </a:lnTo>
                  <a:lnTo>
                    <a:pt x="453" y="137"/>
                  </a:lnTo>
                  <a:lnTo>
                    <a:pt x="454" y="137"/>
                  </a:lnTo>
                  <a:lnTo>
                    <a:pt x="456" y="136"/>
                  </a:lnTo>
                  <a:lnTo>
                    <a:pt x="451" y="136"/>
                  </a:lnTo>
                  <a:lnTo>
                    <a:pt x="448" y="135"/>
                  </a:lnTo>
                  <a:lnTo>
                    <a:pt x="448" y="133"/>
                  </a:lnTo>
                  <a:lnTo>
                    <a:pt x="451" y="132"/>
                  </a:lnTo>
                  <a:lnTo>
                    <a:pt x="453" y="133"/>
                  </a:lnTo>
                  <a:lnTo>
                    <a:pt x="456" y="133"/>
                  </a:lnTo>
                  <a:lnTo>
                    <a:pt x="452" y="131"/>
                  </a:lnTo>
                  <a:lnTo>
                    <a:pt x="454" y="130"/>
                  </a:lnTo>
                  <a:lnTo>
                    <a:pt x="458" y="132"/>
                  </a:lnTo>
                  <a:lnTo>
                    <a:pt x="459" y="132"/>
                  </a:lnTo>
                  <a:lnTo>
                    <a:pt x="459" y="131"/>
                  </a:lnTo>
                  <a:lnTo>
                    <a:pt x="457" y="129"/>
                  </a:lnTo>
                  <a:lnTo>
                    <a:pt x="457" y="127"/>
                  </a:lnTo>
                  <a:lnTo>
                    <a:pt x="458" y="127"/>
                  </a:lnTo>
                  <a:lnTo>
                    <a:pt x="459" y="127"/>
                  </a:lnTo>
                  <a:lnTo>
                    <a:pt x="459" y="126"/>
                  </a:lnTo>
                  <a:lnTo>
                    <a:pt x="460" y="126"/>
                  </a:lnTo>
                  <a:lnTo>
                    <a:pt x="462" y="126"/>
                  </a:lnTo>
                  <a:lnTo>
                    <a:pt x="465" y="127"/>
                  </a:lnTo>
                  <a:lnTo>
                    <a:pt x="466" y="127"/>
                  </a:lnTo>
                  <a:lnTo>
                    <a:pt x="468" y="129"/>
                  </a:lnTo>
                  <a:lnTo>
                    <a:pt x="469" y="127"/>
                  </a:lnTo>
                  <a:lnTo>
                    <a:pt x="469" y="125"/>
                  </a:lnTo>
                  <a:lnTo>
                    <a:pt x="468" y="124"/>
                  </a:lnTo>
                  <a:lnTo>
                    <a:pt x="466" y="124"/>
                  </a:lnTo>
                  <a:lnTo>
                    <a:pt x="466" y="123"/>
                  </a:lnTo>
                  <a:lnTo>
                    <a:pt x="465" y="124"/>
                  </a:lnTo>
                  <a:lnTo>
                    <a:pt x="463" y="124"/>
                  </a:lnTo>
                  <a:lnTo>
                    <a:pt x="463" y="123"/>
                  </a:lnTo>
                  <a:lnTo>
                    <a:pt x="466" y="120"/>
                  </a:lnTo>
                  <a:lnTo>
                    <a:pt x="468" y="121"/>
                  </a:lnTo>
                  <a:lnTo>
                    <a:pt x="469" y="123"/>
                  </a:lnTo>
                  <a:lnTo>
                    <a:pt x="470" y="123"/>
                  </a:lnTo>
                  <a:lnTo>
                    <a:pt x="471" y="123"/>
                  </a:lnTo>
                  <a:lnTo>
                    <a:pt x="471" y="121"/>
                  </a:lnTo>
                  <a:lnTo>
                    <a:pt x="470" y="120"/>
                  </a:lnTo>
                  <a:lnTo>
                    <a:pt x="469" y="120"/>
                  </a:lnTo>
                  <a:lnTo>
                    <a:pt x="470" y="119"/>
                  </a:lnTo>
                  <a:lnTo>
                    <a:pt x="471" y="119"/>
                  </a:lnTo>
                  <a:lnTo>
                    <a:pt x="474" y="120"/>
                  </a:lnTo>
                  <a:lnTo>
                    <a:pt x="475" y="121"/>
                  </a:lnTo>
                  <a:lnTo>
                    <a:pt x="476" y="120"/>
                  </a:lnTo>
                  <a:lnTo>
                    <a:pt x="475" y="120"/>
                  </a:lnTo>
                  <a:lnTo>
                    <a:pt x="474" y="119"/>
                  </a:lnTo>
                  <a:lnTo>
                    <a:pt x="475" y="118"/>
                  </a:lnTo>
                  <a:lnTo>
                    <a:pt x="476" y="118"/>
                  </a:lnTo>
                  <a:lnTo>
                    <a:pt x="478" y="119"/>
                  </a:lnTo>
                  <a:lnTo>
                    <a:pt x="480" y="118"/>
                  </a:lnTo>
                  <a:lnTo>
                    <a:pt x="481" y="119"/>
                  </a:lnTo>
                  <a:lnTo>
                    <a:pt x="482" y="119"/>
                  </a:lnTo>
                  <a:lnTo>
                    <a:pt x="483" y="119"/>
                  </a:lnTo>
                  <a:lnTo>
                    <a:pt x="481" y="117"/>
                  </a:lnTo>
                  <a:lnTo>
                    <a:pt x="478" y="115"/>
                  </a:lnTo>
                  <a:lnTo>
                    <a:pt x="488" y="109"/>
                  </a:lnTo>
                  <a:lnTo>
                    <a:pt x="489" y="108"/>
                  </a:lnTo>
                  <a:lnTo>
                    <a:pt x="486" y="109"/>
                  </a:lnTo>
                  <a:lnTo>
                    <a:pt x="480" y="113"/>
                  </a:lnTo>
                  <a:lnTo>
                    <a:pt x="478" y="114"/>
                  </a:lnTo>
                  <a:lnTo>
                    <a:pt x="477" y="114"/>
                  </a:lnTo>
                  <a:lnTo>
                    <a:pt x="478" y="111"/>
                  </a:lnTo>
                  <a:lnTo>
                    <a:pt x="480" y="109"/>
                  </a:lnTo>
                  <a:lnTo>
                    <a:pt x="478" y="109"/>
                  </a:lnTo>
                  <a:lnTo>
                    <a:pt x="475" y="112"/>
                  </a:lnTo>
                  <a:lnTo>
                    <a:pt x="474" y="114"/>
                  </a:lnTo>
                  <a:lnTo>
                    <a:pt x="472" y="114"/>
                  </a:lnTo>
                  <a:lnTo>
                    <a:pt x="471" y="113"/>
                  </a:lnTo>
                  <a:lnTo>
                    <a:pt x="471" y="114"/>
                  </a:lnTo>
                  <a:lnTo>
                    <a:pt x="470" y="115"/>
                  </a:lnTo>
                  <a:lnTo>
                    <a:pt x="469" y="117"/>
                  </a:lnTo>
                  <a:lnTo>
                    <a:pt x="468" y="115"/>
                  </a:lnTo>
                  <a:lnTo>
                    <a:pt x="466" y="118"/>
                  </a:lnTo>
                  <a:lnTo>
                    <a:pt x="465" y="119"/>
                  </a:lnTo>
                  <a:lnTo>
                    <a:pt x="464" y="120"/>
                  </a:lnTo>
                  <a:lnTo>
                    <a:pt x="463" y="120"/>
                  </a:lnTo>
                  <a:lnTo>
                    <a:pt x="462" y="120"/>
                  </a:lnTo>
                  <a:lnTo>
                    <a:pt x="463" y="119"/>
                  </a:lnTo>
                  <a:lnTo>
                    <a:pt x="464" y="118"/>
                  </a:lnTo>
                  <a:lnTo>
                    <a:pt x="463" y="117"/>
                  </a:lnTo>
                  <a:lnTo>
                    <a:pt x="463" y="115"/>
                  </a:lnTo>
                  <a:lnTo>
                    <a:pt x="462" y="115"/>
                  </a:lnTo>
                  <a:lnTo>
                    <a:pt x="460" y="117"/>
                  </a:lnTo>
                  <a:lnTo>
                    <a:pt x="459" y="118"/>
                  </a:lnTo>
                  <a:lnTo>
                    <a:pt x="458" y="119"/>
                  </a:lnTo>
                  <a:lnTo>
                    <a:pt x="457" y="120"/>
                  </a:lnTo>
                  <a:lnTo>
                    <a:pt x="457" y="121"/>
                  </a:lnTo>
                  <a:lnTo>
                    <a:pt x="456" y="123"/>
                  </a:lnTo>
                  <a:lnTo>
                    <a:pt x="456" y="125"/>
                  </a:lnTo>
                  <a:lnTo>
                    <a:pt x="453" y="127"/>
                  </a:lnTo>
                  <a:lnTo>
                    <a:pt x="453" y="123"/>
                  </a:lnTo>
                  <a:lnTo>
                    <a:pt x="452" y="123"/>
                  </a:lnTo>
                  <a:lnTo>
                    <a:pt x="451" y="124"/>
                  </a:lnTo>
                  <a:lnTo>
                    <a:pt x="451" y="126"/>
                  </a:lnTo>
                  <a:lnTo>
                    <a:pt x="452" y="127"/>
                  </a:lnTo>
                  <a:lnTo>
                    <a:pt x="451" y="129"/>
                  </a:lnTo>
                  <a:lnTo>
                    <a:pt x="450" y="129"/>
                  </a:lnTo>
                  <a:lnTo>
                    <a:pt x="450" y="131"/>
                  </a:lnTo>
                  <a:lnTo>
                    <a:pt x="447" y="132"/>
                  </a:lnTo>
                  <a:lnTo>
                    <a:pt x="446" y="132"/>
                  </a:lnTo>
                  <a:lnTo>
                    <a:pt x="445" y="132"/>
                  </a:lnTo>
                  <a:lnTo>
                    <a:pt x="443" y="131"/>
                  </a:lnTo>
                  <a:lnTo>
                    <a:pt x="443" y="130"/>
                  </a:lnTo>
                  <a:lnTo>
                    <a:pt x="445" y="131"/>
                  </a:lnTo>
                  <a:lnTo>
                    <a:pt x="446" y="131"/>
                  </a:lnTo>
                  <a:lnTo>
                    <a:pt x="447" y="130"/>
                  </a:lnTo>
                  <a:lnTo>
                    <a:pt x="446" y="129"/>
                  </a:lnTo>
                  <a:lnTo>
                    <a:pt x="445" y="129"/>
                  </a:lnTo>
                  <a:lnTo>
                    <a:pt x="445" y="127"/>
                  </a:lnTo>
                  <a:lnTo>
                    <a:pt x="446" y="126"/>
                  </a:lnTo>
                  <a:lnTo>
                    <a:pt x="445" y="125"/>
                  </a:lnTo>
                  <a:lnTo>
                    <a:pt x="443" y="126"/>
                  </a:lnTo>
                  <a:lnTo>
                    <a:pt x="442" y="129"/>
                  </a:lnTo>
                  <a:lnTo>
                    <a:pt x="442" y="127"/>
                  </a:lnTo>
                  <a:lnTo>
                    <a:pt x="441" y="125"/>
                  </a:lnTo>
                  <a:lnTo>
                    <a:pt x="440" y="125"/>
                  </a:lnTo>
                  <a:lnTo>
                    <a:pt x="439" y="125"/>
                  </a:lnTo>
                  <a:lnTo>
                    <a:pt x="440" y="126"/>
                  </a:lnTo>
                  <a:lnTo>
                    <a:pt x="440" y="127"/>
                  </a:lnTo>
                  <a:lnTo>
                    <a:pt x="441" y="129"/>
                  </a:lnTo>
                  <a:lnTo>
                    <a:pt x="440" y="129"/>
                  </a:lnTo>
                  <a:lnTo>
                    <a:pt x="439" y="130"/>
                  </a:lnTo>
                  <a:lnTo>
                    <a:pt x="439" y="131"/>
                  </a:lnTo>
                  <a:lnTo>
                    <a:pt x="440" y="130"/>
                  </a:lnTo>
                  <a:lnTo>
                    <a:pt x="441" y="131"/>
                  </a:lnTo>
                  <a:lnTo>
                    <a:pt x="442" y="132"/>
                  </a:lnTo>
                  <a:lnTo>
                    <a:pt x="442" y="133"/>
                  </a:lnTo>
                  <a:lnTo>
                    <a:pt x="442" y="136"/>
                  </a:lnTo>
                  <a:lnTo>
                    <a:pt x="441" y="136"/>
                  </a:lnTo>
                  <a:lnTo>
                    <a:pt x="440" y="137"/>
                  </a:lnTo>
                  <a:lnTo>
                    <a:pt x="437" y="138"/>
                  </a:lnTo>
                  <a:lnTo>
                    <a:pt x="436" y="139"/>
                  </a:lnTo>
                  <a:lnTo>
                    <a:pt x="435" y="141"/>
                  </a:lnTo>
                  <a:lnTo>
                    <a:pt x="434" y="142"/>
                  </a:lnTo>
                  <a:lnTo>
                    <a:pt x="430" y="144"/>
                  </a:lnTo>
                  <a:lnTo>
                    <a:pt x="429" y="147"/>
                  </a:lnTo>
                  <a:lnTo>
                    <a:pt x="427" y="147"/>
                  </a:lnTo>
                  <a:lnTo>
                    <a:pt x="424" y="147"/>
                  </a:lnTo>
                  <a:lnTo>
                    <a:pt x="424" y="144"/>
                  </a:lnTo>
                  <a:lnTo>
                    <a:pt x="422" y="142"/>
                  </a:lnTo>
                  <a:lnTo>
                    <a:pt x="421" y="139"/>
                  </a:lnTo>
                  <a:lnTo>
                    <a:pt x="421" y="138"/>
                  </a:lnTo>
                  <a:lnTo>
                    <a:pt x="422" y="138"/>
                  </a:lnTo>
                  <a:lnTo>
                    <a:pt x="423" y="139"/>
                  </a:lnTo>
                  <a:lnTo>
                    <a:pt x="427" y="138"/>
                  </a:lnTo>
                  <a:lnTo>
                    <a:pt x="427" y="137"/>
                  </a:lnTo>
                  <a:lnTo>
                    <a:pt x="424" y="137"/>
                  </a:lnTo>
                  <a:lnTo>
                    <a:pt x="422" y="137"/>
                  </a:lnTo>
                  <a:lnTo>
                    <a:pt x="421" y="137"/>
                  </a:lnTo>
                  <a:lnTo>
                    <a:pt x="419" y="135"/>
                  </a:lnTo>
                  <a:lnTo>
                    <a:pt x="421" y="135"/>
                  </a:lnTo>
                  <a:lnTo>
                    <a:pt x="424" y="133"/>
                  </a:lnTo>
                  <a:lnTo>
                    <a:pt x="425" y="132"/>
                  </a:lnTo>
                  <a:lnTo>
                    <a:pt x="425" y="131"/>
                  </a:lnTo>
                  <a:lnTo>
                    <a:pt x="427" y="129"/>
                  </a:lnTo>
                  <a:lnTo>
                    <a:pt x="428" y="129"/>
                  </a:lnTo>
                  <a:lnTo>
                    <a:pt x="425" y="127"/>
                  </a:lnTo>
                  <a:lnTo>
                    <a:pt x="423" y="127"/>
                  </a:lnTo>
                  <a:lnTo>
                    <a:pt x="421" y="127"/>
                  </a:lnTo>
                  <a:lnTo>
                    <a:pt x="418" y="126"/>
                  </a:lnTo>
                  <a:lnTo>
                    <a:pt x="418" y="125"/>
                  </a:lnTo>
                  <a:lnTo>
                    <a:pt x="419" y="124"/>
                  </a:lnTo>
                  <a:lnTo>
                    <a:pt x="421" y="124"/>
                  </a:lnTo>
                  <a:lnTo>
                    <a:pt x="422" y="124"/>
                  </a:lnTo>
                  <a:lnTo>
                    <a:pt x="423" y="124"/>
                  </a:lnTo>
                  <a:lnTo>
                    <a:pt x="423" y="121"/>
                  </a:lnTo>
                  <a:lnTo>
                    <a:pt x="424" y="121"/>
                  </a:lnTo>
                  <a:lnTo>
                    <a:pt x="427" y="121"/>
                  </a:lnTo>
                  <a:lnTo>
                    <a:pt x="427" y="120"/>
                  </a:lnTo>
                  <a:lnTo>
                    <a:pt x="425" y="120"/>
                  </a:lnTo>
                  <a:lnTo>
                    <a:pt x="423" y="119"/>
                  </a:lnTo>
                  <a:lnTo>
                    <a:pt x="423" y="118"/>
                  </a:lnTo>
                  <a:lnTo>
                    <a:pt x="424" y="118"/>
                  </a:lnTo>
                  <a:lnTo>
                    <a:pt x="425" y="118"/>
                  </a:lnTo>
                  <a:lnTo>
                    <a:pt x="428" y="119"/>
                  </a:lnTo>
                  <a:lnTo>
                    <a:pt x="429" y="118"/>
                  </a:lnTo>
                  <a:lnTo>
                    <a:pt x="431" y="119"/>
                  </a:lnTo>
                  <a:lnTo>
                    <a:pt x="433" y="120"/>
                  </a:lnTo>
                  <a:lnTo>
                    <a:pt x="434" y="121"/>
                  </a:lnTo>
                  <a:lnTo>
                    <a:pt x="435" y="120"/>
                  </a:lnTo>
                  <a:lnTo>
                    <a:pt x="435" y="119"/>
                  </a:lnTo>
                  <a:lnTo>
                    <a:pt x="434" y="119"/>
                  </a:lnTo>
                  <a:lnTo>
                    <a:pt x="431" y="115"/>
                  </a:lnTo>
                  <a:lnTo>
                    <a:pt x="433" y="115"/>
                  </a:lnTo>
                  <a:lnTo>
                    <a:pt x="434" y="117"/>
                  </a:lnTo>
                  <a:lnTo>
                    <a:pt x="435" y="115"/>
                  </a:lnTo>
                  <a:lnTo>
                    <a:pt x="433" y="113"/>
                  </a:lnTo>
                  <a:lnTo>
                    <a:pt x="433" y="112"/>
                  </a:lnTo>
                  <a:lnTo>
                    <a:pt x="434" y="111"/>
                  </a:lnTo>
                  <a:lnTo>
                    <a:pt x="435" y="111"/>
                  </a:lnTo>
                  <a:lnTo>
                    <a:pt x="435" y="112"/>
                  </a:lnTo>
                  <a:lnTo>
                    <a:pt x="436" y="112"/>
                  </a:lnTo>
                  <a:lnTo>
                    <a:pt x="436" y="115"/>
                  </a:lnTo>
                  <a:lnTo>
                    <a:pt x="436" y="117"/>
                  </a:lnTo>
                  <a:lnTo>
                    <a:pt x="437" y="117"/>
                  </a:lnTo>
                  <a:lnTo>
                    <a:pt x="439" y="114"/>
                  </a:lnTo>
                  <a:lnTo>
                    <a:pt x="439" y="113"/>
                  </a:lnTo>
                  <a:lnTo>
                    <a:pt x="440" y="113"/>
                  </a:lnTo>
                  <a:lnTo>
                    <a:pt x="442" y="112"/>
                  </a:lnTo>
                  <a:lnTo>
                    <a:pt x="441" y="111"/>
                  </a:lnTo>
                  <a:lnTo>
                    <a:pt x="440" y="111"/>
                  </a:lnTo>
                  <a:lnTo>
                    <a:pt x="437" y="111"/>
                  </a:lnTo>
                  <a:lnTo>
                    <a:pt x="439" y="109"/>
                  </a:lnTo>
                  <a:lnTo>
                    <a:pt x="440" y="109"/>
                  </a:lnTo>
                  <a:lnTo>
                    <a:pt x="440" y="108"/>
                  </a:lnTo>
                  <a:lnTo>
                    <a:pt x="441" y="108"/>
                  </a:lnTo>
                  <a:lnTo>
                    <a:pt x="441" y="107"/>
                  </a:lnTo>
                  <a:lnTo>
                    <a:pt x="442" y="106"/>
                  </a:lnTo>
                  <a:lnTo>
                    <a:pt x="445" y="105"/>
                  </a:lnTo>
                  <a:lnTo>
                    <a:pt x="446" y="105"/>
                  </a:lnTo>
                  <a:lnTo>
                    <a:pt x="446" y="103"/>
                  </a:lnTo>
                  <a:lnTo>
                    <a:pt x="448" y="103"/>
                  </a:lnTo>
                  <a:lnTo>
                    <a:pt x="450" y="103"/>
                  </a:lnTo>
                  <a:lnTo>
                    <a:pt x="447" y="102"/>
                  </a:lnTo>
                  <a:lnTo>
                    <a:pt x="447" y="101"/>
                  </a:lnTo>
                  <a:lnTo>
                    <a:pt x="446" y="100"/>
                  </a:lnTo>
                  <a:lnTo>
                    <a:pt x="446" y="99"/>
                  </a:lnTo>
                  <a:lnTo>
                    <a:pt x="447" y="99"/>
                  </a:lnTo>
                  <a:lnTo>
                    <a:pt x="448" y="97"/>
                  </a:lnTo>
                  <a:lnTo>
                    <a:pt x="448" y="99"/>
                  </a:lnTo>
                  <a:lnTo>
                    <a:pt x="450" y="99"/>
                  </a:lnTo>
                  <a:lnTo>
                    <a:pt x="453" y="99"/>
                  </a:lnTo>
                  <a:lnTo>
                    <a:pt x="454" y="99"/>
                  </a:lnTo>
                  <a:lnTo>
                    <a:pt x="458" y="99"/>
                  </a:lnTo>
                  <a:lnTo>
                    <a:pt x="459" y="100"/>
                  </a:lnTo>
                  <a:lnTo>
                    <a:pt x="460" y="99"/>
                  </a:lnTo>
                  <a:lnTo>
                    <a:pt x="460" y="97"/>
                  </a:lnTo>
                  <a:lnTo>
                    <a:pt x="459" y="96"/>
                  </a:lnTo>
                  <a:lnTo>
                    <a:pt x="458" y="96"/>
                  </a:lnTo>
                  <a:lnTo>
                    <a:pt x="457" y="95"/>
                  </a:lnTo>
                  <a:lnTo>
                    <a:pt x="457" y="96"/>
                  </a:lnTo>
                  <a:lnTo>
                    <a:pt x="456" y="96"/>
                  </a:lnTo>
                  <a:lnTo>
                    <a:pt x="456" y="95"/>
                  </a:lnTo>
                  <a:lnTo>
                    <a:pt x="457" y="94"/>
                  </a:lnTo>
                  <a:lnTo>
                    <a:pt x="458" y="94"/>
                  </a:lnTo>
                  <a:lnTo>
                    <a:pt x="458" y="95"/>
                  </a:lnTo>
                  <a:lnTo>
                    <a:pt x="462" y="97"/>
                  </a:lnTo>
                  <a:lnTo>
                    <a:pt x="462" y="96"/>
                  </a:lnTo>
                  <a:lnTo>
                    <a:pt x="462" y="95"/>
                  </a:lnTo>
                  <a:lnTo>
                    <a:pt x="460" y="95"/>
                  </a:lnTo>
                  <a:lnTo>
                    <a:pt x="459" y="95"/>
                  </a:lnTo>
                  <a:lnTo>
                    <a:pt x="459" y="94"/>
                  </a:lnTo>
                  <a:lnTo>
                    <a:pt x="459" y="93"/>
                  </a:lnTo>
                  <a:lnTo>
                    <a:pt x="459" y="91"/>
                  </a:lnTo>
                  <a:lnTo>
                    <a:pt x="460" y="91"/>
                  </a:lnTo>
                  <a:lnTo>
                    <a:pt x="462" y="91"/>
                  </a:lnTo>
                  <a:lnTo>
                    <a:pt x="463" y="93"/>
                  </a:lnTo>
                  <a:lnTo>
                    <a:pt x="464" y="95"/>
                  </a:lnTo>
                  <a:lnTo>
                    <a:pt x="465" y="95"/>
                  </a:lnTo>
                  <a:lnTo>
                    <a:pt x="465" y="93"/>
                  </a:lnTo>
                  <a:lnTo>
                    <a:pt x="464" y="93"/>
                  </a:lnTo>
                  <a:lnTo>
                    <a:pt x="464" y="91"/>
                  </a:lnTo>
                  <a:lnTo>
                    <a:pt x="464" y="90"/>
                  </a:lnTo>
                  <a:lnTo>
                    <a:pt x="464" y="89"/>
                  </a:lnTo>
                  <a:lnTo>
                    <a:pt x="465" y="90"/>
                  </a:lnTo>
                  <a:lnTo>
                    <a:pt x="466" y="90"/>
                  </a:lnTo>
                  <a:lnTo>
                    <a:pt x="469" y="91"/>
                  </a:lnTo>
                  <a:lnTo>
                    <a:pt x="471" y="91"/>
                  </a:lnTo>
                  <a:lnTo>
                    <a:pt x="471" y="90"/>
                  </a:lnTo>
                  <a:lnTo>
                    <a:pt x="470" y="90"/>
                  </a:lnTo>
                  <a:lnTo>
                    <a:pt x="470" y="89"/>
                  </a:lnTo>
                  <a:lnTo>
                    <a:pt x="469" y="88"/>
                  </a:lnTo>
                  <a:lnTo>
                    <a:pt x="468" y="88"/>
                  </a:lnTo>
                  <a:lnTo>
                    <a:pt x="468" y="87"/>
                  </a:lnTo>
                  <a:lnTo>
                    <a:pt x="469" y="87"/>
                  </a:lnTo>
                  <a:lnTo>
                    <a:pt x="475" y="83"/>
                  </a:lnTo>
                  <a:lnTo>
                    <a:pt x="476" y="82"/>
                  </a:lnTo>
                  <a:lnTo>
                    <a:pt x="475" y="82"/>
                  </a:lnTo>
                  <a:lnTo>
                    <a:pt x="472" y="84"/>
                  </a:lnTo>
                  <a:lnTo>
                    <a:pt x="468" y="85"/>
                  </a:lnTo>
                  <a:lnTo>
                    <a:pt x="469" y="84"/>
                  </a:lnTo>
                  <a:lnTo>
                    <a:pt x="469" y="83"/>
                  </a:lnTo>
                  <a:lnTo>
                    <a:pt x="469" y="82"/>
                  </a:lnTo>
                  <a:lnTo>
                    <a:pt x="468" y="82"/>
                  </a:lnTo>
                  <a:lnTo>
                    <a:pt x="465" y="84"/>
                  </a:lnTo>
                  <a:lnTo>
                    <a:pt x="464" y="85"/>
                  </a:lnTo>
                  <a:lnTo>
                    <a:pt x="462" y="87"/>
                  </a:lnTo>
                  <a:lnTo>
                    <a:pt x="460" y="88"/>
                  </a:lnTo>
                  <a:lnTo>
                    <a:pt x="459" y="88"/>
                  </a:lnTo>
                  <a:lnTo>
                    <a:pt x="458" y="88"/>
                  </a:lnTo>
                  <a:lnTo>
                    <a:pt x="458" y="87"/>
                  </a:lnTo>
                  <a:lnTo>
                    <a:pt x="457" y="85"/>
                  </a:lnTo>
                  <a:lnTo>
                    <a:pt x="456" y="87"/>
                  </a:lnTo>
                  <a:lnTo>
                    <a:pt x="456" y="88"/>
                  </a:lnTo>
                  <a:lnTo>
                    <a:pt x="454" y="89"/>
                  </a:lnTo>
                  <a:lnTo>
                    <a:pt x="452" y="90"/>
                  </a:lnTo>
                  <a:lnTo>
                    <a:pt x="451" y="91"/>
                  </a:lnTo>
                  <a:lnTo>
                    <a:pt x="451" y="90"/>
                  </a:lnTo>
                  <a:lnTo>
                    <a:pt x="452" y="89"/>
                  </a:lnTo>
                  <a:lnTo>
                    <a:pt x="453" y="88"/>
                  </a:lnTo>
                  <a:lnTo>
                    <a:pt x="452" y="88"/>
                  </a:lnTo>
                  <a:lnTo>
                    <a:pt x="451" y="87"/>
                  </a:lnTo>
                  <a:lnTo>
                    <a:pt x="450" y="87"/>
                  </a:lnTo>
                  <a:lnTo>
                    <a:pt x="448" y="88"/>
                  </a:lnTo>
                  <a:lnTo>
                    <a:pt x="447" y="89"/>
                  </a:lnTo>
                  <a:lnTo>
                    <a:pt x="447" y="90"/>
                  </a:lnTo>
                  <a:lnTo>
                    <a:pt x="447" y="91"/>
                  </a:lnTo>
                  <a:lnTo>
                    <a:pt x="448" y="90"/>
                  </a:lnTo>
                  <a:lnTo>
                    <a:pt x="448" y="91"/>
                  </a:lnTo>
                  <a:lnTo>
                    <a:pt x="447" y="93"/>
                  </a:lnTo>
                  <a:lnTo>
                    <a:pt x="446" y="91"/>
                  </a:lnTo>
                  <a:lnTo>
                    <a:pt x="446" y="93"/>
                  </a:lnTo>
                  <a:lnTo>
                    <a:pt x="445" y="93"/>
                  </a:lnTo>
                  <a:lnTo>
                    <a:pt x="442" y="94"/>
                  </a:lnTo>
                  <a:lnTo>
                    <a:pt x="442" y="95"/>
                  </a:lnTo>
                  <a:lnTo>
                    <a:pt x="441" y="95"/>
                  </a:lnTo>
                  <a:lnTo>
                    <a:pt x="440" y="96"/>
                  </a:lnTo>
                  <a:lnTo>
                    <a:pt x="439" y="96"/>
                  </a:lnTo>
                  <a:lnTo>
                    <a:pt x="437" y="96"/>
                  </a:lnTo>
                  <a:lnTo>
                    <a:pt x="435" y="96"/>
                  </a:lnTo>
                  <a:lnTo>
                    <a:pt x="434" y="97"/>
                  </a:lnTo>
                  <a:lnTo>
                    <a:pt x="433" y="100"/>
                  </a:lnTo>
                  <a:lnTo>
                    <a:pt x="431" y="101"/>
                  </a:lnTo>
                  <a:lnTo>
                    <a:pt x="429" y="102"/>
                  </a:lnTo>
                  <a:lnTo>
                    <a:pt x="428" y="103"/>
                  </a:lnTo>
                  <a:lnTo>
                    <a:pt x="427" y="105"/>
                  </a:lnTo>
                  <a:lnTo>
                    <a:pt x="425" y="105"/>
                  </a:lnTo>
                  <a:lnTo>
                    <a:pt x="427" y="103"/>
                  </a:lnTo>
                  <a:lnTo>
                    <a:pt x="425" y="102"/>
                  </a:lnTo>
                  <a:lnTo>
                    <a:pt x="425" y="101"/>
                  </a:lnTo>
                  <a:lnTo>
                    <a:pt x="427" y="100"/>
                  </a:lnTo>
                  <a:lnTo>
                    <a:pt x="425" y="99"/>
                  </a:lnTo>
                  <a:lnTo>
                    <a:pt x="425" y="97"/>
                  </a:lnTo>
                  <a:lnTo>
                    <a:pt x="427" y="97"/>
                  </a:lnTo>
                  <a:lnTo>
                    <a:pt x="431" y="97"/>
                  </a:lnTo>
                  <a:lnTo>
                    <a:pt x="431" y="96"/>
                  </a:lnTo>
                  <a:lnTo>
                    <a:pt x="430" y="96"/>
                  </a:lnTo>
                  <a:lnTo>
                    <a:pt x="433" y="95"/>
                  </a:lnTo>
                  <a:lnTo>
                    <a:pt x="431" y="94"/>
                  </a:lnTo>
                  <a:lnTo>
                    <a:pt x="430" y="95"/>
                  </a:lnTo>
                  <a:lnTo>
                    <a:pt x="427" y="95"/>
                  </a:lnTo>
                  <a:lnTo>
                    <a:pt x="425" y="94"/>
                  </a:lnTo>
                  <a:lnTo>
                    <a:pt x="425" y="93"/>
                  </a:lnTo>
                  <a:lnTo>
                    <a:pt x="424" y="91"/>
                  </a:lnTo>
                  <a:lnTo>
                    <a:pt x="423" y="91"/>
                  </a:lnTo>
                  <a:lnTo>
                    <a:pt x="423" y="93"/>
                  </a:lnTo>
                  <a:lnTo>
                    <a:pt x="421" y="93"/>
                  </a:lnTo>
                  <a:lnTo>
                    <a:pt x="419" y="93"/>
                  </a:lnTo>
                  <a:lnTo>
                    <a:pt x="417" y="94"/>
                  </a:lnTo>
                  <a:lnTo>
                    <a:pt x="416" y="94"/>
                  </a:lnTo>
                  <a:lnTo>
                    <a:pt x="413" y="94"/>
                  </a:lnTo>
                  <a:lnTo>
                    <a:pt x="411" y="93"/>
                  </a:lnTo>
                  <a:lnTo>
                    <a:pt x="410" y="91"/>
                  </a:lnTo>
                  <a:lnTo>
                    <a:pt x="411" y="90"/>
                  </a:lnTo>
                  <a:lnTo>
                    <a:pt x="411" y="89"/>
                  </a:lnTo>
                  <a:lnTo>
                    <a:pt x="411" y="87"/>
                  </a:lnTo>
                  <a:lnTo>
                    <a:pt x="410" y="85"/>
                  </a:lnTo>
                  <a:lnTo>
                    <a:pt x="410" y="84"/>
                  </a:lnTo>
                  <a:lnTo>
                    <a:pt x="412" y="85"/>
                  </a:lnTo>
                  <a:lnTo>
                    <a:pt x="413" y="87"/>
                  </a:lnTo>
                  <a:lnTo>
                    <a:pt x="413" y="88"/>
                  </a:lnTo>
                  <a:lnTo>
                    <a:pt x="415" y="89"/>
                  </a:lnTo>
                  <a:lnTo>
                    <a:pt x="416" y="88"/>
                  </a:lnTo>
                  <a:lnTo>
                    <a:pt x="416" y="90"/>
                  </a:lnTo>
                  <a:lnTo>
                    <a:pt x="417" y="91"/>
                  </a:lnTo>
                  <a:lnTo>
                    <a:pt x="418" y="91"/>
                  </a:lnTo>
                  <a:lnTo>
                    <a:pt x="418" y="90"/>
                  </a:lnTo>
                  <a:lnTo>
                    <a:pt x="419" y="89"/>
                  </a:lnTo>
                  <a:lnTo>
                    <a:pt x="421" y="90"/>
                  </a:lnTo>
                  <a:lnTo>
                    <a:pt x="423" y="90"/>
                  </a:lnTo>
                  <a:lnTo>
                    <a:pt x="422" y="89"/>
                  </a:lnTo>
                  <a:lnTo>
                    <a:pt x="421" y="88"/>
                  </a:lnTo>
                  <a:lnTo>
                    <a:pt x="422" y="88"/>
                  </a:lnTo>
                  <a:lnTo>
                    <a:pt x="424" y="87"/>
                  </a:lnTo>
                  <a:lnTo>
                    <a:pt x="423" y="85"/>
                  </a:lnTo>
                  <a:lnTo>
                    <a:pt x="421" y="85"/>
                  </a:lnTo>
                  <a:lnTo>
                    <a:pt x="418" y="87"/>
                  </a:lnTo>
                  <a:lnTo>
                    <a:pt x="417" y="85"/>
                  </a:lnTo>
                  <a:lnTo>
                    <a:pt x="415" y="83"/>
                  </a:lnTo>
                  <a:lnTo>
                    <a:pt x="413" y="83"/>
                  </a:lnTo>
                  <a:lnTo>
                    <a:pt x="411" y="82"/>
                  </a:lnTo>
                  <a:lnTo>
                    <a:pt x="407" y="79"/>
                  </a:lnTo>
                  <a:lnTo>
                    <a:pt x="405" y="78"/>
                  </a:lnTo>
                  <a:lnTo>
                    <a:pt x="406" y="77"/>
                  </a:lnTo>
                  <a:lnTo>
                    <a:pt x="405" y="75"/>
                  </a:lnTo>
                  <a:lnTo>
                    <a:pt x="406" y="75"/>
                  </a:lnTo>
                  <a:lnTo>
                    <a:pt x="406" y="72"/>
                  </a:lnTo>
                  <a:lnTo>
                    <a:pt x="409" y="71"/>
                  </a:lnTo>
                  <a:lnTo>
                    <a:pt x="410" y="66"/>
                  </a:lnTo>
                  <a:lnTo>
                    <a:pt x="410" y="64"/>
                  </a:lnTo>
                  <a:lnTo>
                    <a:pt x="411" y="61"/>
                  </a:lnTo>
                  <a:lnTo>
                    <a:pt x="411" y="60"/>
                  </a:lnTo>
                  <a:lnTo>
                    <a:pt x="412" y="59"/>
                  </a:lnTo>
                  <a:lnTo>
                    <a:pt x="413" y="59"/>
                  </a:lnTo>
                  <a:lnTo>
                    <a:pt x="412" y="58"/>
                  </a:lnTo>
                  <a:lnTo>
                    <a:pt x="410" y="58"/>
                  </a:lnTo>
                  <a:lnTo>
                    <a:pt x="407" y="58"/>
                  </a:lnTo>
                  <a:lnTo>
                    <a:pt x="407" y="57"/>
                  </a:lnTo>
                  <a:lnTo>
                    <a:pt x="409" y="55"/>
                  </a:lnTo>
                  <a:lnTo>
                    <a:pt x="410" y="55"/>
                  </a:lnTo>
                  <a:lnTo>
                    <a:pt x="411" y="54"/>
                  </a:lnTo>
                  <a:lnTo>
                    <a:pt x="412" y="54"/>
                  </a:lnTo>
                  <a:lnTo>
                    <a:pt x="412" y="55"/>
                  </a:lnTo>
                  <a:lnTo>
                    <a:pt x="415" y="55"/>
                  </a:lnTo>
                  <a:lnTo>
                    <a:pt x="416" y="54"/>
                  </a:lnTo>
                  <a:lnTo>
                    <a:pt x="415" y="53"/>
                  </a:lnTo>
                  <a:lnTo>
                    <a:pt x="413" y="52"/>
                  </a:lnTo>
                  <a:lnTo>
                    <a:pt x="415" y="50"/>
                  </a:lnTo>
                  <a:lnTo>
                    <a:pt x="413" y="49"/>
                  </a:lnTo>
                  <a:lnTo>
                    <a:pt x="412" y="49"/>
                  </a:lnTo>
                  <a:lnTo>
                    <a:pt x="410" y="49"/>
                  </a:lnTo>
                  <a:lnTo>
                    <a:pt x="409" y="50"/>
                  </a:lnTo>
                  <a:lnTo>
                    <a:pt x="407" y="50"/>
                  </a:lnTo>
                  <a:lnTo>
                    <a:pt x="406" y="49"/>
                  </a:lnTo>
                  <a:lnTo>
                    <a:pt x="405" y="49"/>
                  </a:lnTo>
                  <a:lnTo>
                    <a:pt x="406" y="47"/>
                  </a:lnTo>
                  <a:lnTo>
                    <a:pt x="409" y="46"/>
                  </a:lnTo>
                  <a:lnTo>
                    <a:pt x="411" y="46"/>
                  </a:lnTo>
                  <a:lnTo>
                    <a:pt x="413" y="44"/>
                  </a:lnTo>
                  <a:lnTo>
                    <a:pt x="415" y="47"/>
                  </a:lnTo>
                  <a:lnTo>
                    <a:pt x="416" y="46"/>
                  </a:lnTo>
                  <a:lnTo>
                    <a:pt x="415" y="44"/>
                  </a:lnTo>
                  <a:lnTo>
                    <a:pt x="415" y="43"/>
                  </a:lnTo>
                  <a:lnTo>
                    <a:pt x="416" y="44"/>
                  </a:lnTo>
                  <a:lnTo>
                    <a:pt x="417" y="46"/>
                  </a:lnTo>
                  <a:lnTo>
                    <a:pt x="418" y="46"/>
                  </a:lnTo>
                  <a:lnTo>
                    <a:pt x="418" y="43"/>
                  </a:lnTo>
                  <a:lnTo>
                    <a:pt x="417" y="42"/>
                  </a:lnTo>
                  <a:lnTo>
                    <a:pt x="419" y="42"/>
                  </a:lnTo>
                  <a:lnTo>
                    <a:pt x="421" y="42"/>
                  </a:lnTo>
                  <a:lnTo>
                    <a:pt x="422" y="43"/>
                  </a:lnTo>
                  <a:lnTo>
                    <a:pt x="423" y="46"/>
                  </a:lnTo>
                  <a:lnTo>
                    <a:pt x="424" y="46"/>
                  </a:lnTo>
                  <a:lnTo>
                    <a:pt x="424" y="44"/>
                  </a:lnTo>
                  <a:lnTo>
                    <a:pt x="423" y="43"/>
                  </a:lnTo>
                  <a:lnTo>
                    <a:pt x="423" y="42"/>
                  </a:lnTo>
                  <a:lnTo>
                    <a:pt x="424" y="41"/>
                  </a:lnTo>
                  <a:lnTo>
                    <a:pt x="427" y="41"/>
                  </a:lnTo>
                  <a:lnTo>
                    <a:pt x="429" y="40"/>
                  </a:lnTo>
                  <a:lnTo>
                    <a:pt x="430" y="40"/>
                  </a:lnTo>
                  <a:lnTo>
                    <a:pt x="429" y="38"/>
                  </a:lnTo>
                  <a:lnTo>
                    <a:pt x="428" y="38"/>
                  </a:lnTo>
                  <a:lnTo>
                    <a:pt x="425" y="38"/>
                  </a:lnTo>
                  <a:lnTo>
                    <a:pt x="427" y="37"/>
                  </a:lnTo>
                  <a:lnTo>
                    <a:pt x="425" y="37"/>
                  </a:lnTo>
                  <a:lnTo>
                    <a:pt x="424" y="37"/>
                  </a:lnTo>
                  <a:lnTo>
                    <a:pt x="421" y="38"/>
                  </a:lnTo>
                  <a:lnTo>
                    <a:pt x="419" y="40"/>
                  </a:lnTo>
                  <a:lnTo>
                    <a:pt x="419" y="38"/>
                  </a:lnTo>
                  <a:lnTo>
                    <a:pt x="419" y="37"/>
                  </a:lnTo>
                  <a:lnTo>
                    <a:pt x="421" y="36"/>
                  </a:lnTo>
                  <a:lnTo>
                    <a:pt x="419" y="35"/>
                  </a:lnTo>
                  <a:lnTo>
                    <a:pt x="418" y="36"/>
                  </a:lnTo>
                  <a:lnTo>
                    <a:pt x="418" y="37"/>
                  </a:lnTo>
                  <a:lnTo>
                    <a:pt x="417" y="38"/>
                  </a:lnTo>
                  <a:lnTo>
                    <a:pt x="416" y="40"/>
                  </a:lnTo>
                  <a:lnTo>
                    <a:pt x="413" y="40"/>
                  </a:lnTo>
                  <a:lnTo>
                    <a:pt x="412" y="42"/>
                  </a:lnTo>
                  <a:lnTo>
                    <a:pt x="412" y="43"/>
                  </a:lnTo>
                  <a:lnTo>
                    <a:pt x="410" y="43"/>
                  </a:lnTo>
                  <a:lnTo>
                    <a:pt x="409" y="42"/>
                  </a:lnTo>
                  <a:lnTo>
                    <a:pt x="410" y="40"/>
                  </a:lnTo>
                  <a:lnTo>
                    <a:pt x="411" y="41"/>
                  </a:lnTo>
                  <a:lnTo>
                    <a:pt x="412" y="41"/>
                  </a:lnTo>
                  <a:lnTo>
                    <a:pt x="412" y="40"/>
                  </a:lnTo>
                  <a:lnTo>
                    <a:pt x="412" y="38"/>
                  </a:lnTo>
                  <a:lnTo>
                    <a:pt x="413" y="38"/>
                  </a:lnTo>
                  <a:lnTo>
                    <a:pt x="413" y="37"/>
                  </a:lnTo>
                  <a:lnTo>
                    <a:pt x="412" y="37"/>
                  </a:lnTo>
                  <a:lnTo>
                    <a:pt x="413" y="36"/>
                  </a:lnTo>
                  <a:lnTo>
                    <a:pt x="413" y="35"/>
                  </a:lnTo>
                  <a:lnTo>
                    <a:pt x="412" y="35"/>
                  </a:lnTo>
                  <a:lnTo>
                    <a:pt x="411" y="35"/>
                  </a:lnTo>
                  <a:lnTo>
                    <a:pt x="412" y="34"/>
                  </a:lnTo>
                  <a:lnTo>
                    <a:pt x="412" y="32"/>
                  </a:lnTo>
                  <a:lnTo>
                    <a:pt x="413" y="34"/>
                  </a:lnTo>
                  <a:lnTo>
                    <a:pt x="415" y="34"/>
                  </a:lnTo>
                  <a:lnTo>
                    <a:pt x="419" y="34"/>
                  </a:lnTo>
                  <a:lnTo>
                    <a:pt x="421" y="32"/>
                  </a:lnTo>
                  <a:lnTo>
                    <a:pt x="419" y="31"/>
                  </a:lnTo>
                  <a:lnTo>
                    <a:pt x="413" y="31"/>
                  </a:lnTo>
                  <a:lnTo>
                    <a:pt x="416" y="30"/>
                  </a:lnTo>
                  <a:lnTo>
                    <a:pt x="417" y="30"/>
                  </a:lnTo>
                  <a:lnTo>
                    <a:pt x="418" y="29"/>
                  </a:lnTo>
                  <a:lnTo>
                    <a:pt x="421" y="28"/>
                  </a:lnTo>
                  <a:lnTo>
                    <a:pt x="419" y="26"/>
                  </a:lnTo>
                  <a:lnTo>
                    <a:pt x="418" y="26"/>
                  </a:lnTo>
                  <a:lnTo>
                    <a:pt x="417" y="28"/>
                  </a:lnTo>
                  <a:lnTo>
                    <a:pt x="416" y="29"/>
                  </a:lnTo>
                  <a:lnTo>
                    <a:pt x="415" y="28"/>
                  </a:lnTo>
                  <a:lnTo>
                    <a:pt x="421" y="22"/>
                  </a:lnTo>
                  <a:lnTo>
                    <a:pt x="423" y="19"/>
                  </a:lnTo>
                  <a:lnTo>
                    <a:pt x="427" y="16"/>
                  </a:lnTo>
                  <a:lnTo>
                    <a:pt x="429" y="13"/>
                  </a:lnTo>
                  <a:lnTo>
                    <a:pt x="429" y="11"/>
                  </a:lnTo>
                  <a:lnTo>
                    <a:pt x="427" y="12"/>
                  </a:lnTo>
                  <a:lnTo>
                    <a:pt x="424" y="13"/>
                  </a:lnTo>
                  <a:lnTo>
                    <a:pt x="422" y="17"/>
                  </a:lnTo>
                  <a:lnTo>
                    <a:pt x="418" y="20"/>
                  </a:lnTo>
                  <a:lnTo>
                    <a:pt x="416" y="24"/>
                  </a:lnTo>
                  <a:lnTo>
                    <a:pt x="413" y="26"/>
                  </a:lnTo>
                  <a:lnTo>
                    <a:pt x="412" y="29"/>
                  </a:lnTo>
                  <a:lnTo>
                    <a:pt x="411" y="30"/>
                  </a:lnTo>
                  <a:lnTo>
                    <a:pt x="410" y="30"/>
                  </a:lnTo>
                  <a:lnTo>
                    <a:pt x="409" y="29"/>
                  </a:lnTo>
                  <a:lnTo>
                    <a:pt x="407" y="26"/>
                  </a:lnTo>
                  <a:lnTo>
                    <a:pt x="405" y="24"/>
                  </a:lnTo>
                  <a:lnTo>
                    <a:pt x="404" y="23"/>
                  </a:lnTo>
                  <a:lnTo>
                    <a:pt x="403" y="23"/>
                  </a:lnTo>
                  <a:lnTo>
                    <a:pt x="401" y="23"/>
                  </a:lnTo>
                  <a:lnTo>
                    <a:pt x="403" y="25"/>
                  </a:lnTo>
                  <a:lnTo>
                    <a:pt x="404" y="25"/>
                  </a:lnTo>
                  <a:lnTo>
                    <a:pt x="405" y="25"/>
                  </a:lnTo>
                  <a:lnTo>
                    <a:pt x="406" y="26"/>
                  </a:lnTo>
                  <a:lnTo>
                    <a:pt x="407" y="28"/>
                  </a:lnTo>
                  <a:lnTo>
                    <a:pt x="409" y="30"/>
                  </a:lnTo>
                  <a:lnTo>
                    <a:pt x="410" y="31"/>
                  </a:lnTo>
                  <a:lnTo>
                    <a:pt x="410" y="34"/>
                  </a:lnTo>
                  <a:lnTo>
                    <a:pt x="410" y="35"/>
                  </a:lnTo>
                  <a:lnTo>
                    <a:pt x="407" y="34"/>
                  </a:lnTo>
                  <a:lnTo>
                    <a:pt x="406" y="32"/>
                  </a:lnTo>
                  <a:lnTo>
                    <a:pt x="405" y="31"/>
                  </a:lnTo>
                  <a:lnTo>
                    <a:pt x="404" y="32"/>
                  </a:lnTo>
                  <a:lnTo>
                    <a:pt x="405" y="34"/>
                  </a:lnTo>
                  <a:lnTo>
                    <a:pt x="406" y="35"/>
                  </a:lnTo>
                  <a:lnTo>
                    <a:pt x="407" y="35"/>
                  </a:lnTo>
                  <a:lnTo>
                    <a:pt x="407" y="37"/>
                  </a:lnTo>
                  <a:lnTo>
                    <a:pt x="406" y="37"/>
                  </a:lnTo>
                  <a:lnTo>
                    <a:pt x="404" y="36"/>
                  </a:lnTo>
                  <a:lnTo>
                    <a:pt x="403" y="36"/>
                  </a:lnTo>
                  <a:lnTo>
                    <a:pt x="404" y="37"/>
                  </a:lnTo>
                  <a:lnTo>
                    <a:pt x="405" y="40"/>
                  </a:lnTo>
                  <a:lnTo>
                    <a:pt x="406" y="41"/>
                  </a:lnTo>
                  <a:lnTo>
                    <a:pt x="406" y="42"/>
                  </a:lnTo>
                  <a:lnTo>
                    <a:pt x="406" y="43"/>
                  </a:lnTo>
                  <a:lnTo>
                    <a:pt x="405" y="43"/>
                  </a:lnTo>
                  <a:lnTo>
                    <a:pt x="404" y="42"/>
                  </a:lnTo>
                  <a:lnTo>
                    <a:pt x="403" y="41"/>
                  </a:lnTo>
                  <a:lnTo>
                    <a:pt x="401" y="40"/>
                  </a:lnTo>
                  <a:lnTo>
                    <a:pt x="400" y="38"/>
                  </a:lnTo>
                  <a:lnTo>
                    <a:pt x="400" y="37"/>
                  </a:lnTo>
                  <a:lnTo>
                    <a:pt x="400" y="36"/>
                  </a:lnTo>
                  <a:lnTo>
                    <a:pt x="401" y="35"/>
                  </a:lnTo>
                  <a:lnTo>
                    <a:pt x="401" y="34"/>
                  </a:lnTo>
                  <a:lnTo>
                    <a:pt x="400" y="34"/>
                  </a:lnTo>
                  <a:lnTo>
                    <a:pt x="399" y="34"/>
                  </a:lnTo>
                  <a:lnTo>
                    <a:pt x="399" y="31"/>
                  </a:lnTo>
                  <a:lnTo>
                    <a:pt x="399" y="30"/>
                  </a:lnTo>
                  <a:lnTo>
                    <a:pt x="400" y="30"/>
                  </a:lnTo>
                  <a:lnTo>
                    <a:pt x="403" y="30"/>
                  </a:lnTo>
                  <a:lnTo>
                    <a:pt x="405" y="29"/>
                  </a:lnTo>
                  <a:lnTo>
                    <a:pt x="406" y="29"/>
                  </a:lnTo>
                  <a:lnTo>
                    <a:pt x="405" y="28"/>
                  </a:lnTo>
                  <a:lnTo>
                    <a:pt x="404" y="28"/>
                  </a:lnTo>
                  <a:lnTo>
                    <a:pt x="400" y="28"/>
                  </a:lnTo>
                  <a:lnTo>
                    <a:pt x="399" y="28"/>
                  </a:lnTo>
                  <a:lnTo>
                    <a:pt x="399" y="25"/>
                  </a:lnTo>
                  <a:lnTo>
                    <a:pt x="398" y="24"/>
                  </a:lnTo>
                  <a:lnTo>
                    <a:pt x="398" y="22"/>
                  </a:lnTo>
                  <a:lnTo>
                    <a:pt x="397" y="18"/>
                  </a:lnTo>
                  <a:lnTo>
                    <a:pt x="397" y="14"/>
                  </a:lnTo>
                  <a:lnTo>
                    <a:pt x="397" y="13"/>
                  </a:lnTo>
                  <a:lnTo>
                    <a:pt x="397" y="14"/>
                  </a:lnTo>
                  <a:lnTo>
                    <a:pt x="397" y="22"/>
                  </a:lnTo>
                  <a:lnTo>
                    <a:pt x="397" y="26"/>
                  </a:lnTo>
                  <a:lnTo>
                    <a:pt x="395" y="30"/>
                  </a:lnTo>
                  <a:lnTo>
                    <a:pt x="397" y="31"/>
                  </a:lnTo>
                  <a:lnTo>
                    <a:pt x="398" y="34"/>
                  </a:lnTo>
                  <a:lnTo>
                    <a:pt x="398" y="36"/>
                  </a:lnTo>
                  <a:lnTo>
                    <a:pt x="397" y="36"/>
                  </a:lnTo>
                  <a:lnTo>
                    <a:pt x="395" y="34"/>
                  </a:lnTo>
                  <a:lnTo>
                    <a:pt x="394" y="34"/>
                  </a:lnTo>
                  <a:lnTo>
                    <a:pt x="394" y="35"/>
                  </a:lnTo>
                  <a:lnTo>
                    <a:pt x="393" y="37"/>
                  </a:lnTo>
                  <a:lnTo>
                    <a:pt x="393" y="38"/>
                  </a:lnTo>
                  <a:lnTo>
                    <a:pt x="391" y="38"/>
                  </a:lnTo>
                  <a:lnTo>
                    <a:pt x="391" y="37"/>
                  </a:lnTo>
                  <a:lnTo>
                    <a:pt x="388" y="36"/>
                  </a:lnTo>
                  <a:lnTo>
                    <a:pt x="388" y="35"/>
                  </a:lnTo>
                  <a:lnTo>
                    <a:pt x="389" y="34"/>
                  </a:lnTo>
                  <a:lnTo>
                    <a:pt x="392" y="32"/>
                  </a:lnTo>
                  <a:lnTo>
                    <a:pt x="392" y="31"/>
                  </a:lnTo>
                  <a:lnTo>
                    <a:pt x="391" y="30"/>
                  </a:lnTo>
                  <a:lnTo>
                    <a:pt x="389" y="31"/>
                  </a:lnTo>
                  <a:lnTo>
                    <a:pt x="387" y="32"/>
                  </a:lnTo>
                  <a:lnTo>
                    <a:pt x="388" y="31"/>
                  </a:lnTo>
                  <a:lnTo>
                    <a:pt x="388" y="30"/>
                  </a:lnTo>
                  <a:lnTo>
                    <a:pt x="387" y="30"/>
                  </a:lnTo>
                  <a:lnTo>
                    <a:pt x="386" y="30"/>
                  </a:lnTo>
                  <a:lnTo>
                    <a:pt x="387" y="29"/>
                  </a:lnTo>
                  <a:lnTo>
                    <a:pt x="388" y="26"/>
                  </a:lnTo>
                  <a:lnTo>
                    <a:pt x="387" y="25"/>
                  </a:lnTo>
                  <a:lnTo>
                    <a:pt x="386" y="26"/>
                  </a:lnTo>
                  <a:lnTo>
                    <a:pt x="386" y="25"/>
                  </a:lnTo>
                  <a:lnTo>
                    <a:pt x="386" y="24"/>
                  </a:lnTo>
                  <a:lnTo>
                    <a:pt x="388" y="23"/>
                  </a:lnTo>
                  <a:lnTo>
                    <a:pt x="391" y="20"/>
                  </a:lnTo>
                  <a:lnTo>
                    <a:pt x="394" y="16"/>
                  </a:lnTo>
                  <a:lnTo>
                    <a:pt x="394" y="14"/>
                  </a:lnTo>
                  <a:lnTo>
                    <a:pt x="393" y="16"/>
                  </a:lnTo>
                  <a:lnTo>
                    <a:pt x="392" y="17"/>
                  </a:lnTo>
                  <a:lnTo>
                    <a:pt x="387" y="22"/>
                  </a:lnTo>
                  <a:lnTo>
                    <a:pt x="386" y="20"/>
                  </a:lnTo>
                  <a:lnTo>
                    <a:pt x="387" y="19"/>
                  </a:lnTo>
                  <a:lnTo>
                    <a:pt x="387" y="17"/>
                  </a:lnTo>
                  <a:lnTo>
                    <a:pt x="388" y="16"/>
                  </a:lnTo>
                  <a:lnTo>
                    <a:pt x="388" y="14"/>
                  </a:lnTo>
                  <a:lnTo>
                    <a:pt x="387" y="13"/>
                  </a:lnTo>
                  <a:lnTo>
                    <a:pt x="387" y="14"/>
                  </a:lnTo>
                  <a:lnTo>
                    <a:pt x="386" y="16"/>
                  </a:lnTo>
                  <a:lnTo>
                    <a:pt x="386" y="17"/>
                  </a:lnTo>
                  <a:lnTo>
                    <a:pt x="386" y="13"/>
                  </a:lnTo>
                  <a:lnTo>
                    <a:pt x="386" y="11"/>
                  </a:lnTo>
                  <a:lnTo>
                    <a:pt x="386" y="8"/>
                  </a:lnTo>
                  <a:lnTo>
                    <a:pt x="384" y="7"/>
                  </a:lnTo>
                  <a:lnTo>
                    <a:pt x="384" y="8"/>
                  </a:lnTo>
                  <a:lnTo>
                    <a:pt x="384" y="10"/>
                  </a:lnTo>
                  <a:lnTo>
                    <a:pt x="384" y="12"/>
                  </a:lnTo>
                  <a:lnTo>
                    <a:pt x="384" y="16"/>
                  </a:lnTo>
                  <a:lnTo>
                    <a:pt x="384" y="18"/>
                  </a:lnTo>
                  <a:lnTo>
                    <a:pt x="384" y="19"/>
                  </a:lnTo>
                  <a:lnTo>
                    <a:pt x="384" y="2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3" name="Freeform 76"/>
            <p:cNvSpPr>
              <a:spLocks/>
            </p:cNvSpPr>
            <p:nvPr userDrawn="1"/>
          </p:nvSpPr>
          <p:spPr bwMode="auto">
            <a:xfrm>
              <a:off x="8283575" y="6400801"/>
              <a:ext cx="142875" cy="174625"/>
            </a:xfrm>
            <a:custGeom>
              <a:avLst/>
              <a:gdLst/>
              <a:ahLst/>
              <a:cxnLst>
                <a:cxn ang="0">
                  <a:pos x="210" y="353"/>
                </a:cxn>
                <a:cxn ang="0">
                  <a:pos x="201" y="337"/>
                </a:cxn>
                <a:cxn ang="0">
                  <a:pos x="196" y="313"/>
                </a:cxn>
                <a:cxn ang="0">
                  <a:pos x="213" y="303"/>
                </a:cxn>
                <a:cxn ang="0">
                  <a:pos x="177" y="328"/>
                </a:cxn>
                <a:cxn ang="0">
                  <a:pos x="195" y="364"/>
                </a:cxn>
                <a:cxn ang="0">
                  <a:pos x="178" y="356"/>
                </a:cxn>
                <a:cxn ang="0">
                  <a:pos x="157" y="344"/>
                </a:cxn>
                <a:cxn ang="0">
                  <a:pos x="137" y="349"/>
                </a:cxn>
                <a:cxn ang="0">
                  <a:pos x="115" y="335"/>
                </a:cxn>
                <a:cxn ang="0">
                  <a:pos x="102" y="349"/>
                </a:cxn>
                <a:cxn ang="0">
                  <a:pos x="86" y="361"/>
                </a:cxn>
                <a:cxn ang="0">
                  <a:pos x="67" y="345"/>
                </a:cxn>
                <a:cxn ang="0">
                  <a:pos x="9" y="361"/>
                </a:cxn>
                <a:cxn ang="0">
                  <a:pos x="29" y="323"/>
                </a:cxn>
                <a:cxn ang="0">
                  <a:pos x="17" y="307"/>
                </a:cxn>
                <a:cxn ang="0">
                  <a:pos x="14" y="286"/>
                </a:cxn>
                <a:cxn ang="0">
                  <a:pos x="5" y="249"/>
                </a:cxn>
                <a:cxn ang="0">
                  <a:pos x="48" y="244"/>
                </a:cxn>
                <a:cxn ang="0">
                  <a:pos x="54" y="224"/>
                </a:cxn>
                <a:cxn ang="0">
                  <a:pos x="83" y="192"/>
                </a:cxn>
                <a:cxn ang="0">
                  <a:pos x="49" y="184"/>
                </a:cxn>
                <a:cxn ang="0">
                  <a:pos x="30" y="180"/>
                </a:cxn>
                <a:cxn ang="0">
                  <a:pos x="26" y="166"/>
                </a:cxn>
                <a:cxn ang="0">
                  <a:pos x="32" y="136"/>
                </a:cxn>
                <a:cxn ang="0">
                  <a:pos x="65" y="108"/>
                </a:cxn>
                <a:cxn ang="0">
                  <a:pos x="85" y="83"/>
                </a:cxn>
                <a:cxn ang="0">
                  <a:pos x="101" y="76"/>
                </a:cxn>
                <a:cxn ang="0">
                  <a:pos x="126" y="88"/>
                </a:cxn>
                <a:cxn ang="0">
                  <a:pos x="162" y="87"/>
                </a:cxn>
                <a:cxn ang="0">
                  <a:pos x="171" y="51"/>
                </a:cxn>
                <a:cxn ang="0">
                  <a:pos x="171" y="43"/>
                </a:cxn>
                <a:cxn ang="0">
                  <a:pos x="190" y="76"/>
                </a:cxn>
                <a:cxn ang="0">
                  <a:pos x="225" y="65"/>
                </a:cxn>
                <a:cxn ang="0">
                  <a:pos x="251" y="78"/>
                </a:cxn>
                <a:cxn ang="0">
                  <a:pos x="278" y="99"/>
                </a:cxn>
                <a:cxn ang="0">
                  <a:pos x="263" y="73"/>
                </a:cxn>
                <a:cxn ang="0">
                  <a:pos x="247" y="47"/>
                </a:cxn>
                <a:cxn ang="0">
                  <a:pos x="243" y="2"/>
                </a:cxn>
                <a:cxn ang="0">
                  <a:pos x="278" y="26"/>
                </a:cxn>
                <a:cxn ang="0">
                  <a:pos x="319" y="43"/>
                </a:cxn>
                <a:cxn ang="0">
                  <a:pos x="318" y="69"/>
                </a:cxn>
                <a:cxn ang="0">
                  <a:pos x="333" y="90"/>
                </a:cxn>
                <a:cxn ang="0">
                  <a:pos x="363" y="83"/>
                </a:cxn>
                <a:cxn ang="0">
                  <a:pos x="386" y="65"/>
                </a:cxn>
                <a:cxn ang="0">
                  <a:pos x="392" y="87"/>
                </a:cxn>
                <a:cxn ang="0">
                  <a:pos x="387" y="113"/>
                </a:cxn>
                <a:cxn ang="0">
                  <a:pos x="371" y="124"/>
                </a:cxn>
                <a:cxn ang="0">
                  <a:pos x="396" y="133"/>
                </a:cxn>
                <a:cxn ang="0">
                  <a:pos x="424" y="147"/>
                </a:cxn>
                <a:cxn ang="0">
                  <a:pos x="446" y="174"/>
                </a:cxn>
                <a:cxn ang="0">
                  <a:pos x="419" y="198"/>
                </a:cxn>
                <a:cxn ang="0">
                  <a:pos x="413" y="209"/>
                </a:cxn>
                <a:cxn ang="0">
                  <a:pos x="377" y="234"/>
                </a:cxn>
                <a:cxn ang="0">
                  <a:pos x="415" y="266"/>
                </a:cxn>
                <a:cxn ang="0">
                  <a:pos x="385" y="273"/>
                </a:cxn>
                <a:cxn ang="0">
                  <a:pos x="384" y="304"/>
                </a:cxn>
                <a:cxn ang="0">
                  <a:pos x="389" y="339"/>
                </a:cxn>
                <a:cxn ang="0">
                  <a:pos x="375" y="364"/>
                </a:cxn>
                <a:cxn ang="0">
                  <a:pos x="348" y="384"/>
                </a:cxn>
                <a:cxn ang="0">
                  <a:pos x="308" y="372"/>
                </a:cxn>
                <a:cxn ang="0">
                  <a:pos x="277" y="387"/>
                </a:cxn>
                <a:cxn ang="0">
                  <a:pos x="242" y="363"/>
                </a:cxn>
              </a:cxnLst>
              <a:rect l="0" t="0" r="r" b="b"/>
              <a:pathLst>
                <a:path w="448" h="547">
                  <a:moveTo>
                    <a:pt x="233" y="547"/>
                  </a:moveTo>
                  <a:lnTo>
                    <a:pt x="219" y="547"/>
                  </a:lnTo>
                  <a:lnTo>
                    <a:pt x="218" y="533"/>
                  </a:lnTo>
                  <a:lnTo>
                    <a:pt x="216" y="524"/>
                  </a:lnTo>
                  <a:lnTo>
                    <a:pt x="216" y="506"/>
                  </a:lnTo>
                  <a:lnTo>
                    <a:pt x="216" y="503"/>
                  </a:lnTo>
                  <a:lnTo>
                    <a:pt x="216" y="499"/>
                  </a:lnTo>
                  <a:lnTo>
                    <a:pt x="220" y="474"/>
                  </a:lnTo>
                  <a:lnTo>
                    <a:pt x="221" y="462"/>
                  </a:lnTo>
                  <a:lnTo>
                    <a:pt x="224" y="448"/>
                  </a:lnTo>
                  <a:lnTo>
                    <a:pt x="226" y="438"/>
                  </a:lnTo>
                  <a:lnTo>
                    <a:pt x="229" y="429"/>
                  </a:lnTo>
                  <a:lnTo>
                    <a:pt x="233" y="420"/>
                  </a:lnTo>
                  <a:lnTo>
                    <a:pt x="236" y="417"/>
                  </a:lnTo>
                  <a:lnTo>
                    <a:pt x="236" y="415"/>
                  </a:lnTo>
                  <a:lnTo>
                    <a:pt x="231" y="402"/>
                  </a:lnTo>
                  <a:lnTo>
                    <a:pt x="229" y="398"/>
                  </a:lnTo>
                  <a:lnTo>
                    <a:pt x="227" y="394"/>
                  </a:lnTo>
                  <a:lnTo>
                    <a:pt x="229" y="386"/>
                  </a:lnTo>
                  <a:lnTo>
                    <a:pt x="229" y="380"/>
                  </a:lnTo>
                  <a:lnTo>
                    <a:pt x="227" y="374"/>
                  </a:lnTo>
                  <a:lnTo>
                    <a:pt x="225" y="367"/>
                  </a:lnTo>
                  <a:lnTo>
                    <a:pt x="224" y="361"/>
                  </a:lnTo>
                  <a:lnTo>
                    <a:pt x="221" y="353"/>
                  </a:lnTo>
                  <a:lnTo>
                    <a:pt x="220" y="351"/>
                  </a:lnTo>
                  <a:lnTo>
                    <a:pt x="219" y="351"/>
                  </a:lnTo>
                  <a:lnTo>
                    <a:pt x="220" y="355"/>
                  </a:lnTo>
                  <a:lnTo>
                    <a:pt x="220" y="356"/>
                  </a:lnTo>
                  <a:lnTo>
                    <a:pt x="219" y="358"/>
                  </a:lnTo>
                  <a:lnTo>
                    <a:pt x="219" y="361"/>
                  </a:lnTo>
                  <a:lnTo>
                    <a:pt x="218" y="360"/>
                  </a:lnTo>
                  <a:lnTo>
                    <a:pt x="218" y="361"/>
                  </a:lnTo>
                  <a:lnTo>
                    <a:pt x="216" y="361"/>
                  </a:lnTo>
                  <a:lnTo>
                    <a:pt x="215" y="360"/>
                  </a:lnTo>
                  <a:lnTo>
                    <a:pt x="214" y="361"/>
                  </a:lnTo>
                  <a:lnTo>
                    <a:pt x="212" y="362"/>
                  </a:lnTo>
                  <a:lnTo>
                    <a:pt x="212" y="363"/>
                  </a:lnTo>
                  <a:lnTo>
                    <a:pt x="210" y="361"/>
                  </a:lnTo>
                  <a:lnTo>
                    <a:pt x="210" y="360"/>
                  </a:lnTo>
                  <a:lnTo>
                    <a:pt x="209" y="360"/>
                  </a:lnTo>
                  <a:lnTo>
                    <a:pt x="208" y="361"/>
                  </a:lnTo>
                  <a:lnTo>
                    <a:pt x="207" y="362"/>
                  </a:lnTo>
                  <a:lnTo>
                    <a:pt x="202" y="364"/>
                  </a:lnTo>
                  <a:lnTo>
                    <a:pt x="201" y="364"/>
                  </a:lnTo>
                  <a:lnTo>
                    <a:pt x="202" y="362"/>
                  </a:lnTo>
                  <a:lnTo>
                    <a:pt x="204" y="361"/>
                  </a:lnTo>
                  <a:lnTo>
                    <a:pt x="204" y="358"/>
                  </a:lnTo>
                  <a:lnTo>
                    <a:pt x="206" y="358"/>
                  </a:lnTo>
                  <a:lnTo>
                    <a:pt x="206" y="357"/>
                  </a:lnTo>
                  <a:lnTo>
                    <a:pt x="203" y="358"/>
                  </a:lnTo>
                  <a:lnTo>
                    <a:pt x="203" y="357"/>
                  </a:lnTo>
                  <a:lnTo>
                    <a:pt x="206" y="356"/>
                  </a:lnTo>
                  <a:lnTo>
                    <a:pt x="207" y="355"/>
                  </a:lnTo>
                  <a:lnTo>
                    <a:pt x="206" y="355"/>
                  </a:lnTo>
                  <a:lnTo>
                    <a:pt x="207" y="353"/>
                  </a:lnTo>
                  <a:lnTo>
                    <a:pt x="208" y="356"/>
                  </a:lnTo>
                  <a:lnTo>
                    <a:pt x="207" y="357"/>
                  </a:lnTo>
                  <a:lnTo>
                    <a:pt x="208" y="358"/>
                  </a:lnTo>
                  <a:lnTo>
                    <a:pt x="209" y="356"/>
                  </a:lnTo>
                  <a:lnTo>
                    <a:pt x="210" y="356"/>
                  </a:lnTo>
                  <a:lnTo>
                    <a:pt x="210" y="353"/>
                  </a:lnTo>
                  <a:lnTo>
                    <a:pt x="209" y="353"/>
                  </a:lnTo>
                  <a:lnTo>
                    <a:pt x="209" y="351"/>
                  </a:lnTo>
                  <a:lnTo>
                    <a:pt x="209" y="350"/>
                  </a:lnTo>
                  <a:lnTo>
                    <a:pt x="208" y="350"/>
                  </a:lnTo>
                  <a:lnTo>
                    <a:pt x="209" y="349"/>
                  </a:lnTo>
                  <a:lnTo>
                    <a:pt x="212" y="347"/>
                  </a:lnTo>
                  <a:lnTo>
                    <a:pt x="214" y="347"/>
                  </a:lnTo>
                  <a:lnTo>
                    <a:pt x="215" y="347"/>
                  </a:lnTo>
                  <a:lnTo>
                    <a:pt x="218" y="344"/>
                  </a:lnTo>
                  <a:lnTo>
                    <a:pt x="220" y="340"/>
                  </a:lnTo>
                  <a:lnTo>
                    <a:pt x="223" y="338"/>
                  </a:lnTo>
                  <a:lnTo>
                    <a:pt x="223" y="337"/>
                  </a:lnTo>
                  <a:lnTo>
                    <a:pt x="223" y="335"/>
                  </a:lnTo>
                  <a:lnTo>
                    <a:pt x="221" y="337"/>
                  </a:lnTo>
                  <a:lnTo>
                    <a:pt x="221" y="335"/>
                  </a:lnTo>
                  <a:lnTo>
                    <a:pt x="220" y="337"/>
                  </a:lnTo>
                  <a:lnTo>
                    <a:pt x="219" y="338"/>
                  </a:lnTo>
                  <a:lnTo>
                    <a:pt x="216" y="338"/>
                  </a:lnTo>
                  <a:lnTo>
                    <a:pt x="216" y="337"/>
                  </a:lnTo>
                  <a:lnTo>
                    <a:pt x="215" y="338"/>
                  </a:lnTo>
                  <a:lnTo>
                    <a:pt x="215" y="335"/>
                  </a:lnTo>
                  <a:lnTo>
                    <a:pt x="215" y="334"/>
                  </a:lnTo>
                  <a:lnTo>
                    <a:pt x="216" y="333"/>
                  </a:lnTo>
                  <a:lnTo>
                    <a:pt x="219" y="332"/>
                  </a:lnTo>
                  <a:lnTo>
                    <a:pt x="215" y="334"/>
                  </a:lnTo>
                  <a:lnTo>
                    <a:pt x="215" y="332"/>
                  </a:lnTo>
                  <a:lnTo>
                    <a:pt x="215" y="331"/>
                  </a:lnTo>
                  <a:lnTo>
                    <a:pt x="215" y="329"/>
                  </a:lnTo>
                  <a:lnTo>
                    <a:pt x="214" y="329"/>
                  </a:lnTo>
                  <a:lnTo>
                    <a:pt x="213" y="332"/>
                  </a:lnTo>
                  <a:lnTo>
                    <a:pt x="213" y="329"/>
                  </a:lnTo>
                  <a:lnTo>
                    <a:pt x="212" y="328"/>
                  </a:lnTo>
                  <a:lnTo>
                    <a:pt x="212" y="327"/>
                  </a:lnTo>
                  <a:lnTo>
                    <a:pt x="210" y="329"/>
                  </a:lnTo>
                  <a:lnTo>
                    <a:pt x="209" y="329"/>
                  </a:lnTo>
                  <a:lnTo>
                    <a:pt x="209" y="331"/>
                  </a:lnTo>
                  <a:lnTo>
                    <a:pt x="209" y="333"/>
                  </a:lnTo>
                  <a:lnTo>
                    <a:pt x="208" y="333"/>
                  </a:lnTo>
                  <a:lnTo>
                    <a:pt x="208" y="334"/>
                  </a:lnTo>
                  <a:lnTo>
                    <a:pt x="210" y="334"/>
                  </a:lnTo>
                  <a:lnTo>
                    <a:pt x="210" y="335"/>
                  </a:lnTo>
                  <a:lnTo>
                    <a:pt x="212" y="337"/>
                  </a:lnTo>
                  <a:lnTo>
                    <a:pt x="210" y="339"/>
                  </a:lnTo>
                  <a:lnTo>
                    <a:pt x="209" y="338"/>
                  </a:lnTo>
                  <a:lnTo>
                    <a:pt x="209" y="337"/>
                  </a:lnTo>
                  <a:lnTo>
                    <a:pt x="208" y="338"/>
                  </a:lnTo>
                  <a:lnTo>
                    <a:pt x="208" y="339"/>
                  </a:lnTo>
                  <a:lnTo>
                    <a:pt x="207" y="337"/>
                  </a:lnTo>
                  <a:lnTo>
                    <a:pt x="206" y="335"/>
                  </a:lnTo>
                  <a:lnTo>
                    <a:pt x="204" y="335"/>
                  </a:lnTo>
                  <a:lnTo>
                    <a:pt x="204" y="337"/>
                  </a:lnTo>
                  <a:lnTo>
                    <a:pt x="203" y="337"/>
                  </a:lnTo>
                  <a:lnTo>
                    <a:pt x="202" y="338"/>
                  </a:lnTo>
                  <a:lnTo>
                    <a:pt x="201" y="339"/>
                  </a:lnTo>
                  <a:lnTo>
                    <a:pt x="200" y="340"/>
                  </a:lnTo>
                  <a:lnTo>
                    <a:pt x="197" y="341"/>
                  </a:lnTo>
                  <a:lnTo>
                    <a:pt x="197" y="340"/>
                  </a:lnTo>
                  <a:lnTo>
                    <a:pt x="200" y="339"/>
                  </a:lnTo>
                  <a:lnTo>
                    <a:pt x="200" y="338"/>
                  </a:lnTo>
                  <a:lnTo>
                    <a:pt x="200" y="337"/>
                  </a:lnTo>
                  <a:lnTo>
                    <a:pt x="201" y="337"/>
                  </a:lnTo>
                  <a:lnTo>
                    <a:pt x="200" y="335"/>
                  </a:lnTo>
                  <a:lnTo>
                    <a:pt x="197" y="335"/>
                  </a:lnTo>
                  <a:lnTo>
                    <a:pt x="198" y="334"/>
                  </a:lnTo>
                  <a:lnTo>
                    <a:pt x="200" y="331"/>
                  </a:lnTo>
                  <a:lnTo>
                    <a:pt x="203" y="331"/>
                  </a:lnTo>
                  <a:lnTo>
                    <a:pt x="204" y="332"/>
                  </a:lnTo>
                  <a:lnTo>
                    <a:pt x="203" y="329"/>
                  </a:lnTo>
                  <a:lnTo>
                    <a:pt x="204" y="329"/>
                  </a:lnTo>
                  <a:lnTo>
                    <a:pt x="207" y="329"/>
                  </a:lnTo>
                  <a:lnTo>
                    <a:pt x="207" y="331"/>
                  </a:lnTo>
                  <a:lnTo>
                    <a:pt x="208" y="329"/>
                  </a:lnTo>
                  <a:lnTo>
                    <a:pt x="210" y="328"/>
                  </a:lnTo>
                  <a:lnTo>
                    <a:pt x="212" y="326"/>
                  </a:lnTo>
                  <a:lnTo>
                    <a:pt x="212" y="325"/>
                  </a:lnTo>
                  <a:lnTo>
                    <a:pt x="210" y="325"/>
                  </a:lnTo>
                  <a:lnTo>
                    <a:pt x="209" y="325"/>
                  </a:lnTo>
                  <a:lnTo>
                    <a:pt x="207" y="325"/>
                  </a:lnTo>
                  <a:lnTo>
                    <a:pt x="209" y="323"/>
                  </a:lnTo>
                  <a:lnTo>
                    <a:pt x="208" y="322"/>
                  </a:lnTo>
                  <a:lnTo>
                    <a:pt x="209" y="320"/>
                  </a:lnTo>
                  <a:lnTo>
                    <a:pt x="209" y="317"/>
                  </a:lnTo>
                  <a:lnTo>
                    <a:pt x="209" y="319"/>
                  </a:lnTo>
                  <a:lnTo>
                    <a:pt x="207" y="319"/>
                  </a:lnTo>
                  <a:lnTo>
                    <a:pt x="204" y="320"/>
                  </a:lnTo>
                  <a:lnTo>
                    <a:pt x="203" y="321"/>
                  </a:lnTo>
                  <a:lnTo>
                    <a:pt x="202" y="322"/>
                  </a:lnTo>
                  <a:lnTo>
                    <a:pt x="201" y="325"/>
                  </a:lnTo>
                  <a:lnTo>
                    <a:pt x="201" y="323"/>
                  </a:lnTo>
                  <a:lnTo>
                    <a:pt x="200" y="321"/>
                  </a:lnTo>
                  <a:lnTo>
                    <a:pt x="202" y="321"/>
                  </a:lnTo>
                  <a:lnTo>
                    <a:pt x="203" y="320"/>
                  </a:lnTo>
                  <a:lnTo>
                    <a:pt x="207" y="317"/>
                  </a:lnTo>
                  <a:lnTo>
                    <a:pt x="207" y="316"/>
                  </a:lnTo>
                  <a:lnTo>
                    <a:pt x="206" y="316"/>
                  </a:lnTo>
                  <a:lnTo>
                    <a:pt x="204" y="319"/>
                  </a:lnTo>
                  <a:lnTo>
                    <a:pt x="203" y="319"/>
                  </a:lnTo>
                  <a:lnTo>
                    <a:pt x="204" y="315"/>
                  </a:lnTo>
                  <a:lnTo>
                    <a:pt x="206" y="313"/>
                  </a:lnTo>
                  <a:lnTo>
                    <a:pt x="207" y="311"/>
                  </a:lnTo>
                  <a:lnTo>
                    <a:pt x="208" y="310"/>
                  </a:lnTo>
                  <a:lnTo>
                    <a:pt x="207" y="310"/>
                  </a:lnTo>
                  <a:lnTo>
                    <a:pt x="206" y="311"/>
                  </a:lnTo>
                  <a:lnTo>
                    <a:pt x="204" y="313"/>
                  </a:lnTo>
                  <a:lnTo>
                    <a:pt x="204" y="310"/>
                  </a:lnTo>
                  <a:lnTo>
                    <a:pt x="203" y="309"/>
                  </a:lnTo>
                  <a:lnTo>
                    <a:pt x="202" y="308"/>
                  </a:lnTo>
                  <a:lnTo>
                    <a:pt x="201" y="309"/>
                  </a:lnTo>
                  <a:lnTo>
                    <a:pt x="203" y="310"/>
                  </a:lnTo>
                  <a:lnTo>
                    <a:pt x="202" y="311"/>
                  </a:lnTo>
                  <a:lnTo>
                    <a:pt x="202" y="313"/>
                  </a:lnTo>
                  <a:lnTo>
                    <a:pt x="201" y="311"/>
                  </a:lnTo>
                  <a:lnTo>
                    <a:pt x="201" y="313"/>
                  </a:lnTo>
                  <a:lnTo>
                    <a:pt x="201" y="315"/>
                  </a:lnTo>
                  <a:lnTo>
                    <a:pt x="198" y="317"/>
                  </a:lnTo>
                  <a:lnTo>
                    <a:pt x="197" y="319"/>
                  </a:lnTo>
                  <a:lnTo>
                    <a:pt x="197" y="316"/>
                  </a:lnTo>
                  <a:lnTo>
                    <a:pt x="197" y="314"/>
                  </a:lnTo>
                  <a:lnTo>
                    <a:pt x="196" y="315"/>
                  </a:lnTo>
                  <a:lnTo>
                    <a:pt x="197" y="313"/>
                  </a:lnTo>
                  <a:lnTo>
                    <a:pt x="197" y="311"/>
                  </a:lnTo>
                  <a:lnTo>
                    <a:pt x="196" y="313"/>
                  </a:lnTo>
                  <a:lnTo>
                    <a:pt x="196" y="310"/>
                  </a:lnTo>
                  <a:lnTo>
                    <a:pt x="196" y="313"/>
                  </a:lnTo>
                  <a:lnTo>
                    <a:pt x="194" y="313"/>
                  </a:lnTo>
                  <a:lnTo>
                    <a:pt x="192" y="314"/>
                  </a:lnTo>
                  <a:lnTo>
                    <a:pt x="194" y="311"/>
                  </a:lnTo>
                  <a:lnTo>
                    <a:pt x="195" y="310"/>
                  </a:lnTo>
                  <a:lnTo>
                    <a:pt x="195" y="309"/>
                  </a:lnTo>
                  <a:lnTo>
                    <a:pt x="192" y="309"/>
                  </a:lnTo>
                  <a:lnTo>
                    <a:pt x="192" y="308"/>
                  </a:lnTo>
                  <a:lnTo>
                    <a:pt x="192" y="307"/>
                  </a:lnTo>
                  <a:lnTo>
                    <a:pt x="192" y="304"/>
                  </a:lnTo>
                  <a:lnTo>
                    <a:pt x="194" y="302"/>
                  </a:lnTo>
                  <a:lnTo>
                    <a:pt x="195" y="303"/>
                  </a:lnTo>
                  <a:lnTo>
                    <a:pt x="195" y="305"/>
                  </a:lnTo>
                  <a:lnTo>
                    <a:pt x="195" y="307"/>
                  </a:lnTo>
                  <a:lnTo>
                    <a:pt x="196" y="308"/>
                  </a:lnTo>
                  <a:lnTo>
                    <a:pt x="197" y="307"/>
                  </a:lnTo>
                  <a:lnTo>
                    <a:pt x="198" y="305"/>
                  </a:lnTo>
                  <a:lnTo>
                    <a:pt x="200" y="305"/>
                  </a:lnTo>
                  <a:lnTo>
                    <a:pt x="201" y="305"/>
                  </a:lnTo>
                  <a:lnTo>
                    <a:pt x="202" y="307"/>
                  </a:lnTo>
                  <a:lnTo>
                    <a:pt x="203" y="308"/>
                  </a:lnTo>
                  <a:lnTo>
                    <a:pt x="204" y="308"/>
                  </a:lnTo>
                  <a:lnTo>
                    <a:pt x="206" y="308"/>
                  </a:lnTo>
                  <a:lnTo>
                    <a:pt x="206" y="307"/>
                  </a:lnTo>
                  <a:lnTo>
                    <a:pt x="207" y="305"/>
                  </a:lnTo>
                  <a:lnTo>
                    <a:pt x="208" y="305"/>
                  </a:lnTo>
                  <a:lnTo>
                    <a:pt x="209" y="305"/>
                  </a:lnTo>
                  <a:lnTo>
                    <a:pt x="209" y="307"/>
                  </a:lnTo>
                  <a:lnTo>
                    <a:pt x="210" y="307"/>
                  </a:lnTo>
                  <a:lnTo>
                    <a:pt x="212" y="307"/>
                  </a:lnTo>
                  <a:lnTo>
                    <a:pt x="212" y="305"/>
                  </a:lnTo>
                  <a:lnTo>
                    <a:pt x="210" y="304"/>
                  </a:lnTo>
                  <a:lnTo>
                    <a:pt x="209" y="304"/>
                  </a:lnTo>
                  <a:lnTo>
                    <a:pt x="208" y="304"/>
                  </a:lnTo>
                  <a:lnTo>
                    <a:pt x="207" y="304"/>
                  </a:lnTo>
                  <a:lnTo>
                    <a:pt x="207" y="305"/>
                  </a:lnTo>
                  <a:lnTo>
                    <a:pt x="206" y="305"/>
                  </a:lnTo>
                  <a:lnTo>
                    <a:pt x="204" y="307"/>
                  </a:lnTo>
                  <a:lnTo>
                    <a:pt x="203" y="307"/>
                  </a:lnTo>
                  <a:lnTo>
                    <a:pt x="202" y="305"/>
                  </a:lnTo>
                  <a:lnTo>
                    <a:pt x="202" y="304"/>
                  </a:lnTo>
                  <a:lnTo>
                    <a:pt x="203" y="303"/>
                  </a:lnTo>
                  <a:lnTo>
                    <a:pt x="206" y="303"/>
                  </a:lnTo>
                  <a:lnTo>
                    <a:pt x="207" y="303"/>
                  </a:lnTo>
                  <a:lnTo>
                    <a:pt x="207" y="302"/>
                  </a:lnTo>
                  <a:lnTo>
                    <a:pt x="207" y="301"/>
                  </a:lnTo>
                  <a:lnTo>
                    <a:pt x="208" y="301"/>
                  </a:lnTo>
                  <a:lnTo>
                    <a:pt x="209" y="301"/>
                  </a:lnTo>
                  <a:lnTo>
                    <a:pt x="207" y="301"/>
                  </a:lnTo>
                  <a:lnTo>
                    <a:pt x="206" y="302"/>
                  </a:lnTo>
                  <a:lnTo>
                    <a:pt x="201" y="302"/>
                  </a:lnTo>
                  <a:lnTo>
                    <a:pt x="202" y="301"/>
                  </a:lnTo>
                  <a:lnTo>
                    <a:pt x="204" y="298"/>
                  </a:lnTo>
                  <a:lnTo>
                    <a:pt x="207" y="298"/>
                  </a:lnTo>
                  <a:lnTo>
                    <a:pt x="209" y="298"/>
                  </a:lnTo>
                  <a:lnTo>
                    <a:pt x="210" y="299"/>
                  </a:lnTo>
                  <a:lnTo>
                    <a:pt x="210" y="301"/>
                  </a:lnTo>
                  <a:lnTo>
                    <a:pt x="212" y="302"/>
                  </a:lnTo>
                  <a:lnTo>
                    <a:pt x="212" y="303"/>
                  </a:lnTo>
                  <a:lnTo>
                    <a:pt x="213" y="303"/>
                  </a:lnTo>
                  <a:lnTo>
                    <a:pt x="214" y="302"/>
                  </a:lnTo>
                  <a:lnTo>
                    <a:pt x="213" y="301"/>
                  </a:lnTo>
                  <a:lnTo>
                    <a:pt x="212" y="301"/>
                  </a:lnTo>
                  <a:lnTo>
                    <a:pt x="213" y="298"/>
                  </a:lnTo>
                  <a:lnTo>
                    <a:pt x="213" y="297"/>
                  </a:lnTo>
                  <a:lnTo>
                    <a:pt x="213" y="296"/>
                  </a:lnTo>
                  <a:lnTo>
                    <a:pt x="212" y="295"/>
                  </a:lnTo>
                  <a:lnTo>
                    <a:pt x="213" y="293"/>
                  </a:lnTo>
                  <a:lnTo>
                    <a:pt x="210" y="293"/>
                  </a:lnTo>
                  <a:lnTo>
                    <a:pt x="201" y="293"/>
                  </a:lnTo>
                  <a:lnTo>
                    <a:pt x="182" y="296"/>
                  </a:lnTo>
                  <a:lnTo>
                    <a:pt x="172" y="298"/>
                  </a:lnTo>
                  <a:lnTo>
                    <a:pt x="164" y="302"/>
                  </a:lnTo>
                  <a:lnTo>
                    <a:pt x="161" y="303"/>
                  </a:lnTo>
                  <a:lnTo>
                    <a:pt x="165" y="305"/>
                  </a:lnTo>
                  <a:lnTo>
                    <a:pt x="170" y="308"/>
                  </a:lnTo>
                  <a:lnTo>
                    <a:pt x="171" y="310"/>
                  </a:lnTo>
                  <a:lnTo>
                    <a:pt x="173" y="313"/>
                  </a:lnTo>
                  <a:lnTo>
                    <a:pt x="176" y="314"/>
                  </a:lnTo>
                  <a:lnTo>
                    <a:pt x="173" y="313"/>
                  </a:lnTo>
                  <a:lnTo>
                    <a:pt x="172" y="315"/>
                  </a:lnTo>
                  <a:lnTo>
                    <a:pt x="171" y="317"/>
                  </a:lnTo>
                  <a:lnTo>
                    <a:pt x="173" y="321"/>
                  </a:lnTo>
                  <a:lnTo>
                    <a:pt x="174" y="322"/>
                  </a:lnTo>
                  <a:lnTo>
                    <a:pt x="176" y="325"/>
                  </a:lnTo>
                  <a:lnTo>
                    <a:pt x="177" y="325"/>
                  </a:lnTo>
                  <a:lnTo>
                    <a:pt x="177" y="326"/>
                  </a:lnTo>
                  <a:lnTo>
                    <a:pt x="178" y="327"/>
                  </a:lnTo>
                  <a:lnTo>
                    <a:pt x="179" y="328"/>
                  </a:lnTo>
                  <a:lnTo>
                    <a:pt x="180" y="327"/>
                  </a:lnTo>
                  <a:lnTo>
                    <a:pt x="179" y="327"/>
                  </a:lnTo>
                  <a:lnTo>
                    <a:pt x="179" y="325"/>
                  </a:lnTo>
                  <a:lnTo>
                    <a:pt x="182" y="326"/>
                  </a:lnTo>
                  <a:lnTo>
                    <a:pt x="183" y="328"/>
                  </a:lnTo>
                  <a:lnTo>
                    <a:pt x="182" y="328"/>
                  </a:lnTo>
                  <a:lnTo>
                    <a:pt x="180" y="328"/>
                  </a:lnTo>
                  <a:lnTo>
                    <a:pt x="182" y="331"/>
                  </a:lnTo>
                  <a:lnTo>
                    <a:pt x="183" y="332"/>
                  </a:lnTo>
                  <a:lnTo>
                    <a:pt x="183" y="334"/>
                  </a:lnTo>
                  <a:lnTo>
                    <a:pt x="182" y="332"/>
                  </a:lnTo>
                  <a:lnTo>
                    <a:pt x="180" y="331"/>
                  </a:lnTo>
                  <a:lnTo>
                    <a:pt x="180" y="332"/>
                  </a:lnTo>
                  <a:lnTo>
                    <a:pt x="180" y="334"/>
                  </a:lnTo>
                  <a:lnTo>
                    <a:pt x="180" y="337"/>
                  </a:lnTo>
                  <a:lnTo>
                    <a:pt x="180" y="333"/>
                  </a:lnTo>
                  <a:lnTo>
                    <a:pt x="179" y="334"/>
                  </a:lnTo>
                  <a:lnTo>
                    <a:pt x="179" y="335"/>
                  </a:lnTo>
                  <a:lnTo>
                    <a:pt x="179" y="333"/>
                  </a:lnTo>
                  <a:lnTo>
                    <a:pt x="178" y="334"/>
                  </a:lnTo>
                  <a:lnTo>
                    <a:pt x="179" y="332"/>
                  </a:lnTo>
                  <a:lnTo>
                    <a:pt x="179" y="331"/>
                  </a:lnTo>
                  <a:lnTo>
                    <a:pt x="180" y="329"/>
                  </a:lnTo>
                  <a:lnTo>
                    <a:pt x="178" y="328"/>
                  </a:lnTo>
                  <a:lnTo>
                    <a:pt x="176" y="326"/>
                  </a:lnTo>
                  <a:lnTo>
                    <a:pt x="174" y="322"/>
                  </a:lnTo>
                  <a:lnTo>
                    <a:pt x="173" y="322"/>
                  </a:lnTo>
                  <a:lnTo>
                    <a:pt x="173" y="326"/>
                  </a:lnTo>
                  <a:lnTo>
                    <a:pt x="174" y="328"/>
                  </a:lnTo>
                  <a:lnTo>
                    <a:pt x="174" y="329"/>
                  </a:lnTo>
                  <a:lnTo>
                    <a:pt x="174" y="328"/>
                  </a:lnTo>
                  <a:lnTo>
                    <a:pt x="177" y="328"/>
                  </a:lnTo>
                  <a:lnTo>
                    <a:pt x="176" y="329"/>
                  </a:lnTo>
                  <a:lnTo>
                    <a:pt x="176" y="331"/>
                  </a:lnTo>
                  <a:lnTo>
                    <a:pt x="177" y="331"/>
                  </a:lnTo>
                  <a:lnTo>
                    <a:pt x="177" y="332"/>
                  </a:lnTo>
                  <a:lnTo>
                    <a:pt x="177" y="333"/>
                  </a:lnTo>
                  <a:lnTo>
                    <a:pt x="177" y="334"/>
                  </a:lnTo>
                  <a:lnTo>
                    <a:pt x="179" y="338"/>
                  </a:lnTo>
                  <a:lnTo>
                    <a:pt x="182" y="339"/>
                  </a:lnTo>
                  <a:lnTo>
                    <a:pt x="180" y="338"/>
                  </a:lnTo>
                  <a:lnTo>
                    <a:pt x="183" y="339"/>
                  </a:lnTo>
                  <a:lnTo>
                    <a:pt x="183" y="341"/>
                  </a:lnTo>
                  <a:lnTo>
                    <a:pt x="184" y="341"/>
                  </a:lnTo>
                  <a:lnTo>
                    <a:pt x="185" y="341"/>
                  </a:lnTo>
                  <a:lnTo>
                    <a:pt x="186" y="340"/>
                  </a:lnTo>
                  <a:lnTo>
                    <a:pt x="186" y="339"/>
                  </a:lnTo>
                  <a:lnTo>
                    <a:pt x="186" y="337"/>
                  </a:lnTo>
                  <a:lnTo>
                    <a:pt x="189" y="337"/>
                  </a:lnTo>
                  <a:lnTo>
                    <a:pt x="190" y="337"/>
                  </a:lnTo>
                  <a:lnTo>
                    <a:pt x="190" y="338"/>
                  </a:lnTo>
                  <a:lnTo>
                    <a:pt x="189" y="340"/>
                  </a:lnTo>
                  <a:lnTo>
                    <a:pt x="189" y="341"/>
                  </a:lnTo>
                  <a:lnTo>
                    <a:pt x="189" y="343"/>
                  </a:lnTo>
                  <a:lnTo>
                    <a:pt x="190" y="343"/>
                  </a:lnTo>
                  <a:lnTo>
                    <a:pt x="191" y="343"/>
                  </a:lnTo>
                  <a:lnTo>
                    <a:pt x="192" y="340"/>
                  </a:lnTo>
                  <a:lnTo>
                    <a:pt x="192" y="338"/>
                  </a:lnTo>
                  <a:lnTo>
                    <a:pt x="194" y="339"/>
                  </a:lnTo>
                  <a:lnTo>
                    <a:pt x="194" y="340"/>
                  </a:lnTo>
                  <a:lnTo>
                    <a:pt x="192" y="343"/>
                  </a:lnTo>
                  <a:lnTo>
                    <a:pt x="191" y="343"/>
                  </a:lnTo>
                  <a:lnTo>
                    <a:pt x="192" y="344"/>
                  </a:lnTo>
                  <a:lnTo>
                    <a:pt x="194" y="345"/>
                  </a:lnTo>
                  <a:lnTo>
                    <a:pt x="196" y="346"/>
                  </a:lnTo>
                  <a:lnTo>
                    <a:pt x="196" y="347"/>
                  </a:lnTo>
                  <a:lnTo>
                    <a:pt x="195" y="347"/>
                  </a:lnTo>
                  <a:lnTo>
                    <a:pt x="194" y="347"/>
                  </a:lnTo>
                  <a:lnTo>
                    <a:pt x="195" y="351"/>
                  </a:lnTo>
                  <a:lnTo>
                    <a:pt x="192" y="350"/>
                  </a:lnTo>
                  <a:lnTo>
                    <a:pt x="192" y="347"/>
                  </a:lnTo>
                  <a:lnTo>
                    <a:pt x="194" y="346"/>
                  </a:lnTo>
                  <a:lnTo>
                    <a:pt x="192" y="346"/>
                  </a:lnTo>
                  <a:lnTo>
                    <a:pt x="191" y="345"/>
                  </a:lnTo>
                  <a:lnTo>
                    <a:pt x="190" y="344"/>
                  </a:lnTo>
                  <a:lnTo>
                    <a:pt x="189" y="343"/>
                  </a:lnTo>
                  <a:lnTo>
                    <a:pt x="188" y="344"/>
                  </a:lnTo>
                  <a:lnTo>
                    <a:pt x="190" y="345"/>
                  </a:lnTo>
                  <a:lnTo>
                    <a:pt x="190" y="349"/>
                  </a:lnTo>
                  <a:lnTo>
                    <a:pt x="192" y="350"/>
                  </a:lnTo>
                  <a:lnTo>
                    <a:pt x="192" y="352"/>
                  </a:lnTo>
                  <a:lnTo>
                    <a:pt x="192" y="357"/>
                  </a:lnTo>
                  <a:lnTo>
                    <a:pt x="195" y="358"/>
                  </a:lnTo>
                  <a:lnTo>
                    <a:pt x="195" y="360"/>
                  </a:lnTo>
                  <a:lnTo>
                    <a:pt x="197" y="361"/>
                  </a:lnTo>
                  <a:lnTo>
                    <a:pt x="198" y="361"/>
                  </a:lnTo>
                  <a:lnTo>
                    <a:pt x="200" y="363"/>
                  </a:lnTo>
                  <a:lnTo>
                    <a:pt x="197" y="362"/>
                  </a:lnTo>
                  <a:lnTo>
                    <a:pt x="198" y="363"/>
                  </a:lnTo>
                  <a:lnTo>
                    <a:pt x="197" y="366"/>
                  </a:lnTo>
                  <a:lnTo>
                    <a:pt x="196" y="364"/>
                  </a:lnTo>
                  <a:lnTo>
                    <a:pt x="196" y="366"/>
                  </a:lnTo>
                  <a:lnTo>
                    <a:pt x="195" y="364"/>
                  </a:lnTo>
                  <a:lnTo>
                    <a:pt x="195" y="366"/>
                  </a:lnTo>
                  <a:lnTo>
                    <a:pt x="192" y="368"/>
                  </a:lnTo>
                  <a:lnTo>
                    <a:pt x="192" y="366"/>
                  </a:lnTo>
                  <a:lnTo>
                    <a:pt x="191" y="366"/>
                  </a:lnTo>
                  <a:lnTo>
                    <a:pt x="192" y="362"/>
                  </a:lnTo>
                  <a:lnTo>
                    <a:pt x="191" y="361"/>
                  </a:lnTo>
                  <a:lnTo>
                    <a:pt x="192" y="358"/>
                  </a:lnTo>
                  <a:lnTo>
                    <a:pt x="191" y="352"/>
                  </a:lnTo>
                  <a:lnTo>
                    <a:pt x="191" y="353"/>
                  </a:lnTo>
                  <a:lnTo>
                    <a:pt x="190" y="353"/>
                  </a:lnTo>
                  <a:lnTo>
                    <a:pt x="191" y="356"/>
                  </a:lnTo>
                  <a:lnTo>
                    <a:pt x="189" y="355"/>
                  </a:lnTo>
                  <a:lnTo>
                    <a:pt x="186" y="353"/>
                  </a:lnTo>
                  <a:lnTo>
                    <a:pt x="185" y="353"/>
                  </a:lnTo>
                  <a:lnTo>
                    <a:pt x="186" y="355"/>
                  </a:lnTo>
                  <a:lnTo>
                    <a:pt x="185" y="357"/>
                  </a:lnTo>
                  <a:lnTo>
                    <a:pt x="185" y="358"/>
                  </a:lnTo>
                  <a:lnTo>
                    <a:pt x="184" y="356"/>
                  </a:lnTo>
                  <a:lnTo>
                    <a:pt x="184" y="355"/>
                  </a:lnTo>
                  <a:lnTo>
                    <a:pt x="185" y="353"/>
                  </a:lnTo>
                  <a:lnTo>
                    <a:pt x="185" y="352"/>
                  </a:lnTo>
                  <a:lnTo>
                    <a:pt x="186" y="351"/>
                  </a:lnTo>
                  <a:lnTo>
                    <a:pt x="188" y="350"/>
                  </a:lnTo>
                  <a:lnTo>
                    <a:pt x="188" y="349"/>
                  </a:lnTo>
                  <a:lnTo>
                    <a:pt x="186" y="349"/>
                  </a:lnTo>
                  <a:lnTo>
                    <a:pt x="185" y="350"/>
                  </a:lnTo>
                  <a:lnTo>
                    <a:pt x="185" y="349"/>
                  </a:lnTo>
                  <a:lnTo>
                    <a:pt x="185" y="347"/>
                  </a:lnTo>
                  <a:lnTo>
                    <a:pt x="183" y="351"/>
                  </a:lnTo>
                  <a:lnTo>
                    <a:pt x="182" y="353"/>
                  </a:lnTo>
                  <a:lnTo>
                    <a:pt x="179" y="357"/>
                  </a:lnTo>
                  <a:lnTo>
                    <a:pt x="182" y="360"/>
                  </a:lnTo>
                  <a:lnTo>
                    <a:pt x="183" y="361"/>
                  </a:lnTo>
                  <a:lnTo>
                    <a:pt x="182" y="361"/>
                  </a:lnTo>
                  <a:lnTo>
                    <a:pt x="182" y="363"/>
                  </a:lnTo>
                  <a:lnTo>
                    <a:pt x="182" y="364"/>
                  </a:lnTo>
                  <a:lnTo>
                    <a:pt x="183" y="364"/>
                  </a:lnTo>
                  <a:lnTo>
                    <a:pt x="183" y="366"/>
                  </a:lnTo>
                  <a:lnTo>
                    <a:pt x="182" y="366"/>
                  </a:lnTo>
                  <a:lnTo>
                    <a:pt x="183" y="369"/>
                  </a:lnTo>
                  <a:lnTo>
                    <a:pt x="182" y="370"/>
                  </a:lnTo>
                  <a:lnTo>
                    <a:pt x="180" y="368"/>
                  </a:lnTo>
                  <a:lnTo>
                    <a:pt x="179" y="366"/>
                  </a:lnTo>
                  <a:lnTo>
                    <a:pt x="178" y="368"/>
                  </a:lnTo>
                  <a:lnTo>
                    <a:pt x="177" y="370"/>
                  </a:lnTo>
                  <a:lnTo>
                    <a:pt x="176" y="369"/>
                  </a:lnTo>
                  <a:lnTo>
                    <a:pt x="176" y="367"/>
                  </a:lnTo>
                  <a:lnTo>
                    <a:pt x="174" y="368"/>
                  </a:lnTo>
                  <a:lnTo>
                    <a:pt x="174" y="366"/>
                  </a:lnTo>
                  <a:lnTo>
                    <a:pt x="174" y="363"/>
                  </a:lnTo>
                  <a:lnTo>
                    <a:pt x="173" y="364"/>
                  </a:lnTo>
                  <a:lnTo>
                    <a:pt x="173" y="362"/>
                  </a:lnTo>
                  <a:lnTo>
                    <a:pt x="176" y="360"/>
                  </a:lnTo>
                  <a:lnTo>
                    <a:pt x="176" y="358"/>
                  </a:lnTo>
                  <a:lnTo>
                    <a:pt x="173" y="358"/>
                  </a:lnTo>
                  <a:lnTo>
                    <a:pt x="172" y="361"/>
                  </a:lnTo>
                  <a:lnTo>
                    <a:pt x="171" y="361"/>
                  </a:lnTo>
                  <a:lnTo>
                    <a:pt x="172" y="357"/>
                  </a:lnTo>
                  <a:lnTo>
                    <a:pt x="174" y="356"/>
                  </a:lnTo>
                  <a:lnTo>
                    <a:pt x="176" y="357"/>
                  </a:lnTo>
                  <a:lnTo>
                    <a:pt x="178" y="356"/>
                  </a:lnTo>
                  <a:lnTo>
                    <a:pt x="182" y="353"/>
                  </a:lnTo>
                  <a:lnTo>
                    <a:pt x="184" y="349"/>
                  </a:lnTo>
                  <a:lnTo>
                    <a:pt x="185" y="346"/>
                  </a:lnTo>
                  <a:lnTo>
                    <a:pt x="184" y="346"/>
                  </a:lnTo>
                  <a:lnTo>
                    <a:pt x="184" y="345"/>
                  </a:lnTo>
                  <a:lnTo>
                    <a:pt x="183" y="344"/>
                  </a:lnTo>
                  <a:lnTo>
                    <a:pt x="183" y="345"/>
                  </a:lnTo>
                  <a:lnTo>
                    <a:pt x="180" y="346"/>
                  </a:lnTo>
                  <a:lnTo>
                    <a:pt x="179" y="346"/>
                  </a:lnTo>
                  <a:lnTo>
                    <a:pt x="178" y="347"/>
                  </a:lnTo>
                  <a:lnTo>
                    <a:pt x="174" y="347"/>
                  </a:lnTo>
                  <a:lnTo>
                    <a:pt x="177" y="346"/>
                  </a:lnTo>
                  <a:lnTo>
                    <a:pt x="178" y="345"/>
                  </a:lnTo>
                  <a:lnTo>
                    <a:pt x="178" y="343"/>
                  </a:lnTo>
                  <a:lnTo>
                    <a:pt x="180" y="343"/>
                  </a:lnTo>
                  <a:lnTo>
                    <a:pt x="182" y="344"/>
                  </a:lnTo>
                  <a:lnTo>
                    <a:pt x="182" y="343"/>
                  </a:lnTo>
                  <a:lnTo>
                    <a:pt x="183" y="343"/>
                  </a:lnTo>
                  <a:lnTo>
                    <a:pt x="183" y="341"/>
                  </a:lnTo>
                  <a:lnTo>
                    <a:pt x="182" y="341"/>
                  </a:lnTo>
                  <a:lnTo>
                    <a:pt x="180" y="340"/>
                  </a:lnTo>
                  <a:lnTo>
                    <a:pt x="180" y="339"/>
                  </a:lnTo>
                  <a:lnTo>
                    <a:pt x="180" y="340"/>
                  </a:lnTo>
                  <a:lnTo>
                    <a:pt x="178" y="340"/>
                  </a:lnTo>
                  <a:lnTo>
                    <a:pt x="177" y="340"/>
                  </a:lnTo>
                  <a:lnTo>
                    <a:pt x="176" y="340"/>
                  </a:lnTo>
                  <a:lnTo>
                    <a:pt x="173" y="339"/>
                  </a:lnTo>
                  <a:lnTo>
                    <a:pt x="173" y="337"/>
                  </a:lnTo>
                  <a:lnTo>
                    <a:pt x="172" y="338"/>
                  </a:lnTo>
                  <a:lnTo>
                    <a:pt x="173" y="340"/>
                  </a:lnTo>
                  <a:lnTo>
                    <a:pt x="174" y="341"/>
                  </a:lnTo>
                  <a:lnTo>
                    <a:pt x="173" y="341"/>
                  </a:lnTo>
                  <a:lnTo>
                    <a:pt x="173" y="344"/>
                  </a:lnTo>
                  <a:lnTo>
                    <a:pt x="173" y="346"/>
                  </a:lnTo>
                  <a:lnTo>
                    <a:pt x="172" y="345"/>
                  </a:lnTo>
                  <a:lnTo>
                    <a:pt x="172" y="346"/>
                  </a:lnTo>
                  <a:lnTo>
                    <a:pt x="172" y="349"/>
                  </a:lnTo>
                  <a:lnTo>
                    <a:pt x="171" y="346"/>
                  </a:lnTo>
                  <a:lnTo>
                    <a:pt x="170" y="346"/>
                  </a:lnTo>
                  <a:lnTo>
                    <a:pt x="168" y="345"/>
                  </a:lnTo>
                  <a:lnTo>
                    <a:pt x="168" y="347"/>
                  </a:lnTo>
                  <a:lnTo>
                    <a:pt x="168" y="350"/>
                  </a:lnTo>
                  <a:lnTo>
                    <a:pt x="167" y="347"/>
                  </a:lnTo>
                  <a:lnTo>
                    <a:pt x="166" y="347"/>
                  </a:lnTo>
                  <a:lnTo>
                    <a:pt x="165" y="349"/>
                  </a:lnTo>
                  <a:lnTo>
                    <a:pt x="165" y="346"/>
                  </a:lnTo>
                  <a:lnTo>
                    <a:pt x="165" y="344"/>
                  </a:lnTo>
                  <a:lnTo>
                    <a:pt x="166" y="341"/>
                  </a:lnTo>
                  <a:lnTo>
                    <a:pt x="166" y="340"/>
                  </a:lnTo>
                  <a:lnTo>
                    <a:pt x="165" y="339"/>
                  </a:lnTo>
                  <a:lnTo>
                    <a:pt x="164" y="340"/>
                  </a:lnTo>
                  <a:lnTo>
                    <a:pt x="162" y="339"/>
                  </a:lnTo>
                  <a:lnTo>
                    <a:pt x="161" y="339"/>
                  </a:lnTo>
                  <a:lnTo>
                    <a:pt x="161" y="340"/>
                  </a:lnTo>
                  <a:lnTo>
                    <a:pt x="162" y="341"/>
                  </a:lnTo>
                  <a:lnTo>
                    <a:pt x="162" y="344"/>
                  </a:lnTo>
                  <a:lnTo>
                    <a:pt x="161" y="345"/>
                  </a:lnTo>
                  <a:lnTo>
                    <a:pt x="160" y="343"/>
                  </a:lnTo>
                  <a:lnTo>
                    <a:pt x="159" y="341"/>
                  </a:lnTo>
                  <a:lnTo>
                    <a:pt x="157" y="341"/>
                  </a:lnTo>
                  <a:lnTo>
                    <a:pt x="157" y="344"/>
                  </a:lnTo>
                  <a:lnTo>
                    <a:pt x="159" y="345"/>
                  </a:lnTo>
                  <a:lnTo>
                    <a:pt x="160" y="347"/>
                  </a:lnTo>
                  <a:lnTo>
                    <a:pt x="160" y="351"/>
                  </a:lnTo>
                  <a:lnTo>
                    <a:pt x="159" y="349"/>
                  </a:lnTo>
                  <a:lnTo>
                    <a:pt x="157" y="346"/>
                  </a:lnTo>
                  <a:lnTo>
                    <a:pt x="156" y="346"/>
                  </a:lnTo>
                  <a:lnTo>
                    <a:pt x="155" y="347"/>
                  </a:lnTo>
                  <a:lnTo>
                    <a:pt x="155" y="346"/>
                  </a:lnTo>
                  <a:lnTo>
                    <a:pt x="154" y="347"/>
                  </a:lnTo>
                  <a:lnTo>
                    <a:pt x="153" y="350"/>
                  </a:lnTo>
                  <a:lnTo>
                    <a:pt x="154" y="351"/>
                  </a:lnTo>
                  <a:lnTo>
                    <a:pt x="155" y="351"/>
                  </a:lnTo>
                  <a:lnTo>
                    <a:pt x="156" y="351"/>
                  </a:lnTo>
                  <a:lnTo>
                    <a:pt x="157" y="352"/>
                  </a:lnTo>
                  <a:lnTo>
                    <a:pt x="156" y="352"/>
                  </a:lnTo>
                  <a:lnTo>
                    <a:pt x="155" y="352"/>
                  </a:lnTo>
                  <a:lnTo>
                    <a:pt x="154" y="352"/>
                  </a:lnTo>
                  <a:lnTo>
                    <a:pt x="154" y="353"/>
                  </a:lnTo>
                  <a:lnTo>
                    <a:pt x="154" y="355"/>
                  </a:lnTo>
                  <a:lnTo>
                    <a:pt x="154" y="356"/>
                  </a:lnTo>
                  <a:lnTo>
                    <a:pt x="153" y="356"/>
                  </a:lnTo>
                  <a:lnTo>
                    <a:pt x="153" y="355"/>
                  </a:lnTo>
                  <a:lnTo>
                    <a:pt x="153" y="352"/>
                  </a:lnTo>
                  <a:lnTo>
                    <a:pt x="153" y="351"/>
                  </a:lnTo>
                  <a:lnTo>
                    <a:pt x="151" y="352"/>
                  </a:lnTo>
                  <a:lnTo>
                    <a:pt x="151" y="355"/>
                  </a:lnTo>
                  <a:lnTo>
                    <a:pt x="151" y="352"/>
                  </a:lnTo>
                  <a:lnTo>
                    <a:pt x="150" y="353"/>
                  </a:lnTo>
                  <a:lnTo>
                    <a:pt x="149" y="352"/>
                  </a:lnTo>
                  <a:lnTo>
                    <a:pt x="149" y="351"/>
                  </a:lnTo>
                  <a:lnTo>
                    <a:pt x="149" y="350"/>
                  </a:lnTo>
                  <a:lnTo>
                    <a:pt x="149" y="351"/>
                  </a:lnTo>
                  <a:lnTo>
                    <a:pt x="148" y="351"/>
                  </a:lnTo>
                  <a:lnTo>
                    <a:pt x="148" y="352"/>
                  </a:lnTo>
                  <a:lnTo>
                    <a:pt x="148" y="355"/>
                  </a:lnTo>
                  <a:lnTo>
                    <a:pt x="145" y="357"/>
                  </a:lnTo>
                  <a:lnTo>
                    <a:pt x="147" y="355"/>
                  </a:lnTo>
                  <a:lnTo>
                    <a:pt x="148" y="352"/>
                  </a:lnTo>
                  <a:lnTo>
                    <a:pt x="147" y="351"/>
                  </a:lnTo>
                  <a:lnTo>
                    <a:pt x="145" y="352"/>
                  </a:lnTo>
                  <a:lnTo>
                    <a:pt x="144" y="352"/>
                  </a:lnTo>
                  <a:lnTo>
                    <a:pt x="142" y="352"/>
                  </a:lnTo>
                  <a:lnTo>
                    <a:pt x="142" y="353"/>
                  </a:lnTo>
                  <a:lnTo>
                    <a:pt x="144" y="356"/>
                  </a:lnTo>
                  <a:lnTo>
                    <a:pt x="143" y="357"/>
                  </a:lnTo>
                  <a:lnTo>
                    <a:pt x="142" y="358"/>
                  </a:lnTo>
                  <a:lnTo>
                    <a:pt x="141" y="357"/>
                  </a:lnTo>
                  <a:lnTo>
                    <a:pt x="141" y="358"/>
                  </a:lnTo>
                  <a:lnTo>
                    <a:pt x="139" y="360"/>
                  </a:lnTo>
                  <a:lnTo>
                    <a:pt x="139" y="361"/>
                  </a:lnTo>
                  <a:lnTo>
                    <a:pt x="138" y="361"/>
                  </a:lnTo>
                  <a:lnTo>
                    <a:pt x="137" y="358"/>
                  </a:lnTo>
                  <a:lnTo>
                    <a:pt x="135" y="358"/>
                  </a:lnTo>
                  <a:lnTo>
                    <a:pt x="136" y="356"/>
                  </a:lnTo>
                  <a:lnTo>
                    <a:pt x="136" y="353"/>
                  </a:lnTo>
                  <a:lnTo>
                    <a:pt x="137" y="353"/>
                  </a:lnTo>
                  <a:lnTo>
                    <a:pt x="136" y="352"/>
                  </a:lnTo>
                  <a:lnTo>
                    <a:pt x="135" y="352"/>
                  </a:lnTo>
                  <a:lnTo>
                    <a:pt x="136" y="351"/>
                  </a:lnTo>
                  <a:lnTo>
                    <a:pt x="137" y="350"/>
                  </a:lnTo>
                  <a:lnTo>
                    <a:pt x="137" y="349"/>
                  </a:lnTo>
                  <a:lnTo>
                    <a:pt x="136" y="349"/>
                  </a:lnTo>
                  <a:lnTo>
                    <a:pt x="136" y="350"/>
                  </a:lnTo>
                  <a:lnTo>
                    <a:pt x="135" y="351"/>
                  </a:lnTo>
                  <a:lnTo>
                    <a:pt x="133" y="352"/>
                  </a:lnTo>
                  <a:lnTo>
                    <a:pt x="132" y="351"/>
                  </a:lnTo>
                  <a:lnTo>
                    <a:pt x="131" y="350"/>
                  </a:lnTo>
                  <a:lnTo>
                    <a:pt x="132" y="349"/>
                  </a:lnTo>
                  <a:lnTo>
                    <a:pt x="132" y="346"/>
                  </a:lnTo>
                  <a:lnTo>
                    <a:pt x="131" y="347"/>
                  </a:lnTo>
                  <a:lnTo>
                    <a:pt x="130" y="346"/>
                  </a:lnTo>
                  <a:lnTo>
                    <a:pt x="130" y="345"/>
                  </a:lnTo>
                  <a:lnTo>
                    <a:pt x="130" y="346"/>
                  </a:lnTo>
                  <a:lnTo>
                    <a:pt x="129" y="346"/>
                  </a:lnTo>
                  <a:lnTo>
                    <a:pt x="127" y="346"/>
                  </a:lnTo>
                  <a:lnTo>
                    <a:pt x="129" y="347"/>
                  </a:lnTo>
                  <a:lnTo>
                    <a:pt x="130" y="347"/>
                  </a:lnTo>
                  <a:lnTo>
                    <a:pt x="131" y="349"/>
                  </a:lnTo>
                  <a:lnTo>
                    <a:pt x="130" y="349"/>
                  </a:lnTo>
                  <a:lnTo>
                    <a:pt x="129" y="350"/>
                  </a:lnTo>
                  <a:lnTo>
                    <a:pt x="129" y="351"/>
                  </a:lnTo>
                  <a:lnTo>
                    <a:pt x="127" y="349"/>
                  </a:lnTo>
                  <a:lnTo>
                    <a:pt x="126" y="349"/>
                  </a:lnTo>
                  <a:lnTo>
                    <a:pt x="127" y="347"/>
                  </a:lnTo>
                  <a:lnTo>
                    <a:pt x="126" y="347"/>
                  </a:lnTo>
                  <a:lnTo>
                    <a:pt x="125" y="349"/>
                  </a:lnTo>
                  <a:lnTo>
                    <a:pt x="125" y="347"/>
                  </a:lnTo>
                  <a:lnTo>
                    <a:pt x="125" y="346"/>
                  </a:lnTo>
                  <a:lnTo>
                    <a:pt x="127" y="345"/>
                  </a:lnTo>
                  <a:lnTo>
                    <a:pt x="126" y="345"/>
                  </a:lnTo>
                  <a:lnTo>
                    <a:pt x="127" y="344"/>
                  </a:lnTo>
                  <a:lnTo>
                    <a:pt x="129" y="344"/>
                  </a:lnTo>
                  <a:lnTo>
                    <a:pt x="129" y="343"/>
                  </a:lnTo>
                  <a:lnTo>
                    <a:pt x="131" y="343"/>
                  </a:lnTo>
                  <a:lnTo>
                    <a:pt x="132" y="341"/>
                  </a:lnTo>
                  <a:lnTo>
                    <a:pt x="132" y="340"/>
                  </a:lnTo>
                  <a:lnTo>
                    <a:pt x="132" y="341"/>
                  </a:lnTo>
                  <a:lnTo>
                    <a:pt x="131" y="341"/>
                  </a:lnTo>
                  <a:lnTo>
                    <a:pt x="130" y="341"/>
                  </a:lnTo>
                  <a:lnTo>
                    <a:pt x="129" y="341"/>
                  </a:lnTo>
                  <a:lnTo>
                    <a:pt x="130" y="340"/>
                  </a:lnTo>
                  <a:lnTo>
                    <a:pt x="131" y="339"/>
                  </a:lnTo>
                  <a:lnTo>
                    <a:pt x="130" y="338"/>
                  </a:lnTo>
                  <a:lnTo>
                    <a:pt x="127" y="340"/>
                  </a:lnTo>
                  <a:lnTo>
                    <a:pt x="127" y="339"/>
                  </a:lnTo>
                  <a:lnTo>
                    <a:pt x="129" y="338"/>
                  </a:lnTo>
                  <a:lnTo>
                    <a:pt x="129" y="337"/>
                  </a:lnTo>
                  <a:lnTo>
                    <a:pt x="127" y="338"/>
                  </a:lnTo>
                  <a:lnTo>
                    <a:pt x="126" y="339"/>
                  </a:lnTo>
                  <a:lnTo>
                    <a:pt x="124" y="339"/>
                  </a:lnTo>
                  <a:lnTo>
                    <a:pt x="124" y="338"/>
                  </a:lnTo>
                  <a:lnTo>
                    <a:pt x="123" y="338"/>
                  </a:lnTo>
                  <a:lnTo>
                    <a:pt x="123" y="340"/>
                  </a:lnTo>
                  <a:lnTo>
                    <a:pt x="121" y="338"/>
                  </a:lnTo>
                  <a:lnTo>
                    <a:pt x="120" y="338"/>
                  </a:lnTo>
                  <a:lnTo>
                    <a:pt x="119" y="339"/>
                  </a:lnTo>
                  <a:lnTo>
                    <a:pt x="118" y="338"/>
                  </a:lnTo>
                  <a:lnTo>
                    <a:pt x="117" y="337"/>
                  </a:lnTo>
                  <a:lnTo>
                    <a:pt x="117" y="335"/>
                  </a:lnTo>
                  <a:lnTo>
                    <a:pt x="118" y="334"/>
                  </a:lnTo>
                  <a:lnTo>
                    <a:pt x="117" y="334"/>
                  </a:lnTo>
                  <a:lnTo>
                    <a:pt x="115" y="335"/>
                  </a:lnTo>
                  <a:lnTo>
                    <a:pt x="114" y="337"/>
                  </a:lnTo>
                  <a:lnTo>
                    <a:pt x="114" y="339"/>
                  </a:lnTo>
                  <a:lnTo>
                    <a:pt x="115" y="340"/>
                  </a:lnTo>
                  <a:lnTo>
                    <a:pt x="117" y="341"/>
                  </a:lnTo>
                  <a:lnTo>
                    <a:pt x="118" y="343"/>
                  </a:lnTo>
                  <a:lnTo>
                    <a:pt x="119" y="343"/>
                  </a:lnTo>
                  <a:lnTo>
                    <a:pt x="119" y="344"/>
                  </a:lnTo>
                  <a:lnTo>
                    <a:pt x="118" y="344"/>
                  </a:lnTo>
                  <a:lnTo>
                    <a:pt x="117" y="345"/>
                  </a:lnTo>
                  <a:lnTo>
                    <a:pt x="119" y="345"/>
                  </a:lnTo>
                  <a:lnTo>
                    <a:pt x="121" y="347"/>
                  </a:lnTo>
                  <a:lnTo>
                    <a:pt x="119" y="347"/>
                  </a:lnTo>
                  <a:lnTo>
                    <a:pt x="118" y="346"/>
                  </a:lnTo>
                  <a:lnTo>
                    <a:pt x="118" y="347"/>
                  </a:lnTo>
                  <a:lnTo>
                    <a:pt x="117" y="347"/>
                  </a:lnTo>
                  <a:lnTo>
                    <a:pt x="113" y="346"/>
                  </a:lnTo>
                  <a:lnTo>
                    <a:pt x="112" y="347"/>
                  </a:lnTo>
                  <a:lnTo>
                    <a:pt x="112" y="350"/>
                  </a:lnTo>
                  <a:lnTo>
                    <a:pt x="111" y="349"/>
                  </a:lnTo>
                  <a:lnTo>
                    <a:pt x="109" y="346"/>
                  </a:lnTo>
                  <a:lnTo>
                    <a:pt x="109" y="345"/>
                  </a:lnTo>
                  <a:lnTo>
                    <a:pt x="108" y="346"/>
                  </a:lnTo>
                  <a:lnTo>
                    <a:pt x="108" y="347"/>
                  </a:lnTo>
                  <a:lnTo>
                    <a:pt x="109" y="349"/>
                  </a:lnTo>
                  <a:lnTo>
                    <a:pt x="107" y="347"/>
                  </a:lnTo>
                  <a:lnTo>
                    <a:pt x="106" y="347"/>
                  </a:lnTo>
                  <a:lnTo>
                    <a:pt x="107" y="349"/>
                  </a:lnTo>
                  <a:lnTo>
                    <a:pt x="107" y="350"/>
                  </a:lnTo>
                  <a:lnTo>
                    <a:pt x="107" y="351"/>
                  </a:lnTo>
                  <a:lnTo>
                    <a:pt x="108" y="352"/>
                  </a:lnTo>
                  <a:lnTo>
                    <a:pt x="109" y="352"/>
                  </a:lnTo>
                  <a:lnTo>
                    <a:pt x="109" y="355"/>
                  </a:lnTo>
                  <a:lnTo>
                    <a:pt x="109" y="356"/>
                  </a:lnTo>
                  <a:lnTo>
                    <a:pt x="111" y="355"/>
                  </a:lnTo>
                  <a:lnTo>
                    <a:pt x="111" y="352"/>
                  </a:lnTo>
                  <a:lnTo>
                    <a:pt x="112" y="352"/>
                  </a:lnTo>
                  <a:lnTo>
                    <a:pt x="112" y="355"/>
                  </a:lnTo>
                  <a:lnTo>
                    <a:pt x="113" y="357"/>
                  </a:lnTo>
                  <a:lnTo>
                    <a:pt x="112" y="360"/>
                  </a:lnTo>
                  <a:lnTo>
                    <a:pt x="111" y="357"/>
                  </a:lnTo>
                  <a:lnTo>
                    <a:pt x="111" y="356"/>
                  </a:lnTo>
                  <a:lnTo>
                    <a:pt x="111" y="358"/>
                  </a:lnTo>
                  <a:lnTo>
                    <a:pt x="109" y="360"/>
                  </a:lnTo>
                  <a:lnTo>
                    <a:pt x="108" y="358"/>
                  </a:lnTo>
                  <a:lnTo>
                    <a:pt x="107" y="357"/>
                  </a:lnTo>
                  <a:lnTo>
                    <a:pt x="108" y="357"/>
                  </a:lnTo>
                  <a:lnTo>
                    <a:pt x="109" y="356"/>
                  </a:lnTo>
                  <a:lnTo>
                    <a:pt x="107" y="356"/>
                  </a:lnTo>
                  <a:lnTo>
                    <a:pt x="106" y="355"/>
                  </a:lnTo>
                  <a:lnTo>
                    <a:pt x="105" y="353"/>
                  </a:lnTo>
                  <a:lnTo>
                    <a:pt x="102" y="355"/>
                  </a:lnTo>
                  <a:lnTo>
                    <a:pt x="103" y="353"/>
                  </a:lnTo>
                  <a:lnTo>
                    <a:pt x="105" y="352"/>
                  </a:lnTo>
                  <a:lnTo>
                    <a:pt x="106" y="351"/>
                  </a:lnTo>
                  <a:lnTo>
                    <a:pt x="105" y="351"/>
                  </a:lnTo>
                  <a:lnTo>
                    <a:pt x="105" y="350"/>
                  </a:lnTo>
                  <a:lnTo>
                    <a:pt x="105" y="349"/>
                  </a:lnTo>
                  <a:lnTo>
                    <a:pt x="105" y="347"/>
                  </a:lnTo>
                  <a:lnTo>
                    <a:pt x="103" y="346"/>
                  </a:lnTo>
                  <a:lnTo>
                    <a:pt x="103" y="347"/>
                  </a:lnTo>
                  <a:lnTo>
                    <a:pt x="102" y="349"/>
                  </a:lnTo>
                  <a:lnTo>
                    <a:pt x="102" y="350"/>
                  </a:lnTo>
                  <a:lnTo>
                    <a:pt x="102" y="351"/>
                  </a:lnTo>
                  <a:lnTo>
                    <a:pt x="100" y="350"/>
                  </a:lnTo>
                  <a:lnTo>
                    <a:pt x="100" y="347"/>
                  </a:lnTo>
                  <a:lnTo>
                    <a:pt x="98" y="346"/>
                  </a:lnTo>
                  <a:lnTo>
                    <a:pt x="98" y="345"/>
                  </a:lnTo>
                  <a:lnTo>
                    <a:pt x="100" y="344"/>
                  </a:lnTo>
                  <a:lnTo>
                    <a:pt x="98" y="343"/>
                  </a:lnTo>
                  <a:lnTo>
                    <a:pt x="98" y="344"/>
                  </a:lnTo>
                  <a:lnTo>
                    <a:pt x="98" y="343"/>
                  </a:lnTo>
                  <a:lnTo>
                    <a:pt x="97" y="343"/>
                  </a:lnTo>
                  <a:lnTo>
                    <a:pt x="96" y="341"/>
                  </a:lnTo>
                  <a:lnTo>
                    <a:pt x="95" y="341"/>
                  </a:lnTo>
                  <a:lnTo>
                    <a:pt x="95" y="339"/>
                  </a:lnTo>
                  <a:lnTo>
                    <a:pt x="95" y="341"/>
                  </a:lnTo>
                  <a:lnTo>
                    <a:pt x="95" y="343"/>
                  </a:lnTo>
                  <a:lnTo>
                    <a:pt x="97" y="343"/>
                  </a:lnTo>
                  <a:lnTo>
                    <a:pt x="96" y="344"/>
                  </a:lnTo>
                  <a:lnTo>
                    <a:pt x="96" y="345"/>
                  </a:lnTo>
                  <a:lnTo>
                    <a:pt x="95" y="345"/>
                  </a:lnTo>
                  <a:lnTo>
                    <a:pt x="95" y="347"/>
                  </a:lnTo>
                  <a:lnTo>
                    <a:pt x="96" y="346"/>
                  </a:lnTo>
                  <a:lnTo>
                    <a:pt x="97" y="346"/>
                  </a:lnTo>
                  <a:lnTo>
                    <a:pt x="97" y="349"/>
                  </a:lnTo>
                  <a:lnTo>
                    <a:pt x="97" y="350"/>
                  </a:lnTo>
                  <a:lnTo>
                    <a:pt x="96" y="350"/>
                  </a:lnTo>
                  <a:lnTo>
                    <a:pt x="95" y="351"/>
                  </a:lnTo>
                  <a:lnTo>
                    <a:pt x="94" y="351"/>
                  </a:lnTo>
                  <a:lnTo>
                    <a:pt x="94" y="349"/>
                  </a:lnTo>
                  <a:lnTo>
                    <a:pt x="92" y="347"/>
                  </a:lnTo>
                  <a:lnTo>
                    <a:pt x="92" y="350"/>
                  </a:lnTo>
                  <a:lnTo>
                    <a:pt x="92" y="352"/>
                  </a:lnTo>
                  <a:lnTo>
                    <a:pt x="92" y="350"/>
                  </a:lnTo>
                  <a:lnTo>
                    <a:pt x="91" y="351"/>
                  </a:lnTo>
                  <a:lnTo>
                    <a:pt x="90" y="352"/>
                  </a:lnTo>
                  <a:lnTo>
                    <a:pt x="90" y="350"/>
                  </a:lnTo>
                  <a:lnTo>
                    <a:pt x="89" y="349"/>
                  </a:lnTo>
                  <a:lnTo>
                    <a:pt x="89" y="350"/>
                  </a:lnTo>
                  <a:lnTo>
                    <a:pt x="89" y="351"/>
                  </a:lnTo>
                  <a:lnTo>
                    <a:pt x="88" y="353"/>
                  </a:lnTo>
                  <a:lnTo>
                    <a:pt x="86" y="355"/>
                  </a:lnTo>
                  <a:lnTo>
                    <a:pt x="86" y="352"/>
                  </a:lnTo>
                  <a:lnTo>
                    <a:pt x="85" y="352"/>
                  </a:lnTo>
                  <a:lnTo>
                    <a:pt x="84" y="353"/>
                  </a:lnTo>
                  <a:lnTo>
                    <a:pt x="85" y="356"/>
                  </a:lnTo>
                  <a:lnTo>
                    <a:pt x="88" y="356"/>
                  </a:lnTo>
                  <a:lnTo>
                    <a:pt x="88" y="357"/>
                  </a:lnTo>
                  <a:lnTo>
                    <a:pt x="89" y="357"/>
                  </a:lnTo>
                  <a:lnTo>
                    <a:pt x="89" y="355"/>
                  </a:lnTo>
                  <a:lnTo>
                    <a:pt x="90" y="352"/>
                  </a:lnTo>
                  <a:lnTo>
                    <a:pt x="90" y="353"/>
                  </a:lnTo>
                  <a:lnTo>
                    <a:pt x="92" y="355"/>
                  </a:lnTo>
                  <a:lnTo>
                    <a:pt x="91" y="356"/>
                  </a:lnTo>
                  <a:lnTo>
                    <a:pt x="90" y="357"/>
                  </a:lnTo>
                  <a:lnTo>
                    <a:pt x="91" y="358"/>
                  </a:lnTo>
                  <a:lnTo>
                    <a:pt x="90" y="358"/>
                  </a:lnTo>
                  <a:lnTo>
                    <a:pt x="89" y="357"/>
                  </a:lnTo>
                  <a:lnTo>
                    <a:pt x="86" y="357"/>
                  </a:lnTo>
                  <a:lnTo>
                    <a:pt x="88" y="358"/>
                  </a:lnTo>
                  <a:lnTo>
                    <a:pt x="86" y="360"/>
                  </a:lnTo>
                  <a:lnTo>
                    <a:pt x="86" y="361"/>
                  </a:lnTo>
                  <a:lnTo>
                    <a:pt x="85" y="360"/>
                  </a:lnTo>
                  <a:lnTo>
                    <a:pt x="84" y="357"/>
                  </a:lnTo>
                  <a:lnTo>
                    <a:pt x="83" y="357"/>
                  </a:lnTo>
                  <a:lnTo>
                    <a:pt x="82" y="358"/>
                  </a:lnTo>
                  <a:lnTo>
                    <a:pt x="82" y="356"/>
                  </a:lnTo>
                  <a:lnTo>
                    <a:pt x="80" y="358"/>
                  </a:lnTo>
                  <a:lnTo>
                    <a:pt x="80" y="360"/>
                  </a:lnTo>
                  <a:lnTo>
                    <a:pt x="79" y="358"/>
                  </a:lnTo>
                  <a:lnTo>
                    <a:pt x="77" y="361"/>
                  </a:lnTo>
                  <a:lnTo>
                    <a:pt x="77" y="362"/>
                  </a:lnTo>
                  <a:lnTo>
                    <a:pt x="76" y="361"/>
                  </a:lnTo>
                  <a:lnTo>
                    <a:pt x="74" y="360"/>
                  </a:lnTo>
                  <a:lnTo>
                    <a:pt x="72" y="362"/>
                  </a:lnTo>
                  <a:lnTo>
                    <a:pt x="72" y="363"/>
                  </a:lnTo>
                  <a:lnTo>
                    <a:pt x="71" y="361"/>
                  </a:lnTo>
                  <a:lnTo>
                    <a:pt x="70" y="360"/>
                  </a:lnTo>
                  <a:lnTo>
                    <a:pt x="70" y="358"/>
                  </a:lnTo>
                  <a:lnTo>
                    <a:pt x="68" y="360"/>
                  </a:lnTo>
                  <a:lnTo>
                    <a:pt x="68" y="357"/>
                  </a:lnTo>
                  <a:lnTo>
                    <a:pt x="71" y="355"/>
                  </a:lnTo>
                  <a:lnTo>
                    <a:pt x="72" y="355"/>
                  </a:lnTo>
                  <a:lnTo>
                    <a:pt x="74" y="355"/>
                  </a:lnTo>
                  <a:lnTo>
                    <a:pt x="74" y="353"/>
                  </a:lnTo>
                  <a:lnTo>
                    <a:pt x="73" y="353"/>
                  </a:lnTo>
                  <a:lnTo>
                    <a:pt x="71" y="353"/>
                  </a:lnTo>
                  <a:lnTo>
                    <a:pt x="68" y="352"/>
                  </a:lnTo>
                  <a:lnTo>
                    <a:pt x="67" y="353"/>
                  </a:lnTo>
                  <a:lnTo>
                    <a:pt x="65" y="355"/>
                  </a:lnTo>
                  <a:lnTo>
                    <a:pt x="64" y="357"/>
                  </a:lnTo>
                  <a:lnTo>
                    <a:pt x="62" y="355"/>
                  </a:lnTo>
                  <a:lnTo>
                    <a:pt x="64" y="353"/>
                  </a:lnTo>
                  <a:lnTo>
                    <a:pt x="65" y="351"/>
                  </a:lnTo>
                  <a:lnTo>
                    <a:pt x="67" y="351"/>
                  </a:lnTo>
                  <a:lnTo>
                    <a:pt x="68" y="351"/>
                  </a:lnTo>
                  <a:lnTo>
                    <a:pt x="70" y="350"/>
                  </a:lnTo>
                  <a:lnTo>
                    <a:pt x="67" y="349"/>
                  </a:lnTo>
                  <a:lnTo>
                    <a:pt x="65" y="350"/>
                  </a:lnTo>
                  <a:lnTo>
                    <a:pt x="64" y="350"/>
                  </a:lnTo>
                  <a:lnTo>
                    <a:pt x="62" y="351"/>
                  </a:lnTo>
                  <a:lnTo>
                    <a:pt x="61" y="351"/>
                  </a:lnTo>
                  <a:lnTo>
                    <a:pt x="62" y="350"/>
                  </a:lnTo>
                  <a:lnTo>
                    <a:pt x="61" y="351"/>
                  </a:lnTo>
                  <a:lnTo>
                    <a:pt x="60" y="351"/>
                  </a:lnTo>
                  <a:lnTo>
                    <a:pt x="60" y="350"/>
                  </a:lnTo>
                  <a:lnTo>
                    <a:pt x="62" y="347"/>
                  </a:lnTo>
                  <a:lnTo>
                    <a:pt x="66" y="347"/>
                  </a:lnTo>
                  <a:lnTo>
                    <a:pt x="67" y="349"/>
                  </a:lnTo>
                  <a:lnTo>
                    <a:pt x="70" y="350"/>
                  </a:lnTo>
                  <a:lnTo>
                    <a:pt x="71" y="350"/>
                  </a:lnTo>
                  <a:lnTo>
                    <a:pt x="73" y="349"/>
                  </a:lnTo>
                  <a:lnTo>
                    <a:pt x="76" y="347"/>
                  </a:lnTo>
                  <a:lnTo>
                    <a:pt x="77" y="347"/>
                  </a:lnTo>
                  <a:lnTo>
                    <a:pt x="76" y="347"/>
                  </a:lnTo>
                  <a:lnTo>
                    <a:pt x="74" y="346"/>
                  </a:lnTo>
                  <a:lnTo>
                    <a:pt x="72" y="347"/>
                  </a:lnTo>
                  <a:lnTo>
                    <a:pt x="71" y="349"/>
                  </a:lnTo>
                  <a:lnTo>
                    <a:pt x="68" y="347"/>
                  </a:lnTo>
                  <a:lnTo>
                    <a:pt x="68" y="346"/>
                  </a:lnTo>
                  <a:lnTo>
                    <a:pt x="67" y="346"/>
                  </a:lnTo>
                  <a:lnTo>
                    <a:pt x="68" y="345"/>
                  </a:lnTo>
                  <a:lnTo>
                    <a:pt x="67" y="345"/>
                  </a:lnTo>
                  <a:lnTo>
                    <a:pt x="65" y="346"/>
                  </a:lnTo>
                  <a:lnTo>
                    <a:pt x="62" y="345"/>
                  </a:lnTo>
                  <a:lnTo>
                    <a:pt x="60" y="346"/>
                  </a:lnTo>
                  <a:lnTo>
                    <a:pt x="60" y="345"/>
                  </a:lnTo>
                  <a:lnTo>
                    <a:pt x="61" y="344"/>
                  </a:lnTo>
                  <a:lnTo>
                    <a:pt x="60" y="343"/>
                  </a:lnTo>
                  <a:lnTo>
                    <a:pt x="59" y="343"/>
                  </a:lnTo>
                  <a:lnTo>
                    <a:pt x="59" y="340"/>
                  </a:lnTo>
                  <a:lnTo>
                    <a:pt x="58" y="340"/>
                  </a:lnTo>
                  <a:lnTo>
                    <a:pt x="56" y="340"/>
                  </a:lnTo>
                  <a:lnTo>
                    <a:pt x="55" y="341"/>
                  </a:lnTo>
                  <a:lnTo>
                    <a:pt x="55" y="340"/>
                  </a:lnTo>
                  <a:lnTo>
                    <a:pt x="54" y="341"/>
                  </a:lnTo>
                  <a:lnTo>
                    <a:pt x="52" y="344"/>
                  </a:lnTo>
                  <a:lnTo>
                    <a:pt x="50" y="347"/>
                  </a:lnTo>
                  <a:lnTo>
                    <a:pt x="49" y="350"/>
                  </a:lnTo>
                  <a:lnTo>
                    <a:pt x="48" y="346"/>
                  </a:lnTo>
                  <a:lnTo>
                    <a:pt x="47" y="346"/>
                  </a:lnTo>
                  <a:lnTo>
                    <a:pt x="46" y="346"/>
                  </a:lnTo>
                  <a:lnTo>
                    <a:pt x="47" y="347"/>
                  </a:lnTo>
                  <a:lnTo>
                    <a:pt x="46" y="349"/>
                  </a:lnTo>
                  <a:lnTo>
                    <a:pt x="46" y="350"/>
                  </a:lnTo>
                  <a:lnTo>
                    <a:pt x="44" y="351"/>
                  </a:lnTo>
                  <a:lnTo>
                    <a:pt x="47" y="350"/>
                  </a:lnTo>
                  <a:lnTo>
                    <a:pt x="48" y="352"/>
                  </a:lnTo>
                  <a:lnTo>
                    <a:pt x="47" y="355"/>
                  </a:lnTo>
                  <a:lnTo>
                    <a:pt x="46" y="353"/>
                  </a:lnTo>
                  <a:lnTo>
                    <a:pt x="43" y="353"/>
                  </a:lnTo>
                  <a:lnTo>
                    <a:pt x="43" y="352"/>
                  </a:lnTo>
                  <a:lnTo>
                    <a:pt x="42" y="352"/>
                  </a:lnTo>
                  <a:lnTo>
                    <a:pt x="42" y="355"/>
                  </a:lnTo>
                  <a:lnTo>
                    <a:pt x="41" y="353"/>
                  </a:lnTo>
                  <a:lnTo>
                    <a:pt x="41" y="352"/>
                  </a:lnTo>
                  <a:lnTo>
                    <a:pt x="39" y="353"/>
                  </a:lnTo>
                  <a:lnTo>
                    <a:pt x="39" y="355"/>
                  </a:lnTo>
                  <a:lnTo>
                    <a:pt x="37" y="355"/>
                  </a:lnTo>
                  <a:lnTo>
                    <a:pt x="36" y="355"/>
                  </a:lnTo>
                  <a:lnTo>
                    <a:pt x="35" y="357"/>
                  </a:lnTo>
                  <a:lnTo>
                    <a:pt x="33" y="358"/>
                  </a:lnTo>
                  <a:lnTo>
                    <a:pt x="32" y="357"/>
                  </a:lnTo>
                  <a:lnTo>
                    <a:pt x="31" y="357"/>
                  </a:lnTo>
                  <a:lnTo>
                    <a:pt x="30" y="356"/>
                  </a:lnTo>
                  <a:lnTo>
                    <a:pt x="26" y="357"/>
                  </a:lnTo>
                  <a:lnTo>
                    <a:pt x="25" y="358"/>
                  </a:lnTo>
                  <a:lnTo>
                    <a:pt x="24" y="360"/>
                  </a:lnTo>
                  <a:lnTo>
                    <a:pt x="23" y="361"/>
                  </a:lnTo>
                  <a:lnTo>
                    <a:pt x="23" y="363"/>
                  </a:lnTo>
                  <a:lnTo>
                    <a:pt x="21" y="362"/>
                  </a:lnTo>
                  <a:lnTo>
                    <a:pt x="21" y="361"/>
                  </a:lnTo>
                  <a:lnTo>
                    <a:pt x="21" y="360"/>
                  </a:lnTo>
                  <a:lnTo>
                    <a:pt x="19" y="361"/>
                  </a:lnTo>
                  <a:lnTo>
                    <a:pt x="19" y="360"/>
                  </a:lnTo>
                  <a:lnTo>
                    <a:pt x="20" y="358"/>
                  </a:lnTo>
                  <a:lnTo>
                    <a:pt x="19" y="360"/>
                  </a:lnTo>
                  <a:lnTo>
                    <a:pt x="19" y="357"/>
                  </a:lnTo>
                  <a:lnTo>
                    <a:pt x="18" y="358"/>
                  </a:lnTo>
                  <a:lnTo>
                    <a:pt x="15" y="358"/>
                  </a:lnTo>
                  <a:lnTo>
                    <a:pt x="13" y="360"/>
                  </a:lnTo>
                  <a:lnTo>
                    <a:pt x="13" y="358"/>
                  </a:lnTo>
                  <a:lnTo>
                    <a:pt x="12" y="360"/>
                  </a:lnTo>
                  <a:lnTo>
                    <a:pt x="9" y="361"/>
                  </a:lnTo>
                  <a:lnTo>
                    <a:pt x="12" y="358"/>
                  </a:lnTo>
                  <a:lnTo>
                    <a:pt x="12" y="357"/>
                  </a:lnTo>
                  <a:lnTo>
                    <a:pt x="11" y="358"/>
                  </a:lnTo>
                  <a:lnTo>
                    <a:pt x="12" y="355"/>
                  </a:lnTo>
                  <a:lnTo>
                    <a:pt x="14" y="352"/>
                  </a:lnTo>
                  <a:lnTo>
                    <a:pt x="15" y="351"/>
                  </a:lnTo>
                  <a:lnTo>
                    <a:pt x="14" y="351"/>
                  </a:lnTo>
                  <a:lnTo>
                    <a:pt x="12" y="353"/>
                  </a:lnTo>
                  <a:lnTo>
                    <a:pt x="9" y="356"/>
                  </a:lnTo>
                  <a:lnTo>
                    <a:pt x="12" y="351"/>
                  </a:lnTo>
                  <a:lnTo>
                    <a:pt x="12" y="350"/>
                  </a:lnTo>
                  <a:lnTo>
                    <a:pt x="11" y="349"/>
                  </a:lnTo>
                  <a:lnTo>
                    <a:pt x="13" y="346"/>
                  </a:lnTo>
                  <a:lnTo>
                    <a:pt x="12" y="345"/>
                  </a:lnTo>
                  <a:lnTo>
                    <a:pt x="11" y="347"/>
                  </a:lnTo>
                  <a:lnTo>
                    <a:pt x="8" y="349"/>
                  </a:lnTo>
                  <a:lnTo>
                    <a:pt x="8" y="346"/>
                  </a:lnTo>
                  <a:lnTo>
                    <a:pt x="7" y="344"/>
                  </a:lnTo>
                  <a:lnTo>
                    <a:pt x="9" y="341"/>
                  </a:lnTo>
                  <a:lnTo>
                    <a:pt x="11" y="341"/>
                  </a:lnTo>
                  <a:lnTo>
                    <a:pt x="13" y="341"/>
                  </a:lnTo>
                  <a:lnTo>
                    <a:pt x="15" y="340"/>
                  </a:lnTo>
                  <a:lnTo>
                    <a:pt x="17" y="339"/>
                  </a:lnTo>
                  <a:lnTo>
                    <a:pt x="18" y="338"/>
                  </a:lnTo>
                  <a:lnTo>
                    <a:pt x="18" y="339"/>
                  </a:lnTo>
                  <a:lnTo>
                    <a:pt x="19" y="341"/>
                  </a:lnTo>
                  <a:lnTo>
                    <a:pt x="20" y="340"/>
                  </a:lnTo>
                  <a:lnTo>
                    <a:pt x="21" y="340"/>
                  </a:lnTo>
                  <a:lnTo>
                    <a:pt x="23" y="339"/>
                  </a:lnTo>
                  <a:lnTo>
                    <a:pt x="26" y="338"/>
                  </a:lnTo>
                  <a:lnTo>
                    <a:pt x="29" y="338"/>
                  </a:lnTo>
                  <a:lnTo>
                    <a:pt x="27" y="339"/>
                  </a:lnTo>
                  <a:lnTo>
                    <a:pt x="26" y="339"/>
                  </a:lnTo>
                  <a:lnTo>
                    <a:pt x="24" y="340"/>
                  </a:lnTo>
                  <a:lnTo>
                    <a:pt x="24" y="341"/>
                  </a:lnTo>
                  <a:lnTo>
                    <a:pt x="24" y="343"/>
                  </a:lnTo>
                  <a:lnTo>
                    <a:pt x="26" y="341"/>
                  </a:lnTo>
                  <a:lnTo>
                    <a:pt x="27" y="341"/>
                  </a:lnTo>
                  <a:lnTo>
                    <a:pt x="27" y="340"/>
                  </a:lnTo>
                  <a:lnTo>
                    <a:pt x="29" y="339"/>
                  </a:lnTo>
                  <a:lnTo>
                    <a:pt x="31" y="339"/>
                  </a:lnTo>
                  <a:lnTo>
                    <a:pt x="32" y="338"/>
                  </a:lnTo>
                  <a:lnTo>
                    <a:pt x="31" y="338"/>
                  </a:lnTo>
                  <a:lnTo>
                    <a:pt x="30" y="339"/>
                  </a:lnTo>
                  <a:lnTo>
                    <a:pt x="30" y="338"/>
                  </a:lnTo>
                  <a:lnTo>
                    <a:pt x="31" y="334"/>
                  </a:lnTo>
                  <a:lnTo>
                    <a:pt x="33" y="333"/>
                  </a:lnTo>
                  <a:lnTo>
                    <a:pt x="33" y="332"/>
                  </a:lnTo>
                  <a:lnTo>
                    <a:pt x="35" y="331"/>
                  </a:lnTo>
                  <a:lnTo>
                    <a:pt x="32" y="332"/>
                  </a:lnTo>
                  <a:lnTo>
                    <a:pt x="31" y="333"/>
                  </a:lnTo>
                  <a:lnTo>
                    <a:pt x="32" y="332"/>
                  </a:lnTo>
                  <a:lnTo>
                    <a:pt x="31" y="332"/>
                  </a:lnTo>
                  <a:lnTo>
                    <a:pt x="27" y="334"/>
                  </a:lnTo>
                  <a:lnTo>
                    <a:pt x="30" y="329"/>
                  </a:lnTo>
                  <a:lnTo>
                    <a:pt x="31" y="328"/>
                  </a:lnTo>
                  <a:lnTo>
                    <a:pt x="33" y="327"/>
                  </a:lnTo>
                  <a:lnTo>
                    <a:pt x="33" y="325"/>
                  </a:lnTo>
                  <a:lnTo>
                    <a:pt x="33" y="323"/>
                  </a:lnTo>
                  <a:lnTo>
                    <a:pt x="32" y="323"/>
                  </a:lnTo>
                  <a:lnTo>
                    <a:pt x="29" y="323"/>
                  </a:lnTo>
                  <a:lnTo>
                    <a:pt x="31" y="321"/>
                  </a:lnTo>
                  <a:lnTo>
                    <a:pt x="33" y="320"/>
                  </a:lnTo>
                  <a:lnTo>
                    <a:pt x="36" y="320"/>
                  </a:lnTo>
                  <a:lnTo>
                    <a:pt x="37" y="321"/>
                  </a:lnTo>
                  <a:lnTo>
                    <a:pt x="39" y="321"/>
                  </a:lnTo>
                  <a:lnTo>
                    <a:pt x="41" y="321"/>
                  </a:lnTo>
                  <a:lnTo>
                    <a:pt x="43" y="321"/>
                  </a:lnTo>
                  <a:lnTo>
                    <a:pt x="42" y="321"/>
                  </a:lnTo>
                  <a:lnTo>
                    <a:pt x="39" y="320"/>
                  </a:lnTo>
                  <a:lnTo>
                    <a:pt x="38" y="319"/>
                  </a:lnTo>
                  <a:lnTo>
                    <a:pt x="39" y="319"/>
                  </a:lnTo>
                  <a:lnTo>
                    <a:pt x="41" y="317"/>
                  </a:lnTo>
                  <a:lnTo>
                    <a:pt x="39" y="316"/>
                  </a:lnTo>
                  <a:lnTo>
                    <a:pt x="38" y="317"/>
                  </a:lnTo>
                  <a:lnTo>
                    <a:pt x="38" y="316"/>
                  </a:lnTo>
                  <a:lnTo>
                    <a:pt x="37" y="315"/>
                  </a:lnTo>
                  <a:lnTo>
                    <a:pt x="38" y="314"/>
                  </a:lnTo>
                  <a:lnTo>
                    <a:pt x="37" y="314"/>
                  </a:lnTo>
                  <a:lnTo>
                    <a:pt x="37" y="313"/>
                  </a:lnTo>
                  <a:lnTo>
                    <a:pt x="36" y="314"/>
                  </a:lnTo>
                  <a:lnTo>
                    <a:pt x="35" y="315"/>
                  </a:lnTo>
                  <a:lnTo>
                    <a:pt x="35" y="316"/>
                  </a:lnTo>
                  <a:lnTo>
                    <a:pt x="35" y="314"/>
                  </a:lnTo>
                  <a:lnTo>
                    <a:pt x="35" y="313"/>
                  </a:lnTo>
                  <a:lnTo>
                    <a:pt x="33" y="314"/>
                  </a:lnTo>
                  <a:lnTo>
                    <a:pt x="35" y="311"/>
                  </a:lnTo>
                  <a:lnTo>
                    <a:pt x="36" y="310"/>
                  </a:lnTo>
                  <a:lnTo>
                    <a:pt x="37" y="309"/>
                  </a:lnTo>
                  <a:lnTo>
                    <a:pt x="39" y="307"/>
                  </a:lnTo>
                  <a:lnTo>
                    <a:pt x="41" y="304"/>
                  </a:lnTo>
                  <a:lnTo>
                    <a:pt x="39" y="304"/>
                  </a:lnTo>
                  <a:lnTo>
                    <a:pt x="38" y="305"/>
                  </a:lnTo>
                  <a:lnTo>
                    <a:pt x="38" y="304"/>
                  </a:lnTo>
                  <a:lnTo>
                    <a:pt x="38" y="305"/>
                  </a:lnTo>
                  <a:lnTo>
                    <a:pt x="37" y="307"/>
                  </a:lnTo>
                  <a:lnTo>
                    <a:pt x="37" y="305"/>
                  </a:lnTo>
                  <a:lnTo>
                    <a:pt x="37" y="307"/>
                  </a:lnTo>
                  <a:lnTo>
                    <a:pt x="36" y="307"/>
                  </a:lnTo>
                  <a:lnTo>
                    <a:pt x="35" y="307"/>
                  </a:lnTo>
                  <a:lnTo>
                    <a:pt x="33" y="309"/>
                  </a:lnTo>
                  <a:lnTo>
                    <a:pt x="33" y="307"/>
                  </a:lnTo>
                  <a:lnTo>
                    <a:pt x="35" y="304"/>
                  </a:lnTo>
                  <a:lnTo>
                    <a:pt x="33" y="304"/>
                  </a:lnTo>
                  <a:lnTo>
                    <a:pt x="32" y="303"/>
                  </a:lnTo>
                  <a:lnTo>
                    <a:pt x="31" y="302"/>
                  </a:lnTo>
                  <a:lnTo>
                    <a:pt x="32" y="301"/>
                  </a:lnTo>
                  <a:lnTo>
                    <a:pt x="31" y="299"/>
                  </a:lnTo>
                  <a:lnTo>
                    <a:pt x="30" y="298"/>
                  </a:lnTo>
                  <a:lnTo>
                    <a:pt x="26" y="301"/>
                  </a:lnTo>
                  <a:lnTo>
                    <a:pt x="25" y="305"/>
                  </a:lnTo>
                  <a:lnTo>
                    <a:pt x="23" y="309"/>
                  </a:lnTo>
                  <a:lnTo>
                    <a:pt x="21" y="311"/>
                  </a:lnTo>
                  <a:lnTo>
                    <a:pt x="24" y="307"/>
                  </a:lnTo>
                  <a:lnTo>
                    <a:pt x="25" y="304"/>
                  </a:lnTo>
                  <a:lnTo>
                    <a:pt x="23" y="305"/>
                  </a:lnTo>
                  <a:lnTo>
                    <a:pt x="20" y="305"/>
                  </a:lnTo>
                  <a:lnTo>
                    <a:pt x="23" y="304"/>
                  </a:lnTo>
                  <a:lnTo>
                    <a:pt x="25" y="302"/>
                  </a:lnTo>
                  <a:lnTo>
                    <a:pt x="25" y="301"/>
                  </a:lnTo>
                  <a:lnTo>
                    <a:pt x="20" y="303"/>
                  </a:lnTo>
                  <a:lnTo>
                    <a:pt x="17" y="307"/>
                  </a:lnTo>
                  <a:lnTo>
                    <a:pt x="19" y="303"/>
                  </a:lnTo>
                  <a:lnTo>
                    <a:pt x="17" y="304"/>
                  </a:lnTo>
                  <a:lnTo>
                    <a:pt x="15" y="304"/>
                  </a:lnTo>
                  <a:lnTo>
                    <a:pt x="18" y="303"/>
                  </a:lnTo>
                  <a:lnTo>
                    <a:pt x="15" y="303"/>
                  </a:lnTo>
                  <a:lnTo>
                    <a:pt x="14" y="303"/>
                  </a:lnTo>
                  <a:lnTo>
                    <a:pt x="13" y="304"/>
                  </a:lnTo>
                  <a:lnTo>
                    <a:pt x="13" y="302"/>
                  </a:lnTo>
                  <a:lnTo>
                    <a:pt x="12" y="302"/>
                  </a:lnTo>
                  <a:lnTo>
                    <a:pt x="11" y="303"/>
                  </a:lnTo>
                  <a:lnTo>
                    <a:pt x="11" y="301"/>
                  </a:lnTo>
                  <a:lnTo>
                    <a:pt x="12" y="299"/>
                  </a:lnTo>
                  <a:lnTo>
                    <a:pt x="11" y="299"/>
                  </a:lnTo>
                  <a:lnTo>
                    <a:pt x="12" y="298"/>
                  </a:lnTo>
                  <a:lnTo>
                    <a:pt x="11" y="298"/>
                  </a:lnTo>
                  <a:lnTo>
                    <a:pt x="12" y="297"/>
                  </a:lnTo>
                  <a:lnTo>
                    <a:pt x="12" y="296"/>
                  </a:lnTo>
                  <a:lnTo>
                    <a:pt x="14" y="295"/>
                  </a:lnTo>
                  <a:lnTo>
                    <a:pt x="17" y="295"/>
                  </a:lnTo>
                  <a:lnTo>
                    <a:pt x="17" y="293"/>
                  </a:lnTo>
                  <a:lnTo>
                    <a:pt x="17" y="292"/>
                  </a:lnTo>
                  <a:lnTo>
                    <a:pt x="18" y="291"/>
                  </a:lnTo>
                  <a:lnTo>
                    <a:pt x="15" y="291"/>
                  </a:lnTo>
                  <a:lnTo>
                    <a:pt x="14" y="291"/>
                  </a:lnTo>
                  <a:lnTo>
                    <a:pt x="12" y="290"/>
                  </a:lnTo>
                  <a:lnTo>
                    <a:pt x="13" y="289"/>
                  </a:lnTo>
                  <a:lnTo>
                    <a:pt x="14" y="289"/>
                  </a:lnTo>
                  <a:lnTo>
                    <a:pt x="17" y="287"/>
                  </a:lnTo>
                  <a:lnTo>
                    <a:pt x="19" y="287"/>
                  </a:lnTo>
                  <a:lnTo>
                    <a:pt x="20" y="290"/>
                  </a:lnTo>
                  <a:lnTo>
                    <a:pt x="21" y="291"/>
                  </a:lnTo>
                  <a:lnTo>
                    <a:pt x="24" y="291"/>
                  </a:lnTo>
                  <a:lnTo>
                    <a:pt x="24" y="290"/>
                  </a:lnTo>
                  <a:lnTo>
                    <a:pt x="25" y="290"/>
                  </a:lnTo>
                  <a:lnTo>
                    <a:pt x="26" y="290"/>
                  </a:lnTo>
                  <a:lnTo>
                    <a:pt x="27" y="289"/>
                  </a:lnTo>
                  <a:lnTo>
                    <a:pt x="29" y="289"/>
                  </a:lnTo>
                  <a:lnTo>
                    <a:pt x="30" y="289"/>
                  </a:lnTo>
                  <a:lnTo>
                    <a:pt x="31" y="287"/>
                  </a:lnTo>
                  <a:lnTo>
                    <a:pt x="31" y="286"/>
                  </a:lnTo>
                  <a:lnTo>
                    <a:pt x="32" y="286"/>
                  </a:lnTo>
                  <a:lnTo>
                    <a:pt x="32" y="285"/>
                  </a:lnTo>
                  <a:lnTo>
                    <a:pt x="33" y="283"/>
                  </a:lnTo>
                  <a:lnTo>
                    <a:pt x="31" y="284"/>
                  </a:lnTo>
                  <a:lnTo>
                    <a:pt x="29" y="286"/>
                  </a:lnTo>
                  <a:lnTo>
                    <a:pt x="27" y="287"/>
                  </a:lnTo>
                  <a:lnTo>
                    <a:pt x="27" y="284"/>
                  </a:lnTo>
                  <a:lnTo>
                    <a:pt x="26" y="281"/>
                  </a:lnTo>
                  <a:lnTo>
                    <a:pt x="26" y="280"/>
                  </a:lnTo>
                  <a:lnTo>
                    <a:pt x="24" y="280"/>
                  </a:lnTo>
                  <a:lnTo>
                    <a:pt x="21" y="281"/>
                  </a:lnTo>
                  <a:lnTo>
                    <a:pt x="21" y="283"/>
                  </a:lnTo>
                  <a:lnTo>
                    <a:pt x="20" y="280"/>
                  </a:lnTo>
                  <a:lnTo>
                    <a:pt x="19" y="280"/>
                  </a:lnTo>
                  <a:lnTo>
                    <a:pt x="17" y="279"/>
                  </a:lnTo>
                  <a:lnTo>
                    <a:pt x="15" y="279"/>
                  </a:lnTo>
                  <a:lnTo>
                    <a:pt x="15" y="275"/>
                  </a:lnTo>
                  <a:lnTo>
                    <a:pt x="14" y="277"/>
                  </a:lnTo>
                  <a:lnTo>
                    <a:pt x="14" y="280"/>
                  </a:lnTo>
                  <a:lnTo>
                    <a:pt x="14" y="284"/>
                  </a:lnTo>
                  <a:lnTo>
                    <a:pt x="14" y="286"/>
                  </a:lnTo>
                  <a:lnTo>
                    <a:pt x="11" y="281"/>
                  </a:lnTo>
                  <a:lnTo>
                    <a:pt x="9" y="280"/>
                  </a:lnTo>
                  <a:lnTo>
                    <a:pt x="8" y="281"/>
                  </a:lnTo>
                  <a:lnTo>
                    <a:pt x="7" y="283"/>
                  </a:lnTo>
                  <a:lnTo>
                    <a:pt x="7" y="280"/>
                  </a:lnTo>
                  <a:lnTo>
                    <a:pt x="7" y="279"/>
                  </a:lnTo>
                  <a:lnTo>
                    <a:pt x="6" y="279"/>
                  </a:lnTo>
                  <a:lnTo>
                    <a:pt x="5" y="279"/>
                  </a:lnTo>
                  <a:lnTo>
                    <a:pt x="5" y="278"/>
                  </a:lnTo>
                  <a:lnTo>
                    <a:pt x="5" y="275"/>
                  </a:lnTo>
                  <a:lnTo>
                    <a:pt x="7" y="273"/>
                  </a:lnTo>
                  <a:lnTo>
                    <a:pt x="7" y="271"/>
                  </a:lnTo>
                  <a:lnTo>
                    <a:pt x="8" y="269"/>
                  </a:lnTo>
                  <a:lnTo>
                    <a:pt x="9" y="268"/>
                  </a:lnTo>
                  <a:lnTo>
                    <a:pt x="11" y="268"/>
                  </a:lnTo>
                  <a:lnTo>
                    <a:pt x="11" y="267"/>
                  </a:lnTo>
                  <a:lnTo>
                    <a:pt x="12" y="266"/>
                  </a:lnTo>
                  <a:lnTo>
                    <a:pt x="14" y="263"/>
                  </a:lnTo>
                  <a:lnTo>
                    <a:pt x="15" y="263"/>
                  </a:lnTo>
                  <a:lnTo>
                    <a:pt x="17" y="262"/>
                  </a:lnTo>
                  <a:lnTo>
                    <a:pt x="18" y="261"/>
                  </a:lnTo>
                  <a:lnTo>
                    <a:pt x="20" y="261"/>
                  </a:lnTo>
                  <a:lnTo>
                    <a:pt x="14" y="259"/>
                  </a:lnTo>
                  <a:lnTo>
                    <a:pt x="11" y="256"/>
                  </a:lnTo>
                  <a:lnTo>
                    <a:pt x="11" y="257"/>
                  </a:lnTo>
                  <a:lnTo>
                    <a:pt x="9" y="260"/>
                  </a:lnTo>
                  <a:lnTo>
                    <a:pt x="8" y="260"/>
                  </a:lnTo>
                  <a:lnTo>
                    <a:pt x="8" y="262"/>
                  </a:lnTo>
                  <a:lnTo>
                    <a:pt x="6" y="263"/>
                  </a:lnTo>
                  <a:lnTo>
                    <a:pt x="6" y="261"/>
                  </a:lnTo>
                  <a:lnTo>
                    <a:pt x="6" y="260"/>
                  </a:lnTo>
                  <a:lnTo>
                    <a:pt x="7" y="260"/>
                  </a:lnTo>
                  <a:lnTo>
                    <a:pt x="7" y="257"/>
                  </a:lnTo>
                  <a:lnTo>
                    <a:pt x="7" y="256"/>
                  </a:lnTo>
                  <a:lnTo>
                    <a:pt x="8" y="256"/>
                  </a:lnTo>
                  <a:lnTo>
                    <a:pt x="9" y="256"/>
                  </a:lnTo>
                  <a:lnTo>
                    <a:pt x="8" y="255"/>
                  </a:lnTo>
                  <a:lnTo>
                    <a:pt x="6" y="255"/>
                  </a:lnTo>
                  <a:lnTo>
                    <a:pt x="6" y="254"/>
                  </a:lnTo>
                  <a:lnTo>
                    <a:pt x="7" y="254"/>
                  </a:lnTo>
                  <a:lnTo>
                    <a:pt x="9" y="255"/>
                  </a:lnTo>
                  <a:lnTo>
                    <a:pt x="13" y="257"/>
                  </a:lnTo>
                  <a:lnTo>
                    <a:pt x="21" y="260"/>
                  </a:lnTo>
                  <a:lnTo>
                    <a:pt x="18" y="256"/>
                  </a:lnTo>
                  <a:lnTo>
                    <a:pt x="17" y="256"/>
                  </a:lnTo>
                  <a:lnTo>
                    <a:pt x="17" y="257"/>
                  </a:lnTo>
                  <a:lnTo>
                    <a:pt x="14" y="256"/>
                  </a:lnTo>
                  <a:lnTo>
                    <a:pt x="14" y="254"/>
                  </a:lnTo>
                  <a:lnTo>
                    <a:pt x="11" y="251"/>
                  </a:lnTo>
                  <a:lnTo>
                    <a:pt x="8" y="249"/>
                  </a:lnTo>
                  <a:lnTo>
                    <a:pt x="8" y="250"/>
                  </a:lnTo>
                  <a:lnTo>
                    <a:pt x="8" y="253"/>
                  </a:lnTo>
                  <a:lnTo>
                    <a:pt x="7" y="251"/>
                  </a:lnTo>
                  <a:lnTo>
                    <a:pt x="7" y="250"/>
                  </a:lnTo>
                  <a:lnTo>
                    <a:pt x="6" y="250"/>
                  </a:lnTo>
                  <a:lnTo>
                    <a:pt x="6" y="251"/>
                  </a:lnTo>
                  <a:lnTo>
                    <a:pt x="2" y="251"/>
                  </a:lnTo>
                  <a:lnTo>
                    <a:pt x="1" y="251"/>
                  </a:lnTo>
                  <a:lnTo>
                    <a:pt x="2" y="250"/>
                  </a:lnTo>
                  <a:lnTo>
                    <a:pt x="2" y="249"/>
                  </a:lnTo>
                  <a:lnTo>
                    <a:pt x="5" y="249"/>
                  </a:lnTo>
                  <a:lnTo>
                    <a:pt x="7" y="249"/>
                  </a:lnTo>
                  <a:lnTo>
                    <a:pt x="8" y="249"/>
                  </a:lnTo>
                  <a:lnTo>
                    <a:pt x="5" y="244"/>
                  </a:lnTo>
                  <a:lnTo>
                    <a:pt x="3" y="244"/>
                  </a:lnTo>
                  <a:lnTo>
                    <a:pt x="1" y="243"/>
                  </a:lnTo>
                  <a:lnTo>
                    <a:pt x="0" y="242"/>
                  </a:lnTo>
                  <a:lnTo>
                    <a:pt x="2" y="242"/>
                  </a:lnTo>
                  <a:lnTo>
                    <a:pt x="3" y="243"/>
                  </a:lnTo>
                  <a:lnTo>
                    <a:pt x="5" y="243"/>
                  </a:lnTo>
                  <a:lnTo>
                    <a:pt x="6" y="243"/>
                  </a:lnTo>
                  <a:lnTo>
                    <a:pt x="8" y="244"/>
                  </a:lnTo>
                  <a:lnTo>
                    <a:pt x="9" y="246"/>
                  </a:lnTo>
                  <a:lnTo>
                    <a:pt x="8" y="245"/>
                  </a:lnTo>
                  <a:lnTo>
                    <a:pt x="8" y="246"/>
                  </a:lnTo>
                  <a:lnTo>
                    <a:pt x="6" y="245"/>
                  </a:lnTo>
                  <a:lnTo>
                    <a:pt x="5" y="244"/>
                  </a:lnTo>
                  <a:lnTo>
                    <a:pt x="8" y="248"/>
                  </a:lnTo>
                  <a:lnTo>
                    <a:pt x="14" y="254"/>
                  </a:lnTo>
                  <a:lnTo>
                    <a:pt x="15" y="254"/>
                  </a:lnTo>
                  <a:lnTo>
                    <a:pt x="17" y="253"/>
                  </a:lnTo>
                  <a:lnTo>
                    <a:pt x="18" y="253"/>
                  </a:lnTo>
                  <a:lnTo>
                    <a:pt x="17" y="254"/>
                  </a:lnTo>
                  <a:lnTo>
                    <a:pt x="17" y="255"/>
                  </a:lnTo>
                  <a:lnTo>
                    <a:pt x="21" y="260"/>
                  </a:lnTo>
                  <a:lnTo>
                    <a:pt x="23" y="260"/>
                  </a:lnTo>
                  <a:lnTo>
                    <a:pt x="24" y="257"/>
                  </a:lnTo>
                  <a:lnTo>
                    <a:pt x="25" y="256"/>
                  </a:lnTo>
                  <a:lnTo>
                    <a:pt x="25" y="255"/>
                  </a:lnTo>
                  <a:lnTo>
                    <a:pt x="26" y="255"/>
                  </a:lnTo>
                  <a:lnTo>
                    <a:pt x="29" y="256"/>
                  </a:lnTo>
                  <a:lnTo>
                    <a:pt x="29" y="257"/>
                  </a:lnTo>
                  <a:lnTo>
                    <a:pt x="31" y="257"/>
                  </a:lnTo>
                  <a:lnTo>
                    <a:pt x="31" y="255"/>
                  </a:lnTo>
                  <a:lnTo>
                    <a:pt x="32" y="253"/>
                  </a:lnTo>
                  <a:lnTo>
                    <a:pt x="35" y="250"/>
                  </a:lnTo>
                  <a:lnTo>
                    <a:pt x="37" y="249"/>
                  </a:lnTo>
                  <a:lnTo>
                    <a:pt x="39" y="249"/>
                  </a:lnTo>
                  <a:lnTo>
                    <a:pt x="41" y="250"/>
                  </a:lnTo>
                  <a:lnTo>
                    <a:pt x="43" y="250"/>
                  </a:lnTo>
                  <a:lnTo>
                    <a:pt x="44" y="251"/>
                  </a:lnTo>
                  <a:lnTo>
                    <a:pt x="42" y="251"/>
                  </a:lnTo>
                  <a:lnTo>
                    <a:pt x="43" y="253"/>
                  </a:lnTo>
                  <a:lnTo>
                    <a:pt x="44" y="253"/>
                  </a:lnTo>
                  <a:lnTo>
                    <a:pt x="46" y="254"/>
                  </a:lnTo>
                  <a:lnTo>
                    <a:pt x="47" y="254"/>
                  </a:lnTo>
                  <a:lnTo>
                    <a:pt x="47" y="253"/>
                  </a:lnTo>
                  <a:lnTo>
                    <a:pt x="47" y="251"/>
                  </a:lnTo>
                  <a:lnTo>
                    <a:pt x="46" y="253"/>
                  </a:lnTo>
                  <a:lnTo>
                    <a:pt x="44" y="251"/>
                  </a:lnTo>
                  <a:lnTo>
                    <a:pt x="46" y="251"/>
                  </a:lnTo>
                  <a:lnTo>
                    <a:pt x="46" y="250"/>
                  </a:lnTo>
                  <a:lnTo>
                    <a:pt x="44" y="250"/>
                  </a:lnTo>
                  <a:lnTo>
                    <a:pt x="44" y="249"/>
                  </a:lnTo>
                  <a:lnTo>
                    <a:pt x="46" y="248"/>
                  </a:lnTo>
                  <a:lnTo>
                    <a:pt x="47" y="246"/>
                  </a:lnTo>
                  <a:lnTo>
                    <a:pt x="44" y="246"/>
                  </a:lnTo>
                  <a:lnTo>
                    <a:pt x="42" y="245"/>
                  </a:lnTo>
                  <a:lnTo>
                    <a:pt x="44" y="245"/>
                  </a:lnTo>
                  <a:lnTo>
                    <a:pt x="44" y="244"/>
                  </a:lnTo>
                  <a:lnTo>
                    <a:pt x="46" y="245"/>
                  </a:lnTo>
                  <a:lnTo>
                    <a:pt x="48" y="244"/>
                  </a:lnTo>
                  <a:lnTo>
                    <a:pt x="47" y="244"/>
                  </a:lnTo>
                  <a:lnTo>
                    <a:pt x="49" y="244"/>
                  </a:lnTo>
                  <a:lnTo>
                    <a:pt x="50" y="245"/>
                  </a:lnTo>
                  <a:lnTo>
                    <a:pt x="53" y="244"/>
                  </a:lnTo>
                  <a:lnTo>
                    <a:pt x="53" y="242"/>
                  </a:lnTo>
                  <a:lnTo>
                    <a:pt x="54" y="243"/>
                  </a:lnTo>
                  <a:lnTo>
                    <a:pt x="55" y="244"/>
                  </a:lnTo>
                  <a:lnTo>
                    <a:pt x="55" y="246"/>
                  </a:lnTo>
                  <a:lnTo>
                    <a:pt x="56" y="245"/>
                  </a:lnTo>
                  <a:lnTo>
                    <a:pt x="58" y="243"/>
                  </a:lnTo>
                  <a:lnTo>
                    <a:pt x="59" y="240"/>
                  </a:lnTo>
                  <a:lnTo>
                    <a:pt x="58" y="240"/>
                  </a:lnTo>
                  <a:lnTo>
                    <a:pt x="59" y="240"/>
                  </a:lnTo>
                  <a:lnTo>
                    <a:pt x="59" y="239"/>
                  </a:lnTo>
                  <a:lnTo>
                    <a:pt x="60" y="239"/>
                  </a:lnTo>
                  <a:lnTo>
                    <a:pt x="62" y="238"/>
                  </a:lnTo>
                  <a:lnTo>
                    <a:pt x="61" y="239"/>
                  </a:lnTo>
                  <a:lnTo>
                    <a:pt x="61" y="240"/>
                  </a:lnTo>
                  <a:lnTo>
                    <a:pt x="64" y="240"/>
                  </a:lnTo>
                  <a:lnTo>
                    <a:pt x="64" y="239"/>
                  </a:lnTo>
                  <a:lnTo>
                    <a:pt x="66" y="237"/>
                  </a:lnTo>
                  <a:lnTo>
                    <a:pt x="67" y="236"/>
                  </a:lnTo>
                  <a:lnTo>
                    <a:pt x="66" y="234"/>
                  </a:lnTo>
                  <a:lnTo>
                    <a:pt x="64" y="234"/>
                  </a:lnTo>
                  <a:lnTo>
                    <a:pt x="62" y="236"/>
                  </a:lnTo>
                  <a:lnTo>
                    <a:pt x="60" y="236"/>
                  </a:lnTo>
                  <a:lnTo>
                    <a:pt x="61" y="234"/>
                  </a:lnTo>
                  <a:lnTo>
                    <a:pt x="62" y="233"/>
                  </a:lnTo>
                  <a:lnTo>
                    <a:pt x="62" y="232"/>
                  </a:lnTo>
                  <a:lnTo>
                    <a:pt x="62" y="230"/>
                  </a:lnTo>
                  <a:lnTo>
                    <a:pt x="59" y="227"/>
                  </a:lnTo>
                  <a:lnTo>
                    <a:pt x="56" y="228"/>
                  </a:lnTo>
                  <a:lnTo>
                    <a:pt x="56" y="230"/>
                  </a:lnTo>
                  <a:lnTo>
                    <a:pt x="56" y="227"/>
                  </a:lnTo>
                  <a:lnTo>
                    <a:pt x="58" y="227"/>
                  </a:lnTo>
                  <a:lnTo>
                    <a:pt x="56" y="226"/>
                  </a:lnTo>
                  <a:lnTo>
                    <a:pt x="55" y="226"/>
                  </a:lnTo>
                  <a:lnTo>
                    <a:pt x="54" y="227"/>
                  </a:lnTo>
                  <a:lnTo>
                    <a:pt x="53" y="227"/>
                  </a:lnTo>
                  <a:lnTo>
                    <a:pt x="53" y="226"/>
                  </a:lnTo>
                  <a:lnTo>
                    <a:pt x="54" y="226"/>
                  </a:lnTo>
                  <a:lnTo>
                    <a:pt x="54" y="225"/>
                  </a:lnTo>
                  <a:lnTo>
                    <a:pt x="54" y="224"/>
                  </a:lnTo>
                  <a:lnTo>
                    <a:pt x="52" y="225"/>
                  </a:lnTo>
                  <a:lnTo>
                    <a:pt x="50" y="227"/>
                  </a:lnTo>
                  <a:lnTo>
                    <a:pt x="50" y="226"/>
                  </a:lnTo>
                  <a:lnTo>
                    <a:pt x="49" y="226"/>
                  </a:lnTo>
                  <a:lnTo>
                    <a:pt x="47" y="226"/>
                  </a:lnTo>
                  <a:lnTo>
                    <a:pt x="49" y="225"/>
                  </a:lnTo>
                  <a:lnTo>
                    <a:pt x="49" y="224"/>
                  </a:lnTo>
                  <a:lnTo>
                    <a:pt x="52" y="224"/>
                  </a:lnTo>
                  <a:lnTo>
                    <a:pt x="53" y="224"/>
                  </a:lnTo>
                  <a:lnTo>
                    <a:pt x="52" y="220"/>
                  </a:lnTo>
                  <a:lnTo>
                    <a:pt x="52" y="219"/>
                  </a:lnTo>
                  <a:lnTo>
                    <a:pt x="53" y="219"/>
                  </a:lnTo>
                  <a:lnTo>
                    <a:pt x="54" y="218"/>
                  </a:lnTo>
                  <a:lnTo>
                    <a:pt x="56" y="219"/>
                  </a:lnTo>
                  <a:lnTo>
                    <a:pt x="54" y="220"/>
                  </a:lnTo>
                  <a:lnTo>
                    <a:pt x="53" y="221"/>
                  </a:lnTo>
                  <a:lnTo>
                    <a:pt x="52" y="220"/>
                  </a:lnTo>
                  <a:lnTo>
                    <a:pt x="54" y="224"/>
                  </a:lnTo>
                  <a:lnTo>
                    <a:pt x="55" y="224"/>
                  </a:lnTo>
                  <a:lnTo>
                    <a:pt x="56" y="222"/>
                  </a:lnTo>
                  <a:lnTo>
                    <a:pt x="56" y="225"/>
                  </a:lnTo>
                  <a:lnTo>
                    <a:pt x="59" y="227"/>
                  </a:lnTo>
                  <a:lnTo>
                    <a:pt x="62" y="230"/>
                  </a:lnTo>
                  <a:lnTo>
                    <a:pt x="64" y="231"/>
                  </a:lnTo>
                  <a:lnTo>
                    <a:pt x="65" y="230"/>
                  </a:lnTo>
                  <a:lnTo>
                    <a:pt x="64" y="228"/>
                  </a:lnTo>
                  <a:lnTo>
                    <a:pt x="64" y="227"/>
                  </a:lnTo>
                  <a:lnTo>
                    <a:pt x="62" y="225"/>
                  </a:lnTo>
                  <a:lnTo>
                    <a:pt x="62" y="224"/>
                  </a:lnTo>
                  <a:lnTo>
                    <a:pt x="66" y="224"/>
                  </a:lnTo>
                  <a:lnTo>
                    <a:pt x="64" y="222"/>
                  </a:lnTo>
                  <a:lnTo>
                    <a:pt x="61" y="224"/>
                  </a:lnTo>
                  <a:lnTo>
                    <a:pt x="60" y="226"/>
                  </a:lnTo>
                  <a:lnTo>
                    <a:pt x="60" y="225"/>
                  </a:lnTo>
                  <a:lnTo>
                    <a:pt x="60" y="224"/>
                  </a:lnTo>
                  <a:lnTo>
                    <a:pt x="60" y="221"/>
                  </a:lnTo>
                  <a:lnTo>
                    <a:pt x="61" y="220"/>
                  </a:lnTo>
                  <a:lnTo>
                    <a:pt x="61" y="218"/>
                  </a:lnTo>
                  <a:lnTo>
                    <a:pt x="64" y="216"/>
                  </a:lnTo>
                  <a:lnTo>
                    <a:pt x="62" y="216"/>
                  </a:lnTo>
                  <a:lnTo>
                    <a:pt x="64" y="215"/>
                  </a:lnTo>
                  <a:lnTo>
                    <a:pt x="66" y="214"/>
                  </a:lnTo>
                  <a:lnTo>
                    <a:pt x="65" y="213"/>
                  </a:lnTo>
                  <a:lnTo>
                    <a:pt x="64" y="213"/>
                  </a:lnTo>
                  <a:lnTo>
                    <a:pt x="64" y="212"/>
                  </a:lnTo>
                  <a:lnTo>
                    <a:pt x="65" y="210"/>
                  </a:lnTo>
                  <a:lnTo>
                    <a:pt x="65" y="209"/>
                  </a:lnTo>
                  <a:lnTo>
                    <a:pt x="66" y="208"/>
                  </a:lnTo>
                  <a:lnTo>
                    <a:pt x="66" y="206"/>
                  </a:lnTo>
                  <a:lnTo>
                    <a:pt x="65" y="208"/>
                  </a:lnTo>
                  <a:lnTo>
                    <a:pt x="62" y="209"/>
                  </a:lnTo>
                  <a:lnTo>
                    <a:pt x="62" y="206"/>
                  </a:lnTo>
                  <a:lnTo>
                    <a:pt x="64" y="204"/>
                  </a:lnTo>
                  <a:lnTo>
                    <a:pt x="64" y="203"/>
                  </a:lnTo>
                  <a:lnTo>
                    <a:pt x="65" y="202"/>
                  </a:lnTo>
                  <a:lnTo>
                    <a:pt x="67" y="202"/>
                  </a:lnTo>
                  <a:lnTo>
                    <a:pt x="65" y="201"/>
                  </a:lnTo>
                  <a:lnTo>
                    <a:pt x="62" y="201"/>
                  </a:lnTo>
                  <a:lnTo>
                    <a:pt x="64" y="200"/>
                  </a:lnTo>
                  <a:lnTo>
                    <a:pt x="66" y="198"/>
                  </a:lnTo>
                  <a:lnTo>
                    <a:pt x="66" y="197"/>
                  </a:lnTo>
                  <a:lnTo>
                    <a:pt x="67" y="197"/>
                  </a:lnTo>
                  <a:lnTo>
                    <a:pt x="68" y="197"/>
                  </a:lnTo>
                  <a:lnTo>
                    <a:pt x="71" y="196"/>
                  </a:lnTo>
                  <a:lnTo>
                    <a:pt x="72" y="196"/>
                  </a:lnTo>
                  <a:lnTo>
                    <a:pt x="74" y="195"/>
                  </a:lnTo>
                  <a:lnTo>
                    <a:pt x="74" y="197"/>
                  </a:lnTo>
                  <a:lnTo>
                    <a:pt x="76" y="197"/>
                  </a:lnTo>
                  <a:lnTo>
                    <a:pt x="77" y="196"/>
                  </a:lnTo>
                  <a:lnTo>
                    <a:pt x="78" y="196"/>
                  </a:lnTo>
                  <a:lnTo>
                    <a:pt x="78" y="195"/>
                  </a:lnTo>
                  <a:lnTo>
                    <a:pt x="78" y="194"/>
                  </a:lnTo>
                  <a:lnTo>
                    <a:pt x="79" y="191"/>
                  </a:lnTo>
                  <a:lnTo>
                    <a:pt x="80" y="190"/>
                  </a:lnTo>
                  <a:lnTo>
                    <a:pt x="80" y="191"/>
                  </a:lnTo>
                  <a:lnTo>
                    <a:pt x="80" y="192"/>
                  </a:lnTo>
                  <a:lnTo>
                    <a:pt x="82" y="194"/>
                  </a:lnTo>
                  <a:lnTo>
                    <a:pt x="83" y="191"/>
                  </a:lnTo>
                  <a:lnTo>
                    <a:pt x="83" y="192"/>
                  </a:lnTo>
                  <a:lnTo>
                    <a:pt x="83" y="191"/>
                  </a:lnTo>
                  <a:lnTo>
                    <a:pt x="82" y="189"/>
                  </a:lnTo>
                  <a:lnTo>
                    <a:pt x="79" y="189"/>
                  </a:lnTo>
                  <a:lnTo>
                    <a:pt x="77" y="191"/>
                  </a:lnTo>
                  <a:lnTo>
                    <a:pt x="77" y="190"/>
                  </a:lnTo>
                  <a:lnTo>
                    <a:pt x="77" y="189"/>
                  </a:lnTo>
                  <a:lnTo>
                    <a:pt x="77" y="188"/>
                  </a:lnTo>
                  <a:lnTo>
                    <a:pt x="76" y="188"/>
                  </a:lnTo>
                  <a:lnTo>
                    <a:pt x="74" y="188"/>
                  </a:lnTo>
                  <a:lnTo>
                    <a:pt x="74" y="190"/>
                  </a:lnTo>
                  <a:lnTo>
                    <a:pt x="72" y="191"/>
                  </a:lnTo>
                  <a:lnTo>
                    <a:pt x="71" y="192"/>
                  </a:lnTo>
                  <a:lnTo>
                    <a:pt x="71" y="190"/>
                  </a:lnTo>
                  <a:lnTo>
                    <a:pt x="70" y="189"/>
                  </a:lnTo>
                  <a:lnTo>
                    <a:pt x="71" y="189"/>
                  </a:lnTo>
                  <a:lnTo>
                    <a:pt x="71" y="188"/>
                  </a:lnTo>
                  <a:lnTo>
                    <a:pt x="71" y="186"/>
                  </a:lnTo>
                  <a:lnTo>
                    <a:pt x="71" y="185"/>
                  </a:lnTo>
                  <a:lnTo>
                    <a:pt x="70" y="185"/>
                  </a:lnTo>
                  <a:lnTo>
                    <a:pt x="70" y="184"/>
                  </a:lnTo>
                  <a:lnTo>
                    <a:pt x="67" y="183"/>
                  </a:lnTo>
                  <a:lnTo>
                    <a:pt x="65" y="186"/>
                  </a:lnTo>
                  <a:lnTo>
                    <a:pt x="64" y="188"/>
                  </a:lnTo>
                  <a:lnTo>
                    <a:pt x="64" y="185"/>
                  </a:lnTo>
                  <a:lnTo>
                    <a:pt x="64" y="183"/>
                  </a:lnTo>
                  <a:lnTo>
                    <a:pt x="62" y="185"/>
                  </a:lnTo>
                  <a:lnTo>
                    <a:pt x="61" y="184"/>
                  </a:lnTo>
                  <a:lnTo>
                    <a:pt x="60" y="185"/>
                  </a:lnTo>
                  <a:lnTo>
                    <a:pt x="59" y="184"/>
                  </a:lnTo>
                  <a:lnTo>
                    <a:pt x="59" y="185"/>
                  </a:lnTo>
                  <a:lnTo>
                    <a:pt x="58" y="188"/>
                  </a:lnTo>
                  <a:lnTo>
                    <a:pt x="56" y="189"/>
                  </a:lnTo>
                  <a:lnTo>
                    <a:pt x="55" y="191"/>
                  </a:lnTo>
                  <a:lnTo>
                    <a:pt x="54" y="190"/>
                  </a:lnTo>
                  <a:lnTo>
                    <a:pt x="53" y="190"/>
                  </a:lnTo>
                  <a:lnTo>
                    <a:pt x="53" y="191"/>
                  </a:lnTo>
                  <a:lnTo>
                    <a:pt x="52" y="195"/>
                  </a:lnTo>
                  <a:lnTo>
                    <a:pt x="52" y="192"/>
                  </a:lnTo>
                  <a:lnTo>
                    <a:pt x="50" y="191"/>
                  </a:lnTo>
                  <a:lnTo>
                    <a:pt x="50" y="192"/>
                  </a:lnTo>
                  <a:lnTo>
                    <a:pt x="49" y="194"/>
                  </a:lnTo>
                  <a:lnTo>
                    <a:pt x="47" y="194"/>
                  </a:lnTo>
                  <a:lnTo>
                    <a:pt x="47" y="195"/>
                  </a:lnTo>
                  <a:lnTo>
                    <a:pt x="46" y="196"/>
                  </a:lnTo>
                  <a:lnTo>
                    <a:pt x="44" y="197"/>
                  </a:lnTo>
                  <a:lnTo>
                    <a:pt x="44" y="195"/>
                  </a:lnTo>
                  <a:lnTo>
                    <a:pt x="46" y="192"/>
                  </a:lnTo>
                  <a:lnTo>
                    <a:pt x="44" y="192"/>
                  </a:lnTo>
                  <a:lnTo>
                    <a:pt x="43" y="192"/>
                  </a:lnTo>
                  <a:lnTo>
                    <a:pt x="44" y="191"/>
                  </a:lnTo>
                  <a:lnTo>
                    <a:pt x="46" y="190"/>
                  </a:lnTo>
                  <a:lnTo>
                    <a:pt x="47" y="188"/>
                  </a:lnTo>
                  <a:lnTo>
                    <a:pt x="49" y="188"/>
                  </a:lnTo>
                  <a:lnTo>
                    <a:pt x="50" y="188"/>
                  </a:lnTo>
                  <a:lnTo>
                    <a:pt x="53" y="188"/>
                  </a:lnTo>
                  <a:lnTo>
                    <a:pt x="53" y="186"/>
                  </a:lnTo>
                  <a:lnTo>
                    <a:pt x="52" y="185"/>
                  </a:lnTo>
                  <a:lnTo>
                    <a:pt x="50" y="185"/>
                  </a:lnTo>
                  <a:lnTo>
                    <a:pt x="48" y="186"/>
                  </a:lnTo>
                  <a:lnTo>
                    <a:pt x="49" y="185"/>
                  </a:lnTo>
                  <a:lnTo>
                    <a:pt x="49" y="184"/>
                  </a:lnTo>
                  <a:lnTo>
                    <a:pt x="48" y="183"/>
                  </a:lnTo>
                  <a:lnTo>
                    <a:pt x="47" y="183"/>
                  </a:lnTo>
                  <a:lnTo>
                    <a:pt x="46" y="183"/>
                  </a:lnTo>
                  <a:lnTo>
                    <a:pt x="44" y="184"/>
                  </a:lnTo>
                  <a:lnTo>
                    <a:pt x="44" y="185"/>
                  </a:lnTo>
                  <a:lnTo>
                    <a:pt x="47" y="185"/>
                  </a:lnTo>
                  <a:lnTo>
                    <a:pt x="47" y="186"/>
                  </a:lnTo>
                  <a:lnTo>
                    <a:pt x="46" y="188"/>
                  </a:lnTo>
                  <a:lnTo>
                    <a:pt x="44" y="189"/>
                  </a:lnTo>
                  <a:lnTo>
                    <a:pt x="43" y="189"/>
                  </a:lnTo>
                  <a:lnTo>
                    <a:pt x="39" y="191"/>
                  </a:lnTo>
                  <a:lnTo>
                    <a:pt x="41" y="189"/>
                  </a:lnTo>
                  <a:lnTo>
                    <a:pt x="41" y="186"/>
                  </a:lnTo>
                  <a:lnTo>
                    <a:pt x="39" y="185"/>
                  </a:lnTo>
                  <a:lnTo>
                    <a:pt x="41" y="184"/>
                  </a:lnTo>
                  <a:lnTo>
                    <a:pt x="39" y="184"/>
                  </a:lnTo>
                  <a:lnTo>
                    <a:pt x="41" y="182"/>
                  </a:lnTo>
                  <a:lnTo>
                    <a:pt x="42" y="182"/>
                  </a:lnTo>
                  <a:lnTo>
                    <a:pt x="43" y="182"/>
                  </a:lnTo>
                  <a:lnTo>
                    <a:pt x="44" y="180"/>
                  </a:lnTo>
                  <a:lnTo>
                    <a:pt x="41" y="179"/>
                  </a:lnTo>
                  <a:lnTo>
                    <a:pt x="39" y="180"/>
                  </a:lnTo>
                  <a:lnTo>
                    <a:pt x="37" y="180"/>
                  </a:lnTo>
                  <a:lnTo>
                    <a:pt x="38" y="179"/>
                  </a:lnTo>
                  <a:lnTo>
                    <a:pt x="41" y="178"/>
                  </a:lnTo>
                  <a:lnTo>
                    <a:pt x="41" y="179"/>
                  </a:lnTo>
                  <a:lnTo>
                    <a:pt x="43" y="179"/>
                  </a:lnTo>
                  <a:lnTo>
                    <a:pt x="46" y="180"/>
                  </a:lnTo>
                  <a:lnTo>
                    <a:pt x="47" y="180"/>
                  </a:lnTo>
                  <a:lnTo>
                    <a:pt x="49" y="179"/>
                  </a:lnTo>
                  <a:lnTo>
                    <a:pt x="49" y="177"/>
                  </a:lnTo>
                  <a:lnTo>
                    <a:pt x="48" y="176"/>
                  </a:lnTo>
                  <a:lnTo>
                    <a:pt x="46" y="178"/>
                  </a:lnTo>
                  <a:lnTo>
                    <a:pt x="44" y="178"/>
                  </a:lnTo>
                  <a:lnTo>
                    <a:pt x="43" y="178"/>
                  </a:lnTo>
                  <a:lnTo>
                    <a:pt x="43" y="177"/>
                  </a:lnTo>
                  <a:lnTo>
                    <a:pt x="44" y="174"/>
                  </a:lnTo>
                  <a:lnTo>
                    <a:pt x="44" y="173"/>
                  </a:lnTo>
                  <a:lnTo>
                    <a:pt x="43" y="172"/>
                  </a:lnTo>
                  <a:lnTo>
                    <a:pt x="42" y="171"/>
                  </a:lnTo>
                  <a:lnTo>
                    <a:pt x="42" y="170"/>
                  </a:lnTo>
                  <a:lnTo>
                    <a:pt x="41" y="168"/>
                  </a:lnTo>
                  <a:lnTo>
                    <a:pt x="39" y="167"/>
                  </a:lnTo>
                  <a:lnTo>
                    <a:pt x="39" y="170"/>
                  </a:lnTo>
                  <a:lnTo>
                    <a:pt x="39" y="171"/>
                  </a:lnTo>
                  <a:lnTo>
                    <a:pt x="37" y="168"/>
                  </a:lnTo>
                  <a:lnTo>
                    <a:pt x="36" y="168"/>
                  </a:lnTo>
                  <a:lnTo>
                    <a:pt x="37" y="170"/>
                  </a:lnTo>
                  <a:lnTo>
                    <a:pt x="36" y="171"/>
                  </a:lnTo>
                  <a:lnTo>
                    <a:pt x="37" y="173"/>
                  </a:lnTo>
                  <a:lnTo>
                    <a:pt x="36" y="176"/>
                  </a:lnTo>
                  <a:lnTo>
                    <a:pt x="37" y="178"/>
                  </a:lnTo>
                  <a:lnTo>
                    <a:pt x="36" y="177"/>
                  </a:lnTo>
                  <a:lnTo>
                    <a:pt x="36" y="178"/>
                  </a:lnTo>
                  <a:lnTo>
                    <a:pt x="35" y="177"/>
                  </a:lnTo>
                  <a:lnTo>
                    <a:pt x="33" y="174"/>
                  </a:lnTo>
                  <a:lnTo>
                    <a:pt x="31" y="174"/>
                  </a:lnTo>
                  <a:lnTo>
                    <a:pt x="32" y="178"/>
                  </a:lnTo>
                  <a:lnTo>
                    <a:pt x="30" y="178"/>
                  </a:lnTo>
                  <a:lnTo>
                    <a:pt x="29" y="178"/>
                  </a:lnTo>
                  <a:lnTo>
                    <a:pt x="30" y="180"/>
                  </a:lnTo>
                  <a:lnTo>
                    <a:pt x="27" y="183"/>
                  </a:lnTo>
                  <a:lnTo>
                    <a:pt x="26" y="185"/>
                  </a:lnTo>
                  <a:lnTo>
                    <a:pt x="26" y="184"/>
                  </a:lnTo>
                  <a:lnTo>
                    <a:pt x="27" y="182"/>
                  </a:lnTo>
                  <a:lnTo>
                    <a:pt x="29" y="180"/>
                  </a:lnTo>
                  <a:lnTo>
                    <a:pt x="27" y="179"/>
                  </a:lnTo>
                  <a:lnTo>
                    <a:pt x="26" y="179"/>
                  </a:lnTo>
                  <a:lnTo>
                    <a:pt x="25" y="178"/>
                  </a:lnTo>
                  <a:lnTo>
                    <a:pt x="24" y="177"/>
                  </a:lnTo>
                  <a:lnTo>
                    <a:pt x="21" y="179"/>
                  </a:lnTo>
                  <a:lnTo>
                    <a:pt x="23" y="177"/>
                  </a:lnTo>
                  <a:lnTo>
                    <a:pt x="20" y="179"/>
                  </a:lnTo>
                  <a:lnTo>
                    <a:pt x="19" y="179"/>
                  </a:lnTo>
                  <a:lnTo>
                    <a:pt x="20" y="178"/>
                  </a:lnTo>
                  <a:lnTo>
                    <a:pt x="19" y="177"/>
                  </a:lnTo>
                  <a:lnTo>
                    <a:pt x="18" y="176"/>
                  </a:lnTo>
                  <a:lnTo>
                    <a:pt x="20" y="174"/>
                  </a:lnTo>
                  <a:lnTo>
                    <a:pt x="23" y="174"/>
                  </a:lnTo>
                  <a:lnTo>
                    <a:pt x="23" y="173"/>
                  </a:lnTo>
                  <a:lnTo>
                    <a:pt x="25" y="172"/>
                  </a:lnTo>
                  <a:lnTo>
                    <a:pt x="25" y="171"/>
                  </a:lnTo>
                  <a:lnTo>
                    <a:pt x="23" y="171"/>
                  </a:lnTo>
                  <a:lnTo>
                    <a:pt x="20" y="170"/>
                  </a:lnTo>
                  <a:lnTo>
                    <a:pt x="20" y="172"/>
                  </a:lnTo>
                  <a:lnTo>
                    <a:pt x="18" y="170"/>
                  </a:lnTo>
                  <a:lnTo>
                    <a:pt x="17" y="171"/>
                  </a:lnTo>
                  <a:lnTo>
                    <a:pt x="18" y="172"/>
                  </a:lnTo>
                  <a:lnTo>
                    <a:pt x="17" y="174"/>
                  </a:lnTo>
                  <a:lnTo>
                    <a:pt x="13" y="177"/>
                  </a:lnTo>
                  <a:lnTo>
                    <a:pt x="13" y="174"/>
                  </a:lnTo>
                  <a:lnTo>
                    <a:pt x="13" y="171"/>
                  </a:lnTo>
                  <a:lnTo>
                    <a:pt x="14" y="171"/>
                  </a:lnTo>
                  <a:lnTo>
                    <a:pt x="15" y="171"/>
                  </a:lnTo>
                  <a:lnTo>
                    <a:pt x="18" y="170"/>
                  </a:lnTo>
                  <a:lnTo>
                    <a:pt x="19" y="168"/>
                  </a:lnTo>
                  <a:lnTo>
                    <a:pt x="18" y="168"/>
                  </a:lnTo>
                  <a:lnTo>
                    <a:pt x="15" y="168"/>
                  </a:lnTo>
                  <a:lnTo>
                    <a:pt x="15" y="167"/>
                  </a:lnTo>
                  <a:lnTo>
                    <a:pt x="14" y="167"/>
                  </a:lnTo>
                  <a:lnTo>
                    <a:pt x="13" y="167"/>
                  </a:lnTo>
                  <a:lnTo>
                    <a:pt x="11" y="168"/>
                  </a:lnTo>
                  <a:lnTo>
                    <a:pt x="12" y="167"/>
                  </a:lnTo>
                  <a:lnTo>
                    <a:pt x="13" y="166"/>
                  </a:lnTo>
                  <a:lnTo>
                    <a:pt x="12" y="166"/>
                  </a:lnTo>
                  <a:lnTo>
                    <a:pt x="12" y="165"/>
                  </a:lnTo>
                  <a:lnTo>
                    <a:pt x="13" y="164"/>
                  </a:lnTo>
                  <a:lnTo>
                    <a:pt x="14" y="166"/>
                  </a:lnTo>
                  <a:lnTo>
                    <a:pt x="15" y="167"/>
                  </a:lnTo>
                  <a:lnTo>
                    <a:pt x="17" y="167"/>
                  </a:lnTo>
                  <a:lnTo>
                    <a:pt x="17" y="165"/>
                  </a:lnTo>
                  <a:lnTo>
                    <a:pt x="15" y="164"/>
                  </a:lnTo>
                  <a:lnTo>
                    <a:pt x="15" y="161"/>
                  </a:lnTo>
                  <a:lnTo>
                    <a:pt x="17" y="162"/>
                  </a:lnTo>
                  <a:lnTo>
                    <a:pt x="17" y="166"/>
                  </a:lnTo>
                  <a:lnTo>
                    <a:pt x="18" y="166"/>
                  </a:lnTo>
                  <a:lnTo>
                    <a:pt x="18" y="165"/>
                  </a:lnTo>
                  <a:lnTo>
                    <a:pt x="19" y="164"/>
                  </a:lnTo>
                  <a:lnTo>
                    <a:pt x="21" y="165"/>
                  </a:lnTo>
                  <a:lnTo>
                    <a:pt x="24" y="164"/>
                  </a:lnTo>
                  <a:lnTo>
                    <a:pt x="24" y="165"/>
                  </a:lnTo>
                  <a:lnTo>
                    <a:pt x="26" y="166"/>
                  </a:lnTo>
                  <a:lnTo>
                    <a:pt x="29" y="167"/>
                  </a:lnTo>
                  <a:lnTo>
                    <a:pt x="29" y="166"/>
                  </a:lnTo>
                  <a:lnTo>
                    <a:pt x="27" y="166"/>
                  </a:lnTo>
                  <a:lnTo>
                    <a:pt x="29" y="164"/>
                  </a:lnTo>
                  <a:lnTo>
                    <a:pt x="31" y="162"/>
                  </a:lnTo>
                  <a:lnTo>
                    <a:pt x="32" y="161"/>
                  </a:lnTo>
                  <a:lnTo>
                    <a:pt x="32" y="160"/>
                  </a:lnTo>
                  <a:lnTo>
                    <a:pt x="31" y="161"/>
                  </a:lnTo>
                  <a:lnTo>
                    <a:pt x="29" y="164"/>
                  </a:lnTo>
                  <a:lnTo>
                    <a:pt x="26" y="164"/>
                  </a:lnTo>
                  <a:lnTo>
                    <a:pt x="26" y="162"/>
                  </a:lnTo>
                  <a:lnTo>
                    <a:pt x="27" y="160"/>
                  </a:lnTo>
                  <a:lnTo>
                    <a:pt x="29" y="159"/>
                  </a:lnTo>
                  <a:lnTo>
                    <a:pt x="30" y="158"/>
                  </a:lnTo>
                  <a:lnTo>
                    <a:pt x="30" y="159"/>
                  </a:lnTo>
                  <a:lnTo>
                    <a:pt x="31" y="158"/>
                  </a:lnTo>
                  <a:lnTo>
                    <a:pt x="33" y="158"/>
                  </a:lnTo>
                  <a:lnTo>
                    <a:pt x="31" y="155"/>
                  </a:lnTo>
                  <a:lnTo>
                    <a:pt x="29" y="156"/>
                  </a:lnTo>
                  <a:lnTo>
                    <a:pt x="26" y="158"/>
                  </a:lnTo>
                  <a:lnTo>
                    <a:pt x="26" y="155"/>
                  </a:lnTo>
                  <a:lnTo>
                    <a:pt x="23" y="153"/>
                  </a:lnTo>
                  <a:lnTo>
                    <a:pt x="26" y="153"/>
                  </a:lnTo>
                  <a:lnTo>
                    <a:pt x="27" y="149"/>
                  </a:lnTo>
                  <a:lnTo>
                    <a:pt x="25" y="150"/>
                  </a:lnTo>
                  <a:lnTo>
                    <a:pt x="25" y="149"/>
                  </a:lnTo>
                  <a:lnTo>
                    <a:pt x="27" y="146"/>
                  </a:lnTo>
                  <a:lnTo>
                    <a:pt x="30" y="144"/>
                  </a:lnTo>
                  <a:lnTo>
                    <a:pt x="27" y="143"/>
                  </a:lnTo>
                  <a:lnTo>
                    <a:pt x="23" y="146"/>
                  </a:lnTo>
                  <a:lnTo>
                    <a:pt x="18" y="150"/>
                  </a:lnTo>
                  <a:lnTo>
                    <a:pt x="15" y="154"/>
                  </a:lnTo>
                  <a:lnTo>
                    <a:pt x="15" y="152"/>
                  </a:lnTo>
                  <a:lnTo>
                    <a:pt x="15" y="150"/>
                  </a:lnTo>
                  <a:lnTo>
                    <a:pt x="17" y="148"/>
                  </a:lnTo>
                  <a:lnTo>
                    <a:pt x="14" y="149"/>
                  </a:lnTo>
                  <a:lnTo>
                    <a:pt x="17" y="144"/>
                  </a:lnTo>
                  <a:lnTo>
                    <a:pt x="18" y="142"/>
                  </a:lnTo>
                  <a:lnTo>
                    <a:pt x="20" y="143"/>
                  </a:lnTo>
                  <a:lnTo>
                    <a:pt x="19" y="142"/>
                  </a:lnTo>
                  <a:lnTo>
                    <a:pt x="20" y="141"/>
                  </a:lnTo>
                  <a:lnTo>
                    <a:pt x="21" y="139"/>
                  </a:lnTo>
                  <a:lnTo>
                    <a:pt x="23" y="137"/>
                  </a:lnTo>
                  <a:lnTo>
                    <a:pt x="17" y="137"/>
                  </a:lnTo>
                  <a:lnTo>
                    <a:pt x="12" y="136"/>
                  </a:lnTo>
                  <a:lnTo>
                    <a:pt x="15" y="136"/>
                  </a:lnTo>
                  <a:lnTo>
                    <a:pt x="17" y="136"/>
                  </a:lnTo>
                  <a:lnTo>
                    <a:pt x="17" y="135"/>
                  </a:lnTo>
                  <a:lnTo>
                    <a:pt x="18" y="135"/>
                  </a:lnTo>
                  <a:lnTo>
                    <a:pt x="19" y="135"/>
                  </a:lnTo>
                  <a:lnTo>
                    <a:pt x="19" y="133"/>
                  </a:lnTo>
                  <a:lnTo>
                    <a:pt x="20" y="133"/>
                  </a:lnTo>
                  <a:lnTo>
                    <a:pt x="21" y="133"/>
                  </a:lnTo>
                  <a:lnTo>
                    <a:pt x="23" y="135"/>
                  </a:lnTo>
                  <a:lnTo>
                    <a:pt x="24" y="136"/>
                  </a:lnTo>
                  <a:lnTo>
                    <a:pt x="25" y="137"/>
                  </a:lnTo>
                  <a:lnTo>
                    <a:pt x="25" y="138"/>
                  </a:lnTo>
                  <a:lnTo>
                    <a:pt x="26" y="138"/>
                  </a:lnTo>
                  <a:lnTo>
                    <a:pt x="27" y="137"/>
                  </a:lnTo>
                  <a:lnTo>
                    <a:pt x="29" y="136"/>
                  </a:lnTo>
                  <a:lnTo>
                    <a:pt x="32" y="136"/>
                  </a:lnTo>
                  <a:lnTo>
                    <a:pt x="33" y="137"/>
                  </a:lnTo>
                  <a:lnTo>
                    <a:pt x="36" y="137"/>
                  </a:lnTo>
                  <a:lnTo>
                    <a:pt x="37" y="137"/>
                  </a:lnTo>
                  <a:lnTo>
                    <a:pt x="39" y="136"/>
                  </a:lnTo>
                  <a:lnTo>
                    <a:pt x="42" y="137"/>
                  </a:lnTo>
                  <a:lnTo>
                    <a:pt x="44" y="137"/>
                  </a:lnTo>
                  <a:lnTo>
                    <a:pt x="44" y="135"/>
                  </a:lnTo>
                  <a:lnTo>
                    <a:pt x="46" y="135"/>
                  </a:lnTo>
                  <a:lnTo>
                    <a:pt x="46" y="137"/>
                  </a:lnTo>
                  <a:lnTo>
                    <a:pt x="47" y="136"/>
                  </a:lnTo>
                  <a:lnTo>
                    <a:pt x="50" y="137"/>
                  </a:lnTo>
                  <a:lnTo>
                    <a:pt x="53" y="137"/>
                  </a:lnTo>
                  <a:lnTo>
                    <a:pt x="54" y="138"/>
                  </a:lnTo>
                  <a:lnTo>
                    <a:pt x="56" y="139"/>
                  </a:lnTo>
                  <a:lnTo>
                    <a:pt x="58" y="138"/>
                  </a:lnTo>
                  <a:lnTo>
                    <a:pt x="58" y="137"/>
                  </a:lnTo>
                  <a:lnTo>
                    <a:pt x="59" y="133"/>
                  </a:lnTo>
                  <a:lnTo>
                    <a:pt x="56" y="135"/>
                  </a:lnTo>
                  <a:lnTo>
                    <a:pt x="56" y="133"/>
                  </a:lnTo>
                  <a:lnTo>
                    <a:pt x="55" y="135"/>
                  </a:lnTo>
                  <a:lnTo>
                    <a:pt x="55" y="133"/>
                  </a:lnTo>
                  <a:lnTo>
                    <a:pt x="53" y="133"/>
                  </a:lnTo>
                  <a:lnTo>
                    <a:pt x="52" y="132"/>
                  </a:lnTo>
                  <a:lnTo>
                    <a:pt x="50" y="132"/>
                  </a:lnTo>
                  <a:lnTo>
                    <a:pt x="50" y="133"/>
                  </a:lnTo>
                  <a:lnTo>
                    <a:pt x="50" y="131"/>
                  </a:lnTo>
                  <a:lnTo>
                    <a:pt x="50" y="129"/>
                  </a:lnTo>
                  <a:lnTo>
                    <a:pt x="48" y="130"/>
                  </a:lnTo>
                  <a:lnTo>
                    <a:pt x="47" y="131"/>
                  </a:lnTo>
                  <a:lnTo>
                    <a:pt x="46" y="130"/>
                  </a:lnTo>
                  <a:lnTo>
                    <a:pt x="44" y="129"/>
                  </a:lnTo>
                  <a:lnTo>
                    <a:pt x="43" y="131"/>
                  </a:lnTo>
                  <a:lnTo>
                    <a:pt x="43" y="129"/>
                  </a:lnTo>
                  <a:lnTo>
                    <a:pt x="43" y="127"/>
                  </a:lnTo>
                  <a:lnTo>
                    <a:pt x="43" y="126"/>
                  </a:lnTo>
                  <a:lnTo>
                    <a:pt x="44" y="126"/>
                  </a:lnTo>
                  <a:lnTo>
                    <a:pt x="47" y="126"/>
                  </a:lnTo>
                  <a:lnTo>
                    <a:pt x="48" y="126"/>
                  </a:lnTo>
                  <a:lnTo>
                    <a:pt x="48" y="125"/>
                  </a:lnTo>
                  <a:lnTo>
                    <a:pt x="48" y="124"/>
                  </a:lnTo>
                  <a:lnTo>
                    <a:pt x="47" y="123"/>
                  </a:lnTo>
                  <a:lnTo>
                    <a:pt x="47" y="121"/>
                  </a:lnTo>
                  <a:lnTo>
                    <a:pt x="44" y="123"/>
                  </a:lnTo>
                  <a:lnTo>
                    <a:pt x="46" y="121"/>
                  </a:lnTo>
                  <a:lnTo>
                    <a:pt x="47" y="119"/>
                  </a:lnTo>
                  <a:lnTo>
                    <a:pt x="49" y="119"/>
                  </a:lnTo>
                  <a:lnTo>
                    <a:pt x="50" y="120"/>
                  </a:lnTo>
                  <a:lnTo>
                    <a:pt x="52" y="119"/>
                  </a:lnTo>
                  <a:lnTo>
                    <a:pt x="53" y="118"/>
                  </a:lnTo>
                  <a:lnTo>
                    <a:pt x="54" y="117"/>
                  </a:lnTo>
                  <a:lnTo>
                    <a:pt x="56" y="117"/>
                  </a:lnTo>
                  <a:lnTo>
                    <a:pt x="56" y="114"/>
                  </a:lnTo>
                  <a:lnTo>
                    <a:pt x="54" y="113"/>
                  </a:lnTo>
                  <a:lnTo>
                    <a:pt x="54" y="112"/>
                  </a:lnTo>
                  <a:lnTo>
                    <a:pt x="56" y="113"/>
                  </a:lnTo>
                  <a:lnTo>
                    <a:pt x="58" y="112"/>
                  </a:lnTo>
                  <a:lnTo>
                    <a:pt x="58" y="111"/>
                  </a:lnTo>
                  <a:lnTo>
                    <a:pt x="60" y="111"/>
                  </a:lnTo>
                  <a:lnTo>
                    <a:pt x="62" y="109"/>
                  </a:lnTo>
                  <a:lnTo>
                    <a:pt x="64" y="109"/>
                  </a:lnTo>
                  <a:lnTo>
                    <a:pt x="65" y="108"/>
                  </a:lnTo>
                  <a:lnTo>
                    <a:pt x="64" y="106"/>
                  </a:lnTo>
                  <a:lnTo>
                    <a:pt x="64" y="105"/>
                  </a:lnTo>
                  <a:lnTo>
                    <a:pt x="61" y="107"/>
                  </a:lnTo>
                  <a:lnTo>
                    <a:pt x="59" y="108"/>
                  </a:lnTo>
                  <a:lnTo>
                    <a:pt x="60" y="107"/>
                  </a:lnTo>
                  <a:lnTo>
                    <a:pt x="62" y="103"/>
                  </a:lnTo>
                  <a:lnTo>
                    <a:pt x="64" y="103"/>
                  </a:lnTo>
                  <a:lnTo>
                    <a:pt x="62" y="102"/>
                  </a:lnTo>
                  <a:lnTo>
                    <a:pt x="62" y="101"/>
                  </a:lnTo>
                  <a:lnTo>
                    <a:pt x="62" y="100"/>
                  </a:lnTo>
                  <a:lnTo>
                    <a:pt x="60" y="101"/>
                  </a:lnTo>
                  <a:lnTo>
                    <a:pt x="58" y="102"/>
                  </a:lnTo>
                  <a:lnTo>
                    <a:pt x="54" y="103"/>
                  </a:lnTo>
                  <a:lnTo>
                    <a:pt x="55" y="101"/>
                  </a:lnTo>
                  <a:lnTo>
                    <a:pt x="56" y="99"/>
                  </a:lnTo>
                  <a:lnTo>
                    <a:pt x="58" y="97"/>
                  </a:lnTo>
                  <a:lnTo>
                    <a:pt x="60" y="96"/>
                  </a:lnTo>
                  <a:lnTo>
                    <a:pt x="62" y="97"/>
                  </a:lnTo>
                  <a:lnTo>
                    <a:pt x="62" y="96"/>
                  </a:lnTo>
                  <a:lnTo>
                    <a:pt x="55" y="95"/>
                  </a:lnTo>
                  <a:lnTo>
                    <a:pt x="54" y="94"/>
                  </a:lnTo>
                  <a:lnTo>
                    <a:pt x="56" y="94"/>
                  </a:lnTo>
                  <a:lnTo>
                    <a:pt x="58" y="93"/>
                  </a:lnTo>
                  <a:lnTo>
                    <a:pt x="60" y="93"/>
                  </a:lnTo>
                  <a:lnTo>
                    <a:pt x="62" y="93"/>
                  </a:lnTo>
                  <a:lnTo>
                    <a:pt x="65" y="94"/>
                  </a:lnTo>
                  <a:lnTo>
                    <a:pt x="65" y="93"/>
                  </a:lnTo>
                  <a:lnTo>
                    <a:pt x="66" y="93"/>
                  </a:lnTo>
                  <a:lnTo>
                    <a:pt x="67" y="91"/>
                  </a:lnTo>
                  <a:lnTo>
                    <a:pt x="64" y="90"/>
                  </a:lnTo>
                  <a:lnTo>
                    <a:pt x="64" y="88"/>
                  </a:lnTo>
                  <a:lnTo>
                    <a:pt x="62" y="87"/>
                  </a:lnTo>
                  <a:lnTo>
                    <a:pt x="62" y="85"/>
                  </a:lnTo>
                  <a:lnTo>
                    <a:pt x="62" y="84"/>
                  </a:lnTo>
                  <a:lnTo>
                    <a:pt x="62" y="83"/>
                  </a:lnTo>
                  <a:lnTo>
                    <a:pt x="64" y="83"/>
                  </a:lnTo>
                  <a:lnTo>
                    <a:pt x="65" y="83"/>
                  </a:lnTo>
                  <a:lnTo>
                    <a:pt x="66" y="85"/>
                  </a:lnTo>
                  <a:lnTo>
                    <a:pt x="67" y="85"/>
                  </a:lnTo>
                  <a:lnTo>
                    <a:pt x="67" y="88"/>
                  </a:lnTo>
                  <a:lnTo>
                    <a:pt x="67" y="90"/>
                  </a:lnTo>
                  <a:lnTo>
                    <a:pt x="68" y="93"/>
                  </a:lnTo>
                  <a:lnTo>
                    <a:pt x="70" y="94"/>
                  </a:lnTo>
                  <a:lnTo>
                    <a:pt x="72" y="95"/>
                  </a:lnTo>
                  <a:lnTo>
                    <a:pt x="73" y="95"/>
                  </a:lnTo>
                  <a:lnTo>
                    <a:pt x="76" y="94"/>
                  </a:lnTo>
                  <a:lnTo>
                    <a:pt x="77" y="93"/>
                  </a:lnTo>
                  <a:lnTo>
                    <a:pt x="78" y="93"/>
                  </a:lnTo>
                  <a:lnTo>
                    <a:pt x="79" y="93"/>
                  </a:lnTo>
                  <a:lnTo>
                    <a:pt x="80" y="91"/>
                  </a:lnTo>
                  <a:lnTo>
                    <a:pt x="82" y="90"/>
                  </a:lnTo>
                  <a:lnTo>
                    <a:pt x="83" y="89"/>
                  </a:lnTo>
                  <a:lnTo>
                    <a:pt x="83" y="88"/>
                  </a:lnTo>
                  <a:lnTo>
                    <a:pt x="83" y="87"/>
                  </a:lnTo>
                  <a:lnTo>
                    <a:pt x="83" y="85"/>
                  </a:lnTo>
                  <a:lnTo>
                    <a:pt x="82" y="84"/>
                  </a:lnTo>
                  <a:lnTo>
                    <a:pt x="82" y="83"/>
                  </a:lnTo>
                  <a:lnTo>
                    <a:pt x="83" y="84"/>
                  </a:lnTo>
                  <a:lnTo>
                    <a:pt x="84" y="84"/>
                  </a:lnTo>
                  <a:lnTo>
                    <a:pt x="84" y="83"/>
                  </a:lnTo>
                  <a:lnTo>
                    <a:pt x="85" y="83"/>
                  </a:lnTo>
                  <a:lnTo>
                    <a:pt x="86" y="81"/>
                  </a:lnTo>
                  <a:lnTo>
                    <a:pt x="85" y="77"/>
                  </a:lnTo>
                  <a:lnTo>
                    <a:pt x="85" y="78"/>
                  </a:lnTo>
                  <a:lnTo>
                    <a:pt x="84" y="77"/>
                  </a:lnTo>
                  <a:lnTo>
                    <a:pt x="83" y="78"/>
                  </a:lnTo>
                  <a:lnTo>
                    <a:pt x="82" y="77"/>
                  </a:lnTo>
                  <a:lnTo>
                    <a:pt x="82" y="76"/>
                  </a:lnTo>
                  <a:lnTo>
                    <a:pt x="83" y="76"/>
                  </a:lnTo>
                  <a:lnTo>
                    <a:pt x="84" y="77"/>
                  </a:lnTo>
                  <a:lnTo>
                    <a:pt x="84" y="75"/>
                  </a:lnTo>
                  <a:lnTo>
                    <a:pt x="84" y="73"/>
                  </a:lnTo>
                  <a:lnTo>
                    <a:pt x="84" y="72"/>
                  </a:lnTo>
                  <a:lnTo>
                    <a:pt x="85" y="71"/>
                  </a:lnTo>
                  <a:lnTo>
                    <a:pt x="86" y="71"/>
                  </a:lnTo>
                  <a:lnTo>
                    <a:pt x="86" y="73"/>
                  </a:lnTo>
                  <a:lnTo>
                    <a:pt x="88" y="73"/>
                  </a:lnTo>
                  <a:lnTo>
                    <a:pt x="89" y="75"/>
                  </a:lnTo>
                  <a:lnTo>
                    <a:pt x="86" y="75"/>
                  </a:lnTo>
                  <a:lnTo>
                    <a:pt x="86" y="76"/>
                  </a:lnTo>
                  <a:lnTo>
                    <a:pt x="86" y="78"/>
                  </a:lnTo>
                  <a:lnTo>
                    <a:pt x="86" y="79"/>
                  </a:lnTo>
                  <a:lnTo>
                    <a:pt x="88" y="79"/>
                  </a:lnTo>
                  <a:lnTo>
                    <a:pt x="88" y="78"/>
                  </a:lnTo>
                  <a:lnTo>
                    <a:pt x="88" y="77"/>
                  </a:lnTo>
                  <a:lnTo>
                    <a:pt x="88" y="76"/>
                  </a:lnTo>
                  <a:lnTo>
                    <a:pt x="89" y="76"/>
                  </a:lnTo>
                  <a:lnTo>
                    <a:pt x="90" y="76"/>
                  </a:lnTo>
                  <a:lnTo>
                    <a:pt x="89" y="78"/>
                  </a:lnTo>
                  <a:lnTo>
                    <a:pt x="90" y="79"/>
                  </a:lnTo>
                  <a:lnTo>
                    <a:pt x="91" y="82"/>
                  </a:lnTo>
                  <a:lnTo>
                    <a:pt x="89" y="83"/>
                  </a:lnTo>
                  <a:lnTo>
                    <a:pt x="90" y="83"/>
                  </a:lnTo>
                  <a:lnTo>
                    <a:pt x="91" y="83"/>
                  </a:lnTo>
                  <a:lnTo>
                    <a:pt x="92" y="82"/>
                  </a:lnTo>
                  <a:lnTo>
                    <a:pt x="94" y="82"/>
                  </a:lnTo>
                  <a:lnTo>
                    <a:pt x="95" y="81"/>
                  </a:lnTo>
                  <a:lnTo>
                    <a:pt x="94" y="79"/>
                  </a:lnTo>
                  <a:lnTo>
                    <a:pt x="91" y="79"/>
                  </a:lnTo>
                  <a:lnTo>
                    <a:pt x="91" y="77"/>
                  </a:lnTo>
                  <a:lnTo>
                    <a:pt x="90" y="75"/>
                  </a:lnTo>
                  <a:lnTo>
                    <a:pt x="91" y="75"/>
                  </a:lnTo>
                  <a:lnTo>
                    <a:pt x="92" y="75"/>
                  </a:lnTo>
                  <a:lnTo>
                    <a:pt x="94" y="75"/>
                  </a:lnTo>
                  <a:lnTo>
                    <a:pt x="94" y="76"/>
                  </a:lnTo>
                  <a:lnTo>
                    <a:pt x="95" y="75"/>
                  </a:lnTo>
                  <a:lnTo>
                    <a:pt x="96" y="75"/>
                  </a:lnTo>
                  <a:lnTo>
                    <a:pt x="97" y="75"/>
                  </a:lnTo>
                  <a:lnTo>
                    <a:pt x="97" y="76"/>
                  </a:lnTo>
                  <a:lnTo>
                    <a:pt x="97" y="78"/>
                  </a:lnTo>
                  <a:lnTo>
                    <a:pt x="98" y="78"/>
                  </a:lnTo>
                  <a:lnTo>
                    <a:pt x="100" y="77"/>
                  </a:lnTo>
                  <a:lnTo>
                    <a:pt x="98" y="79"/>
                  </a:lnTo>
                  <a:lnTo>
                    <a:pt x="100" y="81"/>
                  </a:lnTo>
                  <a:lnTo>
                    <a:pt x="101" y="78"/>
                  </a:lnTo>
                  <a:lnTo>
                    <a:pt x="101" y="79"/>
                  </a:lnTo>
                  <a:lnTo>
                    <a:pt x="102" y="79"/>
                  </a:lnTo>
                  <a:lnTo>
                    <a:pt x="103" y="77"/>
                  </a:lnTo>
                  <a:lnTo>
                    <a:pt x="102" y="78"/>
                  </a:lnTo>
                  <a:lnTo>
                    <a:pt x="102" y="77"/>
                  </a:lnTo>
                  <a:lnTo>
                    <a:pt x="101" y="77"/>
                  </a:lnTo>
                  <a:lnTo>
                    <a:pt x="101" y="76"/>
                  </a:lnTo>
                  <a:lnTo>
                    <a:pt x="102" y="76"/>
                  </a:lnTo>
                  <a:lnTo>
                    <a:pt x="102" y="75"/>
                  </a:lnTo>
                  <a:lnTo>
                    <a:pt x="103" y="75"/>
                  </a:lnTo>
                  <a:lnTo>
                    <a:pt x="105" y="75"/>
                  </a:lnTo>
                  <a:lnTo>
                    <a:pt x="105" y="76"/>
                  </a:lnTo>
                  <a:lnTo>
                    <a:pt x="106" y="75"/>
                  </a:lnTo>
                  <a:lnTo>
                    <a:pt x="106" y="73"/>
                  </a:lnTo>
                  <a:lnTo>
                    <a:pt x="107" y="69"/>
                  </a:lnTo>
                  <a:lnTo>
                    <a:pt x="107" y="71"/>
                  </a:lnTo>
                  <a:lnTo>
                    <a:pt x="107" y="72"/>
                  </a:lnTo>
                  <a:lnTo>
                    <a:pt x="109" y="72"/>
                  </a:lnTo>
                  <a:lnTo>
                    <a:pt x="109" y="73"/>
                  </a:lnTo>
                  <a:lnTo>
                    <a:pt x="108" y="75"/>
                  </a:lnTo>
                  <a:lnTo>
                    <a:pt x="108" y="77"/>
                  </a:lnTo>
                  <a:lnTo>
                    <a:pt x="109" y="78"/>
                  </a:lnTo>
                  <a:lnTo>
                    <a:pt x="109" y="77"/>
                  </a:lnTo>
                  <a:lnTo>
                    <a:pt x="112" y="78"/>
                  </a:lnTo>
                  <a:lnTo>
                    <a:pt x="112" y="81"/>
                  </a:lnTo>
                  <a:lnTo>
                    <a:pt x="114" y="79"/>
                  </a:lnTo>
                  <a:lnTo>
                    <a:pt x="114" y="81"/>
                  </a:lnTo>
                  <a:lnTo>
                    <a:pt x="115" y="81"/>
                  </a:lnTo>
                  <a:lnTo>
                    <a:pt x="117" y="82"/>
                  </a:lnTo>
                  <a:lnTo>
                    <a:pt x="118" y="83"/>
                  </a:lnTo>
                  <a:lnTo>
                    <a:pt x="119" y="85"/>
                  </a:lnTo>
                  <a:lnTo>
                    <a:pt x="119" y="87"/>
                  </a:lnTo>
                  <a:lnTo>
                    <a:pt x="115" y="84"/>
                  </a:lnTo>
                  <a:lnTo>
                    <a:pt x="112" y="82"/>
                  </a:lnTo>
                  <a:lnTo>
                    <a:pt x="111" y="81"/>
                  </a:lnTo>
                  <a:lnTo>
                    <a:pt x="111" y="82"/>
                  </a:lnTo>
                  <a:lnTo>
                    <a:pt x="112" y="83"/>
                  </a:lnTo>
                  <a:lnTo>
                    <a:pt x="113" y="85"/>
                  </a:lnTo>
                  <a:lnTo>
                    <a:pt x="114" y="87"/>
                  </a:lnTo>
                  <a:lnTo>
                    <a:pt x="115" y="88"/>
                  </a:lnTo>
                  <a:lnTo>
                    <a:pt x="114" y="88"/>
                  </a:lnTo>
                  <a:lnTo>
                    <a:pt x="115" y="93"/>
                  </a:lnTo>
                  <a:lnTo>
                    <a:pt x="117" y="95"/>
                  </a:lnTo>
                  <a:lnTo>
                    <a:pt x="118" y="95"/>
                  </a:lnTo>
                  <a:lnTo>
                    <a:pt x="118" y="96"/>
                  </a:lnTo>
                  <a:lnTo>
                    <a:pt x="119" y="96"/>
                  </a:lnTo>
                  <a:lnTo>
                    <a:pt x="119" y="97"/>
                  </a:lnTo>
                  <a:lnTo>
                    <a:pt x="120" y="96"/>
                  </a:lnTo>
                  <a:lnTo>
                    <a:pt x="120" y="100"/>
                  </a:lnTo>
                  <a:lnTo>
                    <a:pt x="120" y="101"/>
                  </a:lnTo>
                  <a:lnTo>
                    <a:pt x="121" y="101"/>
                  </a:lnTo>
                  <a:lnTo>
                    <a:pt x="123" y="101"/>
                  </a:lnTo>
                  <a:lnTo>
                    <a:pt x="123" y="100"/>
                  </a:lnTo>
                  <a:lnTo>
                    <a:pt x="124" y="99"/>
                  </a:lnTo>
                  <a:lnTo>
                    <a:pt x="125" y="97"/>
                  </a:lnTo>
                  <a:lnTo>
                    <a:pt x="127" y="96"/>
                  </a:lnTo>
                  <a:lnTo>
                    <a:pt x="125" y="96"/>
                  </a:lnTo>
                  <a:lnTo>
                    <a:pt x="123" y="97"/>
                  </a:lnTo>
                  <a:lnTo>
                    <a:pt x="121" y="96"/>
                  </a:lnTo>
                  <a:lnTo>
                    <a:pt x="121" y="95"/>
                  </a:lnTo>
                  <a:lnTo>
                    <a:pt x="123" y="94"/>
                  </a:lnTo>
                  <a:lnTo>
                    <a:pt x="123" y="93"/>
                  </a:lnTo>
                  <a:lnTo>
                    <a:pt x="124" y="93"/>
                  </a:lnTo>
                  <a:lnTo>
                    <a:pt x="125" y="91"/>
                  </a:lnTo>
                  <a:lnTo>
                    <a:pt x="126" y="91"/>
                  </a:lnTo>
                  <a:lnTo>
                    <a:pt x="127" y="90"/>
                  </a:lnTo>
                  <a:lnTo>
                    <a:pt x="126" y="89"/>
                  </a:lnTo>
                  <a:lnTo>
                    <a:pt x="126" y="88"/>
                  </a:lnTo>
                  <a:lnTo>
                    <a:pt x="123" y="90"/>
                  </a:lnTo>
                  <a:lnTo>
                    <a:pt x="121" y="90"/>
                  </a:lnTo>
                  <a:lnTo>
                    <a:pt x="123" y="89"/>
                  </a:lnTo>
                  <a:lnTo>
                    <a:pt x="121" y="89"/>
                  </a:lnTo>
                  <a:lnTo>
                    <a:pt x="121" y="88"/>
                  </a:lnTo>
                  <a:lnTo>
                    <a:pt x="121" y="85"/>
                  </a:lnTo>
                  <a:lnTo>
                    <a:pt x="121" y="84"/>
                  </a:lnTo>
                  <a:lnTo>
                    <a:pt x="119" y="81"/>
                  </a:lnTo>
                  <a:lnTo>
                    <a:pt x="121" y="82"/>
                  </a:lnTo>
                  <a:lnTo>
                    <a:pt x="123" y="82"/>
                  </a:lnTo>
                  <a:lnTo>
                    <a:pt x="125" y="82"/>
                  </a:lnTo>
                  <a:lnTo>
                    <a:pt x="126" y="82"/>
                  </a:lnTo>
                  <a:lnTo>
                    <a:pt x="127" y="79"/>
                  </a:lnTo>
                  <a:lnTo>
                    <a:pt x="126" y="78"/>
                  </a:lnTo>
                  <a:lnTo>
                    <a:pt x="125" y="79"/>
                  </a:lnTo>
                  <a:lnTo>
                    <a:pt x="124" y="79"/>
                  </a:lnTo>
                  <a:lnTo>
                    <a:pt x="123" y="77"/>
                  </a:lnTo>
                  <a:lnTo>
                    <a:pt x="123" y="76"/>
                  </a:lnTo>
                  <a:lnTo>
                    <a:pt x="125" y="76"/>
                  </a:lnTo>
                  <a:lnTo>
                    <a:pt x="127" y="77"/>
                  </a:lnTo>
                  <a:lnTo>
                    <a:pt x="127" y="76"/>
                  </a:lnTo>
                  <a:lnTo>
                    <a:pt x="129" y="76"/>
                  </a:lnTo>
                  <a:lnTo>
                    <a:pt x="130" y="75"/>
                  </a:lnTo>
                  <a:lnTo>
                    <a:pt x="130" y="73"/>
                  </a:lnTo>
                  <a:lnTo>
                    <a:pt x="131" y="76"/>
                  </a:lnTo>
                  <a:lnTo>
                    <a:pt x="131" y="78"/>
                  </a:lnTo>
                  <a:lnTo>
                    <a:pt x="132" y="77"/>
                  </a:lnTo>
                  <a:lnTo>
                    <a:pt x="132" y="78"/>
                  </a:lnTo>
                  <a:lnTo>
                    <a:pt x="133" y="79"/>
                  </a:lnTo>
                  <a:lnTo>
                    <a:pt x="135" y="81"/>
                  </a:lnTo>
                  <a:lnTo>
                    <a:pt x="136" y="82"/>
                  </a:lnTo>
                  <a:lnTo>
                    <a:pt x="137" y="85"/>
                  </a:lnTo>
                  <a:lnTo>
                    <a:pt x="137" y="87"/>
                  </a:lnTo>
                  <a:lnTo>
                    <a:pt x="138" y="88"/>
                  </a:lnTo>
                  <a:lnTo>
                    <a:pt x="138" y="87"/>
                  </a:lnTo>
                  <a:lnTo>
                    <a:pt x="139" y="88"/>
                  </a:lnTo>
                  <a:lnTo>
                    <a:pt x="141" y="87"/>
                  </a:lnTo>
                  <a:lnTo>
                    <a:pt x="142" y="87"/>
                  </a:lnTo>
                  <a:lnTo>
                    <a:pt x="142" y="84"/>
                  </a:lnTo>
                  <a:lnTo>
                    <a:pt x="144" y="85"/>
                  </a:lnTo>
                  <a:lnTo>
                    <a:pt x="145" y="87"/>
                  </a:lnTo>
                  <a:lnTo>
                    <a:pt x="147" y="89"/>
                  </a:lnTo>
                  <a:lnTo>
                    <a:pt x="148" y="89"/>
                  </a:lnTo>
                  <a:lnTo>
                    <a:pt x="149" y="91"/>
                  </a:lnTo>
                  <a:lnTo>
                    <a:pt x="150" y="91"/>
                  </a:lnTo>
                  <a:lnTo>
                    <a:pt x="153" y="90"/>
                  </a:lnTo>
                  <a:lnTo>
                    <a:pt x="150" y="90"/>
                  </a:lnTo>
                  <a:lnTo>
                    <a:pt x="151" y="89"/>
                  </a:lnTo>
                  <a:lnTo>
                    <a:pt x="151" y="88"/>
                  </a:lnTo>
                  <a:lnTo>
                    <a:pt x="153" y="88"/>
                  </a:lnTo>
                  <a:lnTo>
                    <a:pt x="154" y="87"/>
                  </a:lnTo>
                  <a:lnTo>
                    <a:pt x="154" y="85"/>
                  </a:lnTo>
                  <a:lnTo>
                    <a:pt x="156" y="85"/>
                  </a:lnTo>
                  <a:lnTo>
                    <a:pt x="156" y="87"/>
                  </a:lnTo>
                  <a:lnTo>
                    <a:pt x="159" y="87"/>
                  </a:lnTo>
                  <a:lnTo>
                    <a:pt x="160" y="88"/>
                  </a:lnTo>
                  <a:lnTo>
                    <a:pt x="160" y="89"/>
                  </a:lnTo>
                  <a:lnTo>
                    <a:pt x="160" y="88"/>
                  </a:lnTo>
                  <a:lnTo>
                    <a:pt x="161" y="88"/>
                  </a:lnTo>
                  <a:lnTo>
                    <a:pt x="161" y="87"/>
                  </a:lnTo>
                  <a:lnTo>
                    <a:pt x="162" y="87"/>
                  </a:lnTo>
                  <a:lnTo>
                    <a:pt x="164" y="88"/>
                  </a:lnTo>
                  <a:lnTo>
                    <a:pt x="165" y="87"/>
                  </a:lnTo>
                  <a:lnTo>
                    <a:pt x="162" y="87"/>
                  </a:lnTo>
                  <a:lnTo>
                    <a:pt x="161" y="85"/>
                  </a:lnTo>
                  <a:lnTo>
                    <a:pt x="161" y="83"/>
                  </a:lnTo>
                  <a:lnTo>
                    <a:pt x="162" y="84"/>
                  </a:lnTo>
                  <a:lnTo>
                    <a:pt x="164" y="83"/>
                  </a:lnTo>
                  <a:lnTo>
                    <a:pt x="165" y="82"/>
                  </a:lnTo>
                  <a:lnTo>
                    <a:pt x="165" y="81"/>
                  </a:lnTo>
                  <a:lnTo>
                    <a:pt x="166" y="82"/>
                  </a:lnTo>
                  <a:lnTo>
                    <a:pt x="167" y="82"/>
                  </a:lnTo>
                  <a:lnTo>
                    <a:pt x="168" y="83"/>
                  </a:lnTo>
                  <a:lnTo>
                    <a:pt x="170" y="83"/>
                  </a:lnTo>
                  <a:lnTo>
                    <a:pt x="171" y="82"/>
                  </a:lnTo>
                  <a:lnTo>
                    <a:pt x="170" y="81"/>
                  </a:lnTo>
                  <a:lnTo>
                    <a:pt x="170" y="79"/>
                  </a:lnTo>
                  <a:lnTo>
                    <a:pt x="172" y="78"/>
                  </a:lnTo>
                  <a:lnTo>
                    <a:pt x="172" y="77"/>
                  </a:lnTo>
                  <a:lnTo>
                    <a:pt x="173" y="77"/>
                  </a:lnTo>
                  <a:lnTo>
                    <a:pt x="171" y="77"/>
                  </a:lnTo>
                  <a:lnTo>
                    <a:pt x="168" y="78"/>
                  </a:lnTo>
                  <a:lnTo>
                    <a:pt x="168" y="77"/>
                  </a:lnTo>
                  <a:lnTo>
                    <a:pt x="170" y="75"/>
                  </a:lnTo>
                  <a:lnTo>
                    <a:pt x="171" y="73"/>
                  </a:lnTo>
                  <a:lnTo>
                    <a:pt x="172" y="73"/>
                  </a:lnTo>
                  <a:lnTo>
                    <a:pt x="172" y="71"/>
                  </a:lnTo>
                  <a:lnTo>
                    <a:pt x="173" y="71"/>
                  </a:lnTo>
                  <a:lnTo>
                    <a:pt x="174" y="70"/>
                  </a:lnTo>
                  <a:lnTo>
                    <a:pt x="178" y="71"/>
                  </a:lnTo>
                  <a:lnTo>
                    <a:pt x="179" y="70"/>
                  </a:lnTo>
                  <a:lnTo>
                    <a:pt x="180" y="70"/>
                  </a:lnTo>
                  <a:lnTo>
                    <a:pt x="179" y="66"/>
                  </a:lnTo>
                  <a:lnTo>
                    <a:pt x="178" y="67"/>
                  </a:lnTo>
                  <a:lnTo>
                    <a:pt x="178" y="69"/>
                  </a:lnTo>
                  <a:lnTo>
                    <a:pt x="178" y="66"/>
                  </a:lnTo>
                  <a:lnTo>
                    <a:pt x="178" y="65"/>
                  </a:lnTo>
                  <a:lnTo>
                    <a:pt x="176" y="65"/>
                  </a:lnTo>
                  <a:lnTo>
                    <a:pt x="172" y="65"/>
                  </a:lnTo>
                  <a:lnTo>
                    <a:pt x="170" y="65"/>
                  </a:lnTo>
                  <a:lnTo>
                    <a:pt x="171" y="64"/>
                  </a:lnTo>
                  <a:lnTo>
                    <a:pt x="172" y="64"/>
                  </a:lnTo>
                  <a:lnTo>
                    <a:pt x="174" y="63"/>
                  </a:lnTo>
                  <a:lnTo>
                    <a:pt x="176" y="64"/>
                  </a:lnTo>
                  <a:lnTo>
                    <a:pt x="178" y="65"/>
                  </a:lnTo>
                  <a:lnTo>
                    <a:pt x="179" y="65"/>
                  </a:lnTo>
                  <a:lnTo>
                    <a:pt x="177" y="59"/>
                  </a:lnTo>
                  <a:lnTo>
                    <a:pt x="174" y="55"/>
                  </a:lnTo>
                  <a:lnTo>
                    <a:pt x="174" y="57"/>
                  </a:lnTo>
                  <a:lnTo>
                    <a:pt x="172" y="57"/>
                  </a:lnTo>
                  <a:lnTo>
                    <a:pt x="172" y="58"/>
                  </a:lnTo>
                  <a:lnTo>
                    <a:pt x="172" y="55"/>
                  </a:lnTo>
                  <a:lnTo>
                    <a:pt x="172" y="54"/>
                  </a:lnTo>
                  <a:lnTo>
                    <a:pt x="173" y="54"/>
                  </a:lnTo>
                  <a:lnTo>
                    <a:pt x="173" y="53"/>
                  </a:lnTo>
                  <a:lnTo>
                    <a:pt x="171" y="53"/>
                  </a:lnTo>
                  <a:lnTo>
                    <a:pt x="170" y="54"/>
                  </a:lnTo>
                  <a:lnTo>
                    <a:pt x="168" y="55"/>
                  </a:lnTo>
                  <a:lnTo>
                    <a:pt x="168" y="53"/>
                  </a:lnTo>
                  <a:lnTo>
                    <a:pt x="168" y="52"/>
                  </a:lnTo>
                  <a:lnTo>
                    <a:pt x="170" y="51"/>
                  </a:lnTo>
                  <a:lnTo>
                    <a:pt x="171" y="51"/>
                  </a:lnTo>
                  <a:lnTo>
                    <a:pt x="173" y="52"/>
                  </a:lnTo>
                  <a:lnTo>
                    <a:pt x="171" y="48"/>
                  </a:lnTo>
                  <a:lnTo>
                    <a:pt x="168" y="48"/>
                  </a:lnTo>
                  <a:lnTo>
                    <a:pt x="165" y="51"/>
                  </a:lnTo>
                  <a:lnTo>
                    <a:pt x="165" y="52"/>
                  </a:lnTo>
                  <a:lnTo>
                    <a:pt x="164" y="53"/>
                  </a:lnTo>
                  <a:lnTo>
                    <a:pt x="164" y="52"/>
                  </a:lnTo>
                  <a:lnTo>
                    <a:pt x="162" y="51"/>
                  </a:lnTo>
                  <a:lnTo>
                    <a:pt x="162" y="48"/>
                  </a:lnTo>
                  <a:lnTo>
                    <a:pt x="164" y="47"/>
                  </a:lnTo>
                  <a:lnTo>
                    <a:pt x="165" y="48"/>
                  </a:lnTo>
                  <a:lnTo>
                    <a:pt x="168" y="48"/>
                  </a:lnTo>
                  <a:lnTo>
                    <a:pt x="170" y="47"/>
                  </a:lnTo>
                  <a:lnTo>
                    <a:pt x="167" y="47"/>
                  </a:lnTo>
                  <a:lnTo>
                    <a:pt x="166" y="47"/>
                  </a:lnTo>
                  <a:lnTo>
                    <a:pt x="166" y="46"/>
                  </a:lnTo>
                  <a:lnTo>
                    <a:pt x="167" y="46"/>
                  </a:lnTo>
                  <a:lnTo>
                    <a:pt x="168" y="45"/>
                  </a:lnTo>
                  <a:lnTo>
                    <a:pt x="166" y="45"/>
                  </a:lnTo>
                  <a:lnTo>
                    <a:pt x="165" y="46"/>
                  </a:lnTo>
                  <a:lnTo>
                    <a:pt x="164" y="46"/>
                  </a:lnTo>
                  <a:lnTo>
                    <a:pt x="164" y="45"/>
                  </a:lnTo>
                  <a:lnTo>
                    <a:pt x="165" y="45"/>
                  </a:lnTo>
                  <a:lnTo>
                    <a:pt x="167" y="45"/>
                  </a:lnTo>
                  <a:lnTo>
                    <a:pt x="166" y="43"/>
                  </a:lnTo>
                  <a:lnTo>
                    <a:pt x="165" y="43"/>
                  </a:lnTo>
                  <a:lnTo>
                    <a:pt x="162" y="45"/>
                  </a:lnTo>
                  <a:lnTo>
                    <a:pt x="161" y="42"/>
                  </a:lnTo>
                  <a:lnTo>
                    <a:pt x="164" y="41"/>
                  </a:lnTo>
                  <a:lnTo>
                    <a:pt x="165" y="43"/>
                  </a:lnTo>
                  <a:lnTo>
                    <a:pt x="166" y="42"/>
                  </a:lnTo>
                  <a:lnTo>
                    <a:pt x="164" y="41"/>
                  </a:lnTo>
                  <a:lnTo>
                    <a:pt x="162" y="41"/>
                  </a:lnTo>
                  <a:lnTo>
                    <a:pt x="161" y="40"/>
                  </a:lnTo>
                  <a:lnTo>
                    <a:pt x="157" y="39"/>
                  </a:lnTo>
                  <a:lnTo>
                    <a:pt x="160" y="39"/>
                  </a:lnTo>
                  <a:lnTo>
                    <a:pt x="162" y="40"/>
                  </a:lnTo>
                  <a:lnTo>
                    <a:pt x="165" y="40"/>
                  </a:lnTo>
                  <a:lnTo>
                    <a:pt x="167" y="42"/>
                  </a:lnTo>
                  <a:lnTo>
                    <a:pt x="168" y="41"/>
                  </a:lnTo>
                  <a:lnTo>
                    <a:pt x="167" y="39"/>
                  </a:lnTo>
                  <a:lnTo>
                    <a:pt x="166" y="39"/>
                  </a:lnTo>
                  <a:lnTo>
                    <a:pt x="162" y="37"/>
                  </a:lnTo>
                  <a:lnTo>
                    <a:pt x="161" y="36"/>
                  </a:lnTo>
                  <a:lnTo>
                    <a:pt x="167" y="37"/>
                  </a:lnTo>
                  <a:lnTo>
                    <a:pt x="167" y="39"/>
                  </a:lnTo>
                  <a:lnTo>
                    <a:pt x="168" y="40"/>
                  </a:lnTo>
                  <a:lnTo>
                    <a:pt x="170" y="39"/>
                  </a:lnTo>
                  <a:lnTo>
                    <a:pt x="171" y="37"/>
                  </a:lnTo>
                  <a:lnTo>
                    <a:pt x="171" y="36"/>
                  </a:lnTo>
                  <a:lnTo>
                    <a:pt x="172" y="35"/>
                  </a:lnTo>
                  <a:lnTo>
                    <a:pt x="174" y="35"/>
                  </a:lnTo>
                  <a:lnTo>
                    <a:pt x="176" y="35"/>
                  </a:lnTo>
                  <a:lnTo>
                    <a:pt x="177" y="35"/>
                  </a:lnTo>
                  <a:lnTo>
                    <a:pt x="176" y="37"/>
                  </a:lnTo>
                  <a:lnTo>
                    <a:pt x="172" y="37"/>
                  </a:lnTo>
                  <a:lnTo>
                    <a:pt x="171" y="39"/>
                  </a:lnTo>
                  <a:lnTo>
                    <a:pt x="171" y="41"/>
                  </a:lnTo>
                  <a:lnTo>
                    <a:pt x="170" y="41"/>
                  </a:lnTo>
                  <a:lnTo>
                    <a:pt x="172" y="42"/>
                  </a:lnTo>
                  <a:lnTo>
                    <a:pt x="171" y="43"/>
                  </a:lnTo>
                  <a:lnTo>
                    <a:pt x="171" y="46"/>
                  </a:lnTo>
                  <a:lnTo>
                    <a:pt x="172" y="46"/>
                  </a:lnTo>
                  <a:lnTo>
                    <a:pt x="172" y="47"/>
                  </a:lnTo>
                  <a:lnTo>
                    <a:pt x="172" y="49"/>
                  </a:lnTo>
                  <a:lnTo>
                    <a:pt x="174" y="54"/>
                  </a:lnTo>
                  <a:lnTo>
                    <a:pt x="179" y="64"/>
                  </a:lnTo>
                  <a:lnTo>
                    <a:pt x="180" y="64"/>
                  </a:lnTo>
                  <a:lnTo>
                    <a:pt x="182" y="63"/>
                  </a:lnTo>
                  <a:lnTo>
                    <a:pt x="182" y="60"/>
                  </a:lnTo>
                  <a:lnTo>
                    <a:pt x="182" y="59"/>
                  </a:lnTo>
                  <a:lnTo>
                    <a:pt x="183" y="59"/>
                  </a:lnTo>
                  <a:lnTo>
                    <a:pt x="184" y="60"/>
                  </a:lnTo>
                  <a:lnTo>
                    <a:pt x="185" y="60"/>
                  </a:lnTo>
                  <a:lnTo>
                    <a:pt x="184" y="58"/>
                  </a:lnTo>
                  <a:lnTo>
                    <a:pt x="185" y="58"/>
                  </a:lnTo>
                  <a:lnTo>
                    <a:pt x="188" y="58"/>
                  </a:lnTo>
                  <a:lnTo>
                    <a:pt x="189" y="57"/>
                  </a:lnTo>
                  <a:lnTo>
                    <a:pt x="190" y="55"/>
                  </a:lnTo>
                  <a:lnTo>
                    <a:pt x="191" y="57"/>
                  </a:lnTo>
                  <a:lnTo>
                    <a:pt x="192" y="58"/>
                  </a:lnTo>
                  <a:lnTo>
                    <a:pt x="191" y="58"/>
                  </a:lnTo>
                  <a:lnTo>
                    <a:pt x="191" y="59"/>
                  </a:lnTo>
                  <a:lnTo>
                    <a:pt x="194" y="59"/>
                  </a:lnTo>
                  <a:lnTo>
                    <a:pt x="194" y="60"/>
                  </a:lnTo>
                  <a:lnTo>
                    <a:pt x="194" y="61"/>
                  </a:lnTo>
                  <a:lnTo>
                    <a:pt x="195" y="61"/>
                  </a:lnTo>
                  <a:lnTo>
                    <a:pt x="195" y="63"/>
                  </a:lnTo>
                  <a:lnTo>
                    <a:pt x="196" y="63"/>
                  </a:lnTo>
                  <a:lnTo>
                    <a:pt x="191" y="61"/>
                  </a:lnTo>
                  <a:lnTo>
                    <a:pt x="188" y="61"/>
                  </a:lnTo>
                  <a:lnTo>
                    <a:pt x="188" y="63"/>
                  </a:lnTo>
                  <a:lnTo>
                    <a:pt x="188" y="64"/>
                  </a:lnTo>
                  <a:lnTo>
                    <a:pt x="188" y="65"/>
                  </a:lnTo>
                  <a:lnTo>
                    <a:pt x="188" y="67"/>
                  </a:lnTo>
                  <a:lnTo>
                    <a:pt x="190" y="66"/>
                  </a:lnTo>
                  <a:lnTo>
                    <a:pt x="191" y="66"/>
                  </a:lnTo>
                  <a:lnTo>
                    <a:pt x="191" y="67"/>
                  </a:lnTo>
                  <a:lnTo>
                    <a:pt x="192" y="67"/>
                  </a:lnTo>
                  <a:lnTo>
                    <a:pt x="194" y="66"/>
                  </a:lnTo>
                  <a:lnTo>
                    <a:pt x="194" y="67"/>
                  </a:lnTo>
                  <a:lnTo>
                    <a:pt x="195" y="67"/>
                  </a:lnTo>
                  <a:lnTo>
                    <a:pt x="195" y="69"/>
                  </a:lnTo>
                  <a:lnTo>
                    <a:pt x="198" y="69"/>
                  </a:lnTo>
                  <a:lnTo>
                    <a:pt x="196" y="69"/>
                  </a:lnTo>
                  <a:lnTo>
                    <a:pt x="195" y="70"/>
                  </a:lnTo>
                  <a:lnTo>
                    <a:pt x="195" y="71"/>
                  </a:lnTo>
                  <a:lnTo>
                    <a:pt x="195" y="73"/>
                  </a:lnTo>
                  <a:lnTo>
                    <a:pt x="195" y="76"/>
                  </a:lnTo>
                  <a:lnTo>
                    <a:pt x="194" y="75"/>
                  </a:lnTo>
                  <a:lnTo>
                    <a:pt x="194" y="73"/>
                  </a:lnTo>
                  <a:lnTo>
                    <a:pt x="192" y="73"/>
                  </a:lnTo>
                  <a:lnTo>
                    <a:pt x="191" y="73"/>
                  </a:lnTo>
                  <a:lnTo>
                    <a:pt x="189" y="73"/>
                  </a:lnTo>
                  <a:lnTo>
                    <a:pt x="188" y="72"/>
                  </a:lnTo>
                  <a:lnTo>
                    <a:pt x="186" y="72"/>
                  </a:lnTo>
                  <a:lnTo>
                    <a:pt x="183" y="73"/>
                  </a:lnTo>
                  <a:lnTo>
                    <a:pt x="184" y="77"/>
                  </a:lnTo>
                  <a:lnTo>
                    <a:pt x="185" y="77"/>
                  </a:lnTo>
                  <a:lnTo>
                    <a:pt x="186" y="76"/>
                  </a:lnTo>
                  <a:lnTo>
                    <a:pt x="188" y="76"/>
                  </a:lnTo>
                  <a:lnTo>
                    <a:pt x="190" y="76"/>
                  </a:lnTo>
                  <a:lnTo>
                    <a:pt x="190" y="77"/>
                  </a:lnTo>
                  <a:lnTo>
                    <a:pt x="191" y="77"/>
                  </a:lnTo>
                  <a:lnTo>
                    <a:pt x="192" y="77"/>
                  </a:lnTo>
                  <a:lnTo>
                    <a:pt x="192" y="78"/>
                  </a:lnTo>
                  <a:lnTo>
                    <a:pt x="194" y="78"/>
                  </a:lnTo>
                  <a:lnTo>
                    <a:pt x="196" y="78"/>
                  </a:lnTo>
                  <a:lnTo>
                    <a:pt x="197" y="79"/>
                  </a:lnTo>
                  <a:lnTo>
                    <a:pt x="197" y="81"/>
                  </a:lnTo>
                  <a:lnTo>
                    <a:pt x="200" y="79"/>
                  </a:lnTo>
                  <a:lnTo>
                    <a:pt x="201" y="78"/>
                  </a:lnTo>
                  <a:lnTo>
                    <a:pt x="201" y="79"/>
                  </a:lnTo>
                  <a:lnTo>
                    <a:pt x="202" y="79"/>
                  </a:lnTo>
                  <a:lnTo>
                    <a:pt x="203" y="81"/>
                  </a:lnTo>
                  <a:lnTo>
                    <a:pt x="204" y="79"/>
                  </a:lnTo>
                  <a:lnTo>
                    <a:pt x="206" y="79"/>
                  </a:lnTo>
                  <a:lnTo>
                    <a:pt x="206" y="78"/>
                  </a:lnTo>
                  <a:lnTo>
                    <a:pt x="206" y="77"/>
                  </a:lnTo>
                  <a:lnTo>
                    <a:pt x="208" y="76"/>
                  </a:lnTo>
                  <a:lnTo>
                    <a:pt x="208" y="75"/>
                  </a:lnTo>
                  <a:lnTo>
                    <a:pt x="209" y="73"/>
                  </a:lnTo>
                  <a:lnTo>
                    <a:pt x="210" y="72"/>
                  </a:lnTo>
                  <a:lnTo>
                    <a:pt x="212" y="71"/>
                  </a:lnTo>
                  <a:lnTo>
                    <a:pt x="209" y="70"/>
                  </a:lnTo>
                  <a:lnTo>
                    <a:pt x="208" y="65"/>
                  </a:lnTo>
                  <a:lnTo>
                    <a:pt x="209" y="67"/>
                  </a:lnTo>
                  <a:lnTo>
                    <a:pt x="210" y="66"/>
                  </a:lnTo>
                  <a:lnTo>
                    <a:pt x="210" y="65"/>
                  </a:lnTo>
                  <a:lnTo>
                    <a:pt x="212" y="65"/>
                  </a:lnTo>
                  <a:lnTo>
                    <a:pt x="213" y="65"/>
                  </a:lnTo>
                  <a:lnTo>
                    <a:pt x="213" y="66"/>
                  </a:lnTo>
                  <a:lnTo>
                    <a:pt x="212" y="66"/>
                  </a:lnTo>
                  <a:lnTo>
                    <a:pt x="210" y="69"/>
                  </a:lnTo>
                  <a:lnTo>
                    <a:pt x="210" y="70"/>
                  </a:lnTo>
                  <a:lnTo>
                    <a:pt x="212" y="69"/>
                  </a:lnTo>
                  <a:lnTo>
                    <a:pt x="212" y="67"/>
                  </a:lnTo>
                  <a:lnTo>
                    <a:pt x="213" y="67"/>
                  </a:lnTo>
                  <a:lnTo>
                    <a:pt x="213" y="70"/>
                  </a:lnTo>
                  <a:lnTo>
                    <a:pt x="212" y="70"/>
                  </a:lnTo>
                  <a:lnTo>
                    <a:pt x="213" y="71"/>
                  </a:lnTo>
                  <a:lnTo>
                    <a:pt x="215" y="72"/>
                  </a:lnTo>
                  <a:lnTo>
                    <a:pt x="216" y="72"/>
                  </a:lnTo>
                  <a:lnTo>
                    <a:pt x="215" y="71"/>
                  </a:lnTo>
                  <a:lnTo>
                    <a:pt x="215" y="70"/>
                  </a:lnTo>
                  <a:lnTo>
                    <a:pt x="218" y="70"/>
                  </a:lnTo>
                  <a:lnTo>
                    <a:pt x="218" y="71"/>
                  </a:lnTo>
                  <a:lnTo>
                    <a:pt x="219" y="73"/>
                  </a:lnTo>
                  <a:lnTo>
                    <a:pt x="220" y="72"/>
                  </a:lnTo>
                  <a:lnTo>
                    <a:pt x="220" y="70"/>
                  </a:lnTo>
                  <a:lnTo>
                    <a:pt x="219" y="70"/>
                  </a:lnTo>
                  <a:lnTo>
                    <a:pt x="218" y="67"/>
                  </a:lnTo>
                  <a:lnTo>
                    <a:pt x="219" y="69"/>
                  </a:lnTo>
                  <a:lnTo>
                    <a:pt x="219" y="67"/>
                  </a:lnTo>
                  <a:lnTo>
                    <a:pt x="219" y="66"/>
                  </a:lnTo>
                  <a:lnTo>
                    <a:pt x="220" y="66"/>
                  </a:lnTo>
                  <a:lnTo>
                    <a:pt x="221" y="65"/>
                  </a:lnTo>
                  <a:lnTo>
                    <a:pt x="221" y="64"/>
                  </a:lnTo>
                  <a:lnTo>
                    <a:pt x="221" y="63"/>
                  </a:lnTo>
                  <a:lnTo>
                    <a:pt x="223" y="63"/>
                  </a:lnTo>
                  <a:lnTo>
                    <a:pt x="224" y="63"/>
                  </a:lnTo>
                  <a:lnTo>
                    <a:pt x="224" y="65"/>
                  </a:lnTo>
                  <a:lnTo>
                    <a:pt x="225" y="65"/>
                  </a:lnTo>
                  <a:lnTo>
                    <a:pt x="226" y="65"/>
                  </a:lnTo>
                  <a:lnTo>
                    <a:pt x="225" y="63"/>
                  </a:lnTo>
                  <a:lnTo>
                    <a:pt x="226" y="63"/>
                  </a:lnTo>
                  <a:lnTo>
                    <a:pt x="226" y="61"/>
                  </a:lnTo>
                  <a:lnTo>
                    <a:pt x="226" y="66"/>
                  </a:lnTo>
                  <a:lnTo>
                    <a:pt x="227" y="66"/>
                  </a:lnTo>
                  <a:lnTo>
                    <a:pt x="230" y="67"/>
                  </a:lnTo>
                  <a:lnTo>
                    <a:pt x="230" y="66"/>
                  </a:lnTo>
                  <a:lnTo>
                    <a:pt x="229" y="65"/>
                  </a:lnTo>
                  <a:lnTo>
                    <a:pt x="229" y="64"/>
                  </a:lnTo>
                  <a:lnTo>
                    <a:pt x="229" y="63"/>
                  </a:lnTo>
                  <a:lnTo>
                    <a:pt x="229" y="61"/>
                  </a:lnTo>
                  <a:lnTo>
                    <a:pt x="230" y="60"/>
                  </a:lnTo>
                  <a:lnTo>
                    <a:pt x="229" y="59"/>
                  </a:lnTo>
                  <a:lnTo>
                    <a:pt x="230" y="59"/>
                  </a:lnTo>
                  <a:lnTo>
                    <a:pt x="231" y="58"/>
                  </a:lnTo>
                  <a:lnTo>
                    <a:pt x="232" y="57"/>
                  </a:lnTo>
                  <a:lnTo>
                    <a:pt x="233" y="58"/>
                  </a:lnTo>
                  <a:lnTo>
                    <a:pt x="233" y="60"/>
                  </a:lnTo>
                  <a:lnTo>
                    <a:pt x="235" y="61"/>
                  </a:lnTo>
                  <a:lnTo>
                    <a:pt x="233" y="63"/>
                  </a:lnTo>
                  <a:lnTo>
                    <a:pt x="235" y="66"/>
                  </a:lnTo>
                  <a:lnTo>
                    <a:pt x="233" y="67"/>
                  </a:lnTo>
                  <a:lnTo>
                    <a:pt x="232" y="66"/>
                  </a:lnTo>
                  <a:lnTo>
                    <a:pt x="232" y="67"/>
                  </a:lnTo>
                  <a:lnTo>
                    <a:pt x="233" y="69"/>
                  </a:lnTo>
                  <a:lnTo>
                    <a:pt x="235" y="69"/>
                  </a:lnTo>
                  <a:lnTo>
                    <a:pt x="236" y="70"/>
                  </a:lnTo>
                  <a:lnTo>
                    <a:pt x="236" y="71"/>
                  </a:lnTo>
                  <a:lnTo>
                    <a:pt x="238" y="71"/>
                  </a:lnTo>
                  <a:lnTo>
                    <a:pt x="239" y="71"/>
                  </a:lnTo>
                  <a:lnTo>
                    <a:pt x="239" y="72"/>
                  </a:lnTo>
                  <a:lnTo>
                    <a:pt x="241" y="73"/>
                  </a:lnTo>
                  <a:lnTo>
                    <a:pt x="242" y="75"/>
                  </a:lnTo>
                  <a:lnTo>
                    <a:pt x="243" y="75"/>
                  </a:lnTo>
                  <a:lnTo>
                    <a:pt x="242" y="77"/>
                  </a:lnTo>
                  <a:lnTo>
                    <a:pt x="243" y="78"/>
                  </a:lnTo>
                  <a:lnTo>
                    <a:pt x="244" y="77"/>
                  </a:lnTo>
                  <a:lnTo>
                    <a:pt x="245" y="78"/>
                  </a:lnTo>
                  <a:lnTo>
                    <a:pt x="247" y="77"/>
                  </a:lnTo>
                  <a:lnTo>
                    <a:pt x="247" y="75"/>
                  </a:lnTo>
                  <a:lnTo>
                    <a:pt x="247" y="72"/>
                  </a:lnTo>
                  <a:lnTo>
                    <a:pt x="247" y="71"/>
                  </a:lnTo>
                  <a:lnTo>
                    <a:pt x="247" y="70"/>
                  </a:lnTo>
                  <a:lnTo>
                    <a:pt x="248" y="70"/>
                  </a:lnTo>
                  <a:lnTo>
                    <a:pt x="247" y="69"/>
                  </a:lnTo>
                  <a:lnTo>
                    <a:pt x="247" y="66"/>
                  </a:lnTo>
                  <a:lnTo>
                    <a:pt x="247" y="65"/>
                  </a:lnTo>
                  <a:lnTo>
                    <a:pt x="248" y="66"/>
                  </a:lnTo>
                  <a:lnTo>
                    <a:pt x="249" y="66"/>
                  </a:lnTo>
                  <a:lnTo>
                    <a:pt x="249" y="67"/>
                  </a:lnTo>
                  <a:lnTo>
                    <a:pt x="248" y="70"/>
                  </a:lnTo>
                  <a:lnTo>
                    <a:pt x="249" y="70"/>
                  </a:lnTo>
                  <a:lnTo>
                    <a:pt x="249" y="71"/>
                  </a:lnTo>
                  <a:lnTo>
                    <a:pt x="248" y="73"/>
                  </a:lnTo>
                  <a:lnTo>
                    <a:pt x="247" y="78"/>
                  </a:lnTo>
                  <a:lnTo>
                    <a:pt x="247" y="79"/>
                  </a:lnTo>
                  <a:lnTo>
                    <a:pt x="248" y="78"/>
                  </a:lnTo>
                  <a:lnTo>
                    <a:pt x="250" y="77"/>
                  </a:lnTo>
                  <a:lnTo>
                    <a:pt x="250" y="78"/>
                  </a:lnTo>
                  <a:lnTo>
                    <a:pt x="251" y="78"/>
                  </a:lnTo>
                  <a:lnTo>
                    <a:pt x="254" y="76"/>
                  </a:lnTo>
                  <a:lnTo>
                    <a:pt x="254" y="75"/>
                  </a:lnTo>
                  <a:lnTo>
                    <a:pt x="255" y="76"/>
                  </a:lnTo>
                  <a:lnTo>
                    <a:pt x="256" y="77"/>
                  </a:lnTo>
                  <a:lnTo>
                    <a:pt x="257" y="76"/>
                  </a:lnTo>
                  <a:lnTo>
                    <a:pt x="259" y="76"/>
                  </a:lnTo>
                  <a:lnTo>
                    <a:pt x="260" y="76"/>
                  </a:lnTo>
                  <a:lnTo>
                    <a:pt x="256" y="78"/>
                  </a:lnTo>
                  <a:lnTo>
                    <a:pt x="254" y="78"/>
                  </a:lnTo>
                  <a:lnTo>
                    <a:pt x="251" y="81"/>
                  </a:lnTo>
                  <a:lnTo>
                    <a:pt x="249" y="82"/>
                  </a:lnTo>
                  <a:lnTo>
                    <a:pt x="247" y="83"/>
                  </a:lnTo>
                  <a:lnTo>
                    <a:pt x="245" y="85"/>
                  </a:lnTo>
                  <a:lnTo>
                    <a:pt x="245" y="87"/>
                  </a:lnTo>
                  <a:lnTo>
                    <a:pt x="247" y="85"/>
                  </a:lnTo>
                  <a:lnTo>
                    <a:pt x="248" y="84"/>
                  </a:lnTo>
                  <a:lnTo>
                    <a:pt x="251" y="83"/>
                  </a:lnTo>
                  <a:lnTo>
                    <a:pt x="249" y="87"/>
                  </a:lnTo>
                  <a:lnTo>
                    <a:pt x="248" y="87"/>
                  </a:lnTo>
                  <a:lnTo>
                    <a:pt x="250" y="88"/>
                  </a:lnTo>
                  <a:lnTo>
                    <a:pt x="251" y="90"/>
                  </a:lnTo>
                  <a:lnTo>
                    <a:pt x="253" y="89"/>
                  </a:lnTo>
                  <a:lnTo>
                    <a:pt x="256" y="89"/>
                  </a:lnTo>
                  <a:lnTo>
                    <a:pt x="257" y="89"/>
                  </a:lnTo>
                  <a:lnTo>
                    <a:pt x="257" y="90"/>
                  </a:lnTo>
                  <a:lnTo>
                    <a:pt x="257" y="91"/>
                  </a:lnTo>
                  <a:lnTo>
                    <a:pt x="257" y="94"/>
                  </a:lnTo>
                  <a:lnTo>
                    <a:pt x="259" y="94"/>
                  </a:lnTo>
                  <a:lnTo>
                    <a:pt x="259" y="96"/>
                  </a:lnTo>
                  <a:lnTo>
                    <a:pt x="259" y="97"/>
                  </a:lnTo>
                  <a:lnTo>
                    <a:pt x="260" y="97"/>
                  </a:lnTo>
                  <a:lnTo>
                    <a:pt x="260" y="96"/>
                  </a:lnTo>
                  <a:lnTo>
                    <a:pt x="261" y="95"/>
                  </a:lnTo>
                  <a:lnTo>
                    <a:pt x="262" y="93"/>
                  </a:lnTo>
                  <a:lnTo>
                    <a:pt x="262" y="96"/>
                  </a:lnTo>
                  <a:lnTo>
                    <a:pt x="262" y="97"/>
                  </a:lnTo>
                  <a:lnTo>
                    <a:pt x="265" y="96"/>
                  </a:lnTo>
                  <a:lnTo>
                    <a:pt x="265" y="97"/>
                  </a:lnTo>
                  <a:lnTo>
                    <a:pt x="265" y="99"/>
                  </a:lnTo>
                  <a:lnTo>
                    <a:pt x="266" y="99"/>
                  </a:lnTo>
                  <a:lnTo>
                    <a:pt x="267" y="99"/>
                  </a:lnTo>
                  <a:lnTo>
                    <a:pt x="267" y="100"/>
                  </a:lnTo>
                  <a:lnTo>
                    <a:pt x="268" y="99"/>
                  </a:lnTo>
                  <a:lnTo>
                    <a:pt x="268" y="100"/>
                  </a:lnTo>
                  <a:lnTo>
                    <a:pt x="269" y="99"/>
                  </a:lnTo>
                  <a:lnTo>
                    <a:pt x="272" y="100"/>
                  </a:lnTo>
                  <a:lnTo>
                    <a:pt x="268" y="101"/>
                  </a:lnTo>
                  <a:lnTo>
                    <a:pt x="263" y="100"/>
                  </a:lnTo>
                  <a:lnTo>
                    <a:pt x="265" y="102"/>
                  </a:lnTo>
                  <a:lnTo>
                    <a:pt x="266" y="102"/>
                  </a:lnTo>
                  <a:lnTo>
                    <a:pt x="267" y="102"/>
                  </a:lnTo>
                  <a:lnTo>
                    <a:pt x="268" y="102"/>
                  </a:lnTo>
                  <a:lnTo>
                    <a:pt x="269" y="102"/>
                  </a:lnTo>
                  <a:lnTo>
                    <a:pt x="271" y="102"/>
                  </a:lnTo>
                  <a:lnTo>
                    <a:pt x="273" y="103"/>
                  </a:lnTo>
                  <a:lnTo>
                    <a:pt x="274" y="103"/>
                  </a:lnTo>
                  <a:lnTo>
                    <a:pt x="275" y="105"/>
                  </a:lnTo>
                  <a:lnTo>
                    <a:pt x="275" y="102"/>
                  </a:lnTo>
                  <a:lnTo>
                    <a:pt x="277" y="101"/>
                  </a:lnTo>
                  <a:lnTo>
                    <a:pt x="277" y="100"/>
                  </a:lnTo>
                  <a:lnTo>
                    <a:pt x="278" y="99"/>
                  </a:lnTo>
                  <a:lnTo>
                    <a:pt x="279" y="99"/>
                  </a:lnTo>
                  <a:lnTo>
                    <a:pt x="278" y="100"/>
                  </a:lnTo>
                  <a:lnTo>
                    <a:pt x="278" y="101"/>
                  </a:lnTo>
                  <a:lnTo>
                    <a:pt x="279" y="101"/>
                  </a:lnTo>
                  <a:lnTo>
                    <a:pt x="280" y="100"/>
                  </a:lnTo>
                  <a:lnTo>
                    <a:pt x="280" y="99"/>
                  </a:lnTo>
                  <a:lnTo>
                    <a:pt x="280" y="97"/>
                  </a:lnTo>
                  <a:lnTo>
                    <a:pt x="279" y="96"/>
                  </a:lnTo>
                  <a:lnTo>
                    <a:pt x="277" y="96"/>
                  </a:lnTo>
                  <a:lnTo>
                    <a:pt x="274" y="97"/>
                  </a:lnTo>
                  <a:lnTo>
                    <a:pt x="274" y="95"/>
                  </a:lnTo>
                  <a:lnTo>
                    <a:pt x="277" y="94"/>
                  </a:lnTo>
                  <a:lnTo>
                    <a:pt x="278" y="94"/>
                  </a:lnTo>
                  <a:lnTo>
                    <a:pt x="279" y="94"/>
                  </a:lnTo>
                  <a:lnTo>
                    <a:pt x="280" y="95"/>
                  </a:lnTo>
                  <a:lnTo>
                    <a:pt x="282" y="95"/>
                  </a:lnTo>
                  <a:lnTo>
                    <a:pt x="283" y="94"/>
                  </a:lnTo>
                  <a:lnTo>
                    <a:pt x="284" y="94"/>
                  </a:lnTo>
                  <a:lnTo>
                    <a:pt x="285" y="93"/>
                  </a:lnTo>
                  <a:lnTo>
                    <a:pt x="285" y="91"/>
                  </a:lnTo>
                  <a:lnTo>
                    <a:pt x="286" y="91"/>
                  </a:lnTo>
                  <a:lnTo>
                    <a:pt x="288" y="91"/>
                  </a:lnTo>
                  <a:lnTo>
                    <a:pt x="289" y="91"/>
                  </a:lnTo>
                  <a:lnTo>
                    <a:pt x="289" y="90"/>
                  </a:lnTo>
                  <a:lnTo>
                    <a:pt x="288" y="90"/>
                  </a:lnTo>
                  <a:lnTo>
                    <a:pt x="285" y="91"/>
                  </a:lnTo>
                  <a:lnTo>
                    <a:pt x="285" y="90"/>
                  </a:lnTo>
                  <a:lnTo>
                    <a:pt x="286" y="89"/>
                  </a:lnTo>
                  <a:lnTo>
                    <a:pt x="285" y="90"/>
                  </a:lnTo>
                  <a:lnTo>
                    <a:pt x="284" y="93"/>
                  </a:lnTo>
                  <a:lnTo>
                    <a:pt x="283" y="93"/>
                  </a:lnTo>
                  <a:lnTo>
                    <a:pt x="282" y="93"/>
                  </a:lnTo>
                  <a:lnTo>
                    <a:pt x="282" y="90"/>
                  </a:lnTo>
                  <a:lnTo>
                    <a:pt x="282" y="89"/>
                  </a:lnTo>
                  <a:lnTo>
                    <a:pt x="284" y="88"/>
                  </a:lnTo>
                  <a:lnTo>
                    <a:pt x="284" y="87"/>
                  </a:lnTo>
                  <a:lnTo>
                    <a:pt x="285" y="85"/>
                  </a:lnTo>
                  <a:lnTo>
                    <a:pt x="286" y="84"/>
                  </a:lnTo>
                  <a:lnTo>
                    <a:pt x="285" y="83"/>
                  </a:lnTo>
                  <a:lnTo>
                    <a:pt x="278" y="76"/>
                  </a:lnTo>
                  <a:lnTo>
                    <a:pt x="273" y="65"/>
                  </a:lnTo>
                  <a:lnTo>
                    <a:pt x="272" y="65"/>
                  </a:lnTo>
                  <a:lnTo>
                    <a:pt x="273" y="69"/>
                  </a:lnTo>
                  <a:lnTo>
                    <a:pt x="273" y="72"/>
                  </a:lnTo>
                  <a:lnTo>
                    <a:pt x="273" y="71"/>
                  </a:lnTo>
                  <a:lnTo>
                    <a:pt x="272" y="70"/>
                  </a:lnTo>
                  <a:lnTo>
                    <a:pt x="272" y="72"/>
                  </a:lnTo>
                  <a:lnTo>
                    <a:pt x="273" y="72"/>
                  </a:lnTo>
                  <a:lnTo>
                    <a:pt x="273" y="75"/>
                  </a:lnTo>
                  <a:lnTo>
                    <a:pt x="272" y="77"/>
                  </a:lnTo>
                  <a:lnTo>
                    <a:pt x="272" y="78"/>
                  </a:lnTo>
                  <a:lnTo>
                    <a:pt x="271" y="76"/>
                  </a:lnTo>
                  <a:lnTo>
                    <a:pt x="271" y="73"/>
                  </a:lnTo>
                  <a:lnTo>
                    <a:pt x="269" y="73"/>
                  </a:lnTo>
                  <a:lnTo>
                    <a:pt x="269" y="75"/>
                  </a:lnTo>
                  <a:lnTo>
                    <a:pt x="268" y="73"/>
                  </a:lnTo>
                  <a:lnTo>
                    <a:pt x="268" y="72"/>
                  </a:lnTo>
                  <a:lnTo>
                    <a:pt x="267" y="70"/>
                  </a:lnTo>
                  <a:lnTo>
                    <a:pt x="266" y="71"/>
                  </a:lnTo>
                  <a:lnTo>
                    <a:pt x="265" y="71"/>
                  </a:lnTo>
                  <a:lnTo>
                    <a:pt x="263" y="73"/>
                  </a:lnTo>
                  <a:lnTo>
                    <a:pt x="262" y="73"/>
                  </a:lnTo>
                  <a:lnTo>
                    <a:pt x="262" y="71"/>
                  </a:lnTo>
                  <a:lnTo>
                    <a:pt x="263" y="69"/>
                  </a:lnTo>
                  <a:lnTo>
                    <a:pt x="261" y="71"/>
                  </a:lnTo>
                  <a:lnTo>
                    <a:pt x="260" y="72"/>
                  </a:lnTo>
                  <a:lnTo>
                    <a:pt x="260" y="69"/>
                  </a:lnTo>
                  <a:lnTo>
                    <a:pt x="260" y="67"/>
                  </a:lnTo>
                  <a:lnTo>
                    <a:pt x="260" y="66"/>
                  </a:lnTo>
                  <a:lnTo>
                    <a:pt x="260" y="65"/>
                  </a:lnTo>
                  <a:lnTo>
                    <a:pt x="261" y="64"/>
                  </a:lnTo>
                  <a:lnTo>
                    <a:pt x="263" y="64"/>
                  </a:lnTo>
                  <a:lnTo>
                    <a:pt x="263" y="63"/>
                  </a:lnTo>
                  <a:lnTo>
                    <a:pt x="266" y="60"/>
                  </a:lnTo>
                  <a:lnTo>
                    <a:pt x="266" y="59"/>
                  </a:lnTo>
                  <a:lnTo>
                    <a:pt x="265" y="60"/>
                  </a:lnTo>
                  <a:lnTo>
                    <a:pt x="263" y="61"/>
                  </a:lnTo>
                  <a:lnTo>
                    <a:pt x="263" y="59"/>
                  </a:lnTo>
                  <a:lnTo>
                    <a:pt x="262" y="59"/>
                  </a:lnTo>
                  <a:lnTo>
                    <a:pt x="261" y="59"/>
                  </a:lnTo>
                  <a:lnTo>
                    <a:pt x="260" y="59"/>
                  </a:lnTo>
                  <a:lnTo>
                    <a:pt x="259" y="59"/>
                  </a:lnTo>
                  <a:lnTo>
                    <a:pt x="257" y="59"/>
                  </a:lnTo>
                  <a:lnTo>
                    <a:pt x="259" y="58"/>
                  </a:lnTo>
                  <a:lnTo>
                    <a:pt x="257" y="58"/>
                  </a:lnTo>
                  <a:lnTo>
                    <a:pt x="255" y="57"/>
                  </a:lnTo>
                  <a:lnTo>
                    <a:pt x="255" y="55"/>
                  </a:lnTo>
                  <a:lnTo>
                    <a:pt x="256" y="55"/>
                  </a:lnTo>
                  <a:lnTo>
                    <a:pt x="257" y="54"/>
                  </a:lnTo>
                  <a:lnTo>
                    <a:pt x="257" y="53"/>
                  </a:lnTo>
                  <a:lnTo>
                    <a:pt x="259" y="52"/>
                  </a:lnTo>
                  <a:lnTo>
                    <a:pt x="260" y="53"/>
                  </a:lnTo>
                  <a:lnTo>
                    <a:pt x="261" y="53"/>
                  </a:lnTo>
                  <a:lnTo>
                    <a:pt x="260" y="52"/>
                  </a:lnTo>
                  <a:lnTo>
                    <a:pt x="260" y="51"/>
                  </a:lnTo>
                  <a:lnTo>
                    <a:pt x="260" y="49"/>
                  </a:lnTo>
                  <a:lnTo>
                    <a:pt x="260" y="52"/>
                  </a:lnTo>
                  <a:lnTo>
                    <a:pt x="257" y="49"/>
                  </a:lnTo>
                  <a:lnTo>
                    <a:pt x="257" y="47"/>
                  </a:lnTo>
                  <a:lnTo>
                    <a:pt x="255" y="47"/>
                  </a:lnTo>
                  <a:lnTo>
                    <a:pt x="255" y="45"/>
                  </a:lnTo>
                  <a:lnTo>
                    <a:pt x="255" y="42"/>
                  </a:lnTo>
                  <a:lnTo>
                    <a:pt x="256" y="42"/>
                  </a:lnTo>
                  <a:lnTo>
                    <a:pt x="255" y="41"/>
                  </a:lnTo>
                  <a:lnTo>
                    <a:pt x="256" y="39"/>
                  </a:lnTo>
                  <a:lnTo>
                    <a:pt x="255" y="41"/>
                  </a:lnTo>
                  <a:lnTo>
                    <a:pt x="254" y="42"/>
                  </a:lnTo>
                  <a:lnTo>
                    <a:pt x="254" y="45"/>
                  </a:lnTo>
                  <a:lnTo>
                    <a:pt x="253" y="43"/>
                  </a:lnTo>
                  <a:lnTo>
                    <a:pt x="253" y="42"/>
                  </a:lnTo>
                  <a:lnTo>
                    <a:pt x="253" y="41"/>
                  </a:lnTo>
                  <a:lnTo>
                    <a:pt x="251" y="40"/>
                  </a:lnTo>
                  <a:lnTo>
                    <a:pt x="250" y="40"/>
                  </a:lnTo>
                  <a:lnTo>
                    <a:pt x="250" y="42"/>
                  </a:lnTo>
                  <a:lnTo>
                    <a:pt x="250" y="45"/>
                  </a:lnTo>
                  <a:lnTo>
                    <a:pt x="249" y="45"/>
                  </a:lnTo>
                  <a:lnTo>
                    <a:pt x="249" y="46"/>
                  </a:lnTo>
                  <a:lnTo>
                    <a:pt x="249" y="47"/>
                  </a:lnTo>
                  <a:lnTo>
                    <a:pt x="248" y="47"/>
                  </a:lnTo>
                  <a:lnTo>
                    <a:pt x="248" y="48"/>
                  </a:lnTo>
                  <a:lnTo>
                    <a:pt x="247" y="48"/>
                  </a:lnTo>
                  <a:lnTo>
                    <a:pt x="247" y="47"/>
                  </a:lnTo>
                  <a:lnTo>
                    <a:pt x="247" y="45"/>
                  </a:lnTo>
                  <a:lnTo>
                    <a:pt x="245" y="45"/>
                  </a:lnTo>
                  <a:lnTo>
                    <a:pt x="244" y="45"/>
                  </a:lnTo>
                  <a:lnTo>
                    <a:pt x="242" y="46"/>
                  </a:lnTo>
                  <a:lnTo>
                    <a:pt x="242" y="48"/>
                  </a:lnTo>
                  <a:lnTo>
                    <a:pt x="241" y="48"/>
                  </a:lnTo>
                  <a:lnTo>
                    <a:pt x="241" y="46"/>
                  </a:lnTo>
                  <a:lnTo>
                    <a:pt x="242" y="43"/>
                  </a:lnTo>
                  <a:lnTo>
                    <a:pt x="242" y="42"/>
                  </a:lnTo>
                  <a:lnTo>
                    <a:pt x="242" y="41"/>
                  </a:lnTo>
                  <a:lnTo>
                    <a:pt x="241" y="41"/>
                  </a:lnTo>
                  <a:lnTo>
                    <a:pt x="241" y="40"/>
                  </a:lnTo>
                  <a:lnTo>
                    <a:pt x="242" y="37"/>
                  </a:lnTo>
                  <a:lnTo>
                    <a:pt x="242" y="36"/>
                  </a:lnTo>
                  <a:lnTo>
                    <a:pt x="243" y="35"/>
                  </a:lnTo>
                  <a:lnTo>
                    <a:pt x="244" y="34"/>
                  </a:lnTo>
                  <a:lnTo>
                    <a:pt x="244" y="32"/>
                  </a:lnTo>
                  <a:lnTo>
                    <a:pt x="244" y="30"/>
                  </a:lnTo>
                  <a:lnTo>
                    <a:pt x="243" y="32"/>
                  </a:lnTo>
                  <a:lnTo>
                    <a:pt x="243" y="31"/>
                  </a:lnTo>
                  <a:lnTo>
                    <a:pt x="241" y="32"/>
                  </a:lnTo>
                  <a:lnTo>
                    <a:pt x="239" y="32"/>
                  </a:lnTo>
                  <a:lnTo>
                    <a:pt x="236" y="32"/>
                  </a:lnTo>
                  <a:lnTo>
                    <a:pt x="235" y="34"/>
                  </a:lnTo>
                  <a:lnTo>
                    <a:pt x="233" y="39"/>
                  </a:lnTo>
                  <a:lnTo>
                    <a:pt x="231" y="40"/>
                  </a:lnTo>
                  <a:lnTo>
                    <a:pt x="230" y="41"/>
                  </a:lnTo>
                  <a:lnTo>
                    <a:pt x="229" y="40"/>
                  </a:lnTo>
                  <a:lnTo>
                    <a:pt x="230" y="36"/>
                  </a:lnTo>
                  <a:lnTo>
                    <a:pt x="231" y="34"/>
                  </a:lnTo>
                  <a:lnTo>
                    <a:pt x="230" y="32"/>
                  </a:lnTo>
                  <a:lnTo>
                    <a:pt x="231" y="31"/>
                  </a:lnTo>
                  <a:lnTo>
                    <a:pt x="232" y="30"/>
                  </a:lnTo>
                  <a:lnTo>
                    <a:pt x="235" y="31"/>
                  </a:lnTo>
                  <a:lnTo>
                    <a:pt x="237" y="30"/>
                  </a:lnTo>
                  <a:lnTo>
                    <a:pt x="239" y="29"/>
                  </a:lnTo>
                  <a:lnTo>
                    <a:pt x="242" y="28"/>
                  </a:lnTo>
                  <a:lnTo>
                    <a:pt x="242" y="26"/>
                  </a:lnTo>
                  <a:lnTo>
                    <a:pt x="241" y="25"/>
                  </a:lnTo>
                  <a:lnTo>
                    <a:pt x="241" y="23"/>
                  </a:lnTo>
                  <a:lnTo>
                    <a:pt x="239" y="23"/>
                  </a:lnTo>
                  <a:lnTo>
                    <a:pt x="241" y="20"/>
                  </a:lnTo>
                  <a:lnTo>
                    <a:pt x="239" y="20"/>
                  </a:lnTo>
                  <a:lnTo>
                    <a:pt x="237" y="24"/>
                  </a:lnTo>
                  <a:lnTo>
                    <a:pt x="236" y="25"/>
                  </a:lnTo>
                  <a:lnTo>
                    <a:pt x="236" y="23"/>
                  </a:lnTo>
                  <a:lnTo>
                    <a:pt x="235" y="18"/>
                  </a:lnTo>
                  <a:lnTo>
                    <a:pt x="236" y="17"/>
                  </a:lnTo>
                  <a:lnTo>
                    <a:pt x="235" y="18"/>
                  </a:lnTo>
                  <a:lnTo>
                    <a:pt x="236" y="14"/>
                  </a:lnTo>
                  <a:lnTo>
                    <a:pt x="238" y="13"/>
                  </a:lnTo>
                  <a:lnTo>
                    <a:pt x="239" y="12"/>
                  </a:lnTo>
                  <a:lnTo>
                    <a:pt x="241" y="11"/>
                  </a:lnTo>
                  <a:lnTo>
                    <a:pt x="243" y="10"/>
                  </a:lnTo>
                  <a:lnTo>
                    <a:pt x="243" y="7"/>
                  </a:lnTo>
                  <a:lnTo>
                    <a:pt x="239" y="6"/>
                  </a:lnTo>
                  <a:lnTo>
                    <a:pt x="237" y="6"/>
                  </a:lnTo>
                  <a:lnTo>
                    <a:pt x="239" y="6"/>
                  </a:lnTo>
                  <a:lnTo>
                    <a:pt x="241" y="5"/>
                  </a:lnTo>
                  <a:lnTo>
                    <a:pt x="243" y="4"/>
                  </a:lnTo>
                  <a:lnTo>
                    <a:pt x="243" y="2"/>
                  </a:lnTo>
                  <a:lnTo>
                    <a:pt x="243" y="1"/>
                  </a:lnTo>
                  <a:lnTo>
                    <a:pt x="244" y="0"/>
                  </a:lnTo>
                  <a:lnTo>
                    <a:pt x="247" y="0"/>
                  </a:lnTo>
                  <a:lnTo>
                    <a:pt x="248" y="0"/>
                  </a:lnTo>
                  <a:lnTo>
                    <a:pt x="248" y="1"/>
                  </a:lnTo>
                  <a:lnTo>
                    <a:pt x="249" y="1"/>
                  </a:lnTo>
                  <a:lnTo>
                    <a:pt x="249" y="2"/>
                  </a:lnTo>
                  <a:lnTo>
                    <a:pt x="250" y="1"/>
                  </a:lnTo>
                  <a:lnTo>
                    <a:pt x="251" y="1"/>
                  </a:lnTo>
                  <a:lnTo>
                    <a:pt x="253" y="1"/>
                  </a:lnTo>
                  <a:lnTo>
                    <a:pt x="254" y="0"/>
                  </a:lnTo>
                  <a:lnTo>
                    <a:pt x="253" y="4"/>
                  </a:lnTo>
                  <a:lnTo>
                    <a:pt x="251" y="8"/>
                  </a:lnTo>
                  <a:lnTo>
                    <a:pt x="251" y="10"/>
                  </a:lnTo>
                  <a:lnTo>
                    <a:pt x="253" y="7"/>
                  </a:lnTo>
                  <a:lnTo>
                    <a:pt x="254" y="11"/>
                  </a:lnTo>
                  <a:lnTo>
                    <a:pt x="254" y="13"/>
                  </a:lnTo>
                  <a:lnTo>
                    <a:pt x="255" y="16"/>
                  </a:lnTo>
                  <a:lnTo>
                    <a:pt x="255" y="14"/>
                  </a:lnTo>
                  <a:lnTo>
                    <a:pt x="256" y="16"/>
                  </a:lnTo>
                  <a:lnTo>
                    <a:pt x="256" y="14"/>
                  </a:lnTo>
                  <a:lnTo>
                    <a:pt x="256" y="12"/>
                  </a:lnTo>
                  <a:lnTo>
                    <a:pt x="259" y="11"/>
                  </a:lnTo>
                  <a:lnTo>
                    <a:pt x="261" y="12"/>
                  </a:lnTo>
                  <a:lnTo>
                    <a:pt x="262" y="14"/>
                  </a:lnTo>
                  <a:lnTo>
                    <a:pt x="262" y="16"/>
                  </a:lnTo>
                  <a:lnTo>
                    <a:pt x="262" y="17"/>
                  </a:lnTo>
                  <a:lnTo>
                    <a:pt x="261" y="17"/>
                  </a:lnTo>
                  <a:lnTo>
                    <a:pt x="260" y="17"/>
                  </a:lnTo>
                  <a:lnTo>
                    <a:pt x="259" y="17"/>
                  </a:lnTo>
                  <a:lnTo>
                    <a:pt x="259" y="16"/>
                  </a:lnTo>
                  <a:lnTo>
                    <a:pt x="259" y="17"/>
                  </a:lnTo>
                  <a:lnTo>
                    <a:pt x="259" y="19"/>
                  </a:lnTo>
                  <a:lnTo>
                    <a:pt x="260" y="20"/>
                  </a:lnTo>
                  <a:lnTo>
                    <a:pt x="261" y="22"/>
                  </a:lnTo>
                  <a:lnTo>
                    <a:pt x="262" y="23"/>
                  </a:lnTo>
                  <a:lnTo>
                    <a:pt x="262" y="25"/>
                  </a:lnTo>
                  <a:lnTo>
                    <a:pt x="265" y="25"/>
                  </a:lnTo>
                  <a:lnTo>
                    <a:pt x="266" y="26"/>
                  </a:lnTo>
                  <a:lnTo>
                    <a:pt x="266" y="25"/>
                  </a:lnTo>
                  <a:lnTo>
                    <a:pt x="267" y="24"/>
                  </a:lnTo>
                  <a:lnTo>
                    <a:pt x="267" y="25"/>
                  </a:lnTo>
                  <a:lnTo>
                    <a:pt x="269" y="25"/>
                  </a:lnTo>
                  <a:lnTo>
                    <a:pt x="271" y="25"/>
                  </a:lnTo>
                  <a:lnTo>
                    <a:pt x="269" y="23"/>
                  </a:lnTo>
                  <a:lnTo>
                    <a:pt x="269" y="20"/>
                  </a:lnTo>
                  <a:lnTo>
                    <a:pt x="271" y="19"/>
                  </a:lnTo>
                  <a:lnTo>
                    <a:pt x="272" y="19"/>
                  </a:lnTo>
                  <a:lnTo>
                    <a:pt x="272" y="18"/>
                  </a:lnTo>
                  <a:lnTo>
                    <a:pt x="274" y="18"/>
                  </a:lnTo>
                  <a:lnTo>
                    <a:pt x="275" y="19"/>
                  </a:lnTo>
                  <a:lnTo>
                    <a:pt x="277" y="20"/>
                  </a:lnTo>
                  <a:lnTo>
                    <a:pt x="278" y="20"/>
                  </a:lnTo>
                  <a:lnTo>
                    <a:pt x="280" y="19"/>
                  </a:lnTo>
                  <a:lnTo>
                    <a:pt x="279" y="20"/>
                  </a:lnTo>
                  <a:lnTo>
                    <a:pt x="278" y="23"/>
                  </a:lnTo>
                  <a:lnTo>
                    <a:pt x="277" y="22"/>
                  </a:lnTo>
                  <a:lnTo>
                    <a:pt x="275" y="22"/>
                  </a:lnTo>
                  <a:lnTo>
                    <a:pt x="273" y="25"/>
                  </a:lnTo>
                  <a:lnTo>
                    <a:pt x="275" y="25"/>
                  </a:lnTo>
                  <a:lnTo>
                    <a:pt x="278" y="26"/>
                  </a:lnTo>
                  <a:lnTo>
                    <a:pt x="280" y="28"/>
                  </a:lnTo>
                  <a:lnTo>
                    <a:pt x="279" y="29"/>
                  </a:lnTo>
                  <a:lnTo>
                    <a:pt x="279" y="31"/>
                  </a:lnTo>
                  <a:lnTo>
                    <a:pt x="278" y="30"/>
                  </a:lnTo>
                  <a:lnTo>
                    <a:pt x="277" y="26"/>
                  </a:lnTo>
                  <a:lnTo>
                    <a:pt x="274" y="26"/>
                  </a:lnTo>
                  <a:lnTo>
                    <a:pt x="272" y="26"/>
                  </a:lnTo>
                  <a:lnTo>
                    <a:pt x="272" y="29"/>
                  </a:lnTo>
                  <a:lnTo>
                    <a:pt x="271" y="30"/>
                  </a:lnTo>
                  <a:lnTo>
                    <a:pt x="272" y="34"/>
                  </a:lnTo>
                  <a:lnTo>
                    <a:pt x="273" y="34"/>
                  </a:lnTo>
                  <a:lnTo>
                    <a:pt x="275" y="35"/>
                  </a:lnTo>
                  <a:lnTo>
                    <a:pt x="277" y="36"/>
                  </a:lnTo>
                  <a:lnTo>
                    <a:pt x="277" y="37"/>
                  </a:lnTo>
                  <a:lnTo>
                    <a:pt x="278" y="39"/>
                  </a:lnTo>
                  <a:lnTo>
                    <a:pt x="278" y="42"/>
                  </a:lnTo>
                  <a:lnTo>
                    <a:pt x="278" y="43"/>
                  </a:lnTo>
                  <a:lnTo>
                    <a:pt x="279" y="45"/>
                  </a:lnTo>
                  <a:lnTo>
                    <a:pt x="278" y="47"/>
                  </a:lnTo>
                  <a:lnTo>
                    <a:pt x="278" y="48"/>
                  </a:lnTo>
                  <a:lnTo>
                    <a:pt x="279" y="51"/>
                  </a:lnTo>
                  <a:lnTo>
                    <a:pt x="280" y="49"/>
                  </a:lnTo>
                  <a:lnTo>
                    <a:pt x="282" y="48"/>
                  </a:lnTo>
                  <a:lnTo>
                    <a:pt x="284" y="48"/>
                  </a:lnTo>
                  <a:lnTo>
                    <a:pt x="284" y="47"/>
                  </a:lnTo>
                  <a:lnTo>
                    <a:pt x="286" y="47"/>
                  </a:lnTo>
                  <a:lnTo>
                    <a:pt x="286" y="46"/>
                  </a:lnTo>
                  <a:lnTo>
                    <a:pt x="288" y="46"/>
                  </a:lnTo>
                  <a:lnTo>
                    <a:pt x="289" y="46"/>
                  </a:lnTo>
                  <a:lnTo>
                    <a:pt x="290" y="46"/>
                  </a:lnTo>
                  <a:lnTo>
                    <a:pt x="289" y="47"/>
                  </a:lnTo>
                  <a:lnTo>
                    <a:pt x="290" y="47"/>
                  </a:lnTo>
                  <a:lnTo>
                    <a:pt x="291" y="47"/>
                  </a:lnTo>
                  <a:lnTo>
                    <a:pt x="292" y="47"/>
                  </a:lnTo>
                  <a:lnTo>
                    <a:pt x="294" y="47"/>
                  </a:lnTo>
                  <a:lnTo>
                    <a:pt x="295" y="47"/>
                  </a:lnTo>
                  <a:lnTo>
                    <a:pt x="296" y="45"/>
                  </a:lnTo>
                  <a:lnTo>
                    <a:pt x="297" y="46"/>
                  </a:lnTo>
                  <a:lnTo>
                    <a:pt x="297" y="47"/>
                  </a:lnTo>
                  <a:lnTo>
                    <a:pt x="298" y="47"/>
                  </a:lnTo>
                  <a:lnTo>
                    <a:pt x="301" y="47"/>
                  </a:lnTo>
                  <a:lnTo>
                    <a:pt x="300" y="48"/>
                  </a:lnTo>
                  <a:lnTo>
                    <a:pt x="302" y="48"/>
                  </a:lnTo>
                  <a:lnTo>
                    <a:pt x="303" y="49"/>
                  </a:lnTo>
                  <a:lnTo>
                    <a:pt x="304" y="48"/>
                  </a:lnTo>
                  <a:lnTo>
                    <a:pt x="306" y="48"/>
                  </a:lnTo>
                  <a:lnTo>
                    <a:pt x="307" y="47"/>
                  </a:lnTo>
                  <a:lnTo>
                    <a:pt x="308" y="46"/>
                  </a:lnTo>
                  <a:lnTo>
                    <a:pt x="309" y="47"/>
                  </a:lnTo>
                  <a:lnTo>
                    <a:pt x="310" y="47"/>
                  </a:lnTo>
                  <a:lnTo>
                    <a:pt x="310" y="49"/>
                  </a:lnTo>
                  <a:lnTo>
                    <a:pt x="312" y="48"/>
                  </a:lnTo>
                  <a:lnTo>
                    <a:pt x="312" y="46"/>
                  </a:lnTo>
                  <a:lnTo>
                    <a:pt x="312" y="45"/>
                  </a:lnTo>
                  <a:lnTo>
                    <a:pt x="313" y="43"/>
                  </a:lnTo>
                  <a:lnTo>
                    <a:pt x="313" y="42"/>
                  </a:lnTo>
                  <a:lnTo>
                    <a:pt x="315" y="41"/>
                  </a:lnTo>
                  <a:lnTo>
                    <a:pt x="316" y="42"/>
                  </a:lnTo>
                  <a:lnTo>
                    <a:pt x="318" y="42"/>
                  </a:lnTo>
                  <a:lnTo>
                    <a:pt x="319" y="42"/>
                  </a:lnTo>
                  <a:lnTo>
                    <a:pt x="319" y="43"/>
                  </a:lnTo>
                  <a:lnTo>
                    <a:pt x="319" y="39"/>
                  </a:lnTo>
                  <a:lnTo>
                    <a:pt x="318" y="37"/>
                  </a:lnTo>
                  <a:lnTo>
                    <a:pt x="316" y="36"/>
                  </a:lnTo>
                  <a:lnTo>
                    <a:pt x="316" y="35"/>
                  </a:lnTo>
                  <a:lnTo>
                    <a:pt x="316" y="34"/>
                  </a:lnTo>
                  <a:lnTo>
                    <a:pt x="318" y="34"/>
                  </a:lnTo>
                  <a:lnTo>
                    <a:pt x="319" y="32"/>
                  </a:lnTo>
                  <a:lnTo>
                    <a:pt x="320" y="32"/>
                  </a:lnTo>
                  <a:lnTo>
                    <a:pt x="321" y="32"/>
                  </a:lnTo>
                  <a:lnTo>
                    <a:pt x="322" y="32"/>
                  </a:lnTo>
                  <a:lnTo>
                    <a:pt x="321" y="35"/>
                  </a:lnTo>
                  <a:lnTo>
                    <a:pt x="322" y="35"/>
                  </a:lnTo>
                  <a:lnTo>
                    <a:pt x="325" y="35"/>
                  </a:lnTo>
                  <a:lnTo>
                    <a:pt x="327" y="35"/>
                  </a:lnTo>
                  <a:lnTo>
                    <a:pt x="326" y="36"/>
                  </a:lnTo>
                  <a:lnTo>
                    <a:pt x="324" y="39"/>
                  </a:lnTo>
                  <a:lnTo>
                    <a:pt x="322" y="39"/>
                  </a:lnTo>
                  <a:lnTo>
                    <a:pt x="322" y="40"/>
                  </a:lnTo>
                  <a:lnTo>
                    <a:pt x="324" y="39"/>
                  </a:lnTo>
                  <a:lnTo>
                    <a:pt x="325" y="39"/>
                  </a:lnTo>
                  <a:lnTo>
                    <a:pt x="324" y="40"/>
                  </a:lnTo>
                  <a:lnTo>
                    <a:pt x="325" y="41"/>
                  </a:lnTo>
                  <a:lnTo>
                    <a:pt x="324" y="42"/>
                  </a:lnTo>
                  <a:lnTo>
                    <a:pt x="322" y="42"/>
                  </a:lnTo>
                  <a:lnTo>
                    <a:pt x="324" y="43"/>
                  </a:lnTo>
                  <a:lnTo>
                    <a:pt x="326" y="42"/>
                  </a:lnTo>
                  <a:lnTo>
                    <a:pt x="328" y="42"/>
                  </a:lnTo>
                  <a:lnTo>
                    <a:pt x="330" y="42"/>
                  </a:lnTo>
                  <a:lnTo>
                    <a:pt x="327" y="45"/>
                  </a:lnTo>
                  <a:lnTo>
                    <a:pt x="325" y="46"/>
                  </a:lnTo>
                  <a:lnTo>
                    <a:pt x="324" y="47"/>
                  </a:lnTo>
                  <a:lnTo>
                    <a:pt x="322" y="49"/>
                  </a:lnTo>
                  <a:lnTo>
                    <a:pt x="325" y="49"/>
                  </a:lnTo>
                  <a:lnTo>
                    <a:pt x="326" y="49"/>
                  </a:lnTo>
                  <a:lnTo>
                    <a:pt x="327" y="48"/>
                  </a:lnTo>
                  <a:lnTo>
                    <a:pt x="328" y="48"/>
                  </a:lnTo>
                  <a:lnTo>
                    <a:pt x="331" y="48"/>
                  </a:lnTo>
                  <a:lnTo>
                    <a:pt x="330" y="49"/>
                  </a:lnTo>
                  <a:lnTo>
                    <a:pt x="330" y="52"/>
                  </a:lnTo>
                  <a:lnTo>
                    <a:pt x="331" y="53"/>
                  </a:lnTo>
                  <a:lnTo>
                    <a:pt x="332" y="54"/>
                  </a:lnTo>
                  <a:lnTo>
                    <a:pt x="330" y="55"/>
                  </a:lnTo>
                  <a:lnTo>
                    <a:pt x="330" y="57"/>
                  </a:lnTo>
                  <a:lnTo>
                    <a:pt x="330" y="59"/>
                  </a:lnTo>
                  <a:lnTo>
                    <a:pt x="330" y="60"/>
                  </a:lnTo>
                  <a:lnTo>
                    <a:pt x="328" y="59"/>
                  </a:lnTo>
                  <a:lnTo>
                    <a:pt x="328" y="60"/>
                  </a:lnTo>
                  <a:lnTo>
                    <a:pt x="328" y="63"/>
                  </a:lnTo>
                  <a:lnTo>
                    <a:pt x="327" y="64"/>
                  </a:lnTo>
                  <a:lnTo>
                    <a:pt x="327" y="66"/>
                  </a:lnTo>
                  <a:lnTo>
                    <a:pt x="326" y="66"/>
                  </a:lnTo>
                  <a:lnTo>
                    <a:pt x="325" y="69"/>
                  </a:lnTo>
                  <a:lnTo>
                    <a:pt x="324" y="69"/>
                  </a:lnTo>
                  <a:lnTo>
                    <a:pt x="322" y="70"/>
                  </a:lnTo>
                  <a:lnTo>
                    <a:pt x="321" y="71"/>
                  </a:lnTo>
                  <a:lnTo>
                    <a:pt x="320" y="70"/>
                  </a:lnTo>
                  <a:lnTo>
                    <a:pt x="320" y="69"/>
                  </a:lnTo>
                  <a:lnTo>
                    <a:pt x="319" y="67"/>
                  </a:lnTo>
                  <a:lnTo>
                    <a:pt x="319" y="70"/>
                  </a:lnTo>
                  <a:lnTo>
                    <a:pt x="318" y="72"/>
                  </a:lnTo>
                  <a:lnTo>
                    <a:pt x="318" y="69"/>
                  </a:lnTo>
                  <a:lnTo>
                    <a:pt x="316" y="71"/>
                  </a:lnTo>
                  <a:lnTo>
                    <a:pt x="316" y="69"/>
                  </a:lnTo>
                  <a:lnTo>
                    <a:pt x="315" y="70"/>
                  </a:lnTo>
                  <a:lnTo>
                    <a:pt x="315" y="72"/>
                  </a:lnTo>
                  <a:lnTo>
                    <a:pt x="316" y="72"/>
                  </a:lnTo>
                  <a:lnTo>
                    <a:pt x="314" y="73"/>
                  </a:lnTo>
                  <a:lnTo>
                    <a:pt x="312" y="73"/>
                  </a:lnTo>
                  <a:lnTo>
                    <a:pt x="310" y="76"/>
                  </a:lnTo>
                  <a:lnTo>
                    <a:pt x="313" y="77"/>
                  </a:lnTo>
                  <a:lnTo>
                    <a:pt x="314" y="77"/>
                  </a:lnTo>
                  <a:lnTo>
                    <a:pt x="314" y="78"/>
                  </a:lnTo>
                  <a:lnTo>
                    <a:pt x="313" y="79"/>
                  </a:lnTo>
                  <a:lnTo>
                    <a:pt x="312" y="78"/>
                  </a:lnTo>
                  <a:lnTo>
                    <a:pt x="312" y="77"/>
                  </a:lnTo>
                  <a:lnTo>
                    <a:pt x="310" y="77"/>
                  </a:lnTo>
                  <a:lnTo>
                    <a:pt x="310" y="79"/>
                  </a:lnTo>
                  <a:lnTo>
                    <a:pt x="313" y="81"/>
                  </a:lnTo>
                  <a:lnTo>
                    <a:pt x="314" y="83"/>
                  </a:lnTo>
                  <a:lnTo>
                    <a:pt x="316" y="82"/>
                  </a:lnTo>
                  <a:lnTo>
                    <a:pt x="320" y="79"/>
                  </a:lnTo>
                  <a:lnTo>
                    <a:pt x="319" y="78"/>
                  </a:lnTo>
                  <a:lnTo>
                    <a:pt x="319" y="76"/>
                  </a:lnTo>
                  <a:lnTo>
                    <a:pt x="320" y="75"/>
                  </a:lnTo>
                  <a:lnTo>
                    <a:pt x="322" y="73"/>
                  </a:lnTo>
                  <a:lnTo>
                    <a:pt x="322" y="75"/>
                  </a:lnTo>
                  <a:lnTo>
                    <a:pt x="324" y="75"/>
                  </a:lnTo>
                  <a:lnTo>
                    <a:pt x="325" y="73"/>
                  </a:lnTo>
                  <a:lnTo>
                    <a:pt x="326" y="73"/>
                  </a:lnTo>
                  <a:lnTo>
                    <a:pt x="327" y="73"/>
                  </a:lnTo>
                  <a:lnTo>
                    <a:pt x="327" y="75"/>
                  </a:lnTo>
                  <a:lnTo>
                    <a:pt x="326" y="76"/>
                  </a:lnTo>
                  <a:lnTo>
                    <a:pt x="327" y="76"/>
                  </a:lnTo>
                  <a:lnTo>
                    <a:pt x="326" y="77"/>
                  </a:lnTo>
                  <a:lnTo>
                    <a:pt x="327" y="77"/>
                  </a:lnTo>
                  <a:lnTo>
                    <a:pt x="327" y="78"/>
                  </a:lnTo>
                  <a:lnTo>
                    <a:pt x="328" y="78"/>
                  </a:lnTo>
                  <a:lnTo>
                    <a:pt x="328" y="77"/>
                  </a:lnTo>
                  <a:lnTo>
                    <a:pt x="327" y="76"/>
                  </a:lnTo>
                  <a:lnTo>
                    <a:pt x="328" y="73"/>
                  </a:lnTo>
                  <a:lnTo>
                    <a:pt x="330" y="75"/>
                  </a:lnTo>
                  <a:lnTo>
                    <a:pt x="331" y="73"/>
                  </a:lnTo>
                  <a:lnTo>
                    <a:pt x="332" y="73"/>
                  </a:lnTo>
                  <a:lnTo>
                    <a:pt x="333" y="75"/>
                  </a:lnTo>
                  <a:lnTo>
                    <a:pt x="334" y="76"/>
                  </a:lnTo>
                  <a:lnTo>
                    <a:pt x="334" y="77"/>
                  </a:lnTo>
                  <a:lnTo>
                    <a:pt x="332" y="78"/>
                  </a:lnTo>
                  <a:lnTo>
                    <a:pt x="332" y="77"/>
                  </a:lnTo>
                  <a:lnTo>
                    <a:pt x="331" y="77"/>
                  </a:lnTo>
                  <a:lnTo>
                    <a:pt x="326" y="81"/>
                  </a:lnTo>
                  <a:lnTo>
                    <a:pt x="327" y="82"/>
                  </a:lnTo>
                  <a:lnTo>
                    <a:pt x="328" y="82"/>
                  </a:lnTo>
                  <a:lnTo>
                    <a:pt x="328" y="83"/>
                  </a:lnTo>
                  <a:lnTo>
                    <a:pt x="331" y="84"/>
                  </a:lnTo>
                  <a:lnTo>
                    <a:pt x="332" y="85"/>
                  </a:lnTo>
                  <a:lnTo>
                    <a:pt x="332" y="87"/>
                  </a:lnTo>
                  <a:lnTo>
                    <a:pt x="333" y="85"/>
                  </a:lnTo>
                  <a:lnTo>
                    <a:pt x="334" y="87"/>
                  </a:lnTo>
                  <a:lnTo>
                    <a:pt x="336" y="85"/>
                  </a:lnTo>
                  <a:lnTo>
                    <a:pt x="334" y="88"/>
                  </a:lnTo>
                  <a:lnTo>
                    <a:pt x="333" y="89"/>
                  </a:lnTo>
                  <a:lnTo>
                    <a:pt x="333" y="90"/>
                  </a:lnTo>
                  <a:lnTo>
                    <a:pt x="334" y="91"/>
                  </a:lnTo>
                  <a:lnTo>
                    <a:pt x="336" y="91"/>
                  </a:lnTo>
                  <a:lnTo>
                    <a:pt x="337" y="91"/>
                  </a:lnTo>
                  <a:lnTo>
                    <a:pt x="338" y="90"/>
                  </a:lnTo>
                  <a:lnTo>
                    <a:pt x="338" y="88"/>
                  </a:lnTo>
                  <a:lnTo>
                    <a:pt x="339" y="87"/>
                  </a:lnTo>
                  <a:lnTo>
                    <a:pt x="338" y="87"/>
                  </a:lnTo>
                  <a:lnTo>
                    <a:pt x="338" y="84"/>
                  </a:lnTo>
                  <a:lnTo>
                    <a:pt x="339" y="83"/>
                  </a:lnTo>
                  <a:lnTo>
                    <a:pt x="341" y="82"/>
                  </a:lnTo>
                  <a:lnTo>
                    <a:pt x="342" y="82"/>
                  </a:lnTo>
                  <a:lnTo>
                    <a:pt x="343" y="82"/>
                  </a:lnTo>
                  <a:lnTo>
                    <a:pt x="344" y="82"/>
                  </a:lnTo>
                  <a:lnTo>
                    <a:pt x="345" y="82"/>
                  </a:lnTo>
                  <a:lnTo>
                    <a:pt x="345" y="83"/>
                  </a:lnTo>
                  <a:lnTo>
                    <a:pt x="345" y="84"/>
                  </a:lnTo>
                  <a:lnTo>
                    <a:pt x="345" y="87"/>
                  </a:lnTo>
                  <a:lnTo>
                    <a:pt x="343" y="87"/>
                  </a:lnTo>
                  <a:lnTo>
                    <a:pt x="344" y="88"/>
                  </a:lnTo>
                  <a:lnTo>
                    <a:pt x="343" y="89"/>
                  </a:lnTo>
                  <a:lnTo>
                    <a:pt x="343" y="90"/>
                  </a:lnTo>
                  <a:lnTo>
                    <a:pt x="344" y="91"/>
                  </a:lnTo>
                  <a:lnTo>
                    <a:pt x="344" y="90"/>
                  </a:lnTo>
                  <a:lnTo>
                    <a:pt x="345" y="90"/>
                  </a:lnTo>
                  <a:lnTo>
                    <a:pt x="345" y="89"/>
                  </a:lnTo>
                  <a:lnTo>
                    <a:pt x="347" y="89"/>
                  </a:lnTo>
                  <a:lnTo>
                    <a:pt x="347" y="90"/>
                  </a:lnTo>
                  <a:lnTo>
                    <a:pt x="348" y="90"/>
                  </a:lnTo>
                  <a:lnTo>
                    <a:pt x="349" y="89"/>
                  </a:lnTo>
                  <a:lnTo>
                    <a:pt x="350" y="88"/>
                  </a:lnTo>
                  <a:lnTo>
                    <a:pt x="351" y="87"/>
                  </a:lnTo>
                  <a:lnTo>
                    <a:pt x="353" y="87"/>
                  </a:lnTo>
                  <a:lnTo>
                    <a:pt x="351" y="85"/>
                  </a:lnTo>
                  <a:lnTo>
                    <a:pt x="353" y="84"/>
                  </a:lnTo>
                  <a:lnTo>
                    <a:pt x="354" y="84"/>
                  </a:lnTo>
                  <a:lnTo>
                    <a:pt x="353" y="85"/>
                  </a:lnTo>
                  <a:lnTo>
                    <a:pt x="355" y="85"/>
                  </a:lnTo>
                  <a:lnTo>
                    <a:pt x="354" y="84"/>
                  </a:lnTo>
                  <a:lnTo>
                    <a:pt x="351" y="82"/>
                  </a:lnTo>
                  <a:lnTo>
                    <a:pt x="349" y="82"/>
                  </a:lnTo>
                  <a:lnTo>
                    <a:pt x="347" y="82"/>
                  </a:lnTo>
                  <a:lnTo>
                    <a:pt x="347" y="81"/>
                  </a:lnTo>
                  <a:lnTo>
                    <a:pt x="348" y="81"/>
                  </a:lnTo>
                  <a:lnTo>
                    <a:pt x="349" y="81"/>
                  </a:lnTo>
                  <a:lnTo>
                    <a:pt x="349" y="79"/>
                  </a:lnTo>
                  <a:lnTo>
                    <a:pt x="349" y="81"/>
                  </a:lnTo>
                  <a:lnTo>
                    <a:pt x="350" y="79"/>
                  </a:lnTo>
                  <a:lnTo>
                    <a:pt x="351" y="79"/>
                  </a:lnTo>
                  <a:lnTo>
                    <a:pt x="351" y="81"/>
                  </a:lnTo>
                  <a:lnTo>
                    <a:pt x="353" y="82"/>
                  </a:lnTo>
                  <a:lnTo>
                    <a:pt x="355" y="84"/>
                  </a:lnTo>
                  <a:lnTo>
                    <a:pt x="356" y="84"/>
                  </a:lnTo>
                  <a:lnTo>
                    <a:pt x="357" y="83"/>
                  </a:lnTo>
                  <a:lnTo>
                    <a:pt x="357" y="82"/>
                  </a:lnTo>
                  <a:lnTo>
                    <a:pt x="359" y="82"/>
                  </a:lnTo>
                  <a:lnTo>
                    <a:pt x="360" y="83"/>
                  </a:lnTo>
                  <a:lnTo>
                    <a:pt x="360" y="84"/>
                  </a:lnTo>
                  <a:lnTo>
                    <a:pt x="361" y="85"/>
                  </a:lnTo>
                  <a:lnTo>
                    <a:pt x="361" y="84"/>
                  </a:lnTo>
                  <a:lnTo>
                    <a:pt x="362" y="83"/>
                  </a:lnTo>
                  <a:lnTo>
                    <a:pt x="363" y="83"/>
                  </a:lnTo>
                  <a:lnTo>
                    <a:pt x="365" y="83"/>
                  </a:lnTo>
                  <a:lnTo>
                    <a:pt x="365" y="81"/>
                  </a:lnTo>
                  <a:lnTo>
                    <a:pt x="361" y="79"/>
                  </a:lnTo>
                  <a:lnTo>
                    <a:pt x="356" y="78"/>
                  </a:lnTo>
                  <a:lnTo>
                    <a:pt x="357" y="77"/>
                  </a:lnTo>
                  <a:lnTo>
                    <a:pt x="359" y="76"/>
                  </a:lnTo>
                  <a:lnTo>
                    <a:pt x="360" y="76"/>
                  </a:lnTo>
                  <a:lnTo>
                    <a:pt x="361" y="76"/>
                  </a:lnTo>
                  <a:lnTo>
                    <a:pt x="362" y="76"/>
                  </a:lnTo>
                  <a:lnTo>
                    <a:pt x="363" y="75"/>
                  </a:lnTo>
                  <a:lnTo>
                    <a:pt x="365" y="76"/>
                  </a:lnTo>
                  <a:lnTo>
                    <a:pt x="365" y="77"/>
                  </a:lnTo>
                  <a:lnTo>
                    <a:pt x="366" y="81"/>
                  </a:lnTo>
                  <a:lnTo>
                    <a:pt x="367" y="82"/>
                  </a:lnTo>
                  <a:lnTo>
                    <a:pt x="368" y="81"/>
                  </a:lnTo>
                  <a:lnTo>
                    <a:pt x="369" y="79"/>
                  </a:lnTo>
                  <a:lnTo>
                    <a:pt x="371" y="77"/>
                  </a:lnTo>
                  <a:lnTo>
                    <a:pt x="371" y="76"/>
                  </a:lnTo>
                  <a:lnTo>
                    <a:pt x="372" y="75"/>
                  </a:lnTo>
                  <a:lnTo>
                    <a:pt x="373" y="76"/>
                  </a:lnTo>
                  <a:lnTo>
                    <a:pt x="373" y="77"/>
                  </a:lnTo>
                  <a:lnTo>
                    <a:pt x="374" y="78"/>
                  </a:lnTo>
                  <a:lnTo>
                    <a:pt x="375" y="77"/>
                  </a:lnTo>
                  <a:lnTo>
                    <a:pt x="377" y="77"/>
                  </a:lnTo>
                  <a:lnTo>
                    <a:pt x="378" y="78"/>
                  </a:lnTo>
                  <a:lnTo>
                    <a:pt x="379" y="79"/>
                  </a:lnTo>
                  <a:lnTo>
                    <a:pt x="377" y="81"/>
                  </a:lnTo>
                  <a:lnTo>
                    <a:pt x="375" y="81"/>
                  </a:lnTo>
                  <a:lnTo>
                    <a:pt x="374" y="81"/>
                  </a:lnTo>
                  <a:lnTo>
                    <a:pt x="373" y="81"/>
                  </a:lnTo>
                  <a:lnTo>
                    <a:pt x="373" y="82"/>
                  </a:lnTo>
                  <a:lnTo>
                    <a:pt x="372" y="82"/>
                  </a:lnTo>
                  <a:lnTo>
                    <a:pt x="373" y="83"/>
                  </a:lnTo>
                  <a:lnTo>
                    <a:pt x="374" y="85"/>
                  </a:lnTo>
                  <a:lnTo>
                    <a:pt x="375" y="84"/>
                  </a:lnTo>
                  <a:lnTo>
                    <a:pt x="377" y="85"/>
                  </a:lnTo>
                  <a:lnTo>
                    <a:pt x="377" y="84"/>
                  </a:lnTo>
                  <a:lnTo>
                    <a:pt x="379" y="84"/>
                  </a:lnTo>
                  <a:lnTo>
                    <a:pt x="378" y="83"/>
                  </a:lnTo>
                  <a:lnTo>
                    <a:pt x="377" y="82"/>
                  </a:lnTo>
                  <a:lnTo>
                    <a:pt x="378" y="82"/>
                  </a:lnTo>
                  <a:lnTo>
                    <a:pt x="380" y="79"/>
                  </a:lnTo>
                  <a:lnTo>
                    <a:pt x="381" y="78"/>
                  </a:lnTo>
                  <a:lnTo>
                    <a:pt x="381" y="76"/>
                  </a:lnTo>
                  <a:lnTo>
                    <a:pt x="384" y="77"/>
                  </a:lnTo>
                  <a:lnTo>
                    <a:pt x="384" y="76"/>
                  </a:lnTo>
                  <a:lnTo>
                    <a:pt x="384" y="75"/>
                  </a:lnTo>
                  <a:lnTo>
                    <a:pt x="384" y="73"/>
                  </a:lnTo>
                  <a:lnTo>
                    <a:pt x="384" y="72"/>
                  </a:lnTo>
                  <a:lnTo>
                    <a:pt x="385" y="71"/>
                  </a:lnTo>
                  <a:lnTo>
                    <a:pt x="384" y="71"/>
                  </a:lnTo>
                  <a:lnTo>
                    <a:pt x="385" y="70"/>
                  </a:lnTo>
                  <a:lnTo>
                    <a:pt x="386" y="70"/>
                  </a:lnTo>
                  <a:lnTo>
                    <a:pt x="385" y="69"/>
                  </a:lnTo>
                  <a:lnTo>
                    <a:pt x="386" y="67"/>
                  </a:lnTo>
                  <a:lnTo>
                    <a:pt x="387" y="66"/>
                  </a:lnTo>
                  <a:lnTo>
                    <a:pt x="389" y="66"/>
                  </a:lnTo>
                  <a:lnTo>
                    <a:pt x="391" y="66"/>
                  </a:lnTo>
                  <a:lnTo>
                    <a:pt x="390" y="65"/>
                  </a:lnTo>
                  <a:lnTo>
                    <a:pt x="389" y="64"/>
                  </a:lnTo>
                  <a:lnTo>
                    <a:pt x="386" y="65"/>
                  </a:lnTo>
                  <a:lnTo>
                    <a:pt x="387" y="64"/>
                  </a:lnTo>
                  <a:lnTo>
                    <a:pt x="389" y="63"/>
                  </a:lnTo>
                  <a:lnTo>
                    <a:pt x="391" y="64"/>
                  </a:lnTo>
                  <a:lnTo>
                    <a:pt x="392" y="64"/>
                  </a:lnTo>
                  <a:lnTo>
                    <a:pt x="392" y="65"/>
                  </a:lnTo>
                  <a:lnTo>
                    <a:pt x="395" y="65"/>
                  </a:lnTo>
                  <a:lnTo>
                    <a:pt x="395" y="66"/>
                  </a:lnTo>
                  <a:lnTo>
                    <a:pt x="397" y="64"/>
                  </a:lnTo>
                  <a:lnTo>
                    <a:pt x="397" y="61"/>
                  </a:lnTo>
                  <a:lnTo>
                    <a:pt x="398" y="60"/>
                  </a:lnTo>
                  <a:lnTo>
                    <a:pt x="399" y="60"/>
                  </a:lnTo>
                  <a:lnTo>
                    <a:pt x="399" y="63"/>
                  </a:lnTo>
                  <a:lnTo>
                    <a:pt x="401" y="61"/>
                  </a:lnTo>
                  <a:lnTo>
                    <a:pt x="402" y="60"/>
                  </a:lnTo>
                  <a:lnTo>
                    <a:pt x="403" y="60"/>
                  </a:lnTo>
                  <a:lnTo>
                    <a:pt x="404" y="61"/>
                  </a:lnTo>
                  <a:lnTo>
                    <a:pt x="406" y="61"/>
                  </a:lnTo>
                  <a:lnTo>
                    <a:pt x="407" y="61"/>
                  </a:lnTo>
                  <a:lnTo>
                    <a:pt x="404" y="63"/>
                  </a:lnTo>
                  <a:lnTo>
                    <a:pt x="401" y="64"/>
                  </a:lnTo>
                  <a:lnTo>
                    <a:pt x="402" y="66"/>
                  </a:lnTo>
                  <a:lnTo>
                    <a:pt x="403" y="65"/>
                  </a:lnTo>
                  <a:lnTo>
                    <a:pt x="407" y="63"/>
                  </a:lnTo>
                  <a:lnTo>
                    <a:pt x="404" y="65"/>
                  </a:lnTo>
                  <a:lnTo>
                    <a:pt x="406" y="67"/>
                  </a:lnTo>
                  <a:lnTo>
                    <a:pt x="404" y="67"/>
                  </a:lnTo>
                  <a:lnTo>
                    <a:pt x="403" y="69"/>
                  </a:lnTo>
                  <a:lnTo>
                    <a:pt x="404" y="69"/>
                  </a:lnTo>
                  <a:lnTo>
                    <a:pt x="406" y="70"/>
                  </a:lnTo>
                  <a:lnTo>
                    <a:pt x="408" y="70"/>
                  </a:lnTo>
                  <a:lnTo>
                    <a:pt x="408" y="71"/>
                  </a:lnTo>
                  <a:lnTo>
                    <a:pt x="410" y="71"/>
                  </a:lnTo>
                  <a:lnTo>
                    <a:pt x="412" y="72"/>
                  </a:lnTo>
                  <a:lnTo>
                    <a:pt x="410" y="72"/>
                  </a:lnTo>
                  <a:lnTo>
                    <a:pt x="412" y="72"/>
                  </a:lnTo>
                  <a:lnTo>
                    <a:pt x="412" y="75"/>
                  </a:lnTo>
                  <a:lnTo>
                    <a:pt x="409" y="75"/>
                  </a:lnTo>
                  <a:lnTo>
                    <a:pt x="410" y="76"/>
                  </a:lnTo>
                  <a:lnTo>
                    <a:pt x="412" y="77"/>
                  </a:lnTo>
                  <a:lnTo>
                    <a:pt x="413" y="76"/>
                  </a:lnTo>
                  <a:lnTo>
                    <a:pt x="414" y="77"/>
                  </a:lnTo>
                  <a:lnTo>
                    <a:pt x="414" y="79"/>
                  </a:lnTo>
                  <a:lnTo>
                    <a:pt x="415" y="81"/>
                  </a:lnTo>
                  <a:lnTo>
                    <a:pt x="414" y="82"/>
                  </a:lnTo>
                  <a:lnTo>
                    <a:pt x="414" y="84"/>
                  </a:lnTo>
                  <a:lnTo>
                    <a:pt x="413" y="85"/>
                  </a:lnTo>
                  <a:lnTo>
                    <a:pt x="413" y="82"/>
                  </a:lnTo>
                  <a:lnTo>
                    <a:pt x="412" y="78"/>
                  </a:lnTo>
                  <a:lnTo>
                    <a:pt x="409" y="78"/>
                  </a:lnTo>
                  <a:lnTo>
                    <a:pt x="407" y="76"/>
                  </a:lnTo>
                  <a:lnTo>
                    <a:pt x="407" y="77"/>
                  </a:lnTo>
                  <a:lnTo>
                    <a:pt x="407" y="79"/>
                  </a:lnTo>
                  <a:lnTo>
                    <a:pt x="407" y="82"/>
                  </a:lnTo>
                  <a:lnTo>
                    <a:pt x="406" y="83"/>
                  </a:lnTo>
                  <a:lnTo>
                    <a:pt x="404" y="84"/>
                  </a:lnTo>
                  <a:lnTo>
                    <a:pt x="402" y="84"/>
                  </a:lnTo>
                  <a:lnTo>
                    <a:pt x="402" y="83"/>
                  </a:lnTo>
                  <a:lnTo>
                    <a:pt x="399" y="84"/>
                  </a:lnTo>
                  <a:lnTo>
                    <a:pt x="395" y="85"/>
                  </a:lnTo>
                  <a:lnTo>
                    <a:pt x="392" y="85"/>
                  </a:lnTo>
                  <a:lnTo>
                    <a:pt x="392" y="87"/>
                  </a:lnTo>
                  <a:lnTo>
                    <a:pt x="392" y="88"/>
                  </a:lnTo>
                  <a:lnTo>
                    <a:pt x="395" y="87"/>
                  </a:lnTo>
                  <a:lnTo>
                    <a:pt x="393" y="88"/>
                  </a:lnTo>
                  <a:lnTo>
                    <a:pt x="396" y="87"/>
                  </a:lnTo>
                  <a:lnTo>
                    <a:pt x="398" y="85"/>
                  </a:lnTo>
                  <a:lnTo>
                    <a:pt x="402" y="85"/>
                  </a:lnTo>
                  <a:lnTo>
                    <a:pt x="404" y="85"/>
                  </a:lnTo>
                  <a:lnTo>
                    <a:pt x="407" y="85"/>
                  </a:lnTo>
                  <a:lnTo>
                    <a:pt x="407" y="88"/>
                  </a:lnTo>
                  <a:lnTo>
                    <a:pt x="406" y="88"/>
                  </a:lnTo>
                  <a:lnTo>
                    <a:pt x="404" y="88"/>
                  </a:lnTo>
                  <a:lnTo>
                    <a:pt x="406" y="89"/>
                  </a:lnTo>
                  <a:lnTo>
                    <a:pt x="403" y="89"/>
                  </a:lnTo>
                  <a:lnTo>
                    <a:pt x="403" y="90"/>
                  </a:lnTo>
                  <a:lnTo>
                    <a:pt x="403" y="91"/>
                  </a:lnTo>
                  <a:lnTo>
                    <a:pt x="401" y="91"/>
                  </a:lnTo>
                  <a:lnTo>
                    <a:pt x="402" y="93"/>
                  </a:lnTo>
                  <a:lnTo>
                    <a:pt x="404" y="94"/>
                  </a:lnTo>
                  <a:lnTo>
                    <a:pt x="404" y="95"/>
                  </a:lnTo>
                  <a:lnTo>
                    <a:pt x="403" y="96"/>
                  </a:lnTo>
                  <a:lnTo>
                    <a:pt x="403" y="97"/>
                  </a:lnTo>
                  <a:lnTo>
                    <a:pt x="402" y="96"/>
                  </a:lnTo>
                  <a:lnTo>
                    <a:pt x="401" y="96"/>
                  </a:lnTo>
                  <a:lnTo>
                    <a:pt x="399" y="95"/>
                  </a:lnTo>
                  <a:lnTo>
                    <a:pt x="398" y="91"/>
                  </a:lnTo>
                  <a:lnTo>
                    <a:pt x="398" y="90"/>
                  </a:lnTo>
                  <a:lnTo>
                    <a:pt x="397" y="89"/>
                  </a:lnTo>
                  <a:lnTo>
                    <a:pt x="396" y="89"/>
                  </a:lnTo>
                  <a:lnTo>
                    <a:pt x="395" y="90"/>
                  </a:lnTo>
                  <a:lnTo>
                    <a:pt x="395" y="93"/>
                  </a:lnTo>
                  <a:lnTo>
                    <a:pt x="393" y="94"/>
                  </a:lnTo>
                  <a:lnTo>
                    <a:pt x="390" y="97"/>
                  </a:lnTo>
                  <a:lnTo>
                    <a:pt x="390" y="95"/>
                  </a:lnTo>
                  <a:lnTo>
                    <a:pt x="391" y="94"/>
                  </a:lnTo>
                  <a:lnTo>
                    <a:pt x="389" y="95"/>
                  </a:lnTo>
                  <a:lnTo>
                    <a:pt x="385" y="100"/>
                  </a:lnTo>
                  <a:lnTo>
                    <a:pt x="386" y="96"/>
                  </a:lnTo>
                  <a:lnTo>
                    <a:pt x="386" y="95"/>
                  </a:lnTo>
                  <a:lnTo>
                    <a:pt x="386" y="94"/>
                  </a:lnTo>
                  <a:lnTo>
                    <a:pt x="385" y="94"/>
                  </a:lnTo>
                  <a:lnTo>
                    <a:pt x="384" y="96"/>
                  </a:lnTo>
                  <a:lnTo>
                    <a:pt x="383" y="97"/>
                  </a:lnTo>
                  <a:lnTo>
                    <a:pt x="383" y="100"/>
                  </a:lnTo>
                  <a:lnTo>
                    <a:pt x="381" y="101"/>
                  </a:lnTo>
                  <a:lnTo>
                    <a:pt x="381" y="102"/>
                  </a:lnTo>
                  <a:lnTo>
                    <a:pt x="380" y="103"/>
                  </a:lnTo>
                  <a:lnTo>
                    <a:pt x="381" y="102"/>
                  </a:lnTo>
                  <a:lnTo>
                    <a:pt x="383" y="103"/>
                  </a:lnTo>
                  <a:lnTo>
                    <a:pt x="383" y="102"/>
                  </a:lnTo>
                  <a:lnTo>
                    <a:pt x="383" y="105"/>
                  </a:lnTo>
                  <a:lnTo>
                    <a:pt x="381" y="107"/>
                  </a:lnTo>
                  <a:lnTo>
                    <a:pt x="381" y="108"/>
                  </a:lnTo>
                  <a:lnTo>
                    <a:pt x="380" y="109"/>
                  </a:lnTo>
                  <a:lnTo>
                    <a:pt x="381" y="112"/>
                  </a:lnTo>
                  <a:lnTo>
                    <a:pt x="383" y="111"/>
                  </a:lnTo>
                  <a:lnTo>
                    <a:pt x="384" y="111"/>
                  </a:lnTo>
                  <a:lnTo>
                    <a:pt x="386" y="111"/>
                  </a:lnTo>
                  <a:lnTo>
                    <a:pt x="387" y="111"/>
                  </a:lnTo>
                  <a:lnTo>
                    <a:pt x="389" y="112"/>
                  </a:lnTo>
                  <a:lnTo>
                    <a:pt x="389" y="113"/>
                  </a:lnTo>
                  <a:lnTo>
                    <a:pt x="387" y="113"/>
                  </a:lnTo>
                  <a:lnTo>
                    <a:pt x="387" y="114"/>
                  </a:lnTo>
                  <a:lnTo>
                    <a:pt x="387" y="115"/>
                  </a:lnTo>
                  <a:lnTo>
                    <a:pt x="387" y="118"/>
                  </a:lnTo>
                  <a:lnTo>
                    <a:pt x="385" y="115"/>
                  </a:lnTo>
                  <a:lnTo>
                    <a:pt x="384" y="115"/>
                  </a:lnTo>
                  <a:lnTo>
                    <a:pt x="383" y="114"/>
                  </a:lnTo>
                  <a:lnTo>
                    <a:pt x="381" y="113"/>
                  </a:lnTo>
                  <a:lnTo>
                    <a:pt x="381" y="114"/>
                  </a:lnTo>
                  <a:lnTo>
                    <a:pt x="379" y="115"/>
                  </a:lnTo>
                  <a:lnTo>
                    <a:pt x="381" y="115"/>
                  </a:lnTo>
                  <a:lnTo>
                    <a:pt x="379" y="115"/>
                  </a:lnTo>
                  <a:lnTo>
                    <a:pt x="380" y="117"/>
                  </a:lnTo>
                  <a:lnTo>
                    <a:pt x="381" y="118"/>
                  </a:lnTo>
                  <a:lnTo>
                    <a:pt x="384" y="118"/>
                  </a:lnTo>
                  <a:lnTo>
                    <a:pt x="385" y="117"/>
                  </a:lnTo>
                  <a:lnTo>
                    <a:pt x="386" y="118"/>
                  </a:lnTo>
                  <a:lnTo>
                    <a:pt x="386" y="119"/>
                  </a:lnTo>
                  <a:lnTo>
                    <a:pt x="387" y="120"/>
                  </a:lnTo>
                  <a:lnTo>
                    <a:pt x="386" y="120"/>
                  </a:lnTo>
                  <a:lnTo>
                    <a:pt x="387" y="121"/>
                  </a:lnTo>
                  <a:lnTo>
                    <a:pt x="386" y="123"/>
                  </a:lnTo>
                  <a:lnTo>
                    <a:pt x="385" y="120"/>
                  </a:lnTo>
                  <a:lnTo>
                    <a:pt x="383" y="118"/>
                  </a:lnTo>
                  <a:lnTo>
                    <a:pt x="383" y="119"/>
                  </a:lnTo>
                  <a:lnTo>
                    <a:pt x="383" y="120"/>
                  </a:lnTo>
                  <a:lnTo>
                    <a:pt x="383" y="123"/>
                  </a:lnTo>
                  <a:lnTo>
                    <a:pt x="383" y="126"/>
                  </a:lnTo>
                  <a:lnTo>
                    <a:pt x="381" y="123"/>
                  </a:lnTo>
                  <a:lnTo>
                    <a:pt x="380" y="124"/>
                  </a:lnTo>
                  <a:lnTo>
                    <a:pt x="380" y="123"/>
                  </a:lnTo>
                  <a:lnTo>
                    <a:pt x="380" y="120"/>
                  </a:lnTo>
                  <a:lnTo>
                    <a:pt x="379" y="120"/>
                  </a:lnTo>
                  <a:lnTo>
                    <a:pt x="378" y="119"/>
                  </a:lnTo>
                  <a:lnTo>
                    <a:pt x="379" y="120"/>
                  </a:lnTo>
                  <a:lnTo>
                    <a:pt x="378" y="125"/>
                  </a:lnTo>
                  <a:lnTo>
                    <a:pt x="375" y="123"/>
                  </a:lnTo>
                  <a:lnTo>
                    <a:pt x="375" y="120"/>
                  </a:lnTo>
                  <a:lnTo>
                    <a:pt x="375" y="121"/>
                  </a:lnTo>
                  <a:lnTo>
                    <a:pt x="375" y="125"/>
                  </a:lnTo>
                  <a:lnTo>
                    <a:pt x="377" y="127"/>
                  </a:lnTo>
                  <a:lnTo>
                    <a:pt x="377" y="130"/>
                  </a:lnTo>
                  <a:lnTo>
                    <a:pt x="377" y="131"/>
                  </a:lnTo>
                  <a:lnTo>
                    <a:pt x="375" y="131"/>
                  </a:lnTo>
                  <a:lnTo>
                    <a:pt x="375" y="132"/>
                  </a:lnTo>
                  <a:lnTo>
                    <a:pt x="375" y="133"/>
                  </a:lnTo>
                  <a:lnTo>
                    <a:pt x="374" y="136"/>
                  </a:lnTo>
                  <a:lnTo>
                    <a:pt x="374" y="133"/>
                  </a:lnTo>
                  <a:lnTo>
                    <a:pt x="373" y="133"/>
                  </a:lnTo>
                  <a:lnTo>
                    <a:pt x="373" y="132"/>
                  </a:lnTo>
                  <a:lnTo>
                    <a:pt x="372" y="131"/>
                  </a:lnTo>
                  <a:lnTo>
                    <a:pt x="372" y="130"/>
                  </a:lnTo>
                  <a:lnTo>
                    <a:pt x="371" y="130"/>
                  </a:lnTo>
                  <a:lnTo>
                    <a:pt x="372" y="129"/>
                  </a:lnTo>
                  <a:lnTo>
                    <a:pt x="372" y="126"/>
                  </a:lnTo>
                  <a:lnTo>
                    <a:pt x="374" y="125"/>
                  </a:lnTo>
                  <a:lnTo>
                    <a:pt x="374" y="123"/>
                  </a:lnTo>
                  <a:lnTo>
                    <a:pt x="373" y="124"/>
                  </a:lnTo>
                  <a:lnTo>
                    <a:pt x="372" y="125"/>
                  </a:lnTo>
                  <a:lnTo>
                    <a:pt x="373" y="123"/>
                  </a:lnTo>
                  <a:lnTo>
                    <a:pt x="372" y="124"/>
                  </a:lnTo>
                  <a:lnTo>
                    <a:pt x="371" y="124"/>
                  </a:lnTo>
                  <a:lnTo>
                    <a:pt x="369" y="125"/>
                  </a:lnTo>
                  <a:lnTo>
                    <a:pt x="369" y="124"/>
                  </a:lnTo>
                  <a:lnTo>
                    <a:pt x="368" y="124"/>
                  </a:lnTo>
                  <a:lnTo>
                    <a:pt x="366" y="124"/>
                  </a:lnTo>
                  <a:lnTo>
                    <a:pt x="365" y="124"/>
                  </a:lnTo>
                  <a:lnTo>
                    <a:pt x="367" y="125"/>
                  </a:lnTo>
                  <a:lnTo>
                    <a:pt x="365" y="126"/>
                  </a:lnTo>
                  <a:lnTo>
                    <a:pt x="363" y="129"/>
                  </a:lnTo>
                  <a:lnTo>
                    <a:pt x="362" y="131"/>
                  </a:lnTo>
                  <a:lnTo>
                    <a:pt x="363" y="131"/>
                  </a:lnTo>
                  <a:lnTo>
                    <a:pt x="366" y="132"/>
                  </a:lnTo>
                  <a:lnTo>
                    <a:pt x="365" y="133"/>
                  </a:lnTo>
                  <a:lnTo>
                    <a:pt x="366" y="133"/>
                  </a:lnTo>
                  <a:lnTo>
                    <a:pt x="366" y="135"/>
                  </a:lnTo>
                  <a:lnTo>
                    <a:pt x="366" y="136"/>
                  </a:lnTo>
                  <a:lnTo>
                    <a:pt x="368" y="137"/>
                  </a:lnTo>
                  <a:lnTo>
                    <a:pt x="369" y="136"/>
                  </a:lnTo>
                  <a:lnTo>
                    <a:pt x="368" y="136"/>
                  </a:lnTo>
                  <a:lnTo>
                    <a:pt x="367" y="135"/>
                  </a:lnTo>
                  <a:lnTo>
                    <a:pt x="369" y="133"/>
                  </a:lnTo>
                  <a:lnTo>
                    <a:pt x="372" y="135"/>
                  </a:lnTo>
                  <a:lnTo>
                    <a:pt x="372" y="136"/>
                  </a:lnTo>
                  <a:lnTo>
                    <a:pt x="373" y="136"/>
                  </a:lnTo>
                  <a:lnTo>
                    <a:pt x="374" y="137"/>
                  </a:lnTo>
                  <a:lnTo>
                    <a:pt x="377" y="136"/>
                  </a:lnTo>
                  <a:lnTo>
                    <a:pt x="378" y="135"/>
                  </a:lnTo>
                  <a:lnTo>
                    <a:pt x="380" y="133"/>
                  </a:lnTo>
                  <a:lnTo>
                    <a:pt x="380" y="135"/>
                  </a:lnTo>
                  <a:lnTo>
                    <a:pt x="380" y="137"/>
                  </a:lnTo>
                  <a:lnTo>
                    <a:pt x="383" y="137"/>
                  </a:lnTo>
                  <a:lnTo>
                    <a:pt x="381" y="136"/>
                  </a:lnTo>
                  <a:lnTo>
                    <a:pt x="381" y="135"/>
                  </a:lnTo>
                  <a:lnTo>
                    <a:pt x="383" y="135"/>
                  </a:lnTo>
                  <a:lnTo>
                    <a:pt x="384" y="135"/>
                  </a:lnTo>
                  <a:lnTo>
                    <a:pt x="385" y="135"/>
                  </a:lnTo>
                  <a:lnTo>
                    <a:pt x="386" y="135"/>
                  </a:lnTo>
                  <a:lnTo>
                    <a:pt x="385" y="136"/>
                  </a:lnTo>
                  <a:lnTo>
                    <a:pt x="386" y="135"/>
                  </a:lnTo>
                  <a:lnTo>
                    <a:pt x="385" y="131"/>
                  </a:lnTo>
                  <a:lnTo>
                    <a:pt x="383" y="132"/>
                  </a:lnTo>
                  <a:lnTo>
                    <a:pt x="381" y="133"/>
                  </a:lnTo>
                  <a:lnTo>
                    <a:pt x="380" y="132"/>
                  </a:lnTo>
                  <a:lnTo>
                    <a:pt x="380" y="131"/>
                  </a:lnTo>
                  <a:lnTo>
                    <a:pt x="379" y="130"/>
                  </a:lnTo>
                  <a:lnTo>
                    <a:pt x="381" y="130"/>
                  </a:lnTo>
                  <a:lnTo>
                    <a:pt x="385" y="130"/>
                  </a:lnTo>
                  <a:lnTo>
                    <a:pt x="387" y="130"/>
                  </a:lnTo>
                  <a:lnTo>
                    <a:pt x="386" y="131"/>
                  </a:lnTo>
                  <a:lnTo>
                    <a:pt x="387" y="133"/>
                  </a:lnTo>
                  <a:lnTo>
                    <a:pt x="389" y="133"/>
                  </a:lnTo>
                  <a:lnTo>
                    <a:pt x="389" y="132"/>
                  </a:lnTo>
                  <a:lnTo>
                    <a:pt x="390" y="132"/>
                  </a:lnTo>
                  <a:lnTo>
                    <a:pt x="391" y="131"/>
                  </a:lnTo>
                  <a:lnTo>
                    <a:pt x="391" y="130"/>
                  </a:lnTo>
                  <a:lnTo>
                    <a:pt x="392" y="131"/>
                  </a:lnTo>
                  <a:lnTo>
                    <a:pt x="392" y="132"/>
                  </a:lnTo>
                  <a:lnTo>
                    <a:pt x="393" y="132"/>
                  </a:lnTo>
                  <a:lnTo>
                    <a:pt x="392" y="135"/>
                  </a:lnTo>
                  <a:lnTo>
                    <a:pt x="392" y="136"/>
                  </a:lnTo>
                  <a:lnTo>
                    <a:pt x="395" y="135"/>
                  </a:lnTo>
                  <a:lnTo>
                    <a:pt x="396" y="133"/>
                  </a:lnTo>
                  <a:lnTo>
                    <a:pt x="397" y="132"/>
                  </a:lnTo>
                  <a:lnTo>
                    <a:pt x="399" y="132"/>
                  </a:lnTo>
                  <a:lnTo>
                    <a:pt x="396" y="136"/>
                  </a:lnTo>
                  <a:lnTo>
                    <a:pt x="395" y="138"/>
                  </a:lnTo>
                  <a:lnTo>
                    <a:pt x="393" y="142"/>
                  </a:lnTo>
                  <a:lnTo>
                    <a:pt x="395" y="143"/>
                  </a:lnTo>
                  <a:lnTo>
                    <a:pt x="396" y="141"/>
                  </a:lnTo>
                  <a:lnTo>
                    <a:pt x="397" y="138"/>
                  </a:lnTo>
                  <a:lnTo>
                    <a:pt x="397" y="137"/>
                  </a:lnTo>
                  <a:lnTo>
                    <a:pt x="398" y="136"/>
                  </a:lnTo>
                  <a:lnTo>
                    <a:pt x="399" y="137"/>
                  </a:lnTo>
                  <a:lnTo>
                    <a:pt x="401" y="137"/>
                  </a:lnTo>
                  <a:lnTo>
                    <a:pt x="401" y="138"/>
                  </a:lnTo>
                  <a:lnTo>
                    <a:pt x="401" y="139"/>
                  </a:lnTo>
                  <a:lnTo>
                    <a:pt x="401" y="141"/>
                  </a:lnTo>
                  <a:lnTo>
                    <a:pt x="399" y="142"/>
                  </a:lnTo>
                  <a:lnTo>
                    <a:pt x="399" y="144"/>
                  </a:lnTo>
                  <a:lnTo>
                    <a:pt x="401" y="143"/>
                  </a:lnTo>
                  <a:lnTo>
                    <a:pt x="403" y="142"/>
                  </a:lnTo>
                  <a:lnTo>
                    <a:pt x="406" y="142"/>
                  </a:lnTo>
                  <a:lnTo>
                    <a:pt x="407" y="143"/>
                  </a:lnTo>
                  <a:lnTo>
                    <a:pt x="408" y="142"/>
                  </a:lnTo>
                  <a:lnTo>
                    <a:pt x="408" y="143"/>
                  </a:lnTo>
                  <a:lnTo>
                    <a:pt x="409" y="143"/>
                  </a:lnTo>
                  <a:lnTo>
                    <a:pt x="408" y="144"/>
                  </a:lnTo>
                  <a:lnTo>
                    <a:pt x="404" y="146"/>
                  </a:lnTo>
                  <a:lnTo>
                    <a:pt x="403" y="146"/>
                  </a:lnTo>
                  <a:lnTo>
                    <a:pt x="399" y="146"/>
                  </a:lnTo>
                  <a:lnTo>
                    <a:pt x="401" y="147"/>
                  </a:lnTo>
                  <a:lnTo>
                    <a:pt x="402" y="147"/>
                  </a:lnTo>
                  <a:lnTo>
                    <a:pt x="403" y="146"/>
                  </a:lnTo>
                  <a:lnTo>
                    <a:pt x="404" y="147"/>
                  </a:lnTo>
                  <a:lnTo>
                    <a:pt x="406" y="147"/>
                  </a:lnTo>
                  <a:lnTo>
                    <a:pt x="407" y="147"/>
                  </a:lnTo>
                  <a:lnTo>
                    <a:pt x="408" y="148"/>
                  </a:lnTo>
                  <a:lnTo>
                    <a:pt x="409" y="147"/>
                  </a:lnTo>
                  <a:lnTo>
                    <a:pt x="410" y="148"/>
                  </a:lnTo>
                  <a:lnTo>
                    <a:pt x="410" y="147"/>
                  </a:lnTo>
                  <a:lnTo>
                    <a:pt x="410" y="143"/>
                  </a:lnTo>
                  <a:lnTo>
                    <a:pt x="412" y="142"/>
                  </a:lnTo>
                  <a:lnTo>
                    <a:pt x="413" y="141"/>
                  </a:lnTo>
                  <a:lnTo>
                    <a:pt x="410" y="141"/>
                  </a:lnTo>
                  <a:lnTo>
                    <a:pt x="410" y="139"/>
                  </a:lnTo>
                  <a:lnTo>
                    <a:pt x="412" y="137"/>
                  </a:lnTo>
                  <a:lnTo>
                    <a:pt x="414" y="137"/>
                  </a:lnTo>
                  <a:lnTo>
                    <a:pt x="415" y="135"/>
                  </a:lnTo>
                  <a:lnTo>
                    <a:pt x="415" y="136"/>
                  </a:lnTo>
                  <a:lnTo>
                    <a:pt x="415" y="138"/>
                  </a:lnTo>
                  <a:lnTo>
                    <a:pt x="415" y="139"/>
                  </a:lnTo>
                  <a:lnTo>
                    <a:pt x="416" y="141"/>
                  </a:lnTo>
                  <a:lnTo>
                    <a:pt x="416" y="143"/>
                  </a:lnTo>
                  <a:lnTo>
                    <a:pt x="418" y="143"/>
                  </a:lnTo>
                  <a:lnTo>
                    <a:pt x="419" y="144"/>
                  </a:lnTo>
                  <a:lnTo>
                    <a:pt x="418" y="144"/>
                  </a:lnTo>
                  <a:lnTo>
                    <a:pt x="419" y="146"/>
                  </a:lnTo>
                  <a:lnTo>
                    <a:pt x="421" y="147"/>
                  </a:lnTo>
                  <a:lnTo>
                    <a:pt x="422" y="147"/>
                  </a:lnTo>
                  <a:lnTo>
                    <a:pt x="421" y="146"/>
                  </a:lnTo>
                  <a:lnTo>
                    <a:pt x="422" y="146"/>
                  </a:lnTo>
                  <a:lnTo>
                    <a:pt x="426" y="146"/>
                  </a:lnTo>
                  <a:lnTo>
                    <a:pt x="424" y="147"/>
                  </a:lnTo>
                  <a:lnTo>
                    <a:pt x="422" y="148"/>
                  </a:lnTo>
                  <a:lnTo>
                    <a:pt x="424" y="147"/>
                  </a:lnTo>
                  <a:lnTo>
                    <a:pt x="426" y="148"/>
                  </a:lnTo>
                  <a:lnTo>
                    <a:pt x="427" y="149"/>
                  </a:lnTo>
                  <a:lnTo>
                    <a:pt x="426" y="150"/>
                  </a:lnTo>
                  <a:lnTo>
                    <a:pt x="425" y="152"/>
                  </a:lnTo>
                  <a:lnTo>
                    <a:pt x="425" y="153"/>
                  </a:lnTo>
                  <a:lnTo>
                    <a:pt x="422" y="152"/>
                  </a:lnTo>
                  <a:lnTo>
                    <a:pt x="421" y="153"/>
                  </a:lnTo>
                  <a:lnTo>
                    <a:pt x="420" y="154"/>
                  </a:lnTo>
                  <a:lnTo>
                    <a:pt x="421" y="154"/>
                  </a:lnTo>
                  <a:lnTo>
                    <a:pt x="420" y="155"/>
                  </a:lnTo>
                  <a:lnTo>
                    <a:pt x="419" y="158"/>
                  </a:lnTo>
                  <a:lnTo>
                    <a:pt x="419" y="159"/>
                  </a:lnTo>
                  <a:lnTo>
                    <a:pt x="418" y="159"/>
                  </a:lnTo>
                  <a:lnTo>
                    <a:pt x="418" y="161"/>
                  </a:lnTo>
                  <a:lnTo>
                    <a:pt x="419" y="162"/>
                  </a:lnTo>
                  <a:lnTo>
                    <a:pt x="420" y="162"/>
                  </a:lnTo>
                  <a:lnTo>
                    <a:pt x="422" y="161"/>
                  </a:lnTo>
                  <a:lnTo>
                    <a:pt x="425" y="160"/>
                  </a:lnTo>
                  <a:lnTo>
                    <a:pt x="427" y="160"/>
                  </a:lnTo>
                  <a:lnTo>
                    <a:pt x="425" y="161"/>
                  </a:lnTo>
                  <a:lnTo>
                    <a:pt x="422" y="164"/>
                  </a:lnTo>
                  <a:lnTo>
                    <a:pt x="424" y="164"/>
                  </a:lnTo>
                  <a:lnTo>
                    <a:pt x="424" y="165"/>
                  </a:lnTo>
                  <a:lnTo>
                    <a:pt x="427" y="165"/>
                  </a:lnTo>
                  <a:lnTo>
                    <a:pt x="430" y="165"/>
                  </a:lnTo>
                  <a:lnTo>
                    <a:pt x="431" y="164"/>
                  </a:lnTo>
                  <a:lnTo>
                    <a:pt x="432" y="162"/>
                  </a:lnTo>
                  <a:lnTo>
                    <a:pt x="432" y="161"/>
                  </a:lnTo>
                  <a:lnTo>
                    <a:pt x="434" y="159"/>
                  </a:lnTo>
                  <a:lnTo>
                    <a:pt x="437" y="159"/>
                  </a:lnTo>
                  <a:lnTo>
                    <a:pt x="437" y="160"/>
                  </a:lnTo>
                  <a:lnTo>
                    <a:pt x="438" y="160"/>
                  </a:lnTo>
                  <a:lnTo>
                    <a:pt x="437" y="161"/>
                  </a:lnTo>
                  <a:lnTo>
                    <a:pt x="434" y="162"/>
                  </a:lnTo>
                  <a:lnTo>
                    <a:pt x="434" y="165"/>
                  </a:lnTo>
                  <a:lnTo>
                    <a:pt x="436" y="166"/>
                  </a:lnTo>
                  <a:lnTo>
                    <a:pt x="438" y="167"/>
                  </a:lnTo>
                  <a:lnTo>
                    <a:pt x="437" y="168"/>
                  </a:lnTo>
                  <a:lnTo>
                    <a:pt x="438" y="170"/>
                  </a:lnTo>
                  <a:lnTo>
                    <a:pt x="438" y="172"/>
                  </a:lnTo>
                  <a:lnTo>
                    <a:pt x="437" y="172"/>
                  </a:lnTo>
                  <a:lnTo>
                    <a:pt x="437" y="174"/>
                  </a:lnTo>
                  <a:lnTo>
                    <a:pt x="437" y="176"/>
                  </a:lnTo>
                  <a:lnTo>
                    <a:pt x="438" y="177"/>
                  </a:lnTo>
                  <a:lnTo>
                    <a:pt x="439" y="174"/>
                  </a:lnTo>
                  <a:lnTo>
                    <a:pt x="442" y="173"/>
                  </a:lnTo>
                  <a:lnTo>
                    <a:pt x="439" y="173"/>
                  </a:lnTo>
                  <a:lnTo>
                    <a:pt x="439" y="172"/>
                  </a:lnTo>
                  <a:lnTo>
                    <a:pt x="442" y="171"/>
                  </a:lnTo>
                  <a:lnTo>
                    <a:pt x="444" y="171"/>
                  </a:lnTo>
                  <a:lnTo>
                    <a:pt x="444" y="170"/>
                  </a:lnTo>
                  <a:lnTo>
                    <a:pt x="444" y="167"/>
                  </a:lnTo>
                  <a:lnTo>
                    <a:pt x="446" y="165"/>
                  </a:lnTo>
                  <a:lnTo>
                    <a:pt x="445" y="168"/>
                  </a:lnTo>
                  <a:lnTo>
                    <a:pt x="446" y="170"/>
                  </a:lnTo>
                  <a:lnTo>
                    <a:pt x="448" y="170"/>
                  </a:lnTo>
                  <a:lnTo>
                    <a:pt x="446" y="171"/>
                  </a:lnTo>
                  <a:lnTo>
                    <a:pt x="445" y="173"/>
                  </a:lnTo>
                  <a:lnTo>
                    <a:pt x="446" y="174"/>
                  </a:lnTo>
                  <a:lnTo>
                    <a:pt x="446" y="177"/>
                  </a:lnTo>
                  <a:lnTo>
                    <a:pt x="448" y="179"/>
                  </a:lnTo>
                  <a:lnTo>
                    <a:pt x="446" y="182"/>
                  </a:lnTo>
                  <a:lnTo>
                    <a:pt x="444" y="182"/>
                  </a:lnTo>
                  <a:lnTo>
                    <a:pt x="440" y="180"/>
                  </a:lnTo>
                  <a:lnTo>
                    <a:pt x="438" y="180"/>
                  </a:lnTo>
                  <a:lnTo>
                    <a:pt x="436" y="182"/>
                  </a:lnTo>
                  <a:lnTo>
                    <a:pt x="434" y="184"/>
                  </a:lnTo>
                  <a:lnTo>
                    <a:pt x="436" y="183"/>
                  </a:lnTo>
                  <a:lnTo>
                    <a:pt x="438" y="184"/>
                  </a:lnTo>
                  <a:lnTo>
                    <a:pt x="438" y="185"/>
                  </a:lnTo>
                  <a:lnTo>
                    <a:pt x="440" y="185"/>
                  </a:lnTo>
                  <a:lnTo>
                    <a:pt x="440" y="186"/>
                  </a:lnTo>
                  <a:lnTo>
                    <a:pt x="443" y="186"/>
                  </a:lnTo>
                  <a:lnTo>
                    <a:pt x="445" y="188"/>
                  </a:lnTo>
                  <a:lnTo>
                    <a:pt x="446" y="188"/>
                  </a:lnTo>
                  <a:lnTo>
                    <a:pt x="448" y="186"/>
                  </a:lnTo>
                  <a:lnTo>
                    <a:pt x="448" y="188"/>
                  </a:lnTo>
                  <a:lnTo>
                    <a:pt x="448" y="189"/>
                  </a:lnTo>
                  <a:lnTo>
                    <a:pt x="448" y="190"/>
                  </a:lnTo>
                  <a:lnTo>
                    <a:pt x="446" y="190"/>
                  </a:lnTo>
                  <a:lnTo>
                    <a:pt x="448" y="192"/>
                  </a:lnTo>
                  <a:lnTo>
                    <a:pt x="446" y="192"/>
                  </a:lnTo>
                  <a:lnTo>
                    <a:pt x="445" y="194"/>
                  </a:lnTo>
                  <a:lnTo>
                    <a:pt x="445" y="195"/>
                  </a:lnTo>
                  <a:lnTo>
                    <a:pt x="444" y="195"/>
                  </a:lnTo>
                  <a:lnTo>
                    <a:pt x="444" y="196"/>
                  </a:lnTo>
                  <a:lnTo>
                    <a:pt x="443" y="196"/>
                  </a:lnTo>
                  <a:lnTo>
                    <a:pt x="442" y="197"/>
                  </a:lnTo>
                  <a:lnTo>
                    <a:pt x="440" y="198"/>
                  </a:lnTo>
                  <a:lnTo>
                    <a:pt x="439" y="198"/>
                  </a:lnTo>
                  <a:lnTo>
                    <a:pt x="438" y="197"/>
                  </a:lnTo>
                  <a:lnTo>
                    <a:pt x="437" y="198"/>
                  </a:lnTo>
                  <a:lnTo>
                    <a:pt x="436" y="197"/>
                  </a:lnTo>
                  <a:lnTo>
                    <a:pt x="436" y="198"/>
                  </a:lnTo>
                  <a:lnTo>
                    <a:pt x="438" y="200"/>
                  </a:lnTo>
                  <a:lnTo>
                    <a:pt x="439" y="201"/>
                  </a:lnTo>
                  <a:lnTo>
                    <a:pt x="440" y="204"/>
                  </a:lnTo>
                  <a:lnTo>
                    <a:pt x="440" y="206"/>
                  </a:lnTo>
                  <a:lnTo>
                    <a:pt x="439" y="203"/>
                  </a:lnTo>
                  <a:lnTo>
                    <a:pt x="438" y="202"/>
                  </a:lnTo>
                  <a:lnTo>
                    <a:pt x="437" y="202"/>
                  </a:lnTo>
                  <a:lnTo>
                    <a:pt x="436" y="203"/>
                  </a:lnTo>
                  <a:lnTo>
                    <a:pt x="436" y="202"/>
                  </a:lnTo>
                  <a:lnTo>
                    <a:pt x="434" y="202"/>
                  </a:lnTo>
                  <a:lnTo>
                    <a:pt x="434" y="201"/>
                  </a:lnTo>
                  <a:lnTo>
                    <a:pt x="434" y="200"/>
                  </a:lnTo>
                  <a:lnTo>
                    <a:pt x="433" y="201"/>
                  </a:lnTo>
                  <a:lnTo>
                    <a:pt x="432" y="202"/>
                  </a:lnTo>
                  <a:lnTo>
                    <a:pt x="431" y="201"/>
                  </a:lnTo>
                  <a:lnTo>
                    <a:pt x="431" y="202"/>
                  </a:lnTo>
                  <a:lnTo>
                    <a:pt x="430" y="203"/>
                  </a:lnTo>
                  <a:lnTo>
                    <a:pt x="428" y="201"/>
                  </a:lnTo>
                  <a:lnTo>
                    <a:pt x="428" y="198"/>
                  </a:lnTo>
                  <a:lnTo>
                    <a:pt x="427" y="198"/>
                  </a:lnTo>
                  <a:lnTo>
                    <a:pt x="426" y="198"/>
                  </a:lnTo>
                  <a:lnTo>
                    <a:pt x="427" y="195"/>
                  </a:lnTo>
                  <a:lnTo>
                    <a:pt x="427" y="192"/>
                  </a:lnTo>
                  <a:lnTo>
                    <a:pt x="425" y="194"/>
                  </a:lnTo>
                  <a:lnTo>
                    <a:pt x="422" y="196"/>
                  </a:lnTo>
                  <a:lnTo>
                    <a:pt x="419" y="198"/>
                  </a:lnTo>
                  <a:lnTo>
                    <a:pt x="419" y="200"/>
                  </a:lnTo>
                  <a:lnTo>
                    <a:pt x="420" y="200"/>
                  </a:lnTo>
                  <a:lnTo>
                    <a:pt x="420" y="201"/>
                  </a:lnTo>
                  <a:lnTo>
                    <a:pt x="419" y="202"/>
                  </a:lnTo>
                  <a:lnTo>
                    <a:pt x="421" y="204"/>
                  </a:lnTo>
                  <a:lnTo>
                    <a:pt x="422" y="206"/>
                  </a:lnTo>
                  <a:lnTo>
                    <a:pt x="426" y="209"/>
                  </a:lnTo>
                  <a:lnTo>
                    <a:pt x="427" y="208"/>
                  </a:lnTo>
                  <a:lnTo>
                    <a:pt x="428" y="207"/>
                  </a:lnTo>
                  <a:lnTo>
                    <a:pt x="430" y="206"/>
                  </a:lnTo>
                  <a:lnTo>
                    <a:pt x="431" y="207"/>
                  </a:lnTo>
                  <a:lnTo>
                    <a:pt x="431" y="208"/>
                  </a:lnTo>
                  <a:lnTo>
                    <a:pt x="433" y="209"/>
                  </a:lnTo>
                  <a:lnTo>
                    <a:pt x="433" y="212"/>
                  </a:lnTo>
                  <a:lnTo>
                    <a:pt x="434" y="214"/>
                  </a:lnTo>
                  <a:lnTo>
                    <a:pt x="438" y="214"/>
                  </a:lnTo>
                  <a:lnTo>
                    <a:pt x="438" y="213"/>
                  </a:lnTo>
                  <a:lnTo>
                    <a:pt x="437" y="213"/>
                  </a:lnTo>
                  <a:lnTo>
                    <a:pt x="439" y="210"/>
                  </a:lnTo>
                  <a:lnTo>
                    <a:pt x="442" y="209"/>
                  </a:lnTo>
                  <a:lnTo>
                    <a:pt x="443" y="208"/>
                  </a:lnTo>
                  <a:lnTo>
                    <a:pt x="444" y="208"/>
                  </a:lnTo>
                  <a:lnTo>
                    <a:pt x="444" y="210"/>
                  </a:lnTo>
                  <a:lnTo>
                    <a:pt x="442" y="213"/>
                  </a:lnTo>
                  <a:lnTo>
                    <a:pt x="440" y="214"/>
                  </a:lnTo>
                  <a:lnTo>
                    <a:pt x="439" y="215"/>
                  </a:lnTo>
                  <a:lnTo>
                    <a:pt x="434" y="215"/>
                  </a:lnTo>
                  <a:lnTo>
                    <a:pt x="434" y="216"/>
                  </a:lnTo>
                  <a:lnTo>
                    <a:pt x="433" y="216"/>
                  </a:lnTo>
                  <a:lnTo>
                    <a:pt x="433" y="219"/>
                  </a:lnTo>
                  <a:lnTo>
                    <a:pt x="434" y="219"/>
                  </a:lnTo>
                  <a:lnTo>
                    <a:pt x="433" y="221"/>
                  </a:lnTo>
                  <a:lnTo>
                    <a:pt x="433" y="222"/>
                  </a:lnTo>
                  <a:lnTo>
                    <a:pt x="432" y="220"/>
                  </a:lnTo>
                  <a:lnTo>
                    <a:pt x="431" y="218"/>
                  </a:lnTo>
                  <a:lnTo>
                    <a:pt x="431" y="216"/>
                  </a:lnTo>
                  <a:lnTo>
                    <a:pt x="430" y="218"/>
                  </a:lnTo>
                  <a:lnTo>
                    <a:pt x="430" y="219"/>
                  </a:lnTo>
                  <a:lnTo>
                    <a:pt x="427" y="220"/>
                  </a:lnTo>
                  <a:lnTo>
                    <a:pt x="426" y="219"/>
                  </a:lnTo>
                  <a:lnTo>
                    <a:pt x="426" y="216"/>
                  </a:lnTo>
                  <a:lnTo>
                    <a:pt x="425" y="218"/>
                  </a:lnTo>
                  <a:lnTo>
                    <a:pt x="424" y="220"/>
                  </a:lnTo>
                  <a:lnTo>
                    <a:pt x="422" y="221"/>
                  </a:lnTo>
                  <a:lnTo>
                    <a:pt x="422" y="220"/>
                  </a:lnTo>
                  <a:lnTo>
                    <a:pt x="421" y="218"/>
                  </a:lnTo>
                  <a:lnTo>
                    <a:pt x="422" y="215"/>
                  </a:lnTo>
                  <a:lnTo>
                    <a:pt x="421" y="215"/>
                  </a:lnTo>
                  <a:lnTo>
                    <a:pt x="420" y="215"/>
                  </a:lnTo>
                  <a:lnTo>
                    <a:pt x="418" y="216"/>
                  </a:lnTo>
                  <a:lnTo>
                    <a:pt x="418" y="214"/>
                  </a:lnTo>
                  <a:lnTo>
                    <a:pt x="418" y="212"/>
                  </a:lnTo>
                  <a:lnTo>
                    <a:pt x="416" y="212"/>
                  </a:lnTo>
                  <a:lnTo>
                    <a:pt x="418" y="210"/>
                  </a:lnTo>
                  <a:lnTo>
                    <a:pt x="416" y="208"/>
                  </a:lnTo>
                  <a:lnTo>
                    <a:pt x="415" y="208"/>
                  </a:lnTo>
                  <a:lnTo>
                    <a:pt x="415" y="210"/>
                  </a:lnTo>
                  <a:lnTo>
                    <a:pt x="414" y="209"/>
                  </a:lnTo>
                  <a:lnTo>
                    <a:pt x="415" y="207"/>
                  </a:lnTo>
                  <a:lnTo>
                    <a:pt x="413" y="207"/>
                  </a:lnTo>
                  <a:lnTo>
                    <a:pt x="413" y="209"/>
                  </a:lnTo>
                  <a:lnTo>
                    <a:pt x="413" y="210"/>
                  </a:lnTo>
                  <a:lnTo>
                    <a:pt x="413" y="212"/>
                  </a:lnTo>
                  <a:lnTo>
                    <a:pt x="413" y="214"/>
                  </a:lnTo>
                  <a:lnTo>
                    <a:pt x="414" y="215"/>
                  </a:lnTo>
                  <a:lnTo>
                    <a:pt x="414" y="219"/>
                  </a:lnTo>
                  <a:lnTo>
                    <a:pt x="413" y="220"/>
                  </a:lnTo>
                  <a:lnTo>
                    <a:pt x="414" y="221"/>
                  </a:lnTo>
                  <a:lnTo>
                    <a:pt x="416" y="224"/>
                  </a:lnTo>
                  <a:lnTo>
                    <a:pt x="418" y="224"/>
                  </a:lnTo>
                  <a:lnTo>
                    <a:pt x="418" y="221"/>
                  </a:lnTo>
                  <a:lnTo>
                    <a:pt x="420" y="221"/>
                  </a:lnTo>
                  <a:lnTo>
                    <a:pt x="421" y="224"/>
                  </a:lnTo>
                  <a:lnTo>
                    <a:pt x="424" y="224"/>
                  </a:lnTo>
                  <a:lnTo>
                    <a:pt x="421" y="225"/>
                  </a:lnTo>
                  <a:lnTo>
                    <a:pt x="424" y="226"/>
                  </a:lnTo>
                  <a:lnTo>
                    <a:pt x="421" y="227"/>
                  </a:lnTo>
                  <a:lnTo>
                    <a:pt x="418" y="226"/>
                  </a:lnTo>
                  <a:lnTo>
                    <a:pt x="416" y="226"/>
                  </a:lnTo>
                  <a:lnTo>
                    <a:pt x="415" y="226"/>
                  </a:lnTo>
                  <a:lnTo>
                    <a:pt x="413" y="225"/>
                  </a:lnTo>
                  <a:lnTo>
                    <a:pt x="410" y="226"/>
                  </a:lnTo>
                  <a:lnTo>
                    <a:pt x="408" y="228"/>
                  </a:lnTo>
                  <a:lnTo>
                    <a:pt x="407" y="226"/>
                  </a:lnTo>
                  <a:lnTo>
                    <a:pt x="406" y="228"/>
                  </a:lnTo>
                  <a:lnTo>
                    <a:pt x="406" y="226"/>
                  </a:lnTo>
                  <a:lnTo>
                    <a:pt x="403" y="225"/>
                  </a:lnTo>
                  <a:lnTo>
                    <a:pt x="403" y="226"/>
                  </a:lnTo>
                  <a:lnTo>
                    <a:pt x="403" y="227"/>
                  </a:lnTo>
                  <a:lnTo>
                    <a:pt x="402" y="227"/>
                  </a:lnTo>
                  <a:lnTo>
                    <a:pt x="402" y="230"/>
                  </a:lnTo>
                  <a:lnTo>
                    <a:pt x="403" y="231"/>
                  </a:lnTo>
                  <a:lnTo>
                    <a:pt x="402" y="231"/>
                  </a:lnTo>
                  <a:lnTo>
                    <a:pt x="401" y="232"/>
                  </a:lnTo>
                  <a:lnTo>
                    <a:pt x="401" y="231"/>
                  </a:lnTo>
                  <a:lnTo>
                    <a:pt x="399" y="228"/>
                  </a:lnTo>
                  <a:lnTo>
                    <a:pt x="399" y="230"/>
                  </a:lnTo>
                  <a:lnTo>
                    <a:pt x="399" y="227"/>
                  </a:lnTo>
                  <a:lnTo>
                    <a:pt x="398" y="228"/>
                  </a:lnTo>
                  <a:lnTo>
                    <a:pt x="397" y="230"/>
                  </a:lnTo>
                  <a:lnTo>
                    <a:pt x="397" y="228"/>
                  </a:lnTo>
                  <a:lnTo>
                    <a:pt x="396" y="228"/>
                  </a:lnTo>
                  <a:lnTo>
                    <a:pt x="395" y="227"/>
                  </a:lnTo>
                  <a:lnTo>
                    <a:pt x="393" y="227"/>
                  </a:lnTo>
                  <a:lnTo>
                    <a:pt x="393" y="226"/>
                  </a:lnTo>
                  <a:lnTo>
                    <a:pt x="392" y="226"/>
                  </a:lnTo>
                  <a:lnTo>
                    <a:pt x="391" y="227"/>
                  </a:lnTo>
                  <a:lnTo>
                    <a:pt x="390" y="230"/>
                  </a:lnTo>
                  <a:lnTo>
                    <a:pt x="389" y="231"/>
                  </a:lnTo>
                  <a:lnTo>
                    <a:pt x="389" y="232"/>
                  </a:lnTo>
                  <a:lnTo>
                    <a:pt x="387" y="230"/>
                  </a:lnTo>
                  <a:lnTo>
                    <a:pt x="386" y="230"/>
                  </a:lnTo>
                  <a:lnTo>
                    <a:pt x="384" y="230"/>
                  </a:lnTo>
                  <a:lnTo>
                    <a:pt x="383" y="230"/>
                  </a:lnTo>
                  <a:lnTo>
                    <a:pt x="380" y="230"/>
                  </a:lnTo>
                  <a:lnTo>
                    <a:pt x="379" y="231"/>
                  </a:lnTo>
                  <a:lnTo>
                    <a:pt x="379" y="233"/>
                  </a:lnTo>
                  <a:lnTo>
                    <a:pt x="378" y="233"/>
                  </a:lnTo>
                  <a:lnTo>
                    <a:pt x="377" y="231"/>
                  </a:lnTo>
                  <a:lnTo>
                    <a:pt x="377" y="232"/>
                  </a:lnTo>
                  <a:lnTo>
                    <a:pt x="375" y="233"/>
                  </a:lnTo>
                  <a:lnTo>
                    <a:pt x="377" y="234"/>
                  </a:lnTo>
                  <a:lnTo>
                    <a:pt x="377" y="237"/>
                  </a:lnTo>
                  <a:lnTo>
                    <a:pt x="378" y="238"/>
                  </a:lnTo>
                  <a:lnTo>
                    <a:pt x="379" y="238"/>
                  </a:lnTo>
                  <a:lnTo>
                    <a:pt x="380" y="237"/>
                  </a:lnTo>
                  <a:lnTo>
                    <a:pt x="381" y="238"/>
                  </a:lnTo>
                  <a:lnTo>
                    <a:pt x="381" y="236"/>
                  </a:lnTo>
                  <a:lnTo>
                    <a:pt x="381" y="234"/>
                  </a:lnTo>
                  <a:lnTo>
                    <a:pt x="384" y="236"/>
                  </a:lnTo>
                  <a:lnTo>
                    <a:pt x="384" y="237"/>
                  </a:lnTo>
                  <a:lnTo>
                    <a:pt x="386" y="237"/>
                  </a:lnTo>
                  <a:lnTo>
                    <a:pt x="386" y="239"/>
                  </a:lnTo>
                  <a:lnTo>
                    <a:pt x="386" y="238"/>
                  </a:lnTo>
                  <a:lnTo>
                    <a:pt x="385" y="239"/>
                  </a:lnTo>
                  <a:lnTo>
                    <a:pt x="386" y="240"/>
                  </a:lnTo>
                  <a:lnTo>
                    <a:pt x="385" y="240"/>
                  </a:lnTo>
                  <a:lnTo>
                    <a:pt x="384" y="242"/>
                  </a:lnTo>
                  <a:lnTo>
                    <a:pt x="385" y="243"/>
                  </a:lnTo>
                  <a:lnTo>
                    <a:pt x="386" y="242"/>
                  </a:lnTo>
                  <a:lnTo>
                    <a:pt x="387" y="240"/>
                  </a:lnTo>
                  <a:lnTo>
                    <a:pt x="387" y="243"/>
                  </a:lnTo>
                  <a:lnTo>
                    <a:pt x="387" y="245"/>
                  </a:lnTo>
                  <a:lnTo>
                    <a:pt x="386" y="245"/>
                  </a:lnTo>
                  <a:lnTo>
                    <a:pt x="385" y="246"/>
                  </a:lnTo>
                  <a:lnTo>
                    <a:pt x="387" y="246"/>
                  </a:lnTo>
                  <a:lnTo>
                    <a:pt x="389" y="246"/>
                  </a:lnTo>
                  <a:lnTo>
                    <a:pt x="390" y="246"/>
                  </a:lnTo>
                  <a:lnTo>
                    <a:pt x="391" y="249"/>
                  </a:lnTo>
                  <a:lnTo>
                    <a:pt x="391" y="250"/>
                  </a:lnTo>
                  <a:lnTo>
                    <a:pt x="392" y="251"/>
                  </a:lnTo>
                  <a:lnTo>
                    <a:pt x="393" y="251"/>
                  </a:lnTo>
                  <a:lnTo>
                    <a:pt x="395" y="251"/>
                  </a:lnTo>
                  <a:lnTo>
                    <a:pt x="396" y="253"/>
                  </a:lnTo>
                  <a:lnTo>
                    <a:pt x="396" y="251"/>
                  </a:lnTo>
                  <a:lnTo>
                    <a:pt x="396" y="250"/>
                  </a:lnTo>
                  <a:lnTo>
                    <a:pt x="397" y="249"/>
                  </a:lnTo>
                  <a:lnTo>
                    <a:pt x="398" y="248"/>
                  </a:lnTo>
                  <a:lnTo>
                    <a:pt x="401" y="248"/>
                  </a:lnTo>
                  <a:lnTo>
                    <a:pt x="399" y="250"/>
                  </a:lnTo>
                  <a:lnTo>
                    <a:pt x="399" y="253"/>
                  </a:lnTo>
                  <a:lnTo>
                    <a:pt x="401" y="255"/>
                  </a:lnTo>
                  <a:lnTo>
                    <a:pt x="401" y="256"/>
                  </a:lnTo>
                  <a:lnTo>
                    <a:pt x="401" y="257"/>
                  </a:lnTo>
                  <a:lnTo>
                    <a:pt x="402" y="256"/>
                  </a:lnTo>
                  <a:lnTo>
                    <a:pt x="403" y="257"/>
                  </a:lnTo>
                  <a:lnTo>
                    <a:pt x="402" y="260"/>
                  </a:lnTo>
                  <a:lnTo>
                    <a:pt x="402" y="262"/>
                  </a:lnTo>
                  <a:lnTo>
                    <a:pt x="404" y="262"/>
                  </a:lnTo>
                  <a:lnTo>
                    <a:pt x="406" y="261"/>
                  </a:lnTo>
                  <a:lnTo>
                    <a:pt x="407" y="261"/>
                  </a:lnTo>
                  <a:lnTo>
                    <a:pt x="408" y="262"/>
                  </a:lnTo>
                  <a:lnTo>
                    <a:pt x="409" y="262"/>
                  </a:lnTo>
                  <a:lnTo>
                    <a:pt x="408" y="262"/>
                  </a:lnTo>
                  <a:lnTo>
                    <a:pt x="409" y="262"/>
                  </a:lnTo>
                  <a:lnTo>
                    <a:pt x="410" y="261"/>
                  </a:lnTo>
                  <a:lnTo>
                    <a:pt x="410" y="260"/>
                  </a:lnTo>
                  <a:lnTo>
                    <a:pt x="412" y="261"/>
                  </a:lnTo>
                  <a:lnTo>
                    <a:pt x="413" y="262"/>
                  </a:lnTo>
                  <a:lnTo>
                    <a:pt x="412" y="263"/>
                  </a:lnTo>
                  <a:lnTo>
                    <a:pt x="413" y="263"/>
                  </a:lnTo>
                  <a:lnTo>
                    <a:pt x="416" y="266"/>
                  </a:lnTo>
                  <a:lnTo>
                    <a:pt x="415" y="266"/>
                  </a:lnTo>
                  <a:lnTo>
                    <a:pt x="414" y="267"/>
                  </a:lnTo>
                  <a:lnTo>
                    <a:pt x="416" y="268"/>
                  </a:lnTo>
                  <a:lnTo>
                    <a:pt x="416" y="273"/>
                  </a:lnTo>
                  <a:lnTo>
                    <a:pt x="415" y="275"/>
                  </a:lnTo>
                  <a:lnTo>
                    <a:pt x="414" y="274"/>
                  </a:lnTo>
                  <a:lnTo>
                    <a:pt x="414" y="275"/>
                  </a:lnTo>
                  <a:lnTo>
                    <a:pt x="410" y="279"/>
                  </a:lnTo>
                  <a:lnTo>
                    <a:pt x="408" y="279"/>
                  </a:lnTo>
                  <a:lnTo>
                    <a:pt x="408" y="281"/>
                  </a:lnTo>
                  <a:lnTo>
                    <a:pt x="407" y="281"/>
                  </a:lnTo>
                  <a:lnTo>
                    <a:pt x="406" y="281"/>
                  </a:lnTo>
                  <a:lnTo>
                    <a:pt x="407" y="284"/>
                  </a:lnTo>
                  <a:lnTo>
                    <a:pt x="413" y="285"/>
                  </a:lnTo>
                  <a:lnTo>
                    <a:pt x="416" y="285"/>
                  </a:lnTo>
                  <a:lnTo>
                    <a:pt x="418" y="286"/>
                  </a:lnTo>
                  <a:lnTo>
                    <a:pt x="419" y="287"/>
                  </a:lnTo>
                  <a:lnTo>
                    <a:pt x="419" y="290"/>
                  </a:lnTo>
                  <a:lnTo>
                    <a:pt x="418" y="289"/>
                  </a:lnTo>
                  <a:lnTo>
                    <a:pt x="416" y="289"/>
                  </a:lnTo>
                  <a:lnTo>
                    <a:pt x="414" y="287"/>
                  </a:lnTo>
                  <a:lnTo>
                    <a:pt x="413" y="287"/>
                  </a:lnTo>
                  <a:lnTo>
                    <a:pt x="413" y="285"/>
                  </a:lnTo>
                  <a:lnTo>
                    <a:pt x="410" y="285"/>
                  </a:lnTo>
                  <a:lnTo>
                    <a:pt x="407" y="284"/>
                  </a:lnTo>
                  <a:lnTo>
                    <a:pt x="406" y="285"/>
                  </a:lnTo>
                  <a:lnTo>
                    <a:pt x="406" y="286"/>
                  </a:lnTo>
                  <a:lnTo>
                    <a:pt x="404" y="287"/>
                  </a:lnTo>
                  <a:lnTo>
                    <a:pt x="404" y="289"/>
                  </a:lnTo>
                  <a:lnTo>
                    <a:pt x="403" y="290"/>
                  </a:lnTo>
                  <a:lnTo>
                    <a:pt x="402" y="290"/>
                  </a:lnTo>
                  <a:lnTo>
                    <a:pt x="401" y="291"/>
                  </a:lnTo>
                  <a:lnTo>
                    <a:pt x="401" y="292"/>
                  </a:lnTo>
                  <a:lnTo>
                    <a:pt x="401" y="289"/>
                  </a:lnTo>
                  <a:lnTo>
                    <a:pt x="401" y="286"/>
                  </a:lnTo>
                  <a:lnTo>
                    <a:pt x="402" y="284"/>
                  </a:lnTo>
                  <a:lnTo>
                    <a:pt x="404" y="284"/>
                  </a:lnTo>
                  <a:lnTo>
                    <a:pt x="404" y="281"/>
                  </a:lnTo>
                  <a:lnTo>
                    <a:pt x="402" y="281"/>
                  </a:lnTo>
                  <a:lnTo>
                    <a:pt x="402" y="283"/>
                  </a:lnTo>
                  <a:lnTo>
                    <a:pt x="401" y="284"/>
                  </a:lnTo>
                  <a:lnTo>
                    <a:pt x="401" y="285"/>
                  </a:lnTo>
                  <a:lnTo>
                    <a:pt x="399" y="286"/>
                  </a:lnTo>
                  <a:lnTo>
                    <a:pt x="399" y="284"/>
                  </a:lnTo>
                  <a:lnTo>
                    <a:pt x="401" y="281"/>
                  </a:lnTo>
                  <a:lnTo>
                    <a:pt x="399" y="281"/>
                  </a:lnTo>
                  <a:lnTo>
                    <a:pt x="398" y="281"/>
                  </a:lnTo>
                  <a:lnTo>
                    <a:pt x="398" y="283"/>
                  </a:lnTo>
                  <a:lnTo>
                    <a:pt x="397" y="284"/>
                  </a:lnTo>
                  <a:lnTo>
                    <a:pt x="396" y="281"/>
                  </a:lnTo>
                  <a:lnTo>
                    <a:pt x="395" y="280"/>
                  </a:lnTo>
                  <a:lnTo>
                    <a:pt x="393" y="280"/>
                  </a:lnTo>
                  <a:lnTo>
                    <a:pt x="391" y="279"/>
                  </a:lnTo>
                  <a:lnTo>
                    <a:pt x="392" y="277"/>
                  </a:lnTo>
                  <a:lnTo>
                    <a:pt x="390" y="278"/>
                  </a:lnTo>
                  <a:lnTo>
                    <a:pt x="389" y="279"/>
                  </a:lnTo>
                  <a:lnTo>
                    <a:pt x="389" y="278"/>
                  </a:lnTo>
                  <a:lnTo>
                    <a:pt x="390" y="275"/>
                  </a:lnTo>
                  <a:lnTo>
                    <a:pt x="389" y="275"/>
                  </a:lnTo>
                  <a:lnTo>
                    <a:pt x="386" y="274"/>
                  </a:lnTo>
                  <a:lnTo>
                    <a:pt x="386" y="273"/>
                  </a:lnTo>
                  <a:lnTo>
                    <a:pt x="385" y="273"/>
                  </a:lnTo>
                  <a:lnTo>
                    <a:pt x="384" y="273"/>
                  </a:lnTo>
                  <a:lnTo>
                    <a:pt x="383" y="272"/>
                  </a:lnTo>
                  <a:lnTo>
                    <a:pt x="385" y="272"/>
                  </a:lnTo>
                  <a:lnTo>
                    <a:pt x="385" y="271"/>
                  </a:lnTo>
                  <a:lnTo>
                    <a:pt x="384" y="269"/>
                  </a:lnTo>
                  <a:lnTo>
                    <a:pt x="385" y="268"/>
                  </a:lnTo>
                  <a:lnTo>
                    <a:pt x="384" y="269"/>
                  </a:lnTo>
                  <a:lnTo>
                    <a:pt x="383" y="268"/>
                  </a:lnTo>
                  <a:lnTo>
                    <a:pt x="381" y="267"/>
                  </a:lnTo>
                  <a:lnTo>
                    <a:pt x="380" y="267"/>
                  </a:lnTo>
                  <a:lnTo>
                    <a:pt x="380" y="271"/>
                  </a:lnTo>
                  <a:lnTo>
                    <a:pt x="380" y="277"/>
                  </a:lnTo>
                  <a:lnTo>
                    <a:pt x="381" y="278"/>
                  </a:lnTo>
                  <a:lnTo>
                    <a:pt x="381" y="279"/>
                  </a:lnTo>
                  <a:lnTo>
                    <a:pt x="381" y="281"/>
                  </a:lnTo>
                  <a:lnTo>
                    <a:pt x="380" y="280"/>
                  </a:lnTo>
                  <a:lnTo>
                    <a:pt x="380" y="278"/>
                  </a:lnTo>
                  <a:lnTo>
                    <a:pt x="379" y="274"/>
                  </a:lnTo>
                  <a:lnTo>
                    <a:pt x="378" y="275"/>
                  </a:lnTo>
                  <a:lnTo>
                    <a:pt x="377" y="278"/>
                  </a:lnTo>
                  <a:lnTo>
                    <a:pt x="377" y="280"/>
                  </a:lnTo>
                  <a:lnTo>
                    <a:pt x="377" y="283"/>
                  </a:lnTo>
                  <a:lnTo>
                    <a:pt x="375" y="285"/>
                  </a:lnTo>
                  <a:lnTo>
                    <a:pt x="373" y="287"/>
                  </a:lnTo>
                  <a:lnTo>
                    <a:pt x="372" y="290"/>
                  </a:lnTo>
                  <a:lnTo>
                    <a:pt x="375" y="293"/>
                  </a:lnTo>
                  <a:lnTo>
                    <a:pt x="378" y="295"/>
                  </a:lnTo>
                  <a:lnTo>
                    <a:pt x="378" y="293"/>
                  </a:lnTo>
                  <a:lnTo>
                    <a:pt x="380" y="295"/>
                  </a:lnTo>
                  <a:lnTo>
                    <a:pt x="381" y="296"/>
                  </a:lnTo>
                  <a:lnTo>
                    <a:pt x="380" y="296"/>
                  </a:lnTo>
                  <a:lnTo>
                    <a:pt x="381" y="297"/>
                  </a:lnTo>
                  <a:lnTo>
                    <a:pt x="383" y="296"/>
                  </a:lnTo>
                  <a:lnTo>
                    <a:pt x="384" y="296"/>
                  </a:lnTo>
                  <a:lnTo>
                    <a:pt x="385" y="295"/>
                  </a:lnTo>
                  <a:lnTo>
                    <a:pt x="385" y="292"/>
                  </a:lnTo>
                  <a:lnTo>
                    <a:pt x="386" y="291"/>
                  </a:lnTo>
                  <a:lnTo>
                    <a:pt x="389" y="293"/>
                  </a:lnTo>
                  <a:lnTo>
                    <a:pt x="386" y="296"/>
                  </a:lnTo>
                  <a:lnTo>
                    <a:pt x="386" y="298"/>
                  </a:lnTo>
                  <a:lnTo>
                    <a:pt x="387" y="297"/>
                  </a:lnTo>
                  <a:lnTo>
                    <a:pt x="389" y="296"/>
                  </a:lnTo>
                  <a:lnTo>
                    <a:pt x="389" y="298"/>
                  </a:lnTo>
                  <a:lnTo>
                    <a:pt x="390" y="297"/>
                  </a:lnTo>
                  <a:lnTo>
                    <a:pt x="391" y="297"/>
                  </a:lnTo>
                  <a:lnTo>
                    <a:pt x="391" y="299"/>
                  </a:lnTo>
                  <a:lnTo>
                    <a:pt x="387" y="299"/>
                  </a:lnTo>
                  <a:lnTo>
                    <a:pt x="387" y="301"/>
                  </a:lnTo>
                  <a:lnTo>
                    <a:pt x="389" y="302"/>
                  </a:lnTo>
                  <a:lnTo>
                    <a:pt x="390" y="302"/>
                  </a:lnTo>
                  <a:lnTo>
                    <a:pt x="391" y="305"/>
                  </a:lnTo>
                  <a:lnTo>
                    <a:pt x="390" y="307"/>
                  </a:lnTo>
                  <a:lnTo>
                    <a:pt x="389" y="305"/>
                  </a:lnTo>
                  <a:lnTo>
                    <a:pt x="389" y="307"/>
                  </a:lnTo>
                  <a:lnTo>
                    <a:pt x="387" y="309"/>
                  </a:lnTo>
                  <a:lnTo>
                    <a:pt x="386" y="308"/>
                  </a:lnTo>
                  <a:lnTo>
                    <a:pt x="385" y="307"/>
                  </a:lnTo>
                  <a:lnTo>
                    <a:pt x="386" y="304"/>
                  </a:lnTo>
                  <a:lnTo>
                    <a:pt x="386" y="302"/>
                  </a:lnTo>
                  <a:lnTo>
                    <a:pt x="385" y="302"/>
                  </a:lnTo>
                  <a:lnTo>
                    <a:pt x="384" y="304"/>
                  </a:lnTo>
                  <a:lnTo>
                    <a:pt x="383" y="303"/>
                  </a:lnTo>
                  <a:lnTo>
                    <a:pt x="383" y="299"/>
                  </a:lnTo>
                  <a:lnTo>
                    <a:pt x="383" y="301"/>
                  </a:lnTo>
                  <a:lnTo>
                    <a:pt x="380" y="301"/>
                  </a:lnTo>
                  <a:lnTo>
                    <a:pt x="380" y="297"/>
                  </a:lnTo>
                  <a:lnTo>
                    <a:pt x="379" y="297"/>
                  </a:lnTo>
                  <a:lnTo>
                    <a:pt x="379" y="298"/>
                  </a:lnTo>
                  <a:lnTo>
                    <a:pt x="377" y="298"/>
                  </a:lnTo>
                  <a:lnTo>
                    <a:pt x="377" y="297"/>
                  </a:lnTo>
                  <a:lnTo>
                    <a:pt x="378" y="296"/>
                  </a:lnTo>
                  <a:lnTo>
                    <a:pt x="378" y="295"/>
                  </a:lnTo>
                  <a:lnTo>
                    <a:pt x="375" y="293"/>
                  </a:lnTo>
                  <a:lnTo>
                    <a:pt x="372" y="291"/>
                  </a:lnTo>
                  <a:lnTo>
                    <a:pt x="372" y="293"/>
                  </a:lnTo>
                  <a:lnTo>
                    <a:pt x="373" y="295"/>
                  </a:lnTo>
                  <a:lnTo>
                    <a:pt x="373" y="297"/>
                  </a:lnTo>
                  <a:lnTo>
                    <a:pt x="374" y="299"/>
                  </a:lnTo>
                  <a:lnTo>
                    <a:pt x="373" y="303"/>
                  </a:lnTo>
                  <a:lnTo>
                    <a:pt x="372" y="305"/>
                  </a:lnTo>
                  <a:lnTo>
                    <a:pt x="371" y="307"/>
                  </a:lnTo>
                  <a:lnTo>
                    <a:pt x="369" y="309"/>
                  </a:lnTo>
                  <a:lnTo>
                    <a:pt x="371" y="310"/>
                  </a:lnTo>
                  <a:lnTo>
                    <a:pt x="371" y="311"/>
                  </a:lnTo>
                  <a:lnTo>
                    <a:pt x="373" y="313"/>
                  </a:lnTo>
                  <a:lnTo>
                    <a:pt x="373" y="310"/>
                  </a:lnTo>
                  <a:lnTo>
                    <a:pt x="375" y="309"/>
                  </a:lnTo>
                  <a:lnTo>
                    <a:pt x="377" y="310"/>
                  </a:lnTo>
                  <a:lnTo>
                    <a:pt x="377" y="311"/>
                  </a:lnTo>
                  <a:lnTo>
                    <a:pt x="378" y="311"/>
                  </a:lnTo>
                  <a:lnTo>
                    <a:pt x="379" y="311"/>
                  </a:lnTo>
                  <a:lnTo>
                    <a:pt x="381" y="313"/>
                  </a:lnTo>
                  <a:lnTo>
                    <a:pt x="381" y="314"/>
                  </a:lnTo>
                  <a:lnTo>
                    <a:pt x="383" y="313"/>
                  </a:lnTo>
                  <a:lnTo>
                    <a:pt x="384" y="311"/>
                  </a:lnTo>
                  <a:lnTo>
                    <a:pt x="386" y="311"/>
                  </a:lnTo>
                  <a:lnTo>
                    <a:pt x="387" y="311"/>
                  </a:lnTo>
                  <a:lnTo>
                    <a:pt x="385" y="313"/>
                  </a:lnTo>
                  <a:lnTo>
                    <a:pt x="384" y="314"/>
                  </a:lnTo>
                  <a:lnTo>
                    <a:pt x="384" y="315"/>
                  </a:lnTo>
                  <a:lnTo>
                    <a:pt x="385" y="315"/>
                  </a:lnTo>
                  <a:lnTo>
                    <a:pt x="387" y="315"/>
                  </a:lnTo>
                  <a:lnTo>
                    <a:pt x="389" y="315"/>
                  </a:lnTo>
                  <a:lnTo>
                    <a:pt x="390" y="314"/>
                  </a:lnTo>
                  <a:lnTo>
                    <a:pt x="391" y="314"/>
                  </a:lnTo>
                  <a:lnTo>
                    <a:pt x="393" y="314"/>
                  </a:lnTo>
                  <a:lnTo>
                    <a:pt x="393" y="313"/>
                  </a:lnTo>
                  <a:lnTo>
                    <a:pt x="393" y="314"/>
                  </a:lnTo>
                  <a:lnTo>
                    <a:pt x="395" y="316"/>
                  </a:lnTo>
                  <a:lnTo>
                    <a:pt x="392" y="319"/>
                  </a:lnTo>
                  <a:lnTo>
                    <a:pt x="393" y="320"/>
                  </a:lnTo>
                  <a:lnTo>
                    <a:pt x="395" y="321"/>
                  </a:lnTo>
                  <a:lnTo>
                    <a:pt x="393" y="326"/>
                  </a:lnTo>
                  <a:lnTo>
                    <a:pt x="392" y="328"/>
                  </a:lnTo>
                  <a:lnTo>
                    <a:pt x="391" y="329"/>
                  </a:lnTo>
                  <a:lnTo>
                    <a:pt x="391" y="332"/>
                  </a:lnTo>
                  <a:lnTo>
                    <a:pt x="390" y="332"/>
                  </a:lnTo>
                  <a:lnTo>
                    <a:pt x="392" y="333"/>
                  </a:lnTo>
                  <a:lnTo>
                    <a:pt x="391" y="337"/>
                  </a:lnTo>
                  <a:lnTo>
                    <a:pt x="391" y="339"/>
                  </a:lnTo>
                  <a:lnTo>
                    <a:pt x="390" y="338"/>
                  </a:lnTo>
                  <a:lnTo>
                    <a:pt x="389" y="339"/>
                  </a:lnTo>
                  <a:lnTo>
                    <a:pt x="389" y="341"/>
                  </a:lnTo>
                  <a:lnTo>
                    <a:pt x="387" y="341"/>
                  </a:lnTo>
                  <a:lnTo>
                    <a:pt x="387" y="343"/>
                  </a:lnTo>
                  <a:lnTo>
                    <a:pt x="389" y="344"/>
                  </a:lnTo>
                  <a:lnTo>
                    <a:pt x="390" y="344"/>
                  </a:lnTo>
                  <a:lnTo>
                    <a:pt x="390" y="341"/>
                  </a:lnTo>
                  <a:lnTo>
                    <a:pt x="390" y="340"/>
                  </a:lnTo>
                  <a:lnTo>
                    <a:pt x="391" y="340"/>
                  </a:lnTo>
                  <a:lnTo>
                    <a:pt x="392" y="344"/>
                  </a:lnTo>
                  <a:lnTo>
                    <a:pt x="392" y="345"/>
                  </a:lnTo>
                  <a:lnTo>
                    <a:pt x="393" y="346"/>
                  </a:lnTo>
                  <a:lnTo>
                    <a:pt x="395" y="347"/>
                  </a:lnTo>
                  <a:lnTo>
                    <a:pt x="395" y="349"/>
                  </a:lnTo>
                  <a:lnTo>
                    <a:pt x="395" y="350"/>
                  </a:lnTo>
                  <a:lnTo>
                    <a:pt x="396" y="351"/>
                  </a:lnTo>
                  <a:lnTo>
                    <a:pt x="397" y="352"/>
                  </a:lnTo>
                  <a:lnTo>
                    <a:pt x="397" y="351"/>
                  </a:lnTo>
                  <a:lnTo>
                    <a:pt x="398" y="352"/>
                  </a:lnTo>
                  <a:lnTo>
                    <a:pt x="399" y="352"/>
                  </a:lnTo>
                  <a:lnTo>
                    <a:pt x="402" y="355"/>
                  </a:lnTo>
                  <a:lnTo>
                    <a:pt x="399" y="355"/>
                  </a:lnTo>
                  <a:lnTo>
                    <a:pt x="398" y="355"/>
                  </a:lnTo>
                  <a:lnTo>
                    <a:pt x="397" y="355"/>
                  </a:lnTo>
                  <a:lnTo>
                    <a:pt x="399" y="357"/>
                  </a:lnTo>
                  <a:lnTo>
                    <a:pt x="402" y="358"/>
                  </a:lnTo>
                  <a:lnTo>
                    <a:pt x="401" y="361"/>
                  </a:lnTo>
                  <a:lnTo>
                    <a:pt x="398" y="358"/>
                  </a:lnTo>
                  <a:lnTo>
                    <a:pt x="397" y="357"/>
                  </a:lnTo>
                  <a:lnTo>
                    <a:pt x="397" y="358"/>
                  </a:lnTo>
                  <a:lnTo>
                    <a:pt x="396" y="358"/>
                  </a:lnTo>
                  <a:lnTo>
                    <a:pt x="395" y="358"/>
                  </a:lnTo>
                  <a:lnTo>
                    <a:pt x="393" y="361"/>
                  </a:lnTo>
                  <a:lnTo>
                    <a:pt x="391" y="362"/>
                  </a:lnTo>
                  <a:lnTo>
                    <a:pt x="390" y="363"/>
                  </a:lnTo>
                  <a:lnTo>
                    <a:pt x="390" y="360"/>
                  </a:lnTo>
                  <a:lnTo>
                    <a:pt x="391" y="357"/>
                  </a:lnTo>
                  <a:lnTo>
                    <a:pt x="391" y="356"/>
                  </a:lnTo>
                  <a:lnTo>
                    <a:pt x="391" y="355"/>
                  </a:lnTo>
                  <a:lnTo>
                    <a:pt x="390" y="356"/>
                  </a:lnTo>
                  <a:lnTo>
                    <a:pt x="389" y="356"/>
                  </a:lnTo>
                  <a:lnTo>
                    <a:pt x="389" y="352"/>
                  </a:lnTo>
                  <a:lnTo>
                    <a:pt x="386" y="351"/>
                  </a:lnTo>
                  <a:lnTo>
                    <a:pt x="387" y="355"/>
                  </a:lnTo>
                  <a:lnTo>
                    <a:pt x="385" y="356"/>
                  </a:lnTo>
                  <a:lnTo>
                    <a:pt x="385" y="357"/>
                  </a:lnTo>
                  <a:lnTo>
                    <a:pt x="385" y="360"/>
                  </a:lnTo>
                  <a:lnTo>
                    <a:pt x="384" y="357"/>
                  </a:lnTo>
                  <a:lnTo>
                    <a:pt x="385" y="360"/>
                  </a:lnTo>
                  <a:lnTo>
                    <a:pt x="386" y="361"/>
                  </a:lnTo>
                  <a:lnTo>
                    <a:pt x="384" y="360"/>
                  </a:lnTo>
                  <a:lnTo>
                    <a:pt x="384" y="361"/>
                  </a:lnTo>
                  <a:lnTo>
                    <a:pt x="383" y="361"/>
                  </a:lnTo>
                  <a:lnTo>
                    <a:pt x="381" y="363"/>
                  </a:lnTo>
                  <a:lnTo>
                    <a:pt x="380" y="364"/>
                  </a:lnTo>
                  <a:lnTo>
                    <a:pt x="379" y="367"/>
                  </a:lnTo>
                  <a:lnTo>
                    <a:pt x="379" y="364"/>
                  </a:lnTo>
                  <a:lnTo>
                    <a:pt x="378" y="363"/>
                  </a:lnTo>
                  <a:lnTo>
                    <a:pt x="378" y="366"/>
                  </a:lnTo>
                  <a:lnTo>
                    <a:pt x="377" y="367"/>
                  </a:lnTo>
                  <a:lnTo>
                    <a:pt x="377" y="364"/>
                  </a:lnTo>
                  <a:lnTo>
                    <a:pt x="375" y="364"/>
                  </a:lnTo>
                  <a:lnTo>
                    <a:pt x="375" y="367"/>
                  </a:lnTo>
                  <a:lnTo>
                    <a:pt x="375" y="368"/>
                  </a:lnTo>
                  <a:lnTo>
                    <a:pt x="374" y="367"/>
                  </a:lnTo>
                  <a:lnTo>
                    <a:pt x="373" y="369"/>
                  </a:lnTo>
                  <a:lnTo>
                    <a:pt x="373" y="370"/>
                  </a:lnTo>
                  <a:lnTo>
                    <a:pt x="372" y="369"/>
                  </a:lnTo>
                  <a:lnTo>
                    <a:pt x="371" y="369"/>
                  </a:lnTo>
                  <a:lnTo>
                    <a:pt x="371" y="370"/>
                  </a:lnTo>
                  <a:lnTo>
                    <a:pt x="369" y="369"/>
                  </a:lnTo>
                  <a:lnTo>
                    <a:pt x="369" y="370"/>
                  </a:lnTo>
                  <a:lnTo>
                    <a:pt x="368" y="370"/>
                  </a:lnTo>
                  <a:lnTo>
                    <a:pt x="368" y="368"/>
                  </a:lnTo>
                  <a:lnTo>
                    <a:pt x="367" y="367"/>
                  </a:lnTo>
                  <a:lnTo>
                    <a:pt x="367" y="364"/>
                  </a:lnTo>
                  <a:lnTo>
                    <a:pt x="366" y="364"/>
                  </a:lnTo>
                  <a:lnTo>
                    <a:pt x="366" y="366"/>
                  </a:lnTo>
                  <a:lnTo>
                    <a:pt x="366" y="368"/>
                  </a:lnTo>
                  <a:lnTo>
                    <a:pt x="366" y="370"/>
                  </a:lnTo>
                  <a:lnTo>
                    <a:pt x="367" y="373"/>
                  </a:lnTo>
                  <a:lnTo>
                    <a:pt x="367" y="375"/>
                  </a:lnTo>
                  <a:lnTo>
                    <a:pt x="368" y="376"/>
                  </a:lnTo>
                  <a:lnTo>
                    <a:pt x="367" y="376"/>
                  </a:lnTo>
                  <a:lnTo>
                    <a:pt x="366" y="375"/>
                  </a:lnTo>
                  <a:lnTo>
                    <a:pt x="365" y="375"/>
                  </a:lnTo>
                  <a:lnTo>
                    <a:pt x="363" y="375"/>
                  </a:lnTo>
                  <a:lnTo>
                    <a:pt x="363" y="378"/>
                  </a:lnTo>
                  <a:lnTo>
                    <a:pt x="363" y="380"/>
                  </a:lnTo>
                  <a:lnTo>
                    <a:pt x="362" y="381"/>
                  </a:lnTo>
                  <a:lnTo>
                    <a:pt x="362" y="380"/>
                  </a:lnTo>
                  <a:lnTo>
                    <a:pt x="361" y="381"/>
                  </a:lnTo>
                  <a:lnTo>
                    <a:pt x="360" y="384"/>
                  </a:lnTo>
                  <a:lnTo>
                    <a:pt x="360" y="386"/>
                  </a:lnTo>
                  <a:lnTo>
                    <a:pt x="360" y="390"/>
                  </a:lnTo>
                  <a:lnTo>
                    <a:pt x="362" y="392"/>
                  </a:lnTo>
                  <a:lnTo>
                    <a:pt x="361" y="393"/>
                  </a:lnTo>
                  <a:lnTo>
                    <a:pt x="360" y="394"/>
                  </a:lnTo>
                  <a:lnTo>
                    <a:pt x="359" y="396"/>
                  </a:lnTo>
                  <a:lnTo>
                    <a:pt x="357" y="399"/>
                  </a:lnTo>
                  <a:lnTo>
                    <a:pt x="356" y="402"/>
                  </a:lnTo>
                  <a:lnTo>
                    <a:pt x="355" y="403"/>
                  </a:lnTo>
                  <a:lnTo>
                    <a:pt x="355" y="400"/>
                  </a:lnTo>
                  <a:lnTo>
                    <a:pt x="354" y="398"/>
                  </a:lnTo>
                  <a:lnTo>
                    <a:pt x="353" y="397"/>
                  </a:lnTo>
                  <a:lnTo>
                    <a:pt x="353" y="396"/>
                  </a:lnTo>
                  <a:lnTo>
                    <a:pt x="350" y="397"/>
                  </a:lnTo>
                  <a:lnTo>
                    <a:pt x="350" y="396"/>
                  </a:lnTo>
                  <a:lnTo>
                    <a:pt x="349" y="396"/>
                  </a:lnTo>
                  <a:lnTo>
                    <a:pt x="348" y="397"/>
                  </a:lnTo>
                  <a:lnTo>
                    <a:pt x="348" y="399"/>
                  </a:lnTo>
                  <a:lnTo>
                    <a:pt x="348" y="396"/>
                  </a:lnTo>
                  <a:lnTo>
                    <a:pt x="347" y="394"/>
                  </a:lnTo>
                  <a:lnTo>
                    <a:pt x="348" y="392"/>
                  </a:lnTo>
                  <a:lnTo>
                    <a:pt x="349" y="392"/>
                  </a:lnTo>
                  <a:lnTo>
                    <a:pt x="351" y="392"/>
                  </a:lnTo>
                  <a:lnTo>
                    <a:pt x="351" y="388"/>
                  </a:lnTo>
                  <a:lnTo>
                    <a:pt x="353" y="386"/>
                  </a:lnTo>
                  <a:lnTo>
                    <a:pt x="353" y="384"/>
                  </a:lnTo>
                  <a:lnTo>
                    <a:pt x="351" y="384"/>
                  </a:lnTo>
                  <a:lnTo>
                    <a:pt x="349" y="382"/>
                  </a:lnTo>
                  <a:lnTo>
                    <a:pt x="348" y="385"/>
                  </a:lnTo>
                  <a:lnTo>
                    <a:pt x="348" y="384"/>
                  </a:lnTo>
                  <a:lnTo>
                    <a:pt x="349" y="382"/>
                  </a:lnTo>
                  <a:lnTo>
                    <a:pt x="347" y="384"/>
                  </a:lnTo>
                  <a:lnTo>
                    <a:pt x="345" y="385"/>
                  </a:lnTo>
                  <a:lnTo>
                    <a:pt x="343" y="388"/>
                  </a:lnTo>
                  <a:lnTo>
                    <a:pt x="342" y="390"/>
                  </a:lnTo>
                  <a:lnTo>
                    <a:pt x="339" y="390"/>
                  </a:lnTo>
                  <a:lnTo>
                    <a:pt x="339" y="388"/>
                  </a:lnTo>
                  <a:lnTo>
                    <a:pt x="339" y="387"/>
                  </a:lnTo>
                  <a:lnTo>
                    <a:pt x="338" y="388"/>
                  </a:lnTo>
                  <a:lnTo>
                    <a:pt x="338" y="391"/>
                  </a:lnTo>
                  <a:lnTo>
                    <a:pt x="337" y="392"/>
                  </a:lnTo>
                  <a:lnTo>
                    <a:pt x="337" y="393"/>
                  </a:lnTo>
                  <a:lnTo>
                    <a:pt x="336" y="394"/>
                  </a:lnTo>
                  <a:lnTo>
                    <a:pt x="334" y="397"/>
                  </a:lnTo>
                  <a:lnTo>
                    <a:pt x="333" y="398"/>
                  </a:lnTo>
                  <a:lnTo>
                    <a:pt x="333" y="399"/>
                  </a:lnTo>
                  <a:lnTo>
                    <a:pt x="332" y="402"/>
                  </a:lnTo>
                  <a:lnTo>
                    <a:pt x="331" y="402"/>
                  </a:lnTo>
                  <a:lnTo>
                    <a:pt x="330" y="404"/>
                  </a:lnTo>
                  <a:lnTo>
                    <a:pt x="330" y="405"/>
                  </a:lnTo>
                  <a:lnTo>
                    <a:pt x="330" y="403"/>
                  </a:lnTo>
                  <a:lnTo>
                    <a:pt x="328" y="404"/>
                  </a:lnTo>
                  <a:lnTo>
                    <a:pt x="327" y="404"/>
                  </a:lnTo>
                  <a:lnTo>
                    <a:pt x="326" y="404"/>
                  </a:lnTo>
                  <a:lnTo>
                    <a:pt x="326" y="403"/>
                  </a:lnTo>
                  <a:lnTo>
                    <a:pt x="326" y="400"/>
                  </a:lnTo>
                  <a:lnTo>
                    <a:pt x="326" y="399"/>
                  </a:lnTo>
                  <a:lnTo>
                    <a:pt x="325" y="399"/>
                  </a:lnTo>
                  <a:lnTo>
                    <a:pt x="327" y="398"/>
                  </a:lnTo>
                  <a:lnTo>
                    <a:pt x="326" y="398"/>
                  </a:lnTo>
                  <a:lnTo>
                    <a:pt x="327" y="397"/>
                  </a:lnTo>
                  <a:lnTo>
                    <a:pt x="327" y="396"/>
                  </a:lnTo>
                  <a:lnTo>
                    <a:pt x="327" y="393"/>
                  </a:lnTo>
                  <a:lnTo>
                    <a:pt x="328" y="392"/>
                  </a:lnTo>
                  <a:lnTo>
                    <a:pt x="327" y="390"/>
                  </a:lnTo>
                  <a:lnTo>
                    <a:pt x="327" y="384"/>
                  </a:lnTo>
                  <a:lnTo>
                    <a:pt x="328" y="375"/>
                  </a:lnTo>
                  <a:lnTo>
                    <a:pt x="327" y="367"/>
                  </a:lnTo>
                  <a:lnTo>
                    <a:pt x="325" y="370"/>
                  </a:lnTo>
                  <a:lnTo>
                    <a:pt x="324" y="374"/>
                  </a:lnTo>
                  <a:lnTo>
                    <a:pt x="325" y="375"/>
                  </a:lnTo>
                  <a:lnTo>
                    <a:pt x="324" y="374"/>
                  </a:lnTo>
                  <a:lnTo>
                    <a:pt x="318" y="375"/>
                  </a:lnTo>
                  <a:lnTo>
                    <a:pt x="322" y="374"/>
                  </a:lnTo>
                  <a:lnTo>
                    <a:pt x="326" y="367"/>
                  </a:lnTo>
                  <a:lnTo>
                    <a:pt x="324" y="368"/>
                  </a:lnTo>
                  <a:lnTo>
                    <a:pt x="321" y="368"/>
                  </a:lnTo>
                  <a:lnTo>
                    <a:pt x="319" y="367"/>
                  </a:lnTo>
                  <a:lnTo>
                    <a:pt x="318" y="368"/>
                  </a:lnTo>
                  <a:lnTo>
                    <a:pt x="316" y="368"/>
                  </a:lnTo>
                  <a:lnTo>
                    <a:pt x="315" y="368"/>
                  </a:lnTo>
                  <a:lnTo>
                    <a:pt x="314" y="366"/>
                  </a:lnTo>
                  <a:lnTo>
                    <a:pt x="315" y="363"/>
                  </a:lnTo>
                  <a:lnTo>
                    <a:pt x="314" y="363"/>
                  </a:lnTo>
                  <a:lnTo>
                    <a:pt x="313" y="364"/>
                  </a:lnTo>
                  <a:lnTo>
                    <a:pt x="310" y="364"/>
                  </a:lnTo>
                  <a:lnTo>
                    <a:pt x="309" y="364"/>
                  </a:lnTo>
                  <a:lnTo>
                    <a:pt x="307" y="366"/>
                  </a:lnTo>
                  <a:lnTo>
                    <a:pt x="308" y="368"/>
                  </a:lnTo>
                  <a:lnTo>
                    <a:pt x="308" y="370"/>
                  </a:lnTo>
                  <a:lnTo>
                    <a:pt x="308" y="372"/>
                  </a:lnTo>
                  <a:lnTo>
                    <a:pt x="309" y="373"/>
                  </a:lnTo>
                  <a:lnTo>
                    <a:pt x="308" y="373"/>
                  </a:lnTo>
                  <a:lnTo>
                    <a:pt x="308" y="375"/>
                  </a:lnTo>
                  <a:lnTo>
                    <a:pt x="309" y="378"/>
                  </a:lnTo>
                  <a:lnTo>
                    <a:pt x="309" y="381"/>
                  </a:lnTo>
                  <a:lnTo>
                    <a:pt x="308" y="376"/>
                  </a:lnTo>
                  <a:lnTo>
                    <a:pt x="307" y="378"/>
                  </a:lnTo>
                  <a:lnTo>
                    <a:pt x="306" y="379"/>
                  </a:lnTo>
                  <a:lnTo>
                    <a:pt x="307" y="382"/>
                  </a:lnTo>
                  <a:lnTo>
                    <a:pt x="304" y="386"/>
                  </a:lnTo>
                  <a:lnTo>
                    <a:pt x="302" y="388"/>
                  </a:lnTo>
                  <a:lnTo>
                    <a:pt x="304" y="384"/>
                  </a:lnTo>
                  <a:lnTo>
                    <a:pt x="304" y="381"/>
                  </a:lnTo>
                  <a:lnTo>
                    <a:pt x="304" y="380"/>
                  </a:lnTo>
                  <a:lnTo>
                    <a:pt x="303" y="380"/>
                  </a:lnTo>
                  <a:lnTo>
                    <a:pt x="303" y="382"/>
                  </a:lnTo>
                  <a:lnTo>
                    <a:pt x="303" y="384"/>
                  </a:lnTo>
                  <a:lnTo>
                    <a:pt x="302" y="385"/>
                  </a:lnTo>
                  <a:lnTo>
                    <a:pt x="301" y="384"/>
                  </a:lnTo>
                  <a:lnTo>
                    <a:pt x="300" y="382"/>
                  </a:lnTo>
                  <a:lnTo>
                    <a:pt x="300" y="385"/>
                  </a:lnTo>
                  <a:lnTo>
                    <a:pt x="301" y="388"/>
                  </a:lnTo>
                  <a:lnTo>
                    <a:pt x="301" y="390"/>
                  </a:lnTo>
                  <a:lnTo>
                    <a:pt x="300" y="393"/>
                  </a:lnTo>
                  <a:lnTo>
                    <a:pt x="297" y="394"/>
                  </a:lnTo>
                  <a:lnTo>
                    <a:pt x="300" y="391"/>
                  </a:lnTo>
                  <a:lnTo>
                    <a:pt x="300" y="388"/>
                  </a:lnTo>
                  <a:lnTo>
                    <a:pt x="300" y="384"/>
                  </a:lnTo>
                  <a:lnTo>
                    <a:pt x="298" y="385"/>
                  </a:lnTo>
                  <a:lnTo>
                    <a:pt x="298" y="387"/>
                  </a:lnTo>
                  <a:lnTo>
                    <a:pt x="297" y="391"/>
                  </a:lnTo>
                  <a:lnTo>
                    <a:pt x="296" y="391"/>
                  </a:lnTo>
                  <a:lnTo>
                    <a:pt x="295" y="392"/>
                  </a:lnTo>
                  <a:lnTo>
                    <a:pt x="294" y="393"/>
                  </a:lnTo>
                  <a:lnTo>
                    <a:pt x="292" y="392"/>
                  </a:lnTo>
                  <a:lnTo>
                    <a:pt x="292" y="391"/>
                  </a:lnTo>
                  <a:lnTo>
                    <a:pt x="292" y="392"/>
                  </a:lnTo>
                  <a:lnTo>
                    <a:pt x="290" y="393"/>
                  </a:lnTo>
                  <a:lnTo>
                    <a:pt x="289" y="396"/>
                  </a:lnTo>
                  <a:lnTo>
                    <a:pt x="286" y="394"/>
                  </a:lnTo>
                  <a:lnTo>
                    <a:pt x="286" y="391"/>
                  </a:lnTo>
                  <a:lnTo>
                    <a:pt x="286" y="388"/>
                  </a:lnTo>
                  <a:lnTo>
                    <a:pt x="288" y="388"/>
                  </a:lnTo>
                  <a:lnTo>
                    <a:pt x="289" y="388"/>
                  </a:lnTo>
                  <a:lnTo>
                    <a:pt x="289" y="386"/>
                  </a:lnTo>
                  <a:lnTo>
                    <a:pt x="289" y="385"/>
                  </a:lnTo>
                  <a:lnTo>
                    <a:pt x="289" y="384"/>
                  </a:lnTo>
                  <a:lnTo>
                    <a:pt x="290" y="381"/>
                  </a:lnTo>
                  <a:lnTo>
                    <a:pt x="289" y="382"/>
                  </a:lnTo>
                  <a:lnTo>
                    <a:pt x="288" y="384"/>
                  </a:lnTo>
                  <a:lnTo>
                    <a:pt x="286" y="387"/>
                  </a:lnTo>
                  <a:lnTo>
                    <a:pt x="285" y="388"/>
                  </a:lnTo>
                  <a:lnTo>
                    <a:pt x="285" y="392"/>
                  </a:lnTo>
                  <a:lnTo>
                    <a:pt x="284" y="392"/>
                  </a:lnTo>
                  <a:lnTo>
                    <a:pt x="283" y="393"/>
                  </a:lnTo>
                  <a:lnTo>
                    <a:pt x="282" y="393"/>
                  </a:lnTo>
                  <a:lnTo>
                    <a:pt x="282" y="391"/>
                  </a:lnTo>
                  <a:lnTo>
                    <a:pt x="280" y="388"/>
                  </a:lnTo>
                  <a:lnTo>
                    <a:pt x="279" y="386"/>
                  </a:lnTo>
                  <a:lnTo>
                    <a:pt x="278" y="386"/>
                  </a:lnTo>
                  <a:lnTo>
                    <a:pt x="277" y="387"/>
                  </a:lnTo>
                  <a:lnTo>
                    <a:pt x="274" y="390"/>
                  </a:lnTo>
                  <a:lnTo>
                    <a:pt x="273" y="391"/>
                  </a:lnTo>
                  <a:lnTo>
                    <a:pt x="273" y="388"/>
                  </a:lnTo>
                  <a:lnTo>
                    <a:pt x="273" y="386"/>
                  </a:lnTo>
                  <a:lnTo>
                    <a:pt x="272" y="386"/>
                  </a:lnTo>
                  <a:lnTo>
                    <a:pt x="272" y="387"/>
                  </a:lnTo>
                  <a:lnTo>
                    <a:pt x="271" y="390"/>
                  </a:lnTo>
                  <a:lnTo>
                    <a:pt x="268" y="391"/>
                  </a:lnTo>
                  <a:lnTo>
                    <a:pt x="267" y="392"/>
                  </a:lnTo>
                  <a:lnTo>
                    <a:pt x="268" y="390"/>
                  </a:lnTo>
                  <a:lnTo>
                    <a:pt x="269" y="387"/>
                  </a:lnTo>
                  <a:lnTo>
                    <a:pt x="269" y="385"/>
                  </a:lnTo>
                  <a:lnTo>
                    <a:pt x="272" y="382"/>
                  </a:lnTo>
                  <a:lnTo>
                    <a:pt x="271" y="382"/>
                  </a:lnTo>
                  <a:lnTo>
                    <a:pt x="269" y="384"/>
                  </a:lnTo>
                  <a:lnTo>
                    <a:pt x="269" y="381"/>
                  </a:lnTo>
                  <a:lnTo>
                    <a:pt x="267" y="381"/>
                  </a:lnTo>
                  <a:lnTo>
                    <a:pt x="267" y="379"/>
                  </a:lnTo>
                  <a:lnTo>
                    <a:pt x="266" y="380"/>
                  </a:lnTo>
                  <a:lnTo>
                    <a:pt x="263" y="380"/>
                  </a:lnTo>
                  <a:lnTo>
                    <a:pt x="265" y="379"/>
                  </a:lnTo>
                  <a:lnTo>
                    <a:pt x="263" y="379"/>
                  </a:lnTo>
                  <a:lnTo>
                    <a:pt x="262" y="380"/>
                  </a:lnTo>
                  <a:lnTo>
                    <a:pt x="262" y="378"/>
                  </a:lnTo>
                  <a:lnTo>
                    <a:pt x="261" y="378"/>
                  </a:lnTo>
                  <a:lnTo>
                    <a:pt x="261" y="375"/>
                  </a:lnTo>
                  <a:lnTo>
                    <a:pt x="261" y="374"/>
                  </a:lnTo>
                  <a:lnTo>
                    <a:pt x="259" y="375"/>
                  </a:lnTo>
                  <a:lnTo>
                    <a:pt x="255" y="376"/>
                  </a:lnTo>
                  <a:lnTo>
                    <a:pt x="257" y="374"/>
                  </a:lnTo>
                  <a:lnTo>
                    <a:pt x="260" y="373"/>
                  </a:lnTo>
                  <a:lnTo>
                    <a:pt x="261" y="372"/>
                  </a:lnTo>
                  <a:lnTo>
                    <a:pt x="262" y="372"/>
                  </a:lnTo>
                  <a:lnTo>
                    <a:pt x="261" y="372"/>
                  </a:lnTo>
                  <a:lnTo>
                    <a:pt x="260" y="372"/>
                  </a:lnTo>
                  <a:lnTo>
                    <a:pt x="259" y="370"/>
                  </a:lnTo>
                  <a:lnTo>
                    <a:pt x="257" y="372"/>
                  </a:lnTo>
                  <a:lnTo>
                    <a:pt x="255" y="372"/>
                  </a:lnTo>
                  <a:lnTo>
                    <a:pt x="255" y="373"/>
                  </a:lnTo>
                  <a:lnTo>
                    <a:pt x="253" y="372"/>
                  </a:lnTo>
                  <a:lnTo>
                    <a:pt x="253" y="368"/>
                  </a:lnTo>
                  <a:lnTo>
                    <a:pt x="253" y="367"/>
                  </a:lnTo>
                  <a:lnTo>
                    <a:pt x="253" y="364"/>
                  </a:lnTo>
                  <a:lnTo>
                    <a:pt x="254" y="363"/>
                  </a:lnTo>
                  <a:lnTo>
                    <a:pt x="255" y="363"/>
                  </a:lnTo>
                  <a:lnTo>
                    <a:pt x="256" y="362"/>
                  </a:lnTo>
                  <a:lnTo>
                    <a:pt x="255" y="361"/>
                  </a:lnTo>
                  <a:lnTo>
                    <a:pt x="255" y="358"/>
                  </a:lnTo>
                  <a:lnTo>
                    <a:pt x="253" y="360"/>
                  </a:lnTo>
                  <a:lnTo>
                    <a:pt x="251" y="358"/>
                  </a:lnTo>
                  <a:lnTo>
                    <a:pt x="250" y="360"/>
                  </a:lnTo>
                  <a:lnTo>
                    <a:pt x="249" y="362"/>
                  </a:lnTo>
                  <a:lnTo>
                    <a:pt x="249" y="361"/>
                  </a:lnTo>
                  <a:lnTo>
                    <a:pt x="249" y="363"/>
                  </a:lnTo>
                  <a:lnTo>
                    <a:pt x="247" y="364"/>
                  </a:lnTo>
                  <a:lnTo>
                    <a:pt x="245" y="366"/>
                  </a:lnTo>
                  <a:lnTo>
                    <a:pt x="245" y="364"/>
                  </a:lnTo>
                  <a:lnTo>
                    <a:pt x="245" y="363"/>
                  </a:lnTo>
                  <a:lnTo>
                    <a:pt x="244" y="364"/>
                  </a:lnTo>
                  <a:lnTo>
                    <a:pt x="244" y="363"/>
                  </a:lnTo>
                  <a:lnTo>
                    <a:pt x="242" y="363"/>
                  </a:lnTo>
                  <a:lnTo>
                    <a:pt x="242" y="362"/>
                  </a:lnTo>
                  <a:lnTo>
                    <a:pt x="241" y="362"/>
                  </a:lnTo>
                  <a:lnTo>
                    <a:pt x="238" y="363"/>
                  </a:lnTo>
                  <a:lnTo>
                    <a:pt x="238" y="362"/>
                  </a:lnTo>
                  <a:lnTo>
                    <a:pt x="239" y="361"/>
                  </a:lnTo>
                  <a:lnTo>
                    <a:pt x="241" y="360"/>
                  </a:lnTo>
                  <a:lnTo>
                    <a:pt x="242" y="361"/>
                  </a:lnTo>
                  <a:lnTo>
                    <a:pt x="243" y="360"/>
                  </a:lnTo>
                  <a:lnTo>
                    <a:pt x="242" y="358"/>
                  </a:lnTo>
                  <a:lnTo>
                    <a:pt x="239" y="358"/>
                  </a:lnTo>
                  <a:lnTo>
                    <a:pt x="239" y="357"/>
                  </a:lnTo>
                  <a:lnTo>
                    <a:pt x="238" y="358"/>
                  </a:lnTo>
                  <a:lnTo>
                    <a:pt x="236" y="358"/>
                  </a:lnTo>
                  <a:lnTo>
                    <a:pt x="236" y="357"/>
                  </a:lnTo>
                  <a:lnTo>
                    <a:pt x="236" y="356"/>
                  </a:lnTo>
                  <a:lnTo>
                    <a:pt x="237" y="355"/>
                  </a:lnTo>
                  <a:lnTo>
                    <a:pt x="238" y="355"/>
                  </a:lnTo>
                  <a:lnTo>
                    <a:pt x="241" y="352"/>
                  </a:lnTo>
                  <a:lnTo>
                    <a:pt x="239" y="352"/>
                  </a:lnTo>
                  <a:lnTo>
                    <a:pt x="238" y="352"/>
                  </a:lnTo>
                  <a:lnTo>
                    <a:pt x="237" y="353"/>
                  </a:lnTo>
                  <a:lnTo>
                    <a:pt x="235" y="355"/>
                  </a:lnTo>
                  <a:lnTo>
                    <a:pt x="233" y="356"/>
                  </a:lnTo>
                  <a:lnTo>
                    <a:pt x="236" y="364"/>
                  </a:lnTo>
                  <a:lnTo>
                    <a:pt x="239" y="375"/>
                  </a:lnTo>
                  <a:lnTo>
                    <a:pt x="239" y="391"/>
                  </a:lnTo>
                  <a:lnTo>
                    <a:pt x="247" y="405"/>
                  </a:lnTo>
                  <a:lnTo>
                    <a:pt x="250" y="412"/>
                  </a:lnTo>
                  <a:lnTo>
                    <a:pt x="250" y="420"/>
                  </a:lnTo>
                  <a:lnTo>
                    <a:pt x="247" y="426"/>
                  </a:lnTo>
                  <a:lnTo>
                    <a:pt x="241" y="438"/>
                  </a:lnTo>
                  <a:lnTo>
                    <a:pt x="235" y="474"/>
                  </a:lnTo>
                  <a:lnTo>
                    <a:pt x="232" y="491"/>
                  </a:lnTo>
                  <a:lnTo>
                    <a:pt x="232" y="516"/>
                  </a:lnTo>
                  <a:lnTo>
                    <a:pt x="232" y="539"/>
                  </a:lnTo>
                  <a:lnTo>
                    <a:pt x="233" y="54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4" name="Freeform 77"/>
            <p:cNvSpPr>
              <a:spLocks/>
            </p:cNvSpPr>
            <p:nvPr userDrawn="1"/>
          </p:nvSpPr>
          <p:spPr bwMode="auto">
            <a:xfrm>
              <a:off x="6143625" y="6537326"/>
              <a:ext cx="3001963" cy="128588"/>
            </a:xfrm>
            <a:custGeom>
              <a:avLst/>
              <a:gdLst/>
              <a:ahLst/>
              <a:cxnLst>
                <a:cxn ang="0">
                  <a:pos x="24" y="383"/>
                </a:cxn>
                <a:cxn ang="0">
                  <a:pos x="140" y="342"/>
                </a:cxn>
                <a:cxn ang="0">
                  <a:pos x="462" y="200"/>
                </a:cxn>
                <a:cxn ang="0">
                  <a:pos x="618" y="142"/>
                </a:cxn>
                <a:cxn ang="0">
                  <a:pos x="699" y="122"/>
                </a:cxn>
                <a:cxn ang="0">
                  <a:pos x="875" y="120"/>
                </a:cxn>
                <a:cxn ang="0">
                  <a:pos x="1256" y="110"/>
                </a:cxn>
                <a:cxn ang="0">
                  <a:pos x="1527" y="108"/>
                </a:cxn>
                <a:cxn ang="0">
                  <a:pos x="1830" y="122"/>
                </a:cxn>
                <a:cxn ang="0">
                  <a:pos x="2033" y="126"/>
                </a:cxn>
                <a:cxn ang="0">
                  <a:pos x="2168" y="120"/>
                </a:cxn>
                <a:cxn ang="0">
                  <a:pos x="2344" y="98"/>
                </a:cxn>
                <a:cxn ang="0">
                  <a:pos x="2545" y="80"/>
                </a:cxn>
                <a:cxn ang="0">
                  <a:pos x="2615" y="81"/>
                </a:cxn>
                <a:cxn ang="0">
                  <a:pos x="2696" y="100"/>
                </a:cxn>
                <a:cxn ang="0">
                  <a:pos x="2875" y="164"/>
                </a:cxn>
                <a:cxn ang="0">
                  <a:pos x="3028" y="208"/>
                </a:cxn>
                <a:cxn ang="0">
                  <a:pos x="3157" y="231"/>
                </a:cxn>
                <a:cxn ang="0">
                  <a:pos x="3234" y="233"/>
                </a:cxn>
                <a:cxn ang="0">
                  <a:pos x="3331" y="224"/>
                </a:cxn>
                <a:cxn ang="0">
                  <a:pos x="3436" y="195"/>
                </a:cxn>
                <a:cxn ang="0">
                  <a:pos x="3519" y="170"/>
                </a:cxn>
                <a:cxn ang="0">
                  <a:pos x="3595" y="165"/>
                </a:cxn>
                <a:cxn ang="0">
                  <a:pos x="3718" y="149"/>
                </a:cxn>
                <a:cxn ang="0">
                  <a:pos x="3817" y="138"/>
                </a:cxn>
                <a:cxn ang="0">
                  <a:pos x="3842" y="138"/>
                </a:cxn>
                <a:cxn ang="0">
                  <a:pos x="3854" y="126"/>
                </a:cxn>
                <a:cxn ang="0">
                  <a:pos x="3865" y="104"/>
                </a:cxn>
                <a:cxn ang="0">
                  <a:pos x="3879" y="86"/>
                </a:cxn>
                <a:cxn ang="0">
                  <a:pos x="3903" y="70"/>
                </a:cxn>
                <a:cxn ang="0">
                  <a:pos x="3944" y="58"/>
                </a:cxn>
                <a:cxn ang="0">
                  <a:pos x="4042" y="54"/>
                </a:cxn>
                <a:cxn ang="0">
                  <a:pos x="4545" y="94"/>
                </a:cxn>
                <a:cxn ang="0">
                  <a:pos x="4907" y="123"/>
                </a:cxn>
                <a:cxn ang="0">
                  <a:pos x="5298" y="142"/>
                </a:cxn>
                <a:cxn ang="0">
                  <a:pos x="5485" y="146"/>
                </a:cxn>
                <a:cxn ang="0">
                  <a:pos x="5541" y="137"/>
                </a:cxn>
                <a:cxn ang="0">
                  <a:pos x="5607" y="117"/>
                </a:cxn>
                <a:cxn ang="0">
                  <a:pos x="5679" y="86"/>
                </a:cxn>
                <a:cxn ang="0">
                  <a:pos x="5736" y="70"/>
                </a:cxn>
                <a:cxn ang="0">
                  <a:pos x="5782" y="68"/>
                </a:cxn>
                <a:cxn ang="0">
                  <a:pos x="5914" y="81"/>
                </a:cxn>
                <a:cxn ang="0">
                  <a:pos x="6110" y="88"/>
                </a:cxn>
                <a:cxn ang="0">
                  <a:pos x="6288" y="82"/>
                </a:cxn>
                <a:cxn ang="0">
                  <a:pos x="6449" y="66"/>
                </a:cxn>
                <a:cxn ang="0">
                  <a:pos x="6659" y="35"/>
                </a:cxn>
                <a:cxn ang="0">
                  <a:pos x="6841" y="9"/>
                </a:cxn>
                <a:cxn ang="0">
                  <a:pos x="6949" y="0"/>
                </a:cxn>
                <a:cxn ang="0">
                  <a:pos x="7613" y="101"/>
                </a:cxn>
                <a:cxn ang="0">
                  <a:pos x="8840" y="302"/>
                </a:cxn>
                <a:cxn ang="0">
                  <a:pos x="8858" y="402"/>
                </a:cxn>
                <a:cxn ang="0">
                  <a:pos x="7666" y="399"/>
                </a:cxn>
                <a:cxn ang="0">
                  <a:pos x="6474" y="398"/>
                </a:cxn>
                <a:cxn ang="0">
                  <a:pos x="5282" y="397"/>
                </a:cxn>
                <a:cxn ang="0">
                  <a:pos x="3872" y="396"/>
                </a:cxn>
                <a:cxn ang="0">
                  <a:pos x="2244" y="393"/>
                </a:cxn>
                <a:cxn ang="0">
                  <a:pos x="902" y="391"/>
                </a:cxn>
                <a:cxn ang="0">
                  <a:pos x="88" y="389"/>
                </a:cxn>
              </a:cxnLst>
              <a:rect l="0" t="0" r="r" b="b"/>
              <a:pathLst>
                <a:path w="9454" h="403">
                  <a:moveTo>
                    <a:pt x="0" y="387"/>
                  </a:moveTo>
                  <a:lnTo>
                    <a:pt x="24" y="383"/>
                  </a:lnTo>
                  <a:lnTo>
                    <a:pt x="56" y="374"/>
                  </a:lnTo>
                  <a:lnTo>
                    <a:pt x="140" y="342"/>
                  </a:lnTo>
                  <a:lnTo>
                    <a:pt x="350" y="249"/>
                  </a:lnTo>
                  <a:lnTo>
                    <a:pt x="462" y="200"/>
                  </a:lnTo>
                  <a:lnTo>
                    <a:pt x="569" y="158"/>
                  </a:lnTo>
                  <a:lnTo>
                    <a:pt x="618" y="142"/>
                  </a:lnTo>
                  <a:lnTo>
                    <a:pt x="661" y="129"/>
                  </a:lnTo>
                  <a:lnTo>
                    <a:pt x="699" y="122"/>
                  </a:lnTo>
                  <a:lnTo>
                    <a:pt x="732" y="120"/>
                  </a:lnTo>
                  <a:lnTo>
                    <a:pt x="875" y="120"/>
                  </a:lnTo>
                  <a:lnTo>
                    <a:pt x="1059" y="116"/>
                  </a:lnTo>
                  <a:lnTo>
                    <a:pt x="1256" y="110"/>
                  </a:lnTo>
                  <a:lnTo>
                    <a:pt x="1439" y="107"/>
                  </a:lnTo>
                  <a:lnTo>
                    <a:pt x="1527" y="108"/>
                  </a:lnTo>
                  <a:lnTo>
                    <a:pt x="1624" y="112"/>
                  </a:lnTo>
                  <a:lnTo>
                    <a:pt x="1830" y="122"/>
                  </a:lnTo>
                  <a:lnTo>
                    <a:pt x="1934" y="125"/>
                  </a:lnTo>
                  <a:lnTo>
                    <a:pt x="2033" y="126"/>
                  </a:lnTo>
                  <a:lnTo>
                    <a:pt x="2125" y="123"/>
                  </a:lnTo>
                  <a:lnTo>
                    <a:pt x="2168" y="120"/>
                  </a:lnTo>
                  <a:lnTo>
                    <a:pt x="2207" y="116"/>
                  </a:lnTo>
                  <a:lnTo>
                    <a:pt x="2344" y="98"/>
                  </a:lnTo>
                  <a:lnTo>
                    <a:pt x="2455" y="86"/>
                  </a:lnTo>
                  <a:lnTo>
                    <a:pt x="2545" y="80"/>
                  </a:lnTo>
                  <a:lnTo>
                    <a:pt x="2583" y="80"/>
                  </a:lnTo>
                  <a:lnTo>
                    <a:pt x="2615" y="81"/>
                  </a:lnTo>
                  <a:lnTo>
                    <a:pt x="2651" y="87"/>
                  </a:lnTo>
                  <a:lnTo>
                    <a:pt x="2696" y="100"/>
                  </a:lnTo>
                  <a:lnTo>
                    <a:pt x="2808" y="141"/>
                  </a:lnTo>
                  <a:lnTo>
                    <a:pt x="2875" y="164"/>
                  </a:lnTo>
                  <a:lnTo>
                    <a:pt x="2949" y="187"/>
                  </a:lnTo>
                  <a:lnTo>
                    <a:pt x="3028" y="208"/>
                  </a:lnTo>
                  <a:lnTo>
                    <a:pt x="3113" y="225"/>
                  </a:lnTo>
                  <a:lnTo>
                    <a:pt x="3157" y="231"/>
                  </a:lnTo>
                  <a:lnTo>
                    <a:pt x="3197" y="233"/>
                  </a:lnTo>
                  <a:lnTo>
                    <a:pt x="3234" y="233"/>
                  </a:lnTo>
                  <a:lnTo>
                    <a:pt x="3269" y="232"/>
                  </a:lnTo>
                  <a:lnTo>
                    <a:pt x="3331" y="224"/>
                  </a:lnTo>
                  <a:lnTo>
                    <a:pt x="3387" y="211"/>
                  </a:lnTo>
                  <a:lnTo>
                    <a:pt x="3436" y="195"/>
                  </a:lnTo>
                  <a:lnTo>
                    <a:pt x="3480" y="181"/>
                  </a:lnTo>
                  <a:lnTo>
                    <a:pt x="3519" y="170"/>
                  </a:lnTo>
                  <a:lnTo>
                    <a:pt x="3557" y="166"/>
                  </a:lnTo>
                  <a:lnTo>
                    <a:pt x="3595" y="165"/>
                  </a:lnTo>
                  <a:lnTo>
                    <a:pt x="3636" y="160"/>
                  </a:lnTo>
                  <a:lnTo>
                    <a:pt x="3718" y="149"/>
                  </a:lnTo>
                  <a:lnTo>
                    <a:pt x="3789" y="140"/>
                  </a:lnTo>
                  <a:lnTo>
                    <a:pt x="3817" y="138"/>
                  </a:lnTo>
                  <a:lnTo>
                    <a:pt x="3836" y="138"/>
                  </a:lnTo>
                  <a:lnTo>
                    <a:pt x="3842" y="138"/>
                  </a:lnTo>
                  <a:lnTo>
                    <a:pt x="3847" y="137"/>
                  </a:lnTo>
                  <a:lnTo>
                    <a:pt x="3854" y="126"/>
                  </a:lnTo>
                  <a:lnTo>
                    <a:pt x="3860" y="112"/>
                  </a:lnTo>
                  <a:lnTo>
                    <a:pt x="3865" y="104"/>
                  </a:lnTo>
                  <a:lnTo>
                    <a:pt x="3871" y="94"/>
                  </a:lnTo>
                  <a:lnTo>
                    <a:pt x="3879" y="86"/>
                  </a:lnTo>
                  <a:lnTo>
                    <a:pt x="3890" y="77"/>
                  </a:lnTo>
                  <a:lnTo>
                    <a:pt x="3903" y="70"/>
                  </a:lnTo>
                  <a:lnTo>
                    <a:pt x="3921" y="63"/>
                  </a:lnTo>
                  <a:lnTo>
                    <a:pt x="3944" y="58"/>
                  </a:lnTo>
                  <a:lnTo>
                    <a:pt x="3971" y="54"/>
                  </a:lnTo>
                  <a:lnTo>
                    <a:pt x="4042" y="54"/>
                  </a:lnTo>
                  <a:lnTo>
                    <a:pt x="4266" y="71"/>
                  </a:lnTo>
                  <a:lnTo>
                    <a:pt x="4545" y="94"/>
                  </a:lnTo>
                  <a:lnTo>
                    <a:pt x="4789" y="114"/>
                  </a:lnTo>
                  <a:lnTo>
                    <a:pt x="4907" y="123"/>
                  </a:lnTo>
                  <a:lnTo>
                    <a:pt x="5127" y="135"/>
                  </a:lnTo>
                  <a:lnTo>
                    <a:pt x="5298" y="142"/>
                  </a:lnTo>
                  <a:lnTo>
                    <a:pt x="5454" y="146"/>
                  </a:lnTo>
                  <a:lnTo>
                    <a:pt x="5485" y="146"/>
                  </a:lnTo>
                  <a:lnTo>
                    <a:pt x="5514" y="142"/>
                  </a:lnTo>
                  <a:lnTo>
                    <a:pt x="5541" y="137"/>
                  </a:lnTo>
                  <a:lnTo>
                    <a:pt x="5565" y="131"/>
                  </a:lnTo>
                  <a:lnTo>
                    <a:pt x="5607" y="117"/>
                  </a:lnTo>
                  <a:lnTo>
                    <a:pt x="5643" y="101"/>
                  </a:lnTo>
                  <a:lnTo>
                    <a:pt x="5679" y="86"/>
                  </a:lnTo>
                  <a:lnTo>
                    <a:pt x="5717" y="74"/>
                  </a:lnTo>
                  <a:lnTo>
                    <a:pt x="5736" y="70"/>
                  </a:lnTo>
                  <a:lnTo>
                    <a:pt x="5757" y="68"/>
                  </a:lnTo>
                  <a:lnTo>
                    <a:pt x="5782" y="68"/>
                  </a:lnTo>
                  <a:lnTo>
                    <a:pt x="5807" y="70"/>
                  </a:lnTo>
                  <a:lnTo>
                    <a:pt x="5914" y="81"/>
                  </a:lnTo>
                  <a:lnTo>
                    <a:pt x="6014" y="87"/>
                  </a:lnTo>
                  <a:lnTo>
                    <a:pt x="6110" y="88"/>
                  </a:lnTo>
                  <a:lnTo>
                    <a:pt x="6202" y="87"/>
                  </a:lnTo>
                  <a:lnTo>
                    <a:pt x="6288" y="82"/>
                  </a:lnTo>
                  <a:lnTo>
                    <a:pt x="6370" y="75"/>
                  </a:lnTo>
                  <a:lnTo>
                    <a:pt x="6449" y="66"/>
                  </a:lnTo>
                  <a:lnTo>
                    <a:pt x="6522" y="57"/>
                  </a:lnTo>
                  <a:lnTo>
                    <a:pt x="6659" y="35"/>
                  </a:lnTo>
                  <a:lnTo>
                    <a:pt x="6783" y="16"/>
                  </a:lnTo>
                  <a:lnTo>
                    <a:pt x="6841" y="9"/>
                  </a:lnTo>
                  <a:lnTo>
                    <a:pt x="6896" y="3"/>
                  </a:lnTo>
                  <a:lnTo>
                    <a:pt x="6949" y="0"/>
                  </a:lnTo>
                  <a:lnTo>
                    <a:pt x="7000" y="1"/>
                  </a:lnTo>
                  <a:lnTo>
                    <a:pt x="7613" y="101"/>
                  </a:lnTo>
                  <a:lnTo>
                    <a:pt x="8227" y="202"/>
                  </a:lnTo>
                  <a:lnTo>
                    <a:pt x="8840" y="302"/>
                  </a:lnTo>
                  <a:lnTo>
                    <a:pt x="9454" y="403"/>
                  </a:lnTo>
                  <a:lnTo>
                    <a:pt x="8858" y="402"/>
                  </a:lnTo>
                  <a:lnTo>
                    <a:pt x="8262" y="401"/>
                  </a:lnTo>
                  <a:lnTo>
                    <a:pt x="7666" y="399"/>
                  </a:lnTo>
                  <a:lnTo>
                    <a:pt x="7070" y="399"/>
                  </a:lnTo>
                  <a:lnTo>
                    <a:pt x="6474" y="398"/>
                  </a:lnTo>
                  <a:lnTo>
                    <a:pt x="5878" y="398"/>
                  </a:lnTo>
                  <a:lnTo>
                    <a:pt x="5282" y="397"/>
                  </a:lnTo>
                  <a:lnTo>
                    <a:pt x="4686" y="397"/>
                  </a:lnTo>
                  <a:lnTo>
                    <a:pt x="3872" y="396"/>
                  </a:lnTo>
                  <a:lnTo>
                    <a:pt x="3058" y="395"/>
                  </a:lnTo>
                  <a:lnTo>
                    <a:pt x="2244" y="393"/>
                  </a:lnTo>
                  <a:lnTo>
                    <a:pt x="1430" y="392"/>
                  </a:lnTo>
                  <a:lnTo>
                    <a:pt x="902" y="391"/>
                  </a:lnTo>
                  <a:lnTo>
                    <a:pt x="374" y="390"/>
                  </a:lnTo>
                  <a:lnTo>
                    <a:pt x="88" y="389"/>
                  </a:lnTo>
                  <a:lnTo>
                    <a:pt x="0" y="38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5" name="Freeform 78"/>
            <p:cNvSpPr>
              <a:spLocks/>
            </p:cNvSpPr>
            <p:nvPr userDrawn="1"/>
          </p:nvSpPr>
          <p:spPr bwMode="auto">
            <a:xfrm>
              <a:off x="6657975" y="6373813"/>
              <a:ext cx="317500" cy="269875"/>
            </a:xfrm>
            <a:custGeom>
              <a:avLst/>
              <a:gdLst/>
              <a:ahLst/>
              <a:cxnLst>
                <a:cxn ang="0">
                  <a:pos x="331" y="740"/>
                </a:cxn>
                <a:cxn ang="0">
                  <a:pos x="278" y="752"/>
                </a:cxn>
                <a:cxn ang="0">
                  <a:pos x="265" y="723"/>
                </a:cxn>
                <a:cxn ang="0">
                  <a:pos x="223" y="735"/>
                </a:cxn>
                <a:cxn ang="0">
                  <a:pos x="230" y="709"/>
                </a:cxn>
                <a:cxn ang="0">
                  <a:pos x="101" y="748"/>
                </a:cxn>
                <a:cxn ang="0">
                  <a:pos x="141" y="711"/>
                </a:cxn>
                <a:cxn ang="0">
                  <a:pos x="93" y="687"/>
                </a:cxn>
                <a:cxn ang="0">
                  <a:pos x="47" y="626"/>
                </a:cxn>
                <a:cxn ang="0">
                  <a:pos x="31" y="588"/>
                </a:cxn>
                <a:cxn ang="0">
                  <a:pos x="88" y="582"/>
                </a:cxn>
                <a:cxn ang="0">
                  <a:pos x="120" y="543"/>
                </a:cxn>
                <a:cxn ang="0">
                  <a:pos x="208" y="499"/>
                </a:cxn>
                <a:cxn ang="0">
                  <a:pos x="142" y="511"/>
                </a:cxn>
                <a:cxn ang="0">
                  <a:pos x="72" y="484"/>
                </a:cxn>
                <a:cxn ang="0">
                  <a:pos x="100" y="410"/>
                </a:cxn>
                <a:cxn ang="0">
                  <a:pos x="140" y="354"/>
                </a:cxn>
                <a:cxn ang="0">
                  <a:pos x="168" y="335"/>
                </a:cxn>
                <a:cxn ang="0">
                  <a:pos x="187" y="291"/>
                </a:cxn>
                <a:cxn ang="0">
                  <a:pos x="233" y="248"/>
                </a:cxn>
                <a:cxn ang="0">
                  <a:pos x="242" y="230"/>
                </a:cxn>
                <a:cxn ang="0">
                  <a:pos x="136" y="216"/>
                </a:cxn>
                <a:cxn ang="0">
                  <a:pos x="154" y="169"/>
                </a:cxn>
                <a:cxn ang="0">
                  <a:pos x="166" y="118"/>
                </a:cxn>
                <a:cxn ang="0">
                  <a:pos x="208" y="100"/>
                </a:cxn>
                <a:cxn ang="0">
                  <a:pos x="254" y="37"/>
                </a:cxn>
                <a:cxn ang="0">
                  <a:pos x="327" y="15"/>
                </a:cxn>
                <a:cxn ang="0">
                  <a:pos x="412" y="11"/>
                </a:cxn>
                <a:cxn ang="0">
                  <a:pos x="436" y="81"/>
                </a:cxn>
                <a:cxn ang="0">
                  <a:pos x="491" y="67"/>
                </a:cxn>
                <a:cxn ang="0">
                  <a:pos x="495" y="115"/>
                </a:cxn>
                <a:cxn ang="0">
                  <a:pos x="574" y="105"/>
                </a:cxn>
                <a:cxn ang="0">
                  <a:pos x="662" y="112"/>
                </a:cxn>
                <a:cxn ang="0">
                  <a:pos x="737" y="133"/>
                </a:cxn>
                <a:cxn ang="0">
                  <a:pos x="804" y="150"/>
                </a:cxn>
                <a:cxn ang="0">
                  <a:pos x="778" y="183"/>
                </a:cxn>
                <a:cxn ang="0">
                  <a:pos x="813" y="231"/>
                </a:cxn>
                <a:cxn ang="0">
                  <a:pos x="755" y="234"/>
                </a:cxn>
                <a:cxn ang="0">
                  <a:pos x="754" y="264"/>
                </a:cxn>
                <a:cxn ang="0">
                  <a:pos x="822" y="320"/>
                </a:cxn>
                <a:cxn ang="0">
                  <a:pos x="888" y="326"/>
                </a:cxn>
                <a:cxn ang="0">
                  <a:pos x="878" y="380"/>
                </a:cxn>
                <a:cxn ang="0">
                  <a:pos x="916" y="407"/>
                </a:cxn>
                <a:cxn ang="0">
                  <a:pos x="966" y="414"/>
                </a:cxn>
                <a:cxn ang="0">
                  <a:pos x="988" y="468"/>
                </a:cxn>
                <a:cxn ang="0">
                  <a:pos x="966" y="478"/>
                </a:cxn>
                <a:cxn ang="0">
                  <a:pos x="998" y="531"/>
                </a:cxn>
                <a:cxn ang="0">
                  <a:pos x="996" y="573"/>
                </a:cxn>
                <a:cxn ang="0">
                  <a:pos x="899" y="591"/>
                </a:cxn>
                <a:cxn ang="0">
                  <a:pos x="858" y="616"/>
                </a:cxn>
                <a:cxn ang="0">
                  <a:pos x="848" y="644"/>
                </a:cxn>
                <a:cxn ang="0">
                  <a:pos x="874" y="694"/>
                </a:cxn>
                <a:cxn ang="0">
                  <a:pos x="823" y="718"/>
                </a:cxn>
                <a:cxn ang="0">
                  <a:pos x="784" y="706"/>
                </a:cxn>
                <a:cxn ang="0">
                  <a:pos x="715" y="701"/>
                </a:cxn>
                <a:cxn ang="0">
                  <a:pos x="692" y="712"/>
                </a:cxn>
                <a:cxn ang="0">
                  <a:pos x="678" y="724"/>
                </a:cxn>
                <a:cxn ang="0">
                  <a:pos x="687" y="751"/>
                </a:cxn>
                <a:cxn ang="0">
                  <a:pos x="640" y="755"/>
                </a:cxn>
                <a:cxn ang="0">
                  <a:pos x="598" y="763"/>
                </a:cxn>
                <a:cxn ang="0">
                  <a:pos x="578" y="774"/>
                </a:cxn>
                <a:cxn ang="0">
                  <a:pos x="494" y="777"/>
                </a:cxn>
                <a:cxn ang="0">
                  <a:pos x="480" y="734"/>
                </a:cxn>
              </a:cxnLst>
              <a:rect l="0" t="0" r="r" b="b"/>
              <a:pathLst>
                <a:path w="1003" h="849">
                  <a:moveTo>
                    <a:pt x="472" y="849"/>
                  </a:moveTo>
                  <a:lnTo>
                    <a:pt x="326" y="849"/>
                  </a:lnTo>
                  <a:lnTo>
                    <a:pt x="330" y="843"/>
                  </a:lnTo>
                  <a:lnTo>
                    <a:pt x="333" y="831"/>
                  </a:lnTo>
                  <a:lnTo>
                    <a:pt x="335" y="822"/>
                  </a:lnTo>
                  <a:lnTo>
                    <a:pt x="339" y="813"/>
                  </a:lnTo>
                  <a:lnTo>
                    <a:pt x="344" y="807"/>
                  </a:lnTo>
                  <a:lnTo>
                    <a:pt x="345" y="799"/>
                  </a:lnTo>
                  <a:lnTo>
                    <a:pt x="344" y="786"/>
                  </a:lnTo>
                  <a:lnTo>
                    <a:pt x="345" y="775"/>
                  </a:lnTo>
                  <a:lnTo>
                    <a:pt x="350" y="770"/>
                  </a:lnTo>
                  <a:lnTo>
                    <a:pt x="351" y="764"/>
                  </a:lnTo>
                  <a:lnTo>
                    <a:pt x="355" y="747"/>
                  </a:lnTo>
                  <a:lnTo>
                    <a:pt x="353" y="745"/>
                  </a:lnTo>
                  <a:lnTo>
                    <a:pt x="350" y="745"/>
                  </a:lnTo>
                  <a:lnTo>
                    <a:pt x="347" y="752"/>
                  </a:lnTo>
                  <a:lnTo>
                    <a:pt x="341" y="752"/>
                  </a:lnTo>
                  <a:lnTo>
                    <a:pt x="339" y="751"/>
                  </a:lnTo>
                  <a:lnTo>
                    <a:pt x="336" y="751"/>
                  </a:lnTo>
                  <a:lnTo>
                    <a:pt x="330" y="752"/>
                  </a:lnTo>
                  <a:lnTo>
                    <a:pt x="329" y="748"/>
                  </a:lnTo>
                  <a:lnTo>
                    <a:pt x="332" y="742"/>
                  </a:lnTo>
                  <a:lnTo>
                    <a:pt x="331" y="740"/>
                  </a:lnTo>
                  <a:lnTo>
                    <a:pt x="326" y="740"/>
                  </a:lnTo>
                  <a:lnTo>
                    <a:pt x="324" y="739"/>
                  </a:lnTo>
                  <a:lnTo>
                    <a:pt x="323" y="736"/>
                  </a:lnTo>
                  <a:lnTo>
                    <a:pt x="321" y="731"/>
                  </a:lnTo>
                  <a:lnTo>
                    <a:pt x="320" y="730"/>
                  </a:lnTo>
                  <a:lnTo>
                    <a:pt x="320" y="733"/>
                  </a:lnTo>
                  <a:lnTo>
                    <a:pt x="321" y="739"/>
                  </a:lnTo>
                  <a:lnTo>
                    <a:pt x="320" y="740"/>
                  </a:lnTo>
                  <a:lnTo>
                    <a:pt x="319" y="739"/>
                  </a:lnTo>
                  <a:lnTo>
                    <a:pt x="317" y="740"/>
                  </a:lnTo>
                  <a:lnTo>
                    <a:pt x="311" y="740"/>
                  </a:lnTo>
                  <a:lnTo>
                    <a:pt x="307" y="740"/>
                  </a:lnTo>
                  <a:lnTo>
                    <a:pt x="305" y="743"/>
                  </a:lnTo>
                  <a:lnTo>
                    <a:pt x="306" y="746"/>
                  </a:lnTo>
                  <a:lnTo>
                    <a:pt x="306" y="748"/>
                  </a:lnTo>
                  <a:lnTo>
                    <a:pt x="301" y="748"/>
                  </a:lnTo>
                  <a:lnTo>
                    <a:pt x="298" y="751"/>
                  </a:lnTo>
                  <a:lnTo>
                    <a:pt x="295" y="749"/>
                  </a:lnTo>
                  <a:lnTo>
                    <a:pt x="292" y="749"/>
                  </a:lnTo>
                  <a:lnTo>
                    <a:pt x="289" y="751"/>
                  </a:lnTo>
                  <a:lnTo>
                    <a:pt x="290" y="752"/>
                  </a:lnTo>
                  <a:lnTo>
                    <a:pt x="286" y="753"/>
                  </a:lnTo>
                  <a:lnTo>
                    <a:pt x="278" y="752"/>
                  </a:lnTo>
                  <a:lnTo>
                    <a:pt x="274" y="751"/>
                  </a:lnTo>
                  <a:lnTo>
                    <a:pt x="271" y="749"/>
                  </a:lnTo>
                  <a:lnTo>
                    <a:pt x="270" y="745"/>
                  </a:lnTo>
                  <a:lnTo>
                    <a:pt x="267" y="741"/>
                  </a:lnTo>
                  <a:lnTo>
                    <a:pt x="266" y="739"/>
                  </a:lnTo>
                  <a:lnTo>
                    <a:pt x="266" y="736"/>
                  </a:lnTo>
                  <a:lnTo>
                    <a:pt x="270" y="735"/>
                  </a:lnTo>
                  <a:lnTo>
                    <a:pt x="274" y="734"/>
                  </a:lnTo>
                  <a:lnTo>
                    <a:pt x="276" y="731"/>
                  </a:lnTo>
                  <a:lnTo>
                    <a:pt x="274" y="728"/>
                  </a:lnTo>
                  <a:lnTo>
                    <a:pt x="276" y="725"/>
                  </a:lnTo>
                  <a:lnTo>
                    <a:pt x="279" y="725"/>
                  </a:lnTo>
                  <a:lnTo>
                    <a:pt x="282" y="724"/>
                  </a:lnTo>
                  <a:lnTo>
                    <a:pt x="284" y="722"/>
                  </a:lnTo>
                  <a:lnTo>
                    <a:pt x="284" y="719"/>
                  </a:lnTo>
                  <a:lnTo>
                    <a:pt x="283" y="716"/>
                  </a:lnTo>
                  <a:lnTo>
                    <a:pt x="279" y="713"/>
                  </a:lnTo>
                  <a:lnTo>
                    <a:pt x="277" y="712"/>
                  </a:lnTo>
                  <a:lnTo>
                    <a:pt x="274" y="715"/>
                  </a:lnTo>
                  <a:lnTo>
                    <a:pt x="270" y="718"/>
                  </a:lnTo>
                  <a:lnTo>
                    <a:pt x="267" y="721"/>
                  </a:lnTo>
                  <a:lnTo>
                    <a:pt x="266" y="721"/>
                  </a:lnTo>
                  <a:lnTo>
                    <a:pt x="265" y="723"/>
                  </a:lnTo>
                  <a:lnTo>
                    <a:pt x="261" y="727"/>
                  </a:lnTo>
                  <a:lnTo>
                    <a:pt x="259" y="727"/>
                  </a:lnTo>
                  <a:lnTo>
                    <a:pt x="255" y="724"/>
                  </a:lnTo>
                  <a:lnTo>
                    <a:pt x="254" y="724"/>
                  </a:lnTo>
                  <a:lnTo>
                    <a:pt x="253" y="728"/>
                  </a:lnTo>
                  <a:lnTo>
                    <a:pt x="252" y="736"/>
                  </a:lnTo>
                  <a:lnTo>
                    <a:pt x="249" y="739"/>
                  </a:lnTo>
                  <a:lnTo>
                    <a:pt x="243" y="739"/>
                  </a:lnTo>
                  <a:lnTo>
                    <a:pt x="243" y="741"/>
                  </a:lnTo>
                  <a:lnTo>
                    <a:pt x="242" y="742"/>
                  </a:lnTo>
                  <a:lnTo>
                    <a:pt x="241" y="743"/>
                  </a:lnTo>
                  <a:lnTo>
                    <a:pt x="236" y="745"/>
                  </a:lnTo>
                  <a:lnTo>
                    <a:pt x="233" y="746"/>
                  </a:lnTo>
                  <a:lnTo>
                    <a:pt x="232" y="742"/>
                  </a:lnTo>
                  <a:lnTo>
                    <a:pt x="230" y="741"/>
                  </a:lnTo>
                  <a:lnTo>
                    <a:pt x="229" y="741"/>
                  </a:lnTo>
                  <a:lnTo>
                    <a:pt x="230" y="737"/>
                  </a:lnTo>
                  <a:lnTo>
                    <a:pt x="235" y="729"/>
                  </a:lnTo>
                  <a:lnTo>
                    <a:pt x="233" y="727"/>
                  </a:lnTo>
                  <a:lnTo>
                    <a:pt x="231" y="727"/>
                  </a:lnTo>
                  <a:lnTo>
                    <a:pt x="225" y="733"/>
                  </a:lnTo>
                  <a:lnTo>
                    <a:pt x="220" y="734"/>
                  </a:lnTo>
                  <a:lnTo>
                    <a:pt x="223" y="735"/>
                  </a:lnTo>
                  <a:lnTo>
                    <a:pt x="217" y="735"/>
                  </a:lnTo>
                  <a:lnTo>
                    <a:pt x="209" y="735"/>
                  </a:lnTo>
                  <a:lnTo>
                    <a:pt x="203" y="731"/>
                  </a:lnTo>
                  <a:lnTo>
                    <a:pt x="194" y="725"/>
                  </a:lnTo>
                  <a:lnTo>
                    <a:pt x="190" y="723"/>
                  </a:lnTo>
                  <a:lnTo>
                    <a:pt x="193" y="722"/>
                  </a:lnTo>
                  <a:lnTo>
                    <a:pt x="195" y="722"/>
                  </a:lnTo>
                  <a:lnTo>
                    <a:pt x="196" y="719"/>
                  </a:lnTo>
                  <a:lnTo>
                    <a:pt x="196" y="715"/>
                  </a:lnTo>
                  <a:lnTo>
                    <a:pt x="199" y="712"/>
                  </a:lnTo>
                  <a:lnTo>
                    <a:pt x="199" y="711"/>
                  </a:lnTo>
                  <a:lnTo>
                    <a:pt x="201" y="711"/>
                  </a:lnTo>
                  <a:lnTo>
                    <a:pt x="205" y="715"/>
                  </a:lnTo>
                  <a:lnTo>
                    <a:pt x="207" y="716"/>
                  </a:lnTo>
                  <a:lnTo>
                    <a:pt x="208" y="713"/>
                  </a:lnTo>
                  <a:lnTo>
                    <a:pt x="209" y="713"/>
                  </a:lnTo>
                  <a:lnTo>
                    <a:pt x="213" y="713"/>
                  </a:lnTo>
                  <a:lnTo>
                    <a:pt x="217" y="713"/>
                  </a:lnTo>
                  <a:lnTo>
                    <a:pt x="220" y="713"/>
                  </a:lnTo>
                  <a:lnTo>
                    <a:pt x="223" y="711"/>
                  </a:lnTo>
                  <a:lnTo>
                    <a:pt x="225" y="711"/>
                  </a:lnTo>
                  <a:lnTo>
                    <a:pt x="230" y="711"/>
                  </a:lnTo>
                  <a:lnTo>
                    <a:pt x="230" y="709"/>
                  </a:lnTo>
                  <a:lnTo>
                    <a:pt x="227" y="703"/>
                  </a:lnTo>
                  <a:lnTo>
                    <a:pt x="224" y="701"/>
                  </a:lnTo>
                  <a:lnTo>
                    <a:pt x="218" y="705"/>
                  </a:lnTo>
                  <a:lnTo>
                    <a:pt x="209" y="709"/>
                  </a:lnTo>
                  <a:lnTo>
                    <a:pt x="193" y="709"/>
                  </a:lnTo>
                  <a:lnTo>
                    <a:pt x="179" y="709"/>
                  </a:lnTo>
                  <a:lnTo>
                    <a:pt x="173" y="707"/>
                  </a:lnTo>
                  <a:lnTo>
                    <a:pt x="170" y="707"/>
                  </a:lnTo>
                  <a:lnTo>
                    <a:pt x="170" y="710"/>
                  </a:lnTo>
                  <a:lnTo>
                    <a:pt x="173" y="716"/>
                  </a:lnTo>
                  <a:lnTo>
                    <a:pt x="172" y="722"/>
                  </a:lnTo>
                  <a:lnTo>
                    <a:pt x="162" y="725"/>
                  </a:lnTo>
                  <a:lnTo>
                    <a:pt x="162" y="724"/>
                  </a:lnTo>
                  <a:lnTo>
                    <a:pt x="158" y="723"/>
                  </a:lnTo>
                  <a:lnTo>
                    <a:pt x="152" y="724"/>
                  </a:lnTo>
                  <a:lnTo>
                    <a:pt x="148" y="723"/>
                  </a:lnTo>
                  <a:lnTo>
                    <a:pt x="144" y="718"/>
                  </a:lnTo>
                  <a:lnTo>
                    <a:pt x="132" y="727"/>
                  </a:lnTo>
                  <a:lnTo>
                    <a:pt x="124" y="735"/>
                  </a:lnTo>
                  <a:lnTo>
                    <a:pt x="111" y="745"/>
                  </a:lnTo>
                  <a:lnTo>
                    <a:pt x="99" y="749"/>
                  </a:lnTo>
                  <a:lnTo>
                    <a:pt x="94" y="749"/>
                  </a:lnTo>
                  <a:lnTo>
                    <a:pt x="101" y="748"/>
                  </a:lnTo>
                  <a:lnTo>
                    <a:pt x="108" y="745"/>
                  </a:lnTo>
                  <a:lnTo>
                    <a:pt x="115" y="740"/>
                  </a:lnTo>
                  <a:lnTo>
                    <a:pt x="129" y="727"/>
                  </a:lnTo>
                  <a:lnTo>
                    <a:pt x="105" y="739"/>
                  </a:lnTo>
                  <a:lnTo>
                    <a:pt x="89" y="746"/>
                  </a:lnTo>
                  <a:lnTo>
                    <a:pt x="114" y="731"/>
                  </a:lnTo>
                  <a:lnTo>
                    <a:pt x="132" y="721"/>
                  </a:lnTo>
                  <a:lnTo>
                    <a:pt x="132" y="719"/>
                  </a:lnTo>
                  <a:lnTo>
                    <a:pt x="129" y="716"/>
                  </a:lnTo>
                  <a:lnTo>
                    <a:pt x="123" y="711"/>
                  </a:lnTo>
                  <a:lnTo>
                    <a:pt x="120" y="712"/>
                  </a:lnTo>
                  <a:lnTo>
                    <a:pt x="115" y="717"/>
                  </a:lnTo>
                  <a:lnTo>
                    <a:pt x="106" y="725"/>
                  </a:lnTo>
                  <a:lnTo>
                    <a:pt x="102" y="727"/>
                  </a:lnTo>
                  <a:lnTo>
                    <a:pt x="113" y="718"/>
                  </a:lnTo>
                  <a:lnTo>
                    <a:pt x="119" y="710"/>
                  </a:lnTo>
                  <a:lnTo>
                    <a:pt x="123" y="710"/>
                  </a:lnTo>
                  <a:lnTo>
                    <a:pt x="129" y="713"/>
                  </a:lnTo>
                  <a:lnTo>
                    <a:pt x="136" y="718"/>
                  </a:lnTo>
                  <a:lnTo>
                    <a:pt x="138" y="718"/>
                  </a:lnTo>
                  <a:lnTo>
                    <a:pt x="141" y="716"/>
                  </a:lnTo>
                  <a:lnTo>
                    <a:pt x="143" y="713"/>
                  </a:lnTo>
                  <a:lnTo>
                    <a:pt x="141" y="711"/>
                  </a:lnTo>
                  <a:lnTo>
                    <a:pt x="138" y="707"/>
                  </a:lnTo>
                  <a:lnTo>
                    <a:pt x="136" y="705"/>
                  </a:lnTo>
                  <a:lnTo>
                    <a:pt x="130" y="705"/>
                  </a:lnTo>
                  <a:lnTo>
                    <a:pt x="124" y="704"/>
                  </a:lnTo>
                  <a:lnTo>
                    <a:pt x="117" y="705"/>
                  </a:lnTo>
                  <a:lnTo>
                    <a:pt x="112" y="707"/>
                  </a:lnTo>
                  <a:lnTo>
                    <a:pt x="109" y="711"/>
                  </a:lnTo>
                  <a:lnTo>
                    <a:pt x="108" y="715"/>
                  </a:lnTo>
                  <a:lnTo>
                    <a:pt x="106" y="716"/>
                  </a:lnTo>
                  <a:lnTo>
                    <a:pt x="103" y="717"/>
                  </a:lnTo>
                  <a:lnTo>
                    <a:pt x="101" y="716"/>
                  </a:lnTo>
                  <a:lnTo>
                    <a:pt x="100" y="710"/>
                  </a:lnTo>
                  <a:lnTo>
                    <a:pt x="102" y="706"/>
                  </a:lnTo>
                  <a:lnTo>
                    <a:pt x="101" y="705"/>
                  </a:lnTo>
                  <a:lnTo>
                    <a:pt x="99" y="705"/>
                  </a:lnTo>
                  <a:lnTo>
                    <a:pt x="91" y="709"/>
                  </a:lnTo>
                  <a:lnTo>
                    <a:pt x="90" y="709"/>
                  </a:lnTo>
                  <a:lnTo>
                    <a:pt x="89" y="706"/>
                  </a:lnTo>
                  <a:lnTo>
                    <a:pt x="88" y="701"/>
                  </a:lnTo>
                  <a:lnTo>
                    <a:pt x="89" y="695"/>
                  </a:lnTo>
                  <a:lnTo>
                    <a:pt x="90" y="693"/>
                  </a:lnTo>
                  <a:lnTo>
                    <a:pt x="93" y="691"/>
                  </a:lnTo>
                  <a:lnTo>
                    <a:pt x="93" y="687"/>
                  </a:lnTo>
                  <a:lnTo>
                    <a:pt x="89" y="682"/>
                  </a:lnTo>
                  <a:lnTo>
                    <a:pt x="88" y="679"/>
                  </a:lnTo>
                  <a:lnTo>
                    <a:pt x="84" y="676"/>
                  </a:lnTo>
                  <a:lnTo>
                    <a:pt x="84" y="671"/>
                  </a:lnTo>
                  <a:lnTo>
                    <a:pt x="91" y="665"/>
                  </a:lnTo>
                  <a:lnTo>
                    <a:pt x="94" y="663"/>
                  </a:lnTo>
                  <a:lnTo>
                    <a:pt x="94" y="662"/>
                  </a:lnTo>
                  <a:lnTo>
                    <a:pt x="89" y="659"/>
                  </a:lnTo>
                  <a:lnTo>
                    <a:pt x="88" y="657"/>
                  </a:lnTo>
                  <a:lnTo>
                    <a:pt x="90" y="654"/>
                  </a:lnTo>
                  <a:lnTo>
                    <a:pt x="96" y="650"/>
                  </a:lnTo>
                  <a:lnTo>
                    <a:pt x="100" y="646"/>
                  </a:lnTo>
                  <a:lnTo>
                    <a:pt x="101" y="639"/>
                  </a:lnTo>
                  <a:lnTo>
                    <a:pt x="102" y="634"/>
                  </a:lnTo>
                  <a:lnTo>
                    <a:pt x="103" y="629"/>
                  </a:lnTo>
                  <a:lnTo>
                    <a:pt x="84" y="629"/>
                  </a:lnTo>
                  <a:lnTo>
                    <a:pt x="77" y="630"/>
                  </a:lnTo>
                  <a:lnTo>
                    <a:pt x="72" y="629"/>
                  </a:lnTo>
                  <a:lnTo>
                    <a:pt x="69" y="626"/>
                  </a:lnTo>
                  <a:lnTo>
                    <a:pt x="65" y="627"/>
                  </a:lnTo>
                  <a:lnTo>
                    <a:pt x="61" y="630"/>
                  </a:lnTo>
                  <a:lnTo>
                    <a:pt x="55" y="629"/>
                  </a:lnTo>
                  <a:lnTo>
                    <a:pt x="47" y="626"/>
                  </a:lnTo>
                  <a:lnTo>
                    <a:pt x="41" y="627"/>
                  </a:lnTo>
                  <a:lnTo>
                    <a:pt x="35" y="628"/>
                  </a:lnTo>
                  <a:lnTo>
                    <a:pt x="30" y="624"/>
                  </a:lnTo>
                  <a:lnTo>
                    <a:pt x="23" y="618"/>
                  </a:lnTo>
                  <a:lnTo>
                    <a:pt x="19" y="611"/>
                  </a:lnTo>
                  <a:lnTo>
                    <a:pt x="14" y="608"/>
                  </a:lnTo>
                  <a:lnTo>
                    <a:pt x="12" y="605"/>
                  </a:lnTo>
                  <a:lnTo>
                    <a:pt x="13" y="603"/>
                  </a:lnTo>
                  <a:lnTo>
                    <a:pt x="16" y="596"/>
                  </a:lnTo>
                  <a:lnTo>
                    <a:pt x="14" y="597"/>
                  </a:lnTo>
                  <a:lnTo>
                    <a:pt x="10" y="591"/>
                  </a:lnTo>
                  <a:lnTo>
                    <a:pt x="4" y="578"/>
                  </a:lnTo>
                  <a:lnTo>
                    <a:pt x="0" y="570"/>
                  </a:lnTo>
                  <a:lnTo>
                    <a:pt x="0" y="569"/>
                  </a:lnTo>
                  <a:lnTo>
                    <a:pt x="2" y="569"/>
                  </a:lnTo>
                  <a:lnTo>
                    <a:pt x="10" y="566"/>
                  </a:lnTo>
                  <a:lnTo>
                    <a:pt x="12" y="564"/>
                  </a:lnTo>
                  <a:lnTo>
                    <a:pt x="14" y="567"/>
                  </a:lnTo>
                  <a:lnTo>
                    <a:pt x="18" y="573"/>
                  </a:lnTo>
                  <a:lnTo>
                    <a:pt x="23" y="575"/>
                  </a:lnTo>
                  <a:lnTo>
                    <a:pt x="28" y="576"/>
                  </a:lnTo>
                  <a:lnTo>
                    <a:pt x="29" y="580"/>
                  </a:lnTo>
                  <a:lnTo>
                    <a:pt x="31" y="588"/>
                  </a:lnTo>
                  <a:lnTo>
                    <a:pt x="32" y="591"/>
                  </a:lnTo>
                  <a:lnTo>
                    <a:pt x="34" y="590"/>
                  </a:lnTo>
                  <a:lnTo>
                    <a:pt x="36" y="586"/>
                  </a:lnTo>
                  <a:lnTo>
                    <a:pt x="38" y="582"/>
                  </a:lnTo>
                  <a:lnTo>
                    <a:pt x="42" y="581"/>
                  </a:lnTo>
                  <a:lnTo>
                    <a:pt x="46" y="582"/>
                  </a:lnTo>
                  <a:lnTo>
                    <a:pt x="50" y="581"/>
                  </a:lnTo>
                  <a:lnTo>
                    <a:pt x="56" y="580"/>
                  </a:lnTo>
                  <a:lnTo>
                    <a:pt x="52" y="575"/>
                  </a:lnTo>
                  <a:lnTo>
                    <a:pt x="49" y="572"/>
                  </a:lnTo>
                  <a:lnTo>
                    <a:pt x="49" y="568"/>
                  </a:lnTo>
                  <a:lnTo>
                    <a:pt x="52" y="566"/>
                  </a:lnTo>
                  <a:lnTo>
                    <a:pt x="55" y="566"/>
                  </a:lnTo>
                  <a:lnTo>
                    <a:pt x="61" y="566"/>
                  </a:lnTo>
                  <a:lnTo>
                    <a:pt x="63" y="566"/>
                  </a:lnTo>
                  <a:lnTo>
                    <a:pt x="64" y="568"/>
                  </a:lnTo>
                  <a:lnTo>
                    <a:pt x="64" y="574"/>
                  </a:lnTo>
                  <a:lnTo>
                    <a:pt x="72" y="578"/>
                  </a:lnTo>
                  <a:lnTo>
                    <a:pt x="70" y="579"/>
                  </a:lnTo>
                  <a:lnTo>
                    <a:pt x="75" y="580"/>
                  </a:lnTo>
                  <a:lnTo>
                    <a:pt x="84" y="582"/>
                  </a:lnTo>
                  <a:lnTo>
                    <a:pt x="85" y="584"/>
                  </a:lnTo>
                  <a:lnTo>
                    <a:pt x="88" y="582"/>
                  </a:lnTo>
                  <a:lnTo>
                    <a:pt x="89" y="578"/>
                  </a:lnTo>
                  <a:lnTo>
                    <a:pt x="94" y="579"/>
                  </a:lnTo>
                  <a:lnTo>
                    <a:pt x="106" y="587"/>
                  </a:lnTo>
                  <a:lnTo>
                    <a:pt x="108" y="587"/>
                  </a:lnTo>
                  <a:lnTo>
                    <a:pt x="112" y="586"/>
                  </a:lnTo>
                  <a:lnTo>
                    <a:pt x="113" y="581"/>
                  </a:lnTo>
                  <a:lnTo>
                    <a:pt x="115" y="579"/>
                  </a:lnTo>
                  <a:lnTo>
                    <a:pt x="117" y="581"/>
                  </a:lnTo>
                  <a:lnTo>
                    <a:pt x="121" y="581"/>
                  </a:lnTo>
                  <a:lnTo>
                    <a:pt x="129" y="579"/>
                  </a:lnTo>
                  <a:lnTo>
                    <a:pt x="136" y="578"/>
                  </a:lnTo>
                  <a:lnTo>
                    <a:pt x="137" y="578"/>
                  </a:lnTo>
                  <a:lnTo>
                    <a:pt x="134" y="575"/>
                  </a:lnTo>
                  <a:lnTo>
                    <a:pt x="125" y="568"/>
                  </a:lnTo>
                  <a:lnTo>
                    <a:pt x="124" y="564"/>
                  </a:lnTo>
                  <a:lnTo>
                    <a:pt x="121" y="562"/>
                  </a:lnTo>
                  <a:lnTo>
                    <a:pt x="118" y="562"/>
                  </a:lnTo>
                  <a:lnTo>
                    <a:pt x="117" y="560"/>
                  </a:lnTo>
                  <a:lnTo>
                    <a:pt x="114" y="557"/>
                  </a:lnTo>
                  <a:lnTo>
                    <a:pt x="112" y="554"/>
                  </a:lnTo>
                  <a:lnTo>
                    <a:pt x="113" y="550"/>
                  </a:lnTo>
                  <a:lnTo>
                    <a:pt x="118" y="546"/>
                  </a:lnTo>
                  <a:lnTo>
                    <a:pt x="120" y="543"/>
                  </a:lnTo>
                  <a:lnTo>
                    <a:pt x="120" y="541"/>
                  </a:lnTo>
                  <a:lnTo>
                    <a:pt x="123" y="540"/>
                  </a:lnTo>
                  <a:lnTo>
                    <a:pt x="128" y="539"/>
                  </a:lnTo>
                  <a:lnTo>
                    <a:pt x="134" y="535"/>
                  </a:lnTo>
                  <a:lnTo>
                    <a:pt x="140" y="529"/>
                  </a:lnTo>
                  <a:lnTo>
                    <a:pt x="144" y="526"/>
                  </a:lnTo>
                  <a:lnTo>
                    <a:pt x="147" y="521"/>
                  </a:lnTo>
                  <a:lnTo>
                    <a:pt x="149" y="520"/>
                  </a:lnTo>
                  <a:lnTo>
                    <a:pt x="160" y="525"/>
                  </a:lnTo>
                  <a:lnTo>
                    <a:pt x="168" y="522"/>
                  </a:lnTo>
                  <a:lnTo>
                    <a:pt x="173" y="521"/>
                  </a:lnTo>
                  <a:lnTo>
                    <a:pt x="177" y="519"/>
                  </a:lnTo>
                  <a:lnTo>
                    <a:pt x="182" y="514"/>
                  </a:lnTo>
                  <a:lnTo>
                    <a:pt x="187" y="509"/>
                  </a:lnTo>
                  <a:lnTo>
                    <a:pt x="188" y="507"/>
                  </a:lnTo>
                  <a:lnTo>
                    <a:pt x="189" y="507"/>
                  </a:lnTo>
                  <a:lnTo>
                    <a:pt x="190" y="509"/>
                  </a:lnTo>
                  <a:lnTo>
                    <a:pt x="194" y="516"/>
                  </a:lnTo>
                  <a:lnTo>
                    <a:pt x="199" y="516"/>
                  </a:lnTo>
                  <a:lnTo>
                    <a:pt x="201" y="516"/>
                  </a:lnTo>
                  <a:lnTo>
                    <a:pt x="203" y="513"/>
                  </a:lnTo>
                  <a:lnTo>
                    <a:pt x="208" y="507"/>
                  </a:lnTo>
                  <a:lnTo>
                    <a:pt x="208" y="499"/>
                  </a:lnTo>
                  <a:lnTo>
                    <a:pt x="206" y="498"/>
                  </a:lnTo>
                  <a:lnTo>
                    <a:pt x="202" y="498"/>
                  </a:lnTo>
                  <a:lnTo>
                    <a:pt x="199" y="503"/>
                  </a:lnTo>
                  <a:lnTo>
                    <a:pt x="197" y="503"/>
                  </a:lnTo>
                  <a:lnTo>
                    <a:pt x="195" y="501"/>
                  </a:lnTo>
                  <a:lnTo>
                    <a:pt x="193" y="495"/>
                  </a:lnTo>
                  <a:lnTo>
                    <a:pt x="190" y="493"/>
                  </a:lnTo>
                  <a:lnTo>
                    <a:pt x="185" y="496"/>
                  </a:lnTo>
                  <a:lnTo>
                    <a:pt x="184" y="498"/>
                  </a:lnTo>
                  <a:lnTo>
                    <a:pt x="183" y="502"/>
                  </a:lnTo>
                  <a:lnTo>
                    <a:pt x="182" y="503"/>
                  </a:lnTo>
                  <a:lnTo>
                    <a:pt x="178" y="501"/>
                  </a:lnTo>
                  <a:lnTo>
                    <a:pt x="165" y="496"/>
                  </a:lnTo>
                  <a:lnTo>
                    <a:pt x="160" y="493"/>
                  </a:lnTo>
                  <a:lnTo>
                    <a:pt x="158" y="493"/>
                  </a:lnTo>
                  <a:lnTo>
                    <a:pt x="158" y="496"/>
                  </a:lnTo>
                  <a:lnTo>
                    <a:pt x="160" y="499"/>
                  </a:lnTo>
                  <a:lnTo>
                    <a:pt x="165" y="504"/>
                  </a:lnTo>
                  <a:lnTo>
                    <a:pt x="162" y="505"/>
                  </a:lnTo>
                  <a:lnTo>
                    <a:pt x="153" y="503"/>
                  </a:lnTo>
                  <a:lnTo>
                    <a:pt x="148" y="503"/>
                  </a:lnTo>
                  <a:lnTo>
                    <a:pt x="144" y="509"/>
                  </a:lnTo>
                  <a:lnTo>
                    <a:pt x="142" y="511"/>
                  </a:lnTo>
                  <a:lnTo>
                    <a:pt x="138" y="509"/>
                  </a:lnTo>
                  <a:lnTo>
                    <a:pt x="135" y="508"/>
                  </a:lnTo>
                  <a:lnTo>
                    <a:pt x="132" y="503"/>
                  </a:lnTo>
                  <a:lnTo>
                    <a:pt x="135" y="497"/>
                  </a:lnTo>
                  <a:lnTo>
                    <a:pt x="132" y="497"/>
                  </a:lnTo>
                  <a:lnTo>
                    <a:pt x="120" y="497"/>
                  </a:lnTo>
                  <a:lnTo>
                    <a:pt x="120" y="498"/>
                  </a:lnTo>
                  <a:lnTo>
                    <a:pt x="119" y="501"/>
                  </a:lnTo>
                  <a:lnTo>
                    <a:pt x="114" y="503"/>
                  </a:lnTo>
                  <a:lnTo>
                    <a:pt x="111" y="503"/>
                  </a:lnTo>
                  <a:lnTo>
                    <a:pt x="108" y="499"/>
                  </a:lnTo>
                  <a:lnTo>
                    <a:pt x="106" y="499"/>
                  </a:lnTo>
                  <a:lnTo>
                    <a:pt x="99" y="504"/>
                  </a:lnTo>
                  <a:lnTo>
                    <a:pt x="95" y="507"/>
                  </a:lnTo>
                  <a:lnTo>
                    <a:pt x="93" y="507"/>
                  </a:lnTo>
                  <a:lnTo>
                    <a:pt x="89" y="504"/>
                  </a:lnTo>
                  <a:lnTo>
                    <a:pt x="83" y="499"/>
                  </a:lnTo>
                  <a:lnTo>
                    <a:pt x="81" y="497"/>
                  </a:lnTo>
                  <a:lnTo>
                    <a:pt x="81" y="495"/>
                  </a:lnTo>
                  <a:lnTo>
                    <a:pt x="83" y="492"/>
                  </a:lnTo>
                  <a:lnTo>
                    <a:pt x="81" y="490"/>
                  </a:lnTo>
                  <a:lnTo>
                    <a:pt x="76" y="487"/>
                  </a:lnTo>
                  <a:lnTo>
                    <a:pt x="72" y="484"/>
                  </a:lnTo>
                  <a:lnTo>
                    <a:pt x="70" y="477"/>
                  </a:lnTo>
                  <a:lnTo>
                    <a:pt x="72" y="474"/>
                  </a:lnTo>
                  <a:lnTo>
                    <a:pt x="76" y="474"/>
                  </a:lnTo>
                  <a:lnTo>
                    <a:pt x="83" y="475"/>
                  </a:lnTo>
                  <a:lnTo>
                    <a:pt x="88" y="479"/>
                  </a:lnTo>
                  <a:lnTo>
                    <a:pt x="93" y="484"/>
                  </a:lnTo>
                  <a:lnTo>
                    <a:pt x="94" y="481"/>
                  </a:lnTo>
                  <a:lnTo>
                    <a:pt x="93" y="478"/>
                  </a:lnTo>
                  <a:lnTo>
                    <a:pt x="93" y="477"/>
                  </a:lnTo>
                  <a:lnTo>
                    <a:pt x="94" y="474"/>
                  </a:lnTo>
                  <a:lnTo>
                    <a:pt x="97" y="469"/>
                  </a:lnTo>
                  <a:lnTo>
                    <a:pt x="101" y="465"/>
                  </a:lnTo>
                  <a:lnTo>
                    <a:pt x="107" y="460"/>
                  </a:lnTo>
                  <a:lnTo>
                    <a:pt x="112" y="456"/>
                  </a:lnTo>
                  <a:lnTo>
                    <a:pt x="113" y="453"/>
                  </a:lnTo>
                  <a:lnTo>
                    <a:pt x="114" y="450"/>
                  </a:lnTo>
                  <a:lnTo>
                    <a:pt x="113" y="449"/>
                  </a:lnTo>
                  <a:lnTo>
                    <a:pt x="103" y="444"/>
                  </a:lnTo>
                  <a:lnTo>
                    <a:pt x="100" y="440"/>
                  </a:lnTo>
                  <a:lnTo>
                    <a:pt x="99" y="433"/>
                  </a:lnTo>
                  <a:lnTo>
                    <a:pt x="99" y="419"/>
                  </a:lnTo>
                  <a:lnTo>
                    <a:pt x="99" y="414"/>
                  </a:lnTo>
                  <a:lnTo>
                    <a:pt x="100" y="410"/>
                  </a:lnTo>
                  <a:lnTo>
                    <a:pt x="95" y="407"/>
                  </a:lnTo>
                  <a:lnTo>
                    <a:pt x="91" y="406"/>
                  </a:lnTo>
                  <a:lnTo>
                    <a:pt x="89" y="401"/>
                  </a:lnTo>
                  <a:lnTo>
                    <a:pt x="87" y="394"/>
                  </a:lnTo>
                  <a:lnTo>
                    <a:pt x="89" y="386"/>
                  </a:lnTo>
                  <a:lnTo>
                    <a:pt x="95" y="382"/>
                  </a:lnTo>
                  <a:lnTo>
                    <a:pt x="97" y="377"/>
                  </a:lnTo>
                  <a:lnTo>
                    <a:pt x="95" y="372"/>
                  </a:lnTo>
                  <a:lnTo>
                    <a:pt x="95" y="366"/>
                  </a:lnTo>
                  <a:lnTo>
                    <a:pt x="99" y="361"/>
                  </a:lnTo>
                  <a:lnTo>
                    <a:pt x="102" y="356"/>
                  </a:lnTo>
                  <a:lnTo>
                    <a:pt x="102" y="350"/>
                  </a:lnTo>
                  <a:lnTo>
                    <a:pt x="102" y="349"/>
                  </a:lnTo>
                  <a:lnTo>
                    <a:pt x="105" y="348"/>
                  </a:lnTo>
                  <a:lnTo>
                    <a:pt x="109" y="349"/>
                  </a:lnTo>
                  <a:lnTo>
                    <a:pt x="114" y="352"/>
                  </a:lnTo>
                  <a:lnTo>
                    <a:pt x="121" y="350"/>
                  </a:lnTo>
                  <a:lnTo>
                    <a:pt x="124" y="349"/>
                  </a:lnTo>
                  <a:lnTo>
                    <a:pt x="126" y="350"/>
                  </a:lnTo>
                  <a:lnTo>
                    <a:pt x="130" y="355"/>
                  </a:lnTo>
                  <a:lnTo>
                    <a:pt x="134" y="356"/>
                  </a:lnTo>
                  <a:lnTo>
                    <a:pt x="138" y="354"/>
                  </a:lnTo>
                  <a:lnTo>
                    <a:pt x="140" y="354"/>
                  </a:lnTo>
                  <a:lnTo>
                    <a:pt x="141" y="356"/>
                  </a:lnTo>
                  <a:lnTo>
                    <a:pt x="142" y="364"/>
                  </a:lnTo>
                  <a:lnTo>
                    <a:pt x="143" y="367"/>
                  </a:lnTo>
                  <a:lnTo>
                    <a:pt x="146" y="368"/>
                  </a:lnTo>
                  <a:lnTo>
                    <a:pt x="152" y="370"/>
                  </a:lnTo>
                  <a:lnTo>
                    <a:pt x="153" y="367"/>
                  </a:lnTo>
                  <a:lnTo>
                    <a:pt x="155" y="361"/>
                  </a:lnTo>
                  <a:lnTo>
                    <a:pt x="154" y="359"/>
                  </a:lnTo>
                  <a:lnTo>
                    <a:pt x="150" y="355"/>
                  </a:lnTo>
                  <a:lnTo>
                    <a:pt x="140" y="352"/>
                  </a:lnTo>
                  <a:lnTo>
                    <a:pt x="137" y="349"/>
                  </a:lnTo>
                  <a:lnTo>
                    <a:pt x="136" y="346"/>
                  </a:lnTo>
                  <a:lnTo>
                    <a:pt x="138" y="338"/>
                  </a:lnTo>
                  <a:lnTo>
                    <a:pt x="141" y="333"/>
                  </a:lnTo>
                  <a:lnTo>
                    <a:pt x="140" y="329"/>
                  </a:lnTo>
                  <a:lnTo>
                    <a:pt x="143" y="329"/>
                  </a:lnTo>
                  <a:lnTo>
                    <a:pt x="149" y="330"/>
                  </a:lnTo>
                  <a:lnTo>
                    <a:pt x="155" y="331"/>
                  </a:lnTo>
                  <a:lnTo>
                    <a:pt x="162" y="337"/>
                  </a:lnTo>
                  <a:lnTo>
                    <a:pt x="166" y="340"/>
                  </a:lnTo>
                  <a:lnTo>
                    <a:pt x="171" y="338"/>
                  </a:lnTo>
                  <a:lnTo>
                    <a:pt x="171" y="337"/>
                  </a:lnTo>
                  <a:lnTo>
                    <a:pt x="168" y="335"/>
                  </a:lnTo>
                  <a:lnTo>
                    <a:pt x="165" y="330"/>
                  </a:lnTo>
                  <a:lnTo>
                    <a:pt x="160" y="326"/>
                  </a:lnTo>
                  <a:lnTo>
                    <a:pt x="154" y="323"/>
                  </a:lnTo>
                  <a:lnTo>
                    <a:pt x="153" y="318"/>
                  </a:lnTo>
                  <a:lnTo>
                    <a:pt x="158" y="307"/>
                  </a:lnTo>
                  <a:lnTo>
                    <a:pt x="166" y="306"/>
                  </a:lnTo>
                  <a:lnTo>
                    <a:pt x="170" y="305"/>
                  </a:lnTo>
                  <a:lnTo>
                    <a:pt x="173" y="306"/>
                  </a:lnTo>
                  <a:lnTo>
                    <a:pt x="178" y="307"/>
                  </a:lnTo>
                  <a:lnTo>
                    <a:pt x="180" y="308"/>
                  </a:lnTo>
                  <a:lnTo>
                    <a:pt x="180" y="312"/>
                  </a:lnTo>
                  <a:lnTo>
                    <a:pt x="180" y="320"/>
                  </a:lnTo>
                  <a:lnTo>
                    <a:pt x="182" y="321"/>
                  </a:lnTo>
                  <a:lnTo>
                    <a:pt x="184" y="320"/>
                  </a:lnTo>
                  <a:lnTo>
                    <a:pt x="189" y="317"/>
                  </a:lnTo>
                  <a:lnTo>
                    <a:pt x="193" y="314"/>
                  </a:lnTo>
                  <a:lnTo>
                    <a:pt x="194" y="311"/>
                  </a:lnTo>
                  <a:lnTo>
                    <a:pt x="193" y="308"/>
                  </a:lnTo>
                  <a:lnTo>
                    <a:pt x="190" y="307"/>
                  </a:lnTo>
                  <a:lnTo>
                    <a:pt x="189" y="306"/>
                  </a:lnTo>
                  <a:lnTo>
                    <a:pt x="188" y="302"/>
                  </a:lnTo>
                  <a:lnTo>
                    <a:pt x="188" y="294"/>
                  </a:lnTo>
                  <a:lnTo>
                    <a:pt x="187" y="291"/>
                  </a:lnTo>
                  <a:lnTo>
                    <a:pt x="184" y="290"/>
                  </a:lnTo>
                  <a:lnTo>
                    <a:pt x="174" y="290"/>
                  </a:lnTo>
                  <a:lnTo>
                    <a:pt x="167" y="287"/>
                  </a:lnTo>
                  <a:lnTo>
                    <a:pt x="165" y="283"/>
                  </a:lnTo>
                  <a:lnTo>
                    <a:pt x="167" y="276"/>
                  </a:lnTo>
                  <a:lnTo>
                    <a:pt x="173" y="270"/>
                  </a:lnTo>
                  <a:lnTo>
                    <a:pt x="178" y="267"/>
                  </a:lnTo>
                  <a:lnTo>
                    <a:pt x="180" y="265"/>
                  </a:lnTo>
                  <a:lnTo>
                    <a:pt x="184" y="266"/>
                  </a:lnTo>
                  <a:lnTo>
                    <a:pt x="194" y="270"/>
                  </a:lnTo>
                  <a:lnTo>
                    <a:pt x="201" y="270"/>
                  </a:lnTo>
                  <a:lnTo>
                    <a:pt x="208" y="270"/>
                  </a:lnTo>
                  <a:lnTo>
                    <a:pt x="214" y="269"/>
                  </a:lnTo>
                  <a:lnTo>
                    <a:pt x="220" y="269"/>
                  </a:lnTo>
                  <a:lnTo>
                    <a:pt x="224" y="270"/>
                  </a:lnTo>
                  <a:lnTo>
                    <a:pt x="227" y="270"/>
                  </a:lnTo>
                  <a:lnTo>
                    <a:pt x="230" y="267"/>
                  </a:lnTo>
                  <a:lnTo>
                    <a:pt x="231" y="263"/>
                  </a:lnTo>
                  <a:lnTo>
                    <a:pt x="233" y="259"/>
                  </a:lnTo>
                  <a:lnTo>
                    <a:pt x="237" y="257"/>
                  </a:lnTo>
                  <a:lnTo>
                    <a:pt x="242" y="252"/>
                  </a:lnTo>
                  <a:lnTo>
                    <a:pt x="242" y="249"/>
                  </a:lnTo>
                  <a:lnTo>
                    <a:pt x="233" y="248"/>
                  </a:lnTo>
                  <a:lnTo>
                    <a:pt x="229" y="252"/>
                  </a:lnTo>
                  <a:lnTo>
                    <a:pt x="226" y="246"/>
                  </a:lnTo>
                  <a:lnTo>
                    <a:pt x="223" y="245"/>
                  </a:lnTo>
                  <a:lnTo>
                    <a:pt x="219" y="243"/>
                  </a:lnTo>
                  <a:lnTo>
                    <a:pt x="220" y="242"/>
                  </a:lnTo>
                  <a:lnTo>
                    <a:pt x="218" y="239"/>
                  </a:lnTo>
                  <a:lnTo>
                    <a:pt x="208" y="234"/>
                  </a:lnTo>
                  <a:lnTo>
                    <a:pt x="206" y="231"/>
                  </a:lnTo>
                  <a:lnTo>
                    <a:pt x="206" y="230"/>
                  </a:lnTo>
                  <a:lnTo>
                    <a:pt x="212" y="229"/>
                  </a:lnTo>
                  <a:lnTo>
                    <a:pt x="218" y="230"/>
                  </a:lnTo>
                  <a:lnTo>
                    <a:pt x="219" y="233"/>
                  </a:lnTo>
                  <a:lnTo>
                    <a:pt x="223" y="233"/>
                  </a:lnTo>
                  <a:lnTo>
                    <a:pt x="227" y="231"/>
                  </a:lnTo>
                  <a:lnTo>
                    <a:pt x="227" y="230"/>
                  </a:lnTo>
                  <a:lnTo>
                    <a:pt x="229" y="229"/>
                  </a:lnTo>
                  <a:lnTo>
                    <a:pt x="231" y="226"/>
                  </a:lnTo>
                  <a:lnTo>
                    <a:pt x="233" y="219"/>
                  </a:lnTo>
                  <a:lnTo>
                    <a:pt x="233" y="220"/>
                  </a:lnTo>
                  <a:lnTo>
                    <a:pt x="236" y="222"/>
                  </a:lnTo>
                  <a:lnTo>
                    <a:pt x="238" y="222"/>
                  </a:lnTo>
                  <a:lnTo>
                    <a:pt x="239" y="224"/>
                  </a:lnTo>
                  <a:lnTo>
                    <a:pt x="242" y="230"/>
                  </a:lnTo>
                  <a:lnTo>
                    <a:pt x="246" y="234"/>
                  </a:lnTo>
                  <a:lnTo>
                    <a:pt x="250" y="230"/>
                  </a:lnTo>
                  <a:lnTo>
                    <a:pt x="254" y="225"/>
                  </a:lnTo>
                  <a:lnTo>
                    <a:pt x="258" y="220"/>
                  </a:lnTo>
                  <a:lnTo>
                    <a:pt x="262" y="217"/>
                  </a:lnTo>
                  <a:lnTo>
                    <a:pt x="262" y="214"/>
                  </a:lnTo>
                  <a:lnTo>
                    <a:pt x="255" y="210"/>
                  </a:lnTo>
                  <a:lnTo>
                    <a:pt x="252" y="208"/>
                  </a:lnTo>
                  <a:lnTo>
                    <a:pt x="244" y="208"/>
                  </a:lnTo>
                  <a:lnTo>
                    <a:pt x="236" y="211"/>
                  </a:lnTo>
                  <a:lnTo>
                    <a:pt x="231" y="210"/>
                  </a:lnTo>
                  <a:lnTo>
                    <a:pt x="225" y="208"/>
                  </a:lnTo>
                  <a:lnTo>
                    <a:pt x="221" y="208"/>
                  </a:lnTo>
                  <a:lnTo>
                    <a:pt x="217" y="207"/>
                  </a:lnTo>
                  <a:lnTo>
                    <a:pt x="206" y="205"/>
                  </a:lnTo>
                  <a:lnTo>
                    <a:pt x="200" y="202"/>
                  </a:lnTo>
                  <a:lnTo>
                    <a:pt x="199" y="200"/>
                  </a:lnTo>
                  <a:lnTo>
                    <a:pt x="190" y="200"/>
                  </a:lnTo>
                  <a:lnTo>
                    <a:pt x="179" y="206"/>
                  </a:lnTo>
                  <a:lnTo>
                    <a:pt x="171" y="210"/>
                  </a:lnTo>
                  <a:lnTo>
                    <a:pt x="160" y="212"/>
                  </a:lnTo>
                  <a:lnTo>
                    <a:pt x="153" y="214"/>
                  </a:lnTo>
                  <a:lnTo>
                    <a:pt x="136" y="216"/>
                  </a:lnTo>
                  <a:lnTo>
                    <a:pt x="129" y="220"/>
                  </a:lnTo>
                  <a:lnTo>
                    <a:pt x="123" y="220"/>
                  </a:lnTo>
                  <a:lnTo>
                    <a:pt x="119" y="219"/>
                  </a:lnTo>
                  <a:lnTo>
                    <a:pt x="108" y="216"/>
                  </a:lnTo>
                  <a:lnTo>
                    <a:pt x="102" y="213"/>
                  </a:lnTo>
                  <a:lnTo>
                    <a:pt x="100" y="208"/>
                  </a:lnTo>
                  <a:lnTo>
                    <a:pt x="101" y="202"/>
                  </a:lnTo>
                  <a:lnTo>
                    <a:pt x="106" y="200"/>
                  </a:lnTo>
                  <a:lnTo>
                    <a:pt x="109" y="198"/>
                  </a:lnTo>
                  <a:lnTo>
                    <a:pt x="111" y="194"/>
                  </a:lnTo>
                  <a:lnTo>
                    <a:pt x="108" y="188"/>
                  </a:lnTo>
                  <a:lnTo>
                    <a:pt x="113" y="188"/>
                  </a:lnTo>
                  <a:lnTo>
                    <a:pt x="121" y="188"/>
                  </a:lnTo>
                  <a:lnTo>
                    <a:pt x="126" y="187"/>
                  </a:lnTo>
                  <a:lnTo>
                    <a:pt x="131" y="188"/>
                  </a:lnTo>
                  <a:lnTo>
                    <a:pt x="135" y="186"/>
                  </a:lnTo>
                  <a:lnTo>
                    <a:pt x="136" y="181"/>
                  </a:lnTo>
                  <a:lnTo>
                    <a:pt x="138" y="178"/>
                  </a:lnTo>
                  <a:lnTo>
                    <a:pt x="142" y="175"/>
                  </a:lnTo>
                  <a:lnTo>
                    <a:pt x="142" y="172"/>
                  </a:lnTo>
                  <a:lnTo>
                    <a:pt x="144" y="171"/>
                  </a:lnTo>
                  <a:lnTo>
                    <a:pt x="153" y="170"/>
                  </a:lnTo>
                  <a:lnTo>
                    <a:pt x="154" y="169"/>
                  </a:lnTo>
                  <a:lnTo>
                    <a:pt x="155" y="166"/>
                  </a:lnTo>
                  <a:lnTo>
                    <a:pt x="150" y="160"/>
                  </a:lnTo>
                  <a:lnTo>
                    <a:pt x="143" y="158"/>
                  </a:lnTo>
                  <a:lnTo>
                    <a:pt x="143" y="160"/>
                  </a:lnTo>
                  <a:lnTo>
                    <a:pt x="142" y="162"/>
                  </a:lnTo>
                  <a:lnTo>
                    <a:pt x="137" y="160"/>
                  </a:lnTo>
                  <a:lnTo>
                    <a:pt x="128" y="160"/>
                  </a:lnTo>
                  <a:lnTo>
                    <a:pt x="125" y="159"/>
                  </a:lnTo>
                  <a:lnTo>
                    <a:pt x="125" y="156"/>
                  </a:lnTo>
                  <a:lnTo>
                    <a:pt x="128" y="151"/>
                  </a:lnTo>
                  <a:lnTo>
                    <a:pt x="131" y="148"/>
                  </a:lnTo>
                  <a:lnTo>
                    <a:pt x="132" y="144"/>
                  </a:lnTo>
                  <a:lnTo>
                    <a:pt x="132" y="140"/>
                  </a:lnTo>
                  <a:lnTo>
                    <a:pt x="131" y="134"/>
                  </a:lnTo>
                  <a:lnTo>
                    <a:pt x="132" y="130"/>
                  </a:lnTo>
                  <a:lnTo>
                    <a:pt x="134" y="127"/>
                  </a:lnTo>
                  <a:lnTo>
                    <a:pt x="137" y="127"/>
                  </a:lnTo>
                  <a:lnTo>
                    <a:pt x="143" y="129"/>
                  </a:lnTo>
                  <a:lnTo>
                    <a:pt x="152" y="128"/>
                  </a:lnTo>
                  <a:lnTo>
                    <a:pt x="156" y="127"/>
                  </a:lnTo>
                  <a:lnTo>
                    <a:pt x="160" y="124"/>
                  </a:lnTo>
                  <a:lnTo>
                    <a:pt x="162" y="118"/>
                  </a:lnTo>
                  <a:lnTo>
                    <a:pt x="166" y="118"/>
                  </a:lnTo>
                  <a:lnTo>
                    <a:pt x="171" y="121"/>
                  </a:lnTo>
                  <a:lnTo>
                    <a:pt x="176" y="121"/>
                  </a:lnTo>
                  <a:lnTo>
                    <a:pt x="182" y="119"/>
                  </a:lnTo>
                  <a:lnTo>
                    <a:pt x="188" y="116"/>
                  </a:lnTo>
                  <a:lnTo>
                    <a:pt x="189" y="113"/>
                  </a:lnTo>
                  <a:lnTo>
                    <a:pt x="184" y="113"/>
                  </a:lnTo>
                  <a:lnTo>
                    <a:pt x="176" y="116"/>
                  </a:lnTo>
                  <a:lnTo>
                    <a:pt x="173" y="112"/>
                  </a:lnTo>
                  <a:lnTo>
                    <a:pt x="173" y="105"/>
                  </a:lnTo>
                  <a:lnTo>
                    <a:pt x="170" y="105"/>
                  </a:lnTo>
                  <a:lnTo>
                    <a:pt x="168" y="104"/>
                  </a:lnTo>
                  <a:lnTo>
                    <a:pt x="171" y="100"/>
                  </a:lnTo>
                  <a:lnTo>
                    <a:pt x="177" y="93"/>
                  </a:lnTo>
                  <a:lnTo>
                    <a:pt x="178" y="91"/>
                  </a:lnTo>
                  <a:lnTo>
                    <a:pt x="180" y="89"/>
                  </a:lnTo>
                  <a:lnTo>
                    <a:pt x="187" y="91"/>
                  </a:lnTo>
                  <a:lnTo>
                    <a:pt x="195" y="92"/>
                  </a:lnTo>
                  <a:lnTo>
                    <a:pt x="197" y="92"/>
                  </a:lnTo>
                  <a:lnTo>
                    <a:pt x="197" y="94"/>
                  </a:lnTo>
                  <a:lnTo>
                    <a:pt x="199" y="99"/>
                  </a:lnTo>
                  <a:lnTo>
                    <a:pt x="202" y="100"/>
                  </a:lnTo>
                  <a:lnTo>
                    <a:pt x="207" y="99"/>
                  </a:lnTo>
                  <a:lnTo>
                    <a:pt x="208" y="100"/>
                  </a:lnTo>
                  <a:lnTo>
                    <a:pt x="209" y="103"/>
                  </a:lnTo>
                  <a:lnTo>
                    <a:pt x="211" y="100"/>
                  </a:lnTo>
                  <a:lnTo>
                    <a:pt x="213" y="94"/>
                  </a:lnTo>
                  <a:lnTo>
                    <a:pt x="214" y="91"/>
                  </a:lnTo>
                  <a:lnTo>
                    <a:pt x="221" y="83"/>
                  </a:lnTo>
                  <a:lnTo>
                    <a:pt x="227" y="80"/>
                  </a:lnTo>
                  <a:lnTo>
                    <a:pt x="230" y="80"/>
                  </a:lnTo>
                  <a:lnTo>
                    <a:pt x="232" y="80"/>
                  </a:lnTo>
                  <a:lnTo>
                    <a:pt x="236" y="79"/>
                  </a:lnTo>
                  <a:lnTo>
                    <a:pt x="242" y="74"/>
                  </a:lnTo>
                  <a:lnTo>
                    <a:pt x="246" y="73"/>
                  </a:lnTo>
                  <a:lnTo>
                    <a:pt x="254" y="68"/>
                  </a:lnTo>
                  <a:lnTo>
                    <a:pt x="258" y="67"/>
                  </a:lnTo>
                  <a:lnTo>
                    <a:pt x="259" y="65"/>
                  </a:lnTo>
                  <a:lnTo>
                    <a:pt x="255" y="61"/>
                  </a:lnTo>
                  <a:lnTo>
                    <a:pt x="253" y="57"/>
                  </a:lnTo>
                  <a:lnTo>
                    <a:pt x="250" y="56"/>
                  </a:lnTo>
                  <a:lnTo>
                    <a:pt x="252" y="53"/>
                  </a:lnTo>
                  <a:lnTo>
                    <a:pt x="254" y="46"/>
                  </a:lnTo>
                  <a:lnTo>
                    <a:pt x="256" y="43"/>
                  </a:lnTo>
                  <a:lnTo>
                    <a:pt x="259" y="41"/>
                  </a:lnTo>
                  <a:lnTo>
                    <a:pt x="259" y="39"/>
                  </a:lnTo>
                  <a:lnTo>
                    <a:pt x="254" y="37"/>
                  </a:lnTo>
                  <a:lnTo>
                    <a:pt x="254" y="33"/>
                  </a:lnTo>
                  <a:lnTo>
                    <a:pt x="259" y="28"/>
                  </a:lnTo>
                  <a:lnTo>
                    <a:pt x="261" y="27"/>
                  </a:lnTo>
                  <a:lnTo>
                    <a:pt x="266" y="28"/>
                  </a:lnTo>
                  <a:lnTo>
                    <a:pt x="272" y="26"/>
                  </a:lnTo>
                  <a:lnTo>
                    <a:pt x="274" y="23"/>
                  </a:lnTo>
                  <a:lnTo>
                    <a:pt x="271" y="20"/>
                  </a:lnTo>
                  <a:lnTo>
                    <a:pt x="271" y="19"/>
                  </a:lnTo>
                  <a:lnTo>
                    <a:pt x="273" y="17"/>
                  </a:lnTo>
                  <a:lnTo>
                    <a:pt x="280" y="17"/>
                  </a:lnTo>
                  <a:lnTo>
                    <a:pt x="288" y="19"/>
                  </a:lnTo>
                  <a:lnTo>
                    <a:pt x="292" y="17"/>
                  </a:lnTo>
                  <a:lnTo>
                    <a:pt x="296" y="19"/>
                  </a:lnTo>
                  <a:lnTo>
                    <a:pt x="300" y="19"/>
                  </a:lnTo>
                  <a:lnTo>
                    <a:pt x="302" y="16"/>
                  </a:lnTo>
                  <a:lnTo>
                    <a:pt x="306" y="12"/>
                  </a:lnTo>
                  <a:lnTo>
                    <a:pt x="307" y="9"/>
                  </a:lnTo>
                  <a:lnTo>
                    <a:pt x="309" y="8"/>
                  </a:lnTo>
                  <a:lnTo>
                    <a:pt x="309" y="6"/>
                  </a:lnTo>
                  <a:lnTo>
                    <a:pt x="313" y="6"/>
                  </a:lnTo>
                  <a:lnTo>
                    <a:pt x="319" y="6"/>
                  </a:lnTo>
                  <a:lnTo>
                    <a:pt x="324" y="10"/>
                  </a:lnTo>
                  <a:lnTo>
                    <a:pt x="327" y="15"/>
                  </a:lnTo>
                  <a:lnTo>
                    <a:pt x="331" y="15"/>
                  </a:lnTo>
                  <a:lnTo>
                    <a:pt x="333" y="15"/>
                  </a:lnTo>
                  <a:lnTo>
                    <a:pt x="337" y="11"/>
                  </a:lnTo>
                  <a:lnTo>
                    <a:pt x="342" y="6"/>
                  </a:lnTo>
                  <a:lnTo>
                    <a:pt x="347" y="4"/>
                  </a:lnTo>
                  <a:lnTo>
                    <a:pt x="359" y="0"/>
                  </a:lnTo>
                  <a:lnTo>
                    <a:pt x="360" y="0"/>
                  </a:lnTo>
                  <a:lnTo>
                    <a:pt x="362" y="3"/>
                  </a:lnTo>
                  <a:lnTo>
                    <a:pt x="371" y="8"/>
                  </a:lnTo>
                  <a:lnTo>
                    <a:pt x="374" y="14"/>
                  </a:lnTo>
                  <a:lnTo>
                    <a:pt x="377" y="15"/>
                  </a:lnTo>
                  <a:lnTo>
                    <a:pt x="382" y="11"/>
                  </a:lnTo>
                  <a:lnTo>
                    <a:pt x="384" y="11"/>
                  </a:lnTo>
                  <a:lnTo>
                    <a:pt x="388" y="14"/>
                  </a:lnTo>
                  <a:lnTo>
                    <a:pt x="390" y="19"/>
                  </a:lnTo>
                  <a:lnTo>
                    <a:pt x="392" y="20"/>
                  </a:lnTo>
                  <a:lnTo>
                    <a:pt x="396" y="21"/>
                  </a:lnTo>
                  <a:lnTo>
                    <a:pt x="395" y="23"/>
                  </a:lnTo>
                  <a:lnTo>
                    <a:pt x="396" y="22"/>
                  </a:lnTo>
                  <a:lnTo>
                    <a:pt x="404" y="15"/>
                  </a:lnTo>
                  <a:lnTo>
                    <a:pt x="406" y="10"/>
                  </a:lnTo>
                  <a:lnTo>
                    <a:pt x="408" y="9"/>
                  </a:lnTo>
                  <a:lnTo>
                    <a:pt x="412" y="11"/>
                  </a:lnTo>
                  <a:lnTo>
                    <a:pt x="423" y="21"/>
                  </a:lnTo>
                  <a:lnTo>
                    <a:pt x="425" y="23"/>
                  </a:lnTo>
                  <a:lnTo>
                    <a:pt x="426" y="27"/>
                  </a:lnTo>
                  <a:lnTo>
                    <a:pt x="427" y="33"/>
                  </a:lnTo>
                  <a:lnTo>
                    <a:pt x="429" y="39"/>
                  </a:lnTo>
                  <a:lnTo>
                    <a:pt x="429" y="43"/>
                  </a:lnTo>
                  <a:lnTo>
                    <a:pt x="426" y="47"/>
                  </a:lnTo>
                  <a:lnTo>
                    <a:pt x="423" y="51"/>
                  </a:lnTo>
                  <a:lnTo>
                    <a:pt x="421" y="55"/>
                  </a:lnTo>
                  <a:lnTo>
                    <a:pt x="421" y="57"/>
                  </a:lnTo>
                  <a:lnTo>
                    <a:pt x="423" y="62"/>
                  </a:lnTo>
                  <a:lnTo>
                    <a:pt x="427" y="67"/>
                  </a:lnTo>
                  <a:lnTo>
                    <a:pt x="430" y="65"/>
                  </a:lnTo>
                  <a:lnTo>
                    <a:pt x="432" y="63"/>
                  </a:lnTo>
                  <a:lnTo>
                    <a:pt x="436" y="61"/>
                  </a:lnTo>
                  <a:lnTo>
                    <a:pt x="437" y="64"/>
                  </a:lnTo>
                  <a:lnTo>
                    <a:pt x="437" y="70"/>
                  </a:lnTo>
                  <a:lnTo>
                    <a:pt x="433" y="74"/>
                  </a:lnTo>
                  <a:lnTo>
                    <a:pt x="431" y="76"/>
                  </a:lnTo>
                  <a:lnTo>
                    <a:pt x="430" y="77"/>
                  </a:lnTo>
                  <a:lnTo>
                    <a:pt x="429" y="80"/>
                  </a:lnTo>
                  <a:lnTo>
                    <a:pt x="430" y="81"/>
                  </a:lnTo>
                  <a:lnTo>
                    <a:pt x="436" y="81"/>
                  </a:lnTo>
                  <a:lnTo>
                    <a:pt x="436" y="83"/>
                  </a:lnTo>
                  <a:lnTo>
                    <a:pt x="439" y="85"/>
                  </a:lnTo>
                  <a:lnTo>
                    <a:pt x="445" y="87"/>
                  </a:lnTo>
                  <a:lnTo>
                    <a:pt x="450" y="85"/>
                  </a:lnTo>
                  <a:lnTo>
                    <a:pt x="456" y="82"/>
                  </a:lnTo>
                  <a:lnTo>
                    <a:pt x="459" y="80"/>
                  </a:lnTo>
                  <a:lnTo>
                    <a:pt x="459" y="77"/>
                  </a:lnTo>
                  <a:lnTo>
                    <a:pt x="460" y="76"/>
                  </a:lnTo>
                  <a:lnTo>
                    <a:pt x="456" y="75"/>
                  </a:lnTo>
                  <a:lnTo>
                    <a:pt x="451" y="71"/>
                  </a:lnTo>
                  <a:lnTo>
                    <a:pt x="449" y="67"/>
                  </a:lnTo>
                  <a:lnTo>
                    <a:pt x="450" y="63"/>
                  </a:lnTo>
                  <a:lnTo>
                    <a:pt x="453" y="62"/>
                  </a:lnTo>
                  <a:lnTo>
                    <a:pt x="460" y="64"/>
                  </a:lnTo>
                  <a:lnTo>
                    <a:pt x="465" y="68"/>
                  </a:lnTo>
                  <a:lnTo>
                    <a:pt x="465" y="70"/>
                  </a:lnTo>
                  <a:lnTo>
                    <a:pt x="466" y="74"/>
                  </a:lnTo>
                  <a:lnTo>
                    <a:pt x="468" y="74"/>
                  </a:lnTo>
                  <a:lnTo>
                    <a:pt x="473" y="70"/>
                  </a:lnTo>
                  <a:lnTo>
                    <a:pt x="478" y="68"/>
                  </a:lnTo>
                  <a:lnTo>
                    <a:pt x="485" y="64"/>
                  </a:lnTo>
                  <a:lnTo>
                    <a:pt x="489" y="64"/>
                  </a:lnTo>
                  <a:lnTo>
                    <a:pt x="491" y="67"/>
                  </a:lnTo>
                  <a:lnTo>
                    <a:pt x="494" y="76"/>
                  </a:lnTo>
                  <a:lnTo>
                    <a:pt x="495" y="80"/>
                  </a:lnTo>
                  <a:lnTo>
                    <a:pt x="497" y="80"/>
                  </a:lnTo>
                  <a:lnTo>
                    <a:pt x="500" y="77"/>
                  </a:lnTo>
                  <a:lnTo>
                    <a:pt x="504" y="76"/>
                  </a:lnTo>
                  <a:lnTo>
                    <a:pt x="513" y="76"/>
                  </a:lnTo>
                  <a:lnTo>
                    <a:pt x="513" y="80"/>
                  </a:lnTo>
                  <a:lnTo>
                    <a:pt x="513" y="83"/>
                  </a:lnTo>
                  <a:lnTo>
                    <a:pt x="514" y="85"/>
                  </a:lnTo>
                  <a:lnTo>
                    <a:pt x="516" y="87"/>
                  </a:lnTo>
                  <a:lnTo>
                    <a:pt x="515" y="91"/>
                  </a:lnTo>
                  <a:lnTo>
                    <a:pt x="515" y="93"/>
                  </a:lnTo>
                  <a:lnTo>
                    <a:pt x="514" y="95"/>
                  </a:lnTo>
                  <a:lnTo>
                    <a:pt x="512" y="95"/>
                  </a:lnTo>
                  <a:lnTo>
                    <a:pt x="512" y="99"/>
                  </a:lnTo>
                  <a:lnTo>
                    <a:pt x="510" y="107"/>
                  </a:lnTo>
                  <a:lnTo>
                    <a:pt x="502" y="107"/>
                  </a:lnTo>
                  <a:lnTo>
                    <a:pt x="501" y="106"/>
                  </a:lnTo>
                  <a:lnTo>
                    <a:pt x="498" y="107"/>
                  </a:lnTo>
                  <a:lnTo>
                    <a:pt x="496" y="110"/>
                  </a:lnTo>
                  <a:lnTo>
                    <a:pt x="494" y="112"/>
                  </a:lnTo>
                  <a:lnTo>
                    <a:pt x="495" y="117"/>
                  </a:lnTo>
                  <a:lnTo>
                    <a:pt x="495" y="115"/>
                  </a:lnTo>
                  <a:lnTo>
                    <a:pt x="498" y="113"/>
                  </a:lnTo>
                  <a:lnTo>
                    <a:pt x="506" y="113"/>
                  </a:lnTo>
                  <a:lnTo>
                    <a:pt x="510" y="112"/>
                  </a:lnTo>
                  <a:lnTo>
                    <a:pt x="513" y="115"/>
                  </a:lnTo>
                  <a:lnTo>
                    <a:pt x="514" y="118"/>
                  </a:lnTo>
                  <a:lnTo>
                    <a:pt x="515" y="117"/>
                  </a:lnTo>
                  <a:lnTo>
                    <a:pt x="518" y="111"/>
                  </a:lnTo>
                  <a:lnTo>
                    <a:pt x="519" y="109"/>
                  </a:lnTo>
                  <a:lnTo>
                    <a:pt x="524" y="107"/>
                  </a:lnTo>
                  <a:lnTo>
                    <a:pt x="527" y="106"/>
                  </a:lnTo>
                  <a:lnTo>
                    <a:pt x="532" y="107"/>
                  </a:lnTo>
                  <a:lnTo>
                    <a:pt x="537" y="110"/>
                  </a:lnTo>
                  <a:lnTo>
                    <a:pt x="543" y="113"/>
                  </a:lnTo>
                  <a:lnTo>
                    <a:pt x="553" y="113"/>
                  </a:lnTo>
                  <a:lnTo>
                    <a:pt x="557" y="115"/>
                  </a:lnTo>
                  <a:lnTo>
                    <a:pt x="557" y="117"/>
                  </a:lnTo>
                  <a:lnTo>
                    <a:pt x="556" y="119"/>
                  </a:lnTo>
                  <a:lnTo>
                    <a:pt x="559" y="121"/>
                  </a:lnTo>
                  <a:lnTo>
                    <a:pt x="563" y="121"/>
                  </a:lnTo>
                  <a:lnTo>
                    <a:pt x="565" y="119"/>
                  </a:lnTo>
                  <a:lnTo>
                    <a:pt x="567" y="111"/>
                  </a:lnTo>
                  <a:lnTo>
                    <a:pt x="571" y="107"/>
                  </a:lnTo>
                  <a:lnTo>
                    <a:pt x="574" y="105"/>
                  </a:lnTo>
                  <a:lnTo>
                    <a:pt x="578" y="105"/>
                  </a:lnTo>
                  <a:lnTo>
                    <a:pt x="585" y="105"/>
                  </a:lnTo>
                  <a:lnTo>
                    <a:pt x="589" y="103"/>
                  </a:lnTo>
                  <a:lnTo>
                    <a:pt x="592" y="100"/>
                  </a:lnTo>
                  <a:lnTo>
                    <a:pt x="597" y="101"/>
                  </a:lnTo>
                  <a:lnTo>
                    <a:pt x="603" y="103"/>
                  </a:lnTo>
                  <a:lnTo>
                    <a:pt x="607" y="101"/>
                  </a:lnTo>
                  <a:lnTo>
                    <a:pt x="609" y="105"/>
                  </a:lnTo>
                  <a:lnTo>
                    <a:pt x="613" y="105"/>
                  </a:lnTo>
                  <a:lnTo>
                    <a:pt x="615" y="103"/>
                  </a:lnTo>
                  <a:lnTo>
                    <a:pt x="619" y="103"/>
                  </a:lnTo>
                  <a:lnTo>
                    <a:pt x="622" y="106"/>
                  </a:lnTo>
                  <a:lnTo>
                    <a:pt x="628" y="106"/>
                  </a:lnTo>
                  <a:lnTo>
                    <a:pt x="638" y="100"/>
                  </a:lnTo>
                  <a:lnTo>
                    <a:pt x="643" y="97"/>
                  </a:lnTo>
                  <a:lnTo>
                    <a:pt x="648" y="97"/>
                  </a:lnTo>
                  <a:lnTo>
                    <a:pt x="654" y="95"/>
                  </a:lnTo>
                  <a:lnTo>
                    <a:pt x="655" y="99"/>
                  </a:lnTo>
                  <a:lnTo>
                    <a:pt x="654" y="105"/>
                  </a:lnTo>
                  <a:lnTo>
                    <a:pt x="652" y="106"/>
                  </a:lnTo>
                  <a:lnTo>
                    <a:pt x="655" y="109"/>
                  </a:lnTo>
                  <a:lnTo>
                    <a:pt x="661" y="111"/>
                  </a:lnTo>
                  <a:lnTo>
                    <a:pt x="662" y="112"/>
                  </a:lnTo>
                  <a:lnTo>
                    <a:pt x="661" y="115"/>
                  </a:lnTo>
                  <a:lnTo>
                    <a:pt x="662" y="116"/>
                  </a:lnTo>
                  <a:lnTo>
                    <a:pt x="665" y="117"/>
                  </a:lnTo>
                  <a:lnTo>
                    <a:pt x="667" y="116"/>
                  </a:lnTo>
                  <a:lnTo>
                    <a:pt x="668" y="112"/>
                  </a:lnTo>
                  <a:lnTo>
                    <a:pt x="672" y="113"/>
                  </a:lnTo>
                  <a:lnTo>
                    <a:pt x="675" y="119"/>
                  </a:lnTo>
                  <a:lnTo>
                    <a:pt x="680" y="126"/>
                  </a:lnTo>
                  <a:lnTo>
                    <a:pt x="680" y="129"/>
                  </a:lnTo>
                  <a:lnTo>
                    <a:pt x="684" y="130"/>
                  </a:lnTo>
                  <a:lnTo>
                    <a:pt x="686" y="129"/>
                  </a:lnTo>
                  <a:lnTo>
                    <a:pt x="690" y="128"/>
                  </a:lnTo>
                  <a:lnTo>
                    <a:pt x="697" y="130"/>
                  </a:lnTo>
                  <a:lnTo>
                    <a:pt x="702" y="133"/>
                  </a:lnTo>
                  <a:lnTo>
                    <a:pt x="704" y="128"/>
                  </a:lnTo>
                  <a:lnTo>
                    <a:pt x="705" y="127"/>
                  </a:lnTo>
                  <a:lnTo>
                    <a:pt x="708" y="128"/>
                  </a:lnTo>
                  <a:lnTo>
                    <a:pt x="714" y="134"/>
                  </a:lnTo>
                  <a:lnTo>
                    <a:pt x="717" y="135"/>
                  </a:lnTo>
                  <a:lnTo>
                    <a:pt x="724" y="136"/>
                  </a:lnTo>
                  <a:lnTo>
                    <a:pt x="731" y="138"/>
                  </a:lnTo>
                  <a:lnTo>
                    <a:pt x="736" y="136"/>
                  </a:lnTo>
                  <a:lnTo>
                    <a:pt x="737" y="133"/>
                  </a:lnTo>
                  <a:lnTo>
                    <a:pt x="742" y="133"/>
                  </a:lnTo>
                  <a:lnTo>
                    <a:pt x="748" y="138"/>
                  </a:lnTo>
                  <a:lnTo>
                    <a:pt x="754" y="138"/>
                  </a:lnTo>
                  <a:lnTo>
                    <a:pt x="763" y="136"/>
                  </a:lnTo>
                  <a:lnTo>
                    <a:pt x="773" y="136"/>
                  </a:lnTo>
                  <a:lnTo>
                    <a:pt x="780" y="139"/>
                  </a:lnTo>
                  <a:lnTo>
                    <a:pt x="785" y="138"/>
                  </a:lnTo>
                  <a:lnTo>
                    <a:pt x="789" y="134"/>
                  </a:lnTo>
                  <a:lnTo>
                    <a:pt x="790" y="134"/>
                  </a:lnTo>
                  <a:lnTo>
                    <a:pt x="790" y="138"/>
                  </a:lnTo>
                  <a:lnTo>
                    <a:pt x="789" y="145"/>
                  </a:lnTo>
                  <a:lnTo>
                    <a:pt x="787" y="150"/>
                  </a:lnTo>
                  <a:lnTo>
                    <a:pt x="786" y="153"/>
                  </a:lnTo>
                  <a:lnTo>
                    <a:pt x="789" y="154"/>
                  </a:lnTo>
                  <a:lnTo>
                    <a:pt x="791" y="154"/>
                  </a:lnTo>
                  <a:lnTo>
                    <a:pt x="793" y="156"/>
                  </a:lnTo>
                  <a:lnTo>
                    <a:pt x="798" y="157"/>
                  </a:lnTo>
                  <a:lnTo>
                    <a:pt x="802" y="157"/>
                  </a:lnTo>
                  <a:lnTo>
                    <a:pt x="804" y="157"/>
                  </a:lnTo>
                  <a:lnTo>
                    <a:pt x="804" y="156"/>
                  </a:lnTo>
                  <a:lnTo>
                    <a:pt x="801" y="152"/>
                  </a:lnTo>
                  <a:lnTo>
                    <a:pt x="801" y="151"/>
                  </a:lnTo>
                  <a:lnTo>
                    <a:pt x="804" y="150"/>
                  </a:lnTo>
                  <a:lnTo>
                    <a:pt x="813" y="146"/>
                  </a:lnTo>
                  <a:lnTo>
                    <a:pt x="817" y="147"/>
                  </a:lnTo>
                  <a:lnTo>
                    <a:pt x="820" y="152"/>
                  </a:lnTo>
                  <a:lnTo>
                    <a:pt x="821" y="153"/>
                  </a:lnTo>
                  <a:lnTo>
                    <a:pt x="823" y="151"/>
                  </a:lnTo>
                  <a:lnTo>
                    <a:pt x="823" y="153"/>
                  </a:lnTo>
                  <a:lnTo>
                    <a:pt x="823" y="164"/>
                  </a:lnTo>
                  <a:lnTo>
                    <a:pt x="821" y="170"/>
                  </a:lnTo>
                  <a:lnTo>
                    <a:pt x="821" y="171"/>
                  </a:lnTo>
                  <a:lnTo>
                    <a:pt x="819" y="172"/>
                  </a:lnTo>
                  <a:lnTo>
                    <a:pt x="813" y="171"/>
                  </a:lnTo>
                  <a:lnTo>
                    <a:pt x="811" y="176"/>
                  </a:lnTo>
                  <a:lnTo>
                    <a:pt x="813" y="177"/>
                  </a:lnTo>
                  <a:lnTo>
                    <a:pt x="809" y="177"/>
                  </a:lnTo>
                  <a:lnTo>
                    <a:pt x="801" y="175"/>
                  </a:lnTo>
                  <a:lnTo>
                    <a:pt x="801" y="180"/>
                  </a:lnTo>
                  <a:lnTo>
                    <a:pt x="801" y="183"/>
                  </a:lnTo>
                  <a:lnTo>
                    <a:pt x="797" y="183"/>
                  </a:lnTo>
                  <a:lnTo>
                    <a:pt x="792" y="180"/>
                  </a:lnTo>
                  <a:lnTo>
                    <a:pt x="790" y="180"/>
                  </a:lnTo>
                  <a:lnTo>
                    <a:pt x="786" y="181"/>
                  </a:lnTo>
                  <a:lnTo>
                    <a:pt x="780" y="183"/>
                  </a:lnTo>
                  <a:lnTo>
                    <a:pt x="778" y="183"/>
                  </a:lnTo>
                  <a:lnTo>
                    <a:pt x="778" y="184"/>
                  </a:lnTo>
                  <a:lnTo>
                    <a:pt x="780" y="188"/>
                  </a:lnTo>
                  <a:lnTo>
                    <a:pt x="784" y="186"/>
                  </a:lnTo>
                  <a:lnTo>
                    <a:pt x="790" y="183"/>
                  </a:lnTo>
                  <a:lnTo>
                    <a:pt x="791" y="183"/>
                  </a:lnTo>
                  <a:lnTo>
                    <a:pt x="795" y="184"/>
                  </a:lnTo>
                  <a:lnTo>
                    <a:pt x="802" y="188"/>
                  </a:lnTo>
                  <a:lnTo>
                    <a:pt x="804" y="190"/>
                  </a:lnTo>
                  <a:lnTo>
                    <a:pt x="810" y="192"/>
                  </a:lnTo>
                  <a:lnTo>
                    <a:pt x="811" y="194"/>
                  </a:lnTo>
                  <a:lnTo>
                    <a:pt x="811" y="196"/>
                  </a:lnTo>
                  <a:lnTo>
                    <a:pt x="815" y="204"/>
                  </a:lnTo>
                  <a:lnTo>
                    <a:pt x="826" y="206"/>
                  </a:lnTo>
                  <a:lnTo>
                    <a:pt x="833" y="213"/>
                  </a:lnTo>
                  <a:lnTo>
                    <a:pt x="839" y="214"/>
                  </a:lnTo>
                  <a:lnTo>
                    <a:pt x="838" y="218"/>
                  </a:lnTo>
                  <a:lnTo>
                    <a:pt x="832" y="230"/>
                  </a:lnTo>
                  <a:lnTo>
                    <a:pt x="826" y="231"/>
                  </a:lnTo>
                  <a:lnTo>
                    <a:pt x="823" y="231"/>
                  </a:lnTo>
                  <a:lnTo>
                    <a:pt x="821" y="230"/>
                  </a:lnTo>
                  <a:lnTo>
                    <a:pt x="820" y="229"/>
                  </a:lnTo>
                  <a:lnTo>
                    <a:pt x="815" y="229"/>
                  </a:lnTo>
                  <a:lnTo>
                    <a:pt x="813" y="231"/>
                  </a:lnTo>
                  <a:lnTo>
                    <a:pt x="811" y="231"/>
                  </a:lnTo>
                  <a:lnTo>
                    <a:pt x="803" y="230"/>
                  </a:lnTo>
                  <a:lnTo>
                    <a:pt x="805" y="233"/>
                  </a:lnTo>
                  <a:lnTo>
                    <a:pt x="810" y="234"/>
                  </a:lnTo>
                  <a:lnTo>
                    <a:pt x="815" y="237"/>
                  </a:lnTo>
                  <a:lnTo>
                    <a:pt x="816" y="243"/>
                  </a:lnTo>
                  <a:lnTo>
                    <a:pt x="816" y="248"/>
                  </a:lnTo>
                  <a:lnTo>
                    <a:pt x="816" y="251"/>
                  </a:lnTo>
                  <a:lnTo>
                    <a:pt x="814" y="251"/>
                  </a:lnTo>
                  <a:lnTo>
                    <a:pt x="805" y="247"/>
                  </a:lnTo>
                  <a:lnTo>
                    <a:pt x="797" y="245"/>
                  </a:lnTo>
                  <a:lnTo>
                    <a:pt x="791" y="243"/>
                  </a:lnTo>
                  <a:lnTo>
                    <a:pt x="790" y="241"/>
                  </a:lnTo>
                  <a:lnTo>
                    <a:pt x="790" y="245"/>
                  </a:lnTo>
                  <a:lnTo>
                    <a:pt x="787" y="246"/>
                  </a:lnTo>
                  <a:lnTo>
                    <a:pt x="785" y="242"/>
                  </a:lnTo>
                  <a:lnTo>
                    <a:pt x="775" y="231"/>
                  </a:lnTo>
                  <a:lnTo>
                    <a:pt x="773" y="230"/>
                  </a:lnTo>
                  <a:lnTo>
                    <a:pt x="769" y="230"/>
                  </a:lnTo>
                  <a:lnTo>
                    <a:pt x="768" y="231"/>
                  </a:lnTo>
                  <a:lnTo>
                    <a:pt x="766" y="234"/>
                  </a:lnTo>
                  <a:lnTo>
                    <a:pt x="758" y="233"/>
                  </a:lnTo>
                  <a:lnTo>
                    <a:pt x="755" y="234"/>
                  </a:lnTo>
                  <a:lnTo>
                    <a:pt x="756" y="239"/>
                  </a:lnTo>
                  <a:lnTo>
                    <a:pt x="760" y="243"/>
                  </a:lnTo>
                  <a:lnTo>
                    <a:pt x="766" y="245"/>
                  </a:lnTo>
                  <a:lnTo>
                    <a:pt x="774" y="251"/>
                  </a:lnTo>
                  <a:lnTo>
                    <a:pt x="774" y="252"/>
                  </a:lnTo>
                  <a:lnTo>
                    <a:pt x="775" y="254"/>
                  </a:lnTo>
                  <a:lnTo>
                    <a:pt x="781" y="261"/>
                  </a:lnTo>
                  <a:lnTo>
                    <a:pt x="783" y="263"/>
                  </a:lnTo>
                  <a:lnTo>
                    <a:pt x="781" y="265"/>
                  </a:lnTo>
                  <a:lnTo>
                    <a:pt x="776" y="265"/>
                  </a:lnTo>
                  <a:lnTo>
                    <a:pt x="767" y="263"/>
                  </a:lnTo>
                  <a:lnTo>
                    <a:pt x="762" y="263"/>
                  </a:lnTo>
                  <a:lnTo>
                    <a:pt x="760" y="259"/>
                  </a:lnTo>
                  <a:lnTo>
                    <a:pt x="760" y="253"/>
                  </a:lnTo>
                  <a:lnTo>
                    <a:pt x="754" y="248"/>
                  </a:lnTo>
                  <a:lnTo>
                    <a:pt x="740" y="245"/>
                  </a:lnTo>
                  <a:lnTo>
                    <a:pt x="739" y="245"/>
                  </a:lnTo>
                  <a:lnTo>
                    <a:pt x="740" y="247"/>
                  </a:lnTo>
                  <a:lnTo>
                    <a:pt x="745" y="252"/>
                  </a:lnTo>
                  <a:lnTo>
                    <a:pt x="746" y="257"/>
                  </a:lnTo>
                  <a:lnTo>
                    <a:pt x="746" y="263"/>
                  </a:lnTo>
                  <a:lnTo>
                    <a:pt x="749" y="261"/>
                  </a:lnTo>
                  <a:lnTo>
                    <a:pt x="754" y="264"/>
                  </a:lnTo>
                  <a:lnTo>
                    <a:pt x="761" y="269"/>
                  </a:lnTo>
                  <a:lnTo>
                    <a:pt x="766" y="272"/>
                  </a:lnTo>
                  <a:lnTo>
                    <a:pt x="768" y="272"/>
                  </a:lnTo>
                  <a:lnTo>
                    <a:pt x="773" y="276"/>
                  </a:lnTo>
                  <a:lnTo>
                    <a:pt x="779" y="282"/>
                  </a:lnTo>
                  <a:lnTo>
                    <a:pt x="781" y="285"/>
                  </a:lnTo>
                  <a:lnTo>
                    <a:pt x="783" y="290"/>
                  </a:lnTo>
                  <a:lnTo>
                    <a:pt x="786" y="295"/>
                  </a:lnTo>
                  <a:lnTo>
                    <a:pt x="789" y="300"/>
                  </a:lnTo>
                  <a:lnTo>
                    <a:pt x="793" y="301"/>
                  </a:lnTo>
                  <a:lnTo>
                    <a:pt x="801" y="300"/>
                  </a:lnTo>
                  <a:lnTo>
                    <a:pt x="804" y="300"/>
                  </a:lnTo>
                  <a:lnTo>
                    <a:pt x="804" y="302"/>
                  </a:lnTo>
                  <a:lnTo>
                    <a:pt x="805" y="308"/>
                  </a:lnTo>
                  <a:lnTo>
                    <a:pt x="807" y="311"/>
                  </a:lnTo>
                  <a:lnTo>
                    <a:pt x="809" y="312"/>
                  </a:lnTo>
                  <a:lnTo>
                    <a:pt x="813" y="309"/>
                  </a:lnTo>
                  <a:lnTo>
                    <a:pt x="815" y="308"/>
                  </a:lnTo>
                  <a:lnTo>
                    <a:pt x="816" y="311"/>
                  </a:lnTo>
                  <a:lnTo>
                    <a:pt x="819" y="314"/>
                  </a:lnTo>
                  <a:lnTo>
                    <a:pt x="820" y="317"/>
                  </a:lnTo>
                  <a:lnTo>
                    <a:pt x="822" y="317"/>
                  </a:lnTo>
                  <a:lnTo>
                    <a:pt x="822" y="320"/>
                  </a:lnTo>
                  <a:lnTo>
                    <a:pt x="822" y="329"/>
                  </a:lnTo>
                  <a:lnTo>
                    <a:pt x="822" y="330"/>
                  </a:lnTo>
                  <a:lnTo>
                    <a:pt x="826" y="331"/>
                  </a:lnTo>
                  <a:lnTo>
                    <a:pt x="829" y="331"/>
                  </a:lnTo>
                  <a:lnTo>
                    <a:pt x="833" y="329"/>
                  </a:lnTo>
                  <a:lnTo>
                    <a:pt x="834" y="325"/>
                  </a:lnTo>
                  <a:lnTo>
                    <a:pt x="838" y="324"/>
                  </a:lnTo>
                  <a:lnTo>
                    <a:pt x="844" y="324"/>
                  </a:lnTo>
                  <a:lnTo>
                    <a:pt x="848" y="323"/>
                  </a:lnTo>
                  <a:lnTo>
                    <a:pt x="849" y="319"/>
                  </a:lnTo>
                  <a:lnTo>
                    <a:pt x="852" y="319"/>
                  </a:lnTo>
                  <a:lnTo>
                    <a:pt x="862" y="319"/>
                  </a:lnTo>
                  <a:lnTo>
                    <a:pt x="864" y="319"/>
                  </a:lnTo>
                  <a:lnTo>
                    <a:pt x="866" y="321"/>
                  </a:lnTo>
                  <a:lnTo>
                    <a:pt x="863" y="331"/>
                  </a:lnTo>
                  <a:lnTo>
                    <a:pt x="866" y="333"/>
                  </a:lnTo>
                  <a:lnTo>
                    <a:pt x="868" y="332"/>
                  </a:lnTo>
                  <a:lnTo>
                    <a:pt x="872" y="331"/>
                  </a:lnTo>
                  <a:lnTo>
                    <a:pt x="879" y="331"/>
                  </a:lnTo>
                  <a:lnTo>
                    <a:pt x="880" y="332"/>
                  </a:lnTo>
                  <a:lnTo>
                    <a:pt x="882" y="329"/>
                  </a:lnTo>
                  <a:lnTo>
                    <a:pt x="886" y="326"/>
                  </a:lnTo>
                  <a:lnTo>
                    <a:pt x="888" y="326"/>
                  </a:lnTo>
                  <a:lnTo>
                    <a:pt x="890" y="327"/>
                  </a:lnTo>
                  <a:lnTo>
                    <a:pt x="890" y="333"/>
                  </a:lnTo>
                  <a:lnTo>
                    <a:pt x="888" y="341"/>
                  </a:lnTo>
                  <a:lnTo>
                    <a:pt x="890" y="343"/>
                  </a:lnTo>
                  <a:lnTo>
                    <a:pt x="892" y="347"/>
                  </a:lnTo>
                  <a:lnTo>
                    <a:pt x="899" y="344"/>
                  </a:lnTo>
                  <a:lnTo>
                    <a:pt x="904" y="340"/>
                  </a:lnTo>
                  <a:lnTo>
                    <a:pt x="909" y="338"/>
                  </a:lnTo>
                  <a:lnTo>
                    <a:pt x="910" y="343"/>
                  </a:lnTo>
                  <a:lnTo>
                    <a:pt x="911" y="347"/>
                  </a:lnTo>
                  <a:lnTo>
                    <a:pt x="917" y="352"/>
                  </a:lnTo>
                  <a:lnTo>
                    <a:pt x="920" y="358"/>
                  </a:lnTo>
                  <a:lnTo>
                    <a:pt x="920" y="360"/>
                  </a:lnTo>
                  <a:lnTo>
                    <a:pt x="916" y="362"/>
                  </a:lnTo>
                  <a:lnTo>
                    <a:pt x="907" y="362"/>
                  </a:lnTo>
                  <a:lnTo>
                    <a:pt x="903" y="362"/>
                  </a:lnTo>
                  <a:lnTo>
                    <a:pt x="900" y="364"/>
                  </a:lnTo>
                  <a:lnTo>
                    <a:pt x="898" y="367"/>
                  </a:lnTo>
                  <a:lnTo>
                    <a:pt x="894" y="371"/>
                  </a:lnTo>
                  <a:lnTo>
                    <a:pt x="893" y="371"/>
                  </a:lnTo>
                  <a:lnTo>
                    <a:pt x="890" y="374"/>
                  </a:lnTo>
                  <a:lnTo>
                    <a:pt x="884" y="378"/>
                  </a:lnTo>
                  <a:lnTo>
                    <a:pt x="878" y="380"/>
                  </a:lnTo>
                  <a:lnTo>
                    <a:pt x="873" y="380"/>
                  </a:lnTo>
                  <a:lnTo>
                    <a:pt x="872" y="383"/>
                  </a:lnTo>
                  <a:lnTo>
                    <a:pt x="869" y="388"/>
                  </a:lnTo>
                  <a:lnTo>
                    <a:pt x="870" y="394"/>
                  </a:lnTo>
                  <a:lnTo>
                    <a:pt x="875" y="397"/>
                  </a:lnTo>
                  <a:lnTo>
                    <a:pt x="874" y="400"/>
                  </a:lnTo>
                  <a:lnTo>
                    <a:pt x="862" y="400"/>
                  </a:lnTo>
                  <a:lnTo>
                    <a:pt x="857" y="400"/>
                  </a:lnTo>
                  <a:lnTo>
                    <a:pt x="855" y="403"/>
                  </a:lnTo>
                  <a:lnTo>
                    <a:pt x="855" y="408"/>
                  </a:lnTo>
                  <a:lnTo>
                    <a:pt x="858" y="409"/>
                  </a:lnTo>
                  <a:lnTo>
                    <a:pt x="870" y="409"/>
                  </a:lnTo>
                  <a:lnTo>
                    <a:pt x="870" y="407"/>
                  </a:lnTo>
                  <a:lnTo>
                    <a:pt x="873" y="407"/>
                  </a:lnTo>
                  <a:lnTo>
                    <a:pt x="879" y="409"/>
                  </a:lnTo>
                  <a:lnTo>
                    <a:pt x="888" y="414"/>
                  </a:lnTo>
                  <a:lnTo>
                    <a:pt x="892" y="413"/>
                  </a:lnTo>
                  <a:lnTo>
                    <a:pt x="893" y="409"/>
                  </a:lnTo>
                  <a:lnTo>
                    <a:pt x="893" y="408"/>
                  </a:lnTo>
                  <a:lnTo>
                    <a:pt x="898" y="409"/>
                  </a:lnTo>
                  <a:lnTo>
                    <a:pt x="907" y="413"/>
                  </a:lnTo>
                  <a:lnTo>
                    <a:pt x="910" y="412"/>
                  </a:lnTo>
                  <a:lnTo>
                    <a:pt x="916" y="407"/>
                  </a:lnTo>
                  <a:lnTo>
                    <a:pt x="920" y="401"/>
                  </a:lnTo>
                  <a:lnTo>
                    <a:pt x="923" y="402"/>
                  </a:lnTo>
                  <a:lnTo>
                    <a:pt x="928" y="407"/>
                  </a:lnTo>
                  <a:lnTo>
                    <a:pt x="926" y="410"/>
                  </a:lnTo>
                  <a:lnTo>
                    <a:pt x="920" y="414"/>
                  </a:lnTo>
                  <a:lnTo>
                    <a:pt x="919" y="415"/>
                  </a:lnTo>
                  <a:lnTo>
                    <a:pt x="921" y="416"/>
                  </a:lnTo>
                  <a:lnTo>
                    <a:pt x="933" y="421"/>
                  </a:lnTo>
                  <a:lnTo>
                    <a:pt x="937" y="421"/>
                  </a:lnTo>
                  <a:lnTo>
                    <a:pt x="939" y="424"/>
                  </a:lnTo>
                  <a:lnTo>
                    <a:pt x="941" y="426"/>
                  </a:lnTo>
                  <a:lnTo>
                    <a:pt x="944" y="427"/>
                  </a:lnTo>
                  <a:lnTo>
                    <a:pt x="945" y="425"/>
                  </a:lnTo>
                  <a:lnTo>
                    <a:pt x="947" y="427"/>
                  </a:lnTo>
                  <a:lnTo>
                    <a:pt x="952" y="434"/>
                  </a:lnTo>
                  <a:lnTo>
                    <a:pt x="953" y="436"/>
                  </a:lnTo>
                  <a:lnTo>
                    <a:pt x="957" y="434"/>
                  </a:lnTo>
                  <a:lnTo>
                    <a:pt x="962" y="432"/>
                  </a:lnTo>
                  <a:lnTo>
                    <a:pt x="963" y="430"/>
                  </a:lnTo>
                  <a:lnTo>
                    <a:pt x="962" y="424"/>
                  </a:lnTo>
                  <a:lnTo>
                    <a:pt x="963" y="418"/>
                  </a:lnTo>
                  <a:lnTo>
                    <a:pt x="962" y="415"/>
                  </a:lnTo>
                  <a:lnTo>
                    <a:pt x="966" y="414"/>
                  </a:lnTo>
                  <a:lnTo>
                    <a:pt x="973" y="413"/>
                  </a:lnTo>
                  <a:lnTo>
                    <a:pt x="974" y="415"/>
                  </a:lnTo>
                  <a:lnTo>
                    <a:pt x="975" y="419"/>
                  </a:lnTo>
                  <a:lnTo>
                    <a:pt x="978" y="420"/>
                  </a:lnTo>
                  <a:lnTo>
                    <a:pt x="982" y="419"/>
                  </a:lnTo>
                  <a:lnTo>
                    <a:pt x="985" y="420"/>
                  </a:lnTo>
                  <a:lnTo>
                    <a:pt x="988" y="422"/>
                  </a:lnTo>
                  <a:lnTo>
                    <a:pt x="990" y="425"/>
                  </a:lnTo>
                  <a:lnTo>
                    <a:pt x="993" y="431"/>
                  </a:lnTo>
                  <a:lnTo>
                    <a:pt x="997" y="438"/>
                  </a:lnTo>
                  <a:lnTo>
                    <a:pt x="992" y="439"/>
                  </a:lnTo>
                  <a:lnTo>
                    <a:pt x="992" y="440"/>
                  </a:lnTo>
                  <a:lnTo>
                    <a:pt x="988" y="442"/>
                  </a:lnTo>
                  <a:lnTo>
                    <a:pt x="980" y="443"/>
                  </a:lnTo>
                  <a:lnTo>
                    <a:pt x="980" y="447"/>
                  </a:lnTo>
                  <a:lnTo>
                    <a:pt x="981" y="445"/>
                  </a:lnTo>
                  <a:lnTo>
                    <a:pt x="984" y="448"/>
                  </a:lnTo>
                  <a:lnTo>
                    <a:pt x="994" y="455"/>
                  </a:lnTo>
                  <a:lnTo>
                    <a:pt x="997" y="455"/>
                  </a:lnTo>
                  <a:lnTo>
                    <a:pt x="997" y="456"/>
                  </a:lnTo>
                  <a:lnTo>
                    <a:pt x="994" y="460"/>
                  </a:lnTo>
                  <a:lnTo>
                    <a:pt x="988" y="465"/>
                  </a:lnTo>
                  <a:lnTo>
                    <a:pt x="988" y="468"/>
                  </a:lnTo>
                  <a:lnTo>
                    <a:pt x="992" y="477"/>
                  </a:lnTo>
                  <a:lnTo>
                    <a:pt x="994" y="481"/>
                  </a:lnTo>
                  <a:lnTo>
                    <a:pt x="993" y="481"/>
                  </a:lnTo>
                  <a:lnTo>
                    <a:pt x="988" y="481"/>
                  </a:lnTo>
                  <a:lnTo>
                    <a:pt x="985" y="480"/>
                  </a:lnTo>
                  <a:lnTo>
                    <a:pt x="984" y="475"/>
                  </a:lnTo>
                  <a:lnTo>
                    <a:pt x="980" y="474"/>
                  </a:lnTo>
                  <a:lnTo>
                    <a:pt x="975" y="474"/>
                  </a:lnTo>
                  <a:lnTo>
                    <a:pt x="973" y="473"/>
                  </a:lnTo>
                  <a:lnTo>
                    <a:pt x="974" y="472"/>
                  </a:lnTo>
                  <a:lnTo>
                    <a:pt x="975" y="471"/>
                  </a:lnTo>
                  <a:lnTo>
                    <a:pt x="970" y="469"/>
                  </a:lnTo>
                  <a:lnTo>
                    <a:pt x="955" y="471"/>
                  </a:lnTo>
                  <a:lnTo>
                    <a:pt x="950" y="474"/>
                  </a:lnTo>
                  <a:lnTo>
                    <a:pt x="951" y="475"/>
                  </a:lnTo>
                  <a:lnTo>
                    <a:pt x="950" y="480"/>
                  </a:lnTo>
                  <a:lnTo>
                    <a:pt x="945" y="483"/>
                  </a:lnTo>
                  <a:lnTo>
                    <a:pt x="946" y="484"/>
                  </a:lnTo>
                  <a:lnTo>
                    <a:pt x="952" y="486"/>
                  </a:lnTo>
                  <a:lnTo>
                    <a:pt x="956" y="491"/>
                  </a:lnTo>
                  <a:lnTo>
                    <a:pt x="957" y="491"/>
                  </a:lnTo>
                  <a:lnTo>
                    <a:pt x="958" y="489"/>
                  </a:lnTo>
                  <a:lnTo>
                    <a:pt x="966" y="478"/>
                  </a:lnTo>
                  <a:lnTo>
                    <a:pt x="970" y="480"/>
                  </a:lnTo>
                  <a:lnTo>
                    <a:pt x="978" y="483"/>
                  </a:lnTo>
                  <a:lnTo>
                    <a:pt x="984" y="486"/>
                  </a:lnTo>
                  <a:lnTo>
                    <a:pt x="987" y="486"/>
                  </a:lnTo>
                  <a:lnTo>
                    <a:pt x="996" y="485"/>
                  </a:lnTo>
                  <a:lnTo>
                    <a:pt x="999" y="485"/>
                  </a:lnTo>
                  <a:lnTo>
                    <a:pt x="1002" y="486"/>
                  </a:lnTo>
                  <a:lnTo>
                    <a:pt x="1003" y="492"/>
                  </a:lnTo>
                  <a:lnTo>
                    <a:pt x="1002" y="497"/>
                  </a:lnTo>
                  <a:lnTo>
                    <a:pt x="997" y="503"/>
                  </a:lnTo>
                  <a:lnTo>
                    <a:pt x="994" y="505"/>
                  </a:lnTo>
                  <a:lnTo>
                    <a:pt x="992" y="505"/>
                  </a:lnTo>
                  <a:lnTo>
                    <a:pt x="990" y="502"/>
                  </a:lnTo>
                  <a:lnTo>
                    <a:pt x="987" y="501"/>
                  </a:lnTo>
                  <a:lnTo>
                    <a:pt x="986" y="502"/>
                  </a:lnTo>
                  <a:lnTo>
                    <a:pt x="982" y="507"/>
                  </a:lnTo>
                  <a:lnTo>
                    <a:pt x="980" y="508"/>
                  </a:lnTo>
                  <a:lnTo>
                    <a:pt x="976" y="508"/>
                  </a:lnTo>
                  <a:lnTo>
                    <a:pt x="975" y="509"/>
                  </a:lnTo>
                  <a:lnTo>
                    <a:pt x="976" y="511"/>
                  </a:lnTo>
                  <a:lnTo>
                    <a:pt x="987" y="517"/>
                  </a:lnTo>
                  <a:lnTo>
                    <a:pt x="994" y="526"/>
                  </a:lnTo>
                  <a:lnTo>
                    <a:pt x="998" y="531"/>
                  </a:lnTo>
                  <a:lnTo>
                    <a:pt x="998" y="535"/>
                  </a:lnTo>
                  <a:lnTo>
                    <a:pt x="990" y="544"/>
                  </a:lnTo>
                  <a:lnTo>
                    <a:pt x="988" y="547"/>
                  </a:lnTo>
                  <a:lnTo>
                    <a:pt x="985" y="554"/>
                  </a:lnTo>
                  <a:lnTo>
                    <a:pt x="980" y="554"/>
                  </a:lnTo>
                  <a:lnTo>
                    <a:pt x="974" y="552"/>
                  </a:lnTo>
                  <a:lnTo>
                    <a:pt x="969" y="551"/>
                  </a:lnTo>
                  <a:lnTo>
                    <a:pt x="966" y="551"/>
                  </a:lnTo>
                  <a:lnTo>
                    <a:pt x="962" y="552"/>
                  </a:lnTo>
                  <a:lnTo>
                    <a:pt x="962" y="554"/>
                  </a:lnTo>
                  <a:lnTo>
                    <a:pt x="964" y="555"/>
                  </a:lnTo>
                  <a:lnTo>
                    <a:pt x="969" y="557"/>
                  </a:lnTo>
                  <a:lnTo>
                    <a:pt x="969" y="561"/>
                  </a:lnTo>
                  <a:lnTo>
                    <a:pt x="967" y="567"/>
                  </a:lnTo>
                  <a:lnTo>
                    <a:pt x="967" y="569"/>
                  </a:lnTo>
                  <a:lnTo>
                    <a:pt x="968" y="570"/>
                  </a:lnTo>
                  <a:lnTo>
                    <a:pt x="972" y="572"/>
                  </a:lnTo>
                  <a:lnTo>
                    <a:pt x="978" y="573"/>
                  </a:lnTo>
                  <a:lnTo>
                    <a:pt x="984" y="573"/>
                  </a:lnTo>
                  <a:lnTo>
                    <a:pt x="986" y="574"/>
                  </a:lnTo>
                  <a:lnTo>
                    <a:pt x="988" y="574"/>
                  </a:lnTo>
                  <a:lnTo>
                    <a:pt x="993" y="572"/>
                  </a:lnTo>
                  <a:lnTo>
                    <a:pt x="996" y="573"/>
                  </a:lnTo>
                  <a:lnTo>
                    <a:pt x="992" y="582"/>
                  </a:lnTo>
                  <a:lnTo>
                    <a:pt x="985" y="590"/>
                  </a:lnTo>
                  <a:lnTo>
                    <a:pt x="968" y="596"/>
                  </a:lnTo>
                  <a:lnTo>
                    <a:pt x="964" y="603"/>
                  </a:lnTo>
                  <a:lnTo>
                    <a:pt x="963" y="603"/>
                  </a:lnTo>
                  <a:lnTo>
                    <a:pt x="957" y="598"/>
                  </a:lnTo>
                  <a:lnTo>
                    <a:pt x="955" y="594"/>
                  </a:lnTo>
                  <a:lnTo>
                    <a:pt x="951" y="602"/>
                  </a:lnTo>
                  <a:lnTo>
                    <a:pt x="952" y="603"/>
                  </a:lnTo>
                  <a:lnTo>
                    <a:pt x="949" y="603"/>
                  </a:lnTo>
                  <a:lnTo>
                    <a:pt x="944" y="600"/>
                  </a:lnTo>
                  <a:lnTo>
                    <a:pt x="938" y="597"/>
                  </a:lnTo>
                  <a:lnTo>
                    <a:pt x="935" y="591"/>
                  </a:lnTo>
                  <a:lnTo>
                    <a:pt x="933" y="586"/>
                  </a:lnTo>
                  <a:lnTo>
                    <a:pt x="927" y="582"/>
                  </a:lnTo>
                  <a:lnTo>
                    <a:pt x="926" y="579"/>
                  </a:lnTo>
                  <a:lnTo>
                    <a:pt x="922" y="579"/>
                  </a:lnTo>
                  <a:lnTo>
                    <a:pt x="914" y="580"/>
                  </a:lnTo>
                  <a:lnTo>
                    <a:pt x="904" y="581"/>
                  </a:lnTo>
                  <a:lnTo>
                    <a:pt x="900" y="580"/>
                  </a:lnTo>
                  <a:lnTo>
                    <a:pt x="898" y="581"/>
                  </a:lnTo>
                  <a:lnTo>
                    <a:pt x="899" y="588"/>
                  </a:lnTo>
                  <a:lnTo>
                    <a:pt x="899" y="591"/>
                  </a:lnTo>
                  <a:lnTo>
                    <a:pt x="896" y="592"/>
                  </a:lnTo>
                  <a:lnTo>
                    <a:pt x="891" y="593"/>
                  </a:lnTo>
                  <a:lnTo>
                    <a:pt x="887" y="591"/>
                  </a:lnTo>
                  <a:lnTo>
                    <a:pt x="884" y="586"/>
                  </a:lnTo>
                  <a:lnTo>
                    <a:pt x="880" y="584"/>
                  </a:lnTo>
                  <a:lnTo>
                    <a:pt x="875" y="582"/>
                  </a:lnTo>
                  <a:lnTo>
                    <a:pt x="866" y="588"/>
                  </a:lnTo>
                  <a:lnTo>
                    <a:pt x="855" y="594"/>
                  </a:lnTo>
                  <a:lnTo>
                    <a:pt x="851" y="598"/>
                  </a:lnTo>
                  <a:lnTo>
                    <a:pt x="848" y="602"/>
                  </a:lnTo>
                  <a:lnTo>
                    <a:pt x="854" y="606"/>
                  </a:lnTo>
                  <a:lnTo>
                    <a:pt x="861" y="610"/>
                  </a:lnTo>
                  <a:lnTo>
                    <a:pt x="863" y="612"/>
                  </a:lnTo>
                  <a:lnTo>
                    <a:pt x="867" y="617"/>
                  </a:lnTo>
                  <a:lnTo>
                    <a:pt x="875" y="621"/>
                  </a:lnTo>
                  <a:lnTo>
                    <a:pt x="890" y="627"/>
                  </a:lnTo>
                  <a:lnTo>
                    <a:pt x="875" y="624"/>
                  </a:lnTo>
                  <a:lnTo>
                    <a:pt x="868" y="623"/>
                  </a:lnTo>
                  <a:lnTo>
                    <a:pt x="866" y="622"/>
                  </a:lnTo>
                  <a:lnTo>
                    <a:pt x="869" y="630"/>
                  </a:lnTo>
                  <a:lnTo>
                    <a:pt x="860" y="622"/>
                  </a:lnTo>
                  <a:lnTo>
                    <a:pt x="860" y="617"/>
                  </a:lnTo>
                  <a:lnTo>
                    <a:pt x="858" y="616"/>
                  </a:lnTo>
                  <a:lnTo>
                    <a:pt x="855" y="614"/>
                  </a:lnTo>
                  <a:lnTo>
                    <a:pt x="845" y="609"/>
                  </a:lnTo>
                  <a:lnTo>
                    <a:pt x="834" y="603"/>
                  </a:lnTo>
                  <a:lnTo>
                    <a:pt x="820" y="592"/>
                  </a:lnTo>
                  <a:lnTo>
                    <a:pt x="821" y="593"/>
                  </a:lnTo>
                  <a:lnTo>
                    <a:pt x="821" y="596"/>
                  </a:lnTo>
                  <a:lnTo>
                    <a:pt x="819" y="597"/>
                  </a:lnTo>
                  <a:lnTo>
                    <a:pt x="815" y="598"/>
                  </a:lnTo>
                  <a:lnTo>
                    <a:pt x="814" y="600"/>
                  </a:lnTo>
                  <a:lnTo>
                    <a:pt x="811" y="602"/>
                  </a:lnTo>
                  <a:lnTo>
                    <a:pt x="810" y="605"/>
                  </a:lnTo>
                  <a:lnTo>
                    <a:pt x="813" y="611"/>
                  </a:lnTo>
                  <a:lnTo>
                    <a:pt x="816" y="617"/>
                  </a:lnTo>
                  <a:lnTo>
                    <a:pt x="823" y="626"/>
                  </a:lnTo>
                  <a:lnTo>
                    <a:pt x="826" y="630"/>
                  </a:lnTo>
                  <a:lnTo>
                    <a:pt x="829" y="632"/>
                  </a:lnTo>
                  <a:lnTo>
                    <a:pt x="833" y="634"/>
                  </a:lnTo>
                  <a:lnTo>
                    <a:pt x="837" y="636"/>
                  </a:lnTo>
                  <a:lnTo>
                    <a:pt x="839" y="633"/>
                  </a:lnTo>
                  <a:lnTo>
                    <a:pt x="839" y="630"/>
                  </a:lnTo>
                  <a:lnTo>
                    <a:pt x="841" y="632"/>
                  </a:lnTo>
                  <a:lnTo>
                    <a:pt x="844" y="641"/>
                  </a:lnTo>
                  <a:lnTo>
                    <a:pt x="848" y="644"/>
                  </a:lnTo>
                  <a:lnTo>
                    <a:pt x="848" y="645"/>
                  </a:lnTo>
                  <a:lnTo>
                    <a:pt x="846" y="650"/>
                  </a:lnTo>
                  <a:lnTo>
                    <a:pt x="848" y="651"/>
                  </a:lnTo>
                  <a:lnTo>
                    <a:pt x="852" y="648"/>
                  </a:lnTo>
                  <a:lnTo>
                    <a:pt x="855" y="647"/>
                  </a:lnTo>
                  <a:lnTo>
                    <a:pt x="856" y="650"/>
                  </a:lnTo>
                  <a:lnTo>
                    <a:pt x="862" y="653"/>
                  </a:lnTo>
                  <a:lnTo>
                    <a:pt x="862" y="651"/>
                  </a:lnTo>
                  <a:lnTo>
                    <a:pt x="867" y="652"/>
                  </a:lnTo>
                  <a:lnTo>
                    <a:pt x="870" y="654"/>
                  </a:lnTo>
                  <a:lnTo>
                    <a:pt x="872" y="657"/>
                  </a:lnTo>
                  <a:lnTo>
                    <a:pt x="872" y="662"/>
                  </a:lnTo>
                  <a:lnTo>
                    <a:pt x="874" y="663"/>
                  </a:lnTo>
                  <a:lnTo>
                    <a:pt x="879" y="660"/>
                  </a:lnTo>
                  <a:lnTo>
                    <a:pt x="880" y="662"/>
                  </a:lnTo>
                  <a:lnTo>
                    <a:pt x="881" y="670"/>
                  </a:lnTo>
                  <a:lnTo>
                    <a:pt x="881" y="679"/>
                  </a:lnTo>
                  <a:lnTo>
                    <a:pt x="876" y="679"/>
                  </a:lnTo>
                  <a:lnTo>
                    <a:pt x="884" y="687"/>
                  </a:lnTo>
                  <a:lnTo>
                    <a:pt x="879" y="689"/>
                  </a:lnTo>
                  <a:lnTo>
                    <a:pt x="876" y="691"/>
                  </a:lnTo>
                  <a:lnTo>
                    <a:pt x="878" y="692"/>
                  </a:lnTo>
                  <a:lnTo>
                    <a:pt x="874" y="694"/>
                  </a:lnTo>
                  <a:lnTo>
                    <a:pt x="867" y="695"/>
                  </a:lnTo>
                  <a:lnTo>
                    <a:pt x="866" y="695"/>
                  </a:lnTo>
                  <a:lnTo>
                    <a:pt x="862" y="700"/>
                  </a:lnTo>
                  <a:lnTo>
                    <a:pt x="860" y="700"/>
                  </a:lnTo>
                  <a:lnTo>
                    <a:pt x="857" y="701"/>
                  </a:lnTo>
                  <a:lnTo>
                    <a:pt x="857" y="704"/>
                  </a:lnTo>
                  <a:lnTo>
                    <a:pt x="858" y="705"/>
                  </a:lnTo>
                  <a:lnTo>
                    <a:pt x="861" y="709"/>
                  </a:lnTo>
                  <a:lnTo>
                    <a:pt x="861" y="713"/>
                  </a:lnTo>
                  <a:lnTo>
                    <a:pt x="856" y="717"/>
                  </a:lnTo>
                  <a:lnTo>
                    <a:pt x="854" y="716"/>
                  </a:lnTo>
                  <a:lnTo>
                    <a:pt x="852" y="715"/>
                  </a:lnTo>
                  <a:lnTo>
                    <a:pt x="851" y="712"/>
                  </a:lnTo>
                  <a:lnTo>
                    <a:pt x="850" y="712"/>
                  </a:lnTo>
                  <a:lnTo>
                    <a:pt x="846" y="713"/>
                  </a:lnTo>
                  <a:lnTo>
                    <a:pt x="844" y="713"/>
                  </a:lnTo>
                  <a:lnTo>
                    <a:pt x="841" y="712"/>
                  </a:lnTo>
                  <a:lnTo>
                    <a:pt x="841" y="713"/>
                  </a:lnTo>
                  <a:lnTo>
                    <a:pt x="841" y="718"/>
                  </a:lnTo>
                  <a:lnTo>
                    <a:pt x="839" y="723"/>
                  </a:lnTo>
                  <a:lnTo>
                    <a:pt x="833" y="723"/>
                  </a:lnTo>
                  <a:lnTo>
                    <a:pt x="829" y="721"/>
                  </a:lnTo>
                  <a:lnTo>
                    <a:pt x="823" y="718"/>
                  </a:lnTo>
                  <a:lnTo>
                    <a:pt x="825" y="718"/>
                  </a:lnTo>
                  <a:lnTo>
                    <a:pt x="822" y="717"/>
                  </a:lnTo>
                  <a:lnTo>
                    <a:pt x="817" y="712"/>
                  </a:lnTo>
                  <a:lnTo>
                    <a:pt x="816" y="711"/>
                  </a:lnTo>
                  <a:lnTo>
                    <a:pt x="815" y="711"/>
                  </a:lnTo>
                  <a:lnTo>
                    <a:pt x="815" y="707"/>
                  </a:lnTo>
                  <a:lnTo>
                    <a:pt x="819" y="704"/>
                  </a:lnTo>
                  <a:lnTo>
                    <a:pt x="820" y="701"/>
                  </a:lnTo>
                  <a:lnTo>
                    <a:pt x="819" y="699"/>
                  </a:lnTo>
                  <a:lnTo>
                    <a:pt x="816" y="694"/>
                  </a:lnTo>
                  <a:lnTo>
                    <a:pt x="815" y="691"/>
                  </a:lnTo>
                  <a:lnTo>
                    <a:pt x="814" y="689"/>
                  </a:lnTo>
                  <a:lnTo>
                    <a:pt x="813" y="691"/>
                  </a:lnTo>
                  <a:lnTo>
                    <a:pt x="809" y="695"/>
                  </a:lnTo>
                  <a:lnTo>
                    <a:pt x="808" y="699"/>
                  </a:lnTo>
                  <a:lnTo>
                    <a:pt x="805" y="700"/>
                  </a:lnTo>
                  <a:lnTo>
                    <a:pt x="802" y="701"/>
                  </a:lnTo>
                  <a:lnTo>
                    <a:pt x="797" y="703"/>
                  </a:lnTo>
                  <a:lnTo>
                    <a:pt x="795" y="700"/>
                  </a:lnTo>
                  <a:lnTo>
                    <a:pt x="793" y="700"/>
                  </a:lnTo>
                  <a:lnTo>
                    <a:pt x="791" y="700"/>
                  </a:lnTo>
                  <a:lnTo>
                    <a:pt x="785" y="705"/>
                  </a:lnTo>
                  <a:lnTo>
                    <a:pt x="784" y="706"/>
                  </a:lnTo>
                  <a:lnTo>
                    <a:pt x="781" y="705"/>
                  </a:lnTo>
                  <a:lnTo>
                    <a:pt x="778" y="705"/>
                  </a:lnTo>
                  <a:lnTo>
                    <a:pt x="776" y="704"/>
                  </a:lnTo>
                  <a:lnTo>
                    <a:pt x="775" y="697"/>
                  </a:lnTo>
                  <a:lnTo>
                    <a:pt x="772" y="695"/>
                  </a:lnTo>
                  <a:lnTo>
                    <a:pt x="769" y="699"/>
                  </a:lnTo>
                  <a:lnTo>
                    <a:pt x="767" y="700"/>
                  </a:lnTo>
                  <a:lnTo>
                    <a:pt x="762" y="700"/>
                  </a:lnTo>
                  <a:lnTo>
                    <a:pt x="760" y="698"/>
                  </a:lnTo>
                  <a:lnTo>
                    <a:pt x="756" y="697"/>
                  </a:lnTo>
                  <a:lnTo>
                    <a:pt x="742" y="703"/>
                  </a:lnTo>
                  <a:lnTo>
                    <a:pt x="743" y="706"/>
                  </a:lnTo>
                  <a:lnTo>
                    <a:pt x="743" y="707"/>
                  </a:lnTo>
                  <a:lnTo>
                    <a:pt x="740" y="707"/>
                  </a:lnTo>
                  <a:lnTo>
                    <a:pt x="734" y="704"/>
                  </a:lnTo>
                  <a:lnTo>
                    <a:pt x="731" y="699"/>
                  </a:lnTo>
                  <a:lnTo>
                    <a:pt x="728" y="698"/>
                  </a:lnTo>
                  <a:lnTo>
                    <a:pt x="728" y="700"/>
                  </a:lnTo>
                  <a:lnTo>
                    <a:pt x="728" y="705"/>
                  </a:lnTo>
                  <a:lnTo>
                    <a:pt x="726" y="705"/>
                  </a:lnTo>
                  <a:lnTo>
                    <a:pt x="721" y="701"/>
                  </a:lnTo>
                  <a:lnTo>
                    <a:pt x="719" y="701"/>
                  </a:lnTo>
                  <a:lnTo>
                    <a:pt x="715" y="701"/>
                  </a:lnTo>
                  <a:lnTo>
                    <a:pt x="714" y="699"/>
                  </a:lnTo>
                  <a:lnTo>
                    <a:pt x="711" y="699"/>
                  </a:lnTo>
                  <a:lnTo>
                    <a:pt x="709" y="700"/>
                  </a:lnTo>
                  <a:lnTo>
                    <a:pt x="707" y="704"/>
                  </a:lnTo>
                  <a:lnTo>
                    <a:pt x="711" y="706"/>
                  </a:lnTo>
                  <a:lnTo>
                    <a:pt x="715" y="707"/>
                  </a:lnTo>
                  <a:lnTo>
                    <a:pt x="720" y="709"/>
                  </a:lnTo>
                  <a:lnTo>
                    <a:pt x="724" y="710"/>
                  </a:lnTo>
                  <a:lnTo>
                    <a:pt x="727" y="713"/>
                  </a:lnTo>
                  <a:lnTo>
                    <a:pt x="730" y="718"/>
                  </a:lnTo>
                  <a:lnTo>
                    <a:pt x="727" y="719"/>
                  </a:lnTo>
                  <a:lnTo>
                    <a:pt x="724" y="717"/>
                  </a:lnTo>
                  <a:lnTo>
                    <a:pt x="721" y="718"/>
                  </a:lnTo>
                  <a:lnTo>
                    <a:pt x="717" y="721"/>
                  </a:lnTo>
                  <a:lnTo>
                    <a:pt x="715" y="721"/>
                  </a:lnTo>
                  <a:lnTo>
                    <a:pt x="713" y="719"/>
                  </a:lnTo>
                  <a:lnTo>
                    <a:pt x="710" y="719"/>
                  </a:lnTo>
                  <a:lnTo>
                    <a:pt x="709" y="723"/>
                  </a:lnTo>
                  <a:lnTo>
                    <a:pt x="707" y="724"/>
                  </a:lnTo>
                  <a:lnTo>
                    <a:pt x="703" y="722"/>
                  </a:lnTo>
                  <a:lnTo>
                    <a:pt x="698" y="719"/>
                  </a:lnTo>
                  <a:lnTo>
                    <a:pt x="695" y="716"/>
                  </a:lnTo>
                  <a:lnTo>
                    <a:pt x="692" y="712"/>
                  </a:lnTo>
                  <a:lnTo>
                    <a:pt x="690" y="711"/>
                  </a:lnTo>
                  <a:lnTo>
                    <a:pt x="684" y="712"/>
                  </a:lnTo>
                  <a:lnTo>
                    <a:pt x="677" y="711"/>
                  </a:lnTo>
                  <a:lnTo>
                    <a:pt x="669" y="711"/>
                  </a:lnTo>
                  <a:lnTo>
                    <a:pt x="666" y="711"/>
                  </a:lnTo>
                  <a:lnTo>
                    <a:pt x="658" y="706"/>
                  </a:lnTo>
                  <a:lnTo>
                    <a:pt x="650" y="704"/>
                  </a:lnTo>
                  <a:lnTo>
                    <a:pt x="645" y="704"/>
                  </a:lnTo>
                  <a:lnTo>
                    <a:pt x="643" y="701"/>
                  </a:lnTo>
                  <a:lnTo>
                    <a:pt x="640" y="700"/>
                  </a:lnTo>
                  <a:lnTo>
                    <a:pt x="638" y="700"/>
                  </a:lnTo>
                  <a:lnTo>
                    <a:pt x="642" y="707"/>
                  </a:lnTo>
                  <a:lnTo>
                    <a:pt x="645" y="715"/>
                  </a:lnTo>
                  <a:lnTo>
                    <a:pt x="648" y="718"/>
                  </a:lnTo>
                  <a:lnTo>
                    <a:pt x="650" y="718"/>
                  </a:lnTo>
                  <a:lnTo>
                    <a:pt x="652" y="719"/>
                  </a:lnTo>
                  <a:lnTo>
                    <a:pt x="654" y="721"/>
                  </a:lnTo>
                  <a:lnTo>
                    <a:pt x="657" y="721"/>
                  </a:lnTo>
                  <a:lnTo>
                    <a:pt x="660" y="723"/>
                  </a:lnTo>
                  <a:lnTo>
                    <a:pt x="663" y="722"/>
                  </a:lnTo>
                  <a:lnTo>
                    <a:pt x="668" y="722"/>
                  </a:lnTo>
                  <a:lnTo>
                    <a:pt x="673" y="721"/>
                  </a:lnTo>
                  <a:lnTo>
                    <a:pt x="678" y="724"/>
                  </a:lnTo>
                  <a:lnTo>
                    <a:pt x="687" y="727"/>
                  </a:lnTo>
                  <a:lnTo>
                    <a:pt x="690" y="728"/>
                  </a:lnTo>
                  <a:lnTo>
                    <a:pt x="692" y="730"/>
                  </a:lnTo>
                  <a:lnTo>
                    <a:pt x="695" y="734"/>
                  </a:lnTo>
                  <a:lnTo>
                    <a:pt x="696" y="736"/>
                  </a:lnTo>
                  <a:lnTo>
                    <a:pt x="693" y="741"/>
                  </a:lnTo>
                  <a:lnTo>
                    <a:pt x="697" y="742"/>
                  </a:lnTo>
                  <a:lnTo>
                    <a:pt x="702" y="741"/>
                  </a:lnTo>
                  <a:lnTo>
                    <a:pt x="704" y="737"/>
                  </a:lnTo>
                  <a:lnTo>
                    <a:pt x="704" y="733"/>
                  </a:lnTo>
                  <a:lnTo>
                    <a:pt x="708" y="733"/>
                  </a:lnTo>
                  <a:lnTo>
                    <a:pt x="715" y="733"/>
                  </a:lnTo>
                  <a:lnTo>
                    <a:pt x="715" y="736"/>
                  </a:lnTo>
                  <a:lnTo>
                    <a:pt x="713" y="742"/>
                  </a:lnTo>
                  <a:lnTo>
                    <a:pt x="714" y="749"/>
                  </a:lnTo>
                  <a:lnTo>
                    <a:pt x="714" y="755"/>
                  </a:lnTo>
                  <a:lnTo>
                    <a:pt x="711" y="757"/>
                  </a:lnTo>
                  <a:lnTo>
                    <a:pt x="707" y="757"/>
                  </a:lnTo>
                  <a:lnTo>
                    <a:pt x="702" y="753"/>
                  </a:lnTo>
                  <a:lnTo>
                    <a:pt x="701" y="754"/>
                  </a:lnTo>
                  <a:lnTo>
                    <a:pt x="698" y="752"/>
                  </a:lnTo>
                  <a:lnTo>
                    <a:pt x="691" y="749"/>
                  </a:lnTo>
                  <a:lnTo>
                    <a:pt x="687" y="751"/>
                  </a:lnTo>
                  <a:lnTo>
                    <a:pt x="687" y="753"/>
                  </a:lnTo>
                  <a:lnTo>
                    <a:pt x="686" y="754"/>
                  </a:lnTo>
                  <a:lnTo>
                    <a:pt x="686" y="759"/>
                  </a:lnTo>
                  <a:lnTo>
                    <a:pt x="689" y="765"/>
                  </a:lnTo>
                  <a:lnTo>
                    <a:pt x="690" y="767"/>
                  </a:lnTo>
                  <a:lnTo>
                    <a:pt x="687" y="774"/>
                  </a:lnTo>
                  <a:lnTo>
                    <a:pt x="687" y="780"/>
                  </a:lnTo>
                  <a:lnTo>
                    <a:pt x="687" y="782"/>
                  </a:lnTo>
                  <a:lnTo>
                    <a:pt x="685" y="782"/>
                  </a:lnTo>
                  <a:lnTo>
                    <a:pt x="677" y="777"/>
                  </a:lnTo>
                  <a:lnTo>
                    <a:pt x="672" y="775"/>
                  </a:lnTo>
                  <a:lnTo>
                    <a:pt x="673" y="777"/>
                  </a:lnTo>
                  <a:lnTo>
                    <a:pt x="672" y="780"/>
                  </a:lnTo>
                  <a:lnTo>
                    <a:pt x="669" y="781"/>
                  </a:lnTo>
                  <a:lnTo>
                    <a:pt x="667" y="782"/>
                  </a:lnTo>
                  <a:lnTo>
                    <a:pt x="662" y="783"/>
                  </a:lnTo>
                  <a:lnTo>
                    <a:pt x="658" y="782"/>
                  </a:lnTo>
                  <a:lnTo>
                    <a:pt x="652" y="777"/>
                  </a:lnTo>
                  <a:lnTo>
                    <a:pt x="649" y="772"/>
                  </a:lnTo>
                  <a:lnTo>
                    <a:pt x="645" y="769"/>
                  </a:lnTo>
                  <a:lnTo>
                    <a:pt x="645" y="767"/>
                  </a:lnTo>
                  <a:lnTo>
                    <a:pt x="646" y="761"/>
                  </a:lnTo>
                  <a:lnTo>
                    <a:pt x="640" y="755"/>
                  </a:lnTo>
                  <a:lnTo>
                    <a:pt x="640" y="758"/>
                  </a:lnTo>
                  <a:lnTo>
                    <a:pt x="643" y="763"/>
                  </a:lnTo>
                  <a:lnTo>
                    <a:pt x="639" y="764"/>
                  </a:lnTo>
                  <a:lnTo>
                    <a:pt x="628" y="764"/>
                  </a:lnTo>
                  <a:lnTo>
                    <a:pt x="625" y="766"/>
                  </a:lnTo>
                  <a:lnTo>
                    <a:pt x="621" y="767"/>
                  </a:lnTo>
                  <a:lnTo>
                    <a:pt x="628" y="770"/>
                  </a:lnTo>
                  <a:lnTo>
                    <a:pt x="633" y="769"/>
                  </a:lnTo>
                  <a:lnTo>
                    <a:pt x="637" y="771"/>
                  </a:lnTo>
                  <a:lnTo>
                    <a:pt x="638" y="776"/>
                  </a:lnTo>
                  <a:lnTo>
                    <a:pt x="639" y="780"/>
                  </a:lnTo>
                  <a:lnTo>
                    <a:pt x="642" y="782"/>
                  </a:lnTo>
                  <a:lnTo>
                    <a:pt x="640" y="783"/>
                  </a:lnTo>
                  <a:lnTo>
                    <a:pt x="630" y="786"/>
                  </a:lnTo>
                  <a:lnTo>
                    <a:pt x="624" y="784"/>
                  </a:lnTo>
                  <a:lnTo>
                    <a:pt x="618" y="782"/>
                  </a:lnTo>
                  <a:lnTo>
                    <a:pt x="608" y="780"/>
                  </a:lnTo>
                  <a:lnTo>
                    <a:pt x="604" y="778"/>
                  </a:lnTo>
                  <a:lnTo>
                    <a:pt x="601" y="776"/>
                  </a:lnTo>
                  <a:lnTo>
                    <a:pt x="598" y="775"/>
                  </a:lnTo>
                  <a:lnTo>
                    <a:pt x="597" y="771"/>
                  </a:lnTo>
                  <a:lnTo>
                    <a:pt x="599" y="764"/>
                  </a:lnTo>
                  <a:lnTo>
                    <a:pt x="598" y="763"/>
                  </a:lnTo>
                  <a:lnTo>
                    <a:pt x="593" y="761"/>
                  </a:lnTo>
                  <a:lnTo>
                    <a:pt x="592" y="765"/>
                  </a:lnTo>
                  <a:lnTo>
                    <a:pt x="591" y="766"/>
                  </a:lnTo>
                  <a:lnTo>
                    <a:pt x="589" y="766"/>
                  </a:lnTo>
                  <a:lnTo>
                    <a:pt x="584" y="765"/>
                  </a:lnTo>
                  <a:lnTo>
                    <a:pt x="583" y="761"/>
                  </a:lnTo>
                  <a:lnTo>
                    <a:pt x="583" y="753"/>
                  </a:lnTo>
                  <a:lnTo>
                    <a:pt x="579" y="749"/>
                  </a:lnTo>
                  <a:lnTo>
                    <a:pt x="578" y="748"/>
                  </a:lnTo>
                  <a:lnTo>
                    <a:pt x="574" y="741"/>
                  </a:lnTo>
                  <a:lnTo>
                    <a:pt x="574" y="737"/>
                  </a:lnTo>
                  <a:lnTo>
                    <a:pt x="572" y="736"/>
                  </a:lnTo>
                  <a:lnTo>
                    <a:pt x="567" y="736"/>
                  </a:lnTo>
                  <a:lnTo>
                    <a:pt x="563" y="735"/>
                  </a:lnTo>
                  <a:lnTo>
                    <a:pt x="565" y="737"/>
                  </a:lnTo>
                  <a:lnTo>
                    <a:pt x="568" y="741"/>
                  </a:lnTo>
                  <a:lnTo>
                    <a:pt x="571" y="745"/>
                  </a:lnTo>
                  <a:lnTo>
                    <a:pt x="574" y="753"/>
                  </a:lnTo>
                  <a:lnTo>
                    <a:pt x="578" y="757"/>
                  </a:lnTo>
                  <a:lnTo>
                    <a:pt x="578" y="761"/>
                  </a:lnTo>
                  <a:lnTo>
                    <a:pt x="575" y="765"/>
                  </a:lnTo>
                  <a:lnTo>
                    <a:pt x="575" y="769"/>
                  </a:lnTo>
                  <a:lnTo>
                    <a:pt x="578" y="774"/>
                  </a:lnTo>
                  <a:lnTo>
                    <a:pt x="578" y="777"/>
                  </a:lnTo>
                  <a:lnTo>
                    <a:pt x="575" y="783"/>
                  </a:lnTo>
                  <a:lnTo>
                    <a:pt x="569" y="784"/>
                  </a:lnTo>
                  <a:lnTo>
                    <a:pt x="563" y="788"/>
                  </a:lnTo>
                  <a:lnTo>
                    <a:pt x="559" y="789"/>
                  </a:lnTo>
                  <a:lnTo>
                    <a:pt x="551" y="790"/>
                  </a:lnTo>
                  <a:lnTo>
                    <a:pt x="544" y="793"/>
                  </a:lnTo>
                  <a:lnTo>
                    <a:pt x="539" y="793"/>
                  </a:lnTo>
                  <a:lnTo>
                    <a:pt x="537" y="793"/>
                  </a:lnTo>
                  <a:lnTo>
                    <a:pt x="533" y="792"/>
                  </a:lnTo>
                  <a:lnTo>
                    <a:pt x="531" y="787"/>
                  </a:lnTo>
                  <a:lnTo>
                    <a:pt x="531" y="782"/>
                  </a:lnTo>
                  <a:lnTo>
                    <a:pt x="531" y="776"/>
                  </a:lnTo>
                  <a:lnTo>
                    <a:pt x="526" y="772"/>
                  </a:lnTo>
                  <a:lnTo>
                    <a:pt x="522" y="771"/>
                  </a:lnTo>
                  <a:lnTo>
                    <a:pt x="519" y="772"/>
                  </a:lnTo>
                  <a:lnTo>
                    <a:pt x="518" y="776"/>
                  </a:lnTo>
                  <a:lnTo>
                    <a:pt x="515" y="777"/>
                  </a:lnTo>
                  <a:lnTo>
                    <a:pt x="509" y="777"/>
                  </a:lnTo>
                  <a:lnTo>
                    <a:pt x="506" y="777"/>
                  </a:lnTo>
                  <a:lnTo>
                    <a:pt x="504" y="781"/>
                  </a:lnTo>
                  <a:lnTo>
                    <a:pt x="502" y="781"/>
                  </a:lnTo>
                  <a:lnTo>
                    <a:pt x="494" y="777"/>
                  </a:lnTo>
                  <a:lnTo>
                    <a:pt x="494" y="771"/>
                  </a:lnTo>
                  <a:lnTo>
                    <a:pt x="496" y="767"/>
                  </a:lnTo>
                  <a:lnTo>
                    <a:pt x="495" y="765"/>
                  </a:lnTo>
                  <a:lnTo>
                    <a:pt x="492" y="763"/>
                  </a:lnTo>
                  <a:lnTo>
                    <a:pt x="490" y="761"/>
                  </a:lnTo>
                  <a:lnTo>
                    <a:pt x="484" y="761"/>
                  </a:lnTo>
                  <a:lnTo>
                    <a:pt x="481" y="759"/>
                  </a:lnTo>
                  <a:lnTo>
                    <a:pt x="479" y="757"/>
                  </a:lnTo>
                  <a:lnTo>
                    <a:pt x="479" y="753"/>
                  </a:lnTo>
                  <a:lnTo>
                    <a:pt x="477" y="748"/>
                  </a:lnTo>
                  <a:lnTo>
                    <a:pt x="479" y="747"/>
                  </a:lnTo>
                  <a:lnTo>
                    <a:pt x="488" y="747"/>
                  </a:lnTo>
                  <a:lnTo>
                    <a:pt x="490" y="745"/>
                  </a:lnTo>
                  <a:lnTo>
                    <a:pt x="492" y="742"/>
                  </a:lnTo>
                  <a:lnTo>
                    <a:pt x="495" y="742"/>
                  </a:lnTo>
                  <a:lnTo>
                    <a:pt x="497" y="740"/>
                  </a:lnTo>
                  <a:lnTo>
                    <a:pt x="502" y="731"/>
                  </a:lnTo>
                  <a:lnTo>
                    <a:pt x="501" y="728"/>
                  </a:lnTo>
                  <a:lnTo>
                    <a:pt x="497" y="727"/>
                  </a:lnTo>
                  <a:lnTo>
                    <a:pt x="488" y="731"/>
                  </a:lnTo>
                  <a:lnTo>
                    <a:pt x="485" y="733"/>
                  </a:lnTo>
                  <a:lnTo>
                    <a:pt x="483" y="733"/>
                  </a:lnTo>
                  <a:lnTo>
                    <a:pt x="480" y="734"/>
                  </a:lnTo>
                  <a:lnTo>
                    <a:pt x="479" y="733"/>
                  </a:lnTo>
                  <a:lnTo>
                    <a:pt x="473" y="729"/>
                  </a:lnTo>
                  <a:lnTo>
                    <a:pt x="471" y="733"/>
                  </a:lnTo>
                  <a:lnTo>
                    <a:pt x="466" y="739"/>
                  </a:lnTo>
                  <a:lnTo>
                    <a:pt x="459" y="745"/>
                  </a:lnTo>
                  <a:lnTo>
                    <a:pt x="454" y="751"/>
                  </a:lnTo>
                  <a:lnTo>
                    <a:pt x="453" y="758"/>
                  </a:lnTo>
                  <a:lnTo>
                    <a:pt x="453" y="774"/>
                  </a:lnTo>
                  <a:lnTo>
                    <a:pt x="455" y="799"/>
                  </a:lnTo>
                  <a:lnTo>
                    <a:pt x="455" y="813"/>
                  </a:lnTo>
                  <a:lnTo>
                    <a:pt x="456" y="818"/>
                  </a:lnTo>
                  <a:lnTo>
                    <a:pt x="461" y="824"/>
                  </a:lnTo>
                  <a:lnTo>
                    <a:pt x="466" y="832"/>
                  </a:lnTo>
                  <a:lnTo>
                    <a:pt x="469" y="840"/>
                  </a:lnTo>
                  <a:lnTo>
                    <a:pt x="472" y="84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6" name="Freeform 79"/>
            <p:cNvSpPr>
              <a:spLocks/>
            </p:cNvSpPr>
            <p:nvPr userDrawn="1"/>
          </p:nvSpPr>
          <p:spPr bwMode="auto">
            <a:xfrm>
              <a:off x="8535988" y="6245226"/>
              <a:ext cx="250825" cy="409575"/>
            </a:xfrm>
            <a:custGeom>
              <a:avLst/>
              <a:gdLst/>
              <a:ahLst/>
              <a:cxnLst>
                <a:cxn ang="0">
                  <a:pos x="387" y="95"/>
                </a:cxn>
                <a:cxn ang="0">
                  <a:pos x="319" y="196"/>
                </a:cxn>
                <a:cxn ang="0">
                  <a:pos x="281" y="250"/>
                </a:cxn>
                <a:cxn ang="0">
                  <a:pos x="289" y="298"/>
                </a:cxn>
                <a:cxn ang="0">
                  <a:pos x="247" y="331"/>
                </a:cxn>
                <a:cxn ang="0">
                  <a:pos x="211" y="438"/>
                </a:cxn>
                <a:cxn ang="0">
                  <a:pos x="222" y="463"/>
                </a:cxn>
                <a:cxn ang="0">
                  <a:pos x="151" y="523"/>
                </a:cxn>
                <a:cxn ang="0">
                  <a:pos x="171" y="555"/>
                </a:cxn>
                <a:cxn ang="0">
                  <a:pos x="128" y="586"/>
                </a:cxn>
                <a:cxn ang="0">
                  <a:pos x="158" y="592"/>
                </a:cxn>
                <a:cxn ang="0">
                  <a:pos x="200" y="604"/>
                </a:cxn>
                <a:cxn ang="0">
                  <a:pos x="119" y="635"/>
                </a:cxn>
                <a:cxn ang="0">
                  <a:pos x="89" y="665"/>
                </a:cxn>
                <a:cxn ang="0">
                  <a:pos x="89" y="694"/>
                </a:cxn>
                <a:cxn ang="0">
                  <a:pos x="77" y="725"/>
                </a:cxn>
                <a:cxn ang="0">
                  <a:pos x="118" y="759"/>
                </a:cxn>
                <a:cxn ang="0">
                  <a:pos x="145" y="779"/>
                </a:cxn>
                <a:cxn ang="0">
                  <a:pos x="188" y="788"/>
                </a:cxn>
                <a:cxn ang="0">
                  <a:pos x="219" y="799"/>
                </a:cxn>
                <a:cxn ang="0">
                  <a:pos x="176" y="836"/>
                </a:cxn>
                <a:cxn ang="0">
                  <a:pos x="119" y="858"/>
                </a:cxn>
                <a:cxn ang="0">
                  <a:pos x="98" y="902"/>
                </a:cxn>
                <a:cxn ang="0">
                  <a:pos x="45" y="921"/>
                </a:cxn>
                <a:cxn ang="0">
                  <a:pos x="84" y="943"/>
                </a:cxn>
                <a:cxn ang="0">
                  <a:pos x="39" y="980"/>
                </a:cxn>
                <a:cxn ang="0">
                  <a:pos x="56" y="1013"/>
                </a:cxn>
                <a:cxn ang="0">
                  <a:pos x="81" y="1051"/>
                </a:cxn>
                <a:cxn ang="0">
                  <a:pos x="88" y="1106"/>
                </a:cxn>
                <a:cxn ang="0">
                  <a:pos x="165" y="1172"/>
                </a:cxn>
                <a:cxn ang="0">
                  <a:pos x="269" y="1158"/>
                </a:cxn>
                <a:cxn ang="0">
                  <a:pos x="361" y="1224"/>
                </a:cxn>
                <a:cxn ang="0">
                  <a:pos x="502" y="1180"/>
                </a:cxn>
                <a:cxn ang="0">
                  <a:pos x="596" y="1228"/>
                </a:cxn>
                <a:cxn ang="0">
                  <a:pos x="686" y="1204"/>
                </a:cxn>
                <a:cxn ang="0">
                  <a:pos x="779" y="1117"/>
                </a:cxn>
                <a:cxn ang="0">
                  <a:pos x="708" y="1050"/>
                </a:cxn>
                <a:cxn ang="0">
                  <a:pos x="703" y="997"/>
                </a:cxn>
                <a:cxn ang="0">
                  <a:pos x="677" y="984"/>
                </a:cxn>
                <a:cxn ang="0">
                  <a:pos x="699" y="939"/>
                </a:cxn>
                <a:cxn ang="0">
                  <a:pos x="718" y="890"/>
                </a:cxn>
                <a:cxn ang="0">
                  <a:pos x="725" y="833"/>
                </a:cxn>
                <a:cxn ang="0">
                  <a:pos x="575" y="793"/>
                </a:cxn>
                <a:cxn ang="0">
                  <a:pos x="631" y="787"/>
                </a:cxn>
                <a:cxn ang="0">
                  <a:pos x="691" y="752"/>
                </a:cxn>
                <a:cxn ang="0">
                  <a:pos x="720" y="710"/>
                </a:cxn>
                <a:cxn ang="0">
                  <a:pos x="702" y="668"/>
                </a:cxn>
                <a:cxn ang="0">
                  <a:pos x="672" y="577"/>
                </a:cxn>
                <a:cxn ang="0">
                  <a:pos x="595" y="533"/>
                </a:cxn>
                <a:cxn ang="0">
                  <a:pos x="618" y="503"/>
                </a:cxn>
                <a:cxn ang="0">
                  <a:pos x="540" y="434"/>
                </a:cxn>
                <a:cxn ang="0">
                  <a:pos x="620" y="443"/>
                </a:cxn>
                <a:cxn ang="0">
                  <a:pos x="454" y="371"/>
                </a:cxn>
                <a:cxn ang="0">
                  <a:pos x="530" y="300"/>
                </a:cxn>
                <a:cxn ang="0">
                  <a:pos x="544" y="258"/>
                </a:cxn>
                <a:cxn ang="0">
                  <a:pos x="495" y="235"/>
                </a:cxn>
                <a:cxn ang="0">
                  <a:pos x="484" y="217"/>
                </a:cxn>
                <a:cxn ang="0">
                  <a:pos x="472" y="145"/>
                </a:cxn>
                <a:cxn ang="0">
                  <a:pos x="461" y="135"/>
                </a:cxn>
                <a:cxn ang="0">
                  <a:pos x="461" y="104"/>
                </a:cxn>
                <a:cxn ang="0">
                  <a:pos x="444" y="99"/>
                </a:cxn>
                <a:cxn ang="0">
                  <a:pos x="432" y="41"/>
                </a:cxn>
                <a:cxn ang="0">
                  <a:pos x="410" y="28"/>
                </a:cxn>
              </a:cxnLst>
              <a:rect l="0" t="0" r="r" b="b"/>
              <a:pathLst>
                <a:path w="794" h="1293">
                  <a:moveTo>
                    <a:pt x="398" y="22"/>
                  </a:moveTo>
                  <a:lnTo>
                    <a:pt x="394" y="15"/>
                  </a:lnTo>
                  <a:lnTo>
                    <a:pt x="390" y="0"/>
                  </a:lnTo>
                  <a:lnTo>
                    <a:pt x="389" y="0"/>
                  </a:lnTo>
                  <a:lnTo>
                    <a:pt x="390" y="6"/>
                  </a:lnTo>
                  <a:lnTo>
                    <a:pt x="393" y="15"/>
                  </a:lnTo>
                  <a:lnTo>
                    <a:pt x="398" y="22"/>
                  </a:lnTo>
                  <a:lnTo>
                    <a:pt x="396" y="26"/>
                  </a:lnTo>
                  <a:lnTo>
                    <a:pt x="393" y="17"/>
                  </a:lnTo>
                  <a:lnTo>
                    <a:pt x="392" y="18"/>
                  </a:lnTo>
                  <a:lnTo>
                    <a:pt x="395" y="26"/>
                  </a:lnTo>
                  <a:lnTo>
                    <a:pt x="395" y="27"/>
                  </a:lnTo>
                  <a:lnTo>
                    <a:pt x="384" y="21"/>
                  </a:lnTo>
                  <a:lnTo>
                    <a:pt x="383" y="22"/>
                  </a:lnTo>
                  <a:lnTo>
                    <a:pt x="398" y="30"/>
                  </a:lnTo>
                  <a:lnTo>
                    <a:pt x="396" y="33"/>
                  </a:lnTo>
                  <a:lnTo>
                    <a:pt x="395" y="34"/>
                  </a:lnTo>
                  <a:lnTo>
                    <a:pt x="392" y="29"/>
                  </a:lnTo>
                  <a:lnTo>
                    <a:pt x="390" y="30"/>
                  </a:lnTo>
                  <a:lnTo>
                    <a:pt x="395" y="35"/>
                  </a:lnTo>
                  <a:lnTo>
                    <a:pt x="394" y="36"/>
                  </a:lnTo>
                  <a:lnTo>
                    <a:pt x="387" y="36"/>
                  </a:lnTo>
                  <a:lnTo>
                    <a:pt x="387" y="38"/>
                  </a:lnTo>
                  <a:lnTo>
                    <a:pt x="394" y="38"/>
                  </a:lnTo>
                  <a:lnTo>
                    <a:pt x="395" y="40"/>
                  </a:lnTo>
                  <a:lnTo>
                    <a:pt x="396" y="44"/>
                  </a:lnTo>
                  <a:lnTo>
                    <a:pt x="389" y="44"/>
                  </a:lnTo>
                  <a:lnTo>
                    <a:pt x="389" y="45"/>
                  </a:lnTo>
                  <a:lnTo>
                    <a:pt x="395" y="45"/>
                  </a:lnTo>
                  <a:lnTo>
                    <a:pt x="393" y="46"/>
                  </a:lnTo>
                  <a:lnTo>
                    <a:pt x="396" y="46"/>
                  </a:lnTo>
                  <a:lnTo>
                    <a:pt x="395" y="50"/>
                  </a:lnTo>
                  <a:lnTo>
                    <a:pt x="393" y="50"/>
                  </a:lnTo>
                  <a:lnTo>
                    <a:pt x="393" y="47"/>
                  </a:lnTo>
                  <a:lnTo>
                    <a:pt x="392" y="50"/>
                  </a:lnTo>
                  <a:lnTo>
                    <a:pt x="390" y="48"/>
                  </a:lnTo>
                  <a:lnTo>
                    <a:pt x="387" y="42"/>
                  </a:lnTo>
                  <a:lnTo>
                    <a:pt x="389" y="48"/>
                  </a:lnTo>
                  <a:lnTo>
                    <a:pt x="388" y="48"/>
                  </a:lnTo>
                  <a:lnTo>
                    <a:pt x="384" y="47"/>
                  </a:lnTo>
                  <a:lnTo>
                    <a:pt x="383" y="48"/>
                  </a:lnTo>
                  <a:lnTo>
                    <a:pt x="385" y="50"/>
                  </a:lnTo>
                  <a:lnTo>
                    <a:pt x="388" y="50"/>
                  </a:lnTo>
                  <a:lnTo>
                    <a:pt x="389" y="51"/>
                  </a:lnTo>
                  <a:lnTo>
                    <a:pt x="388" y="52"/>
                  </a:lnTo>
                  <a:lnTo>
                    <a:pt x="384" y="51"/>
                  </a:lnTo>
                  <a:lnTo>
                    <a:pt x="384" y="52"/>
                  </a:lnTo>
                  <a:lnTo>
                    <a:pt x="389" y="53"/>
                  </a:lnTo>
                  <a:lnTo>
                    <a:pt x="389" y="54"/>
                  </a:lnTo>
                  <a:lnTo>
                    <a:pt x="388" y="57"/>
                  </a:lnTo>
                  <a:lnTo>
                    <a:pt x="387" y="57"/>
                  </a:lnTo>
                  <a:lnTo>
                    <a:pt x="384" y="54"/>
                  </a:lnTo>
                  <a:lnTo>
                    <a:pt x="377" y="48"/>
                  </a:lnTo>
                  <a:lnTo>
                    <a:pt x="377" y="50"/>
                  </a:lnTo>
                  <a:lnTo>
                    <a:pt x="379" y="52"/>
                  </a:lnTo>
                  <a:lnTo>
                    <a:pt x="379" y="53"/>
                  </a:lnTo>
                  <a:lnTo>
                    <a:pt x="376" y="53"/>
                  </a:lnTo>
                  <a:lnTo>
                    <a:pt x="372" y="52"/>
                  </a:lnTo>
                  <a:lnTo>
                    <a:pt x="375" y="54"/>
                  </a:lnTo>
                  <a:lnTo>
                    <a:pt x="381" y="56"/>
                  </a:lnTo>
                  <a:lnTo>
                    <a:pt x="382" y="57"/>
                  </a:lnTo>
                  <a:lnTo>
                    <a:pt x="376" y="62"/>
                  </a:lnTo>
                  <a:lnTo>
                    <a:pt x="383" y="57"/>
                  </a:lnTo>
                  <a:lnTo>
                    <a:pt x="384" y="58"/>
                  </a:lnTo>
                  <a:lnTo>
                    <a:pt x="382" y="59"/>
                  </a:lnTo>
                  <a:lnTo>
                    <a:pt x="385" y="58"/>
                  </a:lnTo>
                  <a:lnTo>
                    <a:pt x="387" y="59"/>
                  </a:lnTo>
                  <a:lnTo>
                    <a:pt x="388" y="60"/>
                  </a:lnTo>
                  <a:lnTo>
                    <a:pt x="388" y="64"/>
                  </a:lnTo>
                  <a:lnTo>
                    <a:pt x="390" y="59"/>
                  </a:lnTo>
                  <a:lnTo>
                    <a:pt x="398" y="65"/>
                  </a:lnTo>
                  <a:lnTo>
                    <a:pt x="399" y="69"/>
                  </a:lnTo>
                  <a:lnTo>
                    <a:pt x="395" y="70"/>
                  </a:lnTo>
                  <a:lnTo>
                    <a:pt x="393" y="70"/>
                  </a:lnTo>
                  <a:lnTo>
                    <a:pt x="392" y="68"/>
                  </a:lnTo>
                  <a:lnTo>
                    <a:pt x="392" y="69"/>
                  </a:lnTo>
                  <a:lnTo>
                    <a:pt x="388" y="69"/>
                  </a:lnTo>
                  <a:lnTo>
                    <a:pt x="387" y="69"/>
                  </a:lnTo>
                  <a:lnTo>
                    <a:pt x="383" y="65"/>
                  </a:lnTo>
                  <a:lnTo>
                    <a:pt x="383" y="66"/>
                  </a:lnTo>
                  <a:lnTo>
                    <a:pt x="385" y="70"/>
                  </a:lnTo>
                  <a:lnTo>
                    <a:pt x="379" y="70"/>
                  </a:lnTo>
                  <a:lnTo>
                    <a:pt x="379" y="71"/>
                  </a:lnTo>
                  <a:lnTo>
                    <a:pt x="385" y="71"/>
                  </a:lnTo>
                  <a:lnTo>
                    <a:pt x="385" y="72"/>
                  </a:lnTo>
                  <a:lnTo>
                    <a:pt x="383" y="76"/>
                  </a:lnTo>
                  <a:lnTo>
                    <a:pt x="388" y="72"/>
                  </a:lnTo>
                  <a:lnTo>
                    <a:pt x="390" y="72"/>
                  </a:lnTo>
                  <a:lnTo>
                    <a:pt x="392" y="71"/>
                  </a:lnTo>
                  <a:lnTo>
                    <a:pt x="394" y="72"/>
                  </a:lnTo>
                  <a:lnTo>
                    <a:pt x="393" y="74"/>
                  </a:lnTo>
                  <a:lnTo>
                    <a:pt x="389" y="74"/>
                  </a:lnTo>
                  <a:lnTo>
                    <a:pt x="389" y="75"/>
                  </a:lnTo>
                  <a:lnTo>
                    <a:pt x="392" y="76"/>
                  </a:lnTo>
                  <a:lnTo>
                    <a:pt x="390" y="76"/>
                  </a:lnTo>
                  <a:lnTo>
                    <a:pt x="387" y="78"/>
                  </a:lnTo>
                  <a:lnTo>
                    <a:pt x="387" y="80"/>
                  </a:lnTo>
                  <a:lnTo>
                    <a:pt x="392" y="80"/>
                  </a:lnTo>
                  <a:lnTo>
                    <a:pt x="392" y="82"/>
                  </a:lnTo>
                  <a:lnTo>
                    <a:pt x="385" y="87"/>
                  </a:lnTo>
                  <a:lnTo>
                    <a:pt x="385" y="88"/>
                  </a:lnTo>
                  <a:lnTo>
                    <a:pt x="388" y="88"/>
                  </a:lnTo>
                  <a:lnTo>
                    <a:pt x="389" y="90"/>
                  </a:lnTo>
                  <a:lnTo>
                    <a:pt x="388" y="90"/>
                  </a:lnTo>
                  <a:lnTo>
                    <a:pt x="388" y="92"/>
                  </a:lnTo>
                  <a:lnTo>
                    <a:pt x="389" y="93"/>
                  </a:lnTo>
                  <a:lnTo>
                    <a:pt x="390" y="93"/>
                  </a:lnTo>
                  <a:lnTo>
                    <a:pt x="390" y="94"/>
                  </a:lnTo>
                  <a:lnTo>
                    <a:pt x="387" y="94"/>
                  </a:lnTo>
                  <a:lnTo>
                    <a:pt x="384" y="93"/>
                  </a:lnTo>
                  <a:lnTo>
                    <a:pt x="385" y="95"/>
                  </a:lnTo>
                  <a:lnTo>
                    <a:pt x="383" y="100"/>
                  </a:lnTo>
                  <a:lnTo>
                    <a:pt x="384" y="100"/>
                  </a:lnTo>
                  <a:lnTo>
                    <a:pt x="387" y="95"/>
                  </a:lnTo>
                  <a:lnTo>
                    <a:pt x="390" y="97"/>
                  </a:lnTo>
                  <a:lnTo>
                    <a:pt x="388" y="99"/>
                  </a:lnTo>
                  <a:lnTo>
                    <a:pt x="384" y="103"/>
                  </a:lnTo>
                  <a:lnTo>
                    <a:pt x="378" y="107"/>
                  </a:lnTo>
                  <a:lnTo>
                    <a:pt x="369" y="112"/>
                  </a:lnTo>
                  <a:lnTo>
                    <a:pt x="365" y="112"/>
                  </a:lnTo>
                  <a:lnTo>
                    <a:pt x="366" y="113"/>
                  </a:lnTo>
                  <a:lnTo>
                    <a:pt x="366" y="115"/>
                  </a:lnTo>
                  <a:lnTo>
                    <a:pt x="360" y="112"/>
                  </a:lnTo>
                  <a:lnTo>
                    <a:pt x="364" y="115"/>
                  </a:lnTo>
                  <a:lnTo>
                    <a:pt x="358" y="117"/>
                  </a:lnTo>
                  <a:lnTo>
                    <a:pt x="358" y="119"/>
                  </a:lnTo>
                  <a:lnTo>
                    <a:pt x="366" y="117"/>
                  </a:lnTo>
                  <a:lnTo>
                    <a:pt x="365" y="121"/>
                  </a:lnTo>
                  <a:lnTo>
                    <a:pt x="365" y="124"/>
                  </a:lnTo>
                  <a:lnTo>
                    <a:pt x="366" y="124"/>
                  </a:lnTo>
                  <a:lnTo>
                    <a:pt x="366" y="119"/>
                  </a:lnTo>
                  <a:lnTo>
                    <a:pt x="367" y="119"/>
                  </a:lnTo>
                  <a:lnTo>
                    <a:pt x="367" y="117"/>
                  </a:lnTo>
                  <a:lnTo>
                    <a:pt x="370" y="117"/>
                  </a:lnTo>
                  <a:lnTo>
                    <a:pt x="370" y="121"/>
                  </a:lnTo>
                  <a:lnTo>
                    <a:pt x="371" y="121"/>
                  </a:lnTo>
                  <a:lnTo>
                    <a:pt x="371" y="115"/>
                  </a:lnTo>
                  <a:lnTo>
                    <a:pt x="376" y="113"/>
                  </a:lnTo>
                  <a:lnTo>
                    <a:pt x="376" y="116"/>
                  </a:lnTo>
                  <a:lnTo>
                    <a:pt x="373" y="119"/>
                  </a:lnTo>
                  <a:lnTo>
                    <a:pt x="373" y="121"/>
                  </a:lnTo>
                  <a:lnTo>
                    <a:pt x="375" y="123"/>
                  </a:lnTo>
                  <a:lnTo>
                    <a:pt x="375" y="124"/>
                  </a:lnTo>
                  <a:lnTo>
                    <a:pt x="377" y="127"/>
                  </a:lnTo>
                  <a:lnTo>
                    <a:pt x="372" y="129"/>
                  </a:lnTo>
                  <a:lnTo>
                    <a:pt x="371" y="128"/>
                  </a:lnTo>
                  <a:lnTo>
                    <a:pt x="370" y="128"/>
                  </a:lnTo>
                  <a:lnTo>
                    <a:pt x="371" y="129"/>
                  </a:lnTo>
                  <a:lnTo>
                    <a:pt x="369" y="129"/>
                  </a:lnTo>
                  <a:lnTo>
                    <a:pt x="366" y="130"/>
                  </a:lnTo>
                  <a:lnTo>
                    <a:pt x="370" y="131"/>
                  </a:lnTo>
                  <a:lnTo>
                    <a:pt x="371" y="130"/>
                  </a:lnTo>
                  <a:lnTo>
                    <a:pt x="372" y="131"/>
                  </a:lnTo>
                  <a:lnTo>
                    <a:pt x="369" y="133"/>
                  </a:lnTo>
                  <a:lnTo>
                    <a:pt x="366" y="135"/>
                  </a:lnTo>
                  <a:lnTo>
                    <a:pt x="364" y="137"/>
                  </a:lnTo>
                  <a:lnTo>
                    <a:pt x="365" y="139"/>
                  </a:lnTo>
                  <a:lnTo>
                    <a:pt x="366" y="137"/>
                  </a:lnTo>
                  <a:lnTo>
                    <a:pt x="369" y="137"/>
                  </a:lnTo>
                  <a:lnTo>
                    <a:pt x="369" y="140"/>
                  </a:lnTo>
                  <a:lnTo>
                    <a:pt x="367" y="141"/>
                  </a:lnTo>
                  <a:lnTo>
                    <a:pt x="365" y="141"/>
                  </a:lnTo>
                  <a:lnTo>
                    <a:pt x="364" y="139"/>
                  </a:lnTo>
                  <a:lnTo>
                    <a:pt x="359" y="139"/>
                  </a:lnTo>
                  <a:lnTo>
                    <a:pt x="358" y="140"/>
                  </a:lnTo>
                  <a:lnTo>
                    <a:pt x="357" y="142"/>
                  </a:lnTo>
                  <a:lnTo>
                    <a:pt x="355" y="145"/>
                  </a:lnTo>
                  <a:lnTo>
                    <a:pt x="351" y="145"/>
                  </a:lnTo>
                  <a:lnTo>
                    <a:pt x="345" y="148"/>
                  </a:lnTo>
                  <a:lnTo>
                    <a:pt x="341" y="149"/>
                  </a:lnTo>
                  <a:lnTo>
                    <a:pt x="340" y="153"/>
                  </a:lnTo>
                  <a:lnTo>
                    <a:pt x="336" y="153"/>
                  </a:lnTo>
                  <a:lnTo>
                    <a:pt x="337" y="152"/>
                  </a:lnTo>
                  <a:lnTo>
                    <a:pt x="336" y="152"/>
                  </a:lnTo>
                  <a:lnTo>
                    <a:pt x="331" y="152"/>
                  </a:lnTo>
                  <a:lnTo>
                    <a:pt x="331" y="154"/>
                  </a:lnTo>
                  <a:lnTo>
                    <a:pt x="330" y="155"/>
                  </a:lnTo>
                  <a:lnTo>
                    <a:pt x="322" y="161"/>
                  </a:lnTo>
                  <a:lnTo>
                    <a:pt x="318" y="163"/>
                  </a:lnTo>
                  <a:lnTo>
                    <a:pt x="316" y="163"/>
                  </a:lnTo>
                  <a:lnTo>
                    <a:pt x="317" y="164"/>
                  </a:lnTo>
                  <a:lnTo>
                    <a:pt x="316" y="165"/>
                  </a:lnTo>
                  <a:lnTo>
                    <a:pt x="313" y="166"/>
                  </a:lnTo>
                  <a:lnTo>
                    <a:pt x="312" y="167"/>
                  </a:lnTo>
                  <a:lnTo>
                    <a:pt x="311" y="169"/>
                  </a:lnTo>
                  <a:lnTo>
                    <a:pt x="307" y="170"/>
                  </a:lnTo>
                  <a:lnTo>
                    <a:pt x="308" y="170"/>
                  </a:lnTo>
                  <a:lnTo>
                    <a:pt x="308" y="171"/>
                  </a:lnTo>
                  <a:lnTo>
                    <a:pt x="305" y="171"/>
                  </a:lnTo>
                  <a:lnTo>
                    <a:pt x="305" y="172"/>
                  </a:lnTo>
                  <a:lnTo>
                    <a:pt x="307" y="172"/>
                  </a:lnTo>
                  <a:lnTo>
                    <a:pt x="304" y="177"/>
                  </a:lnTo>
                  <a:lnTo>
                    <a:pt x="307" y="173"/>
                  </a:lnTo>
                  <a:lnTo>
                    <a:pt x="308" y="173"/>
                  </a:lnTo>
                  <a:lnTo>
                    <a:pt x="308" y="177"/>
                  </a:lnTo>
                  <a:lnTo>
                    <a:pt x="310" y="172"/>
                  </a:lnTo>
                  <a:lnTo>
                    <a:pt x="311" y="172"/>
                  </a:lnTo>
                  <a:lnTo>
                    <a:pt x="311" y="173"/>
                  </a:lnTo>
                  <a:lnTo>
                    <a:pt x="312" y="172"/>
                  </a:lnTo>
                  <a:lnTo>
                    <a:pt x="313" y="170"/>
                  </a:lnTo>
                  <a:lnTo>
                    <a:pt x="319" y="165"/>
                  </a:lnTo>
                  <a:lnTo>
                    <a:pt x="318" y="171"/>
                  </a:lnTo>
                  <a:lnTo>
                    <a:pt x="319" y="172"/>
                  </a:lnTo>
                  <a:lnTo>
                    <a:pt x="319" y="176"/>
                  </a:lnTo>
                  <a:lnTo>
                    <a:pt x="320" y="176"/>
                  </a:lnTo>
                  <a:lnTo>
                    <a:pt x="322" y="172"/>
                  </a:lnTo>
                  <a:lnTo>
                    <a:pt x="320" y="165"/>
                  </a:lnTo>
                  <a:lnTo>
                    <a:pt x="322" y="169"/>
                  </a:lnTo>
                  <a:lnTo>
                    <a:pt x="322" y="175"/>
                  </a:lnTo>
                  <a:lnTo>
                    <a:pt x="323" y="175"/>
                  </a:lnTo>
                  <a:lnTo>
                    <a:pt x="323" y="176"/>
                  </a:lnTo>
                  <a:lnTo>
                    <a:pt x="324" y="177"/>
                  </a:lnTo>
                  <a:lnTo>
                    <a:pt x="325" y="178"/>
                  </a:lnTo>
                  <a:lnTo>
                    <a:pt x="324" y="179"/>
                  </a:lnTo>
                  <a:lnTo>
                    <a:pt x="320" y="181"/>
                  </a:lnTo>
                  <a:lnTo>
                    <a:pt x="322" y="182"/>
                  </a:lnTo>
                  <a:lnTo>
                    <a:pt x="322" y="183"/>
                  </a:lnTo>
                  <a:lnTo>
                    <a:pt x="319" y="183"/>
                  </a:lnTo>
                  <a:lnTo>
                    <a:pt x="320" y="184"/>
                  </a:lnTo>
                  <a:lnTo>
                    <a:pt x="322" y="184"/>
                  </a:lnTo>
                  <a:lnTo>
                    <a:pt x="323" y="185"/>
                  </a:lnTo>
                  <a:lnTo>
                    <a:pt x="320" y="187"/>
                  </a:lnTo>
                  <a:lnTo>
                    <a:pt x="319" y="188"/>
                  </a:lnTo>
                  <a:lnTo>
                    <a:pt x="319" y="189"/>
                  </a:lnTo>
                  <a:lnTo>
                    <a:pt x="319" y="190"/>
                  </a:lnTo>
                  <a:lnTo>
                    <a:pt x="320" y="194"/>
                  </a:lnTo>
                  <a:lnTo>
                    <a:pt x="319" y="195"/>
                  </a:lnTo>
                  <a:lnTo>
                    <a:pt x="319" y="196"/>
                  </a:lnTo>
                  <a:lnTo>
                    <a:pt x="320" y="197"/>
                  </a:lnTo>
                  <a:lnTo>
                    <a:pt x="324" y="197"/>
                  </a:lnTo>
                  <a:lnTo>
                    <a:pt x="325" y="199"/>
                  </a:lnTo>
                  <a:lnTo>
                    <a:pt x="324" y="199"/>
                  </a:lnTo>
                  <a:lnTo>
                    <a:pt x="319" y="200"/>
                  </a:lnTo>
                  <a:lnTo>
                    <a:pt x="319" y="201"/>
                  </a:lnTo>
                  <a:lnTo>
                    <a:pt x="318" y="201"/>
                  </a:lnTo>
                  <a:lnTo>
                    <a:pt x="318" y="202"/>
                  </a:lnTo>
                  <a:lnTo>
                    <a:pt x="316" y="202"/>
                  </a:lnTo>
                  <a:lnTo>
                    <a:pt x="313" y="201"/>
                  </a:lnTo>
                  <a:lnTo>
                    <a:pt x="312" y="201"/>
                  </a:lnTo>
                  <a:lnTo>
                    <a:pt x="312" y="202"/>
                  </a:lnTo>
                  <a:lnTo>
                    <a:pt x="314" y="204"/>
                  </a:lnTo>
                  <a:lnTo>
                    <a:pt x="312" y="205"/>
                  </a:lnTo>
                  <a:lnTo>
                    <a:pt x="311" y="205"/>
                  </a:lnTo>
                  <a:lnTo>
                    <a:pt x="310" y="204"/>
                  </a:lnTo>
                  <a:lnTo>
                    <a:pt x="307" y="204"/>
                  </a:lnTo>
                  <a:lnTo>
                    <a:pt x="308" y="205"/>
                  </a:lnTo>
                  <a:lnTo>
                    <a:pt x="305" y="206"/>
                  </a:lnTo>
                  <a:lnTo>
                    <a:pt x="300" y="208"/>
                  </a:lnTo>
                  <a:lnTo>
                    <a:pt x="300" y="210"/>
                  </a:lnTo>
                  <a:lnTo>
                    <a:pt x="305" y="207"/>
                  </a:lnTo>
                  <a:lnTo>
                    <a:pt x="306" y="208"/>
                  </a:lnTo>
                  <a:lnTo>
                    <a:pt x="304" y="216"/>
                  </a:lnTo>
                  <a:lnTo>
                    <a:pt x="305" y="216"/>
                  </a:lnTo>
                  <a:lnTo>
                    <a:pt x="307" y="208"/>
                  </a:lnTo>
                  <a:lnTo>
                    <a:pt x="308" y="208"/>
                  </a:lnTo>
                  <a:lnTo>
                    <a:pt x="308" y="212"/>
                  </a:lnTo>
                  <a:lnTo>
                    <a:pt x="310" y="212"/>
                  </a:lnTo>
                  <a:lnTo>
                    <a:pt x="311" y="210"/>
                  </a:lnTo>
                  <a:lnTo>
                    <a:pt x="312" y="211"/>
                  </a:lnTo>
                  <a:lnTo>
                    <a:pt x="313" y="206"/>
                  </a:lnTo>
                  <a:lnTo>
                    <a:pt x="314" y="206"/>
                  </a:lnTo>
                  <a:lnTo>
                    <a:pt x="314" y="207"/>
                  </a:lnTo>
                  <a:lnTo>
                    <a:pt x="314" y="208"/>
                  </a:lnTo>
                  <a:lnTo>
                    <a:pt x="314" y="210"/>
                  </a:lnTo>
                  <a:lnTo>
                    <a:pt x="316" y="211"/>
                  </a:lnTo>
                  <a:lnTo>
                    <a:pt x="318" y="219"/>
                  </a:lnTo>
                  <a:lnTo>
                    <a:pt x="319" y="219"/>
                  </a:lnTo>
                  <a:lnTo>
                    <a:pt x="320" y="218"/>
                  </a:lnTo>
                  <a:lnTo>
                    <a:pt x="322" y="220"/>
                  </a:lnTo>
                  <a:lnTo>
                    <a:pt x="323" y="222"/>
                  </a:lnTo>
                  <a:lnTo>
                    <a:pt x="323" y="220"/>
                  </a:lnTo>
                  <a:lnTo>
                    <a:pt x="322" y="218"/>
                  </a:lnTo>
                  <a:lnTo>
                    <a:pt x="323" y="218"/>
                  </a:lnTo>
                  <a:lnTo>
                    <a:pt x="324" y="219"/>
                  </a:lnTo>
                  <a:lnTo>
                    <a:pt x="325" y="219"/>
                  </a:lnTo>
                  <a:lnTo>
                    <a:pt x="325" y="217"/>
                  </a:lnTo>
                  <a:lnTo>
                    <a:pt x="326" y="216"/>
                  </a:lnTo>
                  <a:lnTo>
                    <a:pt x="328" y="219"/>
                  </a:lnTo>
                  <a:lnTo>
                    <a:pt x="328" y="220"/>
                  </a:lnTo>
                  <a:lnTo>
                    <a:pt x="329" y="222"/>
                  </a:lnTo>
                  <a:lnTo>
                    <a:pt x="329" y="216"/>
                  </a:lnTo>
                  <a:lnTo>
                    <a:pt x="329" y="214"/>
                  </a:lnTo>
                  <a:lnTo>
                    <a:pt x="330" y="216"/>
                  </a:lnTo>
                  <a:lnTo>
                    <a:pt x="331" y="218"/>
                  </a:lnTo>
                  <a:lnTo>
                    <a:pt x="331" y="213"/>
                  </a:lnTo>
                  <a:lnTo>
                    <a:pt x="333" y="212"/>
                  </a:lnTo>
                  <a:lnTo>
                    <a:pt x="333" y="213"/>
                  </a:lnTo>
                  <a:lnTo>
                    <a:pt x="334" y="214"/>
                  </a:lnTo>
                  <a:lnTo>
                    <a:pt x="335" y="218"/>
                  </a:lnTo>
                  <a:lnTo>
                    <a:pt x="335" y="219"/>
                  </a:lnTo>
                  <a:lnTo>
                    <a:pt x="336" y="223"/>
                  </a:lnTo>
                  <a:lnTo>
                    <a:pt x="335" y="224"/>
                  </a:lnTo>
                  <a:lnTo>
                    <a:pt x="331" y="225"/>
                  </a:lnTo>
                  <a:lnTo>
                    <a:pt x="329" y="228"/>
                  </a:lnTo>
                  <a:lnTo>
                    <a:pt x="326" y="231"/>
                  </a:lnTo>
                  <a:lnTo>
                    <a:pt x="319" y="231"/>
                  </a:lnTo>
                  <a:lnTo>
                    <a:pt x="317" y="232"/>
                  </a:lnTo>
                  <a:lnTo>
                    <a:pt x="310" y="234"/>
                  </a:lnTo>
                  <a:lnTo>
                    <a:pt x="308" y="235"/>
                  </a:lnTo>
                  <a:lnTo>
                    <a:pt x="304" y="235"/>
                  </a:lnTo>
                  <a:lnTo>
                    <a:pt x="301" y="234"/>
                  </a:lnTo>
                  <a:lnTo>
                    <a:pt x="301" y="235"/>
                  </a:lnTo>
                  <a:lnTo>
                    <a:pt x="300" y="235"/>
                  </a:lnTo>
                  <a:lnTo>
                    <a:pt x="296" y="231"/>
                  </a:lnTo>
                  <a:lnTo>
                    <a:pt x="296" y="232"/>
                  </a:lnTo>
                  <a:lnTo>
                    <a:pt x="298" y="234"/>
                  </a:lnTo>
                  <a:lnTo>
                    <a:pt x="299" y="235"/>
                  </a:lnTo>
                  <a:lnTo>
                    <a:pt x="296" y="235"/>
                  </a:lnTo>
                  <a:lnTo>
                    <a:pt x="295" y="234"/>
                  </a:lnTo>
                  <a:lnTo>
                    <a:pt x="293" y="234"/>
                  </a:lnTo>
                  <a:lnTo>
                    <a:pt x="287" y="230"/>
                  </a:lnTo>
                  <a:lnTo>
                    <a:pt x="286" y="230"/>
                  </a:lnTo>
                  <a:lnTo>
                    <a:pt x="292" y="235"/>
                  </a:lnTo>
                  <a:lnTo>
                    <a:pt x="278" y="235"/>
                  </a:lnTo>
                  <a:lnTo>
                    <a:pt x="280" y="236"/>
                  </a:lnTo>
                  <a:lnTo>
                    <a:pt x="289" y="237"/>
                  </a:lnTo>
                  <a:lnTo>
                    <a:pt x="292" y="237"/>
                  </a:lnTo>
                  <a:lnTo>
                    <a:pt x="289" y="238"/>
                  </a:lnTo>
                  <a:lnTo>
                    <a:pt x="289" y="240"/>
                  </a:lnTo>
                  <a:lnTo>
                    <a:pt x="295" y="236"/>
                  </a:lnTo>
                  <a:lnTo>
                    <a:pt x="296" y="236"/>
                  </a:lnTo>
                  <a:lnTo>
                    <a:pt x="298" y="238"/>
                  </a:lnTo>
                  <a:lnTo>
                    <a:pt x="298" y="240"/>
                  </a:lnTo>
                  <a:lnTo>
                    <a:pt x="296" y="242"/>
                  </a:lnTo>
                  <a:lnTo>
                    <a:pt x="298" y="244"/>
                  </a:lnTo>
                  <a:lnTo>
                    <a:pt x="299" y="247"/>
                  </a:lnTo>
                  <a:lnTo>
                    <a:pt x="300" y="248"/>
                  </a:lnTo>
                  <a:lnTo>
                    <a:pt x="298" y="249"/>
                  </a:lnTo>
                  <a:lnTo>
                    <a:pt x="296" y="252"/>
                  </a:lnTo>
                  <a:lnTo>
                    <a:pt x="299" y="252"/>
                  </a:lnTo>
                  <a:lnTo>
                    <a:pt x="299" y="253"/>
                  </a:lnTo>
                  <a:lnTo>
                    <a:pt x="296" y="254"/>
                  </a:lnTo>
                  <a:lnTo>
                    <a:pt x="294" y="256"/>
                  </a:lnTo>
                  <a:lnTo>
                    <a:pt x="294" y="258"/>
                  </a:lnTo>
                  <a:lnTo>
                    <a:pt x="293" y="258"/>
                  </a:lnTo>
                  <a:lnTo>
                    <a:pt x="292" y="256"/>
                  </a:lnTo>
                  <a:lnTo>
                    <a:pt x="292" y="254"/>
                  </a:lnTo>
                  <a:lnTo>
                    <a:pt x="290" y="252"/>
                  </a:lnTo>
                  <a:lnTo>
                    <a:pt x="290" y="253"/>
                  </a:lnTo>
                  <a:lnTo>
                    <a:pt x="290" y="254"/>
                  </a:lnTo>
                  <a:lnTo>
                    <a:pt x="288" y="256"/>
                  </a:lnTo>
                  <a:lnTo>
                    <a:pt x="281" y="250"/>
                  </a:lnTo>
                  <a:lnTo>
                    <a:pt x="278" y="250"/>
                  </a:lnTo>
                  <a:lnTo>
                    <a:pt x="271" y="244"/>
                  </a:lnTo>
                  <a:lnTo>
                    <a:pt x="270" y="246"/>
                  </a:lnTo>
                  <a:lnTo>
                    <a:pt x="275" y="250"/>
                  </a:lnTo>
                  <a:lnTo>
                    <a:pt x="272" y="250"/>
                  </a:lnTo>
                  <a:lnTo>
                    <a:pt x="269" y="248"/>
                  </a:lnTo>
                  <a:lnTo>
                    <a:pt x="268" y="249"/>
                  </a:lnTo>
                  <a:lnTo>
                    <a:pt x="271" y="250"/>
                  </a:lnTo>
                  <a:lnTo>
                    <a:pt x="270" y="252"/>
                  </a:lnTo>
                  <a:lnTo>
                    <a:pt x="274" y="253"/>
                  </a:lnTo>
                  <a:lnTo>
                    <a:pt x="275" y="254"/>
                  </a:lnTo>
                  <a:lnTo>
                    <a:pt x="272" y="255"/>
                  </a:lnTo>
                  <a:lnTo>
                    <a:pt x="276" y="255"/>
                  </a:lnTo>
                  <a:lnTo>
                    <a:pt x="277" y="254"/>
                  </a:lnTo>
                  <a:lnTo>
                    <a:pt x="278" y="254"/>
                  </a:lnTo>
                  <a:lnTo>
                    <a:pt x="278" y="255"/>
                  </a:lnTo>
                  <a:lnTo>
                    <a:pt x="276" y="258"/>
                  </a:lnTo>
                  <a:lnTo>
                    <a:pt x="277" y="258"/>
                  </a:lnTo>
                  <a:lnTo>
                    <a:pt x="281" y="255"/>
                  </a:lnTo>
                  <a:lnTo>
                    <a:pt x="284" y="256"/>
                  </a:lnTo>
                  <a:lnTo>
                    <a:pt x="281" y="258"/>
                  </a:lnTo>
                  <a:lnTo>
                    <a:pt x="278" y="259"/>
                  </a:lnTo>
                  <a:lnTo>
                    <a:pt x="276" y="261"/>
                  </a:lnTo>
                  <a:lnTo>
                    <a:pt x="277" y="262"/>
                  </a:lnTo>
                  <a:lnTo>
                    <a:pt x="278" y="261"/>
                  </a:lnTo>
                  <a:lnTo>
                    <a:pt x="280" y="260"/>
                  </a:lnTo>
                  <a:lnTo>
                    <a:pt x="281" y="260"/>
                  </a:lnTo>
                  <a:lnTo>
                    <a:pt x="283" y="260"/>
                  </a:lnTo>
                  <a:lnTo>
                    <a:pt x="284" y="260"/>
                  </a:lnTo>
                  <a:lnTo>
                    <a:pt x="284" y="262"/>
                  </a:lnTo>
                  <a:lnTo>
                    <a:pt x="287" y="262"/>
                  </a:lnTo>
                  <a:lnTo>
                    <a:pt x="289" y="262"/>
                  </a:lnTo>
                  <a:lnTo>
                    <a:pt x="290" y="262"/>
                  </a:lnTo>
                  <a:lnTo>
                    <a:pt x="289" y="264"/>
                  </a:lnTo>
                  <a:lnTo>
                    <a:pt x="287" y="265"/>
                  </a:lnTo>
                  <a:lnTo>
                    <a:pt x="282" y="270"/>
                  </a:lnTo>
                  <a:lnTo>
                    <a:pt x="277" y="271"/>
                  </a:lnTo>
                  <a:lnTo>
                    <a:pt x="271" y="272"/>
                  </a:lnTo>
                  <a:lnTo>
                    <a:pt x="276" y="273"/>
                  </a:lnTo>
                  <a:lnTo>
                    <a:pt x="276" y="274"/>
                  </a:lnTo>
                  <a:lnTo>
                    <a:pt x="268" y="279"/>
                  </a:lnTo>
                  <a:lnTo>
                    <a:pt x="269" y="279"/>
                  </a:lnTo>
                  <a:lnTo>
                    <a:pt x="277" y="276"/>
                  </a:lnTo>
                  <a:lnTo>
                    <a:pt x="278" y="276"/>
                  </a:lnTo>
                  <a:lnTo>
                    <a:pt x="277" y="277"/>
                  </a:lnTo>
                  <a:lnTo>
                    <a:pt x="277" y="280"/>
                  </a:lnTo>
                  <a:lnTo>
                    <a:pt x="278" y="279"/>
                  </a:lnTo>
                  <a:lnTo>
                    <a:pt x="278" y="274"/>
                  </a:lnTo>
                  <a:lnTo>
                    <a:pt x="281" y="274"/>
                  </a:lnTo>
                  <a:lnTo>
                    <a:pt x="286" y="282"/>
                  </a:lnTo>
                  <a:lnTo>
                    <a:pt x="287" y="280"/>
                  </a:lnTo>
                  <a:lnTo>
                    <a:pt x="286" y="278"/>
                  </a:lnTo>
                  <a:lnTo>
                    <a:pt x="288" y="278"/>
                  </a:lnTo>
                  <a:lnTo>
                    <a:pt x="289" y="279"/>
                  </a:lnTo>
                  <a:lnTo>
                    <a:pt x="289" y="280"/>
                  </a:lnTo>
                  <a:lnTo>
                    <a:pt x="287" y="283"/>
                  </a:lnTo>
                  <a:lnTo>
                    <a:pt x="287" y="284"/>
                  </a:lnTo>
                  <a:lnTo>
                    <a:pt x="284" y="284"/>
                  </a:lnTo>
                  <a:lnTo>
                    <a:pt x="282" y="285"/>
                  </a:lnTo>
                  <a:lnTo>
                    <a:pt x="281" y="288"/>
                  </a:lnTo>
                  <a:lnTo>
                    <a:pt x="282" y="290"/>
                  </a:lnTo>
                  <a:lnTo>
                    <a:pt x="278" y="291"/>
                  </a:lnTo>
                  <a:lnTo>
                    <a:pt x="278" y="295"/>
                  </a:lnTo>
                  <a:lnTo>
                    <a:pt x="276" y="296"/>
                  </a:lnTo>
                  <a:lnTo>
                    <a:pt x="274" y="296"/>
                  </a:lnTo>
                  <a:lnTo>
                    <a:pt x="272" y="295"/>
                  </a:lnTo>
                  <a:lnTo>
                    <a:pt x="272" y="296"/>
                  </a:lnTo>
                  <a:lnTo>
                    <a:pt x="274" y="297"/>
                  </a:lnTo>
                  <a:lnTo>
                    <a:pt x="272" y="298"/>
                  </a:lnTo>
                  <a:lnTo>
                    <a:pt x="269" y="300"/>
                  </a:lnTo>
                  <a:lnTo>
                    <a:pt x="269" y="298"/>
                  </a:lnTo>
                  <a:lnTo>
                    <a:pt x="268" y="300"/>
                  </a:lnTo>
                  <a:lnTo>
                    <a:pt x="266" y="300"/>
                  </a:lnTo>
                  <a:lnTo>
                    <a:pt x="264" y="300"/>
                  </a:lnTo>
                  <a:lnTo>
                    <a:pt x="263" y="301"/>
                  </a:lnTo>
                  <a:lnTo>
                    <a:pt x="261" y="301"/>
                  </a:lnTo>
                  <a:lnTo>
                    <a:pt x="260" y="302"/>
                  </a:lnTo>
                  <a:lnTo>
                    <a:pt x="264" y="302"/>
                  </a:lnTo>
                  <a:lnTo>
                    <a:pt x="264" y="303"/>
                  </a:lnTo>
                  <a:lnTo>
                    <a:pt x="263" y="304"/>
                  </a:lnTo>
                  <a:lnTo>
                    <a:pt x="261" y="308"/>
                  </a:lnTo>
                  <a:lnTo>
                    <a:pt x="263" y="308"/>
                  </a:lnTo>
                  <a:lnTo>
                    <a:pt x="264" y="308"/>
                  </a:lnTo>
                  <a:lnTo>
                    <a:pt x="266" y="306"/>
                  </a:lnTo>
                  <a:lnTo>
                    <a:pt x="266" y="309"/>
                  </a:lnTo>
                  <a:lnTo>
                    <a:pt x="268" y="303"/>
                  </a:lnTo>
                  <a:lnTo>
                    <a:pt x="269" y="302"/>
                  </a:lnTo>
                  <a:lnTo>
                    <a:pt x="269" y="304"/>
                  </a:lnTo>
                  <a:lnTo>
                    <a:pt x="270" y="302"/>
                  </a:lnTo>
                  <a:lnTo>
                    <a:pt x="271" y="302"/>
                  </a:lnTo>
                  <a:lnTo>
                    <a:pt x="274" y="301"/>
                  </a:lnTo>
                  <a:lnTo>
                    <a:pt x="274" y="302"/>
                  </a:lnTo>
                  <a:lnTo>
                    <a:pt x="274" y="303"/>
                  </a:lnTo>
                  <a:lnTo>
                    <a:pt x="272" y="304"/>
                  </a:lnTo>
                  <a:lnTo>
                    <a:pt x="274" y="307"/>
                  </a:lnTo>
                  <a:lnTo>
                    <a:pt x="274" y="310"/>
                  </a:lnTo>
                  <a:lnTo>
                    <a:pt x="275" y="312"/>
                  </a:lnTo>
                  <a:lnTo>
                    <a:pt x="276" y="313"/>
                  </a:lnTo>
                  <a:lnTo>
                    <a:pt x="276" y="309"/>
                  </a:lnTo>
                  <a:lnTo>
                    <a:pt x="276" y="306"/>
                  </a:lnTo>
                  <a:lnTo>
                    <a:pt x="277" y="306"/>
                  </a:lnTo>
                  <a:lnTo>
                    <a:pt x="278" y="307"/>
                  </a:lnTo>
                  <a:lnTo>
                    <a:pt x="278" y="312"/>
                  </a:lnTo>
                  <a:lnTo>
                    <a:pt x="280" y="312"/>
                  </a:lnTo>
                  <a:lnTo>
                    <a:pt x="282" y="308"/>
                  </a:lnTo>
                  <a:lnTo>
                    <a:pt x="283" y="306"/>
                  </a:lnTo>
                  <a:lnTo>
                    <a:pt x="284" y="304"/>
                  </a:lnTo>
                  <a:lnTo>
                    <a:pt x="284" y="306"/>
                  </a:lnTo>
                  <a:lnTo>
                    <a:pt x="287" y="306"/>
                  </a:lnTo>
                  <a:lnTo>
                    <a:pt x="288" y="306"/>
                  </a:lnTo>
                  <a:lnTo>
                    <a:pt x="289" y="304"/>
                  </a:lnTo>
                  <a:lnTo>
                    <a:pt x="288" y="303"/>
                  </a:lnTo>
                  <a:lnTo>
                    <a:pt x="288" y="300"/>
                  </a:lnTo>
                  <a:lnTo>
                    <a:pt x="289" y="298"/>
                  </a:lnTo>
                  <a:lnTo>
                    <a:pt x="292" y="302"/>
                  </a:lnTo>
                  <a:lnTo>
                    <a:pt x="293" y="303"/>
                  </a:lnTo>
                  <a:lnTo>
                    <a:pt x="295" y="303"/>
                  </a:lnTo>
                  <a:lnTo>
                    <a:pt x="295" y="301"/>
                  </a:lnTo>
                  <a:lnTo>
                    <a:pt x="294" y="300"/>
                  </a:lnTo>
                  <a:lnTo>
                    <a:pt x="294" y="295"/>
                  </a:lnTo>
                  <a:lnTo>
                    <a:pt x="295" y="294"/>
                  </a:lnTo>
                  <a:lnTo>
                    <a:pt x="298" y="296"/>
                  </a:lnTo>
                  <a:lnTo>
                    <a:pt x="298" y="297"/>
                  </a:lnTo>
                  <a:lnTo>
                    <a:pt x="296" y="298"/>
                  </a:lnTo>
                  <a:lnTo>
                    <a:pt x="296" y="300"/>
                  </a:lnTo>
                  <a:lnTo>
                    <a:pt x="298" y="302"/>
                  </a:lnTo>
                  <a:lnTo>
                    <a:pt x="299" y="300"/>
                  </a:lnTo>
                  <a:lnTo>
                    <a:pt x="299" y="296"/>
                  </a:lnTo>
                  <a:lnTo>
                    <a:pt x="299" y="294"/>
                  </a:lnTo>
                  <a:lnTo>
                    <a:pt x="300" y="292"/>
                  </a:lnTo>
                  <a:lnTo>
                    <a:pt x="300" y="291"/>
                  </a:lnTo>
                  <a:lnTo>
                    <a:pt x="299" y="290"/>
                  </a:lnTo>
                  <a:lnTo>
                    <a:pt x="299" y="289"/>
                  </a:lnTo>
                  <a:lnTo>
                    <a:pt x="300" y="290"/>
                  </a:lnTo>
                  <a:lnTo>
                    <a:pt x="302" y="289"/>
                  </a:lnTo>
                  <a:lnTo>
                    <a:pt x="302" y="291"/>
                  </a:lnTo>
                  <a:lnTo>
                    <a:pt x="301" y="294"/>
                  </a:lnTo>
                  <a:lnTo>
                    <a:pt x="301" y="296"/>
                  </a:lnTo>
                  <a:lnTo>
                    <a:pt x="301" y="297"/>
                  </a:lnTo>
                  <a:lnTo>
                    <a:pt x="301" y="298"/>
                  </a:lnTo>
                  <a:lnTo>
                    <a:pt x="301" y="300"/>
                  </a:lnTo>
                  <a:lnTo>
                    <a:pt x="300" y="301"/>
                  </a:lnTo>
                  <a:lnTo>
                    <a:pt x="299" y="302"/>
                  </a:lnTo>
                  <a:lnTo>
                    <a:pt x="296" y="304"/>
                  </a:lnTo>
                  <a:lnTo>
                    <a:pt x="293" y="307"/>
                  </a:lnTo>
                  <a:lnTo>
                    <a:pt x="290" y="309"/>
                  </a:lnTo>
                  <a:lnTo>
                    <a:pt x="289" y="310"/>
                  </a:lnTo>
                  <a:lnTo>
                    <a:pt x="288" y="310"/>
                  </a:lnTo>
                  <a:lnTo>
                    <a:pt x="287" y="308"/>
                  </a:lnTo>
                  <a:lnTo>
                    <a:pt x="287" y="310"/>
                  </a:lnTo>
                  <a:lnTo>
                    <a:pt x="283" y="314"/>
                  </a:lnTo>
                  <a:lnTo>
                    <a:pt x="281" y="315"/>
                  </a:lnTo>
                  <a:lnTo>
                    <a:pt x="278" y="315"/>
                  </a:lnTo>
                  <a:lnTo>
                    <a:pt x="276" y="315"/>
                  </a:lnTo>
                  <a:lnTo>
                    <a:pt x="275" y="314"/>
                  </a:lnTo>
                  <a:lnTo>
                    <a:pt x="272" y="314"/>
                  </a:lnTo>
                  <a:lnTo>
                    <a:pt x="271" y="314"/>
                  </a:lnTo>
                  <a:lnTo>
                    <a:pt x="269" y="314"/>
                  </a:lnTo>
                  <a:lnTo>
                    <a:pt x="265" y="313"/>
                  </a:lnTo>
                  <a:lnTo>
                    <a:pt x="263" y="310"/>
                  </a:lnTo>
                  <a:lnTo>
                    <a:pt x="260" y="308"/>
                  </a:lnTo>
                  <a:lnTo>
                    <a:pt x="259" y="307"/>
                  </a:lnTo>
                  <a:lnTo>
                    <a:pt x="255" y="304"/>
                  </a:lnTo>
                  <a:lnTo>
                    <a:pt x="254" y="301"/>
                  </a:lnTo>
                  <a:lnTo>
                    <a:pt x="257" y="300"/>
                  </a:lnTo>
                  <a:lnTo>
                    <a:pt x="255" y="298"/>
                  </a:lnTo>
                  <a:lnTo>
                    <a:pt x="253" y="301"/>
                  </a:lnTo>
                  <a:lnTo>
                    <a:pt x="252" y="300"/>
                  </a:lnTo>
                  <a:lnTo>
                    <a:pt x="257" y="294"/>
                  </a:lnTo>
                  <a:lnTo>
                    <a:pt x="255" y="294"/>
                  </a:lnTo>
                  <a:lnTo>
                    <a:pt x="253" y="294"/>
                  </a:lnTo>
                  <a:lnTo>
                    <a:pt x="251" y="294"/>
                  </a:lnTo>
                  <a:lnTo>
                    <a:pt x="252" y="296"/>
                  </a:lnTo>
                  <a:lnTo>
                    <a:pt x="251" y="297"/>
                  </a:lnTo>
                  <a:lnTo>
                    <a:pt x="241" y="288"/>
                  </a:lnTo>
                  <a:lnTo>
                    <a:pt x="240" y="288"/>
                  </a:lnTo>
                  <a:lnTo>
                    <a:pt x="242" y="291"/>
                  </a:lnTo>
                  <a:lnTo>
                    <a:pt x="241" y="291"/>
                  </a:lnTo>
                  <a:lnTo>
                    <a:pt x="234" y="290"/>
                  </a:lnTo>
                  <a:lnTo>
                    <a:pt x="234" y="291"/>
                  </a:lnTo>
                  <a:lnTo>
                    <a:pt x="240" y="292"/>
                  </a:lnTo>
                  <a:lnTo>
                    <a:pt x="239" y="294"/>
                  </a:lnTo>
                  <a:lnTo>
                    <a:pt x="241" y="295"/>
                  </a:lnTo>
                  <a:lnTo>
                    <a:pt x="240" y="297"/>
                  </a:lnTo>
                  <a:lnTo>
                    <a:pt x="242" y="296"/>
                  </a:lnTo>
                  <a:lnTo>
                    <a:pt x="243" y="296"/>
                  </a:lnTo>
                  <a:lnTo>
                    <a:pt x="247" y="297"/>
                  </a:lnTo>
                  <a:lnTo>
                    <a:pt x="247" y="298"/>
                  </a:lnTo>
                  <a:lnTo>
                    <a:pt x="241" y="302"/>
                  </a:lnTo>
                  <a:lnTo>
                    <a:pt x="242" y="302"/>
                  </a:lnTo>
                  <a:lnTo>
                    <a:pt x="247" y="301"/>
                  </a:lnTo>
                  <a:lnTo>
                    <a:pt x="247" y="302"/>
                  </a:lnTo>
                  <a:lnTo>
                    <a:pt x="247" y="304"/>
                  </a:lnTo>
                  <a:lnTo>
                    <a:pt x="249" y="303"/>
                  </a:lnTo>
                  <a:lnTo>
                    <a:pt x="252" y="303"/>
                  </a:lnTo>
                  <a:lnTo>
                    <a:pt x="252" y="306"/>
                  </a:lnTo>
                  <a:lnTo>
                    <a:pt x="253" y="306"/>
                  </a:lnTo>
                  <a:lnTo>
                    <a:pt x="247" y="312"/>
                  </a:lnTo>
                  <a:lnTo>
                    <a:pt x="253" y="308"/>
                  </a:lnTo>
                  <a:lnTo>
                    <a:pt x="255" y="307"/>
                  </a:lnTo>
                  <a:lnTo>
                    <a:pt x="257" y="308"/>
                  </a:lnTo>
                  <a:lnTo>
                    <a:pt x="252" y="310"/>
                  </a:lnTo>
                  <a:lnTo>
                    <a:pt x="249" y="313"/>
                  </a:lnTo>
                  <a:lnTo>
                    <a:pt x="247" y="313"/>
                  </a:lnTo>
                  <a:lnTo>
                    <a:pt x="251" y="317"/>
                  </a:lnTo>
                  <a:lnTo>
                    <a:pt x="247" y="319"/>
                  </a:lnTo>
                  <a:lnTo>
                    <a:pt x="247" y="320"/>
                  </a:lnTo>
                  <a:lnTo>
                    <a:pt x="249" y="323"/>
                  </a:lnTo>
                  <a:lnTo>
                    <a:pt x="247" y="326"/>
                  </a:lnTo>
                  <a:lnTo>
                    <a:pt x="251" y="329"/>
                  </a:lnTo>
                  <a:lnTo>
                    <a:pt x="253" y="326"/>
                  </a:lnTo>
                  <a:lnTo>
                    <a:pt x="253" y="325"/>
                  </a:lnTo>
                  <a:lnTo>
                    <a:pt x="254" y="324"/>
                  </a:lnTo>
                  <a:lnTo>
                    <a:pt x="254" y="320"/>
                  </a:lnTo>
                  <a:lnTo>
                    <a:pt x="255" y="319"/>
                  </a:lnTo>
                  <a:lnTo>
                    <a:pt x="257" y="319"/>
                  </a:lnTo>
                  <a:lnTo>
                    <a:pt x="257" y="321"/>
                  </a:lnTo>
                  <a:lnTo>
                    <a:pt x="257" y="324"/>
                  </a:lnTo>
                  <a:lnTo>
                    <a:pt x="257" y="326"/>
                  </a:lnTo>
                  <a:lnTo>
                    <a:pt x="259" y="327"/>
                  </a:lnTo>
                  <a:lnTo>
                    <a:pt x="259" y="330"/>
                  </a:lnTo>
                  <a:lnTo>
                    <a:pt x="257" y="330"/>
                  </a:lnTo>
                  <a:lnTo>
                    <a:pt x="257" y="327"/>
                  </a:lnTo>
                  <a:lnTo>
                    <a:pt x="254" y="330"/>
                  </a:lnTo>
                  <a:lnTo>
                    <a:pt x="253" y="331"/>
                  </a:lnTo>
                  <a:lnTo>
                    <a:pt x="252" y="331"/>
                  </a:lnTo>
                  <a:lnTo>
                    <a:pt x="247" y="330"/>
                  </a:lnTo>
                  <a:lnTo>
                    <a:pt x="247" y="331"/>
                  </a:lnTo>
                  <a:lnTo>
                    <a:pt x="242" y="335"/>
                  </a:lnTo>
                  <a:lnTo>
                    <a:pt x="243" y="335"/>
                  </a:lnTo>
                  <a:lnTo>
                    <a:pt x="247" y="335"/>
                  </a:lnTo>
                  <a:lnTo>
                    <a:pt x="251" y="333"/>
                  </a:lnTo>
                  <a:lnTo>
                    <a:pt x="251" y="336"/>
                  </a:lnTo>
                  <a:lnTo>
                    <a:pt x="247" y="337"/>
                  </a:lnTo>
                  <a:lnTo>
                    <a:pt x="247" y="338"/>
                  </a:lnTo>
                  <a:lnTo>
                    <a:pt x="251" y="338"/>
                  </a:lnTo>
                  <a:lnTo>
                    <a:pt x="252" y="339"/>
                  </a:lnTo>
                  <a:lnTo>
                    <a:pt x="253" y="339"/>
                  </a:lnTo>
                  <a:lnTo>
                    <a:pt x="253" y="337"/>
                  </a:lnTo>
                  <a:lnTo>
                    <a:pt x="255" y="337"/>
                  </a:lnTo>
                  <a:lnTo>
                    <a:pt x="253" y="343"/>
                  </a:lnTo>
                  <a:lnTo>
                    <a:pt x="254" y="343"/>
                  </a:lnTo>
                  <a:lnTo>
                    <a:pt x="257" y="341"/>
                  </a:lnTo>
                  <a:lnTo>
                    <a:pt x="258" y="342"/>
                  </a:lnTo>
                  <a:lnTo>
                    <a:pt x="259" y="342"/>
                  </a:lnTo>
                  <a:lnTo>
                    <a:pt x="259" y="339"/>
                  </a:lnTo>
                  <a:lnTo>
                    <a:pt x="260" y="339"/>
                  </a:lnTo>
                  <a:lnTo>
                    <a:pt x="260" y="342"/>
                  </a:lnTo>
                  <a:lnTo>
                    <a:pt x="261" y="342"/>
                  </a:lnTo>
                  <a:lnTo>
                    <a:pt x="263" y="338"/>
                  </a:lnTo>
                  <a:lnTo>
                    <a:pt x="264" y="342"/>
                  </a:lnTo>
                  <a:lnTo>
                    <a:pt x="265" y="342"/>
                  </a:lnTo>
                  <a:lnTo>
                    <a:pt x="266" y="344"/>
                  </a:lnTo>
                  <a:lnTo>
                    <a:pt x="266" y="348"/>
                  </a:lnTo>
                  <a:lnTo>
                    <a:pt x="261" y="348"/>
                  </a:lnTo>
                  <a:lnTo>
                    <a:pt x="261" y="349"/>
                  </a:lnTo>
                  <a:lnTo>
                    <a:pt x="264" y="349"/>
                  </a:lnTo>
                  <a:lnTo>
                    <a:pt x="264" y="351"/>
                  </a:lnTo>
                  <a:lnTo>
                    <a:pt x="257" y="351"/>
                  </a:lnTo>
                  <a:lnTo>
                    <a:pt x="258" y="353"/>
                  </a:lnTo>
                  <a:lnTo>
                    <a:pt x="257" y="354"/>
                  </a:lnTo>
                  <a:lnTo>
                    <a:pt x="255" y="354"/>
                  </a:lnTo>
                  <a:lnTo>
                    <a:pt x="254" y="353"/>
                  </a:lnTo>
                  <a:lnTo>
                    <a:pt x="253" y="359"/>
                  </a:lnTo>
                  <a:lnTo>
                    <a:pt x="247" y="363"/>
                  </a:lnTo>
                  <a:lnTo>
                    <a:pt x="247" y="361"/>
                  </a:lnTo>
                  <a:lnTo>
                    <a:pt x="243" y="361"/>
                  </a:lnTo>
                  <a:lnTo>
                    <a:pt x="245" y="363"/>
                  </a:lnTo>
                  <a:lnTo>
                    <a:pt x="242" y="362"/>
                  </a:lnTo>
                  <a:lnTo>
                    <a:pt x="240" y="361"/>
                  </a:lnTo>
                  <a:lnTo>
                    <a:pt x="237" y="361"/>
                  </a:lnTo>
                  <a:lnTo>
                    <a:pt x="235" y="362"/>
                  </a:lnTo>
                  <a:lnTo>
                    <a:pt x="240" y="363"/>
                  </a:lnTo>
                  <a:lnTo>
                    <a:pt x="240" y="366"/>
                  </a:lnTo>
                  <a:lnTo>
                    <a:pt x="239" y="368"/>
                  </a:lnTo>
                  <a:lnTo>
                    <a:pt x="240" y="368"/>
                  </a:lnTo>
                  <a:lnTo>
                    <a:pt x="241" y="366"/>
                  </a:lnTo>
                  <a:lnTo>
                    <a:pt x="242" y="365"/>
                  </a:lnTo>
                  <a:lnTo>
                    <a:pt x="243" y="365"/>
                  </a:lnTo>
                  <a:lnTo>
                    <a:pt x="241" y="367"/>
                  </a:lnTo>
                  <a:lnTo>
                    <a:pt x="241" y="368"/>
                  </a:lnTo>
                  <a:lnTo>
                    <a:pt x="242" y="368"/>
                  </a:lnTo>
                  <a:lnTo>
                    <a:pt x="243" y="367"/>
                  </a:lnTo>
                  <a:lnTo>
                    <a:pt x="247" y="368"/>
                  </a:lnTo>
                  <a:lnTo>
                    <a:pt x="243" y="369"/>
                  </a:lnTo>
                  <a:lnTo>
                    <a:pt x="242" y="372"/>
                  </a:lnTo>
                  <a:lnTo>
                    <a:pt x="243" y="373"/>
                  </a:lnTo>
                  <a:lnTo>
                    <a:pt x="243" y="375"/>
                  </a:lnTo>
                  <a:lnTo>
                    <a:pt x="243" y="378"/>
                  </a:lnTo>
                  <a:lnTo>
                    <a:pt x="241" y="381"/>
                  </a:lnTo>
                  <a:lnTo>
                    <a:pt x="241" y="383"/>
                  </a:lnTo>
                  <a:lnTo>
                    <a:pt x="240" y="383"/>
                  </a:lnTo>
                  <a:lnTo>
                    <a:pt x="237" y="381"/>
                  </a:lnTo>
                  <a:lnTo>
                    <a:pt x="236" y="384"/>
                  </a:lnTo>
                  <a:lnTo>
                    <a:pt x="233" y="387"/>
                  </a:lnTo>
                  <a:lnTo>
                    <a:pt x="229" y="385"/>
                  </a:lnTo>
                  <a:lnTo>
                    <a:pt x="231" y="389"/>
                  </a:lnTo>
                  <a:lnTo>
                    <a:pt x="225" y="396"/>
                  </a:lnTo>
                  <a:lnTo>
                    <a:pt x="225" y="397"/>
                  </a:lnTo>
                  <a:lnTo>
                    <a:pt x="223" y="398"/>
                  </a:lnTo>
                  <a:lnTo>
                    <a:pt x="218" y="403"/>
                  </a:lnTo>
                  <a:lnTo>
                    <a:pt x="216" y="404"/>
                  </a:lnTo>
                  <a:lnTo>
                    <a:pt x="212" y="405"/>
                  </a:lnTo>
                  <a:lnTo>
                    <a:pt x="213" y="407"/>
                  </a:lnTo>
                  <a:lnTo>
                    <a:pt x="212" y="408"/>
                  </a:lnTo>
                  <a:lnTo>
                    <a:pt x="213" y="409"/>
                  </a:lnTo>
                  <a:lnTo>
                    <a:pt x="207" y="411"/>
                  </a:lnTo>
                  <a:lnTo>
                    <a:pt x="207" y="413"/>
                  </a:lnTo>
                  <a:lnTo>
                    <a:pt x="216" y="410"/>
                  </a:lnTo>
                  <a:lnTo>
                    <a:pt x="217" y="410"/>
                  </a:lnTo>
                  <a:lnTo>
                    <a:pt x="207" y="417"/>
                  </a:lnTo>
                  <a:lnTo>
                    <a:pt x="206" y="416"/>
                  </a:lnTo>
                  <a:lnTo>
                    <a:pt x="206" y="420"/>
                  </a:lnTo>
                  <a:lnTo>
                    <a:pt x="200" y="421"/>
                  </a:lnTo>
                  <a:lnTo>
                    <a:pt x="204" y="422"/>
                  </a:lnTo>
                  <a:lnTo>
                    <a:pt x="202" y="425"/>
                  </a:lnTo>
                  <a:lnTo>
                    <a:pt x="198" y="425"/>
                  </a:lnTo>
                  <a:lnTo>
                    <a:pt x="193" y="428"/>
                  </a:lnTo>
                  <a:lnTo>
                    <a:pt x="190" y="430"/>
                  </a:lnTo>
                  <a:lnTo>
                    <a:pt x="194" y="431"/>
                  </a:lnTo>
                  <a:lnTo>
                    <a:pt x="188" y="437"/>
                  </a:lnTo>
                  <a:lnTo>
                    <a:pt x="188" y="438"/>
                  </a:lnTo>
                  <a:lnTo>
                    <a:pt x="194" y="433"/>
                  </a:lnTo>
                  <a:lnTo>
                    <a:pt x="195" y="434"/>
                  </a:lnTo>
                  <a:lnTo>
                    <a:pt x="196" y="434"/>
                  </a:lnTo>
                  <a:lnTo>
                    <a:pt x="198" y="433"/>
                  </a:lnTo>
                  <a:lnTo>
                    <a:pt x="198" y="437"/>
                  </a:lnTo>
                  <a:lnTo>
                    <a:pt x="199" y="437"/>
                  </a:lnTo>
                  <a:lnTo>
                    <a:pt x="199" y="433"/>
                  </a:lnTo>
                  <a:lnTo>
                    <a:pt x="199" y="432"/>
                  </a:lnTo>
                  <a:lnTo>
                    <a:pt x="200" y="431"/>
                  </a:lnTo>
                  <a:lnTo>
                    <a:pt x="201" y="430"/>
                  </a:lnTo>
                  <a:lnTo>
                    <a:pt x="201" y="427"/>
                  </a:lnTo>
                  <a:lnTo>
                    <a:pt x="202" y="428"/>
                  </a:lnTo>
                  <a:lnTo>
                    <a:pt x="204" y="431"/>
                  </a:lnTo>
                  <a:lnTo>
                    <a:pt x="205" y="425"/>
                  </a:lnTo>
                  <a:lnTo>
                    <a:pt x="206" y="425"/>
                  </a:lnTo>
                  <a:lnTo>
                    <a:pt x="206" y="437"/>
                  </a:lnTo>
                  <a:lnTo>
                    <a:pt x="207" y="438"/>
                  </a:lnTo>
                  <a:lnTo>
                    <a:pt x="209" y="434"/>
                  </a:lnTo>
                  <a:lnTo>
                    <a:pt x="211" y="434"/>
                  </a:lnTo>
                  <a:lnTo>
                    <a:pt x="211" y="438"/>
                  </a:lnTo>
                  <a:lnTo>
                    <a:pt x="212" y="437"/>
                  </a:lnTo>
                  <a:lnTo>
                    <a:pt x="215" y="437"/>
                  </a:lnTo>
                  <a:lnTo>
                    <a:pt x="215" y="433"/>
                  </a:lnTo>
                  <a:lnTo>
                    <a:pt x="215" y="431"/>
                  </a:lnTo>
                  <a:lnTo>
                    <a:pt x="215" y="427"/>
                  </a:lnTo>
                  <a:lnTo>
                    <a:pt x="216" y="428"/>
                  </a:lnTo>
                  <a:lnTo>
                    <a:pt x="217" y="428"/>
                  </a:lnTo>
                  <a:lnTo>
                    <a:pt x="218" y="422"/>
                  </a:lnTo>
                  <a:lnTo>
                    <a:pt x="221" y="422"/>
                  </a:lnTo>
                  <a:lnTo>
                    <a:pt x="222" y="422"/>
                  </a:lnTo>
                  <a:lnTo>
                    <a:pt x="223" y="425"/>
                  </a:lnTo>
                  <a:lnTo>
                    <a:pt x="224" y="426"/>
                  </a:lnTo>
                  <a:lnTo>
                    <a:pt x="225" y="426"/>
                  </a:lnTo>
                  <a:lnTo>
                    <a:pt x="227" y="422"/>
                  </a:lnTo>
                  <a:lnTo>
                    <a:pt x="227" y="420"/>
                  </a:lnTo>
                  <a:lnTo>
                    <a:pt x="228" y="417"/>
                  </a:lnTo>
                  <a:lnTo>
                    <a:pt x="228" y="420"/>
                  </a:lnTo>
                  <a:lnTo>
                    <a:pt x="229" y="421"/>
                  </a:lnTo>
                  <a:lnTo>
                    <a:pt x="230" y="420"/>
                  </a:lnTo>
                  <a:lnTo>
                    <a:pt x="231" y="420"/>
                  </a:lnTo>
                  <a:lnTo>
                    <a:pt x="231" y="421"/>
                  </a:lnTo>
                  <a:lnTo>
                    <a:pt x="231" y="424"/>
                  </a:lnTo>
                  <a:lnTo>
                    <a:pt x="227" y="428"/>
                  </a:lnTo>
                  <a:lnTo>
                    <a:pt x="222" y="430"/>
                  </a:lnTo>
                  <a:lnTo>
                    <a:pt x="225" y="431"/>
                  </a:lnTo>
                  <a:lnTo>
                    <a:pt x="222" y="436"/>
                  </a:lnTo>
                  <a:lnTo>
                    <a:pt x="219" y="437"/>
                  </a:lnTo>
                  <a:lnTo>
                    <a:pt x="217" y="442"/>
                  </a:lnTo>
                  <a:lnTo>
                    <a:pt x="211" y="446"/>
                  </a:lnTo>
                  <a:lnTo>
                    <a:pt x="211" y="448"/>
                  </a:lnTo>
                  <a:lnTo>
                    <a:pt x="205" y="451"/>
                  </a:lnTo>
                  <a:lnTo>
                    <a:pt x="206" y="452"/>
                  </a:lnTo>
                  <a:lnTo>
                    <a:pt x="210" y="450"/>
                  </a:lnTo>
                  <a:lnTo>
                    <a:pt x="210" y="452"/>
                  </a:lnTo>
                  <a:lnTo>
                    <a:pt x="205" y="457"/>
                  </a:lnTo>
                  <a:lnTo>
                    <a:pt x="211" y="452"/>
                  </a:lnTo>
                  <a:lnTo>
                    <a:pt x="212" y="452"/>
                  </a:lnTo>
                  <a:lnTo>
                    <a:pt x="213" y="457"/>
                  </a:lnTo>
                  <a:lnTo>
                    <a:pt x="212" y="451"/>
                  </a:lnTo>
                  <a:lnTo>
                    <a:pt x="213" y="449"/>
                  </a:lnTo>
                  <a:lnTo>
                    <a:pt x="217" y="452"/>
                  </a:lnTo>
                  <a:lnTo>
                    <a:pt x="216" y="448"/>
                  </a:lnTo>
                  <a:lnTo>
                    <a:pt x="217" y="446"/>
                  </a:lnTo>
                  <a:lnTo>
                    <a:pt x="218" y="450"/>
                  </a:lnTo>
                  <a:lnTo>
                    <a:pt x="219" y="452"/>
                  </a:lnTo>
                  <a:lnTo>
                    <a:pt x="221" y="444"/>
                  </a:lnTo>
                  <a:lnTo>
                    <a:pt x="222" y="452"/>
                  </a:lnTo>
                  <a:lnTo>
                    <a:pt x="222" y="455"/>
                  </a:lnTo>
                  <a:lnTo>
                    <a:pt x="224" y="455"/>
                  </a:lnTo>
                  <a:lnTo>
                    <a:pt x="224" y="452"/>
                  </a:lnTo>
                  <a:lnTo>
                    <a:pt x="223" y="445"/>
                  </a:lnTo>
                  <a:lnTo>
                    <a:pt x="224" y="445"/>
                  </a:lnTo>
                  <a:lnTo>
                    <a:pt x="225" y="448"/>
                  </a:lnTo>
                  <a:lnTo>
                    <a:pt x="227" y="446"/>
                  </a:lnTo>
                  <a:lnTo>
                    <a:pt x="224" y="437"/>
                  </a:lnTo>
                  <a:lnTo>
                    <a:pt x="225" y="434"/>
                  </a:lnTo>
                  <a:lnTo>
                    <a:pt x="227" y="439"/>
                  </a:lnTo>
                  <a:lnTo>
                    <a:pt x="228" y="444"/>
                  </a:lnTo>
                  <a:lnTo>
                    <a:pt x="229" y="444"/>
                  </a:lnTo>
                  <a:lnTo>
                    <a:pt x="228" y="434"/>
                  </a:lnTo>
                  <a:lnTo>
                    <a:pt x="228" y="433"/>
                  </a:lnTo>
                  <a:lnTo>
                    <a:pt x="229" y="438"/>
                  </a:lnTo>
                  <a:lnTo>
                    <a:pt x="229" y="440"/>
                  </a:lnTo>
                  <a:lnTo>
                    <a:pt x="230" y="440"/>
                  </a:lnTo>
                  <a:lnTo>
                    <a:pt x="229" y="430"/>
                  </a:lnTo>
                  <a:lnTo>
                    <a:pt x="230" y="428"/>
                  </a:lnTo>
                  <a:lnTo>
                    <a:pt x="231" y="438"/>
                  </a:lnTo>
                  <a:lnTo>
                    <a:pt x="231" y="440"/>
                  </a:lnTo>
                  <a:lnTo>
                    <a:pt x="233" y="442"/>
                  </a:lnTo>
                  <a:lnTo>
                    <a:pt x="235" y="443"/>
                  </a:lnTo>
                  <a:lnTo>
                    <a:pt x="236" y="442"/>
                  </a:lnTo>
                  <a:lnTo>
                    <a:pt x="237" y="434"/>
                  </a:lnTo>
                  <a:lnTo>
                    <a:pt x="237" y="432"/>
                  </a:lnTo>
                  <a:lnTo>
                    <a:pt x="239" y="432"/>
                  </a:lnTo>
                  <a:lnTo>
                    <a:pt x="242" y="432"/>
                  </a:lnTo>
                  <a:lnTo>
                    <a:pt x="242" y="430"/>
                  </a:lnTo>
                  <a:lnTo>
                    <a:pt x="241" y="426"/>
                  </a:lnTo>
                  <a:lnTo>
                    <a:pt x="242" y="424"/>
                  </a:lnTo>
                  <a:lnTo>
                    <a:pt x="242" y="426"/>
                  </a:lnTo>
                  <a:lnTo>
                    <a:pt x="243" y="428"/>
                  </a:lnTo>
                  <a:lnTo>
                    <a:pt x="243" y="432"/>
                  </a:lnTo>
                  <a:lnTo>
                    <a:pt x="247" y="432"/>
                  </a:lnTo>
                  <a:lnTo>
                    <a:pt x="247" y="428"/>
                  </a:lnTo>
                  <a:lnTo>
                    <a:pt x="251" y="427"/>
                  </a:lnTo>
                  <a:lnTo>
                    <a:pt x="252" y="430"/>
                  </a:lnTo>
                  <a:lnTo>
                    <a:pt x="252" y="431"/>
                  </a:lnTo>
                  <a:lnTo>
                    <a:pt x="249" y="434"/>
                  </a:lnTo>
                  <a:lnTo>
                    <a:pt x="247" y="438"/>
                  </a:lnTo>
                  <a:lnTo>
                    <a:pt x="249" y="437"/>
                  </a:lnTo>
                  <a:lnTo>
                    <a:pt x="247" y="439"/>
                  </a:lnTo>
                  <a:lnTo>
                    <a:pt x="247" y="443"/>
                  </a:lnTo>
                  <a:lnTo>
                    <a:pt x="241" y="446"/>
                  </a:lnTo>
                  <a:lnTo>
                    <a:pt x="240" y="449"/>
                  </a:lnTo>
                  <a:lnTo>
                    <a:pt x="235" y="449"/>
                  </a:lnTo>
                  <a:lnTo>
                    <a:pt x="239" y="450"/>
                  </a:lnTo>
                  <a:lnTo>
                    <a:pt x="239" y="451"/>
                  </a:lnTo>
                  <a:lnTo>
                    <a:pt x="233" y="452"/>
                  </a:lnTo>
                  <a:lnTo>
                    <a:pt x="230" y="454"/>
                  </a:lnTo>
                  <a:lnTo>
                    <a:pt x="231" y="455"/>
                  </a:lnTo>
                  <a:lnTo>
                    <a:pt x="233" y="454"/>
                  </a:lnTo>
                  <a:lnTo>
                    <a:pt x="234" y="455"/>
                  </a:lnTo>
                  <a:lnTo>
                    <a:pt x="231" y="456"/>
                  </a:lnTo>
                  <a:lnTo>
                    <a:pt x="229" y="458"/>
                  </a:lnTo>
                  <a:lnTo>
                    <a:pt x="230" y="460"/>
                  </a:lnTo>
                  <a:lnTo>
                    <a:pt x="229" y="461"/>
                  </a:lnTo>
                  <a:lnTo>
                    <a:pt x="228" y="461"/>
                  </a:lnTo>
                  <a:lnTo>
                    <a:pt x="227" y="457"/>
                  </a:lnTo>
                  <a:lnTo>
                    <a:pt x="225" y="457"/>
                  </a:lnTo>
                  <a:lnTo>
                    <a:pt x="224" y="457"/>
                  </a:lnTo>
                  <a:lnTo>
                    <a:pt x="224" y="461"/>
                  </a:lnTo>
                  <a:lnTo>
                    <a:pt x="221" y="460"/>
                  </a:lnTo>
                  <a:lnTo>
                    <a:pt x="219" y="460"/>
                  </a:lnTo>
                  <a:lnTo>
                    <a:pt x="223" y="462"/>
                  </a:lnTo>
                  <a:lnTo>
                    <a:pt x="222" y="463"/>
                  </a:lnTo>
                  <a:lnTo>
                    <a:pt x="218" y="466"/>
                  </a:lnTo>
                  <a:lnTo>
                    <a:pt x="222" y="467"/>
                  </a:lnTo>
                  <a:lnTo>
                    <a:pt x="221" y="468"/>
                  </a:lnTo>
                  <a:lnTo>
                    <a:pt x="221" y="469"/>
                  </a:lnTo>
                  <a:lnTo>
                    <a:pt x="218" y="469"/>
                  </a:lnTo>
                  <a:lnTo>
                    <a:pt x="217" y="469"/>
                  </a:lnTo>
                  <a:lnTo>
                    <a:pt x="216" y="468"/>
                  </a:lnTo>
                  <a:lnTo>
                    <a:pt x="216" y="469"/>
                  </a:lnTo>
                  <a:lnTo>
                    <a:pt x="216" y="470"/>
                  </a:lnTo>
                  <a:lnTo>
                    <a:pt x="217" y="470"/>
                  </a:lnTo>
                  <a:lnTo>
                    <a:pt x="216" y="472"/>
                  </a:lnTo>
                  <a:lnTo>
                    <a:pt x="215" y="472"/>
                  </a:lnTo>
                  <a:lnTo>
                    <a:pt x="211" y="470"/>
                  </a:lnTo>
                  <a:lnTo>
                    <a:pt x="210" y="470"/>
                  </a:lnTo>
                  <a:lnTo>
                    <a:pt x="210" y="472"/>
                  </a:lnTo>
                  <a:lnTo>
                    <a:pt x="213" y="473"/>
                  </a:lnTo>
                  <a:lnTo>
                    <a:pt x="215" y="473"/>
                  </a:lnTo>
                  <a:lnTo>
                    <a:pt x="213" y="474"/>
                  </a:lnTo>
                  <a:lnTo>
                    <a:pt x="210" y="478"/>
                  </a:lnTo>
                  <a:lnTo>
                    <a:pt x="216" y="474"/>
                  </a:lnTo>
                  <a:lnTo>
                    <a:pt x="217" y="474"/>
                  </a:lnTo>
                  <a:lnTo>
                    <a:pt x="217" y="475"/>
                  </a:lnTo>
                  <a:lnTo>
                    <a:pt x="217" y="479"/>
                  </a:lnTo>
                  <a:lnTo>
                    <a:pt x="216" y="480"/>
                  </a:lnTo>
                  <a:lnTo>
                    <a:pt x="212" y="480"/>
                  </a:lnTo>
                  <a:lnTo>
                    <a:pt x="210" y="481"/>
                  </a:lnTo>
                  <a:lnTo>
                    <a:pt x="206" y="481"/>
                  </a:lnTo>
                  <a:lnTo>
                    <a:pt x="204" y="481"/>
                  </a:lnTo>
                  <a:lnTo>
                    <a:pt x="200" y="481"/>
                  </a:lnTo>
                  <a:lnTo>
                    <a:pt x="200" y="482"/>
                  </a:lnTo>
                  <a:lnTo>
                    <a:pt x="205" y="482"/>
                  </a:lnTo>
                  <a:lnTo>
                    <a:pt x="205" y="484"/>
                  </a:lnTo>
                  <a:lnTo>
                    <a:pt x="201" y="485"/>
                  </a:lnTo>
                  <a:lnTo>
                    <a:pt x="201" y="486"/>
                  </a:lnTo>
                  <a:lnTo>
                    <a:pt x="206" y="486"/>
                  </a:lnTo>
                  <a:lnTo>
                    <a:pt x="207" y="487"/>
                  </a:lnTo>
                  <a:lnTo>
                    <a:pt x="209" y="490"/>
                  </a:lnTo>
                  <a:lnTo>
                    <a:pt x="209" y="491"/>
                  </a:lnTo>
                  <a:lnTo>
                    <a:pt x="210" y="491"/>
                  </a:lnTo>
                  <a:lnTo>
                    <a:pt x="210" y="490"/>
                  </a:lnTo>
                  <a:lnTo>
                    <a:pt x="210" y="486"/>
                  </a:lnTo>
                  <a:lnTo>
                    <a:pt x="209" y="485"/>
                  </a:lnTo>
                  <a:lnTo>
                    <a:pt x="210" y="484"/>
                  </a:lnTo>
                  <a:lnTo>
                    <a:pt x="211" y="484"/>
                  </a:lnTo>
                  <a:lnTo>
                    <a:pt x="211" y="488"/>
                  </a:lnTo>
                  <a:lnTo>
                    <a:pt x="212" y="487"/>
                  </a:lnTo>
                  <a:lnTo>
                    <a:pt x="213" y="486"/>
                  </a:lnTo>
                  <a:lnTo>
                    <a:pt x="213" y="484"/>
                  </a:lnTo>
                  <a:lnTo>
                    <a:pt x="215" y="482"/>
                  </a:lnTo>
                  <a:lnTo>
                    <a:pt x="215" y="487"/>
                  </a:lnTo>
                  <a:lnTo>
                    <a:pt x="216" y="488"/>
                  </a:lnTo>
                  <a:lnTo>
                    <a:pt x="216" y="490"/>
                  </a:lnTo>
                  <a:lnTo>
                    <a:pt x="213" y="490"/>
                  </a:lnTo>
                  <a:lnTo>
                    <a:pt x="212" y="491"/>
                  </a:lnTo>
                  <a:lnTo>
                    <a:pt x="212" y="492"/>
                  </a:lnTo>
                  <a:lnTo>
                    <a:pt x="213" y="493"/>
                  </a:lnTo>
                  <a:lnTo>
                    <a:pt x="213" y="494"/>
                  </a:lnTo>
                  <a:lnTo>
                    <a:pt x="210" y="494"/>
                  </a:lnTo>
                  <a:lnTo>
                    <a:pt x="209" y="493"/>
                  </a:lnTo>
                  <a:lnTo>
                    <a:pt x="206" y="493"/>
                  </a:lnTo>
                  <a:lnTo>
                    <a:pt x="205" y="493"/>
                  </a:lnTo>
                  <a:lnTo>
                    <a:pt x="204" y="494"/>
                  </a:lnTo>
                  <a:lnTo>
                    <a:pt x="199" y="490"/>
                  </a:lnTo>
                  <a:lnTo>
                    <a:pt x="199" y="491"/>
                  </a:lnTo>
                  <a:lnTo>
                    <a:pt x="201" y="493"/>
                  </a:lnTo>
                  <a:lnTo>
                    <a:pt x="201" y="494"/>
                  </a:lnTo>
                  <a:lnTo>
                    <a:pt x="199" y="494"/>
                  </a:lnTo>
                  <a:lnTo>
                    <a:pt x="198" y="492"/>
                  </a:lnTo>
                  <a:lnTo>
                    <a:pt x="195" y="491"/>
                  </a:lnTo>
                  <a:lnTo>
                    <a:pt x="195" y="492"/>
                  </a:lnTo>
                  <a:lnTo>
                    <a:pt x="194" y="493"/>
                  </a:lnTo>
                  <a:lnTo>
                    <a:pt x="193" y="497"/>
                  </a:lnTo>
                  <a:lnTo>
                    <a:pt x="194" y="498"/>
                  </a:lnTo>
                  <a:lnTo>
                    <a:pt x="195" y="497"/>
                  </a:lnTo>
                  <a:lnTo>
                    <a:pt x="198" y="496"/>
                  </a:lnTo>
                  <a:lnTo>
                    <a:pt x="199" y="497"/>
                  </a:lnTo>
                  <a:lnTo>
                    <a:pt x="200" y="497"/>
                  </a:lnTo>
                  <a:lnTo>
                    <a:pt x="200" y="498"/>
                  </a:lnTo>
                  <a:lnTo>
                    <a:pt x="196" y="502"/>
                  </a:lnTo>
                  <a:lnTo>
                    <a:pt x="192" y="503"/>
                  </a:lnTo>
                  <a:lnTo>
                    <a:pt x="189" y="500"/>
                  </a:lnTo>
                  <a:lnTo>
                    <a:pt x="182" y="500"/>
                  </a:lnTo>
                  <a:lnTo>
                    <a:pt x="178" y="504"/>
                  </a:lnTo>
                  <a:lnTo>
                    <a:pt x="176" y="504"/>
                  </a:lnTo>
                  <a:lnTo>
                    <a:pt x="175" y="505"/>
                  </a:lnTo>
                  <a:lnTo>
                    <a:pt x="174" y="506"/>
                  </a:lnTo>
                  <a:lnTo>
                    <a:pt x="172" y="505"/>
                  </a:lnTo>
                  <a:lnTo>
                    <a:pt x="171" y="505"/>
                  </a:lnTo>
                  <a:lnTo>
                    <a:pt x="171" y="508"/>
                  </a:lnTo>
                  <a:lnTo>
                    <a:pt x="169" y="510"/>
                  </a:lnTo>
                  <a:lnTo>
                    <a:pt x="169" y="511"/>
                  </a:lnTo>
                  <a:lnTo>
                    <a:pt x="166" y="512"/>
                  </a:lnTo>
                  <a:lnTo>
                    <a:pt x="164" y="511"/>
                  </a:lnTo>
                  <a:lnTo>
                    <a:pt x="163" y="510"/>
                  </a:lnTo>
                  <a:lnTo>
                    <a:pt x="163" y="508"/>
                  </a:lnTo>
                  <a:lnTo>
                    <a:pt x="162" y="506"/>
                  </a:lnTo>
                  <a:lnTo>
                    <a:pt x="160" y="508"/>
                  </a:lnTo>
                  <a:lnTo>
                    <a:pt x="162" y="509"/>
                  </a:lnTo>
                  <a:lnTo>
                    <a:pt x="163" y="511"/>
                  </a:lnTo>
                  <a:lnTo>
                    <a:pt x="163" y="514"/>
                  </a:lnTo>
                  <a:lnTo>
                    <a:pt x="163" y="515"/>
                  </a:lnTo>
                  <a:lnTo>
                    <a:pt x="162" y="516"/>
                  </a:lnTo>
                  <a:lnTo>
                    <a:pt x="158" y="516"/>
                  </a:lnTo>
                  <a:lnTo>
                    <a:pt x="157" y="516"/>
                  </a:lnTo>
                  <a:lnTo>
                    <a:pt x="156" y="516"/>
                  </a:lnTo>
                  <a:lnTo>
                    <a:pt x="152" y="517"/>
                  </a:lnTo>
                  <a:lnTo>
                    <a:pt x="152" y="518"/>
                  </a:lnTo>
                  <a:lnTo>
                    <a:pt x="154" y="518"/>
                  </a:lnTo>
                  <a:lnTo>
                    <a:pt x="156" y="517"/>
                  </a:lnTo>
                  <a:lnTo>
                    <a:pt x="158" y="517"/>
                  </a:lnTo>
                  <a:lnTo>
                    <a:pt x="158" y="518"/>
                  </a:lnTo>
                  <a:lnTo>
                    <a:pt x="153" y="523"/>
                  </a:lnTo>
                  <a:lnTo>
                    <a:pt x="152" y="523"/>
                  </a:lnTo>
                  <a:lnTo>
                    <a:pt x="151" y="523"/>
                  </a:lnTo>
                  <a:lnTo>
                    <a:pt x="150" y="523"/>
                  </a:lnTo>
                  <a:lnTo>
                    <a:pt x="148" y="524"/>
                  </a:lnTo>
                  <a:lnTo>
                    <a:pt x="142" y="524"/>
                  </a:lnTo>
                  <a:lnTo>
                    <a:pt x="139" y="526"/>
                  </a:lnTo>
                  <a:lnTo>
                    <a:pt x="137" y="524"/>
                  </a:lnTo>
                  <a:lnTo>
                    <a:pt x="134" y="524"/>
                  </a:lnTo>
                  <a:lnTo>
                    <a:pt x="134" y="527"/>
                  </a:lnTo>
                  <a:lnTo>
                    <a:pt x="137" y="527"/>
                  </a:lnTo>
                  <a:lnTo>
                    <a:pt x="139" y="528"/>
                  </a:lnTo>
                  <a:lnTo>
                    <a:pt x="136" y="532"/>
                  </a:lnTo>
                  <a:lnTo>
                    <a:pt x="137" y="533"/>
                  </a:lnTo>
                  <a:lnTo>
                    <a:pt x="141" y="528"/>
                  </a:lnTo>
                  <a:lnTo>
                    <a:pt x="142" y="528"/>
                  </a:lnTo>
                  <a:lnTo>
                    <a:pt x="143" y="528"/>
                  </a:lnTo>
                  <a:lnTo>
                    <a:pt x="143" y="531"/>
                  </a:lnTo>
                  <a:lnTo>
                    <a:pt x="142" y="532"/>
                  </a:lnTo>
                  <a:lnTo>
                    <a:pt x="142" y="533"/>
                  </a:lnTo>
                  <a:lnTo>
                    <a:pt x="143" y="532"/>
                  </a:lnTo>
                  <a:lnTo>
                    <a:pt x="145" y="531"/>
                  </a:lnTo>
                  <a:lnTo>
                    <a:pt x="145" y="529"/>
                  </a:lnTo>
                  <a:lnTo>
                    <a:pt x="148" y="527"/>
                  </a:lnTo>
                  <a:lnTo>
                    <a:pt x="151" y="527"/>
                  </a:lnTo>
                  <a:lnTo>
                    <a:pt x="151" y="529"/>
                  </a:lnTo>
                  <a:lnTo>
                    <a:pt x="146" y="533"/>
                  </a:lnTo>
                  <a:lnTo>
                    <a:pt x="145" y="535"/>
                  </a:lnTo>
                  <a:lnTo>
                    <a:pt x="137" y="540"/>
                  </a:lnTo>
                  <a:lnTo>
                    <a:pt x="137" y="541"/>
                  </a:lnTo>
                  <a:lnTo>
                    <a:pt x="142" y="539"/>
                  </a:lnTo>
                  <a:lnTo>
                    <a:pt x="143" y="539"/>
                  </a:lnTo>
                  <a:lnTo>
                    <a:pt x="143" y="541"/>
                  </a:lnTo>
                  <a:lnTo>
                    <a:pt x="145" y="541"/>
                  </a:lnTo>
                  <a:lnTo>
                    <a:pt x="146" y="537"/>
                  </a:lnTo>
                  <a:lnTo>
                    <a:pt x="148" y="537"/>
                  </a:lnTo>
                  <a:lnTo>
                    <a:pt x="148" y="541"/>
                  </a:lnTo>
                  <a:lnTo>
                    <a:pt x="150" y="545"/>
                  </a:lnTo>
                  <a:lnTo>
                    <a:pt x="151" y="546"/>
                  </a:lnTo>
                  <a:lnTo>
                    <a:pt x="152" y="546"/>
                  </a:lnTo>
                  <a:lnTo>
                    <a:pt x="153" y="547"/>
                  </a:lnTo>
                  <a:lnTo>
                    <a:pt x="154" y="547"/>
                  </a:lnTo>
                  <a:lnTo>
                    <a:pt x="154" y="543"/>
                  </a:lnTo>
                  <a:lnTo>
                    <a:pt x="157" y="541"/>
                  </a:lnTo>
                  <a:lnTo>
                    <a:pt x="158" y="540"/>
                  </a:lnTo>
                  <a:lnTo>
                    <a:pt x="158" y="538"/>
                  </a:lnTo>
                  <a:lnTo>
                    <a:pt x="159" y="537"/>
                  </a:lnTo>
                  <a:lnTo>
                    <a:pt x="160" y="538"/>
                  </a:lnTo>
                  <a:lnTo>
                    <a:pt x="162" y="539"/>
                  </a:lnTo>
                  <a:lnTo>
                    <a:pt x="164" y="541"/>
                  </a:lnTo>
                  <a:lnTo>
                    <a:pt x="165" y="543"/>
                  </a:lnTo>
                  <a:lnTo>
                    <a:pt x="165" y="547"/>
                  </a:lnTo>
                  <a:lnTo>
                    <a:pt x="166" y="549"/>
                  </a:lnTo>
                  <a:lnTo>
                    <a:pt x="166" y="547"/>
                  </a:lnTo>
                  <a:lnTo>
                    <a:pt x="168" y="546"/>
                  </a:lnTo>
                  <a:lnTo>
                    <a:pt x="168" y="539"/>
                  </a:lnTo>
                  <a:lnTo>
                    <a:pt x="169" y="538"/>
                  </a:lnTo>
                  <a:lnTo>
                    <a:pt x="169" y="544"/>
                  </a:lnTo>
                  <a:lnTo>
                    <a:pt x="170" y="544"/>
                  </a:lnTo>
                  <a:lnTo>
                    <a:pt x="170" y="543"/>
                  </a:lnTo>
                  <a:lnTo>
                    <a:pt x="171" y="540"/>
                  </a:lnTo>
                  <a:lnTo>
                    <a:pt x="171" y="539"/>
                  </a:lnTo>
                  <a:lnTo>
                    <a:pt x="172" y="539"/>
                  </a:lnTo>
                  <a:lnTo>
                    <a:pt x="174" y="540"/>
                  </a:lnTo>
                  <a:lnTo>
                    <a:pt x="174" y="541"/>
                  </a:lnTo>
                  <a:lnTo>
                    <a:pt x="174" y="540"/>
                  </a:lnTo>
                  <a:lnTo>
                    <a:pt x="176" y="539"/>
                  </a:lnTo>
                  <a:lnTo>
                    <a:pt x="175" y="538"/>
                  </a:lnTo>
                  <a:lnTo>
                    <a:pt x="174" y="535"/>
                  </a:lnTo>
                  <a:lnTo>
                    <a:pt x="174" y="534"/>
                  </a:lnTo>
                  <a:lnTo>
                    <a:pt x="175" y="532"/>
                  </a:lnTo>
                  <a:lnTo>
                    <a:pt x="175" y="531"/>
                  </a:lnTo>
                  <a:lnTo>
                    <a:pt x="176" y="531"/>
                  </a:lnTo>
                  <a:lnTo>
                    <a:pt x="177" y="531"/>
                  </a:lnTo>
                  <a:lnTo>
                    <a:pt x="176" y="532"/>
                  </a:lnTo>
                  <a:lnTo>
                    <a:pt x="176" y="534"/>
                  </a:lnTo>
                  <a:lnTo>
                    <a:pt x="175" y="535"/>
                  </a:lnTo>
                  <a:lnTo>
                    <a:pt x="176" y="537"/>
                  </a:lnTo>
                  <a:lnTo>
                    <a:pt x="176" y="539"/>
                  </a:lnTo>
                  <a:lnTo>
                    <a:pt x="177" y="539"/>
                  </a:lnTo>
                  <a:lnTo>
                    <a:pt x="177" y="540"/>
                  </a:lnTo>
                  <a:lnTo>
                    <a:pt x="176" y="544"/>
                  </a:lnTo>
                  <a:lnTo>
                    <a:pt x="176" y="547"/>
                  </a:lnTo>
                  <a:lnTo>
                    <a:pt x="177" y="547"/>
                  </a:lnTo>
                  <a:lnTo>
                    <a:pt x="178" y="545"/>
                  </a:lnTo>
                  <a:lnTo>
                    <a:pt x="178" y="544"/>
                  </a:lnTo>
                  <a:lnTo>
                    <a:pt x="180" y="543"/>
                  </a:lnTo>
                  <a:lnTo>
                    <a:pt x="181" y="541"/>
                  </a:lnTo>
                  <a:lnTo>
                    <a:pt x="181" y="537"/>
                  </a:lnTo>
                  <a:lnTo>
                    <a:pt x="181" y="535"/>
                  </a:lnTo>
                  <a:lnTo>
                    <a:pt x="182" y="535"/>
                  </a:lnTo>
                  <a:lnTo>
                    <a:pt x="183" y="537"/>
                  </a:lnTo>
                  <a:lnTo>
                    <a:pt x="184" y="538"/>
                  </a:lnTo>
                  <a:lnTo>
                    <a:pt x="186" y="540"/>
                  </a:lnTo>
                  <a:lnTo>
                    <a:pt x="186" y="541"/>
                  </a:lnTo>
                  <a:lnTo>
                    <a:pt x="187" y="543"/>
                  </a:lnTo>
                  <a:lnTo>
                    <a:pt x="187" y="544"/>
                  </a:lnTo>
                  <a:lnTo>
                    <a:pt x="187" y="546"/>
                  </a:lnTo>
                  <a:lnTo>
                    <a:pt x="186" y="546"/>
                  </a:lnTo>
                  <a:lnTo>
                    <a:pt x="182" y="547"/>
                  </a:lnTo>
                  <a:lnTo>
                    <a:pt x="178" y="551"/>
                  </a:lnTo>
                  <a:lnTo>
                    <a:pt x="177" y="551"/>
                  </a:lnTo>
                  <a:lnTo>
                    <a:pt x="178" y="552"/>
                  </a:lnTo>
                  <a:lnTo>
                    <a:pt x="180" y="551"/>
                  </a:lnTo>
                  <a:lnTo>
                    <a:pt x="181" y="551"/>
                  </a:lnTo>
                  <a:lnTo>
                    <a:pt x="182" y="551"/>
                  </a:lnTo>
                  <a:lnTo>
                    <a:pt x="183" y="550"/>
                  </a:lnTo>
                  <a:lnTo>
                    <a:pt x="184" y="552"/>
                  </a:lnTo>
                  <a:lnTo>
                    <a:pt x="183" y="552"/>
                  </a:lnTo>
                  <a:lnTo>
                    <a:pt x="183" y="553"/>
                  </a:lnTo>
                  <a:lnTo>
                    <a:pt x="182" y="555"/>
                  </a:lnTo>
                  <a:lnTo>
                    <a:pt x="180" y="556"/>
                  </a:lnTo>
                  <a:lnTo>
                    <a:pt x="178" y="555"/>
                  </a:lnTo>
                  <a:lnTo>
                    <a:pt x="177" y="553"/>
                  </a:lnTo>
                  <a:lnTo>
                    <a:pt x="176" y="552"/>
                  </a:lnTo>
                  <a:lnTo>
                    <a:pt x="176" y="555"/>
                  </a:lnTo>
                  <a:lnTo>
                    <a:pt x="171" y="555"/>
                  </a:lnTo>
                  <a:lnTo>
                    <a:pt x="169" y="553"/>
                  </a:lnTo>
                  <a:lnTo>
                    <a:pt x="168" y="553"/>
                  </a:lnTo>
                  <a:lnTo>
                    <a:pt x="166" y="552"/>
                  </a:lnTo>
                  <a:lnTo>
                    <a:pt x="165" y="553"/>
                  </a:lnTo>
                  <a:lnTo>
                    <a:pt x="164" y="555"/>
                  </a:lnTo>
                  <a:lnTo>
                    <a:pt x="156" y="555"/>
                  </a:lnTo>
                  <a:lnTo>
                    <a:pt x="156" y="553"/>
                  </a:lnTo>
                  <a:lnTo>
                    <a:pt x="153" y="553"/>
                  </a:lnTo>
                  <a:lnTo>
                    <a:pt x="152" y="555"/>
                  </a:lnTo>
                  <a:lnTo>
                    <a:pt x="151" y="555"/>
                  </a:lnTo>
                  <a:lnTo>
                    <a:pt x="150" y="555"/>
                  </a:lnTo>
                  <a:lnTo>
                    <a:pt x="150" y="553"/>
                  </a:lnTo>
                  <a:lnTo>
                    <a:pt x="147" y="553"/>
                  </a:lnTo>
                  <a:lnTo>
                    <a:pt x="146" y="555"/>
                  </a:lnTo>
                  <a:lnTo>
                    <a:pt x="142" y="555"/>
                  </a:lnTo>
                  <a:lnTo>
                    <a:pt x="141" y="555"/>
                  </a:lnTo>
                  <a:lnTo>
                    <a:pt x="140" y="556"/>
                  </a:lnTo>
                  <a:lnTo>
                    <a:pt x="137" y="556"/>
                  </a:lnTo>
                  <a:lnTo>
                    <a:pt x="136" y="556"/>
                  </a:lnTo>
                  <a:lnTo>
                    <a:pt x="134" y="556"/>
                  </a:lnTo>
                  <a:lnTo>
                    <a:pt x="131" y="557"/>
                  </a:lnTo>
                  <a:lnTo>
                    <a:pt x="129" y="557"/>
                  </a:lnTo>
                  <a:lnTo>
                    <a:pt x="127" y="558"/>
                  </a:lnTo>
                  <a:lnTo>
                    <a:pt x="123" y="559"/>
                  </a:lnTo>
                  <a:lnTo>
                    <a:pt x="122" y="561"/>
                  </a:lnTo>
                  <a:lnTo>
                    <a:pt x="121" y="561"/>
                  </a:lnTo>
                  <a:lnTo>
                    <a:pt x="116" y="561"/>
                  </a:lnTo>
                  <a:lnTo>
                    <a:pt x="116" y="562"/>
                  </a:lnTo>
                  <a:lnTo>
                    <a:pt x="115" y="563"/>
                  </a:lnTo>
                  <a:lnTo>
                    <a:pt x="113" y="563"/>
                  </a:lnTo>
                  <a:lnTo>
                    <a:pt x="112" y="564"/>
                  </a:lnTo>
                  <a:lnTo>
                    <a:pt x="111" y="564"/>
                  </a:lnTo>
                  <a:lnTo>
                    <a:pt x="111" y="567"/>
                  </a:lnTo>
                  <a:lnTo>
                    <a:pt x="110" y="567"/>
                  </a:lnTo>
                  <a:lnTo>
                    <a:pt x="109" y="568"/>
                  </a:lnTo>
                  <a:lnTo>
                    <a:pt x="106" y="568"/>
                  </a:lnTo>
                  <a:lnTo>
                    <a:pt x="104" y="567"/>
                  </a:lnTo>
                  <a:lnTo>
                    <a:pt x="103" y="567"/>
                  </a:lnTo>
                  <a:lnTo>
                    <a:pt x="101" y="567"/>
                  </a:lnTo>
                  <a:lnTo>
                    <a:pt x="101" y="568"/>
                  </a:lnTo>
                  <a:lnTo>
                    <a:pt x="100" y="568"/>
                  </a:lnTo>
                  <a:lnTo>
                    <a:pt x="97" y="567"/>
                  </a:lnTo>
                  <a:lnTo>
                    <a:pt x="99" y="569"/>
                  </a:lnTo>
                  <a:lnTo>
                    <a:pt x="100" y="569"/>
                  </a:lnTo>
                  <a:lnTo>
                    <a:pt x="99" y="570"/>
                  </a:lnTo>
                  <a:lnTo>
                    <a:pt x="92" y="573"/>
                  </a:lnTo>
                  <a:lnTo>
                    <a:pt x="92" y="574"/>
                  </a:lnTo>
                  <a:lnTo>
                    <a:pt x="99" y="573"/>
                  </a:lnTo>
                  <a:lnTo>
                    <a:pt x="100" y="573"/>
                  </a:lnTo>
                  <a:lnTo>
                    <a:pt x="100" y="574"/>
                  </a:lnTo>
                  <a:lnTo>
                    <a:pt x="100" y="576"/>
                  </a:lnTo>
                  <a:lnTo>
                    <a:pt x="101" y="575"/>
                  </a:lnTo>
                  <a:lnTo>
                    <a:pt x="103" y="574"/>
                  </a:lnTo>
                  <a:lnTo>
                    <a:pt x="103" y="571"/>
                  </a:lnTo>
                  <a:lnTo>
                    <a:pt x="104" y="571"/>
                  </a:lnTo>
                  <a:lnTo>
                    <a:pt x="104" y="573"/>
                  </a:lnTo>
                  <a:lnTo>
                    <a:pt x="105" y="573"/>
                  </a:lnTo>
                  <a:lnTo>
                    <a:pt x="106" y="570"/>
                  </a:lnTo>
                  <a:lnTo>
                    <a:pt x="107" y="570"/>
                  </a:lnTo>
                  <a:lnTo>
                    <a:pt x="107" y="574"/>
                  </a:lnTo>
                  <a:lnTo>
                    <a:pt x="109" y="575"/>
                  </a:lnTo>
                  <a:lnTo>
                    <a:pt x="110" y="577"/>
                  </a:lnTo>
                  <a:lnTo>
                    <a:pt x="110" y="579"/>
                  </a:lnTo>
                  <a:lnTo>
                    <a:pt x="111" y="580"/>
                  </a:lnTo>
                  <a:lnTo>
                    <a:pt x="112" y="581"/>
                  </a:lnTo>
                  <a:lnTo>
                    <a:pt x="113" y="581"/>
                  </a:lnTo>
                  <a:lnTo>
                    <a:pt x="113" y="583"/>
                  </a:lnTo>
                  <a:lnTo>
                    <a:pt x="115" y="585"/>
                  </a:lnTo>
                  <a:lnTo>
                    <a:pt x="116" y="585"/>
                  </a:lnTo>
                  <a:lnTo>
                    <a:pt x="116" y="583"/>
                  </a:lnTo>
                  <a:lnTo>
                    <a:pt x="117" y="582"/>
                  </a:lnTo>
                  <a:lnTo>
                    <a:pt x="117" y="580"/>
                  </a:lnTo>
                  <a:lnTo>
                    <a:pt x="116" y="579"/>
                  </a:lnTo>
                  <a:lnTo>
                    <a:pt x="117" y="577"/>
                  </a:lnTo>
                  <a:lnTo>
                    <a:pt x="117" y="576"/>
                  </a:lnTo>
                  <a:lnTo>
                    <a:pt x="116" y="574"/>
                  </a:lnTo>
                  <a:lnTo>
                    <a:pt x="116" y="571"/>
                  </a:lnTo>
                  <a:lnTo>
                    <a:pt x="117" y="570"/>
                  </a:lnTo>
                  <a:lnTo>
                    <a:pt x="117" y="568"/>
                  </a:lnTo>
                  <a:lnTo>
                    <a:pt x="117" y="567"/>
                  </a:lnTo>
                  <a:lnTo>
                    <a:pt x="118" y="565"/>
                  </a:lnTo>
                  <a:lnTo>
                    <a:pt x="119" y="564"/>
                  </a:lnTo>
                  <a:lnTo>
                    <a:pt x="121" y="565"/>
                  </a:lnTo>
                  <a:lnTo>
                    <a:pt x="121" y="567"/>
                  </a:lnTo>
                  <a:lnTo>
                    <a:pt x="118" y="568"/>
                  </a:lnTo>
                  <a:lnTo>
                    <a:pt x="118" y="570"/>
                  </a:lnTo>
                  <a:lnTo>
                    <a:pt x="119" y="569"/>
                  </a:lnTo>
                  <a:lnTo>
                    <a:pt x="121" y="569"/>
                  </a:lnTo>
                  <a:lnTo>
                    <a:pt x="121" y="571"/>
                  </a:lnTo>
                  <a:lnTo>
                    <a:pt x="121" y="573"/>
                  </a:lnTo>
                  <a:lnTo>
                    <a:pt x="119" y="574"/>
                  </a:lnTo>
                  <a:lnTo>
                    <a:pt x="119" y="576"/>
                  </a:lnTo>
                  <a:lnTo>
                    <a:pt x="119" y="579"/>
                  </a:lnTo>
                  <a:lnTo>
                    <a:pt x="121" y="580"/>
                  </a:lnTo>
                  <a:lnTo>
                    <a:pt x="121" y="579"/>
                  </a:lnTo>
                  <a:lnTo>
                    <a:pt x="122" y="576"/>
                  </a:lnTo>
                  <a:lnTo>
                    <a:pt x="122" y="574"/>
                  </a:lnTo>
                  <a:lnTo>
                    <a:pt x="123" y="574"/>
                  </a:lnTo>
                  <a:lnTo>
                    <a:pt x="123" y="576"/>
                  </a:lnTo>
                  <a:lnTo>
                    <a:pt x="124" y="577"/>
                  </a:lnTo>
                  <a:lnTo>
                    <a:pt x="125" y="577"/>
                  </a:lnTo>
                  <a:lnTo>
                    <a:pt x="125" y="576"/>
                  </a:lnTo>
                  <a:lnTo>
                    <a:pt x="125" y="575"/>
                  </a:lnTo>
                  <a:lnTo>
                    <a:pt x="125" y="574"/>
                  </a:lnTo>
                  <a:lnTo>
                    <a:pt x="127" y="573"/>
                  </a:lnTo>
                  <a:lnTo>
                    <a:pt x="127" y="571"/>
                  </a:lnTo>
                  <a:lnTo>
                    <a:pt x="128" y="571"/>
                  </a:lnTo>
                  <a:lnTo>
                    <a:pt x="128" y="573"/>
                  </a:lnTo>
                  <a:lnTo>
                    <a:pt x="128" y="574"/>
                  </a:lnTo>
                  <a:lnTo>
                    <a:pt x="128" y="575"/>
                  </a:lnTo>
                  <a:lnTo>
                    <a:pt x="128" y="577"/>
                  </a:lnTo>
                  <a:lnTo>
                    <a:pt x="128" y="579"/>
                  </a:lnTo>
                  <a:lnTo>
                    <a:pt x="128" y="583"/>
                  </a:lnTo>
                  <a:lnTo>
                    <a:pt x="128" y="586"/>
                  </a:lnTo>
                  <a:lnTo>
                    <a:pt x="129" y="585"/>
                  </a:lnTo>
                  <a:lnTo>
                    <a:pt x="129" y="583"/>
                  </a:lnTo>
                  <a:lnTo>
                    <a:pt x="129" y="581"/>
                  </a:lnTo>
                  <a:lnTo>
                    <a:pt x="130" y="581"/>
                  </a:lnTo>
                  <a:lnTo>
                    <a:pt x="130" y="580"/>
                  </a:lnTo>
                  <a:lnTo>
                    <a:pt x="131" y="580"/>
                  </a:lnTo>
                  <a:lnTo>
                    <a:pt x="131" y="579"/>
                  </a:lnTo>
                  <a:lnTo>
                    <a:pt x="131" y="577"/>
                  </a:lnTo>
                  <a:lnTo>
                    <a:pt x="131" y="573"/>
                  </a:lnTo>
                  <a:lnTo>
                    <a:pt x="133" y="573"/>
                  </a:lnTo>
                  <a:lnTo>
                    <a:pt x="134" y="574"/>
                  </a:lnTo>
                  <a:lnTo>
                    <a:pt x="135" y="573"/>
                  </a:lnTo>
                  <a:lnTo>
                    <a:pt x="135" y="569"/>
                  </a:lnTo>
                  <a:lnTo>
                    <a:pt x="136" y="568"/>
                  </a:lnTo>
                  <a:lnTo>
                    <a:pt x="136" y="569"/>
                  </a:lnTo>
                  <a:lnTo>
                    <a:pt x="136" y="573"/>
                  </a:lnTo>
                  <a:lnTo>
                    <a:pt x="136" y="575"/>
                  </a:lnTo>
                  <a:lnTo>
                    <a:pt x="136" y="577"/>
                  </a:lnTo>
                  <a:lnTo>
                    <a:pt x="136" y="579"/>
                  </a:lnTo>
                  <a:lnTo>
                    <a:pt x="137" y="577"/>
                  </a:lnTo>
                  <a:lnTo>
                    <a:pt x="139" y="577"/>
                  </a:lnTo>
                  <a:lnTo>
                    <a:pt x="140" y="577"/>
                  </a:lnTo>
                  <a:lnTo>
                    <a:pt x="140" y="576"/>
                  </a:lnTo>
                  <a:lnTo>
                    <a:pt x="140" y="581"/>
                  </a:lnTo>
                  <a:lnTo>
                    <a:pt x="141" y="582"/>
                  </a:lnTo>
                  <a:lnTo>
                    <a:pt x="142" y="582"/>
                  </a:lnTo>
                  <a:lnTo>
                    <a:pt x="142" y="576"/>
                  </a:lnTo>
                  <a:lnTo>
                    <a:pt x="143" y="576"/>
                  </a:lnTo>
                  <a:lnTo>
                    <a:pt x="143" y="579"/>
                  </a:lnTo>
                  <a:lnTo>
                    <a:pt x="143" y="580"/>
                  </a:lnTo>
                  <a:lnTo>
                    <a:pt x="145" y="580"/>
                  </a:lnTo>
                  <a:lnTo>
                    <a:pt x="145" y="581"/>
                  </a:lnTo>
                  <a:lnTo>
                    <a:pt x="146" y="583"/>
                  </a:lnTo>
                  <a:lnTo>
                    <a:pt x="146" y="585"/>
                  </a:lnTo>
                  <a:lnTo>
                    <a:pt x="146" y="586"/>
                  </a:lnTo>
                  <a:lnTo>
                    <a:pt x="147" y="586"/>
                  </a:lnTo>
                  <a:lnTo>
                    <a:pt x="147" y="587"/>
                  </a:lnTo>
                  <a:lnTo>
                    <a:pt x="148" y="589"/>
                  </a:lnTo>
                  <a:lnTo>
                    <a:pt x="150" y="589"/>
                  </a:lnTo>
                  <a:lnTo>
                    <a:pt x="150" y="588"/>
                  </a:lnTo>
                  <a:lnTo>
                    <a:pt x="151" y="587"/>
                  </a:lnTo>
                  <a:lnTo>
                    <a:pt x="151" y="585"/>
                  </a:lnTo>
                  <a:lnTo>
                    <a:pt x="152" y="583"/>
                  </a:lnTo>
                  <a:lnTo>
                    <a:pt x="152" y="582"/>
                  </a:lnTo>
                  <a:lnTo>
                    <a:pt x="153" y="581"/>
                  </a:lnTo>
                  <a:lnTo>
                    <a:pt x="153" y="582"/>
                  </a:lnTo>
                  <a:lnTo>
                    <a:pt x="154" y="581"/>
                  </a:lnTo>
                  <a:lnTo>
                    <a:pt x="154" y="579"/>
                  </a:lnTo>
                  <a:lnTo>
                    <a:pt x="154" y="577"/>
                  </a:lnTo>
                  <a:lnTo>
                    <a:pt x="156" y="577"/>
                  </a:lnTo>
                  <a:lnTo>
                    <a:pt x="157" y="579"/>
                  </a:lnTo>
                  <a:lnTo>
                    <a:pt x="157" y="580"/>
                  </a:lnTo>
                  <a:lnTo>
                    <a:pt x="158" y="579"/>
                  </a:lnTo>
                  <a:lnTo>
                    <a:pt x="158" y="580"/>
                  </a:lnTo>
                  <a:lnTo>
                    <a:pt x="158" y="581"/>
                  </a:lnTo>
                  <a:lnTo>
                    <a:pt x="158" y="582"/>
                  </a:lnTo>
                  <a:lnTo>
                    <a:pt x="157" y="583"/>
                  </a:lnTo>
                  <a:lnTo>
                    <a:pt x="157" y="585"/>
                  </a:lnTo>
                  <a:lnTo>
                    <a:pt x="158" y="585"/>
                  </a:lnTo>
                  <a:lnTo>
                    <a:pt x="157" y="586"/>
                  </a:lnTo>
                  <a:lnTo>
                    <a:pt x="157" y="587"/>
                  </a:lnTo>
                  <a:lnTo>
                    <a:pt x="157" y="588"/>
                  </a:lnTo>
                  <a:lnTo>
                    <a:pt x="158" y="588"/>
                  </a:lnTo>
                  <a:lnTo>
                    <a:pt x="159" y="588"/>
                  </a:lnTo>
                  <a:lnTo>
                    <a:pt x="159" y="587"/>
                  </a:lnTo>
                  <a:lnTo>
                    <a:pt x="162" y="586"/>
                  </a:lnTo>
                  <a:lnTo>
                    <a:pt x="163" y="586"/>
                  </a:lnTo>
                  <a:lnTo>
                    <a:pt x="164" y="587"/>
                  </a:lnTo>
                  <a:lnTo>
                    <a:pt x="165" y="588"/>
                  </a:lnTo>
                  <a:lnTo>
                    <a:pt x="166" y="587"/>
                  </a:lnTo>
                  <a:lnTo>
                    <a:pt x="166" y="586"/>
                  </a:lnTo>
                  <a:lnTo>
                    <a:pt x="166" y="583"/>
                  </a:lnTo>
                  <a:lnTo>
                    <a:pt x="168" y="582"/>
                  </a:lnTo>
                  <a:lnTo>
                    <a:pt x="168" y="583"/>
                  </a:lnTo>
                  <a:lnTo>
                    <a:pt x="170" y="585"/>
                  </a:lnTo>
                  <a:lnTo>
                    <a:pt x="169" y="586"/>
                  </a:lnTo>
                  <a:lnTo>
                    <a:pt x="168" y="587"/>
                  </a:lnTo>
                  <a:lnTo>
                    <a:pt x="168" y="588"/>
                  </a:lnTo>
                  <a:lnTo>
                    <a:pt x="169" y="588"/>
                  </a:lnTo>
                  <a:lnTo>
                    <a:pt x="170" y="587"/>
                  </a:lnTo>
                  <a:lnTo>
                    <a:pt x="171" y="587"/>
                  </a:lnTo>
                  <a:lnTo>
                    <a:pt x="172" y="587"/>
                  </a:lnTo>
                  <a:lnTo>
                    <a:pt x="174" y="587"/>
                  </a:lnTo>
                  <a:lnTo>
                    <a:pt x="174" y="586"/>
                  </a:lnTo>
                  <a:lnTo>
                    <a:pt x="174" y="585"/>
                  </a:lnTo>
                  <a:lnTo>
                    <a:pt x="175" y="585"/>
                  </a:lnTo>
                  <a:lnTo>
                    <a:pt x="176" y="585"/>
                  </a:lnTo>
                  <a:lnTo>
                    <a:pt x="177" y="585"/>
                  </a:lnTo>
                  <a:lnTo>
                    <a:pt x="177" y="586"/>
                  </a:lnTo>
                  <a:lnTo>
                    <a:pt x="178" y="587"/>
                  </a:lnTo>
                  <a:lnTo>
                    <a:pt x="180" y="588"/>
                  </a:lnTo>
                  <a:lnTo>
                    <a:pt x="178" y="589"/>
                  </a:lnTo>
                  <a:lnTo>
                    <a:pt x="176" y="589"/>
                  </a:lnTo>
                  <a:lnTo>
                    <a:pt x="175" y="589"/>
                  </a:lnTo>
                  <a:lnTo>
                    <a:pt x="174" y="589"/>
                  </a:lnTo>
                  <a:lnTo>
                    <a:pt x="172" y="589"/>
                  </a:lnTo>
                  <a:lnTo>
                    <a:pt x="172" y="588"/>
                  </a:lnTo>
                  <a:lnTo>
                    <a:pt x="171" y="588"/>
                  </a:lnTo>
                  <a:lnTo>
                    <a:pt x="171" y="589"/>
                  </a:lnTo>
                  <a:lnTo>
                    <a:pt x="170" y="589"/>
                  </a:lnTo>
                  <a:lnTo>
                    <a:pt x="169" y="588"/>
                  </a:lnTo>
                  <a:lnTo>
                    <a:pt x="168" y="588"/>
                  </a:lnTo>
                  <a:lnTo>
                    <a:pt x="168" y="589"/>
                  </a:lnTo>
                  <a:lnTo>
                    <a:pt x="166" y="589"/>
                  </a:lnTo>
                  <a:lnTo>
                    <a:pt x="165" y="589"/>
                  </a:lnTo>
                  <a:lnTo>
                    <a:pt x="164" y="591"/>
                  </a:lnTo>
                  <a:lnTo>
                    <a:pt x="163" y="591"/>
                  </a:lnTo>
                  <a:lnTo>
                    <a:pt x="162" y="589"/>
                  </a:lnTo>
                  <a:lnTo>
                    <a:pt x="156" y="589"/>
                  </a:lnTo>
                  <a:lnTo>
                    <a:pt x="156" y="591"/>
                  </a:lnTo>
                  <a:lnTo>
                    <a:pt x="154" y="591"/>
                  </a:lnTo>
                  <a:lnTo>
                    <a:pt x="154" y="592"/>
                  </a:lnTo>
                  <a:lnTo>
                    <a:pt x="156" y="592"/>
                  </a:lnTo>
                  <a:lnTo>
                    <a:pt x="158" y="592"/>
                  </a:lnTo>
                  <a:lnTo>
                    <a:pt x="159" y="592"/>
                  </a:lnTo>
                  <a:lnTo>
                    <a:pt x="159" y="593"/>
                  </a:lnTo>
                  <a:lnTo>
                    <a:pt x="160" y="593"/>
                  </a:lnTo>
                  <a:lnTo>
                    <a:pt x="160" y="594"/>
                  </a:lnTo>
                  <a:lnTo>
                    <a:pt x="160" y="595"/>
                  </a:lnTo>
                  <a:lnTo>
                    <a:pt x="159" y="595"/>
                  </a:lnTo>
                  <a:lnTo>
                    <a:pt x="159" y="597"/>
                  </a:lnTo>
                  <a:lnTo>
                    <a:pt x="159" y="598"/>
                  </a:lnTo>
                  <a:lnTo>
                    <a:pt x="160" y="597"/>
                  </a:lnTo>
                  <a:lnTo>
                    <a:pt x="162" y="594"/>
                  </a:lnTo>
                  <a:lnTo>
                    <a:pt x="163" y="593"/>
                  </a:lnTo>
                  <a:lnTo>
                    <a:pt x="164" y="592"/>
                  </a:lnTo>
                  <a:lnTo>
                    <a:pt x="165" y="593"/>
                  </a:lnTo>
                  <a:lnTo>
                    <a:pt x="165" y="594"/>
                  </a:lnTo>
                  <a:lnTo>
                    <a:pt x="164" y="595"/>
                  </a:lnTo>
                  <a:lnTo>
                    <a:pt x="165" y="595"/>
                  </a:lnTo>
                  <a:lnTo>
                    <a:pt x="165" y="594"/>
                  </a:lnTo>
                  <a:lnTo>
                    <a:pt x="166" y="593"/>
                  </a:lnTo>
                  <a:lnTo>
                    <a:pt x="168" y="593"/>
                  </a:lnTo>
                  <a:lnTo>
                    <a:pt x="169" y="593"/>
                  </a:lnTo>
                  <a:lnTo>
                    <a:pt x="169" y="594"/>
                  </a:lnTo>
                  <a:lnTo>
                    <a:pt x="169" y="593"/>
                  </a:lnTo>
                  <a:lnTo>
                    <a:pt x="170" y="592"/>
                  </a:lnTo>
                  <a:lnTo>
                    <a:pt x="171" y="592"/>
                  </a:lnTo>
                  <a:lnTo>
                    <a:pt x="171" y="593"/>
                  </a:lnTo>
                  <a:lnTo>
                    <a:pt x="170" y="594"/>
                  </a:lnTo>
                  <a:lnTo>
                    <a:pt x="170" y="595"/>
                  </a:lnTo>
                  <a:lnTo>
                    <a:pt x="170" y="597"/>
                  </a:lnTo>
                  <a:lnTo>
                    <a:pt x="170" y="598"/>
                  </a:lnTo>
                  <a:lnTo>
                    <a:pt x="168" y="598"/>
                  </a:lnTo>
                  <a:lnTo>
                    <a:pt x="168" y="599"/>
                  </a:lnTo>
                  <a:lnTo>
                    <a:pt x="168" y="600"/>
                  </a:lnTo>
                  <a:lnTo>
                    <a:pt x="169" y="600"/>
                  </a:lnTo>
                  <a:lnTo>
                    <a:pt x="170" y="601"/>
                  </a:lnTo>
                  <a:lnTo>
                    <a:pt x="171" y="600"/>
                  </a:lnTo>
                  <a:lnTo>
                    <a:pt x="171" y="599"/>
                  </a:lnTo>
                  <a:lnTo>
                    <a:pt x="172" y="598"/>
                  </a:lnTo>
                  <a:lnTo>
                    <a:pt x="172" y="597"/>
                  </a:lnTo>
                  <a:lnTo>
                    <a:pt x="172" y="595"/>
                  </a:lnTo>
                  <a:lnTo>
                    <a:pt x="174" y="594"/>
                  </a:lnTo>
                  <a:lnTo>
                    <a:pt x="174" y="593"/>
                  </a:lnTo>
                  <a:lnTo>
                    <a:pt x="175" y="593"/>
                  </a:lnTo>
                  <a:lnTo>
                    <a:pt x="176" y="593"/>
                  </a:lnTo>
                  <a:lnTo>
                    <a:pt x="177" y="593"/>
                  </a:lnTo>
                  <a:lnTo>
                    <a:pt x="177" y="594"/>
                  </a:lnTo>
                  <a:lnTo>
                    <a:pt x="176" y="595"/>
                  </a:lnTo>
                  <a:lnTo>
                    <a:pt x="176" y="597"/>
                  </a:lnTo>
                  <a:lnTo>
                    <a:pt x="176" y="599"/>
                  </a:lnTo>
                  <a:lnTo>
                    <a:pt x="177" y="598"/>
                  </a:lnTo>
                  <a:lnTo>
                    <a:pt x="177" y="597"/>
                  </a:lnTo>
                  <a:lnTo>
                    <a:pt x="177" y="595"/>
                  </a:lnTo>
                  <a:lnTo>
                    <a:pt x="178" y="595"/>
                  </a:lnTo>
                  <a:lnTo>
                    <a:pt x="178" y="594"/>
                  </a:lnTo>
                  <a:lnTo>
                    <a:pt x="180" y="593"/>
                  </a:lnTo>
                  <a:lnTo>
                    <a:pt x="180" y="594"/>
                  </a:lnTo>
                  <a:lnTo>
                    <a:pt x="181" y="594"/>
                  </a:lnTo>
                  <a:lnTo>
                    <a:pt x="181" y="595"/>
                  </a:lnTo>
                  <a:lnTo>
                    <a:pt x="180" y="597"/>
                  </a:lnTo>
                  <a:lnTo>
                    <a:pt x="180" y="598"/>
                  </a:lnTo>
                  <a:lnTo>
                    <a:pt x="180" y="599"/>
                  </a:lnTo>
                  <a:lnTo>
                    <a:pt x="181" y="600"/>
                  </a:lnTo>
                  <a:lnTo>
                    <a:pt x="181" y="601"/>
                  </a:lnTo>
                  <a:lnTo>
                    <a:pt x="181" y="603"/>
                  </a:lnTo>
                  <a:lnTo>
                    <a:pt x="181" y="604"/>
                  </a:lnTo>
                  <a:lnTo>
                    <a:pt x="182" y="603"/>
                  </a:lnTo>
                  <a:lnTo>
                    <a:pt x="182" y="600"/>
                  </a:lnTo>
                  <a:lnTo>
                    <a:pt x="183" y="600"/>
                  </a:lnTo>
                  <a:lnTo>
                    <a:pt x="183" y="599"/>
                  </a:lnTo>
                  <a:lnTo>
                    <a:pt x="184" y="598"/>
                  </a:lnTo>
                  <a:lnTo>
                    <a:pt x="184" y="599"/>
                  </a:lnTo>
                  <a:lnTo>
                    <a:pt x="186" y="600"/>
                  </a:lnTo>
                  <a:lnTo>
                    <a:pt x="186" y="599"/>
                  </a:lnTo>
                  <a:lnTo>
                    <a:pt x="186" y="598"/>
                  </a:lnTo>
                  <a:lnTo>
                    <a:pt x="186" y="597"/>
                  </a:lnTo>
                  <a:lnTo>
                    <a:pt x="186" y="595"/>
                  </a:lnTo>
                  <a:lnTo>
                    <a:pt x="187" y="595"/>
                  </a:lnTo>
                  <a:lnTo>
                    <a:pt x="187" y="593"/>
                  </a:lnTo>
                  <a:lnTo>
                    <a:pt x="187" y="591"/>
                  </a:lnTo>
                  <a:lnTo>
                    <a:pt x="187" y="589"/>
                  </a:lnTo>
                  <a:lnTo>
                    <a:pt x="187" y="587"/>
                  </a:lnTo>
                  <a:lnTo>
                    <a:pt x="187" y="586"/>
                  </a:lnTo>
                  <a:lnTo>
                    <a:pt x="186" y="585"/>
                  </a:lnTo>
                  <a:lnTo>
                    <a:pt x="186" y="582"/>
                  </a:lnTo>
                  <a:lnTo>
                    <a:pt x="187" y="583"/>
                  </a:lnTo>
                  <a:lnTo>
                    <a:pt x="187" y="586"/>
                  </a:lnTo>
                  <a:lnTo>
                    <a:pt x="188" y="587"/>
                  </a:lnTo>
                  <a:lnTo>
                    <a:pt x="188" y="588"/>
                  </a:lnTo>
                  <a:lnTo>
                    <a:pt x="189" y="589"/>
                  </a:lnTo>
                  <a:lnTo>
                    <a:pt x="189" y="592"/>
                  </a:lnTo>
                  <a:lnTo>
                    <a:pt x="189" y="593"/>
                  </a:lnTo>
                  <a:lnTo>
                    <a:pt x="188" y="594"/>
                  </a:lnTo>
                  <a:lnTo>
                    <a:pt x="188" y="598"/>
                  </a:lnTo>
                  <a:lnTo>
                    <a:pt x="188" y="599"/>
                  </a:lnTo>
                  <a:lnTo>
                    <a:pt x="188" y="600"/>
                  </a:lnTo>
                  <a:lnTo>
                    <a:pt x="187" y="601"/>
                  </a:lnTo>
                  <a:lnTo>
                    <a:pt x="187" y="603"/>
                  </a:lnTo>
                  <a:lnTo>
                    <a:pt x="187" y="604"/>
                  </a:lnTo>
                  <a:lnTo>
                    <a:pt x="188" y="605"/>
                  </a:lnTo>
                  <a:lnTo>
                    <a:pt x="190" y="605"/>
                  </a:lnTo>
                  <a:lnTo>
                    <a:pt x="192" y="604"/>
                  </a:lnTo>
                  <a:lnTo>
                    <a:pt x="192" y="603"/>
                  </a:lnTo>
                  <a:lnTo>
                    <a:pt x="190" y="601"/>
                  </a:lnTo>
                  <a:lnTo>
                    <a:pt x="190" y="600"/>
                  </a:lnTo>
                  <a:lnTo>
                    <a:pt x="192" y="600"/>
                  </a:lnTo>
                  <a:lnTo>
                    <a:pt x="193" y="600"/>
                  </a:lnTo>
                  <a:lnTo>
                    <a:pt x="193" y="603"/>
                  </a:lnTo>
                  <a:lnTo>
                    <a:pt x="193" y="604"/>
                  </a:lnTo>
                  <a:lnTo>
                    <a:pt x="194" y="603"/>
                  </a:lnTo>
                  <a:lnTo>
                    <a:pt x="195" y="603"/>
                  </a:lnTo>
                  <a:lnTo>
                    <a:pt x="196" y="601"/>
                  </a:lnTo>
                  <a:lnTo>
                    <a:pt x="198" y="603"/>
                  </a:lnTo>
                  <a:lnTo>
                    <a:pt x="199" y="604"/>
                  </a:lnTo>
                  <a:lnTo>
                    <a:pt x="199" y="605"/>
                  </a:lnTo>
                  <a:lnTo>
                    <a:pt x="200" y="604"/>
                  </a:lnTo>
                  <a:lnTo>
                    <a:pt x="200" y="605"/>
                  </a:lnTo>
                  <a:lnTo>
                    <a:pt x="200" y="606"/>
                  </a:lnTo>
                  <a:lnTo>
                    <a:pt x="200" y="607"/>
                  </a:lnTo>
                  <a:lnTo>
                    <a:pt x="199" y="609"/>
                  </a:lnTo>
                  <a:lnTo>
                    <a:pt x="198" y="610"/>
                  </a:lnTo>
                  <a:lnTo>
                    <a:pt x="196" y="611"/>
                  </a:lnTo>
                  <a:lnTo>
                    <a:pt x="196" y="612"/>
                  </a:lnTo>
                  <a:lnTo>
                    <a:pt x="199" y="612"/>
                  </a:lnTo>
                  <a:lnTo>
                    <a:pt x="200" y="612"/>
                  </a:lnTo>
                  <a:lnTo>
                    <a:pt x="200" y="611"/>
                  </a:lnTo>
                  <a:lnTo>
                    <a:pt x="202" y="610"/>
                  </a:lnTo>
                  <a:lnTo>
                    <a:pt x="204" y="610"/>
                  </a:lnTo>
                  <a:lnTo>
                    <a:pt x="204" y="609"/>
                  </a:lnTo>
                  <a:lnTo>
                    <a:pt x="205" y="607"/>
                  </a:lnTo>
                  <a:lnTo>
                    <a:pt x="206" y="607"/>
                  </a:lnTo>
                  <a:lnTo>
                    <a:pt x="206" y="609"/>
                  </a:lnTo>
                  <a:lnTo>
                    <a:pt x="207" y="610"/>
                  </a:lnTo>
                  <a:lnTo>
                    <a:pt x="207" y="611"/>
                  </a:lnTo>
                  <a:lnTo>
                    <a:pt x="207" y="612"/>
                  </a:lnTo>
                  <a:lnTo>
                    <a:pt x="206" y="613"/>
                  </a:lnTo>
                  <a:lnTo>
                    <a:pt x="206" y="615"/>
                  </a:lnTo>
                  <a:lnTo>
                    <a:pt x="205" y="616"/>
                  </a:lnTo>
                  <a:lnTo>
                    <a:pt x="202" y="616"/>
                  </a:lnTo>
                  <a:lnTo>
                    <a:pt x="201" y="616"/>
                  </a:lnTo>
                  <a:lnTo>
                    <a:pt x="200" y="616"/>
                  </a:lnTo>
                  <a:lnTo>
                    <a:pt x="199" y="616"/>
                  </a:lnTo>
                  <a:lnTo>
                    <a:pt x="198" y="616"/>
                  </a:lnTo>
                  <a:lnTo>
                    <a:pt x="198" y="617"/>
                  </a:lnTo>
                  <a:lnTo>
                    <a:pt x="196" y="617"/>
                  </a:lnTo>
                  <a:lnTo>
                    <a:pt x="195" y="617"/>
                  </a:lnTo>
                  <a:lnTo>
                    <a:pt x="193" y="617"/>
                  </a:lnTo>
                  <a:lnTo>
                    <a:pt x="190" y="618"/>
                  </a:lnTo>
                  <a:lnTo>
                    <a:pt x="188" y="618"/>
                  </a:lnTo>
                  <a:lnTo>
                    <a:pt x="187" y="618"/>
                  </a:lnTo>
                  <a:lnTo>
                    <a:pt x="186" y="619"/>
                  </a:lnTo>
                  <a:lnTo>
                    <a:pt x="184" y="619"/>
                  </a:lnTo>
                  <a:lnTo>
                    <a:pt x="183" y="619"/>
                  </a:lnTo>
                  <a:lnTo>
                    <a:pt x="182" y="619"/>
                  </a:lnTo>
                  <a:lnTo>
                    <a:pt x="181" y="619"/>
                  </a:lnTo>
                  <a:lnTo>
                    <a:pt x="180" y="619"/>
                  </a:lnTo>
                  <a:lnTo>
                    <a:pt x="180" y="621"/>
                  </a:lnTo>
                  <a:lnTo>
                    <a:pt x="178" y="621"/>
                  </a:lnTo>
                  <a:lnTo>
                    <a:pt x="177" y="622"/>
                  </a:lnTo>
                  <a:lnTo>
                    <a:pt x="176" y="622"/>
                  </a:lnTo>
                  <a:lnTo>
                    <a:pt x="175" y="621"/>
                  </a:lnTo>
                  <a:lnTo>
                    <a:pt x="175" y="622"/>
                  </a:lnTo>
                  <a:lnTo>
                    <a:pt x="174" y="622"/>
                  </a:lnTo>
                  <a:lnTo>
                    <a:pt x="166" y="622"/>
                  </a:lnTo>
                  <a:lnTo>
                    <a:pt x="165" y="622"/>
                  </a:lnTo>
                  <a:lnTo>
                    <a:pt x="164" y="621"/>
                  </a:lnTo>
                  <a:lnTo>
                    <a:pt x="163" y="622"/>
                  </a:lnTo>
                  <a:lnTo>
                    <a:pt x="162" y="622"/>
                  </a:lnTo>
                  <a:lnTo>
                    <a:pt x="160" y="622"/>
                  </a:lnTo>
                  <a:lnTo>
                    <a:pt x="158" y="622"/>
                  </a:lnTo>
                  <a:lnTo>
                    <a:pt x="156" y="622"/>
                  </a:lnTo>
                  <a:lnTo>
                    <a:pt x="156" y="623"/>
                  </a:lnTo>
                  <a:lnTo>
                    <a:pt x="154" y="623"/>
                  </a:lnTo>
                  <a:lnTo>
                    <a:pt x="153" y="623"/>
                  </a:lnTo>
                  <a:lnTo>
                    <a:pt x="152" y="622"/>
                  </a:lnTo>
                  <a:lnTo>
                    <a:pt x="150" y="622"/>
                  </a:lnTo>
                  <a:lnTo>
                    <a:pt x="150" y="623"/>
                  </a:lnTo>
                  <a:lnTo>
                    <a:pt x="147" y="623"/>
                  </a:lnTo>
                  <a:lnTo>
                    <a:pt x="146" y="622"/>
                  </a:lnTo>
                  <a:lnTo>
                    <a:pt x="147" y="621"/>
                  </a:lnTo>
                  <a:lnTo>
                    <a:pt x="146" y="619"/>
                  </a:lnTo>
                  <a:lnTo>
                    <a:pt x="145" y="621"/>
                  </a:lnTo>
                  <a:lnTo>
                    <a:pt x="145" y="622"/>
                  </a:lnTo>
                  <a:lnTo>
                    <a:pt x="142" y="622"/>
                  </a:lnTo>
                  <a:lnTo>
                    <a:pt x="141" y="622"/>
                  </a:lnTo>
                  <a:lnTo>
                    <a:pt x="141" y="623"/>
                  </a:lnTo>
                  <a:lnTo>
                    <a:pt x="142" y="623"/>
                  </a:lnTo>
                  <a:lnTo>
                    <a:pt x="142" y="624"/>
                  </a:lnTo>
                  <a:lnTo>
                    <a:pt x="141" y="624"/>
                  </a:lnTo>
                  <a:lnTo>
                    <a:pt x="140" y="624"/>
                  </a:lnTo>
                  <a:lnTo>
                    <a:pt x="139" y="625"/>
                  </a:lnTo>
                  <a:lnTo>
                    <a:pt x="137" y="625"/>
                  </a:lnTo>
                  <a:lnTo>
                    <a:pt x="135" y="625"/>
                  </a:lnTo>
                  <a:lnTo>
                    <a:pt x="134" y="625"/>
                  </a:lnTo>
                  <a:lnTo>
                    <a:pt x="133" y="625"/>
                  </a:lnTo>
                  <a:lnTo>
                    <a:pt x="133" y="624"/>
                  </a:lnTo>
                  <a:lnTo>
                    <a:pt x="131" y="623"/>
                  </a:lnTo>
                  <a:lnTo>
                    <a:pt x="130" y="624"/>
                  </a:lnTo>
                  <a:lnTo>
                    <a:pt x="131" y="624"/>
                  </a:lnTo>
                  <a:lnTo>
                    <a:pt x="131" y="625"/>
                  </a:lnTo>
                  <a:lnTo>
                    <a:pt x="133" y="625"/>
                  </a:lnTo>
                  <a:lnTo>
                    <a:pt x="131" y="627"/>
                  </a:lnTo>
                  <a:lnTo>
                    <a:pt x="130" y="627"/>
                  </a:lnTo>
                  <a:lnTo>
                    <a:pt x="129" y="628"/>
                  </a:lnTo>
                  <a:lnTo>
                    <a:pt x="129" y="629"/>
                  </a:lnTo>
                  <a:lnTo>
                    <a:pt x="128" y="628"/>
                  </a:lnTo>
                  <a:lnTo>
                    <a:pt x="127" y="628"/>
                  </a:lnTo>
                  <a:lnTo>
                    <a:pt x="127" y="627"/>
                  </a:lnTo>
                  <a:lnTo>
                    <a:pt x="125" y="628"/>
                  </a:lnTo>
                  <a:lnTo>
                    <a:pt x="124" y="629"/>
                  </a:lnTo>
                  <a:lnTo>
                    <a:pt x="123" y="628"/>
                  </a:lnTo>
                  <a:lnTo>
                    <a:pt x="121" y="628"/>
                  </a:lnTo>
                  <a:lnTo>
                    <a:pt x="118" y="628"/>
                  </a:lnTo>
                  <a:lnTo>
                    <a:pt x="117" y="628"/>
                  </a:lnTo>
                  <a:lnTo>
                    <a:pt x="115" y="628"/>
                  </a:lnTo>
                  <a:lnTo>
                    <a:pt x="110" y="628"/>
                  </a:lnTo>
                  <a:lnTo>
                    <a:pt x="109" y="628"/>
                  </a:lnTo>
                  <a:lnTo>
                    <a:pt x="110" y="629"/>
                  </a:lnTo>
                  <a:lnTo>
                    <a:pt x="110" y="630"/>
                  </a:lnTo>
                  <a:lnTo>
                    <a:pt x="112" y="629"/>
                  </a:lnTo>
                  <a:lnTo>
                    <a:pt x="115" y="629"/>
                  </a:lnTo>
                  <a:lnTo>
                    <a:pt x="115" y="630"/>
                  </a:lnTo>
                  <a:lnTo>
                    <a:pt x="117" y="630"/>
                  </a:lnTo>
                  <a:lnTo>
                    <a:pt x="118" y="630"/>
                  </a:lnTo>
                  <a:lnTo>
                    <a:pt x="119" y="630"/>
                  </a:lnTo>
                  <a:lnTo>
                    <a:pt x="119" y="631"/>
                  </a:lnTo>
                  <a:lnTo>
                    <a:pt x="119" y="633"/>
                  </a:lnTo>
                  <a:lnTo>
                    <a:pt x="118" y="634"/>
                  </a:lnTo>
                  <a:lnTo>
                    <a:pt x="118" y="636"/>
                  </a:lnTo>
                  <a:lnTo>
                    <a:pt x="119" y="635"/>
                  </a:lnTo>
                  <a:lnTo>
                    <a:pt x="121" y="634"/>
                  </a:lnTo>
                  <a:lnTo>
                    <a:pt x="121" y="633"/>
                  </a:lnTo>
                  <a:lnTo>
                    <a:pt x="123" y="631"/>
                  </a:lnTo>
                  <a:lnTo>
                    <a:pt x="124" y="630"/>
                  </a:lnTo>
                  <a:lnTo>
                    <a:pt x="125" y="630"/>
                  </a:lnTo>
                  <a:lnTo>
                    <a:pt x="125" y="633"/>
                  </a:lnTo>
                  <a:lnTo>
                    <a:pt x="125" y="634"/>
                  </a:lnTo>
                  <a:lnTo>
                    <a:pt x="125" y="635"/>
                  </a:lnTo>
                  <a:lnTo>
                    <a:pt x="127" y="634"/>
                  </a:lnTo>
                  <a:lnTo>
                    <a:pt x="128" y="633"/>
                  </a:lnTo>
                  <a:lnTo>
                    <a:pt x="128" y="631"/>
                  </a:lnTo>
                  <a:lnTo>
                    <a:pt x="129" y="630"/>
                  </a:lnTo>
                  <a:lnTo>
                    <a:pt x="130" y="629"/>
                  </a:lnTo>
                  <a:lnTo>
                    <a:pt x="131" y="629"/>
                  </a:lnTo>
                  <a:lnTo>
                    <a:pt x="131" y="630"/>
                  </a:lnTo>
                  <a:lnTo>
                    <a:pt x="131" y="633"/>
                  </a:lnTo>
                  <a:lnTo>
                    <a:pt x="130" y="634"/>
                  </a:lnTo>
                  <a:lnTo>
                    <a:pt x="131" y="636"/>
                  </a:lnTo>
                  <a:lnTo>
                    <a:pt x="130" y="636"/>
                  </a:lnTo>
                  <a:lnTo>
                    <a:pt x="130" y="638"/>
                  </a:lnTo>
                  <a:lnTo>
                    <a:pt x="130" y="639"/>
                  </a:lnTo>
                  <a:lnTo>
                    <a:pt x="131" y="640"/>
                  </a:lnTo>
                  <a:lnTo>
                    <a:pt x="131" y="641"/>
                  </a:lnTo>
                  <a:lnTo>
                    <a:pt x="131" y="642"/>
                  </a:lnTo>
                  <a:lnTo>
                    <a:pt x="131" y="644"/>
                  </a:lnTo>
                  <a:lnTo>
                    <a:pt x="130" y="645"/>
                  </a:lnTo>
                  <a:lnTo>
                    <a:pt x="129" y="645"/>
                  </a:lnTo>
                  <a:lnTo>
                    <a:pt x="130" y="645"/>
                  </a:lnTo>
                  <a:lnTo>
                    <a:pt x="131" y="645"/>
                  </a:lnTo>
                  <a:lnTo>
                    <a:pt x="131" y="646"/>
                  </a:lnTo>
                  <a:lnTo>
                    <a:pt x="130" y="647"/>
                  </a:lnTo>
                  <a:lnTo>
                    <a:pt x="129" y="647"/>
                  </a:lnTo>
                  <a:lnTo>
                    <a:pt x="129" y="646"/>
                  </a:lnTo>
                  <a:lnTo>
                    <a:pt x="127" y="646"/>
                  </a:lnTo>
                  <a:lnTo>
                    <a:pt x="127" y="647"/>
                  </a:lnTo>
                  <a:lnTo>
                    <a:pt x="124" y="647"/>
                  </a:lnTo>
                  <a:lnTo>
                    <a:pt x="123" y="646"/>
                  </a:lnTo>
                  <a:lnTo>
                    <a:pt x="122" y="646"/>
                  </a:lnTo>
                  <a:lnTo>
                    <a:pt x="119" y="646"/>
                  </a:lnTo>
                  <a:lnTo>
                    <a:pt x="119" y="645"/>
                  </a:lnTo>
                  <a:lnTo>
                    <a:pt x="118" y="645"/>
                  </a:lnTo>
                  <a:lnTo>
                    <a:pt x="117" y="645"/>
                  </a:lnTo>
                  <a:lnTo>
                    <a:pt x="116" y="644"/>
                  </a:lnTo>
                  <a:lnTo>
                    <a:pt x="115" y="644"/>
                  </a:lnTo>
                  <a:lnTo>
                    <a:pt x="113" y="644"/>
                  </a:lnTo>
                  <a:lnTo>
                    <a:pt x="111" y="644"/>
                  </a:lnTo>
                  <a:lnTo>
                    <a:pt x="110" y="644"/>
                  </a:lnTo>
                  <a:lnTo>
                    <a:pt x="109" y="644"/>
                  </a:lnTo>
                  <a:lnTo>
                    <a:pt x="107" y="642"/>
                  </a:lnTo>
                  <a:lnTo>
                    <a:pt x="106" y="642"/>
                  </a:lnTo>
                  <a:lnTo>
                    <a:pt x="105" y="642"/>
                  </a:lnTo>
                  <a:lnTo>
                    <a:pt x="104" y="644"/>
                  </a:lnTo>
                  <a:lnTo>
                    <a:pt x="103" y="644"/>
                  </a:lnTo>
                  <a:lnTo>
                    <a:pt x="100" y="644"/>
                  </a:lnTo>
                  <a:lnTo>
                    <a:pt x="99" y="644"/>
                  </a:lnTo>
                  <a:lnTo>
                    <a:pt x="98" y="644"/>
                  </a:lnTo>
                  <a:lnTo>
                    <a:pt x="95" y="642"/>
                  </a:lnTo>
                  <a:lnTo>
                    <a:pt x="94" y="641"/>
                  </a:lnTo>
                  <a:lnTo>
                    <a:pt x="93" y="640"/>
                  </a:lnTo>
                  <a:lnTo>
                    <a:pt x="92" y="640"/>
                  </a:lnTo>
                  <a:lnTo>
                    <a:pt x="89" y="640"/>
                  </a:lnTo>
                  <a:lnTo>
                    <a:pt x="91" y="641"/>
                  </a:lnTo>
                  <a:lnTo>
                    <a:pt x="92" y="641"/>
                  </a:lnTo>
                  <a:lnTo>
                    <a:pt x="93" y="642"/>
                  </a:lnTo>
                  <a:lnTo>
                    <a:pt x="94" y="642"/>
                  </a:lnTo>
                  <a:lnTo>
                    <a:pt x="95" y="644"/>
                  </a:lnTo>
                  <a:lnTo>
                    <a:pt x="95" y="645"/>
                  </a:lnTo>
                  <a:lnTo>
                    <a:pt x="95" y="646"/>
                  </a:lnTo>
                  <a:lnTo>
                    <a:pt x="94" y="646"/>
                  </a:lnTo>
                  <a:lnTo>
                    <a:pt x="92" y="646"/>
                  </a:lnTo>
                  <a:lnTo>
                    <a:pt x="89" y="646"/>
                  </a:lnTo>
                  <a:lnTo>
                    <a:pt x="88" y="646"/>
                  </a:lnTo>
                  <a:lnTo>
                    <a:pt x="87" y="647"/>
                  </a:lnTo>
                  <a:lnTo>
                    <a:pt x="86" y="647"/>
                  </a:lnTo>
                  <a:lnTo>
                    <a:pt x="86" y="648"/>
                  </a:lnTo>
                  <a:lnTo>
                    <a:pt x="88" y="648"/>
                  </a:lnTo>
                  <a:lnTo>
                    <a:pt x="91" y="648"/>
                  </a:lnTo>
                  <a:lnTo>
                    <a:pt x="91" y="650"/>
                  </a:lnTo>
                  <a:lnTo>
                    <a:pt x="89" y="650"/>
                  </a:lnTo>
                  <a:lnTo>
                    <a:pt x="87" y="651"/>
                  </a:lnTo>
                  <a:lnTo>
                    <a:pt x="86" y="652"/>
                  </a:lnTo>
                  <a:lnTo>
                    <a:pt x="84" y="652"/>
                  </a:lnTo>
                  <a:lnTo>
                    <a:pt x="83" y="652"/>
                  </a:lnTo>
                  <a:lnTo>
                    <a:pt x="83" y="651"/>
                  </a:lnTo>
                  <a:lnTo>
                    <a:pt x="81" y="651"/>
                  </a:lnTo>
                  <a:lnTo>
                    <a:pt x="80" y="651"/>
                  </a:lnTo>
                  <a:lnTo>
                    <a:pt x="78" y="651"/>
                  </a:lnTo>
                  <a:lnTo>
                    <a:pt x="78" y="652"/>
                  </a:lnTo>
                  <a:lnTo>
                    <a:pt x="80" y="652"/>
                  </a:lnTo>
                  <a:lnTo>
                    <a:pt x="81" y="652"/>
                  </a:lnTo>
                  <a:lnTo>
                    <a:pt x="81" y="653"/>
                  </a:lnTo>
                  <a:lnTo>
                    <a:pt x="75" y="653"/>
                  </a:lnTo>
                  <a:lnTo>
                    <a:pt x="75" y="654"/>
                  </a:lnTo>
                  <a:lnTo>
                    <a:pt x="76" y="654"/>
                  </a:lnTo>
                  <a:lnTo>
                    <a:pt x="78" y="654"/>
                  </a:lnTo>
                  <a:lnTo>
                    <a:pt x="80" y="654"/>
                  </a:lnTo>
                  <a:lnTo>
                    <a:pt x="81" y="654"/>
                  </a:lnTo>
                  <a:lnTo>
                    <a:pt x="81" y="656"/>
                  </a:lnTo>
                  <a:lnTo>
                    <a:pt x="81" y="657"/>
                  </a:lnTo>
                  <a:lnTo>
                    <a:pt x="82" y="657"/>
                  </a:lnTo>
                  <a:lnTo>
                    <a:pt x="82" y="656"/>
                  </a:lnTo>
                  <a:lnTo>
                    <a:pt x="83" y="656"/>
                  </a:lnTo>
                  <a:lnTo>
                    <a:pt x="84" y="654"/>
                  </a:lnTo>
                  <a:lnTo>
                    <a:pt x="86" y="654"/>
                  </a:lnTo>
                  <a:lnTo>
                    <a:pt x="86" y="656"/>
                  </a:lnTo>
                  <a:lnTo>
                    <a:pt x="86" y="659"/>
                  </a:lnTo>
                  <a:lnTo>
                    <a:pt x="86" y="663"/>
                  </a:lnTo>
                  <a:lnTo>
                    <a:pt x="86" y="665"/>
                  </a:lnTo>
                  <a:lnTo>
                    <a:pt x="87" y="665"/>
                  </a:lnTo>
                  <a:lnTo>
                    <a:pt x="88" y="663"/>
                  </a:lnTo>
                  <a:lnTo>
                    <a:pt x="88" y="660"/>
                  </a:lnTo>
                  <a:lnTo>
                    <a:pt x="89" y="662"/>
                  </a:lnTo>
                  <a:lnTo>
                    <a:pt x="89" y="663"/>
                  </a:lnTo>
                  <a:lnTo>
                    <a:pt x="89" y="665"/>
                  </a:lnTo>
                  <a:lnTo>
                    <a:pt x="91" y="665"/>
                  </a:lnTo>
                  <a:lnTo>
                    <a:pt x="92" y="664"/>
                  </a:lnTo>
                  <a:lnTo>
                    <a:pt x="92" y="663"/>
                  </a:lnTo>
                  <a:lnTo>
                    <a:pt x="92" y="659"/>
                  </a:lnTo>
                  <a:lnTo>
                    <a:pt x="91" y="656"/>
                  </a:lnTo>
                  <a:lnTo>
                    <a:pt x="91" y="654"/>
                  </a:lnTo>
                  <a:lnTo>
                    <a:pt x="92" y="653"/>
                  </a:lnTo>
                  <a:lnTo>
                    <a:pt x="93" y="652"/>
                  </a:lnTo>
                  <a:lnTo>
                    <a:pt x="95" y="651"/>
                  </a:lnTo>
                  <a:lnTo>
                    <a:pt x="95" y="652"/>
                  </a:lnTo>
                  <a:lnTo>
                    <a:pt x="94" y="653"/>
                  </a:lnTo>
                  <a:lnTo>
                    <a:pt x="94" y="654"/>
                  </a:lnTo>
                  <a:lnTo>
                    <a:pt x="93" y="654"/>
                  </a:lnTo>
                  <a:lnTo>
                    <a:pt x="92" y="656"/>
                  </a:lnTo>
                  <a:lnTo>
                    <a:pt x="92" y="657"/>
                  </a:lnTo>
                  <a:lnTo>
                    <a:pt x="93" y="658"/>
                  </a:lnTo>
                  <a:lnTo>
                    <a:pt x="93" y="659"/>
                  </a:lnTo>
                  <a:lnTo>
                    <a:pt x="93" y="662"/>
                  </a:lnTo>
                  <a:lnTo>
                    <a:pt x="92" y="663"/>
                  </a:lnTo>
                  <a:lnTo>
                    <a:pt x="93" y="665"/>
                  </a:lnTo>
                  <a:lnTo>
                    <a:pt x="93" y="666"/>
                  </a:lnTo>
                  <a:lnTo>
                    <a:pt x="93" y="670"/>
                  </a:lnTo>
                  <a:lnTo>
                    <a:pt x="93" y="671"/>
                  </a:lnTo>
                  <a:lnTo>
                    <a:pt x="94" y="671"/>
                  </a:lnTo>
                  <a:lnTo>
                    <a:pt x="94" y="670"/>
                  </a:lnTo>
                  <a:lnTo>
                    <a:pt x="94" y="658"/>
                  </a:lnTo>
                  <a:lnTo>
                    <a:pt x="95" y="658"/>
                  </a:lnTo>
                  <a:lnTo>
                    <a:pt x="97" y="659"/>
                  </a:lnTo>
                  <a:lnTo>
                    <a:pt x="97" y="662"/>
                  </a:lnTo>
                  <a:lnTo>
                    <a:pt x="97" y="663"/>
                  </a:lnTo>
                  <a:lnTo>
                    <a:pt x="97" y="664"/>
                  </a:lnTo>
                  <a:lnTo>
                    <a:pt x="97" y="665"/>
                  </a:lnTo>
                  <a:lnTo>
                    <a:pt x="97" y="666"/>
                  </a:lnTo>
                  <a:lnTo>
                    <a:pt x="97" y="668"/>
                  </a:lnTo>
                  <a:lnTo>
                    <a:pt x="97" y="669"/>
                  </a:lnTo>
                  <a:lnTo>
                    <a:pt x="97" y="670"/>
                  </a:lnTo>
                  <a:lnTo>
                    <a:pt x="97" y="675"/>
                  </a:lnTo>
                  <a:lnTo>
                    <a:pt x="98" y="676"/>
                  </a:lnTo>
                  <a:lnTo>
                    <a:pt x="99" y="677"/>
                  </a:lnTo>
                  <a:lnTo>
                    <a:pt x="99" y="676"/>
                  </a:lnTo>
                  <a:lnTo>
                    <a:pt x="99" y="675"/>
                  </a:lnTo>
                  <a:lnTo>
                    <a:pt x="99" y="664"/>
                  </a:lnTo>
                  <a:lnTo>
                    <a:pt x="99" y="663"/>
                  </a:lnTo>
                  <a:lnTo>
                    <a:pt x="100" y="663"/>
                  </a:lnTo>
                  <a:lnTo>
                    <a:pt x="101" y="663"/>
                  </a:lnTo>
                  <a:lnTo>
                    <a:pt x="101" y="664"/>
                  </a:lnTo>
                  <a:lnTo>
                    <a:pt x="101" y="666"/>
                  </a:lnTo>
                  <a:lnTo>
                    <a:pt x="103" y="665"/>
                  </a:lnTo>
                  <a:lnTo>
                    <a:pt x="104" y="664"/>
                  </a:lnTo>
                  <a:lnTo>
                    <a:pt x="104" y="663"/>
                  </a:lnTo>
                  <a:lnTo>
                    <a:pt x="105" y="663"/>
                  </a:lnTo>
                  <a:lnTo>
                    <a:pt x="105" y="662"/>
                  </a:lnTo>
                  <a:lnTo>
                    <a:pt x="106" y="662"/>
                  </a:lnTo>
                  <a:lnTo>
                    <a:pt x="107" y="663"/>
                  </a:lnTo>
                  <a:lnTo>
                    <a:pt x="110" y="663"/>
                  </a:lnTo>
                  <a:lnTo>
                    <a:pt x="109" y="663"/>
                  </a:lnTo>
                  <a:lnTo>
                    <a:pt x="109" y="662"/>
                  </a:lnTo>
                  <a:lnTo>
                    <a:pt x="109" y="660"/>
                  </a:lnTo>
                  <a:lnTo>
                    <a:pt x="109" y="659"/>
                  </a:lnTo>
                  <a:lnTo>
                    <a:pt x="109" y="658"/>
                  </a:lnTo>
                  <a:lnTo>
                    <a:pt x="109" y="656"/>
                  </a:lnTo>
                  <a:lnTo>
                    <a:pt x="110" y="656"/>
                  </a:lnTo>
                  <a:lnTo>
                    <a:pt x="110" y="657"/>
                  </a:lnTo>
                  <a:lnTo>
                    <a:pt x="111" y="657"/>
                  </a:lnTo>
                  <a:lnTo>
                    <a:pt x="112" y="657"/>
                  </a:lnTo>
                  <a:lnTo>
                    <a:pt x="112" y="658"/>
                  </a:lnTo>
                  <a:lnTo>
                    <a:pt x="112" y="659"/>
                  </a:lnTo>
                  <a:lnTo>
                    <a:pt x="111" y="662"/>
                  </a:lnTo>
                  <a:lnTo>
                    <a:pt x="111" y="664"/>
                  </a:lnTo>
                  <a:lnTo>
                    <a:pt x="111" y="665"/>
                  </a:lnTo>
                  <a:lnTo>
                    <a:pt x="109" y="665"/>
                  </a:lnTo>
                  <a:lnTo>
                    <a:pt x="109" y="666"/>
                  </a:lnTo>
                  <a:lnTo>
                    <a:pt x="110" y="666"/>
                  </a:lnTo>
                  <a:lnTo>
                    <a:pt x="111" y="666"/>
                  </a:lnTo>
                  <a:lnTo>
                    <a:pt x="111" y="668"/>
                  </a:lnTo>
                  <a:lnTo>
                    <a:pt x="111" y="669"/>
                  </a:lnTo>
                  <a:lnTo>
                    <a:pt x="112" y="669"/>
                  </a:lnTo>
                  <a:lnTo>
                    <a:pt x="112" y="670"/>
                  </a:lnTo>
                  <a:lnTo>
                    <a:pt x="111" y="671"/>
                  </a:lnTo>
                  <a:lnTo>
                    <a:pt x="112" y="671"/>
                  </a:lnTo>
                  <a:lnTo>
                    <a:pt x="112" y="672"/>
                  </a:lnTo>
                  <a:lnTo>
                    <a:pt x="113" y="672"/>
                  </a:lnTo>
                  <a:lnTo>
                    <a:pt x="113" y="671"/>
                  </a:lnTo>
                  <a:lnTo>
                    <a:pt x="113" y="669"/>
                  </a:lnTo>
                  <a:lnTo>
                    <a:pt x="115" y="669"/>
                  </a:lnTo>
                  <a:lnTo>
                    <a:pt x="116" y="669"/>
                  </a:lnTo>
                  <a:lnTo>
                    <a:pt x="116" y="671"/>
                  </a:lnTo>
                  <a:lnTo>
                    <a:pt x="116" y="672"/>
                  </a:lnTo>
                  <a:lnTo>
                    <a:pt x="115" y="674"/>
                  </a:lnTo>
                  <a:lnTo>
                    <a:pt x="113" y="675"/>
                  </a:lnTo>
                  <a:lnTo>
                    <a:pt x="113" y="676"/>
                  </a:lnTo>
                  <a:lnTo>
                    <a:pt x="113" y="677"/>
                  </a:lnTo>
                  <a:lnTo>
                    <a:pt x="113" y="678"/>
                  </a:lnTo>
                  <a:lnTo>
                    <a:pt x="113" y="681"/>
                  </a:lnTo>
                  <a:lnTo>
                    <a:pt x="115" y="682"/>
                  </a:lnTo>
                  <a:lnTo>
                    <a:pt x="113" y="682"/>
                  </a:lnTo>
                  <a:lnTo>
                    <a:pt x="112" y="682"/>
                  </a:lnTo>
                  <a:lnTo>
                    <a:pt x="111" y="683"/>
                  </a:lnTo>
                  <a:lnTo>
                    <a:pt x="110" y="684"/>
                  </a:lnTo>
                  <a:lnTo>
                    <a:pt x="109" y="686"/>
                  </a:lnTo>
                  <a:lnTo>
                    <a:pt x="107" y="687"/>
                  </a:lnTo>
                  <a:lnTo>
                    <a:pt x="106" y="688"/>
                  </a:lnTo>
                  <a:lnTo>
                    <a:pt x="105" y="688"/>
                  </a:lnTo>
                  <a:lnTo>
                    <a:pt x="105" y="689"/>
                  </a:lnTo>
                  <a:lnTo>
                    <a:pt x="104" y="690"/>
                  </a:lnTo>
                  <a:lnTo>
                    <a:pt x="104" y="692"/>
                  </a:lnTo>
                  <a:lnTo>
                    <a:pt x="101" y="693"/>
                  </a:lnTo>
                  <a:lnTo>
                    <a:pt x="99" y="693"/>
                  </a:lnTo>
                  <a:lnTo>
                    <a:pt x="97" y="693"/>
                  </a:lnTo>
                  <a:lnTo>
                    <a:pt x="95" y="693"/>
                  </a:lnTo>
                  <a:lnTo>
                    <a:pt x="94" y="695"/>
                  </a:lnTo>
                  <a:lnTo>
                    <a:pt x="93" y="695"/>
                  </a:lnTo>
                  <a:lnTo>
                    <a:pt x="92" y="695"/>
                  </a:lnTo>
                  <a:lnTo>
                    <a:pt x="89" y="694"/>
                  </a:lnTo>
                  <a:lnTo>
                    <a:pt x="88" y="694"/>
                  </a:lnTo>
                  <a:lnTo>
                    <a:pt x="87" y="693"/>
                  </a:lnTo>
                  <a:lnTo>
                    <a:pt x="84" y="693"/>
                  </a:lnTo>
                  <a:lnTo>
                    <a:pt x="84" y="694"/>
                  </a:lnTo>
                  <a:lnTo>
                    <a:pt x="87" y="694"/>
                  </a:lnTo>
                  <a:lnTo>
                    <a:pt x="88" y="694"/>
                  </a:lnTo>
                  <a:lnTo>
                    <a:pt x="87" y="695"/>
                  </a:lnTo>
                  <a:lnTo>
                    <a:pt x="86" y="695"/>
                  </a:lnTo>
                  <a:lnTo>
                    <a:pt x="84" y="696"/>
                  </a:lnTo>
                  <a:lnTo>
                    <a:pt x="83" y="698"/>
                  </a:lnTo>
                  <a:lnTo>
                    <a:pt x="82" y="698"/>
                  </a:lnTo>
                  <a:lnTo>
                    <a:pt x="83" y="698"/>
                  </a:lnTo>
                  <a:lnTo>
                    <a:pt x="86" y="698"/>
                  </a:lnTo>
                  <a:lnTo>
                    <a:pt x="88" y="698"/>
                  </a:lnTo>
                  <a:lnTo>
                    <a:pt x="88" y="699"/>
                  </a:lnTo>
                  <a:lnTo>
                    <a:pt x="87" y="700"/>
                  </a:lnTo>
                  <a:lnTo>
                    <a:pt x="87" y="701"/>
                  </a:lnTo>
                  <a:lnTo>
                    <a:pt x="88" y="701"/>
                  </a:lnTo>
                  <a:lnTo>
                    <a:pt x="89" y="700"/>
                  </a:lnTo>
                  <a:lnTo>
                    <a:pt x="89" y="699"/>
                  </a:lnTo>
                  <a:lnTo>
                    <a:pt x="92" y="699"/>
                  </a:lnTo>
                  <a:lnTo>
                    <a:pt x="92" y="700"/>
                  </a:lnTo>
                  <a:lnTo>
                    <a:pt x="92" y="702"/>
                  </a:lnTo>
                  <a:lnTo>
                    <a:pt x="93" y="702"/>
                  </a:lnTo>
                  <a:lnTo>
                    <a:pt x="93" y="701"/>
                  </a:lnTo>
                  <a:lnTo>
                    <a:pt x="93" y="700"/>
                  </a:lnTo>
                  <a:lnTo>
                    <a:pt x="94" y="699"/>
                  </a:lnTo>
                  <a:lnTo>
                    <a:pt x="94" y="696"/>
                  </a:lnTo>
                  <a:lnTo>
                    <a:pt x="95" y="696"/>
                  </a:lnTo>
                  <a:lnTo>
                    <a:pt x="95" y="698"/>
                  </a:lnTo>
                  <a:lnTo>
                    <a:pt x="95" y="699"/>
                  </a:lnTo>
                  <a:lnTo>
                    <a:pt x="95" y="700"/>
                  </a:lnTo>
                  <a:lnTo>
                    <a:pt x="95" y="702"/>
                  </a:lnTo>
                  <a:lnTo>
                    <a:pt x="95" y="704"/>
                  </a:lnTo>
                  <a:lnTo>
                    <a:pt x="95" y="706"/>
                  </a:lnTo>
                  <a:lnTo>
                    <a:pt x="94" y="707"/>
                  </a:lnTo>
                  <a:lnTo>
                    <a:pt x="92" y="707"/>
                  </a:lnTo>
                  <a:lnTo>
                    <a:pt x="88" y="707"/>
                  </a:lnTo>
                  <a:lnTo>
                    <a:pt x="86" y="706"/>
                  </a:lnTo>
                  <a:lnTo>
                    <a:pt x="84" y="705"/>
                  </a:lnTo>
                  <a:lnTo>
                    <a:pt x="83" y="706"/>
                  </a:lnTo>
                  <a:lnTo>
                    <a:pt x="82" y="705"/>
                  </a:lnTo>
                  <a:lnTo>
                    <a:pt x="82" y="704"/>
                  </a:lnTo>
                  <a:lnTo>
                    <a:pt x="81" y="704"/>
                  </a:lnTo>
                  <a:lnTo>
                    <a:pt x="81" y="705"/>
                  </a:lnTo>
                  <a:lnTo>
                    <a:pt x="80" y="705"/>
                  </a:lnTo>
                  <a:lnTo>
                    <a:pt x="80" y="704"/>
                  </a:lnTo>
                  <a:lnTo>
                    <a:pt x="78" y="702"/>
                  </a:lnTo>
                  <a:lnTo>
                    <a:pt x="77" y="702"/>
                  </a:lnTo>
                  <a:lnTo>
                    <a:pt x="77" y="704"/>
                  </a:lnTo>
                  <a:lnTo>
                    <a:pt x="77" y="705"/>
                  </a:lnTo>
                  <a:lnTo>
                    <a:pt x="75" y="704"/>
                  </a:lnTo>
                  <a:lnTo>
                    <a:pt x="72" y="704"/>
                  </a:lnTo>
                  <a:lnTo>
                    <a:pt x="71" y="704"/>
                  </a:lnTo>
                  <a:lnTo>
                    <a:pt x="72" y="705"/>
                  </a:lnTo>
                  <a:lnTo>
                    <a:pt x="74" y="705"/>
                  </a:lnTo>
                  <a:lnTo>
                    <a:pt x="75" y="706"/>
                  </a:lnTo>
                  <a:lnTo>
                    <a:pt x="75" y="707"/>
                  </a:lnTo>
                  <a:lnTo>
                    <a:pt x="75" y="708"/>
                  </a:lnTo>
                  <a:lnTo>
                    <a:pt x="76" y="708"/>
                  </a:lnTo>
                  <a:lnTo>
                    <a:pt x="77" y="708"/>
                  </a:lnTo>
                  <a:lnTo>
                    <a:pt x="78" y="708"/>
                  </a:lnTo>
                  <a:lnTo>
                    <a:pt x="78" y="707"/>
                  </a:lnTo>
                  <a:lnTo>
                    <a:pt x="80" y="707"/>
                  </a:lnTo>
                  <a:lnTo>
                    <a:pt x="81" y="707"/>
                  </a:lnTo>
                  <a:lnTo>
                    <a:pt x="81" y="708"/>
                  </a:lnTo>
                  <a:lnTo>
                    <a:pt x="80" y="708"/>
                  </a:lnTo>
                  <a:lnTo>
                    <a:pt x="80" y="710"/>
                  </a:lnTo>
                  <a:lnTo>
                    <a:pt x="81" y="710"/>
                  </a:lnTo>
                  <a:lnTo>
                    <a:pt x="82" y="710"/>
                  </a:lnTo>
                  <a:lnTo>
                    <a:pt x="81" y="711"/>
                  </a:lnTo>
                  <a:lnTo>
                    <a:pt x="81" y="713"/>
                  </a:lnTo>
                  <a:lnTo>
                    <a:pt x="82" y="713"/>
                  </a:lnTo>
                  <a:lnTo>
                    <a:pt x="82" y="712"/>
                  </a:lnTo>
                  <a:lnTo>
                    <a:pt x="82" y="711"/>
                  </a:lnTo>
                  <a:lnTo>
                    <a:pt x="83" y="711"/>
                  </a:lnTo>
                  <a:lnTo>
                    <a:pt x="82" y="710"/>
                  </a:lnTo>
                  <a:lnTo>
                    <a:pt x="83" y="708"/>
                  </a:lnTo>
                  <a:lnTo>
                    <a:pt x="84" y="708"/>
                  </a:lnTo>
                  <a:lnTo>
                    <a:pt x="87" y="708"/>
                  </a:lnTo>
                  <a:lnTo>
                    <a:pt x="84" y="710"/>
                  </a:lnTo>
                  <a:lnTo>
                    <a:pt x="84" y="711"/>
                  </a:lnTo>
                  <a:lnTo>
                    <a:pt x="83" y="712"/>
                  </a:lnTo>
                  <a:lnTo>
                    <a:pt x="84" y="713"/>
                  </a:lnTo>
                  <a:lnTo>
                    <a:pt x="86" y="713"/>
                  </a:lnTo>
                  <a:lnTo>
                    <a:pt x="86" y="712"/>
                  </a:lnTo>
                  <a:lnTo>
                    <a:pt x="86" y="711"/>
                  </a:lnTo>
                  <a:lnTo>
                    <a:pt x="87" y="711"/>
                  </a:lnTo>
                  <a:lnTo>
                    <a:pt x="87" y="710"/>
                  </a:lnTo>
                  <a:lnTo>
                    <a:pt x="88" y="710"/>
                  </a:lnTo>
                  <a:lnTo>
                    <a:pt x="89" y="708"/>
                  </a:lnTo>
                  <a:lnTo>
                    <a:pt x="91" y="710"/>
                  </a:lnTo>
                  <a:lnTo>
                    <a:pt x="89" y="710"/>
                  </a:lnTo>
                  <a:lnTo>
                    <a:pt x="89" y="711"/>
                  </a:lnTo>
                  <a:lnTo>
                    <a:pt x="88" y="713"/>
                  </a:lnTo>
                  <a:lnTo>
                    <a:pt x="88" y="714"/>
                  </a:lnTo>
                  <a:lnTo>
                    <a:pt x="88" y="716"/>
                  </a:lnTo>
                  <a:lnTo>
                    <a:pt x="87" y="717"/>
                  </a:lnTo>
                  <a:lnTo>
                    <a:pt x="87" y="718"/>
                  </a:lnTo>
                  <a:lnTo>
                    <a:pt x="87" y="719"/>
                  </a:lnTo>
                  <a:lnTo>
                    <a:pt x="86" y="719"/>
                  </a:lnTo>
                  <a:lnTo>
                    <a:pt x="84" y="718"/>
                  </a:lnTo>
                  <a:lnTo>
                    <a:pt x="83" y="717"/>
                  </a:lnTo>
                  <a:lnTo>
                    <a:pt x="83" y="718"/>
                  </a:lnTo>
                  <a:lnTo>
                    <a:pt x="83" y="719"/>
                  </a:lnTo>
                  <a:lnTo>
                    <a:pt x="84" y="719"/>
                  </a:lnTo>
                  <a:lnTo>
                    <a:pt x="86" y="720"/>
                  </a:lnTo>
                  <a:lnTo>
                    <a:pt x="84" y="720"/>
                  </a:lnTo>
                  <a:lnTo>
                    <a:pt x="84" y="722"/>
                  </a:lnTo>
                  <a:lnTo>
                    <a:pt x="82" y="722"/>
                  </a:lnTo>
                  <a:lnTo>
                    <a:pt x="80" y="723"/>
                  </a:lnTo>
                  <a:lnTo>
                    <a:pt x="77" y="723"/>
                  </a:lnTo>
                  <a:lnTo>
                    <a:pt x="76" y="724"/>
                  </a:lnTo>
                  <a:lnTo>
                    <a:pt x="77" y="725"/>
                  </a:lnTo>
                  <a:lnTo>
                    <a:pt x="78" y="725"/>
                  </a:lnTo>
                  <a:lnTo>
                    <a:pt x="80" y="725"/>
                  </a:lnTo>
                  <a:lnTo>
                    <a:pt x="81" y="725"/>
                  </a:lnTo>
                  <a:lnTo>
                    <a:pt x="82" y="724"/>
                  </a:lnTo>
                  <a:lnTo>
                    <a:pt x="84" y="724"/>
                  </a:lnTo>
                  <a:lnTo>
                    <a:pt x="84" y="725"/>
                  </a:lnTo>
                  <a:lnTo>
                    <a:pt x="83" y="725"/>
                  </a:lnTo>
                  <a:lnTo>
                    <a:pt x="82" y="725"/>
                  </a:lnTo>
                  <a:lnTo>
                    <a:pt x="81" y="728"/>
                  </a:lnTo>
                  <a:lnTo>
                    <a:pt x="80" y="729"/>
                  </a:lnTo>
                  <a:lnTo>
                    <a:pt x="81" y="729"/>
                  </a:lnTo>
                  <a:lnTo>
                    <a:pt x="82" y="729"/>
                  </a:lnTo>
                  <a:lnTo>
                    <a:pt x="83" y="728"/>
                  </a:lnTo>
                  <a:lnTo>
                    <a:pt x="83" y="729"/>
                  </a:lnTo>
                  <a:lnTo>
                    <a:pt x="83" y="731"/>
                  </a:lnTo>
                  <a:lnTo>
                    <a:pt x="83" y="734"/>
                  </a:lnTo>
                  <a:lnTo>
                    <a:pt x="84" y="732"/>
                  </a:lnTo>
                  <a:lnTo>
                    <a:pt x="86" y="731"/>
                  </a:lnTo>
                  <a:lnTo>
                    <a:pt x="86" y="730"/>
                  </a:lnTo>
                  <a:lnTo>
                    <a:pt x="86" y="729"/>
                  </a:lnTo>
                  <a:lnTo>
                    <a:pt x="87" y="728"/>
                  </a:lnTo>
                  <a:lnTo>
                    <a:pt x="87" y="726"/>
                  </a:lnTo>
                  <a:lnTo>
                    <a:pt x="88" y="726"/>
                  </a:lnTo>
                  <a:lnTo>
                    <a:pt x="88" y="728"/>
                  </a:lnTo>
                  <a:lnTo>
                    <a:pt x="88" y="729"/>
                  </a:lnTo>
                  <a:lnTo>
                    <a:pt x="88" y="731"/>
                  </a:lnTo>
                  <a:lnTo>
                    <a:pt x="88" y="730"/>
                  </a:lnTo>
                  <a:lnTo>
                    <a:pt x="89" y="730"/>
                  </a:lnTo>
                  <a:lnTo>
                    <a:pt x="91" y="730"/>
                  </a:lnTo>
                  <a:lnTo>
                    <a:pt x="91" y="731"/>
                  </a:lnTo>
                  <a:lnTo>
                    <a:pt x="91" y="741"/>
                  </a:lnTo>
                  <a:lnTo>
                    <a:pt x="91" y="742"/>
                  </a:lnTo>
                  <a:lnTo>
                    <a:pt x="92" y="743"/>
                  </a:lnTo>
                  <a:lnTo>
                    <a:pt x="93" y="742"/>
                  </a:lnTo>
                  <a:lnTo>
                    <a:pt x="93" y="740"/>
                  </a:lnTo>
                  <a:lnTo>
                    <a:pt x="93" y="737"/>
                  </a:lnTo>
                  <a:lnTo>
                    <a:pt x="94" y="737"/>
                  </a:lnTo>
                  <a:lnTo>
                    <a:pt x="94" y="740"/>
                  </a:lnTo>
                  <a:lnTo>
                    <a:pt x="94" y="741"/>
                  </a:lnTo>
                  <a:lnTo>
                    <a:pt x="95" y="740"/>
                  </a:lnTo>
                  <a:lnTo>
                    <a:pt x="95" y="738"/>
                  </a:lnTo>
                  <a:lnTo>
                    <a:pt x="97" y="737"/>
                  </a:lnTo>
                  <a:lnTo>
                    <a:pt x="97" y="736"/>
                  </a:lnTo>
                  <a:lnTo>
                    <a:pt x="98" y="735"/>
                  </a:lnTo>
                  <a:lnTo>
                    <a:pt x="98" y="734"/>
                  </a:lnTo>
                  <a:lnTo>
                    <a:pt x="99" y="734"/>
                  </a:lnTo>
                  <a:lnTo>
                    <a:pt x="100" y="735"/>
                  </a:lnTo>
                  <a:lnTo>
                    <a:pt x="101" y="735"/>
                  </a:lnTo>
                  <a:lnTo>
                    <a:pt x="103" y="734"/>
                  </a:lnTo>
                  <a:lnTo>
                    <a:pt x="104" y="734"/>
                  </a:lnTo>
                  <a:lnTo>
                    <a:pt x="104" y="737"/>
                  </a:lnTo>
                  <a:lnTo>
                    <a:pt x="105" y="738"/>
                  </a:lnTo>
                  <a:lnTo>
                    <a:pt x="105" y="740"/>
                  </a:lnTo>
                  <a:lnTo>
                    <a:pt x="104" y="741"/>
                  </a:lnTo>
                  <a:lnTo>
                    <a:pt x="104" y="742"/>
                  </a:lnTo>
                  <a:lnTo>
                    <a:pt x="104" y="743"/>
                  </a:lnTo>
                  <a:lnTo>
                    <a:pt x="103" y="745"/>
                  </a:lnTo>
                  <a:lnTo>
                    <a:pt x="103" y="746"/>
                  </a:lnTo>
                  <a:lnTo>
                    <a:pt x="103" y="747"/>
                  </a:lnTo>
                  <a:lnTo>
                    <a:pt x="104" y="747"/>
                  </a:lnTo>
                  <a:lnTo>
                    <a:pt x="104" y="746"/>
                  </a:lnTo>
                  <a:lnTo>
                    <a:pt x="105" y="746"/>
                  </a:lnTo>
                  <a:lnTo>
                    <a:pt x="105" y="745"/>
                  </a:lnTo>
                  <a:lnTo>
                    <a:pt x="105" y="743"/>
                  </a:lnTo>
                  <a:lnTo>
                    <a:pt x="106" y="743"/>
                  </a:lnTo>
                  <a:lnTo>
                    <a:pt x="106" y="746"/>
                  </a:lnTo>
                  <a:lnTo>
                    <a:pt x="106" y="747"/>
                  </a:lnTo>
                  <a:lnTo>
                    <a:pt x="107" y="747"/>
                  </a:lnTo>
                  <a:lnTo>
                    <a:pt x="109" y="745"/>
                  </a:lnTo>
                  <a:lnTo>
                    <a:pt x="109" y="743"/>
                  </a:lnTo>
                  <a:lnTo>
                    <a:pt x="110" y="742"/>
                  </a:lnTo>
                  <a:lnTo>
                    <a:pt x="110" y="743"/>
                  </a:lnTo>
                  <a:lnTo>
                    <a:pt x="111" y="742"/>
                  </a:lnTo>
                  <a:lnTo>
                    <a:pt x="111" y="740"/>
                  </a:lnTo>
                  <a:lnTo>
                    <a:pt x="112" y="738"/>
                  </a:lnTo>
                  <a:lnTo>
                    <a:pt x="112" y="740"/>
                  </a:lnTo>
                  <a:lnTo>
                    <a:pt x="112" y="741"/>
                  </a:lnTo>
                  <a:lnTo>
                    <a:pt x="113" y="741"/>
                  </a:lnTo>
                  <a:lnTo>
                    <a:pt x="115" y="740"/>
                  </a:lnTo>
                  <a:lnTo>
                    <a:pt x="115" y="741"/>
                  </a:lnTo>
                  <a:lnTo>
                    <a:pt x="115" y="742"/>
                  </a:lnTo>
                  <a:lnTo>
                    <a:pt x="116" y="743"/>
                  </a:lnTo>
                  <a:lnTo>
                    <a:pt x="117" y="743"/>
                  </a:lnTo>
                  <a:lnTo>
                    <a:pt x="117" y="745"/>
                  </a:lnTo>
                  <a:lnTo>
                    <a:pt x="117" y="746"/>
                  </a:lnTo>
                  <a:lnTo>
                    <a:pt x="119" y="746"/>
                  </a:lnTo>
                  <a:lnTo>
                    <a:pt x="119" y="745"/>
                  </a:lnTo>
                  <a:lnTo>
                    <a:pt x="119" y="741"/>
                  </a:lnTo>
                  <a:lnTo>
                    <a:pt x="121" y="741"/>
                  </a:lnTo>
                  <a:lnTo>
                    <a:pt x="122" y="742"/>
                  </a:lnTo>
                  <a:lnTo>
                    <a:pt x="123" y="742"/>
                  </a:lnTo>
                  <a:lnTo>
                    <a:pt x="123" y="743"/>
                  </a:lnTo>
                  <a:lnTo>
                    <a:pt x="123" y="745"/>
                  </a:lnTo>
                  <a:lnTo>
                    <a:pt x="122" y="747"/>
                  </a:lnTo>
                  <a:lnTo>
                    <a:pt x="121" y="748"/>
                  </a:lnTo>
                  <a:lnTo>
                    <a:pt x="121" y="749"/>
                  </a:lnTo>
                  <a:lnTo>
                    <a:pt x="121" y="751"/>
                  </a:lnTo>
                  <a:lnTo>
                    <a:pt x="122" y="749"/>
                  </a:lnTo>
                  <a:lnTo>
                    <a:pt x="123" y="748"/>
                  </a:lnTo>
                  <a:lnTo>
                    <a:pt x="124" y="748"/>
                  </a:lnTo>
                  <a:lnTo>
                    <a:pt x="125" y="748"/>
                  </a:lnTo>
                  <a:lnTo>
                    <a:pt x="127" y="749"/>
                  </a:lnTo>
                  <a:lnTo>
                    <a:pt x="128" y="752"/>
                  </a:lnTo>
                  <a:lnTo>
                    <a:pt x="129" y="753"/>
                  </a:lnTo>
                  <a:lnTo>
                    <a:pt x="130" y="754"/>
                  </a:lnTo>
                  <a:lnTo>
                    <a:pt x="129" y="757"/>
                  </a:lnTo>
                  <a:lnTo>
                    <a:pt x="128" y="758"/>
                  </a:lnTo>
                  <a:lnTo>
                    <a:pt x="127" y="758"/>
                  </a:lnTo>
                  <a:lnTo>
                    <a:pt x="125" y="759"/>
                  </a:lnTo>
                  <a:lnTo>
                    <a:pt x="124" y="759"/>
                  </a:lnTo>
                  <a:lnTo>
                    <a:pt x="123" y="758"/>
                  </a:lnTo>
                  <a:lnTo>
                    <a:pt x="122" y="759"/>
                  </a:lnTo>
                  <a:lnTo>
                    <a:pt x="119" y="759"/>
                  </a:lnTo>
                  <a:lnTo>
                    <a:pt x="118" y="759"/>
                  </a:lnTo>
                  <a:lnTo>
                    <a:pt x="116" y="758"/>
                  </a:lnTo>
                  <a:lnTo>
                    <a:pt x="116" y="757"/>
                  </a:lnTo>
                  <a:lnTo>
                    <a:pt x="115" y="757"/>
                  </a:lnTo>
                  <a:lnTo>
                    <a:pt x="113" y="757"/>
                  </a:lnTo>
                  <a:lnTo>
                    <a:pt x="112" y="757"/>
                  </a:lnTo>
                  <a:lnTo>
                    <a:pt x="111" y="757"/>
                  </a:lnTo>
                  <a:lnTo>
                    <a:pt x="107" y="757"/>
                  </a:lnTo>
                  <a:lnTo>
                    <a:pt x="105" y="755"/>
                  </a:lnTo>
                  <a:lnTo>
                    <a:pt x="104" y="755"/>
                  </a:lnTo>
                  <a:lnTo>
                    <a:pt x="104" y="757"/>
                  </a:lnTo>
                  <a:lnTo>
                    <a:pt x="105" y="757"/>
                  </a:lnTo>
                  <a:lnTo>
                    <a:pt x="106" y="758"/>
                  </a:lnTo>
                  <a:lnTo>
                    <a:pt x="107" y="758"/>
                  </a:lnTo>
                  <a:lnTo>
                    <a:pt x="109" y="759"/>
                  </a:lnTo>
                  <a:lnTo>
                    <a:pt x="107" y="761"/>
                  </a:lnTo>
                  <a:lnTo>
                    <a:pt x="107" y="763"/>
                  </a:lnTo>
                  <a:lnTo>
                    <a:pt x="109" y="763"/>
                  </a:lnTo>
                  <a:lnTo>
                    <a:pt x="109" y="761"/>
                  </a:lnTo>
                  <a:lnTo>
                    <a:pt x="110" y="761"/>
                  </a:lnTo>
                  <a:lnTo>
                    <a:pt x="111" y="760"/>
                  </a:lnTo>
                  <a:lnTo>
                    <a:pt x="112" y="760"/>
                  </a:lnTo>
                  <a:lnTo>
                    <a:pt x="113" y="760"/>
                  </a:lnTo>
                  <a:lnTo>
                    <a:pt x="116" y="760"/>
                  </a:lnTo>
                  <a:lnTo>
                    <a:pt x="116" y="761"/>
                  </a:lnTo>
                  <a:lnTo>
                    <a:pt x="115" y="763"/>
                  </a:lnTo>
                  <a:lnTo>
                    <a:pt x="115" y="764"/>
                  </a:lnTo>
                  <a:lnTo>
                    <a:pt x="115" y="765"/>
                  </a:lnTo>
                  <a:lnTo>
                    <a:pt x="115" y="766"/>
                  </a:lnTo>
                  <a:lnTo>
                    <a:pt x="116" y="765"/>
                  </a:lnTo>
                  <a:lnTo>
                    <a:pt x="117" y="764"/>
                  </a:lnTo>
                  <a:lnTo>
                    <a:pt x="117" y="761"/>
                  </a:lnTo>
                  <a:lnTo>
                    <a:pt x="118" y="761"/>
                  </a:lnTo>
                  <a:lnTo>
                    <a:pt x="118" y="760"/>
                  </a:lnTo>
                  <a:lnTo>
                    <a:pt x="121" y="760"/>
                  </a:lnTo>
                  <a:lnTo>
                    <a:pt x="122" y="760"/>
                  </a:lnTo>
                  <a:lnTo>
                    <a:pt x="121" y="763"/>
                  </a:lnTo>
                  <a:lnTo>
                    <a:pt x="119" y="765"/>
                  </a:lnTo>
                  <a:lnTo>
                    <a:pt x="119" y="767"/>
                  </a:lnTo>
                  <a:lnTo>
                    <a:pt x="119" y="770"/>
                  </a:lnTo>
                  <a:lnTo>
                    <a:pt x="121" y="771"/>
                  </a:lnTo>
                  <a:lnTo>
                    <a:pt x="119" y="772"/>
                  </a:lnTo>
                  <a:lnTo>
                    <a:pt x="119" y="773"/>
                  </a:lnTo>
                  <a:lnTo>
                    <a:pt x="119" y="775"/>
                  </a:lnTo>
                  <a:lnTo>
                    <a:pt x="121" y="776"/>
                  </a:lnTo>
                  <a:lnTo>
                    <a:pt x="121" y="777"/>
                  </a:lnTo>
                  <a:lnTo>
                    <a:pt x="122" y="778"/>
                  </a:lnTo>
                  <a:lnTo>
                    <a:pt x="123" y="777"/>
                  </a:lnTo>
                  <a:lnTo>
                    <a:pt x="124" y="776"/>
                  </a:lnTo>
                  <a:lnTo>
                    <a:pt x="124" y="773"/>
                  </a:lnTo>
                  <a:lnTo>
                    <a:pt x="124" y="771"/>
                  </a:lnTo>
                  <a:lnTo>
                    <a:pt x="124" y="767"/>
                  </a:lnTo>
                  <a:lnTo>
                    <a:pt x="124" y="766"/>
                  </a:lnTo>
                  <a:lnTo>
                    <a:pt x="125" y="765"/>
                  </a:lnTo>
                  <a:lnTo>
                    <a:pt x="125" y="764"/>
                  </a:lnTo>
                  <a:lnTo>
                    <a:pt x="127" y="761"/>
                  </a:lnTo>
                  <a:lnTo>
                    <a:pt x="127" y="760"/>
                  </a:lnTo>
                  <a:lnTo>
                    <a:pt x="127" y="761"/>
                  </a:lnTo>
                  <a:lnTo>
                    <a:pt x="127" y="764"/>
                  </a:lnTo>
                  <a:lnTo>
                    <a:pt x="125" y="765"/>
                  </a:lnTo>
                  <a:lnTo>
                    <a:pt x="128" y="764"/>
                  </a:lnTo>
                  <a:lnTo>
                    <a:pt x="128" y="763"/>
                  </a:lnTo>
                  <a:lnTo>
                    <a:pt x="128" y="764"/>
                  </a:lnTo>
                  <a:lnTo>
                    <a:pt x="129" y="766"/>
                  </a:lnTo>
                  <a:lnTo>
                    <a:pt x="128" y="769"/>
                  </a:lnTo>
                  <a:lnTo>
                    <a:pt x="128" y="771"/>
                  </a:lnTo>
                  <a:lnTo>
                    <a:pt x="128" y="772"/>
                  </a:lnTo>
                  <a:lnTo>
                    <a:pt x="128" y="773"/>
                  </a:lnTo>
                  <a:lnTo>
                    <a:pt x="128" y="776"/>
                  </a:lnTo>
                  <a:lnTo>
                    <a:pt x="129" y="777"/>
                  </a:lnTo>
                  <a:lnTo>
                    <a:pt x="130" y="777"/>
                  </a:lnTo>
                  <a:lnTo>
                    <a:pt x="130" y="775"/>
                  </a:lnTo>
                  <a:lnTo>
                    <a:pt x="130" y="771"/>
                  </a:lnTo>
                  <a:lnTo>
                    <a:pt x="130" y="767"/>
                  </a:lnTo>
                  <a:lnTo>
                    <a:pt x="130" y="765"/>
                  </a:lnTo>
                  <a:lnTo>
                    <a:pt x="130" y="763"/>
                  </a:lnTo>
                  <a:lnTo>
                    <a:pt x="131" y="761"/>
                  </a:lnTo>
                  <a:lnTo>
                    <a:pt x="133" y="760"/>
                  </a:lnTo>
                  <a:lnTo>
                    <a:pt x="131" y="763"/>
                  </a:lnTo>
                  <a:lnTo>
                    <a:pt x="131" y="765"/>
                  </a:lnTo>
                  <a:lnTo>
                    <a:pt x="131" y="767"/>
                  </a:lnTo>
                  <a:lnTo>
                    <a:pt x="131" y="770"/>
                  </a:lnTo>
                  <a:lnTo>
                    <a:pt x="131" y="771"/>
                  </a:lnTo>
                  <a:lnTo>
                    <a:pt x="133" y="772"/>
                  </a:lnTo>
                  <a:lnTo>
                    <a:pt x="134" y="771"/>
                  </a:lnTo>
                  <a:lnTo>
                    <a:pt x="134" y="773"/>
                  </a:lnTo>
                  <a:lnTo>
                    <a:pt x="134" y="775"/>
                  </a:lnTo>
                  <a:lnTo>
                    <a:pt x="134" y="777"/>
                  </a:lnTo>
                  <a:lnTo>
                    <a:pt x="134" y="779"/>
                  </a:lnTo>
                  <a:lnTo>
                    <a:pt x="134" y="781"/>
                  </a:lnTo>
                  <a:lnTo>
                    <a:pt x="135" y="781"/>
                  </a:lnTo>
                  <a:lnTo>
                    <a:pt x="135" y="779"/>
                  </a:lnTo>
                  <a:lnTo>
                    <a:pt x="136" y="777"/>
                  </a:lnTo>
                  <a:lnTo>
                    <a:pt x="136" y="776"/>
                  </a:lnTo>
                  <a:lnTo>
                    <a:pt x="137" y="776"/>
                  </a:lnTo>
                  <a:lnTo>
                    <a:pt x="137" y="775"/>
                  </a:lnTo>
                  <a:lnTo>
                    <a:pt x="139" y="775"/>
                  </a:lnTo>
                  <a:lnTo>
                    <a:pt x="139" y="776"/>
                  </a:lnTo>
                  <a:lnTo>
                    <a:pt x="139" y="777"/>
                  </a:lnTo>
                  <a:lnTo>
                    <a:pt x="137" y="778"/>
                  </a:lnTo>
                  <a:lnTo>
                    <a:pt x="139" y="779"/>
                  </a:lnTo>
                  <a:lnTo>
                    <a:pt x="139" y="781"/>
                  </a:lnTo>
                  <a:lnTo>
                    <a:pt x="140" y="782"/>
                  </a:lnTo>
                  <a:lnTo>
                    <a:pt x="140" y="781"/>
                  </a:lnTo>
                  <a:lnTo>
                    <a:pt x="141" y="778"/>
                  </a:lnTo>
                  <a:lnTo>
                    <a:pt x="141" y="776"/>
                  </a:lnTo>
                  <a:lnTo>
                    <a:pt x="141" y="775"/>
                  </a:lnTo>
                  <a:lnTo>
                    <a:pt x="142" y="775"/>
                  </a:lnTo>
                  <a:lnTo>
                    <a:pt x="142" y="773"/>
                  </a:lnTo>
                  <a:lnTo>
                    <a:pt x="143" y="773"/>
                  </a:lnTo>
                  <a:lnTo>
                    <a:pt x="145" y="773"/>
                  </a:lnTo>
                  <a:lnTo>
                    <a:pt x="145" y="772"/>
                  </a:lnTo>
                  <a:lnTo>
                    <a:pt x="146" y="773"/>
                  </a:lnTo>
                  <a:lnTo>
                    <a:pt x="145" y="777"/>
                  </a:lnTo>
                  <a:lnTo>
                    <a:pt x="145" y="779"/>
                  </a:lnTo>
                  <a:lnTo>
                    <a:pt x="146" y="781"/>
                  </a:lnTo>
                  <a:lnTo>
                    <a:pt x="147" y="781"/>
                  </a:lnTo>
                  <a:lnTo>
                    <a:pt x="147" y="779"/>
                  </a:lnTo>
                  <a:lnTo>
                    <a:pt x="147" y="777"/>
                  </a:lnTo>
                  <a:lnTo>
                    <a:pt x="148" y="776"/>
                  </a:lnTo>
                  <a:lnTo>
                    <a:pt x="148" y="777"/>
                  </a:lnTo>
                  <a:lnTo>
                    <a:pt x="150" y="778"/>
                  </a:lnTo>
                  <a:lnTo>
                    <a:pt x="151" y="779"/>
                  </a:lnTo>
                  <a:lnTo>
                    <a:pt x="151" y="781"/>
                  </a:lnTo>
                  <a:lnTo>
                    <a:pt x="151" y="782"/>
                  </a:lnTo>
                  <a:lnTo>
                    <a:pt x="151" y="783"/>
                  </a:lnTo>
                  <a:lnTo>
                    <a:pt x="150" y="784"/>
                  </a:lnTo>
                  <a:lnTo>
                    <a:pt x="148" y="787"/>
                  </a:lnTo>
                  <a:lnTo>
                    <a:pt x="148" y="788"/>
                  </a:lnTo>
                  <a:lnTo>
                    <a:pt x="148" y="789"/>
                  </a:lnTo>
                  <a:lnTo>
                    <a:pt x="148" y="790"/>
                  </a:lnTo>
                  <a:lnTo>
                    <a:pt x="148" y="791"/>
                  </a:lnTo>
                  <a:lnTo>
                    <a:pt x="150" y="793"/>
                  </a:lnTo>
                  <a:lnTo>
                    <a:pt x="150" y="794"/>
                  </a:lnTo>
                  <a:lnTo>
                    <a:pt x="152" y="794"/>
                  </a:lnTo>
                  <a:lnTo>
                    <a:pt x="151" y="791"/>
                  </a:lnTo>
                  <a:lnTo>
                    <a:pt x="152" y="789"/>
                  </a:lnTo>
                  <a:lnTo>
                    <a:pt x="152" y="787"/>
                  </a:lnTo>
                  <a:lnTo>
                    <a:pt x="153" y="784"/>
                  </a:lnTo>
                  <a:lnTo>
                    <a:pt x="154" y="783"/>
                  </a:lnTo>
                  <a:lnTo>
                    <a:pt x="157" y="783"/>
                  </a:lnTo>
                  <a:lnTo>
                    <a:pt x="157" y="784"/>
                  </a:lnTo>
                  <a:lnTo>
                    <a:pt x="157" y="787"/>
                  </a:lnTo>
                  <a:lnTo>
                    <a:pt x="157" y="788"/>
                  </a:lnTo>
                  <a:lnTo>
                    <a:pt x="157" y="790"/>
                  </a:lnTo>
                  <a:lnTo>
                    <a:pt x="158" y="793"/>
                  </a:lnTo>
                  <a:lnTo>
                    <a:pt x="159" y="794"/>
                  </a:lnTo>
                  <a:lnTo>
                    <a:pt x="159" y="793"/>
                  </a:lnTo>
                  <a:lnTo>
                    <a:pt x="159" y="790"/>
                  </a:lnTo>
                  <a:lnTo>
                    <a:pt x="159" y="788"/>
                  </a:lnTo>
                  <a:lnTo>
                    <a:pt x="159" y="787"/>
                  </a:lnTo>
                  <a:lnTo>
                    <a:pt x="162" y="788"/>
                  </a:lnTo>
                  <a:lnTo>
                    <a:pt x="162" y="785"/>
                  </a:lnTo>
                  <a:lnTo>
                    <a:pt x="163" y="784"/>
                  </a:lnTo>
                  <a:lnTo>
                    <a:pt x="164" y="783"/>
                  </a:lnTo>
                  <a:lnTo>
                    <a:pt x="164" y="781"/>
                  </a:lnTo>
                  <a:lnTo>
                    <a:pt x="164" y="778"/>
                  </a:lnTo>
                  <a:lnTo>
                    <a:pt x="165" y="775"/>
                  </a:lnTo>
                  <a:lnTo>
                    <a:pt x="166" y="775"/>
                  </a:lnTo>
                  <a:lnTo>
                    <a:pt x="166" y="776"/>
                  </a:lnTo>
                  <a:lnTo>
                    <a:pt x="166" y="778"/>
                  </a:lnTo>
                  <a:lnTo>
                    <a:pt x="165" y="782"/>
                  </a:lnTo>
                  <a:lnTo>
                    <a:pt x="164" y="784"/>
                  </a:lnTo>
                  <a:lnTo>
                    <a:pt x="164" y="785"/>
                  </a:lnTo>
                  <a:lnTo>
                    <a:pt x="165" y="785"/>
                  </a:lnTo>
                  <a:lnTo>
                    <a:pt x="166" y="783"/>
                  </a:lnTo>
                  <a:lnTo>
                    <a:pt x="166" y="782"/>
                  </a:lnTo>
                  <a:lnTo>
                    <a:pt x="166" y="785"/>
                  </a:lnTo>
                  <a:lnTo>
                    <a:pt x="166" y="787"/>
                  </a:lnTo>
                  <a:lnTo>
                    <a:pt x="166" y="789"/>
                  </a:lnTo>
                  <a:lnTo>
                    <a:pt x="166" y="791"/>
                  </a:lnTo>
                  <a:lnTo>
                    <a:pt x="165" y="793"/>
                  </a:lnTo>
                  <a:lnTo>
                    <a:pt x="165" y="794"/>
                  </a:lnTo>
                  <a:lnTo>
                    <a:pt x="165" y="795"/>
                  </a:lnTo>
                  <a:lnTo>
                    <a:pt x="165" y="796"/>
                  </a:lnTo>
                  <a:lnTo>
                    <a:pt x="166" y="797"/>
                  </a:lnTo>
                  <a:lnTo>
                    <a:pt x="166" y="796"/>
                  </a:lnTo>
                  <a:lnTo>
                    <a:pt x="166" y="795"/>
                  </a:lnTo>
                  <a:lnTo>
                    <a:pt x="168" y="794"/>
                  </a:lnTo>
                  <a:lnTo>
                    <a:pt x="169" y="794"/>
                  </a:lnTo>
                  <a:lnTo>
                    <a:pt x="169" y="795"/>
                  </a:lnTo>
                  <a:lnTo>
                    <a:pt x="170" y="796"/>
                  </a:lnTo>
                  <a:lnTo>
                    <a:pt x="170" y="797"/>
                  </a:lnTo>
                  <a:lnTo>
                    <a:pt x="171" y="799"/>
                  </a:lnTo>
                  <a:lnTo>
                    <a:pt x="172" y="799"/>
                  </a:lnTo>
                  <a:lnTo>
                    <a:pt x="172" y="796"/>
                  </a:lnTo>
                  <a:lnTo>
                    <a:pt x="174" y="795"/>
                  </a:lnTo>
                  <a:lnTo>
                    <a:pt x="174" y="794"/>
                  </a:lnTo>
                  <a:lnTo>
                    <a:pt x="174" y="793"/>
                  </a:lnTo>
                  <a:lnTo>
                    <a:pt x="175" y="791"/>
                  </a:lnTo>
                  <a:lnTo>
                    <a:pt x="176" y="793"/>
                  </a:lnTo>
                  <a:lnTo>
                    <a:pt x="176" y="795"/>
                  </a:lnTo>
                  <a:lnTo>
                    <a:pt x="176" y="801"/>
                  </a:lnTo>
                  <a:lnTo>
                    <a:pt x="177" y="800"/>
                  </a:lnTo>
                  <a:lnTo>
                    <a:pt x="177" y="799"/>
                  </a:lnTo>
                  <a:lnTo>
                    <a:pt x="177" y="795"/>
                  </a:lnTo>
                  <a:lnTo>
                    <a:pt x="178" y="794"/>
                  </a:lnTo>
                  <a:lnTo>
                    <a:pt x="178" y="793"/>
                  </a:lnTo>
                  <a:lnTo>
                    <a:pt x="178" y="790"/>
                  </a:lnTo>
                  <a:lnTo>
                    <a:pt x="180" y="791"/>
                  </a:lnTo>
                  <a:lnTo>
                    <a:pt x="180" y="793"/>
                  </a:lnTo>
                  <a:lnTo>
                    <a:pt x="181" y="793"/>
                  </a:lnTo>
                  <a:lnTo>
                    <a:pt x="181" y="790"/>
                  </a:lnTo>
                  <a:lnTo>
                    <a:pt x="182" y="789"/>
                  </a:lnTo>
                  <a:lnTo>
                    <a:pt x="181" y="787"/>
                  </a:lnTo>
                  <a:lnTo>
                    <a:pt x="182" y="785"/>
                  </a:lnTo>
                  <a:lnTo>
                    <a:pt x="183" y="788"/>
                  </a:lnTo>
                  <a:lnTo>
                    <a:pt x="184" y="788"/>
                  </a:lnTo>
                  <a:lnTo>
                    <a:pt x="184" y="789"/>
                  </a:lnTo>
                  <a:lnTo>
                    <a:pt x="184" y="790"/>
                  </a:lnTo>
                  <a:lnTo>
                    <a:pt x="183" y="791"/>
                  </a:lnTo>
                  <a:lnTo>
                    <a:pt x="182" y="794"/>
                  </a:lnTo>
                  <a:lnTo>
                    <a:pt x="183" y="794"/>
                  </a:lnTo>
                  <a:lnTo>
                    <a:pt x="184" y="793"/>
                  </a:lnTo>
                  <a:lnTo>
                    <a:pt x="184" y="791"/>
                  </a:lnTo>
                  <a:lnTo>
                    <a:pt x="184" y="794"/>
                  </a:lnTo>
                  <a:lnTo>
                    <a:pt x="184" y="796"/>
                  </a:lnTo>
                  <a:lnTo>
                    <a:pt x="186" y="796"/>
                  </a:lnTo>
                  <a:lnTo>
                    <a:pt x="186" y="793"/>
                  </a:lnTo>
                  <a:lnTo>
                    <a:pt x="187" y="790"/>
                  </a:lnTo>
                  <a:lnTo>
                    <a:pt x="188" y="790"/>
                  </a:lnTo>
                  <a:lnTo>
                    <a:pt x="188" y="789"/>
                  </a:lnTo>
                  <a:lnTo>
                    <a:pt x="187" y="788"/>
                  </a:lnTo>
                  <a:lnTo>
                    <a:pt x="187" y="785"/>
                  </a:lnTo>
                  <a:lnTo>
                    <a:pt x="187" y="784"/>
                  </a:lnTo>
                  <a:lnTo>
                    <a:pt x="189" y="783"/>
                  </a:lnTo>
                  <a:lnTo>
                    <a:pt x="188" y="785"/>
                  </a:lnTo>
                  <a:lnTo>
                    <a:pt x="187" y="787"/>
                  </a:lnTo>
                  <a:lnTo>
                    <a:pt x="188" y="788"/>
                  </a:lnTo>
                  <a:lnTo>
                    <a:pt x="188" y="787"/>
                  </a:lnTo>
                  <a:lnTo>
                    <a:pt x="188" y="788"/>
                  </a:lnTo>
                  <a:lnTo>
                    <a:pt x="188" y="790"/>
                  </a:lnTo>
                  <a:lnTo>
                    <a:pt x="188" y="791"/>
                  </a:lnTo>
                  <a:lnTo>
                    <a:pt x="188" y="793"/>
                  </a:lnTo>
                  <a:lnTo>
                    <a:pt x="189" y="794"/>
                  </a:lnTo>
                  <a:lnTo>
                    <a:pt x="190" y="794"/>
                  </a:lnTo>
                  <a:lnTo>
                    <a:pt x="190" y="791"/>
                  </a:lnTo>
                  <a:lnTo>
                    <a:pt x="190" y="790"/>
                  </a:lnTo>
                  <a:lnTo>
                    <a:pt x="189" y="789"/>
                  </a:lnTo>
                  <a:lnTo>
                    <a:pt x="189" y="788"/>
                  </a:lnTo>
                  <a:lnTo>
                    <a:pt x="190" y="787"/>
                  </a:lnTo>
                  <a:lnTo>
                    <a:pt x="190" y="785"/>
                  </a:lnTo>
                  <a:lnTo>
                    <a:pt x="192" y="784"/>
                  </a:lnTo>
                  <a:lnTo>
                    <a:pt x="192" y="783"/>
                  </a:lnTo>
                  <a:lnTo>
                    <a:pt x="192" y="781"/>
                  </a:lnTo>
                  <a:lnTo>
                    <a:pt x="192" y="779"/>
                  </a:lnTo>
                  <a:lnTo>
                    <a:pt x="193" y="778"/>
                  </a:lnTo>
                  <a:lnTo>
                    <a:pt x="193" y="777"/>
                  </a:lnTo>
                  <a:lnTo>
                    <a:pt x="194" y="776"/>
                  </a:lnTo>
                  <a:lnTo>
                    <a:pt x="194" y="775"/>
                  </a:lnTo>
                  <a:lnTo>
                    <a:pt x="195" y="775"/>
                  </a:lnTo>
                  <a:lnTo>
                    <a:pt x="195" y="776"/>
                  </a:lnTo>
                  <a:lnTo>
                    <a:pt x="194" y="778"/>
                  </a:lnTo>
                  <a:lnTo>
                    <a:pt x="193" y="779"/>
                  </a:lnTo>
                  <a:lnTo>
                    <a:pt x="193" y="781"/>
                  </a:lnTo>
                  <a:lnTo>
                    <a:pt x="194" y="781"/>
                  </a:lnTo>
                  <a:lnTo>
                    <a:pt x="193" y="782"/>
                  </a:lnTo>
                  <a:lnTo>
                    <a:pt x="193" y="783"/>
                  </a:lnTo>
                  <a:lnTo>
                    <a:pt x="194" y="783"/>
                  </a:lnTo>
                  <a:lnTo>
                    <a:pt x="194" y="784"/>
                  </a:lnTo>
                  <a:lnTo>
                    <a:pt x="193" y="785"/>
                  </a:lnTo>
                  <a:lnTo>
                    <a:pt x="192" y="785"/>
                  </a:lnTo>
                  <a:lnTo>
                    <a:pt x="192" y="787"/>
                  </a:lnTo>
                  <a:lnTo>
                    <a:pt x="192" y="788"/>
                  </a:lnTo>
                  <a:lnTo>
                    <a:pt x="190" y="788"/>
                  </a:lnTo>
                  <a:lnTo>
                    <a:pt x="189" y="789"/>
                  </a:lnTo>
                  <a:lnTo>
                    <a:pt x="190" y="789"/>
                  </a:lnTo>
                  <a:lnTo>
                    <a:pt x="190" y="790"/>
                  </a:lnTo>
                  <a:lnTo>
                    <a:pt x="193" y="790"/>
                  </a:lnTo>
                  <a:lnTo>
                    <a:pt x="193" y="788"/>
                  </a:lnTo>
                  <a:lnTo>
                    <a:pt x="194" y="787"/>
                  </a:lnTo>
                  <a:lnTo>
                    <a:pt x="194" y="785"/>
                  </a:lnTo>
                  <a:lnTo>
                    <a:pt x="195" y="787"/>
                  </a:lnTo>
                  <a:lnTo>
                    <a:pt x="196" y="788"/>
                  </a:lnTo>
                  <a:lnTo>
                    <a:pt x="195" y="789"/>
                  </a:lnTo>
                  <a:lnTo>
                    <a:pt x="194" y="790"/>
                  </a:lnTo>
                  <a:lnTo>
                    <a:pt x="194" y="791"/>
                  </a:lnTo>
                  <a:lnTo>
                    <a:pt x="195" y="791"/>
                  </a:lnTo>
                  <a:lnTo>
                    <a:pt x="196" y="790"/>
                  </a:lnTo>
                  <a:lnTo>
                    <a:pt x="196" y="791"/>
                  </a:lnTo>
                  <a:lnTo>
                    <a:pt x="196" y="793"/>
                  </a:lnTo>
                  <a:lnTo>
                    <a:pt x="195" y="795"/>
                  </a:lnTo>
                  <a:lnTo>
                    <a:pt x="195" y="796"/>
                  </a:lnTo>
                  <a:lnTo>
                    <a:pt x="196" y="796"/>
                  </a:lnTo>
                  <a:lnTo>
                    <a:pt x="198" y="795"/>
                  </a:lnTo>
                  <a:lnTo>
                    <a:pt x="198" y="796"/>
                  </a:lnTo>
                  <a:lnTo>
                    <a:pt x="198" y="799"/>
                  </a:lnTo>
                  <a:lnTo>
                    <a:pt x="196" y="801"/>
                  </a:lnTo>
                  <a:lnTo>
                    <a:pt x="196" y="805"/>
                  </a:lnTo>
                  <a:lnTo>
                    <a:pt x="196" y="808"/>
                  </a:lnTo>
                  <a:lnTo>
                    <a:pt x="196" y="807"/>
                  </a:lnTo>
                  <a:lnTo>
                    <a:pt x="198" y="805"/>
                  </a:lnTo>
                  <a:lnTo>
                    <a:pt x="198" y="802"/>
                  </a:lnTo>
                  <a:lnTo>
                    <a:pt x="199" y="800"/>
                  </a:lnTo>
                  <a:lnTo>
                    <a:pt x="200" y="800"/>
                  </a:lnTo>
                  <a:lnTo>
                    <a:pt x="201" y="801"/>
                  </a:lnTo>
                  <a:lnTo>
                    <a:pt x="201" y="802"/>
                  </a:lnTo>
                  <a:lnTo>
                    <a:pt x="200" y="803"/>
                  </a:lnTo>
                  <a:lnTo>
                    <a:pt x="200" y="806"/>
                  </a:lnTo>
                  <a:lnTo>
                    <a:pt x="201" y="805"/>
                  </a:lnTo>
                  <a:lnTo>
                    <a:pt x="201" y="807"/>
                  </a:lnTo>
                  <a:lnTo>
                    <a:pt x="202" y="809"/>
                  </a:lnTo>
                  <a:lnTo>
                    <a:pt x="204" y="809"/>
                  </a:lnTo>
                  <a:lnTo>
                    <a:pt x="202" y="806"/>
                  </a:lnTo>
                  <a:lnTo>
                    <a:pt x="204" y="803"/>
                  </a:lnTo>
                  <a:lnTo>
                    <a:pt x="205" y="801"/>
                  </a:lnTo>
                  <a:lnTo>
                    <a:pt x="205" y="799"/>
                  </a:lnTo>
                  <a:lnTo>
                    <a:pt x="206" y="796"/>
                  </a:lnTo>
                  <a:lnTo>
                    <a:pt x="206" y="793"/>
                  </a:lnTo>
                  <a:lnTo>
                    <a:pt x="206" y="790"/>
                  </a:lnTo>
                  <a:lnTo>
                    <a:pt x="207" y="787"/>
                  </a:lnTo>
                  <a:lnTo>
                    <a:pt x="209" y="787"/>
                  </a:lnTo>
                  <a:lnTo>
                    <a:pt x="210" y="788"/>
                  </a:lnTo>
                  <a:lnTo>
                    <a:pt x="211" y="790"/>
                  </a:lnTo>
                  <a:lnTo>
                    <a:pt x="211" y="795"/>
                  </a:lnTo>
                  <a:lnTo>
                    <a:pt x="211" y="799"/>
                  </a:lnTo>
                  <a:lnTo>
                    <a:pt x="211" y="802"/>
                  </a:lnTo>
                  <a:lnTo>
                    <a:pt x="210" y="805"/>
                  </a:lnTo>
                  <a:lnTo>
                    <a:pt x="209" y="807"/>
                  </a:lnTo>
                  <a:lnTo>
                    <a:pt x="210" y="808"/>
                  </a:lnTo>
                  <a:lnTo>
                    <a:pt x="211" y="807"/>
                  </a:lnTo>
                  <a:lnTo>
                    <a:pt x="212" y="805"/>
                  </a:lnTo>
                  <a:lnTo>
                    <a:pt x="212" y="801"/>
                  </a:lnTo>
                  <a:lnTo>
                    <a:pt x="213" y="799"/>
                  </a:lnTo>
                  <a:lnTo>
                    <a:pt x="213" y="795"/>
                  </a:lnTo>
                  <a:lnTo>
                    <a:pt x="215" y="795"/>
                  </a:lnTo>
                  <a:lnTo>
                    <a:pt x="215" y="797"/>
                  </a:lnTo>
                  <a:lnTo>
                    <a:pt x="216" y="797"/>
                  </a:lnTo>
                  <a:lnTo>
                    <a:pt x="217" y="797"/>
                  </a:lnTo>
                  <a:lnTo>
                    <a:pt x="217" y="800"/>
                  </a:lnTo>
                  <a:lnTo>
                    <a:pt x="217" y="802"/>
                  </a:lnTo>
                  <a:lnTo>
                    <a:pt x="215" y="808"/>
                  </a:lnTo>
                  <a:lnTo>
                    <a:pt x="215" y="811"/>
                  </a:lnTo>
                  <a:lnTo>
                    <a:pt x="216" y="813"/>
                  </a:lnTo>
                  <a:lnTo>
                    <a:pt x="217" y="812"/>
                  </a:lnTo>
                  <a:lnTo>
                    <a:pt x="217" y="811"/>
                  </a:lnTo>
                  <a:lnTo>
                    <a:pt x="218" y="809"/>
                  </a:lnTo>
                  <a:lnTo>
                    <a:pt x="218" y="812"/>
                  </a:lnTo>
                  <a:lnTo>
                    <a:pt x="219" y="812"/>
                  </a:lnTo>
                  <a:lnTo>
                    <a:pt x="221" y="809"/>
                  </a:lnTo>
                  <a:lnTo>
                    <a:pt x="221" y="807"/>
                  </a:lnTo>
                  <a:lnTo>
                    <a:pt x="221" y="805"/>
                  </a:lnTo>
                  <a:lnTo>
                    <a:pt x="219" y="799"/>
                  </a:lnTo>
                  <a:lnTo>
                    <a:pt x="219" y="795"/>
                  </a:lnTo>
                  <a:lnTo>
                    <a:pt x="221" y="794"/>
                  </a:lnTo>
                  <a:lnTo>
                    <a:pt x="219" y="790"/>
                  </a:lnTo>
                  <a:lnTo>
                    <a:pt x="219" y="787"/>
                  </a:lnTo>
                  <a:lnTo>
                    <a:pt x="221" y="783"/>
                  </a:lnTo>
                  <a:lnTo>
                    <a:pt x="223" y="781"/>
                  </a:lnTo>
                  <a:lnTo>
                    <a:pt x="224" y="777"/>
                  </a:lnTo>
                  <a:lnTo>
                    <a:pt x="224" y="781"/>
                  </a:lnTo>
                  <a:lnTo>
                    <a:pt x="225" y="784"/>
                  </a:lnTo>
                  <a:lnTo>
                    <a:pt x="228" y="783"/>
                  </a:lnTo>
                  <a:lnTo>
                    <a:pt x="229" y="787"/>
                  </a:lnTo>
                  <a:lnTo>
                    <a:pt x="230" y="791"/>
                  </a:lnTo>
                  <a:lnTo>
                    <a:pt x="231" y="789"/>
                  </a:lnTo>
                  <a:lnTo>
                    <a:pt x="231" y="784"/>
                  </a:lnTo>
                  <a:lnTo>
                    <a:pt x="233" y="778"/>
                  </a:lnTo>
                  <a:lnTo>
                    <a:pt x="231" y="772"/>
                  </a:lnTo>
                  <a:lnTo>
                    <a:pt x="233" y="770"/>
                  </a:lnTo>
                  <a:lnTo>
                    <a:pt x="233" y="779"/>
                  </a:lnTo>
                  <a:lnTo>
                    <a:pt x="235" y="781"/>
                  </a:lnTo>
                  <a:lnTo>
                    <a:pt x="236" y="776"/>
                  </a:lnTo>
                  <a:lnTo>
                    <a:pt x="237" y="776"/>
                  </a:lnTo>
                  <a:lnTo>
                    <a:pt x="237" y="772"/>
                  </a:lnTo>
                  <a:lnTo>
                    <a:pt x="237" y="769"/>
                  </a:lnTo>
                  <a:lnTo>
                    <a:pt x="239" y="767"/>
                  </a:lnTo>
                  <a:lnTo>
                    <a:pt x="240" y="772"/>
                  </a:lnTo>
                  <a:lnTo>
                    <a:pt x="240" y="776"/>
                  </a:lnTo>
                  <a:lnTo>
                    <a:pt x="240" y="771"/>
                  </a:lnTo>
                  <a:lnTo>
                    <a:pt x="241" y="767"/>
                  </a:lnTo>
                  <a:lnTo>
                    <a:pt x="242" y="763"/>
                  </a:lnTo>
                  <a:lnTo>
                    <a:pt x="242" y="760"/>
                  </a:lnTo>
                  <a:lnTo>
                    <a:pt x="243" y="758"/>
                  </a:lnTo>
                  <a:lnTo>
                    <a:pt x="247" y="758"/>
                  </a:lnTo>
                  <a:lnTo>
                    <a:pt x="248" y="760"/>
                  </a:lnTo>
                  <a:lnTo>
                    <a:pt x="247" y="761"/>
                  </a:lnTo>
                  <a:lnTo>
                    <a:pt x="242" y="766"/>
                  </a:lnTo>
                  <a:lnTo>
                    <a:pt x="242" y="767"/>
                  </a:lnTo>
                  <a:lnTo>
                    <a:pt x="242" y="771"/>
                  </a:lnTo>
                  <a:lnTo>
                    <a:pt x="242" y="773"/>
                  </a:lnTo>
                  <a:lnTo>
                    <a:pt x="242" y="776"/>
                  </a:lnTo>
                  <a:lnTo>
                    <a:pt x="243" y="777"/>
                  </a:lnTo>
                  <a:lnTo>
                    <a:pt x="247" y="777"/>
                  </a:lnTo>
                  <a:lnTo>
                    <a:pt x="247" y="778"/>
                  </a:lnTo>
                  <a:lnTo>
                    <a:pt x="247" y="782"/>
                  </a:lnTo>
                  <a:lnTo>
                    <a:pt x="247" y="783"/>
                  </a:lnTo>
                  <a:lnTo>
                    <a:pt x="243" y="783"/>
                  </a:lnTo>
                  <a:lnTo>
                    <a:pt x="242" y="784"/>
                  </a:lnTo>
                  <a:lnTo>
                    <a:pt x="241" y="781"/>
                  </a:lnTo>
                  <a:lnTo>
                    <a:pt x="240" y="782"/>
                  </a:lnTo>
                  <a:lnTo>
                    <a:pt x="239" y="784"/>
                  </a:lnTo>
                  <a:lnTo>
                    <a:pt x="237" y="785"/>
                  </a:lnTo>
                  <a:lnTo>
                    <a:pt x="235" y="787"/>
                  </a:lnTo>
                  <a:lnTo>
                    <a:pt x="234" y="789"/>
                  </a:lnTo>
                  <a:lnTo>
                    <a:pt x="235" y="789"/>
                  </a:lnTo>
                  <a:lnTo>
                    <a:pt x="236" y="789"/>
                  </a:lnTo>
                  <a:lnTo>
                    <a:pt x="239" y="789"/>
                  </a:lnTo>
                  <a:lnTo>
                    <a:pt x="241" y="789"/>
                  </a:lnTo>
                  <a:lnTo>
                    <a:pt x="241" y="790"/>
                  </a:lnTo>
                  <a:lnTo>
                    <a:pt x="240" y="795"/>
                  </a:lnTo>
                  <a:lnTo>
                    <a:pt x="240" y="800"/>
                  </a:lnTo>
                  <a:lnTo>
                    <a:pt x="240" y="802"/>
                  </a:lnTo>
                  <a:lnTo>
                    <a:pt x="239" y="806"/>
                  </a:lnTo>
                  <a:lnTo>
                    <a:pt x="237" y="808"/>
                  </a:lnTo>
                  <a:lnTo>
                    <a:pt x="234" y="811"/>
                  </a:lnTo>
                  <a:lnTo>
                    <a:pt x="231" y="813"/>
                  </a:lnTo>
                  <a:lnTo>
                    <a:pt x="229" y="812"/>
                  </a:lnTo>
                  <a:lnTo>
                    <a:pt x="225" y="813"/>
                  </a:lnTo>
                  <a:lnTo>
                    <a:pt x="224" y="814"/>
                  </a:lnTo>
                  <a:lnTo>
                    <a:pt x="221" y="814"/>
                  </a:lnTo>
                  <a:lnTo>
                    <a:pt x="215" y="815"/>
                  </a:lnTo>
                  <a:lnTo>
                    <a:pt x="209" y="817"/>
                  </a:lnTo>
                  <a:lnTo>
                    <a:pt x="205" y="818"/>
                  </a:lnTo>
                  <a:lnTo>
                    <a:pt x="201" y="819"/>
                  </a:lnTo>
                  <a:lnTo>
                    <a:pt x="194" y="821"/>
                  </a:lnTo>
                  <a:lnTo>
                    <a:pt x="189" y="821"/>
                  </a:lnTo>
                  <a:lnTo>
                    <a:pt x="188" y="823"/>
                  </a:lnTo>
                  <a:lnTo>
                    <a:pt x="189" y="824"/>
                  </a:lnTo>
                  <a:lnTo>
                    <a:pt x="192" y="823"/>
                  </a:lnTo>
                  <a:lnTo>
                    <a:pt x="195" y="823"/>
                  </a:lnTo>
                  <a:lnTo>
                    <a:pt x="195" y="824"/>
                  </a:lnTo>
                  <a:lnTo>
                    <a:pt x="194" y="825"/>
                  </a:lnTo>
                  <a:lnTo>
                    <a:pt x="195" y="826"/>
                  </a:lnTo>
                  <a:lnTo>
                    <a:pt x="195" y="825"/>
                  </a:lnTo>
                  <a:lnTo>
                    <a:pt x="198" y="823"/>
                  </a:lnTo>
                  <a:lnTo>
                    <a:pt x="200" y="821"/>
                  </a:lnTo>
                  <a:lnTo>
                    <a:pt x="201" y="821"/>
                  </a:lnTo>
                  <a:lnTo>
                    <a:pt x="200" y="825"/>
                  </a:lnTo>
                  <a:lnTo>
                    <a:pt x="198" y="826"/>
                  </a:lnTo>
                  <a:lnTo>
                    <a:pt x="199" y="826"/>
                  </a:lnTo>
                  <a:lnTo>
                    <a:pt x="201" y="826"/>
                  </a:lnTo>
                  <a:lnTo>
                    <a:pt x="204" y="825"/>
                  </a:lnTo>
                  <a:lnTo>
                    <a:pt x="205" y="824"/>
                  </a:lnTo>
                  <a:lnTo>
                    <a:pt x="205" y="827"/>
                  </a:lnTo>
                  <a:lnTo>
                    <a:pt x="206" y="827"/>
                  </a:lnTo>
                  <a:lnTo>
                    <a:pt x="209" y="826"/>
                  </a:lnTo>
                  <a:lnTo>
                    <a:pt x="210" y="826"/>
                  </a:lnTo>
                  <a:lnTo>
                    <a:pt x="212" y="826"/>
                  </a:lnTo>
                  <a:lnTo>
                    <a:pt x="211" y="827"/>
                  </a:lnTo>
                  <a:lnTo>
                    <a:pt x="209" y="829"/>
                  </a:lnTo>
                  <a:lnTo>
                    <a:pt x="205" y="829"/>
                  </a:lnTo>
                  <a:lnTo>
                    <a:pt x="201" y="829"/>
                  </a:lnTo>
                  <a:lnTo>
                    <a:pt x="199" y="830"/>
                  </a:lnTo>
                  <a:lnTo>
                    <a:pt x="194" y="831"/>
                  </a:lnTo>
                  <a:lnTo>
                    <a:pt x="193" y="832"/>
                  </a:lnTo>
                  <a:lnTo>
                    <a:pt x="190" y="832"/>
                  </a:lnTo>
                  <a:lnTo>
                    <a:pt x="187" y="830"/>
                  </a:lnTo>
                  <a:lnTo>
                    <a:pt x="184" y="830"/>
                  </a:lnTo>
                  <a:lnTo>
                    <a:pt x="184" y="832"/>
                  </a:lnTo>
                  <a:lnTo>
                    <a:pt x="183" y="832"/>
                  </a:lnTo>
                  <a:lnTo>
                    <a:pt x="183" y="833"/>
                  </a:lnTo>
                  <a:lnTo>
                    <a:pt x="188" y="835"/>
                  </a:lnTo>
                  <a:lnTo>
                    <a:pt x="184" y="836"/>
                  </a:lnTo>
                  <a:lnTo>
                    <a:pt x="182" y="837"/>
                  </a:lnTo>
                  <a:lnTo>
                    <a:pt x="180" y="836"/>
                  </a:lnTo>
                  <a:lnTo>
                    <a:pt x="176" y="836"/>
                  </a:lnTo>
                  <a:lnTo>
                    <a:pt x="172" y="833"/>
                  </a:lnTo>
                  <a:lnTo>
                    <a:pt x="169" y="832"/>
                  </a:lnTo>
                  <a:lnTo>
                    <a:pt x="164" y="833"/>
                  </a:lnTo>
                  <a:lnTo>
                    <a:pt x="165" y="835"/>
                  </a:lnTo>
                  <a:lnTo>
                    <a:pt x="163" y="833"/>
                  </a:lnTo>
                  <a:lnTo>
                    <a:pt x="160" y="832"/>
                  </a:lnTo>
                  <a:lnTo>
                    <a:pt x="157" y="831"/>
                  </a:lnTo>
                  <a:lnTo>
                    <a:pt x="153" y="830"/>
                  </a:lnTo>
                  <a:lnTo>
                    <a:pt x="151" y="827"/>
                  </a:lnTo>
                  <a:lnTo>
                    <a:pt x="150" y="827"/>
                  </a:lnTo>
                  <a:lnTo>
                    <a:pt x="151" y="829"/>
                  </a:lnTo>
                  <a:lnTo>
                    <a:pt x="152" y="830"/>
                  </a:lnTo>
                  <a:lnTo>
                    <a:pt x="150" y="830"/>
                  </a:lnTo>
                  <a:lnTo>
                    <a:pt x="148" y="829"/>
                  </a:lnTo>
                  <a:lnTo>
                    <a:pt x="147" y="827"/>
                  </a:lnTo>
                  <a:lnTo>
                    <a:pt x="145" y="826"/>
                  </a:lnTo>
                  <a:lnTo>
                    <a:pt x="142" y="826"/>
                  </a:lnTo>
                  <a:lnTo>
                    <a:pt x="141" y="826"/>
                  </a:lnTo>
                  <a:lnTo>
                    <a:pt x="139" y="825"/>
                  </a:lnTo>
                  <a:lnTo>
                    <a:pt x="136" y="824"/>
                  </a:lnTo>
                  <a:lnTo>
                    <a:pt x="135" y="825"/>
                  </a:lnTo>
                  <a:lnTo>
                    <a:pt x="134" y="824"/>
                  </a:lnTo>
                  <a:lnTo>
                    <a:pt x="135" y="821"/>
                  </a:lnTo>
                  <a:lnTo>
                    <a:pt x="133" y="821"/>
                  </a:lnTo>
                  <a:lnTo>
                    <a:pt x="131" y="823"/>
                  </a:lnTo>
                  <a:lnTo>
                    <a:pt x="130" y="823"/>
                  </a:lnTo>
                  <a:lnTo>
                    <a:pt x="128" y="823"/>
                  </a:lnTo>
                  <a:lnTo>
                    <a:pt x="128" y="820"/>
                  </a:lnTo>
                  <a:lnTo>
                    <a:pt x="127" y="818"/>
                  </a:lnTo>
                  <a:lnTo>
                    <a:pt x="127" y="820"/>
                  </a:lnTo>
                  <a:lnTo>
                    <a:pt x="125" y="821"/>
                  </a:lnTo>
                  <a:lnTo>
                    <a:pt x="124" y="821"/>
                  </a:lnTo>
                  <a:lnTo>
                    <a:pt x="122" y="821"/>
                  </a:lnTo>
                  <a:lnTo>
                    <a:pt x="121" y="820"/>
                  </a:lnTo>
                  <a:lnTo>
                    <a:pt x="119" y="820"/>
                  </a:lnTo>
                  <a:lnTo>
                    <a:pt x="117" y="820"/>
                  </a:lnTo>
                  <a:lnTo>
                    <a:pt x="116" y="820"/>
                  </a:lnTo>
                  <a:lnTo>
                    <a:pt x="116" y="819"/>
                  </a:lnTo>
                  <a:lnTo>
                    <a:pt x="113" y="818"/>
                  </a:lnTo>
                  <a:lnTo>
                    <a:pt x="111" y="818"/>
                  </a:lnTo>
                  <a:lnTo>
                    <a:pt x="106" y="814"/>
                  </a:lnTo>
                  <a:lnTo>
                    <a:pt x="107" y="817"/>
                  </a:lnTo>
                  <a:lnTo>
                    <a:pt x="107" y="819"/>
                  </a:lnTo>
                  <a:lnTo>
                    <a:pt x="105" y="818"/>
                  </a:lnTo>
                  <a:lnTo>
                    <a:pt x="104" y="817"/>
                  </a:lnTo>
                  <a:lnTo>
                    <a:pt x="105" y="819"/>
                  </a:lnTo>
                  <a:lnTo>
                    <a:pt x="106" y="820"/>
                  </a:lnTo>
                  <a:lnTo>
                    <a:pt x="103" y="820"/>
                  </a:lnTo>
                  <a:lnTo>
                    <a:pt x="100" y="821"/>
                  </a:lnTo>
                  <a:lnTo>
                    <a:pt x="104" y="821"/>
                  </a:lnTo>
                  <a:lnTo>
                    <a:pt x="106" y="821"/>
                  </a:lnTo>
                  <a:lnTo>
                    <a:pt x="110" y="821"/>
                  </a:lnTo>
                  <a:lnTo>
                    <a:pt x="109" y="825"/>
                  </a:lnTo>
                  <a:lnTo>
                    <a:pt x="109" y="826"/>
                  </a:lnTo>
                  <a:lnTo>
                    <a:pt x="110" y="825"/>
                  </a:lnTo>
                  <a:lnTo>
                    <a:pt x="112" y="823"/>
                  </a:lnTo>
                  <a:lnTo>
                    <a:pt x="113" y="821"/>
                  </a:lnTo>
                  <a:lnTo>
                    <a:pt x="115" y="821"/>
                  </a:lnTo>
                  <a:lnTo>
                    <a:pt x="115" y="825"/>
                  </a:lnTo>
                  <a:lnTo>
                    <a:pt x="115" y="823"/>
                  </a:lnTo>
                  <a:lnTo>
                    <a:pt x="116" y="823"/>
                  </a:lnTo>
                  <a:lnTo>
                    <a:pt x="118" y="823"/>
                  </a:lnTo>
                  <a:lnTo>
                    <a:pt x="118" y="824"/>
                  </a:lnTo>
                  <a:lnTo>
                    <a:pt x="116" y="826"/>
                  </a:lnTo>
                  <a:lnTo>
                    <a:pt x="116" y="829"/>
                  </a:lnTo>
                  <a:lnTo>
                    <a:pt x="115" y="832"/>
                  </a:lnTo>
                  <a:lnTo>
                    <a:pt x="115" y="836"/>
                  </a:lnTo>
                  <a:lnTo>
                    <a:pt x="117" y="841"/>
                  </a:lnTo>
                  <a:lnTo>
                    <a:pt x="119" y="842"/>
                  </a:lnTo>
                  <a:lnTo>
                    <a:pt x="119" y="839"/>
                  </a:lnTo>
                  <a:lnTo>
                    <a:pt x="119" y="835"/>
                  </a:lnTo>
                  <a:lnTo>
                    <a:pt x="119" y="833"/>
                  </a:lnTo>
                  <a:lnTo>
                    <a:pt x="119" y="836"/>
                  </a:lnTo>
                  <a:lnTo>
                    <a:pt x="121" y="838"/>
                  </a:lnTo>
                  <a:lnTo>
                    <a:pt x="121" y="841"/>
                  </a:lnTo>
                  <a:lnTo>
                    <a:pt x="119" y="843"/>
                  </a:lnTo>
                  <a:lnTo>
                    <a:pt x="121" y="843"/>
                  </a:lnTo>
                  <a:lnTo>
                    <a:pt x="122" y="843"/>
                  </a:lnTo>
                  <a:lnTo>
                    <a:pt x="124" y="844"/>
                  </a:lnTo>
                  <a:lnTo>
                    <a:pt x="124" y="848"/>
                  </a:lnTo>
                  <a:lnTo>
                    <a:pt x="128" y="850"/>
                  </a:lnTo>
                  <a:lnTo>
                    <a:pt x="127" y="852"/>
                  </a:lnTo>
                  <a:lnTo>
                    <a:pt x="125" y="852"/>
                  </a:lnTo>
                  <a:lnTo>
                    <a:pt x="124" y="849"/>
                  </a:lnTo>
                  <a:lnTo>
                    <a:pt x="122" y="849"/>
                  </a:lnTo>
                  <a:lnTo>
                    <a:pt x="118" y="849"/>
                  </a:lnTo>
                  <a:lnTo>
                    <a:pt x="117" y="850"/>
                  </a:lnTo>
                  <a:lnTo>
                    <a:pt x="115" y="849"/>
                  </a:lnTo>
                  <a:lnTo>
                    <a:pt x="113" y="849"/>
                  </a:lnTo>
                  <a:lnTo>
                    <a:pt x="110" y="849"/>
                  </a:lnTo>
                  <a:lnTo>
                    <a:pt x="107" y="852"/>
                  </a:lnTo>
                  <a:lnTo>
                    <a:pt x="109" y="853"/>
                  </a:lnTo>
                  <a:lnTo>
                    <a:pt x="111" y="852"/>
                  </a:lnTo>
                  <a:lnTo>
                    <a:pt x="112" y="853"/>
                  </a:lnTo>
                  <a:lnTo>
                    <a:pt x="113" y="852"/>
                  </a:lnTo>
                  <a:lnTo>
                    <a:pt x="115" y="852"/>
                  </a:lnTo>
                  <a:lnTo>
                    <a:pt x="116" y="852"/>
                  </a:lnTo>
                  <a:lnTo>
                    <a:pt x="118" y="850"/>
                  </a:lnTo>
                  <a:lnTo>
                    <a:pt x="119" y="850"/>
                  </a:lnTo>
                  <a:lnTo>
                    <a:pt x="118" y="853"/>
                  </a:lnTo>
                  <a:lnTo>
                    <a:pt x="117" y="854"/>
                  </a:lnTo>
                  <a:lnTo>
                    <a:pt x="116" y="855"/>
                  </a:lnTo>
                  <a:lnTo>
                    <a:pt x="116" y="856"/>
                  </a:lnTo>
                  <a:lnTo>
                    <a:pt x="118" y="855"/>
                  </a:lnTo>
                  <a:lnTo>
                    <a:pt x="119" y="855"/>
                  </a:lnTo>
                  <a:lnTo>
                    <a:pt x="121" y="854"/>
                  </a:lnTo>
                  <a:lnTo>
                    <a:pt x="122" y="853"/>
                  </a:lnTo>
                  <a:lnTo>
                    <a:pt x="123" y="853"/>
                  </a:lnTo>
                  <a:lnTo>
                    <a:pt x="123" y="854"/>
                  </a:lnTo>
                  <a:lnTo>
                    <a:pt x="122" y="855"/>
                  </a:lnTo>
                  <a:lnTo>
                    <a:pt x="122" y="856"/>
                  </a:lnTo>
                  <a:lnTo>
                    <a:pt x="122" y="858"/>
                  </a:lnTo>
                  <a:lnTo>
                    <a:pt x="121" y="859"/>
                  </a:lnTo>
                  <a:lnTo>
                    <a:pt x="119" y="858"/>
                  </a:lnTo>
                  <a:lnTo>
                    <a:pt x="117" y="856"/>
                  </a:lnTo>
                  <a:lnTo>
                    <a:pt x="116" y="856"/>
                  </a:lnTo>
                  <a:lnTo>
                    <a:pt x="112" y="856"/>
                  </a:lnTo>
                  <a:lnTo>
                    <a:pt x="110" y="856"/>
                  </a:lnTo>
                  <a:lnTo>
                    <a:pt x="105" y="856"/>
                  </a:lnTo>
                  <a:lnTo>
                    <a:pt x="104" y="856"/>
                  </a:lnTo>
                  <a:lnTo>
                    <a:pt x="106" y="858"/>
                  </a:lnTo>
                  <a:lnTo>
                    <a:pt x="106" y="859"/>
                  </a:lnTo>
                  <a:lnTo>
                    <a:pt x="103" y="858"/>
                  </a:lnTo>
                  <a:lnTo>
                    <a:pt x="101" y="860"/>
                  </a:lnTo>
                  <a:lnTo>
                    <a:pt x="104" y="860"/>
                  </a:lnTo>
                  <a:lnTo>
                    <a:pt x="105" y="860"/>
                  </a:lnTo>
                  <a:lnTo>
                    <a:pt x="107" y="860"/>
                  </a:lnTo>
                  <a:lnTo>
                    <a:pt x="109" y="861"/>
                  </a:lnTo>
                  <a:lnTo>
                    <a:pt x="107" y="864"/>
                  </a:lnTo>
                  <a:lnTo>
                    <a:pt x="105" y="864"/>
                  </a:lnTo>
                  <a:lnTo>
                    <a:pt x="101" y="864"/>
                  </a:lnTo>
                  <a:lnTo>
                    <a:pt x="99" y="861"/>
                  </a:lnTo>
                  <a:lnTo>
                    <a:pt x="93" y="858"/>
                  </a:lnTo>
                  <a:lnTo>
                    <a:pt x="91" y="856"/>
                  </a:lnTo>
                  <a:lnTo>
                    <a:pt x="91" y="859"/>
                  </a:lnTo>
                  <a:lnTo>
                    <a:pt x="92" y="860"/>
                  </a:lnTo>
                  <a:lnTo>
                    <a:pt x="91" y="860"/>
                  </a:lnTo>
                  <a:lnTo>
                    <a:pt x="88" y="859"/>
                  </a:lnTo>
                  <a:lnTo>
                    <a:pt x="86" y="859"/>
                  </a:lnTo>
                  <a:lnTo>
                    <a:pt x="83" y="856"/>
                  </a:lnTo>
                  <a:lnTo>
                    <a:pt x="81" y="854"/>
                  </a:lnTo>
                  <a:lnTo>
                    <a:pt x="80" y="855"/>
                  </a:lnTo>
                  <a:lnTo>
                    <a:pt x="78" y="856"/>
                  </a:lnTo>
                  <a:lnTo>
                    <a:pt x="76" y="854"/>
                  </a:lnTo>
                  <a:lnTo>
                    <a:pt x="74" y="854"/>
                  </a:lnTo>
                  <a:lnTo>
                    <a:pt x="72" y="854"/>
                  </a:lnTo>
                  <a:lnTo>
                    <a:pt x="75" y="856"/>
                  </a:lnTo>
                  <a:lnTo>
                    <a:pt x="77" y="858"/>
                  </a:lnTo>
                  <a:lnTo>
                    <a:pt x="77" y="859"/>
                  </a:lnTo>
                  <a:lnTo>
                    <a:pt x="75" y="861"/>
                  </a:lnTo>
                  <a:lnTo>
                    <a:pt x="74" y="861"/>
                  </a:lnTo>
                  <a:lnTo>
                    <a:pt x="74" y="862"/>
                  </a:lnTo>
                  <a:lnTo>
                    <a:pt x="76" y="861"/>
                  </a:lnTo>
                  <a:lnTo>
                    <a:pt x="77" y="860"/>
                  </a:lnTo>
                  <a:lnTo>
                    <a:pt x="80" y="859"/>
                  </a:lnTo>
                  <a:lnTo>
                    <a:pt x="83" y="859"/>
                  </a:lnTo>
                  <a:lnTo>
                    <a:pt x="81" y="862"/>
                  </a:lnTo>
                  <a:lnTo>
                    <a:pt x="80" y="866"/>
                  </a:lnTo>
                  <a:lnTo>
                    <a:pt x="81" y="864"/>
                  </a:lnTo>
                  <a:lnTo>
                    <a:pt x="82" y="862"/>
                  </a:lnTo>
                  <a:lnTo>
                    <a:pt x="83" y="861"/>
                  </a:lnTo>
                  <a:lnTo>
                    <a:pt x="84" y="860"/>
                  </a:lnTo>
                  <a:lnTo>
                    <a:pt x="87" y="860"/>
                  </a:lnTo>
                  <a:lnTo>
                    <a:pt x="88" y="862"/>
                  </a:lnTo>
                  <a:lnTo>
                    <a:pt x="87" y="865"/>
                  </a:lnTo>
                  <a:lnTo>
                    <a:pt x="84" y="867"/>
                  </a:lnTo>
                  <a:lnTo>
                    <a:pt x="84" y="870"/>
                  </a:lnTo>
                  <a:lnTo>
                    <a:pt x="86" y="870"/>
                  </a:lnTo>
                  <a:lnTo>
                    <a:pt x="86" y="871"/>
                  </a:lnTo>
                  <a:lnTo>
                    <a:pt x="84" y="872"/>
                  </a:lnTo>
                  <a:lnTo>
                    <a:pt x="83" y="872"/>
                  </a:lnTo>
                  <a:lnTo>
                    <a:pt x="81" y="872"/>
                  </a:lnTo>
                  <a:lnTo>
                    <a:pt x="78" y="871"/>
                  </a:lnTo>
                  <a:lnTo>
                    <a:pt x="76" y="868"/>
                  </a:lnTo>
                  <a:lnTo>
                    <a:pt x="75" y="868"/>
                  </a:lnTo>
                  <a:lnTo>
                    <a:pt x="75" y="871"/>
                  </a:lnTo>
                  <a:lnTo>
                    <a:pt x="71" y="870"/>
                  </a:lnTo>
                  <a:lnTo>
                    <a:pt x="70" y="868"/>
                  </a:lnTo>
                  <a:lnTo>
                    <a:pt x="68" y="870"/>
                  </a:lnTo>
                  <a:lnTo>
                    <a:pt x="71" y="872"/>
                  </a:lnTo>
                  <a:lnTo>
                    <a:pt x="75" y="872"/>
                  </a:lnTo>
                  <a:lnTo>
                    <a:pt x="74" y="874"/>
                  </a:lnTo>
                  <a:lnTo>
                    <a:pt x="74" y="876"/>
                  </a:lnTo>
                  <a:lnTo>
                    <a:pt x="75" y="877"/>
                  </a:lnTo>
                  <a:lnTo>
                    <a:pt x="76" y="876"/>
                  </a:lnTo>
                  <a:lnTo>
                    <a:pt x="77" y="873"/>
                  </a:lnTo>
                  <a:lnTo>
                    <a:pt x="80" y="873"/>
                  </a:lnTo>
                  <a:lnTo>
                    <a:pt x="80" y="874"/>
                  </a:lnTo>
                  <a:lnTo>
                    <a:pt x="80" y="877"/>
                  </a:lnTo>
                  <a:lnTo>
                    <a:pt x="80" y="878"/>
                  </a:lnTo>
                  <a:lnTo>
                    <a:pt x="81" y="877"/>
                  </a:lnTo>
                  <a:lnTo>
                    <a:pt x="82" y="876"/>
                  </a:lnTo>
                  <a:lnTo>
                    <a:pt x="83" y="876"/>
                  </a:lnTo>
                  <a:lnTo>
                    <a:pt x="82" y="878"/>
                  </a:lnTo>
                  <a:lnTo>
                    <a:pt x="83" y="878"/>
                  </a:lnTo>
                  <a:lnTo>
                    <a:pt x="83" y="877"/>
                  </a:lnTo>
                  <a:lnTo>
                    <a:pt x="86" y="876"/>
                  </a:lnTo>
                  <a:lnTo>
                    <a:pt x="88" y="876"/>
                  </a:lnTo>
                  <a:lnTo>
                    <a:pt x="86" y="880"/>
                  </a:lnTo>
                  <a:lnTo>
                    <a:pt x="86" y="882"/>
                  </a:lnTo>
                  <a:lnTo>
                    <a:pt x="87" y="882"/>
                  </a:lnTo>
                  <a:lnTo>
                    <a:pt x="88" y="879"/>
                  </a:lnTo>
                  <a:lnTo>
                    <a:pt x="89" y="878"/>
                  </a:lnTo>
                  <a:lnTo>
                    <a:pt x="91" y="878"/>
                  </a:lnTo>
                  <a:lnTo>
                    <a:pt x="91" y="879"/>
                  </a:lnTo>
                  <a:lnTo>
                    <a:pt x="91" y="882"/>
                  </a:lnTo>
                  <a:lnTo>
                    <a:pt x="91" y="885"/>
                  </a:lnTo>
                  <a:lnTo>
                    <a:pt x="92" y="884"/>
                  </a:lnTo>
                  <a:lnTo>
                    <a:pt x="94" y="884"/>
                  </a:lnTo>
                  <a:lnTo>
                    <a:pt x="94" y="885"/>
                  </a:lnTo>
                  <a:lnTo>
                    <a:pt x="94" y="889"/>
                  </a:lnTo>
                  <a:lnTo>
                    <a:pt x="93" y="892"/>
                  </a:lnTo>
                  <a:lnTo>
                    <a:pt x="94" y="892"/>
                  </a:lnTo>
                  <a:lnTo>
                    <a:pt x="97" y="891"/>
                  </a:lnTo>
                  <a:lnTo>
                    <a:pt x="99" y="891"/>
                  </a:lnTo>
                  <a:lnTo>
                    <a:pt x="99" y="892"/>
                  </a:lnTo>
                  <a:lnTo>
                    <a:pt x="97" y="894"/>
                  </a:lnTo>
                  <a:lnTo>
                    <a:pt x="93" y="894"/>
                  </a:lnTo>
                  <a:lnTo>
                    <a:pt x="94" y="896"/>
                  </a:lnTo>
                  <a:lnTo>
                    <a:pt x="97" y="896"/>
                  </a:lnTo>
                  <a:lnTo>
                    <a:pt x="97" y="897"/>
                  </a:lnTo>
                  <a:lnTo>
                    <a:pt x="94" y="900"/>
                  </a:lnTo>
                  <a:lnTo>
                    <a:pt x="92" y="901"/>
                  </a:lnTo>
                  <a:lnTo>
                    <a:pt x="92" y="903"/>
                  </a:lnTo>
                  <a:lnTo>
                    <a:pt x="94" y="902"/>
                  </a:lnTo>
                  <a:lnTo>
                    <a:pt x="97" y="901"/>
                  </a:lnTo>
                  <a:lnTo>
                    <a:pt x="98" y="900"/>
                  </a:lnTo>
                  <a:lnTo>
                    <a:pt x="98" y="902"/>
                  </a:lnTo>
                  <a:lnTo>
                    <a:pt x="99" y="901"/>
                  </a:lnTo>
                  <a:lnTo>
                    <a:pt x="101" y="900"/>
                  </a:lnTo>
                  <a:lnTo>
                    <a:pt x="103" y="898"/>
                  </a:lnTo>
                  <a:lnTo>
                    <a:pt x="103" y="901"/>
                  </a:lnTo>
                  <a:lnTo>
                    <a:pt x="103" y="903"/>
                  </a:lnTo>
                  <a:lnTo>
                    <a:pt x="101" y="904"/>
                  </a:lnTo>
                  <a:lnTo>
                    <a:pt x="100" y="904"/>
                  </a:lnTo>
                  <a:lnTo>
                    <a:pt x="97" y="904"/>
                  </a:lnTo>
                  <a:lnTo>
                    <a:pt x="94" y="904"/>
                  </a:lnTo>
                  <a:lnTo>
                    <a:pt x="89" y="904"/>
                  </a:lnTo>
                  <a:lnTo>
                    <a:pt x="87" y="904"/>
                  </a:lnTo>
                  <a:lnTo>
                    <a:pt x="84" y="904"/>
                  </a:lnTo>
                  <a:lnTo>
                    <a:pt x="81" y="903"/>
                  </a:lnTo>
                  <a:lnTo>
                    <a:pt x="80" y="903"/>
                  </a:lnTo>
                  <a:lnTo>
                    <a:pt x="76" y="903"/>
                  </a:lnTo>
                  <a:lnTo>
                    <a:pt x="74" y="903"/>
                  </a:lnTo>
                  <a:lnTo>
                    <a:pt x="74" y="906"/>
                  </a:lnTo>
                  <a:lnTo>
                    <a:pt x="76" y="907"/>
                  </a:lnTo>
                  <a:lnTo>
                    <a:pt x="77" y="909"/>
                  </a:lnTo>
                  <a:lnTo>
                    <a:pt x="78" y="907"/>
                  </a:lnTo>
                  <a:lnTo>
                    <a:pt x="80" y="907"/>
                  </a:lnTo>
                  <a:lnTo>
                    <a:pt x="80" y="912"/>
                  </a:lnTo>
                  <a:lnTo>
                    <a:pt x="81" y="913"/>
                  </a:lnTo>
                  <a:lnTo>
                    <a:pt x="81" y="912"/>
                  </a:lnTo>
                  <a:lnTo>
                    <a:pt x="82" y="910"/>
                  </a:lnTo>
                  <a:lnTo>
                    <a:pt x="83" y="908"/>
                  </a:lnTo>
                  <a:lnTo>
                    <a:pt x="84" y="908"/>
                  </a:lnTo>
                  <a:lnTo>
                    <a:pt x="83" y="912"/>
                  </a:lnTo>
                  <a:lnTo>
                    <a:pt x="82" y="914"/>
                  </a:lnTo>
                  <a:lnTo>
                    <a:pt x="82" y="918"/>
                  </a:lnTo>
                  <a:lnTo>
                    <a:pt x="82" y="922"/>
                  </a:lnTo>
                  <a:lnTo>
                    <a:pt x="83" y="925"/>
                  </a:lnTo>
                  <a:lnTo>
                    <a:pt x="84" y="925"/>
                  </a:lnTo>
                  <a:lnTo>
                    <a:pt x="84" y="921"/>
                  </a:lnTo>
                  <a:lnTo>
                    <a:pt x="86" y="920"/>
                  </a:lnTo>
                  <a:lnTo>
                    <a:pt x="86" y="915"/>
                  </a:lnTo>
                  <a:lnTo>
                    <a:pt x="86" y="914"/>
                  </a:lnTo>
                  <a:lnTo>
                    <a:pt x="87" y="912"/>
                  </a:lnTo>
                  <a:lnTo>
                    <a:pt x="88" y="912"/>
                  </a:lnTo>
                  <a:lnTo>
                    <a:pt x="89" y="913"/>
                  </a:lnTo>
                  <a:lnTo>
                    <a:pt x="88" y="914"/>
                  </a:lnTo>
                  <a:lnTo>
                    <a:pt x="88" y="916"/>
                  </a:lnTo>
                  <a:lnTo>
                    <a:pt x="88" y="919"/>
                  </a:lnTo>
                  <a:lnTo>
                    <a:pt x="89" y="919"/>
                  </a:lnTo>
                  <a:lnTo>
                    <a:pt x="91" y="919"/>
                  </a:lnTo>
                  <a:lnTo>
                    <a:pt x="92" y="916"/>
                  </a:lnTo>
                  <a:lnTo>
                    <a:pt x="93" y="915"/>
                  </a:lnTo>
                  <a:lnTo>
                    <a:pt x="94" y="914"/>
                  </a:lnTo>
                  <a:lnTo>
                    <a:pt x="94" y="913"/>
                  </a:lnTo>
                  <a:lnTo>
                    <a:pt x="95" y="913"/>
                  </a:lnTo>
                  <a:lnTo>
                    <a:pt x="95" y="915"/>
                  </a:lnTo>
                  <a:lnTo>
                    <a:pt x="95" y="916"/>
                  </a:lnTo>
                  <a:lnTo>
                    <a:pt x="94" y="919"/>
                  </a:lnTo>
                  <a:lnTo>
                    <a:pt x="94" y="920"/>
                  </a:lnTo>
                  <a:lnTo>
                    <a:pt x="93" y="921"/>
                  </a:lnTo>
                  <a:lnTo>
                    <a:pt x="91" y="924"/>
                  </a:lnTo>
                  <a:lnTo>
                    <a:pt x="89" y="926"/>
                  </a:lnTo>
                  <a:lnTo>
                    <a:pt x="89" y="927"/>
                  </a:lnTo>
                  <a:lnTo>
                    <a:pt x="91" y="927"/>
                  </a:lnTo>
                  <a:lnTo>
                    <a:pt x="92" y="926"/>
                  </a:lnTo>
                  <a:lnTo>
                    <a:pt x="93" y="926"/>
                  </a:lnTo>
                  <a:lnTo>
                    <a:pt x="95" y="926"/>
                  </a:lnTo>
                  <a:lnTo>
                    <a:pt x="95" y="927"/>
                  </a:lnTo>
                  <a:lnTo>
                    <a:pt x="94" y="928"/>
                  </a:lnTo>
                  <a:lnTo>
                    <a:pt x="93" y="928"/>
                  </a:lnTo>
                  <a:lnTo>
                    <a:pt x="92" y="928"/>
                  </a:lnTo>
                  <a:lnTo>
                    <a:pt x="91" y="928"/>
                  </a:lnTo>
                  <a:lnTo>
                    <a:pt x="88" y="928"/>
                  </a:lnTo>
                  <a:lnTo>
                    <a:pt x="86" y="927"/>
                  </a:lnTo>
                  <a:lnTo>
                    <a:pt x="83" y="926"/>
                  </a:lnTo>
                  <a:lnTo>
                    <a:pt x="82" y="925"/>
                  </a:lnTo>
                  <a:lnTo>
                    <a:pt x="78" y="924"/>
                  </a:lnTo>
                  <a:lnTo>
                    <a:pt x="76" y="924"/>
                  </a:lnTo>
                  <a:lnTo>
                    <a:pt x="72" y="924"/>
                  </a:lnTo>
                  <a:lnTo>
                    <a:pt x="68" y="921"/>
                  </a:lnTo>
                  <a:lnTo>
                    <a:pt x="65" y="921"/>
                  </a:lnTo>
                  <a:lnTo>
                    <a:pt x="63" y="922"/>
                  </a:lnTo>
                  <a:lnTo>
                    <a:pt x="62" y="921"/>
                  </a:lnTo>
                  <a:lnTo>
                    <a:pt x="59" y="920"/>
                  </a:lnTo>
                  <a:lnTo>
                    <a:pt x="56" y="919"/>
                  </a:lnTo>
                  <a:lnTo>
                    <a:pt x="53" y="919"/>
                  </a:lnTo>
                  <a:lnTo>
                    <a:pt x="51" y="919"/>
                  </a:lnTo>
                  <a:lnTo>
                    <a:pt x="48" y="918"/>
                  </a:lnTo>
                  <a:lnTo>
                    <a:pt x="47" y="918"/>
                  </a:lnTo>
                  <a:lnTo>
                    <a:pt x="48" y="919"/>
                  </a:lnTo>
                  <a:lnTo>
                    <a:pt x="48" y="920"/>
                  </a:lnTo>
                  <a:lnTo>
                    <a:pt x="46" y="920"/>
                  </a:lnTo>
                  <a:lnTo>
                    <a:pt x="45" y="919"/>
                  </a:lnTo>
                  <a:lnTo>
                    <a:pt x="44" y="918"/>
                  </a:lnTo>
                  <a:lnTo>
                    <a:pt x="44" y="919"/>
                  </a:lnTo>
                  <a:lnTo>
                    <a:pt x="42" y="918"/>
                  </a:lnTo>
                  <a:lnTo>
                    <a:pt x="41" y="916"/>
                  </a:lnTo>
                  <a:lnTo>
                    <a:pt x="38" y="914"/>
                  </a:lnTo>
                  <a:lnTo>
                    <a:pt x="36" y="916"/>
                  </a:lnTo>
                  <a:lnTo>
                    <a:pt x="38" y="918"/>
                  </a:lnTo>
                  <a:lnTo>
                    <a:pt x="32" y="916"/>
                  </a:lnTo>
                  <a:lnTo>
                    <a:pt x="33" y="918"/>
                  </a:lnTo>
                  <a:lnTo>
                    <a:pt x="35" y="919"/>
                  </a:lnTo>
                  <a:lnTo>
                    <a:pt x="38" y="919"/>
                  </a:lnTo>
                  <a:lnTo>
                    <a:pt x="38" y="920"/>
                  </a:lnTo>
                  <a:lnTo>
                    <a:pt x="34" y="922"/>
                  </a:lnTo>
                  <a:lnTo>
                    <a:pt x="33" y="924"/>
                  </a:lnTo>
                  <a:lnTo>
                    <a:pt x="34" y="925"/>
                  </a:lnTo>
                  <a:lnTo>
                    <a:pt x="34" y="924"/>
                  </a:lnTo>
                  <a:lnTo>
                    <a:pt x="39" y="921"/>
                  </a:lnTo>
                  <a:lnTo>
                    <a:pt x="41" y="921"/>
                  </a:lnTo>
                  <a:lnTo>
                    <a:pt x="42" y="921"/>
                  </a:lnTo>
                  <a:lnTo>
                    <a:pt x="42" y="922"/>
                  </a:lnTo>
                  <a:lnTo>
                    <a:pt x="41" y="925"/>
                  </a:lnTo>
                  <a:lnTo>
                    <a:pt x="41" y="926"/>
                  </a:lnTo>
                  <a:lnTo>
                    <a:pt x="42" y="926"/>
                  </a:lnTo>
                  <a:lnTo>
                    <a:pt x="44" y="925"/>
                  </a:lnTo>
                  <a:lnTo>
                    <a:pt x="44" y="922"/>
                  </a:lnTo>
                  <a:lnTo>
                    <a:pt x="45" y="921"/>
                  </a:lnTo>
                  <a:lnTo>
                    <a:pt x="48" y="922"/>
                  </a:lnTo>
                  <a:lnTo>
                    <a:pt x="50" y="922"/>
                  </a:lnTo>
                  <a:lnTo>
                    <a:pt x="48" y="925"/>
                  </a:lnTo>
                  <a:lnTo>
                    <a:pt x="47" y="926"/>
                  </a:lnTo>
                  <a:lnTo>
                    <a:pt x="46" y="928"/>
                  </a:lnTo>
                  <a:lnTo>
                    <a:pt x="46" y="931"/>
                  </a:lnTo>
                  <a:lnTo>
                    <a:pt x="46" y="934"/>
                  </a:lnTo>
                  <a:lnTo>
                    <a:pt x="47" y="936"/>
                  </a:lnTo>
                  <a:lnTo>
                    <a:pt x="47" y="938"/>
                  </a:lnTo>
                  <a:lnTo>
                    <a:pt x="47" y="939"/>
                  </a:lnTo>
                  <a:lnTo>
                    <a:pt x="47" y="942"/>
                  </a:lnTo>
                  <a:lnTo>
                    <a:pt x="48" y="942"/>
                  </a:lnTo>
                  <a:lnTo>
                    <a:pt x="50" y="940"/>
                  </a:lnTo>
                  <a:lnTo>
                    <a:pt x="50" y="939"/>
                  </a:lnTo>
                  <a:lnTo>
                    <a:pt x="51" y="937"/>
                  </a:lnTo>
                  <a:lnTo>
                    <a:pt x="51" y="936"/>
                  </a:lnTo>
                  <a:lnTo>
                    <a:pt x="51" y="931"/>
                  </a:lnTo>
                  <a:lnTo>
                    <a:pt x="52" y="934"/>
                  </a:lnTo>
                  <a:lnTo>
                    <a:pt x="52" y="936"/>
                  </a:lnTo>
                  <a:lnTo>
                    <a:pt x="53" y="934"/>
                  </a:lnTo>
                  <a:lnTo>
                    <a:pt x="53" y="931"/>
                  </a:lnTo>
                  <a:lnTo>
                    <a:pt x="53" y="928"/>
                  </a:lnTo>
                  <a:lnTo>
                    <a:pt x="56" y="926"/>
                  </a:lnTo>
                  <a:lnTo>
                    <a:pt x="56" y="925"/>
                  </a:lnTo>
                  <a:lnTo>
                    <a:pt x="56" y="927"/>
                  </a:lnTo>
                  <a:lnTo>
                    <a:pt x="56" y="928"/>
                  </a:lnTo>
                  <a:lnTo>
                    <a:pt x="56" y="930"/>
                  </a:lnTo>
                  <a:lnTo>
                    <a:pt x="58" y="930"/>
                  </a:lnTo>
                  <a:lnTo>
                    <a:pt x="59" y="927"/>
                  </a:lnTo>
                  <a:lnTo>
                    <a:pt x="59" y="926"/>
                  </a:lnTo>
                  <a:lnTo>
                    <a:pt x="60" y="926"/>
                  </a:lnTo>
                  <a:lnTo>
                    <a:pt x="60" y="927"/>
                  </a:lnTo>
                  <a:lnTo>
                    <a:pt x="59" y="930"/>
                  </a:lnTo>
                  <a:lnTo>
                    <a:pt x="58" y="933"/>
                  </a:lnTo>
                  <a:lnTo>
                    <a:pt x="58" y="934"/>
                  </a:lnTo>
                  <a:lnTo>
                    <a:pt x="59" y="933"/>
                  </a:lnTo>
                  <a:lnTo>
                    <a:pt x="62" y="932"/>
                  </a:lnTo>
                  <a:lnTo>
                    <a:pt x="63" y="930"/>
                  </a:lnTo>
                  <a:lnTo>
                    <a:pt x="63" y="932"/>
                  </a:lnTo>
                  <a:lnTo>
                    <a:pt x="62" y="934"/>
                  </a:lnTo>
                  <a:lnTo>
                    <a:pt x="60" y="937"/>
                  </a:lnTo>
                  <a:lnTo>
                    <a:pt x="59" y="939"/>
                  </a:lnTo>
                  <a:lnTo>
                    <a:pt x="59" y="943"/>
                  </a:lnTo>
                  <a:lnTo>
                    <a:pt x="60" y="943"/>
                  </a:lnTo>
                  <a:lnTo>
                    <a:pt x="62" y="942"/>
                  </a:lnTo>
                  <a:lnTo>
                    <a:pt x="63" y="939"/>
                  </a:lnTo>
                  <a:lnTo>
                    <a:pt x="63" y="937"/>
                  </a:lnTo>
                  <a:lnTo>
                    <a:pt x="64" y="934"/>
                  </a:lnTo>
                  <a:lnTo>
                    <a:pt x="65" y="934"/>
                  </a:lnTo>
                  <a:lnTo>
                    <a:pt x="66" y="936"/>
                  </a:lnTo>
                  <a:lnTo>
                    <a:pt x="68" y="937"/>
                  </a:lnTo>
                  <a:lnTo>
                    <a:pt x="66" y="940"/>
                  </a:lnTo>
                  <a:lnTo>
                    <a:pt x="68" y="942"/>
                  </a:lnTo>
                  <a:lnTo>
                    <a:pt x="69" y="940"/>
                  </a:lnTo>
                  <a:lnTo>
                    <a:pt x="69" y="938"/>
                  </a:lnTo>
                  <a:lnTo>
                    <a:pt x="70" y="937"/>
                  </a:lnTo>
                  <a:lnTo>
                    <a:pt x="71" y="934"/>
                  </a:lnTo>
                  <a:lnTo>
                    <a:pt x="72" y="934"/>
                  </a:lnTo>
                  <a:lnTo>
                    <a:pt x="74" y="936"/>
                  </a:lnTo>
                  <a:lnTo>
                    <a:pt x="72" y="937"/>
                  </a:lnTo>
                  <a:lnTo>
                    <a:pt x="71" y="939"/>
                  </a:lnTo>
                  <a:lnTo>
                    <a:pt x="70" y="942"/>
                  </a:lnTo>
                  <a:lnTo>
                    <a:pt x="69" y="944"/>
                  </a:lnTo>
                  <a:lnTo>
                    <a:pt x="70" y="943"/>
                  </a:lnTo>
                  <a:lnTo>
                    <a:pt x="71" y="942"/>
                  </a:lnTo>
                  <a:lnTo>
                    <a:pt x="72" y="942"/>
                  </a:lnTo>
                  <a:lnTo>
                    <a:pt x="71" y="945"/>
                  </a:lnTo>
                  <a:lnTo>
                    <a:pt x="70" y="948"/>
                  </a:lnTo>
                  <a:lnTo>
                    <a:pt x="69" y="949"/>
                  </a:lnTo>
                  <a:lnTo>
                    <a:pt x="68" y="950"/>
                  </a:lnTo>
                  <a:lnTo>
                    <a:pt x="60" y="952"/>
                  </a:lnTo>
                  <a:lnTo>
                    <a:pt x="59" y="954"/>
                  </a:lnTo>
                  <a:lnTo>
                    <a:pt x="60" y="955"/>
                  </a:lnTo>
                  <a:lnTo>
                    <a:pt x="62" y="955"/>
                  </a:lnTo>
                  <a:lnTo>
                    <a:pt x="63" y="954"/>
                  </a:lnTo>
                  <a:lnTo>
                    <a:pt x="64" y="954"/>
                  </a:lnTo>
                  <a:lnTo>
                    <a:pt x="64" y="956"/>
                  </a:lnTo>
                  <a:lnTo>
                    <a:pt x="64" y="957"/>
                  </a:lnTo>
                  <a:lnTo>
                    <a:pt x="65" y="957"/>
                  </a:lnTo>
                  <a:lnTo>
                    <a:pt x="65" y="956"/>
                  </a:lnTo>
                  <a:lnTo>
                    <a:pt x="66" y="955"/>
                  </a:lnTo>
                  <a:lnTo>
                    <a:pt x="68" y="952"/>
                  </a:lnTo>
                  <a:lnTo>
                    <a:pt x="69" y="952"/>
                  </a:lnTo>
                  <a:lnTo>
                    <a:pt x="69" y="954"/>
                  </a:lnTo>
                  <a:lnTo>
                    <a:pt x="69" y="956"/>
                  </a:lnTo>
                  <a:lnTo>
                    <a:pt x="69" y="959"/>
                  </a:lnTo>
                  <a:lnTo>
                    <a:pt x="69" y="960"/>
                  </a:lnTo>
                  <a:lnTo>
                    <a:pt x="70" y="960"/>
                  </a:lnTo>
                  <a:lnTo>
                    <a:pt x="71" y="959"/>
                  </a:lnTo>
                  <a:lnTo>
                    <a:pt x="71" y="957"/>
                  </a:lnTo>
                  <a:lnTo>
                    <a:pt x="72" y="957"/>
                  </a:lnTo>
                  <a:lnTo>
                    <a:pt x="74" y="960"/>
                  </a:lnTo>
                  <a:lnTo>
                    <a:pt x="74" y="959"/>
                  </a:lnTo>
                  <a:lnTo>
                    <a:pt x="76" y="957"/>
                  </a:lnTo>
                  <a:lnTo>
                    <a:pt x="75" y="956"/>
                  </a:lnTo>
                  <a:lnTo>
                    <a:pt x="75" y="955"/>
                  </a:lnTo>
                  <a:lnTo>
                    <a:pt x="74" y="954"/>
                  </a:lnTo>
                  <a:lnTo>
                    <a:pt x="74" y="951"/>
                  </a:lnTo>
                  <a:lnTo>
                    <a:pt x="75" y="949"/>
                  </a:lnTo>
                  <a:lnTo>
                    <a:pt x="76" y="950"/>
                  </a:lnTo>
                  <a:lnTo>
                    <a:pt x="77" y="951"/>
                  </a:lnTo>
                  <a:lnTo>
                    <a:pt x="77" y="950"/>
                  </a:lnTo>
                  <a:lnTo>
                    <a:pt x="78" y="949"/>
                  </a:lnTo>
                  <a:lnTo>
                    <a:pt x="80" y="954"/>
                  </a:lnTo>
                  <a:lnTo>
                    <a:pt x="81" y="955"/>
                  </a:lnTo>
                  <a:lnTo>
                    <a:pt x="81" y="954"/>
                  </a:lnTo>
                  <a:lnTo>
                    <a:pt x="81" y="950"/>
                  </a:lnTo>
                  <a:lnTo>
                    <a:pt x="82" y="948"/>
                  </a:lnTo>
                  <a:lnTo>
                    <a:pt x="82" y="945"/>
                  </a:lnTo>
                  <a:lnTo>
                    <a:pt x="82" y="943"/>
                  </a:lnTo>
                  <a:lnTo>
                    <a:pt x="83" y="942"/>
                  </a:lnTo>
                  <a:lnTo>
                    <a:pt x="83" y="944"/>
                  </a:lnTo>
                  <a:lnTo>
                    <a:pt x="84" y="944"/>
                  </a:lnTo>
                  <a:lnTo>
                    <a:pt x="84" y="943"/>
                  </a:lnTo>
                  <a:lnTo>
                    <a:pt x="86" y="943"/>
                  </a:lnTo>
                  <a:lnTo>
                    <a:pt x="84" y="945"/>
                  </a:lnTo>
                  <a:lnTo>
                    <a:pt x="84" y="946"/>
                  </a:lnTo>
                  <a:lnTo>
                    <a:pt x="86" y="948"/>
                  </a:lnTo>
                  <a:lnTo>
                    <a:pt x="87" y="949"/>
                  </a:lnTo>
                  <a:lnTo>
                    <a:pt x="87" y="951"/>
                  </a:lnTo>
                  <a:lnTo>
                    <a:pt x="87" y="952"/>
                  </a:lnTo>
                  <a:lnTo>
                    <a:pt x="86" y="954"/>
                  </a:lnTo>
                  <a:lnTo>
                    <a:pt x="84" y="954"/>
                  </a:lnTo>
                  <a:lnTo>
                    <a:pt x="82" y="955"/>
                  </a:lnTo>
                  <a:lnTo>
                    <a:pt x="82" y="956"/>
                  </a:lnTo>
                  <a:lnTo>
                    <a:pt x="83" y="956"/>
                  </a:lnTo>
                  <a:lnTo>
                    <a:pt x="82" y="957"/>
                  </a:lnTo>
                  <a:lnTo>
                    <a:pt x="81" y="960"/>
                  </a:lnTo>
                  <a:lnTo>
                    <a:pt x="80" y="960"/>
                  </a:lnTo>
                  <a:lnTo>
                    <a:pt x="75" y="962"/>
                  </a:lnTo>
                  <a:lnTo>
                    <a:pt x="74" y="962"/>
                  </a:lnTo>
                  <a:lnTo>
                    <a:pt x="71" y="963"/>
                  </a:lnTo>
                  <a:lnTo>
                    <a:pt x="69" y="962"/>
                  </a:lnTo>
                  <a:lnTo>
                    <a:pt x="66" y="962"/>
                  </a:lnTo>
                  <a:lnTo>
                    <a:pt x="64" y="962"/>
                  </a:lnTo>
                  <a:lnTo>
                    <a:pt x="64" y="963"/>
                  </a:lnTo>
                  <a:lnTo>
                    <a:pt x="64" y="965"/>
                  </a:lnTo>
                  <a:lnTo>
                    <a:pt x="62" y="966"/>
                  </a:lnTo>
                  <a:lnTo>
                    <a:pt x="64" y="966"/>
                  </a:lnTo>
                  <a:lnTo>
                    <a:pt x="65" y="966"/>
                  </a:lnTo>
                  <a:lnTo>
                    <a:pt x="66" y="966"/>
                  </a:lnTo>
                  <a:lnTo>
                    <a:pt x="68" y="968"/>
                  </a:lnTo>
                  <a:lnTo>
                    <a:pt x="66" y="969"/>
                  </a:lnTo>
                  <a:lnTo>
                    <a:pt x="68" y="969"/>
                  </a:lnTo>
                  <a:lnTo>
                    <a:pt x="69" y="967"/>
                  </a:lnTo>
                  <a:lnTo>
                    <a:pt x="69" y="966"/>
                  </a:lnTo>
                  <a:lnTo>
                    <a:pt x="71" y="965"/>
                  </a:lnTo>
                  <a:lnTo>
                    <a:pt x="72" y="966"/>
                  </a:lnTo>
                  <a:lnTo>
                    <a:pt x="71" y="967"/>
                  </a:lnTo>
                  <a:lnTo>
                    <a:pt x="70" y="969"/>
                  </a:lnTo>
                  <a:lnTo>
                    <a:pt x="69" y="972"/>
                  </a:lnTo>
                  <a:lnTo>
                    <a:pt x="70" y="974"/>
                  </a:lnTo>
                  <a:lnTo>
                    <a:pt x="71" y="973"/>
                  </a:lnTo>
                  <a:lnTo>
                    <a:pt x="72" y="971"/>
                  </a:lnTo>
                  <a:lnTo>
                    <a:pt x="75" y="968"/>
                  </a:lnTo>
                  <a:lnTo>
                    <a:pt x="75" y="967"/>
                  </a:lnTo>
                  <a:lnTo>
                    <a:pt x="77" y="966"/>
                  </a:lnTo>
                  <a:lnTo>
                    <a:pt x="78" y="963"/>
                  </a:lnTo>
                  <a:lnTo>
                    <a:pt x="80" y="963"/>
                  </a:lnTo>
                  <a:lnTo>
                    <a:pt x="80" y="965"/>
                  </a:lnTo>
                  <a:lnTo>
                    <a:pt x="80" y="967"/>
                  </a:lnTo>
                  <a:lnTo>
                    <a:pt x="80" y="968"/>
                  </a:lnTo>
                  <a:lnTo>
                    <a:pt x="80" y="971"/>
                  </a:lnTo>
                  <a:lnTo>
                    <a:pt x="78" y="974"/>
                  </a:lnTo>
                  <a:lnTo>
                    <a:pt x="78" y="977"/>
                  </a:lnTo>
                  <a:lnTo>
                    <a:pt x="80" y="977"/>
                  </a:lnTo>
                  <a:lnTo>
                    <a:pt x="81" y="974"/>
                  </a:lnTo>
                  <a:lnTo>
                    <a:pt x="81" y="973"/>
                  </a:lnTo>
                  <a:lnTo>
                    <a:pt x="81" y="971"/>
                  </a:lnTo>
                  <a:lnTo>
                    <a:pt x="82" y="968"/>
                  </a:lnTo>
                  <a:lnTo>
                    <a:pt x="82" y="972"/>
                  </a:lnTo>
                  <a:lnTo>
                    <a:pt x="83" y="972"/>
                  </a:lnTo>
                  <a:lnTo>
                    <a:pt x="83" y="969"/>
                  </a:lnTo>
                  <a:lnTo>
                    <a:pt x="83" y="968"/>
                  </a:lnTo>
                  <a:lnTo>
                    <a:pt x="86" y="966"/>
                  </a:lnTo>
                  <a:lnTo>
                    <a:pt x="86" y="965"/>
                  </a:lnTo>
                  <a:lnTo>
                    <a:pt x="86" y="967"/>
                  </a:lnTo>
                  <a:lnTo>
                    <a:pt x="86" y="969"/>
                  </a:lnTo>
                  <a:lnTo>
                    <a:pt x="86" y="972"/>
                  </a:lnTo>
                  <a:lnTo>
                    <a:pt x="88" y="969"/>
                  </a:lnTo>
                  <a:lnTo>
                    <a:pt x="88" y="967"/>
                  </a:lnTo>
                  <a:lnTo>
                    <a:pt x="89" y="965"/>
                  </a:lnTo>
                  <a:lnTo>
                    <a:pt x="91" y="967"/>
                  </a:lnTo>
                  <a:lnTo>
                    <a:pt x="88" y="969"/>
                  </a:lnTo>
                  <a:lnTo>
                    <a:pt x="88" y="972"/>
                  </a:lnTo>
                  <a:lnTo>
                    <a:pt x="88" y="974"/>
                  </a:lnTo>
                  <a:lnTo>
                    <a:pt x="89" y="977"/>
                  </a:lnTo>
                  <a:lnTo>
                    <a:pt x="89" y="979"/>
                  </a:lnTo>
                  <a:lnTo>
                    <a:pt x="88" y="983"/>
                  </a:lnTo>
                  <a:lnTo>
                    <a:pt x="88" y="985"/>
                  </a:lnTo>
                  <a:lnTo>
                    <a:pt x="87" y="989"/>
                  </a:lnTo>
                  <a:lnTo>
                    <a:pt x="88" y="987"/>
                  </a:lnTo>
                  <a:lnTo>
                    <a:pt x="89" y="989"/>
                  </a:lnTo>
                  <a:lnTo>
                    <a:pt x="88" y="990"/>
                  </a:lnTo>
                  <a:lnTo>
                    <a:pt x="86" y="990"/>
                  </a:lnTo>
                  <a:lnTo>
                    <a:pt x="83" y="990"/>
                  </a:lnTo>
                  <a:lnTo>
                    <a:pt x="81" y="990"/>
                  </a:lnTo>
                  <a:lnTo>
                    <a:pt x="80" y="990"/>
                  </a:lnTo>
                  <a:lnTo>
                    <a:pt x="76" y="989"/>
                  </a:lnTo>
                  <a:lnTo>
                    <a:pt x="74" y="989"/>
                  </a:lnTo>
                  <a:lnTo>
                    <a:pt x="71" y="985"/>
                  </a:lnTo>
                  <a:lnTo>
                    <a:pt x="68" y="984"/>
                  </a:lnTo>
                  <a:lnTo>
                    <a:pt x="66" y="981"/>
                  </a:lnTo>
                  <a:lnTo>
                    <a:pt x="65" y="980"/>
                  </a:lnTo>
                  <a:lnTo>
                    <a:pt x="63" y="980"/>
                  </a:lnTo>
                  <a:lnTo>
                    <a:pt x="63" y="977"/>
                  </a:lnTo>
                  <a:lnTo>
                    <a:pt x="62" y="978"/>
                  </a:lnTo>
                  <a:lnTo>
                    <a:pt x="60" y="977"/>
                  </a:lnTo>
                  <a:lnTo>
                    <a:pt x="60" y="975"/>
                  </a:lnTo>
                  <a:lnTo>
                    <a:pt x="59" y="975"/>
                  </a:lnTo>
                  <a:lnTo>
                    <a:pt x="57" y="974"/>
                  </a:lnTo>
                  <a:lnTo>
                    <a:pt x="56" y="977"/>
                  </a:lnTo>
                  <a:lnTo>
                    <a:pt x="54" y="979"/>
                  </a:lnTo>
                  <a:lnTo>
                    <a:pt x="53" y="980"/>
                  </a:lnTo>
                  <a:lnTo>
                    <a:pt x="53" y="981"/>
                  </a:lnTo>
                  <a:lnTo>
                    <a:pt x="56" y="981"/>
                  </a:lnTo>
                  <a:lnTo>
                    <a:pt x="58" y="984"/>
                  </a:lnTo>
                  <a:lnTo>
                    <a:pt x="60" y="986"/>
                  </a:lnTo>
                  <a:lnTo>
                    <a:pt x="63" y="985"/>
                  </a:lnTo>
                  <a:lnTo>
                    <a:pt x="62" y="987"/>
                  </a:lnTo>
                  <a:lnTo>
                    <a:pt x="60" y="989"/>
                  </a:lnTo>
                  <a:lnTo>
                    <a:pt x="58" y="989"/>
                  </a:lnTo>
                  <a:lnTo>
                    <a:pt x="56" y="987"/>
                  </a:lnTo>
                  <a:lnTo>
                    <a:pt x="52" y="986"/>
                  </a:lnTo>
                  <a:lnTo>
                    <a:pt x="50" y="986"/>
                  </a:lnTo>
                  <a:lnTo>
                    <a:pt x="46" y="984"/>
                  </a:lnTo>
                  <a:lnTo>
                    <a:pt x="42" y="983"/>
                  </a:lnTo>
                  <a:lnTo>
                    <a:pt x="39" y="980"/>
                  </a:lnTo>
                  <a:lnTo>
                    <a:pt x="34" y="977"/>
                  </a:lnTo>
                  <a:lnTo>
                    <a:pt x="28" y="972"/>
                  </a:lnTo>
                  <a:lnTo>
                    <a:pt x="22" y="969"/>
                  </a:lnTo>
                  <a:lnTo>
                    <a:pt x="19" y="966"/>
                  </a:lnTo>
                  <a:lnTo>
                    <a:pt x="17" y="966"/>
                  </a:lnTo>
                  <a:lnTo>
                    <a:pt x="16" y="966"/>
                  </a:lnTo>
                  <a:lnTo>
                    <a:pt x="15" y="965"/>
                  </a:lnTo>
                  <a:lnTo>
                    <a:pt x="12" y="963"/>
                  </a:lnTo>
                  <a:lnTo>
                    <a:pt x="10" y="962"/>
                  </a:lnTo>
                  <a:lnTo>
                    <a:pt x="7" y="962"/>
                  </a:lnTo>
                  <a:lnTo>
                    <a:pt x="0" y="960"/>
                  </a:lnTo>
                  <a:lnTo>
                    <a:pt x="0" y="961"/>
                  </a:lnTo>
                  <a:lnTo>
                    <a:pt x="1" y="961"/>
                  </a:lnTo>
                  <a:lnTo>
                    <a:pt x="5" y="963"/>
                  </a:lnTo>
                  <a:lnTo>
                    <a:pt x="5" y="966"/>
                  </a:lnTo>
                  <a:lnTo>
                    <a:pt x="5" y="967"/>
                  </a:lnTo>
                  <a:lnTo>
                    <a:pt x="6" y="967"/>
                  </a:lnTo>
                  <a:lnTo>
                    <a:pt x="9" y="966"/>
                  </a:lnTo>
                  <a:lnTo>
                    <a:pt x="11" y="966"/>
                  </a:lnTo>
                  <a:lnTo>
                    <a:pt x="9" y="967"/>
                  </a:lnTo>
                  <a:lnTo>
                    <a:pt x="7" y="968"/>
                  </a:lnTo>
                  <a:lnTo>
                    <a:pt x="10" y="969"/>
                  </a:lnTo>
                  <a:lnTo>
                    <a:pt x="12" y="969"/>
                  </a:lnTo>
                  <a:lnTo>
                    <a:pt x="15" y="971"/>
                  </a:lnTo>
                  <a:lnTo>
                    <a:pt x="12" y="973"/>
                  </a:lnTo>
                  <a:lnTo>
                    <a:pt x="13" y="974"/>
                  </a:lnTo>
                  <a:lnTo>
                    <a:pt x="16" y="973"/>
                  </a:lnTo>
                  <a:lnTo>
                    <a:pt x="17" y="972"/>
                  </a:lnTo>
                  <a:lnTo>
                    <a:pt x="17" y="973"/>
                  </a:lnTo>
                  <a:lnTo>
                    <a:pt x="16" y="977"/>
                  </a:lnTo>
                  <a:lnTo>
                    <a:pt x="17" y="978"/>
                  </a:lnTo>
                  <a:lnTo>
                    <a:pt x="18" y="975"/>
                  </a:lnTo>
                  <a:lnTo>
                    <a:pt x="19" y="974"/>
                  </a:lnTo>
                  <a:lnTo>
                    <a:pt x="21" y="973"/>
                  </a:lnTo>
                  <a:lnTo>
                    <a:pt x="23" y="974"/>
                  </a:lnTo>
                  <a:lnTo>
                    <a:pt x="21" y="977"/>
                  </a:lnTo>
                  <a:lnTo>
                    <a:pt x="19" y="978"/>
                  </a:lnTo>
                  <a:lnTo>
                    <a:pt x="19" y="979"/>
                  </a:lnTo>
                  <a:lnTo>
                    <a:pt x="21" y="979"/>
                  </a:lnTo>
                  <a:lnTo>
                    <a:pt x="18" y="980"/>
                  </a:lnTo>
                  <a:lnTo>
                    <a:pt x="17" y="981"/>
                  </a:lnTo>
                  <a:lnTo>
                    <a:pt x="17" y="983"/>
                  </a:lnTo>
                  <a:lnTo>
                    <a:pt x="22" y="981"/>
                  </a:lnTo>
                  <a:lnTo>
                    <a:pt x="24" y="979"/>
                  </a:lnTo>
                  <a:lnTo>
                    <a:pt x="27" y="978"/>
                  </a:lnTo>
                  <a:lnTo>
                    <a:pt x="24" y="981"/>
                  </a:lnTo>
                  <a:lnTo>
                    <a:pt x="24" y="985"/>
                  </a:lnTo>
                  <a:lnTo>
                    <a:pt x="25" y="984"/>
                  </a:lnTo>
                  <a:lnTo>
                    <a:pt x="28" y="980"/>
                  </a:lnTo>
                  <a:lnTo>
                    <a:pt x="28" y="981"/>
                  </a:lnTo>
                  <a:lnTo>
                    <a:pt x="27" y="985"/>
                  </a:lnTo>
                  <a:lnTo>
                    <a:pt x="25" y="989"/>
                  </a:lnTo>
                  <a:lnTo>
                    <a:pt x="23" y="993"/>
                  </a:lnTo>
                  <a:lnTo>
                    <a:pt x="24" y="997"/>
                  </a:lnTo>
                  <a:lnTo>
                    <a:pt x="24" y="999"/>
                  </a:lnTo>
                  <a:lnTo>
                    <a:pt x="25" y="997"/>
                  </a:lnTo>
                  <a:lnTo>
                    <a:pt x="27" y="996"/>
                  </a:lnTo>
                  <a:lnTo>
                    <a:pt x="29" y="995"/>
                  </a:lnTo>
                  <a:lnTo>
                    <a:pt x="29" y="992"/>
                  </a:lnTo>
                  <a:lnTo>
                    <a:pt x="30" y="991"/>
                  </a:lnTo>
                  <a:lnTo>
                    <a:pt x="32" y="991"/>
                  </a:lnTo>
                  <a:lnTo>
                    <a:pt x="32" y="993"/>
                  </a:lnTo>
                  <a:lnTo>
                    <a:pt x="30" y="996"/>
                  </a:lnTo>
                  <a:lnTo>
                    <a:pt x="28" y="998"/>
                  </a:lnTo>
                  <a:lnTo>
                    <a:pt x="29" y="999"/>
                  </a:lnTo>
                  <a:lnTo>
                    <a:pt x="30" y="998"/>
                  </a:lnTo>
                  <a:lnTo>
                    <a:pt x="29" y="999"/>
                  </a:lnTo>
                  <a:lnTo>
                    <a:pt x="30" y="1002"/>
                  </a:lnTo>
                  <a:lnTo>
                    <a:pt x="30" y="1003"/>
                  </a:lnTo>
                  <a:lnTo>
                    <a:pt x="32" y="1003"/>
                  </a:lnTo>
                  <a:lnTo>
                    <a:pt x="32" y="1002"/>
                  </a:lnTo>
                  <a:lnTo>
                    <a:pt x="33" y="1001"/>
                  </a:lnTo>
                  <a:lnTo>
                    <a:pt x="34" y="1001"/>
                  </a:lnTo>
                  <a:lnTo>
                    <a:pt x="35" y="999"/>
                  </a:lnTo>
                  <a:lnTo>
                    <a:pt x="34" y="1003"/>
                  </a:lnTo>
                  <a:lnTo>
                    <a:pt x="34" y="1008"/>
                  </a:lnTo>
                  <a:lnTo>
                    <a:pt x="35" y="1007"/>
                  </a:lnTo>
                  <a:lnTo>
                    <a:pt x="36" y="1008"/>
                  </a:lnTo>
                  <a:lnTo>
                    <a:pt x="38" y="1008"/>
                  </a:lnTo>
                  <a:lnTo>
                    <a:pt x="38" y="1005"/>
                  </a:lnTo>
                  <a:lnTo>
                    <a:pt x="38" y="1002"/>
                  </a:lnTo>
                  <a:lnTo>
                    <a:pt x="38" y="999"/>
                  </a:lnTo>
                  <a:lnTo>
                    <a:pt x="39" y="999"/>
                  </a:lnTo>
                  <a:lnTo>
                    <a:pt x="39" y="1002"/>
                  </a:lnTo>
                  <a:lnTo>
                    <a:pt x="40" y="1004"/>
                  </a:lnTo>
                  <a:lnTo>
                    <a:pt x="41" y="1005"/>
                  </a:lnTo>
                  <a:lnTo>
                    <a:pt x="41" y="1002"/>
                  </a:lnTo>
                  <a:lnTo>
                    <a:pt x="42" y="999"/>
                  </a:lnTo>
                  <a:lnTo>
                    <a:pt x="44" y="999"/>
                  </a:lnTo>
                  <a:lnTo>
                    <a:pt x="44" y="1003"/>
                  </a:lnTo>
                  <a:lnTo>
                    <a:pt x="45" y="1003"/>
                  </a:lnTo>
                  <a:lnTo>
                    <a:pt x="45" y="1005"/>
                  </a:lnTo>
                  <a:lnTo>
                    <a:pt x="45" y="1008"/>
                  </a:lnTo>
                  <a:lnTo>
                    <a:pt x="44" y="1010"/>
                  </a:lnTo>
                  <a:lnTo>
                    <a:pt x="44" y="1011"/>
                  </a:lnTo>
                  <a:lnTo>
                    <a:pt x="45" y="1013"/>
                  </a:lnTo>
                  <a:lnTo>
                    <a:pt x="45" y="1014"/>
                  </a:lnTo>
                  <a:lnTo>
                    <a:pt x="45" y="1016"/>
                  </a:lnTo>
                  <a:lnTo>
                    <a:pt x="44" y="1019"/>
                  </a:lnTo>
                  <a:lnTo>
                    <a:pt x="45" y="1020"/>
                  </a:lnTo>
                  <a:lnTo>
                    <a:pt x="46" y="1019"/>
                  </a:lnTo>
                  <a:lnTo>
                    <a:pt x="47" y="1017"/>
                  </a:lnTo>
                  <a:lnTo>
                    <a:pt x="47" y="1015"/>
                  </a:lnTo>
                  <a:lnTo>
                    <a:pt x="48" y="1013"/>
                  </a:lnTo>
                  <a:lnTo>
                    <a:pt x="48" y="1010"/>
                  </a:lnTo>
                  <a:lnTo>
                    <a:pt x="50" y="1011"/>
                  </a:lnTo>
                  <a:lnTo>
                    <a:pt x="52" y="1010"/>
                  </a:lnTo>
                  <a:lnTo>
                    <a:pt x="52" y="1013"/>
                  </a:lnTo>
                  <a:lnTo>
                    <a:pt x="52" y="1015"/>
                  </a:lnTo>
                  <a:lnTo>
                    <a:pt x="53" y="1014"/>
                  </a:lnTo>
                  <a:lnTo>
                    <a:pt x="54" y="1013"/>
                  </a:lnTo>
                  <a:lnTo>
                    <a:pt x="54" y="1010"/>
                  </a:lnTo>
                  <a:lnTo>
                    <a:pt x="56" y="1010"/>
                  </a:lnTo>
                  <a:lnTo>
                    <a:pt x="56" y="1013"/>
                  </a:lnTo>
                  <a:lnTo>
                    <a:pt x="54" y="1015"/>
                  </a:lnTo>
                  <a:lnTo>
                    <a:pt x="52" y="1017"/>
                  </a:lnTo>
                  <a:lnTo>
                    <a:pt x="50" y="1019"/>
                  </a:lnTo>
                  <a:lnTo>
                    <a:pt x="45" y="1021"/>
                  </a:lnTo>
                  <a:lnTo>
                    <a:pt x="44" y="1022"/>
                  </a:lnTo>
                  <a:lnTo>
                    <a:pt x="41" y="1025"/>
                  </a:lnTo>
                  <a:lnTo>
                    <a:pt x="39" y="1025"/>
                  </a:lnTo>
                  <a:lnTo>
                    <a:pt x="30" y="1021"/>
                  </a:lnTo>
                  <a:lnTo>
                    <a:pt x="30" y="1022"/>
                  </a:lnTo>
                  <a:lnTo>
                    <a:pt x="36" y="1025"/>
                  </a:lnTo>
                  <a:lnTo>
                    <a:pt x="38" y="1027"/>
                  </a:lnTo>
                  <a:lnTo>
                    <a:pt x="33" y="1029"/>
                  </a:lnTo>
                  <a:lnTo>
                    <a:pt x="32" y="1031"/>
                  </a:lnTo>
                  <a:lnTo>
                    <a:pt x="33" y="1032"/>
                  </a:lnTo>
                  <a:lnTo>
                    <a:pt x="35" y="1029"/>
                  </a:lnTo>
                  <a:lnTo>
                    <a:pt x="36" y="1029"/>
                  </a:lnTo>
                  <a:lnTo>
                    <a:pt x="36" y="1034"/>
                  </a:lnTo>
                  <a:lnTo>
                    <a:pt x="38" y="1034"/>
                  </a:lnTo>
                  <a:lnTo>
                    <a:pt x="38" y="1031"/>
                  </a:lnTo>
                  <a:lnTo>
                    <a:pt x="39" y="1029"/>
                  </a:lnTo>
                  <a:lnTo>
                    <a:pt x="40" y="1027"/>
                  </a:lnTo>
                  <a:lnTo>
                    <a:pt x="41" y="1027"/>
                  </a:lnTo>
                  <a:lnTo>
                    <a:pt x="41" y="1029"/>
                  </a:lnTo>
                  <a:lnTo>
                    <a:pt x="41" y="1033"/>
                  </a:lnTo>
                  <a:lnTo>
                    <a:pt x="42" y="1033"/>
                  </a:lnTo>
                  <a:lnTo>
                    <a:pt x="44" y="1033"/>
                  </a:lnTo>
                  <a:lnTo>
                    <a:pt x="44" y="1032"/>
                  </a:lnTo>
                  <a:lnTo>
                    <a:pt x="42" y="1031"/>
                  </a:lnTo>
                  <a:lnTo>
                    <a:pt x="44" y="1028"/>
                  </a:lnTo>
                  <a:lnTo>
                    <a:pt x="45" y="1028"/>
                  </a:lnTo>
                  <a:lnTo>
                    <a:pt x="47" y="1028"/>
                  </a:lnTo>
                  <a:lnTo>
                    <a:pt x="48" y="1028"/>
                  </a:lnTo>
                  <a:lnTo>
                    <a:pt x="47" y="1032"/>
                  </a:lnTo>
                  <a:lnTo>
                    <a:pt x="45" y="1034"/>
                  </a:lnTo>
                  <a:lnTo>
                    <a:pt x="42" y="1037"/>
                  </a:lnTo>
                  <a:lnTo>
                    <a:pt x="44" y="1037"/>
                  </a:lnTo>
                  <a:lnTo>
                    <a:pt x="46" y="1034"/>
                  </a:lnTo>
                  <a:lnTo>
                    <a:pt x="46" y="1035"/>
                  </a:lnTo>
                  <a:lnTo>
                    <a:pt x="44" y="1039"/>
                  </a:lnTo>
                  <a:lnTo>
                    <a:pt x="45" y="1041"/>
                  </a:lnTo>
                  <a:lnTo>
                    <a:pt x="46" y="1041"/>
                  </a:lnTo>
                  <a:lnTo>
                    <a:pt x="48" y="1039"/>
                  </a:lnTo>
                  <a:lnTo>
                    <a:pt x="50" y="1037"/>
                  </a:lnTo>
                  <a:lnTo>
                    <a:pt x="52" y="1033"/>
                  </a:lnTo>
                  <a:lnTo>
                    <a:pt x="54" y="1029"/>
                  </a:lnTo>
                  <a:lnTo>
                    <a:pt x="56" y="1029"/>
                  </a:lnTo>
                  <a:lnTo>
                    <a:pt x="58" y="1031"/>
                  </a:lnTo>
                  <a:lnTo>
                    <a:pt x="62" y="1031"/>
                  </a:lnTo>
                  <a:lnTo>
                    <a:pt x="59" y="1035"/>
                  </a:lnTo>
                  <a:lnTo>
                    <a:pt x="56" y="1038"/>
                  </a:lnTo>
                  <a:lnTo>
                    <a:pt x="57" y="1040"/>
                  </a:lnTo>
                  <a:lnTo>
                    <a:pt x="53" y="1041"/>
                  </a:lnTo>
                  <a:lnTo>
                    <a:pt x="50" y="1043"/>
                  </a:lnTo>
                  <a:lnTo>
                    <a:pt x="46" y="1047"/>
                  </a:lnTo>
                  <a:lnTo>
                    <a:pt x="45" y="1050"/>
                  </a:lnTo>
                  <a:lnTo>
                    <a:pt x="47" y="1050"/>
                  </a:lnTo>
                  <a:lnTo>
                    <a:pt x="50" y="1049"/>
                  </a:lnTo>
                  <a:lnTo>
                    <a:pt x="50" y="1050"/>
                  </a:lnTo>
                  <a:lnTo>
                    <a:pt x="51" y="1049"/>
                  </a:lnTo>
                  <a:lnTo>
                    <a:pt x="52" y="1046"/>
                  </a:lnTo>
                  <a:lnTo>
                    <a:pt x="54" y="1044"/>
                  </a:lnTo>
                  <a:lnTo>
                    <a:pt x="57" y="1043"/>
                  </a:lnTo>
                  <a:lnTo>
                    <a:pt x="58" y="1041"/>
                  </a:lnTo>
                  <a:lnTo>
                    <a:pt x="57" y="1045"/>
                  </a:lnTo>
                  <a:lnTo>
                    <a:pt x="54" y="1050"/>
                  </a:lnTo>
                  <a:lnTo>
                    <a:pt x="58" y="1050"/>
                  </a:lnTo>
                  <a:lnTo>
                    <a:pt x="59" y="1049"/>
                  </a:lnTo>
                  <a:lnTo>
                    <a:pt x="59" y="1051"/>
                  </a:lnTo>
                  <a:lnTo>
                    <a:pt x="60" y="1051"/>
                  </a:lnTo>
                  <a:lnTo>
                    <a:pt x="62" y="1050"/>
                  </a:lnTo>
                  <a:lnTo>
                    <a:pt x="63" y="1049"/>
                  </a:lnTo>
                  <a:lnTo>
                    <a:pt x="63" y="1046"/>
                  </a:lnTo>
                  <a:lnTo>
                    <a:pt x="63" y="1043"/>
                  </a:lnTo>
                  <a:lnTo>
                    <a:pt x="64" y="1039"/>
                  </a:lnTo>
                  <a:lnTo>
                    <a:pt x="65" y="1043"/>
                  </a:lnTo>
                  <a:lnTo>
                    <a:pt x="65" y="1044"/>
                  </a:lnTo>
                  <a:lnTo>
                    <a:pt x="65" y="1043"/>
                  </a:lnTo>
                  <a:lnTo>
                    <a:pt x="64" y="1038"/>
                  </a:lnTo>
                  <a:lnTo>
                    <a:pt x="66" y="1035"/>
                  </a:lnTo>
                  <a:lnTo>
                    <a:pt x="68" y="1035"/>
                  </a:lnTo>
                  <a:lnTo>
                    <a:pt x="68" y="1037"/>
                  </a:lnTo>
                  <a:lnTo>
                    <a:pt x="69" y="1033"/>
                  </a:lnTo>
                  <a:lnTo>
                    <a:pt x="69" y="1032"/>
                  </a:lnTo>
                  <a:lnTo>
                    <a:pt x="70" y="1032"/>
                  </a:lnTo>
                  <a:lnTo>
                    <a:pt x="70" y="1034"/>
                  </a:lnTo>
                  <a:lnTo>
                    <a:pt x="70" y="1038"/>
                  </a:lnTo>
                  <a:lnTo>
                    <a:pt x="69" y="1041"/>
                  </a:lnTo>
                  <a:lnTo>
                    <a:pt x="68" y="1044"/>
                  </a:lnTo>
                  <a:lnTo>
                    <a:pt x="69" y="1046"/>
                  </a:lnTo>
                  <a:lnTo>
                    <a:pt x="66" y="1049"/>
                  </a:lnTo>
                  <a:lnTo>
                    <a:pt x="68" y="1051"/>
                  </a:lnTo>
                  <a:lnTo>
                    <a:pt x="68" y="1052"/>
                  </a:lnTo>
                  <a:lnTo>
                    <a:pt x="68" y="1057"/>
                  </a:lnTo>
                  <a:lnTo>
                    <a:pt x="69" y="1056"/>
                  </a:lnTo>
                  <a:lnTo>
                    <a:pt x="71" y="1055"/>
                  </a:lnTo>
                  <a:lnTo>
                    <a:pt x="72" y="1053"/>
                  </a:lnTo>
                  <a:lnTo>
                    <a:pt x="74" y="1052"/>
                  </a:lnTo>
                  <a:lnTo>
                    <a:pt x="74" y="1047"/>
                  </a:lnTo>
                  <a:lnTo>
                    <a:pt x="74" y="1045"/>
                  </a:lnTo>
                  <a:lnTo>
                    <a:pt x="75" y="1046"/>
                  </a:lnTo>
                  <a:lnTo>
                    <a:pt x="75" y="1047"/>
                  </a:lnTo>
                  <a:lnTo>
                    <a:pt x="75" y="1051"/>
                  </a:lnTo>
                  <a:lnTo>
                    <a:pt x="75" y="1053"/>
                  </a:lnTo>
                  <a:lnTo>
                    <a:pt x="75" y="1057"/>
                  </a:lnTo>
                  <a:lnTo>
                    <a:pt x="76" y="1059"/>
                  </a:lnTo>
                  <a:lnTo>
                    <a:pt x="76" y="1058"/>
                  </a:lnTo>
                  <a:lnTo>
                    <a:pt x="77" y="1059"/>
                  </a:lnTo>
                  <a:lnTo>
                    <a:pt x="78" y="1062"/>
                  </a:lnTo>
                  <a:lnTo>
                    <a:pt x="80" y="1062"/>
                  </a:lnTo>
                  <a:lnTo>
                    <a:pt x="80" y="1057"/>
                  </a:lnTo>
                  <a:lnTo>
                    <a:pt x="78" y="1052"/>
                  </a:lnTo>
                  <a:lnTo>
                    <a:pt x="80" y="1049"/>
                  </a:lnTo>
                  <a:lnTo>
                    <a:pt x="80" y="1044"/>
                  </a:lnTo>
                  <a:lnTo>
                    <a:pt x="81" y="1051"/>
                  </a:lnTo>
                  <a:lnTo>
                    <a:pt x="83" y="1050"/>
                  </a:lnTo>
                  <a:lnTo>
                    <a:pt x="83" y="1046"/>
                  </a:lnTo>
                  <a:lnTo>
                    <a:pt x="83" y="1043"/>
                  </a:lnTo>
                  <a:lnTo>
                    <a:pt x="84" y="1040"/>
                  </a:lnTo>
                  <a:lnTo>
                    <a:pt x="84" y="1034"/>
                  </a:lnTo>
                  <a:lnTo>
                    <a:pt x="86" y="1033"/>
                  </a:lnTo>
                  <a:lnTo>
                    <a:pt x="86" y="1038"/>
                  </a:lnTo>
                  <a:lnTo>
                    <a:pt x="86" y="1044"/>
                  </a:lnTo>
                  <a:lnTo>
                    <a:pt x="83" y="1047"/>
                  </a:lnTo>
                  <a:lnTo>
                    <a:pt x="83" y="1051"/>
                  </a:lnTo>
                  <a:lnTo>
                    <a:pt x="82" y="1055"/>
                  </a:lnTo>
                  <a:lnTo>
                    <a:pt x="81" y="1057"/>
                  </a:lnTo>
                  <a:lnTo>
                    <a:pt x="82" y="1058"/>
                  </a:lnTo>
                  <a:lnTo>
                    <a:pt x="83" y="1059"/>
                  </a:lnTo>
                  <a:lnTo>
                    <a:pt x="84" y="1058"/>
                  </a:lnTo>
                  <a:lnTo>
                    <a:pt x="84" y="1057"/>
                  </a:lnTo>
                  <a:lnTo>
                    <a:pt x="86" y="1055"/>
                  </a:lnTo>
                  <a:lnTo>
                    <a:pt x="87" y="1052"/>
                  </a:lnTo>
                  <a:lnTo>
                    <a:pt x="88" y="1051"/>
                  </a:lnTo>
                  <a:lnTo>
                    <a:pt x="87" y="1050"/>
                  </a:lnTo>
                  <a:lnTo>
                    <a:pt x="88" y="1045"/>
                  </a:lnTo>
                  <a:lnTo>
                    <a:pt x="88" y="1046"/>
                  </a:lnTo>
                  <a:lnTo>
                    <a:pt x="88" y="1050"/>
                  </a:lnTo>
                  <a:lnTo>
                    <a:pt x="89" y="1052"/>
                  </a:lnTo>
                  <a:lnTo>
                    <a:pt x="89" y="1053"/>
                  </a:lnTo>
                  <a:lnTo>
                    <a:pt x="92" y="1050"/>
                  </a:lnTo>
                  <a:lnTo>
                    <a:pt x="92" y="1047"/>
                  </a:lnTo>
                  <a:lnTo>
                    <a:pt x="93" y="1046"/>
                  </a:lnTo>
                  <a:lnTo>
                    <a:pt x="94" y="1041"/>
                  </a:lnTo>
                  <a:lnTo>
                    <a:pt x="95" y="1043"/>
                  </a:lnTo>
                  <a:lnTo>
                    <a:pt x="95" y="1046"/>
                  </a:lnTo>
                  <a:lnTo>
                    <a:pt x="93" y="1050"/>
                  </a:lnTo>
                  <a:lnTo>
                    <a:pt x="94" y="1053"/>
                  </a:lnTo>
                  <a:lnTo>
                    <a:pt x="94" y="1056"/>
                  </a:lnTo>
                  <a:lnTo>
                    <a:pt x="95" y="1057"/>
                  </a:lnTo>
                  <a:lnTo>
                    <a:pt x="97" y="1056"/>
                  </a:lnTo>
                  <a:lnTo>
                    <a:pt x="97" y="1058"/>
                  </a:lnTo>
                  <a:lnTo>
                    <a:pt x="95" y="1061"/>
                  </a:lnTo>
                  <a:lnTo>
                    <a:pt x="94" y="1062"/>
                  </a:lnTo>
                  <a:lnTo>
                    <a:pt x="91" y="1064"/>
                  </a:lnTo>
                  <a:lnTo>
                    <a:pt x="92" y="1065"/>
                  </a:lnTo>
                  <a:lnTo>
                    <a:pt x="94" y="1063"/>
                  </a:lnTo>
                  <a:lnTo>
                    <a:pt x="94" y="1065"/>
                  </a:lnTo>
                  <a:lnTo>
                    <a:pt x="93" y="1068"/>
                  </a:lnTo>
                  <a:lnTo>
                    <a:pt x="94" y="1068"/>
                  </a:lnTo>
                  <a:lnTo>
                    <a:pt x="95" y="1069"/>
                  </a:lnTo>
                  <a:lnTo>
                    <a:pt x="97" y="1069"/>
                  </a:lnTo>
                  <a:lnTo>
                    <a:pt x="101" y="1062"/>
                  </a:lnTo>
                  <a:lnTo>
                    <a:pt x="101" y="1059"/>
                  </a:lnTo>
                  <a:lnTo>
                    <a:pt x="101" y="1058"/>
                  </a:lnTo>
                  <a:lnTo>
                    <a:pt x="101" y="1051"/>
                  </a:lnTo>
                  <a:lnTo>
                    <a:pt x="103" y="1047"/>
                  </a:lnTo>
                  <a:lnTo>
                    <a:pt x="103" y="1043"/>
                  </a:lnTo>
                  <a:lnTo>
                    <a:pt x="103" y="1041"/>
                  </a:lnTo>
                  <a:lnTo>
                    <a:pt x="104" y="1041"/>
                  </a:lnTo>
                  <a:lnTo>
                    <a:pt x="104" y="1044"/>
                  </a:lnTo>
                  <a:lnTo>
                    <a:pt x="104" y="1045"/>
                  </a:lnTo>
                  <a:lnTo>
                    <a:pt x="106" y="1046"/>
                  </a:lnTo>
                  <a:lnTo>
                    <a:pt x="105" y="1050"/>
                  </a:lnTo>
                  <a:lnTo>
                    <a:pt x="105" y="1053"/>
                  </a:lnTo>
                  <a:lnTo>
                    <a:pt x="105" y="1057"/>
                  </a:lnTo>
                  <a:lnTo>
                    <a:pt x="105" y="1058"/>
                  </a:lnTo>
                  <a:lnTo>
                    <a:pt x="105" y="1059"/>
                  </a:lnTo>
                  <a:lnTo>
                    <a:pt x="104" y="1062"/>
                  </a:lnTo>
                  <a:lnTo>
                    <a:pt x="103" y="1063"/>
                  </a:lnTo>
                  <a:lnTo>
                    <a:pt x="101" y="1065"/>
                  </a:lnTo>
                  <a:lnTo>
                    <a:pt x="100" y="1068"/>
                  </a:lnTo>
                  <a:lnTo>
                    <a:pt x="100" y="1072"/>
                  </a:lnTo>
                  <a:lnTo>
                    <a:pt x="100" y="1074"/>
                  </a:lnTo>
                  <a:lnTo>
                    <a:pt x="100" y="1076"/>
                  </a:lnTo>
                  <a:lnTo>
                    <a:pt x="101" y="1078"/>
                  </a:lnTo>
                  <a:lnTo>
                    <a:pt x="100" y="1081"/>
                  </a:lnTo>
                  <a:lnTo>
                    <a:pt x="100" y="1084"/>
                  </a:lnTo>
                  <a:lnTo>
                    <a:pt x="98" y="1085"/>
                  </a:lnTo>
                  <a:lnTo>
                    <a:pt x="94" y="1086"/>
                  </a:lnTo>
                  <a:lnTo>
                    <a:pt x="92" y="1085"/>
                  </a:lnTo>
                  <a:lnTo>
                    <a:pt x="87" y="1082"/>
                  </a:lnTo>
                  <a:lnTo>
                    <a:pt x="83" y="1080"/>
                  </a:lnTo>
                  <a:lnTo>
                    <a:pt x="82" y="1080"/>
                  </a:lnTo>
                  <a:lnTo>
                    <a:pt x="80" y="1080"/>
                  </a:lnTo>
                  <a:lnTo>
                    <a:pt x="77" y="1079"/>
                  </a:lnTo>
                  <a:lnTo>
                    <a:pt x="74" y="1078"/>
                  </a:lnTo>
                  <a:lnTo>
                    <a:pt x="71" y="1076"/>
                  </a:lnTo>
                  <a:lnTo>
                    <a:pt x="70" y="1080"/>
                  </a:lnTo>
                  <a:lnTo>
                    <a:pt x="72" y="1080"/>
                  </a:lnTo>
                  <a:lnTo>
                    <a:pt x="71" y="1082"/>
                  </a:lnTo>
                  <a:lnTo>
                    <a:pt x="72" y="1082"/>
                  </a:lnTo>
                  <a:lnTo>
                    <a:pt x="75" y="1082"/>
                  </a:lnTo>
                  <a:lnTo>
                    <a:pt x="74" y="1085"/>
                  </a:lnTo>
                  <a:lnTo>
                    <a:pt x="74" y="1086"/>
                  </a:lnTo>
                  <a:lnTo>
                    <a:pt x="76" y="1085"/>
                  </a:lnTo>
                  <a:lnTo>
                    <a:pt x="77" y="1084"/>
                  </a:lnTo>
                  <a:lnTo>
                    <a:pt x="78" y="1084"/>
                  </a:lnTo>
                  <a:lnTo>
                    <a:pt x="80" y="1085"/>
                  </a:lnTo>
                  <a:lnTo>
                    <a:pt x="76" y="1087"/>
                  </a:lnTo>
                  <a:lnTo>
                    <a:pt x="76" y="1088"/>
                  </a:lnTo>
                  <a:lnTo>
                    <a:pt x="77" y="1090"/>
                  </a:lnTo>
                  <a:lnTo>
                    <a:pt x="80" y="1091"/>
                  </a:lnTo>
                  <a:lnTo>
                    <a:pt x="81" y="1090"/>
                  </a:lnTo>
                  <a:lnTo>
                    <a:pt x="82" y="1088"/>
                  </a:lnTo>
                  <a:lnTo>
                    <a:pt x="81" y="1091"/>
                  </a:lnTo>
                  <a:lnTo>
                    <a:pt x="81" y="1093"/>
                  </a:lnTo>
                  <a:lnTo>
                    <a:pt x="81" y="1094"/>
                  </a:lnTo>
                  <a:lnTo>
                    <a:pt x="82" y="1094"/>
                  </a:lnTo>
                  <a:lnTo>
                    <a:pt x="82" y="1096"/>
                  </a:lnTo>
                  <a:lnTo>
                    <a:pt x="83" y="1098"/>
                  </a:lnTo>
                  <a:lnTo>
                    <a:pt x="84" y="1099"/>
                  </a:lnTo>
                  <a:lnTo>
                    <a:pt x="86" y="1099"/>
                  </a:lnTo>
                  <a:lnTo>
                    <a:pt x="87" y="1099"/>
                  </a:lnTo>
                  <a:lnTo>
                    <a:pt x="87" y="1102"/>
                  </a:lnTo>
                  <a:lnTo>
                    <a:pt x="89" y="1104"/>
                  </a:lnTo>
                  <a:lnTo>
                    <a:pt x="87" y="1104"/>
                  </a:lnTo>
                  <a:lnTo>
                    <a:pt x="87" y="1106"/>
                  </a:lnTo>
                  <a:lnTo>
                    <a:pt x="88" y="1106"/>
                  </a:lnTo>
                  <a:lnTo>
                    <a:pt x="89" y="1108"/>
                  </a:lnTo>
                  <a:lnTo>
                    <a:pt x="91" y="1108"/>
                  </a:lnTo>
                  <a:lnTo>
                    <a:pt x="92" y="1105"/>
                  </a:lnTo>
                  <a:lnTo>
                    <a:pt x="93" y="1106"/>
                  </a:lnTo>
                  <a:lnTo>
                    <a:pt x="94" y="1106"/>
                  </a:lnTo>
                  <a:lnTo>
                    <a:pt x="95" y="1103"/>
                  </a:lnTo>
                  <a:lnTo>
                    <a:pt x="97" y="1102"/>
                  </a:lnTo>
                  <a:lnTo>
                    <a:pt x="98" y="1103"/>
                  </a:lnTo>
                  <a:lnTo>
                    <a:pt x="97" y="1105"/>
                  </a:lnTo>
                  <a:lnTo>
                    <a:pt x="94" y="1108"/>
                  </a:lnTo>
                  <a:lnTo>
                    <a:pt x="94" y="1109"/>
                  </a:lnTo>
                  <a:lnTo>
                    <a:pt x="97" y="1109"/>
                  </a:lnTo>
                  <a:lnTo>
                    <a:pt x="97" y="1111"/>
                  </a:lnTo>
                  <a:lnTo>
                    <a:pt x="97" y="1112"/>
                  </a:lnTo>
                  <a:lnTo>
                    <a:pt x="99" y="1112"/>
                  </a:lnTo>
                  <a:lnTo>
                    <a:pt x="101" y="1114"/>
                  </a:lnTo>
                  <a:lnTo>
                    <a:pt x="104" y="1112"/>
                  </a:lnTo>
                  <a:lnTo>
                    <a:pt x="105" y="1114"/>
                  </a:lnTo>
                  <a:lnTo>
                    <a:pt x="106" y="1114"/>
                  </a:lnTo>
                  <a:lnTo>
                    <a:pt x="109" y="1112"/>
                  </a:lnTo>
                  <a:lnTo>
                    <a:pt x="110" y="1114"/>
                  </a:lnTo>
                  <a:lnTo>
                    <a:pt x="111" y="1115"/>
                  </a:lnTo>
                  <a:lnTo>
                    <a:pt x="113" y="1114"/>
                  </a:lnTo>
                  <a:lnTo>
                    <a:pt x="113" y="1112"/>
                  </a:lnTo>
                  <a:lnTo>
                    <a:pt x="115" y="1112"/>
                  </a:lnTo>
                  <a:lnTo>
                    <a:pt x="116" y="1111"/>
                  </a:lnTo>
                  <a:lnTo>
                    <a:pt x="118" y="1111"/>
                  </a:lnTo>
                  <a:lnTo>
                    <a:pt x="118" y="1110"/>
                  </a:lnTo>
                  <a:lnTo>
                    <a:pt x="121" y="1112"/>
                  </a:lnTo>
                  <a:lnTo>
                    <a:pt x="122" y="1112"/>
                  </a:lnTo>
                  <a:lnTo>
                    <a:pt x="123" y="1112"/>
                  </a:lnTo>
                  <a:lnTo>
                    <a:pt x="124" y="1111"/>
                  </a:lnTo>
                  <a:lnTo>
                    <a:pt x="125" y="1111"/>
                  </a:lnTo>
                  <a:lnTo>
                    <a:pt x="127" y="1114"/>
                  </a:lnTo>
                  <a:lnTo>
                    <a:pt x="128" y="1114"/>
                  </a:lnTo>
                  <a:lnTo>
                    <a:pt x="129" y="1114"/>
                  </a:lnTo>
                  <a:lnTo>
                    <a:pt x="130" y="1114"/>
                  </a:lnTo>
                  <a:lnTo>
                    <a:pt x="131" y="1114"/>
                  </a:lnTo>
                  <a:lnTo>
                    <a:pt x="133" y="1115"/>
                  </a:lnTo>
                  <a:lnTo>
                    <a:pt x="134" y="1114"/>
                  </a:lnTo>
                  <a:lnTo>
                    <a:pt x="134" y="1112"/>
                  </a:lnTo>
                  <a:lnTo>
                    <a:pt x="136" y="1112"/>
                  </a:lnTo>
                  <a:lnTo>
                    <a:pt x="136" y="1114"/>
                  </a:lnTo>
                  <a:lnTo>
                    <a:pt x="137" y="1114"/>
                  </a:lnTo>
                  <a:lnTo>
                    <a:pt x="140" y="1114"/>
                  </a:lnTo>
                  <a:lnTo>
                    <a:pt x="141" y="1114"/>
                  </a:lnTo>
                  <a:lnTo>
                    <a:pt x="142" y="1115"/>
                  </a:lnTo>
                  <a:lnTo>
                    <a:pt x="145" y="1116"/>
                  </a:lnTo>
                  <a:lnTo>
                    <a:pt x="146" y="1117"/>
                  </a:lnTo>
                  <a:lnTo>
                    <a:pt x="147" y="1120"/>
                  </a:lnTo>
                  <a:lnTo>
                    <a:pt x="148" y="1121"/>
                  </a:lnTo>
                  <a:lnTo>
                    <a:pt x="148" y="1122"/>
                  </a:lnTo>
                  <a:lnTo>
                    <a:pt x="151" y="1123"/>
                  </a:lnTo>
                  <a:lnTo>
                    <a:pt x="153" y="1123"/>
                  </a:lnTo>
                  <a:lnTo>
                    <a:pt x="154" y="1122"/>
                  </a:lnTo>
                  <a:lnTo>
                    <a:pt x="152" y="1124"/>
                  </a:lnTo>
                  <a:lnTo>
                    <a:pt x="151" y="1126"/>
                  </a:lnTo>
                  <a:lnTo>
                    <a:pt x="152" y="1127"/>
                  </a:lnTo>
                  <a:lnTo>
                    <a:pt x="152" y="1126"/>
                  </a:lnTo>
                  <a:lnTo>
                    <a:pt x="154" y="1126"/>
                  </a:lnTo>
                  <a:lnTo>
                    <a:pt x="156" y="1126"/>
                  </a:lnTo>
                  <a:lnTo>
                    <a:pt x="156" y="1127"/>
                  </a:lnTo>
                  <a:lnTo>
                    <a:pt x="154" y="1127"/>
                  </a:lnTo>
                  <a:lnTo>
                    <a:pt x="153" y="1129"/>
                  </a:lnTo>
                  <a:lnTo>
                    <a:pt x="154" y="1129"/>
                  </a:lnTo>
                  <a:lnTo>
                    <a:pt x="154" y="1132"/>
                  </a:lnTo>
                  <a:lnTo>
                    <a:pt x="156" y="1130"/>
                  </a:lnTo>
                  <a:lnTo>
                    <a:pt x="157" y="1130"/>
                  </a:lnTo>
                  <a:lnTo>
                    <a:pt x="158" y="1132"/>
                  </a:lnTo>
                  <a:lnTo>
                    <a:pt x="157" y="1133"/>
                  </a:lnTo>
                  <a:lnTo>
                    <a:pt x="158" y="1134"/>
                  </a:lnTo>
                  <a:lnTo>
                    <a:pt x="159" y="1134"/>
                  </a:lnTo>
                  <a:lnTo>
                    <a:pt x="159" y="1135"/>
                  </a:lnTo>
                  <a:lnTo>
                    <a:pt x="160" y="1136"/>
                  </a:lnTo>
                  <a:lnTo>
                    <a:pt x="162" y="1134"/>
                  </a:lnTo>
                  <a:lnTo>
                    <a:pt x="163" y="1134"/>
                  </a:lnTo>
                  <a:lnTo>
                    <a:pt x="163" y="1136"/>
                  </a:lnTo>
                  <a:lnTo>
                    <a:pt x="160" y="1139"/>
                  </a:lnTo>
                  <a:lnTo>
                    <a:pt x="160" y="1141"/>
                  </a:lnTo>
                  <a:lnTo>
                    <a:pt x="162" y="1141"/>
                  </a:lnTo>
                  <a:lnTo>
                    <a:pt x="163" y="1140"/>
                  </a:lnTo>
                  <a:lnTo>
                    <a:pt x="164" y="1138"/>
                  </a:lnTo>
                  <a:lnTo>
                    <a:pt x="165" y="1135"/>
                  </a:lnTo>
                  <a:lnTo>
                    <a:pt x="165" y="1138"/>
                  </a:lnTo>
                  <a:lnTo>
                    <a:pt x="164" y="1140"/>
                  </a:lnTo>
                  <a:lnTo>
                    <a:pt x="165" y="1141"/>
                  </a:lnTo>
                  <a:lnTo>
                    <a:pt x="165" y="1142"/>
                  </a:lnTo>
                  <a:lnTo>
                    <a:pt x="164" y="1144"/>
                  </a:lnTo>
                  <a:lnTo>
                    <a:pt x="164" y="1146"/>
                  </a:lnTo>
                  <a:lnTo>
                    <a:pt x="164" y="1150"/>
                  </a:lnTo>
                  <a:lnTo>
                    <a:pt x="163" y="1151"/>
                  </a:lnTo>
                  <a:lnTo>
                    <a:pt x="162" y="1153"/>
                  </a:lnTo>
                  <a:lnTo>
                    <a:pt x="160" y="1156"/>
                  </a:lnTo>
                  <a:lnTo>
                    <a:pt x="159" y="1159"/>
                  </a:lnTo>
                  <a:lnTo>
                    <a:pt x="156" y="1163"/>
                  </a:lnTo>
                  <a:lnTo>
                    <a:pt x="154" y="1165"/>
                  </a:lnTo>
                  <a:lnTo>
                    <a:pt x="152" y="1166"/>
                  </a:lnTo>
                  <a:lnTo>
                    <a:pt x="154" y="1169"/>
                  </a:lnTo>
                  <a:lnTo>
                    <a:pt x="154" y="1170"/>
                  </a:lnTo>
                  <a:lnTo>
                    <a:pt x="154" y="1171"/>
                  </a:lnTo>
                  <a:lnTo>
                    <a:pt x="156" y="1172"/>
                  </a:lnTo>
                  <a:lnTo>
                    <a:pt x="156" y="1174"/>
                  </a:lnTo>
                  <a:lnTo>
                    <a:pt x="157" y="1176"/>
                  </a:lnTo>
                  <a:lnTo>
                    <a:pt x="157" y="1175"/>
                  </a:lnTo>
                  <a:lnTo>
                    <a:pt x="158" y="1175"/>
                  </a:lnTo>
                  <a:lnTo>
                    <a:pt x="159" y="1176"/>
                  </a:lnTo>
                  <a:lnTo>
                    <a:pt x="160" y="1176"/>
                  </a:lnTo>
                  <a:lnTo>
                    <a:pt x="158" y="1180"/>
                  </a:lnTo>
                  <a:lnTo>
                    <a:pt x="157" y="1181"/>
                  </a:lnTo>
                  <a:lnTo>
                    <a:pt x="158" y="1181"/>
                  </a:lnTo>
                  <a:lnTo>
                    <a:pt x="159" y="1180"/>
                  </a:lnTo>
                  <a:lnTo>
                    <a:pt x="162" y="1177"/>
                  </a:lnTo>
                  <a:lnTo>
                    <a:pt x="163" y="1175"/>
                  </a:lnTo>
                  <a:lnTo>
                    <a:pt x="165" y="1172"/>
                  </a:lnTo>
                  <a:lnTo>
                    <a:pt x="166" y="1171"/>
                  </a:lnTo>
                  <a:lnTo>
                    <a:pt x="169" y="1170"/>
                  </a:lnTo>
                  <a:lnTo>
                    <a:pt x="170" y="1172"/>
                  </a:lnTo>
                  <a:lnTo>
                    <a:pt x="171" y="1172"/>
                  </a:lnTo>
                  <a:lnTo>
                    <a:pt x="174" y="1174"/>
                  </a:lnTo>
                  <a:lnTo>
                    <a:pt x="176" y="1175"/>
                  </a:lnTo>
                  <a:lnTo>
                    <a:pt x="176" y="1176"/>
                  </a:lnTo>
                  <a:lnTo>
                    <a:pt x="177" y="1177"/>
                  </a:lnTo>
                  <a:lnTo>
                    <a:pt x="177" y="1179"/>
                  </a:lnTo>
                  <a:lnTo>
                    <a:pt x="178" y="1179"/>
                  </a:lnTo>
                  <a:lnTo>
                    <a:pt x="180" y="1179"/>
                  </a:lnTo>
                  <a:lnTo>
                    <a:pt x="181" y="1180"/>
                  </a:lnTo>
                  <a:lnTo>
                    <a:pt x="180" y="1181"/>
                  </a:lnTo>
                  <a:lnTo>
                    <a:pt x="181" y="1182"/>
                  </a:lnTo>
                  <a:lnTo>
                    <a:pt x="182" y="1183"/>
                  </a:lnTo>
                  <a:lnTo>
                    <a:pt x="183" y="1182"/>
                  </a:lnTo>
                  <a:lnTo>
                    <a:pt x="184" y="1183"/>
                  </a:lnTo>
                  <a:lnTo>
                    <a:pt x="183" y="1185"/>
                  </a:lnTo>
                  <a:lnTo>
                    <a:pt x="183" y="1187"/>
                  </a:lnTo>
                  <a:lnTo>
                    <a:pt x="186" y="1186"/>
                  </a:lnTo>
                  <a:lnTo>
                    <a:pt x="186" y="1185"/>
                  </a:lnTo>
                  <a:lnTo>
                    <a:pt x="187" y="1187"/>
                  </a:lnTo>
                  <a:lnTo>
                    <a:pt x="188" y="1187"/>
                  </a:lnTo>
                  <a:lnTo>
                    <a:pt x="190" y="1187"/>
                  </a:lnTo>
                  <a:lnTo>
                    <a:pt x="192" y="1187"/>
                  </a:lnTo>
                  <a:lnTo>
                    <a:pt x="192" y="1186"/>
                  </a:lnTo>
                  <a:lnTo>
                    <a:pt x="192" y="1182"/>
                  </a:lnTo>
                  <a:lnTo>
                    <a:pt x="194" y="1179"/>
                  </a:lnTo>
                  <a:lnTo>
                    <a:pt x="194" y="1177"/>
                  </a:lnTo>
                  <a:lnTo>
                    <a:pt x="193" y="1175"/>
                  </a:lnTo>
                  <a:lnTo>
                    <a:pt x="193" y="1172"/>
                  </a:lnTo>
                  <a:lnTo>
                    <a:pt x="193" y="1171"/>
                  </a:lnTo>
                  <a:lnTo>
                    <a:pt x="193" y="1168"/>
                  </a:lnTo>
                  <a:lnTo>
                    <a:pt x="190" y="1166"/>
                  </a:lnTo>
                  <a:lnTo>
                    <a:pt x="189" y="1166"/>
                  </a:lnTo>
                  <a:lnTo>
                    <a:pt x="189" y="1165"/>
                  </a:lnTo>
                  <a:lnTo>
                    <a:pt x="190" y="1163"/>
                  </a:lnTo>
                  <a:lnTo>
                    <a:pt x="192" y="1159"/>
                  </a:lnTo>
                  <a:lnTo>
                    <a:pt x="193" y="1158"/>
                  </a:lnTo>
                  <a:lnTo>
                    <a:pt x="196" y="1157"/>
                  </a:lnTo>
                  <a:lnTo>
                    <a:pt x="198" y="1158"/>
                  </a:lnTo>
                  <a:lnTo>
                    <a:pt x="199" y="1157"/>
                  </a:lnTo>
                  <a:lnTo>
                    <a:pt x="200" y="1154"/>
                  </a:lnTo>
                  <a:lnTo>
                    <a:pt x="201" y="1154"/>
                  </a:lnTo>
                  <a:lnTo>
                    <a:pt x="204" y="1156"/>
                  </a:lnTo>
                  <a:lnTo>
                    <a:pt x="205" y="1156"/>
                  </a:lnTo>
                  <a:lnTo>
                    <a:pt x="207" y="1156"/>
                  </a:lnTo>
                  <a:lnTo>
                    <a:pt x="209" y="1157"/>
                  </a:lnTo>
                  <a:lnTo>
                    <a:pt x="210" y="1157"/>
                  </a:lnTo>
                  <a:lnTo>
                    <a:pt x="212" y="1158"/>
                  </a:lnTo>
                  <a:lnTo>
                    <a:pt x="213" y="1157"/>
                  </a:lnTo>
                  <a:lnTo>
                    <a:pt x="215" y="1156"/>
                  </a:lnTo>
                  <a:lnTo>
                    <a:pt x="215" y="1157"/>
                  </a:lnTo>
                  <a:lnTo>
                    <a:pt x="216" y="1156"/>
                  </a:lnTo>
                  <a:lnTo>
                    <a:pt x="216" y="1154"/>
                  </a:lnTo>
                  <a:lnTo>
                    <a:pt x="217" y="1153"/>
                  </a:lnTo>
                  <a:lnTo>
                    <a:pt x="218" y="1153"/>
                  </a:lnTo>
                  <a:lnTo>
                    <a:pt x="221" y="1152"/>
                  </a:lnTo>
                  <a:lnTo>
                    <a:pt x="221" y="1151"/>
                  </a:lnTo>
                  <a:lnTo>
                    <a:pt x="222" y="1148"/>
                  </a:lnTo>
                  <a:lnTo>
                    <a:pt x="223" y="1147"/>
                  </a:lnTo>
                  <a:lnTo>
                    <a:pt x="227" y="1148"/>
                  </a:lnTo>
                  <a:lnTo>
                    <a:pt x="227" y="1147"/>
                  </a:lnTo>
                  <a:lnTo>
                    <a:pt x="228" y="1147"/>
                  </a:lnTo>
                  <a:lnTo>
                    <a:pt x="227" y="1150"/>
                  </a:lnTo>
                  <a:lnTo>
                    <a:pt x="228" y="1151"/>
                  </a:lnTo>
                  <a:lnTo>
                    <a:pt x="230" y="1151"/>
                  </a:lnTo>
                  <a:lnTo>
                    <a:pt x="231" y="1150"/>
                  </a:lnTo>
                  <a:lnTo>
                    <a:pt x="231" y="1147"/>
                  </a:lnTo>
                  <a:lnTo>
                    <a:pt x="231" y="1145"/>
                  </a:lnTo>
                  <a:lnTo>
                    <a:pt x="231" y="1144"/>
                  </a:lnTo>
                  <a:lnTo>
                    <a:pt x="231" y="1146"/>
                  </a:lnTo>
                  <a:lnTo>
                    <a:pt x="231" y="1148"/>
                  </a:lnTo>
                  <a:lnTo>
                    <a:pt x="233" y="1150"/>
                  </a:lnTo>
                  <a:lnTo>
                    <a:pt x="234" y="1148"/>
                  </a:lnTo>
                  <a:lnTo>
                    <a:pt x="234" y="1150"/>
                  </a:lnTo>
                  <a:lnTo>
                    <a:pt x="233" y="1151"/>
                  </a:lnTo>
                  <a:lnTo>
                    <a:pt x="233" y="1153"/>
                  </a:lnTo>
                  <a:lnTo>
                    <a:pt x="234" y="1154"/>
                  </a:lnTo>
                  <a:lnTo>
                    <a:pt x="235" y="1153"/>
                  </a:lnTo>
                  <a:lnTo>
                    <a:pt x="236" y="1153"/>
                  </a:lnTo>
                  <a:lnTo>
                    <a:pt x="237" y="1152"/>
                  </a:lnTo>
                  <a:lnTo>
                    <a:pt x="237" y="1154"/>
                  </a:lnTo>
                  <a:lnTo>
                    <a:pt x="239" y="1153"/>
                  </a:lnTo>
                  <a:lnTo>
                    <a:pt x="239" y="1152"/>
                  </a:lnTo>
                  <a:lnTo>
                    <a:pt x="239" y="1151"/>
                  </a:lnTo>
                  <a:lnTo>
                    <a:pt x="240" y="1150"/>
                  </a:lnTo>
                  <a:lnTo>
                    <a:pt x="240" y="1153"/>
                  </a:lnTo>
                  <a:lnTo>
                    <a:pt x="241" y="1153"/>
                  </a:lnTo>
                  <a:lnTo>
                    <a:pt x="241" y="1156"/>
                  </a:lnTo>
                  <a:lnTo>
                    <a:pt x="241" y="1157"/>
                  </a:lnTo>
                  <a:lnTo>
                    <a:pt x="242" y="1157"/>
                  </a:lnTo>
                  <a:lnTo>
                    <a:pt x="243" y="1158"/>
                  </a:lnTo>
                  <a:lnTo>
                    <a:pt x="247" y="1156"/>
                  </a:lnTo>
                  <a:lnTo>
                    <a:pt x="247" y="1160"/>
                  </a:lnTo>
                  <a:lnTo>
                    <a:pt x="248" y="1157"/>
                  </a:lnTo>
                  <a:lnTo>
                    <a:pt x="247" y="1154"/>
                  </a:lnTo>
                  <a:lnTo>
                    <a:pt x="251" y="1157"/>
                  </a:lnTo>
                  <a:lnTo>
                    <a:pt x="252" y="1158"/>
                  </a:lnTo>
                  <a:lnTo>
                    <a:pt x="251" y="1159"/>
                  </a:lnTo>
                  <a:lnTo>
                    <a:pt x="251" y="1160"/>
                  </a:lnTo>
                  <a:lnTo>
                    <a:pt x="251" y="1163"/>
                  </a:lnTo>
                  <a:lnTo>
                    <a:pt x="252" y="1162"/>
                  </a:lnTo>
                  <a:lnTo>
                    <a:pt x="253" y="1160"/>
                  </a:lnTo>
                  <a:lnTo>
                    <a:pt x="255" y="1159"/>
                  </a:lnTo>
                  <a:lnTo>
                    <a:pt x="257" y="1159"/>
                  </a:lnTo>
                  <a:lnTo>
                    <a:pt x="257" y="1158"/>
                  </a:lnTo>
                  <a:lnTo>
                    <a:pt x="258" y="1160"/>
                  </a:lnTo>
                  <a:lnTo>
                    <a:pt x="258" y="1162"/>
                  </a:lnTo>
                  <a:lnTo>
                    <a:pt x="260" y="1163"/>
                  </a:lnTo>
                  <a:lnTo>
                    <a:pt x="263" y="1162"/>
                  </a:lnTo>
                  <a:lnTo>
                    <a:pt x="264" y="1160"/>
                  </a:lnTo>
                  <a:lnTo>
                    <a:pt x="266" y="1159"/>
                  </a:lnTo>
                  <a:lnTo>
                    <a:pt x="269" y="1158"/>
                  </a:lnTo>
                  <a:lnTo>
                    <a:pt x="270" y="1157"/>
                  </a:lnTo>
                  <a:lnTo>
                    <a:pt x="270" y="1156"/>
                  </a:lnTo>
                  <a:lnTo>
                    <a:pt x="271" y="1154"/>
                  </a:lnTo>
                  <a:lnTo>
                    <a:pt x="271" y="1157"/>
                  </a:lnTo>
                  <a:lnTo>
                    <a:pt x="271" y="1159"/>
                  </a:lnTo>
                  <a:lnTo>
                    <a:pt x="272" y="1159"/>
                  </a:lnTo>
                  <a:lnTo>
                    <a:pt x="274" y="1160"/>
                  </a:lnTo>
                  <a:lnTo>
                    <a:pt x="276" y="1162"/>
                  </a:lnTo>
                  <a:lnTo>
                    <a:pt x="277" y="1163"/>
                  </a:lnTo>
                  <a:lnTo>
                    <a:pt x="278" y="1164"/>
                  </a:lnTo>
                  <a:lnTo>
                    <a:pt x="278" y="1165"/>
                  </a:lnTo>
                  <a:lnTo>
                    <a:pt x="280" y="1166"/>
                  </a:lnTo>
                  <a:lnTo>
                    <a:pt x="282" y="1168"/>
                  </a:lnTo>
                  <a:lnTo>
                    <a:pt x="281" y="1169"/>
                  </a:lnTo>
                  <a:lnTo>
                    <a:pt x="281" y="1170"/>
                  </a:lnTo>
                  <a:lnTo>
                    <a:pt x="282" y="1169"/>
                  </a:lnTo>
                  <a:lnTo>
                    <a:pt x="283" y="1169"/>
                  </a:lnTo>
                  <a:lnTo>
                    <a:pt x="283" y="1172"/>
                  </a:lnTo>
                  <a:lnTo>
                    <a:pt x="283" y="1174"/>
                  </a:lnTo>
                  <a:lnTo>
                    <a:pt x="284" y="1175"/>
                  </a:lnTo>
                  <a:lnTo>
                    <a:pt x="286" y="1174"/>
                  </a:lnTo>
                  <a:lnTo>
                    <a:pt x="288" y="1174"/>
                  </a:lnTo>
                  <a:lnTo>
                    <a:pt x="287" y="1176"/>
                  </a:lnTo>
                  <a:lnTo>
                    <a:pt x="284" y="1179"/>
                  </a:lnTo>
                  <a:lnTo>
                    <a:pt x="286" y="1179"/>
                  </a:lnTo>
                  <a:lnTo>
                    <a:pt x="287" y="1177"/>
                  </a:lnTo>
                  <a:lnTo>
                    <a:pt x="289" y="1176"/>
                  </a:lnTo>
                  <a:lnTo>
                    <a:pt x="292" y="1175"/>
                  </a:lnTo>
                  <a:lnTo>
                    <a:pt x="294" y="1174"/>
                  </a:lnTo>
                  <a:lnTo>
                    <a:pt x="296" y="1172"/>
                  </a:lnTo>
                  <a:lnTo>
                    <a:pt x="298" y="1171"/>
                  </a:lnTo>
                  <a:lnTo>
                    <a:pt x="300" y="1172"/>
                  </a:lnTo>
                  <a:lnTo>
                    <a:pt x="300" y="1171"/>
                  </a:lnTo>
                  <a:lnTo>
                    <a:pt x="301" y="1170"/>
                  </a:lnTo>
                  <a:lnTo>
                    <a:pt x="304" y="1169"/>
                  </a:lnTo>
                  <a:lnTo>
                    <a:pt x="304" y="1170"/>
                  </a:lnTo>
                  <a:lnTo>
                    <a:pt x="305" y="1170"/>
                  </a:lnTo>
                  <a:lnTo>
                    <a:pt x="307" y="1169"/>
                  </a:lnTo>
                  <a:lnTo>
                    <a:pt x="308" y="1169"/>
                  </a:lnTo>
                  <a:lnTo>
                    <a:pt x="311" y="1170"/>
                  </a:lnTo>
                  <a:lnTo>
                    <a:pt x="312" y="1169"/>
                  </a:lnTo>
                  <a:lnTo>
                    <a:pt x="313" y="1170"/>
                  </a:lnTo>
                  <a:lnTo>
                    <a:pt x="312" y="1171"/>
                  </a:lnTo>
                  <a:lnTo>
                    <a:pt x="314" y="1172"/>
                  </a:lnTo>
                  <a:lnTo>
                    <a:pt x="316" y="1171"/>
                  </a:lnTo>
                  <a:lnTo>
                    <a:pt x="316" y="1170"/>
                  </a:lnTo>
                  <a:lnTo>
                    <a:pt x="317" y="1170"/>
                  </a:lnTo>
                  <a:lnTo>
                    <a:pt x="318" y="1168"/>
                  </a:lnTo>
                  <a:lnTo>
                    <a:pt x="318" y="1165"/>
                  </a:lnTo>
                  <a:lnTo>
                    <a:pt x="318" y="1163"/>
                  </a:lnTo>
                  <a:lnTo>
                    <a:pt x="319" y="1164"/>
                  </a:lnTo>
                  <a:lnTo>
                    <a:pt x="319" y="1166"/>
                  </a:lnTo>
                  <a:lnTo>
                    <a:pt x="319" y="1169"/>
                  </a:lnTo>
                  <a:lnTo>
                    <a:pt x="319" y="1172"/>
                  </a:lnTo>
                  <a:lnTo>
                    <a:pt x="320" y="1172"/>
                  </a:lnTo>
                  <a:lnTo>
                    <a:pt x="320" y="1175"/>
                  </a:lnTo>
                  <a:lnTo>
                    <a:pt x="322" y="1177"/>
                  </a:lnTo>
                  <a:lnTo>
                    <a:pt x="323" y="1179"/>
                  </a:lnTo>
                  <a:lnTo>
                    <a:pt x="322" y="1179"/>
                  </a:lnTo>
                  <a:lnTo>
                    <a:pt x="322" y="1181"/>
                  </a:lnTo>
                  <a:lnTo>
                    <a:pt x="324" y="1181"/>
                  </a:lnTo>
                  <a:lnTo>
                    <a:pt x="324" y="1183"/>
                  </a:lnTo>
                  <a:lnTo>
                    <a:pt x="324" y="1187"/>
                  </a:lnTo>
                  <a:lnTo>
                    <a:pt x="324" y="1188"/>
                  </a:lnTo>
                  <a:lnTo>
                    <a:pt x="325" y="1189"/>
                  </a:lnTo>
                  <a:lnTo>
                    <a:pt x="325" y="1192"/>
                  </a:lnTo>
                  <a:lnTo>
                    <a:pt x="326" y="1193"/>
                  </a:lnTo>
                  <a:lnTo>
                    <a:pt x="326" y="1194"/>
                  </a:lnTo>
                  <a:lnTo>
                    <a:pt x="328" y="1198"/>
                  </a:lnTo>
                  <a:lnTo>
                    <a:pt x="328" y="1199"/>
                  </a:lnTo>
                  <a:lnTo>
                    <a:pt x="329" y="1201"/>
                  </a:lnTo>
                  <a:lnTo>
                    <a:pt x="331" y="1204"/>
                  </a:lnTo>
                  <a:lnTo>
                    <a:pt x="334" y="1205"/>
                  </a:lnTo>
                  <a:lnTo>
                    <a:pt x="336" y="1206"/>
                  </a:lnTo>
                  <a:lnTo>
                    <a:pt x="337" y="1206"/>
                  </a:lnTo>
                  <a:lnTo>
                    <a:pt x="339" y="1205"/>
                  </a:lnTo>
                  <a:lnTo>
                    <a:pt x="340" y="1206"/>
                  </a:lnTo>
                  <a:lnTo>
                    <a:pt x="340" y="1205"/>
                  </a:lnTo>
                  <a:lnTo>
                    <a:pt x="341" y="1205"/>
                  </a:lnTo>
                  <a:lnTo>
                    <a:pt x="342" y="1204"/>
                  </a:lnTo>
                  <a:lnTo>
                    <a:pt x="343" y="1204"/>
                  </a:lnTo>
                  <a:lnTo>
                    <a:pt x="345" y="1203"/>
                  </a:lnTo>
                  <a:lnTo>
                    <a:pt x="345" y="1201"/>
                  </a:lnTo>
                  <a:lnTo>
                    <a:pt x="346" y="1201"/>
                  </a:lnTo>
                  <a:lnTo>
                    <a:pt x="348" y="1203"/>
                  </a:lnTo>
                  <a:lnTo>
                    <a:pt x="348" y="1201"/>
                  </a:lnTo>
                  <a:lnTo>
                    <a:pt x="349" y="1200"/>
                  </a:lnTo>
                  <a:lnTo>
                    <a:pt x="349" y="1199"/>
                  </a:lnTo>
                  <a:lnTo>
                    <a:pt x="351" y="1200"/>
                  </a:lnTo>
                  <a:lnTo>
                    <a:pt x="352" y="1199"/>
                  </a:lnTo>
                  <a:lnTo>
                    <a:pt x="353" y="1199"/>
                  </a:lnTo>
                  <a:lnTo>
                    <a:pt x="354" y="1200"/>
                  </a:lnTo>
                  <a:lnTo>
                    <a:pt x="354" y="1203"/>
                  </a:lnTo>
                  <a:lnTo>
                    <a:pt x="354" y="1204"/>
                  </a:lnTo>
                  <a:lnTo>
                    <a:pt x="355" y="1203"/>
                  </a:lnTo>
                  <a:lnTo>
                    <a:pt x="355" y="1204"/>
                  </a:lnTo>
                  <a:lnTo>
                    <a:pt x="355" y="1206"/>
                  </a:lnTo>
                  <a:lnTo>
                    <a:pt x="357" y="1206"/>
                  </a:lnTo>
                  <a:lnTo>
                    <a:pt x="358" y="1206"/>
                  </a:lnTo>
                  <a:lnTo>
                    <a:pt x="358" y="1207"/>
                  </a:lnTo>
                  <a:lnTo>
                    <a:pt x="358" y="1210"/>
                  </a:lnTo>
                  <a:lnTo>
                    <a:pt x="359" y="1207"/>
                  </a:lnTo>
                  <a:lnTo>
                    <a:pt x="359" y="1209"/>
                  </a:lnTo>
                  <a:lnTo>
                    <a:pt x="359" y="1210"/>
                  </a:lnTo>
                  <a:lnTo>
                    <a:pt x="359" y="1211"/>
                  </a:lnTo>
                  <a:lnTo>
                    <a:pt x="359" y="1212"/>
                  </a:lnTo>
                  <a:lnTo>
                    <a:pt x="359" y="1215"/>
                  </a:lnTo>
                  <a:lnTo>
                    <a:pt x="360" y="1215"/>
                  </a:lnTo>
                  <a:lnTo>
                    <a:pt x="361" y="1216"/>
                  </a:lnTo>
                  <a:lnTo>
                    <a:pt x="361" y="1217"/>
                  </a:lnTo>
                  <a:lnTo>
                    <a:pt x="361" y="1219"/>
                  </a:lnTo>
                  <a:lnTo>
                    <a:pt x="361" y="1221"/>
                  </a:lnTo>
                  <a:lnTo>
                    <a:pt x="361" y="1223"/>
                  </a:lnTo>
                  <a:lnTo>
                    <a:pt x="361" y="1224"/>
                  </a:lnTo>
                  <a:lnTo>
                    <a:pt x="363" y="1225"/>
                  </a:lnTo>
                  <a:lnTo>
                    <a:pt x="363" y="1237"/>
                  </a:lnTo>
                  <a:lnTo>
                    <a:pt x="363" y="1252"/>
                  </a:lnTo>
                  <a:lnTo>
                    <a:pt x="363" y="1265"/>
                  </a:lnTo>
                  <a:lnTo>
                    <a:pt x="363" y="1282"/>
                  </a:lnTo>
                  <a:lnTo>
                    <a:pt x="363" y="1287"/>
                  </a:lnTo>
                  <a:lnTo>
                    <a:pt x="364" y="1290"/>
                  </a:lnTo>
                  <a:lnTo>
                    <a:pt x="366" y="1293"/>
                  </a:lnTo>
                  <a:lnTo>
                    <a:pt x="370" y="1293"/>
                  </a:lnTo>
                  <a:lnTo>
                    <a:pt x="400" y="1293"/>
                  </a:lnTo>
                  <a:lnTo>
                    <a:pt x="400" y="1266"/>
                  </a:lnTo>
                  <a:lnTo>
                    <a:pt x="400" y="1242"/>
                  </a:lnTo>
                  <a:lnTo>
                    <a:pt x="401" y="1218"/>
                  </a:lnTo>
                  <a:lnTo>
                    <a:pt x="402" y="1212"/>
                  </a:lnTo>
                  <a:lnTo>
                    <a:pt x="405" y="1210"/>
                  </a:lnTo>
                  <a:lnTo>
                    <a:pt x="406" y="1209"/>
                  </a:lnTo>
                  <a:lnTo>
                    <a:pt x="408" y="1209"/>
                  </a:lnTo>
                  <a:lnTo>
                    <a:pt x="410" y="1209"/>
                  </a:lnTo>
                  <a:lnTo>
                    <a:pt x="411" y="1206"/>
                  </a:lnTo>
                  <a:lnTo>
                    <a:pt x="412" y="1205"/>
                  </a:lnTo>
                  <a:lnTo>
                    <a:pt x="413" y="1205"/>
                  </a:lnTo>
                  <a:lnTo>
                    <a:pt x="414" y="1203"/>
                  </a:lnTo>
                  <a:lnTo>
                    <a:pt x="416" y="1201"/>
                  </a:lnTo>
                  <a:lnTo>
                    <a:pt x="416" y="1200"/>
                  </a:lnTo>
                  <a:lnTo>
                    <a:pt x="416" y="1199"/>
                  </a:lnTo>
                  <a:lnTo>
                    <a:pt x="414" y="1197"/>
                  </a:lnTo>
                  <a:lnTo>
                    <a:pt x="414" y="1195"/>
                  </a:lnTo>
                  <a:lnTo>
                    <a:pt x="414" y="1194"/>
                  </a:lnTo>
                  <a:lnTo>
                    <a:pt x="414" y="1193"/>
                  </a:lnTo>
                  <a:lnTo>
                    <a:pt x="413" y="1191"/>
                  </a:lnTo>
                  <a:lnTo>
                    <a:pt x="412" y="1191"/>
                  </a:lnTo>
                  <a:lnTo>
                    <a:pt x="412" y="1192"/>
                  </a:lnTo>
                  <a:lnTo>
                    <a:pt x="411" y="1191"/>
                  </a:lnTo>
                  <a:lnTo>
                    <a:pt x="411" y="1189"/>
                  </a:lnTo>
                  <a:lnTo>
                    <a:pt x="411" y="1188"/>
                  </a:lnTo>
                  <a:lnTo>
                    <a:pt x="412" y="1186"/>
                  </a:lnTo>
                  <a:lnTo>
                    <a:pt x="412" y="1185"/>
                  </a:lnTo>
                  <a:lnTo>
                    <a:pt x="412" y="1183"/>
                  </a:lnTo>
                  <a:lnTo>
                    <a:pt x="413" y="1181"/>
                  </a:lnTo>
                  <a:lnTo>
                    <a:pt x="416" y="1180"/>
                  </a:lnTo>
                  <a:lnTo>
                    <a:pt x="416" y="1179"/>
                  </a:lnTo>
                  <a:lnTo>
                    <a:pt x="418" y="1179"/>
                  </a:lnTo>
                  <a:lnTo>
                    <a:pt x="419" y="1179"/>
                  </a:lnTo>
                  <a:lnTo>
                    <a:pt x="420" y="1180"/>
                  </a:lnTo>
                  <a:lnTo>
                    <a:pt x="424" y="1181"/>
                  </a:lnTo>
                  <a:lnTo>
                    <a:pt x="426" y="1182"/>
                  </a:lnTo>
                  <a:lnTo>
                    <a:pt x="429" y="1183"/>
                  </a:lnTo>
                  <a:lnTo>
                    <a:pt x="429" y="1182"/>
                  </a:lnTo>
                  <a:lnTo>
                    <a:pt x="432" y="1182"/>
                  </a:lnTo>
                  <a:lnTo>
                    <a:pt x="434" y="1182"/>
                  </a:lnTo>
                  <a:lnTo>
                    <a:pt x="432" y="1182"/>
                  </a:lnTo>
                  <a:lnTo>
                    <a:pt x="434" y="1183"/>
                  </a:lnTo>
                  <a:lnTo>
                    <a:pt x="435" y="1183"/>
                  </a:lnTo>
                  <a:lnTo>
                    <a:pt x="436" y="1183"/>
                  </a:lnTo>
                  <a:lnTo>
                    <a:pt x="437" y="1185"/>
                  </a:lnTo>
                  <a:lnTo>
                    <a:pt x="438" y="1187"/>
                  </a:lnTo>
                  <a:lnTo>
                    <a:pt x="441" y="1188"/>
                  </a:lnTo>
                  <a:lnTo>
                    <a:pt x="442" y="1191"/>
                  </a:lnTo>
                  <a:lnTo>
                    <a:pt x="444" y="1192"/>
                  </a:lnTo>
                  <a:lnTo>
                    <a:pt x="446" y="1192"/>
                  </a:lnTo>
                  <a:lnTo>
                    <a:pt x="446" y="1194"/>
                  </a:lnTo>
                  <a:lnTo>
                    <a:pt x="444" y="1195"/>
                  </a:lnTo>
                  <a:lnTo>
                    <a:pt x="446" y="1197"/>
                  </a:lnTo>
                  <a:lnTo>
                    <a:pt x="447" y="1197"/>
                  </a:lnTo>
                  <a:lnTo>
                    <a:pt x="448" y="1197"/>
                  </a:lnTo>
                  <a:lnTo>
                    <a:pt x="449" y="1197"/>
                  </a:lnTo>
                  <a:lnTo>
                    <a:pt x="449" y="1198"/>
                  </a:lnTo>
                  <a:lnTo>
                    <a:pt x="451" y="1200"/>
                  </a:lnTo>
                  <a:lnTo>
                    <a:pt x="452" y="1198"/>
                  </a:lnTo>
                  <a:lnTo>
                    <a:pt x="452" y="1200"/>
                  </a:lnTo>
                  <a:lnTo>
                    <a:pt x="452" y="1201"/>
                  </a:lnTo>
                  <a:lnTo>
                    <a:pt x="452" y="1203"/>
                  </a:lnTo>
                  <a:lnTo>
                    <a:pt x="454" y="1203"/>
                  </a:lnTo>
                  <a:lnTo>
                    <a:pt x="455" y="1201"/>
                  </a:lnTo>
                  <a:lnTo>
                    <a:pt x="457" y="1203"/>
                  </a:lnTo>
                  <a:lnTo>
                    <a:pt x="458" y="1203"/>
                  </a:lnTo>
                  <a:lnTo>
                    <a:pt x="458" y="1201"/>
                  </a:lnTo>
                  <a:lnTo>
                    <a:pt x="459" y="1201"/>
                  </a:lnTo>
                  <a:lnTo>
                    <a:pt x="459" y="1203"/>
                  </a:lnTo>
                  <a:lnTo>
                    <a:pt x="461" y="1203"/>
                  </a:lnTo>
                  <a:lnTo>
                    <a:pt x="465" y="1201"/>
                  </a:lnTo>
                  <a:lnTo>
                    <a:pt x="469" y="1200"/>
                  </a:lnTo>
                  <a:lnTo>
                    <a:pt x="471" y="1198"/>
                  </a:lnTo>
                  <a:lnTo>
                    <a:pt x="472" y="1194"/>
                  </a:lnTo>
                  <a:lnTo>
                    <a:pt x="472" y="1195"/>
                  </a:lnTo>
                  <a:lnTo>
                    <a:pt x="472" y="1198"/>
                  </a:lnTo>
                  <a:lnTo>
                    <a:pt x="473" y="1199"/>
                  </a:lnTo>
                  <a:lnTo>
                    <a:pt x="476" y="1198"/>
                  </a:lnTo>
                  <a:lnTo>
                    <a:pt x="477" y="1198"/>
                  </a:lnTo>
                  <a:lnTo>
                    <a:pt x="477" y="1199"/>
                  </a:lnTo>
                  <a:lnTo>
                    <a:pt x="479" y="1199"/>
                  </a:lnTo>
                  <a:lnTo>
                    <a:pt x="479" y="1198"/>
                  </a:lnTo>
                  <a:lnTo>
                    <a:pt x="479" y="1197"/>
                  </a:lnTo>
                  <a:lnTo>
                    <a:pt x="481" y="1197"/>
                  </a:lnTo>
                  <a:lnTo>
                    <a:pt x="482" y="1199"/>
                  </a:lnTo>
                  <a:lnTo>
                    <a:pt x="483" y="1198"/>
                  </a:lnTo>
                  <a:lnTo>
                    <a:pt x="484" y="1195"/>
                  </a:lnTo>
                  <a:lnTo>
                    <a:pt x="485" y="1195"/>
                  </a:lnTo>
                  <a:lnTo>
                    <a:pt x="487" y="1193"/>
                  </a:lnTo>
                  <a:lnTo>
                    <a:pt x="488" y="1192"/>
                  </a:lnTo>
                  <a:lnTo>
                    <a:pt x="489" y="1191"/>
                  </a:lnTo>
                  <a:lnTo>
                    <a:pt x="489" y="1188"/>
                  </a:lnTo>
                  <a:lnTo>
                    <a:pt x="490" y="1187"/>
                  </a:lnTo>
                  <a:lnTo>
                    <a:pt x="490" y="1185"/>
                  </a:lnTo>
                  <a:lnTo>
                    <a:pt x="491" y="1183"/>
                  </a:lnTo>
                  <a:lnTo>
                    <a:pt x="494" y="1182"/>
                  </a:lnTo>
                  <a:lnTo>
                    <a:pt x="496" y="1182"/>
                  </a:lnTo>
                  <a:lnTo>
                    <a:pt x="497" y="1180"/>
                  </a:lnTo>
                  <a:lnTo>
                    <a:pt x="499" y="1177"/>
                  </a:lnTo>
                  <a:lnTo>
                    <a:pt x="500" y="1177"/>
                  </a:lnTo>
                  <a:lnTo>
                    <a:pt x="500" y="1179"/>
                  </a:lnTo>
                  <a:lnTo>
                    <a:pt x="500" y="1180"/>
                  </a:lnTo>
                  <a:lnTo>
                    <a:pt x="501" y="1180"/>
                  </a:lnTo>
                  <a:lnTo>
                    <a:pt x="502" y="1180"/>
                  </a:lnTo>
                  <a:lnTo>
                    <a:pt x="503" y="1180"/>
                  </a:lnTo>
                  <a:lnTo>
                    <a:pt x="505" y="1179"/>
                  </a:lnTo>
                  <a:lnTo>
                    <a:pt x="505" y="1177"/>
                  </a:lnTo>
                  <a:lnTo>
                    <a:pt x="506" y="1179"/>
                  </a:lnTo>
                  <a:lnTo>
                    <a:pt x="507" y="1179"/>
                  </a:lnTo>
                  <a:lnTo>
                    <a:pt x="508" y="1181"/>
                  </a:lnTo>
                  <a:lnTo>
                    <a:pt x="510" y="1181"/>
                  </a:lnTo>
                  <a:lnTo>
                    <a:pt x="511" y="1181"/>
                  </a:lnTo>
                  <a:lnTo>
                    <a:pt x="512" y="1180"/>
                  </a:lnTo>
                  <a:lnTo>
                    <a:pt x="513" y="1180"/>
                  </a:lnTo>
                  <a:lnTo>
                    <a:pt x="514" y="1180"/>
                  </a:lnTo>
                  <a:lnTo>
                    <a:pt x="516" y="1180"/>
                  </a:lnTo>
                  <a:lnTo>
                    <a:pt x="517" y="1179"/>
                  </a:lnTo>
                  <a:lnTo>
                    <a:pt x="519" y="1179"/>
                  </a:lnTo>
                  <a:lnTo>
                    <a:pt x="520" y="1180"/>
                  </a:lnTo>
                  <a:lnTo>
                    <a:pt x="525" y="1185"/>
                  </a:lnTo>
                  <a:lnTo>
                    <a:pt x="528" y="1188"/>
                  </a:lnTo>
                  <a:lnTo>
                    <a:pt x="528" y="1189"/>
                  </a:lnTo>
                  <a:lnTo>
                    <a:pt x="529" y="1192"/>
                  </a:lnTo>
                  <a:lnTo>
                    <a:pt x="531" y="1193"/>
                  </a:lnTo>
                  <a:lnTo>
                    <a:pt x="534" y="1194"/>
                  </a:lnTo>
                  <a:lnTo>
                    <a:pt x="537" y="1195"/>
                  </a:lnTo>
                  <a:lnTo>
                    <a:pt x="540" y="1194"/>
                  </a:lnTo>
                  <a:lnTo>
                    <a:pt x="541" y="1193"/>
                  </a:lnTo>
                  <a:lnTo>
                    <a:pt x="542" y="1192"/>
                  </a:lnTo>
                  <a:lnTo>
                    <a:pt x="542" y="1189"/>
                  </a:lnTo>
                  <a:lnTo>
                    <a:pt x="542" y="1188"/>
                  </a:lnTo>
                  <a:lnTo>
                    <a:pt x="542" y="1183"/>
                  </a:lnTo>
                  <a:lnTo>
                    <a:pt x="541" y="1181"/>
                  </a:lnTo>
                  <a:lnTo>
                    <a:pt x="542" y="1181"/>
                  </a:lnTo>
                  <a:lnTo>
                    <a:pt x="542" y="1182"/>
                  </a:lnTo>
                  <a:lnTo>
                    <a:pt x="543" y="1186"/>
                  </a:lnTo>
                  <a:lnTo>
                    <a:pt x="543" y="1189"/>
                  </a:lnTo>
                  <a:lnTo>
                    <a:pt x="544" y="1191"/>
                  </a:lnTo>
                  <a:lnTo>
                    <a:pt x="546" y="1191"/>
                  </a:lnTo>
                  <a:lnTo>
                    <a:pt x="547" y="1191"/>
                  </a:lnTo>
                  <a:lnTo>
                    <a:pt x="548" y="1189"/>
                  </a:lnTo>
                  <a:lnTo>
                    <a:pt x="548" y="1188"/>
                  </a:lnTo>
                  <a:lnTo>
                    <a:pt x="548" y="1185"/>
                  </a:lnTo>
                  <a:lnTo>
                    <a:pt x="548" y="1183"/>
                  </a:lnTo>
                  <a:lnTo>
                    <a:pt x="548" y="1181"/>
                  </a:lnTo>
                  <a:lnTo>
                    <a:pt x="548" y="1180"/>
                  </a:lnTo>
                  <a:lnTo>
                    <a:pt x="548" y="1182"/>
                  </a:lnTo>
                  <a:lnTo>
                    <a:pt x="549" y="1185"/>
                  </a:lnTo>
                  <a:lnTo>
                    <a:pt x="549" y="1187"/>
                  </a:lnTo>
                  <a:lnTo>
                    <a:pt x="548" y="1189"/>
                  </a:lnTo>
                  <a:lnTo>
                    <a:pt x="550" y="1191"/>
                  </a:lnTo>
                  <a:lnTo>
                    <a:pt x="552" y="1192"/>
                  </a:lnTo>
                  <a:lnTo>
                    <a:pt x="552" y="1191"/>
                  </a:lnTo>
                  <a:lnTo>
                    <a:pt x="552" y="1189"/>
                  </a:lnTo>
                  <a:lnTo>
                    <a:pt x="552" y="1188"/>
                  </a:lnTo>
                  <a:lnTo>
                    <a:pt x="553" y="1187"/>
                  </a:lnTo>
                  <a:lnTo>
                    <a:pt x="553" y="1186"/>
                  </a:lnTo>
                  <a:lnTo>
                    <a:pt x="554" y="1187"/>
                  </a:lnTo>
                  <a:lnTo>
                    <a:pt x="554" y="1191"/>
                  </a:lnTo>
                  <a:lnTo>
                    <a:pt x="554" y="1192"/>
                  </a:lnTo>
                  <a:lnTo>
                    <a:pt x="555" y="1192"/>
                  </a:lnTo>
                  <a:lnTo>
                    <a:pt x="556" y="1192"/>
                  </a:lnTo>
                  <a:lnTo>
                    <a:pt x="556" y="1191"/>
                  </a:lnTo>
                  <a:lnTo>
                    <a:pt x="556" y="1189"/>
                  </a:lnTo>
                  <a:lnTo>
                    <a:pt x="558" y="1187"/>
                  </a:lnTo>
                  <a:lnTo>
                    <a:pt x="558" y="1186"/>
                  </a:lnTo>
                  <a:lnTo>
                    <a:pt x="558" y="1185"/>
                  </a:lnTo>
                  <a:lnTo>
                    <a:pt x="559" y="1185"/>
                  </a:lnTo>
                  <a:lnTo>
                    <a:pt x="559" y="1186"/>
                  </a:lnTo>
                  <a:lnTo>
                    <a:pt x="561" y="1189"/>
                  </a:lnTo>
                  <a:lnTo>
                    <a:pt x="564" y="1189"/>
                  </a:lnTo>
                  <a:lnTo>
                    <a:pt x="564" y="1191"/>
                  </a:lnTo>
                  <a:lnTo>
                    <a:pt x="566" y="1189"/>
                  </a:lnTo>
                  <a:lnTo>
                    <a:pt x="567" y="1187"/>
                  </a:lnTo>
                  <a:lnTo>
                    <a:pt x="567" y="1188"/>
                  </a:lnTo>
                  <a:lnTo>
                    <a:pt x="569" y="1189"/>
                  </a:lnTo>
                  <a:lnTo>
                    <a:pt x="569" y="1191"/>
                  </a:lnTo>
                  <a:lnTo>
                    <a:pt x="569" y="1193"/>
                  </a:lnTo>
                  <a:lnTo>
                    <a:pt x="569" y="1192"/>
                  </a:lnTo>
                  <a:lnTo>
                    <a:pt x="570" y="1191"/>
                  </a:lnTo>
                  <a:lnTo>
                    <a:pt x="571" y="1191"/>
                  </a:lnTo>
                  <a:lnTo>
                    <a:pt x="571" y="1193"/>
                  </a:lnTo>
                  <a:lnTo>
                    <a:pt x="571" y="1194"/>
                  </a:lnTo>
                  <a:lnTo>
                    <a:pt x="571" y="1197"/>
                  </a:lnTo>
                  <a:lnTo>
                    <a:pt x="572" y="1198"/>
                  </a:lnTo>
                  <a:lnTo>
                    <a:pt x="573" y="1197"/>
                  </a:lnTo>
                  <a:lnTo>
                    <a:pt x="573" y="1198"/>
                  </a:lnTo>
                  <a:lnTo>
                    <a:pt x="573" y="1199"/>
                  </a:lnTo>
                  <a:lnTo>
                    <a:pt x="573" y="1201"/>
                  </a:lnTo>
                  <a:lnTo>
                    <a:pt x="575" y="1201"/>
                  </a:lnTo>
                  <a:lnTo>
                    <a:pt x="576" y="1203"/>
                  </a:lnTo>
                  <a:lnTo>
                    <a:pt x="577" y="1203"/>
                  </a:lnTo>
                  <a:lnTo>
                    <a:pt x="578" y="1204"/>
                  </a:lnTo>
                  <a:lnTo>
                    <a:pt x="579" y="1205"/>
                  </a:lnTo>
                  <a:lnTo>
                    <a:pt x="579" y="1206"/>
                  </a:lnTo>
                  <a:lnTo>
                    <a:pt x="581" y="1209"/>
                  </a:lnTo>
                  <a:lnTo>
                    <a:pt x="582" y="1210"/>
                  </a:lnTo>
                  <a:lnTo>
                    <a:pt x="582" y="1211"/>
                  </a:lnTo>
                  <a:lnTo>
                    <a:pt x="584" y="1213"/>
                  </a:lnTo>
                  <a:lnTo>
                    <a:pt x="583" y="1216"/>
                  </a:lnTo>
                  <a:lnTo>
                    <a:pt x="583" y="1217"/>
                  </a:lnTo>
                  <a:lnTo>
                    <a:pt x="584" y="1218"/>
                  </a:lnTo>
                  <a:lnTo>
                    <a:pt x="587" y="1219"/>
                  </a:lnTo>
                  <a:lnTo>
                    <a:pt x="588" y="1222"/>
                  </a:lnTo>
                  <a:lnTo>
                    <a:pt x="590" y="1224"/>
                  </a:lnTo>
                  <a:lnTo>
                    <a:pt x="593" y="1225"/>
                  </a:lnTo>
                  <a:lnTo>
                    <a:pt x="594" y="1225"/>
                  </a:lnTo>
                  <a:lnTo>
                    <a:pt x="595" y="1224"/>
                  </a:lnTo>
                  <a:lnTo>
                    <a:pt x="595" y="1223"/>
                  </a:lnTo>
                  <a:lnTo>
                    <a:pt x="595" y="1221"/>
                  </a:lnTo>
                  <a:lnTo>
                    <a:pt x="595" y="1218"/>
                  </a:lnTo>
                  <a:lnTo>
                    <a:pt x="595" y="1216"/>
                  </a:lnTo>
                  <a:lnTo>
                    <a:pt x="595" y="1217"/>
                  </a:lnTo>
                  <a:lnTo>
                    <a:pt x="596" y="1221"/>
                  </a:lnTo>
                  <a:lnTo>
                    <a:pt x="596" y="1222"/>
                  </a:lnTo>
                  <a:lnTo>
                    <a:pt x="596" y="1223"/>
                  </a:lnTo>
                  <a:lnTo>
                    <a:pt x="596" y="1227"/>
                  </a:lnTo>
                  <a:lnTo>
                    <a:pt x="596" y="1228"/>
                  </a:lnTo>
                  <a:lnTo>
                    <a:pt x="597" y="1229"/>
                  </a:lnTo>
                  <a:lnTo>
                    <a:pt x="599" y="1230"/>
                  </a:lnTo>
                  <a:lnTo>
                    <a:pt x="600" y="1230"/>
                  </a:lnTo>
                  <a:lnTo>
                    <a:pt x="601" y="1230"/>
                  </a:lnTo>
                  <a:lnTo>
                    <a:pt x="602" y="1231"/>
                  </a:lnTo>
                  <a:lnTo>
                    <a:pt x="603" y="1231"/>
                  </a:lnTo>
                  <a:lnTo>
                    <a:pt x="605" y="1231"/>
                  </a:lnTo>
                  <a:lnTo>
                    <a:pt x="606" y="1230"/>
                  </a:lnTo>
                  <a:lnTo>
                    <a:pt x="606" y="1229"/>
                  </a:lnTo>
                  <a:lnTo>
                    <a:pt x="607" y="1228"/>
                  </a:lnTo>
                  <a:lnTo>
                    <a:pt x="607" y="1229"/>
                  </a:lnTo>
                  <a:lnTo>
                    <a:pt x="608" y="1228"/>
                  </a:lnTo>
                  <a:lnTo>
                    <a:pt x="608" y="1227"/>
                  </a:lnTo>
                  <a:lnTo>
                    <a:pt x="608" y="1225"/>
                  </a:lnTo>
                  <a:lnTo>
                    <a:pt x="608" y="1224"/>
                  </a:lnTo>
                  <a:lnTo>
                    <a:pt x="609" y="1223"/>
                  </a:lnTo>
                  <a:lnTo>
                    <a:pt x="612" y="1221"/>
                  </a:lnTo>
                  <a:lnTo>
                    <a:pt x="613" y="1222"/>
                  </a:lnTo>
                  <a:lnTo>
                    <a:pt x="613" y="1223"/>
                  </a:lnTo>
                  <a:lnTo>
                    <a:pt x="615" y="1224"/>
                  </a:lnTo>
                  <a:lnTo>
                    <a:pt x="615" y="1227"/>
                  </a:lnTo>
                  <a:lnTo>
                    <a:pt x="614" y="1227"/>
                  </a:lnTo>
                  <a:lnTo>
                    <a:pt x="613" y="1229"/>
                  </a:lnTo>
                  <a:lnTo>
                    <a:pt x="614" y="1229"/>
                  </a:lnTo>
                  <a:lnTo>
                    <a:pt x="614" y="1230"/>
                  </a:lnTo>
                  <a:lnTo>
                    <a:pt x="613" y="1230"/>
                  </a:lnTo>
                  <a:lnTo>
                    <a:pt x="613" y="1233"/>
                  </a:lnTo>
                  <a:lnTo>
                    <a:pt x="614" y="1234"/>
                  </a:lnTo>
                  <a:lnTo>
                    <a:pt x="614" y="1236"/>
                  </a:lnTo>
                  <a:lnTo>
                    <a:pt x="614" y="1239"/>
                  </a:lnTo>
                  <a:lnTo>
                    <a:pt x="615" y="1239"/>
                  </a:lnTo>
                  <a:lnTo>
                    <a:pt x="615" y="1240"/>
                  </a:lnTo>
                  <a:lnTo>
                    <a:pt x="614" y="1241"/>
                  </a:lnTo>
                  <a:lnTo>
                    <a:pt x="614" y="1242"/>
                  </a:lnTo>
                  <a:lnTo>
                    <a:pt x="615" y="1242"/>
                  </a:lnTo>
                  <a:lnTo>
                    <a:pt x="617" y="1242"/>
                  </a:lnTo>
                  <a:lnTo>
                    <a:pt x="617" y="1243"/>
                  </a:lnTo>
                  <a:lnTo>
                    <a:pt x="617" y="1245"/>
                  </a:lnTo>
                  <a:lnTo>
                    <a:pt x="618" y="1245"/>
                  </a:lnTo>
                  <a:lnTo>
                    <a:pt x="619" y="1245"/>
                  </a:lnTo>
                  <a:lnTo>
                    <a:pt x="620" y="1246"/>
                  </a:lnTo>
                  <a:lnTo>
                    <a:pt x="623" y="1247"/>
                  </a:lnTo>
                  <a:lnTo>
                    <a:pt x="623" y="1248"/>
                  </a:lnTo>
                  <a:lnTo>
                    <a:pt x="625" y="1248"/>
                  </a:lnTo>
                  <a:lnTo>
                    <a:pt x="625" y="1251"/>
                  </a:lnTo>
                  <a:lnTo>
                    <a:pt x="626" y="1252"/>
                  </a:lnTo>
                  <a:lnTo>
                    <a:pt x="629" y="1252"/>
                  </a:lnTo>
                  <a:lnTo>
                    <a:pt x="630" y="1251"/>
                  </a:lnTo>
                  <a:lnTo>
                    <a:pt x="630" y="1249"/>
                  </a:lnTo>
                  <a:lnTo>
                    <a:pt x="629" y="1247"/>
                  </a:lnTo>
                  <a:lnTo>
                    <a:pt x="629" y="1245"/>
                  </a:lnTo>
                  <a:lnTo>
                    <a:pt x="630" y="1245"/>
                  </a:lnTo>
                  <a:lnTo>
                    <a:pt x="632" y="1243"/>
                  </a:lnTo>
                  <a:lnTo>
                    <a:pt x="632" y="1242"/>
                  </a:lnTo>
                  <a:lnTo>
                    <a:pt x="634" y="1241"/>
                  </a:lnTo>
                  <a:lnTo>
                    <a:pt x="636" y="1241"/>
                  </a:lnTo>
                  <a:lnTo>
                    <a:pt x="637" y="1241"/>
                  </a:lnTo>
                  <a:lnTo>
                    <a:pt x="638" y="1242"/>
                  </a:lnTo>
                  <a:lnTo>
                    <a:pt x="638" y="1240"/>
                  </a:lnTo>
                  <a:lnTo>
                    <a:pt x="638" y="1239"/>
                  </a:lnTo>
                  <a:lnTo>
                    <a:pt x="640" y="1236"/>
                  </a:lnTo>
                  <a:lnTo>
                    <a:pt x="641" y="1235"/>
                  </a:lnTo>
                  <a:lnTo>
                    <a:pt x="642" y="1234"/>
                  </a:lnTo>
                  <a:lnTo>
                    <a:pt x="643" y="1234"/>
                  </a:lnTo>
                  <a:lnTo>
                    <a:pt x="644" y="1233"/>
                  </a:lnTo>
                  <a:lnTo>
                    <a:pt x="644" y="1234"/>
                  </a:lnTo>
                  <a:lnTo>
                    <a:pt x="646" y="1234"/>
                  </a:lnTo>
                  <a:lnTo>
                    <a:pt x="647" y="1233"/>
                  </a:lnTo>
                  <a:lnTo>
                    <a:pt x="654" y="1233"/>
                  </a:lnTo>
                  <a:lnTo>
                    <a:pt x="656" y="1230"/>
                  </a:lnTo>
                  <a:lnTo>
                    <a:pt x="656" y="1229"/>
                  </a:lnTo>
                  <a:lnTo>
                    <a:pt x="658" y="1229"/>
                  </a:lnTo>
                  <a:lnTo>
                    <a:pt x="658" y="1230"/>
                  </a:lnTo>
                  <a:lnTo>
                    <a:pt x="660" y="1230"/>
                  </a:lnTo>
                  <a:lnTo>
                    <a:pt x="660" y="1231"/>
                  </a:lnTo>
                  <a:lnTo>
                    <a:pt x="661" y="1231"/>
                  </a:lnTo>
                  <a:lnTo>
                    <a:pt x="662" y="1231"/>
                  </a:lnTo>
                  <a:lnTo>
                    <a:pt x="664" y="1231"/>
                  </a:lnTo>
                  <a:lnTo>
                    <a:pt x="665" y="1231"/>
                  </a:lnTo>
                  <a:lnTo>
                    <a:pt x="666" y="1231"/>
                  </a:lnTo>
                  <a:lnTo>
                    <a:pt x="667" y="1231"/>
                  </a:lnTo>
                  <a:lnTo>
                    <a:pt x="667" y="1229"/>
                  </a:lnTo>
                  <a:lnTo>
                    <a:pt x="667" y="1228"/>
                  </a:lnTo>
                  <a:lnTo>
                    <a:pt x="668" y="1228"/>
                  </a:lnTo>
                  <a:lnTo>
                    <a:pt x="671" y="1228"/>
                  </a:lnTo>
                  <a:lnTo>
                    <a:pt x="672" y="1227"/>
                  </a:lnTo>
                  <a:lnTo>
                    <a:pt x="673" y="1227"/>
                  </a:lnTo>
                  <a:lnTo>
                    <a:pt x="673" y="1224"/>
                  </a:lnTo>
                  <a:lnTo>
                    <a:pt x="674" y="1222"/>
                  </a:lnTo>
                  <a:lnTo>
                    <a:pt x="674" y="1223"/>
                  </a:lnTo>
                  <a:lnTo>
                    <a:pt x="676" y="1223"/>
                  </a:lnTo>
                  <a:lnTo>
                    <a:pt x="677" y="1222"/>
                  </a:lnTo>
                  <a:lnTo>
                    <a:pt x="679" y="1221"/>
                  </a:lnTo>
                  <a:lnTo>
                    <a:pt x="679" y="1218"/>
                  </a:lnTo>
                  <a:lnTo>
                    <a:pt x="680" y="1217"/>
                  </a:lnTo>
                  <a:lnTo>
                    <a:pt x="682" y="1216"/>
                  </a:lnTo>
                  <a:lnTo>
                    <a:pt x="682" y="1215"/>
                  </a:lnTo>
                  <a:lnTo>
                    <a:pt x="683" y="1213"/>
                  </a:lnTo>
                  <a:lnTo>
                    <a:pt x="683" y="1210"/>
                  </a:lnTo>
                  <a:lnTo>
                    <a:pt x="682" y="1210"/>
                  </a:lnTo>
                  <a:lnTo>
                    <a:pt x="682" y="1211"/>
                  </a:lnTo>
                  <a:lnTo>
                    <a:pt x="680" y="1211"/>
                  </a:lnTo>
                  <a:lnTo>
                    <a:pt x="680" y="1209"/>
                  </a:lnTo>
                  <a:lnTo>
                    <a:pt x="680" y="1206"/>
                  </a:lnTo>
                  <a:lnTo>
                    <a:pt x="682" y="1206"/>
                  </a:lnTo>
                  <a:lnTo>
                    <a:pt x="682" y="1207"/>
                  </a:lnTo>
                  <a:lnTo>
                    <a:pt x="683" y="1209"/>
                  </a:lnTo>
                  <a:lnTo>
                    <a:pt x="684" y="1210"/>
                  </a:lnTo>
                  <a:lnTo>
                    <a:pt x="685" y="1210"/>
                  </a:lnTo>
                  <a:lnTo>
                    <a:pt x="685" y="1209"/>
                  </a:lnTo>
                  <a:lnTo>
                    <a:pt x="686" y="1207"/>
                  </a:lnTo>
                  <a:lnTo>
                    <a:pt x="686" y="1206"/>
                  </a:lnTo>
                  <a:lnTo>
                    <a:pt x="686" y="1205"/>
                  </a:lnTo>
                  <a:lnTo>
                    <a:pt x="686" y="1204"/>
                  </a:lnTo>
                  <a:lnTo>
                    <a:pt x="688" y="1204"/>
                  </a:lnTo>
                  <a:lnTo>
                    <a:pt x="689" y="1205"/>
                  </a:lnTo>
                  <a:lnTo>
                    <a:pt x="690" y="1205"/>
                  </a:lnTo>
                  <a:lnTo>
                    <a:pt x="690" y="1204"/>
                  </a:lnTo>
                  <a:lnTo>
                    <a:pt x="691" y="1203"/>
                  </a:lnTo>
                  <a:lnTo>
                    <a:pt x="693" y="1201"/>
                  </a:lnTo>
                  <a:lnTo>
                    <a:pt x="691" y="1201"/>
                  </a:lnTo>
                  <a:lnTo>
                    <a:pt x="691" y="1200"/>
                  </a:lnTo>
                  <a:lnTo>
                    <a:pt x="693" y="1199"/>
                  </a:lnTo>
                  <a:lnTo>
                    <a:pt x="693" y="1197"/>
                  </a:lnTo>
                  <a:lnTo>
                    <a:pt x="694" y="1197"/>
                  </a:lnTo>
                  <a:lnTo>
                    <a:pt x="695" y="1197"/>
                  </a:lnTo>
                  <a:lnTo>
                    <a:pt x="697" y="1195"/>
                  </a:lnTo>
                  <a:lnTo>
                    <a:pt x="697" y="1194"/>
                  </a:lnTo>
                  <a:lnTo>
                    <a:pt x="699" y="1193"/>
                  </a:lnTo>
                  <a:lnTo>
                    <a:pt x="699" y="1191"/>
                  </a:lnTo>
                  <a:lnTo>
                    <a:pt x="699" y="1188"/>
                  </a:lnTo>
                  <a:lnTo>
                    <a:pt x="697" y="1187"/>
                  </a:lnTo>
                  <a:lnTo>
                    <a:pt x="696" y="1186"/>
                  </a:lnTo>
                  <a:lnTo>
                    <a:pt x="696" y="1185"/>
                  </a:lnTo>
                  <a:lnTo>
                    <a:pt x="697" y="1185"/>
                  </a:lnTo>
                  <a:lnTo>
                    <a:pt x="697" y="1183"/>
                  </a:lnTo>
                  <a:lnTo>
                    <a:pt x="699" y="1183"/>
                  </a:lnTo>
                  <a:lnTo>
                    <a:pt x="701" y="1181"/>
                  </a:lnTo>
                  <a:lnTo>
                    <a:pt x="701" y="1182"/>
                  </a:lnTo>
                  <a:lnTo>
                    <a:pt x="701" y="1183"/>
                  </a:lnTo>
                  <a:lnTo>
                    <a:pt x="702" y="1182"/>
                  </a:lnTo>
                  <a:lnTo>
                    <a:pt x="706" y="1180"/>
                  </a:lnTo>
                  <a:lnTo>
                    <a:pt x="706" y="1177"/>
                  </a:lnTo>
                  <a:lnTo>
                    <a:pt x="707" y="1177"/>
                  </a:lnTo>
                  <a:lnTo>
                    <a:pt x="708" y="1177"/>
                  </a:lnTo>
                  <a:lnTo>
                    <a:pt x="709" y="1177"/>
                  </a:lnTo>
                  <a:lnTo>
                    <a:pt x="711" y="1179"/>
                  </a:lnTo>
                  <a:lnTo>
                    <a:pt x="712" y="1180"/>
                  </a:lnTo>
                  <a:lnTo>
                    <a:pt x="713" y="1179"/>
                  </a:lnTo>
                  <a:lnTo>
                    <a:pt x="713" y="1177"/>
                  </a:lnTo>
                  <a:lnTo>
                    <a:pt x="714" y="1177"/>
                  </a:lnTo>
                  <a:lnTo>
                    <a:pt x="715" y="1176"/>
                  </a:lnTo>
                  <a:lnTo>
                    <a:pt x="718" y="1176"/>
                  </a:lnTo>
                  <a:lnTo>
                    <a:pt x="720" y="1177"/>
                  </a:lnTo>
                  <a:lnTo>
                    <a:pt x="721" y="1177"/>
                  </a:lnTo>
                  <a:lnTo>
                    <a:pt x="723" y="1176"/>
                  </a:lnTo>
                  <a:lnTo>
                    <a:pt x="724" y="1176"/>
                  </a:lnTo>
                  <a:lnTo>
                    <a:pt x="725" y="1175"/>
                  </a:lnTo>
                  <a:lnTo>
                    <a:pt x="726" y="1176"/>
                  </a:lnTo>
                  <a:lnTo>
                    <a:pt x="727" y="1175"/>
                  </a:lnTo>
                  <a:lnTo>
                    <a:pt x="727" y="1174"/>
                  </a:lnTo>
                  <a:lnTo>
                    <a:pt x="727" y="1172"/>
                  </a:lnTo>
                  <a:lnTo>
                    <a:pt x="726" y="1171"/>
                  </a:lnTo>
                  <a:lnTo>
                    <a:pt x="727" y="1170"/>
                  </a:lnTo>
                  <a:lnTo>
                    <a:pt x="727" y="1168"/>
                  </a:lnTo>
                  <a:lnTo>
                    <a:pt x="727" y="1166"/>
                  </a:lnTo>
                  <a:lnTo>
                    <a:pt x="729" y="1165"/>
                  </a:lnTo>
                  <a:lnTo>
                    <a:pt x="730" y="1164"/>
                  </a:lnTo>
                  <a:lnTo>
                    <a:pt x="730" y="1163"/>
                  </a:lnTo>
                  <a:lnTo>
                    <a:pt x="731" y="1160"/>
                  </a:lnTo>
                  <a:lnTo>
                    <a:pt x="732" y="1162"/>
                  </a:lnTo>
                  <a:lnTo>
                    <a:pt x="732" y="1163"/>
                  </a:lnTo>
                  <a:lnTo>
                    <a:pt x="735" y="1160"/>
                  </a:lnTo>
                  <a:lnTo>
                    <a:pt x="735" y="1159"/>
                  </a:lnTo>
                  <a:lnTo>
                    <a:pt x="735" y="1160"/>
                  </a:lnTo>
                  <a:lnTo>
                    <a:pt x="736" y="1160"/>
                  </a:lnTo>
                  <a:lnTo>
                    <a:pt x="737" y="1160"/>
                  </a:lnTo>
                  <a:lnTo>
                    <a:pt x="738" y="1160"/>
                  </a:lnTo>
                  <a:lnTo>
                    <a:pt x="741" y="1160"/>
                  </a:lnTo>
                  <a:lnTo>
                    <a:pt x="742" y="1160"/>
                  </a:lnTo>
                  <a:lnTo>
                    <a:pt x="743" y="1160"/>
                  </a:lnTo>
                  <a:lnTo>
                    <a:pt x="744" y="1162"/>
                  </a:lnTo>
                  <a:lnTo>
                    <a:pt x="745" y="1160"/>
                  </a:lnTo>
                  <a:lnTo>
                    <a:pt x="745" y="1162"/>
                  </a:lnTo>
                  <a:lnTo>
                    <a:pt x="747" y="1163"/>
                  </a:lnTo>
                  <a:lnTo>
                    <a:pt x="748" y="1162"/>
                  </a:lnTo>
                  <a:lnTo>
                    <a:pt x="748" y="1160"/>
                  </a:lnTo>
                  <a:lnTo>
                    <a:pt x="750" y="1159"/>
                  </a:lnTo>
                  <a:lnTo>
                    <a:pt x="750" y="1158"/>
                  </a:lnTo>
                  <a:lnTo>
                    <a:pt x="752" y="1157"/>
                  </a:lnTo>
                  <a:lnTo>
                    <a:pt x="753" y="1156"/>
                  </a:lnTo>
                  <a:lnTo>
                    <a:pt x="752" y="1154"/>
                  </a:lnTo>
                  <a:lnTo>
                    <a:pt x="752" y="1153"/>
                  </a:lnTo>
                  <a:lnTo>
                    <a:pt x="754" y="1152"/>
                  </a:lnTo>
                  <a:lnTo>
                    <a:pt x="753" y="1154"/>
                  </a:lnTo>
                  <a:lnTo>
                    <a:pt x="755" y="1154"/>
                  </a:lnTo>
                  <a:lnTo>
                    <a:pt x="755" y="1152"/>
                  </a:lnTo>
                  <a:lnTo>
                    <a:pt x="755" y="1151"/>
                  </a:lnTo>
                  <a:lnTo>
                    <a:pt x="755" y="1150"/>
                  </a:lnTo>
                  <a:lnTo>
                    <a:pt x="756" y="1148"/>
                  </a:lnTo>
                  <a:lnTo>
                    <a:pt x="756" y="1150"/>
                  </a:lnTo>
                  <a:lnTo>
                    <a:pt x="759" y="1148"/>
                  </a:lnTo>
                  <a:lnTo>
                    <a:pt x="759" y="1147"/>
                  </a:lnTo>
                  <a:lnTo>
                    <a:pt x="761" y="1146"/>
                  </a:lnTo>
                  <a:lnTo>
                    <a:pt x="762" y="1146"/>
                  </a:lnTo>
                  <a:lnTo>
                    <a:pt x="765" y="1145"/>
                  </a:lnTo>
                  <a:lnTo>
                    <a:pt x="766" y="1145"/>
                  </a:lnTo>
                  <a:lnTo>
                    <a:pt x="770" y="1145"/>
                  </a:lnTo>
                  <a:lnTo>
                    <a:pt x="772" y="1144"/>
                  </a:lnTo>
                  <a:lnTo>
                    <a:pt x="776" y="1142"/>
                  </a:lnTo>
                  <a:lnTo>
                    <a:pt x="777" y="1141"/>
                  </a:lnTo>
                  <a:lnTo>
                    <a:pt x="776" y="1140"/>
                  </a:lnTo>
                  <a:lnTo>
                    <a:pt x="774" y="1138"/>
                  </a:lnTo>
                  <a:lnTo>
                    <a:pt x="774" y="1136"/>
                  </a:lnTo>
                  <a:lnTo>
                    <a:pt x="777" y="1139"/>
                  </a:lnTo>
                  <a:lnTo>
                    <a:pt x="778" y="1138"/>
                  </a:lnTo>
                  <a:lnTo>
                    <a:pt x="778" y="1135"/>
                  </a:lnTo>
                  <a:lnTo>
                    <a:pt x="778" y="1134"/>
                  </a:lnTo>
                  <a:lnTo>
                    <a:pt x="778" y="1133"/>
                  </a:lnTo>
                  <a:lnTo>
                    <a:pt x="778" y="1130"/>
                  </a:lnTo>
                  <a:lnTo>
                    <a:pt x="777" y="1128"/>
                  </a:lnTo>
                  <a:lnTo>
                    <a:pt x="777" y="1127"/>
                  </a:lnTo>
                  <a:lnTo>
                    <a:pt x="777" y="1126"/>
                  </a:lnTo>
                  <a:lnTo>
                    <a:pt x="777" y="1124"/>
                  </a:lnTo>
                  <a:lnTo>
                    <a:pt x="777" y="1122"/>
                  </a:lnTo>
                  <a:lnTo>
                    <a:pt x="778" y="1121"/>
                  </a:lnTo>
                  <a:lnTo>
                    <a:pt x="779" y="1120"/>
                  </a:lnTo>
                  <a:lnTo>
                    <a:pt x="779" y="1117"/>
                  </a:lnTo>
                  <a:lnTo>
                    <a:pt x="779" y="1109"/>
                  </a:lnTo>
                  <a:lnTo>
                    <a:pt x="780" y="1108"/>
                  </a:lnTo>
                  <a:lnTo>
                    <a:pt x="780" y="1106"/>
                  </a:lnTo>
                  <a:lnTo>
                    <a:pt x="782" y="1105"/>
                  </a:lnTo>
                  <a:lnTo>
                    <a:pt x="783" y="1105"/>
                  </a:lnTo>
                  <a:lnTo>
                    <a:pt x="783" y="1104"/>
                  </a:lnTo>
                  <a:lnTo>
                    <a:pt x="784" y="1105"/>
                  </a:lnTo>
                  <a:lnTo>
                    <a:pt x="784" y="1104"/>
                  </a:lnTo>
                  <a:lnTo>
                    <a:pt x="785" y="1103"/>
                  </a:lnTo>
                  <a:lnTo>
                    <a:pt x="786" y="1103"/>
                  </a:lnTo>
                  <a:lnTo>
                    <a:pt x="786" y="1102"/>
                  </a:lnTo>
                  <a:lnTo>
                    <a:pt x="788" y="1102"/>
                  </a:lnTo>
                  <a:lnTo>
                    <a:pt x="789" y="1100"/>
                  </a:lnTo>
                  <a:lnTo>
                    <a:pt x="791" y="1099"/>
                  </a:lnTo>
                  <a:lnTo>
                    <a:pt x="792" y="1097"/>
                  </a:lnTo>
                  <a:lnTo>
                    <a:pt x="794" y="1097"/>
                  </a:lnTo>
                  <a:lnTo>
                    <a:pt x="794" y="1094"/>
                  </a:lnTo>
                  <a:lnTo>
                    <a:pt x="792" y="1094"/>
                  </a:lnTo>
                  <a:lnTo>
                    <a:pt x="790" y="1094"/>
                  </a:lnTo>
                  <a:lnTo>
                    <a:pt x="788" y="1094"/>
                  </a:lnTo>
                  <a:lnTo>
                    <a:pt x="783" y="1096"/>
                  </a:lnTo>
                  <a:lnTo>
                    <a:pt x="779" y="1098"/>
                  </a:lnTo>
                  <a:lnTo>
                    <a:pt x="774" y="1099"/>
                  </a:lnTo>
                  <a:lnTo>
                    <a:pt x="771" y="1102"/>
                  </a:lnTo>
                  <a:lnTo>
                    <a:pt x="767" y="1103"/>
                  </a:lnTo>
                  <a:lnTo>
                    <a:pt x="761" y="1104"/>
                  </a:lnTo>
                  <a:lnTo>
                    <a:pt x="756" y="1106"/>
                  </a:lnTo>
                  <a:lnTo>
                    <a:pt x="752" y="1108"/>
                  </a:lnTo>
                  <a:lnTo>
                    <a:pt x="748" y="1109"/>
                  </a:lnTo>
                  <a:lnTo>
                    <a:pt x="744" y="1108"/>
                  </a:lnTo>
                  <a:lnTo>
                    <a:pt x="737" y="1109"/>
                  </a:lnTo>
                  <a:lnTo>
                    <a:pt x="731" y="1109"/>
                  </a:lnTo>
                  <a:lnTo>
                    <a:pt x="725" y="1109"/>
                  </a:lnTo>
                  <a:lnTo>
                    <a:pt x="720" y="1108"/>
                  </a:lnTo>
                  <a:lnTo>
                    <a:pt x="717" y="1106"/>
                  </a:lnTo>
                  <a:lnTo>
                    <a:pt x="712" y="1105"/>
                  </a:lnTo>
                  <a:lnTo>
                    <a:pt x="701" y="1105"/>
                  </a:lnTo>
                  <a:lnTo>
                    <a:pt x="700" y="1104"/>
                  </a:lnTo>
                  <a:lnTo>
                    <a:pt x="696" y="1103"/>
                  </a:lnTo>
                  <a:lnTo>
                    <a:pt x="694" y="1100"/>
                  </a:lnTo>
                  <a:lnTo>
                    <a:pt x="694" y="1098"/>
                  </a:lnTo>
                  <a:lnTo>
                    <a:pt x="693" y="1097"/>
                  </a:lnTo>
                  <a:lnTo>
                    <a:pt x="693" y="1094"/>
                  </a:lnTo>
                  <a:lnTo>
                    <a:pt x="691" y="1093"/>
                  </a:lnTo>
                  <a:lnTo>
                    <a:pt x="691" y="1091"/>
                  </a:lnTo>
                  <a:lnTo>
                    <a:pt x="693" y="1091"/>
                  </a:lnTo>
                  <a:lnTo>
                    <a:pt x="694" y="1093"/>
                  </a:lnTo>
                  <a:lnTo>
                    <a:pt x="695" y="1092"/>
                  </a:lnTo>
                  <a:lnTo>
                    <a:pt x="696" y="1092"/>
                  </a:lnTo>
                  <a:lnTo>
                    <a:pt x="697" y="1091"/>
                  </a:lnTo>
                  <a:lnTo>
                    <a:pt x="699" y="1091"/>
                  </a:lnTo>
                  <a:lnTo>
                    <a:pt x="700" y="1090"/>
                  </a:lnTo>
                  <a:lnTo>
                    <a:pt x="700" y="1088"/>
                  </a:lnTo>
                  <a:lnTo>
                    <a:pt x="702" y="1087"/>
                  </a:lnTo>
                  <a:lnTo>
                    <a:pt x="703" y="1087"/>
                  </a:lnTo>
                  <a:lnTo>
                    <a:pt x="705" y="1086"/>
                  </a:lnTo>
                  <a:lnTo>
                    <a:pt x="705" y="1087"/>
                  </a:lnTo>
                  <a:lnTo>
                    <a:pt x="706" y="1087"/>
                  </a:lnTo>
                  <a:lnTo>
                    <a:pt x="707" y="1087"/>
                  </a:lnTo>
                  <a:lnTo>
                    <a:pt x="708" y="1087"/>
                  </a:lnTo>
                  <a:lnTo>
                    <a:pt x="709" y="1087"/>
                  </a:lnTo>
                  <a:lnTo>
                    <a:pt x="711" y="1087"/>
                  </a:lnTo>
                  <a:lnTo>
                    <a:pt x="713" y="1086"/>
                  </a:lnTo>
                  <a:lnTo>
                    <a:pt x="714" y="1086"/>
                  </a:lnTo>
                  <a:lnTo>
                    <a:pt x="714" y="1085"/>
                  </a:lnTo>
                  <a:lnTo>
                    <a:pt x="714" y="1082"/>
                  </a:lnTo>
                  <a:lnTo>
                    <a:pt x="715" y="1081"/>
                  </a:lnTo>
                  <a:lnTo>
                    <a:pt x="717" y="1082"/>
                  </a:lnTo>
                  <a:lnTo>
                    <a:pt x="715" y="1084"/>
                  </a:lnTo>
                  <a:lnTo>
                    <a:pt x="717" y="1085"/>
                  </a:lnTo>
                  <a:lnTo>
                    <a:pt x="718" y="1084"/>
                  </a:lnTo>
                  <a:lnTo>
                    <a:pt x="719" y="1082"/>
                  </a:lnTo>
                  <a:lnTo>
                    <a:pt x="719" y="1081"/>
                  </a:lnTo>
                  <a:lnTo>
                    <a:pt x="719" y="1080"/>
                  </a:lnTo>
                  <a:lnTo>
                    <a:pt x="720" y="1082"/>
                  </a:lnTo>
                  <a:lnTo>
                    <a:pt x="720" y="1081"/>
                  </a:lnTo>
                  <a:lnTo>
                    <a:pt x="721" y="1081"/>
                  </a:lnTo>
                  <a:lnTo>
                    <a:pt x="723" y="1081"/>
                  </a:lnTo>
                  <a:lnTo>
                    <a:pt x="725" y="1080"/>
                  </a:lnTo>
                  <a:lnTo>
                    <a:pt x="726" y="1078"/>
                  </a:lnTo>
                  <a:lnTo>
                    <a:pt x="726" y="1076"/>
                  </a:lnTo>
                  <a:lnTo>
                    <a:pt x="727" y="1075"/>
                  </a:lnTo>
                  <a:lnTo>
                    <a:pt x="727" y="1073"/>
                  </a:lnTo>
                  <a:lnTo>
                    <a:pt x="729" y="1072"/>
                  </a:lnTo>
                  <a:lnTo>
                    <a:pt x="730" y="1072"/>
                  </a:lnTo>
                  <a:lnTo>
                    <a:pt x="731" y="1070"/>
                  </a:lnTo>
                  <a:lnTo>
                    <a:pt x="731" y="1069"/>
                  </a:lnTo>
                  <a:lnTo>
                    <a:pt x="732" y="1068"/>
                  </a:lnTo>
                  <a:lnTo>
                    <a:pt x="732" y="1067"/>
                  </a:lnTo>
                  <a:lnTo>
                    <a:pt x="733" y="1067"/>
                  </a:lnTo>
                  <a:lnTo>
                    <a:pt x="735" y="1065"/>
                  </a:lnTo>
                  <a:lnTo>
                    <a:pt x="735" y="1064"/>
                  </a:lnTo>
                  <a:lnTo>
                    <a:pt x="735" y="1063"/>
                  </a:lnTo>
                  <a:lnTo>
                    <a:pt x="735" y="1064"/>
                  </a:lnTo>
                  <a:lnTo>
                    <a:pt x="736" y="1064"/>
                  </a:lnTo>
                  <a:lnTo>
                    <a:pt x="736" y="1063"/>
                  </a:lnTo>
                  <a:lnTo>
                    <a:pt x="737" y="1061"/>
                  </a:lnTo>
                  <a:lnTo>
                    <a:pt x="737" y="1059"/>
                  </a:lnTo>
                  <a:lnTo>
                    <a:pt x="738" y="1058"/>
                  </a:lnTo>
                  <a:lnTo>
                    <a:pt x="737" y="1058"/>
                  </a:lnTo>
                  <a:lnTo>
                    <a:pt x="736" y="1057"/>
                  </a:lnTo>
                  <a:lnTo>
                    <a:pt x="733" y="1058"/>
                  </a:lnTo>
                  <a:lnTo>
                    <a:pt x="731" y="1058"/>
                  </a:lnTo>
                  <a:lnTo>
                    <a:pt x="723" y="1058"/>
                  </a:lnTo>
                  <a:lnTo>
                    <a:pt x="718" y="1059"/>
                  </a:lnTo>
                  <a:lnTo>
                    <a:pt x="714" y="1061"/>
                  </a:lnTo>
                  <a:lnTo>
                    <a:pt x="711" y="1059"/>
                  </a:lnTo>
                  <a:lnTo>
                    <a:pt x="708" y="1059"/>
                  </a:lnTo>
                  <a:lnTo>
                    <a:pt x="706" y="1057"/>
                  </a:lnTo>
                  <a:lnTo>
                    <a:pt x="706" y="1056"/>
                  </a:lnTo>
                  <a:lnTo>
                    <a:pt x="705" y="1055"/>
                  </a:lnTo>
                  <a:lnTo>
                    <a:pt x="706" y="1053"/>
                  </a:lnTo>
                  <a:lnTo>
                    <a:pt x="707" y="1051"/>
                  </a:lnTo>
                  <a:lnTo>
                    <a:pt x="708" y="1050"/>
                  </a:lnTo>
                  <a:lnTo>
                    <a:pt x="709" y="1049"/>
                  </a:lnTo>
                  <a:lnTo>
                    <a:pt x="709" y="1046"/>
                  </a:lnTo>
                  <a:lnTo>
                    <a:pt x="711" y="1046"/>
                  </a:lnTo>
                  <a:lnTo>
                    <a:pt x="712" y="1046"/>
                  </a:lnTo>
                  <a:lnTo>
                    <a:pt x="713" y="1045"/>
                  </a:lnTo>
                  <a:lnTo>
                    <a:pt x="714" y="1045"/>
                  </a:lnTo>
                  <a:lnTo>
                    <a:pt x="714" y="1044"/>
                  </a:lnTo>
                  <a:lnTo>
                    <a:pt x="715" y="1043"/>
                  </a:lnTo>
                  <a:lnTo>
                    <a:pt x="717" y="1043"/>
                  </a:lnTo>
                  <a:lnTo>
                    <a:pt x="717" y="1044"/>
                  </a:lnTo>
                  <a:lnTo>
                    <a:pt x="718" y="1044"/>
                  </a:lnTo>
                  <a:lnTo>
                    <a:pt x="719" y="1044"/>
                  </a:lnTo>
                  <a:lnTo>
                    <a:pt x="720" y="1043"/>
                  </a:lnTo>
                  <a:lnTo>
                    <a:pt x="721" y="1041"/>
                  </a:lnTo>
                  <a:lnTo>
                    <a:pt x="724" y="1041"/>
                  </a:lnTo>
                  <a:lnTo>
                    <a:pt x="724" y="1040"/>
                  </a:lnTo>
                  <a:lnTo>
                    <a:pt x="725" y="1040"/>
                  </a:lnTo>
                  <a:lnTo>
                    <a:pt x="726" y="1039"/>
                  </a:lnTo>
                  <a:lnTo>
                    <a:pt x="726" y="1038"/>
                  </a:lnTo>
                  <a:lnTo>
                    <a:pt x="727" y="1037"/>
                  </a:lnTo>
                  <a:lnTo>
                    <a:pt x="729" y="1035"/>
                  </a:lnTo>
                  <a:lnTo>
                    <a:pt x="731" y="1034"/>
                  </a:lnTo>
                  <a:lnTo>
                    <a:pt x="732" y="1033"/>
                  </a:lnTo>
                  <a:lnTo>
                    <a:pt x="733" y="1033"/>
                  </a:lnTo>
                  <a:lnTo>
                    <a:pt x="736" y="1032"/>
                  </a:lnTo>
                  <a:lnTo>
                    <a:pt x="736" y="1031"/>
                  </a:lnTo>
                  <a:lnTo>
                    <a:pt x="736" y="1029"/>
                  </a:lnTo>
                  <a:lnTo>
                    <a:pt x="737" y="1029"/>
                  </a:lnTo>
                  <a:lnTo>
                    <a:pt x="738" y="1027"/>
                  </a:lnTo>
                  <a:lnTo>
                    <a:pt x="739" y="1027"/>
                  </a:lnTo>
                  <a:lnTo>
                    <a:pt x="741" y="1025"/>
                  </a:lnTo>
                  <a:lnTo>
                    <a:pt x="741" y="1023"/>
                  </a:lnTo>
                  <a:lnTo>
                    <a:pt x="741" y="1020"/>
                  </a:lnTo>
                  <a:lnTo>
                    <a:pt x="742" y="1019"/>
                  </a:lnTo>
                  <a:lnTo>
                    <a:pt x="742" y="1017"/>
                  </a:lnTo>
                  <a:lnTo>
                    <a:pt x="743" y="1015"/>
                  </a:lnTo>
                  <a:lnTo>
                    <a:pt x="744" y="1014"/>
                  </a:lnTo>
                  <a:lnTo>
                    <a:pt x="745" y="1013"/>
                  </a:lnTo>
                  <a:lnTo>
                    <a:pt x="745" y="1010"/>
                  </a:lnTo>
                  <a:lnTo>
                    <a:pt x="744" y="1010"/>
                  </a:lnTo>
                  <a:lnTo>
                    <a:pt x="743" y="1010"/>
                  </a:lnTo>
                  <a:lnTo>
                    <a:pt x="741" y="1013"/>
                  </a:lnTo>
                  <a:lnTo>
                    <a:pt x="739" y="1014"/>
                  </a:lnTo>
                  <a:lnTo>
                    <a:pt x="738" y="1014"/>
                  </a:lnTo>
                  <a:lnTo>
                    <a:pt x="737" y="1014"/>
                  </a:lnTo>
                  <a:lnTo>
                    <a:pt x="737" y="1013"/>
                  </a:lnTo>
                  <a:lnTo>
                    <a:pt x="738" y="1011"/>
                  </a:lnTo>
                  <a:lnTo>
                    <a:pt x="739" y="1011"/>
                  </a:lnTo>
                  <a:lnTo>
                    <a:pt x="741" y="1010"/>
                  </a:lnTo>
                  <a:lnTo>
                    <a:pt x="742" y="1010"/>
                  </a:lnTo>
                  <a:lnTo>
                    <a:pt x="743" y="1009"/>
                  </a:lnTo>
                  <a:lnTo>
                    <a:pt x="742" y="1009"/>
                  </a:lnTo>
                  <a:lnTo>
                    <a:pt x="739" y="1007"/>
                  </a:lnTo>
                  <a:lnTo>
                    <a:pt x="738" y="1005"/>
                  </a:lnTo>
                  <a:lnTo>
                    <a:pt x="736" y="1005"/>
                  </a:lnTo>
                  <a:lnTo>
                    <a:pt x="735" y="1003"/>
                  </a:lnTo>
                  <a:lnTo>
                    <a:pt x="736" y="1004"/>
                  </a:lnTo>
                  <a:lnTo>
                    <a:pt x="739" y="1003"/>
                  </a:lnTo>
                  <a:lnTo>
                    <a:pt x="739" y="1002"/>
                  </a:lnTo>
                  <a:lnTo>
                    <a:pt x="741" y="1002"/>
                  </a:lnTo>
                  <a:lnTo>
                    <a:pt x="742" y="1001"/>
                  </a:lnTo>
                  <a:lnTo>
                    <a:pt x="741" y="1001"/>
                  </a:lnTo>
                  <a:lnTo>
                    <a:pt x="738" y="1001"/>
                  </a:lnTo>
                  <a:lnTo>
                    <a:pt x="738" y="999"/>
                  </a:lnTo>
                  <a:lnTo>
                    <a:pt x="739" y="999"/>
                  </a:lnTo>
                  <a:lnTo>
                    <a:pt x="741" y="998"/>
                  </a:lnTo>
                  <a:lnTo>
                    <a:pt x="742" y="998"/>
                  </a:lnTo>
                  <a:lnTo>
                    <a:pt x="742" y="997"/>
                  </a:lnTo>
                  <a:lnTo>
                    <a:pt x="741" y="997"/>
                  </a:lnTo>
                  <a:lnTo>
                    <a:pt x="739" y="997"/>
                  </a:lnTo>
                  <a:lnTo>
                    <a:pt x="739" y="995"/>
                  </a:lnTo>
                  <a:lnTo>
                    <a:pt x="739" y="993"/>
                  </a:lnTo>
                  <a:lnTo>
                    <a:pt x="738" y="993"/>
                  </a:lnTo>
                  <a:lnTo>
                    <a:pt x="737" y="996"/>
                  </a:lnTo>
                  <a:lnTo>
                    <a:pt x="736" y="995"/>
                  </a:lnTo>
                  <a:lnTo>
                    <a:pt x="735" y="993"/>
                  </a:lnTo>
                  <a:lnTo>
                    <a:pt x="733" y="993"/>
                  </a:lnTo>
                  <a:lnTo>
                    <a:pt x="733" y="996"/>
                  </a:lnTo>
                  <a:lnTo>
                    <a:pt x="733" y="999"/>
                  </a:lnTo>
                  <a:lnTo>
                    <a:pt x="732" y="1002"/>
                  </a:lnTo>
                  <a:lnTo>
                    <a:pt x="730" y="1002"/>
                  </a:lnTo>
                  <a:lnTo>
                    <a:pt x="729" y="1005"/>
                  </a:lnTo>
                  <a:lnTo>
                    <a:pt x="726" y="1007"/>
                  </a:lnTo>
                  <a:lnTo>
                    <a:pt x="724" y="1007"/>
                  </a:lnTo>
                  <a:lnTo>
                    <a:pt x="723" y="1008"/>
                  </a:lnTo>
                  <a:lnTo>
                    <a:pt x="721" y="1009"/>
                  </a:lnTo>
                  <a:lnTo>
                    <a:pt x="719" y="1010"/>
                  </a:lnTo>
                  <a:lnTo>
                    <a:pt x="718" y="1010"/>
                  </a:lnTo>
                  <a:lnTo>
                    <a:pt x="715" y="1011"/>
                  </a:lnTo>
                  <a:lnTo>
                    <a:pt x="713" y="1013"/>
                  </a:lnTo>
                  <a:lnTo>
                    <a:pt x="709" y="1013"/>
                  </a:lnTo>
                  <a:lnTo>
                    <a:pt x="708" y="1014"/>
                  </a:lnTo>
                  <a:lnTo>
                    <a:pt x="706" y="1015"/>
                  </a:lnTo>
                  <a:lnTo>
                    <a:pt x="705" y="1014"/>
                  </a:lnTo>
                  <a:lnTo>
                    <a:pt x="706" y="1014"/>
                  </a:lnTo>
                  <a:lnTo>
                    <a:pt x="706" y="1013"/>
                  </a:lnTo>
                  <a:lnTo>
                    <a:pt x="707" y="1011"/>
                  </a:lnTo>
                  <a:lnTo>
                    <a:pt x="707" y="1010"/>
                  </a:lnTo>
                  <a:lnTo>
                    <a:pt x="706" y="1009"/>
                  </a:lnTo>
                  <a:lnTo>
                    <a:pt x="706" y="1007"/>
                  </a:lnTo>
                  <a:lnTo>
                    <a:pt x="705" y="1005"/>
                  </a:lnTo>
                  <a:lnTo>
                    <a:pt x="705" y="1004"/>
                  </a:lnTo>
                  <a:lnTo>
                    <a:pt x="706" y="1005"/>
                  </a:lnTo>
                  <a:lnTo>
                    <a:pt x="707" y="1003"/>
                  </a:lnTo>
                  <a:lnTo>
                    <a:pt x="707" y="1004"/>
                  </a:lnTo>
                  <a:lnTo>
                    <a:pt x="708" y="1003"/>
                  </a:lnTo>
                  <a:lnTo>
                    <a:pt x="708" y="1002"/>
                  </a:lnTo>
                  <a:lnTo>
                    <a:pt x="707" y="1002"/>
                  </a:lnTo>
                  <a:lnTo>
                    <a:pt x="707" y="1001"/>
                  </a:lnTo>
                  <a:lnTo>
                    <a:pt x="707" y="999"/>
                  </a:lnTo>
                  <a:lnTo>
                    <a:pt x="708" y="998"/>
                  </a:lnTo>
                  <a:lnTo>
                    <a:pt x="707" y="997"/>
                  </a:lnTo>
                  <a:lnTo>
                    <a:pt x="705" y="997"/>
                  </a:lnTo>
                  <a:lnTo>
                    <a:pt x="703" y="997"/>
                  </a:lnTo>
                  <a:lnTo>
                    <a:pt x="702" y="997"/>
                  </a:lnTo>
                  <a:lnTo>
                    <a:pt x="701" y="998"/>
                  </a:lnTo>
                  <a:lnTo>
                    <a:pt x="700" y="998"/>
                  </a:lnTo>
                  <a:lnTo>
                    <a:pt x="697" y="999"/>
                  </a:lnTo>
                  <a:lnTo>
                    <a:pt x="696" y="999"/>
                  </a:lnTo>
                  <a:lnTo>
                    <a:pt x="696" y="998"/>
                  </a:lnTo>
                  <a:lnTo>
                    <a:pt x="699" y="997"/>
                  </a:lnTo>
                  <a:lnTo>
                    <a:pt x="699" y="996"/>
                  </a:lnTo>
                  <a:lnTo>
                    <a:pt x="699" y="995"/>
                  </a:lnTo>
                  <a:lnTo>
                    <a:pt x="697" y="993"/>
                  </a:lnTo>
                  <a:lnTo>
                    <a:pt x="697" y="991"/>
                  </a:lnTo>
                  <a:lnTo>
                    <a:pt x="696" y="989"/>
                  </a:lnTo>
                  <a:lnTo>
                    <a:pt x="695" y="987"/>
                  </a:lnTo>
                  <a:lnTo>
                    <a:pt x="694" y="987"/>
                  </a:lnTo>
                  <a:lnTo>
                    <a:pt x="694" y="986"/>
                  </a:lnTo>
                  <a:lnTo>
                    <a:pt x="693" y="987"/>
                  </a:lnTo>
                  <a:lnTo>
                    <a:pt x="693" y="989"/>
                  </a:lnTo>
                  <a:lnTo>
                    <a:pt x="693" y="990"/>
                  </a:lnTo>
                  <a:lnTo>
                    <a:pt x="691" y="992"/>
                  </a:lnTo>
                  <a:lnTo>
                    <a:pt x="690" y="993"/>
                  </a:lnTo>
                  <a:lnTo>
                    <a:pt x="689" y="993"/>
                  </a:lnTo>
                  <a:lnTo>
                    <a:pt x="688" y="993"/>
                  </a:lnTo>
                  <a:lnTo>
                    <a:pt x="688" y="995"/>
                  </a:lnTo>
                  <a:lnTo>
                    <a:pt x="685" y="996"/>
                  </a:lnTo>
                  <a:lnTo>
                    <a:pt x="685" y="997"/>
                  </a:lnTo>
                  <a:lnTo>
                    <a:pt x="686" y="997"/>
                  </a:lnTo>
                  <a:lnTo>
                    <a:pt x="688" y="996"/>
                  </a:lnTo>
                  <a:lnTo>
                    <a:pt x="688" y="997"/>
                  </a:lnTo>
                  <a:lnTo>
                    <a:pt x="688" y="998"/>
                  </a:lnTo>
                  <a:lnTo>
                    <a:pt x="686" y="998"/>
                  </a:lnTo>
                  <a:lnTo>
                    <a:pt x="686" y="999"/>
                  </a:lnTo>
                  <a:lnTo>
                    <a:pt x="686" y="1001"/>
                  </a:lnTo>
                  <a:lnTo>
                    <a:pt x="688" y="1001"/>
                  </a:lnTo>
                  <a:lnTo>
                    <a:pt x="688" y="1002"/>
                  </a:lnTo>
                  <a:lnTo>
                    <a:pt x="686" y="1002"/>
                  </a:lnTo>
                  <a:lnTo>
                    <a:pt x="685" y="1002"/>
                  </a:lnTo>
                  <a:lnTo>
                    <a:pt x="685" y="1003"/>
                  </a:lnTo>
                  <a:lnTo>
                    <a:pt x="685" y="1004"/>
                  </a:lnTo>
                  <a:lnTo>
                    <a:pt x="686" y="1005"/>
                  </a:lnTo>
                  <a:lnTo>
                    <a:pt x="685" y="1007"/>
                  </a:lnTo>
                  <a:lnTo>
                    <a:pt x="683" y="1007"/>
                  </a:lnTo>
                  <a:lnTo>
                    <a:pt x="682" y="1007"/>
                  </a:lnTo>
                  <a:lnTo>
                    <a:pt x="684" y="1008"/>
                  </a:lnTo>
                  <a:lnTo>
                    <a:pt x="685" y="1008"/>
                  </a:lnTo>
                  <a:lnTo>
                    <a:pt x="686" y="1009"/>
                  </a:lnTo>
                  <a:lnTo>
                    <a:pt x="685" y="1011"/>
                  </a:lnTo>
                  <a:lnTo>
                    <a:pt x="684" y="1011"/>
                  </a:lnTo>
                  <a:lnTo>
                    <a:pt x="683" y="1010"/>
                  </a:lnTo>
                  <a:lnTo>
                    <a:pt x="683" y="1011"/>
                  </a:lnTo>
                  <a:lnTo>
                    <a:pt x="682" y="1013"/>
                  </a:lnTo>
                  <a:lnTo>
                    <a:pt x="679" y="1014"/>
                  </a:lnTo>
                  <a:lnTo>
                    <a:pt x="677" y="1014"/>
                  </a:lnTo>
                  <a:lnTo>
                    <a:pt x="674" y="1015"/>
                  </a:lnTo>
                  <a:lnTo>
                    <a:pt x="672" y="1015"/>
                  </a:lnTo>
                  <a:lnTo>
                    <a:pt x="670" y="1015"/>
                  </a:lnTo>
                  <a:lnTo>
                    <a:pt x="665" y="1016"/>
                  </a:lnTo>
                  <a:lnTo>
                    <a:pt x="661" y="1015"/>
                  </a:lnTo>
                  <a:lnTo>
                    <a:pt x="659" y="1014"/>
                  </a:lnTo>
                  <a:lnTo>
                    <a:pt x="656" y="1014"/>
                  </a:lnTo>
                  <a:lnTo>
                    <a:pt x="653" y="1014"/>
                  </a:lnTo>
                  <a:lnTo>
                    <a:pt x="650" y="1013"/>
                  </a:lnTo>
                  <a:lnTo>
                    <a:pt x="648" y="1010"/>
                  </a:lnTo>
                  <a:lnTo>
                    <a:pt x="648" y="1009"/>
                  </a:lnTo>
                  <a:lnTo>
                    <a:pt x="648" y="1008"/>
                  </a:lnTo>
                  <a:lnTo>
                    <a:pt x="650" y="1008"/>
                  </a:lnTo>
                  <a:lnTo>
                    <a:pt x="650" y="1004"/>
                  </a:lnTo>
                  <a:lnTo>
                    <a:pt x="652" y="1005"/>
                  </a:lnTo>
                  <a:lnTo>
                    <a:pt x="652" y="1008"/>
                  </a:lnTo>
                  <a:lnTo>
                    <a:pt x="653" y="1009"/>
                  </a:lnTo>
                  <a:lnTo>
                    <a:pt x="655" y="1011"/>
                  </a:lnTo>
                  <a:lnTo>
                    <a:pt x="656" y="1013"/>
                  </a:lnTo>
                  <a:lnTo>
                    <a:pt x="658" y="1013"/>
                  </a:lnTo>
                  <a:lnTo>
                    <a:pt x="658" y="1010"/>
                  </a:lnTo>
                  <a:lnTo>
                    <a:pt x="655" y="1008"/>
                  </a:lnTo>
                  <a:lnTo>
                    <a:pt x="653" y="1005"/>
                  </a:lnTo>
                  <a:lnTo>
                    <a:pt x="653" y="1003"/>
                  </a:lnTo>
                  <a:lnTo>
                    <a:pt x="652" y="1001"/>
                  </a:lnTo>
                  <a:lnTo>
                    <a:pt x="653" y="1001"/>
                  </a:lnTo>
                  <a:lnTo>
                    <a:pt x="654" y="1002"/>
                  </a:lnTo>
                  <a:lnTo>
                    <a:pt x="654" y="1003"/>
                  </a:lnTo>
                  <a:lnTo>
                    <a:pt x="655" y="1003"/>
                  </a:lnTo>
                  <a:lnTo>
                    <a:pt x="655" y="1002"/>
                  </a:lnTo>
                  <a:lnTo>
                    <a:pt x="656" y="1001"/>
                  </a:lnTo>
                  <a:lnTo>
                    <a:pt x="658" y="1002"/>
                  </a:lnTo>
                  <a:lnTo>
                    <a:pt x="659" y="1003"/>
                  </a:lnTo>
                  <a:lnTo>
                    <a:pt x="660" y="1001"/>
                  </a:lnTo>
                  <a:lnTo>
                    <a:pt x="660" y="999"/>
                  </a:lnTo>
                  <a:lnTo>
                    <a:pt x="659" y="997"/>
                  </a:lnTo>
                  <a:lnTo>
                    <a:pt x="656" y="995"/>
                  </a:lnTo>
                  <a:lnTo>
                    <a:pt x="655" y="993"/>
                  </a:lnTo>
                  <a:lnTo>
                    <a:pt x="656" y="991"/>
                  </a:lnTo>
                  <a:lnTo>
                    <a:pt x="656" y="992"/>
                  </a:lnTo>
                  <a:lnTo>
                    <a:pt x="658" y="993"/>
                  </a:lnTo>
                  <a:lnTo>
                    <a:pt x="659" y="995"/>
                  </a:lnTo>
                  <a:lnTo>
                    <a:pt x="660" y="996"/>
                  </a:lnTo>
                  <a:lnTo>
                    <a:pt x="661" y="995"/>
                  </a:lnTo>
                  <a:lnTo>
                    <a:pt x="661" y="993"/>
                  </a:lnTo>
                  <a:lnTo>
                    <a:pt x="662" y="993"/>
                  </a:lnTo>
                  <a:lnTo>
                    <a:pt x="664" y="995"/>
                  </a:lnTo>
                  <a:lnTo>
                    <a:pt x="665" y="996"/>
                  </a:lnTo>
                  <a:lnTo>
                    <a:pt x="666" y="995"/>
                  </a:lnTo>
                  <a:lnTo>
                    <a:pt x="666" y="993"/>
                  </a:lnTo>
                  <a:lnTo>
                    <a:pt x="667" y="992"/>
                  </a:lnTo>
                  <a:lnTo>
                    <a:pt x="667" y="990"/>
                  </a:lnTo>
                  <a:lnTo>
                    <a:pt x="666" y="987"/>
                  </a:lnTo>
                  <a:lnTo>
                    <a:pt x="665" y="986"/>
                  </a:lnTo>
                  <a:lnTo>
                    <a:pt x="665" y="984"/>
                  </a:lnTo>
                  <a:lnTo>
                    <a:pt x="666" y="984"/>
                  </a:lnTo>
                  <a:lnTo>
                    <a:pt x="667" y="985"/>
                  </a:lnTo>
                  <a:lnTo>
                    <a:pt x="670" y="984"/>
                  </a:lnTo>
                  <a:lnTo>
                    <a:pt x="672" y="985"/>
                  </a:lnTo>
                  <a:lnTo>
                    <a:pt x="674" y="986"/>
                  </a:lnTo>
                  <a:lnTo>
                    <a:pt x="676" y="985"/>
                  </a:lnTo>
                  <a:lnTo>
                    <a:pt x="677" y="984"/>
                  </a:lnTo>
                  <a:lnTo>
                    <a:pt x="678" y="984"/>
                  </a:lnTo>
                  <a:lnTo>
                    <a:pt x="678" y="983"/>
                  </a:lnTo>
                  <a:lnTo>
                    <a:pt x="676" y="981"/>
                  </a:lnTo>
                  <a:lnTo>
                    <a:pt x="673" y="981"/>
                  </a:lnTo>
                  <a:lnTo>
                    <a:pt x="671" y="980"/>
                  </a:lnTo>
                  <a:lnTo>
                    <a:pt x="668" y="979"/>
                  </a:lnTo>
                  <a:lnTo>
                    <a:pt x="667" y="977"/>
                  </a:lnTo>
                  <a:lnTo>
                    <a:pt x="667" y="975"/>
                  </a:lnTo>
                  <a:lnTo>
                    <a:pt x="666" y="975"/>
                  </a:lnTo>
                  <a:lnTo>
                    <a:pt x="666" y="974"/>
                  </a:lnTo>
                  <a:lnTo>
                    <a:pt x="667" y="974"/>
                  </a:lnTo>
                  <a:lnTo>
                    <a:pt x="668" y="975"/>
                  </a:lnTo>
                  <a:lnTo>
                    <a:pt x="671" y="977"/>
                  </a:lnTo>
                  <a:lnTo>
                    <a:pt x="672" y="977"/>
                  </a:lnTo>
                  <a:lnTo>
                    <a:pt x="673" y="979"/>
                  </a:lnTo>
                  <a:lnTo>
                    <a:pt x="674" y="979"/>
                  </a:lnTo>
                  <a:lnTo>
                    <a:pt x="676" y="978"/>
                  </a:lnTo>
                  <a:lnTo>
                    <a:pt x="676" y="977"/>
                  </a:lnTo>
                  <a:lnTo>
                    <a:pt x="674" y="975"/>
                  </a:lnTo>
                  <a:lnTo>
                    <a:pt x="673" y="974"/>
                  </a:lnTo>
                  <a:lnTo>
                    <a:pt x="670" y="973"/>
                  </a:lnTo>
                  <a:lnTo>
                    <a:pt x="668" y="972"/>
                  </a:lnTo>
                  <a:lnTo>
                    <a:pt x="667" y="972"/>
                  </a:lnTo>
                  <a:lnTo>
                    <a:pt x="665" y="971"/>
                  </a:lnTo>
                  <a:lnTo>
                    <a:pt x="664" y="969"/>
                  </a:lnTo>
                  <a:lnTo>
                    <a:pt x="664" y="968"/>
                  </a:lnTo>
                  <a:lnTo>
                    <a:pt x="665" y="969"/>
                  </a:lnTo>
                  <a:lnTo>
                    <a:pt x="666" y="969"/>
                  </a:lnTo>
                  <a:lnTo>
                    <a:pt x="667" y="971"/>
                  </a:lnTo>
                  <a:lnTo>
                    <a:pt x="668" y="972"/>
                  </a:lnTo>
                  <a:lnTo>
                    <a:pt x="670" y="971"/>
                  </a:lnTo>
                  <a:lnTo>
                    <a:pt x="672" y="971"/>
                  </a:lnTo>
                  <a:lnTo>
                    <a:pt x="674" y="971"/>
                  </a:lnTo>
                  <a:lnTo>
                    <a:pt x="673" y="968"/>
                  </a:lnTo>
                  <a:lnTo>
                    <a:pt x="672" y="967"/>
                  </a:lnTo>
                  <a:lnTo>
                    <a:pt x="673" y="965"/>
                  </a:lnTo>
                  <a:lnTo>
                    <a:pt x="676" y="966"/>
                  </a:lnTo>
                  <a:lnTo>
                    <a:pt x="674" y="965"/>
                  </a:lnTo>
                  <a:lnTo>
                    <a:pt x="673" y="962"/>
                  </a:lnTo>
                  <a:lnTo>
                    <a:pt x="676" y="961"/>
                  </a:lnTo>
                  <a:lnTo>
                    <a:pt x="677" y="960"/>
                  </a:lnTo>
                  <a:lnTo>
                    <a:pt x="677" y="959"/>
                  </a:lnTo>
                  <a:lnTo>
                    <a:pt x="673" y="959"/>
                  </a:lnTo>
                  <a:lnTo>
                    <a:pt x="672" y="959"/>
                  </a:lnTo>
                  <a:lnTo>
                    <a:pt x="670" y="957"/>
                  </a:lnTo>
                  <a:lnTo>
                    <a:pt x="665" y="952"/>
                  </a:lnTo>
                  <a:lnTo>
                    <a:pt x="661" y="950"/>
                  </a:lnTo>
                  <a:lnTo>
                    <a:pt x="660" y="948"/>
                  </a:lnTo>
                  <a:lnTo>
                    <a:pt x="661" y="943"/>
                  </a:lnTo>
                  <a:lnTo>
                    <a:pt x="661" y="939"/>
                  </a:lnTo>
                  <a:lnTo>
                    <a:pt x="662" y="939"/>
                  </a:lnTo>
                  <a:lnTo>
                    <a:pt x="664" y="944"/>
                  </a:lnTo>
                  <a:lnTo>
                    <a:pt x="664" y="949"/>
                  </a:lnTo>
                  <a:lnTo>
                    <a:pt x="665" y="948"/>
                  </a:lnTo>
                  <a:lnTo>
                    <a:pt x="665" y="946"/>
                  </a:lnTo>
                  <a:lnTo>
                    <a:pt x="666" y="948"/>
                  </a:lnTo>
                  <a:lnTo>
                    <a:pt x="667" y="945"/>
                  </a:lnTo>
                  <a:lnTo>
                    <a:pt x="667" y="942"/>
                  </a:lnTo>
                  <a:lnTo>
                    <a:pt x="668" y="940"/>
                  </a:lnTo>
                  <a:lnTo>
                    <a:pt x="670" y="942"/>
                  </a:lnTo>
                  <a:lnTo>
                    <a:pt x="668" y="948"/>
                  </a:lnTo>
                  <a:lnTo>
                    <a:pt x="670" y="949"/>
                  </a:lnTo>
                  <a:lnTo>
                    <a:pt x="671" y="951"/>
                  </a:lnTo>
                  <a:lnTo>
                    <a:pt x="674" y="952"/>
                  </a:lnTo>
                  <a:lnTo>
                    <a:pt x="674" y="950"/>
                  </a:lnTo>
                  <a:lnTo>
                    <a:pt x="673" y="946"/>
                  </a:lnTo>
                  <a:lnTo>
                    <a:pt x="672" y="944"/>
                  </a:lnTo>
                  <a:lnTo>
                    <a:pt x="671" y="940"/>
                  </a:lnTo>
                  <a:lnTo>
                    <a:pt x="667" y="938"/>
                  </a:lnTo>
                  <a:lnTo>
                    <a:pt x="666" y="936"/>
                  </a:lnTo>
                  <a:lnTo>
                    <a:pt x="666" y="934"/>
                  </a:lnTo>
                  <a:lnTo>
                    <a:pt x="668" y="937"/>
                  </a:lnTo>
                  <a:lnTo>
                    <a:pt x="668" y="933"/>
                  </a:lnTo>
                  <a:lnTo>
                    <a:pt x="668" y="932"/>
                  </a:lnTo>
                  <a:lnTo>
                    <a:pt x="670" y="932"/>
                  </a:lnTo>
                  <a:lnTo>
                    <a:pt x="671" y="936"/>
                  </a:lnTo>
                  <a:lnTo>
                    <a:pt x="671" y="938"/>
                  </a:lnTo>
                  <a:lnTo>
                    <a:pt x="672" y="940"/>
                  </a:lnTo>
                  <a:lnTo>
                    <a:pt x="672" y="942"/>
                  </a:lnTo>
                  <a:lnTo>
                    <a:pt x="673" y="943"/>
                  </a:lnTo>
                  <a:lnTo>
                    <a:pt x="674" y="944"/>
                  </a:lnTo>
                  <a:lnTo>
                    <a:pt x="676" y="940"/>
                  </a:lnTo>
                  <a:lnTo>
                    <a:pt x="676" y="937"/>
                  </a:lnTo>
                  <a:lnTo>
                    <a:pt x="677" y="936"/>
                  </a:lnTo>
                  <a:lnTo>
                    <a:pt x="677" y="934"/>
                  </a:lnTo>
                  <a:lnTo>
                    <a:pt x="674" y="933"/>
                  </a:lnTo>
                  <a:lnTo>
                    <a:pt x="674" y="932"/>
                  </a:lnTo>
                  <a:lnTo>
                    <a:pt x="674" y="928"/>
                  </a:lnTo>
                  <a:lnTo>
                    <a:pt x="674" y="930"/>
                  </a:lnTo>
                  <a:lnTo>
                    <a:pt x="676" y="932"/>
                  </a:lnTo>
                  <a:lnTo>
                    <a:pt x="677" y="933"/>
                  </a:lnTo>
                  <a:lnTo>
                    <a:pt x="679" y="934"/>
                  </a:lnTo>
                  <a:lnTo>
                    <a:pt x="680" y="936"/>
                  </a:lnTo>
                  <a:lnTo>
                    <a:pt x="682" y="938"/>
                  </a:lnTo>
                  <a:lnTo>
                    <a:pt x="683" y="939"/>
                  </a:lnTo>
                  <a:lnTo>
                    <a:pt x="684" y="938"/>
                  </a:lnTo>
                  <a:lnTo>
                    <a:pt x="684" y="942"/>
                  </a:lnTo>
                  <a:lnTo>
                    <a:pt x="685" y="942"/>
                  </a:lnTo>
                  <a:lnTo>
                    <a:pt x="686" y="939"/>
                  </a:lnTo>
                  <a:lnTo>
                    <a:pt x="688" y="938"/>
                  </a:lnTo>
                  <a:lnTo>
                    <a:pt x="688" y="936"/>
                  </a:lnTo>
                  <a:lnTo>
                    <a:pt x="688" y="934"/>
                  </a:lnTo>
                  <a:lnTo>
                    <a:pt x="689" y="936"/>
                  </a:lnTo>
                  <a:lnTo>
                    <a:pt x="690" y="943"/>
                  </a:lnTo>
                  <a:lnTo>
                    <a:pt x="690" y="945"/>
                  </a:lnTo>
                  <a:lnTo>
                    <a:pt x="691" y="945"/>
                  </a:lnTo>
                  <a:lnTo>
                    <a:pt x="691" y="944"/>
                  </a:lnTo>
                  <a:lnTo>
                    <a:pt x="691" y="940"/>
                  </a:lnTo>
                  <a:lnTo>
                    <a:pt x="693" y="939"/>
                  </a:lnTo>
                  <a:lnTo>
                    <a:pt x="694" y="936"/>
                  </a:lnTo>
                  <a:lnTo>
                    <a:pt x="695" y="936"/>
                  </a:lnTo>
                  <a:lnTo>
                    <a:pt x="696" y="942"/>
                  </a:lnTo>
                  <a:lnTo>
                    <a:pt x="697" y="940"/>
                  </a:lnTo>
                  <a:lnTo>
                    <a:pt x="699" y="939"/>
                  </a:lnTo>
                  <a:lnTo>
                    <a:pt x="699" y="942"/>
                  </a:lnTo>
                  <a:lnTo>
                    <a:pt x="701" y="943"/>
                  </a:lnTo>
                  <a:lnTo>
                    <a:pt x="701" y="940"/>
                  </a:lnTo>
                  <a:lnTo>
                    <a:pt x="701" y="937"/>
                  </a:lnTo>
                  <a:lnTo>
                    <a:pt x="702" y="934"/>
                  </a:lnTo>
                  <a:lnTo>
                    <a:pt x="705" y="933"/>
                  </a:lnTo>
                  <a:lnTo>
                    <a:pt x="703" y="932"/>
                  </a:lnTo>
                  <a:lnTo>
                    <a:pt x="702" y="930"/>
                  </a:lnTo>
                  <a:lnTo>
                    <a:pt x="700" y="927"/>
                  </a:lnTo>
                  <a:lnTo>
                    <a:pt x="701" y="926"/>
                  </a:lnTo>
                  <a:lnTo>
                    <a:pt x="705" y="926"/>
                  </a:lnTo>
                  <a:lnTo>
                    <a:pt x="706" y="925"/>
                  </a:lnTo>
                  <a:lnTo>
                    <a:pt x="707" y="926"/>
                  </a:lnTo>
                  <a:lnTo>
                    <a:pt x="707" y="930"/>
                  </a:lnTo>
                  <a:lnTo>
                    <a:pt x="709" y="931"/>
                  </a:lnTo>
                  <a:lnTo>
                    <a:pt x="711" y="928"/>
                  </a:lnTo>
                  <a:lnTo>
                    <a:pt x="711" y="927"/>
                  </a:lnTo>
                  <a:lnTo>
                    <a:pt x="713" y="930"/>
                  </a:lnTo>
                  <a:lnTo>
                    <a:pt x="719" y="933"/>
                  </a:lnTo>
                  <a:lnTo>
                    <a:pt x="720" y="932"/>
                  </a:lnTo>
                  <a:lnTo>
                    <a:pt x="719" y="930"/>
                  </a:lnTo>
                  <a:lnTo>
                    <a:pt x="717" y="927"/>
                  </a:lnTo>
                  <a:lnTo>
                    <a:pt x="715" y="926"/>
                  </a:lnTo>
                  <a:lnTo>
                    <a:pt x="709" y="924"/>
                  </a:lnTo>
                  <a:lnTo>
                    <a:pt x="707" y="921"/>
                  </a:lnTo>
                  <a:lnTo>
                    <a:pt x="705" y="919"/>
                  </a:lnTo>
                  <a:lnTo>
                    <a:pt x="702" y="916"/>
                  </a:lnTo>
                  <a:lnTo>
                    <a:pt x="702" y="914"/>
                  </a:lnTo>
                  <a:lnTo>
                    <a:pt x="702" y="913"/>
                  </a:lnTo>
                  <a:lnTo>
                    <a:pt x="703" y="913"/>
                  </a:lnTo>
                  <a:lnTo>
                    <a:pt x="705" y="915"/>
                  </a:lnTo>
                  <a:lnTo>
                    <a:pt x="706" y="918"/>
                  </a:lnTo>
                  <a:lnTo>
                    <a:pt x="708" y="919"/>
                  </a:lnTo>
                  <a:lnTo>
                    <a:pt x="709" y="919"/>
                  </a:lnTo>
                  <a:lnTo>
                    <a:pt x="711" y="919"/>
                  </a:lnTo>
                  <a:lnTo>
                    <a:pt x="712" y="920"/>
                  </a:lnTo>
                  <a:lnTo>
                    <a:pt x="712" y="918"/>
                  </a:lnTo>
                  <a:lnTo>
                    <a:pt x="712" y="914"/>
                  </a:lnTo>
                  <a:lnTo>
                    <a:pt x="712" y="912"/>
                  </a:lnTo>
                  <a:lnTo>
                    <a:pt x="713" y="914"/>
                  </a:lnTo>
                  <a:lnTo>
                    <a:pt x="713" y="916"/>
                  </a:lnTo>
                  <a:lnTo>
                    <a:pt x="713" y="920"/>
                  </a:lnTo>
                  <a:lnTo>
                    <a:pt x="714" y="920"/>
                  </a:lnTo>
                  <a:lnTo>
                    <a:pt x="714" y="922"/>
                  </a:lnTo>
                  <a:lnTo>
                    <a:pt x="715" y="925"/>
                  </a:lnTo>
                  <a:lnTo>
                    <a:pt x="717" y="925"/>
                  </a:lnTo>
                  <a:lnTo>
                    <a:pt x="717" y="924"/>
                  </a:lnTo>
                  <a:lnTo>
                    <a:pt x="718" y="922"/>
                  </a:lnTo>
                  <a:lnTo>
                    <a:pt x="717" y="921"/>
                  </a:lnTo>
                  <a:lnTo>
                    <a:pt x="717" y="919"/>
                  </a:lnTo>
                  <a:lnTo>
                    <a:pt x="717" y="916"/>
                  </a:lnTo>
                  <a:lnTo>
                    <a:pt x="718" y="915"/>
                  </a:lnTo>
                  <a:lnTo>
                    <a:pt x="718" y="919"/>
                  </a:lnTo>
                  <a:lnTo>
                    <a:pt x="719" y="920"/>
                  </a:lnTo>
                  <a:lnTo>
                    <a:pt x="719" y="921"/>
                  </a:lnTo>
                  <a:lnTo>
                    <a:pt x="720" y="925"/>
                  </a:lnTo>
                  <a:lnTo>
                    <a:pt x="721" y="924"/>
                  </a:lnTo>
                  <a:lnTo>
                    <a:pt x="721" y="921"/>
                  </a:lnTo>
                  <a:lnTo>
                    <a:pt x="721" y="919"/>
                  </a:lnTo>
                  <a:lnTo>
                    <a:pt x="721" y="915"/>
                  </a:lnTo>
                  <a:lnTo>
                    <a:pt x="721" y="912"/>
                  </a:lnTo>
                  <a:lnTo>
                    <a:pt x="723" y="915"/>
                  </a:lnTo>
                  <a:lnTo>
                    <a:pt x="725" y="916"/>
                  </a:lnTo>
                  <a:lnTo>
                    <a:pt x="726" y="919"/>
                  </a:lnTo>
                  <a:lnTo>
                    <a:pt x="726" y="924"/>
                  </a:lnTo>
                  <a:lnTo>
                    <a:pt x="726" y="925"/>
                  </a:lnTo>
                  <a:lnTo>
                    <a:pt x="727" y="924"/>
                  </a:lnTo>
                  <a:lnTo>
                    <a:pt x="729" y="921"/>
                  </a:lnTo>
                  <a:lnTo>
                    <a:pt x="730" y="919"/>
                  </a:lnTo>
                  <a:lnTo>
                    <a:pt x="730" y="915"/>
                  </a:lnTo>
                  <a:lnTo>
                    <a:pt x="729" y="913"/>
                  </a:lnTo>
                  <a:lnTo>
                    <a:pt x="730" y="908"/>
                  </a:lnTo>
                  <a:lnTo>
                    <a:pt x="729" y="908"/>
                  </a:lnTo>
                  <a:lnTo>
                    <a:pt x="729" y="906"/>
                  </a:lnTo>
                  <a:lnTo>
                    <a:pt x="730" y="906"/>
                  </a:lnTo>
                  <a:lnTo>
                    <a:pt x="731" y="908"/>
                  </a:lnTo>
                  <a:lnTo>
                    <a:pt x="731" y="910"/>
                  </a:lnTo>
                  <a:lnTo>
                    <a:pt x="732" y="914"/>
                  </a:lnTo>
                  <a:lnTo>
                    <a:pt x="733" y="914"/>
                  </a:lnTo>
                  <a:lnTo>
                    <a:pt x="736" y="913"/>
                  </a:lnTo>
                  <a:lnTo>
                    <a:pt x="736" y="909"/>
                  </a:lnTo>
                  <a:lnTo>
                    <a:pt x="736" y="906"/>
                  </a:lnTo>
                  <a:lnTo>
                    <a:pt x="736" y="903"/>
                  </a:lnTo>
                  <a:lnTo>
                    <a:pt x="738" y="901"/>
                  </a:lnTo>
                  <a:lnTo>
                    <a:pt x="738" y="904"/>
                  </a:lnTo>
                  <a:lnTo>
                    <a:pt x="741" y="910"/>
                  </a:lnTo>
                  <a:lnTo>
                    <a:pt x="742" y="913"/>
                  </a:lnTo>
                  <a:lnTo>
                    <a:pt x="744" y="910"/>
                  </a:lnTo>
                  <a:lnTo>
                    <a:pt x="745" y="908"/>
                  </a:lnTo>
                  <a:lnTo>
                    <a:pt x="747" y="908"/>
                  </a:lnTo>
                  <a:lnTo>
                    <a:pt x="747" y="910"/>
                  </a:lnTo>
                  <a:lnTo>
                    <a:pt x="745" y="914"/>
                  </a:lnTo>
                  <a:lnTo>
                    <a:pt x="747" y="919"/>
                  </a:lnTo>
                  <a:lnTo>
                    <a:pt x="748" y="920"/>
                  </a:lnTo>
                  <a:lnTo>
                    <a:pt x="748" y="918"/>
                  </a:lnTo>
                  <a:lnTo>
                    <a:pt x="749" y="914"/>
                  </a:lnTo>
                  <a:lnTo>
                    <a:pt x="750" y="916"/>
                  </a:lnTo>
                  <a:lnTo>
                    <a:pt x="752" y="916"/>
                  </a:lnTo>
                  <a:lnTo>
                    <a:pt x="754" y="915"/>
                  </a:lnTo>
                  <a:lnTo>
                    <a:pt x="753" y="910"/>
                  </a:lnTo>
                  <a:lnTo>
                    <a:pt x="755" y="908"/>
                  </a:lnTo>
                  <a:lnTo>
                    <a:pt x="758" y="908"/>
                  </a:lnTo>
                  <a:lnTo>
                    <a:pt x="759" y="909"/>
                  </a:lnTo>
                  <a:lnTo>
                    <a:pt x="761" y="908"/>
                  </a:lnTo>
                  <a:lnTo>
                    <a:pt x="759" y="906"/>
                  </a:lnTo>
                  <a:lnTo>
                    <a:pt x="756" y="903"/>
                  </a:lnTo>
                  <a:lnTo>
                    <a:pt x="755" y="902"/>
                  </a:lnTo>
                  <a:lnTo>
                    <a:pt x="750" y="898"/>
                  </a:lnTo>
                  <a:lnTo>
                    <a:pt x="743" y="894"/>
                  </a:lnTo>
                  <a:lnTo>
                    <a:pt x="737" y="890"/>
                  </a:lnTo>
                  <a:lnTo>
                    <a:pt x="729" y="889"/>
                  </a:lnTo>
                  <a:lnTo>
                    <a:pt x="724" y="889"/>
                  </a:lnTo>
                  <a:lnTo>
                    <a:pt x="720" y="890"/>
                  </a:lnTo>
                  <a:lnTo>
                    <a:pt x="718" y="890"/>
                  </a:lnTo>
                  <a:lnTo>
                    <a:pt x="717" y="890"/>
                  </a:lnTo>
                  <a:lnTo>
                    <a:pt x="714" y="890"/>
                  </a:lnTo>
                  <a:lnTo>
                    <a:pt x="713" y="890"/>
                  </a:lnTo>
                  <a:lnTo>
                    <a:pt x="708" y="888"/>
                  </a:lnTo>
                  <a:lnTo>
                    <a:pt x="705" y="886"/>
                  </a:lnTo>
                  <a:lnTo>
                    <a:pt x="700" y="884"/>
                  </a:lnTo>
                  <a:lnTo>
                    <a:pt x="700" y="883"/>
                  </a:lnTo>
                  <a:lnTo>
                    <a:pt x="702" y="882"/>
                  </a:lnTo>
                  <a:lnTo>
                    <a:pt x="703" y="882"/>
                  </a:lnTo>
                  <a:lnTo>
                    <a:pt x="709" y="884"/>
                  </a:lnTo>
                  <a:lnTo>
                    <a:pt x="711" y="883"/>
                  </a:lnTo>
                  <a:lnTo>
                    <a:pt x="707" y="882"/>
                  </a:lnTo>
                  <a:lnTo>
                    <a:pt x="705" y="880"/>
                  </a:lnTo>
                  <a:lnTo>
                    <a:pt x="709" y="877"/>
                  </a:lnTo>
                  <a:lnTo>
                    <a:pt x="708" y="877"/>
                  </a:lnTo>
                  <a:lnTo>
                    <a:pt x="703" y="878"/>
                  </a:lnTo>
                  <a:lnTo>
                    <a:pt x="702" y="877"/>
                  </a:lnTo>
                  <a:lnTo>
                    <a:pt x="701" y="878"/>
                  </a:lnTo>
                  <a:lnTo>
                    <a:pt x="701" y="879"/>
                  </a:lnTo>
                  <a:lnTo>
                    <a:pt x="699" y="880"/>
                  </a:lnTo>
                  <a:lnTo>
                    <a:pt x="696" y="883"/>
                  </a:lnTo>
                  <a:lnTo>
                    <a:pt x="694" y="882"/>
                  </a:lnTo>
                  <a:lnTo>
                    <a:pt x="691" y="884"/>
                  </a:lnTo>
                  <a:lnTo>
                    <a:pt x="690" y="886"/>
                  </a:lnTo>
                  <a:lnTo>
                    <a:pt x="685" y="884"/>
                  </a:lnTo>
                  <a:lnTo>
                    <a:pt x="678" y="880"/>
                  </a:lnTo>
                  <a:lnTo>
                    <a:pt x="671" y="877"/>
                  </a:lnTo>
                  <a:lnTo>
                    <a:pt x="670" y="878"/>
                  </a:lnTo>
                  <a:lnTo>
                    <a:pt x="667" y="878"/>
                  </a:lnTo>
                  <a:lnTo>
                    <a:pt x="666" y="876"/>
                  </a:lnTo>
                  <a:lnTo>
                    <a:pt x="668" y="874"/>
                  </a:lnTo>
                  <a:lnTo>
                    <a:pt x="668" y="873"/>
                  </a:lnTo>
                  <a:lnTo>
                    <a:pt x="668" y="870"/>
                  </a:lnTo>
                  <a:lnTo>
                    <a:pt x="668" y="867"/>
                  </a:lnTo>
                  <a:lnTo>
                    <a:pt x="670" y="866"/>
                  </a:lnTo>
                  <a:lnTo>
                    <a:pt x="670" y="867"/>
                  </a:lnTo>
                  <a:lnTo>
                    <a:pt x="671" y="871"/>
                  </a:lnTo>
                  <a:lnTo>
                    <a:pt x="673" y="872"/>
                  </a:lnTo>
                  <a:lnTo>
                    <a:pt x="673" y="868"/>
                  </a:lnTo>
                  <a:lnTo>
                    <a:pt x="673" y="866"/>
                  </a:lnTo>
                  <a:lnTo>
                    <a:pt x="674" y="866"/>
                  </a:lnTo>
                  <a:lnTo>
                    <a:pt x="676" y="867"/>
                  </a:lnTo>
                  <a:lnTo>
                    <a:pt x="678" y="867"/>
                  </a:lnTo>
                  <a:lnTo>
                    <a:pt x="679" y="867"/>
                  </a:lnTo>
                  <a:lnTo>
                    <a:pt x="679" y="866"/>
                  </a:lnTo>
                  <a:lnTo>
                    <a:pt x="680" y="866"/>
                  </a:lnTo>
                  <a:lnTo>
                    <a:pt x="682" y="866"/>
                  </a:lnTo>
                  <a:lnTo>
                    <a:pt x="683" y="864"/>
                  </a:lnTo>
                  <a:lnTo>
                    <a:pt x="684" y="862"/>
                  </a:lnTo>
                  <a:lnTo>
                    <a:pt x="688" y="861"/>
                  </a:lnTo>
                  <a:lnTo>
                    <a:pt x="693" y="859"/>
                  </a:lnTo>
                  <a:lnTo>
                    <a:pt x="693" y="856"/>
                  </a:lnTo>
                  <a:lnTo>
                    <a:pt x="694" y="854"/>
                  </a:lnTo>
                  <a:lnTo>
                    <a:pt x="695" y="854"/>
                  </a:lnTo>
                  <a:lnTo>
                    <a:pt x="697" y="855"/>
                  </a:lnTo>
                  <a:lnTo>
                    <a:pt x="699" y="853"/>
                  </a:lnTo>
                  <a:lnTo>
                    <a:pt x="697" y="850"/>
                  </a:lnTo>
                  <a:lnTo>
                    <a:pt x="696" y="847"/>
                  </a:lnTo>
                  <a:lnTo>
                    <a:pt x="699" y="847"/>
                  </a:lnTo>
                  <a:lnTo>
                    <a:pt x="700" y="847"/>
                  </a:lnTo>
                  <a:lnTo>
                    <a:pt x="701" y="852"/>
                  </a:lnTo>
                  <a:lnTo>
                    <a:pt x="701" y="854"/>
                  </a:lnTo>
                  <a:lnTo>
                    <a:pt x="702" y="855"/>
                  </a:lnTo>
                  <a:lnTo>
                    <a:pt x="703" y="854"/>
                  </a:lnTo>
                  <a:lnTo>
                    <a:pt x="703" y="849"/>
                  </a:lnTo>
                  <a:lnTo>
                    <a:pt x="703" y="847"/>
                  </a:lnTo>
                  <a:lnTo>
                    <a:pt x="705" y="847"/>
                  </a:lnTo>
                  <a:lnTo>
                    <a:pt x="706" y="848"/>
                  </a:lnTo>
                  <a:lnTo>
                    <a:pt x="706" y="853"/>
                  </a:lnTo>
                  <a:lnTo>
                    <a:pt x="705" y="856"/>
                  </a:lnTo>
                  <a:lnTo>
                    <a:pt x="706" y="860"/>
                  </a:lnTo>
                  <a:lnTo>
                    <a:pt x="707" y="856"/>
                  </a:lnTo>
                  <a:lnTo>
                    <a:pt x="707" y="854"/>
                  </a:lnTo>
                  <a:lnTo>
                    <a:pt x="708" y="852"/>
                  </a:lnTo>
                  <a:lnTo>
                    <a:pt x="709" y="849"/>
                  </a:lnTo>
                  <a:lnTo>
                    <a:pt x="708" y="847"/>
                  </a:lnTo>
                  <a:lnTo>
                    <a:pt x="706" y="844"/>
                  </a:lnTo>
                  <a:lnTo>
                    <a:pt x="708" y="842"/>
                  </a:lnTo>
                  <a:lnTo>
                    <a:pt x="708" y="839"/>
                  </a:lnTo>
                  <a:lnTo>
                    <a:pt x="709" y="837"/>
                  </a:lnTo>
                  <a:lnTo>
                    <a:pt x="712" y="839"/>
                  </a:lnTo>
                  <a:lnTo>
                    <a:pt x="713" y="841"/>
                  </a:lnTo>
                  <a:lnTo>
                    <a:pt x="713" y="838"/>
                  </a:lnTo>
                  <a:lnTo>
                    <a:pt x="713" y="837"/>
                  </a:lnTo>
                  <a:lnTo>
                    <a:pt x="714" y="835"/>
                  </a:lnTo>
                  <a:lnTo>
                    <a:pt x="714" y="832"/>
                  </a:lnTo>
                  <a:lnTo>
                    <a:pt x="714" y="830"/>
                  </a:lnTo>
                  <a:lnTo>
                    <a:pt x="712" y="826"/>
                  </a:lnTo>
                  <a:lnTo>
                    <a:pt x="713" y="825"/>
                  </a:lnTo>
                  <a:lnTo>
                    <a:pt x="714" y="825"/>
                  </a:lnTo>
                  <a:lnTo>
                    <a:pt x="718" y="826"/>
                  </a:lnTo>
                  <a:lnTo>
                    <a:pt x="718" y="830"/>
                  </a:lnTo>
                  <a:lnTo>
                    <a:pt x="717" y="832"/>
                  </a:lnTo>
                  <a:lnTo>
                    <a:pt x="717" y="836"/>
                  </a:lnTo>
                  <a:lnTo>
                    <a:pt x="717" y="841"/>
                  </a:lnTo>
                  <a:lnTo>
                    <a:pt x="717" y="843"/>
                  </a:lnTo>
                  <a:lnTo>
                    <a:pt x="718" y="843"/>
                  </a:lnTo>
                  <a:lnTo>
                    <a:pt x="718" y="839"/>
                  </a:lnTo>
                  <a:lnTo>
                    <a:pt x="718" y="833"/>
                  </a:lnTo>
                  <a:lnTo>
                    <a:pt x="719" y="837"/>
                  </a:lnTo>
                  <a:lnTo>
                    <a:pt x="719" y="839"/>
                  </a:lnTo>
                  <a:lnTo>
                    <a:pt x="720" y="839"/>
                  </a:lnTo>
                  <a:lnTo>
                    <a:pt x="721" y="838"/>
                  </a:lnTo>
                  <a:lnTo>
                    <a:pt x="721" y="835"/>
                  </a:lnTo>
                  <a:lnTo>
                    <a:pt x="721" y="831"/>
                  </a:lnTo>
                  <a:lnTo>
                    <a:pt x="721" y="827"/>
                  </a:lnTo>
                  <a:lnTo>
                    <a:pt x="723" y="829"/>
                  </a:lnTo>
                  <a:lnTo>
                    <a:pt x="723" y="832"/>
                  </a:lnTo>
                  <a:lnTo>
                    <a:pt x="723" y="839"/>
                  </a:lnTo>
                  <a:lnTo>
                    <a:pt x="724" y="842"/>
                  </a:lnTo>
                  <a:lnTo>
                    <a:pt x="725" y="844"/>
                  </a:lnTo>
                  <a:lnTo>
                    <a:pt x="725" y="841"/>
                  </a:lnTo>
                  <a:lnTo>
                    <a:pt x="725" y="835"/>
                  </a:lnTo>
                  <a:lnTo>
                    <a:pt x="725" y="833"/>
                  </a:lnTo>
                  <a:lnTo>
                    <a:pt x="726" y="835"/>
                  </a:lnTo>
                  <a:lnTo>
                    <a:pt x="726" y="839"/>
                  </a:lnTo>
                  <a:lnTo>
                    <a:pt x="726" y="844"/>
                  </a:lnTo>
                  <a:lnTo>
                    <a:pt x="727" y="844"/>
                  </a:lnTo>
                  <a:lnTo>
                    <a:pt x="729" y="842"/>
                  </a:lnTo>
                  <a:lnTo>
                    <a:pt x="729" y="838"/>
                  </a:lnTo>
                  <a:lnTo>
                    <a:pt x="730" y="835"/>
                  </a:lnTo>
                  <a:lnTo>
                    <a:pt x="730" y="833"/>
                  </a:lnTo>
                  <a:lnTo>
                    <a:pt x="731" y="836"/>
                  </a:lnTo>
                  <a:lnTo>
                    <a:pt x="732" y="833"/>
                  </a:lnTo>
                  <a:lnTo>
                    <a:pt x="733" y="833"/>
                  </a:lnTo>
                  <a:lnTo>
                    <a:pt x="735" y="836"/>
                  </a:lnTo>
                  <a:lnTo>
                    <a:pt x="736" y="838"/>
                  </a:lnTo>
                  <a:lnTo>
                    <a:pt x="737" y="839"/>
                  </a:lnTo>
                  <a:lnTo>
                    <a:pt x="738" y="841"/>
                  </a:lnTo>
                  <a:lnTo>
                    <a:pt x="738" y="838"/>
                  </a:lnTo>
                  <a:lnTo>
                    <a:pt x="738" y="836"/>
                  </a:lnTo>
                  <a:lnTo>
                    <a:pt x="741" y="837"/>
                  </a:lnTo>
                  <a:lnTo>
                    <a:pt x="743" y="837"/>
                  </a:lnTo>
                  <a:lnTo>
                    <a:pt x="742" y="835"/>
                  </a:lnTo>
                  <a:lnTo>
                    <a:pt x="739" y="833"/>
                  </a:lnTo>
                  <a:lnTo>
                    <a:pt x="739" y="831"/>
                  </a:lnTo>
                  <a:lnTo>
                    <a:pt x="737" y="831"/>
                  </a:lnTo>
                  <a:lnTo>
                    <a:pt x="735" y="832"/>
                  </a:lnTo>
                  <a:lnTo>
                    <a:pt x="733" y="830"/>
                  </a:lnTo>
                  <a:lnTo>
                    <a:pt x="731" y="831"/>
                  </a:lnTo>
                  <a:lnTo>
                    <a:pt x="730" y="829"/>
                  </a:lnTo>
                  <a:lnTo>
                    <a:pt x="725" y="827"/>
                  </a:lnTo>
                  <a:lnTo>
                    <a:pt x="721" y="825"/>
                  </a:lnTo>
                  <a:lnTo>
                    <a:pt x="719" y="823"/>
                  </a:lnTo>
                  <a:lnTo>
                    <a:pt x="718" y="824"/>
                  </a:lnTo>
                  <a:lnTo>
                    <a:pt x="713" y="823"/>
                  </a:lnTo>
                  <a:lnTo>
                    <a:pt x="712" y="823"/>
                  </a:lnTo>
                  <a:lnTo>
                    <a:pt x="708" y="823"/>
                  </a:lnTo>
                  <a:lnTo>
                    <a:pt x="703" y="823"/>
                  </a:lnTo>
                  <a:lnTo>
                    <a:pt x="700" y="823"/>
                  </a:lnTo>
                  <a:lnTo>
                    <a:pt x="699" y="824"/>
                  </a:lnTo>
                  <a:lnTo>
                    <a:pt x="695" y="825"/>
                  </a:lnTo>
                  <a:lnTo>
                    <a:pt x="693" y="825"/>
                  </a:lnTo>
                  <a:lnTo>
                    <a:pt x="691" y="826"/>
                  </a:lnTo>
                  <a:lnTo>
                    <a:pt x="688" y="827"/>
                  </a:lnTo>
                  <a:lnTo>
                    <a:pt x="684" y="827"/>
                  </a:lnTo>
                  <a:lnTo>
                    <a:pt x="679" y="827"/>
                  </a:lnTo>
                  <a:lnTo>
                    <a:pt x="673" y="827"/>
                  </a:lnTo>
                  <a:lnTo>
                    <a:pt x="674" y="830"/>
                  </a:lnTo>
                  <a:lnTo>
                    <a:pt x="672" y="829"/>
                  </a:lnTo>
                  <a:lnTo>
                    <a:pt x="671" y="827"/>
                  </a:lnTo>
                  <a:lnTo>
                    <a:pt x="670" y="829"/>
                  </a:lnTo>
                  <a:lnTo>
                    <a:pt x="667" y="830"/>
                  </a:lnTo>
                  <a:lnTo>
                    <a:pt x="665" y="830"/>
                  </a:lnTo>
                  <a:lnTo>
                    <a:pt x="664" y="831"/>
                  </a:lnTo>
                  <a:lnTo>
                    <a:pt x="662" y="830"/>
                  </a:lnTo>
                  <a:lnTo>
                    <a:pt x="660" y="830"/>
                  </a:lnTo>
                  <a:lnTo>
                    <a:pt x="654" y="830"/>
                  </a:lnTo>
                  <a:lnTo>
                    <a:pt x="649" y="829"/>
                  </a:lnTo>
                  <a:lnTo>
                    <a:pt x="647" y="829"/>
                  </a:lnTo>
                  <a:lnTo>
                    <a:pt x="646" y="829"/>
                  </a:lnTo>
                  <a:lnTo>
                    <a:pt x="643" y="829"/>
                  </a:lnTo>
                  <a:lnTo>
                    <a:pt x="643" y="831"/>
                  </a:lnTo>
                  <a:lnTo>
                    <a:pt x="642" y="831"/>
                  </a:lnTo>
                  <a:lnTo>
                    <a:pt x="640" y="830"/>
                  </a:lnTo>
                  <a:lnTo>
                    <a:pt x="638" y="830"/>
                  </a:lnTo>
                  <a:lnTo>
                    <a:pt x="637" y="829"/>
                  </a:lnTo>
                  <a:lnTo>
                    <a:pt x="636" y="827"/>
                  </a:lnTo>
                  <a:lnTo>
                    <a:pt x="632" y="826"/>
                  </a:lnTo>
                  <a:lnTo>
                    <a:pt x="630" y="825"/>
                  </a:lnTo>
                  <a:lnTo>
                    <a:pt x="625" y="825"/>
                  </a:lnTo>
                  <a:lnTo>
                    <a:pt x="620" y="821"/>
                  </a:lnTo>
                  <a:lnTo>
                    <a:pt x="615" y="819"/>
                  </a:lnTo>
                  <a:lnTo>
                    <a:pt x="615" y="818"/>
                  </a:lnTo>
                  <a:lnTo>
                    <a:pt x="619" y="819"/>
                  </a:lnTo>
                  <a:lnTo>
                    <a:pt x="623" y="821"/>
                  </a:lnTo>
                  <a:lnTo>
                    <a:pt x="623" y="820"/>
                  </a:lnTo>
                  <a:lnTo>
                    <a:pt x="618" y="817"/>
                  </a:lnTo>
                  <a:lnTo>
                    <a:pt x="619" y="815"/>
                  </a:lnTo>
                  <a:lnTo>
                    <a:pt x="623" y="815"/>
                  </a:lnTo>
                  <a:lnTo>
                    <a:pt x="625" y="815"/>
                  </a:lnTo>
                  <a:lnTo>
                    <a:pt x="619" y="813"/>
                  </a:lnTo>
                  <a:lnTo>
                    <a:pt x="617" y="813"/>
                  </a:lnTo>
                  <a:lnTo>
                    <a:pt x="617" y="812"/>
                  </a:lnTo>
                  <a:lnTo>
                    <a:pt x="615" y="811"/>
                  </a:lnTo>
                  <a:lnTo>
                    <a:pt x="613" y="811"/>
                  </a:lnTo>
                  <a:lnTo>
                    <a:pt x="612" y="811"/>
                  </a:lnTo>
                  <a:lnTo>
                    <a:pt x="612" y="812"/>
                  </a:lnTo>
                  <a:lnTo>
                    <a:pt x="613" y="813"/>
                  </a:lnTo>
                  <a:lnTo>
                    <a:pt x="612" y="814"/>
                  </a:lnTo>
                  <a:lnTo>
                    <a:pt x="608" y="817"/>
                  </a:lnTo>
                  <a:lnTo>
                    <a:pt x="607" y="818"/>
                  </a:lnTo>
                  <a:lnTo>
                    <a:pt x="603" y="818"/>
                  </a:lnTo>
                  <a:lnTo>
                    <a:pt x="600" y="815"/>
                  </a:lnTo>
                  <a:lnTo>
                    <a:pt x="593" y="813"/>
                  </a:lnTo>
                  <a:lnTo>
                    <a:pt x="591" y="813"/>
                  </a:lnTo>
                  <a:lnTo>
                    <a:pt x="590" y="814"/>
                  </a:lnTo>
                  <a:lnTo>
                    <a:pt x="589" y="814"/>
                  </a:lnTo>
                  <a:lnTo>
                    <a:pt x="585" y="815"/>
                  </a:lnTo>
                  <a:lnTo>
                    <a:pt x="583" y="814"/>
                  </a:lnTo>
                  <a:lnTo>
                    <a:pt x="581" y="813"/>
                  </a:lnTo>
                  <a:lnTo>
                    <a:pt x="579" y="811"/>
                  </a:lnTo>
                  <a:lnTo>
                    <a:pt x="577" y="811"/>
                  </a:lnTo>
                  <a:lnTo>
                    <a:pt x="573" y="811"/>
                  </a:lnTo>
                  <a:lnTo>
                    <a:pt x="573" y="809"/>
                  </a:lnTo>
                  <a:lnTo>
                    <a:pt x="570" y="809"/>
                  </a:lnTo>
                  <a:lnTo>
                    <a:pt x="569" y="808"/>
                  </a:lnTo>
                  <a:lnTo>
                    <a:pt x="565" y="799"/>
                  </a:lnTo>
                  <a:lnTo>
                    <a:pt x="562" y="795"/>
                  </a:lnTo>
                  <a:lnTo>
                    <a:pt x="562" y="793"/>
                  </a:lnTo>
                  <a:lnTo>
                    <a:pt x="564" y="789"/>
                  </a:lnTo>
                  <a:lnTo>
                    <a:pt x="565" y="784"/>
                  </a:lnTo>
                  <a:lnTo>
                    <a:pt x="566" y="784"/>
                  </a:lnTo>
                  <a:lnTo>
                    <a:pt x="569" y="787"/>
                  </a:lnTo>
                  <a:lnTo>
                    <a:pt x="571" y="787"/>
                  </a:lnTo>
                  <a:lnTo>
                    <a:pt x="573" y="789"/>
                  </a:lnTo>
                  <a:lnTo>
                    <a:pt x="575" y="790"/>
                  </a:lnTo>
                  <a:lnTo>
                    <a:pt x="575" y="793"/>
                  </a:lnTo>
                  <a:lnTo>
                    <a:pt x="575" y="796"/>
                  </a:lnTo>
                  <a:lnTo>
                    <a:pt x="576" y="800"/>
                  </a:lnTo>
                  <a:lnTo>
                    <a:pt x="578" y="800"/>
                  </a:lnTo>
                  <a:lnTo>
                    <a:pt x="579" y="797"/>
                  </a:lnTo>
                  <a:lnTo>
                    <a:pt x="578" y="795"/>
                  </a:lnTo>
                  <a:lnTo>
                    <a:pt x="578" y="793"/>
                  </a:lnTo>
                  <a:lnTo>
                    <a:pt x="581" y="790"/>
                  </a:lnTo>
                  <a:lnTo>
                    <a:pt x="582" y="793"/>
                  </a:lnTo>
                  <a:lnTo>
                    <a:pt x="582" y="796"/>
                  </a:lnTo>
                  <a:lnTo>
                    <a:pt x="583" y="799"/>
                  </a:lnTo>
                  <a:lnTo>
                    <a:pt x="584" y="797"/>
                  </a:lnTo>
                  <a:lnTo>
                    <a:pt x="585" y="796"/>
                  </a:lnTo>
                  <a:lnTo>
                    <a:pt x="584" y="794"/>
                  </a:lnTo>
                  <a:lnTo>
                    <a:pt x="585" y="791"/>
                  </a:lnTo>
                  <a:lnTo>
                    <a:pt x="585" y="790"/>
                  </a:lnTo>
                  <a:lnTo>
                    <a:pt x="584" y="789"/>
                  </a:lnTo>
                  <a:lnTo>
                    <a:pt x="585" y="787"/>
                  </a:lnTo>
                  <a:lnTo>
                    <a:pt x="587" y="789"/>
                  </a:lnTo>
                  <a:lnTo>
                    <a:pt x="587" y="787"/>
                  </a:lnTo>
                  <a:lnTo>
                    <a:pt x="588" y="787"/>
                  </a:lnTo>
                  <a:lnTo>
                    <a:pt x="589" y="788"/>
                  </a:lnTo>
                  <a:lnTo>
                    <a:pt x="589" y="789"/>
                  </a:lnTo>
                  <a:lnTo>
                    <a:pt x="591" y="787"/>
                  </a:lnTo>
                  <a:lnTo>
                    <a:pt x="590" y="785"/>
                  </a:lnTo>
                  <a:lnTo>
                    <a:pt x="591" y="784"/>
                  </a:lnTo>
                  <a:lnTo>
                    <a:pt x="591" y="788"/>
                  </a:lnTo>
                  <a:lnTo>
                    <a:pt x="593" y="789"/>
                  </a:lnTo>
                  <a:lnTo>
                    <a:pt x="591" y="794"/>
                  </a:lnTo>
                  <a:lnTo>
                    <a:pt x="593" y="795"/>
                  </a:lnTo>
                  <a:lnTo>
                    <a:pt x="593" y="793"/>
                  </a:lnTo>
                  <a:lnTo>
                    <a:pt x="594" y="791"/>
                  </a:lnTo>
                  <a:lnTo>
                    <a:pt x="595" y="789"/>
                  </a:lnTo>
                  <a:lnTo>
                    <a:pt x="594" y="787"/>
                  </a:lnTo>
                  <a:lnTo>
                    <a:pt x="594" y="783"/>
                  </a:lnTo>
                  <a:lnTo>
                    <a:pt x="595" y="781"/>
                  </a:lnTo>
                  <a:lnTo>
                    <a:pt x="595" y="783"/>
                  </a:lnTo>
                  <a:lnTo>
                    <a:pt x="596" y="784"/>
                  </a:lnTo>
                  <a:lnTo>
                    <a:pt x="599" y="784"/>
                  </a:lnTo>
                  <a:lnTo>
                    <a:pt x="599" y="787"/>
                  </a:lnTo>
                  <a:lnTo>
                    <a:pt x="599" y="793"/>
                  </a:lnTo>
                  <a:lnTo>
                    <a:pt x="599" y="797"/>
                  </a:lnTo>
                  <a:lnTo>
                    <a:pt x="601" y="793"/>
                  </a:lnTo>
                  <a:lnTo>
                    <a:pt x="601" y="789"/>
                  </a:lnTo>
                  <a:lnTo>
                    <a:pt x="601" y="784"/>
                  </a:lnTo>
                  <a:lnTo>
                    <a:pt x="600" y="781"/>
                  </a:lnTo>
                  <a:lnTo>
                    <a:pt x="601" y="781"/>
                  </a:lnTo>
                  <a:lnTo>
                    <a:pt x="602" y="787"/>
                  </a:lnTo>
                  <a:lnTo>
                    <a:pt x="603" y="788"/>
                  </a:lnTo>
                  <a:lnTo>
                    <a:pt x="603" y="785"/>
                  </a:lnTo>
                  <a:lnTo>
                    <a:pt x="605" y="785"/>
                  </a:lnTo>
                  <a:lnTo>
                    <a:pt x="605" y="788"/>
                  </a:lnTo>
                  <a:lnTo>
                    <a:pt x="607" y="794"/>
                  </a:lnTo>
                  <a:lnTo>
                    <a:pt x="607" y="791"/>
                  </a:lnTo>
                  <a:lnTo>
                    <a:pt x="607" y="788"/>
                  </a:lnTo>
                  <a:lnTo>
                    <a:pt x="607" y="784"/>
                  </a:lnTo>
                  <a:lnTo>
                    <a:pt x="608" y="775"/>
                  </a:lnTo>
                  <a:lnTo>
                    <a:pt x="609" y="775"/>
                  </a:lnTo>
                  <a:lnTo>
                    <a:pt x="611" y="778"/>
                  </a:lnTo>
                  <a:lnTo>
                    <a:pt x="611" y="782"/>
                  </a:lnTo>
                  <a:lnTo>
                    <a:pt x="611" y="785"/>
                  </a:lnTo>
                  <a:lnTo>
                    <a:pt x="609" y="791"/>
                  </a:lnTo>
                  <a:lnTo>
                    <a:pt x="611" y="796"/>
                  </a:lnTo>
                  <a:lnTo>
                    <a:pt x="612" y="794"/>
                  </a:lnTo>
                  <a:lnTo>
                    <a:pt x="612" y="791"/>
                  </a:lnTo>
                  <a:lnTo>
                    <a:pt x="613" y="790"/>
                  </a:lnTo>
                  <a:lnTo>
                    <a:pt x="614" y="791"/>
                  </a:lnTo>
                  <a:lnTo>
                    <a:pt x="615" y="789"/>
                  </a:lnTo>
                  <a:lnTo>
                    <a:pt x="615" y="785"/>
                  </a:lnTo>
                  <a:lnTo>
                    <a:pt x="615" y="782"/>
                  </a:lnTo>
                  <a:lnTo>
                    <a:pt x="614" y="778"/>
                  </a:lnTo>
                  <a:lnTo>
                    <a:pt x="615" y="778"/>
                  </a:lnTo>
                  <a:lnTo>
                    <a:pt x="617" y="782"/>
                  </a:lnTo>
                  <a:lnTo>
                    <a:pt x="617" y="788"/>
                  </a:lnTo>
                  <a:lnTo>
                    <a:pt x="618" y="790"/>
                  </a:lnTo>
                  <a:lnTo>
                    <a:pt x="619" y="791"/>
                  </a:lnTo>
                  <a:lnTo>
                    <a:pt x="619" y="788"/>
                  </a:lnTo>
                  <a:lnTo>
                    <a:pt x="619" y="787"/>
                  </a:lnTo>
                  <a:lnTo>
                    <a:pt x="620" y="790"/>
                  </a:lnTo>
                  <a:lnTo>
                    <a:pt x="621" y="794"/>
                  </a:lnTo>
                  <a:lnTo>
                    <a:pt x="620" y="796"/>
                  </a:lnTo>
                  <a:lnTo>
                    <a:pt x="621" y="799"/>
                  </a:lnTo>
                  <a:lnTo>
                    <a:pt x="623" y="795"/>
                  </a:lnTo>
                  <a:lnTo>
                    <a:pt x="623" y="797"/>
                  </a:lnTo>
                  <a:lnTo>
                    <a:pt x="623" y="800"/>
                  </a:lnTo>
                  <a:lnTo>
                    <a:pt x="624" y="801"/>
                  </a:lnTo>
                  <a:lnTo>
                    <a:pt x="626" y="802"/>
                  </a:lnTo>
                  <a:lnTo>
                    <a:pt x="625" y="796"/>
                  </a:lnTo>
                  <a:lnTo>
                    <a:pt x="625" y="793"/>
                  </a:lnTo>
                  <a:lnTo>
                    <a:pt x="625" y="789"/>
                  </a:lnTo>
                  <a:lnTo>
                    <a:pt x="628" y="787"/>
                  </a:lnTo>
                  <a:lnTo>
                    <a:pt x="629" y="788"/>
                  </a:lnTo>
                  <a:lnTo>
                    <a:pt x="629" y="790"/>
                  </a:lnTo>
                  <a:lnTo>
                    <a:pt x="628" y="794"/>
                  </a:lnTo>
                  <a:lnTo>
                    <a:pt x="628" y="797"/>
                  </a:lnTo>
                  <a:lnTo>
                    <a:pt x="628" y="800"/>
                  </a:lnTo>
                  <a:lnTo>
                    <a:pt x="628" y="801"/>
                  </a:lnTo>
                  <a:lnTo>
                    <a:pt x="629" y="801"/>
                  </a:lnTo>
                  <a:lnTo>
                    <a:pt x="629" y="799"/>
                  </a:lnTo>
                  <a:lnTo>
                    <a:pt x="630" y="797"/>
                  </a:lnTo>
                  <a:lnTo>
                    <a:pt x="631" y="794"/>
                  </a:lnTo>
                  <a:lnTo>
                    <a:pt x="631" y="791"/>
                  </a:lnTo>
                  <a:lnTo>
                    <a:pt x="632" y="790"/>
                  </a:lnTo>
                  <a:lnTo>
                    <a:pt x="636" y="793"/>
                  </a:lnTo>
                  <a:lnTo>
                    <a:pt x="636" y="796"/>
                  </a:lnTo>
                  <a:lnTo>
                    <a:pt x="636" y="800"/>
                  </a:lnTo>
                  <a:lnTo>
                    <a:pt x="637" y="799"/>
                  </a:lnTo>
                  <a:lnTo>
                    <a:pt x="638" y="794"/>
                  </a:lnTo>
                  <a:lnTo>
                    <a:pt x="646" y="796"/>
                  </a:lnTo>
                  <a:lnTo>
                    <a:pt x="644" y="794"/>
                  </a:lnTo>
                  <a:lnTo>
                    <a:pt x="641" y="793"/>
                  </a:lnTo>
                  <a:lnTo>
                    <a:pt x="640" y="790"/>
                  </a:lnTo>
                  <a:lnTo>
                    <a:pt x="638" y="789"/>
                  </a:lnTo>
                  <a:lnTo>
                    <a:pt x="636" y="788"/>
                  </a:lnTo>
                  <a:lnTo>
                    <a:pt x="631" y="787"/>
                  </a:lnTo>
                  <a:lnTo>
                    <a:pt x="629" y="783"/>
                  </a:lnTo>
                  <a:lnTo>
                    <a:pt x="626" y="782"/>
                  </a:lnTo>
                  <a:lnTo>
                    <a:pt x="624" y="778"/>
                  </a:lnTo>
                  <a:lnTo>
                    <a:pt x="620" y="777"/>
                  </a:lnTo>
                  <a:lnTo>
                    <a:pt x="607" y="771"/>
                  </a:lnTo>
                  <a:lnTo>
                    <a:pt x="606" y="769"/>
                  </a:lnTo>
                  <a:lnTo>
                    <a:pt x="608" y="767"/>
                  </a:lnTo>
                  <a:lnTo>
                    <a:pt x="609" y="769"/>
                  </a:lnTo>
                  <a:lnTo>
                    <a:pt x="612" y="771"/>
                  </a:lnTo>
                  <a:lnTo>
                    <a:pt x="612" y="770"/>
                  </a:lnTo>
                  <a:lnTo>
                    <a:pt x="614" y="770"/>
                  </a:lnTo>
                  <a:lnTo>
                    <a:pt x="617" y="772"/>
                  </a:lnTo>
                  <a:lnTo>
                    <a:pt x="619" y="773"/>
                  </a:lnTo>
                  <a:lnTo>
                    <a:pt x="619" y="770"/>
                  </a:lnTo>
                  <a:lnTo>
                    <a:pt x="620" y="767"/>
                  </a:lnTo>
                  <a:lnTo>
                    <a:pt x="620" y="766"/>
                  </a:lnTo>
                  <a:lnTo>
                    <a:pt x="621" y="766"/>
                  </a:lnTo>
                  <a:lnTo>
                    <a:pt x="619" y="763"/>
                  </a:lnTo>
                  <a:lnTo>
                    <a:pt x="618" y="760"/>
                  </a:lnTo>
                  <a:lnTo>
                    <a:pt x="617" y="758"/>
                  </a:lnTo>
                  <a:lnTo>
                    <a:pt x="617" y="757"/>
                  </a:lnTo>
                  <a:lnTo>
                    <a:pt x="618" y="753"/>
                  </a:lnTo>
                  <a:lnTo>
                    <a:pt x="619" y="751"/>
                  </a:lnTo>
                  <a:lnTo>
                    <a:pt x="620" y="751"/>
                  </a:lnTo>
                  <a:lnTo>
                    <a:pt x="620" y="754"/>
                  </a:lnTo>
                  <a:lnTo>
                    <a:pt x="620" y="758"/>
                  </a:lnTo>
                  <a:lnTo>
                    <a:pt x="623" y="759"/>
                  </a:lnTo>
                  <a:lnTo>
                    <a:pt x="623" y="758"/>
                  </a:lnTo>
                  <a:lnTo>
                    <a:pt x="623" y="757"/>
                  </a:lnTo>
                  <a:lnTo>
                    <a:pt x="625" y="757"/>
                  </a:lnTo>
                  <a:lnTo>
                    <a:pt x="626" y="758"/>
                  </a:lnTo>
                  <a:lnTo>
                    <a:pt x="629" y="757"/>
                  </a:lnTo>
                  <a:lnTo>
                    <a:pt x="629" y="758"/>
                  </a:lnTo>
                  <a:lnTo>
                    <a:pt x="630" y="758"/>
                  </a:lnTo>
                  <a:lnTo>
                    <a:pt x="632" y="758"/>
                  </a:lnTo>
                  <a:lnTo>
                    <a:pt x="631" y="755"/>
                  </a:lnTo>
                  <a:lnTo>
                    <a:pt x="629" y="753"/>
                  </a:lnTo>
                  <a:lnTo>
                    <a:pt x="628" y="751"/>
                  </a:lnTo>
                  <a:lnTo>
                    <a:pt x="628" y="748"/>
                  </a:lnTo>
                  <a:lnTo>
                    <a:pt x="629" y="745"/>
                  </a:lnTo>
                  <a:lnTo>
                    <a:pt x="630" y="746"/>
                  </a:lnTo>
                  <a:lnTo>
                    <a:pt x="631" y="748"/>
                  </a:lnTo>
                  <a:lnTo>
                    <a:pt x="632" y="752"/>
                  </a:lnTo>
                  <a:lnTo>
                    <a:pt x="632" y="753"/>
                  </a:lnTo>
                  <a:lnTo>
                    <a:pt x="636" y="752"/>
                  </a:lnTo>
                  <a:lnTo>
                    <a:pt x="637" y="751"/>
                  </a:lnTo>
                  <a:lnTo>
                    <a:pt x="637" y="754"/>
                  </a:lnTo>
                  <a:lnTo>
                    <a:pt x="638" y="760"/>
                  </a:lnTo>
                  <a:lnTo>
                    <a:pt x="640" y="763"/>
                  </a:lnTo>
                  <a:lnTo>
                    <a:pt x="640" y="759"/>
                  </a:lnTo>
                  <a:lnTo>
                    <a:pt x="641" y="755"/>
                  </a:lnTo>
                  <a:lnTo>
                    <a:pt x="642" y="753"/>
                  </a:lnTo>
                  <a:lnTo>
                    <a:pt x="642" y="748"/>
                  </a:lnTo>
                  <a:lnTo>
                    <a:pt x="643" y="745"/>
                  </a:lnTo>
                  <a:lnTo>
                    <a:pt x="646" y="745"/>
                  </a:lnTo>
                  <a:lnTo>
                    <a:pt x="649" y="746"/>
                  </a:lnTo>
                  <a:lnTo>
                    <a:pt x="649" y="752"/>
                  </a:lnTo>
                  <a:lnTo>
                    <a:pt x="649" y="759"/>
                  </a:lnTo>
                  <a:lnTo>
                    <a:pt x="650" y="758"/>
                  </a:lnTo>
                  <a:lnTo>
                    <a:pt x="652" y="752"/>
                  </a:lnTo>
                  <a:lnTo>
                    <a:pt x="652" y="746"/>
                  </a:lnTo>
                  <a:lnTo>
                    <a:pt x="652" y="745"/>
                  </a:lnTo>
                  <a:lnTo>
                    <a:pt x="653" y="746"/>
                  </a:lnTo>
                  <a:lnTo>
                    <a:pt x="653" y="751"/>
                  </a:lnTo>
                  <a:lnTo>
                    <a:pt x="654" y="751"/>
                  </a:lnTo>
                  <a:lnTo>
                    <a:pt x="654" y="754"/>
                  </a:lnTo>
                  <a:lnTo>
                    <a:pt x="655" y="753"/>
                  </a:lnTo>
                  <a:lnTo>
                    <a:pt x="656" y="751"/>
                  </a:lnTo>
                  <a:lnTo>
                    <a:pt x="658" y="746"/>
                  </a:lnTo>
                  <a:lnTo>
                    <a:pt x="659" y="748"/>
                  </a:lnTo>
                  <a:lnTo>
                    <a:pt x="660" y="752"/>
                  </a:lnTo>
                  <a:lnTo>
                    <a:pt x="662" y="751"/>
                  </a:lnTo>
                  <a:lnTo>
                    <a:pt x="664" y="749"/>
                  </a:lnTo>
                  <a:lnTo>
                    <a:pt x="665" y="747"/>
                  </a:lnTo>
                  <a:lnTo>
                    <a:pt x="665" y="746"/>
                  </a:lnTo>
                  <a:lnTo>
                    <a:pt x="668" y="749"/>
                  </a:lnTo>
                  <a:lnTo>
                    <a:pt x="668" y="748"/>
                  </a:lnTo>
                  <a:lnTo>
                    <a:pt x="670" y="748"/>
                  </a:lnTo>
                  <a:lnTo>
                    <a:pt x="672" y="749"/>
                  </a:lnTo>
                  <a:lnTo>
                    <a:pt x="673" y="748"/>
                  </a:lnTo>
                  <a:lnTo>
                    <a:pt x="673" y="751"/>
                  </a:lnTo>
                  <a:lnTo>
                    <a:pt x="676" y="747"/>
                  </a:lnTo>
                  <a:lnTo>
                    <a:pt x="677" y="748"/>
                  </a:lnTo>
                  <a:lnTo>
                    <a:pt x="678" y="745"/>
                  </a:lnTo>
                  <a:lnTo>
                    <a:pt x="677" y="741"/>
                  </a:lnTo>
                  <a:lnTo>
                    <a:pt x="678" y="740"/>
                  </a:lnTo>
                  <a:lnTo>
                    <a:pt x="678" y="737"/>
                  </a:lnTo>
                  <a:lnTo>
                    <a:pt x="679" y="737"/>
                  </a:lnTo>
                  <a:lnTo>
                    <a:pt x="680" y="740"/>
                  </a:lnTo>
                  <a:lnTo>
                    <a:pt x="679" y="742"/>
                  </a:lnTo>
                  <a:lnTo>
                    <a:pt x="680" y="745"/>
                  </a:lnTo>
                  <a:lnTo>
                    <a:pt x="679" y="748"/>
                  </a:lnTo>
                  <a:lnTo>
                    <a:pt x="679" y="753"/>
                  </a:lnTo>
                  <a:lnTo>
                    <a:pt x="682" y="754"/>
                  </a:lnTo>
                  <a:lnTo>
                    <a:pt x="682" y="753"/>
                  </a:lnTo>
                  <a:lnTo>
                    <a:pt x="683" y="747"/>
                  </a:lnTo>
                  <a:lnTo>
                    <a:pt x="683" y="745"/>
                  </a:lnTo>
                  <a:lnTo>
                    <a:pt x="684" y="742"/>
                  </a:lnTo>
                  <a:lnTo>
                    <a:pt x="685" y="745"/>
                  </a:lnTo>
                  <a:lnTo>
                    <a:pt x="684" y="749"/>
                  </a:lnTo>
                  <a:lnTo>
                    <a:pt x="684" y="753"/>
                  </a:lnTo>
                  <a:lnTo>
                    <a:pt x="685" y="754"/>
                  </a:lnTo>
                  <a:lnTo>
                    <a:pt x="685" y="757"/>
                  </a:lnTo>
                  <a:lnTo>
                    <a:pt x="686" y="755"/>
                  </a:lnTo>
                  <a:lnTo>
                    <a:pt x="688" y="754"/>
                  </a:lnTo>
                  <a:lnTo>
                    <a:pt x="688" y="751"/>
                  </a:lnTo>
                  <a:lnTo>
                    <a:pt x="688" y="746"/>
                  </a:lnTo>
                  <a:lnTo>
                    <a:pt x="688" y="745"/>
                  </a:lnTo>
                  <a:lnTo>
                    <a:pt x="688" y="743"/>
                  </a:lnTo>
                  <a:lnTo>
                    <a:pt x="688" y="745"/>
                  </a:lnTo>
                  <a:lnTo>
                    <a:pt x="690" y="749"/>
                  </a:lnTo>
                  <a:lnTo>
                    <a:pt x="690" y="751"/>
                  </a:lnTo>
                  <a:lnTo>
                    <a:pt x="690" y="753"/>
                  </a:lnTo>
                  <a:lnTo>
                    <a:pt x="691" y="752"/>
                  </a:lnTo>
                  <a:lnTo>
                    <a:pt x="691" y="753"/>
                  </a:lnTo>
                  <a:lnTo>
                    <a:pt x="691" y="759"/>
                  </a:lnTo>
                  <a:lnTo>
                    <a:pt x="691" y="763"/>
                  </a:lnTo>
                  <a:lnTo>
                    <a:pt x="693" y="761"/>
                  </a:lnTo>
                  <a:lnTo>
                    <a:pt x="693" y="760"/>
                  </a:lnTo>
                  <a:lnTo>
                    <a:pt x="694" y="760"/>
                  </a:lnTo>
                  <a:lnTo>
                    <a:pt x="695" y="761"/>
                  </a:lnTo>
                  <a:lnTo>
                    <a:pt x="696" y="759"/>
                  </a:lnTo>
                  <a:lnTo>
                    <a:pt x="696" y="755"/>
                  </a:lnTo>
                  <a:lnTo>
                    <a:pt x="700" y="757"/>
                  </a:lnTo>
                  <a:lnTo>
                    <a:pt x="702" y="757"/>
                  </a:lnTo>
                  <a:lnTo>
                    <a:pt x="701" y="755"/>
                  </a:lnTo>
                  <a:lnTo>
                    <a:pt x="699" y="753"/>
                  </a:lnTo>
                  <a:lnTo>
                    <a:pt x="700" y="751"/>
                  </a:lnTo>
                  <a:lnTo>
                    <a:pt x="701" y="749"/>
                  </a:lnTo>
                  <a:lnTo>
                    <a:pt x="700" y="749"/>
                  </a:lnTo>
                  <a:lnTo>
                    <a:pt x="697" y="749"/>
                  </a:lnTo>
                  <a:lnTo>
                    <a:pt x="693" y="748"/>
                  </a:lnTo>
                  <a:lnTo>
                    <a:pt x="691" y="743"/>
                  </a:lnTo>
                  <a:lnTo>
                    <a:pt x="695" y="743"/>
                  </a:lnTo>
                  <a:lnTo>
                    <a:pt x="693" y="742"/>
                  </a:lnTo>
                  <a:lnTo>
                    <a:pt x="689" y="740"/>
                  </a:lnTo>
                  <a:lnTo>
                    <a:pt x="688" y="737"/>
                  </a:lnTo>
                  <a:lnTo>
                    <a:pt x="682" y="735"/>
                  </a:lnTo>
                  <a:lnTo>
                    <a:pt x="679" y="731"/>
                  </a:lnTo>
                  <a:lnTo>
                    <a:pt x="676" y="730"/>
                  </a:lnTo>
                  <a:lnTo>
                    <a:pt x="670" y="729"/>
                  </a:lnTo>
                  <a:lnTo>
                    <a:pt x="664" y="728"/>
                  </a:lnTo>
                  <a:lnTo>
                    <a:pt x="660" y="728"/>
                  </a:lnTo>
                  <a:lnTo>
                    <a:pt x="660" y="726"/>
                  </a:lnTo>
                  <a:lnTo>
                    <a:pt x="661" y="724"/>
                  </a:lnTo>
                  <a:lnTo>
                    <a:pt x="659" y="723"/>
                  </a:lnTo>
                  <a:lnTo>
                    <a:pt x="658" y="723"/>
                  </a:lnTo>
                  <a:lnTo>
                    <a:pt x="656" y="723"/>
                  </a:lnTo>
                  <a:lnTo>
                    <a:pt x="653" y="724"/>
                  </a:lnTo>
                  <a:lnTo>
                    <a:pt x="650" y="723"/>
                  </a:lnTo>
                  <a:lnTo>
                    <a:pt x="650" y="718"/>
                  </a:lnTo>
                  <a:lnTo>
                    <a:pt x="653" y="716"/>
                  </a:lnTo>
                  <a:lnTo>
                    <a:pt x="656" y="714"/>
                  </a:lnTo>
                  <a:lnTo>
                    <a:pt x="658" y="714"/>
                  </a:lnTo>
                  <a:lnTo>
                    <a:pt x="656" y="718"/>
                  </a:lnTo>
                  <a:lnTo>
                    <a:pt x="658" y="718"/>
                  </a:lnTo>
                  <a:lnTo>
                    <a:pt x="660" y="714"/>
                  </a:lnTo>
                  <a:lnTo>
                    <a:pt x="660" y="716"/>
                  </a:lnTo>
                  <a:lnTo>
                    <a:pt x="661" y="719"/>
                  </a:lnTo>
                  <a:lnTo>
                    <a:pt x="662" y="719"/>
                  </a:lnTo>
                  <a:lnTo>
                    <a:pt x="662" y="717"/>
                  </a:lnTo>
                  <a:lnTo>
                    <a:pt x="664" y="716"/>
                  </a:lnTo>
                  <a:lnTo>
                    <a:pt x="664" y="719"/>
                  </a:lnTo>
                  <a:lnTo>
                    <a:pt x="665" y="720"/>
                  </a:lnTo>
                  <a:lnTo>
                    <a:pt x="665" y="724"/>
                  </a:lnTo>
                  <a:lnTo>
                    <a:pt x="667" y="726"/>
                  </a:lnTo>
                  <a:lnTo>
                    <a:pt x="668" y="726"/>
                  </a:lnTo>
                  <a:lnTo>
                    <a:pt x="668" y="723"/>
                  </a:lnTo>
                  <a:lnTo>
                    <a:pt x="668" y="720"/>
                  </a:lnTo>
                  <a:lnTo>
                    <a:pt x="671" y="718"/>
                  </a:lnTo>
                  <a:lnTo>
                    <a:pt x="671" y="717"/>
                  </a:lnTo>
                  <a:lnTo>
                    <a:pt x="673" y="716"/>
                  </a:lnTo>
                  <a:lnTo>
                    <a:pt x="676" y="718"/>
                  </a:lnTo>
                  <a:lnTo>
                    <a:pt x="676" y="720"/>
                  </a:lnTo>
                  <a:lnTo>
                    <a:pt x="678" y="723"/>
                  </a:lnTo>
                  <a:lnTo>
                    <a:pt x="680" y="723"/>
                  </a:lnTo>
                  <a:lnTo>
                    <a:pt x="682" y="725"/>
                  </a:lnTo>
                  <a:lnTo>
                    <a:pt x="683" y="722"/>
                  </a:lnTo>
                  <a:lnTo>
                    <a:pt x="683" y="724"/>
                  </a:lnTo>
                  <a:lnTo>
                    <a:pt x="684" y="725"/>
                  </a:lnTo>
                  <a:lnTo>
                    <a:pt x="685" y="726"/>
                  </a:lnTo>
                  <a:lnTo>
                    <a:pt x="686" y="726"/>
                  </a:lnTo>
                  <a:lnTo>
                    <a:pt x="688" y="722"/>
                  </a:lnTo>
                  <a:lnTo>
                    <a:pt x="688" y="718"/>
                  </a:lnTo>
                  <a:lnTo>
                    <a:pt x="688" y="720"/>
                  </a:lnTo>
                  <a:lnTo>
                    <a:pt x="689" y="719"/>
                  </a:lnTo>
                  <a:lnTo>
                    <a:pt x="690" y="717"/>
                  </a:lnTo>
                  <a:lnTo>
                    <a:pt x="691" y="717"/>
                  </a:lnTo>
                  <a:lnTo>
                    <a:pt x="693" y="722"/>
                  </a:lnTo>
                  <a:lnTo>
                    <a:pt x="694" y="723"/>
                  </a:lnTo>
                  <a:lnTo>
                    <a:pt x="694" y="729"/>
                  </a:lnTo>
                  <a:lnTo>
                    <a:pt x="696" y="730"/>
                  </a:lnTo>
                  <a:lnTo>
                    <a:pt x="697" y="729"/>
                  </a:lnTo>
                  <a:lnTo>
                    <a:pt x="697" y="725"/>
                  </a:lnTo>
                  <a:lnTo>
                    <a:pt x="697" y="720"/>
                  </a:lnTo>
                  <a:lnTo>
                    <a:pt x="699" y="717"/>
                  </a:lnTo>
                  <a:lnTo>
                    <a:pt x="700" y="718"/>
                  </a:lnTo>
                  <a:lnTo>
                    <a:pt x="700" y="722"/>
                  </a:lnTo>
                  <a:lnTo>
                    <a:pt x="700" y="726"/>
                  </a:lnTo>
                  <a:lnTo>
                    <a:pt x="700" y="728"/>
                  </a:lnTo>
                  <a:lnTo>
                    <a:pt x="702" y="726"/>
                  </a:lnTo>
                  <a:lnTo>
                    <a:pt x="703" y="724"/>
                  </a:lnTo>
                  <a:lnTo>
                    <a:pt x="703" y="722"/>
                  </a:lnTo>
                  <a:lnTo>
                    <a:pt x="706" y="718"/>
                  </a:lnTo>
                  <a:lnTo>
                    <a:pt x="707" y="720"/>
                  </a:lnTo>
                  <a:lnTo>
                    <a:pt x="709" y="722"/>
                  </a:lnTo>
                  <a:lnTo>
                    <a:pt x="711" y="722"/>
                  </a:lnTo>
                  <a:lnTo>
                    <a:pt x="713" y="722"/>
                  </a:lnTo>
                  <a:lnTo>
                    <a:pt x="714" y="724"/>
                  </a:lnTo>
                  <a:lnTo>
                    <a:pt x="715" y="726"/>
                  </a:lnTo>
                  <a:lnTo>
                    <a:pt x="718" y="730"/>
                  </a:lnTo>
                  <a:lnTo>
                    <a:pt x="719" y="734"/>
                  </a:lnTo>
                  <a:lnTo>
                    <a:pt x="719" y="732"/>
                  </a:lnTo>
                  <a:lnTo>
                    <a:pt x="721" y="731"/>
                  </a:lnTo>
                  <a:lnTo>
                    <a:pt x="721" y="729"/>
                  </a:lnTo>
                  <a:lnTo>
                    <a:pt x="723" y="725"/>
                  </a:lnTo>
                  <a:lnTo>
                    <a:pt x="725" y="726"/>
                  </a:lnTo>
                  <a:lnTo>
                    <a:pt x="726" y="728"/>
                  </a:lnTo>
                  <a:lnTo>
                    <a:pt x="727" y="728"/>
                  </a:lnTo>
                  <a:lnTo>
                    <a:pt x="725" y="723"/>
                  </a:lnTo>
                  <a:lnTo>
                    <a:pt x="723" y="718"/>
                  </a:lnTo>
                  <a:lnTo>
                    <a:pt x="719" y="716"/>
                  </a:lnTo>
                  <a:lnTo>
                    <a:pt x="719" y="712"/>
                  </a:lnTo>
                  <a:lnTo>
                    <a:pt x="718" y="708"/>
                  </a:lnTo>
                  <a:lnTo>
                    <a:pt x="718" y="704"/>
                  </a:lnTo>
                  <a:lnTo>
                    <a:pt x="719" y="706"/>
                  </a:lnTo>
                  <a:lnTo>
                    <a:pt x="720" y="712"/>
                  </a:lnTo>
                  <a:lnTo>
                    <a:pt x="720" y="710"/>
                  </a:lnTo>
                  <a:lnTo>
                    <a:pt x="721" y="706"/>
                  </a:lnTo>
                  <a:lnTo>
                    <a:pt x="723" y="704"/>
                  </a:lnTo>
                  <a:lnTo>
                    <a:pt x="724" y="701"/>
                  </a:lnTo>
                  <a:lnTo>
                    <a:pt x="723" y="699"/>
                  </a:lnTo>
                  <a:lnTo>
                    <a:pt x="720" y="694"/>
                  </a:lnTo>
                  <a:lnTo>
                    <a:pt x="719" y="692"/>
                  </a:lnTo>
                  <a:lnTo>
                    <a:pt x="720" y="692"/>
                  </a:lnTo>
                  <a:lnTo>
                    <a:pt x="724" y="693"/>
                  </a:lnTo>
                  <a:lnTo>
                    <a:pt x="725" y="693"/>
                  </a:lnTo>
                  <a:lnTo>
                    <a:pt x="725" y="700"/>
                  </a:lnTo>
                  <a:lnTo>
                    <a:pt x="725" y="707"/>
                  </a:lnTo>
                  <a:lnTo>
                    <a:pt x="726" y="708"/>
                  </a:lnTo>
                  <a:lnTo>
                    <a:pt x="727" y="706"/>
                  </a:lnTo>
                  <a:lnTo>
                    <a:pt x="727" y="702"/>
                  </a:lnTo>
                  <a:lnTo>
                    <a:pt x="727" y="698"/>
                  </a:lnTo>
                  <a:lnTo>
                    <a:pt x="729" y="694"/>
                  </a:lnTo>
                  <a:lnTo>
                    <a:pt x="730" y="698"/>
                  </a:lnTo>
                  <a:lnTo>
                    <a:pt x="730" y="700"/>
                  </a:lnTo>
                  <a:lnTo>
                    <a:pt x="731" y="702"/>
                  </a:lnTo>
                  <a:lnTo>
                    <a:pt x="731" y="705"/>
                  </a:lnTo>
                  <a:lnTo>
                    <a:pt x="731" y="710"/>
                  </a:lnTo>
                  <a:lnTo>
                    <a:pt x="732" y="712"/>
                  </a:lnTo>
                  <a:lnTo>
                    <a:pt x="733" y="712"/>
                  </a:lnTo>
                  <a:lnTo>
                    <a:pt x="735" y="708"/>
                  </a:lnTo>
                  <a:lnTo>
                    <a:pt x="735" y="704"/>
                  </a:lnTo>
                  <a:lnTo>
                    <a:pt x="735" y="701"/>
                  </a:lnTo>
                  <a:lnTo>
                    <a:pt x="737" y="700"/>
                  </a:lnTo>
                  <a:lnTo>
                    <a:pt x="738" y="699"/>
                  </a:lnTo>
                  <a:lnTo>
                    <a:pt x="738" y="701"/>
                  </a:lnTo>
                  <a:lnTo>
                    <a:pt x="741" y="702"/>
                  </a:lnTo>
                  <a:lnTo>
                    <a:pt x="741" y="700"/>
                  </a:lnTo>
                  <a:lnTo>
                    <a:pt x="742" y="698"/>
                  </a:lnTo>
                  <a:lnTo>
                    <a:pt x="743" y="698"/>
                  </a:lnTo>
                  <a:lnTo>
                    <a:pt x="745" y="700"/>
                  </a:lnTo>
                  <a:lnTo>
                    <a:pt x="747" y="699"/>
                  </a:lnTo>
                  <a:lnTo>
                    <a:pt x="747" y="696"/>
                  </a:lnTo>
                  <a:lnTo>
                    <a:pt x="745" y="695"/>
                  </a:lnTo>
                  <a:lnTo>
                    <a:pt x="741" y="695"/>
                  </a:lnTo>
                  <a:lnTo>
                    <a:pt x="738" y="694"/>
                  </a:lnTo>
                  <a:lnTo>
                    <a:pt x="736" y="693"/>
                  </a:lnTo>
                  <a:lnTo>
                    <a:pt x="732" y="689"/>
                  </a:lnTo>
                  <a:lnTo>
                    <a:pt x="731" y="689"/>
                  </a:lnTo>
                  <a:lnTo>
                    <a:pt x="727" y="689"/>
                  </a:lnTo>
                  <a:lnTo>
                    <a:pt x="725" y="689"/>
                  </a:lnTo>
                  <a:lnTo>
                    <a:pt x="720" y="687"/>
                  </a:lnTo>
                  <a:lnTo>
                    <a:pt x="717" y="688"/>
                  </a:lnTo>
                  <a:lnTo>
                    <a:pt x="714" y="687"/>
                  </a:lnTo>
                  <a:lnTo>
                    <a:pt x="713" y="686"/>
                  </a:lnTo>
                  <a:lnTo>
                    <a:pt x="711" y="684"/>
                  </a:lnTo>
                  <a:lnTo>
                    <a:pt x="703" y="683"/>
                  </a:lnTo>
                  <a:lnTo>
                    <a:pt x="706" y="682"/>
                  </a:lnTo>
                  <a:lnTo>
                    <a:pt x="703" y="682"/>
                  </a:lnTo>
                  <a:lnTo>
                    <a:pt x="701" y="683"/>
                  </a:lnTo>
                  <a:lnTo>
                    <a:pt x="700" y="683"/>
                  </a:lnTo>
                  <a:lnTo>
                    <a:pt x="696" y="682"/>
                  </a:lnTo>
                  <a:lnTo>
                    <a:pt x="697" y="680"/>
                  </a:lnTo>
                  <a:lnTo>
                    <a:pt x="695" y="681"/>
                  </a:lnTo>
                  <a:lnTo>
                    <a:pt x="693" y="682"/>
                  </a:lnTo>
                  <a:lnTo>
                    <a:pt x="689" y="681"/>
                  </a:lnTo>
                  <a:lnTo>
                    <a:pt x="679" y="680"/>
                  </a:lnTo>
                  <a:lnTo>
                    <a:pt x="673" y="678"/>
                  </a:lnTo>
                  <a:lnTo>
                    <a:pt x="668" y="678"/>
                  </a:lnTo>
                  <a:lnTo>
                    <a:pt x="664" y="678"/>
                  </a:lnTo>
                  <a:lnTo>
                    <a:pt x="661" y="677"/>
                  </a:lnTo>
                  <a:lnTo>
                    <a:pt x="662" y="676"/>
                  </a:lnTo>
                  <a:lnTo>
                    <a:pt x="665" y="675"/>
                  </a:lnTo>
                  <a:lnTo>
                    <a:pt x="664" y="674"/>
                  </a:lnTo>
                  <a:lnTo>
                    <a:pt x="664" y="671"/>
                  </a:lnTo>
                  <a:lnTo>
                    <a:pt x="661" y="669"/>
                  </a:lnTo>
                  <a:lnTo>
                    <a:pt x="660" y="666"/>
                  </a:lnTo>
                  <a:lnTo>
                    <a:pt x="662" y="664"/>
                  </a:lnTo>
                  <a:lnTo>
                    <a:pt x="664" y="660"/>
                  </a:lnTo>
                  <a:lnTo>
                    <a:pt x="665" y="658"/>
                  </a:lnTo>
                  <a:lnTo>
                    <a:pt x="666" y="662"/>
                  </a:lnTo>
                  <a:lnTo>
                    <a:pt x="668" y="663"/>
                  </a:lnTo>
                  <a:lnTo>
                    <a:pt x="668" y="665"/>
                  </a:lnTo>
                  <a:lnTo>
                    <a:pt x="670" y="671"/>
                  </a:lnTo>
                  <a:lnTo>
                    <a:pt x="671" y="672"/>
                  </a:lnTo>
                  <a:lnTo>
                    <a:pt x="672" y="671"/>
                  </a:lnTo>
                  <a:lnTo>
                    <a:pt x="674" y="672"/>
                  </a:lnTo>
                  <a:lnTo>
                    <a:pt x="676" y="671"/>
                  </a:lnTo>
                  <a:lnTo>
                    <a:pt x="677" y="670"/>
                  </a:lnTo>
                  <a:lnTo>
                    <a:pt x="677" y="666"/>
                  </a:lnTo>
                  <a:lnTo>
                    <a:pt x="678" y="669"/>
                  </a:lnTo>
                  <a:lnTo>
                    <a:pt x="678" y="671"/>
                  </a:lnTo>
                  <a:lnTo>
                    <a:pt x="679" y="669"/>
                  </a:lnTo>
                  <a:lnTo>
                    <a:pt x="680" y="668"/>
                  </a:lnTo>
                  <a:lnTo>
                    <a:pt x="682" y="668"/>
                  </a:lnTo>
                  <a:lnTo>
                    <a:pt x="685" y="670"/>
                  </a:lnTo>
                  <a:lnTo>
                    <a:pt x="686" y="669"/>
                  </a:lnTo>
                  <a:lnTo>
                    <a:pt x="684" y="666"/>
                  </a:lnTo>
                  <a:lnTo>
                    <a:pt x="682" y="664"/>
                  </a:lnTo>
                  <a:lnTo>
                    <a:pt x="679" y="662"/>
                  </a:lnTo>
                  <a:lnTo>
                    <a:pt x="680" y="658"/>
                  </a:lnTo>
                  <a:lnTo>
                    <a:pt x="680" y="656"/>
                  </a:lnTo>
                  <a:lnTo>
                    <a:pt x="683" y="652"/>
                  </a:lnTo>
                  <a:lnTo>
                    <a:pt x="684" y="652"/>
                  </a:lnTo>
                  <a:lnTo>
                    <a:pt x="686" y="652"/>
                  </a:lnTo>
                  <a:lnTo>
                    <a:pt x="686" y="653"/>
                  </a:lnTo>
                  <a:lnTo>
                    <a:pt x="688" y="653"/>
                  </a:lnTo>
                  <a:lnTo>
                    <a:pt x="691" y="651"/>
                  </a:lnTo>
                  <a:lnTo>
                    <a:pt x="694" y="647"/>
                  </a:lnTo>
                  <a:lnTo>
                    <a:pt x="693" y="651"/>
                  </a:lnTo>
                  <a:lnTo>
                    <a:pt x="691" y="654"/>
                  </a:lnTo>
                  <a:lnTo>
                    <a:pt x="691" y="656"/>
                  </a:lnTo>
                  <a:lnTo>
                    <a:pt x="691" y="660"/>
                  </a:lnTo>
                  <a:lnTo>
                    <a:pt x="695" y="662"/>
                  </a:lnTo>
                  <a:lnTo>
                    <a:pt x="694" y="665"/>
                  </a:lnTo>
                  <a:lnTo>
                    <a:pt x="694" y="666"/>
                  </a:lnTo>
                  <a:lnTo>
                    <a:pt x="695" y="666"/>
                  </a:lnTo>
                  <a:lnTo>
                    <a:pt x="696" y="669"/>
                  </a:lnTo>
                  <a:lnTo>
                    <a:pt x="699" y="669"/>
                  </a:lnTo>
                  <a:lnTo>
                    <a:pt x="700" y="666"/>
                  </a:lnTo>
                  <a:lnTo>
                    <a:pt x="702" y="668"/>
                  </a:lnTo>
                  <a:lnTo>
                    <a:pt x="703" y="669"/>
                  </a:lnTo>
                  <a:lnTo>
                    <a:pt x="706" y="666"/>
                  </a:lnTo>
                  <a:lnTo>
                    <a:pt x="706" y="664"/>
                  </a:lnTo>
                  <a:lnTo>
                    <a:pt x="707" y="663"/>
                  </a:lnTo>
                  <a:lnTo>
                    <a:pt x="709" y="663"/>
                  </a:lnTo>
                  <a:lnTo>
                    <a:pt x="712" y="662"/>
                  </a:lnTo>
                  <a:lnTo>
                    <a:pt x="711" y="659"/>
                  </a:lnTo>
                  <a:lnTo>
                    <a:pt x="706" y="658"/>
                  </a:lnTo>
                  <a:lnTo>
                    <a:pt x="702" y="654"/>
                  </a:lnTo>
                  <a:lnTo>
                    <a:pt x="701" y="651"/>
                  </a:lnTo>
                  <a:lnTo>
                    <a:pt x="700" y="647"/>
                  </a:lnTo>
                  <a:lnTo>
                    <a:pt x="697" y="644"/>
                  </a:lnTo>
                  <a:lnTo>
                    <a:pt x="699" y="642"/>
                  </a:lnTo>
                  <a:lnTo>
                    <a:pt x="696" y="641"/>
                  </a:lnTo>
                  <a:lnTo>
                    <a:pt x="695" y="640"/>
                  </a:lnTo>
                  <a:lnTo>
                    <a:pt x="693" y="639"/>
                  </a:lnTo>
                  <a:lnTo>
                    <a:pt x="690" y="638"/>
                  </a:lnTo>
                  <a:lnTo>
                    <a:pt x="688" y="635"/>
                  </a:lnTo>
                  <a:lnTo>
                    <a:pt x="683" y="634"/>
                  </a:lnTo>
                  <a:lnTo>
                    <a:pt x="679" y="634"/>
                  </a:lnTo>
                  <a:lnTo>
                    <a:pt x="673" y="633"/>
                  </a:lnTo>
                  <a:lnTo>
                    <a:pt x="670" y="633"/>
                  </a:lnTo>
                  <a:lnTo>
                    <a:pt x="670" y="628"/>
                  </a:lnTo>
                  <a:lnTo>
                    <a:pt x="670" y="627"/>
                  </a:lnTo>
                  <a:lnTo>
                    <a:pt x="672" y="627"/>
                  </a:lnTo>
                  <a:lnTo>
                    <a:pt x="672" y="624"/>
                  </a:lnTo>
                  <a:lnTo>
                    <a:pt x="672" y="621"/>
                  </a:lnTo>
                  <a:lnTo>
                    <a:pt x="674" y="621"/>
                  </a:lnTo>
                  <a:lnTo>
                    <a:pt x="676" y="623"/>
                  </a:lnTo>
                  <a:lnTo>
                    <a:pt x="678" y="627"/>
                  </a:lnTo>
                  <a:lnTo>
                    <a:pt x="679" y="628"/>
                  </a:lnTo>
                  <a:lnTo>
                    <a:pt x="680" y="627"/>
                  </a:lnTo>
                  <a:lnTo>
                    <a:pt x="678" y="623"/>
                  </a:lnTo>
                  <a:lnTo>
                    <a:pt x="678" y="621"/>
                  </a:lnTo>
                  <a:lnTo>
                    <a:pt x="682" y="622"/>
                  </a:lnTo>
                  <a:lnTo>
                    <a:pt x="684" y="621"/>
                  </a:lnTo>
                  <a:lnTo>
                    <a:pt x="682" y="619"/>
                  </a:lnTo>
                  <a:lnTo>
                    <a:pt x="679" y="618"/>
                  </a:lnTo>
                  <a:lnTo>
                    <a:pt x="677" y="617"/>
                  </a:lnTo>
                  <a:lnTo>
                    <a:pt x="676" y="617"/>
                  </a:lnTo>
                  <a:lnTo>
                    <a:pt x="673" y="617"/>
                  </a:lnTo>
                  <a:lnTo>
                    <a:pt x="671" y="617"/>
                  </a:lnTo>
                  <a:lnTo>
                    <a:pt x="668" y="617"/>
                  </a:lnTo>
                  <a:lnTo>
                    <a:pt x="666" y="616"/>
                  </a:lnTo>
                  <a:lnTo>
                    <a:pt x="665" y="616"/>
                  </a:lnTo>
                  <a:lnTo>
                    <a:pt x="662" y="615"/>
                  </a:lnTo>
                  <a:lnTo>
                    <a:pt x="660" y="613"/>
                  </a:lnTo>
                  <a:lnTo>
                    <a:pt x="659" y="612"/>
                  </a:lnTo>
                  <a:lnTo>
                    <a:pt x="658" y="610"/>
                  </a:lnTo>
                  <a:lnTo>
                    <a:pt x="656" y="607"/>
                  </a:lnTo>
                  <a:lnTo>
                    <a:pt x="655" y="606"/>
                  </a:lnTo>
                  <a:lnTo>
                    <a:pt x="654" y="609"/>
                  </a:lnTo>
                  <a:lnTo>
                    <a:pt x="653" y="607"/>
                  </a:lnTo>
                  <a:lnTo>
                    <a:pt x="653" y="603"/>
                  </a:lnTo>
                  <a:lnTo>
                    <a:pt x="654" y="603"/>
                  </a:lnTo>
                  <a:lnTo>
                    <a:pt x="655" y="603"/>
                  </a:lnTo>
                  <a:lnTo>
                    <a:pt x="653" y="600"/>
                  </a:lnTo>
                  <a:lnTo>
                    <a:pt x="650" y="597"/>
                  </a:lnTo>
                  <a:lnTo>
                    <a:pt x="644" y="591"/>
                  </a:lnTo>
                  <a:lnTo>
                    <a:pt x="643" y="588"/>
                  </a:lnTo>
                  <a:lnTo>
                    <a:pt x="640" y="586"/>
                  </a:lnTo>
                  <a:lnTo>
                    <a:pt x="640" y="583"/>
                  </a:lnTo>
                  <a:lnTo>
                    <a:pt x="643" y="581"/>
                  </a:lnTo>
                  <a:lnTo>
                    <a:pt x="644" y="580"/>
                  </a:lnTo>
                  <a:lnTo>
                    <a:pt x="644" y="582"/>
                  </a:lnTo>
                  <a:lnTo>
                    <a:pt x="644" y="585"/>
                  </a:lnTo>
                  <a:lnTo>
                    <a:pt x="648" y="585"/>
                  </a:lnTo>
                  <a:lnTo>
                    <a:pt x="648" y="586"/>
                  </a:lnTo>
                  <a:lnTo>
                    <a:pt x="648" y="589"/>
                  </a:lnTo>
                  <a:lnTo>
                    <a:pt x="649" y="591"/>
                  </a:lnTo>
                  <a:lnTo>
                    <a:pt x="649" y="593"/>
                  </a:lnTo>
                  <a:lnTo>
                    <a:pt x="650" y="594"/>
                  </a:lnTo>
                  <a:lnTo>
                    <a:pt x="650" y="592"/>
                  </a:lnTo>
                  <a:lnTo>
                    <a:pt x="652" y="588"/>
                  </a:lnTo>
                  <a:lnTo>
                    <a:pt x="653" y="587"/>
                  </a:lnTo>
                  <a:lnTo>
                    <a:pt x="652" y="585"/>
                  </a:lnTo>
                  <a:lnTo>
                    <a:pt x="652" y="583"/>
                  </a:lnTo>
                  <a:lnTo>
                    <a:pt x="654" y="583"/>
                  </a:lnTo>
                  <a:lnTo>
                    <a:pt x="655" y="586"/>
                  </a:lnTo>
                  <a:lnTo>
                    <a:pt x="656" y="587"/>
                  </a:lnTo>
                  <a:lnTo>
                    <a:pt x="656" y="592"/>
                  </a:lnTo>
                  <a:lnTo>
                    <a:pt x="658" y="594"/>
                  </a:lnTo>
                  <a:lnTo>
                    <a:pt x="659" y="593"/>
                  </a:lnTo>
                  <a:lnTo>
                    <a:pt x="659" y="591"/>
                  </a:lnTo>
                  <a:lnTo>
                    <a:pt x="659" y="587"/>
                  </a:lnTo>
                  <a:lnTo>
                    <a:pt x="660" y="587"/>
                  </a:lnTo>
                  <a:lnTo>
                    <a:pt x="661" y="588"/>
                  </a:lnTo>
                  <a:lnTo>
                    <a:pt x="661" y="586"/>
                  </a:lnTo>
                  <a:lnTo>
                    <a:pt x="664" y="588"/>
                  </a:lnTo>
                  <a:lnTo>
                    <a:pt x="664" y="591"/>
                  </a:lnTo>
                  <a:lnTo>
                    <a:pt x="665" y="592"/>
                  </a:lnTo>
                  <a:lnTo>
                    <a:pt x="666" y="591"/>
                  </a:lnTo>
                  <a:lnTo>
                    <a:pt x="666" y="587"/>
                  </a:lnTo>
                  <a:lnTo>
                    <a:pt x="666" y="583"/>
                  </a:lnTo>
                  <a:lnTo>
                    <a:pt x="668" y="582"/>
                  </a:lnTo>
                  <a:lnTo>
                    <a:pt x="670" y="585"/>
                  </a:lnTo>
                  <a:lnTo>
                    <a:pt x="668" y="588"/>
                  </a:lnTo>
                  <a:lnTo>
                    <a:pt x="667" y="591"/>
                  </a:lnTo>
                  <a:lnTo>
                    <a:pt x="668" y="592"/>
                  </a:lnTo>
                  <a:lnTo>
                    <a:pt x="668" y="598"/>
                  </a:lnTo>
                  <a:lnTo>
                    <a:pt x="670" y="599"/>
                  </a:lnTo>
                  <a:lnTo>
                    <a:pt x="670" y="600"/>
                  </a:lnTo>
                  <a:lnTo>
                    <a:pt x="671" y="600"/>
                  </a:lnTo>
                  <a:lnTo>
                    <a:pt x="673" y="599"/>
                  </a:lnTo>
                  <a:lnTo>
                    <a:pt x="673" y="603"/>
                  </a:lnTo>
                  <a:lnTo>
                    <a:pt x="674" y="603"/>
                  </a:lnTo>
                  <a:lnTo>
                    <a:pt x="676" y="604"/>
                  </a:lnTo>
                  <a:lnTo>
                    <a:pt x="676" y="598"/>
                  </a:lnTo>
                  <a:lnTo>
                    <a:pt x="676" y="594"/>
                  </a:lnTo>
                  <a:lnTo>
                    <a:pt x="676" y="593"/>
                  </a:lnTo>
                  <a:lnTo>
                    <a:pt x="673" y="588"/>
                  </a:lnTo>
                  <a:lnTo>
                    <a:pt x="673" y="587"/>
                  </a:lnTo>
                  <a:lnTo>
                    <a:pt x="673" y="582"/>
                  </a:lnTo>
                  <a:lnTo>
                    <a:pt x="672" y="577"/>
                  </a:lnTo>
                  <a:lnTo>
                    <a:pt x="672" y="571"/>
                  </a:lnTo>
                  <a:lnTo>
                    <a:pt x="674" y="571"/>
                  </a:lnTo>
                  <a:lnTo>
                    <a:pt x="677" y="571"/>
                  </a:lnTo>
                  <a:lnTo>
                    <a:pt x="677" y="575"/>
                  </a:lnTo>
                  <a:lnTo>
                    <a:pt x="677" y="577"/>
                  </a:lnTo>
                  <a:lnTo>
                    <a:pt x="678" y="577"/>
                  </a:lnTo>
                  <a:lnTo>
                    <a:pt x="680" y="576"/>
                  </a:lnTo>
                  <a:lnTo>
                    <a:pt x="680" y="573"/>
                  </a:lnTo>
                  <a:lnTo>
                    <a:pt x="683" y="569"/>
                  </a:lnTo>
                  <a:lnTo>
                    <a:pt x="683" y="568"/>
                  </a:lnTo>
                  <a:lnTo>
                    <a:pt x="683" y="575"/>
                  </a:lnTo>
                  <a:lnTo>
                    <a:pt x="684" y="577"/>
                  </a:lnTo>
                  <a:lnTo>
                    <a:pt x="686" y="576"/>
                  </a:lnTo>
                  <a:lnTo>
                    <a:pt x="686" y="573"/>
                  </a:lnTo>
                  <a:lnTo>
                    <a:pt x="688" y="569"/>
                  </a:lnTo>
                  <a:lnTo>
                    <a:pt x="689" y="567"/>
                  </a:lnTo>
                  <a:lnTo>
                    <a:pt x="689" y="570"/>
                  </a:lnTo>
                  <a:lnTo>
                    <a:pt x="689" y="576"/>
                  </a:lnTo>
                  <a:lnTo>
                    <a:pt x="690" y="579"/>
                  </a:lnTo>
                  <a:lnTo>
                    <a:pt x="691" y="577"/>
                  </a:lnTo>
                  <a:lnTo>
                    <a:pt x="693" y="573"/>
                  </a:lnTo>
                  <a:lnTo>
                    <a:pt x="693" y="569"/>
                  </a:lnTo>
                  <a:lnTo>
                    <a:pt x="693" y="564"/>
                  </a:lnTo>
                  <a:lnTo>
                    <a:pt x="693" y="561"/>
                  </a:lnTo>
                  <a:lnTo>
                    <a:pt x="691" y="557"/>
                  </a:lnTo>
                  <a:lnTo>
                    <a:pt x="693" y="556"/>
                  </a:lnTo>
                  <a:lnTo>
                    <a:pt x="695" y="556"/>
                  </a:lnTo>
                  <a:lnTo>
                    <a:pt x="697" y="557"/>
                  </a:lnTo>
                  <a:lnTo>
                    <a:pt x="696" y="555"/>
                  </a:lnTo>
                  <a:lnTo>
                    <a:pt x="696" y="553"/>
                  </a:lnTo>
                  <a:lnTo>
                    <a:pt x="699" y="553"/>
                  </a:lnTo>
                  <a:lnTo>
                    <a:pt x="700" y="553"/>
                  </a:lnTo>
                  <a:lnTo>
                    <a:pt x="701" y="551"/>
                  </a:lnTo>
                  <a:lnTo>
                    <a:pt x="699" y="551"/>
                  </a:lnTo>
                  <a:lnTo>
                    <a:pt x="697" y="550"/>
                  </a:lnTo>
                  <a:lnTo>
                    <a:pt x="696" y="547"/>
                  </a:lnTo>
                  <a:lnTo>
                    <a:pt x="695" y="549"/>
                  </a:lnTo>
                  <a:lnTo>
                    <a:pt x="695" y="550"/>
                  </a:lnTo>
                  <a:lnTo>
                    <a:pt x="693" y="552"/>
                  </a:lnTo>
                  <a:lnTo>
                    <a:pt x="693" y="551"/>
                  </a:lnTo>
                  <a:lnTo>
                    <a:pt x="690" y="550"/>
                  </a:lnTo>
                  <a:lnTo>
                    <a:pt x="690" y="551"/>
                  </a:lnTo>
                  <a:lnTo>
                    <a:pt x="689" y="551"/>
                  </a:lnTo>
                  <a:lnTo>
                    <a:pt x="686" y="551"/>
                  </a:lnTo>
                  <a:lnTo>
                    <a:pt x="686" y="550"/>
                  </a:lnTo>
                  <a:lnTo>
                    <a:pt x="685" y="550"/>
                  </a:lnTo>
                  <a:lnTo>
                    <a:pt x="684" y="553"/>
                  </a:lnTo>
                  <a:lnTo>
                    <a:pt x="683" y="553"/>
                  </a:lnTo>
                  <a:lnTo>
                    <a:pt x="682" y="552"/>
                  </a:lnTo>
                  <a:lnTo>
                    <a:pt x="680" y="553"/>
                  </a:lnTo>
                  <a:lnTo>
                    <a:pt x="678" y="556"/>
                  </a:lnTo>
                  <a:lnTo>
                    <a:pt x="676" y="557"/>
                  </a:lnTo>
                  <a:lnTo>
                    <a:pt x="674" y="559"/>
                  </a:lnTo>
                  <a:lnTo>
                    <a:pt x="668" y="558"/>
                  </a:lnTo>
                  <a:lnTo>
                    <a:pt x="664" y="558"/>
                  </a:lnTo>
                  <a:lnTo>
                    <a:pt x="660" y="559"/>
                  </a:lnTo>
                  <a:lnTo>
                    <a:pt x="655" y="561"/>
                  </a:lnTo>
                  <a:lnTo>
                    <a:pt x="649" y="561"/>
                  </a:lnTo>
                  <a:lnTo>
                    <a:pt x="644" y="562"/>
                  </a:lnTo>
                  <a:lnTo>
                    <a:pt x="640" y="562"/>
                  </a:lnTo>
                  <a:lnTo>
                    <a:pt x="636" y="562"/>
                  </a:lnTo>
                  <a:lnTo>
                    <a:pt x="634" y="563"/>
                  </a:lnTo>
                  <a:lnTo>
                    <a:pt x="630" y="564"/>
                  </a:lnTo>
                  <a:lnTo>
                    <a:pt x="623" y="564"/>
                  </a:lnTo>
                  <a:lnTo>
                    <a:pt x="619" y="563"/>
                  </a:lnTo>
                  <a:lnTo>
                    <a:pt x="617" y="562"/>
                  </a:lnTo>
                  <a:lnTo>
                    <a:pt x="614" y="561"/>
                  </a:lnTo>
                  <a:lnTo>
                    <a:pt x="612" y="557"/>
                  </a:lnTo>
                  <a:lnTo>
                    <a:pt x="611" y="555"/>
                  </a:lnTo>
                  <a:lnTo>
                    <a:pt x="609" y="555"/>
                  </a:lnTo>
                  <a:lnTo>
                    <a:pt x="606" y="555"/>
                  </a:lnTo>
                  <a:lnTo>
                    <a:pt x="601" y="556"/>
                  </a:lnTo>
                  <a:lnTo>
                    <a:pt x="600" y="557"/>
                  </a:lnTo>
                  <a:lnTo>
                    <a:pt x="597" y="557"/>
                  </a:lnTo>
                  <a:lnTo>
                    <a:pt x="596" y="557"/>
                  </a:lnTo>
                  <a:lnTo>
                    <a:pt x="591" y="555"/>
                  </a:lnTo>
                  <a:lnTo>
                    <a:pt x="587" y="551"/>
                  </a:lnTo>
                  <a:lnTo>
                    <a:pt x="583" y="547"/>
                  </a:lnTo>
                  <a:lnTo>
                    <a:pt x="579" y="544"/>
                  </a:lnTo>
                  <a:lnTo>
                    <a:pt x="575" y="540"/>
                  </a:lnTo>
                  <a:lnTo>
                    <a:pt x="572" y="535"/>
                  </a:lnTo>
                  <a:lnTo>
                    <a:pt x="572" y="533"/>
                  </a:lnTo>
                  <a:lnTo>
                    <a:pt x="576" y="534"/>
                  </a:lnTo>
                  <a:lnTo>
                    <a:pt x="576" y="533"/>
                  </a:lnTo>
                  <a:lnTo>
                    <a:pt x="572" y="531"/>
                  </a:lnTo>
                  <a:lnTo>
                    <a:pt x="571" y="529"/>
                  </a:lnTo>
                  <a:lnTo>
                    <a:pt x="570" y="524"/>
                  </a:lnTo>
                  <a:lnTo>
                    <a:pt x="571" y="524"/>
                  </a:lnTo>
                  <a:lnTo>
                    <a:pt x="573" y="527"/>
                  </a:lnTo>
                  <a:lnTo>
                    <a:pt x="575" y="529"/>
                  </a:lnTo>
                  <a:lnTo>
                    <a:pt x="576" y="531"/>
                  </a:lnTo>
                  <a:lnTo>
                    <a:pt x="577" y="528"/>
                  </a:lnTo>
                  <a:lnTo>
                    <a:pt x="578" y="527"/>
                  </a:lnTo>
                  <a:lnTo>
                    <a:pt x="579" y="527"/>
                  </a:lnTo>
                  <a:lnTo>
                    <a:pt x="579" y="529"/>
                  </a:lnTo>
                  <a:lnTo>
                    <a:pt x="581" y="532"/>
                  </a:lnTo>
                  <a:lnTo>
                    <a:pt x="578" y="538"/>
                  </a:lnTo>
                  <a:lnTo>
                    <a:pt x="581" y="540"/>
                  </a:lnTo>
                  <a:lnTo>
                    <a:pt x="582" y="538"/>
                  </a:lnTo>
                  <a:lnTo>
                    <a:pt x="583" y="534"/>
                  </a:lnTo>
                  <a:lnTo>
                    <a:pt x="584" y="533"/>
                  </a:lnTo>
                  <a:lnTo>
                    <a:pt x="585" y="534"/>
                  </a:lnTo>
                  <a:lnTo>
                    <a:pt x="585" y="533"/>
                  </a:lnTo>
                  <a:lnTo>
                    <a:pt x="587" y="531"/>
                  </a:lnTo>
                  <a:lnTo>
                    <a:pt x="588" y="528"/>
                  </a:lnTo>
                  <a:lnTo>
                    <a:pt x="589" y="531"/>
                  </a:lnTo>
                  <a:lnTo>
                    <a:pt x="590" y="534"/>
                  </a:lnTo>
                  <a:lnTo>
                    <a:pt x="590" y="537"/>
                  </a:lnTo>
                  <a:lnTo>
                    <a:pt x="591" y="538"/>
                  </a:lnTo>
                  <a:lnTo>
                    <a:pt x="593" y="535"/>
                  </a:lnTo>
                  <a:lnTo>
                    <a:pt x="593" y="532"/>
                  </a:lnTo>
                  <a:lnTo>
                    <a:pt x="594" y="528"/>
                  </a:lnTo>
                  <a:lnTo>
                    <a:pt x="595" y="531"/>
                  </a:lnTo>
                  <a:lnTo>
                    <a:pt x="595" y="533"/>
                  </a:lnTo>
                  <a:lnTo>
                    <a:pt x="596" y="528"/>
                  </a:lnTo>
                  <a:lnTo>
                    <a:pt x="597" y="527"/>
                  </a:lnTo>
                  <a:lnTo>
                    <a:pt x="597" y="534"/>
                  </a:lnTo>
                  <a:lnTo>
                    <a:pt x="597" y="538"/>
                  </a:lnTo>
                  <a:lnTo>
                    <a:pt x="600" y="537"/>
                  </a:lnTo>
                  <a:lnTo>
                    <a:pt x="603" y="531"/>
                  </a:lnTo>
                  <a:lnTo>
                    <a:pt x="606" y="528"/>
                  </a:lnTo>
                  <a:lnTo>
                    <a:pt x="606" y="534"/>
                  </a:lnTo>
                  <a:lnTo>
                    <a:pt x="605" y="539"/>
                  </a:lnTo>
                  <a:lnTo>
                    <a:pt x="606" y="537"/>
                  </a:lnTo>
                  <a:lnTo>
                    <a:pt x="608" y="533"/>
                  </a:lnTo>
                  <a:lnTo>
                    <a:pt x="608" y="529"/>
                  </a:lnTo>
                  <a:lnTo>
                    <a:pt x="612" y="526"/>
                  </a:lnTo>
                  <a:lnTo>
                    <a:pt x="611" y="534"/>
                  </a:lnTo>
                  <a:lnTo>
                    <a:pt x="609" y="538"/>
                  </a:lnTo>
                  <a:lnTo>
                    <a:pt x="612" y="535"/>
                  </a:lnTo>
                  <a:lnTo>
                    <a:pt x="614" y="532"/>
                  </a:lnTo>
                  <a:lnTo>
                    <a:pt x="613" y="538"/>
                  </a:lnTo>
                  <a:lnTo>
                    <a:pt x="613" y="540"/>
                  </a:lnTo>
                  <a:lnTo>
                    <a:pt x="615" y="540"/>
                  </a:lnTo>
                  <a:lnTo>
                    <a:pt x="615" y="537"/>
                  </a:lnTo>
                  <a:lnTo>
                    <a:pt x="617" y="535"/>
                  </a:lnTo>
                  <a:lnTo>
                    <a:pt x="620" y="534"/>
                  </a:lnTo>
                  <a:lnTo>
                    <a:pt x="621" y="532"/>
                  </a:lnTo>
                  <a:lnTo>
                    <a:pt x="621" y="535"/>
                  </a:lnTo>
                  <a:lnTo>
                    <a:pt x="619" y="539"/>
                  </a:lnTo>
                  <a:lnTo>
                    <a:pt x="619" y="541"/>
                  </a:lnTo>
                  <a:lnTo>
                    <a:pt x="623" y="538"/>
                  </a:lnTo>
                  <a:lnTo>
                    <a:pt x="624" y="537"/>
                  </a:lnTo>
                  <a:lnTo>
                    <a:pt x="624" y="535"/>
                  </a:lnTo>
                  <a:lnTo>
                    <a:pt x="625" y="543"/>
                  </a:lnTo>
                  <a:lnTo>
                    <a:pt x="628" y="545"/>
                  </a:lnTo>
                  <a:lnTo>
                    <a:pt x="629" y="547"/>
                  </a:lnTo>
                  <a:lnTo>
                    <a:pt x="632" y="545"/>
                  </a:lnTo>
                  <a:lnTo>
                    <a:pt x="634" y="544"/>
                  </a:lnTo>
                  <a:lnTo>
                    <a:pt x="634" y="545"/>
                  </a:lnTo>
                  <a:lnTo>
                    <a:pt x="634" y="549"/>
                  </a:lnTo>
                  <a:lnTo>
                    <a:pt x="634" y="552"/>
                  </a:lnTo>
                  <a:lnTo>
                    <a:pt x="635" y="556"/>
                  </a:lnTo>
                  <a:lnTo>
                    <a:pt x="635" y="555"/>
                  </a:lnTo>
                  <a:lnTo>
                    <a:pt x="636" y="551"/>
                  </a:lnTo>
                  <a:lnTo>
                    <a:pt x="636" y="549"/>
                  </a:lnTo>
                  <a:lnTo>
                    <a:pt x="637" y="545"/>
                  </a:lnTo>
                  <a:lnTo>
                    <a:pt x="638" y="547"/>
                  </a:lnTo>
                  <a:lnTo>
                    <a:pt x="638" y="549"/>
                  </a:lnTo>
                  <a:lnTo>
                    <a:pt x="641" y="546"/>
                  </a:lnTo>
                  <a:lnTo>
                    <a:pt x="641" y="543"/>
                  </a:lnTo>
                  <a:lnTo>
                    <a:pt x="642" y="538"/>
                  </a:lnTo>
                  <a:lnTo>
                    <a:pt x="642" y="545"/>
                  </a:lnTo>
                  <a:lnTo>
                    <a:pt x="642" y="550"/>
                  </a:lnTo>
                  <a:lnTo>
                    <a:pt x="642" y="553"/>
                  </a:lnTo>
                  <a:lnTo>
                    <a:pt x="644" y="556"/>
                  </a:lnTo>
                  <a:lnTo>
                    <a:pt x="646" y="556"/>
                  </a:lnTo>
                  <a:lnTo>
                    <a:pt x="647" y="556"/>
                  </a:lnTo>
                  <a:lnTo>
                    <a:pt x="649" y="556"/>
                  </a:lnTo>
                  <a:lnTo>
                    <a:pt x="650" y="552"/>
                  </a:lnTo>
                  <a:lnTo>
                    <a:pt x="650" y="549"/>
                  </a:lnTo>
                  <a:lnTo>
                    <a:pt x="650" y="545"/>
                  </a:lnTo>
                  <a:lnTo>
                    <a:pt x="652" y="549"/>
                  </a:lnTo>
                  <a:lnTo>
                    <a:pt x="652" y="551"/>
                  </a:lnTo>
                  <a:lnTo>
                    <a:pt x="653" y="549"/>
                  </a:lnTo>
                  <a:lnTo>
                    <a:pt x="654" y="549"/>
                  </a:lnTo>
                  <a:lnTo>
                    <a:pt x="655" y="553"/>
                  </a:lnTo>
                  <a:lnTo>
                    <a:pt x="655" y="555"/>
                  </a:lnTo>
                  <a:lnTo>
                    <a:pt x="656" y="556"/>
                  </a:lnTo>
                  <a:lnTo>
                    <a:pt x="658" y="552"/>
                  </a:lnTo>
                  <a:lnTo>
                    <a:pt x="658" y="550"/>
                  </a:lnTo>
                  <a:lnTo>
                    <a:pt x="664" y="553"/>
                  </a:lnTo>
                  <a:lnTo>
                    <a:pt x="662" y="551"/>
                  </a:lnTo>
                  <a:lnTo>
                    <a:pt x="660" y="550"/>
                  </a:lnTo>
                  <a:lnTo>
                    <a:pt x="662" y="547"/>
                  </a:lnTo>
                  <a:lnTo>
                    <a:pt x="660" y="547"/>
                  </a:lnTo>
                  <a:lnTo>
                    <a:pt x="656" y="547"/>
                  </a:lnTo>
                  <a:lnTo>
                    <a:pt x="654" y="546"/>
                  </a:lnTo>
                  <a:lnTo>
                    <a:pt x="659" y="545"/>
                  </a:lnTo>
                  <a:lnTo>
                    <a:pt x="658" y="544"/>
                  </a:lnTo>
                  <a:lnTo>
                    <a:pt x="654" y="544"/>
                  </a:lnTo>
                  <a:lnTo>
                    <a:pt x="650" y="544"/>
                  </a:lnTo>
                  <a:lnTo>
                    <a:pt x="649" y="541"/>
                  </a:lnTo>
                  <a:lnTo>
                    <a:pt x="652" y="540"/>
                  </a:lnTo>
                  <a:lnTo>
                    <a:pt x="650" y="539"/>
                  </a:lnTo>
                  <a:lnTo>
                    <a:pt x="649" y="538"/>
                  </a:lnTo>
                  <a:lnTo>
                    <a:pt x="647" y="537"/>
                  </a:lnTo>
                  <a:lnTo>
                    <a:pt x="642" y="534"/>
                  </a:lnTo>
                  <a:lnTo>
                    <a:pt x="643" y="533"/>
                  </a:lnTo>
                  <a:lnTo>
                    <a:pt x="642" y="531"/>
                  </a:lnTo>
                  <a:lnTo>
                    <a:pt x="640" y="529"/>
                  </a:lnTo>
                  <a:lnTo>
                    <a:pt x="638" y="527"/>
                  </a:lnTo>
                  <a:lnTo>
                    <a:pt x="636" y="526"/>
                  </a:lnTo>
                  <a:lnTo>
                    <a:pt x="634" y="522"/>
                  </a:lnTo>
                  <a:lnTo>
                    <a:pt x="634" y="520"/>
                  </a:lnTo>
                  <a:lnTo>
                    <a:pt x="636" y="518"/>
                  </a:lnTo>
                  <a:lnTo>
                    <a:pt x="637" y="516"/>
                  </a:lnTo>
                  <a:lnTo>
                    <a:pt x="638" y="518"/>
                  </a:lnTo>
                  <a:lnTo>
                    <a:pt x="638" y="522"/>
                  </a:lnTo>
                  <a:lnTo>
                    <a:pt x="640" y="524"/>
                  </a:lnTo>
                  <a:lnTo>
                    <a:pt x="641" y="527"/>
                  </a:lnTo>
                  <a:lnTo>
                    <a:pt x="642" y="526"/>
                  </a:lnTo>
                  <a:lnTo>
                    <a:pt x="643" y="522"/>
                  </a:lnTo>
                  <a:lnTo>
                    <a:pt x="644" y="523"/>
                  </a:lnTo>
                  <a:lnTo>
                    <a:pt x="646" y="522"/>
                  </a:lnTo>
                  <a:lnTo>
                    <a:pt x="646" y="521"/>
                  </a:lnTo>
                  <a:lnTo>
                    <a:pt x="646" y="518"/>
                  </a:lnTo>
                  <a:lnTo>
                    <a:pt x="644" y="517"/>
                  </a:lnTo>
                  <a:lnTo>
                    <a:pt x="642" y="516"/>
                  </a:lnTo>
                  <a:lnTo>
                    <a:pt x="638" y="514"/>
                  </a:lnTo>
                  <a:lnTo>
                    <a:pt x="642" y="512"/>
                  </a:lnTo>
                  <a:lnTo>
                    <a:pt x="643" y="511"/>
                  </a:lnTo>
                  <a:lnTo>
                    <a:pt x="641" y="511"/>
                  </a:lnTo>
                  <a:lnTo>
                    <a:pt x="637" y="511"/>
                  </a:lnTo>
                  <a:lnTo>
                    <a:pt x="632" y="511"/>
                  </a:lnTo>
                  <a:lnTo>
                    <a:pt x="628" y="508"/>
                  </a:lnTo>
                  <a:lnTo>
                    <a:pt x="621" y="505"/>
                  </a:lnTo>
                  <a:lnTo>
                    <a:pt x="618" y="503"/>
                  </a:lnTo>
                  <a:lnTo>
                    <a:pt x="611" y="499"/>
                  </a:lnTo>
                  <a:lnTo>
                    <a:pt x="606" y="497"/>
                  </a:lnTo>
                  <a:lnTo>
                    <a:pt x="601" y="496"/>
                  </a:lnTo>
                  <a:lnTo>
                    <a:pt x="597" y="496"/>
                  </a:lnTo>
                  <a:lnTo>
                    <a:pt x="593" y="493"/>
                  </a:lnTo>
                  <a:lnTo>
                    <a:pt x="589" y="493"/>
                  </a:lnTo>
                  <a:lnTo>
                    <a:pt x="589" y="491"/>
                  </a:lnTo>
                  <a:lnTo>
                    <a:pt x="590" y="490"/>
                  </a:lnTo>
                  <a:lnTo>
                    <a:pt x="593" y="488"/>
                  </a:lnTo>
                  <a:lnTo>
                    <a:pt x="588" y="487"/>
                  </a:lnTo>
                  <a:lnTo>
                    <a:pt x="584" y="487"/>
                  </a:lnTo>
                  <a:lnTo>
                    <a:pt x="581" y="486"/>
                  </a:lnTo>
                  <a:lnTo>
                    <a:pt x="578" y="485"/>
                  </a:lnTo>
                  <a:lnTo>
                    <a:pt x="577" y="482"/>
                  </a:lnTo>
                  <a:lnTo>
                    <a:pt x="577" y="478"/>
                  </a:lnTo>
                  <a:lnTo>
                    <a:pt x="578" y="474"/>
                  </a:lnTo>
                  <a:lnTo>
                    <a:pt x="581" y="470"/>
                  </a:lnTo>
                  <a:lnTo>
                    <a:pt x="583" y="467"/>
                  </a:lnTo>
                  <a:lnTo>
                    <a:pt x="583" y="469"/>
                  </a:lnTo>
                  <a:lnTo>
                    <a:pt x="583" y="472"/>
                  </a:lnTo>
                  <a:lnTo>
                    <a:pt x="585" y="473"/>
                  </a:lnTo>
                  <a:lnTo>
                    <a:pt x="588" y="473"/>
                  </a:lnTo>
                  <a:lnTo>
                    <a:pt x="588" y="474"/>
                  </a:lnTo>
                  <a:lnTo>
                    <a:pt x="590" y="475"/>
                  </a:lnTo>
                  <a:lnTo>
                    <a:pt x="591" y="475"/>
                  </a:lnTo>
                  <a:lnTo>
                    <a:pt x="593" y="472"/>
                  </a:lnTo>
                  <a:lnTo>
                    <a:pt x="594" y="469"/>
                  </a:lnTo>
                  <a:lnTo>
                    <a:pt x="593" y="475"/>
                  </a:lnTo>
                  <a:lnTo>
                    <a:pt x="595" y="478"/>
                  </a:lnTo>
                  <a:lnTo>
                    <a:pt x="596" y="476"/>
                  </a:lnTo>
                  <a:lnTo>
                    <a:pt x="596" y="473"/>
                  </a:lnTo>
                  <a:lnTo>
                    <a:pt x="599" y="469"/>
                  </a:lnTo>
                  <a:lnTo>
                    <a:pt x="599" y="473"/>
                  </a:lnTo>
                  <a:lnTo>
                    <a:pt x="601" y="475"/>
                  </a:lnTo>
                  <a:lnTo>
                    <a:pt x="602" y="472"/>
                  </a:lnTo>
                  <a:lnTo>
                    <a:pt x="603" y="470"/>
                  </a:lnTo>
                  <a:lnTo>
                    <a:pt x="602" y="475"/>
                  </a:lnTo>
                  <a:lnTo>
                    <a:pt x="602" y="480"/>
                  </a:lnTo>
                  <a:lnTo>
                    <a:pt x="605" y="481"/>
                  </a:lnTo>
                  <a:lnTo>
                    <a:pt x="607" y="482"/>
                  </a:lnTo>
                  <a:lnTo>
                    <a:pt x="607" y="478"/>
                  </a:lnTo>
                  <a:lnTo>
                    <a:pt x="607" y="475"/>
                  </a:lnTo>
                  <a:lnTo>
                    <a:pt x="608" y="473"/>
                  </a:lnTo>
                  <a:lnTo>
                    <a:pt x="609" y="474"/>
                  </a:lnTo>
                  <a:lnTo>
                    <a:pt x="609" y="479"/>
                  </a:lnTo>
                  <a:lnTo>
                    <a:pt x="612" y="478"/>
                  </a:lnTo>
                  <a:lnTo>
                    <a:pt x="613" y="475"/>
                  </a:lnTo>
                  <a:lnTo>
                    <a:pt x="614" y="478"/>
                  </a:lnTo>
                  <a:lnTo>
                    <a:pt x="615" y="474"/>
                  </a:lnTo>
                  <a:lnTo>
                    <a:pt x="617" y="473"/>
                  </a:lnTo>
                  <a:lnTo>
                    <a:pt x="615" y="479"/>
                  </a:lnTo>
                  <a:lnTo>
                    <a:pt x="618" y="478"/>
                  </a:lnTo>
                  <a:lnTo>
                    <a:pt x="620" y="480"/>
                  </a:lnTo>
                  <a:lnTo>
                    <a:pt x="621" y="478"/>
                  </a:lnTo>
                  <a:lnTo>
                    <a:pt x="621" y="484"/>
                  </a:lnTo>
                  <a:lnTo>
                    <a:pt x="620" y="487"/>
                  </a:lnTo>
                  <a:lnTo>
                    <a:pt x="624" y="486"/>
                  </a:lnTo>
                  <a:lnTo>
                    <a:pt x="625" y="485"/>
                  </a:lnTo>
                  <a:lnTo>
                    <a:pt x="626" y="484"/>
                  </a:lnTo>
                  <a:lnTo>
                    <a:pt x="628" y="478"/>
                  </a:lnTo>
                  <a:lnTo>
                    <a:pt x="629" y="476"/>
                  </a:lnTo>
                  <a:lnTo>
                    <a:pt x="632" y="479"/>
                  </a:lnTo>
                  <a:lnTo>
                    <a:pt x="634" y="478"/>
                  </a:lnTo>
                  <a:lnTo>
                    <a:pt x="634" y="475"/>
                  </a:lnTo>
                  <a:lnTo>
                    <a:pt x="637" y="478"/>
                  </a:lnTo>
                  <a:lnTo>
                    <a:pt x="636" y="480"/>
                  </a:lnTo>
                  <a:lnTo>
                    <a:pt x="637" y="479"/>
                  </a:lnTo>
                  <a:lnTo>
                    <a:pt x="641" y="479"/>
                  </a:lnTo>
                  <a:lnTo>
                    <a:pt x="646" y="479"/>
                  </a:lnTo>
                  <a:lnTo>
                    <a:pt x="644" y="478"/>
                  </a:lnTo>
                  <a:lnTo>
                    <a:pt x="640" y="475"/>
                  </a:lnTo>
                  <a:lnTo>
                    <a:pt x="634" y="472"/>
                  </a:lnTo>
                  <a:lnTo>
                    <a:pt x="634" y="469"/>
                  </a:lnTo>
                  <a:lnTo>
                    <a:pt x="631" y="469"/>
                  </a:lnTo>
                  <a:lnTo>
                    <a:pt x="626" y="469"/>
                  </a:lnTo>
                  <a:lnTo>
                    <a:pt x="624" y="468"/>
                  </a:lnTo>
                  <a:lnTo>
                    <a:pt x="623" y="466"/>
                  </a:lnTo>
                  <a:lnTo>
                    <a:pt x="628" y="466"/>
                  </a:lnTo>
                  <a:lnTo>
                    <a:pt x="631" y="467"/>
                  </a:lnTo>
                  <a:lnTo>
                    <a:pt x="629" y="464"/>
                  </a:lnTo>
                  <a:lnTo>
                    <a:pt x="623" y="462"/>
                  </a:lnTo>
                  <a:lnTo>
                    <a:pt x="621" y="461"/>
                  </a:lnTo>
                  <a:lnTo>
                    <a:pt x="626" y="460"/>
                  </a:lnTo>
                  <a:lnTo>
                    <a:pt x="621" y="460"/>
                  </a:lnTo>
                  <a:lnTo>
                    <a:pt x="615" y="458"/>
                  </a:lnTo>
                  <a:lnTo>
                    <a:pt x="615" y="456"/>
                  </a:lnTo>
                  <a:lnTo>
                    <a:pt x="613" y="456"/>
                  </a:lnTo>
                  <a:lnTo>
                    <a:pt x="609" y="455"/>
                  </a:lnTo>
                  <a:lnTo>
                    <a:pt x="612" y="452"/>
                  </a:lnTo>
                  <a:lnTo>
                    <a:pt x="609" y="452"/>
                  </a:lnTo>
                  <a:lnTo>
                    <a:pt x="603" y="452"/>
                  </a:lnTo>
                  <a:lnTo>
                    <a:pt x="602" y="450"/>
                  </a:lnTo>
                  <a:lnTo>
                    <a:pt x="601" y="449"/>
                  </a:lnTo>
                  <a:lnTo>
                    <a:pt x="599" y="450"/>
                  </a:lnTo>
                  <a:lnTo>
                    <a:pt x="595" y="450"/>
                  </a:lnTo>
                  <a:lnTo>
                    <a:pt x="594" y="449"/>
                  </a:lnTo>
                  <a:lnTo>
                    <a:pt x="594" y="445"/>
                  </a:lnTo>
                  <a:lnTo>
                    <a:pt x="591" y="446"/>
                  </a:lnTo>
                  <a:lnTo>
                    <a:pt x="590" y="444"/>
                  </a:lnTo>
                  <a:lnTo>
                    <a:pt x="587" y="444"/>
                  </a:lnTo>
                  <a:lnTo>
                    <a:pt x="583" y="445"/>
                  </a:lnTo>
                  <a:lnTo>
                    <a:pt x="581" y="445"/>
                  </a:lnTo>
                  <a:lnTo>
                    <a:pt x="579" y="444"/>
                  </a:lnTo>
                  <a:lnTo>
                    <a:pt x="571" y="440"/>
                  </a:lnTo>
                  <a:lnTo>
                    <a:pt x="566" y="439"/>
                  </a:lnTo>
                  <a:lnTo>
                    <a:pt x="562" y="437"/>
                  </a:lnTo>
                  <a:lnTo>
                    <a:pt x="560" y="437"/>
                  </a:lnTo>
                  <a:lnTo>
                    <a:pt x="558" y="437"/>
                  </a:lnTo>
                  <a:lnTo>
                    <a:pt x="553" y="436"/>
                  </a:lnTo>
                  <a:lnTo>
                    <a:pt x="549" y="434"/>
                  </a:lnTo>
                  <a:lnTo>
                    <a:pt x="547" y="433"/>
                  </a:lnTo>
                  <a:lnTo>
                    <a:pt x="543" y="433"/>
                  </a:lnTo>
                  <a:lnTo>
                    <a:pt x="541" y="432"/>
                  </a:lnTo>
                  <a:lnTo>
                    <a:pt x="540" y="434"/>
                  </a:lnTo>
                  <a:lnTo>
                    <a:pt x="537" y="431"/>
                  </a:lnTo>
                  <a:lnTo>
                    <a:pt x="536" y="431"/>
                  </a:lnTo>
                  <a:lnTo>
                    <a:pt x="534" y="431"/>
                  </a:lnTo>
                  <a:lnTo>
                    <a:pt x="529" y="433"/>
                  </a:lnTo>
                  <a:lnTo>
                    <a:pt x="529" y="432"/>
                  </a:lnTo>
                  <a:lnTo>
                    <a:pt x="525" y="431"/>
                  </a:lnTo>
                  <a:lnTo>
                    <a:pt x="523" y="430"/>
                  </a:lnTo>
                  <a:lnTo>
                    <a:pt x="520" y="431"/>
                  </a:lnTo>
                  <a:lnTo>
                    <a:pt x="519" y="428"/>
                  </a:lnTo>
                  <a:lnTo>
                    <a:pt x="514" y="427"/>
                  </a:lnTo>
                  <a:lnTo>
                    <a:pt x="512" y="426"/>
                  </a:lnTo>
                  <a:lnTo>
                    <a:pt x="511" y="426"/>
                  </a:lnTo>
                  <a:lnTo>
                    <a:pt x="510" y="425"/>
                  </a:lnTo>
                  <a:lnTo>
                    <a:pt x="511" y="424"/>
                  </a:lnTo>
                  <a:lnTo>
                    <a:pt x="513" y="425"/>
                  </a:lnTo>
                  <a:lnTo>
                    <a:pt x="516" y="426"/>
                  </a:lnTo>
                  <a:lnTo>
                    <a:pt x="518" y="428"/>
                  </a:lnTo>
                  <a:lnTo>
                    <a:pt x="522" y="430"/>
                  </a:lnTo>
                  <a:lnTo>
                    <a:pt x="525" y="430"/>
                  </a:lnTo>
                  <a:lnTo>
                    <a:pt x="525" y="427"/>
                  </a:lnTo>
                  <a:lnTo>
                    <a:pt x="528" y="428"/>
                  </a:lnTo>
                  <a:lnTo>
                    <a:pt x="528" y="431"/>
                  </a:lnTo>
                  <a:lnTo>
                    <a:pt x="529" y="431"/>
                  </a:lnTo>
                  <a:lnTo>
                    <a:pt x="530" y="431"/>
                  </a:lnTo>
                  <a:lnTo>
                    <a:pt x="532" y="427"/>
                  </a:lnTo>
                  <a:lnTo>
                    <a:pt x="534" y="426"/>
                  </a:lnTo>
                  <a:lnTo>
                    <a:pt x="535" y="430"/>
                  </a:lnTo>
                  <a:lnTo>
                    <a:pt x="536" y="430"/>
                  </a:lnTo>
                  <a:lnTo>
                    <a:pt x="538" y="430"/>
                  </a:lnTo>
                  <a:lnTo>
                    <a:pt x="538" y="428"/>
                  </a:lnTo>
                  <a:lnTo>
                    <a:pt x="540" y="431"/>
                  </a:lnTo>
                  <a:lnTo>
                    <a:pt x="541" y="431"/>
                  </a:lnTo>
                  <a:lnTo>
                    <a:pt x="542" y="430"/>
                  </a:lnTo>
                  <a:lnTo>
                    <a:pt x="543" y="431"/>
                  </a:lnTo>
                  <a:lnTo>
                    <a:pt x="544" y="431"/>
                  </a:lnTo>
                  <a:lnTo>
                    <a:pt x="548" y="432"/>
                  </a:lnTo>
                  <a:lnTo>
                    <a:pt x="549" y="433"/>
                  </a:lnTo>
                  <a:lnTo>
                    <a:pt x="550" y="432"/>
                  </a:lnTo>
                  <a:lnTo>
                    <a:pt x="552" y="431"/>
                  </a:lnTo>
                  <a:lnTo>
                    <a:pt x="553" y="430"/>
                  </a:lnTo>
                  <a:lnTo>
                    <a:pt x="552" y="426"/>
                  </a:lnTo>
                  <a:lnTo>
                    <a:pt x="554" y="428"/>
                  </a:lnTo>
                  <a:lnTo>
                    <a:pt x="556" y="431"/>
                  </a:lnTo>
                  <a:lnTo>
                    <a:pt x="558" y="434"/>
                  </a:lnTo>
                  <a:lnTo>
                    <a:pt x="559" y="434"/>
                  </a:lnTo>
                  <a:lnTo>
                    <a:pt x="559" y="433"/>
                  </a:lnTo>
                  <a:lnTo>
                    <a:pt x="561" y="432"/>
                  </a:lnTo>
                  <a:lnTo>
                    <a:pt x="562" y="434"/>
                  </a:lnTo>
                  <a:lnTo>
                    <a:pt x="562" y="436"/>
                  </a:lnTo>
                  <a:lnTo>
                    <a:pt x="565" y="434"/>
                  </a:lnTo>
                  <a:lnTo>
                    <a:pt x="566" y="432"/>
                  </a:lnTo>
                  <a:lnTo>
                    <a:pt x="565" y="436"/>
                  </a:lnTo>
                  <a:lnTo>
                    <a:pt x="566" y="437"/>
                  </a:lnTo>
                  <a:lnTo>
                    <a:pt x="570" y="437"/>
                  </a:lnTo>
                  <a:lnTo>
                    <a:pt x="572" y="436"/>
                  </a:lnTo>
                  <a:lnTo>
                    <a:pt x="572" y="434"/>
                  </a:lnTo>
                  <a:lnTo>
                    <a:pt x="573" y="434"/>
                  </a:lnTo>
                  <a:lnTo>
                    <a:pt x="577" y="439"/>
                  </a:lnTo>
                  <a:lnTo>
                    <a:pt x="577" y="438"/>
                  </a:lnTo>
                  <a:lnTo>
                    <a:pt x="576" y="436"/>
                  </a:lnTo>
                  <a:lnTo>
                    <a:pt x="575" y="433"/>
                  </a:lnTo>
                  <a:lnTo>
                    <a:pt x="575" y="432"/>
                  </a:lnTo>
                  <a:lnTo>
                    <a:pt x="575" y="433"/>
                  </a:lnTo>
                  <a:lnTo>
                    <a:pt x="577" y="433"/>
                  </a:lnTo>
                  <a:lnTo>
                    <a:pt x="577" y="431"/>
                  </a:lnTo>
                  <a:lnTo>
                    <a:pt x="578" y="430"/>
                  </a:lnTo>
                  <a:lnTo>
                    <a:pt x="579" y="431"/>
                  </a:lnTo>
                  <a:lnTo>
                    <a:pt x="578" y="436"/>
                  </a:lnTo>
                  <a:lnTo>
                    <a:pt x="579" y="437"/>
                  </a:lnTo>
                  <a:lnTo>
                    <a:pt x="581" y="437"/>
                  </a:lnTo>
                  <a:lnTo>
                    <a:pt x="581" y="439"/>
                  </a:lnTo>
                  <a:lnTo>
                    <a:pt x="582" y="442"/>
                  </a:lnTo>
                  <a:lnTo>
                    <a:pt x="583" y="443"/>
                  </a:lnTo>
                  <a:lnTo>
                    <a:pt x="584" y="440"/>
                  </a:lnTo>
                  <a:lnTo>
                    <a:pt x="584" y="437"/>
                  </a:lnTo>
                  <a:lnTo>
                    <a:pt x="584" y="433"/>
                  </a:lnTo>
                  <a:lnTo>
                    <a:pt x="585" y="433"/>
                  </a:lnTo>
                  <a:lnTo>
                    <a:pt x="587" y="442"/>
                  </a:lnTo>
                  <a:lnTo>
                    <a:pt x="588" y="440"/>
                  </a:lnTo>
                  <a:lnTo>
                    <a:pt x="588" y="438"/>
                  </a:lnTo>
                  <a:lnTo>
                    <a:pt x="588" y="436"/>
                  </a:lnTo>
                  <a:lnTo>
                    <a:pt x="590" y="434"/>
                  </a:lnTo>
                  <a:lnTo>
                    <a:pt x="590" y="432"/>
                  </a:lnTo>
                  <a:lnTo>
                    <a:pt x="590" y="431"/>
                  </a:lnTo>
                  <a:lnTo>
                    <a:pt x="591" y="436"/>
                  </a:lnTo>
                  <a:lnTo>
                    <a:pt x="591" y="439"/>
                  </a:lnTo>
                  <a:lnTo>
                    <a:pt x="594" y="440"/>
                  </a:lnTo>
                  <a:lnTo>
                    <a:pt x="596" y="440"/>
                  </a:lnTo>
                  <a:lnTo>
                    <a:pt x="597" y="436"/>
                  </a:lnTo>
                  <a:lnTo>
                    <a:pt x="599" y="440"/>
                  </a:lnTo>
                  <a:lnTo>
                    <a:pt x="599" y="444"/>
                  </a:lnTo>
                  <a:lnTo>
                    <a:pt x="597" y="445"/>
                  </a:lnTo>
                  <a:lnTo>
                    <a:pt x="600" y="446"/>
                  </a:lnTo>
                  <a:lnTo>
                    <a:pt x="601" y="446"/>
                  </a:lnTo>
                  <a:lnTo>
                    <a:pt x="601" y="444"/>
                  </a:lnTo>
                  <a:lnTo>
                    <a:pt x="602" y="443"/>
                  </a:lnTo>
                  <a:lnTo>
                    <a:pt x="605" y="440"/>
                  </a:lnTo>
                  <a:lnTo>
                    <a:pt x="605" y="439"/>
                  </a:lnTo>
                  <a:lnTo>
                    <a:pt x="605" y="436"/>
                  </a:lnTo>
                  <a:lnTo>
                    <a:pt x="606" y="433"/>
                  </a:lnTo>
                  <a:lnTo>
                    <a:pt x="607" y="436"/>
                  </a:lnTo>
                  <a:lnTo>
                    <a:pt x="608" y="438"/>
                  </a:lnTo>
                  <a:lnTo>
                    <a:pt x="609" y="442"/>
                  </a:lnTo>
                  <a:lnTo>
                    <a:pt x="609" y="440"/>
                  </a:lnTo>
                  <a:lnTo>
                    <a:pt x="611" y="438"/>
                  </a:lnTo>
                  <a:lnTo>
                    <a:pt x="612" y="438"/>
                  </a:lnTo>
                  <a:lnTo>
                    <a:pt x="613" y="440"/>
                  </a:lnTo>
                  <a:lnTo>
                    <a:pt x="613" y="443"/>
                  </a:lnTo>
                  <a:lnTo>
                    <a:pt x="613" y="445"/>
                  </a:lnTo>
                  <a:lnTo>
                    <a:pt x="614" y="446"/>
                  </a:lnTo>
                  <a:lnTo>
                    <a:pt x="617" y="443"/>
                  </a:lnTo>
                  <a:lnTo>
                    <a:pt x="618" y="442"/>
                  </a:lnTo>
                  <a:lnTo>
                    <a:pt x="619" y="443"/>
                  </a:lnTo>
                  <a:lnTo>
                    <a:pt x="620" y="443"/>
                  </a:lnTo>
                  <a:lnTo>
                    <a:pt x="620" y="440"/>
                  </a:lnTo>
                  <a:lnTo>
                    <a:pt x="621" y="436"/>
                  </a:lnTo>
                  <a:lnTo>
                    <a:pt x="624" y="434"/>
                  </a:lnTo>
                  <a:lnTo>
                    <a:pt x="625" y="436"/>
                  </a:lnTo>
                  <a:lnTo>
                    <a:pt x="628" y="436"/>
                  </a:lnTo>
                  <a:lnTo>
                    <a:pt x="628" y="438"/>
                  </a:lnTo>
                  <a:lnTo>
                    <a:pt x="629" y="442"/>
                  </a:lnTo>
                  <a:lnTo>
                    <a:pt x="631" y="440"/>
                  </a:lnTo>
                  <a:lnTo>
                    <a:pt x="631" y="438"/>
                  </a:lnTo>
                  <a:lnTo>
                    <a:pt x="638" y="440"/>
                  </a:lnTo>
                  <a:lnTo>
                    <a:pt x="637" y="439"/>
                  </a:lnTo>
                  <a:lnTo>
                    <a:pt x="634" y="437"/>
                  </a:lnTo>
                  <a:lnTo>
                    <a:pt x="631" y="437"/>
                  </a:lnTo>
                  <a:lnTo>
                    <a:pt x="635" y="434"/>
                  </a:lnTo>
                  <a:lnTo>
                    <a:pt x="634" y="433"/>
                  </a:lnTo>
                  <a:lnTo>
                    <a:pt x="630" y="433"/>
                  </a:lnTo>
                  <a:lnTo>
                    <a:pt x="631" y="432"/>
                  </a:lnTo>
                  <a:lnTo>
                    <a:pt x="631" y="431"/>
                  </a:lnTo>
                  <a:lnTo>
                    <a:pt x="628" y="431"/>
                  </a:lnTo>
                  <a:lnTo>
                    <a:pt x="624" y="430"/>
                  </a:lnTo>
                  <a:lnTo>
                    <a:pt x="621" y="428"/>
                  </a:lnTo>
                  <a:lnTo>
                    <a:pt x="619" y="426"/>
                  </a:lnTo>
                  <a:lnTo>
                    <a:pt x="617" y="425"/>
                  </a:lnTo>
                  <a:lnTo>
                    <a:pt x="614" y="422"/>
                  </a:lnTo>
                  <a:lnTo>
                    <a:pt x="613" y="421"/>
                  </a:lnTo>
                  <a:lnTo>
                    <a:pt x="611" y="417"/>
                  </a:lnTo>
                  <a:lnTo>
                    <a:pt x="613" y="416"/>
                  </a:lnTo>
                  <a:lnTo>
                    <a:pt x="617" y="417"/>
                  </a:lnTo>
                  <a:lnTo>
                    <a:pt x="615" y="415"/>
                  </a:lnTo>
                  <a:lnTo>
                    <a:pt x="614" y="414"/>
                  </a:lnTo>
                  <a:lnTo>
                    <a:pt x="613" y="410"/>
                  </a:lnTo>
                  <a:lnTo>
                    <a:pt x="611" y="411"/>
                  </a:lnTo>
                  <a:lnTo>
                    <a:pt x="611" y="414"/>
                  </a:lnTo>
                  <a:lnTo>
                    <a:pt x="607" y="413"/>
                  </a:lnTo>
                  <a:lnTo>
                    <a:pt x="603" y="414"/>
                  </a:lnTo>
                  <a:lnTo>
                    <a:pt x="595" y="410"/>
                  </a:lnTo>
                  <a:lnTo>
                    <a:pt x="590" y="409"/>
                  </a:lnTo>
                  <a:lnTo>
                    <a:pt x="590" y="407"/>
                  </a:lnTo>
                  <a:lnTo>
                    <a:pt x="588" y="408"/>
                  </a:lnTo>
                  <a:lnTo>
                    <a:pt x="585" y="408"/>
                  </a:lnTo>
                  <a:lnTo>
                    <a:pt x="584" y="407"/>
                  </a:lnTo>
                  <a:lnTo>
                    <a:pt x="582" y="405"/>
                  </a:lnTo>
                  <a:lnTo>
                    <a:pt x="581" y="404"/>
                  </a:lnTo>
                  <a:lnTo>
                    <a:pt x="572" y="404"/>
                  </a:lnTo>
                  <a:lnTo>
                    <a:pt x="567" y="404"/>
                  </a:lnTo>
                  <a:lnTo>
                    <a:pt x="566" y="403"/>
                  </a:lnTo>
                  <a:lnTo>
                    <a:pt x="564" y="402"/>
                  </a:lnTo>
                  <a:lnTo>
                    <a:pt x="561" y="402"/>
                  </a:lnTo>
                  <a:lnTo>
                    <a:pt x="556" y="401"/>
                  </a:lnTo>
                  <a:lnTo>
                    <a:pt x="554" y="399"/>
                  </a:lnTo>
                  <a:lnTo>
                    <a:pt x="553" y="395"/>
                  </a:lnTo>
                  <a:lnTo>
                    <a:pt x="549" y="395"/>
                  </a:lnTo>
                  <a:lnTo>
                    <a:pt x="547" y="393"/>
                  </a:lnTo>
                  <a:lnTo>
                    <a:pt x="541" y="392"/>
                  </a:lnTo>
                  <a:lnTo>
                    <a:pt x="540" y="392"/>
                  </a:lnTo>
                  <a:lnTo>
                    <a:pt x="536" y="392"/>
                  </a:lnTo>
                  <a:lnTo>
                    <a:pt x="532" y="392"/>
                  </a:lnTo>
                  <a:lnTo>
                    <a:pt x="532" y="390"/>
                  </a:lnTo>
                  <a:lnTo>
                    <a:pt x="529" y="390"/>
                  </a:lnTo>
                  <a:lnTo>
                    <a:pt x="528" y="391"/>
                  </a:lnTo>
                  <a:lnTo>
                    <a:pt x="520" y="392"/>
                  </a:lnTo>
                  <a:lnTo>
                    <a:pt x="518" y="391"/>
                  </a:lnTo>
                  <a:lnTo>
                    <a:pt x="513" y="389"/>
                  </a:lnTo>
                  <a:lnTo>
                    <a:pt x="510" y="389"/>
                  </a:lnTo>
                  <a:lnTo>
                    <a:pt x="503" y="387"/>
                  </a:lnTo>
                  <a:lnTo>
                    <a:pt x="499" y="386"/>
                  </a:lnTo>
                  <a:lnTo>
                    <a:pt x="493" y="386"/>
                  </a:lnTo>
                  <a:lnTo>
                    <a:pt x="489" y="383"/>
                  </a:lnTo>
                  <a:lnTo>
                    <a:pt x="485" y="381"/>
                  </a:lnTo>
                  <a:lnTo>
                    <a:pt x="485" y="384"/>
                  </a:lnTo>
                  <a:lnTo>
                    <a:pt x="484" y="385"/>
                  </a:lnTo>
                  <a:lnTo>
                    <a:pt x="482" y="385"/>
                  </a:lnTo>
                  <a:lnTo>
                    <a:pt x="479" y="385"/>
                  </a:lnTo>
                  <a:lnTo>
                    <a:pt x="476" y="383"/>
                  </a:lnTo>
                  <a:lnTo>
                    <a:pt x="473" y="381"/>
                  </a:lnTo>
                  <a:lnTo>
                    <a:pt x="469" y="383"/>
                  </a:lnTo>
                  <a:lnTo>
                    <a:pt x="467" y="384"/>
                  </a:lnTo>
                  <a:lnTo>
                    <a:pt x="464" y="381"/>
                  </a:lnTo>
                  <a:lnTo>
                    <a:pt x="463" y="380"/>
                  </a:lnTo>
                  <a:lnTo>
                    <a:pt x="458" y="380"/>
                  </a:lnTo>
                  <a:lnTo>
                    <a:pt x="453" y="380"/>
                  </a:lnTo>
                  <a:lnTo>
                    <a:pt x="453" y="378"/>
                  </a:lnTo>
                  <a:lnTo>
                    <a:pt x="451" y="375"/>
                  </a:lnTo>
                  <a:lnTo>
                    <a:pt x="448" y="374"/>
                  </a:lnTo>
                  <a:lnTo>
                    <a:pt x="444" y="373"/>
                  </a:lnTo>
                  <a:lnTo>
                    <a:pt x="443" y="371"/>
                  </a:lnTo>
                  <a:lnTo>
                    <a:pt x="440" y="368"/>
                  </a:lnTo>
                  <a:lnTo>
                    <a:pt x="435" y="365"/>
                  </a:lnTo>
                  <a:lnTo>
                    <a:pt x="432" y="361"/>
                  </a:lnTo>
                  <a:lnTo>
                    <a:pt x="432" y="353"/>
                  </a:lnTo>
                  <a:lnTo>
                    <a:pt x="432" y="349"/>
                  </a:lnTo>
                  <a:lnTo>
                    <a:pt x="434" y="349"/>
                  </a:lnTo>
                  <a:lnTo>
                    <a:pt x="435" y="353"/>
                  </a:lnTo>
                  <a:lnTo>
                    <a:pt x="436" y="354"/>
                  </a:lnTo>
                  <a:lnTo>
                    <a:pt x="437" y="351"/>
                  </a:lnTo>
                  <a:lnTo>
                    <a:pt x="437" y="348"/>
                  </a:lnTo>
                  <a:lnTo>
                    <a:pt x="437" y="347"/>
                  </a:lnTo>
                  <a:lnTo>
                    <a:pt x="438" y="349"/>
                  </a:lnTo>
                  <a:lnTo>
                    <a:pt x="438" y="353"/>
                  </a:lnTo>
                  <a:lnTo>
                    <a:pt x="437" y="356"/>
                  </a:lnTo>
                  <a:lnTo>
                    <a:pt x="437" y="360"/>
                  </a:lnTo>
                  <a:lnTo>
                    <a:pt x="436" y="362"/>
                  </a:lnTo>
                  <a:lnTo>
                    <a:pt x="437" y="363"/>
                  </a:lnTo>
                  <a:lnTo>
                    <a:pt x="440" y="365"/>
                  </a:lnTo>
                  <a:lnTo>
                    <a:pt x="441" y="367"/>
                  </a:lnTo>
                  <a:lnTo>
                    <a:pt x="442" y="368"/>
                  </a:lnTo>
                  <a:lnTo>
                    <a:pt x="446" y="371"/>
                  </a:lnTo>
                  <a:lnTo>
                    <a:pt x="447" y="369"/>
                  </a:lnTo>
                  <a:lnTo>
                    <a:pt x="448" y="372"/>
                  </a:lnTo>
                  <a:lnTo>
                    <a:pt x="449" y="372"/>
                  </a:lnTo>
                  <a:lnTo>
                    <a:pt x="452" y="372"/>
                  </a:lnTo>
                  <a:lnTo>
                    <a:pt x="453" y="374"/>
                  </a:lnTo>
                  <a:lnTo>
                    <a:pt x="454" y="373"/>
                  </a:lnTo>
                  <a:lnTo>
                    <a:pt x="454" y="371"/>
                  </a:lnTo>
                  <a:lnTo>
                    <a:pt x="452" y="368"/>
                  </a:lnTo>
                  <a:lnTo>
                    <a:pt x="451" y="366"/>
                  </a:lnTo>
                  <a:lnTo>
                    <a:pt x="452" y="362"/>
                  </a:lnTo>
                  <a:lnTo>
                    <a:pt x="451" y="359"/>
                  </a:lnTo>
                  <a:lnTo>
                    <a:pt x="451" y="355"/>
                  </a:lnTo>
                  <a:lnTo>
                    <a:pt x="452" y="351"/>
                  </a:lnTo>
                  <a:lnTo>
                    <a:pt x="453" y="351"/>
                  </a:lnTo>
                  <a:lnTo>
                    <a:pt x="453" y="353"/>
                  </a:lnTo>
                  <a:lnTo>
                    <a:pt x="452" y="356"/>
                  </a:lnTo>
                  <a:lnTo>
                    <a:pt x="454" y="355"/>
                  </a:lnTo>
                  <a:lnTo>
                    <a:pt x="455" y="356"/>
                  </a:lnTo>
                  <a:lnTo>
                    <a:pt x="453" y="360"/>
                  </a:lnTo>
                  <a:lnTo>
                    <a:pt x="454" y="361"/>
                  </a:lnTo>
                  <a:lnTo>
                    <a:pt x="455" y="361"/>
                  </a:lnTo>
                  <a:lnTo>
                    <a:pt x="457" y="359"/>
                  </a:lnTo>
                  <a:lnTo>
                    <a:pt x="457" y="355"/>
                  </a:lnTo>
                  <a:lnTo>
                    <a:pt x="457" y="353"/>
                  </a:lnTo>
                  <a:lnTo>
                    <a:pt x="459" y="353"/>
                  </a:lnTo>
                  <a:lnTo>
                    <a:pt x="459" y="357"/>
                  </a:lnTo>
                  <a:lnTo>
                    <a:pt x="460" y="361"/>
                  </a:lnTo>
                  <a:lnTo>
                    <a:pt x="460" y="362"/>
                  </a:lnTo>
                  <a:lnTo>
                    <a:pt x="461" y="361"/>
                  </a:lnTo>
                  <a:lnTo>
                    <a:pt x="464" y="360"/>
                  </a:lnTo>
                  <a:lnTo>
                    <a:pt x="464" y="362"/>
                  </a:lnTo>
                  <a:lnTo>
                    <a:pt x="465" y="363"/>
                  </a:lnTo>
                  <a:lnTo>
                    <a:pt x="465" y="365"/>
                  </a:lnTo>
                  <a:lnTo>
                    <a:pt x="466" y="365"/>
                  </a:lnTo>
                  <a:lnTo>
                    <a:pt x="466" y="366"/>
                  </a:lnTo>
                  <a:lnTo>
                    <a:pt x="469" y="367"/>
                  </a:lnTo>
                  <a:lnTo>
                    <a:pt x="470" y="365"/>
                  </a:lnTo>
                  <a:lnTo>
                    <a:pt x="470" y="363"/>
                  </a:lnTo>
                  <a:lnTo>
                    <a:pt x="471" y="362"/>
                  </a:lnTo>
                  <a:lnTo>
                    <a:pt x="471" y="367"/>
                  </a:lnTo>
                  <a:lnTo>
                    <a:pt x="471" y="372"/>
                  </a:lnTo>
                  <a:lnTo>
                    <a:pt x="471" y="373"/>
                  </a:lnTo>
                  <a:lnTo>
                    <a:pt x="472" y="369"/>
                  </a:lnTo>
                  <a:lnTo>
                    <a:pt x="473" y="367"/>
                  </a:lnTo>
                  <a:lnTo>
                    <a:pt x="473" y="363"/>
                  </a:lnTo>
                  <a:lnTo>
                    <a:pt x="475" y="362"/>
                  </a:lnTo>
                  <a:lnTo>
                    <a:pt x="475" y="367"/>
                  </a:lnTo>
                  <a:lnTo>
                    <a:pt x="473" y="372"/>
                  </a:lnTo>
                  <a:lnTo>
                    <a:pt x="473" y="373"/>
                  </a:lnTo>
                  <a:lnTo>
                    <a:pt x="475" y="373"/>
                  </a:lnTo>
                  <a:lnTo>
                    <a:pt x="476" y="372"/>
                  </a:lnTo>
                  <a:lnTo>
                    <a:pt x="476" y="373"/>
                  </a:lnTo>
                  <a:lnTo>
                    <a:pt x="477" y="375"/>
                  </a:lnTo>
                  <a:lnTo>
                    <a:pt x="478" y="379"/>
                  </a:lnTo>
                  <a:lnTo>
                    <a:pt x="479" y="378"/>
                  </a:lnTo>
                  <a:lnTo>
                    <a:pt x="479" y="373"/>
                  </a:lnTo>
                  <a:lnTo>
                    <a:pt x="479" y="372"/>
                  </a:lnTo>
                  <a:lnTo>
                    <a:pt x="482" y="371"/>
                  </a:lnTo>
                  <a:lnTo>
                    <a:pt x="484" y="369"/>
                  </a:lnTo>
                  <a:lnTo>
                    <a:pt x="485" y="368"/>
                  </a:lnTo>
                  <a:lnTo>
                    <a:pt x="482" y="365"/>
                  </a:lnTo>
                  <a:lnTo>
                    <a:pt x="481" y="360"/>
                  </a:lnTo>
                  <a:lnTo>
                    <a:pt x="482" y="360"/>
                  </a:lnTo>
                  <a:lnTo>
                    <a:pt x="482" y="361"/>
                  </a:lnTo>
                  <a:lnTo>
                    <a:pt x="483" y="361"/>
                  </a:lnTo>
                  <a:lnTo>
                    <a:pt x="485" y="360"/>
                  </a:lnTo>
                  <a:lnTo>
                    <a:pt x="488" y="360"/>
                  </a:lnTo>
                  <a:lnTo>
                    <a:pt x="488" y="356"/>
                  </a:lnTo>
                  <a:lnTo>
                    <a:pt x="488" y="355"/>
                  </a:lnTo>
                  <a:lnTo>
                    <a:pt x="489" y="356"/>
                  </a:lnTo>
                  <a:lnTo>
                    <a:pt x="490" y="359"/>
                  </a:lnTo>
                  <a:lnTo>
                    <a:pt x="493" y="356"/>
                  </a:lnTo>
                  <a:lnTo>
                    <a:pt x="491" y="354"/>
                  </a:lnTo>
                  <a:lnTo>
                    <a:pt x="494" y="353"/>
                  </a:lnTo>
                  <a:lnTo>
                    <a:pt x="494" y="351"/>
                  </a:lnTo>
                  <a:lnTo>
                    <a:pt x="493" y="349"/>
                  </a:lnTo>
                  <a:lnTo>
                    <a:pt x="496" y="349"/>
                  </a:lnTo>
                  <a:lnTo>
                    <a:pt x="499" y="348"/>
                  </a:lnTo>
                  <a:lnTo>
                    <a:pt x="496" y="338"/>
                  </a:lnTo>
                  <a:lnTo>
                    <a:pt x="497" y="333"/>
                  </a:lnTo>
                  <a:lnTo>
                    <a:pt x="499" y="332"/>
                  </a:lnTo>
                  <a:lnTo>
                    <a:pt x="499" y="336"/>
                  </a:lnTo>
                  <a:lnTo>
                    <a:pt x="500" y="336"/>
                  </a:lnTo>
                  <a:lnTo>
                    <a:pt x="500" y="332"/>
                  </a:lnTo>
                  <a:lnTo>
                    <a:pt x="500" y="330"/>
                  </a:lnTo>
                  <a:lnTo>
                    <a:pt x="501" y="331"/>
                  </a:lnTo>
                  <a:lnTo>
                    <a:pt x="502" y="329"/>
                  </a:lnTo>
                  <a:lnTo>
                    <a:pt x="505" y="329"/>
                  </a:lnTo>
                  <a:lnTo>
                    <a:pt x="507" y="330"/>
                  </a:lnTo>
                  <a:lnTo>
                    <a:pt x="507" y="333"/>
                  </a:lnTo>
                  <a:lnTo>
                    <a:pt x="507" y="337"/>
                  </a:lnTo>
                  <a:lnTo>
                    <a:pt x="507" y="338"/>
                  </a:lnTo>
                  <a:lnTo>
                    <a:pt x="508" y="338"/>
                  </a:lnTo>
                  <a:lnTo>
                    <a:pt x="510" y="341"/>
                  </a:lnTo>
                  <a:lnTo>
                    <a:pt x="511" y="338"/>
                  </a:lnTo>
                  <a:lnTo>
                    <a:pt x="511" y="332"/>
                  </a:lnTo>
                  <a:lnTo>
                    <a:pt x="510" y="330"/>
                  </a:lnTo>
                  <a:lnTo>
                    <a:pt x="511" y="327"/>
                  </a:lnTo>
                  <a:lnTo>
                    <a:pt x="513" y="325"/>
                  </a:lnTo>
                  <a:lnTo>
                    <a:pt x="513" y="323"/>
                  </a:lnTo>
                  <a:lnTo>
                    <a:pt x="512" y="319"/>
                  </a:lnTo>
                  <a:lnTo>
                    <a:pt x="512" y="315"/>
                  </a:lnTo>
                  <a:lnTo>
                    <a:pt x="514" y="313"/>
                  </a:lnTo>
                  <a:lnTo>
                    <a:pt x="514" y="317"/>
                  </a:lnTo>
                  <a:lnTo>
                    <a:pt x="519" y="315"/>
                  </a:lnTo>
                  <a:lnTo>
                    <a:pt x="520" y="318"/>
                  </a:lnTo>
                  <a:lnTo>
                    <a:pt x="522" y="315"/>
                  </a:lnTo>
                  <a:lnTo>
                    <a:pt x="523" y="314"/>
                  </a:lnTo>
                  <a:lnTo>
                    <a:pt x="524" y="314"/>
                  </a:lnTo>
                  <a:lnTo>
                    <a:pt x="523" y="323"/>
                  </a:lnTo>
                  <a:lnTo>
                    <a:pt x="524" y="324"/>
                  </a:lnTo>
                  <a:lnTo>
                    <a:pt x="526" y="324"/>
                  </a:lnTo>
                  <a:lnTo>
                    <a:pt x="526" y="321"/>
                  </a:lnTo>
                  <a:lnTo>
                    <a:pt x="525" y="315"/>
                  </a:lnTo>
                  <a:lnTo>
                    <a:pt x="525" y="312"/>
                  </a:lnTo>
                  <a:lnTo>
                    <a:pt x="526" y="309"/>
                  </a:lnTo>
                  <a:lnTo>
                    <a:pt x="529" y="308"/>
                  </a:lnTo>
                  <a:lnTo>
                    <a:pt x="528" y="304"/>
                  </a:lnTo>
                  <a:lnTo>
                    <a:pt x="531" y="306"/>
                  </a:lnTo>
                  <a:lnTo>
                    <a:pt x="530" y="303"/>
                  </a:lnTo>
                  <a:lnTo>
                    <a:pt x="530" y="300"/>
                  </a:lnTo>
                  <a:lnTo>
                    <a:pt x="531" y="298"/>
                  </a:lnTo>
                  <a:lnTo>
                    <a:pt x="534" y="302"/>
                  </a:lnTo>
                  <a:lnTo>
                    <a:pt x="536" y="302"/>
                  </a:lnTo>
                  <a:lnTo>
                    <a:pt x="537" y="300"/>
                  </a:lnTo>
                  <a:lnTo>
                    <a:pt x="538" y="298"/>
                  </a:lnTo>
                  <a:lnTo>
                    <a:pt x="538" y="297"/>
                  </a:lnTo>
                  <a:lnTo>
                    <a:pt x="538" y="295"/>
                  </a:lnTo>
                  <a:lnTo>
                    <a:pt x="538" y="291"/>
                  </a:lnTo>
                  <a:lnTo>
                    <a:pt x="538" y="290"/>
                  </a:lnTo>
                  <a:lnTo>
                    <a:pt x="540" y="290"/>
                  </a:lnTo>
                  <a:lnTo>
                    <a:pt x="541" y="291"/>
                  </a:lnTo>
                  <a:lnTo>
                    <a:pt x="542" y="290"/>
                  </a:lnTo>
                  <a:lnTo>
                    <a:pt x="538" y="288"/>
                  </a:lnTo>
                  <a:lnTo>
                    <a:pt x="538" y="285"/>
                  </a:lnTo>
                  <a:lnTo>
                    <a:pt x="537" y="284"/>
                  </a:lnTo>
                  <a:lnTo>
                    <a:pt x="534" y="284"/>
                  </a:lnTo>
                  <a:lnTo>
                    <a:pt x="534" y="283"/>
                  </a:lnTo>
                  <a:lnTo>
                    <a:pt x="535" y="282"/>
                  </a:lnTo>
                  <a:lnTo>
                    <a:pt x="537" y="282"/>
                  </a:lnTo>
                  <a:lnTo>
                    <a:pt x="538" y="282"/>
                  </a:lnTo>
                  <a:lnTo>
                    <a:pt x="540" y="283"/>
                  </a:lnTo>
                  <a:lnTo>
                    <a:pt x="541" y="285"/>
                  </a:lnTo>
                  <a:lnTo>
                    <a:pt x="541" y="288"/>
                  </a:lnTo>
                  <a:lnTo>
                    <a:pt x="542" y="288"/>
                  </a:lnTo>
                  <a:lnTo>
                    <a:pt x="542" y="286"/>
                  </a:lnTo>
                  <a:lnTo>
                    <a:pt x="544" y="289"/>
                  </a:lnTo>
                  <a:lnTo>
                    <a:pt x="544" y="286"/>
                  </a:lnTo>
                  <a:lnTo>
                    <a:pt x="543" y="285"/>
                  </a:lnTo>
                  <a:lnTo>
                    <a:pt x="543" y="283"/>
                  </a:lnTo>
                  <a:lnTo>
                    <a:pt x="544" y="282"/>
                  </a:lnTo>
                  <a:lnTo>
                    <a:pt x="546" y="283"/>
                  </a:lnTo>
                  <a:lnTo>
                    <a:pt x="547" y="283"/>
                  </a:lnTo>
                  <a:lnTo>
                    <a:pt x="548" y="280"/>
                  </a:lnTo>
                  <a:lnTo>
                    <a:pt x="547" y="279"/>
                  </a:lnTo>
                  <a:lnTo>
                    <a:pt x="544" y="279"/>
                  </a:lnTo>
                  <a:lnTo>
                    <a:pt x="543" y="279"/>
                  </a:lnTo>
                  <a:lnTo>
                    <a:pt x="542" y="278"/>
                  </a:lnTo>
                  <a:lnTo>
                    <a:pt x="540" y="277"/>
                  </a:lnTo>
                  <a:lnTo>
                    <a:pt x="544" y="276"/>
                  </a:lnTo>
                  <a:lnTo>
                    <a:pt x="546" y="274"/>
                  </a:lnTo>
                  <a:lnTo>
                    <a:pt x="541" y="274"/>
                  </a:lnTo>
                  <a:lnTo>
                    <a:pt x="541" y="273"/>
                  </a:lnTo>
                  <a:lnTo>
                    <a:pt x="544" y="272"/>
                  </a:lnTo>
                  <a:lnTo>
                    <a:pt x="547" y="272"/>
                  </a:lnTo>
                  <a:lnTo>
                    <a:pt x="549" y="272"/>
                  </a:lnTo>
                  <a:lnTo>
                    <a:pt x="549" y="270"/>
                  </a:lnTo>
                  <a:lnTo>
                    <a:pt x="550" y="270"/>
                  </a:lnTo>
                  <a:lnTo>
                    <a:pt x="550" y="271"/>
                  </a:lnTo>
                  <a:lnTo>
                    <a:pt x="552" y="271"/>
                  </a:lnTo>
                  <a:lnTo>
                    <a:pt x="554" y="271"/>
                  </a:lnTo>
                  <a:lnTo>
                    <a:pt x="553" y="270"/>
                  </a:lnTo>
                  <a:lnTo>
                    <a:pt x="552" y="268"/>
                  </a:lnTo>
                  <a:lnTo>
                    <a:pt x="554" y="267"/>
                  </a:lnTo>
                  <a:lnTo>
                    <a:pt x="554" y="268"/>
                  </a:lnTo>
                  <a:lnTo>
                    <a:pt x="558" y="270"/>
                  </a:lnTo>
                  <a:lnTo>
                    <a:pt x="559" y="270"/>
                  </a:lnTo>
                  <a:lnTo>
                    <a:pt x="559" y="268"/>
                  </a:lnTo>
                  <a:lnTo>
                    <a:pt x="555" y="266"/>
                  </a:lnTo>
                  <a:lnTo>
                    <a:pt x="554" y="265"/>
                  </a:lnTo>
                  <a:lnTo>
                    <a:pt x="559" y="265"/>
                  </a:lnTo>
                  <a:lnTo>
                    <a:pt x="560" y="264"/>
                  </a:lnTo>
                  <a:lnTo>
                    <a:pt x="554" y="262"/>
                  </a:lnTo>
                  <a:lnTo>
                    <a:pt x="553" y="264"/>
                  </a:lnTo>
                  <a:lnTo>
                    <a:pt x="552" y="262"/>
                  </a:lnTo>
                  <a:lnTo>
                    <a:pt x="550" y="261"/>
                  </a:lnTo>
                  <a:lnTo>
                    <a:pt x="549" y="260"/>
                  </a:lnTo>
                  <a:lnTo>
                    <a:pt x="549" y="265"/>
                  </a:lnTo>
                  <a:lnTo>
                    <a:pt x="548" y="265"/>
                  </a:lnTo>
                  <a:lnTo>
                    <a:pt x="547" y="266"/>
                  </a:lnTo>
                  <a:lnTo>
                    <a:pt x="546" y="267"/>
                  </a:lnTo>
                  <a:lnTo>
                    <a:pt x="546" y="268"/>
                  </a:lnTo>
                  <a:lnTo>
                    <a:pt x="544" y="268"/>
                  </a:lnTo>
                  <a:lnTo>
                    <a:pt x="543" y="268"/>
                  </a:lnTo>
                  <a:lnTo>
                    <a:pt x="542" y="267"/>
                  </a:lnTo>
                  <a:lnTo>
                    <a:pt x="542" y="265"/>
                  </a:lnTo>
                  <a:lnTo>
                    <a:pt x="541" y="265"/>
                  </a:lnTo>
                  <a:lnTo>
                    <a:pt x="540" y="265"/>
                  </a:lnTo>
                  <a:lnTo>
                    <a:pt x="540" y="266"/>
                  </a:lnTo>
                  <a:lnTo>
                    <a:pt x="540" y="267"/>
                  </a:lnTo>
                  <a:lnTo>
                    <a:pt x="538" y="268"/>
                  </a:lnTo>
                  <a:lnTo>
                    <a:pt x="538" y="270"/>
                  </a:lnTo>
                  <a:lnTo>
                    <a:pt x="538" y="272"/>
                  </a:lnTo>
                  <a:lnTo>
                    <a:pt x="538" y="273"/>
                  </a:lnTo>
                  <a:lnTo>
                    <a:pt x="537" y="273"/>
                  </a:lnTo>
                  <a:lnTo>
                    <a:pt x="536" y="272"/>
                  </a:lnTo>
                  <a:lnTo>
                    <a:pt x="535" y="271"/>
                  </a:lnTo>
                  <a:lnTo>
                    <a:pt x="534" y="270"/>
                  </a:lnTo>
                  <a:lnTo>
                    <a:pt x="532" y="270"/>
                  </a:lnTo>
                  <a:lnTo>
                    <a:pt x="531" y="270"/>
                  </a:lnTo>
                  <a:lnTo>
                    <a:pt x="530" y="270"/>
                  </a:lnTo>
                  <a:lnTo>
                    <a:pt x="529" y="268"/>
                  </a:lnTo>
                  <a:lnTo>
                    <a:pt x="530" y="267"/>
                  </a:lnTo>
                  <a:lnTo>
                    <a:pt x="531" y="267"/>
                  </a:lnTo>
                  <a:lnTo>
                    <a:pt x="534" y="266"/>
                  </a:lnTo>
                  <a:lnTo>
                    <a:pt x="535" y="265"/>
                  </a:lnTo>
                  <a:lnTo>
                    <a:pt x="535" y="264"/>
                  </a:lnTo>
                  <a:lnTo>
                    <a:pt x="536" y="262"/>
                  </a:lnTo>
                  <a:lnTo>
                    <a:pt x="537" y="262"/>
                  </a:lnTo>
                  <a:lnTo>
                    <a:pt x="538" y="262"/>
                  </a:lnTo>
                  <a:lnTo>
                    <a:pt x="538" y="261"/>
                  </a:lnTo>
                  <a:lnTo>
                    <a:pt x="538" y="260"/>
                  </a:lnTo>
                  <a:lnTo>
                    <a:pt x="540" y="260"/>
                  </a:lnTo>
                  <a:lnTo>
                    <a:pt x="541" y="261"/>
                  </a:lnTo>
                  <a:lnTo>
                    <a:pt x="542" y="261"/>
                  </a:lnTo>
                  <a:lnTo>
                    <a:pt x="541" y="262"/>
                  </a:lnTo>
                  <a:lnTo>
                    <a:pt x="541" y="264"/>
                  </a:lnTo>
                  <a:lnTo>
                    <a:pt x="542" y="262"/>
                  </a:lnTo>
                  <a:lnTo>
                    <a:pt x="543" y="261"/>
                  </a:lnTo>
                  <a:lnTo>
                    <a:pt x="544" y="261"/>
                  </a:lnTo>
                  <a:lnTo>
                    <a:pt x="544" y="262"/>
                  </a:lnTo>
                  <a:lnTo>
                    <a:pt x="546" y="262"/>
                  </a:lnTo>
                  <a:lnTo>
                    <a:pt x="546" y="261"/>
                  </a:lnTo>
                  <a:lnTo>
                    <a:pt x="542" y="259"/>
                  </a:lnTo>
                  <a:lnTo>
                    <a:pt x="544" y="258"/>
                  </a:lnTo>
                  <a:lnTo>
                    <a:pt x="546" y="256"/>
                  </a:lnTo>
                  <a:lnTo>
                    <a:pt x="547" y="256"/>
                  </a:lnTo>
                  <a:lnTo>
                    <a:pt x="549" y="256"/>
                  </a:lnTo>
                  <a:lnTo>
                    <a:pt x="548" y="255"/>
                  </a:lnTo>
                  <a:lnTo>
                    <a:pt x="543" y="256"/>
                  </a:lnTo>
                  <a:lnTo>
                    <a:pt x="540" y="258"/>
                  </a:lnTo>
                  <a:lnTo>
                    <a:pt x="535" y="258"/>
                  </a:lnTo>
                  <a:lnTo>
                    <a:pt x="532" y="261"/>
                  </a:lnTo>
                  <a:lnTo>
                    <a:pt x="534" y="264"/>
                  </a:lnTo>
                  <a:lnTo>
                    <a:pt x="531" y="265"/>
                  </a:lnTo>
                  <a:lnTo>
                    <a:pt x="530" y="265"/>
                  </a:lnTo>
                  <a:lnTo>
                    <a:pt x="528" y="262"/>
                  </a:lnTo>
                  <a:lnTo>
                    <a:pt x="528" y="261"/>
                  </a:lnTo>
                  <a:lnTo>
                    <a:pt x="531" y="261"/>
                  </a:lnTo>
                  <a:lnTo>
                    <a:pt x="526" y="260"/>
                  </a:lnTo>
                  <a:lnTo>
                    <a:pt x="526" y="258"/>
                  </a:lnTo>
                  <a:lnTo>
                    <a:pt x="525" y="258"/>
                  </a:lnTo>
                  <a:lnTo>
                    <a:pt x="525" y="260"/>
                  </a:lnTo>
                  <a:lnTo>
                    <a:pt x="525" y="261"/>
                  </a:lnTo>
                  <a:lnTo>
                    <a:pt x="525" y="262"/>
                  </a:lnTo>
                  <a:lnTo>
                    <a:pt x="525" y="266"/>
                  </a:lnTo>
                  <a:lnTo>
                    <a:pt x="522" y="268"/>
                  </a:lnTo>
                  <a:lnTo>
                    <a:pt x="520" y="270"/>
                  </a:lnTo>
                  <a:lnTo>
                    <a:pt x="518" y="271"/>
                  </a:lnTo>
                  <a:lnTo>
                    <a:pt x="516" y="271"/>
                  </a:lnTo>
                  <a:lnTo>
                    <a:pt x="516" y="270"/>
                  </a:lnTo>
                  <a:lnTo>
                    <a:pt x="516" y="267"/>
                  </a:lnTo>
                  <a:lnTo>
                    <a:pt x="514" y="267"/>
                  </a:lnTo>
                  <a:lnTo>
                    <a:pt x="513" y="268"/>
                  </a:lnTo>
                  <a:lnTo>
                    <a:pt x="512" y="268"/>
                  </a:lnTo>
                  <a:lnTo>
                    <a:pt x="512" y="266"/>
                  </a:lnTo>
                  <a:lnTo>
                    <a:pt x="512" y="265"/>
                  </a:lnTo>
                  <a:lnTo>
                    <a:pt x="510" y="267"/>
                  </a:lnTo>
                  <a:lnTo>
                    <a:pt x="508" y="266"/>
                  </a:lnTo>
                  <a:lnTo>
                    <a:pt x="507" y="265"/>
                  </a:lnTo>
                  <a:lnTo>
                    <a:pt x="506" y="262"/>
                  </a:lnTo>
                  <a:lnTo>
                    <a:pt x="507" y="261"/>
                  </a:lnTo>
                  <a:lnTo>
                    <a:pt x="508" y="261"/>
                  </a:lnTo>
                  <a:lnTo>
                    <a:pt x="510" y="261"/>
                  </a:lnTo>
                  <a:lnTo>
                    <a:pt x="511" y="260"/>
                  </a:lnTo>
                  <a:lnTo>
                    <a:pt x="511" y="259"/>
                  </a:lnTo>
                  <a:lnTo>
                    <a:pt x="512" y="256"/>
                  </a:lnTo>
                  <a:lnTo>
                    <a:pt x="513" y="256"/>
                  </a:lnTo>
                  <a:lnTo>
                    <a:pt x="514" y="255"/>
                  </a:lnTo>
                  <a:lnTo>
                    <a:pt x="517" y="255"/>
                  </a:lnTo>
                  <a:lnTo>
                    <a:pt x="518" y="255"/>
                  </a:lnTo>
                  <a:lnTo>
                    <a:pt x="518" y="254"/>
                  </a:lnTo>
                  <a:lnTo>
                    <a:pt x="518" y="253"/>
                  </a:lnTo>
                  <a:lnTo>
                    <a:pt x="519" y="252"/>
                  </a:lnTo>
                  <a:lnTo>
                    <a:pt x="522" y="254"/>
                  </a:lnTo>
                  <a:lnTo>
                    <a:pt x="524" y="254"/>
                  </a:lnTo>
                  <a:lnTo>
                    <a:pt x="524" y="253"/>
                  </a:lnTo>
                  <a:lnTo>
                    <a:pt x="520" y="252"/>
                  </a:lnTo>
                  <a:lnTo>
                    <a:pt x="519" y="250"/>
                  </a:lnTo>
                  <a:lnTo>
                    <a:pt x="519" y="249"/>
                  </a:lnTo>
                  <a:lnTo>
                    <a:pt x="522" y="248"/>
                  </a:lnTo>
                  <a:lnTo>
                    <a:pt x="519" y="248"/>
                  </a:lnTo>
                  <a:lnTo>
                    <a:pt x="518" y="248"/>
                  </a:lnTo>
                  <a:lnTo>
                    <a:pt x="519" y="246"/>
                  </a:lnTo>
                  <a:lnTo>
                    <a:pt x="520" y="243"/>
                  </a:lnTo>
                  <a:lnTo>
                    <a:pt x="519" y="243"/>
                  </a:lnTo>
                  <a:lnTo>
                    <a:pt x="517" y="247"/>
                  </a:lnTo>
                  <a:lnTo>
                    <a:pt x="516" y="248"/>
                  </a:lnTo>
                  <a:lnTo>
                    <a:pt x="516" y="247"/>
                  </a:lnTo>
                  <a:lnTo>
                    <a:pt x="513" y="247"/>
                  </a:lnTo>
                  <a:lnTo>
                    <a:pt x="512" y="248"/>
                  </a:lnTo>
                  <a:lnTo>
                    <a:pt x="511" y="249"/>
                  </a:lnTo>
                  <a:lnTo>
                    <a:pt x="511" y="250"/>
                  </a:lnTo>
                  <a:lnTo>
                    <a:pt x="510" y="252"/>
                  </a:lnTo>
                  <a:lnTo>
                    <a:pt x="507" y="253"/>
                  </a:lnTo>
                  <a:lnTo>
                    <a:pt x="507" y="252"/>
                  </a:lnTo>
                  <a:lnTo>
                    <a:pt x="506" y="250"/>
                  </a:lnTo>
                  <a:lnTo>
                    <a:pt x="505" y="252"/>
                  </a:lnTo>
                  <a:lnTo>
                    <a:pt x="503" y="254"/>
                  </a:lnTo>
                  <a:lnTo>
                    <a:pt x="501" y="254"/>
                  </a:lnTo>
                  <a:lnTo>
                    <a:pt x="500" y="252"/>
                  </a:lnTo>
                  <a:lnTo>
                    <a:pt x="499" y="253"/>
                  </a:lnTo>
                  <a:lnTo>
                    <a:pt x="499" y="255"/>
                  </a:lnTo>
                  <a:lnTo>
                    <a:pt x="497" y="256"/>
                  </a:lnTo>
                  <a:lnTo>
                    <a:pt x="495" y="256"/>
                  </a:lnTo>
                  <a:lnTo>
                    <a:pt x="490" y="255"/>
                  </a:lnTo>
                  <a:lnTo>
                    <a:pt x="489" y="254"/>
                  </a:lnTo>
                  <a:lnTo>
                    <a:pt x="487" y="252"/>
                  </a:lnTo>
                  <a:lnTo>
                    <a:pt x="485" y="249"/>
                  </a:lnTo>
                  <a:lnTo>
                    <a:pt x="484" y="247"/>
                  </a:lnTo>
                  <a:lnTo>
                    <a:pt x="485" y="246"/>
                  </a:lnTo>
                  <a:lnTo>
                    <a:pt x="487" y="246"/>
                  </a:lnTo>
                  <a:lnTo>
                    <a:pt x="484" y="244"/>
                  </a:lnTo>
                  <a:lnTo>
                    <a:pt x="483" y="243"/>
                  </a:lnTo>
                  <a:lnTo>
                    <a:pt x="483" y="242"/>
                  </a:lnTo>
                  <a:lnTo>
                    <a:pt x="487" y="242"/>
                  </a:lnTo>
                  <a:lnTo>
                    <a:pt x="488" y="242"/>
                  </a:lnTo>
                  <a:lnTo>
                    <a:pt x="488" y="241"/>
                  </a:lnTo>
                  <a:lnTo>
                    <a:pt x="487" y="241"/>
                  </a:lnTo>
                  <a:lnTo>
                    <a:pt x="483" y="241"/>
                  </a:lnTo>
                  <a:lnTo>
                    <a:pt x="482" y="238"/>
                  </a:lnTo>
                  <a:lnTo>
                    <a:pt x="482" y="235"/>
                  </a:lnTo>
                  <a:lnTo>
                    <a:pt x="483" y="235"/>
                  </a:lnTo>
                  <a:lnTo>
                    <a:pt x="484" y="235"/>
                  </a:lnTo>
                  <a:lnTo>
                    <a:pt x="485" y="235"/>
                  </a:lnTo>
                  <a:lnTo>
                    <a:pt x="485" y="238"/>
                  </a:lnTo>
                  <a:lnTo>
                    <a:pt x="487" y="237"/>
                  </a:lnTo>
                  <a:lnTo>
                    <a:pt x="487" y="236"/>
                  </a:lnTo>
                  <a:lnTo>
                    <a:pt x="488" y="235"/>
                  </a:lnTo>
                  <a:lnTo>
                    <a:pt x="489" y="235"/>
                  </a:lnTo>
                  <a:lnTo>
                    <a:pt x="490" y="234"/>
                  </a:lnTo>
                  <a:lnTo>
                    <a:pt x="489" y="232"/>
                  </a:lnTo>
                  <a:lnTo>
                    <a:pt x="490" y="232"/>
                  </a:lnTo>
                  <a:lnTo>
                    <a:pt x="491" y="234"/>
                  </a:lnTo>
                  <a:lnTo>
                    <a:pt x="490" y="235"/>
                  </a:lnTo>
                  <a:lnTo>
                    <a:pt x="491" y="236"/>
                  </a:lnTo>
                  <a:lnTo>
                    <a:pt x="493" y="234"/>
                  </a:lnTo>
                  <a:lnTo>
                    <a:pt x="494" y="234"/>
                  </a:lnTo>
                  <a:lnTo>
                    <a:pt x="495" y="235"/>
                  </a:lnTo>
                  <a:lnTo>
                    <a:pt x="496" y="235"/>
                  </a:lnTo>
                  <a:lnTo>
                    <a:pt x="496" y="232"/>
                  </a:lnTo>
                  <a:lnTo>
                    <a:pt x="497" y="232"/>
                  </a:lnTo>
                  <a:lnTo>
                    <a:pt x="499" y="228"/>
                  </a:lnTo>
                  <a:lnTo>
                    <a:pt x="500" y="229"/>
                  </a:lnTo>
                  <a:lnTo>
                    <a:pt x="500" y="230"/>
                  </a:lnTo>
                  <a:lnTo>
                    <a:pt x="501" y="230"/>
                  </a:lnTo>
                  <a:lnTo>
                    <a:pt x="501" y="229"/>
                  </a:lnTo>
                  <a:lnTo>
                    <a:pt x="502" y="229"/>
                  </a:lnTo>
                  <a:lnTo>
                    <a:pt x="503" y="229"/>
                  </a:lnTo>
                  <a:lnTo>
                    <a:pt x="505" y="228"/>
                  </a:lnTo>
                  <a:lnTo>
                    <a:pt x="506" y="225"/>
                  </a:lnTo>
                  <a:lnTo>
                    <a:pt x="507" y="223"/>
                  </a:lnTo>
                  <a:lnTo>
                    <a:pt x="508" y="222"/>
                  </a:lnTo>
                  <a:lnTo>
                    <a:pt x="510" y="222"/>
                  </a:lnTo>
                  <a:lnTo>
                    <a:pt x="508" y="219"/>
                  </a:lnTo>
                  <a:lnTo>
                    <a:pt x="508" y="218"/>
                  </a:lnTo>
                  <a:lnTo>
                    <a:pt x="511" y="219"/>
                  </a:lnTo>
                  <a:lnTo>
                    <a:pt x="512" y="219"/>
                  </a:lnTo>
                  <a:lnTo>
                    <a:pt x="511" y="218"/>
                  </a:lnTo>
                  <a:lnTo>
                    <a:pt x="508" y="216"/>
                  </a:lnTo>
                  <a:lnTo>
                    <a:pt x="508" y="214"/>
                  </a:lnTo>
                  <a:lnTo>
                    <a:pt x="510" y="213"/>
                  </a:lnTo>
                  <a:lnTo>
                    <a:pt x="510" y="216"/>
                  </a:lnTo>
                  <a:lnTo>
                    <a:pt x="511" y="216"/>
                  </a:lnTo>
                  <a:lnTo>
                    <a:pt x="512" y="216"/>
                  </a:lnTo>
                  <a:lnTo>
                    <a:pt x="513" y="216"/>
                  </a:lnTo>
                  <a:lnTo>
                    <a:pt x="513" y="217"/>
                  </a:lnTo>
                  <a:lnTo>
                    <a:pt x="514" y="217"/>
                  </a:lnTo>
                  <a:lnTo>
                    <a:pt x="514" y="216"/>
                  </a:lnTo>
                  <a:lnTo>
                    <a:pt x="514" y="214"/>
                  </a:lnTo>
                  <a:lnTo>
                    <a:pt x="516" y="216"/>
                  </a:lnTo>
                  <a:lnTo>
                    <a:pt x="517" y="216"/>
                  </a:lnTo>
                  <a:lnTo>
                    <a:pt x="517" y="214"/>
                  </a:lnTo>
                  <a:lnTo>
                    <a:pt x="513" y="212"/>
                  </a:lnTo>
                  <a:lnTo>
                    <a:pt x="513" y="211"/>
                  </a:lnTo>
                  <a:lnTo>
                    <a:pt x="512" y="211"/>
                  </a:lnTo>
                  <a:lnTo>
                    <a:pt x="508" y="208"/>
                  </a:lnTo>
                  <a:lnTo>
                    <a:pt x="513" y="208"/>
                  </a:lnTo>
                  <a:lnTo>
                    <a:pt x="513" y="207"/>
                  </a:lnTo>
                  <a:lnTo>
                    <a:pt x="516" y="207"/>
                  </a:lnTo>
                  <a:lnTo>
                    <a:pt x="518" y="210"/>
                  </a:lnTo>
                  <a:lnTo>
                    <a:pt x="519" y="210"/>
                  </a:lnTo>
                  <a:lnTo>
                    <a:pt x="516" y="206"/>
                  </a:lnTo>
                  <a:lnTo>
                    <a:pt x="517" y="205"/>
                  </a:lnTo>
                  <a:lnTo>
                    <a:pt x="519" y="205"/>
                  </a:lnTo>
                  <a:lnTo>
                    <a:pt x="523" y="208"/>
                  </a:lnTo>
                  <a:lnTo>
                    <a:pt x="525" y="207"/>
                  </a:lnTo>
                  <a:lnTo>
                    <a:pt x="522" y="204"/>
                  </a:lnTo>
                  <a:lnTo>
                    <a:pt x="520" y="204"/>
                  </a:lnTo>
                  <a:lnTo>
                    <a:pt x="523" y="202"/>
                  </a:lnTo>
                  <a:lnTo>
                    <a:pt x="528" y="202"/>
                  </a:lnTo>
                  <a:lnTo>
                    <a:pt x="528" y="205"/>
                  </a:lnTo>
                  <a:lnTo>
                    <a:pt x="529" y="204"/>
                  </a:lnTo>
                  <a:lnTo>
                    <a:pt x="529" y="202"/>
                  </a:lnTo>
                  <a:lnTo>
                    <a:pt x="529" y="201"/>
                  </a:lnTo>
                  <a:lnTo>
                    <a:pt x="529" y="197"/>
                  </a:lnTo>
                  <a:lnTo>
                    <a:pt x="532" y="197"/>
                  </a:lnTo>
                  <a:lnTo>
                    <a:pt x="532" y="199"/>
                  </a:lnTo>
                  <a:lnTo>
                    <a:pt x="535" y="199"/>
                  </a:lnTo>
                  <a:lnTo>
                    <a:pt x="535" y="197"/>
                  </a:lnTo>
                  <a:lnTo>
                    <a:pt x="534" y="197"/>
                  </a:lnTo>
                  <a:lnTo>
                    <a:pt x="532" y="196"/>
                  </a:lnTo>
                  <a:lnTo>
                    <a:pt x="532" y="195"/>
                  </a:lnTo>
                  <a:lnTo>
                    <a:pt x="534" y="194"/>
                  </a:lnTo>
                  <a:lnTo>
                    <a:pt x="535" y="194"/>
                  </a:lnTo>
                  <a:lnTo>
                    <a:pt x="538" y="194"/>
                  </a:lnTo>
                  <a:lnTo>
                    <a:pt x="540" y="195"/>
                  </a:lnTo>
                  <a:lnTo>
                    <a:pt x="542" y="195"/>
                  </a:lnTo>
                  <a:lnTo>
                    <a:pt x="542" y="193"/>
                  </a:lnTo>
                  <a:lnTo>
                    <a:pt x="538" y="193"/>
                  </a:lnTo>
                  <a:lnTo>
                    <a:pt x="538" y="191"/>
                  </a:lnTo>
                  <a:lnTo>
                    <a:pt x="540" y="189"/>
                  </a:lnTo>
                  <a:lnTo>
                    <a:pt x="541" y="188"/>
                  </a:lnTo>
                  <a:lnTo>
                    <a:pt x="541" y="187"/>
                  </a:lnTo>
                  <a:lnTo>
                    <a:pt x="538" y="187"/>
                  </a:lnTo>
                  <a:lnTo>
                    <a:pt x="536" y="189"/>
                  </a:lnTo>
                  <a:lnTo>
                    <a:pt x="531" y="190"/>
                  </a:lnTo>
                  <a:lnTo>
                    <a:pt x="530" y="193"/>
                  </a:lnTo>
                  <a:lnTo>
                    <a:pt x="530" y="194"/>
                  </a:lnTo>
                  <a:lnTo>
                    <a:pt x="529" y="195"/>
                  </a:lnTo>
                  <a:lnTo>
                    <a:pt x="529" y="194"/>
                  </a:lnTo>
                  <a:lnTo>
                    <a:pt x="529" y="193"/>
                  </a:lnTo>
                  <a:lnTo>
                    <a:pt x="529" y="191"/>
                  </a:lnTo>
                  <a:lnTo>
                    <a:pt x="528" y="194"/>
                  </a:lnTo>
                  <a:lnTo>
                    <a:pt x="526" y="195"/>
                  </a:lnTo>
                  <a:lnTo>
                    <a:pt x="526" y="196"/>
                  </a:lnTo>
                  <a:lnTo>
                    <a:pt x="524" y="196"/>
                  </a:lnTo>
                  <a:lnTo>
                    <a:pt x="523" y="197"/>
                  </a:lnTo>
                  <a:lnTo>
                    <a:pt x="522" y="196"/>
                  </a:lnTo>
                  <a:lnTo>
                    <a:pt x="522" y="195"/>
                  </a:lnTo>
                  <a:lnTo>
                    <a:pt x="522" y="193"/>
                  </a:lnTo>
                  <a:lnTo>
                    <a:pt x="520" y="193"/>
                  </a:lnTo>
                  <a:lnTo>
                    <a:pt x="519" y="194"/>
                  </a:lnTo>
                  <a:lnTo>
                    <a:pt x="519" y="196"/>
                  </a:lnTo>
                  <a:lnTo>
                    <a:pt x="519" y="201"/>
                  </a:lnTo>
                  <a:lnTo>
                    <a:pt x="517" y="202"/>
                  </a:lnTo>
                  <a:lnTo>
                    <a:pt x="516" y="199"/>
                  </a:lnTo>
                  <a:lnTo>
                    <a:pt x="516" y="200"/>
                  </a:lnTo>
                  <a:lnTo>
                    <a:pt x="514" y="201"/>
                  </a:lnTo>
                  <a:lnTo>
                    <a:pt x="513" y="201"/>
                  </a:lnTo>
                  <a:lnTo>
                    <a:pt x="512" y="202"/>
                  </a:lnTo>
                  <a:lnTo>
                    <a:pt x="511" y="205"/>
                  </a:lnTo>
                  <a:lnTo>
                    <a:pt x="507" y="205"/>
                  </a:lnTo>
                  <a:lnTo>
                    <a:pt x="505" y="202"/>
                  </a:lnTo>
                  <a:lnTo>
                    <a:pt x="505" y="204"/>
                  </a:lnTo>
                  <a:lnTo>
                    <a:pt x="506" y="205"/>
                  </a:lnTo>
                  <a:lnTo>
                    <a:pt x="495" y="212"/>
                  </a:lnTo>
                  <a:lnTo>
                    <a:pt x="493" y="213"/>
                  </a:lnTo>
                  <a:lnTo>
                    <a:pt x="490" y="214"/>
                  </a:lnTo>
                  <a:lnTo>
                    <a:pt x="489" y="214"/>
                  </a:lnTo>
                  <a:lnTo>
                    <a:pt x="488" y="217"/>
                  </a:lnTo>
                  <a:lnTo>
                    <a:pt x="487" y="218"/>
                  </a:lnTo>
                  <a:lnTo>
                    <a:pt x="484" y="217"/>
                  </a:lnTo>
                  <a:lnTo>
                    <a:pt x="483" y="217"/>
                  </a:lnTo>
                  <a:lnTo>
                    <a:pt x="481" y="216"/>
                  </a:lnTo>
                  <a:lnTo>
                    <a:pt x="481" y="217"/>
                  </a:lnTo>
                  <a:lnTo>
                    <a:pt x="478" y="217"/>
                  </a:lnTo>
                  <a:lnTo>
                    <a:pt x="476" y="217"/>
                  </a:lnTo>
                  <a:lnTo>
                    <a:pt x="472" y="214"/>
                  </a:lnTo>
                  <a:lnTo>
                    <a:pt x="470" y="212"/>
                  </a:lnTo>
                  <a:lnTo>
                    <a:pt x="467" y="212"/>
                  </a:lnTo>
                  <a:lnTo>
                    <a:pt x="466" y="212"/>
                  </a:lnTo>
                  <a:lnTo>
                    <a:pt x="463" y="213"/>
                  </a:lnTo>
                  <a:lnTo>
                    <a:pt x="460" y="213"/>
                  </a:lnTo>
                  <a:lnTo>
                    <a:pt x="459" y="211"/>
                  </a:lnTo>
                  <a:lnTo>
                    <a:pt x="459" y="207"/>
                  </a:lnTo>
                  <a:lnTo>
                    <a:pt x="458" y="205"/>
                  </a:lnTo>
                  <a:lnTo>
                    <a:pt x="459" y="205"/>
                  </a:lnTo>
                  <a:lnTo>
                    <a:pt x="460" y="207"/>
                  </a:lnTo>
                  <a:lnTo>
                    <a:pt x="464" y="208"/>
                  </a:lnTo>
                  <a:lnTo>
                    <a:pt x="466" y="208"/>
                  </a:lnTo>
                  <a:lnTo>
                    <a:pt x="467" y="208"/>
                  </a:lnTo>
                  <a:lnTo>
                    <a:pt x="465" y="207"/>
                  </a:lnTo>
                  <a:lnTo>
                    <a:pt x="463" y="206"/>
                  </a:lnTo>
                  <a:lnTo>
                    <a:pt x="460" y="204"/>
                  </a:lnTo>
                  <a:lnTo>
                    <a:pt x="459" y="202"/>
                  </a:lnTo>
                  <a:lnTo>
                    <a:pt x="459" y="201"/>
                  </a:lnTo>
                  <a:lnTo>
                    <a:pt x="461" y="201"/>
                  </a:lnTo>
                  <a:lnTo>
                    <a:pt x="461" y="200"/>
                  </a:lnTo>
                  <a:lnTo>
                    <a:pt x="460" y="200"/>
                  </a:lnTo>
                  <a:lnTo>
                    <a:pt x="459" y="197"/>
                  </a:lnTo>
                  <a:lnTo>
                    <a:pt x="460" y="196"/>
                  </a:lnTo>
                  <a:lnTo>
                    <a:pt x="463" y="196"/>
                  </a:lnTo>
                  <a:lnTo>
                    <a:pt x="464" y="195"/>
                  </a:lnTo>
                  <a:lnTo>
                    <a:pt x="465" y="194"/>
                  </a:lnTo>
                  <a:lnTo>
                    <a:pt x="464" y="194"/>
                  </a:lnTo>
                  <a:lnTo>
                    <a:pt x="460" y="194"/>
                  </a:lnTo>
                  <a:lnTo>
                    <a:pt x="457" y="195"/>
                  </a:lnTo>
                  <a:lnTo>
                    <a:pt x="454" y="196"/>
                  </a:lnTo>
                  <a:lnTo>
                    <a:pt x="448" y="189"/>
                  </a:lnTo>
                  <a:lnTo>
                    <a:pt x="446" y="189"/>
                  </a:lnTo>
                  <a:lnTo>
                    <a:pt x="444" y="188"/>
                  </a:lnTo>
                  <a:lnTo>
                    <a:pt x="444" y="187"/>
                  </a:lnTo>
                  <a:lnTo>
                    <a:pt x="443" y="185"/>
                  </a:lnTo>
                  <a:lnTo>
                    <a:pt x="441" y="184"/>
                  </a:lnTo>
                  <a:lnTo>
                    <a:pt x="440" y="183"/>
                  </a:lnTo>
                  <a:lnTo>
                    <a:pt x="438" y="183"/>
                  </a:lnTo>
                  <a:lnTo>
                    <a:pt x="438" y="181"/>
                  </a:lnTo>
                  <a:lnTo>
                    <a:pt x="437" y="179"/>
                  </a:lnTo>
                  <a:lnTo>
                    <a:pt x="437" y="176"/>
                  </a:lnTo>
                  <a:lnTo>
                    <a:pt x="438" y="175"/>
                  </a:lnTo>
                  <a:lnTo>
                    <a:pt x="440" y="173"/>
                  </a:lnTo>
                  <a:lnTo>
                    <a:pt x="438" y="172"/>
                  </a:lnTo>
                  <a:lnTo>
                    <a:pt x="438" y="171"/>
                  </a:lnTo>
                  <a:lnTo>
                    <a:pt x="440" y="169"/>
                  </a:lnTo>
                  <a:lnTo>
                    <a:pt x="441" y="167"/>
                  </a:lnTo>
                  <a:lnTo>
                    <a:pt x="441" y="170"/>
                  </a:lnTo>
                  <a:lnTo>
                    <a:pt x="442" y="170"/>
                  </a:lnTo>
                  <a:lnTo>
                    <a:pt x="443" y="171"/>
                  </a:lnTo>
                  <a:lnTo>
                    <a:pt x="444" y="172"/>
                  </a:lnTo>
                  <a:lnTo>
                    <a:pt x="446" y="173"/>
                  </a:lnTo>
                  <a:lnTo>
                    <a:pt x="447" y="172"/>
                  </a:lnTo>
                  <a:lnTo>
                    <a:pt x="447" y="171"/>
                  </a:lnTo>
                  <a:lnTo>
                    <a:pt x="447" y="176"/>
                  </a:lnTo>
                  <a:lnTo>
                    <a:pt x="448" y="175"/>
                  </a:lnTo>
                  <a:lnTo>
                    <a:pt x="448" y="173"/>
                  </a:lnTo>
                  <a:lnTo>
                    <a:pt x="448" y="171"/>
                  </a:lnTo>
                  <a:lnTo>
                    <a:pt x="448" y="170"/>
                  </a:lnTo>
                  <a:lnTo>
                    <a:pt x="449" y="171"/>
                  </a:lnTo>
                  <a:lnTo>
                    <a:pt x="453" y="175"/>
                  </a:lnTo>
                  <a:lnTo>
                    <a:pt x="455" y="175"/>
                  </a:lnTo>
                  <a:lnTo>
                    <a:pt x="454" y="173"/>
                  </a:lnTo>
                  <a:lnTo>
                    <a:pt x="451" y="170"/>
                  </a:lnTo>
                  <a:lnTo>
                    <a:pt x="451" y="167"/>
                  </a:lnTo>
                  <a:lnTo>
                    <a:pt x="452" y="169"/>
                  </a:lnTo>
                  <a:lnTo>
                    <a:pt x="453" y="169"/>
                  </a:lnTo>
                  <a:lnTo>
                    <a:pt x="454" y="169"/>
                  </a:lnTo>
                  <a:lnTo>
                    <a:pt x="455" y="170"/>
                  </a:lnTo>
                  <a:lnTo>
                    <a:pt x="457" y="170"/>
                  </a:lnTo>
                  <a:lnTo>
                    <a:pt x="458" y="169"/>
                  </a:lnTo>
                  <a:lnTo>
                    <a:pt x="458" y="166"/>
                  </a:lnTo>
                  <a:lnTo>
                    <a:pt x="458" y="165"/>
                  </a:lnTo>
                  <a:lnTo>
                    <a:pt x="458" y="164"/>
                  </a:lnTo>
                  <a:lnTo>
                    <a:pt x="460" y="164"/>
                  </a:lnTo>
                  <a:lnTo>
                    <a:pt x="459" y="163"/>
                  </a:lnTo>
                  <a:lnTo>
                    <a:pt x="458" y="161"/>
                  </a:lnTo>
                  <a:lnTo>
                    <a:pt x="460" y="160"/>
                  </a:lnTo>
                  <a:lnTo>
                    <a:pt x="461" y="160"/>
                  </a:lnTo>
                  <a:lnTo>
                    <a:pt x="460" y="159"/>
                  </a:lnTo>
                  <a:lnTo>
                    <a:pt x="459" y="158"/>
                  </a:lnTo>
                  <a:lnTo>
                    <a:pt x="458" y="157"/>
                  </a:lnTo>
                  <a:lnTo>
                    <a:pt x="457" y="159"/>
                  </a:lnTo>
                  <a:lnTo>
                    <a:pt x="457" y="158"/>
                  </a:lnTo>
                  <a:lnTo>
                    <a:pt x="458" y="155"/>
                  </a:lnTo>
                  <a:lnTo>
                    <a:pt x="459" y="153"/>
                  </a:lnTo>
                  <a:lnTo>
                    <a:pt x="460" y="152"/>
                  </a:lnTo>
                  <a:lnTo>
                    <a:pt x="463" y="154"/>
                  </a:lnTo>
                  <a:lnTo>
                    <a:pt x="464" y="154"/>
                  </a:lnTo>
                  <a:lnTo>
                    <a:pt x="464" y="153"/>
                  </a:lnTo>
                  <a:lnTo>
                    <a:pt x="463" y="152"/>
                  </a:lnTo>
                  <a:lnTo>
                    <a:pt x="461" y="149"/>
                  </a:lnTo>
                  <a:lnTo>
                    <a:pt x="463" y="149"/>
                  </a:lnTo>
                  <a:lnTo>
                    <a:pt x="464" y="151"/>
                  </a:lnTo>
                  <a:lnTo>
                    <a:pt x="464" y="149"/>
                  </a:lnTo>
                  <a:lnTo>
                    <a:pt x="464" y="143"/>
                  </a:lnTo>
                  <a:lnTo>
                    <a:pt x="465" y="143"/>
                  </a:lnTo>
                  <a:lnTo>
                    <a:pt x="465" y="146"/>
                  </a:lnTo>
                  <a:lnTo>
                    <a:pt x="466" y="147"/>
                  </a:lnTo>
                  <a:lnTo>
                    <a:pt x="467" y="147"/>
                  </a:lnTo>
                  <a:lnTo>
                    <a:pt x="467" y="149"/>
                  </a:lnTo>
                  <a:lnTo>
                    <a:pt x="467" y="151"/>
                  </a:lnTo>
                  <a:lnTo>
                    <a:pt x="469" y="151"/>
                  </a:lnTo>
                  <a:lnTo>
                    <a:pt x="471" y="149"/>
                  </a:lnTo>
                  <a:lnTo>
                    <a:pt x="470" y="148"/>
                  </a:lnTo>
                  <a:lnTo>
                    <a:pt x="470" y="147"/>
                  </a:lnTo>
                  <a:lnTo>
                    <a:pt x="471" y="146"/>
                  </a:lnTo>
                  <a:lnTo>
                    <a:pt x="472" y="145"/>
                  </a:lnTo>
                  <a:lnTo>
                    <a:pt x="470" y="145"/>
                  </a:lnTo>
                  <a:lnTo>
                    <a:pt x="469" y="146"/>
                  </a:lnTo>
                  <a:lnTo>
                    <a:pt x="467" y="145"/>
                  </a:lnTo>
                  <a:lnTo>
                    <a:pt x="467" y="143"/>
                  </a:lnTo>
                  <a:lnTo>
                    <a:pt x="469" y="143"/>
                  </a:lnTo>
                  <a:lnTo>
                    <a:pt x="470" y="142"/>
                  </a:lnTo>
                  <a:lnTo>
                    <a:pt x="471" y="142"/>
                  </a:lnTo>
                  <a:lnTo>
                    <a:pt x="466" y="141"/>
                  </a:lnTo>
                  <a:lnTo>
                    <a:pt x="465" y="141"/>
                  </a:lnTo>
                  <a:lnTo>
                    <a:pt x="464" y="140"/>
                  </a:lnTo>
                  <a:lnTo>
                    <a:pt x="466" y="137"/>
                  </a:lnTo>
                  <a:lnTo>
                    <a:pt x="470" y="139"/>
                  </a:lnTo>
                  <a:lnTo>
                    <a:pt x="471" y="139"/>
                  </a:lnTo>
                  <a:lnTo>
                    <a:pt x="469" y="136"/>
                  </a:lnTo>
                  <a:lnTo>
                    <a:pt x="470" y="135"/>
                  </a:lnTo>
                  <a:lnTo>
                    <a:pt x="475" y="137"/>
                  </a:lnTo>
                  <a:lnTo>
                    <a:pt x="476" y="137"/>
                  </a:lnTo>
                  <a:lnTo>
                    <a:pt x="472" y="134"/>
                  </a:lnTo>
                  <a:lnTo>
                    <a:pt x="473" y="133"/>
                  </a:lnTo>
                  <a:lnTo>
                    <a:pt x="475" y="133"/>
                  </a:lnTo>
                  <a:lnTo>
                    <a:pt x="476" y="133"/>
                  </a:lnTo>
                  <a:lnTo>
                    <a:pt x="475" y="131"/>
                  </a:lnTo>
                  <a:lnTo>
                    <a:pt x="477" y="131"/>
                  </a:lnTo>
                  <a:lnTo>
                    <a:pt x="478" y="131"/>
                  </a:lnTo>
                  <a:lnTo>
                    <a:pt x="482" y="133"/>
                  </a:lnTo>
                  <a:lnTo>
                    <a:pt x="483" y="133"/>
                  </a:lnTo>
                  <a:lnTo>
                    <a:pt x="484" y="134"/>
                  </a:lnTo>
                  <a:lnTo>
                    <a:pt x="485" y="133"/>
                  </a:lnTo>
                  <a:lnTo>
                    <a:pt x="485" y="130"/>
                  </a:lnTo>
                  <a:lnTo>
                    <a:pt x="484" y="129"/>
                  </a:lnTo>
                  <a:lnTo>
                    <a:pt x="483" y="129"/>
                  </a:lnTo>
                  <a:lnTo>
                    <a:pt x="483" y="128"/>
                  </a:lnTo>
                  <a:lnTo>
                    <a:pt x="482" y="128"/>
                  </a:lnTo>
                  <a:lnTo>
                    <a:pt x="482" y="129"/>
                  </a:lnTo>
                  <a:lnTo>
                    <a:pt x="479" y="129"/>
                  </a:lnTo>
                  <a:lnTo>
                    <a:pt x="479" y="128"/>
                  </a:lnTo>
                  <a:lnTo>
                    <a:pt x="483" y="125"/>
                  </a:lnTo>
                  <a:lnTo>
                    <a:pt x="483" y="127"/>
                  </a:lnTo>
                  <a:lnTo>
                    <a:pt x="485" y="128"/>
                  </a:lnTo>
                  <a:lnTo>
                    <a:pt x="487" y="128"/>
                  </a:lnTo>
                  <a:lnTo>
                    <a:pt x="488" y="128"/>
                  </a:lnTo>
                  <a:lnTo>
                    <a:pt x="488" y="127"/>
                  </a:lnTo>
                  <a:lnTo>
                    <a:pt x="487" y="125"/>
                  </a:lnTo>
                  <a:lnTo>
                    <a:pt x="485" y="125"/>
                  </a:lnTo>
                  <a:lnTo>
                    <a:pt x="487" y="124"/>
                  </a:lnTo>
                  <a:lnTo>
                    <a:pt x="488" y="124"/>
                  </a:lnTo>
                  <a:lnTo>
                    <a:pt x="490" y="125"/>
                  </a:lnTo>
                  <a:lnTo>
                    <a:pt x="491" y="127"/>
                  </a:lnTo>
                  <a:lnTo>
                    <a:pt x="493" y="125"/>
                  </a:lnTo>
                  <a:lnTo>
                    <a:pt x="491" y="125"/>
                  </a:lnTo>
                  <a:lnTo>
                    <a:pt x="490" y="123"/>
                  </a:lnTo>
                  <a:lnTo>
                    <a:pt x="491" y="122"/>
                  </a:lnTo>
                  <a:lnTo>
                    <a:pt x="493" y="123"/>
                  </a:lnTo>
                  <a:lnTo>
                    <a:pt x="495" y="123"/>
                  </a:lnTo>
                  <a:lnTo>
                    <a:pt x="496" y="123"/>
                  </a:lnTo>
                  <a:lnTo>
                    <a:pt x="497" y="124"/>
                  </a:lnTo>
                  <a:lnTo>
                    <a:pt x="499" y="124"/>
                  </a:lnTo>
                  <a:lnTo>
                    <a:pt x="500" y="124"/>
                  </a:lnTo>
                  <a:lnTo>
                    <a:pt x="497" y="122"/>
                  </a:lnTo>
                  <a:lnTo>
                    <a:pt x="495" y="121"/>
                  </a:lnTo>
                  <a:lnTo>
                    <a:pt x="506" y="115"/>
                  </a:lnTo>
                  <a:lnTo>
                    <a:pt x="506" y="113"/>
                  </a:lnTo>
                  <a:lnTo>
                    <a:pt x="502" y="113"/>
                  </a:lnTo>
                  <a:lnTo>
                    <a:pt x="496" y="117"/>
                  </a:lnTo>
                  <a:lnTo>
                    <a:pt x="495" y="118"/>
                  </a:lnTo>
                  <a:lnTo>
                    <a:pt x="494" y="118"/>
                  </a:lnTo>
                  <a:lnTo>
                    <a:pt x="495" y="116"/>
                  </a:lnTo>
                  <a:lnTo>
                    <a:pt x="496" y="115"/>
                  </a:lnTo>
                  <a:lnTo>
                    <a:pt x="495" y="113"/>
                  </a:lnTo>
                  <a:lnTo>
                    <a:pt x="491" y="117"/>
                  </a:lnTo>
                  <a:lnTo>
                    <a:pt x="491" y="119"/>
                  </a:lnTo>
                  <a:lnTo>
                    <a:pt x="490" y="119"/>
                  </a:lnTo>
                  <a:lnTo>
                    <a:pt x="489" y="119"/>
                  </a:lnTo>
                  <a:lnTo>
                    <a:pt x="488" y="118"/>
                  </a:lnTo>
                  <a:lnTo>
                    <a:pt x="488" y="119"/>
                  </a:lnTo>
                  <a:lnTo>
                    <a:pt x="487" y="121"/>
                  </a:lnTo>
                  <a:lnTo>
                    <a:pt x="485" y="122"/>
                  </a:lnTo>
                  <a:lnTo>
                    <a:pt x="484" y="121"/>
                  </a:lnTo>
                  <a:lnTo>
                    <a:pt x="483" y="121"/>
                  </a:lnTo>
                  <a:lnTo>
                    <a:pt x="483" y="122"/>
                  </a:lnTo>
                  <a:lnTo>
                    <a:pt x="483" y="123"/>
                  </a:lnTo>
                  <a:lnTo>
                    <a:pt x="482" y="124"/>
                  </a:lnTo>
                  <a:lnTo>
                    <a:pt x="481" y="125"/>
                  </a:lnTo>
                  <a:lnTo>
                    <a:pt x="478" y="125"/>
                  </a:lnTo>
                  <a:lnTo>
                    <a:pt x="479" y="124"/>
                  </a:lnTo>
                  <a:lnTo>
                    <a:pt x="481" y="123"/>
                  </a:lnTo>
                  <a:lnTo>
                    <a:pt x="479" y="122"/>
                  </a:lnTo>
                  <a:lnTo>
                    <a:pt x="479" y="121"/>
                  </a:lnTo>
                  <a:lnTo>
                    <a:pt x="478" y="119"/>
                  </a:lnTo>
                  <a:lnTo>
                    <a:pt x="477" y="121"/>
                  </a:lnTo>
                  <a:lnTo>
                    <a:pt x="476" y="122"/>
                  </a:lnTo>
                  <a:lnTo>
                    <a:pt x="476" y="123"/>
                  </a:lnTo>
                  <a:lnTo>
                    <a:pt x="475" y="124"/>
                  </a:lnTo>
                  <a:lnTo>
                    <a:pt x="473" y="125"/>
                  </a:lnTo>
                  <a:lnTo>
                    <a:pt x="472" y="127"/>
                  </a:lnTo>
                  <a:lnTo>
                    <a:pt x="472" y="128"/>
                  </a:lnTo>
                  <a:lnTo>
                    <a:pt x="471" y="130"/>
                  </a:lnTo>
                  <a:lnTo>
                    <a:pt x="470" y="133"/>
                  </a:lnTo>
                  <a:lnTo>
                    <a:pt x="469" y="128"/>
                  </a:lnTo>
                  <a:lnTo>
                    <a:pt x="467" y="128"/>
                  </a:lnTo>
                  <a:lnTo>
                    <a:pt x="466" y="129"/>
                  </a:lnTo>
                  <a:lnTo>
                    <a:pt x="466" y="131"/>
                  </a:lnTo>
                  <a:lnTo>
                    <a:pt x="467" y="133"/>
                  </a:lnTo>
                  <a:lnTo>
                    <a:pt x="466" y="134"/>
                  </a:lnTo>
                  <a:lnTo>
                    <a:pt x="465" y="136"/>
                  </a:lnTo>
                  <a:lnTo>
                    <a:pt x="464" y="137"/>
                  </a:lnTo>
                  <a:lnTo>
                    <a:pt x="461" y="139"/>
                  </a:lnTo>
                  <a:lnTo>
                    <a:pt x="460" y="139"/>
                  </a:lnTo>
                  <a:lnTo>
                    <a:pt x="459" y="137"/>
                  </a:lnTo>
                  <a:lnTo>
                    <a:pt x="459" y="135"/>
                  </a:lnTo>
                  <a:lnTo>
                    <a:pt x="460" y="136"/>
                  </a:lnTo>
                  <a:lnTo>
                    <a:pt x="461" y="136"/>
                  </a:lnTo>
                  <a:lnTo>
                    <a:pt x="463" y="136"/>
                  </a:lnTo>
                  <a:lnTo>
                    <a:pt x="461" y="135"/>
                  </a:lnTo>
                  <a:lnTo>
                    <a:pt x="461" y="134"/>
                  </a:lnTo>
                  <a:lnTo>
                    <a:pt x="461" y="133"/>
                  </a:lnTo>
                  <a:lnTo>
                    <a:pt x="461" y="131"/>
                  </a:lnTo>
                  <a:lnTo>
                    <a:pt x="460" y="130"/>
                  </a:lnTo>
                  <a:lnTo>
                    <a:pt x="460" y="131"/>
                  </a:lnTo>
                  <a:lnTo>
                    <a:pt x="459" y="133"/>
                  </a:lnTo>
                  <a:lnTo>
                    <a:pt x="458" y="134"/>
                  </a:lnTo>
                  <a:lnTo>
                    <a:pt x="458" y="133"/>
                  </a:lnTo>
                  <a:lnTo>
                    <a:pt x="457" y="131"/>
                  </a:lnTo>
                  <a:lnTo>
                    <a:pt x="455" y="130"/>
                  </a:lnTo>
                  <a:lnTo>
                    <a:pt x="454" y="130"/>
                  </a:lnTo>
                  <a:lnTo>
                    <a:pt x="455" y="131"/>
                  </a:lnTo>
                  <a:lnTo>
                    <a:pt x="455" y="133"/>
                  </a:lnTo>
                  <a:lnTo>
                    <a:pt x="457" y="134"/>
                  </a:lnTo>
                  <a:lnTo>
                    <a:pt x="455" y="134"/>
                  </a:lnTo>
                  <a:lnTo>
                    <a:pt x="454" y="135"/>
                  </a:lnTo>
                  <a:lnTo>
                    <a:pt x="454" y="137"/>
                  </a:lnTo>
                  <a:lnTo>
                    <a:pt x="454" y="136"/>
                  </a:lnTo>
                  <a:lnTo>
                    <a:pt x="455" y="136"/>
                  </a:lnTo>
                  <a:lnTo>
                    <a:pt x="457" y="136"/>
                  </a:lnTo>
                  <a:lnTo>
                    <a:pt x="458" y="137"/>
                  </a:lnTo>
                  <a:lnTo>
                    <a:pt x="458" y="140"/>
                  </a:lnTo>
                  <a:lnTo>
                    <a:pt x="458" y="141"/>
                  </a:lnTo>
                  <a:lnTo>
                    <a:pt x="457" y="142"/>
                  </a:lnTo>
                  <a:lnTo>
                    <a:pt x="455" y="143"/>
                  </a:lnTo>
                  <a:lnTo>
                    <a:pt x="453" y="145"/>
                  </a:lnTo>
                  <a:lnTo>
                    <a:pt x="452" y="146"/>
                  </a:lnTo>
                  <a:lnTo>
                    <a:pt x="451" y="147"/>
                  </a:lnTo>
                  <a:lnTo>
                    <a:pt x="448" y="148"/>
                  </a:lnTo>
                  <a:lnTo>
                    <a:pt x="446" y="151"/>
                  </a:lnTo>
                  <a:lnTo>
                    <a:pt x="444" y="153"/>
                  </a:lnTo>
                  <a:lnTo>
                    <a:pt x="442" y="152"/>
                  </a:lnTo>
                  <a:lnTo>
                    <a:pt x="440" y="152"/>
                  </a:lnTo>
                  <a:lnTo>
                    <a:pt x="438" y="151"/>
                  </a:lnTo>
                  <a:lnTo>
                    <a:pt x="437" y="148"/>
                  </a:lnTo>
                  <a:lnTo>
                    <a:pt x="436" y="146"/>
                  </a:lnTo>
                  <a:lnTo>
                    <a:pt x="436" y="143"/>
                  </a:lnTo>
                  <a:lnTo>
                    <a:pt x="437" y="143"/>
                  </a:lnTo>
                  <a:lnTo>
                    <a:pt x="438" y="145"/>
                  </a:lnTo>
                  <a:lnTo>
                    <a:pt x="441" y="145"/>
                  </a:lnTo>
                  <a:lnTo>
                    <a:pt x="441" y="143"/>
                  </a:lnTo>
                  <a:lnTo>
                    <a:pt x="440" y="142"/>
                  </a:lnTo>
                  <a:lnTo>
                    <a:pt x="436" y="142"/>
                  </a:lnTo>
                  <a:lnTo>
                    <a:pt x="435" y="142"/>
                  </a:lnTo>
                  <a:lnTo>
                    <a:pt x="435" y="141"/>
                  </a:lnTo>
                  <a:lnTo>
                    <a:pt x="435" y="140"/>
                  </a:lnTo>
                  <a:lnTo>
                    <a:pt x="436" y="140"/>
                  </a:lnTo>
                  <a:lnTo>
                    <a:pt x="440" y="140"/>
                  </a:lnTo>
                  <a:lnTo>
                    <a:pt x="440" y="139"/>
                  </a:lnTo>
                  <a:lnTo>
                    <a:pt x="440" y="136"/>
                  </a:lnTo>
                  <a:lnTo>
                    <a:pt x="441" y="134"/>
                  </a:lnTo>
                  <a:lnTo>
                    <a:pt x="442" y="134"/>
                  </a:lnTo>
                  <a:lnTo>
                    <a:pt x="441" y="133"/>
                  </a:lnTo>
                  <a:lnTo>
                    <a:pt x="438" y="133"/>
                  </a:lnTo>
                  <a:lnTo>
                    <a:pt x="436" y="133"/>
                  </a:lnTo>
                  <a:lnTo>
                    <a:pt x="432" y="131"/>
                  </a:lnTo>
                  <a:lnTo>
                    <a:pt x="432" y="130"/>
                  </a:lnTo>
                  <a:lnTo>
                    <a:pt x="434" y="129"/>
                  </a:lnTo>
                  <a:lnTo>
                    <a:pt x="436" y="129"/>
                  </a:lnTo>
                  <a:lnTo>
                    <a:pt x="437" y="129"/>
                  </a:lnTo>
                  <a:lnTo>
                    <a:pt x="438" y="129"/>
                  </a:lnTo>
                  <a:lnTo>
                    <a:pt x="437" y="127"/>
                  </a:lnTo>
                  <a:lnTo>
                    <a:pt x="437" y="125"/>
                  </a:lnTo>
                  <a:lnTo>
                    <a:pt x="438" y="125"/>
                  </a:lnTo>
                  <a:lnTo>
                    <a:pt x="438" y="127"/>
                  </a:lnTo>
                  <a:lnTo>
                    <a:pt x="441" y="127"/>
                  </a:lnTo>
                  <a:lnTo>
                    <a:pt x="441" y="125"/>
                  </a:lnTo>
                  <a:lnTo>
                    <a:pt x="437" y="124"/>
                  </a:lnTo>
                  <a:lnTo>
                    <a:pt x="438" y="123"/>
                  </a:lnTo>
                  <a:lnTo>
                    <a:pt x="440" y="122"/>
                  </a:lnTo>
                  <a:lnTo>
                    <a:pt x="441" y="123"/>
                  </a:lnTo>
                  <a:lnTo>
                    <a:pt x="443" y="123"/>
                  </a:lnTo>
                  <a:lnTo>
                    <a:pt x="444" y="123"/>
                  </a:lnTo>
                  <a:lnTo>
                    <a:pt x="446" y="124"/>
                  </a:lnTo>
                  <a:lnTo>
                    <a:pt x="448" y="125"/>
                  </a:lnTo>
                  <a:lnTo>
                    <a:pt x="449" y="127"/>
                  </a:lnTo>
                  <a:lnTo>
                    <a:pt x="451" y="125"/>
                  </a:lnTo>
                  <a:lnTo>
                    <a:pt x="451" y="124"/>
                  </a:lnTo>
                  <a:lnTo>
                    <a:pt x="449" y="124"/>
                  </a:lnTo>
                  <a:lnTo>
                    <a:pt x="447" y="121"/>
                  </a:lnTo>
                  <a:lnTo>
                    <a:pt x="448" y="121"/>
                  </a:lnTo>
                  <a:lnTo>
                    <a:pt x="449" y="121"/>
                  </a:lnTo>
                  <a:lnTo>
                    <a:pt x="449" y="122"/>
                  </a:lnTo>
                  <a:lnTo>
                    <a:pt x="449" y="121"/>
                  </a:lnTo>
                  <a:lnTo>
                    <a:pt x="448" y="118"/>
                  </a:lnTo>
                  <a:lnTo>
                    <a:pt x="448" y="117"/>
                  </a:lnTo>
                  <a:lnTo>
                    <a:pt x="449" y="116"/>
                  </a:lnTo>
                  <a:lnTo>
                    <a:pt x="451" y="116"/>
                  </a:lnTo>
                  <a:lnTo>
                    <a:pt x="452" y="117"/>
                  </a:lnTo>
                  <a:lnTo>
                    <a:pt x="452" y="121"/>
                  </a:lnTo>
                  <a:lnTo>
                    <a:pt x="452" y="122"/>
                  </a:lnTo>
                  <a:lnTo>
                    <a:pt x="453" y="122"/>
                  </a:lnTo>
                  <a:lnTo>
                    <a:pt x="454" y="119"/>
                  </a:lnTo>
                  <a:lnTo>
                    <a:pt x="454" y="118"/>
                  </a:lnTo>
                  <a:lnTo>
                    <a:pt x="455" y="117"/>
                  </a:lnTo>
                  <a:lnTo>
                    <a:pt x="458" y="117"/>
                  </a:lnTo>
                  <a:lnTo>
                    <a:pt x="457" y="116"/>
                  </a:lnTo>
                  <a:lnTo>
                    <a:pt x="455" y="116"/>
                  </a:lnTo>
                  <a:lnTo>
                    <a:pt x="453" y="115"/>
                  </a:lnTo>
                  <a:lnTo>
                    <a:pt x="454" y="115"/>
                  </a:lnTo>
                  <a:lnTo>
                    <a:pt x="455" y="115"/>
                  </a:lnTo>
                  <a:lnTo>
                    <a:pt x="455" y="113"/>
                  </a:lnTo>
                  <a:lnTo>
                    <a:pt x="457" y="112"/>
                  </a:lnTo>
                  <a:lnTo>
                    <a:pt x="457" y="111"/>
                  </a:lnTo>
                  <a:lnTo>
                    <a:pt x="458" y="110"/>
                  </a:lnTo>
                  <a:lnTo>
                    <a:pt x="460" y="109"/>
                  </a:lnTo>
                  <a:lnTo>
                    <a:pt x="461" y="110"/>
                  </a:lnTo>
                  <a:lnTo>
                    <a:pt x="461" y="109"/>
                  </a:lnTo>
                  <a:lnTo>
                    <a:pt x="464" y="107"/>
                  </a:lnTo>
                  <a:lnTo>
                    <a:pt x="465" y="109"/>
                  </a:lnTo>
                  <a:lnTo>
                    <a:pt x="464" y="106"/>
                  </a:lnTo>
                  <a:lnTo>
                    <a:pt x="463" y="105"/>
                  </a:lnTo>
                  <a:lnTo>
                    <a:pt x="461" y="105"/>
                  </a:lnTo>
                  <a:lnTo>
                    <a:pt x="461" y="104"/>
                  </a:lnTo>
                  <a:lnTo>
                    <a:pt x="463" y="103"/>
                  </a:lnTo>
                  <a:lnTo>
                    <a:pt x="464" y="103"/>
                  </a:lnTo>
                  <a:lnTo>
                    <a:pt x="465" y="103"/>
                  </a:lnTo>
                  <a:lnTo>
                    <a:pt x="466" y="103"/>
                  </a:lnTo>
                  <a:lnTo>
                    <a:pt x="469" y="103"/>
                  </a:lnTo>
                  <a:lnTo>
                    <a:pt x="471" y="103"/>
                  </a:lnTo>
                  <a:lnTo>
                    <a:pt x="473" y="103"/>
                  </a:lnTo>
                  <a:lnTo>
                    <a:pt x="475" y="104"/>
                  </a:lnTo>
                  <a:lnTo>
                    <a:pt x="476" y="104"/>
                  </a:lnTo>
                  <a:lnTo>
                    <a:pt x="477" y="103"/>
                  </a:lnTo>
                  <a:lnTo>
                    <a:pt x="477" y="101"/>
                  </a:lnTo>
                  <a:lnTo>
                    <a:pt x="476" y="100"/>
                  </a:lnTo>
                  <a:lnTo>
                    <a:pt x="475" y="100"/>
                  </a:lnTo>
                  <a:lnTo>
                    <a:pt x="473" y="99"/>
                  </a:lnTo>
                  <a:lnTo>
                    <a:pt x="473" y="100"/>
                  </a:lnTo>
                  <a:lnTo>
                    <a:pt x="472" y="100"/>
                  </a:lnTo>
                  <a:lnTo>
                    <a:pt x="472" y="99"/>
                  </a:lnTo>
                  <a:lnTo>
                    <a:pt x="472" y="98"/>
                  </a:lnTo>
                  <a:lnTo>
                    <a:pt x="473" y="98"/>
                  </a:lnTo>
                  <a:lnTo>
                    <a:pt x="475" y="99"/>
                  </a:lnTo>
                  <a:lnTo>
                    <a:pt x="478" y="101"/>
                  </a:lnTo>
                  <a:lnTo>
                    <a:pt x="478" y="100"/>
                  </a:lnTo>
                  <a:lnTo>
                    <a:pt x="478" y="99"/>
                  </a:lnTo>
                  <a:lnTo>
                    <a:pt x="477" y="99"/>
                  </a:lnTo>
                  <a:lnTo>
                    <a:pt x="476" y="99"/>
                  </a:lnTo>
                  <a:lnTo>
                    <a:pt x="476" y="98"/>
                  </a:lnTo>
                  <a:lnTo>
                    <a:pt x="475" y="97"/>
                  </a:lnTo>
                  <a:lnTo>
                    <a:pt x="475" y="95"/>
                  </a:lnTo>
                  <a:lnTo>
                    <a:pt x="477" y="95"/>
                  </a:lnTo>
                  <a:lnTo>
                    <a:pt x="478" y="95"/>
                  </a:lnTo>
                  <a:lnTo>
                    <a:pt x="479" y="97"/>
                  </a:lnTo>
                  <a:lnTo>
                    <a:pt x="481" y="99"/>
                  </a:lnTo>
                  <a:lnTo>
                    <a:pt x="482" y="99"/>
                  </a:lnTo>
                  <a:lnTo>
                    <a:pt x="482" y="97"/>
                  </a:lnTo>
                  <a:lnTo>
                    <a:pt x="481" y="97"/>
                  </a:lnTo>
                  <a:lnTo>
                    <a:pt x="481" y="95"/>
                  </a:lnTo>
                  <a:lnTo>
                    <a:pt x="481" y="94"/>
                  </a:lnTo>
                  <a:lnTo>
                    <a:pt x="481" y="93"/>
                  </a:lnTo>
                  <a:lnTo>
                    <a:pt x="482" y="93"/>
                  </a:lnTo>
                  <a:lnTo>
                    <a:pt x="482" y="94"/>
                  </a:lnTo>
                  <a:lnTo>
                    <a:pt x="483" y="94"/>
                  </a:lnTo>
                  <a:lnTo>
                    <a:pt x="485" y="95"/>
                  </a:lnTo>
                  <a:lnTo>
                    <a:pt x="488" y="95"/>
                  </a:lnTo>
                  <a:lnTo>
                    <a:pt x="488" y="94"/>
                  </a:lnTo>
                  <a:lnTo>
                    <a:pt x="487" y="94"/>
                  </a:lnTo>
                  <a:lnTo>
                    <a:pt x="487" y="93"/>
                  </a:lnTo>
                  <a:lnTo>
                    <a:pt x="485" y="92"/>
                  </a:lnTo>
                  <a:lnTo>
                    <a:pt x="484" y="92"/>
                  </a:lnTo>
                  <a:lnTo>
                    <a:pt x="484" y="90"/>
                  </a:lnTo>
                  <a:lnTo>
                    <a:pt x="485" y="90"/>
                  </a:lnTo>
                  <a:lnTo>
                    <a:pt x="491" y="87"/>
                  </a:lnTo>
                  <a:lnTo>
                    <a:pt x="493" y="86"/>
                  </a:lnTo>
                  <a:lnTo>
                    <a:pt x="493" y="84"/>
                  </a:lnTo>
                  <a:lnTo>
                    <a:pt x="491" y="86"/>
                  </a:lnTo>
                  <a:lnTo>
                    <a:pt x="489" y="87"/>
                  </a:lnTo>
                  <a:lnTo>
                    <a:pt x="484" y="89"/>
                  </a:lnTo>
                  <a:lnTo>
                    <a:pt x="485" y="88"/>
                  </a:lnTo>
                  <a:lnTo>
                    <a:pt x="485" y="86"/>
                  </a:lnTo>
                  <a:lnTo>
                    <a:pt x="483" y="86"/>
                  </a:lnTo>
                  <a:lnTo>
                    <a:pt x="482" y="87"/>
                  </a:lnTo>
                  <a:lnTo>
                    <a:pt x="479" y="89"/>
                  </a:lnTo>
                  <a:lnTo>
                    <a:pt x="478" y="89"/>
                  </a:lnTo>
                  <a:lnTo>
                    <a:pt x="477" y="90"/>
                  </a:lnTo>
                  <a:lnTo>
                    <a:pt x="476" y="92"/>
                  </a:lnTo>
                  <a:lnTo>
                    <a:pt x="475" y="92"/>
                  </a:lnTo>
                  <a:lnTo>
                    <a:pt x="475" y="90"/>
                  </a:lnTo>
                  <a:lnTo>
                    <a:pt x="473" y="89"/>
                  </a:lnTo>
                  <a:lnTo>
                    <a:pt x="472" y="90"/>
                  </a:lnTo>
                  <a:lnTo>
                    <a:pt x="472" y="92"/>
                  </a:lnTo>
                  <a:lnTo>
                    <a:pt x="470" y="93"/>
                  </a:lnTo>
                  <a:lnTo>
                    <a:pt x="469" y="94"/>
                  </a:lnTo>
                  <a:lnTo>
                    <a:pt x="467" y="95"/>
                  </a:lnTo>
                  <a:lnTo>
                    <a:pt x="466" y="94"/>
                  </a:lnTo>
                  <a:lnTo>
                    <a:pt x="469" y="93"/>
                  </a:lnTo>
                  <a:lnTo>
                    <a:pt x="469" y="92"/>
                  </a:lnTo>
                  <a:lnTo>
                    <a:pt x="467" y="92"/>
                  </a:lnTo>
                  <a:lnTo>
                    <a:pt x="466" y="90"/>
                  </a:lnTo>
                  <a:lnTo>
                    <a:pt x="466" y="89"/>
                  </a:lnTo>
                  <a:lnTo>
                    <a:pt x="465" y="90"/>
                  </a:lnTo>
                  <a:lnTo>
                    <a:pt x="464" y="92"/>
                  </a:lnTo>
                  <a:lnTo>
                    <a:pt x="463" y="93"/>
                  </a:lnTo>
                  <a:lnTo>
                    <a:pt x="463" y="94"/>
                  </a:lnTo>
                  <a:lnTo>
                    <a:pt x="463" y="95"/>
                  </a:lnTo>
                  <a:lnTo>
                    <a:pt x="464" y="94"/>
                  </a:lnTo>
                  <a:lnTo>
                    <a:pt x="464" y="95"/>
                  </a:lnTo>
                  <a:lnTo>
                    <a:pt x="463" y="97"/>
                  </a:lnTo>
                  <a:lnTo>
                    <a:pt x="461" y="95"/>
                  </a:lnTo>
                  <a:lnTo>
                    <a:pt x="461" y="97"/>
                  </a:lnTo>
                  <a:lnTo>
                    <a:pt x="460" y="97"/>
                  </a:lnTo>
                  <a:lnTo>
                    <a:pt x="459" y="98"/>
                  </a:lnTo>
                  <a:lnTo>
                    <a:pt x="458" y="99"/>
                  </a:lnTo>
                  <a:lnTo>
                    <a:pt x="457" y="99"/>
                  </a:lnTo>
                  <a:lnTo>
                    <a:pt x="455" y="100"/>
                  </a:lnTo>
                  <a:lnTo>
                    <a:pt x="454" y="101"/>
                  </a:lnTo>
                  <a:lnTo>
                    <a:pt x="453" y="100"/>
                  </a:lnTo>
                  <a:lnTo>
                    <a:pt x="451" y="100"/>
                  </a:lnTo>
                  <a:lnTo>
                    <a:pt x="449" y="100"/>
                  </a:lnTo>
                  <a:lnTo>
                    <a:pt x="449" y="101"/>
                  </a:lnTo>
                  <a:lnTo>
                    <a:pt x="448" y="104"/>
                  </a:lnTo>
                  <a:lnTo>
                    <a:pt x="447" y="105"/>
                  </a:lnTo>
                  <a:lnTo>
                    <a:pt x="444" y="106"/>
                  </a:lnTo>
                  <a:lnTo>
                    <a:pt x="443" y="109"/>
                  </a:lnTo>
                  <a:lnTo>
                    <a:pt x="441" y="110"/>
                  </a:lnTo>
                  <a:lnTo>
                    <a:pt x="441" y="109"/>
                  </a:lnTo>
                  <a:lnTo>
                    <a:pt x="441" y="107"/>
                  </a:lnTo>
                  <a:lnTo>
                    <a:pt x="440" y="106"/>
                  </a:lnTo>
                  <a:lnTo>
                    <a:pt x="441" y="105"/>
                  </a:lnTo>
                  <a:lnTo>
                    <a:pt x="441" y="104"/>
                  </a:lnTo>
                  <a:lnTo>
                    <a:pt x="441" y="101"/>
                  </a:lnTo>
                  <a:lnTo>
                    <a:pt x="447" y="101"/>
                  </a:lnTo>
                  <a:lnTo>
                    <a:pt x="446" y="100"/>
                  </a:lnTo>
                  <a:lnTo>
                    <a:pt x="448" y="99"/>
                  </a:lnTo>
                  <a:lnTo>
                    <a:pt x="447" y="98"/>
                  </a:lnTo>
                  <a:lnTo>
                    <a:pt x="444" y="99"/>
                  </a:lnTo>
                  <a:lnTo>
                    <a:pt x="441" y="99"/>
                  </a:lnTo>
                  <a:lnTo>
                    <a:pt x="440" y="98"/>
                  </a:lnTo>
                  <a:lnTo>
                    <a:pt x="441" y="97"/>
                  </a:lnTo>
                  <a:lnTo>
                    <a:pt x="438" y="95"/>
                  </a:lnTo>
                  <a:lnTo>
                    <a:pt x="437" y="95"/>
                  </a:lnTo>
                  <a:lnTo>
                    <a:pt x="437" y="97"/>
                  </a:lnTo>
                  <a:lnTo>
                    <a:pt x="436" y="97"/>
                  </a:lnTo>
                  <a:lnTo>
                    <a:pt x="434" y="97"/>
                  </a:lnTo>
                  <a:lnTo>
                    <a:pt x="432" y="98"/>
                  </a:lnTo>
                  <a:lnTo>
                    <a:pt x="430" y="98"/>
                  </a:lnTo>
                  <a:lnTo>
                    <a:pt x="428" y="98"/>
                  </a:lnTo>
                  <a:lnTo>
                    <a:pt x="425" y="97"/>
                  </a:lnTo>
                  <a:lnTo>
                    <a:pt x="424" y="95"/>
                  </a:lnTo>
                  <a:lnTo>
                    <a:pt x="426" y="94"/>
                  </a:lnTo>
                  <a:lnTo>
                    <a:pt x="425" y="93"/>
                  </a:lnTo>
                  <a:lnTo>
                    <a:pt x="425" y="89"/>
                  </a:lnTo>
                  <a:lnTo>
                    <a:pt x="424" y="88"/>
                  </a:lnTo>
                  <a:lnTo>
                    <a:pt x="425" y="88"/>
                  </a:lnTo>
                  <a:lnTo>
                    <a:pt x="426" y="89"/>
                  </a:lnTo>
                  <a:lnTo>
                    <a:pt x="429" y="90"/>
                  </a:lnTo>
                  <a:lnTo>
                    <a:pt x="429" y="92"/>
                  </a:lnTo>
                  <a:lnTo>
                    <a:pt x="430" y="93"/>
                  </a:lnTo>
                  <a:lnTo>
                    <a:pt x="430" y="92"/>
                  </a:lnTo>
                  <a:lnTo>
                    <a:pt x="430" y="94"/>
                  </a:lnTo>
                  <a:lnTo>
                    <a:pt x="431" y="95"/>
                  </a:lnTo>
                  <a:lnTo>
                    <a:pt x="432" y="95"/>
                  </a:lnTo>
                  <a:lnTo>
                    <a:pt x="432" y="94"/>
                  </a:lnTo>
                  <a:lnTo>
                    <a:pt x="434" y="93"/>
                  </a:lnTo>
                  <a:lnTo>
                    <a:pt x="436" y="94"/>
                  </a:lnTo>
                  <a:lnTo>
                    <a:pt x="437" y="94"/>
                  </a:lnTo>
                  <a:lnTo>
                    <a:pt x="438" y="94"/>
                  </a:lnTo>
                  <a:lnTo>
                    <a:pt x="437" y="94"/>
                  </a:lnTo>
                  <a:lnTo>
                    <a:pt x="436" y="93"/>
                  </a:lnTo>
                  <a:lnTo>
                    <a:pt x="436" y="92"/>
                  </a:lnTo>
                  <a:lnTo>
                    <a:pt x="437" y="92"/>
                  </a:lnTo>
                  <a:lnTo>
                    <a:pt x="438" y="90"/>
                  </a:lnTo>
                  <a:lnTo>
                    <a:pt x="437" y="89"/>
                  </a:lnTo>
                  <a:lnTo>
                    <a:pt x="435" y="89"/>
                  </a:lnTo>
                  <a:lnTo>
                    <a:pt x="432" y="90"/>
                  </a:lnTo>
                  <a:lnTo>
                    <a:pt x="431" y="88"/>
                  </a:lnTo>
                  <a:lnTo>
                    <a:pt x="430" y="87"/>
                  </a:lnTo>
                  <a:lnTo>
                    <a:pt x="428" y="87"/>
                  </a:lnTo>
                  <a:lnTo>
                    <a:pt x="425" y="86"/>
                  </a:lnTo>
                  <a:lnTo>
                    <a:pt x="422" y="83"/>
                  </a:lnTo>
                  <a:lnTo>
                    <a:pt x="419" y="81"/>
                  </a:lnTo>
                  <a:lnTo>
                    <a:pt x="420" y="81"/>
                  </a:lnTo>
                  <a:lnTo>
                    <a:pt x="420" y="80"/>
                  </a:lnTo>
                  <a:lnTo>
                    <a:pt x="419" y="78"/>
                  </a:lnTo>
                  <a:lnTo>
                    <a:pt x="420" y="77"/>
                  </a:lnTo>
                  <a:lnTo>
                    <a:pt x="420" y="75"/>
                  </a:lnTo>
                  <a:lnTo>
                    <a:pt x="423" y="74"/>
                  </a:lnTo>
                  <a:lnTo>
                    <a:pt x="424" y="69"/>
                  </a:lnTo>
                  <a:lnTo>
                    <a:pt x="424" y="66"/>
                  </a:lnTo>
                  <a:lnTo>
                    <a:pt x="425" y="64"/>
                  </a:lnTo>
                  <a:lnTo>
                    <a:pt x="426" y="63"/>
                  </a:lnTo>
                  <a:lnTo>
                    <a:pt x="426" y="62"/>
                  </a:lnTo>
                  <a:lnTo>
                    <a:pt x="428" y="62"/>
                  </a:lnTo>
                  <a:lnTo>
                    <a:pt x="426" y="60"/>
                  </a:lnTo>
                  <a:lnTo>
                    <a:pt x="424" y="60"/>
                  </a:lnTo>
                  <a:lnTo>
                    <a:pt x="422" y="60"/>
                  </a:lnTo>
                  <a:lnTo>
                    <a:pt x="422" y="59"/>
                  </a:lnTo>
                  <a:lnTo>
                    <a:pt x="423" y="58"/>
                  </a:lnTo>
                  <a:lnTo>
                    <a:pt x="425" y="58"/>
                  </a:lnTo>
                  <a:lnTo>
                    <a:pt x="426" y="57"/>
                  </a:lnTo>
                  <a:lnTo>
                    <a:pt x="428" y="58"/>
                  </a:lnTo>
                  <a:lnTo>
                    <a:pt x="429" y="58"/>
                  </a:lnTo>
                  <a:lnTo>
                    <a:pt x="430" y="57"/>
                  </a:lnTo>
                  <a:lnTo>
                    <a:pt x="430" y="56"/>
                  </a:lnTo>
                  <a:lnTo>
                    <a:pt x="428" y="54"/>
                  </a:lnTo>
                  <a:lnTo>
                    <a:pt x="430" y="53"/>
                  </a:lnTo>
                  <a:lnTo>
                    <a:pt x="428" y="52"/>
                  </a:lnTo>
                  <a:lnTo>
                    <a:pt x="426" y="52"/>
                  </a:lnTo>
                  <a:lnTo>
                    <a:pt x="424" y="52"/>
                  </a:lnTo>
                  <a:lnTo>
                    <a:pt x="423" y="53"/>
                  </a:lnTo>
                  <a:lnTo>
                    <a:pt x="422" y="53"/>
                  </a:lnTo>
                  <a:lnTo>
                    <a:pt x="420" y="52"/>
                  </a:lnTo>
                  <a:lnTo>
                    <a:pt x="419" y="51"/>
                  </a:lnTo>
                  <a:lnTo>
                    <a:pt x="420" y="50"/>
                  </a:lnTo>
                  <a:lnTo>
                    <a:pt x="423" y="48"/>
                  </a:lnTo>
                  <a:lnTo>
                    <a:pt x="425" y="47"/>
                  </a:lnTo>
                  <a:lnTo>
                    <a:pt x="428" y="47"/>
                  </a:lnTo>
                  <a:lnTo>
                    <a:pt x="429" y="50"/>
                  </a:lnTo>
                  <a:lnTo>
                    <a:pt x="430" y="48"/>
                  </a:lnTo>
                  <a:lnTo>
                    <a:pt x="430" y="47"/>
                  </a:lnTo>
                  <a:lnTo>
                    <a:pt x="429" y="46"/>
                  </a:lnTo>
                  <a:lnTo>
                    <a:pt x="431" y="47"/>
                  </a:lnTo>
                  <a:lnTo>
                    <a:pt x="434" y="47"/>
                  </a:lnTo>
                  <a:lnTo>
                    <a:pt x="432" y="46"/>
                  </a:lnTo>
                  <a:lnTo>
                    <a:pt x="432" y="45"/>
                  </a:lnTo>
                  <a:lnTo>
                    <a:pt x="434" y="45"/>
                  </a:lnTo>
                  <a:lnTo>
                    <a:pt x="436" y="45"/>
                  </a:lnTo>
                  <a:lnTo>
                    <a:pt x="436" y="46"/>
                  </a:lnTo>
                  <a:lnTo>
                    <a:pt x="438" y="47"/>
                  </a:lnTo>
                  <a:lnTo>
                    <a:pt x="440" y="47"/>
                  </a:lnTo>
                  <a:lnTo>
                    <a:pt x="440" y="46"/>
                  </a:lnTo>
                  <a:lnTo>
                    <a:pt x="438" y="45"/>
                  </a:lnTo>
                  <a:lnTo>
                    <a:pt x="438" y="44"/>
                  </a:lnTo>
                  <a:lnTo>
                    <a:pt x="442" y="42"/>
                  </a:lnTo>
                  <a:lnTo>
                    <a:pt x="444" y="42"/>
                  </a:lnTo>
                  <a:lnTo>
                    <a:pt x="446" y="41"/>
                  </a:lnTo>
                  <a:lnTo>
                    <a:pt x="444" y="40"/>
                  </a:lnTo>
                  <a:lnTo>
                    <a:pt x="442" y="41"/>
                  </a:lnTo>
                  <a:lnTo>
                    <a:pt x="441" y="41"/>
                  </a:lnTo>
                  <a:lnTo>
                    <a:pt x="441" y="39"/>
                  </a:lnTo>
                  <a:lnTo>
                    <a:pt x="440" y="39"/>
                  </a:lnTo>
                  <a:lnTo>
                    <a:pt x="436" y="41"/>
                  </a:lnTo>
                  <a:lnTo>
                    <a:pt x="434" y="42"/>
                  </a:lnTo>
                  <a:lnTo>
                    <a:pt x="434" y="41"/>
                  </a:lnTo>
                  <a:lnTo>
                    <a:pt x="435" y="40"/>
                  </a:lnTo>
                  <a:lnTo>
                    <a:pt x="435" y="38"/>
                  </a:lnTo>
                  <a:lnTo>
                    <a:pt x="434" y="36"/>
                  </a:lnTo>
                  <a:lnTo>
                    <a:pt x="434" y="38"/>
                  </a:lnTo>
                  <a:lnTo>
                    <a:pt x="432" y="40"/>
                  </a:lnTo>
                  <a:lnTo>
                    <a:pt x="432" y="41"/>
                  </a:lnTo>
                  <a:lnTo>
                    <a:pt x="431" y="42"/>
                  </a:lnTo>
                  <a:lnTo>
                    <a:pt x="430" y="42"/>
                  </a:lnTo>
                  <a:lnTo>
                    <a:pt x="429" y="42"/>
                  </a:lnTo>
                  <a:lnTo>
                    <a:pt x="426" y="44"/>
                  </a:lnTo>
                  <a:lnTo>
                    <a:pt x="426" y="45"/>
                  </a:lnTo>
                  <a:lnTo>
                    <a:pt x="424" y="45"/>
                  </a:lnTo>
                  <a:lnTo>
                    <a:pt x="423" y="45"/>
                  </a:lnTo>
                  <a:lnTo>
                    <a:pt x="423" y="44"/>
                  </a:lnTo>
                  <a:lnTo>
                    <a:pt x="424" y="42"/>
                  </a:lnTo>
                  <a:lnTo>
                    <a:pt x="424" y="41"/>
                  </a:lnTo>
                  <a:lnTo>
                    <a:pt x="425" y="42"/>
                  </a:lnTo>
                  <a:lnTo>
                    <a:pt x="426" y="42"/>
                  </a:lnTo>
                  <a:lnTo>
                    <a:pt x="426" y="41"/>
                  </a:lnTo>
                  <a:lnTo>
                    <a:pt x="426" y="40"/>
                  </a:lnTo>
                  <a:lnTo>
                    <a:pt x="428" y="41"/>
                  </a:lnTo>
                  <a:lnTo>
                    <a:pt x="429" y="41"/>
                  </a:lnTo>
                  <a:lnTo>
                    <a:pt x="429" y="40"/>
                  </a:lnTo>
                  <a:lnTo>
                    <a:pt x="428" y="40"/>
                  </a:lnTo>
                  <a:lnTo>
                    <a:pt x="428" y="39"/>
                  </a:lnTo>
                  <a:lnTo>
                    <a:pt x="428" y="38"/>
                  </a:lnTo>
                  <a:lnTo>
                    <a:pt x="426" y="38"/>
                  </a:lnTo>
                  <a:lnTo>
                    <a:pt x="425" y="36"/>
                  </a:lnTo>
                  <a:lnTo>
                    <a:pt x="426" y="35"/>
                  </a:lnTo>
                  <a:lnTo>
                    <a:pt x="428" y="34"/>
                  </a:lnTo>
                  <a:lnTo>
                    <a:pt x="428" y="35"/>
                  </a:lnTo>
                  <a:lnTo>
                    <a:pt x="430" y="35"/>
                  </a:lnTo>
                  <a:lnTo>
                    <a:pt x="434" y="35"/>
                  </a:lnTo>
                  <a:lnTo>
                    <a:pt x="435" y="34"/>
                  </a:lnTo>
                  <a:lnTo>
                    <a:pt x="434" y="34"/>
                  </a:lnTo>
                  <a:lnTo>
                    <a:pt x="429" y="34"/>
                  </a:lnTo>
                  <a:lnTo>
                    <a:pt x="430" y="32"/>
                  </a:lnTo>
                  <a:lnTo>
                    <a:pt x="431" y="32"/>
                  </a:lnTo>
                  <a:lnTo>
                    <a:pt x="434" y="30"/>
                  </a:lnTo>
                  <a:lnTo>
                    <a:pt x="435" y="30"/>
                  </a:lnTo>
                  <a:lnTo>
                    <a:pt x="435" y="29"/>
                  </a:lnTo>
                  <a:lnTo>
                    <a:pt x="432" y="29"/>
                  </a:lnTo>
                  <a:lnTo>
                    <a:pt x="431" y="29"/>
                  </a:lnTo>
                  <a:lnTo>
                    <a:pt x="430" y="30"/>
                  </a:lnTo>
                  <a:lnTo>
                    <a:pt x="430" y="29"/>
                  </a:lnTo>
                  <a:lnTo>
                    <a:pt x="435" y="23"/>
                  </a:lnTo>
                  <a:lnTo>
                    <a:pt x="437" y="21"/>
                  </a:lnTo>
                  <a:lnTo>
                    <a:pt x="441" y="16"/>
                  </a:lnTo>
                  <a:lnTo>
                    <a:pt x="444" y="14"/>
                  </a:lnTo>
                  <a:lnTo>
                    <a:pt x="443" y="12"/>
                  </a:lnTo>
                  <a:lnTo>
                    <a:pt x="441" y="14"/>
                  </a:lnTo>
                  <a:lnTo>
                    <a:pt x="440" y="15"/>
                  </a:lnTo>
                  <a:lnTo>
                    <a:pt x="437" y="18"/>
                  </a:lnTo>
                  <a:lnTo>
                    <a:pt x="432" y="22"/>
                  </a:lnTo>
                  <a:lnTo>
                    <a:pt x="430" y="26"/>
                  </a:lnTo>
                  <a:lnTo>
                    <a:pt x="428" y="29"/>
                  </a:lnTo>
                  <a:lnTo>
                    <a:pt x="426" y="32"/>
                  </a:lnTo>
                  <a:lnTo>
                    <a:pt x="425" y="32"/>
                  </a:lnTo>
                  <a:lnTo>
                    <a:pt x="423" y="30"/>
                  </a:lnTo>
                  <a:lnTo>
                    <a:pt x="422" y="28"/>
                  </a:lnTo>
                  <a:lnTo>
                    <a:pt x="419" y="26"/>
                  </a:lnTo>
                  <a:lnTo>
                    <a:pt x="418" y="24"/>
                  </a:lnTo>
                  <a:lnTo>
                    <a:pt x="417" y="24"/>
                  </a:lnTo>
                  <a:lnTo>
                    <a:pt x="416" y="24"/>
                  </a:lnTo>
                  <a:lnTo>
                    <a:pt x="417" y="27"/>
                  </a:lnTo>
                  <a:lnTo>
                    <a:pt x="418" y="27"/>
                  </a:lnTo>
                  <a:lnTo>
                    <a:pt x="419" y="27"/>
                  </a:lnTo>
                  <a:lnTo>
                    <a:pt x="420" y="28"/>
                  </a:lnTo>
                  <a:lnTo>
                    <a:pt x="422" y="29"/>
                  </a:lnTo>
                  <a:lnTo>
                    <a:pt x="423" y="32"/>
                  </a:lnTo>
                  <a:lnTo>
                    <a:pt x="424" y="33"/>
                  </a:lnTo>
                  <a:lnTo>
                    <a:pt x="424" y="35"/>
                  </a:lnTo>
                  <a:lnTo>
                    <a:pt x="424" y="36"/>
                  </a:lnTo>
                  <a:lnTo>
                    <a:pt x="422" y="35"/>
                  </a:lnTo>
                  <a:lnTo>
                    <a:pt x="420" y="34"/>
                  </a:lnTo>
                  <a:lnTo>
                    <a:pt x="419" y="33"/>
                  </a:lnTo>
                  <a:lnTo>
                    <a:pt x="418" y="34"/>
                  </a:lnTo>
                  <a:lnTo>
                    <a:pt x="419" y="35"/>
                  </a:lnTo>
                  <a:lnTo>
                    <a:pt x="420" y="36"/>
                  </a:lnTo>
                  <a:lnTo>
                    <a:pt x="422" y="38"/>
                  </a:lnTo>
                  <a:lnTo>
                    <a:pt x="422" y="39"/>
                  </a:lnTo>
                  <a:lnTo>
                    <a:pt x="420" y="40"/>
                  </a:lnTo>
                  <a:lnTo>
                    <a:pt x="418" y="38"/>
                  </a:lnTo>
                  <a:lnTo>
                    <a:pt x="417" y="38"/>
                  </a:lnTo>
                  <a:lnTo>
                    <a:pt x="418" y="40"/>
                  </a:lnTo>
                  <a:lnTo>
                    <a:pt x="419" y="41"/>
                  </a:lnTo>
                  <a:lnTo>
                    <a:pt x="420" y="42"/>
                  </a:lnTo>
                  <a:lnTo>
                    <a:pt x="420" y="44"/>
                  </a:lnTo>
                  <a:lnTo>
                    <a:pt x="420" y="45"/>
                  </a:lnTo>
                  <a:lnTo>
                    <a:pt x="419" y="45"/>
                  </a:lnTo>
                  <a:lnTo>
                    <a:pt x="418" y="44"/>
                  </a:lnTo>
                  <a:lnTo>
                    <a:pt x="417" y="44"/>
                  </a:lnTo>
                  <a:lnTo>
                    <a:pt x="417" y="42"/>
                  </a:lnTo>
                  <a:lnTo>
                    <a:pt x="416" y="41"/>
                  </a:lnTo>
                  <a:lnTo>
                    <a:pt x="414" y="41"/>
                  </a:lnTo>
                  <a:lnTo>
                    <a:pt x="413" y="40"/>
                  </a:lnTo>
                  <a:lnTo>
                    <a:pt x="414" y="39"/>
                  </a:lnTo>
                  <a:lnTo>
                    <a:pt x="416" y="38"/>
                  </a:lnTo>
                  <a:lnTo>
                    <a:pt x="416" y="36"/>
                  </a:lnTo>
                  <a:lnTo>
                    <a:pt x="416" y="35"/>
                  </a:lnTo>
                  <a:lnTo>
                    <a:pt x="413" y="35"/>
                  </a:lnTo>
                  <a:lnTo>
                    <a:pt x="413" y="36"/>
                  </a:lnTo>
                  <a:lnTo>
                    <a:pt x="413" y="33"/>
                  </a:lnTo>
                  <a:lnTo>
                    <a:pt x="413" y="32"/>
                  </a:lnTo>
                  <a:lnTo>
                    <a:pt x="414" y="32"/>
                  </a:lnTo>
                  <a:lnTo>
                    <a:pt x="417" y="32"/>
                  </a:lnTo>
                  <a:lnTo>
                    <a:pt x="419" y="30"/>
                  </a:lnTo>
                  <a:lnTo>
                    <a:pt x="420" y="30"/>
                  </a:lnTo>
                  <a:lnTo>
                    <a:pt x="420" y="29"/>
                  </a:lnTo>
                  <a:lnTo>
                    <a:pt x="418" y="29"/>
                  </a:lnTo>
                  <a:lnTo>
                    <a:pt x="414" y="29"/>
                  </a:lnTo>
                  <a:lnTo>
                    <a:pt x="412" y="29"/>
                  </a:lnTo>
                  <a:lnTo>
                    <a:pt x="412" y="27"/>
                  </a:lnTo>
                  <a:lnTo>
                    <a:pt x="412" y="26"/>
                  </a:lnTo>
                  <a:lnTo>
                    <a:pt x="411" y="23"/>
                  </a:lnTo>
                  <a:lnTo>
                    <a:pt x="411" y="18"/>
                  </a:lnTo>
                  <a:lnTo>
                    <a:pt x="411" y="15"/>
                  </a:lnTo>
                  <a:lnTo>
                    <a:pt x="410" y="16"/>
                  </a:lnTo>
                  <a:lnTo>
                    <a:pt x="410" y="23"/>
                  </a:lnTo>
                  <a:lnTo>
                    <a:pt x="410" y="28"/>
                  </a:lnTo>
                  <a:lnTo>
                    <a:pt x="410" y="32"/>
                  </a:lnTo>
                  <a:lnTo>
                    <a:pt x="411" y="34"/>
                  </a:lnTo>
                  <a:lnTo>
                    <a:pt x="412" y="36"/>
                  </a:lnTo>
                  <a:lnTo>
                    <a:pt x="411" y="39"/>
                  </a:lnTo>
                  <a:lnTo>
                    <a:pt x="410" y="38"/>
                  </a:lnTo>
                  <a:lnTo>
                    <a:pt x="408" y="35"/>
                  </a:lnTo>
                  <a:lnTo>
                    <a:pt x="408" y="36"/>
                  </a:lnTo>
                  <a:lnTo>
                    <a:pt x="407" y="38"/>
                  </a:lnTo>
                  <a:lnTo>
                    <a:pt x="407" y="39"/>
                  </a:lnTo>
                  <a:lnTo>
                    <a:pt x="406" y="41"/>
                  </a:lnTo>
                  <a:lnTo>
                    <a:pt x="405" y="41"/>
                  </a:lnTo>
                  <a:lnTo>
                    <a:pt x="404" y="40"/>
                  </a:lnTo>
                  <a:lnTo>
                    <a:pt x="402" y="38"/>
                  </a:lnTo>
                  <a:lnTo>
                    <a:pt x="402" y="36"/>
                  </a:lnTo>
                  <a:lnTo>
                    <a:pt x="404" y="35"/>
                  </a:lnTo>
                  <a:lnTo>
                    <a:pt x="405" y="34"/>
                  </a:lnTo>
                  <a:lnTo>
                    <a:pt x="406" y="33"/>
                  </a:lnTo>
                  <a:lnTo>
                    <a:pt x="405" y="32"/>
                  </a:lnTo>
                  <a:lnTo>
                    <a:pt x="402" y="33"/>
                  </a:lnTo>
                  <a:lnTo>
                    <a:pt x="401" y="34"/>
                  </a:lnTo>
                  <a:lnTo>
                    <a:pt x="400" y="34"/>
                  </a:lnTo>
                  <a:lnTo>
                    <a:pt x="402" y="33"/>
                  </a:lnTo>
                  <a:lnTo>
                    <a:pt x="402" y="32"/>
                  </a:lnTo>
                  <a:lnTo>
                    <a:pt x="400" y="33"/>
                  </a:lnTo>
                  <a:lnTo>
                    <a:pt x="400" y="32"/>
                  </a:lnTo>
                  <a:lnTo>
                    <a:pt x="401" y="30"/>
                  </a:lnTo>
                  <a:lnTo>
                    <a:pt x="402" y="28"/>
                  </a:lnTo>
                  <a:lnTo>
                    <a:pt x="401" y="27"/>
                  </a:lnTo>
                  <a:lnTo>
                    <a:pt x="400" y="28"/>
                  </a:lnTo>
                  <a:lnTo>
                    <a:pt x="399" y="27"/>
                  </a:lnTo>
                  <a:lnTo>
                    <a:pt x="400" y="26"/>
                  </a:lnTo>
                  <a:lnTo>
                    <a:pt x="402" y="24"/>
                  </a:lnTo>
                  <a:lnTo>
                    <a:pt x="405" y="22"/>
                  </a:lnTo>
                  <a:lnTo>
                    <a:pt x="408" y="17"/>
                  </a:lnTo>
                  <a:lnTo>
                    <a:pt x="408" y="16"/>
                  </a:lnTo>
                  <a:lnTo>
                    <a:pt x="407" y="17"/>
                  </a:lnTo>
                  <a:lnTo>
                    <a:pt x="406" y="17"/>
                  </a:lnTo>
                  <a:lnTo>
                    <a:pt x="400" y="23"/>
                  </a:lnTo>
                  <a:lnTo>
                    <a:pt x="400" y="22"/>
                  </a:lnTo>
                  <a:lnTo>
                    <a:pt x="400" y="21"/>
                  </a:lnTo>
                  <a:lnTo>
                    <a:pt x="401" y="20"/>
                  </a:lnTo>
                  <a:lnTo>
                    <a:pt x="401" y="18"/>
                  </a:lnTo>
                  <a:lnTo>
                    <a:pt x="402" y="17"/>
                  </a:lnTo>
                  <a:lnTo>
                    <a:pt x="401" y="15"/>
                  </a:lnTo>
                  <a:lnTo>
                    <a:pt x="400" y="15"/>
                  </a:lnTo>
                  <a:lnTo>
                    <a:pt x="400" y="16"/>
                  </a:lnTo>
                  <a:lnTo>
                    <a:pt x="400" y="17"/>
                  </a:lnTo>
                  <a:lnTo>
                    <a:pt x="399" y="17"/>
                  </a:lnTo>
                  <a:lnTo>
                    <a:pt x="399" y="15"/>
                  </a:lnTo>
                  <a:lnTo>
                    <a:pt x="399" y="12"/>
                  </a:lnTo>
                  <a:lnTo>
                    <a:pt x="399" y="9"/>
                  </a:lnTo>
                  <a:lnTo>
                    <a:pt x="398" y="9"/>
                  </a:lnTo>
                  <a:lnTo>
                    <a:pt x="398" y="10"/>
                  </a:lnTo>
                  <a:lnTo>
                    <a:pt x="398" y="14"/>
                  </a:lnTo>
                  <a:lnTo>
                    <a:pt x="398" y="17"/>
                  </a:lnTo>
                  <a:lnTo>
                    <a:pt x="398" y="20"/>
                  </a:lnTo>
                  <a:lnTo>
                    <a:pt x="398" y="21"/>
                  </a:lnTo>
                  <a:lnTo>
                    <a:pt x="398" y="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7" name="Freeform 80"/>
            <p:cNvSpPr>
              <a:spLocks/>
            </p:cNvSpPr>
            <p:nvPr userDrawn="1"/>
          </p:nvSpPr>
          <p:spPr bwMode="auto">
            <a:xfrm>
              <a:off x="7605713" y="6399213"/>
              <a:ext cx="211138" cy="236538"/>
            </a:xfrm>
            <a:custGeom>
              <a:avLst/>
              <a:gdLst/>
              <a:ahLst/>
              <a:cxnLst>
                <a:cxn ang="0">
                  <a:pos x="230" y="546"/>
                </a:cxn>
                <a:cxn ang="0">
                  <a:pos x="191" y="515"/>
                </a:cxn>
                <a:cxn ang="0">
                  <a:pos x="202" y="469"/>
                </a:cxn>
                <a:cxn ang="0">
                  <a:pos x="149" y="474"/>
                </a:cxn>
                <a:cxn ang="0">
                  <a:pos x="93" y="499"/>
                </a:cxn>
                <a:cxn ang="0">
                  <a:pos x="67" y="467"/>
                </a:cxn>
                <a:cxn ang="0">
                  <a:pos x="40" y="440"/>
                </a:cxn>
                <a:cxn ang="0">
                  <a:pos x="23" y="395"/>
                </a:cxn>
                <a:cxn ang="0">
                  <a:pos x="14" y="350"/>
                </a:cxn>
                <a:cxn ang="0">
                  <a:pos x="53" y="333"/>
                </a:cxn>
                <a:cxn ang="0">
                  <a:pos x="90" y="323"/>
                </a:cxn>
                <a:cxn ang="0">
                  <a:pos x="103" y="294"/>
                </a:cxn>
                <a:cxn ang="0">
                  <a:pos x="115" y="255"/>
                </a:cxn>
                <a:cxn ang="0">
                  <a:pos x="150" y="238"/>
                </a:cxn>
                <a:cxn ang="0">
                  <a:pos x="155" y="222"/>
                </a:cxn>
                <a:cxn ang="0">
                  <a:pos x="165" y="204"/>
                </a:cxn>
                <a:cxn ang="0">
                  <a:pos x="147" y="195"/>
                </a:cxn>
                <a:cxn ang="0">
                  <a:pos x="162" y="178"/>
                </a:cxn>
                <a:cxn ang="0">
                  <a:pos x="135" y="166"/>
                </a:cxn>
                <a:cxn ang="0">
                  <a:pos x="143" y="143"/>
                </a:cxn>
                <a:cxn ang="0">
                  <a:pos x="127" y="116"/>
                </a:cxn>
                <a:cxn ang="0">
                  <a:pos x="158" y="123"/>
                </a:cxn>
                <a:cxn ang="0">
                  <a:pos x="169" y="93"/>
                </a:cxn>
                <a:cxn ang="0">
                  <a:pos x="196" y="89"/>
                </a:cxn>
                <a:cxn ang="0">
                  <a:pos x="197" y="68"/>
                </a:cxn>
                <a:cxn ang="0">
                  <a:pos x="222" y="61"/>
                </a:cxn>
                <a:cxn ang="0">
                  <a:pos x="224" y="53"/>
                </a:cxn>
                <a:cxn ang="0">
                  <a:pos x="250" y="55"/>
                </a:cxn>
                <a:cxn ang="0">
                  <a:pos x="275" y="82"/>
                </a:cxn>
                <a:cxn ang="0">
                  <a:pos x="294" y="57"/>
                </a:cxn>
                <a:cxn ang="0">
                  <a:pos x="315" y="40"/>
                </a:cxn>
                <a:cxn ang="0">
                  <a:pos x="340" y="6"/>
                </a:cxn>
                <a:cxn ang="0">
                  <a:pos x="362" y="26"/>
                </a:cxn>
                <a:cxn ang="0">
                  <a:pos x="392" y="38"/>
                </a:cxn>
                <a:cxn ang="0">
                  <a:pos x="406" y="59"/>
                </a:cxn>
                <a:cxn ang="0">
                  <a:pos x="428" y="59"/>
                </a:cxn>
                <a:cxn ang="0">
                  <a:pos x="475" y="61"/>
                </a:cxn>
                <a:cxn ang="0">
                  <a:pos x="510" y="80"/>
                </a:cxn>
                <a:cxn ang="0">
                  <a:pos x="530" y="105"/>
                </a:cxn>
                <a:cxn ang="0">
                  <a:pos x="529" y="145"/>
                </a:cxn>
                <a:cxn ang="0">
                  <a:pos x="551" y="162"/>
                </a:cxn>
                <a:cxn ang="0">
                  <a:pos x="547" y="187"/>
                </a:cxn>
                <a:cxn ang="0">
                  <a:pos x="554" y="219"/>
                </a:cxn>
                <a:cxn ang="0">
                  <a:pos x="575" y="235"/>
                </a:cxn>
                <a:cxn ang="0">
                  <a:pos x="583" y="277"/>
                </a:cxn>
                <a:cxn ang="0">
                  <a:pos x="596" y="291"/>
                </a:cxn>
                <a:cxn ang="0">
                  <a:pos x="641" y="301"/>
                </a:cxn>
                <a:cxn ang="0">
                  <a:pos x="635" y="344"/>
                </a:cxn>
                <a:cxn ang="0">
                  <a:pos x="655" y="371"/>
                </a:cxn>
                <a:cxn ang="0">
                  <a:pos x="629" y="377"/>
                </a:cxn>
                <a:cxn ang="0">
                  <a:pos x="640" y="414"/>
                </a:cxn>
                <a:cxn ang="0">
                  <a:pos x="628" y="452"/>
                </a:cxn>
                <a:cxn ang="0">
                  <a:pos x="610" y="474"/>
                </a:cxn>
                <a:cxn ang="0">
                  <a:pos x="589" y="486"/>
                </a:cxn>
                <a:cxn ang="0">
                  <a:pos x="546" y="485"/>
                </a:cxn>
                <a:cxn ang="0">
                  <a:pos x="533" y="462"/>
                </a:cxn>
                <a:cxn ang="0">
                  <a:pos x="505" y="466"/>
                </a:cxn>
                <a:cxn ang="0">
                  <a:pos x="462" y="439"/>
                </a:cxn>
                <a:cxn ang="0">
                  <a:pos x="430" y="471"/>
                </a:cxn>
                <a:cxn ang="0">
                  <a:pos x="421" y="497"/>
                </a:cxn>
                <a:cxn ang="0">
                  <a:pos x="398" y="514"/>
                </a:cxn>
                <a:cxn ang="0">
                  <a:pos x="401" y="543"/>
                </a:cxn>
                <a:cxn ang="0">
                  <a:pos x="330" y="557"/>
                </a:cxn>
              </a:cxnLst>
              <a:rect l="0" t="0" r="r" b="b"/>
              <a:pathLst>
                <a:path w="663" h="742">
                  <a:moveTo>
                    <a:pt x="293" y="737"/>
                  </a:moveTo>
                  <a:lnTo>
                    <a:pt x="291" y="742"/>
                  </a:lnTo>
                  <a:lnTo>
                    <a:pt x="288" y="741"/>
                  </a:lnTo>
                  <a:lnTo>
                    <a:pt x="285" y="741"/>
                  </a:lnTo>
                  <a:lnTo>
                    <a:pt x="283" y="740"/>
                  </a:lnTo>
                  <a:lnTo>
                    <a:pt x="282" y="740"/>
                  </a:lnTo>
                  <a:lnTo>
                    <a:pt x="279" y="741"/>
                  </a:lnTo>
                  <a:lnTo>
                    <a:pt x="275" y="742"/>
                  </a:lnTo>
                  <a:lnTo>
                    <a:pt x="270" y="741"/>
                  </a:lnTo>
                  <a:lnTo>
                    <a:pt x="267" y="741"/>
                  </a:lnTo>
                  <a:lnTo>
                    <a:pt x="257" y="741"/>
                  </a:lnTo>
                  <a:lnTo>
                    <a:pt x="251" y="741"/>
                  </a:lnTo>
                  <a:lnTo>
                    <a:pt x="250" y="739"/>
                  </a:lnTo>
                  <a:lnTo>
                    <a:pt x="253" y="722"/>
                  </a:lnTo>
                  <a:lnTo>
                    <a:pt x="253" y="700"/>
                  </a:lnTo>
                  <a:lnTo>
                    <a:pt x="253" y="693"/>
                  </a:lnTo>
                  <a:lnTo>
                    <a:pt x="255" y="684"/>
                  </a:lnTo>
                  <a:lnTo>
                    <a:pt x="258" y="656"/>
                  </a:lnTo>
                  <a:lnTo>
                    <a:pt x="257" y="651"/>
                  </a:lnTo>
                  <a:lnTo>
                    <a:pt x="256" y="647"/>
                  </a:lnTo>
                  <a:lnTo>
                    <a:pt x="257" y="642"/>
                  </a:lnTo>
                  <a:lnTo>
                    <a:pt x="261" y="638"/>
                  </a:lnTo>
                  <a:lnTo>
                    <a:pt x="262" y="611"/>
                  </a:lnTo>
                  <a:lnTo>
                    <a:pt x="265" y="602"/>
                  </a:lnTo>
                  <a:lnTo>
                    <a:pt x="267" y="597"/>
                  </a:lnTo>
                  <a:lnTo>
                    <a:pt x="267" y="593"/>
                  </a:lnTo>
                  <a:lnTo>
                    <a:pt x="264" y="590"/>
                  </a:lnTo>
                  <a:lnTo>
                    <a:pt x="264" y="585"/>
                  </a:lnTo>
                  <a:lnTo>
                    <a:pt x="267" y="577"/>
                  </a:lnTo>
                  <a:lnTo>
                    <a:pt x="271" y="563"/>
                  </a:lnTo>
                  <a:lnTo>
                    <a:pt x="273" y="552"/>
                  </a:lnTo>
                  <a:lnTo>
                    <a:pt x="273" y="539"/>
                  </a:lnTo>
                  <a:lnTo>
                    <a:pt x="270" y="534"/>
                  </a:lnTo>
                  <a:lnTo>
                    <a:pt x="269" y="533"/>
                  </a:lnTo>
                  <a:lnTo>
                    <a:pt x="267" y="538"/>
                  </a:lnTo>
                  <a:lnTo>
                    <a:pt x="265" y="537"/>
                  </a:lnTo>
                  <a:lnTo>
                    <a:pt x="264" y="538"/>
                  </a:lnTo>
                  <a:lnTo>
                    <a:pt x="263" y="537"/>
                  </a:lnTo>
                  <a:lnTo>
                    <a:pt x="262" y="540"/>
                  </a:lnTo>
                  <a:lnTo>
                    <a:pt x="261" y="541"/>
                  </a:lnTo>
                  <a:lnTo>
                    <a:pt x="259" y="543"/>
                  </a:lnTo>
                  <a:lnTo>
                    <a:pt x="256" y="544"/>
                  </a:lnTo>
                  <a:lnTo>
                    <a:pt x="255" y="544"/>
                  </a:lnTo>
                  <a:lnTo>
                    <a:pt x="253" y="544"/>
                  </a:lnTo>
                  <a:lnTo>
                    <a:pt x="248" y="543"/>
                  </a:lnTo>
                  <a:lnTo>
                    <a:pt x="248" y="541"/>
                  </a:lnTo>
                  <a:lnTo>
                    <a:pt x="247" y="540"/>
                  </a:lnTo>
                  <a:lnTo>
                    <a:pt x="246" y="540"/>
                  </a:lnTo>
                  <a:lnTo>
                    <a:pt x="244" y="540"/>
                  </a:lnTo>
                  <a:lnTo>
                    <a:pt x="242" y="539"/>
                  </a:lnTo>
                  <a:lnTo>
                    <a:pt x="241" y="539"/>
                  </a:lnTo>
                  <a:lnTo>
                    <a:pt x="240" y="539"/>
                  </a:lnTo>
                  <a:lnTo>
                    <a:pt x="239" y="540"/>
                  </a:lnTo>
                  <a:lnTo>
                    <a:pt x="238" y="540"/>
                  </a:lnTo>
                  <a:lnTo>
                    <a:pt x="234" y="544"/>
                  </a:lnTo>
                  <a:lnTo>
                    <a:pt x="232" y="545"/>
                  </a:lnTo>
                  <a:lnTo>
                    <a:pt x="230" y="547"/>
                  </a:lnTo>
                  <a:lnTo>
                    <a:pt x="230" y="546"/>
                  </a:lnTo>
                  <a:lnTo>
                    <a:pt x="228" y="545"/>
                  </a:lnTo>
                  <a:lnTo>
                    <a:pt x="227" y="545"/>
                  </a:lnTo>
                  <a:lnTo>
                    <a:pt x="226" y="545"/>
                  </a:lnTo>
                  <a:lnTo>
                    <a:pt x="226" y="544"/>
                  </a:lnTo>
                  <a:lnTo>
                    <a:pt x="224" y="543"/>
                  </a:lnTo>
                  <a:lnTo>
                    <a:pt x="222" y="544"/>
                  </a:lnTo>
                  <a:lnTo>
                    <a:pt x="222" y="545"/>
                  </a:lnTo>
                  <a:lnTo>
                    <a:pt x="221" y="544"/>
                  </a:lnTo>
                  <a:lnTo>
                    <a:pt x="218" y="544"/>
                  </a:lnTo>
                  <a:lnTo>
                    <a:pt x="217" y="543"/>
                  </a:lnTo>
                  <a:lnTo>
                    <a:pt x="215" y="543"/>
                  </a:lnTo>
                  <a:lnTo>
                    <a:pt x="214" y="541"/>
                  </a:lnTo>
                  <a:lnTo>
                    <a:pt x="214" y="540"/>
                  </a:lnTo>
                  <a:lnTo>
                    <a:pt x="212" y="540"/>
                  </a:lnTo>
                  <a:lnTo>
                    <a:pt x="212" y="539"/>
                  </a:lnTo>
                  <a:lnTo>
                    <a:pt x="211" y="538"/>
                  </a:lnTo>
                  <a:lnTo>
                    <a:pt x="212" y="537"/>
                  </a:lnTo>
                  <a:lnTo>
                    <a:pt x="211" y="535"/>
                  </a:lnTo>
                  <a:lnTo>
                    <a:pt x="212" y="534"/>
                  </a:lnTo>
                  <a:lnTo>
                    <a:pt x="212" y="533"/>
                  </a:lnTo>
                  <a:lnTo>
                    <a:pt x="214" y="531"/>
                  </a:lnTo>
                  <a:lnTo>
                    <a:pt x="214" y="528"/>
                  </a:lnTo>
                  <a:lnTo>
                    <a:pt x="212" y="529"/>
                  </a:lnTo>
                  <a:lnTo>
                    <a:pt x="211" y="529"/>
                  </a:lnTo>
                  <a:lnTo>
                    <a:pt x="211" y="532"/>
                  </a:lnTo>
                  <a:lnTo>
                    <a:pt x="210" y="534"/>
                  </a:lnTo>
                  <a:lnTo>
                    <a:pt x="209" y="533"/>
                  </a:lnTo>
                  <a:lnTo>
                    <a:pt x="209" y="532"/>
                  </a:lnTo>
                  <a:lnTo>
                    <a:pt x="208" y="532"/>
                  </a:lnTo>
                  <a:lnTo>
                    <a:pt x="205" y="532"/>
                  </a:lnTo>
                  <a:lnTo>
                    <a:pt x="205" y="531"/>
                  </a:lnTo>
                  <a:lnTo>
                    <a:pt x="205" y="529"/>
                  </a:lnTo>
                  <a:lnTo>
                    <a:pt x="206" y="526"/>
                  </a:lnTo>
                  <a:lnTo>
                    <a:pt x="208" y="525"/>
                  </a:lnTo>
                  <a:lnTo>
                    <a:pt x="208" y="521"/>
                  </a:lnTo>
                  <a:lnTo>
                    <a:pt x="205" y="520"/>
                  </a:lnTo>
                  <a:lnTo>
                    <a:pt x="204" y="519"/>
                  </a:lnTo>
                  <a:lnTo>
                    <a:pt x="204" y="516"/>
                  </a:lnTo>
                  <a:lnTo>
                    <a:pt x="204" y="515"/>
                  </a:lnTo>
                  <a:lnTo>
                    <a:pt x="204" y="513"/>
                  </a:lnTo>
                  <a:lnTo>
                    <a:pt x="204" y="510"/>
                  </a:lnTo>
                  <a:lnTo>
                    <a:pt x="204" y="509"/>
                  </a:lnTo>
                  <a:lnTo>
                    <a:pt x="203" y="508"/>
                  </a:lnTo>
                  <a:lnTo>
                    <a:pt x="202" y="507"/>
                  </a:lnTo>
                  <a:lnTo>
                    <a:pt x="200" y="509"/>
                  </a:lnTo>
                  <a:lnTo>
                    <a:pt x="199" y="509"/>
                  </a:lnTo>
                  <a:lnTo>
                    <a:pt x="197" y="509"/>
                  </a:lnTo>
                  <a:lnTo>
                    <a:pt x="198" y="513"/>
                  </a:lnTo>
                  <a:lnTo>
                    <a:pt x="197" y="514"/>
                  </a:lnTo>
                  <a:lnTo>
                    <a:pt x="197" y="515"/>
                  </a:lnTo>
                  <a:lnTo>
                    <a:pt x="196" y="515"/>
                  </a:lnTo>
                  <a:lnTo>
                    <a:pt x="196" y="516"/>
                  </a:lnTo>
                  <a:lnTo>
                    <a:pt x="194" y="517"/>
                  </a:lnTo>
                  <a:lnTo>
                    <a:pt x="193" y="516"/>
                  </a:lnTo>
                  <a:lnTo>
                    <a:pt x="193" y="517"/>
                  </a:lnTo>
                  <a:lnTo>
                    <a:pt x="192" y="517"/>
                  </a:lnTo>
                  <a:lnTo>
                    <a:pt x="191" y="516"/>
                  </a:lnTo>
                  <a:lnTo>
                    <a:pt x="191" y="515"/>
                  </a:lnTo>
                  <a:lnTo>
                    <a:pt x="188" y="516"/>
                  </a:lnTo>
                  <a:lnTo>
                    <a:pt x="187" y="516"/>
                  </a:lnTo>
                  <a:lnTo>
                    <a:pt x="185" y="515"/>
                  </a:lnTo>
                  <a:lnTo>
                    <a:pt x="183" y="515"/>
                  </a:lnTo>
                  <a:lnTo>
                    <a:pt x="183" y="514"/>
                  </a:lnTo>
                  <a:lnTo>
                    <a:pt x="182" y="513"/>
                  </a:lnTo>
                  <a:lnTo>
                    <a:pt x="182" y="511"/>
                  </a:lnTo>
                  <a:lnTo>
                    <a:pt x="185" y="510"/>
                  </a:lnTo>
                  <a:lnTo>
                    <a:pt x="185" y="508"/>
                  </a:lnTo>
                  <a:lnTo>
                    <a:pt x="186" y="508"/>
                  </a:lnTo>
                  <a:lnTo>
                    <a:pt x="188" y="507"/>
                  </a:lnTo>
                  <a:lnTo>
                    <a:pt x="189" y="505"/>
                  </a:lnTo>
                  <a:lnTo>
                    <a:pt x="193" y="503"/>
                  </a:lnTo>
                  <a:lnTo>
                    <a:pt x="194" y="501"/>
                  </a:lnTo>
                  <a:lnTo>
                    <a:pt x="196" y="501"/>
                  </a:lnTo>
                  <a:lnTo>
                    <a:pt x="198" y="502"/>
                  </a:lnTo>
                  <a:lnTo>
                    <a:pt x="199" y="501"/>
                  </a:lnTo>
                  <a:lnTo>
                    <a:pt x="202" y="499"/>
                  </a:lnTo>
                  <a:lnTo>
                    <a:pt x="203" y="501"/>
                  </a:lnTo>
                  <a:lnTo>
                    <a:pt x="204" y="501"/>
                  </a:lnTo>
                  <a:lnTo>
                    <a:pt x="206" y="502"/>
                  </a:lnTo>
                  <a:lnTo>
                    <a:pt x="208" y="502"/>
                  </a:lnTo>
                  <a:lnTo>
                    <a:pt x="209" y="501"/>
                  </a:lnTo>
                  <a:lnTo>
                    <a:pt x="212" y="502"/>
                  </a:lnTo>
                  <a:lnTo>
                    <a:pt x="214" y="503"/>
                  </a:lnTo>
                  <a:lnTo>
                    <a:pt x="215" y="503"/>
                  </a:lnTo>
                  <a:lnTo>
                    <a:pt x="218" y="503"/>
                  </a:lnTo>
                  <a:lnTo>
                    <a:pt x="222" y="501"/>
                  </a:lnTo>
                  <a:lnTo>
                    <a:pt x="223" y="498"/>
                  </a:lnTo>
                  <a:lnTo>
                    <a:pt x="223" y="492"/>
                  </a:lnTo>
                  <a:lnTo>
                    <a:pt x="224" y="490"/>
                  </a:lnTo>
                  <a:lnTo>
                    <a:pt x="223" y="490"/>
                  </a:lnTo>
                  <a:lnTo>
                    <a:pt x="221" y="493"/>
                  </a:lnTo>
                  <a:lnTo>
                    <a:pt x="221" y="495"/>
                  </a:lnTo>
                  <a:lnTo>
                    <a:pt x="220" y="495"/>
                  </a:lnTo>
                  <a:lnTo>
                    <a:pt x="220" y="492"/>
                  </a:lnTo>
                  <a:lnTo>
                    <a:pt x="217" y="492"/>
                  </a:lnTo>
                  <a:lnTo>
                    <a:pt x="217" y="491"/>
                  </a:lnTo>
                  <a:lnTo>
                    <a:pt x="217" y="490"/>
                  </a:lnTo>
                  <a:lnTo>
                    <a:pt x="216" y="487"/>
                  </a:lnTo>
                  <a:lnTo>
                    <a:pt x="217" y="486"/>
                  </a:lnTo>
                  <a:lnTo>
                    <a:pt x="216" y="485"/>
                  </a:lnTo>
                  <a:lnTo>
                    <a:pt x="216" y="483"/>
                  </a:lnTo>
                  <a:lnTo>
                    <a:pt x="214" y="481"/>
                  </a:lnTo>
                  <a:lnTo>
                    <a:pt x="212" y="480"/>
                  </a:lnTo>
                  <a:lnTo>
                    <a:pt x="211" y="479"/>
                  </a:lnTo>
                  <a:lnTo>
                    <a:pt x="210" y="477"/>
                  </a:lnTo>
                  <a:lnTo>
                    <a:pt x="210" y="475"/>
                  </a:lnTo>
                  <a:lnTo>
                    <a:pt x="210" y="474"/>
                  </a:lnTo>
                  <a:lnTo>
                    <a:pt x="209" y="474"/>
                  </a:lnTo>
                  <a:lnTo>
                    <a:pt x="209" y="472"/>
                  </a:lnTo>
                  <a:lnTo>
                    <a:pt x="210" y="468"/>
                  </a:lnTo>
                  <a:lnTo>
                    <a:pt x="209" y="467"/>
                  </a:lnTo>
                  <a:lnTo>
                    <a:pt x="208" y="467"/>
                  </a:lnTo>
                  <a:lnTo>
                    <a:pt x="205" y="467"/>
                  </a:lnTo>
                  <a:lnTo>
                    <a:pt x="204" y="471"/>
                  </a:lnTo>
                  <a:lnTo>
                    <a:pt x="203" y="471"/>
                  </a:lnTo>
                  <a:lnTo>
                    <a:pt x="202" y="469"/>
                  </a:lnTo>
                  <a:lnTo>
                    <a:pt x="199" y="469"/>
                  </a:lnTo>
                  <a:lnTo>
                    <a:pt x="198" y="469"/>
                  </a:lnTo>
                  <a:lnTo>
                    <a:pt x="196" y="467"/>
                  </a:lnTo>
                  <a:lnTo>
                    <a:pt x="196" y="464"/>
                  </a:lnTo>
                  <a:lnTo>
                    <a:pt x="197" y="463"/>
                  </a:lnTo>
                  <a:lnTo>
                    <a:pt x="185" y="464"/>
                  </a:lnTo>
                  <a:lnTo>
                    <a:pt x="175" y="464"/>
                  </a:lnTo>
                  <a:lnTo>
                    <a:pt x="174" y="468"/>
                  </a:lnTo>
                  <a:lnTo>
                    <a:pt x="174" y="469"/>
                  </a:lnTo>
                  <a:lnTo>
                    <a:pt x="173" y="471"/>
                  </a:lnTo>
                  <a:lnTo>
                    <a:pt x="174" y="472"/>
                  </a:lnTo>
                  <a:lnTo>
                    <a:pt x="175" y="473"/>
                  </a:lnTo>
                  <a:lnTo>
                    <a:pt x="174" y="474"/>
                  </a:lnTo>
                  <a:lnTo>
                    <a:pt x="176" y="475"/>
                  </a:lnTo>
                  <a:lnTo>
                    <a:pt x="175" y="478"/>
                  </a:lnTo>
                  <a:lnTo>
                    <a:pt x="174" y="479"/>
                  </a:lnTo>
                  <a:lnTo>
                    <a:pt x="175" y="483"/>
                  </a:lnTo>
                  <a:lnTo>
                    <a:pt x="176" y="486"/>
                  </a:lnTo>
                  <a:lnTo>
                    <a:pt x="175" y="485"/>
                  </a:lnTo>
                  <a:lnTo>
                    <a:pt x="174" y="485"/>
                  </a:lnTo>
                  <a:lnTo>
                    <a:pt x="174" y="486"/>
                  </a:lnTo>
                  <a:lnTo>
                    <a:pt x="174" y="490"/>
                  </a:lnTo>
                  <a:lnTo>
                    <a:pt x="173" y="490"/>
                  </a:lnTo>
                  <a:lnTo>
                    <a:pt x="170" y="491"/>
                  </a:lnTo>
                  <a:lnTo>
                    <a:pt x="170" y="490"/>
                  </a:lnTo>
                  <a:lnTo>
                    <a:pt x="169" y="489"/>
                  </a:lnTo>
                  <a:lnTo>
                    <a:pt x="168" y="490"/>
                  </a:lnTo>
                  <a:lnTo>
                    <a:pt x="167" y="489"/>
                  </a:lnTo>
                  <a:lnTo>
                    <a:pt x="168" y="485"/>
                  </a:lnTo>
                  <a:lnTo>
                    <a:pt x="168" y="483"/>
                  </a:lnTo>
                  <a:lnTo>
                    <a:pt x="169" y="481"/>
                  </a:lnTo>
                  <a:lnTo>
                    <a:pt x="169" y="478"/>
                  </a:lnTo>
                  <a:lnTo>
                    <a:pt x="167" y="478"/>
                  </a:lnTo>
                  <a:lnTo>
                    <a:pt x="165" y="477"/>
                  </a:lnTo>
                  <a:lnTo>
                    <a:pt x="165" y="473"/>
                  </a:lnTo>
                  <a:lnTo>
                    <a:pt x="165" y="472"/>
                  </a:lnTo>
                  <a:lnTo>
                    <a:pt x="164" y="472"/>
                  </a:lnTo>
                  <a:lnTo>
                    <a:pt x="164" y="477"/>
                  </a:lnTo>
                  <a:lnTo>
                    <a:pt x="164" y="480"/>
                  </a:lnTo>
                  <a:lnTo>
                    <a:pt x="164" y="484"/>
                  </a:lnTo>
                  <a:lnTo>
                    <a:pt x="165" y="486"/>
                  </a:lnTo>
                  <a:lnTo>
                    <a:pt x="163" y="487"/>
                  </a:lnTo>
                  <a:lnTo>
                    <a:pt x="162" y="487"/>
                  </a:lnTo>
                  <a:lnTo>
                    <a:pt x="159" y="490"/>
                  </a:lnTo>
                  <a:lnTo>
                    <a:pt x="157" y="491"/>
                  </a:lnTo>
                  <a:lnTo>
                    <a:pt x="155" y="493"/>
                  </a:lnTo>
                  <a:lnTo>
                    <a:pt x="152" y="492"/>
                  </a:lnTo>
                  <a:lnTo>
                    <a:pt x="151" y="491"/>
                  </a:lnTo>
                  <a:lnTo>
                    <a:pt x="151" y="490"/>
                  </a:lnTo>
                  <a:lnTo>
                    <a:pt x="150" y="490"/>
                  </a:lnTo>
                  <a:lnTo>
                    <a:pt x="150" y="486"/>
                  </a:lnTo>
                  <a:lnTo>
                    <a:pt x="152" y="480"/>
                  </a:lnTo>
                  <a:lnTo>
                    <a:pt x="153" y="478"/>
                  </a:lnTo>
                  <a:lnTo>
                    <a:pt x="155" y="478"/>
                  </a:lnTo>
                  <a:lnTo>
                    <a:pt x="156" y="474"/>
                  </a:lnTo>
                  <a:lnTo>
                    <a:pt x="153" y="474"/>
                  </a:lnTo>
                  <a:lnTo>
                    <a:pt x="152" y="474"/>
                  </a:lnTo>
                  <a:lnTo>
                    <a:pt x="149" y="474"/>
                  </a:lnTo>
                  <a:lnTo>
                    <a:pt x="147" y="471"/>
                  </a:lnTo>
                  <a:lnTo>
                    <a:pt x="147" y="469"/>
                  </a:lnTo>
                  <a:lnTo>
                    <a:pt x="147" y="467"/>
                  </a:lnTo>
                  <a:lnTo>
                    <a:pt x="146" y="467"/>
                  </a:lnTo>
                  <a:lnTo>
                    <a:pt x="146" y="471"/>
                  </a:lnTo>
                  <a:lnTo>
                    <a:pt x="146" y="473"/>
                  </a:lnTo>
                  <a:lnTo>
                    <a:pt x="147" y="475"/>
                  </a:lnTo>
                  <a:lnTo>
                    <a:pt x="147" y="478"/>
                  </a:lnTo>
                  <a:lnTo>
                    <a:pt x="146" y="479"/>
                  </a:lnTo>
                  <a:lnTo>
                    <a:pt x="145" y="480"/>
                  </a:lnTo>
                  <a:lnTo>
                    <a:pt x="144" y="481"/>
                  </a:lnTo>
                  <a:lnTo>
                    <a:pt x="141" y="484"/>
                  </a:lnTo>
                  <a:lnTo>
                    <a:pt x="140" y="483"/>
                  </a:lnTo>
                  <a:lnTo>
                    <a:pt x="139" y="484"/>
                  </a:lnTo>
                  <a:lnTo>
                    <a:pt x="137" y="484"/>
                  </a:lnTo>
                  <a:lnTo>
                    <a:pt x="135" y="484"/>
                  </a:lnTo>
                  <a:lnTo>
                    <a:pt x="130" y="483"/>
                  </a:lnTo>
                  <a:lnTo>
                    <a:pt x="128" y="483"/>
                  </a:lnTo>
                  <a:lnTo>
                    <a:pt x="127" y="481"/>
                  </a:lnTo>
                  <a:lnTo>
                    <a:pt x="124" y="480"/>
                  </a:lnTo>
                  <a:lnTo>
                    <a:pt x="123" y="480"/>
                  </a:lnTo>
                  <a:lnTo>
                    <a:pt x="123" y="481"/>
                  </a:lnTo>
                  <a:lnTo>
                    <a:pt x="124" y="484"/>
                  </a:lnTo>
                  <a:lnTo>
                    <a:pt x="126" y="485"/>
                  </a:lnTo>
                  <a:lnTo>
                    <a:pt x="130" y="489"/>
                  </a:lnTo>
                  <a:lnTo>
                    <a:pt x="132" y="492"/>
                  </a:lnTo>
                  <a:lnTo>
                    <a:pt x="130" y="493"/>
                  </a:lnTo>
                  <a:lnTo>
                    <a:pt x="127" y="493"/>
                  </a:lnTo>
                  <a:lnTo>
                    <a:pt x="124" y="495"/>
                  </a:lnTo>
                  <a:lnTo>
                    <a:pt x="122" y="492"/>
                  </a:lnTo>
                  <a:lnTo>
                    <a:pt x="121" y="492"/>
                  </a:lnTo>
                  <a:lnTo>
                    <a:pt x="120" y="495"/>
                  </a:lnTo>
                  <a:lnTo>
                    <a:pt x="117" y="495"/>
                  </a:lnTo>
                  <a:lnTo>
                    <a:pt x="116" y="495"/>
                  </a:lnTo>
                  <a:lnTo>
                    <a:pt x="115" y="496"/>
                  </a:lnTo>
                  <a:lnTo>
                    <a:pt x="112" y="495"/>
                  </a:lnTo>
                  <a:lnTo>
                    <a:pt x="110" y="493"/>
                  </a:lnTo>
                  <a:lnTo>
                    <a:pt x="109" y="492"/>
                  </a:lnTo>
                  <a:lnTo>
                    <a:pt x="109" y="495"/>
                  </a:lnTo>
                  <a:lnTo>
                    <a:pt x="109" y="497"/>
                  </a:lnTo>
                  <a:lnTo>
                    <a:pt x="106" y="497"/>
                  </a:lnTo>
                  <a:lnTo>
                    <a:pt x="105" y="499"/>
                  </a:lnTo>
                  <a:lnTo>
                    <a:pt x="104" y="499"/>
                  </a:lnTo>
                  <a:lnTo>
                    <a:pt x="100" y="499"/>
                  </a:lnTo>
                  <a:lnTo>
                    <a:pt x="98" y="499"/>
                  </a:lnTo>
                  <a:lnTo>
                    <a:pt x="98" y="497"/>
                  </a:lnTo>
                  <a:lnTo>
                    <a:pt x="100" y="495"/>
                  </a:lnTo>
                  <a:lnTo>
                    <a:pt x="102" y="489"/>
                  </a:lnTo>
                  <a:lnTo>
                    <a:pt x="100" y="485"/>
                  </a:lnTo>
                  <a:lnTo>
                    <a:pt x="99" y="483"/>
                  </a:lnTo>
                  <a:lnTo>
                    <a:pt x="97" y="485"/>
                  </a:lnTo>
                  <a:lnTo>
                    <a:pt x="97" y="487"/>
                  </a:lnTo>
                  <a:lnTo>
                    <a:pt x="97" y="491"/>
                  </a:lnTo>
                  <a:lnTo>
                    <a:pt x="96" y="493"/>
                  </a:lnTo>
                  <a:lnTo>
                    <a:pt x="96" y="496"/>
                  </a:lnTo>
                  <a:lnTo>
                    <a:pt x="97" y="498"/>
                  </a:lnTo>
                  <a:lnTo>
                    <a:pt x="96" y="499"/>
                  </a:lnTo>
                  <a:lnTo>
                    <a:pt x="93" y="499"/>
                  </a:lnTo>
                  <a:lnTo>
                    <a:pt x="92" y="501"/>
                  </a:lnTo>
                  <a:lnTo>
                    <a:pt x="91" y="502"/>
                  </a:lnTo>
                  <a:lnTo>
                    <a:pt x="90" y="501"/>
                  </a:lnTo>
                  <a:lnTo>
                    <a:pt x="88" y="501"/>
                  </a:lnTo>
                  <a:lnTo>
                    <a:pt x="87" y="502"/>
                  </a:lnTo>
                  <a:lnTo>
                    <a:pt x="86" y="503"/>
                  </a:lnTo>
                  <a:lnTo>
                    <a:pt x="85" y="503"/>
                  </a:lnTo>
                  <a:lnTo>
                    <a:pt x="85" y="505"/>
                  </a:lnTo>
                  <a:lnTo>
                    <a:pt x="84" y="505"/>
                  </a:lnTo>
                  <a:lnTo>
                    <a:pt x="82" y="504"/>
                  </a:lnTo>
                  <a:lnTo>
                    <a:pt x="81" y="503"/>
                  </a:lnTo>
                  <a:lnTo>
                    <a:pt x="79" y="505"/>
                  </a:lnTo>
                  <a:lnTo>
                    <a:pt x="78" y="505"/>
                  </a:lnTo>
                  <a:lnTo>
                    <a:pt x="75" y="508"/>
                  </a:lnTo>
                  <a:lnTo>
                    <a:pt x="73" y="507"/>
                  </a:lnTo>
                  <a:lnTo>
                    <a:pt x="75" y="505"/>
                  </a:lnTo>
                  <a:lnTo>
                    <a:pt x="71" y="504"/>
                  </a:lnTo>
                  <a:lnTo>
                    <a:pt x="69" y="503"/>
                  </a:lnTo>
                  <a:lnTo>
                    <a:pt x="70" y="501"/>
                  </a:lnTo>
                  <a:lnTo>
                    <a:pt x="68" y="499"/>
                  </a:lnTo>
                  <a:lnTo>
                    <a:pt x="68" y="498"/>
                  </a:lnTo>
                  <a:lnTo>
                    <a:pt x="68" y="497"/>
                  </a:lnTo>
                  <a:lnTo>
                    <a:pt x="69" y="496"/>
                  </a:lnTo>
                  <a:lnTo>
                    <a:pt x="70" y="495"/>
                  </a:lnTo>
                  <a:lnTo>
                    <a:pt x="71" y="493"/>
                  </a:lnTo>
                  <a:lnTo>
                    <a:pt x="73" y="491"/>
                  </a:lnTo>
                  <a:lnTo>
                    <a:pt x="73" y="490"/>
                  </a:lnTo>
                  <a:lnTo>
                    <a:pt x="75" y="489"/>
                  </a:lnTo>
                  <a:lnTo>
                    <a:pt x="75" y="487"/>
                  </a:lnTo>
                  <a:lnTo>
                    <a:pt x="75" y="485"/>
                  </a:lnTo>
                  <a:lnTo>
                    <a:pt x="76" y="483"/>
                  </a:lnTo>
                  <a:lnTo>
                    <a:pt x="79" y="481"/>
                  </a:lnTo>
                  <a:lnTo>
                    <a:pt x="80" y="481"/>
                  </a:lnTo>
                  <a:lnTo>
                    <a:pt x="81" y="481"/>
                  </a:lnTo>
                  <a:lnTo>
                    <a:pt x="82" y="479"/>
                  </a:lnTo>
                  <a:lnTo>
                    <a:pt x="84" y="479"/>
                  </a:lnTo>
                  <a:lnTo>
                    <a:pt x="85" y="479"/>
                  </a:lnTo>
                  <a:lnTo>
                    <a:pt x="81" y="477"/>
                  </a:lnTo>
                  <a:lnTo>
                    <a:pt x="82" y="475"/>
                  </a:lnTo>
                  <a:lnTo>
                    <a:pt x="82" y="474"/>
                  </a:lnTo>
                  <a:lnTo>
                    <a:pt x="84" y="472"/>
                  </a:lnTo>
                  <a:lnTo>
                    <a:pt x="82" y="472"/>
                  </a:lnTo>
                  <a:lnTo>
                    <a:pt x="82" y="469"/>
                  </a:lnTo>
                  <a:lnTo>
                    <a:pt x="82" y="472"/>
                  </a:lnTo>
                  <a:lnTo>
                    <a:pt x="81" y="473"/>
                  </a:lnTo>
                  <a:lnTo>
                    <a:pt x="80" y="474"/>
                  </a:lnTo>
                  <a:lnTo>
                    <a:pt x="79" y="474"/>
                  </a:lnTo>
                  <a:lnTo>
                    <a:pt x="78" y="473"/>
                  </a:lnTo>
                  <a:lnTo>
                    <a:pt x="76" y="474"/>
                  </a:lnTo>
                  <a:lnTo>
                    <a:pt x="75" y="474"/>
                  </a:lnTo>
                  <a:lnTo>
                    <a:pt x="74" y="474"/>
                  </a:lnTo>
                  <a:lnTo>
                    <a:pt x="70" y="474"/>
                  </a:lnTo>
                  <a:lnTo>
                    <a:pt x="69" y="475"/>
                  </a:lnTo>
                  <a:lnTo>
                    <a:pt x="68" y="474"/>
                  </a:lnTo>
                  <a:lnTo>
                    <a:pt x="67" y="473"/>
                  </a:lnTo>
                  <a:lnTo>
                    <a:pt x="68" y="472"/>
                  </a:lnTo>
                  <a:lnTo>
                    <a:pt x="68" y="469"/>
                  </a:lnTo>
                  <a:lnTo>
                    <a:pt x="67" y="467"/>
                  </a:lnTo>
                  <a:lnTo>
                    <a:pt x="65" y="467"/>
                  </a:lnTo>
                  <a:lnTo>
                    <a:pt x="65" y="466"/>
                  </a:lnTo>
                  <a:lnTo>
                    <a:pt x="65" y="464"/>
                  </a:lnTo>
                  <a:lnTo>
                    <a:pt x="64" y="462"/>
                  </a:lnTo>
                  <a:lnTo>
                    <a:pt x="65" y="461"/>
                  </a:lnTo>
                  <a:lnTo>
                    <a:pt x="67" y="460"/>
                  </a:lnTo>
                  <a:lnTo>
                    <a:pt x="65" y="460"/>
                  </a:lnTo>
                  <a:lnTo>
                    <a:pt x="63" y="461"/>
                  </a:lnTo>
                  <a:lnTo>
                    <a:pt x="61" y="461"/>
                  </a:lnTo>
                  <a:lnTo>
                    <a:pt x="59" y="461"/>
                  </a:lnTo>
                  <a:lnTo>
                    <a:pt x="58" y="458"/>
                  </a:lnTo>
                  <a:lnTo>
                    <a:pt x="57" y="458"/>
                  </a:lnTo>
                  <a:lnTo>
                    <a:pt x="57" y="456"/>
                  </a:lnTo>
                  <a:lnTo>
                    <a:pt x="55" y="456"/>
                  </a:lnTo>
                  <a:lnTo>
                    <a:pt x="53" y="457"/>
                  </a:lnTo>
                  <a:lnTo>
                    <a:pt x="52" y="457"/>
                  </a:lnTo>
                  <a:lnTo>
                    <a:pt x="52" y="458"/>
                  </a:lnTo>
                  <a:lnTo>
                    <a:pt x="51" y="458"/>
                  </a:lnTo>
                  <a:lnTo>
                    <a:pt x="50" y="460"/>
                  </a:lnTo>
                  <a:lnTo>
                    <a:pt x="49" y="460"/>
                  </a:lnTo>
                  <a:lnTo>
                    <a:pt x="45" y="461"/>
                  </a:lnTo>
                  <a:lnTo>
                    <a:pt x="44" y="463"/>
                  </a:lnTo>
                  <a:lnTo>
                    <a:pt x="43" y="463"/>
                  </a:lnTo>
                  <a:lnTo>
                    <a:pt x="40" y="463"/>
                  </a:lnTo>
                  <a:lnTo>
                    <a:pt x="39" y="463"/>
                  </a:lnTo>
                  <a:lnTo>
                    <a:pt x="37" y="466"/>
                  </a:lnTo>
                  <a:lnTo>
                    <a:pt x="35" y="466"/>
                  </a:lnTo>
                  <a:lnTo>
                    <a:pt x="33" y="467"/>
                  </a:lnTo>
                  <a:lnTo>
                    <a:pt x="34" y="467"/>
                  </a:lnTo>
                  <a:lnTo>
                    <a:pt x="33" y="466"/>
                  </a:lnTo>
                  <a:lnTo>
                    <a:pt x="28" y="464"/>
                  </a:lnTo>
                  <a:lnTo>
                    <a:pt x="27" y="464"/>
                  </a:lnTo>
                  <a:lnTo>
                    <a:pt x="26" y="463"/>
                  </a:lnTo>
                  <a:lnTo>
                    <a:pt x="27" y="462"/>
                  </a:lnTo>
                  <a:lnTo>
                    <a:pt x="27" y="460"/>
                  </a:lnTo>
                  <a:lnTo>
                    <a:pt x="29" y="460"/>
                  </a:lnTo>
                  <a:lnTo>
                    <a:pt x="32" y="460"/>
                  </a:lnTo>
                  <a:lnTo>
                    <a:pt x="33" y="458"/>
                  </a:lnTo>
                  <a:lnTo>
                    <a:pt x="34" y="456"/>
                  </a:lnTo>
                  <a:lnTo>
                    <a:pt x="34" y="455"/>
                  </a:lnTo>
                  <a:lnTo>
                    <a:pt x="34" y="452"/>
                  </a:lnTo>
                  <a:lnTo>
                    <a:pt x="35" y="451"/>
                  </a:lnTo>
                  <a:lnTo>
                    <a:pt x="35" y="449"/>
                  </a:lnTo>
                  <a:lnTo>
                    <a:pt x="38" y="449"/>
                  </a:lnTo>
                  <a:lnTo>
                    <a:pt x="39" y="448"/>
                  </a:lnTo>
                  <a:lnTo>
                    <a:pt x="39" y="444"/>
                  </a:lnTo>
                  <a:lnTo>
                    <a:pt x="38" y="445"/>
                  </a:lnTo>
                  <a:lnTo>
                    <a:pt x="37" y="445"/>
                  </a:lnTo>
                  <a:lnTo>
                    <a:pt x="34" y="445"/>
                  </a:lnTo>
                  <a:lnTo>
                    <a:pt x="33" y="444"/>
                  </a:lnTo>
                  <a:lnTo>
                    <a:pt x="35" y="443"/>
                  </a:lnTo>
                  <a:lnTo>
                    <a:pt x="35" y="442"/>
                  </a:lnTo>
                  <a:lnTo>
                    <a:pt x="35" y="440"/>
                  </a:lnTo>
                  <a:lnTo>
                    <a:pt x="35" y="439"/>
                  </a:lnTo>
                  <a:lnTo>
                    <a:pt x="35" y="438"/>
                  </a:lnTo>
                  <a:lnTo>
                    <a:pt x="37" y="438"/>
                  </a:lnTo>
                  <a:lnTo>
                    <a:pt x="39" y="439"/>
                  </a:lnTo>
                  <a:lnTo>
                    <a:pt x="40" y="440"/>
                  </a:lnTo>
                  <a:lnTo>
                    <a:pt x="41" y="438"/>
                  </a:lnTo>
                  <a:lnTo>
                    <a:pt x="43" y="438"/>
                  </a:lnTo>
                  <a:lnTo>
                    <a:pt x="44" y="439"/>
                  </a:lnTo>
                  <a:lnTo>
                    <a:pt x="46" y="439"/>
                  </a:lnTo>
                  <a:lnTo>
                    <a:pt x="49" y="439"/>
                  </a:lnTo>
                  <a:lnTo>
                    <a:pt x="49" y="433"/>
                  </a:lnTo>
                  <a:lnTo>
                    <a:pt x="47" y="431"/>
                  </a:lnTo>
                  <a:lnTo>
                    <a:pt x="45" y="431"/>
                  </a:lnTo>
                  <a:lnTo>
                    <a:pt x="44" y="430"/>
                  </a:lnTo>
                  <a:lnTo>
                    <a:pt x="43" y="428"/>
                  </a:lnTo>
                  <a:lnTo>
                    <a:pt x="44" y="427"/>
                  </a:lnTo>
                  <a:lnTo>
                    <a:pt x="44" y="426"/>
                  </a:lnTo>
                  <a:lnTo>
                    <a:pt x="43" y="425"/>
                  </a:lnTo>
                  <a:lnTo>
                    <a:pt x="44" y="422"/>
                  </a:lnTo>
                  <a:lnTo>
                    <a:pt x="43" y="420"/>
                  </a:lnTo>
                  <a:lnTo>
                    <a:pt x="44" y="419"/>
                  </a:lnTo>
                  <a:lnTo>
                    <a:pt x="44" y="416"/>
                  </a:lnTo>
                  <a:lnTo>
                    <a:pt x="44" y="414"/>
                  </a:lnTo>
                  <a:lnTo>
                    <a:pt x="41" y="413"/>
                  </a:lnTo>
                  <a:lnTo>
                    <a:pt x="39" y="413"/>
                  </a:lnTo>
                  <a:lnTo>
                    <a:pt x="38" y="412"/>
                  </a:lnTo>
                  <a:lnTo>
                    <a:pt x="37" y="412"/>
                  </a:lnTo>
                  <a:lnTo>
                    <a:pt x="34" y="410"/>
                  </a:lnTo>
                  <a:lnTo>
                    <a:pt x="33" y="410"/>
                  </a:lnTo>
                  <a:lnTo>
                    <a:pt x="31" y="408"/>
                  </a:lnTo>
                  <a:lnTo>
                    <a:pt x="29" y="407"/>
                  </a:lnTo>
                  <a:lnTo>
                    <a:pt x="27" y="406"/>
                  </a:lnTo>
                  <a:lnTo>
                    <a:pt x="25" y="404"/>
                  </a:lnTo>
                  <a:lnTo>
                    <a:pt x="23" y="403"/>
                  </a:lnTo>
                  <a:lnTo>
                    <a:pt x="27" y="401"/>
                  </a:lnTo>
                  <a:lnTo>
                    <a:pt x="29" y="400"/>
                  </a:lnTo>
                  <a:lnTo>
                    <a:pt x="32" y="397"/>
                  </a:lnTo>
                  <a:lnTo>
                    <a:pt x="34" y="395"/>
                  </a:lnTo>
                  <a:lnTo>
                    <a:pt x="37" y="395"/>
                  </a:lnTo>
                  <a:lnTo>
                    <a:pt x="38" y="395"/>
                  </a:lnTo>
                  <a:lnTo>
                    <a:pt x="39" y="392"/>
                  </a:lnTo>
                  <a:lnTo>
                    <a:pt x="39" y="391"/>
                  </a:lnTo>
                  <a:lnTo>
                    <a:pt x="40" y="390"/>
                  </a:lnTo>
                  <a:lnTo>
                    <a:pt x="40" y="389"/>
                  </a:lnTo>
                  <a:lnTo>
                    <a:pt x="41" y="386"/>
                  </a:lnTo>
                  <a:lnTo>
                    <a:pt x="41" y="385"/>
                  </a:lnTo>
                  <a:lnTo>
                    <a:pt x="43" y="383"/>
                  </a:lnTo>
                  <a:lnTo>
                    <a:pt x="43" y="379"/>
                  </a:lnTo>
                  <a:lnTo>
                    <a:pt x="41" y="379"/>
                  </a:lnTo>
                  <a:lnTo>
                    <a:pt x="40" y="383"/>
                  </a:lnTo>
                  <a:lnTo>
                    <a:pt x="39" y="384"/>
                  </a:lnTo>
                  <a:lnTo>
                    <a:pt x="39" y="385"/>
                  </a:lnTo>
                  <a:lnTo>
                    <a:pt x="37" y="385"/>
                  </a:lnTo>
                  <a:lnTo>
                    <a:pt x="34" y="386"/>
                  </a:lnTo>
                  <a:lnTo>
                    <a:pt x="34" y="388"/>
                  </a:lnTo>
                  <a:lnTo>
                    <a:pt x="31" y="386"/>
                  </a:lnTo>
                  <a:lnTo>
                    <a:pt x="29" y="388"/>
                  </a:lnTo>
                  <a:lnTo>
                    <a:pt x="28" y="391"/>
                  </a:lnTo>
                  <a:lnTo>
                    <a:pt x="28" y="392"/>
                  </a:lnTo>
                  <a:lnTo>
                    <a:pt x="27" y="395"/>
                  </a:lnTo>
                  <a:lnTo>
                    <a:pt x="26" y="395"/>
                  </a:lnTo>
                  <a:lnTo>
                    <a:pt x="25" y="395"/>
                  </a:lnTo>
                  <a:lnTo>
                    <a:pt x="23" y="395"/>
                  </a:lnTo>
                  <a:lnTo>
                    <a:pt x="22" y="394"/>
                  </a:lnTo>
                  <a:lnTo>
                    <a:pt x="21" y="392"/>
                  </a:lnTo>
                  <a:lnTo>
                    <a:pt x="21" y="391"/>
                  </a:lnTo>
                  <a:lnTo>
                    <a:pt x="22" y="390"/>
                  </a:lnTo>
                  <a:lnTo>
                    <a:pt x="22" y="388"/>
                  </a:lnTo>
                  <a:lnTo>
                    <a:pt x="23" y="388"/>
                  </a:lnTo>
                  <a:lnTo>
                    <a:pt x="25" y="388"/>
                  </a:lnTo>
                  <a:lnTo>
                    <a:pt x="26" y="388"/>
                  </a:lnTo>
                  <a:lnTo>
                    <a:pt x="28" y="388"/>
                  </a:lnTo>
                  <a:lnTo>
                    <a:pt x="29" y="386"/>
                  </a:lnTo>
                  <a:lnTo>
                    <a:pt x="28" y="386"/>
                  </a:lnTo>
                  <a:lnTo>
                    <a:pt x="27" y="385"/>
                  </a:lnTo>
                  <a:lnTo>
                    <a:pt x="26" y="385"/>
                  </a:lnTo>
                  <a:lnTo>
                    <a:pt x="26" y="384"/>
                  </a:lnTo>
                  <a:lnTo>
                    <a:pt x="25" y="382"/>
                  </a:lnTo>
                  <a:lnTo>
                    <a:pt x="25" y="380"/>
                  </a:lnTo>
                  <a:lnTo>
                    <a:pt x="23" y="379"/>
                  </a:lnTo>
                  <a:lnTo>
                    <a:pt x="22" y="379"/>
                  </a:lnTo>
                  <a:lnTo>
                    <a:pt x="22" y="382"/>
                  </a:lnTo>
                  <a:lnTo>
                    <a:pt x="22" y="383"/>
                  </a:lnTo>
                  <a:lnTo>
                    <a:pt x="21" y="384"/>
                  </a:lnTo>
                  <a:lnTo>
                    <a:pt x="20" y="383"/>
                  </a:lnTo>
                  <a:lnTo>
                    <a:pt x="19" y="382"/>
                  </a:lnTo>
                  <a:lnTo>
                    <a:pt x="16" y="383"/>
                  </a:lnTo>
                  <a:lnTo>
                    <a:pt x="15" y="382"/>
                  </a:lnTo>
                  <a:lnTo>
                    <a:pt x="16" y="380"/>
                  </a:lnTo>
                  <a:lnTo>
                    <a:pt x="15" y="379"/>
                  </a:lnTo>
                  <a:lnTo>
                    <a:pt x="14" y="378"/>
                  </a:lnTo>
                  <a:lnTo>
                    <a:pt x="14" y="377"/>
                  </a:lnTo>
                  <a:lnTo>
                    <a:pt x="14" y="376"/>
                  </a:lnTo>
                  <a:lnTo>
                    <a:pt x="14" y="373"/>
                  </a:lnTo>
                  <a:lnTo>
                    <a:pt x="14" y="372"/>
                  </a:lnTo>
                  <a:lnTo>
                    <a:pt x="11" y="372"/>
                  </a:lnTo>
                  <a:lnTo>
                    <a:pt x="9" y="372"/>
                  </a:lnTo>
                  <a:lnTo>
                    <a:pt x="6" y="372"/>
                  </a:lnTo>
                  <a:lnTo>
                    <a:pt x="8" y="368"/>
                  </a:lnTo>
                  <a:lnTo>
                    <a:pt x="6" y="367"/>
                  </a:lnTo>
                  <a:lnTo>
                    <a:pt x="4" y="367"/>
                  </a:lnTo>
                  <a:lnTo>
                    <a:pt x="6" y="366"/>
                  </a:lnTo>
                  <a:lnTo>
                    <a:pt x="8" y="362"/>
                  </a:lnTo>
                  <a:lnTo>
                    <a:pt x="6" y="362"/>
                  </a:lnTo>
                  <a:lnTo>
                    <a:pt x="4" y="362"/>
                  </a:lnTo>
                  <a:lnTo>
                    <a:pt x="4" y="361"/>
                  </a:lnTo>
                  <a:lnTo>
                    <a:pt x="5" y="360"/>
                  </a:lnTo>
                  <a:lnTo>
                    <a:pt x="3" y="357"/>
                  </a:lnTo>
                  <a:lnTo>
                    <a:pt x="0" y="356"/>
                  </a:lnTo>
                  <a:lnTo>
                    <a:pt x="0" y="355"/>
                  </a:lnTo>
                  <a:lnTo>
                    <a:pt x="2" y="354"/>
                  </a:lnTo>
                  <a:lnTo>
                    <a:pt x="2" y="353"/>
                  </a:lnTo>
                  <a:lnTo>
                    <a:pt x="2" y="350"/>
                  </a:lnTo>
                  <a:lnTo>
                    <a:pt x="3" y="349"/>
                  </a:lnTo>
                  <a:lnTo>
                    <a:pt x="4" y="351"/>
                  </a:lnTo>
                  <a:lnTo>
                    <a:pt x="5" y="353"/>
                  </a:lnTo>
                  <a:lnTo>
                    <a:pt x="8" y="353"/>
                  </a:lnTo>
                  <a:lnTo>
                    <a:pt x="9" y="354"/>
                  </a:lnTo>
                  <a:lnTo>
                    <a:pt x="10" y="353"/>
                  </a:lnTo>
                  <a:lnTo>
                    <a:pt x="12" y="351"/>
                  </a:lnTo>
                  <a:lnTo>
                    <a:pt x="14" y="350"/>
                  </a:lnTo>
                  <a:lnTo>
                    <a:pt x="14" y="349"/>
                  </a:lnTo>
                  <a:lnTo>
                    <a:pt x="14" y="347"/>
                  </a:lnTo>
                  <a:lnTo>
                    <a:pt x="15" y="345"/>
                  </a:lnTo>
                  <a:lnTo>
                    <a:pt x="16" y="347"/>
                  </a:lnTo>
                  <a:lnTo>
                    <a:pt x="16" y="349"/>
                  </a:lnTo>
                  <a:lnTo>
                    <a:pt x="19" y="348"/>
                  </a:lnTo>
                  <a:lnTo>
                    <a:pt x="20" y="348"/>
                  </a:lnTo>
                  <a:lnTo>
                    <a:pt x="21" y="344"/>
                  </a:lnTo>
                  <a:lnTo>
                    <a:pt x="22" y="343"/>
                  </a:lnTo>
                  <a:lnTo>
                    <a:pt x="26" y="342"/>
                  </a:lnTo>
                  <a:lnTo>
                    <a:pt x="27" y="342"/>
                  </a:lnTo>
                  <a:lnTo>
                    <a:pt x="27" y="339"/>
                  </a:lnTo>
                  <a:lnTo>
                    <a:pt x="26" y="337"/>
                  </a:lnTo>
                  <a:lnTo>
                    <a:pt x="25" y="336"/>
                  </a:lnTo>
                  <a:lnTo>
                    <a:pt x="23" y="332"/>
                  </a:lnTo>
                  <a:lnTo>
                    <a:pt x="23" y="330"/>
                  </a:lnTo>
                  <a:lnTo>
                    <a:pt x="22" y="329"/>
                  </a:lnTo>
                  <a:lnTo>
                    <a:pt x="23" y="327"/>
                  </a:lnTo>
                  <a:lnTo>
                    <a:pt x="23" y="326"/>
                  </a:lnTo>
                  <a:lnTo>
                    <a:pt x="25" y="327"/>
                  </a:lnTo>
                  <a:lnTo>
                    <a:pt x="26" y="327"/>
                  </a:lnTo>
                  <a:lnTo>
                    <a:pt x="29" y="327"/>
                  </a:lnTo>
                  <a:lnTo>
                    <a:pt x="29" y="325"/>
                  </a:lnTo>
                  <a:lnTo>
                    <a:pt x="28" y="323"/>
                  </a:lnTo>
                  <a:lnTo>
                    <a:pt x="29" y="323"/>
                  </a:lnTo>
                  <a:lnTo>
                    <a:pt x="32" y="321"/>
                  </a:lnTo>
                  <a:lnTo>
                    <a:pt x="33" y="321"/>
                  </a:lnTo>
                  <a:lnTo>
                    <a:pt x="35" y="324"/>
                  </a:lnTo>
                  <a:lnTo>
                    <a:pt x="35" y="325"/>
                  </a:lnTo>
                  <a:lnTo>
                    <a:pt x="35" y="326"/>
                  </a:lnTo>
                  <a:lnTo>
                    <a:pt x="35" y="329"/>
                  </a:lnTo>
                  <a:lnTo>
                    <a:pt x="34" y="331"/>
                  </a:lnTo>
                  <a:lnTo>
                    <a:pt x="35" y="331"/>
                  </a:lnTo>
                  <a:lnTo>
                    <a:pt x="38" y="330"/>
                  </a:lnTo>
                  <a:lnTo>
                    <a:pt x="39" y="330"/>
                  </a:lnTo>
                  <a:lnTo>
                    <a:pt x="39" y="327"/>
                  </a:lnTo>
                  <a:lnTo>
                    <a:pt x="39" y="330"/>
                  </a:lnTo>
                  <a:lnTo>
                    <a:pt x="40" y="329"/>
                  </a:lnTo>
                  <a:lnTo>
                    <a:pt x="41" y="329"/>
                  </a:lnTo>
                  <a:lnTo>
                    <a:pt x="43" y="327"/>
                  </a:lnTo>
                  <a:lnTo>
                    <a:pt x="44" y="327"/>
                  </a:lnTo>
                  <a:lnTo>
                    <a:pt x="46" y="327"/>
                  </a:lnTo>
                  <a:lnTo>
                    <a:pt x="49" y="326"/>
                  </a:lnTo>
                  <a:lnTo>
                    <a:pt x="49" y="327"/>
                  </a:lnTo>
                  <a:lnTo>
                    <a:pt x="47" y="327"/>
                  </a:lnTo>
                  <a:lnTo>
                    <a:pt x="46" y="329"/>
                  </a:lnTo>
                  <a:lnTo>
                    <a:pt x="45" y="329"/>
                  </a:lnTo>
                  <a:lnTo>
                    <a:pt x="49" y="327"/>
                  </a:lnTo>
                  <a:lnTo>
                    <a:pt x="46" y="329"/>
                  </a:lnTo>
                  <a:lnTo>
                    <a:pt x="45" y="330"/>
                  </a:lnTo>
                  <a:lnTo>
                    <a:pt x="45" y="331"/>
                  </a:lnTo>
                  <a:lnTo>
                    <a:pt x="46" y="331"/>
                  </a:lnTo>
                  <a:lnTo>
                    <a:pt x="49" y="331"/>
                  </a:lnTo>
                  <a:lnTo>
                    <a:pt x="47" y="330"/>
                  </a:lnTo>
                  <a:lnTo>
                    <a:pt x="50" y="330"/>
                  </a:lnTo>
                  <a:lnTo>
                    <a:pt x="51" y="331"/>
                  </a:lnTo>
                  <a:lnTo>
                    <a:pt x="52" y="332"/>
                  </a:lnTo>
                  <a:lnTo>
                    <a:pt x="53" y="333"/>
                  </a:lnTo>
                  <a:lnTo>
                    <a:pt x="52" y="333"/>
                  </a:lnTo>
                  <a:lnTo>
                    <a:pt x="49" y="332"/>
                  </a:lnTo>
                  <a:lnTo>
                    <a:pt x="49" y="335"/>
                  </a:lnTo>
                  <a:lnTo>
                    <a:pt x="51" y="335"/>
                  </a:lnTo>
                  <a:lnTo>
                    <a:pt x="52" y="335"/>
                  </a:lnTo>
                  <a:lnTo>
                    <a:pt x="53" y="337"/>
                  </a:lnTo>
                  <a:lnTo>
                    <a:pt x="56" y="339"/>
                  </a:lnTo>
                  <a:lnTo>
                    <a:pt x="57" y="339"/>
                  </a:lnTo>
                  <a:lnTo>
                    <a:pt x="58" y="339"/>
                  </a:lnTo>
                  <a:lnTo>
                    <a:pt x="61" y="339"/>
                  </a:lnTo>
                  <a:lnTo>
                    <a:pt x="62" y="338"/>
                  </a:lnTo>
                  <a:lnTo>
                    <a:pt x="63" y="338"/>
                  </a:lnTo>
                  <a:lnTo>
                    <a:pt x="64" y="337"/>
                  </a:lnTo>
                  <a:lnTo>
                    <a:pt x="65" y="335"/>
                  </a:lnTo>
                  <a:lnTo>
                    <a:pt x="67" y="335"/>
                  </a:lnTo>
                  <a:lnTo>
                    <a:pt x="68" y="333"/>
                  </a:lnTo>
                  <a:lnTo>
                    <a:pt x="68" y="331"/>
                  </a:lnTo>
                  <a:lnTo>
                    <a:pt x="68" y="329"/>
                  </a:lnTo>
                  <a:lnTo>
                    <a:pt x="68" y="326"/>
                  </a:lnTo>
                  <a:lnTo>
                    <a:pt x="65" y="327"/>
                  </a:lnTo>
                  <a:lnTo>
                    <a:pt x="65" y="325"/>
                  </a:lnTo>
                  <a:lnTo>
                    <a:pt x="64" y="325"/>
                  </a:lnTo>
                  <a:lnTo>
                    <a:pt x="63" y="324"/>
                  </a:lnTo>
                  <a:lnTo>
                    <a:pt x="64" y="323"/>
                  </a:lnTo>
                  <a:lnTo>
                    <a:pt x="65" y="323"/>
                  </a:lnTo>
                  <a:lnTo>
                    <a:pt x="64" y="321"/>
                  </a:lnTo>
                  <a:lnTo>
                    <a:pt x="63" y="321"/>
                  </a:lnTo>
                  <a:lnTo>
                    <a:pt x="65" y="319"/>
                  </a:lnTo>
                  <a:lnTo>
                    <a:pt x="67" y="320"/>
                  </a:lnTo>
                  <a:lnTo>
                    <a:pt x="68" y="320"/>
                  </a:lnTo>
                  <a:lnTo>
                    <a:pt x="69" y="320"/>
                  </a:lnTo>
                  <a:lnTo>
                    <a:pt x="69" y="318"/>
                  </a:lnTo>
                  <a:lnTo>
                    <a:pt x="70" y="318"/>
                  </a:lnTo>
                  <a:lnTo>
                    <a:pt x="70" y="320"/>
                  </a:lnTo>
                  <a:lnTo>
                    <a:pt x="71" y="320"/>
                  </a:lnTo>
                  <a:lnTo>
                    <a:pt x="73" y="321"/>
                  </a:lnTo>
                  <a:lnTo>
                    <a:pt x="74" y="321"/>
                  </a:lnTo>
                  <a:lnTo>
                    <a:pt x="73" y="324"/>
                  </a:lnTo>
                  <a:lnTo>
                    <a:pt x="73" y="325"/>
                  </a:lnTo>
                  <a:lnTo>
                    <a:pt x="73" y="326"/>
                  </a:lnTo>
                  <a:lnTo>
                    <a:pt x="74" y="325"/>
                  </a:lnTo>
                  <a:lnTo>
                    <a:pt x="73" y="324"/>
                  </a:lnTo>
                  <a:lnTo>
                    <a:pt x="74" y="323"/>
                  </a:lnTo>
                  <a:lnTo>
                    <a:pt x="78" y="323"/>
                  </a:lnTo>
                  <a:lnTo>
                    <a:pt x="76" y="324"/>
                  </a:lnTo>
                  <a:lnTo>
                    <a:pt x="78" y="325"/>
                  </a:lnTo>
                  <a:lnTo>
                    <a:pt x="78" y="326"/>
                  </a:lnTo>
                  <a:lnTo>
                    <a:pt x="81" y="326"/>
                  </a:lnTo>
                  <a:lnTo>
                    <a:pt x="81" y="325"/>
                  </a:lnTo>
                  <a:lnTo>
                    <a:pt x="79" y="324"/>
                  </a:lnTo>
                  <a:lnTo>
                    <a:pt x="81" y="324"/>
                  </a:lnTo>
                  <a:lnTo>
                    <a:pt x="81" y="321"/>
                  </a:lnTo>
                  <a:lnTo>
                    <a:pt x="81" y="320"/>
                  </a:lnTo>
                  <a:lnTo>
                    <a:pt x="82" y="320"/>
                  </a:lnTo>
                  <a:lnTo>
                    <a:pt x="84" y="319"/>
                  </a:lnTo>
                  <a:lnTo>
                    <a:pt x="86" y="320"/>
                  </a:lnTo>
                  <a:lnTo>
                    <a:pt x="87" y="320"/>
                  </a:lnTo>
                  <a:lnTo>
                    <a:pt x="90" y="323"/>
                  </a:lnTo>
                  <a:lnTo>
                    <a:pt x="90" y="321"/>
                  </a:lnTo>
                  <a:lnTo>
                    <a:pt x="90" y="320"/>
                  </a:lnTo>
                  <a:lnTo>
                    <a:pt x="91" y="319"/>
                  </a:lnTo>
                  <a:lnTo>
                    <a:pt x="92" y="320"/>
                  </a:lnTo>
                  <a:lnTo>
                    <a:pt x="92" y="321"/>
                  </a:lnTo>
                  <a:lnTo>
                    <a:pt x="94" y="320"/>
                  </a:lnTo>
                  <a:lnTo>
                    <a:pt x="96" y="319"/>
                  </a:lnTo>
                  <a:lnTo>
                    <a:pt x="97" y="318"/>
                  </a:lnTo>
                  <a:lnTo>
                    <a:pt x="98" y="318"/>
                  </a:lnTo>
                  <a:lnTo>
                    <a:pt x="100" y="319"/>
                  </a:lnTo>
                  <a:lnTo>
                    <a:pt x="99" y="317"/>
                  </a:lnTo>
                  <a:lnTo>
                    <a:pt x="102" y="319"/>
                  </a:lnTo>
                  <a:lnTo>
                    <a:pt x="102" y="318"/>
                  </a:lnTo>
                  <a:lnTo>
                    <a:pt x="103" y="317"/>
                  </a:lnTo>
                  <a:lnTo>
                    <a:pt x="104" y="315"/>
                  </a:lnTo>
                  <a:lnTo>
                    <a:pt x="105" y="315"/>
                  </a:lnTo>
                  <a:lnTo>
                    <a:pt x="105" y="314"/>
                  </a:lnTo>
                  <a:lnTo>
                    <a:pt x="105" y="313"/>
                  </a:lnTo>
                  <a:lnTo>
                    <a:pt x="105" y="312"/>
                  </a:lnTo>
                  <a:lnTo>
                    <a:pt x="104" y="311"/>
                  </a:lnTo>
                  <a:lnTo>
                    <a:pt x="106" y="311"/>
                  </a:lnTo>
                  <a:lnTo>
                    <a:pt x="106" y="309"/>
                  </a:lnTo>
                  <a:lnTo>
                    <a:pt x="109" y="311"/>
                  </a:lnTo>
                  <a:lnTo>
                    <a:pt x="111" y="311"/>
                  </a:lnTo>
                  <a:lnTo>
                    <a:pt x="112" y="309"/>
                  </a:lnTo>
                  <a:lnTo>
                    <a:pt x="111" y="308"/>
                  </a:lnTo>
                  <a:lnTo>
                    <a:pt x="110" y="307"/>
                  </a:lnTo>
                  <a:lnTo>
                    <a:pt x="112" y="307"/>
                  </a:lnTo>
                  <a:lnTo>
                    <a:pt x="112" y="306"/>
                  </a:lnTo>
                  <a:lnTo>
                    <a:pt x="112" y="305"/>
                  </a:lnTo>
                  <a:lnTo>
                    <a:pt x="111" y="303"/>
                  </a:lnTo>
                  <a:lnTo>
                    <a:pt x="112" y="302"/>
                  </a:lnTo>
                  <a:lnTo>
                    <a:pt x="111" y="300"/>
                  </a:lnTo>
                  <a:lnTo>
                    <a:pt x="110" y="300"/>
                  </a:lnTo>
                  <a:lnTo>
                    <a:pt x="109" y="301"/>
                  </a:lnTo>
                  <a:lnTo>
                    <a:pt x="106" y="301"/>
                  </a:lnTo>
                  <a:lnTo>
                    <a:pt x="106" y="300"/>
                  </a:lnTo>
                  <a:lnTo>
                    <a:pt x="108" y="297"/>
                  </a:lnTo>
                  <a:lnTo>
                    <a:pt x="105" y="297"/>
                  </a:lnTo>
                  <a:lnTo>
                    <a:pt x="104" y="299"/>
                  </a:lnTo>
                  <a:lnTo>
                    <a:pt x="104" y="300"/>
                  </a:lnTo>
                  <a:lnTo>
                    <a:pt x="103" y="300"/>
                  </a:lnTo>
                  <a:lnTo>
                    <a:pt x="102" y="300"/>
                  </a:lnTo>
                  <a:lnTo>
                    <a:pt x="100" y="300"/>
                  </a:lnTo>
                  <a:lnTo>
                    <a:pt x="99" y="302"/>
                  </a:lnTo>
                  <a:lnTo>
                    <a:pt x="99" y="301"/>
                  </a:lnTo>
                  <a:lnTo>
                    <a:pt x="97" y="300"/>
                  </a:lnTo>
                  <a:lnTo>
                    <a:pt x="98" y="299"/>
                  </a:lnTo>
                  <a:lnTo>
                    <a:pt x="97" y="297"/>
                  </a:lnTo>
                  <a:lnTo>
                    <a:pt x="94" y="297"/>
                  </a:lnTo>
                  <a:lnTo>
                    <a:pt x="94" y="296"/>
                  </a:lnTo>
                  <a:lnTo>
                    <a:pt x="96" y="295"/>
                  </a:lnTo>
                  <a:lnTo>
                    <a:pt x="98" y="294"/>
                  </a:lnTo>
                  <a:lnTo>
                    <a:pt x="100" y="296"/>
                  </a:lnTo>
                  <a:lnTo>
                    <a:pt x="100" y="295"/>
                  </a:lnTo>
                  <a:lnTo>
                    <a:pt x="102" y="294"/>
                  </a:lnTo>
                  <a:lnTo>
                    <a:pt x="103" y="291"/>
                  </a:lnTo>
                  <a:lnTo>
                    <a:pt x="103" y="294"/>
                  </a:lnTo>
                  <a:lnTo>
                    <a:pt x="104" y="293"/>
                  </a:lnTo>
                  <a:lnTo>
                    <a:pt x="106" y="293"/>
                  </a:lnTo>
                  <a:lnTo>
                    <a:pt x="106" y="291"/>
                  </a:lnTo>
                  <a:lnTo>
                    <a:pt x="110" y="290"/>
                  </a:lnTo>
                  <a:lnTo>
                    <a:pt x="110" y="289"/>
                  </a:lnTo>
                  <a:lnTo>
                    <a:pt x="108" y="289"/>
                  </a:lnTo>
                  <a:lnTo>
                    <a:pt x="106" y="289"/>
                  </a:lnTo>
                  <a:lnTo>
                    <a:pt x="105" y="289"/>
                  </a:lnTo>
                  <a:lnTo>
                    <a:pt x="106" y="288"/>
                  </a:lnTo>
                  <a:lnTo>
                    <a:pt x="105" y="288"/>
                  </a:lnTo>
                  <a:lnTo>
                    <a:pt x="106" y="287"/>
                  </a:lnTo>
                  <a:lnTo>
                    <a:pt x="108" y="285"/>
                  </a:lnTo>
                  <a:lnTo>
                    <a:pt x="109" y="283"/>
                  </a:lnTo>
                  <a:lnTo>
                    <a:pt x="108" y="283"/>
                  </a:lnTo>
                  <a:lnTo>
                    <a:pt x="105" y="283"/>
                  </a:lnTo>
                  <a:lnTo>
                    <a:pt x="104" y="282"/>
                  </a:lnTo>
                  <a:lnTo>
                    <a:pt x="100" y="282"/>
                  </a:lnTo>
                  <a:lnTo>
                    <a:pt x="102" y="282"/>
                  </a:lnTo>
                  <a:lnTo>
                    <a:pt x="104" y="282"/>
                  </a:lnTo>
                  <a:lnTo>
                    <a:pt x="104" y="279"/>
                  </a:lnTo>
                  <a:lnTo>
                    <a:pt x="103" y="279"/>
                  </a:lnTo>
                  <a:lnTo>
                    <a:pt x="103" y="278"/>
                  </a:lnTo>
                  <a:lnTo>
                    <a:pt x="104" y="278"/>
                  </a:lnTo>
                  <a:lnTo>
                    <a:pt x="103" y="277"/>
                  </a:lnTo>
                  <a:lnTo>
                    <a:pt x="100" y="276"/>
                  </a:lnTo>
                  <a:lnTo>
                    <a:pt x="102" y="275"/>
                  </a:lnTo>
                  <a:lnTo>
                    <a:pt x="100" y="273"/>
                  </a:lnTo>
                  <a:lnTo>
                    <a:pt x="102" y="271"/>
                  </a:lnTo>
                  <a:lnTo>
                    <a:pt x="102" y="270"/>
                  </a:lnTo>
                  <a:lnTo>
                    <a:pt x="102" y="269"/>
                  </a:lnTo>
                  <a:lnTo>
                    <a:pt x="104" y="269"/>
                  </a:lnTo>
                  <a:lnTo>
                    <a:pt x="105" y="269"/>
                  </a:lnTo>
                  <a:lnTo>
                    <a:pt x="105" y="267"/>
                  </a:lnTo>
                  <a:lnTo>
                    <a:pt x="105" y="265"/>
                  </a:lnTo>
                  <a:lnTo>
                    <a:pt x="106" y="265"/>
                  </a:lnTo>
                  <a:lnTo>
                    <a:pt x="106" y="266"/>
                  </a:lnTo>
                  <a:lnTo>
                    <a:pt x="108" y="267"/>
                  </a:lnTo>
                  <a:lnTo>
                    <a:pt x="109" y="267"/>
                  </a:lnTo>
                  <a:lnTo>
                    <a:pt x="108" y="265"/>
                  </a:lnTo>
                  <a:lnTo>
                    <a:pt x="109" y="264"/>
                  </a:lnTo>
                  <a:lnTo>
                    <a:pt x="110" y="265"/>
                  </a:lnTo>
                  <a:lnTo>
                    <a:pt x="111" y="264"/>
                  </a:lnTo>
                  <a:lnTo>
                    <a:pt x="111" y="265"/>
                  </a:lnTo>
                  <a:lnTo>
                    <a:pt x="112" y="266"/>
                  </a:lnTo>
                  <a:lnTo>
                    <a:pt x="114" y="264"/>
                  </a:lnTo>
                  <a:lnTo>
                    <a:pt x="114" y="266"/>
                  </a:lnTo>
                  <a:lnTo>
                    <a:pt x="115" y="265"/>
                  </a:lnTo>
                  <a:lnTo>
                    <a:pt x="115" y="264"/>
                  </a:lnTo>
                  <a:lnTo>
                    <a:pt x="117" y="263"/>
                  </a:lnTo>
                  <a:lnTo>
                    <a:pt x="116" y="261"/>
                  </a:lnTo>
                  <a:lnTo>
                    <a:pt x="115" y="260"/>
                  </a:lnTo>
                  <a:lnTo>
                    <a:pt x="116" y="260"/>
                  </a:lnTo>
                  <a:lnTo>
                    <a:pt x="116" y="259"/>
                  </a:lnTo>
                  <a:lnTo>
                    <a:pt x="114" y="258"/>
                  </a:lnTo>
                  <a:lnTo>
                    <a:pt x="115" y="257"/>
                  </a:lnTo>
                  <a:lnTo>
                    <a:pt x="116" y="257"/>
                  </a:lnTo>
                  <a:lnTo>
                    <a:pt x="116" y="255"/>
                  </a:lnTo>
                  <a:lnTo>
                    <a:pt x="115" y="255"/>
                  </a:lnTo>
                  <a:lnTo>
                    <a:pt x="114" y="254"/>
                  </a:lnTo>
                  <a:lnTo>
                    <a:pt x="115" y="254"/>
                  </a:lnTo>
                  <a:lnTo>
                    <a:pt x="116" y="254"/>
                  </a:lnTo>
                  <a:lnTo>
                    <a:pt x="116" y="252"/>
                  </a:lnTo>
                  <a:lnTo>
                    <a:pt x="117" y="252"/>
                  </a:lnTo>
                  <a:lnTo>
                    <a:pt x="117" y="250"/>
                  </a:lnTo>
                  <a:lnTo>
                    <a:pt x="116" y="249"/>
                  </a:lnTo>
                  <a:lnTo>
                    <a:pt x="118" y="249"/>
                  </a:lnTo>
                  <a:lnTo>
                    <a:pt x="120" y="249"/>
                  </a:lnTo>
                  <a:lnTo>
                    <a:pt x="120" y="248"/>
                  </a:lnTo>
                  <a:lnTo>
                    <a:pt x="121" y="248"/>
                  </a:lnTo>
                  <a:lnTo>
                    <a:pt x="122" y="247"/>
                  </a:lnTo>
                  <a:lnTo>
                    <a:pt x="123" y="246"/>
                  </a:lnTo>
                  <a:lnTo>
                    <a:pt x="123" y="244"/>
                  </a:lnTo>
                  <a:lnTo>
                    <a:pt x="124" y="244"/>
                  </a:lnTo>
                  <a:lnTo>
                    <a:pt x="124" y="243"/>
                  </a:lnTo>
                  <a:lnTo>
                    <a:pt x="126" y="242"/>
                  </a:lnTo>
                  <a:lnTo>
                    <a:pt x="128" y="242"/>
                  </a:lnTo>
                  <a:lnTo>
                    <a:pt x="129" y="242"/>
                  </a:lnTo>
                  <a:lnTo>
                    <a:pt x="130" y="242"/>
                  </a:lnTo>
                  <a:lnTo>
                    <a:pt x="128" y="241"/>
                  </a:lnTo>
                  <a:lnTo>
                    <a:pt x="128" y="240"/>
                  </a:lnTo>
                  <a:lnTo>
                    <a:pt x="128" y="238"/>
                  </a:lnTo>
                  <a:lnTo>
                    <a:pt x="127" y="236"/>
                  </a:lnTo>
                  <a:lnTo>
                    <a:pt x="127" y="235"/>
                  </a:lnTo>
                  <a:lnTo>
                    <a:pt x="127" y="234"/>
                  </a:lnTo>
                  <a:lnTo>
                    <a:pt x="129" y="235"/>
                  </a:lnTo>
                  <a:lnTo>
                    <a:pt x="130" y="235"/>
                  </a:lnTo>
                  <a:lnTo>
                    <a:pt x="135" y="234"/>
                  </a:lnTo>
                  <a:lnTo>
                    <a:pt x="133" y="232"/>
                  </a:lnTo>
                  <a:lnTo>
                    <a:pt x="134" y="232"/>
                  </a:lnTo>
                  <a:lnTo>
                    <a:pt x="135" y="234"/>
                  </a:lnTo>
                  <a:lnTo>
                    <a:pt x="135" y="235"/>
                  </a:lnTo>
                  <a:lnTo>
                    <a:pt x="135" y="236"/>
                  </a:lnTo>
                  <a:lnTo>
                    <a:pt x="137" y="236"/>
                  </a:lnTo>
                  <a:lnTo>
                    <a:pt x="137" y="235"/>
                  </a:lnTo>
                  <a:lnTo>
                    <a:pt x="138" y="234"/>
                  </a:lnTo>
                  <a:lnTo>
                    <a:pt x="139" y="232"/>
                  </a:lnTo>
                  <a:lnTo>
                    <a:pt x="139" y="231"/>
                  </a:lnTo>
                  <a:lnTo>
                    <a:pt x="140" y="232"/>
                  </a:lnTo>
                  <a:lnTo>
                    <a:pt x="141" y="231"/>
                  </a:lnTo>
                  <a:lnTo>
                    <a:pt x="141" y="232"/>
                  </a:lnTo>
                  <a:lnTo>
                    <a:pt x="141" y="235"/>
                  </a:lnTo>
                  <a:lnTo>
                    <a:pt x="141" y="234"/>
                  </a:lnTo>
                  <a:lnTo>
                    <a:pt x="141" y="232"/>
                  </a:lnTo>
                  <a:lnTo>
                    <a:pt x="140" y="230"/>
                  </a:lnTo>
                  <a:lnTo>
                    <a:pt x="140" y="229"/>
                  </a:lnTo>
                  <a:lnTo>
                    <a:pt x="143" y="231"/>
                  </a:lnTo>
                  <a:lnTo>
                    <a:pt x="143" y="232"/>
                  </a:lnTo>
                  <a:lnTo>
                    <a:pt x="144" y="231"/>
                  </a:lnTo>
                  <a:lnTo>
                    <a:pt x="146" y="232"/>
                  </a:lnTo>
                  <a:lnTo>
                    <a:pt x="146" y="231"/>
                  </a:lnTo>
                  <a:lnTo>
                    <a:pt x="147" y="234"/>
                  </a:lnTo>
                  <a:lnTo>
                    <a:pt x="147" y="235"/>
                  </a:lnTo>
                  <a:lnTo>
                    <a:pt x="149" y="235"/>
                  </a:lnTo>
                  <a:lnTo>
                    <a:pt x="150" y="235"/>
                  </a:lnTo>
                  <a:lnTo>
                    <a:pt x="150" y="237"/>
                  </a:lnTo>
                  <a:lnTo>
                    <a:pt x="150" y="238"/>
                  </a:lnTo>
                  <a:lnTo>
                    <a:pt x="151" y="237"/>
                  </a:lnTo>
                  <a:lnTo>
                    <a:pt x="153" y="236"/>
                  </a:lnTo>
                  <a:lnTo>
                    <a:pt x="153" y="237"/>
                  </a:lnTo>
                  <a:lnTo>
                    <a:pt x="152" y="238"/>
                  </a:lnTo>
                  <a:lnTo>
                    <a:pt x="152" y="240"/>
                  </a:lnTo>
                  <a:lnTo>
                    <a:pt x="153" y="241"/>
                  </a:lnTo>
                  <a:lnTo>
                    <a:pt x="155" y="238"/>
                  </a:lnTo>
                  <a:lnTo>
                    <a:pt x="156" y="238"/>
                  </a:lnTo>
                  <a:lnTo>
                    <a:pt x="158" y="237"/>
                  </a:lnTo>
                  <a:lnTo>
                    <a:pt x="158" y="234"/>
                  </a:lnTo>
                  <a:lnTo>
                    <a:pt x="159" y="235"/>
                  </a:lnTo>
                  <a:lnTo>
                    <a:pt x="161" y="235"/>
                  </a:lnTo>
                  <a:lnTo>
                    <a:pt x="163" y="234"/>
                  </a:lnTo>
                  <a:lnTo>
                    <a:pt x="164" y="231"/>
                  </a:lnTo>
                  <a:lnTo>
                    <a:pt x="165" y="230"/>
                  </a:lnTo>
                  <a:lnTo>
                    <a:pt x="167" y="229"/>
                  </a:lnTo>
                  <a:lnTo>
                    <a:pt x="170" y="228"/>
                  </a:lnTo>
                  <a:lnTo>
                    <a:pt x="173" y="225"/>
                  </a:lnTo>
                  <a:lnTo>
                    <a:pt x="173" y="223"/>
                  </a:lnTo>
                  <a:lnTo>
                    <a:pt x="171" y="223"/>
                  </a:lnTo>
                  <a:lnTo>
                    <a:pt x="170" y="225"/>
                  </a:lnTo>
                  <a:lnTo>
                    <a:pt x="169" y="225"/>
                  </a:lnTo>
                  <a:lnTo>
                    <a:pt x="168" y="224"/>
                  </a:lnTo>
                  <a:lnTo>
                    <a:pt x="168" y="222"/>
                  </a:lnTo>
                  <a:lnTo>
                    <a:pt x="167" y="222"/>
                  </a:lnTo>
                  <a:lnTo>
                    <a:pt x="167" y="223"/>
                  </a:lnTo>
                  <a:lnTo>
                    <a:pt x="167" y="224"/>
                  </a:lnTo>
                  <a:lnTo>
                    <a:pt x="165" y="225"/>
                  </a:lnTo>
                  <a:lnTo>
                    <a:pt x="165" y="224"/>
                  </a:lnTo>
                  <a:lnTo>
                    <a:pt x="164" y="225"/>
                  </a:lnTo>
                  <a:lnTo>
                    <a:pt x="164" y="224"/>
                  </a:lnTo>
                  <a:lnTo>
                    <a:pt x="163" y="225"/>
                  </a:lnTo>
                  <a:lnTo>
                    <a:pt x="162" y="226"/>
                  </a:lnTo>
                  <a:lnTo>
                    <a:pt x="162" y="225"/>
                  </a:lnTo>
                  <a:lnTo>
                    <a:pt x="162" y="226"/>
                  </a:lnTo>
                  <a:lnTo>
                    <a:pt x="161" y="229"/>
                  </a:lnTo>
                  <a:lnTo>
                    <a:pt x="159" y="226"/>
                  </a:lnTo>
                  <a:lnTo>
                    <a:pt x="158" y="228"/>
                  </a:lnTo>
                  <a:lnTo>
                    <a:pt x="157" y="228"/>
                  </a:lnTo>
                  <a:lnTo>
                    <a:pt x="156" y="226"/>
                  </a:lnTo>
                  <a:lnTo>
                    <a:pt x="156" y="225"/>
                  </a:lnTo>
                  <a:lnTo>
                    <a:pt x="155" y="225"/>
                  </a:lnTo>
                  <a:lnTo>
                    <a:pt x="155" y="228"/>
                  </a:lnTo>
                  <a:lnTo>
                    <a:pt x="155" y="229"/>
                  </a:lnTo>
                  <a:lnTo>
                    <a:pt x="155" y="230"/>
                  </a:lnTo>
                  <a:lnTo>
                    <a:pt x="155" y="232"/>
                  </a:lnTo>
                  <a:lnTo>
                    <a:pt x="155" y="234"/>
                  </a:lnTo>
                  <a:lnTo>
                    <a:pt x="153" y="232"/>
                  </a:lnTo>
                  <a:lnTo>
                    <a:pt x="152" y="231"/>
                  </a:lnTo>
                  <a:lnTo>
                    <a:pt x="152" y="230"/>
                  </a:lnTo>
                  <a:lnTo>
                    <a:pt x="150" y="230"/>
                  </a:lnTo>
                  <a:lnTo>
                    <a:pt x="149" y="230"/>
                  </a:lnTo>
                  <a:lnTo>
                    <a:pt x="147" y="229"/>
                  </a:lnTo>
                  <a:lnTo>
                    <a:pt x="147" y="228"/>
                  </a:lnTo>
                  <a:lnTo>
                    <a:pt x="149" y="226"/>
                  </a:lnTo>
                  <a:lnTo>
                    <a:pt x="152" y="223"/>
                  </a:lnTo>
                  <a:lnTo>
                    <a:pt x="152" y="222"/>
                  </a:lnTo>
                  <a:lnTo>
                    <a:pt x="155" y="222"/>
                  </a:lnTo>
                  <a:lnTo>
                    <a:pt x="153" y="220"/>
                  </a:lnTo>
                  <a:lnTo>
                    <a:pt x="152" y="222"/>
                  </a:lnTo>
                  <a:lnTo>
                    <a:pt x="151" y="222"/>
                  </a:lnTo>
                  <a:lnTo>
                    <a:pt x="150" y="222"/>
                  </a:lnTo>
                  <a:lnTo>
                    <a:pt x="149" y="224"/>
                  </a:lnTo>
                  <a:lnTo>
                    <a:pt x="147" y="224"/>
                  </a:lnTo>
                  <a:lnTo>
                    <a:pt x="146" y="225"/>
                  </a:lnTo>
                  <a:lnTo>
                    <a:pt x="143" y="225"/>
                  </a:lnTo>
                  <a:lnTo>
                    <a:pt x="145" y="224"/>
                  </a:lnTo>
                  <a:lnTo>
                    <a:pt x="146" y="223"/>
                  </a:lnTo>
                  <a:lnTo>
                    <a:pt x="146" y="222"/>
                  </a:lnTo>
                  <a:lnTo>
                    <a:pt x="146" y="219"/>
                  </a:lnTo>
                  <a:lnTo>
                    <a:pt x="144" y="220"/>
                  </a:lnTo>
                  <a:lnTo>
                    <a:pt x="145" y="218"/>
                  </a:lnTo>
                  <a:lnTo>
                    <a:pt x="144" y="218"/>
                  </a:lnTo>
                  <a:lnTo>
                    <a:pt x="143" y="218"/>
                  </a:lnTo>
                  <a:lnTo>
                    <a:pt x="143" y="217"/>
                  </a:lnTo>
                  <a:lnTo>
                    <a:pt x="141" y="216"/>
                  </a:lnTo>
                  <a:lnTo>
                    <a:pt x="140" y="216"/>
                  </a:lnTo>
                  <a:lnTo>
                    <a:pt x="139" y="214"/>
                  </a:lnTo>
                  <a:lnTo>
                    <a:pt x="140" y="214"/>
                  </a:lnTo>
                  <a:lnTo>
                    <a:pt x="141" y="214"/>
                  </a:lnTo>
                  <a:lnTo>
                    <a:pt x="141" y="213"/>
                  </a:lnTo>
                  <a:lnTo>
                    <a:pt x="140" y="212"/>
                  </a:lnTo>
                  <a:lnTo>
                    <a:pt x="143" y="212"/>
                  </a:lnTo>
                  <a:lnTo>
                    <a:pt x="144" y="211"/>
                  </a:lnTo>
                  <a:lnTo>
                    <a:pt x="145" y="211"/>
                  </a:lnTo>
                  <a:lnTo>
                    <a:pt x="144" y="213"/>
                  </a:lnTo>
                  <a:lnTo>
                    <a:pt x="145" y="212"/>
                  </a:lnTo>
                  <a:lnTo>
                    <a:pt x="146" y="213"/>
                  </a:lnTo>
                  <a:lnTo>
                    <a:pt x="146" y="212"/>
                  </a:lnTo>
                  <a:lnTo>
                    <a:pt x="147" y="213"/>
                  </a:lnTo>
                  <a:lnTo>
                    <a:pt x="149" y="213"/>
                  </a:lnTo>
                  <a:lnTo>
                    <a:pt x="150" y="213"/>
                  </a:lnTo>
                  <a:lnTo>
                    <a:pt x="150" y="214"/>
                  </a:lnTo>
                  <a:lnTo>
                    <a:pt x="152" y="214"/>
                  </a:lnTo>
                  <a:lnTo>
                    <a:pt x="152" y="216"/>
                  </a:lnTo>
                  <a:lnTo>
                    <a:pt x="153" y="217"/>
                  </a:lnTo>
                  <a:lnTo>
                    <a:pt x="155" y="217"/>
                  </a:lnTo>
                  <a:lnTo>
                    <a:pt x="155" y="216"/>
                  </a:lnTo>
                  <a:lnTo>
                    <a:pt x="156" y="214"/>
                  </a:lnTo>
                  <a:lnTo>
                    <a:pt x="156" y="212"/>
                  </a:lnTo>
                  <a:lnTo>
                    <a:pt x="157" y="211"/>
                  </a:lnTo>
                  <a:lnTo>
                    <a:pt x="157" y="213"/>
                  </a:lnTo>
                  <a:lnTo>
                    <a:pt x="158" y="214"/>
                  </a:lnTo>
                  <a:lnTo>
                    <a:pt x="159" y="214"/>
                  </a:lnTo>
                  <a:lnTo>
                    <a:pt x="161" y="213"/>
                  </a:lnTo>
                  <a:lnTo>
                    <a:pt x="162" y="212"/>
                  </a:lnTo>
                  <a:lnTo>
                    <a:pt x="164" y="211"/>
                  </a:lnTo>
                  <a:lnTo>
                    <a:pt x="169" y="210"/>
                  </a:lnTo>
                  <a:lnTo>
                    <a:pt x="168" y="208"/>
                  </a:lnTo>
                  <a:lnTo>
                    <a:pt x="168" y="207"/>
                  </a:lnTo>
                  <a:lnTo>
                    <a:pt x="170" y="205"/>
                  </a:lnTo>
                  <a:lnTo>
                    <a:pt x="168" y="205"/>
                  </a:lnTo>
                  <a:lnTo>
                    <a:pt x="167" y="205"/>
                  </a:lnTo>
                  <a:lnTo>
                    <a:pt x="165" y="207"/>
                  </a:lnTo>
                  <a:lnTo>
                    <a:pt x="165" y="205"/>
                  </a:lnTo>
                  <a:lnTo>
                    <a:pt x="165" y="204"/>
                  </a:lnTo>
                  <a:lnTo>
                    <a:pt x="164" y="205"/>
                  </a:lnTo>
                  <a:lnTo>
                    <a:pt x="164" y="207"/>
                  </a:lnTo>
                  <a:lnTo>
                    <a:pt x="163" y="207"/>
                  </a:lnTo>
                  <a:lnTo>
                    <a:pt x="161" y="208"/>
                  </a:lnTo>
                  <a:lnTo>
                    <a:pt x="161" y="207"/>
                  </a:lnTo>
                  <a:lnTo>
                    <a:pt x="159" y="208"/>
                  </a:lnTo>
                  <a:lnTo>
                    <a:pt x="159" y="207"/>
                  </a:lnTo>
                  <a:lnTo>
                    <a:pt x="158" y="208"/>
                  </a:lnTo>
                  <a:lnTo>
                    <a:pt x="158" y="207"/>
                  </a:lnTo>
                  <a:lnTo>
                    <a:pt x="156" y="208"/>
                  </a:lnTo>
                  <a:lnTo>
                    <a:pt x="156" y="207"/>
                  </a:lnTo>
                  <a:lnTo>
                    <a:pt x="155" y="207"/>
                  </a:lnTo>
                  <a:lnTo>
                    <a:pt x="155" y="206"/>
                  </a:lnTo>
                  <a:lnTo>
                    <a:pt x="155" y="205"/>
                  </a:lnTo>
                  <a:lnTo>
                    <a:pt x="158" y="202"/>
                  </a:lnTo>
                  <a:lnTo>
                    <a:pt x="159" y="204"/>
                  </a:lnTo>
                  <a:lnTo>
                    <a:pt x="161" y="204"/>
                  </a:lnTo>
                  <a:lnTo>
                    <a:pt x="161" y="201"/>
                  </a:lnTo>
                  <a:lnTo>
                    <a:pt x="162" y="201"/>
                  </a:lnTo>
                  <a:lnTo>
                    <a:pt x="163" y="200"/>
                  </a:lnTo>
                  <a:lnTo>
                    <a:pt x="164" y="200"/>
                  </a:lnTo>
                  <a:lnTo>
                    <a:pt x="164" y="199"/>
                  </a:lnTo>
                  <a:lnTo>
                    <a:pt x="165" y="199"/>
                  </a:lnTo>
                  <a:lnTo>
                    <a:pt x="167" y="199"/>
                  </a:lnTo>
                  <a:lnTo>
                    <a:pt x="169" y="198"/>
                  </a:lnTo>
                  <a:lnTo>
                    <a:pt x="171" y="196"/>
                  </a:lnTo>
                  <a:lnTo>
                    <a:pt x="174" y="195"/>
                  </a:lnTo>
                  <a:lnTo>
                    <a:pt x="175" y="194"/>
                  </a:lnTo>
                  <a:lnTo>
                    <a:pt x="173" y="194"/>
                  </a:lnTo>
                  <a:lnTo>
                    <a:pt x="171" y="192"/>
                  </a:lnTo>
                  <a:lnTo>
                    <a:pt x="170" y="190"/>
                  </a:lnTo>
                  <a:lnTo>
                    <a:pt x="169" y="192"/>
                  </a:lnTo>
                  <a:lnTo>
                    <a:pt x="167" y="192"/>
                  </a:lnTo>
                  <a:lnTo>
                    <a:pt x="167" y="193"/>
                  </a:lnTo>
                  <a:lnTo>
                    <a:pt x="165" y="196"/>
                  </a:lnTo>
                  <a:lnTo>
                    <a:pt x="165" y="198"/>
                  </a:lnTo>
                  <a:lnTo>
                    <a:pt x="164" y="198"/>
                  </a:lnTo>
                  <a:lnTo>
                    <a:pt x="163" y="198"/>
                  </a:lnTo>
                  <a:lnTo>
                    <a:pt x="162" y="199"/>
                  </a:lnTo>
                  <a:lnTo>
                    <a:pt x="161" y="200"/>
                  </a:lnTo>
                  <a:lnTo>
                    <a:pt x="159" y="200"/>
                  </a:lnTo>
                  <a:lnTo>
                    <a:pt x="158" y="200"/>
                  </a:lnTo>
                  <a:lnTo>
                    <a:pt x="157" y="200"/>
                  </a:lnTo>
                  <a:lnTo>
                    <a:pt x="157" y="201"/>
                  </a:lnTo>
                  <a:lnTo>
                    <a:pt x="156" y="202"/>
                  </a:lnTo>
                  <a:lnTo>
                    <a:pt x="155" y="204"/>
                  </a:lnTo>
                  <a:lnTo>
                    <a:pt x="153" y="201"/>
                  </a:lnTo>
                  <a:lnTo>
                    <a:pt x="152" y="200"/>
                  </a:lnTo>
                  <a:lnTo>
                    <a:pt x="153" y="198"/>
                  </a:lnTo>
                  <a:lnTo>
                    <a:pt x="153" y="196"/>
                  </a:lnTo>
                  <a:lnTo>
                    <a:pt x="152" y="193"/>
                  </a:lnTo>
                  <a:lnTo>
                    <a:pt x="151" y="195"/>
                  </a:lnTo>
                  <a:lnTo>
                    <a:pt x="151" y="199"/>
                  </a:lnTo>
                  <a:lnTo>
                    <a:pt x="150" y="199"/>
                  </a:lnTo>
                  <a:lnTo>
                    <a:pt x="150" y="196"/>
                  </a:lnTo>
                  <a:lnTo>
                    <a:pt x="150" y="195"/>
                  </a:lnTo>
                  <a:lnTo>
                    <a:pt x="149" y="195"/>
                  </a:lnTo>
                  <a:lnTo>
                    <a:pt x="147" y="195"/>
                  </a:lnTo>
                  <a:lnTo>
                    <a:pt x="146" y="198"/>
                  </a:lnTo>
                  <a:lnTo>
                    <a:pt x="146" y="195"/>
                  </a:lnTo>
                  <a:lnTo>
                    <a:pt x="146" y="194"/>
                  </a:lnTo>
                  <a:lnTo>
                    <a:pt x="145" y="194"/>
                  </a:lnTo>
                  <a:lnTo>
                    <a:pt x="144" y="194"/>
                  </a:lnTo>
                  <a:lnTo>
                    <a:pt x="146" y="193"/>
                  </a:lnTo>
                  <a:lnTo>
                    <a:pt x="147" y="193"/>
                  </a:lnTo>
                  <a:lnTo>
                    <a:pt x="149" y="193"/>
                  </a:lnTo>
                  <a:lnTo>
                    <a:pt x="150" y="192"/>
                  </a:lnTo>
                  <a:lnTo>
                    <a:pt x="149" y="190"/>
                  </a:lnTo>
                  <a:lnTo>
                    <a:pt x="147" y="192"/>
                  </a:lnTo>
                  <a:lnTo>
                    <a:pt x="146" y="192"/>
                  </a:lnTo>
                  <a:lnTo>
                    <a:pt x="147" y="189"/>
                  </a:lnTo>
                  <a:lnTo>
                    <a:pt x="146" y="189"/>
                  </a:lnTo>
                  <a:lnTo>
                    <a:pt x="145" y="190"/>
                  </a:lnTo>
                  <a:lnTo>
                    <a:pt x="144" y="190"/>
                  </a:lnTo>
                  <a:lnTo>
                    <a:pt x="143" y="189"/>
                  </a:lnTo>
                  <a:lnTo>
                    <a:pt x="143" y="192"/>
                  </a:lnTo>
                  <a:lnTo>
                    <a:pt x="140" y="190"/>
                  </a:lnTo>
                  <a:lnTo>
                    <a:pt x="139" y="192"/>
                  </a:lnTo>
                  <a:lnTo>
                    <a:pt x="138" y="192"/>
                  </a:lnTo>
                  <a:lnTo>
                    <a:pt x="137" y="190"/>
                  </a:lnTo>
                  <a:lnTo>
                    <a:pt x="138" y="189"/>
                  </a:lnTo>
                  <a:lnTo>
                    <a:pt x="135" y="189"/>
                  </a:lnTo>
                  <a:lnTo>
                    <a:pt x="138" y="187"/>
                  </a:lnTo>
                  <a:lnTo>
                    <a:pt x="137" y="187"/>
                  </a:lnTo>
                  <a:lnTo>
                    <a:pt x="137" y="184"/>
                  </a:lnTo>
                  <a:lnTo>
                    <a:pt x="138" y="184"/>
                  </a:lnTo>
                  <a:lnTo>
                    <a:pt x="140" y="184"/>
                  </a:lnTo>
                  <a:lnTo>
                    <a:pt x="143" y="184"/>
                  </a:lnTo>
                  <a:lnTo>
                    <a:pt x="143" y="182"/>
                  </a:lnTo>
                  <a:lnTo>
                    <a:pt x="144" y="182"/>
                  </a:lnTo>
                  <a:lnTo>
                    <a:pt x="144" y="183"/>
                  </a:lnTo>
                  <a:lnTo>
                    <a:pt x="144" y="186"/>
                  </a:lnTo>
                  <a:lnTo>
                    <a:pt x="145" y="186"/>
                  </a:lnTo>
                  <a:lnTo>
                    <a:pt x="145" y="184"/>
                  </a:lnTo>
                  <a:lnTo>
                    <a:pt x="145" y="182"/>
                  </a:lnTo>
                  <a:lnTo>
                    <a:pt x="146" y="182"/>
                  </a:lnTo>
                  <a:lnTo>
                    <a:pt x="146" y="183"/>
                  </a:lnTo>
                  <a:lnTo>
                    <a:pt x="147" y="183"/>
                  </a:lnTo>
                  <a:lnTo>
                    <a:pt x="147" y="186"/>
                  </a:lnTo>
                  <a:lnTo>
                    <a:pt x="149" y="186"/>
                  </a:lnTo>
                  <a:lnTo>
                    <a:pt x="149" y="187"/>
                  </a:lnTo>
                  <a:lnTo>
                    <a:pt x="150" y="188"/>
                  </a:lnTo>
                  <a:lnTo>
                    <a:pt x="151" y="186"/>
                  </a:lnTo>
                  <a:lnTo>
                    <a:pt x="152" y="184"/>
                  </a:lnTo>
                  <a:lnTo>
                    <a:pt x="153" y="183"/>
                  </a:lnTo>
                  <a:lnTo>
                    <a:pt x="155" y="183"/>
                  </a:lnTo>
                  <a:lnTo>
                    <a:pt x="157" y="183"/>
                  </a:lnTo>
                  <a:lnTo>
                    <a:pt x="157" y="182"/>
                  </a:lnTo>
                  <a:lnTo>
                    <a:pt x="159" y="182"/>
                  </a:lnTo>
                  <a:lnTo>
                    <a:pt x="161" y="183"/>
                  </a:lnTo>
                  <a:lnTo>
                    <a:pt x="161" y="182"/>
                  </a:lnTo>
                  <a:lnTo>
                    <a:pt x="159" y="181"/>
                  </a:lnTo>
                  <a:lnTo>
                    <a:pt x="158" y="180"/>
                  </a:lnTo>
                  <a:lnTo>
                    <a:pt x="158" y="178"/>
                  </a:lnTo>
                  <a:lnTo>
                    <a:pt x="159" y="178"/>
                  </a:lnTo>
                  <a:lnTo>
                    <a:pt x="162" y="178"/>
                  </a:lnTo>
                  <a:lnTo>
                    <a:pt x="163" y="177"/>
                  </a:lnTo>
                  <a:lnTo>
                    <a:pt x="162" y="176"/>
                  </a:lnTo>
                  <a:lnTo>
                    <a:pt x="159" y="176"/>
                  </a:lnTo>
                  <a:lnTo>
                    <a:pt x="158" y="175"/>
                  </a:lnTo>
                  <a:lnTo>
                    <a:pt x="157" y="176"/>
                  </a:lnTo>
                  <a:lnTo>
                    <a:pt x="158" y="176"/>
                  </a:lnTo>
                  <a:lnTo>
                    <a:pt x="157" y="176"/>
                  </a:lnTo>
                  <a:lnTo>
                    <a:pt x="155" y="175"/>
                  </a:lnTo>
                  <a:lnTo>
                    <a:pt x="155" y="176"/>
                  </a:lnTo>
                  <a:lnTo>
                    <a:pt x="153" y="177"/>
                  </a:lnTo>
                  <a:lnTo>
                    <a:pt x="153" y="178"/>
                  </a:lnTo>
                  <a:lnTo>
                    <a:pt x="152" y="178"/>
                  </a:lnTo>
                  <a:lnTo>
                    <a:pt x="151" y="178"/>
                  </a:lnTo>
                  <a:lnTo>
                    <a:pt x="150" y="178"/>
                  </a:lnTo>
                  <a:lnTo>
                    <a:pt x="149" y="180"/>
                  </a:lnTo>
                  <a:lnTo>
                    <a:pt x="147" y="180"/>
                  </a:lnTo>
                  <a:lnTo>
                    <a:pt x="147" y="178"/>
                  </a:lnTo>
                  <a:lnTo>
                    <a:pt x="146" y="177"/>
                  </a:lnTo>
                  <a:lnTo>
                    <a:pt x="145" y="177"/>
                  </a:lnTo>
                  <a:lnTo>
                    <a:pt x="144" y="176"/>
                  </a:lnTo>
                  <a:lnTo>
                    <a:pt x="144" y="177"/>
                  </a:lnTo>
                  <a:lnTo>
                    <a:pt x="143" y="178"/>
                  </a:lnTo>
                  <a:lnTo>
                    <a:pt x="143" y="180"/>
                  </a:lnTo>
                  <a:lnTo>
                    <a:pt x="141" y="178"/>
                  </a:lnTo>
                  <a:lnTo>
                    <a:pt x="138" y="178"/>
                  </a:lnTo>
                  <a:lnTo>
                    <a:pt x="138" y="180"/>
                  </a:lnTo>
                  <a:lnTo>
                    <a:pt x="138" y="181"/>
                  </a:lnTo>
                  <a:lnTo>
                    <a:pt x="138" y="182"/>
                  </a:lnTo>
                  <a:lnTo>
                    <a:pt x="137" y="182"/>
                  </a:lnTo>
                  <a:lnTo>
                    <a:pt x="135" y="181"/>
                  </a:lnTo>
                  <a:lnTo>
                    <a:pt x="134" y="180"/>
                  </a:lnTo>
                  <a:lnTo>
                    <a:pt x="133" y="180"/>
                  </a:lnTo>
                  <a:lnTo>
                    <a:pt x="132" y="180"/>
                  </a:lnTo>
                  <a:lnTo>
                    <a:pt x="132" y="182"/>
                  </a:lnTo>
                  <a:lnTo>
                    <a:pt x="130" y="182"/>
                  </a:lnTo>
                  <a:lnTo>
                    <a:pt x="130" y="181"/>
                  </a:lnTo>
                  <a:lnTo>
                    <a:pt x="129" y="180"/>
                  </a:lnTo>
                  <a:lnTo>
                    <a:pt x="128" y="181"/>
                  </a:lnTo>
                  <a:lnTo>
                    <a:pt x="127" y="181"/>
                  </a:lnTo>
                  <a:lnTo>
                    <a:pt x="126" y="181"/>
                  </a:lnTo>
                  <a:lnTo>
                    <a:pt x="124" y="181"/>
                  </a:lnTo>
                  <a:lnTo>
                    <a:pt x="124" y="180"/>
                  </a:lnTo>
                  <a:lnTo>
                    <a:pt x="126" y="178"/>
                  </a:lnTo>
                  <a:lnTo>
                    <a:pt x="126" y="177"/>
                  </a:lnTo>
                  <a:lnTo>
                    <a:pt x="124" y="177"/>
                  </a:lnTo>
                  <a:lnTo>
                    <a:pt x="126" y="177"/>
                  </a:lnTo>
                  <a:lnTo>
                    <a:pt x="127" y="176"/>
                  </a:lnTo>
                  <a:lnTo>
                    <a:pt x="126" y="175"/>
                  </a:lnTo>
                  <a:lnTo>
                    <a:pt x="126" y="172"/>
                  </a:lnTo>
                  <a:lnTo>
                    <a:pt x="127" y="172"/>
                  </a:lnTo>
                  <a:lnTo>
                    <a:pt x="129" y="174"/>
                  </a:lnTo>
                  <a:lnTo>
                    <a:pt x="130" y="172"/>
                  </a:lnTo>
                  <a:lnTo>
                    <a:pt x="129" y="170"/>
                  </a:lnTo>
                  <a:lnTo>
                    <a:pt x="132" y="170"/>
                  </a:lnTo>
                  <a:lnTo>
                    <a:pt x="132" y="169"/>
                  </a:lnTo>
                  <a:lnTo>
                    <a:pt x="130" y="166"/>
                  </a:lnTo>
                  <a:lnTo>
                    <a:pt x="133" y="166"/>
                  </a:lnTo>
                  <a:lnTo>
                    <a:pt x="135" y="166"/>
                  </a:lnTo>
                  <a:lnTo>
                    <a:pt x="137" y="164"/>
                  </a:lnTo>
                  <a:lnTo>
                    <a:pt x="137" y="163"/>
                  </a:lnTo>
                  <a:lnTo>
                    <a:pt x="137" y="160"/>
                  </a:lnTo>
                  <a:lnTo>
                    <a:pt x="135" y="160"/>
                  </a:lnTo>
                  <a:lnTo>
                    <a:pt x="134" y="162"/>
                  </a:lnTo>
                  <a:lnTo>
                    <a:pt x="132" y="163"/>
                  </a:lnTo>
                  <a:lnTo>
                    <a:pt x="130" y="163"/>
                  </a:lnTo>
                  <a:lnTo>
                    <a:pt x="129" y="163"/>
                  </a:lnTo>
                  <a:lnTo>
                    <a:pt x="129" y="162"/>
                  </a:lnTo>
                  <a:lnTo>
                    <a:pt x="128" y="162"/>
                  </a:lnTo>
                  <a:lnTo>
                    <a:pt x="127" y="164"/>
                  </a:lnTo>
                  <a:lnTo>
                    <a:pt x="126" y="164"/>
                  </a:lnTo>
                  <a:lnTo>
                    <a:pt x="126" y="163"/>
                  </a:lnTo>
                  <a:lnTo>
                    <a:pt x="124" y="163"/>
                  </a:lnTo>
                  <a:lnTo>
                    <a:pt x="123" y="163"/>
                  </a:lnTo>
                  <a:lnTo>
                    <a:pt x="123" y="162"/>
                  </a:lnTo>
                  <a:lnTo>
                    <a:pt x="123" y="159"/>
                  </a:lnTo>
                  <a:lnTo>
                    <a:pt x="122" y="158"/>
                  </a:lnTo>
                  <a:lnTo>
                    <a:pt x="123" y="157"/>
                  </a:lnTo>
                  <a:lnTo>
                    <a:pt x="123" y="156"/>
                  </a:lnTo>
                  <a:lnTo>
                    <a:pt x="126" y="154"/>
                  </a:lnTo>
                  <a:lnTo>
                    <a:pt x="124" y="153"/>
                  </a:lnTo>
                  <a:lnTo>
                    <a:pt x="124" y="152"/>
                  </a:lnTo>
                  <a:lnTo>
                    <a:pt x="126" y="151"/>
                  </a:lnTo>
                  <a:lnTo>
                    <a:pt x="128" y="152"/>
                  </a:lnTo>
                  <a:lnTo>
                    <a:pt x="128" y="151"/>
                  </a:lnTo>
                  <a:lnTo>
                    <a:pt x="128" y="148"/>
                  </a:lnTo>
                  <a:lnTo>
                    <a:pt x="129" y="150"/>
                  </a:lnTo>
                  <a:lnTo>
                    <a:pt x="130" y="148"/>
                  </a:lnTo>
                  <a:lnTo>
                    <a:pt x="132" y="147"/>
                  </a:lnTo>
                  <a:lnTo>
                    <a:pt x="132" y="148"/>
                  </a:lnTo>
                  <a:lnTo>
                    <a:pt x="133" y="150"/>
                  </a:lnTo>
                  <a:lnTo>
                    <a:pt x="133" y="148"/>
                  </a:lnTo>
                  <a:lnTo>
                    <a:pt x="134" y="147"/>
                  </a:lnTo>
                  <a:lnTo>
                    <a:pt x="134" y="150"/>
                  </a:lnTo>
                  <a:lnTo>
                    <a:pt x="135" y="151"/>
                  </a:lnTo>
                  <a:lnTo>
                    <a:pt x="137" y="151"/>
                  </a:lnTo>
                  <a:lnTo>
                    <a:pt x="138" y="152"/>
                  </a:lnTo>
                  <a:lnTo>
                    <a:pt x="139" y="152"/>
                  </a:lnTo>
                  <a:lnTo>
                    <a:pt x="139" y="153"/>
                  </a:lnTo>
                  <a:lnTo>
                    <a:pt x="140" y="153"/>
                  </a:lnTo>
                  <a:lnTo>
                    <a:pt x="141" y="153"/>
                  </a:lnTo>
                  <a:lnTo>
                    <a:pt x="143" y="153"/>
                  </a:lnTo>
                  <a:lnTo>
                    <a:pt x="143" y="152"/>
                  </a:lnTo>
                  <a:lnTo>
                    <a:pt x="141" y="150"/>
                  </a:lnTo>
                  <a:lnTo>
                    <a:pt x="143" y="151"/>
                  </a:lnTo>
                  <a:lnTo>
                    <a:pt x="144" y="152"/>
                  </a:lnTo>
                  <a:lnTo>
                    <a:pt x="145" y="152"/>
                  </a:lnTo>
                  <a:lnTo>
                    <a:pt x="147" y="152"/>
                  </a:lnTo>
                  <a:lnTo>
                    <a:pt x="146" y="151"/>
                  </a:lnTo>
                  <a:lnTo>
                    <a:pt x="145" y="148"/>
                  </a:lnTo>
                  <a:lnTo>
                    <a:pt x="144" y="150"/>
                  </a:lnTo>
                  <a:lnTo>
                    <a:pt x="144" y="147"/>
                  </a:lnTo>
                  <a:lnTo>
                    <a:pt x="145" y="147"/>
                  </a:lnTo>
                  <a:lnTo>
                    <a:pt x="144" y="146"/>
                  </a:lnTo>
                  <a:lnTo>
                    <a:pt x="140" y="146"/>
                  </a:lnTo>
                  <a:lnTo>
                    <a:pt x="141" y="145"/>
                  </a:lnTo>
                  <a:lnTo>
                    <a:pt x="143" y="143"/>
                  </a:lnTo>
                  <a:lnTo>
                    <a:pt x="141" y="142"/>
                  </a:lnTo>
                  <a:lnTo>
                    <a:pt x="140" y="141"/>
                  </a:lnTo>
                  <a:lnTo>
                    <a:pt x="140" y="142"/>
                  </a:lnTo>
                  <a:lnTo>
                    <a:pt x="138" y="143"/>
                  </a:lnTo>
                  <a:lnTo>
                    <a:pt x="138" y="141"/>
                  </a:lnTo>
                  <a:lnTo>
                    <a:pt x="138" y="140"/>
                  </a:lnTo>
                  <a:lnTo>
                    <a:pt x="138" y="139"/>
                  </a:lnTo>
                  <a:lnTo>
                    <a:pt x="140" y="139"/>
                  </a:lnTo>
                  <a:lnTo>
                    <a:pt x="141" y="139"/>
                  </a:lnTo>
                  <a:lnTo>
                    <a:pt x="141" y="137"/>
                  </a:lnTo>
                  <a:lnTo>
                    <a:pt x="140" y="136"/>
                  </a:lnTo>
                  <a:lnTo>
                    <a:pt x="141" y="136"/>
                  </a:lnTo>
                  <a:lnTo>
                    <a:pt x="140" y="134"/>
                  </a:lnTo>
                  <a:lnTo>
                    <a:pt x="139" y="136"/>
                  </a:lnTo>
                  <a:lnTo>
                    <a:pt x="138" y="135"/>
                  </a:lnTo>
                  <a:lnTo>
                    <a:pt x="137" y="136"/>
                  </a:lnTo>
                  <a:lnTo>
                    <a:pt x="135" y="139"/>
                  </a:lnTo>
                  <a:lnTo>
                    <a:pt x="135" y="140"/>
                  </a:lnTo>
                  <a:lnTo>
                    <a:pt x="134" y="141"/>
                  </a:lnTo>
                  <a:lnTo>
                    <a:pt x="133" y="141"/>
                  </a:lnTo>
                  <a:lnTo>
                    <a:pt x="134" y="139"/>
                  </a:lnTo>
                  <a:lnTo>
                    <a:pt x="133" y="139"/>
                  </a:lnTo>
                  <a:lnTo>
                    <a:pt x="135" y="137"/>
                  </a:lnTo>
                  <a:lnTo>
                    <a:pt x="135" y="136"/>
                  </a:lnTo>
                  <a:lnTo>
                    <a:pt x="135" y="135"/>
                  </a:lnTo>
                  <a:lnTo>
                    <a:pt x="135" y="134"/>
                  </a:lnTo>
                  <a:lnTo>
                    <a:pt x="135" y="133"/>
                  </a:lnTo>
                  <a:lnTo>
                    <a:pt x="137" y="131"/>
                  </a:lnTo>
                  <a:lnTo>
                    <a:pt x="138" y="131"/>
                  </a:lnTo>
                  <a:lnTo>
                    <a:pt x="137" y="130"/>
                  </a:lnTo>
                  <a:lnTo>
                    <a:pt x="135" y="130"/>
                  </a:lnTo>
                  <a:lnTo>
                    <a:pt x="135" y="127"/>
                  </a:lnTo>
                  <a:lnTo>
                    <a:pt x="137" y="128"/>
                  </a:lnTo>
                  <a:lnTo>
                    <a:pt x="138" y="129"/>
                  </a:lnTo>
                  <a:lnTo>
                    <a:pt x="138" y="128"/>
                  </a:lnTo>
                  <a:lnTo>
                    <a:pt x="137" y="125"/>
                  </a:lnTo>
                  <a:lnTo>
                    <a:pt x="135" y="123"/>
                  </a:lnTo>
                  <a:lnTo>
                    <a:pt x="134" y="123"/>
                  </a:lnTo>
                  <a:lnTo>
                    <a:pt x="133" y="124"/>
                  </a:lnTo>
                  <a:lnTo>
                    <a:pt x="133" y="125"/>
                  </a:lnTo>
                  <a:lnTo>
                    <a:pt x="130" y="124"/>
                  </a:lnTo>
                  <a:lnTo>
                    <a:pt x="132" y="124"/>
                  </a:lnTo>
                  <a:lnTo>
                    <a:pt x="130" y="124"/>
                  </a:lnTo>
                  <a:lnTo>
                    <a:pt x="128" y="124"/>
                  </a:lnTo>
                  <a:lnTo>
                    <a:pt x="128" y="123"/>
                  </a:lnTo>
                  <a:lnTo>
                    <a:pt x="129" y="122"/>
                  </a:lnTo>
                  <a:lnTo>
                    <a:pt x="130" y="121"/>
                  </a:lnTo>
                  <a:lnTo>
                    <a:pt x="132" y="121"/>
                  </a:lnTo>
                  <a:lnTo>
                    <a:pt x="133" y="119"/>
                  </a:lnTo>
                  <a:lnTo>
                    <a:pt x="133" y="118"/>
                  </a:lnTo>
                  <a:lnTo>
                    <a:pt x="130" y="119"/>
                  </a:lnTo>
                  <a:lnTo>
                    <a:pt x="128" y="121"/>
                  </a:lnTo>
                  <a:lnTo>
                    <a:pt x="129" y="119"/>
                  </a:lnTo>
                  <a:lnTo>
                    <a:pt x="130" y="118"/>
                  </a:lnTo>
                  <a:lnTo>
                    <a:pt x="133" y="117"/>
                  </a:lnTo>
                  <a:lnTo>
                    <a:pt x="132" y="116"/>
                  </a:lnTo>
                  <a:lnTo>
                    <a:pt x="128" y="116"/>
                  </a:lnTo>
                  <a:lnTo>
                    <a:pt x="127" y="116"/>
                  </a:lnTo>
                  <a:lnTo>
                    <a:pt x="127" y="115"/>
                  </a:lnTo>
                  <a:lnTo>
                    <a:pt x="129" y="115"/>
                  </a:lnTo>
                  <a:lnTo>
                    <a:pt x="132" y="115"/>
                  </a:lnTo>
                  <a:lnTo>
                    <a:pt x="130" y="113"/>
                  </a:lnTo>
                  <a:lnTo>
                    <a:pt x="130" y="111"/>
                  </a:lnTo>
                  <a:lnTo>
                    <a:pt x="129" y="110"/>
                  </a:lnTo>
                  <a:lnTo>
                    <a:pt x="130" y="110"/>
                  </a:lnTo>
                  <a:lnTo>
                    <a:pt x="132" y="111"/>
                  </a:lnTo>
                  <a:lnTo>
                    <a:pt x="133" y="112"/>
                  </a:lnTo>
                  <a:lnTo>
                    <a:pt x="134" y="111"/>
                  </a:lnTo>
                  <a:lnTo>
                    <a:pt x="133" y="110"/>
                  </a:lnTo>
                  <a:lnTo>
                    <a:pt x="134" y="110"/>
                  </a:lnTo>
                  <a:lnTo>
                    <a:pt x="135" y="111"/>
                  </a:lnTo>
                  <a:lnTo>
                    <a:pt x="137" y="112"/>
                  </a:lnTo>
                  <a:lnTo>
                    <a:pt x="135" y="110"/>
                  </a:lnTo>
                  <a:lnTo>
                    <a:pt x="135" y="109"/>
                  </a:lnTo>
                  <a:lnTo>
                    <a:pt x="137" y="109"/>
                  </a:lnTo>
                  <a:lnTo>
                    <a:pt x="138" y="109"/>
                  </a:lnTo>
                  <a:lnTo>
                    <a:pt x="137" y="111"/>
                  </a:lnTo>
                  <a:lnTo>
                    <a:pt x="137" y="112"/>
                  </a:lnTo>
                  <a:lnTo>
                    <a:pt x="138" y="112"/>
                  </a:lnTo>
                  <a:lnTo>
                    <a:pt x="140" y="111"/>
                  </a:lnTo>
                  <a:lnTo>
                    <a:pt x="141" y="112"/>
                  </a:lnTo>
                  <a:lnTo>
                    <a:pt x="140" y="112"/>
                  </a:lnTo>
                  <a:lnTo>
                    <a:pt x="139" y="113"/>
                  </a:lnTo>
                  <a:lnTo>
                    <a:pt x="139" y="115"/>
                  </a:lnTo>
                  <a:lnTo>
                    <a:pt x="140" y="115"/>
                  </a:lnTo>
                  <a:lnTo>
                    <a:pt x="139" y="117"/>
                  </a:lnTo>
                  <a:lnTo>
                    <a:pt x="140" y="117"/>
                  </a:lnTo>
                  <a:lnTo>
                    <a:pt x="143" y="118"/>
                  </a:lnTo>
                  <a:lnTo>
                    <a:pt x="144" y="118"/>
                  </a:lnTo>
                  <a:lnTo>
                    <a:pt x="145" y="118"/>
                  </a:lnTo>
                  <a:lnTo>
                    <a:pt x="143" y="119"/>
                  </a:lnTo>
                  <a:lnTo>
                    <a:pt x="144" y="121"/>
                  </a:lnTo>
                  <a:lnTo>
                    <a:pt x="145" y="122"/>
                  </a:lnTo>
                  <a:lnTo>
                    <a:pt x="146" y="123"/>
                  </a:lnTo>
                  <a:lnTo>
                    <a:pt x="146" y="121"/>
                  </a:lnTo>
                  <a:lnTo>
                    <a:pt x="146" y="118"/>
                  </a:lnTo>
                  <a:lnTo>
                    <a:pt x="147" y="118"/>
                  </a:lnTo>
                  <a:lnTo>
                    <a:pt x="147" y="116"/>
                  </a:lnTo>
                  <a:lnTo>
                    <a:pt x="149" y="116"/>
                  </a:lnTo>
                  <a:lnTo>
                    <a:pt x="149" y="117"/>
                  </a:lnTo>
                  <a:lnTo>
                    <a:pt x="150" y="118"/>
                  </a:lnTo>
                  <a:lnTo>
                    <a:pt x="149" y="121"/>
                  </a:lnTo>
                  <a:lnTo>
                    <a:pt x="151" y="123"/>
                  </a:lnTo>
                  <a:lnTo>
                    <a:pt x="151" y="121"/>
                  </a:lnTo>
                  <a:lnTo>
                    <a:pt x="151" y="118"/>
                  </a:lnTo>
                  <a:lnTo>
                    <a:pt x="152" y="117"/>
                  </a:lnTo>
                  <a:lnTo>
                    <a:pt x="152" y="116"/>
                  </a:lnTo>
                  <a:lnTo>
                    <a:pt x="153" y="115"/>
                  </a:lnTo>
                  <a:lnTo>
                    <a:pt x="157" y="115"/>
                  </a:lnTo>
                  <a:lnTo>
                    <a:pt x="157" y="116"/>
                  </a:lnTo>
                  <a:lnTo>
                    <a:pt x="157" y="117"/>
                  </a:lnTo>
                  <a:lnTo>
                    <a:pt x="158" y="118"/>
                  </a:lnTo>
                  <a:lnTo>
                    <a:pt x="159" y="119"/>
                  </a:lnTo>
                  <a:lnTo>
                    <a:pt x="158" y="121"/>
                  </a:lnTo>
                  <a:lnTo>
                    <a:pt x="158" y="122"/>
                  </a:lnTo>
                  <a:lnTo>
                    <a:pt x="158" y="123"/>
                  </a:lnTo>
                  <a:lnTo>
                    <a:pt x="161" y="122"/>
                  </a:lnTo>
                  <a:lnTo>
                    <a:pt x="162" y="122"/>
                  </a:lnTo>
                  <a:lnTo>
                    <a:pt x="162" y="124"/>
                  </a:lnTo>
                  <a:lnTo>
                    <a:pt x="163" y="124"/>
                  </a:lnTo>
                  <a:lnTo>
                    <a:pt x="164" y="125"/>
                  </a:lnTo>
                  <a:lnTo>
                    <a:pt x="165" y="127"/>
                  </a:lnTo>
                  <a:lnTo>
                    <a:pt x="167" y="127"/>
                  </a:lnTo>
                  <a:lnTo>
                    <a:pt x="169" y="128"/>
                  </a:lnTo>
                  <a:lnTo>
                    <a:pt x="169" y="127"/>
                  </a:lnTo>
                  <a:lnTo>
                    <a:pt x="168" y="124"/>
                  </a:lnTo>
                  <a:lnTo>
                    <a:pt x="167" y="124"/>
                  </a:lnTo>
                  <a:lnTo>
                    <a:pt x="165" y="123"/>
                  </a:lnTo>
                  <a:lnTo>
                    <a:pt x="165" y="122"/>
                  </a:lnTo>
                  <a:lnTo>
                    <a:pt x="164" y="119"/>
                  </a:lnTo>
                  <a:lnTo>
                    <a:pt x="164" y="118"/>
                  </a:lnTo>
                  <a:lnTo>
                    <a:pt x="165" y="117"/>
                  </a:lnTo>
                  <a:lnTo>
                    <a:pt x="165" y="116"/>
                  </a:lnTo>
                  <a:lnTo>
                    <a:pt x="165" y="112"/>
                  </a:lnTo>
                  <a:lnTo>
                    <a:pt x="165" y="111"/>
                  </a:lnTo>
                  <a:lnTo>
                    <a:pt x="165" y="112"/>
                  </a:lnTo>
                  <a:lnTo>
                    <a:pt x="167" y="116"/>
                  </a:lnTo>
                  <a:lnTo>
                    <a:pt x="167" y="117"/>
                  </a:lnTo>
                  <a:lnTo>
                    <a:pt x="168" y="116"/>
                  </a:lnTo>
                  <a:lnTo>
                    <a:pt x="169" y="116"/>
                  </a:lnTo>
                  <a:lnTo>
                    <a:pt x="170" y="118"/>
                  </a:lnTo>
                  <a:lnTo>
                    <a:pt x="171" y="118"/>
                  </a:lnTo>
                  <a:lnTo>
                    <a:pt x="173" y="118"/>
                  </a:lnTo>
                  <a:lnTo>
                    <a:pt x="174" y="117"/>
                  </a:lnTo>
                  <a:lnTo>
                    <a:pt x="174" y="116"/>
                  </a:lnTo>
                  <a:lnTo>
                    <a:pt x="174" y="115"/>
                  </a:lnTo>
                  <a:lnTo>
                    <a:pt x="173" y="115"/>
                  </a:lnTo>
                  <a:lnTo>
                    <a:pt x="173" y="113"/>
                  </a:lnTo>
                  <a:lnTo>
                    <a:pt x="171" y="109"/>
                  </a:lnTo>
                  <a:lnTo>
                    <a:pt x="170" y="111"/>
                  </a:lnTo>
                  <a:lnTo>
                    <a:pt x="169" y="110"/>
                  </a:lnTo>
                  <a:lnTo>
                    <a:pt x="168" y="110"/>
                  </a:lnTo>
                  <a:lnTo>
                    <a:pt x="168" y="109"/>
                  </a:lnTo>
                  <a:lnTo>
                    <a:pt x="167" y="110"/>
                  </a:lnTo>
                  <a:lnTo>
                    <a:pt x="165" y="110"/>
                  </a:lnTo>
                  <a:lnTo>
                    <a:pt x="165" y="109"/>
                  </a:lnTo>
                  <a:lnTo>
                    <a:pt x="168" y="106"/>
                  </a:lnTo>
                  <a:lnTo>
                    <a:pt x="167" y="105"/>
                  </a:lnTo>
                  <a:lnTo>
                    <a:pt x="165" y="105"/>
                  </a:lnTo>
                  <a:lnTo>
                    <a:pt x="164" y="106"/>
                  </a:lnTo>
                  <a:lnTo>
                    <a:pt x="163" y="109"/>
                  </a:lnTo>
                  <a:lnTo>
                    <a:pt x="161" y="109"/>
                  </a:lnTo>
                  <a:lnTo>
                    <a:pt x="162" y="107"/>
                  </a:lnTo>
                  <a:lnTo>
                    <a:pt x="163" y="105"/>
                  </a:lnTo>
                  <a:lnTo>
                    <a:pt x="164" y="104"/>
                  </a:lnTo>
                  <a:lnTo>
                    <a:pt x="164" y="103"/>
                  </a:lnTo>
                  <a:lnTo>
                    <a:pt x="162" y="101"/>
                  </a:lnTo>
                  <a:lnTo>
                    <a:pt x="163" y="100"/>
                  </a:lnTo>
                  <a:lnTo>
                    <a:pt x="164" y="99"/>
                  </a:lnTo>
                  <a:lnTo>
                    <a:pt x="165" y="99"/>
                  </a:lnTo>
                  <a:lnTo>
                    <a:pt x="167" y="98"/>
                  </a:lnTo>
                  <a:lnTo>
                    <a:pt x="168" y="95"/>
                  </a:lnTo>
                  <a:lnTo>
                    <a:pt x="169" y="95"/>
                  </a:lnTo>
                  <a:lnTo>
                    <a:pt x="169" y="93"/>
                  </a:lnTo>
                  <a:lnTo>
                    <a:pt x="170" y="92"/>
                  </a:lnTo>
                  <a:lnTo>
                    <a:pt x="170" y="89"/>
                  </a:lnTo>
                  <a:lnTo>
                    <a:pt x="169" y="89"/>
                  </a:lnTo>
                  <a:lnTo>
                    <a:pt x="168" y="88"/>
                  </a:lnTo>
                  <a:lnTo>
                    <a:pt x="168" y="87"/>
                  </a:lnTo>
                  <a:lnTo>
                    <a:pt x="168" y="86"/>
                  </a:lnTo>
                  <a:lnTo>
                    <a:pt x="169" y="85"/>
                  </a:lnTo>
                  <a:lnTo>
                    <a:pt x="167" y="85"/>
                  </a:lnTo>
                  <a:lnTo>
                    <a:pt x="165" y="86"/>
                  </a:lnTo>
                  <a:lnTo>
                    <a:pt x="164" y="85"/>
                  </a:lnTo>
                  <a:lnTo>
                    <a:pt x="167" y="83"/>
                  </a:lnTo>
                  <a:lnTo>
                    <a:pt x="167" y="82"/>
                  </a:lnTo>
                  <a:lnTo>
                    <a:pt x="167" y="81"/>
                  </a:lnTo>
                  <a:lnTo>
                    <a:pt x="165" y="79"/>
                  </a:lnTo>
                  <a:lnTo>
                    <a:pt x="164" y="79"/>
                  </a:lnTo>
                  <a:lnTo>
                    <a:pt x="164" y="76"/>
                  </a:lnTo>
                  <a:lnTo>
                    <a:pt x="165" y="76"/>
                  </a:lnTo>
                  <a:lnTo>
                    <a:pt x="165" y="75"/>
                  </a:lnTo>
                  <a:lnTo>
                    <a:pt x="165" y="74"/>
                  </a:lnTo>
                  <a:lnTo>
                    <a:pt x="167" y="73"/>
                  </a:lnTo>
                  <a:lnTo>
                    <a:pt x="168" y="70"/>
                  </a:lnTo>
                  <a:lnTo>
                    <a:pt x="169" y="69"/>
                  </a:lnTo>
                  <a:lnTo>
                    <a:pt x="167" y="74"/>
                  </a:lnTo>
                  <a:lnTo>
                    <a:pt x="168" y="75"/>
                  </a:lnTo>
                  <a:lnTo>
                    <a:pt x="169" y="74"/>
                  </a:lnTo>
                  <a:lnTo>
                    <a:pt x="170" y="74"/>
                  </a:lnTo>
                  <a:lnTo>
                    <a:pt x="169" y="76"/>
                  </a:lnTo>
                  <a:lnTo>
                    <a:pt x="170" y="76"/>
                  </a:lnTo>
                  <a:lnTo>
                    <a:pt x="173" y="76"/>
                  </a:lnTo>
                  <a:lnTo>
                    <a:pt x="173" y="77"/>
                  </a:lnTo>
                  <a:lnTo>
                    <a:pt x="175" y="77"/>
                  </a:lnTo>
                  <a:lnTo>
                    <a:pt x="174" y="80"/>
                  </a:lnTo>
                  <a:lnTo>
                    <a:pt x="176" y="80"/>
                  </a:lnTo>
                  <a:lnTo>
                    <a:pt x="177" y="81"/>
                  </a:lnTo>
                  <a:lnTo>
                    <a:pt x="179" y="82"/>
                  </a:lnTo>
                  <a:lnTo>
                    <a:pt x="181" y="82"/>
                  </a:lnTo>
                  <a:lnTo>
                    <a:pt x="179" y="83"/>
                  </a:lnTo>
                  <a:lnTo>
                    <a:pt x="180" y="85"/>
                  </a:lnTo>
                  <a:lnTo>
                    <a:pt x="181" y="85"/>
                  </a:lnTo>
                  <a:lnTo>
                    <a:pt x="182" y="85"/>
                  </a:lnTo>
                  <a:lnTo>
                    <a:pt x="182" y="83"/>
                  </a:lnTo>
                  <a:lnTo>
                    <a:pt x="185" y="82"/>
                  </a:lnTo>
                  <a:lnTo>
                    <a:pt x="186" y="82"/>
                  </a:lnTo>
                  <a:lnTo>
                    <a:pt x="187" y="81"/>
                  </a:lnTo>
                  <a:lnTo>
                    <a:pt x="189" y="81"/>
                  </a:lnTo>
                  <a:lnTo>
                    <a:pt x="191" y="80"/>
                  </a:lnTo>
                  <a:lnTo>
                    <a:pt x="192" y="80"/>
                  </a:lnTo>
                  <a:lnTo>
                    <a:pt x="193" y="81"/>
                  </a:lnTo>
                  <a:lnTo>
                    <a:pt x="197" y="81"/>
                  </a:lnTo>
                  <a:lnTo>
                    <a:pt x="198" y="82"/>
                  </a:lnTo>
                  <a:lnTo>
                    <a:pt x="196" y="83"/>
                  </a:lnTo>
                  <a:lnTo>
                    <a:pt x="194" y="83"/>
                  </a:lnTo>
                  <a:lnTo>
                    <a:pt x="193" y="83"/>
                  </a:lnTo>
                  <a:lnTo>
                    <a:pt x="192" y="85"/>
                  </a:lnTo>
                  <a:lnTo>
                    <a:pt x="193" y="86"/>
                  </a:lnTo>
                  <a:lnTo>
                    <a:pt x="193" y="88"/>
                  </a:lnTo>
                  <a:lnTo>
                    <a:pt x="193" y="89"/>
                  </a:lnTo>
                  <a:lnTo>
                    <a:pt x="196" y="89"/>
                  </a:lnTo>
                  <a:lnTo>
                    <a:pt x="197" y="87"/>
                  </a:lnTo>
                  <a:lnTo>
                    <a:pt x="198" y="85"/>
                  </a:lnTo>
                  <a:lnTo>
                    <a:pt x="199" y="83"/>
                  </a:lnTo>
                  <a:lnTo>
                    <a:pt x="200" y="82"/>
                  </a:lnTo>
                  <a:lnTo>
                    <a:pt x="200" y="81"/>
                  </a:lnTo>
                  <a:lnTo>
                    <a:pt x="198" y="80"/>
                  </a:lnTo>
                  <a:lnTo>
                    <a:pt x="194" y="79"/>
                  </a:lnTo>
                  <a:lnTo>
                    <a:pt x="193" y="79"/>
                  </a:lnTo>
                  <a:lnTo>
                    <a:pt x="193" y="77"/>
                  </a:lnTo>
                  <a:lnTo>
                    <a:pt x="192" y="76"/>
                  </a:lnTo>
                  <a:lnTo>
                    <a:pt x="191" y="76"/>
                  </a:lnTo>
                  <a:lnTo>
                    <a:pt x="191" y="77"/>
                  </a:lnTo>
                  <a:lnTo>
                    <a:pt x="191" y="79"/>
                  </a:lnTo>
                  <a:lnTo>
                    <a:pt x="189" y="79"/>
                  </a:lnTo>
                  <a:lnTo>
                    <a:pt x="188" y="80"/>
                  </a:lnTo>
                  <a:lnTo>
                    <a:pt x="187" y="80"/>
                  </a:lnTo>
                  <a:lnTo>
                    <a:pt x="187" y="77"/>
                  </a:lnTo>
                  <a:lnTo>
                    <a:pt x="188" y="76"/>
                  </a:lnTo>
                  <a:lnTo>
                    <a:pt x="188" y="75"/>
                  </a:lnTo>
                  <a:lnTo>
                    <a:pt x="187" y="76"/>
                  </a:lnTo>
                  <a:lnTo>
                    <a:pt x="186" y="77"/>
                  </a:lnTo>
                  <a:lnTo>
                    <a:pt x="185" y="79"/>
                  </a:lnTo>
                  <a:lnTo>
                    <a:pt x="183" y="77"/>
                  </a:lnTo>
                  <a:lnTo>
                    <a:pt x="183" y="76"/>
                  </a:lnTo>
                  <a:lnTo>
                    <a:pt x="185" y="75"/>
                  </a:lnTo>
                  <a:lnTo>
                    <a:pt x="182" y="76"/>
                  </a:lnTo>
                  <a:lnTo>
                    <a:pt x="182" y="75"/>
                  </a:lnTo>
                  <a:lnTo>
                    <a:pt x="182" y="74"/>
                  </a:lnTo>
                  <a:lnTo>
                    <a:pt x="183" y="73"/>
                  </a:lnTo>
                  <a:lnTo>
                    <a:pt x="182" y="71"/>
                  </a:lnTo>
                  <a:lnTo>
                    <a:pt x="181" y="71"/>
                  </a:lnTo>
                  <a:lnTo>
                    <a:pt x="180" y="71"/>
                  </a:lnTo>
                  <a:lnTo>
                    <a:pt x="181" y="70"/>
                  </a:lnTo>
                  <a:lnTo>
                    <a:pt x="179" y="70"/>
                  </a:lnTo>
                  <a:lnTo>
                    <a:pt x="180" y="69"/>
                  </a:lnTo>
                  <a:lnTo>
                    <a:pt x="181" y="68"/>
                  </a:lnTo>
                  <a:lnTo>
                    <a:pt x="179" y="65"/>
                  </a:lnTo>
                  <a:lnTo>
                    <a:pt x="181" y="65"/>
                  </a:lnTo>
                  <a:lnTo>
                    <a:pt x="182" y="65"/>
                  </a:lnTo>
                  <a:lnTo>
                    <a:pt x="183" y="64"/>
                  </a:lnTo>
                  <a:lnTo>
                    <a:pt x="185" y="65"/>
                  </a:lnTo>
                  <a:lnTo>
                    <a:pt x="186" y="64"/>
                  </a:lnTo>
                  <a:lnTo>
                    <a:pt x="187" y="64"/>
                  </a:lnTo>
                  <a:lnTo>
                    <a:pt x="187" y="65"/>
                  </a:lnTo>
                  <a:lnTo>
                    <a:pt x="188" y="65"/>
                  </a:lnTo>
                  <a:lnTo>
                    <a:pt x="188" y="67"/>
                  </a:lnTo>
                  <a:lnTo>
                    <a:pt x="191" y="67"/>
                  </a:lnTo>
                  <a:lnTo>
                    <a:pt x="192" y="68"/>
                  </a:lnTo>
                  <a:lnTo>
                    <a:pt x="192" y="69"/>
                  </a:lnTo>
                  <a:lnTo>
                    <a:pt x="193" y="69"/>
                  </a:lnTo>
                  <a:lnTo>
                    <a:pt x="194" y="70"/>
                  </a:lnTo>
                  <a:lnTo>
                    <a:pt x="196" y="71"/>
                  </a:lnTo>
                  <a:lnTo>
                    <a:pt x="197" y="71"/>
                  </a:lnTo>
                  <a:lnTo>
                    <a:pt x="197" y="70"/>
                  </a:lnTo>
                  <a:lnTo>
                    <a:pt x="198" y="69"/>
                  </a:lnTo>
                  <a:lnTo>
                    <a:pt x="198" y="68"/>
                  </a:lnTo>
                  <a:lnTo>
                    <a:pt x="196" y="69"/>
                  </a:lnTo>
                  <a:lnTo>
                    <a:pt x="197" y="68"/>
                  </a:lnTo>
                  <a:lnTo>
                    <a:pt x="197" y="67"/>
                  </a:lnTo>
                  <a:lnTo>
                    <a:pt x="196" y="65"/>
                  </a:lnTo>
                  <a:lnTo>
                    <a:pt x="196" y="64"/>
                  </a:lnTo>
                  <a:lnTo>
                    <a:pt x="197" y="65"/>
                  </a:lnTo>
                  <a:lnTo>
                    <a:pt x="198" y="64"/>
                  </a:lnTo>
                  <a:lnTo>
                    <a:pt x="199" y="63"/>
                  </a:lnTo>
                  <a:lnTo>
                    <a:pt x="200" y="62"/>
                  </a:lnTo>
                  <a:lnTo>
                    <a:pt x="200" y="61"/>
                  </a:lnTo>
                  <a:lnTo>
                    <a:pt x="199" y="62"/>
                  </a:lnTo>
                  <a:lnTo>
                    <a:pt x="198" y="63"/>
                  </a:lnTo>
                  <a:lnTo>
                    <a:pt x="198" y="62"/>
                  </a:lnTo>
                  <a:lnTo>
                    <a:pt x="198" y="58"/>
                  </a:lnTo>
                  <a:lnTo>
                    <a:pt x="199" y="58"/>
                  </a:lnTo>
                  <a:lnTo>
                    <a:pt x="200" y="59"/>
                  </a:lnTo>
                  <a:lnTo>
                    <a:pt x="202" y="59"/>
                  </a:lnTo>
                  <a:lnTo>
                    <a:pt x="199" y="57"/>
                  </a:lnTo>
                  <a:lnTo>
                    <a:pt x="199" y="56"/>
                  </a:lnTo>
                  <a:lnTo>
                    <a:pt x="199" y="55"/>
                  </a:lnTo>
                  <a:lnTo>
                    <a:pt x="200" y="56"/>
                  </a:lnTo>
                  <a:lnTo>
                    <a:pt x="202" y="56"/>
                  </a:lnTo>
                  <a:lnTo>
                    <a:pt x="203" y="55"/>
                  </a:lnTo>
                  <a:lnTo>
                    <a:pt x="204" y="57"/>
                  </a:lnTo>
                  <a:lnTo>
                    <a:pt x="205" y="56"/>
                  </a:lnTo>
                  <a:lnTo>
                    <a:pt x="205" y="57"/>
                  </a:lnTo>
                  <a:lnTo>
                    <a:pt x="205" y="55"/>
                  </a:lnTo>
                  <a:lnTo>
                    <a:pt x="208" y="55"/>
                  </a:lnTo>
                  <a:lnTo>
                    <a:pt x="209" y="56"/>
                  </a:lnTo>
                  <a:lnTo>
                    <a:pt x="209" y="53"/>
                  </a:lnTo>
                  <a:lnTo>
                    <a:pt x="209" y="52"/>
                  </a:lnTo>
                  <a:lnTo>
                    <a:pt x="210" y="51"/>
                  </a:lnTo>
                  <a:lnTo>
                    <a:pt x="211" y="51"/>
                  </a:lnTo>
                  <a:lnTo>
                    <a:pt x="210" y="50"/>
                  </a:lnTo>
                  <a:lnTo>
                    <a:pt x="209" y="47"/>
                  </a:lnTo>
                  <a:lnTo>
                    <a:pt x="210" y="47"/>
                  </a:lnTo>
                  <a:lnTo>
                    <a:pt x="211" y="50"/>
                  </a:lnTo>
                  <a:lnTo>
                    <a:pt x="212" y="51"/>
                  </a:lnTo>
                  <a:lnTo>
                    <a:pt x="214" y="52"/>
                  </a:lnTo>
                  <a:lnTo>
                    <a:pt x="214" y="50"/>
                  </a:lnTo>
                  <a:lnTo>
                    <a:pt x="214" y="47"/>
                  </a:lnTo>
                  <a:lnTo>
                    <a:pt x="214" y="45"/>
                  </a:lnTo>
                  <a:lnTo>
                    <a:pt x="215" y="45"/>
                  </a:lnTo>
                  <a:lnTo>
                    <a:pt x="217" y="46"/>
                  </a:lnTo>
                  <a:lnTo>
                    <a:pt x="218" y="46"/>
                  </a:lnTo>
                  <a:lnTo>
                    <a:pt x="217" y="47"/>
                  </a:lnTo>
                  <a:lnTo>
                    <a:pt x="216" y="50"/>
                  </a:lnTo>
                  <a:lnTo>
                    <a:pt x="215" y="51"/>
                  </a:lnTo>
                  <a:lnTo>
                    <a:pt x="215" y="52"/>
                  </a:lnTo>
                  <a:lnTo>
                    <a:pt x="216" y="53"/>
                  </a:lnTo>
                  <a:lnTo>
                    <a:pt x="217" y="53"/>
                  </a:lnTo>
                  <a:lnTo>
                    <a:pt x="217" y="55"/>
                  </a:lnTo>
                  <a:lnTo>
                    <a:pt x="217" y="56"/>
                  </a:lnTo>
                  <a:lnTo>
                    <a:pt x="220" y="56"/>
                  </a:lnTo>
                  <a:lnTo>
                    <a:pt x="221" y="56"/>
                  </a:lnTo>
                  <a:lnTo>
                    <a:pt x="220" y="57"/>
                  </a:lnTo>
                  <a:lnTo>
                    <a:pt x="218" y="57"/>
                  </a:lnTo>
                  <a:lnTo>
                    <a:pt x="220" y="58"/>
                  </a:lnTo>
                  <a:lnTo>
                    <a:pt x="220" y="59"/>
                  </a:lnTo>
                  <a:lnTo>
                    <a:pt x="222" y="61"/>
                  </a:lnTo>
                  <a:lnTo>
                    <a:pt x="221" y="62"/>
                  </a:lnTo>
                  <a:lnTo>
                    <a:pt x="222" y="62"/>
                  </a:lnTo>
                  <a:lnTo>
                    <a:pt x="221" y="63"/>
                  </a:lnTo>
                  <a:lnTo>
                    <a:pt x="220" y="64"/>
                  </a:lnTo>
                  <a:lnTo>
                    <a:pt x="220" y="65"/>
                  </a:lnTo>
                  <a:lnTo>
                    <a:pt x="221" y="65"/>
                  </a:lnTo>
                  <a:lnTo>
                    <a:pt x="222" y="68"/>
                  </a:lnTo>
                  <a:lnTo>
                    <a:pt x="223" y="68"/>
                  </a:lnTo>
                  <a:lnTo>
                    <a:pt x="224" y="68"/>
                  </a:lnTo>
                  <a:lnTo>
                    <a:pt x="223" y="70"/>
                  </a:lnTo>
                  <a:lnTo>
                    <a:pt x="222" y="71"/>
                  </a:lnTo>
                  <a:lnTo>
                    <a:pt x="223" y="71"/>
                  </a:lnTo>
                  <a:lnTo>
                    <a:pt x="226" y="71"/>
                  </a:lnTo>
                  <a:lnTo>
                    <a:pt x="224" y="74"/>
                  </a:lnTo>
                  <a:lnTo>
                    <a:pt x="224" y="75"/>
                  </a:lnTo>
                  <a:lnTo>
                    <a:pt x="226" y="76"/>
                  </a:lnTo>
                  <a:lnTo>
                    <a:pt x="226" y="79"/>
                  </a:lnTo>
                  <a:lnTo>
                    <a:pt x="227" y="79"/>
                  </a:lnTo>
                  <a:lnTo>
                    <a:pt x="227" y="80"/>
                  </a:lnTo>
                  <a:lnTo>
                    <a:pt x="228" y="80"/>
                  </a:lnTo>
                  <a:lnTo>
                    <a:pt x="229" y="79"/>
                  </a:lnTo>
                  <a:lnTo>
                    <a:pt x="232" y="77"/>
                  </a:lnTo>
                  <a:lnTo>
                    <a:pt x="234" y="76"/>
                  </a:lnTo>
                  <a:lnTo>
                    <a:pt x="235" y="75"/>
                  </a:lnTo>
                  <a:lnTo>
                    <a:pt x="235" y="74"/>
                  </a:lnTo>
                  <a:lnTo>
                    <a:pt x="236" y="71"/>
                  </a:lnTo>
                  <a:lnTo>
                    <a:pt x="238" y="70"/>
                  </a:lnTo>
                  <a:lnTo>
                    <a:pt x="238" y="67"/>
                  </a:lnTo>
                  <a:lnTo>
                    <a:pt x="236" y="68"/>
                  </a:lnTo>
                  <a:lnTo>
                    <a:pt x="235" y="69"/>
                  </a:lnTo>
                  <a:lnTo>
                    <a:pt x="234" y="70"/>
                  </a:lnTo>
                  <a:lnTo>
                    <a:pt x="234" y="69"/>
                  </a:lnTo>
                  <a:lnTo>
                    <a:pt x="233" y="69"/>
                  </a:lnTo>
                  <a:lnTo>
                    <a:pt x="233" y="68"/>
                  </a:lnTo>
                  <a:lnTo>
                    <a:pt x="234" y="68"/>
                  </a:lnTo>
                  <a:lnTo>
                    <a:pt x="235" y="67"/>
                  </a:lnTo>
                  <a:lnTo>
                    <a:pt x="236" y="65"/>
                  </a:lnTo>
                  <a:lnTo>
                    <a:pt x="235" y="65"/>
                  </a:lnTo>
                  <a:lnTo>
                    <a:pt x="234" y="64"/>
                  </a:lnTo>
                  <a:lnTo>
                    <a:pt x="233" y="65"/>
                  </a:lnTo>
                  <a:lnTo>
                    <a:pt x="233" y="64"/>
                  </a:lnTo>
                  <a:lnTo>
                    <a:pt x="233" y="63"/>
                  </a:lnTo>
                  <a:lnTo>
                    <a:pt x="230" y="63"/>
                  </a:lnTo>
                  <a:lnTo>
                    <a:pt x="229" y="64"/>
                  </a:lnTo>
                  <a:lnTo>
                    <a:pt x="229" y="65"/>
                  </a:lnTo>
                  <a:lnTo>
                    <a:pt x="229" y="64"/>
                  </a:lnTo>
                  <a:lnTo>
                    <a:pt x="229" y="63"/>
                  </a:lnTo>
                  <a:lnTo>
                    <a:pt x="229" y="62"/>
                  </a:lnTo>
                  <a:lnTo>
                    <a:pt x="229" y="61"/>
                  </a:lnTo>
                  <a:lnTo>
                    <a:pt x="228" y="58"/>
                  </a:lnTo>
                  <a:lnTo>
                    <a:pt x="226" y="59"/>
                  </a:lnTo>
                  <a:lnTo>
                    <a:pt x="224" y="59"/>
                  </a:lnTo>
                  <a:lnTo>
                    <a:pt x="226" y="58"/>
                  </a:lnTo>
                  <a:lnTo>
                    <a:pt x="226" y="57"/>
                  </a:lnTo>
                  <a:lnTo>
                    <a:pt x="226" y="56"/>
                  </a:lnTo>
                  <a:lnTo>
                    <a:pt x="223" y="55"/>
                  </a:lnTo>
                  <a:lnTo>
                    <a:pt x="223" y="53"/>
                  </a:lnTo>
                  <a:lnTo>
                    <a:pt x="224" y="53"/>
                  </a:lnTo>
                  <a:lnTo>
                    <a:pt x="226" y="53"/>
                  </a:lnTo>
                  <a:lnTo>
                    <a:pt x="226" y="55"/>
                  </a:lnTo>
                  <a:lnTo>
                    <a:pt x="227" y="56"/>
                  </a:lnTo>
                  <a:lnTo>
                    <a:pt x="228" y="55"/>
                  </a:lnTo>
                  <a:lnTo>
                    <a:pt x="228" y="57"/>
                  </a:lnTo>
                  <a:lnTo>
                    <a:pt x="229" y="57"/>
                  </a:lnTo>
                  <a:lnTo>
                    <a:pt x="229" y="58"/>
                  </a:lnTo>
                  <a:lnTo>
                    <a:pt x="230" y="59"/>
                  </a:lnTo>
                  <a:lnTo>
                    <a:pt x="232" y="61"/>
                  </a:lnTo>
                  <a:lnTo>
                    <a:pt x="233" y="59"/>
                  </a:lnTo>
                  <a:lnTo>
                    <a:pt x="234" y="59"/>
                  </a:lnTo>
                  <a:lnTo>
                    <a:pt x="235" y="58"/>
                  </a:lnTo>
                  <a:lnTo>
                    <a:pt x="235" y="57"/>
                  </a:lnTo>
                  <a:lnTo>
                    <a:pt x="233" y="57"/>
                  </a:lnTo>
                  <a:lnTo>
                    <a:pt x="234" y="56"/>
                  </a:lnTo>
                  <a:lnTo>
                    <a:pt x="233" y="55"/>
                  </a:lnTo>
                  <a:lnTo>
                    <a:pt x="234" y="55"/>
                  </a:lnTo>
                  <a:lnTo>
                    <a:pt x="234" y="53"/>
                  </a:lnTo>
                  <a:lnTo>
                    <a:pt x="234" y="52"/>
                  </a:lnTo>
                  <a:lnTo>
                    <a:pt x="233" y="51"/>
                  </a:lnTo>
                  <a:lnTo>
                    <a:pt x="232" y="51"/>
                  </a:lnTo>
                  <a:lnTo>
                    <a:pt x="233" y="50"/>
                  </a:lnTo>
                  <a:lnTo>
                    <a:pt x="232" y="49"/>
                  </a:lnTo>
                  <a:lnTo>
                    <a:pt x="230" y="47"/>
                  </a:lnTo>
                  <a:lnTo>
                    <a:pt x="228" y="47"/>
                  </a:lnTo>
                  <a:lnTo>
                    <a:pt x="228" y="46"/>
                  </a:lnTo>
                  <a:lnTo>
                    <a:pt x="230" y="45"/>
                  </a:lnTo>
                  <a:lnTo>
                    <a:pt x="229" y="44"/>
                  </a:lnTo>
                  <a:lnTo>
                    <a:pt x="227" y="41"/>
                  </a:lnTo>
                  <a:lnTo>
                    <a:pt x="226" y="41"/>
                  </a:lnTo>
                  <a:lnTo>
                    <a:pt x="228" y="41"/>
                  </a:lnTo>
                  <a:lnTo>
                    <a:pt x="230" y="39"/>
                  </a:lnTo>
                  <a:lnTo>
                    <a:pt x="230" y="38"/>
                  </a:lnTo>
                  <a:lnTo>
                    <a:pt x="232" y="38"/>
                  </a:lnTo>
                  <a:lnTo>
                    <a:pt x="232" y="40"/>
                  </a:lnTo>
                  <a:lnTo>
                    <a:pt x="232" y="43"/>
                  </a:lnTo>
                  <a:lnTo>
                    <a:pt x="233" y="41"/>
                  </a:lnTo>
                  <a:lnTo>
                    <a:pt x="232" y="44"/>
                  </a:lnTo>
                  <a:lnTo>
                    <a:pt x="233" y="45"/>
                  </a:lnTo>
                  <a:lnTo>
                    <a:pt x="235" y="45"/>
                  </a:lnTo>
                  <a:lnTo>
                    <a:pt x="235" y="46"/>
                  </a:lnTo>
                  <a:lnTo>
                    <a:pt x="235" y="47"/>
                  </a:lnTo>
                  <a:lnTo>
                    <a:pt x="236" y="47"/>
                  </a:lnTo>
                  <a:lnTo>
                    <a:pt x="236" y="49"/>
                  </a:lnTo>
                  <a:lnTo>
                    <a:pt x="238" y="49"/>
                  </a:lnTo>
                  <a:lnTo>
                    <a:pt x="238" y="51"/>
                  </a:lnTo>
                  <a:lnTo>
                    <a:pt x="239" y="50"/>
                  </a:lnTo>
                  <a:lnTo>
                    <a:pt x="240" y="50"/>
                  </a:lnTo>
                  <a:lnTo>
                    <a:pt x="240" y="52"/>
                  </a:lnTo>
                  <a:lnTo>
                    <a:pt x="241" y="52"/>
                  </a:lnTo>
                  <a:lnTo>
                    <a:pt x="241" y="53"/>
                  </a:lnTo>
                  <a:lnTo>
                    <a:pt x="242" y="55"/>
                  </a:lnTo>
                  <a:lnTo>
                    <a:pt x="241" y="58"/>
                  </a:lnTo>
                  <a:lnTo>
                    <a:pt x="242" y="56"/>
                  </a:lnTo>
                  <a:lnTo>
                    <a:pt x="244" y="56"/>
                  </a:lnTo>
                  <a:lnTo>
                    <a:pt x="246" y="57"/>
                  </a:lnTo>
                  <a:lnTo>
                    <a:pt x="247" y="56"/>
                  </a:lnTo>
                  <a:lnTo>
                    <a:pt x="250" y="55"/>
                  </a:lnTo>
                  <a:lnTo>
                    <a:pt x="250" y="56"/>
                  </a:lnTo>
                  <a:lnTo>
                    <a:pt x="250" y="58"/>
                  </a:lnTo>
                  <a:lnTo>
                    <a:pt x="252" y="58"/>
                  </a:lnTo>
                  <a:lnTo>
                    <a:pt x="252" y="59"/>
                  </a:lnTo>
                  <a:lnTo>
                    <a:pt x="251" y="61"/>
                  </a:lnTo>
                  <a:lnTo>
                    <a:pt x="252" y="62"/>
                  </a:lnTo>
                  <a:lnTo>
                    <a:pt x="251" y="62"/>
                  </a:lnTo>
                  <a:lnTo>
                    <a:pt x="251" y="63"/>
                  </a:lnTo>
                  <a:lnTo>
                    <a:pt x="250" y="63"/>
                  </a:lnTo>
                  <a:lnTo>
                    <a:pt x="250" y="64"/>
                  </a:lnTo>
                  <a:lnTo>
                    <a:pt x="251" y="64"/>
                  </a:lnTo>
                  <a:lnTo>
                    <a:pt x="252" y="67"/>
                  </a:lnTo>
                  <a:lnTo>
                    <a:pt x="251" y="68"/>
                  </a:lnTo>
                  <a:lnTo>
                    <a:pt x="253" y="69"/>
                  </a:lnTo>
                  <a:lnTo>
                    <a:pt x="256" y="69"/>
                  </a:lnTo>
                  <a:lnTo>
                    <a:pt x="255" y="68"/>
                  </a:lnTo>
                  <a:lnTo>
                    <a:pt x="256" y="68"/>
                  </a:lnTo>
                  <a:lnTo>
                    <a:pt x="257" y="67"/>
                  </a:lnTo>
                  <a:lnTo>
                    <a:pt x="258" y="68"/>
                  </a:lnTo>
                  <a:lnTo>
                    <a:pt x="259" y="68"/>
                  </a:lnTo>
                  <a:lnTo>
                    <a:pt x="262" y="67"/>
                  </a:lnTo>
                  <a:lnTo>
                    <a:pt x="262" y="69"/>
                  </a:lnTo>
                  <a:lnTo>
                    <a:pt x="263" y="69"/>
                  </a:lnTo>
                  <a:lnTo>
                    <a:pt x="261" y="70"/>
                  </a:lnTo>
                  <a:lnTo>
                    <a:pt x="261" y="71"/>
                  </a:lnTo>
                  <a:lnTo>
                    <a:pt x="263" y="70"/>
                  </a:lnTo>
                  <a:lnTo>
                    <a:pt x="265" y="70"/>
                  </a:lnTo>
                  <a:lnTo>
                    <a:pt x="265" y="71"/>
                  </a:lnTo>
                  <a:lnTo>
                    <a:pt x="268" y="73"/>
                  </a:lnTo>
                  <a:lnTo>
                    <a:pt x="268" y="74"/>
                  </a:lnTo>
                  <a:lnTo>
                    <a:pt x="269" y="75"/>
                  </a:lnTo>
                  <a:lnTo>
                    <a:pt x="269" y="76"/>
                  </a:lnTo>
                  <a:lnTo>
                    <a:pt x="268" y="76"/>
                  </a:lnTo>
                  <a:lnTo>
                    <a:pt x="267" y="75"/>
                  </a:lnTo>
                  <a:lnTo>
                    <a:pt x="268" y="76"/>
                  </a:lnTo>
                  <a:lnTo>
                    <a:pt x="268" y="77"/>
                  </a:lnTo>
                  <a:lnTo>
                    <a:pt x="265" y="76"/>
                  </a:lnTo>
                  <a:lnTo>
                    <a:pt x="267" y="79"/>
                  </a:lnTo>
                  <a:lnTo>
                    <a:pt x="265" y="77"/>
                  </a:lnTo>
                  <a:lnTo>
                    <a:pt x="264" y="77"/>
                  </a:lnTo>
                  <a:lnTo>
                    <a:pt x="262" y="79"/>
                  </a:lnTo>
                  <a:lnTo>
                    <a:pt x="262" y="80"/>
                  </a:lnTo>
                  <a:lnTo>
                    <a:pt x="262" y="81"/>
                  </a:lnTo>
                  <a:lnTo>
                    <a:pt x="264" y="81"/>
                  </a:lnTo>
                  <a:lnTo>
                    <a:pt x="265" y="83"/>
                  </a:lnTo>
                  <a:lnTo>
                    <a:pt x="268" y="83"/>
                  </a:lnTo>
                  <a:lnTo>
                    <a:pt x="269" y="86"/>
                  </a:lnTo>
                  <a:lnTo>
                    <a:pt x="268" y="88"/>
                  </a:lnTo>
                  <a:lnTo>
                    <a:pt x="268" y="91"/>
                  </a:lnTo>
                  <a:lnTo>
                    <a:pt x="270" y="89"/>
                  </a:lnTo>
                  <a:lnTo>
                    <a:pt x="271" y="89"/>
                  </a:lnTo>
                  <a:lnTo>
                    <a:pt x="274" y="88"/>
                  </a:lnTo>
                  <a:lnTo>
                    <a:pt x="275" y="88"/>
                  </a:lnTo>
                  <a:lnTo>
                    <a:pt x="275" y="87"/>
                  </a:lnTo>
                  <a:lnTo>
                    <a:pt x="276" y="85"/>
                  </a:lnTo>
                  <a:lnTo>
                    <a:pt x="274" y="86"/>
                  </a:lnTo>
                  <a:lnTo>
                    <a:pt x="275" y="83"/>
                  </a:lnTo>
                  <a:lnTo>
                    <a:pt x="275" y="82"/>
                  </a:lnTo>
                  <a:lnTo>
                    <a:pt x="277" y="82"/>
                  </a:lnTo>
                  <a:lnTo>
                    <a:pt x="279" y="82"/>
                  </a:lnTo>
                  <a:lnTo>
                    <a:pt x="277" y="81"/>
                  </a:lnTo>
                  <a:lnTo>
                    <a:pt x="276" y="80"/>
                  </a:lnTo>
                  <a:lnTo>
                    <a:pt x="277" y="79"/>
                  </a:lnTo>
                  <a:lnTo>
                    <a:pt x="279" y="77"/>
                  </a:lnTo>
                  <a:lnTo>
                    <a:pt x="280" y="77"/>
                  </a:lnTo>
                  <a:lnTo>
                    <a:pt x="283" y="76"/>
                  </a:lnTo>
                  <a:lnTo>
                    <a:pt x="283" y="75"/>
                  </a:lnTo>
                  <a:lnTo>
                    <a:pt x="285" y="74"/>
                  </a:lnTo>
                  <a:lnTo>
                    <a:pt x="288" y="71"/>
                  </a:lnTo>
                  <a:lnTo>
                    <a:pt x="287" y="70"/>
                  </a:lnTo>
                  <a:lnTo>
                    <a:pt x="286" y="70"/>
                  </a:lnTo>
                  <a:lnTo>
                    <a:pt x="285" y="71"/>
                  </a:lnTo>
                  <a:lnTo>
                    <a:pt x="283" y="71"/>
                  </a:lnTo>
                  <a:lnTo>
                    <a:pt x="282" y="73"/>
                  </a:lnTo>
                  <a:lnTo>
                    <a:pt x="281" y="73"/>
                  </a:lnTo>
                  <a:lnTo>
                    <a:pt x="280" y="71"/>
                  </a:lnTo>
                  <a:lnTo>
                    <a:pt x="279" y="71"/>
                  </a:lnTo>
                  <a:lnTo>
                    <a:pt x="279" y="74"/>
                  </a:lnTo>
                  <a:lnTo>
                    <a:pt x="277" y="75"/>
                  </a:lnTo>
                  <a:lnTo>
                    <a:pt x="277" y="74"/>
                  </a:lnTo>
                  <a:lnTo>
                    <a:pt x="275" y="73"/>
                  </a:lnTo>
                  <a:lnTo>
                    <a:pt x="275" y="70"/>
                  </a:lnTo>
                  <a:lnTo>
                    <a:pt x="276" y="70"/>
                  </a:lnTo>
                  <a:lnTo>
                    <a:pt x="276" y="69"/>
                  </a:lnTo>
                  <a:lnTo>
                    <a:pt x="276" y="68"/>
                  </a:lnTo>
                  <a:lnTo>
                    <a:pt x="277" y="68"/>
                  </a:lnTo>
                  <a:lnTo>
                    <a:pt x="277" y="65"/>
                  </a:lnTo>
                  <a:lnTo>
                    <a:pt x="279" y="64"/>
                  </a:lnTo>
                  <a:lnTo>
                    <a:pt x="279" y="63"/>
                  </a:lnTo>
                  <a:lnTo>
                    <a:pt x="277" y="62"/>
                  </a:lnTo>
                  <a:lnTo>
                    <a:pt x="276" y="61"/>
                  </a:lnTo>
                  <a:lnTo>
                    <a:pt x="277" y="59"/>
                  </a:lnTo>
                  <a:lnTo>
                    <a:pt x="275" y="58"/>
                  </a:lnTo>
                  <a:lnTo>
                    <a:pt x="275" y="57"/>
                  </a:lnTo>
                  <a:lnTo>
                    <a:pt x="277" y="57"/>
                  </a:lnTo>
                  <a:lnTo>
                    <a:pt x="281" y="57"/>
                  </a:lnTo>
                  <a:lnTo>
                    <a:pt x="281" y="58"/>
                  </a:lnTo>
                  <a:lnTo>
                    <a:pt x="282" y="59"/>
                  </a:lnTo>
                  <a:lnTo>
                    <a:pt x="283" y="58"/>
                  </a:lnTo>
                  <a:lnTo>
                    <a:pt x="283" y="59"/>
                  </a:lnTo>
                  <a:lnTo>
                    <a:pt x="283" y="61"/>
                  </a:lnTo>
                  <a:lnTo>
                    <a:pt x="286" y="59"/>
                  </a:lnTo>
                  <a:lnTo>
                    <a:pt x="289" y="61"/>
                  </a:lnTo>
                  <a:lnTo>
                    <a:pt x="291" y="59"/>
                  </a:lnTo>
                  <a:lnTo>
                    <a:pt x="292" y="58"/>
                  </a:lnTo>
                  <a:lnTo>
                    <a:pt x="292" y="61"/>
                  </a:lnTo>
                  <a:lnTo>
                    <a:pt x="293" y="61"/>
                  </a:lnTo>
                  <a:lnTo>
                    <a:pt x="294" y="62"/>
                  </a:lnTo>
                  <a:lnTo>
                    <a:pt x="297" y="62"/>
                  </a:lnTo>
                  <a:lnTo>
                    <a:pt x="298" y="62"/>
                  </a:lnTo>
                  <a:lnTo>
                    <a:pt x="298" y="61"/>
                  </a:lnTo>
                  <a:lnTo>
                    <a:pt x="298" y="58"/>
                  </a:lnTo>
                  <a:lnTo>
                    <a:pt x="299" y="58"/>
                  </a:lnTo>
                  <a:lnTo>
                    <a:pt x="297" y="56"/>
                  </a:lnTo>
                  <a:lnTo>
                    <a:pt x="295" y="56"/>
                  </a:lnTo>
                  <a:lnTo>
                    <a:pt x="294" y="57"/>
                  </a:lnTo>
                  <a:lnTo>
                    <a:pt x="293" y="57"/>
                  </a:lnTo>
                  <a:lnTo>
                    <a:pt x="292" y="56"/>
                  </a:lnTo>
                  <a:lnTo>
                    <a:pt x="292" y="55"/>
                  </a:lnTo>
                  <a:lnTo>
                    <a:pt x="289" y="53"/>
                  </a:lnTo>
                  <a:lnTo>
                    <a:pt x="288" y="51"/>
                  </a:lnTo>
                  <a:lnTo>
                    <a:pt x="289" y="52"/>
                  </a:lnTo>
                  <a:lnTo>
                    <a:pt x="291" y="52"/>
                  </a:lnTo>
                  <a:lnTo>
                    <a:pt x="289" y="51"/>
                  </a:lnTo>
                  <a:lnTo>
                    <a:pt x="289" y="50"/>
                  </a:lnTo>
                  <a:lnTo>
                    <a:pt x="292" y="51"/>
                  </a:lnTo>
                  <a:lnTo>
                    <a:pt x="292" y="50"/>
                  </a:lnTo>
                  <a:lnTo>
                    <a:pt x="293" y="51"/>
                  </a:lnTo>
                  <a:lnTo>
                    <a:pt x="293" y="50"/>
                  </a:lnTo>
                  <a:lnTo>
                    <a:pt x="292" y="49"/>
                  </a:lnTo>
                  <a:lnTo>
                    <a:pt x="292" y="47"/>
                  </a:lnTo>
                  <a:lnTo>
                    <a:pt x="294" y="49"/>
                  </a:lnTo>
                  <a:lnTo>
                    <a:pt x="294" y="47"/>
                  </a:lnTo>
                  <a:lnTo>
                    <a:pt x="295" y="44"/>
                  </a:lnTo>
                  <a:lnTo>
                    <a:pt x="294" y="44"/>
                  </a:lnTo>
                  <a:lnTo>
                    <a:pt x="293" y="41"/>
                  </a:lnTo>
                  <a:lnTo>
                    <a:pt x="294" y="41"/>
                  </a:lnTo>
                  <a:lnTo>
                    <a:pt x="295" y="40"/>
                  </a:lnTo>
                  <a:lnTo>
                    <a:pt x="297" y="38"/>
                  </a:lnTo>
                  <a:lnTo>
                    <a:pt x="298" y="38"/>
                  </a:lnTo>
                  <a:lnTo>
                    <a:pt x="297" y="34"/>
                  </a:lnTo>
                  <a:lnTo>
                    <a:pt x="295" y="33"/>
                  </a:lnTo>
                  <a:lnTo>
                    <a:pt x="297" y="32"/>
                  </a:lnTo>
                  <a:lnTo>
                    <a:pt x="297" y="30"/>
                  </a:lnTo>
                  <a:lnTo>
                    <a:pt x="297" y="29"/>
                  </a:lnTo>
                  <a:lnTo>
                    <a:pt x="297" y="30"/>
                  </a:lnTo>
                  <a:lnTo>
                    <a:pt x="298" y="30"/>
                  </a:lnTo>
                  <a:lnTo>
                    <a:pt x="300" y="30"/>
                  </a:lnTo>
                  <a:lnTo>
                    <a:pt x="299" y="32"/>
                  </a:lnTo>
                  <a:lnTo>
                    <a:pt x="300" y="32"/>
                  </a:lnTo>
                  <a:lnTo>
                    <a:pt x="299" y="34"/>
                  </a:lnTo>
                  <a:lnTo>
                    <a:pt x="299" y="35"/>
                  </a:lnTo>
                  <a:lnTo>
                    <a:pt x="299" y="36"/>
                  </a:lnTo>
                  <a:lnTo>
                    <a:pt x="299" y="35"/>
                  </a:lnTo>
                  <a:lnTo>
                    <a:pt x="299" y="38"/>
                  </a:lnTo>
                  <a:lnTo>
                    <a:pt x="300" y="38"/>
                  </a:lnTo>
                  <a:lnTo>
                    <a:pt x="303" y="38"/>
                  </a:lnTo>
                  <a:lnTo>
                    <a:pt x="301" y="39"/>
                  </a:lnTo>
                  <a:lnTo>
                    <a:pt x="303" y="38"/>
                  </a:lnTo>
                  <a:lnTo>
                    <a:pt x="303" y="39"/>
                  </a:lnTo>
                  <a:lnTo>
                    <a:pt x="301" y="41"/>
                  </a:lnTo>
                  <a:lnTo>
                    <a:pt x="303" y="40"/>
                  </a:lnTo>
                  <a:lnTo>
                    <a:pt x="304" y="41"/>
                  </a:lnTo>
                  <a:lnTo>
                    <a:pt x="304" y="43"/>
                  </a:lnTo>
                  <a:lnTo>
                    <a:pt x="305" y="43"/>
                  </a:lnTo>
                  <a:lnTo>
                    <a:pt x="306" y="41"/>
                  </a:lnTo>
                  <a:lnTo>
                    <a:pt x="306" y="38"/>
                  </a:lnTo>
                  <a:lnTo>
                    <a:pt x="307" y="40"/>
                  </a:lnTo>
                  <a:lnTo>
                    <a:pt x="310" y="41"/>
                  </a:lnTo>
                  <a:lnTo>
                    <a:pt x="310" y="44"/>
                  </a:lnTo>
                  <a:lnTo>
                    <a:pt x="311" y="43"/>
                  </a:lnTo>
                  <a:lnTo>
                    <a:pt x="314" y="43"/>
                  </a:lnTo>
                  <a:lnTo>
                    <a:pt x="315" y="43"/>
                  </a:lnTo>
                  <a:lnTo>
                    <a:pt x="315" y="40"/>
                  </a:lnTo>
                  <a:lnTo>
                    <a:pt x="314" y="36"/>
                  </a:lnTo>
                  <a:lnTo>
                    <a:pt x="312" y="36"/>
                  </a:lnTo>
                  <a:lnTo>
                    <a:pt x="312" y="35"/>
                  </a:lnTo>
                  <a:lnTo>
                    <a:pt x="314" y="34"/>
                  </a:lnTo>
                  <a:lnTo>
                    <a:pt x="312" y="33"/>
                  </a:lnTo>
                  <a:lnTo>
                    <a:pt x="310" y="33"/>
                  </a:lnTo>
                  <a:lnTo>
                    <a:pt x="309" y="32"/>
                  </a:lnTo>
                  <a:lnTo>
                    <a:pt x="307" y="30"/>
                  </a:lnTo>
                  <a:lnTo>
                    <a:pt x="309" y="30"/>
                  </a:lnTo>
                  <a:lnTo>
                    <a:pt x="311" y="29"/>
                  </a:lnTo>
                  <a:lnTo>
                    <a:pt x="310" y="28"/>
                  </a:lnTo>
                  <a:lnTo>
                    <a:pt x="312" y="28"/>
                  </a:lnTo>
                  <a:lnTo>
                    <a:pt x="314" y="27"/>
                  </a:lnTo>
                  <a:lnTo>
                    <a:pt x="315" y="24"/>
                  </a:lnTo>
                  <a:lnTo>
                    <a:pt x="315" y="23"/>
                  </a:lnTo>
                  <a:lnTo>
                    <a:pt x="314" y="22"/>
                  </a:lnTo>
                  <a:lnTo>
                    <a:pt x="314" y="21"/>
                  </a:lnTo>
                  <a:lnTo>
                    <a:pt x="314" y="20"/>
                  </a:lnTo>
                  <a:lnTo>
                    <a:pt x="314" y="18"/>
                  </a:lnTo>
                  <a:lnTo>
                    <a:pt x="312" y="16"/>
                  </a:lnTo>
                  <a:lnTo>
                    <a:pt x="312" y="15"/>
                  </a:lnTo>
                  <a:lnTo>
                    <a:pt x="314" y="14"/>
                  </a:lnTo>
                  <a:lnTo>
                    <a:pt x="315" y="16"/>
                  </a:lnTo>
                  <a:lnTo>
                    <a:pt x="316" y="16"/>
                  </a:lnTo>
                  <a:lnTo>
                    <a:pt x="317" y="16"/>
                  </a:lnTo>
                  <a:lnTo>
                    <a:pt x="320" y="17"/>
                  </a:lnTo>
                  <a:lnTo>
                    <a:pt x="321" y="18"/>
                  </a:lnTo>
                  <a:lnTo>
                    <a:pt x="323" y="20"/>
                  </a:lnTo>
                  <a:lnTo>
                    <a:pt x="326" y="21"/>
                  </a:lnTo>
                  <a:lnTo>
                    <a:pt x="329" y="20"/>
                  </a:lnTo>
                  <a:lnTo>
                    <a:pt x="329" y="17"/>
                  </a:lnTo>
                  <a:lnTo>
                    <a:pt x="328" y="15"/>
                  </a:lnTo>
                  <a:lnTo>
                    <a:pt x="328" y="14"/>
                  </a:lnTo>
                  <a:lnTo>
                    <a:pt x="328" y="11"/>
                  </a:lnTo>
                  <a:lnTo>
                    <a:pt x="328" y="10"/>
                  </a:lnTo>
                  <a:lnTo>
                    <a:pt x="327" y="10"/>
                  </a:lnTo>
                  <a:lnTo>
                    <a:pt x="323" y="12"/>
                  </a:lnTo>
                  <a:lnTo>
                    <a:pt x="323" y="11"/>
                  </a:lnTo>
                  <a:lnTo>
                    <a:pt x="326" y="10"/>
                  </a:lnTo>
                  <a:lnTo>
                    <a:pt x="326" y="9"/>
                  </a:lnTo>
                  <a:lnTo>
                    <a:pt x="326" y="6"/>
                  </a:lnTo>
                  <a:lnTo>
                    <a:pt x="327" y="6"/>
                  </a:lnTo>
                  <a:lnTo>
                    <a:pt x="327" y="5"/>
                  </a:lnTo>
                  <a:lnTo>
                    <a:pt x="328" y="6"/>
                  </a:lnTo>
                  <a:lnTo>
                    <a:pt x="329" y="6"/>
                  </a:lnTo>
                  <a:lnTo>
                    <a:pt x="330" y="5"/>
                  </a:lnTo>
                  <a:lnTo>
                    <a:pt x="332" y="5"/>
                  </a:lnTo>
                  <a:lnTo>
                    <a:pt x="334" y="4"/>
                  </a:lnTo>
                  <a:lnTo>
                    <a:pt x="333" y="2"/>
                  </a:lnTo>
                  <a:lnTo>
                    <a:pt x="334" y="3"/>
                  </a:lnTo>
                  <a:lnTo>
                    <a:pt x="335" y="4"/>
                  </a:lnTo>
                  <a:lnTo>
                    <a:pt x="336" y="4"/>
                  </a:lnTo>
                  <a:lnTo>
                    <a:pt x="338" y="4"/>
                  </a:lnTo>
                  <a:lnTo>
                    <a:pt x="338" y="5"/>
                  </a:lnTo>
                  <a:lnTo>
                    <a:pt x="336" y="5"/>
                  </a:lnTo>
                  <a:lnTo>
                    <a:pt x="338" y="6"/>
                  </a:lnTo>
                  <a:lnTo>
                    <a:pt x="339" y="6"/>
                  </a:lnTo>
                  <a:lnTo>
                    <a:pt x="340" y="6"/>
                  </a:lnTo>
                  <a:lnTo>
                    <a:pt x="341" y="4"/>
                  </a:lnTo>
                  <a:lnTo>
                    <a:pt x="342" y="5"/>
                  </a:lnTo>
                  <a:lnTo>
                    <a:pt x="344" y="5"/>
                  </a:lnTo>
                  <a:lnTo>
                    <a:pt x="344" y="4"/>
                  </a:lnTo>
                  <a:lnTo>
                    <a:pt x="346" y="4"/>
                  </a:lnTo>
                  <a:lnTo>
                    <a:pt x="346" y="3"/>
                  </a:lnTo>
                  <a:lnTo>
                    <a:pt x="347" y="3"/>
                  </a:lnTo>
                  <a:lnTo>
                    <a:pt x="348" y="2"/>
                  </a:lnTo>
                  <a:lnTo>
                    <a:pt x="348" y="0"/>
                  </a:lnTo>
                  <a:lnTo>
                    <a:pt x="350" y="2"/>
                  </a:lnTo>
                  <a:lnTo>
                    <a:pt x="351" y="2"/>
                  </a:lnTo>
                  <a:lnTo>
                    <a:pt x="351" y="3"/>
                  </a:lnTo>
                  <a:lnTo>
                    <a:pt x="352" y="3"/>
                  </a:lnTo>
                  <a:lnTo>
                    <a:pt x="353" y="5"/>
                  </a:lnTo>
                  <a:lnTo>
                    <a:pt x="350" y="5"/>
                  </a:lnTo>
                  <a:lnTo>
                    <a:pt x="350" y="6"/>
                  </a:lnTo>
                  <a:lnTo>
                    <a:pt x="351" y="8"/>
                  </a:lnTo>
                  <a:lnTo>
                    <a:pt x="350" y="9"/>
                  </a:lnTo>
                  <a:lnTo>
                    <a:pt x="347" y="8"/>
                  </a:lnTo>
                  <a:lnTo>
                    <a:pt x="347" y="9"/>
                  </a:lnTo>
                  <a:lnTo>
                    <a:pt x="347" y="10"/>
                  </a:lnTo>
                  <a:lnTo>
                    <a:pt x="347" y="11"/>
                  </a:lnTo>
                  <a:lnTo>
                    <a:pt x="348" y="11"/>
                  </a:lnTo>
                  <a:lnTo>
                    <a:pt x="350" y="10"/>
                  </a:lnTo>
                  <a:lnTo>
                    <a:pt x="350" y="12"/>
                  </a:lnTo>
                  <a:lnTo>
                    <a:pt x="351" y="12"/>
                  </a:lnTo>
                  <a:lnTo>
                    <a:pt x="351" y="14"/>
                  </a:lnTo>
                  <a:lnTo>
                    <a:pt x="351" y="11"/>
                  </a:lnTo>
                  <a:lnTo>
                    <a:pt x="352" y="11"/>
                  </a:lnTo>
                  <a:lnTo>
                    <a:pt x="354" y="12"/>
                  </a:lnTo>
                  <a:lnTo>
                    <a:pt x="356" y="12"/>
                  </a:lnTo>
                  <a:lnTo>
                    <a:pt x="356" y="14"/>
                  </a:lnTo>
                  <a:lnTo>
                    <a:pt x="354" y="14"/>
                  </a:lnTo>
                  <a:lnTo>
                    <a:pt x="353" y="15"/>
                  </a:lnTo>
                  <a:lnTo>
                    <a:pt x="354" y="16"/>
                  </a:lnTo>
                  <a:lnTo>
                    <a:pt x="356" y="17"/>
                  </a:lnTo>
                  <a:lnTo>
                    <a:pt x="353" y="17"/>
                  </a:lnTo>
                  <a:lnTo>
                    <a:pt x="352" y="17"/>
                  </a:lnTo>
                  <a:lnTo>
                    <a:pt x="352" y="20"/>
                  </a:lnTo>
                  <a:lnTo>
                    <a:pt x="352" y="21"/>
                  </a:lnTo>
                  <a:lnTo>
                    <a:pt x="352" y="23"/>
                  </a:lnTo>
                  <a:lnTo>
                    <a:pt x="353" y="24"/>
                  </a:lnTo>
                  <a:lnTo>
                    <a:pt x="354" y="26"/>
                  </a:lnTo>
                  <a:lnTo>
                    <a:pt x="352" y="24"/>
                  </a:lnTo>
                  <a:lnTo>
                    <a:pt x="352" y="26"/>
                  </a:lnTo>
                  <a:lnTo>
                    <a:pt x="352" y="27"/>
                  </a:lnTo>
                  <a:lnTo>
                    <a:pt x="352" y="28"/>
                  </a:lnTo>
                  <a:lnTo>
                    <a:pt x="353" y="29"/>
                  </a:lnTo>
                  <a:lnTo>
                    <a:pt x="354" y="28"/>
                  </a:lnTo>
                  <a:lnTo>
                    <a:pt x="357" y="29"/>
                  </a:lnTo>
                  <a:lnTo>
                    <a:pt x="358" y="28"/>
                  </a:lnTo>
                  <a:lnTo>
                    <a:pt x="357" y="26"/>
                  </a:lnTo>
                  <a:lnTo>
                    <a:pt x="357" y="23"/>
                  </a:lnTo>
                  <a:lnTo>
                    <a:pt x="358" y="26"/>
                  </a:lnTo>
                  <a:lnTo>
                    <a:pt x="359" y="27"/>
                  </a:lnTo>
                  <a:lnTo>
                    <a:pt x="360" y="27"/>
                  </a:lnTo>
                  <a:lnTo>
                    <a:pt x="360" y="24"/>
                  </a:lnTo>
                  <a:lnTo>
                    <a:pt x="362" y="26"/>
                  </a:lnTo>
                  <a:lnTo>
                    <a:pt x="363" y="27"/>
                  </a:lnTo>
                  <a:lnTo>
                    <a:pt x="362" y="27"/>
                  </a:lnTo>
                  <a:lnTo>
                    <a:pt x="360" y="29"/>
                  </a:lnTo>
                  <a:lnTo>
                    <a:pt x="362" y="29"/>
                  </a:lnTo>
                  <a:lnTo>
                    <a:pt x="362" y="30"/>
                  </a:lnTo>
                  <a:lnTo>
                    <a:pt x="363" y="30"/>
                  </a:lnTo>
                  <a:lnTo>
                    <a:pt x="364" y="30"/>
                  </a:lnTo>
                  <a:lnTo>
                    <a:pt x="364" y="29"/>
                  </a:lnTo>
                  <a:lnTo>
                    <a:pt x="364" y="28"/>
                  </a:lnTo>
                  <a:lnTo>
                    <a:pt x="366" y="29"/>
                  </a:lnTo>
                  <a:lnTo>
                    <a:pt x="368" y="30"/>
                  </a:lnTo>
                  <a:lnTo>
                    <a:pt x="366" y="32"/>
                  </a:lnTo>
                  <a:lnTo>
                    <a:pt x="365" y="32"/>
                  </a:lnTo>
                  <a:lnTo>
                    <a:pt x="365" y="33"/>
                  </a:lnTo>
                  <a:lnTo>
                    <a:pt x="366" y="34"/>
                  </a:lnTo>
                  <a:lnTo>
                    <a:pt x="368" y="35"/>
                  </a:lnTo>
                  <a:lnTo>
                    <a:pt x="366" y="35"/>
                  </a:lnTo>
                  <a:lnTo>
                    <a:pt x="366" y="36"/>
                  </a:lnTo>
                  <a:lnTo>
                    <a:pt x="366" y="38"/>
                  </a:lnTo>
                  <a:lnTo>
                    <a:pt x="366" y="39"/>
                  </a:lnTo>
                  <a:lnTo>
                    <a:pt x="368" y="40"/>
                  </a:lnTo>
                  <a:lnTo>
                    <a:pt x="370" y="39"/>
                  </a:lnTo>
                  <a:lnTo>
                    <a:pt x="371" y="40"/>
                  </a:lnTo>
                  <a:lnTo>
                    <a:pt x="372" y="40"/>
                  </a:lnTo>
                  <a:lnTo>
                    <a:pt x="374" y="40"/>
                  </a:lnTo>
                  <a:lnTo>
                    <a:pt x="376" y="38"/>
                  </a:lnTo>
                  <a:lnTo>
                    <a:pt x="376" y="36"/>
                  </a:lnTo>
                  <a:lnTo>
                    <a:pt x="376" y="39"/>
                  </a:lnTo>
                  <a:lnTo>
                    <a:pt x="377" y="39"/>
                  </a:lnTo>
                  <a:lnTo>
                    <a:pt x="379" y="39"/>
                  </a:lnTo>
                  <a:lnTo>
                    <a:pt x="380" y="35"/>
                  </a:lnTo>
                  <a:lnTo>
                    <a:pt x="380" y="36"/>
                  </a:lnTo>
                  <a:lnTo>
                    <a:pt x="380" y="38"/>
                  </a:lnTo>
                  <a:lnTo>
                    <a:pt x="380" y="39"/>
                  </a:lnTo>
                  <a:lnTo>
                    <a:pt x="381" y="39"/>
                  </a:lnTo>
                  <a:lnTo>
                    <a:pt x="380" y="40"/>
                  </a:lnTo>
                  <a:lnTo>
                    <a:pt x="380" y="43"/>
                  </a:lnTo>
                  <a:lnTo>
                    <a:pt x="380" y="44"/>
                  </a:lnTo>
                  <a:lnTo>
                    <a:pt x="381" y="45"/>
                  </a:lnTo>
                  <a:lnTo>
                    <a:pt x="380" y="46"/>
                  </a:lnTo>
                  <a:lnTo>
                    <a:pt x="380" y="47"/>
                  </a:lnTo>
                  <a:lnTo>
                    <a:pt x="382" y="49"/>
                  </a:lnTo>
                  <a:lnTo>
                    <a:pt x="383" y="51"/>
                  </a:lnTo>
                  <a:lnTo>
                    <a:pt x="385" y="50"/>
                  </a:lnTo>
                  <a:lnTo>
                    <a:pt x="383" y="49"/>
                  </a:lnTo>
                  <a:lnTo>
                    <a:pt x="383" y="47"/>
                  </a:lnTo>
                  <a:lnTo>
                    <a:pt x="385" y="47"/>
                  </a:lnTo>
                  <a:lnTo>
                    <a:pt x="386" y="46"/>
                  </a:lnTo>
                  <a:lnTo>
                    <a:pt x="387" y="45"/>
                  </a:lnTo>
                  <a:lnTo>
                    <a:pt x="386" y="44"/>
                  </a:lnTo>
                  <a:lnTo>
                    <a:pt x="385" y="43"/>
                  </a:lnTo>
                  <a:lnTo>
                    <a:pt x="386" y="43"/>
                  </a:lnTo>
                  <a:lnTo>
                    <a:pt x="387" y="41"/>
                  </a:lnTo>
                  <a:lnTo>
                    <a:pt x="388" y="41"/>
                  </a:lnTo>
                  <a:lnTo>
                    <a:pt x="389" y="40"/>
                  </a:lnTo>
                  <a:lnTo>
                    <a:pt x="392" y="40"/>
                  </a:lnTo>
                  <a:lnTo>
                    <a:pt x="393" y="39"/>
                  </a:lnTo>
                  <a:lnTo>
                    <a:pt x="392" y="38"/>
                  </a:lnTo>
                  <a:lnTo>
                    <a:pt x="391" y="36"/>
                  </a:lnTo>
                  <a:lnTo>
                    <a:pt x="392" y="36"/>
                  </a:lnTo>
                  <a:lnTo>
                    <a:pt x="393" y="36"/>
                  </a:lnTo>
                  <a:lnTo>
                    <a:pt x="395" y="35"/>
                  </a:lnTo>
                  <a:lnTo>
                    <a:pt x="398" y="34"/>
                  </a:lnTo>
                  <a:lnTo>
                    <a:pt x="395" y="36"/>
                  </a:lnTo>
                  <a:lnTo>
                    <a:pt x="394" y="38"/>
                  </a:lnTo>
                  <a:lnTo>
                    <a:pt x="397" y="38"/>
                  </a:lnTo>
                  <a:lnTo>
                    <a:pt x="397" y="36"/>
                  </a:lnTo>
                  <a:lnTo>
                    <a:pt x="398" y="36"/>
                  </a:lnTo>
                  <a:lnTo>
                    <a:pt x="400" y="38"/>
                  </a:lnTo>
                  <a:lnTo>
                    <a:pt x="403" y="36"/>
                  </a:lnTo>
                  <a:lnTo>
                    <a:pt x="403" y="38"/>
                  </a:lnTo>
                  <a:lnTo>
                    <a:pt x="403" y="39"/>
                  </a:lnTo>
                  <a:lnTo>
                    <a:pt x="404" y="39"/>
                  </a:lnTo>
                  <a:lnTo>
                    <a:pt x="405" y="40"/>
                  </a:lnTo>
                  <a:lnTo>
                    <a:pt x="403" y="40"/>
                  </a:lnTo>
                  <a:lnTo>
                    <a:pt x="401" y="40"/>
                  </a:lnTo>
                  <a:lnTo>
                    <a:pt x="403" y="41"/>
                  </a:lnTo>
                  <a:lnTo>
                    <a:pt x="403" y="43"/>
                  </a:lnTo>
                  <a:lnTo>
                    <a:pt x="404" y="44"/>
                  </a:lnTo>
                  <a:lnTo>
                    <a:pt x="400" y="43"/>
                  </a:lnTo>
                  <a:lnTo>
                    <a:pt x="403" y="45"/>
                  </a:lnTo>
                  <a:lnTo>
                    <a:pt x="403" y="46"/>
                  </a:lnTo>
                  <a:lnTo>
                    <a:pt x="401" y="46"/>
                  </a:lnTo>
                  <a:lnTo>
                    <a:pt x="401" y="47"/>
                  </a:lnTo>
                  <a:lnTo>
                    <a:pt x="400" y="47"/>
                  </a:lnTo>
                  <a:lnTo>
                    <a:pt x="399" y="46"/>
                  </a:lnTo>
                  <a:lnTo>
                    <a:pt x="398" y="45"/>
                  </a:lnTo>
                  <a:lnTo>
                    <a:pt x="395" y="47"/>
                  </a:lnTo>
                  <a:lnTo>
                    <a:pt x="395" y="50"/>
                  </a:lnTo>
                  <a:lnTo>
                    <a:pt x="394" y="51"/>
                  </a:lnTo>
                  <a:lnTo>
                    <a:pt x="395" y="52"/>
                  </a:lnTo>
                  <a:lnTo>
                    <a:pt x="397" y="51"/>
                  </a:lnTo>
                  <a:lnTo>
                    <a:pt x="398" y="52"/>
                  </a:lnTo>
                  <a:lnTo>
                    <a:pt x="398" y="53"/>
                  </a:lnTo>
                  <a:lnTo>
                    <a:pt x="399" y="55"/>
                  </a:lnTo>
                  <a:lnTo>
                    <a:pt x="401" y="56"/>
                  </a:lnTo>
                  <a:lnTo>
                    <a:pt x="401" y="55"/>
                  </a:lnTo>
                  <a:lnTo>
                    <a:pt x="401" y="51"/>
                  </a:lnTo>
                  <a:lnTo>
                    <a:pt x="401" y="50"/>
                  </a:lnTo>
                  <a:lnTo>
                    <a:pt x="403" y="51"/>
                  </a:lnTo>
                  <a:lnTo>
                    <a:pt x="405" y="50"/>
                  </a:lnTo>
                  <a:lnTo>
                    <a:pt x="404" y="52"/>
                  </a:lnTo>
                  <a:lnTo>
                    <a:pt x="405" y="52"/>
                  </a:lnTo>
                  <a:lnTo>
                    <a:pt x="406" y="53"/>
                  </a:lnTo>
                  <a:lnTo>
                    <a:pt x="406" y="55"/>
                  </a:lnTo>
                  <a:lnTo>
                    <a:pt x="407" y="55"/>
                  </a:lnTo>
                  <a:lnTo>
                    <a:pt x="409" y="56"/>
                  </a:lnTo>
                  <a:lnTo>
                    <a:pt x="407" y="57"/>
                  </a:lnTo>
                  <a:lnTo>
                    <a:pt x="406" y="58"/>
                  </a:lnTo>
                  <a:lnTo>
                    <a:pt x="405" y="59"/>
                  </a:lnTo>
                  <a:lnTo>
                    <a:pt x="405" y="61"/>
                  </a:lnTo>
                  <a:lnTo>
                    <a:pt x="405" y="63"/>
                  </a:lnTo>
                  <a:lnTo>
                    <a:pt x="405" y="64"/>
                  </a:lnTo>
                  <a:lnTo>
                    <a:pt x="406" y="63"/>
                  </a:lnTo>
                  <a:lnTo>
                    <a:pt x="406" y="61"/>
                  </a:lnTo>
                  <a:lnTo>
                    <a:pt x="406" y="59"/>
                  </a:lnTo>
                  <a:lnTo>
                    <a:pt x="407" y="58"/>
                  </a:lnTo>
                  <a:lnTo>
                    <a:pt x="407" y="59"/>
                  </a:lnTo>
                  <a:lnTo>
                    <a:pt x="410" y="61"/>
                  </a:lnTo>
                  <a:lnTo>
                    <a:pt x="411" y="61"/>
                  </a:lnTo>
                  <a:lnTo>
                    <a:pt x="411" y="59"/>
                  </a:lnTo>
                  <a:lnTo>
                    <a:pt x="413" y="62"/>
                  </a:lnTo>
                  <a:lnTo>
                    <a:pt x="415" y="61"/>
                  </a:lnTo>
                  <a:lnTo>
                    <a:pt x="416" y="61"/>
                  </a:lnTo>
                  <a:lnTo>
                    <a:pt x="417" y="61"/>
                  </a:lnTo>
                  <a:lnTo>
                    <a:pt x="417" y="58"/>
                  </a:lnTo>
                  <a:lnTo>
                    <a:pt x="417" y="61"/>
                  </a:lnTo>
                  <a:lnTo>
                    <a:pt x="418" y="62"/>
                  </a:lnTo>
                  <a:lnTo>
                    <a:pt x="419" y="65"/>
                  </a:lnTo>
                  <a:lnTo>
                    <a:pt x="422" y="67"/>
                  </a:lnTo>
                  <a:lnTo>
                    <a:pt x="422" y="68"/>
                  </a:lnTo>
                  <a:lnTo>
                    <a:pt x="423" y="67"/>
                  </a:lnTo>
                  <a:lnTo>
                    <a:pt x="425" y="64"/>
                  </a:lnTo>
                  <a:lnTo>
                    <a:pt x="425" y="63"/>
                  </a:lnTo>
                  <a:lnTo>
                    <a:pt x="424" y="62"/>
                  </a:lnTo>
                  <a:lnTo>
                    <a:pt x="424" y="59"/>
                  </a:lnTo>
                  <a:lnTo>
                    <a:pt x="425" y="59"/>
                  </a:lnTo>
                  <a:lnTo>
                    <a:pt x="425" y="57"/>
                  </a:lnTo>
                  <a:lnTo>
                    <a:pt x="422" y="55"/>
                  </a:lnTo>
                  <a:lnTo>
                    <a:pt x="419" y="52"/>
                  </a:lnTo>
                  <a:lnTo>
                    <a:pt x="417" y="50"/>
                  </a:lnTo>
                  <a:lnTo>
                    <a:pt x="415" y="50"/>
                  </a:lnTo>
                  <a:lnTo>
                    <a:pt x="415" y="47"/>
                  </a:lnTo>
                  <a:lnTo>
                    <a:pt x="411" y="47"/>
                  </a:lnTo>
                  <a:lnTo>
                    <a:pt x="412" y="45"/>
                  </a:lnTo>
                  <a:lnTo>
                    <a:pt x="410" y="44"/>
                  </a:lnTo>
                  <a:lnTo>
                    <a:pt x="412" y="44"/>
                  </a:lnTo>
                  <a:lnTo>
                    <a:pt x="412" y="43"/>
                  </a:lnTo>
                  <a:lnTo>
                    <a:pt x="413" y="41"/>
                  </a:lnTo>
                  <a:lnTo>
                    <a:pt x="415" y="41"/>
                  </a:lnTo>
                  <a:lnTo>
                    <a:pt x="416" y="40"/>
                  </a:lnTo>
                  <a:lnTo>
                    <a:pt x="417" y="41"/>
                  </a:lnTo>
                  <a:lnTo>
                    <a:pt x="418" y="41"/>
                  </a:lnTo>
                  <a:lnTo>
                    <a:pt x="418" y="45"/>
                  </a:lnTo>
                  <a:lnTo>
                    <a:pt x="418" y="46"/>
                  </a:lnTo>
                  <a:lnTo>
                    <a:pt x="419" y="44"/>
                  </a:lnTo>
                  <a:lnTo>
                    <a:pt x="419" y="45"/>
                  </a:lnTo>
                  <a:lnTo>
                    <a:pt x="419" y="49"/>
                  </a:lnTo>
                  <a:lnTo>
                    <a:pt x="421" y="50"/>
                  </a:lnTo>
                  <a:lnTo>
                    <a:pt x="422" y="49"/>
                  </a:lnTo>
                  <a:lnTo>
                    <a:pt x="422" y="46"/>
                  </a:lnTo>
                  <a:lnTo>
                    <a:pt x="423" y="46"/>
                  </a:lnTo>
                  <a:lnTo>
                    <a:pt x="424" y="45"/>
                  </a:lnTo>
                  <a:lnTo>
                    <a:pt x="425" y="46"/>
                  </a:lnTo>
                  <a:lnTo>
                    <a:pt x="427" y="45"/>
                  </a:lnTo>
                  <a:lnTo>
                    <a:pt x="428" y="45"/>
                  </a:lnTo>
                  <a:lnTo>
                    <a:pt x="429" y="46"/>
                  </a:lnTo>
                  <a:lnTo>
                    <a:pt x="428" y="47"/>
                  </a:lnTo>
                  <a:lnTo>
                    <a:pt x="428" y="50"/>
                  </a:lnTo>
                  <a:lnTo>
                    <a:pt x="427" y="51"/>
                  </a:lnTo>
                  <a:lnTo>
                    <a:pt x="425" y="52"/>
                  </a:lnTo>
                  <a:lnTo>
                    <a:pt x="425" y="53"/>
                  </a:lnTo>
                  <a:lnTo>
                    <a:pt x="427" y="56"/>
                  </a:lnTo>
                  <a:lnTo>
                    <a:pt x="428" y="59"/>
                  </a:lnTo>
                  <a:lnTo>
                    <a:pt x="429" y="55"/>
                  </a:lnTo>
                  <a:lnTo>
                    <a:pt x="430" y="57"/>
                  </a:lnTo>
                  <a:lnTo>
                    <a:pt x="430" y="58"/>
                  </a:lnTo>
                  <a:lnTo>
                    <a:pt x="431" y="58"/>
                  </a:lnTo>
                  <a:lnTo>
                    <a:pt x="433" y="57"/>
                  </a:lnTo>
                  <a:lnTo>
                    <a:pt x="434" y="58"/>
                  </a:lnTo>
                  <a:lnTo>
                    <a:pt x="434" y="56"/>
                  </a:lnTo>
                  <a:lnTo>
                    <a:pt x="433" y="57"/>
                  </a:lnTo>
                  <a:lnTo>
                    <a:pt x="434" y="55"/>
                  </a:lnTo>
                  <a:lnTo>
                    <a:pt x="439" y="52"/>
                  </a:lnTo>
                  <a:lnTo>
                    <a:pt x="440" y="52"/>
                  </a:lnTo>
                  <a:lnTo>
                    <a:pt x="440" y="49"/>
                  </a:lnTo>
                  <a:lnTo>
                    <a:pt x="444" y="49"/>
                  </a:lnTo>
                  <a:lnTo>
                    <a:pt x="440" y="46"/>
                  </a:lnTo>
                  <a:lnTo>
                    <a:pt x="444" y="49"/>
                  </a:lnTo>
                  <a:lnTo>
                    <a:pt x="445" y="47"/>
                  </a:lnTo>
                  <a:lnTo>
                    <a:pt x="446" y="47"/>
                  </a:lnTo>
                  <a:lnTo>
                    <a:pt x="447" y="47"/>
                  </a:lnTo>
                  <a:lnTo>
                    <a:pt x="447" y="46"/>
                  </a:lnTo>
                  <a:lnTo>
                    <a:pt x="448" y="46"/>
                  </a:lnTo>
                  <a:lnTo>
                    <a:pt x="451" y="50"/>
                  </a:lnTo>
                  <a:lnTo>
                    <a:pt x="452" y="46"/>
                  </a:lnTo>
                  <a:lnTo>
                    <a:pt x="451" y="45"/>
                  </a:lnTo>
                  <a:lnTo>
                    <a:pt x="452" y="45"/>
                  </a:lnTo>
                  <a:lnTo>
                    <a:pt x="453" y="41"/>
                  </a:lnTo>
                  <a:lnTo>
                    <a:pt x="453" y="44"/>
                  </a:lnTo>
                  <a:lnTo>
                    <a:pt x="454" y="45"/>
                  </a:lnTo>
                  <a:lnTo>
                    <a:pt x="453" y="46"/>
                  </a:lnTo>
                  <a:lnTo>
                    <a:pt x="452" y="47"/>
                  </a:lnTo>
                  <a:lnTo>
                    <a:pt x="452" y="49"/>
                  </a:lnTo>
                  <a:lnTo>
                    <a:pt x="453" y="50"/>
                  </a:lnTo>
                  <a:lnTo>
                    <a:pt x="454" y="51"/>
                  </a:lnTo>
                  <a:lnTo>
                    <a:pt x="456" y="51"/>
                  </a:lnTo>
                  <a:lnTo>
                    <a:pt x="456" y="50"/>
                  </a:lnTo>
                  <a:lnTo>
                    <a:pt x="458" y="51"/>
                  </a:lnTo>
                  <a:lnTo>
                    <a:pt x="459" y="51"/>
                  </a:lnTo>
                  <a:lnTo>
                    <a:pt x="460" y="51"/>
                  </a:lnTo>
                  <a:lnTo>
                    <a:pt x="460" y="53"/>
                  </a:lnTo>
                  <a:lnTo>
                    <a:pt x="463" y="55"/>
                  </a:lnTo>
                  <a:lnTo>
                    <a:pt x="463" y="58"/>
                  </a:lnTo>
                  <a:lnTo>
                    <a:pt x="463" y="61"/>
                  </a:lnTo>
                  <a:lnTo>
                    <a:pt x="464" y="62"/>
                  </a:lnTo>
                  <a:lnTo>
                    <a:pt x="465" y="61"/>
                  </a:lnTo>
                  <a:lnTo>
                    <a:pt x="466" y="62"/>
                  </a:lnTo>
                  <a:lnTo>
                    <a:pt x="468" y="63"/>
                  </a:lnTo>
                  <a:lnTo>
                    <a:pt x="470" y="64"/>
                  </a:lnTo>
                  <a:lnTo>
                    <a:pt x="472" y="62"/>
                  </a:lnTo>
                  <a:lnTo>
                    <a:pt x="471" y="61"/>
                  </a:lnTo>
                  <a:lnTo>
                    <a:pt x="472" y="61"/>
                  </a:lnTo>
                  <a:lnTo>
                    <a:pt x="471" y="57"/>
                  </a:lnTo>
                  <a:lnTo>
                    <a:pt x="474" y="57"/>
                  </a:lnTo>
                  <a:lnTo>
                    <a:pt x="475" y="57"/>
                  </a:lnTo>
                  <a:lnTo>
                    <a:pt x="476" y="56"/>
                  </a:lnTo>
                  <a:lnTo>
                    <a:pt x="476" y="57"/>
                  </a:lnTo>
                  <a:lnTo>
                    <a:pt x="477" y="57"/>
                  </a:lnTo>
                  <a:lnTo>
                    <a:pt x="476" y="58"/>
                  </a:lnTo>
                  <a:lnTo>
                    <a:pt x="474" y="61"/>
                  </a:lnTo>
                  <a:lnTo>
                    <a:pt x="475" y="61"/>
                  </a:lnTo>
                  <a:lnTo>
                    <a:pt x="476" y="61"/>
                  </a:lnTo>
                  <a:lnTo>
                    <a:pt x="477" y="61"/>
                  </a:lnTo>
                  <a:lnTo>
                    <a:pt x="478" y="58"/>
                  </a:lnTo>
                  <a:lnTo>
                    <a:pt x="480" y="58"/>
                  </a:lnTo>
                  <a:lnTo>
                    <a:pt x="481" y="58"/>
                  </a:lnTo>
                  <a:lnTo>
                    <a:pt x="480" y="61"/>
                  </a:lnTo>
                  <a:lnTo>
                    <a:pt x="481" y="61"/>
                  </a:lnTo>
                  <a:lnTo>
                    <a:pt x="482" y="62"/>
                  </a:lnTo>
                  <a:lnTo>
                    <a:pt x="482" y="63"/>
                  </a:lnTo>
                  <a:lnTo>
                    <a:pt x="482" y="64"/>
                  </a:lnTo>
                  <a:lnTo>
                    <a:pt x="483" y="65"/>
                  </a:lnTo>
                  <a:lnTo>
                    <a:pt x="484" y="65"/>
                  </a:lnTo>
                  <a:lnTo>
                    <a:pt x="484" y="67"/>
                  </a:lnTo>
                  <a:lnTo>
                    <a:pt x="487" y="67"/>
                  </a:lnTo>
                  <a:lnTo>
                    <a:pt x="486" y="67"/>
                  </a:lnTo>
                  <a:lnTo>
                    <a:pt x="484" y="68"/>
                  </a:lnTo>
                  <a:lnTo>
                    <a:pt x="486" y="69"/>
                  </a:lnTo>
                  <a:lnTo>
                    <a:pt x="487" y="70"/>
                  </a:lnTo>
                  <a:lnTo>
                    <a:pt x="488" y="71"/>
                  </a:lnTo>
                  <a:lnTo>
                    <a:pt x="489" y="71"/>
                  </a:lnTo>
                  <a:lnTo>
                    <a:pt x="489" y="73"/>
                  </a:lnTo>
                  <a:lnTo>
                    <a:pt x="490" y="74"/>
                  </a:lnTo>
                  <a:lnTo>
                    <a:pt x="492" y="74"/>
                  </a:lnTo>
                  <a:lnTo>
                    <a:pt x="490" y="75"/>
                  </a:lnTo>
                  <a:lnTo>
                    <a:pt x="490" y="76"/>
                  </a:lnTo>
                  <a:lnTo>
                    <a:pt x="493" y="75"/>
                  </a:lnTo>
                  <a:lnTo>
                    <a:pt x="494" y="75"/>
                  </a:lnTo>
                  <a:lnTo>
                    <a:pt x="492" y="77"/>
                  </a:lnTo>
                  <a:lnTo>
                    <a:pt x="492" y="79"/>
                  </a:lnTo>
                  <a:lnTo>
                    <a:pt x="493" y="79"/>
                  </a:lnTo>
                  <a:lnTo>
                    <a:pt x="495" y="79"/>
                  </a:lnTo>
                  <a:lnTo>
                    <a:pt x="495" y="80"/>
                  </a:lnTo>
                  <a:lnTo>
                    <a:pt x="495" y="79"/>
                  </a:lnTo>
                  <a:lnTo>
                    <a:pt x="495" y="80"/>
                  </a:lnTo>
                  <a:lnTo>
                    <a:pt x="495" y="82"/>
                  </a:lnTo>
                  <a:lnTo>
                    <a:pt x="497" y="82"/>
                  </a:lnTo>
                  <a:lnTo>
                    <a:pt x="498" y="81"/>
                  </a:lnTo>
                  <a:lnTo>
                    <a:pt x="498" y="80"/>
                  </a:lnTo>
                  <a:lnTo>
                    <a:pt x="498" y="81"/>
                  </a:lnTo>
                  <a:lnTo>
                    <a:pt x="501" y="82"/>
                  </a:lnTo>
                  <a:lnTo>
                    <a:pt x="501" y="81"/>
                  </a:lnTo>
                  <a:lnTo>
                    <a:pt x="501" y="80"/>
                  </a:lnTo>
                  <a:lnTo>
                    <a:pt x="503" y="80"/>
                  </a:lnTo>
                  <a:lnTo>
                    <a:pt x="501" y="79"/>
                  </a:lnTo>
                  <a:lnTo>
                    <a:pt x="500" y="76"/>
                  </a:lnTo>
                  <a:lnTo>
                    <a:pt x="499" y="76"/>
                  </a:lnTo>
                  <a:lnTo>
                    <a:pt x="501" y="76"/>
                  </a:lnTo>
                  <a:lnTo>
                    <a:pt x="501" y="75"/>
                  </a:lnTo>
                  <a:lnTo>
                    <a:pt x="503" y="75"/>
                  </a:lnTo>
                  <a:lnTo>
                    <a:pt x="503" y="74"/>
                  </a:lnTo>
                  <a:lnTo>
                    <a:pt x="506" y="73"/>
                  </a:lnTo>
                  <a:lnTo>
                    <a:pt x="505" y="75"/>
                  </a:lnTo>
                  <a:lnTo>
                    <a:pt x="505" y="76"/>
                  </a:lnTo>
                  <a:lnTo>
                    <a:pt x="505" y="77"/>
                  </a:lnTo>
                  <a:lnTo>
                    <a:pt x="506" y="76"/>
                  </a:lnTo>
                  <a:lnTo>
                    <a:pt x="507" y="79"/>
                  </a:lnTo>
                  <a:lnTo>
                    <a:pt x="510" y="79"/>
                  </a:lnTo>
                  <a:lnTo>
                    <a:pt x="510" y="80"/>
                  </a:lnTo>
                  <a:lnTo>
                    <a:pt x="510" y="79"/>
                  </a:lnTo>
                  <a:lnTo>
                    <a:pt x="511" y="75"/>
                  </a:lnTo>
                  <a:lnTo>
                    <a:pt x="513" y="74"/>
                  </a:lnTo>
                  <a:lnTo>
                    <a:pt x="512" y="77"/>
                  </a:lnTo>
                  <a:lnTo>
                    <a:pt x="511" y="80"/>
                  </a:lnTo>
                  <a:lnTo>
                    <a:pt x="513" y="79"/>
                  </a:lnTo>
                  <a:lnTo>
                    <a:pt x="512" y="80"/>
                  </a:lnTo>
                  <a:lnTo>
                    <a:pt x="513" y="82"/>
                  </a:lnTo>
                  <a:lnTo>
                    <a:pt x="512" y="83"/>
                  </a:lnTo>
                  <a:lnTo>
                    <a:pt x="518" y="86"/>
                  </a:lnTo>
                  <a:lnTo>
                    <a:pt x="512" y="85"/>
                  </a:lnTo>
                  <a:lnTo>
                    <a:pt x="513" y="86"/>
                  </a:lnTo>
                  <a:lnTo>
                    <a:pt x="513" y="87"/>
                  </a:lnTo>
                  <a:lnTo>
                    <a:pt x="512" y="86"/>
                  </a:lnTo>
                  <a:lnTo>
                    <a:pt x="511" y="85"/>
                  </a:lnTo>
                  <a:lnTo>
                    <a:pt x="510" y="86"/>
                  </a:lnTo>
                  <a:lnTo>
                    <a:pt x="510" y="87"/>
                  </a:lnTo>
                  <a:lnTo>
                    <a:pt x="510" y="88"/>
                  </a:lnTo>
                  <a:lnTo>
                    <a:pt x="510" y="89"/>
                  </a:lnTo>
                  <a:lnTo>
                    <a:pt x="509" y="91"/>
                  </a:lnTo>
                  <a:lnTo>
                    <a:pt x="510" y="93"/>
                  </a:lnTo>
                  <a:lnTo>
                    <a:pt x="509" y="95"/>
                  </a:lnTo>
                  <a:lnTo>
                    <a:pt x="509" y="97"/>
                  </a:lnTo>
                  <a:lnTo>
                    <a:pt x="511" y="94"/>
                  </a:lnTo>
                  <a:lnTo>
                    <a:pt x="511" y="97"/>
                  </a:lnTo>
                  <a:lnTo>
                    <a:pt x="511" y="98"/>
                  </a:lnTo>
                  <a:lnTo>
                    <a:pt x="512" y="97"/>
                  </a:lnTo>
                  <a:lnTo>
                    <a:pt x="512" y="98"/>
                  </a:lnTo>
                  <a:lnTo>
                    <a:pt x="512" y="101"/>
                  </a:lnTo>
                  <a:lnTo>
                    <a:pt x="513" y="101"/>
                  </a:lnTo>
                  <a:lnTo>
                    <a:pt x="513" y="103"/>
                  </a:lnTo>
                  <a:lnTo>
                    <a:pt x="511" y="104"/>
                  </a:lnTo>
                  <a:lnTo>
                    <a:pt x="512" y="105"/>
                  </a:lnTo>
                  <a:lnTo>
                    <a:pt x="513" y="105"/>
                  </a:lnTo>
                  <a:lnTo>
                    <a:pt x="515" y="104"/>
                  </a:lnTo>
                  <a:lnTo>
                    <a:pt x="517" y="105"/>
                  </a:lnTo>
                  <a:lnTo>
                    <a:pt x="518" y="105"/>
                  </a:lnTo>
                  <a:lnTo>
                    <a:pt x="518" y="104"/>
                  </a:lnTo>
                  <a:lnTo>
                    <a:pt x="519" y="104"/>
                  </a:lnTo>
                  <a:lnTo>
                    <a:pt x="521" y="105"/>
                  </a:lnTo>
                  <a:lnTo>
                    <a:pt x="522" y="104"/>
                  </a:lnTo>
                  <a:lnTo>
                    <a:pt x="521" y="101"/>
                  </a:lnTo>
                  <a:lnTo>
                    <a:pt x="522" y="99"/>
                  </a:lnTo>
                  <a:lnTo>
                    <a:pt x="523" y="98"/>
                  </a:lnTo>
                  <a:lnTo>
                    <a:pt x="523" y="99"/>
                  </a:lnTo>
                  <a:lnTo>
                    <a:pt x="523" y="101"/>
                  </a:lnTo>
                  <a:lnTo>
                    <a:pt x="524" y="101"/>
                  </a:lnTo>
                  <a:lnTo>
                    <a:pt x="525" y="101"/>
                  </a:lnTo>
                  <a:lnTo>
                    <a:pt x="527" y="100"/>
                  </a:lnTo>
                  <a:lnTo>
                    <a:pt x="525" y="103"/>
                  </a:lnTo>
                  <a:lnTo>
                    <a:pt x="527" y="103"/>
                  </a:lnTo>
                  <a:lnTo>
                    <a:pt x="528" y="103"/>
                  </a:lnTo>
                  <a:lnTo>
                    <a:pt x="528" y="104"/>
                  </a:lnTo>
                  <a:lnTo>
                    <a:pt x="527" y="105"/>
                  </a:lnTo>
                  <a:lnTo>
                    <a:pt x="529" y="105"/>
                  </a:lnTo>
                  <a:lnTo>
                    <a:pt x="530" y="105"/>
                  </a:lnTo>
                  <a:lnTo>
                    <a:pt x="530" y="104"/>
                  </a:lnTo>
                  <a:lnTo>
                    <a:pt x="530" y="105"/>
                  </a:lnTo>
                  <a:lnTo>
                    <a:pt x="534" y="106"/>
                  </a:lnTo>
                  <a:lnTo>
                    <a:pt x="533" y="107"/>
                  </a:lnTo>
                  <a:lnTo>
                    <a:pt x="531" y="109"/>
                  </a:lnTo>
                  <a:lnTo>
                    <a:pt x="530" y="109"/>
                  </a:lnTo>
                  <a:lnTo>
                    <a:pt x="531" y="110"/>
                  </a:lnTo>
                  <a:lnTo>
                    <a:pt x="533" y="111"/>
                  </a:lnTo>
                  <a:lnTo>
                    <a:pt x="530" y="112"/>
                  </a:lnTo>
                  <a:lnTo>
                    <a:pt x="530" y="113"/>
                  </a:lnTo>
                  <a:lnTo>
                    <a:pt x="529" y="112"/>
                  </a:lnTo>
                  <a:lnTo>
                    <a:pt x="528" y="115"/>
                  </a:lnTo>
                  <a:lnTo>
                    <a:pt x="527" y="115"/>
                  </a:lnTo>
                  <a:lnTo>
                    <a:pt x="525" y="112"/>
                  </a:lnTo>
                  <a:lnTo>
                    <a:pt x="524" y="112"/>
                  </a:lnTo>
                  <a:lnTo>
                    <a:pt x="524" y="115"/>
                  </a:lnTo>
                  <a:lnTo>
                    <a:pt x="524" y="116"/>
                  </a:lnTo>
                  <a:lnTo>
                    <a:pt x="523" y="116"/>
                  </a:lnTo>
                  <a:lnTo>
                    <a:pt x="522" y="117"/>
                  </a:lnTo>
                  <a:lnTo>
                    <a:pt x="521" y="117"/>
                  </a:lnTo>
                  <a:lnTo>
                    <a:pt x="521" y="118"/>
                  </a:lnTo>
                  <a:lnTo>
                    <a:pt x="519" y="118"/>
                  </a:lnTo>
                  <a:lnTo>
                    <a:pt x="518" y="117"/>
                  </a:lnTo>
                  <a:lnTo>
                    <a:pt x="517" y="118"/>
                  </a:lnTo>
                  <a:lnTo>
                    <a:pt x="516" y="117"/>
                  </a:lnTo>
                  <a:lnTo>
                    <a:pt x="515" y="117"/>
                  </a:lnTo>
                  <a:lnTo>
                    <a:pt x="515" y="119"/>
                  </a:lnTo>
                  <a:lnTo>
                    <a:pt x="513" y="122"/>
                  </a:lnTo>
                  <a:lnTo>
                    <a:pt x="513" y="124"/>
                  </a:lnTo>
                  <a:lnTo>
                    <a:pt x="515" y="123"/>
                  </a:lnTo>
                  <a:lnTo>
                    <a:pt x="516" y="122"/>
                  </a:lnTo>
                  <a:lnTo>
                    <a:pt x="517" y="123"/>
                  </a:lnTo>
                  <a:lnTo>
                    <a:pt x="519" y="123"/>
                  </a:lnTo>
                  <a:lnTo>
                    <a:pt x="521" y="123"/>
                  </a:lnTo>
                  <a:lnTo>
                    <a:pt x="521" y="121"/>
                  </a:lnTo>
                  <a:lnTo>
                    <a:pt x="522" y="121"/>
                  </a:lnTo>
                  <a:lnTo>
                    <a:pt x="523" y="123"/>
                  </a:lnTo>
                  <a:lnTo>
                    <a:pt x="523" y="125"/>
                  </a:lnTo>
                  <a:lnTo>
                    <a:pt x="524" y="125"/>
                  </a:lnTo>
                  <a:lnTo>
                    <a:pt x="525" y="127"/>
                  </a:lnTo>
                  <a:lnTo>
                    <a:pt x="525" y="128"/>
                  </a:lnTo>
                  <a:lnTo>
                    <a:pt x="527" y="130"/>
                  </a:lnTo>
                  <a:lnTo>
                    <a:pt x="528" y="130"/>
                  </a:lnTo>
                  <a:lnTo>
                    <a:pt x="529" y="130"/>
                  </a:lnTo>
                  <a:lnTo>
                    <a:pt x="531" y="129"/>
                  </a:lnTo>
                  <a:lnTo>
                    <a:pt x="533" y="129"/>
                  </a:lnTo>
                  <a:lnTo>
                    <a:pt x="531" y="130"/>
                  </a:lnTo>
                  <a:lnTo>
                    <a:pt x="530" y="133"/>
                  </a:lnTo>
                  <a:lnTo>
                    <a:pt x="529" y="133"/>
                  </a:lnTo>
                  <a:lnTo>
                    <a:pt x="528" y="134"/>
                  </a:lnTo>
                  <a:lnTo>
                    <a:pt x="530" y="134"/>
                  </a:lnTo>
                  <a:lnTo>
                    <a:pt x="528" y="135"/>
                  </a:lnTo>
                  <a:lnTo>
                    <a:pt x="528" y="136"/>
                  </a:lnTo>
                  <a:lnTo>
                    <a:pt x="528" y="137"/>
                  </a:lnTo>
                  <a:lnTo>
                    <a:pt x="525" y="140"/>
                  </a:lnTo>
                  <a:lnTo>
                    <a:pt x="527" y="140"/>
                  </a:lnTo>
                  <a:lnTo>
                    <a:pt x="525" y="141"/>
                  </a:lnTo>
                  <a:lnTo>
                    <a:pt x="527" y="143"/>
                  </a:lnTo>
                  <a:lnTo>
                    <a:pt x="528" y="146"/>
                  </a:lnTo>
                  <a:lnTo>
                    <a:pt x="529" y="145"/>
                  </a:lnTo>
                  <a:lnTo>
                    <a:pt x="529" y="142"/>
                  </a:lnTo>
                  <a:lnTo>
                    <a:pt x="529" y="141"/>
                  </a:lnTo>
                  <a:lnTo>
                    <a:pt x="529" y="140"/>
                  </a:lnTo>
                  <a:lnTo>
                    <a:pt x="530" y="140"/>
                  </a:lnTo>
                  <a:lnTo>
                    <a:pt x="533" y="140"/>
                  </a:lnTo>
                  <a:lnTo>
                    <a:pt x="533" y="139"/>
                  </a:lnTo>
                  <a:lnTo>
                    <a:pt x="534" y="140"/>
                  </a:lnTo>
                  <a:lnTo>
                    <a:pt x="534" y="142"/>
                  </a:lnTo>
                  <a:lnTo>
                    <a:pt x="535" y="142"/>
                  </a:lnTo>
                  <a:lnTo>
                    <a:pt x="536" y="142"/>
                  </a:lnTo>
                  <a:lnTo>
                    <a:pt x="537" y="142"/>
                  </a:lnTo>
                  <a:lnTo>
                    <a:pt x="540" y="145"/>
                  </a:lnTo>
                  <a:lnTo>
                    <a:pt x="540" y="143"/>
                  </a:lnTo>
                  <a:lnTo>
                    <a:pt x="541" y="143"/>
                  </a:lnTo>
                  <a:lnTo>
                    <a:pt x="540" y="146"/>
                  </a:lnTo>
                  <a:lnTo>
                    <a:pt x="541" y="146"/>
                  </a:lnTo>
                  <a:lnTo>
                    <a:pt x="541" y="147"/>
                  </a:lnTo>
                  <a:lnTo>
                    <a:pt x="541" y="148"/>
                  </a:lnTo>
                  <a:lnTo>
                    <a:pt x="541" y="150"/>
                  </a:lnTo>
                  <a:lnTo>
                    <a:pt x="539" y="150"/>
                  </a:lnTo>
                  <a:lnTo>
                    <a:pt x="537" y="150"/>
                  </a:lnTo>
                  <a:lnTo>
                    <a:pt x="537" y="151"/>
                  </a:lnTo>
                  <a:lnTo>
                    <a:pt x="537" y="152"/>
                  </a:lnTo>
                  <a:lnTo>
                    <a:pt x="539" y="152"/>
                  </a:lnTo>
                  <a:lnTo>
                    <a:pt x="540" y="153"/>
                  </a:lnTo>
                  <a:lnTo>
                    <a:pt x="539" y="153"/>
                  </a:lnTo>
                  <a:lnTo>
                    <a:pt x="537" y="153"/>
                  </a:lnTo>
                  <a:lnTo>
                    <a:pt x="536" y="153"/>
                  </a:lnTo>
                  <a:lnTo>
                    <a:pt x="537" y="154"/>
                  </a:lnTo>
                  <a:lnTo>
                    <a:pt x="537" y="156"/>
                  </a:lnTo>
                  <a:lnTo>
                    <a:pt x="537" y="158"/>
                  </a:lnTo>
                  <a:lnTo>
                    <a:pt x="536" y="159"/>
                  </a:lnTo>
                  <a:lnTo>
                    <a:pt x="537" y="160"/>
                  </a:lnTo>
                  <a:lnTo>
                    <a:pt x="539" y="162"/>
                  </a:lnTo>
                  <a:lnTo>
                    <a:pt x="539" y="159"/>
                  </a:lnTo>
                  <a:lnTo>
                    <a:pt x="540" y="157"/>
                  </a:lnTo>
                  <a:lnTo>
                    <a:pt x="540" y="158"/>
                  </a:lnTo>
                  <a:lnTo>
                    <a:pt x="541" y="159"/>
                  </a:lnTo>
                  <a:lnTo>
                    <a:pt x="542" y="160"/>
                  </a:lnTo>
                  <a:lnTo>
                    <a:pt x="543" y="163"/>
                  </a:lnTo>
                  <a:lnTo>
                    <a:pt x="542" y="163"/>
                  </a:lnTo>
                  <a:lnTo>
                    <a:pt x="541" y="163"/>
                  </a:lnTo>
                  <a:lnTo>
                    <a:pt x="540" y="164"/>
                  </a:lnTo>
                  <a:lnTo>
                    <a:pt x="539" y="166"/>
                  </a:lnTo>
                  <a:lnTo>
                    <a:pt x="539" y="168"/>
                  </a:lnTo>
                  <a:lnTo>
                    <a:pt x="540" y="169"/>
                  </a:lnTo>
                  <a:lnTo>
                    <a:pt x="541" y="166"/>
                  </a:lnTo>
                  <a:lnTo>
                    <a:pt x="541" y="168"/>
                  </a:lnTo>
                  <a:lnTo>
                    <a:pt x="542" y="166"/>
                  </a:lnTo>
                  <a:lnTo>
                    <a:pt x="543" y="166"/>
                  </a:lnTo>
                  <a:lnTo>
                    <a:pt x="545" y="166"/>
                  </a:lnTo>
                  <a:lnTo>
                    <a:pt x="546" y="165"/>
                  </a:lnTo>
                  <a:lnTo>
                    <a:pt x="547" y="165"/>
                  </a:lnTo>
                  <a:lnTo>
                    <a:pt x="549" y="164"/>
                  </a:lnTo>
                  <a:lnTo>
                    <a:pt x="549" y="163"/>
                  </a:lnTo>
                  <a:lnTo>
                    <a:pt x="548" y="162"/>
                  </a:lnTo>
                  <a:lnTo>
                    <a:pt x="548" y="160"/>
                  </a:lnTo>
                  <a:lnTo>
                    <a:pt x="551" y="162"/>
                  </a:lnTo>
                  <a:lnTo>
                    <a:pt x="552" y="162"/>
                  </a:lnTo>
                  <a:lnTo>
                    <a:pt x="556" y="160"/>
                  </a:lnTo>
                  <a:lnTo>
                    <a:pt x="553" y="163"/>
                  </a:lnTo>
                  <a:lnTo>
                    <a:pt x="552" y="164"/>
                  </a:lnTo>
                  <a:lnTo>
                    <a:pt x="552" y="165"/>
                  </a:lnTo>
                  <a:lnTo>
                    <a:pt x="553" y="165"/>
                  </a:lnTo>
                  <a:lnTo>
                    <a:pt x="554" y="166"/>
                  </a:lnTo>
                  <a:lnTo>
                    <a:pt x="556" y="165"/>
                  </a:lnTo>
                  <a:lnTo>
                    <a:pt x="556" y="166"/>
                  </a:lnTo>
                  <a:lnTo>
                    <a:pt x="557" y="166"/>
                  </a:lnTo>
                  <a:lnTo>
                    <a:pt x="560" y="166"/>
                  </a:lnTo>
                  <a:lnTo>
                    <a:pt x="560" y="168"/>
                  </a:lnTo>
                  <a:lnTo>
                    <a:pt x="559" y="168"/>
                  </a:lnTo>
                  <a:lnTo>
                    <a:pt x="557" y="168"/>
                  </a:lnTo>
                  <a:lnTo>
                    <a:pt x="554" y="168"/>
                  </a:lnTo>
                  <a:lnTo>
                    <a:pt x="554" y="169"/>
                  </a:lnTo>
                  <a:lnTo>
                    <a:pt x="556" y="169"/>
                  </a:lnTo>
                  <a:lnTo>
                    <a:pt x="557" y="170"/>
                  </a:lnTo>
                  <a:lnTo>
                    <a:pt x="558" y="171"/>
                  </a:lnTo>
                  <a:lnTo>
                    <a:pt x="557" y="171"/>
                  </a:lnTo>
                  <a:lnTo>
                    <a:pt x="556" y="171"/>
                  </a:lnTo>
                  <a:lnTo>
                    <a:pt x="554" y="172"/>
                  </a:lnTo>
                  <a:lnTo>
                    <a:pt x="553" y="174"/>
                  </a:lnTo>
                  <a:lnTo>
                    <a:pt x="551" y="174"/>
                  </a:lnTo>
                  <a:lnTo>
                    <a:pt x="551" y="176"/>
                  </a:lnTo>
                  <a:lnTo>
                    <a:pt x="551" y="177"/>
                  </a:lnTo>
                  <a:lnTo>
                    <a:pt x="551" y="178"/>
                  </a:lnTo>
                  <a:lnTo>
                    <a:pt x="549" y="177"/>
                  </a:lnTo>
                  <a:lnTo>
                    <a:pt x="546" y="176"/>
                  </a:lnTo>
                  <a:lnTo>
                    <a:pt x="543" y="177"/>
                  </a:lnTo>
                  <a:lnTo>
                    <a:pt x="543" y="178"/>
                  </a:lnTo>
                  <a:lnTo>
                    <a:pt x="547" y="180"/>
                  </a:lnTo>
                  <a:lnTo>
                    <a:pt x="551" y="180"/>
                  </a:lnTo>
                  <a:lnTo>
                    <a:pt x="554" y="177"/>
                  </a:lnTo>
                  <a:lnTo>
                    <a:pt x="554" y="178"/>
                  </a:lnTo>
                  <a:lnTo>
                    <a:pt x="556" y="177"/>
                  </a:lnTo>
                  <a:lnTo>
                    <a:pt x="558" y="177"/>
                  </a:lnTo>
                  <a:lnTo>
                    <a:pt x="557" y="178"/>
                  </a:lnTo>
                  <a:lnTo>
                    <a:pt x="558" y="181"/>
                  </a:lnTo>
                  <a:lnTo>
                    <a:pt x="559" y="181"/>
                  </a:lnTo>
                  <a:lnTo>
                    <a:pt x="559" y="183"/>
                  </a:lnTo>
                  <a:lnTo>
                    <a:pt x="557" y="183"/>
                  </a:lnTo>
                  <a:lnTo>
                    <a:pt x="556" y="182"/>
                  </a:lnTo>
                  <a:lnTo>
                    <a:pt x="554" y="183"/>
                  </a:lnTo>
                  <a:lnTo>
                    <a:pt x="554" y="184"/>
                  </a:lnTo>
                  <a:lnTo>
                    <a:pt x="553" y="184"/>
                  </a:lnTo>
                  <a:lnTo>
                    <a:pt x="552" y="183"/>
                  </a:lnTo>
                  <a:lnTo>
                    <a:pt x="552" y="181"/>
                  </a:lnTo>
                  <a:lnTo>
                    <a:pt x="551" y="181"/>
                  </a:lnTo>
                  <a:lnTo>
                    <a:pt x="547" y="181"/>
                  </a:lnTo>
                  <a:lnTo>
                    <a:pt x="545" y="181"/>
                  </a:lnTo>
                  <a:lnTo>
                    <a:pt x="545" y="182"/>
                  </a:lnTo>
                  <a:lnTo>
                    <a:pt x="546" y="182"/>
                  </a:lnTo>
                  <a:lnTo>
                    <a:pt x="547" y="182"/>
                  </a:lnTo>
                  <a:lnTo>
                    <a:pt x="547" y="184"/>
                  </a:lnTo>
                  <a:lnTo>
                    <a:pt x="548" y="184"/>
                  </a:lnTo>
                  <a:lnTo>
                    <a:pt x="548" y="186"/>
                  </a:lnTo>
                  <a:lnTo>
                    <a:pt x="547" y="187"/>
                  </a:lnTo>
                  <a:lnTo>
                    <a:pt x="547" y="189"/>
                  </a:lnTo>
                  <a:lnTo>
                    <a:pt x="546" y="189"/>
                  </a:lnTo>
                  <a:lnTo>
                    <a:pt x="545" y="190"/>
                  </a:lnTo>
                  <a:lnTo>
                    <a:pt x="546" y="190"/>
                  </a:lnTo>
                  <a:lnTo>
                    <a:pt x="548" y="189"/>
                  </a:lnTo>
                  <a:lnTo>
                    <a:pt x="547" y="192"/>
                  </a:lnTo>
                  <a:lnTo>
                    <a:pt x="547" y="194"/>
                  </a:lnTo>
                  <a:lnTo>
                    <a:pt x="548" y="194"/>
                  </a:lnTo>
                  <a:lnTo>
                    <a:pt x="547" y="195"/>
                  </a:lnTo>
                  <a:lnTo>
                    <a:pt x="548" y="196"/>
                  </a:lnTo>
                  <a:lnTo>
                    <a:pt x="549" y="196"/>
                  </a:lnTo>
                  <a:lnTo>
                    <a:pt x="547" y="198"/>
                  </a:lnTo>
                  <a:lnTo>
                    <a:pt x="547" y="200"/>
                  </a:lnTo>
                  <a:lnTo>
                    <a:pt x="548" y="201"/>
                  </a:lnTo>
                  <a:lnTo>
                    <a:pt x="551" y="201"/>
                  </a:lnTo>
                  <a:lnTo>
                    <a:pt x="551" y="202"/>
                  </a:lnTo>
                  <a:lnTo>
                    <a:pt x="549" y="204"/>
                  </a:lnTo>
                  <a:lnTo>
                    <a:pt x="548" y="202"/>
                  </a:lnTo>
                  <a:lnTo>
                    <a:pt x="546" y="202"/>
                  </a:lnTo>
                  <a:lnTo>
                    <a:pt x="547" y="204"/>
                  </a:lnTo>
                  <a:lnTo>
                    <a:pt x="547" y="205"/>
                  </a:lnTo>
                  <a:lnTo>
                    <a:pt x="548" y="205"/>
                  </a:lnTo>
                  <a:lnTo>
                    <a:pt x="548" y="207"/>
                  </a:lnTo>
                  <a:lnTo>
                    <a:pt x="547" y="207"/>
                  </a:lnTo>
                  <a:lnTo>
                    <a:pt x="547" y="208"/>
                  </a:lnTo>
                  <a:lnTo>
                    <a:pt x="546" y="207"/>
                  </a:lnTo>
                  <a:lnTo>
                    <a:pt x="546" y="205"/>
                  </a:lnTo>
                  <a:lnTo>
                    <a:pt x="545" y="205"/>
                  </a:lnTo>
                  <a:lnTo>
                    <a:pt x="543" y="205"/>
                  </a:lnTo>
                  <a:lnTo>
                    <a:pt x="542" y="205"/>
                  </a:lnTo>
                  <a:lnTo>
                    <a:pt x="541" y="205"/>
                  </a:lnTo>
                  <a:lnTo>
                    <a:pt x="540" y="204"/>
                  </a:lnTo>
                  <a:lnTo>
                    <a:pt x="537" y="204"/>
                  </a:lnTo>
                  <a:lnTo>
                    <a:pt x="536" y="204"/>
                  </a:lnTo>
                  <a:lnTo>
                    <a:pt x="536" y="205"/>
                  </a:lnTo>
                  <a:lnTo>
                    <a:pt x="537" y="206"/>
                  </a:lnTo>
                  <a:lnTo>
                    <a:pt x="537" y="205"/>
                  </a:lnTo>
                  <a:lnTo>
                    <a:pt x="539" y="205"/>
                  </a:lnTo>
                  <a:lnTo>
                    <a:pt x="539" y="207"/>
                  </a:lnTo>
                  <a:lnTo>
                    <a:pt x="540" y="207"/>
                  </a:lnTo>
                  <a:lnTo>
                    <a:pt x="539" y="208"/>
                  </a:lnTo>
                  <a:lnTo>
                    <a:pt x="540" y="210"/>
                  </a:lnTo>
                  <a:lnTo>
                    <a:pt x="541" y="208"/>
                  </a:lnTo>
                  <a:lnTo>
                    <a:pt x="541" y="210"/>
                  </a:lnTo>
                  <a:lnTo>
                    <a:pt x="541" y="211"/>
                  </a:lnTo>
                  <a:lnTo>
                    <a:pt x="541" y="212"/>
                  </a:lnTo>
                  <a:lnTo>
                    <a:pt x="540" y="217"/>
                  </a:lnTo>
                  <a:lnTo>
                    <a:pt x="543" y="217"/>
                  </a:lnTo>
                  <a:lnTo>
                    <a:pt x="543" y="219"/>
                  </a:lnTo>
                  <a:lnTo>
                    <a:pt x="546" y="219"/>
                  </a:lnTo>
                  <a:lnTo>
                    <a:pt x="547" y="220"/>
                  </a:lnTo>
                  <a:lnTo>
                    <a:pt x="548" y="220"/>
                  </a:lnTo>
                  <a:lnTo>
                    <a:pt x="549" y="219"/>
                  </a:lnTo>
                  <a:lnTo>
                    <a:pt x="549" y="220"/>
                  </a:lnTo>
                  <a:lnTo>
                    <a:pt x="549" y="222"/>
                  </a:lnTo>
                  <a:lnTo>
                    <a:pt x="552" y="222"/>
                  </a:lnTo>
                  <a:lnTo>
                    <a:pt x="553" y="220"/>
                  </a:lnTo>
                  <a:lnTo>
                    <a:pt x="554" y="219"/>
                  </a:lnTo>
                  <a:lnTo>
                    <a:pt x="556" y="220"/>
                  </a:lnTo>
                  <a:lnTo>
                    <a:pt x="556" y="222"/>
                  </a:lnTo>
                  <a:lnTo>
                    <a:pt x="553" y="223"/>
                  </a:lnTo>
                  <a:lnTo>
                    <a:pt x="554" y="224"/>
                  </a:lnTo>
                  <a:lnTo>
                    <a:pt x="557" y="224"/>
                  </a:lnTo>
                  <a:lnTo>
                    <a:pt x="557" y="226"/>
                  </a:lnTo>
                  <a:lnTo>
                    <a:pt x="558" y="228"/>
                  </a:lnTo>
                  <a:lnTo>
                    <a:pt x="559" y="226"/>
                  </a:lnTo>
                  <a:lnTo>
                    <a:pt x="560" y="226"/>
                  </a:lnTo>
                  <a:lnTo>
                    <a:pt x="562" y="226"/>
                  </a:lnTo>
                  <a:lnTo>
                    <a:pt x="562" y="225"/>
                  </a:lnTo>
                  <a:lnTo>
                    <a:pt x="563" y="224"/>
                  </a:lnTo>
                  <a:lnTo>
                    <a:pt x="563" y="225"/>
                  </a:lnTo>
                  <a:lnTo>
                    <a:pt x="563" y="226"/>
                  </a:lnTo>
                  <a:lnTo>
                    <a:pt x="564" y="226"/>
                  </a:lnTo>
                  <a:lnTo>
                    <a:pt x="565" y="226"/>
                  </a:lnTo>
                  <a:lnTo>
                    <a:pt x="566" y="225"/>
                  </a:lnTo>
                  <a:lnTo>
                    <a:pt x="566" y="224"/>
                  </a:lnTo>
                  <a:lnTo>
                    <a:pt x="568" y="223"/>
                  </a:lnTo>
                  <a:lnTo>
                    <a:pt x="569" y="224"/>
                  </a:lnTo>
                  <a:lnTo>
                    <a:pt x="569" y="225"/>
                  </a:lnTo>
                  <a:lnTo>
                    <a:pt x="568" y="230"/>
                  </a:lnTo>
                  <a:lnTo>
                    <a:pt x="566" y="230"/>
                  </a:lnTo>
                  <a:lnTo>
                    <a:pt x="565" y="231"/>
                  </a:lnTo>
                  <a:lnTo>
                    <a:pt x="565" y="232"/>
                  </a:lnTo>
                  <a:lnTo>
                    <a:pt x="564" y="231"/>
                  </a:lnTo>
                  <a:lnTo>
                    <a:pt x="563" y="231"/>
                  </a:lnTo>
                  <a:lnTo>
                    <a:pt x="564" y="234"/>
                  </a:lnTo>
                  <a:lnTo>
                    <a:pt x="563" y="234"/>
                  </a:lnTo>
                  <a:lnTo>
                    <a:pt x="562" y="234"/>
                  </a:lnTo>
                  <a:lnTo>
                    <a:pt x="558" y="235"/>
                  </a:lnTo>
                  <a:lnTo>
                    <a:pt x="557" y="235"/>
                  </a:lnTo>
                  <a:lnTo>
                    <a:pt x="556" y="236"/>
                  </a:lnTo>
                  <a:lnTo>
                    <a:pt x="554" y="236"/>
                  </a:lnTo>
                  <a:lnTo>
                    <a:pt x="553" y="238"/>
                  </a:lnTo>
                  <a:lnTo>
                    <a:pt x="552" y="238"/>
                  </a:lnTo>
                  <a:lnTo>
                    <a:pt x="549" y="238"/>
                  </a:lnTo>
                  <a:lnTo>
                    <a:pt x="551" y="240"/>
                  </a:lnTo>
                  <a:lnTo>
                    <a:pt x="552" y="241"/>
                  </a:lnTo>
                  <a:lnTo>
                    <a:pt x="552" y="242"/>
                  </a:lnTo>
                  <a:lnTo>
                    <a:pt x="554" y="241"/>
                  </a:lnTo>
                  <a:lnTo>
                    <a:pt x="554" y="242"/>
                  </a:lnTo>
                  <a:lnTo>
                    <a:pt x="557" y="242"/>
                  </a:lnTo>
                  <a:lnTo>
                    <a:pt x="557" y="240"/>
                  </a:lnTo>
                  <a:lnTo>
                    <a:pt x="559" y="241"/>
                  </a:lnTo>
                  <a:lnTo>
                    <a:pt x="563" y="240"/>
                  </a:lnTo>
                  <a:lnTo>
                    <a:pt x="564" y="238"/>
                  </a:lnTo>
                  <a:lnTo>
                    <a:pt x="564" y="237"/>
                  </a:lnTo>
                  <a:lnTo>
                    <a:pt x="564" y="236"/>
                  </a:lnTo>
                  <a:lnTo>
                    <a:pt x="564" y="235"/>
                  </a:lnTo>
                  <a:lnTo>
                    <a:pt x="566" y="235"/>
                  </a:lnTo>
                  <a:lnTo>
                    <a:pt x="568" y="234"/>
                  </a:lnTo>
                  <a:lnTo>
                    <a:pt x="570" y="236"/>
                  </a:lnTo>
                  <a:lnTo>
                    <a:pt x="571" y="235"/>
                  </a:lnTo>
                  <a:lnTo>
                    <a:pt x="572" y="235"/>
                  </a:lnTo>
                  <a:lnTo>
                    <a:pt x="574" y="232"/>
                  </a:lnTo>
                  <a:lnTo>
                    <a:pt x="574" y="235"/>
                  </a:lnTo>
                  <a:lnTo>
                    <a:pt x="575" y="235"/>
                  </a:lnTo>
                  <a:lnTo>
                    <a:pt x="576" y="235"/>
                  </a:lnTo>
                  <a:lnTo>
                    <a:pt x="578" y="235"/>
                  </a:lnTo>
                  <a:lnTo>
                    <a:pt x="577" y="235"/>
                  </a:lnTo>
                  <a:lnTo>
                    <a:pt x="575" y="236"/>
                  </a:lnTo>
                  <a:lnTo>
                    <a:pt x="572" y="237"/>
                  </a:lnTo>
                  <a:lnTo>
                    <a:pt x="574" y="237"/>
                  </a:lnTo>
                  <a:lnTo>
                    <a:pt x="574" y="238"/>
                  </a:lnTo>
                  <a:lnTo>
                    <a:pt x="576" y="241"/>
                  </a:lnTo>
                  <a:lnTo>
                    <a:pt x="574" y="241"/>
                  </a:lnTo>
                  <a:lnTo>
                    <a:pt x="572" y="241"/>
                  </a:lnTo>
                  <a:lnTo>
                    <a:pt x="571" y="241"/>
                  </a:lnTo>
                  <a:lnTo>
                    <a:pt x="569" y="240"/>
                  </a:lnTo>
                  <a:lnTo>
                    <a:pt x="570" y="241"/>
                  </a:lnTo>
                  <a:lnTo>
                    <a:pt x="571" y="242"/>
                  </a:lnTo>
                  <a:lnTo>
                    <a:pt x="572" y="244"/>
                  </a:lnTo>
                  <a:lnTo>
                    <a:pt x="574" y="246"/>
                  </a:lnTo>
                  <a:lnTo>
                    <a:pt x="571" y="248"/>
                  </a:lnTo>
                  <a:lnTo>
                    <a:pt x="575" y="247"/>
                  </a:lnTo>
                  <a:lnTo>
                    <a:pt x="576" y="246"/>
                  </a:lnTo>
                  <a:lnTo>
                    <a:pt x="577" y="247"/>
                  </a:lnTo>
                  <a:lnTo>
                    <a:pt x="578" y="249"/>
                  </a:lnTo>
                  <a:lnTo>
                    <a:pt x="578" y="250"/>
                  </a:lnTo>
                  <a:lnTo>
                    <a:pt x="576" y="249"/>
                  </a:lnTo>
                  <a:lnTo>
                    <a:pt x="575" y="248"/>
                  </a:lnTo>
                  <a:lnTo>
                    <a:pt x="574" y="248"/>
                  </a:lnTo>
                  <a:lnTo>
                    <a:pt x="575" y="250"/>
                  </a:lnTo>
                  <a:lnTo>
                    <a:pt x="576" y="252"/>
                  </a:lnTo>
                  <a:lnTo>
                    <a:pt x="574" y="250"/>
                  </a:lnTo>
                  <a:lnTo>
                    <a:pt x="572" y="250"/>
                  </a:lnTo>
                  <a:lnTo>
                    <a:pt x="572" y="252"/>
                  </a:lnTo>
                  <a:lnTo>
                    <a:pt x="574" y="254"/>
                  </a:lnTo>
                  <a:lnTo>
                    <a:pt x="571" y="254"/>
                  </a:lnTo>
                  <a:lnTo>
                    <a:pt x="572" y="255"/>
                  </a:lnTo>
                  <a:lnTo>
                    <a:pt x="571" y="257"/>
                  </a:lnTo>
                  <a:lnTo>
                    <a:pt x="570" y="257"/>
                  </a:lnTo>
                  <a:lnTo>
                    <a:pt x="571" y="259"/>
                  </a:lnTo>
                  <a:lnTo>
                    <a:pt x="569" y="260"/>
                  </a:lnTo>
                  <a:lnTo>
                    <a:pt x="570" y="261"/>
                  </a:lnTo>
                  <a:lnTo>
                    <a:pt x="571" y="261"/>
                  </a:lnTo>
                  <a:lnTo>
                    <a:pt x="574" y="261"/>
                  </a:lnTo>
                  <a:lnTo>
                    <a:pt x="575" y="263"/>
                  </a:lnTo>
                  <a:lnTo>
                    <a:pt x="577" y="264"/>
                  </a:lnTo>
                  <a:lnTo>
                    <a:pt x="578" y="264"/>
                  </a:lnTo>
                  <a:lnTo>
                    <a:pt x="581" y="265"/>
                  </a:lnTo>
                  <a:lnTo>
                    <a:pt x="583" y="265"/>
                  </a:lnTo>
                  <a:lnTo>
                    <a:pt x="584" y="265"/>
                  </a:lnTo>
                  <a:lnTo>
                    <a:pt x="586" y="267"/>
                  </a:lnTo>
                  <a:lnTo>
                    <a:pt x="588" y="267"/>
                  </a:lnTo>
                  <a:lnTo>
                    <a:pt x="586" y="269"/>
                  </a:lnTo>
                  <a:lnTo>
                    <a:pt x="584" y="269"/>
                  </a:lnTo>
                  <a:lnTo>
                    <a:pt x="584" y="270"/>
                  </a:lnTo>
                  <a:lnTo>
                    <a:pt x="584" y="271"/>
                  </a:lnTo>
                  <a:lnTo>
                    <a:pt x="584" y="272"/>
                  </a:lnTo>
                  <a:lnTo>
                    <a:pt x="586" y="275"/>
                  </a:lnTo>
                  <a:lnTo>
                    <a:pt x="584" y="273"/>
                  </a:lnTo>
                  <a:lnTo>
                    <a:pt x="584" y="275"/>
                  </a:lnTo>
                  <a:lnTo>
                    <a:pt x="584" y="276"/>
                  </a:lnTo>
                  <a:lnTo>
                    <a:pt x="583" y="277"/>
                  </a:lnTo>
                  <a:lnTo>
                    <a:pt x="581" y="278"/>
                  </a:lnTo>
                  <a:lnTo>
                    <a:pt x="581" y="279"/>
                  </a:lnTo>
                  <a:lnTo>
                    <a:pt x="583" y="279"/>
                  </a:lnTo>
                  <a:lnTo>
                    <a:pt x="583" y="278"/>
                  </a:lnTo>
                  <a:lnTo>
                    <a:pt x="584" y="278"/>
                  </a:lnTo>
                  <a:lnTo>
                    <a:pt x="584" y="281"/>
                  </a:lnTo>
                  <a:lnTo>
                    <a:pt x="583" y="282"/>
                  </a:lnTo>
                  <a:lnTo>
                    <a:pt x="583" y="283"/>
                  </a:lnTo>
                  <a:lnTo>
                    <a:pt x="584" y="284"/>
                  </a:lnTo>
                  <a:lnTo>
                    <a:pt x="584" y="285"/>
                  </a:lnTo>
                  <a:lnTo>
                    <a:pt x="583" y="287"/>
                  </a:lnTo>
                  <a:lnTo>
                    <a:pt x="582" y="284"/>
                  </a:lnTo>
                  <a:lnTo>
                    <a:pt x="581" y="285"/>
                  </a:lnTo>
                  <a:lnTo>
                    <a:pt x="581" y="287"/>
                  </a:lnTo>
                  <a:lnTo>
                    <a:pt x="580" y="285"/>
                  </a:lnTo>
                  <a:lnTo>
                    <a:pt x="578" y="285"/>
                  </a:lnTo>
                  <a:lnTo>
                    <a:pt x="578" y="287"/>
                  </a:lnTo>
                  <a:lnTo>
                    <a:pt x="578" y="288"/>
                  </a:lnTo>
                  <a:lnTo>
                    <a:pt x="581" y="288"/>
                  </a:lnTo>
                  <a:lnTo>
                    <a:pt x="582" y="288"/>
                  </a:lnTo>
                  <a:lnTo>
                    <a:pt x="584" y="289"/>
                  </a:lnTo>
                  <a:lnTo>
                    <a:pt x="586" y="288"/>
                  </a:lnTo>
                  <a:lnTo>
                    <a:pt x="587" y="287"/>
                  </a:lnTo>
                  <a:lnTo>
                    <a:pt x="586" y="285"/>
                  </a:lnTo>
                  <a:lnTo>
                    <a:pt x="587" y="284"/>
                  </a:lnTo>
                  <a:lnTo>
                    <a:pt x="588" y="284"/>
                  </a:lnTo>
                  <a:lnTo>
                    <a:pt x="590" y="284"/>
                  </a:lnTo>
                  <a:lnTo>
                    <a:pt x="589" y="281"/>
                  </a:lnTo>
                  <a:lnTo>
                    <a:pt x="589" y="278"/>
                  </a:lnTo>
                  <a:lnTo>
                    <a:pt x="589" y="277"/>
                  </a:lnTo>
                  <a:lnTo>
                    <a:pt x="590" y="277"/>
                  </a:lnTo>
                  <a:lnTo>
                    <a:pt x="592" y="277"/>
                  </a:lnTo>
                  <a:lnTo>
                    <a:pt x="593" y="278"/>
                  </a:lnTo>
                  <a:lnTo>
                    <a:pt x="592" y="279"/>
                  </a:lnTo>
                  <a:lnTo>
                    <a:pt x="590" y="281"/>
                  </a:lnTo>
                  <a:lnTo>
                    <a:pt x="590" y="283"/>
                  </a:lnTo>
                  <a:lnTo>
                    <a:pt x="592" y="284"/>
                  </a:lnTo>
                  <a:lnTo>
                    <a:pt x="593" y="284"/>
                  </a:lnTo>
                  <a:lnTo>
                    <a:pt x="594" y="284"/>
                  </a:lnTo>
                  <a:lnTo>
                    <a:pt x="595" y="284"/>
                  </a:lnTo>
                  <a:lnTo>
                    <a:pt x="596" y="285"/>
                  </a:lnTo>
                  <a:lnTo>
                    <a:pt x="596" y="287"/>
                  </a:lnTo>
                  <a:lnTo>
                    <a:pt x="598" y="287"/>
                  </a:lnTo>
                  <a:lnTo>
                    <a:pt x="601" y="288"/>
                  </a:lnTo>
                  <a:lnTo>
                    <a:pt x="602" y="288"/>
                  </a:lnTo>
                  <a:lnTo>
                    <a:pt x="601" y="288"/>
                  </a:lnTo>
                  <a:lnTo>
                    <a:pt x="595" y="288"/>
                  </a:lnTo>
                  <a:lnTo>
                    <a:pt x="595" y="289"/>
                  </a:lnTo>
                  <a:lnTo>
                    <a:pt x="598" y="288"/>
                  </a:lnTo>
                  <a:lnTo>
                    <a:pt x="598" y="289"/>
                  </a:lnTo>
                  <a:lnTo>
                    <a:pt x="599" y="289"/>
                  </a:lnTo>
                  <a:lnTo>
                    <a:pt x="600" y="289"/>
                  </a:lnTo>
                  <a:lnTo>
                    <a:pt x="600" y="290"/>
                  </a:lnTo>
                  <a:lnTo>
                    <a:pt x="599" y="290"/>
                  </a:lnTo>
                  <a:lnTo>
                    <a:pt x="600" y="291"/>
                  </a:lnTo>
                  <a:lnTo>
                    <a:pt x="596" y="290"/>
                  </a:lnTo>
                  <a:lnTo>
                    <a:pt x="595" y="290"/>
                  </a:lnTo>
                  <a:lnTo>
                    <a:pt x="596" y="291"/>
                  </a:lnTo>
                  <a:lnTo>
                    <a:pt x="596" y="293"/>
                  </a:lnTo>
                  <a:lnTo>
                    <a:pt x="598" y="293"/>
                  </a:lnTo>
                  <a:lnTo>
                    <a:pt x="598" y="294"/>
                  </a:lnTo>
                  <a:lnTo>
                    <a:pt x="600" y="295"/>
                  </a:lnTo>
                  <a:lnTo>
                    <a:pt x="599" y="294"/>
                  </a:lnTo>
                  <a:lnTo>
                    <a:pt x="600" y="294"/>
                  </a:lnTo>
                  <a:lnTo>
                    <a:pt x="602" y="294"/>
                  </a:lnTo>
                  <a:lnTo>
                    <a:pt x="604" y="294"/>
                  </a:lnTo>
                  <a:lnTo>
                    <a:pt x="605" y="294"/>
                  </a:lnTo>
                  <a:lnTo>
                    <a:pt x="607" y="293"/>
                  </a:lnTo>
                  <a:lnTo>
                    <a:pt x="606" y="291"/>
                  </a:lnTo>
                  <a:lnTo>
                    <a:pt x="605" y="290"/>
                  </a:lnTo>
                  <a:lnTo>
                    <a:pt x="604" y="290"/>
                  </a:lnTo>
                  <a:lnTo>
                    <a:pt x="605" y="289"/>
                  </a:lnTo>
                  <a:lnTo>
                    <a:pt x="606" y="290"/>
                  </a:lnTo>
                  <a:lnTo>
                    <a:pt x="607" y="288"/>
                  </a:lnTo>
                  <a:lnTo>
                    <a:pt x="608" y="288"/>
                  </a:lnTo>
                  <a:lnTo>
                    <a:pt x="611" y="289"/>
                  </a:lnTo>
                  <a:lnTo>
                    <a:pt x="613" y="289"/>
                  </a:lnTo>
                  <a:lnTo>
                    <a:pt x="612" y="287"/>
                  </a:lnTo>
                  <a:lnTo>
                    <a:pt x="615" y="287"/>
                  </a:lnTo>
                  <a:lnTo>
                    <a:pt x="615" y="284"/>
                  </a:lnTo>
                  <a:lnTo>
                    <a:pt x="615" y="287"/>
                  </a:lnTo>
                  <a:lnTo>
                    <a:pt x="617" y="285"/>
                  </a:lnTo>
                  <a:lnTo>
                    <a:pt x="617" y="287"/>
                  </a:lnTo>
                  <a:lnTo>
                    <a:pt x="618" y="287"/>
                  </a:lnTo>
                  <a:lnTo>
                    <a:pt x="621" y="288"/>
                  </a:lnTo>
                  <a:lnTo>
                    <a:pt x="621" y="287"/>
                  </a:lnTo>
                  <a:lnTo>
                    <a:pt x="622" y="285"/>
                  </a:lnTo>
                  <a:lnTo>
                    <a:pt x="622" y="284"/>
                  </a:lnTo>
                  <a:lnTo>
                    <a:pt x="621" y="289"/>
                  </a:lnTo>
                  <a:lnTo>
                    <a:pt x="621" y="290"/>
                  </a:lnTo>
                  <a:lnTo>
                    <a:pt x="622" y="290"/>
                  </a:lnTo>
                  <a:lnTo>
                    <a:pt x="623" y="289"/>
                  </a:lnTo>
                  <a:lnTo>
                    <a:pt x="624" y="287"/>
                  </a:lnTo>
                  <a:lnTo>
                    <a:pt x="623" y="284"/>
                  </a:lnTo>
                  <a:lnTo>
                    <a:pt x="624" y="287"/>
                  </a:lnTo>
                  <a:lnTo>
                    <a:pt x="625" y="287"/>
                  </a:lnTo>
                  <a:lnTo>
                    <a:pt x="625" y="285"/>
                  </a:lnTo>
                  <a:lnTo>
                    <a:pt x="627" y="288"/>
                  </a:lnTo>
                  <a:lnTo>
                    <a:pt x="628" y="288"/>
                  </a:lnTo>
                  <a:lnTo>
                    <a:pt x="629" y="288"/>
                  </a:lnTo>
                  <a:lnTo>
                    <a:pt x="629" y="285"/>
                  </a:lnTo>
                  <a:lnTo>
                    <a:pt x="631" y="288"/>
                  </a:lnTo>
                  <a:lnTo>
                    <a:pt x="634" y="288"/>
                  </a:lnTo>
                  <a:lnTo>
                    <a:pt x="635" y="289"/>
                  </a:lnTo>
                  <a:lnTo>
                    <a:pt x="631" y="288"/>
                  </a:lnTo>
                  <a:lnTo>
                    <a:pt x="630" y="290"/>
                  </a:lnTo>
                  <a:lnTo>
                    <a:pt x="633" y="293"/>
                  </a:lnTo>
                  <a:lnTo>
                    <a:pt x="633" y="294"/>
                  </a:lnTo>
                  <a:lnTo>
                    <a:pt x="634" y="294"/>
                  </a:lnTo>
                  <a:lnTo>
                    <a:pt x="634" y="296"/>
                  </a:lnTo>
                  <a:lnTo>
                    <a:pt x="635" y="296"/>
                  </a:lnTo>
                  <a:lnTo>
                    <a:pt x="637" y="297"/>
                  </a:lnTo>
                  <a:lnTo>
                    <a:pt x="639" y="297"/>
                  </a:lnTo>
                  <a:lnTo>
                    <a:pt x="640" y="299"/>
                  </a:lnTo>
                  <a:lnTo>
                    <a:pt x="640" y="300"/>
                  </a:lnTo>
                  <a:lnTo>
                    <a:pt x="641" y="301"/>
                  </a:lnTo>
                  <a:lnTo>
                    <a:pt x="642" y="301"/>
                  </a:lnTo>
                  <a:lnTo>
                    <a:pt x="643" y="303"/>
                  </a:lnTo>
                  <a:lnTo>
                    <a:pt x="642" y="303"/>
                  </a:lnTo>
                  <a:lnTo>
                    <a:pt x="642" y="305"/>
                  </a:lnTo>
                  <a:lnTo>
                    <a:pt x="641" y="305"/>
                  </a:lnTo>
                  <a:lnTo>
                    <a:pt x="640" y="305"/>
                  </a:lnTo>
                  <a:lnTo>
                    <a:pt x="641" y="306"/>
                  </a:lnTo>
                  <a:lnTo>
                    <a:pt x="643" y="309"/>
                  </a:lnTo>
                  <a:lnTo>
                    <a:pt x="643" y="308"/>
                  </a:lnTo>
                  <a:lnTo>
                    <a:pt x="643" y="306"/>
                  </a:lnTo>
                  <a:lnTo>
                    <a:pt x="645" y="307"/>
                  </a:lnTo>
                  <a:lnTo>
                    <a:pt x="646" y="307"/>
                  </a:lnTo>
                  <a:lnTo>
                    <a:pt x="646" y="308"/>
                  </a:lnTo>
                  <a:lnTo>
                    <a:pt x="646" y="309"/>
                  </a:lnTo>
                  <a:lnTo>
                    <a:pt x="646" y="311"/>
                  </a:lnTo>
                  <a:lnTo>
                    <a:pt x="648" y="311"/>
                  </a:lnTo>
                  <a:lnTo>
                    <a:pt x="651" y="313"/>
                  </a:lnTo>
                  <a:lnTo>
                    <a:pt x="652" y="314"/>
                  </a:lnTo>
                  <a:lnTo>
                    <a:pt x="649" y="317"/>
                  </a:lnTo>
                  <a:lnTo>
                    <a:pt x="652" y="318"/>
                  </a:lnTo>
                  <a:lnTo>
                    <a:pt x="649" y="318"/>
                  </a:lnTo>
                  <a:lnTo>
                    <a:pt x="649" y="320"/>
                  </a:lnTo>
                  <a:lnTo>
                    <a:pt x="649" y="321"/>
                  </a:lnTo>
                  <a:lnTo>
                    <a:pt x="648" y="323"/>
                  </a:lnTo>
                  <a:lnTo>
                    <a:pt x="649" y="323"/>
                  </a:lnTo>
                  <a:lnTo>
                    <a:pt x="647" y="323"/>
                  </a:lnTo>
                  <a:lnTo>
                    <a:pt x="647" y="325"/>
                  </a:lnTo>
                  <a:lnTo>
                    <a:pt x="647" y="326"/>
                  </a:lnTo>
                  <a:lnTo>
                    <a:pt x="646" y="327"/>
                  </a:lnTo>
                  <a:lnTo>
                    <a:pt x="648" y="329"/>
                  </a:lnTo>
                  <a:lnTo>
                    <a:pt x="647" y="329"/>
                  </a:lnTo>
                  <a:lnTo>
                    <a:pt x="646" y="329"/>
                  </a:lnTo>
                  <a:lnTo>
                    <a:pt x="646" y="330"/>
                  </a:lnTo>
                  <a:lnTo>
                    <a:pt x="646" y="331"/>
                  </a:lnTo>
                  <a:lnTo>
                    <a:pt x="643" y="331"/>
                  </a:lnTo>
                  <a:lnTo>
                    <a:pt x="643" y="332"/>
                  </a:lnTo>
                  <a:lnTo>
                    <a:pt x="643" y="335"/>
                  </a:lnTo>
                  <a:lnTo>
                    <a:pt x="642" y="335"/>
                  </a:lnTo>
                  <a:lnTo>
                    <a:pt x="641" y="336"/>
                  </a:lnTo>
                  <a:lnTo>
                    <a:pt x="640" y="336"/>
                  </a:lnTo>
                  <a:lnTo>
                    <a:pt x="637" y="336"/>
                  </a:lnTo>
                  <a:lnTo>
                    <a:pt x="637" y="339"/>
                  </a:lnTo>
                  <a:lnTo>
                    <a:pt x="636" y="341"/>
                  </a:lnTo>
                  <a:lnTo>
                    <a:pt x="635" y="341"/>
                  </a:lnTo>
                  <a:lnTo>
                    <a:pt x="634" y="342"/>
                  </a:lnTo>
                  <a:lnTo>
                    <a:pt x="633" y="343"/>
                  </a:lnTo>
                  <a:lnTo>
                    <a:pt x="631" y="344"/>
                  </a:lnTo>
                  <a:lnTo>
                    <a:pt x="633" y="344"/>
                  </a:lnTo>
                  <a:lnTo>
                    <a:pt x="630" y="344"/>
                  </a:lnTo>
                  <a:lnTo>
                    <a:pt x="630" y="347"/>
                  </a:lnTo>
                  <a:lnTo>
                    <a:pt x="629" y="348"/>
                  </a:lnTo>
                  <a:lnTo>
                    <a:pt x="630" y="349"/>
                  </a:lnTo>
                  <a:lnTo>
                    <a:pt x="631" y="349"/>
                  </a:lnTo>
                  <a:lnTo>
                    <a:pt x="633" y="349"/>
                  </a:lnTo>
                  <a:lnTo>
                    <a:pt x="634" y="348"/>
                  </a:lnTo>
                  <a:lnTo>
                    <a:pt x="633" y="347"/>
                  </a:lnTo>
                  <a:lnTo>
                    <a:pt x="634" y="345"/>
                  </a:lnTo>
                  <a:lnTo>
                    <a:pt x="635" y="344"/>
                  </a:lnTo>
                  <a:lnTo>
                    <a:pt x="636" y="344"/>
                  </a:lnTo>
                  <a:lnTo>
                    <a:pt x="637" y="344"/>
                  </a:lnTo>
                  <a:lnTo>
                    <a:pt x="640" y="344"/>
                  </a:lnTo>
                  <a:lnTo>
                    <a:pt x="639" y="347"/>
                  </a:lnTo>
                  <a:lnTo>
                    <a:pt x="640" y="348"/>
                  </a:lnTo>
                  <a:lnTo>
                    <a:pt x="639" y="349"/>
                  </a:lnTo>
                  <a:lnTo>
                    <a:pt x="637" y="349"/>
                  </a:lnTo>
                  <a:lnTo>
                    <a:pt x="636" y="350"/>
                  </a:lnTo>
                  <a:lnTo>
                    <a:pt x="635" y="351"/>
                  </a:lnTo>
                  <a:lnTo>
                    <a:pt x="636" y="353"/>
                  </a:lnTo>
                  <a:lnTo>
                    <a:pt x="635" y="353"/>
                  </a:lnTo>
                  <a:lnTo>
                    <a:pt x="637" y="354"/>
                  </a:lnTo>
                  <a:lnTo>
                    <a:pt x="639" y="354"/>
                  </a:lnTo>
                  <a:lnTo>
                    <a:pt x="639" y="355"/>
                  </a:lnTo>
                  <a:lnTo>
                    <a:pt x="636" y="355"/>
                  </a:lnTo>
                  <a:lnTo>
                    <a:pt x="635" y="356"/>
                  </a:lnTo>
                  <a:lnTo>
                    <a:pt x="635" y="357"/>
                  </a:lnTo>
                  <a:lnTo>
                    <a:pt x="637" y="357"/>
                  </a:lnTo>
                  <a:lnTo>
                    <a:pt x="635" y="359"/>
                  </a:lnTo>
                  <a:lnTo>
                    <a:pt x="637" y="359"/>
                  </a:lnTo>
                  <a:lnTo>
                    <a:pt x="636" y="361"/>
                  </a:lnTo>
                  <a:lnTo>
                    <a:pt x="636" y="362"/>
                  </a:lnTo>
                  <a:lnTo>
                    <a:pt x="637" y="362"/>
                  </a:lnTo>
                  <a:lnTo>
                    <a:pt x="639" y="362"/>
                  </a:lnTo>
                  <a:lnTo>
                    <a:pt x="639" y="361"/>
                  </a:lnTo>
                  <a:lnTo>
                    <a:pt x="640" y="362"/>
                  </a:lnTo>
                  <a:lnTo>
                    <a:pt x="641" y="362"/>
                  </a:lnTo>
                  <a:lnTo>
                    <a:pt x="642" y="362"/>
                  </a:lnTo>
                  <a:lnTo>
                    <a:pt x="640" y="365"/>
                  </a:lnTo>
                  <a:lnTo>
                    <a:pt x="641" y="366"/>
                  </a:lnTo>
                  <a:lnTo>
                    <a:pt x="643" y="366"/>
                  </a:lnTo>
                  <a:lnTo>
                    <a:pt x="645" y="367"/>
                  </a:lnTo>
                  <a:lnTo>
                    <a:pt x="646" y="365"/>
                  </a:lnTo>
                  <a:lnTo>
                    <a:pt x="647" y="365"/>
                  </a:lnTo>
                  <a:lnTo>
                    <a:pt x="647" y="366"/>
                  </a:lnTo>
                  <a:lnTo>
                    <a:pt x="649" y="367"/>
                  </a:lnTo>
                  <a:lnTo>
                    <a:pt x="651" y="366"/>
                  </a:lnTo>
                  <a:lnTo>
                    <a:pt x="652" y="366"/>
                  </a:lnTo>
                  <a:lnTo>
                    <a:pt x="652" y="367"/>
                  </a:lnTo>
                  <a:lnTo>
                    <a:pt x="651" y="367"/>
                  </a:lnTo>
                  <a:lnTo>
                    <a:pt x="652" y="367"/>
                  </a:lnTo>
                  <a:lnTo>
                    <a:pt x="654" y="367"/>
                  </a:lnTo>
                  <a:lnTo>
                    <a:pt x="654" y="366"/>
                  </a:lnTo>
                  <a:lnTo>
                    <a:pt x="655" y="364"/>
                  </a:lnTo>
                  <a:lnTo>
                    <a:pt x="655" y="365"/>
                  </a:lnTo>
                  <a:lnTo>
                    <a:pt x="657" y="366"/>
                  </a:lnTo>
                  <a:lnTo>
                    <a:pt x="658" y="367"/>
                  </a:lnTo>
                  <a:lnTo>
                    <a:pt x="659" y="367"/>
                  </a:lnTo>
                  <a:lnTo>
                    <a:pt x="658" y="367"/>
                  </a:lnTo>
                  <a:lnTo>
                    <a:pt x="654" y="368"/>
                  </a:lnTo>
                  <a:lnTo>
                    <a:pt x="653" y="371"/>
                  </a:lnTo>
                  <a:lnTo>
                    <a:pt x="653" y="372"/>
                  </a:lnTo>
                  <a:lnTo>
                    <a:pt x="653" y="373"/>
                  </a:lnTo>
                  <a:lnTo>
                    <a:pt x="652" y="374"/>
                  </a:lnTo>
                  <a:lnTo>
                    <a:pt x="653" y="376"/>
                  </a:lnTo>
                  <a:lnTo>
                    <a:pt x="655" y="374"/>
                  </a:lnTo>
                  <a:lnTo>
                    <a:pt x="655" y="373"/>
                  </a:lnTo>
                  <a:lnTo>
                    <a:pt x="655" y="371"/>
                  </a:lnTo>
                  <a:lnTo>
                    <a:pt x="657" y="371"/>
                  </a:lnTo>
                  <a:lnTo>
                    <a:pt x="657" y="370"/>
                  </a:lnTo>
                  <a:lnTo>
                    <a:pt x="658" y="370"/>
                  </a:lnTo>
                  <a:lnTo>
                    <a:pt x="660" y="370"/>
                  </a:lnTo>
                  <a:lnTo>
                    <a:pt x="661" y="368"/>
                  </a:lnTo>
                  <a:lnTo>
                    <a:pt x="660" y="371"/>
                  </a:lnTo>
                  <a:lnTo>
                    <a:pt x="660" y="370"/>
                  </a:lnTo>
                  <a:lnTo>
                    <a:pt x="663" y="370"/>
                  </a:lnTo>
                  <a:lnTo>
                    <a:pt x="660" y="372"/>
                  </a:lnTo>
                  <a:lnTo>
                    <a:pt x="659" y="373"/>
                  </a:lnTo>
                  <a:lnTo>
                    <a:pt x="661" y="374"/>
                  </a:lnTo>
                  <a:lnTo>
                    <a:pt x="660" y="374"/>
                  </a:lnTo>
                  <a:lnTo>
                    <a:pt x="660" y="376"/>
                  </a:lnTo>
                  <a:lnTo>
                    <a:pt x="659" y="377"/>
                  </a:lnTo>
                  <a:lnTo>
                    <a:pt x="660" y="378"/>
                  </a:lnTo>
                  <a:lnTo>
                    <a:pt x="658" y="378"/>
                  </a:lnTo>
                  <a:lnTo>
                    <a:pt x="659" y="380"/>
                  </a:lnTo>
                  <a:lnTo>
                    <a:pt x="658" y="380"/>
                  </a:lnTo>
                  <a:lnTo>
                    <a:pt x="657" y="382"/>
                  </a:lnTo>
                  <a:lnTo>
                    <a:pt x="655" y="382"/>
                  </a:lnTo>
                  <a:lnTo>
                    <a:pt x="657" y="382"/>
                  </a:lnTo>
                  <a:lnTo>
                    <a:pt x="659" y="384"/>
                  </a:lnTo>
                  <a:lnTo>
                    <a:pt x="660" y="386"/>
                  </a:lnTo>
                  <a:lnTo>
                    <a:pt x="658" y="385"/>
                  </a:lnTo>
                  <a:lnTo>
                    <a:pt x="657" y="384"/>
                  </a:lnTo>
                  <a:lnTo>
                    <a:pt x="657" y="383"/>
                  </a:lnTo>
                  <a:lnTo>
                    <a:pt x="657" y="385"/>
                  </a:lnTo>
                  <a:lnTo>
                    <a:pt x="655" y="385"/>
                  </a:lnTo>
                  <a:lnTo>
                    <a:pt x="654" y="385"/>
                  </a:lnTo>
                  <a:lnTo>
                    <a:pt x="653" y="386"/>
                  </a:lnTo>
                  <a:lnTo>
                    <a:pt x="652" y="388"/>
                  </a:lnTo>
                  <a:lnTo>
                    <a:pt x="651" y="389"/>
                  </a:lnTo>
                  <a:lnTo>
                    <a:pt x="651" y="390"/>
                  </a:lnTo>
                  <a:lnTo>
                    <a:pt x="648" y="390"/>
                  </a:lnTo>
                  <a:lnTo>
                    <a:pt x="647" y="388"/>
                  </a:lnTo>
                  <a:lnTo>
                    <a:pt x="647" y="386"/>
                  </a:lnTo>
                  <a:lnTo>
                    <a:pt x="646" y="386"/>
                  </a:lnTo>
                  <a:lnTo>
                    <a:pt x="645" y="386"/>
                  </a:lnTo>
                  <a:lnTo>
                    <a:pt x="645" y="385"/>
                  </a:lnTo>
                  <a:lnTo>
                    <a:pt x="642" y="385"/>
                  </a:lnTo>
                  <a:lnTo>
                    <a:pt x="641" y="385"/>
                  </a:lnTo>
                  <a:lnTo>
                    <a:pt x="640" y="386"/>
                  </a:lnTo>
                  <a:lnTo>
                    <a:pt x="640" y="388"/>
                  </a:lnTo>
                  <a:lnTo>
                    <a:pt x="639" y="389"/>
                  </a:lnTo>
                  <a:lnTo>
                    <a:pt x="637" y="386"/>
                  </a:lnTo>
                  <a:lnTo>
                    <a:pt x="636" y="386"/>
                  </a:lnTo>
                  <a:lnTo>
                    <a:pt x="636" y="384"/>
                  </a:lnTo>
                  <a:lnTo>
                    <a:pt x="636" y="382"/>
                  </a:lnTo>
                  <a:lnTo>
                    <a:pt x="635" y="379"/>
                  </a:lnTo>
                  <a:lnTo>
                    <a:pt x="635" y="382"/>
                  </a:lnTo>
                  <a:lnTo>
                    <a:pt x="634" y="382"/>
                  </a:lnTo>
                  <a:lnTo>
                    <a:pt x="633" y="382"/>
                  </a:lnTo>
                  <a:lnTo>
                    <a:pt x="634" y="384"/>
                  </a:lnTo>
                  <a:lnTo>
                    <a:pt x="633" y="383"/>
                  </a:lnTo>
                  <a:lnTo>
                    <a:pt x="633" y="380"/>
                  </a:lnTo>
                  <a:lnTo>
                    <a:pt x="631" y="378"/>
                  </a:lnTo>
                  <a:lnTo>
                    <a:pt x="629" y="378"/>
                  </a:lnTo>
                  <a:lnTo>
                    <a:pt x="629" y="377"/>
                  </a:lnTo>
                  <a:lnTo>
                    <a:pt x="628" y="376"/>
                  </a:lnTo>
                  <a:lnTo>
                    <a:pt x="628" y="374"/>
                  </a:lnTo>
                  <a:lnTo>
                    <a:pt x="627" y="377"/>
                  </a:lnTo>
                  <a:lnTo>
                    <a:pt x="628" y="378"/>
                  </a:lnTo>
                  <a:lnTo>
                    <a:pt x="627" y="378"/>
                  </a:lnTo>
                  <a:lnTo>
                    <a:pt x="624" y="377"/>
                  </a:lnTo>
                  <a:lnTo>
                    <a:pt x="624" y="374"/>
                  </a:lnTo>
                  <a:lnTo>
                    <a:pt x="621" y="374"/>
                  </a:lnTo>
                  <a:lnTo>
                    <a:pt x="621" y="377"/>
                  </a:lnTo>
                  <a:lnTo>
                    <a:pt x="619" y="376"/>
                  </a:lnTo>
                  <a:lnTo>
                    <a:pt x="618" y="376"/>
                  </a:lnTo>
                  <a:lnTo>
                    <a:pt x="616" y="374"/>
                  </a:lnTo>
                  <a:lnTo>
                    <a:pt x="612" y="373"/>
                  </a:lnTo>
                  <a:lnTo>
                    <a:pt x="611" y="374"/>
                  </a:lnTo>
                  <a:lnTo>
                    <a:pt x="611" y="377"/>
                  </a:lnTo>
                  <a:lnTo>
                    <a:pt x="612" y="376"/>
                  </a:lnTo>
                  <a:lnTo>
                    <a:pt x="612" y="377"/>
                  </a:lnTo>
                  <a:lnTo>
                    <a:pt x="613" y="377"/>
                  </a:lnTo>
                  <a:lnTo>
                    <a:pt x="613" y="378"/>
                  </a:lnTo>
                  <a:lnTo>
                    <a:pt x="616" y="379"/>
                  </a:lnTo>
                  <a:lnTo>
                    <a:pt x="616" y="380"/>
                  </a:lnTo>
                  <a:lnTo>
                    <a:pt x="615" y="380"/>
                  </a:lnTo>
                  <a:lnTo>
                    <a:pt x="613" y="384"/>
                  </a:lnTo>
                  <a:lnTo>
                    <a:pt x="615" y="383"/>
                  </a:lnTo>
                  <a:lnTo>
                    <a:pt x="616" y="383"/>
                  </a:lnTo>
                  <a:lnTo>
                    <a:pt x="616" y="385"/>
                  </a:lnTo>
                  <a:lnTo>
                    <a:pt x="617" y="385"/>
                  </a:lnTo>
                  <a:lnTo>
                    <a:pt x="618" y="385"/>
                  </a:lnTo>
                  <a:lnTo>
                    <a:pt x="619" y="384"/>
                  </a:lnTo>
                  <a:lnTo>
                    <a:pt x="619" y="386"/>
                  </a:lnTo>
                  <a:lnTo>
                    <a:pt x="622" y="386"/>
                  </a:lnTo>
                  <a:lnTo>
                    <a:pt x="623" y="386"/>
                  </a:lnTo>
                  <a:lnTo>
                    <a:pt x="623" y="388"/>
                  </a:lnTo>
                  <a:lnTo>
                    <a:pt x="623" y="389"/>
                  </a:lnTo>
                  <a:lnTo>
                    <a:pt x="622" y="392"/>
                  </a:lnTo>
                  <a:lnTo>
                    <a:pt x="623" y="395"/>
                  </a:lnTo>
                  <a:lnTo>
                    <a:pt x="624" y="394"/>
                  </a:lnTo>
                  <a:lnTo>
                    <a:pt x="627" y="395"/>
                  </a:lnTo>
                  <a:lnTo>
                    <a:pt x="628" y="395"/>
                  </a:lnTo>
                  <a:lnTo>
                    <a:pt x="628" y="396"/>
                  </a:lnTo>
                  <a:lnTo>
                    <a:pt x="629" y="395"/>
                  </a:lnTo>
                  <a:lnTo>
                    <a:pt x="631" y="398"/>
                  </a:lnTo>
                  <a:lnTo>
                    <a:pt x="633" y="396"/>
                  </a:lnTo>
                  <a:lnTo>
                    <a:pt x="634" y="396"/>
                  </a:lnTo>
                  <a:lnTo>
                    <a:pt x="634" y="400"/>
                  </a:lnTo>
                  <a:lnTo>
                    <a:pt x="635" y="400"/>
                  </a:lnTo>
                  <a:lnTo>
                    <a:pt x="637" y="401"/>
                  </a:lnTo>
                  <a:lnTo>
                    <a:pt x="636" y="402"/>
                  </a:lnTo>
                  <a:lnTo>
                    <a:pt x="637" y="402"/>
                  </a:lnTo>
                  <a:lnTo>
                    <a:pt x="636" y="404"/>
                  </a:lnTo>
                  <a:lnTo>
                    <a:pt x="639" y="407"/>
                  </a:lnTo>
                  <a:lnTo>
                    <a:pt x="637" y="408"/>
                  </a:lnTo>
                  <a:lnTo>
                    <a:pt x="640" y="409"/>
                  </a:lnTo>
                  <a:lnTo>
                    <a:pt x="641" y="410"/>
                  </a:lnTo>
                  <a:lnTo>
                    <a:pt x="641" y="412"/>
                  </a:lnTo>
                  <a:lnTo>
                    <a:pt x="641" y="413"/>
                  </a:lnTo>
                  <a:lnTo>
                    <a:pt x="640" y="413"/>
                  </a:lnTo>
                  <a:lnTo>
                    <a:pt x="640" y="414"/>
                  </a:lnTo>
                  <a:lnTo>
                    <a:pt x="639" y="414"/>
                  </a:lnTo>
                  <a:lnTo>
                    <a:pt x="639" y="416"/>
                  </a:lnTo>
                  <a:lnTo>
                    <a:pt x="639" y="418"/>
                  </a:lnTo>
                  <a:lnTo>
                    <a:pt x="637" y="419"/>
                  </a:lnTo>
                  <a:lnTo>
                    <a:pt x="639" y="420"/>
                  </a:lnTo>
                  <a:lnTo>
                    <a:pt x="640" y="420"/>
                  </a:lnTo>
                  <a:lnTo>
                    <a:pt x="639" y="422"/>
                  </a:lnTo>
                  <a:lnTo>
                    <a:pt x="637" y="421"/>
                  </a:lnTo>
                  <a:lnTo>
                    <a:pt x="636" y="421"/>
                  </a:lnTo>
                  <a:lnTo>
                    <a:pt x="636" y="420"/>
                  </a:lnTo>
                  <a:lnTo>
                    <a:pt x="636" y="421"/>
                  </a:lnTo>
                  <a:lnTo>
                    <a:pt x="636" y="424"/>
                  </a:lnTo>
                  <a:lnTo>
                    <a:pt x="637" y="425"/>
                  </a:lnTo>
                  <a:lnTo>
                    <a:pt x="637" y="426"/>
                  </a:lnTo>
                  <a:lnTo>
                    <a:pt x="639" y="430"/>
                  </a:lnTo>
                  <a:lnTo>
                    <a:pt x="637" y="428"/>
                  </a:lnTo>
                  <a:lnTo>
                    <a:pt x="636" y="426"/>
                  </a:lnTo>
                  <a:lnTo>
                    <a:pt x="635" y="426"/>
                  </a:lnTo>
                  <a:lnTo>
                    <a:pt x="635" y="425"/>
                  </a:lnTo>
                  <a:lnTo>
                    <a:pt x="635" y="427"/>
                  </a:lnTo>
                  <a:lnTo>
                    <a:pt x="635" y="428"/>
                  </a:lnTo>
                  <a:lnTo>
                    <a:pt x="635" y="430"/>
                  </a:lnTo>
                  <a:lnTo>
                    <a:pt x="637" y="431"/>
                  </a:lnTo>
                  <a:lnTo>
                    <a:pt x="637" y="432"/>
                  </a:lnTo>
                  <a:lnTo>
                    <a:pt x="639" y="433"/>
                  </a:lnTo>
                  <a:lnTo>
                    <a:pt x="636" y="432"/>
                  </a:lnTo>
                  <a:lnTo>
                    <a:pt x="635" y="432"/>
                  </a:lnTo>
                  <a:lnTo>
                    <a:pt x="636" y="433"/>
                  </a:lnTo>
                  <a:lnTo>
                    <a:pt x="636" y="436"/>
                  </a:lnTo>
                  <a:lnTo>
                    <a:pt x="636" y="437"/>
                  </a:lnTo>
                  <a:lnTo>
                    <a:pt x="634" y="437"/>
                  </a:lnTo>
                  <a:lnTo>
                    <a:pt x="633" y="437"/>
                  </a:lnTo>
                  <a:lnTo>
                    <a:pt x="633" y="438"/>
                  </a:lnTo>
                  <a:lnTo>
                    <a:pt x="630" y="437"/>
                  </a:lnTo>
                  <a:lnTo>
                    <a:pt x="631" y="438"/>
                  </a:lnTo>
                  <a:lnTo>
                    <a:pt x="631" y="440"/>
                  </a:lnTo>
                  <a:lnTo>
                    <a:pt x="630" y="439"/>
                  </a:lnTo>
                  <a:lnTo>
                    <a:pt x="629" y="439"/>
                  </a:lnTo>
                  <a:lnTo>
                    <a:pt x="628" y="439"/>
                  </a:lnTo>
                  <a:lnTo>
                    <a:pt x="630" y="442"/>
                  </a:lnTo>
                  <a:lnTo>
                    <a:pt x="629" y="443"/>
                  </a:lnTo>
                  <a:lnTo>
                    <a:pt x="628" y="443"/>
                  </a:lnTo>
                  <a:lnTo>
                    <a:pt x="629" y="443"/>
                  </a:lnTo>
                  <a:lnTo>
                    <a:pt x="630" y="445"/>
                  </a:lnTo>
                  <a:lnTo>
                    <a:pt x="631" y="445"/>
                  </a:lnTo>
                  <a:lnTo>
                    <a:pt x="631" y="448"/>
                  </a:lnTo>
                  <a:lnTo>
                    <a:pt x="631" y="449"/>
                  </a:lnTo>
                  <a:lnTo>
                    <a:pt x="633" y="448"/>
                  </a:lnTo>
                  <a:lnTo>
                    <a:pt x="634" y="448"/>
                  </a:lnTo>
                  <a:lnTo>
                    <a:pt x="634" y="449"/>
                  </a:lnTo>
                  <a:lnTo>
                    <a:pt x="636" y="451"/>
                  </a:lnTo>
                  <a:lnTo>
                    <a:pt x="634" y="451"/>
                  </a:lnTo>
                  <a:lnTo>
                    <a:pt x="633" y="452"/>
                  </a:lnTo>
                  <a:lnTo>
                    <a:pt x="633" y="451"/>
                  </a:lnTo>
                  <a:lnTo>
                    <a:pt x="631" y="451"/>
                  </a:lnTo>
                  <a:lnTo>
                    <a:pt x="630" y="454"/>
                  </a:lnTo>
                  <a:lnTo>
                    <a:pt x="628" y="454"/>
                  </a:lnTo>
                  <a:lnTo>
                    <a:pt x="628" y="452"/>
                  </a:lnTo>
                  <a:lnTo>
                    <a:pt x="628" y="454"/>
                  </a:lnTo>
                  <a:lnTo>
                    <a:pt x="627" y="454"/>
                  </a:lnTo>
                  <a:lnTo>
                    <a:pt x="625" y="454"/>
                  </a:lnTo>
                  <a:lnTo>
                    <a:pt x="625" y="455"/>
                  </a:lnTo>
                  <a:lnTo>
                    <a:pt x="624" y="456"/>
                  </a:lnTo>
                  <a:lnTo>
                    <a:pt x="624" y="457"/>
                  </a:lnTo>
                  <a:lnTo>
                    <a:pt x="623" y="458"/>
                  </a:lnTo>
                  <a:lnTo>
                    <a:pt x="624" y="460"/>
                  </a:lnTo>
                  <a:lnTo>
                    <a:pt x="624" y="461"/>
                  </a:lnTo>
                  <a:lnTo>
                    <a:pt x="623" y="462"/>
                  </a:lnTo>
                  <a:lnTo>
                    <a:pt x="624" y="462"/>
                  </a:lnTo>
                  <a:lnTo>
                    <a:pt x="624" y="464"/>
                  </a:lnTo>
                  <a:lnTo>
                    <a:pt x="625" y="464"/>
                  </a:lnTo>
                  <a:lnTo>
                    <a:pt x="625" y="466"/>
                  </a:lnTo>
                  <a:lnTo>
                    <a:pt x="624" y="467"/>
                  </a:lnTo>
                  <a:lnTo>
                    <a:pt x="625" y="469"/>
                  </a:lnTo>
                  <a:lnTo>
                    <a:pt x="625" y="468"/>
                  </a:lnTo>
                  <a:lnTo>
                    <a:pt x="627" y="469"/>
                  </a:lnTo>
                  <a:lnTo>
                    <a:pt x="628" y="469"/>
                  </a:lnTo>
                  <a:lnTo>
                    <a:pt x="628" y="471"/>
                  </a:lnTo>
                  <a:lnTo>
                    <a:pt x="629" y="469"/>
                  </a:lnTo>
                  <a:lnTo>
                    <a:pt x="629" y="471"/>
                  </a:lnTo>
                  <a:lnTo>
                    <a:pt x="630" y="473"/>
                  </a:lnTo>
                  <a:lnTo>
                    <a:pt x="631" y="475"/>
                  </a:lnTo>
                  <a:lnTo>
                    <a:pt x="630" y="475"/>
                  </a:lnTo>
                  <a:lnTo>
                    <a:pt x="628" y="475"/>
                  </a:lnTo>
                  <a:lnTo>
                    <a:pt x="627" y="475"/>
                  </a:lnTo>
                  <a:lnTo>
                    <a:pt x="625" y="474"/>
                  </a:lnTo>
                  <a:lnTo>
                    <a:pt x="624" y="473"/>
                  </a:lnTo>
                  <a:lnTo>
                    <a:pt x="624" y="474"/>
                  </a:lnTo>
                  <a:lnTo>
                    <a:pt x="624" y="475"/>
                  </a:lnTo>
                  <a:lnTo>
                    <a:pt x="623" y="475"/>
                  </a:lnTo>
                  <a:lnTo>
                    <a:pt x="622" y="474"/>
                  </a:lnTo>
                  <a:lnTo>
                    <a:pt x="621" y="477"/>
                  </a:lnTo>
                  <a:lnTo>
                    <a:pt x="621" y="474"/>
                  </a:lnTo>
                  <a:lnTo>
                    <a:pt x="621" y="473"/>
                  </a:lnTo>
                  <a:lnTo>
                    <a:pt x="619" y="474"/>
                  </a:lnTo>
                  <a:lnTo>
                    <a:pt x="618" y="478"/>
                  </a:lnTo>
                  <a:lnTo>
                    <a:pt x="618" y="477"/>
                  </a:lnTo>
                  <a:lnTo>
                    <a:pt x="617" y="475"/>
                  </a:lnTo>
                  <a:lnTo>
                    <a:pt x="616" y="474"/>
                  </a:lnTo>
                  <a:lnTo>
                    <a:pt x="616" y="473"/>
                  </a:lnTo>
                  <a:lnTo>
                    <a:pt x="615" y="472"/>
                  </a:lnTo>
                  <a:lnTo>
                    <a:pt x="613" y="471"/>
                  </a:lnTo>
                  <a:lnTo>
                    <a:pt x="613" y="469"/>
                  </a:lnTo>
                  <a:lnTo>
                    <a:pt x="613" y="468"/>
                  </a:lnTo>
                  <a:lnTo>
                    <a:pt x="615" y="467"/>
                  </a:lnTo>
                  <a:lnTo>
                    <a:pt x="615" y="466"/>
                  </a:lnTo>
                  <a:lnTo>
                    <a:pt x="615" y="464"/>
                  </a:lnTo>
                  <a:lnTo>
                    <a:pt x="612" y="462"/>
                  </a:lnTo>
                  <a:lnTo>
                    <a:pt x="611" y="466"/>
                  </a:lnTo>
                  <a:lnTo>
                    <a:pt x="611" y="467"/>
                  </a:lnTo>
                  <a:lnTo>
                    <a:pt x="611" y="468"/>
                  </a:lnTo>
                  <a:lnTo>
                    <a:pt x="611" y="469"/>
                  </a:lnTo>
                  <a:lnTo>
                    <a:pt x="612" y="473"/>
                  </a:lnTo>
                  <a:lnTo>
                    <a:pt x="612" y="474"/>
                  </a:lnTo>
                  <a:lnTo>
                    <a:pt x="611" y="474"/>
                  </a:lnTo>
                  <a:lnTo>
                    <a:pt x="610" y="474"/>
                  </a:lnTo>
                  <a:lnTo>
                    <a:pt x="608" y="473"/>
                  </a:lnTo>
                  <a:lnTo>
                    <a:pt x="608" y="474"/>
                  </a:lnTo>
                  <a:lnTo>
                    <a:pt x="607" y="474"/>
                  </a:lnTo>
                  <a:lnTo>
                    <a:pt x="606" y="474"/>
                  </a:lnTo>
                  <a:lnTo>
                    <a:pt x="605" y="473"/>
                  </a:lnTo>
                  <a:lnTo>
                    <a:pt x="605" y="471"/>
                  </a:lnTo>
                  <a:lnTo>
                    <a:pt x="604" y="469"/>
                  </a:lnTo>
                  <a:lnTo>
                    <a:pt x="602" y="469"/>
                  </a:lnTo>
                  <a:lnTo>
                    <a:pt x="602" y="467"/>
                  </a:lnTo>
                  <a:lnTo>
                    <a:pt x="602" y="466"/>
                  </a:lnTo>
                  <a:lnTo>
                    <a:pt x="600" y="463"/>
                  </a:lnTo>
                  <a:lnTo>
                    <a:pt x="600" y="462"/>
                  </a:lnTo>
                  <a:lnTo>
                    <a:pt x="601" y="462"/>
                  </a:lnTo>
                  <a:lnTo>
                    <a:pt x="602" y="462"/>
                  </a:lnTo>
                  <a:lnTo>
                    <a:pt x="604" y="463"/>
                  </a:lnTo>
                  <a:lnTo>
                    <a:pt x="604" y="462"/>
                  </a:lnTo>
                  <a:lnTo>
                    <a:pt x="605" y="461"/>
                  </a:lnTo>
                  <a:lnTo>
                    <a:pt x="607" y="460"/>
                  </a:lnTo>
                  <a:lnTo>
                    <a:pt x="607" y="458"/>
                  </a:lnTo>
                  <a:lnTo>
                    <a:pt x="607" y="457"/>
                  </a:lnTo>
                  <a:lnTo>
                    <a:pt x="606" y="456"/>
                  </a:lnTo>
                  <a:lnTo>
                    <a:pt x="605" y="456"/>
                  </a:lnTo>
                  <a:lnTo>
                    <a:pt x="604" y="457"/>
                  </a:lnTo>
                  <a:lnTo>
                    <a:pt x="604" y="458"/>
                  </a:lnTo>
                  <a:lnTo>
                    <a:pt x="602" y="460"/>
                  </a:lnTo>
                  <a:lnTo>
                    <a:pt x="601" y="458"/>
                  </a:lnTo>
                  <a:lnTo>
                    <a:pt x="600" y="458"/>
                  </a:lnTo>
                  <a:lnTo>
                    <a:pt x="599" y="456"/>
                  </a:lnTo>
                  <a:lnTo>
                    <a:pt x="598" y="456"/>
                  </a:lnTo>
                  <a:lnTo>
                    <a:pt x="595" y="456"/>
                  </a:lnTo>
                  <a:lnTo>
                    <a:pt x="594" y="458"/>
                  </a:lnTo>
                  <a:lnTo>
                    <a:pt x="593" y="457"/>
                  </a:lnTo>
                  <a:lnTo>
                    <a:pt x="592" y="458"/>
                  </a:lnTo>
                  <a:lnTo>
                    <a:pt x="592" y="461"/>
                  </a:lnTo>
                  <a:lnTo>
                    <a:pt x="592" y="463"/>
                  </a:lnTo>
                  <a:lnTo>
                    <a:pt x="592" y="464"/>
                  </a:lnTo>
                  <a:lnTo>
                    <a:pt x="593" y="468"/>
                  </a:lnTo>
                  <a:lnTo>
                    <a:pt x="595" y="469"/>
                  </a:lnTo>
                  <a:lnTo>
                    <a:pt x="596" y="472"/>
                  </a:lnTo>
                  <a:lnTo>
                    <a:pt x="596" y="473"/>
                  </a:lnTo>
                  <a:lnTo>
                    <a:pt x="598" y="474"/>
                  </a:lnTo>
                  <a:lnTo>
                    <a:pt x="599" y="475"/>
                  </a:lnTo>
                  <a:lnTo>
                    <a:pt x="599" y="477"/>
                  </a:lnTo>
                  <a:lnTo>
                    <a:pt x="596" y="475"/>
                  </a:lnTo>
                  <a:lnTo>
                    <a:pt x="598" y="477"/>
                  </a:lnTo>
                  <a:lnTo>
                    <a:pt x="598" y="478"/>
                  </a:lnTo>
                  <a:lnTo>
                    <a:pt x="595" y="477"/>
                  </a:lnTo>
                  <a:lnTo>
                    <a:pt x="598" y="479"/>
                  </a:lnTo>
                  <a:lnTo>
                    <a:pt x="599" y="480"/>
                  </a:lnTo>
                  <a:lnTo>
                    <a:pt x="599" y="481"/>
                  </a:lnTo>
                  <a:lnTo>
                    <a:pt x="596" y="481"/>
                  </a:lnTo>
                  <a:lnTo>
                    <a:pt x="598" y="481"/>
                  </a:lnTo>
                  <a:lnTo>
                    <a:pt x="596" y="483"/>
                  </a:lnTo>
                  <a:lnTo>
                    <a:pt x="592" y="483"/>
                  </a:lnTo>
                  <a:lnTo>
                    <a:pt x="593" y="486"/>
                  </a:lnTo>
                  <a:lnTo>
                    <a:pt x="593" y="487"/>
                  </a:lnTo>
                  <a:lnTo>
                    <a:pt x="590" y="486"/>
                  </a:lnTo>
                  <a:lnTo>
                    <a:pt x="589" y="486"/>
                  </a:lnTo>
                  <a:lnTo>
                    <a:pt x="587" y="489"/>
                  </a:lnTo>
                  <a:lnTo>
                    <a:pt x="586" y="490"/>
                  </a:lnTo>
                  <a:lnTo>
                    <a:pt x="586" y="492"/>
                  </a:lnTo>
                  <a:lnTo>
                    <a:pt x="584" y="493"/>
                  </a:lnTo>
                  <a:lnTo>
                    <a:pt x="586" y="495"/>
                  </a:lnTo>
                  <a:lnTo>
                    <a:pt x="586" y="497"/>
                  </a:lnTo>
                  <a:lnTo>
                    <a:pt x="587" y="499"/>
                  </a:lnTo>
                  <a:lnTo>
                    <a:pt x="587" y="501"/>
                  </a:lnTo>
                  <a:lnTo>
                    <a:pt x="587" y="502"/>
                  </a:lnTo>
                  <a:lnTo>
                    <a:pt x="587" y="503"/>
                  </a:lnTo>
                  <a:lnTo>
                    <a:pt x="587" y="505"/>
                  </a:lnTo>
                  <a:lnTo>
                    <a:pt x="584" y="504"/>
                  </a:lnTo>
                  <a:lnTo>
                    <a:pt x="583" y="504"/>
                  </a:lnTo>
                  <a:lnTo>
                    <a:pt x="583" y="505"/>
                  </a:lnTo>
                  <a:lnTo>
                    <a:pt x="582" y="505"/>
                  </a:lnTo>
                  <a:lnTo>
                    <a:pt x="581" y="504"/>
                  </a:lnTo>
                  <a:lnTo>
                    <a:pt x="580" y="502"/>
                  </a:lnTo>
                  <a:lnTo>
                    <a:pt x="578" y="503"/>
                  </a:lnTo>
                  <a:lnTo>
                    <a:pt x="575" y="505"/>
                  </a:lnTo>
                  <a:lnTo>
                    <a:pt x="574" y="504"/>
                  </a:lnTo>
                  <a:lnTo>
                    <a:pt x="572" y="504"/>
                  </a:lnTo>
                  <a:lnTo>
                    <a:pt x="570" y="504"/>
                  </a:lnTo>
                  <a:lnTo>
                    <a:pt x="568" y="504"/>
                  </a:lnTo>
                  <a:lnTo>
                    <a:pt x="566" y="504"/>
                  </a:lnTo>
                  <a:lnTo>
                    <a:pt x="564" y="504"/>
                  </a:lnTo>
                  <a:lnTo>
                    <a:pt x="563" y="505"/>
                  </a:lnTo>
                  <a:lnTo>
                    <a:pt x="563" y="504"/>
                  </a:lnTo>
                  <a:lnTo>
                    <a:pt x="563" y="502"/>
                  </a:lnTo>
                  <a:lnTo>
                    <a:pt x="562" y="501"/>
                  </a:lnTo>
                  <a:lnTo>
                    <a:pt x="559" y="501"/>
                  </a:lnTo>
                  <a:lnTo>
                    <a:pt x="559" y="498"/>
                  </a:lnTo>
                  <a:lnTo>
                    <a:pt x="560" y="497"/>
                  </a:lnTo>
                  <a:lnTo>
                    <a:pt x="558" y="497"/>
                  </a:lnTo>
                  <a:lnTo>
                    <a:pt x="559" y="495"/>
                  </a:lnTo>
                  <a:lnTo>
                    <a:pt x="559" y="493"/>
                  </a:lnTo>
                  <a:lnTo>
                    <a:pt x="558" y="491"/>
                  </a:lnTo>
                  <a:lnTo>
                    <a:pt x="559" y="489"/>
                  </a:lnTo>
                  <a:lnTo>
                    <a:pt x="558" y="489"/>
                  </a:lnTo>
                  <a:lnTo>
                    <a:pt x="558" y="487"/>
                  </a:lnTo>
                  <a:lnTo>
                    <a:pt x="557" y="486"/>
                  </a:lnTo>
                  <a:lnTo>
                    <a:pt x="556" y="485"/>
                  </a:lnTo>
                  <a:lnTo>
                    <a:pt x="553" y="486"/>
                  </a:lnTo>
                  <a:lnTo>
                    <a:pt x="553" y="487"/>
                  </a:lnTo>
                  <a:lnTo>
                    <a:pt x="556" y="490"/>
                  </a:lnTo>
                  <a:lnTo>
                    <a:pt x="554" y="490"/>
                  </a:lnTo>
                  <a:lnTo>
                    <a:pt x="556" y="491"/>
                  </a:lnTo>
                  <a:lnTo>
                    <a:pt x="557" y="493"/>
                  </a:lnTo>
                  <a:lnTo>
                    <a:pt x="556" y="492"/>
                  </a:lnTo>
                  <a:lnTo>
                    <a:pt x="553" y="491"/>
                  </a:lnTo>
                  <a:lnTo>
                    <a:pt x="552" y="491"/>
                  </a:lnTo>
                  <a:lnTo>
                    <a:pt x="551" y="492"/>
                  </a:lnTo>
                  <a:lnTo>
                    <a:pt x="549" y="491"/>
                  </a:lnTo>
                  <a:lnTo>
                    <a:pt x="548" y="492"/>
                  </a:lnTo>
                  <a:lnTo>
                    <a:pt x="547" y="489"/>
                  </a:lnTo>
                  <a:lnTo>
                    <a:pt x="546" y="490"/>
                  </a:lnTo>
                  <a:lnTo>
                    <a:pt x="546" y="489"/>
                  </a:lnTo>
                  <a:lnTo>
                    <a:pt x="546" y="487"/>
                  </a:lnTo>
                  <a:lnTo>
                    <a:pt x="546" y="485"/>
                  </a:lnTo>
                  <a:lnTo>
                    <a:pt x="547" y="484"/>
                  </a:lnTo>
                  <a:lnTo>
                    <a:pt x="548" y="484"/>
                  </a:lnTo>
                  <a:lnTo>
                    <a:pt x="548" y="483"/>
                  </a:lnTo>
                  <a:lnTo>
                    <a:pt x="549" y="484"/>
                  </a:lnTo>
                  <a:lnTo>
                    <a:pt x="552" y="483"/>
                  </a:lnTo>
                  <a:lnTo>
                    <a:pt x="552" y="481"/>
                  </a:lnTo>
                  <a:lnTo>
                    <a:pt x="553" y="481"/>
                  </a:lnTo>
                  <a:lnTo>
                    <a:pt x="557" y="480"/>
                  </a:lnTo>
                  <a:lnTo>
                    <a:pt x="558" y="479"/>
                  </a:lnTo>
                  <a:lnTo>
                    <a:pt x="559" y="478"/>
                  </a:lnTo>
                  <a:lnTo>
                    <a:pt x="560" y="477"/>
                  </a:lnTo>
                  <a:lnTo>
                    <a:pt x="562" y="475"/>
                  </a:lnTo>
                  <a:lnTo>
                    <a:pt x="560" y="474"/>
                  </a:lnTo>
                  <a:lnTo>
                    <a:pt x="562" y="473"/>
                  </a:lnTo>
                  <a:lnTo>
                    <a:pt x="563" y="473"/>
                  </a:lnTo>
                  <a:lnTo>
                    <a:pt x="564" y="473"/>
                  </a:lnTo>
                  <a:lnTo>
                    <a:pt x="563" y="471"/>
                  </a:lnTo>
                  <a:lnTo>
                    <a:pt x="563" y="467"/>
                  </a:lnTo>
                  <a:lnTo>
                    <a:pt x="560" y="462"/>
                  </a:lnTo>
                  <a:lnTo>
                    <a:pt x="560" y="464"/>
                  </a:lnTo>
                  <a:lnTo>
                    <a:pt x="559" y="463"/>
                  </a:lnTo>
                  <a:lnTo>
                    <a:pt x="558" y="463"/>
                  </a:lnTo>
                  <a:lnTo>
                    <a:pt x="557" y="464"/>
                  </a:lnTo>
                  <a:lnTo>
                    <a:pt x="556" y="464"/>
                  </a:lnTo>
                  <a:lnTo>
                    <a:pt x="554" y="463"/>
                  </a:lnTo>
                  <a:lnTo>
                    <a:pt x="554" y="462"/>
                  </a:lnTo>
                  <a:lnTo>
                    <a:pt x="554" y="460"/>
                  </a:lnTo>
                  <a:lnTo>
                    <a:pt x="553" y="458"/>
                  </a:lnTo>
                  <a:lnTo>
                    <a:pt x="553" y="461"/>
                  </a:lnTo>
                  <a:lnTo>
                    <a:pt x="551" y="461"/>
                  </a:lnTo>
                  <a:lnTo>
                    <a:pt x="549" y="460"/>
                  </a:lnTo>
                  <a:lnTo>
                    <a:pt x="549" y="461"/>
                  </a:lnTo>
                  <a:lnTo>
                    <a:pt x="547" y="461"/>
                  </a:lnTo>
                  <a:lnTo>
                    <a:pt x="547" y="458"/>
                  </a:lnTo>
                  <a:lnTo>
                    <a:pt x="545" y="455"/>
                  </a:lnTo>
                  <a:lnTo>
                    <a:pt x="543" y="454"/>
                  </a:lnTo>
                  <a:lnTo>
                    <a:pt x="542" y="452"/>
                  </a:lnTo>
                  <a:lnTo>
                    <a:pt x="543" y="455"/>
                  </a:lnTo>
                  <a:lnTo>
                    <a:pt x="543" y="456"/>
                  </a:lnTo>
                  <a:lnTo>
                    <a:pt x="545" y="458"/>
                  </a:lnTo>
                  <a:lnTo>
                    <a:pt x="543" y="458"/>
                  </a:lnTo>
                  <a:lnTo>
                    <a:pt x="543" y="460"/>
                  </a:lnTo>
                  <a:lnTo>
                    <a:pt x="542" y="458"/>
                  </a:lnTo>
                  <a:lnTo>
                    <a:pt x="540" y="457"/>
                  </a:lnTo>
                  <a:lnTo>
                    <a:pt x="540" y="458"/>
                  </a:lnTo>
                  <a:lnTo>
                    <a:pt x="540" y="460"/>
                  </a:lnTo>
                  <a:lnTo>
                    <a:pt x="539" y="458"/>
                  </a:lnTo>
                  <a:lnTo>
                    <a:pt x="537" y="456"/>
                  </a:lnTo>
                  <a:lnTo>
                    <a:pt x="536" y="456"/>
                  </a:lnTo>
                  <a:lnTo>
                    <a:pt x="535" y="456"/>
                  </a:lnTo>
                  <a:lnTo>
                    <a:pt x="536" y="458"/>
                  </a:lnTo>
                  <a:lnTo>
                    <a:pt x="537" y="458"/>
                  </a:lnTo>
                  <a:lnTo>
                    <a:pt x="537" y="460"/>
                  </a:lnTo>
                  <a:lnTo>
                    <a:pt x="536" y="460"/>
                  </a:lnTo>
                  <a:lnTo>
                    <a:pt x="534" y="460"/>
                  </a:lnTo>
                  <a:lnTo>
                    <a:pt x="534" y="461"/>
                  </a:lnTo>
                  <a:lnTo>
                    <a:pt x="533" y="461"/>
                  </a:lnTo>
                  <a:lnTo>
                    <a:pt x="533" y="462"/>
                  </a:lnTo>
                  <a:lnTo>
                    <a:pt x="533" y="463"/>
                  </a:lnTo>
                  <a:lnTo>
                    <a:pt x="531" y="464"/>
                  </a:lnTo>
                  <a:lnTo>
                    <a:pt x="531" y="466"/>
                  </a:lnTo>
                  <a:lnTo>
                    <a:pt x="530" y="464"/>
                  </a:lnTo>
                  <a:lnTo>
                    <a:pt x="530" y="462"/>
                  </a:lnTo>
                  <a:lnTo>
                    <a:pt x="529" y="464"/>
                  </a:lnTo>
                  <a:lnTo>
                    <a:pt x="528" y="462"/>
                  </a:lnTo>
                  <a:lnTo>
                    <a:pt x="528" y="460"/>
                  </a:lnTo>
                  <a:lnTo>
                    <a:pt x="527" y="460"/>
                  </a:lnTo>
                  <a:lnTo>
                    <a:pt x="525" y="461"/>
                  </a:lnTo>
                  <a:lnTo>
                    <a:pt x="525" y="463"/>
                  </a:lnTo>
                  <a:lnTo>
                    <a:pt x="525" y="466"/>
                  </a:lnTo>
                  <a:lnTo>
                    <a:pt x="527" y="467"/>
                  </a:lnTo>
                  <a:lnTo>
                    <a:pt x="528" y="468"/>
                  </a:lnTo>
                  <a:lnTo>
                    <a:pt x="530" y="469"/>
                  </a:lnTo>
                  <a:lnTo>
                    <a:pt x="529" y="469"/>
                  </a:lnTo>
                  <a:lnTo>
                    <a:pt x="529" y="472"/>
                  </a:lnTo>
                  <a:lnTo>
                    <a:pt x="531" y="473"/>
                  </a:lnTo>
                  <a:lnTo>
                    <a:pt x="531" y="474"/>
                  </a:lnTo>
                  <a:lnTo>
                    <a:pt x="530" y="474"/>
                  </a:lnTo>
                  <a:lnTo>
                    <a:pt x="530" y="477"/>
                  </a:lnTo>
                  <a:lnTo>
                    <a:pt x="528" y="477"/>
                  </a:lnTo>
                  <a:lnTo>
                    <a:pt x="527" y="475"/>
                  </a:lnTo>
                  <a:lnTo>
                    <a:pt x="527" y="477"/>
                  </a:lnTo>
                  <a:lnTo>
                    <a:pt x="527" y="478"/>
                  </a:lnTo>
                  <a:lnTo>
                    <a:pt x="525" y="478"/>
                  </a:lnTo>
                  <a:lnTo>
                    <a:pt x="524" y="479"/>
                  </a:lnTo>
                  <a:lnTo>
                    <a:pt x="523" y="479"/>
                  </a:lnTo>
                  <a:lnTo>
                    <a:pt x="524" y="481"/>
                  </a:lnTo>
                  <a:lnTo>
                    <a:pt x="524" y="483"/>
                  </a:lnTo>
                  <a:lnTo>
                    <a:pt x="527" y="484"/>
                  </a:lnTo>
                  <a:lnTo>
                    <a:pt x="527" y="485"/>
                  </a:lnTo>
                  <a:lnTo>
                    <a:pt x="525" y="486"/>
                  </a:lnTo>
                  <a:lnTo>
                    <a:pt x="525" y="487"/>
                  </a:lnTo>
                  <a:lnTo>
                    <a:pt x="523" y="487"/>
                  </a:lnTo>
                  <a:lnTo>
                    <a:pt x="522" y="489"/>
                  </a:lnTo>
                  <a:lnTo>
                    <a:pt x="521" y="489"/>
                  </a:lnTo>
                  <a:lnTo>
                    <a:pt x="521" y="487"/>
                  </a:lnTo>
                  <a:lnTo>
                    <a:pt x="519" y="487"/>
                  </a:lnTo>
                  <a:lnTo>
                    <a:pt x="518" y="486"/>
                  </a:lnTo>
                  <a:lnTo>
                    <a:pt x="517" y="486"/>
                  </a:lnTo>
                  <a:lnTo>
                    <a:pt x="517" y="483"/>
                  </a:lnTo>
                  <a:lnTo>
                    <a:pt x="517" y="481"/>
                  </a:lnTo>
                  <a:lnTo>
                    <a:pt x="517" y="480"/>
                  </a:lnTo>
                  <a:lnTo>
                    <a:pt x="516" y="478"/>
                  </a:lnTo>
                  <a:lnTo>
                    <a:pt x="517" y="474"/>
                  </a:lnTo>
                  <a:lnTo>
                    <a:pt x="517" y="472"/>
                  </a:lnTo>
                  <a:lnTo>
                    <a:pt x="516" y="473"/>
                  </a:lnTo>
                  <a:lnTo>
                    <a:pt x="515" y="472"/>
                  </a:lnTo>
                  <a:lnTo>
                    <a:pt x="515" y="471"/>
                  </a:lnTo>
                  <a:lnTo>
                    <a:pt x="512" y="468"/>
                  </a:lnTo>
                  <a:lnTo>
                    <a:pt x="511" y="464"/>
                  </a:lnTo>
                  <a:lnTo>
                    <a:pt x="510" y="466"/>
                  </a:lnTo>
                  <a:lnTo>
                    <a:pt x="511" y="468"/>
                  </a:lnTo>
                  <a:lnTo>
                    <a:pt x="509" y="466"/>
                  </a:lnTo>
                  <a:lnTo>
                    <a:pt x="507" y="464"/>
                  </a:lnTo>
                  <a:lnTo>
                    <a:pt x="506" y="464"/>
                  </a:lnTo>
                  <a:lnTo>
                    <a:pt x="505" y="466"/>
                  </a:lnTo>
                  <a:lnTo>
                    <a:pt x="504" y="466"/>
                  </a:lnTo>
                  <a:lnTo>
                    <a:pt x="504" y="463"/>
                  </a:lnTo>
                  <a:lnTo>
                    <a:pt x="503" y="462"/>
                  </a:lnTo>
                  <a:lnTo>
                    <a:pt x="500" y="461"/>
                  </a:lnTo>
                  <a:lnTo>
                    <a:pt x="499" y="461"/>
                  </a:lnTo>
                  <a:lnTo>
                    <a:pt x="498" y="460"/>
                  </a:lnTo>
                  <a:lnTo>
                    <a:pt x="497" y="460"/>
                  </a:lnTo>
                  <a:lnTo>
                    <a:pt x="494" y="460"/>
                  </a:lnTo>
                  <a:lnTo>
                    <a:pt x="493" y="457"/>
                  </a:lnTo>
                  <a:lnTo>
                    <a:pt x="492" y="457"/>
                  </a:lnTo>
                  <a:lnTo>
                    <a:pt x="492" y="458"/>
                  </a:lnTo>
                  <a:lnTo>
                    <a:pt x="490" y="461"/>
                  </a:lnTo>
                  <a:lnTo>
                    <a:pt x="489" y="462"/>
                  </a:lnTo>
                  <a:lnTo>
                    <a:pt x="488" y="462"/>
                  </a:lnTo>
                  <a:lnTo>
                    <a:pt x="487" y="461"/>
                  </a:lnTo>
                  <a:lnTo>
                    <a:pt x="484" y="460"/>
                  </a:lnTo>
                  <a:lnTo>
                    <a:pt x="483" y="461"/>
                  </a:lnTo>
                  <a:lnTo>
                    <a:pt x="482" y="461"/>
                  </a:lnTo>
                  <a:lnTo>
                    <a:pt x="478" y="461"/>
                  </a:lnTo>
                  <a:lnTo>
                    <a:pt x="477" y="461"/>
                  </a:lnTo>
                  <a:lnTo>
                    <a:pt x="475" y="461"/>
                  </a:lnTo>
                  <a:lnTo>
                    <a:pt x="472" y="461"/>
                  </a:lnTo>
                  <a:lnTo>
                    <a:pt x="471" y="460"/>
                  </a:lnTo>
                  <a:lnTo>
                    <a:pt x="469" y="460"/>
                  </a:lnTo>
                  <a:lnTo>
                    <a:pt x="468" y="455"/>
                  </a:lnTo>
                  <a:lnTo>
                    <a:pt x="468" y="454"/>
                  </a:lnTo>
                  <a:lnTo>
                    <a:pt x="469" y="451"/>
                  </a:lnTo>
                  <a:lnTo>
                    <a:pt x="468" y="450"/>
                  </a:lnTo>
                  <a:lnTo>
                    <a:pt x="469" y="448"/>
                  </a:lnTo>
                  <a:lnTo>
                    <a:pt x="468" y="448"/>
                  </a:lnTo>
                  <a:lnTo>
                    <a:pt x="469" y="445"/>
                  </a:lnTo>
                  <a:lnTo>
                    <a:pt x="470" y="443"/>
                  </a:lnTo>
                  <a:lnTo>
                    <a:pt x="470" y="442"/>
                  </a:lnTo>
                  <a:lnTo>
                    <a:pt x="468" y="440"/>
                  </a:lnTo>
                  <a:lnTo>
                    <a:pt x="468" y="439"/>
                  </a:lnTo>
                  <a:lnTo>
                    <a:pt x="468" y="437"/>
                  </a:lnTo>
                  <a:lnTo>
                    <a:pt x="470" y="434"/>
                  </a:lnTo>
                  <a:lnTo>
                    <a:pt x="471" y="433"/>
                  </a:lnTo>
                  <a:lnTo>
                    <a:pt x="472" y="432"/>
                  </a:lnTo>
                  <a:lnTo>
                    <a:pt x="474" y="432"/>
                  </a:lnTo>
                  <a:lnTo>
                    <a:pt x="474" y="431"/>
                  </a:lnTo>
                  <a:lnTo>
                    <a:pt x="471" y="430"/>
                  </a:lnTo>
                  <a:lnTo>
                    <a:pt x="470" y="430"/>
                  </a:lnTo>
                  <a:lnTo>
                    <a:pt x="470" y="431"/>
                  </a:lnTo>
                  <a:lnTo>
                    <a:pt x="469" y="431"/>
                  </a:lnTo>
                  <a:lnTo>
                    <a:pt x="466" y="431"/>
                  </a:lnTo>
                  <a:lnTo>
                    <a:pt x="465" y="432"/>
                  </a:lnTo>
                  <a:lnTo>
                    <a:pt x="465" y="431"/>
                  </a:lnTo>
                  <a:lnTo>
                    <a:pt x="464" y="431"/>
                  </a:lnTo>
                  <a:lnTo>
                    <a:pt x="462" y="432"/>
                  </a:lnTo>
                  <a:lnTo>
                    <a:pt x="462" y="433"/>
                  </a:lnTo>
                  <a:lnTo>
                    <a:pt x="462" y="434"/>
                  </a:lnTo>
                  <a:lnTo>
                    <a:pt x="460" y="434"/>
                  </a:lnTo>
                  <a:lnTo>
                    <a:pt x="462" y="436"/>
                  </a:lnTo>
                  <a:lnTo>
                    <a:pt x="463" y="436"/>
                  </a:lnTo>
                  <a:lnTo>
                    <a:pt x="463" y="438"/>
                  </a:lnTo>
                  <a:lnTo>
                    <a:pt x="464" y="439"/>
                  </a:lnTo>
                  <a:lnTo>
                    <a:pt x="462" y="439"/>
                  </a:lnTo>
                  <a:lnTo>
                    <a:pt x="460" y="439"/>
                  </a:lnTo>
                  <a:lnTo>
                    <a:pt x="460" y="440"/>
                  </a:lnTo>
                  <a:lnTo>
                    <a:pt x="460" y="443"/>
                  </a:lnTo>
                  <a:lnTo>
                    <a:pt x="457" y="440"/>
                  </a:lnTo>
                  <a:lnTo>
                    <a:pt x="457" y="444"/>
                  </a:lnTo>
                  <a:lnTo>
                    <a:pt x="456" y="446"/>
                  </a:lnTo>
                  <a:lnTo>
                    <a:pt x="457" y="449"/>
                  </a:lnTo>
                  <a:lnTo>
                    <a:pt x="457" y="451"/>
                  </a:lnTo>
                  <a:lnTo>
                    <a:pt x="459" y="450"/>
                  </a:lnTo>
                  <a:lnTo>
                    <a:pt x="458" y="449"/>
                  </a:lnTo>
                  <a:lnTo>
                    <a:pt x="459" y="449"/>
                  </a:lnTo>
                  <a:lnTo>
                    <a:pt x="460" y="451"/>
                  </a:lnTo>
                  <a:lnTo>
                    <a:pt x="462" y="451"/>
                  </a:lnTo>
                  <a:lnTo>
                    <a:pt x="463" y="452"/>
                  </a:lnTo>
                  <a:lnTo>
                    <a:pt x="460" y="454"/>
                  </a:lnTo>
                  <a:lnTo>
                    <a:pt x="460" y="455"/>
                  </a:lnTo>
                  <a:lnTo>
                    <a:pt x="458" y="454"/>
                  </a:lnTo>
                  <a:lnTo>
                    <a:pt x="457" y="455"/>
                  </a:lnTo>
                  <a:lnTo>
                    <a:pt x="458" y="456"/>
                  </a:lnTo>
                  <a:lnTo>
                    <a:pt x="459" y="457"/>
                  </a:lnTo>
                  <a:lnTo>
                    <a:pt x="459" y="460"/>
                  </a:lnTo>
                  <a:lnTo>
                    <a:pt x="458" y="461"/>
                  </a:lnTo>
                  <a:lnTo>
                    <a:pt x="460" y="461"/>
                  </a:lnTo>
                  <a:lnTo>
                    <a:pt x="463" y="463"/>
                  </a:lnTo>
                  <a:lnTo>
                    <a:pt x="464" y="464"/>
                  </a:lnTo>
                  <a:lnTo>
                    <a:pt x="462" y="466"/>
                  </a:lnTo>
                  <a:lnTo>
                    <a:pt x="460" y="464"/>
                  </a:lnTo>
                  <a:lnTo>
                    <a:pt x="459" y="466"/>
                  </a:lnTo>
                  <a:lnTo>
                    <a:pt x="458" y="466"/>
                  </a:lnTo>
                  <a:lnTo>
                    <a:pt x="456" y="466"/>
                  </a:lnTo>
                  <a:lnTo>
                    <a:pt x="456" y="464"/>
                  </a:lnTo>
                  <a:lnTo>
                    <a:pt x="453" y="466"/>
                  </a:lnTo>
                  <a:lnTo>
                    <a:pt x="452" y="466"/>
                  </a:lnTo>
                  <a:lnTo>
                    <a:pt x="451" y="466"/>
                  </a:lnTo>
                  <a:lnTo>
                    <a:pt x="450" y="464"/>
                  </a:lnTo>
                  <a:lnTo>
                    <a:pt x="451" y="462"/>
                  </a:lnTo>
                  <a:lnTo>
                    <a:pt x="450" y="462"/>
                  </a:lnTo>
                  <a:lnTo>
                    <a:pt x="448" y="462"/>
                  </a:lnTo>
                  <a:lnTo>
                    <a:pt x="447" y="462"/>
                  </a:lnTo>
                  <a:lnTo>
                    <a:pt x="445" y="462"/>
                  </a:lnTo>
                  <a:lnTo>
                    <a:pt x="444" y="463"/>
                  </a:lnTo>
                  <a:lnTo>
                    <a:pt x="442" y="463"/>
                  </a:lnTo>
                  <a:lnTo>
                    <a:pt x="444" y="464"/>
                  </a:lnTo>
                  <a:lnTo>
                    <a:pt x="445" y="467"/>
                  </a:lnTo>
                  <a:lnTo>
                    <a:pt x="447" y="471"/>
                  </a:lnTo>
                  <a:lnTo>
                    <a:pt x="446" y="471"/>
                  </a:lnTo>
                  <a:lnTo>
                    <a:pt x="444" y="469"/>
                  </a:lnTo>
                  <a:lnTo>
                    <a:pt x="444" y="472"/>
                  </a:lnTo>
                  <a:lnTo>
                    <a:pt x="442" y="472"/>
                  </a:lnTo>
                  <a:lnTo>
                    <a:pt x="441" y="471"/>
                  </a:lnTo>
                  <a:lnTo>
                    <a:pt x="439" y="469"/>
                  </a:lnTo>
                  <a:lnTo>
                    <a:pt x="439" y="472"/>
                  </a:lnTo>
                  <a:lnTo>
                    <a:pt x="439" y="474"/>
                  </a:lnTo>
                  <a:lnTo>
                    <a:pt x="438" y="474"/>
                  </a:lnTo>
                  <a:lnTo>
                    <a:pt x="435" y="474"/>
                  </a:lnTo>
                  <a:lnTo>
                    <a:pt x="434" y="474"/>
                  </a:lnTo>
                  <a:lnTo>
                    <a:pt x="433" y="472"/>
                  </a:lnTo>
                  <a:lnTo>
                    <a:pt x="430" y="471"/>
                  </a:lnTo>
                  <a:lnTo>
                    <a:pt x="430" y="469"/>
                  </a:lnTo>
                  <a:lnTo>
                    <a:pt x="428" y="468"/>
                  </a:lnTo>
                  <a:lnTo>
                    <a:pt x="427" y="467"/>
                  </a:lnTo>
                  <a:lnTo>
                    <a:pt x="425" y="467"/>
                  </a:lnTo>
                  <a:lnTo>
                    <a:pt x="424" y="466"/>
                  </a:lnTo>
                  <a:lnTo>
                    <a:pt x="423" y="464"/>
                  </a:lnTo>
                  <a:lnTo>
                    <a:pt x="423" y="463"/>
                  </a:lnTo>
                  <a:lnTo>
                    <a:pt x="422" y="461"/>
                  </a:lnTo>
                  <a:lnTo>
                    <a:pt x="422" y="458"/>
                  </a:lnTo>
                  <a:lnTo>
                    <a:pt x="423" y="457"/>
                  </a:lnTo>
                  <a:lnTo>
                    <a:pt x="424" y="456"/>
                  </a:lnTo>
                  <a:lnTo>
                    <a:pt x="424" y="455"/>
                  </a:lnTo>
                  <a:lnTo>
                    <a:pt x="425" y="452"/>
                  </a:lnTo>
                  <a:lnTo>
                    <a:pt x="424" y="452"/>
                  </a:lnTo>
                  <a:lnTo>
                    <a:pt x="423" y="452"/>
                  </a:lnTo>
                  <a:lnTo>
                    <a:pt x="422" y="451"/>
                  </a:lnTo>
                  <a:lnTo>
                    <a:pt x="421" y="451"/>
                  </a:lnTo>
                  <a:lnTo>
                    <a:pt x="419" y="451"/>
                  </a:lnTo>
                  <a:lnTo>
                    <a:pt x="418" y="450"/>
                  </a:lnTo>
                  <a:lnTo>
                    <a:pt x="416" y="451"/>
                  </a:lnTo>
                  <a:lnTo>
                    <a:pt x="415" y="451"/>
                  </a:lnTo>
                  <a:lnTo>
                    <a:pt x="416" y="454"/>
                  </a:lnTo>
                  <a:lnTo>
                    <a:pt x="417" y="456"/>
                  </a:lnTo>
                  <a:lnTo>
                    <a:pt x="419" y="456"/>
                  </a:lnTo>
                  <a:lnTo>
                    <a:pt x="419" y="458"/>
                  </a:lnTo>
                  <a:lnTo>
                    <a:pt x="419" y="461"/>
                  </a:lnTo>
                  <a:lnTo>
                    <a:pt x="421" y="463"/>
                  </a:lnTo>
                  <a:lnTo>
                    <a:pt x="422" y="464"/>
                  </a:lnTo>
                  <a:lnTo>
                    <a:pt x="423" y="467"/>
                  </a:lnTo>
                  <a:lnTo>
                    <a:pt x="423" y="469"/>
                  </a:lnTo>
                  <a:lnTo>
                    <a:pt x="424" y="472"/>
                  </a:lnTo>
                  <a:lnTo>
                    <a:pt x="424" y="473"/>
                  </a:lnTo>
                  <a:lnTo>
                    <a:pt x="427" y="474"/>
                  </a:lnTo>
                  <a:lnTo>
                    <a:pt x="425" y="478"/>
                  </a:lnTo>
                  <a:lnTo>
                    <a:pt x="427" y="480"/>
                  </a:lnTo>
                  <a:lnTo>
                    <a:pt x="428" y="483"/>
                  </a:lnTo>
                  <a:lnTo>
                    <a:pt x="430" y="484"/>
                  </a:lnTo>
                  <a:lnTo>
                    <a:pt x="431" y="484"/>
                  </a:lnTo>
                  <a:lnTo>
                    <a:pt x="435" y="486"/>
                  </a:lnTo>
                  <a:lnTo>
                    <a:pt x="435" y="489"/>
                  </a:lnTo>
                  <a:lnTo>
                    <a:pt x="434" y="490"/>
                  </a:lnTo>
                  <a:lnTo>
                    <a:pt x="433" y="489"/>
                  </a:lnTo>
                  <a:lnTo>
                    <a:pt x="431" y="489"/>
                  </a:lnTo>
                  <a:lnTo>
                    <a:pt x="429" y="490"/>
                  </a:lnTo>
                  <a:lnTo>
                    <a:pt x="428" y="490"/>
                  </a:lnTo>
                  <a:lnTo>
                    <a:pt x="425" y="490"/>
                  </a:lnTo>
                  <a:lnTo>
                    <a:pt x="424" y="487"/>
                  </a:lnTo>
                  <a:lnTo>
                    <a:pt x="423" y="487"/>
                  </a:lnTo>
                  <a:lnTo>
                    <a:pt x="422" y="487"/>
                  </a:lnTo>
                  <a:lnTo>
                    <a:pt x="421" y="487"/>
                  </a:lnTo>
                  <a:lnTo>
                    <a:pt x="421" y="486"/>
                  </a:lnTo>
                  <a:lnTo>
                    <a:pt x="419" y="490"/>
                  </a:lnTo>
                  <a:lnTo>
                    <a:pt x="422" y="492"/>
                  </a:lnTo>
                  <a:lnTo>
                    <a:pt x="423" y="492"/>
                  </a:lnTo>
                  <a:lnTo>
                    <a:pt x="424" y="495"/>
                  </a:lnTo>
                  <a:lnTo>
                    <a:pt x="424" y="497"/>
                  </a:lnTo>
                  <a:lnTo>
                    <a:pt x="422" y="497"/>
                  </a:lnTo>
                  <a:lnTo>
                    <a:pt x="421" y="497"/>
                  </a:lnTo>
                  <a:lnTo>
                    <a:pt x="419" y="495"/>
                  </a:lnTo>
                  <a:lnTo>
                    <a:pt x="419" y="496"/>
                  </a:lnTo>
                  <a:lnTo>
                    <a:pt x="421" y="498"/>
                  </a:lnTo>
                  <a:lnTo>
                    <a:pt x="419" y="499"/>
                  </a:lnTo>
                  <a:lnTo>
                    <a:pt x="419" y="502"/>
                  </a:lnTo>
                  <a:lnTo>
                    <a:pt x="423" y="504"/>
                  </a:lnTo>
                  <a:lnTo>
                    <a:pt x="427" y="505"/>
                  </a:lnTo>
                  <a:lnTo>
                    <a:pt x="428" y="507"/>
                  </a:lnTo>
                  <a:lnTo>
                    <a:pt x="431" y="507"/>
                  </a:lnTo>
                  <a:lnTo>
                    <a:pt x="434" y="508"/>
                  </a:lnTo>
                  <a:lnTo>
                    <a:pt x="435" y="508"/>
                  </a:lnTo>
                  <a:lnTo>
                    <a:pt x="436" y="509"/>
                  </a:lnTo>
                  <a:lnTo>
                    <a:pt x="438" y="510"/>
                  </a:lnTo>
                  <a:lnTo>
                    <a:pt x="439" y="511"/>
                  </a:lnTo>
                  <a:lnTo>
                    <a:pt x="438" y="513"/>
                  </a:lnTo>
                  <a:lnTo>
                    <a:pt x="436" y="515"/>
                  </a:lnTo>
                  <a:lnTo>
                    <a:pt x="435" y="515"/>
                  </a:lnTo>
                  <a:lnTo>
                    <a:pt x="436" y="516"/>
                  </a:lnTo>
                  <a:lnTo>
                    <a:pt x="434" y="519"/>
                  </a:lnTo>
                  <a:lnTo>
                    <a:pt x="434" y="520"/>
                  </a:lnTo>
                  <a:lnTo>
                    <a:pt x="431" y="521"/>
                  </a:lnTo>
                  <a:lnTo>
                    <a:pt x="430" y="521"/>
                  </a:lnTo>
                  <a:lnTo>
                    <a:pt x="428" y="522"/>
                  </a:lnTo>
                  <a:lnTo>
                    <a:pt x="427" y="522"/>
                  </a:lnTo>
                  <a:lnTo>
                    <a:pt x="425" y="522"/>
                  </a:lnTo>
                  <a:lnTo>
                    <a:pt x="423" y="522"/>
                  </a:lnTo>
                  <a:lnTo>
                    <a:pt x="421" y="522"/>
                  </a:lnTo>
                  <a:lnTo>
                    <a:pt x="419" y="525"/>
                  </a:lnTo>
                  <a:lnTo>
                    <a:pt x="422" y="527"/>
                  </a:lnTo>
                  <a:lnTo>
                    <a:pt x="423" y="529"/>
                  </a:lnTo>
                  <a:lnTo>
                    <a:pt x="424" y="531"/>
                  </a:lnTo>
                  <a:lnTo>
                    <a:pt x="427" y="534"/>
                  </a:lnTo>
                  <a:lnTo>
                    <a:pt x="429" y="538"/>
                  </a:lnTo>
                  <a:lnTo>
                    <a:pt x="427" y="540"/>
                  </a:lnTo>
                  <a:lnTo>
                    <a:pt x="424" y="539"/>
                  </a:lnTo>
                  <a:lnTo>
                    <a:pt x="422" y="539"/>
                  </a:lnTo>
                  <a:lnTo>
                    <a:pt x="422" y="535"/>
                  </a:lnTo>
                  <a:lnTo>
                    <a:pt x="419" y="535"/>
                  </a:lnTo>
                  <a:lnTo>
                    <a:pt x="417" y="534"/>
                  </a:lnTo>
                  <a:lnTo>
                    <a:pt x="418" y="534"/>
                  </a:lnTo>
                  <a:lnTo>
                    <a:pt x="417" y="534"/>
                  </a:lnTo>
                  <a:lnTo>
                    <a:pt x="413" y="533"/>
                  </a:lnTo>
                  <a:lnTo>
                    <a:pt x="412" y="532"/>
                  </a:lnTo>
                  <a:lnTo>
                    <a:pt x="411" y="531"/>
                  </a:lnTo>
                  <a:lnTo>
                    <a:pt x="409" y="529"/>
                  </a:lnTo>
                  <a:lnTo>
                    <a:pt x="409" y="528"/>
                  </a:lnTo>
                  <a:lnTo>
                    <a:pt x="406" y="528"/>
                  </a:lnTo>
                  <a:lnTo>
                    <a:pt x="405" y="527"/>
                  </a:lnTo>
                  <a:lnTo>
                    <a:pt x="404" y="527"/>
                  </a:lnTo>
                  <a:lnTo>
                    <a:pt x="401" y="528"/>
                  </a:lnTo>
                  <a:lnTo>
                    <a:pt x="397" y="527"/>
                  </a:lnTo>
                  <a:lnTo>
                    <a:pt x="394" y="526"/>
                  </a:lnTo>
                  <a:lnTo>
                    <a:pt x="393" y="523"/>
                  </a:lnTo>
                  <a:lnTo>
                    <a:pt x="392" y="522"/>
                  </a:lnTo>
                  <a:lnTo>
                    <a:pt x="393" y="521"/>
                  </a:lnTo>
                  <a:lnTo>
                    <a:pt x="395" y="517"/>
                  </a:lnTo>
                  <a:lnTo>
                    <a:pt x="395" y="515"/>
                  </a:lnTo>
                  <a:lnTo>
                    <a:pt x="398" y="514"/>
                  </a:lnTo>
                  <a:lnTo>
                    <a:pt x="401" y="514"/>
                  </a:lnTo>
                  <a:lnTo>
                    <a:pt x="403" y="511"/>
                  </a:lnTo>
                  <a:lnTo>
                    <a:pt x="404" y="510"/>
                  </a:lnTo>
                  <a:lnTo>
                    <a:pt x="403" y="509"/>
                  </a:lnTo>
                  <a:lnTo>
                    <a:pt x="401" y="508"/>
                  </a:lnTo>
                  <a:lnTo>
                    <a:pt x="400" y="505"/>
                  </a:lnTo>
                  <a:lnTo>
                    <a:pt x="399" y="504"/>
                  </a:lnTo>
                  <a:lnTo>
                    <a:pt x="398" y="503"/>
                  </a:lnTo>
                  <a:lnTo>
                    <a:pt x="397" y="502"/>
                  </a:lnTo>
                  <a:lnTo>
                    <a:pt x="394" y="503"/>
                  </a:lnTo>
                  <a:lnTo>
                    <a:pt x="394" y="504"/>
                  </a:lnTo>
                  <a:lnTo>
                    <a:pt x="393" y="503"/>
                  </a:lnTo>
                  <a:lnTo>
                    <a:pt x="391" y="501"/>
                  </a:lnTo>
                  <a:lnTo>
                    <a:pt x="389" y="501"/>
                  </a:lnTo>
                  <a:lnTo>
                    <a:pt x="388" y="497"/>
                  </a:lnTo>
                  <a:lnTo>
                    <a:pt x="387" y="496"/>
                  </a:lnTo>
                  <a:lnTo>
                    <a:pt x="385" y="497"/>
                  </a:lnTo>
                  <a:lnTo>
                    <a:pt x="385" y="499"/>
                  </a:lnTo>
                  <a:lnTo>
                    <a:pt x="385" y="502"/>
                  </a:lnTo>
                  <a:lnTo>
                    <a:pt x="383" y="501"/>
                  </a:lnTo>
                  <a:lnTo>
                    <a:pt x="382" y="502"/>
                  </a:lnTo>
                  <a:lnTo>
                    <a:pt x="380" y="503"/>
                  </a:lnTo>
                  <a:lnTo>
                    <a:pt x="377" y="501"/>
                  </a:lnTo>
                  <a:lnTo>
                    <a:pt x="376" y="502"/>
                  </a:lnTo>
                  <a:lnTo>
                    <a:pt x="375" y="503"/>
                  </a:lnTo>
                  <a:lnTo>
                    <a:pt x="375" y="504"/>
                  </a:lnTo>
                  <a:lnTo>
                    <a:pt x="372" y="507"/>
                  </a:lnTo>
                  <a:lnTo>
                    <a:pt x="371" y="508"/>
                  </a:lnTo>
                  <a:lnTo>
                    <a:pt x="372" y="509"/>
                  </a:lnTo>
                  <a:lnTo>
                    <a:pt x="372" y="511"/>
                  </a:lnTo>
                  <a:lnTo>
                    <a:pt x="372" y="514"/>
                  </a:lnTo>
                  <a:lnTo>
                    <a:pt x="371" y="514"/>
                  </a:lnTo>
                  <a:lnTo>
                    <a:pt x="369" y="514"/>
                  </a:lnTo>
                  <a:lnTo>
                    <a:pt x="366" y="513"/>
                  </a:lnTo>
                  <a:lnTo>
                    <a:pt x="364" y="513"/>
                  </a:lnTo>
                  <a:lnTo>
                    <a:pt x="364" y="514"/>
                  </a:lnTo>
                  <a:lnTo>
                    <a:pt x="364" y="516"/>
                  </a:lnTo>
                  <a:lnTo>
                    <a:pt x="364" y="519"/>
                  </a:lnTo>
                  <a:lnTo>
                    <a:pt x="366" y="520"/>
                  </a:lnTo>
                  <a:lnTo>
                    <a:pt x="369" y="519"/>
                  </a:lnTo>
                  <a:lnTo>
                    <a:pt x="370" y="521"/>
                  </a:lnTo>
                  <a:lnTo>
                    <a:pt x="372" y="521"/>
                  </a:lnTo>
                  <a:lnTo>
                    <a:pt x="375" y="522"/>
                  </a:lnTo>
                  <a:lnTo>
                    <a:pt x="377" y="523"/>
                  </a:lnTo>
                  <a:lnTo>
                    <a:pt x="380" y="525"/>
                  </a:lnTo>
                  <a:lnTo>
                    <a:pt x="382" y="525"/>
                  </a:lnTo>
                  <a:lnTo>
                    <a:pt x="386" y="526"/>
                  </a:lnTo>
                  <a:lnTo>
                    <a:pt x="386" y="528"/>
                  </a:lnTo>
                  <a:lnTo>
                    <a:pt x="388" y="529"/>
                  </a:lnTo>
                  <a:lnTo>
                    <a:pt x="391" y="531"/>
                  </a:lnTo>
                  <a:lnTo>
                    <a:pt x="393" y="531"/>
                  </a:lnTo>
                  <a:lnTo>
                    <a:pt x="397" y="532"/>
                  </a:lnTo>
                  <a:lnTo>
                    <a:pt x="398" y="531"/>
                  </a:lnTo>
                  <a:lnTo>
                    <a:pt x="401" y="534"/>
                  </a:lnTo>
                  <a:lnTo>
                    <a:pt x="403" y="535"/>
                  </a:lnTo>
                  <a:lnTo>
                    <a:pt x="404" y="537"/>
                  </a:lnTo>
                  <a:lnTo>
                    <a:pt x="403" y="540"/>
                  </a:lnTo>
                  <a:lnTo>
                    <a:pt x="401" y="543"/>
                  </a:lnTo>
                  <a:lnTo>
                    <a:pt x="401" y="545"/>
                  </a:lnTo>
                  <a:lnTo>
                    <a:pt x="401" y="544"/>
                  </a:lnTo>
                  <a:lnTo>
                    <a:pt x="401" y="545"/>
                  </a:lnTo>
                  <a:lnTo>
                    <a:pt x="400" y="549"/>
                  </a:lnTo>
                  <a:lnTo>
                    <a:pt x="400" y="550"/>
                  </a:lnTo>
                  <a:lnTo>
                    <a:pt x="399" y="552"/>
                  </a:lnTo>
                  <a:lnTo>
                    <a:pt x="397" y="555"/>
                  </a:lnTo>
                  <a:lnTo>
                    <a:pt x="393" y="556"/>
                  </a:lnTo>
                  <a:lnTo>
                    <a:pt x="392" y="556"/>
                  </a:lnTo>
                  <a:lnTo>
                    <a:pt x="391" y="562"/>
                  </a:lnTo>
                  <a:lnTo>
                    <a:pt x="388" y="563"/>
                  </a:lnTo>
                  <a:lnTo>
                    <a:pt x="386" y="562"/>
                  </a:lnTo>
                  <a:lnTo>
                    <a:pt x="383" y="562"/>
                  </a:lnTo>
                  <a:lnTo>
                    <a:pt x="382" y="559"/>
                  </a:lnTo>
                  <a:lnTo>
                    <a:pt x="379" y="558"/>
                  </a:lnTo>
                  <a:lnTo>
                    <a:pt x="379" y="556"/>
                  </a:lnTo>
                  <a:lnTo>
                    <a:pt x="379" y="555"/>
                  </a:lnTo>
                  <a:lnTo>
                    <a:pt x="377" y="551"/>
                  </a:lnTo>
                  <a:lnTo>
                    <a:pt x="379" y="550"/>
                  </a:lnTo>
                  <a:lnTo>
                    <a:pt x="377" y="549"/>
                  </a:lnTo>
                  <a:lnTo>
                    <a:pt x="375" y="549"/>
                  </a:lnTo>
                  <a:lnTo>
                    <a:pt x="374" y="547"/>
                  </a:lnTo>
                  <a:lnTo>
                    <a:pt x="372" y="545"/>
                  </a:lnTo>
                  <a:lnTo>
                    <a:pt x="371" y="544"/>
                  </a:lnTo>
                  <a:lnTo>
                    <a:pt x="371" y="547"/>
                  </a:lnTo>
                  <a:lnTo>
                    <a:pt x="370" y="549"/>
                  </a:lnTo>
                  <a:lnTo>
                    <a:pt x="370" y="550"/>
                  </a:lnTo>
                  <a:lnTo>
                    <a:pt x="368" y="549"/>
                  </a:lnTo>
                  <a:lnTo>
                    <a:pt x="366" y="547"/>
                  </a:lnTo>
                  <a:lnTo>
                    <a:pt x="365" y="549"/>
                  </a:lnTo>
                  <a:lnTo>
                    <a:pt x="364" y="550"/>
                  </a:lnTo>
                  <a:lnTo>
                    <a:pt x="363" y="551"/>
                  </a:lnTo>
                  <a:lnTo>
                    <a:pt x="360" y="551"/>
                  </a:lnTo>
                  <a:lnTo>
                    <a:pt x="359" y="550"/>
                  </a:lnTo>
                  <a:lnTo>
                    <a:pt x="358" y="549"/>
                  </a:lnTo>
                  <a:lnTo>
                    <a:pt x="356" y="549"/>
                  </a:lnTo>
                  <a:lnTo>
                    <a:pt x="354" y="549"/>
                  </a:lnTo>
                  <a:lnTo>
                    <a:pt x="352" y="550"/>
                  </a:lnTo>
                  <a:lnTo>
                    <a:pt x="351" y="552"/>
                  </a:lnTo>
                  <a:lnTo>
                    <a:pt x="348" y="552"/>
                  </a:lnTo>
                  <a:lnTo>
                    <a:pt x="347" y="556"/>
                  </a:lnTo>
                  <a:lnTo>
                    <a:pt x="348" y="558"/>
                  </a:lnTo>
                  <a:lnTo>
                    <a:pt x="350" y="559"/>
                  </a:lnTo>
                  <a:lnTo>
                    <a:pt x="352" y="559"/>
                  </a:lnTo>
                  <a:lnTo>
                    <a:pt x="356" y="559"/>
                  </a:lnTo>
                  <a:lnTo>
                    <a:pt x="356" y="562"/>
                  </a:lnTo>
                  <a:lnTo>
                    <a:pt x="354" y="563"/>
                  </a:lnTo>
                  <a:lnTo>
                    <a:pt x="352" y="563"/>
                  </a:lnTo>
                  <a:lnTo>
                    <a:pt x="351" y="562"/>
                  </a:lnTo>
                  <a:lnTo>
                    <a:pt x="348" y="563"/>
                  </a:lnTo>
                  <a:lnTo>
                    <a:pt x="346" y="563"/>
                  </a:lnTo>
                  <a:lnTo>
                    <a:pt x="342" y="559"/>
                  </a:lnTo>
                  <a:lnTo>
                    <a:pt x="340" y="559"/>
                  </a:lnTo>
                  <a:lnTo>
                    <a:pt x="336" y="559"/>
                  </a:lnTo>
                  <a:lnTo>
                    <a:pt x="335" y="558"/>
                  </a:lnTo>
                  <a:lnTo>
                    <a:pt x="333" y="559"/>
                  </a:lnTo>
                  <a:lnTo>
                    <a:pt x="330" y="558"/>
                  </a:lnTo>
                  <a:lnTo>
                    <a:pt x="330" y="557"/>
                  </a:lnTo>
                  <a:lnTo>
                    <a:pt x="330" y="556"/>
                  </a:lnTo>
                  <a:lnTo>
                    <a:pt x="332" y="555"/>
                  </a:lnTo>
                  <a:lnTo>
                    <a:pt x="332" y="553"/>
                  </a:lnTo>
                  <a:lnTo>
                    <a:pt x="329" y="553"/>
                  </a:lnTo>
                  <a:lnTo>
                    <a:pt x="327" y="553"/>
                  </a:lnTo>
                  <a:lnTo>
                    <a:pt x="326" y="555"/>
                  </a:lnTo>
                  <a:lnTo>
                    <a:pt x="323" y="555"/>
                  </a:lnTo>
                  <a:lnTo>
                    <a:pt x="323" y="550"/>
                  </a:lnTo>
                  <a:lnTo>
                    <a:pt x="323" y="547"/>
                  </a:lnTo>
                  <a:lnTo>
                    <a:pt x="323" y="546"/>
                  </a:lnTo>
                  <a:lnTo>
                    <a:pt x="318" y="541"/>
                  </a:lnTo>
                  <a:lnTo>
                    <a:pt x="320" y="541"/>
                  </a:lnTo>
                  <a:lnTo>
                    <a:pt x="318" y="540"/>
                  </a:lnTo>
                  <a:lnTo>
                    <a:pt x="314" y="539"/>
                  </a:lnTo>
                  <a:lnTo>
                    <a:pt x="311" y="538"/>
                  </a:lnTo>
                  <a:lnTo>
                    <a:pt x="309" y="538"/>
                  </a:lnTo>
                  <a:lnTo>
                    <a:pt x="309" y="537"/>
                  </a:lnTo>
                  <a:lnTo>
                    <a:pt x="310" y="534"/>
                  </a:lnTo>
                  <a:lnTo>
                    <a:pt x="312" y="533"/>
                  </a:lnTo>
                  <a:lnTo>
                    <a:pt x="314" y="532"/>
                  </a:lnTo>
                  <a:lnTo>
                    <a:pt x="318" y="532"/>
                  </a:lnTo>
                  <a:lnTo>
                    <a:pt x="320" y="529"/>
                  </a:lnTo>
                  <a:lnTo>
                    <a:pt x="323" y="528"/>
                  </a:lnTo>
                  <a:lnTo>
                    <a:pt x="324" y="527"/>
                  </a:lnTo>
                  <a:lnTo>
                    <a:pt x="327" y="526"/>
                  </a:lnTo>
                  <a:lnTo>
                    <a:pt x="326" y="522"/>
                  </a:lnTo>
                  <a:lnTo>
                    <a:pt x="324" y="523"/>
                  </a:lnTo>
                  <a:lnTo>
                    <a:pt x="322" y="525"/>
                  </a:lnTo>
                  <a:lnTo>
                    <a:pt x="322" y="523"/>
                  </a:lnTo>
                  <a:lnTo>
                    <a:pt x="321" y="525"/>
                  </a:lnTo>
                  <a:lnTo>
                    <a:pt x="320" y="527"/>
                  </a:lnTo>
                  <a:lnTo>
                    <a:pt x="318" y="527"/>
                  </a:lnTo>
                  <a:lnTo>
                    <a:pt x="317" y="526"/>
                  </a:lnTo>
                  <a:lnTo>
                    <a:pt x="316" y="526"/>
                  </a:lnTo>
                  <a:lnTo>
                    <a:pt x="315" y="526"/>
                  </a:lnTo>
                  <a:lnTo>
                    <a:pt x="314" y="523"/>
                  </a:lnTo>
                  <a:lnTo>
                    <a:pt x="315" y="521"/>
                  </a:lnTo>
                  <a:lnTo>
                    <a:pt x="311" y="523"/>
                  </a:lnTo>
                  <a:lnTo>
                    <a:pt x="306" y="528"/>
                  </a:lnTo>
                  <a:lnTo>
                    <a:pt x="301" y="555"/>
                  </a:lnTo>
                  <a:lnTo>
                    <a:pt x="300" y="565"/>
                  </a:lnTo>
                  <a:lnTo>
                    <a:pt x="301" y="570"/>
                  </a:lnTo>
                  <a:lnTo>
                    <a:pt x="304" y="576"/>
                  </a:lnTo>
                  <a:lnTo>
                    <a:pt x="305" y="582"/>
                  </a:lnTo>
                  <a:lnTo>
                    <a:pt x="298" y="603"/>
                  </a:lnTo>
                  <a:lnTo>
                    <a:pt x="297" y="621"/>
                  </a:lnTo>
                  <a:lnTo>
                    <a:pt x="300" y="627"/>
                  </a:lnTo>
                  <a:lnTo>
                    <a:pt x="300" y="630"/>
                  </a:lnTo>
                  <a:lnTo>
                    <a:pt x="294" y="641"/>
                  </a:lnTo>
                  <a:lnTo>
                    <a:pt x="291" y="695"/>
                  </a:lnTo>
                  <a:lnTo>
                    <a:pt x="293" y="73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8" name="Freeform 81"/>
            <p:cNvSpPr>
              <a:spLocks noEditPoints="1"/>
            </p:cNvSpPr>
            <p:nvPr userDrawn="1"/>
          </p:nvSpPr>
          <p:spPr bwMode="auto">
            <a:xfrm>
              <a:off x="8018463" y="6276976"/>
              <a:ext cx="133350" cy="246063"/>
            </a:xfrm>
            <a:custGeom>
              <a:avLst/>
              <a:gdLst/>
              <a:ahLst/>
              <a:cxnLst>
                <a:cxn ang="0">
                  <a:pos x="175" y="755"/>
                </a:cxn>
                <a:cxn ang="0">
                  <a:pos x="191" y="537"/>
                </a:cxn>
                <a:cxn ang="0">
                  <a:pos x="218" y="537"/>
                </a:cxn>
                <a:cxn ang="0">
                  <a:pos x="379" y="319"/>
                </a:cxn>
                <a:cxn ang="0">
                  <a:pos x="423" y="362"/>
                </a:cxn>
                <a:cxn ang="0">
                  <a:pos x="413" y="369"/>
                </a:cxn>
                <a:cxn ang="0">
                  <a:pos x="356" y="350"/>
                </a:cxn>
                <a:cxn ang="0">
                  <a:pos x="255" y="289"/>
                </a:cxn>
                <a:cxn ang="0">
                  <a:pos x="229" y="300"/>
                </a:cxn>
                <a:cxn ang="0">
                  <a:pos x="242" y="527"/>
                </a:cxn>
                <a:cxn ang="0">
                  <a:pos x="254" y="755"/>
                </a:cxn>
                <a:cxn ang="0">
                  <a:pos x="161" y="777"/>
                </a:cxn>
                <a:cxn ang="0">
                  <a:pos x="172" y="742"/>
                </a:cxn>
                <a:cxn ang="0">
                  <a:pos x="191" y="527"/>
                </a:cxn>
                <a:cxn ang="0">
                  <a:pos x="178" y="278"/>
                </a:cxn>
                <a:cxn ang="0">
                  <a:pos x="111" y="325"/>
                </a:cxn>
                <a:cxn ang="0">
                  <a:pos x="12" y="367"/>
                </a:cxn>
                <a:cxn ang="0">
                  <a:pos x="0" y="359"/>
                </a:cxn>
                <a:cxn ang="0">
                  <a:pos x="52" y="310"/>
                </a:cxn>
                <a:cxn ang="0">
                  <a:pos x="163" y="252"/>
                </a:cxn>
                <a:cxn ang="0">
                  <a:pos x="193" y="224"/>
                </a:cxn>
                <a:cxn ang="0">
                  <a:pos x="193" y="163"/>
                </a:cxn>
                <a:cxn ang="0">
                  <a:pos x="197" y="35"/>
                </a:cxn>
                <a:cxn ang="0">
                  <a:pos x="214" y="0"/>
                </a:cxn>
                <a:cxn ang="0">
                  <a:pos x="229" y="35"/>
                </a:cxn>
                <a:cxn ang="0">
                  <a:pos x="234" y="163"/>
                </a:cxn>
                <a:cxn ang="0">
                  <a:pos x="235" y="224"/>
                </a:cxn>
                <a:cxn ang="0">
                  <a:pos x="243" y="248"/>
                </a:cxn>
                <a:cxn ang="0">
                  <a:pos x="313" y="277"/>
                </a:cxn>
                <a:cxn ang="0">
                  <a:pos x="270" y="265"/>
                </a:cxn>
                <a:cxn ang="0">
                  <a:pos x="262" y="270"/>
                </a:cxn>
                <a:cxn ang="0">
                  <a:pos x="307" y="302"/>
                </a:cxn>
                <a:cxn ang="0">
                  <a:pos x="378" y="339"/>
                </a:cxn>
                <a:cxn ang="0">
                  <a:pos x="386" y="336"/>
                </a:cxn>
                <a:cxn ang="0">
                  <a:pos x="365" y="316"/>
                </a:cxn>
                <a:cxn ang="0">
                  <a:pos x="282" y="270"/>
                </a:cxn>
                <a:cxn ang="0">
                  <a:pos x="54" y="335"/>
                </a:cxn>
                <a:cxn ang="0">
                  <a:pos x="142" y="283"/>
                </a:cxn>
                <a:cxn ang="0">
                  <a:pos x="158" y="267"/>
                </a:cxn>
                <a:cxn ang="0">
                  <a:pos x="114" y="282"/>
                </a:cxn>
                <a:cxn ang="0">
                  <a:pos x="48" y="324"/>
                </a:cxn>
                <a:cxn ang="0">
                  <a:pos x="32" y="339"/>
                </a:cxn>
                <a:cxn ang="0">
                  <a:pos x="207" y="256"/>
                </a:cxn>
                <a:cxn ang="0">
                  <a:pos x="222" y="247"/>
                </a:cxn>
                <a:cxn ang="0">
                  <a:pos x="218" y="230"/>
                </a:cxn>
                <a:cxn ang="0">
                  <a:pos x="201" y="226"/>
                </a:cxn>
                <a:cxn ang="0">
                  <a:pos x="193" y="241"/>
                </a:cxn>
                <a:cxn ang="0">
                  <a:pos x="197" y="121"/>
                </a:cxn>
                <a:cxn ang="0">
                  <a:pos x="207" y="194"/>
                </a:cxn>
                <a:cxn ang="0">
                  <a:pos x="215" y="121"/>
                </a:cxn>
                <a:cxn ang="0">
                  <a:pos x="207" y="47"/>
                </a:cxn>
                <a:cxn ang="0">
                  <a:pos x="199" y="93"/>
                </a:cxn>
              </a:cxnLst>
              <a:rect l="0" t="0" r="r" b="b"/>
              <a:pathLst>
                <a:path w="423" h="777">
                  <a:moveTo>
                    <a:pt x="203" y="746"/>
                  </a:moveTo>
                  <a:lnTo>
                    <a:pt x="175" y="744"/>
                  </a:lnTo>
                  <a:lnTo>
                    <a:pt x="175" y="755"/>
                  </a:lnTo>
                  <a:lnTo>
                    <a:pt x="203" y="755"/>
                  </a:lnTo>
                  <a:lnTo>
                    <a:pt x="203" y="746"/>
                  </a:lnTo>
                  <a:close/>
                  <a:moveTo>
                    <a:pt x="191" y="537"/>
                  </a:moveTo>
                  <a:lnTo>
                    <a:pt x="191" y="741"/>
                  </a:lnTo>
                  <a:lnTo>
                    <a:pt x="217" y="741"/>
                  </a:lnTo>
                  <a:lnTo>
                    <a:pt x="218" y="537"/>
                  </a:lnTo>
                  <a:lnTo>
                    <a:pt x="191" y="537"/>
                  </a:lnTo>
                  <a:close/>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moveTo>
                    <a:pt x="282" y="270"/>
                  </a:moveTo>
                  <a:lnTo>
                    <a:pt x="270" y="265"/>
                  </a:lnTo>
                  <a:lnTo>
                    <a:pt x="265" y="265"/>
                  </a:lnTo>
                  <a:lnTo>
                    <a:pt x="262" y="266"/>
                  </a:lnTo>
                  <a:lnTo>
                    <a:pt x="262" y="270"/>
                  </a:lnTo>
                  <a:lnTo>
                    <a:pt x="267" y="274"/>
                  </a:lnTo>
                  <a:lnTo>
                    <a:pt x="282" y="285"/>
                  </a:lnTo>
                  <a:lnTo>
                    <a:pt x="307" y="302"/>
                  </a:lnTo>
                  <a:lnTo>
                    <a:pt x="335" y="320"/>
                  </a:lnTo>
                  <a:lnTo>
                    <a:pt x="361" y="333"/>
                  </a:lnTo>
                  <a:lnTo>
                    <a:pt x="378" y="339"/>
                  </a:lnTo>
                  <a:lnTo>
                    <a:pt x="384" y="341"/>
                  </a:lnTo>
                  <a:lnTo>
                    <a:pt x="386" y="339"/>
                  </a:lnTo>
                  <a:lnTo>
                    <a:pt x="386" y="336"/>
                  </a:lnTo>
                  <a:lnTo>
                    <a:pt x="384" y="333"/>
                  </a:lnTo>
                  <a:lnTo>
                    <a:pt x="380" y="330"/>
                  </a:lnTo>
                  <a:lnTo>
                    <a:pt x="365" y="316"/>
                  </a:lnTo>
                  <a:lnTo>
                    <a:pt x="348" y="306"/>
                  </a:lnTo>
                  <a:lnTo>
                    <a:pt x="305" y="280"/>
                  </a:lnTo>
                  <a:lnTo>
                    <a:pt x="282" y="270"/>
                  </a:lnTo>
                  <a:close/>
                  <a:moveTo>
                    <a:pt x="32" y="339"/>
                  </a:moveTo>
                  <a:lnTo>
                    <a:pt x="39" y="341"/>
                  </a:lnTo>
                  <a:lnTo>
                    <a:pt x="54" y="335"/>
                  </a:lnTo>
                  <a:lnTo>
                    <a:pt x="99" y="312"/>
                  </a:lnTo>
                  <a:lnTo>
                    <a:pt x="123" y="296"/>
                  </a:lnTo>
                  <a:lnTo>
                    <a:pt x="142" y="283"/>
                  </a:lnTo>
                  <a:lnTo>
                    <a:pt x="154" y="272"/>
                  </a:lnTo>
                  <a:lnTo>
                    <a:pt x="156" y="270"/>
                  </a:lnTo>
                  <a:lnTo>
                    <a:pt x="158" y="267"/>
                  </a:lnTo>
                  <a:lnTo>
                    <a:pt x="150" y="266"/>
                  </a:lnTo>
                  <a:lnTo>
                    <a:pt x="136" y="272"/>
                  </a:lnTo>
                  <a:lnTo>
                    <a:pt x="114" y="282"/>
                  </a:lnTo>
                  <a:lnTo>
                    <a:pt x="90" y="295"/>
                  </a:lnTo>
                  <a:lnTo>
                    <a:pt x="66" y="310"/>
                  </a:lnTo>
                  <a:lnTo>
                    <a:pt x="48" y="324"/>
                  </a:lnTo>
                  <a:lnTo>
                    <a:pt x="35" y="335"/>
                  </a:lnTo>
                  <a:lnTo>
                    <a:pt x="32" y="337"/>
                  </a:lnTo>
                  <a:lnTo>
                    <a:pt x="32" y="339"/>
                  </a:lnTo>
                  <a:close/>
                  <a:moveTo>
                    <a:pt x="196" y="252"/>
                  </a:moveTo>
                  <a:lnTo>
                    <a:pt x="201" y="255"/>
                  </a:lnTo>
                  <a:lnTo>
                    <a:pt x="207" y="256"/>
                  </a:lnTo>
                  <a:lnTo>
                    <a:pt x="213" y="255"/>
                  </a:lnTo>
                  <a:lnTo>
                    <a:pt x="218" y="252"/>
                  </a:lnTo>
                  <a:lnTo>
                    <a:pt x="222" y="247"/>
                  </a:lnTo>
                  <a:lnTo>
                    <a:pt x="223" y="241"/>
                  </a:lnTo>
                  <a:lnTo>
                    <a:pt x="222" y="235"/>
                  </a:lnTo>
                  <a:lnTo>
                    <a:pt x="218" y="230"/>
                  </a:lnTo>
                  <a:lnTo>
                    <a:pt x="213" y="226"/>
                  </a:lnTo>
                  <a:lnTo>
                    <a:pt x="207" y="225"/>
                  </a:lnTo>
                  <a:lnTo>
                    <a:pt x="201" y="226"/>
                  </a:lnTo>
                  <a:lnTo>
                    <a:pt x="196" y="230"/>
                  </a:lnTo>
                  <a:lnTo>
                    <a:pt x="194" y="235"/>
                  </a:lnTo>
                  <a:lnTo>
                    <a:pt x="193" y="241"/>
                  </a:lnTo>
                  <a:lnTo>
                    <a:pt x="194" y="247"/>
                  </a:lnTo>
                  <a:lnTo>
                    <a:pt x="196" y="252"/>
                  </a:lnTo>
                  <a:close/>
                  <a:moveTo>
                    <a:pt x="197" y="121"/>
                  </a:moveTo>
                  <a:lnTo>
                    <a:pt x="201" y="172"/>
                  </a:lnTo>
                  <a:lnTo>
                    <a:pt x="203" y="188"/>
                  </a:lnTo>
                  <a:lnTo>
                    <a:pt x="207" y="194"/>
                  </a:lnTo>
                  <a:lnTo>
                    <a:pt x="211" y="188"/>
                  </a:lnTo>
                  <a:lnTo>
                    <a:pt x="214" y="172"/>
                  </a:lnTo>
                  <a:lnTo>
                    <a:pt x="215" y="121"/>
                  </a:lnTo>
                  <a:lnTo>
                    <a:pt x="214" y="69"/>
                  </a:lnTo>
                  <a:lnTo>
                    <a:pt x="211" y="53"/>
                  </a:lnTo>
                  <a:lnTo>
                    <a:pt x="207" y="47"/>
                  </a:lnTo>
                  <a:lnTo>
                    <a:pt x="203" y="53"/>
                  </a:lnTo>
                  <a:lnTo>
                    <a:pt x="201" y="69"/>
                  </a:lnTo>
                  <a:lnTo>
                    <a:pt x="199" y="93"/>
                  </a:lnTo>
                  <a:lnTo>
                    <a:pt x="197" y="121"/>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9" name="Freeform 82"/>
            <p:cNvSpPr>
              <a:spLocks/>
            </p:cNvSpPr>
            <p:nvPr userDrawn="1"/>
          </p:nvSpPr>
          <p:spPr bwMode="auto">
            <a:xfrm>
              <a:off x="8074025" y="6513513"/>
              <a:ext cx="7938" cy="3175"/>
            </a:xfrm>
            <a:custGeom>
              <a:avLst/>
              <a:gdLst/>
              <a:ahLst/>
              <a:cxnLst>
                <a:cxn ang="0">
                  <a:pos x="28" y="2"/>
                </a:cxn>
                <a:cxn ang="0">
                  <a:pos x="0" y="0"/>
                </a:cxn>
                <a:cxn ang="0">
                  <a:pos x="0" y="11"/>
                </a:cxn>
                <a:cxn ang="0">
                  <a:pos x="28" y="11"/>
                </a:cxn>
                <a:cxn ang="0">
                  <a:pos x="28" y="2"/>
                </a:cxn>
              </a:cxnLst>
              <a:rect l="0" t="0" r="r" b="b"/>
              <a:pathLst>
                <a:path w="28" h="11">
                  <a:moveTo>
                    <a:pt x="28" y="2"/>
                  </a:moveTo>
                  <a:lnTo>
                    <a:pt x="0" y="0"/>
                  </a:lnTo>
                  <a:lnTo>
                    <a:pt x="0" y="11"/>
                  </a:lnTo>
                  <a:lnTo>
                    <a:pt x="28" y="11"/>
                  </a:lnTo>
                  <a:lnTo>
                    <a:pt x="28" y="2"/>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0" name="Freeform 83"/>
            <p:cNvSpPr>
              <a:spLocks/>
            </p:cNvSpPr>
            <p:nvPr userDrawn="1"/>
          </p:nvSpPr>
          <p:spPr bwMode="auto">
            <a:xfrm>
              <a:off x="8078788" y="6446838"/>
              <a:ext cx="7938" cy="65088"/>
            </a:xfrm>
            <a:custGeom>
              <a:avLst/>
              <a:gdLst/>
              <a:ahLst/>
              <a:cxnLst>
                <a:cxn ang="0">
                  <a:pos x="0" y="0"/>
                </a:cxn>
                <a:cxn ang="0">
                  <a:pos x="0" y="204"/>
                </a:cxn>
                <a:cxn ang="0">
                  <a:pos x="26" y="204"/>
                </a:cxn>
                <a:cxn ang="0">
                  <a:pos x="27" y="0"/>
                </a:cxn>
                <a:cxn ang="0">
                  <a:pos x="0" y="0"/>
                </a:cxn>
              </a:cxnLst>
              <a:rect l="0" t="0" r="r" b="b"/>
              <a:pathLst>
                <a:path w="27" h="204">
                  <a:moveTo>
                    <a:pt x="0" y="0"/>
                  </a:moveTo>
                  <a:lnTo>
                    <a:pt x="0" y="204"/>
                  </a:lnTo>
                  <a:lnTo>
                    <a:pt x="26" y="204"/>
                  </a:lnTo>
                  <a:lnTo>
                    <a:pt x="27" y="0"/>
                  </a:lnTo>
                  <a:lnTo>
                    <a:pt x="0"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1" name="Freeform 84"/>
            <p:cNvSpPr>
              <a:spLocks/>
            </p:cNvSpPr>
            <p:nvPr userDrawn="1"/>
          </p:nvSpPr>
          <p:spPr bwMode="auto">
            <a:xfrm>
              <a:off x="8018463" y="6276976"/>
              <a:ext cx="133350" cy="246063"/>
            </a:xfrm>
            <a:custGeom>
              <a:avLst/>
              <a:gdLst/>
              <a:ahLst/>
              <a:cxnLst>
                <a:cxn ang="0">
                  <a:pos x="379" y="319"/>
                </a:cxn>
                <a:cxn ang="0">
                  <a:pos x="419" y="355"/>
                </a:cxn>
                <a:cxn ang="0">
                  <a:pos x="423" y="367"/>
                </a:cxn>
                <a:cxn ang="0">
                  <a:pos x="413" y="369"/>
                </a:cxn>
                <a:cxn ang="0">
                  <a:pos x="391" y="366"/>
                </a:cxn>
                <a:cxn ang="0">
                  <a:pos x="318" y="332"/>
                </a:cxn>
                <a:cxn ang="0">
                  <a:pos x="255" y="289"/>
                </a:cxn>
                <a:cxn ang="0">
                  <a:pos x="229" y="272"/>
                </a:cxn>
                <a:cxn ang="0">
                  <a:pos x="230" y="348"/>
                </a:cxn>
                <a:cxn ang="0">
                  <a:pos x="242" y="527"/>
                </a:cxn>
                <a:cxn ang="0">
                  <a:pos x="254" y="742"/>
                </a:cxn>
                <a:cxn ang="0">
                  <a:pos x="267" y="755"/>
                </a:cxn>
                <a:cxn ang="0">
                  <a:pos x="161" y="777"/>
                </a:cxn>
                <a:cxn ang="0">
                  <a:pos x="172" y="755"/>
                </a:cxn>
                <a:cxn ang="0">
                  <a:pos x="184" y="742"/>
                </a:cxn>
                <a:cxn ang="0">
                  <a:pos x="191" y="527"/>
                </a:cxn>
                <a:cxn ang="0">
                  <a:pos x="193" y="266"/>
                </a:cxn>
                <a:cxn ang="0">
                  <a:pos x="164" y="290"/>
                </a:cxn>
                <a:cxn ang="0">
                  <a:pos x="111" y="325"/>
                </a:cxn>
                <a:cxn ang="0">
                  <a:pos x="37" y="360"/>
                </a:cxn>
                <a:cxn ang="0">
                  <a:pos x="5" y="367"/>
                </a:cxn>
                <a:cxn ang="0">
                  <a:pos x="0" y="359"/>
                </a:cxn>
                <a:cxn ang="0">
                  <a:pos x="22" y="333"/>
                </a:cxn>
                <a:cxn ang="0">
                  <a:pos x="89" y="286"/>
                </a:cxn>
                <a:cxn ang="0">
                  <a:pos x="163" y="252"/>
                </a:cxn>
                <a:cxn ang="0">
                  <a:pos x="187" y="234"/>
                </a:cxn>
                <a:cxn ang="0">
                  <a:pos x="201" y="219"/>
                </a:cxn>
                <a:cxn ang="0">
                  <a:pos x="193" y="163"/>
                </a:cxn>
                <a:cxn ang="0">
                  <a:pos x="193" y="72"/>
                </a:cxn>
                <a:cxn ang="0">
                  <a:pos x="205" y="9"/>
                </a:cxn>
                <a:cxn ang="0">
                  <a:pos x="214" y="0"/>
                </a:cxn>
                <a:cxn ang="0">
                  <a:pos x="222" y="9"/>
                </a:cxn>
                <a:cxn ang="0">
                  <a:pos x="234" y="72"/>
                </a:cxn>
                <a:cxn ang="0">
                  <a:pos x="234" y="163"/>
                </a:cxn>
                <a:cxn ang="0">
                  <a:pos x="224" y="218"/>
                </a:cxn>
                <a:cxn ang="0">
                  <a:pos x="241" y="234"/>
                </a:cxn>
                <a:cxn ang="0">
                  <a:pos x="243" y="248"/>
                </a:cxn>
                <a:cxn ang="0">
                  <a:pos x="290" y="266"/>
                </a:cxn>
                <a:cxn ang="0">
                  <a:pos x="335" y="290"/>
                </a:cxn>
              </a:cxnLst>
              <a:rect l="0" t="0" r="r" b="b"/>
              <a:pathLst>
                <a:path w="423" h="777">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2" name="Freeform 85"/>
            <p:cNvSpPr>
              <a:spLocks/>
            </p:cNvSpPr>
            <p:nvPr userDrawn="1"/>
          </p:nvSpPr>
          <p:spPr bwMode="auto">
            <a:xfrm>
              <a:off x="8101013" y="6361113"/>
              <a:ext cx="39688" cy="23813"/>
            </a:xfrm>
            <a:custGeom>
              <a:avLst/>
              <a:gdLst/>
              <a:ahLst/>
              <a:cxnLst>
                <a:cxn ang="0">
                  <a:pos x="20" y="5"/>
                </a:cxn>
                <a:cxn ang="0">
                  <a:pos x="8" y="0"/>
                </a:cxn>
                <a:cxn ang="0">
                  <a:pos x="3" y="0"/>
                </a:cxn>
                <a:cxn ang="0">
                  <a:pos x="0" y="1"/>
                </a:cxn>
                <a:cxn ang="0">
                  <a:pos x="0" y="5"/>
                </a:cxn>
                <a:cxn ang="0">
                  <a:pos x="5" y="9"/>
                </a:cxn>
                <a:cxn ang="0">
                  <a:pos x="20" y="20"/>
                </a:cxn>
                <a:cxn ang="0">
                  <a:pos x="45" y="37"/>
                </a:cxn>
                <a:cxn ang="0">
                  <a:pos x="73" y="55"/>
                </a:cxn>
                <a:cxn ang="0">
                  <a:pos x="99" y="68"/>
                </a:cxn>
                <a:cxn ang="0">
                  <a:pos x="116" y="74"/>
                </a:cxn>
                <a:cxn ang="0">
                  <a:pos x="122" y="76"/>
                </a:cxn>
                <a:cxn ang="0">
                  <a:pos x="124" y="74"/>
                </a:cxn>
                <a:cxn ang="0">
                  <a:pos x="124" y="71"/>
                </a:cxn>
                <a:cxn ang="0">
                  <a:pos x="122" y="68"/>
                </a:cxn>
                <a:cxn ang="0">
                  <a:pos x="118" y="65"/>
                </a:cxn>
                <a:cxn ang="0">
                  <a:pos x="103" y="51"/>
                </a:cxn>
                <a:cxn ang="0">
                  <a:pos x="86" y="41"/>
                </a:cxn>
                <a:cxn ang="0">
                  <a:pos x="43" y="15"/>
                </a:cxn>
                <a:cxn ang="0">
                  <a:pos x="20" y="5"/>
                </a:cxn>
              </a:cxnLst>
              <a:rect l="0" t="0" r="r" b="b"/>
              <a:pathLst>
                <a:path w="124" h="76">
                  <a:moveTo>
                    <a:pt x="20" y="5"/>
                  </a:moveTo>
                  <a:lnTo>
                    <a:pt x="8" y="0"/>
                  </a:lnTo>
                  <a:lnTo>
                    <a:pt x="3" y="0"/>
                  </a:lnTo>
                  <a:lnTo>
                    <a:pt x="0" y="1"/>
                  </a:lnTo>
                  <a:lnTo>
                    <a:pt x="0" y="5"/>
                  </a:lnTo>
                  <a:lnTo>
                    <a:pt x="5" y="9"/>
                  </a:lnTo>
                  <a:lnTo>
                    <a:pt x="20" y="20"/>
                  </a:lnTo>
                  <a:lnTo>
                    <a:pt x="45" y="37"/>
                  </a:lnTo>
                  <a:lnTo>
                    <a:pt x="73" y="55"/>
                  </a:lnTo>
                  <a:lnTo>
                    <a:pt x="99" y="68"/>
                  </a:lnTo>
                  <a:lnTo>
                    <a:pt x="116" y="74"/>
                  </a:lnTo>
                  <a:lnTo>
                    <a:pt x="122" y="76"/>
                  </a:lnTo>
                  <a:lnTo>
                    <a:pt x="124" y="74"/>
                  </a:lnTo>
                  <a:lnTo>
                    <a:pt x="124" y="71"/>
                  </a:lnTo>
                  <a:lnTo>
                    <a:pt x="122" y="68"/>
                  </a:lnTo>
                  <a:lnTo>
                    <a:pt x="118" y="65"/>
                  </a:lnTo>
                  <a:lnTo>
                    <a:pt x="103" y="51"/>
                  </a:lnTo>
                  <a:lnTo>
                    <a:pt x="86" y="41"/>
                  </a:lnTo>
                  <a:lnTo>
                    <a:pt x="43" y="15"/>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3" name="Freeform 86"/>
            <p:cNvSpPr>
              <a:spLocks/>
            </p:cNvSpPr>
            <p:nvPr userDrawn="1"/>
          </p:nvSpPr>
          <p:spPr bwMode="auto">
            <a:xfrm>
              <a:off x="8027988" y="6361113"/>
              <a:ext cx="39688" cy="23813"/>
            </a:xfrm>
            <a:custGeom>
              <a:avLst/>
              <a:gdLst/>
              <a:ahLst/>
              <a:cxnLst>
                <a:cxn ang="0">
                  <a:pos x="0" y="73"/>
                </a:cxn>
                <a:cxn ang="0">
                  <a:pos x="7" y="75"/>
                </a:cxn>
                <a:cxn ang="0">
                  <a:pos x="22" y="69"/>
                </a:cxn>
                <a:cxn ang="0">
                  <a:pos x="67" y="46"/>
                </a:cxn>
                <a:cxn ang="0">
                  <a:pos x="91" y="30"/>
                </a:cxn>
                <a:cxn ang="0">
                  <a:pos x="110" y="17"/>
                </a:cxn>
                <a:cxn ang="0">
                  <a:pos x="122" y="6"/>
                </a:cxn>
                <a:cxn ang="0">
                  <a:pos x="124" y="4"/>
                </a:cxn>
                <a:cxn ang="0">
                  <a:pos x="126" y="1"/>
                </a:cxn>
                <a:cxn ang="0">
                  <a:pos x="118" y="0"/>
                </a:cxn>
                <a:cxn ang="0">
                  <a:pos x="104" y="6"/>
                </a:cxn>
                <a:cxn ang="0">
                  <a:pos x="82" y="16"/>
                </a:cxn>
                <a:cxn ang="0">
                  <a:pos x="58" y="29"/>
                </a:cxn>
                <a:cxn ang="0">
                  <a:pos x="34" y="44"/>
                </a:cxn>
                <a:cxn ang="0">
                  <a:pos x="16" y="58"/>
                </a:cxn>
                <a:cxn ang="0">
                  <a:pos x="3" y="69"/>
                </a:cxn>
                <a:cxn ang="0">
                  <a:pos x="0" y="71"/>
                </a:cxn>
                <a:cxn ang="0">
                  <a:pos x="0" y="73"/>
                </a:cxn>
              </a:cxnLst>
              <a:rect l="0" t="0" r="r" b="b"/>
              <a:pathLst>
                <a:path w="126" h="75">
                  <a:moveTo>
                    <a:pt x="0" y="73"/>
                  </a:moveTo>
                  <a:lnTo>
                    <a:pt x="7" y="75"/>
                  </a:lnTo>
                  <a:lnTo>
                    <a:pt x="22" y="69"/>
                  </a:lnTo>
                  <a:lnTo>
                    <a:pt x="67" y="46"/>
                  </a:lnTo>
                  <a:lnTo>
                    <a:pt x="91" y="30"/>
                  </a:lnTo>
                  <a:lnTo>
                    <a:pt x="110" y="17"/>
                  </a:lnTo>
                  <a:lnTo>
                    <a:pt x="122" y="6"/>
                  </a:lnTo>
                  <a:lnTo>
                    <a:pt x="124" y="4"/>
                  </a:lnTo>
                  <a:lnTo>
                    <a:pt x="126" y="1"/>
                  </a:lnTo>
                  <a:lnTo>
                    <a:pt x="118" y="0"/>
                  </a:lnTo>
                  <a:lnTo>
                    <a:pt x="104" y="6"/>
                  </a:lnTo>
                  <a:lnTo>
                    <a:pt x="82" y="16"/>
                  </a:lnTo>
                  <a:lnTo>
                    <a:pt x="58" y="29"/>
                  </a:lnTo>
                  <a:lnTo>
                    <a:pt x="34" y="44"/>
                  </a:lnTo>
                  <a:lnTo>
                    <a:pt x="16" y="58"/>
                  </a:lnTo>
                  <a:lnTo>
                    <a:pt x="3" y="69"/>
                  </a:lnTo>
                  <a:lnTo>
                    <a:pt x="0" y="71"/>
                  </a:lnTo>
                  <a:lnTo>
                    <a:pt x="0" y="73"/>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4" name="Freeform 87"/>
            <p:cNvSpPr>
              <a:spLocks/>
            </p:cNvSpPr>
            <p:nvPr userDrawn="1"/>
          </p:nvSpPr>
          <p:spPr bwMode="auto">
            <a:xfrm>
              <a:off x="8078788" y="6348413"/>
              <a:ext cx="9525" cy="9525"/>
            </a:xfrm>
            <a:custGeom>
              <a:avLst/>
              <a:gdLst/>
              <a:ahLst/>
              <a:cxnLst>
                <a:cxn ang="0">
                  <a:pos x="3" y="27"/>
                </a:cxn>
                <a:cxn ang="0">
                  <a:pos x="8" y="30"/>
                </a:cxn>
                <a:cxn ang="0">
                  <a:pos x="14" y="31"/>
                </a:cxn>
                <a:cxn ang="0">
                  <a:pos x="20" y="30"/>
                </a:cxn>
                <a:cxn ang="0">
                  <a:pos x="25" y="27"/>
                </a:cxn>
                <a:cxn ang="0">
                  <a:pos x="29" y="22"/>
                </a:cxn>
                <a:cxn ang="0">
                  <a:pos x="30" y="16"/>
                </a:cxn>
                <a:cxn ang="0">
                  <a:pos x="29" y="10"/>
                </a:cxn>
                <a:cxn ang="0">
                  <a:pos x="25" y="5"/>
                </a:cxn>
                <a:cxn ang="0">
                  <a:pos x="20" y="1"/>
                </a:cxn>
                <a:cxn ang="0">
                  <a:pos x="14" y="0"/>
                </a:cxn>
                <a:cxn ang="0">
                  <a:pos x="8" y="1"/>
                </a:cxn>
                <a:cxn ang="0">
                  <a:pos x="3" y="5"/>
                </a:cxn>
                <a:cxn ang="0">
                  <a:pos x="1" y="10"/>
                </a:cxn>
                <a:cxn ang="0">
                  <a:pos x="0" y="16"/>
                </a:cxn>
                <a:cxn ang="0">
                  <a:pos x="1" y="22"/>
                </a:cxn>
                <a:cxn ang="0">
                  <a:pos x="3" y="27"/>
                </a:cxn>
              </a:cxnLst>
              <a:rect l="0" t="0" r="r" b="b"/>
              <a:pathLst>
                <a:path w="30" h="31">
                  <a:moveTo>
                    <a:pt x="3" y="27"/>
                  </a:moveTo>
                  <a:lnTo>
                    <a:pt x="8" y="30"/>
                  </a:lnTo>
                  <a:lnTo>
                    <a:pt x="14" y="31"/>
                  </a:lnTo>
                  <a:lnTo>
                    <a:pt x="20" y="30"/>
                  </a:lnTo>
                  <a:lnTo>
                    <a:pt x="25" y="27"/>
                  </a:lnTo>
                  <a:lnTo>
                    <a:pt x="29" y="22"/>
                  </a:lnTo>
                  <a:lnTo>
                    <a:pt x="30" y="16"/>
                  </a:lnTo>
                  <a:lnTo>
                    <a:pt x="29" y="10"/>
                  </a:lnTo>
                  <a:lnTo>
                    <a:pt x="25" y="5"/>
                  </a:lnTo>
                  <a:lnTo>
                    <a:pt x="20" y="1"/>
                  </a:lnTo>
                  <a:lnTo>
                    <a:pt x="14" y="0"/>
                  </a:lnTo>
                  <a:lnTo>
                    <a:pt x="8" y="1"/>
                  </a:lnTo>
                  <a:lnTo>
                    <a:pt x="3" y="5"/>
                  </a:lnTo>
                  <a:lnTo>
                    <a:pt x="1" y="10"/>
                  </a:lnTo>
                  <a:lnTo>
                    <a:pt x="0" y="16"/>
                  </a:lnTo>
                  <a:lnTo>
                    <a:pt x="1" y="22"/>
                  </a:lnTo>
                  <a:lnTo>
                    <a:pt x="3"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5" name="Freeform 88"/>
            <p:cNvSpPr>
              <a:spLocks/>
            </p:cNvSpPr>
            <p:nvPr userDrawn="1"/>
          </p:nvSpPr>
          <p:spPr bwMode="auto">
            <a:xfrm>
              <a:off x="8080375" y="6291263"/>
              <a:ext cx="6350" cy="47625"/>
            </a:xfrm>
            <a:custGeom>
              <a:avLst/>
              <a:gdLst/>
              <a:ahLst/>
              <a:cxnLst>
                <a:cxn ang="0">
                  <a:pos x="0" y="74"/>
                </a:cxn>
                <a:cxn ang="0">
                  <a:pos x="4" y="125"/>
                </a:cxn>
                <a:cxn ang="0">
                  <a:pos x="6" y="141"/>
                </a:cxn>
                <a:cxn ang="0">
                  <a:pos x="10" y="147"/>
                </a:cxn>
                <a:cxn ang="0">
                  <a:pos x="14" y="141"/>
                </a:cxn>
                <a:cxn ang="0">
                  <a:pos x="17" y="125"/>
                </a:cxn>
                <a:cxn ang="0">
                  <a:pos x="18" y="74"/>
                </a:cxn>
                <a:cxn ang="0">
                  <a:pos x="17" y="22"/>
                </a:cxn>
                <a:cxn ang="0">
                  <a:pos x="14" y="6"/>
                </a:cxn>
                <a:cxn ang="0">
                  <a:pos x="10" y="0"/>
                </a:cxn>
                <a:cxn ang="0">
                  <a:pos x="6" y="6"/>
                </a:cxn>
                <a:cxn ang="0">
                  <a:pos x="4" y="22"/>
                </a:cxn>
                <a:cxn ang="0">
                  <a:pos x="2" y="46"/>
                </a:cxn>
                <a:cxn ang="0">
                  <a:pos x="0" y="74"/>
                </a:cxn>
              </a:cxnLst>
              <a:rect l="0" t="0" r="r" b="b"/>
              <a:pathLst>
                <a:path w="18" h="147">
                  <a:moveTo>
                    <a:pt x="0" y="74"/>
                  </a:moveTo>
                  <a:lnTo>
                    <a:pt x="4" y="125"/>
                  </a:lnTo>
                  <a:lnTo>
                    <a:pt x="6" y="141"/>
                  </a:lnTo>
                  <a:lnTo>
                    <a:pt x="10" y="147"/>
                  </a:lnTo>
                  <a:lnTo>
                    <a:pt x="14" y="141"/>
                  </a:lnTo>
                  <a:lnTo>
                    <a:pt x="17" y="125"/>
                  </a:lnTo>
                  <a:lnTo>
                    <a:pt x="18" y="74"/>
                  </a:lnTo>
                  <a:lnTo>
                    <a:pt x="17" y="22"/>
                  </a:lnTo>
                  <a:lnTo>
                    <a:pt x="14" y="6"/>
                  </a:lnTo>
                  <a:lnTo>
                    <a:pt x="10" y="0"/>
                  </a:lnTo>
                  <a:lnTo>
                    <a:pt x="6" y="6"/>
                  </a:lnTo>
                  <a:lnTo>
                    <a:pt x="4" y="22"/>
                  </a:lnTo>
                  <a:lnTo>
                    <a:pt x="2" y="46"/>
                  </a:lnTo>
                  <a:lnTo>
                    <a:pt x="0" y="74"/>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6" name="Freeform 89"/>
            <p:cNvSpPr>
              <a:spLocks noEditPoints="1"/>
            </p:cNvSpPr>
            <p:nvPr userDrawn="1"/>
          </p:nvSpPr>
          <p:spPr bwMode="auto">
            <a:xfrm>
              <a:off x="7970838" y="6284913"/>
              <a:ext cx="153988" cy="280988"/>
            </a:xfrm>
            <a:custGeom>
              <a:avLst/>
              <a:gdLst/>
              <a:ahLst/>
              <a:cxnLst>
                <a:cxn ang="0">
                  <a:pos x="199" y="859"/>
                </a:cxn>
                <a:cxn ang="0">
                  <a:pos x="218" y="610"/>
                </a:cxn>
                <a:cxn ang="0">
                  <a:pos x="247" y="610"/>
                </a:cxn>
                <a:cxn ang="0">
                  <a:pos x="431" y="363"/>
                </a:cxn>
                <a:cxn ang="0">
                  <a:pos x="470" y="394"/>
                </a:cxn>
                <a:cxn ang="0">
                  <a:pos x="480" y="417"/>
                </a:cxn>
                <a:cxn ang="0">
                  <a:pos x="446" y="416"/>
                </a:cxn>
                <a:cxn ang="0">
                  <a:pos x="342" y="366"/>
                </a:cxn>
                <a:cxn ang="0">
                  <a:pos x="265" y="305"/>
                </a:cxn>
                <a:cxn ang="0">
                  <a:pos x="261" y="395"/>
                </a:cxn>
                <a:cxn ang="0">
                  <a:pos x="276" y="845"/>
                </a:cxn>
                <a:cxn ang="0">
                  <a:pos x="303" y="859"/>
                </a:cxn>
                <a:cxn ang="0">
                  <a:pos x="184" y="859"/>
                </a:cxn>
                <a:cxn ang="0">
                  <a:pos x="210" y="844"/>
                </a:cxn>
                <a:cxn ang="0">
                  <a:pos x="228" y="310"/>
                </a:cxn>
                <a:cxn ang="0">
                  <a:pos x="202" y="316"/>
                </a:cxn>
                <a:cxn ang="0">
                  <a:pos x="125" y="369"/>
                </a:cxn>
                <a:cxn ang="0">
                  <a:pos x="25" y="414"/>
                </a:cxn>
                <a:cxn ang="0">
                  <a:pos x="0" y="414"/>
                </a:cxn>
                <a:cxn ang="0">
                  <a:pos x="12" y="390"/>
                </a:cxn>
                <a:cxn ang="0">
                  <a:pos x="101" y="325"/>
                </a:cxn>
                <a:cxn ang="0">
                  <a:pos x="210" y="278"/>
                </a:cxn>
                <a:cxn ang="0">
                  <a:pos x="229" y="248"/>
                </a:cxn>
                <a:cxn ang="0">
                  <a:pos x="218" y="159"/>
                </a:cxn>
                <a:cxn ang="0">
                  <a:pos x="225" y="39"/>
                </a:cxn>
                <a:cxn ang="0">
                  <a:pos x="243" y="0"/>
                </a:cxn>
                <a:cxn ang="0">
                  <a:pos x="260" y="39"/>
                </a:cxn>
                <a:cxn ang="0">
                  <a:pos x="265" y="183"/>
                </a:cxn>
                <a:cxn ang="0">
                  <a:pos x="267" y="254"/>
                </a:cxn>
                <a:cxn ang="0">
                  <a:pos x="277" y="282"/>
                </a:cxn>
                <a:cxn ang="0">
                  <a:pos x="381" y="329"/>
                </a:cxn>
                <a:cxn ang="0">
                  <a:pos x="302" y="300"/>
                </a:cxn>
                <a:cxn ang="0">
                  <a:pos x="303" y="311"/>
                </a:cxn>
                <a:cxn ang="0">
                  <a:pos x="382" y="364"/>
                </a:cxn>
                <a:cxn ang="0">
                  <a:pos x="437" y="387"/>
                </a:cxn>
                <a:cxn ang="0">
                  <a:pos x="437" y="379"/>
                </a:cxn>
                <a:cxn ang="0">
                  <a:pos x="396" y="347"/>
                </a:cxn>
                <a:cxn ang="0">
                  <a:pos x="37" y="387"/>
                </a:cxn>
                <a:cxn ang="0">
                  <a:pos x="86" y="369"/>
                </a:cxn>
                <a:cxn ang="0">
                  <a:pos x="176" y="310"/>
                </a:cxn>
                <a:cxn ang="0">
                  <a:pos x="154" y="309"/>
                </a:cxn>
                <a:cxn ang="0">
                  <a:pos x="76" y="352"/>
                </a:cxn>
                <a:cxn ang="0">
                  <a:pos x="37" y="383"/>
                </a:cxn>
                <a:cxn ang="0">
                  <a:pos x="229" y="289"/>
                </a:cxn>
                <a:cxn ang="0">
                  <a:pos x="247" y="286"/>
                </a:cxn>
                <a:cxn ang="0">
                  <a:pos x="252" y="266"/>
                </a:cxn>
                <a:cxn ang="0">
                  <a:pos x="236" y="256"/>
                </a:cxn>
                <a:cxn ang="0">
                  <a:pos x="220" y="266"/>
                </a:cxn>
                <a:cxn ang="0">
                  <a:pos x="224" y="286"/>
                </a:cxn>
                <a:cxn ang="0">
                  <a:pos x="228" y="196"/>
                </a:cxn>
                <a:cxn ang="0">
                  <a:pos x="236" y="220"/>
                </a:cxn>
                <a:cxn ang="0">
                  <a:pos x="246" y="137"/>
                </a:cxn>
                <a:cxn ang="0">
                  <a:pos x="240" y="60"/>
                </a:cxn>
                <a:cxn ang="0">
                  <a:pos x="229" y="78"/>
                </a:cxn>
              </a:cxnLst>
              <a:rect l="0" t="0" r="r" b="b"/>
              <a:pathLst>
                <a:path w="482" h="884">
                  <a:moveTo>
                    <a:pt x="232" y="847"/>
                  </a:moveTo>
                  <a:lnTo>
                    <a:pt x="199" y="847"/>
                  </a:lnTo>
                  <a:lnTo>
                    <a:pt x="199" y="859"/>
                  </a:lnTo>
                  <a:lnTo>
                    <a:pt x="232" y="859"/>
                  </a:lnTo>
                  <a:lnTo>
                    <a:pt x="232" y="847"/>
                  </a:lnTo>
                  <a:close/>
                  <a:moveTo>
                    <a:pt x="218" y="610"/>
                  </a:moveTo>
                  <a:lnTo>
                    <a:pt x="218" y="842"/>
                  </a:lnTo>
                  <a:lnTo>
                    <a:pt x="247" y="842"/>
                  </a:lnTo>
                  <a:lnTo>
                    <a:pt x="247" y="610"/>
                  </a:lnTo>
                  <a:lnTo>
                    <a:pt x="218" y="610"/>
                  </a:lnTo>
                  <a:close/>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moveTo>
                    <a:pt x="320" y="306"/>
                  </a:moveTo>
                  <a:lnTo>
                    <a:pt x="307" y="301"/>
                  </a:lnTo>
                  <a:lnTo>
                    <a:pt x="302" y="300"/>
                  </a:lnTo>
                  <a:lnTo>
                    <a:pt x="299" y="303"/>
                  </a:lnTo>
                  <a:lnTo>
                    <a:pt x="299" y="306"/>
                  </a:lnTo>
                  <a:lnTo>
                    <a:pt x="303" y="311"/>
                  </a:lnTo>
                  <a:lnTo>
                    <a:pt x="320" y="324"/>
                  </a:lnTo>
                  <a:lnTo>
                    <a:pt x="349" y="343"/>
                  </a:lnTo>
                  <a:lnTo>
                    <a:pt x="382" y="364"/>
                  </a:lnTo>
                  <a:lnTo>
                    <a:pt x="412" y="379"/>
                  </a:lnTo>
                  <a:lnTo>
                    <a:pt x="430" y="387"/>
                  </a:lnTo>
                  <a:lnTo>
                    <a:pt x="437" y="387"/>
                  </a:lnTo>
                  <a:lnTo>
                    <a:pt x="441" y="385"/>
                  </a:lnTo>
                  <a:lnTo>
                    <a:pt x="440" y="382"/>
                  </a:lnTo>
                  <a:lnTo>
                    <a:pt x="437" y="379"/>
                  </a:lnTo>
                  <a:lnTo>
                    <a:pt x="432" y="375"/>
                  </a:lnTo>
                  <a:lnTo>
                    <a:pt x="414" y="360"/>
                  </a:lnTo>
                  <a:lnTo>
                    <a:pt x="396" y="347"/>
                  </a:lnTo>
                  <a:lnTo>
                    <a:pt x="347" y="319"/>
                  </a:lnTo>
                  <a:lnTo>
                    <a:pt x="320" y="306"/>
                  </a:lnTo>
                  <a:close/>
                  <a:moveTo>
                    <a:pt x="37" y="387"/>
                  </a:moveTo>
                  <a:lnTo>
                    <a:pt x="43" y="387"/>
                  </a:lnTo>
                  <a:lnTo>
                    <a:pt x="61" y="379"/>
                  </a:lnTo>
                  <a:lnTo>
                    <a:pt x="86" y="369"/>
                  </a:lnTo>
                  <a:lnTo>
                    <a:pt x="112" y="354"/>
                  </a:lnTo>
                  <a:lnTo>
                    <a:pt x="161" y="321"/>
                  </a:lnTo>
                  <a:lnTo>
                    <a:pt x="176" y="310"/>
                  </a:lnTo>
                  <a:lnTo>
                    <a:pt x="179" y="303"/>
                  </a:lnTo>
                  <a:lnTo>
                    <a:pt x="172" y="303"/>
                  </a:lnTo>
                  <a:lnTo>
                    <a:pt x="154" y="309"/>
                  </a:lnTo>
                  <a:lnTo>
                    <a:pt x="130" y="319"/>
                  </a:lnTo>
                  <a:lnTo>
                    <a:pt x="102" y="335"/>
                  </a:lnTo>
                  <a:lnTo>
                    <a:pt x="76" y="352"/>
                  </a:lnTo>
                  <a:lnTo>
                    <a:pt x="54" y="367"/>
                  </a:lnTo>
                  <a:lnTo>
                    <a:pt x="40" y="379"/>
                  </a:lnTo>
                  <a:lnTo>
                    <a:pt x="37" y="383"/>
                  </a:lnTo>
                  <a:lnTo>
                    <a:pt x="37" y="387"/>
                  </a:lnTo>
                  <a:close/>
                  <a:moveTo>
                    <a:pt x="224" y="286"/>
                  </a:moveTo>
                  <a:lnTo>
                    <a:pt x="229" y="289"/>
                  </a:lnTo>
                  <a:lnTo>
                    <a:pt x="236" y="290"/>
                  </a:lnTo>
                  <a:lnTo>
                    <a:pt x="242" y="289"/>
                  </a:lnTo>
                  <a:lnTo>
                    <a:pt x="247" y="286"/>
                  </a:lnTo>
                  <a:lnTo>
                    <a:pt x="252" y="280"/>
                  </a:lnTo>
                  <a:lnTo>
                    <a:pt x="253" y="274"/>
                  </a:lnTo>
                  <a:lnTo>
                    <a:pt x="252" y="266"/>
                  </a:lnTo>
                  <a:lnTo>
                    <a:pt x="247" y="260"/>
                  </a:lnTo>
                  <a:lnTo>
                    <a:pt x="242" y="257"/>
                  </a:lnTo>
                  <a:lnTo>
                    <a:pt x="236" y="256"/>
                  </a:lnTo>
                  <a:lnTo>
                    <a:pt x="229" y="257"/>
                  </a:lnTo>
                  <a:lnTo>
                    <a:pt x="224" y="260"/>
                  </a:lnTo>
                  <a:lnTo>
                    <a:pt x="220" y="266"/>
                  </a:lnTo>
                  <a:lnTo>
                    <a:pt x="219" y="274"/>
                  </a:lnTo>
                  <a:lnTo>
                    <a:pt x="220" y="280"/>
                  </a:lnTo>
                  <a:lnTo>
                    <a:pt x="224" y="286"/>
                  </a:lnTo>
                  <a:close/>
                  <a:moveTo>
                    <a:pt x="225" y="137"/>
                  </a:moveTo>
                  <a:lnTo>
                    <a:pt x="225" y="168"/>
                  </a:lnTo>
                  <a:lnTo>
                    <a:pt x="228" y="196"/>
                  </a:lnTo>
                  <a:lnTo>
                    <a:pt x="231" y="214"/>
                  </a:lnTo>
                  <a:lnTo>
                    <a:pt x="234" y="218"/>
                  </a:lnTo>
                  <a:lnTo>
                    <a:pt x="236" y="220"/>
                  </a:lnTo>
                  <a:lnTo>
                    <a:pt x="240" y="214"/>
                  </a:lnTo>
                  <a:lnTo>
                    <a:pt x="243" y="196"/>
                  </a:lnTo>
                  <a:lnTo>
                    <a:pt x="246" y="137"/>
                  </a:lnTo>
                  <a:lnTo>
                    <a:pt x="246" y="104"/>
                  </a:lnTo>
                  <a:lnTo>
                    <a:pt x="243" y="78"/>
                  </a:lnTo>
                  <a:lnTo>
                    <a:pt x="240" y="60"/>
                  </a:lnTo>
                  <a:lnTo>
                    <a:pt x="236" y="54"/>
                  </a:lnTo>
                  <a:lnTo>
                    <a:pt x="231" y="60"/>
                  </a:lnTo>
                  <a:lnTo>
                    <a:pt x="229" y="78"/>
                  </a:lnTo>
                  <a:lnTo>
                    <a:pt x="225" y="104"/>
                  </a:lnTo>
                  <a:lnTo>
                    <a:pt x="225" y="137"/>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7" name="Rectangle 90"/>
            <p:cNvSpPr>
              <a:spLocks noChangeArrowheads="1"/>
            </p:cNvSpPr>
            <p:nvPr userDrawn="1"/>
          </p:nvSpPr>
          <p:spPr bwMode="auto">
            <a:xfrm>
              <a:off x="8034338" y="6554788"/>
              <a:ext cx="11113" cy="3175"/>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8" name="Rectangle 91"/>
            <p:cNvSpPr>
              <a:spLocks noChangeArrowheads="1"/>
            </p:cNvSpPr>
            <p:nvPr userDrawn="1"/>
          </p:nvSpPr>
          <p:spPr bwMode="auto">
            <a:xfrm>
              <a:off x="8040688" y="6478588"/>
              <a:ext cx="9525" cy="74613"/>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9" name="Freeform 92"/>
            <p:cNvSpPr>
              <a:spLocks/>
            </p:cNvSpPr>
            <p:nvPr userDrawn="1"/>
          </p:nvSpPr>
          <p:spPr bwMode="auto">
            <a:xfrm>
              <a:off x="7970838" y="6284913"/>
              <a:ext cx="153988" cy="280988"/>
            </a:xfrm>
            <a:custGeom>
              <a:avLst/>
              <a:gdLst/>
              <a:ahLst/>
              <a:cxnLst>
                <a:cxn ang="0">
                  <a:pos x="431" y="363"/>
                </a:cxn>
                <a:cxn ang="0">
                  <a:pos x="456" y="382"/>
                </a:cxn>
                <a:cxn ang="0">
                  <a:pos x="477" y="404"/>
                </a:cxn>
                <a:cxn ang="0">
                  <a:pos x="480" y="417"/>
                </a:cxn>
                <a:cxn ang="0">
                  <a:pos x="470" y="420"/>
                </a:cxn>
                <a:cxn ang="0">
                  <a:pos x="405" y="399"/>
                </a:cxn>
                <a:cxn ang="0">
                  <a:pos x="342" y="366"/>
                </a:cxn>
                <a:cxn ang="0">
                  <a:pos x="291" y="329"/>
                </a:cxn>
                <a:cxn ang="0">
                  <a:pos x="260" y="309"/>
                </a:cxn>
                <a:cxn ang="0">
                  <a:pos x="261" y="395"/>
                </a:cxn>
                <a:cxn ang="0">
                  <a:pos x="276" y="599"/>
                </a:cxn>
                <a:cxn ang="0">
                  <a:pos x="289" y="845"/>
                </a:cxn>
                <a:cxn ang="0">
                  <a:pos x="303" y="859"/>
                </a:cxn>
                <a:cxn ang="0">
                  <a:pos x="184" y="883"/>
                </a:cxn>
                <a:cxn ang="0">
                  <a:pos x="196" y="859"/>
                </a:cxn>
                <a:cxn ang="0">
                  <a:pos x="210" y="844"/>
                </a:cxn>
                <a:cxn ang="0">
                  <a:pos x="218" y="599"/>
                </a:cxn>
                <a:cxn ang="0">
                  <a:pos x="219" y="303"/>
                </a:cxn>
                <a:cxn ang="0">
                  <a:pos x="202" y="316"/>
                </a:cxn>
                <a:cxn ang="0">
                  <a:pos x="169" y="342"/>
                </a:cxn>
                <a:cxn ang="0">
                  <a:pos x="82" y="393"/>
                </a:cxn>
                <a:cxn ang="0">
                  <a:pos x="25" y="414"/>
                </a:cxn>
                <a:cxn ang="0">
                  <a:pos x="5" y="417"/>
                </a:cxn>
                <a:cxn ang="0">
                  <a:pos x="0" y="408"/>
                </a:cxn>
                <a:cxn ang="0">
                  <a:pos x="12" y="390"/>
                </a:cxn>
                <a:cxn ang="0">
                  <a:pos x="59" y="353"/>
                </a:cxn>
                <a:cxn ang="0">
                  <a:pos x="146" y="303"/>
                </a:cxn>
                <a:cxn ang="0">
                  <a:pos x="210" y="278"/>
                </a:cxn>
                <a:cxn ang="0">
                  <a:pos x="219" y="254"/>
                </a:cxn>
                <a:cxn ang="0">
                  <a:pos x="224" y="227"/>
                </a:cxn>
                <a:cxn ang="0">
                  <a:pos x="218" y="159"/>
                </a:cxn>
                <a:cxn ang="0">
                  <a:pos x="219" y="83"/>
                </a:cxn>
                <a:cxn ang="0">
                  <a:pos x="234" y="9"/>
                </a:cxn>
                <a:cxn ang="0">
                  <a:pos x="243" y="0"/>
                </a:cxn>
                <a:cxn ang="0">
                  <a:pos x="253" y="9"/>
                </a:cxn>
                <a:cxn ang="0">
                  <a:pos x="266" y="83"/>
                </a:cxn>
                <a:cxn ang="0">
                  <a:pos x="265" y="183"/>
                </a:cxn>
                <a:cxn ang="0">
                  <a:pos x="255" y="247"/>
                </a:cxn>
                <a:cxn ang="0">
                  <a:pos x="275" y="266"/>
                </a:cxn>
                <a:cxn ang="0">
                  <a:pos x="277" y="282"/>
                </a:cxn>
                <a:cxn ang="0">
                  <a:pos x="330" y="303"/>
                </a:cxn>
              </a:cxnLst>
              <a:rect l="0" t="0" r="r" b="b"/>
              <a:pathLst>
                <a:path w="482" h="884">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0" name="Freeform 93"/>
            <p:cNvSpPr>
              <a:spLocks/>
            </p:cNvSpPr>
            <p:nvPr userDrawn="1"/>
          </p:nvSpPr>
          <p:spPr bwMode="auto">
            <a:xfrm>
              <a:off x="8066088" y="6380163"/>
              <a:ext cx="44450" cy="28575"/>
            </a:xfrm>
            <a:custGeom>
              <a:avLst/>
              <a:gdLst/>
              <a:ahLst/>
              <a:cxnLst>
                <a:cxn ang="0">
                  <a:pos x="21" y="6"/>
                </a:cxn>
                <a:cxn ang="0">
                  <a:pos x="8" y="1"/>
                </a:cxn>
                <a:cxn ang="0">
                  <a:pos x="3" y="0"/>
                </a:cxn>
                <a:cxn ang="0">
                  <a:pos x="0" y="3"/>
                </a:cxn>
                <a:cxn ang="0">
                  <a:pos x="0" y="6"/>
                </a:cxn>
                <a:cxn ang="0">
                  <a:pos x="4" y="11"/>
                </a:cxn>
                <a:cxn ang="0">
                  <a:pos x="21" y="24"/>
                </a:cxn>
                <a:cxn ang="0">
                  <a:pos x="50" y="43"/>
                </a:cxn>
                <a:cxn ang="0">
                  <a:pos x="83" y="64"/>
                </a:cxn>
                <a:cxn ang="0">
                  <a:pos x="113" y="79"/>
                </a:cxn>
                <a:cxn ang="0">
                  <a:pos x="131" y="87"/>
                </a:cxn>
                <a:cxn ang="0">
                  <a:pos x="138" y="87"/>
                </a:cxn>
                <a:cxn ang="0">
                  <a:pos x="142" y="85"/>
                </a:cxn>
                <a:cxn ang="0">
                  <a:pos x="141" y="82"/>
                </a:cxn>
                <a:cxn ang="0">
                  <a:pos x="138" y="79"/>
                </a:cxn>
                <a:cxn ang="0">
                  <a:pos x="133" y="75"/>
                </a:cxn>
                <a:cxn ang="0">
                  <a:pos x="115" y="60"/>
                </a:cxn>
                <a:cxn ang="0">
                  <a:pos x="97" y="47"/>
                </a:cxn>
                <a:cxn ang="0">
                  <a:pos x="48" y="19"/>
                </a:cxn>
                <a:cxn ang="0">
                  <a:pos x="21" y="6"/>
                </a:cxn>
              </a:cxnLst>
              <a:rect l="0" t="0" r="r" b="b"/>
              <a:pathLst>
                <a:path w="142" h="87">
                  <a:moveTo>
                    <a:pt x="21" y="6"/>
                  </a:moveTo>
                  <a:lnTo>
                    <a:pt x="8" y="1"/>
                  </a:lnTo>
                  <a:lnTo>
                    <a:pt x="3" y="0"/>
                  </a:lnTo>
                  <a:lnTo>
                    <a:pt x="0" y="3"/>
                  </a:lnTo>
                  <a:lnTo>
                    <a:pt x="0" y="6"/>
                  </a:lnTo>
                  <a:lnTo>
                    <a:pt x="4" y="11"/>
                  </a:lnTo>
                  <a:lnTo>
                    <a:pt x="21" y="24"/>
                  </a:lnTo>
                  <a:lnTo>
                    <a:pt x="50" y="43"/>
                  </a:lnTo>
                  <a:lnTo>
                    <a:pt x="83" y="64"/>
                  </a:lnTo>
                  <a:lnTo>
                    <a:pt x="113" y="79"/>
                  </a:lnTo>
                  <a:lnTo>
                    <a:pt x="131" y="87"/>
                  </a:lnTo>
                  <a:lnTo>
                    <a:pt x="138" y="87"/>
                  </a:lnTo>
                  <a:lnTo>
                    <a:pt x="142" y="85"/>
                  </a:lnTo>
                  <a:lnTo>
                    <a:pt x="141" y="82"/>
                  </a:lnTo>
                  <a:lnTo>
                    <a:pt x="138" y="79"/>
                  </a:lnTo>
                  <a:lnTo>
                    <a:pt x="133" y="75"/>
                  </a:lnTo>
                  <a:lnTo>
                    <a:pt x="115" y="60"/>
                  </a:lnTo>
                  <a:lnTo>
                    <a:pt x="97" y="47"/>
                  </a:lnTo>
                  <a:lnTo>
                    <a:pt x="48" y="19"/>
                  </a:lnTo>
                  <a:lnTo>
                    <a:pt x="21" y="6"/>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1" name="Freeform 94"/>
            <p:cNvSpPr>
              <a:spLocks/>
            </p:cNvSpPr>
            <p:nvPr userDrawn="1"/>
          </p:nvSpPr>
          <p:spPr bwMode="auto">
            <a:xfrm>
              <a:off x="7983538" y="6381751"/>
              <a:ext cx="44450" cy="26988"/>
            </a:xfrm>
            <a:custGeom>
              <a:avLst/>
              <a:gdLst/>
              <a:ahLst/>
              <a:cxnLst>
                <a:cxn ang="0">
                  <a:pos x="0" y="84"/>
                </a:cxn>
                <a:cxn ang="0">
                  <a:pos x="6" y="84"/>
                </a:cxn>
                <a:cxn ang="0">
                  <a:pos x="24" y="76"/>
                </a:cxn>
                <a:cxn ang="0">
                  <a:pos x="49" y="66"/>
                </a:cxn>
                <a:cxn ang="0">
                  <a:pos x="75" y="51"/>
                </a:cxn>
                <a:cxn ang="0">
                  <a:pos x="124" y="18"/>
                </a:cxn>
                <a:cxn ang="0">
                  <a:pos x="139" y="7"/>
                </a:cxn>
                <a:cxn ang="0">
                  <a:pos x="142" y="0"/>
                </a:cxn>
                <a:cxn ang="0">
                  <a:pos x="135" y="0"/>
                </a:cxn>
                <a:cxn ang="0">
                  <a:pos x="117" y="6"/>
                </a:cxn>
                <a:cxn ang="0">
                  <a:pos x="93" y="16"/>
                </a:cxn>
                <a:cxn ang="0">
                  <a:pos x="65" y="32"/>
                </a:cxn>
                <a:cxn ang="0">
                  <a:pos x="39" y="49"/>
                </a:cxn>
                <a:cxn ang="0">
                  <a:pos x="17" y="64"/>
                </a:cxn>
                <a:cxn ang="0">
                  <a:pos x="3" y="76"/>
                </a:cxn>
                <a:cxn ang="0">
                  <a:pos x="0" y="80"/>
                </a:cxn>
                <a:cxn ang="0">
                  <a:pos x="0" y="84"/>
                </a:cxn>
              </a:cxnLst>
              <a:rect l="0" t="0" r="r" b="b"/>
              <a:pathLst>
                <a:path w="142" h="84">
                  <a:moveTo>
                    <a:pt x="0" y="84"/>
                  </a:moveTo>
                  <a:lnTo>
                    <a:pt x="6" y="84"/>
                  </a:lnTo>
                  <a:lnTo>
                    <a:pt x="24" y="76"/>
                  </a:lnTo>
                  <a:lnTo>
                    <a:pt x="49" y="66"/>
                  </a:lnTo>
                  <a:lnTo>
                    <a:pt x="75" y="51"/>
                  </a:lnTo>
                  <a:lnTo>
                    <a:pt x="124" y="18"/>
                  </a:lnTo>
                  <a:lnTo>
                    <a:pt x="139" y="7"/>
                  </a:lnTo>
                  <a:lnTo>
                    <a:pt x="142" y="0"/>
                  </a:lnTo>
                  <a:lnTo>
                    <a:pt x="135" y="0"/>
                  </a:lnTo>
                  <a:lnTo>
                    <a:pt x="117" y="6"/>
                  </a:lnTo>
                  <a:lnTo>
                    <a:pt x="93" y="16"/>
                  </a:lnTo>
                  <a:lnTo>
                    <a:pt x="65" y="32"/>
                  </a:lnTo>
                  <a:lnTo>
                    <a:pt x="39" y="49"/>
                  </a:lnTo>
                  <a:lnTo>
                    <a:pt x="17" y="64"/>
                  </a:lnTo>
                  <a:lnTo>
                    <a:pt x="3" y="76"/>
                  </a:lnTo>
                  <a:lnTo>
                    <a:pt x="0" y="80"/>
                  </a:lnTo>
                  <a:lnTo>
                    <a:pt x="0" y="8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2" name="Freeform 95"/>
            <p:cNvSpPr>
              <a:spLocks/>
            </p:cNvSpPr>
            <p:nvPr userDrawn="1"/>
          </p:nvSpPr>
          <p:spPr bwMode="auto">
            <a:xfrm>
              <a:off x="8040688" y="6365876"/>
              <a:ext cx="11113" cy="11113"/>
            </a:xfrm>
            <a:custGeom>
              <a:avLst/>
              <a:gdLst/>
              <a:ahLst/>
              <a:cxnLst>
                <a:cxn ang="0">
                  <a:pos x="5" y="30"/>
                </a:cxn>
                <a:cxn ang="0">
                  <a:pos x="10" y="33"/>
                </a:cxn>
                <a:cxn ang="0">
                  <a:pos x="17" y="34"/>
                </a:cxn>
                <a:cxn ang="0">
                  <a:pos x="23" y="33"/>
                </a:cxn>
                <a:cxn ang="0">
                  <a:pos x="28" y="30"/>
                </a:cxn>
                <a:cxn ang="0">
                  <a:pos x="33" y="24"/>
                </a:cxn>
                <a:cxn ang="0">
                  <a:pos x="34" y="18"/>
                </a:cxn>
                <a:cxn ang="0">
                  <a:pos x="33" y="10"/>
                </a:cxn>
                <a:cxn ang="0">
                  <a:pos x="28" y="4"/>
                </a:cxn>
                <a:cxn ang="0">
                  <a:pos x="23" y="1"/>
                </a:cxn>
                <a:cxn ang="0">
                  <a:pos x="17" y="0"/>
                </a:cxn>
                <a:cxn ang="0">
                  <a:pos x="10" y="1"/>
                </a:cxn>
                <a:cxn ang="0">
                  <a:pos x="5" y="4"/>
                </a:cxn>
                <a:cxn ang="0">
                  <a:pos x="1" y="10"/>
                </a:cxn>
                <a:cxn ang="0">
                  <a:pos x="0" y="18"/>
                </a:cxn>
                <a:cxn ang="0">
                  <a:pos x="1" y="24"/>
                </a:cxn>
                <a:cxn ang="0">
                  <a:pos x="5" y="30"/>
                </a:cxn>
              </a:cxnLst>
              <a:rect l="0" t="0" r="r" b="b"/>
              <a:pathLst>
                <a:path w="34" h="34">
                  <a:moveTo>
                    <a:pt x="5" y="30"/>
                  </a:moveTo>
                  <a:lnTo>
                    <a:pt x="10" y="33"/>
                  </a:lnTo>
                  <a:lnTo>
                    <a:pt x="17" y="34"/>
                  </a:lnTo>
                  <a:lnTo>
                    <a:pt x="23" y="33"/>
                  </a:lnTo>
                  <a:lnTo>
                    <a:pt x="28" y="30"/>
                  </a:lnTo>
                  <a:lnTo>
                    <a:pt x="33" y="24"/>
                  </a:lnTo>
                  <a:lnTo>
                    <a:pt x="34" y="18"/>
                  </a:lnTo>
                  <a:lnTo>
                    <a:pt x="33" y="10"/>
                  </a:lnTo>
                  <a:lnTo>
                    <a:pt x="28" y="4"/>
                  </a:lnTo>
                  <a:lnTo>
                    <a:pt x="23" y="1"/>
                  </a:lnTo>
                  <a:lnTo>
                    <a:pt x="17" y="0"/>
                  </a:lnTo>
                  <a:lnTo>
                    <a:pt x="10" y="1"/>
                  </a:lnTo>
                  <a:lnTo>
                    <a:pt x="5" y="4"/>
                  </a:lnTo>
                  <a:lnTo>
                    <a:pt x="1" y="10"/>
                  </a:lnTo>
                  <a:lnTo>
                    <a:pt x="0" y="18"/>
                  </a:lnTo>
                  <a:lnTo>
                    <a:pt x="1" y="24"/>
                  </a:lnTo>
                  <a:lnTo>
                    <a:pt x="5" y="30"/>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3" name="Freeform 96"/>
            <p:cNvSpPr>
              <a:spLocks/>
            </p:cNvSpPr>
            <p:nvPr userDrawn="1"/>
          </p:nvSpPr>
          <p:spPr bwMode="auto">
            <a:xfrm>
              <a:off x="8042275" y="6302376"/>
              <a:ext cx="6350" cy="52388"/>
            </a:xfrm>
            <a:custGeom>
              <a:avLst/>
              <a:gdLst/>
              <a:ahLst/>
              <a:cxnLst>
                <a:cxn ang="0">
                  <a:pos x="0" y="83"/>
                </a:cxn>
                <a:cxn ang="0">
                  <a:pos x="0" y="114"/>
                </a:cxn>
                <a:cxn ang="0">
                  <a:pos x="3" y="142"/>
                </a:cxn>
                <a:cxn ang="0">
                  <a:pos x="6" y="160"/>
                </a:cxn>
                <a:cxn ang="0">
                  <a:pos x="9" y="164"/>
                </a:cxn>
                <a:cxn ang="0">
                  <a:pos x="11" y="166"/>
                </a:cxn>
                <a:cxn ang="0">
                  <a:pos x="15" y="160"/>
                </a:cxn>
                <a:cxn ang="0">
                  <a:pos x="18" y="142"/>
                </a:cxn>
                <a:cxn ang="0">
                  <a:pos x="21" y="83"/>
                </a:cxn>
                <a:cxn ang="0">
                  <a:pos x="21" y="50"/>
                </a:cxn>
                <a:cxn ang="0">
                  <a:pos x="18" y="24"/>
                </a:cxn>
                <a:cxn ang="0">
                  <a:pos x="15" y="6"/>
                </a:cxn>
                <a:cxn ang="0">
                  <a:pos x="11" y="0"/>
                </a:cxn>
                <a:cxn ang="0">
                  <a:pos x="6" y="6"/>
                </a:cxn>
                <a:cxn ang="0">
                  <a:pos x="4" y="24"/>
                </a:cxn>
                <a:cxn ang="0">
                  <a:pos x="0" y="50"/>
                </a:cxn>
                <a:cxn ang="0">
                  <a:pos x="0" y="83"/>
                </a:cxn>
              </a:cxnLst>
              <a:rect l="0" t="0" r="r" b="b"/>
              <a:pathLst>
                <a:path w="21" h="166">
                  <a:moveTo>
                    <a:pt x="0" y="83"/>
                  </a:moveTo>
                  <a:lnTo>
                    <a:pt x="0" y="114"/>
                  </a:lnTo>
                  <a:lnTo>
                    <a:pt x="3" y="142"/>
                  </a:lnTo>
                  <a:lnTo>
                    <a:pt x="6" y="160"/>
                  </a:lnTo>
                  <a:lnTo>
                    <a:pt x="9" y="164"/>
                  </a:lnTo>
                  <a:lnTo>
                    <a:pt x="11" y="166"/>
                  </a:lnTo>
                  <a:lnTo>
                    <a:pt x="15" y="160"/>
                  </a:lnTo>
                  <a:lnTo>
                    <a:pt x="18" y="142"/>
                  </a:lnTo>
                  <a:lnTo>
                    <a:pt x="21" y="83"/>
                  </a:lnTo>
                  <a:lnTo>
                    <a:pt x="21" y="50"/>
                  </a:lnTo>
                  <a:lnTo>
                    <a:pt x="18" y="24"/>
                  </a:lnTo>
                  <a:lnTo>
                    <a:pt x="15" y="6"/>
                  </a:lnTo>
                  <a:lnTo>
                    <a:pt x="11" y="0"/>
                  </a:lnTo>
                  <a:lnTo>
                    <a:pt x="6" y="6"/>
                  </a:lnTo>
                  <a:lnTo>
                    <a:pt x="4" y="24"/>
                  </a:lnTo>
                  <a:lnTo>
                    <a:pt x="0" y="50"/>
                  </a:lnTo>
                  <a:lnTo>
                    <a:pt x="0" y="83"/>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4" name="Freeform 97"/>
            <p:cNvSpPr>
              <a:spLocks noEditPoints="1"/>
            </p:cNvSpPr>
            <p:nvPr userDrawn="1"/>
          </p:nvSpPr>
          <p:spPr bwMode="auto">
            <a:xfrm>
              <a:off x="7867650" y="6257926"/>
              <a:ext cx="107950" cy="198438"/>
            </a:xfrm>
            <a:custGeom>
              <a:avLst/>
              <a:gdLst/>
              <a:ahLst/>
              <a:cxnLst>
                <a:cxn ang="0">
                  <a:pos x="140" y="607"/>
                </a:cxn>
                <a:cxn ang="0">
                  <a:pos x="154" y="432"/>
                </a:cxn>
                <a:cxn ang="0">
                  <a:pos x="174" y="432"/>
                </a:cxn>
                <a:cxn ang="0">
                  <a:pos x="304" y="257"/>
                </a:cxn>
                <a:cxn ang="0">
                  <a:pos x="340" y="291"/>
                </a:cxn>
                <a:cxn ang="0">
                  <a:pos x="332" y="298"/>
                </a:cxn>
                <a:cxn ang="0">
                  <a:pos x="256" y="268"/>
                </a:cxn>
                <a:cxn ang="0">
                  <a:pos x="187" y="216"/>
                </a:cxn>
                <a:cxn ang="0">
                  <a:pos x="185" y="280"/>
                </a:cxn>
                <a:cxn ang="0">
                  <a:pos x="195" y="598"/>
                </a:cxn>
                <a:cxn ang="0">
                  <a:pos x="214" y="608"/>
                </a:cxn>
                <a:cxn ang="0">
                  <a:pos x="130" y="607"/>
                </a:cxn>
                <a:cxn ang="0">
                  <a:pos x="148" y="598"/>
                </a:cxn>
                <a:cxn ang="0">
                  <a:pos x="161" y="220"/>
                </a:cxn>
                <a:cxn ang="0">
                  <a:pos x="119" y="243"/>
                </a:cxn>
                <a:cxn ang="0">
                  <a:pos x="30" y="290"/>
                </a:cxn>
                <a:cxn ang="0">
                  <a:pos x="0" y="293"/>
                </a:cxn>
                <a:cxn ang="0">
                  <a:pos x="8" y="277"/>
                </a:cxn>
                <a:cxn ang="0">
                  <a:pos x="72" y="231"/>
                </a:cxn>
                <a:cxn ang="0">
                  <a:pos x="148" y="197"/>
                </a:cxn>
                <a:cxn ang="0">
                  <a:pos x="162" y="177"/>
                </a:cxn>
                <a:cxn ang="0">
                  <a:pos x="155" y="131"/>
                </a:cxn>
                <a:cxn ang="0">
                  <a:pos x="159" y="29"/>
                </a:cxn>
                <a:cxn ang="0">
                  <a:pos x="172" y="0"/>
                </a:cxn>
                <a:cxn ang="0">
                  <a:pos x="184" y="29"/>
                </a:cxn>
                <a:cxn ang="0">
                  <a:pos x="187" y="131"/>
                </a:cxn>
                <a:cxn ang="0">
                  <a:pos x="189" y="180"/>
                </a:cxn>
                <a:cxn ang="0">
                  <a:pos x="196" y="200"/>
                </a:cxn>
                <a:cxn ang="0">
                  <a:pos x="269" y="233"/>
                </a:cxn>
                <a:cxn ang="0">
                  <a:pos x="212" y="214"/>
                </a:cxn>
                <a:cxn ang="0">
                  <a:pos x="226" y="230"/>
                </a:cxn>
                <a:cxn ang="0">
                  <a:pos x="291" y="268"/>
                </a:cxn>
                <a:cxn ang="0">
                  <a:pos x="311" y="273"/>
                </a:cxn>
                <a:cxn ang="0">
                  <a:pos x="280" y="246"/>
                </a:cxn>
                <a:cxn ang="0">
                  <a:pos x="26" y="274"/>
                </a:cxn>
                <a:cxn ang="0">
                  <a:pos x="79" y="251"/>
                </a:cxn>
                <a:cxn ang="0">
                  <a:pos x="126" y="215"/>
                </a:cxn>
                <a:cxn ang="0">
                  <a:pos x="92" y="227"/>
                </a:cxn>
                <a:cxn ang="0">
                  <a:pos x="28" y="269"/>
                </a:cxn>
                <a:cxn ang="0">
                  <a:pos x="166" y="206"/>
                </a:cxn>
                <a:cxn ang="0">
                  <a:pos x="178" y="189"/>
                </a:cxn>
                <a:cxn ang="0">
                  <a:pos x="157" y="185"/>
                </a:cxn>
                <a:cxn ang="0">
                  <a:pos x="157" y="203"/>
                </a:cxn>
                <a:cxn ang="0">
                  <a:pos x="163" y="151"/>
                </a:cxn>
                <a:cxn ang="0">
                  <a:pos x="172" y="138"/>
                </a:cxn>
                <a:cxn ang="0">
                  <a:pos x="167" y="38"/>
                </a:cxn>
                <a:cxn ang="0">
                  <a:pos x="159" y="97"/>
                </a:cxn>
              </a:cxnLst>
              <a:rect l="0" t="0" r="r" b="b"/>
              <a:pathLst>
                <a:path w="340" h="625">
                  <a:moveTo>
                    <a:pt x="163" y="600"/>
                  </a:moveTo>
                  <a:lnTo>
                    <a:pt x="140" y="600"/>
                  </a:lnTo>
                  <a:lnTo>
                    <a:pt x="140" y="607"/>
                  </a:lnTo>
                  <a:lnTo>
                    <a:pt x="163" y="607"/>
                  </a:lnTo>
                  <a:lnTo>
                    <a:pt x="163" y="600"/>
                  </a:lnTo>
                  <a:close/>
                  <a:moveTo>
                    <a:pt x="154" y="432"/>
                  </a:moveTo>
                  <a:lnTo>
                    <a:pt x="154" y="596"/>
                  </a:lnTo>
                  <a:lnTo>
                    <a:pt x="174" y="596"/>
                  </a:lnTo>
                  <a:lnTo>
                    <a:pt x="174" y="432"/>
                  </a:lnTo>
                  <a:lnTo>
                    <a:pt x="154" y="432"/>
                  </a:lnTo>
                  <a:close/>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moveTo>
                    <a:pt x="226" y="218"/>
                  </a:moveTo>
                  <a:lnTo>
                    <a:pt x="216" y="214"/>
                  </a:lnTo>
                  <a:lnTo>
                    <a:pt x="212" y="214"/>
                  </a:lnTo>
                  <a:lnTo>
                    <a:pt x="212" y="216"/>
                  </a:lnTo>
                  <a:lnTo>
                    <a:pt x="214" y="221"/>
                  </a:lnTo>
                  <a:lnTo>
                    <a:pt x="226" y="230"/>
                  </a:lnTo>
                  <a:lnTo>
                    <a:pt x="246" y="244"/>
                  </a:lnTo>
                  <a:lnTo>
                    <a:pt x="269" y="257"/>
                  </a:lnTo>
                  <a:lnTo>
                    <a:pt x="291" y="268"/>
                  </a:lnTo>
                  <a:lnTo>
                    <a:pt x="304" y="274"/>
                  </a:lnTo>
                  <a:lnTo>
                    <a:pt x="309" y="274"/>
                  </a:lnTo>
                  <a:lnTo>
                    <a:pt x="311" y="273"/>
                  </a:lnTo>
                  <a:lnTo>
                    <a:pt x="309" y="268"/>
                  </a:lnTo>
                  <a:lnTo>
                    <a:pt x="305" y="266"/>
                  </a:lnTo>
                  <a:lnTo>
                    <a:pt x="280" y="246"/>
                  </a:lnTo>
                  <a:lnTo>
                    <a:pt x="245" y="226"/>
                  </a:lnTo>
                  <a:lnTo>
                    <a:pt x="226" y="218"/>
                  </a:lnTo>
                  <a:close/>
                  <a:moveTo>
                    <a:pt x="26" y="274"/>
                  </a:moveTo>
                  <a:lnTo>
                    <a:pt x="31" y="274"/>
                  </a:lnTo>
                  <a:lnTo>
                    <a:pt x="43" y="269"/>
                  </a:lnTo>
                  <a:lnTo>
                    <a:pt x="79" y="251"/>
                  </a:lnTo>
                  <a:lnTo>
                    <a:pt x="114" y="227"/>
                  </a:lnTo>
                  <a:lnTo>
                    <a:pt x="124" y="220"/>
                  </a:lnTo>
                  <a:lnTo>
                    <a:pt x="126" y="215"/>
                  </a:lnTo>
                  <a:lnTo>
                    <a:pt x="121" y="215"/>
                  </a:lnTo>
                  <a:lnTo>
                    <a:pt x="109" y="219"/>
                  </a:lnTo>
                  <a:lnTo>
                    <a:pt x="92" y="227"/>
                  </a:lnTo>
                  <a:lnTo>
                    <a:pt x="73" y="238"/>
                  </a:lnTo>
                  <a:lnTo>
                    <a:pt x="38" y="261"/>
                  </a:lnTo>
                  <a:lnTo>
                    <a:pt x="28" y="269"/>
                  </a:lnTo>
                  <a:lnTo>
                    <a:pt x="26" y="274"/>
                  </a:lnTo>
                  <a:close/>
                  <a:moveTo>
                    <a:pt x="157" y="203"/>
                  </a:moveTo>
                  <a:lnTo>
                    <a:pt x="166" y="206"/>
                  </a:lnTo>
                  <a:lnTo>
                    <a:pt x="174" y="203"/>
                  </a:lnTo>
                  <a:lnTo>
                    <a:pt x="179" y="194"/>
                  </a:lnTo>
                  <a:lnTo>
                    <a:pt x="178" y="189"/>
                  </a:lnTo>
                  <a:lnTo>
                    <a:pt x="174" y="185"/>
                  </a:lnTo>
                  <a:lnTo>
                    <a:pt x="166" y="182"/>
                  </a:lnTo>
                  <a:lnTo>
                    <a:pt x="157" y="185"/>
                  </a:lnTo>
                  <a:lnTo>
                    <a:pt x="155" y="194"/>
                  </a:lnTo>
                  <a:lnTo>
                    <a:pt x="155" y="198"/>
                  </a:lnTo>
                  <a:lnTo>
                    <a:pt x="157" y="203"/>
                  </a:lnTo>
                  <a:close/>
                  <a:moveTo>
                    <a:pt x="159" y="97"/>
                  </a:moveTo>
                  <a:lnTo>
                    <a:pt x="161" y="138"/>
                  </a:lnTo>
                  <a:lnTo>
                    <a:pt x="163" y="151"/>
                  </a:lnTo>
                  <a:lnTo>
                    <a:pt x="166" y="156"/>
                  </a:lnTo>
                  <a:lnTo>
                    <a:pt x="169" y="151"/>
                  </a:lnTo>
                  <a:lnTo>
                    <a:pt x="172" y="138"/>
                  </a:lnTo>
                  <a:lnTo>
                    <a:pt x="173" y="97"/>
                  </a:lnTo>
                  <a:lnTo>
                    <a:pt x="172" y="55"/>
                  </a:lnTo>
                  <a:lnTo>
                    <a:pt x="167" y="38"/>
                  </a:lnTo>
                  <a:lnTo>
                    <a:pt x="163" y="43"/>
                  </a:lnTo>
                  <a:lnTo>
                    <a:pt x="161" y="55"/>
                  </a:lnTo>
                  <a:lnTo>
                    <a:pt x="159" y="97"/>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5" name="Rectangle 98"/>
            <p:cNvSpPr>
              <a:spLocks noChangeArrowheads="1"/>
            </p:cNvSpPr>
            <p:nvPr userDrawn="1"/>
          </p:nvSpPr>
          <p:spPr bwMode="auto">
            <a:xfrm>
              <a:off x="7912100" y="6448426"/>
              <a:ext cx="6350" cy="15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6" name="Rectangle 99"/>
            <p:cNvSpPr>
              <a:spLocks noChangeArrowheads="1"/>
            </p:cNvSpPr>
            <p:nvPr userDrawn="1"/>
          </p:nvSpPr>
          <p:spPr bwMode="auto">
            <a:xfrm>
              <a:off x="7916863" y="6394451"/>
              <a:ext cx="6350" cy="523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7" name="Freeform 100"/>
            <p:cNvSpPr>
              <a:spLocks/>
            </p:cNvSpPr>
            <p:nvPr userDrawn="1"/>
          </p:nvSpPr>
          <p:spPr bwMode="auto">
            <a:xfrm>
              <a:off x="7867650" y="6257926"/>
              <a:ext cx="107950" cy="198438"/>
            </a:xfrm>
            <a:custGeom>
              <a:avLst/>
              <a:gdLst/>
              <a:ahLst/>
              <a:cxnLst>
                <a:cxn ang="0">
                  <a:pos x="304" y="257"/>
                </a:cxn>
                <a:cxn ang="0">
                  <a:pos x="337" y="286"/>
                </a:cxn>
                <a:cxn ang="0">
                  <a:pos x="339" y="295"/>
                </a:cxn>
                <a:cxn ang="0">
                  <a:pos x="332" y="298"/>
                </a:cxn>
                <a:cxn ang="0">
                  <a:pos x="286" y="283"/>
                </a:cxn>
                <a:cxn ang="0">
                  <a:pos x="227" y="250"/>
                </a:cxn>
                <a:cxn ang="0">
                  <a:pos x="187" y="216"/>
                </a:cxn>
                <a:cxn ang="0">
                  <a:pos x="184" y="242"/>
                </a:cxn>
                <a:cxn ang="0">
                  <a:pos x="190" y="424"/>
                </a:cxn>
                <a:cxn ang="0">
                  <a:pos x="195" y="598"/>
                </a:cxn>
                <a:cxn ang="0">
                  <a:pos x="204" y="608"/>
                </a:cxn>
                <a:cxn ang="0">
                  <a:pos x="214" y="625"/>
                </a:cxn>
                <a:cxn ang="0">
                  <a:pos x="130" y="607"/>
                </a:cxn>
                <a:cxn ang="0">
                  <a:pos x="138" y="598"/>
                </a:cxn>
                <a:cxn ang="0">
                  <a:pos x="149" y="424"/>
                </a:cxn>
                <a:cxn ang="0">
                  <a:pos x="161" y="220"/>
                </a:cxn>
                <a:cxn ang="0">
                  <a:pos x="143" y="224"/>
                </a:cxn>
                <a:cxn ang="0">
                  <a:pos x="89" y="262"/>
                </a:cxn>
                <a:cxn ang="0">
                  <a:pos x="30" y="290"/>
                </a:cxn>
                <a:cxn ang="0">
                  <a:pos x="3" y="296"/>
                </a:cxn>
                <a:cxn ang="0">
                  <a:pos x="0" y="290"/>
                </a:cxn>
                <a:cxn ang="0">
                  <a:pos x="8" y="277"/>
                </a:cxn>
                <a:cxn ang="0">
                  <a:pos x="42" y="250"/>
                </a:cxn>
                <a:cxn ang="0">
                  <a:pos x="103" y="214"/>
                </a:cxn>
                <a:cxn ang="0">
                  <a:pos x="148" y="197"/>
                </a:cxn>
                <a:cxn ang="0">
                  <a:pos x="155" y="180"/>
                </a:cxn>
                <a:cxn ang="0">
                  <a:pos x="159" y="161"/>
                </a:cxn>
                <a:cxn ang="0">
                  <a:pos x="155" y="131"/>
                </a:cxn>
                <a:cxn ang="0">
                  <a:pos x="155" y="59"/>
                </a:cxn>
                <a:cxn ang="0">
                  <a:pos x="165" y="7"/>
                </a:cxn>
                <a:cxn ang="0">
                  <a:pos x="172" y="0"/>
                </a:cxn>
                <a:cxn ang="0">
                  <a:pos x="178" y="7"/>
                </a:cxn>
                <a:cxn ang="0">
                  <a:pos x="187" y="59"/>
                </a:cxn>
                <a:cxn ang="0">
                  <a:pos x="187" y="131"/>
                </a:cxn>
                <a:cxn ang="0">
                  <a:pos x="180" y="176"/>
                </a:cxn>
                <a:cxn ang="0">
                  <a:pos x="193" y="189"/>
                </a:cxn>
                <a:cxn ang="0">
                  <a:pos x="196" y="200"/>
                </a:cxn>
                <a:cxn ang="0">
                  <a:pos x="233" y="214"/>
                </a:cxn>
              </a:cxnLst>
              <a:rect l="0" t="0" r="r" b="b"/>
              <a:pathLst>
                <a:path w="340" h="625">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8" name="Freeform 101"/>
            <p:cNvSpPr>
              <a:spLocks/>
            </p:cNvSpPr>
            <p:nvPr userDrawn="1"/>
          </p:nvSpPr>
          <p:spPr bwMode="auto">
            <a:xfrm>
              <a:off x="7934325" y="6326188"/>
              <a:ext cx="31750" cy="19050"/>
            </a:xfrm>
            <a:custGeom>
              <a:avLst/>
              <a:gdLst/>
              <a:ahLst/>
              <a:cxnLst>
                <a:cxn ang="0">
                  <a:pos x="14" y="4"/>
                </a:cxn>
                <a:cxn ang="0">
                  <a:pos x="4" y="0"/>
                </a:cxn>
                <a:cxn ang="0">
                  <a:pos x="0" y="0"/>
                </a:cxn>
                <a:cxn ang="0">
                  <a:pos x="0" y="2"/>
                </a:cxn>
                <a:cxn ang="0">
                  <a:pos x="2" y="7"/>
                </a:cxn>
                <a:cxn ang="0">
                  <a:pos x="14" y="16"/>
                </a:cxn>
                <a:cxn ang="0">
                  <a:pos x="34" y="30"/>
                </a:cxn>
                <a:cxn ang="0">
                  <a:pos x="57" y="43"/>
                </a:cxn>
                <a:cxn ang="0">
                  <a:pos x="79" y="54"/>
                </a:cxn>
                <a:cxn ang="0">
                  <a:pos x="92" y="60"/>
                </a:cxn>
                <a:cxn ang="0">
                  <a:pos x="97" y="60"/>
                </a:cxn>
                <a:cxn ang="0">
                  <a:pos x="99" y="59"/>
                </a:cxn>
                <a:cxn ang="0">
                  <a:pos x="97" y="54"/>
                </a:cxn>
                <a:cxn ang="0">
                  <a:pos x="93" y="52"/>
                </a:cxn>
                <a:cxn ang="0">
                  <a:pos x="68" y="32"/>
                </a:cxn>
                <a:cxn ang="0">
                  <a:pos x="33" y="12"/>
                </a:cxn>
                <a:cxn ang="0">
                  <a:pos x="14" y="4"/>
                </a:cxn>
              </a:cxnLst>
              <a:rect l="0" t="0" r="r" b="b"/>
              <a:pathLst>
                <a:path w="99" h="60">
                  <a:moveTo>
                    <a:pt x="14" y="4"/>
                  </a:moveTo>
                  <a:lnTo>
                    <a:pt x="4" y="0"/>
                  </a:lnTo>
                  <a:lnTo>
                    <a:pt x="0" y="0"/>
                  </a:lnTo>
                  <a:lnTo>
                    <a:pt x="0" y="2"/>
                  </a:lnTo>
                  <a:lnTo>
                    <a:pt x="2" y="7"/>
                  </a:lnTo>
                  <a:lnTo>
                    <a:pt x="14" y="16"/>
                  </a:lnTo>
                  <a:lnTo>
                    <a:pt x="34" y="30"/>
                  </a:lnTo>
                  <a:lnTo>
                    <a:pt x="57" y="43"/>
                  </a:lnTo>
                  <a:lnTo>
                    <a:pt x="79" y="54"/>
                  </a:lnTo>
                  <a:lnTo>
                    <a:pt x="92" y="60"/>
                  </a:lnTo>
                  <a:lnTo>
                    <a:pt x="97" y="60"/>
                  </a:lnTo>
                  <a:lnTo>
                    <a:pt x="99" y="59"/>
                  </a:lnTo>
                  <a:lnTo>
                    <a:pt x="97" y="54"/>
                  </a:lnTo>
                  <a:lnTo>
                    <a:pt x="93" y="52"/>
                  </a:lnTo>
                  <a:lnTo>
                    <a:pt x="68" y="32"/>
                  </a:lnTo>
                  <a:lnTo>
                    <a:pt x="33" y="12"/>
                  </a:lnTo>
                  <a:lnTo>
                    <a:pt x="14" y="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9" name="Freeform 102"/>
            <p:cNvSpPr>
              <a:spLocks/>
            </p:cNvSpPr>
            <p:nvPr userDrawn="1"/>
          </p:nvSpPr>
          <p:spPr bwMode="auto">
            <a:xfrm>
              <a:off x="7875588" y="6326188"/>
              <a:ext cx="31750" cy="19050"/>
            </a:xfrm>
            <a:custGeom>
              <a:avLst/>
              <a:gdLst/>
              <a:ahLst/>
              <a:cxnLst>
                <a:cxn ang="0">
                  <a:pos x="0" y="59"/>
                </a:cxn>
                <a:cxn ang="0">
                  <a:pos x="5" y="59"/>
                </a:cxn>
                <a:cxn ang="0">
                  <a:pos x="17" y="54"/>
                </a:cxn>
                <a:cxn ang="0">
                  <a:pos x="53" y="36"/>
                </a:cxn>
                <a:cxn ang="0">
                  <a:pos x="88" y="12"/>
                </a:cxn>
                <a:cxn ang="0">
                  <a:pos x="98" y="5"/>
                </a:cxn>
                <a:cxn ang="0">
                  <a:pos x="100" y="0"/>
                </a:cxn>
                <a:cxn ang="0">
                  <a:pos x="95" y="0"/>
                </a:cxn>
                <a:cxn ang="0">
                  <a:pos x="83" y="4"/>
                </a:cxn>
                <a:cxn ang="0">
                  <a:pos x="66" y="12"/>
                </a:cxn>
                <a:cxn ang="0">
                  <a:pos x="47" y="23"/>
                </a:cxn>
                <a:cxn ang="0">
                  <a:pos x="12" y="46"/>
                </a:cxn>
                <a:cxn ang="0">
                  <a:pos x="2" y="54"/>
                </a:cxn>
                <a:cxn ang="0">
                  <a:pos x="0" y="59"/>
                </a:cxn>
              </a:cxnLst>
              <a:rect l="0" t="0" r="r" b="b"/>
              <a:pathLst>
                <a:path w="100" h="59">
                  <a:moveTo>
                    <a:pt x="0" y="59"/>
                  </a:moveTo>
                  <a:lnTo>
                    <a:pt x="5" y="59"/>
                  </a:lnTo>
                  <a:lnTo>
                    <a:pt x="17" y="54"/>
                  </a:lnTo>
                  <a:lnTo>
                    <a:pt x="53" y="36"/>
                  </a:lnTo>
                  <a:lnTo>
                    <a:pt x="88" y="12"/>
                  </a:lnTo>
                  <a:lnTo>
                    <a:pt x="98" y="5"/>
                  </a:lnTo>
                  <a:lnTo>
                    <a:pt x="100" y="0"/>
                  </a:lnTo>
                  <a:lnTo>
                    <a:pt x="95" y="0"/>
                  </a:lnTo>
                  <a:lnTo>
                    <a:pt x="83" y="4"/>
                  </a:lnTo>
                  <a:lnTo>
                    <a:pt x="66" y="12"/>
                  </a:lnTo>
                  <a:lnTo>
                    <a:pt x="47" y="23"/>
                  </a:lnTo>
                  <a:lnTo>
                    <a:pt x="12" y="46"/>
                  </a:lnTo>
                  <a:lnTo>
                    <a:pt x="2" y="54"/>
                  </a:lnTo>
                  <a:lnTo>
                    <a:pt x="0" y="59"/>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0" name="Freeform 103"/>
            <p:cNvSpPr>
              <a:spLocks/>
            </p:cNvSpPr>
            <p:nvPr userDrawn="1"/>
          </p:nvSpPr>
          <p:spPr bwMode="auto">
            <a:xfrm>
              <a:off x="7916863" y="6315076"/>
              <a:ext cx="7938" cy="7938"/>
            </a:xfrm>
            <a:custGeom>
              <a:avLst/>
              <a:gdLst/>
              <a:ahLst/>
              <a:cxnLst>
                <a:cxn ang="0">
                  <a:pos x="2" y="21"/>
                </a:cxn>
                <a:cxn ang="0">
                  <a:pos x="11" y="24"/>
                </a:cxn>
                <a:cxn ang="0">
                  <a:pos x="19" y="21"/>
                </a:cxn>
                <a:cxn ang="0">
                  <a:pos x="24" y="12"/>
                </a:cxn>
                <a:cxn ang="0">
                  <a:pos x="23" y="7"/>
                </a:cxn>
                <a:cxn ang="0">
                  <a:pos x="19" y="3"/>
                </a:cxn>
                <a:cxn ang="0">
                  <a:pos x="11" y="0"/>
                </a:cxn>
                <a:cxn ang="0">
                  <a:pos x="2" y="3"/>
                </a:cxn>
                <a:cxn ang="0">
                  <a:pos x="0" y="12"/>
                </a:cxn>
                <a:cxn ang="0">
                  <a:pos x="0" y="16"/>
                </a:cxn>
                <a:cxn ang="0">
                  <a:pos x="2" y="21"/>
                </a:cxn>
              </a:cxnLst>
              <a:rect l="0" t="0" r="r" b="b"/>
              <a:pathLst>
                <a:path w="24" h="24">
                  <a:moveTo>
                    <a:pt x="2" y="21"/>
                  </a:moveTo>
                  <a:lnTo>
                    <a:pt x="11" y="24"/>
                  </a:lnTo>
                  <a:lnTo>
                    <a:pt x="19" y="21"/>
                  </a:lnTo>
                  <a:lnTo>
                    <a:pt x="24" y="12"/>
                  </a:lnTo>
                  <a:lnTo>
                    <a:pt x="23" y="7"/>
                  </a:lnTo>
                  <a:lnTo>
                    <a:pt x="19" y="3"/>
                  </a:lnTo>
                  <a:lnTo>
                    <a:pt x="11" y="0"/>
                  </a:lnTo>
                  <a:lnTo>
                    <a:pt x="2" y="3"/>
                  </a:lnTo>
                  <a:lnTo>
                    <a:pt x="0" y="12"/>
                  </a:lnTo>
                  <a:lnTo>
                    <a:pt x="0" y="16"/>
                  </a:lnTo>
                  <a:lnTo>
                    <a:pt x="2" y="21"/>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1" name="Freeform 104"/>
            <p:cNvSpPr>
              <a:spLocks/>
            </p:cNvSpPr>
            <p:nvPr userDrawn="1"/>
          </p:nvSpPr>
          <p:spPr bwMode="auto">
            <a:xfrm>
              <a:off x="7918450" y="6269038"/>
              <a:ext cx="3175" cy="38100"/>
            </a:xfrm>
            <a:custGeom>
              <a:avLst/>
              <a:gdLst/>
              <a:ahLst/>
              <a:cxnLst>
                <a:cxn ang="0">
                  <a:pos x="0" y="59"/>
                </a:cxn>
                <a:cxn ang="0">
                  <a:pos x="2" y="100"/>
                </a:cxn>
                <a:cxn ang="0">
                  <a:pos x="4" y="113"/>
                </a:cxn>
                <a:cxn ang="0">
                  <a:pos x="7" y="118"/>
                </a:cxn>
                <a:cxn ang="0">
                  <a:pos x="10" y="113"/>
                </a:cxn>
                <a:cxn ang="0">
                  <a:pos x="13" y="100"/>
                </a:cxn>
                <a:cxn ang="0">
                  <a:pos x="14" y="59"/>
                </a:cxn>
                <a:cxn ang="0">
                  <a:pos x="13" y="17"/>
                </a:cxn>
                <a:cxn ang="0">
                  <a:pos x="8" y="0"/>
                </a:cxn>
                <a:cxn ang="0">
                  <a:pos x="4" y="5"/>
                </a:cxn>
                <a:cxn ang="0">
                  <a:pos x="2" y="17"/>
                </a:cxn>
                <a:cxn ang="0">
                  <a:pos x="0" y="59"/>
                </a:cxn>
              </a:cxnLst>
              <a:rect l="0" t="0" r="r" b="b"/>
              <a:pathLst>
                <a:path w="14" h="118">
                  <a:moveTo>
                    <a:pt x="0" y="59"/>
                  </a:moveTo>
                  <a:lnTo>
                    <a:pt x="2" y="100"/>
                  </a:lnTo>
                  <a:lnTo>
                    <a:pt x="4" y="113"/>
                  </a:lnTo>
                  <a:lnTo>
                    <a:pt x="7" y="118"/>
                  </a:lnTo>
                  <a:lnTo>
                    <a:pt x="10" y="113"/>
                  </a:lnTo>
                  <a:lnTo>
                    <a:pt x="13" y="100"/>
                  </a:lnTo>
                  <a:lnTo>
                    <a:pt x="14" y="59"/>
                  </a:lnTo>
                  <a:lnTo>
                    <a:pt x="13" y="17"/>
                  </a:lnTo>
                  <a:lnTo>
                    <a:pt x="8" y="0"/>
                  </a:lnTo>
                  <a:lnTo>
                    <a:pt x="4" y="5"/>
                  </a:lnTo>
                  <a:lnTo>
                    <a:pt x="2" y="17"/>
                  </a:lnTo>
                  <a:lnTo>
                    <a:pt x="0" y="5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2" name="Freeform 105"/>
            <p:cNvSpPr>
              <a:spLocks noEditPoints="1"/>
            </p:cNvSpPr>
            <p:nvPr userDrawn="1"/>
          </p:nvSpPr>
          <p:spPr bwMode="auto">
            <a:xfrm>
              <a:off x="7807325" y="6242051"/>
              <a:ext cx="131763" cy="244475"/>
            </a:xfrm>
            <a:custGeom>
              <a:avLst/>
              <a:gdLst/>
              <a:ahLst/>
              <a:cxnLst>
                <a:cxn ang="0">
                  <a:pos x="174" y="746"/>
                </a:cxn>
                <a:cxn ang="0">
                  <a:pos x="191" y="530"/>
                </a:cxn>
                <a:cxn ang="0">
                  <a:pos x="216" y="530"/>
                </a:cxn>
                <a:cxn ang="0">
                  <a:pos x="376" y="315"/>
                </a:cxn>
                <a:cxn ang="0">
                  <a:pos x="419" y="357"/>
                </a:cxn>
                <a:cxn ang="0">
                  <a:pos x="409" y="365"/>
                </a:cxn>
                <a:cxn ang="0">
                  <a:pos x="353" y="346"/>
                </a:cxn>
                <a:cxn ang="0">
                  <a:pos x="281" y="306"/>
                </a:cxn>
                <a:cxn ang="0">
                  <a:pos x="227" y="268"/>
                </a:cxn>
                <a:cxn ang="0">
                  <a:pos x="234" y="520"/>
                </a:cxn>
                <a:cxn ang="0">
                  <a:pos x="252" y="734"/>
                </a:cxn>
                <a:cxn ang="0">
                  <a:pos x="265" y="768"/>
                </a:cxn>
                <a:cxn ang="0">
                  <a:pos x="171" y="746"/>
                </a:cxn>
                <a:cxn ang="0">
                  <a:pos x="183" y="520"/>
                </a:cxn>
                <a:cxn ang="0">
                  <a:pos x="192" y="263"/>
                </a:cxn>
                <a:cxn ang="0">
                  <a:pos x="147" y="297"/>
                </a:cxn>
                <a:cxn ang="0">
                  <a:pos x="36" y="356"/>
                </a:cxn>
                <a:cxn ang="0">
                  <a:pos x="0" y="359"/>
                </a:cxn>
                <a:cxn ang="0">
                  <a:pos x="22" y="329"/>
                </a:cxn>
                <a:cxn ang="0">
                  <a:pos x="128" y="263"/>
                </a:cxn>
                <a:cxn ang="0">
                  <a:pos x="185" y="231"/>
                </a:cxn>
                <a:cxn ang="0">
                  <a:pos x="195" y="197"/>
                </a:cxn>
                <a:cxn ang="0">
                  <a:pos x="191" y="71"/>
                </a:cxn>
                <a:cxn ang="0">
                  <a:pos x="207" y="1"/>
                </a:cxn>
                <a:cxn ang="0">
                  <a:pos x="219" y="8"/>
                </a:cxn>
                <a:cxn ang="0">
                  <a:pos x="233" y="115"/>
                </a:cxn>
                <a:cxn ang="0">
                  <a:pos x="222" y="214"/>
                </a:cxn>
                <a:cxn ang="0">
                  <a:pos x="241" y="243"/>
                </a:cxn>
                <a:cxn ang="0">
                  <a:pos x="288" y="262"/>
                </a:cxn>
                <a:cxn ang="0">
                  <a:pos x="280" y="266"/>
                </a:cxn>
                <a:cxn ang="0">
                  <a:pos x="260" y="262"/>
                </a:cxn>
                <a:cxn ang="0">
                  <a:pos x="278" y="282"/>
                </a:cxn>
                <a:cxn ang="0">
                  <a:pos x="358" y="329"/>
                </a:cxn>
                <a:cxn ang="0">
                  <a:pos x="383" y="335"/>
                </a:cxn>
                <a:cxn ang="0">
                  <a:pos x="377" y="326"/>
                </a:cxn>
                <a:cxn ang="0">
                  <a:pos x="303" y="278"/>
                </a:cxn>
                <a:cxn ang="0">
                  <a:pos x="39" y="335"/>
                </a:cxn>
                <a:cxn ang="0">
                  <a:pos x="122" y="293"/>
                </a:cxn>
                <a:cxn ang="0">
                  <a:pos x="156" y="266"/>
                </a:cxn>
                <a:cxn ang="0">
                  <a:pos x="135" y="268"/>
                </a:cxn>
                <a:cxn ang="0">
                  <a:pos x="47" y="320"/>
                </a:cxn>
                <a:cxn ang="0">
                  <a:pos x="33" y="335"/>
                </a:cxn>
                <a:cxn ang="0">
                  <a:pos x="205" y="252"/>
                </a:cxn>
                <a:cxn ang="0">
                  <a:pos x="219" y="243"/>
                </a:cxn>
                <a:cxn ang="0">
                  <a:pos x="216" y="227"/>
                </a:cxn>
                <a:cxn ang="0">
                  <a:pos x="200" y="224"/>
                </a:cxn>
                <a:cxn ang="0">
                  <a:pos x="191" y="238"/>
                </a:cxn>
                <a:cxn ang="0">
                  <a:pos x="195" y="119"/>
                </a:cxn>
                <a:cxn ang="0">
                  <a:pos x="205" y="191"/>
                </a:cxn>
                <a:cxn ang="0">
                  <a:pos x="215" y="119"/>
                </a:cxn>
                <a:cxn ang="0">
                  <a:pos x="206" y="46"/>
                </a:cxn>
                <a:cxn ang="0">
                  <a:pos x="197" y="91"/>
                </a:cxn>
              </a:cxnLst>
              <a:rect l="0" t="0" r="r" b="b"/>
              <a:pathLst>
                <a:path w="419" h="768">
                  <a:moveTo>
                    <a:pt x="203" y="737"/>
                  </a:moveTo>
                  <a:lnTo>
                    <a:pt x="174" y="737"/>
                  </a:lnTo>
                  <a:lnTo>
                    <a:pt x="174" y="746"/>
                  </a:lnTo>
                  <a:lnTo>
                    <a:pt x="203" y="746"/>
                  </a:lnTo>
                  <a:lnTo>
                    <a:pt x="203" y="737"/>
                  </a:lnTo>
                  <a:close/>
                  <a:moveTo>
                    <a:pt x="191" y="530"/>
                  </a:moveTo>
                  <a:lnTo>
                    <a:pt x="189" y="733"/>
                  </a:lnTo>
                  <a:lnTo>
                    <a:pt x="215" y="733"/>
                  </a:lnTo>
                  <a:lnTo>
                    <a:pt x="216" y="530"/>
                  </a:lnTo>
                  <a:lnTo>
                    <a:pt x="191" y="530"/>
                  </a:lnTo>
                  <a:close/>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moveTo>
                    <a:pt x="280" y="266"/>
                  </a:moveTo>
                  <a:lnTo>
                    <a:pt x="268" y="262"/>
                  </a:lnTo>
                  <a:lnTo>
                    <a:pt x="263" y="261"/>
                  </a:lnTo>
                  <a:lnTo>
                    <a:pt x="260" y="262"/>
                  </a:lnTo>
                  <a:lnTo>
                    <a:pt x="260" y="266"/>
                  </a:lnTo>
                  <a:lnTo>
                    <a:pt x="264" y="270"/>
                  </a:lnTo>
                  <a:lnTo>
                    <a:pt x="278" y="282"/>
                  </a:lnTo>
                  <a:lnTo>
                    <a:pt x="305" y="299"/>
                  </a:lnTo>
                  <a:lnTo>
                    <a:pt x="333" y="316"/>
                  </a:lnTo>
                  <a:lnTo>
                    <a:pt x="358" y="329"/>
                  </a:lnTo>
                  <a:lnTo>
                    <a:pt x="375" y="335"/>
                  </a:lnTo>
                  <a:lnTo>
                    <a:pt x="381" y="337"/>
                  </a:lnTo>
                  <a:lnTo>
                    <a:pt x="383" y="335"/>
                  </a:lnTo>
                  <a:lnTo>
                    <a:pt x="383" y="332"/>
                  </a:lnTo>
                  <a:lnTo>
                    <a:pt x="381" y="329"/>
                  </a:lnTo>
                  <a:lnTo>
                    <a:pt x="377" y="326"/>
                  </a:lnTo>
                  <a:lnTo>
                    <a:pt x="362" y="312"/>
                  </a:lnTo>
                  <a:lnTo>
                    <a:pt x="345" y="302"/>
                  </a:lnTo>
                  <a:lnTo>
                    <a:pt x="303" y="278"/>
                  </a:lnTo>
                  <a:lnTo>
                    <a:pt x="280" y="266"/>
                  </a:lnTo>
                  <a:close/>
                  <a:moveTo>
                    <a:pt x="33" y="335"/>
                  </a:moveTo>
                  <a:lnTo>
                    <a:pt x="39" y="335"/>
                  </a:lnTo>
                  <a:lnTo>
                    <a:pt x="55" y="331"/>
                  </a:lnTo>
                  <a:lnTo>
                    <a:pt x="98" y="308"/>
                  </a:lnTo>
                  <a:lnTo>
                    <a:pt x="122" y="293"/>
                  </a:lnTo>
                  <a:lnTo>
                    <a:pt x="141" y="279"/>
                  </a:lnTo>
                  <a:lnTo>
                    <a:pt x="153" y="269"/>
                  </a:lnTo>
                  <a:lnTo>
                    <a:pt x="156" y="266"/>
                  </a:lnTo>
                  <a:lnTo>
                    <a:pt x="156" y="263"/>
                  </a:lnTo>
                  <a:lnTo>
                    <a:pt x="150" y="263"/>
                  </a:lnTo>
                  <a:lnTo>
                    <a:pt x="135" y="268"/>
                  </a:lnTo>
                  <a:lnTo>
                    <a:pt x="114" y="278"/>
                  </a:lnTo>
                  <a:lnTo>
                    <a:pt x="89" y="292"/>
                  </a:lnTo>
                  <a:lnTo>
                    <a:pt x="47" y="320"/>
                  </a:lnTo>
                  <a:lnTo>
                    <a:pt x="35" y="329"/>
                  </a:lnTo>
                  <a:lnTo>
                    <a:pt x="33" y="333"/>
                  </a:lnTo>
                  <a:lnTo>
                    <a:pt x="33" y="335"/>
                  </a:lnTo>
                  <a:close/>
                  <a:moveTo>
                    <a:pt x="195" y="249"/>
                  </a:moveTo>
                  <a:lnTo>
                    <a:pt x="200" y="251"/>
                  </a:lnTo>
                  <a:lnTo>
                    <a:pt x="205" y="252"/>
                  </a:lnTo>
                  <a:lnTo>
                    <a:pt x="211" y="251"/>
                  </a:lnTo>
                  <a:lnTo>
                    <a:pt x="216" y="249"/>
                  </a:lnTo>
                  <a:lnTo>
                    <a:pt x="219" y="243"/>
                  </a:lnTo>
                  <a:lnTo>
                    <a:pt x="221" y="238"/>
                  </a:lnTo>
                  <a:lnTo>
                    <a:pt x="219" y="232"/>
                  </a:lnTo>
                  <a:lnTo>
                    <a:pt x="216" y="227"/>
                  </a:lnTo>
                  <a:lnTo>
                    <a:pt x="211" y="224"/>
                  </a:lnTo>
                  <a:lnTo>
                    <a:pt x="205" y="222"/>
                  </a:lnTo>
                  <a:lnTo>
                    <a:pt x="200" y="224"/>
                  </a:lnTo>
                  <a:lnTo>
                    <a:pt x="195" y="226"/>
                  </a:lnTo>
                  <a:lnTo>
                    <a:pt x="192" y="232"/>
                  </a:lnTo>
                  <a:lnTo>
                    <a:pt x="191" y="238"/>
                  </a:lnTo>
                  <a:lnTo>
                    <a:pt x="192" y="243"/>
                  </a:lnTo>
                  <a:lnTo>
                    <a:pt x="195" y="249"/>
                  </a:lnTo>
                  <a:close/>
                  <a:moveTo>
                    <a:pt x="195" y="119"/>
                  </a:moveTo>
                  <a:lnTo>
                    <a:pt x="199" y="169"/>
                  </a:lnTo>
                  <a:lnTo>
                    <a:pt x="201" y="185"/>
                  </a:lnTo>
                  <a:lnTo>
                    <a:pt x="205" y="191"/>
                  </a:lnTo>
                  <a:lnTo>
                    <a:pt x="209" y="185"/>
                  </a:lnTo>
                  <a:lnTo>
                    <a:pt x="212" y="169"/>
                  </a:lnTo>
                  <a:lnTo>
                    <a:pt x="215" y="119"/>
                  </a:lnTo>
                  <a:lnTo>
                    <a:pt x="212" y="67"/>
                  </a:lnTo>
                  <a:lnTo>
                    <a:pt x="209" y="52"/>
                  </a:lnTo>
                  <a:lnTo>
                    <a:pt x="206" y="46"/>
                  </a:lnTo>
                  <a:lnTo>
                    <a:pt x="201" y="52"/>
                  </a:lnTo>
                  <a:lnTo>
                    <a:pt x="199" y="67"/>
                  </a:lnTo>
                  <a:lnTo>
                    <a:pt x="197" y="91"/>
                  </a:lnTo>
                  <a:lnTo>
                    <a:pt x="195" y="119"/>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3" name="Rectangle 106"/>
            <p:cNvSpPr>
              <a:spLocks noChangeArrowheads="1"/>
            </p:cNvSpPr>
            <p:nvPr userDrawn="1"/>
          </p:nvSpPr>
          <p:spPr bwMode="auto">
            <a:xfrm>
              <a:off x="7861300" y="6477001"/>
              <a:ext cx="9525" cy="1588"/>
            </a:xfrm>
            <a:prstGeom prst="rect">
              <a:avLst/>
            </a:prstGeom>
            <a:solidFill>
              <a:srgbClr val="B4B4B4"/>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4" name="Freeform 107"/>
            <p:cNvSpPr>
              <a:spLocks/>
            </p:cNvSpPr>
            <p:nvPr userDrawn="1"/>
          </p:nvSpPr>
          <p:spPr bwMode="auto">
            <a:xfrm>
              <a:off x="7866063" y="6410326"/>
              <a:ext cx="9525" cy="65088"/>
            </a:xfrm>
            <a:custGeom>
              <a:avLst/>
              <a:gdLst/>
              <a:ahLst/>
              <a:cxnLst>
                <a:cxn ang="0">
                  <a:pos x="2" y="0"/>
                </a:cxn>
                <a:cxn ang="0">
                  <a:pos x="0" y="203"/>
                </a:cxn>
                <a:cxn ang="0">
                  <a:pos x="26" y="203"/>
                </a:cxn>
                <a:cxn ang="0">
                  <a:pos x="27" y="0"/>
                </a:cxn>
                <a:cxn ang="0">
                  <a:pos x="2" y="0"/>
                </a:cxn>
              </a:cxnLst>
              <a:rect l="0" t="0" r="r" b="b"/>
              <a:pathLst>
                <a:path w="27" h="203">
                  <a:moveTo>
                    <a:pt x="2" y="0"/>
                  </a:moveTo>
                  <a:lnTo>
                    <a:pt x="0" y="203"/>
                  </a:lnTo>
                  <a:lnTo>
                    <a:pt x="26" y="203"/>
                  </a:lnTo>
                  <a:lnTo>
                    <a:pt x="27" y="0"/>
                  </a:lnTo>
                  <a:lnTo>
                    <a:pt x="2"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5" name="Freeform 108"/>
            <p:cNvSpPr>
              <a:spLocks/>
            </p:cNvSpPr>
            <p:nvPr userDrawn="1"/>
          </p:nvSpPr>
          <p:spPr bwMode="auto">
            <a:xfrm>
              <a:off x="7807325" y="6242051"/>
              <a:ext cx="131763" cy="244475"/>
            </a:xfrm>
            <a:custGeom>
              <a:avLst/>
              <a:gdLst/>
              <a:ahLst/>
              <a:cxnLst>
                <a:cxn ang="0">
                  <a:pos x="376" y="315"/>
                </a:cxn>
                <a:cxn ang="0">
                  <a:pos x="416" y="351"/>
                </a:cxn>
                <a:cxn ang="0">
                  <a:pos x="418" y="362"/>
                </a:cxn>
                <a:cxn ang="0">
                  <a:pos x="409" y="365"/>
                </a:cxn>
                <a:cxn ang="0">
                  <a:pos x="388" y="361"/>
                </a:cxn>
                <a:cxn ang="0">
                  <a:pos x="316" y="328"/>
                </a:cxn>
                <a:cxn ang="0">
                  <a:pos x="281" y="306"/>
                </a:cxn>
                <a:cxn ang="0">
                  <a:pos x="232" y="266"/>
                </a:cxn>
                <a:cxn ang="0">
                  <a:pos x="227" y="296"/>
                </a:cxn>
                <a:cxn ang="0">
                  <a:pos x="234" y="520"/>
                </a:cxn>
                <a:cxn ang="0">
                  <a:pos x="240" y="734"/>
                </a:cxn>
                <a:cxn ang="0">
                  <a:pos x="252" y="746"/>
                </a:cxn>
                <a:cxn ang="0">
                  <a:pos x="265" y="768"/>
                </a:cxn>
                <a:cxn ang="0">
                  <a:pos x="160" y="746"/>
                </a:cxn>
                <a:cxn ang="0">
                  <a:pos x="171" y="734"/>
                </a:cxn>
                <a:cxn ang="0">
                  <a:pos x="183" y="520"/>
                </a:cxn>
                <a:cxn ang="0">
                  <a:pos x="199" y="269"/>
                </a:cxn>
                <a:cxn ang="0">
                  <a:pos x="191" y="262"/>
                </a:cxn>
                <a:cxn ang="0">
                  <a:pos x="147" y="297"/>
                </a:cxn>
                <a:cxn ang="0">
                  <a:pos x="71" y="341"/>
                </a:cxn>
                <a:cxn ang="0">
                  <a:pos x="12" y="363"/>
                </a:cxn>
                <a:cxn ang="0">
                  <a:pos x="0" y="359"/>
                </a:cxn>
                <a:cxn ang="0">
                  <a:pos x="4" y="349"/>
                </a:cxn>
                <a:cxn ang="0">
                  <a:pos x="52" y="306"/>
                </a:cxn>
                <a:cxn ang="0">
                  <a:pos x="128" y="263"/>
                </a:cxn>
                <a:cxn ang="0">
                  <a:pos x="183" y="243"/>
                </a:cxn>
                <a:cxn ang="0">
                  <a:pos x="192" y="221"/>
                </a:cxn>
                <a:cxn ang="0">
                  <a:pos x="195" y="197"/>
                </a:cxn>
                <a:cxn ang="0">
                  <a:pos x="189" y="115"/>
                </a:cxn>
                <a:cxn ang="0">
                  <a:pos x="197" y="34"/>
                </a:cxn>
                <a:cxn ang="0">
                  <a:pos x="207" y="1"/>
                </a:cxn>
                <a:cxn ang="0">
                  <a:pos x="216" y="1"/>
                </a:cxn>
                <a:cxn ang="0">
                  <a:pos x="227" y="34"/>
                </a:cxn>
                <a:cxn ang="0">
                  <a:pos x="233" y="115"/>
                </a:cxn>
                <a:cxn ang="0">
                  <a:pos x="227" y="197"/>
                </a:cxn>
                <a:cxn ang="0">
                  <a:pos x="233" y="221"/>
                </a:cxn>
                <a:cxn ang="0">
                  <a:pos x="241" y="243"/>
                </a:cxn>
                <a:cxn ang="0">
                  <a:pos x="259" y="250"/>
                </a:cxn>
                <a:cxn ang="0">
                  <a:pos x="310" y="274"/>
                </a:cxn>
              </a:cxnLst>
              <a:rect l="0" t="0" r="r" b="b"/>
              <a:pathLst>
                <a:path w="419" h="768">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6" name="Freeform 109"/>
            <p:cNvSpPr>
              <a:spLocks/>
            </p:cNvSpPr>
            <p:nvPr userDrawn="1"/>
          </p:nvSpPr>
          <p:spPr bwMode="auto">
            <a:xfrm>
              <a:off x="7889875" y="6324601"/>
              <a:ext cx="38100" cy="25400"/>
            </a:xfrm>
            <a:custGeom>
              <a:avLst/>
              <a:gdLst/>
              <a:ahLst/>
              <a:cxnLst>
                <a:cxn ang="0">
                  <a:pos x="20" y="5"/>
                </a:cxn>
                <a:cxn ang="0">
                  <a:pos x="8" y="1"/>
                </a:cxn>
                <a:cxn ang="0">
                  <a:pos x="3" y="0"/>
                </a:cxn>
                <a:cxn ang="0">
                  <a:pos x="0" y="1"/>
                </a:cxn>
                <a:cxn ang="0">
                  <a:pos x="0" y="5"/>
                </a:cxn>
                <a:cxn ang="0">
                  <a:pos x="4" y="9"/>
                </a:cxn>
                <a:cxn ang="0">
                  <a:pos x="18" y="21"/>
                </a:cxn>
                <a:cxn ang="0">
                  <a:pos x="45" y="38"/>
                </a:cxn>
                <a:cxn ang="0">
                  <a:pos x="73" y="55"/>
                </a:cxn>
                <a:cxn ang="0">
                  <a:pos x="98" y="68"/>
                </a:cxn>
                <a:cxn ang="0">
                  <a:pos x="115" y="74"/>
                </a:cxn>
                <a:cxn ang="0">
                  <a:pos x="121" y="76"/>
                </a:cxn>
                <a:cxn ang="0">
                  <a:pos x="123" y="74"/>
                </a:cxn>
                <a:cxn ang="0">
                  <a:pos x="123" y="71"/>
                </a:cxn>
                <a:cxn ang="0">
                  <a:pos x="121" y="68"/>
                </a:cxn>
                <a:cxn ang="0">
                  <a:pos x="117" y="65"/>
                </a:cxn>
                <a:cxn ang="0">
                  <a:pos x="102" y="51"/>
                </a:cxn>
                <a:cxn ang="0">
                  <a:pos x="85" y="41"/>
                </a:cxn>
                <a:cxn ang="0">
                  <a:pos x="43" y="17"/>
                </a:cxn>
                <a:cxn ang="0">
                  <a:pos x="20" y="5"/>
                </a:cxn>
              </a:cxnLst>
              <a:rect l="0" t="0" r="r" b="b"/>
              <a:pathLst>
                <a:path w="123" h="76">
                  <a:moveTo>
                    <a:pt x="20" y="5"/>
                  </a:moveTo>
                  <a:lnTo>
                    <a:pt x="8" y="1"/>
                  </a:lnTo>
                  <a:lnTo>
                    <a:pt x="3" y="0"/>
                  </a:lnTo>
                  <a:lnTo>
                    <a:pt x="0" y="1"/>
                  </a:lnTo>
                  <a:lnTo>
                    <a:pt x="0" y="5"/>
                  </a:lnTo>
                  <a:lnTo>
                    <a:pt x="4" y="9"/>
                  </a:lnTo>
                  <a:lnTo>
                    <a:pt x="18" y="21"/>
                  </a:lnTo>
                  <a:lnTo>
                    <a:pt x="45" y="38"/>
                  </a:lnTo>
                  <a:lnTo>
                    <a:pt x="73" y="55"/>
                  </a:lnTo>
                  <a:lnTo>
                    <a:pt x="98" y="68"/>
                  </a:lnTo>
                  <a:lnTo>
                    <a:pt x="115" y="74"/>
                  </a:lnTo>
                  <a:lnTo>
                    <a:pt x="121" y="76"/>
                  </a:lnTo>
                  <a:lnTo>
                    <a:pt x="123" y="74"/>
                  </a:lnTo>
                  <a:lnTo>
                    <a:pt x="123" y="71"/>
                  </a:lnTo>
                  <a:lnTo>
                    <a:pt x="121" y="68"/>
                  </a:lnTo>
                  <a:lnTo>
                    <a:pt x="117" y="65"/>
                  </a:lnTo>
                  <a:lnTo>
                    <a:pt x="102" y="51"/>
                  </a:lnTo>
                  <a:lnTo>
                    <a:pt x="85" y="41"/>
                  </a:lnTo>
                  <a:lnTo>
                    <a:pt x="43" y="17"/>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7" name="Freeform 110"/>
            <p:cNvSpPr>
              <a:spLocks/>
            </p:cNvSpPr>
            <p:nvPr userDrawn="1"/>
          </p:nvSpPr>
          <p:spPr bwMode="auto">
            <a:xfrm>
              <a:off x="7816850" y="6326188"/>
              <a:ext cx="39688" cy="22225"/>
            </a:xfrm>
            <a:custGeom>
              <a:avLst/>
              <a:gdLst/>
              <a:ahLst/>
              <a:cxnLst>
                <a:cxn ang="0">
                  <a:pos x="0" y="72"/>
                </a:cxn>
                <a:cxn ang="0">
                  <a:pos x="6" y="72"/>
                </a:cxn>
                <a:cxn ang="0">
                  <a:pos x="22" y="68"/>
                </a:cxn>
                <a:cxn ang="0">
                  <a:pos x="65" y="45"/>
                </a:cxn>
                <a:cxn ang="0">
                  <a:pos x="89" y="30"/>
                </a:cxn>
                <a:cxn ang="0">
                  <a:pos x="108" y="16"/>
                </a:cxn>
                <a:cxn ang="0">
                  <a:pos x="120" y="6"/>
                </a:cxn>
                <a:cxn ang="0">
                  <a:pos x="123" y="3"/>
                </a:cxn>
                <a:cxn ang="0">
                  <a:pos x="123" y="0"/>
                </a:cxn>
                <a:cxn ang="0">
                  <a:pos x="117" y="0"/>
                </a:cxn>
                <a:cxn ang="0">
                  <a:pos x="102" y="5"/>
                </a:cxn>
                <a:cxn ang="0">
                  <a:pos x="81" y="15"/>
                </a:cxn>
                <a:cxn ang="0">
                  <a:pos x="56" y="29"/>
                </a:cxn>
                <a:cxn ang="0">
                  <a:pos x="14" y="57"/>
                </a:cxn>
                <a:cxn ang="0">
                  <a:pos x="2" y="66"/>
                </a:cxn>
                <a:cxn ang="0">
                  <a:pos x="0" y="70"/>
                </a:cxn>
                <a:cxn ang="0">
                  <a:pos x="0" y="72"/>
                </a:cxn>
              </a:cxnLst>
              <a:rect l="0" t="0" r="r" b="b"/>
              <a:pathLst>
                <a:path w="123" h="72">
                  <a:moveTo>
                    <a:pt x="0" y="72"/>
                  </a:moveTo>
                  <a:lnTo>
                    <a:pt x="6" y="72"/>
                  </a:lnTo>
                  <a:lnTo>
                    <a:pt x="22" y="68"/>
                  </a:lnTo>
                  <a:lnTo>
                    <a:pt x="65" y="45"/>
                  </a:lnTo>
                  <a:lnTo>
                    <a:pt x="89" y="30"/>
                  </a:lnTo>
                  <a:lnTo>
                    <a:pt x="108" y="16"/>
                  </a:lnTo>
                  <a:lnTo>
                    <a:pt x="120" y="6"/>
                  </a:lnTo>
                  <a:lnTo>
                    <a:pt x="123" y="3"/>
                  </a:lnTo>
                  <a:lnTo>
                    <a:pt x="123" y="0"/>
                  </a:lnTo>
                  <a:lnTo>
                    <a:pt x="117" y="0"/>
                  </a:lnTo>
                  <a:lnTo>
                    <a:pt x="102" y="5"/>
                  </a:lnTo>
                  <a:lnTo>
                    <a:pt x="81" y="15"/>
                  </a:lnTo>
                  <a:lnTo>
                    <a:pt x="56" y="29"/>
                  </a:lnTo>
                  <a:lnTo>
                    <a:pt x="14" y="57"/>
                  </a:lnTo>
                  <a:lnTo>
                    <a:pt x="2" y="66"/>
                  </a:lnTo>
                  <a:lnTo>
                    <a:pt x="0" y="70"/>
                  </a:lnTo>
                  <a:lnTo>
                    <a:pt x="0" y="72"/>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8" name="Freeform 111"/>
            <p:cNvSpPr>
              <a:spLocks/>
            </p:cNvSpPr>
            <p:nvPr userDrawn="1"/>
          </p:nvSpPr>
          <p:spPr bwMode="auto">
            <a:xfrm>
              <a:off x="7867650" y="6313488"/>
              <a:ext cx="9525" cy="9525"/>
            </a:xfrm>
            <a:custGeom>
              <a:avLst/>
              <a:gdLst/>
              <a:ahLst/>
              <a:cxnLst>
                <a:cxn ang="0">
                  <a:pos x="4" y="27"/>
                </a:cxn>
                <a:cxn ang="0">
                  <a:pos x="9" y="29"/>
                </a:cxn>
                <a:cxn ang="0">
                  <a:pos x="14" y="30"/>
                </a:cxn>
                <a:cxn ang="0">
                  <a:pos x="20" y="29"/>
                </a:cxn>
                <a:cxn ang="0">
                  <a:pos x="25" y="27"/>
                </a:cxn>
                <a:cxn ang="0">
                  <a:pos x="28" y="21"/>
                </a:cxn>
                <a:cxn ang="0">
                  <a:pos x="30" y="16"/>
                </a:cxn>
                <a:cxn ang="0">
                  <a:pos x="28" y="10"/>
                </a:cxn>
                <a:cxn ang="0">
                  <a:pos x="25" y="5"/>
                </a:cxn>
                <a:cxn ang="0">
                  <a:pos x="20" y="2"/>
                </a:cxn>
                <a:cxn ang="0">
                  <a:pos x="14" y="0"/>
                </a:cxn>
                <a:cxn ang="0">
                  <a:pos x="9" y="2"/>
                </a:cxn>
                <a:cxn ang="0">
                  <a:pos x="4" y="4"/>
                </a:cxn>
                <a:cxn ang="0">
                  <a:pos x="1" y="10"/>
                </a:cxn>
                <a:cxn ang="0">
                  <a:pos x="0" y="16"/>
                </a:cxn>
                <a:cxn ang="0">
                  <a:pos x="1" y="21"/>
                </a:cxn>
                <a:cxn ang="0">
                  <a:pos x="4" y="27"/>
                </a:cxn>
              </a:cxnLst>
              <a:rect l="0" t="0" r="r" b="b"/>
              <a:pathLst>
                <a:path w="30" h="30">
                  <a:moveTo>
                    <a:pt x="4" y="27"/>
                  </a:moveTo>
                  <a:lnTo>
                    <a:pt x="9" y="29"/>
                  </a:lnTo>
                  <a:lnTo>
                    <a:pt x="14" y="30"/>
                  </a:lnTo>
                  <a:lnTo>
                    <a:pt x="20" y="29"/>
                  </a:lnTo>
                  <a:lnTo>
                    <a:pt x="25" y="27"/>
                  </a:lnTo>
                  <a:lnTo>
                    <a:pt x="28" y="21"/>
                  </a:lnTo>
                  <a:lnTo>
                    <a:pt x="30" y="16"/>
                  </a:lnTo>
                  <a:lnTo>
                    <a:pt x="28" y="10"/>
                  </a:lnTo>
                  <a:lnTo>
                    <a:pt x="25" y="5"/>
                  </a:lnTo>
                  <a:lnTo>
                    <a:pt x="20" y="2"/>
                  </a:lnTo>
                  <a:lnTo>
                    <a:pt x="14" y="0"/>
                  </a:lnTo>
                  <a:lnTo>
                    <a:pt x="9" y="2"/>
                  </a:lnTo>
                  <a:lnTo>
                    <a:pt x="4" y="4"/>
                  </a:lnTo>
                  <a:lnTo>
                    <a:pt x="1" y="10"/>
                  </a:lnTo>
                  <a:lnTo>
                    <a:pt x="0" y="16"/>
                  </a:lnTo>
                  <a:lnTo>
                    <a:pt x="1" y="21"/>
                  </a:lnTo>
                  <a:lnTo>
                    <a:pt x="4"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9" name="Freeform 112"/>
            <p:cNvSpPr>
              <a:spLocks/>
            </p:cNvSpPr>
            <p:nvPr userDrawn="1"/>
          </p:nvSpPr>
          <p:spPr bwMode="auto">
            <a:xfrm>
              <a:off x="7869238" y="6256338"/>
              <a:ext cx="6350" cy="46038"/>
            </a:xfrm>
            <a:custGeom>
              <a:avLst/>
              <a:gdLst/>
              <a:ahLst/>
              <a:cxnLst>
                <a:cxn ang="0">
                  <a:pos x="0" y="73"/>
                </a:cxn>
                <a:cxn ang="0">
                  <a:pos x="4" y="123"/>
                </a:cxn>
                <a:cxn ang="0">
                  <a:pos x="6" y="139"/>
                </a:cxn>
                <a:cxn ang="0">
                  <a:pos x="10" y="145"/>
                </a:cxn>
                <a:cxn ang="0">
                  <a:pos x="14" y="139"/>
                </a:cxn>
                <a:cxn ang="0">
                  <a:pos x="17" y="123"/>
                </a:cxn>
                <a:cxn ang="0">
                  <a:pos x="20" y="73"/>
                </a:cxn>
                <a:cxn ang="0">
                  <a:pos x="17" y="21"/>
                </a:cxn>
                <a:cxn ang="0">
                  <a:pos x="14" y="6"/>
                </a:cxn>
                <a:cxn ang="0">
                  <a:pos x="11" y="0"/>
                </a:cxn>
                <a:cxn ang="0">
                  <a:pos x="6" y="6"/>
                </a:cxn>
                <a:cxn ang="0">
                  <a:pos x="4" y="21"/>
                </a:cxn>
                <a:cxn ang="0">
                  <a:pos x="2" y="45"/>
                </a:cxn>
                <a:cxn ang="0">
                  <a:pos x="0" y="73"/>
                </a:cxn>
              </a:cxnLst>
              <a:rect l="0" t="0" r="r" b="b"/>
              <a:pathLst>
                <a:path w="20" h="145">
                  <a:moveTo>
                    <a:pt x="0" y="73"/>
                  </a:moveTo>
                  <a:lnTo>
                    <a:pt x="4" y="123"/>
                  </a:lnTo>
                  <a:lnTo>
                    <a:pt x="6" y="139"/>
                  </a:lnTo>
                  <a:lnTo>
                    <a:pt x="10" y="145"/>
                  </a:lnTo>
                  <a:lnTo>
                    <a:pt x="14" y="139"/>
                  </a:lnTo>
                  <a:lnTo>
                    <a:pt x="17" y="123"/>
                  </a:lnTo>
                  <a:lnTo>
                    <a:pt x="20" y="73"/>
                  </a:lnTo>
                  <a:lnTo>
                    <a:pt x="17" y="21"/>
                  </a:lnTo>
                  <a:lnTo>
                    <a:pt x="14" y="6"/>
                  </a:lnTo>
                  <a:lnTo>
                    <a:pt x="11" y="0"/>
                  </a:lnTo>
                  <a:lnTo>
                    <a:pt x="6" y="6"/>
                  </a:lnTo>
                  <a:lnTo>
                    <a:pt x="4" y="21"/>
                  </a:lnTo>
                  <a:lnTo>
                    <a:pt x="2" y="45"/>
                  </a:lnTo>
                  <a:lnTo>
                    <a:pt x="0" y="73"/>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grpSp>
    </p:spTree>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hf hdr="0" ftr="0" dt="0"/>
  <p:txStyles>
    <p:titleStyle>
      <a:lvl1pPr algn="l" defTabSz="914400" rtl="0" eaLnBrk="1" latinLnBrk="0" hangingPunct="1">
        <a:lnSpc>
          <a:spcPct val="80000"/>
        </a:lnSpc>
        <a:spcBef>
          <a:spcPct val="0"/>
        </a:spcBef>
        <a:spcAft>
          <a:spcPts val="0"/>
        </a:spcAft>
        <a:buNone/>
        <a:defRPr sz="2400" b="1"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lang="en-US" sz="2400" b="1" u="none" kern="1200" dirty="0" smtClean="0">
          <a:solidFill>
            <a:schemeClr val="tx1"/>
          </a:solidFill>
          <a:latin typeface="Calibri" pitchFamily="34" charset="0"/>
          <a:ea typeface="+mn-ea"/>
          <a:cs typeface="Arial" charset="0"/>
        </a:defRPr>
      </a:lvl1pPr>
      <a:lvl2pPr marL="347472" indent="-285750" algn="l" defTabSz="914400" rtl="0" eaLnBrk="1" latinLnBrk="0" hangingPunct="1">
        <a:spcBef>
          <a:spcPct val="20000"/>
        </a:spcBef>
        <a:buClr>
          <a:schemeClr val="tx1"/>
        </a:buClr>
        <a:buFont typeface="Arial" pitchFamily="34" charset="0"/>
        <a:buChar char="•"/>
        <a:defRPr lang="en-US" sz="2400" b="1" u="none" kern="1200" dirty="0" smtClean="0">
          <a:solidFill>
            <a:schemeClr val="tx1"/>
          </a:solidFill>
          <a:latin typeface="Calibri" pitchFamily="34" charset="0"/>
          <a:ea typeface="+mn-ea"/>
          <a:cs typeface="Arial" charset="0"/>
        </a:defRPr>
      </a:lvl2pPr>
      <a:lvl3pPr marL="740664" indent="-228600" algn="l" defTabSz="914400" rtl="0" eaLnBrk="1" latinLnBrk="0" hangingPunct="1">
        <a:spcBef>
          <a:spcPct val="20000"/>
        </a:spcBef>
        <a:buClr>
          <a:schemeClr val="tx1"/>
        </a:buClr>
        <a:buFont typeface="Arial" pitchFamily="34" charset="0"/>
        <a:buChar char="•"/>
        <a:defRPr sz="2400" kern="1200">
          <a:solidFill>
            <a:schemeClr val="tx1"/>
          </a:solidFill>
          <a:latin typeface="+mn-lt"/>
          <a:ea typeface="+mn-ea"/>
          <a:cs typeface="+mn-cs"/>
        </a:defRPr>
      </a:lvl3pPr>
      <a:lvl4pPr marL="11430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4pPr>
      <a:lvl5pPr marL="16002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43010" name="think-cell Slide" r:id="rId13" imgW="270" imgH="270" progId="">
              <p:embed/>
            </p:oleObj>
          </a:graphicData>
        </a:graphic>
      </p:graphicFrame>
      <p:sp>
        <p:nvSpPr>
          <p:cNvPr id="419" name="10 Rectángulo"/>
          <p:cNvSpPr/>
          <p:nvPr/>
        </p:nvSpPr>
        <p:spPr bwMode="auto">
          <a:xfrm flipV="1">
            <a:off x="5791200" y="6658824"/>
            <a:ext cx="3352801" cy="22656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420" name="10 Rectángulo"/>
          <p:cNvSpPr/>
          <p:nvPr/>
        </p:nvSpPr>
        <p:spPr bwMode="auto">
          <a:xfrm flipV="1">
            <a:off x="1" y="6552728"/>
            <a:ext cx="8153399" cy="332656"/>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pic>
        <p:nvPicPr>
          <p:cNvPr id="421" name="Picture 3"/>
          <p:cNvPicPr>
            <a:picLocks noChangeAspect="1" noChangeArrowheads="1"/>
          </p:cNvPicPr>
          <p:nvPr/>
        </p:nvPicPr>
        <p:blipFill>
          <a:blip r:embed="rId14" cstate="screen"/>
          <a:srcRect/>
          <a:stretch>
            <a:fillRect/>
          </a:stretch>
        </p:blipFill>
        <p:spPr bwMode="auto">
          <a:xfrm>
            <a:off x="323528" y="6641307"/>
            <a:ext cx="613835" cy="155498"/>
          </a:xfrm>
          <a:prstGeom prst="rect">
            <a:avLst/>
          </a:prstGeom>
          <a:noFill/>
          <a:ln w="9525">
            <a:noFill/>
            <a:miter lim="800000"/>
            <a:headEnd/>
            <a:tailEnd/>
          </a:ln>
        </p:spPr>
      </p:pic>
      <p:sp>
        <p:nvSpPr>
          <p:cNvPr id="60" name="59 Rectángulo"/>
          <p:cNvSpPr/>
          <p:nvPr/>
        </p:nvSpPr>
        <p:spPr bwMode="auto">
          <a:xfrm>
            <a:off x="0" y="0"/>
            <a:ext cx="9144000" cy="9906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000000"/>
              </a:solidFill>
              <a:latin typeface="Arial" charset="0"/>
              <a:cs typeface="Arial" charset="0"/>
            </a:endParaRPr>
          </a:p>
        </p:txBody>
      </p:sp>
      <p:sp>
        <p:nvSpPr>
          <p:cNvPr id="56" name="Freeform 12"/>
          <p:cNvSpPr>
            <a:spLocks/>
          </p:cNvSpPr>
          <p:nvPr/>
        </p:nvSpPr>
        <p:spPr bwMode="auto">
          <a:xfrm>
            <a:off x="0" y="228600"/>
            <a:ext cx="6949440" cy="769957"/>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rgbClr val="2E67AD">
              <a:alpha val="56078"/>
            </a:srgb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2" name="Title Placeholder 1"/>
          <p:cNvSpPr>
            <a:spLocks noGrp="1"/>
          </p:cNvSpPr>
          <p:nvPr>
            <p:ph type="title"/>
          </p:nvPr>
        </p:nvSpPr>
        <p:spPr>
          <a:xfrm>
            <a:off x="107504" y="374768"/>
            <a:ext cx="5760640" cy="562074"/>
          </a:xfrm>
          <a:prstGeom prst="rect">
            <a:avLst/>
          </a:prstGeom>
        </p:spPr>
        <p:txBody>
          <a:bodyPr vert="horz" wrap="square" lIns="91440" tIns="0" rIns="91440" bIns="0" rtlCol="0" anchor="ctr">
            <a:noAutofit/>
          </a:bodyPr>
          <a:lstStyle/>
          <a:p>
            <a:r>
              <a:rPr lang="en-US" dirty="0" smtClean="0"/>
              <a:t>Click to edit Master title style</a:t>
            </a:r>
            <a:endParaRPr lang="en-US" dirty="0"/>
          </a:p>
        </p:txBody>
      </p:sp>
      <p:sp>
        <p:nvSpPr>
          <p:cNvPr id="6" name="Slide Number Placeholder 5"/>
          <p:cNvSpPr>
            <a:spLocks noGrp="1"/>
          </p:cNvSpPr>
          <p:nvPr>
            <p:ph type="sldNum" sz="quarter" idx="4"/>
          </p:nvPr>
        </p:nvSpPr>
        <p:spPr>
          <a:xfrm>
            <a:off x="8460432" y="6642000"/>
            <a:ext cx="576064" cy="216000"/>
          </a:xfrm>
          <a:prstGeom prst="rect">
            <a:avLst/>
          </a:prstGeom>
        </p:spPr>
        <p:txBody>
          <a:bodyPr vert="horz" lIns="91440" tIns="45720" rIns="91440" bIns="45720" rtlCol="0" anchor="ctr"/>
          <a:lstStyle>
            <a:lvl1pPr algn="r">
              <a:defRPr sz="1200" b="1" u="none">
                <a:solidFill>
                  <a:schemeClr val="bg1"/>
                </a:solidFill>
                <a:latin typeface="+mn-lt"/>
              </a:defRPr>
            </a:lvl1pPr>
          </a:lstStyle>
          <a:p>
            <a:pPr fontAlgn="base">
              <a:spcBef>
                <a:spcPct val="0"/>
              </a:spcBef>
              <a:spcAft>
                <a:spcPct val="0"/>
              </a:spcAft>
            </a:pPr>
            <a:fld id="{68B69B99-4CC0-4C77-940D-C46156F4FC2E}" type="slidenum">
              <a:rPr lang="en-US" smtClean="0">
                <a:solidFill>
                  <a:srgbClr val="FFFFFF"/>
                </a:solidFill>
                <a:cs typeface="Arial" charset="0"/>
              </a:rPr>
              <a:pPr fontAlgn="base">
                <a:spcBef>
                  <a:spcPct val="0"/>
                </a:spcBef>
                <a:spcAft>
                  <a:spcPct val="0"/>
                </a:spcAft>
              </a:pPr>
              <a:t>‹#›</a:t>
            </a:fld>
            <a:endParaRPr lang="en-US" dirty="0">
              <a:solidFill>
                <a:srgbClr val="FFFFFF"/>
              </a:solidFill>
              <a:cs typeface="Arial" charset="0"/>
            </a:endParaRPr>
          </a:p>
        </p:txBody>
      </p:sp>
      <p:sp>
        <p:nvSpPr>
          <p:cNvPr id="93" name="92 Rectángulo"/>
          <p:cNvSpPr/>
          <p:nvPr/>
        </p:nvSpPr>
        <p:spPr bwMode="auto">
          <a:xfrm>
            <a:off x="0" y="980728"/>
            <a:ext cx="9144000" cy="4571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61" name="Text Placeholder 60"/>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7" name="56 Rectángulo"/>
          <p:cNvSpPr/>
          <p:nvPr/>
        </p:nvSpPr>
        <p:spPr bwMode="auto">
          <a:xfrm flipV="1">
            <a:off x="0" y="914400"/>
            <a:ext cx="9143999" cy="762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3" name="94 Grupo"/>
          <p:cNvGrpSpPr/>
          <p:nvPr/>
        </p:nvGrpSpPr>
        <p:grpSpPr>
          <a:xfrm>
            <a:off x="7162800" y="303159"/>
            <a:ext cx="1559690" cy="382641"/>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70"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2"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7"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8"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9"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0"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1"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2"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3"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4"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5"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6"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7" name="Group 5"/>
            <p:cNvGrpSpPr>
              <a:grpSpLocks noChangeAspect="1"/>
            </p:cNvGrpSpPr>
            <p:nvPr userDrawn="1"/>
          </p:nvGrpSpPr>
          <p:grpSpPr bwMode="auto">
            <a:xfrm>
              <a:off x="6300192" y="2768810"/>
              <a:ext cx="791493" cy="248083"/>
              <a:chOff x="1066" y="543"/>
              <a:chExt cx="2262" cy="709"/>
            </a:xfrm>
            <a:grpFill/>
          </p:grpSpPr>
          <p:sp>
            <p:nvSpPr>
              <p:cNvPr id="65"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grpSp>
        <p:nvGrpSpPr>
          <p:cNvPr id="8" name="Group 422"/>
          <p:cNvGrpSpPr/>
          <p:nvPr/>
        </p:nvGrpSpPr>
        <p:grpSpPr>
          <a:xfrm>
            <a:off x="0" y="6189663"/>
            <a:ext cx="9145588" cy="479425"/>
            <a:chOff x="0" y="6189663"/>
            <a:chExt cx="9145588" cy="479425"/>
          </a:xfrm>
        </p:grpSpPr>
        <p:sp>
          <p:nvSpPr>
            <p:cNvPr id="424" name="AutoShape 5"/>
            <p:cNvSpPr>
              <a:spLocks noChangeAspect="1" noChangeArrowheads="1" noTextEdit="1"/>
            </p:cNvSpPr>
            <p:nvPr userDrawn="1"/>
          </p:nvSpPr>
          <p:spPr bwMode="auto">
            <a:xfrm>
              <a:off x="0" y="6189663"/>
              <a:ext cx="9144000" cy="479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5" name="Freeform 7"/>
            <p:cNvSpPr>
              <a:spLocks/>
            </p:cNvSpPr>
            <p:nvPr userDrawn="1"/>
          </p:nvSpPr>
          <p:spPr bwMode="auto">
            <a:xfrm>
              <a:off x="4113213" y="6407151"/>
              <a:ext cx="1885950" cy="165100"/>
            </a:xfrm>
            <a:custGeom>
              <a:avLst/>
              <a:gdLst/>
              <a:ahLst/>
              <a:cxnLst>
                <a:cxn ang="0">
                  <a:pos x="0" y="520"/>
                </a:cxn>
                <a:cxn ang="0">
                  <a:pos x="743" y="520"/>
                </a:cxn>
                <a:cxn ang="0">
                  <a:pos x="1486" y="520"/>
                </a:cxn>
                <a:cxn ang="0">
                  <a:pos x="2228" y="520"/>
                </a:cxn>
                <a:cxn ang="0">
                  <a:pos x="2971" y="520"/>
                </a:cxn>
                <a:cxn ang="0">
                  <a:pos x="3714" y="520"/>
                </a:cxn>
                <a:cxn ang="0">
                  <a:pos x="4457" y="520"/>
                </a:cxn>
                <a:cxn ang="0">
                  <a:pos x="5200" y="520"/>
                </a:cxn>
                <a:cxn ang="0">
                  <a:pos x="5943" y="520"/>
                </a:cxn>
                <a:cxn ang="0">
                  <a:pos x="5943" y="0"/>
                </a:cxn>
                <a:cxn ang="0">
                  <a:pos x="5200" y="0"/>
                </a:cxn>
                <a:cxn ang="0">
                  <a:pos x="4457" y="0"/>
                </a:cxn>
                <a:cxn ang="0">
                  <a:pos x="3714" y="0"/>
                </a:cxn>
                <a:cxn ang="0">
                  <a:pos x="2971" y="0"/>
                </a:cxn>
                <a:cxn ang="0">
                  <a:pos x="2228" y="0"/>
                </a:cxn>
                <a:cxn ang="0">
                  <a:pos x="1486" y="0"/>
                </a:cxn>
                <a:cxn ang="0">
                  <a:pos x="743" y="0"/>
                </a:cxn>
                <a:cxn ang="0">
                  <a:pos x="0" y="0"/>
                </a:cxn>
                <a:cxn ang="0">
                  <a:pos x="0" y="520"/>
                </a:cxn>
              </a:cxnLst>
              <a:rect l="0" t="0" r="r" b="b"/>
              <a:pathLst>
                <a:path w="5943" h="520">
                  <a:moveTo>
                    <a:pt x="0" y="520"/>
                  </a:moveTo>
                  <a:lnTo>
                    <a:pt x="743" y="520"/>
                  </a:lnTo>
                  <a:lnTo>
                    <a:pt x="1486" y="520"/>
                  </a:lnTo>
                  <a:lnTo>
                    <a:pt x="2228" y="520"/>
                  </a:lnTo>
                  <a:lnTo>
                    <a:pt x="2971" y="520"/>
                  </a:lnTo>
                  <a:lnTo>
                    <a:pt x="3714" y="520"/>
                  </a:lnTo>
                  <a:lnTo>
                    <a:pt x="4457" y="520"/>
                  </a:lnTo>
                  <a:lnTo>
                    <a:pt x="5200" y="520"/>
                  </a:lnTo>
                  <a:lnTo>
                    <a:pt x="5943" y="520"/>
                  </a:lnTo>
                  <a:lnTo>
                    <a:pt x="5943" y="0"/>
                  </a:lnTo>
                  <a:lnTo>
                    <a:pt x="5200" y="0"/>
                  </a:lnTo>
                  <a:lnTo>
                    <a:pt x="4457" y="0"/>
                  </a:lnTo>
                  <a:lnTo>
                    <a:pt x="3714" y="0"/>
                  </a:lnTo>
                  <a:lnTo>
                    <a:pt x="2971" y="0"/>
                  </a:lnTo>
                  <a:lnTo>
                    <a:pt x="2228" y="0"/>
                  </a:lnTo>
                  <a:lnTo>
                    <a:pt x="1486" y="0"/>
                  </a:lnTo>
                  <a:lnTo>
                    <a:pt x="743" y="0"/>
                  </a:lnTo>
                  <a:lnTo>
                    <a:pt x="0" y="0"/>
                  </a:lnTo>
                  <a:lnTo>
                    <a:pt x="0" y="520"/>
                  </a:lnTo>
                  <a:close/>
                </a:path>
              </a:pathLst>
            </a:custGeom>
            <a:solidFill>
              <a:srgbClr val="99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6" name="Freeform 8"/>
            <p:cNvSpPr>
              <a:spLocks noEditPoints="1"/>
            </p:cNvSpPr>
            <p:nvPr userDrawn="1"/>
          </p:nvSpPr>
          <p:spPr bwMode="auto">
            <a:xfrm>
              <a:off x="0" y="6208713"/>
              <a:ext cx="4546600" cy="363538"/>
            </a:xfrm>
            <a:custGeom>
              <a:avLst/>
              <a:gdLst/>
              <a:ahLst/>
              <a:cxnLst>
                <a:cxn ang="0">
                  <a:pos x="12835" y="583"/>
                </a:cxn>
                <a:cxn ang="0">
                  <a:pos x="5200" y="624"/>
                </a:cxn>
                <a:cxn ang="0">
                  <a:pos x="5005" y="512"/>
                </a:cxn>
                <a:cxn ang="0">
                  <a:pos x="5200" y="399"/>
                </a:cxn>
                <a:cxn ang="0">
                  <a:pos x="5508" y="396"/>
                </a:cxn>
                <a:cxn ang="0">
                  <a:pos x="5508" y="488"/>
                </a:cxn>
                <a:cxn ang="0">
                  <a:pos x="5508" y="427"/>
                </a:cxn>
                <a:cxn ang="0">
                  <a:pos x="11042" y="409"/>
                </a:cxn>
                <a:cxn ang="0">
                  <a:pos x="10776" y="357"/>
                </a:cxn>
                <a:cxn ang="0">
                  <a:pos x="10488" y="406"/>
                </a:cxn>
                <a:cxn ang="0">
                  <a:pos x="10427" y="409"/>
                </a:cxn>
                <a:cxn ang="0">
                  <a:pos x="9997" y="512"/>
                </a:cxn>
                <a:cxn ang="0">
                  <a:pos x="9843" y="624"/>
                </a:cxn>
                <a:cxn ang="0">
                  <a:pos x="9679" y="358"/>
                </a:cxn>
                <a:cxn ang="0">
                  <a:pos x="9125" y="409"/>
                </a:cxn>
                <a:cxn ang="0">
                  <a:pos x="8966" y="598"/>
                </a:cxn>
                <a:cxn ang="0">
                  <a:pos x="8791" y="624"/>
                </a:cxn>
                <a:cxn ang="0">
                  <a:pos x="8500" y="215"/>
                </a:cxn>
                <a:cxn ang="0">
                  <a:pos x="8378" y="184"/>
                </a:cxn>
                <a:cxn ang="0">
                  <a:pos x="8173" y="563"/>
                </a:cxn>
                <a:cxn ang="0">
                  <a:pos x="7978" y="533"/>
                </a:cxn>
                <a:cxn ang="0">
                  <a:pos x="7762" y="512"/>
                </a:cxn>
                <a:cxn ang="0">
                  <a:pos x="7680" y="462"/>
                </a:cxn>
                <a:cxn ang="0">
                  <a:pos x="7644" y="338"/>
                </a:cxn>
                <a:cxn ang="0">
                  <a:pos x="7602" y="455"/>
                </a:cxn>
                <a:cxn ang="0">
                  <a:pos x="7537" y="512"/>
                </a:cxn>
                <a:cxn ang="0">
                  <a:pos x="7414" y="583"/>
                </a:cxn>
                <a:cxn ang="0">
                  <a:pos x="7363" y="583"/>
                </a:cxn>
                <a:cxn ang="0">
                  <a:pos x="7147" y="492"/>
                </a:cxn>
                <a:cxn ang="0">
                  <a:pos x="7015" y="492"/>
                </a:cxn>
                <a:cxn ang="0">
                  <a:pos x="6758" y="195"/>
                </a:cxn>
                <a:cxn ang="0">
                  <a:pos x="6615" y="624"/>
                </a:cxn>
                <a:cxn ang="0">
                  <a:pos x="6461" y="443"/>
                </a:cxn>
                <a:cxn ang="0">
                  <a:pos x="6425" y="420"/>
                </a:cxn>
                <a:cxn ang="0">
                  <a:pos x="6354" y="462"/>
                </a:cxn>
                <a:cxn ang="0">
                  <a:pos x="6041" y="553"/>
                </a:cxn>
                <a:cxn ang="0">
                  <a:pos x="5815" y="512"/>
                </a:cxn>
                <a:cxn ang="0">
                  <a:pos x="5498" y="277"/>
                </a:cxn>
                <a:cxn ang="0">
                  <a:pos x="5191" y="286"/>
                </a:cxn>
                <a:cxn ang="0">
                  <a:pos x="5109" y="286"/>
                </a:cxn>
                <a:cxn ang="0">
                  <a:pos x="4791" y="669"/>
                </a:cxn>
                <a:cxn ang="0">
                  <a:pos x="2649" y="838"/>
                </a:cxn>
                <a:cxn ang="0">
                  <a:pos x="1428" y="1115"/>
                </a:cxn>
                <a:cxn ang="0">
                  <a:pos x="6327" y="1107"/>
                </a:cxn>
                <a:cxn ang="0">
                  <a:pos x="10631" y="1107"/>
                </a:cxn>
                <a:cxn ang="0">
                  <a:pos x="14321" y="624"/>
                </a:cxn>
                <a:cxn ang="0">
                  <a:pos x="13880" y="368"/>
                </a:cxn>
                <a:cxn ang="0">
                  <a:pos x="13532" y="512"/>
                </a:cxn>
                <a:cxn ang="0">
                  <a:pos x="13112" y="624"/>
                </a:cxn>
                <a:cxn ang="0">
                  <a:pos x="12528" y="624"/>
                </a:cxn>
                <a:cxn ang="0">
                  <a:pos x="12333" y="123"/>
                </a:cxn>
                <a:cxn ang="0">
                  <a:pos x="12260" y="379"/>
                </a:cxn>
                <a:cxn ang="0">
                  <a:pos x="12179" y="388"/>
                </a:cxn>
                <a:cxn ang="0">
                  <a:pos x="11994" y="481"/>
                </a:cxn>
                <a:cxn ang="0">
                  <a:pos x="11919" y="272"/>
                </a:cxn>
                <a:cxn ang="0">
                  <a:pos x="11879" y="309"/>
                </a:cxn>
                <a:cxn ang="0">
                  <a:pos x="11826" y="266"/>
                </a:cxn>
                <a:cxn ang="0">
                  <a:pos x="11769" y="338"/>
                </a:cxn>
              </a:cxnLst>
              <a:rect l="0" t="0" r="r" b="b"/>
              <a:pathLst>
                <a:path w="14321" h="1147">
                  <a:moveTo>
                    <a:pt x="12835" y="604"/>
                  </a:moveTo>
                  <a:lnTo>
                    <a:pt x="12896" y="604"/>
                  </a:lnTo>
                  <a:lnTo>
                    <a:pt x="12896" y="624"/>
                  </a:lnTo>
                  <a:lnTo>
                    <a:pt x="12835" y="624"/>
                  </a:lnTo>
                  <a:lnTo>
                    <a:pt x="12835" y="604"/>
                  </a:lnTo>
                  <a:close/>
                  <a:moveTo>
                    <a:pt x="12896" y="583"/>
                  </a:moveTo>
                  <a:lnTo>
                    <a:pt x="12835" y="583"/>
                  </a:lnTo>
                  <a:lnTo>
                    <a:pt x="12835" y="563"/>
                  </a:lnTo>
                  <a:lnTo>
                    <a:pt x="12896" y="563"/>
                  </a:lnTo>
                  <a:lnTo>
                    <a:pt x="12896" y="583"/>
                  </a:lnTo>
                  <a:close/>
                  <a:moveTo>
                    <a:pt x="5200" y="451"/>
                  </a:moveTo>
                  <a:lnTo>
                    <a:pt x="5406" y="451"/>
                  </a:lnTo>
                  <a:lnTo>
                    <a:pt x="5406" y="624"/>
                  </a:lnTo>
                  <a:lnTo>
                    <a:pt x="5200" y="624"/>
                  </a:lnTo>
                  <a:lnTo>
                    <a:pt x="5200" y="451"/>
                  </a:lnTo>
                  <a:close/>
                  <a:moveTo>
                    <a:pt x="5035" y="512"/>
                  </a:moveTo>
                  <a:lnTo>
                    <a:pt x="5098" y="450"/>
                  </a:lnTo>
                  <a:lnTo>
                    <a:pt x="5098" y="465"/>
                  </a:lnTo>
                  <a:lnTo>
                    <a:pt x="5052" y="512"/>
                  </a:lnTo>
                  <a:lnTo>
                    <a:pt x="5035" y="512"/>
                  </a:lnTo>
                  <a:close/>
                  <a:moveTo>
                    <a:pt x="5005" y="512"/>
                  </a:moveTo>
                  <a:lnTo>
                    <a:pt x="5098" y="418"/>
                  </a:lnTo>
                  <a:lnTo>
                    <a:pt x="5098" y="435"/>
                  </a:lnTo>
                  <a:lnTo>
                    <a:pt x="5021" y="512"/>
                  </a:lnTo>
                  <a:lnTo>
                    <a:pt x="5005" y="512"/>
                  </a:lnTo>
                  <a:close/>
                  <a:moveTo>
                    <a:pt x="5406" y="409"/>
                  </a:moveTo>
                  <a:lnTo>
                    <a:pt x="5200" y="409"/>
                  </a:lnTo>
                  <a:lnTo>
                    <a:pt x="5200" y="399"/>
                  </a:lnTo>
                  <a:lnTo>
                    <a:pt x="5406" y="399"/>
                  </a:lnTo>
                  <a:lnTo>
                    <a:pt x="5406" y="409"/>
                  </a:lnTo>
                  <a:close/>
                  <a:moveTo>
                    <a:pt x="5611" y="499"/>
                  </a:moveTo>
                  <a:lnTo>
                    <a:pt x="5611" y="512"/>
                  </a:lnTo>
                  <a:lnTo>
                    <a:pt x="5607" y="512"/>
                  </a:lnTo>
                  <a:lnTo>
                    <a:pt x="5508" y="412"/>
                  </a:lnTo>
                  <a:lnTo>
                    <a:pt x="5508" y="396"/>
                  </a:lnTo>
                  <a:lnTo>
                    <a:pt x="5611" y="499"/>
                  </a:lnTo>
                  <a:close/>
                  <a:moveTo>
                    <a:pt x="5508" y="474"/>
                  </a:moveTo>
                  <a:lnTo>
                    <a:pt x="5508" y="458"/>
                  </a:lnTo>
                  <a:lnTo>
                    <a:pt x="5563" y="512"/>
                  </a:lnTo>
                  <a:lnTo>
                    <a:pt x="5546" y="512"/>
                  </a:lnTo>
                  <a:lnTo>
                    <a:pt x="5508" y="474"/>
                  </a:lnTo>
                  <a:close/>
                  <a:moveTo>
                    <a:pt x="5508" y="488"/>
                  </a:moveTo>
                  <a:lnTo>
                    <a:pt x="5531" y="512"/>
                  </a:lnTo>
                  <a:lnTo>
                    <a:pt x="5508" y="512"/>
                  </a:lnTo>
                  <a:lnTo>
                    <a:pt x="5508" y="488"/>
                  </a:lnTo>
                  <a:close/>
                  <a:moveTo>
                    <a:pt x="5593" y="512"/>
                  </a:moveTo>
                  <a:lnTo>
                    <a:pt x="5577" y="512"/>
                  </a:lnTo>
                  <a:lnTo>
                    <a:pt x="5508" y="443"/>
                  </a:lnTo>
                  <a:lnTo>
                    <a:pt x="5508" y="427"/>
                  </a:lnTo>
                  <a:lnTo>
                    <a:pt x="5593" y="512"/>
                  </a:lnTo>
                  <a:close/>
                  <a:moveTo>
                    <a:pt x="12896" y="501"/>
                  </a:moveTo>
                  <a:lnTo>
                    <a:pt x="12835" y="501"/>
                  </a:lnTo>
                  <a:lnTo>
                    <a:pt x="12896" y="501"/>
                  </a:lnTo>
                  <a:close/>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7" name="Rectangle 9"/>
            <p:cNvSpPr>
              <a:spLocks noChangeArrowheads="1"/>
            </p:cNvSpPr>
            <p:nvPr userDrawn="1"/>
          </p:nvSpPr>
          <p:spPr bwMode="auto">
            <a:xfrm>
              <a:off x="4075113" y="64008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8" name="Rectangle 10"/>
            <p:cNvSpPr>
              <a:spLocks noChangeArrowheads="1"/>
            </p:cNvSpPr>
            <p:nvPr userDrawn="1"/>
          </p:nvSpPr>
          <p:spPr bwMode="auto">
            <a:xfrm>
              <a:off x="4075113" y="63881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9" name="Rectangle 11"/>
            <p:cNvSpPr>
              <a:spLocks noChangeArrowheads="1"/>
            </p:cNvSpPr>
            <p:nvPr userDrawn="1"/>
          </p:nvSpPr>
          <p:spPr bwMode="auto">
            <a:xfrm>
              <a:off x="1651000" y="6351588"/>
              <a:ext cx="65088" cy="55563"/>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0" name="Freeform 12"/>
            <p:cNvSpPr>
              <a:spLocks/>
            </p:cNvSpPr>
            <p:nvPr userDrawn="1"/>
          </p:nvSpPr>
          <p:spPr bwMode="auto">
            <a:xfrm>
              <a:off x="1598613" y="6351588"/>
              <a:ext cx="20638" cy="19050"/>
            </a:xfrm>
            <a:custGeom>
              <a:avLst/>
              <a:gdLst/>
              <a:ahLst/>
              <a:cxnLst>
                <a:cxn ang="0">
                  <a:pos x="0" y="62"/>
                </a:cxn>
                <a:cxn ang="0">
                  <a:pos x="63" y="0"/>
                </a:cxn>
                <a:cxn ang="0">
                  <a:pos x="63" y="15"/>
                </a:cxn>
                <a:cxn ang="0">
                  <a:pos x="17" y="62"/>
                </a:cxn>
                <a:cxn ang="0">
                  <a:pos x="0" y="62"/>
                </a:cxn>
              </a:cxnLst>
              <a:rect l="0" t="0" r="r" b="b"/>
              <a:pathLst>
                <a:path w="63" h="62">
                  <a:moveTo>
                    <a:pt x="0" y="62"/>
                  </a:moveTo>
                  <a:lnTo>
                    <a:pt x="63" y="0"/>
                  </a:lnTo>
                  <a:lnTo>
                    <a:pt x="63" y="15"/>
                  </a:lnTo>
                  <a:lnTo>
                    <a:pt x="17" y="62"/>
                  </a:lnTo>
                  <a:lnTo>
                    <a:pt x="0" y="62"/>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1" name="Freeform 13"/>
            <p:cNvSpPr>
              <a:spLocks/>
            </p:cNvSpPr>
            <p:nvPr userDrawn="1"/>
          </p:nvSpPr>
          <p:spPr bwMode="auto">
            <a:xfrm>
              <a:off x="1589088" y="6342063"/>
              <a:ext cx="30163" cy="28575"/>
            </a:xfrm>
            <a:custGeom>
              <a:avLst/>
              <a:gdLst/>
              <a:ahLst/>
              <a:cxnLst>
                <a:cxn ang="0">
                  <a:pos x="0" y="94"/>
                </a:cxn>
                <a:cxn ang="0">
                  <a:pos x="93" y="0"/>
                </a:cxn>
                <a:cxn ang="0">
                  <a:pos x="93" y="17"/>
                </a:cxn>
                <a:cxn ang="0">
                  <a:pos x="16" y="94"/>
                </a:cxn>
                <a:cxn ang="0">
                  <a:pos x="0" y="94"/>
                </a:cxn>
              </a:cxnLst>
              <a:rect l="0" t="0" r="r" b="b"/>
              <a:pathLst>
                <a:path w="93" h="94">
                  <a:moveTo>
                    <a:pt x="0" y="94"/>
                  </a:moveTo>
                  <a:lnTo>
                    <a:pt x="93" y="0"/>
                  </a:lnTo>
                  <a:lnTo>
                    <a:pt x="93" y="17"/>
                  </a:lnTo>
                  <a:lnTo>
                    <a:pt x="16" y="94"/>
                  </a:lnTo>
                  <a:lnTo>
                    <a:pt x="0" y="9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2" name="Rectangle 14"/>
            <p:cNvSpPr>
              <a:spLocks noChangeArrowheads="1"/>
            </p:cNvSpPr>
            <p:nvPr userDrawn="1"/>
          </p:nvSpPr>
          <p:spPr bwMode="auto">
            <a:xfrm>
              <a:off x="1651000" y="6335713"/>
              <a:ext cx="65088" cy="3175"/>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3" name="Freeform 15"/>
            <p:cNvSpPr>
              <a:spLocks/>
            </p:cNvSpPr>
            <p:nvPr userDrawn="1"/>
          </p:nvSpPr>
          <p:spPr bwMode="auto">
            <a:xfrm>
              <a:off x="1749425" y="6334126"/>
              <a:ext cx="31750" cy="36513"/>
            </a:xfrm>
            <a:custGeom>
              <a:avLst/>
              <a:gdLst/>
              <a:ahLst/>
              <a:cxnLst>
                <a:cxn ang="0">
                  <a:pos x="103" y="103"/>
                </a:cxn>
                <a:cxn ang="0">
                  <a:pos x="103" y="116"/>
                </a:cxn>
                <a:cxn ang="0">
                  <a:pos x="99" y="116"/>
                </a:cxn>
                <a:cxn ang="0">
                  <a:pos x="0" y="16"/>
                </a:cxn>
                <a:cxn ang="0">
                  <a:pos x="0" y="0"/>
                </a:cxn>
                <a:cxn ang="0">
                  <a:pos x="103" y="103"/>
                </a:cxn>
              </a:cxnLst>
              <a:rect l="0" t="0" r="r" b="b"/>
              <a:pathLst>
                <a:path w="103" h="116">
                  <a:moveTo>
                    <a:pt x="103" y="103"/>
                  </a:moveTo>
                  <a:lnTo>
                    <a:pt x="103" y="116"/>
                  </a:lnTo>
                  <a:lnTo>
                    <a:pt x="99" y="116"/>
                  </a:lnTo>
                  <a:lnTo>
                    <a:pt x="0" y="16"/>
                  </a:lnTo>
                  <a:lnTo>
                    <a:pt x="0" y="0"/>
                  </a:lnTo>
                  <a:lnTo>
                    <a:pt x="103" y="103"/>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4" name="Freeform 16"/>
            <p:cNvSpPr>
              <a:spLocks/>
            </p:cNvSpPr>
            <p:nvPr userDrawn="1"/>
          </p:nvSpPr>
          <p:spPr bwMode="auto">
            <a:xfrm>
              <a:off x="1749425" y="6354763"/>
              <a:ext cx="17463" cy="15875"/>
            </a:xfrm>
            <a:custGeom>
              <a:avLst/>
              <a:gdLst/>
              <a:ahLst/>
              <a:cxnLst>
                <a:cxn ang="0">
                  <a:pos x="0" y="16"/>
                </a:cxn>
                <a:cxn ang="0">
                  <a:pos x="0" y="0"/>
                </a:cxn>
                <a:cxn ang="0">
                  <a:pos x="55" y="54"/>
                </a:cxn>
                <a:cxn ang="0">
                  <a:pos x="38" y="54"/>
                </a:cxn>
                <a:cxn ang="0">
                  <a:pos x="0" y="16"/>
                </a:cxn>
              </a:cxnLst>
              <a:rect l="0" t="0" r="r" b="b"/>
              <a:pathLst>
                <a:path w="55" h="54">
                  <a:moveTo>
                    <a:pt x="0" y="16"/>
                  </a:moveTo>
                  <a:lnTo>
                    <a:pt x="0" y="0"/>
                  </a:lnTo>
                  <a:lnTo>
                    <a:pt x="55" y="54"/>
                  </a:lnTo>
                  <a:lnTo>
                    <a:pt x="38" y="54"/>
                  </a:lnTo>
                  <a:lnTo>
                    <a:pt x="0" y="16"/>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5" name="Freeform 17"/>
            <p:cNvSpPr>
              <a:spLocks/>
            </p:cNvSpPr>
            <p:nvPr userDrawn="1"/>
          </p:nvSpPr>
          <p:spPr bwMode="auto">
            <a:xfrm>
              <a:off x="1749425" y="6364288"/>
              <a:ext cx="6350" cy="6350"/>
            </a:xfrm>
            <a:custGeom>
              <a:avLst/>
              <a:gdLst/>
              <a:ahLst/>
              <a:cxnLst>
                <a:cxn ang="0">
                  <a:pos x="0" y="0"/>
                </a:cxn>
                <a:cxn ang="0">
                  <a:pos x="23" y="24"/>
                </a:cxn>
                <a:cxn ang="0">
                  <a:pos x="0" y="24"/>
                </a:cxn>
                <a:cxn ang="0">
                  <a:pos x="0" y="0"/>
                </a:cxn>
              </a:cxnLst>
              <a:rect l="0" t="0" r="r" b="b"/>
              <a:pathLst>
                <a:path w="23" h="24">
                  <a:moveTo>
                    <a:pt x="0" y="0"/>
                  </a:moveTo>
                  <a:lnTo>
                    <a:pt x="23" y="24"/>
                  </a:lnTo>
                  <a:lnTo>
                    <a:pt x="0" y="24"/>
                  </a:lnTo>
                  <a:lnTo>
                    <a:pt x="0"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6" name="Freeform 18"/>
            <p:cNvSpPr>
              <a:spLocks/>
            </p:cNvSpPr>
            <p:nvPr userDrawn="1"/>
          </p:nvSpPr>
          <p:spPr bwMode="auto">
            <a:xfrm>
              <a:off x="1749425" y="6343651"/>
              <a:ext cx="26988" cy="26988"/>
            </a:xfrm>
            <a:custGeom>
              <a:avLst/>
              <a:gdLst/>
              <a:ahLst/>
              <a:cxnLst>
                <a:cxn ang="0">
                  <a:pos x="85" y="85"/>
                </a:cxn>
                <a:cxn ang="0">
                  <a:pos x="69" y="85"/>
                </a:cxn>
                <a:cxn ang="0">
                  <a:pos x="0" y="16"/>
                </a:cxn>
                <a:cxn ang="0">
                  <a:pos x="0" y="0"/>
                </a:cxn>
                <a:cxn ang="0">
                  <a:pos x="85" y="85"/>
                </a:cxn>
              </a:cxnLst>
              <a:rect l="0" t="0" r="r" b="b"/>
              <a:pathLst>
                <a:path w="85" h="85">
                  <a:moveTo>
                    <a:pt x="85" y="85"/>
                  </a:moveTo>
                  <a:lnTo>
                    <a:pt x="69" y="85"/>
                  </a:lnTo>
                  <a:lnTo>
                    <a:pt x="0" y="16"/>
                  </a:lnTo>
                  <a:lnTo>
                    <a:pt x="0" y="0"/>
                  </a:lnTo>
                  <a:lnTo>
                    <a:pt x="85" y="85"/>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7" name="Freeform 19"/>
            <p:cNvSpPr>
              <a:spLocks/>
            </p:cNvSpPr>
            <p:nvPr userDrawn="1"/>
          </p:nvSpPr>
          <p:spPr bwMode="auto">
            <a:xfrm>
              <a:off x="4075113" y="6367463"/>
              <a:ext cx="19050" cy="1588"/>
            </a:xfrm>
            <a:custGeom>
              <a:avLst/>
              <a:gdLst/>
              <a:ahLst/>
              <a:cxnLst>
                <a:cxn ang="0">
                  <a:pos x="61" y="0"/>
                </a:cxn>
                <a:cxn ang="0">
                  <a:pos x="0" y="0"/>
                </a:cxn>
                <a:cxn ang="0">
                  <a:pos x="61" y="0"/>
                </a:cxn>
              </a:cxnLst>
              <a:rect l="0" t="0" r="r" b="b"/>
              <a:pathLst>
                <a:path w="61">
                  <a:moveTo>
                    <a:pt x="61" y="0"/>
                  </a:moveTo>
                  <a:lnTo>
                    <a:pt x="0" y="0"/>
                  </a:lnTo>
                  <a:lnTo>
                    <a:pt x="61"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8" name="Freeform 20"/>
            <p:cNvSpPr>
              <a:spLocks/>
            </p:cNvSpPr>
            <p:nvPr userDrawn="1"/>
          </p:nvSpPr>
          <p:spPr bwMode="auto">
            <a:xfrm>
              <a:off x="0" y="6208713"/>
              <a:ext cx="4546600" cy="363538"/>
            </a:xfrm>
            <a:custGeom>
              <a:avLst/>
              <a:gdLst/>
              <a:ahLst/>
              <a:cxnLst>
                <a:cxn ang="0">
                  <a:pos x="10943" y="387"/>
                </a:cxn>
                <a:cxn ang="0">
                  <a:pos x="10699" y="357"/>
                </a:cxn>
                <a:cxn ang="0">
                  <a:pos x="10488" y="256"/>
                </a:cxn>
                <a:cxn ang="0">
                  <a:pos x="10427" y="409"/>
                </a:cxn>
                <a:cxn ang="0">
                  <a:pos x="9997" y="388"/>
                </a:cxn>
                <a:cxn ang="0">
                  <a:pos x="9884" y="512"/>
                </a:cxn>
                <a:cxn ang="0">
                  <a:pos x="9709" y="307"/>
                </a:cxn>
                <a:cxn ang="0">
                  <a:pos x="9464" y="409"/>
                </a:cxn>
                <a:cxn ang="0">
                  <a:pos x="9047" y="624"/>
                </a:cxn>
                <a:cxn ang="0">
                  <a:pos x="8919" y="596"/>
                </a:cxn>
                <a:cxn ang="0">
                  <a:pos x="8791" y="624"/>
                </a:cxn>
                <a:cxn ang="0">
                  <a:pos x="8500" y="481"/>
                </a:cxn>
                <a:cxn ang="0">
                  <a:pos x="8418" y="215"/>
                </a:cxn>
                <a:cxn ang="0">
                  <a:pos x="8214" y="481"/>
                </a:cxn>
                <a:cxn ang="0">
                  <a:pos x="8090" y="624"/>
                </a:cxn>
                <a:cxn ang="0">
                  <a:pos x="7803" y="553"/>
                </a:cxn>
                <a:cxn ang="0">
                  <a:pos x="7742" y="512"/>
                </a:cxn>
                <a:cxn ang="0">
                  <a:pos x="7680" y="462"/>
                </a:cxn>
                <a:cxn ang="0">
                  <a:pos x="7644" y="429"/>
                </a:cxn>
                <a:cxn ang="0">
                  <a:pos x="7618" y="444"/>
                </a:cxn>
                <a:cxn ang="0">
                  <a:pos x="7558" y="512"/>
                </a:cxn>
                <a:cxn ang="0">
                  <a:pos x="7496" y="492"/>
                </a:cxn>
                <a:cxn ang="0">
                  <a:pos x="7394" y="533"/>
                </a:cxn>
                <a:cxn ang="0">
                  <a:pos x="7353" y="583"/>
                </a:cxn>
                <a:cxn ang="0">
                  <a:pos x="7147" y="492"/>
                </a:cxn>
                <a:cxn ang="0">
                  <a:pos x="7015" y="512"/>
                </a:cxn>
                <a:cxn ang="0">
                  <a:pos x="6881" y="624"/>
                </a:cxn>
                <a:cxn ang="0">
                  <a:pos x="6661" y="135"/>
                </a:cxn>
                <a:cxn ang="0">
                  <a:pos x="6515" y="471"/>
                </a:cxn>
                <a:cxn ang="0">
                  <a:pos x="6452" y="428"/>
                </a:cxn>
                <a:cxn ang="0">
                  <a:pos x="6416" y="423"/>
                </a:cxn>
                <a:cxn ang="0">
                  <a:pos x="6354" y="462"/>
                </a:cxn>
                <a:cxn ang="0">
                  <a:pos x="6215" y="553"/>
                </a:cxn>
                <a:cxn ang="0">
                  <a:pos x="5847" y="624"/>
                </a:cxn>
                <a:cxn ang="0">
                  <a:pos x="5508" y="381"/>
                </a:cxn>
                <a:cxn ang="0">
                  <a:pos x="5406" y="286"/>
                </a:cxn>
                <a:cxn ang="0">
                  <a:pos x="5170" y="277"/>
                </a:cxn>
                <a:cxn ang="0">
                  <a:pos x="5098" y="286"/>
                </a:cxn>
                <a:cxn ang="0">
                  <a:pos x="4791" y="669"/>
                </a:cxn>
                <a:cxn ang="0">
                  <a:pos x="3179" y="790"/>
                </a:cxn>
                <a:cxn ang="0">
                  <a:pos x="0" y="1083"/>
                </a:cxn>
                <a:cxn ang="0">
                  <a:pos x="4484" y="1107"/>
                </a:cxn>
                <a:cxn ang="0">
                  <a:pos x="8172" y="1107"/>
                </a:cxn>
                <a:cxn ang="0">
                  <a:pos x="11861" y="1107"/>
                </a:cxn>
                <a:cxn ang="0">
                  <a:pos x="14116" y="624"/>
                </a:cxn>
                <a:cxn ang="0">
                  <a:pos x="13880" y="368"/>
                </a:cxn>
                <a:cxn ang="0">
                  <a:pos x="13644" y="512"/>
                </a:cxn>
                <a:cxn ang="0">
                  <a:pos x="13214" y="512"/>
                </a:cxn>
                <a:cxn ang="0">
                  <a:pos x="12630" y="558"/>
                </a:cxn>
                <a:cxn ang="0">
                  <a:pos x="12476" y="440"/>
                </a:cxn>
                <a:cxn ang="0">
                  <a:pos x="12312" y="0"/>
                </a:cxn>
                <a:cxn ang="0">
                  <a:pos x="12260" y="440"/>
                </a:cxn>
                <a:cxn ang="0">
                  <a:pos x="12179" y="388"/>
                </a:cxn>
                <a:cxn ang="0">
                  <a:pos x="12067" y="481"/>
                </a:cxn>
                <a:cxn ang="0">
                  <a:pos x="11937" y="309"/>
                </a:cxn>
                <a:cxn ang="0">
                  <a:pos x="11897" y="272"/>
                </a:cxn>
                <a:cxn ang="0">
                  <a:pos x="11854" y="309"/>
                </a:cxn>
                <a:cxn ang="0">
                  <a:pos x="11814" y="272"/>
                </a:cxn>
                <a:cxn ang="0">
                  <a:pos x="11769" y="327"/>
                </a:cxn>
              </a:cxnLst>
              <a:rect l="0" t="0" r="r" b="b"/>
              <a:pathLst>
                <a:path w="14321" h="1147">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9" name="Freeform 21"/>
            <p:cNvSpPr>
              <a:spLocks noEditPoints="1"/>
            </p:cNvSpPr>
            <p:nvPr userDrawn="1"/>
          </p:nvSpPr>
          <p:spPr bwMode="auto">
            <a:xfrm>
              <a:off x="3754438" y="6208713"/>
              <a:ext cx="708025" cy="350838"/>
            </a:xfrm>
            <a:custGeom>
              <a:avLst/>
              <a:gdLst/>
              <a:ahLst/>
              <a:cxnLst>
                <a:cxn ang="0">
                  <a:pos x="802" y="605"/>
                </a:cxn>
                <a:cxn ang="0">
                  <a:pos x="740" y="625"/>
                </a:cxn>
                <a:cxn ang="0">
                  <a:pos x="802" y="583"/>
                </a:cxn>
                <a:cxn ang="0">
                  <a:pos x="740" y="563"/>
                </a:cxn>
                <a:cxn ang="0">
                  <a:pos x="802" y="583"/>
                </a:cxn>
                <a:cxn ang="0">
                  <a:pos x="740" y="501"/>
                </a:cxn>
                <a:cxn ang="0">
                  <a:pos x="0" y="1107"/>
                </a:cxn>
                <a:cxn ang="0">
                  <a:pos x="1113" y="1107"/>
                </a:cxn>
                <a:cxn ang="0">
                  <a:pos x="2226" y="1107"/>
                </a:cxn>
                <a:cxn ang="0">
                  <a:pos x="2022" y="625"/>
                </a:cxn>
                <a:cxn ang="0">
                  <a:pos x="1981" y="369"/>
                </a:cxn>
                <a:cxn ang="0">
                  <a:pos x="1806" y="185"/>
                </a:cxn>
                <a:cxn ang="0">
                  <a:pos x="1786" y="369"/>
                </a:cxn>
                <a:cxn ang="0">
                  <a:pos x="1612" y="276"/>
                </a:cxn>
                <a:cxn ang="0">
                  <a:pos x="1612" y="625"/>
                </a:cxn>
                <a:cxn ang="0">
                  <a:pos x="1550" y="512"/>
                </a:cxn>
                <a:cxn ang="0">
                  <a:pos x="1438" y="440"/>
                </a:cxn>
                <a:cxn ang="0">
                  <a:pos x="1222" y="392"/>
                </a:cxn>
                <a:cxn ang="0">
                  <a:pos x="1120" y="512"/>
                </a:cxn>
                <a:cxn ang="0">
                  <a:pos x="1017" y="625"/>
                </a:cxn>
                <a:cxn ang="0">
                  <a:pos x="545" y="625"/>
                </a:cxn>
                <a:cxn ang="0">
                  <a:pos x="536" y="559"/>
                </a:cxn>
                <a:cxn ang="0">
                  <a:pos x="443" y="625"/>
                </a:cxn>
                <a:cxn ang="0">
                  <a:pos x="433" y="522"/>
                </a:cxn>
                <a:cxn ang="0">
                  <a:pos x="382" y="440"/>
                </a:cxn>
                <a:cxn ang="0">
                  <a:pos x="249" y="379"/>
                </a:cxn>
                <a:cxn ang="0">
                  <a:pos x="238" y="123"/>
                </a:cxn>
                <a:cxn ang="0">
                  <a:pos x="218" y="0"/>
                </a:cxn>
                <a:cxn ang="0">
                  <a:pos x="197" y="123"/>
                </a:cxn>
                <a:cxn ang="0">
                  <a:pos x="177" y="379"/>
                </a:cxn>
                <a:cxn ang="0">
                  <a:pos x="166" y="440"/>
                </a:cxn>
                <a:cxn ang="0">
                  <a:pos x="146" y="267"/>
                </a:cxn>
                <a:cxn ang="0">
                  <a:pos x="95" y="440"/>
                </a:cxn>
                <a:cxn ang="0">
                  <a:pos x="84" y="389"/>
                </a:cxn>
                <a:cxn ang="0">
                  <a:pos x="0" y="1107"/>
                </a:cxn>
              </a:cxnLst>
              <a:rect l="0" t="0" r="r" b="b"/>
              <a:pathLst>
                <a:path w="2226" h="1107">
                  <a:moveTo>
                    <a:pt x="740" y="605"/>
                  </a:moveTo>
                  <a:lnTo>
                    <a:pt x="802" y="605"/>
                  </a:lnTo>
                  <a:lnTo>
                    <a:pt x="802" y="625"/>
                  </a:lnTo>
                  <a:lnTo>
                    <a:pt x="740" y="625"/>
                  </a:lnTo>
                  <a:lnTo>
                    <a:pt x="740" y="605"/>
                  </a:lnTo>
                  <a:close/>
                  <a:moveTo>
                    <a:pt x="802" y="583"/>
                  </a:moveTo>
                  <a:lnTo>
                    <a:pt x="740" y="583"/>
                  </a:lnTo>
                  <a:lnTo>
                    <a:pt x="740" y="563"/>
                  </a:lnTo>
                  <a:lnTo>
                    <a:pt x="802" y="563"/>
                  </a:lnTo>
                  <a:lnTo>
                    <a:pt x="802" y="583"/>
                  </a:lnTo>
                  <a:close/>
                  <a:moveTo>
                    <a:pt x="802" y="501"/>
                  </a:moveTo>
                  <a:lnTo>
                    <a:pt x="740" y="501"/>
                  </a:lnTo>
                  <a:lnTo>
                    <a:pt x="802" y="501"/>
                  </a:lnTo>
                  <a:close/>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0" name="Rectangle 22"/>
            <p:cNvSpPr>
              <a:spLocks noChangeArrowheads="1"/>
            </p:cNvSpPr>
            <p:nvPr userDrawn="1"/>
          </p:nvSpPr>
          <p:spPr bwMode="auto">
            <a:xfrm>
              <a:off x="3989388" y="6400801"/>
              <a:ext cx="2063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1" name="Rectangle 23"/>
            <p:cNvSpPr>
              <a:spLocks noChangeArrowheads="1"/>
            </p:cNvSpPr>
            <p:nvPr userDrawn="1"/>
          </p:nvSpPr>
          <p:spPr bwMode="auto">
            <a:xfrm>
              <a:off x="3989388" y="6386513"/>
              <a:ext cx="20638" cy="6350"/>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2" name="Freeform 24"/>
            <p:cNvSpPr>
              <a:spLocks/>
            </p:cNvSpPr>
            <p:nvPr userDrawn="1"/>
          </p:nvSpPr>
          <p:spPr bwMode="auto">
            <a:xfrm>
              <a:off x="3989388" y="6367463"/>
              <a:ext cx="20638" cy="1588"/>
            </a:xfrm>
            <a:custGeom>
              <a:avLst/>
              <a:gdLst/>
              <a:ahLst/>
              <a:cxnLst>
                <a:cxn ang="0">
                  <a:pos x="62" y="0"/>
                </a:cxn>
                <a:cxn ang="0">
                  <a:pos x="0" y="0"/>
                </a:cxn>
                <a:cxn ang="0">
                  <a:pos x="62" y="0"/>
                </a:cxn>
              </a:cxnLst>
              <a:rect l="0" t="0" r="r" b="b"/>
              <a:pathLst>
                <a:path w="62">
                  <a:moveTo>
                    <a:pt x="62" y="0"/>
                  </a:moveTo>
                  <a:lnTo>
                    <a:pt x="0" y="0"/>
                  </a:lnTo>
                  <a:lnTo>
                    <a:pt x="62"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3" name="Freeform 25"/>
            <p:cNvSpPr>
              <a:spLocks/>
            </p:cNvSpPr>
            <p:nvPr userDrawn="1"/>
          </p:nvSpPr>
          <p:spPr bwMode="auto">
            <a:xfrm>
              <a:off x="3754438" y="6208713"/>
              <a:ext cx="708025" cy="350838"/>
            </a:xfrm>
            <a:custGeom>
              <a:avLst/>
              <a:gdLst/>
              <a:ahLst/>
              <a:cxnLst>
                <a:cxn ang="0">
                  <a:pos x="0" y="1107"/>
                </a:cxn>
                <a:cxn ang="0">
                  <a:pos x="556" y="1107"/>
                </a:cxn>
                <a:cxn ang="0">
                  <a:pos x="1113" y="1107"/>
                </a:cxn>
                <a:cxn ang="0">
                  <a:pos x="1669" y="1107"/>
                </a:cxn>
                <a:cxn ang="0">
                  <a:pos x="2226" y="1107"/>
                </a:cxn>
                <a:cxn ang="0">
                  <a:pos x="2226" y="625"/>
                </a:cxn>
                <a:cxn ang="0">
                  <a:pos x="2022" y="625"/>
                </a:cxn>
                <a:cxn ang="0">
                  <a:pos x="2022" y="369"/>
                </a:cxn>
                <a:cxn ang="0">
                  <a:pos x="1981" y="369"/>
                </a:cxn>
                <a:cxn ang="0">
                  <a:pos x="1981" y="185"/>
                </a:cxn>
                <a:cxn ang="0">
                  <a:pos x="1806" y="185"/>
                </a:cxn>
                <a:cxn ang="0">
                  <a:pos x="1806" y="369"/>
                </a:cxn>
                <a:cxn ang="0">
                  <a:pos x="1786" y="369"/>
                </a:cxn>
                <a:cxn ang="0">
                  <a:pos x="1786" y="276"/>
                </a:cxn>
                <a:cxn ang="0">
                  <a:pos x="1612" y="276"/>
                </a:cxn>
                <a:cxn ang="0">
                  <a:pos x="1612" y="369"/>
                </a:cxn>
                <a:cxn ang="0">
                  <a:pos x="1612" y="625"/>
                </a:cxn>
                <a:cxn ang="0">
                  <a:pos x="1550" y="625"/>
                </a:cxn>
                <a:cxn ang="0">
                  <a:pos x="1550" y="512"/>
                </a:cxn>
                <a:cxn ang="0">
                  <a:pos x="1438" y="512"/>
                </a:cxn>
                <a:cxn ang="0">
                  <a:pos x="1438" y="440"/>
                </a:cxn>
                <a:cxn ang="0">
                  <a:pos x="1222" y="349"/>
                </a:cxn>
                <a:cxn ang="0">
                  <a:pos x="1222" y="392"/>
                </a:cxn>
                <a:cxn ang="0">
                  <a:pos x="1120" y="349"/>
                </a:cxn>
                <a:cxn ang="0">
                  <a:pos x="1120" y="512"/>
                </a:cxn>
                <a:cxn ang="0">
                  <a:pos x="1017" y="512"/>
                </a:cxn>
                <a:cxn ang="0">
                  <a:pos x="1017" y="625"/>
                </a:cxn>
                <a:cxn ang="0">
                  <a:pos x="986" y="625"/>
                </a:cxn>
                <a:cxn ang="0">
                  <a:pos x="545" y="625"/>
                </a:cxn>
                <a:cxn ang="0">
                  <a:pos x="536" y="625"/>
                </a:cxn>
                <a:cxn ang="0">
                  <a:pos x="536" y="559"/>
                </a:cxn>
                <a:cxn ang="0">
                  <a:pos x="443" y="559"/>
                </a:cxn>
                <a:cxn ang="0">
                  <a:pos x="443" y="625"/>
                </a:cxn>
                <a:cxn ang="0">
                  <a:pos x="433" y="625"/>
                </a:cxn>
                <a:cxn ang="0">
                  <a:pos x="433" y="522"/>
                </a:cxn>
                <a:cxn ang="0">
                  <a:pos x="382" y="522"/>
                </a:cxn>
                <a:cxn ang="0">
                  <a:pos x="382" y="440"/>
                </a:cxn>
                <a:cxn ang="0">
                  <a:pos x="249" y="440"/>
                </a:cxn>
                <a:cxn ang="0">
                  <a:pos x="249" y="379"/>
                </a:cxn>
                <a:cxn ang="0">
                  <a:pos x="238" y="379"/>
                </a:cxn>
                <a:cxn ang="0">
                  <a:pos x="238" y="123"/>
                </a:cxn>
                <a:cxn ang="0">
                  <a:pos x="218" y="123"/>
                </a:cxn>
                <a:cxn ang="0">
                  <a:pos x="218" y="0"/>
                </a:cxn>
                <a:cxn ang="0">
                  <a:pos x="197" y="0"/>
                </a:cxn>
                <a:cxn ang="0">
                  <a:pos x="197" y="123"/>
                </a:cxn>
                <a:cxn ang="0">
                  <a:pos x="177" y="123"/>
                </a:cxn>
                <a:cxn ang="0">
                  <a:pos x="177" y="379"/>
                </a:cxn>
                <a:cxn ang="0">
                  <a:pos x="166" y="379"/>
                </a:cxn>
                <a:cxn ang="0">
                  <a:pos x="166" y="440"/>
                </a:cxn>
                <a:cxn ang="0">
                  <a:pos x="146" y="440"/>
                </a:cxn>
                <a:cxn ang="0">
                  <a:pos x="146" y="267"/>
                </a:cxn>
                <a:cxn ang="0">
                  <a:pos x="95" y="267"/>
                </a:cxn>
                <a:cxn ang="0">
                  <a:pos x="95" y="440"/>
                </a:cxn>
                <a:cxn ang="0">
                  <a:pos x="84" y="440"/>
                </a:cxn>
                <a:cxn ang="0">
                  <a:pos x="84" y="389"/>
                </a:cxn>
                <a:cxn ang="0">
                  <a:pos x="2" y="389"/>
                </a:cxn>
                <a:cxn ang="0">
                  <a:pos x="0" y="1107"/>
                </a:cxn>
              </a:cxnLst>
              <a:rect l="0" t="0" r="r" b="b"/>
              <a:pathLst>
                <a:path w="2226" h="1107">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4" name="Freeform 26"/>
            <p:cNvSpPr>
              <a:spLocks/>
            </p:cNvSpPr>
            <p:nvPr userDrawn="1"/>
          </p:nvSpPr>
          <p:spPr bwMode="auto">
            <a:xfrm>
              <a:off x="5116513" y="6329363"/>
              <a:ext cx="203200" cy="20638"/>
            </a:xfrm>
            <a:custGeom>
              <a:avLst/>
              <a:gdLst/>
              <a:ahLst/>
              <a:cxnLst>
                <a:cxn ang="0">
                  <a:pos x="0" y="63"/>
                </a:cxn>
                <a:cxn ang="0">
                  <a:pos x="20" y="63"/>
                </a:cxn>
                <a:cxn ang="0">
                  <a:pos x="34" y="63"/>
                </a:cxn>
                <a:cxn ang="0">
                  <a:pos x="42" y="63"/>
                </a:cxn>
                <a:cxn ang="0">
                  <a:pos x="50" y="63"/>
                </a:cxn>
                <a:cxn ang="0">
                  <a:pos x="57" y="63"/>
                </a:cxn>
                <a:cxn ang="0">
                  <a:pos x="64" y="63"/>
                </a:cxn>
                <a:cxn ang="0">
                  <a:pos x="73" y="63"/>
                </a:cxn>
                <a:cxn ang="0">
                  <a:pos x="95" y="63"/>
                </a:cxn>
                <a:cxn ang="0">
                  <a:pos x="103" y="63"/>
                </a:cxn>
                <a:cxn ang="0">
                  <a:pos x="133" y="51"/>
                </a:cxn>
                <a:cxn ang="0">
                  <a:pos x="140" y="48"/>
                </a:cxn>
                <a:cxn ang="0">
                  <a:pos x="166" y="39"/>
                </a:cxn>
                <a:cxn ang="0">
                  <a:pos x="174" y="36"/>
                </a:cxn>
                <a:cxn ang="0">
                  <a:pos x="177" y="36"/>
                </a:cxn>
                <a:cxn ang="0">
                  <a:pos x="205" y="28"/>
                </a:cxn>
                <a:cxn ang="0">
                  <a:pos x="212" y="25"/>
                </a:cxn>
                <a:cxn ang="0">
                  <a:pos x="242" y="18"/>
                </a:cxn>
                <a:cxn ang="0">
                  <a:pos x="250" y="17"/>
                </a:cxn>
                <a:cxn ang="0">
                  <a:pos x="280" y="12"/>
                </a:cxn>
                <a:cxn ang="0">
                  <a:pos x="288" y="11"/>
                </a:cxn>
                <a:cxn ang="0">
                  <a:pos x="318" y="10"/>
                </a:cxn>
                <a:cxn ang="0">
                  <a:pos x="321" y="10"/>
                </a:cxn>
                <a:cxn ang="0">
                  <a:pos x="325" y="10"/>
                </a:cxn>
                <a:cxn ang="0">
                  <a:pos x="355" y="11"/>
                </a:cxn>
                <a:cxn ang="0">
                  <a:pos x="363" y="12"/>
                </a:cxn>
                <a:cxn ang="0">
                  <a:pos x="393" y="17"/>
                </a:cxn>
                <a:cxn ang="0">
                  <a:pos x="401" y="19"/>
                </a:cxn>
                <a:cxn ang="0">
                  <a:pos x="431" y="27"/>
                </a:cxn>
                <a:cxn ang="0">
                  <a:pos x="439" y="28"/>
                </a:cxn>
                <a:cxn ang="0">
                  <a:pos x="465" y="36"/>
                </a:cxn>
                <a:cxn ang="0">
                  <a:pos x="469" y="37"/>
                </a:cxn>
                <a:cxn ang="0">
                  <a:pos x="477" y="40"/>
                </a:cxn>
                <a:cxn ang="0">
                  <a:pos x="504" y="48"/>
                </a:cxn>
                <a:cxn ang="0">
                  <a:pos x="511" y="51"/>
                </a:cxn>
                <a:cxn ang="0">
                  <a:pos x="539" y="63"/>
                </a:cxn>
                <a:cxn ang="0">
                  <a:pos x="540" y="63"/>
                </a:cxn>
                <a:cxn ang="0">
                  <a:pos x="541" y="63"/>
                </a:cxn>
                <a:cxn ang="0">
                  <a:pos x="548" y="63"/>
                </a:cxn>
                <a:cxn ang="0">
                  <a:pos x="571" y="63"/>
                </a:cxn>
                <a:cxn ang="0">
                  <a:pos x="578" y="63"/>
                </a:cxn>
                <a:cxn ang="0">
                  <a:pos x="587" y="63"/>
                </a:cxn>
                <a:cxn ang="0">
                  <a:pos x="594" y="63"/>
                </a:cxn>
                <a:cxn ang="0">
                  <a:pos x="601" y="63"/>
                </a:cxn>
                <a:cxn ang="0">
                  <a:pos x="608" y="63"/>
                </a:cxn>
                <a:cxn ang="0">
                  <a:pos x="624" y="63"/>
                </a:cxn>
                <a:cxn ang="0">
                  <a:pos x="642" y="63"/>
                </a:cxn>
                <a:cxn ang="0">
                  <a:pos x="642" y="54"/>
                </a:cxn>
                <a:cxn ang="0">
                  <a:pos x="624" y="54"/>
                </a:cxn>
                <a:cxn ang="0">
                  <a:pos x="542" y="54"/>
                </a:cxn>
                <a:cxn ang="0">
                  <a:pos x="516" y="43"/>
                </a:cxn>
                <a:cxn ang="0">
                  <a:pos x="461" y="25"/>
                </a:cxn>
                <a:cxn ang="0">
                  <a:pos x="393" y="9"/>
                </a:cxn>
                <a:cxn ang="0">
                  <a:pos x="357" y="3"/>
                </a:cxn>
                <a:cxn ang="0">
                  <a:pos x="321" y="0"/>
                </a:cxn>
                <a:cxn ang="0">
                  <a:pos x="286" y="3"/>
                </a:cxn>
                <a:cxn ang="0">
                  <a:pos x="250" y="9"/>
                </a:cxn>
                <a:cxn ang="0">
                  <a:pos x="181" y="25"/>
                </a:cxn>
                <a:cxn ang="0">
                  <a:pos x="127" y="43"/>
                </a:cxn>
                <a:cxn ang="0">
                  <a:pos x="100" y="54"/>
                </a:cxn>
                <a:cxn ang="0">
                  <a:pos x="20" y="54"/>
                </a:cxn>
                <a:cxn ang="0">
                  <a:pos x="0" y="54"/>
                </a:cxn>
                <a:cxn ang="0">
                  <a:pos x="0" y="63"/>
                </a:cxn>
              </a:cxnLst>
              <a:rect l="0" t="0" r="r" b="b"/>
              <a:pathLst>
                <a:path w="642" h="63">
                  <a:moveTo>
                    <a:pt x="0" y="63"/>
                  </a:moveTo>
                  <a:lnTo>
                    <a:pt x="20" y="63"/>
                  </a:lnTo>
                  <a:lnTo>
                    <a:pt x="34" y="63"/>
                  </a:lnTo>
                  <a:lnTo>
                    <a:pt x="42" y="63"/>
                  </a:lnTo>
                  <a:lnTo>
                    <a:pt x="50" y="63"/>
                  </a:lnTo>
                  <a:lnTo>
                    <a:pt x="57" y="63"/>
                  </a:lnTo>
                  <a:lnTo>
                    <a:pt x="64" y="63"/>
                  </a:lnTo>
                  <a:lnTo>
                    <a:pt x="73" y="63"/>
                  </a:lnTo>
                  <a:lnTo>
                    <a:pt x="95" y="63"/>
                  </a:lnTo>
                  <a:lnTo>
                    <a:pt x="103" y="63"/>
                  </a:lnTo>
                  <a:lnTo>
                    <a:pt x="133" y="51"/>
                  </a:lnTo>
                  <a:lnTo>
                    <a:pt x="140" y="48"/>
                  </a:lnTo>
                  <a:lnTo>
                    <a:pt x="166" y="39"/>
                  </a:lnTo>
                  <a:lnTo>
                    <a:pt x="174" y="36"/>
                  </a:lnTo>
                  <a:lnTo>
                    <a:pt x="177" y="36"/>
                  </a:lnTo>
                  <a:lnTo>
                    <a:pt x="205" y="28"/>
                  </a:lnTo>
                  <a:lnTo>
                    <a:pt x="212" y="25"/>
                  </a:lnTo>
                  <a:lnTo>
                    <a:pt x="242" y="18"/>
                  </a:lnTo>
                  <a:lnTo>
                    <a:pt x="250" y="17"/>
                  </a:lnTo>
                  <a:lnTo>
                    <a:pt x="280" y="12"/>
                  </a:lnTo>
                  <a:lnTo>
                    <a:pt x="288" y="11"/>
                  </a:lnTo>
                  <a:lnTo>
                    <a:pt x="318" y="10"/>
                  </a:lnTo>
                  <a:lnTo>
                    <a:pt x="321" y="10"/>
                  </a:lnTo>
                  <a:lnTo>
                    <a:pt x="325" y="10"/>
                  </a:lnTo>
                  <a:lnTo>
                    <a:pt x="355" y="11"/>
                  </a:lnTo>
                  <a:lnTo>
                    <a:pt x="363" y="12"/>
                  </a:lnTo>
                  <a:lnTo>
                    <a:pt x="393" y="17"/>
                  </a:lnTo>
                  <a:lnTo>
                    <a:pt x="401" y="19"/>
                  </a:lnTo>
                  <a:lnTo>
                    <a:pt x="431" y="27"/>
                  </a:lnTo>
                  <a:lnTo>
                    <a:pt x="439" y="28"/>
                  </a:lnTo>
                  <a:lnTo>
                    <a:pt x="465" y="36"/>
                  </a:lnTo>
                  <a:lnTo>
                    <a:pt x="469" y="37"/>
                  </a:lnTo>
                  <a:lnTo>
                    <a:pt x="477" y="40"/>
                  </a:lnTo>
                  <a:lnTo>
                    <a:pt x="504" y="48"/>
                  </a:lnTo>
                  <a:lnTo>
                    <a:pt x="511" y="51"/>
                  </a:lnTo>
                  <a:lnTo>
                    <a:pt x="539" y="63"/>
                  </a:lnTo>
                  <a:lnTo>
                    <a:pt x="540" y="63"/>
                  </a:lnTo>
                  <a:lnTo>
                    <a:pt x="541" y="63"/>
                  </a:lnTo>
                  <a:lnTo>
                    <a:pt x="548" y="63"/>
                  </a:lnTo>
                  <a:lnTo>
                    <a:pt x="571" y="63"/>
                  </a:lnTo>
                  <a:lnTo>
                    <a:pt x="578" y="63"/>
                  </a:lnTo>
                  <a:lnTo>
                    <a:pt x="587" y="63"/>
                  </a:lnTo>
                  <a:lnTo>
                    <a:pt x="594" y="63"/>
                  </a:lnTo>
                  <a:lnTo>
                    <a:pt x="601" y="63"/>
                  </a:lnTo>
                  <a:lnTo>
                    <a:pt x="608" y="63"/>
                  </a:lnTo>
                  <a:lnTo>
                    <a:pt x="624" y="63"/>
                  </a:lnTo>
                  <a:lnTo>
                    <a:pt x="642" y="63"/>
                  </a:lnTo>
                  <a:lnTo>
                    <a:pt x="642" y="54"/>
                  </a:lnTo>
                  <a:lnTo>
                    <a:pt x="624" y="54"/>
                  </a:lnTo>
                  <a:lnTo>
                    <a:pt x="542" y="54"/>
                  </a:lnTo>
                  <a:lnTo>
                    <a:pt x="516" y="43"/>
                  </a:lnTo>
                  <a:lnTo>
                    <a:pt x="461" y="25"/>
                  </a:lnTo>
                  <a:lnTo>
                    <a:pt x="393" y="9"/>
                  </a:lnTo>
                  <a:lnTo>
                    <a:pt x="357" y="3"/>
                  </a:lnTo>
                  <a:lnTo>
                    <a:pt x="321" y="0"/>
                  </a:lnTo>
                  <a:lnTo>
                    <a:pt x="286" y="3"/>
                  </a:lnTo>
                  <a:lnTo>
                    <a:pt x="250" y="9"/>
                  </a:lnTo>
                  <a:lnTo>
                    <a:pt x="181" y="25"/>
                  </a:lnTo>
                  <a:lnTo>
                    <a:pt x="127" y="43"/>
                  </a:lnTo>
                  <a:lnTo>
                    <a:pt x="100" y="54"/>
                  </a:lnTo>
                  <a:lnTo>
                    <a:pt x="20" y="54"/>
                  </a:lnTo>
                  <a:lnTo>
                    <a:pt x="0" y="54"/>
                  </a:lnTo>
                  <a:lnTo>
                    <a:pt x="0" y="63"/>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5" name="Freeform 27"/>
            <p:cNvSpPr>
              <a:spLocks noEditPoints="1"/>
            </p:cNvSpPr>
            <p:nvPr userDrawn="1"/>
          </p:nvSpPr>
          <p:spPr bwMode="auto">
            <a:xfrm>
              <a:off x="4826000" y="6278563"/>
              <a:ext cx="995363" cy="190500"/>
            </a:xfrm>
            <a:custGeom>
              <a:avLst/>
              <a:gdLst/>
              <a:ahLst/>
              <a:cxnLst>
                <a:cxn ang="0">
                  <a:pos x="1588" y="177"/>
                </a:cxn>
                <a:cxn ang="0">
                  <a:pos x="1499" y="296"/>
                </a:cxn>
                <a:cxn ang="0">
                  <a:pos x="1388" y="275"/>
                </a:cxn>
                <a:cxn ang="0">
                  <a:pos x="1489" y="275"/>
                </a:cxn>
                <a:cxn ang="0">
                  <a:pos x="1535" y="296"/>
                </a:cxn>
                <a:cxn ang="0">
                  <a:pos x="1191" y="275"/>
                </a:cxn>
                <a:cxn ang="0">
                  <a:pos x="1304" y="275"/>
                </a:cxn>
                <a:cxn ang="0">
                  <a:pos x="964" y="296"/>
                </a:cxn>
                <a:cxn ang="0">
                  <a:pos x="968" y="275"/>
                </a:cxn>
                <a:cxn ang="0">
                  <a:pos x="1051" y="275"/>
                </a:cxn>
                <a:cxn ang="0">
                  <a:pos x="900" y="177"/>
                </a:cxn>
                <a:cxn ang="0">
                  <a:pos x="786" y="296"/>
                </a:cxn>
                <a:cxn ang="0">
                  <a:pos x="2716" y="18"/>
                </a:cxn>
                <a:cxn ang="0">
                  <a:pos x="2681" y="6"/>
                </a:cxn>
                <a:cxn ang="0">
                  <a:pos x="2574" y="12"/>
                </a:cxn>
                <a:cxn ang="0">
                  <a:pos x="2515" y="103"/>
                </a:cxn>
                <a:cxn ang="0">
                  <a:pos x="2467" y="48"/>
                </a:cxn>
                <a:cxn ang="0">
                  <a:pos x="2402" y="149"/>
                </a:cxn>
                <a:cxn ang="0">
                  <a:pos x="2372" y="238"/>
                </a:cxn>
                <a:cxn ang="0">
                  <a:pos x="2319" y="131"/>
                </a:cxn>
                <a:cxn ang="0">
                  <a:pos x="2295" y="119"/>
                </a:cxn>
                <a:cxn ang="0">
                  <a:pos x="2254" y="155"/>
                </a:cxn>
                <a:cxn ang="0">
                  <a:pos x="2218" y="196"/>
                </a:cxn>
                <a:cxn ang="0">
                  <a:pos x="2183" y="208"/>
                </a:cxn>
                <a:cxn ang="0">
                  <a:pos x="2129" y="196"/>
                </a:cxn>
                <a:cxn ang="0">
                  <a:pos x="2058" y="296"/>
                </a:cxn>
                <a:cxn ang="0">
                  <a:pos x="2027" y="255"/>
                </a:cxn>
                <a:cxn ang="0">
                  <a:pos x="2005" y="220"/>
                </a:cxn>
                <a:cxn ang="0">
                  <a:pos x="1921" y="255"/>
                </a:cxn>
                <a:cxn ang="0">
                  <a:pos x="1701" y="260"/>
                </a:cxn>
                <a:cxn ang="0">
                  <a:pos x="1618" y="155"/>
                </a:cxn>
                <a:cxn ang="0">
                  <a:pos x="1535" y="216"/>
                </a:cxn>
                <a:cxn ang="0">
                  <a:pos x="1519" y="225"/>
                </a:cxn>
                <a:cxn ang="0">
                  <a:pos x="1498" y="260"/>
                </a:cxn>
                <a:cxn ang="0">
                  <a:pos x="1459" y="225"/>
                </a:cxn>
                <a:cxn ang="0">
                  <a:pos x="1415" y="260"/>
                </a:cxn>
                <a:cxn ang="0">
                  <a:pos x="1350" y="190"/>
                </a:cxn>
                <a:cxn ang="0">
                  <a:pos x="1304" y="260"/>
                </a:cxn>
                <a:cxn ang="0">
                  <a:pos x="1236" y="172"/>
                </a:cxn>
                <a:cxn ang="0">
                  <a:pos x="1191" y="174"/>
                </a:cxn>
                <a:cxn ang="0">
                  <a:pos x="1123" y="260"/>
                </a:cxn>
                <a:cxn ang="0">
                  <a:pos x="1077" y="201"/>
                </a:cxn>
                <a:cxn ang="0">
                  <a:pos x="1014" y="260"/>
                </a:cxn>
                <a:cxn ang="0">
                  <a:pos x="975" y="225"/>
                </a:cxn>
                <a:cxn ang="0">
                  <a:pos x="953" y="260"/>
                </a:cxn>
                <a:cxn ang="0">
                  <a:pos x="911" y="225"/>
                </a:cxn>
                <a:cxn ang="0">
                  <a:pos x="931" y="162"/>
                </a:cxn>
                <a:cxn ang="0">
                  <a:pos x="847" y="177"/>
                </a:cxn>
                <a:cxn ang="0">
                  <a:pos x="632" y="255"/>
                </a:cxn>
                <a:cxn ang="0">
                  <a:pos x="549" y="296"/>
                </a:cxn>
                <a:cxn ang="0">
                  <a:pos x="508" y="304"/>
                </a:cxn>
                <a:cxn ang="0">
                  <a:pos x="484" y="179"/>
                </a:cxn>
                <a:cxn ang="0">
                  <a:pos x="460" y="215"/>
                </a:cxn>
                <a:cxn ang="0">
                  <a:pos x="389" y="126"/>
                </a:cxn>
                <a:cxn ang="0">
                  <a:pos x="318" y="296"/>
                </a:cxn>
                <a:cxn ang="0">
                  <a:pos x="259" y="18"/>
                </a:cxn>
                <a:cxn ang="0">
                  <a:pos x="174" y="113"/>
                </a:cxn>
                <a:cxn ang="0">
                  <a:pos x="97" y="214"/>
                </a:cxn>
                <a:cxn ang="0">
                  <a:pos x="26" y="296"/>
                </a:cxn>
                <a:cxn ang="0">
                  <a:pos x="2348" y="603"/>
                </a:cxn>
              </a:cxnLst>
              <a:rect l="0" t="0" r="r" b="b"/>
              <a:pathLst>
                <a:path w="3132" h="603">
                  <a:moveTo>
                    <a:pt x="1701" y="296"/>
                  </a:moveTo>
                  <a:lnTo>
                    <a:pt x="1618" y="296"/>
                  </a:lnTo>
                  <a:lnTo>
                    <a:pt x="1618" y="275"/>
                  </a:lnTo>
                  <a:lnTo>
                    <a:pt x="1701" y="275"/>
                  </a:lnTo>
                  <a:lnTo>
                    <a:pt x="1701" y="296"/>
                  </a:lnTo>
                  <a:close/>
                  <a:moveTo>
                    <a:pt x="1588" y="177"/>
                  </a:moveTo>
                  <a:lnTo>
                    <a:pt x="1565" y="177"/>
                  </a:lnTo>
                  <a:lnTo>
                    <a:pt x="1565" y="162"/>
                  </a:lnTo>
                  <a:lnTo>
                    <a:pt x="1588" y="162"/>
                  </a:lnTo>
                  <a:lnTo>
                    <a:pt x="1588" y="177"/>
                  </a:lnTo>
                  <a:close/>
                  <a:moveTo>
                    <a:pt x="1535" y="296"/>
                  </a:moveTo>
                  <a:lnTo>
                    <a:pt x="1499" y="296"/>
                  </a:lnTo>
                  <a:lnTo>
                    <a:pt x="1440" y="355"/>
                  </a:lnTo>
                  <a:lnTo>
                    <a:pt x="1345" y="355"/>
                  </a:lnTo>
                  <a:lnTo>
                    <a:pt x="1345" y="275"/>
                  </a:lnTo>
                  <a:lnTo>
                    <a:pt x="1350" y="275"/>
                  </a:lnTo>
                  <a:lnTo>
                    <a:pt x="1380" y="275"/>
                  </a:lnTo>
                  <a:lnTo>
                    <a:pt x="1388" y="275"/>
                  </a:lnTo>
                  <a:lnTo>
                    <a:pt x="1415" y="275"/>
                  </a:lnTo>
                  <a:lnTo>
                    <a:pt x="1422" y="275"/>
                  </a:lnTo>
                  <a:lnTo>
                    <a:pt x="1452" y="275"/>
                  </a:lnTo>
                  <a:lnTo>
                    <a:pt x="1459" y="275"/>
                  </a:lnTo>
                  <a:lnTo>
                    <a:pt x="1482" y="275"/>
                  </a:lnTo>
                  <a:lnTo>
                    <a:pt x="1489" y="275"/>
                  </a:lnTo>
                  <a:lnTo>
                    <a:pt x="1498" y="275"/>
                  </a:lnTo>
                  <a:lnTo>
                    <a:pt x="1505" y="275"/>
                  </a:lnTo>
                  <a:lnTo>
                    <a:pt x="1512" y="275"/>
                  </a:lnTo>
                  <a:lnTo>
                    <a:pt x="1519" y="275"/>
                  </a:lnTo>
                  <a:lnTo>
                    <a:pt x="1535" y="275"/>
                  </a:lnTo>
                  <a:lnTo>
                    <a:pt x="1535" y="296"/>
                  </a:lnTo>
                  <a:close/>
                  <a:moveTo>
                    <a:pt x="1321" y="355"/>
                  </a:moveTo>
                  <a:lnTo>
                    <a:pt x="1142" y="355"/>
                  </a:lnTo>
                  <a:lnTo>
                    <a:pt x="1142" y="275"/>
                  </a:lnTo>
                  <a:lnTo>
                    <a:pt x="1153" y="275"/>
                  </a:lnTo>
                  <a:lnTo>
                    <a:pt x="1161" y="275"/>
                  </a:lnTo>
                  <a:lnTo>
                    <a:pt x="1191" y="275"/>
                  </a:lnTo>
                  <a:lnTo>
                    <a:pt x="1199" y="275"/>
                  </a:lnTo>
                  <a:lnTo>
                    <a:pt x="1229" y="275"/>
                  </a:lnTo>
                  <a:lnTo>
                    <a:pt x="1236" y="275"/>
                  </a:lnTo>
                  <a:lnTo>
                    <a:pt x="1266" y="275"/>
                  </a:lnTo>
                  <a:lnTo>
                    <a:pt x="1274" y="275"/>
                  </a:lnTo>
                  <a:lnTo>
                    <a:pt x="1304" y="275"/>
                  </a:lnTo>
                  <a:lnTo>
                    <a:pt x="1312" y="275"/>
                  </a:lnTo>
                  <a:lnTo>
                    <a:pt x="1321" y="275"/>
                  </a:lnTo>
                  <a:lnTo>
                    <a:pt x="1321" y="355"/>
                  </a:lnTo>
                  <a:close/>
                  <a:moveTo>
                    <a:pt x="1120" y="355"/>
                  </a:moveTo>
                  <a:lnTo>
                    <a:pt x="1024" y="355"/>
                  </a:lnTo>
                  <a:lnTo>
                    <a:pt x="964" y="296"/>
                  </a:lnTo>
                  <a:lnTo>
                    <a:pt x="931" y="296"/>
                  </a:lnTo>
                  <a:lnTo>
                    <a:pt x="931" y="275"/>
                  </a:lnTo>
                  <a:lnTo>
                    <a:pt x="945" y="275"/>
                  </a:lnTo>
                  <a:lnTo>
                    <a:pt x="953" y="275"/>
                  </a:lnTo>
                  <a:lnTo>
                    <a:pt x="961" y="275"/>
                  </a:lnTo>
                  <a:lnTo>
                    <a:pt x="968" y="275"/>
                  </a:lnTo>
                  <a:lnTo>
                    <a:pt x="975" y="275"/>
                  </a:lnTo>
                  <a:lnTo>
                    <a:pt x="984" y="275"/>
                  </a:lnTo>
                  <a:lnTo>
                    <a:pt x="1006" y="275"/>
                  </a:lnTo>
                  <a:lnTo>
                    <a:pt x="1014" y="275"/>
                  </a:lnTo>
                  <a:lnTo>
                    <a:pt x="1044" y="275"/>
                  </a:lnTo>
                  <a:lnTo>
                    <a:pt x="1051" y="275"/>
                  </a:lnTo>
                  <a:lnTo>
                    <a:pt x="1077" y="275"/>
                  </a:lnTo>
                  <a:lnTo>
                    <a:pt x="1085" y="275"/>
                  </a:lnTo>
                  <a:lnTo>
                    <a:pt x="1116" y="275"/>
                  </a:lnTo>
                  <a:lnTo>
                    <a:pt x="1120" y="275"/>
                  </a:lnTo>
                  <a:lnTo>
                    <a:pt x="1120" y="355"/>
                  </a:lnTo>
                  <a:close/>
                  <a:moveTo>
                    <a:pt x="900" y="177"/>
                  </a:moveTo>
                  <a:lnTo>
                    <a:pt x="878" y="177"/>
                  </a:lnTo>
                  <a:lnTo>
                    <a:pt x="878" y="162"/>
                  </a:lnTo>
                  <a:lnTo>
                    <a:pt x="900" y="162"/>
                  </a:lnTo>
                  <a:lnTo>
                    <a:pt x="900" y="177"/>
                  </a:lnTo>
                  <a:close/>
                  <a:moveTo>
                    <a:pt x="847" y="296"/>
                  </a:moveTo>
                  <a:lnTo>
                    <a:pt x="786" y="296"/>
                  </a:lnTo>
                  <a:lnTo>
                    <a:pt x="786" y="275"/>
                  </a:lnTo>
                  <a:lnTo>
                    <a:pt x="847" y="275"/>
                  </a:lnTo>
                  <a:lnTo>
                    <a:pt x="847" y="296"/>
                  </a:lnTo>
                  <a:close/>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6" name="Rectangle 28"/>
            <p:cNvSpPr>
              <a:spLocks noChangeArrowheads="1"/>
            </p:cNvSpPr>
            <p:nvPr userDrawn="1"/>
          </p:nvSpPr>
          <p:spPr bwMode="auto">
            <a:xfrm>
              <a:off x="5340350" y="6365876"/>
              <a:ext cx="2698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7" name="Rectangle 29"/>
            <p:cNvSpPr>
              <a:spLocks noChangeArrowheads="1"/>
            </p:cNvSpPr>
            <p:nvPr userDrawn="1"/>
          </p:nvSpPr>
          <p:spPr bwMode="auto">
            <a:xfrm>
              <a:off x="5322888" y="6329363"/>
              <a:ext cx="7938"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8" name="Freeform 30"/>
            <p:cNvSpPr>
              <a:spLocks/>
            </p:cNvSpPr>
            <p:nvPr userDrawn="1"/>
          </p:nvSpPr>
          <p:spPr bwMode="auto">
            <a:xfrm>
              <a:off x="5253038" y="6365876"/>
              <a:ext cx="60325" cy="25400"/>
            </a:xfrm>
            <a:custGeom>
              <a:avLst/>
              <a:gdLst/>
              <a:ahLst/>
              <a:cxnLst>
                <a:cxn ang="0">
                  <a:pos x="190" y="21"/>
                </a:cxn>
                <a:cxn ang="0">
                  <a:pos x="154" y="21"/>
                </a:cxn>
                <a:cxn ang="0">
                  <a:pos x="95" y="80"/>
                </a:cxn>
                <a:cxn ang="0">
                  <a:pos x="0" y="80"/>
                </a:cxn>
                <a:cxn ang="0">
                  <a:pos x="0" y="0"/>
                </a:cxn>
                <a:cxn ang="0">
                  <a:pos x="5" y="0"/>
                </a:cxn>
                <a:cxn ang="0">
                  <a:pos x="35" y="0"/>
                </a:cxn>
                <a:cxn ang="0">
                  <a:pos x="43" y="0"/>
                </a:cxn>
                <a:cxn ang="0">
                  <a:pos x="70" y="0"/>
                </a:cxn>
                <a:cxn ang="0">
                  <a:pos x="77" y="0"/>
                </a:cxn>
                <a:cxn ang="0">
                  <a:pos x="107" y="0"/>
                </a:cxn>
                <a:cxn ang="0">
                  <a:pos x="114" y="0"/>
                </a:cxn>
                <a:cxn ang="0">
                  <a:pos x="137" y="0"/>
                </a:cxn>
                <a:cxn ang="0">
                  <a:pos x="144" y="0"/>
                </a:cxn>
                <a:cxn ang="0">
                  <a:pos x="153" y="0"/>
                </a:cxn>
                <a:cxn ang="0">
                  <a:pos x="160" y="0"/>
                </a:cxn>
                <a:cxn ang="0">
                  <a:pos x="167" y="0"/>
                </a:cxn>
                <a:cxn ang="0">
                  <a:pos x="174" y="0"/>
                </a:cxn>
                <a:cxn ang="0">
                  <a:pos x="190" y="0"/>
                </a:cxn>
                <a:cxn ang="0">
                  <a:pos x="190" y="21"/>
                </a:cxn>
              </a:cxnLst>
              <a:rect l="0" t="0" r="r" b="b"/>
              <a:pathLst>
                <a:path w="190" h="80">
                  <a:moveTo>
                    <a:pt x="190" y="21"/>
                  </a:moveTo>
                  <a:lnTo>
                    <a:pt x="154" y="21"/>
                  </a:lnTo>
                  <a:lnTo>
                    <a:pt x="95" y="80"/>
                  </a:lnTo>
                  <a:lnTo>
                    <a:pt x="0" y="80"/>
                  </a:lnTo>
                  <a:lnTo>
                    <a:pt x="0" y="0"/>
                  </a:lnTo>
                  <a:lnTo>
                    <a:pt x="5" y="0"/>
                  </a:lnTo>
                  <a:lnTo>
                    <a:pt x="35" y="0"/>
                  </a:lnTo>
                  <a:lnTo>
                    <a:pt x="43" y="0"/>
                  </a:lnTo>
                  <a:lnTo>
                    <a:pt x="70" y="0"/>
                  </a:lnTo>
                  <a:lnTo>
                    <a:pt x="77" y="0"/>
                  </a:lnTo>
                  <a:lnTo>
                    <a:pt x="107" y="0"/>
                  </a:lnTo>
                  <a:lnTo>
                    <a:pt x="114" y="0"/>
                  </a:lnTo>
                  <a:lnTo>
                    <a:pt x="137" y="0"/>
                  </a:lnTo>
                  <a:lnTo>
                    <a:pt x="144" y="0"/>
                  </a:lnTo>
                  <a:lnTo>
                    <a:pt x="153" y="0"/>
                  </a:lnTo>
                  <a:lnTo>
                    <a:pt x="160" y="0"/>
                  </a:lnTo>
                  <a:lnTo>
                    <a:pt x="167" y="0"/>
                  </a:lnTo>
                  <a:lnTo>
                    <a:pt x="174" y="0"/>
                  </a:lnTo>
                  <a:lnTo>
                    <a:pt x="190" y="0"/>
                  </a:lnTo>
                  <a:lnTo>
                    <a:pt x="190" y="21"/>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9" name="Freeform 31"/>
            <p:cNvSpPr>
              <a:spLocks/>
            </p:cNvSpPr>
            <p:nvPr userDrawn="1"/>
          </p:nvSpPr>
          <p:spPr bwMode="auto">
            <a:xfrm>
              <a:off x="5189538" y="6365876"/>
              <a:ext cx="57150" cy="25400"/>
            </a:xfrm>
            <a:custGeom>
              <a:avLst/>
              <a:gdLst/>
              <a:ahLst/>
              <a:cxnLst>
                <a:cxn ang="0">
                  <a:pos x="179" y="80"/>
                </a:cxn>
                <a:cxn ang="0">
                  <a:pos x="0" y="80"/>
                </a:cxn>
                <a:cxn ang="0">
                  <a:pos x="0" y="0"/>
                </a:cxn>
                <a:cxn ang="0">
                  <a:pos x="11" y="0"/>
                </a:cxn>
                <a:cxn ang="0">
                  <a:pos x="19" y="0"/>
                </a:cxn>
                <a:cxn ang="0">
                  <a:pos x="49" y="0"/>
                </a:cxn>
                <a:cxn ang="0">
                  <a:pos x="57" y="0"/>
                </a:cxn>
                <a:cxn ang="0">
                  <a:pos x="87" y="0"/>
                </a:cxn>
                <a:cxn ang="0">
                  <a:pos x="94" y="0"/>
                </a:cxn>
                <a:cxn ang="0">
                  <a:pos x="124" y="0"/>
                </a:cxn>
                <a:cxn ang="0">
                  <a:pos x="132" y="0"/>
                </a:cxn>
                <a:cxn ang="0">
                  <a:pos x="162" y="0"/>
                </a:cxn>
                <a:cxn ang="0">
                  <a:pos x="170" y="0"/>
                </a:cxn>
                <a:cxn ang="0">
                  <a:pos x="179" y="0"/>
                </a:cxn>
                <a:cxn ang="0">
                  <a:pos x="179" y="80"/>
                </a:cxn>
              </a:cxnLst>
              <a:rect l="0" t="0" r="r" b="b"/>
              <a:pathLst>
                <a:path w="179" h="80">
                  <a:moveTo>
                    <a:pt x="179" y="80"/>
                  </a:moveTo>
                  <a:lnTo>
                    <a:pt x="0" y="80"/>
                  </a:lnTo>
                  <a:lnTo>
                    <a:pt x="0" y="0"/>
                  </a:lnTo>
                  <a:lnTo>
                    <a:pt x="11" y="0"/>
                  </a:lnTo>
                  <a:lnTo>
                    <a:pt x="19" y="0"/>
                  </a:lnTo>
                  <a:lnTo>
                    <a:pt x="49" y="0"/>
                  </a:lnTo>
                  <a:lnTo>
                    <a:pt x="57" y="0"/>
                  </a:lnTo>
                  <a:lnTo>
                    <a:pt x="87" y="0"/>
                  </a:lnTo>
                  <a:lnTo>
                    <a:pt x="94" y="0"/>
                  </a:lnTo>
                  <a:lnTo>
                    <a:pt x="124" y="0"/>
                  </a:lnTo>
                  <a:lnTo>
                    <a:pt x="132" y="0"/>
                  </a:lnTo>
                  <a:lnTo>
                    <a:pt x="162" y="0"/>
                  </a:lnTo>
                  <a:lnTo>
                    <a:pt x="170" y="0"/>
                  </a:lnTo>
                  <a:lnTo>
                    <a:pt x="179" y="0"/>
                  </a:lnTo>
                  <a:lnTo>
                    <a:pt x="17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0" name="Freeform 32"/>
            <p:cNvSpPr>
              <a:spLocks/>
            </p:cNvSpPr>
            <p:nvPr userDrawn="1"/>
          </p:nvSpPr>
          <p:spPr bwMode="auto">
            <a:xfrm>
              <a:off x="5122863" y="6365876"/>
              <a:ext cx="58738" cy="25400"/>
            </a:xfrm>
            <a:custGeom>
              <a:avLst/>
              <a:gdLst/>
              <a:ahLst/>
              <a:cxnLst>
                <a:cxn ang="0">
                  <a:pos x="189" y="80"/>
                </a:cxn>
                <a:cxn ang="0">
                  <a:pos x="93" y="80"/>
                </a:cxn>
                <a:cxn ang="0">
                  <a:pos x="33" y="21"/>
                </a:cxn>
                <a:cxn ang="0">
                  <a:pos x="0" y="21"/>
                </a:cxn>
                <a:cxn ang="0">
                  <a:pos x="0" y="0"/>
                </a:cxn>
                <a:cxn ang="0">
                  <a:pos x="14" y="0"/>
                </a:cxn>
                <a:cxn ang="0">
                  <a:pos x="22" y="0"/>
                </a:cxn>
                <a:cxn ang="0">
                  <a:pos x="30" y="0"/>
                </a:cxn>
                <a:cxn ang="0">
                  <a:pos x="37" y="0"/>
                </a:cxn>
                <a:cxn ang="0">
                  <a:pos x="44" y="0"/>
                </a:cxn>
                <a:cxn ang="0">
                  <a:pos x="53" y="0"/>
                </a:cxn>
                <a:cxn ang="0">
                  <a:pos x="75" y="0"/>
                </a:cxn>
                <a:cxn ang="0">
                  <a:pos x="83" y="0"/>
                </a:cxn>
                <a:cxn ang="0">
                  <a:pos x="113" y="0"/>
                </a:cxn>
                <a:cxn ang="0">
                  <a:pos x="120" y="0"/>
                </a:cxn>
                <a:cxn ang="0">
                  <a:pos x="146" y="0"/>
                </a:cxn>
                <a:cxn ang="0">
                  <a:pos x="154" y="0"/>
                </a:cxn>
                <a:cxn ang="0">
                  <a:pos x="185" y="0"/>
                </a:cxn>
                <a:cxn ang="0">
                  <a:pos x="189" y="0"/>
                </a:cxn>
                <a:cxn ang="0">
                  <a:pos x="189" y="80"/>
                </a:cxn>
              </a:cxnLst>
              <a:rect l="0" t="0" r="r" b="b"/>
              <a:pathLst>
                <a:path w="189" h="80">
                  <a:moveTo>
                    <a:pt x="189" y="80"/>
                  </a:moveTo>
                  <a:lnTo>
                    <a:pt x="93" y="80"/>
                  </a:lnTo>
                  <a:lnTo>
                    <a:pt x="33" y="21"/>
                  </a:lnTo>
                  <a:lnTo>
                    <a:pt x="0" y="21"/>
                  </a:lnTo>
                  <a:lnTo>
                    <a:pt x="0" y="0"/>
                  </a:lnTo>
                  <a:lnTo>
                    <a:pt x="14" y="0"/>
                  </a:lnTo>
                  <a:lnTo>
                    <a:pt x="22" y="0"/>
                  </a:lnTo>
                  <a:lnTo>
                    <a:pt x="30" y="0"/>
                  </a:lnTo>
                  <a:lnTo>
                    <a:pt x="37" y="0"/>
                  </a:lnTo>
                  <a:lnTo>
                    <a:pt x="44" y="0"/>
                  </a:lnTo>
                  <a:lnTo>
                    <a:pt x="53" y="0"/>
                  </a:lnTo>
                  <a:lnTo>
                    <a:pt x="75" y="0"/>
                  </a:lnTo>
                  <a:lnTo>
                    <a:pt x="83" y="0"/>
                  </a:lnTo>
                  <a:lnTo>
                    <a:pt x="113" y="0"/>
                  </a:lnTo>
                  <a:lnTo>
                    <a:pt x="120" y="0"/>
                  </a:lnTo>
                  <a:lnTo>
                    <a:pt x="146" y="0"/>
                  </a:lnTo>
                  <a:lnTo>
                    <a:pt x="154" y="0"/>
                  </a:lnTo>
                  <a:lnTo>
                    <a:pt x="185" y="0"/>
                  </a:lnTo>
                  <a:lnTo>
                    <a:pt x="189" y="0"/>
                  </a:lnTo>
                  <a:lnTo>
                    <a:pt x="18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1" name="Rectangle 33"/>
            <p:cNvSpPr>
              <a:spLocks noChangeArrowheads="1"/>
            </p:cNvSpPr>
            <p:nvPr userDrawn="1"/>
          </p:nvSpPr>
          <p:spPr bwMode="auto">
            <a:xfrm>
              <a:off x="5105400" y="6329363"/>
              <a:ext cx="6350"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2" name="Rectangle 34"/>
            <p:cNvSpPr>
              <a:spLocks noChangeArrowheads="1"/>
            </p:cNvSpPr>
            <p:nvPr userDrawn="1"/>
          </p:nvSpPr>
          <p:spPr bwMode="auto">
            <a:xfrm>
              <a:off x="5076825" y="6365876"/>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3" name="Freeform 35"/>
            <p:cNvSpPr>
              <a:spLocks/>
            </p:cNvSpPr>
            <p:nvPr userDrawn="1"/>
          </p:nvSpPr>
          <p:spPr bwMode="auto">
            <a:xfrm>
              <a:off x="4826000" y="6278563"/>
              <a:ext cx="995363" cy="190500"/>
            </a:xfrm>
            <a:custGeom>
              <a:avLst/>
              <a:gdLst/>
              <a:ahLst/>
              <a:cxnLst>
                <a:cxn ang="0">
                  <a:pos x="2705" y="6"/>
                </a:cxn>
                <a:cxn ang="0">
                  <a:pos x="2681" y="18"/>
                </a:cxn>
                <a:cxn ang="0">
                  <a:pos x="2574" y="12"/>
                </a:cxn>
                <a:cxn ang="0">
                  <a:pos x="2533" y="94"/>
                </a:cxn>
                <a:cxn ang="0">
                  <a:pos x="2479" y="54"/>
                </a:cxn>
                <a:cxn ang="0">
                  <a:pos x="2467" y="208"/>
                </a:cxn>
                <a:cxn ang="0">
                  <a:pos x="2390" y="238"/>
                </a:cxn>
                <a:cxn ang="0">
                  <a:pos x="2372" y="214"/>
                </a:cxn>
                <a:cxn ang="0">
                  <a:pos x="2319" y="131"/>
                </a:cxn>
                <a:cxn ang="0">
                  <a:pos x="2295" y="77"/>
                </a:cxn>
                <a:cxn ang="0">
                  <a:pos x="2260" y="119"/>
                </a:cxn>
                <a:cxn ang="0">
                  <a:pos x="2224" y="149"/>
                </a:cxn>
                <a:cxn ang="0">
                  <a:pos x="2206" y="255"/>
                </a:cxn>
                <a:cxn ang="0">
                  <a:pos x="2171" y="208"/>
                </a:cxn>
                <a:cxn ang="0">
                  <a:pos x="2129" y="196"/>
                </a:cxn>
                <a:cxn ang="0">
                  <a:pos x="2058" y="220"/>
                </a:cxn>
                <a:cxn ang="0">
                  <a:pos x="2039" y="220"/>
                </a:cxn>
                <a:cxn ang="0">
                  <a:pos x="2011" y="220"/>
                </a:cxn>
                <a:cxn ang="0">
                  <a:pos x="1993" y="255"/>
                </a:cxn>
                <a:cxn ang="0">
                  <a:pos x="1909" y="255"/>
                </a:cxn>
                <a:cxn ang="0">
                  <a:pos x="1701" y="260"/>
                </a:cxn>
                <a:cxn ang="0">
                  <a:pos x="1618" y="162"/>
                </a:cxn>
                <a:cxn ang="0">
                  <a:pos x="1542" y="177"/>
                </a:cxn>
                <a:cxn ang="0">
                  <a:pos x="1535" y="225"/>
                </a:cxn>
                <a:cxn ang="0">
                  <a:pos x="1512" y="260"/>
                </a:cxn>
                <a:cxn ang="0">
                  <a:pos x="1489" y="260"/>
                </a:cxn>
                <a:cxn ang="0">
                  <a:pos x="1459" y="225"/>
                </a:cxn>
                <a:cxn ang="0">
                  <a:pos x="1415" y="210"/>
                </a:cxn>
                <a:cxn ang="0">
                  <a:pos x="1380" y="260"/>
                </a:cxn>
                <a:cxn ang="0">
                  <a:pos x="1312" y="260"/>
                </a:cxn>
                <a:cxn ang="0">
                  <a:pos x="1274" y="174"/>
                </a:cxn>
                <a:cxn ang="0">
                  <a:pos x="1232" y="172"/>
                </a:cxn>
                <a:cxn ang="0">
                  <a:pos x="1191" y="174"/>
                </a:cxn>
                <a:cxn ang="0">
                  <a:pos x="1153" y="260"/>
                </a:cxn>
                <a:cxn ang="0">
                  <a:pos x="1085" y="260"/>
                </a:cxn>
                <a:cxn ang="0">
                  <a:pos x="1051" y="210"/>
                </a:cxn>
                <a:cxn ang="0">
                  <a:pos x="1006" y="225"/>
                </a:cxn>
                <a:cxn ang="0">
                  <a:pos x="975" y="260"/>
                </a:cxn>
                <a:cxn ang="0">
                  <a:pos x="953" y="260"/>
                </a:cxn>
                <a:cxn ang="0">
                  <a:pos x="931" y="225"/>
                </a:cxn>
                <a:cxn ang="0">
                  <a:pos x="922" y="177"/>
                </a:cxn>
                <a:cxn ang="0">
                  <a:pos x="847" y="162"/>
                </a:cxn>
                <a:cxn ang="0">
                  <a:pos x="786" y="260"/>
                </a:cxn>
                <a:cxn ang="0">
                  <a:pos x="632" y="296"/>
                </a:cxn>
                <a:cxn ang="0">
                  <a:pos x="549" y="296"/>
                </a:cxn>
                <a:cxn ang="0">
                  <a:pos x="520" y="304"/>
                </a:cxn>
                <a:cxn ang="0">
                  <a:pos x="496" y="215"/>
                </a:cxn>
                <a:cxn ang="0">
                  <a:pos x="478" y="179"/>
                </a:cxn>
                <a:cxn ang="0">
                  <a:pos x="454" y="280"/>
                </a:cxn>
                <a:cxn ang="0">
                  <a:pos x="389" y="102"/>
                </a:cxn>
                <a:cxn ang="0">
                  <a:pos x="318" y="296"/>
                </a:cxn>
                <a:cxn ang="0">
                  <a:pos x="259" y="113"/>
                </a:cxn>
                <a:cxn ang="0">
                  <a:pos x="193" y="214"/>
                </a:cxn>
                <a:cxn ang="0">
                  <a:pos x="109" y="77"/>
                </a:cxn>
                <a:cxn ang="0">
                  <a:pos x="75" y="296"/>
                </a:cxn>
                <a:cxn ang="0">
                  <a:pos x="14" y="296"/>
                </a:cxn>
                <a:cxn ang="0">
                  <a:pos x="2348" y="603"/>
                </a:cxn>
              </a:cxnLst>
              <a:rect l="0" t="0" r="r" b="b"/>
              <a:pathLst>
                <a:path w="3132" h="603">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4" name="Freeform 36"/>
            <p:cNvSpPr>
              <a:spLocks noEditPoints="1"/>
            </p:cNvSpPr>
            <p:nvPr userDrawn="1"/>
          </p:nvSpPr>
          <p:spPr bwMode="auto">
            <a:xfrm>
              <a:off x="4457700" y="6338888"/>
              <a:ext cx="396875" cy="88900"/>
            </a:xfrm>
            <a:custGeom>
              <a:avLst/>
              <a:gdLst/>
              <a:ahLst/>
              <a:cxnLst>
                <a:cxn ang="0">
                  <a:pos x="1054" y="119"/>
                </a:cxn>
                <a:cxn ang="0">
                  <a:pos x="967" y="119"/>
                </a:cxn>
                <a:cxn ang="0">
                  <a:pos x="949" y="150"/>
                </a:cxn>
                <a:cxn ang="0">
                  <a:pos x="902" y="130"/>
                </a:cxn>
                <a:cxn ang="0">
                  <a:pos x="871" y="120"/>
                </a:cxn>
                <a:cxn ang="0">
                  <a:pos x="849" y="99"/>
                </a:cxn>
                <a:cxn ang="0">
                  <a:pos x="812" y="87"/>
                </a:cxn>
                <a:cxn ang="0">
                  <a:pos x="782" y="87"/>
                </a:cxn>
                <a:cxn ang="0">
                  <a:pos x="744" y="99"/>
                </a:cxn>
                <a:cxn ang="0">
                  <a:pos x="727" y="112"/>
                </a:cxn>
                <a:cxn ang="0">
                  <a:pos x="720" y="130"/>
                </a:cxn>
                <a:cxn ang="0">
                  <a:pos x="703" y="41"/>
                </a:cxn>
                <a:cxn ang="0">
                  <a:pos x="691" y="0"/>
                </a:cxn>
                <a:cxn ang="0">
                  <a:pos x="662" y="41"/>
                </a:cxn>
                <a:cxn ang="0">
                  <a:pos x="621" y="130"/>
                </a:cxn>
                <a:cxn ang="0">
                  <a:pos x="571" y="137"/>
                </a:cxn>
                <a:cxn ang="0">
                  <a:pos x="544" y="185"/>
                </a:cxn>
                <a:cxn ang="0">
                  <a:pos x="522" y="154"/>
                </a:cxn>
                <a:cxn ang="0">
                  <a:pos x="503" y="106"/>
                </a:cxn>
                <a:cxn ang="0">
                  <a:pos x="487" y="93"/>
                </a:cxn>
                <a:cxn ang="0">
                  <a:pos x="446" y="106"/>
                </a:cxn>
                <a:cxn ang="0">
                  <a:pos x="428" y="154"/>
                </a:cxn>
                <a:cxn ang="0">
                  <a:pos x="416" y="106"/>
                </a:cxn>
                <a:cxn ang="0">
                  <a:pos x="378" y="72"/>
                </a:cxn>
                <a:cxn ang="0">
                  <a:pos x="348" y="106"/>
                </a:cxn>
                <a:cxn ang="0">
                  <a:pos x="340" y="154"/>
                </a:cxn>
                <a:cxn ang="0">
                  <a:pos x="328" y="130"/>
                </a:cxn>
                <a:cxn ang="0">
                  <a:pos x="299" y="154"/>
                </a:cxn>
                <a:cxn ang="0">
                  <a:pos x="287" y="183"/>
                </a:cxn>
                <a:cxn ang="0">
                  <a:pos x="270" y="165"/>
                </a:cxn>
                <a:cxn ang="0">
                  <a:pos x="188" y="183"/>
                </a:cxn>
                <a:cxn ang="0">
                  <a:pos x="164" y="89"/>
                </a:cxn>
                <a:cxn ang="0">
                  <a:pos x="135" y="71"/>
                </a:cxn>
                <a:cxn ang="0">
                  <a:pos x="70" y="89"/>
                </a:cxn>
                <a:cxn ang="0">
                  <a:pos x="53" y="185"/>
                </a:cxn>
                <a:cxn ang="0">
                  <a:pos x="41" y="154"/>
                </a:cxn>
                <a:cxn ang="0">
                  <a:pos x="12" y="185"/>
                </a:cxn>
                <a:cxn ang="0">
                  <a:pos x="0" y="278"/>
                </a:cxn>
                <a:cxn ang="0">
                  <a:pos x="1249" y="278"/>
                </a:cxn>
                <a:cxn ang="0">
                  <a:pos x="1219" y="137"/>
                </a:cxn>
                <a:cxn ang="0">
                  <a:pos x="1201" y="88"/>
                </a:cxn>
                <a:cxn ang="0">
                  <a:pos x="967" y="119"/>
                </a:cxn>
              </a:cxnLst>
              <a:rect l="0" t="0" r="r" b="b"/>
              <a:pathLst>
                <a:path w="1249" h="278">
                  <a:moveTo>
                    <a:pt x="1078" y="119"/>
                  </a:moveTo>
                  <a:lnTo>
                    <a:pt x="1054" y="119"/>
                  </a:lnTo>
                  <a:lnTo>
                    <a:pt x="1078" y="119"/>
                  </a:lnTo>
                  <a:close/>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5" name="Freeform 37"/>
            <p:cNvSpPr>
              <a:spLocks/>
            </p:cNvSpPr>
            <p:nvPr userDrawn="1"/>
          </p:nvSpPr>
          <p:spPr bwMode="auto">
            <a:xfrm>
              <a:off x="4792663" y="6376988"/>
              <a:ext cx="7938" cy="1588"/>
            </a:xfrm>
            <a:custGeom>
              <a:avLst/>
              <a:gdLst/>
              <a:ahLst/>
              <a:cxnLst>
                <a:cxn ang="0">
                  <a:pos x="24" y="0"/>
                </a:cxn>
                <a:cxn ang="0">
                  <a:pos x="0" y="0"/>
                </a:cxn>
                <a:cxn ang="0">
                  <a:pos x="24" y="0"/>
                </a:cxn>
              </a:cxnLst>
              <a:rect l="0" t="0" r="r" b="b"/>
              <a:pathLst>
                <a:path w="24">
                  <a:moveTo>
                    <a:pt x="24" y="0"/>
                  </a:moveTo>
                  <a:lnTo>
                    <a:pt x="0" y="0"/>
                  </a:lnTo>
                  <a:lnTo>
                    <a:pt x="24"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6" name="Freeform 38"/>
            <p:cNvSpPr>
              <a:spLocks/>
            </p:cNvSpPr>
            <p:nvPr userDrawn="1"/>
          </p:nvSpPr>
          <p:spPr bwMode="auto">
            <a:xfrm>
              <a:off x="4457700" y="6338888"/>
              <a:ext cx="396875" cy="88900"/>
            </a:xfrm>
            <a:custGeom>
              <a:avLst/>
              <a:gdLst/>
              <a:ahLst/>
              <a:cxnLst>
                <a:cxn ang="0">
                  <a:pos x="949" y="119"/>
                </a:cxn>
                <a:cxn ang="0">
                  <a:pos x="902" y="150"/>
                </a:cxn>
                <a:cxn ang="0">
                  <a:pos x="873" y="130"/>
                </a:cxn>
                <a:cxn ang="0">
                  <a:pos x="866" y="112"/>
                </a:cxn>
                <a:cxn ang="0">
                  <a:pos x="825" y="89"/>
                </a:cxn>
                <a:cxn ang="0">
                  <a:pos x="797" y="85"/>
                </a:cxn>
                <a:cxn ang="0">
                  <a:pos x="768" y="89"/>
                </a:cxn>
                <a:cxn ang="0">
                  <a:pos x="735" y="105"/>
                </a:cxn>
                <a:cxn ang="0">
                  <a:pos x="723" y="120"/>
                </a:cxn>
                <a:cxn ang="0">
                  <a:pos x="703" y="130"/>
                </a:cxn>
                <a:cxn ang="0">
                  <a:pos x="691" y="41"/>
                </a:cxn>
                <a:cxn ang="0">
                  <a:pos x="662" y="0"/>
                </a:cxn>
                <a:cxn ang="0">
                  <a:pos x="621" y="41"/>
                </a:cxn>
                <a:cxn ang="0">
                  <a:pos x="597" y="130"/>
                </a:cxn>
                <a:cxn ang="0">
                  <a:pos x="544" y="137"/>
                </a:cxn>
                <a:cxn ang="0">
                  <a:pos x="522" y="185"/>
                </a:cxn>
                <a:cxn ang="0">
                  <a:pos x="503" y="154"/>
                </a:cxn>
                <a:cxn ang="0">
                  <a:pos x="487" y="106"/>
                </a:cxn>
                <a:cxn ang="0">
                  <a:pos x="446" y="93"/>
                </a:cxn>
                <a:cxn ang="0">
                  <a:pos x="428" y="106"/>
                </a:cxn>
                <a:cxn ang="0">
                  <a:pos x="416" y="154"/>
                </a:cxn>
                <a:cxn ang="0">
                  <a:pos x="378" y="106"/>
                </a:cxn>
                <a:cxn ang="0">
                  <a:pos x="348" y="72"/>
                </a:cxn>
                <a:cxn ang="0">
                  <a:pos x="340" y="106"/>
                </a:cxn>
                <a:cxn ang="0">
                  <a:pos x="328" y="154"/>
                </a:cxn>
                <a:cxn ang="0">
                  <a:pos x="299" y="130"/>
                </a:cxn>
                <a:cxn ang="0">
                  <a:pos x="287" y="154"/>
                </a:cxn>
                <a:cxn ang="0">
                  <a:pos x="270" y="183"/>
                </a:cxn>
                <a:cxn ang="0">
                  <a:pos x="188" y="165"/>
                </a:cxn>
                <a:cxn ang="0">
                  <a:pos x="164" y="183"/>
                </a:cxn>
                <a:cxn ang="0">
                  <a:pos x="135" y="89"/>
                </a:cxn>
                <a:cxn ang="0">
                  <a:pos x="70" y="71"/>
                </a:cxn>
                <a:cxn ang="0">
                  <a:pos x="53" y="89"/>
                </a:cxn>
                <a:cxn ang="0">
                  <a:pos x="41" y="185"/>
                </a:cxn>
                <a:cxn ang="0">
                  <a:pos x="12" y="154"/>
                </a:cxn>
                <a:cxn ang="0">
                  <a:pos x="0" y="185"/>
                </a:cxn>
                <a:cxn ang="0">
                  <a:pos x="624" y="278"/>
                </a:cxn>
                <a:cxn ang="0">
                  <a:pos x="1219" y="65"/>
                </a:cxn>
                <a:cxn ang="0">
                  <a:pos x="1201" y="137"/>
                </a:cxn>
                <a:cxn ang="0">
                  <a:pos x="1172" y="88"/>
                </a:cxn>
              </a:cxnLst>
              <a:rect l="0" t="0" r="r" b="b"/>
              <a:pathLst>
                <a:path w="1249" h="278">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7" name="Rectangle 39"/>
            <p:cNvSpPr>
              <a:spLocks noChangeArrowheads="1"/>
            </p:cNvSpPr>
            <p:nvPr userDrawn="1"/>
          </p:nvSpPr>
          <p:spPr bwMode="auto">
            <a:xfrm>
              <a:off x="4456113" y="6421438"/>
              <a:ext cx="244475" cy="34925"/>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8" name="Freeform 40"/>
            <p:cNvSpPr>
              <a:spLocks/>
            </p:cNvSpPr>
            <p:nvPr userDrawn="1"/>
          </p:nvSpPr>
          <p:spPr bwMode="auto">
            <a:xfrm>
              <a:off x="6640513" y="6462713"/>
              <a:ext cx="7938" cy="12700"/>
            </a:xfrm>
            <a:custGeom>
              <a:avLst/>
              <a:gdLst/>
              <a:ahLst/>
              <a:cxnLst>
                <a:cxn ang="0">
                  <a:pos x="17" y="39"/>
                </a:cxn>
                <a:cxn ang="0">
                  <a:pos x="18" y="39"/>
                </a:cxn>
                <a:cxn ang="0">
                  <a:pos x="20" y="39"/>
                </a:cxn>
                <a:cxn ang="0">
                  <a:pos x="20" y="40"/>
                </a:cxn>
                <a:cxn ang="0">
                  <a:pos x="21" y="40"/>
                </a:cxn>
                <a:cxn ang="0">
                  <a:pos x="21" y="41"/>
                </a:cxn>
                <a:cxn ang="0">
                  <a:pos x="22" y="41"/>
                </a:cxn>
                <a:cxn ang="0">
                  <a:pos x="22" y="42"/>
                </a:cxn>
                <a:cxn ang="0">
                  <a:pos x="23" y="36"/>
                </a:cxn>
                <a:cxn ang="0">
                  <a:pos x="23" y="28"/>
                </a:cxn>
                <a:cxn ang="0">
                  <a:pos x="23" y="23"/>
                </a:cxn>
                <a:cxn ang="0">
                  <a:pos x="21" y="21"/>
                </a:cxn>
                <a:cxn ang="0">
                  <a:pos x="18" y="15"/>
                </a:cxn>
                <a:cxn ang="0">
                  <a:pos x="16" y="8"/>
                </a:cxn>
                <a:cxn ang="0">
                  <a:pos x="17" y="4"/>
                </a:cxn>
                <a:cxn ang="0">
                  <a:pos x="14" y="3"/>
                </a:cxn>
                <a:cxn ang="0">
                  <a:pos x="12" y="2"/>
                </a:cxn>
                <a:cxn ang="0">
                  <a:pos x="11" y="0"/>
                </a:cxn>
                <a:cxn ang="0">
                  <a:pos x="8" y="5"/>
                </a:cxn>
                <a:cxn ang="0">
                  <a:pos x="3" y="11"/>
                </a:cxn>
                <a:cxn ang="0">
                  <a:pos x="0" y="14"/>
                </a:cxn>
                <a:cxn ang="0">
                  <a:pos x="0" y="16"/>
                </a:cxn>
                <a:cxn ang="0">
                  <a:pos x="4" y="22"/>
                </a:cxn>
                <a:cxn ang="0">
                  <a:pos x="5" y="26"/>
                </a:cxn>
                <a:cxn ang="0">
                  <a:pos x="5" y="24"/>
                </a:cxn>
                <a:cxn ang="0">
                  <a:pos x="6" y="24"/>
                </a:cxn>
                <a:cxn ang="0">
                  <a:pos x="5" y="24"/>
                </a:cxn>
                <a:cxn ang="0">
                  <a:pos x="5" y="23"/>
                </a:cxn>
                <a:cxn ang="0">
                  <a:pos x="5" y="22"/>
                </a:cxn>
                <a:cxn ang="0">
                  <a:pos x="6" y="22"/>
                </a:cxn>
                <a:cxn ang="0">
                  <a:pos x="8" y="22"/>
                </a:cxn>
                <a:cxn ang="0">
                  <a:pos x="9" y="22"/>
                </a:cxn>
                <a:cxn ang="0">
                  <a:pos x="9" y="23"/>
                </a:cxn>
                <a:cxn ang="0">
                  <a:pos x="9" y="24"/>
                </a:cxn>
                <a:cxn ang="0">
                  <a:pos x="9" y="26"/>
                </a:cxn>
                <a:cxn ang="0">
                  <a:pos x="9" y="24"/>
                </a:cxn>
                <a:cxn ang="0">
                  <a:pos x="10" y="23"/>
                </a:cxn>
                <a:cxn ang="0">
                  <a:pos x="10" y="24"/>
                </a:cxn>
                <a:cxn ang="0">
                  <a:pos x="11" y="24"/>
                </a:cxn>
                <a:cxn ang="0">
                  <a:pos x="11" y="26"/>
                </a:cxn>
                <a:cxn ang="0">
                  <a:pos x="12" y="27"/>
                </a:cxn>
                <a:cxn ang="0">
                  <a:pos x="12" y="26"/>
                </a:cxn>
                <a:cxn ang="0">
                  <a:pos x="14" y="27"/>
                </a:cxn>
                <a:cxn ang="0">
                  <a:pos x="14" y="28"/>
                </a:cxn>
                <a:cxn ang="0">
                  <a:pos x="14" y="29"/>
                </a:cxn>
                <a:cxn ang="0">
                  <a:pos x="15" y="30"/>
                </a:cxn>
                <a:cxn ang="0">
                  <a:pos x="15" y="29"/>
                </a:cxn>
                <a:cxn ang="0">
                  <a:pos x="16" y="29"/>
                </a:cxn>
                <a:cxn ang="0">
                  <a:pos x="17" y="30"/>
                </a:cxn>
                <a:cxn ang="0">
                  <a:pos x="17" y="32"/>
                </a:cxn>
                <a:cxn ang="0">
                  <a:pos x="17" y="33"/>
                </a:cxn>
                <a:cxn ang="0">
                  <a:pos x="16" y="33"/>
                </a:cxn>
                <a:cxn ang="0">
                  <a:pos x="16" y="32"/>
                </a:cxn>
                <a:cxn ang="0">
                  <a:pos x="15" y="32"/>
                </a:cxn>
                <a:cxn ang="0">
                  <a:pos x="15" y="33"/>
                </a:cxn>
                <a:cxn ang="0">
                  <a:pos x="16" y="33"/>
                </a:cxn>
                <a:cxn ang="0">
                  <a:pos x="16" y="34"/>
                </a:cxn>
                <a:cxn ang="0">
                  <a:pos x="16" y="35"/>
                </a:cxn>
                <a:cxn ang="0">
                  <a:pos x="17" y="38"/>
                </a:cxn>
                <a:cxn ang="0">
                  <a:pos x="17" y="39"/>
                </a:cxn>
              </a:cxnLst>
              <a:rect l="0" t="0" r="r" b="b"/>
              <a:pathLst>
                <a:path w="23" h="42">
                  <a:moveTo>
                    <a:pt x="17" y="39"/>
                  </a:moveTo>
                  <a:lnTo>
                    <a:pt x="18" y="39"/>
                  </a:lnTo>
                  <a:lnTo>
                    <a:pt x="20" y="39"/>
                  </a:lnTo>
                  <a:lnTo>
                    <a:pt x="20" y="40"/>
                  </a:lnTo>
                  <a:lnTo>
                    <a:pt x="21" y="40"/>
                  </a:lnTo>
                  <a:lnTo>
                    <a:pt x="21" y="41"/>
                  </a:lnTo>
                  <a:lnTo>
                    <a:pt x="22" y="41"/>
                  </a:lnTo>
                  <a:lnTo>
                    <a:pt x="22" y="42"/>
                  </a:lnTo>
                  <a:lnTo>
                    <a:pt x="23" y="36"/>
                  </a:lnTo>
                  <a:lnTo>
                    <a:pt x="23" y="28"/>
                  </a:lnTo>
                  <a:lnTo>
                    <a:pt x="23" y="23"/>
                  </a:lnTo>
                  <a:lnTo>
                    <a:pt x="21" y="21"/>
                  </a:lnTo>
                  <a:lnTo>
                    <a:pt x="18" y="15"/>
                  </a:lnTo>
                  <a:lnTo>
                    <a:pt x="16" y="8"/>
                  </a:lnTo>
                  <a:lnTo>
                    <a:pt x="17" y="4"/>
                  </a:lnTo>
                  <a:lnTo>
                    <a:pt x="14" y="3"/>
                  </a:lnTo>
                  <a:lnTo>
                    <a:pt x="12" y="2"/>
                  </a:lnTo>
                  <a:lnTo>
                    <a:pt x="11" y="0"/>
                  </a:lnTo>
                  <a:lnTo>
                    <a:pt x="8" y="5"/>
                  </a:lnTo>
                  <a:lnTo>
                    <a:pt x="3" y="11"/>
                  </a:lnTo>
                  <a:lnTo>
                    <a:pt x="0" y="14"/>
                  </a:lnTo>
                  <a:lnTo>
                    <a:pt x="0" y="16"/>
                  </a:lnTo>
                  <a:lnTo>
                    <a:pt x="4" y="22"/>
                  </a:lnTo>
                  <a:lnTo>
                    <a:pt x="5" y="26"/>
                  </a:lnTo>
                  <a:lnTo>
                    <a:pt x="5" y="24"/>
                  </a:lnTo>
                  <a:lnTo>
                    <a:pt x="6" y="24"/>
                  </a:lnTo>
                  <a:lnTo>
                    <a:pt x="5" y="24"/>
                  </a:lnTo>
                  <a:lnTo>
                    <a:pt x="5" y="23"/>
                  </a:lnTo>
                  <a:lnTo>
                    <a:pt x="5" y="22"/>
                  </a:lnTo>
                  <a:lnTo>
                    <a:pt x="6" y="22"/>
                  </a:lnTo>
                  <a:lnTo>
                    <a:pt x="8" y="22"/>
                  </a:lnTo>
                  <a:lnTo>
                    <a:pt x="9" y="22"/>
                  </a:lnTo>
                  <a:lnTo>
                    <a:pt x="9" y="23"/>
                  </a:lnTo>
                  <a:lnTo>
                    <a:pt x="9" y="24"/>
                  </a:lnTo>
                  <a:lnTo>
                    <a:pt x="9" y="26"/>
                  </a:lnTo>
                  <a:lnTo>
                    <a:pt x="9" y="24"/>
                  </a:lnTo>
                  <a:lnTo>
                    <a:pt x="10" y="23"/>
                  </a:lnTo>
                  <a:lnTo>
                    <a:pt x="10" y="24"/>
                  </a:lnTo>
                  <a:lnTo>
                    <a:pt x="11" y="24"/>
                  </a:lnTo>
                  <a:lnTo>
                    <a:pt x="11" y="26"/>
                  </a:lnTo>
                  <a:lnTo>
                    <a:pt x="12" y="27"/>
                  </a:lnTo>
                  <a:lnTo>
                    <a:pt x="12" y="26"/>
                  </a:lnTo>
                  <a:lnTo>
                    <a:pt x="14" y="27"/>
                  </a:lnTo>
                  <a:lnTo>
                    <a:pt x="14" y="28"/>
                  </a:lnTo>
                  <a:lnTo>
                    <a:pt x="14" y="29"/>
                  </a:lnTo>
                  <a:lnTo>
                    <a:pt x="15" y="30"/>
                  </a:lnTo>
                  <a:lnTo>
                    <a:pt x="15" y="29"/>
                  </a:lnTo>
                  <a:lnTo>
                    <a:pt x="16" y="29"/>
                  </a:lnTo>
                  <a:lnTo>
                    <a:pt x="17" y="30"/>
                  </a:lnTo>
                  <a:lnTo>
                    <a:pt x="17" y="32"/>
                  </a:lnTo>
                  <a:lnTo>
                    <a:pt x="17" y="33"/>
                  </a:lnTo>
                  <a:lnTo>
                    <a:pt x="16" y="33"/>
                  </a:lnTo>
                  <a:lnTo>
                    <a:pt x="16" y="32"/>
                  </a:lnTo>
                  <a:lnTo>
                    <a:pt x="15" y="32"/>
                  </a:lnTo>
                  <a:lnTo>
                    <a:pt x="15" y="33"/>
                  </a:lnTo>
                  <a:lnTo>
                    <a:pt x="16" y="33"/>
                  </a:lnTo>
                  <a:lnTo>
                    <a:pt x="16" y="34"/>
                  </a:lnTo>
                  <a:lnTo>
                    <a:pt x="16" y="35"/>
                  </a:lnTo>
                  <a:lnTo>
                    <a:pt x="17" y="38"/>
                  </a:lnTo>
                  <a:lnTo>
                    <a:pt x="17" y="3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9" name="Freeform 41"/>
            <p:cNvSpPr>
              <a:spLocks/>
            </p:cNvSpPr>
            <p:nvPr userDrawn="1"/>
          </p:nvSpPr>
          <p:spPr bwMode="auto">
            <a:xfrm>
              <a:off x="6640513" y="6467476"/>
              <a:ext cx="1588" cy="6350"/>
            </a:xfrm>
            <a:custGeom>
              <a:avLst/>
              <a:gdLst/>
              <a:ahLst/>
              <a:cxnLst>
                <a:cxn ang="0">
                  <a:pos x="7" y="18"/>
                </a:cxn>
                <a:cxn ang="0">
                  <a:pos x="6" y="19"/>
                </a:cxn>
                <a:cxn ang="0">
                  <a:pos x="7" y="19"/>
                </a:cxn>
                <a:cxn ang="0">
                  <a:pos x="6" y="20"/>
                </a:cxn>
                <a:cxn ang="0">
                  <a:pos x="4" y="19"/>
                </a:cxn>
                <a:cxn ang="0">
                  <a:pos x="2" y="14"/>
                </a:cxn>
                <a:cxn ang="0">
                  <a:pos x="1" y="11"/>
                </a:cxn>
                <a:cxn ang="0">
                  <a:pos x="1" y="6"/>
                </a:cxn>
                <a:cxn ang="0">
                  <a:pos x="0" y="0"/>
                </a:cxn>
                <a:cxn ang="0">
                  <a:pos x="3" y="5"/>
                </a:cxn>
                <a:cxn ang="0">
                  <a:pos x="6" y="11"/>
                </a:cxn>
                <a:cxn ang="0">
                  <a:pos x="7" y="13"/>
                </a:cxn>
                <a:cxn ang="0">
                  <a:pos x="6" y="14"/>
                </a:cxn>
                <a:cxn ang="0">
                  <a:pos x="6" y="16"/>
                </a:cxn>
                <a:cxn ang="0">
                  <a:pos x="7" y="14"/>
                </a:cxn>
                <a:cxn ang="0">
                  <a:pos x="6" y="16"/>
                </a:cxn>
                <a:cxn ang="0">
                  <a:pos x="7" y="17"/>
                </a:cxn>
                <a:cxn ang="0">
                  <a:pos x="7" y="16"/>
                </a:cxn>
                <a:cxn ang="0">
                  <a:pos x="7" y="17"/>
                </a:cxn>
                <a:cxn ang="0">
                  <a:pos x="6" y="18"/>
                </a:cxn>
                <a:cxn ang="0">
                  <a:pos x="7" y="18"/>
                </a:cxn>
              </a:cxnLst>
              <a:rect l="0" t="0" r="r" b="b"/>
              <a:pathLst>
                <a:path w="7" h="20">
                  <a:moveTo>
                    <a:pt x="7" y="18"/>
                  </a:moveTo>
                  <a:lnTo>
                    <a:pt x="6" y="19"/>
                  </a:lnTo>
                  <a:lnTo>
                    <a:pt x="7" y="19"/>
                  </a:lnTo>
                  <a:lnTo>
                    <a:pt x="6" y="20"/>
                  </a:lnTo>
                  <a:lnTo>
                    <a:pt x="4" y="19"/>
                  </a:lnTo>
                  <a:lnTo>
                    <a:pt x="2" y="14"/>
                  </a:lnTo>
                  <a:lnTo>
                    <a:pt x="1" y="11"/>
                  </a:lnTo>
                  <a:lnTo>
                    <a:pt x="1" y="6"/>
                  </a:lnTo>
                  <a:lnTo>
                    <a:pt x="0" y="0"/>
                  </a:lnTo>
                  <a:lnTo>
                    <a:pt x="3" y="5"/>
                  </a:lnTo>
                  <a:lnTo>
                    <a:pt x="6" y="11"/>
                  </a:lnTo>
                  <a:lnTo>
                    <a:pt x="7" y="13"/>
                  </a:lnTo>
                  <a:lnTo>
                    <a:pt x="6" y="14"/>
                  </a:lnTo>
                  <a:lnTo>
                    <a:pt x="6" y="16"/>
                  </a:lnTo>
                  <a:lnTo>
                    <a:pt x="7" y="14"/>
                  </a:lnTo>
                  <a:lnTo>
                    <a:pt x="6" y="16"/>
                  </a:lnTo>
                  <a:lnTo>
                    <a:pt x="7" y="17"/>
                  </a:lnTo>
                  <a:lnTo>
                    <a:pt x="7" y="16"/>
                  </a:lnTo>
                  <a:lnTo>
                    <a:pt x="7" y="17"/>
                  </a:lnTo>
                  <a:lnTo>
                    <a:pt x="6" y="18"/>
                  </a:lnTo>
                  <a:lnTo>
                    <a:pt x="7" y="1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0" name="Freeform 42"/>
            <p:cNvSpPr>
              <a:spLocks/>
            </p:cNvSpPr>
            <p:nvPr userDrawn="1"/>
          </p:nvSpPr>
          <p:spPr bwMode="auto">
            <a:xfrm>
              <a:off x="6642100" y="6475413"/>
              <a:ext cx="3175" cy="12700"/>
            </a:xfrm>
            <a:custGeom>
              <a:avLst/>
              <a:gdLst/>
              <a:ahLst/>
              <a:cxnLst>
                <a:cxn ang="0">
                  <a:pos x="6" y="38"/>
                </a:cxn>
                <a:cxn ang="0">
                  <a:pos x="5" y="35"/>
                </a:cxn>
                <a:cxn ang="0">
                  <a:pos x="5" y="26"/>
                </a:cxn>
                <a:cxn ang="0">
                  <a:pos x="3" y="14"/>
                </a:cxn>
                <a:cxn ang="0">
                  <a:pos x="2" y="8"/>
                </a:cxn>
                <a:cxn ang="0">
                  <a:pos x="0" y="2"/>
                </a:cxn>
                <a:cxn ang="0">
                  <a:pos x="0" y="0"/>
                </a:cxn>
                <a:cxn ang="0">
                  <a:pos x="1" y="0"/>
                </a:cxn>
                <a:cxn ang="0">
                  <a:pos x="2" y="0"/>
                </a:cxn>
                <a:cxn ang="0">
                  <a:pos x="3" y="0"/>
                </a:cxn>
                <a:cxn ang="0">
                  <a:pos x="3" y="1"/>
                </a:cxn>
                <a:cxn ang="0">
                  <a:pos x="3" y="4"/>
                </a:cxn>
                <a:cxn ang="0">
                  <a:pos x="3" y="6"/>
                </a:cxn>
                <a:cxn ang="0">
                  <a:pos x="3" y="7"/>
                </a:cxn>
                <a:cxn ang="0">
                  <a:pos x="5" y="8"/>
                </a:cxn>
                <a:cxn ang="0">
                  <a:pos x="5" y="9"/>
                </a:cxn>
                <a:cxn ang="0">
                  <a:pos x="6" y="9"/>
                </a:cxn>
                <a:cxn ang="0">
                  <a:pos x="6" y="10"/>
                </a:cxn>
                <a:cxn ang="0">
                  <a:pos x="6" y="12"/>
                </a:cxn>
                <a:cxn ang="0">
                  <a:pos x="7" y="10"/>
                </a:cxn>
                <a:cxn ang="0">
                  <a:pos x="7" y="12"/>
                </a:cxn>
                <a:cxn ang="0">
                  <a:pos x="6" y="13"/>
                </a:cxn>
                <a:cxn ang="0">
                  <a:pos x="6" y="14"/>
                </a:cxn>
                <a:cxn ang="0">
                  <a:pos x="6" y="15"/>
                </a:cxn>
                <a:cxn ang="0">
                  <a:pos x="6" y="14"/>
                </a:cxn>
                <a:cxn ang="0">
                  <a:pos x="7" y="14"/>
                </a:cxn>
                <a:cxn ang="0">
                  <a:pos x="6" y="15"/>
                </a:cxn>
                <a:cxn ang="0">
                  <a:pos x="6" y="17"/>
                </a:cxn>
                <a:cxn ang="0">
                  <a:pos x="7" y="15"/>
                </a:cxn>
                <a:cxn ang="0">
                  <a:pos x="7" y="14"/>
                </a:cxn>
                <a:cxn ang="0">
                  <a:pos x="7" y="15"/>
                </a:cxn>
                <a:cxn ang="0">
                  <a:pos x="8" y="17"/>
                </a:cxn>
                <a:cxn ang="0">
                  <a:pos x="8" y="18"/>
                </a:cxn>
                <a:cxn ang="0">
                  <a:pos x="8" y="20"/>
                </a:cxn>
                <a:cxn ang="0">
                  <a:pos x="9" y="25"/>
                </a:cxn>
                <a:cxn ang="0">
                  <a:pos x="11" y="29"/>
                </a:cxn>
                <a:cxn ang="0">
                  <a:pos x="8" y="35"/>
                </a:cxn>
                <a:cxn ang="0">
                  <a:pos x="7" y="36"/>
                </a:cxn>
                <a:cxn ang="0">
                  <a:pos x="6" y="38"/>
                </a:cxn>
              </a:cxnLst>
              <a:rect l="0" t="0" r="r" b="b"/>
              <a:pathLst>
                <a:path w="11" h="38">
                  <a:moveTo>
                    <a:pt x="6" y="38"/>
                  </a:moveTo>
                  <a:lnTo>
                    <a:pt x="5" y="35"/>
                  </a:lnTo>
                  <a:lnTo>
                    <a:pt x="5" y="26"/>
                  </a:lnTo>
                  <a:lnTo>
                    <a:pt x="3" y="14"/>
                  </a:lnTo>
                  <a:lnTo>
                    <a:pt x="2" y="8"/>
                  </a:lnTo>
                  <a:lnTo>
                    <a:pt x="0" y="2"/>
                  </a:lnTo>
                  <a:lnTo>
                    <a:pt x="0" y="0"/>
                  </a:lnTo>
                  <a:lnTo>
                    <a:pt x="1" y="0"/>
                  </a:lnTo>
                  <a:lnTo>
                    <a:pt x="2" y="0"/>
                  </a:lnTo>
                  <a:lnTo>
                    <a:pt x="3" y="0"/>
                  </a:lnTo>
                  <a:lnTo>
                    <a:pt x="3" y="1"/>
                  </a:lnTo>
                  <a:lnTo>
                    <a:pt x="3" y="4"/>
                  </a:lnTo>
                  <a:lnTo>
                    <a:pt x="3" y="6"/>
                  </a:lnTo>
                  <a:lnTo>
                    <a:pt x="3" y="7"/>
                  </a:lnTo>
                  <a:lnTo>
                    <a:pt x="5" y="8"/>
                  </a:lnTo>
                  <a:lnTo>
                    <a:pt x="5" y="9"/>
                  </a:lnTo>
                  <a:lnTo>
                    <a:pt x="6" y="9"/>
                  </a:lnTo>
                  <a:lnTo>
                    <a:pt x="6" y="10"/>
                  </a:lnTo>
                  <a:lnTo>
                    <a:pt x="6" y="12"/>
                  </a:lnTo>
                  <a:lnTo>
                    <a:pt x="7" y="10"/>
                  </a:lnTo>
                  <a:lnTo>
                    <a:pt x="7" y="12"/>
                  </a:lnTo>
                  <a:lnTo>
                    <a:pt x="6" y="13"/>
                  </a:lnTo>
                  <a:lnTo>
                    <a:pt x="6" y="14"/>
                  </a:lnTo>
                  <a:lnTo>
                    <a:pt x="6" y="15"/>
                  </a:lnTo>
                  <a:lnTo>
                    <a:pt x="6" y="14"/>
                  </a:lnTo>
                  <a:lnTo>
                    <a:pt x="7" y="14"/>
                  </a:lnTo>
                  <a:lnTo>
                    <a:pt x="6" y="15"/>
                  </a:lnTo>
                  <a:lnTo>
                    <a:pt x="6" y="17"/>
                  </a:lnTo>
                  <a:lnTo>
                    <a:pt x="7" y="15"/>
                  </a:lnTo>
                  <a:lnTo>
                    <a:pt x="7" y="14"/>
                  </a:lnTo>
                  <a:lnTo>
                    <a:pt x="7" y="15"/>
                  </a:lnTo>
                  <a:lnTo>
                    <a:pt x="8" y="17"/>
                  </a:lnTo>
                  <a:lnTo>
                    <a:pt x="8" y="18"/>
                  </a:lnTo>
                  <a:lnTo>
                    <a:pt x="8" y="20"/>
                  </a:lnTo>
                  <a:lnTo>
                    <a:pt x="9" y="25"/>
                  </a:lnTo>
                  <a:lnTo>
                    <a:pt x="11" y="29"/>
                  </a:lnTo>
                  <a:lnTo>
                    <a:pt x="8" y="35"/>
                  </a:lnTo>
                  <a:lnTo>
                    <a:pt x="7" y="36"/>
                  </a:lnTo>
                  <a:lnTo>
                    <a:pt x="6" y="3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1" name="Freeform 43"/>
            <p:cNvSpPr>
              <a:spLocks/>
            </p:cNvSpPr>
            <p:nvPr userDrawn="1"/>
          </p:nvSpPr>
          <p:spPr bwMode="auto">
            <a:xfrm>
              <a:off x="6640513" y="6459538"/>
              <a:ext cx="3175" cy="6350"/>
            </a:xfrm>
            <a:custGeom>
              <a:avLst/>
              <a:gdLst/>
              <a:ahLst/>
              <a:cxnLst>
                <a:cxn ang="0">
                  <a:pos x="10" y="4"/>
                </a:cxn>
                <a:cxn ang="0">
                  <a:pos x="10" y="5"/>
                </a:cxn>
                <a:cxn ang="0">
                  <a:pos x="10" y="6"/>
                </a:cxn>
                <a:cxn ang="0">
                  <a:pos x="10" y="7"/>
                </a:cxn>
                <a:cxn ang="0">
                  <a:pos x="7" y="12"/>
                </a:cxn>
                <a:cxn ang="0">
                  <a:pos x="0" y="21"/>
                </a:cxn>
                <a:cxn ang="0">
                  <a:pos x="0" y="17"/>
                </a:cxn>
                <a:cxn ang="0">
                  <a:pos x="0" y="10"/>
                </a:cxn>
                <a:cxn ang="0">
                  <a:pos x="0" y="7"/>
                </a:cxn>
                <a:cxn ang="0">
                  <a:pos x="0" y="9"/>
                </a:cxn>
                <a:cxn ang="0">
                  <a:pos x="0" y="7"/>
                </a:cxn>
                <a:cxn ang="0">
                  <a:pos x="0" y="6"/>
                </a:cxn>
                <a:cxn ang="0">
                  <a:pos x="0" y="5"/>
                </a:cxn>
                <a:cxn ang="0">
                  <a:pos x="0" y="4"/>
                </a:cxn>
                <a:cxn ang="0">
                  <a:pos x="1" y="4"/>
                </a:cxn>
                <a:cxn ang="0">
                  <a:pos x="0" y="5"/>
                </a:cxn>
                <a:cxn ang="0">
                  <a:pos x="1" y="5"/>
                </a:cxn>
                <a:cxn ang="0">
                  <a:pos x="1" y="6"/>
                </a:cxn>
                <a:cxn ang="0">
                  <a:pos x="3" y="6"/>
                </a:cxn>
                <a:cxn ang="0">
                  <a:pos x="3" y="5"/>
                </a:cxn>
                <a:cxn ang="0">
                  <a:pos x="3" y="4"/>
                </a:cxn>
                <a:cxn ang="0">
                  <a:pos x="3" y="3"/>
                </a:cxn>
                <a:cxn ang="0">
                  <a:pos x="1" y="3"/>
                </a:cxn>
                <a:cxn ang="0">
                  <a:pos x="1" y="1"/>
                </a:cxn>
                <a:cxn ang="0">
                  <a:pos x="1" y="3"/>
                </a:cxn>
                <a:cxn ang="0">
                  <a:pos x="0" y="3"/>
                </a:cxn>
                <a:cxn ang="0">
                  <a:pos x="0" y="1"/>
                </a:cxn>
                <a:cxn ang="0">
                  <a:pos x="0" y="0"/>
                </a:cxn>
                <a:cxn ang="0">
                  <a:pos x="1" y="0"/>
                </a:cxn>
                <a:cxn ang="0">
                  <a:pos x="3" y="0"/>
                </a:cxn>
                <a:cxn ang="0">
                  <a:pos x="3" y="1"/>
                </a:cxn>
                <a:cxn ang="0">
                  <a:pos x="4" y="1"/>
                </a:cxn>
                <a:cxn ang="0">
                  <a:pos x="4" y="3"/>
                </a:cxn>
                <a:cxn ang="0">
                  <a:pos x="5" y="3"/>
                </a:cxn>
                <a:cxn ang="0">
                  <a:pos x="5" y="4"/>
                </a:cxn>
                <a:cxn ang="0">
                  <a:pos x="5" y="3"/>
                </a:cxn>
                <a:cxn ang="0">
                  <a:pos x="6" y="3"/>
                </a:cxn>
                <a:cxn ang="0">
                  <a:pos x="6" y="4"/>
                </a:cxn>
                <a:cxn ang="0">
                  <a:pos x="5" y="5"/>
                </a:cxn>
                <a:cxn ang="0">
                  <a:pos x="6" y="5"/>
                </a:cxn>
                <a:cxn ang="0">
                  <a:pos x="7" y="4"/>
                </a:cxn>
                <a:cxn ang="0">
                  <a:pos x="7" y="3"/>
                </a:cxn>
                <a:cxn ang="0">
                  <a:pos x="7" y="4"/>
                </a:cxn>
                <a:cxn ang="0">
                  <a:pos x="9" y="4"/>
                </a:cxn>
                <a:cxn ang="0">
                  <a:pos x="9" y="5"/>
                </a:cxn>
                <a:cxn ang="0">
                  <a:pos x="9" y="6"/>
                </a:cxn>
                <a:cxn ang="0">
                  <a:pos x="9" y="5"/>
                </a:cxn>
                <a:cxn ang="0">
                  <a:pos x="10" y="5"/>
                </a:cxn>
                <a:cxn ang="0">
                  <a:pos x="10" y="4"/>
                </a:cxn>
              </a:cxnLst>
              <a:rect l="0" t="0" r="r" b="b"/>
              <a:pathLst>
                <a:path w="10" h="21">
                  <a:moveTo>
                    <a:pt x="10" y="4"/>
                  </a:moveTo>
                  <a:lnTo>
                    <a:pt x="10" y="5"/>
                  </a:lnTo>
                  <a:lnTo>
                    <a:pt x="10" y="6"/>
                  </a:lnTo>
                  <a:lnTo>
                    <a:pt x="10" y="7"/>
                  </a:lnTo>
                  <a:lnTo>
                    <a:pt x="7" y="12"/>
                  </a:lnTo>
                  <a:lnTo>
                    <a:pt x="0" y="21"/>
                  </a:lnTo>
                  <a:lnTo>
                    <a:pt x="0" y="17"/>
                  </a:lnTo>
                  <a:lnTo>
                    <a:pt x="0" y="10"/>
                  </a:lnTo>
                  <a:lnTo>
                    <a:pt x="0" y="7"/>
                  </a:lnTo>
                  <a:lnTo>
                    <a:pt x="0" y="9"/>
                  </a:lnTo>
                  <a:lnTo>
                    <a:pt x="0" y="7"/>
                  </a:lnTo>
                  <a:lnTo>
                    <a:pt x="0" y="6"/>
                  </a:lnTo>
                  <a:lnTo>
                    <a:pt x="0" y="5"/>
                  </a:lnTo>
                  <a:lnTo>
                    <a:pt x="0" y="4"/>
                  </a:lnTo>
                  <a:lnTo>
                    <a:pt x="1" y="4"/>
                  </a:lnTo>
                  <a:lnTo>
                    <a:pt x="0" y="5"/>
                  </a:lnTo>
                  <a:lnTo>
                    <a:pt x="1" y="5"/>
                  </a:lnTo>
                  <a:lnTo>
                    <a:pt x="1" y="6"/>
                  </a:lnTo>
                  <a:lnTo>
                    <a:pt x="3" y="6"/>
                  </a:lnTo>
                  <a:lnTo>
                    <a:pt x="3" y="5"/>
                  </a:lnTo>
                  <a:lnTo>
                    <a:pt x="3" y="4"/>
                  </a:lnTo>
                  <a:lnTo>
                    <a:pt x="3" y="3"/>
                  </a:lnTo>
                  <a:lnTo>
                    <a:pt x="1" y="3"/>
                  </a:lnTo>
                  <a:lnTo>
                    <a:pt x="1" y="1"/>
                  </a:lnTo>
                  <a:lnTo>
                    <a:pt x="1" y="3"/>
                  </a:lnTo>
                  <a:lnTo>
                    <a:pt x="0" y="3"/>
                  </a:lnTo>
                  <a:lnTo>
                    <a:pt x="0" y="1"/>
                  </a:lnTo>
                  <a:lnTo>
                    <a:pt x="0" y="0"/>
                  </a:lnTo>
                  <a:lnTo>
                    <a:pt x="1" y="0"/>
                  </a:lnTo>
                  <a:lnTo>
                    <a:pt x="3" y="0"/>
                  </a:lnTo>
                  <a:lnTo>
                    <a:pt x="3" y="1"/>
                  </a:lnTo>
                  <a:lnTo>
                    <a:pt x="4" y="1"/>
                  </a:lnTo>
                  <a:lnTo>
                    <a:pt x="4" y="3"/>
                  </a:lnTo>
                  <a:lnTo>
                    <a:pt x="5" y="3"/>
                  </a:lnTo>
                  <a:lnTo>
                    <a:pt x="5" y="4"/>
                  </a:lnTo>
                  <a:lnTo>
                    <a:pt x="5" y="3"/>
                  </a:lnTo>
                  <a:lnTo>
                    <a:pt x="6" y="3"/>
                  </a:lnTo>
                  <a:lnTo>
                    <a:pt x="6" y="4"/>
                  </a:lnTo>
                  <a:lnTo>
                    <a:pt x="5" y="5"/>
                  </a:lnTo>
                  <a:lnTo>
                    <a:pt x="6" y="5"/>
                  </a:lnTo>
                  <a:lnTo>
                    <a:pt x="7" y="4"/>
                  </a:lnTo>
                  <a:lnTo>
                    <a:pt x="7" y="3"/>
                  </a:lnTo>
                  <a:lnTo>
                    <a:pt x="7" y="4"/>
                  </a:lnTo>
                  <a:lnTo>
                    <a:pt x="9" y="4"/>
                  </a:lnTo>
                  <a:lnTo>
                    <a:pt x="9" y="5"/>
                  </a:lnTo>
                  <a:lnTo>
                    <a:pt x="9" y="6"/>
                  </a:lnTo>
                  <a:lnTo>
                    <a:pt x="9" y="5"/>
                  </a:lnTo>
                  <a:lnTo>
                    <a:pt x="10" y="5"/>
                  </a:lnTo>
                  <a:lnTo>
                    <a:pt x="10" y="4"/>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2" name="Freeform 44"/>
            <p:cNvSpPr>
              <a:spLocks/>
            </p:cNvSpPr>
            <p:nvPr userDrawn="1"/>
          </p:nvSpPr>
          <p:spPr bwMode="auto">
            <a:xfrm>
              <a:off x="6630988" y="6465888"/>
              <a:ext cx="9525" cy="6350"/>
            </a:xfrm>
            <a:custGeom>
              <a:avLst/>
              <a:gdLst/>
              <a:ahLst/>
              <a:cxnLst>
                <a:cxn ang="0">
                  <a:pos x="28" y="22"/>
                </a:cxn>
                <a:cxn ang="0">
                  <a:pos x="24" y="12"/>
                </a:cxn>
                <a:cxn ang="0">
                  <a:pos x="19" y="7"/>
                </a:cxn>
                <a:cxn ang="0">
                  <a:pos x="15" y="4"/>
                </a:cxn>
                <a:cxn ang="0">
                  <a:pos x="12" y="3"/>
                </a:cxn>
                <a:cxn ang="0">
                  <a:pos x="7" y="0"/>
                </a:cxn>
                <a:cxn ang="0">
                  <a:pos x="6" y="0"/>
                </a:cxn>
                <a:cxn ang="0">
                  <a:pos x="3" y="3"/>
                </a:cxn>
                <a:cxn ang="0">
                  <a:pos x="2" y="4"/>
                </a:cxn>
                <a:cxn ang="0">
                  <a:pos x="2" y="5"/>
                </a:cxn>
                <a:cxn ang="0">
                  <a:pos x="3" y="5"/>
                </a:cxn>
                <a:cxn ang="0">
                  <a:pos x="3" y="6"/>
                </a:cxn>
                <a:cxn ang="0">
                  <a:pos x="3" y="7"/>
                </a:cxn>
                <a:cxn ang="0">
                  <a:pos x="2" y="7"/>
                </a:cxn>
                <a:cxn ang="0">
                  <a:pos x="2" y="9"/>
                </a:cxn>
                <a:cxn ang="0">
                  <a:pos x="2" y="7"/>
                </a:cxn>
                <a:cxn ang="0">
                  <a:pos x="1" y="7"/>
                </a:cxn>
                <a:cxn ang="0">
                  <a:pos x="1" y="6"/>
                </a:cxn>
                <a:cxn ang="0">
                  <a:pos x="1" y="7"/>
                </a:cxn>
                <a:cxn ang="0">
                  <a:pos x="1" y="6"/>
                </a:cxn>
                <a:cxn ang="0">
                  <a:pos x="1" y="5"/>
                </a:cxn>
                <a:cxn ang="0">
                  <a:pos x="1" y="6"/>
                </a:cxn>
                <a:cxn ang="0">
                  <a:pos x="0" y="6"/>
                </a:cxn>
                <a:cxn ang="0">
                  <a:pos x="1" y="7"/>
                </a:cxn>
                <a:cxn ang="0">
                  <a:pos x="5" y="10"/>
                </a:cxn>
                <a:cxn ang="0">
                  <a:pos x="9" y="11"/>
                </a:cxn>
                <a:cxn ang="0">
                  <a:pos x="11" y="12"/>
                </a:cxn>
                <a:cxn ang="0">
                  <a:pos x="12" y="11"/>
                </a:cxn>
                <a:cxn ang="0">
                  <a:pos x="13" y="11"/>
                </a:cxn>
                <a:cxn ang="0">
                  <a:pos x="14" y="11"/>
                </a:cxn>
                <a:cxn ang="0">
                  <a:pos x="14" y="10"/>
                </a:cxn>
                <a:cxn ang="0">
                  <a:pos x="15" y="10"/>
                </a:cxn>
                <a:cxn ang="0">
                  <a:pos x="17" y="9"/>
                </a:cxn>
                <a:cxn ang="0">
                  <a:pos x="17" y="10"/>
                </a:cxn>
                <a:cxn ang="0">
                  <a:pos x="18" y="10"/>
                </a:cxn>
                <a:cxn ang="0">
                  <a:pos x="19" y="11"/>
                </a:cxn>
                <a:cxn ang="0">
                  <a:pos x="19" y="12"/>
                </a:cxn>
                <a:cxn ang="0">
                  <a:pos x="20" y="13"/>
                </a:cxn>
                <a:cxn ang="0">
                  <a:pos x="21" y="15"/>
                </a:cxn>
                <a:cxn ang="0">
                  <a:pos x="23" y="17"/>
                </a:cxn>
                <a:cxn ang="0">
                  <a:pos x="28" y="22"/>
                </a:cxn>
              </a:cxnLst>
              <a:rect l="0" t="0" r="r" b="b"/>
              <a:pathLst>
                <a:path w="28" h="22">
                  <a:moveTo>
                    <a:pt x="28" y="22"/>
                  </a:moveTo>
                  <a:lnTo>
                    <a:pt x="24" y="12"/>
                  </a:lnTo>
                  <a:lnTo>
                    <a:pt x="19" y="7"/>
                  </a:lnTo>
                  <a:lnTo>
                    <a:pt x="15" y="4"/>
                  </a:lnTo>
                  <a:lnTo>
                    <a:pt x="12" y="3"/>
                  </a:lnTo>
                  <a:lnTo>
                    <a:pt x="7" y="0"/>
                  </a:lnTo>
                  <a:lnTo>
                    <a:pt x="6" y="0"/>
                  </a:lnTo>
                  <a:lnTo>
                    <a:pt x="3" y="3"/>
                  </a:lnTo>
                  <a:lnTo>
                    <a:pt x="2" y="4"/>
                  </a:lnTo>
                  <a:lnTo>
                    <a:pt x="2" y="5"/>
                  </a:lnTo>
                  <a:lnTo>
                    <a:pt x="3" y="5"/>
                  </a:lnTo>
                  <a:lnTo>
                    <a:pt x="3" y="6"/>
                  </a:lnTo>
                  <a:lnTo>
                    <a:pt x="3" y="7"/>
                  </a:lnTo>
                  <a:lnTo>
                    <a:pt x="2" y="7"/>
                  </a:lnTo>
                  <a:lnTo>
                    <a:pt x="2" y="9"/>
                  </a:lnTo>
                  <a:lnTo>
                    <a:pt x="2" y="7"/>
                  </a:lnTo>
                  <a:lnTo>
                    <a:pt x="1" y="7"/>
                  </a:lnTo>
                  <a:lnTo>
                    <a:pt x="1" y="6"/>
                  </a:lnTo>
                  <a:lnTo>
                    <a:pt x="1" y="7"/>
                  </a:lnTo>
                  <a:lnTo>
                    <a:pt x="1" y="6"/>
                  </a:lnTo>
                  <a:lnTo>
                    <a:pt x="1" y="5"/>
                  </a:lnTo>
                  <a:lnTo>
                    <a:pt x="1" y="6"/>
                  </a:lnTo>
                  <a:lnTo>
                    <a:pt x="0" y="6"/>
                  </a:lnTo>
                  <a:lnTo>
                    <a:pt x="1" y="7"/>
                  </a:lnTo>
                  <a:lnTo>
                    <a:pt x="5" y="10"/>
                  </a:lnTo>
                  <a:lnTo>
                    <a:pt x="9" y="11"/>
                  </a:lnTo>
                  <a:lnTo>
                    <a:pt x="11" y="12"/>
                  </a:lnTo>
                  <a:lnTo>
                    <a:pt x="12" y="11"/>
                  </a:lnTo>
                  <a:lnTo>
                    <a:pt x="13" y="11"/>
                  </a:lnTo>
                  <a:lnTo>
                    <a:pt x="14" y="11"/>
                  </a:lnTo>
                  <a:lnTo>
                    <a:pt x="14" y="10"/>
                  </a:lnTo>
                  <a:lnTo>
                    <a:pt x="15" y="10"/>
                  </a:lnTo>
                  <a:lnTo>
                    <a:pt x="17" y="9"/>
                  </a:lnTo>
                  <a:lnTo>
                    <a:pt x="17" y="10"/>
                  </a:lnTo>
                  <a:lnTo>
                    <a:pt x="18" y="10"/>
                  </a:lnTo>
                  <a:lnTo>
                    <a:pt x="19" y="11"/>
                  </a:lnTo>
                  <a:lnTo>
                    <a:pt x="19" y="12"/>
                  </a:lnTo>
                  <a:lnTo>
                    <a:pt x="20" y="13"/>
                  </a:lnTo>
                  <a:lnTo>
                    <a:pt x="21" y="15"/>
                  </a:lnTo>
                  <a:lnTo>
                    <a:pt x="23" y="17"/>
                  </a:lnTo>
                  <a:lnTo>
                    <a:pt x="28" y="2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3" name="Freeform 45"/>
            <p:cNvSpPr>
              <a:spLocks/>
            </p:cNvSpPr>
            <p:nvPr userDrawn="1"/>
          </p:nvSpPr>
          <p:spPr bwMode="auto">
            <a:xfrm>
              <a:off x="6637338" y="6461126"/>
              <a:ext cx="3175" cy="4763"/>
            </a:xfrm>
            <a:custGeom>
              <a:avLst/>
              <a:gdLst/>
              <a:ahLst/>
              <a:cxnLst>
                <a:cxn ang="0">
                  <a:pos x="9" y="13"/>
                </a:cxn>
                <a:cxn ang="0">
                  <a:pos x="7" y="1"/>
                </a:cxn>
                <a:cxn ang="0">
                  <a:pos x="7" y="2"/>
                </a:cxn>
                <a:cxn ang="0">
                  <a:pos x="6" y="1"/>
                </a:cxn>
                <a:cxn ang="0">
                  <a:pos x="6" y="2"/>
                </a:cxn>
                <a:cxn ang="0">
                  <a:pos x="5" y="1"/>
                </a:cxn>
                <a:cxn ang="0">
                  <a:pos x="6" y="0"/>
                </a:cxn>
                <a:cxn ang="0">
                  <a:pos x="5" y="0"/>
                </a:cxn>
                <a:cxn ang="0">
                  <a:pos x="4" y="0"/>
                </a:cxn>
                <a:cxn ang="0">
                  <a:pos x="4" y="1"/>
                </a:cxn>
                <a:cxn ang="0">
                  <a:pos x="4" y="0"/>
                </a:cxn>
                <a:cxn ang="0">
                  <a:pos x="4" y="1"/>
                </a:cxn>
                <a:cxn ang="0">
                  <a:pos x="4" y="2"/>
                </a:cxn>
                <a:cxn ang="0">
                  <a:pos x="5" y="2"/>
                </a:cxn>
                <a:cxn ang="0">
                  <a:pos x="5" y="4"/>
                </a:cxn>
                <a:cxn ang="0">
                  <a:pos x="4" y="4"/>
                </a:cxn>
                <a:cxn ang="0">
                  <a:pos x="2" y="2"/>
                </a:cxn>
                <a:cxn ang="0">
                  <a:pos x="1" y="2"/>
                </a:cxn>
                <a:cxn ang="0">
                  <a:pos x="1" y="4"/>
                </a:cxn>
                <a:cxn ang="0">
                  <a:pos x="0" y="5"/>
                </a:cxn>
                <a:cxn ang="0">
                  <a:pos x="0" y="7"/>
                </a:cxn>
                <a:cxn ang="0">
                  <a:pos x="0" y="8"/>
                </a:cxn>
                <a:cxn ang="0">
                  <a:pos x="2" y="11"/>
                </a:cxn>
                <a:cxn ang="0">
                  <a:pos x="6" y="13"/>
                </a:cxn>
                <a:cxn ang="0">
                  <a:pos x="9" y="14"/>
                </a:cxn>
                <a:cxn ang="0">
                  <a:pos x="9" y="13"/>
                </a:cxn>
              </a:cxnLst>
              <a:rect l="0" t="0" r="r" b="b"/>
              <a:pathLst>
                <a:path w="9" h="14">
                  <a:moveTo>
                    <a:pt x="9" y="13"/>
                  </a:moveTo>
                  <a:lnTo>
                    <a:pt x="7" y="1"/>
                  </a:lnTo>
                  <a:lnTo>
                    <a:pt x="7" y="2"/>
                  </a:lnTo>
                  <a:lnTo>
                    <a:pt x="6" y="1"/>
                  </a:lnTo>
                  <a:lnTo>
                    <a:pt x="6" y="2"/>
                  </a:lnTo>
                  <a:lnTo>
                    <a:pt x="5" y="1"/>
                  </a:lnTo>
                  <a:lnTo>
                    <a:pt x="6" y="0"/>
                  </a:lnTo>
                  <a:lnTo>
                    <a:pt x="5" y="0"/>
                  </a:lnTo>
                  <a:lnTo>
                    <a:pt x="4" y="0"/>
                  </a:lnTo>
                  <a:lnTo>
                    <a:pt x="4" y="1"/>
                  </a:lnTo>
                  <a:lnTo>
                    <a:pt x="4" y="0"/>
                  </a:lnTo>
                  <a:lnTo>
                    <a:pt x="4" y="1"/>
                  </a:lnTo>
                  <a:lnTo>
                    <a:pt x="4" y="2"/>
                  </a:lnTo>
                  <a:lnTo>
                    <a:pt x="5" y="2"/>
                  </a:lnTo>
                  <a:lnTo>
                    <a:pt x="5" y="4"/>
                  </a:lnTo>
                  <a:lnTo>
                    <a:pt x="4" y="4"/>
                  </a:lnTo>
                  <a:lnTo>
                    <a:pt x="2" y="2"/>
                  </a:lnTo>
                  <a:lnTo>
                    <a:pt x="1" y="2"/>
                  </a:lnTo>
                  <a:lnTo>
                    <a:pt x="1" y="4"/>
                  </a:lnTo>
                  <a:lnTo>
                    <a:pt x="0" y="5"/>
                  </a:lnTo>
                  <a:lnTo>
                    <a:pt x="0" y="7"/>
                  </a:lnTo>
                  <a:lnTo>
                    <a:pt x="0" y="8"/>
                  </a:lnTo>
                  <a:lnTo>
                    <a:pt x="2" y="11"/>
                  </a:lnTo>
                  <a:lnTo>
                    <a:pt x="6" y="13"/>
                  </a:lnTo>
                  <a:lnTo>
                    <a:pt x="9" y="14"/>
                  </a:lnTo>
                  <a:lnTo>
                    <a:pt x="9"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4" name="Freeform 46"/>
            <p:cNvSpPr>
              <a:spLocks/>
            </p:cNvSpPr>
            <p:nvPr userDrawn="1"/>
          </p:nvSpPr>
          <p:spPr bwMode="auto">
            <a:xfrm>
              <a:off x="5686425" y="6329363"/>
              <a:ext cx="725488" cy="142875"/>
            </a:xfrm>
            <a:custGeom>
              <a:avLst/>
              <a:gdLst/>
              <a:ahLst/>
              <a:cxnLst>
                <a:cxn ang="0">
                  <a:pos x="1670" y="102"/>
                </a:cxn>
                <a:cxn ang="0">
                  <a:pos x="1589" y="169"/>
                </a:cxn>
                <a:cxn ang="0">
                  <a:pos x="1537" y="125"/>
                </a:cxn>
                <a:cxn ang="0">
                  <a:pos x="1532" y="106"/>
                </a:cxn>
                <a:cxn ang="0">
                  <a:pos x="1512" y="72"/>
                </a:cxn>
                <a:cxn ang="0">
                  <a:pos x="1475" y="45"/>
                </a:cxn>
                <a:cxn ang="0">
                  <a:pos x="1428" y="31"/>
                </a:cxn>
                <a:cxn ang="0">
                  <a:pos x="1377" y="31"/>
                </a:cxn>
                <a:cxn ang="0">
                  <a:pos x="1330" y="45"/>
                </a:cxn>
                <a:cxn ang="0">
                  <a:pos x="1294" y="72"/>
                </a:cxn>
                <a:cxn ang="0">
                  <a:pos x="1282" y="88"/>
                </a:cxn>
                <a:cxn ang="0">
                  <a:pos x="1270" y="125"/>
                </a:cxn>
                <a:cxn ang="0">
                  <a:pos x="918" y="179"/>
                </a:cxn>
                <a:cxn ang="0">
                  <a:pos x="911" y="179"/>
                </a:cxn>
                <a:cxn ang="0">
                  <a:pos x="890" y="73"/>
                </a:cxn>
                <a:cxn ang="0">
                  <a:pos x="666" y="1"/>
                </a:cxn>
                <a:cxn ang="0">
                  <a:pos x="615" y="73"/>
                </a:cxn>
                <a:cxn ang="0">
                  <a:pos x="599" y="179"/>
                </a:cxn>
                <a:cxn ang="0">
                  <a:pos x="578" y="126"/>
                </a:cxn>
                <a:cxn ang="0">
                  <a:pos x="527" y="179"/>
                </a:cxn>
                <a:cxn ang="0">
                  <a:pos x="506" y="239"/>
                </a:cxn>
                <a:cxn ang="0">
                  <a:pos x="475" y="201"/>
                </a:cxn>
                <a:cxn ang="0">
                  <a:pos x="330" y="239"/>
                </a:cxn>
                <a:cxn ang="0">
                  <a:pos x="289" y="38"/>
                </a:cxn>
                <a:cxn ang="0">
                  <a:pos x="238" y="0"/>
                </a:cxn>
                <a:cxn ang="0">
                  <a:pos x="125" y="38"/>
                </a:cxn>
                <a:cxn ang="0">
                  <a:pos x="93" y="244"/>
                </a:cxn>
                <a:cxn ang="0">
                  <a:pos x="73" y="179"/>
                </a:cxn>
                <a:cxn ang="0">
                  <a:pos x="22" y="244"/>
                </a:cxn>
                <a:cxn ang="0">
                  <a:pos x="0" y="445"/>
                </a:cxn>
                <a:cxn ang="0">
                  <a:pos x="1143" y="448"/>
                </a:cxn>
                <a:cxn ang="0">
                  <a:pos x="2286" y="453"/>
                </a:cxn>
                <a:cxn ang="0">
                  <a:pos x="2145" y="140"/>
                </a:cxn>
                <a:cxn ang="0">
                  <a:pos x="2114" y="35"/>
                </a:cxn>
                <a:cxn ang="0">
                  <a:pos x="1897" y="102"/>
                </a:cxn>
                <a:cxn ang="0">
                  <a:pos x="1702" y="102"/>
                </a:cxn>
              </a:cxnLst>
              <a:rect l="0" t="0" r="r" b="b"/>
              <a:pathLst>
                <a:path w="2286" h="453">
                  <a:moveTo>
                    <a:pt x="1702" y="102"/>
                  </a:moveTo>
                  <a:lnTo>
                    <a:pt x="1670" y="102"/>
                  </a:lnTo>
                  <a:lnTo>
                    <a:pt x="1670" y="169"/>
                  </a:lnTo>
                  <a:lnTo>
                    <a:pt x="1589" y="169"/>
                  </a:lnTo>
                  <a:lnTo>
                    <a:pt x="1589" y="125"/>
                  </a:lnTo>
                  <a:lnTo>
                    <a:pt x="1537" y="125"/>
                  </a:lnTo>
                  <a:lnTo>
                    <a:pt x="1536" y="115"/>
                  </a:lnTo>
                  <a:lnTo>
                    <a:pt x="1532" y="106"/>
                  </a:lnTo>
                  <a:lnTo>
                    <a:pt x="1524" y="88"/>
                  </a:lnTo>
                  <a:lnTo>
                    <a:pt x="1512" y="72"/>
                  </a:lnTo>
                  <a:lnTo>
                    <a:pt x="1495" y="58"/>
                  </a:lnTo>
                  <a:lnTo>
                    <a:pt x="1475" y="45"/>
                  </a:lnTo>
                  <a:lnTo>
                    <a:pt x="1454" y="37"/>
                  </a:lnTo>
                  <a:lnTo>
                    <a:pt x="1428" y="31"/>
                  </a:lnTo>
                  <a:lnTo>
                    <a:pt x="1403" y="30"/>
                  </a:lnTo>
                  <a:lnTo>
                    <a:pt x="1377" y="31"/>
                  </a:lnTo>
                  <a:lnTo>
                    <a:pt x="1351" y="37"/>
                  </a:lnTo>
                  <a:lnTo>
                    <a:pt x="1330" y="45"/>
                  </a:lnTo>
                  <a:lnTo>
                    <a:pt x="1310" y="58"/>
                  </a:lnTo>
                  <a:lnTo>
                    <a:pt x="1294" y="72"/>
                  </a:lnTo>
                  <a:lnTo>
                    <a:pt x="1288" y="79"/>
                  </a:lnTo>
                  <a:lnTo>
                    <a:pt x="1282" y="88"/>
                  </a:lnTo>
                  <a:lnTo>
                    <a:pt x="1273" y="106"/>
                  </a:lnTo>
                  <a:lnTo>
                    <a:pt x="1270" y="125"/>
                  </a:lnTo>
                  <a:lnTo>
                    <a:pt x="1270" y="169"/>
                  </a:lnTo>
                  <a:lnTo>
                    <a:pt x="918" y="179"/>
                  </a:lnTo>
                  <a:lnTo>
                    <a:pt x="1044" y="179"/>
                  </a:lnTo>
                  <a:lnTo>
                    <a:pt x="911" y="179"/>
                  </a:lnTo>
                  <a:lnTo>
                    <a:pt x="890" y="179"/>
                  </a:lnTo>
                  <a:lnTo>
                    <a:pt x="890" y="73"/>
                  </a:lnTo>
                  <a:lnTo>
                    <a:pt x="666" y="73"/>
                  </a:lnTo>
                  <a:lnTo>
                    <a:pt x="666" y="1"/>
                  </a:lnTo>
                  <a:lnTo>
                    <a:pt x="615" y="1"/>
                  </a:lnTo>
                  <a:lnTo>
                    <a:pt x="615" y="73"/>
                  </a:lnTo>
                  <a:lnTo>
                    <a:pt x="599" y="73"/>
                  </a:lnTo>
                  <a:lnTo>
                    <a:pt x="599" y="179"/>
                  </a:lnTo>
                  <a:lnTo>
                    <a:pt x="578" y="179"/>
                  </a:lnTo>
                  <a:lnTo>
                    <a:pt x="578" y="126"/>
                  </a:lnTo>
                  <a:lnTo>
                    <a:pt x="527" y="126"/>
                  </a:lnTo>
                  <a:lnTo>
                    <a:pt x="527" y="179"/>
                  </a:lnTo>
                  <a:lnTo>
                    <a:pt x="506" y="179"/>
                  </a:lnTo>
                  <a:lnTo>
                    <a:pt x="506" y="239"/>
                  </a:lnTo>
                  <a:lnTo>
                    <a:pt x="475" y="239"/>
                  </a:lnTo>
                  <a:lnTo>
                    <a:pt x="475" y="201"/>
                  </a:lnTo>
                  <a:lnTo>
                    <a:pt x="330" y="201"/>
                  </a:lnTo>
                  <a:lnTo>
                    <a:pt x="330" y="239"/>
                  </a:lnTo>
                  <a:lnTo>
                    <a:pt x="289" y="239"/>
                  </a:lnTo>
                  <a:lnTo>
                    <a:pt x="289" y="38"/>
                  </a:lnTo>
                  <a:lnTo>
                    <a:pt x="238" y="38"/>
                  </a:lnTo>
                  <a:lnTo>
                    <a:pt x="238" y="0"/>
                  </a:lnTo>
                  <a:lnTo>
                    <a:pt x="125" y="0"/>
                  </a:lnTo>
                  <a:lnTo>
                    <a:pt x="125" y="38"/>
                  </a:lnTo>
                  <a:lnTo>
                    <a:pt x="93" y="38"/>
                  </a:lnTo>
                  <a:lnTo>
                    <a:pt x="93" y="244"/>
                  </a:lnTo>
                  <a:lnTo>
                    <a:pt x="73" y="244"/>
                  </a:lnTo>
                  <a:lnTo>
                    <a:pt x="73" y="179"/>
                  </a:lnTo>
                  <a:lnTo>
                    <a:pt x="22" y="179"/>
                  </a:lnTo>
                  <a:lnTo>
                    <a:pt x="22" y="244"/>
                  </a:lnTo>
                  <a:lnTo>
                    <a:pt x="0" y="244"/>
                  </a:lnTo>
                  <a:lnTo>
                    <a:pt x="0" y="445"/>
                  </a:lnTo>
                  <a:lnTo>
                    <a:pt x="571" y="446"/>
                  </a:lnTo>
                  <a:lnTo>
                    <a:pt x="1143" y="448"/>
                  </a:lnTo>
                  <a:lnTo>
                    <a:pt x="1714" y="451"/>
                  </a:lnTo>
                  <a:lnTo>
                    <a:pt x="2286" y="453"/>
                  </a:lnTo>
                  <a:lnTo>
                    <a:pt x="2207" y="133"/>
                  </a:lnTo>
                  <a:lnTo>
                    <a:pt x="2145" y="140"/>
                  </a:lnTo>
                  <a:lnTo>
                    <a:pt x="2114" y="140"/>
                  </a:lnTo>
                  <a:lnTo>
                    <a:pt x="2114" y="35"/>
                  </a:lnTo>
                  <a:lnTo>
                    <a:pt x="2062" y="35"/>
                  </a:lnTo>
                  <a:lnTo>
                    <a:pt x="1897" y="102"/>
                  </a:lnTo>
                  <a:lnTo>
                    <a:pt x="1856" y="102"/>
                  </a:lnTo>
                  <a:lnTo>
                    <a:pt x="1702" y="10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5" name="Freeform 47"/>
            <p:cNvSpPr>
              <a:spLocks/>
            </p:cNvSpPr>
            <p:nvPr userDrawn="1"/>
          </p:nvSpPr>
          <p:spPr bwMode="auto">
            <a:xfrm>
              <a:off x="4872038" y="6413501"/>
              <a:ext cx="2127250" cy="100013"/>
            </a:xfrm>
            <a:custGeom>
              <a:avLst/>
              <a:gdLst/>
              <a:ahLst/>
              <a:cxnLst>
                <a:cxn ang="0">
                  <a:pos x="6662" y="264"/>
                </a:cxn>
                <a:cxn ang="0">
                  <a:pos x="6498" y="190"/>
                </a:cxn>
                <a:cxn ang="0">
                  <a:pos x="6376" y="141"/>
                </a:cxn>
                <a:cxn ang="0">
                  <a:pos x="6295" y="120"/>
                </a:cxn>
                <a:cxn ang="0">
                  <a:pos x="6156" y="118"/>
                </a:cxn>
                <a:cxn ang="0">
                  <a:pos x="5476" y="97"/>
                </a:cxn>
                <a:cxn ang="0">
                  <a:pos x="5059" y="74"/>
                </a:cxn>
                <a:cxn ang="0">
                  <a:pos x="4796" y="54"/>
                </a:cxn>
                <a:cxn ang="0">
                  <a:pos x="4566" y="29"/>
                </a:cxn>
                <a:cxn ang="0">
                  <a:pos x="4401" y="5"/>
                </a:cxn>
                <a:cxn ang="0">
                  <a:pos x="4283" y="0"/>
                </a:cxn>
                <a:cxn ang="0">
                  <a:pos x="4178" y="11"/>
                </a:cxn>
                <a:cxn ang="0">
                  <a:pos x="4086" y="32"/>
                </a:cxn>
                <a:cxn ang="0">
                  <a:pos x="3961" y="79"/>
                </a:cxn>
                <a:cxn ang="0">
                  <a:pos x="3797" y="150"/>
                </a:cxn>
                <a:cxn ang="0">
                  <a:pos x="3559" y="184"/>
                </a:cxn>
                <a:cxn ang="0">
                  <a:pos x="3451" y="179"/>
                </a:cxn>
                <a:cxn ang="0">
                  <a:pos x="3369" y="168"/>
                </a:cxn>
                <a:cxn ang="0">
                  <a:pos x="3245" y="139"/>
                </a:cxn>
                <a:cxn ang="0">
                  <a:pos x="3098" y="115"/>
                </a:cxn>
                <a:cxn ang="0">
                  <a:pos x="2988" y="112"/>
                </a:cxn>
                <a:cxn ang="0">
                  <a:pos x="2855" y="108"/>
                </a:cxn>
                <a:cxn ang="0">
                  <a:pos x="2657" y="88"/>
                </a:cxn>
                <a:cxn ang="0">
                  <a:pos x="2498" y="60"/>
                </a:cxn>
                <a:cxn ang="0">
                  <a:pos x="2318" y="40"/>
                </a:cxn>
                <a:cxn ang="0">
                  <a:pos x="2200" y="36"/>
                </a:cxn>
                <a:cxn ang="0">
                  <a:pos x="2070" y="42"/>
                </a:cxn>
                <a:cxn ang="0">
                  <a:pos x="1942" y="58"/>
                </a:cxn>
                <a:cxn ang="0">
                  <a:pos x="1819" y="80"/>
                </a:cxn>
                <a:cxn ang="0">
                  <a:pos x="1592" y="132"/>
                </a:cxn>
                <a:cxn ang="0">
                  <a:pos x="1405" y="169"/>
                </a:cxn>
                <a:cxn ang="0">
                  <a:pos x="1330" y="175"/>
                </a:cxn>
                <a:cxn ang="0">
                  <a:pos x="1269" y="179"/>
                </a:cxn>
                <a:cxn ang="0">
                  <a:pos x="1217" y="189"/>
                </a:cxn>
                <a:cxn ang="0">
                  <a:pos x="1121" y="216"/>
                </a:cxn>
                <a:cxn ang="0">
                  <a:pos x="1002" y="244"/>
                </a:cxn>
                <a:cxn ang="0">
                  <a:pos x="874" y="256"/>
                </a:cxn>
                <a:cxn ang="0">
                  <a:pos x="766" y="255"/>
                </a:cxn>
                <a:cxn ang="0">
                  <a:pos x="669" y="246"/>
                </a:cxn>
                <a:cxn ang="0">
                  <a:pos x="581" y="231"/>
                </a:cxn>
                <a:cxn ang="0">
                  <a:pos x="459" y="201"/>
                </a:cxn>
                <a:cxn ang="0">
                  <a:pos x="326" y="169"/>
                </a:cxn>
                <a:cxn ang="0">
                  <a:pos x="169" y="149"/>
                </a:cxn>
                <a:cxn ang="0">
                  <a:pos x="38" y="144"/>
                </a:cxn>
                <a:cxn ang="0">
                  <a:pos x="0" y="144"/>
                </a:cxn>
                <a:cxn ang="0">
                  <a:pos x="44" y="148"/>
                </a:cxn>
                <a:cxn ang="0">
                  <a:pos x="692" y="169"/>
                </a:cxn>
                <a:cxn ang="0">
                  <a:pos x="1700" y="198"/>
                </a:cxn>
                <a:cxn ang="0">
                  <a:pos x="2709" y="227"/>
                </a:cxn>
                <a:cxn ang="0">
                  <a:pos x="4267" y="269"/>
                </a:cxn>
                <a:cxn ang="0">
                  <a:pos x="5825" y="311"/>
                </a:cxn>
                <a:cxn ang="0">
                  <a:pos x="6700" y="278"/>
                </a:cxn>
              </a:cxnLst>
              <a:rect l="0" t="0" r="r" b="b"/>
              <a:pathLst>
                <a:path w="6700" h="311">
                  <a:moveTo>
                    <a:pt x="6700" y="278"/>
                  </a:moveTo>
                  <a:lnTo>
                    <a:pt x="6662" y="264"/>
                  </a:lnTo>
                  <a:lnTo>
                    <a:pt x="6614" y="243"/>
                  </a:lnTo>
                  <a:lnTo>
                    <a:pt x="6498" y="190"/>
                  </a:lnTo>
                  <a:lnTo>
                    <a:pt x="6437" y="163"/>
                  </a:lnTo>
                  <a:lnTo>
                    <a:pt x="6376" y="141"/>
                  </a:lnTo>
                  <a:lnTo>
                    <a:pt x="6320" y="125"/>
                  </a:lnTo>
                  <a:lnTo>
                    <a:pt x="6295" y="120"/>
                  </a:lnTo>
                  <a:lnTo>
                    <a:pt x="6270" y="119"/>
                  </a:lnTo>
                  <a:lnTo>
                    <a:pt x="6156" y="118"/>
                  </a:lnTo>
                  <a:lnTo>
                    <a:pt x="5973" y="114"/>
                  </a:lnTo>
                  <a:lnTo>
                    <a:pt x="5476" y="97"/>
                  </a:lnTo>
                  <a:lnTo>
                    <a:pt x="5198" y="83"/>
                  </a:lnTo>
                  <a:lnTo>
                    <a:pt x="5059" y="74"/>
                  </a:lnTo>
                  <a:lnTo>
                    <a:pt x="4924" y="65"/>
                  </a:lnTo>
                  <a:lnTo>
                    <a:pt x="4796" y="54"/>
                  </a:lnTo>
                  <a:lnTo>
                    <a:pt x="4675" y="42"/>
                  </a:lnTo>
                  <a:lnTo>
                    <a:pt x="4566" y="29"/>
                  </a:lnTo>
                  <a:lnTo>
                    <a:pt x="4468" y="14"/>
                  </a:lnTo>
                  <a:lnTo>
                    <a:pt x="4401" y="5"/>
                  </a:lnTo>
                  <a:lnTo>
                    <a:pt x="4339" y="0"/>
                  </a:lnTo>
                  <a:lnTo>
                    <a:pt x="4283" y="0"/>
                  </a:lnTo>
                  <a:lnTo>
                    <a:pt x="4228" y="4"/>
                  </a:lnTo>
                  <a:lnTo>
                    <a:pt x="4178" y="11"/>
                  </a:lnTo>
                  <a:lnTo>
                    <a:pt x="4131" y="20"/>
                  </a:lnTo>
                  <a:lnTo>
                    <a:pt x="4086" y="32"/>
                  </a:lnTo>
                  <a:lnTo>
                    <a:pt x="4043" y="46"/>
                  </a:lnTo>
                  <a:lnTo>
                    <a:pt x="3961" y="79"/>
                  </a:lnTo>
                  <a:lnTo>
                    <a:pt x="3880" y="114"/>
                  </a:lnTo>
                  <a:lnTo>
                    <a:pt x="3797" y="150"/>
                  </a:lnTo>
                  <a:lnTo>
                    <a:pt x="3707" y="181"/>
                  </a:lnTo>
                  <a:lnTo>
                    <a:pt x="3559" y="184"/>
                  </a:lnTo>
                  <a:lnTo>
                    <a:pt x="3501" y="183"/>
                  </a:lnTo>
                  <a:lnTo>
                    <a:pt x="3451" y="179"/>
                  </a:lnTo>
                  <a:lnTo>
                    <a:pt x="3407" y="174"/>
                  </a:lnTo>
                  <a:lnTo>
                    <a:pt x="3369" y="168"/>
                  </a:lnTo>
                  <a:lnTo>
                    <a:pt x="3304" y="154"/>
                  </a:lnTo>
                  <a:lnTo>
                    <a:pt x="3245" y="139"/>
                  </a:lnTo>
                  <a:lnTo>
                    <a:pt x="3180" y="125"/>
                  </a:lnTo>
                  <a:lnTo>
                    <a:pt x="3098" y="115"/>
                  </a:lnTo>
                  <a:lnTo>
                    <a:pt x="3047" y="112"/>
                  </a:lnTo>
                  <a:lnTo>
                    <a:pt x="2988" y="112"/>
                  </a:lnTo>
                  <a:lnTo>
                    <a:pt x="2918" y="111"/>
                  </a:lnTo>
                  <a:lnTo>
                    <a:pt x="2855" y="108"/>
                  </a:lnTo>
                  <a:lnTo>
                    <a:pt x="2748" y="100"/>
                  </a:lnTo>
                  <a:lnTo>
                    <a:pt x="2657" y="88"/>
                  </a:lnTo>
                  <a:lnTo>
                    <a:pt x="2577" y="73"/>
                  </a:lnTo>
                  <a:lnTo>
                    <a:pt x="2498" y="60"/>
                  </a:lnTo>
                  <a:lnTo>
                    <a:pt x="2414" y="48"/>
                  </a:lnTo>
                  <a:lnTo>
                    <a:pt x="2318" y="40"/>
                  </a:lnTo>
                  <a:lnTo>
                    <a:pt x="2262" y="37"/>
                  </a:lnTo>
                  <a:lnTo>
                    <a:pt x="2200" y="36"/>
                  </a:lnTo>
                  <a:lnTo>
                    <a:pt x="2135" y="37"/>
                  </a:lnTo>
                  <a:lnTo>
                    <a:pt x="2070" y="42"/>
                  </a:lnTo>
                  <a:lnTo>
                    <a:pt x="2006" y="49"/>
                  </a:lnTo>
                  <a:lnTo>
                    <a:pt x="1942" y="58"/>
                  </a:lnTo>
                  <a:lnTo>
                    <a:pt x="1879" y="68"/>
                  </a:lnTo>
                  <a:lnTo>
                    <a:pt x="1819" y="80"/>
                  </a:lnTo>
                  <a:lnTo>
                    <a:pt x="1701" y="106"/>
                  </a:lnTo>
                  <a:lnTo>
                    <a:pt x="1592" y="132"/>
                  </a:lnTo>
                  <a:lnTo>
                    <a:pt x="1493" y="154"/>
                  </a:lnTo>
                  <a:lnTo>
                    <a:pt x="1405" y="169"/>
                  </a:lnTo>
                  <a:lnTo>
                    <a:pt x="1365" y="174"/>
                  </a:lnTo>
                  <a:lnTo>
                    <a:pt x="1330" y="175"/>
                  </a:lnTo>
                  <a:lnTo>
                    <a:pt x="1298" y="177"/>
                  </a:lnTo>
                  <a:lnTo>
                    <a:pt x="1269" y="179"/>
                  </a:lnTo>
                  <a:lnTo>
                    <a:pt x="1242" y="184"/>
                  </a:lnTo>
                  <a:lnTo>
                    <a:pt x="1217" y="189"/>
                  </a:lnTo>
                  <a:lnTo>
                    <a:pt x="1169" y="202"/>
                  </a:lnTo>
                  <a:lnTo>
                    <a:pt x="1121" y="216"/>
                  </a:lnTo>
                  <a:lnTo>
                    <a:pt x="1067" y="231"/>
                  </a:lnTo>
                  <a:lnTo>
                    <a:pt x="1002" y="244"/>
                  </a:lnTo>
                  <a:lnTo>
                    <a:pt x="921" y="254"/>
                  </a:lnTo>
                  <a:lnTo>
                    <a:pt x="874" y="256"/>
                  </a:lnTo>
                  <a:lnTo>
                    <a:pt x="820" y="257"/>
                  </a:lnTo>
                  <a:lnTo>
                    <a:pt x="766" y="255"/>
                  </a:lnTo>
                  <a:lnTo>
                    <a:pt x="716" y="251"/>
                  </a:lnTo>
                  <a:lnTo>
                    <a:pt x="669" y="246"/>
                  </a:lnTo>
                  <a:lnTo>
                    <a:pt x="625" y="239"/>
                  </a:lnTo>
                  <a:lnTo>
                    <a:pt x="581" y="231"/>
                  </a:lnTo>
                  <a:lnTo>
                    <a:pt x="541" y="221"/>
                  </a:lnTo>
                  <a:lnTo>
                    <a:pt x="459" y="201"/>
                  </a:lnTo>
                  <a:lnTo>
                    <a:pt x="373" y="179"/>
                  </a:lnTo>
                  <a:lnTo>
                    <a:pt x="326" y="169"/>
                  </a:lnTo>
                  <a:lnTo>
                    <a:pt x="278" y="161"/>
                  </a:lnTo>
                  <a:lnTo>
                    <a:pt x="169" y="149"/>
                  </a:lnTo>
                  <a:lnTo>
                    <a:pt x="107" y="145"/>
                  </a:lnTo>
                  <a:lnTo>
                    <a:pt x="38" y="144"/>
                  </a:lnTo>
                  <a:lnTo>
                    <a:pt x="4" y="144"/>
                  </a:lnTo>
                  <a:lnTo>
                    <a:pt x="0" y="144"/>
                  </a:lnTo>
                  <a:lnTo>
                    <a:pt x="6" y="145"/>
                  </a:lnTo>
                  <a:lnTo>
                    <a:pt x="44" y="148"/>
                  </a:lnTo>
                  <a:lnTo>
                    <a:pt x="117" y="151"/>
                  </a:lnTo>
                  <a:lnTo>
                    <a:pt x="692" y="169"/>
                  </a:lnTo>
                  <a:lnTo>
                    <a:pt x="1196" y="184"/>
                  </a:lnTo>
                  <a:lnTo>
                    <a:pt x="1700" y="198"/>
                  </a:lnTo>
                  <a:lnTo>
                    <a:pt x="2204" y="213"/>
                  </a:lnTo>
                  <a:lnTo>
                    <a:pt x="2709" y="227"/>
                  </a:lnTo>
                  <a:lnTo>
                    <a:pt x="3488" y="248"/>
                  </a:lnTo>
                  <a:lnTo>
                    <a:pt x="4267" y="269"/>
                  </a:lnTo>
                  <a:lnTo>
                    <a:pt x="5046" y="290"/>
                  </a:lnTo>
                  <a:lnTo>
                    <a:pt x="5825" y="311"/>
                  </a:lnTo>
                  <a:lnTo>
                    <a:pt x="5825" y="268"/>
                  </a:lnTo>
                  <a:lnTo>
                    <a:pt x="6700" y="27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6" name="Freeform 48"/>
            <p:cNvSpPr>
              <a:spLocks/>
            </p:cNvSpPr>
            <p:nvPr userDrawn="1"/>
          </p:nvSpPr>
          <p:spPr bwMode="auto">
            <a:xfrm>
              <a:off x="3695700" y="6399213"/>
              <a:ext cx="3414713" cy="228600"/>
            </a:xfrm>
            <a:custGeom>
              <a:avLst/>
              <a:gdLst/>
              <a:ahLst/>
              <a:cxnLst>
                <a:cxn ang="0">
                  <a:pos x="9385" y="213"/>
                </a:cxn>
                <a:cxn ang="0">
                  <a:pos x="8277" y="216"/>
                </a:cxn>
                <a:cxn ang="0">
                  <a:pos x="7237" y="220"/>
                </a:cxn>
                <a:cxn ang="0">
                  <a:pos x="6887" y="209"/>
                </a:cxn>
                <a:cxn ang="0">
                  <a:pos x="6376" y="163"/>
                </a:cxn>
                <a:cxn ang="0">
                  <a:pos x="6034" y="143"/>
                </a:cxn>
                <a:cxn ang="0">
                  <a:pos x="5876" y="144"/>
                </a:cxn>
                <a:cxn ang="0">
                  <a:pos x="5733" y="157"/>
                </a:cxn>
                <a:cxn ang="0">
                  <a:pos x="5483" y="185"/>
                </a:cxn>
                <a:cxn ang="0">
                  <a:pos x="5261" y="195"/>
                </a:cxn>
                <a:cxn ang="0">
                  <a:pos x="5060" y="193"/>
                </a:cxn>
                <a:cxn ang="0">
                  <a:pos x="4867" y="186"/>
                </a:cxn>
                <a:cxn ang="0">
                  <a:pos x="4735" y="173"/>
                </a:cxn>
                <a:cxn ang="0">
                  <a:pos x="4306" y="110"/>
                </a:cxn>
                <a:cxn ang="0">
                  <a:pos x="3909" y="53"/>
                </a:cxn>
                <a:cxn ang="0">
                  <a:pos x="3641" y="21"/>
                </a:cxn>
                <a:cxn ang="0">
                  <a:pos x="3390" y="2"/>
                </a:cxn>
                <a:cxn ang="0">
                  <a:pos x="3224" y="0"/>
                </a:cxn>
                <a:cxn ang="0">
                  <a:pos x="3128" y="6"/>
                </a:cxn>
                <a:cxn ang="0">
                  <a:pos x="3012" y="20"/>
                </a:cxn>
                <a:cxn ang="0">
                  <a:pos x="2863" y="33"/>
                </a:cxn>
                <a:cxn ang="0">
                  <a:pos x="2635" y="44"/>
                </a:cxn>
                <a:cxn ang="0">
                  <a:pos x="2207" y="54"/>
                </a:cxn>
                <a:cxn ang="0">
                  <a:pos x="1969" y="70"/>
                </a:cxn>
                <a:cxn ang="0">
                  <a:pos x="1626" y="101"/>
                </a:cxn>
                <a:cxn ang="0">
                  <a:pos x="1313" y="107"/>
                </a:cxn>
                <a:cxn ang="0">
                  <a:pos x="1031" y="98"/>
                </a:cxn>
                <a:cxn ang="0">
                  <a:pos x="776" y="80"/>
                </a:cxn>
                <a:cxn ang="0">
                  <a:pos x="443" y="54"/>
                </a:cxn>
                <a:cxn ang="0">
                  <a:pos x="250" y="47"/>
                </a:cxn>
                <a:cxn ang="0">
                  <a:pos x="119" y="53"/>
                </a:cxn>
                <a:cxn ang="0">
                  <a:pos x="0" y="70"/>
                </a:cxn>
                <a:cxn ang="0">
                  <a:pos x="1497" y="701"/>
                </a:cxn>
                <a:cxn ang="0">
                  <a:pos x="2732" y="665"/>
                </a:cxn>
                <a:cxn ang="0">
                  <a:pos x="3966" y="629"/>
                </a:cxn>
                <a:cxn ang="0">
                  <a:pos x="5200" y="593"/>
                </a:cxn>
                <a:cxn ang="0">
                  <a:pos x="6434" y="558"/>
                </a:cxn>
                <a:cxn ang="0">
                  <a:pos x="7668" y="522"/>
                </a:cxn>
                <a:cxn ang="0">
                  <a:pos x="8902" y="486"/>
                </a:cxn>
                <a:cxn ang="0">
                  <a:pos x="10136" y="449"/>
                </a:cxn>
                <a:cxn ang="0">
                  <a:pos x="10656" y="400"/>
                </a:cxn>
                <a:cxn ang="0">
                  <a:pos x="10400" y="329"/>
                </a:cxn>
                <a:cxn ang="0">
                  <a:pos x="10230" y="290"/>
                </a:cxn>
                <a:cxn ang="0">
                  <a:pos x="9944" y="240"/>
                </a:cxn>
                <a:cxn ang="0">
                  <a:pos x="9740" y="220"/>
                </a:cxn>
              </a:cxnLst>
              <a:rect l="0" t="0" r="r" b="b"/>
              <a:pathLst>
                <a:path w="10754" h="719">
                  <a:moveTo>
                    <a:pt x="9638" y="216"/>
                  </a:moveTo>
                  <a:lnTo>
                    <a:pt x="9385" y="213"/>
                  </a:lnTo>
                  <a:lnTo>
                    <a:pt x="9055" y="213"/>
                  </a:lnTo>
                  <a:lnTo>
                    <a:pt x="8277" y="216"/>
                  </a:lnTo>
                  <a:lnTo>
                    <a:pt x="7530" y="220"/>
                  </a:lnTo>
                  <a:lnTo>
                    <a:pt x="7237" y="220"/>
                  </a:lnTo>
                  <a:lnTo>
                    <a:pt x="7038" y="217"/>
                  </a:lnTo>
                  <a:lnTo>
                    <a:pt x="6887" y="209"/>
                  </a:lnTo>
                  <a:lnTo>
                    <a:pt x="6723" y="196"/>
                  </a:lnTo>
                  <a:lnTo>
                    <a:pt x="6376" y="163"/>
                  </a:lnTo>
                  <a:lnTo>
                    <a:pt x="6203" y="150"/>
                  </a:lnTo>
                  <a:lnTo>
                    <a:pt x="6034" y="143"/>
                  </a:lnTo>
                  <a:lnTo>
                    <a:pt x="5955" y="142"/>
                  </a:lnTo>
                  <a:lnTo>
                    <a:pt x="5876" y="144"/>
                  </a:lnTo>
                  <a:lnTo>
                    <a:pt x="5803" y="149"/>
                  </a:lnTo>
                  <a:lnTo>
                    <a:pt x="5733" y="157"/>
                  </a:lnTo>
                  <a:lnTo>
                    <a:pt x="5604" y="173"/>
                  </a:lnTo>
                  <a:lnTo>
                    <a:pt x="5483" y="185"/>
                  </a:lnTo>
                  <a:lnTo>
                    <a:pt x="5370" y="192"/>
                  </a:lnTo>
                  <a:lnTo>
                    <a:pt x="5261" y="195"/>
                  </a:lnTo>
                  <a:lnTo>
                    <a:pt x="5159" y="195"/>
                  </a:lnTo>
                  <a:lnTo>
                    <a:pt x="5060" y="193"/>
                  </a:lnTo>
                  <a:lnTo>
                    <a:pt x="4963" y="190"/>
                  </a:lnTo>
                  <a:lnTo>
                    <a:pt x="4867" y="186"/>
                  </a:lnTo>
                  <a:lnTo>
                    <a:pt x="4810" y="183"/>
                  </a:lnTo>
                  <a:lnTo>
                    <a:pt x="4735" y="173"/>
                  </a:lnTo>
                  <a:lnTo>
                    <a:pt x="4542" y="146"/>
                  </a:lnTo>
                  <a:lnTo>
                    <a:pt x="4306" y="110"/>
                  </a:lnTo>
                  <a:lnTo>
                    <a:pt x="4044" y="71"/>
                  </a:lnTo>
                  <a:lnTo>
                    <a:pt x="3909" y="53"/>
                  </a:lnTo>
                  <a:lnTo>
                    <a:pt x="3773" y="36"/>
                  </a:lnTo>
                  <a:lnTo>
                    <a:pt x="3641" y="21"/>
                  </a:lnTo>
                  <a:lnTo>
                    <a:pt x="3512" y="11"/>
                  </a:lnTo>
                  <a:lnTo>
                    <a:pt x="3390" y="2"/>
                  </a:lnTo>
                  <a:lnTo>
                    <a:pt x="3277" y="0"/>
                  </a:lnTo>
                  <a:lnTo>
                    <a:pt x="3224" y="0"/>
                  </a:lnTo>
                  <a:lnTo>
                    <a:pt x="3175" y="2"/>
                  </a:lnTo>
                  <a:lnTo>
                    <a:pt x="3128" y="6"/>
                  </a:lnTo>
                  <a:lnTo>
                    <a:pt x="3085" y="11"/>
                  </a:lnTo>
                  <a:lnTo>
                    <a:pt x="3012" y="20"/>
                  </a:lnTo>
                  <a:lnTo>
                    <a:pt x="2939" y="27"/>
                  </a:lnTo>
                  <a:lnTo>
                    <a:pt x="2863" y="33"/>
                  </a:lnTo>
                  <a:lnTo>
                    <a:pt x="2787" y="38"/>
                  </a:lnTo>
                  <a:lnTo>
                    <a:pt x="2635" y="44"/>
                  </a:lnTo>
                  <a:lnTo>
                    <a:pt x="2486" y="48"/>
                  </a:lnTo>
                  <a:lnTo>
                    <a:pt x="2207" y="54"/>
                  </a:lnTo>
                  <a:lnTo>
                    <a:pt x="2081" y="60"/>
                  </a:lnTo>
                  <a:lnTo>
                    <a:pt x="1969" y="70"/>
                  </a:lnTo>
                  <a:lnTo>
                    <a:pt x="1794" y="89"/>
                  </a:lnTo>
                  <a:lnTo>
                    <a:pt x="1626" y="101"/>
                  </a:lnTo>
                  <a:lnTo>
                    <a:pt x="1466" y="106"/>
                  </a:lnTo>
                  <a:lnTo>
                    <a:pt x="1313" y="107"/>
                  </a:lnTo>
                  <a:lnTo>
                    <a:pt x="1169" y="104"/>
                  </a:lnTo>
                  <a:lnTo>
                    <a:pt x="1031" y="98"/>
                  </a:lnTo>
                  <a:lnTo>
                    <a:pt x="900" y="90"/>
                  </a:lnTo>
                  <a:lnTo>
                    <a:pt x="776" y="80"/>
                  </a:lnTo>
                  <a:lnTo>
                    <a:pt x="547" y="61"/>
                  </a:lnTo>
                  <a:lnTo>
                    <a:pt x="443" y="54"/>
                  </a:lnTo>
                  <a:lnTo>
                    <a:pt x="344" y="49"/>
                  </a:lnTo>
                  <a:lnTo>
                    <a:pt x="250" y="47"/>
                  </a:lnTo>
                  <a:lnTo>
                    <a:pt x="162" y="49"/>
                  </a:lnTo>
                  <a:lnTo>
                    <a:pt x="119" y="53"/>
                  </a:lnTo>
                  <a:lnTo>
                    <a:pt x="78" y="56"/>
                  </a:lnTo>
                  <a:lnTo>
                    <a:pt x="0" y="70"/>
                  </a:lnTo>
                  <a:lnTo>
                    <a:pt x="881" y="719"/>
                  </a:lnTo>
                  <a:lnTo>
                    <a:pt x="1497" y="701"/>
                  </a:lnTo>
                  <a:lnTo>
                    <a:pt x="2115" y="683"/>
                  </a:lnTo>
                  <a:lnTo>
                    <a:pt x="2732" y="665"/>
                  </a:lnTo>
                  <a:lnTo>
                    <a:pt x="3349" y="647"/>
                  </a:lnTo>
                  <a:lnTo>
                    <a:pt x="3966" y="629"/>
                  </a:lnTo>
                  <a:lnTo>
                    <a:pt x="4583" y="611"/>
                  </a:lnTo>
                  <a:lnTo>
                    <a:pt x="5200" y="593"/>
                  </a:lnTo>
                  <a:lnTo>
                    <a:pt x="5817" y="576"/>
                  </a:lnTo>
                  <a:lnTo>
                    <a:pt x="6434" y="558"/>
                  </a:lnTo>
                  <a:lnTo>
                    <a:pt x="7052" y="540"/>
                  </a:lnTo>
                  <a:lnTo>
                    <a:pt x="7668" y="522"/>
                  </a:lnTo>
                  <a:lnTo>
                    <a:pt x="8286" y="504"/>
                  </a:lnTo>
                  <a:lnTo>
                    <a:pt x="8902" y="486"/>
                  </a:lnTo>
                  <a:lnTo>
                    <a:pt x="9520" y="467"/>
                  </a:lnTo>
                  <a:lnTo>
                    <a:pt x="10136" y="449"/>
                  </a:lnTo>
                  <a:lnTo>
                    <a:pt x="10754" y="433"/>
                  </a:lnTo>
                  <a:lnTo>
                    <a:pt x="10656" y="400"/>
                  </a:lnTo>
                  <a:lnTo>
                    <a:pt x="10544" y="368"/>
                  </a:lnTo>
                  <a:lnTo>
                    <a:pt x="10400" y="329"/>
                  </a:lnTo>
                  <a:lnTo>
                    <a:pt x="10318" y="309"/>
                  </a:lnTo>
                  <a:lnTo>
                    <a:pt x="10230" y="290"/>
                  </a:lnTo>
                  <a:lnTo>
                    <a:pt x="10042" y="255"/>
                  </a:lnTo>
                  <a:lnTo>
                    <a:pt x="9944" y="240"/>
                  </a:lnTo>
                  <a:lnTo>
                    <a:pt x="9842" y="228"/>
                  </a:lnTo>
                  <a:lnTo>
                    <a:pt x="9740" y="220"/>
                  </a:lnTo>
                  <a:lnTo>
                    <a:pt x="9638" y="2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7" name="Freeform 49"/>
            <p:cNvSpPr>
              <a:spLocks/>
            </p:cNvSpPr>
            <p:nvPr userDrawn="1"/>
          </p:nvSpPr>
          <p:spPr bwMode="auto">
            <a:xfrm>
              <a:off x="3903663" y="6438901"/>
              <a:ext cx="3119438" cy="184150"/>
            </a:xfrm>
            <a:custGeom>
              <a:avLst/>
              <a:gdLst/>
              <a:ahLst/>
              <a:cxnLst>
                <a:cxn ang="0">
                  <a:pos x="8912" y="209"/>
                </a:cxn>
                <a:cxn ang="0">
                  <a:pos x="7820" y="109"/>
                </a:cxn>
                <a:cxn ang="0">
                  <a:pos x="7719" y="102"/>
                </a:cxn>
                <a:cxn ang="0">
                  <a:pos x="7596" y="99"/>
                </a:cxn>
                <a:cxn ang="0">
                  <a:pos x="7318" y="102"/>
                </a:cxn>
                <a:cxn ang="0">
                  <a:pos x="7180" y="109"/>
                </a:cxn>
                <a:cxn ang="0">
                  <a:pos x="6941" y="132"/>
                </a:cxn>
                <a:cxn ang="0">
                  <a:pos x="6857" y="148"/>
                </a:cxn>
                <a:cxn ang="0">
                  <a:pos x="6798" y="158"/>
                </a:cxn>
                <a:cxn ang="0">
                  <a:pos x="6723" y="161"/>
                </a:cxn>
                <a:cxn ang="0">
                  <a:pos x="6607" y="159"/>
                </a:cxn>
                <a:cxn ang="0">
                  <a:pos x="6416" y="144"/>
                </a:cxn>
                <a:cxn ang="0">
                  <a:pos x="6232" y="123"/>
                </a:cxn>
                <a:cxn ang="0">
                  <a:pos x="6088" y="101"/>
                </a:cxn>
                <a:cxn ang="0">
                  <a:pos x="5935" y="71"/>
                </a:cxn>
                <a:cxn ang="0">
                  <a:pos x="5712" y="37"/>
                </a:cxn>
                <a:cxn ang="0">
                  <a:pos x="5541" y="20"/>
                </a:cxn>
                <a:cxn ang="0">
                  <a:pos x="5375" y="24"/>
                </a:cxn>
                <a:cxn ang="0">
                  <a:pos x="5188" y="43"/>
                </a:cxn>
                <a:cxn ang="0">
                  <a:pos x="5004" y="78"/>
                </a:cxn>
                <a:cxn ang="0">
                  <a:pos x="4899" y="107"/>
                </a:cxn>
                <a:cxn ang="0">
                  <a:pos x="4828" y="120"/>
                </a:cxn>
                <a:cxn ang="0">
                  <a:pos x="4719" y="131"/>
                </a:cxn>
                <a:cxn ang="0">
                  <a:pos x="4598" y="135"/>
                </a:cxn>
                <a:cxn ang="0">
                  <a:pos x="4248" y="127"/>
                </a:cxn>
                <a:cxn ang="0">
                  <a:pos x="4125" y="130"/>
                </a:cxn>
                <a:cxn ang="0">
                  <a:pos x="4075" y="136"/>
                </a:cxn>
                <a:cxn ang="0">
                  <a:pos x="4010" y="129"/>
                </a:cxn>
                <a:cxn ang="0">
                  <a:pos x="3966" y="113"/>
                </a:cxn>
                <a:cxn ang="0">
                  <a:pos x="3839" y="47"/>
                </a:cxn>
                <a:cxn ang="0">
                  <a:pos x="3747" y="11"/>
                </a:cxn>
                <a:cxn ang="0">
                  <a:pos x="3680" y="2"/>
                </a:cxn>
                <a:cxn ang="0">
                  <a:pos x="3456" y="1"/>
                </a:cxn>
                <a:cxn ang="0">
                  <a:pos x="3029" y="11"/>
                </a:cxn>
                <a:cxn ang="0">
                  <a:pos x="2789" y="6"/>
                </a:cxn>
                <a:cxn ang="0">
                  <a:pos x="2677" y="2"/>
                </a:cxn>
                <a:cxn ang="0">
                  <a:pos x="2421" y="13"/>
                </a:cxn>
                <a:cxn ang="0">
                  <a:pos x="2017" y="46"/>
                </a:cxn>
                <a:cxn ang="0">
                  <a:pos x="1833" y="54"/>
                </a:cxn>
                <a:cxn ang="0">
                  <a:pos x="1730" y="55"/>
                </a:cxn>
                <a:cxn ang="0">
                  <a:pos x="1651" y="65"/>
                </a:cxn>
                <a:cxn ang="0">
                  <a:pos x="1588" y="84"/>
                </a:cxn>
                <a:cxn ang="0">
                  <a:pos x="1539" y="109"/>
                </a:cxn>
                <a:cxn ang="0">
                  <a:pos x="1481" y="153"/>
                </a:cxn>
                <a:cxn ang="0">
                  <a:pos x="1415" y="208"/>
                </a:cxn>
                <a:cxn ang="0">
                  <a:pos x="1379" y="228"/>
                </a:cxn>
                <a:cxn ang="0">
                  <a:pos x="1290" y="256"/>
                </a:cxn>
                <a:cxn ang="0">
                  <a:pos x="650" y="421"/>
                </a:cxn>
                <a:cxn ang="0">
                  <a:pos x="0" y="580"/>
                </a:cxn>
                <a:cxn ang="0">
                  <a:pos x="1084" y="412"/>
                </a:cxn>
                <a:cxn ang="0">
                  <a:pos x="2169" y="247"/>
                </a:cxn>
                <a:cxn ang="0">
                  <a:pos x="3581" y="253"/>
                </a:cxn>
                <a:cxn ang="0">
                  <a:pos x="5114" y="248"/>
                </a:cxn>
                <a:cxn ang="0">
                  <a:pos x="6648" y="244"/>
                </a:cxn>
                <a:cxn ang="0">
                  <a:pos x="8237" y="266"/>
                </a:cxn>
                <a:cxn ang="0">
                  <a:pos x="9827" y="289"/>
                </a:cxn>
              </a:cxnLst>
              <a:rect l="0" t="0" r="r" b="b"/>
              <a:pathLst>
                <a:path w="9827" h="580">
                  <a:moveTo>
                    <a:pt x="9827" y="289"/>
                  </a:moveTo>
                  <a:lnTo>
                    <a:pt x="8912" y="209"/>
                  </a:lnTo>
                  <a:lnTo>
                    <a:pt x="8233" y="149"/>
                  </a:lnTo>
                  <a:lnTo>
                    <a:pt x="7820" y="109"/>
                  </a:lnTo>
                  <a:lnTo>
                    <a:pt x="7772" y="106"/>
                  </a:lnTo>
                  <a:lnTo>
                    <a:pt x="7719" y="102"/>
                  </a:lnTo>
                  <a:lnTo>
                    <a:pt x="7659" y="100"/>
                  </a:lnTo>
                  <a:lnTo>
                    <a:pt x="7596" y="99"/>
                  </a:lnTo>
                  <a:lnTo>
                    <a:pt x="7459" y="99"/>
                  </a:lnTo>
                  <a:lnTo>
                    <a:pt x="7318" y="102"/>
                  </a:lnTo>
                  <a:lnTo>
                    <a:pt x="7248" y="106"/>
                  </a:lnTo>
                  <a:lnTo>
                    <a:pt x="7180" y="109"/>
                  </a:lnTo>
                  <a:lnTo>
                    <a:pt x="7051" y="120"/>
                  </a:lnTo>
                  <a:lnTo>
                    <a:pt x="6941" y="132"/>
                  </a:lnTo>
                  <a:lnTo>
                    <a:pt x="6896" y="140"/>
                  </a:lnTo>
                  <a:lnTo>
                    <a:pt x="6857" y="148"/>
                  </a:lnTo>
                  <a:lnTo>
                    <a:pt x="6820" y="155"/>
                  </a:lnTo>
                  <a:lnTo>
                    <a:pt x="6798" y="158"/>
                  </a:lnTo>
                  <a:lnTo>
                    <a:pt x="6774" y="159"/>
                  </a:lnTo>
                  <a:lnTo>
                    <a:pt x="6723" y="161"/>
                  </a:lnTo>
                  <a:lnTo>
                    <a:pt x="6667" y="160"/>
                  </a:lnTo>
                  <a:lnTo>
                    <a:pt x="6607" y="159"/>
                  </a:lnTo>
                  <a:lnTo>
                    <a:pt x="6544" y="155"/>
                  </a:lnTo>
                  <a:lnTo>
                    <a:pt x="6416" y="144"/>
                  </a:lnTo>
                  <a:lnTo>
                    <a:pt x="6291" y="130"/>
                  </a:lnTo>
                  <a:lnTo>
                    <a:pt x="6232" y="123"/>
                  </a:lnTo>
                  <a:lnTo>
                    <a:pt x="6179" y="114"/>
                  </a:lnTo>
                  <a:lnTo>
                    <a:pt x="6088" y="101"/>
                  </a:lnTo>
                  <a:lnTo>
                    <a:pt x="6029" y="89"/>
                  </a:lnTo>
                  <a:lnTo>
                    <a:pt x="5935" y="71"/>
                  </a:lnTo>
                  <a:lnTo>
                    <a:pt x="5825" y="54"/>
                  </a:lnTo>
                  <a:lnTo>
                    <a:pt x="5712" y="37"/>
                  </a:lnTo>
                  <a:lnTo>
                    <a:pt x="5608" y="25"/>
                  </a:lnTo>
                  <a:lnTo>
                    <a:pt x="5541" y="20"/>
                  </a:lnTo>
                  <a:lnTo>
                    <a:pt x="5463" y="20"/>
                  </a:lnTo>
                  <a:lnTo>
                    <a:pt x="5375" y="24"/>
                  </a:lnTo>
                  <a:lnTo>
                    <a:pt x="5283" y="31"/>
                  </a:lnTo>
                  <a:lnTo>
                    <a:pt x="5188" y="43"/>
                  </a:lnTo>
                  <a:lnTo>
                    <a:pt x="5094" y="59"/>
                  </a:lnTo>
                  <a:lnTo>
                    <a:pt x="5004" y="78"/>
                  </a:lnTo>
                  <a:lnTo>
                    <a:pt x="4920" y="101"/>
                  </a:lnTo>
                  <a:lnTo>
                    <a:pt x="4899" y="107"/>
                  </a:lnTo>
                  <a:lnTo>
                    <a:pt x="4878" y="112"/>
                  </a:lnTo>
                  <a:lnTo>
                    <a:pt x="4828" y="120"/>
                  </a:lnTo>
                  <a:lnTo>
                    <a:pt x="4775" y="127"/>
                  </a:lnTo>
                  <a:lnTo>
                    <a:pt x="4719" y="131"/>
                  </a:lnTo>
                  <a:lnTo>
                    <a:pt x="4660" y="134"/>
                  </a:lnTo>
                  <a:lnTo>
                    <a:pt x="4598" y="135"/>
                  </a:lnTo>
                  <a:lnTo>
                    <a:pt x="4475" y="134"/>
                  </a:lnTo>
                  <a:lnTo>
                    <a:pt x="4248" y="127"/>
                  </a:lnTo>
                  <a:lnTo>
                    <a:pt x="4159" y="127"/>
                  </a:lnTo>
                  <a:lnTo>
                    <a:pt x="4125" y="130"/>
                  </a:lnTo>
                  <a:lnTo>
                    <a:pt x="4097" y="134"/>
                  </a:lnTo>
                  <a:lnTo>
                    <a:pt x="4075" y="136"/>
                  </a:lnTo>
                  <a:lnTo>
                    <a:pt x="4053" y="136"/>
                  </a:lnTo>
                  <a:lnTo>
                    <a:pt x="4010" y="129"/>
                  </a:lnTo>
                  <a:lnTo>
                    <a:pt x="3988" y="121"/>
                  </a:lnTo>
                  <a:lnTo>
                    <a:pt x="3966" y="113"/>
                  </a:lnTo>
                  <a:lnTo>
                    <a:pt x="3925" y="93"/>
                  </a:lnTo>
                  <a:lnTo>
                    <a:pt x="3839" y="47"/>
                  </a:lnTo>
                  <a:lnTo>
                    <a:pt x="3794" y="27"/>
                  </a:lnTo>
                  <a:lnTo>
                    <a:pt x="3747" y="11"/>
                  </a:lnTo>
                  <a:lnTo>
                    <a:pt x="3718" y="6"/>
                  </a:lnTo>
                  <a:lnTo>
                    <a:pt x="3680" y="2"/>
                  </a:lnTo>
                  <a:lnTo>
                    <a:pt x="3580" y="0"/>
                  </a:lnTo>
                  <a:lnTo>
                    <a:pt x="3456" y="1"/>
                  </a:lnTo>
                  <a:lnTo>
                    <a:pt x="3317" y="4"/>
                  </a:lnTo>
                  <a:lnTo>
                    <a:pt x="3029" y="11"/>
                  </a:lnTo>
                  <a:lnTo>
                    <a:pt x="2899" y="11"/>
                  </a:lnTo>
                  <a:lnTo>
                    <a:pt x="2789" y="6"/>
                  </a:lnTo>
                  <a:lnTo>
                    <a:pt x="2734" y="4"/>
                  </a:lnTo>
                  <a:lnTo>
                    <a:pt x="2677" y="2"/>
                  </a:lnTo>
                  <a:lnTo>
                    <a:pt x="2553" y="5"/>
                  </a:lnTo>
                  <a:lnTo>
                    <a:pt x="2421" y="13"/>
                  </a:lnTo>
                  <a:lnTo>
                    <a:pt x="2285" y="24"/>
                  </a:lnTo>
                  <a:lnTo>
                    <a:pt x="2017" y="46"/>
                  </a:lnTo>
                  <a:lnTo>
                    <a:pt x="1892" y="53"/>
                  </a:lnTo>
                  <a:lnTo>
                    <a:pt x="1833" y="54"/>
                  </a:lnTo>
                  <a:lnTo>
                    <a:pt x="1779" y="54"/>
                  </a:lnTo>
                  <a:lnTo>
                    <a:pt x="1730" y="55"/>
                  </a:lnTo>
                  <a:lnTo>
                    <a:pt x="1689" y="59"/>
                  </a:lnTo>
                  <a:lnTo>
                    <a:pt x="1651" y="65"/>
                  </a:lnTo>
                  <a:lnTo>
                    <a:pt x="1618" y="73"/>
                  </a:lnTo>
                  <a:lnTo>
                    <a:pt x="1588" y="84"/>
                  </a:lnTo>
                  <a:lnTo>
                    <a:pt x="1563" y="96"/>
                  </a:lnTo>
                  <a:lnTo>
                    <a:pt x="1539" y="109"/>
                  </a:lnTo>
                  <a:lnTo>
                    <a:pt x="1518" y="124"/>
                  </a:lnTo>
                  <a:lnTo>
                    <a:pt x="1481" y="153"/>
                  </a:lnTo>
                  <a:lnTo>
                    <a:pt x="1447" y="182"/>
                  </a:lnTo>
                  <a:lnTo>
                    <a:pt x="1415" y="208"/>
                  </a:lnTo>
                  <a:lnTo>
                    <a:pt x="1398" y="219"/>
                  </a:lnTo>
                  <a:lnTo>
                    <a:pt x="1379" y="228"/>
                  </a:lnTo>
                  <a:lnTo>
                    <a:pt x="1346" y="239"/>
                  </a:lnTo>
                  <a:lnTo>
                    <a:pt x="1290" y="256"/>
                  </a:lnTo>
                  <a:lnTo>
                    <a:pt x="1119" y="302"/>
                  </a:lnTo>
                  <a:lnTo>
                    <a:pt x="650" y="421"/>
                  </a:lnTo>
                  <a:lnTo>
                    <a:pt x="201" y="531"/>
                  </a:lnTo>
                  <a:lnTo>
                    <a:pt x="0" y="580"/>
                  </a:lnTo>
                  <a:lnTo>
                    <a:pt x="542" y="495"/>
                  </a:lnTo>
                  <a:lnTo>
                    <a:pt x="1084" y="412"/>
                  </a:lnTo>
                  <a:lnTo>
                    <a:pt x="1626" y="329"/>
                  </a:lnTo>
                  <a:lnTo>
                    <a:pt x="2169" y="247"/>
                  </a:lnTo>
                  <a:lnTo>
                    <a:pt x="2874" y="249"/>
                  </a:lnTo>
                  <a:lnTo>
                    <a:pt x="3581" y="253"/>
                  </a:lnTo>
                  <a:lnTo>
                    <a:pt x="4347" y="250"/>
                  </a:lnTo>
                  <a:lnTo>
                    <a:pt x="5114" y="248"/>
                  </a:lnTo>
                  <a:lnTo>
                    <a:pt x="5881" y="245"/>
                  </a:lnTo>
                  <a:lnTo>
                    <a:pt x="6648" y="244"/>
                  </a:lnTo>
                  <a:lnTo>
                    <a:pt x="7442" y="255"/>
                  </a:lnTo>
                  <a:lnTo>
                    <a:pt x="8237" y="266"/>
                  </a:lnTo>
                  <a:lnTo>
                    <a:pt x="9031" y="277"/>
                  </a:lnTo>
                  <a:lnTo>
                    <a:pt x="9827" y="2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8" name="Freeform 50"/>
            <p:cNvSpPr>
              <a:spLocks/>
            </p:cNvSpPr>
            <p:nvPr userDrawn="1"/>
          </p:nvSpPr>
          <p:spPr bwMode="auto">
            <a:xfrm>
              <a:off x="3948113" y="6484938"/>
              <a:ext cx="3306763" cy="184150"/>
            </a:xfrm>
            <a:custGeom>
              <a:avLst/>
              <a:gdLst/>
              <a:ahLst/>
              <a:cxnLst>
                <a:cxn ang="0">
                  <a:pos x="7060" y="3"/>
                </a:cxn>
                <a:cxn ang="0">
                  <a:pos x="6185" y="40"/>
                </a:cxn>
                <a:cxn ang="0">
                  <a:pos x="6091" y="35"/>
                </a:cxn>
                <a:cxn ang="0">
                  <a:pos x="6002" y="45"/>
                </a:cxn>
                <a:cxn ang="0">
                  <a:pos x="5911" y="57"/>
                </a:cxn>
                <a:cxn ang="0">
                  <a:pos x="5784" y="60"/>
                </a:cxn>
                <a:cxn ang="0">
                  <a:pos x="5682" y="58"/>
                </a:cxn>
                <a:cxn ang="0">
                  <a:pos x="5534" y="51"/>
                </a:cxn>
                <a:cxn ang="0">
                  <a:pos x="5325" y="48"/>
                </a:cxn>
                <a:cxn ang="0">
                  <a:pos x="5195" y="45"/>
                </a:cxn>
                <a:cxn ang="0">
                  <a:pos x="4981" y="36"/>
                </a:cxn>
                <a:cxn ang="0">
                  <a:pos x="4799" y="38"/>
                </a:cxn>
                <a:cxn ang="0">
                  <a:pos x="4528" y="32"/>
                </a:cxn>
                <a:cxn ang="0">
                  <a:pos x="4267" y="33"/>
                </a:cxn>
                <a:cxn ang="0">
                  <a:pos x="3976" y="41"/>
                </a:cxn>
                <a:cxn ang="0">
                  <a:pos x="3853" y="35"/>
                </a:cxn>
                <a:cxn ang="0">
                  <a:pos x="3676" y="17"/>
                </a:cxn>
                <a:cxn ang="0">
                  <a:pos x="3563" y="15"/>
                </a:cxn>
                <a:cxn ang="0">
                  <a:pos x="3506" y="27"/>
                </a:cxn>
                <a:cxn ang="0">
                  <a:pos x="3327" y="76"/>
                </a:cxn>
                <a:cxn ang="0">
                  <a:pos x="3209" y="98"/>
                </a:cxn>
                <a:cxn ang="0">
                  <a:pos x="3150" y="103"/>
                </a:cxn>
                <a:cxn ang="0">
                  <a:pos x="3098" y="101"/>
                </a:cxn>
                <a:cxn ang="0">
                  <a:pos x="3014" y="89"/>
                </a:cxn>
                <a:cxn ang="0">
                  <a:pos x="2920" y="66"/>
                </a:cxn>
                <a:cxn ang="0">
                  <a:pos x="2838" y="60"/>
                </a:cxn>
                <a:cxn ang="0">
                  <a:pos x="2728" y="48"/>
                </a:cxn>
                <a:cxn ang="0">
                  <a:pos x="2687" y="47"/>
                </a:cxn>
                <a:cxn ang="0">
                  <a:pos x="2679" y="33"/>
                </a:cxn>
                <a:cxn ang="0">
                  <a:pos x="2666" y="18"/>
                </a:cxn>
                <a:cxn ang="0">
                  <a:pos x="2634" y="5"/>
                </a:cxn>
                <a:cxn ang="0">
                  <a:pos x="2549" y="0"/>
                </a:cxn>
                <a:cxn ang="0">
                  <a:pos x="2191" y="22"/>
                </a:cxn>
                <a:cxn ang="0">
                  <a:pos x="1925" y="41"/>
                </a:cxn>
                <a:cxn ang="0">
                  <a:pos x="1884" y="62"/>
                </a:cxn>
                <a:cxn ang="0">
                  <a:pos x="1836" y="77"/>
                </a:cxn>
                <a:cxn ang="0">
                  <a:pos x="1758" y="84"/>
                </a:cxn>
                <a:cxn ang="0">
                  <a:pos x="1660" y="94"/>
                </a:cxn>
                <a:cxn ang="0">
                  <a:pos x="1564" y="118"/>
                </a:cxn>
                <a:cxn ang="0">
                  <a:pos x="1430" y="154"/>
                </a:cxn>
                <a:cxn ang="0">
                  <a:pos x="1270" y="176"/>
                </a:cxn>
                <a:cxn ang="0">
                  <a:pos x="904" y="230"/>
                </a:cxn>
                <a:cxn ang="0">
                  <a:pos x="650" y="524"/>
                </a:cxn>
                <a:cxn ang="0">
                  <a:pos x="1952" y="532"/>
                </a:cxn>
                <a:cxn ang="0">
                  <a:pos x="3253" y="539"/>
                </a:cxn>
                <a:cxn ang="0">
                  <a:pos x="4556" y="546"/>
                </a:cxn>
                <a:cxn ang="0">
                  <a:pos x="5858" y="555"/>
                </a:cxn>
                <a:cxn ang="0">
                  <a:pos x="7160" y="562"/>
                </a:cxn>
                <a:cxn ang="0">
                  <a:pos x="8462" y="569"/>
                </a:cxn>
                <a:cxn ang="0">
                  <a:pos x="9765" y="576"/>
                </a:cxn>
                <a:cxn ang="0">
                  <a:pos x="10238" y="499"/>
                </a:cxn>
                <a:cxn ang="0">
                  <a:pos x="9933" y="368"/>
                </a:cxn>
                <a:cxn ang="0">
                  <a:pos x="9686" y="271"/>
                </a:cxn>
                <a:cxn ang="0">
                  <a:pos x="9430" y="178"/>
                </a:cxn>
                <a:cxn ang="0">
                  <a:pos x="9184" y="104"/>
                </a:cxn>
                <a:cxn ang="0">
                  <a:pos x="8969" y="60"/>
                </a:cxn>
                <a:cxn ang="0">
                  <a:pos x="8111" y="41"/>
                </a:cxn>
              </a:cxnLst>
              <a:rect l="0" t="0" r="r" b="b"/>
              <a:pathLst>
                <a:path w="10416" h="581">
                  <a:moveTo>
                    <a:pt x="7676" y="33"/>
                  </a:moveTo>
                  <a:lnTo>
                    <a:pt x="7060" y="3"/>
                  </a:lnTo>
                  <a:lnTo>
                    <a:pt x="6196" y="44"/>
                  </a:lnTo>
                  <a:lnTo>
                    <a:pt x="6185" y="40"/>
                  </a:lnTo>
                  <a:lnTo>
                    <a:pt x="6150" y="35"/>
                  </a:lnTo>
                  <a:lnTo>
                    <a:pt x="6091" y="35"/>
                  </a:lnTo>
                  <a:lnTo>
                    <a:pt x="6050" y="39"/>
                  </a:lnTo>
                  <a:lnTo>
                    <a:pt x="6002" y="45"/>
                  </a:lnTo>
                  <a:lnTo>
                    <a:pt x="5954" y="52"/>
                  </a:lnTo>
                  <a:lnTo>
                    <a:pt x="5911" y="57"/>
                  </a:lnTo>
                  <a:lnTo>
                    <a:pt x="5840" y="62"/>
                  </a:lnTo>
                  <a:lnTo>
                    <a:pt x="5784" y="60"/>
                  </a:lnTo>
                  <a:lnTo>
                    <a:pt x="5737" y="60"/>
                  </a:lnTo>
                  <a:lnTo>
                    <a:pt x="5682" y="58"/>
                  </a:lnTo>
                  <a:lnTo>
                    <a:pt x="5610" y="54"/>
                  </a:lnTo>
                  <a:lnTo>
                    <a:pt x="5534" y="51"/>
                  </a:lnTo>
                  <a:lnTo>
                    <a:pt x="5461" y="48"/>
                  </a:lnTo>
                  <a:lnTo>
                    <a:pt x="5325" y="48"/>
                  </a:lnTo>
                  <a:lnTo>
                    <a:pt x="5258" y="47"/>
                  </a:lnTo>
                  <a:lnTo>
                    <a:pt x="5195" y="45"/>
                  </a:lnTo>
                  <a:lnTo>
                    <a:pt x="5059" y="39"/>
                  </a:lnTo>
                  <a:lnTo>
                    <a:pt x="4981" y="36"/>
                  </a:lnTo>
                  <a:lnTo>
                    <a:pt x="4900" y="38"/>
                  </a:lnTo>
                  <a:lnTo>
                    <a:pt x="4799" y="38"/>
                  </a:lnTo>
                  <a:lnTo>
                    <a:pt x="4668" y="35"/>
                  </a:lnTo>
                  <a:lnTo>
                    <a:pt x="4528" y="32"/>
                  </a:lnTo>
                  <a:lnTo>
                    <a:pt x="4398" y="30"/>
                  </a:lnTo>
                  <a:lnTo>
                    <a:pt x="4267" y="33"/>
                  </a:lnTo>
                  <a:lnTo>
                    <a:pt x="4120" y="39"/>
                  </a:lnTo>
                  <a:lnTo>
                    <a:pt x="3976" y="41"/>
                  </a:lnTo>
                  <a:lnTo>
                    <a:pt x="3911" y="40"/>
                  </a:lnTo>
                  <a:lnTo>
                    <a:pt x="3853" y="35"/>
                  </a:lnTo>
                  <a:lnTo>
                    <a:pt x="3755" y="24"/>
                  </a:lnTo>
                  <a:lnTo>
                    <a:pt x="3676" y="17"/>
                  </a:lnTo>
                  <a:lnTo>
                    <a:pt x="3613" y="15"/>
                  </a:lnTo>
                  <a:lnTo>
                    <a:pt x="3563" y="15"/>
                  </a:lnTo>
                  <a:lnTo>
                    <a:pt x="3537" y="18"/>
                  </a:lnTo>
                  <a:lnTo>
                    <a:pt x="3506" y="27"/>
                  </a:lnTo>
                  <a:lnTo>
                    <a:pt x="3427" y="50"/>
                  </a:lnTo>
                  <a:lnTo>
                    <a:pt x="3327" y="76"/>
                  </a:lnTo>
                  <a:lnTo>
                    <a:pt x="3269" y="88"/>
                  </a:lnTo>
                  <a:lnTo>
                    <a:pt x="3209" y="98"/>
                  </a:lnTo>
                  <a:lnTo>
                    <a:pt x="3179" y="101"/>
                  </a:lnTo>
                  <a:lnTo>
                    <a:pt x="3150" y="103"/>
                  </a:lnTo>
                  <a:lnTo>
                    <a:pt x="3123" y="103"/>
                  </a:lnTo>
                  <a:lnTo>
                    <a:pt x="3098" y="101"/>
                  </a:lnTo>
                  <a:lnTo>
                    <a:pt x="3053" y="97"/>
                  </a:lnTo>
                  <a:lnTo>
                    <a:pt x="3014" y="89"/>
                  </a:lnTo>
                  <a:lnTo>
                    <a:pt x="2949" y="72"/>
                  </a:lnTo>
                  <a:lnTo>
                    <a:pt x="2920" y="66"/>
                  </a:lnTo>
                  <a:lnTo>
                    <a:pt x="2893" y="64"/>
                  </a:lnTo>
                  <a:lnTo>
                    <a:pt x="2838" y="60"/>
                  </a:lnTo>
                  <a:lnTo>
                    <a:pt x="2779" y="54"/>
                  </a:lnTo>
                  <a:lnTo>
                    <a:pt x="2728" y="48"/>
                  </a:lnTo>
                  <a:lnTo>
                    <a:pt x="2696" y="48"/>
                  </a:lnTo>
                  <a:lnTo>
                    <a:pt x="2687" y="47"/>
                  </a:lnTo>
                  <a:lnTo>
                    <a:pt x="2683" y="41"/>
                  </a:lnTo>
                  <a:lnTo>
                    <a:pt x="2679" y="33"/>
                  </a:lnTo>
                  <a:lnTo>
                    <a:pt x="2671" y="23"/>
                  </a:lnTo>
                  <a:lnTo>
                    <a:pt x="2666" y="18"/>
                  </a:lnTo>
                  <a:lnTo>
                    <a:pt x="2657" y="14"/>
                  </a:lnTo>
                  <a:lnTo>
                    <a:pt x="2634" y="5"/>
                  </a:lnTo>
                  <a:lnTo>
                    <a:pt x="2600" y="0"/>
                  </a:lnTo>
                  <a:lnTo>
                    <a:pt x="2549" y="0"/>
                  </a:lnTo>
                  <a:lnTo>
                    <a:pt x="2390" y="10"/>
                  </a:lnTo>
                  <a:lnTo>
                    <a:pt x="2191" y="22"/>
                  </a:lnTo>
                  <a:lnTo>
                    <a:pt x="1934" y="39"/>
                  </a:lnTo>
                  <a:lnTo>
                    <a:pt x="1925" y="41"/>
                  </a:lnTo>
                  <a:lnTo>
                    <a:pt x="1914" y="46"/>
                  </a:lnTo>
                  <a:lnTo>
                    <a:pt x="1884" y="62"/>
                  </a:lnTo>
                  <a:lnTo>
                    <a:pt x="1864" y="70"/>
                  </a:lnTo>
                  <a:lnTo>
                    <a:pt x="1836" y="77"/>
                  </a:lnTo>
                  <a:lnTo>
                    <a:pt x="1801" y="82"/>
                  </a:lnTo>
                  <a:lnTo>
                    <a:pt x="1758" y="84"/>
                  </a:lnTo>
                  <a:lnTo>
                    <a:pt x="1710" y="87"/>
                  </a:lnTo>
                  <a:lnTo>
                    <a:pt x="1660" y="94"/>
                  </a:lnTo>
                  <a:lnTo>
                    <a:pt x="1612" y="105"/>
                  </a:lnTo>
                  <a:lnTo>
                    <a:pt x="1564" y="118"/>
                  </a:lnTo>
                  <a:lnTo>
                    <a:pt x="1473" y="145"/>
                  </a:lnTo>
                  <a:lnTo>
                    <a:pt x="1430" y="154"/>
                  </a:lnTo>
                  <a:lnTo>
                    <a:pt x="1391" y="160"/>
                  </a:lnTo>
                  <a:lnTo>
                    <a:pt x="1270" y="176"/>
                  </a:lnTo>
                  <a:lnTo>
                    <a:pt x="1109" y="199"/>
                  </a:lnTo>
                  <a:lnTo>
                    <a:pt x="904" y="230"/>
                  </a:lnTo>
                  <a:lnTo>
                    <a:pt x="0" y="521"/>
                  </a:lnTo>
                  <a:lnTo>
                    <a:pt x="650" y="524"/>
                  </a:lnTo>
                  <a:lnTo>
                    <a:pt x="1302" y="528"/>
                  </a:lnTo>
                  <a:lnTo>
                    <a:pt x="1952" y="532"/>
                  </a:lnTo>
                  <a:lnTo>
                    <a:pt x="2603" y="535"/>
                  </a:lnTo>
                  <a:lnTo>
                    <a:pt x="3253" y="539"/>
                  </a:lnTo>
                  <a:lnTo>
                    <a:pt x="3905" y="543"/>
                  </a:lnTo>
                  <a:lnTo>
                    <a:pt x="4556" y="546"/>
                  </a:lnTo>
                  <a:lnTo>
                    <a:pt x="5207" y="551"/>
                  </a:lnTo>
                  <a:lnTo>
                    <a:pt x="5858" y="555"/>
                  </a:lnTo>
                  <a:lnTo>
                    <a:pt x="6509" y="558"/>
                  </a:lnTo>
                  <a:lnTo>
                    <a:pt x="7160" y="562"/>
                  </a:lnTo>
                  <a:lnTo>
                    <a:pt x="7812" y="565"/>
                  </a:lnTo>
                  <a:lnTo>
                    <a:pt x="8462" y="569"/>
                  </a:lnTo>
                  <a:lnTo>
                    <a:pt x="9113" y="573"/>
                  </a:lnTo>
                  <a:lnTo>
                    <a:pt x="9765" y="576"/>
                  </a:lnTo>
                  <a:lnTo>
                    <a:pt x="10416" y="581"/>
                  </a:lnTo>
                  <a:lnTo>
                    <a:pt x="10238" y="499"/>
                  </a:lnTo>
                  <a:lnTo>
                    <a:pt x="10045" y="415"/>
                  </a:lnTo>
                  <a:lnTo>
                    <a:pt x="9933" y="368"/>
                  </a:lnTo>
                  <a:lnTo>
                    <a:pt x="9813" y="319"/>
                  </a:lnTo>
                  <a:lnTo>
                    <a:pt x="9686" y="271"/>
                  </a:lnTo>
                  <a:lnTo>
                    <a:pt x="9559" y="223"/>
                  </a:lnTo>
                  <a:lnTo>
                    <a:pt x="9430" y="178"/>
                  </a:lnTo>
                  <a:lnTo>
                    <a:pt x="9305" y="139"/>
                  </a:lnTo>
                  <a:lnTo>
                    <a:pt x="9184" y="104"/>
                  </a:lnTo>
                  <a:lnTo>
                    <a:pt x="9071" y="77"/>
                  </a:lnTo>
                  <a:lnTo>
                    <a:pt x="8969" y="60"/>
                  </a:lnTo>
                  <a:lnTo>
                    <a:pt x="8878" y="53"/>
                  </a:lnTo>
                  <a:lnTo>
                    <a:pt x="8111" y="41"/>
                  </a:lnTo>
                  <a:lnTo>
                    <a:pt x="7676" y="3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9" name="Freeform 51"/>
            <p:cNvSpPr>
              <a:spLocks/>
            </p:cNvSpPr>
            <p:nvPr userDrawn="1"/>
          </p:nvSpPr>
          <p:spPr bwMode="auto">
            <a:xfrm>
              <a:off x="1654175" y="6334126"/>
              <a:ext cx="31750" cy="36513"/>
            </a:xfrm>
            <a:custGeom>
              <a:avLst/>
              <a:gdLst/>
              <a:ahLst/>
              <a:cxnLst>
                <a:cxn ang="0">
                  <a:pos x="98" y="115"/>
                </a:cxn>
                <a:cxn ang="0">
                  <a:pos x="102" y="115"/>
                </a:cxn>
                <a:cxn ang="0">
                  <a:pos x="102" y="101"/>
                </a:cxn>
                <a:cxn ang="0">
                  <a:pos x="0" y="0"/>
                </a:cxn>
                <a:cxn ang="0">
                  <a:pos x="0" y="16"/>
                </a:cxn>
                <a:cxn ang="0">
                  <a:pos x="98" y="115"/>
                </a:cxn>
              </a:cxnLst>
              <a:rect l="0" t="0" r="r" b="b"/>
              <a:pathLst>
                <a:path w="102" h="115">
                  <a:moveTo>
                    <a:pt x="98" y="115"/>
                  </a:moveTo>
                  <a:lnTo>
                    <a:pt x="102" y="115"/>
                  </a:lnTo>
                  <a:lnTo>
                    <a:pt x="102" y="101"/>
                  </a:lnTo>
                  <a:lnTo>
                    <a:pt x="0" y="0"/>
                  </a:lnTo>
                  <a:lnTo>
                    <a:pt x="0" y="16"/>
                  </a:lnTo>
                  <a:lnTo>
                    <a:pt x="98" y="11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0" name="Freeform 52"/>
            <p:cNvSpPr>
              <a:spLocks/>
            </p:cNvSpPr>
            <p:nvPr userDrawn="1"/>
          </p:nvSpPr>
          <p:spPr bwMode="auto">
            <a:xfrm>
              <a:off x="1654175" y="6362701"/>
              <a:ext cx="7938" cy="7938"/>
            </a:xfrm>
            <a:custGeom>
              <a:avLst/>
              <a:gdLst/>
              <a:ahLst/>
              <a:cxnLst>
                <a:cxn ang="0">
                  <a:pos x="0" y="0"/>
                </a:cxn>
                <a:cxn ang="0">
                  <a:pos x="0" y="23"/>
                </a:cxn>
                <a:cxn ang="0">
                  <a:pos x="24" y="23"/>
                </a:cxn>
                <a:cxn ang="0">
                  <a:pos x="0" y="0"/>
                </a:cxn>
              </a:cxnLst>
              <a:rect l="0" t="0" r="r" b="b"/>
              <a:pathLst>
                <a:path w="24" h="23">
                  <a:moveTo>
                    <a:pt x="0" y="0"/>
                  </a:moveTo>
                  <a:lnTo>
                    <a:pt x="0" y="23"/>
                  </a:lnTo>
                  <a:lnTo>
                    <a:pt x="24" y="2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1" name="Rectangle 53"/>
            <p:cNvSpPr>
              <a:spLocks noChangeArrowheads="1"/>
            </p:cNvSpPr>
            <p:nvPr userDrawn="1"/>
          </p:nvSpPr>
          <p:spPr bwMode="auto">
            <a:xfrm>
              <a:off x="3989388" y="6373813"/>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2" name="Freeform 54"/>
            <p:cNvSpPr>
              <a:spLocks/>
            </p:cNvSpPr>
            <p:nvPr userDrawn="1"/>
          </p:nvSpPr>
          <p:spPr bwMode="auto">
            <a:xfrm>
              <a:off x="766763" y="6411913"/>
              <a:ext cx="5416550" cy="153988"/>
            </a:xfrm>
            <a:custGeom>
              <a:avLst/>
              <a:gdLst/>
              <a:ahLst/>
              <a:cxnLst>
                <a:cxn ang="0">
                  <a:pos x="41" y="469"/>
                </a:cxn>
                <a:cxn ang="0">
                  <a:pos x="164" y="427"/>
                </a:cxn>
                <a:cxn ang="0">
                  <a:pos x="361" y="367"/>
                </a:cxn>
                <a:cxn ang="0">
                  <a:pos x="630" y="298"/>
                </a:cxn>
                <a:cxn ang="0">
                  <a:pos x="874" y="245"/>
                </a:cxn>
                <a:cxn ang="0">
                  <a:pos x="1155" y="197"/>
                </a:cxn>
                <a:cxn ang="0">
                  <a:pos x="1580" y="144"/>
                </a:cxn>
                <a:cxn ang="0">
                  <a:pos x="2059" y="112"/>
                </a:cxn>
                <a:cxn ang="0">
                  <a:pos x="2318" y="107"/>
                </a:cxn>
                <a:cxn ang="0">
                  <a:pos x="2940" y="113"/>
                </a:cxn>
                <a:cxn ang="0">
                  <a:pos x="3703" y="133"/>
                </a:cxn>
                <a:cxn ang="0">
                  <a:pos x="4536" y="163"/>
                </a:cxn>
                <a:cxn ang="0">
                  <a:pos x="6140" y="234"/>
                </a:cxn>
                <a:cxn ang="0">
                  <a:pos x="7364" y="296"/>
                </a:cxn>
                <a:cxn ang="0">
                  <a:pos x="7482" y="254"/>
                </a:cxn>
                <a:cxn ang="0">
                  <a:pos x="7626" y="209"/>
                </a:cxn>
                <a:cxn ang="0">
                  <a:pos x="7826" y="159"/>
                </a:cxn>
                <a:cxn ang="0">
                  <a:pos x="8078" y="106"/>
                </a:cxn>
                <a:cxn ang="0">
                  <a:pos x="8380" y="59"/>
                </a:cxn>
                <a:cxn ang="0">
                  <a:pos x="8732" y="22"/>
                </a:cxn>
                <a:cxn ang="0">
                  <a:pos x="9130" y="0"/>
                </a:cxn>
                <a:cxn ang="0">
                  <a:pos x="9550" y="59"/>
                </a:cxn>
                <a:cxn ang="0">
                  <a:pos x="10002" y="103"/>
                </a:cxn>
                <a:cxn ang="0">
                  <a:pos x="10457" y="138"/>
                </a:cxn>
                <a:cxn ang="0">
                  <a:pos x="10892" y="162"/>
                </a:cxn>
                <a:cxn ang="0">
                  <a:pos x="11584" y="189"/>
                </a:cxn>
                <a:cxn ang="0">
                  <a:pos x="12027" y="221"/>
                </a:cxn>
                <a:cxn ang="0">
                  <a:pos x="12420" y="275"/>
                </a:cxn>
                <a:cxn ang="0">
                  <a:pos x="12654" y="302"/>
                </a:cxn>
                <a:cxn ang="0">
                  <a:pos x="12889" y="322"/>
                </a:cxn>
                <a:cxn ang="0">
                  <a:pos x="13105" y="332"/>
                </a:cxn>
                <a:cxn ang="0">
                  <a:pos x="13284" y="326"/>
                </a:cxn>
                <a:cxn ang="0">
                  <a:pos x="13458" y="314"/>
                </a:cxn>
                <a:cxn ang="0">
                  <a:pos x="13660" y="306"/>
                </a:cxn>
                <a:cxn ang="0">
                  <a:pos x="14108" y="305"/>
                </a:cxn>
                <a:cxn ang="0">
                  <a:pos x="14435" y="317"/>
                </a:cxn>
                <a:cxn ang="0">
                  <a:pos x="14627" y="329"/>
                </a:cxn>
                <a:cxn ang="0">
                  <a:pos x="14783" y="345"/>
                </a:cxn>
                <a:cxn ang="0">
                  <a:pos x="15056" y="387"/>
                </a:cxn>
                <a:cxn ang="0">
                  <a:pos x="15471" y="436"/>
                </a:cxn>
                <a:cxn ang="0">
                  <a:pos x="15862" y="468"/>
                </a:cxn>
                <a:cxn ang="0">
                  <a:pos x="16217" y="482"/>
                </a:cxn>
                <a:cxn ang="0">
                  <a:pos x="16658" y="486"/>
                </a:cxn>
                <a:cxn ang="0">
                  <a:pos x="17011" y="475"/>
                </a:cxn>
                <a:cxn ang="0">
                  <a:pos x="16098" y="470"/>
                </a:cxn>
                <a:cxn ang="0">
                  <a:pos x="14176" y="468"/>
                </a:cxn>
                <a:cxn ang="0">
                  <a:pos x="12253" y="465"/>
                </a:cxn>
                <a:cxn ang="0">
                  <a:pos x="10332" y="463"/>
                </a:cxn>
                <a:cxn ang="0">
                  <a:pos x="8409" y="460"/>
                </a:cxn>
                <a:cxn ang="0">
                  <a:pos x="6487" y="458"/>
                </a:cxn>
                <a:cxn ang="0">
                  <a:pos x="4566" y="456"/>
                </a:cxn>
                <a:cxn ang="0">
                  <a:pos x="2644" y="453"/>
                </a:cxn>
                <a:cxn ang="0">
                  <a:pos x="842" y="468"/>
                </a:cxn>
              </a:cxnLst>
              <a:rect l="0" t="0" r="r" b="b"/>
              <a:pathLst>
                <a:path w="17060" h="486">
                  <a:moveTo>
                    <a:pt x="0" y="484"/>
                  </a:moveTo>
                  <a:lnTo>
                    <a:pt x="41" y="469"/>
                  </a:lnTo>
                  <a:lnTo>
                    <a:pt x="93" y="451"/>
                  </a:lnTo>
                  <a:lnTo>
                    <a:pt x="164" y="427"/>
                  </a:lnTo>
                  <a:lnTo>
                    <a:pt x="253" y="398"/>
                  </a:lnTo>
                  <a:lnTo>
                    <a:pt x="361" y="367"/>
                  </a:lnTo>
                  <a:lnTo>
                    <a:pt x="487" y="333"/>
                  </a:lnTo>
                  <a:lnTo>
                    <a:pt x="630" y="298"/>
                  </a:lnTo>
                  <a:lnTo>
                    <a:pt x="789" y="263"/>
                  </a:lnTo>
                  <a:lnTo>
                    <a:pt x="874" y="245"/>
                  </a:lnTo>
                  <a:lnTo>
                    <a:pt x="963" y="230"/>
                  </a:lnTo>
                  <a:lnTo>
                    <a:pt x="1155" y="197"/>
                  </a:lnTo>
                  <a:lnTo>
                    <a:pt x="1360" y="168"/>
                  </a:lnTo>
                  <a:lnTo>
                    <a:pt x="1580" y="144"/>
                  </a:lnTo>
                  <a:lnTo>
                    <a:pt x="1813" y="125"/>
                  </a:lnTo>
                  <a:lnTo>
                    <a:pt x="2059" y="112"/>
                  </a:lnTo>
                  <a:lnTo>
                    <a:pt x="2187" y="108"/>
                  </a:lnTo>
                  <a:lnTo>
                    <a:pt x="2318" y="107"/>
                  </a:lnTo>
                  <a:lnTo>
                    <a:pt x="2608" y="108"/>
                  </a:lnTo>
                  <a:lnTo>
                    <a:pt x="2940" y="113"/>
                  </a:lnTo>
                  <a:lnTo>
                    <a:pt x="3309" y="123"/>
                  </a:lnTo>
                  <a:lnTo>
                    <a:pt x="3703" y="133"/>
                  </a:lnTo>
                  <a:lnTo>
                    <a:pt x="4114" y="148"/>
                  </a:lnTo>
                  <a:lnTo>
                    <a:pt x="4536" y="163"/>
                  </a:lnTo>
                  <a:lnTo>
                    <a:pt x="5370" y="198"/>
                  </a:lnTo>
                  <a:lnTo>
                    <a:pt x="6140" y="234"/>
                  </a:lnTo>
                  <a:lnTo>
                    <a:pt x="6774" y="264"/>
                  </a:lnTo>
                  <a:lnTo>
                    <a:pt x="7364" y="296"/>
                  </a:lnTo>
                  <a:lnTo>
                    <a:pt x="7394" y="284"/>
                  </a:lnTo>
                  <a:lnTo>
                    <a:pt x="7482" y="254"/>
                  </a:lnTo>
                  <a:lnTo>
                    <a:pt x="7547" y="233"/>
                  </a:lnTo>
                  <a:lnTo>
                    <a:pt x="7626" y="209"/>
                  </a:lnTo>
                  <a:lnTo>
                    <a:pt x="7719" y="185"/>
                  </a:lnTo>
                  <a:lnTo>
                    <a:pt x="7826" y="159"/>
                  </a:lnTo>
                  <a:lnTo>
                    <a:pt x="7946" y="132"/>
                  </a:lnTo>
                  <a:lnTo>
                    <a:pt x="8078" y="106"/>
                  </a:lnTo>
                  <a:lnTo>
                    <a:pt x="8224" y="82"/>
                  </a:lnTo>
                  <a:lnTo>
                    <a:pt x="8380" y="59"/>
                  </a:lnTo>
                  <a:lnTo>
                    <a:pt x="8550" y="38"/>
                  </a:lnTo>
                  <a:lnTo>
                    <a:pt x="8732" y="22"/>
                  </a:lnTo>
                  <a:lnTo>
                    <a:pt x="8926" y="8"/>
                  </a:lnTo>
                  <a:lnTo>
                    <a:pt x="9130" y="0"/>
                  </a:lnTo>
                  <a:lnTo>
                    <a:pt x="9334" y="31"/>
                  </a:lnTo>
                  <a:lnTo>
                    <a:pt x="9550" y="59"/>
                  </a:lnTo>
                  <a:lnTo>
                    <a:pt x="9773" y="83"/>
                  </a:lnTo>
                  <a:lnTo>
                    <a:pt x="10002" y="103"/>
                  </a:lnTo>
                  <a:lnTo>
                    <a:pt x="10231" y="123"/>
                  </a:lnTo>
                  <a:lnTo>
                    <a:pt x="10457" y="138"/>
                  </a:lnTo>
                  <a:lnTo>
                    <a:pt x="10679" y="151"/>
                  </a:lnTo>
                  <a:lnTo>
                    <a:pt x="10892" y="162"/>
                  </a:lnTo>
                  <a:lnTo>
                    <a:pt x="11276" y="179"/>
                  </a:lnTo>
                  <a:lnTo>
                    <a:pt x="11584" y="189"/>
                  </a:lnTo>
                  <a:lnTo>
                    <a:pt x="11862" y="195"/>
                  </a:lnTo>
                  <a:lnTo>
                    <a:pt x="12027" y="221"/>
                  </a:lnTo>
                  <a:lnTo>
                    <a:pt x="12204" y="246"/>
                  </a:lnTo>
                  <a:lnTo>
                    <a:pt x="12420" y="275"/>
                  </a:lnTo>
                  <a:lnTo>
                    <a:pt x="12535" y="290"/>
                  </a:lnTo>
                  <a:lnTo>
                    <a:pt x="12654" y="302"/>
                  </a:lnTo>
                  <a:lnTo>
                    <a:pt x="12772" y="314"/>
                  </a:lnTo>
                  <a:lnTo>
                    <a:pt x="12889" y="322"/>
                  </a:lnTo>
                  <a:lnTo>
                    <a:pt x="13000" y="328"/>
                  </a:lnTo>
                  <a:lnTo>
                    <a:pt x="13105" y="332"/>
                  </a:lnTo>
                  <a:lnTo>
                    <a:pt x="13201" y="331"/>
                  </a:lnTo>
                  <a:lnTo>
                    <a:pt x="13284" y="326"/>
                  </a:lnTo>
                  <a:lnTo>
                    <a:pt x="13366" y="318"/>
                  </a:lnTo>
                  <a:lnTo>
                    <a:pt x="13458" y="314"/>
                  </a:lnTo>
                  <a:lnTo>
                    <a:pt x="13555" y="309"/>
                  </a:lnTo>
                  <a:lnTo>
                    <a:pt x="13660" y="306"/>
                  </a:lnTo>
                  <a:lnTo>
                    <a:pt x="13881" y="304"/>
                  </a:lnTo>
                  <a:lnTo>
                    <a:pt x="14108" y="305"/>
                  </a:lnTo>
                  <a:lnTo>
                    <a:pt x="14329" y="312"/>
                  </a:lnTo>
                  <a:lnTo>
                    <a:pt x="14435" y="317"/>
                  </a:lnTo>
                  <a:lnTo>
                    <a:pt x="14534" y="322"/>
                  </a:lnTo>
                  <a:lnTo>
                    <a:pt x="14627" y="329"/>
                  </a:lnTo>
                  <a:lnTo>
                    <a:pt x="14710" y="337"/>
                  </a:lnTo>
                  <a:lnTo>
                    <a:pt x="14783" y="345"/>
                  </a:lnTo>
                  <a:lnTo>
                    <a:pt x="14845" y="353"/>
                  </a:lnTo>
                  <a:lnTo>
                    <a:pt x="15056" y="387"/>
                  </a:lnTo>
                  <a:lnTo>
                    <a:pt x="15266" y="415"/>
                  </a:lnTo>
                  <a:lnTo>
                    <a:pt x="15471" y="436"/>
                  </a:lnTo>
                  <a:lnTo>
                    <a:pt x="15670" y="454"/>
                  </a:lnTo>
                  <a:lnTo>
                    <a:pt x="15862" y="468"/>
                  </a:lnTo>
                  <a:lnTo>
                    <a:pt x="16045" y="476"/>
                  </a:lnTo>
                  <a:lnTo>
                    <a:pt x="16217" y="482"/>
                  </a:lnTo>
                  <a:lnTo>
                    <a:pt x="16378" y="486"/>
                  </a:lnTo>
                  <a:lnTo>
                    <a:pt x="16658" y="486"/>
                  </a:lnTo>
                  <a:lnTo>
                    <a:pt x="16873" y="481"/>
                  </a:lnTo>
                  <a:lnTo>
                    <a:pt x="17011" y="475"/>
                  </a:lnTo>
                  <a:lnTo>
                    <a:pt x="17060" y="471"/>
                  </a:lnTo>
                  <a:lnTo>
                    <a:pt x="16098" y="470"/>
                  </a:lnTo>
                  <a:lnTo>
                    <a:pt x="15137" y="469"/>
                  </a:lnTo>
                  <a:lnTo>
                    <a:pt x="14176" y="468"/>
                  </a:lnTo>
                  <a:lnTo>
                    <a:pt x="13216" y="466"/>
                  </a:lnTo>
                  <a:lnTo>
                    <a:pt x="12253" y="465"/>
                  </a:lnTo>
                  <a:lnTo>
                    <a:pt x="11293" y="464"/>
                  </a:lnTo>
                  <a:lnTo>
                    <a:pt x="10332" y="463"/>
                  </a:lnTo>
                  <a:lnTo>
                    <a:pt x="9371" y="462"/>
                  </a:lnTo>
                  <a:lnTo>
                    <a:pt x="8409" y="460"/>
                  </a:lnTo>
                  <a:lnTo>
                    <a:pt x="7448" y="459"/>
                  </a:lnTo>
                  <a:lnTo>
                    <a:pt x="6487" y="458"/>
                  </a:lnTo>
                  <a:lnTo>
                    <a:pt x="5527" y="457"/>
                  </a:lnTo>
                  <a:lnTo>
                    <a:pt x="4566" y="456"/>
                  </a:lnTo>
                  <a:lnTo>
                    <a:pt x="3605" y="454"/>
                  </a:lnTo>
                  <a:lnTo>
                    <a:pt x="2644" y="453"/>
                  </a:lnTo>
                  <a:lnTo>
                    <a:pt x="1683" y="452"/>
                  </a:lnTo>
                  <a:lnTo>
                    <a:pt x="842" y="468"/>
                  </a:lnTo>
                  <a:lnTo>
                    <a:pt x="0" y="4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3" name="Freeform 55"/>
            <p:cNvSpPr>
              <a:spLocks noEditPoints="1"/>
            </p:cNvSpPr>
            <p:nvPr userDrawn="1"/>
          </p:nvSpPr>
          <p:spPr bwMode="auto">
            <a:xfrm>
              <a:off x="1831975" y="6197601"/>
              <a:ext cx="79375" cy="46038"/>
            </a:xfrm>
            <a:custGeom>
              <a:avLst/>
              <a:gdLst/>
              <a:ahLst/>
              <a:cxnLst>
                <a:cxn ang="0">
                  <a:pos x="29" y="50"/>
                </a:cxn>
                <a:cxn ang="0">
                  <a:pos x="27" y="43"/>
                </a:cxn>
                <a:cxn ang="0">
                  <a:pos x="32" y="44"/>
                </a:cxn>
                <a:cxn ang="0">
                  <a:pos x="40" y="50"/>
                </a:cxn>
                <a:cxn ang="0">
                  <a:pos x="250" y="56"/>
                </a:cxn>
                <a:cxn ang="0">
                  <a:pos x="241" y="49"/>
                </a:cxn>
                <a:cxn ang="0">
                  <a:pos x="234" y="39"/>
                </a:cxn>
                <a:cxn ang="0">
                  <a:pos x="224" y="26"/>
                </a:cxn>
                <a:cxn ang="0">
                  <a:pos x="212" y="23"/>
                </a:cxn>
                <a:cxn ang="0">
                  <a:pos x="188" y="27"/>
                </a:cxn>
                <a:cxn ang="0">
                  <a:pos x="182" y="23"/>
                </a:cxn>
                <a:cxn ang="0">
                  <a:pos x="163" y="14"/>
                </a:cxn>
                <a:cxn ang="0">
                  <a:pos x="151" y="9"/>
                </a:cxn>
                <a:cxn ang="0">
                  <a:pos x="128" y="0"/>
                </a:cxn>
                <a:cxn ang="0">
                  <a:pos x="116" y="0"/>
                </a:cxn>
                <a:cxn ang="0">
                  <a:pos x="98" y="3"/>
                </a:cxn>
                <a:cxn ang="0">
                  <a:pos x="87" y="8"/>
                </a:cxn>
                <a:cxn ang="0">
                  <a:pos x="73" y="14"/>
                </a:cxn>
                <a:cxn ang="0">
                  <a:pos x="49" y="27"/>
                </a:cxn>
                <a:cxn ang="0">
                  <a:pos x="35" y="35"/>
                </a:cxn>
                <a:cxn ang="0">
                  <a:pos x="25" y="37"/>
                </a:cxn>
                <a:cxn ang="0">
                  <a:pos x="10" y="38"/>
                </a:cxn>
                <a:cxn ang="0">
                  <a:pos x="0" y="41"/>
                </a:cxn>
                <a:cxn ang="0">
                  <a:pos x="3" y="45"/>
                </a:cxn>
                <a:cxn ang="0">
                  <a:pos x="16" y="45"/>
                </a:cxn>
                <a:cxn ang="0">
                  <a:pos x="22" y="47"/>
                </a:cxn>
                <a:cxn ang="0">
                  <a:pos x="17" y="46"/>
                </a:cxn>
                <a:cxn ang="0">
                  <a:pos x="17" y="52"/>
                </a:cxn>
                <a:cxn ang="0">
                  <a:pos x="9" y="51"/>
                </a:cxn>
                <a:cxn ang="0">
                  <a:pos x="8" y="55"/>
                </a:cxn>
                <a:cxn ang="0">
                  <a:pos x="18" y="58"/>
                </a:cxn>
                <a:cxn ang="0">
                  <a:pos x="33" y="57"/>
                </a:cxn>
                <a:cxn ang="0">
                  <a:pos x="52" y="64"/>
                </a:cxn>
                <a:cxn ang="0">
                  <a:pos x="67" y="73"/>
                </a:cxn>
                <a:cxn ang="0">
                  <a:pos x="71" y="79"/>
                </a:cxn>
                <a:cxn ang="0">
                  <a:pos x="65" y="89"/>
                </a:cxn>
                <a:cxn ang="0">
                  <a:pos x="63" y="97"/>
                </a:cxn>
                <a:cxn ang="0">
                  <a:pos x="62" y="100"/>
                </a:cxn>
                <a:cxn ang="0">
                  <a:pos x="59" y="106"/>
                </a:cxn>
                <a:cxn ang="0">
                  <a:pos x="59" y="113"/>
                </a:cxn>
                <a:cxn ang="0">
                  <a:pos x="57" y="121"/>
                </a:cxn>
                <a:cxn ang="0">
                  <a:pos x="51" y="136"/>
                </a:cxn>
                <a:cxn ang="0">
                  <a:pos x="52" y="139"/>
                </a:cxn>
                <a:cxn ang="0">
                  <a:pos x="55" y="142"/>
                </a:cxn>
                <a:cxn ang="0">
                  <a:pos x="64" y="125"/>
                </a:cxn>
                <a:cxn ang="0">
                  <a:pos x="69" y="127"/>
                </a:cxn>
                <a:cxn ang="0">
                  <a:pos x="82" y="112"/>
                </a:cxn>
                <a:cxn ang="0">
                  <a:pos x="105" y="91"/>
                </a:cxn>
                <a:cxn ang="0">
                  <a:pos x="121" y="77"/>
                </a:cxn>
                <a:cxn ang="0">
                  <a:pos x="149" y="70"/>
                </a:cxn>
                <a:cxn ang="0">
                  <a:pos x="165" y="64"/>
                </a:cxn>
                <a:cxn ang="0">
                  <a:pos x="185" y="55"/>
                </a:cxn>
                <a:cxn ang="0">
                  <a:pos x="199" y="51"/>
                </a:cxn>
                <a:cxn ang="0">
                  <a:pos x="211" y="52"/>
                </a:cxn>
                <a:cxn ang="0">
                  <a:pos x="224" y="55"/>
                </a:cxn>
                <a:cxn ang="0">
                  <a:pos x="236" y="57"/>
                </a:cxn>
                <a:cxn ang="0">
                  <a:pos x="251" y="59"/>
                </a:cxn>
                <a:cxn ang="0">
                  <a:pos x="253" y="58"/>
                </a:cxn>
              </a:cxnLst>
              <a:rect l="0" t="0" r="r" b="b"/>
              <a:pathLst>
                <a:path w="253" h="142">
                  <a:moveTo>
                    <a:pt x="34" y="51"/>
                  </a:moveTo>
                  <a:lnTo>
                    <a:pt x="32" y="51"/>
                  </a:lnTo>
                  <a:lnTo>
                    <a:pt x="29" y="50"/>
                  </a:lnTo>
                  <a:lnTo>
                    <a:pt x="25" y="46"/>
                  </a:lnTo>
                  <a:lnTo>
                    <a:pt x="23" y="44"/>
                  </a:lnTo>
                  <a:lnTo>
                    <a:pt x="27" y="43"/>
                  </a:lnTo>
                  <a:lnTo>
                    <a:pt x="29" y="43"/>
                  </a:lnTo>
                  <a:lnTo>
                    <a:pt x="31" y="44"/>
                  </a:lnTo>
                  <a:lnTo>
                    <a:pt x="32" y="44"/>
                  </a:lnTo>
                  <a:lnTo>
                    <a:pt x="35" y="45"/>
                  </a:lnTo>
                  <a:lnTo>
                    <a:pt x="38" y="47"/>
                  </a:lnTo>
                  <a:lnTo>
                    <a:pt x="40" y="50"/>
                  </a:lnTo>
                  <a:lnTo>
                    <a:pt x="38" y="50"/>
                  </a:lnTo>
                  <a:lnTo>
                    <a:pt x="34" y="51"/>
                  </a:lnTo>
                  <a:close/>
                  <a:moveTo>
                    <a:pt x="250" y="56"/>
                  </a:moveTo>
                  <a:lnTo>
                    <a:pt x="245" y="53"/>
                  </a:lnTo>
                  <a:lnTo>
                    <a:pt x="242" y="51"/>
                  </a:lnTo>
                  <a:lnTo>
                    <a:pt x="241" y="49"/>
                  </a:lnTo>
                  <a:lnTo>
                    <a:pt x="239" y="47"/>
                  </a:lnTo>
                  <a:lnTo>
                    <a:pt x="236" y="44"/>
                  </a:lnTo>
                  <a:lnTo>
                    <a:pt x="234" y="39"/>
                  </a:lnTo>
                  <a:lnTo>
                    <a:pt x="232" y="32"/>
                  </a:lnTo>
                  <a:lnTo>
                    <a:pt x="229" y="29"/>
                  </a:lnTo>
                  <a:lnTo>
                    <a:pt x="224" y="26"/>
                  </a:lnTo>
                  <a:lnTo>
                    <a:pt x="221" y="24"/>
                  </a:lnTo>
                  <a:lnTo>
                    <a:pt x="217" y="23"/>
                  </a:lnTo>
                  <a:lnTo>
                    <a:pt x="212" y="23"/>
                  </a:lnTo>
                  <a:lnTo>
                    <a:pt x="209" y="24"/>
                  </a:lnTo>
                  <a:lnTo>
                    <a:pt x="193" y="26"/>
                  </a:lnTo>
                  <a:lnTo>
                    <a:pt x="188" y="27"/>
                  </a:lnTo>
                  <a:lnTo>
                    <a:pt x="187" y="27"/>
                  </a:lnTo>
                  <a:lnTo>
                    <a:pt x="185" y="24"/>
                  </a:lnTo>
                  <a:lnTo>
                    <a:pt x="182" y="23"/>
                  </a:lnTo>
                  <a:lnTo>
                    <a:pt x="175" y="21"/>
                  </a:lnTo>
                  <a:lnTo>
                    <a:pt x="167" y="17"/>
                  </a:lnTo>
                  <a:lnTo>
                    <a:pt x="163" y="14"/>
                  </a:lnTo>
                  <a:lnTo>
                    <a:pt x="159" y="12"/>
                  </a:lnTo>
                  <a:lnTo>
                    <a:pt x="155" y="10"/>
                  </a:lnTo>
                  <a:lnTo>
                    <a:pt x="151" y="9"/>
                  </a:lnTo>
                  <a:lnTo>
                    <a:pt x="143" y="5"/>
                  </a:lnTo>
                  <a:lnTo>
                    <a:pt x="134" y="3"/>
                  </a:lnTo>
                  <a:lnTo>
                    <a:pt x="128" y="0"/>
                  </a:lnTo>
                  <a:lnTo>
                    <a:pt x="126" y="0"/>
                  </a:lnTo>
                  <a:lnTo>
                    <a:pt x="123" y="0"/>
                  </a:lnTo>
                  <a:lnTo>
                    <a:pt x="116" y="0"/>
                  </a:lnTo>
                  <a:lnTo>
                    <a:pt x="110" y="0"/>
                  </a:lnTo>
                  <a:lnTo>
                    <a:pt x="103" y="2"/>
                  </a:lnTo>
                  <a:lnTo>
                    <a:pt x="98" y="3"/>
                  </a:lnTo>
                  <a:lnTo>
                    <a:pt x="93" y="4"/>
                  </a:lnTo>
                  <a:lnTo>
                    <a:pt x="90" y="6"/>
                  </a:lnTo>
                  <a:lnTo>
                    <a:pt x="87" y="8"/>
                  </a:lnTo>
                  <a:lnTo>
                    <a:pt x="82" y="9"/>
                  </a:lnTo>
                  <a:lnTo>
                    <a:pt x="79" y="10"/>
                  </a:lnTo>
                  <a:lnTo>
                    <a:pt x="73" y="14"/>
                  </a:lnTo>
                  <a:lnTo>
                    <a:pt x="64" y="18"/>
                  </a:lnTo>
                  <a:lnTo>
                    <a:pt x="56" y="22"/>
                  </a:lnTo>
                  <a:lnTo>
                    <a:pt x="49" y="27"/>
                  </a:lnTo>
                  <a:lnTo>
                    <a:pt x="44" y="29"/>
                  </a:lnTo>
                  <a:lnTo>
                    <a:pt x="40" y="33"/>
                  </a:lnTo>
                  <a:lnTo>
                    <a:pt x="35" y="35"/>
                  </a:lnTo>
                  <a:lnTo>
                    <a:pt x="32" y="37"/>
                  </a:lnTo>
                  <a:lnTo>
                    <a:pt x="28" y="37"/>
                  </a:lnTo>
                  <a:lnTo>
                    <a:pt x="25" y="37"/>
                  </a:lnTo>
                  <a:lnTo>
                    <a:pt x="22" y="38"/>
                  </a:lnTo>
                  <a:lnTo>
                    <a:pt x="17" y="38"/>
                  </a:lnTo>
                  <a:lnTo>
                    <a:pt x="10" y="38"/>
                  </a:lnTo>
                  <a:lnTo>
                    <a:pt x="5" y="39"/>
                  </a:lnTo>
                  <a:lnTo>
                    <a:pt x="3" y="40"/>
                  </a:lnTo>
                  <a:lnTo>
                    <a:pt x="0" y="41"/>
                  </a:lnTo>
                  <a:lnTo>
                    <a:pt x="0" y="43"/>
                  </a:lnTo>
                  <a:lnTo>
                    <a:pt x="0" y="44"/>
                  </a:lnTo>
                  <a:lnTo>
                    <a:pt x="3" y="45"/>
                  </a:lnTo>
                  <a:lnTo>
                    <a:pt x="6" y="45"/>
                  </a:lnTo>
                  <a:lnTo>
                    <a:pt x="9" y="45"/>
                  </a:lnTo>
                  <a:lnTo>
                    <a:pt x="16" y="45"/>
                  </a:lnTo>
                  <a:lnTo>
                    <a:pt x="18" y="45"/>
                  </a:lnTo>
                  <a:lnTo>
                    <a:pt x="18" y="46"/>
                  </a:lnTo>
                  <a:lnTo>
                    <a:pt x="22" y="47"/>
                  </a:lnTo>
                  <a:lnTo>
                    <a:pt x="20" y="49"/>
                  </a:lnTo>
                  <a:lnTo>
                    <a:pt x="18" y="46"/>
                  </a:lnTo>
                  <a:lnTo>
                    <a:pt x="17" y="46"/>
                  </a:lnTo>
                  <a:lnTo>
                    <a:pt x="16" y="47"/>
                  </a:lnTo>
                  <a:lnTo>
                    <a:pt x="16" y="50"/>
                  </a:lnTo>
                  <a:lnTo>
                    <a:pt x="17" y="52"/>
                  </a:lnTo>
                  <a:lnTo>
                    <a:pt x="14" y="52"/>
                  </a:lnTo>
                  <a:lnTo>
                    <a:pt x="10" y="52"/>
                  </a:lnTo>
                  <a:lnTo>
                    <a:pt x="9" y="51"/>
                  </a:lnTo>
                  <a:lnTo>
                    <a:pt x="8" y="53"/>
                  </a:lnTo>
                  <a:lnTo>
                    <a:pt x="6" y="55"/>
                  </a:lnTo>
                  <a:lnTo>
                    <a:pt x="8" y="55"/>
                  </a:lnTo>
                  <a:lnTo>
                    <a:pt x="9" y="56"/>
                  </a:lnTo>
                  <a:lnTo>
                    <a:pt x="12" y="57"/>
                  </a:lnTo>
                  <a:lnTo>
                    <a:pt x="18" y="58"/>
                  </a:lnTo>
                  <a:lnTo>
                    <a:pt x="27" y="58"/>
                  </a:lnTo>
                  <a:lnTo>
                    <a:pt x="29" y="58"/>
                  </a:lnTo>
                  <a:lnTo>
                    <a:pt x="33" y="57"/>
                  </a:lnTo>
                  <a:lnTo>
                    <a:pt x="39" y="57"/>
                  </a:lnTo>
                  <a:lnTo>
                    <a:pt x="46" y="57"/>
                  </a:lnTo>
                  <a:lnTo>
                    <a:pt x="52" y="64"/>
                  </a:lnTo>
                  <a:lnTo>
                    <a:pt x="58" y="68"/>
                  </a:lnTo>
                  <a:lnTo>
                    <a:pt x="63" y="71"/>
                  </a:lnTo>
                  <a:lnTo>
                    <a:pt x="67" y="73"/>
                  </a:lnTo>
                  <a:lnTo>
                    <a:pt x="70" y="74"/>
                  </a:lnTo>
                  <a:lnTo>
                    <a:pt x="74" y="75"/>
                  </a:lnTo>
                  <a:lnTo>
                    <a:pt x="71" y="79"/>
                  </a:lnTo>
                  <a:lnTo>
                    <a:pt x="69" y="83"/>
                  </a:lnTo>
                  <a:lnTo>
                    <a:pt x="67" y="88"/>
                  </a:lnTo>
                  <a:lnTo>
                    <a:pt x="65" y="89"/>
                  </a:lnTo>
                  <a:lnTo>
                    <a:pt x="64" y="92"/>
                  </a:lnTo>
                  <a:lnTo>
                    <a:pt x="63" y="95"/>
                  </a:lnTo>
                  <a:lnTo>
                    <a:pt x="63" y="97"/>
                  </a:lnTo>
                  <a:lnTo>
                    <a:pt x="63" y="98"/>
                  </a:lnTo>
                  <a:lnTo>
                    <a:pt x="62" y="99"/>
                  </a:lnTo>
                  <a:lnTo>
                    <a:pt x="62" y="100"/>
                  </a:lnTo>
                  <a:lnTo>
                    <a:pt x="61" y="103"/>
                  </a:lnTo>
                  <a:lnTo>
                    <a:pt x="61" y="105"/>
                  </a:lnTo>
                  <a:lnTo>
                    <a:pt x="59" y="106"/>
                  </a:lnTo>
                  <a:lnTo>
                    <a:pt x="59" y="111"/>
                  </a:lnTo>
                  <a:lnTo>
                    <a:pt x="59" y="112"/>
                  </a:lnTo>
                  <a:lnTo>
                    <a:pt x="59" y="113"/>
                  </a:lnTo>
                  <a:lnTo>
                    <a:pt x="58" y="117"/>
                  </a:lnTo>
                  <a:lnTo>
                    <a:pt x="61" y="117"/>
                  </a:lnTo>
                  <a:lnTo>
                    <a:pt x="57" y="121"/>
                  </a:lnTo>
                  <a:lnTo>
                    <a:pt x="58" y="122"/>
                  </a:lnTo>
                  <a:lnTo>
                    <a:pt x="53" y="131"/>
                  </a:lnTo>
                  <a:lnTo>
                    <a:pt x="51" y="136"/>
                  </a:lnTo>
                  <a:lnTo>
                    <a:pt x="51" y="138"/>
                  </a:lnTo>
                  <a:lnTo>
                    <a:pt x="51" y="139"/>
                  </a:lnTo>
                  <a:lnTo>
                    <a:pt x="52" y="139"/>
                  </a:lnTo>
                  <a:lnTo>
                    <a:pt x="53" y="138"/>
                  </a:lnTo>
                  <a:lnTo>
                    <a:pt x="55" y="136"/>
                  </a:lnTo>
                  <a:lnTo>
                    <a:pt x="55" y="142"/>
                  </a:lnTo>
                  <a:lnTo>
                    <a:pt x="58" y="134"/>
                  </a:lnTo>
                  <a:lnTo>
                    <a:pt x="62" y="130"/>
                  </a:lnTo>
                  <a:lnTo>
                    <a:pt x="64" y="125"/>
                  </a:lnTo>
                  <a:lnTo>
                    <a:pt x="73" y="118"/>
                  </a:lnTo>
                  <a:lnTo>
                    <a:pt x="70" y="121"/>
                  </a:lnTo>
                  <a:lnTo>
                    <a:pt x="69" y="127"/>
                  </a:lnTo>
                  <a:lnTo>
                    <a:pt x="69" y="131"/>
                  </a:lnTo>
                  <a:lnTo>
                    <a:pt x="76" y="121"/>
                  </a:lnTo>
                  <a:lnTo>
                    <a:pt x="82" y="112"/>
                  </a:lnTo>
                  <a:lnTo>
                    <a:pt x="87" y="107"/>
                  </a:lnTo>
                  <a:lnTo>
                    <a:pt x="93" y="101"/>
                  </a:lnTo>
                  <a:lnTo>
                    <a:pt x="105" y="91"/>
                  </a:lnTo>
                  <a:lnTo>
                    <a:pt x="114" y="83"/>
                  </a:lnTo>
                  <a:lnTo>
                    <a:pt x="120" y="79"/>
                  </a:lnTo>
                  <a:lnTo>
                    <a:pt x="121" y="77"/>
                  </a:lnTo>
                  <a:lnTo>
                    <a:pt x="122" y="77"/>
                  </a:lnTo>
                  <a:lnTo>
                    <a:pt x="134" y="74"/>
                  </a:lnTo>
                  <a:lnTo>
                    <a:pt x="149" y="70"/>
                  </a:lnTo>
                  <a:lnTo>
                    <a:pt x="153" y="69"/>
                  </a:lnTo>
                  <a:lnTo>
                    <a:pt x="158" y="67"/>
                  </a:lnTo>
                  <a:lnTo>
                    <a:pt x="165" y="64"/>
                  </a:lnTo>
                  <a:lnTo>
                    <a:pt x="171" y="61"/>
                  </a:lnTo>
                  <a:lnTo>
                    <a:pt x="179" y="57"/>
                  </a:lnTo>
                  <a:lnTo>
                    <a:pt x="185" y="55"/>
                  </a:lnTo>
                  <a:lnTo>
                    <a:pt x="189" y="53"/>
                  </a:lnTo>
                  <a:lnTo>
                    <a:pt x="193" y="51"/>
                  </a:lnTo>
                  <a:lnTo>
                    <a:pt x="199" y="51"/>
                  </a:lnTo>
                  <a:lnTo>
                    <a:pt x="206" y="50"/>
                  </a:lnTo>
                  <a:lnTo>
                    <a:pt x="209" y="51"/>
                  </a:lnTo>
                  <a:lnTo>
                    <a:pt x="211" y="52"/>
                  </a:lnTo>
                  <a:lnTo>
                    <a:pt x="215" y="53"/>
                  </a:lnTo>
                  <a:lnTo>
                    <a:pt x="216" y="55"/>
                  </a:lnTo>
                  <a:lnTo>
                    <a:pt x="224" y="55"/>
                  </a:lnTo>
                  <a:lnTo>
                    <a:pt x="228" y="55"/>
                  </a:lnTo>
                  <a:lnTo>
                    <a:pt x="232" y="56"/>
                  </a:lnTo>
                  <a:lnTo>
                    <a:pt x="236" y="57"/>
                  </a:lnTo>
                  <a:lnTo>
                    <a:pt x="242" y="58"/>
                  </a:lnTo>
                  <a:lnTo>
                    <a:pt x="247" y="59"/>
                  </a:lnTo>
                  <a:lnTo>
                    <a:pt x="251" y="59"/>
                  </a:lnTo>
                  <a:lnTo>
                    <a:pt x="252" y="59"/>
                  </a:lnTo>
                  <a:lnTo>
                    <a:pt x="253" y="59"/>
                  </a:lnTo>
                  <a:lnTo>
                    <a:pt x="253" y="58"/>
                  </a:lnTo>
                  <a:lnTo>
                    <a:pt x="252" y="57"/>
                  </a:lnTo>
                  <a:lnTo>
                    <a:pt x="250" y="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4" name="Freeform 56"/>
            <p:cNvSpPr>
              <a:spLocks/>
            </p:cNvSpPr>
            <p:nvPr userDrawn="1"/>
          </p:nvSpPr>
          <p:spPr bwMode="auto">
            <a:xfrm>
              <a:off x="1838325" y="6211888"/>
              <a:ext cx="6350" cy="1588"/>
            </a:xfrm>
            <a:custGeom>
              <a:avLst/>
              <a:gdLst/>
              <a:ahLst/>
              <a:cxnLst>
                <a:cxn ang="0">
                  <a:pos x="11" y="8"/>
                </a:cxn>
                <a:cxn ang="0">
                  <a:pos x="9" y="8"/>
                </a:cxn>
                <a:cxn ang="0">
                  <a:pos x="6" y="7"/>
                </a:cxn>
                <a:cxn ang="0">
                  <a:pos x="2" y="3"/>
                </a:cxn>
                <a:cxn ang="0">
                  <a:pos x="0" y="1"/>
                </a:cxn>
                <a:cxn ang="0">
                  <a:pos x="4" y="0"/>
                </a:cxn>
                <a:cxn ang="0">
                  <a:pos x="6" y="0"/>
                </a:cxn>
                <a:cxn ang="0">
                  <a:pos x="8" y="1"/>
                </a:cxn>
                <a:cxn ang="0">
                  <a:pos x="9" y="1"/>
                </a:cxn>
                <a:cxn ang="0">
                  <a:pos x="12" y="2"/>
                </a:cxn>
                <a:cxn ang="0">
                  <a:pos x="15" y="4"/>
                </a:cxn>
                <a:cxn ang="0">
                  <a:pos x="17" y="7"/>
                </a:cxn>
                <a:cxn ang="0">
                  <a:pos x="15" y="7"/>
                </a:cxn>
                <a:cxn ang="0">
                  <a:pos x="11" y="8"/>
                </a:cxn>
              </a:cxnLst>
              <a:rect l="0" t="0" r="r" b="b"/>
              <a:pathLst>
                <a:path w="17" h="8">
                  <a:moveTo>
                    <a:pt x="11" y="8"/>
                  </a:moveTo>
                  <a:lnTo>
                    <a:pt x="9" y="8"/>
                  </a:lnTo>
                  <a:lnTo>
                    <a:pt x="6" y="7"/>
                  </a:lnTo>
                  <a:lnTo>
                    <a:pt x="2" y="3"/>
                  </a:lnTo>
                  <a:lnTo>
                    <a:pt x="0" y="1"/>
                  </a:lnTo>
                  <a:lnTo>
                    <a:pt x="4" y="0"/>
                  </a:lnTo>
                  <a:lnTo>
                    <a:pt x="6" y="0"/>
                  </a:lnTo>
                  <a:lnTo>
                    <a:pt x="8" y="1"/>
                  </a:lnTo>
                  <a:lnTo>
                    <a:pt x="9" y="1"/>
                  </a:lnTo>
                  <a:lnTo>
                    <a:pt x="12" y="2"/>
                  </a:lnTo>
                  <a:lnTo>
                    <a:pt x="15" y="4"/>
                  </a:lnTo>
                  <a:lnTo>
                    <a:pt x="17" y="7"/>
                  </a:lnTo>
                  <a:lnTo>
                    <a:pt x="15" y="7"/>
                  </a:lnTo>
                  <a:lnTo>
                    <a:pt x="11" y="8"/>
                  </a:lnTo>
                  <a:close/>
                </a:path>
              </a:pathLst>
            </a:custGeom>
            <a:solidFill>
              <a:srgbClr val="EC002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5" name="Freeform 58"/>
            <p:cNvSpPr>
              <a:spLocks/>
            </p:cNvSpPr>
            <p:nvPr userDrawn="1"/>
          </p:nvSpPr>
          <p:spPr bwMode="auto">
            <a:xfrm>
              <a:off x="101600" y="6461126"/>
              <a:ext cx="5545138" cy="161925"/>
            </a:xfrm>
            <a:custGeom>
              <a:avLst/>
              <a:gdLst/>
              <a:ahLst/>
              <a:cxnLst>
                <a:cxn ang="0">
                  <a:pos x="952" y="322"/>
                </a:cxn>
                <a:cxn ang="0">
                  <a:pos x="2109" y="167"/>
                </a:cxn>
                <a:cxn ang="0">
                  <a:pos x="2773" y="95"/>
                </a:cxn>
                <a:cxn ang="0">
                  <a:pos x="3240" y="70"/>
                </a:cxn>
                <a:cxn ang="0">
                  <a:pos x="3428" y="90"/>
                </a:cxn>
                <a:cxn ang="0">
                  <a:pos x="4139" y="143"/>
                </a:cxn>
                <a:cxn ang="0">
                  <a:pos x="5006" y="190"/>
                </a:cxn>
                <a:cxn ang="0">
                  <a:pos x="5418" y="222"/>
                </a:cxn>
                <a:cxn ang="0">
                  <a:pos x="5653" y="259"/>
                </a:cxn>
                <a:cxn ang="0">
                  <a:pos x="5819" y="270"/>
                </a:cxn>
                <a:cxn ang="0">
                  <a:pos x="6127" y="259"/>
                </a:cxn>
                <a:cxn ang="0">
                  <a:pos x="6563" y="217"/>
                </a:cxn>
                <a:cxn ang="0">
                  <a:pos x="7013" y="148"/>
                </a:cxn>
                <a:cxn ang="0">
                  <a:pos x="7559" y="59"/>
                </a:cxn>
                <a:cxn ang="0">
                  <a:pos x="7853" y="30"/>
                </a:cxn>
                <a:cxn ang="0">
                  <a:pos x="8138" y="35"/>
                </a:cxn>
                <a:cxn ang="0">
                  <a:pos x="8378" y="57"/>
                </a:cxn>
                <a:cxn ang="0">
                  <a:pos x="8621" y="95"/>
                </a:cxn>
                <a:cxn ang="0">
                  <a:pos x="8850" y="148"/>
                </a:cxn>
                <a:cxn ang="0">
                  <a:pos x="9035" y="195"/>
                </a:cxn>
                <a:cxn ang="0">
                  <a:pos x="9266" y="220"/>
                </a:cxn>
                <a:cxn ang="0">
                  <a:pos x="9686" y="223"/>
                </a:cxn>
                <a:cxn ang="0">
                  <a:pos x="10229" y="214"/>
                </a:cxn>
                <a:cxn ang="0">
                  <a:pos x="10335" y="223"/>
                </a:cxn>
                <a:cxn ang="0">
                  <a:pos x="10451" y="223"/>
                </a:cxn>
                <a:cxn ang="0">
                  <a:pos x="10560" y="189"/>
                </a:cxn>
                <a:cxn ang="0">
                  <a:pos x="10781" y="74"/>
                </a:cxn>
                <a:cxn ang="0">
                  <a:pos x="10896" y="24"/>
                </a:cxn>
                <a:cxn ang="0">
                  <a:pos x="10989" y="5"/>
                </a:cxn>
                <a:cxn ang="0">
                  <a:pos x="11240" y="1"/>
                </a:cxn>
                <a:cxn ang="0">
                  <a:pos x="11986" y="44"/>
                </a:cxn>
                <a:cxn ang="0">
                  <a:pos x="12478" y="65"/>
                </a:cxn>
                <a:cxn ang="0">
                  <a:pos x="12785" y="50"/>
                </a:cxn>
                <a:cxn ang="0">
                  <a:pos x="13375" y="26"/>
                </a:cxn>
                <a:cxn ang="0">
                  <a:pos x="14252" y="23"/>
                </a:cxn>
                <a:cxn ang="0">
                  <a:pos x="14761" y="39"/>
                </a:cxn>
                <a:cxn ang="0">
                  <a:pos x="15301" y="72"/>
                </a:cxn>
                <a:cxn ang="0">
                  <a:pos x="15855" y="126"/>
                </a:cxn>
                <a:cxn ang="0">
                  <a:pos x="16411" y="204"/>
                </a:cxn>
                <a:cxn ang="0">
                  <a:pos x="16953" y="311"/>
                </a:cxn>
                <a:cxn ang="0">
                  <a:pos x="17384" y="424"/>
                </a:cxn>
                <a:cxn ang="0">
                  <a:pos x="17461" y="464"/>
                </a:cxn>
                <a:cxn ang="0">
                  <a:pos x="17411" y="481"/>
                </a:cxn>
                <a:cxn ang="0">
                  <a:pos x="17234" y="500"/>
                </a:cxn>
                <a:cxn ang="0">
                  <a:pos x="16606" y="512"/>
                </a:cxn>
                <a:cxn ang="0">
                  <a:pos x="15579" y="493"/>
                </a:cxn>
                <a:cxn ang="0">
                  <a:pos x="13652" y="418"/>
                </a:cxn>
                <a:cxn ang="0">
                  <a:pos x="11826" y="457"/>
                </a:cxn>
                <a:cxn ang="0">
                  <a:pos x="9898" y="467"/>
                </a:cxn>
                <a:cxn ang="0">
                  <a:pos x="7919" y="465"/>
                </a:cxn>
                <a:cxn ang="0">
                  <a:pos x="5941" y="464"/>
                </a:cxn>
                <a:cxn ang="0">
                  <a:pos x="3712" y="464"/>
                </a:cxn>
                <a:cxn ang="0">
                  <a:pos x="1485" y="464"/>
                </a:cxn>
              </a:cxnLst>
              <a:rect l="0" t="0" r="r" b="b"/>
              <a:pathLst>
                <a:path w="17467" h="512">
                  <a:moveTo>
                    <a:pt x="0" y="464"/>
                  </a:moveTo>
                  <a:lnTo>
                    <a:pt x="466" y="393"/>
                  </a:lnTo>
                  <a:lnTo>
                    <a:pt x="952" y="322"/>
                  </a:lnTo>
                  <a:lnTo>
                    <a:pt x="1521" y="243"/>
                  </a:lnTo>
                  <a:lnTo>
                    <a:pt x="1817" y="203"/>
                  </a:lnTo>
                  <a:lnTo>
                    <a:pt x="2109" y="167"/>
                  </a:lnTo>
                  <a:lnTo>
                    <a:pt x="2390" y="133"/>
                  </a:lnTo>
                  <a:lnTo>
                    <a:pt x="2651" y="106"/>
                  </a:lnTo>
                  <a:lnTo>
                    <a:pt x="2773" y="95"/>
                  </a:lnTo>
                  <a:lnTo>
                    <a:pt x="2886" y="85"/>
                  </a:lnTo>
                  <a:lnTo>
                    <a:pt x="3085" y="72"/>
                  </a:lnTo>
                  <a:lnTo>
                    <a:pt x="3240" y="70"/>
                  </a:lnTo>
                  <a:lnTo>
                    <a:pt x="3299" y="72"/>
                  </a:lnTo>
                  <a:lnTo>
                    <a:pt x="3344" y="77"/>
                  </a:lnTo>
                  <a:lnTo>
                    <a:pt x="3428" y="90"/>
                  </a:lnTo>
                  <a:lnTo>
                    <a:pt x="3537" y="102"/>
                  </a:lnTo>
                  <a:lnTo>
                    <a:pt x="3812" y="124"/>
                  </a:lnTo>
                  <a:lnTo>
                    <a:pt x="4139" y="143"/>
                  </a:lnTo>
                  <a:lnTo>
                    <a:pt x="4492" y="161"/>
                  </a:lnTo>
                  <a:lnTo>
                    <a:pt x="4843" y="180"/>
                  </a:lnTo>
                  <a:lnTo>
                    <a:pt x="5006" y="190"/>
                  </a:lnTo>
                  <a:lnTo>
                    <a:pt x="5160" y="199"/>
                  </a:lnTo>
                  <a:lnTo>
                    <a:pt x="5298" y="210"/>
                  </a:lnTo>
                  <a:lnTo>
                    <a:pt x="5418" y="222"/>
                  </a:lnTo>
                  <a:lnTo>
                    <a:pt x="5516" y="234"/>
                  </a:lnTo>
                  <a:lnTo>
                    <a:pt x="5588" y="247"/>
                  </a:lnTo>
                  <a:lnTo>
                    <a:pt x="5653" y="259"/>
                  </a:lnTo>
                  <a:lnTo>
                    <a:pt x="5691" y="264"/>
                  </a:lnTo>
                  <a:lnTo>
                    <a:pt x="5731" y="267"/>
                  </a:lnTo>
                  <a:lnTo>
                    <a:pt x="5819" y="270"/>
                  </a:lnTo>
                  <a:lnTo>
                    <a:pt x="5917" y="270"/>
                  </a:lnTo>
                  <a:lnTo>
                    <a:pt x="6019" y="267"/>
                  </a:lnTo>
                  <a:lnTo>
                    <a:pt x="6127" y="259"/>
                  </a:lnTo>
                  <a:lnTo>
                    <a:pt x="6237" y="251"/>
                  </a:lnTo>
                  <a:lnTo>
                    <a:pt x="6348" y="241"/>
                  </a:lnTo>
                  <a:lnTo>
                    <a:pt x="6563" y="217"/>
                  </a:lnTo>
                  <a:lnTo>
                    <a:pt x="6756" y="191"/>
                  </a:lnTo>
                  <a:lnTo>
                    <a:pt x="6911" y="167"/>
                  </a:lnTo>
                  <a:lnTo>
                    <a:pt x="7013" y="148"/>
                  </a:lnTo>
                  <a:lnTo>
                    <a:pt x="7175" y="116"/>
                  </a:lnTo>
                  <a:lnTo>
                    <a:pt x="7364" y="86"/>
                  </a:lnTo>
                  <a:lnTo>
                    <a:pt x="7559" y="59"/>
                  </a:lnTo>
                  <a:lnTo>
                    <a:pt x="7736" y="37"/>
                  </a:lnTo>
                  <a:lnTo>
                    <a:pt x="7791" y="32"/>
                  </a:lnTo>
                  <a:lnTo>
                    <a:pt x="7853" y="30"/>
                  </a:lnTo>
                  <a:lnTo>
                    <a:pt x="7989" y="29"/>
                  </a:lnTo>
                  <a:lnTo>
                    <a:pt x="8061" y="31"/>
                  </a:lnTo>
                  <a:lnTo>
                    <a:pt x="8138" y="35"/>
                  </a:lnTo>
                  <a:lnTo>
                    <a:pt x="8216" y="41"/>
                  </a:lnTo>
                  <a:lnTo>
                    <a:pt x="8296" y="48"/>
                  </a:lnTo>
                  <a:lnTo>
                    <a:pt x="8378" y="57"/>
                  </a:lnTo>
                  <a:lnTo>
                    <a:pt x="8458" y="68"/>
                  </a:lnTo>
                  <a:lnTo>
                    <a:pt x="8540" y="80"/>
                  </a:lnTo>
                  <a:lnTo>
                    <a:pt x="8621" y="95"/>
                  </a:lnTo>
                  <a:lnTo>
                    <a:pt x="8699" y="110"/>
                  </a:lnTo>
                  <a:lnTo>
                    <a:pt x="8776" y="128"/>
                  </a:lnTo>
                  <a:lnTo>
                    <a:pt x="8850" y="148"/>
                  </a:lnTo>
                  <a:lnTo>
                    <a:pt x="8921" y="168"/>
                  </a:lnTo>
                  <a:lnTo>
                    <a:pt x="8994" y="187"/>
                  </a:lnTo>
                  <a:lnTo>
                    <a:pt x="9035" y="195"/>
                  </a:lnTo>
                  <a:lnTo>
                    <a:pt x="9078" y="202"/>
                  </a:lnTo>
                  <a:lnTo>
                    <a:pt x="9169" y="213"/>
                  </a:lnTo>
                  <a:lnTo>
                    <a:pt x="9266" y="220"/>
                  </a:lnTo>
                  <a:lnTo>
                    <a:pt x="9368" y="223"/>
                  </a:lnTo>
                  <a:lnTo>
                    <a:pt x="9473" y="226"/>
                  </a:lnTo>
                  <a:lnTo>
                    <a:pt x="9686" y="223"/>
                  </a:lnTo>
                  <a:lnTo>
                    <a:pt x="9892" y="219"/>
                  </a:lnTo>
                  <a:lnTo>
                    <a:pt x="10078" y="214"/>
                  </a:lnTo>
                  <a:lnTo>
                    <a:pt x="10229" y="214"/>
                  </a:lnTo>
                  <a:lnTo>
                    <a:pt x="10261" y="215"/>
                  </a:lnTo>
                  <a:lnTo>
                    <a:pt x="10290" y="217"/>
                  </a:lnTo>
                  <a:lnTo>
                    <a:pt x="10335" y="223"/>
                  </a:lnTo>
                  <a:lnTo>
                    <a:pt x="10375" y="228"/>
                  </a:lnTo>
                  <a:lnTo>
                    <a:pt x="10412" y="228"/>
                  </a:lnTo>
                  <a:lnTo>
                    <a:pt x="10451" y="223"/>
                  </a:lnTo>
                  <a:lnTo>
                    <a:pt x="10487" y="215"/>
                  </a:lnTo>
                  <a:lnTo>
                    <a:pt x="10524" y="203"/>
                  </a:lnTo>
                  <a:lnTo>
                    <a:pt x="10560" y="189"/>
                  </a:lnTo>
                  <a:lnTo>
                    <a:pt x="10633" y="154"/>
                  </a:lnTo>
                  <a:lnTo>
                    <a:pt x="10706" y="114"/>
                  </a:lnTo>
                  <a:lnTo>
                    <a:pt x="10781" y="74"/>
                  </a:lnTo>
                  <a:lnTo>
                    <a:pt x="10818" y="56"/>
                  </a:lnTo>
                  <a:lnTo>
                    <a:pt x="10857" y="39"/>
                  </a:lnTo>
                  <a:lnTo>
                    <a:pt x="10896" y="24"/>
                  </a:lnTo>
                  <a:lnTo>
                    <a:pt x="10937" y="13"/>
                  </a:lnTo>
                  <a:lnTo>
                    <a:pt x="10961" y="8"/>
                  </a:lnTo>
                  <a:lnTo>
                    <a:pt x="10989" y="5"/>
                  </a:lnTo>
                  <a:lnTo>
                    <a:pt x="11058" y="0"/>
                  </a:lnTo>
                  <a:lnTo>
                    <a:pt x="11142" y="0"/>
                  </a:lnTo>
                  <a:lnTo>
                    <a:pt x="11240" y="1"/>
                  </a:lnTo>
                  <a:lnTo>
                    <a:pt x="11466" y="12"/>
                  </a:lnTo>
                  <a:lnTo>
                    <a:pt x="11721" y="27"/>
                  </a:lnTo>
                  <a:lnTo>
                    <a:pt x="11986" y="44"/>
                  </a:lnTo>
                  <a:lnTo>
                    <a:pt x="12244" y="59"/>
                  </a:lnTo>
                  <a:lnTo>
                    <a:pt x="12365" y="62"/>
                  </a:lnTo>
                  <a:lnTo>
                    <a:pt x="12478" y="65"/>
                  </a:lnTo>
                  <a:lnTo>
                    <a:pt x="12581" y="64"/>
                  </a:lnTo>
                  <a:lnTo>
                    <a:pt x="12671" y="59"/>
                  </a:lnTo>
                  <a:lnTo>
                    <a:pt x="12785" y="50"/>
                  </a:lnTo>
                  <a:lnTo>
                    <a:pt x="12943" y="42"/>
                  </a:lnTo>
                  <a:lnTo>
                    <a:pt x="13142" y="33"/>
                  </a:lnTo>
                  <a:lnTo>
                    <a:pt x="13375" y="26"/>
                  </a:lnTo>
                  <a:lnTo>
                    <a:pt x="13642" y="21"/>
                  </a:lnTo>
                  <a:lnTo>
                    <a:pt x="13935" y="20"/>
                  </a:lnTo>
                  <a:lnTo>
                    <a:pt x="14252" y="23"/>
                  </a:lnTo>
                  <a:lnTo>
                    <a:pt x="14418" y="26"/>
                  </a:lnTo>
                  <a:lnTo>
                    <a:pt x="14588" y="32"/>
                  </a:lnTo>
                  <a:lnTo>
                    <a:pt x="14761" y="39"/>
                  </a:lnTo>
                  <a:lnTo>
                    <a:pt x="14939" y="48"/>
                  </a:lnTo>
                  <a:lnTo>
                    <a:pt x="15119" y="60"/>
                  </a:lnTo>
                  <a:lnTo>
                    <a:pt x="15301" y="72"/>
                  </a:lnTo>
                  <a:lnTo>
                    <a:pt x="15485" y="88"/>
                  </a:lnTo>
                  <a:lnTo>
                    <a:pt x="15669" y="106"/>
                  </a:lnTo>
                  <a:lnTo>
                    <a:pt x="15855" y="126"/>
                  </a:lnTo>
                  <a:lnTo>
                    <a:pt x="16041" y="150"/>
                  </a:lnTo>
                  <a:lnTo>
                    <a:pt x="16225" y="175"/>
                  </a:lnTo>
                  <a:lnTo>
                    <a:pt x="16411" y="204"/>
                  </a:lnTo>
                  <a:lnTo>
                    <a:pt x="16593" y="237"/>
                  </a:lnTo>
                  <a:lnTo>
                    <a:pt x="16774" y="273"/>
                  </a:lnTo>
                  <a:lnTo>
                    <a:pt x="16953" y="311"/>
                  </a:lnTo>
                  <a:lnTo>
                    <a:pt x="17127" y="353"/>
                  </a:lnTo>
                  <a:lnTo>
                    <a:pt x="17299" y="400"/>
                  </a:lnTo>
                  <a:lnTo>
                    <a:pt x="17384" y="424"/>
                  </a:lnTo>
                  <a:lnTo>
                    <a:pt x="17467" y="449"/>
                  </a:lnTo>
                  <a:lnTo>
                    <a:pt x="17467" y="457"/>
                  </a:lnTo>
                  <a:lnTo>
                    <a:pt x="17461" y="464"/>
                  </a:lnTo>
                  <a:lnTo>
                    <a:pt x="17449" y="470"/>
                  </a:lnTo>
                  <a:lnTo>
                    <a:pt x="17433" y="475"/>
                  </a:lnTo>
                  <a:lnTo>
                    <a:pt x="17411" y="481"/>
                  </a:lnTo>
                  <a:lnTo>
                    <a:pt x="17385" y="485"/>
                  </a:lnTo>
                  <a:lnTo>
                    <a:pt x="17317" y="493"/>
                  </a:lnTo>
                  <a:lnTo>
                    <a:pt x="17234" y="500"/>
                  </a:lnTo>
                  <a:lnTo>
                    <a:pt x="17134" y="505"/>
                  </a:lnTo>
                  <a:lnTo>
                    <a:pt x="16892" y="511"/>
                  </a:lnTo>
                  <a:lnTo>
                    <a:pt x="16606" y="512"/>
                  </a:lnTo>
                  <a:lnTo>
                    <a:pt x="16283" y="508"/>
                  </a:lnTo>
                  <a:lnTo>
                    <a:pt x="15938" y="501"/>
                  </a:lnTo>
                  <a:lnTo>
                    <a:pt x="15579" y="493"/>
                  </a:lnTo>
                  <a:lnTo>
                    <a:pt x="14873" y="470"/>
                  </a:lnTo>
                  <a:lnTo>
                    <a:pt x="14256" y="445"/>
                  </a:lnTo>
                  <a:lnTo>
                    <a:pt x="13652" y="418"/>
                  </a:lnTo>
                  <a:lnTo>
                    <a:pt x="13043" y="430"/>
                  </a:lnTo>
                  <a:lnTo>
                    <a:pt x="12435" y="443"/>
                  </a:lnTo>
                  <a:lnTo>
                    <a:pt x="11826" y="457"/>
                  </a:lnTo>
                  <a:lnTo>
                    <a:pt x="11218" y="470"/>
                  </a:lnTo>
                  <a:lnTo>
                    <a:pt x="10558" y="469"/>
                  </a:lnTo>
                  <a:lnTo>
                    <a:pt x="9898" y="467"/>
                  </a:lnTo>
                  <a:lnTo>
                    <a:pt x="9238" y="466"/>
                  </a:lnTo>
                  <a:lnTo>
                    <a:pt x="8579" y="466"/>
                  </a:lnTo>
                  <a:lnTo>
                    <a:pt x="7919" y="465"/>
                  </a:lnTo>
                  <a:lnTo>
                    <a:pt x="7259" y="465"/>
                  </a:lnTo>
                  <a:lnTo>
                    <a:pt x="6599" y="464"/>
                  </a:lnTo>
                  <a:lnTo>
                    <a:pt x="5941" y="464"/>
                  </a:lnTo>
                  <a:lnTo>
                    <a:pt x="5198" y="464"/>
                  </a:lnTo>
                  <a:lnTo>
                    <a:pt x="4455" y="464"/>
                  </a:lnTo>
                  <a:lnTo>
                    <a:pt x="3712" y="464"/>
                  </a:lnTo>
                  <a:lnTo>
                    <a:pt x="2970" y="464"/>
                  </a:lnTo>
                  <a:lnTo>
                    <a:pt x="2227" y="464"/>
                  </a:lnTo>
                  <a:lnTo>
                    <a:pt x="1485" y="464"/>
                  </a:lnTo>
                  <a:lnTo>
                    <a:pt x="742" y="464"/>
                  </a:lnTo>
                  <a:lnTo>
                    <a:pt x="0" y="46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6" name="Freeform 59"/>
            <p:cNvSpPr>
              <a:spLocks/>
            </p:cNvSpPr>
            <p:nvPr userDrawn="1"/>
          </p:nvSpPr>
          <p:spPr bwMode="auto">
            <a:xfrm>
              <a:off x="2671763" y="6500813"/>
              <a:ext cx="3795713" cy="109538"/>
            </a:xfrm>
            <a:custGeom>
              <a:avLst/>
              <a:gdLst/>
              <a:ahLst/>
              <a:cxnLst>
                <a:cxn ang="0">
                  <a:pos x="89" y="316"/>
                </a:cxn>
                <a:cxn ang="0">
                  <a:pos x="650" y="273"/>
                </a:cxn>
                <a:cxn ang="0">
                  <a:pos x="1233" y="235"/>
                </a:cxn>
                <a:cxn ang="0">
                  <a:pos x="1339" y="232"/>
                </a:cxn>
                <a:cxn ang="0">
                  <a:pos x="1430" y="232"/>
                </a:cxn>
                <a:cxn ang="0">
                  <a:pos x="1872" y="203"/>
                </a:cxn>
                <a:cxn ang="0">
                  <a:pos x="2350" y="173"/>
                </a:cxn>
                <a:cxn ang="0">
                  <a:pos x="2469" y="170"/>
                </a:cxn>
                <a:cxn ang="0">
                  <a:pos x="2563" y="167"/>
                </a:cxn>
                <a:cxn ang="0">
                  <a:pos x="2683" y="151"/>
                </a:cxn>
                <a:cxn ang="0">
                  <a:pos x="2787" y="126"/>
                </a:cxn>
                <a:cxn ang="0">
                  <a:pos x="2923" y="89"/>
                </a:cxn>
                <a:cxn ang="0">
                  <a:pos x="3085" y="60"/>
                </a:cxn>
                <a:cxn ang="0">
                  <a:pos x="3388" y="30"/>
                </a:cxn>
                <a:cxn ang="0">
                  <a:pos x="3543" y="25"/>
                </a:cxn>
                <a:cxn ang="0">
                  <a:pos x="3628" y="33"/>
                </a:cxn>
                <a:cxn ang="0">
                  <a:pos x="3819" y="86"/>
                </a:cxn>
                <a:cxn ang="0">
                  <a:pos x="3991" y="131"/>
                </a:cxn>
                <a:cxn ang="0">
                  <a:pos x="4195" y="169"/>
                </a:cxn>
                <a:cxn ang="0">
                  <a:pos x="4296" y="177"/>
                </a:cxn>
                <a:cxn ang="0">
                  <a:pos x="4384" y="176"/>
                </a:cxn>
                <a:cxn ang="0">
                  <a:pos x="4530" y="154"/>
                </a:cxn>
                <a:cxn ang="0">
                  <a:pos x="4691" y="114"/>
                </a:cxn>
                <a:cxn ang="0">
                  <a:pos x="4784" y="108"/>
                </a:cxn>
                <a:cxn ang="0">
                  <a:pos x="4934" y="94"/>
                </a:cxn>
                <a:cxn ang="0">
                  <a:pos x="5055" y="83"/>
                </a:cxn>
                <a:cxn ang="0">
                  <a:pos x="5086" y="84"/>
                </a:cxn>
                <a:cxn ang="0">
                  <a:pos x="5099" y="72"/>
                </a:cxn>
                <a:cxn ang="0">
                  <a:pos x="5121" y="40"/>
                </a:cxn>
                <a:cxn ang="0">
                  <a:pos x="5144" y="23"/>
                </a:cxn>
                <a:cxn ang="0">
                  <a:pos x="5210" y="4"/>
                </a:cxn>
                <a:cxn ang="0">
                  <a:pos x="5329" y="0"/>
                </a:cxn>
                <a:cxn ang="0">
                  <a:pos x="5945" y="39"/>
                </a:cxn>
                <a:cxn ang="0">
                  <a:pos x="6390" y="68"/>
                </a:cxn>
                <a:cxn ang="0">
                  <a:pos x="6867" y="88"/>
                </a:cxn>
                <a:cxn ang="0">
                  <a:pos x="7097" y="90"/>
                </a:cxn>
                <a:cxn ang="0">
                  <a:pos x="7164" y="82"/>
                </a:cxn>
                <a:cxn ang="0">
                  <a:pos x="7245" y="63"/>
                </a:cxn>
                <a:cxn ang="0">
                  <a:pos x="7334" y="31"/>
                </a:cxn>
                <a:cxn ang="0">
                  <a:pos x="7404" y="16"/>
                </a:cxn>
                <a:cxn ang="0">
                  <a:pos x="7458" y="13"/>
                </a:cxn>
                <a:cxn ang="0">
                  <a:pos x="7621" y="27"/>
                </a:cxn>
                <a:cxn ang="0">
                  <a:pos x="7877" y="39"/>
                </a:cxn>
                <a:cxn ang="0">
                  <a:pos x="8118" y="41"/>
                </a:cxn>
                <a:cxn ang="0">
                  <a:pos x="8450" y="30"/>
                </a:cxn>
                <a:cxn ang="0">
                  <a:pos x="8829" y="10"/>
                </a:cxn>
                <a:cxn ang="0">
                  <a:pos x="9057" y="3"/>
                </a:cxn>
                <a:cxn ang="0">
                  <a:pos x="9828" y="88"/>
                </a:cxn>
                <a:cxn ang="0">
                  <a:pos x="11244" y="257"/>
                </a:cxn>
                <a:cxn ang="0">
                  <a:pos x="11199" y="342"/>
                </a:cxn>
                <a:cxn ang="0">
                  <a:pos x="9691" y="339"/>
                </a:cxn>
                <a:cxn ang="0">
                  <a:pos x="8185" y="338"/>
                </a:cxn>
                <a:cxn ang="0">
                  <a:pos x="6679" y="336"/>
                </a:cxn>
                <a:cxn ang="0">
                  <a:pos x="5411" y="334"/>
                </a:cxn>
                <a:cxn ang="0">
                  <a:pos x="4383" y="332"/>
                </a:cxn>
                <a:cxn ang="0">
                  <a:pos x="3353" y="331"/>
                </a:cxn>
                <a:cxn ang="0">
                  <a:pos x="2325" y="328"/>
                </a:cxn>
                <a:cxn ang="0">
                  <a:pos x="1143" y="326"/>
                </a:cxn>
                <a:cxn ang="0">
                  <a:pos x="0" y="322"/>
                </a:cxn>
              </a:cxnLst>
              <a:rect l="0" t="0" r="r" b="b"/>
              <a:pathLst>
                <a:path w="11952" h="343">
                  <a:moveTo>
                    <a:pt x="0" y="322"/>
                  </a:moveTo>
                  <a:lnTo>
                    <a:pt x="89" y="316"/>
                  </a:lnTo>
                  <a:lnTo>
                    <a:pt x="241" y="306"/>
                  </a:lnTo>
                  <a:lnTo>
                    <a:pt x="650" y="273"/>
                  </a:lnTo>
                  <a:lnTo>
                    <a:pt x="1070" y="243"/>
                  </a:lnTo>
                  <a:lnTo>
                    <a:pt x="1233" y="235"/>
                  </a:lnTo>
                  <a:lnTo>
                    <a:pt x="1294" y="232"/>
                  </a:lnTo>
                  <a:lnTo>
                    <a:pt x="1339" y="232"/>
                  </a:lnTo>
                  <a:lnTo>
                    <a:pt x="1380" y="233"/>
                  </a:lnTo>
                  <a:lnTo>
                    <a:pt x="1430" y="232"/>
                  </a:lnTo>
                  <a:lnTo>
                    <a:pt x="1556" y="226"/>
                  </a:lnTo>
                  <a:lnTo>
                    <a:pt x="1872" y="203"/>
                  </a:lnTo>
                  <a:lnTo>
                    <a:pt x="2205" y="181"/>
                  </a:lnTo>
                  <a:lnTo>
                    <a:pt x="2350" y="173"/>
                  </a:lnTo>
                  <a:lnTo>
                    <a:pt x="2414" y="171"/>
                  </a:lnTo>
                  <a:lnTo>
                    <a:pt x="2469" y="170"/>
                  </a:lnTo>
                  <a:lnTo>
                    <a:pt x="2519" y="170"/>
                  </a:lnTo>
                  <a:lnTo>
                    <a:pt x="2563" y="167"/>
                  </a:lnTo>
                  <a:lnTo>
                    <a:pt x="2645" y="157"/>
                  </a:lnTo>
                  <a:lnTo>
                    <a:pt x="2683" y="151"/>
                  </a:lnTo>
                  <a:lnTo>
                    <a:pt x="2719" y="143"/>
                  </a:lnTo>
                  <a:lnTo>
                    <a:pt x="2787" y="126"/>
                  </a:lnTo>
                  <a:lnTo>
                    <a:pt x="2854" y="107"/>
                  </a:lnTo>
                  <a:lnTo>
                    <a:pt x="2923" y="89"/>
                  </a:lnTo>
                  <a:lnTo>
                    <a:pt x="2999" y="74"/>
                  </a:lnTo>
                  <a:lnTo>
                    <a:pt x="3085" y="60"/>
                  </a:lnTo>
                  <a:lnTo>
                    <a:pt x="3252" y="42"/>
                  </a:lnTo>
                  <a:lnTo>
                    <a:pt x="3388" y="30"/>
                  </a:lnTo>
                  <a:lnTo>
                    <a:pt x="3498" y="25"/>
                  </a:lnTo>
                  <a:lnTo>
                    <a:pt x="3543" y="25"/>
                  </a:lnTo>
                  <a:lnTo>
                    <a:pt x="3584" y="27"/>
                  </a:lnTo>
                  <a:lnTo>
                    <a:pt x="3628" y="33"/>
                  </a:lnTo>
                  <a:lnTo>
                    <a:pt x="3682" y="46"/>
                  </a:lnTo>
                  <a:lnTo>
                    <a:pt x="3819" y="86"/>
                  </a:lnTo>
                  <a:lnTo>
                    <a:pt x="3901" y="108"/>
                  </a:lnTo>
                  <a:lnTo>
                    <a:pt x="3991" y="131"/>
                  </a:lnTo>
                  <a:lnTo>
                    <a:pt x="4090" y="152"/>
                  </a:lnTo>
                  <a:lnTo>
                    <a:pt x="4195" y="169"/>
                  </a:lnTo>
                  <a:lnTo>
                    <a:pt x="4247" y="175"/>
                  </a:lnTo>
                  <a:lnTo>
                    <a:pt x="4296" y="177"/>
                  </a:lnTo>
                  <a:lnTo>
                    <a:pt x="4342" y="177"/>
                  </a:lnTo>
                  <a:lnTo>
                    <a:pt x="4384" y="176"/>
                  </a:lnTo>
                  <a:lnTo>
                    <a:pt x="4461" y="167"/>
                  </a:lnTo>
                  <a:lnTo>
                    <a:pt x="4530" y="154"/>
                  </a:lnTo>
                  <a:lnTo>
                    <a:pt x="4643" y="125"/>
                  </a:lnTo>
                  <a:lnTo>
                    <a:pt x="4691" y="114"/>
                  </a:lnTo>
                  <a:lnTo>
                    <a:pt x="4737" y="111"/>
                  </a:lnTo>
                  <a:lnTo>
                    <a:pt x="4784" y="108"/>
                  </a:lnTo>
                  <a:lnTo>
                    <a:pt x="4833" y="105"/>
                  </a:lnTo>
                  <a:lnTo>
                    <a:pt x="4934" y="94"/>
                  </a:lnTo>
                  <a:lnTo>
                    <a:pt x="5021" y="84"/>
                  </a:lnTo>
                  <a:lnTo>
                    <a:pt x="5055" y="83"/>
                  </a:lnTo>
                  <a:lnTo>
                    <a:pt x="5079" y="83"/>
                  </a:lnTo>
                  <a:lnTo>
                    <a:pt x="5086" y="84"/>
                  </a:lnTo>
                  <a:lnTo>
                    <a:pt x="5092" y="82"/>
                  </a:lnTo>
                  <a:lnTo>
                    <a:pt x="5099" y="72"/>
                  </a:lnTo>
                  <a:lnTo>
                    <a:pt x="5107" y="57"/>
                  </a:lnTo>
                  <a:lnTo>
                    <a:pt x="5121" y="40"/>
                  </a:lnTo>
                  <a:lnTo>
                    <a:pt x="5130" y="31"/>
                  </a:lnTo>
                  <a:lnTo>
                    <a:pt x="5144" y="23"/>
                  </a:lnTo>
                  <a:lnTo>
                    <a:pt x="5182" y="10"/>
                  </a:lnTo>
                  <a:lnTo>
                    <a:pt x="5210" y="4"/>
                  </a:lnTo>
                  <a:lnTo>
                    <a:pt x="5242" y="1"/>
                  </a:lnTo>
                  <a:lnTo>
                    <a:pt x="5329" y="0"/>
                  </a:lnTo>
                  <a:lnTo>
                    <a:pt x="5604" y="17"/>
                  </a:lnTo>
                  <a:lnTo>
                    <a:pt x="5945" y="39"/>
                  </a:lnTo>
                  <a:lnTo>
                    <a:pt x="6244" y="59"/>
                  </a:lnTo>
                  <a:lnTo>
                    <a:pt x="6390" y="68"/>
                  </a:lnTo>
                  <a:lnTo>
                    <a:pt x="6657" y="80"/>
                  </a:lnTo>
                  <a:lnTo>
                    <a:pt x="6867" y="88"/>
                  </a:lnTo>
                  <a:lnTo>
                    <a:pt x="7058" y="92"/>
                  </a:lnTo>
                  <a:lnTo>
                    <a:pt x="7097" y="90"/>
                  </a:lnTo>
                  <a:lnTo>
                    <a:pt x="7133" y="87"/>
                  </a:lnTo>
                  <a:lnTo>
                    <a:pt x="7164" y="82"/>
                  </a:lnTo>
                  <a:lnTo>
                    <a:pt x="7193" y="77"/>
                  </a:lnTo>
                  <a:lnTo>
                    <a:pt x="7245" y="63"/>
                  </a:lnTo>
                  <a:lnTo>
                    <a:pt x="7290" y="47"/>
                  </a:lnTo>
                  <a:lnTo>
                    <a:pt x="7334" y="31"/>
                  </a:lnTo>
                  <a:lnTo>
                    <a:pt x="7378" y="19"/>
                  </a:lnTo>
                  <a:lnTo>
                    <a:pt x="7404" y="16"/>
                  </a:lnTo>
                  <a:lnTo>
                    <a:pt x="7430" y="13"/>
                  </a:lnTo>
                  <a:lnTo>
                    <a:pt x="7458" y="13"/>
                  </a:lnTo>
                  <a:lnTo>
                    <a:pt x="7490" y="16"/>
                  </a:lnTo>
                  <a:lnTo>
                    <a:pt x="7621" y="27"/>
                  </a:lnTo>
                  <a:lnTo>
                    <a:pt x="7750" y="35"/>
                  </a:lnTo>
                  <a:lnTo>
                    <a:pt x="7877" y="39"/>
                  </a:lnTo>
                  <a:lnTo>
                    <a:pt x="8000" y="41"/>
                  </a:lnTo>
                  <a:lnTo>
                    <a:pt x="8118" y="41"/>
                  </a:lnTo>
                  <a:lnTo>
                    <a:pt x="8233" y="39"/>
                  </a:lnTo>
                  <a:lnTo>
                    <a:pt x="8450" y="30"/>
                  </a:lnTo>
                  <a:lnTo>
                    <a:pt x="8650" y="19"/>
                  </a:lnTo>
                  <a:lnTo>
                    <a:pt x="8829" y="10"/>
                  </a:lnTo>
                  <a:lnTo>
                    <a:pt x="8986" y="3"/>
                  </a:lnTo>
                  <a:lnTo>
                    <a:pt x="9057" y="3"/>
                  </a:lnTo>
                  <a:lnTo>
                    <a:pt x="9120" y="4"/>
                  </a:lnTo>
                  <a:lnTo>
                    <a:pt x="9828" y="88"/>
                  </a:lnTo>
                  <a:lnTo>
                    <a:pt x="10536" y="173"/>
                  </a:lnTo>
                  <a:lnTo>
                    <a:pt x="11244" y="257"/>
                  </a:lnTo>
                  <a:lnTo>
                    <a:pt x="11952" y="343"/>
                  </a:lnTo>
                  <a:lnTo>
                    <a:pt x="11199" y="342"/>
                  </a:lnTo>
                  <a:lnTo>
                    <a:pt x="10445" y="340"/>
                  </a:lnTo>
                  <a:lnTo>
                    <a:pt x="9691" y="339"/>
                  </a:lnTo>
                  <a:lnTo>
                    <a:pt x="8939" y="339"/>
                  </a:lnTo>
                  <a:lnTo>
                    <a:pt x="8185" y="338"/>
                  </a:lnTo>
                  <a:lnTo>
                    <a:pt x="7432" y="337"/>
                  </a:lnTo>
                  <a:lnTo>
                    <a:pt x="6679" y="336"/>
                  </a:lnTo>
                  <a:lnTo>
                    <a:pt x="5926" y="336"/>
                  </a:lnTo>
                  <a:lnTo>
                    <a:pt x="5411" y="334"/>
                  </a:lnTo>
                  <a:lnTo>
                    <a:pt x="4897" y="333"/>
                  </a:lnTo>
                  <a:lnTo>
                    <a:pt x="4383" y="332"/>
                  </a:lnTo>
                  <a:lnTo>
                    <a:pt x="3869" y="332"/>
                  </a:lnTo>
                  <a:lnTo>
                    <a:pt x="3353" y="331"/>
                  </a:lnTo>
                  <a:lnTo>
                    <a:pt x="2839" y="330"/>
                  </a:lnTo>
                  <a:lnTo>
                    <a:pt x="2325" y="328"/>
                  </a:lnTo>
                  <a:lnTo>
                    <a:pt x="1811" y="328"/>
                  </a:lnTo>
                  <a:lnTo>
                    <a:pt x="1143" y="326"/>
                  </a:lnTo>
                  <a:lnTo>
                    <a:pt x="476" y="325"/>
                  </a:lnTo>
                  <a:lnTo>
                    <a:pt x="0" y="3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7" name="Freeform 60"/>
            <p:cNvSpPr>
              <a:spLocks/>
            </p:cNvSpPr>
            <p:nvPr userDrawn="1"/>
          </p:nvSpPr>
          <p:spPr bwMode="auto">
            <a:xfrm>
              <a:off x="2855913" y="6235701"/>
              <a:ext cx="196850" cy="284163"/>
            </a:xfrm>
            <a:custGeom>
              <a:avLst/>
              <a:gdLst/>
              <a:ahLst/>
              <a:cxnLst>
                <a:cxn ang="0">
                  <a:pos x="336" y="75"/>
                </a:cxn>
                <a:cxn ang="0">
                  <a:pos x="372" y="134"/>
                </a:cxn>
                <a:cxn ang="0">
                  <a:pos x="412" y="165"/>
                </a:cxn>
                <a:cxn ang="0">
                  <a:pos x="391" y="195"/>
                </a:cxn>
                <a:cxn ang="0">
                  <a:pos x="426" y="262"/>
                </a:cxn>
                <a:cxn ang="0">
                  <a:pos x="454" y="326"/>
                </a:cxn>
                <a:cxn ang="0">
                  <a:pos x="448" y="345"/>
                </a:cxn>
                <a:cxn ang="0">
                  <a:pos x="514" y="387"/>
                </a:cxn>
                <a:cxn ang="0">
                  <a:pos x="491" y="405"/>
                </a:cxn>
                <a:cxn ang="0">
                  <a:pos x="518" y="419"/>
                </a:cxn>
                <a:cxn ang="0">
                  <a:pos x="490" y="433"/>
                </a:cxn>
                <a:cxn ang="0">
                  <a:pos x="477" y="450"/>
                </a:cxn>
                <a:cxn ang="0">
                  <a:pos x="534" y="466"/>
                </a:cxn>
                <a:cxn ang="0">
                  <a:pos x="540" y="479"/>
                </a:cxn>
                <a:cxn ang="0">
                  <a:pos x="563" y="506"/>
                </a:cxn>
                <a:cxn ang="0">
                  <a:pos x="533" y="530"/>
                </a:cxn>
                <a:cxn ang="0">
                  <a:pos x="518" y="554"/>
                </a:cxn>
                <a:cxn ang="0">
                  <a:pos x="480" y="564"/>
                </a:cxn>
                <a:cxn ang="0">
                  <a:pos x="454" y="565"/>
                </a:cxn>
                <a:cxn ang="0">
                  <a:pos x="467" y="587"/>
                </a:cxn>
                <a:cxn ang="0">
                  <a:pos x="525" y="601"/>
                </a:cxn>
                <a:cxn ang="0">
                  <a:pos x="558" y="621"/>
                </a:cxn>
                <a:cxn ang="0">
                  <a:pos x="561" y="652"/>
                </a:cxn>
                <a:cxn ang="0">
                  <a:pos x="567" y="666"/>
                </a:cxn>
                <a:cxn ang="0">
                  <a:pos x="554" y="682"/>
                </a:cxn>
                <a:cxn ang="0">
                  <a:pos x="598" y="698"/>
                </a:cxn>
                <a:cxn ang="0">
                  <a:pos x="581" y="732"/>
                </a:cxn>
                <a:cxn ang="0">
                  <a:pos x="542" y="734"/>
                </a:cxn>
                <a:cxn ang="0">
                  <a:pos x="507" y="781"/>
                </a:cxn>
                <a:cxn ang="0">
                  <a:pos x="456" y="806"/>
                </a:cxn>
                <a:cxn ang="0">
                  <a:pos x="373" y="813"/>
                </a:cxn>
                <a:cxn ang="0">
                  <a:pos x="282" y="824"/>
                </a:cxn>
                <a:cxn ang="0">
                  <a:pos x="189" y="827"/>
                </a:cxn>
                <a:cxn ang="0">
                  <a:pos x="129" y="865"/>
                </a:cxn>
                <a:cxn ang="0">
                  <a:pos x="47" y="807"/>
                </a:cxn>
                <a:cxn ang="0">
                  <a:pos x="64" y="758"/>
                </a:cxn>
                <a:cxn ang="0">
                  <a:pos x="41" y="701"/>
                </a:cxn>
                <a:cxn ang="0">
                  <a:pos x="114" y="706"/>
                </a:cxn>
                <a:cxn ang="0">
                  <a:pos x="97" y="668"/>
                </a:cxn>
                <a:cxn ang="0">
                  <a:pos x="56" y="647"/>
                </a:cxn>
                <a:cxn ang="0">
                  <a:pos x="79" y="606"/>
                </a:cxn>
                <a:cxn ang="0">
                  <a:pos x="95" y="588"/>
                </a:cxn>
                <a:cxn ang="0">
                  <a:pos x="153" y="568"/>
                </a:cxn>
                <a:cxn ang="0">
                  <a:pos x="126" y="541"/>
                </a:cxn>
                <a:cxn ang="0">
                  <a:pos x="105" y="521"/>
                </a:cxn>
                <a:cxn ang="0">
                  <a:pos x="48" y="511"/>
                </a:cxn>
                <a:cxn ang="0">
                  <a:pos x="77" y="464"/>
                </a:cxn>
                <a:cxn ang="0">
                  <a:pos x="90" y="422"/>
                </a:cxn>
                <a:cxn ang="0">
                  <a:pos x="154" y="390"/>
                </a:cxn>
                <a:cxn ang="0">
                  <a:pos x="117" y="385"/>
                </a:cxn>
                <a:cxn ang="0">
                  <a:pos x="151" y="337"/>
                </a:cxn>
                <a:cxn ang="0">
                  <a:pos x="155" y="332"/>
                </a:cxn>
                <a:cxn ang="0">
                  <a:pos x="238" y="289"/>
                </a:cxn>
                <a:cxn ang="0">
                  <a:pos x="196" y="261"/>
                </a:cxn>
                <a:cxn ang="0">
                  <a:pos x="196" y="178"/>
                </a:cxn>
                <a:cxn ang="0">
                  <a:pos x="230" y="167"/>
                </a:cxn>
                <a:cxn ang="0">
                  <a:pos x="202" y="125"/>
                </a:cxn>
                <a:cxn ang="0">
                  <a:pos x="266" y="113"/>
                </a:cxn>
                <a:cxn ang="0">
                  <a:pos x="243" y="80"/>
                </a:cxn>
                <a:cxn ang="0">
                  <a:pos x="268" y="83"/>
                </a:cxn>
                <a:cxn ang="0">
                  <a:pos x="259" y="64"/>
                </a:cxn>
                <a:cxn ang="0">
                  <a:pos x="285" y="30"/>
                </a:cxn>
                <a:cxn ang="0">
                  <a:pos x="294" y="30"/>
                </a:cxn>
              </a:cxnLst>
              <a:rect l="0" t="0" r="r" b="b"/>
              <a:pathLst>
                <a:path w="622" h="896">
                  <a:moveTo>
                    <a:pt x="310" y="15"/>
                  </a:moveTo>
                  <a:lnTo>
                    <a:pt x="313" y="10"/>
                  </a:lnTo>
                  <a:lnTo>
                    <a:pt x="316" y="0"/>
                  </a:lnTo>
                  <a:lnTo>
                    <a:pt x="315" y="5"/>
                  </a:lnTo>
                  <a:lnTo>
                    <a:pt x="314" y="10"/>
                  </a:lnTo>
                  <a:lnTo>
                    <a:pt x="310" y="15"/>
                  </a:lnTo>
                  <a:lnTo>
                    <a:pt x="310" y="17"/>
                  </a:lnTo>
                  <a:lnTo>
                    <a:pt x="314" y="12"/>
                  </a:lnTo>
                  <a:lnTo>
                    <a:pt x="315" y="12"/>
                  </a:lnTo>
                  <a:lnTo>
                    <a:pt x="313" y="17"/>
                  </a:lnTo>
                  <a:lnTo>
                    <a:pt x="313" y="18"/>
                  </a:lnTo>
                  <a:lnTo>
                    <a:pt x="321" y="15"/>
                  </a:lnTo>
                  <a:lnTo>
                    <a:pt x="310" y="21"/>
                  </a:lnTo>
                  <a:lnTo>
                    <a:pt x="312" y="22"/>
                  </a:lnTo>
                  <a:lnTo>
                    <a:pt x="312" y="23"/>
                  </a:lnTo>
                  <a:lnTo>
                    <a:pt x="315" y="20"/>
                  </a:lnTo>
                  <a:lnTo>
                    <a:pt x="316" y="21"/>
                  </a:lnTo>
                  <a:lnTo>
                    <a:pt x="313" y="24"/>
                  </a:lnTo>
                  <a:lnTo>
                    <a:pt x="319" y="24"/>
                  </a:lnTo>
                  <a:lnTo>
                    <a:pt x="319" y="26"/>
                  </a:lnTo>
                  <a:lnTo>
                    <a:pt x="313" y="26"/>
                  </a:lnTo>
                  <a:lnTo>
                    <a:pt x="312" y="27"/>
                  </a:lnTo>
                  <a:lnTo>
                    <a:pt x="312" y="29"/>
                  </a:lnTo>
                  <a:lnTo>
                    <a:pt x="318" y="29"/>
                  </a:lnTo>
                  <a:lnTo>
                    <a:pt x="316" y="30"/>
                  </a:lnTo>
                  <a:lnTo>
                    <a:pt x="312" y="30"/>
                  </a:lnTo>
                  <a:lnTo>
                    <a:pt x="315" y="32"/>
                  </a:lnTo>
                  <a:lnTo>
                    <a:pt x="312" y="32"/>
                  </a:lnTo>
                  <a:lnTo>
                    <a:pt x="312" y="33"/>
                  </a:lnTo>
                  <a:lnTo>
                    <a:pt x="314" y="33"/>
                  </a:lnTo>
                  <a:lnTo>
                    <a:pt x="314" y="32"/>
                  </a:lnTo>
                  <a:lnTo>
                    <a:pt x="315" y="33"/>
                  </a:lnTo>
                  <a:lnTo>
                    <a:pt x="316" y="33"/>
                  </a:lnTo>
                  <a:lnTo>
                    <a:pt x="319" y="28"/>
                  </a:lnTo>
                  <a:lnTo>
                    <a:pt x="318" y="33"/>
                  </a:lnTo>
                  <a:lnTo>
                    <a:pt x="319" y="33"/>
                  </a:lnTo>
                  <a:lnTo>
                    <a:pt x="321" y="32"/>
                  </a:lnTo>
                  <a:lnTo>
                    <a:pt x="321" y="33"/>
                  </a:lnTo>
                  <a:lnTo>
                    <a:pt x="320" y="33"/>
                  </a:lnTo>
                  <a:lnTo>
                    <a:pt x="318" y="34"/>
                  </a:lnTo>
                  <a:lnTo>
                    <a:pt x="318" y="35"/>
                  </a:lnTo>
                  <a:lnTo>
                    <a:pt x="320" y="34"/>
                  </a:lnTo>
                  <a:lnTo>
                    <a:pt x="320" y="35"/>
                  </a:lnTo>
                  <a:lnTo>
                    <a:pt x="316" y="36"/>
                  </a:lnTo>
                  <a:lnTo>
                    <a:pt x="318" y="38"/>
                  </a:lnTo>
                  <a:lnTo>
                    <a:pt x="319" y="39"/>
                  </a:lnTo>
                  <a:lnTo>
                    <a:pt x="320" y="36"/>
                  </a:lnTo>
                  <a:lnTo>
                    <a:pt x="326" y="33"/>
                  </a:lnTo>
                  <a:lnTo>
                    <a:pt x="325" y="35"/>
                  </a:lnTo>
                  <a:lnTo>
                    <a:pt x="327" y="36"/>
                  </a:lnTo>
                  <a:lnTo>
                    <a:pt x="330" y="35"/>
                  </a:lnTo>
                  <a:lnTo>
                    <a:pt x="328" y="36"/>
                  </a:lnTo>
                  <a:lnTo>
                    <a:pt x="324" y="38"/>
                  </a:lnTo>
                  <a:lnTo>
                    <a:pt x="322" y="38"/>
                  </a:lnTo>
                  <a:lnTo>
                    <a:pt x="327" y="41"/>
                  </a:lnTo>
                  <a:lnTo>
                    <a:pt x="321" y="39"/>
                  </a:lnTo>
                  <a:lnTo>
                    <a:pt x="322" y="40"/>
                  </a:lnTo>
                  <a:lnTo>
                    <a:pt x="320" y="39"/>
                  </a:lnTo>
                  <a:lnTo>
                    <a:pt x="319" y="40"/>
                  </a:lnTo>
                  <a:lnTo>
                    <a:pt x="318" y="40"/>
                  </a:lnTo>
                  <a:lnTo>
                    <a:pt x="319" y="42"/>
                  </a:lnTo>
                  <a:lnTo>
                    <a:pt x="316" y="40"/>
                  </a:lnTo>
                  <a:lnTo>
                    <a:pt x="310" y="44"/>
                  </a:lnTo>
                  <a:lnTo>
                    <a:pt x="309" y="46"/>
                  </a:lnTo>
                  <a:lnTo>
                    <a:pt x="312" y="47"/>
                  </a:lnTo>
                  <a:lnTo>
                    <a:pt x="314" y="46"/>
                  </a:lnTo>
                  <a:lnTo>
                    <a:pt x="315" y="45"/>
                  </a:lnTo>
                  <a:lnTo>
                    <a:pt x="315" y="46"/>
                  </a:lnTo>
                  <a:lnTo>
                    <a:pt x="319" y="46"/>
                  </a:lnTo>
                  <a:lnTo>
                    <a:pt x="321" y="44"/>
                  </a:lnTo>
                  <a:lnTo>
                    <a:pt x="320" y="47"/>
                  </a:lnTo>
                  <a:lnTo>
                    <a:pt x="325" y="47"/>
                  </a:lnTo>
                  <a:lnTo>
                    <a:pt x="324" y="48"/>
                  </a:lnTo>
                  <a:lnTo>
                    <a:pt x="320" y="48"/>
                  </a:lnTo>
                  <a:lnTo>
                    <a:pt x="321" y="51"/>
                  </a:lnTo>
                  <a:lnTo>
                    <a:pt x="318" y="48"/>
                  </a:lnTo>
                  <a:lnTo>
                    <a:pt x="316" y="48"/>
                  </a:lnTo>
                  <a:lnTo>
                    <a:pt x="315" y="48"/>
                  </a:lnTo>
                  <a:lnTo>
                    <a:pt x="313" y="48"/>
                  </a:lnTo>
                  <a:lnTo>
                    <a:pt x="314" y="50"/>
                  </a:lnTo>
                  <a:lnTo>
                    <a:pt x="318" y="50"/>
                  </a:lnTo>
                  <a:lnTo>
                    <a:pt x="315" y="51"/>
                  </a:lnTo>
                  <a:lnTo>
                    <a:pt x="316" y="51"/>
                  </a:lnTo>
                  <a:lnTo>
                    <a:pt x="319" y="53"/>
                  </a:lnTo>
                  <a:lnTo>
                    <a:pt x="315" y="53"/>
                  </a:lnTo>
                  <a:lnTo>
                    <a:pt x="315" y="54"/>
                  </a:lnTo>
                  <a:lnTo>
                    <a:pt x="320" y="58"/>
                  </a:lnTo>
                  <a:lnTo>
                    <a:pt x="320" y="59"/>
                  </a:lnTo>
                  <a:lnTo>
                    <a:pt x="318" y="59"/>
                  </a:lnTo>
                  <a:lnTo>
                    <a:pt x="318" y="60"/>
                  </a:lnTo>
                  <a:lnTo>
                    <a:pt x="318" y="62"/>
                  </a:lnTo>
                  <a:lnTo>
                    <a:pt x="316" y="62"/>
                  </a:lnTo>
                  <a:lnTo>
                    <a:pt x="315" y="62"/>
                  </a:lnTo>
                  <a:lnTo>
                    <a:pt x="315" y="63"/>
                  </a:lnTo>
                  <a:lnTo>
                    <a:pt x="319" y="63"/>
                  </a:lnTo>
                  <a:lnTo>
                    <a:pt x="321" y="62"/>
                  </a:lnTo>
                  <a:lnTo>
                    <a:pt x="320" y="63"/>
                  </a:lnTo>
                  <a:lnTo>
                    <a:pt x="321" y="66"/>
                  </a:lnTo>
                  <a:lnTo>
                    <a:pt x="320" y="66"/>
                  </a:lnTo>
                  <a:lnTo>
                    <a:pt x="319" y="64"/>
                  </a:lnTo>
                  <a:lnTo>
                    <a:pt x="316" y="64"/>
                  </a:lnTo>
                  <a:lnTo>
                    <a:pt x="318" y="66"/>
                  </a:lnTo>
                  <a:lnTo>
                    <a:pt x="321" y="69"/>
                  </a:lnTo>
                  <a:lnTo>
                    <a:pt x="326" y="71"/>
                  </a:lnTo>
                  <a:lnTo>
                    <a:pt x="333" y="75"/>
                  </a:lnTo>
                  <a:lnTo>
                    <a:pt x="336" y="75"/>
                  </a:lnTo>
                  <a:lnTo>
                    <a:pt x="334" y="76"/>
                  </a:lnTo>
                  <a:lnTo>
                    <a:pt x="336" y="76"/>
                  </a:lnTo>
                  <a:lnTo>
                    <a:pt x="339" y="75"/>
                  </a:lnTo>
                  <a:lnTo>
                    <a:pt x="337" y="76"/>
                  </a:lnTo>
                  <a:lnTo>
                    <a:pt x="342" y="78"/>
                  </a:lnTo>
                  <a:lnTo>
                    <a:pt x="342" y="80"/>
                  </a:lnTo>
                  <a:lnTo>
                    <a:pt x="334" y="78"/>
                  </a:lnTo>
                  <a:lnTo>
                    <a:pt x="336" y="80"/>
                  </a:lnTo>
                  <a:lnTo>
                    <a:pt x="336" y="82"/>
                  </a:lnTo>
                  <a:lnTo>
                    <a:pt x="334" y="83"/>
                  </a:lnTo>
                  <a:lnTo>
                    <a:pt x="334" y="80"/>
                  </a:lnTo>
                  <a:lnTo>
                    <a:pt x="333" y="80"/>
                  </a:lnTo>
                  <a:lnTo>
                    <a:pt x="333" y="77"/>
                  </a:lnTo>
                  <a:lnTo>
                    <a:pt x="332" y="77"/>
                  </a:lnTo>
                  <a:lnTo>
                    <a:pt x="332" y="80"/>
                  </a:lnTo>
                  <a:lnTo>
                    <a:pt x="331" y="80"/>
                  </a:lnTo>
                  <a:lnTo>
                    <a:pt x="331" y="76"/>
                  </a:lnTo>
                  <a:lnTo>
                    <a:pt x="327" y="75"/>
                  </a:lnTo>
                  <a:lnTo>
                    <a:pt x="327" y="77"/>
                  </a:lnTo>
                  <a:lnTo>
                    <a:pt x="330" y="80"/>
                  </a:lnTo>
                  <a:lnTo>
                    <a:pt x="328" y="82"/>
                  </a:lnTo>
                  <a:lnTo>
                    <a:pt x="328" y="83"/>
                  </a:lnTo>
                  <a:lnTo>
                    <a:pt x="326" y="84"/>
                  </a:lnTo>
                  <a:lnTo>
                    <a:pt x="330" y="86"/>
                  </a:lnTo>
                  <a:lnTo>
                    <a:pt x="331" y="84"/>
                  </a:lnTo>
                  <a:lnTo>
                    <a:pt x="332" y="84"/>
                  </a:lnTo>
                  <a:lnTo>
                    <a:pt x="331" y="86"/>
                  </a:lnTo>
                  <a:lnTo>
                    <a:pt x="333" y="86"/>
                  </a:lnTo>
                  <a:lnTo>
                    <a:pt x="336" y="87"/>
                  </a:lnTo>
                  <a:lnTo>
                    <a:pt x="332" y="87"/>
                  </a:lnTo>
                  <a:lnTo>
                    <a:pt x="331" y="87"/>
                  </a:lnTo>
                  <a:lnTo>
                    <a:pt x="330" y="88"/>
                  </a:lnTo>
                  <a:lnTo>
                    <a:pt x="333" y="88"/>
                  </a:lnTo>
                  <a:lnTo>
                    <a:pt x="336" y="89"/>
                  </a:lnTo>
                  <a:lnTo>
                    <a:pt x="337" y="92"/>
                  </a:lnTo>
                  <a:lnTo>
                    <a:pt x="336" y="92"/>
                  </a:lnTo>
                  <a:lnTo>
                    <a:pt x="334" y="92"/>
                  </a:lnTo>
                  <a:lnTo>
                    <a:pt x="333" y="92"/>
                  </a:lnTo>
                  <a:lnTo>
                    <a:pt x="333" y="93"/>
                  </a:lnTo>
                  <a:lnTo>
                    <a:pt x="334" y="94"/>
                  </a:lnTo>
                  <a:lnTo>
                    <a:pt x="336" y="94"/>
                  </a:lnTo>
                  <a:lnTo>
                    <a:pt x="337" y="93"/>
                  </a:lnTo>
                  <a:lnTo>
                    <a:pt x="341" y="93"/>
                  </a:lnTo>
                  <a:lnTo>
                    <a:pt x="342" y="93"/>
                  </a:lnTo>
                  <a:lnTo>
                    <a:pt x="343" y="95"/>
                  </a:lnTo>
                  <a:lnTo>
                    <a:pt x="344" y="96"/>
                  </a:lnTo>
                  <a:lnTo>
                    <a:pt x="348" y="96"/>
                  </a:lnTo>
                  <a:lnTo>
                    <a:pt x="353" y="99"/>
                  </a:lnTo>
                  <a:lnTo>
                    <a:pt x="355" y="100"/>
                  </a:lnTo>
                  <a:lnTo>
                    <a:pt x="355" y="101"/>
                  </a:lnTo>
                  <a:lnTo>
                    <a:pt x="359" y="101"/>
                  </a:lnTo>
                  <a:lnTo>
                    <a:pt x="357" y="101"/>
                  </a:lnTo>
                  <a:lnTo>
                    <a:pt x="359" y="101"/>
                  </a:lnTo>
                  <a:lnTo>
                    <a:pt x="362" y="101"/>
                  </a:lnTo>
                  <a:lnTo>
                    <a:pt x="362" y="102"/>
                  </a:lnTo>
                  <a:lnTo>
                    <a:pt x="363" y="104"/>
                  </a:lnTo>
                  <a:lnTo>
                    <a:pt x="371" y="107"/>
                  </a:lnTo>
                  <a:lnTo>
                    <a:pt x="373" y="108"/>
                  </a:lnTo>
                  <a:lnTo>
                    <a:pt x="375" y="108"/>
                  </a:lnTo>
                  <a:lnTo>
                    <a:pt x="374" y="108"/>
                  </a:lnTo>
                  <a:lnTo>
                    <a:pt x="375" y="110"/>
                  </a:lnTo>
                  <a:lnTo>
                    <a:pt x="377" y="110"/>
                  </a:lnTo>
                  <a:lnTo>
                    <a:pt x="377" y="111"/>
                  </a:lnTo>
                  <a:lnTo>
                    <a:pt x="379" y="112"/>
                  </a:lnTo>
                  <a:lnTo>
                    <a:pt x="380" y="113"/>
                  </a:lnTo>
                  <a:lnTo>
                    <a:pt x="383" y="113"/>
                  </a:lnTo>
                  <a:lnTo>
                    <a:pt x="383" y="114"/>
                  </a:lnTo>
                  <a:lnTo>
                    <a:pt x="381" y="114"/>
                  </a:lnTo>
                  <a:lnTo>
                    <a:pt x="384" y="117"/>
                  </a:lnTo>
                  <a:lnTo>
                    <a:pt x="381" y="116"/>
                  </a:lnTo>
                  <a:lnTo>
                    <a:pt x="380" y="116"/>
                  </a:lnTo>
                  <a:lnTo>
                    <a:pt x="380" y="118"/>
                  </a:lnTo>
                  <a:lnTo>
                    <a:pt x="379" y="114"/>
                  </a:lnTo>
                  <a:lnTo>
                    <a:pt x="378" y="114"/>
                  </a:lnTo>
                  <a:lnTo>
                    <a:pt x="377" y="114"/>
                  </a:lnTo>
                  <a:lnTo>
                    <a:pt x="377" y="113"/>
                  </a:lnTo>
                  <a:lnTo>
                    <a:pt x="372" y="110"/>
                  </a:lnTo>
                  <a:lnTo>
                    <a:pt x="372" y="114"/>
                  </a:lnTo>
                  <a:lnTo>
                    <a:pt x="372" y="117"/>
                  </a:lnTo>
                  <a:lnTo>
                    <a:pt x="371" y="117"/>
                  </a:lnTo>
                  <a:lnTo>
                    <a:pt x="371" y="114"/>
                  </a:lnTo>
                  <a:lnTo>
                    <a:pt x="371" y="110"/>
                  </a:lnTo>
                  <a:lnTo>
                    <a:pt x="369" y="112"/>
                  </a:lnTo>
                  <a:lnTo>
                    <a:pt x="369" y="116"/>
                  </a:lnTo>
                  <a:lnTo>
                    <a:pt x="369" y="117"/>
                  </a:lnTo>
                  <a:lnTo>
                    <a:pt x="368" y="117"/>
                  </a:lnTo>
                  <a:lnTo>
                    <a:pt x="368" y="118"/>
                  </a:lnTo>
                  <a:lnTo>
                    <a:pt x="367" y="118"/>
                  </a:lnTo>
                  <a:lnTo>
                    <a:pt x="368" y="119"/>
                  </a:lnTo>
                  <a:lnTo>
                    <a:pt x="371" y="120"/>
                  </a:lnTo>
                  <a:lnTo>
                    <a:pt x="369" y="120"/>
                  </a:lnTo>
                  <a:lnTo>
                    <a:pt x="369" y="122"/>
                  </a:lnTo>
                  <a:lnTo>
                    <a:pt x="372" y="122"/>
                  </a:lnTo>
                  <a:lnTo>
                    <a:pt x="372" y="123"/>
                  </a:lnTo>
                  <a:lnTo>
                    <a:pt x="369" y="123"/>
                  </a:lnTo>
                  <a:lnTo>
                    <a:pt x="371" y="124"/>
                  </a:lnTo>
                  <a:lnTo>
                    <a:pt x="372" y="125"/>
                  </a:lnTo>
                  <a:lnTo>
                    <a:pt x="372" y="127"/>
                  </a:lnTo>
                  <a:lnTo>
                    <a:pt x="372" y="129"/>
                  </a:lnTo>
                  <a:lnTo>
                    <a:pt x="372" y="130"/>
                  </a:lnTo>
                  <a:lnTo>
                    <a:pt x="371" y="131"/>
                  </a:lnTo>
                  <a:lnTo>
                    <a:pt x="368" y="131"/>
                  </a:lnTo>
                  <a:lnTo>
                    <a:pt x="367" y="131"/>
                  </a:lnTo>
                  <a:lnTo>
                    <a:pt x="368" y="133"/>
                  </a:lnTo>
                  <a:lnTo>
                    <a:pt x="372" y="133"/>
                  </a:lnTo>
                  <a:lnTo>
                    <a:pt x="372" y="134"/>
                  </a:lnTo>
                  <a:lnTo>
                    <a:pt x="373" y="134"/>
                  </a:lnTo>
                  <a:lnTo>
                    <a:pt x="374" y="135"/>
                  </a:lnTo>
                  <a:lnTo>
                    <a:pt x="377" y="134"/>
                  </a:lnTo>
                  <a:lnTo>
                    <a:pt x="378" y="134"/>
                  </a:lnTo>
                  <a:lnTo>
                    <a:pt x="378" y="135"/>
                  </a:lnTo>
                  <a:lnTo>
                    <a:pt x="375" y="135"/>
                  </a:lnTo>
                  <a:lnTo>
                    <a:pt x="377" y="136"/>
                  </a:lnTo>
                  <a:lnTo>
                    <a:pt x="378" y="136"/>
                  </a:lnTo>
                  <a:lnTo>
                    <a:pt x="379" y="135"/>
                  </a:lnTo>
                  <a:lnTo>
                    <a:pt x="381" y="135"/>
                  </a:lnTo>
                  <a:lnTo>
                    <a:pt x="380" y="136"/>
                  </a:lnTo>
                  <a:lnTo>
                    <a:pt x="384" y="136"/>
                  </a:lnTo>
                  <a:lnTo>
                    <a:pt x="383" y="137"/>
                  </a:lnTo>
                  <a:lnTo>
                    <a:pt x="386" y="139"/>
                  </a:lnTo>
                  <a:lnTo>
                    <a:pt x="383" y="137"/>
                  </a:lnTo>
                  <a:lnTo>
                    <a:pt x="383" y="139"/>
                  </a:lnTo>
                  <a:lnTo>
                    <a:pt x="384" y="142"/>
                  </a:lnTo>
                  <a:lnTo>
                    <a:pt x="383" y="142"/>
                  </a:lnTo>
                  <a:lnTo>
                    <a:pt x="381" y="139"/>
                  </a:lnTo>
                  <a:lnTo>
                    <a:pt x="380" y="139"/>
                  </a:lnTo>
                  <a:lnTo>
                    <a:pt x="380" y="141"/>
                  </a:lnTo>
                  <a:lnTo>
                    <a:pt x="379" y="141"/>
                  </a:lnTo>
                  <a:lnTo>
                    <a:pt x="378" y="140"/>
                  </a:lnTo>
                  <a:lnTo>
                    <a:pt x="377" y="140"/>
                  </a:lnTo>
                  <a:lnTo>
                    <a:pt x="377" y="137"/>
                  </a:lnTo>
                  <a:lnTo>
                    <a:pt x="375" y="137"/>
                  </a:lnTo>
                  <a:lnTo>
                    <a:pt x="375" y="139"/>
                  </a:lnTo>
                  <a:lnTo>
                    <a:pt x="375" y="140"/>
                  </a:lnTo>
                  <a:lnTo>
                    <a:pt x="374" y="140"/>
                  </a:lnTo>
                  <a:lnTo>
                    <a:pt x="372" y="145"/>
                  </a:lnTo>
                  <a:lnTo>
                    <a:pt x="372" y="146"/>
                  </a:lnTo>
                  <a:lnTo>
                    <a:pt x="371" y="145"/>
                  </a:lnTo>
                  <a:lnTo>
                    <a:pt x="369" y="147"/>
                  </a:lnTo>
                  <a:lnTo>
                    <a:pt x="368" y="147"/>
                  </a:lnTo>
                  <a:lnTo>
                    <a:pt x="369" y="145"/>
                  </a:lnTo>
                  <a:lnTo>
                    <a:pt x="368" y="146"/>
                  </a:lnTo>
                  <a:lnTo>
                    <a:pt x="367" y="146"/>
                  </a:lnTo>
                  <a:lnTo>
                    <a:pt x="367" y="143"/>
                  </a:lnTo>
                  <a:lnTo>
                    <a:pt x="366" y="143"/>
                  </a:lnTo>
                  <a:lnTo>
                    <a:pt x="366" y="146"/>
                  </a:lnTo>
                  <a:lnTo>
                    <a:pt x="365" y="146"/>
                  </a:lnTo>
                  <a:lnTo>
                    <a:pt x="365" y="147"/>
                  </a:lnTo>
                  <a:lnTo>
                    <a:pt x="365" y="143"/>
                  </a:lnTo>
                  <a:lnTo>
                    <a:pt x="365" y="142"/>
                  </a:lnTo>
                  <a:lnTo>
                    <a:pt x="363" y="143"/>
                  </a:lnTo>
                  <a:lnTo>
                    <a:pt x="362" y="145"/>
                  </a:lnTo>
                  <a:lnTo>
                    <a:pt x="362" y="141"/>
                  </a:lnTo>
                  <a:lnTo>
                    <a:pt x="361" y="141"/>
                  </a:lnTo>
                  <a:lnTo>
                    <a:pt x="361" y="142"/>
                  </a:lnTo>
                  <a:lnTo>
                    <a:pt x="360" y="145"/>
                  </a:lnTo>
                  <a:lnTo>
                    <a:pt x="359" y="146"/>
                  </a:lnTo>
                  <a:lnTo>
                    <a:pt x="359" y="147"/>
                  </a:lnTo>
                  <a:lnTo>
                    <a:pt x="360" y="149"/>
                  </a:lnTo>
                  <a:lnTo>
                    <a:pt x="362" y="149"/>
                  </a:lnTo>
                  <a:lnTo>
                    <a:pt x="365" y="151"/>
                  </a:lnTo>
                  <a:lnTo>
                    <a:pt x="367" y="153"/>
                  </a:lnTo>
                  <a:lnTo>
                    <a:pt x="372" y="154"/>
                  </a:lnTo>
                  <a:lnTo>
                    <a:pt x="373" y="154"/>
                  </a:lnTo>
                  <a:lnTo>
                    <a:pt x="379" y="154"/>
                  </a:lnTo>
                  <a:lnTo>
                    <a:pt x="380" y="155"/>
                  </a:lnTo>
                  <a:lnTo>
                    <a:pt x="384" y="155"/>
                  </a:lnTo>
                  <a:lnTo>
                    <a:pt x="385" y="155"/>
                  </a:lnTo>
                  <a:lnTo>
                    <a:pt x="386" y="155"/>
                  </a:lnTo>
                  <a:lnTo>
                    <a:pt x="387" y="155"/>
                  </a:lnTo>
                  <a:lnTo>
                    <a:pt x="390" y="154"/>
                  </a:lnTo>
                  <a:lnTo>
                    <a:pt x="389" y="155"/>
                  </a:lnTo>
                  <a:lnTo>
                    <a:pt x="390" y="155"/>
                  </a:lnTo>
                  <a:lnTo>
                    <a:pt x="391" y="155"/>
                  </a:lnTo>
                  <a:lnTo>
                    <a:pt x="392" y="155"/>
                  </a:lnTo>
                  <a:lnTo>
                    <a:pt x="397" y="153"/>
                  </a:lnTo>
                  <a:lnTo>
                    <a:pt x="398" y="153"/>
                  </a:lnTo>
                  <a:lnTo>
                    <a:pt x="393" y="155"/>
                  </a:lnTo>
                  <a:lnTo>
                    <a:pt x="403" y="155"/>
                  </a:lnTo>
                  <a:lnTo>
                    <a:pt x="403" y="157"/>
                  </a:lnTo>
                  <a:lnTo>
                    <a:pt x="395" y="158"/>
                  </a:lnTo>
                  <a:lnTo>
                    <a:pt x="393" y="157"/>
                  </a:lnTo>
                  <a:lnTo>
                    <a:pt x="396" y="158"/>
                  </a:lnTo>
                  <a:lnTo>
                    <a:pt x="395" y="159"/>
                  </a:lnTo>
                  <a:lnTo>
                    <a:pt x="390" y="157"/>
                  </a:lnTo>
                  <a:lnTo>
                    <a:pt x="389" y="158"/>
                  </a:lnTo>
                  <a:lnTo>
                    <a:pt x="389" y="159"/>
                  </a:lnTo>
                  <a:lnTo>
                    <a:pt x="390" y="160"/>
                  </a:lnTo>
                  <a:lnTo>
                    <a:pt x="389" y="161"/>
                  </a:lnTo>
                  <a:lnTo>
                    <a:pt x="387" y="164"/>
                  </a:lnTo>
                  <a:lnTo>
                    <a:pt x="386" y="165"/>
                  </a:lnTo>
                  <a:lnTo>
                    <a:pt x="389" y="165"/>
                  </a:lnTo>
                  <a:lnTo>
                    <a:pt x="390" y="166"/>
                  </a:lnTo>
                  <a:lnTo>
                    <a:pt x="387" y="166"/>
                  </a:lnTo>
                  <a:lnTo>
                    <a:pt x="387" y="167"/>
                  </a:lnTo>
                  <a:lnTo>
                    <a:pt x="390" y="169"/>
                  </a:lnTo>
                  <a:lnTo>
                    <a:pt x="391" y="170"/>
                  </a:lnTo>
                  <a:lnTo>
                    <a:pt x="391" y="171"/>
                  </a:lnTo>
                  <a:lnTo>
                    <a:pt x="392" y="171"/>
                  </a:lnTo>
                  <a:lnTo>
                    <a:pt x="393" y="170"/>
                  </a:lnTo>
                  <a:lnTo>
                    <a:pt x="393" y="169"/>
                  </a:lnTo>
                  <a:lnTo>
                    <a:pt x="393" y="167"/>
                  </a:lnTo>
                  <a:lnTo>
                    <a:pt x="395" y="167"/>
                  </a:lnTo>
                  <a:lnTo>
                    <a:pt x="395" y="169"/>
                  </a:lnTo>
                  <a:lnTo>
                    <a:pt x="396" y="170"/>
                  </a:lnTo>
                  <a:lnTo>
                    <a:pt x="402" y="166"/>
                  </a:lnTo>
                  <a:lnTo>
                    <a:pt x="404" y="166"/>
                  </a:lnTo>
                  <a:lnTo>
                    <a:pt x="409" y="163"/>
                  </a:lnTo>
                  <a:lnTo>
                    <a:pt x="410" y="163"/>
                  </a:lnTo>
                  <a:lnTo>
                    <a:pt x="407" y="166"/>
                  </a:lnTo>
                  <a:lnTo>
                    <a:pt x="408" y="166"/>
                  </a:lnTo>
                  <a:lnTo>
                    <a:pt x="412" y="165"/>
                  </a:lnTo>
                  <a:lnTo>
                    <a:pt x="409" y="166"/>
                  </a:lnTo>
                  <a:lnTo>
                    <a:pt x="410" y="166"/>
                  </a:lnTo>
                  <a:lnTo>
                    <a:pt x="408" y="167"/>
                  </a:lnTo>
                  <a:lnTo>
                    <a:pt x="407" y="169"/>
                  </a:lnTo>
                  <a:lnTo>
                    <a:pt x="408" y="169"/>
                  </a:lnTo>
                  <a:lnTo>
                    <a:pt x="408" y="170"/>
                  </a:lnTo>
                  <a:lnTo>
                    <a:pt x="407" y="170"/>
                  </a:lnTo>
                  <a:lnTo>
                    <a:pt x="406" y="169"/>
                  </a:lnTo>
                  <a:lnTo>
                    <a:pt x="403" y="169"/>
                  </a:lnTo>
                  <a:lnTo>
                    <a:pt x="407" y="171"/>
                  </a:lnTo>
                  <a:lnTo>
                    <a:pt x="406" y="171"/>
                  </a:lnTo>
                  <a:lnTo>
                    <a:pt x="404" y="171"/>
                  </a:lnTo>
                  <a:lnTo>
                    <a:pt x="402" y="170"/>
                  </a:lnTo>
                  <a:lnTo>
                    <a:pt x="398" y="171"/>
                  </a:lnTo>
                  <a:lnTo>
                    <a:pt x="402" y="171"/>
                  </a:lnTo>
                  <a:lnTo>
                    <a:pt x="404" y="172"/>
                  </a:lnTo>
                  <a:lnTo>
                    <a:pt x="406" y="173"/>
                  </a:lnTo>
                  <a:lnTo>
                    <a:pt x="404" y="173"/>
                  </a:lnTo>
                  <a:lnTo>
                    <a:pt x="403" y="172"/>
                  </a:lnTo>
                  <a:lnTo>
                    <a:pt x="402" y="172"/>
                  </a:lnTo>
                  <a:lnTo>
                    <a:pt x="400" y="172"/>
                  </a:lnTo>
                  <a:lnTo>
                    <a:pt x="400" y="175"/>
                  </a:lnTo>
                  <a:lnTo>
                    <a:pt x="397" y="173"/>
                  </a:lnTo>
                  <a:lnTo>
                    <a:pt x="395" y="173"/>
                  </a:lnTo>
                  <a:lnTo>
                    <a:pt x="395" y="175"/>
                  </a:lnTo>
                  <a:lnTo>
                    <a:pt x="397" y="176"/>
                  </a:lnTo>
                  <a:lnTo>
                    <a:pt x="401" y="178"/>
                  </a:lnTo>
                  <a:lnTo>
                    <a:pt x="404" y="179"/>
                  </a:lnTo>
                  <a:lnTo>
                    <a:pt x="409" y="181"/>
                  </a:lnTo>
                  <a:lnTo>
                    <a:pt x="406" y="182"/>
                  </a:lnTo>
                  <a:lnTo>
                    <a:pt x="412" y="185"/>
                  </a:lnTo>
                  <a:lnTo>
                    <a:pt x="406" y="183"/>
                  </a:lnTo>
                  <a:lnTo>
                    <a:pt x="404" y="183"/>
                  </a:lnTo>
                  <a:lnTo>
                    <a:pt x="404" y="184"/>
                  </a:lnTo>
                  <a:lnTo>
                    <a:pt x="404" y="185"/>
                  </a:lnTo>
                  <a:lnTo>
                    <a:pt x="403" y="185"/>
                  </a:lnTo>
                  <a:lnTo>
                    <a:pt x="403" y="182"/>
                  </a:lnTo>
                  <a:lnTo>
                    <a:pt x="402" y="182"/>
                  </a:lnTo>
                  <a:lnTo>
                    <a:pt x="398" y="187"/>
                  </a:lnTo>
                  <a:lnTo>
                    <a:pt x="397" y="187"/>
                  </a:lnTo>
                  <a:lnTo>
                    <a:pt x="398" y="184"/>
                  </a:lnTo>
                  <a:lnTo>
                    <a:pt x="397" y="184"/>
                  </a:lnTo>
                  <a:lnTo>
                    <a:pt x="396" y="185"/>
                  </a:lnTo>
                  <a:lnTo>
                    <a:pt x="396" y="187"/>
                  </a:lnTo>
                  <a:lnTo>
                    <a:pt x="397" y="188"/>
                  </a:lnTo>
                  <a:lnTo>
                    <a:pt x="400" y="188"/>
                  </a:lnTo>
                  <a:lnTo>
                    <a:pt x="401" y="189"/>
                  </a:lnTo>
                  <a:lnTo>
                    <a:pt x="402" y="191"/>
                  </a:lnTo>
                  <a:lnTo>
                    <a:pt x="402" y="193"/>
                  </a:lnTo>
                  <a:lnTo>
                    <a:pt x="403" y="194"/>
                  </a:lnTo>
                  <a:lnTo>
                    <a:pt x="404" y="195"/>
                  </a:lnTo>
                  <a:lnTo>
                    <a:pt x="406" y="196"/>
                  </a:lnTo>
                  <a:lnTo>
                    <a:pt x="407" y="196"/>
                  </a:lnTo>
                  <a:lnTo>
                    <a:pt x="408" y="196"/>
                  </a:lnTo>
                  <a:lnTo>
                    <a:pt x="408" y="197"/>
                  </a:lnTo>
                  <a:lnTo>
                    <a:pt x="412" y="199"/>
                  </a:lnTo>
                  <a:lnTo>
                    <a:pt x="412" y="197"/>
                  </a:lnTo>
                  <a:lnTo>
                    <a:pt x="413" y="199"/>
                  </a:lnTo>
                  <a:lnTo>
                    <a:pt x="415" y="199"/>
                  </a:lnTo>
                  <a:lnTo>
                    <a:pt x="415" y="200"/>
                  </a:lnTo>
                  <a:lnTo>
                    <a:pt x="418" y="200"/>
                  </a:lnTo>
                  <a:lnTo>
                    <a:pt x="415" y="200"/>
                  </a:lnTo>
                  <a:lnTo>
                    <a:pt x="415" y="201"/>
                  </a:lnTo>
                  <a:lnTo>
                    <a:pt x="416" y="202"/>
                  </a:lnTo>
                  <a:lnTo>
                    <a:pt x="416" y="203"/>
                  </a:lnTo>
                  <a:lnTo>
                    <a:pt x="416" y="205"/>
                  </a:lnTo>
                  <a:lnTo>
                    <a:pt x="415" y="205"/>
                  </a:lnTo>
                  <a:lnTo>
                    <a:pt x="414" y="202"/>
                  </a:lnTo>
                  <a:lnTo>
                    <a:pt x="413" y="205"/>
                  </a:lnTo>
                  <a:lnTo>
                    <a:pt x="413" y="201"/>
                  </a:lnTo>
                  <a:lnTo>
                    <a:pt x="412" y="201"/>
                  </a:lnTo>
                  <a:lnTo>
                    <a:pt x="412" y="202"/>
                  </a:lnTo>
                  <a:lnTo>
                    <a:pt x="410" y="201"/>
                  </a:lnTo>
                  <a:lnTo>
                    <a:pt x="409" y="200"/>
                  </a:lnTo>
                  <a:lnTo>
                    <a:pt x="408" y="200"/>
                  </a:lnTo>
                  <a:lnTo>
                    <a:pt x="408" y="201"/>
                  </a:lnTo>
                  <a:lnTo>
                    <a:pt x="408" y="202"/>
                  </a:lnTo>
                  <a:lnTo>
                    <a:pt x="408" y="203"/>
                  </a:lnTo>
                  <a:lnTo>
                    <a:pt x="408" y="206"/>
                  </a:lnTo>
                  <a:lnTo>
                    <a:pt x="407" y="207"/>
                  </a:lnTo>
                  <a:lnTo>
                    <a:pt x="406" y="208"/>
                  </a:lnTo>
                  <a:lnTo>
                    <a:pt x="406" y="205"/>
                  </a:lnTo>
                  <a:lnTo>
                    <a:pt x="406" y="203"/>
                  </a:lnTo>
                  <a:lnTo>
                    <a:pt x="406" y="202"/>
                  </a:lnTo>
                  <a:lnTo>
                    <a:pt x="404" y="203"/>
                  </a:lnTo>
                  <a:lnTo>
                    <a:pt x="404" y="207"/>
                  </a:lnTo>
                  <a:lnTo>
                    <a:pt x="403" y="207"/>
                  </a:lnTo>
                  <a:lnTo>
                    <a:pt x="401" y="205"/>
                  </a:lnTo>
                  <a:lnTo>
                    <a:pt x="401" y="202"/>
                  </a:lnTo>
                  <a:lnTo>
                    <a:pt x="400" y="202"/>
                  </a:lnTo>
                  <a:lnTo>
                    <a:pt x="398" y="203"/>
                  </a:lnTo>
                  <a:lnTo>
                    <a:pt x="397" y="203"/>
                  </a:lnTo>
                  <a:lnTo>
                    <a:pt x="397" y="202"/>
                  </a:lnTo>
                  <a:lnTo>
                    <a:pt x="396" y="203"/>
                  </a:lnTo>
                  <a:lnTo>
                    <a:pt x="396" y="202"/>
                  </a:lnTo>
                  <a:lnTo>
                    <a:pt x="396" y="201"/>
                  </a:lnTo>
                  <a:lnTo>
                    <a:pt x="397" y="199"/>
                  </a:lnTo>
                  <a:lnTo>
                    <a:pt x="396" y="199"/>
                  </a:lnTo>
                  <a:lnTo>
                    <a:pt x="395" y="199"/>
                  </a:lnTo>
                  <a:lnTo>
                    <a:pt x="393" y="200"/>
                  </a:lnTo>
                  <a:lnTo>
                    <a:pt x="392" y="201"/>
                  </a:lnTo>
                  <a:lnTo>
                    <a:pt x="391" y="201"/>
                  </a:lnTo>
                  <a:lnTo>
                    <a:pt x="391" y="200"/>
                  </a:lnTo>
                  <a:lnTo>
                    <a:pt x="391" y="199"/>
                  </a:lnTo>
                  <a:lnTo>
                    <a:pt x="391" y="196"/>
                  </a:lnTo>
                  <a:lnTo>
                    <a:pt x="391" y="195"/>
                  </a:lnTo>
                  <a:lnTo>
                    <a:pt x="389" y="196"/>
                  </a:lnTo>
                  <a:lnTo>
                    <a:pt x="389" y="197"/>
                  </a:lnTo>
                  <a:lnTo>
                    <a:pt x="390" y="197"/>
                  </a:lnTo>
                  <a:lnTo>
                    <a:pt x="390" y="199"/>
                  </a:lnTo>
                  <a:lnTo>
                    <a:pt x="389" y="200"/>
                  </a:lnTo>
                  <a:lnTo>
                    <a:pt x="387" y="199"/>
                  </a:lnTo>
                  <a:lnTo>
                    <a:pt x="387" y="196"/>
                  </a:lnTo>
                  <a:lnTo>
                    <a:pt x="387" y="195"/>
                  </a:lnTo>
                  <a:lnTo>
                    <a:pt x="387" y="194"/>
                  </a:lnTo>
                  <a:lnTo>
                    <a:pt x="387" y="193"/>
                  </a:lnTo>
                  <a:lnTo>
                    <a:pt x="387" y="191"/>
                  </a:lnTo>
                  <a:lnTo>
                    <a:pt x="386" y="193"/>
                  </a:lnTo>
                  <a:lnTo>
                    <a:pt x="385" y="191"/>
                  </a:lnTo>
                  <a:lnTo>
                    <a:pt x="385" y="193"/>
                  </a:lnTo>
                  <a:lnTo>
                    <a:pt x="386" y="195"/>
                  </a:lnTo>
                  <a:lnTo>
                    <a:pt x="386" y="196"/>
                  </a:lnTo>
                  <a:lnTo>
                    <a:pt x="386" y="197"/>
                  </a:lnTo>
                  <a:lnTo>
                    <a:pt x="385" y="199"/>
                  </a:lnTo>
                  <a:lnTo>
                    <a:pt x="386" y="199"/>
                  </a:lnTo>
                  <a:lnTo>
                    <a:pt x="386" y="200"/>
                  </a:lnTo>
                  <a:lnTo>
                    <a:pt x="389" y="201"/>
                  </a:lnTo>
                  <a:lnTo>
                    <a:pt x="390" y="202"/>
                  </a:lnTo>
                  <a:lnTo>
                    <a:pt x="392" y="203"/>
                  </a:lnTo>
                  <a:lnTo>
                    <a:pt x="395" y="205"/>
                  </a:lnTo>
                  <a:lnTo>
                    <a:pt x="395" y="206"/>
                  </a:lnTo>
                  <a:lnTo>
                    <a:pt x="396" y="206"/>
                  </a:lnTo>
                  <a:lnTo>
                    <a:pt x="397" y="205"/>
                  </a:lnTo>
                  <a:lnTo>
                    <a:pt x="397" y="206"/>
                  </a:lnTo>
                  <a:lnTo>
                    <a:pt x="400" y="208"/>
                  </a:lnTo>
                  <a:lnTo>
                    <a:pt x="402" y="209"/>
                  </a:lnTo>
                  <a:lnTo>
                    <a:pt x="404" y="209"/>
                  </a:lnTo>
                  <a:lnTo>
                    <a:pt x="406" y="208"/>
                  </a:lnTo>
                  <a:lnTo>
                    <a:pt x="407" y="208"/>
                  </a:lnTo>
                  <a:lnTo>
                    <a:pt x="409" y="208"/>
                  </a:lnTo>
                  <a:lnTo>
                    <a:pt x="412" y="208"/>
                  </a:lnTo>
                  <a:lnTo>
                    <a:pt x="414" y="207"/>
                  </a:lnTo>
                  <a:lnTo>
                    <a:pt x="416" y="206"/>
                  </a:lnTo>
                  <a:lnTo>
                    <a:pt x="418" y="205"/>
                  </a:lnTo>
                  <a:lnTo>
                    <a:pt x="419" y="203"/>
                  </a:lnTo>
                  <a:lnTo>
                    <a:pt x="421" y="202"/>
                  </a:lnTo>
                  <a:lnTo>
                    <a:pt x="422" y="200"/>
                  </a:lnTo>
                  <a:lnTo>
                    <a:pt x="421" y="199"/>
                  </a:lnTo>
                  <a:lnTo>
                    <a:pt x="424" y="200"/>
                  </a:lnTo>
                  <a:lnTo>
                    <a:pt x="425" y="199"/>
                  </a:lnTo>
                  <a:lnTo>
                    <a:pt x="421" y="195"/>
                  </a:lnTo>
                  <a:lnTo>
                    <a:pt x="424" y="195"/>
                  </a:lnTo>
                  <a:lnTo>
                    <a:pt x="425" y="195"/>
                  </a:lnTo>
                  <a:lnTo>
                    <a:pt x="425" y="196"/>
                  </a:lnTo>
                  <a:lnTo>
                    <a:pt x="426" y="197"/>
                  </a:lnTo>
                  <a:lnTo>
                    <a:pt x="433" y="191"/>
                  </a:lnTo>
                  <a:lnTo>
                    <a:pt x="434" y="191"/>
                  </a:lnTo>
                  <a:lnTo>
                    <a:pt x="432" y="193"/>
                  </a:lnTo>
                  <a:lnTo>
                    <a:pt x="433" y="194"/>
                  </a:lnTo>
                  <a:lnTo>
                    <a:pt x="438" y="193"/>
                  </a:lnTo>
                  <a:lnTo>
                    <a:pt x="434" y="194"/>
                  </a:lnTo>
                  <a:lnTo>
                    <a:pt x="436" y="195"/>
                  </a:lnTo>
                  <a:lnTo>
                    <a:pt x="433" y="195"/>
                  </a:lnTo>
                  <a:lnTo>
                    <a:pt x="434" y="197"/>
                  </a:lnTo>
                  <a:lnTo>
                    <a:pt x="432" y="196"/>
                  </a:lnTo>
                  <a:lnTo>
                    <a:pt x="431" y="196"/>
                  </a:lnTo>
                  <a:lnTo>
                    <a:pt x="428" y="197"/>
                  </a:lnTo>
                  <a:lnTo>
                    <a:pt x="428" y="199"/>
                  </a:lnTo>
                  <a:lnTo>
                    <a:pt x="433" y="200"/>
                  </a:lnTo>
                  <a:lnTo>
                    <a:pt x="432" y="201"/>
                  </a:lnTo>
                  <a:lnTo>
                    <a:pt x="428" y="200"/>
                  </a:lnTo>
                  <a:lnTo>
                    <a:pt x="428" y="201"/>
                  </a:lnTo>
                  <a:lnTo>
                    <a:pt x="426" y="201"/>
                  </a:lnTo>
                  <a:lnTo>
                    <a:pt x="425" y="201"/>
                  </a:lnTo>
                  <a:lnTo>
                    <a:pt x="425" y="202"/>
                  </a:lnTo>
                  <a:lnTo>
                    <a:pt x="424" y="203"/>
                  </a:lnTo>
                  <a:lnTo>
                    <a:pt x="428" y="207"/>
                  </a:lnTo>
                  <a:lnTo>
                    <a:pt x="424" y="205"/>
                  </a:lnTo>
                  <a:lnTo>
                    <a:pt x="421" y="203"/>
                  </a:lnTo>
                  <a:lnTo>
                    <a:pt x="421" y="205"/>
                  </a:lnTo>
                  <a:lnTo>
                    <a:pt x="425" y="206"/>
                  </a:lnTo>
                  <a:lnTo>
                    <a:pt x="426" y="207"/>
                  </a:lnTo>
                  <a:lnTo>
                    <a:pt x="428" y="207"/>
                  </a:lnTo>
                  <a:lnTo>
                    <a:pt x="425" y="209"/>
                  </a:lnTo>
                  <a:lnTo>
                    <a:pt x="428" y="212"/>
                  </a:lnTo>
                  <a:lnTo>
                    <a:pt x="428" y="213"/>
                  </a:lnTo>
                  <a:lnTo>
                    <a:pt x="426" y="214"/>
                  </a:lnTo>
                  <a:lnTo>
                    <a:pt x="428" y="215"/>
                  </a:lnTo>
                  <a:lnTo>
                    <a:pt x="426" y="218"/>
                  </a:lnTo>
                  <a:lnTo>
                    <a:pt x="424" y="217"/>
                  </a:lnTo>
                  <a:lnTo>
                    <a:pt x="424" y="215"/>
                  </a:lnTo>
                  <a:lnTo>
                    <a:pt x="422" y="214"/>
                  </a:lnTo>
                  <a:lnTo>
                    <a:pt x="422" y="213"/>
                  </a:lnTo>
                  <a:lnTo>
                    <a:pt x="422" y="212"/>
                  </a:lnTo>
                  <a:lnTo>
                    <a:pt x="421" y="212"/>
                  </a:lnTo>
                  <a:lnTo>
                    <a:pt x="421" y="213"/>
                  </a:lnTo>
                  <a:lnTo>
                    <a:pt x="421" y="214"/>
                  </a:lnTo>
                  <a:lnTo>
                    <a:pt x="421" y="217"/>
                  </a:lnTo>
                  <a:lnTo>
                    <a:pt x="419" y="217"/>
                  </a:lnTo>
                  <a:lnTo>
                    <a:pt x="419" y="218"/>
                  </a:lnTo>
                  <a:lnTo>
                    <a:pt x="421" y="218"/>
                  </a:lnTo>
                  <a:lnTo>
                    <a:pt x="421" y="217"/>
                  </a:lnTo>
                  <a:lnTo>
                    <a:pt x="422" y="218"/>
                  </a:lnTo>
                  <a:lnTo>
                    <a:pt x="424" y="259"/>
                  </a:lnTo>
                  <a:lnTo>
                    <a:pt x="425" y="259"/>
                  </a:lnTo>
                  <a:lnTo>
                    <a:pt x="428" y="219"/>
                  </a:lnTo>
                  <a:lnTo>
                    <a:pt x="428" y="259"/>
                  </a:lnTo>
                  <a:lnTo>
                    <a:pt x="432" y="261"/>
                  </a:lnTo>
                  <a:lnTo>
                    <a:pt x="431" y="261"/>
                  </a:lnTo>
                  <a:lnTo>
                    <a:pt x="428" y="261"/>
                  </a:lnTo>
                  <a:lnTo>
                    <a:pt x="426" y="261"/>
                  </a:lnTo>
                  <a:lnTo>
                    <a:pt x="426" y="262"/>
                  </a:lnTo>
                  <a:lnTo>
                    <a:pt x="428" y="264"/>
                  </a:lnTo>
                  <a:lnTo>
                    <a:pt x="426" y="264"/>
                  </a:lnTo>
                  <a:lnTo>
                    <a:pt x="425" y="265"/>
                  </a:lnTo>
                  <a:lnTo>
                    <a:pt x="424" y="265"/>
                  </a:lnTo>
                  <a:lnTo>
                    <a:pt x="424" y="264"/>
                  </a:lnTo>
                  <a:lnTo>
                    <a:pt x="421" y="264"/>
                  </a:lnTo>
                  <a:lnTo>
                    <a:pt x="424" y="267"/>
                  </a:lnTo>
                  <a:lnTo>
                    <a:pt x="422" y="267"/>
                  </a:lnTo>
                  <a:lnTo>
                    <a:pt x="421" y="266"/>
                  </a:lnTo>
                  <a:lnTo>
                    <a:pt x="420" y="266"/>
                  </a:lnTo>
                  <a:lnTo>
                    <a:pt x="419" y="266"/>
                  </a:lnTo>
                  <a:lnTo>
                    <a:pt x="419" y="265"/>
                  </a:lnTo>
                  <a:lnTo>
                    <a:pt x="418" y="265"/>
                  </a:lnTo>
                  <a:lnTo>
                    <a:pt x="418" y="266"/>
                  </a:lnTo>
                  <a:lnTo>
                    <a:pt x="416" y="266"/>
                  </a:lnTo>
                  <a:lnTo>
                    <a:pt x="416" y="264"/>
                  </a:lnTo>
                  <a:lnTo>
                    <a:pt x="415" y="266"/>
                  </a:lnTo>
                  <a:lnTo>
                    <a:pt x="414" y="266"/>
                  </a:lnTo>
                  <a:lnTo>
                    <a:pt x="414" y="268"/>
                  </a:lnTo>
                  <a:lnTo>
                    <a:pt x="414" y="270"/>
                  </a:lnTo>
                  <a:lnTo>
                    <a:pt x="418" y="270"/>
                  </a:lnTo>
                  <a:lnTo>
                    <a:pt x="418" y="271"/>
                  </a:lnTo>
                  <a:lnTo>
                    <a:pt x="415" y="271"/>
                  </a:lnTo>
                  <a:lnTo>
                    <a:pt x="415" y="272"/>
                  </a:lnTo>
                  <a:lnTo>
                    <a:pt x="421" y="272"/>
                  </a:lnTo>
                  <a:lnTo>
                    <a:pt x="420" y="273"/>
                  </a:lnTo>
                  <a:lnTo>
                    <a:pt x="421" y="274"/>
                  </a:lnTo>
                  <a:lnTo>
                    <a:pt x="422" y="273"/>
                  </a:lnTo>
                  <a:lnTo>
                    <a:pt x="424" y="273"/>
                  </a:lnTo>
                  <a:lnTo>
                    <a:pt x="424" y="277"/>
                  </a:lnTo>
                  <a:lnTo>
                    <a:pt x="428" y="280"/>
                  </a:lnTo>
                  <a:lnTo>
                    <a:pt x="428" y="279"/>
                  </a:lnTo>
                  <a:lnTo>
                    <a:pt x="431" y="279"/>
                  </a:lnTo>
                  <a:lnTo>
                    <a:pt x="431" y="280"/>
                  </a:lnTo>
                  <a:lnTo>
                    <a:pt x="432" y="279"/>
                  </a:lnTo>
                  <a:lnTo>
                    <a:pt x="434" y="279"/>
                  </a:lnTo>
                  <a:lnTo>
                    <a:pt x="436" y="279"/>
                  </a:lnTo>
                  <a:lnTo>
                    <a:pt x="437" y="280"/>
                  </a:lnTo>
                  <a:lnTo>
                    <a:pt x="434" y="280"/>
                  </a:lnTo>
                  <a:lnTo>
                    <a:pt x="434" y="283"/>
                  </a:lnTo>
                  <a:lnTo>
                    <a:pt x="436" y="284"/>
                  </a:lnTo>
                  <a:lnTo>
                    <a:pt x="434" y="284"/>
                  </a:lnTo>
                  <a:lnTo>
                    <a:pt x="433" y="282"/>
                  </a:lnTo>
                  <a:lnTo>
                    <a:pt x="432" y="282"/>
                  </a:lnTo>
                  <a:lnTo>
                    <a:pt x="433" y="283"/>
                  </a:lnTo>
                  <a:lnTo>
                    <a:pt x="433" y="284"/>
                  </a:lnTo>
                  <a:lnTo>
                    <a:pt x="432" y="284"/>
                  </a:lnTo>
                  <a:lnTo>
                    <a:pt x="431" y="283"/>
                  </a:lnTo>
                  <a:lnTo>
                    <a:pt x="428" y="284"/>
                  </a:lnTo>
                  <a:lnTo>
                    <a:pt x="431" y="285"/>
                  </a:lnTo>
                  <a:lnTo>
                    <a:pt x="432" y="286"/>
                  </a:lnTo>
                  <a:lnTo>
                    <a:pt x="432" y="288"/>
                  </a:lnTo>
                  <a:lnTo>
                    <a:pt x="431" y="289"/>
                  </a:lnTo>
                  <a:lnTo>
                    <a:pt x="431" y="290"/>
                  </a:lnTo>
                  <a:lnTo>
                    <a:pt x="433" y="292"/>
                  </a:lnTo>
                  <a:lnTo>
                    <a:pt x="434" y="292"/>
                  </a:lnTo>
                  <a:lnTo>
                    <a:pt x="436" y="292"/>
                  </a:lnTo>
                  <a:lnTo>
                    <a:pt x="437" y="295"/>
                  </a:lnTo>
                  <a:lnTo>
                    <a:pt x="439" y="296"/>
                  </a:lnTo>
                  <a:lnTo>
                    <a:pt x="443" y="295"/>
                  </a:lnTo>
                  <a:lnTo>
                    <a:pt x="440" y="297"/>
                  </a:lnTo>
                  <a:lnTo>
                    <a:pt x="445" y="302"/>
                  </a:lnTo>
                  <a:lnTo>
                    <a:pt x="445" y="303"/>
                  </a:lnTo>
                  <a:lnTo>
                    <a:pt x="448" y="303"/>
                  </a:lnTo>
                  <a:lnTo>
                    <a:pt x="451" y="307"/>
                  </a:lnTo>
                  <a:lnTo>
                    <a:pt x="452" y="308"/>
                  </a:lnTo>
                  <a:lnTo>
                    <a:pt x="456" y="308"/>
                  </a:lnTo>
                  <a:lnTo>
                    <a:pt x="455" y="309"/>
                  </a:lnTo>
                  <a:lnTo>
                    <a:pt x="456" y="310"/>
                  </a:lnTo>
                  <a:lnTo>
                    <a:pt x="455" y="310"/>
                  </a:lnTo>
                  <a:lnTo>
                    <a:pt x="460" y="313"/>
                  </a:lnTo>
                  <a:lnTo>
                    <a:pt x="459" y="313"/>
                  </a:lnTo>
                  <a:lnTo>
                    <a:pt x="452" y="312"/>
                  </a:lnTo>
                  <a:lnTo>
                    <a:pt x="459" y="316"/>
                  </a:lnTo>
                  <a:lnTo>
                    <a:pt x="460" y="315"/>
                  </a:lnTo>
                  <a:lnTo>
                    <a:pt x="461" y="318"/>
                  </a:lnTo>
                  <a:lnTo>
                    <a:pt x="465" y="319"/>
                  </a:lnTo>
                  <a:lnTo>
                    <a:pt x="462" y="320"/>
                  </a:lnTo>
                  <a:lnTo>
                    <a:pt x="463" y="321"/>
                  </a:lnTo>
                  <a:lnTo>
                    <a:pt x="467" y="321"/>
                  </a:lnTo>
                  <a:lnTo>
                    <a:pt x="471" y="324"/>
                  </a:lnTo>
                  <a:lnTo>
                    <a:pt x="473" y="325"/>
                  </a:lnTo>
                  <a:lnTo>
                    <a:pt x="469" y="325"/>
                  </a:lnTo>
                  <a:lnTo>
                    <a:pt x="474" y="328"/>
                  </a:lnTo>
                  <a:lnTo>
                    <a:pt x="474" y="330"/>
                  </a:lnTo>
                  <a:lnTo>
                    <a:pt x="469" y="327"/>
                  </a:lnTo>
                  <a:lnTo>
                    <a:pt x="468" y="327"/>
                  </a:lnTo>
                  <a:lnTo>
                    <a:pt x="467" y="327"/>
                  </a:lnTo>
                  <a:lnTo>
                    <a:pt x="467" y="328"/>
                  </a:lnTo>
                  <a:lnTo>
                    <a:pt x="466" y="328"/>
                  </a:lnTo>
                  <a:lnTo>
                    <a:pt x="466" y="326"/>
                  </a:lnTo>
                  <a:lnTo>
                    <a:pt x="467" y="326"/>
                  </a:lnTo>
                  <a:lnTo>
                    <a:pt x="466" y="325"/>
                  </a:lnTo>
                  <a:lnTo>
                    <a:pt x="465" y="325"/>
                  </a:lnTo>
                  <a:lnTo>
                    <a:pt x="465" y="322"/>
                  </a:lnTo>
                  <a:lnTo>
                    <a:pt x="463" y="324"/>
                  </a:lnTo>
                  <a:lnTo>
                    <a:pt x="462" y="325"/>
                  </a:lnTo>
                  <a:lnTo>
                    <a:pt x="461" y="321"/>
                  </a:lnTo>
                  <a:lnTo>
                    <a:pt x="461" y="328"/>
                  </a:lnTo>
                  <a:lnTo>
                    <a:pt x="460" y="330"/>
                  </a:lnTo>
                  <a:lnTo>
                    <a:pt x="459" y="327"/>
                  </a:lnTo>
                  <a:lnTo>
                    <a:pt x="457" y="327"/>
                  </a:lnTo>
                  <a:lnTo>
                    <a:pt x="456" y="330"/>
                  </a:lnTo>
                  <a:lnTo>
                    <a:pt x="455" y="330"/>
                  </a:lnTo>
                  <a:lnTo>
                    <a:pt x="454" y="328"/>
                  </a:lnTo>
                  <a:lnTo>
                    <a:pt x="454" y="326"/>
                  </a:lnTo>
                  <a:lnTo>
                    <a:pt x="454" y="325"/>
                  </a:lnTo>
                  <a:lnTo>
                    <a:pt x="454" y="322"/>
                  </a:lnTo>
                  <a:lnTo>
                    <a:pt x="454" y="324"/>
                  </a:lnTo>
                  <a:lnTo>
                    <a:pt x="452" y="324"/>
                  </a:lnTo>
                  <a:lnTo>
                    <a:pt x="451" y="319"/>
                  </a:lnTo>
                  <a:lnTo>
                    <a:pt x="449" y="319"/>
                  </a:lnTo>
                  <a:lnTo>
                    <a:pt x="448" y="319"/>
                  </a:lnTo>
                  <a:lnTo>
                    <a:pt x="446" y="321"/>
                  </a:lnTo>
                  <a:lnTo>
                    <a:pt x="446" y="322"/>
                  </a:lnTo>
                  <a:lnTo>
                    <a:pt x="445" y="322"/>
                  </a:lnTo>
                  <a:lnTo>
                    <a:pt x="445" y="320"/>
                  </a:lnTo>
                  <a:lnTo>
                    <a:pt x="445" y="318"/>
                  </a:lnTo>
                  <a:lnTo>
                    <a:pt x="444" y="316"/>
                  </a:lnTo>
                  <a:lnTo>
                    <a:pt x="443" y="318"/>
                  </a:lnTo>
                  <a:lnTo>
                    <a:pt x="442" y="319"/>
                  </a:lnTo>
                  <a:lnTo>
                    <a:pt x="442" y="318"/>
                  </a:lnTo>
                  <a:lnTo>
                    <a:pt x="440" y="318"/>
                  </a:lnTo>
                  <a:lnTo>
                    <a:pt x="442" y="320"/>
                  </a:lnTo>
                  <a:lnTo>
                    <a:pt x="444" y="324"/>
                  </a:lnTo>
                  <a:lnTo>
                    <a:pt x="448" y="324"/>
                  </a:lnTo>
                  <a:lnTo>
                    <a:pt x="448" y="325"/>
                  </a:lnTo>
                  <a:lnTo>
                    <a:pt x="445" y="325"/>
                  </a:lnTo>
                  <a:lnTo>
                    <a:pt x="448" y="328"/>
                  </a:lnTo>
                  <a:lnTo>
                    <a:pt x="450" y="330"/>
                  </a:lnTo>
                  <a:lnTo>
                    <a:pt x="451" y="332"/>
                  </a:lnTo>
                  <a:lnTo>
                    <a:pt x="457" y="334"/>
                  </a:lnTo>
                  <a:lnTo>
                    <a:pt x="456" y="336"/>
                  </a:lnTo>
                  <a:lnTo>
                    <a:pt x="461" y="339"/>
                  </a:lnTo>
                  <a:lnTo>
                    <a:pt x="459" y="338"/>
                  </a:lnTo>
                  <a:lnTo>
                    <a:pt x="457" y="339"/>
                  </a:lnTo>
                  <a:lnTo>
                    <a:pt x="462" y="342"/>
                  </a:lnTo>
                  <a:lnTo>
                    <a:pt x="457" y="339"/>
                  </a:lnTo>
                  <a:lnTo>
                    <a:pt x="456" y="339"/>
                  </a:lnTo>
                  <a:lnTo>
                    <a:pt x="455" y="343"/>
                  </a:lnTo>
                  <a:lnTo>
                    <a:pt x="455" y="338"/>
                  </a:lnTo>
                  <a:lnTo>
                    <a:pt x="455" y="337"/>
                  </a:lnTo>
                  <a:lnTo>
                    <a:pt x="452" y="339"/>
                  </a:lnTo>
                  <a:lnTo>
                    <a:pt x="452" y="337"/>
                  </a:lnTo>
                  <a:lnTo>
                    <a:pt x="451" y="336"/>
                  </a:lnTo>
                  <a:lnTo>
                    <a:pt x="451" y="337"/>
                  </a:lnTo>
                  <a:lnTo>
                    <a:pt x="450" y="339"/>
                  </a:lnTo>
                  <a:lnTo>
                    <a:pt x="449" y="333"/>
                  </a:lnTo>
                  <a:lnTo>
                    <a:pt x="448" y="339"/>
                  </a:lnTo>
                  <a:lnTo>
                    <a:pt x="448" y="340"/>
                  </a:lnTo>
                  <a:lnTo>
                    <a:pt x="446" y="342"/>
                  </a:lnTo>
                  <a:lnTo>
                    <a:pt x="446" y="339"/>
                  </a:lnTo>
                  <a:lnTo>
                    <a:pt x="446" y="334"/>
                  </a:lnTo>
                  <a:lnTo>
                    <a:pt x="445" y="336"/>
                  </a:lnTo>
                  <a:lnTo>
                    <a:pt x="444" y="336"/>
                  </a:lnTo>
                  <a:lnTo>
                    <a:pt x="446" y="330"/>
                  </a:lnTo>
                  <a:lnTo>
                    <a:pt x="445" y="327"/>
                  </a:lnTo>
                  <a:lnTo>
                    <a:pt x="445" y="330"/>
                  </a:lnTo>
                  <a:lnTo>
                    <a:pt x="444" y="334"/>
                  </a:lnTo>
                  <a:lnTo>
                    <a:pt x="443" y="333"/>
                  </a:lnTo>
                  <a:lnTo>
                    <a:pt x="444" y="327"/>
                  </a:lnTo>
                  <a:lnTo>
                    <a:pt x="443" y="327"/>
                  </a:lnTo>
                  <a:lnTo>
                    <a:pt x="442" y="330"/>
                  </a:lnTo>
                  <a:lnTo>
                    <a:pt x="443" y="332"/>
                  </a:lnTo>
                  <a:lnTo>
                    <a:pt x="442" y="331"/>
                  </a:lnTo>
                  <a:lnTo>
                    <a:pt x="443" y="324"/>
                  </a:lnTo>
                  <a:lnTo>
                    <a:pt x="442" y="324"/>
                  </a:lnTo>
                  <a:lnTo>
                    <a:pt x="440" y="330"/>
                  </a:lnTo>
                  <a:lnTo>
                    <a:pt x="440" y="332"/>
                  </a:lnTo>
                  <a:lnTo>
                    <a:pt x="438" y="333"/>
                  </a:lnTo>
                  <a:lnTo>
                    <a:pt x="437" y="332"/>
                  </a:lnTo>
                  <a:lnTo>
                    <a:pt x="436" y="327"/>
                  </a:lnTo>
                  <a:lnTo>
                    <a:pt x="436" y="326"/>
                  </a:lnTo>
                  <a:lnTo>
                    <a:pt x="434" y="326"/>
                  </a:lnTo>
                  <a:lnTo>
                    <a:pt x="432" y="326"/>
                  </a:lnTo>
                  <a:lnTo>
                    <a:pt x="432" y="324"/>
                  </a:lnTo>
                  <a:lnTo>
                    <a:pt x="433" y="322"/>
                  </a:lnTo>
                  <a:lnTo>
                    <a:pt x="432" y="320"/>
                  </a:lnTo>
                  <a:lnTo>
                    <a:pt x="432" y="321"/>
                  </a:lnTo>
                  <a:lnTo>
                    <a:pt x="431" y="324"/>
                  </a:lnTo>
                  <a:lnTo>
                    <a:pt x="431" y="326"/>
                  </a:lnTo>
                  <a:lnTo>
                    <a:pt x="428" y="326"/>
                  </a:lnTo>
                  <a:lnTo>
                    <a:pt x="428" y="324"/>
                  </a:lnTo>
                  <a:lnTo>
                    <a:pt x="426" y="322"/>
                  </a:lnTo>
                  <a:lnTo>
                    <a:pt x="425" y="324"/>
                  </a:lnTo>
                  <a:lnTo>
                    <a:pt x="425" y="325"/>
                  </a:lnTo>
                  <a:lnTo>
                    <a:pt x="426" y="327"/>
                  </a:lnTo>
                  <a:lnTo>
                    <a:pt x="428" y="330"/>
                  </a:lnTo>
                  <a:lnTo>
                    <a:pt x="426" y="330"/>
                  </a:lnTo>
                  <a:lnTo>
                    <a:pt x="428" y="331"/>
                  </a:lnTo>
                  <a:lnTo>
                    <a:pt x="428" y="332"/>
                  </a:lnTo>
                  <a:lnTo>
                    <a:pt x="433" y="336"/>
                  </a:lnTo>
                  <a:lnTo>
                    <a:pt x="434" y="337"/>
                  </a:lnTo>
                  <a:lnTo>
                    <a:pt x="438" y="337"/>
                  </a:lnTo>
                  <a:lnTo>
                    <a:pt x="436" y="338"/>
                  </a:lnTo>
                  <a:lnTo>
                    <a:pt x="436" y="339"/>
                  </a:lnTo>
                  <a:lnTo>
                    <a:pt x="440" y="339"/>
                  </a:lnTo>
                  <a:lnTo>
                    <a:pt x="442" y="340"/>
                  </a:lnTo>
                  <a:lnTo>
                    <a:pt x="440" y="340"/>
                  </a:lnTo>
                  <a:lnTo>
                    <a:pt x="439" y="340"/>
                  </a:lnTo>
                  <a:lnTo>
                    <a:pt x="439" y="342"/>
                  </a:lnTo>
                  <a:lnTo>
                    <a:pt x="440" y="342"/>
                  </a:lnTo>
                  <a:lnTo>
                    <a:pt x="443" y="343"/>
                  </a:lnTo>
                  <a:lnTo>
                    <a:pt x="442" y="344"/>
                  </a:lnTo>
                  <a:lnTo>
                    <a:pt x="443" y="345"/>
                  </a:lnTo>
                  <a:lnTo>
                    <a:pt x="444" y="344"/>
                  </a:lnTo>
                  <a:lnTo>
                    <a:pt x="444" y="343"/>
                  </a:lnTo>
                  <a:lnTo>
                    <a:pt x="445" y="343"/>
                  </a:lnTo>
                  <a:lnTo>
                    <a:pt x="446" y="343"/>
                  </a:lnTo>
                  <a:lnTo>
                    <a:pt x="446" y="345"/>
                  </a:lnTo>
                  <a:lnTo>
                    <a:pt x="450" y="344"/>
                  </a:lnTo>
                  <a:lnTo>
                    <a:pt x="448" y="345"/>
                  </a:lnTo>
                  <a:lnTo>
                    <a:pt x="448" y="347"/>
                  </a:lnTo>
                  <a:lnTo>
                    <a:pt x="451" y="348"/>
                  </a:lnTo>
                  <a:lnTo>
                    <a:pt x="448" y="349"/>
                  </a:lnTo>
                  <a:lnTo>
                    <a:pt x="449" y="349"/>
                  </a:lnTo>
                  <a:lnTo>
                    <a:pt x="449" y="350"/>
                  </a:lnTo>
                  <a:lnTo>
                    <a:pt x="450" y="350"/>
                  </a:lnTo>
                  <a:lnTo>
                    <a:pt x="451" y="350"/>
                  </a:lnTo>
                  <a:lnTo>
                    <a:pt x="452" y="350"/>
                  </a:lnTo>
                  <a:lnTo>
                    <a:pt x="452" y="351"/>
                  </a:lnTo>
                  <a:lnTo>
                    <a:pt x="454" y="353"/>
                  </a:lnTo>
                  <a:lnTo>
                    <a:pt x="457" y="351"/>
                  </a:lnTo>
                  <a:lnTo>
                    <a:pt x="457" y="353"/>
                  </a:lnTo>
                  <a:lnTo>
                    <a:pt x="455" y="353"/>
                  </a:lnTo>
                  <a:lnTo>
                    <a:pt x="454" y="353"/>
                  </a:lnTo>
                  <a:lnTo>
                    <a:pt x="455" y="354"/>
                  </a:lnTo>
                  <a:lnTo>
                    <a:pt x="459" y="356"/>
                  </a:lnTo>
                  <a:lnTo>
                    <a:pt x="457" y="356"/>
                  </a:lnTo>
                  <a:lnTo>
                    <a:pt x="452" y="354"/>
                  </a:lnTo>
                  <a:lnTo>
                    <a:pt x="452" y="355"/>
                  </a:lnTo>
                  <a:lnTo>
                    <a:pt x="452" y="357"/>
                  </a:lnTo>
                  <a:lnTo>
                    <a:pt x="456" y="357"/>
                  </a:lnTo>
                  <a:lnTo>
                    <a:pt x="459" y="359"/>
                  </a:lnTo>
                  <a:lnTo>
                    <a:pt x="460" y="359"/>
                  </a:lnTo>
                  <a:lnTo>
                    <a:pt x="462" y="359"/>
                  </a:lnTo>
                  <a:lnTo>
                    <a:pt x="465" y="359"/>
                  </a:lnTo>
                  <a:lnTo>
                    <a:pt x="466" y="360"/>
                  </a:lnTo>
                  <a:lnTo>
                    <a:pt x="461" y="360"/>
                  </a:lnTo>
                  <a:lnTo>
                    <a:pt x="461" y="361"/>
                  </a:lnTo>
                  <a:lnTo>
                    <a:pt x="463" y="361"/>
                  </a:lnTo>
                  <a:lnTo>
                    <a:pt x="465" y="361"/>
                  </a:lnTo>
                  <a:lnTo>
                    <a:pt x="461" y="362"/>
                  </a:lnTo>
                  <a:lnTo>
                    <a:pt x="460" y="362"/>
                  </a:lnTo>
                  <a:lnTo>
                    <a:pt x="459" y="362"/>
                  </a:lnTo>
                  <a:lnTo>
                    <a:pt x="459" y="365"/>
                  </a:lnTo>
                  <a:lnTo>
                    <a:pt x="457" y="365"/>
                  </a:lnTo>
                  <a:lnTo>
                    <a:pt x="457" y="361"/>
                  </a:lnTo>
                  <a:lnTo>
                    <a:pt x="459" y="361"/>
                  </a:lnTo>
                  <a:lnTo>
                    <a:pt x="457" y="360"/>
                  </a:lnTo>
                  <a:lnTo>
                    <a:pt x="456" y="360"/>
                  </a:lnTo>
                  <a:lnTo>
                    <a:pt x="456" y="363"/>
                  </a:lnTo>
                  <a:lnTo>
                    <a:pt x="455" y="362"/>
                  </a:lnTo>
                  <a:lnTo>
                    <a:pt x="455" y="361"/>
                  </a:lnTo>
                  <a:lnTo>
                    <a:pt x="455" y="360"/>
                  </a:lnTo>
                  <a:lnTo>
                    <a:pt x="454" y="360"/>
                  </a:lnTo>
                  <a:lnTo>
                    <a:pt x="454" y="362"/>
                  </a:lnTo>
                  <a:lnTo>
                    <a:pt x="454" y="363"/>
                  </a:lnTo>
                  <a:lnTo>
                    <a:pt x="452" y="363"/>
                  </a:lnTo>
                  <a:lnTo>
                    <a:pt x="455" y="363"/>
                  </a:lnTo>
                  <a:lnTo>
                    <a:pt x="455" y="365"/>
                  </a:lnTo>
                  <a:lnTo>
                    <a:pt x="456" y="365"/>
                  </a:lnTo>
                  <a:lnTo>
                    <a:pt x="456" y="366"/>
                  </a:lnTo>
                  <a:lnTo>
                    <a:pt x="455" y="367"/>
                  </a:lnTo>
                  <a:lnTo>
                    <a:pt x="457" y="367"/>
                  </a:lnTo>
                  <a:lnTo>
                    <a:pt x="459" y="367"/>
                  </a:lnTo>
                  <a:lnTo>
                    <a:pt x="461" y="366"/>
                  </a:lnTo>
                  <a:lnTo>
                    <a:pt x="462" y="367"/>
                  </a:lnTo>
                  <a:lnTo>
                    <a:pt x="466" y="363"/>
                  </a:lnTo>
                  <a:lnTo>
                    <a:pt x="466" y="365"/>
                  </a:lnTo>
                  <a:lnTo>
                    <a:pt x="467" y="365"/>
                  </a:lnTo>
                  <a:lnTo>
                    <a:pt x="465" y="367"/>
                  </a:lnTo>
                  <a:lnTo>
                    <a:pt x="466" y="367"/>
                  </a:lnTo>
                  <a:lnTo>
                    <a:pt x="467" y="366"/>
                  </a:lnTo>
                  <a:lnTo>
                    <a:pt x="468" y="365"/>
                  </a:lnTo>
                  <a:lnTo>
                    <a:pt x="469" y="366"/>
                  </a:lnTo>
                  <a:lnTo>
                    <a:pt x="469" y="367"/>
                  </a:lnTo>
                  <a:lnTo>
                    <a:pt x="471" y="368"/>
                  </a:lnTo>
                  <a:lnTo>
                    <a:pt x="471" y="369"/>
                  </a:lnTo>
                  <a:lnTo>
                    <a:pt x="469" y="369"/>
                  </a:lnTo>
                  <a:lnTo>
                    <a:pt x="467" y="368"/>
                  </a:lnTo>
                  <a:lnTo>
                    <a:pt x="466" y="368"/>
                  </a:lnTo>
                  <a:lnTo>
                    <a:pt x="465" y="368"/>
                  </a:lnTo>
                  <a:lnTo>
                    <a:pt x="466" y="369"/>
                  </a:lnTo>
                  <a:lnTo>
                    <a:pt x="468" y="372"/>
                  </a:lnTo>
                  <a:lnTo>
                    <a:pt x="472" y="373"/>
                  </a:lnTo>
                  <a:lnTo>
                    <a:pt x="474" y="371"/>
                  </a:lnTo>
                  <a:lnTo>
                    <a:pt x="479" y="371"/>
                  </a:lnTo>
                  <a:lnTo>
                    <a:pt x="481" y="373"/>
                  </a:lnTo>
                  <a:lnTo>
                    <a:pt x="484" y="374"/>
                  </a:lnTo>
                  <a:lnTo>
                    <a:pt x="485" y="374"/>
                  </a:lnTo>
                  <a:lnTo>
                    <a:pt x="486" y="375"/>
                  </a:lnTo>
                  <a:lnTo>
                    <a:pt x="487" y="374"/>
                  </a:lnTo>
                  <a:lnTo>
                    <a:pt x="487" y="377"/>
                  </a:lnTo>
                  <a:lnTo>
                    <a:pt x="490" y="378"/>
                  </a:lnTo>
                  <a:lnTo>
                    <a:pt x="490" y="379"/>
                  </a:lnTo>
                  <a:lnTo>
                    <a:pt x="492" y="379"/>
                  </a:lnTo>
                  <a:lnTo>
                    <a:pt x="493" y="378"/>
                  </a:lnTo>
                  <a:lnTo>
                    <a:pt x="495" y="378"/>
                  </a:lnTo>
                  <a:lnTo>
                    <a:pt x="495" y="375"/>
                  </a:lnTo>
                  <a:lnTo>
                    <a:pt x="496" y="375"/>
                  </a:lnTo>
                  <a:lnTo>
                    <a:pt x="496" y="377"/>
                  </a:lnTo>
                  <a:lnTo>
                    <a:pt x="495" y="379"/>
                  </a:lnTo>
                  <a:lnTo>
                    <a:pt x="495" y="380"/>
                  </a:lnTo>
                  <a:lnTo>
                    <a:pt x="496" y="381"/>
                  </a:lnTo>
                  <a:lnTo>
                    <a:pt x="498" y="381"/>
                  </a:lnTo>
                  <a:lnTo>
                    <a:pt x="499" y="381"/>
                  </a:lnTo>
                  <a:lnTo>
                    <a:pt x="501" y="381"/>
                  </a:lnTo>
                  <a:lnTo>
                    <a:pt x="503" y="383"/>
                  </a:lnTo>
                  <a:lnTo>
                    <a:pt x="501" y="383"/>
                  </a:lnTo>
                  <a:lnTo>
                    <a:pt x="498" y="383"/>
                  </a:lnTo>
                  <a:lnTo>
                    <a:pt x="498" y="384"/>
                  </a:lnTo>
                  <a:lnTo>
                    <a:pt x="502" y="386"/>
                  </a:lnTo>
                  <a:lnTo>
                    <a:pt x="503" y="386"/>
                  </a:lnTo>
                  <a:lnTo>
                    <a:pt x="504" y="386"/>
                  </a:lnTo>
                  <a:lnTo>
                    <a:pt x="505" y="387"/>
                  </a:lnTo>
                  <a:lnTo>
                    <a:pt x="510" y="387"/>
                  </a:lnTo>
                  <a:lnTo>
                    <a:pt x="514" y="387"/>
                  </a:lnTo>
                  <a:lnTo>
                    <a:pt x="516" y="387"/>
                  </a:lnTo>
                  <a:lnTo>
                    <a:pt x="516" y="389"/>
                  </a:lnTo>
                  <a:lnTo>
                    <a:pt x="515" y="389"/>
                  </a:lnTo>
                  <a:lnTo>
                    <a:pt x="513" y="389"/>
                  </a:lnTo>
                  <a:lnTo>
                    <a:pt x="515" y="391"/>
                  </a:lnTo>
                  <a:lnTo>
                    <a:pt x="515" y="392"/>
                  </a:lnTo>
                  <a:lnTo>
                    <a:pt x="511" y="390"/>
                  </a:lnTo>
                  <a:lnTo>
                    <a:pt x="510" y="390"/>
                  </a:lnTo>
                  <a:lnTo>
                    <a:pt x="509" y="390"/>
                  </a:lnTo>
                  <a:lnTo>
                    <a:pt x="509" y="391"/>
                  </a:lnTo>
                  <a:lnTo>
                    <a:pt x="510" y="392"/>
                  </a:lnTo>
                  <a:lnTo>
                    <a:pt x="509" y="392"/>
                  </a:lnTo>
                  <a:lnTo>
                    <a:pt x="509" y="391"/>
                  </a:lnTo>
                  <a:lnTo>
                    <a:pt x="508" y="390"/>
                  </a:lnTo>
                  <a:lnTo>
                    <a:pt x="507" y="389"/>
                  </a:lnTo>
                  <a:lnTo>
                    <a:pt x="503" y="389"/>
                  </a:lnTo>
                  <a:lnTo>
                    <a:pt x="504" y="390"/>
                  </a:lnTo>
                  <a:lnTo>
                    <a:pt x="508" y="392"/>
                  </a:lnTo>
                  <a:lnTo>
                    <a:pt x="509" y="395"/>
                  </a:lnTo>
                  <a:lnTo>
                    <a:pt x="515" y="397"/>
                  </a:lnTo>
                  <a:lnTo>
                    <a:pt x="515" y="398"/>
                  </a:lnTo>
                  <a:lnTo>
                    <a:pt x="514" y="398"/>
                  </a:lnTo>
                  <a:lnTo>
                    <a:pt x="510" y="396"/>
                  </a:lnTo>
                  <a:lnTo>
                    <a:pt x="509" y="396"/>
                  </a:lnTo>
                  <a:lnTo>
                    <a:pt x="509" y="398"/>
                  </a:lnTo>
                  <a:lnTo>
                    <a:pt x="508" y="398"/>
                  </a:lnTo>
                  <a:lnTo>
                    <a:pt x="508" y="396"/>
                  </a:lnTo>
                  <a:lnTo>
                    <a:pt x="508" y="395"/>
                  </a:lnTo>
                  <a:lnTo>
                    <a:pt x="507" y="395"/>
                  </a:lnTo>
                  <a:lnTo>
                    <a:pt x="505" y="398"/>
                  </a:lnTo>
                  <a:lnTo>
                    <a:pt x="504" y="401"/>
                  </a:lnTo>
                  <a:lnTo>
                    <a:pt x="503" y="402"/>
                  </a:lnTo>
                  <a:lnTo>
                    <a:pt x="502" y="403"/>
                  </a:lnTo>
                  <a:lnTo>
                    <a:pt x="502" y="402"/>
                  </a:lnTo>
                  <a:lnTo>
                    <a:pt x="502" y="398"/>
                  </a:lnTo>
                  <a:lnTo>
                    <a:pt x="498" y="398"/>
                  </a:lnTo>
                  <a:lnTo>
                    <a:pt x="498" y="397"/>
                  </a:lnTo>
                  <a:lnTo>
                    <a:pt x="498" y="396"/>
                  </a:lnTo>
                  <a:lnTo>
                    <a:pt x="497" y="395"/>
                  </a:lnTo>
                  <a:lnTo>
                    <a:pt x="497" y="396"/>
                  </a:lnTo>
                  <a:lnTo>
                    <a:pt x="496" y="397"/>
                  </a:lnTo>
                  <a:lnTo>
                    <a:pt x="493" y="398"/>
                  </a:lnTo>
                  <a:lnTo>
                    <a:pt x="493" y="399"/>
                  </a:lnTo>
                  <a:lnTo>
                    <a:pt x="492" y="402"/>
                  </a:lnTo>
                  <a:lnTo>
                    <a:pt x="491" y="403"/>
                  </a:lnTo>
                  <a:lnTo>
                    <a:pt x="491" y="402"/>
                  </a:lnTo>
                  <a:lnTo>
                    <a:pt x="491" y="397"/>
                  </a:lnTo>
                  <a:lnTo>
                    <a:pt x="490" y="396"/>
                  </a:lnTo>
                  <a:lnTo>
                    <a:pt x="490" y="399"/>
                  </a:lnTo>
                  <a:lnTo>
                    <a:pt x="489" y="399"/>
                  </a:lnTo>
                  <a:lnTo>
                    <a:pt x="487" y="397"/>
                  </a:lnTo>
                  <a:lnTo>
                    <a:pt x="487" y="396"/>
                  </a:lnTo>
                  <a:lnTo>
                    <a:pt x="487" y="397"/>
                  </a:lnTo>
                  <a:lnTo>
                    <a:pt x="486" y="397"/>
                  </a:lnTo>
                  <a:lnTo>
                    <a:pt x="486" y="398"/>
                  </a:lnTo>
                  <a:lnTo>
                    <a:pt x="485" y="397"/>
                  </a:lnTo>
                  <a:lnTo>
                    <a:pt x="484" y="397"/>
                  </a:lnTo>
                  <a:lnTo>
                    <a:pt x="485" y="396"/>
                  </a:lnTo>
                  <a:lnTo>
                    <a:pt x="485" y="395"/>
                  </a:lnTo>
                  <a:lnTo>
                    <a:pt x="485" y="393"/>
                  </a:lnTo>
                  <a:lnTo>
                    <a:pt x="485" y="392"/>
                  </a:lnTo>
                  <a:lnTo>
                    <a:pt x="485" y="391"/>
                  </a:lnTo>
                  <a:lnTo>
                    <a:pt x="484" y="391"/>
                  </a:lnTo>
                  <a:lnTo>
                    <a:pt x="484" y="392"/>
                  </a:lnTo>
                  <a:lnTo>
                    <a:pt x="484" y="393"/>
                  </a:lnTo>
                  <a:lnTo>
                    <a:pt x="485" y="395"/>
                  </a:lnTo>
                  <a:lnTo>
                    <a:pt x="485" y="396"/>
                  </a:lnTo>
                  <a:lnTo>
                    <a:pt x="484" y="396"/>
                  </a:lnTo>
                  <a:lnTo>
                    <a:pt x="484" y="397"/>
                  </a:lnTo>
                  <a:lnTo>
                    <a:pt x="484" y="399"/>
                  </a:lnTo>
                  <a:lnTo>
                    <a:pt x="484" y="401"/>
                  </a:lnTo>
                  <a:lnTo>
                    <a:pt x="484" y="402"/>
                  </a:lnTo>
                  <a:lnTo>
                    <a:pt x="483" y="401"/>
                  </a:lnTo>
                  <a:lnTo>
                    <a:pt x="483" y="399"/>
                  </a:lnTo>
                  <a:lnTo>
                    <a:pt x="481" y="398"/>
                  </a:lnTo>
                  <a:lnTo>
                    <a:pt x="480" y="398"/>
                  </a:lnTo>
                  <a:lnTo>
                    <a:pt x="480" y="395"/>
                  </a:lnTo>
                  <a:lnTo>
                    <a:pt x="479" y="395"/>
                  </a:lnTo>
                  <a:lnTo>
                    <a:pt x="477" y="396"/>
                  </a:lnTo>
                  <a:lnTo>
                    <a:pt x="477" y="397"/>
                  </a:lnTo>
                  <a:lnTo>
                    <a:pt x="477" y="398"/>
                  </a:lnTo>
                  <a:lnTo>
                    <a:pt x="475" y="399"/>
                  </a:lnTo>
                  <a:lnTo>
                    <a:pt x="475" y="401"/>
                  </a:lnTo>
                  <a:lnTo>
                    <a:pt x="477" y="402"/>
                  </a:lnTo>
                  <a:lnTo>
                    <a:pt x="479" y="402"/>
                  </a:lnTo>
                  <a:lnTo>
                    <a:pt x="480" y="403"/>
                  </a:lnTo>
                  <a:lnTo>
                    <a:pt x="483" y="404"/>
                  </a:lnTo>
                  <a:lnTo>
                    <a:pt x="483" y="405"/>
                  </a:lnTo>
                  <a:lnTo>
                    <a:pt x="481" y="405"/>
                  </a:lnTo>
                  <a:lnTo>
                    <a:pt x="481" y="404"/>
                  </a:lnTo>
                  <a:lnTo>
                    <a:pt x="480" y="405"/>
                  </a:lnTo>
                  <a:lnTo>
                    <a:pt x="480" y="404"/>
                  </a:lnTo>
                  <a:lnTo>
                    <a:pt x="479" y="404"/>
                  </a:lnTo>
                  <a:lnTo>
                    <a:pt x="478" y="404"/>
                  </a:lnTo>
                  <a:lnTo>
                    <a:pt x="478" y="405"/>
                  </a:lnTo>
                  <a:lnTo>
                    <a:pt x="479" y="407"/>
                  </a:lnTo>
                  <a:lnTo>
                    <a:pt x="480" y="408"/>
                  </a:lnTo>
                  <a:lnTo>
                    <a:pt x="481" y="408"/>
                  </a:lnTo>
                  <a:lnTo>
                    <a:pt x="483" y="407"/>
                  </a:lnTo>
                  <a:lnTo>
                    <a:pt x="484" y="405"/>
                  </a:lnTo>
                  <a:lnTo>
                    <a:pt x="484" y="407"/>
                  </a:lnTo>
                  <a:lnTo>
                    <a:pt x="484" y="408"/>
                  </a:lnTo>
                  <a:lnTo>
                    <a:pt x="487" y="408"/>
                  </a:lnTo>
                  <a:lnTo>
                    <a:pt x="490" y="407"/>
                  </a:lnTo>
                  <a:lnTo>
                    <a:pt x="491" y="407"/>
                  </a:lnTo>
                  <a:lnTo>
                    <a:pt x="491" y="405"/>
                  </a:lnTo>
                  <a:lnTo>
                    <a:pt x="492" y="405"/>
                  </a:lnTo>
                  <a:lnTo>
                    <a:pt x="493" y="407"/>
                  </a:lnTo>
                  <a:lnTo>
                    <a:pt x="499" y="407"/>
                  </a:lnTo>
                  <a:lnTo>
                    <a:pt x="501" y="407"/>
                  </a:lnTo>
                  <a:lnTo>
                    <a:pt x="502" y="407"/>
                  </a:lnTo>
                  <a:lnTo>
                    <a:pt x="503" y="407"/>
                  </a:lnTo>
                  <a:lnTo>
                    <a:pt x="504" y="408"/>
                  </a:lnTo>
                  <a:lnTo>
                    <a:pt x="504" y="407"/>
                  </a:lnTo>
                  <a:lnTo>
                    <a:pt x="505" y="407"/>
                  </a:lnTo>
                  <a:lnTo>
                    <a:pt x="507" y="407"/>
                  </a:lnTo>
                  <a:lnTo>
                    <a:pt x="508" y="407"/>
                  </a:lnTo>
                  <a:lnTo>
                    <a:pt x="510" y="407"/>
                  </a:lnTo>
                  <a:lnTo>
                    <a:pt x="511" y="408"/>
                  </a:lnTo>
                  <a:lnTo>
                    <a:pt x="514" y="408"/>
                  </a:lnTo>
                  <a:lnTo>
                    <a:pt x="515" y="408"/>
                  </a:lnTo>
                  <a:lnTo>
                    <a:pt x="518" y="408"/>
                  </a:lnTo>
                  <a:lnTo>
                    <a:pt x="519" y="408"/>
                  </a:lnTo>
                  <a:lnTo>
                    <a:pt x="521" y="409"/>
                  </a:lnTo>
                  <a:lnTo>
                    <a:pt x="522" y="409"/>
                  </a:lnTo>
                  <a:lnTo>
                    <a:pt x="524" y="409"/>
                  </a:lnTo>
                  <a:lnTo>
                    <a:pt x="526" y="410"/>
                  </a:lnTo>
                  <a:lnTo>
                    <a:pt x="527" y="411"/>
                  </a:lnTo>
                  <a:lnTo>
                    <a:pt x="528" y="411"/>
                  </a:lnTo>
                  <a:lnTo>
                    <a:pt x="531" y="411"/>
                  </a:lnTo>
                  <a:lnTo>
                    <a:pt x="532" y="413"/>
                  </a:lnTo>
                  <a:lnTo>
                    <a:pt x="533" y="413"/>
                  </a:lnTo>
                  <a:lnTo>
                    <a:pt x="534" y="413"/>
                  </a:lnTo>
                  <a:lnTo>
                    <a:pt x="534" y="414"/>
                  </a:lnTo>
                  <a:lnTo>
                    <a:pt x="536" y="414"/>
                  </a:lnTo>
                  <a:lnTo>
                    <a:pt x="536" y="415"/>
                  </a:lnTo>
                  <a:lnTo>
                    <a:pt x="537" y="416"/>
                  </a:lnTo>
                  <a:lnTo>
                    <a:pt x="539" y="415"/>
                  </a:lnTo>
                  <a:lnTo>
                    <a:pt x="540" y="415"/>
                  </a:lnTo>
                  <a:lnTo>
                    <a:pt x="542" y="415"/>
                  </a:lnTo>
                  <a:lnTo>
                    <a:pt x="543" y="415"/>
                  </a:lnTo>
                  <a:lnTo>
                    <a:pt x="544" y="416"/>
                  </a:lnTo>
                  <a:lnTo>
                    <a:pt x="546" y="415"/>
                  </a:lnTo>
                  <a:lnTo>
                    <a:pt x="544" y="416"/>
                  </a:lnTo>
                  <a:lnTo>
                    <a:pt x="544" y="417"/>
                  </a:lnTo>
                  <a:lnTo>
                    <a:pt x="550" y="420"/>
                  </a:lnTo>
                  <a:lnTo>
                    <a:pt x="545" y="419"/>
                  </a:lnTo>
                  <a:lnTo>
                    <a:pt x="543" y="419"/>
                  </a:lnTo>
                  <a:lnTo>
                    <a:pt x="543" y="420"/>
                  </a:lnTo>
                  <a:lnTo>
                    <a:pt x="544" y="421"/>
                  </a:lnTo>
                  <a:lnTo>
                    <a:pt x="542" y="420"/>
                  </a:lnTo>
                  <a:lnTo>
                    <a:pt x="542" y="417"/>
                  </a:lnTo>
                  <a:lnTo>
                    <a:pt x="540" y="417"/>
                  </a:lnTo>
                  <a:lnTo>
                    <a:pt x="540" y="419"/>
                  </a:lnTo>
                  <a:lnTo>
                    <a:pt x="539" y="417"/>
                  </a:lnTo>
                  <a:lnTo>
                    <a:pt x="538" y="417"/>
                  </a:lnTo>
                  <a:lnTo>
                    <a:pt x="538" y="420"/>
                  </a:lnTo>
                  <a:lnTo>
                    <a:pt x="537" y="421"/>
                  </a:lnTo>
                  <a:lnTo>
                    <a:pt x="536" y="422"/>
                  </a:lnTo>
                  <a:lnTo>
                    <a:pt x="536" y="423"/>
                  </a:lnTo>
                  <a:lnTo>
                    <a:pt x="534" y="425"/>
                  </a:lnTo>
                  <a:lnTo>
                    <a:pt x="533" y="425"/>
                  </a:lnTo>
                  <a:lnTo>
                    <a:pt x="533" y="426"/>
                  </a:lnTo>
                  <a:lnTo>
                    <a:pt x="532" y="427"/>
                  </a:lnTo>
                  <a:lnTo>
                    <a:pt x="532" y="426"/>
                  </a:lnTo>
                  <a:lnTo>
                    <a:pt x="531" y="425"/>
                  </a:lnTo>
                  <a:lnTo>
                    <a:pt x="531" y="423"/>
                  </a:lnTo>
                  <a:lnTo>
                    <a:pt x="532" y="422"/>
                  </a:lnTo>
                  <a:lnTo>
                    <a:pt x="531" y="422"/>
                  </a:lnTo>
                  <a:lnTo>
                    <a:pt x="531" y="421"/>
                  </a:lnTo>
                  <a:lnTo>
                    <a:pt x="531" y="420"/>
                  </a:lnTo>
                  <a:lnTo>
                    <a:pt x="531" y="419"/>
                  </a:lnTo>
                  <a:lnTo>
                    <a:pt x="531" y="417"/>
                  </a:lnTo>
                  <a:lnTo>
                    <a:pt x="531" y="416"/>
                  </a:lnTo>
                  <a:lnTo>
                    <a:pt x="531" y="415"/>
                  </a:lnTo>
                  <a:lnTo>
                    <a:pt x="530" y="414"/>
                  </a:lnTo>
                  <a:lnTo>
                    <a:pt x="528" y="414"/>
                  </a:lnTo>
                  <a:lnTo>
                    <a:pt x="527" y="414"/>
                  </a:lnTo>
                  <a:lnTo>
                    <a:pt x="528" y="415"/>
                  </a:lnTo>
                  <a:lnTo>
                    <a:pt x="530" y="416"/>
                  </a:lnTo>
                  <a:lnTo>
                    <a:pt x="530" y="417"/>
                  </a:lnTo>
                  <a:lnTo>
                    <a:pt x="528" y="417"/>
                  </a:lnTo>
                  <a:lnTo>
                    <a:pt x="527" y="417"/>
                  </a:lnTo>
                  <a:lnTo>
                    <a:pt x="527" y="419"/>
                  </a:lnTo>
                  <a:lnTo>
                    <a:pt x="528" y="420"/>
                  </a:lnTo>
                  <a:lnTo>
                    <a:pt x="528" y="421"/>
                  </a:lnTo>
                  <a:lnTo>
                    <a:pt x="528" y="423"/>
                  </a:lnTo>
                  <a:lnTo>
                    <a:pt x="527" y="423"/>
                  </a:lnTo>
                  <a:lnTo>
                    <a:pt x="527" y="422"/>
                  </a:lnTo>
                  <a:lnTo>
                    <a:pt x="527" y="421"/>
                  </a:lnTo>
                  <a:lnTo>
                    <a:pt x="526" y="420"/>
                  </a:lnTo>
                  <a:lnTo>
                    <a:pt x="526" y="421"/>
                  </a:lnTo>
                  <a:lnTo>
                    <a:pt x="525" y="421"/>
                  </a:lnTo>
                  <a:lnTo>
                    <a:pt x="525" y="422"/>
                  </a:lnTo>
                  <a:lnTo>
                    <a:pt x="524" y="422"/>
                  </a:lnTo>
                  <a:lnTo>
                    <a:pt x="524" y="421"/>
                  </a:lnTo>
                  <a:lnTo>
                    <a:pt x="524" y="420"/>
                  </a:lnTo>
                  <a:lnTo>
                    <a:pt x="522" y="419"/>
                  </a:lnTo>
                  <a:lnTo>
                    <a:pt x="522" y="417"/>
                  </a:lnTo>
                  <a:lnTo>
                    <a:pt x="521" y="419"/>
                  </a:lnTo>
                  <a:lnTo>
                    <a:pt x="521" y="420"/>
                  </a:lnTo>
                  <a:lnTo>
                    <a:pt x="521" y="422"/>
                  </a:lnTo>
                  <a:lnTo>
                    <a:pt x="522" y="423"/>
                  </a:lnTo>
                  <a:lnTo>
                    <a:pt x="522" y="426"/>
                  </a:lnTo>
                  <a:lnTo>
                    <a:pt x="522" y="427"/>
                  </a:lnTo>
                  <a:lnTo>
                    <a:pt x="521" y="427"/>
                  </a:lnTo>
                  <a:lnTo>
                    <a:pt x="521" y="426"/>
                  </a:lnTo>
                  <a:lnTo>
                    <a:pt x="520" y="425"/>
                  </a:lnTo>
                  <a:lnTo>
                    <a:pt x="520" y="423"/>
                  </a:lnTo>
                  <a:lnTo>
                    <a:pt x="519" y="422"/>
                  </a:lnTo>
                  <a:lnTo>
                    <a:pt x="519" y="419"/>
                  </a:lnTo>
                  <a:lnTo>
                    <a:pt x="518" y="419"/>
                  </a:lnTo>
                  <a:lnTo>
                    <a:pt x="518" y="420"/>
                  </a:lnTo>
                  <a:lnTo>
                    <a:pt x="516" y="420"/>
                  </a:lnTo>
                  <a:lnTo>
                    <a:pt x="516" y="419"/>
                  </a:lnTo>
                  <a:lnTo>
                    <a:pt x="516" y="416"/>
                  </a:lnTo>
                  <a:lnTo>
                    <a:pt x="515" y="416"/>
                  </a:lnTo>
                  <a:lnTo>
                    <a:pt x="515" y="419"/>
                  </a:lnTo>
                  <a:lnTo>
                    <a:pt x="515" y="420"/>
                  </a:lnTo>
                  <a:lnTo>
                    <a:pt x="515" y="421"/>
                  </a:lnTo>
                  <a:lnTo>
                    <a:pt x="515" y="422"/>
                  </a:lnTo>
                  <a:lnTo>
                    <a:pt x="514" y="422"/>
                  </a:lnTo>
                  <a:lnTo>
                    <a:pt x="513" y="422"/>
                  </a:lnTo>
                  <a:lnTo>
                    <a:pt x="513" y="421"/>
                  </a:lnTo>
                  <a:lnTo>
                    <a:pt x="511" y="425"/>
                  </a:lnTo>
                  <a:lnTo>
                    <a:pt x="510" y="426"/>
                  </a:lnTo>
                  <a:lnTo>
                    <a:pt x="510" y="421"/>
                  </a:lnTo>
                  <a:lnTo>
                    <a:pt x="509" y="421"/>
                  </a:lnTo>
                  <a:lnTo>
                    <a:pt x="509" y="423"/>
                  </a:lnTo>
                  <a:lnTo>
                    <a:pt x="509" y="425"/>
                  </a:lnTo>
                  <a:lnTo>
                    <a:pt x="508" y="425"/>
                  </a:lnTo>
                  <a:lnTo>
                    <a:pt x="508" y="426"/>
                  </a:lnTo>
                  <a:lnTo>
                    <a:pt x="508" y="427"/>
                  </a:lnTo>
                  <a:lnTo>
                    <a:pt x="507" y="427"/>
                  </a:lnTo>
                  <a:lnTo>
                    <a:pt x="507" y="428"/>
                  </a:lnTo>
                  <a:lnTo>
                    <a:pt x="505" y="429"/>
                  </a:lnTo>
                  <a:lnTo>
                    <a:pt x="504" y="429"/>
                  </a:lnTo>
                  <a:lnTo>
                    <a:pt x="504" y="428"/>
                  </a:lnTo>
                  <a:lnTo>
                    <a:pt x="503" y="428"/>
                  </a:lnTo>
                  <a:lnTo>
                    <a:pt x="503" y="427"/>
                  </a:lnTo>
                  <a:lnTo>
                    <a:pt x="503" y="426"/>
                  </a:lnTo>
                  <a:lnTo>
                    <a:pt x="503" y="425"/>
                  </a:lnTo>
                  <a:lnTo>
                    <a:pt x="502" y="425"/>
                  </a:lnTo>
                  <a:lnTo>
                    <a:pt x="502" y="426"/>
                  </a:lnTo>
                  <a:lnTo>
                    <a:pt x="502" y="425"/>
                  </a:lnTo>
                  <a:lnTo>
                    <a:pt x="502" y="423"/>
                  </a:lnTo>
                  <a:lnTo>
                    <a:pt x="502" y="422"/>
                  </a:lnTo>
                  <a:lnTo>
                    <a:pt x="501" y="422"/>
                  </a:lnTo>
                  <a:lnTo>
                    <a:pt x="499" y="422"/>
                  </a:lnTo>
                  <a:lnTo>
                    <a:pt x="499" y="423"/>
                  </a:lnTo>
                  <a:lnTo>
                    <a:pt x="498" y="423"/>
                  </a:lnTo>
                  <a:lnTo>
                    <a:pt x="498" y="425"/>
                  </a:lnTo>
                  <a:lnTo>
                    <a:pt x="498" y="426"/>
                  </a:lnTo>
                  <a:lnTo>
                    <a:pt x="499" y="426"/>
                  </a:lnTo>
                  <a:lnTo>
                    <a:pt x="498" y="427"/>
                  </a:lnTo>
                  <a:lnTo>
                    <a:pt x="498" y="428"/>
                  </a:lnTo>
                  <a:lnTo>
                    <a:pt x="499" y="428"/>
                  </a:lnTo>
                  <a:lnTo>
                    <a:pt x="498" y="429"/>
                  </a:lnTo>
                  <a:lnTo>
                    <a:pt x="497" y="429"/>
                  </a:lnTo>
                  <a:lnTo>
                    <a:pt x="497" y="428"/>
                  </a:lnTo>
                  <a:lnTo>
                    <a:pt x="496" y="428"/>
                  </a:lnTo>
                  <a:lnTo>
                    <a:pt x="495" y="427"/>
                  </a:lnTo>
                  <a:lnTo>
                    <a:pt x="495" y="428"/>
                  </a:lnTo>
                  <a:lnTo>
                    <a:pt x="493" y="428"/>
                  </a:lnTo>
                  <a:lnTo>
                    <a:pt x="492" y="429"/>
                  </a:lnTo>
                  <a:lnTo>
                    <a:pt x="492" y="428"/>
                  </a:lnTo>
                  <a:lnTo>
                    <a:pt x="491" y="428"/>
                  </a:lnTo>
                  <a:lnTo>
                    <a:pt x="491" y="426"/>
                  </a:lnTo>
                  <a:lnTo>
                    <a:pt x="490" y="426"/>
                  </a:lnTo>
                  <a:lnTo>
                    <a:pt x="489" y="427"/>
                  </a:lnTo>
                  <a:lnTo>
                    <a:pt x="490" y="427"/>
                  </a:lnTo>
                  <a:lnTo>
                    <a:pt x="490" y="428"/>
                  </a:lnTo>
                  <a:lnTo>
                    <a:pt x="490" y="429"/>
                  </a:lnTo>
                  <a:lnTo>
                    <a:pt x="489" y="428"/>
                  </a:lnTo>
                  <a:lnTo>
                    <a:pt x="487" y="428"/>
                  </a:lnTo>
                  <a:lnTo>
                    <a:pt x="486" y="428"/>
                  </a:lnTo>
                  <a:lnTo>
                    <a:pt x="486" y="427"/>
                  </a:lnTo>
                  <a:lnTo>
                    <a:pt x="485" y="427"/>
                  </a:lnTo>
                  <a:lnTo>
                    <a:pt x="484" y="427"/>
                  </a:lnTo>
                  <a:lnTo>
                    <a:pt x="483" y="427"/>
                  </a:lnTo>
                  <a:lnTo>
                    <a:pt x="483" y="428"/>
                  </a:lnTo>
                  <a:lnTo>
                    <a:pt x="481" y="428"/>
                  </a:lnTo>
                  <a:lnTo>
                    <a:pt x="481" y="429"/>
                  </a:lnTo>
                  <a:lnTo>
                    <a:pt x="483" y="429"/>
                  </a:lnTo>
                  <a:lnTo>
                    <a:pt x="484" y="429"/>
                  </a:lnTo>
                  <a:lnTo>
                    <a:pt x="485" y="431"/>
                  </a:lnTo>
                  <a:lnTo>
                    <a:pt x="486" y="431"/>
                  </a:lnTo>
                  <a:lnTo>
                    <a:pt x="487" y="429"/>
                  </a:lnTo>
                  <a:lnTo>
                    <a:pt x="489" y="429"/>
                  </a:lnTo>
                  <a:lnTo>
                    <a:pt x="490" y="429"/>
                  </a:lnTo>
                  <a:lnTo>
                    <a:pt x="491" y="429"/>
                  </a:lnTo>
                  <a:lnTo>
                    <a:pt x="492" y="431"/>
                  </a:lnTo>
                  <a:lnTo>
                    <a:pt x="493" y="431"/>
                  </a:lnTo>
                  <a:lnTo>
                    <a:pt x="495" y="431"/>
                  </a:lnTo>
                  <a:lnTo>
                    <a:pt x="499" y="431"/>
                  </a:lnTo>
                  <a:lnTo>
                    <a:pt x="501" y="431"/>
                  </a:lnTo>
                  <a:lnTo>
                    <a:pt x="501" y="432"/>
                  </a:lnTo>
                  <a:lnTo>
                    <a:pt x="499" y="432"/>
                  </a:lnTo>
                  <a:lnTo>
                    <a:pt x="498" y="432"/>
                  </a:lnTo>
                  <a:lnTo>
                    <a:pt x="497" y="432"/>
                  </a:lnTo>
                  <a:lnTo>
                    <a:pt x="496" y="432"/>
                  </a:lnTo>
                  <a:lnTo>
                    <a:pt x="496" y="433"/>
                  </a:lnTo>
                  <a:lnTo>
                    <a:pt x="497" y="433"/>
                  </a:lnTo>
                  <a:lnTo>
                    <a:pt x="497" y="434"/>
                  </a:lnTo>
                  <a:lnTo>
                    <a:pt x="497" y="435"/>
                  </a:lnTo>
                  <a:lnTo>
                    <a:pt x="496" y="434"/>
                  </a:lnTo>
                  <a:lnTo>
                    <a:pt x="495" y="433"/>
                  </a:lnTo>
                  <a:lnTo>
                    <a:pt x="495" y="432"/>
                  </a:lnTo>
                  <a:lnTo>
                    <a:pt x="493" y="432"/>
                  </a:lnTo>
                  <a:lnTo>
                    <a:pt x="492" y="432"/>
                  </a:lnTo>
                  <a:lnTo>
                    <a:pt x="493" y="433"/>
                  </a:lnTo>
                  <a:lnTo>
                    <a:pt x="493" y="434"/>
                  </a:lnTo>
                  <a:lnTo>
                    <a:pt x="492" y="434"/>
                  </a:lnTo>
                  <a:lnTo>
                    <a:pt x="492" y="433"/>
                  </a:lnTo>
                  <a:lnTo>
                    <a:pt x="491" y="433"/>
                  </a:lnTo>
                  <a:lnTo>
                    <a:pt x="491" y="432"/>
                  </a:lnTo>
                  <a:lnTo>
                    <a:pt x="491" y="433"/>
                  </a:lnTo>
                  <a:lnTo>
                    <a:pt x="490" y="433"/>
                  </a:lnTo>
                  <a:lnTo>
                    <a:pt x="490" y="432"/>
                  </a:lnTo>
                  <a:lnTo>
                    <a:pt x="489" y="432"/>
                  </a:lnTo>
                  <a:lnTo>
                    <a:pt x="487" y="432"/>
                  </a:lnTo>
                  <a:lnTo>
                    <a:pt x="489" y="432"/>
                  </a:lnTo>
                  <a:lnTo>
                    <a:pt x="489" y="433"/>
                  </a:lnTo>
                  <a:lnTo>
                    <a:pt x="489" y="434"/>
                  </a:lnTo>
                  <a:lnTo>
                    <a:pt x="489" y="435"/>
                  </a:lnTo>
                  <a:lnTo>
                    <a:pt x="490" y="435"/>
                  </a:lnTo>
                  <a:lnTo>
                    <a:pt x="490" y="437"/>
                  </a:lnTo>
                  <a:lnTo>
                    <a:pt x="490" y="438"/>
                  </a:lnTo>
                  <a:lnTo>
                    <a:pt x="489" y="438"/>
                  </a:lnTo>
                  <a:lnTo>
                    <a:pt x="489" y="437"/>
                  </a:lnTo>
                  <a:lnTo>
                    <a:pt x="487" y="437"/>
                  </a:lnTo>
                  <a:lnTo>
                    <a:pt x="487" y="435"/>
                  </a:lnTo>
                  <a:lnTo>
                    <a:pt x="487" y="434"/>
                  </a:lnTo>
                  <a:lnTo>
                    <a:pt x="486" y="434"/>
                  </a:lnTo>
                  <a:lnTo>
                    <a:pt x="486" y="433"/>
                  </a:lnTo>
                  <a:lnTo>
                    <a:pt x="485" y="433"/>
                  </a:lnTo>
                  <a:lnTo>
                    <a:pt x="485" y="432"/>
                  </a:lnTo>
                  <a:lnTo>
                    <a:pt x="484" y="432"/>
                  </a:lnTo>
                  <a:lnTo>
                    <a:pt x="484" y="433"/>
                  </a:lnTo>
                  <a:lnTo>
                    <a:pt x="484" y="434"/>
                  </a:lnTo>
                  <a:lnTo>
                    <a:pt x="484" y="435"/>
                  </a:lnTo>
                  <a:lnTo>
                    <a:pt x="484" y="437"/>
                  </a:lnTo>
                  <a:lnTo>
                    <a:pt x="484" y="435"/>
                  </a:lnTo>
                  <a:lnTo>
                    <a:pt x="483" y="435"/>
                  </a:lnTo>
                  <a:lnTo>
                    <a:pt x="483" y="434"/>
                  </a:lnTo>
                  <a:lnTo>
                    <a:pt x="483" y="433"/>
                  </a:lnTo>
                  <a:lnTo>
                    <a:pt x="481" y="433"/>
                  </a:lnTo>
                  <a:lnTo>
                    <a:pt x="480" y="433"/>
                  </a:lnTo>
                  <a:lnTo>
                    <a:pt x="480" y="434"/>
                  </a:lnTo>
                  <a:lnTo>
                    <a:pt x="481" y="434"/>
                  </a:lnTo>
                  <a:lnTo>
                    <a:pt x="481" y="435"/>
                  </a:lnTo>
                  <a:lnTo>
                    <a:pt x="481" y="437"/>
                  </a:lnTo>
                  <a:lnTo>
                    <a:pt x="480" y="437"/>
                  </a:lnTo>
                  <a:lnTo>
                    <a:pt x="480" y="438"/>
                  </a:lnTo>
                  <a:lnTo>
                    <a:pt x="480" y="439"/>
                  </a:lnTo>
                  <a:lnTo>
                    <a:pt x="480" y="438"/>
                  </a:lnTo>
                  <a:lnTo>
                    <a:pt x="479" y="438"/>
                  </a:lnTo>
                  <a:lnTo>
                    <a:pt x="479" y="437"/>
                  </a:lnTo>
                  <a:lnTo>
                    <a:pt x="478" y="435"/>
                  </a:lnTo>
                  <a:lnTo>
                    <a:pt x="478" y="437"/>
                  </a:lnTo>
                  <a:lnTo>
                    <a:pt x="477" y="437"/>
                  </a:lnTo>
                  <a:lnTo>
                    <a:pt x="477" y="435"/>
                  </a:lnTo>
                  <a:lnTo>
                    <a:pt x="477" y="434"/>
                  </a:lnTo>
                  <a:lnTo>
                    <a:pt x="475" y="433"/>
                  </a:lnTo>
                  <a:lnTo>
                    <a:pt x="475" y="431"/>
                  </a:lnTo>
                  <a:lnTo>
                    <a:pt x="475" y="429"/>
                  </a:lnTo>
                  <a:lnTo>
                    <a:pt x="475" y="428"/>
                  </a:lnTo>
                  <a:lnTo>
                    <a:pt x="475" y="427"/>
                  </a:lnTo>
                  <a:lnTo>
                    <a:pt x="477" y="427"/>
                  </a:lnTo>
                  <a:lnTo>
                    <a:pt x="477" y="426"/>
                  </a:lnTo>
                  <a:lnTo>
                    <a:pt x="475" y="426"/>
                  </a:lnTo>
                  <a:lnTo>
                    <a:pt x="475" y="427"/>
                  </a:lnTo>
                  <a:lnTo>
                    <a:pt x="475" y="428"/>
                  </a:lnTo>
                  <a:lnTo>
                    <a:pt x="474" y="429"/>
                  </a:lnTo>
                  <a:lnTo>
                    <a:pt x="474" y="431"/>
                  </a:lnTo>
                  <a:lnTo>
                    <a:pt x="474" y="432"/>
                  </a:lnTo>
                  <a:lnTo>
                    <a:pt x="474" y="433"/>
                  </a:lnTo>
                  <a:lnTo>
                    <a:pt x="474" y="435"/>
                  </a:lnTo>
                  <a:lnTo>
                    <a:pt x="474" y="437"/>
                  </a:lnTo>
                  <a:lnTo>
                    <a:pt x="475" y="437"/>
                  </a:lnTo>
                  <a:lnTo>
                    <a:pt x="475" y="438"/>
                  </a:lnTo>
                  <a:lnTo>
                    <a:pt x="475" y="439"/>
                  </a:lnTo>
                  <a:lnTo>
                    <a:pt x="474" y="440"/>
                  </a:lnTo>
                  <a:lnTo>
                    <a:pt x="473" y="440"/>
                  </a:lnTo>
                  <a:lnTo>
                    <a:pt x="472" y="439"/>
                  </a:lnTo>
                  <a:lnTo>
                    <a:pt x="473" y="438"/>
                  </a:lnTo>
                  <a:lnTo>
                    <a:pt x="472" y="437"/>
                  </a:lnTo>
                  <a:lnTo>
                    <a:pt x="471" y="438"/>
                  </a:lnTo>
                  <a:lnTo>
                    <a:pt x="472" y="439"/>
                  </a:lnTo>
                  <a:lnTo>
                    <a:pt x="471" y="439"/>
                  </a:lnTo>
                  <a:lnTo>
                    <a:pt x="469" y="439"/>
                  </a:lnTo>
                  <a:lnTo>
                    <a:pt x="468" y="439"/>
                  </a:lnTo>
                  <a:lnTo>
                    <a:pt x="468" y="438"/>
                  </a:lnTo>
                  <a:lnTo>
                    <a:pt x="467" y="439"/>
                  </a:lnTo>
                  <a:lnTo>
                    <a:pt x="466" y="440"/>
                  </a:lnTo>
                  <a:lnTo>
                    <a:pt x="465" y="440"/>
                  </a:lnTo>
                  <a:lnTo>
                    <a:pt x="465" y="441"/>
                  </a:lnTo>
                  <a:lnTo>
                    <a:pt x="466" y="443"/>
                  </a:lnTo>
                  <a:lnTo>
                    <a:pt x="467" y="444"/>
                  </a:lnTo>
                  <a:lnTo>
                    <a:pt x="468" y="445"/>
                  </a:lnTo>
                  <a:lnTo>
                    <a:pt x="467" y="445"/>
                  </a:lnTo>
                  <a:lnTo>
                    <a:pt x="466" y="445"/>
                  </a:lnTo>
                  <a:lnTo>
                    <a:pt x="465" y="444"/>
                  </a:lnTo>
                  <a:lnTo>
                    <a:pt x="463" y="444"/>
                  </a:lnTo>
                  <a:lnTo>
                    <a:pt x="462" y="443"/>
                  </a:lnTo>
                  <a:lnTo>
                    <a:pt x="461" y="441"/>
                  </a:lnTo>
                  <a:lnTo>
                    <a:pt x="460" y="443"/>
                  </a:lnTo>
                  <a:lnTo>
                    <a:pt x="460" y="444"/>
                  </a:lnTo>
                  <a:lnTo>
                    <a:pt x="460" y="445"/>
                  </a:lnTo>
                  <a:lnTo>
                    <a:pt x="460" y="446"/>
                  </a:lnTo>
                  <a:lnTo>
                    <a:pt x="461" y="446"/>
                  </a:lnTo>
                  <a:lnTo>
                    <a:pt x="461" y="447"/>
                  </a:lnTo>
                  <a:lnTo>
                    <a:pt x="463" y="447"/>
                  </a:lnTo>
                  <a:lnTo>
                    <a:pt x="465" y="447"/>
                  </a:lnTo>
                  <a:lnTo>
                    <a:pt x="466" y="447"/>
                  </a:lnTo>
                  <a:lnTo>
                    <a:pt x="467" y="447"/>
                  </a:lnTo>
                  <a:lnTo>
                    <a:pt x="467" y="449"/>
                  </a:lnTo>
                  <a:lnTo>
                    <a:pt x="468" y="449"/>
                  </a:lnTo>
                  <a:lnTo>
                    <a:pt x="469" y="449"/>
                  </a:lnTo>
                  <a:lnTo>
                    <a:pt x="471" y="449"/>
                  </a:lnTo>
                  <a:lnTo>
                    <a:pt x="473" y="449"/>
                  </a:lnTo>
                  <a:lnTo>
                    <a:pt x="474" y="449"/>
                  </a:lnTo>
                  <a:lnTo>
                    <a:pt x="475" y="449"/>
                  </a:lnTo>
                  <a:lnTo>
                    <a:pt x="477" y="450"/>
                  </a:lnTo>
                  <a:lnTo>
                    <a:pt x="478" y="450"/>
                  </a:lnTo>
                  <a:lnTo>
                    <a:pt x="479" y="450"/>
                  </a:lnTo>
                  <a:lnTo>
                    <a:pt x="480" y="450"/>
                  </a:lnTo>
                  <a:lnTo>
                    <a:pt x="481" y="450"/>
                  </a:lnTo>
                  <a:lnTo>
                    <a:pt x="481" y="451"/>
                  </a:lnTo>
                  <a:lnTo>
                    <a:pt x="483" y="451"/>
                  </a:lnTo>
                  <a:lnTo>
                    <a:pt x="484" y="451"/>
                  </a:lnTo>
                  <a:lnTo>
                    <a:pt x="485" y="451"/>
                  </a:lnTo>
                  <a:lnTo>
                    <a:pt x="486" y="451"/>
                  </a:lnTo>
                  <a:lnTo>
                    <a:pt x="492" y="451"/>
                  </a:lnTo>
                  <a:lnTo>
                    <a:pt x="493" y="451"/>
                  </a:lnTo>
                  <a:lnTo>
                    <a:pt x="495" y="451"/>
                  </a:lnTo>
                  <a:lnTo>
                    <a:pt x="496" y="451"/>
                  </a:lnTo>
                  <a:lnTo>
                    <a:pt x="498" y="451"/>
                  </a:lnTo>
                  <a:lnTo>
                    <a:pt x="499" y="451"/>
                  </a:lnTo>
                  <a:lnTo>
                    <a:pt x="501" y="452"/>
                  </a:lnTo>
                  <a:lnTo>
                    <a:pt x="502" y="452"/>
                  </a:lnTo>
                  <a:lnTo>
                    <a:pt x="503" y="451"/>
                  </a:lnTo>
                  <a:lnTo>
                    <a:pt x="504" y="451"/>
                  </a:lnTo>
                  <a:lnTo>
                    <a:pt x="505" y="452"/>
                  </a:lnTo>
                  <a:lnTo>
                    <a:pt x="507" y="452"/>
                  </a:lnTo>
                  <a:lnTo>
                    <a:pt x="507" y="451"/>
                  </a:lnTo>
                  <a:lnTo>
                    <a:pt x="507" y="450"/>
                  </a:lnTo>
                  <a:lnTo>
                    <a:pt x="508" y="450"/>
                  </a:lnTo>
                  <a:lnTo>
                    <a:pt x="508" y="451"/>
                  </a:lnTo>
                  <a:lnTo>
                    <a:pt x="510" y="451"/>
                  </a:lnTo>
                  <a:lnTo>
                    <a:pt x="511" y="451"/>
                  </a:lnTo>
                  <a:lnTo>
                    <a:pt x="511" y="452"/>
                  </a:lnTo>
                  <a:lnTo>
                    <a:pt x="510" y="452"/>
                  </a:lnTo>
                  <a:lnTo>
                    <a:pt x="510" y="454"/>
                  </a:lnTo>
                  <a:lnTo>
                    <a:pt x="511" y="454"/>
                  </a:lnTo>
                  <a:lnTo>
                    <a:pt x="513" y="454"/>
                  </a:lnTo>
                  <a:lnTo>
                    <a:pt x="514" y="455"/>
                  </a:lnTo>
                  <a:lnTo>
                    <a:pt x="515" y="454"/>
                  </a:lnTo>
                  <a:lnTo>
                    <a:pt x="516" y="454"/>
                  </a:lnTo>
                  <a:lnTo>
                    <a:pt x="518" y="454"/>
                  </a:lnTo>
                  <a:lnTo>
                    <a:pt x="518" y="452"/>
                  </a:lnTo>
                  <a:lnTo>
                    <a:pt x="519" y="452"/>
                  </a:lnTo>
                  <a:lnTo>
                    <a:pt x="520" y="454"/>
                  </a:lnTo>
                  <a:lnTo>
                    <a:pt x="519" y="454"/>
                  </a:lnTo>
                  <a:lnTo>
                    <a:pt x="519" y="455"/>
                  </a:lnTo>
                  <a:lnTo>
                    <a:pt x="520" y="455"/>
                  </a:lnTo>
                  <a:lnTo>
                    <a:pt x="521" y="456"/>
                  </a:lnTo>
                  <a:lnTo>
                    <a:pt x="522" y="456"/>
                  </a:lnTo>
                  <a:lnTo>
                    <a:pt x="522" y="455"/>
                  </a:lnTo>
                  <a:lnTo>
                    <a:pt x="524" y="455"/>
                  </a:lnTo>
                  <a:lnTo>
                    <a:pt x="524" y="456"/>
                  </a:lnTo>
                  <a:lnTo>
                    <a:pt x="525" y="456"/>
                  </a:lnTo>
                  <a:lnTo>
                    <a:pt x="526" y="456"/>
                  </a:lnTo>
                  <a:lnTo>
                    <a:pt x="527" y="455"/>
                  </a:lnTo>
                  <a:lnTo>
                    <a:pt x="528" y="456"/>
                  </a:lnTo>
                  <a:lnTo>
                    <a:pt x="531" y="456"/>
                  </a:lnTo>
                  <a:lnTo>
                    <a:pt x="532" y="456"/>
                  </a:lnTo>
                  <a:lnTo>
                    <a:pt x="536" y="455"/>
                  </a:lnTo>
                  <a:lnTo>
                    <a:pt x="537" y="456"/>
                  </a:lnTo>
                  <a:lnTo>
                    <a:pt x="536" y="456"/>
                  </a:lnTo>
                  <a:lnTo>
                    <a:pt x="536" y="457"/>
                  </a:lnTo>
                  <a:lnTo>
                    <a:pt x="534" y="457"/>
                  </a:lnTo>
                  <a:lnTo>
                    <a:pt x="532" y="457"/>
                  </a:lnTo>
                  <a:lnTo>
                    <a:pt x="531" y="457"/>
                  </a:lnTo>
                  <a:lnTo>
                    <a:pt x="530" y="457"/>
                  </a:lnTo>
                  <a:lnTo>
                    <a:pt x="528" y="457"/>
                  </a:lnTo>
                  <a:lnTo>
                    <a:pt x="528" y="458"/>
                  </a:lnTo>
                  <a:lnTo>
                    <a:pt x="530" y="460"/>
                  </a:lnTo>
                  <a:lnTo>
                    <a:pt x="530" y="461"/>
                  </a:lnTo>
                  <a:lnTo>
                    <a:pt x="528" y="461"/>
                  </a:lnTo>
                  <a:lnTo>
                    <a:pt x="528" y="460"/>
                  </a:lnTo>
                  <a:lnTo>
                    <a:pt x="527" y="458"/>
                  </a:lnTo>
                  <a:lnTo>
                    <a:pt x="526" y="458"/>
                  </a:lnTo>
                  <a:lnTo>
                    <a:pt x="525" y="457"/>
                  </a:lnTo>
                  <a:lnTo>
                    <a:pt x="524" y="457"/>
                  </a:lnTo>
                  <a:lnTo>
                    <a:pt x="524" y="458"/>
                  </a:lnTo>
                  <a:lnTo>
                    <a:pt x="524" y="460"/>
                  </a:lnTo>
                  <a:lnTo>
                    <a:pt x="524" y="461"/>
                  </a:lnTo>
                  <a:lnTo>
                    <a:pt x="522" y="460"/>
                  </a:lnTo>
                  <a:lnTo>
                    <a:pt x="522" y="458"/>
                  </a:lnTo>
                  <a:lnTo>
                    <a:pt x="521" y="457"/>
                  </a:lnTo>
                  <a:lnTo>
                    <a:pt x="520" y="457"/>
                  </a:lnTo>
                  <a:lnTo>
                    <a:pt x="519" y="457"/>
                  </a:lnTo>
                  <a:lnTo>
                    <a:pt x="519" y="458"/>
                  </a:lnTo>
                  <a:lnTo>
                    <a:pt x="520" y="460"/>
                  </a:lnTo>
                  <a:lnTo>
                    <a:pt x="519" y="461"/>
                  </a:lnTo>
                  <a:lnTo>
                    <a:pt x="520" y="461"/>
                  </a:lnTo>
                  <a:lnTo>
                    <a:pt x="520" y="462"/>
                  </a:lnTo>
                  <a:lnTo>
                    <a:pt x="520" y="463"/>
                  </a:lnTo>
                  <a:lnTo>
                    <a:pt x="519" y="463"/>
                  </a:lnTo>
                  <a:lnTo>
                    <a:pt x="519" y="464"/>
                  </a:lnTo>
                  <a:lnTo>
                    <a:pt x="519" y="466"/>
                  </a:lnTo>
                  <a:lnTo>
                    <a:pt x="520" y="466"/>
                  </a:lnTo>
                  <a:lnTo>
                    <a:pt x="520" y="467"/>
                  </a:lnTo>
                  <a:lnTo>
                    <a:pt x="519" y="467"/>
                  </a:lnTo>
                  <a:lnTo>
                    <a:pt x="519" y="468"/>
                  </a:lnTo>
                  <a:lnTo>
                    <a:pt x="520" y="468"/>
                  </a:lnTo>
                  <a:lnTo>
                    <a:pt x="521" y="468"/>
                  </a:lnTo>
                  <a:lnTo>
                    <a:pt x="522" y="468"/>
                  </a:lnTo>
                  <a:lnTo>
                    <a:pt x="524" y="468"/>
                  </a:lnTo>
                  <a:lnTo>
                    <a:pt x="525" y="468"/>
                  </a:lnTo>
                  <a:lnTo>
                    <a:pt x="526" y="468"/>
                  </a:lnTo>
                  <a:lnTo>
                    <a:pt x="527" y="467"/>
                  </a:lnTo>
                  <a:lnTo>
                    <a:pt x="528" y="467"/>
                  </a:lnTo>
                  <a:lnTo>
                    <a:pt x="530" y="467"/>
                  </a:lnTo>
                  <a:lnTo>
                    <a:pt x="531" y="467"/>
                  </a:lnTo>
                  <a:lnTo>
                    <a:pt x="531" y="466"/>
                  </a:lnTo>
                  <a:lnTo>
                    <a:pt x="532" y="466"/>
                  </a:lnTo>
                  <a:lnTo>
                    <a:pt x="533" y="466"/>
                  </a:lnTo>
                  <a:lnTo>
                    <a:pt x="534" y="466"/>
                  </a:lnTo>
                  <a:lnTo>
                    <a:pt x="536" y="466"/>
                  </a:lnTo>
                  <a:lnTo>
                    <a:pt x="537" y="466"/>
                  </a:lnTo>
                  <a:lnTo>
                    <a:pt x="538" y="466"/>
                  </a:lnTo>
                  <a:lnTo>
                    <a:pt x="539" y="466"/>
                  </a:lnTo>
                  <a:lnTo>
                    <a:pt x="540" y="466"/>
                  </a:lnTo>
                  <a:lnTo>
                    <a:pt x="542" y="466"/>
                  </a:lnTo>
                  <a:lnTo>
                    <a:pt x="543" y="466"/>
                  </a:lnTo>
                  <a:lnTo>
                    <a:pt x="544" y="466"/>
                  </a:lnTo>
                  <a:lnTo>
                    <a:pt x="545" y="466"/>
                  </a:lnTo>
                  <a:lnTo>
                    <a:pt x="548" y="464"/>
                  </a:lnTo>
                  <a:lnTo>
                    <a:pt x="549" y="463"/>
                  </a:lnTo>
                  <a:lnTo>
                    <a:pt x="550" y="463"/>
                  </a:lnTo>
                  <a:lnTo>
                    <a:pt x="551" y="463"/>
                  </a:lnTo>
                  <a:lnTo>
                    <a:pt x="552" y="463"/>
                  </a:lnTo>
                  <a:lnTo>
                    <a:pt x="551" y="464"/>
                  </a:lnTo>
                  <a:lnTo>
                    <a:pt x="550" y="464"/>
                  </a:lnTo>
                  <a:lnTo>
                    <a:pt x="549" y="464"/>
                  </a:lnTo>
                  <a:lnTo>
                    <a:pt x="549" y="466"/>
                  </a:lnTo>
                  <a:lnTo>
                    <a:pt x="548" y="466"/>
                  </a:lnTo>
                  <a:lnTo>
                    <a:pt x="546" y="467"/>
                  </a:lnTo>
                  <a:lnTo>
                    <a:pt x="548" y="467"/>
                  </a:lnTo>
                  <a:lnTo>
                    <a:pt x="548" y="468"/>
                  </a:lnTo>
                  <a:lnTo>
                    <a:pt x="550" y="468"/>
                  </a:lnTo>
                  <a:lnTo>
                    <a:pt x="551" y="468"/>
                  </a:lnTo>
                  <a:lnTo>
                    <a:pt x="552" y="468"/>
                  </a:lnTo>
                  <a:lnTo>
                    <a:pt x="554" y="468"/>
                  </a:lnTo>
                  <a:lnTo>
                    <a:pt x="555" y="468"/>
                  </a:lnTo>
                  <a:lnTo>
                    <a:pt x="555" y="469"/>
                  </a:lnTo>
                  <a:lnTo>
                    <a:pt x="552" y="469"/>
                  </a:lnTo>
                  <a:lnTo>
                    <a:pt x="551" y="469"/>
                  </a:lnTo>
                  <a:lnTo>
                    <a:pt x="552" y="470"/>
                  </a:lnTo>
                  <a:lnTo>
                    <a:pt x="554" y="470"/>
                  </a:lnTo>
                  <a:lnTo>
                    <a:pt x="555" y="472"/>
                  </a:lnTo>
                  <a:lnTo>
                    <a:pt x="556" y="472"/>
                  </a:lnTo>
                  <a:lnTo>
                    <a:pt x="557" y="470"/>
                  </a:lnTo>
                  <a:lnTo>
                    <a:pt x="558" y="470"/>
                  </a:lnTo>
                  <a:lnTo>
                    <a:pt x="560" y="470"/>
                  </a:lnTo>
                  <a:lnTo>
                    <a:pt x="561" y="470"/>
                  </a:lnTo>
                  <a:lnTo>
                    <a:pt x="561" y="472"/>
                  </a:lnTo>
                  <a:lnTo>
                    <a:pt x="560" y="472"/>
                  </a:lnTo>
                  <a:lnTo>
                    <a:pt x="558" y="472"/>
                  </a:lnTo>
                  <a:lnTo>
                    <a:pt x="558" y="473"/>
                  </a:lnTo>
                  <a:lnTo>
                    <a:pt x="563" y="473"/>
                  </a:lnTo>
                  <a:lnTo>
                    <a:pt x="562" y="473"/>
                  </a:lnTo>
                  <a:lnTo>
                    <a:pt x="561" y="473"/>
                  </a:lnTo>
                  <a:lnTo>
                    <a:pt x="560" y="473"/>
                  </a:lnTo>
                  <a:lnTo>
                    <a:pt x="558" y="473"/>
                  </a:lnTo>
                  <a:lnTo>
                    <a:pt x="558" y="474"/>
                  </a:lnTo>
                  <a:lnTo>
                    <a:pt x="557" y="474"/>
                  </a:lnTo>
                  <a:lnTo>
                    <a:pt x="556" y="474"/>
                  </a:lnTo>
                  <a:lnTo>
                    <a:pt x="556" y="473"/>
                  </a:lnTo>
                  <a:lnTo>
                    <a:pt x="555" y="473"/>
                  </a:lnTo>
                  <a:lnTo>
                    <a:pt x="555" y="474"/>
                  </a:lnTo>
                  <a:lnTo>
                    <a:pt x="555" y="476"/>
                  </a:lnTo>
                  <a:lnTo>
                    <a:pt x="555" y="479"/>
                  </a:lnTo>
                  <a:lnTo>
                    <a:pt x="555" y="480"/>
                  </a:lnTo>
                  <a:lnTo>
                    <a:pt x="554" y="480"/>
                  </a:lnTo>
                  <a:lnTo>
                    <a:pt x="552" y="479"/>
                  </a:lnTo>
                  <a:lnTo>
                    <a:pt x="552" y="476"/>
                  </a:lnTo>
                  <a:lnTo>
                    <a:pt x="552" y="478"/>
                  </a:lnTo>
                  <a:lnTo>
                    <a:pt x="552" y="479"/>
                  </a:lnTo>
                  <a:lnTo>
                    <a:pt x="552" y="480"/>
                  </a:lnTo>
                  <a:lnTo>
                    <a:pt x="551" y="480"/>
                  </a:lnTo>
                  <a:lnTo>
                    <a:pt x="550" y="480"/>
                  </a:lnTo>
                  <a:lnTo>
                    <a:pt x="550" y="479"/>
                  </a:lnTo>
                  <a:lnTo>
                    <a:pt x="550" y="476"/>
                  </a:lnTo>
                  <a:lnTo>
                    <a:pt x="551" y="474"/>
                  </a:lnTo>
                  <a:lnTo>
                    <a:pt x="551" y="473"/>
                  </a:lnTo>
                  <a:lnTo>
                    <a:pt x="550" y="472"/>
                  </a:lnTo>
                  <a:lnTo>
                    <a:pt x="549" y="472"/>
                  </a:lnTo>
                  <a:lnTo>
                    <a:pt x="548" y="470"/>
                  </a:lnTo>
                  <a:lnTo>
                    <a:pt x="546" y="470"/>
                  </a:lnTo>
                  <a:lnTo>
                    <a:pt x="548" y="472"/>
                  </a:lnTo>
                  <a:lnTo>
                    <a:pt x="549" y="473"/>
                  </a:lnTo>
                  <a:lnTo>
                    <a:pt x="550" y="474"/>
                  </a:lnTo>
                  <a:lnTo>
                    <a:pt x="550" y="475"/>
                  </a:lnTo>
                  <a:lnTo>
                    <a:pt x="549" y="475"/>
                  </a:lnTo>
                  <a:lnTo>
                    <a:pt x="549" y="476"/>
                  </a:lnTo>
                  <a:lnTo>
                    <a:pt x="549" y="478"/>
                  </a:lnTo>
                  <a:lnTo>
                    <a:pt x="550" y="478"/>
                  </a:lnTo>
                  <a:lnTo>
                    <a:pt x="550" y="479"/>
                  </a:lnTo>
                  <a:lnTo>
                    <a:pt x="549" y="480"/>
                  </a:lnTo>
                  <a:lnTo>
                    <a:pt x="549" y="481"/>
                  </a:lnTo>
                  <a:lnTo>
                    <a:pt x="549" y="484"/>
                  </a:lnTo>
                  <a:lnTo>
                    <a:pt x="549" y="485"/>
                  </a:lnTo>
                  <a:lnTo>
                    <a:pt x="548" y="484"/>
                  </a:lnTo>
                  <a:lnTo>
                    <a:pt x="548" y="475"/>
                  </a:lnTo>
                  <a:lnTo>
                    <a:pt x="546" y="475"/>
                  </a:lnTo>
                  <a:lnTo>
                    <a:pt x="546" y="476"/>
                  </a:lnTo>
                  <a:lnTo>
                    <a:pt x="546" y="478"/>
                  </a:lnTo>
                  <a:lnTo>
                    <a:pt x="546" y="479"/>
                  </a:lnTo>
                  <a:lnTo>
                    <a:pt x="546" y="480"/>
                  </a:lnTo>
                  <a:lnTo>
                    <a:pt x="546" y="481"/>
                  </a:lnTo>
                  <a:lnTo>
                    <a:pt x="546" y="482"/>
                  </a:lnTo>
                  <a:lnTo>
                    <a:pt x="546" y="484"/>
                  </a:lnTo>
                  <a:lnTo>
                    <a:pt x="546" y="487"/>
                  </a:lnTo>
                  <a:lnTo>
                    <a:pt x="545" y="487"/>
                  </a:lnTo>
                  <a:lnTo>
                    <a:pt x="544" y="487"/>
                  </a:lnTo>
                  <a:lnTo>
                    <a:pt x="544" y="486"/>
                  </a:lnTo>
                  <a:lnTo>
                    <a:pt x="544" y="479"/>
                  </a:lnTo>
                  <a:lnTo>
                    <a:pt x="543" y="479"/>
                  </a:lnTo>
                  <a:lnTo>
                    <a:pt x="543" y="480"/>
                  </a:lnTo>
                  <a:lnTo>
                    <a:pt x="543" y="481"/>
                  </a:lnTo>
                  <a:lnTo>
                    <a:pt x="542" y="480"/>
                  </a:lnTo>
                  <a:lnTo>
                    <a:pt x="540" y="480"/>
                  </a:lnTo>
                  <a:lnTo>
                    <a:pt x="540" y="479"/>
                  </a:lnTo>
                  <a:lnTo>
                    <a:pt x="539" y="478"/>
                  </a:lnTo>
                  <a:lnTo>
                    <a:pt x="538" y="479"/>
                  </a:lnTo>
                  <a:lnTo>
                    <a:pt x="537" y="479"/>
                  </a:lnTo>
                  <a:lnTo>
                    <a:pt x="537" y="478"/>
                  </a:lnTo>
                  <a:lnTo>
                    <a:pt x="537" y="476"/>
                  </a:lnTo>
                  <a:lnTo>
                    <a:pt x="537" y="475"/>
                  </a:lnTo>
                  <a:lnTo>
                    <a:pt x="537" y="474"/>
                  </a:lnTo>
                  <a:lnTo>
                    <a:pt x="536" y="474"/>
                  </a:lnTo>
                  <a:lnTo>
                    <a:pt x="536" y="475"/>
                  </a:lnTo>
                  <a:lnTo>
                    <a:pt x="534" y="475"/>
                  </a:lnTo>
                  <a:lnTo>
                    <a:pt x="534" y="476"/>
                  </a:lnTo>
                  <a:lnTo>
                    <a:pt x="534" y="478"/>
                  </a:lnTo>
                  <a:lnTo>
                    <a:pt x="534" y="479"/>
                  </a:lnTo>
                  <a:lnTo>
                    <a:pt x="536" y="480"/>
                  </a:lnTo>
                  <a:lnTo>
                    <a:pt x="537" y="480"/>
                  </a:lnTo>
                  <a:lnTo>
                    <a:pt x="537" y="481"/>
                  </a:lnTo>
                  <a:lnTo>
                    <a:pt x="536" y="481"/>
                  </a:lnTo>
                  <a:lnTo>
                    <a:pt x="534" y="481"/>
                  </a:lnTo>
                  <a:lnTo>
                    <a:pt x="536" y="482"/>
                  </a:lnTo>
                  <a:lnTo>
                    <a:pt x="534" y="482"/>
                  </a:lnTo>
                  <a:lnTo>
                    <a:pt x="534" y="484"/>
                  </a:lnTo>
                  <a:lnTo>
                    <a:pt x="534" y="485"/>
                  </a:lnTo>
                  <a:lnTo>
                    <a:pt x="533" y="485"/>
                  </a:lnTo>
                  <a:lnTo>
                    <a:pt x="533" y="484"/>
                  </a:lnTo>
                  <a:lnTo>
                    <a:pt x="533" y="482"/>
                  </a:lnTo>
                  <a:lnTo>
                    <a:pt x="532" y="482"/>
                  </a:lnTo>
                  <a:lnTo>
                    <a:pt x="531" y="482"/>
                  </a:lnTo>
                  <a:lnTo>
                    <a:pt x="531" y="484"/>
                  </a:lnTo>
                  <a:lnTo>
                    <a:pt x="531" y="485"/>
                  </a:lnTo>
                  <a:lnTo>
                    <a:pt x="532" y="485"/>
                  </a:lnTo>
                  <a:lnTo>
                    <a:pt x="532" y="486"/>
                  </a:lnTo>
                  <a:lnTo>
                    <a:pt x="533" y="487"/>
                  </a:lnTo>
                  <a:lnTo>
                    <a:pt x="533" y="488"/>
                  </a:lnTo>
                  <a:lnTo>
                    <a:pt x="533" y="490"/>
                  </a:lnTo>
                  <a:lnTo>
                    <a:pt x="533" y="491"/>
                  </a:lnTo>
                  <a:lnTo>
                    <a:pt x="532" y="491"/>
                  </a:lnTo>
                  <a:lnTo>
                    <a:pt x="533" y="492"/>
                  </a:lnTo>
                  <a:lnTo>
                    <a:pt x="534" y="492"/>
                  </a:lnTo>
                  <a:lnTo>
                    <a:pt x="536" y="493"/>
                  </a:lnTo>
                  <a:lnTo>
                    <a:pt x="537" y="493"/>
                  </a:lnTo>
                  <a:lnTo>
                    <a:pt x="538" y="494"/>
                  </a:lnTo>
                  <a:lnTo>
                    <a:pt x="539" y="496"/>
                  </a:lnTo>
                  <a:lnTo>
                    <a:pt x="540" y="497"/>
                  </a:lnTo>
                  <a:lnTo>
                    <a:pt x="540" y="498"/>
                  </a:lnTo>
                  <a:lnTo>
                    <a:pt x="542" y="498"/>
                  </a:lnTo>
                  <a:lnTo>
                    <a:pt x="544" y="498"/>
                  </a:lnTo>
                  <a:lnTo>
                    <a:pt x="546" y="498"/>
                  </a:lnTo>
                  <a:lnTo>
                    <a:pt x="546" y="499"/>
                  </a:lnTo>
                  <a:lnTo>
                    <a:pt x="548" y="500"/>
                  </a:lnTo>
                  <a:lnTo>
                    <a:pt x="549" y="500"/>
                  </a:lnTo>
                  <a:lnTo>
                    <a:pt x="550" y="499"/>
                  </a:lnTo>
                  <a:lnTo>
                    <a:pt x="551" y="499"/>
                  </a:lnTo>
                  <a:lnTo>
                    <a:pt x="552" y="499"/>
                  </a:lnTo>
                  <a:lnTo>
                    <a:pt x="554" y="498"/>
                  </a:lnTo>
                  <a:lnTo>
                    <a:pt x="555" y="499"/>
                  </a:lnTo>
                  <a:lnTo>
                    <a:pt x="554" y="499"/>
                  </a:lnTo>
                  <a:lnTo>
                    <a:pt x="554" y="500"/>
                  </a:lnTo>
                  <a:lnTo>
                    <a:pt x="555" y="500"/>
                  </a:lnTo>
                  <a:lnTo>
                    <a:pt x="556" y="500"/>
                  </a:lnTo>
                  <a:lnTo>
                    <a:pt x="556" y="502"/>
                  </a:lnTo>
                  <a:lnTo>
                    <a:pt x="557" y="502"/>
                  </a:lnTo>
                  <a:lnTo>
                    <a:pt x="556" y="502"/>
                  </a:lnTo>
                  <a:lnTo>
                    <a:pt x="555" y="502"/>
                  </a:lnTo>
                  <a:lnTo>
                    <a:pt x="554" y="502"/>
                  </a:lnTo>
                  <a:lnTo>
                    <a:pt x="552" y="502"/>
                  </a:lnTo>
                  <a:lnTo>
                    <a:pt x="552" y="503"/>
                  </a:lnTo>
                  <a:lnTo>
                    <a:pt x="554" y="503"/>
                  </a:lnTo>
                  <a:lnTo>
                    <a:pt x="554" y="504"/>
                  </a:lnTo>
                  <a:lnTo>
                    <a:pt x="552" y="504"/>
                  </a:lnTo>
                  <a:lnTo>
                    <a:pt x="551" y="503"/>
                  </a:lnTo>
                  <a:lnTo>
                    <a:pt x="550" y="503"/>
                  </a:lnTo>
                  <a:lnTo>
                    <a:pt x="550" y="502"/>
                  </a:lnTo>
                  <a:lnTo>
                    <a:pt x="550" y="503"/>
                  </a:lnTo>
                  <a:lnTo>
                    <a:pt x="550" y="504"/>
                  </a:lnTo>
                  <a:lnTo>
                    <a:pt x="549" y="504"/>
                  </a:lnTo>
                  <a:lnTo>
                    <a:pt x="549" y="503"/>
                  </a:lnTo>
                  <a:lnTo>
                    <a:pt x="549" y="502"/>
                  </a:lnTo>
                  <a:lnTo>
                    <a:pt x="549" y="500"/>
                  </a:lnTo>
                  <a:lnTo>
                    <a:pt x="548" y="500"/>
                  </a:lnTo>
                  <a:lnTo>
                    <a:pt x="548" y="502"/>
                  </a:lnTo>
                  <a:lnTo>
                    <a:pt x="548" y="503"/>
                  </a:lnTo>
                  <a:lnTo>
                    <a:pt x="548" y="504"/>
                  </a:lnTo>
                  <a:lnTo>
                    <a:pt x="548" y="505"/>
                  </a:lnTo>
                  <a:lnTo>
                    <a:pt x="548" y="506"/>
                  </a:lnTo>
                  <a:lnTo>
                    <a:pt x="548" y="508"/>
                  </a:lnTo>
                  <a:lnTo>
                    <a:pt x="549" y="508"/>
                  </a:lnTo>
                  <a:lnTo>
                    <a:pt x="550" y="508"/>
                  </a:lnTo>
                  <a:lnTo>
                    <a:pt x="554" y="508"/>
                  </a:lnTo>
                  <a:lnTo>
                    <a:pt x="555" y="508"/>
                  </a:lnTo>
                  <a:lnTo>
                    <a:pt x="555" y="506"/>
                  </a:lnTo>
                  <a:lnTo>
                    <a:pt x="556" y="506"/>
                  </a:lnTo>
                  <a:lnTo>
                    <a:pt x="557" y="506"/>
                  </a:lnTo>
                  <a:lnTo>
                    <a:pt x="558" y="506"/>
                  </a:lnTo>
                  <a:lnTo>
                    <a:pt x="558" y="505"/>
                  </a:lnTo>
                  <a:lnTo>
                    <a:pt x="558" y="506"/>
                  </a:lnTo>
                  <a:lnTo>
                    <a:pt x="560" y="506"/>
                  </a:lnTo>
                  <a:lnTo>
                    <a:pt x="560" y="505"/>
                  </a:lnTo>
                  <a:lnTo>
                    <a:pt x="561" y="505"/>
                  </a:lnTo>
                  <a:lnTo>
                    <a:pt x="561" y="506"/>
                  </a:lnTo>
                  <a:lnTo>
                    <a:pt x="563" y="505"/>
                  </a:lnTo>
                  <a:lnTo>
                    <a:pt x="566" y="505"/>
                  </a:lnTo>
                  <a:lnTo>
                    <a:pt x="567" y="505"/>
                  </a:lnTo>
                  <a:lnTo>
                    <a:pt x="567" y="506"/>
                  </a:lnTo>
                  <a:lnTo>
                    <a:pt x="566" y="506"/>
                  </a:lnTo>
                  <a:lnTo>
                    <a:pt x="564" y="506"/>
                  </a:lnTo>
                  <a:lnTo>
                    <a:pt x="563" y="506"/>
                  </a:lnTo>
                  <a:lnTo>
                    <a:pt x="563" y="508"/>
                  </a:lnTo>
                  <a:lnTo>
                    <a:pt x="563" y="509"/>
                  </a:lnTo>
                  <a:lnTo>
                    <a:pt x="562" y="509"/>
                  </a:lnTo>
                  <a:lnTo>
                    <a:pt x="561" y="509"/>
                  </a:lnTo>
                  <a:lnTo>
                    <a:pt x="560" y="508"/>
                  </a:lnTo>
                  <a:lnTo>
                    <a:pt x="558" y="508"/>
                  </a:lnTo>
                  <a:lnTo>
                    <a:pt x="558" y="509"/>
                  </a:lnTo>
                  <a:lnTo>
                    <a:pt x="560" y="509"/>
                  </a:lnTo>
                  <a:lnTo>
                    <a:pt x="560" y="510"/>
                  </a:lnTo>
                  <a:lnTo>
                    <a:pt x="558" y="510"/>
                  </a:lnTo>
                  <a:lnTo>
                    <a:pt x="558" y="509"/>
                  </a:lnTo>
                  <a:lnTo>
                    <a:pt x="557" y="510"/>
                  </a:lnTo>
                  <a:lnTo>
                    <a:pt x="558" y="511"/>
                  </a:lnTo>
                  <a:lnTo>
                    <a:pt x="557" y="511"/>
                  </a:lnTo>
                  <a:lnTo>
                    <a:pt x="557" y="510"/>
                  </a:lnTo>
                  <a:lnTo>
                    <a:pt x="557" y="509"/>
                  </a:lnTo>
                  <a:lnTo>
                    <a:pt x="556" y="509"/>
                  </a:lnTo>
                  <a:lnTo>
                    <a:pt x="554" y="509"/>
                  </a:lnTo>
                  <a:lnTo>
                    <a:pt x="556" y="510"/>
                  </a:lnTo>
                  <a:lnTo>
                    <a:pt x="556" y="511"/>
                  </a:lnTo>
                  <a:lnTo>
                    <a:pt x="556" y="512"/>
                  </a:lnTo>
                  <a:lnTo>
                    <a:pt x="555" y="512"/>
                  </a:lnTo>
                  <a:lnTo>
                    <a:pt x="555" y="511"/>
                  </a:lnTo>
                  <a:lnTo>
                    <a:pt x="555" y="510"/>
                  </a:lnTo>
                  <a:lnTo>
                    <a:pt x="554" y="510"/>
                  </a:lnTo>
                  <a:lnTo>
                    <a:pt x="552" y="510"/>
                  </a:lnTo>
                  <a:lnTo>
                    <a:pt x="551" y="509"/>
                  </a:lnTo>
                  <a:lnTo>
                    <a:pt x="551" y="510"/>
                  </a:lnTo>
                  <a:lnTo>
                    <a:pt x="552" y="511"/>
                  </a:lnTo>
                  <a:lnTo>
                    <a:pt x="554" y="512"/>
                  </a:lnTo>
                  <a:lnTo>
                    <a:pt x="552" y="514"/>
                  </a:lnTo>
                  <a:lnTo>
                    <a:pt x="554" y="515"/>
                  </a:lnTo>
                  <a:lnTo>
                    <a:pt x="554" y="516"/>
                  </a:lnTo>
                  <a:lnTo>
                    <a:pt x="555" y="516"/>
                  </a:lnTo>
                  <a:lnTo>
                    <a:pt x="556" y="515"/>
                  </a:lnTo>
                  <a:lnTo>
                    <a:pt x="557" y="515"/>
                  </a:lnTo>
                  <a:lnTo>
                    <a:pt x="557" y="516"/>
                  </a:lnTo>
                  <a:lnTo>
                    <a:pt x="556" y="516"/>
                  </a:lnTo>
                  <a:lnTo>
                    <a:pt x="555" y="516"/>
                  </a:lnTo>
                  <a:lnTo>
                    <a:pt x="556" y="517"/>
                  </a:lnTo>
                  <a:lnTo>
                    <a:pt x="557" y="517"/>
                  </a:lnTo>
                  <a:lnTo>
                    <a:pt x="558" y="518"/>
                  </a:lnTo>
                  <a:lnTo>
                    <a:pt x="560" y="518"/>
                  </a:lnTo>
                  <a:lnTo>
                    <a:pt x="562" y="518"/>
                  </a:lnTo>
                  <a:lnTo>
                    <a:pt x="561" y="520"/>
                  </a:lnTo>
                  <a:lnTo>
                    <a:pt x="560" y="520"/>
                  </a:lnTo>
                  <a:lnTo>
                    <a:pt x="558" y="520"/>
                  </a:lnTo>
                  <a:lnTo>
                    <a:pt x="557" y="520"/>
                  </a:lnTo>
                  <a:lnTo>
                    <a:pt x="557" y="518"/>
                  </a:lnTo>
                  <a:lnTo>
                    <a:pt x="556" y="518"/>
                  </a:lnTo>
                  <a:lnTo>
                    <a:pt x="556" y="520"/>
                  </a:lnTo>
                  <a:lnTo>
                    <a:pt x="557" y="520"/>
                  </a:lnTo>
                  <a:lnTo>
                    <a:pt x="558" y="521"/>
                  </a:lnTo>
                  <a:lnTo>
                    <a:pt x="558" y="522"/>
                  </a:lnTo>
                  <a:lnTo>
                    <a:pt x="560" y="522"/>
                  </a:lnTo>
                  <a:lnTo>
                    <a:pt x="558" y="522"/>
                  </a:lnTo>
                  <a:lnTo>
                    <a:pt x="557" y="522"/>
                  </a:lnTo>
                  <a:lnTo>
                    <a:pt x="556" y="522"/>
                  </a:lnTo>
                  <a:lnTo>
                    <a:pt x="556" y="523"/>
                  </a:lnTo>
                  <a:lnTo>
                    <a:pt x="557" y="524"/>
                  </a:lnTo>
                  <a:lnTo>
                    <a:pt x="557" y="526"/>
                  </a:lnTo>
                  <a:lnTo>
                    <a:pt x="556" y="524"/>
                  </a:lnTo>
                  <a:lnTo>
                    <a:pt x="555" y="524"/>
                  </a:lnTo>
                  <a:lnTo>
                    <a:pt x="555" y="523"/>
                  </a:lnTo>
                  <a:lnTo>
                    <a:pt x="555" y="522"/>
                  </a:lnTo>
                  <a:lnTo>
                    <a:pt x="554" y="521"/>
                  </a:lnTo>
                  <a:lnTo>
                    <a:pt x="552" y="521"/>
                  </a:lnTo>
                  <a:lnTo>
                    <a:pt x="552" y="522"/>
                  </a:lnTo>
                  <a:lnTo>
                    <a:pt x="552" y="523"/>
                  </a:lnTo>
                  <a:lnTo>
                    <a:pt x="551" y="523"/>
                  </a:lnTo>
                  <a:lnTo>
                    <a:pt x="551" y="530"/>
                  </a:lnTo>
                  <a:lnTo>
                    <a:pt x="551" y="532"/>
                  </a:lnTo>
                  <a:lnTo>
                    <a:pt x="550" y="532"/>
                  </a:lnTo>
                  <a:lnTo>
                    <a:pt x="549" y="532"/>
                  </a:lnTo>
                  <a:lnTo>
                    <a:pt x="549" y="529"/>
                  </a:lnTo>
                  <a:lnTo>
                    <a:pt x="549" y="528"/>
                  </a:lnTo>
                  <a:lnTo>
                    <a:pt x="549" y="529"/>
                  </a:lnTo>
                  <a:lnTo>
                    <a:pt x="548" y="529"/>
                  </a:lnTo>
                  <a:lnTo>
                    <a:pt x="548" y="528"/>
                  </a:lnTo>
                  <a:lnTo>
                    <a:pt x="546" y="528"/>
                  </a:lnTo>
                  <a:lnTo>
                    <a:pt x="546" y="527"/>
                  </a:lnTo>
                  <a:lnTo>
                    <a:pt x="545" y="527"/>
                  </a:lnTo>
                  <a:lnTo>
                    <a:pt x="545" y="526"/>
                  </a:lnTo>
                  <a:lnTo>
                    <a:pt x="544" y="526"/>
                  </a:lnTo>
                  <a:lnTo>
                    <a:pt x="543" y="527"/>
                  </a:lnTo>
                  <a:lnTo>
                    <a:pt x="542" y="527"/>
                  </a:lnTo>
                  <a:lnTo>
                    <a:pt x="542" y="526"/>
                  </a:lnTo>
                  <a:lnTo>
                    <a:pt x="540" y="526"/>
                  </a:lnTo>
                  <a:lnTo>
                    <a:pt x="540" y="528"/>
                  </a:lnTo>
                  <a:lnTo>
                    <a:pt x="539" y="529"/>
                  </a:lnTo>
                  <a:lnTo>
                    <a:pt x="540" y="530"/>
                  </a:lnTo>
                  <a:lnTo>
                    <a:pt x="540" y="532"/>
                  </a:lnTo>
                  <a:lnTo>
                    <a:pt x="542" y="533"/>
                  </a:lnTo>
                  <a:lnTo>
                    <a:pt x="542" y="534"/>
                  </a:lnTo>
                  <a:lnTo>
                    <a:pt x="540" y="534"/>
                  </a:lnTo>
                  <a:lnTo>
                    <a:pt x="540" y="533"/>
                  </a:lnTo>
                  <a:lnTo>
                    <a:pt x="539" y="532"/>
                  </a:lnTo>
                  <a:lnTo>
                    <a:pt x="539" y="533"/>
                  </a:lnTo>
                  <a:lnTo>
                    <a:pt x="538" y="534"/>
                  </a:lnTo>
                  <a:lnTo>
                    <a:pt x="537" y="533"/>
                  </a:lnTo>
                  <a:lnTo>
                    <a:pt x="537" y="532"/>
                  </a:lnTo>
                  <a:lnTo>
                    <a:pt x="536" y="530"/>
                  </a:lnTo>
                  <a:lnTo>
                    <a:pt x="536" y="532"/>
                  </a:lnTo>
                  <a:lnTo>
                    <a:pt x="536" y="530"/>
                  </a:lnTo>
                  <a:lnTo>
                    <a:pt x="534" y="529"/>
                  </a:lnTo>
                  <a:lnTo>
                    <a:pt x="533" y="530"/>
                  </a:lnTo>
                  <a:lnTo>
                    <a:pt x="533" y="529"/>
                  </a:lnTo>
                  <a:lnTo>
                    <a:pt x="532" y="529"/>
                  </a:lnTo>
                  <a:lnTo>
                    <a:pt x="532" y="530"/>
                  </a:lnTo>
                  <a:lnTo>
                    <a:pt x="531" y="532"/>
                  </a:lnTo>
                  <a:lnTo>
                    <a:pt x="530" y="533"/>
                  </a:lnTo>
                  <a:lnTo>
                    <a:pt x="528" y="534"/>
                  </a:lnTo>
                  <a:lnTo>
                    <a:pt x="528" y="533"/>
                  </a:lnTo>
                  <a:lnTo>
                    <a:pt x="528" y="530"/>
                  </a:lnTo>
                  <a:lnTo>
                    <a:pt x="527" y="530"/>
                  </a:lnTo>
                  <a:lnTo>
                    <a:pt x="526" y="532"/>
                  </a:lnTo>
                  <a:lnTo>
                    <a:pt x="525" y="532"/>
                  </a:lnTo>
                  <a:lnTo>
                    <a:pt x="526" y="533"/>
                  </a:lnTo>
                  <a:lnTo>
                    <a:pt x="526" y="534"/>
                  </a:lnTo>
                  <a:lnTo>
                    <a:pt x="527" y="535"/>
                  </a:lnTo>
                  <a:lnTo>
                    <a:pt x="527" y="536"/>
                  </a:lnTo>
                  <a:lnTo>
                    <a:pt x="526" y="535"/>
                  </a:lnTo>
                  <a:lnTo>
                    <a:pt x="525" y="535"/>
                  </a:lnTo>
                  <a:lnTo>
                    <a:pt x="524" y="535"/>
                  </a:lnTo>
                  <a:lnTo>
                    <a:pt x="521" y="538"/>
                  </a:lnTo>
                  <a:lnTo>
                    <a:pt x="520" y="539"/>
                  </a:lnTo>
                  <a:lnTo>
                    <a:pt x="521" y="541"/>
                  </a:lnTo>
                  <a:lnTo>
                    <a:pt x="522" y="541"/>
                  </a:lnTo>
                  <a:lnTo>
                    <a:pt x="524" y="542"/>
                  </a:lnTo>
                  <a:lnTo>
                    <a:pt x="525" y="542"/>
                  </a:lnTo>
                  <a:lnTo>
                    <a:pt x="526" y="541"/>
                  </a:lnTo>
                  <a:lnTo>
                    <a:pt x="527" y="542"/>
                  </a:lnTo>
                  <a:lnTo>
                    <a:pt x="528" y="542"/>
                  </a:lnTo>
                  <a:lnTo>
                    <a:pt x="530" y="542"/>
                  </a:lnTo>
                  <a:lnTo>
                    <a:pt x="531" y="541"/>
                  </a:lnTo>
                  <a:lnTo>
                    <a:pt x="532" y="541"/>
                  </a:lnTo>
                  <a:lnTo>
                    <a:pt x="532" y="540"/>
                  </a:lnTo>
                  <a:lnTo>
                    <a:pt x="533" y="540"/>
                  </a:lnTo>
                  <a:lnTo>
                    <a:pt x="534" y="541"/>
                  </a:lnTo>
                  <a:lnTo>
                    <a:pt x="536" y="540"/>
                  </a:lnTo>
                  <a:lnTo>
                    <a:pt x="538" y="541"/>
                  </a:lnTo>
                  <a:lnTo>
                    <a:pt x="539" y="540"/>
                  </a:lnTo>
                  <a:lnTo>
                    <a:pt x="540" y="540"/>
                  </a:lnTo>
                  <a:lnTo>
                    <a:pt x="540" y="541"/>
                  </a:lnTo>
                  <a:lnTo>
                    <a:pt x="539" y="541"/>
                  </a:lnTo>
                  <a:lnTo>
                    <a:pt x="538" y="541"/>
                  </a:lnTo>
                  <a:lnTo>
                    <a:pt x="537" y="542"/>
                  </a:lnTo>
                  <a:lnTo>
                    <a:pt x="538" y="544"/>
                  </a:lnTo>
                  <a:lnTo>
                    <a:pt x="537" y="545"/>
                  </a:lnTo>
                  <a:lnTo>
                    <a:pt x="537" y="544"/>
                  </a:lnTo>
                  <a:lnTo>
                    <a:pt x="536" y="544"/>
                  </a:lnTo>
                  <a:lnTo>
                    <a:pt x="534" y="542"/>
                  </a:lnTo>
                  <a:lnTo>
                    <a:pt x="533" y="542"/>
                  </a:lnTo>
                  <a:lnTo>
                    <a:pt x="532" y="542"/>
                  </a:lnTo>
                  <a:lnTo>
                    <a:pt x="532" y="544"/>
                  </a:lnTo>
                  <a:lnTo>
                    <a:pt x="532" y="545"/>
                  </a:lnTo>
                  <a:lnTo>
                    <a:pt x="533" y="546"/>
                  </a:lnTo>
                  <a:lnTo>
                    <a:pt x="532" y="547"/>
                  </a:lnTo>
                  <a:lnTo>
                    <a:pt x="531" y="546"/>
                  </a:lnTo>
                  <a:lnTo>
                    <a:pt x="531" y="545"/>
                  </a:lnTo>
                  <a:lnTo>
                    <a:pt x="530" y="544"/>
                  </a:lnTo>
                  <a:lnTo>
                    <a:pt x="527" y="544"/>
                  </a:lnTo>
                  <a:lnTo>
                    <a:pt x="526" y="544"/>
                  </a:lnTo>
                  <a:lnTo>
                    <a:pt x="527" y="545"/>
                  </a:lnTo>
                  <a:lnTo>
                    <a:pt x="528" y="546"/>
                  </a:lnTo>
                  <a:lnTo>
                    <a:pt x="528" y="547"/>
                  </a:lnTo>
                  <a:lnTo>
                    <a:pt x="528" y="548"/>
                  </a:lnTo>
                  <a:lnTo>
                    <a:pt x="528" y="550"/>
                  </a:lnTo>
                  <a:lnTo>
                    <a:pt x="528" y="551"/>
                  </a:lnTo>
                  <a:lnTo>
                    <a:pt x="528" y="552"/>
                  </a:lnTo>
                  <a:lnTo>
                    <a:pt x="527" y="553"/>
                  </a:lnTo>
                  <a:lnTo>
                    <a:pt x="527" y="554"/>
                  </a:lnTo>
                  <a:lnTo>
                    <a:pt x="526" y="554"/>
                  </a:lnTo>
                  <a:lnTo>
                    <a:pt x="525" y="553"/>
                  </a:lnTo>
                  <a:lnTo>
                    <a:pt x="525" y="552"/>
                  </a:lnTo>
                  <a:lnTo>
                    <a:pt x="525" y="550"/>
                  </a:lnTo>
                  <a:lnTo>
                    <a:pt x="525" y="548"/>
                  </a:lnTo>
                  <a:lnTo>
                    <a:pt x="525" y="546"/>
                  </a:lnTo>
                  <a:lnTo>
                    <a:pt x="524" y="546"/>
                  </a:lnTo>
                  <a:lnTo>
                    <a:pt x="524" y="545"/>
                  </a:lnTo>
                  <a:lnTo>
                    <a:pt x="524" y="544"/>
                  </a:lnTo>
                  <a:lnTo>
                    <a:pt x="522" y="542"/>
                  </a:lnTo>
                  <a:lnTo>
                    <a:pt x="522" y="544"/>
                  </a:lnTo>
                  <a:lnTo>
                    <a:pt x="524" y="545"/>
                  </a:lnTo>
                  <a:lnTo>
                    <a:pt x="524" y="546"/>
                  </a:lnTo>
                  <a:lnTo>
                    <a:pt x="522" y="545"/>
                  </a:lnTo>
                  <a:lnTo>
                    <a:pt x="521" y="545"/>
                  </a:lnTo>
                  <a:lnTo>
                    <a:pt x="521" y="547"/>
                  </a:lnTo>
                  <a:lnTo>
                    <a:pt x="521" y="548"/>
                  </a:lnTo>
                  <a:lnTo>
                    <a:pt x="522" y="550"/>
                  </a:lnTo>
                  <a:lnTo>
                    <a:pt x="522" y="551"/>
                  </a:lnTo>
                  <a:lnTo>
                    <a:pt x="522" y="552"/>
                  </a:lnTo>
                  <a:lnTo>
                    <a:pt x="521" y="553"/>
                  </a:lnTo>
                  <a:lnTo>
                    <a:pt x="520" y="553"/>
                  </a:lnTo>
                  <a:lnTo>
                    <a:pt x="520" y="551"/>
                  </a:lnTo>
                  <a:lnTo>
                    <a:pt x="520" y="548"/>
                  </a:lnTo>
                  <a:lnTo>
                    <a:pt x="520" y="546"/>
                  </a:lnTo>
                  <a:lnTo>
                    <a:pt x="520" y="545"/>
                  </a:lnTo>
                  <a:lnTo>
                    <a:pt x="519" y="544"/>
                  </a:lnTo>
                  <a:lnTo>
                    <a:pt x="519" y="542"/>
                  </a:lnTo>
                  <a:lnTo>
                    <a:pt x="518" y="542"/>
                  </a:lnTo>
                  <a:lnTo>
                    <a:pt x="519" y="545"/>
                  </a:lnTo>
                  <a:lnTo>
                    <a:pt x="520" y="546"/>
                  </a:lnTo>
                  <a:lnTo>
                    <a:pt x="520" y="547"/>
                  </a:lnTo>
                  <a:lnTo>
                    <a:pt x="519" y="550"/>
                  </a:lnTo>
                  <a:lnTo>
                    <a:pt x="519" y="551"/>
                  </a:lnTo>
                  <a:lnTo>
                    <a:pt x="518" y="551"/>
                  </a:lnTo>
                  <a:lnTo>
                    <a:pt x="518" y="550"/>
                  </a:lnTo>
                  <a:lnTo>
                    <a:pt x="516" y="550"/>
                  </a:lnTo>
                  <a:lnTo>
                    <a:pt x="518" y="552"/>
                  </a:lnTo>
                  <a:lnTo>
                    <a:pt x="518" y="553"/>
                  </a:lnTo>
                  <a:lnTo>
                    <a:pt x="518" y="554"/>
                  </a:lnTo>
                  <a:lnTo>
                    <a:pt x="518" y="556"/>
                  </a:lnTo>
                  <a:lnTo>
                    <a:pt x="518" y="557"/>
                  </a:lnTo>
                  <a:lnTo>
                    <a:pt x="516" y="557"/>
                  </a:lnTo>
                  <a:lnTo>
                    <a:pt x="516" y="556"/>
                  </a:lnTo>
                  <a:lnTo>
                    <a:pt x="515" y="554"/>
                  </a:lnTo>
                  <a:lnTo>
                    <a:pt x="515" y="553"/>
                  </a:lnTo>
                  <a:lnTo>
                    <a:pt x="514" y="553"/>
                  </a:lnTo>
                  <a:lnTo>
                    <a:pt x="514" y="552"/>
                  </a:lnTo>
                  <a:lnTo>
                    <a:pt x="513" y="552"/>
                  </a:lnTo>
                  <a:lnTo>
                    <a:pt x="513" y="553"/>
                  </a:lnTo>
                  <a:lnTo>
                    <a:pt x="514" y="554"/>
                  </a:lnTo>
                  <a:lnTo>
                    <a:pt x="514" y="556"/>
                  </a:lnTo>
                  <a:lnTo>
                    <a:pt x="513" y="557"/>
                  </a:lnTo>
                  <a:lnTo>
                    <a:pt x="511" y="557"/>
                  </a:lnTo>
                  <a:lnTo>
                    <a:pt x="511" y="554"/>
                  </a:lnTo>
                  <a:lnTo>
                    <a:pt x="511" y="553"/>
                  </a:lnTo>
                  <a:lnTo>
                    <a:pt x="511" y="552"/>
                  </a:lnTo>
                  <a:lnTo>
                    <a:pt x="510" y="552"/>
                  </a:lnTo>
                  <a:lnTo>
                    <a:pt x="509" y="552"/>
                  </a:lnTo>
                  <a:lnTo>
                    <a:pt x="508" y="551"/>
                  </a:lnTo>
                  <a:lnTo>
                    <a:pt x="508" y="554"/>
                  </a:lnTo>
                  <a:lnTo>
                    <a:pt x="508" y="556"/>
                  </a:lnTo>
                  <a:lnTo>
                    <a:pt x="508" y="557"/>
                  </a:lnTo>
                  <a:lnTo>
                    <a:pt x="507" y="557"/>
                  </a:lnTo>
                  <a:lnTo>
                    <a:pt x="507" y="556"/>
                  </a:lnTo>
                  <a:lnTo>
                    <a:pt x="507" y="554"/>
                  </a:lnTo>
                  <a:lnTo>
                    <a:pt x="505" y="553"/>
                  </a:lnTo>
                  <a:lnTo>
                    <a:pt x="505" y="554"/>
                  </a:lnTo>
                  <a:lnTo>
                    <a:pt x="505" y="556"/>
                  </a:lnTo>
                  <a:lnTo>
                    <a:pt x="504" y="556"/>
                  </a:lnTo>
                  <a:lnTo>
                    <a:pt x="504" y="557"/>
                  </a:lnTo>
                  <a:lnTo>
                    <a:pt x="503" y="557"/>
                  </a:lnTo>
                  <a:lnTo>
                    <a:pt x="504" y="558"/>
                  </a:lnTo>
                  <a:lnTo>
                    <a:pt x="504" y="559"/>
                  </a:lnTo>
                  <a:lnTo>
                    <a:pt x="505" y="561"/>
                  </a:lnTo>
                  <a:lnTo>
                    <a:pt x="505" y="562"/>
                  </a:lnTo>
                  <a:lnTo>
                    <a:pt x="505" y="563"/>
                  </a:lnTo>
                  <a:lnTo>
                    <a:pt x="505" y="564"/>
                  </a:lnTo>
                  <a:lnTo>
                    <a:pt x="504" y="565"/>
                  </a:lnTo>
                  <a:lnTo>
                    <a:pt x="503" y="565"/>
                  </a:lnTo>
                  <a:lnTo>
                    <a:pt x="503" y="564"/>
                  </a:lnTo>
                  <a:lnTo>
                    <a:pt x="503" y="562"/>
                  </a:lnTo>
                  <a:lnTo>
                    <a:pt x="503" y="561"/>
                  </a:lnTo>
                  <a:lnTo>
                    <a:pt x="502" y="559"/>
                  </a:lnTo>
                  <a:lnTo>
                    <a:pt x="502" y="558"/>
                  </a:lnTo>
                  <a:lnTo>
                    <a:pt x="499" y="558"/>
                  </a:lnTo>
                  <a:lnTo>
                    <a:pt x="498" y="558"/>
                  </a:lnTo>
                  <a:lnTo>
                    <a:pt x="499" y="561"/>
                  </a:lnTo>
                  <a:lnTo>
                    <a:pt x="499" y="562"/>
                  </a:lnTo>
                  <a:lnTo>
                    <a:pt x="499" y="563"/>
                  </a:lnTo>
                  <a:lnTo>
                    <a:pt x="498" y="564"/>
                  </a:lnTo>
                  <a:lnTo>
                    <a:pt x="497" y="565"/>
                  </a:lnTo>
                  <a:lnTo>
                    <a:pt x="497" y="564"/>
                  </a:lnTo>
                  <a:lnTo>
                    <a:pt x="497" y="563"/>
                  </a:lnTo>
                  <a:lnTo>
                    <a:pt x="497" y="562"/>
                  </a:lnTo>
                  <a:lnTo>
                    <a:pt x="497" y="561"/>
                  </a:lnTo>
                  <a:lnTo>
                    <a:pt x="496" y="562"/>
                  </a:lnTo>
                  <a:lnTo>
                    <a:pt x="495" y="562"/>
                  </a:lnTo>
                  <a:lnTo>
                    <a:pt x="495" y="561"/>
                  </a:lnTo>
                  <a:lnTo>
                    <a:pt x="496" y="559"/>
                  </a:lnTo>
                  <a:lnTo>
                    <a:pt x="495" y="559"/>
                  </a:lnTo>
                  <a:lnTo>
                    <a:pt x="495" y="558"/>
                  </a:lnTo>
                  <a:lnTo>
                    <a:pt x="493" y="558"/>
                  </a:lnTo>
                  <a:lnTo>
                    <a:pt x="493" y="557"/>
                  </a:lnTo>
                  <a:lnTo>
                    <a:pt x="493" y="556"/>
                  </a:lnTo>
                  <a:lnTo>
                    <a:pt x="492" y="553"/>
                  </a:lnTo>
                  <a:lnTo>
                    <a:pt x="492" y="552"/>
                  </a:lnTo>
                  <a:lnTo>
                    <a:pt x="491" y="553"/>
                  </a:lnTo>
                  <a:lnTo>
                    <a:pt x="492" y="554"/>
                  </a:lnTo>
                  <a:lnTo>
                    <a:pt x="493" y="558"/>
                  </a:lnTo>
                  <a:lnTo>
                    <a:pt x="493" y="559"/>
                  </a:lnTo>
                  <a:lnTo>
                    <a:pt x="493" y="561"/>
                  </a:lnTo>
                  <a:lnTo>
                    <a:pt x="492" y="559"/>
                  </a:lnTo>
                  <a:lnTo>
                    <a:pt x="492" y="558"/>
                  </a:lnTo>
                  <a:lnTo>
                    <a:pt x="491" y="558"/>
                  </a:lnTo>
                  <a:lnTo>
                    <a:pt x="492" y="559"/>
                  </a:lnTo>
                  <a:lnTo>
                    <a:pt x="492" y="561"/>
                  </a:lnTo>
                  <a:lnTo>
                    <a:pt x="492" y="562"/>
                  </a:lnTo>
                  <a:lnTo>
                    <a:pt x="492" y="563"/>
                  </a:lnTo>
                  <a:lnTo>
                    <a:pt x="492" y="564"/>
                  </a:lnTo>
                  <a:lnTo>
                    <a:pt x="493" y="565"/>
                  </a:lnTo>
                  <a:lnTo>
                    <a:pt x="492" y="567"/>
                  </a:lnTo>
                  <a:lnTo>
                    <a:pt x="492" y="568"/>
                  </a:lnTo>
                  <a:lnTo>
                    <a:pt x="491" y="567"/>
                  </a:lnTo>
                  <a:lnTo>
                    <a:pt x="491" y="565"/>
                  </a:lnTo>
                  <a:lnTo>
                    <a:pt x="490" y="565"/>
                  </a:lnTo>
                  <a:lnTo>
                    <a:pt x="489" y="567"/>
                  </a:lnTo>
                  <a:lnTo>
                    <a:pt x="489" y="568"/>
                  </a:lnTo>
                  <a:lnTo>
                    <a:pt x="489" y="569"/>
                  </a:lnTo>
                  <a:lnTo>
                    <a:pt x="487" y="569"/>
                  </a:lnTo>
                  <a:lnTo>
                    <a:pt x="487" y="568"/>
                  </a:lnTo>
                  <a:lnTo>
                    <a:pt x="486" y="567"/>
                  </a:lnTo>
                  <a:lnTo>
                    <a:pt x="486" y="565"/>
                  </a:lnTo>
                  <a:lnTo>
                    <a:pt x="486" y="564"/>
                  </a:lnTo>
                  <a:lnTo>
                    <a:pt x="485" y="564"/>
                  </a:lnTo>
                  <a:lnTo>
                    <a:pt x="484" y="564"/>
                  </a:lnTo>
                  <a:lnTo>
                    <a:pt x="484" y="567"/>
                  </a:lnTo>
                  <a:lnTo>
                    <a:pt x="484" y="570"/>
                  </a:lnTo>
                  <a:lnTo>
                    <a:pt x="483" y="569"/>
                  </a:lnTo>
                  <a:lnTo>
                    <a:pt x="483" y="568"/>
                  </a:lnTo>
                  <a:lnTo>
                    <a:pt x="483" y="567"/>
                  </a:lnTo>
                  <a:lnTo>
                    <a:pt x="483" y="565"/>
                  </a:lnTo>
                  <a:lnTo>
                    <a:pt x="483" y="564"/>
                  </a:lnTo>
                  <a:lnTo>
                    <a:pt x="483" y="563"/>
                  </a:lnTo>
                  <a:lnTo>
                    <a:pt x="481" y="564"/>
                  </a:lnTo>
                  <a:lnTo>
                    <a:pt x="480" y="564"/>
                  </a:lnTo>
                  <a:lnTo>
                    <a:pt x="480" y="563"/>
                  </a:lnTo>
                  <a:lnTo>
                    <a:pt x="480" y="562"/>
                  </a:lnTo>
                  <a:lnTo>
                    <a:pt x="480" y="561"/>
                  </a:lnTo>
                  <a:lnTo>
                    <a:pt x="479" y="559"/>
                  </a:lnTo>
                  <a:lnTo>
                    <a:pt x="479" y="562"/>
                  </a:lnTo>
                  <a:lnTo>
                    <a:pt x="478" y="562"/>
                  </a:lnTo>
                  <a:lnTo>
                    <a:pt x="478" y="563"/>
                  </a:lnTo>
                  <a:lnTo>
                    <a:pt x="479" y="564"/>
                  </a:lnTo>
                  <a:lnTo>
                    <a:pt x="479" y="565"/>
                  </a:lnTo>
                  <a:lnTo>
                    <a:pt x="478" y="565"/>
                  </a:lnTo>
                  <a:lnTo>
                    <a:pt x="478" y="564"/>
                  </a:lnTo>
                  <a:lnTo>
                    <a:pt x="477" y="564"/>
                  </a:lnTo>
                  <a:lnTo>
                    <a:pt x="478" y="565"/>
                  </a:lnTo>
                  <a:lnTo>
                    <a:pt x="477" y="567"/>
                  </a:lnTo>
                  <a:lnTo>
                    <a:pt x="477" y="564"/>
                  </a:lnTo>
                  <a:lnTo>
                    <a:pt x="475" y="563"/>
                  </a:lnTo>
                  <a:lnTo>
                    <a:pt x="475" y="562"/>
                  </a:lnTo>
                  <a:lnTo>
                    <a:pt x="475" y="561"/>
                  </a:lnTo>
                  <a:lnTo>
                    <a:pt x="475" y="559"/>
                  </a:lnTo>
                  <a:lnTo>
                    <a:pt x="474" y="558"/>
                  </a:lnTo>
                  <a:lnTo>
                    <a:pt x="475" y="559"/>
                  </a:lnTo>
                  <a:lnTo>
                    <a:pt x="475" y="561"/>
                  </a:lnTo>
                  <a:lnTo>
                    <a:pt x="474" y="561"/>
                  </a:lnTo>
                  <a:lnTo>
                    <a:pt x="474" y="563"/>
                  </a:lnTo>
                  <a:lnTo>
                    <a:pt x="474" y="564"/>
                  </a:lnTo>
                  <a:lnTo>
                    <a:pt x="474" y="565"/>
                  </a:lnTo>
                  <a:lnTo>
                    <a:pt x="473" y="565"/>
                  </a:lnTo>
                  <a:lnTo>
                    <a:pt x="473" y="564"/>
                  </a:lnTo>
                  <a:lnTo>
                    <a:pt x="473" y="563"/>
                  </a:lnTo>
                  <a:lnTo>
                    <a:pt x="473" y="562"/>
                  </a:lnTo>
                  <a:lnTo>
                    <a:pt x="473" y="561"/>
                  </a:lnTo>
                  <a:lnTo>
                    <a:pt x="472" y="559"/>
                  </a:lnTo>
                  <a:lnTo>
                    <a:pt x="472" y="558"/>
                  </a:lnTo>
                  <a:lnTo>
                    <a:pt x="472" y="557"/>
                  </a:lnTo>
                  <a:lnTo>
                    <a:pt x="472" y="556"/>
                  </a:lnTo>
                  <a:lnTo>
                    <a:pt x="471" y="554"/>
                  </a:lnTo>
                  <a:lnTo>
                    <a:pt x="469" y="553"/>
                  </a:lnTo>
                  <a:lnTo>
                    <a:pt x="469" y="552"/>
                  </a:lnTo>
                  <a:lnTo>
                    <a:pt x="468" y="552"/>
                  </a:lnTo>
                  <a:lnTo>
                    <a:pt x="469" y="553"/>
                  </a:lnTo>
                  <a:lnTo>
                    <a:pt x="469" y="554"/>
                  </a:lnTo>
                  <a:lnTo>
                    <a:pt x="471" y="556"/>
                  </a:lnTo>
                  <a:lnTo>
                    <a:pt x="471" y="557"/>
                  </a:lnTo>
                  <a:lnTo>
                    <a:pt x="469" y="557"/>
                  </a:lnTo>
                  <a:lnTo>
                    <a:pt x="471" y="558"/>
                  </a:lnTo>
                  <a:lnTo>
                    <a:pt x="469" y="558"/>
                  </a:lnTo>
                  <a:lnTo>
                    <a:pt x="471" y="559"/>
                  </a:lnTo>
                  <a:lnTo>
                    <a:pt x="472" y="561"/>
                  </a:lnTo>
                  <a:lnTo>
                    <a:pt x="473" y="561"/>
                  </a:lnTo>
                  <a:lnTo>
                    <a:pt x="473" y="562"/>
                  </a:lnTo>
                  <a:lnTo>
                    <a:pt x="473" y="563"/>
                  </a:lnTo>
                  <a:lnTo>
                    <a:pt x="472" y="563"/>
                  </a:lnTo>
                  <a:lnTo>
                    <a:pt x="471" y="563"/>
                  </a:lnTo>
                  <a:lnTo>
                    <a:pt x="472" y="562"/>
                  </a:lnTo>
                  <a:lnTo>
                    <a:pt x="471" y="561"/>
                  </a:lnTo>
                  <a:lnTo>
                    <a:pt x="469" y="561"/>
                  </a:lnTo>
                  <a:lnTo>
                    <a:pt x="468" y="561"/>
                  </a:lnTo>
                  <a:lnTo>
                    <a:pt x="468" y="562"/>
                  </a:lnTo>
                  <a:lnTo>
                    <a:pt x="469" y="562"/>
                  </a:lnTo>
                  <a:lnTo>
                    <a:pt x="469" y="563"/>
                  </a:lnTo>
                  <a:lnTo>
                    <a:pt x="469" y="564"/>
                  </a:lnTo>
                  <a:lnTo>
                    <a:pt x="468" y="563"/>
                  </a:lnTo>
                  <a:lnTo>
                    <a:pt x="468" y="564"/>
                  </a:lnTo>
                  <a:lnTo>
                    <a:pt x="469" y="567"/>
                  </a:lnTo>
                  <a:lnTo>
                    <a:pt x="468" y="567"/>
                  </a:lnTo>
                  <a:lnTo>
                    <a:pt x="467" y="567"/>
                  </a:lnTo>
                  <a:lnTo>
                    <a:pt x="467" y="569"/>
                  </a:lnTo>
                  <a:lnTo>
                    <a:pt x="468" y="570"/>
                  </a:lnTo>
                  <a:lnTo>
                    <a:pt x="468" y="573"/>
                  </a:lnTo>
                  <a:lnTo>
                    <a:pt x="468" y="575"/>
                  </a:lnTo>
                  <a:lnTo>
                    <a:pt x="467" y="574"/>
                  </a:lnTo>
                  <a:lnTo>
                    <a:pt x="467" y="573"/>
                  </a:lnTo>
                  <a:lnTo>
                    <a:pt x="467" y="570"/>
                  </a:lnTo>
                  <a:lnTo>
                    <a:pt x="466" y="569"/>
                  </a:lnTo>
                  <a:lnTo>
                    <a:pt x="465" y="570"/>
                  </a:lnTo>
                  <a:lnTo>
                    <a:pt x="463" y="570"/>
                  </a:lnTo>
                  <a:lnTo>
                    <a:pt x="465" y="571"/>
                  </a:lnTo>
                  <a:lnTo>
                    <a:pt x="466" y="573"/>
                  </a:lnTo>
                  <a:lnTo>
                    <a:pt x="465" y="573"/>
                  </a:lnTo>
                  <a:lnTo>
                    <a:pt x="463" y="573"/>
                  </a:lnTo>
                  <a:lnTo>
                    <a:pt x="463" y="574"/>
                  </a:lnTo>
                  <a:lnTo>
                    <a:pt x="463" y="576"/>
                  </a:lnTo>
                  <a:lnTo>
                    <a:pt x="462" y="575"/>
                  </a:lnTo>
                  <a:lnTo>
                    <a:pt x="463" y="573"/>
                  </a:lnTo>
                  <a:lnTo>
                    <a:pt x="462" y="571"/>
                  </a:lnTo>
                  <a:lnTo>
                    <a:pt x="461" y="570"/>
                  </a:lnTo>
                  <a:lnTo>
                    <a:pt x="461" y="569"/>
                  </a:lnTo>
                  <a:lnTo>
                    <a:pt x="461" y="567"/>
                  </a:lnTo>
                  <a:lnTo>
                    <a:pt x="460" y="564"/>
                  </a:lnTo>
                  <a:lnTo>
                    <a:pt x="460" y="563"/>
                  </a:lnTo>
                  <a:lnTo>
                    <a:pt x="460" y="561"/>
                  </a:lnTo>
                  <a:lnTo>
                    <a:pt x="459" y="561"/>
                  </a:lnTo>
                  <a:lnTo>
                    <a:pt x="457" y="562"/>
                  </a:lnTo>
                  <a:lnTo>
                    <a:pt x="456" y="563"/>
                  </a:lnTo>
                  <a:lnTo>
                    <a:pt x="456" y="567"/>
                  </a:lnTo>
                  <a:lnTo>
                    <a:pt x="456" y="569"/>
                  </a:lnTo>
                  <a:lnTo>
                    <a:pt x="456" y="570"/>
                  </a:lnTo>
                  <a:lnTo>
                    <a:pt x="457" y="573"/>
                  </a:lnTo>
                  <a:lnTo>
                    <a:pt x="459" y="574"/>
                  </a:lnTo>
                  <a:lnTo>
                    <a:pt x="459" y="575"/>
                  </a:lnTo>
                  <a:lnTo>
                    <a:pt x="457" y="574"/>
                  </a:lnTo>
                  <a:lnTo>
                    <a:pt x="456" y="573"/>
                  </a:lnTo>
                  <a:lnTo>
                    <a:pt x="456" y="570"/>
                  </a:lnTo>
                  <a:lnTo>
                    <a:pt x="455" y="568"/>
                  </a:lnTo>
                  <a:lnTo>
                    <a:pt x="455" y="567"/>
                  </a:lnTo>
                  <a:lnTo>
                    <a:pt x="454" y="565"/>
                  </a:lnTo>
                  <a:lnTo>
                    <a:pt x="454" y="568"/>
                  </a:lnTo>
                  <a:lnTo>
                    <a:pt x="452" y="568"/>
                  </a:lnTo>
                  <a:lnTo>
                    <a:pt x="451" y="568"/>
                  </a:lnTo>
                  <a:lnTo>
                    <a:pt x="451" y="569"/>
                  </a:lnTo>
                  <a:lnTo>
                    <a:pt x="452" y="571"/>
                  </a:lnTo>
                  <a:lnTo>
                    <a:pt x="454" y="575"/>
                  </a:lnTo>
                  <a:lnTo>
                    <a:pt x="454" y="576"/>
                  </a:lnTo>
                  <a:lnTo>
                    <a:pt x="452" y="579"/>
                  </a:lnTo>
                  <a:lnTo>
                    <a:pt x="451" y="577"/>
                  </a:lnTo>
                  <a:lnTo>
                    <a:pt x="451" y="576"/>
                  </a:lnTo>
                  <a:lnTo>
                    <a:pt x="451" y="575"/>
                  </a:lnTo>
                  <a:lnTo>
                    <a:pt x="451" y="577"/>
                  </a:lnTo>
                  <a:lnTo>
                    <a:pt x="450" y="577"/>
                  </a:lnTo>
                  <a:lnTo>
                    <a:pt x="449" y="576"/>
                  </a:lnTo>
                  <a:lnTo>
                    <a:pt x="449" y="574"/>
                  </a:lnTo>
                  <a:lnTo>
                    <a:pt x="449" y="573"/>
                  </a:lnTo>
                  <a:lnTo>
                    <a:pt x="450" y="568"/>
                  </a:lnTo>
                  <a:lnTo>
                    <a:pt x="450" y="567"/>
                  </a:lnTo>
                  <a:lnTo>
                    <a:pt x="449" y="565"/>
                  </a:lnTo>
                  <a:lnTo>
                    <a:pt x="450" y="563"/>
                  </a:lnTo>
                  <a:lnTo>
                    <a:pt x="450" y="561"/>
                  </a:lnTo>
                  <a:lnTo>
                    <a:pt x="449" y="558"/>
                  </a:lnTo>
                  <a:lnTo>
                    <a:pt x="448" y="557"/>
                  </a:lnTo>
                  <a:lnTo>
                    <a:pt x="446" y="554"/>
                  </a:lnTo>
                  <a:lnTo>
                    <a:pt x="446" y="557"/>
                  </a:lnTo>
                  <a:lnTo>
                    <a:pt x="445" y="559"/>
                  </a:lnTo>
                  <a:lnTo>
                    <a:pt x="444" y="558"/>
                  </a:lnTo>
                  <a:lnTo>
                    <a:pt x="443" y="558"/>
                  </a:lnTo>
                  <a:lnTo>
                    <a:pt x="443" y="561"/>
                  </a:lnTo>
                  <a:lnTo>
                    <a:pt x="442" y="563"/>
                  </a:lnTo>
                  <a:lnTo>
                    <a:pt x="440" y="562"/>
                  </a:lnTo>
                  <a:lnTo>
                    <a:pt x="440" y="559"/>
                  </a:lnTo>
                  <a:lnTo>
                    <a:pt x="440" y="554"/>
                  </a:lnTo>
                  <a:lnTo>
                    <a:pt x="440" y="551"/>
                  </a:lnTo>
                  <a:lnTo>
                    <a:pt x="439" y="550"/>
                  </a:lnTo>
                  <a:lnTo>
                    <a:pt x="439" y="556"/>
                  </a:lnTo>
                  <a:lnTo>
                    <a:pt x="438" y="556"/>
                  </a:lnTo>
                  <a:lnTo>
                    <a:pt x="437" y="553"/>
                  </a:lnTo>
                  <a:lnTo>
                    <a:pt x="436" y="553"/>
                  </a:lnTo>
                  <a:lnTo>
                    <a:pt x="437" y="551"/>
                  </a:lnTo>
                  <a:lnTo>
                    <a:pt x="436" y="548"/>
                  </a:lnTo>
                  <a:lnTo>
                    <a:pt x="436" y="547"/>
                  </a:lnTo>
                  <a:lnTo>
                    <a:pt x="434" y="551"/>
                  </a:lnTo>
                  <a:lnTo>
                    <a:pt x="434" y="553"/>
                  </a:lnTo>
                  <a:lnTo>
                    <a:pt x="433" y="550"/>
                  </a:lnTo>
                  <a:lnTo>
                    <a:pt x="432" y="547"/>
                  </a:lnTo>
                  <a:lnTo>
                    <a:pt x="432" y="545"/>
                  </a:lnTo>
                  <a:lnTo>
                    <a:pt x="432" y="544"/>
                  </a:lnTo>
                  <a:lnTo>
                    <a:pt x="431" y="541"/>
                  </a:lnTo>
                  <a:lnTo>
                    <a:pt x="428" y="541"/>
                  </a:lnTo>
                  <a:lnTo>
                    <a:pt x="427" y="542"/>
                  </a:lnTo>
                  <a:lnTo>
                    <a:pt x="427" y="544"/>
                  </a:lnTo>
                  <a:lnTo>
                    <a:pt x="428" y="544"/>
                  </a:lnTo>
                  <a:lnTo>
                    <a:pt x="430" y="545"/>
                  </a:lnTo>
                  <a:lnTo>
                    <a:pt x="431" y="546"/>
                  </a:lnTo>
                  <a:lnTo>
                    <a:pt x="432" y="547"/>
                  </a:lnTo>
                  <a:lnTo>
                    <a:pt x="432" y="548"/>
                  </a:lnTo>
                  <a:lnTo>
                    <a:pt x="432" y="550"/>
                  </a:lnTo>
                  <a:lnTo>
                    <a:pt x="432" y="552"/>
                  </a:lnTo>
                  <a:lnTo>
                    <a:pt x="432" y="553"/>
                  </a:lnTo>
                  <a:lnTo>
                    <a:pt x="428" y="554"/>
                  </a:lnTo>
                  <a:lnTo>
                    <a:pt x="428" y="553"/>
                  </a:lnTo>
                  <a:lnTo>
                    <a:pt x="428" y="554"/>
                  </a:lnTo>
                  <a:lnTo>
                    <a:pt x="428" y="557"/>
                  </a:lnTo>
                  <a:lnTo>
                    <a:pt x="428" y="558"/>
                  </a:lnTo>
                  <a:lnTo>
                    <a:pt x="431" y="558"/>
                  </a:lnTo>
                  <a:lnTo>
                    <a:pt x="432" y="558"/>
                  </a:lnTo>
                  <a:lnTo>
                    <a:pt x="433" y="557"/>
                  </a:lnTo>
                  <a:lnTo>
                    <a:pt x="434" y="557"/>
                  </a:lnTo>
                  <a:lnTo>
                    <a:pt x="434" y="559"/>
                  </a:lnTo>
                  <a:lnTo>
                    <a:pt x="436" y="559"/>
                  </a:lnTo>
                  <a:lnTo>
                    <a:pt x="438" y="561"/>
                  </a:lnTo>
                  <a:lnTo>
                    <a:pt x="439" y="562"/>
                  </a:lnTo>
                  <a:lnTo>
                    <a:pt x="437" y="562"/>
                  </a:lnTo>
                  <a:lnTo>
                    <a:pt x="436" y="562"/>
                  </a:lnTo>
                  <a:lnTo>
                    <a:pt x="434" y="563"/>
                  </a:lnTo>
                  <a:lnTo>
                    <a:pt x="433" y="563"/>
                  </a:lnTo>
                  <a:lnTo>
                    <a:pt x="433" y="567"/>
                  </a:lnTo>
                  <a:lnTo>
                    <a:pt x="434" y="569"/>
                  </a:lnTo>
                  <a:lnTo>
                    <a:pt x="434" y="571"/>
                  </a:lnTo>
                  <a:lnTo>
                    <a:pt x="436" y="573"/>
                  </a:lnTo>
                  <a:lnTo>
                    <a:pt x="436" y="575"/>
                  </a:lnTo>
                  <a:lnTo>
                    <a:pt x="439" y="576"/>
                  </a:lnTo>
                  <a:lnTo>
                    <a:pt x="440" y="577"/>
                  </a:lnTo>
                  <a:lnTo>
                    <a:pt x="443" y="577"/>
                  </a:lnTo>
                  <a:lnTo>
                    <a:pt x="445" y="577"/>
                  </a:lnTo>
                  <a:lnTo>
                    <a:pt x="446" y="579"/>
                  </a:lnTo>
                  <a:lnTo>
                    <a:pt x="449" y="579"/>
                  </a:lnTo>
                  <a:lnTo>
                    <a:pt x="454" y="580"/>
                  </a:lnTo>
                  <a:lnTo>
                    <a:pt x="459" y="580"/>
                  </a:lnTo>
                  <a:lnTo>
                    <a:pt x="461" y="581"/>
                  </a:lnTo>
                  <a:lnTo>
                    <a:pt x="465" y="582"/>
                  </a:lnTo>
                  <a:lnTo>
                    <a:pt x="471" y="583"/>
                  </a:lnTo>
                  <a:lnTo>
                    <a:pt x="474" y="583"/>
                  </a:lnTo>
                  <a:lnTo>
                    <a:pt x="474" y="585"/>
                  </a:lnTo>
                  <a:lnTo>
                    <a:pt x="472" y="585"/>
                  </a:lnTo>
                  <a:lnTo>
                    <a:pt x="468" y="585"/>
                  </a:lnTo>
                  <a:lnTo>
                    <a:pt x="469" y="585"/>
                  </a:lnTo>
                  <a:lnTo>
                    <a:pt x="469" y="586"/>
                  </a:lnTo>
                  <a:lnTo>
                    <a:pt x="469" y="587"/>
                  </a:lnTo>
                  <a:lnTo>
                    <a:pt x="468" y="586"/>
                  </a:lnTo>
                  <a:lnTo>
                    <a:pt x="467" y="585"/>
                  </a:lnTo>
                  <a:lnTo>
                    <a:pt x="466" y="583"/>
                  </a:lnTo>
                  <a:lnTo>
                    <a:pt x="465" y="583"/>
                  </a:lnTo>
                  <a:lnTo>
                    <a:pt x="466" y="586"/>
                  </a:lnTo>
                  <a:lnTo>
                    <a:pt x="467" y="587"/>
                  </a:lnTo>
                  <a:lnTo>
                    <a:pt x="466" y="587"/>
                  </a:lnTo>
                  <a:lnTo>
                    <a:pt x="463" y="587"/>
                  </a:lnTo>
                  <a:lnTo>
                    <a:pt x="462" y="586"/>
                  </a:lnTo>
                  <a:lnTo>
                    <a:pt x="461" y="586"/>
                  </a:lnTo>
                  <a:lnTo>
                    <a:pt x="462" y="587"/>
                  </a:lnTo>
                  <a:lnTo>
                    <a:pt x="461" y="587"/>
                  </a:lnTo>
                  <a:lnTo>
                    <a:pt x="459" y="587"/>
                  </a:lnTo>
                  <a:lnTo>
                    <a:pt x="457" y="587"/>
                  </a:lnTo>
                  <a:lnTo>
                    <a:pt x="456" y="587"/>
                  </a:lnTo>
                  <a:lnTo>
                    <a:pt x="456" y="588"/>
                  </a:lnTo>
                  <a:lnTo>
                    <a:pt x="459" y="588"/>
                  </a:lnTo>
                  <a:lnTo>
                    <a:pt x="461" y="588"/>
                  </a:lnTo>
                  <a:lnTo>
                    <a:pt x="465" y="588"/>
                  </a:lnTo>
                  <a:lnTo>
                    <a:pt x="466" y="589"/>
                  </a:lnTo>
                  <a:lnTo>
                    <a:pt x="469" y="589"/>
                  </a:lnTo>
                  <a:lnTo>
                    <a:pt x="471" y="591"/>
                  </a:lnTo>
                  <a:lnTo>
                    <a:pt x="473" y="591"/>
                  </a:lnTo>
                  <a:lnTo>
                    <a:pt x="475" y="589"/>
                  </a:lnTo>
                  <a:lnTo>
                    <a:pt x="478" y="589"/>
                  </a:lnTo>
                  <a:lnTo>
                    <a:pt x="477" y="591"/>
                  </a:lnTo>
                  <a:lnTo>
                    <a:pt x="478" y="591"/>
                  </a:lnTo>
                  <a:lnTo>
                    <a:pt x="478" y="592"/>
                  </a:lnTo>
                  <a:lnTo>
                    <a:pt x="475" y="592"/>
                  </a:lnTo>
                  <a:lnTo>
                    <a:pt x="478" y="593"/>
                  </a:lnTo>
                  <a:lnTo>
                    <a:pt x="479" y="594"/>
                  </a:lnTo>
                  <a:lnTo>
                    <a:pt x="481" y="593"/>
                  </a:lnTo>
                  <a:lnTo>
                    <a:pt x="484" y="593"/>
                  </a:lnTo>
                  <a:lnTo>
                    <a:pt x="487" y="592"/>
                  </a:lnTo>
                  <a:lnTo>
                    <a:pt x="490" y="591"/>
                  </a:lnTo>
                  <a:lnTo>
                    <a:pt x="493" y="592"/>
                  </a:lnTo>
                  <a:lnTo>
                    <a:pt x="492" y="592"/>
                  </a:lnTo>
                  <a:lnTo>
                    <a:pt x="493" y="592"/>
                  </a:lnTo>
                  <a:lnTo>
                    <a:pt x="496" y="591"/>
                  </a:lnTo>
                  <a:lnTo>
                    <a:pt x="499" y="589"/>
                  </a:lnTo>
                  <a:lnTo>
                    <a:pt x="502" y="588"/>
                  </a:lnTo>
                  <a:lnTo>
                    <a:pt x="503" y="588"/>
                  </a:lnTo>
                  <a:lnTo>
                    <a:pt x="504" y="587"/>
                  </a:lnTo>
                  <a:lnTo>
                    <a:pt x="504" y="588"/>
                  </a:lnTo>
                  <a:lnTo>
                    <a:pt x="503" y="589"/>
                  </a:lnTo>
                  <a:lnTo>
                    <a:pt x="505" y="588"/>
                  </a:lnTo>
                  <a:lnTo>
                    <a:pt x="507" y="588"/>
                  </a:lnTo>
                  <a:lnTo>
                    <a:pt x="507" y="587"/>
                  </a:lnTo>
                  <a:lnTo>
                    <a:pt x="509" y="587"/>
                  </a:lnTo>
                  <a:lnTo>
                    <a:pt x="510" y="587"/>
                  </a:lnTo>
                  <a:lnTo>
                    <a:pt x="511" y="587"/>
                  </a:lnTo>
                  <a:lnTo>
                    <a:pt x="513" y="586"/>
                  </a:lnTo>
                  <a:lnTo>
                    <a:pt x="515" y="586"/>
                  </a:lnTo>
                  <a:lnTo>
                    <a:pt x="516" y="586"/>
                  </a:lnTo>
                  <a:lnTo>
                    <a:pt x="518" y="585"/>
                  </a:lnTo>
                  <a:lnTo>
                    <a:pt x="516" y="583"/>
                  </a:lnTo>
                  <a:lnTo>
                    <a:pt x="519" y="583"/>
                  </a:lnTo>
                  <a:lnTo>
                    <a:pt x="519" y="585"/>
                  </a:lnTo>
                  <a:lnTo>
                    <a:pt x="520" y="585"/>
                  </a:lnTo>
                  <a:lnTo>
                    <a:pt x="521" y="585"/>
                  </a:lnTo>
                  <a:lnTo>
                    <a:pt x="521" y="582"/>
                  </a:lnTo>
                  <a:lnTo>
                    <a:pt x="522" y="581"/>
                  </a:lnTo>
                  <a:lnTo>
                    <a:pt x="524" y="582"/>
                  </a:lnTo>
                  <a:lnTo>
                    <a:pt x="524" y="583"/>
                  </a:lnTo>
                  <a:lnTo>
                    <a:pt x="525" y="583"/>
                  </a:lnTo>
                  <a:lnTo>
                    <a:pt x="526" y="583"/>
                  </a:lnTo>
                  <a:lnTo>
                    <a:pt x="527" y="583"/>
                  </a:lnTo>
                  <a:lnTo>
                    <a:pt x="528" y="582"/>
                  </a:lnTo>
                  <a:lnTo>
                    <a:pt x="530" y="583"/>
                  </a:lnTo>
                  <a:lnTo>
                    <a:pt x="531" y="582"/>
                  </a:lnTo>
                  <a:lnTo>
                    <a:pt x="532" y="582"/>
                  </a:lnTo>
                  <a:lnTo>
                    <a:pt x="533" y="581"/>
                  </a:lnTo>
                  <a:lnTo>
                    <a:pt x="534" y="581"/>
                  </a:lnTo>
                  <a:lnTo>
                    <a:pt x="539" y="579"/>
                  </a:lnTo>
                  <a:lnTo>
                    <a:pt x="538" y="581"/>
                  </a:lnTo>
                  <a:lnTo>
                    <a:pt x="538" y="582"/>
                  </a:lnTo>
                  <a:lnTo>
                    <a:pt x="539" y="581"/>
                  </a:lnTo>
                  <a:lnTo>
                    <a:pt x="542" y="580"/>
                  </a:lnTo>
                  <a:lnTo>
                    <a:pt x="540" y="582"/>
                  </a:lnTo>
                  <a:lnTo>
                    <a:pt x="539" y="582"/>
                  </a:lnTo>
                  <a:lnTo>
                    <a:pt x="542" y="582"/>
                  </a:lnTo>
                  <a:lnTo>
                    <a:pt x="543" y="583"/>
                  </a:lnTo>
                  <a:lnTo>
                    <a:pt x="540" y="583"/>
                  </a:lnTo>
                  <a:lnTo>
                    <a:pt x="539" y="583"/>
                  </a:lnTo>
                  <a:lnTo>
                    <a:pt x="537" y="583"/>
                  </a:lnTo>
                  <a:lnTo>
                    <a:pt x="537" y="586"/>
                  </a:lnTo>
                  <a:lnTo>
                    <a:pt x="537" y="587"/>
                  </a:lnTo>
                  <a:lnTo>
                    <a:pt x="536" y="586"/>
                  </a:lnTo>
                  <a:lnTo>
                    <a:pt x="534" y="585"/>
                  </a:lnTo>
                  <a:lnTo>
                    <a:pt x="533" y="583"/>
                  </a:lnTo>
                  <a:lnTo>
                    <a:pt x="532" y="583"/>
                  </a:lnTo>
                  <a:lnTo>
                    <a:pt x="532" y="586"/>
                  </a:lnTo>
                  <a:lnTo>
                    <a:pt x="532" y="585"/>
                  </a:lnTo>
                  <a:lnTo>
                    <a:pt x="531" y="585"/>
                  </a:lnTo>
                  <a:lnTo>
                    <a:pt x="530" y="585"/>
                  </a:lnTo>
                  <a:lnTo>
                    <a:pt x="530" y="586"/>
                  </a:lnTo>
                  <a:lnTo>
                    <a:pt x="531" y="587"/>
                  </a:lnTo>
                  <a:lnTo>
                    <a:pt x="532" y="588"/>
                  </a:lnTo>
                  <a:lnTo>
                    <a:pt x="532" y="591"/>
                  </a:lnTo>
                  <a:lnTo>
                    <a:pt x="532" y="593"/>
                  </a:lnTo>
                  <a:lnTo>
                    <a:pt x="530" y="597"/>
                  </a:lnTo>
                  <a:lnTo>
                    <a:pt x="528" y="597"/>
                  </a:lnTo>
                  <a:lnTo>
                    <a:pt x="528" y="595"/>
                  </a:lnTo>
                  <a:lnTo>
                    <a:pt x="528" y="593"/>
                  </a:lnTo>
                  <a:lnTo>
                    <a:pt x="528" y="592"/>
                  </a:lnTo>
                  <a:lnTo>
                    <a:pt x="528" y="593"/>
                  </a:lnTo>
                  <a:lnTo>
                    <a:pt x="527" y="594"/>
                  </a:lnTo>
                  <a:lnTo>
                    <a:pt x="527" y="597"/>
                  </a:lnTo>
                  <a:lnTo>
                    <a:pt x="528" y="598"/>
                  </a:lnTo>
                  <a:lnTo>
                    <a:pt x="527" y="598"/>
                  </a:lnTo>
                  <a:lnTo>
                    <a:pt x="525" y="599"/>
                  </a:lnTo>
                  <a:lnTo>
                    <a:pt x="525" y="601"/>
                  </a:lnTo>
                  <a:lnTo>
                    <a:pt x="522" y="603"/>
                  </a:lnTo>
                  <a:lnTo>
                    <a:pt x="524" y="604"/>
                  </a:lnTo>
                  <a:lnTo>
                    <a:pt x="525" y="601"/>
                  </a:lnTo>
                  <a:lnTo>
                    <a:pt x="527" y="601"/>
                  </a:lnTo>
                  <a:lnTo>
                    <a:pt x="530" y="601"/>
                  </a:lnTo>
                  <a:lnTo>
                    <a:pt x="531" y="603"/>
                  </a:lnTo>
                  <a:lnTo>
                    <a:pt x="532" y="603"/>
                  </a:lnTo>
                  <a:lnTo>
                    <a:pt x="533" y="601"/>
                  </a:lnTo>
                  <a:lnTo>
                    <a:pt x="537" y="603"/>
                  </a:lnTo>
                  <a:lnTo>
                    <a:pt x="538" y="604"/>
                  </a:lnTo>
                  <a:lnTo>
                    <a:pt x="537" y="604"/>
                  </a:lnTo>
                  <a:lnTo>
                    <a:pt x="534" y="604"/>
                  </a:lnTo>
                  <a:lnTo>
                    <a:pt x="533" y="604"/>
                  </a:lnTo>
                  <a:lnTo>
                    <a:pt x="532" y="604"/>
                  </a:lnTo>
                  <a:lnTo>
                    <a:pt x="531" y="604"/>
                  </a:lnTo>
                  <a:lnTo>
                    <a:pt x="530" y="603"/>
                  </a:lnTo>
                  <a:lnTo>
                    <a:pt x="528" y="603"/>
                  </a:lnTo>
                  <a:lnTo>
                    <a:pt x="528" y="604"/>
                  </a:lnTo>
                  <a:lnTo>
                    <a:pt x="531" y="605"/>
                  </a:lnTo>
                  <a:lnTo>
                    <a:pt x="532" y="606"/>
                  </a:lnTo>
                  <a:lnTo>
                    <a:pt x="531" y="606"/>
                  </a:lnTo>
                  <a:lnTo>
                    <a:pt x="530" y="606"/>
                  </a:lnTo>
                  <a:lnTo>
                    <a:pt x="528" y="606"/>
                  </a:lnTo>
                  <a:lnTo>
                    <a:pt x="528" y="605"/>
                  </a:lnTo>
                  <a:lnTo>
                    <a:pt x="527" y="605"/>
                  </a:lnTo>
                  <a:lnTo>
                    <a:pt x="526" y="604"/>
                  </a:lnTo>
                  <a:lnTo>
                    <a:pt x="526" y="605"/>
                  </a:lnTo>
                  <a:lnTo>
                    <a:pt x="526" y="606"/>
                  </a:lnTo>
                  <a:lnTo>
                    <a:pt x="527" y="606"/>
                  </a:lnTo>
                  <a:lnTo>
                    <a:pt x="526" y="607"/>
                  </a:lnTo>
                  <a:lnTo>
                    <a:pt x="527" y="609"/>
                  </a:lnTo>
                  <a:lnTo>
                    <a:pt x="528" y="607"/>
                  </a:lnTo>
                  <a:lnTo>
                    <a:pt x="530" y="607"/>
                  </a:lnTo>
                  <a:lnTo>
                    <a:pt x="532" y="607"/>
                  </a:lnTo>
                  <a:lnTo>
                    <a:pt x="534" y="606"/>
                  </a:lnTo>
                  <a:lnTo>
                    <a:pt x="536" y="606"/>
                  </a:lnTo>
                  <a:lnTo>
                    <a:pt x="539" y="606"/>
                  </a:lnTo>
                  <a:lnTo>
                    <a:pt x="540" y="606"/>
                  </a:lnTo>
                  <a:lnTo>
                    <a:pt x="540" y="607"/>
                  </a:lnTo>
                  <a:lnTo>
                    <a:pt x="539" y="607"/>
                  </a:lnTo>
                  <a:lnTo>
                    <a:pt x="539" y="609"/>
                  </a:lnTo>
                  <a:lnTo>
                    <a:pt x="542" y="607"/>
                  </a:lnTo>
                  <a:lnTo>
                    <a:pt x="543" y="609"/>
                  </a:lnTo>
                  <a:lnTo>
                    <a:pt x="540" y="610"/>
                  </a:lnTo>
                  <a:lnTo>
                    <a:pt x="539" y="609"/>
                  </a:lnTo>
                  <a:lnTo>
                    <a:pt x="538" y="609"/>
                  </a:lnTo>
                  <a:lnTo>
                    <a:pt x="537" y="610"/>
                  </a:lnTo>
                  <a:lnTo>
                    <a:pt x="538" y="611"/>
                  </a:lnTo>
                  <a:lnTo>
                    <a:pt x="539" y="611"/>
                  </a:lnTo>
                  <a:lnTo>
                    <a:pt x="543" y="611"/>
                  </a:lnTo>
                  <a:lnTo>
                    <a:pt x="545" y="610"/>
                  </a:lnTo>
                  <a:lnTo>
                    <a:pt x="549" y="607"/>
                  </a:lnTo>
                  <a:lnTo>
                    <a:pt x="551" y="606"/>
                  </a:lnTo>
                  <a:lnTo>
                    <a:pt x="551" y="607"/>
                  </a:lnTo>
                  <a:lnTo>
                    <a:pt x="550" y="609"/>
                  </a:lnTo>
                  <a:lnTo>
                    <a:pt x="551" y="609"/>
                  </a:lnTo>
                  <a:lnTo>
                    <a:pt x="554" y="609"/>
                  </a:lnTo>
                  <a:lnTo>
                    <a:pt x="555" y="607"/>
                  </a:lnTo>
                  <a:lnTo>
                    <a:pt x="556" y="607"/>
                  </a:lnTo>
                  <a:lnTo>
                    <a:pt x="558" y="605"/>
                  </a:lnTo>
                  <a:lnTo>
                    <a:pt x="560" y="606"/>
                  </a:lnTo>
                  <a:lnTo>
                    <a:pt x="561" y="606"/>
                  </a:lnTo>
                  <a:lnTo>
                    <a:pt x="562" y="605"/>
                  </a:lnTo>
                  <a:lnTo>
                    <a:pt x="564" y="605"/>
                  </a:lnTo>
                  <a:lnTo>
                    <a:pt x="566" y="605"/>
                  </a:lnTo>
                  <a:lnTo>
                    <a:pt x="563" y="606"/>
                  </a:lnTo>
                  <a:lnTo>
                    <a:pt x="562" y="607"/>
                  </a:lnTo>
                  <a:lnTo>
                    <a:pt x="562" y="609"/>
                  </a:lnTo>
                  <a:lnTo>
                    <a:pt x="563" y="610"/>
                  </a:lnTo>
                  <a:lnTo>
                    <a:pt x="564" y="610"/>
                  </a:lnTo>
                  <a:lnTo>
                    <a:pt x="563" y="611"/>
                  </a:lnTo>
                  <a:lnTo>
                    <a:pt x="562" y="610"/>
                  </a:lnTo>
                  <a:lnTo>
                    <a:pt x="561" y="609"/>
                  </a:lnTo>
                  <a:lnTo>
                    <a:pt x="560" y="609"/>
                  </a:lnTo>
                  <a:lnTo>
                    <a:pt x="557" y="609"/>
                  </a:lnTo>
                  <a:lnTo>
                    <a:pt x="558" y="611"/>
                  </a:lnTo>
                  <a:lnTo>
                    <a:pt x="560" y="612"/>
                  </a:lnTo>
                  <a:lnTo>
                    <a:pt x="558" y="612"/>
                  </a:lnTo>
                  <a:lnTo>
                    <a:pt x="557" y="611"/>
                  </a:lnTo>
                  <a:lnTo>
                    <a:pt x="556" y="610"/>
                  </a:lnTo>
                  <a:lnTo>
                    <a:pt x="556" y="609"/>
                  </a:lnTo>
                  <a:lnTo>
                    <a:pt x="554" y="610"/>
                  </a:lnTo>
                  <a:lnTo>
                    <a:pt x="555" y="612"/>
                  </a:lnTo>
                  <a:lnTo>
                    <a:pt x="556" y="615"/>
                  </a:lnTo>
                  <a:lnTo>
                    <a:pt x="555" y="616"/>
                  </a:lnTo>
                  <a:lnTo>
                    <a:pt x="555" y="617"/>
                  </a:lnTo>
                  <a:lnTo>
                    <a:pt x="556" y="617"/>
                  </a:lnTo>
                  <a:lnTo>
                    <a:pt x="558" y="617"/>
                  </a:lnTo>
                  <a:lnTo>
                    <a:pt x="560" y="617"/>
                  </a:lnTo>
                  <a:lnTo>
                    <a:pt x="562" y="615"/>
                  </a:lnTo>
                  <a:lnTo>
                    <a:pt x="563" y="615"/>
                  </a:lnTo>
                  <a:lnTo>
                    <a:pt x="563" y="616"/>
                  </a:lnTo>
                  <a:lnTo>
                    <a:pt x="566" y="616"/>
                  </a:lnTo>
                  <a:lnTo>
                    <a:pt x="567" y="615"/>
                  </a:lnTo>
                  <a:lnTo>
                    <a:pt x="569" y="616"/>
                  </a:lnTo>
                  <a:lnTo>
                    <a:pt x="566" y="617"/>
                  </a:lnTo>
                  <a:lnTo>
                    <a:pt x="563" y="617"/>
                  </a:lnTo>
                  <a:lnTo>
                    <a:pt x="564" y="618"/>
                  </a:lnTo>
                  <a:lnTo>
                    <a:pt x="564" y="619"/>
                  </a:lnTo>
                  <a:lnTo>
                    <a:pt x="563" y="619"/>
                  </a:lnTo>
                  <a:lnTo>
                    <a:pt x="562" y="619"/>
                  </a:lnTo>
                  <a:lnTo>
                    <a:pt x="561" y="618"/>
                  </a:lnTo>
                  <a:lnTo>
                    <a:pt x="560" y="618"/>
                  </a:lnTo>
                  <a:lnTo>
                    <a:pt x="560" y="619"/>
                  </a:lnTo>
                  <a:lnTo>
                    <a:pt x="560" y="621"/>
                  </a:lnTo>
                  <a:lnTo>
                    <a:pt x="558" y="621"/>
                  </a:lnTo>
                  <a:lnTo>
                    <a:pt x="557" y="619"/>
                  </a:lnTo>
                  <a:lnTo>
                    <a:pt x="556" y="619"/>
                  </a:lnTo>
                  <a:lnTo>
                    <a:pt x="557" y="619"/>
                  </a:lnTo>
                  <a:lnTo>
                    <a:pt x="557" y="622"/>
                  </a:lnTo>
                  <a:lnTo>
                    <a:pt x="557" y="621"/>
                  </a:lnTo>
                  <a:lnTo>
                    <a:pt x="556" y="621"/>
                  </a:lnTo>
                  <a:lnTo>
                    <a:pt x="555" y="619"/>
                  </a:lnTo>
                  <a:lnTo>
                    <a:pt x="554" y="619"/>
                  </a:lnTo>
                  <a:lnTo>
                    <a:pt x="552" y="619"/>
                  </a:lnTo>
                  <a:lnTo>
                    <a:pt x="555" y="623"/>
                  </a:lnTo>
                  <a:lnTo>
                    <a:pt x="554" y="623"/>
                  </a:lnTo>
                  <a:lnTo>
                    <a:pt x="552" y="622"/>
                  </a:lnTo>
                  <a:lnTo>
                    <a:pt x="552" y="621"/>
                  </a:lnTo>
                  <a:lnTo>
                    <a:pt x="551" y="621"/>
                  </a:lnTo>
                  <a:lnTo>
                    <a:pt x="551" y="622"/>
                  </a:lnTo>
                  <a:lnTo>
                    <a:pt x="551" y="623"/>
                  </a:lnTo>
                  <a:lnTo>
                    <a:pt x="551" y="625"/>
                  </a:lnTo>
                  <a:lnTo>
                    <a:pt x="550" y="625"/>
                  </a:lnTo>
                  <a:lnTo>
                    <a:pt x="549" y="625"/>
                  </a:lnTo>
                  <a:lnTo>
                    <a:pt x="548" y="625"/>
                  </a:lnTo>
                  <a:lnTo>
                    <a:pt x="548" y="628"/>
                  </a:lnTo>
                  <a:lnTo>
                    <a:pt x="549" y="630"/>
                  </a:lnTo>
                  <a:lnTo>
                    <a:pt x="548" y="630"/>
                  </a:lnTo>
                  <a:lnTo>
                    <a:pt x="546" y="630"/>
                  </a:lnTo>
                  <a:lnTo>
                    <a:pt x="545" y="629"/>
                  </a:lnTo>
                  <a:lnTo>
                    <a:pt x="545" y="630"/>
                  </a:lnTo>
                  <a:lnTo>
                    <a:pt x="546" y="631"/>
                  </a:lnTo>
                  <a:lnTo>
                    <a:pt x="549" y="631"/>
                  </a:lnTo>
                  <a:lnTo>
                    <a:pt x="549" y="633"/>
                  </a:lnTo>
                  <a:lnTo>
                    <a:pt x="546" y="633"/>
                  </a:lnTo>
                  <a:lnTo>
                    <a:pt x="546" y="634"/>
                  </a:lnTo>
                  <a:lnTo>
                    <a:pt x="549" y="635"/>
                  </a:lnTo>
                  <a:lnTo>
                    <a:pt x="550" y="636"/>
                  </a:lnTo>
                  <a:lnTo>
                    <a:pt x="550" y="637"/>
                  </a:lnTo>
                  <a:lnTo>
                    <a:pt x="549" y="637"/>
                  </a:lnTo>
                  <a:lnTo>
                    <a:pt x="546" y="636"/>
                  </a:lnTo>
                  <a:lnTo>
                    <a:pt x="545" y="635"/>
                  </a:lnTo>
                  <a:lnTo>
                    <a:pt x="545" y="636"/>
                  </a:lnTo>
                  <a:lnTo>
                    <a:pt x="544" y="636"/>
                  </a:lnTo>
                  <a:lnTo>
                    <a:pt x="543" y="635"/>
                  </a:lnTo>
                  <a:lnTo>
                    <a:pt x="542" y="635"/>
                  </a:lnTo>
                  <a:lnTo>
                    <a:pt x="542" y="636"/>
                  </a:lnTo>
                  <a:lnTo>
                    <a:pt x="542" y="637"/>
                  </a:lnTo>
                  <a:lnTo>
                    <a:pt x="542" y="639"/>
                  </a:lnTo>
                  <a:lnTo>
                    <a:pt x="544" y="639"/>
                  </a:lnTo>
                  <a:lnTo>
                    <a:pt x="546" y="639"/>
                  </a:lnTo>
                  <a:lnTo>
                    <a:pt x="549" y="639"/>
                  </a:lnTo>
                  <a:lnTo>
                    <a:pt x="551" y="639"/>
                  </a:lnTo>
                  <a:lnTo>
                    <a:pt x="554" y="639"/>
                  </a:lnTo>
                  <a:lnTo>
                    <a:pt x="556" y="639"/>
                  </a:lnTo>
                  <a:lnTo>
                    <a:pt x="558" y="637"/>
                  </a:lnTo>
                  <a:lnTo>
                    <a:pt x="560" y="637"/>
                  </a:lnTo>
                  <a:lnTo>
                    <a:pt x="562" y="637"/>
                  </a:lnTo>
                  <a:lnTo>
                    <a:pt x="564" y="637"/>
                  </a:lnTo>
                  <a:lnTo>
                    <a:pt x="564" y="640"/>
                  </a:lnTo>
                  <a:lnTo>
                    <a:pt x="562" y="640"/>
                  </a:lnTo>
                  <a:lnTo>
                    <a:pt x="561" y="641"/>
                  </a:lnTo>
                  <a:lnTo>
                    <a:pt x="560" y="640"/>
                  </a:lnTo>
                  <a:lnTo>
                    <a:pt x="558" y="640"/>
                  </a:lnTo>
                  <a:lnTo>
                    <a:pt x="560" y="643"/>
                  </a:lnTo>
                  <a:lnTo>
                    <a:pt x="558" y="645"/>
                  </a:lnTo>
                  <a:lnTo>
                    <a:pt x="558" y="643"/>
                  </a:lnTo>
                  <a:lnTo>
                    <a:pt x="557" y="642"/>
                  </a:lnTo>
                  <a:lnTo>
                    <a:pt x="557" y="641"/>
                  </a:lnTo>
                  <a:lnTo>
                    <a:pt x="556" y="641"/>
                  </a:lnTo>
                  <a:lnTo>
                    <a:pt x="556" y="643"/>
                  </a:lnTo>
                  <a:lnTo>
                    <a:pt x="557" y="645"/>
                  </a:lnTo>
                  <a:lnTo>
                    <a:pt x="557" y="647"/>
                  </a:lnTo>
                  <a:lnTo>
                    <a:pt x="557" y="651"/>
                  </a:lnTo>
                  <a:lnTo>
                    <a:pt x="557" y="652"/>
                  </a:lnTo>
                  <a:lnTo>
                    <a:pt x="556" y="652"/>
                  </a:lnTo>
                  <a:lnTo>
                    <a:pt x="555" y="649"/>
                  </a:lnTo>
                  <a:lnTo>
                    <a:pt x="555" y="648"/>
                  </a:lnTo>
                  <a:lnTo>
                    <a:pt x="555" y="646"/>
                  </a:lnTo>
                  <a:lnTo>
                    <a:pt x="555" y="645"/>
                  </a:lnTo>
                  <a:lnTo>
                    <a:pt x="554" y="643"/>
                  </a:lnTo>
                  <a:lnTo>
                    <a:pt x="552" y="643"/>
                  </a:lnTo>
                  <a:lnTo>
                    <a:pt x="552" y="645"/>
                  </a:lnTo>
                  <a:lnTo>
                    <a:pt x="552" y="646"/>
                  </a:lnTo>
                  <a:lnTo>
                    <a:pt x="552" y="648"/>
                  </a:lnTo>
                  <a:lnTo>
                    <a:pt x="551" y="648"/>
                  </a:lnTo>
                  <a:lnTo>
                    <a:pt x="550" y="646"/>
                  </a:lnTo>
                  <a:lnTo>
                    <a:pt x="549" y="646"/>
                  </a:lnTo>
                  <a:lnTo>
                    <a:pt x="549" y="645"/>
                  </a:lnTo>
                  <a:lnTo>
                    <a:pt x="548" y="645"/>
                  </a:lnTo>
                  <a:lnTo>
                    <a:pt x="548" y="646"/>
                  </a:lnTo>
                  <a:lnTo>
                    <a:pt x="548" y="647"/>
                  </a:lnTo>
                  <a:lnTo>
                    <a:pt x="548" y="648"/>
                  </a:lnTo>
                  <a:lnTo>
                    <a:pt x="549" y="648"/>
                  </a:lnTo>
                  <a:lnTo>
                    <a:pt x="549" y="649"/>
                  </a:lnTo>
                  <a:lnTo>
                    <a:pt x="550" y="651"/>
                  </a:lnTo>
                  <a:lnTo>
                    <a:pt x="551" y="653"/>
                  </a:lnTo>
                  <a:lnTo>
                    <a:pt x="550" y="653"/>
                  </a:lnTo>
                  <a:lnTo>
                    <a:pt x="549" y="653"/>
                  </a:lnTo>
                  <a:lnTo>
                    <a:pt x="548" y="653"/>
                  </a:lnTo>
                  <a:lnTo>
                    <a:pt x="546" y="653"/>
                  </a:lnTo>
                  <a:lnTo>
                    <a:pt x="548" y="653"/>
                  </a:lnTo>
                  <a:lnTo>
                    <a:pt x="548" y="654"/>
                  </a:lnTo>
                  <a:lnTo>
                    <a:pt x="549" y="654"/>
                  </a:lnTo>
                  <a:lnTo>
                    <a:pt x="550" y="654"/>
                  </a:lnTo>
                  <a:lnTo>
                    <a:pt x="551" y="654"/>
                  </a:lnTo>
                  <a:lnTo>
                    <a:pt x="552" y="654"/>
                  </a:lnTo>
                  <a:lnTo>
                    <a:pt x="555" y="653"/>
                  </a:lnTo>
                  <a:lnTo>
                    <a:pt x="556" y="653"/>
                  </a:lnTo>
                  <a:lnTo>
                    <a:pt x="558" y="652"/>
                  </a:lnTo>
                  <a:lnTo>
                    <a:pt x="561" y="652"/>
                  </a:lnTo>
                  <a:lnTo>
                    <a:pt x="563" y="652"/>
                  </a:lnTo>
                  <a:lnTo>
                    <a:pt x="566" y="651"/>
                  </a:lnTo>
                  <a:lnTo>
                    <a:pt x="569" y="649"/>
                  </a:lnTo>
                  <a:lnTo>
                    <a:pt x="570" y="649"/>
                  </a:lnTo>
                  <a:lnTo>
                    <a:pt x="573" y="651"/>
                  </a:lnTo>
                  <a:lnTo>
                    <a:pt x="574" y="649"/>
                  </a:lnTo>
                  <a:lnTo>
                    <a:pt x="575" y="648"/>
                  </a:lnTo>
                  <a:lnTo>
                    <a:pt x="578" y="648"/>
                  </a:lnTo>
                  <a:lnTo>
                    <a:pt x="580" y="648"/>
                  </a:lnTo>
                  <a:lnTo>
                    <a:pt x="583" y="648"/>
                  </a:lnTo>
                  <a:lnTo>
                    <a:pt x="584" y="647"/>
                  </a:lnTo>
                  <a:lnTo>
                    <a:pt x="585" y="647"/>
                  </a:lnTo>
                  <a:lnTo>
                    <a:pt x="585" y="648"/>
                  </a:lnTo>
                  <a:lnTo>
                    <a:pt x="584" y="649"/>
                  </a:lnTo>
                  <a:lnTo>
                    <a:pt x="586" y="649"/>
                  </a:lnTo>
                  <a:lnTo>
                    <a:pt x="586" y="648"/>
                  </a:lnTo>
                  <a:lnTo>
                    <a:pt x="587" y="647"/>
                  </a:lnTo>
                  <a:lnTo>
                    <a:pt x="587" y="648"/>
                  </a:lnTo>
                  <a:lnTo>
                    <a:pt x="589" y="647"/>
                  </a:lnTo>
                  <a:lnTo>
                    <a:pt x="590" y="647"/>
                  </a:lnTo>
                  <a:lnTo>
                    <a:pt x="592" y="645"/>
                  </a:lnTo>
                  <a:lnTo>
                    <a:pt x="593" y="646"/>
                  </a:lnTo>
                  <a:lnTo>
                    <a:pt x="592" y="647"/>
                  </a:lnTo>
                  <a:lnTo>
                    <a:pt x="597" y="646"/>
                  </a:lnTo>
                  <a:lnTo>
                    <a:pt x="597" y="647"/>
                  </a:lnTo>
                  <a:lnTo>
                    <a:pt x="595" y="648"/>
                  </a:lnTo>
                  <a:lnTo>
                    <a:pt x="592" y="648"/>
                  </a:lnTo>
                  <a:lnTo>
                    <a:pt x="592" y="649"/>
                  </a:lnTo>
                  <a:lnTo>
                    <a:pt x="595" y="651"/>
                  </a:lnTo>
                  <a:lnTo>
                    <a:pt x="596" y="651"/>
                  </a:lnTo>
                  <a:lnTo>
                    <a:pt x="596" y="652"/>
                  </a:lnTo>
                  <a:lnTo>
                    <a:pt x="595" y="651"/>
                  </a:lnTo>
                  <a:lnTo>
                    <a:pt x="592" y="649"/>
                  </a:lnTo>
                  <a:lnTo>
                    <a:pt x="590" y="649"/>
                  </a:lnTo>
                  <a:lnTo>
                    <a:pt x="589" y="649"/>
                  </a:lnTo>
                  <a:lnTo>
                    <a:pt x="589" y="651"/>
                  </a:lnTo>
                  <a:lnTo>
                    <a:pt x="590" y="652"/>
                  </a:lnTo>
                  <a:lnTo>
                    <a:pt x="590" y="653"/>
                  </a:lnTo>
                  <a:lnTo>
                    <a:pt x="589" y="653"/>
                  </a:lnTo>
                  <a:lnTo>
                    <a:pt x="589" y="652"/>
                  </a:lnTo>
                  <a:lnTo>
                    <a:pt x="587" y="651"/>
                  </a:lnTo>
                  <a:lnTo>
                    <a:pt x="586" y="649"/>
                  </a:lnTo>
                  <a:lnTo>
                    <a:pt x="584" y="649"/>
                  </a:lnTo>
                  <a:lnTo>
                    <a:pt x="583" y="651"/>
                  </a:lnTo>
                  <a:lnTo>
                    <a:pt x="584" y="652"/>
                  </a:lnTo>
                  <a:lnTo>
                    <a:pt x="585" y="653"/>
                  </a:lnTo>
                  <a:lnTo>
                    <a:pt x="586" y="654"/>
                  </a:lnTo>
                  <a:lnTo>
                    <a:pt x="586" y="655"/>
                  </a:lnTo>
                  <a:lnTo>
                    <a:pt x="586" y="659"/>
                  </a:lnTo>
                  <a:lnTo>
                    <a:pt x="585" y="659"/>
                  </a:lnTo>
                  <a:lnTo>
                    <a:pt x="585" y="660"/>
                  </a:lnTo>
                  <a:lnTo>
                    <a:pt x="585" y="661"/>
                  </a:lnTo>
                  <a:lnTo>
                    <a:pt x="585" y="664"/>
                  </a:lnTo>
                  <a:lnTo>
                    <a:pt x="584" y="664"/>
                  </a:lnTo>
                  <a:lnTo>
                    <a:pt x="584" y="663"/>
                  </a:lnTo>
                  <a:lnTo>
                    <a:pt x="583" y="661"/>
                  </a:lnTo>
                  <a:lnTo>
                    <a:pt x="581" y="659"/>
                  </a:lnTo>
                  <a:lnTo>
                    <a:pt x="581" y="657"/>
                  </a:lnTo>
                  <a:lnTo>
                    <a:pt x="581" y="658"/>
                  </a:lnTo>
                  <a:lnTo>
                    <a:pt x="581" y="659"/>
                  </a:lnTo>
                  <a:lnTo>
                    <a:pt x="580" y="658"/>
                  </a:lnTo>
                  <a:lnTo>
                    <a:pt x="580" y="657"/>
                  </a:lnTo>
                  <a:lnTo>
                    <a:pt x="580" y="654"/>
                  </a:lnTo>
                  <a:lnTo>
                    <a:pt x="579" y="653"/>
                  </a:lnTo>
                  <a:lnTo>
                    <a:pt x="578" y="652"/>
                  </a:lnTo>
                  <a:lnTo>
                    <a:pt x="578" y="654"/>
                  </a:lnTo>
                  <a:lnTo>
                    <a:pt x="579" y="654"/>
                  </a:lnTo>
                  <a:lnTo>
                    <a:pt x="578" y="654"/>
                  </a:lnTo>
                  <a:lnTo>
                    <a:pt x="576" y="655"/>
                  </a:lnTo>
                  <a:lnTo>
                    <a:pt x="576" y="653"/>
                  </a:lnTo>
                  <a:lnTo>
                    <a:pt x="575" y="653"/>
                  </a:lnTo>
                  <a:lnTo>
                    <a:pt x="575" y="654"/>
                  </a:lnTo>
                  <a:lnTo>
                    <a:pt x="575" y="655"/>
                  </a:lnTo>
                  <a:lnTo>
                    <a:pt x="576" y="658"/>
                  </a:lnTo>
                  <a:lnTo>
                    <a:pt x="575" y="658"/>
                  </a:lnTo>
                  <a:lnTo>
                    <a:pt x="574" y="657"/>
                  </a:lnTo>
                  <a:lnTo>
                    <a:pt x="573" y="655"/>
                  </a:lnTo>
                  <a:lnTo>
                    <a:pt x="573" y="657"/>
                  </a:lnTo>
                  <a:lnTo>
                    <a:pt x="574" y="659"/>
                  </a:lnTo>
                  <a:lnTo>
                    <a:pt x="575" y="661"/>
                  </a:lnTo>
                  <a:lnTo>
                    <a:pt x="575" y="664"/>
                  </a:lnTo>
                  <a:lnTo>
                    <a:pt x="574" y="664"/>
                  </a:lnTo>
                  <a:lnTo>
                    <a:pt x="574" y="663"/>
                  </a:lnTo>
                  <a:lnTo>
                    <a:pt x="573" y="661"/>
                  </a:lnTo>
                  <a:lnTo>
                    <a:pt x="573" y="659"/>
                  </a:lnTo>
                  <a:lnTo>
                    <a:pt x="572" y="658"/>
                  </a:lnTo>
                  <a:lnTo>
                    <a:pt x="570" y="658"/>
                  </a:lnTo>
                  <a:lnTo>
                    <a:pt x="570" y="659"/>
                  </a:lnTo>
                  <a:lnTo>
                    <a:pt x="569" y="659"/>
                  </a:lnTo>
                  <a:lnTo>
                    <a:pt x="569" y="660"/>
                  </a:lnTo>
                  <a:lnTo>
                    <a:pt x="569" y="661"/>
                  </a:lnTo>
                  <a:lnTo>
                    <a:pt x="569" y="663"/>
                  </a:lnTo>
                  <a:lnTo>
                    <a:pt x="568" y="663"/>
                  </a:lnTo>
                  <a:lnTo>
                    <a:pt x="568" y="660"/>
                  </a:lnTo>
                  <a:lnTo>
                    <a:pt x="567" y="660"/>
                  </a:lnTo>
                  <a:lnTo>
                    <a:pt x="566" y="659"/>
                  </a:lnTo>
                  <a:lnTo>
                    <a:pt x="564" y="659"/>
                  </a:lnTo>
                  <a:lnTo>
                    <a:pt x="564" y="660"/>
                  </a:lnTo>
                  <a:lnTo>
                    <a:pt x="566" y="661"/>
                  </a:lnTo>
                  <a:lnTo>
                    <a:pt x="568" y="663"/>
                  </a:lnTo>
                  <a:lnTo>
                    <a:pt x="568" y="664"/>
                  </a:lnTo>
                  <a:lnTo>
                    <a:pt x="567" y="664"/>
                  </a:lnTo>
                  <a:lnTo>
                    <a:pt x="566" y="663"/>
                  </a:lnTo>
                  <a:lnTo>
                    <a:pt x="564" y="663"/>
                  </a:lnTo>
                  <a:lnTo>
                    <a:pt x="566" y="665"/>
                  </a:lnTo>
                  <a:lnTo>
                    <a:pt x="567" y="666"/>
                  </a:lnTo>
                  <a:lnTo>
                    <a:pt x="568" y="668"/>
                  </a:lnTo>
                  <a:lnTo>
                    <a:pt x="569" y="669"/>
                  </a:lnTo>
                  <a:lnTo>
                    <a:pt x="575" y="671"/>
                  </a:lnTo>
                  <a:lnTo>
                    <a:pt x="574" y="672"/>
                  </a:lnTo>
                  <a:lnTo>
                    <a:pt x="573" y="672"/>
                  </a:lnTo>
                  <a:lnTo>
                    <a:pt x="573" y="671"/>
                  </a:lnTo>
                  <a:lnTo>
                    <a:pt x="572" y="671"/>
                  </a:lnTo>
                  <a:lnTo>
                    <a:pt x="572" y="672"/>
                  </a:lnTo>
                  <a:lnTo>
                    <a:pt x="572" y="674"/>
                  </a:lnTo>
                  <a:lnTo>
                    <a:pt x="570" y="674"/>
                  </a:lnTo>
                  <a:lnTo>
                    <a:pt x="570" y="672"/>
                  </a:lnTo>
                  <a:lnTo>
                    <a:pt x="569" y="671"/>
                  </a:lnTo>
                  <a:lnTo>
                    <a:pt x="568" y="670"/>
                  </a:lnTo>
                  <a:lnTo>
                    <a:pt x="568" y="671"/>
                  </a:lnTo>
                  <a:lnTo>
                    <a:pt x="568" y="672"/>
                  </a:lnTo>
                  <a:lnTo>
                    <a:pt x="568" y="675"/>
                  </a:lnTo>
                  <a:lnTo>
                    <a:pt x="567" y="675"/>
                  </a:lnTo>
                  <a:lnTo>
                    <a:pt x="567" y="674"/>
                  </a:lnTo>
                  <a:lnTo>
                    <a:pt x="566" y="674"/>
                  </a:lnTo>
                  <a:lnTo>
                    <a:pt x="564" y="674"/>
                  </a:lnTo>
                  <a:lnTo>
                    <a:pt x="564" y="675"/>
                  </a:lnTo>
                  <a:lnTo>
                    <a:pt x="564" y="674"/>
                  </a:lnTo>
                  <a:lnTo>
                    <a:pt x="563" y="674"/>
                  </a:lnTo>
                  <a:lnTo>
                    <a:pt x="563" y="672"/>
                  </a:lnTo>
                  <a:lnTo>
                    <a:pt x="563" y="671"/>
                  </a:lnTo>
                  <a:lnTo>
                    <a:pt x="564" y="671"/>
                  </a:lnTo>
                  <a:lnTo>
                    <a:pt x="564" y="669"/>
                  </a:lnTo>
                  <a:lnTo>
                    <a:pt x="563" y="668"/>
                  </a:lnTo>
                  <a:lnTo>
                    <a:pt x="563" y="669"/>
                  </a:lnTo>
                  <a:lnTo>
                    <a:pt x="562" y="670"/>
                  </a:lnTo>
                  <a:lnTo>
                    <a:pt x="561" y="669"/>
                  </a:lnTo>
                  <a:lnTo>
                    <a:pt x="560" y="669"/>
                  </a:lnTo>
                  <a:lnTo>
                    <a:pt x="560" y="671"/>
                  </a:lnTo>
                  <a:lnTo>
                    <a:pt x="558" y="672"/>
                  </a:lnTo>
                  <a:lnTo>
                    <a:pt x="558" y="671"/>
                  </a:lnTo>
                  <a:lnTo>
                    <a:pt x="558" y="669"/>
                  </a:lnTo>
                  <a:lnTo>
                    <a:pt x="558" y="668"/>
                  </a:lnTo>
                  <a:lnTo>
                    <a:pt x="558" y="665"/>
                  </a:lnTo>
                  <a:lnTo>
                    <a:pt x="557" y="664"/>
                  </a:lnTo>
                  <a:lnTo>
                    <a:pt x="557" y="663"/>
                  </a:lnTo>
                  <a:lnTo>
                    <a:pt x="557" y="664"/>
                  </a:lnTo>
                  <a:lnTo>
                    <a:pt x="556" y="665"/>
                  </a:lnTo>
                  <a:lnTo>
                    <a:pt x="556" y="664"/>
                  </a:lnTo>
                  <a:lnTo>
                    <a:pt x="555" y="664"/>
                  </a:lnTo>
                  <a:lnTo>
                    <a:pt x="556" y="665"/>
                  </a:lnTo>
                  <a:lnTo>
                    <a:pt x="556" y="666"/>
                  </a:lnTo>
                  <a:lnTo>
                    <a:pt x="555" y="668"/>
                  </a:lnTo>
                  <a:lnTo>
                    <a:pt x="554" y="668"/>
                  </a:lnTo>
                  <a:lnTo>
                    <a:pt x="554" y="669"/>
                  </a:lnTo>
                  <a:lnTo>
                    <a:pt x="554" y="670"/>
                  </a:lnTo>
                  <a:lnTo>
                    <a:pt x="555" y="671"/>
                  </a:lnTo>
                  <a:lnTo>
                    <a:pt x="557" y="671"/>
                  </a:lnTo>
                  <a:lnTo>
                    <a:pt x="557" y="672"/>
                  </a:lnTo>
                  <a:lnTo>
                    <a:pt x="557" y="674"/>
                  </a:lnTo>
                  <a:lnTo>
                    <a:pt x="558" y="674"/>
                  </a:lnTo>
                  <a:lnTo>
                    <a:pt x="558" y="675"/>
                  </a:lnTo>
                  <a:lnTo>
                    <a:pt x="560" y="676"/>
                  </a:lnTo>
                  <a:lnTo>
                    <a:pt x="563" y="677"/>
                  </a:lnTo>
                  <a:lnTo>
                    <a:pt x="564" y="677"/>
                  </a:lnTo>
                  <a:lnTo>
                    <a:pt x="566" y="677"/>
                  </a:lnTo>
                  <a:lnTo>
                    <a:pt x="568" y="677"/>
                  </a:lnTo>
                  <a:lnTo>
                    <a:pt x="570" y="677"/>
                  </a:lnTo>
                  <a:lnTo>
                    <a:pt x="572" y="677"/>
                  </a:lnTo>
                  <a:lnTo>
                    <a:pt x="572" y="678"/>
                  </a:lnTo>
                  <a:lnTo>
                    <a:pt x="573" y="678"/>
                  </a:lnTo>
                  <a:lnTo>
                    <a:pt x="574" y="680"/>
                  </a:lnTo>
                  <a:lnTo>
                    <a:pt x="572" y="680"/>
                  </a:lnTo>
                  <a:lnTo>
                    <a:pt x="570" y="678"/>
                  </a:lnTo>
                  <a:lnTo>
                    <a:pt x="570" y="680"/>
                  </a:lnTo>
                  <a:lnTo>
                    <a:pt x="569" y="681"/>
                  </a:lnTo>
                  <a:lnTo>
                    <a:pt x="569" y="682"/>
                  </a:lnTo>
                  <a:lnTo>
                    <a:pt x="569" y="681"/>
                  </a:lnTo>
                  <a:lnTo>
                    <a:pt x="568" y="680"/>
                  </a:lnTo>
                  <a:lnTo>
                    <a:pt x="568" y="678"/>
                  </a:lnTo>
                  <a:lnTo>
                    <a:pt x="567" y="678"/>
                  </a:lnTo>
                  <a:lnTo>
                    <a:pt x="566" y="678"/>
                  </a:lnTo>
                  <a:lnTo>
                    <a:pt x="566" y="680"/>
                  </a:lnTo>
                  <a:lnTo>
                    <a:pt x="567" y="681"/>
                  </a:lnTo>
                  <a:lnTo>
                    <a:pt x="568" y="683"/>
                  </a:lnTo>
                  <a:lnTo>
                    <a:pt x="567" y="684"/>
                  </a:lnTo>
                  <a:lnTo>
                    <a:pt x="566" y="683"/>
                  </a:lnTo>
                  <a:lnTo>
                    <a:pt x="564" y="682"/>
                  </a:lnTo>
                  <a:lnTo>
                    <a:pt x="563" y="681"/>
                  </a:lnTo>
                  <a:lnTo>
                    <a:pt x="563" y="680"/>
                  </a:lnTo>
                  <a:lnTo>
                    <a:pt x="561" y="678"/>
                  </a:lnTo>
                  <a:lnTo>
                    <a:pt x="560" y="677"/>
                  </a:lnTo>
                  <a:lnTo>
                    <a:pt x="560" y="678"/>
                  </a:lnTo>
                  <a:lnTo>
                    <a:pt x="560" y="680"/>
                  </a:lnTo>
                  <a:lnTo>
                    <a:pt x="560" y="681"/>
                  </a:lnTo>
                  <a:lnTo>
                    <a:pt x="560" y="682"/>
                  </a:lnTo>
                  <a:lnTo>
                    <a:pt x="561" y="684"/>
                  </a:lnTo>
                  <a:lnTo>
                    <a:pt x="561" y="686"/>
                  </a:lnTo>
                  <a:lnTo>
                    <a:pt x="558" y="687"/>
                  </a:lnTo>
                  <a:lnTo>
                    <a:pt x="558" y="684"/>
                  </a:lnTo>
                  <a:lnTo>
                    <a:pt x="558" y="683"/>
                  </a:lnTo>
                  <a:lnTo>
                    <a:pt x="558" y="682"/>
                  </a:lnTo>
                  <a:lnTo>
                    <a:pt x="558" y="681"/>
                  </a:lnTo>
                  <a:lnTo>
                    <a:pt x="557" y="683"/>
                  </a:lnTo>
                  <a:lnTo>
                    <a:pt x="557" y="682"/>
                  </a:lnTo>
                  <a:lnTo>
                    <a:pt x="556" y="681"/>
                  </a:lnTo>
                  <a:lnTo>
                    <a:pt x="555" y="680"/>
                  </a:lnTo>
                  <a:lnTo>
                    <a:pt x="555" y="678"/>
                  </a:lnTo>
                  <a:lnTo>
                    <a:pt x="555" y="680"/>
                  </a:lnTo>
                  <a:lnTo>
                    <a:pt x="555" y="682"/>
                  </a:lnTo>
                  <a:lnTo>
                    <a:pt x="555" y="683"/>
                  </a:lnTo>
                  <a:lnTo>
                    <a:pt x="554" y="682"/>
                  </a:lnTo>
                  <a:lnTo>
                    <a:pt x="552" y="680"/>
                  </a:lnTo>
                  <a:lnTo>
                    <a:pt x="551" y="678"/>
                  </a:lnTo>
                  <a:lnTo>
                    <a:pt x="551" y="680"/>
                  </a:lnTo>
                  <a:lnTo>
                    <a:pt x="552" y="682"/>
                  </a:lnTo>
                  <a:lnTo>
                    <a:pt x="552" y="683"/>
                  </a:lnTo>
                  <a:lnTo>
                    <a:pt x="552" y="684"/>
                  </a:lnTo>
                  <a:lnTo>
                    <a:pt x="552" y="687"/>
                  </a:lnTo>
                  <a:lnTo>
                    <a:pt x="552" y="688"/>
                  </a:lnTo>
                  <a:lnTo>
                    <a:pt x="554" y="690"/>
                  </a:lnTo>
                  <a:lnTo>
                    <a:pt x="554" y="692"/>
                  </a:lnTo>
                  <a:lnTo>
                    <a:pt x="555" y="694"/>
                  </a:lnTo>
                  <a:lnTo>
                    <a:pt x="552" y="694"/>
                  </a:lnTo>
                  <a:lnTo>
                    <a:pt x="554" y="695"/>
                  </a:lnTo>
                  <a:lnTo>
                    <a:pt x="555" y="695"/>
                  </a:lnTo>
                  <a:lnTo>
                    <a:pt x="556" y="695"/>
                  </a:lnTo>
                  <a:lnTo>
                    <a:pt x="558" y="695"/>
                  </a:lnTo>
                  <a:lnTo>
                    <a:pt x="560" y="694"/>
                  </a:lnTo>
                  <a:lnTo>
                    <a:pt x="562" y="694"/>
                  </a:lnTo>
                  <a:lnTo>
                    <a:pt x="563" y="694"/>
                  </a:lnTo>
                  <a:lnTo>
                    <a:pt x="566" y="692"/>
                  </a:lnTo>
                  <a:lnTo>
                    <a:pt x="568" y="690"/>
                  </a:lnTo>
                  <a:lnTo>
                    <a:pt x="569" y="689"/>
                  </a:lnTo>
                  <a:lnTo>
                    <a:pt x="572" y="689"/>
                  </a:lnTo>
                  <a:lnTo>
                    <a:pt x="573" y="688"/>
                  </a:lnTo>
                  <a:lnTo>
                    <a:pt x="573" y="687"/>
                  </a:lnTo>
                  <a:lnTo>
                    <a:pt x="574" y="687"/>
                  </a:lnTo>
                  <a:lnTo>
                    <a:pt x="574" y="686"/>
                  </a:lnTo>
                  <a:lnTo>
                    <a:pt x="576" y="686"/>
                  </a:lnTo>
                  <a:lnTo>
                    <a:pt x="578" y="684"/>
                  </a:lnTo>
                  <a:lnTo>
                    <a:pt x="578" y="687"/>
                  </a:lnTo>
                  <a:lnTo>
                    <a:pt x="579" y="688"/>
                  </a:lnTo>
                  <a:lnTo>
                    <a:pt x="580" y="689"/>
                  </a:lnTo>
                  <a:lnTo>
                    <a:pt x="578" y="689"/>
                  </a:lnTo>
                  <a:lnTo>
                    <a:pt x="576" y="690"/>
                  </a:lnTo>
                  <a:lnTo>
                    <a:pt x="574" y="693"/>
                  </a:lnTo>
                  <a:lnTo>
                    <a:pt x="573" y="692"/>
                  </a:lnTo>
                  <a:lnTo>
                    <a:pt x="574" y="693"/>
                  </a:lnTo>
                  <a:lnTo>
                    <a:pt x="575" y="694"/>
                  </a:lnTo>
                  <a:lnTo>
                    <a:pt x="576" y="694"/>
                  </a:lnTo>
                  <a:lnTo>
                    <a:pt x="579" y="693"/>
                  </a:lnTo>
                  <a:lnTo>
                    <a:pt x="581" y="693"/>
                  </a:lnTo>
                  <a:lnTo>
                    <a:pt x="584" y="693"/>
                  </a:lnTo>
                  <a:lnTo>
                    <a:pt x="586" y="692"/>
                  </a:lnTo>
                  <a:lnTo>
                    <a:pt x="589" y="690"/>
                  </a:lnTo>
                  <a:lnTo>
                    <a:pt x="591" y="689"/>
                  </a:lnTo>
                  <a:lnTo>
                    <a:pt x="595" y="686"/>
                  </a:lnTo>
                  <a:lnTo>
                    <a:pt x="601" y="683"/>
                  </a:lnTo>
                  <a:lnTo>
                    <a:pt x="605" y="681"/>
                  </a:lnTo>
                  <a:lnTo>
                    <a:pt x="607" y="680"/>
                  </a:lnTo>
                  <a:lnTo>
                    <a:pt x="608" y="680"/>
                  </a:lnTo>
                  <a:lnTo>
                    <a:pt x="609" y="680"/>
                  </a:lnTo>
                  <a:lnTo>
                    <a:pt x="610" y="678"/>
                  </a:lnTo>
                  <a:lnTo>
                    <a:pt x="613" y="677"/>
                  </a:lnTo>
                  <a:lnTo>
                    <a:pt x="614" y="676"/>
                  </a:lnTo>
                  <a:lnTo>
                    <a:pt x="616" y="676"/>
                  </a:lnTo>
                  <a:lnTo>
                    <a:pt x="622" y="675"/>
                  </a:lnTo>
                  <a:lnTo>
                    <a:pt x="622" y="676"/>
                  </a:lnTo>
                  <a:lnTo>
                    <a:pt x="621" y="676"/>
                  </a:lnTo>
                  <a:lnTo>
                    <a:pt x="617" y="677"/>
                  </a:lnTo>
                  <a:lnTo>
                    <a:pt x="617" y="678"/>
                  </a:lnTo>
                  <a:lnTo>
                    <a:pt x="619" y="680"/>
                  </a:lnTo>
                  <a:lnTo>
                    <a:pt x="616" y="680"/>
                  </a:lnTo>
                  <a:lnTo>
                    <a:pt x="615" y="678"/>
                  </a:lnTo>
                  <a:lnTo>
                    <a:pt x="614" y="680"/>
                  </a:lnTo>
                  <a:lnTo>
                    <a:pt x="615" y="680"/>
                  </a:lnTo>
                  <a:lnTo>
                    <a:pt x="616" y="681"/>
                  </a:lnTo>
                  <a:lnTo>
                    <a:pt x="614" y="681"/>
                  </a:lnTo>
                  <a:lnTo>
                    <a:pt x="613" y="682"/>
                  </a:lnTo>
                  <a:lnTo>
                    <a:pt x="610" y="682"/>
                  </a:lnTo>
                  <a:lnTo>
                    <a:pt x="611" y="683"/>
                  </a:lnTo>
                  <a:lnTo>
                    <a:pt x="611" y="684"/>
                  </a:lnTo>
                  <a:lnTo>
                    <a:pt x="610" y="683"/>
                  </a:lnTo>
                  <a:lnTo>
                    <a:pt x="609" y="683"/>
                  </a:lnTo>
                  <a:lnTo>
                    <a:pt x="608" y="683"/>
                  </a:lnTo>
                  <a:lnTo>
                    <a:pt x="610" y="686"/>
                  </a:lnTo>
                  <a:lnTo>
                    <a:pt x="609" y="687"/>
                  </a:lnTo>
                  <a:lnTo>
                    <a:pt x="608" y="686"/>
                  </a:lnTo>
                  <a:lnTo>
                    <a:pt x="607" y="684"/>
                  </a:lnTo>
                  <a:lnTo>
                    <a:pt x="605" y="683"/>
                  </a:lnTo>
                  <a:lnTo>
                    <a:pt x="604" y="684"/>
                  </a:lnTo>
                  <a:lnTo>
                    <a:pt x="605" y="687"/>
                  </a:lnTo>
                  <a:lnTo>
                    <a:pt x="607" y="687"/>
                  </a:lnTo>
                  <a:lnTo>
                    <a:pt x="607" y="688"/>
                  </a:lnTo>
                  <a:lnTo>
                    <a:pt x="605" y="688"/>
                  </a:lnTo>
                  <a:lnTo>
                    <a:pt x="608" y="689"/>
                  </a:lnTo>
                  <a:lnTo>
                    <a:pt x="609" y="690"/>
                  </a:lnTo>
                  <a:lnTo>
                    <a:pt x="604" y="689"/>
                  </a:lnTo>
                  <a:lnTo>
                    <a:pt x="603" y="688"/>
                  </a:lnTo>
                  <a:lnTo>
                    <a:pt x="602" y="687"/>
                  </a:lnTo>
                  <a:lnTo>
                    <a:pt x="603" y="689"/>
                  </a:lnTo>
                  <a:lnTo>
                    <a:pt x="603" y="692"/>
                  </a:lnTo>
                  <a:lnTo>
                    <a:pt x="602" y="690"/>
                  </a:lnTo>
                  <a:lnTo>
                    <a:pt x="599" y="688"/>
                  </a:lnTo>
                  <a:lnTo>
                    <a:pt x="599" y="689"/>
                  </a:lnTo>
                  <a:lnTo>
                    <a:pt x="601" y="692"/>
                  </a:lnTo>
                  <a:lnTo>
                    <a:pt x="602" y="694"/>
                  </a:lnTo>
                  <a:lnTo>
                    <a:pt x="603" y="698"/>
                  </a:lnTo>
                  <a:lnTo>
                    <a:pt x="603" y="700"/>
                  </a:lnTo>
                  <a:lnTo>
                    <a:pt x="603" y="701"/>
                  </a:lnTo>
                  <a:lnTo>
                    <a:pt x="602" y="700"/>
                  </a:lnTo>
                  <a:lnTo>
                    <a:pt x="601" y="699"/>
                  </a:lnTo>
                  <a:lnTo>
                    <a:pt x="599" y="698"/>
                  </a:lnTo>
                  <a:lnTo>
                    <a:pt x="599" y="696"/>
                  </a:lnTo>
                  <a:lnTo>
                    <a:pt x="598" y="695"/>
                  </a:lnTo>
                  <a:lnTo>
                    <a:pt x="597" y="696"/>
                  </a:lnTo>
                  <a:lnTo>
                    <a:pt x="598" y="698"/>
                  </a:lnTo>
                  <a:lnTo>
                    <a:pt x="598" y="699"/>
                  </a:lnTo>
                  <a:lnTo>
                    <a:pt x="599" y="700"/>
                  </a:lnTo>
                  <a:lnTo>
                    <a:pt x="599" y="701"/>
                  </a:lnTo>
                  <a:lnTo>
                    <a:pt x="598" y="701"/>
                  </a:lnTo>
                  <a:lnTo>
                    <a:pt x="599" y="701"/>
                  </a:lnTo>
                  <a:lnTo>
                    <a:pt x="598" y="702"/>
                  </a:lnTo>
                  <a:lnTo>
                    <a:pt x="598" y="704"/>
                  </a:lnTo>
                  <a:lnTo>
                    <a:pt x="597" y="704"/>
                  </a:lnTo>
                  <a:lnTo>
                    <a:pt x="596" y="702"/>
                  </a:lnTo>
                  <a:lnTo>
                    <a:pt x="596" y="701"/>
                  </a:lnTo>
                  <a:lnTo>
                    <a:pt x="595" y="701"/>
                  </a:lnTo>
                  <a:lnTo>
                    <a:pt x="595" y="704"/>
                  </a:lnTo>
                  <a:lnTo>
                    <a:pt x="596" y="707"/>
                  </a:lnTo>
                  <a:lnTo>
                    <a:pt x="595" y="706"/>
                  </a:lnTo>
                  <a:lnTo>
                    <a:pt x="593" y="707"/>
                  </a:lnTo>
                  <a:lnTo>
                    <a:pt x="592" y="705"/>
                  </a:lnTo>
                  <a:lnTo>
                    <a:pt x="592" y="702"/>
                  </a:lnTo>
                  <a:lnTo>
                    <a:pt x="592" y="701"/>
                  </a:lnTo>
                  <a:lnTo>
                    <a:pt x="591" y="701"/>
                  </a:lnTo>
                  <a:lnTo>
                    <a:pt x="591" y="702"/>
                  </a:lnTo>
                  <a:lnTo>
                    <a:pt x="591" y="705"/>
                  </a:lnTo>
                  <a:lnTo>
                    <a:pt x="590" y="705"/>
                  </a:lnTo>
                  <a:lnTo>
                    <a:pt x="590" y="702"/>
                  </a:lnTo>
                  <a:lnTo>
                    <a:pt x="589" y="701"/>
                  </a:lnTo>
                  <a:lnTo>
                    <a:pt x="589" y="704"/>
                  </a:lnTo>
                  <a:lnTo>
                    <a:pt x="587" y="704"/>
                  </a:lnTo>
                  <a:lnTo>
                    <a:pt x="587" y="705"/>
                  </a:lnTo>
                  <a:lnTo>
                    <a:pt x="586" y="705"/>
                  </a:lnTo>
                  <a:lnTo>
                    <a:pt x="587" y="707"/>
                  </a:lnTo>
                  <a:lnTo>
                    <a:pt x="587" y="708"/>
                  </a:lnTo>
                  <a:lnTo>
                    <a:pt x="587" y="710"/>
                  </a:lnTo>
                  <a:lnTo>
                    <a:pt x="586" y="711"/>
                  </a:lnTo>
                  <a:lnTo>
                    <a:pt x="586" y="712"/>
                  </a:lnTo>
                  <a:lnTo>
                    <a:pt x="587" y="714"/>
                  </a:lnTo>
                  <a:lnTo>
                    <a:pt x="586" y="714"/>
                  </a:lnTo>
                  <a:lnTo>
                    <a:pt x="585" y="713"/>
                  </a:lnTo>
                  <a:lnTo>
                    <a:pt x="585" y="711"/>
                  </a:lnTo>
                  <a:lnTo>
                    <a:pt x="585" y="708"/>
                  </a:lnTo>
                  <a:lnTo>
                    <a:pt x="583" y="710"/>
                  </a:lnTo>
                  <a:lnTo>
                    <a:pt x="583" y="708"/>
                  </a:lnTo>
                  <a:lnTo>
                    <a:pt x="581" y="708"/>
                  </a:lnTo>
                  <a:lnTo>
                    <a:pt x="581" y="710"/>
                  </a:lnTo>
                  <a:lnTo>
                    <a:pt x="581" y="712"/>
                  </a:lnTo>
                  <a:lnTo>
                    <a:pt x="580" y="711"/>
                  </a:lnTo>
                  <a:lnTo>
                    <a:pt x="579" y="710"/>
                  </a:lnTo>
                  <a:lnTo>
                    <a:pt x="579" y="708"/>
                  </a:lnTo>
                  <a:lnTo>
                    <a:pt x="578" y="708"/>
                  </a:lnTo>
                  <a:lnTo>
                    <a:pt x="579" y="711"/>
                  </a:lnTo>
                  <a:lnTo>
                    <a:pt x="579" y="712"/>
                  </a:lnTo>
                  <a:lnTo>
                    <a:pt x="581" y="713"/>
                  </a:lnTo>
                  <a:lnTo>
                    <a:pt x="583" y="714"/>
                  </a:lnTo>
                  <a:lnTo>
                    <a:pt x="587" y="716"/>
                  </a:lnTo>
                  <a:lnTo>
                    <a:pt x="587" y="717"/>
                  </a:lnTo>
                  <a:lnTo>
                    <a:pt x="590" y="718"/>
                  </a:lnTo>
                  <a:lnTo>
                    <a:pt x="592" y="718"/>
                  </a:lnTo>
                  <a:lnTo>
                    <a:pt x="598" y="716"/>
                  </a:lnTo>
                  <a:lnTo>
                    <a:pt x="598" y="717"/>
                  </a:lnTo>
                  <a:lnTo>
                    <a:pt x="593" y="718"/>
                  </a:lnTo>
                  <a:lnTo>
                    <a:pt x="593" y="719"/>
                  </a:lnTo>
                  <a:lnTo>
                    <a:pt x="596" y="720"/>
                  </a:lnTo>
                  <a:lnTo>
                    <a:pt x="597" y="723"/>
                  </a:lnTo>
                  <a:lnTo>
                    <a:pt x="595" y="722"/>
                  </a:lnTo>
                  <a:lnTo>
                    <a:pt x="593" y="720"/>
                  </a:lnTo>
                  <a:lnTo>
                    <a:pt x="593" y="724"/>
                  </a:lnTo>
                  <a:lnTo>
                    <a:pt x="592" y="722"/>
                  </a:lnTo>
                  <a:lnTo>
                    <a:pt x="591" y="719"/>
                  </a:lnTo>
                  <a:lnTo>
                    <a:pt x="590" y="719"/>
                  </a:lnTo>
                  <a:lnTo>
                    <a:pt x="590" y="720"/>
                  </a:lnTo>
                  <a:lnTo>
                    <a:pt x="590" y="724"/>
                  </a:lnTo>
                  <a:lnTo>
                    <a:pt x="589" y="724"/>
                  </a:lnTo>
                  <a:lnTo>
                    <a:pt x="587" y="723"/>
                  </a:lnTo>
                  <a:lnTo>
                    <a:pt x="589" y="723"/>
                  </a:lnTo>
                  <a:lnTo>
                    <a:pt x="589" y="722"/>
                  </a:lnTo>
                  <a:lnTo>
                    <a:pt x="589" y="720"/>
                  </a:lnTo>
                  <a:lnTo>
                    <a:pt x="587" y="720"/>
                  </a:lnTo>
                  <a:lnTo>
                    <a:pt x="585" y="720"/>
                  </a:lnTo>
                  <a:lnTo>
                    <a:pt x="584" y="720"/>
                  </a:lnTo>
                  <a:lnTo>
                    <a:pt x="585" y="723"/>
                  </a:lnTo>
                  <a:lnTo>
                    <a:pt x="587" y="724"/>
                  </a:lnTo>
                  <a:lnTo>
                    <a:pt x="589" y="725"/>
                  </a:lnTo>
                  <a:lnTo>
                    <a:pt x="589" y="726"/>
                  </a:lnTo>
                  <a:lnTo>
                    <a:pt x="585" y="725"/>
                  </a:lnTo>
                  <a:lnTo>
                    <a:pt x="586" y="725"/>
                  </a:lnTo>
                  <a:lnTo>
                    <a:pt x="587" y="728"/>
                  </a:lnTo>
                  <a:lnTo>
                    <a:pt x="587" y="729"/>
                  </a:lnTo>
                  <a:lnTo>
                    <a:pt x="586" y="729"/>
                  </a:lnTo>
                  <a:lnTo>
                    <a:pt x="585" y="728"/>
                  </a:lnTo>
                  <a:lnTo>
                    <a:pt x="584" y="725"/>
                  </a:lnTo>
                  <a:lnTo>
                    <a:pt x="581" y="723"/>
                  </a:lnTo>
                  <a:lnTo>
                    <a:pt x="579" y="722"/>
                  </a:lnTo>
                  <a:lnTo>
                    <a:pt x="576" y="722"/>
                  </a:lnTo>
                  <a:lnTo>
                    <a:pt x="574" y="722"/>
                  </a:lnTo>
                  <a:lnTo>
                    <a:pt x="575" y="725"/>
                  </a:lnTo>
                  <a:lnTo>
                    <a:pt x="578" y="728"/>
                  </a:lnTo>
                  <a:lnTo>
                    <a:pt x="578" y="729"/>
                  </a:lnTo>
                  <a:lnTo>
                    <a:pt x="580" y="729"/>
                  </a:lnTo>
                  <a:lnTo>
                    <a:pt x="583" y="730"/>
                  </a:lnTo>
                  <a:lnTo>
                    <a:pt x="584" y="731"/>
                  </a:lnTo>
                  <a:lnTo>
                    <a:pt x="586" y="732"/>
                  </a:lnTo>
                  <a:lnTo>
                    <a:pt x="586" y="734"/>
                  </a:lnTo>
                  <a:lnTo>
                    <a:pt x="586" y="735"/>
                  </a:lnTo>
                  <a:lnTo>
                    <a:pt x="585" y="735"/>
                  </a:lnTo>
                  <a:lnTo>
                    <a:pt x="584" y="734"/>
                  </a:lnTo>
                  <a:lnTo>
                    <a:pt x="584" y="735"/>
                  </a:lnTo>
                  <a:lnTo>
                    <a:pt x="583" y="734"/>
                  </a:lnTo>
                  <a:lnTo>
                    <a:pt x="581" y="732"/>
                  </a:lnTo>
                  <a:lnTo>
                    <a:pt x="579" y="730"/>
                  </a:lnTo>
                  <a:lnTo>
                    <a:pt x="578" y="730"/>
                  </a:lnTo>
                  <a:lnTo>
                    <a:pt x="576" y="729"/>
                  </a:lnTo>
                  <a:lnTo>
                    <a:pt x="578" y="731"/>
                  </a:lnTo>
                  <a:lnTo>
                    <a:pt x="579" y="735"/>
                  </a:lnTo>
                  <a:lnTo>
                    <a:pt x="576" y="735"/>
                  </a:lnTo>
                  <a:lnTo>
                    <a:pt x="575" y="734"/>
                  </a:lnTo>
                  <a:lnTo>
                    <a:pt x="575" y="735"/>
                  </a:lnTo>
                  <a:lnTo>
                    <a:pt x="575" y="736"/>
                  </a:lnTo>
                  <a:lnTo>
                    <a:pt x="574" y="735"/>
                  </a:lnTo>
                  <a:lnTo>
                    <a:pt x="573" y="734"/>
                  </a:lnTo>
                  <a:lnTo>
                    <a:pt x="573" y="732"/>
                  </a:lnTo>
                  <a:lnTo>
                    <a:pt x="573" y="730"/>
                  </a:lnTo>
                  <a:lnTo>
                    <a:pt x="572" y="728"/>
                  </a:lnTo>
                  <a:lnTo>
                    <a:pt x="570" y="730"/>
                  </a:lnTo>
                  <a:lnTo>
                    <a:pt x="572" y="728"/>
                  </a:lnTo>
                  <a:lnTo>
                    <a:pt x="572" y="726"/>
                  </a:lnTo>
                  <a:lnTo>
                    <a:pt x="570" y="725"/>
                  </a:lnTo>
                  <a:lnTo>
                    <a:pt x="569" y="725"/>
                  </a:lnTo>
                  <a:lnTo>
                    <a:pt x="569" y="726"/>
                  </a:lnTo>
                  <a:lnTo>
                    <a:pt x="568" y="724"/>
                  </a:lnTo>
                  <a:lnTo>
                    <a:pt x="568" y="723"/>
                  </a:lnTo>
                  <a:lnTo>
                    <a:pt x="567" y="723"/>
                  </a:lnTo>
                  <a:lnTo>
                    <a:pt x="567" y="724"/>
                  </a:lnTo>
                  <a:lnTo>
                    <a:pt x="567" y="726"/>
                  </a:lnTo>
                  <a:lnTo>
                    <a:pt x="568" y="729"/>
                  </a:lnTo>
                  <a:lnTo>
                    <a:pt x="568" y="731"/>
                  </a:lnTo>
                  <a:lnTo>
                    <a:pt x="568" y="732"/>
                  </a:lnTo>
                  <a:lnTo>
                    <a:pt x="569" y="734"/>
                  </a:lnTo>
                  <a:lnTo>
                    <a:pt x="569" y="735"/>
                  </a:lnTo>
                  <a:lnTo>
                    <a:pt x="569" y="736"/>
                  </a:lnTo>
                  <a:lnTo>
                    <a:pt x="568" y="740"/>
                  </a:lnTo>
                  <a:lnTo>
                    <a:pt x="568" y="738"/>
                  </a:lnTo>
                  <a:lnTo>
                    <a:pt x="566" y="737"/>
                  </a:lnTo>
                  <a:lnTo>
                    <a:pt x="564" y="737"/>
                  </a:lnTo>
                  <a:lnTo>
                    <a:pt x="564" y="736"/>
                  </a:lnTo>
                  <a:lnTo>
                    <a:pt x="564" y="734"/>
                  </a:lnTo>
                  <a:lnTo>
                    <a:pt x="564" y="731"/>
                  </a:lnTo>
                  <a:lnTo>
                    <a:pt x="563" y="732"/>
                  </a:lnTo>
                  <a:lnTo>
                    <a:pt x="563" y="734"/>
                  </a:lnTo>
                  <a:lnTo>
                    <a:pt x="563" y="736"/>
                  </a:lnTo>
                  <a:lnTo>
                    <a:pt x="563" y="737"/>
                  </a:lnTo>
                  <a:lnTo>
                    <a:pt x="563" y="738"/>
                  </a:lnTo>
                  <a:lnTo>
                    <a:pt x="563" y="740"/>
                  </a:lnTo>
                  <a:lnTo>
                    <a:pt x="562" y="741"/>
                  </a:lnTo>
                  <a:lnTo>
                    <a:pt x="562" y="740"/>
                  </a:lnTo>
                  <a:lnTo>
                    <a:pt x="561" y="741"/>
                  </a:lnTo>
                  <a:lnTo>
                    <a:pt x="561" y="742"/>
                  </a:lnTo>
                  <a:lnTo>
                    <a:pt x="560" y="742"/>
                  </a:lnTo>
                  <a:lnTo>
                    <a:pt x="560" y="740"/>
                  </a:lnTo>
                  <a:lnTo>
                    <a:pt x="561" y="736"/>
                  </a:lnTo>
                  <a:lnTo>
                    <a:pt x="560" y="734"/>
                  </a:lnTo>
                  <a:lnTo>
                    <a:pt x="560" y="730"/>
                  </a:lnTo>
                  <a:lnTo>
                    <a:pt x="558" y="735"/>
                  </a:lnTo>
                  <a:lnTo>
                    <a:pt x="557" y="735"/>
                  </a:lnTo>
                  <a:lnTo>
                    <a:pt x="557" y="732"/>
                  </a:lnTo>
                  <a:lnTo>
                    <a:pt x="557" y="730"/>
                  </a:lnTo>
                  <a:lnTo>
                    <a:pt x="556" y="728"/>
                  </a:lnTo>
                  <a:lnTo>
                    <a:pt x="556" y="725"/>
                  </a:lnTo>
                  <a:lnTo>
                    <a:pt x="555" y="724"/>
                  </a:lnTo>
                  <a:lnTo>
                    <a:pt x="555" y="726"/>
                  </a:lnTo>
                  <a:lnTo>
                    <a:pt x="555" y="730"/>
                  </a:lnTo>
                  <a:lnTo>
                    <a:pt x="556" y="734"/>
                  </a:lnTo>
                  <a:lnTo>
                    <a:pt x="556" y="735"/>
                  </a:lnTo>
                  <a:lnTo>
                    <a:pt x="557" y="737"/>
                  </a:lnTo>
                  <a:lnTo>
                    <a:pt x="558" y="740"/>
                  </a:lnTo>
                  <a:lnTo>
                    <a:pt x="557" y="740"/>
                  </a:lnTo>
                  <a:lnTo>
                    <a:pt x="557" y="741"/>
                  </a:lnTo>
                  <a:lnTo>
                    <a:pt x="556" y="741"/>
                  </a:lnTo>
                  <a:lnTo>
                    <a:pt x="556" y="740"/>
                  </a:lnTo>
                  <a:lnTo>
                    <a:pt x="555" y="738"/>
                  </a:lnTo>
                  <a:lnTo>
                    <a:pt x="554" y="736"/>
                  </a:lnTo>
                  <a:lnTo>
                    <a:pt x="554" y="735"/>
                  </a:lnTo>
                  <a:lnTo>
                    <a:pt x="554" y="732"/>
                  </a:lnTo>
                  <a:lnTo>
                    <a:pt x="552" y="731"/>
                  </a:lnTo>
                  <a:lnTo>
                    <a:pt x="552" y="732"/>
                  </a:lnTo>
                  <a:lnTo>
                    <a:pt x="552" y="735"/>
                  </a:lnTo>
                  <a:lnTo>
                    <a:pt x="552" y="736"/>
                  </a:lnTo>
                  <a:lnTo>
                    <a:pt x="551" y="737"/>
                  </a:lnTo>
                  <a:lnTo>
                    <a:pt x="550" y="735"/>
                  </a:lnTo>
                  <a:lnTo>
                    <a:pt x="550" y="732"/>
                  </a:lnTo>
                  <a:lnTo>
                    <a:pt x="549" y="732"/>
                  </a:lnTo>
                  <a:lnTo>
                    <a:pt x="548" y="729"/>
                  </a:lnTo>
                  <a:lnTo>
                    <a:pt x="548" y="730"/>
                  </a:lnTo>
                  <a:lnTo>
                    <a:pt x="548" y="732"/>
                  </a:lnTo>
                  <a:lnTo>
                    <a:pt x="549" y="735"/>
                  </a:lnTo>
                  <a:lnTo>
                    <a:pt x="549" y="737"/>
                  </a:lnTo>
                  <a:lnTo>
                    <a:pt x="548" y="737"/>
                  </a:lnTo>
                  <a:lnTo>
                    <a:pt x="549" y="738"/>
                  </a:lnTo>
                  <a:lnTo>
                    <a:pt x="548" y="740"/>
                  </a:lnTo>
                  <a:lnTo>
                    <a:pt x="546" y="738"/>
                  </a:lnTo>
                  <a:lnTo>
                    <a:pt x="546" y="741"/>
                  </a:lnTo>
                  <a:lnTo>
                    <a:pt x="548" y="742"/>
                  </a:lnTo>
                  <a:lnTo>
                    <a:pt x="548" y="743"/>
                  </a:lnTo>
                  <a:lnTo>
                    <a:pt x="551" y="744"/>
                  </a:lnTo>
                  <a:lnTo>
                    <a:pt x="550" y="744"/>
                  </a:lnTo>
                  <a:lnTo>
                    <a:pt x="548" y="743"/>
                  </a:lnTo>
                  <a:lnTo>
                    <a:pt x="549" y="744"/>
                  </a:lnTo>
                  <a:lnTo>
                    <a:pt x="549" y="747"/>
                  </a:lnTo>
                  <a:lnTo>
                    <a:pt x="548" y="747"/>
                  </a:lnTo>
                  <a:lnTo>
                    <a:pt x="546" y="747"/>
                  </a:lnTo>
                  <a:lnTo>
                    <a:pt x="543" y="743"/>
                  </a:lnTo>
                  <a:lnTo>
                    <a:pt x="543" y="741"/>
                  </a:lnTo>
                  <a:lnTo>
                    <a:pt x="542" y="740"/>
                  </a:lnTo>
                  <a:lnTo>
                    <a:pt x="543" y="735"/>
                  </a:lnTo>
                  <a:lnTo>
                    <a:pt x="542" y="734"/>
                  </a:lnTo>
                  <a:lnTo>
                    <a:pt x="542" y="730"/>
                  </a:lnTo>
                  <a:lnTo>
                    <a:pt x="542" y="729"/>
                  </a:lnTo>
                  <a:lnTo>
                    <a:pt x="540" y="729"/>
                  </a:lnTo>
                  <a:lnTo>
                    <a:pt x="540" y="731"/>
                  </a:lnTo>
                  <a:lnTo>
                    <a:pt x="540" y="732"/>
                  </a:lnTo>
                  <a:lnTo>
                    <a:pt x="539" y="732"/>
                  </a:lnTo>
                  <a:lnTo>
                    <a:pt x="539" y="735"/>
                  </a:lnTo>
                  <a:lnTo>
                    <a:pt x="539" y="737"/>
                  </a:lnTo>
                  <a:lnTo>
                    <a:pt x="540" y="740"/>
                  </a:lnTo>
                  <a:lnTo>
                    <a:pt x="540" y="741"/>
                  </a:lnTo>
                  <a:lnTo>
                    <a:pt x="540" y="742"/>
                  </a:lnTo>
                  <a:lnTo>
                    <a:pt x="542" y="743"/>
                  </a:lnTo>
                  <a:lnTo>
                    <a:pt x="543" y="746"/>
                  </a:lnTo>
                  <a:lnTo>
                    <a:pt x="544" y="747"/>
                  </a:lnTo>
                  <a:lnTo>
                    <a:pt x="544" y="749"/>
                  </a:lnTo>
                  <a:lnTo>
                    <a:pt x="543" y="750"/>
                  </a:lnTo>
                  <a:lnTo>
                    <a:pt x="543" y="752"/>
                  </a:lnTo>
                  <a:lnTo>
                    <a:pt x="543" y="753"/>
                  </a:lnTo>
                  <a:lnTo>
                    <a:pt x="544" y="755"/>
                  </a:lnTo>
                  <a:lnTo>
                    <a:pt x="544" y="756"/>
                  </a:lnTo>
                  <a:lnTo>
                    <a:pt x="545" y="758"/>
                  </a:lnTo>
                  <a:lnTo>
                    <a:pt x="548" y="758"/>
                  </a:lnTo>
                  <a:lnTo>
                    <a:pt x="550" y="758"/>
                  </a:lnTo>
                  <a:lnTo>
                    <a:pt x="554" y="756"/>
                  </a:lnTo>
                  <a:lnTo>
                    <a:pt x="557" y="755"/>
                  </a:lnTo>
                  <a:lnTo>
                    <a:pt x="558" y="754"/>
                  </a:lnTo>
                  <a:lnTo>
                    <a:pt x="560" y="754"/>
                  </a:lnTo>
                  <a:lnTo>
                    <a:pt x="562" y="754"/>
                  </a:lnTo>
                  <a:lnTo>
                    <a:pt x="564" y="753"/>
                  </a:lnTo>
                  <a:lnTo>
                    <a:pt x="567" y="753"/>
                  </a:lnTo>
                  <a:lnTo>
                    <a:pt x="567" y="754"/>
                  </a:lnTo>
                  <a:lnTo>
                    <a:pt x="566" y="755"/>
                  </a:lnTo>
                  <a:lnTo>
                    <a:pt x="566" y="756"/>
                  </a:lnTo>
                  <a:lnTo>
                    <a:pt x="564" y="756"/>
                  </a:lnTo>
                  <a:lnTo>
                    <a:pt x="563" y="756"/>
                  </a:lnTo>
                  <a:lnTo>
                    <a:pt x="564" y="758"/>
                  </a:lnTo>
                  <a:lnTo>
                    <a:pt x="563" y="758"/>
                  </a:lnTo>
                  <a:lnTo>
                    <a:pt x="562" y="758"/>
                  </a:lnTo>
                  <a:lnTo>
                    <a:pt x="561" y="756"/>
                  </a:lnTo>
                  <a:lnTo>
                    <a:pt x="560" y="758"/>
                  </a:lnTo>
                  <a:lnTo>
                    <a:pt x="562" y="759"/>
                  </a:lnTo>
                  <a:lnTo>
                    <a:pt x="562" y="760"/>
                  </a:lnTo>
                  <a:lnTo>
                    <a:pt x="561" y="761"/>
                  </a:lnTo>
                  <a:lnTo>
                    <a:pt x="560" y="761"/>
                  </a:lnTo>
                  <a:lnTo>
                    <a:pt x="558" y="761"/>
                  </a:lnTo>
                  <a:lnTo>
                    <a:pt x="557" y="760"/>
                  </a:lnTo>
                  <a:lnTo>
                    <a:pt x="558" y="761"/>
                  </a:lnTo>
                  <a:lnTo>
                    <a:pt x="558" y="764"/>
                  </a:lnTo>
                  <a:lnTo>
                    <a:pt x="557" y="765"/>
                  </a:lnTo>
                  <a:lnTo>
                    <a:pt x="557" y="766"/>
                  </a:lnTo>
                  <a:lnTo>
                    <a:pt x="556" y="767"/>
                  </a:lnTo>
                  <a:lnTo>
                    <a:pt x="555" y="767"/>
                  </a:lnTo>
                  <a:lnTo>
                    <a:pt x="554" y="767"/>
                  </a:lnTo>
                  <a:lnTo>
                    <a:pt x="554" y="768"/>
                  </a:lnTo>
                  <a:lnTo>
                    <a:pt x="551" y="770"/>
                  </a:lnTo>
                  <a:lnTo>
                    <a:pt x="554" y="771"/>
                  </a:lnTo>
                  <a:lnTo>
                    <a:pt x="554" y="772"/>
                  </a:lnTo>
                  <a:lnTo>
                    <a:pt x="552" y="772"/>
                  </a:lnTo>
                  <a:lnTo>
                    <a:pt x="551" y="773"/>
                  </a:lnTo>
                  <a:lnTo>
                    <a:pt x="550" y="773"/>
                  </a:lnTo>
                  <a:lnTo>
                    <a:pt x="550" y="772"/>
                  </a:lnTo>
                  <a:lnTo>
                    <a:pt x="549" y="772"/>
                  </a:lnTo>
                  <a:lnTo>
                    <a:pt x="548" y="772"/>
                  </a:lnTo>
                  <a:lnTo>
                    <a:pt x="546" y="770"/>
                  </a:lnTo>
                  <a:lnTo>
                    <a:pt x="546" y="768"/>
                  </a:lnTo>
                  <a:lnTo>
                    <a:pt x="545" y="770"/>
                  </a:lnTo>
                  <a:lnTo>
                    <a:pt x="546" y="771"/>
                  </a:lnTo>
                  <a:lnTo>
                    <a:pt x="548" y="772"/>
                  </a:lnTo>
                  <a:lnTo>
                    <a:pt x="548" y="773"/>
                  </a:lnTo>
                  <a:lnTo>
                    <a:pt x="546" y="775"/>
                  </a:lnTo>
                  <a:lnTo>
                    <a:pt x="546" y="776"/>
                  </a:lnTo>
                  <a:lnTo>
                    <a:pt x="544" y="776"/>
                  </a:lnTo>
                  <a:lnTo>
                    <a:pt x="543" y="777"/>
                  </a:lnTo>
                  <a:lnTo>
                    <a:pt x="540" y="776"/>
                  </a:lnTo>
                  <a:lnTo>
                    <a:pt x="540" y="777"/>
                  </a:lnTo>
                  <a:lnTo>
                    <a:pt x="538" y="777"/>
                  </a:lnTo>
                  <a:lnTo>
                    <a:pt x="537" y="776"/>
                  </a:lnTo>
                  <a:lnTo>
                    <a:pt x="536" y="777"/>
                  </a:lnTo>
                  <a:lnTo>
                    <a:pt x="534" y="777"/>
                  </a:lnTo>
                  <a:lnTo>
                    <a:pt x="533" y="777"/>
                  </a:lnTo>
                  <a:lnTo>
                    <a:pt x="533" y="776"/>
                  </a:lnTo>
                  <a:lnTo>
                    <a:pt x="532" y="776"/>
                  </a:lnTo>
                  <a:lnTo>
                    <a:pt x="531" y="776"/>
                  </a:lnTo>
                  <a:lnTo>
                    <a:pt x="530" y="776"/>
                  </a:lnTo>
                  <a:lnTo>
                    <a:pt x="530" y="775"/>
                  </a:lnTo>
                  <a:lnTo>
                    <a:pt x="528" y="776"/>
                  </a:lnTo>
                  <a:lnTo>
                    <a:pt x="527" y="776"/>
                  </a:lnTo>
                  <a:lnTo>
                    <a:pt x="526" y="776"/>
                  </a:lnTo>
                  <a:lnTo>
                    <a:pt x="525" y="776"/>
                  </a:lnTo>
                  <a:lnTo>
                    <a:pt x="524" y="776"/>
                  </a:lnTo>
                  <a:lnTo>
                    <a:pt x="524" y="777"/>
                  </a:lnTo>
                  <a:lnTo>
                    <a:pt x="521" y="777"/>
                  </a:lnTo>
                  <a:lnTo>
                    <a:pt x="520" y="777"/>
                  </a:lnTo>
                  <a:lnTo>
                    <a:pt x="519" y="777"/>
                  </a:lnTo>
                  <a:lnTo>
                    <a:pt x="518" y="778"/>
                  </a:lnTo>
                  <a:lnTo>
                    <a:pt x="518" y="777"/>
                  </a:lnTo>
                  <a:lnTo>
                    <a:pt x="516" y="776"/>
                  </a:lnTo>
                  <a:lnTo>
                    <a:pt x="515" y="776"/>
                  </a:lnTo>
                  <a:lnTo>
                    <a:pt x="515" y="777"/>
                  </a:lnTo>
                  <a:lnTo>
                    <a:pt x="514" y="777"/>
                  </a:lnTo>
                  <a:lnTo>
                    <a:pt x="513" y="777"/>
                  </a:lnTo>
                  <a:lnTo>
                    <a:pt x="511" y="777"/>
                  </a:lnTo>
                  <a:lnTo>
                    <a:pt x="510" y="777"/>
                  </a:lnTo>
                  <a:lnTo>
                    <a:pt x="509" y="778"/>
                  </a:lnTo>
                  <a:lnTo>
                    <a:pt x="508" y="779"/>
                  </a:lnTo>
                  <a:lnTo>
                    <a:pt x="507" y="781"/>
                  </a:lnTo>
                  <a:lnTo>
                    <a:pt x="507" y="782"/>
                  </a:lnTo>
                  <a:lnTo>
                    <a:pt x="505" y="782"/>
                  </a:lnTo>
                  <a:lnTo>
                    <a:pt x="504" y="783"/>
                  </a:lnTo>
                  <a:lnTo>
                    <a:pt x="502" y="783"/>
                  </a:lnTo>
                  <a:lnTo>
                    <a:pt x="501" y="783"/>
                  </a:lnTo>
                  <a:lnTo>
                    <a:pt x="503" y="784"/>
                  </a:lnTo>
                  <a:lnTo>
                    <a:pt x="504" y="784"/>
                  </a:lnTo>
                  <a:lnTo>
                    <a:pt x="504" y="785"/>
                  </a:lnTo>
                  <a:lnTo>
                    <a:pt x="503" y="785"/>
                  </a:lnTo>
                  <a:lnTo>
                    <a:pt x="501" y="784"/>
                  </a:lnTo>
                  <a:lnTo>
                    <a:pt x="499" y="785"/>
                  </a:lnTo>
                  <a:lnTo>
                    <a:pt x="502" y="787"/>
                  </a:lnTo>
                  <a:lnTo>
                    <a:pt x="501" y="788"/>
                  </a:lnTo>
                  <a:lnTo>
                    <a:pt x="502" y="789"/>
                  </a:lnTo>
                  <a:lnTo>
                    <a:pt x="501" y="789"/>
                  </a:lnTo>
                  <a:lnTo>
                    <a:pt x="499" y="788"/>
                  </a:lnTo>
                  <a:lnTo>
                    <a:pt x="498" y="789"/>
                  </a:lnTo>
                  <a:lnTo>
                    <a:pt x="499" y="790"/>
                  </a:lnTo>
                  <a:lnTo>
                    <a:pt x="498" y="790"/>
                  </a:lnTo>
                  <a:lnTo>
                    <a:pt x="497" y="790"/>
                  </a:lnTo>
                  <a:lnTo>
                    <a:pt x="497" y="791"/>
                  </a:lnTo>
                  <a:lnTo>
                    <a:pt x="496" y="791"/>
                  </a:lnTo>
                  <a:lnTo>
                    <a:pt x="495" y="790"/>
                  </a:lnTo>
                  <a:lnTo>
                    <a:pt x="493" y="790"/>
                  </a:lnTo>
                  <a:lnTo>
                    <a:pt x="495" y="791"/>
                  </a:lnTo>
                  <a:lnTo>
                    <a:pt x="496" y="794"/>
                  </a:lnTo>
                  <a:lnTo>
                    <a:pt x="496" y="795"/>
                  </a:lnTo>
                  <a:lnTo>
                    <a:pt x="495" y="795"/>
                  </a:lnTo>
                  <a:lnTo>
                    <a:pt x="493" y="793"/>
                  </a:lnTo>
                  <a:lnTo>
                    <a:pt x="492" y="791"/>
                  </a:lnTo>
                  <a:lnTo>
                    <a:pt x="492" y="793"/>
                  </a:lnTo>
                  <a:lnTo>
                    <a:pt x="493" y="794"/>
                  </a:lnTo>
                  <a:lnTo>
                    <a:pt x="492" y="795"/>
                  </a:lnTo>
                  <a:lnTo>
                    <a:pt x="492" y="796"/>
                  </a:lnTo>
                  <a:lnTo>
                    <a:pt x="493" y="796"/>
                  </a:lnTo>
                  <a:lnTo>
                    <a:pt x="493" y="799"/>
                  </a:lnTo>
                  <a:lnTo>
                    <a:pt x="493" y="800"/>
                  </a:lnTo>
                  <a:lnTo>
                    <a:pt x="495" y="801"/>
                  </a:lnTo>
                  <a:lnTo>
                    <a:pt x="496" y="803"/>
                  </a:lnTo>
                  <a:lnTo>
                    <a:pt x="496" y="805"/>
                  </a:lnTo>
                  <a:lnTo>
                    <a:pt x="497" y="807"/>
                  </a:lnTo>
                  <a:lnTo>
                    <a:pt x="499" y="809"/>
                  </a:lnTo>
                  <a:lnTo>
                    <a:pt x="502" y="811"/>
                  </a:lnTo>
                  <a:lnTo>
                    <a:pt x="503" y="812"/>
                  </a:lnTo>
                  <a:lnTo>
                    <a:pt x="502" y="813"/>
                  </a:lnTo>
                  <a:lnTo>
                    <a:pt x="501" y="814"/>
                  </a:lnTo>
                  <a:lnTo>
                    <a:pt x="501" y="815"/>
                  </a:lnTo>
                  <a:lnTo>
                    <a:pt x="501" y="817"/>
                  </a:lnTo>
                  <a:lnTo>
                    <a:pt x="499" y="818"/>
                  </a:lnTo>
                  <a:lnTo>
                    <a:pt x="498" y="818"/>
                  </a:lnTo>
                  <a:lnTo>
                    <a:pt x="497" y="818"/>
                  </a:lnTo>
                  <a:lnTo>
                    <a:pt x="496" y="819"/>
                  </a:lnTo>
                  <a:lnTo>
                    <a:pt x="498" y="820"/>
                  </a:lnTo>
                  <a:lnTo>
                    <a:pt x="499" y="821"/>
                  </a:lnTo>
                  <a:lnTo>
                    <a:pt x="498" y="821"/>
                  </a:lnTo>
                  <a:lnTo>
                    <a:pt x="497" y="820"/>
                  </a:lnTo>
                  <a:lnTo>
                    <a:pt x="496" y="819"/>
                  </a:lnTo>
                  <a:lnTo>
                    <a:pt x="495" y="818"/>
                  </a:lnTo>
                  <a:lnTo>
                    <a:pt x="492" y="817"/>
                  </a:lnTo>
                  <a:lnTo>
                    <a:pt x="492" y="815"/>
                  </a:lnTo>
                  <a:lnTo>
                    <a:pt x="490" y="814"/>
                  </a:lnTo>
                  <a:lnTo>
                    <a:pt x="489" y="815"/>
                  </a:lnTo>
                  <a:lnTo>
                    <a:pt x="487" y="817"/>
                  </a:lnTo>
                  <a:lnTo>
                    <a:pt x="486" y="817"/>
                  </a:lnTo>
                  <a:lnTo>
                    <a:pt x="484" y="817"/>
                  </a:lnTo>
                  <a:lnTo>
                    <a:pt x="484" y="818"/>
                  </a:lnTo>
                  <a:lnTo>
                    <a:pt x="484" y="819"/>
                  </a:lnTo>
                  <a:lnTo>
                    <a:pt x="483" y="820"/>
                  </a:lnTo>
                  <a:lnTo>
                    <a:pt x="481" y="819"/>
                  </a:lnTo>
                  <a:lnTo>
                    <a:pt x="481" y="820"/>
                  </a:lnTo>
                  <a:lnTo>
                    <a:pt x="480" y="820"/>
                  </a:lnTo>
                  <a:lnTo>
                    <a:pt x="481" y="821"/>
                  </a:lnTo>
                  <a:lnTo>
                    <a:pt x="480" y="823"/>
                  </a:lnTo>
                  <a:lnTo>
                    <a:pt x="479" y="823"/>
                  </a:lnTo>
                  <a:lnTo>
                    <a:pt x="478" y="823"/>
                  </a:lnTo>
                  <a:lnTo>
                    <a:pt x="478" y="824"/>
                  </a:lnTo>
                  <a:lnTo>
                    <a:pt x="478" y="825"/>
                  </a:lnTo>
                  <a:lnTo>
                    <a:pt x="477" y="825"/>
                  </a:lnTo>
                  <a:lnTo>
                    <a:pt x="477" y="824"/>
                  </a:lnTo>
                  <a:lnTo>
                    <a:pt x="475" y="825"/>
                  </a:lnTo>
                  <a:lnTo>
                    <a:pt x="474" y="825"/>
                  </a:lnTo>
                  <a:lnTo>
                    <a:pt x="473" y="825"/>
                  </a:lnTo>
                  <a:lnTo>
                    <a:pt x="472" y="825"/>
                  </a:lnTo>
                  <a:lnTo>
                    <a:pt x="472" y="823"/>
                  </a:lnTo>
                  <a:lnTo>
                    <a:pt x="471" y="820"/>
                  </a:lnTo>
                  <a:lnTo>
                    <a:pt x="471" y="819"/>
                  </a:lnTo>
                  <a:lnTo>
                    <a:pt x="471" y="818"/>
                  </a:lnTo>
                  <a:lnTo>
                    <a:pt x="471" y="817"/>
                  </a:lnTo>
                  <a:lnTo>
                    <a:pt x="471" y="814"/>
                  </a:lnTo>
                  <a:lnTo>
                    <a:pt x="471" y="813"/>
                  </a:lnTo>
                  <a:lnTo>
                    <a:pt x="473" y="812"/>
                  </a:lnTo>
                  <a:lnTo>
                    <a:pt x="474" y="812"/>
                  </a:lnTo>
                  <a:lnTo>
                    <a:pt x="473" y="809"/>
                  </a:lnTo>
                  <a:lnTo>
                    <a:pt x="472" y="807"/>
                  </a:lnTo>
                  <a:lnTo>
                    <a:pt x="471" y="806"/>
                  </a:lnTo>
                  <a:lnTo>
                    <a:pt x="468" y="806"/>
                  </a:lnTo>
                  <a:lnTo>
                    <a:pt x="467" y="806"/>
                  </a:lnTo>
                  <a:lnTo>
                    <a:pt x="466" y="806"/>
                  </a:lnTo>
                  <a:lnTo>
                    <a:pt x="466" y="805"/>
                  </a:lnTo>
                  <a:lnTo>
                    <a:pt x="465" y="805"/>
                  </a:lnTo>
                  <a:lnTo>
                    <a:pt x="462" y="805"/>
                  </a:lnTo>
                  <a:lnTo>
                    <a:pt x="461" y="805"/>
                  </a:lnTo>
                  <a:lnTo>
                    <a:pt x="460" y="805"/>
                  </a:lnTo>
                  <a:lnTo>
                    <a:pt x="459" y="806"/>
                  </a:lnTo>
                  <a:lnTo>
                    <a:pt x="457" y="806"/>
                  </a:lnTo>
                  <a:lnTo>
                    <a:pt x="456" y="806"/>
                  </a:lnTo>
                  <a:lnTo>
                    <a:pt x="455" y="806"/>
                  </a:lnTo>
                  <a:lnTo>
                    <a:pt x="454" y="805"/>
                  </a:lnTo>
                  <a:lnTo>
                    <a:pt x="452" y="805"/>
                  </a:lnTo>
                  <a:lnTo>
                    <a:pt x="452" y="803"/>
                  </a:lnTo>
                  <a:lnTo>
                    <a:pt x="451" y="803"/>
                  </a:lnTo>
                  <a:lnTo>
                    <a:pt x="450" y="803"/>
                  </a:lnTo>
                  <a:lnTo>
                    <a:pt x="449" y="802"/>
                  </a:lnTo>
                  <a:lnTo>
                    <a:pt x="449" y="801"/>
                  </a:lnTo>
                  <a:lnTo>
                    <a:pt x="449" y="800"/>
                  </a:lnTo>
                  <a:lnTo>
                    <a:pt x="448" y="800"/>
                  </a:lnTo>
                  <a:lnTo>
                    <a:pt x="444" y="800"/>
                  </a:lnTo>
                  <a:lnTo>
                    <a:pt x="444" y="799"/>
                  </a:lnTo>
                  <a:lnTo>
                    <a:pt x="444" y="801"/>
                  </a:lnTo>
                  <a:lnTo>
                    <a:pt x="443" y="802"/>
                  </a:lnTo>
                  <a:lnTo>
                    <a:pt x="442" y="801"/>
                  </a:lnTo>
                  <a:lnTo>
                    <a:pt x="440" y="801"/>
                  </a:lnTo>
                  <a:lnTo>
                    <a:pt x="440" y="800"/>
                  </a:lnTo>
                  <a:lnTo>
                    <a:pt x="440" y="797"/>
                  </a:lnTo>
                  <a:lnTo>
                    <a:pt x="440" y="796"/>
                  </a:lnTo>
                  <a:lnTo>
                    <a:pt x="440" y="797"/>
                  </a:lnTo>
                  <a:lnTo>
                    <a:pt x="440" y="800"/>
                  </a:lnTo>
                  <a:lnTo>
                    <a:pt x="440" y="801"/>
                  </a:lnTo>
                  <a:lnTo>
                    <a:pt x="439" y="800"/>
                  </a:lnTo>
                  <a:lnTo>
                    <a:pt x="439" y="801"/>
                  </a:lnTo>
                  <a:lnTo>
                    <a:pt x="439" y="802"/>
                  </a:lnTo>
                  <a:lnTo>
                    <a:pt x="439" y="803"/>
                  </a:lnTo>
                  <a:lnTo>
                    <a:pt x="438" y="803"/>
                  </a:lnTo>
                  <a:lnTo>
                    <a:pt x="437" y="803"/>
                  </a:lnTo>
                  <a:lnTo>
                    <a:pt x="436" y="802"/>
                  </a:lnTo>
                  <a:lnTo>
                    <a:pt x="436" y="803"/>
                  </a:lnTo>
                  <a:lnTo>
                    <a:pt x="434" y="803"/>
                  </a:lnTo>
                  <a:lnTo>
                    <a:pt x="434" y="802"/>
                  </a:lnTo>
                  <a:lnTo>
                    <a:pt x="434" y="801"/>
                  </a:lnTo>
                  <a:lnTo>
                    <a:pt x="433" y="801"/>
                  </a:lnTo>
                  <a:lnTo>
                    <a:pt x="433" y="803"/>
                  </a:lnTo>
                  <a:lnTo>
                    <a:pt x="433" y="805"/>
                  </a:lnTo>
                  <a:lnTo>
                    <a:pt x="433" y="806"/>
                  </a:lnTo>
                  <a:lnTo>
                    <a:pt x="432" y="806"/>
                  </a:lnTo>
                  <a:lnTo>
                    <a:pt x="428" y="805"/>
                  </a:lnTo>
                  <a:lnTo>
                    <a:pt x="428" y="808"/>
                  </a:lnTo>
                  <a:lnTo>
                    <a:pt x="427" y="807"/>
                  </a:lnTo>
                  <a:lnTo>
                    <a:pt x="427" y="806"/>
                  </a:lnTo>
                  <a:lnTo>
                    <a:pt x="428" y="803"/>
                  </a:lnTo>
                  <a:lnTo>
                    <a:pt x="426" y="806"/>
                  </a:lnTo>
                  <a:lnTo>
                    <a:pt x="425" y="806"/>
                  </a:lnTo>
                  <a:lnTo>
                    <a:pt x="426" y="807"/>
                  </a:lnTo>
                  <a:lnTo>
                    <a:pt x="426" y="808"/>
                  </a:lnTo>
                  <a:lnTo>
                    <a:pt x="426" y="809"/>
                  </a:lnTo>
                  <a:lnTo>
                    <a:pt x="425" y="808"/>
                  </a:lnTo>
                  <a:lnTo>
                    <a:pt x="424" y="808"/>
                  </a:lnTo>
                  <a:lnTo>
                    <a:pt x="422" y="807"/>
                  </a:lnTo>
                  <a:lnTo>
                    <a:pt x="421" y="807"/>
                  </a:lnTo>
                  <a:lnTo>
                    <a:pt x="421" y="806"/>
                  </a:lnTo>
                  <a:lnTo>
                    <a:pt x="420" y="808"/>
                  </a:lnTo>
                  <a:lnTo>
                    <a:pt x="419" y="809"/>
                  </a:lnTo>
                  <a:lnTo>
                    <a:pt x="418" y="809"/>
                  </a:lnTo>
                  <a:lnTo>
                    <a:pt x="416" y="809"/>
                  </a:lnTo>
                  <a:lnTo>
                    <a:pt x="415" y="808"/>
                  </a:lnTo>
                  <a:lnTo>
                    <a:pt x="413" y="807"/>
                  </a:lnTo>
                  <a:lnTo>
                    <a:pt x="412" y="807"/>
                  </a:lnTo>
                  <a:lnTo>
                    <a:pt x="410" y="806"/>
                  </a:lnTo>
                  <a:lnTo>
                    <a:pt x="410" y="805"/>
                  </a:lnTo>
                  <a:lnTo>
                    <a:pt x="409" y="805"/>
                  </a:lnTo>
                  <a:lnTo>
                    <a:pt x="409" y="806"/>
                  </a:lnTo>
                  <a:lnTo>
                    <a:pt x="409" y="807"/>
                  </a:lnTo>
                  <a:lnTo>
                    <a:pt x="408" y="807"/>
                  </a:lnTo>
                  <a:lnTo>
                    <a:pt x="408" y="808"/>
                  </a:lnTo>
                  <a:lnTo>
                    <a:pt x="407" y="808"/>
                  </a:lnTo>
                  <a:lnTo>
                    <a:pt x="406" y="809"/>
                  </a:lnTo>
                  <a:lnTo>
                    <a:pt x="404" y="811"/>
                  </a:lnTo>
                  <a:lnTo>
                    <a:pt x="404" y="812"/>
                  </a:lnTo>
                  <a:lnTo>
                    <a:pt x="403" y="812"/>
                  </a:lnTo>
                  <a:lnTo>
                    <a:pt x="401" y="812"/>
                  </a:lnTo>
                  <a:lnTo>
                    <a:pt x="402" y="813"/>
                  </a:lnTo>
                  <a:lnTo>
                    <a:pt x="402" y="814"/>
                  </a:lnTo>
                  <a:lnTo>
                    <a:pt x="401" y="814"/>
                  </a:lnTo>
                  <a:lnTo>
                    <a:pt x="401" y="815"/>
                  </a:lnTo>
                  <a:lnTo>
                    <a:pt x="400" y="817"/>
                  </a:lnTo>
                  <a:lnTo>
                    <a:pt x="400" y="818"/>
                  </a:lnTo>
                  <a:lnTo>
                    <a:pt x="398" y="817"/>
                  </a:lnTo>
                  <a:lnTo>
                    <a:pt x="397" y="817"/>
                  </a:lnTo>
                  <a:lnTo>
                    <a:pt x="396" y="817"/>
                  </a:lnTo>
                  <a:lnTo>
                    <a:pt x="397" y="818"/>
                  </a:lnTo>
                  <a:lnTo>
                    <a:pt x="400" y="819"/>
                  </a:lnTo>
                  <a:lnTo>
                    <a:pt x="398" y="820"/>
                  </a:lnTo>
                  <a:lnTo>
                    <a:pt x="397" y="819"/>
                  </a:lnTo>
                  <a:lnTo>
                    <a:pt x="395" y="819"/>
                  </a:lnTo>
                  <a:lnTo>
                    <a:pt x="393" y="817"/>
                  </a:lnTo>
                  <a:lnTo>
                    <a:pt x="391" y="817"/>
                  </a:lnTo>
                  <a:lnTo>
                    <a:pt x="390" y="815"/>
                  </a:lnTo>
                  <a:lnTo>
                    <a:pt x="389" y="815"/>
                  </a:lnTo>
                  <a:lnTo>
                    <a:pt x="387" y="815"/>
                  </a:lnTo>
                  <a:lnTo>
                    <a:pt x="386" y="815"/>
                  </a:lnTo>
                  <a:lnTo>
                    <a:pt x="386" y="814"/>
                  </a:lnTo>
                  <a:lnTo>
                    <a:pt x="384" y="813"/>
                  </a:lnTo>
                  <a:lnTo>
                    <a:pt x="384" y="814"/>
                  </a:lnTo>
                  <a:lnTo>
                    <a:pt x="383" y="814"/>
                  </a:lnTo>
                  <a:lnTo>
                    <a:pt x="381" y="814"/>
                  </a:lnTo>
                  <a:lnTo>
                    <a:pt x="380" y="813"/>
                  </a:lnTo>
                  <a:lnTo>
                    <a:pt x="378" y="814"/>
                  </a:lnTo>
                  <a:lnTo>
                    <a:pt x="377" y="814"/>
                  </a:lnTo>
                  <a:lnTo>
                    <a:pt x="377" y="815"/>
                  </a:lnTo>
                  <a:lnTo>
                    <a:pt x="375" y="815"/>
                  </a:lnTo>
                  <a:lnTo>
                    <a:pt x="374" y="814"/>
                  </a:lnTo>
                  <a:lnTo>
                    <a:pt x="373" y="814"/>
                  </a:lnTo>
                  <a:lnTo>
                    <a:pt x="373" y="813"/>
                  </a:lnTo>
                  <a:lnTo>
                    <a:pt x="373" y="811"/>
                  </a:lnTo>
                  <a:lnTo>
                    <a:pt x="373" y="809"/>
                  </a:lnTo>
                  <a:lnTo>
                    <a:pt x="372" y="811"/>
                  </a:lnTo>
                  <a:lnTo>
                    <a:pt x="372" y="812"/>
                  </a:lnTo>
                  <a:lnTo>
                    <a:pt x="372" y="813"/>
                  </a:lnTo>
                  <a:lnTo>
                    <a:pt x="372" y="815"/>
                  </a:lnTo>
                  <a:lnTo>
                    <a:pt x="371" y="815"/>
                  </a:lnTo>
                  <a:lnTo>
                    <a:pt x="371" y="817"/>
                  </a:lnTo>
                  <a:lnTo>
                    <a:pt x="369" y="819"/>
                  </a:lnTo>
                  <a:lnTo>
                    <a:pt x="369" y="820"/>
                  </a:lnTo>
                  <a:lnTo>
                    <a:pt x="369" y="821"/>
                  </a:lnTo>
                  <a:lnTo>
                    <a:pt x="368" y="821"/>
                  </a:lnTo>
                  <a:lnTo>
                    <a:pt x="367" y="823"/>
                  </a:lnTo>
                  <a:lnTo>
                    <a:pt x="368" y="825"/>
                  </a:lnTo>
                  <a:lnTo>
                    <a:pt x="368" y="826"/>
                  </a:lnTo>
                  <a:lnTo>
                    <a:pt x="367" y="826"/>
                  </a:lnTo>
                  <a:lnTo>
                    <a:pt x="367" y="829"/>
                  </a:lnTo>
                  <a:lnTo>
                    <a:pt x="367" y="830"/>
                  </a:lnTo>
                  <a:lnTo>
                    <a:pt x="366" y="830"/>
                  </a:lnTo>
                  <a:lnTo>
                    <a:pt x="366" y="832"/>
                  </a:lnTo>
                  <a:lnTo>
                    <a:pt x="365" y="833"/>
                  </a:lnTo>
                  <a:lnTo>
                    <a:pt x="365" y="835"/>
                  </a:lnTo>
                  <a:lnTo>
                    <a:pt x="362" y="836"/>
                  </a:lnTo>
                  <a:lnTo>
                    <a:pt x="361" y="837"/>
                  </a:lnTo>
                  <a:lnTo>
                    <a:pt x="359" y="838"/>
                  </a:lnTo>
                  <a:lnTo>
                    <a:pt x="357" y="838"/>
                  </a:lnTo>
                  <a:lnTo>
                    <a:pt x="357" y="837"/>
                  </a:lnTo>
                  <a:lnTo>
                    <a:pt x="356" y="838"/>
                  </a:lnTo>
                  <a:lnTo>
                    <a:pt x="355" y="837"/>
                  </a:lnTo>
                  <a:lnTo>
                    <a:pt x="354" y="837"/>
                  </a:lnTo>
                  <a:lnTo>
                    <a:pt x="353" y="836"/>
                  </a:lnTo>
                  <a:lnTo>
                    <a:pt x="351" y="836"/>
                  </a:lnTo>
                  <a:lnTo>
                    <a:pt x="351" y="835"/>
                  </a:lnTo>
                  <a:lnTo>
                    <a:pt x="350" y="836"/>
                  </a:lnTo>
                  <a:lnTo>
                    <a:pt x="349" y="836"/>
                  </a:lnTo>
                  <a:lnTo>
                    <a:pt x="349" y="835"/>
                  </a:lnTo>
                  <a:lnTo>
                    <a:pt x="348" y="833"/>
                  </a:lnTo>
                  <a:lnTo>
                    <a:pt x="347" y="833"/>
                  </a:lnTo>
                  <a:lnTo>
                    <a:pt x="345" y="833"/>
                  </a:lnTo>
                  <a:lnTo>
                    <a:pt x="344" y="833"/>
                  </a:lnTo>
                  <a:lnTo>
                    <a:pt x="344" y="836"/>
                  </a:lnTo>
                  <a:lnTo>
                    <a:pt x="344" y="837"/>
                  </a:lnTo>
                  <a:lnTo>
                    <a:pt x="344" y="836"/>
                  </a:lnTo>
                  <a:lnTo>
                    <a:pt x="343" y="836"/>
                  </a:lnTo>
                  <a:lnTo>
                    <a:pt x="343" y="837"/>
                  </a:lnTo>
                  <a:lnTo>
                    <a:pt x="343" y="838"/>
                  </a:lnTo>
                  <a:lnTo>
                    <a:pt x="342" y="838"/>
                  </a:lnTo>
                  <a:lnTo>
                    <a:pt x="342" y="841"/>
                  </a:lnTo>
                  <a:lnTo>
                    <a:pt x="341" y="839"/>
                  </a:lnTo>
                  <a:lnTo>
                    <a:pt x="341" y="841"/>
                  </a:lnTo>
                  <a:lnTo>
                    <a:pt x="341" y="842"/>
                  </a:lnTo>
                  <a:lnTo>
                    <a:pt x="341" y="843"/>
                  </a:lnTo>
                  <a:lnTo>
                    <a:pt x="339" y="844"/>
                  </a:lnTo>
                  <a:lnTo>
                    <a:pt x="338" y="844"/>
                  </a:lnTo>
                  <a:lnTo>
                    <a:pt x="339" y="845"/>
                  </a:lnTo>
                  <a:lnTo>
                    <a:pt x="339" y="847"/>
                  </a:lnTo>
                  <a:lnTo>
                    <a:pt x="338" y="848"/>
                  </a:lnTo>
                  <a:lnTo>
                    <a:pt x="338" y="849"/>
                  </a:lnTo>
                  <a:lnTo>
                    <a:pt x="338" y="850"/>
                  </a:lnTo>
                  <a:lnTo>
                    <a:pt x="338" y="851"/>
                  </a:lnTo>
                  <a:lnTo>
                    <a:pt x="338" y="859"/>
                  </a:lnTo>
                  <a:lnTo>
                    <a:pt x="338" y="868"/>
                  </a:lnTo>
                  <a:lnTo>
                    <a:pt x="338" y="878"/>
                  </a:lnTo>
                  <a:lnTo>
                    <a:pt x="338" y="889"/>
                  </a:lnTo>
                  <a:lnTo>
                    <a:pt x="338" y="891"/>
                  </a:lnTo>
                  <a:lnTo>
                    <a:pt x="337" y="894"/>
                  </a:lnTo>
                  <a:lnTo>
                    <a:pt x="336" y="896"/>
                  </a:lnTo>
                  <a:lnTo>
                    <a:pt x="332" y="896"/>
                  </a:lnTo>
                  <a:lnTo>
                    <a:pt x="309" y="896"/>
                  </a:lnTo>
                  <a:lnTo>
                    <a:pt x="308" y="878"/>
                  </a:lnTo>
                  <a:lnTo>
                    <a:pt x="308" y="862"/>
                  </a:lnTo>
                  <a:lnTo>
                    <a:pt x="307" y="845"/>
                  </a:lnTo>
                  <a:lnTo>
                    <a:pt x="307" y="842"/>
                  </a:lnTo>
                  <a:lnTo>
                    <a:pt x="304" y="841"/>
                  </a:lnTo>
                  <a:lnTo>
                    <a:pt x="304" y="839"/>
                  </a:lnTo>
                  <a:lnTo>
                    <a:pt x="302" y="839"/>
                  </a:lnTo>
                  <a:lnTo>
                    <a:pt x="301" y="838"/>
                  </a:lnTo>
                  <a:lnTo>
                    <a:pt x="300" y="838"/>
                  </a:lnTo>
                  <a:lnTo>
                    <a:pt x="298" y="837"/>
                  </a:lnTo>
                  <a:lnTo>
                    <a:pt x="297" y="836"/>
                  </a:lnTo>
                  <a:lnTo>
                    <a:pt x="296" y="835"/>
                  </a:lnTo>
                  <a:lnTo>
                    <a:pt x="296" y="833"/>
                  </a:lnTo>
                  <a:lnTo>
                    <a:pt x="297" y="832"/>
                  </a:lnTo>
                  <a:lnTo>
                    <a:pt x="297" y="831"/>
                  </a:lnTo>
                  <a:lnTo>
                    <a:pt x="297" y="830"/>
                  </a:lnTo>
                  <a:lnTo>
                    <a:pt x="298" y="827"/>
                  </a:lnTo>
                  <a:lnTo>
                    <a:pt x="298" y="829"/>
                  </a:lnTo>
                  <a:lnTo>
                    <a:pt x="300" y="829"/>
                  </a:lnTo>
                  <a:lnTo>
                    <a:pt x="300" y="827"/>
                  </a:lnTo>
                  <a:lnTo>
                    <a:pt x="300" y="826"/>
                  </a:lnTo>
                  <a:lnTo>
                    <a:pt x="300" y="825"/>
                  </a:lnTo>
                  <a:lnTo>
                    <a:pt x="300" y="824"/>
                  </a:lnTo>
                  <a:lnTo>
                    <a:pt x="298" y="823"/>
                  </a:lnTo>
                  <a:lnTo>
                    <a:pt x="298" y="821"/>
                  </a:lnTo>
                  <a:lnTo>
                    <a:pt x="296" y="820"/>
                  </a:lnTo>
                  <a:lnTo>
                    <a:pt x="295" y="820"/>
                  </a:lnTo>
                  <a:lnTo>
                    <a:pt x="294" y="820"/>
                  </a:lnTo>
                  <a:lnTo>
                    <a:pt x="292" y="820"/>
                  </a:lnTo>
                  <a:lnTo>
                    <a:pt x="290" y="821"/>
                  </a:lnTo>
                  <a:lnTo>
                    <a:pt x="288" y="823"/>
                  </a:lnTo>
                  <a:lnTo>
                    <a:pt x="286" y="823"/>
                  </a:lnTo>
                  <a:lnTo>
                    <a:pt x="285" y="823"/>
                  </a:lnTo>
                  <a:lnTo>
                    <a:pt x="284" y="823"/>
                  </a:lnTo>
                  <a:lnTo>
                    <a:pt x="283" y="821"/>
                  </a:lnTo>
                  <a:lnTo>
                    <a:pt x="283" y="823"/>
                  </a:lnTo>
                  <a:lnTo>
                    <a:pt x="282" y="824"/>
                  </a:lnTo>
                  <a:lnTo>
                    <a:pt x="282" y="823"/>
                  </a:lnTo>
                  <a:lnTo>
                    <a:pt x="280" y="823"/>
                  </a:lnTo>
                  <a:lnTo>
                    <a:pt x="280" y="824"/>
                  </a:lnTo>
                  <a:lnTo>
                    <a:pt x="278" y="825"/>
                  </a:lnTo>
                  <a:lnTo>
                    <a:pt x="277" y="826"/>
                  </a:lnTo>
                  <a:lnTo>
                    <a:pt x="275" y="827"/>
                  </a:lnTo>
                  <a:lnTo>
                    <a:pt x="274" y="829"/>
                  </a:lnTo>
                  <a:lnTo>
                    <a:pt x="273" y="829"/>
                  </a:lnTo>
                  <a:lnTo>
                    <a:pt x="273" y="830"/>
                  </a:lnTo>
                  <a:lnTo>
                    <a:pt x="273" y="831"/>
                  </a:lnTo>
                  <a:lnTo>
                    <a:pt x="273" y="832"/>
                  </a:lnTo>
                  <a:lnTo>
                    <a:pt x="272" y="831"/>
                  </a:lnTo>
                  <a:lnTo>
                    <a:pt x="271" y="831"/>
                  </a:lnTo>
                  <a:lnTo>
                    <a:pt x="271" y="832"/>
                  </a:lnTo>
                  <a:lnTo>
                    <a:pt x="269" y="832"/>
                  </a:lnTo>
                  <a:lnTo>
                    <a:pt x="269" y="835"/>
                  </a:lnTo>
                  <a:lnTo>
                    <a:pt x="268" y="832"/>
                  </a:lnTo>
                  <a:lnTo>
                    <a:pt x="267" y="832"/>
                  </a:lnTo>
                  <a:lnTo>
                    <a:pt x="268" y="833"/>
                  </a:lnTo>
                  <a:lnTo>
                    <a:pt x="268" y="835"/>
                  </a:lnTo>
                  <a:lnTo>
                    <a:pt x="267" y="836"/>
                  </a:lnTo>
                  <a:lnTo>
                    <a:pt x="266" y="836"/>
                  </a:lnTo>
                  <a:lnTo>
                    <a:pt x="265" y="835"/>
                  </a:lnTo>
                  <a:lnTo>
                    <a:pt x="265" y="836"/>
                  </a:lnTo>
                  <a:lnTo>
                    <a:pt x="263" y="836"/>
                  </a:lnTo>
                  <a:lnTo>
                    <a:pt x="263" y="835"/>
                  </a:lnTo>
                  <a:lnTo>
                    <a:pt x="262" y="835"/>
                  </a:lnTo>
                  <a:lnTo>
                    <a:pt x="262" y="836"/>
                  </a:lnTo>
                  <a:lnTo>
                    <a:pt x="260" y="836"/>
                  </a:lnTo>
                  <a:lnTo>
                    <a:pt x="257" y="835"/>
                  </a:lnTo>
                  <a:lnTo>
                    <a:pt x="255" y="833"/>
                  </a:lnTo>
                  <a:lnTo>
                    <a:pt x="253" y="832"/>
                  </a:lnTo>
                  <a:lnTo>
                    <a:pt x="253" y="830"/>
                  </a:lnTo>
                  <a:lnTo>
                    <a:pt x="251" y="831"/>
                  </a:lnTo>
                  <a:lnTo>
                    <a:pt x="251" y="832"/>
                  </a:lnTo>
                  <a:lnTo>
                    <a:pt x="251" y="833"/>
                  </a:lnTo>
                  <a:lnTo>
                    <a:pt x="249" y="832"/>
                  </a:lnTo>
                  <a:lnTo>
                    <a:pt x="248" y="833"/>
                  </a:lnTo>
                  <a:lnTo>
                    <a:pt x="247" y="833"/>
                  </a:lnTo>
                  <a:lnTo>
                    <a:pt x="247" y="832"/>
                  </a:lnTo>
                  <a:lnTo>
                    <a:pt x="245" y="831"/>
                  </a:lnTo>
                  <a:lnTo>
                    <a:pt x="245" y="832"/>
                  </a:lnTo>
                  <a:lnTo>
                    <a:pt x="245" y="833"/>
                  </a:lnTo>
                  <a:lnTo>
                    <a:pt x="244" y="833"/>
                  </a:lnTo>
                  <a:lnTo>
                    <a:pt x="243" y="832"/>
                  </a:lnTo>
                  <a:lnTo>
                    <a:pt x="242" y="831"/>
                  </a:lnTo>
                  <a:lnTo>
                    <a:pt x="241" y="830"/>
                  </a:lnTo>
                  <a:lnTo>
                    <a:pt x="239" y="829"/>
                  </a:lnTo>
                  <a:lnTo>
                    <a:pt x="239" y="827"/>
                  </a:lnTo>
                  <a:lnTo>
                    <a:pt x="238" y="826"/>
                  </a:lnTo>
                  <a:lnTo>
                    <a:pt x="238" y="825"/>
                  </a:lnTo>
                  <a:lnTo>
                    <a:pt x="237" y="824"/>
                  </a:lnTo>
                  <a:lnTo>
                    <a:pt x="237" y="823"/>
                  </a:lnTo>
                  <a:lnTo>
                    <a:pt x="235" y="823"/>
                  </a:lnTo>
                  <a:lnTo>
                    <a:pt x="233" y="821"/>
                  </a:lnTo>
                  <a:lnTo>
                    <a:pt x="232" y="821"/>
                  </a:lnTo>
                  <a:lnTo>
                    <a:pt x="232" y="819"/>
                  </a:lnTo>
                  <a:lnTo>
                    <a:pt x="231" y="819"/>
                  </a:lnTo>
                  <a:lnTo>
                    <a:pt x="231" y="820"/>
                  </a:lnTo>
                  <a:lnTo>
                    <a:pt x="230" y="821"/>
                  </a:lnTo>
                  <a:lnTo>
                    <a:pt x="229" y="820"/>
                  </a:lnTo>
                  <a:lnTo>
                    <a:pt x="227" y="820"/>
                  </a:lnTo>
                  <a:lnTo>
                    <a:pt x="226" y="820"/>
                  </a:lnTo>
                  <a:lnTo>
                    <a:pt x="226" y="819"/>
                  </a:lnTo>
                  <a:lnTo>
                    <a:pt x="226" y="820"/>
                  </a:lnTo>
                  <a:lnTo>
                    <a:pt x="225" y="820"/>
                  </a:lnTo>
                  <a:lnTo>
                    <a:pt x="224" y="820"/>
                  </a:lnTo>
                  <a:lnTo>
                    <a:pt x="224" y="821"/>
                  </a:lnTo>
                  <a:lnTo>
                    <a:pt x="223" y="821"/>
                  </a:lnTo>
                  <a:lnTo>
                    <a:pt x="221" y="821"/>
                  </a:lnTo>
                  <a:lnTo>
                    <a:pt x="220" y="820"/>
                  </a:lnTo>
                  <a:lnTo>
                    <a:pt x="219" y="820"/>
                  </a:lnTo>
                  <a:lnTo>
                    <a:pt x="218" y="820"/>
                  </a:lnTo>
                  <a:lnTo>
                    <a:pt x="215" y="820"/>
                  </a:lnTo>
                  <a:lnTo>
                    <a:pt x="214" y="820"/>
                  </a:lnTo>
                  <a:lnTo>
                    <a:pt x="210" y="824"/>
                  </a:lnTo>
                  <a:lnTo>
                    <a:pt x="209" y="826"/>
                  </a:lnTo>
                  <a:lnTo>
                    <a:pt x="208" y="827"/>
                  </a:lnTo>
                  <a:lnTo>
                    <a:pt x="208" y="829"/>
                  </a:lnTo>
                  <a:lnTo>
                    <a:pt x="206" y="830"/>
                  </a:lnTo>
                  <a:lnTo>
                    <a:pt x="203" y="830"/>
                  </a:lnTo>
                  <a:lnTo>
                    <a:pt x="201" y="831"/>
                  </a:lnTo>
                  <a:lnTo>
                    <a:pt x="200" y="830"/>
                  </a:lnTo>
                  <a:lnTo>
                    <a:pt x="198" y="829"/>
                  </a:lnTo>
                  <a:lnTo>
                    <a:pt x="197" y="829"/>
                  </a:lnTo>
                  <a:lnTo>
                    <a:pt x="197" y="827"/>
                  </a:lnTo>
                  <a:lnTo>
                    <a:pt x="197" y="826"/>
                  </a:lnTo>
                  <a:lnTo>
                    <a:pt x="197" y="823"/>
                  </a:lnTo>
                  <a:lnTo>
                    <a:pt x="197" y="821"/>
                  </a:lnTo>
                  <a:lnTo>
                    <a:pt x="196" y="825"/>
                  </a:lnTo>
                  <a:lnTo>
                    <a:pt x="196" y="827"/>
                  </a:lnTo>
                  <a:lnTo>
                    <a:pt x="195" y="827"/>
                  </a:lnTo>
                  <a:lnTo>
                    <a:pt x="194" y="827"/>
                  </a:lnTo>
                  <a:lnTo>
                    <a:pt x="192" y="826"/>
                  </a:lnTo>
                  <a:lnTo>
                    <a:pt x="192" y="824"/>
                  </a:lnTo>
                  <a:lnTo>
                    <a:pt x="192" y="823"/>
                  </a:lnTo>
                  <a:lnTo>
                    <a:pt x="192" y="821"/>
                  </a:lnTo>
                  <a:lnTo>
                    <a:pt x="192" y="820"/>
                  </a:lnTo>
                  <a:lnTo>
                    <a:pt x="192" y="823"/>
                  </a:lnTo>
                  <a:lnTo>
                    <a:pt x="191" y="824"/>
                  </a:lnTo>
                  <a:lnTo>
                    <a:pt x="191" y="825"/>
                  </a:lnTo>
                  <a:lnTo>
                    <a:pt x="192" y="827"/>
                  </a:lnTo>
                  <a:lnTo>
                    <a:pt x="191" y="827"/>
                  </a:lnTo>
                  <a:lnTo>
                    <a:pt x="190" y="829"/>
                  </a:lnTo>
                  <a:lnTo>
                    <a:pt x="189" y="829"/>
                  </a:lnTo>
                  <a:lnTo>
                    <a:pt x="189" y="827"/>
                  </a:lnTo>
                  <a:lnTo>
                    <a:pt x="189" y="826"/>
                  </a:lnTo>
                  <a:lnTo>
                    <a:pt x="189" y="825"/>
                  </a:lnTo>
                  <a:lnTo>
                    <a:pt x="188" y="825"/>
                  </a:lnTo>
                  <a:lnTo>
                    <a:pt x="188" y="827"/>
                  </a:lnTo>
                  <a:lnTo>
                    <a:pt x="188" y="829"/>
                  </a:lnTo>
                  <a:lnTo>
                    <a:pt x="186" y="829"/>
                  </a:lnTo>
                  <a:lnTo>
                    <a:pt x="186" y="827"/>
                  </a:lnTo>
                  <a:lnTo>
                    <a:pt x="185" y="827"/>
                  </a:lnTo>
                  <a:lnTo>
                    <a:pt x="185" y="826"/>
                  </a:lnTo>
                  <a:lnTo>
                    <a:pt x="185" y="825"/>
                  </a:lnTo>
                  <a:lnTo>
                    <a:pt x="185" y="824"/>
                  </a:lnTo>
                  <a:lnTo>
                    <a:pt x="184" y="824"/>
                  </a:lnTo>
                  <a:lnTo>
                    <a:pt x="183" y="827"/>
                  </a:lnTo>
                  <a:lnTo>
                    <a:pt x="180" y="827"/>
                  </a:lnTo>
                  <a:lnTo>
                    <a:pt x="178" y="827"/>
                  </a:lnTo>
                  <a:lnTo>
                    <a:pt x="178" y="825"/>
                  </a:lnTo>
                  <a:lnTo>
                    <a:pt x="178" y="826"/>
                  </a:lnTo>
                  <a:lnTo>
                    <a:pt x="177" y="827"/>
                  </a:lnTo>
                  <a:lnTo>
                    <a:pt x="177" y="829"/>
                  </a:lnTo>
                  <a:lnTo>
                    <a:pt x="176" y="829"/>
                  </a:lnTo>
                  <a:lnTo>
                    <a:pt x="176" y="827"/>
                  </a:lnTo>
                  <a:lnTo>
                    <a:pt x="174" y="827"/>
                  </a:lnTo>
                  <a:lnTo>
                    <a:pt x="174" y="829"/>
                  </a:lnTo>
                  <a:lnTo>
                    <a:pt x="174" y="830"/>
                  </a:lnTo>
                  <a:lnTo>
                    <a:pt x="174" y="832"/>
                  </a:lnTo>
                  <a:lnTo>
                    <a:pt x="174" y="833"/>
                  </a:lnTo>
                  <a:lnTo>
                    <a:pt x="173" y="832"/>
                  </a:lnTo>
                  <a:lnTo>
                    <a:pt x="172" y="832"/>
                  </a:lnTo>
                  <a:lnTo>
                    <a:pt x="173" y="833"/>
                  </a:lnTo>
                  <a:lnTo>
                    <a:pt x="172" y="835"/>
                  </a:lnTo>
                  <a:lnTo>
                    <a:pt x="172" y="836"/>
                  </a:lnTo>
                  <a:lnTo>
                    <a:pt x="171" y="836"/>
                  </a:lnTo>
                  <a:lnTo>
                    <a:pt x="170" y="836"/>
                  </a:lnTo>
                  <a:lnTo>
                    <a:pt x="168" y="837"/>
                  </a:lnTo>
                  <a:lnTo>
                    <a:pt x="167" y="838"/>
                  </a:lnTo>
                  <a:lnTo>
                    <a:pt x="167" y="839"/>
                  </a:lnTo>
                  <a:lnTo>
                    <a:pt x="166" y="841"/>
                  </a:lnTo>
                  <a:lnTo>
                    <a:pt x="166" y="842"/>
                  </a:lnTo>
                  <a:lnTo>
                    <a:pt x="165" y="843"/>
                  </a:lnTo>
                  <a:lnTo>
                    <a:pt x="165" y="844"/>
                  </a:lnTo>
                  <a:lnTo>
                    <a:pt x="165" y="845"/>
                  </a:lnTo>
                  <a:lnTo>
                    <a:pt x="164" y="845"/>
                  </a:lnTo>
                  <a:lnTo>
                    <a:pt x="162" y="847"/>
                  </a:lnTo>
                  <a:lnTo>
                    <a:pt x="161" y="848"/>
                  </a:lnTo>
                  <a:lnTo>
                    <a:pt x="159" y="850"/>
                  </a:lnTo>
                  <a:lnTo>
                    <a:pt x="158" y="850"/>
                  </a:lnTo>
                  <a:lnTo>
                    <a:pt x="156" y="850"/>
                  </a:lnTo>
                  <a:lnTo>
                    <a:pt x="155" y="849"/>
                  </a:lnTo>
                  <a:lnTo>
                    <a:pt x="156" y="848"/>
                  </a:lnTo>
                  <a:lnTo>
                    <a:pt x="156" y="847"/>
                  </a:lnTo>
                  <a:lnTo>
                    <a:pt x="156" y="844"/>
                  </a:lnTo>
                  <a:lnTo>
                    <a:pt x="155" y="844"/>
                  </a:lnTo>
                  <a:lnTo>
                    <a:pt x="155" y="845"/>
                  </a:lnTo>
                  <a:lnTo>
                    <a:pt x="155" y="847"/>
                  </a:lnTo>
                  <a:lnTo>
                    <a:pt x="154" y="849"/>
                  </a:lnTo>
                  <a:lnTo>
                    <a:pt x="155" y="851"/>
                  </a:lnTo>
                  <a:lnTo>
                    <a:pt x="155" y="853"/>
                  </a:lnTo>
                  <a:lnTo>
                    <a:pt x="154" y="853"/>
                  </a:lnTo>
                  <a:lnTo>
                    <a:pt x="153" y="854"/>
                  </a:lnTo>
                  <a:lnTo>
                    <a:pt x="151" y="854"/>
                  </a:lnTo>
                  <a:lnTo>
                    <a:pt x="150" y="854"/>
                  </a:lnTo>
                  <a:lnTo>
                    <a:pt x="150" y="855"/>
                  </a:lnTo>
                  <a:lnTo>
                    <a:pt x="149" y="855"/>
                  </a:lnTo>
                  <a:lnTo>
                    <a:pt x="148" y="855"/>
                  </a:lnTo>
                  <a:lnTo>
                    <a:pt x="148" y="854"/>
                  </a:lnTo>
                  <a:lnTo>
                    <a:pt x="148" y="853"/>
                  </a:lnTo>
                  <a:lnTo>
                    <a:pt x="147" y="853"/>
                  </a:lnTo>
                  <a:lnTo>
                    <a:pt x="145" y="853"/>
                  </a:lnTo>
                  <a:lnTo>
                    <a:pt x="145" y="851"/>
                  </a:lnTo>
                  <a:lnTo>
                    <a:pt x="145" y="850"/>
                  </a:lnTo>
                  <a:lnTo>
                    <a:pt x="144" y="849"/>
                  </a:lnTo>
                  <a:lnTo>
                    <a:pt x="143" y="848"/>
                  </a:lnTo>
                  <a:lnTo>
                    <a:pt x="142" y="847"/>
                  </a:lnTo>
                  <a:lnTo>
                    <a:pt x="142" y="848"/>
                  </a:lnTo>
                  <a:lnTo>
                    <a:pt x="142" y="849"/>
                  </a:lnTo>
                  <a:lnTo>
                    <a:pt x="139" y="850"/>
                  </a:lnTo>
                  <a:lnTo>
                    <a:pt x="141" y="851"/>
                  </a:lnTo>
                  <a:lnTo>
                    <a:pt x="142" y="853"/>
                  </a:lnTo>
                  <a:lnTo>
                    <a:pt x="141" y="854"/>
                  </a:lnTo>
                  <a:lnTo>
                    <a:pt x="141" y="853"/>
                  </a:lnTo>
                  <a:lnTo>
                    <a:pt x="141" y="854"/>
                  </a:lnTo>
                  <a:lnTo>
                    <a:pt x="142" y="854"/>
                  </a:lnTo>
                  <a:lnTo>
                    <a:pt x="142" y="855"/>
                  </a:lnTo>
                  <a:lnTo>
                    <a:pt x="141" y="856"/>
                  </a:lnTo>
                  <a:lnTo>
                    <a:pt x="141" y="857"/>
                  </a:lnTo>
                  <a:lnTo>
                    <a:pt x="141" y="860"/>
                  </a:lnTo>
                  <a:lnTo>
                    <a:pt x="139" y="860"/>
                  </a:lnTo>
                  <a:lnTo>
                    <a:pt x="139" y="861"/>
                  </a:lnTo>
                  <a:lnTo>
                    <a:pt x="141" y="861"/>
                  </a:lnTo>
                  <a:lnTo>
                    <a:pt x="141" y="862"/>
                  </a:lnTo>
                  <a:lnTo>
                    <a:pt x="139" y="862"/>
                  </a:lnTo>
                  <a:lnTo>
                    <a:pt x="138" y="861"/>
                  </a:lnTo>
                  <a:lnTo>
                    <a:pt x="139" y="862"/>
                  </a:lnTo>
                  <a:lnTo>
                    <a:pt x="139" y="863"/>
                  </a:lnTo>
                  <a:lnTo>
                    <a:pt x="137" y="863"/>
                  </a:lnTo>
                  <a:lnTo>
                    <a:pt x="136" y="865"/>
                  </a:lnTo>
                  <a:lnTo>
                    <a:pt x="135" y="865"/>
                  </a:lnTo>
                  <a:lnTo>
                    <a:pt x="133" y="865"/>
                  </a:lnTo>
                  <a:lnTo>
                    <a:pt x="133" y="866"/>
                  </a:lnTo>
                  <a:lnTo>
                    <a:pt x="132" y="866"/>
                  </a:lnTo>
                  <a:lnTo>
                    <a:pt x="132" y="867"/>
                  </a:lnTo>
                  <a:lnTo>
                    <a:pt x="131" y="868"/>
                  </a:lnTo>
                  <a:lnTo>
                    <a:pt x="130" y="868"/>
                  </a:lnTo>
                  <a:lnTo>
                    <a:pt x="129" y="868"/>
                  </a:lnTo>
                  <a:lnTo>
                    <a:pt x="129" y="867"/>
                  </a:lnTo>
                  <a:lnTo>
                    <a:pt x="129" y="865"/>
                  </a:lnTo>
                  <a:lnTo>
                    <a:pt x="129" y="863"/>
                  </a:lnTo>
                  <a:lnTo>
                    <a:pt x="127" y="863"/>
                  </a:lnTo>
                  <a:lnTo>
                    <a:pt x="127" y="862"/>
                  </a:lnTo>
                  <a:lnTo>
                    <a:pt x="126" y="862"/>
                  </a:lnTo>
                  <a:lnTo>
                    <a:pt x="125" y="861"/>
                  </a:lnTo>
                  <a:lnTo>
                    <a:pt x="124" y="861"/>
                  </a:lnTo>
                  <a:lnTo>
                    <a:pt x="123" y="861"/>
                  </a:lnTo>
                  <a:lnTo>
                    <a:pt x="121" y="861"/>
                  </a:lnTo>
                  <a:lnTo>
                    <a:pt x="121" y="860"/>
                  </a:lnTo>
                  <a:lnTo>
                    <a:pt x="121" y="859"/>
                  </a:lnTo>
                  <a:lnTo>
                    <a:pt x="120" y="857"/>
                  </a:lnTo>
                  <a:lnTo>
                    <a:pt x="119" y="856"/>
                  </a:lnTo>
                  <a:lnTo>
                    <a:pt x="118" y="856"/>
                  </a:lnTo>
                  <a:lnTo>
                    <a:pt x="117" y="856"/>
                  </a:lnTo>
                  <a:lnTo>
                    <a:pt x="115" y="856"/>
                  </a:lnTo>
                  <a:lnTo>
                    <a:pt x="114" y="855"/>
                  </a:lnTo>
                  <a:lnTo>
                    <a:pt x="109" y="855"/>
                  </a:lnTo>
                  <a:lnTo>
                    <a:pt x="108" y="854"/>
                  </a:lnTo>
                  <a:lnTo>
                    <a:pt x="107" y="853"/>
                  </a:lnTo>
                  <a:lnTo>
                    <a:pt x="107" y="854"/>
                  </a:lnTo>
                  <a:lnTo>
                    <a:pt x="106" y="854"/>
                  </a:lnTo>
                  <a:lnTo>
                    <a:pt x="105" y="854"/>
                  </a:lnTo>
                  <a:lnTo>
                    <a:pt x="105" y="855"/>
                  </a:lnTo>
                  <a:lnTo>
                    <a:pt x="103" y="855"/>
                  </a:lnTo>
                  <a:lnTo>
                    <a:pt x="102" y="855"/>
                  </a:lnTo>
                  <a:lnTo>
                    <a:pt x="101" y="855"/>
                  </a:lnTo>
                  <a:lnTo>
                    <a:pt x="100" y="855"/>
                  </a:lnTo>
                  <a:lnTo>
                    <a:pt x="100" y="853"/>
                  </a:lnTo>
                  <a:lnTo>
                    <a:pt x="99" y="853"/>
                  </a:lnTo>
                  <a:lnTo>
                    <a:pt x="96" y="853"/>
                  </a:lnTo>
                  <a:lnTo>
                    <a:pt x="95" y="851"/>
                  </a:lnTo>
                  <a:lnTo>
                    <a:pt x="94" y="850"/>
                  </a:lnTo>
                  <a:lnTo>
                    <a:pt x="94" y="848"/>
                  </a:lnTo>
                  <a:lnTo>
                    <a:pt x="94" y="849"/>
                  </a:lnTo>
                  <a:lnTo>
                    <a:pt x="92" y="849"/>
                  </a:lnTo>
                  <a:lnTo>
                    <a:pt x="91" y="849"/>
                  </a:lnTo>
                  <a:lnTo>
                    <a:pt x="89" y="848"/>
                  </a:lnTo>
                  <a:lnTo>
                    <a:pt x="89" y="847"/>
                  </a:lnTo>
                  <a:lnTo>
                    <a:pt x="89" y="845"/>
                  </a:lnTo>
                  <a:lnTo>
                    <a:pt x="88" y="844"/>
                  </a:lnTo>
                  <a:lnTo>
                    <a:pt x="88" y="843"/>
                  </a:lnTo>
                  <a:lnTo>
                    <a:pt x="86" y="843"/>
                  </a:lnTo>
                  <a:lnTo>
                    <a:pt x="86" y="841"/>
                  </a:lnTo>
                  <a:lnTo>
                    <a:pt x="88" y="841"/>
                  </a:lnTo>
                  <a:lnTo>
                    <a:pt x="88" y="842"/>
                  </a:lnTo>
                  <a:lnTo>
                    <a:pt x="89" y="842"/>
                  </a:lnTo>
                  <a:lnTo>
                    <a:pt x="89" y="839"/>
                  </a:lnTo>
                  <a:lnTo>
                    <a:pt x="89" y="838"/>
                  </a:lnTo>
                  <a:lnTo>
                    <a:pt x="88" y="838"/>
                  </a:lnTo>
                  <a:lnTo>
                    <a:pt x="88" y="839"/>
                  </a:lnTo>
                  <a:lnTo>
                    <a:pt x="86" y="839"/>
                  </a:lnTo>
                  <a:lnTo>
                    <a:pt x="85" y="841"/>
                  </a:lnTo>
                  <a:lnTo>
                    <a:pt x="84" y="839"/>
                  </a:lnTo>
                  <a:lnTo>
                    <a:pt x="84" y="838"/>
                  </a:lnTo>
                  <a:lnTo>
                    <a:pt x="84" y="837"/>
                  </a:lnTo>
                  <a:lnTo>
                    <a:pt x="83" y="836"/>
                  </a:lnTo>
                  <a:lnTo>
                    <a:pt x="82" y="837"/>
                  </a:lnTo>
                  <a:lnTo>
                    <a:pt x="80" y="836"/>
                  </a:lnTo>
                  <a:lnTo>
                    <a:pt x="79" y="835"/>
                  </a:lnTo>
                  <a:lnTo>
                    <a:pt x="79" y="833"/>
                  </a:lnTo>
                  <a:lnTo>
                    <a:pt x="79" y="832"/>
                  </a:lnTo>
                  <a:lnTo>
                    <a:pt x="77" y="831"/>
                  </a:lnTo>
                  <a:lnTo>
                    <a:pt x="76" y="831"/>
                  </a:lnTo>
                  <a:lnTo>
                    <a:pt x="76" y="830"/>
                  </a:lnTo>
                  <a:lnTo>
                    <a:pt x="74" y="830"/>
                  </a:lnTo>
                  <a:lnTo>
                    <a:pt x="74" y="827"/>
                  </a:lnTo>
                  <a:lnTo>
                    <a:pt x="74" y="826"/>
                  </a:lnTo>
                  <a:lnTo>
                    <a:pt x="76" y="826"/>
                  </a:lnTo>
                  <a:lnTo>
                    <a:pt x="77" y="825"/>
                  </a:lnTo>
                  <a:lnTo>
                    <a:pt x="77" y="824"/>
                  </a:lnTo>
                  <a:lnTo>
                    <a:pt x="76" y="824"/>
                  </a:lnTo>
                  <a:lnTo>
                    <a:pt x="76" y="823"/>
                  </a:lnTo>
                  <a:lnTo>
                    <a:pt x="74" y="823"/>
                  </a:lnTo>
                  <a:lnTo>
                    <a:pt x="73" y="821"/>
                  </a:lnTo>
                  <a:lnTo>
                    <a:pt x="73" y="823"/>
                  </a:lnTo>
                  <a:lnTo>
                    <a:pt x="72" y="823"/>
                  </a:lnTo>
                  <a:lnTo>
                    <a:pt x="71" y="823"/>
                  </a:lnTo>
                  <a:lnTo>
                    <a:pt x="70" y="820"/>
                  </a:lnTo>
                  <a:lnTo>
                    <a:pt x="68" y="819"/>
                  </a:lnTo>
                  <a:lnTo>
                    <a:pt x="67" y="819"/>
                  </a:lnTo>
                  <a:lnTo>
                    <a:pt x="66" y="819"/>
                  </a:lnTo>
                  <a:lnTo>
                    <a:pt x="65" y="820"/>
                  </a:lnTo>
                  <a:lnTo>
                    <a:pt x="64" y="820"/>
                  </a:lnTo>
                  <a:lnTo>
                    <a:pt x="62" y="819"/>
                  </a:lnTo>
                  <a:lnTo>
                    <a:pt x="61" y="818"/>
                  </a:lnTo>
                  <a:lnTo>
                    <a:pt x="59" y="818"/>
                  </a:lnTo>
                  <a:lnTo>
                    <a:pt x="58" y="819"/>
                  </a:lnTo>
                  <a:lnTo>
                    <a:pt x="56" y="819"/>
                  </a:lnTo>
                  <a:lnTo>
                    <a:pt x="55" y="819"/>
                  </a:lnTo>
                  <a:lnTo>
                    <a:pt x="55" y="818"/>
                  </a:lnTo>
                  <a:lnTo>
                    <a:pt x="54" y="818"/>
                  </a:lnTo>
                  <a:lnTo>
                    <a:pt x="53" y="818"/>
                  </a:lnTo>
                  <a:lnTo>
                    <a:pt x="53" y="817"/>
                  </a:lnTo>
                  <a:lnTo>
                    <a:pt x="53" y="815"/>
                  </a:lnTo>
                  <a:lnTo>
                    <a:pt x="53" y="814"/>
                  </a:lnTo>
                  <a:lnTo>
                    <a:pt x="52" y="814"/>
                  </a:lnTo>
                  <a:lnTo>
                    <a:pt x="53" y="813"/>
                  </a:lnTo>
                  <a:lnTo>
                    <a:pt x="53" y="812"/>
                  </a:lnTo>
                  <a:lnTo>
                    <a:pt x="52" y="812"/>
                  </a:lnTo>
                  <a:lnTo>
                    <a:pt x="50" y="811"/>
                  </a:lnTo>
                  <a:lnTo>
                    <a:pt x="49" y="809"/>
                  </a:lnTo>
                  <a:lnTo>
                    <a:pt x="49" y="808"/>
                  </a:lnTo>
                  <a:lnTo>
                    <a:pt x="48" y="808"/>
                  </a:lnTo>
                  <a:lnTo>
                    <a:pt x="48" y="809"/>
                  </a:lnTo>
                  <a:lnTo>
                    <a:pt x="47" y="808"/>
                  </a:lnTo>
                  <a:lnTo>
                    <a:pt x="47" y="807"/>
                  </a:lnTo>
                  <a:lnTo>
                    <a:pt x="46" y="807"/>
                  </a:lnTo>
                  <a:lnTo>
                    <a:pt x="46" y="808"/>
                  </a:lnTo>
                  <a:lnTo>
                    <a:pt x="44" y="808"/>
                  </a:lnTo>
                  <a:lnTo>
                    <a:pt x="43" y="808"/>
                  </a:lnTo>
                  <a:lnTo>
                    <a:pt x="42" y="808"/>
                  </a:lnTo>
                  <a:lnTo>
                    <a:pt x="41" y="808"/>
                  </a:lnTo>
                  <a:lnTo>
                    <a:pt x="40" y="808"/>
                  </a:lnTo>
                  <a:lnTo>
                    <a:pt x="38" y="808"/>
                  </a:lnTo>
                  <a:lnTo>
                    <a:pt x="37" y="809"/>
                  </a:lnTo>
                  <a:lnTo>
                    <a:pt x="36" y="808"/>
                  </a:lnTo>
                  <a:lnTo>
                    <a:pt x="35" y="807"/>
                  </a:lnTo>
                  <a:lnTo>
                    <a:pt x="33" y="807"/>
                  </a:lnTo>
                  <a:lnTo>
                    <a:pt x="33" y="806"/>
                  </a:lnTo>
                  <a:lnTo>
                    <a:pt x="32" y="806"/>
                  </a:lnTo>
                  <a:lnTo>
                    <a:pt x="32" y="805"/>
                  </a:lnTo>
                  <a:lnTo>
                    <a:pt x="32" y="803"/>
                  </a:lnTo>
                  <a:lnTo>
                    <a:pt x="31" y="802"/>
                  </a:lnTo>
                  <a:lnTo>
                    <a:pt x="31" y="805"/>
                  </a:lnTo>
                  <a:lnTo>
                    <a:pt x="31" y="803"/>
                  </a:lnTo>
                  <a:lnTo>
                    <a:pt x="31" y="802"/>
                  </a:lnTo>
                  <a:lnTo>
                    <a:pt x="31" y="801"/>
                  </a:lnTo>
                  <a:lnTo>
                    <a:pt x="30" y="801"/>
                  </a:lnTo>
                  <a:lnTo>
                    <a:pt x="29" y="800"/>
                  </a:lnTo>
                  <a:lnTo>
                    <a:pt x="29" y="801"/>
                  </a:lnTo>
                  <a:lnTo>
                    <a:pt x="27" y="800"/>
                  </a:lnTo>
                  <a:lnTo>
                    <a:pt x="27" y="799"/>
                  </a:lnTo>
                  <a:lnTo>
                    <a:pt x="25" y="799"/>
                  </a:lnTo>
                  <a:lnTo>
                    <a:pt x="24" y="799"/>
                  </a:lnTo>
                  <a:lnTo>
                    <a:pt x="23" y="797"/>
                  </a:lnTo>
                  <a:lnTo>
                    <a:pt x="21" y="797"/>
                  </a:lnTo>
                  <a:lnTo>
                    <a:pt x="19" y="797"/>
                  </a:lnTo>
                  <a:lnTo>
                    <a:pt x="17" y="796"/>
                  </a:lnTo>
                  <a:lnTo>
                    <a:pt x="14" y="796"/>
                  </a:lnTo>
                  <a:lnTo>
                    <a:pt x="13" y="795"/>
                  </a:lnTo>
                  <a:lnTo>
                    <a:pt x="14" y="794"/>
                  </a:lnTo>
                  <a:lnTo>
                    <a:pt x="15" y="793"/>
                  </a:lnTo>
                  <a:lnTo>
                    <a:pt x="14" y="794"/>
                  </a:lnTo>
                  <a:lnTo>
                    <a:pt x="13" y="794"/>
                  </a:lnTo>
                  <a:lnTo>
                    <a:pt x="13" y="793"/>
                  </a:lnTo>
                  <a:lnTo>
                    <a:pt x="13" y="791"/>
                  </a:lnTo>
                  <a:lnTo>
                    <a:pt x="12" y="790"/>
                  </a:lnTo>
                  <a:lnTo>
                    <a:pt x="12" y="788"/>
                  </a:lnTo>
                  <a:lnTo>
                    <a:pt x="13" y="787"/>
                  </a:lnTo>
                  <a:lnTo>
                    <a:pt x="14" y="785"/>
                  </a:lnTo>
                  <a:lnTo>
                    <a:pt x="13" y="785"/>
                  </a:lnTo>
                  <a:lnTo>
                    <a:pt x="13" y="784"/>
                  </a:lnTo>
                  <a:lnTo>
                    <a:pt x="13" y="783"/>
                  </a:lnTo>
                  <a:lnTo>
                    <a:pt x="12" y="782"/>
                  </a:lnTo>
                  <a:lnTo>
                    <a:pt x="11" y="781"/>
                  </a:lnTo>
                  <a:lnTo>
                    <a:pt x="11" y="779"/>
                  </a:lnTo>
                  <a:lnTo>
                    <a:pt x="12" y="779"/>
                  </a:lnTo>
                  <a:lnTo>
                    <a:pt x="12" y="773"/>
                  </a:lnTo>
                  <a:lnTo>
                    <a:pt x="11" y="773"/>
                  </a:lnTo>
                  <a:lnTo>
                    <a:pt x="11" y="772"/>
                  </a:lnTo>
                  <a:lnTo>
                    <a:pt x="9" y="771"/>
                  </a:lnTo>
                  <a:lnTo>
                    <a:pt x="8" y="771"/>
                  </a:lnTo>
                  <a:lnTo>
                    <a:pt x="7" y="770"/>
                  </a:lnTo>
                  <a:lnTo>
                    <a:pt x="6" y="770"/>
                  </a:lnTo>
                  <a:lnTo>
                    <a:pt x="5" y="768"/>
                  </a:lnTo>
                  <a:lnTo>
                    <a:pt x="2" y="767"/>
                  </a:lnTo>
                  <a:lnTo>
                    <a:pt x="1" y="766"/>
                  </a:lnTo>
                  <a:lnTo>
                    <a:pt x="0" y="765"/>
                  </a:lnTo>
                  <a:lnTo>
                    <a:pt x="0" y="764"/>
                  </a:lnTo>
                  <a:lnTo>
                    <a:pt x="1" y="764"/>
                  </a:lnTo>
                  <a:lnTo>
                    <a:pt x="3" y="764"/>
                  </a:lnTo>
                  <a:lnTo>
                    <a:pt x="5" y="764"/>
                  </a:lnTo>
                  <a:lnTo>
                    <a:pt x="8" y="765"/>
                  </a:lnTo>
                  <a:lnTo>
                    <a:pt x="12" y="766"/>
                  </a:lnTo>
                  <a:lnTo>
                    <a:pt x="15" y="767"/>
                  </a:lnTo>
                  <a:lnTo>
                    <a:pt x="18" y="768"/>
                  </a:lnTo>
                  <a:lnTo>
                    <a:pt x="20" y="770"/>
                  </a:lnTo>
                  <a:lnTo>
                    <a:pt x="25" y="771"/>
                  </a:lnTo>
                  <a:lnTo>
                    <a:pt x="29" y="772"/>
                  </a:lnTo>
                  <a:lnTo>
                    <a:pt x="32" y="772"/>
                  </a:lnTo>
                  <a:lnTo>
                    <a:pt x="36" y="773"/>
                  </a:lnTo>
                  <a:lnTo>
                    <a:pt x="38" y="773"/>
                  </a:lnTo>
                  <a:lnTo>
                    <a:pt x="44" y="773"/>
                  </a:lnTo>
                  <a:lnTo>
                    <a:pt x="49" y="773"/>
                  </a:lnTo>
                  <a:lnTo>
                    <a:pt x="53" y="773"/>
                  </a:lnTo>
                  <a:lnTo>
                    <a:pt x="58" y="773"/>
                  </a:lnTo>
                  <a:lnTo>
                    <a:pt x="60" y="772"/>
                  </a:lnTo>
                  <a:lnTo>
                    <a:pt x="64" y="772"/>
                  </a:lnTo>
                  <a:lnTo>
                    <a:pt x="72" y="772"/>
                  </a:lnTo>
                  <a:lnTo>
                    <a:pt x="74" y="771"/>
                  </a:lnTo>
                  <a:lnTo>
                    <a:pt x="76" y="770"/>
                  </a:lnTo>
                  <a:lnTo>
                    <a:pt x="78" y="767"/>
                  </a:lnTo>
                  <a:lnTo>
                    <a:pt x="79" y="766"/>
                  </a:lnTo>
                  <a:lnTo>
                    <a:pt x="79" y="765"/>
                  </a:lnTo>
                  <a:lnTo>
                    <a:pt x="80" y="764"/>
                  </a:lnTo>
                  <a:lnTo>
                    <a:pt x="80" y="762"/>
                  </a:lnTo>
                  <a:lnTo>
                    <a:pt x="79" y="762"/>
                  </a:lnTo>
                  <a:lnTo>
                    <a:pt x="78" y="764"/>
                  </a:lnTo>
                  <a:lnTo>
                    <a:pt x="78" y="762"/>
                  </a:lnTo>
                  <a:lnTo>
                    <a:pt x="77" y="762"/>
                  </a:lnTo>
                  <a:lnTo>
                    <a:pt x="76" y="762"/>
                  </a:lnTo>
                  <a:lnTo>
                    <a:pt x="74" y="761"/>
                  </a:lnTo>
                  <a:lnTo>
                    <a:pt x="73" y="760"/>
                  </a:lnTo>
                  <a:lnTo>
                    <a:pt x="72" y="759"/>
                  </a:lnTo>
                  <a:lnTo>
                    <a:pt x="71" y="759"/>
                  </a:lnTo>
                  <a:lnTo>
                    <a:pt x="71" y="760"/>
                  </a:lnTo>
                  <a:lnTo>
                    <a:pt x="70" y="759"/>
                  </a:lnTo>
                  <a:lnTo>
                    <a:pt x="68" y="759"/>
                  </a:lnTo>
                  <a:lnTo>
                    <a:pt x="67" y="759"/>
                  </a:lnTo>
                  <a:lnTo>
                    <a:pt x="66" y="759"/>
                  </a:lnTo>
                  <a:lnTo>
                    <a:pt x="65" y="759"/>
                  </a:lnTo>
                  <a:lnTo>
                    <a:pt x="64" y="758"/>
                  </a:lnTo>
                  <a:lnTo>
                    <a:pt x="62" y="759"/>
                  </a:lnTo>
                  <a:lnTo>
                    <a:pt x="62" y="758"/>
                  </a:lnTo>
                  <a:lnTo>
                    <a:pt x="62" y="756"/>
                  </a:lnTo>
                  <a:lnTo>
                    <a:pt x="61" y="755"/>
                  </a:lnTo>
                  <a:lnTo>
                    <a:pt x="61" y="756"/>
                  </a:lnTo>
                  <a:lnTo>
                    <a:pt x="61" y="758"/>
                  </a:lnTo>
                  <a:lnTo>
                    <a:pt x="60" y="758"/>
                  </a:lnTo>
                  <a:lnTo>
                    <a:pt x="60" y="756"/>
                  </a:lnTo>
                  <a:lnTo>
                    <a:pt x="59" y="756"/>
                  </a:lnTo>
                  <a:lnTo>
                    <a:pt x="59" y="755"/>
                  </a:lnTo>
                  <a:lnTo>
                    <a:pt x="58" y="754"/>
                  </a:lnTo>
                  <a:lnTo>
                    <a:pt x="58" y="756"/>
                  </a:lnTo>
                  <a:lnTo>
                    <a:pt x="58" y="755"/>
                  </a:lnTo>
                  <a:lnTo>
                    <a:pt x="56" y="755"/>
                  </a:lnTo>
                  <a:lnTo>
                    <a:pt x="55" y="755"/>
                  </a:lnTo>
                  <a:lnTo>
                    <a:pt x="54" y="754"/>
                  </a:lnTo>
                  <a:lnTo>
                    <a:pt x="53" y="753"/>
                  </a:lnTo>
                  <a:lnTo>
                    <a:pt x="53" y="752"/>
                  </a:lnTo>
                  <a:lnTo>
                    <a:pt x="52" y="750"/>
                  </a:lnTo>
                  <a:lnTo>
                    <a:pt x="52" y="749"/>
                  </a:lnTo>
                  <a:lnTo>
                    <a:pt x="50" y="749"/>
                  </a:lnTo>
                  <a:lnTo>
                    <a:pt x="49" y="748"/>
                  </a:lnTo>
                  <a:lnTo>
                    <a:pt x="49" y="747"/>
                  </a:lnTo>
                  <a:lnTo>
                    <a:pt x="48" y="747"/>
                  </a:lnTo>
                  <a:lnTo>
                    <a:pt x="48" y="746"/>
                  </a:lnTo>
                  <a:lnTo>
                    <a:pt x="47" y="746"/>
                  </a:lnTo>
                  <a:lnTo>
                    <a:pt x="46" y="744"/>
                  </a:lnTo>
                  <a:lnTo>
                    <a:pt x="47" y="743"/>
                  </a:lnTo>
                  <a:lnTo>
                    <a:pt x="46" y="744"/>
                  </a:lnTo>
                  <a:lnTo>
                    <a:pt x="46" y="743"/>
                  </a:lnTo>
                  <a:lnTo>
                    <a:pt x="44" y="742"/>
                  </a:lnTo>
                  <a:lnTo>
                    <a:pt x="44" y="741"/>
                  </a:lnTo>
                  <a:lnTo>
                    <a:pt x="46" y="740"/>
                  </a:lnTo>
                  <a:lnTo>
                    <a:pt x="47" y="741"/>
                  </a:lnTo>
                  <a:lnTo>
                    <a:pt x="49" y="740"/>
                  </a:lnTo>
                  <a:lnTo>
                    <a:pt x="55" y="741"/>
                  </a:lnTo>
                  <a:lnTo>
                    <a:pt x="60" y="741"/>
                  </a:lnTo>
                  <a:lnTo>
                    <a:pt x="62" y="742"/>
                  </a:lnTo>
                  <a:lnTo>
                    <a:pt x="65" y="741"/>
                  </a:lnTo>
                  <a:lnTo>
                    <a:pt x="67" y="741"/>
                  </a:lnTo>
                  <a:lnTo>
                    <a:pt x="68" y="740"/>
                  </a:lnTo>
                  <a:lnTo>
                    <a:pt x="68" y="738"/>
                  </a:lnTo>
                  <a:lnTo>
                    <a:pt x="70" y="737"/>
                  </a:lnTo>
                  <a:lnTo>
                    <a:pt x="68" y="737"/>
                  </a:lnTo>
                  <a:lnTo>
                    <a:pt x="68" y="736"/>
                  </a:lnTo>
                  <a:lnTo>
                    <a:pt x="67" y="735"/>
                  </a:lnTo>
                  <a:lnTo>
                    <a:pt x="66" y="734"/>
                  </a:lnTo>
                  <a:lnTo>
                    <a:pt x="66" y="732"/>
                  </a:lnTo>
                  <a:lnTo>
                    <a:pt x="65" y="732"/>
                  </a:lnTo>
                  <a:lnTo>
                    <a:pt x="64" y="732"/>
                  </a:lnTo>
                  <a:lnTo>
                    <a:pt x="62" y="731"/>
                  </a:lnTo>
                  <a:lnTo>
                    <a:pt x="61" y="730"/>
                  </a:lnTo>
                  <a:lnTo>
                    <a:pt x="60" y="730"/>
                  </a:lnTo>
                  <a:lnTo>
                    <a:pt x="59" y="730"/>
                  </a:lnTo>
                  <a:lnTo>
                    <a:pt x="58" y="730"/>
                  </a:lnTo>
                  <a:lnTo>
                    <a:pt x="56" y="730"/>
                  </a:lnTo>
                  <a:lnTo>
                    <a:pt x="56" y="729"/>
                  </a:lnTo>
                  <a:lnTo>
                    <a:pt x="55" y="729"/>
                  </a:lnTo>
                  <a:lnTo>
                    <a:pt x="55" y="728"/>
                  </a:lnTo>
                  <a:lnTo>
                    <a:pt x="54" y="728"/>
                  </a:lnTo>
                  <a:lnTo>
                    <a:pt x="53" y="728"/>
                  </a:lnTo>
                  <a:lnTo>
                    <a:pt x="53" y="726"/>
                  </a:lnTo>
                  <a:lnTo>
                    <a:pt x="52" y="726"/>
                  </a:lnTo>
                  <a:lnTo>
                    <a:pt x="50" y="725"/>
                  </a:lnTo>
                  <a:lnTo>
                    <a:pt x="49" y="725"/>
                  </a:lnTo>
                  <a:lnTo>
                    <a:pt x="49" y="724"/>
                  </a:lnTo>
                  <a:lnTo>
                    <a:pt x="48" y="724"/>
                  </a:lnTo>
                  <a:lnTo>
                    <a:pt x="47" y="724"/>
                  </a:lnTo>
                  <a:lnTo>
                    <a:pt x="46" y="723"/>
                  </a:lnTo>
                  <a:lnTo>
                    <a:pt x="46" y="722"/>
                  </a:lnTo>
                  <a:lnTo>
                    <a:pt x="44" y="720"/>
                  </a:lnTo>
                  <a:lnTo>
                    <a:pt x="43" y="720"/>
                  </a:lnTo>
                  <a:lnTo>
                    <a:pt x="42" y="719"/>
                  </a:lnTo>
                  <a:lnTo>
                    <a:pt x="41" y="718"/>
                  </a:lnTo>
                  <a:lnTo>
                    <a:pt x="41" y="717"/>
                  </a:lnTo>
                  <a:lnTo>
                    <a:pt x="42" y="716"/>
                  </a:lnTo>
                  <a:lnTo>
                    <a:pt x="41" y="713"/>
                  </a:lnTo>
                  <a:lnTo>
                    <a:pt x="40" y="712"/>
                  </a:lnTo>
                  <a:lnTo>
                    <a:pt x="38" y="711"/>
                  </a:lnTo>
                  <a:lnTo>
                    <a:pt x="38" y="710"/>
                  </a:lnTo>
                  <a:lnTo>
                    <a:pt x="38" y="708"/>
                  </a:lnTo>
                  <a:lnTo>
                    <a:pt x="40" y="708"/>
                  </a:lnTo>
                  <a:lnTo>
                    <a:pt x="41" y="710"/>
                  </a:lnTo>
                  <a:lnTo>
                    <a:pt x="43" y="711"/>
                  </a:lnTo>
                  <a:lnTo>
                    <a:pt x="44" y="711"/>
                  </a:lnTo>
                  <a:lnTo>
                    <a:pt x="44" y="710"/>
                  </a:lnTo>
                  <a:lnTo>
                    <a:pt x="43" y="710"/>
                  </a:lnTo>
                  <a:lnTo>
                    <a:pt x="42" y="710"/>
                  </a:lnTo>
                  <a:lnTo>
                    <a:pt x="41" y="708"/>
                  </a:lnTo>
                  <a:lnTo>
                    <a:pt x="40" y="707"/>
                  </a:lnTo>
                  <a:lnTo>
                    <a:pt x="41" y="707"/>
                  </a:lnTo>
                  <a:lnTo>
                    <a:pt x="42" y="706"/>
                  </a:lnTo>
                  <a:lnTo>
                    <a:pt x="43" y="706"/>
                  </a:lnTo>
                  <a:lnTo>
                    <a:pt x="46" y="705"/>
                  </a:lnTo>
                  <a:lnTo>
                    <a:pt x="47" y="704"/>
                  </a:lnTo>
                  <a:lnTo>
                    <a:pt x="46" y="704"/>
                  </a:lnTo>
                  <a:lnTo>
                    <a:pt x="44" y="704"/>
                  </a:lnTo>
                  <a:lnTo>
                    <a:pt x="43" y="704"/>
                  </a:lnTo>
                  <a:lnTo>
                    <a:pt x="42" y="704"/>
                  </a:lnTo>
                  <a:lnTo>
                    <a:pt x="41" y="702"/>
                  </a:lnTo>
                  <a:lnTo>
                    <a:pt x="41" y="701"/>
                  </a:lnTo>
                  <a:lnTo>
                    <a:pt x="42" y="702"/>
                  </a:lnTo>
                  <a:lnTo>
                    <a:pt x="43" y="702"/>
                  </a:lnTo>
                  <a:lnTo>
                    <a:pt x="43" y="701"/>
                  </a:lnTo>
                  <a:lnTo>
                    <a:pt x="42" y="701"/>
                  </a:lnTo>
                  <a:lnTo>
                    <a:pt x="41" y="701"/>
                  </a:lnTo>
                  <a:lnTo>
                    <a:pt x="40" y="700"/>
                  </a:lnTo>
                  <a:lnTo>
                    <a:pt x="41" y="700"/>
                  </a:lnTo>
                  <a:lnTo>
                    <a:pt x="42" y="700"/>
                  </a:lnTo>
                  <a:lnTo>
                    <a:pt x="42" y="699"/>
                  </a:lnTo>
                  <a:lnTo>
                    <a:pt x="43" y="698"/>
                  </a:lnTo>
                  <a:lnTo>
                    <a:pt x="44" y="699"/>
                  </a:lnTo>
                  <a:lnTo>
                    <a:pt x="46" y="699"/>
                  </a:lnTo>
                  <a:lnTo>
                    <a:pt x="46" y="698"/>
                  </a:lnTo>
                  <a:lnTo>
                    <a:pt x="47" y="698"/>
                  </a:lnTo>
                  <a:lnTo>
                    <a:pt x="47" y="699"/>
                  </a:lnTo>
                  <a:lnTo>
                    <a:pt x="48" y="701"/>
                  </a:lnTo>
                  <a:lnTo>
                    <a:pt x="48" y="702"/>
                  </a:lnTo>
                  <a:lnTo>
                    <a:pt x="50" y="702"/>
                  </a:lnTo>
                  <a:lnTo>
                    <a:pt x="50" y="704"/>
                  </a:lnTo>
                  <a:lnTo>
                    <a:pt x="50" y="705"/>
                  </a:lnTo>
                  <a:lnTo>
                    <a:pt x="52" y="705"/>
                  </a:lnTo>
                  <a:lnTo>
                    <a:pt x="53" y="706"/>
                  </a:lnTo>
                  <a:lnTo>
                    <a:pt x="54" y="706"/>
                  </a:lnTo>
                  <a:lnTo>
                    <a:pt x="55" y="707"/>
                  </a:lnTo>
                  <a:lnTo>
                    <a:pt x="56" y="708"/>
                  </a:lnTo>
                  <a:lnTo>
                    <a:pt x="59" y="708"/>
                  </a:lnTo>
                  <a:lnTo>
                    <a:pt x="60" y="708"/>
                  </a:lnTo>
                  <a:lnTo>
                    <a:pt x="61" y="710"/>
                  </a:lnTo>
                  <a:lnTo>
                    <a:pt x="64" y="710"/>
                  </a:lnTo>
                  <a:lnTo>
                    <a:pt x="66" y="711"/>
                  </a:lnTo>
                  <a:lnTo>
                    <a:pt x="67" y="711"/>
                  </a:lnTo>
                  <a:lnTo>
                    <a:pt x="68" y="711"/>
                  </a:lnTo>
                  <a:lnTo>
                    <a:pt x="70" y="711"/>
                  </a:lnTo>
                  <a:lnTo>
                    <a:pt x="68" y="711"/>
                  </a:lnTo>
                  <a:lnTo>
                    <a:pt x="67" y="710"/>
                  </a:lnTo>
                  <a:lnTo>
                    <a:pt x="67" y="708"/>
                  </a:lnTo>
                  <a:lnTo>
                    <a:pt x="68" y="707"/>
                  </a:lnTo>
                  <a:lnTo>
                    <a:pt x="68" y="706"/>
                  </a:lnTo>
                  <a:lnTo>
                    <a:pt x="70" y="706"/>
                  </a:lnTo>
                  <a:lnTo>
                    <a:pt x="71" y="705"/>
                  </a:lnTo>
                  <a:lnTo>
                    <a:pt x="70" y="705"/>
                  </a:lnTo>
                  <a:lnTo>
                    <a:pt x="68" y="705"/>
                  </a:lnTo>
                  <a:lnTo>
                    <a:pt x="68" y="704"/>
                  </a:lnTo>
                  <a:lnTo>
                    <a:pt x="67" y="705"/>
                  </a:lnTo>
                  <a:lnTo>
                    <a:pt x="67" y="704"/>
                  </a:lnTo>
                  <a:lnTo>
                    <a:pt x="67" y="702"/>
                  </a:lnTo>
                  <a:lnTo>
                    <a:pt x="68" y="702"/>
                  </a:lnTo>
                  <a:lnTo>
                    <a:pt x="67" y="701"/>
                  </a:lnTo>
                  <a:lnTo>
                    <a:pt x="67" y="700"/>
                  </a:lnTo>
                  <a:lnTo>
                    <a:pt x="68" y="700"/>
                  </a:lnTo>
                  <a:lnTo>
                    <a:pt x="70" y="700"/>
                  </a:lnTo>
                  <a:lnTo>
                    <a:pt x="71" y="700"/>
                  </a:lnTo>
                  <a:lnTo>
                    <a:pt x="72" y="700"/>
                  </a:lnTo>
                  <a:lnTo>
                    <a:pt x="73" y="700"/>
                  </a:lnTo>
                  <a:lnTo>
                    <a:pt x="74" y="701"/>
                  </a:lnTo>
                  <a:lnTo>
                    <a:pt x="76" y="701"/>
                  </a:lnTo>
                  <a:lnTo>
                    <a:pt x="77" y="701"/>
                  </a:lnTo>
                  <a:lnTo>
                    <a:pt x="77" y="700"/>
                  </a:lnTo>
                  <a:lnTo>
                    <a:pt x="74" y="700"/>
                  </a:lnTo>
                  <a:lnTo>
                    <a:pt x="74" y="699"/>
                  </a:lnTo>
                  <a:lnTo>
                    <a:pt x="74" y="698"/>
                  </a:lnTo>
                  <a:lnTo>
                    <a:pt x="76" y="698"/>
                  </a:lnTo>
                  <a:lnTo>
                    <a:pt x="76" y="696"/>
                  </a:lnTo>
                  <a:lnTo>
                    <a:pt x="76" y="695"/>
                  </a:lnTo>
                  <a:lnTo>
                    <a:pt x="76" y="694"/>
                  </a:lnTo>
                  <a:lnTo>
                    <a:pt x="77" y="694"/>
                  </a:lnTo>
                  <a:lnTo>
                    <a:pt x="78" y="693"/>
                  </a:lnTo>
                  <a:lnTo>
                    <a:pt x="79" y="693"/>
                  </a:lnTo>
                  <a:lnTo>
                    <a:pt x="79" y="694"/>
                  </a:lnTo>
                  <a:lnTo>
                    <a:pt x="79" y="695"/>
                  </a:lnTo>
                  <a:lnTo>
                    <a:pt x="80" y="696"/>
                  </a:lnTo>
                  <a:lnTo>
                    <a:pt x="82" y="698"/>
                  </a:lnTo>
                  <a:lnTo>
                    <a:pt x="83" y="698"/>
                  </a:lnTo>
                  <a:lnTo>
                    <a:pt x="84" y="699"/>
                  </a:lnTo>
                  <a:lnTo>
                    <a:pt x="85" y="700"/>
                  </a:lnTo>
                  <a:lnTo>
                    <a:pt x="84" y="700"/>
                  </a:lnTo>
                  <a:lnTo>
                    <a:pt x="83" y="699"/>
                  </a:lnTo>
                  <a:lnTo>
                    <a:pt x="83" y="700"/>
                  </a:lnTo>
                  <a:lnTo>
                    <a:pt x="84" y="700"/>
                  </a:lnTo>
                  <a:lnTo>
                    <a:pt x="84" y="701"/>
                  </a:lnTo>
                  <a:lnTo>
                    <a:pt x="84" y="702"/>
                  </a:lnTo>
                  <a:lnTo>
                    <a:pt x="83" y="702"/>
                  </a:lnTo>
                  <a:lnTo>
                    <a:pt x="84" y="702"/>
                  </a:lnTo>
                  <a:lnTo>
                    <a:pt x="84" y="704"/>
                  </a:lnTo>
                  <a:lnTo>
                    <a:pt x="84" y="705"/>
                  </a:lnTo>
                  <a:lnTo>
                    <a:pt x="85" y="706"/>
                  </a:lnTo>
                  <a:lnTo>
                    <a:pt x="86" y="706"/>
                  </a:lnTo>
                  <a:lnTo>
                    <a:pt x="88" y="706"/>
                  </a:lnTo>
                  <a:lnTo>
                    <a:pt x="86" y="707"/>
                  </a:lnTo>
                  <a:lnTo>
                    <a:pt x="85" y="707"/>
                  </a:lnTo>
                  <a:lnTo>
                    <a:pt x="84" y="707"/>
                  </a:lnTo>
                  <a:lnTo>
                    <a:pt x="84" y="708"/>
                  </a:lnTo>
                  <a:lnTo>
                    <a:pt x="84" y="710"/>
                  </a:lnTo>
                  <a:lnTo>
                    <a:pt x="85" y="710"/>
                  </a:lnTo>
                  <a:lnTo>
                    <a:pt x="86" y="708"/>
                  </a:lnTo>
                  <a:lnTo>
                    <a:pt x="86" y="710"/>
                  </a:lnTo>
                  <a:lnTo>
                    <a:pt x="88" y="710"/>
                  </a:lnTo>
                  <a:lnTo>
                    <a:pt x="90" y="711"/>
                  </a:lnTo>
                  <a:lnTo>
                    <a:pt x="91" y="711"/>
                  </a:lnTo>
                  <a:lnTo>
                    <a:pt x="94" y="711"/>
                  </a:lnTo>
                  <a:lnTo>
                    <a:pt x="95" y="712"/>
                  </a:lnTo>
                  <a:lnTo>
                    <a:pt x="97" y="712"/>
                  </a:lnTo>
                  <a:lnTo>
                    <a:pt x="101" y="712"/>
                  </a:lnTo>
                  <a:lnTo>
                    <a:pt x="105" y="712"/>
                  </a:lnTo>
                  <a:lnTo>
                    <a:pt x="106" y="711"/>
                  </a:lnTo>
                  <a:lnTo>
                    <a:pt x="107" y="711"/>
                  </a:lnTo>
                  <a:lnTo>
                    <a:pt x="111" y="711"/>
                  </a:lnTo>
                  <a:lnTo>
                    <a:pt x="113" y="710"/>
                  </a:lnTo>
                  <a:lnTo>
                    <a:pt x="114" y="708"/>
                  </a:lnTo>
                  <a:lnTo>
                    <a:pt x="114" y="707"/>
                  </a:lnTo>
                  <a:lnTo>
                    <a:pt x="114" y="706"/>
                  </a:lnTo>
                  <a:lnTo>
                    <a:pt x="113" y="707"/>
                  </a:lnTo>
                  <a:lnTo>
                    <a:pt x="112" y="706"/>
                  </a:lnTo>
                  <a:lnTo>
                    <a:pt x="112" y="705"/>
                  </a:lnTo>
                  <a:lnTo>
                    <a:pt x="111" y="707"/>
                  </a:lnTo>
                  <a:lnTo>
                    <a:pt x="108" y="708"/>
                  </a:lnTo>
                  <a:lnTo>
                    <a:pt x="107" y="710"/>
                  </a:lnTo>
                  <a:lnTo>
                    <a:pt x="107" y="708"/>
                  </a:lnTo>
                  <a:lnTo>
                    <a:pt x="108" y="706"/>
                  </a:lnTo>
                  <a:lnTo>
                    <a:pt x="111" y="705"/>
                  </a:lnTo>
                  <a:lnTo>
                    <a:pt x="111" y="704"/>
                  </a:lnTo>
                  <a:lnTo>
                    <a:pt x="111" y="702"/>
                  </a:lnTo>
                  <a:lnTo>
                    <a:pt x="111" y="701"/>
                  </a:lnTo>
                  <a:lnTo>
                    <a:pt x="109" y="702"/>
                  </a:lnTo>
                  <a:lnTo>
                    <a:pt x="109" y="704"/>
                  </a:lnTo>
                  <a:lnTo>
                    <a:pt x="109" y="702"/>
                  </a:lnTo>
                  <a:lnTo>
                    <a:pt x="108" y="702"/>
                  </a:lnTo>
                  <a:lnTo>
                    <a:pt x="106" y="702"/>
                  </a:lnTo>
                  <a:lnTo>
                    <a:pt x="106" y="704"/>
                  </a:lnTo>
                  <a:lnTo>
                    <a:pt x="106" y="702"/>
                  </a:lnTo>
                  <a:lnTo>
                    <a:pt x="106" y="701"/>
                  </a:lnTo>
                  <a:lnTo>
                    <a:pt x="106" y="700"/>
                  </a:lnTo>
                  <a:lnTo>
                    <a:pt x="108" y="699"/>
                  </a:lnTo>
                  <a:lnTo>
                    <a:pt x="108" y="698"/>
                  </a:lnTo>
                  <a:lnTo>
                    <a:pt x="108" y="696"/>
                  </a:lnTo>
                  <a:lnTo>
                    <a:pt x="107" y="695"/>
                  </a:lnTo>
                  <a:lnTo>
                    <a:pt x="107" y="696"/>
                  </a:lnTo>
                  <a:lnTo>
                    <a:pt x="107" y="698"/>
                  </a:lnTo>
                  <a:lnTo>
                    <a:pt x="106" y="698"/>
                  </a:lnTo>
                  <a:lnTo>
                    <a:pt x="105" y="699"/>
                  </a:lnTo>
                  <a:lnTo>
                    <a:pt x="103" y="699"/>
                  </a:lnTo>
                  <a:lnTo>
                    <a:pt x="103" y="698"/>
                  </a:lnTo>
                  <a:lnTo>
                    <a:pt x="102" y="698"/>
                  </a:lnTo>
                  <a:lnTo>
                    <a:pt x="101" y="699"/>
                  </a:lnTo>
                  <a:lnTo>
                    <a:pt x="100" y="699"/>
                  </a:lnTo>
                  <a:lnTo>
                    <a:pt x="100" y="698"/>
                  </a:lnTo>
                  <a:lnTo>
                    <a:pt x="99" y="696"/>
                  </a:lnTo>
                  <a:lnTo>
                    <a:pt x="100" y="695"/>
                  </a:lnTo>
                  <a:lnTo>
                    <a:pt x="100" y="694"/>
                  </a:lnTo>
                  <a:lnTo>
                    <a:pt x="101" y="693"/>
                  </a:lnTo>
                  <a:lnTo>
                    <a:pt x="101" y="692"/>
                  </a:lnTo>
                  <a:lnTo>
                    <a:pt x="101" y="690"/>
                  </a:lnTo>
                  <a:lnTo>
                    <a:pt x="100" y="690"/>
                  </a:lnTo>
                  <a:lnTo>
                    <a:pt x="100" y="692"/>
                  </a:lnTo>
                  <a:lnTo>
                    <a:pt x="97" y="692"/>
                  </a:lnTo>
                  <a:lnTo>
                    <a:pt x="95" y="692"/>
                  </a:lnTo>
                  <a:lnTo>
                    <a:pt x="94" y="693"/>
                  </a:lnTo>
                  <a:lnTo>
                    <a:pt x="92" y="693"/>
                  </a:lnTo>
                  <a:lnTo>
                    <a:pt x="92" y="692"/>
                  </a:lnTo>
                  <a:lnTo>
                    <a:pt x="91" y="692"/>
                  </a:lnTo>
                  <a:lnTo>
                    <a:pt x="91" y="690"/>
                  </a:lnTo>
                  <a:lnTo>
                    <a:pt x="90" y="690"/>
                  </a:lnTo>
                  <a:lnTo>
                    <a:pt x="92" y="689"/>
                  </a:lnTo>
                  <a:lnTo>
                    <a:pt x="95" y="689"/>
                  </a:lnTo>
                  <a:lnTo>
                    <a:pt x="96" y="689"/>
                  </a:lnTo>
                  <a:lnTo>
                    <a:pt x="99" y="688"/>
                  </a:lnTo>
                  <a:lnTo>
                    <a:pt x="99" y="686"/>
                  </a:lnTo>
                  <a:lnTo>
                    <a:pt x="100" y="686"/>
                  </a:lnTo>
                  <a:lnTo>
                    <a:pt x="100" y="684"/>
                  </a:lnTo>
                  <a:lnTo>
                    <a:pt x="99" y="684"/>
                  </a:lnTo>
                  <a:lnTo>
                    <a:pt x="97" y="686"/>
                  </a:lnTo>
                  <a:lnTo>
                    <a:pt x="96" y="686"/>
                  </a:lnTo>
                  <a:lnTo>
                    <a:pt x="95" y="687"/>
                  </a:lnTo>
                  <a:lnTo>
                    <a:pt x="94" y="688"/>
                  </a:lnTo>
                  <a:lnTo>
                    <a:pt x="92" y="687"/>
                  </a:lnTo>
                  <a:lnTo>
                    <a:pt x="92" y="686"/>
                  </a:lnTo>
                  <a:lnTo>
                    <a:pt x="94" y="686"/>
                  </a:lnTo>
                  <a:lnTo>
                    <a:pt x="95" y="684"/>
                  </a:lnTo>
                  <a:lnTo>
                    <a:pt x="97" y="684"/>
                  </a:lnTo>
                  <a:lnTo>
                    <a:pt x="99" y="683"/>
                  </a:lnTo>
                  <a:lnTo>
                    <a:pt x="100" y="683"/>
                  </a:lnTo>
                  <a:lnTo>
                    <a:pt x="101" y="682"/>
                  </a:lnTo>
                  <a:lnTo>
                    <a:pt x="102" y="681"/>
                  </a:lnTo>
                  <a:lnTo>
                    <a:pt x="101" y="681"/>
                  </a:lnTo>
                  <a:lnTo>
                    <a:pt x="100" y="682"/>
                  </a:lnTo>
                  <a:lnTo>
                    <a:pt x="99" y="682"/>
                  </a:lnTo>
                  <a:lnTo>
                    <a:pt x="99" y="683"/>
                  </a:lnTo>
                  <a:lnTo>
                    <a:pt x="97" y="682"/>
                  </a:lnTo>
                  <a:lnTo>
                    <a:pt x="95" y="682"/>
                  </a:lnTo>
                  <a:lnTo>
                    <a:pt x="94" y="682"/>
                  </a:lnTo>
                  <a:lnTo>
                    <a:pt x="94" y="681"/>
                  </a:lnTo>
                  <a:lnTo>
                    <a:pt x="95" y="680"/>
                  </a:lnTo>
                  <a:lnTo>
                    <a:pt x="94" y="678"/>
                  </a:lnTo>
                  <a:lnTo>
                    <a:pt x="92" y="678"/>
                  </a:lnTo>
                  <a:lnTo>
                    <a:pt x="94" y="678"/>
                  </a:lnTo>
                  <a:lnTo>
                    <a:pt x="94" y="677"/>
                  </a:lnTo>
                  <a:lnTo>
                    <a:pt x="92" y="676"/>
                  </a:lnTo>
                  <a:lnTo>
                    <a:pt x="91" y="676"/>
                  </a:lnTo>
                  <a:lnTo>
                    <a:pt x="91" y="674"/>
                  </a:lnTo>
                  <a:lnTo>
                    <a:pt x="94" y="675"/>
                  </a:lnTo>
                  <a:lnTo>
                    <a:pt x="95" y="675"/>
                  </a:lnTo>
                  <a:lnTo>
                    <a:pt x="97" y="674"/>
                  </a:lnTo>
                  <a:lnTo>
                    <a:pt x="101" y="670"/>
                  </a:lnTo>
                  <a:lnTo>
                    <a:pt x="103" y="669"/>
                  </a:lnTo>
                  <a:lnTo>
                    <a:pt x="105" y="668"/>
                  </a:lnTo>
                  <a:lnTo>
                    <a:pt x="105" y="664"/>
                  </a:lnTo>
                  <a:lnTo>
                    <a:pt x="103" y="661"/>
                  </a:lnTo>
                  <a:lnTo>
                    <a:pt x="102" y="665"/>
                  </a:lnTo>
                  <a:lnTo>
                    <a:pt x="102" y="668"/>
                  </a:lnTo>
                  <a:lnTo>
                    <a:pt x="101" y="666"/>
                  </a:lnTo>
                  <a:lnTo>
                    <a:pt x="100" y="666"/>
                  </a:lnTo>
                  <a:lnTo>
                    <a:pt x="100" y="665"/>
                  </a:lnTo>
                  <a:lnTo>
                    <a:pt x="100" y="663"/>
                  </a:lnTo>
                  <a:lnTo>
                    <a:pt x="99" y="663"/>
                  </a:lnTo>
                  <a:lnTo>
                    <a:pt x="97" y="663"/>
                  </a:lnTo>
                  <a:lnTo>
                    <a:pt x="97" y="666"/>
                  </a:lnTo>
                  <a:lnTo>
                    <a:pt x="97" y="668"/>
                  </a:lnTo>
                  <a:lnTo>
                    <a:pt x="96" y="670"/>
                  </a:lnTo>
                  <a:lnTo>
                    <a:pt x="94" y="670"/>
                  </a:lnTo>
                  <a:lnTo>
                    <a:pt x="94" y="669"/>
                  </a:lnTo>
                  <a:lnTo>
                    <a:pt x="95" y="666"/>
                  </a:lnTo>
                  <a:lnTo>
                    <a:pt x="96" y="665"/>
                  </a:lnTo>
                  <a:lnTo>
                    <a:pt x="96" y="664"/>
                  </a:lnTo>
                  <a:lnTo>
                    <a:pt x="96" y="663"/>
                  </a:lnTo>
                  <a:lnTo>
                    <a:pt x="99" y="660"/>
                  </a:lnTo>
                  <a:lnTo>
                    <a:pt x="100" y="659"/>
                  </a:lnTo>
                  <a:lnTo>
                    <a:pt x="100" y="658"/>
                  </a:lnTo>
                  <a:lnTo>
                    <a:pt x="99" y="659"/>
                  </a:lnTo>
                  <a:lnTo>
                    <a:pt x="97" y="659"/>
                  </a:lnTo>
                  <a:lnTo>
                    <a:pt x="99" y="658"/>
                  </a:lnTo>
                  <a:lnTo>
                    <a:pt x="97" y="657"/>
                  </a:lnTo>
                  <a:lnTo>
                    <a:pt x="96" y="659"/>
                  </a:lnTo>
                  <a:lnTo>
                    <a:pt x="96" y="660"/>
                  </a:lnTo>
                  <a:lnTo>
                    <a:pt x="96" y="661"/>
                  </a:lnTo>
                  <a:lnTo>
                    <a:pt x="95" y="663"/>
                  </a:lnTo>
                  <a:lnTo>
                    <a:pt x="94" y="664"/>
                  </a:lnTo>
                  <a:lnTo>
                    <a:pt x="92" y="663"/>
                  </a:lnTo>
                  <a:lnTo>
                    <a:pt x="92" y="660"/>
                  </a:lnTo>
                  <a:lnTo>
                    <a:pt x="91" y="659"/>
                  </a:lnTo>
                  <a:lnTo>
                    <a:pt x="91" y="658"/>
                  </a:lnTo>
                  <a:lnTo>
                    <a:pt x="92" y="657"/>
                  </a:lnTo>
                  <a:lnTo>
                    <a:pt x="94" y="657"/>
                  </a:lnTo>
                  <a:lnTo>
                    <a:pt x="94" y="654"/>
                  </a:lnTo>
                  <a:lnTo>
                    <a:pt x="92" y="657"/>
                  </a:lnTo>
                  <a:lnTo>
                    <a:pt x="91" y="658"/>
                  </a:lnTo>
                  <a:lnTo>
                    <a:pt x="90" y="658"/>
                  </a:lnTo>
                  <a:lnTo>
                    <a:pt x="89" y="659"/>
                  </a:lnTo>
                  <a:lnTo>
                    <a:pt x="88" y="661"/>
                  </a:lnTo>
                  <a:lnTo>
                    <a:pt x="86" y="660"/>
                  </a:lnTo>
                  <a:lnTo>
                    <a:pt x="85" y="660"/>
                  </a:lnTo>
                  <a:lnTo>
                    <a:pt x="85" y="663"/>
                  </a:lnTo>
                  <a:lnTo>
                    <a:pt x="84" y="663"/>
                  </a:lnTo>
                  <a:lnTo>
                    <a:pt x="84" y="661"/>
                  </a:lnTo>
                  <a:lnTo>
                    <a:pt x="83" y="661"/>
                  </a:lnTo>
                  <a:lnTo>
                    <a:pt x="83" y="659"/>
                  </a:lnTo>
                  <a:lnTo>
                    <a:pt x="83" y="658"/>
                  </a:lnTo>
                  <a:lnTo>
                    <a:pt x="82" y="658"/>
                  </a:lnTo>
                  <a:lnTo>
                    <a:pt x="82" y="659"/>
                  </a:lnTo>
                  <a:lnTo>
                    <a:pt x="82" y="664"/>
                  </a:lnTo>
                  <a:lnTo>
                    <a:pt x="82" y="665"/>
                  </a:lnTo>
                  <a:lnTo>
                    <a:pt x="80" y="666"/>
                  </a:lnTo>
                  <a:lnTo>
                    <a:pt x="79" y="665"/>
                  </a:lnTo>
                  <a:lnTo>
                    <a:pt x="79" y="663"/>
                  </a:lnTo>
                  <a:lnTo>
                    <a:pt x="79" y="661"/>
                  </a:lnTo>
                  <a:lnTo>
                    <a:pt x="78" y="659"/>
                  </a:lnTo>
                  <a:lnTo>
                    <a:pt x="77" y="659"/>
                  </a:lnTo>
                  <a:lnTo>
                    <a:pt x="77" y="661"/>
                  </a:lnTo>
                  <a:lnTo>
                    <a:pt x="76" y="663"/>
                  </a:lnTo>
                  <a:lnTo>
                    <a:pt x="74" y="661"/>
                  </a:lnTo>
                  <a:lnTo>
                    <a:pt x="74" y="664"/>
                  </a:lnTo>
                  <a:lnTo>
                    <a:pt x="73" y="664"/>
                  </a:lnTo>
                  <a:lnTo>
                    <a:pt x="72" y="663"/>
                  </a:lnTo>
                  <a:lnTo>
                    <a:pt x="72" y="659"/>
                  </a:lnTo>
                  <a:lnTo>
                    <a:pt x="72" y="658"/>
                  </a:lnTo>
                  <a:lnTo>
                    <a:pt x="70" y="658"/>
                  </a:lnTo>
                  <a:lnTo>
                    <a:pt x="71" y="657"/>
                  </a:lnTo>
                  <a:lnTo>
                    <a:pt x="71" y="655"/>
                  </a:lnTo>
                  <a:lnTo>
                    <a:pt x="74" y="654"/>
                  </a:lnTo>
                  <a:lnTo>
                    <a:pt x="72" y="653"/>
                  </a:lnTo>
                  <a:lnTo>
                    <a:pt x="70" y="653"/>
                  </a:lnTo>
                  <a:lnTo>
                    <a:pt x="70" y="652"/>
                  </a:lnTo>
                  <a:lnTo>
                    <a:pt x="68" y="652"/>
                  </a:lnTo>
                  <a:lnTo>
                    <a:pt x="68" y="653"/>
                  </a:lnTo>
                  <a:lnTo>
                    <a:pt x="67" y="655"/>
                  </a:lnTo>
                  <a:lnTo>
                    <a:pt x="66" y="655"/>
                  </a:lnTo>
                  <a:lnTo>
                    <a:pt x="65" y="654"/>
                  </a:lnTo>
                  <a:lnTo>
                    <a:pt x="62" y="655"/>
                  </a:lnTo>
                  <a:lnTo>
                    <a:pt x="59" y="657"/>
                  </a:lnTo>
                  <a:lnTo>
                    <a:pt x="58" y="657"/>
                  </a:lnTo>
                  <a:lnTo>
                    <a:pt x="59" y="655"/>
                  </a:lnTo>
                  <a:lnTo>
                    <a:pt x="60" y="653"/>
                  </a:lnTo>
                  <a:lnTo>
                    <a:pt x="61" y="653"/>
                  </a:lnTo>
                  <a:lnTo>
                    <a:pt x="66" y="651"/>
                  </a:lnTo>
                  <a:lnTo>
                    <a:pt x="67" y="649"/>
                  </a:lnTo>
                  <a:lnTo>
                    <a:pt x="70" y="648"/>
                  </a:lnTo>
                  <a:lnTo>
                    <a:pt x="72" y="646"/>
                  </a:lnTo>
                  <a:lnTo>
                    <a:pt x="72" y="645"/>
                  </a:lnTo>
                  <a:lnTo>
                    <a:pt x="71" y="643"/>
                  </a:lnTo>
                  <a:lnTo>
                    <a:pt x="70" y="646"/>
                  </a:lnTo>
                  <a:lnTo>
                    <a:pt x="68" y="647"/>
                  </a:lnTo>
                  <a:lnTo>
                    <a:pt x="67" y="648"/>
                  </a:lnTo>
                  <a:lnTo>
                    <a:pt x="66" y="648"/>
                  </a:lnTo>
                  <a:lnTo>
                    <a:pt x="65" y="648"/>
                  </a:lnTo>
                  <a:lnTo>
                    <a:pt x="64" y="647"/>
                  </a:lnTo>
                  <a:lnTo>
                    <a:pt x="64" y="645"/>
                  </a:lnTo>
                  <a:lnTo>
                    <a:pt x="64" y="643"/>
                  </a:lnTo>
                  <a:lnTo>
                    <a:pt x="62" y="645"/>
                  </a:lnTo>
                  <a:lnTo>
                    <a:pt x="62" y="647"/>
                  </a:lnTo>
                  <a:lnTo>
                    <a:pt x="62" y="648"/>
                  </a:lnTo>
                  <a:lnTo>
                    <a:pt x="62" y="651"/>
                  </a:lnTo>
                  <a:lnTo>
                    <a:pt x="61" y="652"/>
                  </a:lnTo>
                  <a:lnTo>
                    <a:pt x="60" y="652"/>
                  </a:lnTo>
                  <a:lnTo>
                    <a:pt x="60" y="651"/>
                  </a:lnTo>
                  <a:lnTo>
                    <a:pt x="60" y="649"/>
                  </a:lnTo>
                  <a:lnTo>
                    <a:pt x="60" y="648"/>
                  </a:lnTo>
                  <a:lnTo>
                    <a:pt x="60" y="647"/>
                  </a:lnTo>
                  <a:lnTo>
                    <a:pt x="59" y="646"/>
                  </a:lnTo>
                  <a:lnTo>
                    <a:pt x="59" y="648"/>
                  </a:lnTo>
                  <a:lnTo>
                    <a:pt x="59" y="649"/>
                  </a:lnTo>
                  <a:lnTo>
                    <a:pt x="58" y="652"/>
                  </a:lnTo>
                  <a:lnTo>
                    <a:pt x="56" y="652"/>
                  </a:lnTo>
                  <a:lnTo>
                    <a:pt x="56" y="649"/>
                  </a:lnTo>
                  <a:lnTo>
                    <a:pt x="56" y="647"/>
                  </a:lnTo>
                  <a:lnTo>
                    <a:pt x="56" y="645"/>
                  </a:lnTo>
                  <a:lnTo>
                    <a:pt x="56" y="643"/>
                  </a:lnTo>
                  <a:lnTo>
                    <a:pt x="55" y="646"/>
                  </a:lnTo>
                  <a:lnTo>
                    <a:pt x="54" y="646"/>
                  </a:lnTo>
                  <a:lnTo>
                    <a:pt x="53" y="647"/>
                  </a:lnTo>
                  <a:lnTo>
                    <a:pt x="53" y="651"/>
                  </a:lnTo>
                  <a:lnTo>
                    <a:pt x="53" y="652"/>
                  </a:lnTo>
                  <a:lnTo>
                    <a:pt x="52" y="651"/>
                  </a:lnTo>
                  <a:lnTo>
                    <a:pt x="50" y="649"/>
                  </a:lnTo>
                  <a:lnTo>
                    <a:pt x="50" y="648"/>
                  </a:lnTo>
                  <a:lnTo>
                    <a:pt x="50" y="646"/>
                  </a:lnTo>
                  <a:lnTo>
                    <a:pt x="50" y="643"/>
                  </a:lnTo>
                  <a:lnTo>
                    <a:pt x="50" y="641"/>
                  </a:lnTo>
                  <a:lnTo>
                    <a:pt x="50" y="639"/>
                  </a:lnTo>
                  <a:lnTo>
                    <a:pt x="49" y="639"/>
                  </a:lnTo>
                  <a:lnTo>
                    <a:pt x="49" y="641"/>
                  </a:lnTo>
                  <a:lnTo>
                    <a:pt x="49" y="642"/>
                  </a:lnTo>
                  <a:lnTo>
                    <a:pt x="48" y="645"/>
                  </a:lnTo>
                  <a:lnTo>
                    <a:pt x="47" y="645"/>
                  </a:lnTo>
                  <a:lnTo>
                    <a:pt x="46" y="643"/>
                  </a:lnTo>
                  <a:lnTo>
                    <a:pt x="46" y="642"/>
                  </a:lnTo>
                  <a:lnTo>
                    <a:pt x="46" y="640"/>
                  </a:lnTo>
                  <a:lnTo>
                    <a:pt x="46" y="639"/>
                  </a:lnTo>
                  <a:lnTo>
                    <a:pt x="46" y="637"/>
                  </a:lnTo>
                  <a:lnTo>
                    <a:pt x="44" y="636"/>
                  </a:lnTo>
                  <a:lnTo>
                    <a:pt x="43" y="636"/>
                  </a:lnTo>
                  <a:lnTo>
                    <a:pt x="43" y="639"/>
                  </a:lnTo>
                  <a:lnTo>
                    <a:pt x="42" y="642"/>
                  </a:lnTo>
                  <a:lnTo>
                    <a:pt x="41" y="643"/>
                  </a:lnTo>
                  <a:lnTo>
                    <a:pt x="38" y="642"/>
                  </a:lnTo>
                  <a:lnTo>
                    <a:pt x="38" y="641"/>
                  </a:lnTo>
                  <a:lnTo>
                    <a:pt x="37" y="641"/>
                  </a:lnTo>
                  <a:lnTo>
                    <a:pt x="37" y="642"/>
                  </a:lnTo>
                  <a:lnTo>
                    <a:pt x="37" y="645"/>
                  </a:lnTo>
                  <a:lnTo>
                    <a:pt x="37" y="648"/>
                  </a:lnTo>
                  <a:lnTo>
                    <a:pt x="36" y="648"/>
                  </a:lnTo>
                  <a:lnTo>
                    <a:pt x="36" y="647"/>
                  </a:lnTo>
                  <a:lnTo>
                    <a:pt x="35" y="645"/>
                  </a:lnTo>
                  <a:lnTo>
                    <a:pt x="35" y="647"/>
                  </a:lnTo>
                  <a:lnTo>
                    <a:pt x="33" y="647"/>
                  </a:lnTo>
                  <a:lnTo>
                    <a:pt x="31" y="646"/>
                  </a:lnTo>
                  <a:lnTo>
                    <a:pt x="32" y="642"/>
                  </a:lnTo>
                  <a:lnTo>
                    <a:pt x="31" y="641"/>
                  </a:lnTo>
                  <a:lnTo>
                    <a:pt x="30" y="641"/>
                  </a:lnTo>
                  <a:lnTo>
                    <a:pt x="29" y="641"/>
                  </a:lnTo>
                  <a:lnTo>
                    <a:pt x="27" y="641"/>
                  </a:lnTo>
                  <a:lnTo>
                    <a:pt x="25" y="641"/>
                  </a:lnTo>
                  <a:lnTo>
                    <a:pt x="27" y="640"/>
                  </a:lnTo>
                  <a:lnTo>
                    <a:pt x="29" y="637"/>
                  </a:lnTo>
                  <a:lnTo>
                    <a:pt x="30" y="636"/>
                  </a:lnTo>
                  <a:lnTo>
                    <a:pt x="33" y="634"/>
                  </a:lnTo>
                  <a:lnTo>
                    <a:pt x="40" y="631"/>
                  </a:lnTo>
                  <a:lnTo>
                    <a:pt x="44" y="629"/>
                  </a:lnTo>
                  <a:lnTo>
                    <a:pt x="50" y="628"/>
                  </a:lnTo>
                  <a:lnTo>
                    <a:pt x="55" y="628"/>
                  </a:lnTo>
                  <a:lnTo>
                    <a:pt x="58" y="629"/>
                  </a:lnTo>
                  <a:lnTo>
                    <a:pt x="59" y="629"/>
                  </a:lnTo>
                  <a:lnTo>
                    <a:pt x="60" y="629"/>
                  </a:lnTo>
                  <a:lnTo>
                    <a:pt x="62" y="629"/>
                  </a:lnTo>
                  <a:lnTo>
                    <a:pt x="64" y="629"/>
                  </a:lnTo>
                  <a:lnTo>
                    <a:pt x="67" y="628"/>
                  </a:lnTo>
                  <a:lnTo>
                    <a:pt x="70" y="627"/>
                  </a:lnTo>
                  <a:lnTo>
                    <a:pt x="73" y="625"/>
                  </a:lnTo>
                  <a:lnTo>
                    <a:pt x="73" y="624"/>
                  </a:lnTo>
                  <a:lnTo>
                    <a:pt x="72" y="623"/>
                  </a:lnTo>
                  <a:lnTo>
                    <a:pt x="71" y="623"/>
                  </a:lnTo>
                  <a:lnTo>
                    <a:pt x="66" y="624"/>
                  </a:lnTo>
                  <a:lnTo>
                    <a:pt x="68" y="623"/>
                  </a:lnTo>
                  <a:lnTo>
                    <a:pt x="70" y="623"/>
                  </a:lnTo>
                  <a:lnTo>
                    <a:pt x="66" y="621"/>
                  </a:lnTo>
                  <a:lnTo>
                    <a:pt x="67" y="619"/>
                  </a:lnTo>
                  <a:lnTo>
                    <a:pt x="71" y="621"/>
                  </a:lnTo>
                  <a:lnTo>
                    <a:pt x="72" y="621"/>
                  </a:lnTo>
                  <a:lnTo>
                    <a:pt x="73" y="622"/>
                  </a:lnTo>
                  <a:lnTo>
                    <a:pt x="74" y="623"/>
                  </a:lnTo>
                  <a:lnTo>
                    <a:pt x="77" y="624"/>
                  </a:lnTo>
                  <a:lnTo>
                    <a:pt x="78" y="623"/>
                  </a:lnTo>
                  <a:lnTo>
                    <a:pt x="80" y="625"/>
                  </a:lnTo>
                  <a:lnTo>
                    <a:pt x="82" y="627"/>
                  </a:lnTo>
                  <a:lnTo>
                    <a:pt x="85" y="624"/>
                  </a:lnTo>
                  <a:lnTo>
                    <a:pt x="90" y="623"/>
                  </a:lnTo>
                  <a:lnTo>
                    <a:pt x="96" y="621"/>
                  </a:lnTo>
                  <a:lnTo>
                    <a:pt x="97" y="621"/>
                  </a:lnTo>
                  <a:lnTo>
                    <a:pt x="100" y="621"/>
                  </a:lnTo>
                  <a:lnTo>
                    <a:pt x="100" y="619"/>
                  </a:lnTo>
                  <a:lnTo>
                    <a:pt x="99" y="619"/>
                  </a:lnTo>
                  <a:lnTo>
                    <a:pt x="99" y="617"/>
                  </a:lnTo>
                  <a:lnTo>
                    <a:pt x="99" y="616"/>
                  </a:lnTo>
                  <a:lnTo>
                    <a:pt x="99" y="613"/>
                  </a:lnTo>
                  <a:lnTo>
                    <a:pt x="97" y="613"/>
                  </a:lnTo>
                  <a:lnTo>
                    <a:pt x="96" y="617"/>
                  </a:lnTo>
                  <a:lnTo>
                    <a:pt x="95" y="617"/>
                  </a:lnTo>
                  <a:lnTo>
                    <a:pt x="94" y="615"/>
                  </a:lnTo>
                  <a:lnTo>
                    <a:pt x="94" y="613"/>
                  </a:lnTo>
                  <a:lnTo>
                    <a:pt x="94" y="612"/>
                  </a:lnTo>
                  <a:lnTo>
                    <a:pt x="92" y="613"/>
                  </a:lnTo>
                  <a:lnTo>
                    <a:pt x="91" y="613"/>
                  </a:lnTo>
                  <a:lnTo>
                    <a:pt x="90" y="613"/>
                  </a:lnTo>
                  <a:lnTo>
                    <a:pt x="89" y="612"/>
                  </a:lnTo>
                  <a:lnTo>
                    <a:pt x="89" y="613"/>
                  </a:lnTo>
                  <a:lnTo>
                    <a:pt x="88" y="613"/>
                  </a:lnTo>
                  <a:lnTo>
                    <a:pt x="86" y="612"/>
                  </a:lnTo>
                  <a:lnTo>
                    <a:pt x="85" y="611"/>
                  </a:lnTo>
                  <a:lnTo>
                    <a:pt x="83" y="610"/>
                  </a:lnTo>
                  <a:lnTo>
                    <a:pt x="79" y="609"/>
                  </a:lnTo>
                  <a:lnTo>
                    <a:pt x="79" y="606"/>
                  </a:lnTo>
                  <a:lnTo>
                    <a:pt x="78" y="605"/>
                  </a:lnTo>
                  <a:lnTo>
                    <a:pt x="77" y="605"/>
                  </a:lnTo>
                  <a:lnTo>
                    <a:pt x="76" y="605"/>
                  </a:lnTo>
                  <a:lnTo>
                    <a:pt x="74" y="604"/>
                  </a:lnTo>
                  <a:lnTo>
                    <a:pt x="76" y="603"/>
                  </a:lnTo>
                  <a:lnTo>
                    <a:pt x="77" y="600"/>
                  </a:lnTo>
                  <a:lnTo>
                    <a:pt x="74" y="600"/>
                  </a:lnTo>
                  <a:lnTo>
                    <a:pt x="73" y="604"/>
                  </a:lnTo>
                  <a:lnTo>
                    <a:pt x="72" y="605"/>
                  </a:lnTo>
                  <a:lnTo>
                    <a:pt x="71" y="606"/>
                  </a:lnTo>
                  <a:lnTo>
                    <a:pt x="71" y="605"/>
                  </a:lnTo>
                  <a:lnTo>
                    <a:pt x="71" y="601"/>
                  </a:lnTo>
                  <a:lnTo>
                    <a:pt x="71" y="600"/>
                  </a:lnTo>
                  <a:lnTo>
                    <a:pt x="70" y="600"/>
                  </a:lnTo>
                  <a:lnTo>
                    <a:pt x="70" y="601"/>
                  </a:lnTo>
                  <a:lnTo>
                    <a:pt x="68" y="605"/>
                  </a:lnTo>
                  <a:lnTo>
                    <a:pt x="70" y="607"/>
                  </a:lnTo>
                  <a:lnTo>
                    <a:pt x="68" y="609"/>
                  </a:lnTo>
                  <a:lnTo>
                    <a:pt x="68" y="607"/>
                  </a:lnTo>
                  <a:lnTo>
                    <a:pt x="68" y="605"/>
                  </a:lnTo>
                  <a:lnTo>
                    <a:pt x="67" y="604"/>
                  </a:lnTo>
                  <a:lnTo>
                    <a:pt x="66" y="603"/>
                  </a:lnTo>
                  <a:lnTo>
                    <a:pt x="67" y="600"/>
                  </a:lnTo>
                  <a:lnTo>
                    <a:pt x="68" y="599"/>
                  </a:lnTo>
                  <a:lnTo>
                    <a:pt x="67" y="597"/>
                  </a:lnTo>
                  <a:lnTo>
                    <a:pt x="67" y="595"/>
                  </a:lnTo>
                  <a:lnTo>
                    <a:pt x="66" y="594"/>
                  </a:lnTo>
                  <a:lnTo>
                    <a:pt x="65" y="595"/>
                  </a:lnTo>
                  <a:lnTo>
                    <a:pt x="64" y="597"/>
                  </a:lnTo>
                  <a:lnTo>
                    <a:pt x="62" y="595"/>
                  </a:lnTo>
                  <a:lnTo>
                    <a:pt x="62" y="594"/>
                  </a:lnTo>
                  <a:lnTo>
                    <a:pt x="62" y="593"/>
                  </a:lnTo>
                  <a:lnTo>
                    <a:pt x="62" y="591"/>
                  </a:lnTo>
                  <a:lnTo>
                    <a:pt x="62" y="589"/>
                  </a:lnTo>
                  <a:lnTo>
                    <a:pt x="64" y="587"/>
                  </a:lnTo>
                  <a:lnTo>
                    <a:pt x="64" y="586"/>
                  </a:lnTo>
                  <a:lnTo>
                    <a:pt x="62" y="586"/>
                  </a:lnTo>
                  <a:lnTo>
                    <a:pt x="60" y="587"/>
                  </a:lnTo>
                  <a:lnTo>
                    <a:pt x="60" y="589"/>
                  </a:lnTo>
                  <a:lnTo>
                    <a:pt x="60" y="591"/>
                  </a:lnTo>
                  <a:lnTo>
                    <a:pt x="60" y="593"/>
                  </a:lnTo>
                  <a:lnTo>
                    <a:pt x="61" y="597"/>
                  </a:lnTo>
                  <a:lnTo>
                    <a:pt x="60" y="598"/>
                  </a:lnTo>
                  <a:lnTo>
                    <a:pt x="59" y="598"/>
                  </a:lnTo>
                  <a:lnTo>
                    <a:pt x="59" y="595"/>
                  </a:lnTo>
                  <a:lnTo>
                    <a:pt x="59" y="592"/>
                  </a:lnTo>
                  <a:lnTo>
                    <a:pt x="59" y="593"/>
                  </a:lnTo>
                  <a:lnTo>
                    <a:pt x="59" y="595"/>
                  </a:lnTo>
                  <a:lnTo>
                    <a:pt x="58" y="595"/>
                  </a:lnTo>
                  <a:lnTo>
                    <a:pt x="56" y="594"/>
                  </a:lnTo>
                  <a:lnTo>
                    <a:pt x="56" y="592"/>
                  </a:lnTo>
                  <a:lnTo>
                    <a:pt x="56" y="589"/>
                  </a:lnTo>
                  <a:lnTo>
                    <a:pt x="56" y="588"/>
                  </a:lnTo>
                  <a:lnTo>
                    <a:pt x="56" y="591"/>
                  </a:lnTo>
                  <a:lnTo>
                    <a:pt x="55" y="595"/>
                  </a:lnTo>
                  <a:lnTo>
                    <a:pt x="55" y="597"/>
                  </a:lnTo>
                  <a:lnTo>
                    <a:pt x="54" y="598"/>
                  </a:lnTo>
                  <a:lnTo>
                    <a:pt x="54" y="597"/>
                  </a:lnTo>
                  <a:lnTo>
                    <a:pt x="54" y="593"/>
                  </a:lnTo>
                  <a:lnTo>
                    <a:pt x="54" y="591"/>
                  </a:lnTo>
                  <a:lnTo>
                    <a:pt x="53" y="593"/>
                  </a:lnTo>
                  <a:lnTo>
                    <a:pt x="53" y="595"/>
                  </a:lnTo>
                  <a:lnTo>
                    <a:pt x="53" y="599"/>
                  </a:lnTo>
                  <a:lnTo>
                    <a:pt x="52" y="599"/>
                  </a:lnTo>
                  <a:lnTo>
                    <a:pt x="50" y="598"/>
                  </a:lnTo>
                  <a:lnTo>
                    <a:pt x="50" y="595"/>
                  </a:lnTo>
                  <a:lnTo>
                    <a:pt x="50" y="593"/>
                  </a:lnTo>
                  <a:lnTo>
                    <a:pt x="50" y="592"/>
                  </a:lnTo>
                  <a:lnTo>
                    <a:pt x="49" y="593"/>
                  </a:lnTo>
                  <a:lnTo>
                    <a:pt x="48" y="592"/>
                  </a:lnTo>
                  <a:lnTo>
                    <a:pt x="47" y="592"/>
                  </a:lnTo>
                  <a:lnTo>
                    <a:pt x="47" y="593"/>
                  </a:lnTo>
                  <a:lnTo>
                    <a:pt x="46" y="594"/>
                  </a:lnTo>
                  <a:lnTo>
                    <a:pt x="44" y="595"/>
                  </a:lnTo>
                  <a:lnTo>
                    <a:pt x="43" y="597"/>
                  </a:lnTo>
                  <a:lnTo>
                    <a:pt x="43" y="594"/>
                  </a:lnTo>
                  <a:lnTo>
                    <a:pt x="44" y="593"/>
                  </a:lnTo>
                  <a:lnTo>
                    <a:pt x="42" y="594"/>
                  </a:lnTo>
                  <a:lnTo>
                    <a:pt x="40" y="594"/>
                  </a:lnTo>
                  <a:lnTo>
                    <a:pt x="41" y="593"/>
                  </a:lnTo>
                  <a:lnTo>
                    <a:pt x="43" y="591"/>
                  </a:lnTo>
                  <a:lnTo>
                    <a:pt x="43" y="589"/>
                  </a:lnTo>
                  <a:lnTo>
                    <a:pt x="44" y="591"/>
                  </a:lnTo>
                  <a:lnTo>
                    <a:pt x="46" y="591"/>
                  </a:lnTo>
                  <a:lnTo>
                    <a:pt x="47" y="589"/>
                  </a:lnTo>
                  <a:lnTo>
                    <a:pt x="49" y="589"/>
                  </a:lnTo>
                  <a:lnTo>
                    <a:pt x="50" y="588"/>
                  </a:lnTo>
                  <a:lnTo>
                    <a:pt x="53" y="587"/>
                  </a:lnTo>
                  <a:lnTo>
                    <a:pt x="56" y="586"/>
                  </a:lnTo>
                  <a:lnTo>
                    <a:pt x="59" y="585"/>
                  </a:lnTo>
                  <a:lnTo>
                    <a:pt x="60" y="586"/>
                  </a:lnTo>
                  <a:lnTo>
                    <a:pt x="64" y="585"/>
                  </a:lnTo>
                  <a:lnTo>
                    <a:pt x="65" y="585"/>
                  </a:lnTo>
                  <a:lnTo>
                    <a:pt x="67" y="585"/>
                  </a:lnTo>
                  <a:lnTo>
                    <a:pt x="71" y="585"/>
                  </a:lnTo>
                  <a:lnTo>
                    <a:pt x="73" y="585"/>
                  </a:lnTo>
                  <a:lnTo>
                    <a:pt x="74" y="586"/>
                  </a:lnTo>
                  <a:lnTo>
                    <a:pt x="77" y="586"/>
                  </a:lnTo>
                  <a:lnTo>
                    <a:pt x="79" y="586"/>
                  </a:lnTo>
                  <a:lnTo>
                    <a:pt x="80" y="587"/>
                  </a:lnTo>
                  <a:lnTo>
                    <a:pt x="83" y="587"/>
                  </a:lnTo>
                  <a:lnTo>
                    <a:pt x="85" y="587"/>
                  </a:lnTo>
                  <a:lnTo>
                    <a:pt x="90" y="587"/>
                  </a:lnTo>
                  <a:lnTo>
                    <a:pt x="94" y="587"/>
                  </a:lnTo>
                  <a:lnTo>
                    <a:pt x="94" y="589"/>
                  </a:lnTo>
                  <a:lnTo>
                    <a:pt x="95" y="588"/>
                  </a:lnTo>
                  <a:lnTo>
                    <a:pt x="96" y="588"/>
                  </a:lnTo>
                  <a:lnTo>
                    <a:pt x="97" y="588"/>
                  </a:lnTo>
                  <a:lnTo>
                    <a:pt x="100" y="588"/>
                  </a:lnTo>
                  <a:lnTo>
                    <a:pt x="101" y="588"/>
                  </a:lnTo>
                  <a:lnTo>
                    <a:pt x="102" y="589"/>
                  </a:lnTo>
                  <a:lnTo>
                    <a:pt x="103" y="589"/>
                  </a:lnTo>
                  <a:lnTo>
                    <a:pt x="105" y="589"/>
                  </a:lnTo>
                  <a:lnTo>
                    <a:pt x="109" y="589"/>
                  </a:lnTo>
                  <a:lnTo>
                    <a:pt x="113" y="588"/>
                  </a:lnTo>
                  <a:lnTo>
                    <a:pt x="115" y="588"/>
                  </a:lnTo>
                  <a:lnTo>
                    <a:pt x="117" y="588"/>
                  </a:lnTo>
                  <a:lnTo>
                    <a:pt x="118" y="588"/>
                  </a:lnTo>
                  <a:lnTo>
                    <a:pt x="118" y="589"/>
                  </a:lnTo>
                  <a:lnTo>
                    <a:pt x="119" y="589"/>
                  </a:lnTo>
                  <a:lnTo>
                    <a:pt x="120" y="589"/>
                  </a:lnTo>
                  <a:lnTo>
                    <a:pt x="121" y="589"/>
                  </a:lnTo>
                  <a:lnTo>
                    <a:pt x="123" y="588"/>
                  </a:lnTo>
                  <a:lnTo>
                    <a:pt x="124" y="587"/>
                  </a:lnTo>
                  <a:lnTo>
                    <a:pt x="126" y="587"/>
                  </a:lnTo>
                  <a:lnTo>
                    <a:pt x="129" y="586"/>
                  </a:lnTo>
                  <a:lnTo>
                    <a:pt x="132" y="586"/>
                  </a:lnTo>
                  <a:lnTo>
                    <a:pt x="136" y="583"/>
                  </a:lnTo>
                  <a:lnTo>
                    <a:pt x="139" y="582"/>
                  </a:lnTo>
                  <a:lnTo>
                    <a:pt x="139" y="581"/>
                  </a:lnTo>
                  <a:lnTo>
                    <a:pt x="137" y="582"/>
                  </a:lnTo>
                  <a:lnTo>
                    <a:pt x="133" y="583"/>
                  </a:lnTo>
                  <a:lnTo>
                    <a:pt x="138" y="580"/>
                  </a:lnTo>
                  <a:lnTo>
                    <a:pt x="137" y="580"/>
                  </a:lnTo>
                  <a:lnTo>
                    <a:pt x="133" y="580"/>
                  </a:lnTo>
                  <a:lnTo>
                    <a:pt x="132" y="580"/>
                  </a:lnTo>
                  <a:lnTo>
                    <a:pt x="137" y="579"/>
                  </a:lnTo>
                  <a:lnTo>
                    <a:pt x="138" y="579"/>
                  </a:lnTo>
                  <a:lnTo>
                    <a:pt x="139" y="577"/>
                  </a:lnTo>
                  <a:lnTo>
                    <a:pt x="139" y="576"/>
                  </a:lnTo>
                  <a:lnTo>
                    <a:pt x="142" y="576"/>
                  </a:lnTo>
                  <a:lnTo>
                    <a:pt x="143" y="576"/>
                  </a:lnTo>
                  <a:lnTo>
                    <a:pt x="142" y="577"/>
                  </a:lnTo>
                  <a:lnTo>
                    <a:pt x="142" y="579"/>
                  </a:lnTo>
                  <a:lnTo>
                    <a:pt x="145" y="580"/>
                  </a:lnTo>
                  <a:lnTo>
                    <a:pt x="145" y="581"/>
                  </a:lnTo>
                  <a:lnTo>
                    <a:pt x="149" y="581"/>
                  </a:lnTo>
                  <a:lnTo>
                    <a:pt x="151" y="580"/>
                  </a:lnTo>
                  <a:lnTo>
                    <a:pt x="158" y="579"/>
                  </a:lnTo>
                  <a:lnTo>
                    <a:pt x="159" y="579"/>
                  </a:lnTo>
                  <a:lnTo>
                    <a:pt x="160" y="579"/>
                  </a:lnTo>
                  <a:lnTo>
                    <a:pt x="161" y="579"/>
                  </a:lnTo>
                  <a:lnTo>
                    <a:pt x="164" y="580"/>
                  </a:lnTo>
                  <a:lnTo>
                    <a:pt x="166" y="579"/>
                  </a:lnTo>
                  <a:lnTo>
                    <a:pt x="167" y="577"/>
                  </a:lnTo>
                  <a:lnTo>
                    <a:pt x="167" y="576"/>
                  </a:lnTo>
                  <a:lnTo>
                    <a:pt x="170" y="576"/>
                  </a:lnTo>
                  <a:lnTo>
                    <a:pt x="172" y="576"/>
                  </a:lnTo>
                  <a:lnTo>
                    <a:pt x="173" y="575"/>
                  </a:lnTo>
                  <a:lnTo>
                    <a:pt x="176" y="575"/>
                  </a:lnTo>
                  <a:lnTo>
                    <a:pt x="177" y="575"/>
                  </a:lnTo>
                  <a:lnTo>
                    <a:pt x="179" y="568"/>
                  </a:lnTo>
                  <a:lnTo>
                    <a:pt x="182" y="567"/>
                  </a:lnTo>
                  <a:lnTo>
                    <a:pt x="182" y="564"/>
                  </a:lnTo>
                  <a:lnTo>
                    <a:pt x="180" y="562"/>
                  </a:lnTo>
                  <a:lnTo>
                    <a:pt x="179" y="559"/>
                  </a:lnTo>
                  <a:lnTo>
                    <a:pt x="178" y="559"/>
                  </a:lnTo>
                  <a:lnTo>
                    <a:pt x="177" y="561"/>
                  </a:lnTo>
                  <a:lnTo>
                    <a:pt x="174" y="561"/>
                  </a:lnTo>
                  <a:lnTo>
                    <a:pt x="173" y="562"/>
                  </a:lnTo>
                  <a:lnTo>
                    <a:pt x="172" y="563"/>
                  </a:lnTo>
                  <a:lnTo>
                    <a:pt x="172" y="564"/>
                  </a:lnTo>
                  <a:lnTo>
                    <a:pt x="172" y="567"/>
                  </a:lnTo>
                  <a:lnTo>
                    <a:pt x="171" y="569"/>
                  </a:lnTo>
                  <a:lnTo>
                    <a:pt x="170" y="569"/>
                  </a:lnTo>
                  <a:lnTo>
                    <a:pt x="168" y="568"/>
                  </a:lnTo>
                  <a:lnTo>
                    <a:pt x="168" y="567"/>
                  </a:lnTo>
                  <a:lnTo>
                    <a:pt x="168" y="564"/>
                  </a:lnTo>
                  <a:lnTo>
                    <a:pt x="167" y="563"/>
                  </a:lnTo>
                  <a:lnTo>
                    <a:pt x="166" y="564"/>
                  </a:lnTo>
                  <a:lnTo>
                    <a:pt x="166" y="567"/>
                  </a:lnTo>
                  <a:lnTo>
                    <a:pt x="165" y="568"/>
                  </a:lnTo>
                  <a:lnTo>
                    <a:pt x="165" y="569"/>
                  </a:lnTo>
                  <a:lnTo>
                    <a:pt x="165" y="568"/>
                  </a:lnTo>
                  <a:lnTo>
                    <a:pt x="164" y="567"/>
                  </a:lnTo>
                  <a:lnTo>
                    <a:pt x="165" y="565"/>
                  </a:lnTo>
                  <a:lnTo>
                    <a:pt x="164" y="564"/>
                  </a:lnTo>
                  <a:lnTo>
                    <a:pt x="164" y="563"/>
                  </a:lnTo>
                  <a:lnTo>
                    <a:pt x="164" y="562"/>
                  </a:lnTo>
                  <a:lnTo>
                    <a:pt x="164" y="561"/>
                  </a:lnTo>
                  <a:lnTo>
                    <a:pt x="162" y="562"/>
                  </a:lnTo>
                  <a:lnTo>
                    <a:pt x="162" y="561"/>
                  </a:lnTo>
                  <a:lnTo>
                    <a:pt x="161" y="561"/>
                  </a:lnTo>
                  <a:lnTo>
                    <a:pt x="160" y="561"/>
                  </a:lnTo>
                  <a:lnTo>
                    <a:pt x="160" y="562"/>
                  </a:lnTo>
                  <a:lnTo>
                    <a:pt x="159" y="561"/>
                  </a:lnTo>
                  <a:lnTo>
                    <a:pt x="159" y="559"/>
                  </a:lnTo>
                  <a:lnTo>
                    <a:pt x="159" y="561"/>
                  </a:lnTo>
                  <a:lnTo>
                    <a:pt x="158" y="562"/>
                  </a:lnTo>
                  <a:lnTo>
                    <a:pt x="159" y="565"/>
                  </a:lnTo>
                  <a:lnTo>
                    <a:pt x="158" y="567"/>
                  </a:lnTo>
                  <a:lnTo>
                    <a:pt x="158" y="564"/>
                  </a:lnTo>
                  <a:lnTo>
                    <a:pt x="156" y="563"/>
                  </a:lnTo>
                  <a:lnTo>
                    <a:pt x="156" y="561"/>
                  </a:lnTo>
                  <a:lnTo>
                    <a:pt x="156" y="558"/>
                  </a:lnTo>
                  <a:lnTo>
                    <a:pt x="156" y="557"/>
                  </a:lnTo>
                  <a:lnTo>
                    <a:pt x="155" y="558"/>
                  </a:lnTo>
                  <a:lnTo>
                    <a:pt x="155" y="559"/>
                  </a:lnTo>
                  <a:lnTo>
                    <a:pt x="153" y="559"/>
                  </a:lnTo>
                  <a:lnTo>
                    <a:pt x="153" y="561"/>
                  </a:lnTo>
                  <a:lnTo>
                    <a:pt x="153" y="564"/>
                  </a:lnTo>
                  <a:lnTo>
                    <a:pt x="153" y="568"/>
                  </a:lnTo>
                  <a:lnTo>
                    <a:pt x="151" y="564"/>
                  </a:lnTo>
                  <a:lnTo>
                    <a:pt x="151" y="562"/>
                  </a:lnTo>
                  <a:lnTo>
                    <a:pt x="151" y="559"/>
                  </a:lnTo>
                  <a:lnTo>
                    <a:pt x="151" y="556"/>
                  </a:lnTo>
                  <a:lnTo>
                    <a:pt x="150" y="556"/>
                  </a:lnTo>
                  <a:lnTo>
                    <a:pt x="150" y="561"/>
                  </a:lnTo>
                  <a:lnTo>
                    <a:pt x="149" y="562"/>
                  </a:lnTo>
                  <a:lnTo>
                    <a:pt x="149" y="559"/>
                  </a:lnTo>
                  <a:lnTo>
                    <a:pt x="148" y="559"/>
                  </a:lnTo>
                  <a:lnTo>
                    <a:pt x="148" y="562"/>
                  </a:lnTo>
                  <a:lnTo>
                    <a:pt x="147" y="565"/>
                  </a:lnTo>
                  <a:lnTo>
                    <a:pt x="145" y="563"/>
                  </a:lnTo>
                  <a:lnTo>
                    <a:pt x="145" y="562"/>
                  </a:lnTo>
                  <a:lnTo>
                    <a:pt x="145" y="559"/>
                  </a:lnTo>
                  <a:lnTo>
                    <a:pt x="145" y="552"/>
                  </a:lnTo>
                  <a:lnTo>
                    <a:pt x="144" y="552"/>
                  </a:lnTo>
                  <a:lnTo>
                    <a:pt x="143" y="554"/>
                  </a:lnTo>
                  <a:lnTo>
                    <a:pt x="143" y="557"/>
                  </a:lnTo>
                  <a:lnTo>
                    <a:pt x="144" y="561"/>
                  </a:lnTo>
                  <a:lnTo>
                    <a:pt x="144" y="564"/>
                  </a:lnTo>
                  <a:lnTo>
                    <a:pt x="143" y="567"/>
                  </a:lnTo>
                  <a:lnTo>
                    <a:pt x="143" y="565"/>
                  </a:lnTo>
                  <a:lnTo>
                    <a:pt x="142" y="563"/>
                  </a:lnTo>
                  <a:lnTo>
                    <a:pt x="141" y="564"/>
                  </a:lnTo>
                  <a:lnTo>
                    <a:pt x="139" y="562"/>
                  </a:lnTo>
                  <a:lnTo>
                    <a:pt x="139" y="559"/>
                  </a:lnTo>
                  <a:lnTo>
                    <a:pt x="139" y="557"/>
                  </a:lnTo>
                  <a:lnTo>
                    <a:pt x="141" y="556"/>
                  </a:lnTo>
                  <a:lnTo>
                    <a:pt x="139" y="554"/>
                  </a:lnTo>
                  <a:lnTo>
                    <a:pt x="138" y="557"/>
                  </a:lnTo>
                  <a:lnTo>
                    <a:pt x="138" y="562"/>
                  </a:lnTo>
                  <a:lnTo>
                    <a:pt x="138" y="563"/>
                  </a:lnTo>
                  <a:lnTo>
                    <a:pt x="137" y="564"/>
                  </a:lnTo>
                  <a:lnTo>
                    <a:pt x="137" y="562"/>
                  </a:lnTo>
                  <a:lnTo>
                    <a:pt x="137" y="561"/>
                  </a:lnTo>
                  <a:lnTo>
                    <a:pt x="136" y="563"/>
                  </a:lnTo>
                  <a:lnTo>
                    <a:pt x="136" y="565"/>
                  </a:lnTo>
                  <a:lnTo>
                    <a:pt x="136" y="567"/>
                  </a:lnTo>
                  <a:lnTo>
                    <a:pt x="136" y="569"/>
                  </a:lnTo>
                  <a:lnTo>
                    <a:pt x="133" y="567"/>
                  </a:lnTo>
                  <a:lnTo>
                    <a:pt x="133" y="568"/>
                  </a:lnTo>
                  <a:lnTo>
                    <a:pt x="133" y="569"/>
                  </a:lnTo>
                  <a:lnTo>
                    <a:pt x="133" y="570"/>
                  </a:lnTo>
                  <a:lnTo>
                    <a:pt x="131" y="570"/>
                  </a:lnTo>
                  <a:lnTo>
                    <a:pt x="132" y="567"/>
                  </a:lnTo>
                  <a:lnTo>
                    <a:pt x="132" y="564"/>
                  </a:lnTo>
                  <a:lnTo>
                    <a:pt x="132" y="562"/>
                  </a:lnTo>
                  <a:lnTo>
                    <a:pt x="131" y="561"/>
                  </a:lnTo>
                  <a:lnTo>
                    <a:pt x="130" y="562"/>
                  </a:lnTo>
                  <a:lnTo>
                    <a:pt x="130" y="563"/>
                  </a:lnTo>
                  <a:lnTo>
                    <a:pt x="131" y="565"/>
                  </a:lnTo>
                  <a:lnTo>
                    <a:pt x="131" y="568"/>
                  </a:lnTo>
                  <a:lnTo>
                    <a:pt x="131" y="569"/>
                  </a:lnTo>
                  <a:lnTo>
                    <a:pt x="130" y="570"/>
                  </a:lnTo>
                  <a:lnTo>
                    <a:pt x="129" y="570"/>
                  </a:lnTo>
                  <a:lnTo>
                    <a:pt x="129" y="569"/>
                  </a:lnTo>
                  <a:lnTo>
                    <a:pt x="129" y="568"/>
                  </a:lnTo>
                  <a:lnTo>
                    <a:pt x="127" y="565"/>
                  </a:lnTo>
                  <a:lnTo>
                    <a:pt x="127" y="563"/>
                  </a:lnTo>
                  <a:lnTo>
                    <a:pt x="126" y="563"/>
                  </a:lnTo>
                  <a:lnTo>
                    <a:pt x="124" y="564"/>
                  </a:lnTo>
                  <a:lnTo>
                    <a:pt x="124" y="568"/>
                  </a:lnTo>
                  <a:lnTo>
                    <a:pt x="124" y="569"/>
                  </a:lnTo>
                  <a:lnTo>
                    <a:pt x="123" y="569"/>
                  </a:lnTo>
                  <a:lnTo>
                    <a:pt x="121" y="565"/>
                  </a:lnTo>
                  <a:lnTo>
                    <a:pt x="115" y="567"/>
                  </a:lnTo>
                  <a:lnTo>
                    <a:pt x="118" y="565"/>
                  </a:lnTo>
                  <a:lnTo>
                    <a:pt x="120" y="564"/>
                  </a:lnTo>
                  <a:lnTo>
                    <a:pt x="120" y="563"/>
                  </a:lnTo>
                  <a:lnTo>
                    <a:pt x="123" y="562"/>
                  </a:lnTo>
                  <a:lnTo>
                    <a:pt x="124" y="561"/>
                  </a:lnTo>
                  <a:lnTo>
                    <a:pt x="127" y="561"/>
                  </a:lnTo>
                  <a:lnTo>
                    <a:pt x="129" y="558"/>
                  </a:lnTo>
                  <a:lnTo>
                    <a:pt x="131" y="557"/>
                  </a:lnTo>
                  <a:lnTo>
                    <a:pt x="133" y="556"/>
                  </a:lnTo>
                  <a:lnTo>
                    <a:pt x="136" y="554"/>
                  </a:lnTo>
                  <a:lnTo>
                    <a:pt x="147" y="550"/>
                  </a:lnTo>
                  <a:lnTo>
                    <a:pt x="147" y="548"/>
                  </a:lnTo>
                  <a:lnTo>
                    <a:pt x="145" y="548"/>
                  </a:lnTo>
                  <a:lnTo>
                    <a:pt x="144" y="548"/>
                  </a:lnTo>
                  <a:lnTo>
                    <a:pt x="142" y="550"/>
                  </a:lnTo>
                  <a:lnTo>
                    <a:pt x="141" y="550"/>
                  </a:lnTo>
                  <a:lnTo>
                    <a:pt x="138" y="551"/>
                  </a:lnTo>
                  <a:lnTo>
                    <a:pt x="137" y="552"/>
                  </a:lnTo>
                  <a:lnTo>
                    <a:pt x="137" y="550"/>
                  </a:lnTo>
                  <a:lnTo>
                    <a:pt x="136" y="548"/>
                  </a:lnTo>
                  <a:lnTo>
                    <a:pt x="136" y="547"/>
                  </a:lnTo>
                  <a:lnTo>
                    <a:pt x="135" y="547"/>
                  </a:lnTo>
                  <a:lnTo>
                    <a:pt x="137" y="545"/>
                  </a:lnTo>
                  <a:lnTo>
                    <a:pt x="137" y="542"/>
                  </a:lnTo>
                  <a:lnTo>
                    <a:pt x="138" y="541"/>
                  </a:lnTo>
                  <a:lnTo>
                    <a:pt x="138" y="540"/>
                  </a:lnTo>
                  <a:lnTo>
                    <a:pt x="138" y="538"/>
                  </a:lnTo>
                  <a:lnTo>
                    <a:pt x="137" y="536"/>
                  </a:lnTo>
                  <a:lnTo>
                    <a:pt x="136" y="536"/>
                  </a:lnTo>
                  <a:lnTo>
                    <a:pt x="136" y="539"/>
                  </a:lnTo>
                  <a:lnTo>
                    <a:pt x="136" y="541"/>
                  </a:lnTo>
                  <a:lnTo>
                    <a:pt x="135" y="542"/>
                  </a:lnTo>
                  <a:lnTo>
                    <a:pt x="135" y="541"/>
                  </a:lnTo>
                  <a:lnTo>
                    <a:pt x="133" y="540"/>
                  </a:lnTo>
                  <a:lnTo>
                    <a:pt x="132" y="540"/>
                  </a:lnTo>
                  <a:lnTo>
                    <a:pt x="131" y="541"/>
                  </a:lnTo>
                  <a:lnTo>
                    <a:pt x="130" y="540"/>
                  </a:lnTo>
                  <a:lnTo>
                    <a:pt x="130" y="541"/>
                  </a:lnTo>
                  <a:lnTo>
                    <a:pt x="129" y="541"/>
                  </a:lnTo>
                  <a:lnTo>
                    <a:pt x="126" y="541"/>
                  </a:lnTo>
                  <a:lnTo>
                    <a:pt x="127" y="540"/>
                  </a:lnTo>
                  <a:lnTo>
                    <a:pt x="130" y="539"/>
                  </a:lnTo>
                  <a:lnTo>
                    <a:pt x="130" y="536"/>
                  </a:lnTo>
                  <a:lnTo>
                    <a:pt x="130" y="535"/>
                  </a:lnTo>
                  <a:lnTo>
                    <a:pt x="129" y="533"/>
                  </a:lnTo>
                  <a:lnTo>
                    <a:pt x="129" y="534"/>
                  </a:lnTo>
                  <a:lnTo>
                    <a:pt x="127" y="535"/>
                  </a:lnTo>
                  <a:lnTo>
                    <a:pt x="126" y="538"/>
                  </a:lnTo>
                  <a:lnTo>
                    <a:pt x="127" y="538"/>
                  </a:lnTo>
                  <a:lnTo>
                    <a:pt x="127" y="539"/>
                  </a:lnTo>
                  <a:lnTo>
                    <a:pt x="126" y="539"/>
                  </a:lnTo>
                  <a:lnTo>
                    <a:pt x="124" y="538"/>
                  </a:lnTo>
                  <a:lnTo>
                    <a:pt x="123" y="536"/>
                  </a:lnTo>
                  <a:lnTo>
                    <a:pt x="123" y="539"/>
                  </a:lnTo>
                  <a:lnTo>
                    <a:pt x="123" y="542"/>
                  </a:lnTo>
                  <a:lnTo>
                    <a:pt x="121" y="544"/>
                  </a:lnTo>
                  <a:lnTo>
                    <a:pt x="120" y="542"/>
                  </a:lnTo>
                  <a:lnTo>
                    <a:pt x="120" y="540"/>
                  </a:lnTo>
                  <a:lnTo>
                    <a:pt x="119" y="539"/>
                  </a:lnTo>
                  <a:lnTo>
                    <a:pt x="119" y="535"/>
                  </a:lnTo>
                  <a:lnTo>
                    <a:pt x="118" y="533"/>
                  </a:lnTo>
                  <a:lnTo>
                    <a:pt x="117" y="533"/>
                  </a:lnTo>
                  <a:lnTo>
                    <a:pt x="114" y="533"/>
                  </a:lnTo>
                  <a:lnTo>
                    <a:pt x="114" y="538"/>
                  </a:lnTo>
                  <a:lnTo>
                    <a:pt x="113" y="542"/>
                  </a:lnTo>
                  <a:lnTo>
                    <a:pt x="113" y="541"/>
                  </a:lnTo>
                  <a:lnTo>
                    <a:pt x="112" y="538"/>
                  </a:lnTo>
                  <a:lnTo>
                    <a:pt x="112" y="533"/>
                  </a:lnTo>
                  <a:lnTo>
                    <a:pt x="111" y="533"/>
                  </a:lnTo>
                  <a:lnTo>
                    <a:pt x="111" y="536"/>
                  </a:lnTo>
                  <a:lnTo>
                    <a:pt x="109" y="536"/>
                  </a:lnTo>
                  <a:lnTo>
                    <a:pt x="109" y="539"/>
                  </a:lnTo>
                  <a:lnTo>
                    <a:pt x="108" y="539"/>
                  </a:lnTo>
                  <a:lnTo>
                    <a:pt x="107" y="536"/>
                  </a:lnTo>
                  <a:lnTo>
                    <a:pt x="107" y="533"/>
                  </a:lnTo>
                  <a:lnTo>
                    <a:pt x="106" y="535"/>
                  </a:lnTo>
                  <a:lnTo>
                    <a:pt x="105" y="538"/>
                  </a:lnTo>
                  <a:lnTo>
                    <a:pt x="103" y="536"/>
                  </a:lnTo>
                  <a:lnTo>
                    <a:pt x="102" y="535"/>
                  </a:lnTo>
                  <a:lnTo>
                    <a:pt x="101" y="534"/>
                  </a:lnTo>
                  <a:lnTo>
                    <a:pt x="99" y="535"/>
                  </a:lnTo>
                  <a:lnTo>
                    <a:pt x="97" y="535"/>
                  </a:lnTo>
                  <a:lnTo>
                    <a:pt x="96" y="535"/>
                  </a:lnTo>
                  <a:lnTo>
                    <a:pt x="95" y="535"/>
                  </a:lnTo>
                  <a:lnTo>
                    <a:pt x="95" y="536"/>
                  </a:lnTo>
                  <a:lnTo>
                    <a:pt x="92" y="534"/>
                  </a:lnTo>
                  <a:lnTo>
                    <a:pt x="91" y="535"/>
                  </a:lnTo>
                  <a:lnTo>
                    <a:pt x="90" y="533"/>
                  </a:lnTo>
                  <a:lnTo>
                    <a:pt x="91" y="530"/>
                  </a:lnTo>
                  <a:lnTo>
                    <a:pt x="90" y="529"/>
                  </a:lnTo>
                  <a:lnTo>
                    <a:pt x="91" y="528"/>
                  </a:lnTo>
                  <a:lnTo>
                    <a:pt x="90" y="528"/>
                  </a:lnTo>
                  <a:lnTo>
                    <a:pt x="89" y="529"/>
                  </a:lnTo>
                  <a:lnTo>
                    <a:pt x="90" y="530"/>
                  </a:lnTo>
                  <a:lnTo>
                    <a:pt x="89" y="533"/>
                  </a:lnTo>
                  <a:lnTo>
                    <a:pt x="90" y="535"/>
                  </a:lnTo>
                  <a:lnTo>
                    <a:pt x="90" y="539"/>
                  </a:lnTo>
                  <a:lnTo>
                    <a:pt x="88" y="539"/>
                  </a:lnTo>
                  <a:lnTo>
                    <a:pt x="88" y="538"/>
                  </a:lnTo>
                  <a:lnTo>
                    <a:pt x="88" y="534"/>
                  </a:lnTo>
                  <a:lnTo>
                    <a:pt x="86" y="533"/>
                  </a:lnTo>
                  <a:lnTo>
                    <a:pt x="85" y="532"/>
                  </a:lnTo>
                  <a:lnTo>
                    <a:pt x="85" y="533"/>
                  </a:lnTo>
                  <a:lnTo>
                    <a:pt x="85" y="536"/>
                  </a:lnTo>
                  <a:lnTo>
                    <a:pt x="85" y="538"/>
                  </a:lnTo>
                  <a:lnTo>
                    <a:pt x="85" y="539"/>
                  </a:lnTo>
                  <a:lnTo>
                    <a:pt x="84" y="540"/>
                  </a:lnTo>
                  <a:lnTo>
                    <a:pt x="83" y="539"/>
                  </a:lnTo>
                  <a:lnTo>
                    <a:pt x="83" y="536"/>
                  </a:lnTo>
                  <a:lnTo>
                    <a:pt x="83" y="534"/>
                  </a:lnTo>
                  <a:lnTo>
                    <a:pt x="83" y="533"/>
                  </a:lnTo>
                  <a:lnTo>
                    <a:pt x="82" y="535"/>
                  </a:lnTo>
                  <a:lnTo>
                    <a:pt x="80" y="536"/>
                  </a:lnTo>
                  <a:lnTo>
                    <a:pt x="82" y="538"/>
                  </a:lnTo>
                  <a:lnTo>
                    <a:pt x="79" y="538"/>
                  </a:lnTo>
                  <a:lnTo>
                    <a:pt x="80" y="539"/>
                  </a:lnTo>
                  <a:lnTo>
                    <a:pt x="80" y="540"/>
                  </a:lnTo>
                  <a:lnTo>
                    <a:pt x="80" y="542"/>
                  </a:lnTo>
                  <a:lnTo>
                    <a:pt x="80" y="545"/>
                  </a:lnTo>
                  <a:lnTo>
                    <a:pt x="79" y="544"/>
                  </a:lnTo>
                  <a:lnTo>
                    <a:pt x="79" y="542"/>
                  </a:lnTo>
                  <a:lnTo>
                    <a:pt x="78" y="544"/>
                  </a:lnTo>
                  <a:lnTo>
                    <a:pt x="77" y="544"/>
                  </a:lnTo>
                  <a:lnTo>
                    <a:pt x="76" y="541"/>
                  </a:lnTo>
                  <a:lnTo>
                    <a:pt x="77" y="540"/>
                  </a:lnTo>
                  <a:lnTo>
                    <a:pt x="73" y="540"/>
                  </a:lnTo>
                  <a:lnTo>
                    <a:pt x="72" y="540"/>
                  </a:lnTo>
                  <a:lnTo>
                    <a:pt x="72" y="539"/>
                  </a:lnTo>
                  <a:lnTo>
                    <a:pt x="74" y="538"/>
                  </a:lnTo>
                  <a:lnTo>
                    <a:pt x="74" y="536"/>
                  </a:lnTo>
                  <a:lnTo>
                    <a:pt x="73" y="536"/>
                  </a:lnTo>
                  <a:lnTo>
                    <a:pt x="73" y="535"/>
                  </a:lnTo>
                  <a:lnTo>
                    <a:pt x="76" y="536"/>
                  </a:lnTo>
                  <a:lnTo>
                    <a:pt x="79" y="535"/>
                  </a:lnTo>
                  <a:lnTo>
                    <a:pt x="80" y="532"/>
                  </a:lnTo>
                  <a:lnTo>
                    <a:pt x="78" y="532"/>
                  </a:lnTo>
                  <a:lnTo>
                    <a:pt x="79" y="532"/>
                  </a:lnTo>
                  <a:lnTo>
                    <a:pt x="82" y="529"/>
                  </a:lnTo>
                  <a:lnTo>
                    <a:pt x="83" y="528"/>
                  </a:lnTo>
                  <a:lnTo>
                    <a:pt x="88" y="527"/>
                  </a:lnTo>
                  <a:lnTo>
                    <a:pt x="90" y="524"/>
                  </a:lnTo>
                  <a:lnTo>
                    <a:pt x="92" y="523"/>
                  </a:lnTo>
                  <a:lnTo>
                    <a:pt x="97" y="522"/>
                  </a:lnTo>
                  <a:lnTo>
                    <a:pt x="102" y="522"/>
                  </a:lnTo>
                  <a:lnTo>
                    <a:pt x="105" y="522"/>
                  </a:lnTo>
                  <a:lnTo>
                    <a:pt x="105" y="521"/>
                  </a:lnTo>
                  <a:lnTo>
                    <a:pt x="103" y="518"/>
                  </a:lnTo>
                  <a:lnTo>
                    <a:pt x="106" y="518"/>
                  </a:lnTo>
                  <a:lnTo>
                    <a:pt x="107" y="518"/>
                  </a:lnTo>
                  <a:lnTo>
                    <a:pt x="111" y="518"/>
                  </a:lnTo>
                  <a:lnTo>
                    <a:pt x="112" y="518"/>
                  </a:lnTo>
                  <a:lnTo>
                    <a:pt x="112" y="515"/>
                  </a:lnTo>
                  <a:lnTo>
                    <a:pt x="111" y="514"/>
                  </a:lnTo>
                  <a:lnTo>
                    <a:pt x="107" y="512"/>
                  </a:lnTo>
                  <a:lnTo>
                    <a:pt x="107" y="515"/>
                  </a:lnTo>
                  <a:lnTo>
                    <a:pt x="107" y="516"/>
                  </a:lnTo>
                  <a:lnTo>
                    <a:pt x="106" y="515"/>
                  </a:lnTo>
                  <a:lnTo>
                    <a:pt x="105" y="512"/>
                  </a:lnTo>
                  <a:lnTo>
                    <a:pt x="105" y="514"/>
                  </a:lnTo>
                  <a:lnTo>
                    <a:pt x="105" y="516"/>
                  </a:lnTo>
                  <a:lnTo>
                    <a:pt x="103" y="516"/>
                  </a:lnTo>
                  <a:lnTo>
                    <a:pt x="103" y="514"/>
                  </a:lnTo>
                  <a:lnTo>
                    <a:pt x="102" y="514"/>
                  </a:lnTo>
                  <a:lnTo>
                    <a:pt x="102" y="516"/>
                  </a:lnTo>
                  <a:lnTo>
                    <a:pt x="101" y="517"/>
                  </a:lnTo>
                  <a:lnTo>
                    <a:pt x="101" y="520"/>
                  </a:lnTo>
                  <a:lnTo>
                    <a:pt x="100" y="521"/>
                  </a:lnTo>
                  <a:lnTo>
                    <a:pt x="99" y="521"/>
                  </a:lnTo>
                  <a:lnTo>
                    <a:pt x="99" y="518"/>
                  </a:lnTo>
                  <a:lnTo>
                    <a:pt x="97" y="517"/>
                  </a:lnTo>
                  <a:lnTo>
                    <a:pt x="96" y="516"/>
                  </a:lnTo>
                  <a:lnTo>
                    <a:pt x="96" y="515"/>
                  </a:lnTo>
                  <a:lnTo>
                    <a:pt x="95" y="514"/>
                  </a:lnTo>
                  <a:lnTo>
                    <a:pt x="92" y="515"/>
                  </a:lnTo>
                  <a:lnTo>
                    <a:pt x="92" y="516"/>
                  </a:lnTo>
                  <a:lnTo>
                    <a:pt x="90" y="518"/>
                  </a:lnTo>
                  <a:lnTo>
                    <a:pt x="89" y="518"/>
                  </a:lnTo>
                  <a:lnTo>
                    <a:pt x="88" y="520"/>
                  </a:lnTo>
                  <a:lnTo>
                    <a:pt x="86" y="517"/>
                  </a:lnTo>
                  <a:lnTo>
                    <a:pt x="86" y="518"/>
                  </a:lnTo>
                  <a:lnTo>
                    <a:pt x="85" y="520"/>
                  </a:lnTo>
                  <a:lnTo>
                    <a:pt x="85" y="521"/>
                  </a:lnTo>
                  <a:lnTo>
                    <a:pt x="84" y="521"/>
                  </a:lnTo>
                  <a:lnTo>
                    <a:pt x="83" y="517"/>
                  </a:lnTo>
                  <a:lnTo>
                    <a:pt x="83" y="515"/>
                  </a:lnTo>
                  <a:lnTo>
                    <a:pt x="83" y="516"/>
                  </a:lnTo>
                  <a:lnTo>
                    <a:pt x="82" y="516"/>
                  </a:lnTo>
                  <a:lnTo>
                    <a:pt x="80" y="514"/>
                  </a:lnTo>
                  <a:lnTo>
                    <a:pt x="79" y="517"/>
                  </a:lnTo>
                  <a:lnTo>
                    <a:pt x="78" y="518"/>
                  </a:lnTo>
                  <a:lnTo>
                    <a:pt x="78" y="522"/>
                  </a:lnTo>
                  <a:lnTo>
                    <a:pt x="77" y="523"/>
                  </a:lnTo>
                  <a:lnTo>
                    <a:pt x="76" y="522"/>
                  </a:lnTo>
                  <a:lnTo>
                    <a:pt x="76" y="520"/>
                  </a:lnTo>
                  <a:lnTo>
                    <a:pt x="76" y="516"/>
                  </a:lnTo>
                  <a:lnTo>
                    <a:pt x="74" y="515"/>
                  </a:lnTo>
                  <a:lnTo>
                    <a:pt x="73" y="515"/>
                  </a:lnTo>
                  <a:lnTo>
                    <a:pt x="73" y="517"/>
                  </a:lnTo>
                  <a:lnTo>
                    <a:pt x="73" y="521"/>
                  </a:lnTo>
                  <a:lnTo>
                    <a:pt x="73" y="522"/>
                  </a:lnTo>
                  <a:lnTo>
                    <a:pt x="72" y="521"/>
                  </a:lnTo>
                  <a:lnTo>
                    <a:pt x="71" y="518"/>
                  </a:lnTo>
                  <a:lnTo>
                    <a:pt x="71" y="517"/>
                  </a:lnTo>
                  <a:lnTo>
                    <a:pt x="70" y="515"/>
                  </a:lnTo>
                  <a:lnTo>
                    <a:pt x="70" y="516"/>
                  </a:lnTo>
                  <a:lnTo>
                    <a:pt x="68" y="517"/>
                  </a:lnTo>
                  <a:lnTo>
                    <a:pt x="66" y="517"/>
                  </a:lnTo>
                  <a:lnTo>
                    <a:pt x="65" y="517"/>
                  </a:lnTo>
                  <a:lnTo>
                    <a:pt x="64" y="517"/>
                  </a:lnTo>
                  <a:lnTo>
                    <a:pt x="62" y="518"/>
                  </a:lnTo>
                  <a:lnTo>
                    <a:pt x="61" y="521"/>
                  </a:lnTo>
                  <a:lnTo>
                    <a:pt x="60" y="523"/>
                  </a:lnTo>
                  <a:lnTo>
                    <a:pt x="59" y="526"/>
                  </a:lnTo>
                  <a:lnTo>
                    <a:pt x="59" y="524"/>
                  </a:lnTo>
                  <a:lnTo>
                    <a:pt x="56" y="524"/>
                  </a:lnTo>
                  <a:lnTo>
                    <a:pt x="56" y="522"/>
                  </a:lnTo>
                  <a:lnTo>
                    <a:pt x="56" y="520"/>
                  </a:lnTo>
                  <a:lnTo>
                    <a:pt x="54" y="521"/>
                  </a:lnTo>
                  <a:lnTo>
                    <a:pt x="53" y="522"/>
                  </a:lnTo>
                  <a:lnTo>
                    <a:pt x="52" y="521"/>
                  </a:lnTo>
                  <a:lnTo>
                    <a:pt x="53" y="520"/>
                  </a:lnTo>
                  <a:lnTo>
                    <a:pt x="54" y="518"/>
                  </a:lnTo>
                  <a:lnTo>
                    <a:pt x="56" y="515"/>
                  </a:lnTo>
                  <a:lnTo>
                    <a:pt x="58" y="514"/>
                  </a:lnTo>
                  <a:lnTo>
                    <a:pt x="59" y="511"/>
                  </a:lnTo>
                  <a:lnTo>
                    <a:pt x="59" y="509"/>
                  </a:lnTo>
                  <a:lnTo>
                    <a:pt x="60" y="506"/>
                  </a:lnTo>
                  <a:lnTo>
                    <a:pt x="59" y="508"/>
                  </a:lnTo>
                  <a:lnTo>
                    <a:pt x="58" y="511"/>
                  </a:lnTo>
                  <a:lnTo>
                    <a:pt x="58" y="510"/>
                  </a:lnTo>
                  <a:lnTo>
                    <a:pt x="56" y="506"/>
                  </a:lnTo>
                  <a:lnTo>
                    <a:pt x="55" y="506"/>
                  </a:lnTo>
                  <a:lnTo>
                    <a:pt x="55" y="504"/>
                  </a:lnTo>
                  <a:lnTo>
                    <a:pt x="55" y="502"/>
                  </a:lnTo>
                  <a:lnTo>
                    <a:pt x="58" y="499"/>
                  </a:lnTo>
                  <a:lnTo>
                    <a:pt x="59" y="498"/>
                  </a:lnTo>
                  <a:lnTo>
                    <a:pt x="58" y="498"/>
                  </a:lnTo>
                  <a:lnTo>
                    <a:pt x="55" y="498"/>
                  </a:lnTo>
                  <a:lnTo>
                    <a:pt x="54" y="498"/>
                  </a:lnTo>
                  <a:lnTo>
                    <a:pt x="54" y="503"/>
                  </a:lnTo>
                  <a:lnTo>
                    <a:pt x="53" y="508"/>
                  </a:lnTo>
                  <a:lnTo>
                    <a:pt x="53" y="509"/>
                  </a:lnTo>
                  <a:lnTo>
                    <a:pt x="52" y="508"/>
                  </a:lnTo>
                  <a:lnTo>
                    <a:pt x="52" y="505"/>
                  </a:lnTo>
                  <a:lnTo>
                    <a:pt x="52" y="502"/>
                  </a:lnTo>
                  <a:lnTo>
                    <a:pt x="50" y="499"/>
                  </a:lnTo>
                  <a:lnTo>
                    <a:pt x="50" y="502"/>
                  </a:lnTo>
                  <a:lnTo>
                    <a:pt x="50" y="504"/>
                  </a:lnTo>
                  <a:lnTo>
                    <a:pt x="49" y="505"/>
                  </a:lnTo>
                  <a:lnTo>
                    <a:pt x="49" y="506"/>
                  </a:lnTo>
                  <a:lnTo>
                    <a:pt x="49" y="510"/>
                  </a:lnTo>
                  <a:lnTo>
                    <a:pt x="48" y="511"/>
                  </a:lnTo>
                  <a:lnTo>
                    <a:pt x="47" y="511"/>
                  </a:lnTo>
                  <a:lnTo>
                    <a:pt x="47" y="509"/>
                  </a:lnTo>
                  <a:lnTo>
                    <a:pt x="47" y="505"/>
                  </a:lnTo>
                  <a:lnTo>
                    <a:pt x="46" y="504"/>
                  </a:lnTo>
                  <a:lnTo>
                    <a:pt x="44" y="503"/>
                  </a:lnTo>
                  <a:lnTo>
                    <a:pt x="43" y="502"/>
                  </a:lnTo>
                  <a:lnTo>
                    <a:pt x="43" y="504"/>
                  </a:lnTo>
                  <a:lnTo>
                    <a:pt x="41" y="505"/>
                  </a:lnTo>
                  <a:lnTo>
                    <a:pt x="41" y="503"/>
                  </a:lnTo>
                  <a:lnTo>
                    <a:pt x="41" y="502"/>
                  </a:lnTo>
                  <a:lnTo>
                    <a:pt x="40" y="502"/>
                  </a:lnTo>
                  <a:lnTo>
                    <a:pt x="38" y="504"/>
                  </a:lnTo>
                  <a:lnTo>
                    <a:pt x="37" y="503"/>
                  </a:lnTo>
                  <a:lnTo>
                    <a:pt x="37" y="502"/>
                  </a:lnTo>
                  <a:lnTo>
                    <a:pt x="38" y="500"/>
                  </a:lnTo>
                  <a:lnTo>
                    <a:pt x="41" y="500"/>
                  </a:lnTo>
                  <a:lnTo>
                    <a:pt x="43" y="499"/>
                  </a:lnTo>
                  <a:lnTo>
                    <a:pt x="46" y="498"/>
                  </a:lnTo>
                  <a:lnTo>
                    <a:pt x="48" y="497"/>
                  </a:lnTo>
                  <a:lnTo>
                    <a:pt x="49" y="497"/>
                  </a:lnTo>
                  <a:lnTo>
                    <a:pt x="52" y="497"/>
                  </a:lnTo>
                  <a:lnTo>
                    <a:pt x="54" y="496"/>
                  </a:lnTo>
                  <a:lnTo>
                    <a:pt x="58" y="494"/>
                  </a:lnTo>
                  <a:lnTo>
                    <a:pt x="61" y="494"/>
                  </a:lnTo>
                  <a:lnTo>
                    <a:pt x="62" y="494"/>
                  </a:lnTo>
                  <a:lnTo>
                    <a:pt x="64" y="493"/>
                  </a:lnTo>
                  <a:lnTo>
                    <a:pt x="65" y="493"/>
                  </a:lnTo>
                  <a:lnTo>
                    <a:pt x="71" y="492"/>
                  </a:lnTo>
                  <a:lnTo>
                    <a:pt x="70" y="491"/>
                  </a:lnTo>
                  <a:lnTo>
                    <a:pt x="71" y="491"/>
                  </a:lnTo>
                  <a:lnTo>
                    <a:pt x="72" y="492"/>
                  </a:lnTo>
                  <a:lnTo>
                    <a:pt x="73" y="492"/>
                  </a:lnTo>
                  <a:lnTo>
                    <a:pt x="77" y="492"/>
                  </a:lnTo>
                  <a:lnTo>
                    <a:pt x="76" y="490"/>
                  </a:lnTo>
                  <a:lnTo>
                    <a:pt x="77" y="491"/>
                  </a:lnTo>
                  <a:lnTo>
                    <a:pt x="79" y="491"/>
                  </a:lnTo>
                  <a:lnTo>
                    <a:pt x="82" y="491"/>
                  </a:lnTo>
                  <a:lnTo>
                    <a:pt x="90" y="490"/>
                  </a:lnTo>
                  <a:lnTo>
                    <a:pt x="95" y="488"/>
                  </a:lnTo>
                  <a:lnTo>
                    <a:pt x="99" y="490"/>
                  </a:lnTo>
                  <a:lnTo>
                    <a:pt x="102" y="490"/>
                  </a:lnTo>
                  <a:lnTo>
                    <a:pt x="103" y="488"/>
                  </a:lnTo>
                  <a:lnTo>
                    <a:pt x="102" y="487"/>
                  </a:lnTo>
                  <a:lnTo>
                    <a:pt x="101" y="487"/>
                  </a:lnTo>
                  <a:lnTo>
                    <a:pt x="102" y="486"/>
                  </a:lnTo>
                  <a:lnTo>
                    <a:pt x="102" y="484"/>
                  </a:lnTo>
                  <a:lnTo>
                    <a:pt x="103" y="482"/>
                  </a:lnTo>
                  <a:lnTo>
                    <a:pt x="105" y="481"/>
                  </a:lnTo>
                  <a:lnTo>
                    <a:pt x="102" y="479"/>
                  </a:lnTo>
                  <a:lnTo>
                    <a:pt x="102" y="476"/>
                  </a:lnTo>
                  <a:lnTo>
                    <a:pt x="101" y="475"/>
                  </a:lnTo>
                  <a:lnTo>
                    <a:pt x="101" y="478"/>
                  </a:lnTo>
                  <a:lnTo>
                    <a:pt x="99" y="479"/>
                  </a:lnTo>
                  <a:lnTo>
                    <a:pt x="97" y="480"/>
                  </a:lnTo>
                  <a:lnTo>
                    <a:pt x="97" y="484"/>
                  </a:lnTo>
                  <a:lnTo>
                    <a:pt x="96" y="485"/>
                  </a:lnTo>
                  <a:lnTo>
                    <a:pt x="95" y="485"/>
                  </a:lnTo>
                  <a:lnTo>
                    <a:pt x="94" y="485"/>
                  </a:lnTo>
                  <a:lnTo>
                    <a:pt x="92" y="484"/>
                  </a:lnTo>
                  <a:lnTo>
                    <a:pt x="91" y="482"/>
                  </a:lnTo>
                  <a:lnTo>
                    <a:pt x="91" y="481"/>
                  </a:lnTo>
                  <a:lnTo>
                    <a:pt x="91" y="482"/>
                  </a:lnTo>
                  <a:lnTo>
                    <a:pt x="90" y="484"/>
                  </a:lnTo>
                  <a:lnTo>
                    <a:pt x="90" y="482"/>
                  </a:lnTo>
                  <a:lnTo>
                    <a:pt x="89" y="481"/>
                  </a:lnTo>
                  <a:lnTo>
                    <a:pt x="88" y="481"/>
                  </a:lnTo>
                  <a:lnTo>
                    <a:pt x="84" y="484"/>
                  </a:lnTo>
                  <a:lnTo>
                    <a:pt x="84" y="482"/>
                  </a:lnTo>
                  <a:lnTo>
                    <a:pt x="85" y="481"/>
                  </a:lnTo>
                  <a:lnTo>
                    <a:pt x="88" y="479"/>
                  </a:lnTo>
                  <a:lnTo>
                    <a:pt x="89" y="478"/>
                  </a:lnTo>
                  <a:lnTo>
                    <a:pt x="89" y="475"/>
                  </a:lnTo>
                  <a:lnTo>
                    <a:pt x="89" y="474"/>
                  </a:lnTo>
                  <a:lnTo>
                    <a:pt x="88" y="472"/>
                  </a:lnTo>
                  <a:lnTo>
                    <a:pt x="85" y="472"/>
                  </a:lnTo>
                  <a:lnTo>
                    <a:pt x="84" y="472"/>
                  </a:lnTo>
                  <a:lnTo>
                    <a:pt x="84" y="473"/>
                  </a:lnTo>
                  <a:lnTo>
                    <a:pt x="83" y="473"/>
                  </a:lnTo>
                  <a:lnTo>
                    <a:pt x="80" y="470"/>
                  </a:lnTo>
                  <a:lnTo>
                    <a:pt x="79" y="468"/>
                  </a:lnTo>
                  <a:lnTo>
                    <a:pt x="79" y="470"/>
                  </a:lnTo>
                  <a:lnTo>
                    <a:pt x="80" y="473"/>
                  </a:lnTo>
                  <a:lnTo>
                    <a:pt x="80" y="474"/>
                  </a:lnTo>
                  <a:lnTo>
                    <a:pt x="79" y="478"/>
                  </a:lnTo>
                  <a:lnTo>
                    <a:pt x="78" y="478"/>
                  </a:lnTo>
                  <a:lnTo>
                    <a:pt x="79" y="480"/>
                  </a:lnTo>
                  <a:lnTo>
                    <a:pt x="78" y="481"/>
                  </a:lnTo>
                  <a:lnTo>
                    <a:pt x="77" y="481"/>
                  </a:lnTo>
                  <a:lnTo>
                    <a:pt x="77" y="482"/>
                  </a:lnTo>
                  <a:lnTo>
                    <a:pt x="74" y="482"/>
                  </a:lnTo>
                  <a:lnTo>
                    <a:pt x="73" y="481"/>
                  </a:lnTo>
                  <a:lnTo>
                    <a:pt x="72" y="481"/>
                  </a:lnTo>
                  <a:lnTo>
                    <a:pt x="71" y="482"/>
                  </a:lnTo>
                  <a:lnTo>
                    <a:pt x="68" y="481"/>
                  </a:lnTo>
                  <a:lnTo>
                    <a:pt x="68" y="480"/>
                  </a:lnTo>
                  <a:lnTo>
                    <a:pt x="68" y="479"/>
                  </a:lnTo>
                  <a:lnTo>
                    <a:pt x="66" y="479"/>
                  </a:lnTo>
                  <a:lnTo>
                    <a:pt x="64" y="478"/>
                  </a:lnTo>
                  <a:lnTo>
                    <a:pt x="66" y="476"/>
                  </a:lnTo>
                  <a:lnTo>
                    <a:pt x="68" y="475"/>
                  </a:lnTo>
                  <a:lnTo>
                    <a:pt x="72" y="473"/>
                  </a:lnTo>
                  <a:lnTo>
                    <a:pt x="72" y="470"/>
                  </a:lnTo>
                  <a:lnTo>
                    <a:pt x="73" y="468"/>
                  </a:lnTo>
                  <a:lnTo>
                    <a:pt x="76" y="467"/>
                  </a:lnTo>
                  <a:lnTo>
                    <a:pt x="74" y="466"/>
                  </a:lnTo>
                  <a:lnTo>
                    <a:pt x="77" y="464"/>
                  </a:lnTo>
                  <a:lnTo>
                    <a:pt x="78" y="464"/>
                  </a:lnTo>
                  <a:lnTo>
                    <a:pt x="79" y="462"/>
                  </a:lnTo>
                  <a:lnTo>
                    <a:pt x="82" y="462"/>
                  </a:lnTo>
                  <a:lnTo>
                    <a:pt x="83" y="461"/>
                  </a:lnTo>
                  <a:lnTo>
                    <a:pt x="86" y="460"/>
                  </a:lnTo>
                  <a:lnTo>
                    <a:pt x="90" y="460"/>
                  </a:lnTo>
                  <a:lnTo>
                    <a:pt x="95" y="458"/>
                  </a:lnTo>
                  <a:lnTo>
                    <a:pt x="97" y="458"/>
                  </a:lnTo>
                  <a:lnTo>
                    <a:pt x="97" y="456"/>
                  </a:lnTo>
                  <a:lnTo>
                    <a:pt x="97" y="455"/>
                  </a:lnTo>
                  <a:lnTo>
                    <a:pt x="95" y="455"/>
                  </a:lnTo>
                  <a:lnTo>
                    <a:pt x="95" y="454"/>
                  </a:lnTo>
                  <a:lnTo>
                    <a:pt x="95" y="451"/>
                  </a:lnTo>
                  <a:lnTo>
                    <a:pt x="94" y="451"/>
                  </a:lnTo>
                  <a:lnTo>
                    <a:pt x="92" y="452"/>
                  </a:lnTo>
                  <a:lnTo>
                    <a:pt x="91" y="455"/>
                  </a:lnTo>
                  <a:lnTo>
                    <a:pt x="90" y="456"/>
                  </a:lnTo>
                  <a:lnTo>
                    <a:pt x="89" y="455"/>
                  </a:lnTo>
                  <a:lnTo>
                    <a:pt x="90" y="452"/>
                  </a:lnTo>
                  <a:lnTo>
                    <a:pt x="90" y="451"/>
                  </a:lnTo>
                  <a:lnTo>
                    <a:pt x="88" y="451"/>
                  </a:lnTo>
                  <a:lnTo>
                    <a:pt x="85" y="451"/>
                  </a:lnTo>
                  <a:lnTo>
                    <a:pt x="88" y="450"/>
                  </a:lnTo>
                  <a:lnTo>
                    <a:pt x="89" y="449"/>
                  </a:lnTo>
                  <a:lnTo>
                    <a:pt x="91" y="447"/>
                  </a:lnTo>
                  <a:lnTo>
                    <a:pt x="92" y="449"/>
                  </a:lnTo>
                  <a:lnTo>
                    <a:pt x="95" y="447"/>
                  </a:lnTo>
                  <a:lnTo>
                    <a:pt x="96" y="449"/>
                  </a:lnTo>
                  <a:lnTo>
                    <a:pt x="99" y="449"/>
                  </a:lnTo>
                  <a:lnTo>
                    <a:pt x="100" y="447"/>
                  </a:lnTo>
                  <a:lnTo>
                    <a:pt x="101" y="447"/>
                  </a:lnTo>
                  <a:lnTo>
                    <a:pt x="103" y="446"/>
                  </a:lnTo>
                  <a:lnTo>
                    <a:pt x="105" y="446"/>
                  </a:lnTo>
                  <a:lnTo>
                    <a:pt x="106" y="445"/>
                  </a:lnTo>
                  <a:lnTo>
                    <a:pt x="107" y="444"/>
                  </a:lnTo>
                  <a:lnTo>
                    <a:pt x="107" y="443"/>
                  </a:lnTo>
                  <a:lnTo>
                    <a:pt x="108" y="441"/>
                  </a:lnTo>
                  <a:lnTo>
                    <a:pt x="109" y="443"/>
                  </a:lnTo>
                  <a:lnTo>
                    <a:pt x="111" y="441"/>
                  </a:lnTo>
                  <a:lnTo>
                    <a:pt x="111" y="439"/>
                  </a:lnTo>
                  <a:lnTo>
                    <a:pt x="109" y="439"/>
                  </a:lnTo>
                  <a:lnTo>
                    <a:pt x="108" y="439"/>
                  </a:lnTo>
                  <a:lnTo>
                    <a:pt x="111" y="437"/>
                  </a:lnTo>
                  <a:lnTo>
                    <a:pt x="112" y="435"/>
                  </a:lnTo>
                  <a:lnTo>
                    <a:pt x="117" y="431"/>
                  </a:lnTo>
                  <a:lnTo>
                    <a:pt x="118" y="429"/>
                  </a:lnTo>
                  <a:lnTo>
                    <a:pt x="120" y="428"/>
                  </a:lnTo>
                  <a:lnTo>
                    <a:pt x="120" y="426"/>
                  </a:lnTo>
                  <a:lnTo>
                    <a:pt x="118" y="425"/>
                  </a:lnTo>
                  <a:lnTo>
                    <a:pt x="117" y="423"/>
                  </a:lnTo>
                  <a:lnTo>
                    <a:pt x="117" y="426"/>
                  </a:lnTo>
                  <a:lnTo>
                    <a:pt x="117" y="427"/>
                  </a:lnTo>
                  <a:lnTo>
                    <a:pt x="114" y="427"/>
                  </a:lnTo>
                  <a:lnTo>
                    <a:pt x="114" y="428"/>
                  </a:lnTo>
                  <a:lnTo>
                    <a:pt x="114" y="431"/>
                  </a:lnTo>
                  <a:lnTo>
                    <a:pt x="113" y="431"/>
                  </a:lnTo>
                  <a:lnTo>
                    <a:pt x="113" y="432"/>
                  </a:lnTo>
                  <a:lnTo>
                    <a:pt x="112" y="433"/>
                  </a:lnTo>
                  <a:lnTo>
                    <a:pt x="112" y="432"/>
                  </a:lnTo>
                  <a:lnTo>
                    <a:pt x="111" y="429"/>
                  </a:lnTo>
                  <a:lnTo>
                    <a:pt x="111" y="428"/>
                  </a:lnTo>
                  <a:lnTo>
                    <a:pt x="112" y="427"/>
                  </a:lnTo>
                  <a:lnTo>
                    <a:pt x="111" y="426"/>
                  </a:lnTo>
                  <a:lnTo>
                    <a:pt x="109" y="426"/>
                  </a:lnTo>
                  <a:lnTo>
                    <a:pt x="108" y="427"/>
                  </a:lnTo>
                  <a:lnTo>
                    <a:pt x="107" y="428"/>
                  </a:lnTo>
                  <a:lnTo>
                    <a:pt x="108" y="432"/>
                  </a:lnTo>
                  <a:lnTo>
                    <a:pt x="107" y="433"/>
                  </a:lnTo>
                  <a:lnTo>
                    <a:pt x="106" y="432"/>
                  </a:lnTo>
                  <a:lnTo>
                    <a:pt x="106" y="431"/>
                  </a:lnTo>
                  <a:lnTo>
                    <a:pt x="106" y="428"/>
                  </a:lnTo>
                  <a:lnTo>
                    <a:pt x="105" y="428"/>
                  </a:lnTo>
                  <a:lnTo>
                    <a:pt x="103" y="429"/>
                  </a:lnTo>
                  <a:lnTo>
                    <a:pt x="103" y="428"/>
                  </a:lnTo>
                  <a:lnTo>
                    <a:pt x="102" y="429"/>
                  </a:lnTo>
                  <a:lnTo>
                    <a:pt x="102" y="431"/>
                  </a:lnTo>
                  <a:lnTo>
                    <a:pt x="101" y="432"/>
                  </a:lnTo>
                  <a:lnTo>
                    <a:pt x="100" y="432"/>
                  </a:lnTo>
                  <a:lnTo>
                    <a:pt x="100" y="431"/>
                  </a:lnTo>
                  <a:lnTo>
                    <a:pt x="100" y="428"/>
                  </a:lnTo>
                  <a:lnTo>
                    <a:pt x="100" y="426"/>
                  </a:lnTo>
                  <a:lnTo>
                    <a:pt x="99" y="426"/>
                  </a:lnTo>
                  <a:lnTo>
                    <a:pt x="97" y="427"/>
                  </a:lnTo>
                  <a:lnTo>
                    <a:pt x="99" y="429"/>
                  </a:lnTo>
                  <a:lnTo>
                    <a:pt x="99" y="431"/>
                  </a:lnTo>
                  <a:lnTo>
                    <a:pt x="99" y="432"/>
                  </a:lnTo>
                  <a:lnTo>
                    <a:pt x="99" y="435"/>
                  </a:lnTo>
                  <a:lnTo>
                    <a:pt x="97" y="437"/>
                  </a:lnTo>
                  <a:lnTo>
                    <a:pt x="96" y="438"/>
                  </a:lnTo>
                  <a:lnTo>
                    <a:pt x="95" y="437"/>
                  </a:lnTo>
                  <a:lnTo>
                    <a:pt x="95" y="438"/>
                  </a:lnTo>
                  <a:lnTo>
                    <a:pt x="94" y="439"/>
                  </a:lnTo>
                  <a:lnTo>
                    <a:pt x="92" y="439"/>
                  </a:lnTo>
                  <a:lnTo>
                    <a:pt x="92" y="435"/>
                  </a:lnTo>
                  <a:lnTo>
                    <a:pt x="92" y="433"/>
                  </a:lnTo>
                  <a:lnTo>
                    <a:pt x="92" y="432"/>
                  </a:lnTo>
                  <a:lnTo>
                    <a:pt x="94" y="429"/>
                  </a:lnTo>
                  <a:lnTo>
                    <a:pt x="94" y="428"/>
                  </a:lnTo>
                  <a:lnTo>
                    <a:pt x="95" y="426"/>
                  </a:lnTo>
                  <a:lnTo>
                    <a:pt x="95" y="422"/>
                  </a:lnTo>
                  <a:lnTo>
                    <a:pt x="95" y="419"/>
                  </a:lnTo>
                  <a:lnTo>
                    <a:pt x="94" y="417"/>
                  </a:lnTo>
                  <a:lnTo>
                    <a:pt x="91" y="417"/>
                  </a:lnTo>
                  <a:lnTo>
                    <a:pt x="91" y="420"/>
                  </a:lnTo>
                  <a:lnTo>
                    <a:pt x="91" y="422"/>
                  </a:lnTo>
                  <a:lnTo>
                    <a:pt x="90" y="422"/>
                  </a:lnTo>
                  <a:lnTo>
                    <a:pt x="89" y="421"/>
                  </a:lnTo>
                  <a:lnTo>
                    <a:pt x="89" y="419"/>
                  </a:lnTo>
                  <a:lnTo>
                    <a:pt x="86" y="416"/>
                  </a:lnTo>
                  <a:lnTo>
                    <a:pt x="86" y="415"/>
                  </a:lnTo>
                  <a:lnTo>
                    <a:pt x="86" y="416"/>
                  </a:lnTo>
                  <a:lnTo>
                    <a:pt x="86" y="420"/>
                  </a:lnTo>
                  <a:lnTo>
                    <a:pt x="86" y="422"/>
                  </a:lnTo>
                  <a:lnTo>
                    <a:pt x="84" y="421"/>
                  </a:lnTo>
                  <a:lnTo>
                    <a:pt x="84" y="419"/>
                  </a:lnTo>
                  <a:lnTo>
                    <a:pt x="83" y="416"/>
                  </a:lnTo>
                  <a:lnTo>
                    <a:pt x="82" y="415"/>
                  </a:lnTo>
                  <a:lnTo>
                    <a:pt x="82" y="417"/>
                  </a:lnTo>
                  <a:lnTo>
                    <a:pt x="82" y="421"/>
                  </a:lnTo>
                  <a:lnTo>
                    <a:pt x="82" y="423"/>
                  </a:lnTo>
                  <a:lnTo>
                    <a:pt x="80" y="422"/>
                  </a:lnTo>
                  <a:lnTo>
                    <a:pt x="79" y="419"/>
                  </a:lnTo>
                  <a:lnTo>
                    <a:pt x="79" y="416"/>
                  </a:lnTo>
                  <a:lnTo>
                    <a:pt x="79" y="414"/>
                  </a:lnTo>
                  <a:lnTo>
                    <a:pt x="79" y="411"/>
                  </a:lnTo>
                  <a:lnTo>
                    <a:pt x="80" y="408"/>
                  </a:lnTo>
                  <a:lnTo>
                    <a:pt x="79" y="408"/>
                  </a:lnTo>
                  <a:lnTo>
                    <a:pt x="77" y="408"/>
                  </a:lnTo>
                  <a:lnTo>
                    <a:pt x="76" y="409"/>
                  </a:lnTo>
                  <a:lnTo>
                    <a:pt x="77" y="407"/>
                  </a:lnTo>
                  <a:lnTo>
                    <a:pt x="77" y="405"/>
                  </a:lnTo>
                  <a:lnTo>
                    <a:pt x="74" y="405"/>
                  </a:lnTo>
                  <a:lnTo>
                    <a:pt x="73" y="405"/>
                  </a:lnTo>
                  <a:lnTo>
                    <a:pt x="74" y="404"/>
                  </a:lnTo>
                  <a:lnTo>
                    <a:pt x="76" y="403"/>
                  </a:lnTo>
                  <a:lnTo>
                    <a:pt x="76" y="402"/>
                  </a:lnTo>
                  <a:lnTo>
                    <a:pt x="77" y="403"/>
                  </a:lnTo>
                  <a:lnTo>
                    <a:pt x="77" y="404"/>
                  </a:lnTo>
                  <a:lnTo>
                    <a:pt x="79" y="405"/>
                  </a:lnTo>
                  <a:lnTo>
                    <a:pt x="79" y="404"/>
                  </a:lnTo>
                  <a:lnTo>
                    <a:pt x="80" y="404"/>
                  </a:lnTo>
                  <a:lnTo>
                    <a:pt x="82" y="404"/>
                  </a:lnTo>
                  <a:lnTo>
                    <a:pt x="83" y="405"/>
                  </a:lnTo>
                  <a:lnTo>
                    <a:pt x="84" y="404"/>
                  </a:lnTo>
                  <a:lnTo>
                    <a:pt x="85" y="404"/>
                  </a:lnTo>
                  <a:lnTo>
                    <a:pt x="85" y="407"/>
                  </a:lnTo>
                  <a:lnTo>
                    <a:pt x="86" y="407"/>
                  </a:lnTo>
                  <a:lnTo>
                    <a:pt x="88" y="405"/>
                  </a:lnTo>
                  <a:lnTo>
                    <a:pt x="89" y="407"/>
                  </a:lnTo>
                  <a:lnTo>
                    <a:pt x="90" y="408"/>
                  </a:lnTo>
                  <a:lnTo>
                    <a:pt x="92" y="409"/>
                  </a:lnTo>
                  <a:lnTo>
                    <a:pt x="94" y="410"/>
                  </a:lnTo>
                  <a:lnTo>
                    <a:pt x="99" y="410"/>
                  </a:lnTo>
                  <a:lnTo>
                    <a:pt x="102" y="410"/>
                  </a:lnTo>
                  <a:lnTo>
                    <a:pt x="105" y="410"/>
                  </a:lnTo>
                  <a:lnTo>
                    <a:pt x="108" y="411"/>
                  </a:lnTo>
                  <a:lnTo>
                    <a:pt x="113" y="411"/>
                  </a:lnTo>
                  <a:lnTo>
                    <a:pt x="117" y="411"/>
                  </a:lnTo>
                  <a:lnTo>
                    <a:pt x="120" y="413"/>
                  </a:lnTo>
                  <a:lnTo>
                    <a:pt x="124" y="411"/>
                  </a:lnTo>
                  <a:lnTo>
                    <a:pt x="126" y="413"/>
                  </a:lnTo>
                  <a:lnTo>
                    <a:pt x="129" y="414"/>
                  </a:lnTo>
                  <a:lnTo>
                    <a:pt x="133" y="413"/>
                  </a:lnTo>
                  <a:lnTo>
                    <a:pt x="137" y="413"/>
                  </a:lnTo>
                  <a:lnTo>
                    <a:pt x="138" y="411"/>
                  </a:lnTo>
                  <a:lnTo>
                    <a:pt x="141" y="411"/>
                  </a:lnTo>
                  <a:lnTo>
                    <a:pt x="143" y="409"/>
                  </a:lnTo>
                  <a:lnTo>
                    <a:pt x="143" y="407"/>
                  </a:lnTo>
                  <a:lnTo>
                    <a:pt x="144" y="407"/>
                  </a:lnTo>
                  <a:lnTo>
                    <a:pt x="148" y="407"/>
                  </a:lnTo>
                  <a:lnTo>
                    <a:pt x="150" y="408"/>
                  </a:lnTo>
                  <a:lnTo>
                    <a:pt x="151" y="409"/>
                  </a:lnTo>
                  <a:lnTo>
                    <a:pt x="154" y="409"/>
                  </a:lnTo>
                  <a:lnTo>
                    <a:pt x="155" y="409"/>
                  </a:lnTo>
                  <a:lnTo>
                    <a:pt x="159" y="407"/>
                  </a:lnTo>
                  <a:lnTo>
                    <a:pt x="162" y="404"/>
                  </a:lnTo>
                  <a:lnTo>
                    <a:pt x="166" y="402"/>
                  </a:lnTo>
                  <a:lnTo>
                    <a:pt x="168" y="399"/>
                  </a:lnTo>
                  <a:lnTo>
                    <a:pt x="172" y="397"/>
                  </a:lnTo>
                  <a:lnTo>
                    <a:pt x="174" y="395"/>
                  </a:lnTo>
                  <a:lnTo>
                    <a:pt x="173" y="393"/>
                  </a:lnTo>
                  <a:lnTo>
                    <a:pt x="171" y="393"/>
                  </a:lnTo>
                  <a:lnTo>
                    <a:pt x="171" y="392"/>
                  </a:lnTo>
                  <a:lnTo>
                    <a:pt x="173" y="391"/>
                  </a:lnTo>
                  <a:lnTo>
                    <a:pt x="174" y="390"/>
                  </a:lnTo>
                  <a:lnTo>
                    <a:pt x="176" y="387"/>
                  </a:lnTo>
                  <a:lnTo>
                    <a:pt x="174" y="387"/>
                  </a:lnTo>
                  <a:lnTo>
                    <a:pt x="173" y="389"/>
                  </a:lnTo>
                  <a:lnTo>
                    <a:pt x="172" y="390"/>
                  </a:lnTo>
                  <a:lnTo>
                    <a:pt x="171" y="391"/>
                  </a:lnTo>
                  <a:lnTo>
                    <a:pt x="170" y="390"/>
                  </a:lnTo>
                  <a:lnTo>
                    <a:pt x="168" y="389"/>
                  </a:lnTo>
                  <a:lnTo>
                    <a:pt x="167" y="389"/>
                  </a:lnTo>
                  <a:lnTo>
                    <a:pt x="168" y="390"/>
                  </a:lnTo>
                  <a:lnTo>
                    <a:pt x="167" y="391"/>
                  </a:lnTo>
                  <a:lnTo>
                    <a:pt x="168" y="395"/>
                  </a:lnTo>
                  <a:lnTo>
                    <a:pt x="168" y="396"/>
                  </a:lnTo>
                  <a:lnTo>
                    <a:pt x="167" y="397"/>
                  </a:lnTo>
                  <a:lnTo>
                    <a:pt x="166" y="396"/>
                  </a:lnTo>
                  <a:lnTo>
                    <a:pt x="166" y="393"/>
                  </a:lnTo>
                  <a:lnTo>
                    <a:pt x="164" y="392"/>
                  </a:lnTo>
                  <a:lnTo>
                    <a:pt x="162" y="391"/>
                  </a:lnTo>
                  <a:lnTo>
                    <a:pt x="161" y="390"/>
                  </a:lnTo>
                  <a:lnTo>
                    <a:pt x="160" y="391"/>
                  </a:lnTo>
                  <a:lnTo>
                    <a:pt x="160" y="393"/>
                  </a:lnTo>
                  <a:lnTo>
                    <a:pt x="159" y="396"/>
                  </a:lnTo>
                  <a:lnTo>
                    <a:pt x="158" y="395"/>
                  </a:lnTo>
                  <a:lnTo>
                    <a:pt x="158" y="391"/>
                  </a:lnTo>
                  <a:lnTo>
                    <a:pt x="156" y="390"/>
                  </a:lnTo>
                  <a:lnTo>
                    <a:pt x="156" y="391"/>
                  </a:lnTo>
                  <a:lnTo>
                    <a:pt x="156" y="392"/>
                  </a:lnTo>
                  <a:lnTo>
                    <a:pt x="154" y="390"/>
                  </a:lnTo>
                  <a:lnTo>
                    <a:pt x="154" y="389"/>
                  </a:lnTo>
                  <a:lnTo>
                    <a:pt x="154" y="393"/>
                  </a:lnTo>
                  <a:lnTo>
                    <a:pt x="154" y="396"/>
                  </a:lnTo>
                  <a:lnTo>
                    <a:pt x="153" y="396"/>
                  </a:lnTo>
                  <a:lnTo>
                    <a:pt x="151" y="395"/>
                  </a:lnTo>
                  <a:lnTo>
                    <a:pt x="149" y="391"/>
                  </a:lnTo>
                  <a:lnTo>
                    <a:pt x="148" y="390"/>
                  </a:lnTo>
                  <a:lnTo>
                    <a:pt x="148" y="393"/>
                  </a:lnTo>
                  <a:lnTo>
                    <a:pt x="148" y="397"/>
                  </a:lnTo>
                  <a:lnTo>
                    <a:pt x="147" y="395"/>
                  </a:lnTo>
                  <a:lnTo>
                    <a:pt x="145" y="392"/>
                  </a:lnTo>
                  <a:lnTo>
                    <a:pt x="145" y="390"/>
                  </a:lnTo>
                  <a:lnTo>
                    <a:pt x="143" y="387"/>
                  </a:lnTo>
                  <a:lnTo>
                    <a:pt x="143" y="393"/>
                  </a:lnTo>
                  <a:lnTo>
                    <a:pt x="144" y="396"/>
                  </a:lnTo>
                  <a:lnTo>
                    <a:pt x="142" y="395"/>
                  </a:lnTo>
                  <a:lnTo>
                    <a:pt x="141" y="392"/>
                  </a:lnTo>
                  <a:lnTo>
                    <a:pt x="142" y="396"/>
                  </a:lnTo>
                  <a:lnTo>
                    <a:pt x="142" y="397"/>
                  </a:lnTo>
                  <a:lnTo>
                    <a:pt x="141" y="398"/>
                  </a:lnTo>
                  <a:lnTo>
                    <a:pt x="139" y="397"/>
                  </a:lnTo>
                  <a:lnTo>
                    <a:pt x="139" y="395"/>
                  </a:lnTo>
                  <a:lnTo>
                    <a:pt x="138" y="395"/>
                  </a:lnTo>
                  <a:lnTo>
                    <a:pt x="136" y="393"/>
                  </a:lnTo>
                  <a:lnTo>
                    <a:pt x="136" y="392"/>
                  </a:lnTo>
                  <a:lnTo>
                    <a:pt x="135" y="395"/>
                  </a:lnTo>
                  <a:lnTo>
                    <a:pt x="137" y="397"/>
                  </a:lnTo>
                  <a:lnTo>
                    <a:pt x="137" y="398"/>
                  </a:lnTo>
                  <a:lnTo>
                    <a:pt x="136" y="397"/>
                  </a:lnTo>
                  <a:lnTo>
                    <a:pt x="135" y="396"/>
                  </a:lnTo>
                  <a:lnTo>
                    <a:pt x="132" y="395"/>
                  </a:lnTo>
                  <a:lnTo>
                    <a:pt x="132" y="399"/>
                  </a:lnTo>
                  <a:lnTo>
                    <a:pt x="130" y="401"/>
                  </a:lnTo>
                  <a:lnTo>
                    <a:pt x="130" y="402"/>
                  </a:lnTo>
                  <a:lnTo>
                    <a:pt x="129" y="402"/>
                  </a:lnTo>
                  <a:lnTo>
                    <a:pt x="127" y="402"/>
                  </a:lnTo>
                  <a:lnTo>
                    <a:pt x="126" y="401"/>
                  </a:lnTo>
                  <a:lnTo>
                    <a:pt x="126" y="399"/>
                  </a:lnTo>
                  <a:lnTo>
                    <a:pt x="125" y="399"/>
                  </a:lnTo>
                  <a:lnTo>
                    <a:pt x="125" y="401"/>
                  </a:lnTo>
                  <a:lnTo>
                    <a:pt x="125" y="402"/>
                  </a:lnTo>
                  <a:lnTo>
                    <a:pt x="126" y="403"/>
                  </a:lnTo>
                  <a:lnTo>
                    <a:pt x="126" y="405"/>
                  </a:lnTo>
                  <a:lnTo>
                    <a:pt x="125" y="408"/>
                  </a:lnTo>
                  <a:lnTo>
                    <a:pt x="124" y="407"/>
                  </a:lnTo>
                  <a:lnTo>
                    <a:pt x="124" y="404"/>
                  </a:lnTo>
                  <a:lnTo>
                    <a:pt x="124" y="403"/>
                  </a:lnTo>
                  <a:lnTo>
                    <a:pt x="123" y="401"/>
                  </a:lnTo>
                  <a:lnTo>
                    <a:pt x="123" y="403"/>
                  </a:lnTo>
                  <a:lnTo>
                    <a:pt x="121" y="403"/>
                  </a:lnTo>
                  <a:lnTo>
                    <a:pt x="120" y="403"/>
                  </a:lnTo>
                  <a:lnTo>
                    <a:pt x="120" y="402"/>
                  </a:lnTo>
                  <a:lnTo>
                    <a:pt x="120" y="399"/>
                  </a:lnTo>
                  <a:lnTo>
                    <a:pt x="119" y="397"/>
                  </a:lnTo>
                  <a:lnTo>
                    <a:pt x="119" y="396"/>
                  </a:lnTo>
                  <a:lnTo>
                    <a:pt x="119" y="401"/>
                  </a:lnTo>
                  <a:lnTo>
                    <a:pt x="119" y="404"/>
                  </a:lnTo>
                  <a:lnTo>
                    <a:pt x="119" y="405"/>
                  </a:lnTo>
                  <a:lnTo>
                    <a:pt x="117" y="408"/>
                  </a:lnTo>
                  <a:lnTo>
                    <a:pt x="115" y="408"/>
                  </a:lnTo>
                  <a:lnTo>
                    <a:pt x="113" y="408"/>
                  </a:lnTo>
                  <a:lnTo>
                    <a:pt x="113" y="405"/>
                  </a:lnTo>
                  <a:lnTo>
                    <a:pt x="113" y="403"/>
                  </a:lnTo>
                  <a:lnTo>
                    <a:pt x="113" y="401"/>
                  </a:lnTo>
                  <a:lnTo>
                    <a:pt x="112" y="403"/>
                  </a:lnTo>
                  <a:lnTo>
                    <a:pt x="112" y="404"/>
                  </a:lnTo>
                  <a:lnTo>
                    <a:pt x="111" y="403"/>
                  </a:lnTo>
                  <a:lnTo>
                    <a:pt x="109" y="403"/>
                  </a:lnTo>
                  <a:lnTo>
                    <a:pt x="108" y="405"/>
                  </a:lnTo>
                  <a:lnTo>
                    <a:pt x="107" y="408"/>
                  </a:lnTo>
                  <a:lnTo>
                    <a:pt x="107" y="405"/>
                  </a:lnTo>
                  <a:lnTo>
                    <a:pt x="106" y="404"/>
                  </a:lnTo>
                  <a:lnTo>
                    <a:pt x="102" y="407"/>
                  </a:lnTo>
                  <a:lnTo>
                    <a:pt x="103" y="405"/>
                  </a:lnTo>
                  <a:lnTo>
                    <a:pt x="105" y="404"/>
                  </a:lnTo>
                  <a:lnTo>
                    <a:pt x="103" y="402"/>
                  </a:lnTo>
                  <a:lnTo>
                    <a:pt x="105" y="402"/>
                  </a:lnTo>
                  <a:lnTo>
                    <a:pt x="108" y="402"/>
                  </a:lnTo>
                  <a:lnTo>
                    <a:pt x="109" y="402"/>
                  </a:lnTo>
                  <a:lnTo>
                    <a:pt x="106" y="401"/>
                  </a:lnTo>
                  <a:lnTo>
                    <a:pt x="107" y="399"/>
                  </a:lnTo>
                  <a:lnTo>
                    <a:pt x="109" y="399"/>
                  </a:lnTo>
                  <a:lnTo>
                    <a:pt x="112" y="399"/>
                  </a:lnTo>
                  <a:lnTo>
                    <a:pt x="113" y="398"/>
                  </a:lnTo>
                  <a:lnTo>
                    <a:pt x="112" y="397"/>
                  </a:lnTo>
                  <a:lnTo>
                    <a:pt x="113" y="396"/>
                  </a:lnTo>
                  <a:lnTo>
                    <a:pt x="115" y="395"/>
                  </a:lnTo>
                  <a:lnTo>
                    <a:pt x="118" y="393"/>
                  </a:lnTo>
                  <a:lnTo>
                    <a:pt x="119" y="393"/>
                  </a:lnTo>
                  <a:lnTo>
                    <a:pt x="118" y="392"/>
                  </a:lnTo>
                  <a:lnTo>
                    <a:pt x="119" y="391"/>
                  </a:lnTo>
                  <a:lnTo>
                    <a:pt x="120" y="390"/>
                  </a:lnTo>
                  <a:lnTo>
                    <a:pt x="121" y="389"/>
                  </a:lnTo>
                  <a:lnTo>
                    <a:pt x="124" y="387"/>
                  </a:lnTo>
                  <a:lnTo>
                    <a:pt x="125" y="386"/>
                  </a:lnTo>
                  <a:lnTo>
                    <a:pt x="125" y="384"/>
                  </a:lnTo>
                  <a:lnTo>
                    <a:pt x="124" y="383"/>
                  </a:lnTo>
                  <a:lnTo>
                    <a:pt x="123" y="381"/>
                  </a:lnTo>
                  <a:lnTo>
                    <a:pt x="123" y="383"/>
                  </a:lnTo>
                  <a:lnTo>
                    <a:pt x="121" y="386"/>
                  </a:lnTo>
                  <a:lnTo>
                    <a:pt x="120" y="386"/>
                  </a:lnTo>
                  <a:lnTo>
                    <a:pt x="119" y="389"/>
                  </a:lnTo>
                  <a:lnTo>
                    <a:pt x="119" y="387"/>
                  </a:lnTo>
                  <a:lnTo>
                    <a:pt x="118" y="385"/>
                  </a:lnTo>
                  <a:lnTo>
                    <a:pt x="117" y="386"/>
                  </a:lnTo>
                  <a:lnTo>
                    <a:pt x="117" y="385"/>
                  </a:lnTo>
                  <a:lnTo>
                    <a:pt x="117" y="384"/>
                  </a:lnTo>
                  <a:lnTo>
                    <a:pt x="115" y="383"/>
                  </a:lnTo>
                  <a:lnTo>
                    <a:pt x="118" y="383"/>
                  </a:lnTo>
                  <a:lnTo>
                    <a:pt x="119" y="381"/>
                  </a:lnTo>
                  <a:lnTo>
                    <a:pt x="121" y="379"/>
                  </a:lnTo>
                  <a:lnTo>
                    <a:pt x="119" y="379"/>
                  </a:lnTo>
                  <a:lnTo>
                    <a:pt x="118" y="378"/>
                  </a:lnTo>
                  <a:lnTo>
                    <a:pt x="120" y="378"/>
                  </a:lnTo>
                  <a:lnTo>
                    <a:pt x="123" y="378"/>
                  </a:lnTo>
                  <a:lnTo>
                    <a:pt x="126" y="378"/>
                  </a:lnTo>
                  <a:lnTo>
                    <a:pt x="130" y="377"/>
                  </a:lnTo>
                  <a:lnTo>
                    <a:pt x="135" y="374"/>
                  </a:lnTo>
                  <a:lnTo>
                    <a:pt x="138" y="373"/>
                  </a:lnTo>
                  <a:lnTo>
                    <a:pt x="143" y="371"/>
                  </a:lnTo>
                  <a:lnTo>
                    <a:pt x="147" y="369"/>
                  </a:lnTo>
                  <a:lnTo>
                    <a:pt x="150" y="368"/>
                  </a:lnTo>
                  <a:lnTo>
                    <a:pt x="154" y="368"/>
                  </a:lnTo>
                  <a:lnTo>
                    <a:pt x="158" y="367"/>
                  </a:lnTo>
                  <a:lnTo>
                    <a:pt x="160" y="367"/>
                  </a:lnTo>
                  <a:lnTo>
                    <a:pt x="160" y="365"/>
                  </a:lnTo>
                  <a:lnTo>
                    <a:pt x="159" y="365"/>
                  </a:lnTo>
                  <a:lnTo>
                    <a:pt x="158" y="363"/>
                  </a:lnTo>
                  <a:lnTo>
                    <a:pt x="162" y="362"/>
                  </a:lnTo>
                  <a:lnTo>
                    <a:pt x="165" y="362"/>
                  </a:lnTo>
                  <a:lnTo>
                    <a:pt x="167" y="361"/>
                  </a:lnTo>
                  <a:lnTo>
                    <a:pt x="168" y="361"/>
                  </a:lnTo>
                  <a:lnTo>
                    <a:pt x="170" y="359"/>
                  </a:lnTo>
                  <a:lnTo>
                    <a:pt x="170" y="356"/>
                  </a:lnTo>
                  <a:lnTo>
                    <a:pt x="168" y="354"/>
                  </a:lnTo>
                  <a:lnTo>
                    <a:pt x="167" y="351"/>
                  </a:lnTo>
                  <a:lnTo>
                    <a:pt x="165" y="349"/>
                  </a:lnTo>
                  <a:lnTo>
                    <a:pt x="165" y="351"/>
                  </a:lnTo>
                  <a:lnTo>
                    <a:pt x="165" y="353"/>
                  </a:lnTo>
                  <a:lnTo>
                    <a:pt x="164" y="354"/>
                  </a:lnTo>
                  <a:lnTo>
                    <a:pt x="161" y="353"/>
                  </a:lnTo>
                  <a:lnTo>
                    <a:pt x="161" y="354"/>
                  </a:lnTo>
                  <a:lnTo>
                    <a:pt x="160" y="355"/>
                  </a:lnTo>
                  <a:lnTo>
                    <a:pt x="159" y="355"/>
                  </a:lnTo>
                  <a:lnTo>
                    <a:pt x="158" y="353"/>
                  </a:lnTo>
                  <a:lnTo>
                    <a:pt x="156" y="350"/>
                  </a:lnTo>
                  <a:lnTo>
                    <a:pt x="158" y="355"/>
                  </a:lnTo>
                  <a:lnTo>
                    <a:pt x="155" y="356"/>
                  </a:lnTo>
                  <a:lnTo>
                    <a:pt x="155" y="355"/>
                  </a:lnTo>
                  <a:lnTo>
                    <a:pt x="154" y="353"/>
                  </a:lnTo>
                  <a:lnTo>
                    <a:pt x="153" y="350"/>
                  </a:lnTo>
                  <a:lnTo>
                    <a:pt x="153" y="353"/>
                  </a:lnTo>
                  <a:lnTo>
                    <a:pt x="150" y="355"/>
                  </a:lnTo>
                  <a:lnTo>
                    <a:pt x="150" y="353"/>
                  </a:lnTo>
                  <a:lnTo>
                    <a:pt x="149" y="351"/>
                  </a:lnTo>
                  <a:lnTo>
                    <a:pt x="150" y="355"/>
                  </a:lnTo>
                  <a:lnTo>
                    <a:pt x="150" y="357"/>
                  </a:lnTo>
                  <a:lnTo>
                    <a:pt x="148" y="359"/>
                  </a:lnTo>
                  <a:lnTo>
                    <a:pt x="147" y="359"/>
                  </a:lnTo>
                  <a:lnTo>
                    <a:pt x="147" y="356"/>
                  </a:lnTo>
                  <a:lnTo>
                    <a:pt x="145" y="353"/>
                  </a:lnTo>
                  <a:lnTo>
                    <a:pt x="144" y="354"/>
                  </a:lnTo>
                  <a:lnTo>
                    <a:pt x="144" y="356"/>
                  </a:lnTo>
                  <a:lnTo>
                    <a:pt x="142" y="356"/>
                  </a:lnTo>
                  <a:lnTo>
                    <a:pt x="142" y="355"/>
                  </a:lnTo>
                  <a:lnTo>
                    <a:pt x="141" y="356"/>
                  </a:lnTo>
                  <a:lnTo>
                    <a:pt x="139" y="354"/>
                  </a:lnTo>
                  <a:lnTo>
                    <a:pt x="139" y="353"/>
                  </a:lnTo>
                  <a:lnTo>
                    <a:pt x="138" y="353"/>
                  </a:lnTo>
                  <a:lnTo>
                    <a:pt x="139" y="356"/>
                  </a:lnTo>
                  <a:lnTo>
                    <a:pt x="138" y="356"/>
                  </a:lnTo>
                  <a:lnTo>
                    <a:pt x="136" y="357"/>
                  </a:lnTo>
                  <a:lnTo>
                    <a:pt x="136" y="356"/>
                  </a:lnTo>
                  <a:lnTo>
                    <a:pt x="135" y="356"/>
                  </a:lnTo>
                  <a:lnTo>
                    <a:pt x="136" y="360"/>
                  </a:lnTo>
                  <a:lnTo>
                    <a:pt x="136" y="362"/>
                  </a:lnTo>
                  <a:lnTo>
                    <a:pt x="133" y="362"/>
                  </a:lnTo>
                  <a:lnTo>
                    <a:pt x="132" y="361"/>
                  </a:lnTo>
                  <a:lnTo>
                    <a:pt x="131" y="360"/>
                  </a:lnTo>
                  <a:lnTo>
                    <a:pt x="130" y="356"/>
                  </a:lnTo>
                  <a:lnTo>
                    <a:pt x="129" y="355"/>
                  </a:lnTo>
                  <a:lnTo>
                    <a:pt x="126" y="356"/>
                  </a:lnTo>
                  <a:lnTo>
                    <a:pt x="125" y="355"/>
                  </a:lnTo>
                  <a:lnTo>
                    <a:pt x="123" y="356"/>
                  </a:lnTo>
                  <a:lnTo>
                    <a:pt x="124" y="357"/>
                  </a:lnTo>
                  <a:lnTo>
                    <a:pt x="123" y="356"/>
                  </a:lnTo>
                  <a:lnTo>
                    <a:pt x="120" y="357"/>
                  </a:lnTo>
                  <a:lnTo>
                    <a:pt x="117" y="357"/>
                  </a:lnTo>
                  <a:lnTo>
                    <a:pt x="117" y="356"/>
                  </a:lnTo>
                  <a:lnTo>
                    <a:pt x="121" y="355"/>
                  </a:lnTo>
                  <a:lnTo>
                    <a:pt x="125" y="353"/>
                  </a:lnTo>
                  <a:lnTo>
                    <a:pt x="126" y="350"/>
                  </a:lnTo>
                  <a:lnTo>
                    <a:pt x="127" y="351"/>
                  </a:lnTo>
                  <a:lnTo>
                    <a:pt x="131" y="350"/>
                  </a:lnTo>
                  <a:lnTo>
                    <a:pt x="133" y="349"/>
                  </a:lnTo>
                  <a:lnTo>
                    <a:pt x="135" y="348"/>
                  </a:lnTo>
                  <a:lnTo>
                    <a:pt x="130" y="348"/>
                  </a:lnTo>
                  <a:lnTo>
                    <a:pt x="127" y="349"/>
                  </a:lnTo>
                  <a:lnTo>
                    <a:pt x="130" y="348"/>
                  </a:lnTo>
                  <a:lnTo>
                    <a:pt x="133" y="345"/>
                  </a:lnTo>
                  <a:lnTo>
                    <a:pt x="135" y="345"/>
                  </a:lnTo>
                  <a:lnTo>
                    <a:pt x="131" y="344"/>
                  </a:lnTo>
                  <a:lnTo>
                    <a:pt x="136" y="344"/>
                  </a:lnTo>
                  <a:lnTo>
                    <a:pt x="139" y="343"/>
                  </a:lnTo>
                  <a:lnTo>
                    <a:pt x="139" y="342"/>
                  </a:lnTo>
                  <a:lnTo>
                    <a:pt x="142" y="342"/>
                  </a:lnTo>
                  <a:lnTo>
                    <a:pt x="144" y="340"/>
                  </a:lnTo>
                  <a:lnTo>
                    <a:pt x="143" y="339"/>
                  </a:lnTo>
                  <a:lnTo>
                    <a:pt x="144" y="339"/>
                  </a:lnTo>
                  <a:lnTo>
                    <a:pt x="149" y="339"/>
                  </a:lnTo>
                  <a:lnTo>
                    <a:pt x="150" y="337"/>
                  </a:lnTo>
                  <a:lnTo>
                    <a:pt x="151" y="337"/>
                  </a:lnTo>
                  <a:lnTo>
                    <a:pt x="153" y="338"/>
                  </a:lnTo>
                  <a:lnTo>
                    <a:pt x="155" y="338"/>
                  </a:lnTo>
                  <a:lnTo>
                    <a:pt x="158" y="337"/>
                  </a:lnTo>
                  <a:lnTo>
                    <a:pt x="156" y="334"/>
                  </a:lnTo>
                  <a:lnTo>
                    <a:pt x="159" y="336"/>
                  </a:lnTo>
                  <a:lnTo>
                    <a:pt x="160" y="333"/>
                  </a:lnTo>
                  <a:lnTo>
                    <a:pt x="162" y="333"/>
                  </a:lnTo>
                  <a:lnTo>
                    <a:pt x="165" y="334"/>
                  </a:lnTo>
                  <a:lnTo>
                    <a:pt x="167" y="334"/>
                  </a:lnTo>
                  <a:lnTo>
                    <a:pt x="168" y="333"/>
                  </a:lnTo>
                  <a:lnTo>
                    <a:pt x="174" y="332"/>
                  </a:lnTo>
                  <a:lnTo>
                    <a:pt x="178" y="331"/>
                  </a:lnTo>
                  <a:lnTo>
                    <a:pt x="182" y="330"/>
                  </a:lnTo>
                  <a:lnTo>
                    <a:pt x="183" y="330"/>
                  </a:lnTo>
                  <a:lnTo>
                    <a:pt x="185" y="328"/>
                  </a:lnTo>
                  <a:lnTo>
                    <a:pt x="189" y="328"/>
                  </a:lnTo>
                  <a:lnTo>
                    <a:pt x="191" y="327"/>
                  </a:lnTo>
                  <a:lnTo>
                    <a:pt x="194" y="327"/>
                  </a:lnTo>
                  <a:lnTo>
                    <a:pt x="196" y="327"/>
                  </a:lnTo>
                  <a:lnTo>
                    <a:pt x="198" y="326"/>
                  </a:lnTo>
                  <a:lnTo>
                    <a:pt x="200" y="327"/>
                  </a:lnTo>
                  <a:lnTo>
                    <a:pt x="201" y="325"/>
                  </a:lnTo>
                  <a:lnTo>
                    <a:pt x="202" y="325"/>
                  </a:lnTo>
                  <a:lnTo>
                    <a:pt x="203" y="325"/>
                  </a:lnTo>
                  <a:lnTo>
                    <a:pt x="204" y="325"/>
                  </a:lnTo>
                  <a:lnTo>
                    <a:pt x="207" y="326"/>
                  </a:lnTo>
                  <a:lnTo>
                    <a:pt x="208" y="326"/>
                  </a:lnTo>
                  <a:lnTo>
                    <a:pt x="210" y="325"/>
                  </a:lnTo>
                  <a:lnTo>
                    <a:pt x="212" y="325"/>
                  </a:lnTo>
                  <a:lnTo>
                    <a:pt x="214" y="325"/>
                  </a:lnTo>
                  <a:lnTo>
                    <a:pt x="215" y="324"/>
                  </a:lnTo>
                  <a:lnTo>
                    <a:pt x="219" y="322"/>
                  </a:lnTo>
                  <a:lnTo>
                    <a:pt x="221" y="322"/>
                  </a:lnTo>
                  <a:lnTo>
                    <a:pt x="223" y="322"/>
                  </a:lnTo>
                  <a:lnTo>
                    <a:pt x="223" y="321"/>
                  </a:lnTo>
                  <a:lnTo>
                    <a:pt x="221" y="320"/>
                  </a:lnTo>
                  <a:lnTo>
                    <a:pt x="220" y="321"/>
                  </a:lnTo>
                  <a:lnTo>
                    <a:pt x="218" y="321"/>
                  </a:lnTo>
                  <a:lnTo>
                    <a:pt x="215" y="324"/>
                  </a:lnTo>
                  <a:lnTo>
                    <a:pt x="213" y="324"/>
                  </a:lnTo>
                  <a:lnTo>
                    <a:pt x="210" y="324"/>
                  </a:lnTo>
                  <a:lnTo>
                    <a:pt x="210" y="322"/>
                  </a:lnTo>
                  <a:lnTo>
                    <a:pt x="209" y="324"/>
                  </a:lnTo>
                  <a:lnTo>
                    <a:pt x="209" y="325"/>
                  </a:lnTo>
                  <a:lnTo>
                    <a:pt x="208" y="325"/>
                  </a:lnTo>
                  <a:lnTo>
                    <a:pt x="207" y="325"/>
                  </a:lnTo>
                  <a:lnTo>
                    <a:pt x="204" y="322"/>
                  </a:lnTo>
                  <a:lnTo>
                    <a:pt x="203" y="322"/>
                  </a:lnTo>
                  <a:lnTo>
                    <a:pt x="203" y="324"/>
                  </a:lnTo>
                  <a:lnTo>
                    <a:pt x="202" y="324"/>
                  </a:lnTo>
                  <a:lnTo>
                    <a:pt x="200" y="325"/>
                  </a:lnTo>
                  <a:lnTo>
                    <a:pt x="200" y="324"/>
                  </a:lnTo>
                  <a:lnTo>
                    <a:pt x="200" y="325"/>
                  </a:lnTo>
                  <a:lnTo>
                    <a:pt x="198" y="325"/>
                  </a:lnTo>
                  <a:lnTo>
                    <a:pt x="197" y="325"/>
                  </a:lnTo>
                  <a:lnTo>
                    <a:pt x="196" y="325"/>
                  </a:lnTo>
                  <a:lnTo>
                    <a:pt x="195" y="325"/>
                  </a:lnTo>
                  <a:lnTo>
                    <a:pt x="192" y="326"/>
                  </a:lnTo>
                  <a:lnTo>
                    <a:pt x="190" y="326"/>
                  </a:lnTo>
                  <a:lnTo>
                    <a:pt x="190" y="325"/>
                  </a:lnTo>
                  <a:lnTo>
                    <a:pt x="189" y="324"/>
                  </a:lnTo>
                  <a:lnTo>
                    <a:pt x="190" y="322"/>
                  </a:lnTo>
                  <a:lnTo>
                    <a:pt x="188" y="324"/>
                  </a:lnTo>
                  <a:lnTo>
                    <a:pt x="186" y="325"/>
                  </a:lnTo>
                  <a:lnTo>
                    <a:pt x="185" y="325"/>
                  </a:lnTo>
                  <a:lnTo>
                    <a:pt x="185" y="327"/>
                  </a:lnTo>
                  <a:lnTo>
                    <a:pt x="184" y="327"/>
                  </a:lnTo>
                  <a:lnTo>
                    <a:pt x="184" y="326"/>
                  </a:lnTo>
                  <a:lnTo>
                    <a:pt x="183" y="326"/>
                  </a:lnTo>
                  <a:lnTo>
                    <a:pt x="182" y="327"/>
                  </a:lnTo>
                  <a:lnTo>
                    <a:pt x="182" y="328"/>
                  </a:lnTo>
                  <a:lnTo>
                    <a:pt x="179" y="327"/>
                  </a:lnTo>
                  <a:lnTo>
                    <a:pt x="178" y="326"/>
                  </a:lnTo>
                  <a:lnTo>
                    <a:pt x="179" y="328"/>
                  </a:lnTo>
                  <a:lnTo>
                    <a:pt x="178" y="328"/>
                  </a:lnTo>
                  <a:lnTo>
                    <a:pt x="176" y="330"/>
                  </a:lnTo>
                  <a:lnTo>
                    <a:pt x="173" y="328"/>
                  </a:lnTo>
                  <a:lnTo>
                    <a:pt x="173" y="327"/>
                  </a:lnTo>
                  <a:lnTo>
                    <a:pt x="171" y="331"/>
                  </a:lnTo>
                  <a:lnTo>
                    <a:pt x="171" y="330"/>
                  </a:lnTo>
                  <a:lnTo>
                    <a:pt x="171" y="328"/>
                  </a:lnTo>
                  <a:lnTo>
                    <a:pt x="172" y="326"/>
                  </a:lnTo>
                  <a:lnTo>
                    <a:pt x="171" y="327"/>
                  </a:lnTo>
                  <a:lnTo>
                    <a:pt x="170" y="325"/>
                  </a:lnTo>
                  <a:lnTo>
                    <a:pt x="168" y="325"/>
                  </a:lnTo>
                  <a:lnTo>
                    <a:pt x="168" y="328"/>
                  </a:lnTo>
                  <a:lnTo>
                    <a:pt x="167" y="328"/>
                  </a:lnTo>
                  <a:lnTo>
                    <a:pt x="167" y="330"/>
                  </a:lnTo>
                  <a:lnTo>
                    <a:pt x="166" y="332"/>
                  </a:lnTo>
                  <a:lnTo>
                    <a:pt x="165" y="333"/>
                  </a:lnTo>
                  <a:lnTo>
                    <a:pt x="164" y="332"/>
                  </a:lnTo>
                  <a:lnTo>
                    <a:pt x="165" y="330"/>
                  </a:lnTo>
                  <a:lnTo>
                    <a:pt x="165" y="326"/>
                  </a:lnTo>
                  <a:lnTo>
                    <a:pt x="164" y="326"/>
                  </a:lnTo>
                  <a:lnTo>
                    <a:pt x="164" y="327"/>
                  </a:lnTo>
                  <a:lnTo>
                    <a:pt x="162" y="332"/>
                  </a:lnTo>
                  <a:lnTo>
                    <a:pt x="161" y="332"/>
                  </a:lnTo>
                  <a:lnTo>
                    <a:pt x="161" y="330"/>
                  </a:lnTo>
                  <a:lnTo>
                    <a:pt x="161" y="328"/>
                  </a:lnTo>
                  <a:lnTo>
                    <a:pt x="160" y="327"/>
                  </a:lnTo>
                  <a:lnTo>
                    <a:pt x="160" y="326"/>
                  </a:lnTo>
                  <a:lnTo>
                    <a:pt x="160" y="325"/>
                  </a:lnTo>
                  <a:lnTo>
                    <a:pt x="159" y="328"/>
                  </a:lnTo>
                  <a:lnTo>
                    <a:pt x="159" y="331"/>
                  </a:lnTo>
                  <a:lnTo>
                    <a:pt x="156" y="331"/>
                  </a:lnTo>
                  <a:lnTo>
                    <a:pt x="155" y="332"/>
                  </a:lnTo>
                  <a:lnTo>
                    <a:pt x="154" y="328"/>
                  </a:lnTo>
                  <a:lnTo>
                    <a:pt x="153" y="332"/>
                  </a:lnTo>
                  <a:lnTo>
                    <a:pt x="153" y="333"/>
                  </a:lnTo>
                  <a:lnTo>
                    <a:pt x="154" y="334"/>
                  </a:lnTo>
                  <a:lnTo>
                    <a:pt x="151" y="336"/>
                  </a:lnTo>
                  <a:lnTo>
                    <a:pt x="150" y="336"/>
                  </a:lnTo>
                  <a:lnTo>
                    <a:pt x="150" y="333"/>
                  </a:lnTo>
                  <a:lnTo>
                    <a:pt x="149" y="332"/>
                  </a:lnTo>
                  <a:lnTo>
                    <a:pt x="148" y="331"/>
                  </a:lnTo>
                  <a:lnTo>
                    <a:pt x="148" y="328"/>
                  </a:lnTo>
                  <a:lnTo>
                    <a:pt x="148" y="327"/>
                  </a:lnTo>
                  <a:lnTo>
                    <a:pt x="147" y="328"/>
                  </a:lnTo>
                  <a:lnTo>
                    <a:pt x="145" y="330"/>
                  </a:lnTo>
                  <a:lnTo>
                    <a:pt x="144" y="332"/>
                  </a:lnTo>
                  <a:lnTo>
                    <a:pt x="144" y="331"/>
                  </a:lnTo>
                  <a:lnTo>
                    <a:pt x="143" y="330"/>
                  </a:lnTo>
                  <a:lnTo>
                    <a:pt x="142" y="331"/>
                  </a:lnTo>
                  <a:lnTo>
                    <a:pt x="142" y="333"/>
                  </a:lnTo>
                  <a:lnTo>
                    <a:pt x="141" y="334"/>
                  </a:lnTo>
                  <a:lnTo>
                    <a:pt x="139" y="332"/>
                  </a:lnTo>
                  <a:lnTo>
                    <a:pt x="137" y="332"/>
                  </a:lnTo>
                  <a:lnTo>
                    <a:pt x="137" y="333"/>
                  </a:lnTo>
                  <a:lnTo>
                    <a:pt x="136" y="333"/>
                  </a:lnTo>
                  <a:lnTo>
                    <a:pt x="136" y="331"/>
                  </a:lnTo>
                  <a:lnTo>
                    <a:pt x="135" y="328"/>
                  </a:lnTo>
                  <a:lnTo>
                    <a:pt x="132" y="327"/>
                  </a:lnTo>
                  <a:lnTo>
                    <a:pt x="132" y="328"/>
                  </a:lnTo>
                  <a:lnTo>
                    <a:pt x="131" y="328"/>
                  </a:lnTo>
                  <a:lnTo>
                    <a:pt x="130" y="330"/>
                  </a:lnTo>
                  <a:lnTo>
                    <a:pt x="129" y="332"/>
                  </a:lnTo>
                  <a:lnTo>
                    <a:pt x="127" y="331"/>
                  </a:lnTo>
                  <a:lnTo>
                    <a:pt x="127" y="330"/>
                  </a:lnTo>
                  <a:lnTo>
                    <a:pt x="121" y="332"/>
                  </a:lnTo>
                  <a:lnTo>
                    <a:pt x="123" y="331"/>
                  </a:lnTo>
                  <a:lnTo>
                    <a:pt x="125" y="330"/>
                  </a:lnTo>
                  <a:lnTo>
                    <a:pt x="127" y="328"/>
                  </a:lnTo>
                  <a:lnTo>
                    <a:pt x="125" y="327"/>
                  </a:lnTo>
                  <a:lnTo>
                    <a:pt x="129" y="327"/>
                  </a:lnTo>
                  <a:lnTo>
                    <a:pt x="127" y="326"/>
                  </a:lnTo>
                  <a:lnTo>
                    <a:pt x="127" y="325"/>
                  </a:lnTo>
                  <a:lnTo>
                    <a:pt x="130" y="325"/>
                  </a:lnTo>
                  <a:lnTo>
                    <a:pt x="132" y="324"/>
                  </a:lnTo>
                  <a:lnTo>
                    <a:pt x="135" y="324"/>
                  </a:lnTo>
                  <a:lnTo>
                    <a:pt x="137" y="322"/>
                  </a:lnTo>
                  <a:lnTo>
                    <a:pt x="138" y="321"/>
                  </a:lnTo>
                  <a:lnTo>
                    <a:pt x="141" y="319"/>
                  </a:lnTo>
                  <a:lnTo>
                    <a:pt x="142" y="318"/>
                  </a:lnTo>
                  <a:lnTo>
                    <a:pt x="143" y="316"/>
                  </a:lnTo>
                  <a:lnTo>
                    <a:pt x="142" y="315"/>
                  </a:lnTo>
                  <a:lnTo>
                    <a:pt x="138" y="316"/>
                  </a:lnTo>
                  <a:lnTo>
                    <a:pt x="139" y="315"/>
                  </a:lnTo>
                  <a:lnTo>
                    <a:pt x="141" y="314"/>
                  </a:lnTo>
                  <a:lnTo>
                    <a:pt x="142" y="312"/>
                  </a:lnTo>
                  <a:lnTo>
                    <a:pt x="143" y="313"/>
                  </a:lnTo>
                  <a:lnTo>
                    <a:pt x="143" y="314"/>
                  </a:lnTo>
                  <a:lnTo>
                    <a:pt x="145" y="313"/>
                  </a:lnTo>
                  <a:lnTo>
                    <a:pt x="149" y="314"/>
                  </a:lnTo>
                  <a:lnTo>
                    <a:pt x="156" y="312"/>
                  </a:lnTo>
                  <a:lnTo>
                    <a:pt x="160" y="310"/>
                  </a:lnTo>
                  <a:lnTo>
                    <a:pt x="160" y="309"/>
                  </a:lnTo>
                  <a:lnTo>
                    <a:pt x="161" y="310"/>
                  </a:lnTo>
                  <a:lnTo>
                    <a:pt x="164" y="310"/>
                  </a:lnTo>
                  <a:lnTo>
                    <a:pt x="165" y="309"/>
                  </a:lnTo>
                  <a:lnTo>
                    <a:pt x="166" y="308"/>
                  </a:lnTo>
                  <a:lnTo>
                    <a:pt x="167" y="308"/>
                  </a:lnTo>
                  <a:lnTo>
                    <a:pt x="173" y="307"/>
                  </a:lnTo>
                  <a:lnTo>
                    <a:pt x="177" y="307"/>
                  </a:lnTo>
                  <a:lnTo>
                    <a:pt x="178" y="307"/>
                  </a:lnTo>
                  <a:lnTo>
                    <a:pt x="180" y="306"/>
                  </a:lnTo>
                  <a:lnTo>
                    <a:pt x="182" y="306"/>
                  </a:lnTo>
                  <a:lnTo>
                    <a:pt x="185" y="306"/>
                  </a:lnTo>
                  <a:lnTo>
                    <a:pt x="188" y="304"/>
                  </a:lnTo>
                  <a:lnTo>
                    <a:pt x="156" y="303"/>
                  </a:lnTo>
                  <a:lnTo>
                    <a:pt x="158" y="303"/>
                  </a:lnTo>
                  <a:lnTo>
                    <a:pt x="160" y="302"/>
                  </a:lnTo>
                  <a:lnTo>
                    <a:pt x="165" y="301"/>
                  </a:lnTo>
                  <a:lnTo>
                    <a:pt x="166" y="301"/>
                  </a:lnTo>
                  <a:lnTo>
                    <a:pt x="168" y="301"/>
                  </a:lnTo>
                  <a:lnTo>
                    <a:pt x="172" y="301"/>
                  </a:lnTo>
                  <a:lnTo>
                    <a:pt x="172" y="300"/>
                  </a:lnTo>
                  <a:lnTo>
                    <a:pt x="174" y="300"/>
                  </a:lnTo>
                  <a:lnTo>
                    <a:pt x="176" y="301"/>
                  </a:lnTo>
                  <a:lnTo>
                    <a:pt x="180" y="301"/>
                  </a:lnTo>
                  <a:lnTo>
                    <a:pt x="183" y="301"/>
                  </a:lnTo>
                  <a:lnTo>
                    <a:pt x="186" y="300"/>
                  </a:lnTo>
                  <a:lnTo>
                    <a:pt x="190" y="298"/>
                  </a:lnTo>
                  <a:lnTo>
                    <a:pt x="194" y="298"/>
                  </a:lnTo>
                  <a:lnTo>
                    <a:pt x="198" y="297"/>
                  </a:lnTo>
                  <a:lnTo>
                    <a:pt x="203" y="297"/>
                  </a:lnTo>
                  <a:lnTo>
                    <a:pt x="206" y="295"/>
                  </a:lnTo>
                  <a:lnTo>
                    <a:pt x="208" y="295"/>
                  </a:lnTo>
                  <a:lnTo>
                    <a:pt x="208" y="296"/>
                  </a:lnTo>
                  <a:lnTo>
                    <a:pt x="209" y="297"/>
                  </a:lnTo>
                  <a:lnTo>
                    <a:pt x="210" y="297"/>
                  </a:lnTo>
                  <a:lnTo>
                    <a:pt x="213" y="296"/>
                  </a:lnTo>
                  <a:lnTo>
                    <a:pt x="216" y="295"/>
                  </a:lnTo>
                  <a:lnTo>
                    <a:pt x="218" y="295"/>
                  </a:lnTo>
                  <a:lnTo>
                    <a:pt x="221" y="295"/>
                  </a:lnTo>
                  <a:lnTo>
                    <a:pt x="223" y="296"/>
                  </a:lnTo>
                  <a:lnTo>
                    <a:pt x="225" y="295"/>
                  </a:lnTo>
                  <a:lnTo>
                    <a:pt x="226" y="294"/>
                  </a:lnTo>
                  <a:lnTo>
                    <a:pt x="230" y="294"/>
                  </a:lnTo>
                  <a:lnTo>
                    <a:pt x="233" y="294"/>
                  </a:lnTo>
                  <a:lnTo>
                    <a:pt x="233" y="292"/>
                  </a:lnTo>
                  <a:lnTo>
                    <a:pt x="235" y="290"/>
                  </a:lnTo>
                  <a:lnTo>
                    <a:pt x="238" y="289"/>
                  </a:lnTo>
                  <a:lnTo>
                    <a:pt x="239" y="289"/>
                  </a:lnTo>
                  <a:lnTo>
                    <a:pt x="242" y="288"/>
                  </a:lnTo>
                  <a:lnTo>
                    <a:pt x="244" y="285"/>
                  </a:lnTo>
                  <a:lnTo>
                    <a:pt x="248" y="283"/>
                  </a:lnTo>
                  <a:lnTo>
                    <a:pt x="250" y="282"/>
                  </a:lnTo>
                  <a:lnTo>
                    <a:pt x="250" y="276"/>
                  </a:lnTo>
                  <a:lnTo>
                    <a:pt x="250" y="273"/>
                  </a:lnTo>
                  <a:lnTo>
                    <a:pt x="249" y="273"/>
                  </a:lnTo>
                  <a:lnTo>
                    <a:pt x="248" y="276"/>
                  </a:lnTo>
                  <a:lnTo>
                    <a:pt x="247" y="276"/>
                  </a:lnTo>
                  <a:lnTo>
                    <a:pt x="245" y="274"/>
                  </a:lnTo>
                  <a:lnTo>
                    <a:pt x="247" y="272"/>
                  </a:lnTo>
                  <a:lnTo>
                    <a:pt x="245" y="272"/>
                  </a:lnTo>
                  <a:lnTo>
                    <a:pt x="244" y="273"/>
                  </a:lnTo>
                  <a:lnTo>
                    <a:pt x="245" y="276"/>
                  </a:lnTo>
                  <a:lnTo>
                    <a:pt x="245" y="278"/>
                  </a:lnTo>
                  <a:lnTo>
                    <a:pt x="247" y="280"/>
                  </a:lnTo>
                  <a:lnTo>
                    <a:pt x="247" y="282"/>
                  </a:lnTo>
                  <a:lnTo>
                    <a:pt x="245" y="283"/>
                  </a:lnTo>
                  <a:lnTo>
                    <a:pt x="244" y="283"/>
                  </a:lnTo>
                  <a:lnTo>
                    <a:pt x="243" y="284"/>
                  </a:lnTo>
                  <a:lnTo>
                    <a:pt x="242" y="285"/>
                  </a:lnTo>
                  <a:lnTo>
                    <a:pt x="239" y="288"/>
                  </a:lnTo>
                  <a:lnTo>
                    <a:pt x="238" y="286"/>
                  </a:lnTo>
                  <a:lnTo>
                    <a:pt x="237" y="288"/>
                  </a:lnTo>
                  <a:lnTo>
                    <a:pt x="235" y="288"/>
                  </a:lnTo>
                  <a:lnTo>
                    <a:pt x="233" y="290"/>
                  </a:lnTo>
                  <a:lnTo>
                    <a:pt x="233" y="289"/>
                  </a:lnTo>
                  <a:lnTo>
                    <a:pt x="233" y="288"/>
                  </a:lnTo>
                  <a:lnTo>
                    <a:pt x="235" y="285"/>
                  </a:lnTo>
                  <a:lnTo>
                    <a:pt x="235" y="284"/>
                  </a:lnTo>
                  <a:lnTo>
                    <a:pt x="235" y="282"/>
                  </a:lnTo>
                  <a:lnTo>
                    <a:pt x="236" y="279"/>
                  </a:lnTo>
                  <a:lnTo>
                    <a:pt x="235" y="277"/>
                  </a:lnTo>
                  <a:lnTo>
                    <a:pt x="235" y="274"/>
                  </a:lnTo>
                  <a:lnTo>
                    <a:pt x="233" y="276"/>
                  </a:lnTo>
                  <a:lnTo>
                    <a:pt x="235" y="277"/>
                  </a:lnTo>
                  <a:lnTo>
                    <a:pt x="235" y="278"/>
                  </a:lnTo>
                  <a:lnTo>
                    <a:pt x="233" y="277"/>
                  </a:lnTo>
                  <a:lnTo>
                    <a:pt x="232" y="278"/>
                  </a:lnTo>
                  <a:lnTo>
                    <a:pt x="233" y="279"/>
                  </a:lnTo>
                  <a:lnTo>
                    <a:pt x="232" y="280"/>
                  </a:lnTo>
                  <a:lnTo>
                    <a:pt x="231" y="280"/>
                  </a:lnTo>
                  <a:lnTo>
                    <a:pt x="231" y="279"/>
                  </a:lnTo>
                  <a:lnTo>
                    <a:pt x="231" y="277"/>
                  </a:lnTo>
                  <a:lnTo>
                    <a:pt x="231" y="276"/>
                  </a:lnTo>
                  <a:lnTo>
                    <a:pt x="229" y="276"/>
                  </a:lnTo>
                  <a:lnTo>
                    <a:pt x="229" y="278"/>
                  </a:lnTo>
                  <a:lnTo>
                    <a:pt x="229" y="280"/>
                  </a:lnTo>
                  <a:lnTo>
                    <a:pt x="227" y="282"/>
                  </a:lnTo>
                  <a:lnTo>
                    <a:pt x="226" y="282"/>
                  </a:lnTo>
                  <a:lnTo>
                    <a:pt x="225" y="280"/>
                  </a:lnTo>
                  <a:lnTo>
                    <a:pt x="225" y="282"/>
                  </a:lnTo>
                  <a:lnTo>
                    <a:pt x="225" y="283"/>
                  </a:lnTo>
                  <a:lnTo>
                    <a:pt x="224" y="284"/>
                  </a:lnTo>
                  <a:lnTo>
                    <a:pt x="223" y="283"/>
                  </a:lnTo>
                  <a:lnTo>
                    <a:pt x="223" y="284"/>
                  </a:lnTo>
                  <a:lnTo>
                    <a:pt x="221" y="284"/>
                  </a:lnTo>
                  <a:lnTo>
                    <a:pt x="220" y="283"/>
                  </a:lnTo>
                  <a:lnTo>
                    <a:pt x="219" y="282"/>
                  </a:lnTo>
                  <a:lnTo>
                    <a:pt x="220" y="284"/>
                  </a:lnTo>
                  <a:lnTo>
                    <a:pt x="220" y="288"/>
                  </a:lnTo>
                  <a:lnTo>
                    <a:pt x="219" y="289"/>
                  </a:lnTo>
                  <a:lnTo>
                    <a:pt x="218" y="286"/>
                  </a:lnTo>
                  <a:lnTo>
                    <a:pt x="218" y="285"/>
                  </a:lnTo>
                  <a:lnTo>
                    <a:pt x="218" y="283"/>
                  </a:lnTo>
                  <a:lnTo>
                    <a:pt x="216" y="282"/>
                  </a:lnTo>
                  <a:lnTo>
                    <a:pt x="218" y="285"/>
                  </a:lnTo>
                  <a:lnTo>
                    <a:pt x="218" y="288"/>
                  </a:lnTo>
                  <a:lnTo>
                    <a:pt x="218" y="289"/>
                  </a:lnTo>
                  <a:lnTo>
                    <a:pt x="216" y="289"/>
                  </a:lnTo>
                  <a:lnTo>
                    <a:pt x="216" y="288"/>
                  </a:lnTo>
                  <a:lnTo>
                    <a:pt x="215" y="289"/>
                  </a:lnTo>
                  <a:lnTo>
                    <a:pt x="215" y="290"/>
                  </a:lnTo>
                  <a:lnTo>
                    <a:pt x="214" y="292"/>
                  </a:lnTo>
                  <a:lnTo>
                    <a:pt x="213" y="292"/>
                  </a:lnTo>
                  <a:lnTo>
                    <a:pt x="213" y="289"/>
                  </a:lnTo>
                  <a:lnTo>
                    <a:pt x="213" y="288"/>
                  </a:lnTo>
                  <a:lnTo>
                    <a:pt x="210" y="288"/>
                  </a:lnTo>
                  <a:lnTo>
                    <a:pt x="209" y="286"/>
                  </a:lnTo>
                  <a:lnTo>
                    <a:pt x="208" y="285"/>
                  </a:lnTo>
                  <a:lnTo>
                    <a:pt x="210" y="283"/>
                  </a:lnTo>
                  <a:lnTo>
                    <a:pt x="213" y="280"/>
                  </a:lnTo>
                  <a:lnTo>
                    <a:pt x="213" y="279"/>
                  </a:lnTo>
                  <a:lnTo>
                    <a:pt x="210" y="279"/>
                  </a:lnTo>
                  <a:lnTo>
                    <a:pt x="210" y="282"/>
                  </a:lnTo>
                  <a:lnTo>
                    <a:pt x="208" y="280"/>
                  </a:lnTo>
                  <a:lnTo>
                    <a:pt x="207" y="279"/>
                  </a:lnTo>
                  <a:lnTo>
                    <a:pt x="207" y="278"/>
                  </a:lnTo>
                  <a:lnTo>
                    <a:pt x="207" y="277"/>
                  </a:lnTo>
                  <a:lnTo>
                    <a:pt x="206" y="278"/>
                  </a:lnTo>
                  <a:lnTo>
                    <a:pt x="204" y="279"/>
                  </a:lnTo>
                  <a:lnTo>
                    <a:pt x="203" y="278"/>
                  </a:lnTo>
                  <a:lnTo>
                    <a:pt x="203" y="277"/>
                  </a:lnTo>
                  <a:lnTo>
                    <a:pt x="202" y="276"/>
                  </a:lnTo>
                  <a:lnTo>
                    <a:pt x="202" y="274"/>
                  </a:lnTo>
                  <a:lnTo>
                    <a:pt x="202" y="272"/>
                  </a:lnTo>
                  <a:lnTo>
                    <a:pt x="200" y="273"/>
                  </a:lnTo>
                  <a:lnTo>
                    <a:pt x="198" y="272"/>
                  </a:lnTo>
                  <a:lnTo>
                    <a:pt x="200" y="266"/>
                  </a:lnTo>
                  <a:lnTo>
                    <a:pt x="198" y="262"/>
                  </a:lnTo>
                  <a:lnTo>
                    <a:pt x="198" y="265"/>
                  </a:lnTo>
                  <a:lnTo>
                    <a:pt x="197" y="264"/>
                  </a:lnTo>
                  <a:lnTo>
                    <a:pt x="197" y="261"/>
                  </a:lnTo>
                  <a:lnTo>
                    <a:pt x="230" y="219"/>
                  </a:lnTo>
                  <a:lnTo>
                    <a:pt x="196" y="261"/>
                  </a:lnTo>
                  <a:lnTo>
                    <a:pt x="229" y="218"/>
                  </a:lnTo>
                  <a:lnTo>
                    <a:pt x="226" y="218"/>
                  </a:lnTo>
                  <a:lnTo>
                    <a:pt x="219" y="224"/>
                  </a:lnTo>
                  <a:lnTo>
                    <a:pt x="218" y="225"/>
                  </a:lnTo>
                  <a:lnTo>
                    <a:pt x="218" y="229"/>
                  </a:lnTo>
                  <a:lnTo>
                    <a:pt x="218" y="230"/>
                  </a:lnTo>
                  <a:lnTo>
                    <a:pt x="218" y="229"/>
                  </a:lnTo>
                  <a:lnTo>
                    <a:pt x="216" y="230"/>
                  </a:lnTo>
                  <a:lnTo>
                    <a:pt x="216" y="229"/>
                  </a:lnTo>
                  <a:lnTo>
                    <a:pt x="215" y="226"/>
                  </a:lnTo>
                  <a:lnTo>
                    <a:pt x="216" y="225"/>
                  </a:lnTo>
                  <a:lnTo>
                    <a:pt x="223" y="218"/>
                  </a:lnTo>
                  <a:lnTo>
                    <a:pt x="221" y="217"/>
                  </a:lnTo>
                  <a:lnTo>
                    <a:pt x="220" y="215"/>
                  </a:lnTo>
                  <a:lnTo>
                    <a:pt x="220" y="214"/>
                  </a:lnTo>
                  <a:lnTo>
                    <a:pt x="221" y="212"/>
                  </a:lnTo>
                  <a:lnTo>
                    <a:pt x="220" y="209"/>
                  </a:lnTo>
                  <a:lnTo>
                    <a:pt x="219" y="207"/>
                  </a:lnTo>
                  <a:lnTo>
                    <a:pt x="219" y="209"/>
                  </a:lnTo>
                  <a:lnTo>
                    <a:pt x="215" y="209"/>
                  </a:lnTo>
                  <a:lnTo>
                    <a:pt x="214" y="211"/>
                  </a:lnTo>
                  <a:lnTo>
                    <a:pt x="213" y="209"/>
                  </a:lnTo>
                  <a:lnTo>
                    <a:pt x="213" y="208"/>
                  </a:lnTo>
                  <a:lnTo>
                    <a:pt x="212" y="208"/>
                  </a:lnTo>
                  <a:lnTo>
                    <a:pt x="212" y="213"/>
                  </a:lnTo>
                  <a:lnTo>
                    <a:pt x="213" y="214"/>
                  </a:lnTo>
                  <a:lnTo>
                    <a:pt x="212" y="214"/>
                  </a:lnTo>
                  <a:lnTo>
                    <a:pt x="209" y="214"/>
                  </a:lnTo>
                  <a:lnTo>
                    <a:pt x="209" y="213"/>
                  </a:lnTo>
                  <a:lnTo>
                    <a:pt x="210" y="209"/>
                  </a:lnTo>
                  <a:lnTo>
                    <a:pt x="210" y="206"/>
                  </a:lnTo>
                  <a:lnTo>
                    <a:pt x="209" y="205"/>
                  </a:lnTo>
                  <a:lnTo>
                    <a:pt x="208" y="205"/>
                  </a:lnTo>
                  <a:lnTo>
                    <a:pt x="208" y="202"/>
                  </a:lnTo>
                  <a:lnTo>
                    <a:pt x="206" y="202"/>
                  </a:lnTo>
                  <a:lnTo>
                    <a:pt x="207" y="201"/>
                  </a:lnTo>
                  <a:lnTo>
                    <a:pt x="207" y="199"/>
                  </a:lnTo>
                  <a:lnTo>
                    <a:pt x="206" y="199"/>
                  </a:lnTo>
                  <a:lnTo>
                    <a:pt x="204" y="200"/>
                  </a:lnTo>
                  <a:lnTo>
                    <a:pt x="202" y="200"/>
                  </a:lnTo>
                  <a:lnTo>
                    <a:pt x="201" y="199"/>
                  </a:lnTo>
                  <a:lnTo>
                    <a:pt x="200" y="197"/>
                  </a:lnTo>
                  <a:lnTo>
                    <a:pt x="201" y="195"/>
                  </a:lnTo>
                  <a:lnTo>
                    <a:pt x="201" y="193"/>
                  </a:lnTo>
                  <a:lnTo>
                    <a:pt x="200" y="193"/>
                  </a:lnTo>
                  <a:lnTo>
                    <a:pt x="197" y="194"/>
                  </a:lnTo>
                  <a:lnTo>
                    <a:pt x="197" y="193"/>
                  </a:lnTo>
                  <a:lnTo>
                    <a:pt x="200" y="191"/>
                  </a:lnTo>
                  <a:lnTo>
                    <a:pt x="200" y="189"/>
                  </a:lnTo>
                  <a:lnTo>
                    <a:pt x="201" y="189"/>
                  </a:lnTo>
                  <a:lnTo>
                    <a:pt x="203" y="189"/>
                  </a:lnTo>
                  <a:lnTo>
                    <a:pt x="204" y="188"/>
                  </a:lnTo>
                  <a:lnTo>
                    <a:pt x="203" y="187"/>
                  </a:lnTo>
                  <a:lnTo>
                    <a:pt x="201" y="187"/>
                  </a:lnTo>
                  <a:lnTo>
                    <a:pt x="200" y="187"/>
                  </a:lnTo>
                  <a:lnTo>
                    <a:pt x="200" y="188"/>
                  </a:lnTo>
                  <a:lnTo>
                    <a:pt x="198" y="189"/>
                  </a:lnTo>
                  <a:lnTo>
                    <a:pt x="198" y="190"/>
                  </a:lnTo>
                  <a:lnTo>
                    <a:pt x="197" y="191"/>
                  </a:lnTo>
                  <a:lnTo>
                    <a:pt x="197" y="190"/>
                  </a:lnTo>
                  <a:lnTo>
                    <a:pt x="196" y="191"/>
                  </a:lnTo>
                  <a:lnTo>
                    <a:pt x="195" y="190"/>
                  </a:lnTo>
                  <a:lnTo>
                    <a:pt x="196" y="189"/>
                  </a:lnTo>
                  <a:lnTo>
                    <a:pt x="196" y="188"/>
                  </a:lnTo>
                  <a:lnTo>
                    <a:pt x="195" y="187"/>
                  </a:lnTo>
                  <a:lnTo>
                    <a:pt x="195" y="188"/>
                  </a:lnTo>
                  <a:lnTo>
                    <a:pt x="194" y="188"/>
                  </a:lnTo>
                  <a:lnTo>
                    <a:pt x="192" y="187"/>
                  </a:lnTo>
                  <a:lnTo>
                    <a:pt x="192" y="185"/>
                  </a:lnTo>
                  <a:lnTo>
                    <a:pt x="194" y="185"/>
                  </a:lnTo>
                  <a:lnTo>
                    <a:pt x="195" y="185"/>
                  </a:lnTo>
                  <a:lnTo>
                    <a:pt x="196" y="185"/>
                  </a:lnTo>
                  <a:lnTo>
                    <a:pt x="197" y="184"/>
                  </a:lnTo>
                  <a:lnTo>
                    <a:pt x="198" y="183"/>
                  </a:lnTo>
                  <a:lnTo>
                    <a:pt x="196" y="183"/>
                  </a:lnTo>
                  <a:lnTo>
                    <a:pt x="195" y="182"/>
                  </a:lnTo>
                  <a:lnTo>
                    <a:pt x="198" y="182"/>
                  </a:lnTo>
                  <a:lnTo>
                    <a:pt x="198" y="181"/>
                  </a:lnTo>
                  <a:lnTo>
                    <a:pt x="195" y="181"/>
                  </a:lnTo>
                  <a:lnTo>
                    <a:pt x="194" y="181"/>
                  </a:lnTo>
                  <a:lnTo>
                    <a:pt x="191" y="181"/>
                  </a:lnTo>
                  <a:lnTo>
                    <a:pt x="191" y="179"/>
                  </a:lnTo>
                  <a:lnTo>
                    <a:pt x="190" y="179"/>
                  </a:lnTo>
                  <a:lnTo>
                    <a:pt x="189" y="181"/>
                  </a:lnTo>
                  <a:lnTo>
                    <a:pt x="189" y="179"/>
                  </a:lnTo>
                  <a:lnTo>
                    <a:pt x="190" y="178"/>
                  </a:lnTo>
                  <a:lnTo>
                    <a:pt x="189" y="178"/>
                  </a:lnTo>
                  <a:lnTo>
                    <a:pt x="189" y="177"/>
                  </a:lnTo>
                  <a:lnTo>
                    <a:pt x="188" y="178"/>
                  </a:lnTo>
                  <a:lnTo>
                    <a:pt x="185" y="178"/>
                  </a:lnTo>
                  <a:lnTo>
                    <a:pt x="184" y="178"/>
                  </a:lnTo>
                  <a:lnTo>
                    <a:pt x="188" y="177"/>
                  </a:lnTo>
                  <a:lnTo>
                    <a:pt x="188" y="176"/>
                  </a:lnTo>
                  <a:lnTo>
                    <a:pt x="184" y="176"/>
                  </a:lnTo>
                  <a:lnTo>
                    <a:pt x="183" y="175"/>
                  </a:lnTo>
                  <a:lnTo>
                    <a:pt x="188" y="175"/>
                  </a:lnTo>
                  <a:lnTo>
                    <a:pt x="189" y="175"/>
                  </a:lnTo>
                  <a:lnTo>
                    <a:pt x="190" y="175"/>
                  </a:lnTo>
                  <a:lnTo>
                    <a:pt x="190" y="173"/>
                  </a:lnTo>
                  <a:lnTo>
                    <a:pt x="191" y="172"/>
                  </a:lnTo>
                  <a:lnTo>
                    <a:pt x="191" y="176"/>
                  </a:lnTo>
                  <a:lnTo>
                    <a:pt x="192" y="176"/>
                  </a:lnTo>
                  <a:lnTo>
                    <a:pt x="194" y="176"/>
                  </a:lnTo>
                  <a:lnTo>
                    <a:pt x="194" y="177"/>
                  </a:lnTo>
                  <a:lnTo>
                    <a:pt x="195" y="178"/>
                  </a:lnTo>
                  <a:lnTo>
                    <a:pt x="196" y="178"/>
                  </a:lnTo>
                  <a:lnTo>
                    <a:pt x="197" y="177"/>
                  </a:lnTo>
                  <a:lnTo>
                    <a:pt x="197" y="176"/>
                  </a:lnTo>
                  <a:lnTo>
                    <a:pt x="198" y="176"/>
                  </a:lnTo>
                  <a:lnTo>
                    <a:pt x="198" y="177"/>
                  </a:lnTo>
                  <a:lnTo>
                    <a:pt x="200" y="178"/>
                  </a:lnTo>
                  <a:lnTo>
                    <a:pt x="200" y="179"/>
                  </a:lnTo>
                  <a:lnTo>
                    <a:pt x="200" y="181"/>
                  </a:lnTo>
                  <a:lnTo>
                    <a:pt x="201" y="181"/>
                  </a:lnTo>
                  <a:lnTo>
                    <a:pt x="201" y="182"/>
                  </a:lnTo>
                  <a:lnTo>
                    <a:pt x="202" y="181"/>
                  </a:lnTo>
                  <a:lnTo>
                    <a:pt x="202" y="179"/>
                  </a:lnTo>
                  <a:lnTo>
                    <a:pt x="203" y="178"/>
                  </a:lnTo>
                  <a:lnTo>
                    <a:pt x="204" y="178"/>
                  </a:lnTo>
                  <a:lnTo>
                    <a:pt x="206" y="179"/>
                  </a:lnTo>
                  <a:lnTo>
                    <a:pt x="207" y="178"/>
                  </a:lnTo>
                  <a:lnTo>
                    <a:pt x="207" y="177"/>
                  </a:lnTo>
                  <a:lnTo>
                    <a:pt x="206" y="177"/>
                  </a:lnTo>
                  <a:lnTo>
                    <a:pt x="204" y="177"/>
                  </a:lnTo>
                  <a:lnTo>
                    <a:pt x="203" y="176"/>
                  </a:lnTo>
                  <a:lnTo>
                    <a:pt x="203" y="175"/>
                  </a:lnTo>
                  <a:lnTo>
                    <a:pt x="202" y="175"/>
                  </a:lnTo>
                  <a:lnTo>
                    <a:pt x="201" y="175"/>
                  </a:lnTo>
                  <a:lnTo>
                    <a:pt x="200" y="175"/>
                  </a:lnTo>
                  <a:lnTo>
                    <a:pt x="200" y="173"/>
                  </a:lnTo>
                  <a:lnTo>
                    <a:pt x="200" y="172"/>
                  </a:lnTo>
                  <a:lnTo>
                    <a:pt x="198" y="173"/>
                  </a:lnTo>
                  <a:lnTo>
                    <a:pt x="197" y="173"/>
                  </a:lnTo>
                  <a:lnTo>
                    <a:pt x="198" y="173"/>
                  </a:lnTo>
                  <a:lnTo>
                    <a:pt x="198" y="175"/>
                  </a:lnTo>
                  <a:lnTo>
                    <a:pt x="197" y="175"/>
                  </a:lnTo>
                  <a:lnTo>
                    <a:pt x="196" y="173"/>
                  </a:lnTo>
                  <a:lnTo>
                    <a:pt x="195" y="173"/>
                  </a:lnTo>
                  <a:lnTo>
                    <a:pt x="195" y="175"/>
                  </a:lnTo>
                  <a:lnTo>
                    <a:pt x="195" y="173"/>
                  </a:lnTo>
                  <a:lnTo>
                    <a:pt x="197" y="172"/>
                  </a:lnTo>
                  <a:lnTo>
                    <a:pt x="197" y="171"/>
                  </a:lnTo>
                  <a:lnTo>
                    <a:pt x="195" y="171"/>
                  </a:lnTo>
                  <a:lnTo>
                    <a:pt x="194" y="171"/>
                  </a:lnTo>
                  <a:lnTo>
                    <a:pt x="194" y="170"/>
                  </a:lnTo>
                  <a:lnTo>
                    <a:pt x="192" y="170"/>
                  </a:lnTo>
                  <a:lnTo>
                    <a:pt x="196" y="170"/>
                  </a:lnTo>
                  <a:lnTo>
                    <a:pt x="198" y="171"/>
                  </a:lnTo>
                  <a:lnTo>
                    <a:pt x="202" y="171"/>
                  </a:lnTo>
                  <a:lnTo>
                    <a:pt x="204" y="173"/>
                  </a:lnTo>
                  <a:lnTo>
                    <a:pt x="204" y="175"/>
                  </a:lnTo>
                  <a:lnTo>
                    <a:pt x="206" y="176"/>
                  </a:lnTo>
                  <a:lnTo>
                    <a:pt x="207" y="176"/>
                  </a:lnTo>
                  <a:lnTo>
                    <a:pt x="208" y="175"/>
                  </a:lnTo>
                  <a:lnTo>
                    <a:pt x="208" y="173"/>
                  </a:lnTo>
                  <a:lnTo>
                    <a:pt x="206" y="173"/>
                  </a:lnTo>
                  <a:lnTo>
                    <a:pt x="209" y="173"/>
                  </a:lnTo>
                  <a:lnTo>
                    <a:pt x="209" y="171"/>
                  </a:lnTo>
                  <a:lnTo>
                    <a:pt x="210" y="171"/>
                  </a:lnTo>
                  <a:lnTo>
                    <a:pt x="210" y="173"/>
                  </a:lnTo>
                  <a:lnTo>
                    <a:pt x="210" y="175"/>
                  </a:lnTo>
                  <a:lnTo>
                    <a:pt x="210" y="176"/>
                  </a:lnTo>
                  <a:lnTo>
                    <a:pt x="213" y="178"/>
                  </a:lnTo>
                  <a:lnTo>
                    <a:pt x="214" y="179"/>
                  </a:lnTo>
                  <a:lnTo>
                    <a:pt x="216" y="179"/>
                  </a:lnTo>
                  <a:lnTo>
                    <a:pt x="218" y="179"/>
                  </a:lnTo>
                  <a:lnTo>
                    <a:pt x="219" y="179"/>
                  </a:lnTo>
                  <a:lnTo>
                    <a:pt x="219" y="177"/>
                  </a:lnTo>
                  <a:lnTo>
                    <a:pt x="220" y="178"/>
                  </a:lnTo>
                  <a:lnTo>
                    <a:pt x="221" y="178"/>
                  </a:lnTo>
                  <a:lnTo>
                    <a:pt x="221" y="177"/>
                  </a:lnTo>
                  <a:lnTo>
                    <a:pt x="221" y="176"/>
                  </a:lnTo>
                  <a:lnTo>
                    <a:pt x="223" y="177"/>
                  </a:lnTo>
                  <a:lnTo>
                    <a:pt x="224" y="177"/>
                  </a:lnTo>
                  <a:lnTo>
                    <a:pt x="225" y="176"/>
                  </a:lnTo>
                  <a:lnTo>
                    <a:pt x="226" y="173"/>
                  </a:lnTo>
                  <a:lnTo>
                    <a:pt x="225" y="173"/>
                  </a:lnTo>
                  <a:lnTo>
                    <a:pt x="224" y="173"/>
                  </a:lnTo>
                  <a:lnTo>
                    <a:pt x="223" y="173"/>
                  </a:lnTo>
                  <a:lnTo>
                    <a:pt x="223" y="172"/>
                  </a:lnTo>
                  <a:lnTo>
                    <a:pt x="221" y="171"/>
                  </a:lnTo>
                  <a:lnTo>
                    <a:pt x="220" y="170"/>
                  </a:lnTo>
                  <a:lnTo>
                    <a:pt x="219" y="170"/>
                  </a:lnTo>
                  <a:lnTo>
                    <a:pt x="218" y="170"/>
                  </a:lnTo>
                  <a:lnTo>
                    <a:pt x="216" y="170"/>
                  </a:lnTo>
                  <a:lnTo>
                    <a:pt x="216" y="169"/>
                  </a:lnTo>
                  <a:lnTo>
                    <a:pt x="216" y="167"/>
                  </a:lnTo>
                  <a:lnTo>
                    <a:pt x="215" y="167"/>
                  </a:lnTo>
                  <a:lnTo>
                    <a:pt x="213" y="169"/>
                  </a:lnTo>
                  <a:lnTo>
                    <a:pt x="212" y="169"/>
                  </a:lnTo>
                  <a:lnTo>
                    <a:pt x="212" y="167"/>
                  </a:lnTo>
                  <a:lnTo>
                    <a:pt x="214" y="166"/>
                  </a:lnTo>
                  <a:lnTo>
                    <a:pt x="215" y="166"/>
                  </a:lnTo>
                  <a:lnTo>
                    <a:pt x="215" y="165"/>
                  </a:lnTo>
                  <a:lnTo>
                    <a:pt x="214" y="165"/>
                  </a:lnTo>
                  <a:lnTo>
                    <a:pt x="215" y="165"/>
                  </a:lnTo>
                  <a:lnTo>
                    <a:pt x="216" y="165"/>
                  </a:lnTo>
                  <a:lnTo>
                    <a:pt x="215" y="164"/>
                  </a:lnTo>
                  <a:lnTo>
                    <a:pt x="214" y="161"/>
                  </a:lnTo>
                  <a:lnTo>
                    <a:pt x="215" y="161"/>
                  </a:lnTo>
                  <a:lnTo>
                    <a:pt x="216" y="164"/>
                  </a:lnTo>
                  <a:lnTo>
                    <a:pt x="218" y="164"/>
                  </a:lnTo>
                  <a:lnTo>
                    <a:pt x="220" y="164"/>
                  </a:lnTo>
                  <a:lnTo>
                    <a:pt x="220" y="165"/>
                  </a:lnTo>
                  <a:lnTo>
                    <a:pt x="221" y="165"/>
                  </a:lnTo>
                  <a:lnTo>
                    <a:pt x="221" y="166"/>
                  </a:lnTo>
                  <a:lnTo>
                    <a:pt x="223" y="167"/>
                  </a:lnTo>
                  <a:lnTo>
                    <a:pt x="225" y="167"/>
                  </a:lnTo>
                  <a:lnTo>
                    <a:pt x="226" y="166"/>
                  </a:lnTo>
                  <a:lnTo>
                    <a:pt x="227" y="169"/>
                  </a:lnTo>
                  <a:lnTo>
                    <a:pt x="230" y="169"/>
                  </a:lnTo>
                  <a:lnTo>
                    <a:pt x="230" y="167"/>
                  </a:lnTo>
                  <a:lnTo>
                    <a:pt x="231" y="167"/>
                  </a:lnTo>
                  <a:lnTo>
                    <a:pt x="231" y="170"/>
                  </a:lnTo>
                  <a:lnTo>
                    <a:pt x="232" y="171"/>
                  </a:lnTo>
                  <a:lnTo>
                    <a:pt x="235" y="171"/>
                  </a:lnTo>
                  <a:lnTo>
                    <a:pt x="237" y="170"/>
                  </a:lnTo>
                  <a:lnTo>
                    <a:pt x="238" y="169"/>
                  </a:lnTo>
                  <a:lnTo>
                    <a:pt x="241" y="167"/>
                  </a:lnTo>
                  <a:lnTo>
                    <a:pt x="242" y="165"/>
                  </a:lnTo>
                  <a:lnTo>
                    <a:pt x="242" y="164"/>
                  </a:lnTo>
                  <a:lnTo>
                    <a:pt x="242" y="163"/>
                  </a:lnTo>
                  <a:lnTo>
                    <a:pt x="241" y="163"/>
                  </a:lnTo>
                  <a:lnTo>
                    <a:pt x="243" y="163"/>
                  </a:lnTo>
                  <a:lnTo>
                    <a:pt x="243" y="161"/>
                  </a:lnTo>
                  <a:lnTo>
                    <a:pt x="243" y="160"/>
                  </a:lnTo>
                  <a:lnTo>
                    <a:pt x="241" y="160"/>
                  </a:lnTo>
                  <a:lnTo>
                    <a:pt x="239" y="160"/>
                  </a:lnTo>
                  <a:lnTo>
                    <a:pt x="241" y="160"/>
                  </a:lnTo>
                  <a:lnTo>
                    <a:pt x="241" y="159"/>
                  </a:lnTo>
                  <a:lnTo>
                    <a:pt x="244" y="159"/>
                  </a:lnTo>
                  <a:lnTo>
                    <a:pt x="244" y="158"/>
                  </a:lnTo>
                  <a:lnTo>
                    <a:pt x="244" y="155"/>
                  </a:lnTo>
                  <a:lnTo>
                    <a:pt x="243" y="155"/>
                  </a:lnTo>
                  <a:lnTo>
                    <a:pt x="242" y="155"/>
                  </a:lnTo>
                  <a:lnTo>
                    <a:pt x="242" y="158"/>
                  </a:lnTo>
                  <a:lnTo>
                    <a:pt x="241" y="158"/>
                  </a:lnTo>
                  <a:lnTo>
                    <a:pt x="241" y="157"/>
                  </a:lnTo>
                  <a:lnTo>
                    <a:pt x="239" y="155"/>
                  </a:lnTo>
                  <a:lnTo>
                    <a:pt x="238" y="157"/>
                  </a:lnTo>
                  <a:lnTo>
                    <a:pt x="238" y="155"/>
                  </a:lnTo>
                  <a:lnTo>
                    <a:pt x="238" y="154"/>
                  </a:lnTo>
                  <a:lnTo>
                    <a:pt x="237" y="154"/>
                  </a:lnTo>
                  <a:lnTo>
                    <a:pt x="237" y="155"/>
                  </a:lnTo>
                  <a:lnTo>
                    <a:pt x="237" y="157"/>
                  </a:lnTo>
                  <a:lnTo>
                    <a:pt x="236" y="155"/>
                  </a:lnTo>
                  <a:lnTo>
                    <a:pt x="235" y="154"/>
                  </a:lnTo>
                  <a:lnTo>
                    <a:pt x="235" y="155"/>
                  </a:lnTo>
                  <a:lnTo>
                    <a:pt x="233" y="155"/>
                  </a:lnTo>
                  <a:lnTo>
                    <a:pt x="233" y="154"/>
                  </a:lnTo>
                  <a:lnTo>
                    <a:pt x="232" y="154"/>
                  </a:lnTo>
                  <a:lnTo>
                    <a:pt x="231" y="151"/>
                  </a:lnTo>
                  <a:lnTo>
                    <a:pt x="231" y="152"/>
                  </a:lnTo>
                  <a:lnTo>
                    <a:pt x="231" y="153"/>
                  </a:lnTo>
                  <a:lnTo>
                    <a:pt x="230" y="153"/>
                  </a:lnTo>
                  <a:lnTo>
                    <a:pt x="229" y="153"/>
                  </a:lnTo>
                  <a:lnTo>
                    <a:pt x="229" y="152"/>
                  </a:lnTo>
                  <a:lnTo>
                    <a:pt x="227" y="152"/>
                  </a:lnTo>
                  <a:lnTo>
                    <a:pt x="226" y="151"/>
                  </a:lnTo>
                  <a:lnTo>
                    <a:pt x="225" y="149"/>
                  </a:lnTo>
                  <a:lnTo>
                    <a:pt x="225" y="148"/>
                  </a:lnTo>
                  <a:lnTo>
                    <a:pt x="224" y="147"/>
                  </a:lnTo>
                  <a:lnTo>
                    <a:pt x="223" y="147"/>
                  </a:lnTo>
                  <a:lnTo>
                    <a:pt x="224" y="146"/>
                  </a:lnTo>
                  <a:lnTo>
                    <a:pt x="224" y="145"/>
                  </a:lnTo>
                  <a:lnTo>
                    <a:pt x="221" y="146"/>
                  </a:lnTo>
                  <a:lnTo>
                    <a:pt x="221" y="145"/>
                  </a:lnTo>
                  <a:lnTo>
                    <a:pt x="224" y="143"/>
                  </a:lnTo>
                  <a:lnTo>
                    <a:pt x="224" y="142"/>
                  </a:lnTo>
                  <a:lnTo>
                    <a:pt x="223" y="142"/>
                  </a:lnTo>
                  <a:lnTo>
                    <a:pt x="223" y="143"/>
                  </a:lnTo>
                  <a:lnTo>
                    <a:pt x="221" y="143"/>
                  </a:lnTo>
                  <a:lnTo>
                    <a:pt x="220" y="143"/>
                  </a:lnTo>
                  <a:lnTo>
                    <a:pt x="219" y="143"/>
                  </a:lnTo>
                  <a:lnTo>
                    <a:pt x="219" y="142"/>
                  </a:lnTo>
                  <a:lnTo>
                    <a:pt x="218" y="142"/>
                  </a:lnTo>
                  <a:lnTo>
                    <a:pt x="218" y="143"/>
                  </a:lnTo>
                  <a:lnTo>
                    <a:pt x="216" y="142"/>
                  </a:lnTo>
                  <a:lnTo>
                    <a:pt x="218" y="142"/>
                  </a:lnTo>
                  <a:lnTo>
                    <a:pt x="219" y="141"/>
                  </a:lnTo>
                  <a:lnTo>
                    <a:pt x="220" y="140"/>
                  </a:lnTo>
                  <a:lnTo>
                    <a:pt x="221" y="140"/>
                  </a:lnTo>
                  <a:lnTo>
                    <a:pt x="224" y="139"/>
                  </a:lnTo>
                  <a:lnTo>
                    <a:pt x="220" y="139"/>
                  </a:lnTo>
                  <a:lnTo>
                    <a:pt x="220" y="137"/>
                  </a:lnTo>
                  <a:lnTo>
                    <a:pt x="219" y="137"/>
                  </a:lnTo>
                  <a:lnTo>
                    <a:pt x="216" y="140"/>
                  </a:lnTo>
                  <a:lnTo>
                    <a:pt x="215" y="140"/>
                  </a:lnTo>
                  <a:lnTo>
                    <a:pt x="215" y="139"/>
                  </a:lnTo>
                  <a:lnTo>
                    <a:pt x="218" y="136"/>
                  </a:lnTo>
                  <a:lnTo>
                    <a:pt x="216" y="136"/>
                  </a:lnTo>
                  <a:lnTo>
                    <a:pt x="215" y="136"/>
                  </a:lnTo>
                  <a:lnTo>
                    <a:pt x="212" y="139"/>
                  </a:lnTo>
                  <a:lnTo>
                    <a:pt x="210" y="137"/>
                  </a:lnTo>
                  <a:lnTo>
                    <a:pt x="214" y="135"/>
                  </a:lnTo>
                  <a:lnTo>
                    <a:pt x="212" y="135"/>
                  </a:lnTo>
                  <a:lnTo>
                    <a:pt x="208" y="135"/>
                  </a:lnTo>
                  <a:lnTo>
                    <a:pt x="208" y="136"/>
                  </a:lnTo>
                  <a:lnTo>
                    <a:pt x="207" y="135"/>
                  </a:lnTo>
                  <a:lnTo>
                    <a:pt x="208" y="135"/>
                  </a:lnTo>
                  <a:lnTo>
                    <a:pt x="208" y="134"/>
                  </a:lnTo>
                  <a:lnTo>
                    <a:pt x="207" y="134"/>
                  </a:lnTo>
                  <a:lnTo>
                    <a:pt x="207" y="131"/>
                  </a:lnTo>
                  <a:lnTo>
                    <a:pt x="204" y="131"/>
                  </a:lnTo>
                  <a:lnTo>
                    <a:pt x="203" y="131"/>
                  </a:lnTo>
                  <a:lnTo>
                    <a:pt x="204" y="130"/>
                  </a:lnTo>
                  <a:lnTo>
                    <a:pt x="204" y="129"/>
                  </a:lnTo>
                  <a:lnTo>
                    <a:pt x="203" y="129"/>
                  </a:lnTo>
                  <a:lnTo>
                    <a:pt x="200" y="129"/>
                  </a:lnTo>
                  <a:lnTo>
                    <a:pt x="198" y="130"/>
                  </a:lnTo>
                  <a:lnTo>
                    <a:pt x="197" y="129"/>
                  </a:lnTo>
                  <a:lnTo>
                    <a:pt x="200" y="128"/>
                  </a:lnTo>
                  <a:lnTo>
                    <a:pt x="201" y="128"/>
                  </a:lnTo>
                  <a:lnTo>
                    <a:pt x="200" y="125"/>
                  </a:lnTo>
                  <a:lnTo>
                    <a:pt x="197" y="124"/>
                  </a:lnTo>
                  <a:lnTo>
                    <a:pt x="198" y="124"/>
                  </a:lnTo>
                  <a:lnTo>
                    <a:pt x="200" y="124"/>
                  </a:lnTo>
                  <a:lnTo>
                    <a:pt x="202" y="125"/>
                  </a:lnTo>
                  <a:lnTo>
                    <a:pt x="206" y="127"/>
                  </a:lnTo>
                  <a:lnTo>
                    <a:pt x="207" y="128"/>
                  </a:lnTo>
                  <a:lnTo>
                    <a:pt x="207" y="129"/>
                  </a:lnTo>
                  <a:lnTo>
                    <a:pt x="207" y="130"/>
                  </a:lnTo>
                  <a:lnTo>
                    <a:pt x="208" y="129"/>
                  </a:lnTo>
                  <a:lnTo>
                    <a:pt x="207" y="128"/>
                  </a:lnTo>
                  <a:lnTo>
                    <a:pt x="208" y="128"/>
                  </a:lnTo>
                  <a:lnTo>
                    <a:pt x="209" y="129"/>
                  </a:lnTo>
                  <a:lnTo>
                    <a:pt x="209" y="130"/>
                  </a:lnTo>
                  <a:lnTo>
                    <a:pt x="212" y="130"/>
                  </a:lnTo>
                  <a:lnTo>
                    <a:pt x="212" y="131"/>
                  </a:lnTo>
                  <a:lnTo>
                    <a:pt x="213" y="130"/>
                  </a:lnTo>
                  <a:lnTo>
                    <a:pt x="214" y="129"/>
                  </a:lnTo>
                  <a:lnTo>
                    <a:pt x="214" y="128"/>
                  </a:lnTo>
                  <a:lnTo>
                    <a:pt x="215" y="129"/>
                  </a:lnTo>
                  <a:lnTo>
                    <a:pt x="215" y="131"/>
                  </a:lnTo>
                  <a:lnTo>
                    <a:pt x="215" y="134"/>
                  </a:lnTo>
                  <a:lnTo>
                    <a:pt x="218" y="135"/>
                  </a:lnTo>
                  <a:lnTo>
                    <a:pt x="218" y="133"/>
                  </a:lnTo>
                  <a:lnTo>
                    <a:pt x="219" y="133"/>
                  </a:lnTo>
                  <a:lnTo>
                    <a:pt x="219" y="134"/>
                  </a:lnTo>
                  <a:lnTo>
                    <a:pt x="220" y="134"/>
                  </a:lnTo>
                  <a:lnTo>
                    <a:pt x="220" y="135"/>
                  </a:lnTo>
                  <a:lnTo>
                    <a:pt x="221" y="136"/>
                  </a:lnTo>
                  <a:lnTo>
                    <a:pt x="225" y="136"/>
                  </a:lnTo>
                  <a:lnTo>
                    <a:pt x="226" y="134"/>
                  </a:lnTo>
                  <a:lnTo>
                    <a:pt x="226" y="135"/>
                  </a:lnTo>
                  <a:lnTo>
                    <a:pt x="226" y="136"/>
                  </a:lnTo>
                  <a:lnTo>
                    <a:pt x="233" y="141"/>
                  </a:lnTo>
                  <a:lnTo>
                    <a:pt x="236" y="142"/>
                  </a:lnTo>
                  <a:lnTo>
                    <a:pt x="238" y="142"/>
                  </a:lnTo>
                  <a:lnTo>
                    <a:pt x="239" y="142"/>
                  </a:lnTo>
                  <a:lnTo>
                    <a:pt x="241" y="143"/>
                  </a:lnTo>
                  <a:lnTo>
                    <a:pt x="241" y="145"/>
                  </a:lnTo>
                  <a:lnTo>
                    <a:pt x="242" y="145"/>
                  </a:lnTo>
                  <a:lnTo>
                    <a:pt x="243" y="143"/>
                  </a:lnTo>
                  <a:lnTo>
                    <a:pt x="245" y="143"/>
                  </a:lnTo>
                  <a:lnTo>
                    <a:pt x="245" y="145"/>
                  </a:lnTo>
                  <a:lnTo>
                    <a:pt x="248" y="145"/>
                  </a:lnTo>
                  <a:lnTo>
                    <a:pt x="249" y="143"/>
                  </a:lnTo>
                  <a:lnTo>
                    <a:pt x="251" y="142"/>
                  </a:lnTo>
                  <a:lnTo>
                    <a:pt x="254" y="141"/>
                  </a:lnTo>
                  <a:lnTo>
                    <a:pt x="255" y="141"/>
                  </a:lnTo>
                  <a:lnTo>
                    <a:pt x="256" y="141"/>
                  </a:lnTo>
                  <a:lnTo>
                    <a:pt x="260" y="141"/>
                  </a:lnTo>
                  <a:lnTo>
                    <a:pt x="262" y="141"/>
                  </a:lnTo>
                  <a:lnTo>
                    <a:pt x="262" y="140"/>
                  </a:lnTo>
                  <a:lnTo>
                    <a:pt x="262" y="137"/>
                  </a:lnTo>
                  <a:lnTo>
                    <a:pt x="263" y="136"/>
                  </a:lnTo>
                  <a:lnTo>
                    <a:pt x="262" y="136"/>
                  </a:lnTo>
                  <a:lnTo>
                    <a:pt x="261" y="137"/>
                  </a:lnTo>
                  <a:lnTo>
                    <a:pt x="259" y="139"/>
                  </a:lnTo>
                  <a:lnTo>
                    <a:pt x="257" y="139"/>
                  </a:lnTo>
                  <a:lnTo>
                    <a:pt x="256" y="139"/>
                  </a:lnTo>
                  <a:lnTo>
                    <a:pt x="257" y="137"/>
                  </a:lnTo>
                  <a:lnTo>
                    <a:pt x="260" y="136"/>
                  </a:lnTo>
                  <a:lnTo>
                    <a:pt x="261" y="135"/>
                  </a:lnTo>
                  <a:lnTo>
                    <a:pt x="262" y="135"/>
                  </a:lnTo>
                  <a:lnTo>
                    <a:pt x="262" y="134"/>
                  </a:lnTo>
                  <a:lnTo>
                    <a:pt x="261" y="134"/>
                  </a:lnTo>
                  <a:lnTo>
                    <a:pt x="261" y="133"/>
                  </a:lnTo>
                  <a:lnTo>
                    <a:pt x="262" y="131"/>
                  </a:lnTo>
                  <a:lnTo>
                    <a:pt x="261" y="130"/>
                  </a:lnTo>
                  <a:lnTo>
                    <a:pt x="260" y="130"/>
                  </a:lnTo>
                  <a:lnTo>
                    <a:pt x="259" y="129"/>
                  </a:lnTo>
                  <a:lnTo>
                    <a:pt x="257" y="129"/>
                  </a:lnTo>
                  <a:lnTo>
                    <a:pt x="259" y="129"/>
                  </a:lnTo>
                  <a:lnTo>
                    <a:pt x="261" y="129"/>
                  </a:lnTo>
                  <a:lnTo>
                    <a:pt x="265" y="130"/>
                  </a:lnTo>
                  <a:lnTo>
                    <a:pt x="266" y="130"/>
                  </a:lnTo>
                  <a:lnTo>
                    <a:pt x="271" y="125"/>
                  </a:lnTo>
                  <a:lnTo>
                    <a:pt x="272" y="127"/>
                  </a:lnTo>
                  <a:lnTo>
                    <a:pt x="273" y="125"/>
                  </a:lnTo>
                  <a:lnTo>
                    <a:pt x="273" y="124"/>
                  </a:lnTo>
                  <a:lnTo>
                    <a:pt x="274" y="123"/>
                  </a:lnTo>
                  <a:lnTo>
                    <a:pt x="277" y="123"/>
                  </a:lnTo>
                  <a:lnTo>
                    <a:pt x="277" y="122"/>
                  </a:lnTo>
                  <a:lnTo>
                    <a:pt x="278" y="122"/>
                  </a:lnTo>
                  <a:lnTo>
                    <a:pt x="279" y="120"/>
                  </a:lnTo>
                  <a:lnTo>
                    <a:pt x="279" y="119"/>
                  </a:lnTo>
                  <a:lnTo>
                    <a:pt x="279" y="117"/>
                  </a:lnTo>
                  <a:lnTo>
                    <a:pt x="279" y="116"/>
                  </a:lnTo>
                  <a:lnTo>
                    <a:pt x="278" y="116"/>
                  </a:lnTo>
                  <a:lnTo>
                    <a:pt x="279" y="114"/>
                  </a:lnTo>
                  <a:lnTo>
                    <a:pt x="279" y="113"/>
                  </a:lnTo>
                  <a:lnTo>
                    <a:pt x="277" y="112"/>
                  </a:lnTo>
                  <a:lnTo>
                    <a:pt x="277" y="111"/>
                  </a:lnTo>
                  <a:lnTo>
                    <a:pt x="275" y="112"/>
                  </a:lnTo>
                  <a:lnTo>
                    <a:pt x="275" y="113"/>
                  </a:lnTo>
                  <a:lnTo>
                    <a:pt x="274" y="113"/>
                  </a:lnTo>
                  <a:lnTo>
                    <a:pt x="273" y="114"/>
                  </a:lnTo>
                  <a:lnTo>
                    <a:pt x="272" y="114"/>
                  </a:lnTo>
                  <a:lnTo>
                    <a:pt x="272" y="117"/>
                  </a:lnTo>
                  <a:lnTo>
                    <a:pt x="271" y="116"/>
                  </a:lnTo>
                  <a:lnTo>
                    <a:pt x="271" y="114"/>
                  </a:lnTo>
                  <a:lnTo>
                    <a:pt x="271" y="113"/>
                  </a:lnTo>
                  <a:lnTo>
                    <a:pt x="269" y="113"/>
                  </a:lnTo>
                  <a:lnTo>
                    <a:pt x="267" y="117"/>
                  </a:lnTo>
                  <a:lnTo>
                    <a:pt x="266" y="117"/>
                  </a:lnTo>
                  <a:lnTo>
                    <a:pt x="266" y="116"/>
                  </a:lnTo>
                  <a:lnTo>
                    <a:pt x="269" y="113"/>
                  </a:lnTo>
                  <a:lnTo>
                    <a:pt x="269" y="112"/>
                  </a:lnTo>
                  <a:lnTo>
                    <a:pt x="268" y="112"/>
                  </a:lnTo>
                  <a:lnTo>
                    <a:pt x="267" y="112"/>
                  </a:lnTo>
                  <a:lnTo>
                    <a:pt x="266" y="112"/>
                  </a:lnTo>
                  <a:lnTo>
                    <a:pt x="266" y="113"/>
                  </a:lnTo>
                  <a:lnTo>
                    <a:pt x="265" y="113"/>
                  </a:lnTo>
                  <a:lnTo>
                    <a:pt x="263" y="112"/>
                  </a:lnTo>
                  <a:lnTo>
                    <a:pt x="263" y="111"/>
                  </a:lnTo>
                  <a:lnTo>
                    <a:pt x="263" y="110"/>
                  </a:lnTo>
                  <a:lnTo>
                    <a:pt x="263" y="108"/>
                  </a:lnTo>
                  <a:lnTo>
                    <a:pt x="261" y="108"/>
                  </a:lnTo>
                  <a:lnTo>
                    <a:pt x="262" y="108"/>
                  </a:lnTo>
                  <a:lnTo>
                    <a:pt x="262" y="107"/>
                  </a:lnTo>
                  <a:lnTo>
                    <a:pt x="261" y="107"/>
                  </a:lnTo>
                  <a:lnTo>
                    <a:pt x="261" y="106"/>
                  </a:lnTo>
                  <a:lnTo>
                    <a:pt x="262" y="105"/>
                  </a:lnTo>
                  <a:lnTo>
                    <a:pt x="263" y="105"/>
                  </a:lnTo>
                  <a:lnTo>
                    <a:pt x="263" y="106"/>
                  </a:lnTo>
                  <a:lnTo>
                    <a:pt x="265" y="106"/>
                  </a:lnTo>
                  <a:lnTo>
                    <a:pt x="265" y="105"/>
                  </a:lnTo>
                  <a:lnTo>
                    <a:pt x="263" y="102"/>
                  </a:lnTo>
                  <a:lnTo>
                    <a:pt x="262" y="101"/>
                  </a:lnTo>
                  <a:lnTo>
                    <a:pt x="261" y="100"/>
                  </a:lnTo>
                  <a:lnTo>
                    <a:pt x="260" y="102"/>
                  </a:lnTo>
                  <a:lnTo>
                    <a:pt x="259" y="102"/>
                  </a:lnTo>
                  <a:lnTo>
                    <a:pt x="259" y="101"/>
                  </a:lnTo>
                  <a:lnTo>
                    <a:pt x="260" y="101"/>
                  </a:lnTo>
                  <a:lnTo>
                    <a:pt x="260" y="100"/>
                  </a:lnTo>
                  <a:lnTo>
                    <a:pt x="259" y="100"/>
                  </a:lnTo>
                  <a:lnTo>
                    <a:pt x="259" y="95"/>
                  </a:lnTo>
                  <a:lnTo>
                    <a:pt x="257" y="95"/>
                  </a:lnTo>
                  <a:lnTo>
                    <a:pt x="257" y="96"/>
                  </a:lnTo>
                  <a:lnTo>
                    <a:pt x="256" y="98"/>
                  </a:lnTo>
                  <a:lnTo>
                    <a:pt x="255" y="100"/>
                  </a:lnTo>
                  <a:lnTo>
                    <a:pt x="253" y="99"/>
                  </a:lnTo>
                  <a:lnTo>
                    <a:pt x="254" y="99"/>
                  </a:lnTo>
                  <a:lnTo>
                    <a:pt x="254" y="98"/>
                  </a:lnTo>
                  <a:lnTo>
                    <a:pt x="253" y="96"/>
                  </a:lnTo>
                  <a:lnTo>
                    <a:pt x="254" y="96"/>
                  </a:lnTo>
                  <a:lnTo>
                    <a:pt x="255" y="96"/>
                  </a:lnTo>
                  <a:lnTo>
                    <a:pt x="256" y="95"/>
                  </a:lnTo>
                  <a:lnTo>
                    <a:pt x="255" y="95"/>
                  </a:lnTo>
                  <a:lnTo>
                    <a:pt x="254" y="95"/>
                  </a:lnTo>
                  <a:lnTo>
                    <a:pt x="253" y="94"/>
                  </a:lnTo>
                  <a:lnTo>
                    <a:pt x="256" y="94"/>
                  </a:lnTo>
                  <a:lnTo>
                    <a:pt x="257" y="94"/>
                  </a:lnTo>
                  <a:lnTo>
                    <a:pt x="259" y="93"/>
                  </a:lnTo>
                  <a:lnTo>
                    <a:pt x="256" y="92"/>
                  </a:lnTo>
                  <a:lnTo>
                    <a:pt x="254" y="93"/>
                  </a:lnTo>
                  <a:lnTo>
                    <a:pt x="253" y="92"/>
                  </a:lnTo>
                  <a:lnTo>
                    <a:pt x="255" y="90"/>
                  </a:lnTo>
                  <a:lnTo>
                    <a:pt x="254" y="90"/>
                  </a:lnTo>
                  <a:lnTo>
                    <a:pt x="250" y="92"/>
                  </a:lnTo>
                  <a:lnTo>
                    <a:pt x="249" y="92"/>
                  </a:lnTo>
                  <a:lnTo>
                    <a:pt x="249" y="90"/>
                  </a:lnTo>
                  <a:lnTo>
                    <a:pt x="251" y="89"/>
                  </a:lnTo>
                  <a:lnTo>
                    <a:pt x="251" y="88"/>
                  </a:lnTo>
                  <a:lnTo>
                    <a:pt x="250" y="88"/>
                  </a:lnTo>
                  <a:lnTo>
                    <a:pt x="249" y="88"/>
                  </a:lnTo>
                  <a:lnTo>
                    <a:pt x="250" y="88"/>
                  </a:lnTo>
                  <a:lnTo>
                    <a:pt x="249" y="87"/>
                  </a:lnTo>
                  <a:lnTo>
                    <a:pt x="248" y="88"/>
                  </a:lnTo>
                  <a:lnTo>
                    <a:pt x="245" y="88"/>
                  </a:lnTo>
                  <a:lnTo>
                    <a:pt x="244" y="88"/>
                  </a:lnTo>
                  <a:lnTo>
                    <a:pt x="243" y="89"/>
                  </a:lnTo>
                  <a:lnTo>
                    <a:pt x="242" y="88"/>
                  </a:lnTo>
                  <a:lnTo>
                    <a:pt x="242" y="87"/>
                  </a:lnTo>
                  <a:lnTo>
                    <a:pt x="242" y="86"/>
                  </a:lnTo>
                  <a:lnTo>
                    <a:pt x="243" y="86"/>
                  </a:lnTo>
                  <a:lnTo>
                    <a:pt x="244" y="86"/>
                  </a:lnTo>
                  <a:lnTo>
                    <a:pt x="247" y="86"/>
                  </a:lnTo>
                  <a:lnTo>
                    <a:pt x="247" y="84"/>
                  </a:lnTo>
                  <a:lnTo>
                    <a:pt x="244" y="83"/>
                  </a:lnTo>
                  <a:lnTo>
                    <a:pt x="243" y="84"/>
                  </a:lnTo>
                  <a:lnTo>
                    <a:pt x="242" y="84"/>
                  </a:lnTo>
                  <a:lnTo>
                    <a:pt x="241" y="86"/>
                  </a:lnTo>
                  <a:lnTo>
                    <a:pt x="239" y="84"/>
                  </a:lnTo>
                  <a:lnTo>
                    <a:pt x="241" y="83"/>
                  </a:lnTo>
                  <a:lnTo>
                    <a:pt x="241" y="82"/>
                  </a:lnTo>
                  <a:lnTo>
                    <a:pt x="239" y="83"/>
                  </a:lnTo>
                  <a:lnTo>
                    <a:pt x="237" y="83"/>
                  </a:lnTo>
                  <a:lnTo>
                    <a:pt x="237" y="84"/>
                  </a:lnTo>
                  <a:lnTo>
                    <a:pt x="236" y="83"/>
                  </a:lnTo>
                  <a:lnTo>
                    <a:pt x="237" y="83"/>
                  </a:lnTo>
                  <a:lnTo>
                    <a:pt x="238" y="82"/>
                  </a:lnTo>
                  <a:lnTo>
                    <a:pt x="237" y="81"/>
                  </a:lnTo>
                  <a:lnTo>
                    <a:pt x="236" y="82"/>
                  </a:lnTo>
                  <a:lnTo>
                    <a:pt x="235" y="82"/>
                  </a:lnTo>
                  <a:lnTo>
                    <a:pt x="233" y="82"/>
                  </a:lnTo>
                  <a:lnTo>
                    <a:pt x="232" y="82"/>
                  </a:lnTo>
                  <a:lnTo>
                    <a:pt x="231" y="83"/>
                  </a:lnTo>
                  <a:lnTo>
                    <a:pt x="230" y="82"/>
                  </a:lnTo>
                  <a:lnTo>
                    <a:pt x="232" y="81"/>
                  </a:lnTo>
                  <a:lnTo>
                    <a:pt x="233" y="81"/>
                  </a:lnTo>
                  <a:lnTo>
                    <a:pt x="226" y="76"/>
                  </a:lnTo>
                  <a:lnTo>
                    <a:pt x="225" y="75"/>
                  </a:lnTo>
                  <a:lnTo>
                    <a:pt x="229" y="76"/>
                  </a:lnTo>
                  <a:lnTo>
                    <a:pt x="233" y="78"/>
                  </a:lnTo>
                  <a:lnTo>
                    <a:pt x="235" y="78"/>
                  </a:lnTo>
                  <a:lnTo>
                    <a:pt x="236" y="78"/>
                  </a:lnTo>
                  <a:lnTo>
                    <a:pt x="233" y="77"/>
                  </a:lnTo>
                  <a:lnTo>
                    <a:pt x="233" y="76"/>
                  </a:lnTo>
                  <a:lnTo>
                    <a:pt x="237" y="78"/>
                  </a:lnTo>
                  <a:lnTo>
                    <a:pt x="237" y="80"/>
                  </a:lnTo>
                  <a:lnTo>
                    <a:pt x="238" y="80"/>
                  </a:lnTo>
                  <a:lnTo>
                    <a:pt x="239" y="78"/>
                  </a:lnTo>
                  <a:lnTo>
                    <a:pt x="241" y="80"/>
                  </a:lnTo>
                  <a:lnTo>
                    <a:pt x="241" y="81"/>
                  </a:lnTo>
                  <a:lnTo>
                    <a:pt x="242" y="81"/>
                  </a:lnTo>
                  <a:lnTo>
                    <a:pt x="242" y="80"/>
                  </a:lnTo>
                  <a:lnTo>
                    <a:pt x="243" y="80"/>
                  </a:lnTo>
                  <a:lnTo>
                    <a:pt x="243" y="81"/>
                  </a:lnTo>
                  <a:lnTo>
                    <a:pt x="244" y="82"/>
                  </a:lnTo>
                  <a:lnTo>
                    <a:pt x="244" y="83"/>
                  </a:lnTo>
                  <a:lnTo>
                    <a:pt x="245" y="83"/>
                  </a:lnTo>
                  <a:lnTo>
                    <a:pt x="247" y="83"/>
                  </a:lnTo>
                  <a:lnTo>
                    <a:pt x="248" y="83"/>
                  </a:lnTo>
                  <a:lnTo>
                    <a:pt x="247" y="82"/>
                  </a:lnTo>
                  <a:lnTo>
                    <a:pt x="245" y="82"/>
                  </a:lnTo>
                  <a:lnTo>
                    <a:pt x="245" y="81"/>
                  </a:lnTo>
                  <a:lnTo>
                    <a:pt x="247" y="81"/>
                  </a:lnTo>
                  <a:lnTo>
                    <a:pt x="247" y="80"/>
                  </a:lnTo>
                  <a:lnTo>
                    <a:pt x="248" y="80"/>
                  </a:lnTo>
                  <a:lnTo>
                    <a:pt x="249" y="81"/>
                  </a:lnTo>
                  <a:lnTo>
                    <a:pt x="249" y="82"/>
                  </a:lnTo>
                  <a:lnTo>
                    <a:pt x="250" y="83"/>
                  </a:lnTo>
                  <a:lnTo>
                    <a:pt x="251" y="83"/>
                  </a:lnTo>
                  <a:lnTo>
                    <a:pt x="251" y="84"/>
                  </a:lnTo>
                  <a:lnTo>
                    <a:pt x="253" y="86"/>
                  </a:lnTo>
                  <a:lnTo>
                    <a:pt x="253" y="87"/>
                  </a:lnTo>
                  <a:lnTo>
                    <a:pt x="254" y="88"/>
                  </a:lnTo>
                  <a:lnTo>
                    <a:pt x="255" y="86"/>
                  </a:lnTo>
                  <a:lnTo>
                    <a:pt x="256" y="86"/>
                  </a:lnTo>
                  <a:lnTo>
                    <a:pt x="256" y="87"/>
                  </a:lnTo>
                  <a:lnTo>
                    <a:pt x="255" y="88"/>
                  </a:lnTo>
                  <a:lnTo>
                    <a:pt x="256" y="89"/>
                  </a:lnTo>
                  <a:lnTo>
                    <a:pt x="257" y="89"/>
                  </a:lnTo>
                  <a:lnTo>
                    <a:pt x="257" y="90"/>
                  </a:lnTo>
                  <a:lnTo>
                    <a:pt x="259" y="92"/>
                  </a:lnTo>
                  <a:lnTo>
                    <a:pt x="260" y="92"/>
                  </a:lnTo>
                  <a:lnTo>
                    <a:pt x="261" y="92"/>
                  </a:lnTo>
                  <a:lnTo>
                    <a:pt x="262" y="92"/>
                  </a:lnTo>
                  <a:lnTo>
                    <a:pt x="262" y="89"/>
                  </a:lnTo>
                  <a:lnTo>
                    <a:pt x="261" y="90"/>
                  </a:lnTo>
                  <a:lnTo>
                    <a:pt x="260" y="90"/>
                  </a:lnTo>
                  <a:lnTo>
                    <a:pt x="260" y="89"/>
                  </a:lnTo>
                  <a:lnTo>
                    <a:pt x="261" y="89"/>
                  </a:lnTo>
                  <a:lnTo>
                    <a:pt x="261" y="88"/>
                  </a:lnTo>
                  <a:lnTo>
                    <a:pt x="260" y="87"/>
                  </a:lnTo>
                  <a:lnTo>
                    <a:pt x="261" y="87"/>
                  </a:lnTo>
                  <a:lnTo>
                    <a:pt x="262" y="88"/>
                  </a:lnTo>
                  <a:lnTo>
                    <a:pt x="263" y="89"/>
                  </a:lnTo>
                  <a:lnTo>
                    <a:pt x="263" y="88"/>
                  </a:lnTo>
                  <a:lnTo>
                    <a:pt x="265" y="87"/>
                  </a:lnTo>
                  <a:lnTo>
                    <a:pt x="266" y="87"/>
                  </a:lnTo>
                  <a:lnTo>
                    <a:pt x="266" y="88"/>
                  </a:lnTo>
                  <a:lnTo>
                    <a:pt x="265" y="88"/>
                  </a:lnTo>
                  <a:lnTo>
                    <a:pt x="265" y="89"/>
                  </a:lnTo>
                  <a:lnTo>
                    <a:pt x="266" y="90"/>
                  </a:lnTo>
                  <a:lnTo>
                    <a:pt x="267" y="90"/>
                  </a:lnTo>
                  <a:lnTo>
                    <a:pt x="266" y="90"/>
                  </a:lnTo>
                  <a:lnTo>
                    <a:pt x="265" y="90"/>
                  </a:lnTo>
                  <a:lnTo>
                    <a:pt x="263" y="92"/>
                  </a:lnTo>
                  <a:lnTo>
                    <a:pt x="263" y="93"/>
                  </a:lnTo>
                  <a:lnTo>
                    <a:pt x="262" y="94"/>
                  </a:lnTo>
                  <a:lnTo>
                    <a:pt x="265" y="94"/>
                  </a:lnTo>
                  <a:lnTo>
                    <a:pt x="265" y="95"/>
                  </a:lnTo>
                  <a:lnTo>
                    <a:pt x="267" y="96"/>
                  </a:lnTo>
                  <a:lnTo>
                    <a:pt x="269" y="98"/>
                  </a:lnTo>
                  <a:lnTo>
                    <a:pt x="271" y="99"/>
                  </a:lnTo>
                  <a:lnTo>
                    <a:pt x="273" y="100"/>
                  </a:lnTo>
                  <a:lnTo>
                    <a:pt x="274" y="101"/>
                  </a:lnTo>
                  <a:lnTo>
                    <a:pt x="275" y="101"/>
                  </a:lnTo>
                  <a:lnTo>
                    <a:pt x="278" y="101"/>
                  </a:lnTo>
                  <a:lnTo>
                    <a:pt x="278" y="100"/>
                  </a:lnTo>
                  <a:lnTo>
                    <a:pt x="279" y="98"/>
                  </a:lnTo>
                  <a:lnTo>
                    <a:pt x="280" y="96"/>
                  </a:lnTo>
                  <a:lnTo>
                    <a:pt x="280" y="95"/>
                  </a:lnTo>
                  <a:lnTo>
                    <a:pt x="279" y="95"/>
                  </a:lnTo>
                  <a:lnTo>
                    <a:pt x="279" y="96"/>
                  </a:lnTo>
                  <a:lnTo>
                    <a:pt x="275" y="96"/>
                  </a:lnTo>
                  <a:lnTo>
                    <a:pt x="277" y="95"/>
                  </a:lnTo>
                  <a:lnTo>
                    <a:pt x="278" y="95"/>
                  </a:lnTo>
                  <a:lnTo>
                    <a:pt x="280" y="94"/>
                  </a:lnTo>
                  <a:lnTo>
                    <a:pt x="282" y="94"/>
                  </a:lnTo>
                  <a:lnTo>
                    <a:pt x="282" y="93"/>
                  </a:lnTo>
                  <a:lnTo>
                    <a:pt x="280" y="93"/>
                  </a:lnTo>
                  <a:lnTo>
                    <a:pt x="278" y="93"/>
                  </a:lnTo>
                  <a:lnTo>
                    <a:pt x="277" y="92"/>
                  </a:lnTo>
                  <a:lnTo>
                    <a:pt x="277" y="90"/>
                  </a:lnTo>
                  <a:lnTo>
                    <a:pt x="275" y="89"/>
                  </a:lnTo>
                  <a:lnTo>
                    <a:pt x="277" y="88"/>
                  </a:lnTo>
                  <a:lnTo>
                    <a:pt x="279" y="88"/>
                  </a:lnTo>
                  <a:lnTo>
                    <a:pt x="280" y="88"/>
                  </a:lnTo>
                  <a:lnTo>
                    <a:pt x="283" y="88"/>
                  </a:lnTo>
                  <a:lnTo>
                    <a:pt x="283" y="87"/>
                  </a:lnTo>
                  <a:lnTo>
                    <a:pt x="282" y="86"/>
                  </a:lnTo>
                  <a:lnTo>
                    <a:pt x="280" y="86"/>
                  </a:lnTo>
                  <a:lnTo>
                    <a:pt x="279" y="86"/>
                  </a:lnTo>
                  <a:lnTo>
                    <a:pt x="279" y="84"/>
                  </a:lnTo>
                  <a:lnTo>
                    <a:pt x="279" y="83"/>
                  </a:lnTo>
                  <a:lnTo>
                    <a:pt x="278" y="83"/>
                  </a:lnTo>
                  <a:lnTo>
                    <a:pt x="278" y="84"/>
                  </a:lnTo>
                  <a:lnTo>
                    <a:pt x="275" y="84"/>
                  </a:lnTo>
                  <a:lnTo>
                    <a:pt x="277" y="83"/>
                  </a:lnTo>
                  <a:lnTo>
                    <a:pt x="279" y="83"/>
                  </a:lnTo>
                  <a:lnTo>
                    <a:pt x="279" y="82"/>
                  </a:lnTo>
                  <a:lnTo>
                    <a:pt x="278" y="82"/>
                  </a:lnTo>
                  <a:lnTo>
                    <a:pt x="277" y="81"/>
                  </a:lnTo>
                  <a:lnTo>
                    <a:pt x="277" y="82"/>
                  </a:lnTo>
                  <a:lnTo>
                    <a:pt x="275" y="82"/>
                  </a:lnTo>
                  <a:lnTo>
                    <a:pt x="273" y="82"/>
                  </a:lnTo>
                  <a:lnTo>
                    <a:pt x="272" y="82"/>
                  </a:lnTo>
                  <a:lnTo>
                    <a:pt x="271" y="83"/>
                  </a:lnTo>
                  <a:lnTo>
                    <a:pt x="269" y="84"/>
                  </a:lnTo>
                  <a:lnTo>
                    <a:pt x="269" y="83"/>
                  </a:lnTo>
                  <a:lnTo>
                    <a:pt x="268" y="83"/>
                  </a:lnTo>
                  <a:lnTo>
                    <a:pt x="269" y="82"/>
                  </a:lnTo>
                  <a:lnTo>
                    <a:pt x="272" y="81"/>
                  </a:lnTo>
                  <a:lnTo>
                    <a:pt x="271" y="80"/>
                  </a:lnTo>
                  <a:lnTo>
                    <a:pt x="271" y="81"/>
                  </a:lnTo>
                  <a:lnTo>
                    <a:pt x="269" y="81"/>
                  </a:lnTo>
                  <a:lnTo>
                    <a:pt x="269" y="80"/>
                  </a:lnTo>
                  <a:lnTo>
                    <a:pt x="271" y="78"/>
                  </a:lnTo>
                  <a:lnTo>
                    <a:pt x="271" y="77"/>
                  </a:lnTo>
                  <a:lnTo>
                    <a:pt x="269" y="77"/>
                  </a:lnTo>
                  <a:lnTo>
                    <a:pt x="268" y="77"/>
                  </a:lnTo>
                  <a:lnTo>
                    <a:pt x="268" y="78"/>
                  </a:lnTo>
                  <a:lnTo>
                    <a:pt x="268" y="80"/>
                  </a:lnTo>
                  <a:lnTo>
                    <a:pt x="268" y="81"/>
                  </a:lnTo>
                  <a:lnTo>
                    <a:pt x="267" y="81"/>
                  </a:lnTo>
                  <a:lnTo>
                    <a:pt x="266" y="80"/>
                  </a:lnTo>
                  <a:lnTo>
                    <a:pt x="266" y="78"/>
                  </a:lnTo>
                  <a:lnTo>
                    <a:pt x="265" y="78"/>
                  </a:lnTo>
                  <a:lnTo>
                    <a:pt x="263" y="77"/>
                  </a:lnTo>
                  <a:lnTo>
                    <a:pt x="265" y="77"/>
                  </a:lnTo>
                  <a:lnTo>
                    <a:pt x="267" y="76"/>
                  </a:lnTo>
                  <a:lnTo>
                    <a:pt x="266" y="76"/>
                  </a:lnTo>
                  <a:lnTo>
                    <a:pt x="265" y="76"/>
                  </a:lnTo>
                  <a:lnTo>
                    <a:pt x="265" y="75"/>
                  </a:lnTo>
                  <a:lnTo>
                    <a:pt x="263" y="75"/>
                  </a:lnTo>
                  <a:lnTo>
                    <a:pt x="263" y="74"/>
                  </a:lnTo>
                  <a:lnTo>
                    <a:pt x="261" y="72"/>
                  </a:lnTo>
                  <a:lnTo>
                    <a:pt x="260" y="72"/>
                  </a:lnTo>
                  <a:lnTo>
                    <a:pt x="259" y="72"/>
                  </a:lnTo>
                  <a:lnTo>
                    <a:pt x="257" y="72"/>
                  </a:lnTo>
                  <a:lnTo>
                    <a:pt x="259" y="71"/>
                  </a:lnTo>
                  <a:lnTo>
                    <a:pt x="260" y="70"/>
                  </a:lnTo>
                  <a:lnTo>
                    <a:pt x="261" y="70"/>
                  </a:lnTo>
                  <a:lnTo>
                    <a:pt x="261" y="69"/>
                  </a:lnTo>
                  <a:lnTo>
                    <a:pt x="260" y="69"/>
                  </a:lnTo>
                  <a:lnTo>
                    <a:pt x="259" y="68"/>
                  </a:lnTo>
                  <a:lnTo>
                    <a:pt x="257" y="68"/>
                  </a:lnTo>
                  <a:lnTo>
                    <a:pt x="257" y="69"/>
                  </a:lnTo>
                  <a:lnTo>
                    <a:pt x="254" y="68"/>
                  </a:lnTo>
                  <a:lnTo>
                    <a:pt x="253" y="69"/>
                  </a:lnTo>
                  <a:lnTo>
                    <a:pt x="250" y="69"/>
                  </a:lnTo>
                  <a:lnTo>
                    <a:pt x="249" y="69"/>
                  </a:lnTo>
                  <a:lnTo>
                    <a:pt x="248" y="69"/>
                  </a:lnTo>
                  <a:lnTo>
                    <a:pt x="248" y="68"/>
                  </a:lnTo>
                  <a:lnTo>
                    <a:pt x="249" y="66"/>
                  </a:lnTo>
                  <a:lnTo>
                    <a:pt x="250" y="66"/>
                  </a:lnTo>
                  <a:lnTo>
                    <a:pt x="251" y="66"/>
                  </a:lnTo>
                  <a:lnTo>
                    <a:pt x="253" y="66"/>
                  </a:lnTo>
                  <a:lnTo>
                    <a:pt x="253" y="65"/>
                  </a:lnTo>
                  <a:lnTo>
                    <a:pt x="251" y="65"/>
                  </a:lnTo>
                  <a:lnTo>
                    <a:pt x="250" y="65"/>
                  </a:lnTo>
                  <a:lnTo>
                    <a:pt x="250" y="66"/>
                  </a:lnTo>
                  <a:lnTo>
                    <a:pt x="248" y="68"/>
                  </a:lnTo>
                  <a:lnTo>
                    <a:pt x="247" y="66"/>
                  </a:lnTo>
                  <a:lnTo>
                    <a:pt x="248" y="65"/>
                  </a:lnTo>
                  <a:lnTo>
                    <a:pt x="249" y="65"/>
                  </a:lnTo>
                  <a:lnTo>
                    <a:pt x="250" y="64"/>
                  </a:lnTo>
                  <a:lnTo>
                    <a:pt x="248" y="64"/>
                  </a:lnTo>
                  <a:lnTo>
                    <a:pt x="247" y="64"/>
                  </a:lnTo>
                  <a:lnTo>
                    <a:pt x="245" y="65"/>
                  </a:lnTo>
                  <a:lnTo>
                    <a:pt x="244" y="65"/>
                  </a:lnTo>
                  <a:lnTo>
                    <a:pt x="245" y="64"/>
                  </a:lnTo>
                  <a:lnTo>
                    <a:pt x="245" y="63"/>
                  </a:lnTo>
                  <a:lnTo>
                    <a:pt x="245" y="62"/>
                  </a:lnTo>
                  <a:lnTo>
                    <a:pt x="245" y="63"/>
                  </a:lnTo>
                  <a:lnTo>
                    <a:pt x="244" y="63"/>
                  </a:lnTo>
                  <a:lnTo>
                    <a:pt x="243" y="63"/>
                  </a:lnTo>
                  <a:lnTo>
                    <a:pt x="241" y="64"/>
                  </a:lnTo>
                  <a:lnTo>
                    <a:pt x="239" y="63"/>
                  </a:lnTo>
                  <a:lnTo>
                    <a:pt x="241" y="63"/>
                  </a:lnTo>
                  <a:lnTo>
                    <a:pt x="241" y="62"/>
                  </a:lnTo>
                  <a:lnTo>
                    <a:pt x="242" y="62"/>
                  </a:lnTo>
                  <a:lnTo>
                    <a:pt x="243" y="62"/>
                  </a:lnTo>
                  <a:lnTo>
                    <a:pt x="242" y="60"/>
                  </a:lnTo>
                  <a:lnTo>
                    <a:pt x="237" y="58"/>
                  </a:lnTo>
                  <a:lnTo>
                    <a:pt x="236" y="57"/>
                  </a:lnTo>
                  <a:lnTo>
                    <a:pt x="237" y="57"/>
                  </a:lnTo>
                  <a:lnTo>
                    <a:pt x="239" y="58"/>
                  </a:lnTo>
                  <a:lnTo>
                    <a:pt x="243" y="59"/>
                  </a:lnTo>
                  <a:lnTo>
                    <a:pt x="242" y="58"/>
                  </a:lnTo>
                  <a:lnTo>
                    <a:pt x="241" y="58"/>
                  </a:lnTo>
                  <a:lnTo>
                    <a:pt x="242" y="57"/>
                  </a:lnTo>
                  <a:lnTo>
                    <a:pt x="243" y="57"/>
                  </a:lnTo>
                  <a:lnTo>
                    <a:pt x="244" y="58"/>
                  </a:lnTo>
                  <a:lnTo>
                    <a:pt x="245" y="59"/>
                  </a:lnTo>
                  <a:lnTo>
                    <a:pt x="248" y="60"/>
                  </a:lnTo>
                  <a:lnTo>
                    <a:pt x="249" y="60"/>
                  </a:lnTo>
                  <a:lnTo>
                    <a:pt x="249" y="62"/>
                  </a:lnTo>
                  <a:lnTo>
                    <a:pt x="250" y="62"/>
                  </a:lnTo>
                  <a:lnTo>
                    <a:pt x="250" y="60"/>
                  </a:lnTo>
                  <a:lnTo>
                    <a:pt x="251" y="59"/>
                  </a:lnTo>
                  <a:lnTo>
                    <a:pt x="253" y="60"/>
                  </a:lnTo>
                  <a:lnTo>
                    <a:pt x="253" y="62"/>
                  </a:lnTo>
                  <a:lnTo>
                    <a:pt x="254" y="62"/>
                  </a:lnTo>
                  <a:lnTo>
                    <a:pt x="255" y="63"/>
                  </a:lnTo>
                  <a:lnTo>
                    <a:pt x="256" y="64"/>
                  </a:lnTo>
                  <a:lnTo>
                    <a:pt x="256" y="63"/>
                  </a:lnTo>
                  <a:lnTo>
                    <a:pt x="255" y="62"/>
                  </a:lnTo>
                  <a:lnTo>
                    <a:pt x="255" y="60"/>
                  </a:lnTo>
                  <a:lnTo>
                    <a:pt x="256" y="60"/>
                  </a:lnTo>
                  <a:lnTo>
                    <a:pt x="257" y="60"/>
                  </a:lnTo>
                  <a:lnTo>
                    <a:pt x="259" y="60"/>
                  </a:lnTo>
                  <a:lnTo>
                    <a:pt x="259" y="62"/>
                  </a:lnTo>
                  <a:lnTo>
                    <a:pt x="260" y="63"/>
                  </a:lnTo>
                  <a:lnTo>
                    <a:pt x="260" y="64"/>
                  </a:lnTo>
                  <a:lnTo>
                    <a:pt x="259" y="63"/>
                  </a:lnTo>
                  <a:lnTo>
                    <a:pt x="259" y="64"/>
                  </a:lnTo>
                  <a:lnTo>
                    <a:pt x="260" y="64"/>
                  </a:lnTo>
                  <a:lnTo>
                    <a:pt x="261" y="64"/>
                  </a:lnTo>
                  <a:lnTo>
                    <a:pt x="262" y="65"/>
                  </a:lnTo>
                  <a:lnTo>
                    <a:pt x="263" y="66"/>
                  </a:lnTo>
                  <a:lnTo>
                    <a:pt x="265" y="66"/>
                  </a:lnTo>
                  <a:lnTo>
                    <a:pt x="266" y="68"/>
                  </a:lnTo>
                  <a:lnTo>
                    <a:pt x="267" y="66"/>
                  </a:lnTo>
                  <a:lnTo>
                    <a:pt x="268" y="66"/>
                  </a:lnTo>
                  <a:lnTo>
                    <a:pt x="269" y="68"/>
                  </a:lnTo>
                  <a:lnTo>
                    <a:pt x="271" y="68"/>
                  </a:lnTo>
                  <a:lnTo>
                    <a:pt x="271" y="69"/>
                  </a:lnTo>
                  <a:lnTo>
                    <a:pt x="272" y="70"/>
                  </a:lnTo>
                  <a:lnTo>
                    <a:pt x="273" y="71"/>
                  </a:lnTo>
                  <a:lnTo>
                    <a:pt x="274" y="72"/>
                  </a:lnTo>
                  <a:lnTo>
                    <a:pt x="275" y="72"/>
                  </a:lnTo>
                  <a:lnTo>
                    <a:pt x="277" y="72"/>
                  </a:lnTo>
                  <a:lnTo>
                    <a:pt x="275" y="71"/>
                  </a:lnTo>
                  <a:lnTo>
                    <a:pt x="277" y="71"/>
                  </a:lnTo>
                  <a:lnTo>
                    <a:pt x="277" y="70"/>
                  </a:lnTo>
                  <a:lnTo>
                    <a:pt x="277" y="69"/>
                  </a:lnTo>
                  <a:lnTo>
                    <a:pt x="277" y="68"/>
                  </a:lnTo>
                  <a:lnTo>
                    <a:pt x="272" y="68"/>
                  </a:lnTo>
                  <a:lnTo>
                    <a:pt x="272" y="66"/>
                  </a:lnTo>
                  <a:lnTo>
                    <a:pt x="273" y="66"/>
                  </a:lnTo>
                  <a:lnTo>
                    <a:pt x="271" y="66"/>
                  </a:lnTo>
                  <a:lnTo>
                    <a:pt x="272" y="65"/>
                  </a:lnTo>
                  <a:lnTo>
                    <a:pt x="273" y="65"/>
                  </a:lnTo>
                  <a:lnTo>
                    <a:pt x="277" y="66"/>
                  </a:lnTo>
                  <a:lnTo>
                    <a:pt x="277" y="65"/>
                  </a:lnTo>
                  <a:lnTo>
                    <a:pt x="277" y="64"/>
                  </a:lnTo>
                  <a:lnTo>
                    <a:pt x="278" y="63"/>
                  </a:lnTo>
                  <a:lnTo>
                    <a:pt x="279" y="64"/>
                  </a:lnTo>
                  <a:lnTo>
                    <a:pt x="280" y="64"/>
                  </a:lnTo>
                  <a:lnTo>
                    <a:pt x="283" y="65"/>
                  </a:lnTo>
                  <a:lnTo>
                    <a:pt x="284" y="65"/>
                  </a:lnTo>
                  <a:lnTo>
                    <a:pt x="285" y="65"/>
                  </a:lnTo>
                  <a:lnTo>
                    <a:pt x="286" y="65"/>
                  </a:lnTo>
                  <a:lnTo>
                    <a:pt x="289" y="64"/>
                  </a:lnTo>
                  <a:lnTo>
                    <a:pt x="290" y="64"/>
                  </a:lnTo>
                  <a:lnTo>
                    <a:pt x="289" y="63"/>
                  </a:lnTo>
                  <a:lnTo>
                    <a:pt x="289" y="62"/>
                  </a:lnTo>
                  <a:lnTo>
                    <a:pt x="289" y="60"/>
                  </a:lnTo>
                  <a:lnTo>
                    <a:pt x="290" y="59"/>
                  </a:lnTo>
                  <a:lnTo>
                    <a:pt x="289" y="58"/>
                  </a:lnTo>
                  <a:lnTo>
                    <a:pt x="288" y="59"/>
                  </a:lnTo>
                  <a:lnTo>
                    <a:pt x="286" y="60"/>
                  </a:lnTo>
                  <a:lnTo>
                    <a:pt x="286" y="62"/>
                  </a:lnTo>
                  <a:lnTo>
                    <a:pt x="285" y="62"/>
                  </a:lnTo>
                  <a:lnTo>
                    <a:pt x="284" y="63"/>
                  </a:lnTo>
                  <a:lnTo>
                    <a:pt x="284" y="64"/>
                  </a:lnTo>
                  <a:lnTo>
                    <a:pt x="283" y="64"/>
                  </a:lnTo>
                  <a:lnTo>
                    <a:pt x="283" y="63"/>
                  </a:lnTo>
                  <a:lnTo>
                    <a:pt x="282" y="62"/>
                  </a:lnTo>
                  <a:lnTo>
                    <a:pt x="280" y="63"/>
                  </a:lnTo>
                  <a:lnTo>
                    <a:pt x="279" y="63"/>
                  </a:lnTo>
                  <a:lnTo>
                    <a:pt x="280" y="62"/>
                  </a:lnTo>
                  <a:lnTo>
                    <a:pt x="279" y="60"/>
                  </a:lnTo>
                  <a:lnTo>
                    <a:pt x="278" y="60"/>
                  </a:lnTo>
                  <a:lnTo>
                    <a:pt x="279" y="59"/>
                  </a:lnTo>
                  <a:lnTo>
                    <a:pt x="282" y="59"/>
                  </a:lnTo>
                  <a:lnTo>
                    <a:pt x="283" y="60"/>
                  </a:lnTo>
                  <a:lnTo>
                    <a:pt x="284" y="59"/>
                  </a:lnTo>
                  <a:lnTo>
                    <a:pt x="285" y="58"/>
                  </a:lnTo>
                  <a:lnTo>
                    <a:pt x="286" y="58"/>
                  </a:lnTo>
                  <a:lnTo>
                    <a:pt x="289" y="57"/>
                  </a:lnTo>
                  <a:lnTo>
                    <a:pt x="291" y="56"/>
                  </a:lnTo>
                  <a:lnTo>
                    <a:pt x="294" y="54"/>
                  </a:lnTo>
                  <a:lnTo>
                    <a:pt x="292" y="54"/>
                  </a:lnTo>
                  <a:lnTo>
                    <a:pt x="292" y="53"/>
                  </a:lnTo>
                  <a:lnTo>
                    <a:pt x="294" y="52"/>
                  </a:lnTo>
                  <a:lnTo>
                    <a:pt x="292" y="52"/>
                  </a:lnTo>
                  <a:lnTo>
                    <a:pt x="292" y="51"/>
                  </a:lnTo>
                  <a:lnTo>
                    <a:pt x="291" y="50"/>
                  </a:lnTo>
                  <a:lnTo>
                    <a:pt x="290" y="46"/>
                  </a:lnTo>
                  <a:lnTo>
                    <a:pt x="290" y="45"/>
                  </a:lnTo>
                  <a:lnTo>
                    <a:pt x="289" y="42"/>
                  </a:lnTo>
                  <a:lnTo>
                    <a:pt x="288" y="41"/>
                  </a:lnTo>
                  <a:lnTo>
                    <a:pt x="286" y="41"/>
                  </a:lnTo>
                  <a:lnTo>
                    <a:pt x="288" y="40"/>
                  </a:lnTo>
                  <a:lnTo>
                    <a:pt x="289" y="40"/>
                  </a:lnTo>
                  <a:lnTo>
                    <a:pt x="291" y="40"/>
                  </a:lnTo>
                  <a:lnTo>
                    <a:pt x="290" y="39"/>
                  </a:lnTo>
                  <a:lnTo>
                    <a:pt x="289" y="39"/>
                  </a:lnTo>
                  <a:lnTo>
                    <a:pt x="289" y="38"/>
                  </a:lnTo>
                  <a:lnTo>
                    <a:pt x="288" y="39"/>
                  </a:lnTo>
                  <a:lnTo>
                    <a:pt x="286" y="39"/>
                  </a:lnTo>
                  <a:lnTo>
                    <a:pt x="285" y="39"/>
                  </a:lnTo>
                  <a:lnTo>
                    <a:pt x="285" y="38"/>
                  </a:lnTo>
                  <a:lnTo>
                    <a:pt x="285" y="36"/>
                  </a:lnTo>
                  <a:lnTo>
                    <a:pt x="286" y="36"/>
                  </a:lnTo>
                  <a:lnTo>
                    <a:pt x="285" y="35"/>
                  </a:lnTo>
                  <a:lnTo>
                    <a:pt x="286" y="35"/>
                  </a:lnTo>
                  <a:lnTo>
                    <a:pt x="288" y="35"/>
                  </a:lnTo>
                  <a:lnTo>
                    <a:pt x="290" y="35"/>
                  </a:lnTo>
                  <a:lnTo>
                    <a:pt x="291" y="35"/>
                  </a:lnTo>
                  <a:lnTo>
                    <a:pt x="292" y="35"/>
                  </a:lnTo>
                  <a:lnTo>
                    <a:pt x="294" y="34"/>
                  </a:lnTo>
                  <a:lnTo>
                    <a:pt x="292" y="34"/>
                  </a:lnTo>
                  <a:lnTo>
                    <a:pt x="291" y="33"/>
                  </a:lnTo>
                  <a:lnTo>
                    <a:pt x="289" y="32"/>
                  </a:lnTo>
                  <a:lnTo>
                    <a:pt x="288" y="32"/>
                  </a:lnTo>
                  <a:lnTo>
                    <a:pt x="286" y="33"/>
                  </a:lnTo>
                  <a:lnTo>
                    <a:pt x="285" y="33"/>
                  </a:lnTo>
                  <a:lnTo>
                    <a:pt x="285" y="32"/>
                  </a:lnTo>
                  <a:lnTo>
                    <a:pt x="286" y="32"/>
                  </a:lnTo>
                  <a:lnTo>
                    <a:pt x="285" y="30"/>
                  </a:lnTo>
                  <a:lnTo>
                    <a:pt x="284" y="32"/>
                  </a:lnTo>
                  <a:lnTo>
                    <a:pt x="283" y="32"/>
                  </a:lnTo>
                  <a:lnTo>
                    <a:pt x="283" y="30"/>
                  </a:lnTo>
                  <a:lnTo>
                    <a:pt x="284" y="30"/>
                  </a:lnTo>
                  <a:lnTo>
                    <a:pt x="282" y="30"/>
                  </a:lnTo>
                  <a:lnTo>
                    <a:pt x="280" y="30"/>
                  </a:lnTo>
                  <a:lnTo>
                    <a:pt x="280" y="32"/>
                  </a:lnTo>
                  <a:lnTo>
                    <a:pt x="278" y="32"/>
                  </a:lnTo>
                  <a:lnTo>
                    <a:pt x="278" y="30"/>
                  </a:lnTo>
                  <a:lnTo>
                    <a:pt x="279" y="29"/>
                  </a:lnTo>
                  <a:lnTo>
                    <a:pt x="278" y="29"/>
                  </a:lnTo>
                  <a:lnTo>
                    <a:pt x="275" y="29"/>
                  </a:lnTo>
                  <a:lnTo>
                    <a:pt x="274" y="28"/>
                  </a:lnTo>
                  <a:lnTo>
                    <a:pt x="273" y="28"/>
                  </a:lnTo>
                  <a:lnTo>
                    <a:pt x="273" y="27"/>
                  </a:lnTo>
                  <a:lnTo>
                    <a:pt x="275" y="28"/>
                  </a:lnTo>
                  <a:lnTo>
                    <a:pt x="277" y="28"/>
                  </a:lnTo>
                  <a:lnTo>
                    <a:pt x="275" y="27"/>
                  </a:lnTo>
                  <a:lnTo>
                    <a:pt x="277" y="27"/>
                  </a:lnTo>
                  <a:lnTo>
                    <a:pt x="278" y="27"/>
                  </a:lnTo>
                  <a:lnTo>
                    <a:pt x="280" y="28"/>
                  </a:lnTo>
                  <a:lnTo>
                    <a:pt x="282" y="28"/>
                  </a:lnTo>
                  <a:lnTo>
                    <a:pt x="282" y="27"/>
                  </a:lnTo>
                  <a:lnTo>
                    <a:pt x="282" y="26"/>
                  </a:lnTo>
                  <a:lnTo>
                    <a:pt x="282" y="24"/>
                  </a:lnTo>
                  <a:lnTo>
                    <a:pt x="283" y="26"/>
                  </a:lnTo>
                  <a:lnTo>
                    <a:pt x="283" y="27"/>
                  </a:lnTo>
                  <a:lnTo>
                    <a:pt x="283" y="28"/>
                  </a:lnTo>
                  <a:lnTo>
                    <a:pt x="284" y="28"/>
                  </a:lnTo>
                  <a:lnTo>
                    <a:pt x="285" y="28"/>
                  </a:lnTo>
                  <a:lnTo>
                    <a:pt x="286" y="28"/>
                  </a:lnTo>
                  <a:lnTo>
                    <a:pt x="288" y="29"/>
                  </a:lnTo>
                  <a:lnTo>
                    <a:pt x="288" y="30"/>
                  </a:lnTo>
                  <a:lnTo>
                    <a:pt x="290" y="30"/>
                  </a:lnTo>
                  <a:lnTo>
                    <a:pt x="291" y="30"/>
                  </a:lnTo>
                  <a:lnTo>
                    <a:pt x="291" y="29"/>
                  </a:lnTo>
                  <a:lnTo>
                    <a:pt x="290" y="28"/>
                  </a:lnTo>
                  <a:lnTo>
                    <a:pt x="289" y="29"/>
                  </a:lnTo>
                  <a:lnTo>
                    <a:pt x="288" y="29"/>
                  </a:lnTo>
                  <a:lnTo>
                    <a:pt x="288" y="28"/>
                  </a:lnTo>
                  <a:lnTo>
                    <a:pt x="288" y="27"/>
                  </a:lnTo>
                  <a:lnTo>
                    <a:pt x="288" y="28"/>
                  </a:lnTo>
                  <a:lnTo>
                    <a:pt x="286" y="28"/>
                  </a:lnTo>
                  <a:lnTo>
                    <a:pt x="286" y="27"/>
                  </a:lnTo>
                  <a:lnTo>
                    <a:pt x="288" y="27"/>
                  </a:lnTo>
                  <a:lnTo>
                    <a:pt x="286" y="26"/>
                  </a:lnTo>
                  <a:lnTo>
                    <a:pt x="288" y="26"/>
                  </a:lnTo>
                  <a:lnTo>
                    <a:pt x="289" y="26"/>
                  </a:lnTo>
                  <a:lnTo>
                    <a:pt x="289" y="24"/>
                  </a:lnTo>
                  <a:lnTo>
                    <a:pt x="288" y="24"/>
                  </a:lnTo>
                  <a:lnTo>
                    <a:pt x="288" y="23"/>
                  </a:lnTo>
                  <a:lnTo>
                    <a:pt x="286" y="23"/>
                  </a:lnTo>
                  <a:lnTo>
                    <a:pt x="285" y="23"/>
                  </a:lnTo>
                  <a:lnTo>
                    <a:pt x="282" y="23"/>
                  </a:lnTo>
                  <a:lnTo>
                    <a:pt x="286" y="23"/>
                  </a:lnTo>
                  <a:lnTo>
                    <a:pt x="285" y="22"/>
                  </a:lnTo>
                  <a:lnTo>
                    <a:pt x="284" y="21"/>
                  </a:lnTo>
                  <a:lnTo>
                    <a:pt x="283" y="21"/>
                  </a:lnTo>
                  <a:lnTo>
                    <a:pt x="282" y="21"/>
                  </a:lnTo>
                  <a:lnTo>
                    <a:pt x="282" y="20"/>
                  </a:lnTo>
                  <a:lnTo>
                    <a:pt x="283" y="20"/>
                  </a:lnTo>
                  <a:lnTo>
                    <a:pt x="284" y="20"/>
                  </a:lnTo>
                  <a:lnTo>
                    <a:pt x="285" y="21"/>
                  </a:lnTo>
                  <a:lnTo>
                    <a:pt x="285" y="20"/>
                  </a:lnTo>
                  <a:lnTo>
                    <a:pt x="280" y="16"/>
                  </a:lnTo>
                  <a:lnTo>
                    <a:pt x="279" y="13"/>
                  </a:lnTo>
                  <a:lnTo>
                    <a:pt x="275" y="11"/>
                  </a:lnTo>
                  <a:lnTo>
                    <a:pt x="274" y="10"/>
                  </a:lnTo>
                  <a:lnTo>
                    <a:pt x="274" y="9"/>
                  </a:lnTo>
                  <a:lnTo>
                    <a:pt x="275" y="9"/>
                  </a:lnTo>
                  <a:lnTo>
                    <a:pt x="278" y="10"/>
                  </a:lnTo>
                  <a:lnTo>
                    <a:pt x="279" y="12"/>
                  </a:lnTo>
                  <a:lnTo>
                    <a:pt x="283" y="16"/>
                  </a:lnTo>
                  <a:lnTo>
                    <a:pt x="285" y="17"/>
                  </a:lnTo>
                  <a:lnTo>
                    <a:pt x="286" y="20"/>
                  </a:lnTo>
                  <a:lnTo>
                    <a:pt x="288" y="21"/>
                  </a:lnTo>
                  <a:lnTo>
                    <a:pt x="289" y="22"/>
                  </a:lnTo>
                  <a:lnTo>
                    <a:pt x="290" y="21"/>
                  </a:lnTo>
                  <a:lnTo>
                    <a:pt x="291" y="20"/>
                  </a:lnTo>
                  <a:lnTo>
                    <a:pt x="294" y="17"/>
                  </a:lnTo>
                  <a:lnTo>
                    <a:pt x="295" y="17"/>
                  </a:lnTo>
                  <a:lnTo>
                    <a:pt x="296" y="16"/>
                  </a:lnTo>
                  <a:lnTo>
                    <a:pt x="296" y="18"/>
                  </a:lnTo>
                  <a:lnTo>
                    <a:pt x="295" y="18"/>
                  </a:lnTo>
                  <a:lnTo>
                    <a:pt x="294" y="18"/>
                  </a:lnTo>
                  <a:lnTo>
                    <a:pt x="292" y="18"/>
                  </a:lnTo>
                  <a:lnTo>
                    <a:pt x="292" y="20"/>
                  </a:lnTo>
                  <a:lnTo>
                    <a:pt x="291" y="21"/>
                  </a:lnTo>
                  <a:lnTo>
                    <a:pt x="290" y="22"/>
                  </a:lnTo>
                  <a:lnTo>
                    <a:pt x="290" y="23"/>
                  </a:lnTo>
                  <a:lnTo>
                    <a:pt x="290" y="24"/>
                  </a:lnTo>
                  <a:lnTo>
                    <a:pt x="291" y="24"/>
                  </a:lnTo>
                  <a:lnTo>
                    <a:pt x="292" y="23"/>
                  </a:lnTo>
                  <a:lnTo>
                    <a:pt x="294" y="23"/>
                  </a:lnTo>
                  <a:lnTo>
                    <a:pt x="294" y="24"/>
                  </a:lnTo>
                  <a:lnTo>
                    <a:pt x="292" y="24"/>
                  </a:lnTo>
                  <a:lnTo>
                    <a:pt x="291" y="26"/>
                  </a:lnTo>
                  <a:lnTo>
                    <a:pt x="291" y="27"/>
                  </a:lnTo>
                  <a:lnTo>
                    <a:pt x="292" y="27"/>
                  </a:lnTo>
                  <a:lnTo>
                    <a:pt x="294" y="26"/>
                  </a:lnTo>
                  <a:lnTo>
                    <a:pt x="295" y="26"/>
                  </a:lnTo>
                  <a:lnTo>
                    <a:pt x="295" y="27"/>
                  </a:lnTo>
                  <a:lnTo>
                    <a:pt x="294" y="28"/>
                  </a:lnTo>
                  <a:lnTo>
                    <a:pt x="292" y="29"/>
                  </a:lnTo>
                  <a:lnTo>
                    <a:pt x="292" y="30"/>
                  </a:lnTo>
                  <a:lnTo>
                    <a:pt x="294" y="30"/>
                  </a:lnTo>
                  <a:lnTo>
                    <a:pt x="294" y="29"/>
                  </a:lnTo>
                  <a:lnTo>
                    <a:pt x="295" y="29"/>
                  </a:lnTo>
                  <a:lnTo>
                    <a:pt x="296" y="29"/>
                  </a:lnTo>
                  <a:lnTo>
                    <a:pt x="296" y="28"/>
                  </a:lnTo>
                  <a:lnTo>
                    <a:pt x="297" y="28"/>
                  </a:lnTo>
                  <a:lnTo>
                    <a:pt x="298" y="27"/>
                  </a:lnTo>
                  <a:lnTo>
                    <a:pt x="297" y="26"/>
                  </a:lnTo>
                  <a:lnTo>
                    <a:pt x="296" y="26"/>
                  </a:lnTo>
                  <a:lnTo>
                    <a:pt x="296" y="24"/>
                  </a:lnTo>
                  <a:lnTo>
                    <a:pt x="297" y="23"/>
                  </a:lnTo>
                  <a:lnTo>
                    <a:pt x="297" y="24"/>
                  </a:lnTo>
                  <a:lnTo>
                    <a:pt x="298" y="24"/>
                  </a:lnTo>
                  <a:lnTo>
                    <a:pt x="298" y="22"/>
                  </a:lnTo>
                  <a:lnTo>
                    <a:pt x="297" y="21"/>
                  </a:lnTo>
                  <a:lnTo>
                    <a:pt x="296" y="21"/>
                  </a:lnTo>
                  <a:lnTo>
                    <a:pt x="294" y="21"/>
                  </a:lnTo>
                  <a:lnTo>
                    <a:pt x="292" y="21"/>
                  </a:lnTo>
                  <a:lnTo>
                    <a:pt x="292" y="20"/>
                  </a:lnTo>
                  <a:lnTo>
                    <a:pt x="295" y="20"/>
                  </a:lnTo>
                  <a:lnTo>
                    <a:pt x="297" y="20"/>
                  </a:lnTo>
                  <a:lnTo>
                    <a:pt x="298" y="20"/>
                  </a:lnTo>
                  <a:lnTo>
                    <a:pt x="298" y="18"/>
                  </a:lnTo>
                  <a:lnTo>
                    <a:pt x="300" y="17"/>
                  </a:lnTo>
                  <a:lnTo>
                    <a:pt x="300" y="16"/>
                  </a:lnTo>
                  <a:lnTo>
                    <a:pt x="300" y="13"/>
                  </a:lnTo>
                  <a:lnTo>
                    <a:pt x="300" y="10"/>
                  </a:lnTo>
                  <a:lnTo>
                    <a:pt x="301" y="10"/>
                  </a:lnTo>
                  <a:lnTo>
                    <a:pt x="301" y="11"/>
                  </a:lnTo>
                  <a:lnTo>
                    <a:pt x="301" y="16"/>
                  </a:lnTo>
                  <a:lnTo>
                    <a:pt x="301" y="18"/>
                  </a:lnTo>
                  <a:lnTo>
                    <a:pt x="301" y="22"/>
                  </a:lnTo>
                  <a:lnTo>
                    <a:pt x="301" y="23"/>
                  </a:lnTo>
                  <a:lnTo>
                    <a:pt x="300" y="24"/>
                  </a:lnTo>
                  <a:lnTo>
                    <a:pt x="300" y="26"/>
                  </a:lnTo>
                  <a:lnTo>
                    <a:pt x="301" y="26"/>
                  </a:lnTo>
                  <a:lnTo>
                    <a:pt x="302" y="24"/>
                  </a:lnTo>
                  <a:lnTo>
                    <a:pt x="302" y="26"/>
                  </a:lnTo>
                  <a:lnTo>
                    <a:pt x="303" y="27"/>
                  </a:lnTo>
                  <a:lnTo>
                    <a:pt x="303" y="28"/>
                  </a:lnTo>
                  <a:lnTo>
                    <a:pt x="304" y="28"/>
                  </a:lnTo>
                  <a:lnTo>
                    <a:pt x="306" y="27"/>
                  </a:lnTo>
                  <a:lnTo>
                    <a:pt x="307" y="26"/>
                  </a:lnTo>
                  <a:lnTo>
                    <a:pt x="307" y="24"/>
                  </a:lnTo>
                  <a:lnTo>
                    <a:pt x="306" y="23"/>
                  </a:lnTo>
                  <a:lnTo>
                    <a:pt x="304" y="23"/>
                  </a:lnTo>
                  <a:lnTo>
                    <a:pt x="304" y="22"/>
                  </a:lnTo>
                  <a:lnTo>
                    <a:pt x="306" y="22"/>
                  </a:lnTo>
                  <a:lnTo>
                    <a:pt x="307" y="22"/>
                  </a:lnTo>
                  <a:lnTo>
                    <a:pt x="308" y="23"/>
                  </a:lnTo>
                  <a:lnTo>
                    <a:pt x="307" y="22"/>
                  </a:lnTo>
                  <a:lnTo>
                    <a:pt x="308" y="22"/>
                  </a:lnTo>
                  <a:lnTo>
                    <a:pt x="309" y="21"/>
                  </a:lnTo>
                  <a:lnTo>
                    <a:pt x="308" y="21"/>
                  </a:lnTo>
                  <a:lnTo>
                    <a:pt x="307" y="20"/>
                  </a:lnTo>
                  <a:lnTo>
                    <a:pt x="308" y="18"/>
                  </a:lnTo>
                  <a:lnTo>
                    <a:pt x="309" y="20"/>
                  </a:lnTo>
                  <a:lnTo>
                    <a:pt x="309" y="18"/>
                  </a:lnTo>
                  <a:lnTo>
                    <a:pt x="309" y="17"/>
                  </a:lnTo>
                  <a:lnTo>
                    <a:pt x="307" y="16"/>
                  </a:lnTo>
                  <a:lnTo>
                    <a:pt x="306" y="15"/>
                  </a:lnTo>
                  <a:lnTo>
                    <a:pt x="302" y="12"/>
                  </a:lnTo>
                  <a:lnTo>
                    <a:pt x="302" y="11"/>
                  </a:lnTo>
                  <a:lnTo>
                    <a:pt x="303" y="11"/>
                  </a:lnTo>
                  <a:lnTo>
                    <a:pt x="304" y="12"/>
                  </a:lnTo>
                  <a:lnTo>
                    <a:pt x="308" y="16"/>
                  </a:lnTo>
                  <a:lnTo>
                    <a:pt x="309" y="15"/>
                  </a:lnTo>
                  <a:lnTo>
                    <a:pt x="308" y="15"/>
                  </a:lnTo>
                  <a:lnTo>
                    <a:pt x="308" y="13"/>
                  </a:lnTo>
                  <a:lnTo>
                    <a:pt x="308" y="12"/>
                  </a:lnTo>
                  <a:lnTo>
                    <a:pt x="307" y="11"/>
                  </a:lnTo>
                  <a:lnTo>
                    <a:pt x="307" y="10"/>
                  </a:lnTo>
                  <a:lnTo>
                    <a:pt x="308" y="10"/>
                  </a:lnTo>
                  <a:lnTo>
                    <a:pt x="308" y="11"/>
                  </a:lnTo>
                  <a:lnTo>
                    <a:pt x="309" y="11"/>
                  </a:lnTo>
                  <a:lnTo>
                    <a:pt x="309" y="12"/>
                  </a:lnTo>
                  <a:lnTo>
                    <a:pt x="309" y="10"/>
                  </a:lnTo>
                  <a:lnTo>
                    <a:pt x="309" y="9"/>
                  </a:lnTo>
                  <a:lnTo>
                    <a:pt x="309" y="6"/>
                  </a:lnTo>
                  <a:lnTo>
                    <a:pt x="310" y="6"/>
                  </a:lnTo>
                  <a:lnTo>
                    <a:pt x="310" y="7"/>
                  </a:lnTo>
                  <a:lnTo>
                    <a:pt x="310" y="9"/>
                  </a:lnTo>
                  <a:lnTo>
                    <a:pt x="310" y="12"/>
                  </a:lnTo>
                  <a:lnTo>
                    <a:pt x="310" y="13"/>
                  </a:lnTo>
                  <a:lnTo>
                    <a:pt x="310" y="1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8" name="Freeform 61"/>
            <p:cNvSpPr>
              <a:spLocks/>
            </p:cNvSpPr>
            <p:nvPr userDrawn="1"/>
          </p:nvSpPr>
          <p:spPr bwMode="auto">
            <a:xfrm>
              <a:off x="404813" y="6256338"/>
              <a:ext cx="282575" cy="304800"/>
            </a:xfrm>
            <a:custGeom>
              <a:avLst/>
              <a:gdLst/>
              <a:ahLst/>
              <a:cxnLst>
                <a:cxn ang="0">
                  <a:pos x="102" y="417"/>
                </a:cxn>
                <a:cxn ang="0">
                  <a:pos x="144" y="361"/>
                </a:cxn>
                <a:cxn ang="0">
                  <a:pos x="246" y="330"/>
                </a:cxn>
                <a:cxn ang="0">
                  <a:pos x="243" y="325"/>
                </a:cxn>
                <a:cxn ang="0">
                  <a:pos x="178" y="314"/>
                </a:cxn>
                <a:cxn ang="0">
                  <a:pos x="169" y="275"/>
                </a:cxn>
                <a:cxn ang="0">
                  <a:pos x="195" y="238"/>
                </a:cxn>
                <a:cxn ang="0">
                  <a:pos x="210" y="208"/>
                </a:cxn>
                <a:cxn ang="0">
                  <a:pos x="230" y="149"/>
                </a:cxn>
                <a:cxn ang="0">
                  <a:pos x="281" y="159"/>
                </a:cxn>
                <a:cxn ang="0">
                  <a:pos x="336" y="166"/>
                </a:cxn>
                <a:cxn ang="0">
                  <a:pos x="361" y="169"/>
                </a:cxn>
                <a:cxn ang="0">
                  <a:pos x="401" y="197"/>
                </a:cxn>
                <a:cxn ang="0">
                  <a:pos x="425" y="224"/>
                </a:cxn>
                <a:cxn ang="0">
                  <a:pos x="444" y="203"/>
                </a:cxn>
                <a:cxn ang="0">
                  <a:pos x="403" y="173"/>
                </a:cxn>
                <a:cxn ang="0">
                  <a:pos x="368" y="169"/>
                </a:cxn>
                <a:cxn ang="0">
                  <a:pos x="308" y="123"/>
                </a:cxn>
                <a:cxn ang="0">
                  <a:pos x="325" y="78"/>
                </a:cxn>
                <a:cxn ang="0">
                  <a:pos x="348" y="28"/>
                </a:cxn>
                <a:cxn ang="0">
                  <a:pos x="386" y="17"/>
                </a:cxn>
                <a:cxn ang="0">
                  <a:pos x="434" y="40"/>
                </a:cxn>
                <a:cxn ang="0">
                  <a:pos x="487" y="24"/>
                </a:cxn>
                <a:cxn ang="0">
                  <a:pos x="510" y="40"/>
                </a:cxn>
                <a:cxn ang="0">
                  <a:pos x="543" y="76"/>
                </a:cxn>
                <a:cxn ang="0">
                  <a:pos x="581" y="54"/>
                </a:cxn>
                <a:cxn ang="0">
                  <a:pos x="628" y="70"/>
                </a:cxn>
                <a:cxn ang="0">
                  <a:pos x="622" y="125"/>
                </a:cxn>
                <a:cxn ang="0">
                  <a:pos x="656" y="166"/>
                </a:cxn>
                <a:cxn ang="0">
                  <a:pos x="710" y="209"/>
                </a:cxn>
                <a:cxn ang="0">
                  <a:pos x="729" y="249"/>
                </a:cxn>
                <a:cxn ang="0">
                  <a:pos x="802" y="283"/>
                </a:cxn>
                <a:cxn ang="0">
                  <a:pos x="821" y="389"/>
                </a:cxn>
                <a:cxn ang="0">
                  <a:pos x="750" y="413"/>
                </a:cxn>
                <a:cxn ang="0">
                  <a:pos x="841" y="524"/>
                </a:cxn>
                <a:cxn ang="0">
                  <a:pos x="730" y="457"/>
                </a:cxn>
                <a:cxn ang="0">
                  <a:pos x="694" y="471"/>
                </a:cxn>
                <a:cxn ang="0">
                  <a:pos x="809" y="548"/>
                </a:cxn>
                <a:cxn ang="0">
                  <a:pos x="874" y="660"/>
                </a:cxn>
                <a:cxn ang="0">
                  <a:pos x="786" y="660"/>
                </a:cxn>
                <a:cxn ang="0">
                  <a:pos x="752" y="719"/>
                </a:cxn>
                <a:cxn ang="0">
                  <a:pos x="735" y="737"/>
                </a:cxn>
                <a:cxn ang="0">
                  <a:pos x="684" y="678"/>
                </a:cxn>
                <a:cxn ang="0">
                  <a:pos x="644" y="719"/>
                </a:cxn>
                <a:cxn ang="0">
                  <a:pos x="729" y="806"/>
                </a:cxn>
                <a:cxn ang="0">
                  <a:pos x="633" y="798"/>
                </a:cxn>
                <a:cxn ang="0">
                  <a:pos x="538" y="744"/>
                </a:cxn>
                <a:cxn ang="0">
                  <a:pos x="593" y="795"/>
                </a:cxn>
                <a:cxn ang="0">
                  <a:pos x="373" y="784"/>
                </a:cxn>
                <a:cxn ang="0">
                  <a:pos x="212" y="808"/>
                </a:cxn>
                <a:cxn ang="0">
                  <a:pos x="301" y="771"/>
                </a:cxn>
                <a:cxn ang="0">
                  <a:pos x="403" y="734"/>
                </a:cxn>
                <a:cxn ang="0">
                  <a:pos x="331" y="718"/>
                </a:cxn>
                <a:cxn ang="0">
                  <a:pos x="256" y="737"/>
                </a:cxn>
                <a:cxn ang="0">
                  <a:pos x="196" y="725"/>
                </a:cxn>
                <a:cxn ang="0">
                  <a:pos x="151" y="672"/>
                </a:cxn>
                <a:cxn ang="0">
                  <a:pos x="269" y="619"/>
                </a:cxn>
                <a:cxn ang="0">
                  <a:pos x="244" y="615"/>
                </a:cxn>
                <a:cxn ang="0">
                  <a:pos x="214" y="576"/>
                </a:cxn>
                <a:cxn ang="0">
                  <a:pos x="216" y="554"/>
                </a:cxn>
                <a:cxn ang="0">
                  <a:pos x="127" y="607"/>
                </a:cxn>
                <a:cxn ang="0">
                  <a:pos x="126" y="547"/>
                </a:cxn>
                <a:cxn ang="0">
                  <a:pos x="85" y="508"/>
                </a:cxn>
              </a:cxnLst>
              <a:rect l="0" t="0" r="r" b="b"/>
              <a:pathLst>
                <a:path w="893" h="960">
                  <a:moveTo>
                    <a:pt x="9" y="455"/>
                  </a:moveTo>
                  <a:lnTo>
                    <a:pt x="7" y="452"/>
                  </a:lnTo>
                  <a:lnTo>
                    <a:pt x="9" y="453"/>
                  </a:lnTo>
                  <a:lnTo>
                    <a:pt x="13" y="451"/>
                  </a:lnTo>
                  <a:lnTo>
                    <a:pt x="14" y="453"/>
                  </a:lnTo>
                  <a:lnTo>
                    <a:pt x="16" y="455"/>
                  </a:lnTo>
                  <a:lnTo>
                    <a:pt x="16" y="453"/>
                  </a:lnTo>
                  <a:lnTo>
                    <a:pt x="15" y="452"/>
                  </a:lnTo>
                  <a:lnTo>
                    <a:pt x="15" y="451"/>
                  </a:lnTo>
                  <a:lnTo>
                    <a:pt x="20" y="451"/>
                  </a:lnTo>
                  <a:lnTo>
                    <a:pt x="20" y="453"/>
                  </a:lnTo>
                  <a:lnTo>
                    <a:pt x="21" y="455"/>
                  </a:lnTo>
                  <a:lnTo>
                    <a:pt x="26" y="456"/>
                  </a:lnTo>
                  <a:lnTo>
                    <a:pt x="23" y="453"/>
                  </a:lnTo>
                  <a:lnTo>
                    <a:pt x="21" y="451"/>
                  </a:lnTo>
                  <a:lnTo>
                    <a:pt x="21" y="449"/>
                  </a:lnTo>
                  <a:lnTo>
                    <a:pt x="20" y="446"/>
                  </a:lnTo>
                  <a:lnTo>
                    <a:pt x="23" y="445"/>
                  </a:lnTo>
                  <a:lnTo>
                    <a:pt x="24" y="446"/>
                  </a:lnTo>
                  <a:lnTo>
                    <a:pt x="25" y="447"/>
                  </a:lnTo>
                  <a:lnTo>
                    <a:pt x="27" y="447"/>
                  </a:lnTo>
                  <a:lnTo>
                    <a:pt x="29" y="450"/>
                  </a:lnTo>
                  <a:lnTo>
                    <a:pt x="29" y="451"/>
                  </a:lnTo>
                  <a:lnTo>
                    <a:pt x="29" y="452"/>
                  </a:lnTo>
                  <a:lnTo>
                    <a:pt x="30" y="453"/>
                  </a:lnTo>
                  <a:lnTo>
                    <a:pt x="32" y="453"/>
                  </a:lnTo>
                  <a:lnTo>
                    <a:pt x="33" y="453"/>
                  </a:lnTo>
                  <a:lnTo>
                    <a:pt x="33" y="455"/>
                  </a:lnTo>
                  <a:lnTo>
                    <a:pt x="32" y="455"/>
                  </a:lnTo>
                  <a:lnTo>
                    <a:pt x="33" y="456"/>
                  </a:lnTo>
                  <a:lnTo>
                    <a:pt x="37" y="456"/>
                  </a:lnTo>
                  <a:lnTo>
                    <a:pt x="37" y="451"/>
                  </a:lnTo>
                  <a:lnTo>
                    <a:pt x="38" y="450"/>
                  </a:lnTo>
                  <a:lnTo>
                    <a:pt x="39" y="449"/>
                  </a:lnTo>
                  <a:lnTo>
                    <a:pt x="42" y="451"/>
                  </a:lnTo>
                  <a:lnTo>
                    <a:pt x="42" y="452"/>
                  </a:lnTo>
                  <a:lnTo>
                    <a:pt x="43" y="452"/>
                  </a:lnTo>
                  <a:lnTo>
                    <a:pt x="48" y="452"/>
                  </a:lnTo>
                  <a:lnTo>
                    <a:pt x="47" y="451"/>
                  </a:lnTo>
                  <a:lnTo>
                    <a:pt x="45" y="450"/>
                  </a:lnTo>
                  <a:lnTo>
                    <a:pt x="43" y="449"/>
                  </a:lnTo>
                  <a:lnTo>
                    <a:pt x="43" y="445"/>
                  </a:lnTo>
                  <a:lnTo>
                    <a:pt x="42" y="443"/>
                  </a:lnTo>
                  <a:lnTo>
                    <a:pt x="39" y="439"/>
                  </a:lnTo>
                  <a:lnTo>
                    <a:pt x="39" y="437"/>
                  </a:lnTo>
                  <a:lnTo>
                    <a:pt x="41" y="437"/>
                  </a:lnTo>
                  <a:lnTo>
                    <a:pt x="41" y="435"/>
                  </a:lnTo>
                  <a:lnTo>
                    <a:pt x="43" y="435"/>
                  </a:lnTo>
                  <a:lnTo>
                    <a:pt x="44" y="437"/>
                  </a:lnTo>
                  <a:lnTo>
                    <a:pt x="44" y="438"/>
                  </a:lnTo>
                  <a:lnTo>
                    <a:pt x="45" y="438"/>
                  </a:lnTo>
                  <a:lnTo>
                    <a:pt x="45" y="437"/>
                  </a:lnTo>
                  <a:lnTo>
                    <a:pt x="47" y="438"/>
                  </a:lnTo>
                  <a:lnTo>
                    <a:pt x="48" y="441"/>
                  </a:lnTo>
                  <a:lnTo>
                    <a:pt x="49" y="441"/>
                  </a:lnTo>
                  <a:lnTo>
                    <a:pt x="50" y="441"/>
                  </a:lnTo>
                  <a:lnTo>
                    <a:pt x="51" y="443"/>
                  </a:lnTo>
                  <a:lnTo>
                    <a:pt x="53" y="443"/>
                  </a:lnTo>
                  <a:lnTo>
                    <a:pt x="53" y="445"/>
                  </a:lnTo>
                  <a:lnTo>
                    <a:pt x="54" y="446"/>
                  </a:lnTo>
                  <a:lnTo>
                    <a:pt x="54" y="445"/>
                  </a:lnTo>
                  <a:lnTo>
                    <a:pt x="54" y="444"/>
                  </a:lnTo>
                  <a:lnTo>
                    <a:pt x="54" y="441"/>
                  </a:lnTo>
                  <a:lnTo>
                    <a:pt x="55" y="441"/>
                  </a:lnTo>
                  <a:lnTo>
                    <a:pt x="56" y="441"/>
                  </a:lnTo>
                  <a:lnTo>
                    <a:pt x="60" y="441"/>
                  </a:lnTo>
                  <a:lnTo>
                    <a:pt x="59" y="438"/>
                  </a:lnTo>
                  <a:lnTo>
                    <a:pt x="60" y="438"/>
                  </a:lnTo>
                  <a:lnTo>
                    <a:pt x="61" y="437"/>
                  </a:lnTo>
                  <a:lnTo>
                    <a:pt x="61" y="434"/>
                  </a:lnTo>
                  <a:lnTo>
                    <a:pt x="61" y="433"/>
                  </a:lnTo>
                  <a:lnTo>
                    <a:pt x="63" y="432"/>
                  </a:lnTo>
                  <a:lnTo>
                    <a:pt x="65" y="433"/>
                  </a:lnTo>
                  <a:lnTo>
                    <a:pt x="66" y="434"/>
                  </a:lnTo>
                  <a:lnTo>
                    <a:pt x="67" y="433"/>
                  </a:lnTo>
                  <a:lnTo>
                    <a:pt x="68" y="433"/>
                  </a:lnTo>
                  <a:lnTo>
                    <a:pt x="69" y="432"/>
                  </a:lnTo>
                  <a:lnTo>
                    <a:pt x="69" y="431"/>
                  </a:lnTo>
                  <a:lnTo>
                    <a:pt x="68" y="431"/>
                  </a:lnTo>
                  <a:lnTo>
                    <a:pt x="67" y="429"/>
                  </a:lnTo>
                  <a:lnTo>
                    <a:pt x="68" y="428"/>
                  </a:lnTo>
                  <a:lnTo>
                    <a:pt x="67" y="426"/>
                  </a:lnTo>
                  <a:lnTo>
                    <a:pt x="68" y="425"/>
                  </a:lnTo>
                  <a:lnTo>
                    <a:pt x="69" y="425"/>
                  </a:lnTo>
                  <a:lnTo>
                    <a:pt x="71" y="426"/>
                  </a:lnTo>
                  <a:lnTo>
                    <a:pt x="72" y="427"/>
                  </a:lnTo>
                  <a:lnTo>
                    <a:pt x="72" y="426"/>
                  </a:lnTo>
                  <a:lnTo>
                    <a:pt x="73" y="426"/>
                  </a:lnTo>
                  <a:lnTo>
                    <a:pt x="74" y="426"/>
                  </a:lnTo>
                  <a:lnTo>
                    <a:pt x="74" y="427"/>
                  </a:lnTo>
                  <a:lnTo>
                    <a:pt x="75" y="428"/>
                  </a:lnTo>
                  <a:lnTo>
                    <a:pt x="79" y="428"/>
                  </a:lnTo>
                  <a:lnTo>
                    <a:pt x="79" y="429"/>
                  </a:lnTo>
                  <a:lnTo>
                    <a:pt x="80" y="429"/>
                  </a:lnTo>
                  <a:lnTo>
                    <a:pt x="83" y="429"/>
                  </a:lnTo>
                  <a:lnTo>
                    <a:pt x="83" y="428"/>
                  </a:lnTo>
                  <a:lnTo>
                    <a:pt x="80" y="427"/>
                  </a:lnTo>
                  <a:lnTo>
                    <a:pt x="79" y="427"/>
                  </a:lnTo>
                  <a:lnTo>
                    <a:pt x="79" y="425"/>
                  </a:lnTo>
                  <a:lnTo>
                    <a:pt x="78" y="421"/>
                  </a:lnTo>
                  <a:lnTo>
                    <a:pt x="78" y="420"/>
                  </a:lnTo>
                  <a:lnTo>
                    <a:pt x="79" y="419"/>
                  </a:lnTo>
                  <a:lnTo>
                    <a:pt x="80" y="420"/>
                  </a:lnTo>
                  <a:lnTo>
                    <a:pt x="82" y="422"/>
                  </a:lnTo>
                  <a:lnTo>
                    <a:pt x="83" y="422"/>
                  </a:lnTo>
                  <a:lnTo>
                    <a:pt x="84" y="422"/>
                  </a:lnTo>
                  <a:lnTo>
                    <a:pt x="86" y="423"/>
                  </a:lnTo>
                  <a:lnTo>
                    <a:pt x="89" y="423"/>
                  </a:lnTo>
                  <a:lnTo>
                    <a:pt x="90" y="422"/>
                  </a:lnTo>
                  <a:lnTo>
                    <a:pt x="92" y="421"/>
                  </a:lnTo>
                  <a:lnTo>
                    <a:pt x="92" y="423"/>
                  </a:lnTo>
                  <a:lnTo>
                    <a:pt x="95" y="423"/>
                  </a:lnTo>
                  <a:lnTo>
                    <a:pt x="95" y="425"/>
                  </a:lnTo>
                  <a:lnTo>
                    <a:pt x="98" y="425"/>
                  </a:lnTo>
                  <a:lnTo>
                    <a:pt x="100" y="423"/>
                  </a:lnTo>
                  <a:lnTo>
                    <a:pt x="101" y="423"/>
                  </a:lnTo>
                  <a:lnTo>
                    <a:pt x="102" y="423"/>
                  </a:lnTo>
                  <a:lnTo>
                    <a:pt x="102" y="421"/>
                  </a:lnTo>
                  <a:lnTo>
                    <a:pt x="102" y="420"/>
                  </a:lnTo>
                  <a:lnTo>
                    <a:pt x="102" y="417"/>
                  </a:lnTo>
                  <a:lnTo>
                    <a:pt x="102" y="416"/>
                  </a:lnTo>
                  <a:lnTo>
                    <a:pt x="102" y="415"/>
                  </a:lnTo>
                  <a:lnTo>
                    <a:pt x="103" y="415"/>
                  </a:lnTo>
                  <a:lnTo>
                    <a:pt x="106" y="414"/>
                  </a:lnTo>
                  <a:lnTo>
                    <a:pt x="106" y="415"/>
                  </a:lnTo>
                  <a:lnTo>
                    <a:pt x="107" y="419"/>
                  </a:lnTo>
                  <a:lnTo>
                    <a:pt x="108" y="419"/>
                  </a:lnTo>
                  <a:lnTo>
                    <a:pt x="109" y="420"/>
                  </a:lnTo>
                  <a:lnTo>
                    <a:pt x="112" y="422"/>
                  </a:lnTo>
                  <a:lnTo>
                    <a:pt x="115" y="422"/>
                  </a:lnTo>
                  <a:lnTo>
                    <a:pt x="115" y="421"/>
                  </a:lnTo>
                  <a:lnTo>
                    <a:pt x="114" y="421"/>
                  </a:lnTo>
                  <a:lnTo>
                    <a:pt x="113" y="420"/>
                  </a:lnTo>
                  <a:lnTo>
                    <a:pt x="113" y="417"/>
                  </a:lnTo>
                  <a:lnTo>
                    <a:pt x="112" y="416"/>
                  </a:lnTo>
                  <a:lnTo>
                    <a:pt x="110" y="413"/>
                  </a:lnTo>
                  <a:lnTo>
                    <a:pt x="110" y="410"/>
                  </a:lnTo>
                  <a:lnTo>
                    <a:pt x="109" y="409"/>
                  </a:lnTo>
                  <a:lnTo>
                    <a:pt x="109" y="408"/>
                  </a:lnTo>
                  <a:lnTo>
                    <a:pt x="110" y="407"/>
                  </a:lnTo>
                  <a:lnTo>
                    <a:pt x="113" y="405"/>
                  </a:lnTo>
                  <a:lnTo>
                    <a:pt x="113" y="407"/>
                  </a:lnTo>
                  <a:lnTo>
                    <a:pt x="114" y="407"/>
                  </a:lnTo>
                  <a:lnTo>
                    <a:pt x="116" y="408"/>
                  </a:lnTo>
                  <a:lnTo>
                    <a:pt x="116" y="409"/>
                  </a:lnTo>
                  <a:lnTo>
                    <a:pt x="119" y="411"/>
                  </a:lnTo>
                  <a:lnTo>
                    <a:pt x="120" y="410"/>
                  </a:lnTo>
                  <a:lnTo>
                    <a:pt x="121" y="409"/>
                  </a:lnTo>
                  <a:lnTo>
                    <a:pt x="122" y="409"/>
                  </a:lnTo>
                  <a:lnTo>
                    <a:pt x="122" y="410"/>
                  </a:lnTo>
                  <a:lnTo>
                    <a:pt x="124" y="411"/>
                  </a:lnTo>
                  <a:lnTo>
                    <a:pt x="125" y="410"/>
                  </a:lnTo>
                  <a:lnTo>
                    <a:pt x="127" y="410"/>
                  </a:lnTo>
                  <a:lnTo>
                    <a:pt x="128" y="411"/>
                  </a:lnTo>
                  <a:lnTo>
                    <a:pt x="132" y="411"/>
                  </a:lnTo>
                  <a:lnTo>
                    <a:pt x="134" y="411"/>
                  </a:lnTo>
                  <a:lnTo>
                    <a:pt x="133" y="409"/>
                  </a:lnTo>
                  <a:lnTo>
                    <a:pt x="132" y="408"/>
                  </a:lnTo>
                  <a:lnTo>
                    <a:pt x="132" y="405"/>
                  </a:lnTo>
                  <a:lnTo>
                    <a:pt x="131" y="404"/>
                  </a:lnTo>
                  <a:lnTo>
                    <a:pt x="130" y="403"/>
                  </a:lnTo>
                  <a:lnTo>
                    <a:pt x="127" y="403"/>
                  </a:lnTo>
                  <a:lnTo>
                    <a:pt x="126" y="403"/>
                  </a:lnTo>
                  <a:lnTo>
                    <a:pt x="126" y="402"/>
                  </a:lnTo>
                  <a:lnTo>
                    <a:pt x="127" y="401"/>
                  </a:lnTo>
                  <a:lnTo>
                    <a:pt x="127" y="399"/>
                  </a:lnTo>
                  <a:lnTo>
                    <a:pt x="128" y="397"/>
                  </a:lnTo>
                  <a:lnTo>
                    <a:pt x="127" y="398"/>
                  </a:lnTo>
                  <a:lnTo>
                    <a:pt x="126" y="398"/>
                  </a:lnTo>
                  <a:lnTo>
                    <a:pt x="125" y="399"/>
                  </a:lnTo>
                  <a:lnTo>
                    <a:pt x="122" y="397"/>
                  </a:lnTo>
                  <a:lnTo>
                    <a:pt x="120" y="396"/>
                  </a:lnTo>
                  <a:lnTo>
                    <a:pt x="119" y="395"/>
                  </a:lnTo>
                  <a:lnTo>
                    <a:pt x="116" y="395"/>
                  </a:lnTo>
                  <a:lnTo>
                    <a:pt x="115" y="395"/>
                  </a:lnTo>
                  <a:lnTo>
                    <a:pt x="115" y="393"/>
                  </a:lnTo>
                  <a:lnTo>
                    <a:pt x="114" y="393"/>
                  </a:lnTo>
                  <a:lnTo>
                    <a:pt x="113" y="392"/>
                  </a:lnTo>
                  <a:lnTo>
                    <a:pt x="110" y="391"/>
                  </a:lnTo>
                  <a:lnTo>
                    <a:pt x="110" y="390"/>
                  </a:lnTo>
                  <a:lnTo>
                    <a:pt x="109" y="389"/>
                  </a:lnTo>
                  <a:lnTo>
                    <a:pt x="108" y="387"/>
                  </a:lnTo>
                  <a:lnTo>
                    <a:pt x="109" y="385"/>
                  </a:lnTo>
                  <a:lnTo>
                    <a:pt x="109" y="382"/>
                  </a:lnTo>
                  <a:lnTo>
                    <a:pt x="107" y="379"/>
                  </a:lnTo>
                  <a:lnTo>
                    <a:pt x="106" y="378"/>
                  </a:lnTo>
                  <a:lnTo>
                    <a:pt x="106" y="375"/>
                  </a:lnTo>
                  <a:lnTo>
                    <a:pt x="107" y="375"/>
                  </a:lnTo>
                  <a:lnTo>
                    <a:pt x="107" y="374"/>
                  </a:lnTo>
                  <a:lnTo>
                    <a:pt x="109" y="374"/>
                  </a:lnTo>
                  <a:lnTo>
                    <a:pt x="109" y="375"/>
                  </a:lnTo>
                  <a:lnTo>
                    <a:pt x="110" y="375"/>
                  </a:lnTo>
                  <a:lnTo>
                    <a:pt x="110" y="378"/>
                  </a:lnTo>
                  <a:lnTo>
                    <a:pt x="112" y="376"/>
                  </a:lnTo>
                  <a:lnTo>
                    <a:pt x="113" y="376"/>
                  </a:lnTo>
                  <a:lnTo>
                    <a:pt x="114" y="376"/>
                  </a:lnTo>
                  <a:lnTo>
                    <a:pt x="114" y="375"/>
                  </a:lnTo>
                  <a:lnTo>
                    <a:pt x="113" y="374"/>
                  </a:lnTo>
                  <a:lnTo>
                    <a:pt x="114" y="370"/>
                  </a:lnTo>
                  <a:lnTo>
                    <a:pt x="115" y="370"/>
                  </a:lnTo>
                  <a:lnTo>
                    <a:pt x="116" y="370"/>
                  </a:lnTo>
                  <a:lnTo>
                    <a:pt x="116" y="372"/>
                  </a:lnTo>
                  <a:lnTo>
                    <a:pt x="118" y="373"/>
                  </a:lnTo>
                  <a:lnTo>
                    <a:pt x="120" y="374"/>
                  </a:lnTo>
                  <a:lnTo>
                    <a:pt x="120" y="375"/>
                  </a:lnTo>
                  <a:lnTo>
                    <a:pt x="121" y="376"/>
                  </a:lnTo>
                  <a:lnTo>
                    <a:pt x="122" y="379"/>
                  </a:lnTo>
                  <a:lnTo>
                    <a:pt x="124" y="379"/>
                  </a:lnTo>
                  <a:lnTo>
                    <a:pt x="125" y="379"/>
                  </a:lnTo>
                  <a:lnTo>
                    <a:pt x="126" y="378"/>
                  </a:lnTo>
                  <a:lnTo>
                    <a:pt x="125" y="376"/>
                  </a:lnTo>
                  <a:lnTo>
                    <a:pt x="124" y="375"/>
                  </a:lnTo>
                  <a:lnTo>
                    <a:pt x="124" y="373"/>
                  </a:lnTo>
                  <a:lnTo>
                    <a:pt x="124" y="372"/>
                  </a:lnTo>
                  <a:lnTo>
                    <a:pt x="124" y="370"/>
                  </a:lnTo>
                  <a:lnTo>
                    <a:pt x="126" y="369"/>
                  </a:lnTo>
                  <a:lnTo>
                    <a:pt x="127" y="369"/>
                  </a:lnTo>
                  <a:lnTo>
                    <a:pt x="127" y="372"/>
                  </a:lnTo>
                  <a:lnTo>
                    <a:pt x="127" y="369"/>
                  </a:lnTo>
                  <a:lnTo>
                    <a:pt x="128" y="369"/>
                  </a:lnTo>
                  <a:lnTo>
                    <a:pt x="128" y="370"/>
                  </a:lnTo>
                  <a:lnTo>
                    <a:pt x="131" y="370"/>
                  </a:lnTo>
                  <a:lnTo>
                    <a:pt x="133" y="370"/>
                  </a:lnTo>
                  <a:lnTo>
                    <a:pt x="133" y="372"/>
                  </a:lnTo>
                  <a:lnTo>
                    <a:pt x="134" y="373"/>
                  </a:lnTo>
                  <a:lnTo>
                    <a:pt x="134" y="374"/>
                  </a:lnTo>
                  <a:lnTo>
                    <a:pt x="136" y="375"/>
                  </a:lnTo>
                  <a:lnTo>
                    <a:pt x="138" y="374"/>
                  </a:lnTo>
                  <a:lnTo>
                    <a:pt x="138" y="373"/>
                  </a:lnTo>
                  <a:lnTo>
                    <a:pt x="138" y="370"/>
                  </a:lnTo>
                  <a:lnTo>
                    <a:pt x="139" y="368"/>
                  </a:lnTo>
                  <a:lnTo>
                    <a:pt x="139" y="367"/>
                  </a:lnTo>
                  <a:lnTo>
                    <a:pt x="141" y="366"/>
                  </a:lnTo>
                  <a:lnTo>
                    <a:pt x="144" y="366"/>
                  </a:lnTo>
                  <a:lnTo>
                    <a:pt x="143" y="369"/>
                  </a:lnTo>
                  <a:lnTo>
                    <a:pt x="144" y="370"/>
                  </a:lnTo>
                  <a:lnTo>
                    <a:pt x="147" y="370"/>
                  </a:lnTo>
                  <a:lnTo>
                    <a:pt x="147" y="368"/>
                  </a:lnTo>
                  <a:lnTo>
                    <a:pt x="145" y="366"/>
                  </a:lnTo>
                  <a:lnTo>
                    <a:pt x="144" y="361"/>
                  </a:lnTo>
                  <a:lnTo>
                    <a:pt x="144" y="358"/>
                  </a:lnTo>
                  <a:lnTo>
                    <a:pt x="144" y="357"/>
                  </a:lnTo>
                  <a:lnTo>
                    <a:pt x="145" y="357"/>
                  </a:lnTo>
                  <a:lnTo>
                    <a:pt x="147" y="356"/>
                  </a:lnTo>
                  <a:lnTo>
                    <a:pt x="148" y="357"/>
                  </a:lnTo>
                  <a:lnTo>
                    <a:pt x="150" y="358"/>
                  </a:lnTo>
                  <a:lnTo>
                    <a:pt x="150" y="360"/>
                  </a:lnTo>
                  <a:lnTo>
                    <a:pt x="151" y="358"/>
                  </a:lnTo>
                  <a:lnTo>
                    <a:pt x="151" y="361"/>
                  </a:lnTo>
                  <a:lnTo>
                    <a:pt x="151" y="362"/>
                  </a:lnTo>
                  <a:lnTo>
                    <a:pt x="151" y="363"/>
                  </a:lnTo>
                  <a:lnTo>
                    <a:pt x="153" y="363"/>
                  </a:lnTo>
                  <a:lnTo>
                    <a:pt x="154" y="363"/>
                  </a:lnTo>
                  <a:lnTo>
                    <a:pt x="154" y="362"/>
                  </a:lnTo>
                  <a:lnTo>
                    <a:pt x="155" y="364"/>
                  </a:lnTo>
                  <a:lnTo>
                    <a:pt x="154" y="367"/>
                  </a:lnTo>
                  <a:lnTo>
                    <a:pt x="155" y="367"/>
                  </a:lnTo>
                  <a:lnTo>
                    <a:pt x="156" y="367"/>
                  </a:lnTo>
                  <a:lnTo>
                    <a:pt x="156" y="366"/>
                  </a:lnTo>
                  <a:lnTo>
                    <a:pt x="157" y="366"/>
                  </a:lnTo>
                  <a:lnTo>
                    <a:pt x="159" y="366"/>
                  </a:lnTo>
                  <a:lnTo>
                    <a:pt x="159" y="367"/>
                  </a:lnTo>
                  <a:lnTo>
                    <a:pt x="160" y="368"/>
                  </a:lnTo>
                  <a:lnTo>
                    <a:pt x="163" y="369"/>
                  </a:lnTo>
                  <a:lnTo>
                    <a:pt x="167" y="369"/>
                  </a:lnTo>
                  <a:lnTo>
                    <a:pt x="167" y="372"/>
                  </a:lnTo>
                  <a:lnTo>
                    <a:pt x="168" y="373"/>
                  </a:lnTo>
                  <a:lnTo>
                    <a:pt x="171" y="373"/>
                  </a:lnTo>
                  <a:lnTo>
                    <a:pt x="172" y="372"/>
                  </a:lnTo>
                  <a:lnTo>
                    <a:pt x="169" y="369"/>
                  </a:lnTo>
                  <a:lnTo>
                    <a:pt x="169" y="367"/>
                  </a:lnTo>
                  <a:lnTo>
                    <a:pt x="167" y="366"/>
                  </a:lnTo>
                  <a:lnTo>
                    <a:pt x="167" y="362"/>
                  </a:lnTo>
                  <a:lnTo>
                    <a:pt x="168" y="361"/>
                  </a:lnTo>
                  <a:lnTo>
                    <a:pt x="169" y="360"/>
                  </a:lnTo>
                  <a:lnTo>
                    <a:pt x="171" y="360"/>
                  </a:lnTo>
                  <a:lnTo>
                    <a:pt x="173" y="361"/>
                  </a:lnTo>
                  <a:lnTo>
                    <a:pt x="172" y="361"/>
                  </a:lnTo>
                  <a:lnTo>
                    <a:pt x="172" y="360"/>
                  </a:lnTo>
                  <a:lnTo>
                    <a:pt x="173" y="360"/>
                  </a:lnTo>
                  <a:lnTo>
                    <a:pt x="174" y="358"/>
                  </a:lnTo>
                  <a:lnTo>
                    <a:pt x="174" y="360"/>
                  </a:lnTo>
                  <a:lnTo>
                    <a:pt x="175" y="360"/>
                  </a:lnTo>
                  <a:lnTo>
                    <a:pt x="175" y="358"/>
                  </a:lnTo>
                  <a:lnTo>
                    <a:pt x="178" y="358"/>
                  </a:lnTo>
                  <a:lnTo>
                    <a:pt x="178" y="357"/>
                  </a:lnTo>
                  <a:lnTo>
                    <a:pt x="179" y="356"/>
                  </a:lnTo>
                  <a:lnTo>
                    <a:pt x="184" y="355"/>
                  </a:lnTo>
                  <a:lnTo>
                    <a:pt x="186" y="355"/>
                  </a:lnTo>
                  <a:lnTo>
                    <a:pt x="186" y="356"/>
                  </a:lnTo>
                  <a:lnTo>
                    <a:pt x="187" y="357"/>
                  </a:lnTo>
                  <a:lnTo>
                    <a:pt x="190" y="358"/>
                  </a:lnTo>
                  <a:lnTo>
                    <a:pt x="191" y="360"/>
                  </a:lnTo>
                  <a:lnTo>
                    <a:pt x="192" y="360"/>
                  </a:lnTo>
                  <a:lnTo>
                    <a:pt x="193" y="360"/>
                  </a:lnTo>
                  <a:lnTo>
                    <a:pt x="195" y="357"/>
                  </a:lnTo>
                  <a:lnTo>
                    <a:pt x="196" y="357"/>
                  </a:lnTo>
                  <a:lnTo>
                    <a:pt x="196" y="356"/>
                  </a:lnTo>
                  <a:lnTo>
                    <a:pt x="201" y="356"/>
                  </a:lnTo>
                  <a:lnTo>
                    <a:pt x="201" y="355"/>
                  </a:lnTo>
                  <a:lnTo>
                    <a:pt x="201" y="354"/>
                  </a:lnTo>
                  <a:lnTo>
                    <a:pt x="202" y="354"/>
                  </a:lnTo>
                  <a:lnTo>
                    <a:pt x="203" y="352"/>
                  </a:lnTo>
                  <a:lnTo>
                    <a:pt x="204" y="352"/>
                  </a:lnTo>
                  <a:lnTo>
                    <a:pt x="204" y="354"/>
                  </a:lnTo>
                  <a:lnTo>
                    <a:pt x="204" y="355"/>
                  </a:lnTo>
                  <a:lnTo>
                    <a:pt x="203" y="354"/>
                  </a:lnTo>
                  <a:lnTo>
                    <a:pt x="203" y="355"/>
                  </a:lnTo>
                  <a:lnTo>
                    <a:pt x="204" y="356"/>
                  </a:lnTo>
                  <a:lnTo>
                    <a:pt x="204" y="355"/>
                  </a:lnTo>
                  <a:lnTo>
                    <a:pt x="206" y="354"/>
                  </a:lnTo>
                  <a:lnTo>
                    <a:pt x="208" y="354"/>
                  </a:lnTo>
                  <a:lnTo>
                    <a:pt x="208" y="351"/>
                  </a:lnTo>
                  <a:lnTo>
                    <a:pt x="209" y="350"/>
                  </a:lnTo>
                  <a:lnTo>
                    <a:pt x="208" y="350"/>
                  </a:lnTo>
                  <a:lnTo>
                    <a:pt x="208" y="351"/>
                  </a:lnTo>
                  <a:lnTo>
                    <a:pt x="206" y="351"/>
                  </a:lnTo>
                  <a:lnTo>
                    <a:pt x="207" y="349"/>
                  </a:lnTo>
                  <a:lnTo>
                    <a:pt x="206" y="346"/>
                  </a:lnTo>
                  <a:lnTo>
                    <a:pt x="204" y="345"/>
                  </a:lnTo>
                  <a:lnTo>
                    <a:pt x="206" y="345"/>
                  </a:lnTo>
                  <a:lnTo>
                    <a:pt x="206" y="342"/>
                  </a:lnTo>
                  <a:lnTo>
                    <a:pt x="207" y="339"/>
                  </a:lnTo>
                  <a:lnTo>
                    <a:pt x="208" y="339"/>
                  </a:lnTo>
                  <a:lnTo>
                    <a:pt x="208" y="340"/>
                  </a:lnTo>
                  <a:lnTo>
                    <a:pt x="212" y="339"/>
                  </a:lnTo>
                  <a:lnTo>
                    <a:pt x="213" y="342"/>
                  </a:lnTo>
                  <a:lnTo>
                    <a:pt x="214" y="340"/>
                  </a:lnTo>
                  <a:lnTo>
                    <a:pt x="215" y="342"/>
                  </a:lnTo>
                  <a:lnTo>
                    <a:pt x="216" y="340"/>
                  </a:lnTo>
                  <a:lnTo>
                    <a:pt x="219" y="339"/>
                  </a:lnTo>
                  <a:lnTo>
                    <a:pt x="220" y="337"/>
                  </a:lnTo>
                  <a:lnTo>
                    <a:pt x="222" y="337"/>
                  </a:lnTo>
                  <a:lnTo>
                    <a:pt x="222" y="334"/>
                  </a:lnTo>
                  <a:lnTo>
                    <a:pt x="222" y="333"/>
                  </a:lnTo>
                  <a:lnTo>
                    <a:pt x="224" y="333"/>
                  </a:lnTo>
                  <a:lnTo>
                    <a:pt x="226" y="333"/>
                  </a:lnTo>
                  <a:lnTo>
                    <a:pt x="227" y="332"/>
                  </a:lnTo>
                  <a:lnTo>
                    <a:pt x="226" y="331"/>
                  </a:lnTo>
                  <a:lnTo>
                    <a:pt x="226" y="330"/>
                  </a:lnTo>
                  <a:lnTo>
                    <a:pt x="227" y="330"/>
                  </a:lnTo>
                  <a:lnTo>
                    <a:pt x="227" y="328"/>
                  </a:lnTo>
                  <a:lnTo>
                    <a:pt x="227" y="330"/>
                  </a:lnTo>
                  <a:lnTo>
                    <a:pt x="228" y="330"/>
                  </a:lnTo>
                  <a:lnTo>
                    <a:pt x="230" y="331"/>
                  </a:lnTo>
                  <a:lnTo>
                    <a:pt x="231" y="331"/>
                  </a:lnTo>
                  <a:lnTo>
                    <a:pt x="232" y="333"/>
                  </a:lnTo>
                  <a:lnTo>
                    <a:pt x="233" y="332"/>
                  </a:lnTo>
                  <a:lnTo>
                    <a:pt x="234" y="331"/>
                  </a:lnTo>
                  <a:lnTo>
                    <a:pt x="236" y="331"/>
                  </a:lnTo>
                  <a:lnTo>
                    <a:pt x="237" y="331"/>
                  </a:lnTo>
                  <a:lnTo>
                    <a:pt x="238" y="331"/>
                  </a:lnTo>
                  <a:lnTo>
                    <a:pt x="239" y="331"/>
                  </a:lnTo>
                  <a:lnTo>
                    <a:pt x="240" y="331"/>
                  </a:lnTo>
                  <a:lnTo>
                    <a:pt x="240" y="332"/>
                  </a:lnTo>
                  <a:lnTo>
                    <a:pt x="242" y="332"/>
                  </a:lnTo>
                  <a:lnTo>
                    <a:pt x="244" y="331"/>
                  </a:lnTo>
                  <a:lnTo>
                    <a:pt x="245" y="331"/>
                  </a:lnTo>
                  <a:lnTo>
                    <a:pt x="245" y="330"/>
                  </a:lnTo>
                  <a:lnTo>
                    <a:pt x="246" y="330"/>
                  </a:lnTo>
                  <a:lnTo>
                    <a:pt x="246" y="328"/>
                  </a:lnTo>
                  <a:lnTo>
                    <a:pt x="249" y="328"/>
                  </a:lnTo>
                  <a:lnTo>
                    <a:pt x="249" y="330"/>
                  </a:lnTo>
                  <a:lnTo>
                    <a:pt x="250" y="330"/>
                  </a:lnTo>
                  <a:lnTo>
                    <a:pt x="250" y="331"/>
                  </a:lnTo>
                  <a:lnTo>
                    <a:pt x="250" y="330"/>
                  </a:lnTo>
                  <a:lnTo>
                    <a:pt x="251" y="328"/>
                  </a:lnTo>
                  <a:lnTo>
                    <a:pt x="250" y="327"/>
                  </a:lnTo>
                  <a:lnTo>
                    <a:pt x="251" y="327"/>
                  </a:lnTo>
                  <a:lnTo>
                    <a:pt x="251" y="326"/>
                  </a:lnTo>
                  <a:lnTo>
                    <a:pt x="252" y="326"/>
                  </a:lnTo>
                  <a:lnTo>
                    <a:pt x="255" y="325"/>
                  </a:lnTo>
                  <a:lnTo>
                    <a:pt x="256" y="325"/>
                  </a:lnTo>
                  <a:lnTo>
                    <a:pt x="256" y="326"/>
                  </a:lnTo>
                  <a:lnTo>
                    <a:pt x="257" y="326"/>
                  </a:lnTo>
                  <a:lnTo>
                    <a:pt x="259" y="325"/>
                  </a:lnTo>
                  <a:lnTo>
                    <a:pt x="257" y="324"/>
                  </a:lnTo>
                  <a:lnTo>
                    <a:pt x="256" y="324"/>
                  </a:lnTo>
                  <a:lnTo>
                    <a:pt x="256" y="322"/>
                  </a:lnTo>
                  <a:lnTo>
                    <a:pt x="257" y="322"/>
                  </a:lnTo>
                  <a:lnTo>
                    <a:pt x="256" y="321"/>
                  </a:lnTo>
                  <a:lnTo>
                    <a:pt x="259" y="320"/>
                  </a:lnTo>
                  <a:lnTo>
                    <a:pt x="259" y="321"/>
                  </a:lnTo>
                  <a:lnTo>
                    <a:pt x="260" y="322"/>
                  </a:lnTo>
                  <a:lnTo>
                    <a:pt x="260" y="321"/>
                  </a:lnTo>
                  <a:lnTo>
                    <a:pt x="261" y="321"/>
                  </a:lnTo>
                  <a:lnTo>
                    <a:pt x="260" y="320"/>
                  </a:lnTo>
                  <a:lnTo>
                    <a:pt x="261" y="319"/>
                  </a:lnTo>
                  <a:lnTo>
                    <a:pt x="262" y="319"/>
                  </a:lnTo>
                  <a:lnTo>
                    <a:pt x="261" y="319"/>
                  </a:lnTo>
                  <a:lnTo>
                    <a:pt x="261" y="318"/>
                  </a:lnTo>
                  <a:lnTo>
                    <a:pt x="261" y="316"/>
                  </a:lnTo>
                  <a:lnTo>
                    <a:pt x="261" y="315"/>
                  </a:lnTo>
                  <a:lnTo>
                    <a:pt x="260" y="314"/>
                  </a:lnTo>
                  <a:lnTo>
                    <a:pt x="261" y="314"/>
                  </a:lnTo>
                  <a:lnTo>
                    <a:pt x="261" y="313"/>
                  </a:lnTo>
                  <a:lnTo>
                    <a:pt x="262" y="313"/>
                  </a:lnTo>
                  <a:lnTo>
                    <a:pt x="263" y="313"/>
                  </a:lnTo>
                  <a:lnTo>
                    <a:pt x="262" y="313"/>
                  </a:lnTo>
                  <a:lnTo>
                    <a:pt x="262" y="312"/>
                  </a:lnTo>
                  <a:lnTo>
                    <a:pt x="262" y="310"/>
                  </a:lnTo>
                  <a:lnTo>
                    <a:pt x="265" y="309"/>
                  </a:lnTo>
                  <a:lnTo>
                    <a:pt x="266" y="310"/>
                  </a:lnTo>
                  <a:lnTo>
                    <a:pt x="266" y="309"/>
                  </a:lnTo>
                  <a:lnTo>
                    <a:pt x="267" y="308"/>
                  </a:lnTo>
                  <a:lnTo>
                    <a:pt x="267" y="307"/>
                  </a:lnTo>
                  <a:lnTo>
                    <a:pt x="267" y="306"/>
                  </a:lnTo>
                  <a:lnTo>
                    <a:pt x="268" y="306"/>
                  </a:lnTo>
                  <a:lnTo>
                    <a:pt x="268" y="303"/>
                  </a:lnTo>
                  <a:lnTo>
                    <a:pt x="269" y="303"/>
                  </a:lnTo>
                  <a:lnTo>
                    <a:pt x="271" y="302"/>
                  </a:lnTo>
                  <a:lnTo>
                    <a:pt x="272" y="301"/>
                  </a:lnTo>
                  <a:lnTo>
                    <a:pt x="272" y="300"/>
                  </a:lnTo>
                  <a:lnTo>
                    <a:pt x="271" y="300"/>
                  </a:lnTo>
                  <a:lnTo>
                    <a:pt x="271" y="297"/>
                  </a:lnTo>
                  <a:lnTo>
                    <a:pt x="271" y="295"/>
                  </a:lnTo>
                  <a:lnTo>
                    <a:pt x="272" y="295"/>
                  </a:lnTo>
                  <a:lnTo>
                    <a:pt x="271" y="295"/>
                  </a:lnTo>
                  <a:lnTo>
                    <a:pt x="269" y="295"/>
                  </a:lnTo>
                  <a:lnTo>
                    <a:pt x="268" y="295"/>
                  </a:lnTo>
                  <a:lnTo>
                    <a:pt x="268" y="296"/>
                  </a:lnTo>
                  <a:lnTo>
                    <a:pt x="267" y="295"/>
                  </a:lnTo>
                  <a:lnTo>
                    <a:pt x="265" y="295"/>
                  </a:lnTo>
                  <a:lnTo>
                    <a:pt x="265" y="294"/>
                  </a:lnTo>
                  <a:lnTo>
                    <a:pt x="263" y="294"/>
                  </a:lnTo>
                  <a:lnTo>
                    <a:pt x="263" y="295"/>
                  </a:lnTo>
                  <a:lnTo>
                    <a:pt x="262" y="295"/>
                  </a:lnTo>
                  <a:lnTo>
                    <a:pt x="261" y="295"/>
                  </a:lnTo>
                  <a:lnTo>
                    <a:pt x="261" y="294"/>
                  </a:lnTo>
                  <a:lnTo>
                    <a:pt x="260" y="294"/>
                  </a:lnTo>
                  <a:lnTo>
                    <a:pt x="259" y="294"/>
                  </a:lnTo>
                  <a:lnTo>
                    <a:pt x="257" y="294"/>
                  </a:lnTo>
                  <a:lnTo>
                    <a:pt x="256" y="294"/>
                  </a:lnTo>
                  <a:lnTo>
                    <a:pt x="255" y="295"/>
                  </a:lnTo>
                  <a:lnTo>
                    <a:pt x="254" y="295"/>
                  </a:lnTo>
                  <a:lnTo>
                    <a:pt x="254" y="296"/>
                  </a:lnTo>
                  <a:lnTo>
                    <a:pt x="252" y="296"/>
                  </a:lnTo>
                  <a:lnTo>
                    <a:pt x="251" y="297"/>
                  </a:lnTo>
                  <a:lnTo>
                    <a:pt x="251" y="298"/>
                  </a:lnTo>
                  <a:lnTo>
                    <a:pt x="250" y="298"/>
                  </a:lnTo>
                  <a:lnTo>
                    <a:pt x="250" y="300"/>
                  </a:lnTo>
                  <a:lnTo>
                    <a:pt x="250" y="301"/>
                  </a:lnTo>
                  <a:lnTo>
                    <a:pt x="249" y="301"/>
                  </a:lnTo>
                  <a:lnTo>
                    <a:pt x="250" y="302"/>
                  </a:lnTo>
                  <a:lnTo>
                    <a:pt x="250" y="303"/>
                  </a:lnTo>
                  <a:lnTo>
                    <a:pt x="251" y="303"/>
                  </a:lnTo>
                  <a:lnTo>
                    <a:pt x="251" y="304"/>
                  </a:lnTo>
                  <a:lnTo>
                    <a:pt x="252" y="306"/>
                  </a:lnTo>
                  <a:lnTo>
                    <a:pt x="251" y="307"/>
                  </a:lnTo>
                  <a:lnTo>
                    <a:pt x="250" y="308"/>
                  </a:lnTo>
                  <a:lnTo>
                    <a:pt x="250" y="309"/>
                  </a:lnTo>
                  <a:lnTo>
                    <a:pt x="249" y="309"/>
                  </a:lnTo>
                  <a:lnTo>
                    <a:pt x="249" y="310"/>
                  </a:lnTo>
                  <a:lnTo>
                    <a:pt x="248" y="312"/>
                  </a:lnTo>
                  <a:lnTo>
                    <a:pt x="246" y="312"/>
                  </a:lnTo>
                  <a:lnTo>
                    <a:pt x="246" y="313"/>
                  </a:lnTo>
                  <a:lnTo>
                    <a:pt x="245" y="313"/>
                  </a:lnTo>
                  <a:lnTo>
                    <a:pt x="244" y="314"/>
                  </a:lnTo>
                  <a:lnTo>
                    <a:pt x="243" y="315"/>
                  </a:lnTo>
                  <a:lnTo>
                    <a:pt x="243" y="316"/>
                  </a:lnTo>
                  <a:lnTo>
                    <a:pt x="244" y="316"/>
                  </a:lnTo>
                  <a:lnTo>
                    <a:pt x="245" y="316"/>
                  </a:lnTo>
                  <a:lnTo>
                    <a:pt x="245" y="315"/>
                  </a:lnTo>
                  <a:lnTo>
                    <a:pt x="246" y="315"/>
                  </a:lnTo>
                  <a:lnTo>
                    <a:pt x="248" y="315"/>
                  </a:lnTo>
                  <a:lnTo>
                    <a:pt x="248" y="316"/>
                  </a:lnTo>
                  <a:lnTo>
                    <a:pt x="249" y="316"/>
                  </a:lnTo>
                  <a:lnTo>
                    <a:pt x="250" y="316"/>
                  </a:lnTo>
                  <a:lnTo>
                    <a:pt x="251" y="316"/>
                  </a:lnTo>
                  <a:lnTo>
                    <a:pt x="252" y="319"/>
                  </a:lnTo>
                  <a:lnTo>
                    <a:pt x="251" y="319"/>
                  </a:lnTo>
                  <a:lnTo>
                    <a:pt x="250" y="319"/>
                  </a:lnTo>
                  <a:lnTo>
                    <a:pt x="250" y="320"/>
                  </a:lnTo>
                  <a:lnTo>
                    <a:pt x="249" y="320"/>
                  </a:lnTo>
                  <a:lnTo>
                    <a:pt x="249" y="322"/>
                  </a:lnTo>
                  <a:lnTo>
                    <a:pt x="248" y="322"/>
                  </a:lnTo>
                  <a:lnTo>
                    <a:pt x="246" y="324"/>
                  </a:lnTo>
                  <a:lnTo>
                    <a:pt x="245" y="325"/>
                  </a:lnTo>
                  <a:lnTo>
                    <a:pt x="244" y="325"/>
                  </a:lnTo>
                  <a:lnTo>
                    <a:pt x="243" y="325"/>
                  </a:lnTo>
                  <a:lnTo>
                    <a:pt x="243" y="324"/>
                  </a:lnTo>
                  <a:lnTo>
                    <a:pt x="242" y="324"/>
                  </a:lnTo>
                  <a:lnTo>
                    <a:pt x="242" y="325"/>
                  </a:lnTo>
                  <a:lnTo>
                    <a:pt x="242" y="326"/>
                  </a:lnTo>
                  <a:lnTo>
                    <a:pt x="240" y="325"/>
                  </a:lnTo>
                  <a:lnTo>
                    <a:pt x="240" y="326"/>
                  </a:lnTo>
                  <a:lnTo>
                    <a:pt x="239" y="325"/>
                  </a:lnTo>
                  <a:lnTo>
                    <a:pt x="238" y="325"/>
                  </a:lnTo>
                  <a:lnTo>
                    <a:pt x="238" y="326"/>
                  </a:lnTo>
                  <a:lnTo>
                    <a:pt x="237" y="326"/>
                  </a:lnTo>
                  <a:lnTo>
                    <a:pt x="236" y="326"/>
                  </a:lnTo>
                  <a:lnTo>
                    <a:pt x="237" y="324"/>
                  </a:lnTo>
                  <a:lnTo>
                    <a:pt x="236" y="324"/>
                  </a:lnTo>
                  <a:lnTo>
                    <a:pt x="234" y="322"/>
                  </a:lnTo>
                  <a:lnTo>
                    <a:pt x="232" y="324"/>
                  </a:lnTo>
                  <a:lnTo>
                    <a:pt x="230" y="324"/>
                  </a:lnTo>
                  <a:lnTo>
                    <a:pt x="230" y="322"/>
                  </a:lnTo>
                  <a:lnTo>
                    <a:pt x="228" y="322"/>
                  </a:lnTo>
                  <a:lnTo>
                    <a:pt x="228" y="324"/>
                  </a:lnTo>
                  <a:lnTo>
                    <a:pt x="227" y="324"/>
                  </a:lnTo>
                  <a:lnTo>
                    <a:pt x="227" y="322"/>
                  </a:lnTo>
                  <a:lnTo>
                    <a:pt x="226" y="322"/>
                  </a:lnTo>
                  <a:lnTo>
                    <a:pt x="225" y="322"/>
                  </a:lnTo>
                  <a:lnTo>
                    <a:pt x="225" y="321"/>
                  </a:lnTo>
                  <a:lnTo>
                    <a:pt x="225" y="320"/>
                  </a:lnTo>
                  <a:lnTo>
                    <a:pt x="228" y="319"/>
                  </a:lnTo>
                  <a:lnTo>
                    <a:pt x="228" y="318"/>
                  </a:lnTo>
                  <a:lnTo>
                    <a:pt x="227" y="315"/>
                  </a:lnTo>
                  <a:lnTo>
                    <a:pt x="230" y="315"/>
                  </a:lnTo>
                  <a:lnTo>
                    <a:pt x="230" y="314"/>
                  </a:lnTo>
                  <a:lnTo>
                    <a:pt x="232" y="314"/>
                  </a:lnTo>
                  <a:lnTo>
                    <a:pt x="231" y="313"/>
                  </a:lnTo>
                  <a:lnTo>
                    <a:pt x="231" y="312"/>
                  </a:lnTo>
                  <a:lnTo>
                    <a:pt x="231" y="310"/>
                  </a:lnTo>
                  <a:lnTo>
                    <a:pt x="230" y="310"/>
                  </a:lnTo>
                  <a:lnTo>
                    <a:pt x="228" y="309"/>
                  </a:lnTo>
                  <a:lnTo>
                    <a:pt x="228" y="308"/>
                  </a:lnTo>
                  <a:lnTo>
                    <a:pt x="228" y="307"/>
                  </a:lnTo>
                  <a:lnTo>
                    <a:pt x="230" y="307"/>
                  </a:lnTo>
                  <a:lnTo>
                    <a:pt x="230" y="306"/>
                  </a:lnTo>
                  <a:lnTo>
                    <a:pt x="230" y="304"/>
                  </a:lnTo>
                  <a:lnTo>
                    <a:pt x="230" y="306"/>
                  </a:lnTo>
                  <a:lnTo>
                    <a:pt x="231" y="306"/>
                  </a:lnTo>
                  <a:lnTo>
                    <a:pt x="232" y="304"/>
                  </a:lnTo>
                  <a:lnTo>
                    <a:pt x="232" y="306"/>
                  </a:lnTo>
                  <a:lnTo>
                    <a:pt x="233" y="306"/>
                  </a:lnTo>
                  <a:lnTo>
                    <a:pt x="233" y="303"/>
                  </a:lnTo>
                  <a:lnTo>
                    <a:pt x="233" y="302"/>
                  </a:lnTo>
                  <a:lnTo>
                    <a:pt x="232" y="302"/>
                  </a:lnTo>
                  <a:lnTo>
                    <a:pt x="231" y="303"/>
                  </a:lnTo>
                  <a:lnTo>
                    <a:pt x="232" y="302"/>
                  </a:lnTo>
                  <a:lnTo>
                    <a:pt x="231" y="301"/>
                  </a:lnTo>
                  <a:lnTo>
                    <a:pt x="231" y="302"/>
                  </a:lnTo>
                  <a:lnTo>
                    <a:pt x="228" y="302"/>
                  </a:lnTo>
                  <a:lnTo>
                    <a:pt x="228" y="303"/>
                  </a:lnTo>
                  <a:lnTo>
                    <a:pt x="227" y="304"/>
                  </a:lnTo>
                  <a:lnTo>
                    <a:pt x="226" y="304"/>
                  </a:lnTo>
                  <a:lnTo>
                    <a:pt x="225" y="304"/>
                  </a:lnTo>
                  <a:lnTo>
                    <a:pt x="224" y="306"/>
                  </a:lnTo>
                  <a:lnTo>
                    <a:pt x="222" y="306"/>
                  </a:lnTo>
                  <a:lnTo>
                    <a:pt x="221" y="306"/>
                  </a:lnTo>
                  <a:lnTo>
                    <a:pt x="221" y="307"/>
                  </a:lnTo>
                  <a:lnTo>
                    <a:pt x="220" y="306"/>
                  </a:lnTo>
                  <a:lnTo>
                    <a:pt x="219" y="306"/>
                  </a:lnTo>
                  <a:lnTo>
                    <a:pt x="219" y="307"/>
                  </a:lnTo>
                  <a:lnTo>
                    <a:pt x="218" y="307"/>
                  </a:lnTo>
                  <a:lnTo>
                    <a:pt x="216" y="307"/>
                  </a:lnTo>
                  <a:lnTo>
                    <a:pt x="215" y="306"/>
                  </a:lnTo>
                  <a:lnTo>
                    <a:pt x="215" y="307"/>
                  </a:lnTo>
                  <a:lnTo>
                    <a:pt x="214" y="308"/>
                  </a:lnTo>
                  <a:lnTo>
                    <a:pt x="214" y="309"/>
                  </a:lnTo>
                  <a:lnTo>
                    <a:pt x="213" y="308"/>
                  </a:lnTo>
                  <a:lnTo>
                    <a:pt x="213" y="309"/>
                  </a:lnTo>
                  <a:lnTo>
                    <a:pt x="212" y="309"/>
                  </a:lnTo>
                  <a:lnTo>
                    <a:pt x="212" y="310"/>
                  </a:lnTo>
                  <a:lnTo>
                    <a:pt x="213" y="310"/>
                  </a:lnTo>
                  <a:lnTo>
                    <a:pt x="212" y="310"/>
                  </a:lnTo>
                  <a:lnTo>
                    <a:pt x="212" y="312"/>
                  </a:lnTo>
                  <a:lnTo>
                    <a:pt x="210" y="312"/>
                  </a:lnTo>
                  <a:lnTo>
                    <a:pt x="209" y="310"/>
                  </a:lnTo>
                  <a:lnTo>
                    <a:pt x="209" y="312"/>
                  </a:lnTo>
                  <a:lnTo>
                    <a:pt x="208" y="313"/>
                  </a:lnTo>
                  <a:lnTo>
                    <a:pt x="207" y="312"/>
                  </a:lnTo>
                  <a:lnTo>
                    <a:pt x="206" y="312"/>
                  </a:lnTo>
                  <a:lnTo>
                    <a:pt x="204" y="310"/>
                  </a:lnTo>
                  <a:lnTo>
                    <a:pt x="202" y="310"/>
                  </a:lnTo>
                  <a:lnTo>
                    <a:pt x="202" y="309"/>
                  </a:lnTo>
                  <a:lnTo>
                    <a:pt x="200" y="309"/>
                  </a:lnTo>
                  <a:lnTo>
                    <a:pt x="198" y="309"/>
                  </a:lnTo>
                  <a:lnTo>
                    <a:pt x="198" y="308"/>
                  </a:lnTo>
                  <a:lnTo>
                    <a:pt x="197" y="308"/>
                  </a:lnTo>
                  <a:lnTo>
                    <a:pt x="196" y="307"/>
                  </a:lnTo>
                  <a:lnTo>
                    <a:pt x="196" y="308"/>
                  </a:lnTo>
                  <a:lnTo>
                    <a:pt x="196" y="309"/>
                  </a:lnTo>
                  <a:lnTo>
                    <a:pt x="195" y="308"/>
                  </a:lnTo>
                  <a:lnTo>
                    <a:pt x="195" y="310"/>
                  </a:lnTo>
                  <a:lnTo>
                    <a:pt x="193" y="310"/>
                  </a:lnTo>
                  <a:lnTo>
                    <a:pt x="192" y="312"/>
                  </a:lnTo>
                  <a:lnTo>
                    <a:pt x="191" y="312"/>
                  </a:lnTo>
                  <a:lnTo>
                    <a:pt x="191" y="313"/>
                  </a:lnTo>
                  <a:lnTo>
                    <a:pt x="190" y="314"/>
                  </a:lnTo>
                  <a:lnTo>
                    <a:pt x="190" y="313"/>
                  </a:lnTo>
                  <a:lnTo>
                    <a:pt x="189" y="312"/>
                  </a:lnTo>
                  <a:lnTo>
                    <a:pt x="189" y="310"/>
                  </a:lnTo>
                  <a:lnTo>
                    <a:pt x="187" y="312"/>
                  </a:lnTo>
                  <a:lnTo>
                    <a:pt x="186" y="313"/>
                  </a:lnTo>
                  <a:lnTo>
                    <a:pt x="187" y="313"/>
                  </a:lnTo>
                  <a:lnTo>
                    <a:pt x="186" y="315"/>
                  </a:lnTo>
                  <a:lnTo>
                    <a:pt x="187" y="315"/>
                  </a:lnTo>
                  <a:lnTo>
                    <a:pt x="186" y="315"/>
                  </a:lnTo>
                  <a:lnTo>
                    <a:pt x="186" y="314"/>
                  </a:lnTo>
                  <a:lnTo>
                    <a:pt x="185" y="315"/>
                  </a:lnTo>
                  <a:lnTo>
                    <a:pt x="185" y="316"/>
                  </a:lnTo>
                  <a:lnTo>
                    <a:pt x="184" y="316"/>
                  </a:lnTo>
                  <a:lnTo>
                    <a:pt x="183" y="314"/>
                  </a:lnTo>
                  <a:lnTo>
                    <a:pt x="181" y="313"/>
                  </a:lnTo>
                  <a:lnTo>
                    <a:pt x="181" y="314"/>
                  </a:lnTo>
                  <a:lnTo>
                    <a:pt x="180" y="314"/>
                  </a:lnTo>
                  <a:lnTo>
                    <a:pt x="178" y="315"/>
                  </a:lnTo>
                  <a:lnTo>
                    <a:pt x="178" y="314"/>
                  </a:lnTo>
                  <a:lnTo>
                    <a:pt x="179" y="314"/>
                  </a:lnTo>
                  <a:lnTo>
                    <a:pt x="178" y="313"/>
                  </a:lnTo>
                  <a:lnTo>
                    <a:pt x="178" y="312"/>
                  </a:lnTo>
                  <a:lnTo>
                    <a:pt x="178" y="310"/>
                  </a:lnTo>
                  <a:lnTo>
                    <a:pt x="179" y="310"/>
                  </a:lnTo>
                  <a:lnTo>
                    <a:pt x="179" y="309"/>
                  </a:lnTo>
                  <a:lnTo>
                    <a:pt x="180" y="309"/>
                  </a:lnTo>
                  <a:lnTo>
                    <a:pt x="181" y="309"/>
                  </a:lnTo>
                  <a:lnTo>
                    <a:pt x="183" y="309"/>
                  </a:lnTo>
                  <a:lnTo>
                    <a:pt x="184" y="309"/>
                  </a:lnTo>
                  <a:lnTo>
                    <a:pt x="183" y="308"/>
                  </a:lnTo>
                  <a:lnTo>
                    <a:pt x="184" y="307"/>
                  </a:lnTo>
                  <a:lnTo>
                    <a:pt x="183" y="307"/>
                  </a:lnTo>
                  <a:lnTo>
                    <a:pt x="183" y="306"/>
                  </a:lnTo>
                  <a:lnTo>
                    <a:pt x="185" y="306"/>
                  </a:lnTo>
                  <a:lnTo>
                    <a:pt x="186" y="304"/>
                  </a:lnTo>
                  <a:lnTo>
                    <a:pt x="187" y="306"/>
                  </a:lnTo>
                  <a:lnTo>
                    <a:pt x="189" y="306"/>
                  </a:lnTo>
                  <a:lnTo>
                    <a:pt x="189" y="304"/>
                  </a:lnTo>
                  <a:lnTo>
                    <a:pt x="187" y="304"/>
                  </a:lnTo>
                  <a:lnTo>
                    <a:pt x="186" y="303"/>
                  </a:lnTo>
                  <a:lnTo>
                    <a:pt x="185" y="303"/>
                  </a:lnTo>
                  <a:lnTo>
                    <a:pt x="185" y="302"/>
                  </a:lnTo>
                  <a:lnTo>
                    <a:pt x="183" y="302"/>
                  </a:lnTo>
                  <a:lnTo>
                    <a:pt x="183" y="303"/>
                  </a:lnTo>
                  <a:lnTo>
                    <a:pt x="181" y="304"/>
                  </a:lnTo>
                  <a:lnTo>
                    <a:pt x="179" y="304"/>
                  </a:lnTo>
                  <a:lnTo>
                    <a:pt x="178" y="304"/>
                  </a:lnTo>
                  <a:lnTo>
                    <a:pt x="178" y="306"/>
                  </a:lnTo>
                  <a:lnTo>
                    <a:pt x="178" y="307"/>
                  </a:lnTo>
                  <a:lnTo>
                    <a:pt x="177" y="307"/>
                  </a:lnTo>
                  <a:lnTo>
                    <a:pt x="177" y="306"/>
                  </a:lnTo>
                  <a:lnTo>
                    <a:pt x="177" y="304"/>
                  </a:lnTo>
                  <a:lnTo>
                    <a:pt x="175" y="304"/>
                  </a:lnTo>
                  <a:lnTo>
                    <a:pt x="174" y="306"/>
                  </a:lnTo>
                  <a:lnTo>
                    <a:pt x="173" y="308"/>
                  </a:lnTo>
                  <a:lnTo>
                    <a:pt x="173" y="310"/>
                  </a:lnTo>
                  <a:lnTo>
                    <a:pt x="172" y="307"/>
                  </a:lnTo>
                  <a:lnTo>
                    <a:pt x="171" y="307"/>
                  </a:lnTo>
                  <a:lnTo>
                    <a:pt x="169" y="307"/>
                  </a:lnTo>
                  <a:lnTo>
                    <a:pt x="168" y="307"/>
                  </a:lnTo>
                  <a:lnTo>
                    <a:pt x="168" y="306"/>
                  </a:lnTo>
                  <a:lnTo>
                    <a:pt x="168" y="304"/>
                  </a:lnTo>
                  <a:lnTo>
                    <a:pt x="168" y="306"/>
                  </a:lnTo>
                  <a:lnTo>
                    <a:pt x="167" y="306"/>
                  </a:lnTo>
                  <a:lnTo>
                    <a:pt x="166" y="306"/>
                  </a:lnTo>
                  <a:lnTo>
                    <a:pt x="166" y="304"/>
                  </a:lnTo>
                  <a:lnTo>
                    <a:pt x="165" y="304"/>
                  </a:lnTo>
                  <a:lnTo>
                    <a:pt x="165" y="303"/>
                  </a:lnTo>
                  <a:lnTo>
                    <a:pt x="163" y="303"/>
                  </a:lnTo>
                  <a:lnTo>
                    <a:pt x="163" y="304"/>
                  </a:lnTo>
                  <a:lnTo>
                    <a:pt x="162" y="304"/>
                  </a:lnTo>
                  <a:lnTo>
                    <a:pt x="161" y="303"/>
                  </a:lnTo>
                  <a:lnTo>
                    <a:pt x="162" y="303"/>
                  </a:lnTo>
                  <a:lnTo>
                    <a:pt x="161" y="302"/>
                  </a:lnTo>
                  <a:lnTo>
                    <a:pt x="160" y="302"/>
                  </a:lnTo>
                  <a:lnTo>
                    <a:pt x="160" y="301"/>
                  </a:lnTo>
                  <a:lnTo>
                    <a:pt x="159" y="302"/>
                  </a:lnTo>
                  <a:lnTo>
                    <a:pt x="159" y="301"/>
                  </a:lnTo>
                  <a:lnTo>
                    <a:pt x="157" y="301"/>
                  </a:lnTo>
                  <a:lnTo>
                    <a:pt x="156" y="300"/>
                  </a:lnTo>
                  <a:lnTo>
                    <a:pt x="157" y="300"/>
                  </a:lnTo>
                  <a:lnTo>
                    <a:pt x="159" y="300"/>
                  </a:lnTo>
                  <a:lnTo>
                    <a:pt x="157" y="298"/>
                  </a:lnTo>
                  <a:lnTo>
                    <a:pt x="156" y="297"/>
                  </a:lnTo>
                  <a:lnTo>
                    <a:pt x="155" y="296"/>
                  </a:lnTo>
                  <a:lnTo>
                    <a:pt x="156" y="296"/>
                  </a:lnTo>
                  <a:lnTo>
                    <a:pt x="157" y="296"/>
                  </a:lnTo>
                  <a:lnTo>
                    <a:pt x="157" y="295"/>
                  </a:lnTo>
                  <a:lnTo>
                    <a:pt x="156" y="295"/>
                  </a:lnTo>
                  <a:lnTo>
                    <a:pt x="156" y="294"/>
                  </a:lnTo>
                  <a:lnTo>
                    <a:pt x="157" y="294"/>
                  </a:lnTo>
                  <a:lnTo>
                    <a:pt x="157" y="292"/>
                  </a:lnTo>
                  <a:lnTo>
                    <a:pt x="156" y="294"/>
                  </a:lnTo>
                  <a:lnTo>
                    <a:pt x="156" y="292"/>
                  </a:lnTo>
                  <a:lnTo>
                    <a:pt x="155" y="292"/>
                  </a:lnTo>
                  <a:lnTo>
                    <a:pt x="155" y="291"/>
                  </a:lnTo>
                  <a:lnTo>
                    <a:pt x="153" y="291"/>
                  </a:lnTo>
                  <a:lnTo>
                    <a:pt x="154" y="290"/>
                  </a:lnTo>
                  <a:lnTo>
                    <a:pt x="153" y="290"/>
                  </a:lnTo>
                  <a:lnTo>
                    <a:pt x="153" y="289"/>
                  </a:lnTo>
                  <a:lnTo>
                    <a:pt x="153" y="288"/>
                  </a:lnTo>
                  <a:lnTo>
                    <a:pt x="153" y="286"/>
                  </a:lnTo>
                  <a:lnTo>
                    <a:pt x="151" y="286"/>
                  </a:lnTo>
                  <a:lnTo>
                    <a:pt x="151" y="285"/>
                  </a:lnTo>
                  <a:lnTo>
                    <a:pt x="151" y="284"/>
                  </a:lnTo>
                  <a:lnTo>
                    <a:pt x="151" y="283"/>
                  </a:lnTo>
                  <a:lnTo>
                    <a:pt x="150" y="283"/>
                  </a:lnTo>
                  <a:lnTo>
                    <a:pt x="150" y="282"/>
                  </a:lnTo>
                  <a:lnTo>
                    <a:pt x="150" y="280"/>
                  </a:lnTo>
                  <a:lnTo>
                    <a:pt x="150" y="279"/>
                  </a:lnTo>
                  <a:lnTo>
                    <a:pt x="151" y="279"/>
                  </a:lnTo>
                  <a:lnTo>
                    <a:pt x="151" y="278"/>
                  </a:lnTo>
                  <a:lnTo>
                    <a:pt x="153" y="278"/>
                  </a:lnTo>
                  <a:lnTo>
                    <a:pt x="153" y="279"/>
                  </a:lnTo>
                  <a:lnTo>
                    <a:pt x="154" y="279"/>
                  </a:lnTo>
                  <a:lnTo>
                    <a:pt x="155" y="280"/>
                  </a:lnTo>
                  <a:lnTo>
                    <a:pt x="155" y="282"/>
                  </a:lnTo>
                  <a:lnTo>
                    <a:pt x="156" y="282"/>
                  </a:lnTo>
                  <a:lnTo>
                    <a:pt x="156" y="280"/>
                  </a:lnTo>
                  <a:lnTo>
                    <a:pt x="157" y="280"/>
                  </a:lnTo>
                  <a:lnTo>
                    <a:pt x="159" y="280"/>
                  </a:lnTo>
                  <a:lnTo>
                    <a:pt x="160" y="280"/>
                  </a:lnTo>
                  <a:lnTo>
                    <a:pt x="160" y="279"/>
                  </a:lnTo>
                  <a:lnTo>
                    <a:pt x="161" y="279"/>
                  </a:lnTo>
                  <a:lnTo>
                    <a:pt x="161" y="278"/>
                  </a:lnTo>
                  <a:lnTo>
                    <a:pt x="161" y="277"/>
                  </a:lnTo>
                  <a:lnTo>
                    <a:pt x="162" y="277"/>
                  </a:lnTo>
                  <a:lnTo>
                    <a:pt x="163" y="277"/>
                  </a:lnTo>
                  <a:lnTo>
                    <a:pt x="163" y="278"/>
                  </a:lnTo>
                  <a:lnTo>
                    <a:pt x="165" y="279"/>
                  </a:lnTo>
                  <a:lnTo>
                    <a:pt x="165" y="278"/>
                  </a:lnTo>
                  <a:lnTo>
                    <a:pt x="166" y="278"/>
                  </a:lnTo>
                  <a:lnTo>
                    <a:pt x="166" y="277"/>
                  </a:lnTo>
                  <a:lnTo>
                    <a:pt x="166" y="275"/>
                  </a:lnTo>
                  <a:lnTo>
                    <a:pt x="167" y="275"/>
                  </a:lnTo>
                  <a:lnTo>
                    <a:pt x="167" y="277"/>
                  </a:lnTo>
                  <a:lnTo>
                    <a:pt x="168" y="277"/>
                  </a:lnTo>
                  <a:lnTo>
                    <a:pt x="171" y="277"/>
                  </a:lnTo>
                  <a:lnTo>
                    <a:pt x="169" y="275"/>
                  </a:lnTo>
                  <a:lnTo>
                    <a:pt x="168" y="274"/>
                  </a:lnTo>
                  <a:lnTo>
                    <a:pt x="168" y="273"/>
                  </a:lnTo>
                  <a:lnTo>
                    <a:pt x="168" y="272"/>
                  </a:lnTo>
                  <a:lnTo>
                    <a:pt x="167" y="272"/>
                  </a:lnTo>
                  <a:lnTo>
                    <a:pt x="167" y="271"/>
                  </a:lnTo>
                  <a:lnTo>
                    <a:pt x="166" y="271"/>
                  </a:lnTo>
                  <a:lnTo>
                    <a:pt x="165" y="269"/>
                  </a:lnTo>
                  <a:lnTo>
                    <a:pt x="166" y="268"/>
                  </a:lnTo>
                  <a:lnTo>
                    <a:pt x="166" y="267"/>
                  </a:lnTo>
                  <a:lnTo>
                    <a:pt x="165" y="266"/>
                  </a:lnTo>
                  <a:lnTo>
                    <a:pt x="163" y="266"/>
                  </a:lnTo>
                  <a:lnTo>
                    <a:pt x="163" y="265"/>
                  </a:lnTo>
                  <a:lnTo>
                    <a:pt x="162" y="265"/>
                  </a:lnTo>
                  <a:lnTo>
                    <a:pt x="162" y="263"/>
                  </a:lnTo>
                  <a:lnTo>
                    <a:pt x="161" y="263"/>
                  </a:lnTo>
                  <a:lnTo>
                    <a:pt x="161" y="262"/>
                  </a:lnTo>
                  <a:lnTo>
                    <a:pt x="161" y="261"/>
                  </a:lnTo>
                  <a:lnTo>
                    <a:pt x="161" y="260"/>
                  </a:lnTo>
                  <a:lnTo>
                    <a:pt x="161" y="257"/>
                  </a:lnTo>
                  <a:lnTo>
                    <a:pt x="160" y="257"/>
                  </a:lnTo>
                  <a:lnTo>
                    <a:pt x="160" y="256"/>
                  </a:lnTo>
                  <a:lnTo>
                    <a:pt x="159" y="256"/>
                  </a:lnTo>
                  <a:lnTo>
                    <a:pt x="159" y="255"/>
                  </a:lnTo>
                  <a:lnTo>
                    <a:pt x="159" y="254"/>
                  </a:lnTo>
                  <a:lnTo>
                    <a:pt x="157" y="253"/>
                  </a:lnTo>
                  <a:lnTo>
                    <a:pt x="157" y="251"/>
                  </a:lnTo>
                  <a:lnTo>
                    <a:pt x="157" y="250"/>
                  </a:lnTo>
                  <a:lnTo>
                    <a:pt x="157" y="249"/>
                  </a:lnTo>
                  <a:lnTo>
                    <a:pt x="157" y="248"/>
                  </a:lnTo>
                  <a:lnTo>
                    <a:pt x="157" y="247"/>
                  </a:lnTo>
                  <a:lnTo>
                    <a:pt x="157" y="245"/>
                  </a:lnTo>
                  <a:lnTo>
                    <a:pt x="157" y="244"/>
                  </a:lnTo>
                  <a:lnTo>
                    <a:pt x="157" y="243"/>
                  </a:lnTo>
                  <a:lnTo>
                    <a:pt x="157" y="242"/>
                  </a:lnTo>
                  <a:lnTo>
                    <a:pt x="157" y="239"/>
                  </a:lnTo>
                  <a:lnTo>
                    <a:pt x="156" y="239"/>
                  </a:lnTo>
                  <a:lnTo>
                    <a:pt x="156" y="238"/>
                  </a:lnTo>
                  <a:lnTo>
                    <a:pt x="155" y="238"/>
                  </a:lnTo>
                  <a:lnTo>
                    <a:pt x="155" y="237"/>
                  </a:lnTo>
                  <a:lnTo>
                    <a:pt x="156" y="237"/>
                  </a:lnTo>
                  <a:lnTo>
                    <a:pt x="156" y="236"/>
                  </a:lnTo>
                  <a:lnTo>
                    <a:pt x="157" y="235"/>
                  </a:lnTo>
                  <a:lnTo>
                    <a:pt x="159" y="235"/>
                  </a:lnTo>
                  <a:lnTo>
                    <a:pt x="160" y="235"/>
                  </a:lnTo>
                  <a:lnTo>
                    <a:pt x="160" y="236"/>
                  </a:lnTo>
                  <a:lnTo>
                    <a:pt x="160" y="237"/>
                  </a:lnTo>
                  <a:lnTo>
                    <a:pt x="160" y="238"/>
                  </a:lnTo>
                  <a:lnTo>
                    <a:pt x="161" y="238"/>
                  </a:lnTo>
                  <a:lnTo>
                    <a:pt x="161" y="239"/>
                  </a:lnTo>
                  <a:lnTo>
                    <a:pt x="162" y="239"/>
                  </a:lnTo>
                  <a:lnTo>
                    <a:pt x="163" y="239"/>
                  </a:lnTo>
                  <a:lnTo>
                    <a:pt x="165" y="241"/>
                  </a:lnTo>
                  <a:lnTo>
                    <a:pt x="166" y="241"/>
                  </a:lnTo>
                  <a:lnTo>
                    <a:pt x="166" y="242"/>
                  </a:lnTo>
                  <a:lnTo>
                    <a:pt x="167" y="242"/>
                  </a:lnTo>
                  <a:lnTo>
                    <a:pt x="167" y="243"/>
                  </a:lnTo>
                  <a:lnTo>
                    <a:pt x="167" y="244"/>
                  </a:lnTo>
                  <a:lnTo>
                    <a:pt x="167" y="243"/>
                  </a:lnTo>
                  <a:lnTo>
                    <a:pt x="168" y="243"/>
                  </a:lnTo>
                  <a:lnTo>
                    <a:pt x="168" y="242"/>
                  </a:lnTo>
                  <a:lnTo>
                    <a:pt x="168" y="239"/>
                  </a:lnTo>
                  <a:lnTo>
                    <a:pt x="168" y="238"/>
                  </a:lnTo>
                  <a:lnTo>
                    <a:pt x="169" y="237"/>
                  </a:lnTo>
                  <a:lnTo>
                    <a:pt x="169" y="236"/>
                  </a:lnTo>
                  <a:lnTo>
                    <a:pt x="171" y="236"/>
                  </a:lnTo>
                  <a:lnTo>
                    <a:pt x="171" y="237"/>
                  </a:lnTo>
                  <a:lnTo>
                    <a:pt x="172" y="236"/>
                  </a:lnTo>
                  <a:lnTo>
                    <a:pt x="173" y="238"/>
                  </a:lnTo>
                  <a:lnTo>
                    <a:pt x="173" y="239"/>
                  </a:lnTo>
                  <a:lnTo>
                    <a:pt x="174" y="239"/>
                  </a:lnTo>
                  <a:lnTo>
                    <a:pt x="174" y="241"/>
                  </a:lnTo>
                  <a:lnTo>
                    <a:pt x="174" y="242"/>
                  </a:lnTo>
                  <a:lnTo>
                    <a:pt x="174" y="241"/>
                  </a:lnTo>
                  <a:lnTo>
                    <a:pt x="175" y="241"/>
                  </a:lnTo>
                  <a:lnTo>
                    <a:pt x="175" y="239"/>
                  </a:lnTo>
                  <a:lnTo>
                    <a:pt x="175" y="238"/>
                  </a:lnTo>
                  <a:lnTo>
                    <a:pt x="178" y="238"/>
                  </a:lnTo>
                  <a:lnTo>
                    <a:pt x="179" y="238"/>
                  </a:lnTo>
                  <a:lnTo>
                    <a:pt x="179" y="239"/>
                  </a:lnTo>
                  <a:lnTo>
                    <a:pt x="179" y="241"/>
                  </a:lnTo>
                  <a:lnTo>
                    <a:pt x="180" y="241"/>
                  </a:lnTo>
                  <a:lnTo>
                    <a:pt x="181" y="242"/>
                  </a:lnTo>
                  <a:lnTo>
                    <a:pt x="183" y="242"/>
                  </a:lnTo>
                  <a:lnTo>
                    <a:pt x="183" y="243"/>
                  </a:lnTo>
                  <a:lnTo>
                    <a:pt x="184" y="243"/>
                  </a:lnTo>
                  <a:lnTo>
                    <a:pt x="184" y="244"/>
                  </a:lnTo>
                  <a:lnTo>
                    <a:pt x="184" y="245"/>
                  </a:lnTo>
                  <a:lnTo>
                    <a:pt x="185" y="245"/>
                  </a:lnTo>
                  <a:lnTo>
                    <a:pt x="185" y="247"/>
                  </a:lnTo>
                  <a:lnTo>
                    <a:pt x="186" y="247"/>
                  </a:lnTo>
                  <a:lnTo>
                    <a:pt x="189" y="248"/>
                  </a:lnTo>
                  <a:lnTo>
                    <a:pt x="190" y="247"/>
                  </a:lnTo>
                  <a:lnTo>
                    <a:pt x="190" y="245"/>
                  </a:lnTo>
                  <a:lnTo>
                    <a:pt x="189" y="245"/>
                  </a:lnTo>
                  <a:lnTo>
                    <a:pt x="189" y="244"/>
                  </a:lnTo>
                  <a:lnTo>
                    <a:pt x="187" y="244"/>
                  </a:lnTo>
                  <a:lnTo>
                    <a:pt x="186" y="244"/>
                  </a:lnTo>
                  <a:lnTo>
                    <a:pt x="186" y="243"/>
                  </a:lnTo>
                  <a:lnTo>
                    <a:pt x="186" y="242"/>
                  </a:lnTo>
                  <a:lnTo>
                    <a:pt x="185" y="241"/>
                  </a:lnTo>
                  <a:lnTo>
                    <a:pt x="184" y="241"/>
                  </a:lnTo>
                  <a:lnTo>
                    <a:pt x="184" y="239"/>
                  </a:lnTo>
                  <a:lnTo>
                    <a:pt x="185" y="239"/>
                  </a:lnTo>
                  <a:lnTo>
                    <a:pt x="185" y="238"/>
                  </a:lnTo>
                  <a:lnTo>
                    <a:pt x="185" y="237"/>
                  </a:lnTo>
                  <a:lnTo>
                    <a:pt x="185" y="236"/>
                  </a:lnTo>
                  <a:lnTo>
                    <a:pt x="186" y="236"/>
                  </a:lnTo>
                  <a:lnTo>
                    <a:pt x="186" y="235"/>
                  </a:lnTo>
                  <a:lnTo>
                    <a:pt x="187" y="235"/>
                  </a:lnTo>
                  <a:lnTo>
                    <a:pt x="189" y="236"/>
                  </a:lnTo>
                  <a:lnTo>
                    <a:pt x="190" y="236"/>
                  </a:lnTo>
                  <a:lnTo>
                    <a:pt x="192" y="236"/>
                  </a:lnTo>
                  <a:lnTo>
                    <a:pt x="192" y="235"/>
                  </a:lnTo>
                  <a:lnTo>
                    <a:pt x="195" y="235"/>
                  </a:lnTo>
                  <a:lnTo>
                    <a:pt x="193" y="236"/>
                  </a:lnTo>
                  <a:lnTo>
                    <a:pt x="195" y="236"/>
                  </a:lnTo>
                  <a:lnTo>
                    <a:pt x="195" y="237"/>
                  </a:lnTo>
                  <a:lnTo>
                    <a:pt x="196" y="237"/>
                  </a:lnTo>
                  <a:lnTo>
                    <a:pt x="195" y="237"/>
                  </a:lnTo>
                  <a:lnTo>
                    <a:pt x="195" y="238"/>
                  </a:lnTo>
                  <a:lnTo>
                    <a:pt x="196" y="239"/>
                  </a:lnTo>
                  <a:lnTo>
                    <a:pt x="196" y="238"/>
                  </a:lnTo>
                  <a:lnTo>
                    <a:pt x="197" y="238"/>
                  </a:lnTo>
                  <a:lnTo>
                    <a:pt x="198" y="238"/>
                  </a:lnTo>
                  <a:lnTo>
                    <a:pt x="198" y="239"/>
                  </a:lnTo>
                  <a:lnTo>
                    <a:pt x="201" y="238"/>
                  </a:lnTo>
                  <a:lnTo>
                    <a:pt x="201" y="239"/>
                  </a:lnTo>
                  <a:lnTo>
                    <a:pt x="202" y="239"/>
                  </a:lnTo>
                  <a:lnTo>
                    <a:pt x="203" y="239"/>
                  </a:lnTo>
                  <a:lnTo>
                    <a:pt x="206" y="239"/>
                  </a:lnTo>
                  <a:lnTo>
                    <a:pt x="207" y="237"/>
                  </a:lnTo>
                  <a:lnTo>
                    <a:pt x="208" y="237"/>
                  </a:lnTo>
                  <a:lnTo>
                    <a:pt x="208" y="236"/>
                  </a:lnTo>
                  <a:lnTo>
                    <a:pt x="207" y="235"/>
                  </a:lnTo>
                  <a:lnTo>
                    <a:pt x="208" y="235"/>
                  </a:lnTo>
                  <a:lnTo>
                    <a:pt x="207" y="235"/>
                  </a:lnTo>
                  <a:lnTo>
                    <a:pt x="207" y="236"/>
                  </a:lnTo>
                  <a:lnTo>
                    <a:pt x="207" y="235"/>
                  </a:lnTo>
                  <a:lnTo>
                    <a:pt x="204" y="236"/>
                  </a:lnTo>
                  <a:lnTo>
                    <a:pt x="204" y="235"/>
                  </a:lnTo>
                  <a:lnTo>
                    <a:pt x="203" y="235"/>
                  </a:lnTo>
                  <a:lnTo>
                    <a:pt x="202" y="233"/>
                  </a:lnTo>
                  <a:lnTo>
                    <a:pt x="201" y="233"/>
                  </a:lnTo>
                  <a:lnTo>
                    <a:pt x="201" y="232"/>
                  </a:lnTo>
                  <a:lnTo>
                    <a:pt x="200" y="232"/>
                  </a:lnTo>
                  <a:lnTo>
                    <a:pt x="197" y="232"/>
                  </a:lnTo>
                  <a:lnTo>
                    <a:pt x="197" y="231"/>
                  </a:lnTo>
                  <a:lnTo>
                    <a:pt x="196" y="231"/>
                  </a:lnTo>
                  <a:lnTo>
                    <a:pt x="196" y="230"/>
                  </a:lnTo>
                  <a:lnTo>
                    <a:pt x="196" y="227"/>
                  </a:lnTo>
                  <a:lnTo>
                    <a:pt x="195" y="227"/>
                  </a:lnTo>
                  <a:lnTo>
                    <a:pt x="193" y="227"/>
                  </a:lnTo>
                  <a:lnTo>
                    <a:pt x="193" y="229"/>
                  </a:lnTo>
                  <a:lnTo>
                    <a:pt x="192" y="229"/>
                  </a:lnTo>
                  <a:lnTo>
                    <a:pt x="190" y="229"/>
                  </a:lnTo>
                  <a:lnTo>
                    <a:pt x="189" y="229"/>
                  </a:lnTo>
                  <a:lnTo>
                    <a:pt x="186" y="227"/>
                  </a:lnTo>
                  <a:lnTo>
                    <a:pt x="185" y="227"/>
                  </a:lnTo>
                  <a:lnTo>
                    <a:pt x="184" y="226"/>
                  </a:lnTo>
                  <a:lnTo>
                    <a:pt x="184" y="225"/>
                  </a:lnTo>
                  <a:lnTo>
                    <a:pt x="184" y="224"/>
                  </a:lnTo>
                  <a:lnTo>
                    <a:pt x="183" y="224"/>
                  </a:lnTo>
                  <a:lnTo>
                    <a:pt x="183" y="223"/>
                  </a:lnTo>
                  <a:lnTo>
                    <a:pt x="183" y="221"/>
                  </a:lnTo>
                  <a:lnTo>
                    <a:pt x="181" y="221"/>
                  </a:lnTo>
                  <a:lnTo>
                    <a:pt x="180" y="220"/>
                  </a:lnTo>
                  <a:lnTo>
                    <a:pt x="179" y="221"/>
                  </a:lnTo>
                  <a:lnTo>
                    <a:pt x="178" y="220"/>
                  </a:lnTo>
                  <a:lnTo>
                    <a:pt x="177" y="220"/>
                  </a:lnTo>
                  <a:lnTo>
                    <a:pt x="175" y="219"/>
                  </a:lnTo>
                  <a:lnTo>
                    <a:pt x="177" y="218"/>
                  </a:lnTo>
                  <a:lnTo>
                    <a:pt x="175" y="218"/>
                  </a:lnTo>
                  <a:lnTo>
                    <a:pt x="177" y="217"/>
                  </a:lnTo>
                  <a:lnTo>
                    <a:pt x="177" y="215"/>
                  </a:lnTo>
                  <a:lnTo>
                    <a:pt x="177" y="213"/>
                  </a:lnTo>
                  <a:lnTo>
                    <a:pt x="175" y="213"/>
                  </a:lnTo>
                  <a:lnTo>
                    <a:pt x="174" y="213"/>
                  </a:lnTo>
                  <a:lnTo>
                    <a:pt x="174" y="212"/>
                  </a:lnTo>
                  <a:lnTo>
                    <a:pt x="173" y="211"/>
                  </a:lnTo>
                  <a:lnTo>
                    <a:pt x="172" y="211"/>
                  </a:lnTo>
                  <a:lnTo>
                    <a:pt x="173" y="209"/>
                  </a:lnTo>
                  <a:lnTo>
                    <a:pt x="173" y="208"/>
                  </a:lnTo>
                  <a:lnTo>
                    <a:pt x="174" y="208"/>
                  </a:lnTo>
                  <a:lnTo>
                    <a:pt x="175" y="207"/>
                  </a:lnTo>
                  <a:lnTo>
                    <a:pt x="177" y="207"/>
                  </a:lnTo>
                  <a:lnTo>
                    <a:pt x="177" y="208"/>
                  </a:lnTo>
                  <a:lnTo>
                    <a:pt x="178" y="209"/>
                  </a:lnTo>
                  <a:lnTo>
                    <a:pt x="181" y="209"/>
                  </a:lnTo>
                  <a:lnTo>
                    <a:pt x="183" y="209"/>
                  </a:lnTo>
                  <a:lnTo>
                    <a:pt x="183" y="211"/>
                  </a:lnTo>
                  <a:lnTo>
                    <a:pt x="184" y="212"/>
                  </a:lnTo>
                  <a:lnTo>
                    <a:pt x="185" y="212"/>
                  </a:lnTo>
                  <a:lnTo>
                    <a:pt x="185" y="211"/>
                  </a:lnTo>
                  <a:lnTo>
                    <a:pt x="185" y="209"/>
                  </a:lnTo>
                  <a:lnTo>
                    <a:pt x="185" y="208"/>
                  </a:lnTo>
                  <a:lnTo>
                    <a:pt x="184" y="208"/>
                  </a:lnTo>
                  <a:lnTo>
                    <a:pt x="184" y="207"/>
                  </a:lnTo>
                  <a:lnTo>
                    <a:pt x="184" y="205"/>
                  </a:lnTo>
                  <a:lnTo>
                    <a:pt x="184" y="203"/>
                  </a:lnTo>
                  <a:lnTo>
                    <a:pt x="185" y="203"/>
                  </a:lnTo>
                  <a:lnTo>
                    <a:pt x="186" y="203"/>
                  </a:lnTo>
                  <a:lnTo>
                    <a:pt x="186" y="205"/>
                  </a:lnTo>
                  <a:lnTo>
                    <a:pt x="187" y="206"/>
                  </a:lnTo>
                  <a:lnTo>
                    <a:pt x="189" y="207"/>
                  </a:lnTo>
                  <a:lnTo>
                    <a:pt x="189" y="208"/>
                  </a:lnTo>
                  <a:lnTo>
                    <a:pt x="189" y="207"/>
                  </a:lnTo>
                  <a:lnTo>
                    <a:pt x="190" y="207"/>
                  </a:lnTo>
                  <a:lnTo>
                    <a:pt x="190" y="206"/>
                  </a:lnTo>
                  <a:lnTo>
                    <a:pt x="192" y="206"/>
                  </a:lnTo>
                  <a:lnTo>
                    <a:pt x="192" y="207"/>
                  </a:lnTo>
                  <a:lnTo>
                    <a:pt x="192" y="208"/>
                  </a:lnTo>
                  <a:lnTo>
                    <a:pt x="192" y="212"/>
                  </a:lnTo>
                  <a:lnTo>
                    <a:pt x="192" y="213"/>
                  </a:lnTo>
                  <a:lnTo>
                    <a:pt x="193" y="214"/>
                  </a:lnTo>
                  <a:lnTo>
                    <a:pt x="195" y="214"/>
                  </a:lnTo>
                  <a:lnTo>
                    <a:pt x="196" y="213"/>
                  </a:lnTo>
                  <a:lnTo>
                    <a:pt x="197" y="213"/>
                  </a:lnTo>
                  <a:lnTo>
                    <a:pt x="198" y="213"/>
                  </a:lnTo>
                  <a:lnTo>
                    <a:pt x="198" y="212"/>
                  </a:lnTo>
                  <a:lnTo>
                    <a:pt x="198" y="211"/>
                  </a:lnTo>
                  <a:lnTo>
                    <a:pt x="201" y="211"/>
                  </a:lnTo>
                  <a:lnTo>
                    <a:pt x="203" y="211"/>
                  </a:lnTo>
                  <a:lnTo>
                    <a:pt x="204" y="211"/>
                  </a:lnTo>
                  <a:lnTo>
                    <a:pt x="208" y="212"/>
                  </a:lnTo>
                  <a:lnTo>
                    <a:pt x="208" y="214"/>
                  </a:lnTo>
                  <a:lnTo>
                    <a:pt x="209" y="214"/>
                  </a:lnTo>
                  <a:lnTo>
                    <a:pt x="209" y="215"/>
                  </a:lnTo>
                  <a:lnTo>
                    <a:pt x="209" y="217"/>
                  </a:lnTo>
                  <a:lnTo>
                    <a:pt x="212" y="217"/>
                  </a:lnTo>
                  <a:lnTo>
                    <a:pt x="210" y="215"/>
                  </a:lnTo>
                  <a:lnTo>
                    <a:pt x="210" y="214"/>
                  </a:lnTo>
                  <a:lnTo>
                    <a:pt x="209" y="213"/>
                  </a:lnTo>
                  <a:lnTo>
                    <a:pt x="209" y="212"/>
                  </a:lnTo>
                  <a:lnTo>
                    <a:pt x="208" y="212"/>
                  </a:lnTo>
                  <a:lnTo>
                    <a:pt x="208" y="211"/>
                  </a:lnTo>
                  <a:lnTo>
                    <a:pt x="208" y="208"/>
                  </a:lnTo>
                  <a:lnTo>
                    <a:pt x="208" y="206"/>
                  </a:lnTo>
                  <a:lnTo>
                    <a:pt x="209" y="207"/>
                  </a:lnTo>
                  <a:lnTo>
                    <a:pt x="210" y="207"/>
                  </a:lnTo>
                  <a:lnTo>
                    <a:pt x="210" y="208"/>
                  </a:lnTo>
                  <a:lnTo>
                    <a:pt x="212" y="208"/>
                  </a:lnTo>
                  <a:lnTo>
                    <a:pt x="213" y="208"/>
                  </a:lnTo>
                  <a:lnTo>
                    <a:pt x="213" y="207"/>
                  </a:lnTo>
                  <a:lnTo>
                    <a:pt x="214" y="207"/>
                  </a:lnTo>
                  <a:lnTo>
                    <a:pt x="213" y="206"/>
                  </a:lnTo>
                  <a:lnTo>
                    <a:pt x="213" y="205"/>
                  </a:lnTo>
                  <a:lnTo>
                    <a:pt x="213" y="202"/>
                  </a:lnTo>
                  <a:lnTo>
                    <a:pt x="212" y="201"/>
                  </a:lnTo>
                  <a:lnTo>
                    <a:pt x="210" y="200"/>
                  </a:lnTo>
                  <a:lnTo>
                    <a:pt x="212" y="199"/>
                  </a:lnTo>
                  <a:lnTo>
                    <a:pt x="212" y="197"/>
                  </a:lnTo>
                  <a:lnTo>
                    <a:pt x="214" y="197"/>
                  </a:lnTo>
                  <a:lnTo>
                    <a:pt x="214" y="199"/>
                  </a:lnTo>
                  <a:lnTo>
                    <a:pt x="216" y="199"/>
                  </a:lnTo>
                  <a:lnTo>
                    <a:pt x="218" y="199"/>
                  </a:lnTo>
                  <a:lnTo>
                    <a:pt x="218" y="197"/>
                  </a:lnTo>
                  <a:lnTo>
                    <a:pt x="218" y="199"/>
                  </a:lnTo>
                  <a:lnTo>
                    <a:pt x="219" y="199"/>
                  </a:lnTo>
                  <a:lnTo>
                    <a:pt x="219" y="200"/>
                  </a:lnTo>
                  <a:lnTo>
                    <a:pt x="220" y="201"/>
                  </a:lnTo>
                  <a:lnTo>
                    <a:pt x="222" y="201"/>
                  </a:lnTo>
                  <a:lnTo>
                    <a:pt x="224" y="201"/>
                  </a:lnTo>
                  <a:lnTo>
                    <a:pt x="224" y="200"/>
                  </a:lnTo>
                  <a:lnTo>
                    <a:pt x="225" y="199"/>
                  </a:lnTo>
                  <a:lnTo>
                    <a:pt x="225" y="197"/>
                  </a:lnTo>
                  <a:lnTo>
                    <a:pt x="224" y="196"/>
                  </a:lnTo>
                  <a:lnTo>
                    <a:pt x="225" y="196"/>
                  </a:lnTo>
                  <a:lnTo>
                    <a:pt x="226" y="196"/>
                  </a:lnTo>
                  <a:lnTo>
                    <a:pt x="225" y="194"/>
                  </a:lnTo>
                  <a:lnTo>
                    <a:pt x="224" y="193"/>
                  </a:lnTo>
                  <a:lnTo>
                    <a:pt x="222" y="193"/>
                  </a:lnTo>
                  <a:lnTo>
                    <a:pt x="222" y="191"/>
                  </a:lnTo>
                  <a:lnTo>
                    <a:pt x="224" y="191"/>
                  </a:lnTo>
                  <a:lnTo>
                    <a:pt x="224" y="190"/>
                  </a:lnTo>
                  <a:lnTo>
                    <a:pt x="225" y="189"/>
                  </a:lnTo>
                  <a:lnTo>
                    <a:pt x="227" y="189"/>
                  </a:lnTo>
                  <a:lnTo>
                    <a:pt x="228" y="189"/>
                  </a:lnTo>
                  <a:lnTo>
                    <a:pt x="228" y="190"/>
                  </a:lnTo>
                  <a:lnTo>
                    <a:pt x="230" y="191"/>
                  </a:lnTo>
                  <a:lnTo>
                    <a:pt x="231" y="191"/>
                  </a:lnTo>
                  <a:lnTo>
                    <a:pt x="231" y="189"/>
                  </a:lnTo>
                  <a:lnTo>
                    <a:pt x="232" y="189"/>
                  </a:lnTo>
                  <a:lnTo>
                    <a:pt x="232" y="188"/>
                  </a:lnTo>
                  <a:lnTo>
                    <a:pt x="233" y="188"/>
                  </a:lnTo>
                  <a:lnTo>
                    <a:pt x="233" y="187"/>
                  </a:lnTo>
                  <a:lnTo>
                    <a:pt x="234" y="187"/>
                  </a:lnTo>
                  <a:lnTo>
                    <a:pt x="234" y="185"/>
                  </a:lnTo>
                  <a:lnTo>
                    <a:pt x="233" y="185"/>
                  </a:lnTo>
                  <a:lnTo>
                    <a:pt x="233" y="184"/>
                  </a:lnTo>
                  <a:lnTo>
                    <a:pt x="233" y="183"/>
                  </a:lnTo>
                  <a:lnTo>
                    <a:pt x="232" y="183"/>
                  </a:lnTo>
                  <a:lnTo>
                    <a:pt x="233" y="182"/>
                  </a:lnTo>
                  <a:lnTo>
                    <a:pt x="232" y="181"/>
                  </a:lnTo>
                  <a:lnTo>
                    <a:pt x="232" y="179"/>
                  </a:lnTo>
                  <a:lnTo>
                    <a:pt x="231" y="179"/>
                  </a:lnTo>
                  <a:lnTo>
                    <a:pt x="230" y="179"/>
                  </a:lnTo>
                  <a:lnTo>
                    <a:pt x="230" y="178"/>
                  </a:lnTo>
                  <a:lnTo>
                    <a:pt x="230" y="177"/>
                  </a:lnTo>
                  <a:lnTo>
                    <a:pt x="228" y="176"/>
                  </a:lnTo>
                  <a:lnTo>
                    <a:pt x="228" y="175"/>
                  </a:lnTo>
                  <a:lnTo>
                    <a:pt x="228" y="173"/>
                  </a:lnTo>
                  <a:lnTo>
                    <a:pt x="227" y="173"/>
                  </a:lnTo>
                  <a:lnTo>
                    <a:pt x="226" y="173"/>
                  </a:lnTo>
                  <a:lnTo>
                    <a:pt x="225" y="173"/>
                  </a:lnTo>
                  <a:lnTo>
                    <a:pt x="224" y="173"/>
                  </a:lnTo>
                  <a:lnTo>
                    <a:pt x="224" y="172"/>
                  </a:lnTo>
                  <a:lnTo>
                    <a:pt x="222" y="172"/>
                  </a:lnTo>
                  <a:lnTo>
                    <a:pt x="222" y="171"/>
                  </a:lnTo>
                  <a:lnTo>
                    <a:pt x="221" y="171"/>
                  </a:lnTo>
                  <a:lnTo>
                    <a:pt x="220" y="170"/>
                  </a:lnTo>
                  <a:lnTo>
                    <a:pt x="219" y="169"/>
                  </a:lnTo>
                  <a:lnTo>
                    <a:pt x="219" y="167"/>
                  </a:lnTo>
                  <a:lnTo>
                    <a:pt x="219" y="166"/>
                  </a:lnTo>
                  <a:lnTo>
                    <a:pt x="220" y="165"/>
                  </a:lnTo>
                  <a:lnTo>
                    <a:pt x="220" y="166"/>
                  </a:lnTo>
                  <a:lnTo>
                    <a:pt x="224" y="165"/>
                  </a:lnTo>
                  <a:lnTo>
                    <a:pt x="225" y="165"/>
                  </a:lnTo>
                  <a:lnTo>
                    <a:pt x="224" y="165"/>
                  </a:lnTo>
                  <a:lnTo>
                    <a:pt x="224" y="164"/>
                  </a:lnTo>
                  <a:lnTo>
                    <a:pt x="222" y="164"/>
                  </a:lnTo>
                  <a:lnTo>
                    <a:pt x="221" y="162"/>
                  </a:lnTo>
                  <a:lnTo>
                    <a:pt x="219" y="162"/>
                  </a:lnTo>
                  <a:lnTo>
                    <a:pt x="219" y="164"/>
                  </a:lnTo>
                  <a:lnTo>
                    <a:pt x="218" y="162"/>
                  </a:lnTo>
                  <a:lnTo>
                    <a:pt x="218" y="161"/>
                  </a:lnTo>
                  <a:lnTo>
                    <a:pt x="218" y="159"/>
                  </a:lnTo>
                  <a:lnTo>
                    <a:pt x="215" y="159"/>
                  </a:lnTo>
                  <a:lnTo>
                    <a:pt x="214" y="159"/>
                  </a:lnTo>
                  <a:lnTo>
                    <a:pt x="214" y="158"/>
                  </a:lnTo>
                  <a:lnTo>
                    <a:pt x="213" y="158"/>
                  </a:lnTo>
                  <a:lnTo>
                    <a:pt x="213" y="156"/>
                  </a:lnTo>
                  <a:lnTo>
                    <a:pt x="212" y="156"/>
                  </a:lnTo>
                  <a:lnTo>
                    <a:pt x="213" y="155"/>
                  </a:lnTo>
                  <a:lnTo>
                    <a:pt x="213" y="152"/>
                  </a:lnTo>
                  <a:lnTo>
                    <a:pt x="214" y="150"/>
                  </a:lnTo>
                  <a:lnTo>
                    <a:pt x="214" y="148"/>
                  </a:lnTo>
                  <a:lnTo>
                    <a:pt x="213" y="147"/>
                  </a:lnTo>
                  <a:lnTo>
                    <a:pt x="213" y="144"/>
                  </a:lnTo>
                  <a:lnTo>
                    <a:pt x="213" y="143"/>
                  </a:lnTo>
                  <a:lnTo>
                    <a:pt x="213" y="142"/>
                  </a:lnTo>
                  <a:lnTo>
                    <a:pt x="214" y="141"/>
                  </a:lnTo>
                  <a:lnTo>
                    <a:pt x="215" y="141"/>
                  </a:lnTo>
                  <a:lnTo>
                    <a:pt x="216" y="141"/>
                  </a:lnTo>
                  <a:lnTo>
                    <a:pt x="216" y="142"/>
                  </a:lnTo>
                  <a:lnTo>
                    <a:pt x="218" y="142"/>
                  </a:lnTo>
                  <a:lnTo>
                    <a:pt x="218" y="143"/>
                  </a:lnTo>
                  <a:lnTo>
                    <a:pt x="218" y="144"/>
                  </a:lnTo>
                  <a:lnTo>
                    <a:pt x="219" y="144"/>
                  </a:lnTo>
                  <a:lnTo>
                    <a:pt x="220" y="143"/>
                  </a:lnTo>
                  <a:lnTo>
                    <a:pt x="221" y="143"/>
                  </a:lnTo>
                  <a:lnTo>
                    <a:pt x="225" y="143"/>
                  </a:lnTo>
                  <a:lnTo>
                    <a:pt x="225" y="142"/>
                  </a:lnTo>
                  <a:lnTo>
                    <a:pt x="226" y="142"/>
                  </a:lnTo>
                  <a:lnTo>
                    <a:pt x="226" y="143"/>
                  </a:lnTo>
                  <a:lnTo>
                    <a:pt x="226" y="144"/>
                  </a:lnTo>
                  <a:lnTo>
                    <a:pt x="227" y="144"/>
                  </a:lnTo>
                  <a:lnTo>
                    <a:pt x="227" y="146"/>
                  </a:lnTo>
                  <a:lnTo>
                    <a:pt x="228" y="147"/>
                  </a:lnTo>
                  <a:lnTo>
                    <a:pt x="230" y="148"/>
                  </a:lnTo>
                  <a:lnTo>
                    <a:pt x="230" y="149"/>
                  </a:lnTo>
                  <a:lnTo>
                    <a:pt x="230" y="150"/>
                  </a:lnTo>
                  <a:lnTo>
                    <a:pt x="231" y="152"/>
                  </a:lnTo>
                  <a:lnTo>
                    <a:pt x="232" y="152"/>
                  </a:lnTo>
                  <a:lnTo>
                    <a:pt x="233" y="152"/>
                  </a:lnTo>
                  <a:lnTo>
                    <a:pt x="234" y="152"/>
                  </a:lnTo>
                  <a:lnTo>
                    <a:pt x="236" y="152"/>
                  </a:lnTo>
                  <a:lnTo>
                    <a:pt x="236" y="150"/>
                  </a:lnTo>
                  <a:lnTo>
                    <a:pt x="236" y="149"/>
                  </a:lnTo>
                  <a:lnTo>
                    <a:pt x="237" y="149"/>
                  </a:lnTo>
                  <a:lnTo>
                    <a:pt x="238" y="150"/>
                  </a:lnTo>
                  <a:lnTo>
                    <a:pt x="238" y="153"/>
                  </a:lnTo>
                  <a:lnTo>
                    <a:pt x="239" y="152"/>
                  </a:lnTo>
                  <a:lnTo>
                    <a:pt x="243" y="152"/>
                  </a:lnTo>
                  <a:lnTo>
                    <a:pt x="244" y="150"/>
                  </a:lnTo>
                  <a:lnTo>
                    <a:pt x="245" y="150"/>
                  </a:lnTo>
                  <a:lnTo>
                    <a:pt x="245" y="149"/>
                  </a:lnTo>
                  <a:lnTo>
                    <a:pt x="244" y="149"/>
                  </a:lnTo>
                  <a:lnTo>
                    <a:pt x="243" y="148"/>
                  </a:lnTo>
                  <a:lnTo>
                    <a:pt x="242" y="147"/>
                  </a:lnTo>
                  <a:lnTo>
                    <a:pt x="242" y="146"/>
                  </a:lnTo>
                  <a:lnTo>
                    <a:pt x="240" y="144"/>
                  </a:lnTo>
                  <a:lnTo>
                    <a:pt x="239" y="144"/>
                  </a:lnTo>
                  <a:lnTo>
                    <a:pt x="239" y="143"/>
                  </a:lnTo>
                  <a:lnTo>
                    <a:pt x="239" y="140"/>
                  </a:lnTo>
                  <a:lnTo>
                    <a:pt x="239" y="137"/>
                  </a:lnTo>
                  <a:lnTo>
                    <a:pt x="239" y="136"/>
                  </a:lnTo>
                  <a:lnTo>
                    <a:pt x="240" y="136"/>
                  </a:lnTo>
                  <a:lnTo>
                    <a:pt x="240" y="135"/>
                  </a:lnTo>
                  <a:lnTo>
                    <a:pt x="242" y="135"/>
                  </a:lnTo>
                  <a:lnTo>
                    <a:pt x="243" y="134"/>
                  </a:lnTo>
                  <a:lnTo>
                    <a:pt x="243" y="132"/>
                  </a:lnTo>
                  <a:lnTo>
                    <a:pt x="243" y="131"/>
                  </a:lnTo>
                  <a:lnTo>
                    <a:pt x="242" y="130"/>
                  </a:lnTo>
                  <a:lnTo>
                    <a:pt x="243" y="130"/>
                  </a:lnTo>
                  <a:lnTo>
                    <a:pt x="244" y="129"/>
                  </a:lnTo>
                  <a:lnTo>
                    <a:pt x="246" y="129"/>
                  </a:lnTo>
                  <a:lnTo>
                    <a:pt x="248" y="130"/>
                  </a:lnTo>
                  <a:lnTo>
                    <a:pt x="249" y="130"/>
                  </a:lnTo>
                  <a:lnTo>
                    <a:pt x="249" y="131"/>
                  </a:lnTo>
                  <a:lnTo>
                    <a:pt x="249" y="132"/>
                  </a:lnTo>
                  <a:lnTo>
                    <a:pt x="249" y="134"/>
                  </a:lnTo>
                  <a:lnTo>
                    <a:pt x="250" y="135"/>
                  </a:lnTo>
                  <a:lnTo>
                    <a:pt x="250" y="134"/>
                  </a:lnTo>
                  <a:lnTo>
                    <a:pt x="251" y="131"/>
                  </a:lnTo>
                  <a:lnTo>
                    <a:pt x="251" y="128"/>
                  </a:lnTo>
                  <a:lnTo>
                    <a:pt x="254" y="128"/>
                  </a:lnTo>
                  <a:lnTo>
                    <a:pt x="255" y="131"/>
                  </a:lnTo>
                  <a:lnTo>
                    <a:pt x="255" y="132"/>
                  </a:lnTo>
                  <a:lnTo>
                    <a:pt x="255" y="134"/>
                  </a:lnTo>
                  <a:lnTo>
                    <a:pt x="256" y="134"/>
                  </a:lnTo>
                  <a:lnTo>
                    <a:pt x="257" y="134"/>
                  </a:lnTo>
                  <a:lnTo>
                    <a:pt x="259" y="134"/>
                  </a:lnTo>
                  <a:lnTo>
                    <a:pt x="259" y="135"/>
                  </a:lnTo>
                  <a:lnTo>
                    <a:pt x="259" y="136"/>
                  </a:lnTo>
                  <a:lnTo>
                    <a:pt x="257" y="138"/>
                  </a:lnTo>
                  <a:lnTo>
                    <a:pt x="257" y="142"/>
                  </a:lnTo>
                  <a:lnTo>
                    <a:pt x="256" y="142"/>
                  </a:lnTo>
                  <a:lnTo>
                    <a:pt x="256" y="143"/>
                  </a:lnTo>
                  <a:lnTo>
                    <a:pt x="256" y="144"/>
                  </a:lnTo>
                  <a:lnTo>
                    <a:pt x="255" y="144"/>
                  </a:lnTo>
                  <a:lnTo>
                    <a:pt x="255" y="146"/>
                  </a:lnTo>
                  <a:lnTo>
                    <a:pt x="256" y="148"/>
                  </a:lnTo>
                  <a:lnTo>
                    <a:pt x="256" y="147"/>
                  </a:lnTo>
                  <a:lnTo>
                    <a:pt x="256" y="149"/>
                  </a:lnTo>
                  <a:lnTo>
                    <a:pt x="257" y="149"/>
                  </a:lnTo>
                  <a:lnTo>
                    <a:pt x="259" y="149"/>
                  </a:lnTo>
                  <a:lnTo>
                    <a:pt x="260" y="149"/>
                  </a:lnTo>
                  <a:lnTo>
                    <a:pt x="260" y="148"/>
                  </a:lnTo>
                  <a:lnTo>
                    <a:pt x="262" y="148"/>
                  </a:lnTo>
                  <a:lnTo>
                    <a:pt x="263" y="148"/>
                  </a:lnTo>
                  <a:lnTo>
                    <a:pt x="265" y="148"/>
                  </a:lnTo>
                  <a:lnTo>
                    <a:pt x="265" y="149"/>
                  </a:lnTo>
                  <a:lnTo>
                    <a:pt x="266" y="149"/>
                  </a:lnTo>
                  <a:lnTo>
                    <a:pt x="267" y="149"/>
                  </a:lnTo>
                  <a:lnTo>
                    <a:pt x="267" y="148"/>
                  </a:lnTo>
                  <a:lnTo>
                    <a:pt x="266" y="148"/>
                  </a:lnTo>
                  <a:lnTo>
                    <a:pt x="266" y="147"/>
                  </a:lnTo>
                  <a:lnTo>
                    <a:pt x="265" y="147"/>
                  </a:lnTo>
                  <a:lnTo>
                    <a:pt x="265" y="146"/>
                  </a:lnTo>
                  <a:lnTo>
                    <a:pt x="265" y="143"/>
                  </a:lnTo>
                  <a:lnTo>
                    <a:pt x="263" y="142"/>
                  </a:lnTo>
                  <a:lnTo>
                    <a:pt x="263" y="141"/>
                  </a:lnTo>
                  <a:lnTo>
                    <a:pt x="263" y="140"/>
                  </a:lnTo>
                  <a:lnTo>
                    <a:pt x="263" y="138"/>
                  </a:lnTo>
                  <a:lnTo>
                    <a:pt x="263" y="137"/>
                  </a:lnTo>
                  <a:lnTo>
                    <a:pt x="265" y="136"/>
                  </a:lnTo>
                  <a:lnTo>
                    <a:pt x="265" y="135"/>
                  </a:lnTo>
                  <a:lnTo>
                    <a:pt x="267" y="135"/>
                  </a:lnTo>
                  <a:lnTo>
                    <a:pt x="267" y="136"/>
                  </a:lnTo>
                  <a:lnTo>
                    <a:pt x="267" y="137"/>
                  </a:lnTo>
                  <a:lnTo>
                    <a:pt x="267" y="138"/>
                  </a:lnTo>
                  <a:lnTo>
                    <a:pt x="268" y="138"/>
                  </a:lnTo>
                  <a:lnTo>
                    <a:pt x="268" y="140"/>
                  </a:lnTo>
                  <a:lnTo>
                    <a:pt x="269" y="138"/>
                  </a:lnTo>
                  <a:lnTo>
                    <a:pt x="271" y="138"/>
                  </a:lnTo>
                  <a:lnTo>
                    <a:pt x="272" y="137"/>
                  </a:lnTo>
                  <a:lnTo>
                    <a:pt x="272" y="138"/>
                  </a:lnTo>
                  <a:lnTo>
                    <a:pt x="273" y="141"/>
                  </a:lnTo>
                  <a:lnTo>
                    <a:pt x="273" y="142"/>
                  </a:lnTo>
                  <a:lnTo>
                    <a:pt x="274" y="142"/>
                  </a:lnTo>
                  <a:lnTo>
                    <a:pt x="275" y="143"/>
                  </a:lnTo>
                  <a:lnTo>
                    <a:pt x="277" y="143"/>
                  </a:lnTo>
                  <a:lnTo>
                    <a:pt x="278" y="143"/>
                  </a:lnTo>
                  <a:lnTo>
                    <a:pt x="279" y="143"/>
                  </a:lnTo>
                  <a:lnTo>
                    <a:pt x="279" y="144"/>
                  </a:lnTo>
                  <a:lnTo>
                    <a:pt x="280" y="144"/>
                  </a:lnTo>
                  <a:lnTo>
                    <a:pt x="280" y="146"/>
                  </a:lnTo>
                  <a:lnTo>
                    <a:pt x="281" y="146"/>
                  </a:lnTo>
                  <a:lnTo>
                    <a:pt x="280" y="148"/>
                  </a:lnTo>
                  <a:lnTo>
                    <a:pt x="280" y="149"/>
                  </a:lnTo>
                  <a:lnTo>
                    <a:pt x="279" y="149"/>
                  </a:lnTo>
                  <a:lnTo>
                    <a:pt x="279" y="150"/>
                  </a:lnTo>
                  <a:lnTo>
                    <a:pt x="280" y="153"/>
                  </a:lnTo>
                  <a:lnTo>
                    <a:pt x="279" y="154"/>
                  </a:lnTo>
                  <a:lnTo>
                    <a:pt x="278" y="154"/>
                  </a:lnTo>
                  <a:lnTo>
                    <a:pt x="278" y="155"/>
                  </a:lnTo>
                  <a:lnTo>
                    <a:pt x="279" y="156"/>
                  </a:lnTo>
                  <a:lnTo>
                    <a:pt x="280" y="158"/>
                  </a:lnTo>
                  <a:lnTo>
                    <a:pt x="280" y="159"/>
                  </a:lnTo>
                  <a:lnTo>
                    <a:pt x="281" y="159"/>
                  </a:lnTo>
                  <a:lnTo>
                    <a:pt x="281" y="160"/>
                  </a:lnTo>
                  <a:lnTo>
                    <a:pt x="283" y="161"/>
                  </a:lnTo>
                  <a:lnTo>
                    <a:pt x="284" y="161"/>
                  </a:lnTo>
                  <a:lnTo>
                    <a:pt x="285" y="161"/>
                  </a:lnTo>
                  <a:lnTo>
                    <a:pt x="286" y="161"/>
                  </a:lnTo>
                  <a:lnTo>
                    <a:pt x="286" y="160"/>
                  </a:lnTo>
                  <a:lnTo>
                    <a:pt x="286" y="159"/>
                  </a:lnTo>
                  <a:lnTo>
                    <a:pt x="285" y="158"/>
                  </a:lnTo>
                  <a:lnTo>
                    <a:pt x="285" y="156"/>
                  </a:lnTo>
                  <a:lnTo>
                    <a:pt x="285" y="155"/>
                  </a:lnTo>
                  <a:lnTo>
                    <a:pt x="286" y="155"/>
                  </a:lnTo>
                  <a:lnTo>
                    <a:pt x="286" y="154"/>
                  </a:lnTo>
                  <a:lnTo>
                    <a:pt x="287" y="154"/>
                  </a:lnTo>
                  <a:lnTo>
                    <a:pt x="287" y="153"/>
                  </a:lnTo>
                  <a:lnTo>
                    <a:pt x="286" y="153"/>
                  </a:lnTo>
                  <a:lnTo>
                    <a:pt x="286" y="152"/>
                  </a:lnTo>
                  <a:lnTo>
                    <a:pt x="286" y="150"/>
                  </a:lnTo>
                  <a:lnTo>
                    <a:pt x="285" y="148"/>
                  </a:lnTo>
                  <a:lnTo>
                    <a:pt x="284" y="147"/>
                  </a:lnTo>
                  <a:lnTo>
                    <a:pt x="284" y="146"/>
                  </a:lnTo>
                  <a:lnTo>
                    <a:pt x="285" y="146"/>
                  </a:lnTo>
                  <a:lnTo>
                    <a:pt x="285" y="144"/>
                  </a:lnTo>
                  <a:lnTo>
                    <a:pt x="286" y="144"/>
                  </a:lnTo>
                  <a:lnTo>
                    <a:pt x="287" y="144"/>
                  </a:lnTo>
                  <a:lnTo>
                    <a:pt x="289" y="146"/>
                  </a:lnTo>
                  <a:lnTo>
                    <a:pt x="290" y="146"/>
                  </a:lnTo>
                  <a:lnTo>
                    <a:pt x="291" y="144"/>
                  </a:lnTo>
                  <a:lnTo>
                    <a:pt x="292" y="143"/>
                  </a:lnTo>
                  <a:lnTo>
                    <a:pt x="292" y="141"/>
                  </a:lnTo>
                  <a:lnTo>
                    <a:pt x="291" y="140"/>
                  </a:lnTo>
                  <a:lnTo>
                    <a:pt x="292" y="140"/>
                  </a:lnTo>
                  <a:lnTo>
                    <a:pt x="292" y="138"/>
                  </a:lnTo>
                  <a:lnTo>
                    <a:pt x="295" y="138"/>
                  </a:lnTo>
                  <a:lnTo>
                    <a:pt x="296" y="140"/>
                  </a:lnTo>
                  <a:lnTo>
                    <a:pt x="298" y="140"/>
                  </a:lnTo>
                  <a:lnTo>
                    <a:pt x="299" y="140"/>
                  </a:lnTo>
                  <a:lnTo>
                    <a:pt x="298" y="140"/>
                  </a:lnTo>
                  <a:lnTo>
                    <a:pt x="299" y="140"/>
                  </a:lnTo>
                  <a:lnTo>
                    <a:pt x="299" y="138"/>
                  </a:lnTo>
                  <a:lnTo>
                    <a:pt x="301" y="138"/>
                  </a:lnTo>
                  <a:lnTo>
                    <a:pt x="302" y="138"/>
                  </a:lnTo>
                  <a:lnTo>
                    <a:pt x="303" y="138"/>
                  </a:lnTo>
                  <a:lnTo>
                    <a:pt x="304" y="140"/>
                  </a:lnTo>
                  <a:lnTo>
                    <a:pt x="304" y="141"/>
                  </a:lnTo>
                  <a:lnTo>
                    <a:pt x="304" y="143"/>
                  </a:lnTo>
                  <a:lnTo>
                    <a:pt x="304" y="144"/>
                  </a:lnTo>
                  <a:lnTo>
                    <a:pt x="304" y="146"/>
                  </a:lnTo>
                  <a:lnTo>
                    <a:pt x="304" y="144"/>
                  </a:lnTo>
                  <a:lnTo>
                    <a:pt x="305" y="143"/>
                  </a:lnTo>
                  <a:lnTo>
                    <a:pt x="307" y="143"/>
                  </a:lnTo>
                  <a:lnTo>
                    <a:pt x="307" y="142"/>
                  </a:lnTo>
                  <a:lnTo>
                    <a:pt x="308" y="142"/>
                  </a:lnTo>
                  <a:lnTo>
                    <a:pt x="308" y="144"/>
                  </a:lnTo>
                  <a:lnTo>
                    <a:pt x="309" y="144"/>
                  </a:lnTo>
                  <a:lnTo>
                    <a:pt x="309" y="146"/>
                  </a:lnTo>
                  <a:lnTo>
                    <a:pt x="310" y="146"/>
                  </a:lnTo>
                  <a:lnTo>
                    <a:pt x="310" y="147"/>
                  </a:lnTo>
                  <a:lnTo>
                    <a:pt x="311" y="147"/>
                  </a:lnTo>
                  <a:lnTo>
                    <a:pt x="311" y="148"/>
                  </a:lnTo>
                  <a:lnTo>
                    <a:pt x="313" y="149"/>
                  </a:lnTo>
                  <a:lnTo>
                    <a:pt x="314" y="149"/>
                  </a:lnTo>
                  <a:lnTo>
                    <a:pt x="314" y="150"/>
                  </a:lnTo>
                  <a:lnTo>
                    <a:pt x="315" y="150"/>
                  </a:lnTo>
                  <a:lnTo>
                    <a:pt x="315" y="152"/>
                  </a:lnTo>
                  <a:lnTo>
                    <a:pt x="315" y="153"/>
                  </a:lnTo>
                  <a:lnTo>
                    <a:pt x="315" y="154"/>
                  </a:lnTo>
                  <a:lnTo>
                    <a:pt x="314" y="154"/>
                  </a:lnTo>
                  <a:lnTo>
                    <a:pt x="314" y="155"/>
                  </a:lnTo>
                  <a:lnTo>
                    <a:pt x="313" y="156"/>
                  </a:lnTo>
                  <a:lnTo>
                    <a:pt x="311" y="156"/>
                  </a:lnTo>
                  <a:lnTo>
                    <a:pt x="311" y="158"/>
                  </a:lnTo>
                  <a:lnTo>
                    <a:pt x="311" y="159"/>
                  </a:lnTo>
                  <a:lnTo>
                    <a:pt x="311" y="161"/>
                  </a:lnTo>
                  <a:lnTo>
                    <a:pt x="310" y="161"/>
                  </a:lnTo>
                  <a:lnTo>
                    <a:pt x="311" y="162"/>
                  </a:lnTo>
                  <a:lnTo>
                    <a:pt x="311" y="164"/>
                  </a:lnTo>
                  <a:lnTo>
                    <a:pt x="311" y="165"/>
                  </a:lnTo>
                  <a:lnTo>
                    <a:pt x="311" y="166"/>
                  </a:lnTo>
                  <a:lnTo>
                    <a:pt x="313" y="166"/>
                  </a:lnTo>
                  <a:lnTo>
                    <a:pt x="313" y="167"/>
                  </a:lnTo>
                  <a:lnTo>
                    <a:pt x="314" y="167"/>
                  </a:lnTo>
                  <a:lnTo>
                    <a:pt x="315" y="169"/>
                  </a:lnTo>
                  <a:lnTo>
                    <a:pt x="315" y="167"/>
                  </a:lnTo>
                  <a:lnTo>
                    <a:pt x="314" y="166"/>
                  </a:lnTo>
                  <a:lnTo>
                    <a:pt x="314" y="165"/>
                  </a:lnTo>
                  <a:lnTo>
                    <a:pt x="314" y="164"/>
                  </a:lnTo>
                  <a:lnTo>
                    <a:pt x="316" y="164"/>
                  </a:lnTo>
                  <a:lnTo>
                    <a:pt x="319" y="162"/>
                  </a:lnTo>
                  <a:lnTo>
                    <a:pt x="319" y="161"/>
                  </a:lnTo>
                  <a:lnTo>
                    <a:pt x="320" y="161"/>
                  </a:lnTo>
                  <a:lnTo>
                    <a:pt x="321" y="160"/>
                  </a:lnTo>
                  <a:lnTo>
                    <a:pt x="322" y="160"/>
                  </a:lnTo>
                  <a:lnTo>
                    <a:pt x="322" y="159"/>
                  </a:lnTo>
                  <a:lnTo>
                    <a:pt x="324" y="159"/>
                  </a:lnTo>
                  <a:lnTo>
                    <a:pt x="324" y="158"/>
                  </a:lnTo>
                  <a:lnTo>
                    <a:pt x="324" y="156"/>
                  </a:lnTo>
                  <a:lnTo>
                    <a:pt x="324" y="155"/>
                  </a:lnTo>
                  <a:lnTo>
                    <a:pt x="326" y="155"/>
                  </a:lnTo>
                  <a:lnTo>
                    <a:pt x="328" y="156"/>
                  </a:lnTo>
                  <a:lnTo>
                    <a:pt x="330" y="156"/>
                  </a:lnTo>
                  <a:lnTo>
                    <a:pt x="330" y="158"/>
                  </a:lnTo>
                  <a:lnTo>
                    <a:pt x="331" y="159"/>
                  </a:lnTo>
                  <a:lnTo>
                    <a:pt x="331" y="160"/>
                  </a:lnTo>
                  <a:lnTo>
                    <a:pt x="330" y="160"/>
                  </a:lnTo>
                  <a:lnTo>
                    <a:pt x="331" y="161"/>
                  </a:lnTo>
                  <a:lnTo>
                    <a:pt x="332" y="161"/>
                  </a:lnTo>
                  <a:lnTo>
                    <a:pt x="332" y="160"/>
                  </a:lnTo>
                  <a:lnTo>
                    <a:pt x="332" y="159"/>
                  </a:lnTo>
                  <a:lnTo>
                    <a:pt x="332" y="158"/>
                  </a:lnTo>
                  <a:lnTo>
                    <a:pt x="333" y="158"/>
                  </a:lnTo>
                  <a:lnTo>
                    <a:pt x="334" y="158"/>
                  </a:lnTo>
                  <a:lnTo>
                    <a:pt x="334" y="159"/>
                  </a:lnTo>
                  <a:lnTo>
                    <a:pt x="336" y="160"/>
                  </a:lnTo>
                  <a:lnTo>
                    <a:pt x="336" y="161"/>
                  </a:lnTo>
                  <a:lnTo>
                    <a:pt x="337" y="161"/>
                  </a:lnTo>
                  <a:lnTo>
                    <a:pt x="336" y="162"/>
                  </a:lnTo>
                  <a:lnTo>
                    <a:pt x="336" y="164"/>
                  </a:lnTo>
                  <a:lnTo>
                    <a:pt x="334" y="164"/>
                  </a:lnTo>
                  <a:lnTo>
                    <a:pt x="334" y="165"/>
                  </a:lnTo>
                  <a:lnTo>
                    <a:pt x="336" y="166"/>
                  </a:lnTo>
                  <a:lnTo>
                    <a:pt x="336" y="167"/>
                  </a:lnTo>
                  <a:lnTo>
                    <a:pt x="334" y="167"/>
                  </a:lnTo>
                  <a:lnTo>
                    <a:pt x="334" y="169"/>
                  </a:lnTo>
                  <a:lnTo>
                    <a:pt x="334" y="170"/>
                  </a:lnTo>
                  <a:lnTo>
                    <a:pt x="334" y="171"/>
                  </a:lnTo>
                  <a:lnTo>
                    <a:pt x="336" y="172"/>
                  </a:lnTo>
                  <a:lnTo>
                    <a:pt x="336" y="173"/>
                  </a:lnTo>
                  <a:lnTo>
                    <a:pt x="337" y="173"/>
                  </a:lnTo>
                  <a:lnTo>
                    <a:pt x="338" y="172"/>
                  </a:lnTo>
                  <a:lnTo>
                    <a:pt x="337" y="172"/>
                  </a:lnTo>
                  <a:lnTo>
                    <a:pt x="336" y="172"/>
                  </a:lnTo>
                  <a:lnTo>
                    <a:pt x="336" y="171"/>
                  </a:lnTo>
                  <a:lnTo>
                    <a:pt x="336" y="169"/>
                  </a:lnTo>
                  <a:lnTo>
                    <a:pt x="337" y="167"/>
                  </a:lnTo>
                  <a:lnTo>
                    <a:pt x="338" y="169"/>
                  </a:lnTo>
                  <a:lnTo>
                    <a:pt x="339" y="169"/>
                  </a:lnTo>
                  <a:lnTo>
                    <a:pt x="339" y="170"/>
                  </a:lnTo>
                  <a:lnTo>
                    <a:pt x="339" y="172"/>
                  </a:lnTo>
                  <a:lnTo>
                    <a:pt x="339" y="173"/>
                  </a:lnTo>
                  <a:lnTo>
                    <a:pt x="340" y="173"/>
                  </a:lnTo>
                  <a:lnTo>
                    <a:pt x="340" y="175"/>
                  </a:lnTo>
                  <a:lnTo>
                    <a:pt x="342" y="175"/>
                  </a:lnTo>
                  <a:lnTo>
                    <a:pt x="343" y="176"/>
                  </a:lnTo>
                  <a:lnTo>
                    <a:pt x="344" y="176"/>
                  </a:lnTo>
                  <a:lnTo>
                    <a:pt x="343" y="176"/>
                  </a:lnTo>
                  <a:lnTo>
                    <a:pt x="343" y="175"/>
                  </a:lnTo>
                  <a:lnTo>
                    <a:pt x="342" y="175"/>
                  </a:lnTo>
                  <a:lnTo>
                    <a:pt x="342" y="173"/>
                  </a:lnTo>
                  <a:lnTo>
                    <a:pt x="342" y="171"/>
                  </a:lnTo>
                  <a:lnTo>
                    <a:pt x="343" y="171"/>
                  </a:lnTo>
                  <a:lnTo>
                    <a:pt x="343" y="170"/>
                  </a:lnTo>
                  <a:lnTo>
                    <a:pt x="343" y="167"/>
                  </a:lnTo>
                  <a:lnTo>
                    <a:pt x="344" y="167"/>
                  </a:lnTo>
                  <a:lnTo>
                    <a:pt x="345" y="169"/>
                  </a:lnTo>
                  <a:lnTo>
                    <a:pt x="345" y="170"/>
                  </a:lnTo>
                  <a:lnTo>
                    <a:pt x="345" y="171"/>
                  </a:lnTo>
                  <a:lnTo>
                    <a:pt x="346" y="172"/>
                  </a:lnTo>
                  <a:lnTo>
                    <a:pt x="348" y="172"/>
                  </a:lnTo>
                  <a:lnTo>
                    <a:pt x="348" y="173"/>
                  </a:lnTo>
                  <a:lnTo>
                    <a:pt x="349" y="173"/>
                  </a:lnTo>
                  <a:lnTo>
                    <a:pt x="349" y="172"/>
                  </a:lnTo>
                  <a:lnTo>
                    <a:pt x="349" y="171"/>
                  </a:lnTo>
                  <a:lnTo>
                    <a:pt x="350" y="170"/>
                  </a:lnTo>
                  <a:lnTo>
                    <a:pt x="350" y="171"/>
                  </a:lnTo>
                  <a:lnTo>
                    <a:pt x="351" y="171"/>
                  </a:lnTo>
                  <a:lnTo>
                    <a:pt x="351" y="172"/>
                  </a:lnTo>
                  <a:lnTo>
                    <a:pt x="351" y="173"/>
                  </a:lnTo>
                  <a:lnTo>
                    <a:pt x="352" y="173"/>
                  </a:lnTo>
                  <a:lnTo>
                    <a:pt x="352" y="175"/>
                  </a:lnTo>
                  <a:lnTo>
                    <a:pt x="352" y="176"/>
                  </a:lnTo>
                  <a:lnTo>
                    <a:pt x="351" y="176"/>
                  </a:lnTo>
                  <a:lnTo>
                    <a:pt x="351" y="177"/>
                  </a:lnTo>
                  <a:lnTo>
                    <a:pt x="350" y="177"/>
                  </a:lnTo>
                  <a:lnTo>
                    <a:pt x="349" y="177"/>
                  </a:lnTo>
                  <a:lnTo>
                    <a:pt x="349" y="178"/>
                  </a:lnTo>
                  <a:lnTo>
                    <a:pt x="348" y="178"/>
                  </a:lnTo>
                  <a:lnTo>
                    <a:pt x="346" y="177"/>
                  </a:lnTo>
                  <a:lnTo>
                    <a:pt x="346" y="176"/>
                  </a:lnTo>
                  <a:lnTo>
                    <a:pt x="345" y="176"/>
                  </a:lnTo>
                  <a:lnTo>
                    <a:pt x="345" y="177"/>
                  </a:lnTo>
                  <a:lnTo>
                    <a:pt x="344" y="177"/>
                  </a:lnTo>
                  <a:lnTo>
                    <a:pt x="344" y="178"/>
                  </a:lnTo>
                  <a:lnTo>
                    <a:pt x="344" y="179"/>
                  </a:lnTo>
                  <a:lnTo>
                    <a:pt x="345" y="179"/>
                  </a:lnTo>
                  <a:lnTo>
                    <a:pt x="346" y="179"/>
                  </a:lnTo>
                  <a:lnTo>
                    <a:pt x="348" y="178"/>
                  </a:lnTo>
                  <a:lnTo>
                    <a:pt x="348" y="179"/>
                  </a:lnTo>
                  <a:lnTo>
                    <a:pt x="349" y="179"/>
                  </a:lnTo>
                  <a:lnTo>
                    <a:pt x="349" y="181"/>
                  </a:lnTo>
                  <a:lnTo>
                    <a:pt x="350" y="181"/>
                  </a:lnTo>
                  <a:lnTo>
                    <a:pt x="351" y="181"/>
                  </a:lnTo>
                  <a:lnTo>
                    <a:pt x="352" y="181"/>
                  </a:lnTo>
                  <a:lnTo>
                    <a:pt x="354" y="179"/>
                  </a:lnTo>
                  <a:lnTo>
                    <a:pt x="355" y="179"/>
                  </a:lnTo>
                  <a:lnTo>
                    <a:pt x="354" y="178"/>
                  </a:lnTo>
                  <a:lnTo>
                    <a:pt x="355" y="178"/>
                  </a:lnTo>
                  <a:lnTo>
                    <a:pt x="355" y="177"/>
                  </a:lnTo>
                  <a:lnTo>
                    <a:pt x="356" y="177"/>
                  </a:lnTo>
                  <a:lnTo>
                    <a:pt x="356" y="176"/>
                  </a:lnTo>
                  <a:lnTo>
                    <a:pt x="356" y="175"/>
                  </a:lnTo>
                  <a:lnTo>
                    <a:pt x="355" y="173"/>
                  </a:lnTo>
                  <a:lnTo>
                    <a:pt x="355" y="172"/>
                  </a:lnTo>
                  <a:lnTo>
                    <a:pt x="355" y="171"/>
                  </a:lnTo>
                  <a:lnTo>
                    <a:pt x="354" y="171"/>
                  </a:lnTo>
                  <a:lnTo>
                    <a:pt x="354" y="170"/>
                  </a:lnTo>
                  <a:lnTo>
                    <a:pt x="352" y="170"/>
                  </a:lnTo>
                  <a:lnTo>
                    <a:pt x="352" y="167"/>
                  </a:lnTo>
                  <a:lnTo>
                    <a:pt x="352" y="166"/>
                  </a:lnTo>
                  <a:lnTo>
                    <a:pt x="354" y="165"/>
                  </a:lnTo>
                  <a:lnTo>
                    <a:pt x="352" y="165"/>
                  </a:lnTo>
                  <a:lnTo>
                    <a:pt x="351" y="165"/>
                  </a:lnTo>
                  <a:lnTo>
                    <a:pt x="351" y="164"/>
                  </a:lnTo>
                  <a:lnTo>
                    <a:pt x="351" y="162"/>
                  </a:lnTo>
                  <a:lnTo>
                    <a:pt x="352" y="162"/>
                  </a:lnTo>
                  <a:lnTo>
                    <a:pt x="352" y="164"/>
                  </a:lnTo>
                  <a:lnTo>
                    <a:pt x="354" y="164"/>
                  </a:lnTo>
                  <a:lnTo>
                    <a:pt x="355" y="164"/>
                  </a:lnTo>
                  <a:lnTo>
                    <a:pt x="356" y="164"/>
                  </a:lnTo>
                  <a:lnTo>
                    <a:pt x="357" y="164"/>
                  </a:lnTo>
                  <a:lnTo>
                    <a:pt x="357" y="162"/>
                  </a:lnTo>
                  <a:lnTo>
                    <a:pt x="360" y="161"/>
                  </a:lnTo>
                  <a:lnTo>
                    <a:pt x="360" y="162"/>
                  </a:lnTo>
                  <a:lnTo>
                    <a:pt x="360" y="164"/>
                  </a:lnTo>
                  <a:lnTo>
                    <a:pt x="361" y="164"/>
                  </a:lnTo>
                  <a:lnTo>
                    <a:pt x="361" y="162"/>
                  </a:lnTo>
                  <a:lnTo>
                    <a:pt x="360" y="161"/>
                  </a:lnTo>
                  <a:lnTo>
                    <a:pt x="362" y="161"/>
                  </a:lnTo>
                  <a:lnTo>
                    <a:pt x="361" y="160"/>
                  </a:lnTo>
                  <a:lnTo>
                    <a:pt x="363" y="160"/>
                  </a:lnTo>
                  <a:lnTo>
                    <a:pt x="362" y="161"/>
                  </a:lnTo>
                  <a:lnTo>
                    <a:pt x="363" y="162"/>
                  </a:lnTo>
                  <a:lnTo>
                    <a:pt x="364" y="162"/>
                  </a:lnTo>
                  <a:lnTo>
                    <a:pt x="363" y="164"/>
                  </a:lnTo>
                  <a:lnTo>
                    <a:pt x="363" y="165"/>
                  </a:lnTo>
                  <a:lnTo>
                    <a:pt x="362" y="166"/>
                  </a:lnTo>
                  <a:lnTo>
                    <a:pt x="361" y="166"/>
                  </a:lnTo>
                  <a:lnTo>
                    <a:pt x="362" y="166"/>
                  </a:lnTo>
                  <a:lnTo>
                    <a:pt x="362" y="167"/>
                  </a:lnTo>
                  <a:lnTo>
                    <a:pt x="361" y="167"/>
                  </a:lnTo>
                  <a:lnTo>
                    <a:pt x="361" y="169"/>
                  </a:lnTo>
                  <a:lnTo>
                    <a:pt x="361" y="170"/>
                  </a:lnTo>
                  <a:lnTo>
                    <a:pt x="361" y="171"/>
                  </a:lnTo>
                  <a:lnTo>
                    <a:pt x="360" y="171"/>
                  </a:lnTo>
                  <a:lnTo>
                    <a:pt x="360" y="172"/>
                  </a:lnTo>
                  <a:lnTo>
                    <a:pt x="358" y="172"/>
                  </a:lnTo>
                  <a:lnTo>
                    <a:pt x="358" y="173"/>
                  </a:lnTo>
                  <a:lnTo>
                    <a:pt x="357" y="173"/>
                  </a:lnTo>
                  <a:lnTo>
                    <a:pt x="357" y="172"/>
                  </a:lnTo>
                  <a:lnTo>
                    <a:pt x="356" y="173"/>
                  </a:lnTo>
                  <a:lnTo>
                    <a:pt x="357" y="173"/>
                  </a:lnTo>
                  <a:lnTo>
                    <a:pt x="357" y="175"/>
                  </a:lnTo>
                  <a:lnTo>
                    <a:pt x="357" y="178"/>
                  </a:lnTo>
                  <a:lnTo>
                    <a:pt x="357" y="179"/>
                  </a:lnTo>
                  <a:lnTo>
                    <a:pt x="358" y="181"/>
                  </a:lnTo>
                  <a:lnTo>
                    <a:pt x="358" y="182"/>
                  </a:lnTo>
                  <a:lnTo>
                    <a:pt x="360" y="182"/>
                  </a:lnTo>
                  <a:lnTo>
                    <a:pt x="360" y="181"/>
                  </a:lnTo>
                  <a:lnTo>
                    <a:pt x="361" y="181"/>
                  </a:lnTo>
                  <a:lnTo>
                    <a:pt x="363" y="181"/>
                  </a:lnTo>
                  <a:lnTo>
                    <a:pt x="366" y="181"/>
                  </a:lnTo>
                  <a:lnTo>
                    <a:pt x="366" y="179"/>
                  </a:lnTo>
                  <a:lnTo>
                    <a:pt x="367" y="179"/>
                  </a:lnTo>
                  <a:lnTo>
                    <a:pt x="368" y="179"/>
                  </a:lnTo>
                  <a:lnTo>
                    <a:pt x="369" y="181"/>
                  </a:lnTo>
                  <a:lnTo>
                    <a:pt x="370" y="179"/>
                  </a:lnTo>
                  <a:lnTo>
                    <a:pt x="372" y="179"/>
                  </a:lnTo>
                  <a:lnTo>
                    <a:pt x="373" y="179"/>
                  </a:lnTo>
                  <a:lnTo>
                    <a:pt x="373" y="181"/>
                  </a:lnTo>
                  <a:lnTo>
                    <a:pt x="374" y="181"/>
                  </a:lnTo>
                  <a:lnTo>
                    <a:pt x="376" y="181"/>
                  </a:lnTo>
                  <a:lnTo>
                    <a:pt x="376" y="182"/>
                  </a:lnTo>
                  <a:lnTo>
                    <a:pt x="378" y="181"/>
                  </a:lnTo>
                  <a:lnTo>
                    <a:pt x="378" y="182"/>
                  </a:lnTo>
                  <a:lnTo>
                    <a:pt x="379" y="182"/>
                  </a:lnTo>
                  <a:lnTo>
                    <a:pt x="380" y="182"/>
                  </a:lnTo>
                  <a:lnTo>
                    <a:pt x="381" y="182"/>
                  </a:lnTo>
                  <a:lnTo>
                    <a:pt x="381" y="181"/>
                  </a:lnTo>
                  <a:lnTo>
                    <a:pt x="383" y="181"/>
                  </a:lnTo>
                  <a:lnTo>
                    <a:pt x="383" y="182"/>
                  </a:lnTo>
                  <a:lnTo>
                    <a:pt x="384" y="182"/>
                  </a:lnTo>
                  <a:lnTo>
                    <a:pt x="384" y="183"/>
                  </a:lnTo>
                  <a:lnTo>
                    <a:pt x="385" y="183"/>
                  </a:lnTo>
                  <a:lnTo>
                    <a:pt x="385" y="182"/>
                  </a:lnTo>
                  <a:lnTo>
                    <a:pt x="384" y="181"/>
                  </a:lnTo>
                  <a:lnTo>
                    <a:pt x="384" y="179"/>
                  </a:lnTo>
                  <a:lnTo>
                    <a:pt x="384" y="181"/>
                  </a:lnTo>
                  <a:lnTo>
                    <a:pt x="383" y="179"/>
                  </a:lnTo>
                  <a:lnTo>
                    <a:pt x="384" y="179"/>
                  </a:lnTo>
                  <a:lnTo>
                    <a:pt x="384" y="178"/>
                  </a:lnTo>
                  <a:lnTo>
                    <a:pt x="386" y="178"/>
                  </a:lnTo>
                  <a:lnTo>
                    <a:pt x="386" y="179"/>
                  </a:lnTo>
                  <a:lnTo>
                    <a:pt x="386" y="181"/>
                  </a:lnTo>
                  <a:lnTo>
                    <a:pt x="385" y="181"/>
                  </a:lnTo>
                  <a:lnTo>
                    <a:pt x="386" y="182"/>
                  </a:lnTo>
                  <a:lnTo>
                    <a:pt x="385" y="182"/>
                  </a:lnTo>
                  <a:lnTo>
                    <a:pt x="386" y="182"/>
                  </a:lnTo>
                  <a:lnTo>
                    <a:pt x="385" y="183"/>
                  </a:lnTo>
                  <a:lnTo>
                    <a:pt x="385" y="184"/>
                  </a:lnTo>
                  <a:lnTo>
                    <a:pt x="385" y="185"/>
                  </a:lnTo>
                  <a:lnTo>
                    <a:pt x="384" y="185"/>
                  </a:lnTo>
                  <a:lnTo>
                    <a:pt x="383" y="187"/>
                  </a:lnTo>
                  <a:lnTo>
                    <a:pt x="383" y="188"/>
                  </a:lnTo>
                  <a:lnTo>
                    <a:pt x="383" y="189"/>
                  </a:lnTo>
                  <a:lnTo>
                    <a:pt x="381" y="188"/>
                  </a:lnTo>
                  <a:lnTo>
                    <a:pt x="380" y="189"/>
                  </a:lnTo>
                  <a:lnTo>
                    <a:pt x="381" y="189"/>
                  </a:lnTo>
                  <a:lnTo>
                    <a:pt x="381" y="191"/>
                  </a:lnTo>
                  <a:lnTo>
                    <a:pt x="381" y="194"/>
                  </a:lnTo>
                  <a:lnTo>
                    <a:pt x="381" y="195"/>
                  </a:lnTo>
                  <a:lnTo>
                    <a:pt x="380" y="195"/>
                  </a:lnTo>
                  <a:lnTo>
                    <a:pt x="380" y="194"/>
                  </a:lnTo>
                  <a:lnTo>
                    <a:pt x="379" y="195"/>
                  </a:lnTo>
                  <a:lnTo>
                    <a:pt x="380" y="195"/>
                  </a:lnTo>
                  <a:lnTo>
                    <a:pt x="380" y="196"/>
                  </a:lnTo>
                  <a:lnTo>
                    <a:pt x="379" y="197"/>
                  </a:lnTo>
                  <a:lnTo>
                    <a:pt x="380" y="197"/>
                  </a:lnTo>
                  <a:lnTo>
                    <a:pt x="381" y="197"/>
                  </a:lnTo>
                  <a:lnTo>
                    <a:pt x="381" y="196"/>
                  </a:lnTo>
                  <a:lnTo>
                    <a:pt x="380" y="195"/>
                  </a:lnTo>
                  <a:lnTo>
                    <a:pt x="381" y="194"/>
                  </a:lnTo>
                  <a:lnTo>
                    <a:pt x="383" y="193"/>
                  </a:lnTo>
                  <a:lnTo>
                    <a:pt x="383" y="191"/>
                  </a:lnTo>
                  <a:lnTo>
                    <a:pt x="384" y="191"/>
                  </a:lnTo>
                  <a:lnTo>
                    <a:pt x="384" y="193"/>
                  </a:lnTo>
                  <a:lnTo>
                    <a:pt x="385" y="195"/>
                  </a:lnTo>
                  <a:lnTo>
                    <a:pt x="385" y="194"/>
                  </a:lnTo>
                  <a:lnTo>
                    <a:pt x="385" y="193"/>
                  </a:lnTo>
                  <a:lnTo>
                    <a:pt x="386" y="193"/>
                  </a:lnTo>
                  <a:lnTo>
                    <a:pt x="386" y="191"/>
                  </a:lnTo>
                  <a:lnTo>
                    <a:pt x="387" y="191"/>
                  </a:lnTo>
                  <a:lnTo>
                    <a:pt x="386" y="191"/>
                  </a:lnTo>
                  <a:lnTo>
                    <a:pt x="387" y="193"/>
                  </a:lnTo>
                  <a:lnTo>
                    <a:pt x="387" y="194"/>
                  </a:lnTo>
                  <a:lnTo>
                    <a:pt x="386" y="194"/>
                  </a:lnTo>
                  <a:lnTo>
                    <a:pt x="386" y="195"/>
                  </a:lnTo>
                  <a:lnTo>
                    <a:pt x="385" y="195"/>
                  </a:lnTo>
                  <a:lnTo>
                    <a:pt x="385" y="196"/>
                  </a:lnTo>
                  <a:lnTo>
                    <a:pt x="386" y="196"/>
                  </a:lnTo>
                  <a:lnTo>
                    <a:pt x="386" y="197"/>
                  </a:lnTo>
                  <a:lnTo>
                    <a:pt x="387" y="197"/>
                  </a:lnTo>
                  <a:lnTo>
                    <a:pt x="389" y="197"/>
                  </a:lnTo>
                  <a:lnTo>
                    <a:pt x="390" y="197"/>
                  </a:lnTo>
                  <a:lnTo>
                    <a:pt x="390" y="196"/>
                  </a:lnTo>
                  <a:lnTo>
                    <a:pt x="390" y="195"/>
                  </a:lnTo>
                  <a:lnTo>
                    <a:pt x="391" y="195"/>
                  </a:lnTo>
                  <a:lnTo>
                    <a:pt x="390" y="194"/>
                  </a:lnTo>
                  <a:lnTo>
                    <a:pt x="391" y="194"/>
                  </a:lnTo>
                  <a:lnTo>
                    <a:pt x="392" y="193"/>
                  </a:lnTo>
                  <a:lnTo>
                    <a:pt x="393" y="193"/>
                  </a:lnTo>
                  <a:lnTo>
                    <a:pt x="393" y="194"/>
                  </a:lnTo>
                  <a:lnTo>
                    <a:pt x="396" y="194"/>
                  </a:lnTo>
                  <a:lnTo>
                    <a:pt x="396" y="195"/>
                  </a:lnTo>
                  <a:lnTo>
                    <a:pt x="397" y="195"/>
                  </a:lnTo>
                  <a:lnTo>
                    <a:pt x="397" y="196"/>
                  </a:lnTo>
                  <a:lnTo>
                    <a:pt x="397" y="195"/>
                  </a:lnTo>
                  <a:lnTo>
                    <a:pt x="398" y="195"/>
                  </a:lnTo>
                  <a:lnTo>
                    <a:pt x="398" y="196"/>
                  </a:lnTo>
                  <a:lnTo>
                    <a:pt x="399" y="196"/>
                  </a:lnTo>
                  <a:lnTo>
                    <a:pt x="399" y="197"/>
                  </a:lnTo>
                  <a:lnTo>
                    <a:pt x="401" y="197"/>
                  </a:lnTo>
                  <a:lnTo>
                    <a:pt x="402" y="196"/>
                  </a:lnTo>
                  <a:lnTo>
                    <a:pt x="404" y="196"/>
                  </a:lnTo>
                  <a:lnTo>
                    <a:pt x="405" y="196"/>
                  </a:lnTo>
                  <a:lnTo>
                    <a:pt x="405" y="197"/>
                  </a:lnTo>
                  <a:lnTo>
                    <a:pt x="407" y="197"/>
                  </a:lnTo>
                  <a:lnTo>
                    <a:pt x="407" y="199"/>
                  </a:lnTo>
                  <a:lnTo>
                    <a:pt x="407" y="200"/>
                  </a:lnTo>
                  <a:lnTo>
                    <a:pt x="408" y="200"/>
                  </a:lnTo>
                  <a:lnTo>
                    <a:pt x="408" y="201"/>
                  </a:lnTo>
                  <a:lnTo>
                    <a:pt x="409" y="201"/>
                  </a:lnTo>
                  <a:lnTo>
                    <a:pt x="410" y="201"/>
                  </a:lnTo>
                  <a:lnTo>
                    <a:pt x="411" y="201"/>
                  </a:lnTo>
                  <a:lnTo>
                    <a:pt x="413" y="201"/>
                  </a:lnTo>
                  <a:lnTo>
                    <a:pt x="413" y="200"/>
                  </a:lnTo>
                  <a:lnTo>
                    <a:pt x="414" y="200"/>
                  </a:lnTo>
                  <a:lnTo>
                    <a:pt x="414" y="201"/>
                  </a:lnTo>
                  <a:lnTo>
                    <a:pt x="415" y="201"/>
                  </a:lnTo>
                  <a:lnTo>
                    <a:pt x="416" y="201"/>
                  </a:lnTo>
                  <a:lnTo>
                    <a:pt x="416" y="202"/>
                  </a:lnTo>
                  <a:lnTo>
                    <a:pt x="416" y="205"/>
                  </a:lnTo>
                  <a:lnTo>
                    <a:pt x="417" y="205"/>
                  </a:lnTo>
                  <a:lnTo>
                    <a:pt x="419" y="205"/>
                  </a:lnTo>
                  <a:lnTo>
                    <a:pt x="417" y="205"/>
                  </a:lnTo>
                  <a:lnTo>
                    <a:pt x="417" y="203"/>
                  </a:lnTo>
                  <a:lnTo>
                    <a:pt x="419" y="203"/>
                  </a:lnTo>
                  <a:lnTo>
                    <a:pt x="420" y="203"/>
                  </a:lnTo>
                  <a:lnTo>
                    <a:pt x="421" y="203"/>
                  </a:lnTo>
                  <a:lnTo>
                    <a:pt x="422" y="203"/>
                  </a:lnTo>
                  <a:lnTo>
                    <a:pt x="421" y="205"/>
                  </a:lnTo>
                  <a:lnTo>
                    <a:pt x="420" y="205"/>
                  </a:lnTo>
                  <a:lnTo>
                    <a:pt x="419" y="205"/>
                  </a:lnTo>
                  <a:lnTo>
                    <a:pt x="419" y="206"/>
                  </a:lnTo>
                  <a:lnTo>
                    <a:pt x="417" y="206"/>
                  </a:lnTo>
                  <a:lnTo>
                    <a:pt x="417" y="207"/>
                  </a:lnTo>
                  <a:lnTo>
                    <a:pt x="417" y="206"/>
                  </a:lnTo>
                  <a:lnTo>
                    <a:pt x="419" y="207"/>
                  </a:lnTo>
                  <a:lnTo>
                    <a:pt x="420" y="208"/>
                  </a:lnTo>
                  <a:lnTo>
                    <a:pt x="419" y="208"/>
                  </a:lnTo>
                  <a:lnTo>
                    <a:pt x="419" y="209"/>
                  </a:lnTo>
                  <a:lnTo>
                    <a:pt x="420" y="209"/>
                  </a:lnTo>
                  <a:lnTo>
                    <a:pt x="421" y="208"/>
                  </a:lnTo>
                  <a:lnTo>
                    <a:pt x="421" y="209"/>
                  </a:lnTo>
                  <a:lnTo>
                    <a:pt x="421" y="208"/>
                  </a:lnTo>
                  <a:lnTo>
                    <a:pt x="422" y="209"/>
                  </a:lnTo>
                  <a:lnTo>
                    <a:pt x="423" y="208"/>
                  </a:lnTo>
                  <a:lnTo>
                    <a:pt x="423" y="206"/>
                  </a:lnTo>
                  <a:lnTo>
                    <a:pt x="423" y="205"/>
                  </a:lnTo>
                  <a:lnTo>
                    <a:pt x="423" y="203"/>
                  </a:lnTo>
                  <a:lnTo>
                    <a:pt x="423" y="202"/>
                  </a:lnTo>
                  <a:lnTo>
                    <a:pt x="425" y="203"/>
                  </a:lnTo>
                  <a:lnTo>
                    <a:pt x="425" y="205"/>
                  </a:lnTo>
                  <a:lnTo>
                    <a:pt x="426" y="206"/>
                  </a:lnTo>
                  <a:lnTo>
                    <a:pt x="426" y="207"/>
                  </a:lnTo>
                  <a:lnTo>
                    <a:pt x="425" y="206"/>
                  </a:lnTo>
                  <a:lnTo>
                    <a:pt x="425" y="207"/>
                  </a:lnTo>
                  <a:lnTo>
                    <a:pt x="425" y="208"/>
                  </a:lnTo>
                  <a:lnTo>
                    <a:pt x="426" y="209"/>
                  </a:lnTo>
                  <a:lnTo>
                    <a:pt x="426" y="211"/>
                  </a:lnTo>
                  <a:lnTo>
                    <a:pt x="426" y="209"/>
                  </a:lnTo>
                  <a:lnTo>
                    <a:pt x="428" y="209"/>
                  </a:lnTo>
                  <a:lnTo>
                    <a:pt x="429" y="208"/>
                  </a:lnTo>
                  <a:lnTo>
                    <a:pt x="431" y="209"/>
                  </a:lnTo>
                  <a:lnTo>
                    <a:pt x="433" y="209"/>
                  </a:lnTo>
                  <a:lnTo>
                    <a:pt x="434" y="209"/>
                  </a:lnTo>
                  <a:lnTo>
                    <a:pt x="435" y="211"/>
                  </a:lnTo>
                  <a:lnTo>
                    <a:pt x="437" y="212"/>
                  </a:lnTo>
                  <a:lnTo>
                    <a:pt x="438" y="211"/>
                  </a:lnTo>
                  <a:lnTo>
                    <a:pt x="437" y="211"/>
                  </a:lnTo>
                  <a:lnTo>
                    <a:pt x="437" y="212"/>
                  </a:lnTo>
                  <a:lnTo>
                    <a:pt x="437" y="213"/>
                  </a:lnTo>
                  <a:lnTo>
                    <a:pt x="438" y="214"/>
                  </a:lnTo>
                  <a:lnTo>
                    <a:pt x="438" y="212"/>
                  </a:lnTo>
                  <a:lnTo>
                    <a:pt x="438" y="211"/>
                  </a:lnTo>
                  <a:lnTo>
                    <a:pt x="439" y="211"/>
                  </a:lnTo>
                  <a:lnTo>
                    <a:pt x="439" y="212"/>
                  </a:lnTo>
                  <a:lnTo>
                    <a:pt x="440" y="212"/>
                  </a:lnTo>
                  <a:lnTo>
                    <a:pt x="440" y="213"/>
                  </a:lnTo>
                  <a:lnTo>
                    <a:pt x="440" y="214"/>
                  </a:lnTo>
                  <a:lnTo>
                    <a:pt x="440" y="215"/>
                  </a:lnTo>
                  <a:lnTo>
                    <a:pt x="440" y="217"/>
                  </a:lnTo>
                  <a:lnTo>
                    <a:pt x="442" y="218"/>
                  </a:lnTo>
                  <a:lnTo>
                    <a:pt x="442" y="219"/>
                  </a:lnTo>
                  <a:lnTo>
                    <a:pt x="440" y="220"/>
                  </a:lnTo>
                  <a:lnTo>
                    <a:pt x="440" y="221"/>
                  </a:lnTo>
                  <a:lnTo>
                    <a:pt x="440" y="223"/>
                  </a:lnTo>
                  <a:lnTo>
                    <a:pt x="440" y="224"/>
                  </a:lnTo>
                  <a:lnTo>
                    <a:pt x="439" y="224"/>
                  </a:lnTo>
                  <a:lnTo>
                    <a:pt x="439" y="225"/>
                  </a:lnTo>
                  <a:lnTo>
                    <a:pt x="438" y="225"/>
                  </a:lnTo>
                  <a:lnTo>
                    <a:pt x="437" y="225"/>
                  </a:lnTo>
                  <a:lnTo>
                    <a:pt x="437" y="226"/>
                  </a:lnTo>
                  <a:lnTo>
                    <a:pt x="435" y="226"/>
                  </a:lnTo>
                  <a:lnTo>
                    <a:pt x="434" y="226"/>
                  </a:lnTo>
                  <a:lnTo>
                    <a:pt x="433" y="226"/>
                  </a:lnTo>
                  <a:lnTo>
                    <a:pt x="432" y="227"/>
                  </a:lnTo>
                  <a:lnTo>
                    <a:pt x="431" y="227"/>
                  </a:lnTo>
                  <a:lnTo>
                    <a:pt x="431" y="226"/>
                  </a:lnTo>
                  <a:lnTo>
                    <a:pt x="432" y="226"/>
                  </a:lnTo>
                  <a:lnTo>
                    <a:pt x="432" y="225"/>
                  </a:lnTo>
                  <a:lnTo>
                    <a:pt x="432" y="224"/>
                  </a:lnTo>
                  <a:lnTo>
                    <a:pt x="433" y="224"/>
                  </a:lnTo>
                  <a:lnTo>
                    <a:pt x="432" y="224"/>
                  </a:lnTo>
                  <a:lnTo>
                    <a:pt x="432" y="223"/>
                  </a:lnTo>
                  <a:lnTo>
                    <a:pt x="432" y="225"/>
                  </a:lnTo>
                  <a:lnTo>
                    <a:pt x="431" y="225"/>
                  </a:lnTo>
                  <a:lnTo>
                    <a:pt x="431" y="226"/>
                  </a:lnTo>
                  <a:lnTo>
                    <a:pt x="429" y="226"/>
                  </a:lnTo>
                  <a:lnTo>
                    <a:pt x="431" y="226"/>
                  </a:lnTo>
                  <a:lnTo>
                    <a:pt x="431" y="227"/>
                  </a:lnTo>
                  <a:lnTo>
                    <a:pt x="429" y="227"/>
                  </a:lnTo>
                  <a:lnTo>
                    <a:pt x="429" y="226"/>
                  </a:lnTo>
                  <a:lnTo>
                    <a:pt x="429" y="225"/>
                  </a:lnTo>
                  <a:lnTo>
                    <a:pt x="429" y="224"/>
                  </a:lnTo>
                  <a:lnTo>
                    <a:pt x="429" y="223"/>
                  </a:lnTo>
                  <a:lnTo>
                    <a:pt x="428" y="223"/>
                  </a:lnTo>
                  <a:lnTo>
                    <a:pt x="427" y="223"/>
                  </a:lnTo>
                  <a:lnTo>
                    <a:pt x="426" y="221"/>
                  </a:lnTo>
                  <a:lnTo>
                    <a:pt x="425" y="220"/>
                  </a:lnTo>
                  <a:lnTo>
                    <a:pt x="425" y="221"/>
                  </a:lnTo>
                  <a:lnTo>
                    <a:pt x="425" y="224"/>
                  </a:lnTo>
                  <a:lnTo>
                    <a:pt x="425" y="226"/>
                  </a:lnTo>
                  <a:lnTo>
                    <a:pt x="426" y="226"/>
                  </a:lnTo>
                  <a:lnTo>
                    <a:pt x="426" y="225"/>
                  </a:lnTo>
                  <a:lnTo>
                    <a:pt x="427" y="225"/>
                  </a:lnTo>
                  <a:lnTo>
                    <a:pt x="427" y="224"/>
                  </a:lnTo>
                  <a:lnTo>
                    <a:pt x="427" y="223"/>
                  </a:lnTo>
                  <a:lnTo>
                    <a:pt x="428" y="224"/>
                  </a:lnTo>
                  <a:lnTo>
                    <a:pt x="428" y="225"/>
                  </a:lnTo>
                  <a:lnTo>
                    <a:pt x="428" y="226"/>
                  </a:lnTo>
                  <a:lnTo>
                    <a:pt x="426" y="227"/>
                  </a:lnTo>
                  <a:lnTo>
                    <a:pt x="427" y="227"/>
                  </a:lnTo>
                  <a:lnTo>
                    <a:pt x="432" y="227"/>
                  </a:lnTo>
                  <a:lnTo>
                    <a:pt x="434" y="227"/>
                  </a:lnTo>
                  <a:lnTo>
                    <a:pt x="434" y="229"/>
                  </a:lnTo>
                  <a:lnTo>
                    <a:pt x="434" y="230"/>
                  </a:lnTo>
                  <a:lnTo>
                    <a:pt x="435" y="231"/>
                  </a:lnTo>
                  <a:lnTo>
                    <a:pt x="435" y="232"/>
                  </a:lnTo>
                  <a:lnTo>
                    <a:pt x="435" y="233"/>
                  </a:lnTo>
                  <a:lnTo>
                    <a:pt x="434" y="233"/>
                  </a:lnTo>
                  <a:lnTo>
                    <a:pt x="434" y="236"/>
                  </a:lnTo>
                  <a:lnTo>
                    <a:pt x="435" y="237"/>
                  </a:lnTo>
                  <a:lnTo>
                    <a:pt x="434" y="238"/>
                  </a:lnTo>
                  <a:lnTo>
                    <a:pt x="435" y="238"/>
                  </a:lnTo>
                  <a:lnTo>
                    <a:pt x="435" y="237"/>
                  </a:lnTo>
                  <a:lnTo>
                    <a:pt x="437" y="236"/>
                  </a:lnTo>
                  <a:lnTo>
                    <a:pt x="438" y="236"/>
                  </a:lnTo>
                  <a:lnTo>
                    <a:pt x="438" y="235"/>
                  </a:lnTo>
                  <a:lnTo>
                    <a:pt x="438" y="233"/>
                  </a:lnTo>
                  <a:lnTo>
                    <a:pt x="438" y="232"/>
                  </a:lnTo>
                  <a:lnTo>
                    <a:pt x="437" y="232"/>
                  </a:lnTo>
                  <a:lnTo>
                    <a:pt x="435" y="232"/>
                  </a:lnTo>
                  <a:lnTo>
                    <a:pt x="435" y="231"/>
                  </a:lnTo>
                  <a:lnTo>
                    <a:pt x="435" y="230"/>
                  </a:lnTo>
                  <a:lnTo>
                    <a:pt x="435" y="229"/>
                  </a:lnTo>
                  <a:lnTo>
                    <a:pt x="437" y="227"/>
                  </a:lnTo>
                  <a:lnTo>
                    <a:pt x="437" y="229"/>
                  </a:lnTo>
                  <a:lnTo>
                    <a:pt x="438" y="229"/>
                  </a:lnTo>
                  <a:lnTo>
                    <a:pt x="439" y="230"/>
                  </a:lnTo>
                  <a:lnTo>
                    <a:pt x="440" y="229"/>
                  </a:lnTo>
                  <a:lnTo>
                    <a:pt x="439" y="229"/>
                  </a:lnTo>
                  <a:lnTo>
                    <a:pt x="439" y="227"/>
                  </a:lnTo>
                  <a:lnTo>
                    <a:pt x="440" y="227"/>
                  </a:lnTo>
                  <a:lnTo>
                    <a:pt x="442" y="227"/>
                  </a:lnTo>
                  <a:lnTo>
                    <a:pt x="443" y="227"/>
                  </a:lnTo>
                  <a:lnTo>
                    <a:pt x="443" y="229"/>
                  </a:lnTo>
                  <a:lnTo>
                    <a:pt x="444" y="229"/>
                  </a:lnTo>
                  <a:lnTo>
                    <a:pt x="444" y="230"/>
                  </a:lnTo>
                  <a:lnTo>
                    <a:pt x="444" y="231"/>
                  </a:lnTo>
                  <a:lnTo>
                    <a:pt x="446" y="231"/>
                  </a:lnTo>
                  <a:lnTo>
                    <a:pt x="448" y="231"/>
                  </a:lnTo>
                  <a:lnTo>
                    <a:pt x="448" y="232"/>
                  </a:lnTo>
                  <a:lnTo>
                    <a:pt x="449" y="232"/>
                  </a:lnTo>
                  <a:lnTo>
                    <a:pt x="449" y="235"/>
                  </a:lnTo>
                  <a:lnTo>
                    <a:pt x="450" y="235"/>
                  </a:lnTo>
                  <a:lnTo>
                    <a:pt x="450" y="237"/>
                  </a:lnTo>
                  <a:lnTo>
                    <a:pt x="451" y="237"/>
                  </a:lnTo>
                  <a:lnTo>
                    <a:pt x="451" y="238"/>
                  </a:lnTo>
                  <a:lnTo>
                    <a:pt x="452" y="238"/>
                  </a:lnTo>
                  <a:lnTo>
                    <a:pt x="452" y="239"/>
                  </a:lnTo>
                  <a:lnTo>
                    <a:pt x="452" y="241"/>
                  </a:lnTo>
                  <a:lnTo>
                    <a:pt x="451" y="239"/>
                  </a:lnTo>
                  <a:lnTo>
                    <a:pt x="450" y="241"/>
                  </a:lnTo>
                  <a:lnTo>
                    <a:pt x="450" y="243"/>
                  </a:lnTo>
                  <a:lnTo>
                    <a:pt x="449" y="243"/>
                  </a:lnTo>
                  <a:lnTo>
                    <a:pt x="450" y="243"/>
                  </a:lnTo>
                  <a:lnTo>
                    <a:pt x="451" y="243"/>
                  </a:lnTo>
                  <a:lnTo>
                    <a:pt x="451" y="244"/>
                  </a:lnTo>
                  <a:lnTo>
                    <a:pt x="452" y="243"/>
                  </a:lnTo>
                  <a:lnTo>
                    <a:pt x="452" y="244"/>
                  </a:lnTo>
                  <a:lnTo>
                    <a:pt x="454" y="244"/>
                  </a:lnTo>
                  <a:lnTo>
                    <a:pt x="454" y="245"/>
                  </a:lnTo>
                  <a:lnTo>
                    <a:pt x="455" y="244"/>
                  </a:lnTo>
                  <a:lnTo>
                    <a:pt x="456" y="245"/>
                  </a:lnTo>
                  <a:lnTo>
                    <a:pt x="457" y="247"/>
                  </a:lnTo>
                  <a:lnTo>
                    <a:pt x="457" y="245"/>
                  </a:lnTo>
                  <a:lnTo>
                    <a:pt x="456" y="244"/>
                  </a:lnTo>
                  <a:lnTo>
                    <a:pt x="455" y="243"/>
                  </a:lnTo>
                  <a:lnTo>
                    <a:pt x="454" y="242"/>
                  </a:lnTo>
                  <a:lnTo>
                    <a:pt x="456" y="242"/>
                  </a:lnTo>
                  <a:lnTo>
                    <a:pt x="456" y="241"/>
                  </a:lnTo>
                  <a:lnTo>
                    <a:pt x="456" y="238"/>
                  </a:lnTo>
                  <a:lnTo>
                    <a:pt x="455" y="238"/>
                  </a:lnTo>
                  <a:lnTo>
                    <a:pt x="455" y="237"/>
                  </a:lnTo>
                  <a:lnTo>
                    <a:pt x="454" y="237"/>
                  </a:lnTo>
                  <a:lnTo>
                    <a:pt x="454" y="236"/>
                  </a:lnTo>
                  <a:lnTo>
                    <a:pt x="454" y="235"/>
                  </a:lnTo>
                  <a:lnTo>
                    <a:pt x="452" y="235"/>
                  </a:lnTo>
                  <a:lnTo>
                    <a:pt x="451" y="235"/>
                  </a:lnTo>
                  <a:lnTo>
                    <a:pt x="451" y="233"/>
                  </a:lnTo>
                  <a:lnTo>
                    <a:pt x="452" y="232"/>
                  </a:lnTo>
                  <a:lnTo>
                    <a:pt x="452" y="231"/>
                  </a:lnTo>
                  <a:lnTo>
                    <a:pt x="451" y="231"/>
                  </a:lnTo>
                  <a:lnTo>
                    <a:pt x="451" y="230"/>
                  </a:lnTo>
                  <a:lnTo>
                    <a:pt x="450" y="229"/>
                  </a:lnTo>
                  <a:lnTo>
                    <a:pt x="450" y="227"/>
                  </a:lnTo>
                  <a:lnTo>
                    <a:pt x="449" y="226"/>
                  </a:lnTo>
                  <a:lnTo>
                    <a:pt x="449" y="225"/>
                  </a:lnTo>
                  <a:lnTo>
                    <a:pt x="450" y="225"/>
                  </a:lnTo>
                  <a:lnTo>
                    <a:pt x="449" y="221"/>
                  </a:lnTo>
                  <a:lnTo>
                    <a:pt x="449" y="220"/>
                  </a:lnTo>
                  <a:lnTo>
                    <a:pt x="449" y="219"/>
                  </a:lnTo>
                  <a:lnTo>
                    <a:pt x="449" y="218"/>
                  </a:lnTo>
                  <a:lnTo>
                    <a:pt x="448" y="218"/>
                  </a:lnTo>
                  <a:lnTo>
                    <a:pt x="448" y="217"/>
                  </a:lnTo>
                  <a:lnTo>
                    <a:pt x="448" y="215"/>
                  </a:lnTo>
                  <a:lnTo>
                    <a:pt x="448" y="214"/>
                  </a:lnTo>
                  <a:lnTo>
                    <a:pt x="446" y="214"/>
                  </a:lnTo>
                  <a:lnTo>
                    <a:pt x="446" y="213"/>
                  </a:lnTo>
                  <a:lnTo>
                    <a:pt x="448" y="213"/>
                  </a:lnTo>
                  <a:lnTo>
                    <a:pt x="448" y="212"/>
                  </a:lnTo>
                  <a:lnTo>
                    <a:pt x="446" y="211"/>
                  </a:lnTo>
                  <a:lnTo>
                    <a:pt x="445" y="211"/>
                  </a:lnTo>
                  <a:lnTo>
                    <a:pt x="446" y="211"/>
                  </a:lnTo>
                  <a:lnTo>
                    <a:pt x="446" y="209"/>
                  </a:lnTo>
                  <a:lnTo>
                    <a:pt x="445" y="208"/>
                  </a:lnTo>
                  <a:lnTo>
                    <a:pt x="445" y="207"/>
                  </a:lnTo>
                  <a:lnTo>
                    <a:pt x="444" y="207"/>
                  </a:lnTo>
                  <a:lnTo>
                    <a:pt x="444" y="206"/>
                  </a:lnTo>
                  <a:lnTo>
                    <a:pt x="445" y="205"/>
                  </a:lnTo>
                  <a:lnTo>
                    <a:pt x="444" y="203"/>
                  </a:lnTo>
                  <a:lnTo>
                    <a:pt x="443" y="203"/>
                  </a:lnTo>
                  <a:lnTo>
                    <a:pt x="442" y="203"/>
                  </a:lnTo>
                  <a:lnTo>
                    <a:pt x="442" y="205"/>
                  </a:lnTo>
                  <a:lnTo>
                    <a:pt x="442" y="203"/>
                  </a:lnTo>
                  <a:lnTo>
                    <a:pt x="440" y="203"/>
                  </a:lnTo>
                  <a:lnTo>
                    <a:pt x="439" y="203"/>
                  </a:lnTo>
                  <a:lnTo>
                    <a:pt x="440" y="202"/>
                  </a:lnTo>
                  <a:lnTo>
                    <a:pt x="439" y="202"/>
                  </a:lnTo>
                  <a:lnTo>
                    <a:pt x="439" y="201"/>
                  </a:lnTo>
                  <a:lnTo>
                    <a:pt x="440" y="201"/>
                  </a:lnTo>
                  <a:lnTo>
                    <a:pt x="440" y="200"/>
                  </a:lnTo>
                  <a:lnTo>
                    <a:pt x="439" y="200"/>
                  </a:lnTo>
                  <a:lnTo>
                    <a:pt x="439" y="199"/>
                  </a:lnTo>
                  <a:lnTo>
                    <a:pt x="440" y="199"/>
                  </a:lnTo>
                  <a:lnTo>
                    <a:pt x="442" y="199"/>
                  </a:lnTo>
                  <a:lnTo>
                    <a:pt x="443" y="199"/>
                  </a:lnTo>
                  <a:lnTo>
                    <a:pt x="442" y="199"/>
                  </a:lnTo>
                  <a:lnTo>
                    <a:pt x="440" y="197"/>
                  </a:lnTo>
                  <a:lnTo>
                    <a:pt x="440" y="196"/>
                  </a:lnTo>
                  <a:lnTo>
                    <a:pt x="439" y="196"/>
                  </a:lnTo>
                  <a:lnTo>
                    <a:pt x="438" y="196"/>
                  </a:lnTo>
                  <a:lnTo>
                    <a:pt x="438" y="197"/>
                  </a:lnTo>
                  <a:lnTo>
                    <a:pt x="438" y="196"/>
                  </a:lnTo>
                  <a:lnTo>
                    <a:pt x="437" y="196"/>
                  </a:lnTo>
                  <a:lnTo>
                    <a:pt x="435" y="196"/>
                  </a:lnTo>
                  <a:lnTo>
                    <a:pt x="434" y="197"/>
                  </a:lnTo>
                  <a:lnTo>
                    <a:pt x="433" y="197"/>
                  </a:lnTo>
                  <a:lnTo>
                    <a:pt x="433" y="199"/>
                  </a:lnTo>
                  <a:lnTo>
                    <a:pt x="432" y="199"/>
                  </a:lnTo>
                  <a:lnTo>
                    <a:pt x="432" y="197"/>
                  </a:lnTo>
                  <a:lnTo>
                    <a:pt x="431" y="197"/>
                  </a:lnTo>
                  <a:lnTo>
                    <a:pt x="429" y="196"/>
                  </a:lnTo>
                  <a:lnTo>
                    <a:pt x="428" y="196"/>
                  </a:lnTo>
                  <a:lnTo>
                    <a:pt x="427" y="196"/>
                  </a:lnTo>
                  <a:lnTo>
                    <a:pt x="426" y="196"/>
                  </a:lnTo>
                  <a:lnTo>
                    <a:pt x="426" y="195"/>
                  </a:lnTo>
                  <a:lnTo>
                    <a:pt x="425" y="195"/>
                  </a:lnTo>
                  <a:lnTo>
                    <a:pt x="425" y="194"/>
                  </a:lnTo>
                  <a:lnTo>
                    <a:pt x="426" y="193"/>
                  </a:lnTo>
                  <a:lnTo>
                    <a:pt x="426" y="191"/>
                  </a:lnTo>
                  <a:lnTo>
                    <a:pt x="427" y="190"/>
                  </a:lnTo>
                  <a:lnTo>
                    <a:pt x="427" y="191"/>
                  </a:lnTo>
                  <a:lnTo>
                    <a:pt x="428" y="190"/>
                  </a:lnTo>
                  <a:lnTo>
                    <a:pt x="428" y="191"/>
                  </a:lnTo>
                  <a:lnTo>
                    <a:pt x="429" y="190"/>
                  </a:lnTo>
                  <a:lnTo>
                    <a:pt x="431" y="190"/>
                  </a:lnTo>
                  <a:lnTo>
                    <a:pt x="431" y="189"/>
                  </a:lnTo>
                  <a:lnTo>
                    <a:pt x="432" y="189"/>
                  </a:lnTo>
                  <a:lnTo>
                    <a:pt x="433" y="189"/>
                  </a:lnTo>
                  <a:lnTo>
                    <a:pt x="434" y="189"/>
                  </a:lnTo>
                  <a:lnTo>
                    <a:pt x="434" y="190"/>
                  </a:lnTo>
                  <a:lnTo>
                    <a:pt x="434" y="189"/>
                  </a:lnTo>
                  <a:lnTo>
                    <a:pt x="434" y="188"/>
                  </a:lnTo>
                  <a:lnTo>
                    <a:pt x="433" y="187"/>
                  </a:lnTo>
                  <a:lnTo>
                    <a:pt x="432" y="187"/>
                  </a:lnTo>
                  <a:lnTo>
                    <a:pt x="432" y="185"/>
                  </a:lnTo>
                  <a:lnTo>
                    <a:pt x="431" y="185"/>
                  </a:lnTo>
                  <a:lnTo>
                    <a:pt x="431" y="184"/>
                  </a:lnTo>
                  <a:lnTo>
                    <a:pt x="429" y="184"/>
                  </a:lnTo>
                  <a:lnTo>
                    <a:pt x="429" y="185"/>
                  </a:lnTo>
                  <a:lnTo>
                    <a:pt x="429" y="187"/>
                  </a:lnTo>
                  <a:lnTo>
                    <a:pt x="429" y="188"/>
                  </a:lnTo>
                  <a:lnTo>
                    <a:pt x="429" y="189"/>
                  </a:lnTo>
                  <a:lnTo>
                    <a:pt x="429" y="188"/>
                  </a:lnTo>
                  <a:lnTo>
                    <a:pt x="428" y="189"/>
                  </a:lnTo>
                  <a:lnTo>
                    <a:pt x="425" y="189"/>
                  </a:lnTo>
                  <a:lnTo>
                    <a:pt x="425" y="190"/>
                  </a:lnTo>
                  <a:lnTo>
                    <a:pt x="423" y="189"/>
                  </a:lnTo>
                  <a:lnTo>
                    <a:pt x="422" y="189"/>
                  </a:lnTo>
                  <a:lnTo>
                    <a:pt x="420" y="189"/>
                  </a:lnTo>
                  <a:lnTo>
                    <a:pt x="421" y="187"/>
                  </a:lnTo>
                  <a:lnTo>
                    <a:pt x="420" y="187"/>
                  </a:lnTo>
                  <a:lnTo>
                    <a:pt x="420" y="188"/>
                  </a:lnTo>
                  <a:lnTo>
                    <a:pt x="419" y="188"/>
                  </a:lnTo>
                  <a:lnTo>
                    <a:pt x="417" y="188"/>
                  </a:lnTo>
                  <a:lnTo>
                    <a:pt x="417" y="189"/>
                  </a:lnTo>
                  <a:lnTo>
                    <a:pt x="416" y="189"/>
                  </a:lnTo>
                  <a:lnTo>
                    <a:pt x="415" y="188"/>
                  </a:lnTo>
                  <a:lnTo>
                    <a:pt x="414" y="188"/>
                  </a:lnTo>
                  <a:lnTo>
                    <a:pt x="414" y="187"/>
                  </a:lnTo>
                  <a:lnTo>
                    <a:pt x="413" y="187"/>
                  </a:lnTo>
                  <a:lnTo>
                    <a:pt x="411" y="187"/>
                  </a:lnTo>
                  <a:lnTo>
                    <a:pt x="410" y="187"/>
                  </a:lnTo>
                  <a:lnTo>
                    <a:pt x="409" y="187"/>
                  </a:lnTo>
                  <a:lnTo>
                    <a:pt x="408" y="185"/>
                  </a:lnTo>
                  <a:lnTo>
                    <a:pt x="407" y="185"/>
                  </a:lnTo>
                  <a:lnTo>
                    <a:pt x="404" y="184"/>
                  </a:lnTo>
                  <a:lnTo>
                    <a:pt x="405" y="184"/>
                  </a:lnTo>
                  <a:lnTo>
                    <a:pt x="407" y="183"/>
                  </a:lnTo>
                  <a:lnTo>
                    <a:pt x="405" y="183"/>
                  </a:lnTo>
                  <a:lnTo>
                    <a:pt x="405" y="182"/>
                  </a:lnTo>
                  <a:lnTo>
                    <a:pt x="407" y="182"/>
                  </a:lnTo>
                  <a:lnTo>
                    <a:pt x="407" y="181"/>
                  </a:lnTo>
                  <a:lnTo>
                    <a:pt x="409" y="181"/>
                  </a:lnTo>
                  <a:lnTo>
                    <a:pt x="410" y="182"/>
                  </a:lnTo>
                  <a:lnTo>
                    <a:pt x="413" y="182"/>
                  </a:lnTo>
                  <a:lnTo>
                    <a:pt x="413" y="181"/>
                  </a:lnTo>
                  <a:lnTo>
                    <a:pt x="411" y="179"/>
                  </a:lnTo>
                  <a:lnTo>
                    <a:pt x="410" y="179"/>
                  </a:lnTo>
                  <a:lnTo>
                    <a:pt x="409" y="178"/>
                  </a:lnTo>
                  <a:lnTo>
                    <a:pt x="409" y="179"/>
                  </a:lnTo>
                  <a:lnTo>
                    <a:pt x="408" y="179"/>
                  </a:lnTo>
                  <a:lnTo>
                    <a:pt x="407" y="179"/>
                  </a:lnTo>
                  <a:lnTo>
                    <a:pt x="405" y="179"/>
                  </a:lnTo>
                  <a:lnTo>
                    <a:pt x="404" y="181"/>
                  </a:lnTo>
                  <a:lnTo>
                    <a:pt x="403" y="181"/>
                  </a:lnTo>
                  <a:lnTo>
                    <a:pt x="403" y="182"/>
                  </a:lnTo>
                  <a:lnTo>
                    <a:pt x="402" y="182"/>
                  </a:lnTo>
                  <a:lnTo>
                    <a:pt x="402" y="181"/>
                  </a:lnTo>
                  <a:lnTo>
                    <a:pt x="403" y="181"/>
                  </a:lnTo>
                  <a:lnTo>
                    <a:pt x="403" y="179"/>
                  </a:lnTo>
                  <a:lnTo>
                    <a:pt x="404" y="178"/>
                  </a:lnTo>
                  <a:lnTo>
                    <a:pt x="405" y="178"/>
                  </a:lnTo>
                  <a:lnTo>
                    <a:pt x="403" y="178"/>
                  </a:lnTo>
                  <a:lnTo>
                    <a:pt x="403" y="177"/>
                  </a:lnTo>
                  <a:lnTo>
                    <a:pt x="403" y="176"/>
                  </a:lnTo>
                  <a:lnTo>
                    <a:pt x="404" y="176"/>
                  </a:lnTo>
                  <a:lnTo>
                    <a:pt x="403" y="176"/>
                  </a:lnTo>
                  <a:lnTo>
                    <a:pt x="403" y="175"/>
                  </a:lnTo>
                  <a:lnTo>
                    <a:pt x="403" y="173"/>
                  </a:lnTo>
                  <a:lnTo>
                    <a:pt x="404" y="173"/>
                  </a:lnTo>
                  <a:lnTo>
                    <a:pt x="404" y="172"/>
                  </a:lnTo>
                  <a:lnTo>
                    <a:pt x="403" y="171"/>
                  </a:lnTo>
                  <a:lnTo>
                    <a:pt x="403" y="170"/>
                  </a:lnTo>
                  <a:lnTo>
                    <a:pt x="402" y="170"/>
                  </a:lnTo>
                  <a:lnTo>
                    <a:pt x="402" y="169"/>
                  </a:lnTo>
                  <a:lnTo>
                    <a:pt x="401" y="169"/>
                  </a:lnTo>
                  <a:lnTo>
                    <a:pt x="399" y="170"/>
                  </a:lnTo>
                  <a:lnTo>
                    <a:pt x="398" y="170"/>
                  </a:lnTo>
                  <a:lnTo>
                    <a:pt x="398" y="169"/>
                  </a:lnTo>
                  <a:lnTo>
                    <a:pt x="397" y="169"/>
                  </a:lnTo>
                  <a:lnTo>
                    <a:pt x="397" y="171"/>
                  </a:lnTo>
                  <a:lnTo>
                    <a:pt x="398" y="171"/>
                  </a:lnTo>
                  <a:lnTo>
                    <a:pt x="398" y="172"/>
                  </a:lnTo>
                  <a:lnTo>
                    <a:pt x="397" y="172"/>
                  </a:lnTo>
                  <a:lnTo>
                    <a:pt x="399" y="172"/>
                  </a:lnTo>
                  <a:lnTo>
                    <a:pt x="401" y="172"/>
                  </a:lnTo>
                  <a:lnTo>
                    <a:pt x="401" y="173"/>
                  </a:lnTo>
                  <a:lnTo>
                    <a:pt x="399" y="173"/>
                  </a:lnTo>
                  <a:lnTo>
                    <a:pt x="401" y="173"/>
                  </a:lnTo>
                  <a:lnTo>
                    <a:pt x="401" y="175"/>
                  </a:lnTo>
                  <a:lnTo>
                    <a:pt x="401" y="176"/>
                  </a:lnTo>
                  <a:lnTo>
                    <a:pt x="399" y="175"/>
                  </a:lnTo>
                  <a:lnTo>
                    <a:pt x="398" y="175"/>
                  </a:lnTo>
                  <a:lnTo>
                    <a:pt x="398" y="176"/>
                  </a:lnTo>
                  <a:lnTo>
                    <a:pt x="397" y="176"/>
                  </a:lnTo>
                  <a:lnTo>
                    <a:pt x="396" y="176"/>
                  </a:lnTo>
                  <a:lnTo>
                    <a:pt x="393" y="176"/>
                  </a:lnTo>
                  <a:lnTo>
                    <a:pt x="393" y="177"/>
                  </a:lnTo>
                  <a:lnTo>
                    <a:pt x="392" y="177"/>
                  </a:lnTo>
                  <a:lnTo>
                    <a:pt x="393" y="178"/>
                  </a:lnTo>
                  <a:lnTo>
                    <a:pt x="392" y="178"/>
                  </a:lnTo>
                  <a:lnTo>
                    <a:pt x="392" y="179"/>
                  </a:lnTo>
                  <a:lnTo>
                    <a:pt x="391" y="179"/>
                  </a:lnTo>
                  <a:lnTo>
                    <a:pt x="391" y="181"/>
                  </a:lnTo>
                  <a:lnTo>
                    <a:pt x="390" y="181"/>
                  </a:lnTo>
                  <a:lnTo>
                    <a:pt x="390" y="179"/>
                  </a:lnTo>
                  <a:lnTo>
                    <a:pt x="387" y="179"/>
                  </a:lnTo>
                  <a:lnTo>
                    <a:pt x="389" y="178"/>
                  </a:lnTo>
                  <a:lnTo>
                    <a:pt x="389" y="177"/>
                  </a:lnTo>
                  <a:lnTo>
                    <a:pt x="389" y="176"/>
                  </a:lnTo>
                  <a:lnTo>
                    <a:pt x="387" y="175"/>
                  </a:lnTo>
                  <a:lnTo>
                    <a:pt x="387" y="173"/>
                  </a:lnTo>
                  <a:lnTo>
                    <a:pt x="389" y="173"/>
                  </a:lnTo>
                  <a:lnTo>
                    <a:pt x="390" y="175"/>
                  </a:lnTo>
                  <a:lnTo>
                    <a:pt x="391" y="175"/>
                  </a:lnTo>
                  <a:lnTo>
                    <a:pt x="391" y="176"/>
                  </a:lnTo>
                  <a:lnTo>
                    <a:pt x="390" y="176"/>
                  </a:lnTo>
                  <a:lnTo>
                    <a:pt x="391" y="177"/>
                  </a:lnTo>
                  <a:lnTo>
                    <a:pt x="392" y="176"/>
                  </a:lnTo>
                  <a:lnTo>
                    <a:pt x="392" y="175"/>
                  </a:lnTo>
                  <a:lnTo>
                    <a:pt x="392" y="176"/>
                  </a:lnTo>
                  <a:lnTo>
                    <a:pt x="391" y="175"/>
                  </a:lnTo>
                  <a:lnTo>
                    <a:pt x="391" y="173"/>
                  </a:lnTo>
                  <a:lnTo>
                    <a:pt x="390" y="172"/>
                  </a:lnTo>
                  <a:lnTo>
                    <a:pt x="391" y="172"/>
                  </a:lnTo>
                  <a:lnTo>
                    <a:pt x="391" y="171"/>
                  </a:lnTo>
                  <a:lnTo>
                    <a:pt x="390" y="172"/>
                  </a:lnTo>
                  <a:lnTo>
                    <a:pt x="389" y="172"/>
                  </a:lnTo>
                  <a:lnTo>
                    <a:pt x="390" y="171"/>
                  </a:lnTo>
                  <a:lnTo>
                    <a:pt x="390" y="170"/>
                  </a:lnTo>
                  <a:lnTo>
                    <a:pt x="389" y="169"/>
                  </a:lnTo>
                  <a:lnTo>
                    <a:pt x="389" y="167"/>
                  </a:lnTo>
                  <a:lnTo>
                    <a:pt x="387" y="167"/>
                  </a:lnTo>
                  <a:lnTo>
                    <a:pt x="386" y="167"/>
                  </a:lnTo>
                  <a:lnTo>
                    <a:pt x="386" y="166"/>
                  </a:lnTo>
                  <a:lnTo>
                    <a:pt x="386" y="165"/>
                  </a:lnTo>
                  <a:lnTo>
                    <a:pt x="386" y="166"/>
                  </a:lnTo>
                  <a:lnTo>
                    <a:pt x="385" y="166"/>
                  </a:lnTo>
                  <a:lnTo>
                    <a:pt x="386" y="166"/>
                  </a:lnTo>
                  <a:lnTo>
                    <a:pt x="386" y="167"/>
                  </a:lnTo>
                  <a:lnTo>
                    <a:pt x="386" y="169"/>
                  </a:lnTo>
                  <a:lnTo>
                    <a:pt x="385" y="170"/>
                  </a:lnTo>
                  <a:lnTo>
                    <a:pt x="385" y="169"/>
                  </a:lnTo>
                  <a:lnTo>
                    <a:pt x="385" y="167"/>
                  </a:lnTo>
                  <a:lnTo>
                    <a:pt x="384" y="167"/>
                  </a:lnTo>
                  <a:lnTo>
                    <a:pt x="383" y="167"/>
                  </a:lnTo>
                  <a:lnTo>
                    <a:pt x="381" y="167"/>
                  </a:lnTo>
                  <a:lnTo>
                    <a:pt x="381" y="169"/>
                  </a:lnTo>
                  <a:lnTo>
                    <a:pt x="381" y="167"/>
                  </a:lnTo>
                  <a:lnTo>
                    <a:pt x="380" y="167"/>
                  </a:lnTo>
                  <a:lnTo>
                    <a:pt x="380" y="166"/>
                  </a:lnTo>
                  <a:lnTo>
                    <a:pt x="380" y="165"/>
                  </a:lnTo>
                  <a:lnTo>
                    <a:pt x="379" y="165"/>
                  </a:lnTo>
                  <a:lnTo>
                    <a:pt x="378" y="165"/>
                  </a:lnTo>
                  <a:lnTo>
                    <a:pt x="378" y="164"/>
                  </a:lnTo>
                  <a:lnTo>
                    <a:pt x="376" y="165"/>
                  </a:lnTo>
                  <a:lnTo>
                    <a:pt x="376" y="166"/>
                  </a:lnTo>
                  <a:lnTo>
                    <a:pt x="376" y="169"/>
                  </a:lnTo>
                  <a:lnTo>
                    <a:pt x="376" y="170"/>
                  </a:lnTo>
                  <a:lnTo>
                    <a:pt x="375" y="169"/>
                  </a:lnTo>
                  <a:lnTo>
                    <a:pt x="375" y="167"/>
                  </a:lnTo>
                  <a:lnTo>
                    <a:pt x="375" y="166"/>
                  </a:lnTo>
                  <a:lnTo>
                    <a:pt x="374" y="167"/>
                  </a:lnTo>
                  <a:lnTo>
                    <a:pt x="374" y="169"/>
                  </a:lnTo>
                  <a:lnTo>
                    <a:pt x="373" y="169"/>
                  </a:lnTo>
                  <a:lnTo>
                    <a:pt x="374" y="169"/>
                  </a:lnTo>
                  <a:lnTo>
                    <a:pt x="375" y="169"/>
                  </a:lnTo>
                  <a:lnTo>
                    <a:pt x="375" y="170"/>
                  </a:lnTo>
                  <a:lnTo>
                    <a:pt x="374" y="171"/>
                  </a:lnTo>
                  <a:lnTo>
                    <a:pt x="374" y="172"/>
                  </a:lnTo>
                  <a:lnTo>
                    <a:pt x="373" y="172"/>
                  </a:lnTo>
                  <a:lnTo>
                    <a:pt x="372" y="173"/>
                  </a:lnTo>
                  <a:lnTo>
                    <a:pt x="372" y="175"/>
                  </a:lnTo>
                  <a:lnTo>
                    <a:pt x="372" y="173"/>
                  </a:lnTo>
                  <a:lnTo>
                    <a:pt x="370" y="173"/>
                  </a:lnTo>
                  <a:lnTo>
                    <a:pt x="370" y="175"/>
                  </a:lnTo>
                  <a:lnTo>
                    <a:pt x="369" y="175"/>
                  </a:lnTo>
                  <a:lnTo>
                    <a:pt x="366" y="175"/>
                  </a:lnTo>
                  <a:lnTo>
                    <a:pt x="366" y="172"/>
                  </a:lnTo>
                  <a:lnTo>
                    <a:pt x="367" y="172"/>
                  </a:lnTo>
                  <a:lnTo>
                    <a:pt x="367" y="171"/>
                  </a:lnTo>
                  <a:lnTo>
                    <a:pt x="368" y="171"/>
                  </a:lnTo>
                  <a:lnTo>
                    <a:pt x="368" y="170"/>
                  </a:lnTo>
                  <a:lnTo>
                    <a:pt x="367" y="170"/>
                  </a:lnTo>
                  <a:lnTo>
                    <a:pt x="367" y="171"/>
                  </a:lnTo>
                  <a:lnTo>
                    <a:pt x="366" y="170"/>
                  </a:lnTo>
                  <a:lnTo>
                    <a:pt x="367" y="170"/>
                  </a:lnTo>
                  <a:lnTo>
                    <a:pt x="367" y="169"/>
                  </a:lnTo>
                  <a:lnTo>
                    <a:pt x="368" y="169"/>
                  </a:lnTo>
                  <a:lnTo>
                    <a:pt x="368" y="167"/>
                  </a:lnTo>
                  <a:lnTo>
                    <a:pt x="369" y="167"/>
                  </a:lnTo>
                  <a:lnTo>
                    <a:pt x="369" y="166"/>
                  </a:lnTo>
                  <a:lnTo>
                    <a:pt x="368" y="166"/>
                  </a:lnTo>
                  <a:lnTo>
                    <a:pt x="368" y="165"/>
                  </a:lnTo>
                  <a:lnTo>
                    <a:pt x="369" y="165"/>
                  </a:lnTo>
                  <a:lnTo>
                    <a:pt x="369" y="164"/>
                  </a:lnTo>
                  <a:lnTo>
                    <a:pt x="369" y="162"/>
                  </a:lnTo>
                  <a:lnTo>
                    <a:pt x="369" y="161"/>
                  </a:lnTo>
                  <a:lnTo>
                    <a:pt x="370" y="160"/>
                  </a:lnTo>
                  <a:lnTo>
                    <a:pt x="369" y="160"/>
                  </a:lnTo>
                  <a:lnTo>
                    <a:pt x="367" y="159"/>
                  </a:lnTo>
                  <a:lnTo>
                    <a:pt x="366" y="159"/>
                  </a:lnTo>
                  <a:lnTo>
                    <a:pt x="366" y="160"/>
                  </a:lnTo>
                  <a:lnTo>
                    <a:pt x="364" y="161"/>
                  </a:lnTo>
                  <a:lnTo>
                    <a:pt x="363" y="161"/>
                  </a:lnTo>
                  <a:lnTo>
                    <a:pt x="363" y="160"/>
                  </a:lnTo>
                  <a:lnTo>
                    <a:pt x="364" y="160"/>
                  </a:lnTo>
                  <a:lnTo>
                    <a:pt x="364" y="159"/>
                  </a:lnTo>
                  <a:lnTo>
                    <a:pt x="363" y="159"/>
                  </a:lnTo>
                  <a:lnTo>
                    <a:pt x="362" y="159"/>
                  </a:lnTo>
                  <a:lnTo>
                    <a:pt x="361" y="159"/>
                  </a:lnTo>
                  <a:lnTo>
                    <a:pt x="360" y="158"/>
                  </a:lnTo>
                  <a:lnTo>
                    <a:pt x="357" y="158"/>
                  </a:lnTo>
                  <a:lnTo>
                    <a:pt x="356" y="158"/>
                  </a:lnTo>
                  <a:lnTo>
                    <a:pt x="352" y="158"/>
                  </a:lnTo>
                  <a:lnTo>
                    <a:pt x="354" y="158"/>
                  </a:lnTo>
                  <a:lnTo>
                    <a:pt x="354" y="160"/>
                  </a:lnTo>
                  <a:lnTo>
                    <a:pt x="354" y="161"/>
                  </a:lnTo>
                  <a:lnTo>
                    <a:pt x="352" y="160"/>
                  </a:lnTo>
                  <a:lnTo>
                    <a:pt x="351" y="160"/>
                  </a:lnTo>
                  <a:lnTo>
                    <a:pt x="351" y="159"/>
                  </a:lnTo>
                  <a:lnTo>
                    <a:pt x="352" y="158"/>
                  </a:lnTo>
                  <a:lnTo>
                    <a:pt x="351" y="158"/>
                  </a:lnTo>
                  <a:lnTo>
                    <a:pt x="350" y="158"/>
                  </a:lnTo>
                  <a:lnTo>
                    <a:pt x="349" y="159"/>
                  </a:lnTo>
                  <a:lnTo>
                    <a:pt x="348" y="159"/>
                  </a:lnTo>
                  <a:lnTo>
                    <a:pt x="346" y="159"/>
                  </a:lnTo>
                  <a:lnTo>
                    <a:pt x="346" y="160"/>
                  </a:lnTo>
                  <a:lnTo>
                    <a:pt x="345" y="160"/>
                  </a:lnTo>
                  <a:lnTo>
                    <a:pt x="344" y="160"/>
                  </a:lnTo>
                  <a:lnTo>
                    <a:pt x="345" y="161"/>
                  </a:lnTo>
                  <a:lnTo>
                    <a:pt x="346" y="161"/>
                  </a:lnTo>
                  <a:lnTo>
                    <a:pt x="346" y="162"/>
                  </a:lnTo>
                  <a:lnTo>
                    <a:pt x="344" y="162"/>
                  </a:lnTo>
                  <a:lnTo>
                    <a:pt x="344" y="164"/>
                  </a:lnTo>
                  <a:lnTo>
                    <a:pt x="343" y="165"/>
                  </a:lnTo>
                  <a:lnTo>
                    <a:pt x="343" y="166"/>
                  </a:lnTo>
                  <a:lnTo>
                    <a:pt x="342" y="166"/>
                  </a:lnTo>
                  <a:lnTo>
                    <a:pt x="342" y="165"/>
                  </a:lnTo>
                  <a:lnTo>
                    <a:pt x="340" y="165"/>
                  </a:lnTo>
                  <a:lnTo>
                    <a:pt x="340" y="164"/>
                  </a:lnTo>
                  <a:lnTo>
                    <a:pt x="339" y="162"/>
                  </a:lnTo>
                  <a:lnTo>
                    <a:pt x="338" y="161"/>
                  </a:lnTo>
                  <a:lnTo>
                    <a:pt x="339" y="161"/>
                  </a:lnTo>
                  <a:lnTo>
                    <a:pt x="339" y="162"/>
                  </a:lnTo>
                  <a:lnTo>
                    <a:pt x="340" y="161"/>
                  </a:lnTo>
                  <a:lnTo>
                    <a:pt x="342" y="161"/>
                  </a:lnTo>
                  <a:lnTo>
                    <a:pt x="342" y="160"/>
                  </a:lnTo>
                  <a:lnTo>
                    <a:pt x="343" y="160"/>
                  </a:lnTo>
                  <a:lnTo>
                    <a:pt x="343" y="159"/>
                  </a:lnTo>
                  <a:lnTo>
                    <a:pt x="342" y="159"/>
                  </a:lnTo>
                  <a:lnTo>
                    <a:pt x="343" y="156"/>
                  </a:lnTo>
                  <a:lnTo>
                    <a:pt x="342" y="156"/>
                  </a:lnTo>
                  <a:lnTo>
                    <a:pt x="342" y="155"/>
                  </a:lnTo>
                  <a:lnTo>
                    <a:pt x="340" y="155"/>
                  </a:lnTo>
                  <a:lnTo>
                    <a:pt x="340" y="158"/>
                  </a:lnTo>
                  <a:lnTo>
                    <a:pt x="339" y="158"/>
                  </a:lnTo>
                  <a:lnTo>
                    <a:pt x="339" y="156"/>
                  </a:lnTo>
                  <a:lnTo>
                    <a:pt x="338" y="155"/>
                  </a:lnTo>
                  <a:lnTo>
                    <a:pt x="338" y="154"/>
                  </a:lnTo>
                  <a:lnTo>
                    <a:pt x="337" y="154"/>
                  </a:lnTo>
                  <a:lnTo>
                    <a:pt x="337" y="153"/>
                  </a:lnTo>
                  <a:lnTo>
                    <a:pt x="336" y="153"/>
                  </a:lnTo>
                  <a:lnTo>
                    <a:pt x="336" y="152"/>
                  </a:lnTo>
                  <a:lnTo>
                    <a:pt x="334" y="152"/>
                  </a:lnTo>
                  <a:lnTo>
                    <a:pt x="333" y="152"/>
                  </a:lnTo>
                  <a:lnTo>
                    <a:pt x="332" y="152"/>
                  </a:lnTo>
                  <a:lnTo>
                    <a:pt x="333" y="150"/>
                  </a:lnTo>
                  <a:lnTo>
                    <a:pt x="331" y="150"/>
                  </a:lnTo>
                  <a:lnTo>
                    <a:pt x="331" y="149"/>
                  </a:lnTo>
                  <a:lnTo>
                    <a:pt x="330" y="149"/>
                  </a:lnTo>
                  <a:lnTo>
                    <a:pt x="328" y="149"/>
                  </a:lnTo>
                  <a:lnTo>
                    <a:pt x="328" y="148"/>
                  </a:lnTo>
                  <a:lnTo>
                    <a:pt x="327" y="147"/>
                  </a:lnTo>
                  <a:lnTo>
                    <a:pt x="326" y="147"/>
                  </a:lnTo>
                  <a:lnTo>
                    <a:pt x="325" y="147"/>
                  </a:lnTo>
                  <a:lnTo>
                    <a:pt x="325" y="146"/>
                  </a:lnTo>
                  <a:lnTo>
                    <a:pt x="325" y="144"/>
                  </a:lnTo>
                  <a:lnTo>
                    <a:pt x="324" y="144"/>
                  </a:lnTo>
                  <a:lnTo>
                    <a:pt x="322" y="144"/>
                  </a:lnTo>
                  <a:lnTo>
                    <a:pt x="321" y="143"/>
                  </a:lnTo>
                  <a:lnTo>
                    <a:pt x="319" y="143"/>
                  </a:lnTo>
                  <a:lnTo>
                    <a:pt x="319" y="142"/>
                  </a:lnTo>
                  <a:lnTo>
                    <a:pt x="319" y="141"/>
                  </a:lnTo>
                  <a:lnTo>
                    <a:pt x="318" y="141"/>
                  </a:lnTo>
                  <a:lnTo>
                    <a:pt x="316" y="140"/>
                  </a:lnTo>
                  <a:lnTo>
                    <a:pt x="315" y="137"/>
                  </a:lnTo>
                  <a:lnTo>
                    <a:pt x="316" y="136"/>
                  </a:lnTo>
                  <a:lnTo>
                    <a:pt x="316" y="134"/>
                  </a:lnTo>
                  <a:lnTo>
                    <a:pt x="318" y="132"/>
                  </a:lnTo>
                  <a:lnTo>
                    <a:pt x="316" y="132"/>
                  </a:lnTo>
                  <a:lnTo>
                    <a:pt x="315" y="131"/>
                  </a:lnTo>
                  <a:lnTo>
                    <a:pt x="314" y="131"/>
                  </a:lnTo>
                  <a:lnTo>
                    <a:pt x="314" y="130"/>
                  </a:lnTo>
                  <a:lnTo>
                    <a:pt x="313" y="131"/>
                  </a:lnTo>
                  <a:lnTo>
                    <a:pt x="313" y="130"/>
                  </a:lnTo>
                  <a:lnTo>
                    <a:pt x="311" y="130"/>
                  </a:lnTo>
                  <a:lnTo>
                    <a:pt x="310" y="130"/>
                  </a:lnTo>
                  <a:lnTo>
                    <a:pt x="309" y="130"/>
                  </a:lnTo>
                  <a:lnTo>
                    <a:pt x="308" y="129"/>
                  </a:lnTo>
                  <a:lnTo>
                    <a:pt x="308" y="128"/>
                  </a:lnTo>
                  <a:lnTo>
                    <a:pt x="307" y="128"/>
                  </a:lnTo>
                  <a:lnTo>
                    <a:pt x="307" y="126"/>
                  </a:lnTo>
                  <a:lnTo>
                    <a:pt x="305" y="126"/>
                  </a:lnTo>
                  <a:lnTo>
                    <a:pt x="305" y="125"/>
                  </a:lnTo>
                  <a:lnTo>
                    <a:pt x="305" y="124"/>
                  </a:lnTo>
                  <a:lnTo>
                    <a:pt x="305" y="123"/>
                  </a:lnTo>
                  <a:lnTo>
                    <a:pt x="307" y="123"/>
                  </a:lnTo>
                  <a:lnTo>
                    <a:pt x="308" y="123"/>
                  </a:lnTo>
                  <a:lnTo>
                    <a:pt x="308" y="122"/>
                  </a:lnTo>
                  <a:lnTo>
                    <a:pt x="309" y="122"/>
                  </a:lnTo>
                  <a:lnTo>
                    <a:pt x="310" y="122"/>
                  </a:lnTo>
                  <a:lnTo>
                    <a:pt x="311" y="122"/>
                  </a:lnTo>
                  <a:lnTo>
                    <a:pt x="311" y="120"/>
                  </a:lnTo>
                  <a:lnTo>
                    <a:pt x="311" y="119"/>
                  </a:lnTo>
                  <a:lnTo>
                    <a:pt x="313" y="119"/>
                  </a:lnTo>
                  <a:lnTo>
                    <a:pt x="313" y="118"/>
                  </a:lnTo>
                  <a:lnTo>
                    <a:pt x="314" y="118"/>
                  </a:lnTo>
                  <a:lnTo>
                    <a:pt x="314" y="119"/>
                  </a:lnTo>
                  <a:lnTo>
                    <a:pt x="315" y="119"/>
                  </a:lnTo>
                  <a:lnTo>
                    <a:pt x="319" y="120"/>
                  </a:lnTo>
                  <a:lnTo>
                    <a:pt x="319" y="122"/>
                  </a:lnTo>
                  <a:lnTo>
                    <a:pt x="320" y="122"/>
                  </a:lnTo>
                  <a:lnTo>
                    <a:pt x="320" y="120"/>
                  </a:lnTo>
                  <a:lnTo>
                    <a:pt x="319" y="120"/>
                  </a:lnTo>
                  <a:lnTo>
                    <a:pt x="319" y="119"/>
                  </a:lnTo>
                  <a:lnTo>
                    <a:pt x="319" y="118"/>
                  </a:lnTo>
                  <a:lnTo>
                    <a:pt x="318" y="118"/>
                  </a:lnTo>
                  <a:lnTo>
                    <a:pt x="316" y="118"/>
                  </a:lnTo>
                  <a:lnTo>
                    <a:pt x="315" y="117"/>
                  </a:lnTo>
                  <a:lnTo>
                    <a:pt x="314" y="116"/>
                  </a:lnTo>
                  <a:lnTo>
                    <a:pt x="314" y="117"/>
                  </a:lnTo>
                  <a:lnTo>
                    <a:pt x="313" y="117"/>
                  </a:lnTo>
                  <a:lnTo>
                    <a:pt x="313" y="116"/>
                  </a:lnTo>
                  <a:lnTo>
                    <a:pt x="311" y="116"/>
                  </a:lnTo>
                  <a:lnTo>
                    <a:pt x="311" y="114"/>
                  </a:lnTo>
                  <a:lnTo>
                    <a:pt x="310" y="113"/>
                  </a:lnTo>
                  <a:lnTo>
                    <a:pt x="311" y="112"/>
                  </a:lnTo>
                  <a:lnTo>
                    <a:pt x="310" y="112"/>
                  </a:lnTo>
                  <a:lnTo>
                    <a:pt x="310" y="111"/>
                  </a:lnTo>
                  <a:lnTo>
                    <a:pt x="310" y="110"/>
                  </a:lnTo>
                  <a:lnTo>
                    <a:pt x="309" y="110"/>
                  </a:lnTo>
                  <a:lnTo>
                    <a:pt x="309" y="108"/>
                  </a:lnTo>
                  <a:lnTo>
                    <a:pt x="308" y="108"/>
                  </a:lnTo>
                  <a:lnTo>
                    <a:pt x="308" y="107"/>
                  </a:lnTo>
                  <a:lnTo>
                    <a:pt x="308" y="106"/>
                  </a:lnTo>
                  <a:lnTo>
                    <a:pt x="308" y="105"/>
                  </a:lnTo>
                  <a:lnTo>
                    <a:pt x="308" y="104"/>
                  </a:lnTo>
                  <a:lnTo>
                    <a:pt x="309" y="104"/>
                  </a:lnTo>
                  <a:lnTo>
                    <a:pt x="309" y="102"/>
                  </a:lnTo>
                  <a:lnTo>
                    <a:pt x="310" y="102"/>
                  </a:lnTo>
                  <a:lnTo>
                    <a:pt x="310" y="104"/>
                  </a:lnTo>
                  <a:lnTo>
                    <a:pt x="311" y="104"/>
                  </a:lnTo>
                  <a:lnTo>
                    <a:pt x="311" y="105"/>
                  </a:lnTo>
                  <a:lnTo>
                    <a:pt x="313" y="105"/>
                  </a:lnTo>
                  <a:lnTo>
                    <a:pt x="316" y="105"/>
                  </a:lnTo>
                  <a:lnTo>
                    <a:pt x="318" y="105"/>
                  </a:lnTo>
                  <a:lnTo>
                    <a:pt x="319" y="105"/>
                  </a:lnTo>
                  <a:lnTo>
                    <a:pt x="319" y="106"/>
                  </a:lnTo>
                  <a:lnTo>
                    <a:pt x="319" y="107"/>
                  </a:lnTo>
                  <a:lnTo>
                    <a:pt x="322" y="107"/>
                  </a:lnTo>
                  <a:lnTo>
                    <a:pt x="322" y="106"/>
                  </a:lnTo>
                  <a:lnTo>
                    <a:pt x="324" y="106"/>
                  </a:lnTo>
                  <a:lnTo>
                    <a:pt x="324" y="105"/>
                  </a:lnTo>
                  <a:lnTo>
                    <a:pt x="322" y="105"/>
                  </a:lnTo>
                  <a:lnTo>
                    <a:pt x="322" y="104"/>
                  </a:lnTo>
                  <a:lnTo>
                    <a:pt x="322" y="102"/>
                  </a:lnTo>
                  <a:lnTo>
                    <a:pt x="322" y="101"/>
                  </a:lnTo>
                  <a:lnTo>
                    <a:pt x="321" y="102"/>
                  </a:lnTo>
                  <a:lnTo>
                    <a:pt x="319" y="102"/>
                  </a:lnTo>
                  <a:lnTo>
                    <a:pt x="319" y="101"/>
                  </a:lnTo>
                  <a:lnTo>
                    <a:pt x="318" y="101"/>
                  </a:lnTo>
                  <a:lnTo>
                    <a:pt x="316" y="100"/>
                  </a:lnTo>
                  <a:lnTo>
                    <a:pt x="316" y="101"/>
                  </a:lnTo>
                  <a:lnTo>
                    <a:pt x="315" y="101"/>
                  </a:lnTo>
                  <a:lnTo>
                    <a:pt x="316" y="100"/>
                  </a:lnTo>
                  <a:lnTo>
                    <a:pt x="315" y="100"/>
                  </a:lnTo>
                  <a:lnTo>
                    <a:pt x="314" y="99"/>
                  </a:lnTo>
                  <a:lnTo>
                    <a:pt x="315" y="99"/>
                  </a:lnTo>
                  <a:lnTo>
                    <a:pt x="314" y="98"/>
                  </a:lnTo>
                  <a:lnTo>
                    <a:pt x="314" y="96"/>
                  </a:lnTo>
                  <a:lnTo>
                    <a:pt x="313" y="96"/>
                  </a:lnTo>
                  <a:lnTo>
                    <a:pt x="314" y="95"/>
                  </a:lnTo>
                  <a:lnTo>
                    <a:pt x="313" y="94"/>
                  </a:lnTo>
                  <a:lnTo>
                    <a:pt x="313" y="93"/>
                  </a:lnTo>
                  <a:lnTo>
                    <a:pt x="311" y="93"/>
                  </a:lnTo>
                  <a:lnTo>
                    <a:pt x="311" y="92"/>
                  </a:lnTo>
                  <a:lnTo>
                    <a:pt x="311" y="90"/>
                  </a:lnTo>
                  <a:lnTo>
                    <a:pt x="313" y="90"/>
                  </a:lnTo>
                  <a:lnTo>
                    <a:pt x="313" y="89"/>
                  </a:lnTo>
                  <a:lnTo>
                    <a:pt x="314" y="89"/>
                  </a:lnTo>
                  <a:lnTo>
                    <a:pt x="315" y="89"/>
                  </a:lnTo>
                  <a:lnTo>
                    <a:pt x="315" y="90"/>
                  </a:lnTo>
                  <a:lnTo>
                    <a:pt x="316" y="92"/>
                  </a:lnTo>
                  <a:lnTo>
                    <a:pt x="318" y="93"/>
                  </a:lnTo>
                  <a:lnTo>
                    <a:pt x="319" y="93"/>
                  </a:lnTo>
                  <a:lnTo>
                    <a:pt x="319" y="92"/>
                  </a:lnTo>
                  <a:lnTo>
                    <a:pt x="319" y="90"/>
                  </a:lnTo>
                  <a:lnTo>
                    <a:pt x="320" y="89"/>
                  </a:lnTo>
                  <a:lnTo>
                    <a:pt x="319" y="89"/>
                  </a:lnTo>
                  <a:lnTo>
                    <a:pt x="319" y="88"/>
                  </a:lnTo>
                  <a:lnTo>
                    <a:pt x="320" y="88"/>
                  </a:lnTo>
                  <a:lnTo>
                    <a:pt x="319" y="87"/>
                  </a:lnTo>
                  <a:lnTo>
                    <a:pt x="318" y="86"/>
                  </a:lnTo>
                  <a:lnTo>
                    <a:pt x="318" y="84"/>
                  </a:lnTo>
                  <a:lnTo>
                    <a:pt x="316" y="84"/>
                  </a:lnTo>
                  <a:lnTo>
                    <a:pt x="316" y="83"/>
                  </a:lnTo>
                  <a:lnTo>
                    <a:pt x="316" y="82"/>
                  </a:lnTo>
                  <a:lnTo>
                    <a:pt x="318" y="81"/>
                  </a:lnTo>
                  <a:lnTo>
                    <a:pt x="319" y="80"/>
                  </a:lnTo>
                  <a:lnTo>
                    <a:pt x="319" y="78"/>
                  </a:lnTo>
                  <a:lnTo>
                    <a:pt x="319" y="76"/>
                  </a:lnTo>
                  <a:lnTo>
                    <a:pt x="318" y="76"/>
                  </a:lnTo>
                  <a:lnTo>
                    <a:pt x="318" y="75"/>
                  </a:lnTo>
                  <a:lnTo>
                    <a:pt x="318" y="74"/>
                  </a:lnTo>
                  <a:lnTo>
                    <a:pt x="318" y="72"/>
                  </a:lnTo>
                  <a:lnTo>
                    <a:pt x="319" y="71"/>
                  </a:lnTo>
                  <a:lnTo>
                    <a:pt x="320" y="71"/>
                  </a:lnTo>
                  <a:lnTo>
                    <a:pt x="321" y="71"/>
                  </a:lnTo>
                  <a:lnTo>
                    <a:pt x="322" y="71"/>
                  </a:lnTo>
                  <a:lnTo>
                    <a:pt x="322" y="75"/>
                  </a:lnTo>
                  <a:lnTo>
                    <a:pt x="322" y="77"/>
                  </a:lnTo>
                  <a:lnTo>
                    <a:pt x="324" y="77"/>
                  </a:lnTo>
                  <a:lnTo>
                    <a:pt x="324" y="78"/>
                  </a:lnTo>
                  <a:lnTo>
                    <a:pt x="324" y="80"/>
                  </a:lnTo>
                  <a:lnTo>
                    <a:pt x="324" y="81"/>
                  </a:lnTo>
                  <a:lnTo>
                    <a:pt x="324" y="82"/>
                  </a:lnTo>
                  <a:lnTo>
                    <a:pt x="325" y="80"/>
                  </a:lnTo>
                  <a:lnTo>
                    <a:pt x="325" y="78"/>
                  </a:lnTo>
                  <a:lnTo>
                    <a:pt x="326" y="78"/>
                  </a:lnTo>
                  <a:lnTo>
                    <a:pt x="326" y="77"/>
                  </a:lnTo>
                  <a:lnTo>
                    <a:pt x="327" y="77"/>
                  </a:lnTo>
                  <a:lnTo>
                    <a:pt x="327" y="75"/>
                  </a:lnTo>
                  <a:lnTo>
                    <a:pt x="326" y="75"/>
                  </a:lnTo>
                  <a:lnTo>
                    <a:pt x="326" y="74"/>
                  </a:lnTo>
                  <a:lnTo>
                    <a:pt x="325" y="72"/>
                  </a:lnTo>
                  <a:lnTo>
                    <a:pt x="324" y="71"/>
                  </a:lnTo>
                  <a:lnTo>
                    <a:pt x="325" y="71"/>
                  </a:lnTo>
                  <a:lnTo>
                    <a:pt x="325" y="70"/>
                  </a:lnTo>
                  <a:lnTo>
                    <a:pt x="326" y="69"/>
                  </a:lnTo>
                  <a:lnTo>
                    <a:pt x="326" y="68"/>
                  </a:lnTo>
                  <a:lnTo>
                    <a:pt x="327" y="68"/>
                  </a:lnTo>
                  <a:lnTo>
                    <a:pt x="328" y="68"/>
                  </a:lnTo>
                  <a:lnTo>
                    <a:pt x="328" y="69"/>
                  </a:lnTo>
                  <a:lnTo>
                    <a:pt x="330" y="70"/>
                  </a:lnTo>
                  <a:lnTo>
                    <a:pt x="332" y="70"/>
                  </a:lnTo>
                  <a:lnTo>
                    <a:pt x="333" y="70"/>
                  </a:lnTo>
                  <a:lnTo>
                    <a:pt x="333" y="69"/>
                  </a:lnTo>
                  <a:lnTo>
                    <a:pt x="332" y="69"/>
                  </a:lnTo>
                  <a:lnTo>
                    <a:pt x="330" y="69"/>
                  </a:lnTo>
                  <a:lnTo>
                    <a:pt x="331" y="68"/>
                  </a:lnTo>
                  <a:lnTo>
                    <a:pt x="330" y="68"/>
                  </a:lnTo>
                  <a:lnTo>
                    <a:pt x="330" y="66"/>
                  </a:lnTo>
                  <a:lnTo>
                    <a:pt x="330" y="64"/>
                  </a:lnTo>
                  <a:lnTo>
                    <a:pt x="331" y="63"/>
                  </a:lnTo>
                  <a:lnTo>
                    <a:pt x="332" y="63"/>
                  </a:lnTo>
                  <a:lnTo>
                    <a:pt x="332" y="62"/>
                  </a:lnTo>
                  <a:lnTo>
                    <a:pt x="331" y="60"/>
                  </a:lnTo>
                  <a:lnTo>
                    <a:pt x="331" y="59"/>
                  </a:lnTo>
                  <a:lnTo>
                    <a:pt x="332" y="59"/>
                  </a:lnTo>
                  <a:lnTo>
                    <a:pt x="331" y="58"/>
                  </a:lnTo>
                  <a:lnTo>
                    <a:pt x="330" y="58"/>
                  </a:lnTo>
                  <a:lnTo>
                    <a:pt x="328" y="58"/>
                  </a:lnTo>
                  <a:lnTo>
                    <a:pt x="328" y="57"/>
                  </a:lnTo>
                  <a:lnTo>
                    <a:pt x="326" y="55"/>
                  </a:lnTo>
                  <a:lnTo>
                    <a:pt x="325" y="55"/>
                  </a:lnTo>
                  <a:lnTo>
                    <a:pt x="325" y="54"/>
                  </a:lnTo>
                  <a:lnTo>
                    <a:pt x="327" y="54"/>
                  </a:lnTo>
                  <a:lnTo>
                    <a:pt x="327" y="53"/>
                  </a:lnTo>
                  <a:lnTo>
                    <a:pt x="327" y="51"/>
                  </a:lnTo>
                  <a:lnTo>
                    <a:pt x="328" y="52"/>
                  </a:lnTo>
                  <a:lnTo>
                    <a:pt x="330" y="52"/>
                  </a:lnTo>
                  <a:lnTo>
                    <a:pt x="330" y="51"/>
                  </a:lnTo>
                  <a:lnTo>
                    <a:pt x="328" y="51"/>
                  </a:lnTo>
                  <a:lnTo>
                    <a:pt x="330" y="49"/>
                  </a:lnTo>
                  <a:lnTo>
                    <a:pt x="328" y="49"/>
                  </a:lnTo>
                  <a:lnTo>
                    <a:pt x="328" y="47"/>
                  </a:lnTo>
                  <a:lnTo>
                    <a:pt x="328" y="45"/>
                  </a:lnTo>
                  <a:lnTo>
                    <a:pt x="330" y="45"/>
                  </a:lnTo>
                  <a:lnTo>
                    <a:pt x="331" y="45"/>
                  </a:lnTo>
                  <a:lnTo>
                    <a:pt x="331" y="43"/>
                  </a:lnTo>
                  <a:lnTo>
                    <a:pt x="332" y="45"/>
                  </a:lnTo>
                  <a:lnTo>
                    <a:pt x="333" y="45"/>
                  </a:lnTo>
                  <a:lnTo>
                    <a:pt x="332" y="46"/>
                  </a:lnTo>
                  <a:lnTo>
                    <a:pt x="333" y="47"/>
                  </a:lnTo>
                  <a:lnTo>
                    <a:pt x="333" y="48"/>
                  </a:lnTo>
                  <a:lnTo>
                    <a:pt x="334" y="48"/>
                  </a:lnTo>
                  <a:lnTo>
                    <a:pt x="334" y="49"/>
                  </a:lnTo>
                  <a:lnTo>
                    <a:pt x="336" y="51"/>
                  </a:lnTo>
                  <a:lnTo>
                    <a:pt x="337" y="51"/>
                  </a:lnTo>
                  <a:lnTo>
                    <a:pt x="337" y="49"/>
                  </a:lnTo>
                  <a:lnTo>
                    <a:pt x="338" y="49"/>
                  </a:lnTo>
                  <a:lnTo>
                    <a:pt x="339" y="51"/>
                  </a:lnTo>
                  <a:lnTo>
                    <a:pt x="339" y="52"/>
                  </a:lnTo>
                  <a:lnTo>
                    <a:pt x="339" y="53"/>
                  </a:lnTo>
                  <a:lnTo>
                    <a:pt x="339" y="57"/>
                  </a:lnTo>
                  <a:lnTo>
                    <a:pt x="340" y="57"/>
                  </a:lnTo>
                  <a:lnTo>
                    <a:pt x="343" y="57"/>
                  </a:lnTo>
                  <a:lnTo>
                    <a:pt x="343" y="55"/>
                  </a:lnTo>
                  <a:lnTo>
                    <a:pt x="345" y="57"/>
                  </a:lnTo>
                  <a:lnTo>
                    <a:pt x="345" y="55"/>
                  </a:lnTo>
                  <a:lnTo>
                    <a:pt x="346" y="55"/>
                  </a:lnTo>
                  <a:lnTo>
                    <a:pt x="346" y="54"/>
                  </a:lnTo>
                  <a:lnTo>
                    <a:pt x="348" y="54"/>
                  </a:lnTo>
                  <a:lnTo>
                    <a:pt x="346" y="54"/>
                  </a:lnTo>
                  <a:lnTo>
                    <a:pt x="345" y="54"/>
                  </a:lnTo>
                  <a:lnTo>
                    <a:pt x="345" y="53"/>
                  </a:lnTo>
                  <a:lnTo>
                    <a:pt x="345" y="52"/>
                  </a:lnTo>
                  <a:lnTo>
                    <a:pt x="345" y="51"/>
                  </a:lnTo>
                  <a:lnTo>
                    <a:pt x="344" y="51"/>
                  </a:lnTo>
                  <a:lnTo>
                    <a:pt x="344" y="49"/>
                  </a:lnTo>
                  <a:lnTo>
                    <a:pt x="343" y="48"/>
                  </a:lnTo>
                  <a:lnTo>
                    <a:pt x="344" y="48"/>
                  </a:lnTo>
                  <a:lnTo>
                    <a:pt x="344" y="47"/>
                  </a:lnTo>
                  <a:lnTo>
                    <a:pt x="343" y="47"/>
                  </a:lnTo>
                  <a:lnTo>
                    <a:pt x="343" y="46"/>
                  </a:lnTo>
                  <a:lnTo>
                    <a:pt x="343" y="45"/>
                  </a:lnTo>
                  <a:lnTo>
                    <a:pt x="344" y="43"/>
                  </a:lnTo>
                  <a:lnTo>
                    <a:pt x="343" y="43"/>
                  </a:lnTo>
                  <a:lnTo>
                    <a:pt x="343" y="41"/>
                  </a:lnTo>
                  <a:lnTo>
                    <a:pt x="343" y="40"/>
                  </a:lnTo>
                  <a:lnTo>
                    <a:pt x="342" y="39"/>
                  </a:lnTo>
                  <a:lnTo>
                    <a:pt x="342" y="37"/>
                  </a:lnTo>
                  <a:lnTo>
                    <a:pt x="342" y="36"/>
                  </a:lnTo>
                  <a:lnTo>
                    <a:pt x="339" y="36"/>
                  </a:lnTo>
                  <a:lnTo>
                    <a:pt x="339" y="35"/>
                  </a:lnTo>
                  <a:lnTo>
                    <a:pt x="340" y="34"/>
                  </a:lnTo>
                  <a:lnTo>
                    <a:pt x="339" y="34"/>
                  </a:lnTo>
                  <a:lnTo>
                    <a:pt x="339" y="33"/>
                  </a:lnTo>
                  <a:lnTo>
                    <a:pt x="339" y="31"/>
                  </a:lnTo>
                  <a:lnTo>
                    <a:pt x="339" y="29"/>
                  </a:lnTo>
                  <a:lnTo>
                    <a:pt x="340" y="29"/>
                  </a:lnTo>
                  <a:lnTo>
                    <a:pt x="342" y="29"/>
                  </a:lnTo>
                  <a:lnTo>
                    <a:pt x="342" y="30"/>
                  </a:lnTo>
                  <a:lnTo>
                    <a:pt x="343" y="29"/>
                  </a:lnTo>
                  <a:lnTo>
                    <a:pt x="343" y="27"/>
                  </a:lnTo>
                  <a:lnTo>
                    <a:pt x="343" y="25"/>
                  </a:lnTo>
                  <a:lnTo>
                    <a:pt x="343" y="24"/>
                  </a:lnTo>
                  <a:lnTo>
                    <a:pt x="343" y="23"/>
                  </a:lnTo>
                  <a:lnTo>
                    <a:pt x="343" y="22"/>
                  </a:lnTo>
                  <a:lnTo>
                    <a:pt x="344" y="21"/>
                  </a:lnTo>
                  <a:lnTo>
                    <a:pt x="344" y="22"/>
                  </a:lnTo>
                  <a:lnTo>
                    <a:pt x="348" y="22"/>
                  </a:lnTo>
                  <a:lnTo>
                    <a:pt x="348" y="23"/>
                  </a:lnTo>
                  <a:lnTo>
                    <a:pt x="346" y="24"/>
                  </a:lnTo>
                  <a:lnTo>
                    <a:pt x="348" y="24"/>
                  </a:lnTo>
                  <a:lnTo>
                    <a:pt x="348" y="25"/>
                  </a:lnTo>
                  <a:lnTo>
                    <a:pt x="348" y="27"/>
                  </a:lnTo>
                  <a:lnTo>
                    <a:pt x="348" y="28"/>
                  </a:lnTo>
                  <a:lnTo>
                    <a:pt x="349" y="28"/>
                  </a:lnTo>
                  <a:lnTo>
                    <a:pt x="349" y="30"/>
                  </a:lnTo>
                  <a:lnTo>
                    <a:pt x="349" y="31"/>
                  </a:lnTo>
                  <a:lnTo>
                    <a:pt x="350" y="31"/>
                  </a:lnTo>
                  <a:lnTo>
                    <a:pt x="350" y="30"/>
                  </a:lnTo>
                  <a:lnTo>
                    <a:pt x="351" y="30"/>
                  </a:lnTo>
                  <a:lnTo>
                    <a:pt x="351" y="29"/>
                  </a:lnTo>
                  <a:lnTo>
                    <a:pt x="352" y="29"/>
                  </a:lnTo>
                  <a:lnTo>
                    <a:pt x="354" y="29"/>
                  </a:lnTo>
                  <a:lnTo>
                    <a:pt x="355" y="30"/>
                  </a:lnTo>
                  <a:lnTo>
                    <a:pt x="356" y="30"/>
                  </a:lnTo>
                  <a:lnTo>
                    <a:pt x="356" y="31"/>
                  </a:lnTo>
                  <a:lnTo>
                    <a:pt x="357" y="31"/>
                  </a:lnTo>
                  <a:lnTo>
                    <a:pt x="357" y="30"/>
                  </a:lnTo>
                  <a:lnTo>
                    <a:pt x="358" y="30"/>
                  </a:lnTo>
                  <a:lnTo>
                    <a:pt x="358" y="29"/>
                  </a:lnTo>
                  <a:lnTo>
                    <a:pt x="358" y="28"/>
                  </a:lnTo>
                  <a:lnTo>
                    <a:pt x="358" y="25"/>
                  </a:lnTo>
                  <a:lnTo>
                    <a:pt x="360" y="24"/>
                  </a:lnTo>
                  <a:lnTo>
                    <a:pt x="361" y="25"/>
                  </a:lnTo>
                  <a:lnTo>
                    <a:pt x="362" y="25"/>
                  </a:lnTo>
                  <a:lnTo>
                    <a:pt x="363" y="27"/>
                  </a:lnTo>
                  <a:lnTo>
                    <a:pt x="364" y="27"/>
                  </a:lnTo>
                  <a:lnTo>
                    <a:pt x="364" y="28"/>
                  </a:lnTo>
                  <a:lnTo>
                    <a:pt x="363" y="30"/>
                  </a:lnTo>
                  <a:lnTo>
                    <a:pt x="362" y="31"/>
                  </a:lnTo>
                  <a:lnTo>
                    <a:pt x="362" y="35"/>
                  </a:lnTo>
                  <a:lnTo>
                    <a:pt x="363" y="35"/>
                  </a:lnTo>
                  <a:lnTo>
                    <a:pt x="364" y="36"/>
                  </a:lnTo>
                  <a:lnTo>
                    <a:pt x="363" y="36"/>
                  </a:lnTo>
                  <a:lnTo>
                    <a:pt x="364" y="36"/>
                  </a:lnTo>
                  <a:lnTo>
                    <a:pt x="366" y="37"/>
                  </a:lnTo>
                  <a:lnTo>
                    <a:pt x="364" y="37"/>
                  </a:lnTo>
                  <a:lnTo>
                    <a:pt x="363" y="39"/>
                  </a:lnTo>
                  <a:lnTo>
                    <a:pt x="362" y="40"/>
                  </a:lnTo>
                  <a:lnTo>
                    <a:pt x="361" y="41"/>
                  </a:lnTo>
                  <a:lnTo>
                    <a:pt x="361" y="42"/>
                  </a:lnTo>
                  <a:lnTo>
                    <a:pt x="361" y="43"/>
                  </a:lnTo>
                  <a:lnTo>
                    <a:pt x="360" y="43"/>
                  </a:lnTo>
                  <a:lnTo>
                    <a:pt x="360" y="45"/>
                  </a:lnTo>
                  <a:lnTo>
                    <a:pt x="360" y="46"/>
                  </a:lnTo>
                  <a:lnTo>
                    <a:pt x="361" y="46"/>
                  </a:lnTo>
                  <a:lnTo>
                    <a:pt x="361" y="47"/>
                  </a:lnTo>
                  <a:lnTo>
                    <a:pt x="362" y="48"/>
                  </a:lnTo>
                  <a:lnTo>
                    <a:pt x="362" y="49"/>
                  </a:lnTo>
                  <a:lnTo>
                    <a:pt x="363" y="51"/>
                  </a:lnTo>
                  <a:lnTo>
                    <a:pt x="363" y="49"/>
                  </a:lnTo>
                  <a:lnTo>
                    <a:pt x="364" y="49"/>
                  </a:lnTo>
                  <a:lnTo>
                    <a:pt x="364" y="51"/>
                  </a:lnTo>
                  <a:lnTo>
                    <a:pt x="366" y="51"/>
                  </a:lnTo>
                  <a:lnTo>
                    <a:pt x="366" y="52"/>
                  </a:lnTo>
                  <a:lnTo>
                    <a:pt x="367" y="52"/>
                  </a:lnTo>
                  <a:lnTo>
                    <a:pt x="368" y="53"/>
                  </a:lnTo>
                  <a:lnTo>
                    <a:pt x="368" y="52"/>
                  </a:lnTo>
                  <a:lnTo>
                    <a:pt x="369" y="51"/>
                  </a:lnTo>
                  <a:lnTo>
                    <a:pt x="369" y="48"/>
                  </a:lnTo>
                  <a:lnTo>
                    <a:pt x="370" y="48"/>
                  </a:lnTo>
                  <a:lnTo>
                    <a:pt x="370" y="47"/>
                  </a:lnTo>
                  <a:lnTo>
                    <a:pt x="370" y="46"/>
                  </a:lnTo>
                  <a:lnTo>
                    <a:pt x="370" y="45"/>
                  </a:lnTo>
                  <a:lnTo>
                    <a:pt x="370" y="43"/>
                  </a:lnTo>
                  <a:lnTo>
                    <a:pt x="372" y="43"/>
                  </a:lnTo>
                  <a:lnTo>
                    <a:pt x="373" y="42"/>
                  </a:lnTo>
                  <a:lnTo>
                    <a:pt x="374" y="41"/>
                  </a:lnTo>
                  <a:lnTo>
                    <a:pt x="374" y="37"/>
                  </a:lnTo>
                  <a:lnTo>
                    <a:pt x="374" y="36"/>
                  </a:lnTo>
                  <a:lnTo>
                    <a:pt x="374" y="35"/>
                  </a:lnTo>
                  <a:lnTo>
                    <a:pt x="374" y="34"/>
                  </a:lnTo>
                  <a:lnTo>
                    <a:pt x="376" y="33"/>
                  </a:lnTo>
                  <a:lnTo>
                    <a:pt x="378" y="33"/>
                  </a:lnTo>
                  <a:lnTo>
                    <a:pt x="378" y="34"/>
                  </a:lnTo>
                  <a:lnTo>
                    <a:pt x="379" y="34"/>
                  </a:lnTo>
                  <a:lnTo>
                    <a:pt x="379" y="35"/>
                  </a:lnTo>
                  <a:lnTo>
                    <a:pt x="379" y="36"/>
                  </a:lnTo>
                  <a:lnTo>
                    <a:pt x="379" y="39"/>
                  </a:lnTo>
                  <a:lnTo>
                    <a:pt x="380" y="39"/>
                  </a:lnTo>
                  <a:lnTo>
                    <a:pt x="380" y="40"/>
                  </a:lnTo>
                  <a:lnTo>
                    <a:pt x="381" y="39"/>
                  </a:lnTo>
                  <a:lnTo>
                    <a:pt x="384" y="40"/>
                  </a:lnTo>
                  <a:lnTo>
                    <a:pt x="384" y="41"/>
                  </a:lnTo>
                  <a:lnTo>
                    <a:pt x="384" y="42"/>
                  </a:lnTo>
                  <a:lnTo>
                    <a:pt x="384" y="45"/>
                  </a:lnTo>
                  <a:lnTo>
                    <a:pt x="385" y="45"/>
                  </a:lnTo>
                  <a:lnTo>
                    <a:pt x="386" y="42"/>
                  </a:lnTo>
                  <a:lnTo>
                    <a:pt x="387" y="42"/>
                  </a:lnTo>
                  <a:lnTo>
                    <a:pt x="389" y="42"/>
                  </a:lnTo>
                  <a:lnTo>
                    <a:pt x="390" y="42"/>
                  </a:lnTo>
                  <a:lnTo>
                    <a:pt x="390" y="43"/>
                  </a:lnTo>
                  <a:lnTo>
                    <a:pt x="390" y="45"/>
                  </a:lnTo>
                  <a:lnTo>
                    <a:pt x="391" y="45"/>
                  </a:lnTo>
                  <a:lnTo>
                    <a:pt x="391" y="43"/>
                  </a:lnTo>
                  <a:lnTo>
                    <a:pt x="390" y="43"/>
                  </a:lnTo>
                  <a:lnTo>
                    <a:pt x="390" y="42"/>
                  </a:lnTo>
                  <a:lnTo>
                    <a:pt x="390" y="41"/>
                  </a:lnTo>
                  <a:lnTo>
                    <a:pt x="391" y="40"/>
                  </a:lnTo>
                  <a:lnTo>
                    <a:pt x="392" y="40"/>
                  </a:lnTo>
                  <a:lnTo>
                    <a:pt x="392" y="39"/>
                  </a:lnTo>
                  <a:lnTo>
                    <a:pt x="393" y="39"/>
                  </a:lnTo>
                  <a:lnTo>
                    <a:pt x="393" y="37"/>
                  </a:lnTo>
                  <a:lnTo>
                    <a:pt x="395" y="36"/>
                  </a:lnTo>
                  <a:lnTo>
                    <a:pt x="393" y="35"/>
                  </a:lnTo>
                  <a:lnTo>
                    <a:pt x="393" y="34"/>
                  </a:lnTo>
                  <a:lnTo>
                    <a:pt x="393" y="33"/>
                  </a:lnTo>
                  <a:lnTo>
                    <a:pt x="393" y="31"/>
                  </a:lnTo>
                  <a:lnTo>
                    <a:pt x="392" y="30"/>
                  </a:lnTo>
                  <a:lnTo>
                    <a:pt x="393" y="31"/>
                  </a:lnTo>
                  <a:lnTo>
                    <a:pt x="395" y="30"/>
                  </a:lnTo>
                  <a:lnTo>
                    <a:pt x="392" y="29"/>
                  </a:lnTo>
                  <a:lnTo>
                    <a:pt x="392" y="28"/>
                  </a:lnTo>
                  <a:lnTo>
                    <a:pt x="391" y="28"/>
                  </a:lnTo>
                  <a:lnTo>
                    <a:pt x="390" y="28"/>
                  </a:lnTo>
                  <a:lnTo>
                    <a:pt x="389" y="27"/>
                  </a:lnTo>
                  <a:lnTo>
                    <a:pt x="389" y="25"/>
                  </a:lnTo>
                  <a:lnTo>
                    <a:pt x="390" y="25"/>
                  </a:lnTo>
                  <a:lnTo>
                    <a:pt x="389" y="24"/>
                  </a:lnTo>
                  <a:lnTo>
                    <a:pt x="389" y="22"/>
                  </a:lnTo>
                  <a:lnTo>
                    <a:pt x="387" y="21"/>
                  </a:lnTo>
                  <a:lnTo>
                    <a:pt x="386" y="19"/>
                  </a:lnTo>
                  <a:lnTo>
                    <a:pt x="385" y="18"/>
                  </a:lnTo>
                  <a:lnTo>
                    <a:pt x="386" y="17"/>
                  </a:lnTo>
                  <a:lnTo>
                    <a:pt x="386" y="16"/>
                  </a:lnTo>
                  <a:lnTo>
                    <a:pt x="387" y="16"/>
                  </a:lnTo>
                  <a:lnTo>
                    <a:pt x="389" y="16"/>
                  </a:lnTo>
                  <a:lnTo>
                    <a:pt x="390" y="18"/>
                  </a:lnTo>
                  <a:lnTo>
                    <a:pt x="391" y="18"/>
                  </a:lnTo>
                  <a:lnTo>
                    <a:pt x="391" y="15"/>
                  </a:lnTo>
                  <a:lnTo>
                    <a:pt x="391" y="13"/>
                  </a:lnTo>
                  <a:lnTo>
                    <a:pt x="391" y="11"/>
                  </a:lnTo>
                  <a:lnTo>
                    <a:pt x="392" y="10"/>
                  </a:lnTo>
                  <a:lnTo>
                    <a:pt x="393" y="10"/>
                  </a:lnTo>
                  <a:lnTo>
                    <a:pt x="395" y="10"/>
                  </a:lnTo>
                  <a:lnTo>
                    <a:pt x="396" y="10"/>
                  </a:lnTo>
                  <a:lnTo>
                    <a:pt x="396" y="11"/>
                  </a:lnTo>
                  <a:lnTo>
                    <a:pt x="397" y="11"/>
                  </a:lnTo>
                  <a:lnTo>
                    <a:pt x="397" y="12"/>
                  </a:lnTo>
                  <a:lnTo>
                    <a:pt x="397" y="13"/>
                  </a:lnTo>
                  <a:lnTo>
                    <a:pt x="398" y="13"/>
                  </a:lnTo>
                  <a:lnTo>
                    <a:pt x="398" y="15"/>
                  </a:lnTo>
                  <a:lnTo>
                    <a:pt x="399" y="15"/>
                  </a:lnTo>
                  <a:lnTo>
                    <a:pt x="399" y="16"/>
                  </a:lnTo>
                  <a:lnTo>
                    <a:pt x="401" y="16"/>
                  </a:lnTo>
                  <a:lnTo>
                    <a:pt x="401" y="17"/>
                  </a:lnTo>
                  <a:lnTo>
                    <a:pt x="401" y="18"/>
                  </a:lnTo>
                  <a:lnTo>
                    <a:pt x="401" y="19"/>
                  </a:lnTo>
                  <a:lnTo>
                    <a:pt x="399" y="19"/>
                  </a:lnTo>
                  <a:lnTo>
                    <a:pt x="399" y="21"/>
                  </a:lnTo>
                  <a:lnTo>
                    <a:pt x="398" y="21"/>
                  </a:lnTo>
                  <a:lnTo>
                    <a:pt x="398" y="22"/>
                  </a:lnTo>
                  <a:lnTo>
                    <a:pt x="398" y="23"/>
                  </a:lnTo>
                  <a:lnTo>
                    <a:pt x="397" y="23"/>
                  </a:lnTo>
                  <a:lnTo>
                    <a:pt x="397" y="24"/>
                  </a:lnTo>
                  <a:lnTo>
                    <a:pt x="396" y="25"/>
                  </a:lnTo>
                  <a:lnTo>
                    <a:pt x="397" y="25"/>
                  </a:lnTo>
                  <a:lnTo>
                    <a:pt x="397" y="27"/>
                  </a:lnTo>
                  <a:lnTo>
                    <a:pt x="398" y="27"/>
                  </a:lnTo>
                  <a:lnTo>
                    <a:pt x="401" y="27"/>
                  </a:lnTo>
                  <a:lnTo>
                    <a:pt x="401" y="25"/>
                  </a:lnTo>
                  <a:lnTo>
                    <a:pt x="402" y="25"/>
                  </a:lnTo>
                  <a:lnTo>
                    <a:pt x="403" y="24"/>
                  </a:lnTo>
                  <a:lnTo>
                    <a:pt x="404" y="24"/>
                  </a:lnTo>
                  <a:lnTo>
                    <a:pt x="405" y="24"/>
                  </a:lnTo>
                  <a:lnTo>
                    <a:pt x="407" y="27"/>
                  </a:lnTo>
                  <a:lnTo>
                    <a:pt x="407" y="29"/>
                  </a:lnTo>
                  <a:lnTo>
                    <a:pt x="408" y="29"/>
                  </a:lnTo>
                  <a:lnTo>
                    <a:pt x="409" y="30"/>
                  </a:lnTo>
                  <a:lnTo>
                    <a:pt x="410" y="34"/>
                  </a:lnTo>
                  <a:lnTo>
                    <a:pt x="410" y="30"/>
                  </a:lnTo>
                  <a:lnTo>
                    <a:pt x="411" y="30"/>
                  </a:lnTo>
                  <a:lnTo>
                    <a:pt x="411" y="28"/>
                  </a:lnTo>
                  <a:lnTo>
                    <a:pt x="411" y="27"/>
                  </a:lnTo>
                  <a:lnTo>
                    <a:pt x="410" y="25"/>
                  </a:lnTo>
                  <a:lnTo>
                    <a:pt x="411" y="25"/>
                  </a:lnTo>
                  <a:lnTo>
                    <a:pt x="411" y="22"/>
                  </a:lnTo>
                  <a:lnTo>
                    <a:pt x="410" y="22"/>
                  </a:lnTo>
                  <a:lnTo>
                    <a:pt x="411" y="21"/>
                  </a:lnTo>
                  <a:lnTo>
                    <a:pt x="411" y="19"/>
                  </a:lnTo>
                  <a:lnTo>
                    <a:pt x="411" y="18"/>
                  </a:lnTo>
                  <a:lnTo>
                    <a:pt x="413" y="17"/>
                  </a:lnTo>
                  <a:lnTo>
                    <a:pt x="414" y="17"/>
                  </a:lnTo>
                  <a:lnTo>
                    <a:pt x="416" y="17"/>
                  </a:lnTo>
                  <a:lnTo>
                    <a:pt x="417" y="18"/>
                  </a:lnTo>
                  <a:lnTo>
                    <a:pt x="417" y="17"/>
                  </a:lnTo>
                  <a:lnTo>
                    <a:pt x="417" y="16"/>
                  </a:lnTo>
                  <a:lnTo>
                    <a:pt x="419" y="15"/>
                  </a:lnTo>
                  <a:lnTo>
                    <a:pt x="419" y="13"/>
                  </a:lnTo>
                  <a:lnTo>
                    <a:pt x="420" y="13"/>
                  </a:lnTo>
                  <a:lnTo>
                    <a:pt x="420" y="11"/>
                  </a:lnTo>
                  <a:lnTo>
                    <a:pt x="420" y="10"/>
                  </a:lnTo>
                  <a:lnTo>
                    <a:pt x="419" y="10"/>
                  </a:lnTo>
                  <a:lnTo>
                    <a:pt x="420" y="7"/>
                  </a:lnTo>
                  <a:lnTo>
                    <a:pt x="423" y="7"/>
                  </a:lnTo>
                  <a:lnTo>
                    <a:pt x="423" y="9"/>
                  </a:lnTo>
                  <a:lnTo>
                    <a:pt x="423" y="10"/>
                  </a:lnTo>
                  <a:lnTo>
                    <a:pt x="425" y="11"/>
                  </a:lnTo>
                  <a:lnTo>
                    <a:pt x="425" y="12"/>
                  </a:lnTo>
                  <a:lnTo>
                    <a:pt x="426" y="12"/>
                  </a:lnTo>
                  <a:lnTo>
                    <a:pt x="427" y="11"/>
                  </a:lnTo>
                  <a:lnTo>
                    <a:pt x="427" y="7"/>
                  </a:lnTo>
                  <a:lnTo>
                    <a:pt x="428" y="7"/>
                  </a:lnTo>
                  <a:lnTo>
                    <a:pt x="428" y="6"/>
                  </a:lnTo>
                  <a:lnTo>
                    <a:pt x="429" y="5"/>
                  </a:lnTo>
                  <a:lnTo>
                    <a:pt x="429" y="4"/>
                  </a:lnTo>
                  <a:lnTo>
                    <a:pt x="429" y="1"/>
                  </a:lnTo>
                  <a:lnTo>
                    <a:pt x="431" y="1"/>
                  </a:lnTo>
                  <a:lnTo>
                    <a:pt x="431" y="0"/>
                  </a:lnTo>
                  <a:lnTo>
                    <a:pt x="432" y="0"/>
                  </a:lnTo>
                  <a:lnTo>
                    <a:pt x="434" y="1"/>
                  </a:lnTo>
                  <a:lnTo>
                    <a:pt x="435" y="1"/>
                  </a:lnTo>
                  <a:lnTo>
                    <a:pt x="437" y="3"/>
                  </a:lnTo>
                  <a:lnTo>
                    <a:pt x="435" y="3"/>
                  </a:lnTo>
                  <a:lnTo>
                    <a:pt x="435" y="5"/>
                  </a:lnTo>
                  <a:lnTo>
                    <a:pt x="434" y="6"/>
                  </a:lnTo>
                  <a:lnTo>
                    <a:pt x="434" y="7"/>
                  </a:lnTo>
                  <a:lnTo>
                    <a:pt x="434" y="9"/>
                  </a:lnTo>
                  <a:lnTo>
                    <a:pt x="434" y="10"/>
                  </a:lnTo>
                  <a:lnTo>
                    <a:pt x="435" y="10"/>
                  </a:lnTo>
                  <a:lnTo>
                    <a:pt x="437" y="10"/>
                  </a:lnTo>
                  <a:lnTo>
                    <a:pt x="437" y="11"/>
                  </a:lnTo>
                  <a:lnTo>
                    <a:pt x="437" y="12"/>
                  </a:lnTo>
                  <a:lnTo>
                    <a:pt x="435" y="15"/>
                  </a:lnTo>
                  <a:lnTo>
                    <a:pt x="435" y="17"/>
                  </a:lnTo>
                  <a:lnTo>
                    <a:pt x="434" y="17"/>
                  </a:lnTo>
                  <a:lnTo>
                    <a:pt x="434" y="18"/>
                  </a:lnTo>
                  <a:lnTo>
                    <a:pt x="435" y="18"/>
                  </a:lnTo>
                  <a:lnTo>
                    <a:pt x="437" y="19"/>
                  </a:lnTo>
                  <a:lnTo>
                    <a:pt x="438" y="19"/>
                  </a:lnTo>
                  <a:lnTo>
                    <a:pt x="438" y="21"/>
                  </a:lnTo>
                  <a:lnTo>
                    <a:pt x="438" y="22"/>
                  </a:lnTo>
                  <a:lnTo>
                    <a:pt x="437" y="24"/>
                  </a:lnTo>
                  <a:lnTo>
                    <a:pt x="437" y="25"/>
                  </a:lnTo>
                  <a:lnTo>
                    <a:pt x="435" y="28"/>
                  </a:lnTo>
                  <a:lnTo>
                    <a:pt x="435" y="29"/>
                  </a:lnTo>
                  <a:lnTo>
                    <a:pt x="434" y="29"/>
                  </a:lnTo>
                  <a:lnTo>
                    <a:pt x="435" y="30"/>
                  </a:lnTo>
                  <a:lnTo>
                    <a:pt x="435" y="31"/>
                  </a:lnTo>
                  <a:lnTo>
                    <a:pt x="435" y="34"/>
                  </a:lnTo>
                  <a:lnTo>
                    <a:pt x="434" y="35"/>
                  </a:lnTo>
                  <a:lnTo>
                    <a:pt x="434" y="37"/>
                  </a:lnTo>
                  <a:lnTo>
                    <a:pt x="433" y="39"/>
                  </a:lnTo>
                  <a:lnTo>
                    <a:pt x="434" y="40"/>
                  </a:lnTo>
                  <a:lnTo>
                    <a:pt x="433" y="40"/>
                  </a:lnTo>
                  <a:lnTo>
                    <a:pt x="433" y="41"/>
                  </a:lnTo>
                  <a:lnTo>
                    <a:pt x="434" y="43"/>
                  </a:lnTo>
                  <a:lnTo>
                    <a:pt x="433" y="43"/>
                  </a:lnTo>
                  <a:lnTo>
                    <a:pt x="433" y="45"/>
                  </a:lnTo>
                  <a:lnTo>
                    <a:pt x="434" y="45"/>
                  </a:lnTo>
                  <a:lnTo>
                    <a:pt x="434" y="42"/>
                  </a:lnTo>
                  <a:lnTo>
                    <a:pt x="435" y="42"/>
                  </a:lnTo>
                  <a:lnTo>
                    <a:pt x="437" y="42"/>
                  </a:lnTo>
                  <a:lnTo>
                    <a:pt x="438" y="42"/>
                  </a:lnTo>
                  <a:lnTo>
                    <a:pt x="439" y="43"/>
                  </a:lnTo>
                  <a:lnTo>
                    <a:pt x="439" y="42"/>
                  </a:lnTo>
                  <a:lnTo>
                    <a:pt x="440" y="42"/>
                  </a:lnTo>
                  <a:lnTo>
                    <a:pt x="443" y="42"/>
                  </a:lnTo>
                  <a:lnTo>
                    <a:pt x="444" y="41"/>
                  </a:lnTo>
                  <a:lnTo>
                    <a:pt x="444" y="40"/>
                  </a:lnTo>
                  <a:lnTo>
                    <a:pt x="445" y="40"/>
                  </a:lnTo>
                  <a:lnTo>
                    <a:pt x="445" y="39"/>
                  </a:lnTo>
                  <a:lnTo>
                    <a:pt x="446" y="39"/>
                  </a:lnTo>
                  <a:lnTo>
                    <a:pt x="446" y="40"/>
                  </a:lnTo>
                  <a:lnTo>
                    <a:pt x="448" y="41"/>
                  </a:lnTo>
                  <a:lnTo>
                    <a:pt x="448" y="42"/>
                  </a:lnTo>
                  <a:lnTo>
                    <a:pt x="446" y="45"/>
                  </a:lnTo>
                  <a:lnTo>
                    <a:pt x="446" y="46"/>
                  </a:lnTo>
                  <a:lnTo>
                    <a:pt x="446" y="47"/>
                  </a:lnTo>
                  <a:lnTo>
                    <a:pt x="445" y="47"/>
                  </a:lnTo>
                  <a:lnTo>
                    <a:pt x="445" y="48"/>
                  </a:lnTo>
                  <a:lnTo>
                    <a:pt x="445" y="49"/>
                  </a:lnTo>
                  <a:lnTo>
                    <a:pt x="445" y="51"/>
                  </a:lnTo>
                  <a:lnTo>
                    <a:pt x="445" y="52"/>
                  </a:lnTo>
                  <a:lnTo>
                    <a:pt x="445" y="53"/>
                  </a:lnTo>
                  <a:lnTo>
                    <a:pt x="445" y="54"/>
                  </a:lnTo>
                  <a:lnTo>
                    <a:pt x="445" y="55"/>
                  </a:lnTo>
                  <a:lnTo>
                    <a:pt x="448" y="55"/>
                  </a:lnTo>
                  <a:lnTo>
                    <a:pt x="449" y="54"/>
                  </a:lnTo>
                  <a:lnTo>
                    <a:pt x="449" y="52"/>
                  </a:lnTo>
                  <a:lnTo>
                    <a:pt x="450" y="52"/>
                  </a:lnTo>
                  <a:lnTo>
                    <a:pt x="450" y="51"/>
                  </a:lnTo>
                  <a:lnTo>
                    <a:pt x="450" y="49"/>
                  </a:lnTo>
                  <a:lnTo>
                    <a:pt x="450" y="47"/>
                  </a:lnTo>
                  <a:lnTo>
                    <a:pt x="451" y="47"/>
                  </a:lnTo>
                  <a:lnTo>
                    <a:pt x="455" y="48"/>
                  </a:lnTo>
                  <a:lnTo>
                    <a:pt x="456" y="48"/>
                  </a:lnTo>
                  <a:lnTo>
                    <a:pt x="457" y="48"/>
                  </a:lnTo>
                  <a:lnTo>
                    <a:pt x="457" y="49"/>
                  </a:lnTo>
                  <a:lnTo>
                    <a:pt x="457" y="52"/>
                  </a:lnTo>
                  <a:lnTo>
                    <a:pt x="458" y="52"/>
                  </a:lnTo>
                  <a:lnTo>
                    <a:pt x="458" y="51"/>
                  </a:lnTo>
                  <a:lnTo>
                    <a:pt x="462" y="51"/>
                  </a:lnTo>
                  <a:lnTo>
                    <a:pt x="462" y="49"/>
                  </a:lnTo>
                  <a:lnTo>
                    <a:pt x="461" y="48"/>
                  </a:lnTo>
                  <a:lnTo>
                    <a:pt x="461" y="47"/>
                  </a:lnTo>
                  <a:lnTo>
                    <a:pt x="462" y="47"/>
                  </a:lnTo>
                  <a:lnTo>
                    <a:pt x="463" y="46"/>
                  </a:lnTo>
                  <a:lnTo>
                    <a:pt x="462" y="46"/>
                  </a:lnTo>
                  <a:lnTo>
                    <a:pt x="461" y="45"/>
                  </a:lnTo>
                  <a:lnTo>
                    <a:pt x="460" y="45"/>
                  </a:lnTo>
                  <a:lnTo>
                    <a:pt x="460" y="43"/>
                  </a:lnTo>
                  <a:lnTo>
                    <a:pt x="461" y="40"/>
                  </a:lnTo>
                  <a:lnTo>
                    <a:pt x="461" y="39"/>
                  </a:lnTo>
                  <a:lnTo>
                    <a:pt x="462" y="39"/>
                  </a:lnTo>
                  <a:lnTo>
                    <a:pt x="463" y="39"/>
                  </a:lnTo>
                  <a:lnTo>
                    <a:pt x="463" y="40"/>
                  </a:lnTo>
                  <a:lnTo>
                    <a:pt x="464" y="41"/>
                  </a:lnTo>
                  <a:lnTo>
                    <a:pt x="466" y="42"/>
                  </a:lnTo>
                  <a:lnTo>
                    <a:pt x="467" y="42"/>
                  </a:lnTo>
                  <a:lnTo>
                    <a:pt x="468" y="43"/>
                  </a:lnTo>
                  <a:lnTo>
                    <a:pt x="468" y="42"/>
                  </a:lnTo>
                  <a:lnTo>
                    <a:pt x="468" y="41"/>
                  </a:lnTo>
                  <a:lnTo>
                    <a:pt x="469" y="41"/>
                  </a:lnTo>
                  <a:lnTo>
                    <a:pt x="469" y="40"/>
                  </a:lnTo>
                  <a:lnTo>
                    <a:pt x="469" y="39"/>
                  </a:lnTo>
                  <a:lnTo>
                    <a:pt x="470" y="39"/>
                  </a:lnTo>
                  <a:lnTo>
                    <a:pt x="470" y="37"/>
                  </a:lnTo>
                  <a:lnTo>
                    <a:pt x="470" y="35"/>
                  </a:lnTo>
                  <a:lnTo>
                    <a:pt x="472" y="35"/>
                  </a:lnTo>
                  <a:lnTo>
                    <a:pt x="472" y="34"/>
                  </a:lnTo>
                  <a:lnTo>
                    <a:pt x="473" y="34"/>
                  </a:lnTo>
                  <a:lnTo>
                    <a:pt x="474" y="34"/>
                  </a:lnTo>
                  <a:lnTo>
                    <a:pt x="474" y="33"/>
                  </a:lnTo>
                  <a:lnTo>
                    <a:pt x="475" y="31"/>
                  </a:lnTo>
                  <a:lnTo>
                    <a:pt x="475" y="30"/>
                  </a:lnTo>
                  <a:lnTo>
                    <a:pt x="474" y="30"/>
                  </a:lnTo>
                  <a:lnTo>
                    <a:pt x="474" y="29"/>
                  </a:lnTo>
                  <a:lnTo>
                    <a:pt x="474" y="30"/>
                  </a:lnTo>
                  <a:lnTo>
                    <a:pt x="473" y="29"/>
                  </a:lnTo>
                  <a:lnTo>
                    <a:pt x="470" y="28"/>
                  </a:lnTo>
                  <a:lnTo>
                    <a:pt x="470" y="25"/>
                  </a:lnTo>
                  <a:lnTo>
                    <a:pt x="472" y="25"/>
                  </a:lnTo>
                  <a:lnTo>
                    <a:pt x="473" y="24"/>
                  </a:lnTo>
                  <a:lnTo>
                    <a:pt x="474" y="24"/>
                  </a:lnTo>
                  <a:lnTo>
                    <a:pt x="475" y="25"/>
                  </a:lnTo>
                  <a:lnTo>
                    <a:pt x="476" y="24"/>
                  </a:lnTo>
                  <a:lnTo>
                    <a:pt x="476" y="23"/>
                  </a:lnTo>
                  <a:lnTo>
                    <a:pt x="476" y="22"/>
                  </a:lnTo>
                  <a:lnTo>
                    <a:pt x="476" y="19"/>
                  </a:lnTo>
                  <a:lnTo>
                    <a:pt x="476" y="18"/>
                  </a:lnTo>
                  <a:lnTo>
                    <a:pt x="476" y="17"/>
                  </a:lnTo>
                  <a:lnTo>
                    <a:pt x="476" y="15"/>
                  </a:lnTo>
                  <a:lnTo>
                    <a:pt x="479" y="15"/>
                  </a:lnTo>
                  <a:lnTo>
                    <a:pt x="480" y="15"/>
                  </a:lnTo>
                  <a:lnTo>
                    <a:pt x="480" y="13"/>
                  </a:lnTo>
                  <a:lnTo>
                    <a:pt x="481" y="12"/>
                  </a:lnTo>
                  <a:lnTo>
                    <a:pt x="481" y="11"/>
                  </a:lnTo>
                  <a:lnTo>
                    <a:pt x="482" y="10"/>
                  </a:lnTo>
                  <a:lnTo>
                    <a:pt x="482" y="9"/>
                  </a:lnTo>
                  <a:lnTo>
                    <a:pt x="484" y="10"/>
                  </a:lnTo>
                  <a:lnTo>
                    <a:pt x="485" y="11"/>
                  </a:lnTo>
                  <a:lnTo>
                    <a:pt x="486" y="11"/>
                  </a:lnTo>
                  <a:lnTo>
                    <a:pt x="487" y="12"/>
                  </a:lnTo>
                  <a:lnTo>
                    <a:pt x="486" y="13"/>
                  </a:lnTo>
                  <a:lnTo>
                    <a:pt x="486" y="15"/>
                  </a:lnTo>
                  <a:lnTo>
                    <a:pt x="486" y="17"/>
                  </a:lnTo>
                  <a:lnTo>
                    <a:pt x="486" y="18"/>
                  </a:lnTo>
                  <a:lnTo>
                    <a:pt x="486" y="19"/>
                  </a:lnTo>
                  <a:lnTo>
                    <a:pt x="486" y="22"/>
                  </a:lnTo>
                  <a:lnTo>
                    <a:pt x="486" y="24"/>
                  </a:lnTo>
                  <a:lnTo>
                    <a:pt x="486" y="25"/>
                  </a:lnTo>
                  <a:lnTo>
                    <a:pt x="486" y="24"/>
                  </a:lnTo>
                  <a:lnTo>
                    <a:pt x="487" y="24"/>
                  </a:lnTo>
                  <a:lnTo>
                    <a:pt x="488" y="24"/>
                  </a:lnTo>
                  <a:lnTo>
                    <a:pt x="490" y="23"/>
                  </a:lnTo>
                  <a:lnTo>
                    <a:pt x="488" y="23"/>
                  </a:lnTo>
                  <a:lnTo>
                    <a:pt x="490" y="23"/>
                  </a:lnTo>
                  <a:lnTo>
                    <a:pt x="491" y="24"/>
                  </a:lnTo>
                  <a:lnTo>
                    <a:pt x="492" y="25"/>
                  </a:lnTo>
                  <a:lnTo>
                    <a:pt x="492" y="27"/>
                  </a:lnTo>
                  <a:lnTo>
                    <a:pt x="491" y="27"/>
                  </a:lnTo>
                  <a:lnTo>
                    <a:pt x="491" y="28"/>
                  </a:lnTo>
                  <a:lnTo>
                    <a:pt x="490" y="28"/>
                  </a:lnTo>
                  <a:lnTo>
                    <a:pt x="488" y="29"/>
                  </a:lnTo>
                  <a:lnTo>
                    <a:pt x="487" y="29"/>
                  </a:lnTo>
                  <a:lnTo>
                    <a:pt x="487" y="30"/>
                  </a:lnTo>
                  <a:lnTo>
                    <a:pt x="486" y="30"/>
                  </a:lnTo>
                  <a:lnTo>
                    <a:pt x="485" y="31"/>
                  </a:lnTo>
                  <a:lnTo>
                    <a:pt x="484" y="31"/>
                  </a:lnTo>
                  <a:lnTo>
                    <a:pt x="484" y="33"/>
                  </a:lnTo>
                  <a:lnTo>
                    <a:pt x="482" y="34"/>
                  </a:lnTo>
                  <a:lnTo>
                    <a:pt x="481" y="35"/>
                  </a:lnTo>
                  <a:lnTo>
                    <a:pt x="480" y="35"/>
                  </a:lnTo>
                  <a:lnTo>
                    <a:pt x="480" y="36"/>
                  </a:lnTo>
                  <a:lnTo>
                    <a:pt x="481" y="36"/>
                  </a:lnTo>
                  <a:lnTo>
                    <a:pt x="481" y="37"/>
                  </a:lnTo>
                  <a:lnTo>
                    <a:pt x="481" y="39"/>
                  </a:lnTo>
                  <a:lnTo>
                    <a:pt x="481" y="40"/>
                  </a:lnTo>
                  <a:lnTo>
                    <a:pt x="481" y="41"/>
                  </a:lnTo>
                  <a:lnTo>
                    <a:pt x="481" y="42"/>
                  </a:lnTo>
                  <a:lnTo>
                    <a:pt x="480" y="42"/>
                  </a:lnTo>
                  <a:lnTo>
                    <a:pt x="480" y="43"/>
                  </a:lnTo>
                  <a:lnTo>
                    <a:pt x="480" y="45"/>
                  </a:lnTo>
                  <a:lnTo>
                    <a:pt x="481" y="46"/>
                  </a:lnTo>
                  <a:lnTo>
                    <a:pt x="482" y="46"/>
                  </a:lnTo>
                  <a:lnTo>
                    <a:pt x="482" y="45"/>
                  </a:lnTo>
                  <a:lnTo>
                    <a:pt x="482" y="43"/>
                  </a:lnTo>
                  <a:lnTo>
                    <a:pt x="484" y="43"/>
                  </a:lnTo>
                  <a:lnTo>
                    <a:pt x="485" y="43"/>
                  </a:lnTo>
                  <a:lnTo>
                    <a:pt x="486" y="42"/>
                  </a:lnTo>
                  <a:lnTo>
                    <a:pt x="487" y="42"/>
                  </a:lnTo>
                  <a:lnTo>
                    <a:pt x="487" y="43"/>
                  </a:lnTo>
                  <a:lnTo>
                    <a:pt x="488" y="43"/>
                  </a:lnTo>
                  <a:lnTo>
                    <a:pt x="490" y="45"/>
                  </a:lnTo>
                  <a:lnTo>
                    <a:pt x="490" y="46"/>
                  </a:lnTo>
                  <a:lnTo>
                    <a:pt x="491" y="46"/>
                  </a:lnTo>
                  <a:lnTo>
                    <a:pt x="492" y="46"/>
                  </a:lnTo>
                  <a:lnTo>
                    <a:pt x="492" y="45"/>
                  </a:lnTo>
                  <a:lnTo>
                    <a:pt x="492" y="43"/>
                  </a:lnTo>
                  <a:lnTo>
                    <a:pt x="492" y="42"/>
                  </a:lnTo>
                  <a:lnTo>
                    <a:pt x="493" y="41"/>
                  </a:lnTo>
                  <a:lnTo>
                    <a:pt x="494" y="41"/>
                  </a:lnTo>
                  <a:lnTo>
                    <a:pt x="494" y="40"/>
                  </a:lnTo>
                  <a:lnTo>
                    <a:pt x="496" y="39"/>
                  </a:lnTo>
                  <a:lnTo>
                    <a:pt x="496" y="36"/>
                  </a:lnTo>
                  <a:lnTo>
                    <a:pt x="496" y="34"/>
                  </a:lnTo>
                  <a:lnTo>
                    <a:pt x="494" y="33"/>
                  </a:lnTo>
                  <a:lnTo>
                    <a:pt x="494" y="31"/>
                  </a:lnTo>
                  <a:lnTo>
                    <a:pt x="494" y="30"/>
                  </a:lnTo>
                  <a:lnTo>
                    <a:pt x="493" y="29"/>
                  </a:lnTo>
                  <a:lnTo>
                    <a:pt x="494" y="29"/>
                  </a:lnTo>
                  <a:lnTo>
                    <a:pt x="496" y="28"/>
                  </a:lnTo>
                  <a:lnTo>
                    <a:pt x="497" y="28"/>
                  </a:lnTo>
                  <a:lnTo>
                    <a:pt x="497" y="27"/>
                  </a:lnTo>
                  <a:lnTo>
                    <a:pt x="498" y="25"/>
                  </a:lnTo>
                  <a:lnTo>
                    <a:pt x="498" y="23"/>
                  </a:lnTo>
                  <a:lnTo>
                    <a:pt x="498" y="22"/>
                  </a:lnTo>
                  <a:lnTo>
                    <a:pt x="502" y="22"/>
                  </a:lnTo>
                  <a:lnTo>
                    <a:pt x="502" y="23"/>
                  </a:lnTo>
                  <a:lnTo>
                    <a:pt x="502" y="25"/>
                  </a:lnTo>
                  <a:lnTo>
                    <a:pt x="501" y="25"/>
                  </a:lnTo>
                  <a:lnTo>
                    <a:pt x="501" y="27"/>
                  </a:lnTo>
                  <a:lnTo>
                    <a:pt x="502" y="27"/>
                  </a:lnTo>
                  <a:lnTo>
                    <a:pt x="502" y="29"/>
                  </a:lnTo>
                  <a:lnTo>
                    <a:pt x="503" y="29"/>
                  </a:lnTo>
                  <a:lnTo>
                    <a:pt x="504" y="29"/>
                  </a:lnTo>
                  <a:lnTo>
                    <a:pt x="503" y="28"/>
                  </a:lnTo>
                  <a:lnTo>
                    <a:pt x="503" y="27"/>
                  </a:lnTo>
                  <a:lnTo>
                    <a:pt x="504" y="27"/>
                  </a:lnTo>
                  <a:lnTo>
                    <a:pt x="505" y="25"/>
                  </a:lnTo>
                  <a:lnTo>
                    <a:pt x="505" y="24"/>
                  </a:lnTo>
                  <a:lnTo>
                    <a:pt x="505" y="23"/>
                  </a:lnTo>
                  <a:lnTo>
                    <a:pt x="505" y="22"/>
                  </a:lnTo>
                  <a:lnTo>
                    <a:pt x="507" y="21"/>
                  </a:lnTo>
                  <a:lnTo>
                    <a:pt x="507" y="19"/>
                  </a:lnTo>
                  <a:lnTo>
                    <a:pt x="507" y="18"/>
                  </a:lnTo>
                  <a:lnTo>
                    <a:pt x="508" y="18"/>
                  </a:lnTo>
                  <a:lnTo>
                    <a:pt x="509" y="18"/>
                  </a:lnTo>
                  <a:lnTo>
                    <a:pt x="509" y="19"/>
                  </a:lnTo>
                  <a:lnTo>
                    <a:pt x="510" y="19"/>
                  </a:lnTo>
                  <a:lnTo>
                    <a:pt x="510" y="18"/>
                  </a:lnTo>
                  <a:lnTo>
                    <a:pt x="511" y="17"/>
                  </a:lnTo>
                  <a:lnTo>
                    <a:pt x="510" y="16"/>
                  </a:lnTo>
                  <a:lnTo>
                    <a:pt x="511" y="15"/>
                  </a:lnTo>
                  <a:lnTo>
                    <a:pt x="513" y="13"/>
                  </a:lnTo>
                  <a:lnTo>
                    <a:pt x="513" y="15"/>
                  </a:lnTo>
                  <a:lnTo>
                    <a:pt x="515" y="15"/>
                  </a:lnTo>
                  <a:lnTo>
                    <a:pt x="516" y="15"/>
                  </a:lnTo>
                  <a:lnTo>
                    <a:pt x="516" y="16"/>
                  </a:lnTo>
                  <a:lnTo>
                    <a:pt x="516" y="17"/>
                  </a:lnTo>
                  <a:lnTo>
                    <a:pt x="515" y="18"/>
                  </a:lnTo>
                  <a:lnTo>
                    <a:pt x="515" y="21"/>
                  </a:lnTo>
                  <a:lnTo>
                    <a:pt x="515" y="23"/>
                  </a:lnTo>
                  <a:lnTo>
                    <a:pt x="516" y="23"/>
                  </a:lnTo>
                  <a:lnTo>
                    <a:pt x="516" y="24"/>
                  </a:lnTo>
                  <a:lnTo>
                    <a:pt x="516" y="27"/>
                  </a:lnTo>
                  <a:lnTo>
                    <a:pt x="516" y="28"/>
                  </a:lnTo>
                  <a:lnTo>
                    <a:pt x="515" y="28"/>
                  </a:lnTo>
                  <a:lnTo>
                    <a:pt x="515" y="29"/>
                  </a:lnTo>
                  <a:lnTo>
                    <a:pt x="514" y="30"/>
                  </a:lnTo>
                  <a:lnTo>
                    <a:pt x="513" y="33"/>
                  </a:lnTo>
                  <a:lnTo>
                    <a:pt x="511" y="33"/>
                  </a:lnTo>
                  <a:lnTo>
                    <a:pt x="511" y="34"/>
                  </a:lnTo>
                  <a:lnTo>
                    <a:pt x="509" y="34"/>
                  </a:lnTo>
                  <a:lnTo>
                    <a:pt x="509" y="35"/>
                  </a:lnTo>
                  <a:lnTo>
                    <a:pt x="508" y="36"/>
                  </a:lnTo>
                  <a:lnTo>
                    <a:pt x="505" y="37"/>
                  </a:lnTo>
                  <a:lnTo>
                    <a:pt x="507" y="37"/>
                  </a:lnTo>
                  <a:lnTo>
                    <a:pt x="508" y="37"/>
                  </a:lnTo>
                  <a:lnTo>
                    <a:pt x="508" y="39"/>
                  </a:lnTo>
                  <a:lnTo>
                    <a:pt x="509" y="37"/>
                  </a:lnTo>
                  <a:lnTo>
                    <a:pt x="509" y="39"/>
                  </a:lnTo>
                  <a:lnTo>
                    <a:pt x="510" y="40"/>
                  </a:lnTo>
                  <a:lnTo>
                    <a:pt x="511" y="39"/>
                  </a:lnTo>
                  <a:lnTo>
                    <a:pt x="513" y="37"/>
                  </a:lnTo>
                  <a:lnTo>
                    <a:pt x="514" y="37"/>
                  </a:lnTo>
                  <a:lnTo>
                    <a:pt x="515" y="39"/>
                  </a:lnTo>
                  <a:lnTo>
                    <a:pt x="515" y="41"/>
                  </a:lnTo>
                  <a:lnTo>
                    <a:pt x="516" y="42"/>
                  </a:lnTo>
                  <a:lnTo>
                    <a:pt x="517" y="43"/>
                  </a:lnTo>
                  <a:lnTo>
                    <a:pt x="517" y="46"/>
                  </a:lnTo>
                  <a:lnTo>
                    <a:pt x="517" y="45"/>
                  </a:lnTo>
                  <a:lnTo>
                    <a:pt x="519" y="45"/>
                  </a:lnTo>
                  <a:lnTo>
                    <a:pt x="520" y="43"/>
                  </a:lnTo>
                  <a:lnTo>
                    <a:pt x="520" y="41"/>
                  </a:lnTo>
                  <a:lnTo>
                    <a:pt x="519" y="41"/>
                  </a:lnTo>
                  <a:lnTo>
                    <a:pt x="520" y="39"/>
                  </a:lnTo>
                  <a:lnTo>
                    <a:pt x="521" y="37"/>
                  </a:lnTo>
                  <a:lnTo>
                    <a:pt x="522" y="37"/>
                  </a:lnTo>
                  <a:lnTo>
                    <a:pt x="523" y="40"/>
                  </a:lnTo>
                  <a:lnTo>
                    <a:pt x="523" y="39"/>
                  </a:lnTo>
                  <a:lnTo>
                    <a:pt x="525" y="39"/>
                  </a:lnTo>
                  <a:lnTo>
                    <a:pt x="525" y="37"/>
                  </a:lnTo>
                  <a:lnTo>
                    <a:pt x="526" y="37"/>
                  </a:lnTo>
                  <a:lnTo>
                    <a:pt x="526" y="36"/>
                  </a:lnTo>
                  <a:lnTo>
                    <a:pt x="527" y="36"/>
                  </a:lnTo>
                  <a:lnTo>
                    <a:pt x="528" y="35"/>
                  </a:lnTo>
                  <a:lnTo>
                    <a:pt x="529" y="34"/>
                  </a:lnTo>
                  <a:lnTo>
                    <a:pt x="531" y="34"/>
                  </a:lnTo>
                  <a:lnTo>
                    <a:pt x="531" y="33"/>
                  </a:lnTo>
                  <a:lnTo>
                    <a:pt x="533" y="35"/>
                  </a:lnTo>
                  <a:lnTo>
                    <a:pt x="534" y="37"/>
                  </a:lnTo>
                  <a:lnTo>
                    <a:pt x="533" y="39"/>
                  </a:lnTo>
                  <a:lnTo>
                    <a:pt x="532" y="40"/>
                  </a:lnTo>
                  <a:lnTo>
                    <a:pt x="531" y="41"/>
                  </a:lnTo>
                  <a:lnTo>
                    <a:pt x="529" y="42"/>
                  </a:lnTo>
                  <a:lnTo>
                    <a:pt x="528" y="46"/>
                  </a:lnTo>
                  <a:lnTo>
                    <a:pt x="528" y="49"/>
                  </a:lnTo>
                  <a:lnTo>
                    <a:pt x="527" y="49"/>
                  </a:lnTo>
                  <a:lnTo>
                    <a:pt x="526" y="49"/>
                  </a:lnTo>
                  <a:lnTo>
                    <a:pt x="526" y="51"/>
                  </a:lnTo>
                  <a:lnTo>
                    <a:pt x="525" y="60"/>
                  </a:lnTo>
                  <a:lnTo>
                    <a:pt x="525" y="62"/>
                  </a:lnTo>
                  <a:lnTo>
                    <a:pt x="525" y="63"/>
                  </a:lnTo>
                  <a:lnTo>
                    <a:pt x="526" y="63"/>
                  </a:lnTo>
                  <a:lnTo>
                    <a:pt x="526" y="64"/>
                  </a:lnTo>
                  <a:lnTo>
                    <a:pt x="527" y="63"/>
                  </a:lnTo>
                  <a:lnTo>
                    <a:pt x="528" y="63"/>
                  </a:lnTo>
                  <a:lnTo>
                    <a:pt x="529" y="63"/>
                  </a:lnTo>
                  <a:lnTo>
                    <a:pt x="528" y="65"/>
                  </a:lnTo>
                  <a:lnTo>
                    <a:pt x="528" y="66"/>
                  </a:lnTo>
                  <a:lnTo>
                    <a:pt x="527" y="66"/>
                  </a:lnTo>
                  <a:lnTo>
                    <a:pt x="527" y="68"/>
                  </a:lnTo>
                  <a:lnTo>
                    <a:pt x="527" y="69"/>
                  </a:lnTo>
                  <a:lnTo>
                    <a:pt x="526" y="69"/>
                  </a:lnTo>
                  <a:lnTo>
                    <a:pt x="525" y="70"/>
                  </a:lnTo>
                  <a:lnTo>
                    <a:pt x="526" y="71"/>
                  </a:lnTo>
                  <a:lnTo>
                    <a:pt x="526" y="72"/>
                  </a:lnTo>
                  <a:lnTo>
                    <a:pt x="527" y="72"/>
                  </a:lnTo>
                  <a:lnTo>
                    <a:pt x="526" y="75"/>
                  </a:lnTo>
                  <a:lnTo>
                    <a:pt x="527" y="76"/>
                  </a:lnTo>
                  <a:lnTo>
                    <a:pt x="528" y="77"/>
                  </a:lnTo>
                  <a:lnTo>
                    <a:pt x="531" y="77"/>
                  </a:lnTo>
                  <a:lnTo>
                    <a:pt x="532" y="76"/>
                  </a:lnTo>
                  <a:lnTo>
                    <a:pt x="533" y="75"/>
                  </a:lnTo>
                  <a:lnTo>
                    <a:pt x="533" y="74"/>
                  </a:lnTo>
                  <a:lnTo>
                    <a:pt x="534" y="74"/>
                  </a:lnTo>
                  <a:lnTo>
                    <a:pt x="534" y="71"/>
                  </a:lnTo>
                  <a:lnTo>
                    <a:pt x="533" y="70"/>
                  </a:lnTo>
                  <a:lnTo>
                    <a:pt x="534" y="70"/>
                  </a:lnTo>
                  <a:lnTo>
                    <a:pt x="537" y="70"/>
                  </a:lnTo>
                  <a:lnTo>
                    <a:pt x="537" y="69"/>
                  </a:lnTo>
                  <a:lnTo>
                    <a:pt x="535" y="68"/>
                  </a:lnTo>
                  <a:lnTo>
                    <a:pt x="535" y="66"/>
                  </a:lnTo>
                  <a:lnTo>
                    <a:pt x="534" y="63"/>
                  </a:lnTo>
                  <a:lnTo>
                    <a:pt x="534" y="60"/>
                  </a:lnTo>
                  <a:lnTo>
                    <a:pt x="535" y="60"/>
                  </a:lnTo>
                  <a:lnTo>
                    <a:pt x="535" y="59"/>
                  </a:lnTo>
                  <a:lnTo>
                    <a:pt x="535" y="58"/>
                  </a:lnTo>
                  <a:lnTo>
                    <a:pt x="534" y="57"/>
                  </a:lnTo>
                  <a:lnTo>
                    <a:pt x="535" y="55"/>
                  </a:lnTo>
                  <a:lnTo>
                    <a:pt x="535" y="54"/>
                  </a:lnTo>
                  <a:lnTo>
                    <a:pt x="537" y="54"/>
                  </a:lnTo>
                  <a:lnTo>
                    <a:pt x="538" y="54"/>
                  </a:lnTo>
                  <a:lnTo>
                    <a:pt x="539" y="54"/>
                  </a:lnTo>
                  <a:lnTo>
                    <a:pt x="539" y="53"/>
                  </a:lnTo>
                  <a:lnTo>
                    <a:pt x="540" y="52"/>
                  </a:lnTo>
                  <a:lnTo>
                    <a:pt x="540" y="49"/>
                  </a:lnTo>
                  <a:lnTo>
                    <a:pt x="543" y="48"/>
                  </a:lnTo>
                  <a:lnTo>
                    <a:pt x="543" y="49"/>
                  </a:lnTo>
                  <a:lnTo>
                    <a:pt x="545" y="49"/>
                  </a:lnTo>
                  <a:lnTo>
                    <a:pt x="546" y="51"/>
                  </a:lnTo>
                  <a:lnTo>
                    <a:pt x="545" y="52"/>
                  </a:lnTo>
                  <a:lnTo>
                    <a:pt x="545" y="55"/>
                  </a:lnTo>
                  <a:lnTo>
                    <a:pt x="544" y="57"/>
                  </a:lnTo>
                  <a:lnTo>
                    <a:pt x="543" y="59"/>
                  </a:lnTo>
                  <a:lnTo>
                    <a:pt x="544" y="59"/>
                  </a:lnTo>
                  <a:lnTo>
                    <a:pt x="544" y="60"/>
                  </a:lnTo>
                  <a:lnTo>
                    <a:pt x="544" y="62"/>
                  </a:lnTo>
                  <a:lnTo>
                    <a:pt x="545" y="62"/>
                  </a:lnTo>
                  <a:lnTo>
                    <a:pt x="546" y="62"/>
                  </a:lnTo>
                  <a:lnTo>
                    <a:pt x="546" y="60"/>
                  </a:lnTo>
                  <a:lnTo>
                    <a:pt x="547" y="60"/>
                  </a:lnTo>
                  <a:lnTo>
                    <a:pt x="547" y="62"/>
                  </a:lnTo>
                  <a:lnTo>
                    <a:pt x="549" y="63"/>
                  </a:lnTo>
                  <a:lnTo>
                    <a:pt x="549" y="64"/>
                  </a:lnTo>
                  <a:lnTo>
                    <a:pt x="547" y="64"/>
                  </a:lnTo>
                  <a:lnTo>
                    <a:pt x="546" y="65"/>
                  </a:lnTo>
                  <a:lnTo>
                    <a:pt x="545" y="65"/>
                  </a:lnTo>
                  <a:lnTo>
                    <a:pt x="544" y="66"/>
                  </a:lnTo>
                  <a:lnTo>
                    <a:pt x="544" y="68"/>
                  </a:lnTo>
                  <a:lnTo>
                    <a:pt x="543" y="69"/>
                  </a:lnTo>
                  <a:lnTo>
                    <a:pt x="541" y="69"/>
                  </a:lnTo>
                  <a:lnTo>
                    <a:pt x="540" y="70"/>
                  </a:lnTo>
                  <a:lnTo>
                    <a:pt x="540" y="71"/>
                  </a:lnTo>
                  <a:lnTo>
                    <a:pt x="540" y="72"/>
                  </a:lnTo>
                  <a:lnTo>
                    <a:pt x="541" y="71"/>
                  </a:lnTo>
                  <a:lnTo>
                    <a:pt x="541" y="72"/>
                  </a:lnTo>
                  <a:lnTo>
                    <a:pt x="540" y="72"/>
                  </a:lnTo>
                  <a:lnTo>
                    <a:pt x="541" y="74"/>
                  </a:lnTo>
                  <a:lnTo>
                    <a:pt x="543" y="74"/>
                  </a:lnTo>
                  <a:lnTo>
                    <a:pt x="543" y="75"/>
                  </a:lnTo>
                  <a:lnTo>
                    <a:pt x="543" y="76"/>
                  </a:lnTo>
                  <a:lnTo>
                    <a:pt x="544" y="76"/>
                  </a:lnTo>
                  <a:lnTo>
                    <a:pt x="545" y="75"/>
                  </a:lnTo>
                  <a:lnTo>
                    <a:pt x="546" y="76"/>
                  </a:lnTo>
                  <a:lnTo>
                    <a:pt x="546" y="75"/>
                  </a:lnTo>
                  <a:lnTo>
                    <a:pt x="547" y="75"/>
                  </a:lnTo>
                  <a:lnTo>
                    <a:pt x="547" y="74"/>
                  </a:lnTo>
                  <a:lnTo>
                    <a:pt x="547" y="72"/>
                  </a:lnTo>
                  <a:lnTo>
                    <a:pt x="549" y="72"/>
                  </a:lnTo>
                  <a:lnTo>
                    <a:pt x="549" y="66"/>
                  </a:lnTo>
                  <a:lnTo>
                    <a:pt x="549" y="65"/>
                  </a:lnTo>
                  <a:lnTo>
                    <a:pt x="551" y="65"/>
                  </a:lnTo>
                  <a:lnTo>
                    <a:pt x="551" y="66"/>
                  </a:lnTo>
                  <a:lnTo>
                    <a:pt x="552" y="66"/>
                  </a:lnTo>
                  <a:lnTo>
                    <a:pt x="552" y="65"/>
                  </a:lnTo>
                  <a:lnTo>
                    <a:pt x="553" y="65"/>
                  </a:lnTo>
                  <a:lnTo>
                    <a:pt x="553" y="66"/>
                  </a:lnTo>
                  <a:lnTo>
                    <a:pt x="555" y="65"/>
                  </a:lnTo>
                  <a:lnTo>
                    <a:pt x="556" y="65"/>
                  </a:lnTo>
                  <a:lnTo>
                    <a:pt x="556" y="66"/>
                  </a:lnTo>
                  <a:lnTo>
                    <a:pt x="557" y="68"/>
                  </a:lnTo>
                  <a:lnTo>
                    <a:pt x="558" y="68"/>
                  </a:lnTo>
                  <a:lnTo>
                    <a:pt x="558" y="66"/>
                  </a:lnTo>
                  <a:lnTo>
                    <a:pt x="558" y="65"/>
                  </a:lnTo>
                  <a:lnTo>
                    <a:pt x="557" y="65"/>
                  </a:lnTo>
                  <a:lnTo>
                    <a:pt x="555" y="65"/>
                  </a:lnTo>
                  <a:lnTo>
                    <a:pt x="555" y="64"/>
                  </a:lnTo>
                  <a:lnTo>
                    <a:pt x="553" y="64"/>
                  </a:lnTo>
                  <a:lnTo>
                    <a:pt x="553" y="63"/>
                  </a:lnTo>
                  <a:lnTo>
                    <a:pt x="553" y="62"/>
                  </a:lnTo>
                  <a:lnTo>
                    <a:pt x="553" y="60"/>
                  </a:lnTo>
                  <a:lnTo>
                    <a:pt x="552" y="60"/>
                  </a:lnTo>
                  <a:lnTo>
                    <a:pt x="551" y="59"/>
                  </a:lnTo>
                  <a:lnTo>
                    <a:pt x="551" y="58"/>
                  </a:lnTo>
                  <a:lnTo>
                    <a:pt x="552" y="57"/>
                  </a:lnTo>
                  <a:lnTo>
                    <a:pt x="553" y="55"/>
                  </a:lnTo>
                  <a:lnTo>
                    <a:pt x="553" y="54"/>
                  </a:lnTo>
                  <a:lnTo>
                    <a:pt x="553" y="53"/>
                  </a:lnTo>
                  <a:lnTo>
                    <a:pt x="553" y="52"/>
                  </a:lnTo>
                  <a:lnTo>
                    <a:pt x="556" y="51"/>
                  </a:lnTo>
                  <a:lnTo>
                    <a:pt x="557" y="51"/>
                  </a:lnTo>
                  <a:lnTo>
                    <a:pt x="558" y="51"/>
                  </a:lnTo>
                  <a:lnTo>
                    <a:pt x="558" y="52"/>
                  </a:lnTo>
                  <a:lnTo>
                    <a:pt x="558" y="53"/>
                  </a:lnTo>
                  <a:lnTo>
                    <a:pt x="560" y="53"/>
                  </a:lnTo>
                  <a:lnTo>
                    <a:pt x="560" y="52"/>
                  </a:lnTo>
                  <a:lnTo>
                    <a:pt x="560" y="51"/>
                  </a:lnTo>
                  <a:lnTo>
                    <a:pt x="561" y="51"/>
                  </a:lnTo>
                  <a:lnTo>
                    <a:pt x="561" y="49"/>
                  </a:lnTo>
                  <a:lnTo>
                    <a:pt x="561" y="48"/>
                  </a:lnTo>
                  <a:lnTo>
                    <a:pt x="561" y="47"/>
                  </a:lnTo>
                  <a:lnTo>
                    <a:pt x="561" y="46"/>
                  </a:lnTo>
                  <a:lnTo>
                    <a:pt x="562" y="45"/>
                  </a:lnTo>
                  <a:lnTo>
                    <a:pt x="563" y="43"/>
                  </a:lnTo>
                  <a:lnTo>
                    <a:pt x="564" y="43"/>
                  </a:lnTo>
                  <a:lnTo>
                    <a:pt x="566" y="42"/>
                  </a:lnTo>
                  <a:lnTo>
                    <a:pt x="566" y="40"/>
                  </a:lnTo>
                  <a:lnTo>
                    <a:pt x="566" y="39"/>
                  </a:lnTo>
                  <a:lnTo>
                    <a:pt x="567" y="37"/>
                  </a:lnTo>
                  <a:lnTo>
                    <a:pt x="568" y="37"/>
                  </a:lnTo>
                  <a:lnTo>
                    <a:pt x="569" y="37"/>
                  </a:lnTo>
                  <a:lnTo>
                    <a:pt x="569" y="39"/>
                  </a:lnTo>
                  <a:lnTo>
                    <a:pt x="569" y="40"/>
                  </a:lnTo>
                  <a:lnTo>
                    <a:pt x="570" y="39"/>
                  </a:lnTo>
                  <a:lnTo>
                    <a:pt x="572" y="39"/>
                  </a:lnTo>
                  <a:lnTo>
                    <a:pt x="572" y="40"/>
                  </a:lnTo>
                  <a:lnTo>
                    <a:pt x="573" y="41"/>
                  </a:lnTo>
                  <a:lnTo>
                    <a:pt x="573" y="42"/>
                  </a:lnTo>
                  <a:lnTo>
                    <a:pt x="573" y="43"/>
                  </a:lnTo>
                  <a:lnTo>
                    <a:pt x="573" y="45"/>
                  </a:lnTo>
                  <a:lnTo>
                    <a:pt x="573" y="48"/>
                  </a:lnTo>
                  <a:lnTo>
                    <a:pt x="574" y="48"/>
                  </a:lnTo>
                  <a:lnTo>
                    <a:pt x="574" y="49"/>
                  </a:lnTo>
                  <a:lnTo>
                    <a:pt x="574" y="51"/>
                  </a:lnTo>
                  <a:lnTo>
                    <a:pt x="574" y="52"/>
                  </a:lnTo>
                  <a:lnTo>
                    <a:pt x="574" y="53"/>
                  </a:lnTo>
                  <a:lnTo>
                    <a:pt x="574" y="54"/>
                  </a:lnTo>
                  <a:lnTo>
                    <a:pt x="573" y="54"/>
                  </a:lnTo>
                  <a:lnTo>
                    <a:pt x="572" y="55"/>
                  </a:lnTo>
                  <a:lnTo>
                    <a:pt x="570" y="57"/>
                  </a:lnTo>
                  <a:lnTo>
                    <a:pt x="572" y="57"/>
                  </a:lnTo>
                  <a:lnTo>
                    <a:pt x="573" y="57"/>
                  </a:lnTo>
                  <a:lnTo>
                    <a:pt x="573" y="58"/>
                  </a:lnTo>
                  <a:lnTo>
                    <a:pt x="574" y="58"/>
                  </a:lnTo>
                  <a:lnTo>
                    <a:pt x="574" y="59"/>
                  </a:lnTo>
                  <a:lnTo>
                    <a:pt x="575" y="59"/>
                  </a:lnTo>
                  <a:lnTo>
                    <a:pt x="575" y="60"/>
                  </a:lnTo>
                  <a:lnTo>
                    <a:pt x="576" y="60"/>
                  </a:lnTo>
                  <a:lnTo>
                    <a:pt x="576" y="63"/>
                  </a:lnTo>
                  <a:lnTo>
                    <a:pt x="575" y="64"/>
                  </a:lnTo>
                  <a:lnTo>
                    <a:pt x="575" y="65"/>
                  </a:lnTo>
                  <a:lnTo>
                    <a:pt x="574" y="66"/>
                  </a:lnTo>
                  <a:lnTo>
                    <a:pt x="574" y="69"/>
                  </a:lnTo>
                  <a:lnTo>
                    <a:pt x="573" y="68"/>
                  </a:lnTo>
                  <a:lnTo>
                    <a:pt x="572" y="68"/>
                  </a:lnTo>
                  <a:lnTo>
                    <a:pt x="573" y="70"/>
                  </a:lnTo>
                  <a:lnTo>
                    <a:pt x="572" y="70"/>
                  </a:lnTo>
                  <a:lnTo>
                    <a:pt x="570" y="69"/>
                  </a:lnTo>
                  <a:lnTo>
                    <a:pt x="570" y="70"/>
                  </a:lnTo>
                  <a:lnTo>
                    <a:pt x="570" y="72"/>
                  </a:lnTo>
                  <a:lnTo>
                    <a:pt x="572" y="72"/>
                  </a:lnTo>
                  <a:lnTo>
                    <a:pt x="574" y="71"/>
                  </a:lnTo>
                  <a:lnTo>
                    <a:pt x="575" y="70"/>
                  </a:lnTo>
                  <a:lnTo>
                    <a:pt x="575" y="69"/>
                  </a:lnTo>
                  <a:lnTo>
                    <a:pt x="576" y="68"/>
                  </a:lnTo>
                  <a:lnTo>
                    <a:pt x="578" y="68"/>
                  </a:lnTo>
                  <a:lnTo>
                    <a:pt x="578" y="66"/>
                  </a:lnTo>
                  <a:lnTo>
                    <a:pt x="578" y="65"/>
                  </a:lnTo>
                  <a:lnTo>
                    <a:pt x="578" y="63"/>
                  </a:lnTo>
                  <a:lnTo>
                    <a:pt x="579" y="63"/>
                  </a:lnTo>
                  <a:lnTo>
                    <a:pt x="580" y="63"/>
                  </a:lnTo>
                  <a:lnTo>
                    <a:pt x="581" y="63"/>
                  </a:lnTo>
                  <a:lnTo>
                    <a:pt x="582" y="63"/>
                  </a:lnTo>
                  <a:lnTo>
                    <a:pt x="582" y="60"/>
                  </a:lnTo>
                  <a:lnTo>
                    <a:pt x="582" y="62"/>
                  </a:lnTo>
                  <a:lnTo>
                    <a:pt x="584" y="60"/>
                  </a:lnTo>
                  <a:lnTo>
                    <a:pt x="584" y="58"/>
                  </a:lnTo>
                  <a:lnTo>
                    <a:pt x="582" y="57"/>
                  </a:lnTo>
                  <a:lnTo>
                    <a:pt x="581" y="57"/>
                  </a:lnTo>
                  <a:lnTo>
                    <a:pt x="581" y="55"/>
                  </a:lnTo>
                  <a:lnTo>
                    <a:pt x="581" y="54"/>
                  </a:lnTo>
                  <a:lnTo>
                    <a:pt x="581" y="53"/>
                  </a:lnTo>
                  <a:lnTo>
                    <a:pt x="582" y="53"/>
                  </a:lnTo>
                  <a:lnTo>
                    <a:pt x="582" y="52"/>
                  </a:lnTo>
                  <a:lnTo>
                    <a:pt x="584" y="51"/>
                  </a:lnTo>
                  <a:lnTo>
                    <a:pt x="582" y="49"/>
                  </a:lnTo>
                  <a:lnTo>
                    <a:pt x="584" y="48"/>
                  </a:lnTo>
                  <a:lnTo>
                    <a:pt x="584" y="47"/>
                  </a:lnTo>
                  <a:lnTo>
                    <a:pt x="584" y="46"/>
                  </a:lnTo>
                  <a:lnTo>
                    <a:pt x="585" y="47"/>
                  </a:lnTo>
                  <a:lnTo>
                    <a:pt x="586" y="46"/>
                  </a:lnTo>
                  <a:lnTo>
                    <a:pt x="587" y="46"/>
                  </a:lnTo>
                  <a:lnTo>
                    <a:pt x="587" y="45"/>
                  </a:lnTo>
                  <a:lnTo>
                    <a:pt x="588" y="45"/>
                  </a:lnTo>
                  <a:lnTo>
                    <a:pt x="592" y="45"/>
                  </a:lnTo>
                  <a:lnTo>
                    <a:pt x="593" y="45"/>
                  </a:lnTo>
                  <a:lnTo>
                    <a:pt x="593" y="43"/>
                  </a:lnTo>
                  <a:lnTo>
                    <a:pt x="594" y="43"/>
                  </a:lnTo>
                  <a:lnTo>
                    <a:pt x="594" y="41"/>
                  </a:lnTo>
                  <a:lnTo>
                    <a:pt x="598" y="41"/>
                  </a:lnTo>
                  <a:lnTo>
                    <a:pt x="598" y="40"/>
                  </a:lnTo>
                  <a:lnTo>
                    <a:pt x="599" y="39"/>
                  </a:lnTo>
                  <a:lnTo>
                    <a:pt x="599" y="37"/>
                  </a:lnTo>
                  <a:lnTo>
                    <a:pt x="599" y="36"/>
                  </a:lnTo>
                  <a:lnTo>
                    <a:pt x="600" y="36"/>
                  </a:lnTo>
                  <a:lnTo>
                    <a:pt x="600" y="35"/>
                  </a:lnTo>
                  <a:lnTo>
                    <a:pt x="602" y="35"/>
                  </a:lnTo>
                  <a:lnTo>
                    <a:pt x="603" y="34"/>
                  </a:lnTo>
                  <a:lnTo>
                    <a:pt x="603" y="35"/>
                  </a:lnTo>
                  <a:lnTo>
                    <a:pt x="605" y="35"/>
                  </a:lnTo>
                  <a:lnTo>
                    <a:pt x="606" y="36"/>
                  </a:lnTo>
                  <a:lnTo>
                    <a:pt x="606" y="40"/>
                  </a:lnTo>
                  <a:lnTo>
                    <a:pt x="606" y="41"/>
                  </a:lnTo>
                  <a:lnTo>
                    <a:pt x="605" y="42"/>
                  </a:lnTo>
                  <a:lnTo>
                    <a:pt x="606" y="42"/>
                  </a:lnTo>
                  <a:lnTo>
                    <a:pt x="606" y="43"/>
                  </a:lnTo>
                  <a:lnTo>
                    <a:pt x="608" y="45"/>
                  </a:lnTo>
                  <a:lnTo>
                    <a:pt x="609" y="46"/>
                  </a:lnTo>
                  <a:lnTo>
                    <a:pt x="610" y="46"/>
                  </a:lnTo>
                  <a:lnTo>
                    <a:pt x="610" y="47"/>
                  </a:lnTo>
                  <a:lnTo>
                    <a:pt x="611" y="49"/>
                  </a:lnTo>
                  <a:lnTo>
                    <a:pt x="610" y="51"/>
                  </a:lnTo>
                  <a:lnTo>
                    <a:pt x="609" y="52"/>
                  </a:lnTo>
                  <a:lnTo>
                    <a:pt x="609" y="53"/>
                  </a:lnTo>
                  <a:lnTo>
                    <a:pt x="610" y="53"/>
                  </a:lnTo>
                  <a:lnTo>
                    <a:pt x="612" y="53"/>
                  </a:lnTo>
                  <a:lnTo>
                    <a:pt x="612" y="54"/>
                  </a:lnTo>
                  <a:lnTo>
                    <a:pt x="611" y="55"/>
                  </a:lnTo>
                  <a:lnTo>
                    <a:pt x="612" y="55"/>
                  </a:lnTo>
                  <a:lnTo>
                    <a:pt x="614" y="55"/>
                  </a:lnTo>
                  <a:lnTo>
                    <a:pt x="614" y="54"/>
                  </a:lnTo>
                  <a:lnTo>
                    <a:pt x="616" y="53"/>
                  </a:lnTo>
                  <a:lnTo>
                    <a:pt x="617" y="53"/>
                  </a:lnTo>
                  <a:lnTo>
                    <a:pt x="617" y="52"/>
                  </a:lnTo>
                  <a:lnTo>
                    <a:pt x="619" y="52"/>
                  </a:lnTo>
                  <a:lnTo>
                    <a:pt x="619" y="51"/>
                  </a:lnTo>
                  <a:lnTo>
                    <a:pt x="621" y="51"/>
                  </a:lnTo>
                  <a:lnTo>
                    <a:pt x="621" y="52"/>
                  </a:lnTo>
                  <a:lnTo>
                    <a:pt x="622" y="53"/>
                  </a:lnTo>
                  <a:lnTo>
                    <a:pt x="622" y="54"/>
                  </a:lnTo>
                  <a:lnTo>
                    <a:pt x="623" y="53"/>
                  </a:lnTo>
                  <a:lnTo>
                    <a:pt x="623" y="54"/>
                  </a:lnTo>
                  <a:lnTo>
                    <a:pt x="625" y="55"/>
                  </a:lnTo>
                  <a:lnTo>
                    <a:pt x="626" y="55"/>
                  </a:lnTo>
                  <a:lnTo>
                    <a:pt x="626" y="57"/>
                  </a:lnTo>
                  <a:lnTo>
                    <a:pt x="627" y="58"/>
                  </a:lnTo>
                  <a:lnTo>
                    <a:pt x="626" y="58"/>
                  </a:lnTo>
                  <a:lnTo>
                    <a:pt x="626" y="59"/>
                  </a:lnTo>
                  <a:lnTo>
                    <a:pt x="626" y="60"/>
                  </a:lnTo>
                  <a:lnTo>
                    <a:pt x="625" y="60"/>
                  </a:lnTo>
                  <a:lnTo>
                    <a:pt x="625" y="62"/>
                  </a:lnTo>
                  <a:lnTo>
                    <a:pt x="625" y="63"/>
                  </a:lnTo>
                  <a:lnTo>
                    <a:pt x="623" y="63"/>
                  </a:lnTo>
                  <a:lnTo>
                    <a:pt x="623" y="64"/>
                  </a:lnTo>
                  <a:lnTo>
                    <a:pt x="622" y="65"/>
                  </a:lnTo>
                  <a:lnTo>
                    <a:pt x="622" y="66"/>
                  </a:lnTo>
                  <a:lnTo>
                    <a:pt x="621" y="68"/>
                  </a:lnTo>
                  <a:lnTo>
                    <a:pt x="621" y="70"/>
                  </a:lnTo>
                  <a:lnTo>
                    <a:pt x="620" y="70"/>
                  </a:lnTo>
                  <a:lnTo>
                    <a:pt x="620" y="71"/>
                  </a:lnTo>
                  <a:lnTo>
                    <a:pt x="619" y="72"/>
                  </a:lnTo>
                  <a:lnTo>
                    <a:pt x="617" y="72"/>
                  </a:lnTo>
                  <a:lnTo>
                    <a:pt x="616" y="72"/>
                  </a:lnTo>
                  <a:lnTo>
                    <a:pt x="615" y="72"/>
                  </a:lnTo>
                  <a:lnTo>
                    <a:pt x="615" y="74"/>
                  </a:lnTo>
                  <a:lnTo>
                    <a:pt x="614" y="74"/>
                  </a:lnTo>
                  <a:lnTo>
                    <a:pt x="614" y="75"/>
                  </a:lnTo>
                  <a:lnTo>
                    <a:pt x="612" y="75"/>
                  </a:lnTo>
                  <a:lnTo>
                    <a:pt x="611" y="75"/>
                  </a:lnTo>
                  <a:lnTo>
                    <a:pt x="610" y="75"/>
                  </a:lnTo>
                  <a:lnTo>
                    <a:pt x="608" y="75"/>
                  </a:lnTo>
                  <a:lnTo>
                    <a:pt x="606" y="74"/>
                  </a:lnTo>
                  <a:lnTo>
                    <a:pt x="605" y="76"/>
                  </a:lnTo>
                  <a:lnTo>
                    <a:pt x="605" y="77"/>
                  </a:lnTo>
                  <a:lnTo>
                    <a:pt x="604" y="78"/>
                  </a:lnTo>
                  <a:lnTo>
                    <a:pt x="603" y="80"/>
                  </a:lnTo>
                  <a:lnTo>
                    <a:pt x="602" y="82"/>
                  </a:lnTo>
                  <a:lnTo>
                    <a:pt x="603" y="84"/>
                  </a:lnTo>
                  <a:lnTo>
                    <a:pt x="604" y="84"/>
                  </a:lnTo>
                  <a:lnTo>
                    <a:pt x="605" y="86"/>
                  </a:lnTo>
                  <a:lnTo>
                    <a:pt x="606" y="86"/>
                  </a:lnTo>
                  <a:lnTo>
                    <a:pt x="606" y="84"/>
                  </a:lnTo>
                  <a:lnTo>
                    <a:pt x="608" y="83"/>
                  </a:lnTo>
                  <a:lnTo>
                    <a:pt x="609" y="83"/>
                  </a:lnTo>
                  <a:lnTo>
                    <a:pt x="610" y="83"/>
                  </a:lnTo>
                  <a:lnTo>
                    <a:pt x="612" y="83"/>
                  </a:lnTo>
                  <a:lnTo>
                    <a:pt x="614" y="83"/>
                  </a:lnTo>
                  <a:lnTo>
                    <a:pt x="616" y="83"/>
                  </a:lnTo>
                  <a:lnTo>
                    <a:pt x="616" y="82"/>
                  </a:lnTo>
                  <a:lnTo>
                    <a:pt x="617" y="82"/>
                  </a:lnTo>
                  <a:lnTo>
                    <a:pt x="620" y="82"/>
                  </a:lnTo>
                  <a:lnTo>
                    <a:pt x="620" y="81"/>
                  </a:lnTo>
                  <a:lnTo>
                    <a:pt x="620" y="78"/>
                  </a:lnTo>
                  <a:lnTo>
                    <a:pt x="620" y="76"/>
                  </a:lnTo>
                  <a:lnTo>
                    <a:pt x="621" y="75"/>
                  </a:lnTo>
                  <a:lnTo>
                    <a:pt x="625" y="75"/>
                  </a:lnTo>
                  <a:lnTo>
                    <a:pt x="626" y="75"/>
                  </a:lnTo>
                  <a:lnTo>
                    <a:pt x="627" y="74"/>
                  </a:lnTo>
                  <a:lnTo>
                    <a:pt x="628" y="74"/>
                  </a:lnTo>
                  <a:lnTo>
                    <a:pt x="628" y="71"/>
                  </a:lnTo>
                  <a:lnTo>
                    <a:pt x="628" y="70"/>
                  </a:lnTo>
                  <a:lnTo>
                    <a:pt x="629" y="70"/>
                  </a:lnTo>
                  <a:lnTo>
                    <a:pt x="631" y="70"/>
                  </a:lnTo>
                  <a:lnTo>
                    <a:pt x="631" y="69"/>
                  </a:lnTo>
                  <a:lnTo>
                    <a:pt x="632" y="69"/>
                  </a:lnTo>
                  <a:lnTo>
                    <a:pt x="633" y="69"/>
                  </a:lnTo>
                  <a:lnTo>
                    <a:pt x="633" y="70"/>
                  </a:lnTo>
                  <a:lnTo>
                    <a:pt x="634" y="70"/>
                  </a:lnTo>
                  <a:lnTo>
                    <a:pt x="634" y="71"/>
                  </a:lnTo>
                  <a:lnTo>
                    <a:pt x="637" y="71"/>
                  </a:lnTo>
                  <a:lnTo>
                    <a:pt x="638" y="70"/>
                  </a:lnTo>
                  <a:lnTo>
                    <a:pt x="638" y="69"/>
                  </a:lnTo>
                  <a:lnTo>
                    <a:pt x="639" y="69"/>
                  </a:lnTo>
                  <a:lnTo>
                    <a:pt x="639" y="68"/>
                  </a:lnTo>
                  <a:lnTo>
                    <a:pt x="640" y="68"/>
                  </a:lnTo>
                  <a:lnTo>
                    <a:pt x="641" y="69"/>
                  </a:lnTo>
                  <a:lnTo>
                    <a:pt x="641" y="70"/>
                  </a:lnTo>
                  <a:lnTo>
                    <a:pt x="643" y="70"/>
                  </a:lnTo>
                  <a:lnTo>
                    <a:pt x="643" y="71"/>
                  </a:lnTo>
                  <a:lnTo>
                    <a:pt x="643" y="72"/>
                  </a:lnTo>
                  <a:lnTo>
                    <a:pt x="644" y="72"/>
                  </a:lnTo>
                  <a:lnTo>
                    <a:pt x="644" y="74"/>
                  </a:lnTo>
                  <a:lnTo>
                    <a:pt x="645" y="76"/>
                  </a:lnTo>
                  <a:lnTo>
                    <a:pt x="644" y="80"/>
                  </a:lnTo>
                  <a:lnTo>
                    <a:pt x="645" y="80"/>
                  </a:lnTo>
                  <a:lnTo>
                    <a:pt x="645" y="81"/>
                  </a:lnTo>
                  <a:lnTo>
                    <a:pt x="646" y="80"/>
                  </a:lnTo>
                  <a:lnTo>
                    <a:pt x="647" y="80"/>
                  </a:lnTo>
                  <a:lnTo>
                    <a:pt x="647" y="78"/>
                  </a:lnTo>
                  <a:lnTo>
                    <a:pt x="649" y="78"/>
                  </a:lnTo>
                  <a:lnTo>
                    <a:pt x="650" y="77"/>
                  </a:lnTo>
                  <a:lnTo>
                    <a:pt x="651" y="76"/>
                  </a:lnTo>
                  <a:lnTo>
                    <a:pt x="651" y="75"/>
                  </a:lnTo>
                  <a:lnTo>
                    <a:pt x="651" y="74"/>
                  </a:lnTo>
                  <a:lnTo>
                    <a:pt x="652" y="74"/>
                  </a:lnTo>
                  <a:lnTo>
                    <a:pt x="652" y="72"/>
                  </a:lnTo>
                  <a:lnTo>
                    <a:pt x="653" y="72"/>
                  </a:lnTo>
                  <a:lnTo>
                    <a:pt x="655" y="74"/>
                  </a:lnTo>
                  <a:lnTo>
                    <a:pt x="656" y="75"/>
                  </a:lnTo>
                  <a:lnTo>
                    <a:pt x="657" y="76"/>
                  </a:lnTo>
                  <a:lnTo>
                    <a:pt x="656" y="76"/>
                  </a:lnTo>
                  <a:lnTo>
                    <a:pt x="656" y="77"/>
                  </a:lnTo>
                  <a:lnTo>
                    <a:pt x="655" y="77"/>
                  </a:lnTo>
                  <a:lnTo>
                    <a:pt x="655" y="80"/>
                  </a:lnTo>
                  <a:lnTo>
                    <a:pt x="655" y="81"/>
                  </a:lnTo>
                  <a:lnTo>
                    <a:pt x="655" y="82"/>
                  </a:lnTo>
                  <a:lnTo>
                    <a:pt x="655" y="83"/>
                  </a:lnTo>
                  <a:lnTo>
                    <a:pt x="653" y="84"/>
                  </a:lnTo>
                  <a:lnTo>
                    <a:pt x="653" y="86"/>
                  </a:lnTo>
                  <a:lnTo>
                    <a:pt x="656" y="87"/>
                  </a:lnTo>
                  <a:lnTo>
                    <a:pt x="656" y="88"/>
                  </a:lnTo>
                  <a:lnTo>
                    <a:pt x="657" y="88"/>
                  </a:lnTo>
                  <a:lnTo>
                    <a:pt x="657" y="92"/>
                  </a:lnTo>
                  <a:lnTo>
                    <a:pt x="656" y="94"/>
                  </a:lnTo>
                  <a:lnTo>
                    <a:pt x="655" y="95"/>
                  </a:lnTo>
                  <a:lnTo>
                    <a:pt x="653" y="95"/>
                  </a:lnTo>
                  <a:lnTo>
                    <a:pt x="652" y="96"/>
                  </a:lnTo>
                  <a:lnTo>
                    <a:pt x="651" y="96"/>
                  </a:lnTo>
                  <a:lnTo>
                    <a:pt x="651" y="98"/>
                  </a:lnTo>
                  <a:lnTo>
                    <a:pt x="650" y="99"/>
                  </a:lnTo>
                  <a:lnTo>
                    <a:pt x="650" y="100"/>
                  </a:lnTo>
                  <a:lnTo>
                    <a:pt x="651" y="100"/>
                  </a:lnTo>
                  <a:lnTo>
                    <a:pt x="652" y="100"/>
                  </a:lnTo>
                  <a:lnTo>
                    <a:pt x="652" y="102"/>
                  </a:lnTo>
                  <a:lnTo>
                    <a:pt x="652" y="106"/>
                  </a:lnTo>
                  <a:lnTo>
                    <a:pt x="649" y="106"/>
                  </a:lnTo>
                  <a:lnTo>
                    <a:pt x="647" y="107"/>
                  </a:lnTo>
                  <a:lnTo>
                    <a:pt x="649" y="108"/>
                  </a:lnTo>
                  <a:lnTo>
                    <a:pt x="646" y="108"/>
                  </a:lnTo>
                  <a:lnTo>
                    <a:pt x="645" y="107"/>
                  </a:lnTo>
                  <a:lnTo>
                    <a:pt x="645" y="108"/>
                  </a:lnTo>
                  <a:lnTo>
                    <a:pt x="644" y="110"/>
                  </a:lnTo>
                  <a:lnTo>
                    <a:pt x="644" y="111"/>
                  </a:lnTo>
                  <a:lnTo>
                    <a:pt x="643" y="111"/>
                  </a:lnTo>
                  <a:lnTo>
                    <a:pt x="640" y="111"/>
                  </a:lnTo>
                  <a:lnTo>
                    <a:pt x="639" y="111"/>
                  </a:lnTo>
                  <a:lnTo>
                    <a:pt x="639" y="114"/>
                  </a:lnTo>
                  <a:lnTo>
                    <a:pt x="640" y="114"/>
                  </a:lnTo>
                  <a:lnTo>
                    <a:pt x="640" y="113"/>
                  </a:lnTo>
                  <a:lnTo>
                    <a:pt x="641" y="113"/>
                  </a:lnTo>
                  <a:lnTo>
                    <a:pt x="643" y="113"/>
                  </a:lnTo>
                  <a:lnTo>
                    <a:pt x="641" y="112"/>
                  </a:lnTo>
                  <a:lnTo>
                    <a:pt x="643" y="112"/>
                  </a:lnTo>
                  <a:lnTo>
                    <a:pt x="644" y="111"/>
                  </a:lnTo>
                  <a:lnTo>
                    <a:pt x="645" y="112"/>
                  </a:lnTo>
                  <a:lnTo>
                    <a:pt x="646" y="112"/>
                  </a:lnTo>
                  <a:lnTo>
                    <a:pt x="647" y="112"/>
                  </a:lnTo>
                  <a:lnTo>
                    <a:pt x="649" y="111"/>
                  </a:lnTo>
                  <a:lnTo>
                    <a:pt x="649" y="112"/>
                  </a:lnTo>
                  <a:lnTo>
                    <a:pt x="650" y="112"/>
                  </a:lnTo>
                  <a:lnTo>
                    <a:pt x="650" y="116"/>
                  </a:lnTo>
                  <a:lnTo>
                    <a:pt x="649" y="117"/>
                  </a:lnTo>
                  <a:lnTo>
                    <a:pt x="647" y="117"/>
                  </a:lnTo>
                  <a:lnTo>
                    <a:pt x="647" y="118"/>
                  </a:lnTo>
                  <a:lnTo>
                    <a:pt x="646" y="119"/>
                  </a:lnTo>
                  <a:lnTo>
                    <a:pt x="645" y="119"/>
                  </a:lnTo>
                  <a:lnTo>
                    <a:pt x="645" y="120"/>
                  </a:lnTo>
                  <a:lnTo>
                    <a:pt x="644" y="120"/>
                  </a:lnTo>
                  <a:lnTo>
                    <a:pt x="644" y="122"/>
                  </a:lnTo>
                  <a:lnTo>
                    <a:pt x="643" y="122"/>
                  </a:lnTo>
                  <a:lnTo>
                    <a:pt x="643" y="123"/>
                  </a:lnTo>
                  <a:lnTo>
                    <a:pt x="641" y="122"/>
                  </a:lnTo>
                  <a:lnTo>
                    <a:pt x="638" y="122"/>
                  </a:lnTo>
                  <a:lnTo>
                    <a:pt x="638" y="123"/>
                  </a:lnTo>
                  <a:lnTo>
                    <a:pt x="637" y="124"/>
                  </a:lnTo>
                  <a:lnTo>
                    <a:pt x="633" y="124"/>
                  </a:lnTo>
                  <a:lnTo>
                    <a:pt x="632" y="123"/>
                  </a:lnTo>
                  <a:lnTo>
                    <a:pt x="631" y="123"/>
                  </a:lnTo>
                  <a:lnTo>
                    <a:pt x="629" y="122"/>
                  </a:lnTo>
                  <a:lnTo>
                    <a:pt x="629" y="120"/>
                  </a:lnTo>
                  <a:lnTo>
                    <a:pt x="629" y="119"/>
                  </a:lnTo>
                  <a:lnTo>
                    <a:pt x="628" y="120"/>
                  </a:lnTo>
                  <a:lnTo>
                    <a:pt x="628" y="119"/>
                  </a:lnTo>
                  <a:lnTo>
                    <a:pt x="627" y="120"/>
                  </a:lnTo>
                  <a:lnTo>
                    <a:pt x="628" y="120"/>
                  </a:lnTo>
                  <a:lnTo>
                    <a:pt x="628" y="123"/>
                  </a:lnTo>
                  <a:lnTo>
                    <a:pt x="628" y="124"/>
                  </a:lnTo>
                  <a:lnTo>
                    <a:pt x="627" y="124"/>
                  </a:lnTo>
                  <a:lnTo>
                    <a:pt x="626" y="124"/>
                  </a:lnTo>
                  <a:lnTo>
                    <a:pt x="625" y="124"/>
                  </a:lnTo>
                  <a:lnTo>
                    <a:pt x="622" y="125"/>
                  </a:lnTo>
                  <a:lnTo>
                    <a:pt x="621" y="125"/>
                  </a:lnTo>
                  <a:lnTo>
                    <a:pt x="620" y="125"/>
                  </a:lnTo>
                  <a:lnTo>
                    <a:pt x="620" y="124"/>
                  </a:lnTo>
                  <a:lnTo>
                    <a:pt x="619" y="123"/>
                  </a:lnTo>
                  <a:lnTo>
                    <a:pt x="619" y="120"/>
                  </a:lnTo>
                  <a:lnTo>
                    <a:pt x="620" y="118"/>
                  </a:lnTo>
                  <a:lnTo>
                    <a:pt x="617" y="117"/>
                  </a:lnTo>
                  <a:lnTo>
                    <a:pt x="616" y="119"/>
                  </a:lnTo>
                  <a:lnTo>
                    <a:pt x="615" y="119"/>
                  </a:lnTo>
                  <a:lnTo>
                    <a:pt x="614" y="120"/>
                  </a:lnTo>
                  <a:lnTo>
                    <a:pt x="614" y="122"/>
                  </a:lnTo>
                  <a:lnTo>
                    <a:pt x="612" y="123"/>
                  </a:lnTo>
                  <a:lnTo>
                    <a:pt x="610" y="123"/>
                  </a:lnTo>
                  <a:lnTo>
                    <a:pt x="609" y="124"/>
                  </a:lnTo>
                  <a:lnTo>
                    <a:pt x="609" y="125"/>
                  </a:lnTo>
                  <a:lnTo>
                    <a:pt x="610" y="125"/>
                  </a:lnTo>
                  <a:lnTo>
                    <a:pt x="610" y="126"/>
                  </a:lnTo>
                  <a:lnTo>
                    <a:pt x="611" y="128"/>
                  </a:lnTo>
                  <a:lnTo>
                    <a:pt x="608" y="126"/>
                  </a:lnTo>
                  <a:lnTo>
                    <a:pt x="610" y="128"/>
                  </a:lnTo>
                  <a:lnTo>
                    <a:pt x="610" y="129"/>
                  </a:lnTo>
                  <a:lnTo>
                    <a:pt x="611" y="129"/>
                  </a:lnTo>
                  <a:lnTo>
                    <a:pt x="612" y="131"/>
                  </a:lnTo>
                  <a:lnTo>
                    <a:pt x="614" y="132"/>
                  </a:lnTo>
                  <a:lnTo>
                    <a:pt x="615" y="131"/>
                  </a:lnTo>
                  <a:lnTo>
                    <a:pt x="616" y="131"/>
                  </a:lnTo>
                  <a:lnTo>
                    <a:pt x="617" y="134"/>
                  </a:lnTo>
                  <a:lnTo>
                    <a:pt x="620" y="134"/>
                  </a:lnTo>
                  <a:lnTo>
                    <a:pt x="622" y="132"/>
                  </a:lnTo>
                  <a:lnTo>
                    <a:pt x="623" y="134"/>
                  </a:lnTo>
                  <a:lnTo>
                    <a:pt x="625" y="134"/>
                  </a:lnTo>
                  <a:lnTo>
                    <a:pt x="625" y="136"/>
                  </a:lnTo>
                  <a:lnTo>
                    <a:pt x="625" y="137"/>
                  </a:lnTo>
                  <a:lnTo>
                    <a:pt x="623" y="137"/>
                  </a:lnTo>
                  <a:lnTo>
                    <a:pt x="622" y="138"/>
                  </a:lnTo>
                  <a:lnTo>
                    <a:pt x="622" y="140"/>
                  </a:lnTo>
                  <a:lnTo>
                    <a:pt x="621" y="140"/>
                  </a:lnTo>
                  <a:lnTo>
                    <a:pt x="620" y="140"/>
                  </a:lnTo>
                  <a:lnTo>
                    <a:pt x="620" y="141"/>
                  </a:lnTo>
                  <a:lnTo>
                    <a:pt x="617" y="141"/>
                  </a:lnTo>
                  <a:lnTo>
                    <a:pt x="616" y="140"/>
                  </a:lnTo>
                  <a:lnTo>
                    <a:pt x="616" y="138"/>
                  </a:lnTo>
                  <a:lnTo>
                    <a:pt x="615" y="137"/>
                  </a:lnTo>
                  <a:lnTo>
                    <a:pt x="616" y="137"/>
                  </a:lnTo>
                  <a:lnTo>
                    <a:pt x="615" y="136"/>
                  </a:lnTo>
                  <a:lnTo>
                    <a:pt x="615" y="135"/>
                  </a:lnTo>
                  <a:lnTo>
                    <a:pt x="614" y="134"/>
                  </a:lnTo>
                  <a:lnTo>
                    <a:pt x="612" y="132"/>
                  </a:lnTo>
                  <a:lnTo>
                    <a:pt x="611" y="131"/>
                  </a:lnTo>
                  <a:lnTo>
                    <a:pt x="610" y="130"/>
                  </a:lnTo>
                  <a:lnTo>
                    <a:pt x="609" y="129"/>
                  </a:lnTo>
                  <a:lnTo>
                    <a:pt x="608" y="132"/>
                  </a:lnTo>
                  <a:lnTo>
                    <a:pt x="611" y="132"/>
                  </a:lnTo>
                  <a:lnTo>
                    <a:pt x="611" y="134"/>
                  </a:lnTo>
                  <a:lnTo>
                    <a:pt x="611" y="135"/>
                  </a:lnTo>
                  <a:lnTo>
                    <a:pt x="610" y="135"/>
                  </a:lnTo>
                  <a:lnTo>
                    <a:pt x="610" y="136"/>
                  </a:lnTo>
                  <a:lnTo>
                    <a:pt x="609" y="136"/>
                  </a:lnTo>
                  <a:lnTo>
                    <a:pt x="608" y="137"/>
                  </a:lnTo>
                  <a:lnTo>
                    <a:pt x="608" y="138"/>
                  </a:lnTo>
                  <a:lnTo>
                    <a:pt x="606" y="140"/>
                  </a:lnTo>
                  <a:lnTo>
                    <a:pt x="608" y="141"/>
                  </a:lnTo>
                  <a:lnTo>
                    <a:pt x="609" y="141"/>
                  </a:lnTo>
                  <a:lnTo>
                    <a:pt x="610" y="141"/>
                  </a:lnTo>
                  <a:lnTo>
                    <a:pt x="611" y="141"/>
                  </a:lnTo>
                  <a:lnTo>
                    <a:pt x="612" y="141"/>
                  </a:lnTo>
                  <a:lnTo>
                    <a:pt x="614" y="140"/>
                  </a:lnTo>
                  <a:lnTo>
                    <a:pt x="615" y="141"/>
                  </a:lnTo>
                  <a:lnTo>
                    <a:pt x="615" y="142"/>
                  </a:lnTo>
                  <a:lnTo>
                    <a:pt x="616" y="144"/>
                  </a:lnTo>
                  <a:lnTo>
                    <a:pt x="616" y="146"/>
                  </a:lnTo>
                  <a:lnTo>
                    <a:pt x="616" y="147"/>
                  </a:lnTo>
                  <a:lnTo>
                    <a:pt x="617" y="148"/>
                  </a:lnTo>
                  <a:lnTo>
                    <a:pt x="619" y="148"/>
                  </a:lnTo>
                  <a:lnTo>
                    <a:pt x="620" y="148"/>
                  </a:lnTo>
                  <a:lnTo>
                    <a:pt x="621" y="148"/>
                  </a:lnTo>
                  <a:lnTo>
                    <a:pt x="621" y="146"/>
                  </a:lnTo>
                  <a:lnTo>
                    <a:pt x="622" y="146"/>
                  </a:lnTo>
                  <a:lnTo>
                    <a:pt x="623" y="144"/>
                  </a:lnTo>
                  <a:lnTo>
                    <a:pt x="625" y="144"/>
                  </a:lnTo>
                  <a:lnTo>
                    <a:pt x="626" y="144"/>
                  </a:lnTo>
                  <a:lnTo>
                    <a:pt x="627" y="146"/>
                  </a:lnTo>
                  <a:lnTo>
                    <a:pt x="627" y="148"/>
                  </a:lnTo>
                  <a:lnTo>
                    <a:pt x="627" y="149"/>
                  </a:lnTo>
                  <a:lnTo>
                    <a:pt x="628" y="149"/>
                  </a:lnTo>
                  <a:lnTo>
                    <a:pt x="629" y="149"/>
                  </a:lnTo>
                  <a:lnTo>
                    <a:pt x="631" y="149"/>
                  </a:lnTo>
                  <a:lnTo>
                    <a:pt x="631" y="148"/>
                  </a:lnTo>
                  <a:lnTo>
                    <a:pt x="632" y="148"/>
                  </a:lnTo>
                  <a:lnTo>
                    <a:pt x="632" y="149"/>
                  </a:lnTo>
                  <a:lnTo>
                    <a:pt x="633" y="149"/>
                  </a:lnTo>
                  <a:lnTo>
                    <a:pt x="633" y="152"/>
                  </a:lnTo>
                  <a:lnTo>
                    <a:pt x="635" y="153"/>
                  </a:lnTo>
                  <a:lnTo>
                    <a:pt x="637" y="153"/>
                  </a:lnTo>
                  <a:lnTo>
                    <a:pt x="638" y="153"/>
                  </a:lnTo>
                  <a:lnTo>
                    <a:pt x="639" y="153"/>
                  </a:lnTo>
                  <a:lnTo>
                    <a:pt x="640" y="153"/>
                  </a:lnTo>
                  <a:lnTo>
                    <a:pt x="640" y="154"/>
                  </a:lnTo>
                  <a:lnTo>
                    <a:pt x="641" y="153"/>
                  </a:lnTo>
                  <a:lnTo>
                    <a:pt x="644" y="153"/>
                  </a:lnTo>
                  <a:lnTo>
                    <a:pt x="645" y="153"/>
                  </a:lnTo>
                  <a:lnTo>
                    <a:pt x="645" y="154"/>
                  </a:lnTo>
                  <a:lnTo>
                    <a:pt x="646" y="155"/>
                  </a:lnTo>
                  <a:lnTo>
                    <a:pt x="649" y="155"/>
                  </a:lnTo>
                  <a:lnTo>
                    <a:pt x="649" y="154"/>
                  </a:lnTo>
                  <a:lnTo>
                    <a:pt x="651" y="154"/>
                  </a:lnTo>
                  <a:lnTo>
                    <a:pt x="651" y="155"/>
                  </a:lnTo>
                  <a:lnTo>
                    <a:pt x="651" y="156"/>
                  </a:lnTo>
                  <a:lnTo>
                    <a:pt x="652" y="156"/>
                  </a:lnTo>
                  <a:lnTo>
                    <a:pt x="652" y="158"/>
                  </a:lnTo>
                  <a:lnTo>
                    <a:pt x="652" y="159"/>
                  </a:lnTo>
                  <a:lnTo>
                    <a:pt x="652" y="165"/>
                  </a:lnTo>
                  <a:lnTo>
                    <a:pt x="652" y="169"/>
                  </a:lnTo>
                  <a:lnTo>
                    <a:pt x="653" y="170"/>
                  </a:lnTo>
                  <a:lnTo>
                    <a:pt x="656" y="170"/>
                  </a:lnTo>
                  <a:lnTo>
                    <a:pt x="656" y="169"/>
                  </a:lnTo>
                  <a:lnTo>
                    <a:pt x="657" y="169"/>
                  </a:lnTo>
                  <a:lnTo>
                    <a:pt x="657" y="167"/>
                  </a:lnTo>
                  <a:lnTo>
                    <a:pt x="657" y="166"/>
                  </a:lnTo>
                  <a:lnTo>
                    <a:pt x="656" y="166"/>
                  </a:lnTo>
                  <a:lnTo>
                    <a:pt x="657" y="165"/>
                  </a:lnTo>
                  <a:lnTo>
                    <a:pt x="657" y="164"/>
                  </a:lnTo>
                  <a:lnTo>
                    <a:pt x="658" y="164"/>
                  </a:lnTo>
                  <a:lnTo>
                    <a:pt x="658" y="161"/>
                  </a:lnTo>
                  <a:lnTo>
                    <a:pt x="659" y="160"/>
                  </a:lnTo>
                  <a:lnTo>
                    <a:pt x="661" y="159"/>
                  </a:lnTo>
                  <a:lnTo>
                    <a:pt x="663" y="159"/>
                  </a:lnTo>
                  <a:lnTo>
                    <a:pt x="663" y="160"/>
                  </a:lnTo>
                  <a:lnTo>
                    <a:pt x="663" y="161"/>
                  </a:lnTo>
                  <a:lnTo>
                    <a:pt x="664" y="162"/>
                  </a:lnTo>
                  <a:lnTo>
                    <a:pt x="665" y="164"/>
                  </a:lnTo>
                  <a:lnTo>
                    <a:pt x="667" y="165"/>
                  </a:lnTo>
                  <a:lnTo>
                    <a:pt x="668" y="164"/>
                  </a:lnTo>
                  <a:lnTo>
                    <a:pt x="669" y="162"/>
                  </a:lnTo>
                  <a:lnTo>
                    <a:pt x="670" y="160"/>
                  </a:lnTo>
                  <a:lnTo>
                    <a:pt x="669" y="159"/>
                  </a:lnTo>
                  <a:lnTo>
                    <a:pt x="669" y="158"/>
                  </a:lnTo>
                  <a:lnTo>
                    <a:pt x="670" y="156"/>
                  </a:lnTo>
                  <a:lnTo>
                    <a:pt x="673" y="156"/>
                  </a:lnTo>
                  <a:lnTo>
                    <a:pt x="673" y="158"/>
                  </a:lnTo>
                  <a:lnTo>
                    <a:pt x="674" y="158"/>
                  </a:lnTo>
                  <a:lnTo>
                    <a:pt x="675" y="158"/>
                  </a:lnTo>
                  <a:lnTo>
                    <a:pt x="676" y="158"/>
                  </a:lnTo>
                  <a:lnTo>
                    <a:pt x="678" y="158"/>
                  </a:lnTo>
                  <a:lnTo>
                    <a:pt x="678" y="156"/>
                  </a:lnTo>
                  <a:lnTo>
                    <a:pt x="679" y="155"/>
                  </a:lnTo>
                  <a:lnTo>
                    <a:pt x="679" y="154"/>
                  </a:lnTo>
                  <a:lnTo>
                    <a:pt x="680" y="154"/>
                  </a:lnTo>
                  <a:lnTo>
                    <a:pt x="681" y="155"/>
                  </a:lnTo>
                  <a:lnTo>
                    <a:pt x="682" y="155"/>
                  </a:lnTo>
                  <a:lnTo>
                    <a:pt x="684" y="155"/>
                  </a:lnTo>
                  <a:lnTo>
                    <a:pt x="684" y="158"/>
                  </a:lnTo>
                  <a:lnTo>
                    <a:pt x="682" y="158"/>
                  </a:lnTo>
                  <a:lnTo>
                    <a:pt x="682" y="160"/>
                  </a:lnTo>
                  <a:lnTo>
                    <a:pt x="682" y="161"/>
                  </a:lnTo>
                  <a:lnTo>
                    <a:pt x="681" y="161"/>
                  </a:lnTo>
                  <a:lnTo>
                    <a:pt x="681" y="162"/>
                  </a:lnTo>
                  <a:lnTo>
                    <a:pt x="681" y="165"/>
                  </a:lnTo>
                  <a:lnTo>
                    <a:pt x="681" y="166"/>
                  </a:lnTo>
                  <a:lnTo>
                    <a:pt x="681" y="167"/>
                  </a:lnTo>
                  <a:lnTo>
                    <a:pt x="680" y="169"/>
                  </a:lnTo>
                  <a:lnTo>
                    <a:pt x="679" y="170"/>
                  </a:lnTo>
                  <a:lnTo>
                    <a:pt x="678" y="170"/>
                  </a:lnTo>
                  <a:lnTo>
                    <a:pt x="678" y="171"/>
                  </a:lnTo>
                  <a:lnTo>
                    <a:pt x="676" y="171"/>
                  </a:lnTo>
                  <a:lnTo>
                    <a:pt x="675" y="172"/>
                  </a:lnTo>
                  <a:lnTo>
                    <a:pt x="675" y="176"/>
                  </a:lnTo>
                  <a:lnTo>
                    <a:pt x="675" y="177"/>
                  </a:lnTo>
                  <a:lnTo>
                    <a:pt x="676" y="178"/>
                  </a:lnTo>
                  <a:lnTo>
                    <a:pt x="676" y="179"/>
                  </a:lnTo>
                  <a:lnTo>
                    <a:pt x="676" y="181"/>
                  </a:lnTo>
                  <a:lnTo>
                    <a:pt x="678" y="181"/>
                  </a:lnTo>
                  <a:lnTo>
                    <a:pt x="679" y="181"/>
                  </a:lnTo>
                  <a:lnTo>
                    <a:pt x="680" y="179"/>
                  </a:lnTo>
                  <a:lnTo>
                    <a:pt x="680" y="178"/>
                  </a:lnTo>
                  <a:lnTo>
                    <a:pt x="680" y="177"/>
                  </a:lnTo>
                  <a:lnTo>
                    <a:pt x="681" y="176"/>
                  </a:lnTo>
                  <a:lnTo>
                    <a:pt x="681" y="175"/>
                  </a:lnTo>
                  <a:lnTo>
                    <a:pt x="682" y="173"/>
                  </a:lnTo>
                  <a:lnTo>
                    <a:pt x="685" y="173"/>
                  </a:lnTo>
                  <a:lnTo>
                    <a:pt x="685" y="175"/>
                  </a:lnTo>
                  <a:lnTo>
                    <a:pt x="686" y="175"/>
                  </a:lnTo>
                  <a:lnTo>
                    <a:pt x="686" y="176"/>
                  </a:lnTo>
                  <a:lnTo>
                    <a:pt x="686" y="177"/>
                  </a:lnTo>
                  <a:lnTo>
                    <a:pt x="686" y="178"/>
                  </a:lnTo>
                  <a:lnTo>
                    <a:pt x="686" y="179"/>
                  </a:lnTo>
                  <a:lnTo>
                    <a:pt x="686" y="181"/>
                  </a:lnTo>
                  <a:lnTo>
                    <a:pt x="686" y="183"/>
                  </a:lnTo>
                  <a:lnTo>
                    <a:pt x="685" y="184"/>
                  </a:lnTo>
                  <a:lnTo>
                    <a:pt x="684" y="185"/>
                  </a:lnTo>
                  <a:lnTo>
                    <a:pt x="684" y="188"/>
                  </a:lnTo>
                  <a:lnTo>
                    <a:pt x="682" y="188"/>
                  </a:lnTo>
                  <a:lnTo>
                    <a:pt x="682" y="190"/>
                  </a:lnTo>
                  <a:lnTo>
                    <a:pt x="682" y="191"/>
                  </a:lnTo>
                  <a:lnTo>
                    <a:pt x="681" y="191"/>
                  </a:lnTo>
                  <a:lnTo>
                    <a:pt x="679" y="193"/>
                  </a:lnTo>
                  <a:lnTo>
                    <a:pt x="678" y="191"/>
                  </a:lnTo>
                  <a:lnTo>
                    <a:pt x="676" y="191"/>
                  </a:lnTo>
                  <a:lnTo>
                    <a:pt x="675" y="193"/>
                  </a:lnTo>
                  <a:lnTo>
                    <a:pt x="676" y="194"/>
                  </a:lnTo>
                  <a:lnTo>
                    <a:pt x="678" y="194"/>
                  </a:lnTo>
                  <a:lnTo>
                    <a:pt x="678" y="195"/>
                  </a:lnTo>
                  <a:lnTo>
                    <a:pt x="678" y="196"/>
                  </a:lnTo>
                  <a:lnTo>
                    <a:pt x="679" y="196"/>
                  </a:lnTo>
                  <a:lnTo>
                    <a:pt x="681" y="196"/>
                  </a:lnTo>
                  <a:lnTo>
                    <a:pt x="681" y="195"/>
                  </a:lnTo>
                  <a:lnTo>
                    <a:pt x="684" y="195"/>
                  </a:lnTo>
                  <a:lnTo>
                    <a:pt x="684" y="196"/>
                  </a:lnTo>
                  <a:lnTo>
                    <a:pt x="686" y="196"/>
                  </a:lnTo>
                  <a:lnTo>
                    <a:pt x="688" y="196"/>
                  </a:lnTo>
                  <a:lnTo>
                    <a:pt x="688" y="199"/>
                  </a:lnTo>
                  <a:lnTo>
                    <a:pt x="687" y="200"/>
                  </a:lnTo>
                  <a:lnTo>
                    <a:pt x="688" y="201"/>
                  </a:lnTo>
                  <a:lnTo>
                    <a:pt x="690" y="201"/>
                  </a:lnTo>
                  <a:lnTo>
                    <a:pt x="691" y="199"/>
                  </a:lnTo>
                  <a:lnTo>
                    <a:pt x="692" y="199"/>
                  </a:lnTo>
                  <a:lnTo>
                    <a:pt x="693" y="197"/>
                  </a:lnTo>
                  <a:lnTo>
                    <a:pt x="694" y="199"/>
                  </a:lnTo>
                  <a:lnTo>
                    <a:pt x="696" y="199"/>
                  </a:lnTo>
                  <a:lnTo>
                    <a:pt x="697" y="199"/>
                  </a:lnTo>
                  <a:lnTo>
                    <a:pt x="698" y="197"/>
                  </a:lnTo>
                  <a:lnTo>
                    <a:pt x="699" y="197"/>
                  </a:lnTo>
                  <a:lnTo>
                    <a:pt x="700" y="199"/>
                  </a:lnTo>
                  <a:lnTo>
                    <a:pt x="700" y="200"/>
                  </a:lnTo>
                  <a:lnTo>
                    <a:pt x="700" y="201"/>
                  </a:lnTo>
                  <a:lnTo>
                    <a:pt x="698" y="203"/>
                  </a:lnTo>
                  <a:lnTo>
                    <a:pt x="699" y="203"/>
                  </a:lnTo>
                  <a:lnTo>
                    <a:pt x="700" y="202"/>
                  </a:lnTo>
                  <a:lnTo>
                    <a:pt x="702" y="203"/>
                  </a:lnTo>
                  <a:lnTo>
                    <a:pt x="702" y="207"/>
                  </a:lnTo>
                  <a:lnTo>
                    <a:pt x="703" y="207"/>
                  </a:lnTo>
                  <a:lnTo>
                    <a:pt x="704" y="207"/>
                  </a:lnTo>
                  <a:lnTo>
                    <a:pt x="704" y="206"/>
                  </a:lnTo>
                  <a:lnTo>
                    <a:pt x="706" y="207"/>
                  </a:lnTo>
                  <a:lnTo>
                    <a:pt x="710" y="206"/>
                  </a:lnTo>
                  <a:lnTo>
                    <a:pt x="711" y="206"/>
                  </a:lnTo>
                  <a:lnTo>
                    <a:pt x="711" y="207"/>
                  </a:lnTo>
                  <a:lnTo>
                    <a:pt x="711" y="208"/>
                  </a:lnTo>
                  <a:lnTo>
                    <a:pt x="710" y="208"/>
                  </a:lnTo>
                  <a:lnTo>
                    <a:pt x="710" y="209"/>
                  </a:lnTo>
                  <a:lnTo>
                    <a:pt x="710" y="211"/>
                  </a:lnTo>
                  <a:lnTo>
                    <a:pt x="709" y="211"/>
                  </a:lnTo>
                  <a:lnTo>
                    <a:pt x="709" y="212"/>
                  </a:lnTo>
                  <a:lnTo>
                    <a:pt x="709" y="215"/>
                  </a:lnTo>
                  <a:lnTo>
                    <a:pt x="710" y="217"/>
                  </a:lnTo>
                  <a:lnTo>
                    <a:pt x="711" y="217"/>
                  </a:lnTo>
                  <a:lnTo>
                    <a:pt x="711" y="215"/>
                  </a:lnTo>
                  <a:lnTo>
                    <a:pt x="712" y="215"/>
                  </a:lnTo>
                  <a:lnTo>
                    <a:pt x="714" y="214"/>
                  </a:lnTo>
                  <a:lnTo>
                    <a:pt x="715" y="213"/>
                  </a:lnTo>
                  <a:lnTo>
                    <a:pt x="718" y="212"/>
                  </a:lnTo>
                  <a:lnTo>
                    <a:pt x="720" y="212"/>
                  </a:lnTo>
                  <a:lnTo>
                    <a:pt x="721" y="212"/>
                  </a:lnTo>
                  <a:lnTo>
                    <a:pt x="722" y="212"/>
                  </a:lnTo>
                  <a:lnTo>
                    <a:pt x="723" y="212"/>
                  </a:lnTo>
                  <a:lnTo>
                    <a:pt x="724" y="212"/>
                  </a:lnTo>
                  <a:lnTo>
                    <a:pt x="726" y="212"/>
                  </a:lnTo>
                  <a:lnTo>
                    <a:pt x="726" y="213"/>
                  </a:lnTo>
                  <a:lnTo>
                    <a:pt x="726" y="214"/>
                  </a:lnTo>
                  <a:lnTo>
                    <a:pt x="726" y="215"/>
                  </a:lnTo>
                  <a:lnTo>
                    <a:pt x="724" y="215"/>
                  </a:lnTo>
                  <a:lnTo>
                    <a:pt x="726" y="215"/>
                  </a:lnTo>
                  <a:lnTo>
                    <a:pt x="726" y="217"/>
                  </a:lnTo>
                  <a:lnTo>
                    <a:pt x="727" y="215"/>
                  </a:lnTo>
                  <a:lnTo>
                    <a:pt x="728" y="215"/>
                  </a:lnTo>
                  <a:lnTo>
                    <a:pt x="729" y="214"/>
                  </a:lnTo>
                  <a:lnTo>
                    <a:pt x="729" y="215"/>
                  </a:lnTo>
                  <a:lnTo>
                    <a:pt x="730" y="215"/>
                  </a:lnTo>
                  <a:lnTo>
                    <a:pt x="732" y="215"/>
                  </a:lnTo>
                  <a:lnTo>
                    <a:pt x="732" y="217"/>
                  </a:lnTo>
                  <a:lnTo>
                    <a:pt x="734" y="217"/>
                  </a:lnTo>
                  <a:lnTo>
                    <a:pt x="735" y="217"/>
                  </a:lnTo>
                  <a:lnTo>
                    <a:pt x="736" y="217"/>
                  </a:lnTo>
                  <a:lnTo>
                    <a:pt x="738" y="217"/>
                  </a:lnTo>
                  <a:lnTo>
                    <a:pt x="738" y="215"/>
                  </a:lnTo>
                  <a:lnTo>
                    <a:pt x="739" y="214"/>
                  </a:lnTo>
                  <a:lnTo>
                    <a:pt x="740" y="215"/>
                  </a:lnTo>
                  <a:lnTo>
                    <a:pt x="740" y="217"/>
                  </a:lnTo>
                  <a:lnTo>
                    <a:pt x="741" y="217"/>
                  </a:lnTo>
                  <a:lnTo>
                    <a:pt x="740" y="218"/>
                  </a:lnTo>
                  <a:lnTo>
                    <a:pt x="740" y="219"/>
                  </a:lnTo>
                  <a:lnTo>
                    <a:pt x="739" y="219"/>
                  </a:lnTo>
                  <a:lnTo>
                    <a:pt x="739" y="220"/>
                  </a:lnTo>
                  <a:lnTo>
                    <a:pt x="739" y="221"/>
                  </a:lnTo>
                  <a:lnTo>
                    <a:pt x="739" y="223"/>
                  </a:lnTo>
                  <a:lnTo>
                    <a:pt x="739" y="225"/>
                  </a:lnTo>
                  <a:lnTo>
                    <a:pt x="738" y="225"/>
                  </a:lnTo>
                  <a:lnTo>
                    <a:pt x="736" y="225"/>
                  </a:lnTo>
                  <a:lnTo>
                    <a:pt x="735" y="225"/>
                  </a:lnTo>
                  <a:lnTo>
                    <a:pt x="734" y="226"/>
                  </a:lnTo>
                  <a:lnTo>
                    <a:pt x="733" y="229"/>
                  </a:lnTo>
                  <a:lnTo>
                    <a:pt x="733" y="230"/>
                  </a:lnTo>
                  <a:lnTo>
                    <a:pt x="734" y="231"/>
                  </a:lnTo>
                  <a:lnTo>
                    <a:pt x="735" y="230"/>
                  </a:lnTo>
                  <a:lnTo>
                    <a:pt x="736" y="230"/>
                  </a:lnTo>
                  <a:lnTo>
                    <a:pt x="736" y="229"/>
                  </a:lnTo>
                  <a:lnTo>
                    <a:pt x="741" y="230"/>
                  </a:lnTo>
                  <a:lnTo>
                    <a:pt x="741" y="229"/>
                  </a:lnTo>
                  <a:lnTo>
                    <a:pt x="743" y="229"/>
                  </a:lnTo>
                  <a:lnTo>
                    <a:pt x="743" y="225"/>
                  </a:lnTo>
                  <a:lnTo>
                    <a:pt x="744" y="225"/>
                  </a:lnTo>
                  <a:lnTo>
                    <a:pt x="745" y="224"/>
                  </a:lnTo>
                  <a:lnTo>
                    <a:pt x="745" y="223"/>
                  </a:lnTo>
                  <a:lnTo>
                    <a:pt x="746" y="223"/>
                  </a:lnTo>
                  <a:lnTo>
                    <a:pt x="746" y="224"/>
                  </a:lnTo>
                  <a:lnTo>
                    <a:pt x="747" y="224"/>
                  </a:lnTo>
                  <a:lnTo>
                    <a:pt x="747" y="223"/>
                  </a:lnTo>
                  <a:lnTo>
                    <a:pt x="749" y="223"/>
                  </a:lnTo>
                  <a:lnTo>
                    <a:pt x="750" y="223"/>
                  </a:lnTo>
                  <a:lnTo>
                    <a:pt x="750" y="220"/>
                  </a:lnTo>
                  <a:lnTo>
                    <a:pt x="751" y="220"/>
                  </a:lnTo>
                  <a:lnTo>
                    <a:pt x="752" y="220"/>
                  </a:lnTo>
                  <a:lnTo>
                    <a:pt x="753" y="220"/>
                  </a:lnTo>
                  <a:lnTo>
                    <a:pt x="753" y="221"/>
                  </a:lnTo>
                  <a:lnTo>
                    <a:pt x="752" y="223"/>
                  </a:lnTo>
                  <a:lnTo>
                    <a:pt x="752" y="227"/>
                  </a:lnTo>
                  <a:lnTo>
                    <a:pt x="753" y="227"/>
                  </a:lnTo>
                  <a:lnTo>
                    <a:pt x="755" y="227"/>
                  </a:lnTo>
                  <a:lnTo>
                    <a:pt x="756" y="227"/>
                  </a:lnTo>
                  <a:lnTo>
                    <a:pt x="757" y="227"/>
                  </a:lnTo>
                  <a:lnTo>
                    <a:pt x="758" y="225"/>
                  </a:lnTo>
                  <a:lnTo>
                    <a:pt x="759" y="225"/>
                  </a:lnTo>
                  <a:lnTo>
                    <a:pt x="759" y="226"/>
                  </a:lnTo>
                  <a:lnTo>
                    <a:pt x="761" y="229"/>
                  </a:lnTo>
                  <a:lnTo>
                    <a:pt x="759" y="230"/>
                  </a:lnTo>
                  <a:lnTo>
                    <a:pt x="758" y="230"/>
                  </a:lnTo>
                  <a:lnTo>
                    <a:pt x="758" y="231"/>
                  </a:lnTo>
                  <a:lnTo>
                    <a:pt x="757" y="231"/>
                  </a:lnTo>
                  <a:lnTo>
                    <a:pt x="757" y="232"/>
                  </a:lnTo>
                  <a:lnTo>
                    <a:pt x="757" y="233"/>
                  </a:lnTo>
                  <a:lnTo>
                    <a:pt x="756" y="236"/>
                  </a:lnTo>
                  <a:lnTo>
                    <a:pt x="753" y="236"/>
                  </a:lnTo>
                  <a:lnTo>
                    <a:pt x="751" y="236"/>
                  </a:lnTo>
                  <a:lnTo>
                    <a:pt x="753" y="237"/>
                  </a:lnTo>
                  <a:lnTo>
                    <a:pt x="752" y="237"/>
                  </a:lnTo>
                  <a:lnTo>
                    <a:pt x="750" y="236"/>
                  </a:lnTo>
                  <a:lnTo>
                    <a:pt x="749" y="237"/>
                  </a:lnTo>
                  <a:lnTo>
                    <a:pt x="750" y="237"/>
                  </a:lnTo>
                  <a:lnTo>
                    <a:pt x="751" y="238"/>
                  </a:lnTo>
                  <a:lnTo>
                    <a:pt x="751" y="239"/>
                  </a:lnTo>
                  <a:lnTo>
                    <a:pt x="749" y="239"/>
                  </a:lnTo>
                  <a:lnTo>
                    <a:pt x="747" y="241"/>
                  </a:lnTo>
                  <a:lnTo>
                    <a:pt x="746" y="241"/>
                  </a:lnTo>
                  <a:lnTo>
                    <a:pt x="745" y="241"/>
                  </a:lnTo>
                  <a:lnTo>
                    <a:pt x="745" y="242"/>
                  </a:lnTo>
                  <a:lnTo>
                    <a:pt x="744" y="242"/>
                  </a:lnTo>
                  <a:lnTo>
                    <a:pt x="743" y="242"/>
                  </a:lnTo>
                  <a:lnTo>
                    <a:pt x="741" y="243"/>
                  </a:lnTo>
                  <a:lnTo>
                    <a:pt x="740" y="242"/>
                  </a:lnTo>
                  <a:lnTo>
                    <a:pt x="739" y="242"/>
                  </a:lnTo>
                  <a:lnTo>
                    <a:pt x="738" y="241"/>
                  </a:lnTo>
                  <a:lnTo>
                    <a:pt x="735" y="242"/>
                  </a:lnTo>
                  <a:lnTo>
                    <a:pt x="736" y="243"/>
                  </a:lnTo>
                  <a:lnTo>
                    <a:pt x="736" y="245"/>
                  </a:lnTo>
                  <a:lnTo>
                    <a:pt x="735" y="245"/>
                  </a:lnTo>
                  <a:lnTo>
                    <a:pt x="735" y="247"/>
                  </a:lnTo>
                  <a:lnTo>
                    <a:pt x="734" y="247"/>
                  </a:lnTo>
                  <a:lnTo>
                    <a:pt x="733" y="248"/>
                  </a:lnTo>
                  <a:lnTo>
                    <a:pt x="730" y="249"/>
                  </a:lnTo>
                  <a:lnTo>
                    <a:pt x="729" y="249"/>
                  </a:lnTo>
                  <a:lnTo>
                    <a:pt x="729" y="250"/>
                  </a:lnTo>
                  <a:lnTo>
                    <a:pt x="728" y="251"/>
                  </a:lnTo>
                  <a:lnTo>
                    <a:pt x="727" y="253"/>
                  </a:lnTo>
                  <a:lnTo>
                    <a:pt x="726" y="253"/>
                  </a:lnTo>
                  <a:lnTo>
                    <a:pt x="726" y="254"/>
                  </a:lnTo>
                  <a:lnTo>
                    <a:pt x="724" y="255"/>
                  </a:lnTo>
                  <a:lnTo>
                    <a:pt x="723" y="255"/>
                  </a:lnTo>
                  <a:lnTo>
                    <a:pt x="723" y="256"/>
                  </a:lnTo>
                  <a:lnTo>
                    <a:pt x="722" y="256"/>
                  </a:lnTo>
                  <a:lnTo>
                    <a:pt x="721" y="257"/>
                  </a:lnTo>
                  <a:lnTo>
                    <a:pt x="720" y="257"/>
                  </a:lnTo>
                  <a:lnTo>
                    <a:pt x="721" y="257"/>
                  </a:lnTo>
                  <a:lnTo>
                    <a:pt x="726" y="257"/>
                  </a:lnTo>
                  <a:lnTo>
                    <a:pt x="727" y="256"/>
                  </a:lnTo>
                  <a:lnTo>
                    <a:pt x="728" y="256"/>
                  </a:lnTo>
                  <a:lnTo>
                    <a:pt x="729" y="257"/>
                  </a:lnTo>
                  <a:lnTo>
                    <a:pt x="730" y="259"/>
                  </a:lnTo>
                  <a:lnTo>
                    <a:pt x="732" y="259"/>
                  </a:lnTo>
                  <a:lnTo>
                    <a:pt x="733" y="260"/>
                  </a:lnTo>
                  <a:lnTo>
                    <a:pt x="734" y="261"/>
                  </a:lnTo>
                  <a:lnTo>
                    <a:pt x="735" y="262"/>
                  </a:lnTo>
                  <a:lnTo>
                    <a:pt x="735" y="261"/>
                  </a:lnTo>
                  <a:lnTo>
                    <a:pt x="736" y="261"/>
                  </a:lnTo>
                  <a:lnTo>
                    <a:pt x="738" y="261"/>
                  </a:lnTo>
                  <a:lnTo>
                    <a:pt x="739" y="260"/>
                  </a:lnTo>
                  <a:lnTo>
                    <a:pt x="739" y="261"/>
                  </a:lnTo>
                  <a:lnTo>
                    <a:pt x="740" y="261"/>
                  </a:lnTo>
                  <a:lnTo>
                    <a:pt x="740" y="262"/>
                  </a:lnTo>
                  <a:lnTo>
                    <a:pt x="739" y="263"/>
                  </a:lnTo>
                  <a:lnTo>
                    <a:pt x="740" y="265"/>
                  </a:lnTo>
                  <a:lnTo>
                    <a:pt x="740" y="262"/>
                  </a:lnTo>
                  <a:lnTo>
                    <a:pt x="743" y="262"/>
                  </a:lnTo>
                  <a:lnTo>
                    <a:pt x="744" y="261"/>
                  </a:lnTo>
                  <a:lnTo>
                    <a:pt x="745" y="260"/>
                  </a:lnTo>
                  <a:lnTo>
                    <a:pt x="745" y="259"/>
                  </a:lnTo>
                  <a:lnTo>
                    <a:pt x="749" y="259"/>
                  </a:lnTo>
                  <a:lnTo>
                    <a:pt x="749" y="257"/>
                  </a:lnTo>
                  <a:lnTo>
                    <a:pt x="751" y="257"/>
                  </a:lnTo>
                  <a:lnTo>
                    <a:pt x="752" y="259"/>
                  </a:lnTo>
                  <a:lnTo>
                    <a:pt x="751" y="261"/>
                  </a:lnTo>
                  <a:lnTo>
                    <a:pt x="751" y="263"/>
                  </a:lnTo>
                  <a:lnTo>
                    <a:pt x="752" y="265"/>
                  </a:lnTo>
                  <a:lnTo>
                    <a:pt x="753" y="265"/>
                  </a:lnTo>
                  <a:lnTo>
                    <a:pt x="755" y="265"/>
                  </a:lnTo>
                  <a:lnTo>
                    <a:pt x="756" y="265"/>
                  </a:lnTo>
                  <a:lnTo>
                    <a:pt x="758" y="265"/>
                  </a:lnTo>
                  <a:lnTo>
                    <a:pt x="759" y="265"/>
                  </a:lnTo>
                  <a:lnTo>
                    <a:pt x="761" y="265"/>
                  </a:lnTo>
                  <a:lnTo>
                    <a:pt x="761" y="263"/>
                  </a:lnTo>
                  <a:lnTo>
                    <a:pt x="762" y="263"/>
                  </a:lnTo>
                  <a:lnTo>
                    <a:pt x="763" y="263"/>
                  </a:lnTo>
                  <a:lnTo>
                    <a:pt x="764" y="263"/>
                  </a:lnTo>
                  <a:lnTo>
                    <a:pt x="765" y="265"/>
                  </a:lnTo>
                  <a:lnTo>
                    <a:pt x="767" y="265"/>
                  </a:lnTo>
                  <a:lnTo>
                    <a:pt x="768" y="265"/>
                  </a:lnTo>
                  <a:lnTo>
                    <a:pt x="768" y="266"/>
                  </a:lnTo>
                  <a:lnTo>
                    <a:pt x="769" y="266"/>
                  </a:lnTo>
                  <a:lnTo>
                    <a:pt x="769" y="265"/>
                  </a:lnTo>
                  <a:lnTo>
                    <a:pt x="770" y="263"/>
                  </a:lnTo>
                  <a:lnTo>
                    <a:pt x="773" y="262"/>
                  </a:lnTo>
                  <a:lnTo>
                    <a:pt x="771" y="263"/>
                  </a:lnTo>
                  <a:lnTo>
                    <a:pt x="771" y="265"/>
                  </a:lnTo>
                  <a:lnTo>
                    <a:pt x="773" y="265"/>
                  </a:lnTo>
                  <a:lnTo>
                    <a:pt x="773" y="266"/>
                  </a:lnTo>
                  <a:lnTo>
                    <a:pt x="774" y="266"/>
                  </a:lnTo>
                  <a:lnTo>
                    <a:pt x="775" y="267"/>
                  </a:lnTo>
                  <a:lnTo>
                    <a:pt x="775" y="266"/>
                  </a:lnTo>
                  <a:lnTo>
                    <a:pt x="776" y="265"/>
                  </a:lnTo>
                  <a:lnTo>
                    <a:pt x="776" y="263"/>
                  </a:lnTo>
                  <a:lnTo>
                    <a:pt x="776" y="262"/>
                  </a:lnTo>
                  <a:lnTo>
                    <a:pt x="777" y="262"/>
                  </a:lnTo>
                  <a:lnTo>
                    <a:pt x="779" y="262"/>
                  </a:lnTo>
                  <a:lnTo>
                    <a:pt x="779" y="265"/>
                  </a:lnTo>
                  <a:lnTo>
                    <a:pt x="780" y="265"/>
                  </a:lnTo>
                  <a:lnTo>
                    <a:pt x="780" y="263"/>
                  </a:lnTo>
                  <a:lnTo>
                    <a:pt x="781" y="263"/>
                  </a:lnTo>
                  <a:lnTo>
                    <a:pt x="780" y="265"/>
                  </a:lnTo>
                  <a:lnTo>
                    <a:pt x="779" y="266"/>
                  </a:lnTo>
                  <a:lnTo>
                    <a:pt x="779" y="267"/>
                  </a:lnTo>
                  <a:lnTo>
                    <a:pt x="777" y="268"/>
                  </a:lnTo>
                  <a:lnTo>
                    <a:pt x="777" y="269"/>
                  </a:lnTo>
                  <a:lnTo>
                    <a:pt x="779" y="271"/>
                  </a:lnTo>
                  <a:lnTo>
                    <a:pt x="780" y="272"/>
                  </a:lnTo>
                  <a:lnTo>
                    <a:pt x="780" y="273"/>
                  </a:lnTo>
                  <a:lnTo>
                    <a:pt x="781" y="273"/>
                  </a:lnTo>
                  <a:lnTo>
                    <a:pt x="781" y="274"/>
                  </a:lnTo>
                  <a:lnTo>
                    <a:pt x="782" y="275"/>
                  </a:lnTo>
                  <a:lnTo>
                    <a:pt x="785" y="275"/>
                  </a:lnTo>
                  <a:lnTo>
                    <a:pt x="783" y="277"/>
                  </a:lnTo>
                  <a:lnTo>
                    <a:pt x="783" y="278"/>
                  </a:lnTo>
                  <a:lnTo>
                    <a:pt x="777" y="279"/>
                  </a:lnTo>
                  <a:lnTo>
                    <a:pt x="777" y="283"/>
                  </a:lnTo>
                  <a:lnTo>
                    <a:pt x="776" y="283"/>
                  </a:lnTo>
                  <a:lnTo>
                    <a:pt x="775" y="284"/>
                  </a:lnTo>
                  <a:lnTo>
                    <a:pt x="775" y="286"/>
                  </a:lnTo>
                  <a:lnTo>
                    <a:pt x="777" y="286"/>
                  </a:lnTo>
                  <a:lnTo>
                    <a:pt x="777" y="288"/>
                  </a:lnTo>
                  <a:lnTo>
                    <a:pt x="777" y="289"/>
                  </a:lnTo>
                  <a:lnTo>
                    <a:pt x="776" y="290"/>
                  </a:lnTo>
                  <a:lnTo>
                    <a:pt x="776" y="291"/>
                  </a:lnTo>
                  <a:lnTo>
                    <a:pt x="779" y="291"/>
                  </a:lnTo>
                  <a:lnTo>
                    <a:pt x="781" y="290"/>
                  </a:lnTo>
                  <a:lnTo>
                    <a:pt x="785" y="290"/>
                  </a:lnTo>
                  <a:lnTo>
                    <a:pt x="787" y="289"/>
                  </a:lnTo>
                  <a:lnTo>
                    <a:pt x="787" y="288"/>
                  </a:lnTo>
                  <a:lnTo>
                    <a:pt x="787" y="286"/>
                  </a:lnTo>
                  <a:lnTo>
                    <a:pt x="788" y="286"/>
                  </a:lnTo>
                  <a:lnTo>
                    <a:pt x="788" y="284"/>
                  </a:lnTo>
                  <a:lnTo>
                    <a:pt x="789" y="283"/>
                  </a:lnTo>
                  <a:lnTo>
                    <a:pt x="791" y="282"/>
                  </a:lnTo>
                  <a:lnTo>
                    <a:pt x="793" y="282"/>
                  </a:lnTo>
                  <a:lnTo>
                    <a:pt x="794" y="282"/>
                  </a:lnTo>
                  <a:lnTo>
                    <a:pt x="794" y="280"/>
                  </a:lnTo>
                  <a:lnTo>
                    <a:pt x="795" y="280"/>
                  </a:lnTo>
                  <a:lnTo>
                    <a:pt x="797" y="280"/>
                  </a:lnTo>
                  <a:lnTo>
                    <a:pt x="799" y="279"/>
                  </a:lnTo>
                  <a:lnTo>
                    <a:pt x="802" y="279"/>
                  </a:lnTo>
                  <a:lnTo>
                    <a:pt x="802" y="280"/>
                  </a:lnTo>
                  <a:lnTo>
                    <a:pt x="803" y="282"/>
                  </a:lnTo>
                  <a:lnTo>
                    <a:pt x="802" y="283"/>
                  </a:lnTo>
                  <a:lnTo>
                    <a:pt x="802" y="284"/>
                  </a:lnTo>
                  <a:lnTo>
                    <a:pt x="802" y="286"/>
                  </a:lnTo>
                  <a:lnTo>
                    <a:pt x="800" y="289"/>
                  </a:lnTo>
                  <a:lnTo>
                    <a:pt x="798" y="290"/>
                  </a:lnTo>
                  <a:lnTo>
                    <a:pt x="795" y="291"/>
                  </a:lnTo>
                  <a:lnTo>
                    <a:pt x="793" y="292"/>
                  </a:lnTo>
                  <a:lnTo>
                    <a:pt x="792" y="292"/>
                  </a:lnTo>
                  <a:lnTo>
                    <a:pt x="791" y="292"/>
                  </a:lnTo>
                  <a:lnTo>
                    <a:pt x="789" y="295"/>
                  </a:lnTo>
                  <a:lnTo>
                    <a:pt x="791" y="297"/>
                  </a:lnTo>
                  <a:lnTo>
                    <a:pt x="789" y="297"/>
                  </a:lnTo>
                  <a:lnTo>
                    <a:pt x="788" y="298"/>
                  </a:lnTo>
                  <a:lnTo>
                    <a:pt x="786" y="300"/>
                  </a:lnTo>
                  <a:lnTo>
                    <a:pt x="783" y="302"/>
                  </a:lnTo>
                  <a:lnTo>
                    <a:pt x="782" y="304"/>
                  </a:lnTo>
                  <a:lnTo>
                    <a:pt x="781" y="306"/>
                  </a:lnTo>
                  <a:lnTo>
                    <a:pt x="780" y="306"/>
                  </a:lnTo>
                  <a:lnTo>
                    <a:pt x="780" y="308"/>
                  </a:lnTo>
                  <a:lnTo>
                    <a:pt x="779" y="308"/>
                  </a:lnTo>
                  <a:lnTo>
                    <a:pt x="776" y="308"/>
                  </a:lnTo>
                  <a:lnTo>
                    <a:pt x="775" y="307"/>
                  </a:lnTo>
                  <a:lnTo>
                    <a:pt x="774" y="307"/>
                  </a:lnTo>
                  <a:lnTo>
                    <a:pt x="773" y="306"/>
                  </a:lnTo>
                  <a:lnTo>
                    <a:pt x="770" y="307"/>
                  </a:lnTo>
                  <a:lnTo>
                    <a:pt x="768" y="308"/>
                  </a:lnTo>
                  <a:lnTo>
                    <a:pt x="767" y="309"/>
                  </a:lnTo>
                  <a:lnTo>
                    <a:pt x="764" y="309"/>
                  </a:lnTo>
                  <a:lnTo>
                    <a:pt x="767" y="310"/>
                  </a:lnTo>
                  <a:lnTo>
                    <a:pt x="770" y="312"/>
                  </a:lnTo>
                  <a:lnTo>
                    <a:pt x="770" y="315"/>
                  </a:lnTo>
                  <a:lnTo>
                    <a:pt x="770" y="316"/>
                  </a:lnTo>
                  <a:lnTo>
                    <a:pt x="771" y="315"/>
                  </a:lnTo>
                  <a:lnTo>
                    <a:pt x="773" y="315"/>
                  </a:lnTo>
                  <a:lnTo>
                    <a:pt x="774" y="318"/>
                  </a:lnTo>
                  <a:lnTo>
                    <a:pt x="774" y="319"/>
                  </a:lnTo>
                  <a:lnTo>
                    <a:pt x="775" y="321"/>
                  </a:lnTo>
                  <a:lnTo>
                    <a:pt x="776" y="321"/>
                  </a:lnTo>
                  <a:lnTo>
                    <a:pt x="780" y="320"/>
                  </a:lnTo>
                  <a:lnTo>
                    <a:pt x="782" y="320"/>
                  </a:lnTo>
                  <a:lnTo>
                    <a:pt x="786" y="320"/>
                  </a:lnTo>
                  <a:lnTo>
                    <a:pt x="788" y="320"/>
                  </a:lnTo>
                  <a:lnTo>
                    <a:pt x="788" y="321"/>
                  </a:lnTo>
                  <a:lnTo>
                    <a:pt x="788" y="324"/>
                  </a:lnTo>
                  <a:lnTo>
                    <a:pt x="786" y="325"/>
                  </a:lnTo>
                  <a:lnTo>
                    <a:pt x="786" y="327"/>
                  </a:lnTo>
                  <a:lnTo>
                    <a:pt x="787" y="326"/>
                  </a:lnTo>
                  <a:lnTo>
                    <a:pt x="788" y="326"/>
                  </a:lnTo>
                  <a:lnTo>
                    <a:pt x="788" y="327"/>
                  </a:lnTo>
                  <a:lnTo>
                    <a:pt x="789" y="327"/>
                  </a:lnTo>
                  <a:lnTo>
                    <a:pt x="789" y="328"/>
                  </a:lnTo>
                  <a:lnTo>
                    <a:pt x="787" y="332"/>
                  </a:lnTo>
                  <a:lnTo>
                    <a:pt x="785" y="334"/>
                  </a:lnTo>
                  <a:lnTo>
                    <a:pt x="783" y="336"/>
                  </a:lnTo>
                  <a:lnTo>
                    <a:pt x="782" y="337"/>
                  </a:lnTo>
                  <a:lnTo>
                    <a:pt x="786" y="339"/>
                  </a:lnTo>
                  <a:lnTo>
                    <a:pt x="786" y="340"/>
                  </a:lnTo>
                  <a:lnTo>
                    <a:pt x="786" y="342"/>
                  </a:lnTo>
                  <a:lnTo>
                    <a:pt x="785" y="342"/>
                  </a:lnTo>
                  <a:lnTo>
                    <a:pt x="785" y="343"/>
                  </a:lnTo>
                  <a:lnTo>
                    <a:pt x="786" y="344"/>
                  </a:lnTo>
                  <a:lnTo>
                    <a:pt x="786" y="345"/>
                  </a:lnTo>
                  <a:lnTo>
                    <a:pt x="787" y="348"/>
                  </a:lnTo>
                  <a:lnTo>
                    <a:pt x="786" y="348"/>
                  </a:lnTo>
                  <a:lnTo>
                    <a:pt x="785" y="349"/>
                  </a:lnTo>
                  <a:lnTo>
                    <a:pt x="785" y="350"/>
                  </a:lnTo>
                  <a:lnTo>
                    <a:pt x="787" y="349"/>
                  </a:lnTo>
                  <a:lnTo>
                    <a:pt x="788" y="349"/>
                  </a:lnTo>
                  <a:lnTo>
                    <a:pt x="789" y="349"/>
                  </a:lnTo>
                  <a:lnTo>
                    <a:pt x="789" y="351"/>
                  </a:lnTo>
                  <a:lnTo>
                    <a:pt x="791" y="355"/>
                  </a:lnTo>
                  <a:lnTo>
                    <a:pt x="795" y="355"/>
                  </a:lnTo>
                  <a:lnTo>
                    <a:pt x="797" y="355"/>
                  </a:lnTo>
                  <a:lnTo>
                    <a:pt x="798" y="354"/>
                  </a:lnTo>
                  <a:lnTo>
                    <a:pt x="800" y="354"/>
                  </a:lnTo>
                  <a:lnTo>
                    <a:pt x="803" y="354"/>
                  </a:lnTo>
                  <a:lnTo>
                    <a:pt x="805" y="352"/>
                  </a:lnTo>
                  <a:lnTo>
                    <a:pt x="805" y="355"/>
                  </a:lnTo>
                  <a:lnTo>
                    <a:pt x="808" y="355"/>
                  </a:lnTo>
                  <a:lnTo>
                    <a:pt x="811" y="356"/>
                  </a:lnTo>
                  <a:lnTo>
                    <a:pt x="812" y="357"/>
                  </a:lnTo>
                  <a:lnTo>
                    <a:pt x="816" y="357"/>
                  </a:lnTo>
                  <a:lnTo>
                    <a:pt x="818" y="357"/>
                  </a:lnTo>
                  <a:lnTo>
                    <a:pt x="820" y="358"/>
                  </a:lnTo>
                  <a:lnTo>
                    <a:pt x="823" y="357"/>
                  </a:lnTo>
                  <a:lnTo>
                    <a:pt x="826" y="356"/>
                  </a:lnTo>
                  <a:lnTo>
                    <a:pt x="826" y="358"/>
                  </a:lnTo>
                  <a:lnTo>
                    <a:pt x="823" y="361"/>
                  </a:lnTo>
                  <a:lnTo>
                    <a:pt x="822" y="364"/>
                  </a:lnTo>
                  <a:lnTo>
                    <a:pt x="821" y="368"/>
                  </a:lnTo>
                  <a:lnTo>
                    <a:pt x="824" y="368"/>
                  </a:lnTo>
                  <a:lnTo>
                    <a:pt x="828" y="368"/>
                  </a:lnTo>
                  <a:lnTo>
                    <a:pt x="828" y="367"/>
                  </a:lnTo>
                  <a:lnTo>
                    <a:pt x="833" y="368"/>
                  </a:lnTo>
                  <a:lnTo>
                    <a:pt x="833" y="370"/>
                  </a:lnTo>
                  <a:lnTo>
                    <a:pt x="834" y="369"/>
                  </a:lnTo>
                  <a:lnTo>
                    <a:pt x="836" y="369"/>
                  </a:lnTo>
                  <a:lnTo>
                    <a:pt x="838" y="369"/>
                  </a:lnTo>
                  <a:lnTo>
                    <a:pt x="839" y="369"/>
                  </a:lnTo>
                  <a:lnTo>
                    <a:pt x="840" y="368"/>
                  </a:lnTo>
                  <a:lnTo>
                    <a:pt x="842" y="368"/>
                  </a:lnTo>
                  <a:lnTo>
                    <a:pt x="844" y="368"/>
                  </a:lnTo>
                  <a:lnTo>
                    <a:pt x="845" y="369"/>
                  </a:lnTo>
                  <a:lnTo>
                    <a:pt x="845" y="372"/>
                  </a:lnTo>
                  <a:lnTo>
                    <a:pt x="844" y="373"/>
                  </a:lnTo>
                  <a:lnTo>
                    <a:pt x="842" y="374"/>
                  </a:lnTo>
                  <a:lnTo>
                    <a:pt x="841" y="374"/>
                  </a:lnTo>
                  <a:lnTo>
                    <a:pt x="840" y="375"/>
                  </a:lnTo>
                  <a:lnTo>
                    <a:pt x="840" y="376"/>
                  </a:lnTo>
                  <a:lnTo>
                    <a:pt x="839" y="378"/>
                  </a:lnTo>
                  <a:lnTo>
                    <a:pt x="836" y="379"/>
                  </a:lnTo>
                  <a:lnTo>
                    <a:pt x="836" y="380"/>
                  </a:lnTo>
                  <a:lnTo>
                    <a:pt x="835" y="380"/>
                  </a:lnTo>
                  <a:lnTo>
                    <a:pt x="834" y="380"/>
                  </a:lnTo>
                  <a:lnTo>
                    <a:pt x="833" y="381"/>
                  </a:lnTo>
                  <a:lnTo>
                    <a:pt x="832" y="381"/>
                  </a:lnTo>
                  <a:lnTo>
                    <a:pt x="829" y="384"/>
                  </a:lnTo>
                  <a:lnTo>
                    <a:pt x="827" y="386"/>
                  </a:lnTo>
                  <a:lnTo>
                    <a:pt x="823" y="389"/>
                  </a:lnTo>
                  <a:lnTo>
                    <a:pt x="822" y="389"/>
                  </a:lnTo>
                  <a:lnTo>
                    <a:pt x="821" y="389"/>
                  </a:lnTo>
                  <a:lnTo>
                    <a:pt x="818" y="387"/>
                  </a:lnTo>
                  <a:lnTo>
                    <a:pt x="816" y="389"/>
                  </a:lnTo>
                  <a:lnTo>
                    <a:pt x="815" y="389"/>
                  </a:lnTo>
                  <a:lnTo>
                    <a:pt x="814" y="389"/>
                  </a:lnTo>
                  <a:lnTo>
                    <a:pt x="810" y="389"/>
                  </a:lnTo>
                  <a:lnTo>
                    <a:pt x="808" y="389"/>
                  </a:lnTo>
                  <a:lnTo>
                    <a:pt x="805" y="389"/>
                  </a:lnTo>
                  <a:lnTo>
                    <a:pt x="805" y="387"/>
                  </a:lnTo>
                  <a:lnTo>
                    <a:pt x="804" y="385"/>
                  </a:lnTo>
                  <a:lnTo>
                    <a:pt x="803" y="385"/>
                  </a:lnTo>
                  <a:lnTo>
                    <a:pt x="802" y="384"/>
                  </a:lnTo>
                  <a:lnTo>
                    <a:pt x="800" y="384"/>
                  </a:lnTo>
                  <a:lnTo>
                    <a:pt x="799" y="382"/>
                  </a:lnTo>
                  <a:lnTo>
                    <a:pt x="798" y="381"/>
                  </a:lnTo>
                  <a:lnTo>
                    <a:pt x="797" y="378"/>
                  </a:lnTo>
                  <a:lnTo>
                    <a:pt x="797" y="376"/>
                  </a:lnTo>
                  <a:lnTo>
                    <a:pt x="794" y="376"/>
                  </a:lnTo>
                  <a:lnTo>
                    <a:pt x="793" y="376"/>
                  </a:lnTo>
                  <a:lnTo>
                    <a:pt x="792" y="378"/>
                  </a:lnTo>
                  <a:lnTo>
                    <a:pt x="792" y="379"/>
                  </a:lnTo>
                  <a:lnTo>
                    <a:pt x="794" y="380"/>
                  </a:lnTo>
                  <a:lnTo>
                    <a:pt x="795" y="381"/>
                  </a:lnTo>
                  <a:lnTo>
                    <a:pt x="798" y="384"/>
                  </a:lnTo>
                  <a:lnTo>
                    <a:pt x="798" y="386"/>
                  </a:lnTo>
                  <a:lnTo>
                    <a:pt x="797" y="386"/>
                  </a:lnTo>
                  <a:lnTo>
                    <a:pt x="797" y="387"/>
                  </a:lnTo>
                  <a:lnTo>
                    <a:pt x="794" y="390"/>
                  </a:lnTo>
                  <a:lnTo>
                    <a:pt x="792" y="392"/>
                  </a:lnTo>
                  <a:lnTo>
                    <a:pt x="792" y="391"/>
                  </a:lnTo>
                  <a:lnTo>
                    <a:pt x="791" y="391"/>
                  </a:lnTo>
                  <a:lnTo>
                    <a:pt x="788" y="391"/>
                  </a:lnTo>
                  <a:lnTo>
                    <a:pt x="788" y="390"/>
                  </a:lnTo>
                  <a:lnTo>
                    <a:pt x="787" y="390"/>
                  </a:lnTo>
                  <a:lnTo>
                    <a:pt x="787" y="387"/>
                  </a:lnTo>
                  <a:lnTo>
                    <a:pt x="785" y="387"/>
                  </a:lnTo>
                  <a:lnTo>
                    <a:pt x="786" y="386"/>
                  </a:lnTo>
                  <a:lnTo>
                    <a:pt x="785" y="384"/>
                  </a:lnTo>
                  <a:lnTo>
                    <a:pt x="783" y="384"/>
                  </a:lnTo>
                  <a:lnTo>
                    <a:pt x="782" y="384"/>
                  </a:lnTo>
                  <a:lnTo>
                    <a:pt x="782" y="382"/>
                  </a:lnTo>
                  <a:lnTo>
                    <a:pt x="781" y="382"/>
                  </a:lnTo>
                  <a:lnTo>
                    <a:pt x="781" y="381"/>
                  </a:lnTo>
                  <a:lnTo>
                    <a:pt x="779" y="381"/>
                  </a:lnTo>
                  <a:lnTo>
                    <a:pt x="777" y="382"/>
                  </a:lnTo>
                  <a:lnTo>
                    <a:pt x="776" y="381"/>
                  </a:lnTo>
                  <a:lnTo>
                    <a:pt x="774" y="380"/>
                  </a:lnTo>
                  <a:lnTo>
                    <a:pt x="774" y="379"/>
                  </a:lnTo>
                  <a:lnTo>
                    <a:pt x="773" y="379"/>
                  </a:lnTo>
                  <a:lnTo>
                    <a:pt x="770" y="378"/>
                  </a:lnTo>
                  <a:lnTo>
                    <a:pt x="767" y="376"/>
                  </a:lnTo>
                  <a:lnTo>
                    <a:pt x="765" y="376"/>
                  </a:lnTo>
                  <a:lnTo>
                    <a:pt x="765" y="378"/>
                  </a:lnTo>
                  <a:lnTo>
                    <a:pt x="763" y="380"/>
                  </a:lnTo>
                  <a:lnTo>
                    <a:pt x="762" y="379"/>
                  </a:lnTo>
                  <a:lnTo>
                    <a:pt x="761" y="379"/>
                  </a:lnTo>
                  <a:lnTo>
                    <a:pt x="759" y="380"/>
                  </a:lnTo>
                  <a:lnTo>
                    <a:pt x="758" y="381"/>
                  </a:lnTo>
                  <a:lnTo>
                    <a:pt x="757" y="382"/>
                  </a:lnTo>
                  <a:lnTo>
                    <a:pt x="756" y="382"/>
                  </a:lnTo>
                  <a:lnTo>
                    <a:pt x="755" y="382"/>
                  </a:lnTo>
                  <a:lnTo>
                    <a:pt x="753" y="381"/>
                  </a:lnTo>
                  <a:lnTo>
                    <a:pt x="752" y="378"/>
                  </a:lnTo>
                  <a:lnTo>
                    <a:pt x="750" y="380"/>
                  </a:lnTo>
                  <a:lnTo>
                    <a:pt x="749" y="381"/>
                  </a:lnTo>
                  <a:lnTo>
                    <a:pt x="746" y="382"/>
                  </a:lnTo>
                  <a:lnTo>
                    <a:pt x="744" y="384"/>
                  </a:lnTo>
                  <a:lnTo>
                    <a:pt x="741" y="385"/>
                  </a:lnTo>
                  <a:lnTo>
                    <a:pt x="740" y="386"/>
                  </a:lnTo>
                  <a:lnTo>
                    <a:pt x="739" y="386"/>
                  </a:lnTo>
                  <a:lnTo>
                    <a:pt x="736" y="386"/>
                  </a:lnTo>
                  <a:lnTo>
                    <a:pt x="736" y="385"/>
                  </a:lnTo>
                  <a:lnTo>
                    <a:pt x="735" y="384"/>
                  </a:lnTo>
                  <a:lnTo>
                    <a:pt x="735" y="381"/>
                  </a:lnTo>
                  <a:lnTo>
                    <a:pt x="735" y="379"/>
                  </a:lnTo>
                  <a:lnTo>
                    <a:pt x="734" y="378"/>
                  </a:lnTo>
                  <a:lnTo>
                    <a:pt x="732" y="378"/>
                  </a:lnTo>
                  <a:lnTo>
                    <a:pt x="729" y="379"/>
                  </a:lnTo>
                  <a:lnTo>
                    <a:pt x="728" y="379"/>
                  </a:lnTo>
                  <a:lnTo>
                    <a:pt x="726" y="379"/>
                  </a:lnTo>
                  <a:lnTo>
                    <a:pt x="724" y="380"/>
                  </a:lnTo>
                  <a:lnTo>
                    <a:pt x="724" y="381"/>
                  </a:lnTo>
                  <a:lnTo>
                    <a:pt x="724" y="382"/>
                  </a:lnTo>
                  <a:lnTo>
                    <a:pt x="724" y="384"/>
                  </a:lnTo>
                  <a:lnTo>
                    <a:pt x="724" y="385"/>
                  </a:lnTo>
                  <a:lnTo>
                    <a:pt x="723" y="386"/>
                  </a:lnTo>
                  <a:lnTo>
                    <a:pt x="724" y="386"/>
                  </a:lnTo>
                  <a:lnTo>
                    <a:pt x="726" y="386"/>
                  </a:lnTo>
                  <a:lnTo>
                    <a:pt x="726" y="385"/>
                  </a:lnTo>
                  <a:lnTo>
                    <a:pt x="728" y="384"/>
                  </a:lnTo>
                  <a:lnTo>
                    <a:pt x="728" y="385"/>
                  </a:lnTo>
                  <a:lnTo>
                    <a:pt x="728" y="387"/>
                  </a:lnTo>
                  <a:lnTo>
                    <a:pt x="728" y="390"/>
                  </a:lnTo>
                  <a:lnTo>
                    <a:pt x="729" y="386"/>
                  </a:lnTo>
                  <a:lnTo>
                    <a:pt x="729" y="390"/>
                  </a:lnTo>
                  <a:lnTo>
                    <a:pt x="729" y="393"/>
                  </a:lnTo>
                  <a:lnTo>
                    <a:pt x="730" y="395"/>
                  </a:lnTo>
                  <a:lnTo>
                    <a:pt x="730" y="396"/>
                  </a:lnTo>
                  <a:lnTo>
                    <a:pt x="732" y="396"/>
                  </a:lnTo>
                  <a:lnTo>
                    <a:pt x="733" y="395"/>
                  </a:lnTo>
                  <a:lnTo>
                    <a:pt x="734" y="397"/>
                  </a:lnTo>
                  <a:lnTo>
                    <a:pt x="730" y="397"/>
                  </a:lnTo>
                  <a:lnTo>
                    <a:pt x="730" y="401"/>
                  </a:lnTo>
                  <a:lnTo>
                    <a:pt x="732" y="399"/>
                  </a:lnTo>
                  <a:lnTo>
                    <a:pt x="733" y="401"/>
                  </a:lnTo>
                  <a:lnTo>
                    <a:pt x="734" y="401"/>
                  </a:lnTo>
                  <a:lnTo>
                    <a:pt x="734" y="399"/>
                  </a:lnTo>
                  <a:lnTo>
                    <a:pt x="738" y="399"/>
                  </a:lnTo>
                  <a:lnTo>
                    <a:pt x="738" y="401"/>
                  </a:lnTo>
                  <a:lnTo>
                    <a:pt x="740" y="401"/>
                  </a:lnTo>
                  <a:lnTo>
                    <a:pt x="741" y="401"/>
                  </a:lnTo>
                  <a:lnTo>
                    <a:pt x="741" y="402"/>
                  </a:lnTo>
                  <a:lnTo>
                    <a:pt x="743" y="402"/>
                  </a:lnTo>
                  <a:lnTo>
                    <a:pt x="744" y="403"/>
                  </a:lnTo>
                  <a:lnTo>
                    <a:pt x="745" y="404"/>
                  </a:lnTo>
                  <a:lnTo>
                    <a:pt x="746" y="407"/>
                  </a:lnTo>
                  <a:lnTo>
                    <a:pt x="746" y="408"/>
                  </a:lnTo>
                  <a:lnTo>
                    <a:pt x="747" y="409"/>
                  </a:lnTo>
                  <a:lnTo>
                    <a:pt x="747" y="410"/>
                  </a:lnTo>
                  <a:lnTo>
                    <a:pt x="749" y="410"/>
                  </a:lnTo>
                  <a:lnTo>
                    <a:pt x="750" y="413"/>
                  </a:lnTo>
                  <a:lnTo>
                    <a:pt x="753" y="414"/>
                  </a:lnTo>
                  <a:lnTo>
                    <a:pt x="756" y="417"/>
                  </a:lnTo>
                  <a:lnTo>
                    <a:pt x="758" y="419"/>
                  </a:lnTo>
                  <a:lnTo>
                    <a:pt x="759" y="420"/>
                  </a:lnTo>
                  <a:lnTo>
                    <a:pt x="761" y="421"/>
                  </a:lnTo>
                  <a:lnTo>
                    <a:pt x="762" y="422"/>
                  </a:lnTo>
                  <a:lnTo>
                    <a:pt x="763" y="423"/>
                  </a:lnTo>
                  <a:lnTo>
                    <a:pt x="764" y="422"/>
                  </a:lnTo>
                  <a:lnTo>
                    <a:pt x="768" y="422"/>
                  </a:lnTo>
                  <a:lnTo>
                    <a:pt x="769" y="422"/>
                  </a:lnTo>
                  <a:lnTo>
                    <a:pt x="769" y="423"/>
                  </a:lnTo>
                  <a:lnTo>
                    <a:pt x="770" y="423"/>
                  </a:lnTo>
                  <a:lnTo>
                    <a:pt x="771" y="425"/>
                  </a:lnTo>
                  <a:lnTo>
                    <a:pt x="773" y="425"/>
                  </a:lnTo>
                  <a:lnTo>
                    <a:pt x="773" y="426"/>
                  </a:lnTo>
                  <a:lnTo>
                    <a:pt x="774" y="427"/>
                  </a:lnTo>
                  <a:lnTo>
                    <a:pt x="777" y="428"/>
                  </a:lnTo>
                  <a:lnTo>
                    <a:pt x="779" y="428"/>
                  </a:lnTo>
                  <a:lnTo>
                    <a:pt x="781" y="428"/>
                  </a:lnTo>
                  <a:lnTo>
                    <a:pt x="781" y="429"/>
                  </a:lnTo>
                  <a:lnTo>
                    <a:pt x="782" y="431"/>
                  </a:lnTo>
                  <a:lnTo>
                    <a:pt x="782" y="432"/>
                  </a:lnTo>
                  <a:lnTo>
                    <a:pt x="785" y="433"/>
                  </a:lnTo>
                  <a:lnTo>
                    <a:pt x="787" y="433"/>
                  </a:lnTo>
                  <a:lnTo>
                    <a:pt x="787" y="435"/>
                  </a:lnTo>
                  <a:lnTo>
                    <a:pt x="785" y="435"/>
                  </a:lnTo>
                  <a:lnTo>
                    <a:pt x="785" y="437"/>
                  </a:lnTo>
                  <a:lnTo>
                    <a:pt x="785" y="438"/>
                  </a:lnTo>
                  <a:lnTo>
                    <a:pt x="787" y="439"/>
                  </a:lnTo>
                  <a:lnTo>
                    <a:pt x="787" y="441"/>
                  </a:lnTo>
                  <a:lnTo>
                    <a:pt x="788" y="443"/>
                  </a:lnTo>
                  <a:lnTo>
                    <a:pt x="788" y="444"/>
                  </a:lnTo>
                  <a:lnTo>
                    <a:pt x="791" y="444"/>
                  </a:lnTo>
                  <a:lnTo>
                    <a:pt x="792" y="445"/>
                  </a:lnTo>
                  <a:lnTo>
                    <a:pt x="793" y="446"/>
                  </a:lnTo>
                  <a:lnTo>
                    <a:pt x="794" y="446"/>
                  </a:lnTo>
                  <a:lnTo>
                    <a:pt x="798" y="445"/>
                  </a:lnTo>
                  <a:lnTo>
                    <a:pt x="803" y="444"/>
                  </a:lnTo>
                  <a:lnTo>
                    <a:pt x="803" y="449"/>
                  </a:lnTo>
                  <a:lnTo>
                    <a:pt x="804" y="449"/>
                  </a:lnTo>
                  <a:lnTo>
                    <a:pt x="809" y="449"/>
                  </a:lnTo>
                  <a:lnTo>
                    <a:pt x="812" y="449"/>
                  </a:lnTo>
                  <a:lnTo>
                    <a:pt x="814" y="447"/>
                  </a:lnTo>
                  <a:lnTo>
                    <a:pt x="815" y="447"/>
                  </a:lnTo>
                  <a:lnTo>
                    <a:pt x="815" y="450"/>
                  </a:lnTo>
                  <a:lnTo>
                    <a:pt x="817" y="451"/>
                  </a:lnTo>
                  <a:lnTo>
                    <a:pt x="818" y="450"/>
                  </a:lnTo>
                  <a:lnTo>
                    <a:pt x="820" y="450"/>
                  </a:lnTo>
                  <a:lnTo>
                    <a:pt x="821" y="451"/>
                  </a:lnTo>
                  <a:lnTo>
                    <a:pt x="821" y="452"/>
                  </a:lnTo>
                  <a:lnTo>
                    <a:pt x="818" y="456"/>
                  </a:lnTo>
                  <a:lnTo>
                    <a:pt x="816" y="457"/>
                  </a:lnTo>
                  <a:lnTo>
                    <a:pt x="815" y="458"/>
                  </a:lnTo>
                  <a:lnTo>
                    <a:pt x="814" y="459"/>
                  </a:lnTo>
                  <a:lnTo>
                    <a:pt x="815" y="459"/>
                  </a:lnTo>
                  <a:lnTo>
                    <a:pt x="816" y="459"/>
                  </a:lnTo>
                  <a:lnTo>
                    <a:pt x="817" y="461"/>
                  </a:lnTo>
                  <a:lnTo>
                    <a:pt x="818" y="461"/>
                  </a:lnTo>
                  <a:lnTo>
                    <a:pt x="821" y="462"/>
                  </a:lnTo>
                  <a:lnTo>
                    <a:pt x="822" y="463"/>
                  </a:lnTo>
                  <a:lnTo>
                    <a:pt x="824" y="463"/>
                  </a:lnTo>
                  <a:lnTo>
                    <a:pt x="826" y="463"/>
                  </a:lnTo>
                  <a:lnTo>
                    <a:pt x="827" y="463"/>
                  </a:lnTo>
                  <a:lnTo>
                    <a:pt x="828" y="464"/>
                  </a:lnTo>
                  <a:lnTo>
                    <a:pt x="828" y="465"/>
                  </a:lnTo>
                  <a:lnTo>
                    <a:pt x="827" y="465"/>
                  </a:lnTo>
                  <a:lnTo>
                    <a:pt x="826" y="467"/>
                  </a:lnTo>
                  <a:lnTo>
                    <a:pt x="826" y="468"/>
                  </a:lnTo>
                  <a:lnTo>
                    <a:pt x="827" y="469"/>
                  </a:lnTo>
                  <a:lnTo>
                    <a:pt x="829" y="469"/>
                  </a:lnTo>
                  <a:lnTo>
                    <a:pt x="833" y="471"/>
                  </a:lnTo>
                  <a:lnTo>
                    <a:pt x="834" y="471"/>
                  </a:lnTo>
                  <a:lnTo>
                    <a:pt x="836" y="471"/>
                  </a:lnTo>
                  <a:lnTo>
                    <a:pt x="838" y="471"/>
                  </a:lnTo>
                  <a:lnTo>
                    <a:pt x="839" y="471"/>
                  </a:lnTo>
                  <a:lnTo>
                    <a:pt x="841" y="473"/>
                  </a:lnTo>
                  <a:lnTo>
                    <a:pt x="842" y="471"/>
                  </a:lnTo>
                  <a:lnTo>
                    <a:pt x="846" y="471"/>
                  </a:lnTo>
                  <a:lnTo>
                    <a:pt x="846" y="473"/>
                  </a:lnTo>
                  <a:lnTo>
                    <a:pt x="845" y="475"/>
                  </a:lnTo>
                  <a:lnTo>
                    <a:pt x="842" y="477"/>
                  </a:lnTo>
                  <a:lnTo>
                    <a:pt x="841" y="480"/>
                  </a:lnTo>
                  <a:lnTo>
                    <a:pt x="840" y="481"/>
                  </a:lnTo>
                  <a:lnTo>
                    <a:pt x="838" y="482"/>
                  </a:lnTo>
                  <a:lnTo>
                    <a:pt x="834" y="482"/>
                  </a:lnTo>
                  <a:lnTo>
                    <a:pt x="832" y="485"/>
                  </a:lnTo>
                  <a:lnTo>
                    <a:pt x="836" y="486"/>
                  </a:lnTo>
                  <a:lnTo>
                    <a:pt x="839" y="485"/>
                  </a:lnTo>
                  <a:lnTo>
                    <a:pt x="840" y="485"/>
                  </a:lnTo>
                  <a:lnTo>
                    <a:pt x="841" y="486"/>
                  </a:lnTo>
                  <a:lnTo>
                    <a:pt x="841" y="488"/>
                  </a:lnTo>
                  <a:lnTo>
                    <a:pt x="842" y="489"/>
                  </a:lnTo>
                  <a:lnTo>
                    <a:pt x="844" y="491"/>
                  </a:lnTo>
                  <a:lnTo>
                    <a:pt x="845" y="493"/>
                  </a:lnTo>
                  <a:lnTo>
                    <a:pt x="844" y="494"/>
                  </a:lnTo>
                  <a:lnTo>
                    <a:pt x="842" y="494"/>
                  </a:lnTo>
                  <a:lnTo>
                    <a:pt x="841" y="497"/>
                  </a:lnTo>
                  <a:lnTo>
                    <a:pt x="839" y="499"/>
                  </a:lnTo>
                  <a:lnTo>
                    <a:pt x="840" y="500"/>
                  </a:lnTo>
                  <a:lnTo>
                    <a:pt x="839" y="503"/>
                  </a:lnTo>
                  <a:lnTo>
                    <a:pt x="840" y="504"/>
                  </a:lnTo>
                  <a:lnTo>
                    <a:pt x="840" y="506"/>
                  </a:lnTo>
                  <a:lnTo>
                    <a:pt x="840" y="508"/>
                  </a:lnTo>
                  <a:lnTo>
                    <a:pt x="841" y="509"/>
                  </a:lnTo>
                  <a:lnTo>
                    <a:pt x="842" y="509"/>
                  </a:lnTo>
                  <a:lnTo>
                    <a:pt x="842" y="510"/>
                  </a:lnTo>
                  <a:lnTo>
                    <a:pt x="844" y="511"/>
                  </a:lnTo>
                  <a:lnTo>
                    <a:pt x="844" y="514"/>
                  </a:lnTo>
                  <a:lnTo>
                    <a:pt x="841" y="514"/>
                  </a:lnTo>
                  <a:lnTo>
                    <a:pt x="840" y="515"/>
                  </a:lnTo>
                  <a:lnTo>
                    <a:pt x="838" y="515"/>
                  </a:lnTo>
                  <a:lnTo>
                    <a:pt x="836" y="515"/>
                  </a:lnTo>
                  <a:lnTo>
                    <a:pt x="836" y="516"/>
                  </a:lnTo>
                  <a:lnTo>
                    <a:pt x="834" y="517"/>
                  </a:lnTo>
                  <a:lnTo>
                    <a:pt x="834" y="518"/>
                  </a:lnTo>
                  <a:lnTo>
                    <a:pt x="835" y="520"/>
                  </a:lnTo>
                  <a:lnTo>
                    <a:pt x="838" y="522"/>
                  </a:lnTo>
                  <a:lnTo>
                    <a:pt x="840" y="523"/>
                  </a:lnTo>
                  <a:lnTo>
                    <a:pt x="841" y="526"/>
                  </a:lnTo>
                  <a:lnTo>
                    <a:pt x="841" y="524"/>
                  </a:lnTo>
                  <a:lnTo>
                    <a:pt x="842" y="523"/>
                  </a:lnTo>
                  <a:lnTo>
                    <a:pt x="844" y="524"/>
                  </a:lnTo>
                  <a:lnTo>
                    <a:pt x="845" y="526"/>
                  </a:lnTo>
                  <a:lnTo>
                    <a:pt x="847" y="526"/>
                  </a:lnTo>
                  <a:lnTo>
                    <a:pt x="848" y="526"/>
                  </a:lnTo>
                  <a:lnTo>
                    <a:pt x="848" y="527"/>
                  </a:lnTo>
                  <a:lnTo>
                    <a:pt x="847" y="527"/>
                  </a:lnTo>
                  <a:lnTo>
                    <a:pt x="845" y="529"/>
                  </a:lnTo>
                  <a:lnTo>
                    <a:pt x="842" y="530"/>
                  </a:lnTo>
                  <a:lnTo>
                    <a:pt x="839" y="530"/>
                  </a:lnTo>
                  <a:lnTo>
                    <a:pt x="836" y="532"/>
                  </a:lnTo>
                  <a:lnTo>
                    <a:pt x="835" y="532"/>
                  </a:lnTo>
                  <a:lnTo>
                    <a:pt x="835" y="530"/>
                  </a:lnTo>
                  <a:lnTo>
                    <a:pt x="835" y="529"/>
                  </a:lnTo>
                  <a:lnTo>
                    <a:pt x="832" y="530"/>
                  </a:lnTo>
                  <a:lnTo>
                    <a:pt x="832" y="529"/>
                  </a:lnTo>
                  <a:lnTo>
                    <a:pt x="830" y="529"/>
                  </a:lnTo>
                  <a:lnTo>
                    <a:pt x="830" y="527"/>
                  </a:lnTo>
                  <a:lnTo>
                    <a:pt x="829" y="526"/>
                  </a:lnTo>
                  <a:lnTo>
                    <a:pt x="827" y="526"/>
                  </a:lnTo>
                  <a:lnTo>
                    <a:pt x="824" y="526"/>
                  </a:lnTo>
                  <a:lnTo>
                    <a:pt x="822" y="526"/>
                  </a:lnTo>
                  <a:lnTo>
                    <a:pt x="820" y="522"/>
                  </a:lnTo>
                  <a:lnTo>
                    <a:pt x="818" y="520"/>
                  </a:lnTo>
                  <a:lnTo>
                    <a:pt x="816" y="516"/>
                  </a:lnTo>
                  <a:lnTo>
                    <a:pt x="815" y="512"/>
                  </a:lnTo>
                  <a:lnTo>
                    <a:pt x="812" y="510"/>
                  </a:lnTo>
                  <a:lnTo>
                    <a:pt x="812" y="506"/>
                  </a:lnTo>
                  <a:lnTo>
                    <a:pt x="811" y="506"/>
                  </a:lnTo>
                  <a:lnTo>
                    <a:pt x="810" y="505"/>
                  </a:lnTo>
                  <a:lnTo>
                    <a:pt x="810" y="503"/>
                  </a:lnTo>
                  <a:lnTo>
                    <a:pt x="808" y="500"/>
                  </a:lnTo>
                  <a:lnTo>
                    <a:pt x="805" y="500"/>
                  </a:lnTo>
                  <a:lnTo>
                    <a:pt x="804" y="503"/>
                  </a:lnTo>
                  <a:lnTo>
                    <a:pt x="800" y="503"/>
                  </a:lnTo>
                  <a:lnTo>
                    <a:pt x="798" y="502"/>
                  </a:lnTo>
                  <a:lnTo>
                    <a:pt x="797" y="500"/>
                  </a:lnTo>
                  <a:lnTo>
                    <a:pt x="795" y="502"/>
                  </a:lnTo>
                  <a:lnTo>
                    <a:pt x="793" y="503"/>
                  </a:lnTo>
                  <a:lnTo>
                    <a:pt x="792" y="505"/>
                  </a:lnTo>
                  <a:lnTo>
                    <a:pt x="791" y="505"/>
                  </a:lnTo>
                  <a:lnTo>
                    <a:pt x="789" y="504"/>
                  </a:lnTo>
                  <a:lnTo>
                    <a:pt x="787" y="504"/>
                  </a:lnTo>
                  <a:lnTo>
                    <a:pt x="787" y="503"/>
                  </a:lnTo>
                  <a:lnTo>
                    <a:pt x="787" y="502"/>
                  </a:lnTo>
                  <a:lnTo>
                    <a:pt x="786" y="502"/>
                  </a:lnTo>
                  <a:lnTo>
                    <a:pt x="786" y="500"/>
                  </a:lnTo>
                  <a:lnTo>
                    <a:pt x="786" y="498"/>
                  </a:lnTo>
                  <a:lnTo>
                    <a:pt x="788" y="497"/>
                  </a:lnTo>
                  <a:lnTo>
                    <a:pt x="789" y="494"/>
                  </a:lnTo>
                  <a:lnTo>
                    <a:pt x="791" y="494"/>
                  </a:lnTo>
                  <a:lnTo>
                    <a:pt x="793" y="494"/>
                  </a:lnTo>
                  <a:lnTo>
                    <a:pt x="793" y="492"/>
                  </a:lnTo>
                  <a:lnTo>
                    <a:pt x="792" y="491"/>
                  </a:lnTo>
                  <a:lnTo>
                    <a:pt x="793" y="488"/>
                  </a:lnTo>
                  <a:lnTo>
                    <a:pt x="793" y="489"/>
                  </a:lnTo>
                  <a:lnTo>
                    <a:pt x="794" y="489"/>
                  </a:lnTo>
                  <a:lnTo>
                    <a:pt x="795" y="489"/>
                  </a:lnTo>
                  <a:lnTo>
                    <a:pt x="797" y="489"/>
                  </a:lnTo>
                  <a:lnTo>
                    <a:pt x="799" y="489"/>
                  </a:lnTo>
                  <a:lnTo>
                    <a:pt x="799" y="488"/>
                  </a:lnTo>
                  <a:lnTo>
                    <a:pt x="799" y="486"/>
                  </a:lnTo>
                  <a:lnTo>
                    <a:pt x="795" y="486"/>
                  </a:lnTo>
                  <a:lnTo>
                    <a:pt x="794" y="486"/>
                  </a:lnTo>
                  <a:lnTo>
                    <a:pt x="794" y="485"/>
                  </a:lnTo>
                  <a:lnTo>
                    <a:pt x="792" y="485"/>
                  </a:lnTo>
                  <a:lnTo>
                    <a:pt x="791" y="485"/>
                  </a:lnTo>
                  <a:lnTo>
                    <a:pt x="788" y="485"/>
                  </a:lnTo>
                  <a:lnTo>
                    <a:pt x="786" y="483"/>
                  </a:lnTo>
                  <a:lnTo>
                    <a:pt x="785" y="483"/>
                  </a:lnTo>
                  <a:lnTo>
                    <a:pt x="782" y="482"/>
                  </a:lnTo>
                  <a:lnTo>
                    <a:pt x="779" y="481"/>
                  </a:lnTo>
                  <a:lnTo>
                    <a:pt x="781" y="479"/>
                  </a:lnTo>
                  <a:lnTo>
                    <a:pt x="777" y="479"/>
                  </a:lnTo>
                  <a:lnTo>
                    <a:pt x="776" y="476"/>
                  </a:lnTo>
                  <a:lnTo>
                    <a:pt x="777" y="474"/>
                  </a:lnTo>
                  <a:lnTo>
                    <a:pt x="776" y="473"/>
                  </a:lnTo>
                  <a:lnTo>
                    <a:pt x="775" y="474"/>
                  </a:lnTo>
                  <a:lnTo>
                    <a:pt x="771" y="475"/>
                  </a:lnTo>
                  <a:lnTo>
                    <a:pt x="770" y="475"/>
                  </a:lnTo>
                  <a:lnTo>
                    <a:pt x="768" y="476"/>
                  </a:lnTo>
                  <a:lnTo>
                    <a:pt x="767" y="475"/>
                  </a:lnTo>
                  <a:lnTo>
                    <a:pt x="764" y="474"/>
                  </a:lnTo>
                  <a:lnTo>
                    <a:pt x="764" y="473"/>
                  </a:lnTo>
                  <a:lnTo>
                    <a:pt x="764" y="470"/>
                  </a:lnTo>
                  <a:lnTo>
                    <a:pt x="761" y="471"/>
                  </a:lnTo>
                  <a:lnTo>
                    <a:pt x="759" y="470"/>
                  </a:lnTo>
                  <a:lnTo>
                    <a:pt x="761" y="469"/>
                  </a:lnTo>
                  <a:lnTo>
                    <a:pt x="758" y="468"/>
                  </a:lnTo>
                  <a:lnTo>
                    <a:pt x="756" y="467"/>
                  </a:lnTo>
                  <a:lnTo>
                    <a:pt x="753" y="467"/>
                  </a:lnTo>
                  <a:lnTo>
                    <a:pt x="752" y="467"/>
                  </a:lnTo>
                  <a:lnTo>
                    <a:pt x="751" y="465"/>
                  </a:lnTo>
                  <a:lnTo>
                    <a:pt x="750" y="465"/>
                  </a:lnTo>
                  <a:lnTo>
                    <a:pt x="749" y="464"/>
                  </a:lnTo>
                  <a:lnTo>
                    <a:pt x="747" y="465"/>
                  </a:lnTo>
                  <a:lnTo>
                    <a:pt x="746" y="463"/>
                  </a:lnTo>
                  <a:lnTo>
                    <a:pt x="746" y="462"/>
                  </a:lnTo>
                  <a:lnTo>
                    <a:pt x="745" y="462"/>
                  </a:lnTo>
                  <a:lnTo>
                    <a:pt x="745" y="459"/>
                  </a:lnTo>
                  <a:lnTo>
                    <a:pt x="743" y="459"/>
                  </a:lnTo>
                  <a:lnTo>
                    <a:pt x="744" y="457"/>
                  </a:lnTo>
                  <a:lnTo>
                    <a:pt x="744" y="455"/>
                  </a:lnTo>
                  <a:lnTo>
                    <a:pt x="745" y="455"/>
                  </a:lnTo>
                  <a:lnTo>
                    <a:pt x="743" y="455"/>
                  </a:lnTo>
                  <a:lnTo>
                    <a:pt x="743" y="453"/>
                  </a:lnTo>
                  <a:lnTo>
                    <a:pt x="741" y="452"/>
                  </a:lnTo>
                  <a:lnTo>
                    <a:pt x="741" y="451"/>
                  </a:lnTo>
                  <a:lnTo>
                    <a:pt x="741" y="450"/>
                  </a:lnTo>
                  <a:lnTo>
                    <a:pt x="740" y="450"/>
                  </a:lnTo>
                  <a:lnTo>
                    <a:pt x="739" y="449"/>
                  </a:lnTo>
                  <a:lnTo>
                    <a:pt x="736" y="446"/>
                  </a:lnTo>
                  <a:lnTo>
                    <a:pt x="736" y="449"/>
                  </a:lnTo>
                  <a:lnTo>
                    <a:pt x="736" y="450"/>
                  </a:lnTo>
                  <a:lnTo>
                    <a:pt x="736" y="451"/>
                  </a:lnTo>
                  <a:lnTo>
                    <a:pt x="736" y="453"/>
                  </a:lnTo>
                  <a:lnTo>
                    <a:pt x="735" y="453"/>
                  </a:lnTo>
                  <a:lnTo>
                    <a:pt x="732" y="453"/>
                  </a:lnTo>
                  <a:lnTo>
                    <a:pt x="730" y="455"/>
                  </a:lnTo>
                  <a:lnTo>
                    <a:pt x="730" y="457"/>
                  </a:lnTo>
                  <a:lnTo>
                    <a:pt x="732" y="458"/>
                  </a:lnTo>
                  <a:lnTo>
                    <a:pt x="733" y="458"/>
                  </a:lnTo>
                  <a:lnTo>
                    <a:pt x="734" y="457"/>
                  </a:lnTo>
                  <a:lnTo>
                    <a:pt x="735" y="458"/>
                  </a:lnTo>
                  <a:lnTo>
                    <a:pt x="736" y="457"/>
                  </a:lnTo>
                  <a:lnTo>
                    <a:pt x="739" y="457"/>
                  </a:lnTo>
                  <a:lnTo>
                    <a:pt x="739" y="462"/>
                  </a:lnTo>
                  <a:lnTo>
                    <a:pt x="740" y="462"/>
                  </a:lnTo>
                  <a:lnTo>
                    <a:pt x="740" y="464"/>
                  </a:lnTo>
                  <a:lnTo>
                    <a:pt x="741" y="467"/>
                  </a:lnTo>
                  <a:lnTo>
                    <a:pt x="741" y="468"/>
                  </a:lnTo>
                  <a:lnTo>
                    <a:pt x="744" y="469"/>
                  </a:lnTo>
                  <a:lnTo>
                    <a:pt x="743" y="471"/>
                  </a:lnTo>
                  <a:lnTo>
                    <a:pt x="739" y="470"/>
                  </a:lnTo>
                  <a:lnTo>
                    <a:pt x="738" y="470"/>
                  </a:lnTo>
                  <a:lnTo>
                    <a:pt x="738" y="469"/>
                  </a:lnTo>
                  <a:lnTo>
                    <a:pt x="736" y="469"/>
                  </a:lnTo>
                  <a:lnTo>
                    <a:pt x="735" y="468"/>
                  </a:lnTo>
                  <a:lnTo>
                    <a:pt x="734" y="468"/>
                  </a:lnTo>
                  <a:lnTo>
                    <a:pt x="733" y="467"/>
                  </a:lnTo>
                  <a:lnTo>
                    <a:pt x="730" y="465"/>
                  </a:lnTo>
                  <a:lnTo>
                    <a:pt x="730" y="463"/>
                  </a:lnTo>
                  <a:lnTo>
                    <a:pt x="729" y="464"/>
                  </a:lnTo>
                  <a:lnTo>
                    <a:pt x="728" y="464"/>
                  </a:lnTo>
                  <a:lnTo>
                    <a:pt x="726" y="465"/>
                  </a:lnTo>
                  <a:lnTo>
                    <a:pt x="724" y="464"/>
                  </a:lnTo>
                  <a:lnTo>
                    <a:pt x="723" y="462"/>
                  </a:lnTo>
                  <a:lnTo>
                    <a:pt x="721" y="462"/>
                  </a:lnTo>
                  <a:lnTo>
                    <a:pt x="718" y="462"/>
                  </a:lnTo>
                  <a:lnTo>
                    <a:pt x="717" y="461"/>
                  </a:lnTo>
                  <a:lnTo>
                    <a:pt x="716" y="462"/>
                  </a:lnTo>
                  <a:lnTo>
                    <a:pt x="715" y="461"/>
                  </a:lnTo>
                  <a:lnTo>
                    <a:pt x="712" y="459"/>
                  </a:lnTo>
                  <a:lnTo>
                    <a:pt x="710" y="459"/>
                  </a:lnTo>
                  <a:lnTo>
                    <a:pt x="708" y="459"/>
                  </a:lnTo>
                  <a:lnTo>
                    <a:pt x="703" y="459"/>
                  </a:lnTo>
                  <a:lnTo>
                    <a:pt x="702" y="458"/>
                  </a:lnTo>
                  <a:lnTo>
                    <a:pt x="699" y="458"/>
                  </a:lnTo>
                  <a:lnTo>
                    <a:pt x="700" y="456"/>
                  </a:lnTo>
                  <a:lnTo>
                    <a:pt x="700" y="455"/>
                  </a:lnTo>
                  <a:lnTo>
                    <a:pt x="699" y="455"/>
                  </a:lnTo>
                  <a:lnTo>
                    <a:pt x="697" y="455"/>
                  </a:lnTo>
                  <a:lnTo>
                    <a:pt x="696" y="455"/>
                  </a:lnTo>
                  <a:lnTo>
                    <a:pt x="694" y="453"/>
                  </a:lnTo>
                  <a:lnTo>
                    <a:pt x="691" y="451"/>
                  </a:lnTo>
                  <a:lnTo>
                    <a:pt x="688" y="449"/>
                  </a:lnTo>
                  <a:lnTo>
                    <a:pt x="688" y="447"/>
                  </a:lnTo>
                  <a:lnTo>
                    <a:pt x="688" y="446"/>
                  </a:lnTo>
                  <a:lnTo>
                    <a:pt x="690" y="444"/>
                  </a:lnTo>
                  <a:lnTo>
                    <a:pt x="693" y="440"/>
                  </a:lnTo>
                  <a:lnTo>
                    <a:pt x="693" y="438"/>
                  </a:lnTo>
                  <a:lnTo>
                    <a:pt x="692" y="437"/>
                  </a:lnTo>
                  <a:lnTo>
                    <a:pt x="692" y="438"/>
                  </a:lnTo>
                  <a:lnTo>
                    <a:pt x="691" y="439"/>
                  </a:lnTo>
                  <a:lnTo>
                    <a:pt x="691" y="440"/>
                  </a:lnTo>
                  <a:lnTo>
                    <a:pt x="690" y="443"/>
                  </a:lnTo>
                  <a:lnTo>
                    <a:pt x="687" y="445"/>
                  </a:lnTo>
                  <a:lnTo>
                    <a:pt x="686" y="444"/>
                  </a:lnTo>
                  <a:lnTo>
                    <a:pt x="684" y="443"/>
                  </a:lnTo>
                  <a:lnTo>
                    <a:pt x="682" y="443"/>
                  </a:lnTo>
                  <a:lnTo>
                    <a:pt x="681" y="441"/>
                  </a:lnTo>
                  <a:lnTo>
                    <a:pt x="680" y="441"/>
                  </a:lnTo>
                  <a:lnTo>
                    <a:pt x="678" y="443"/>
                  </a:lnTo>
                  <a:lnTo>
                    <a:pt x="676" y="445"/>
                  </a:lnTo>
                  <a:lnTo>
                    <a:pt x="676" y="446"/>
                  </a:lnTo>
                  <a:lnTo>
                    <a:pt x="675" y="447"/>
                  </a:lnTo>
                  <a:lnTo>
                    <a:pt x="671" y="447"/>
                  </a:lnTo>
                  <a:lnTo>
                    <a:pt x="670" y="447"/>
                  </a:lnTo>
                  <a:lnTo>
                    <a:pt x="669" y="446"/>
                  </a:lnTo>
                  <a:lnTo>
                    <a:pt x="667" y="447"/>
                  </a:lnTo>
                  <a:lnTo>
                    <a:pt x="665" y="449"/>
                  </a:lnTo>
                  <a:lnTo>
                    <a:pt x="665" y="452"/>
                  </a:lnTo>
                  <a:lnTo>
                    <a:pt x="667" y="455"/>
                  </a:lnTo>
                  <a:lnTo>
                    <a:pt x="667" y="453"/>
                  </a:lnTo>
                  <a:lnTo>
                    <a:pt x="669" y="452"/>
                  </a:lnTo>
                  <a:lnTo>
                    <a:pt x="670" y="452"/>
                  </a:lnTo>
                  <a:lnTo>
                    <a:pt x="670" y="453"/>
                  </a:lnTo>
                  <a:lnTo>
                    <a:pt x="671" y="455"/>
                  </a:lnTo>
                  <a:lnTo>
                    <a:pt x="673" y="456"/>
                  </a:lnTo>
                  <a:lnTo>
                    <a:pt x="674" y="452"/>
                  </a:lnTo>
                  <a:lnTo>
                    <a:pt x="675" y="452"/>
                  </a:lnTo>
                  <a:lnTo>
                    <a:pt x="676" y="451"/>
                  </a:lnTo>
                  <a:lnTo>
                    <a:pt x="679" y="452"/>
                  </a:lnTo>
                  <a:lnTo>
                    <a:pt x="679" y="451"/>
                  </a:lnTo>
                  <a:lnTo>
                    <a:pt x="680" y="452"/>
                  </a:lnTo>
                  <a:lnTo>
                    <a:pt x="680" y="453"/>
                  </a:lnTo>
                  <a:lnTo>
                    <a:pt x="681" y="453"/>
                  </a:lnTo>
                  <a:lnTo>
                    <a:pt x="680" y="453"/>
                  </a:lnTo>
                  <a:lnTo>
                    <a:pt x="679" y="455"/>
                  </a:lnTo>
                  <a:lnTo>
                    <a:pt x="679" y="456"/>
                  </a:lnTo>
                  <a:lnTo>
                    <a:pt x="679" y="458"/>
                  </a:lnTo>
                  <a:lnTo>
                    <a:pt x="680" y="462"/>
                  </a:lnTo>
                  <a:lnTo>
                    <a:pt x="680" y="463"/>
                  </a:lnTo>
                  <a:lnTo>
                    <a:pt x="678" y="462"/>
                  </a:lnTo>
                  <a:lnTo>
                    <a:pt x="676" y="462"/>
                  </a:lnTo>
                  <a:lnTo>
                    <a:pt x="675" y="462"/>
                  </a:lnTo>
                  <a:lnTo>
                    <a:pt x="674" y="461"/>
                  </a:lnTo>
                  <a:lnTo>
                    <a:pt x="673" y="459"/>
                  </a:lnTo>
                  <a:lnTo>
                    <a:pt x="673" y="458"/>
                  </a:lnTo>
                  <a:lnTo>
                    <a:pt x="671" y="458"/>
                  </a:lnTo>
                  <a:lnTo>
                    <a:pt x="670" y="462"/>
                  </a:lnTo>
                  <a:lnTo>
                    <a:pt x="671" y="463"/>
                  </a:lnTo>
                  <a:lnTo>
                    <a:pt x="674" y="463"/>
                  </a:lnTo>
                  <a:lnTo>
                    <a:pt x="678" y="463"/>
                  </a:lnTo>
                  <a:lnTo>
                    <a:pt x="678" y="467"/>
                  </a:lnTo>
                  <a:lnTo>
                    <a:pt x="680" y="468"/>
                  </a:lnTo>
                  <a:lnTo>
                    <a:pt x="682" y="468"/>
                  </a:lnTo>
                  <a:lnTo>
                    <a:pt x="682" y="465"/>
                  </a:lnTo>
                  <a:lnTo>
                    <a:pt x="684" y="467"/>
                  </a:lnTo>
                  <a:lnTo>
                    <a:pt x="685" y="467"/>
                  </a:lnTo>
                  <a:lnTo>
                    <a:pt x="688" y="464"/>
                  </a:lnTo>
                  <a:lnTo>
                    <a:pt x="688" y="463"/>
                  </a:lnTo>
                  <a:lnTo>
                    <a:pt x="690" y="463"/>
                  </a:lnTo>
                  <a:lnTo>
                    <a:pt x="693" y="464"/>
                  </a:lnTo>
                  <a:lnTo>
                    <a:pt x="694" y="464"/>
                  </a:lnTo>
                  <a:lnTo>
                    <a:pt x="694" y="465"/>
                  </a:lnTo>
                  <a:lnTo>
                    <a:pt x="693" y="467"/>
                  </a:lnTo>
                  <a:lnTo>
                    <a:pt x="693" y="468"/>
                  </a:lnTo>
                  <a:lnTo>
                    <a:pt x="693" y="470"/>
                  </a:lnTo>
                  <a:lnTo>
                    <a:pt x="694" y="471"/>
                  </a:lnTo>
                  <a:lnTo>
                    <a:pt x="697" y="473"/>
                  </a:lnTo>
                  <a:lnTo>
                    <a:pt x="698" y="474"/>
                  </a:lnTo>
                  <a:lnTo>
                    <a:pt x="698" y="475"/>
                  </a:lnTo>
                  <a:lnTo>
                    <a:pt x="697" y="476"/>
                  </a:lnTo>
                  <a:lnTo>
                    <a:pt x="698" y="476"/>
                  </a:lnTo>
                  <a:lnTo>
                    <a:pt x="697" y="477"/>
                  </a:lnTo>
                  <a:lnTo>
                    <a:pt x="697" y="479"/>
                  </a:lnTo>
                  <a:lnTo>
                    <a:pt x="697" y="480"/>
                  </a:lnTo>
                  <a:lnTo>
                    <a:pt x="699" y="481"/>
                  </a:lnTo>
                  <a:lnTo>
                    <a:pt x="700" y="480"/>
                  </a:lnTo>
                  <a:lnTo>
                    <a:pt x="702" y="481"/>
                  </a:lnTo>
                  <a:lnTo>
                    <a:pt x="703" y="482"/>
                  </a:lnTo>
                  <a:lnTo>
                    <a:pt x="704" y="482"/>
                  </a:lnTo>
                  <a:lnTo>
                    <a:pt x="704" y="483"/>
                  </a:lnTo>
                  <a:lnTo>
                    <a:pt x="703" y="485"/>
                  </a:lnTo>
                  <a:lnTo>
                    <a:pt x="705" y="485"/>
                  </a:lnTo>
                  <a:lnTo>
                    <a:pt x="709" y="485"/>
                  </a:lnTo>
                  <a:lnTo>
                    <a:pt x="712" y="485"/>
                  </a:lnTo>
                  <a:lnTo>
                    <a:pt x="712" y="486"/>
                  </a:lnTo>
                  <a:lnTo>
                    <a:pt x="714" y="487"/>
                  </a:lnTo>
                  <a:lnTo>
                    <a:pt x="714" y="488"/>
                  </a:lnTo>
                  <a:lnTo>
                    <a:pt x="716" y="488"/>
                  </a:lnTo>
                  <a:lnTo>
                    <a:pt x="718" y="491"/>
                  </a:lnTo>
                  <a:lnTo>
                    <a:pt x="720" y="492"/>
                  </a:lnTo>
                  <a:lnTo>
                    <a:pt x="721" y="492"/>
                  </a:lnTo>
                  <a:lnTo>
                    <a:pt x="721" y="491"/>
                  </a:lnTo>
                  <a:lnTo>
                    <a:pt x="724" y="488"/>
                  </a:lnTo>
                  <a:lnTo>
                    <a:pt x="727" y="487"/>
                  </a:lnTo>
                  <a:lnTo>
                    <a:pt x="728" y="487"/>
                  </a:lnTo>
                  <a:lnTo>
                    <a:pt x="730" y="488"/>
                  </a:lnTo>
                  <a:lnTo>
                    <a:pt x="732" y="488"/>
                  </a:lnTo>
                  <a:lnTo>
                    <a:pt x="733" y="488"/>
                  </a:lnTo>
                  <a:lnTo>
                    <a:pt x="735" y="488"/>
                  </a:lnTo>
                  <a:lnTo>
                    <a:pt x="738" y="488"/>
                  </a:lnTo>
                  <a:lnTo>
                    <a:pt x="739" y="488"/>
                  </a:lnTo>
                  <a:lnTo>
                    <a:pt x="738" y="487"/>
                  </a:lnTo>
                  <a:lnTo>
                    <a:pt x="736" y="487"/>
                  </a:lnTo>
                  <a:lnTo>
                    <a:pt x="736" y="486"/>
                  </a:lnTo>
                  <a:lnTo>
                    <a:pt x="736" y="485"/>
                  </a:lnTo>
                  <a:lnTo>
                    <a:pt x="739" y="485"/>
                  </a:lnTo>
                  <a:lnTo>
                    <a:pt x="739" y="486"/>
                  </a:lnTo>
                  <a:lnTo>
                    <a:pt x="740" y="486"/>
                  </a:lnTo>
                  <a:lnTo>
                    <a:pt x="744" y="486"/>
                  </a:lnTo>
                  <a:lnTo>
                    <a:pt x="743" y="487"/>
                  </a:lnTo>
                  <a:lnTo>
                    <a:pt x="746" y="488"/>
                  </a:lnTo>
                  <a:lnTo>
                    <a:pt x="749" y="489"/>
                  </a:lnTo>
                  <a:lnTo>
                    <a:pt x="750" y="489"/>
                  </a:lnTo>
                  <a:lnTo>
                    <a:pt x="752" y="491"/>
                  </a:lnTo>
                  <a:lnTo>
                    <a:pt x="752" y="492"/>
                  </a:lnTo>
                  <a:lnTo>
                    <a:pt x="755" y="492"/>
                  </a:lnTo>
                  <a:lnTo>
                    <a:pt x="755" y="493"/>
                  </a:lnTo>
                  <a:lnTo>
                    <a:pt x="756" y="493"/>
                  </a:lnTo>
                  <a:lnTo>
                    <a:pt x="758" y="494"/>
                  </a:lnTo>
                  <a:lnTo>
                    <a:pt x="758" y="497"/>
                  </a:lnTo>
                  <a:lnTo>
                    <a:pt x="756" y="497"/>
                  </a:lnTo>
                  <a:lnTo>
                    <a:pt x="757" y="498"/>
                  </a:lnTo>
                  <a:lnTo>
                    <a:pt x="756" y="500"/>
                  </a:lnTo>
                  <a:lnTo>
                    <a:pt x="756" y="502"/>
                  </a:lnTo>
                  <a:lnTo>
                    <a:pt x="757" y="502"/>
                  </a:lnTo>
                  <a:lnTo>
                    <a:pt x="757" y="505"/>
                  </a:lnTo>
                  <a:lnTo>
                    <a:pt x="753" y="506"/>
                  </a:lnTo>
                  <a:lnTo>
                    <a:pt x="752" y="506"/>
                  </a:lnTo>
                  <a:lnTo>
                    <a:pt x="751" y="506"/>
                  </a:lnTo>
                  <a:lnTo>
                    <a:pt x="751" y="508"/>
                  </a:lnTo>
                  <a:lnTo>
                    <a:pt x="751" y="510"/>
                  </a:lnTo>
                  <a:lnTo>
                    <a:pt x="752" y="511"/>
                  </a:lnTo>
                  <a:lnTo>
                    <a:pt x="753" y="510"/>
                  </a:lnTo>
                  <a:lnTo>
                    <a:pt x="755" y="508"/>
                  </a:lnTo>
                  <a:lnTo>
                    <a:pt x="757" y="506"/>
                  </a:lnTo>
                  <a:lnTo>
                    <a:pt x="758" y="505"/>
                  </a:lnTo>
                  <a:lnTo>
                    <a:pt x="761" y="504"/>
                  </a:lnTo>
                  <a:lnTo>
                    <a:pt x="763" y="504"/>
                  </a:lnTo>
                  <a:lnTo>
                    <a:pt x="764" y="503"/>
                  </a:lnTo>
                  <a:lnTo>
                    <a:pt x="765" y="504"/>
                  </a:lnTo>
                  <a:lnTo>
                    <a:pt x="765" y="505"/>
                  </a:lnTo>
                  <a:lnTo>
                    <a:pt x="767" y="505"/>
                  </a:lnTo>
                  <a:lnTo>
                    <a:pt x="767" y="506"/>
                  </a:lnTo>
                  <a:lnTo>
                    <a:pt x="769" y="506"/>
                  </a:lnTo>
                  <a:lnTo>
                    <a:pt x="769" y="508"/>
                  </a:lnTo>
                  <a:lnTo>
                    <a:pt x="770" y="510"/>
                  </a:lnTo>
                  <a:lnTo>
                    <a:pt x="770" y="512"/>
                  </a:lnTo>
                  <a:lnTo>
                    <a:pt x="771" y="514"/>
                  </a:lnTo>
                  <a:lnTo>
                    <a:pt x="773" y="514"/>
                  </a:lnTo>
                  <a:lnTo>
                    <a:pt x="774" y="515"/>
                  </a:lnTo>
                  <a:lnTo>
                    <a:pt x="775" y="516"/>
                  </a:lnTo>
                  <a:lnTo>
                    <a:pt x="777" y="518"/>
                  </a:lnTo>
                  <a:lnTo>
                    <a:pt x="779" y="520"/>
                  </a:lnTo>
                  <a:lnTo>
                    <a:pt x="780" y="520"/>
                  </a:lnTo>
                  <a:lnTo>
                    <a:pt x="780" y="521"/>
                  </a:lnTo>
                  <a:lnTo>
                    <a:pt x="782" y="520"/>
                  </a:lnTo>
                  <a:lnTo>
                    <a:pt x="783" y="518"/>
                  </a:lnTo>
                  <a:lnTo>
                    <a:pt x="786" y="517"/>
                  </a:lnTo>
                  <a:lnTo>
                    <a:pt x="786" y="520"/>
                  </a:lnTo>
                  <a:lnTo>
                    <a:pt x="787" y="520"/>
                  </a:lnTo>
                  <a:lnTo>
                    <a:pt x="788" y="520"/>
                  </a:lnTo>
                  <a:lnTo>
                    <a:pt x="789" y="520"/>
                  </a:lnTo>
                  <a:lnTo>
                    <a:pt x="791" y="520"/>
                  </a:lnTo>
                  <a:lnTo>
                    <a:pt x="792" y="521"/>
                  </a:lnTo>
                  <a:lnTo>
                    <a:pt x="792" y="522"/>
                  </a:lnTo>
                  <a:lnTo>
                    <a:pt x="791" y="522"/>
                  </a:lnTo>
                  <a:lnTo>
                    <a:pt x="792" y="527"/>
                  </a:lnTo>
                  <a:lnTo>
                    <a:pt x="793" y="528"/>
                  </a:lnTo>
                  <a:lnTo>
                    <a:pt x="792" y="529"/>
                  </a:lnTo>
                  <a:lnTo>
                    <a:pt x="791" y="530"/>
                  </a:lnTo>
                  <a:lnTo>
                    <a:pt x="791" y="532"/>
                  </a:lnTo>
                  <a:lnTo>
                    <a:pt x="792" y="532"/>
                  </a:lnTo>
                  <a:lnTo>
                    <a:pt x="793" y="534"/>
                  </a:lnTo>
                  <a:lnTo>
                    <a:pt x="793" y="539"/>
                  </a:lnTo>
                  <a:lnTo>
                    <a:pt x="792" y="540"/>
                  </a:lnTo>
                  <a:lnTo>
                    <a:pt x="791" y="540"/>
                  </a:lnTo>
                  <a:lnTo>
                    <a:pt x="792" y="544"/>
                  </a:lnTo>
                  <a:lnTo>
                    <a:pt x="793" y="545"/>
                  </a:lnTo>
                  <a:lnTo>
                    <a:pt x="794" y="546"/>
                  </a:lnTo>
                  <a:lnTo>
                    <a:pt x="795" y="546"/>
                  </a:lnTo>
                  <a:lnTo>
                    <a:pt x="798" y="546"/>
                  </a:lnTo>
                  <a:lnTo>
                    <a:pt x="800" y="546"/>
                  </a:lnTo>
                  <a:lnTo>
                    <a:pt x="803" y="546"/>
                  </a:lnTo>
                  <a:lnTo>
                    <a:pt x="805" y="546"/>
                  </a:lnTo>
                  <a:lnTo>
                    <a:pt x="808" y="547"/>
                  </a:lnTo>
                  <a:lnTo>
                    <a:pt x="809" y="548"/>
                  </a:lnTo>
                  <a:lnTo>
                    <a:pt x="809" y="550"/>
                  </a:lnTo>
                  <a:lnTo>
                    <a:pt x="809" y="551"/>
                  </a:lnTo>
                  <a:lnTo>
                    <a:pt x="810" y="553"/>
                  </a:lnTo>
                  <a:lnTo>
                    <a:pt x="816" y="552"/>
                  </a:lnTo>
                  <a:lnTo>
                    <a:pt x="818" y="553"/>
                  </a:lnTo>
                  <a:lnTo>
                    <a:pt x="820" y="554"/>
                  </a:lnTo>
                  <a:lnTo>
                    <a:pt x="821" y="556"/>
                  </a:lnTo>
                  <a:lnTo>
                    <a:pt x="821" y="557"/>
                  </a:lnTo>
                  <a:lnTo>
                    <a:pt x="821" y="559"/>
                  </a:lnTo>
                  <a:lnTo>
                    <a:pt x="820" y="559"/>
                  </a:lnTo>
                  <a:lnTo>
                    <a:pt x="818" y="560"/>
                  </a:lnTo>
                  <a:lnTo>
                    <a:pt x="818" y="562"/>
                  </a:lnTo>
                  <a:lnTo>
                    <a:pt x="820" y="564"/>
                  </a:lnTo>
                  <a:lnTo>
                    <a:pt x="822" y="564"/>
                  </a:lnTo>
                  <a:lnTo>
                    <a:pt x="823" y="564"/>
                  </a:lnTo>
                  <a:lnTo>
                    <a:pt x="823" y="565"/>
                  </a:lnTo>
                  <a:lnTo>
                    <a:pt x="823" y="566"/>
                  </a:lnTo>
                  <a:lnTo>
                    <a:pt x="824" y="568"/>
                  </a:lnTo>
                  <a:lnTo>
                    <a:pt x="826" y="569"/>
                  </a:lnTo>
                  <a:lnTo>
                    <a:pt x="827" y="569"/>
                  </a:lnTo>
                  <a:lnTo>
                    <a:pt x="829" y="569"/>
                  </a:lnTo>
                  <a:lnTo>
                    <a:pt x="832" y="570"/>
                  </a:lnTo>
                  <a:lnTo>
                    <a:pt x="833" y="572"/>
                  </a:lnTo>
                  <a:lnTo>
                    <a:pt x="833" y="575"/>
                  </a:lnTo>
                  <a:lnTo>
                    <a:pt x="834" y="575"/>
                  </a:lnTo>
                  <a:lnTo>
                    <a:pt x="836" y="575"/>
                  </a:lnTo>
                  <a:lnTo>
                    <a:pt x="836" y="576"/>
                  </a:lnTo>
                  <a:lnTo>
                    <a:pt x="839" y="576"/>
                  </a:lnTo>
                  <a:lnTo>
                    <a:pt x="839" y="577"/>
                  </a:lnTo>
                  <a:lnTo>
                    <a:pt x="838" y="578"/>
                  </a:lnTo>
                  <a:lnTo>
                    <a:pt x="838" y="580"/>
                  </a:lnTo>
                  <a:lnTo>
                    <a:pt x="838" y="581"/>
                  </a:lnTo>
                  <a:lnTo>
                    <a:pt x="838" y="584"/>
                  </a:lnTo>
                  <a:lnTo>
                    <a:pt x="839" y="588"/>
                  </a:lnTo>
                  <a:lnTo>
                    <a:pt x="841" y="588"/>
                  </a:lnTo>
                  <a:lnTo>
                    <a:pt x="841" y="589"/>
                  </a:lnTo>
                  <a:lnTo>
                    <a:pt x="840" y="589"/>
                  </a:lnTo>
                  <a:lnTo>
                    <a:pt x="838" y="590"/>
                  </a:lnTo>
                  <a:lnTo>
                    <a:pt x="840" y="590"/>
                  </a:lnTo>
                  <a:lnTo>
                    <a:pt x="841" y="593"/>
                  </a:lnTo>
                  <a:lnTo>
                    <a:pt x="844" y="595"/>
                  </a:lnTo>
                  <a:lnTo>
                    <a:pt x="845" y="598"/>
                  </a:lnTo>
                  <a:lnTo>
                    <a:pt x="844" y="599"/>
                  </a:lnTo>
                  <a:lnTo>
                    <a:pt x="842" y="600"/>
                  </a:lnTo>
                  <a:lnTo>
                    <a:pt x="842" y="603"/>
                  </a:lnTo>
                  <a:lnTo>
                    <a:pt x="842" y="606"/>
                  </a:lnTo>
                  <a:lnTo>
                    <a:pt x="844" y="605"/>
                  </a:lnTo>
                  <a:lnTo>
                    <a:pt x="847" y="605"/>
                  </a:lnTo>
                  <a:lnTo>
                    <a:pt x="848" y="606"/>
                  </a:lnTo>
                  <a:lnTo>
                    <a:pt x="850" y="607"/>
                  </a:lnTo>
                  <a:lnTo>
                    <a:pt x="851" y="611"/>
                  </a:lnTo>
                  <a:lnTo>
                    <a:pt x="851" y="613"/>
                  </a:lnTo>
                  <a:lnTo>
                    <a:pt x="854" y="613"/>
                  </a:lnTo>
                  <a:lnTo>
                    <a:pt x="854" y="612"/>
                  </a:lnTo>
                  <a:lnTo>
                    <a:pt x="856" y="613"/>
                  </a:lnTo>
                  <a:lnTo>
                    <a:pt x="857" y="615"/>
                  </a:lnTo>
                  <a:lnTo>
                    <a:pt x="859" y="615"/>
                  </a:lnTo>
                  <a:lnTo>
                    <a:pt x="858" y="617"/>
                  </a:lnTo>
                  <a:lnTo>
                    <a:pt x="858" y="618"/>
                  </a:lnTo>
                  <a:lnTo>
                    <a:pt x="858" y="619"/>
                  </a:lnTo>
                  <a:lnTo>
                    <a:pt x="858" y="621"/>
                  </a:lnTo>
                  <a:lnTo>
                    <a:pt x="857" y="621"/>
                  </a:lnTo>
                  <a:lnTo>
                    <a:pt x="856" y="621"/>
                  </a:lnTo>
                  <a:lnTo>
                    <a:pt x="856" y="622"/>
                  </a:lnTo>
                  <a:lnTo>
                    <a:pt x="858" y="623"/>
                  </a:lnTo>
                  <a:lnTo>
                    <a:pt x="858" y="622"/>
                  </a:lnTo>
                  <a:lnTo>
                    <a:pt x="861" y="623"/>
                  </a:lnTo>
                  <a:lnTo>
                    <a:pt x="862" y="623"/>
                  </a:lnTo>
                  <a:lnTo>
                    <a:pt x="863" y="624"/>
                  </a:lnTo>
                  <a:lnTo>
                    <a:pt x="863" y="625"/>
                  </a:lnTo>
                  <a:lnTo>
                    <a:pt x="862" y="625"/>
                  </a:lnTo>
                  <a:lnTo>
                    <a:pt x="862" y="628"/>
                  </a:lnTo>
                  <a:lnTo>
                    <a:pt x="863" y="628"/>
                  </a:lnTo>
                  <a:lnTo>
                    <a:pt x="864" y="629"/>
                  </a:lnTo>
                  <a:lnTo>
                    <a:pt x="865" y="630"/>
                  </a:lnTo>
                  <a:lnTo>
                    <a:pt x="867" y="631"/>
                  </a:lnTo>
                  <a:lnTo>
                    <a:pt x="867" y="630"/>
                  </a:lnTo>
                  <a:lnTo>
                    <a:pt x="869" y="631"/>
                  </a:lnTo>
                  <a:lnTo>
                    <a:pt x="871" y="633"/>
                  </a:lnTo>
                  <a:lnTo>
                    <a:pt x="871" y="634"/>
                  </a:lnTo>
                  <a:lnTo>
                    <a:pt x="870" y="635"/>
                  </a:lnTo>
                  <a:lnTo>
                    <a:pt x="869" y="635"/>
                  </a:lnTo>
                  <a:lnTo>
                    <a:pt x="869" y="636"/>
                  </a:lnTo>
                  <a:lnTo>
                    <a:pt x="871" y="639"/>
                  </a:lnTo>
                  <a:lnTo>
                    <a:pt x="873" y="640"/>
                  </a:lnTo>
                  <a:lnTo>
                    <a:pt x="875" y="641"/>
                  </a:lnTo>
                  <a:lnTo>
                    <a:pt x="876" y="642"/>
                  </a:lnTo>
                  <a:lnTo>
                    <a:pt x="877" y="641"/>
                  </a:lnTo>
                  <a:lnTo>
                    <a:pt x="879" y="641"/>
                  </a:lnTo>
                  <a:lnTo>
                    <a:pt x="880" y="640"/>
                  </a:lnTo>
                  <a:lnTo>
                    <a:pt x="881" y="640"/>
                  </a:lnTo>
                  <a:lnTo>
                    <a:pt x="882" y="639"/>
                  </a:lnTo>
                  <a:lnTo>
                    <a:pt x="883" y="642"/>
                  </a:lnTo>
                  <a:lnTo>
                    <a:pt x="885" y="643"/>
                  </a:lnTo>
                  <a:lnTo>
                    <a:pt x="885" y="642"/>
                  </a:lnTo>
                  <a:lnTo>
                    <a:pt x="886" y="642"/>
                  </a:lnTo>
                  <a:lnTo>
                    <a:pt x="886" y="641"/>
                  </a:lnTo>
                  <a:lnTo>
                    <a:pt x="888" y="641"/>
                  </a:lnTo>
                  <a:lnTo>
                    <a:pt x="889" y="641"/>
                  </a:lnTo>
                  <a:lnTo>
                    <a:pt x="891" y="640"/>
                  </a:lnTo>
                  <a:lnTo>
                    <a:pt x="893" y="641"/>
                  </a:lnTo>
                  <a:lnTo>
                    <a:pt x="891" y="642"/>
                  </a:lnTo>
                  <a:lnTo>
                    <a:pt x="891" y="643"/>
                  </a:lnTo>
                  <a:lnTo>
                    <a:pt x="891" y="646"/>
                  </a:lnTo>
                  <a:lnTo>
                    <a:pt x="891" y="647"/>
                  </a:lnTo>
                  <a:lnTo>
                    <a:pt x="888" y="647"/>
                  </a:lnTo>
                  <a:lnTo>
                    <a:pt x="888" y="646"/>
                  </a:lnTo>
                  <a:lnTo>
                    <a:pt x="887" y="646"/>
                  </a:lnTo>
                  <a:lnTo>
                    <a:pt x="887" y="648"/>
                  </a:lnTo>
                  <a:lnTo>
                    <a:pt x="885" y="649"/>
                  </a:lnTo>
                  <a:lnTo>
                    <a:pt x="881" y="649"/>
                  </a:lnTo>
                  <a:lnTo>
                    <a:pt x="880" y="651"/>
                  </a:lnTo>
                  <a:lnTo>
                    <a:pt x="879" y="649"/>
                  </a:lnTo>
                  <a:lnTo>
                    <a:pt x="879" y="651"/>
                  </a:lnTo>
                  <a:lnTo>
                    <a:pt x="876" y="652"/>
                  </a:lnTo>
                  <a:lnTo>
                    <a:pt x="877" y="654"/>
                  </a:lnTo>
                  <a:lnTo>
                    <a:pt x="877" y="655"/>
                  </a:lnTo>
                  <a:lnTo>
                    <a:pt x="877" y="657"/>
                  </a:lnTo>
                  <a:lnTo>
                    <a:pt x="875" y="659"/>
                  </a:lnTo>
                  <a:lnTo>
                    <a:pt x="874" y="660"/>
                  </a:lnTo>
                  <a:lnTo>
                    <a:pt x="874" y="661"/>
                  </a:lnTo>
                  <a:lnTo>
                    <a:pt x="873" y="661"/>
                  </a:lnTo>
                  <a:lnTo>
                    <a:pt x="873" y="663"/>
                  </a:lnTo>
                  <a:lnTo>
                    <a:pt x="874" y="664"/>
                  </a:lnTo>
                  <a:lnTo>
                    <a:pt x="875" y="667"/>
                  </a:lnTo>
                  <a:lnTo>
                    <a:pt x="871" y="669"/>
                  </a:lnTo>
                  <a:lnTo>
                    <a:pt x="874" y="669"/>
                  </a:lnTo>
                  <a:lnTo>
                    <a:pt x="875" y="670"/>
                  </a:lnTo>
                  <a:lnTo>
                    <a:pt x="876" y="670"/>
                  </a:lnTo>
                  <a:lnTo>
                    <a:pt x="879" y="672"/>
                  </a:lnTo>
                  <a:lnTo>
                    <a:pt x="879" y="673"/>
                  </a:lnTo>
                  <a:lnTo>
                    <a:pt x="880" y="673"/>
                  </a:lnTo>
                  <a:lnTo>
                    <a:pt x="880" y="672"/>
                  </a:lnTo>
                  <a:lnTo>
                    <a:pt x="881" y="673"/>
                  </a:lnTo>
                  <a:lnTo>
                    <a:pt x="882" y="673"/>
                  </a:lnTo>
                  <a:lnTo>
                    <a:pt x="882" y="675"/>
                  </a:lnTo>
                  <a:lnTo>
                    <a:pt x="882" y="676"/>
                  </a:lnTo>
                  <a:lnTo>
                    <a:pt x="881" y="676"/>
                  </a:lnTo>
                  <a:lnTo>
                    <a:pt x="879" y="676"/>
                  </a:lnTo>
                  <a:lnTo>
                    <a:pt x="877" y="677"/>
                  </a:lnTo>
                  <a:lnTo>
                    <a:pt x="876" y="678"/>
                  </a:lnTo>
                  <a:lnTo>
                    <a:pt x="875" y="678"/>
                  </a:lnTo>
                  <a:lnTo>
                    <a:pt x="874" y="677"/>
                  </a:lnTo>
                  <a:lnTo>
                    <a:pt x="871" y="676"/>
                  </a:lnTo>
                  <a:lnTo>
                    <a:pt x="869" y="673"/>
                  </a:lnTo>
                  <a:lnTo>
                    <a:pt x="868" y="672"/>
                  </a:lnTo>
                  <a:lnTo>
                    <a:pt x="867" y="671"/>
                  </a:lnTo>
                  <a:lnTo>
                    <a:pt x="864" y="669"/>
                  </a:lnTo>
                  <a:lnTo>
                    <a:pt x="862" y="669"/>
                  </a:lnTo>
                  <a:lnTo>
                    <a:pt x="861" y="667"/>
                  </a:lnTo>
                  <a:lnTo>
                    <a:pt x="858" y="665"/>
                  </a:lnTo>
                  <a:lnTo>
                    <a:pt x="859" y="664"/>
                  </a:lnTo>
                  <a:lnTo>
                    <a:pt x="859" y="661"/>
                  </a:lnTo>
                  <a:lnTo>
                    <a:pt x="859" y="660"/>
                  </a:lnTo>
                  <a:lnTo>
                    <a:pt x="857" y="660"/>
                  </a:lnTo>
                  <a:lnTo>
                    <a:pt x="854" y="661"/>
                  </a:lnTo>
                  <a:lnTo>
                    <a:pt x="851" y="661"/>
                  </a:lnTo>
                  <a:lnTo>
                    <a:pt x="847" y="660"/>
                  </a:lnTo>
                  <a:lnTo>
                    <a:pt x="844" y="660"/>
                  </a:lnTo>
                  <a:lnTo>
                    <a:pt x="841" y="660"/>
                  </a:lnTo>
                  <a:lnTo>
                    <a:pt x="840" y="660"/>
                  </a:lnTo>
                  <a:lnTo>
                    <a:pt x="841" y="658"/>
                  </a:lnTo>
                  <a:lnTo>
                    <a:pt x="841" y="657"/>
                  </a:lnTo>
                  <a:lnTo>
                    <a:pt x="840" y="655"/>
                  </a:lnTo>
                  <a:lnTo>
                    <a:pt x="841" y="653"/>
                  </a:lnTo>
                  <a:lnTo>
                    <a:pt x="841" y="652"/>
                  </a:lnTo>
                  <a:lnTo>
                    <a:pt x="840" y="652"/>
                  </a:lnTo>
                  <a:lnTo>
                    <a:pt x="840" y="655"/>
                  </a:lnTo>
                  <a:lnTo>
                    <a:pt x="839" y="657"/>
                  </a:lnTo>
                  <a:lnTo>
                    <a:pt x="839" y="658"/>
                  </a:lnTo>
                  <a:lnTo>
                    <a:pt x="835" y="658"/>
                  </a:lnTo>
                  <a:lnTo>
                    <a:pt x="833" y="659"/>
                  </a:lnTo>
                  <a:lnTo>
                    <a:pt x="832" y="660"/>
                  </a:lnTo>
                  <a:lnTo>
                    <a:pt x="830" y="660"/>
                  </a:lnTo>
                  <a:lnTo>
                    <a:pt x="830" y="661"/>
                  </a:lnTo>
                  <a:lnTo>
                    <a:pt x="830" y="664"/>
                  </a:lnTo>
                  <a:lnTo>
                    <a:pt x="830" y="665"/>
                  </a:lnTo>
                  <a:lnTo>
                    <a:pt x="832" y="665"/>
                  </a:lnTo>
                  <a:lnTo>
                    <a:pt x="832" y="664"/>
                  </a:lnTo>
                  <a:lnTo>
                    <a:pt x="833" y="665"/>
                  </a:lnTo>
                  <a:lnTo>
                    <a:pt x="833" y="666"/>
                  </a:lnTo>
                  <a:lnTo>
                    <a:pt x="832" y="667"/>
                  </a:lnTo>
                  <a:lnTo>
                    <a:pt x="833" y="670"/>
                  </a:lnTo>
                  <a:lnTo>
                    <a:pt x="830" y="671"/>
                  </a:lnTo>
                  <a:lnTo>
                    <a:pt x="828" y="672"/>
                  </a:lnTo>
                  <a:lnTo>
                    <a:pt x="827" y="673"/>
                  </a:lnTo>
                  <a:lnTo>
                    <a:pt x="827" y="672"/>
                  </a:lnTo>
                  <a:lnTo>
                    <a:pt x="826" y="672"/>
                  </a:lnTo>
                  <a:lnTo>
                    <a:pt x="823" y="673"/>
                  </a:lnTo>
                  <a:lnTo>
                    <a:pt x="822" y="675"/>
                  </a:lnTo>
                  <a:lnTo>
                    <a:pt x="821" y="673"/>
                  </a:lnTo>
                  <a:lnTo>
                    <a:pt x="822" y="672"/>
                  </a:lnTo>
                  <a:lnTo>
                    <a:pt x="822" y="671"/>
                  </a:lnTo>
                  <a:lnTo>
                    <a:pt x="821" y="671"/>
                  </a:lnTo>
                  <a:lnTo>
                    <a:pt x="821" y="670"/>
                  </a:lnTo>
                  <a:lnTo>
                    <a:pt x="822" y="669"/>
                  </a:lnTo>
                  <a:lnTo>
                    <a:pt x="821" y="669"/>
                  </a:lnTo>
                  <a:lnTo>
                    <a:pt x="820" y="667"/>
                  </a:lnTo>
                  <a:lnTo>
                    <a:pt x="818" y="665"/>
                  </a:lnTo>
                  <a:lnTo>
                    <a:pt x="818" y="663"/>
                  </a:lnTo>
                  <a:lnTo>
                    <a:pt x="816" y="661"/>
                  </a:lnTo>
                  <a:lnTo>
                    <a:pt x="814" y="661"/>
                  </a:lnTo>
                  <a:lnTo>
                    <a:pt x="812" y="660"/>
                  </a:lnTo>
                  <a:lnTo>
                    <a:pt x="810" y="661"/>
                  </a:lnTo>
                  <a:lnTo>
                    <a:pt x="809" y="661"/>
                  </a:lnTo>
                  <a:lnTo>
                    <a:pt x="809" y="659"/>
                  </a:lnTo>
                  <a:lnTo>
                    <a:pt x="808" y="659"/>
                  </a:lnTo>
                  <a:lnTo>
                    <a:pt x="809" y="659"/>
                  </a:lnTo>
                  <a:lnTo>
                    <a:pt x="810" y="657"/>
                  </a:lnTo>
                  <a:lnTo>
                    <a:pt x="808" y="657"/>
                  </a:lnTo>
                  <a:lnTo>
                    <a:pt x="805" y="655"/>
                  </a:lnTo>
                  <a:lnTo>
                    <a:pt x="804" y="655"/>
                  </a:lnTo>
                  <a:lnTo>
                    <a:pt x="803" y="653"/>
                  </a:lnTo>
                  <a:lnTo>
                    <a:pt x="802" y="651"/>
                  </a:lnTo>
                  <a:lnTo>
                    <a:pt x="800" y="648"/>
                  </a:lnTo>
                  <a:lnTo>
                    <a:pt x="798" y="647"/>
                  </a:lnTo>
                  <a:lnTo>
                    <a:pt x="795" y="648"/>
                  </a:lnTo>
                  <a:lnTo>
                    <a:pt x="795" y="649"/>
                  </a:lnTo>
                  <a:lnTo>
                    <a:pt x="795" y="651"/>
                  </a:lnTo>
                  <a:lnTo>
                    <a:pt x="795" y="652"/>
                  </a:lnTo>
                  <a:lnTo>
                    <a:pt x="794" y="652"/>
                  </a:lnTo>
                  <a:lnTo>
                    <a:pt x="792" y="653"/>
                  </a:lnTo>
                  <a:lnTo>
                    <a:pt x="789" y="652"/>
                  </a:lnTo>
                  <a:lnTo>
                    <a:pt x="787" y="649"/>
                  </a:lnTo>
                  <a:lnTo>
                    <a:pt x="783" y="651"/>
                  </a:lnTo>
                  <a:lnTo>
                    <a:pt x="782" y="652"/>
                  </a:lnTo>
                  <a:lnTo>
                    <a:pt x="781" y="653"/>
                  </a:lnTo>
                  <a:lnTo>
                    <a:pt x="780" y="655"/>
                  </a:lnTo>
                  <a:lnTo>
                    <a:pt x="779" y="655"/>
                  </a:lnTo>
                  <a:lnTo>
                    <a:pt x="779" y="657"/>
                  </a:lnTo>
                  <a:lnTo>
                    <a:pt x="777" y="657"/>
                  </a:lnTo>
                  <a:lnTo>
                    <a:pt x="777" y="658"/>
                  </a:lnTo>
                  <a:lnTo>
                    <a:pt x="779" y="659"/>
                  </a:lnTo>
                  <a:lnTo>
                    <a:pt x="781" y="659"/>
                  </a:lnTo>
                  <a:lnTo>
                    <a:pt x="782" y="660"/>
                  </a:lnTo>
                  <a:lnTo>
                    <a:pt x="782" y="661"/>
                  </a:lnTo>
                  <a:lnTo>
                    <a:pt x="783" y="663"/>
                  </a:lnTo>
                  <a:lnTo>
                    <a:pt x="785" y="663"/>
                  </a:lnTo>
                  <a:lnTo>
                    <a:pt x="785" y="661"/>
                  </a:lnTo>
                  <a:lnTo>
                    <a:pt x="786" y="660"/>
                  </a:lnTo>
                  <a:lnTo>
                    <a:pt x="787" y="660"/>
                  </a:lnTo>
                  <a:lnTo>
                    <a:pt x="787" y="661"/>
                  </a:lnTo>
                  <a:lnTo>
                    <a:pt x="788" y="661"/>
                  </a:lnTo>
                  <a:lnTo>
                    <a:pt x="789" y="661"/>
                  </a:lnTo>
                  <a:lnTo>
                    <a:pt x="791" y="661"/>
                  </a:lnTo>
                  <a:lnTo>
                    <a:pt x="791" y="664"/>
                  </a:lnTo>
                  <a:lnTo>
                    <a:pt x="792" y="664"/>
                  </a:lnTo>
                  <a:lnTo>
                    <a:pt x="793" y="663"/>
                  </a:lnTo>
                  <a:lnTo>
                    <a:pt x="795" y="663"/>
                  </a:lnTo>
                  <a:lnTo>
                    <a:pt x="795" y="661"/>
                  </a:lnTo>
                  <a:lnTo>
                    <a:pt x="797" y="661"/>
                  </a:lnTo>
                  <a:lnTo>
                    <a:pt x="798" y="663"/>
                  </a:lnTo>
                  <a:lnTo>
                    <a:pt x="799" y="663"/>
                  </a:lnTo>
                  <a:lnTo>
                    <a:pt x="800" y="665"/>
                  </a:lnTo>
                  <a:lnTo>
                    <a:pt x="803" y="665"/>
                  </a:lnTo>
                  <a:lnTo>
                    <a:pt x="803" y="666"/>
                  </a:lnTo>
                  <a:lnTo>
                    <a:pt x="804" y="667"/>
                  </a:lnTo>
                  <a:lnTo>
                    <a:pt x="804" y="669"/>
                  </a:lnTo>
                  <a:lnTo>
                    <a:pt x="805" y="670"/>
                  </a:lnTo>
                  <a:lnTo>
                    <a:pt x="808" y="670"/>
                  </a:lnTo>
                  <a:lnTo>
                    <a:pt x="808" y="671"/>
                  </a:lnTo>
                  <a:lnTo>
                    <a:pt x="808" y="672"/>
                  </a:lnTo>
                  <a:lnTo>
                    <a:pt x="811" y="675"/>
                  </a:lnTo>
                  <a:lnTo>
                    <a:pt x="811" y="673"/>
                  </a:lnTo>
                  <a:lnTo>
                    <a:pt x="812" y="676"/>
                  </a:lnTo>
                  <a:lnTo>
                    <a:pt x="811" y="676"/>
                  </a:lnTo>
                  <a:lnTo>
                    <a:pt x="811" y="677"/>
                  </a:lnTo>
                  <a:lnTo>
                    <a:pt x="811" y="678"/>
                  </a:lnTo>
                  <a:lnTo>
                    <a:pt x="810" y="678"/>
                  </a:lnTo>
                  <a:lnTo>
                    <a:pt x="811" y="679"/>
                  </a:lnTo>
                  <a:lnTo>
                    <a:pt x="810" y="681"/>
                  </a:lnTo>
                  <a:lnTo>
                    <a:pt x="811" y="681"/>
                  </a:lnTo>
                  <a:lnTo>
                    <a:pt x="810" y="684"/>
                  </a:lnTo>
                  <a:lnTo>
                    <a:pt x="810" y="685"/>
                  </a:lnTo>
                  <a:lnTo>
                    <a:pt x="810" y="687"/>
                  </a:lnTo>
                  <a:lnTo>
                    <a:pt x="809" y="687"/>
                  </a:lnTo>
                  <a:lnTo>
                    <a:pt x="806" y="687"/>
                  </a:lnTo>
                  <a:lnTo>
                    <a:pt x="804" y="687"/>
                  </a:lnTo>
                  <a:lnTo>
                    <a:pt x="803" y="687"/>
                  </a:lnTo>
                  <a:lnTo>
                    <a:pt x="799" y="685"/>
                  </a:lnTo>
                  <a:lnTo>
                    <a:pt x="797" y="685"/>
                  </a:lnTo>
                  <a:lnTo>
                    <a:pt x="795" y="685"/>
                  </a:lnTo>
                  <a:lnTo>
                    <a:pt x="794" y="687"/>
                  </a:lnTo>
                  <a:lnTo>
                    <a:pt x="792" y="687"/>
                  </a:lnTo>
                  <a:lnTo>
                    <a:pt x="789" y="687"/>
                  </a:lnTo>
                  <a:lnTo>
                    <a:pt x="789" y="688"/>
                  </a:lnTo>
                  <a:lnTo>
                    <a:pt x="788" y="689"/>
                  </a:lnTo>
                  <a:lnTo>
                    <a:pt x="788" y="690"/>
                  </a:lnTo>
                  <a:lnTo>
                    <a:pt x="788" y="694"/>
                  </a:lnTo>
                  <a:lnTo>
                    <a:pt x="787" y="693"/>
                  </a:lnTo>
                  <a:lnTo>
                    <a:pt x="787" y="694"/>
                  </a:lnTo>
                  <a:lnTo>
                    <a:pt x="785" y="693"/>
                  </a:lnTo>
                  <a:lnTo>
                    <a:pt x="783" y="691"/>
                  </a:lnTo>
                  <a:lnTo>
                    <a:pt x="782" y="695"/>
                  </a:lnTo>
                  <a:lnTo>
                    <a:pt x="781" y="691"/>
                  </a:lnTo>
                  <a:lnTo>
                    <a:pt x="782" y="694"/>
                  </a:lnTo>
                  <a:lnTo>
                    <a:pt x="781" y="695"/>
                  </a:lnTo>
                  <a:lnTo>
                    <a:pt x="779" y="694"/>
                  </a:lnTo>
                  <a:lnTo>
                    <a:pt x="776" y="693"/>
                  </a:lnTo>
                  <a:lnTo>
                    <a:pt x="775" y="694"/>
                  </a:lnTo>
                  <a:lnTo>
                    <a:pt x="775" y="695"/>
                  </a:lnTo>
                  <a:lnTo>
                    <a:pt x="774" y="695"/>
                  </a:lnTo>
                  <a:lnTo>
                    <a:pt x="771" y="694"/>
                  </a:lnTo>
                  <a:lnTo>
                    <a:pt x="768" y="694"/>
                  </a:lnTo>
                  <a:lnTo>
                    <a:pt x="767" y="693"/>
                  </a:lnTo>
                  <a:lnTo>
                    <a:pt x="765" y="693"/>
                  </a:lnTo>
                  <a:lnTo>
                    <a:pt x="763" y="691"/>
                  </a:lnTo>
                  <a:lnTo>
                    <a:pt x="762" y="691"/>
                  </a:lnTo>
                  <a:lnTo>
                    <a:pt x="761" y="689"/>
                  </a:lnTo>
                  <a:lnTo>
                    <a:pt x="758" y="690"/>
                  </a:lnTo>
                  <a:lnTo>
                    <a:pt x="757" y="689"/>
                  </a:lnTo>
                  <a:lnTo>
                    <a:pt x="757" y="688"/>
                  </a:lnTo>
                  <a:lnTo>
                    <a:pt x="756" y="688"/>
                  </a:lnTo>
                  <a:lnTo>
                    <a:pt x="756" y="685"/>
                  </a:lnTo>
                  <a:lnTo>
                    <a:pt x="755" y="684"/>
                  </a:lnTo>
                  <a:lnTo>
                    <a:pt x="753" y="685"/>
                  </a:lnTo>
                  <a:lnTo>
                    <a:pt x="753" y="688"/>
                  </a:lnTo>
                  <a:lnTo>
                    <a:pt x="755" y="689"/>
                  </a:lnTo>
                  <a:lnTo>
                    <a:pt x="758" y="690"/>
                  </a:lnTo>
                  <a:lnTo>
                    <a:pt x="759" y="690"/>
                  </a:lnTo>
                  <a:lnTo>
                    <a:pt x="761" y="693"/>
                  </a:lnTo>
                  <a:lnTo>
                    <a:pt x="762" y="693"/>
                  </a:lnTo>
                  <a:lnTo>
                    <a:pt x="762" y="694"/>
                  </a:lnTo>
                  <a:lnTo>
                    <a:pt x="761" y="695"/>
                  </a:lnTo>
                  <a:lnTo>
                    <a:pt x="759" y="699"/>
                  </a:lnTo>
                  <a:lnTo>
                    <a:pt x="759" y="695"/>
                  </a:lnTo>
                  <a:lnTo>
                    <a:pt x="758" y="699"/>
                  </a:lnTo>
                  <a:lnTo>
                    <a:pt x="758" y="700"/>
                  </a:lnTo>
                  <a:lnTo>
                    <a:pt x="757" y="701"/>
                  </a:lnTo>
                  <a:lnTo>
                    <a:pt x="759" y="703"/>
                  </a:lnTo>
                  <a:lnTo>
                    <a:pt x="757" y="705"/>
                  </a:lnTo>
                  <a:lnTo>
                    <a:pt x="756" y="705"/>
                  </a:lnTo>
                  <a:lnTo>
                    <a:pt x="755" y="706"/>
                  </a:lnTo>
                  <a:lnTo>
                    <a:pt x="752" y="706"/>
                  </a:lnTo>
                  <a:lnTo>
                    <a:pt x="750" y="706"/>
                  </a:lnTo>
                  <a:lnTo>
                    <a:pt x="749" y="705"/>
                  </a:lnTo>
                  <a:lnTo>
                    <a:pt x="746" y="706"/>
                  </a:lnTo>
                  <a:lnTo>
                    <a:pt x="744" y="707"/>
                  </a:lnTo>
                  <a:lnTo>
                    <a:pt x="744" y="710"/>
                  </a:lnTo>
                  <a:lnTo>
                    <a:pt x="745" y="710"/>
                  </a:lnTo>
                  <a:lnTo>
                    <a:pt x="745" y="711"/>
                  </a:lnTo>
                  <a:lnTo>
                    <a:pt x="744" y="712"/>
                  </a:lnTo>
                  <a:lnTo>
                    <a:pt x="741" y="712"/>
                  </a:lnTo>
                  <a:lnTo>
                    <a:pt x="740" y="710"/>
                  </a:lnTo>
                  <a:lnTo>
                    <a:pt x="738" y="708"/>
                  </a:lnTo>
                  <a:lnTo>
                    <a:pt x="738" y="710"/>
                  </a:lnTo>
                  <a:lnTo>
                    <a:pt x="739" y="712"/>
                  </a:lnTo>
                  <a:lnTo>
                    <a:pt x="739" y="714"/>
                  </a:lnTo>
                  <a:lnTo>
                    <a:pt x="740" y="716"/>
                  </a:lnTo>
                  <a:lnTo>
                    <a:pt x="741" y="717"/>
                  </a:lnTo>
                  <a:lnTo>
                    <a:pt x="740" y="718"/>
                  </a:lnTo>
                  <a:lnTo>
                    <a:pt x="740" y="720"/>
                  </a:lnTo>
                  <a:lnTo>
                    <a:pt x="741" y="720"/>
                  </a:lnTo>
                  <a:lnTo>
                    <a:pt x="741" y="722"/>
                  </a:lnTo>
                  <a:lnTo>
                    <a:pt x="746" y="723"/>
                  </a:lnTo>
                  <a:lnTo>
                    <a:pt x="746" y="722"/>
                  </a:lnTo>
                  <a:lnTo>
                    <a:pt x="749" y="722"/>
                  </a:lnTo>
                  <a:lnTo>
                    <a:pt x="752" y="723"/>
                  </a:lnTo>
                  <a:lnTo>
                    <a:pt x="751" y="720"/>
                  </a:lnTo>
                  <a:lnTo>
                    <a:pt x="752" y="719"/>
                  </a:lnTo>
                  <a:lnTo>
                    <a:pt x="753" y="719"/>
                  </a:lnTo>
                  <a:lnTo>
                    <a:pt x="756" y="719"/>
                  </a:lnTo>
                  <a:lnTo>
                    <a:pt x="755" y="720"/>
                  </a:lnTo>
                  <a:lnTo>
                    <a:pt x="755" y="722"/>
                  </a:lnTo>
                  <a:lnTo>
                    <a:pt x="756" y="723"/>
                  </a:lnTo>
                  <a:lnTo>
                    <a:pt x="757" y="723"/>
                  </a:lnTo>
                  <a:lnTo>
                    <a:pt x="757" y="724"/>
                  </a:lnTo>
                  <a:lnTo>
                    <a:pt x="757" y="725"/>
                  </a:lnTo>
                  <a:lnTo>
                    <a:pt x="758" y="726"/>
                  </a:lnTo>
                  <a:lnTo>
                    <a:pt x="757" y="728"/>
                  </a:lnTo>
                  <a:lnTo>
                    <a:pt x="756" y="730"/>
                  </a:lnTo>
                  <a:lnTo>
                    <a:pt x="757" y="732"/>
                  </a:lnTo>
                  <a:lnTo>
                    <a:pt x="759" y="735"/>
                  </a:lnTo>
                  <a:lnTo>
                    <a:pt x="757" y="737"/>
                  </a:lnTo>
                  <a:lnTo>
                    <a:pt x="755" y="737"/>
                  </a:lnTo>
                  <a:lnTo>
                    <a:pt x="753" y="737"/>
                  </a:lnTo>
                  <a:lnTo>
                    <a:pt x="752" y="737"/>
                  </a:lnTo>
                  <a:lnTo>
                    <a:pt x="752" y="738"/>
                  </a:lnTo>
                  <a:lnTo>
                    <a:pt x="752" y="740"/>
                  </a:lnTo>
                  <a:lnTo>
                    <a:pt x="752" y="741"/>
                  </a:lnTo>
                  <a:lnTo>
                    <a:pt x="750" y="741"/>
                  </a:lnTo>
                  <a:lnTo>
                    <a:pt x="749" y="741"/>
                  </a:lnTo>
                  <a:lnTo>
                    <a:pt x="749" y="742"/>
                  </a:lnTo>
                  <a:lnTo>
                    <a:pt x="751" y="744"/>
                  </a:lnTo>
                  <a:lnTo>
                    <a:pt x="753" y="744"/>
                  </a:lnTo>
                  <a:lnTo>
                    <a:pt x="755" y="743"/>
                  </a:lnTo>
                  <a:lnTo>
                    <a:pt x="756" y="742"/>
                  </a:lnTo>
                  <a:lnTo>
                    <a:pt x="757" y="741"/>
                  </a:lnTo>
                  <a:lnTo>
                    <a:pt x="758" y="741"/>
                  </a:lnTo>
                  <a:lnTo>
                    <a:pt x="758" y="742"/>
                  </a:lnTo>
                  <a:lnTo>
                    <a:pt x="761" y="742"/>
                  </a:lnTo>
                  <a:lnTo>
                    <a:pt x="761" y="743"/>
                  </a:lnTo>
                  <a:lnTo>
                    <a:pt x="761" y="746"/>
                  </a:lnTo>
                  <a:lnTo>
                    <a:pt x="763" y="749"/>
                  </a:lnTo>
                  <a:lnTo>
                    <a:pt x="764" y="752"/>
                  </a:lnTo>
                  <a:lnTo>
                    <a:pt x="765" y="750"/>
                  </a:lnTo>
                  <a:lnTo>
                    <a:pt x="767" y="750"/>
                  </a:lnTo>
                  <a:lnTo>
                    <a:pt x="768" y="753"/>
                  </a:lnTo>
                  <a:lnTo>
                    <a:pt x="769" y="755"/>
                  </a:lnTo>
                  <a:lnTo>
                    <a:pt x="770" y="755"/>
                  </a:lnTo>
                  <a:lnTo>
                    <a:pt x="770" y="756"/>
                  </a:lnTo>
                  <a:lnTo>
                    <a:pt x="769" y="756"/>
                  </a:lnTo>
                  <a:lnTo>
                    <a:pt x="767" y="756"/>
                  </a:lnTo>
                  <a:lnTo>
                    <a:pt x="764" y="760"/>
                  </a:lnTo>
                  <a:lnTo>
                    <a:pt x="765" y="760"/>
                  </a:lnTo>
                  <a:lnTo>
                    <a:pt x="767" y="760"/>
                  </a:lnTo>
                  <a:lnTo>
                    <a:pt x="768" y="760"/>
                  </a:lnTo>
                  <a:lnTo>
                    <a:pt x="767" y="761"/>
                  </a:lnTo>
                  <a:lnTo>
                    <a:pt x="765" y="764"/>
                  </a:lnTo>
                  <a:lnTo>
                    <a:pt x="763" y="764"/>
                  </a:lnTo>
                  <a:lnTo>
                    <a:pt x="761" y="762"/>
                  </a:lnTo>
                  <a:lnTo>
                    <a:pt x="759" y="764"/>
                  </a:lnTo>
                  <a:lnTo>
                    <a:pt x="759" y="765"/>
                  </a:lnTo>
                  <a:lnTo>
                    <a:pt x="758" y="764"/>
                  </a:lnTo>
                  <a:lnTo>
                    <a:pt x="757" y="762"/>
                  </a:lnTo>
                  <a:lnTo>
                    <a:pt x="756" y="762"/>
                  </a:lnTo>
                  <a:lnTo>
                    <a:pt x="756" y="761"/>
                  </a:lnTo>
                  <a:lnTo>
                    <a:pt x="753" y="764"/>
                  </a:lnTo>
                  <a:lnTo>
                    <a:pt x="751" y="762"/>
                  </a:lnTo>
                  <a:lnTo>
                    <a:pt x="750" y="764"/>
                  </a:lnTo>
                  <a:lnTo>
                    <a:pt x="749" y="762"/>
                  </a:lnTo>
                  <a:lnTo>
                    <a:pt x="747" y="761"/>
                  </a:lnTo>
                  <a:lnTo>
                    <a:pt x="746" y="760"/>
                  </a:lnTo>
                  <a:lnTo>
                    <a:pt x="744" y="759"/>
                  </a:lnTo>
                  <a:lnTo>
                    <a:pt x="741" y="759"/>
                  </a:lnTo>
                  <a:lnTo>
                    <a:pt x="739" y="755"/>
                  </a:lnTo>
                  <a:lnTo>
                    <a:pt x="736" y="753"/>
                  </a:lnTo>
                  <a:lnTo>
                    <a:pt x="735" y="754"/>
                  </a:lnTo>
                  <a:lnTo>
                    <a:pt x="734" y="754"/>
                  </a:lnTo>
                  <a:lnTo>
                    <a:pt x="730" y="754"/>
                  </a:lnTo>
                  <a:lnTo>
                    <a:pt x="730" y="750"/>
                  </a:lnTo>
                  <a:lnTo>
                    <a:pt x="734" y="752"/>
                  </a:lnTo>
                  <a:lnTo>
                    <a:pt x="734" y="748"/>
                  </a:lnTo>
                  <a:lnTo>
                    <a:pt x="733" y="747"/>
                  </a:lnTo>
                  <a:lnTo>
                    <a:pt x="734" y="746"/>
                  </a:lnTo>
                  <a:lnTo>
                    <a:pt x="735" y="746"/>
                  </a:lnTo>
                  <a:lnTo>
                    <a:pt x="735" y="744"/>
                  </a:lnTo>
                  <a:lnTo>
                    <a:pt x="736" y="746"/>
                  </a:lnTo>
                  <a:lnTo>
                    <a:pt x="736" y="747"/>
                  </a:lnTo>
                  <a:lnTo>
                    <a:pt x="738" y="750"/>
                  </a:lnTo>
                  <a:lnTo>
                    <a:pt x="740" y="753"/>
                  </a:lnTo>
                  <a:lnTo>
                    <a:pt x="741" y="753"/>
                  </a:lnTo>
                  <a:lnTo>
                    <a:pt x="741" y="754"/>
                  </a:lnTo>
                  <a:lnTo>
                    <a:pt x="744" y="755"/>
                  </a:lnTo>
                  <a:lnTo>
                    <a:pt x="746" y="754"/>
                  </a:lnTo>
                  <a:lnTo>
                    <a:pt x="747" y="754"/>
                  </a:lnTo>
                  <a:lnTo>
                    <a:pt x="750" y="754"/>
                  </a:lnTo>
                  <a:lnTo>
                    <a:pt x="751" y="753"/>
                  </a:lnTo>
                  <a:lnTo>
                    <a:pt x="750" y="749"/>
                  </a:lnTo>
                  <a:lnTo>
                    <a:pt x="749" y="749"/>
                  </a:lnTo>
                  <a:lnTo>
                    <a:pt x="747" y="749"/>
                  </a:lnTo>
                  <a:lnTo>
                    <a:pt x="746" y="752"/>
                  </a:lnTo>
                  <a:lnTo>
                    <a:pt x="746" y="749"/>
                  </a:lnTo>
                  <a:lnTo>
                    <a:pt x="745" y="747"/>
                  </a:lnTo>
                  <a:lnTo>
                    <a:pt x="745" y="744"/>
                  </a:lnTo>
                  <a:lnTo>
                    <a:pt x="743" y="741"/>
                  </a:lnTo>
                  <a:lnTo>
                    <a:pt x="746" y="740"/>
                  </a:lnTo>
                  <a:lnTo>
                    <a:pt x="743" y="738"/>
                  </a:lnTo>
                  <a:lnTo>
                    <a:pt x="743" y="737"/>
                  </a:lnTo>
                  <a:lnTo>
                    <a:pt x="741" y="736"/>
                  </a:lnTo>
                  <a:lnTo>
                    <a:pt x="740" y="735"/>
                  </a:lnTo>
                  <a:lnTo>
                    <a:pt x="739" y="734"/>
                  </a:lnTo>
                  <a:lnTo>
                    <a:pt x="741" y="731"/>
                  </a:lnTo>
                  <a:lnTo>
                    <a:pt x="740" y="730"/>
                  </a:lnTo>
                  <a:lnTo>
                    <a:pt x="739" y="730"/>
                  </a:lnTo>
                  <a:lnTo>
                    <a:pt x="736" y="730"/>
                  </a:lnTo>
                  <a:lnTo>
                    <a:pt x="735" y="731"/>
                  </a:lnTo>
                  <a:lnTo>
                    <a:pt x="735" y="732"/>
                  </a:lnTo>
                  <a:lnTo>
                    <a:pt x="734" y="734"/>
                  </a:lnTo>
                  <a:lnTo>
                    <a:pt x="736" y="735"/>
                  </a:lnTo>
                  <a:lnTo>
                    <a:pt x="736" y="736"/>
                  </a:lnTo>
                  <a:lnTo>
                    <a:pt x="738" y="736"/>
                  </a:lnTo>
                  <a:lnTo>
                    <a:pt x="739" y="736"/>
                  </a:lnTo>
                  <a:lnTo>
                    <a:pt x="741" y="736"/>
                  </a:lnTo>
                  <a:lnTo>
                    <a:pt x="741" y="737"/>
                  </a:lnTo>
                  <a:lnTo>
                    <a:pt x="740" y="737"/>
                  </a:lnTo>
                  <a:lnTo>
                    <a:pt x="739" y="737"/>
                  </a:lnTo>
                  <a:lnTo>
                    <a:pt x="738" y="738"/>
                  </a:lnTo>
                  <a:lnTo>
                    <a:pt x="736" y="740"/>
                  </a:lnTo>
                  <a:lnTo>
                    <a:pt x="735" y="737"/>
                  </a:lnTo>
                  <a:lnTo>
                    <a:pt x="735" y="736"/>
                  </a:lnTo>
                  <a:lnTo>
                    <a:pt x="734" y="736"/>
                  </a:lnTo>
                  <a:lnTo>
                    <a:pt x="732" y="735"/>
                  </a:lnTo>
                  <a:lnTo>
                    <a:pt x="730" y="735"/>
                  </a:lnTo>
                  <a:lnTo>
                    <a:pt x="729" y="734"/>
                  </a:lnTo>
                  <a:lnTo>
                    <a:pt x="728" y="732"/>
                  </a:lnTo>
                  <a:lnTo>
                    <a:pt x="726" y="729"/>
                  </a:lnTo>
                  <a:lnTo>
                    <a:pt x="724" y="729"/>
                  </a:lnTo>
                  <a:lnTo>
                    <a:pt x="722" y="728"/>
                  </a:lnTo>
                  <a:lnTo>
                    <a:pt x="722" y="726"/>
                  </a:lnTo>
                  <a:lnTo>
                    <a:pt x="720" y="725"/>
                  </a:lnTo>
                  <a:lnTo>
                    <a:pt x="718" y="724"/>
                  </a:lnTo>
                  <a:lnTo>
                    <a:pt x="717" y="723"/>
                  </a:lnTo>
                  <a:lnTo>
                    <a:pt x="716" y="722"/>
                  </a:lnTo>
                  <a:lnTo>
                    <a:pt x="716" y="719"/>
                  </a:lnTo>
                  <a:lnTo>
                    <a:pt x="718" y="719"/>
                  </a:lnTo>
                  <a:lnTo>
                    <a:pt x="721" y="719"/>
                  </a:lnTo>
                  <a:lnTo>
                    <a:pt x="721" y="718"/>
                  </a:lnTo>
                  <a:lnTo>
                    <a:pt x="721" y="716"/>
                  </a:lnTo>
                  <a:lnTo>
                    <a:pt x="721" y="714"/>
                  </a:lnTo>
                  <a:lnTo>
                    <a:pt x="720" y="713"/>
                  </a:lnTo>
                  <a:lnTo>
                    <a:pt x="721" y="711"/>
                  </a:lnTo>
                  <a:lnTo>
                    <a:pt x="721" y="707"/>
                  </a:lnTo>
                  <a:lnTo>
                    <a:pt x="720" y="711"/>
                  </a:lnTo>
                  <a:lnTo>
                    <a:pt x="718" y="713"/>
                  </a:lnTo>
                  <a:lnTo>
                    <a:pt x="716" y="713"/>
                  </a:lnTo>
                  <a:lnTo>
                    <a:pt x="714" y="713"/>
                  </a:lnTo>
                  <a:lnTo>
                    <a:pt x="712" y="712"/>
                  </a:lnTo>
                  <a:lnTo>
                    <a:pt x="711" y="711"/>
                  </a:lnTo>
                  <a:lnTo>
                    <a:pt x="709" y="710"/>
                  </a:lnTo>
                  <a:lnTo>
                    <a:pt x="708" y="710"/>
                  </a:lnTo>
                  <a:lnTo>
                    <a:pt x="708" y="707"/>
                  </a:lnTo>
                  <a:lnTo>
                    <a:pt x="706" y="706"/>
                  </a:lnTo>
                  <a:lnTo>
                    <a:pt x="705" y="706"/>
                  </a:lnTo>
                  <a:lnTo>
                    <a:pt x="703" y="707"/>
                  </a:lnTo>
                  <a:lnTo>
                    <a:pt x="702" y="708"/>
                  </a:lnTo>
                  <a:lnTo>
                    <a:pt x="702" y="707"/>
                  </a:lnTo>
                  <a:lnTo>
                    <a:pt x="700" y="706"/>
                  </a:lnTo>
                  <a:lnTo>
                    <a:pt x="699" y="705"/>
                  </a:lnTo>
                  <a:lnTo>
                    <a:pt x="698" y="702"/>
                  </a:lnTo>
                  <a:lnTo>
                    <a:pt x="698" y="699"/>
                  </a:lnTo>
                  <a:lnTo>
                    <a:pt x="697" y="697"/>
                  </a:lnTo>
                  <a:lnTo>
                    <a:pt x="696" y="695"/>
                  </a:lnTo>
                  <a:lnTo>
                    <a:pt x="696" y="694"/>
                  </a:lnTo>
                  <a:lnTo>
                    <a:pt x="697" y="693"/>
                  </a:lnTo>
                  <a:lnTo>
                    <a:pt x="697" y="691"/>
                  </a:lnTo>
                  <a:lnTo>
                    <a:pt x="699" y="693"/>
                  </a:lnTo>
                  <a:lnTo>
                    <a:pt x="699" y="691"/>
                  </a:lnTo>
                  <a:lnTo>
                    <a:pt x="699" y="694"/>
                  </a:lnTo>
                  <a:lnTo>
                    <a:pt x="700" y="694"/>
                  </a:lnTo>
                  <a:lnTo>
                    <a:pt x="702" y="694"/>
                  </a:lnTo>
                  <a:lnTo>
                    <a:pt x="702" y="691"/>
                  </a:lnTo>
                  <a:lnTo>
                    <a:pt x="703" y="689"/>
                  </a:lnTo>
                  <a:lnTo>
                    <a:pt x="704" y="690"/>
                  </a:lnTo>
                  <a:lnTo>
                    <a:pt x="705" y="691"/>
                  </a:lnTo>
                  <a:lnTo>
                    <a:pt x="705" y="690"/>
                  </a:lnTo>
                  <a:lnTo>
                    <a:pt x="705" y="689"/>
                  </a:lnTo>
                  <a:lnTo>
                    <a:pt x="704" y="687"/>
                  </a:lnTo>
                  <a:lnTo>
                    <a:pt x="705" y="687"/>
                  </a:lnTo>
                  <a:lnTo>
                    <a:pt x="704" y="683"/>
                  </a:lnTo>
                  <a:lnTo>
                    <a:pt x="705" y="682"/>
                  </a:lnTo>
                  <a:lnTo>
                    <a:pt x="706" y="679"/>
                  </a:lnTo>
                  <a:lnTo>
                    <a:pt x="706" y="678"/>
                  </a:lnTo>
                  <a:lnTo>
                    <a:pt x="708" y="677"/>
                  </a:lnTo>
                  <a:lnTo>
                    <a:pt x="709" y="679"/>
                  </a:lnTo>
                  <a:lnTo>
                    <a:pt x="710" y="681"/>
                  </a:lnTo>
                  <a:lnTo>
                    <a:pt x="709" y="682"/>
                  </a:lnTo>
                  <a:lnTo>
                    <a:pt x="710" y="684"/>
                  </a:lnTo>
                  <a:lnTo>
                    <a:pt x="710" y="687"/>
                  </a:lnTo>
                  <a:lnTo>
                    <a:pt x="712" y="687"/>
                  </a:lnTo>
                  <a:lnTo>
                    <a:pt x="712" y="685"/>
                  </a:lnTo>
                  <a:lnTo>
                    <a:pt x="714" y="690"/>
                  </a:lnTo>
                  <a:lnTo>
                    <a:pt x="711" y="689"/>
                  </a:lnTo>
                  <a:lnTo>
                    <a:pt x="709" y="690"/>
                  </a:lnTo>
                  <a:lnTo>
                    <a:pt x="710" y="691"/>
                  </a:lnTo>
                  <a:lnTo>
                    <a:pt x="710" y="693"/>
                  </a:lnTo>
                  <a:lnTo>
                    <a:pt x="712" y="693"/>
                  </a:lnTo>
                  <a:lnTo>
                    <a:pt x="712" y="691"/>
                  </a:lnTo>
                  <a:lnTo>
                    <a:pt x="714" y="691"/>
                  </a:lnTo>
                  <a:lnTo>
                    <a:pt x="716" y="690"/>
                  </a:lnTo>
                  <a:lnTo>
                    <a:pt x="717" y="690"/>
                  </a:lnTo>
                  <a:lnTo>
                    <a:pt x="717" y="693"/>
                  </a:lnTo>
                  <a:lnTo>
                    <a:pt x="718" y="694"/>
                  </a:lnTo>
                  <a:lnTo>
                    <a:pt x="721" y="695"/>
                  </a:lnTo>
                  <a:lnTo>
                    <a:pt x="721" y="696"/>
                  </a:lnTo>
                  <a:lnTo>
                    <a:pt x="723" y="696"/>
                  </a:lnTo>
                  <a:lnTo>
                    <a:pt x="723" y="695"/>
                  </a:lnTo>
                  <a:lnTo>
                    <a:pt x="724" y="694"/>
                  </a:lnTo>
                  <a:lnTo>
                    <a:pt x="726" y="691"/>
                  </a:lnTo>
                  <a:lnTo>
                    <a:pt x="726" y="690"/>
                  </a:lnTo>
                  <a:lnTo>
                    <a:pt x="726" y="688"/>
                  </a:lnTo>
                  <a:lnTo>
                    <a:pt x="723" y="687"/>
                  </a:lnTo>
                  <a:lnTo>
                    <a:pt x="726" y="684"/>
                  </a:lnTo>
                  <a:lnTo>
                    <a:pt x="727" y="682"/>
                  </a:lnTo>
                  <a:lnTo>
                    <a:pt x="724" y="678"/>
                  </a:lnTo>
                  <a:lnTo>
                    <a:pt x="723" y="677"/>
                  </a:lnTo>
                  <a:lnTo>
                    <a:pt x="720" y="676"/>
                  </a:lnTo>
                  <a:lnTo>
                    <a:pt x="715" y="676"/>
                  </a:lnTo>
                  <a:lnTo>
                    <a:pt x="711" y="676"/>
                  </a:lnTo>
                  <a:lnTo>
                    <a:pt x="708" y="676"/>
                  </a:lnTo>
                  <a:lnTo>
                    <a:pt x="705" y="677"/>
                  </a:lnTo>
                  <a:lnTo>
                    <a:pt x="704" y="677"/>
                  </a:lnTo>
                  <a:lnTo>
                    <a:pt x="703" y="677"/>
                  </a:lnTo>
                  <a:lnTo>
                    <a:pt x="702" y="677"/>
                  </a:lnTo>
                  <a:lnTo>
                    <a:pt x="700" y="678"/>
                  </a:lnTo>
                  <a:lnTo>
                    <a:pt x="698" y="676"/>
                  </a:lnTo>
                  <a:lnTo>
                    <a:pt x="696" y="673"/>
                  </a:lnTo>
                  <a:lnTo>
                    <a:pt x="693" y="672"/>
                  </a:lnTo>
                  <a:lnTo>
                    <a:pt x="692" y="672"/>
                  </a:lnTo>
                  <a:lnTo>
                    <a:pt x="690" y="672"/>
                  </a:lnTo>
                  <a:lnTo>
                    <a:pt x="687" y="672"/>
                  </a:lnTo>
                  <a:lnTo>
                    <a:pt x="686" y="672"/>
                  </a:lnTo>
                  <a:lnTo>
                    <a:pt x="687" y="673"/>
                  </a:lnTo>
                  <a:lnTo>
                    <a:pt x="687" y="675"/>
                  </a:lnTo>
                  <a:lnTo>
                    <a:pt x="690" y="675"/>
                  </a:lnTo>
                  <a:lnTo>
                    <a:pt x="691" y="675"/>
                  </a:lnTo>
                  <a:lnTo>
                    <a:pt x="690" y="676"/>
                  </a:lnTo>
                  <a:lnTo>
                    <a:pt x="690" y="677"/>
                  </a:lnTo>
                  <a:lnTo>
                    <a:pt x="686" y="677"/>
                  </a:lnTo>
                  <a:lnTo>
                    <a:pt x="684" y="678"/>
                  </a:lnTo>
                  <a:lnTo>
                    <a:pt x="681" y="682"/>
                  </a:lnTo>
                  <a:lnTo>
                    <a:pt x="680" y="683"/>
                  </a:lnTo>
                  <a:lnTo>
                    <a:pt x="679" y="682"/>
                  </a:lnTo>
                  <a:lnTo>
                    <a:pt x="678" y="681"/>
                  </a:lnTo>
                  <a:lnTo>
                    <a:pt x="676" y="681"/>
                  </a:lnTo>
                  <a:lnTo>
                    <a:pt x="673" y="682"/>
                  </a:lnTo>
                  <a:lnTo>
                    <a:pt x="671" y="681"/>
                  </a:lnTo>
                  <a:lnTo>
                    <a:pt x="671" y="679"/>
                  </a:lnTo>
                  <a:lnTo>
                    <a:pt x="669" y="678"/>
                  </a:lnTo>
                  <a:lnTo>
                    <a:pt x="668" y="678"/>
                  </a:lnTo>
                  <a:lnTo>
                    <a:pt x="665" y="678"/>
                  </a:lnTo>
                  <a:lnTo>
                    <a:pt x="664" y="679"/>
                  </a:lnTo>
                  <a:lnTo>
                    <a:pt x="662" y="679"/>
                  </a:lnTo>
                  <a:lnTo>
                    <a:pt x="662" y="681"/>
                  </a:lnTo>
                  <a:lnTo>
                    <a:pt x="661" y="681"/>
                  </a:lnTo>
                  <a:lnTo>
                    <a:pt x="659" y="684"/>
                  </a:lnTo>
                  <a:lnTo>
                    <a:pt x="656" y="684"/>
                  </a:lnTo>
                  <a:lnTo>
                    <a:pt x="655" y="683"/>
                  </a:lnTo>
                  <a:lnTo>
                    <a:pt x="655" y="682"/>
                  </a:lnTo>
                  <a:lnTo>
                    <a:pt x="651" y="681"/>
                  </a:lnTo>
                  <a:lnTo>
                    <a:pt x="650" y="682"/>
                  </a:lnTo>
                  <a:lnTo>
                    <a:pt x="649" y="684"/>
                  </a:lnTo>
                  <a:lnTo>
                    <a:pt x="647" y="684"/>
                  </a:lnTo>
                  <a:lnTo>
                    <a:pt x="647" y="683"/>
                  </a:lnTo>
                  <a:lnTo>
                    <a:pt x="646" y="682"/>
                  </a:lnTo>
                  <a:lnTo>
                    <a:pt x="645" y="681"/>
                  </a:lnTo>
                  <a:lnTo>
                    <a:pt x="645" y="678"/>
                  </a:lnTo>
                  <a:lnTo>
                    <a:pt x="644" y="675"/>
                  </a:lnTo>
                  <a:lnTo>
                    <a:pt x="644" y="673"/>
                  </a:lnTo>
                  <a:lnTo>
                    <a:pt x="643" y="672"/>
                  </a:lnTo>
                  <a:lnTo>
                    <a:pt x="641" y="672"/>
                  </a:lnTo>
                  <a:lnTo>
                    <a:pt x="639" y="673"/>
                  </a:lnTo>
                  <a:lnTo>
                    <a:pt x="637" y="673"/>
                  </a:lnTo>
                  <a:lnTo>
                    <a:pt x="626" y="676"/>
                  </a:lnTo>
                  <a:lnTo>
                    <a:pt x="621" y="677"/>
                  </a:lnTo>
                  <a:lnTo>
                    <a:pt x="619" y="677"/>
                  </a:lnTo>
                  <a:lnTo>
                    <a:pt x="616" y="678"/>
                  </a:lnTo>
                  <a:lnTo>
                    <a:pt x="614" y="679"/>
                  </a:lnTo>
                  <a:lnTo>
                    <a:pt x="611" y="679"/>
                  </a:lnTo>
                  <a:lnTo>
                    <a:pt x="605" y="679"/>
                  </a:lnTo>
                  <a:lnTo>
                    <a:pt x="602" y="681"/>
                  </a:lnTo>
                  <a:lnTo>
                    <a:pt x="600" y="683"/>
                  </a:lnTo>
                  <a:lnTo>
                    <a:pt x="594" y="683"/>
                  </a:lnTo>
                  <a:lnTo>
                    <a:pt x="592" y="681"/>
                  </a:lnTo>
                  <a:lnTo>
                    <a:pt x="588" y="681"/>
                  </a:lnTo>
                  <a:lnTo>
                    <a:pt x="584" y="682"/>
                  </a:lnTo>
                  <a:lnTo>
                    <a:pt x="574" y="682"/>
                  </a:lnTo>
                  <a:lnTo>
                    <a:pt x="572" y="682"/>
                  </a:lnTo>
                  <a:lnTo>
                    <a:pt x="572" y="683"/>
                  </a:lnTo>
                  <a:lnTo>
                    <a:pt x="572" y="688"/>
                  </a:lnTo>
                  <a:lnTo>
                    <a:pt x="573" y="687"/>
                  </a:lnTo>
                  <a:lnTo>
                    <a:pt x="574" y="688"/>
                  </a:lnTo>
                  <a:lnTo>
                    <a:pt x="574" y="690"/>
                  </a:lnTo>
                  <a:lnTo>
                    <a:pt x="575" y="691"/>
                  </a:lnTo>
                  <a:lnTo>
                    <a:pt x="575" y="690"/>
                  </a:lnTo>
                  <a:lnTo>
                    <a:pt x="576" y="690"/>
                  </a:lnTo>
                  <a:lnTo>
                    <a:pt x="578" y="691"/>
                  </a:lnTo>
                  <a:lnTo>
                    <a:pt x="579" y="690"/>
                  </a:lnTo>
                  <a:lnTo>
                    <a:pt x="580" y="690"/>
                  </a:lnTo>
                  <a:lnTo>
                    <a:pt x="582" y="690"/>
                  </a:lnTo>
                  <a:lnTo>
                    <a:pt x="585" y="690"/>
                  </a:lnTo>
                  <a:lnTo>
                    <a:pt x="585" y="691"/>
                  </a:lnTo>
                  <a:lnTo>
                    <a:pt x="586" y="690"/>
                  </a:lnTo>
                  <a:lnTo>
                    <a:pt x="587" y="690"/>
                  </a:lnTo>
                  <a:lnTo>
                    <a:pt x="588" y="694"/>
                  </a:lnTo>
                  <a:lnTo>
                    <a:pt x="588" y="691"/>
                  </a:lnTo>
                  <a:lnTo>
                    <a:pt x="591" y="693"/>
                  </a:lnTo>
                  <a:lnTo>
                    <a:pt x="591" y="694"/>
                  </a:lnTo>
                  <a:lnTo>
                    <a:pt x="591" y="695"/>
                  </a:lnTo>
                  <a:lnTo>
                    <a:pt x="592" y="695"/>
                  </a:lnTo>
                  <a:lnTo>
                    <a:pt x="591" y="696"/>
                  </a:lnTo>
                  <a:lnTo>
                    <a:pt x="593" y="697"/>
                  </a:lnTo>
                  <a:lnTo>
                    <a:pt x="597" y="699"/>
                  </a:lnTo>
                  <a:lnTo>
                    <a:pt x="597" y="701"/>
                  </a:lnTo>
                  <a:lnTo>
                    <a:pt x="596" y="701"/>
                  </a:lnTo>
                  <a:lnTo>
                    <a:pt x="596" y="705"/>
                  </a:lnTo>
                  <a:lnTo>
                    <a:pt x="596" y="707"/>
                  </a:lnTo>
                  <a:lnTo>
                    <a:pt x="597" y="707"/>
                  </a:lnTo>
                  <a:lnTo>
                    <a:pt x="596" y="711"/>
                  </a:lnTo>
                  <a:lnTo>
                    <a:pt x="596" y="713"/>
                  </a:lnTo>
                  <a:lnTo>
                    <a:pt x="597" y="714"/>
                  </a:lnTo>
                  <a:lnTo>
                    <a:pt x="594" y="716"/>
                  </a:lnTo>
                  <a:lnTo>
                    <a:pt x="591" y="717"/>
                  </a:lnTo>
                  <a:lnTo>
                    <a:pt x="590" y="718"/>
                  </a:lnTo>
                  <a:lnTo>
                    <a:pt x="587" y="718"/>
                  </a:lnTo>
                  <a:lnTo>
                    <a:pt x="586" y="719"/>
                  </a:lnTo>
                  <a:lnTo>
                    <a:pt x="585" y="719"/>
                  </a:lnTo>
                  <a:lnTo>
                    <a:pt x="580" y="719"/>
                  </a:lnTo>
                  <a:lnTo>
                    <a:pt x="582" y="720"/>
                  </a:lnTo>
                  <a:lnTo>
                    <a:pt x="586" y="723"/>
                  </a:lnTo>
                  <a:lnTo>
                    <a:pt x="587" y="723"/>
                  </a:lnTo>
                  <a:lnTo>
                    <a:pt x="588" y="723"/>
                  </a:lnTo>
                  <a:lnTo>
                    <a:pt x="592" y="723"/>
                  </a:lnTo>
                  <a:lnTo>
                    <a:pt x="606" y="723"/>
                  </a:lnTo>
                  <a:lnTo>
                    <a:pt x="606" y="722"/>
                  </a:lnTo>
                  <a:lnTo>
                    <a:pt x="610" y="722"/>
                  </a:lnTo>
                  <a:lnTo>
                    <a:pt x="610" y="724"/>
                  </a:lnTo>
                  <a:lnTo>
                    <a:pt x="612" y="724"/>
                  </a:lnTo>
                  <a:lnTo>
                    <a:pt x="616" y="724"/>
                  </a:lnTo>
                  <a:lnTo>
                    <a:pt x="623" y="725"/>
                  </a:lnTo>
                  <a:lnTo>
                    <a:pt x="626" y="726"/>
                  </a:lnTo>
                  <a:lnTo>
                    <a:pt x="628" y="726"/>
                  </a:lnTo>
                  <a:lnTo>
                    <a:pt x="631" y="725"/>
                  </a:lnTo>
                  <a:lnTo>
                    <a:pt x="631" y="723"/>
                  </a:lnTo>
                  <a:lnTo>
                    <a:pt x="631" y="722"/>
                  </a:lnTo>
                  <a:lnTo>
                    <a:pt x="628" y="722"/>
                  </a:lnTo>
                  <a:lnTo>
                    <a:pt x="627" y="722"/>
                  </a:lnTo>
                  <a:lnTo>
                    <a:pt x="627" y="720"/>
                  </a:lnTo>
                  <a:lnTo>
                    <a:pt x="626" y="718"/>
                  </a:lnTo>
                  <a:lnTo>
                    <a:pt x="627" y="717"/>
                  </a:lnTo>
                  <a:lnTo>
                    <a:pt x="629" y="717"/>
                  </a:lnTo>
                  <a:lnTo>
                    <a:pt x="633" y="717"/>
                  </a:lnTo>
                  <a:lnTo>
                    <a:pt x="635" y="717"/>
                  </a:lnTo>
                  <a:lnTo>
                    <a:pt x="637" y="718"/>
                  </a:lnTo>
                  <a:lnTo>
                    <a:pt x="637" y="717"/>
                  </a:lnTo>
                  <a:lnTo>
                    <a:pt x="640" y="717"/>
                  </a:lnTo>
                  <a:lnTo>
                    <a:pt x="639" y="719"/>
                  </a:lnTo>
                  <a:lnTo>
                    <a:pt x="640" y="720"/>
                  </a:lnTo>
                  <a:lnTo>
                    <a:pt x="641" y="720"/>
                  </a:lnTo>
                  <a:lnTo>
                    <a:pt x="644" y="719"/>
                  </a:lnTo>
                  <a:lnTo>
                    <a:pt x="644" y="717"/>
                  </a:lnTo>
                  <a:lnTo>
                    <a:pt x="647" y="717"/>
                  </a:lnTo>
                  <a:lnTo>
                    <a:pt x="649" y="716"/>
                  </a:lnTo>
                  <a:lnTo>
                    <a:pt x="650" y="714"/>
                  </a:lnTo>
                  <a:lnTo>
                    <a:pt x="649" y="713"/>
                  </a:lnTo>
                  <a:lnTo>
                    <a:pt x="651" y="713"/>
                  </a:lnTo>
                  <a:lnTo>
                    <a:pt x="652" y="713"/>
                  </a:lnTo>
                  <a:lnTo>
                    <a:pt x="653" y="713"/>
                  </a:lnTo>
                  <a:lnTo>
                    <a:pt x="653" y="712"/>
                  </a:lnTo>
                  <a:lnTo>
                    <a:pt x="655" y="712"/>
                  </a:lnTo>
                  <a:lnTo>
                    <a:pt x="656" y="711"/>
                  </a:lnTo>
                  <a:lnTo>
                    <a:pt x="657" y="711"/>
                  </a:lnTo>
                  <a:lnTo>
                    <a:pt x="658" y="711"/>
                  </a:lnTo>
                  <a:lnTo>
                    <a:pt x="658" y="710"/>
                  </a:lnTo>
                  <a:lnTo>
                    <a:pt x="663" y="710"/>
                  </a:lnTo>
                  <a:lnTo>
                    <a:pt x="663" y="711"/>
                  </a:lnTo>
                  <a:lnTo>
                    <a:pt x="664" y="711"/>
                  </a:lnTo>
                  <a:lnTo>
                    <a:pt x="665" y="711"/>
                  </a:lnTo>
                  <a:lnTo>
                    <a:pt x="668" y="711"/>
                  </a:lnTo>
                  <a:lnTo>
                    <a:pt x="668" y="712"/>
                  </a:lnTo>
                  <a:lnTo>
                    <a:pt x="671" y="714"/>
                  </a:lnTo>
                  <a:lnTo>
                    <a:pt x="671" y="716"/>
                  </a:lnTo>
                  <a:lnTo>
                    <a:pt x="674" y="716"/>
                  </a:lnTo>
                  <a:lnTo>
                    <a:pt x="674" y="718"/>
                  </a:lnTo>
                  <a:lnTo>
                    <a:pt x="675" y="718"/>
                  </a:lnTo>
                  <a:lnTo>
                    <a:pt x="676" y="718"/>
                  </a:lnTo>
                  <a:lnTo>
                    <a:pt x="676" y="719"/>
                  </a:lnTo>
                  <a:lnTo>
                    <a:pt x="678" y="719"/>
                  </a:lnTo>
                  <a:lnTo>
                    <a:pt x="678" y="720"/>
                  </a:lnTo>
                  <a:lnTo>
                    <a:pt x="678" y="722"/>
                  </a:lnTo>
                  <a:lnTo>
                    <a:pt x="680" y="720"/>
                  </a:lnTo>
                  <a:lnTo>
                    <a:pt x="679" y="725"/>
                  </a:lnTo>
                  <a:lnTo>
                    <a:pt x="681" y="725"/>
                  </a:lnTo>
                  <a:lnTo>
                    <a:pt x="685" y="726"/>
                  </a:lnTo>
                  <a:lnTo>
                    <a:pt x="686" y="730"/>
                  </a:lnTo>
                  <a:lnTo>
                    <a:pt x="687" y="730"/>
                  </a:lnTo>
                  <a:lnTo>
                    <a:pt x="688" y="730"/>
                  </a:lnTo>
                  <a:lnTo>
                    <a:pt x="690" y="729"/>
                  </a:lnTo>
                  <a:lnTo>
                    <a:pt x="691" y="726"/>
                  </a:lnTo>
                  <a:lnTo>
                    <a:pt x="694" y="726"/>
                  </a:lnTo>
                  <a:lnTo>
                    <a:pt x="694" y="728"/>
                  </a:lnTo>
                  <a:lnTo>
                    <a:pt x="697" y="728"/>
                  </a:lnTo>
                  <a:lnTo>
                    <a:pt x="700" y="728"/>
                  </a:lnTo>
                  <a:lnTo>
                    <a:pt x="702" y="730"/>
                  </a:lnTo>
                  <a:lnTo>
                    <a:pt x="702" y="731"/>
                  </a:lnTo>
                  <a:lnTo>
                    <a:pt x="702" y="732"/>
                  </a:lnTo>
                  <a:lnTo>
                    <a:pt x="703" y="735"/>
                  </a:lnTo>
                  <a:lnTo>
                    <a:pt x="704" y="736"/>
                  </a:lnTo>
                  <a:lnTo>
                    <a:pt x="705" y="736"/>
                  </a:lnTo>
                  <a:lnTo>
                    <a:pt x="705" y="738"/>
                  </a:lnTo>
                  <a:lnTo>
                    <a:pt x="704" y="741"/>
                  </a:lnTo>
                  <a:lnTo>
                    <a:pt x="705" y="743"/>
                  </a:lnTo>
                  <a:lnTo>
                    <a:pt x="703" y="744"/>
                  </a:lnTo>
                  <a:lnTo>
                    <a:pt x="704" y="744"/>
                  </a:lnTo>
                  <a:lnTo>
                    <a:pt x="705" y="744"/>
                  </a:lnTo>
                  <a:lnTo>
                    <a:pt x="705" y="746"/>
                  </a:lnTo>
                  <a:lnTo>
                    <a:pt x="710" y="749"/>
                  </a:lnTo>
                  <a:lnTo>
                    <a:pt x="711" y="749"/>
                  </a:lnTo>
                  <a:lnTo>
                    <a:pt x="712" y="749"/>
                  </a:lnTo>
                  <a:lnTo>
                    <a:pt x="714" y="749"/>
                  </a:lnTo>
                  <a:lnTo>
                    <a:pt x="714" y="748"/>
                  </a:lnTo>
                  <a:lnTo>
                    <a:pt x="716" y="748"/>
                  </a:lnTo>
                  <a:lnTo>
                    <a:pt x="716" y="749"/>
                  </a:lnTo>
                  <a:lnTo>
                    <a:pt x="718" y="749"/>
                  </a:lnTo>
                  <a:lnTo>
                    <a:pt x="718" y="752"/>
                  </a:lnTo>
                  <a:lnTo>
                    <a:pt x="721" y="755"/>
                  </a:lnTo>
                  <a:lnTo>
                    <a:pt x="721" y="756"/>
                  </a:lnTo>
                  <a:lnTo>
                    <a:pt x="720" y="756"/>
                  </a:lnTo>
                  <a:lnTo>
                    <a:pt x="718" y="758"/>
                  </a:lnTo>
                  <a:lnTo>
                    <a:pt x="718" y="760"/>
                  </a:lnTo>
                  <a:lnTo>
                    <a:pt x="717" y="761"/>
                  </a:lnTo>
                  <a:lnTo>
                    <a:pt x="720" y="760"/>
                  </a:lnTo>
                  <a:lnTo>
                    <a:pt x="720" y="759"/>
                  </a:lnTo>
                  <a:lnTo>
                    <a:pt x="722" y="759"/>
                  </a:lnTo>
                  <a:lnTo>
                    <a:pt x="722" y="760"/>
                  </a:lnTo>
                  <a:lnTo>
                    <a:pt x="723" y="760"/>
                  </a:lnTo>
                  <a:lnTo>
                    <a:pt x="723" y="761"/>
                  </a:lnTo>
                  <a:lnTo>
                    <a:pt x="724" y="762"/>
                  </a:lnTo>
                  <a:lnTo>
                    <a:pt x="723" y="762"/>
                  </a:lnTo>
                  <a:lnTo>
                    <a:pt x="723" y="765"/>
                  </a:lnTo>
                  <a:lnTo>
                    <a:pt x="724" y="768"/>
                  </a:lnTo>
                  <a:lnTo>
                    <a:pt x="724" y="771"/>
                  </a:lnTo>
                  <a:lnTo>
                    <a:pt x="726" y="771"/>
                  </a:lnTo>
                  <a:lnTo>
                    <a:pt x="727" y="773"/>
                  </a:lnTo>
                  <a:lnTo>
                    <a:pt x="727" y="772"/>
                  </a:lnTo>
                  <a:lnTo>
                    <a:pt x="728" y="773"/>
                  </a:lnTo>
                  <a:lnTo>
                    <a:pt x="730" y="774"/>
                  </a:lnTo>
                  <a:lnTo>
                    <a:pt x="730" y="777"/>
                  </a:lnTo>
                  <a:lnTo>
                    <a:pt x="727" y="774"/>
                  </a:lnTo>
                  <a:lnTo>
                    <a:pt x="728" y="777"/>
                  </a:lnTo>
                  <a:lnTo>
                    <a:pt x="728" y="778"/>
                  </a:lnTo>
                  <a:lnTo>
                    <a:pt x="726" y="777"/>
                  </a:lnTo>
                  <a:lnTo>
                    <a:pt x="723" y="774"/>
                  </a:lnTo>
                  <a:lnTo>
                    <a:pt x="723" y="778"/>
                  </a:lnTo>
                  <a:lnTo>
                    <a:pt x="723" y="779"/>
                  </a:lnTo>
                  <a:lnTo>
                    <a:pt x="724" y="779"/>
                  </a:lnTo>
                  <a:lnTo>
                    <a:pt x="726" y="780"/>
                  </a:lnTo>
                  <a:lnTo>
                    <a:pt x="726" y="783"/>
                  </a:lnTo>
                  <a:lnTo>
                    <a:pt x="727" y="784"/>
                  </a:lnTo>
                  <a:lnTo>
                    <a:pt x="727" y="785"/>
                  </a:lnTo>
                  <a:lnTo>
                    <a:pt x="728" y="785"/>
                  </a:lnTo>
                  <a:lnTo>
                    <a:pt x="728" y="783"/>
                  </a:lnTo>
                  <a:lnTo>
                    <a:pt x="729" y="784"/>
                  </a:lnTo>
                  <a:lnTo>
                    <a:pt x="730" y="786"/>
                  </a:lnTo>
                  <a:lnTo>
                    <a:pt x="732" y="789"/>
                  </a:lnTo>
                  <a:lnTo>
                    <a:pt x="733" y="790"/>
                  </a:lnTo>
                  <a:lnTo>
                    <a:pt x="735" y="791"/>
                  </a:lnTo>
                  <a:lnTo>
                    <a:pt x="735" y="792"/>
                  </a:lnTo>
                  <a:lnTo>
                    <a:pt x="736" y="794"/>
                  </a:lnTo>
                  <a:lnTo>
                    <a:pt x="739" y="795"/>
                  </a:lnTo>
                  <a:lnTo>
                    <a:pt x="739" y="797"/>
                  </a:lnTo>
                  <a:lnTo>
                    <a:pt x="738" y="798"/>
                  </a:lnTo>
                  <a:lnTo>
                    <a:pt x="736" y="801"/>
                  </a:lnTo>
                  <a:lnTo>
                    <a:pt x="738" y="802"/>
                  </a:lnTo>
                  <a:lnTo>
                    <a:pt x="736" y="804"/>
                  </a:lnTo>
                  <a:lnTo>
                    <a:pt x="735" y="806"/>
                  </a:lnTo>
                  <a:lnTo>
                    <a:pt x="733" y="806"/>
                  </a:lnTo>
                  <a:lnTo>
                    <a:pt x="732" y="807"/>
                  </a:lnTo>
                  <a:lnTo>
                    <a:pt x="730" y="806"/>
                  </a:lnTo>
                  <a:lnTo>
                    <a:pt x="729" y="806"/>
                  </a:lnTo>
                  <a:lnTo>
                    <a:pt x="728" y="806"/>
                  </a:lnTo>
                  <a:lnTo>
                    <a:pt x="727" y="806"/>
                  </a:lnTo>
                  <a:lnTo>
                    <a:pt x="726" y="803"/>
                  </a:lnTo>
                  <a:lnTo>
                    <a:pt x="724" y="802"/>
                  </a:lnTo>
                  <a:lnTo>
                    <a:pt x="723" y="802"/>
                  </a:lnTo>
                  <a:lnTo>
                    <a:pt x="721" y="801"/>
                  </a:lnTo>
                  <a:lnTo>
                    <a:pt x="720" y="801"/>
                  </a:lnTo>
                  <a:lnTo>
                    <a:pt x="720" y="800"/>
                  </a:lnTo>
                  <a:lnTo>
                    <a:pt x="718" y="798"/>
                  </a:lnTo>
                  <a:lnTo>
                    <a:pt x="715" y="797"/>
                  </a:lnTo>
                  <a:lnTo>
                    <a:pt x="714" y="797"/>
                  </a:lnTo>
                  <a:lnTo>
                    <a:pt x="712" y="797"/>
                  </a:lnTo>
                  <a:lnTo>
                    <a:pt x="712" y="796"/>
                  </a:lnTo>
                  <a:lnTo>
                    <a:pt x="710" y="795"/>
                  </a:lnTo>
                  <a:lnTo>
                    <a:pt x="709" y="792"/>
                  </a:lnTo>
                  <a:lnTo>
                    <a:pt x="709" y="790"/>
                  </a:lnTo>
                  <a:lnTo>
                    <a:pt x="708" y="790"/>
                  </a:lnTo>
                  <a:lnTo>
                    <a:pt x="708" y="791"/>
                  </a:lnTo>
                  <a:lnTo>
                    <a:pt x="706" y="792"/>
                  </a:lnTo>
                  <a:lnTo>
                    <a:pt x="709" y="794"/>
                  </a:lnTo>
                  <a:lnTo>
                    <a:pt x="709" y="795"/>
                  </a:lnTo>
                  <a:lnTo>
                    <a:pt x="705" y="792"/>
                  </a:lnTo>
                  <a:lnTo>
                    <a:pt x="706" y="795"/>
                  </a:lnTo>
                  <a:lnTo>
                    <a:pt x="706" y="796"/>
                  </a:lnTo>
                  <a:lnTo>
                    <a:pt x="705" y="796"/>
                  </a:lnTo>
                  <a:lnTo>
                    <a:pt x="703" y="798"/>
                  </a:lnTo>
                  <a:lnTo>
                    <a:pt x="702" y="798"/>
                  </a:lnTo>
                  <a:lnTo>
                    <a:pt x="700" y="798"/>
                  </a:lnTo>
                  <a:lnTo>
                    <a:pt x="699" y="797"/>
                  </a:lnTo>
                  <a:lnTo>
                    <a:pt x="700" y="796"/>
                  </a:lnTo>
                  <a:lnTo>
                    <a:pt x="704" y="796"/>
                  </a:lnTo>
                  <a:lnTo>
                    <a:pt x="703" y="795"/>
                  </a:lnTo>
                  <a:lnTo>
                    <a:pt x="703" y="794"/>
                  </a:lnTo>
                  <a:lnTo>
                    <a:pt x="702" y="792"/>
                  </a:lnTo>
                  <a:lnTo>
                    <a:pt x="700" y="790"/>
                  </a:lnTo>
                  <a:lnTo>
                    <a:pt x="700" y="791"/>
                  </a:lnTo>
                  <a:lnTo>
                    <a:pt x="699" y="790"/>
                  </a:lnTo>
                  <a:lnTo>
                    <a:pt x="697" y="792"/>
                  </a:lnTo>
                  <a:lnTo>
                    <a:pt x="694" y="791"/>
                  </a:lnTo>
                  <a:lnTo>
                    <a:pt x="697" y="790"/>
                  </a:lnTo>
                  <a:lnTo>
                    <a:pt x="696" y="789"/>
                  </a:lnTo>
                  <a:lnTo>
                    <a:pt x="693" y="788"/>
                  </a:lnTo>
                  <a:lnTo>
                    <a:pt x="692" y="788"/>
                  </a:lnTo>
                  <a:lnTo>
                    <a:pt x="690" y="786"/>
                  </a:lnTo>
                  <a:lnTo>
                    <a:pt x="690" y="788"/>
                  </a:lnTo>
                  <a:lnTo>
                    <a:pt x="687" y="788"/>
                  </a:lnTo>
                  <a:lnTo>
                    <a:pt x="685" y="786"/>
                  </a:lnTo>
                  <a:lnTo>
                    <a:pt x="684" y="786"/>
                  </a:lnTo>
                  <a:lnTo>
                    <a:pt x="685" y="785"/>
                  </a:lnTo>
                  <a:lnTo>
                    <a:pt x="684" y="783"/>
                  </a:lnTo>
                  <a:lnTo>
                    <a:pt x="682" y="784"/>
                  </a:lnTo>
                  <a:lnTo>
                    <a:pt x="681" y="784"/>
                  </a:lnTo>
                  <a:lnTo>
                    <a:pt x="680" y="784"/>
                  </a:lnTo>
                  <a:lnTo>
                    <a:pt x="680" y="785"/>
                  </a:lnTo>
                  <a:lnTo>
                    <a:pt x="678" y="785"/>
                  </a:lnTo>
                  <a:lnTo>
                    <a:pt x="678" y="786"/>
                  </a:lnTo>
                  <a:lnTo>
                    <a:pt x="679" y="788"/>
                  </a:lnTo>
                  <a:lnTo>
                    <a:pt x="680" y="789"/>
                  </a:lnTo>
                  <a:lnTo>
                    <a:pt x="681" y="790"/>
                  </a:lnTo>
                  <a:lnTo>
                    <a:pt x="682" y="791"/>
                  </a:lnTo>
                  <a:lnTo>
                    <a:pt x="685" y="794"/>
                  </a:lnTo>
                  <a:lnTo>
                    <a:pt x="684" y="794"/>
                  </a:lnTo>
                  <a:lnTo>
                    <a:pt x="682" y="792"/>
                  </a:lnTo>
                  <a:lnTo>
                    <a:pt x="681" y="791"/>
                  </a:lnTo>
                  <a:lnTo>
                    <a:pt x="680" y="792"/>
                  </a:lnTo>
                  <a:lnTo>
                    <a:pt x="678" y="792"/>
                  </a:lnTo>
                  <a:lnTo>
                    <a:pt x="676" y="792"/>
                  </a:lnTo>
                  <a:lnTo>
                    <a:pt x="675" y="792"/>
                  </a:lnTo>
                  <a:lnTo>
                    <a:pt x="675" y="794"/>
                  </a:lnTo>
                  <a:lnTo>
                    <a:pt x="674" y="794"/>
                  </a:lnTo>
                  <a:lnTo>
                    <a:pt x="671" y="797"/>
                  </a:lnTo>
                  <a:lnTo>
                    <a:pt x="669" y="798"/>
                  </a:lnTo>
                  <a:lnTo>
                    <a:pt x="668" y="798"/>
                  </a:lnTo>
                  <a:lnTo>
                    <a:pt x="665" y="800"/>
                  </a:lnTo>
                  <a:lnTo>
                    <a:pt x="664" y="798"/>
                  </a:lnTo>
                  <a:lnTo>
                    <a:pt x="663" y="798"/>
                  </a:lnTo>
                  <a:lnTo>
                    <a:pt x="663" y="800"/>
                  </a:lnTo>
                  <a:lnTo>
                    <a:pt x="664" y="801"/>
                  </a:lnTo>
                  <a:lnTo>
                    <a:pt x="665" y="802"/>
                  </a:lnTo>
                  <a:lnTo>
                    <a:pt x="669" y="803"/>
                  </a:lnTo>
                  <a:lnTo>
                    <a:pt x="669" y="804"/>
                  </a:lnTo>
                  <a:lnTo>
                    <a:pt x="669" y="806"/>
                  </a:lnTo>
                  <a:lnTo>
                    <a:pt x="668" y="806"/>
                  </a:lnTo>
                  <a:lnTo>
                    <a:pt x="663" y="803"/>
                  </a:lnTo>
                  <a:lnTo>
                    <a:pt x="663" y="806"/>
                  </a:lnTo>
                  <a:lnTo>
                    <a:pt x="662" y="806"/>
                  </a:lnTo>
                  <a:lnTo>
                    <a:pt x="661" y="804"/>
                  </a:lnTo>
                  <a:lnTo>
                    <a:pt x="657" y="806"/>
                  </a:lnTo>
                  <a:lnTo>
                    <a:pt x="656" y="803"/>
                  </a:lnTo>
                  <a:lnTo>
                    <a:pt x="653" y="803"/>
                  </a:lnTo>
                  <a:lnTo>
                    <a:pt x="652" y="804"/>
                  </a:lnTo>
                  <a:lnTo>
                    <a:pt x="651" y="804"/>
                  </a:lnTo>
                  <a:lnTo>
                    <a:pt x="650" y="802"/>
                  </a:lnTo>
                  <a:lnTo>
                    <a:pt x="645" y="801"/>
                  </a:lnTo>
                  <a:lnTo>
                    <a:pt x="644" y="801"/>
                  </a:lnTo>
                  <a:lnTo>
                    <a:pt x="643" y="802"/>
                  </a:lnTo>
                  <a:lnTo>
                    <a:pt x="643" y="803"/>
                  </a:lnTo>
                  <a:lnTo>
                    <a:pt x="643" y="804"/>
                  </a:lnTo>
                  <a:lnTo>
                    <a:pt x="644" y="807"/>
                  </a:lnTo>
                  <a:lnTo>
                    <a:pt x="645" y="808"/>
                  </a:lnTo>
                  <a:lnTo>
                    <a:pt x="645" y="809"/>
                  </a:lnTo>
                  <a:lnTo>
                    <a:pt x="644" y="809"/>
                  </a:lnTo>
                  <a:lnTo>
                    <a:pt x="643" y="808"/>
                  </a:lnTo>
                  <a:lnTo>
                    <a:pt x="641" y="808"/>
                  </a:lnTo>
                  <a:lnTo>
                    <a:pt x="641" y="809"/>
                  </a:lnTo>
                  <a:lnTo>
                    <a:pt x="639" y="808"/>
                  </a:lnTo>
                  <a:lnTo>
                    <a:pt x="637" y="812"/>
                  </a:lnTo>
                  <a:lnTo>
                    <a:pt x="635" y="809"/>
                  </a:lnTo>
                  <a:lnTo>
                    <a:pt x="634" y="809"/>
                  </a:lnTo>
                  <a:lnTo>
                    <a:pt x="632" y="810"/>
                  </a:lnTo>
                  <a:lnTo>
                    <a:pt x="631" y="810"/>
                  </a:lnTo>
                  <a:lnTo>
                    <a:pt x="631" y="809"/>
                  </a:lnTo>
                  <a:lnTo>
                    <a:pt x="631" y="808"/>
                  </a:lnTo>
                  <a:lnTo>
                    <a:pt x="629" y="804"/>
                  </a:lnTo>
                  <a:lnTo>
                    <a:pt x="631" y="802"/>
                  </a:lnTo>
                  <a:lnTo>
                    <a:pt x="634" y="803"/>
                  </a:lnTo>
                  <a:lnTo>
                    <a:pt x="634" y="801"/>
                  </a:lnTo>
                  <a:lnTo>
                    <a:pt x="635" y="798"/>
                  </a:lnTo>
                  <a:lnTo>
                    <a:pt x="634" y="797"/>
                  </a:lnTo>
                  <a:lnTo>
                    <a:pt x="633" y="798"/>
                  </a:lnTo>
                  <a:lnTo>
                    <a:pt x="632" y="802"/>
                  </a:lnTo>
                  <a:lnTo>
                    <a:pt x="629" y="798"/>
                  </a:lnTo>
                  <a:lnTo>
                    <a:pt x="627" y="797"/>
                  </a:lnTo>
                  <a:lnTo>
                    <a:pt x="627" y="795"/>
                  </a:lnTo>
                  <a:lnTo>
                    <a:pt x="625" y="796"/>
                  </a:lnTo>
                  <a:lnTo>
                    <a:pt x="623" y="792"/>
                  </a:lnTo>
                  <a:lnTo>
                    <a:pt x="625" y="790"/>
                  </a:lnTo>
                  <a:lnTo>
                    <a:pt x="627" y="791"/>
                  </a:lnTo>
                  <a:lnTo>
                    <a:pt x="627" y="790"/>
                  </a:lnTo>
                  <a:lnTo>
                    <a:pt x="628" y="790"/>
                  </a:lnTo>
                  <a:lnTo>
                    <a:pt x="629" y="790"/>
                  </a:lnTo>
                  <a:lnTo>
                    <a:pt x="635" y="791"/>
                  </a:lnTo>
                  <a:lnTo>
                    <a:pt x="635" y="790"/>
                  </a:lnTo>
                  <a:lnTo>
                    <a:pt x="634" y="790"/>
                  </a:lnTo>
                  <a:lnTo>
                    <a:pt x="634" y="789"/>
                  </a:lnTo>
                  <a:lnTo>
                    <a:pt x="637" y="789"/>
                  </a:lnTo>
                  <a:lnTo>
                    <a:pt x="637" y="786"/>
                  </a:lnTo>
                  <a:lnTo>
                    <a:pt x="639" y="785"/>
                  </a:lnTo>
                  <a:lnTo>
                    <a:pt x="641" y="785"/>
                  </a:lnTo>
                  <a:lnTo>
                    <a:pt x="640" y="782"/>
                  </a:lnTo>
                  <a:lnTo>
                    <a:pt x="639" y="780"/>
                  </a:lnTo>
                  <a:lnTo>
                    <a:pt x="640" y="778"/>
                  </a:lnTo>
                  <a:lnTo>
                    <a:pt x="640" y="777"/>
                  </a:lnTo>
                  <a:lnTo>
                    <a:pt x="641" y="774"/>
                  </a:lnTo>
                  <a:lnTo>
                    <a:pt x="643" y="771"/>
                  </a:lnTo>
                  <a:lnTo>
                    <a:pt x="643" y="770"/>
                  </a:lnTo>
                  <a:lnTo>
                    <a:pt x="644" y="770"/>
                  </a:lnTo>
                  <a:lnTo>
                    <a:pt x="645" y="768"/>
                  </a:lnTo>
                  <a:lnTo>
                    <a:pt x="646" y="767"/>
                  </a:lnTo>
                  <a:lnTo>
                    <a:pt x="646" y="766"/>
                  </a:lnTo>
                  <a:lnTo>
                    <a:pt x="645" y="766"/>
                  </a:lnTo>
                  <a:lnTo>
                    <a:pt x="643" y="767"/>
                  </a:lnTo>
                  <a:lnTo>
                    <a:pt x="641" y="768"/>
                  </a:lnTo>
                  <a:lnTo>
                    <a:pt x="641" y="765"/>
                  </a:lnTo>
                  <a:lnTo>
                    <a:pt x="638" y="765"/>
                  </a:lnTo>
                  <a:lnTo>
                    <a:pt x="635" y="765"/>
                  </a:lnTo>
                  <a:lnTo>
                    <a:pt x="633" y="764"/>
                  </a:lnTo>
                  <a:lnTo>
                    <a:pt x="634" y="760"/>
                  </a:lnTo>
                  <a:lnTo>
                    <a:pt x="634" y="759"/>
                  </a:lnTo>
                  <a:lnTo>
                    <a:pt x="635" y="759"/>
                  </a:lnTo>
                  <a:lnTo>
                    <a:pt x="638" y="760"/>
                  </a:lnTo>
                  <a:lnTo>
                    <a:pt x="639" y="759"/>
                  </a:lnTo>
                  <a:lnTo>
                    <a:pt x="640" y="759"/>
                  </a:lnTo>
                  <a:lnTo>
                    <a:pt x="639" y="758"/>
                  </a:lnTo>
                  <a:lnTo>
                    <a:pt x="638" y="758"/>
                  </a:lnTo>
                  <a:lnTo>
                    <a:pt x="638" y="755"/>
                  </a:lnTo>
                  <a:lnTo>
                    <a:pt x="637" y="755"/>
                  </a:lnTo>
                  <a:lnTo>
                    <a:pt x="637" y="754"/>
                  </a:lnTo>
                  <a:lnTo>
                    <a:pt x="638" y="753"/>
                  </a:lnTo>
                  <a:lnTo>
                    <a:pt x="638" y="754"/>
                  </a:lnTo>
                  <a:lnTo>
                    <a:pt x="638" y="752"/>
                  </a:lnTo>
                  <a:lnTo>
                    <a:pt x="638" y="750"/>
                  </a:lnTo>
                  <a:lnTo>
                    <a:pt x="638" y="748"/>
                  </a:lnTo>
                  <a:lnTo>
                    <a:pt x="639" y="748"/>
                  </a:lnTo>
                  <a:lnTo>
                    <a:pt x="640" y="748"/>
                  </a:lnTo>
                  <a:lnTo>
                    <a:pt x="643" y="748"/>
                  </a:lnTo>
                  <a:lnTo>
                    <a:pt x="640" y="747"/>
                  </a:lnTo>
                  <a:lnTo>
                    <a:pt x="638" y="746"/>
                  </a:lnTo>
                  <a:lnTo>
                    <a:pt x="638" y="743"/>
                  </a:lnTo>
                  <a:lnTo>
                    <a:pt x="635" y="741"/>
                  </a:lnTo>
                  <a:lnTo>
                    <a:pt x="635" y="740"/>
                  </a:lnTo>
                  <a:lnTo>
                    <a:pt x="634" y="738"/>
                  </a:lnTo>
                  <a:lnTo>
                    <a:pt x="635" y="737"/>
                  </a:lnTo>
                  <a:lnTo>
                    <a:pt x="637" y="736"/>
                  </a:lnTo>
                  <a:lnTo>
                    <a:pt x="638" y="736"/>
                  </a:lnTo>
                  <a:lnTo>
                    <a:pt x="638" y="735"/>
                  </a:lnTo>
                  <a:lnTo>
                    <a:pt x="634" y="734"/>
                  </a:lnTo>
                  <a:lnTo>
                    <a:pt x="632" y="734"/>
                  </a:lnTo>
                  <a:lnTo>
                    <a:pt x="632" y="735"/>
                  </a:lnTo>
                  <a:lnTo>
                    <a:pt x="632" y="737"/>
                  </a:lnTo>
                  <a:lnTo>
                    <a:pt x="631" y="737"/>
                  </a:lnTo>
                  <a:lnTo>
                    <a:pt x="629" y="737"/>
                  </a:lnTo>
                  <a:lnTo>
                    <a:pt x="628" y="736"/>
                  </a:lnTo>
                  <a:lnTo>
                    <a:pt x="628" y="732"/>
                  </a:lnTo>
                  <a:lnTo>
                    <a:pt x="625" y="731"/>
                  </a:lnTo>
                  <a:lnTo>
                    <a:pt x="617" y="730"/>
                  </a:lnTo>
                  <a:lnTo>
                    <a:pt x="610" y="729"/>
                  </a:lnTo>
                  <a:lnTo>
                    <a:pt x="606" y="729"/>
                  </a:lnTo>
                  <a:lnTo>
                    <a:pt x="604" y="728"/>
                  </a:lnTo>
                  <a:lnTo>
                    <a:pt x="600" y="728"/>
                  </a:lnTo>
                  <a:lnTo>
                    <a:pt x="598" y="728"/>
                  </a:lnTo>
                  <a:lnTo>
                    <a:pt x="596" y="728"/>
                  </a:lnTo>
                  <a:lnTo>
                    <a:pt x="594" y="729"/>
                  </a:lnTo>
                  <a:lnTo>
                    <a:pt x="593" y="730"/>
                  </a:lnTo>
                  <a:lnTo>
                    <a:pt x="596" y="732"/>
                  </a:lnTo>
                  <a:lnTo>
                    <a:pt x="593" y="732"/>
                  </a:lnTo>
                  <a:lnTo>
                    <a:pt x="592" y="732"/>
                  </a:lnTo>
                  <a:lnTo>
                    <a:pt x="591" y="731"/>
                  </a:lnTo>
                  <a:lnTo>
                    <a:pt x="588" y="732"/>
                  </a:lnTo>
                  <a:lnTo>
                    <a:pt x="587" y="732"/>
                  </a:lnTo>
                  <a:lnTo>
                    <a:pt x="586" y="731"/>
                  </a:lnTo>
                  <a:lnTo>
                    <a:pt x="585" y="732"/>
                  </a:lnTo>
                  <a:lnTo>
                    <a:pt x="586" y="735"/>
                  </a:lnTo>
                  <a:lnTo>
                    <a:pt x="586" y="736"/>
                  </a:lnTo>
                  <a:lnTo>
                    <a:pt x="585" y="736"/>
                  </a:lnTo>
                  <a:lnTo>
                    <a:pt x="582" y="736"/>
                  </a:lnTo>
                  <a:lnTo>
                    <a:pt x="580" y="736"/>
                  </a:lnTo>
                  <a:lnTo>
                    <a:pt x="579" y="735"/>
                  </a:lnTo>
                  <a:lnTo>
                    <a:pt x="575" y="736"/>
                  </a:lnTo>
                  <a:lnTo>
                    <a:pt x="574" y="737"/>
                  </a:lnTo>
                  <a:lnTo>
                    <a:pt x="574" y="738"/>
                  </a:lnTo>
                  <a:lnTo>
                    <a:pt x="573" y="740"/>
                  </a:lnTo>
                  <a:lnTo>
                    <a:pt x="572" y="740"/>
                  </a:lnTo>
                  <a:lnTo>
                    <a:pt x="570" y="741"/>
                  </a:lnTo>
                  <a:lnTo>
                    <a:pt x="569" y="747"/>
                  </a:lnTo>
                  <a:lnTo>
                    <a:pt x="568" y="747"/>
                  </a:lnTo>
                  <a:lnTo>
                    <a:pt x="567" y="748"/>
                  </a:lnTo>
                  <a:lnTo>
                    <a:pt x="564" y="748"/>
                  </a:lnTo>
                  <a:lnTo>
                    <a:pt x="564" y="747"/>
                  </a:lnTo>
                  <a:lnTo>
                    <a:pt x="561" y="748"/>
                  </a:lnTo>
                  <a:lnTo>
                    <a:pt x="562" y="744"/>
                  </a:lnTo>
                  <a:lnTo>
                    <a:pt x="558" y="744"/>
                  </a:lnTo>
                  <a:lnTo>
                    <a:pt x="557" y="742"/>
                  </a:lnTo>
                  <a:lnTo>
                    <a:pt x="555" y="741"/>
                  </a:lnTo>
                  <a:lnTo>
                    <a:pt x="553" y="741"/>
                  </a:lnTo>
                  <a:lnTo>
                    <a:pt x="552" y="740"/>
                  </a:lnTo>
                  <a:lnTo>
                    <a:pt x="547" y="741"/>
                  </a:lnTo>
                  <a:lnTo>
                    <a:pt x="544" y="742"/>
                  </a:lnTo>
                  <a:lnTo>
                    <a:pt x="539" y="743"/>
                  </a:lnTo>
                  <a:lnTo>
                    <a:pt x="538" y="744"/>
                  </a:lnTo>
                  <a:lnTo>
                    <a:pt x="537" y="746"/>
                  </a:lnTo>
                  <a:lnTo>
                    <a:pt x="541" y="747"/>
                  </a:lnTo>
                  <a:lnTo>
                    <a:pt x="543" y="746"/>
                  </a:lnTo>
                  <a:lnTo>
                    <a:pt x="544" y="744"/>
                  </a:lnTo>
                  <a:lnTo>
                    <a:pt x="549" y="747"/>
                  </a:lnTo>
                  <a:lnTo>
                    <a:pt x="549" y="748"/>
                  </a:lnTo>
                  <a:lnTo>
                    <a:pt x="547" y="749"/>
                  </a:lnTo>
                  <a:lnTo>
                    <a:pt x="545" y="752"/>
                  </a:lnTo>
                  <a:lnTo>
                    <a:pt x="547" y="753"/>
                  </a:lnTo>
                  <a:lnTo>
                    <a:pt x="547" y="758"/>
                  </a:lnTo>
                  <a:lnTo>
                    <a:pt x="547" y="760"/>
                  </a:lnTo>
                  <a:lnTo>
                    <a:pt x="546" y="761"/>
                  </a:lnTo>
                  <a:lnTo>
                    <a:pt x="547" y="761"/>
                  </a:lnTo>
                  <a:lnTo>
                    <a:pt x="549" y="760"/>
                  </a:lnTo>
                  <a:lnTo>
                    <a:pt x="550" y="761"/>
                  </a:lnTo>
                  <a:lnTo>
                    <a:pt x="549" y="765"/>
                  </a:lnTo>
                  <a:lnTo>
                    <a:pt x="549" y="767"/>
                  </a:lnTo>
                  <a:lnTo>
                    <a:pt x="547" y="767"/>
                  </a:lnTo>
                  <a:lnTo>
                    <a:pt x="545" y="766"/>
                  </a:lnTo>
                  <a:lnTo>
                    <a:pt x="544" y="766"/>
                  </a:lnTo>
                  <a:lnTo>
                    <a:pt x="544" y="768"/>
                  </a:lnTo>
                  <a:lnTo>
                    <a:pt x="546" y="768"/>
                  </a:lnTo>
                  <a:lnTo>
                    <a:pt x="547" y="770"/>
                  </a:lnTo>
                  <a:lnTo>
                    <a:pt x="549" y="772"/>
                  </a:lnTo>
                  <a:lnTo>
                    <a:pt x="549" y="773"/>
                  </a:lnTo>
                  <a:lnTo>
                    <a:pt x="547" y="774"/>
                  </a:lnTo>
                  <a:lnTo>
                    <a:pt x="546" y="776"/>
                  </a:lnTo>
                  <a:lnTo>
                    <a:pt x="544" y="774"/>
                  </a:lnTo>
                  <a:lnTo>
                    <a:pt x="543" y="773"/>
                  </a:lnTo>
                  <a:lnTo>
                    <a:pt x="539" y="773"/>
                  </a:lnTo>
                  <a:lnTo>
                    <a:pt x="539" y="774"/>
                  </a:lnTo>
                  <a:lnTo>
                    <a:pt x="538" y="776"/>
                  </a:lnTo>
                  <a:lnTo>
                    <a:pt x="538" y="777"/>
                  </a:lnTo>
                  <a:lnTo>
                    <a:pt x="539" y="777"/>
                  </a:lnTo>
                  <a:lnTo>
                    <a:pt x="541" y="776"/>
                  </a:lnTo>
                  <a:lnTo>
                    <a:pt x="544" y="776"/>
                  </a:lnTo>
                  <a:lnTo>
                    <a:pt x="545" y="776"/>
                  </a:lnTo>
                  <a:lnTo>
                    <a:pt x="545" y="777"/>
                  </a:lnTo>
                  <a:lnTo>
                    <a:pt x="546" y="777"/>
                  </a:lnTo>
                  <a:lnTo>
                    <a:pt x="546" y="778"/>
                  </a:lnTo>
                  <a:lnTo>
                    <a:pt x="543" y="779"/>
                  </a:lnTo>
                  <a:lnTo>
                    <a:pt x="540" y="782"/>
                  </a:lnTo>
                  <a:lnTo>
                    <a:pt x="539" y="780"/>
                  </a:lnTo>
                  <a:lnTo>
                    <a:pt x="539" y="782"/>
                  </a:lnTo>
                  <a:lnTo>
                    <a:pt x="540" y="783"/>
                  </a:lnTo>
                  <a:lnTo>
                    <a:pt x="537" y="784"/>
                  </a:lnTo>
                  <a:lnTo>
                    <a:pt x="539" y="785"/>
                  </a:lnTo>
                  <a:lnTo>
                    <a:pt x="540" y="786"/>
                  </a:lnTo>
                  <a:lnTo>
                    <a:pt x="540" y="788"/>
                  </a:lnTo>
                  <a:lnTo>
                    <a:pt x="540" y="789"/>
                  </a:lnTo>
                  <a:lnTo>
                    <a:pt x="539" y="789"/>
                  </a:lnTo>
                  <a:lnTo>
                    <a:pt x="538" y="788"/>
                  </a:lnTo>
                  <a:lnTo>
                    <a:pt x="535" y="788"/>
                  </a:lnTo>
                  <a:lnTo>
                    <a:pt x="534" y="785"/>
                  </a:lnTo>
                  <a:lnTo>
                    <a:pt x="534" y="783"/>
                  </a:lnTo>
                  <a:lnTo>
                    <a:pt x="533" y="783"/>
                  </a:lnTo>
                  <a:lnTo>
                    <a:pt x="533" y="784"/>
                  </a:lnTo>
                  <a:lnTo>
                    <a:pt x="533" y="785"/>
                  </a:lnTo>
                  <a:lnTo>
                    <a:pt x="532" y="785"/>
                  </a:lnTo>
                  <a:lnTo>
                    <a:pt x="532" y="784"/>
                  </a:lnTo>
                  <a:lnTo>
                    <a:pt x="528" y="786"/>
                  </a:lnTo>
                  <a:lnTo>
                    <a:pt x="528" y="785"/>
                  </a:lnTo>
                  <a:lnTo>
                    <a:pt x="527" y="784"/>
                  </a:lnTo>
                  <a:lnTo>
                    <a:pt x="527" y="783"/>
                  </a:lnTo>
                  <a:lnTo>
                    <a:pt x="528" y="782"/>
                  </a:lnTo>
                  <a:lnTo>
                    <a:pt x="525" y="779"/>
                  </a:lnTo>
                  <a:lnTo>
                    <a:pt x="527" y="779"/>
                  </a:lnTo>
                  <a:lnTo>
                    <a:pt x="528" y="780"/>
                  </a:lnTo>
                  <a:lnTo>
                    <a:pt x="529" y="779"/>
                  </a:lnTo>
                  <a:lnTo>
                    <a:pt x="529" y="780"/>
                  </a:lnTo>
                  <a:lnTo>
                    <a:pt x="531" y="782"/>
                  </a:lnTo>
                  <a:lnTo>
                    <a:pt x="533" y="782"/>
                  </a:lnTo>
                  <a:lnTo>
                    <a:pt x="532" y="780"/>
                  </a:lnTo>
                  <a:lnTo>
                    <a:pt x="531" y="779"/>
                  </a:lnTo>
                  <a:lnTo>
                    <a:pt x="529" y="777"/>
                  </a:lnTo>
                  <a:lnTo>
                    <a:pt x="528" y="777"/>
                  </a:lnTo>
                  <a:lnTo>
                    <a:pt x="527" y="777"/>
                  </a:lnTo>
                  <a:lnTo>
                    <a:pt x="526" y="776"/>
                  </a:lnTo>
                  <a:lnTo>
                    <a:pt x="527" y="776"/>
                  </a:lnTo>
                  <a:lnTo>
                    <a:pt x="528" y="774"/>
                  </a:lnTo>
                  <a:lnTo>
                    <a:pt x="529" y="772"/>
                  </a:lnTo>
                  <a:lnTo>
                    <a:pt x="531" y="771"/>
                  </a:lnTo>
                  <a:lnTo>
                    <a:pt x="529" y="771"/>
                  </a:lnTo>
                  <a:lnTo>
                    <a:pt x="528" y="772"/>
                  </a:lnTo>
                  <a:lnTo>
                    <a:pt x="526" y="774"/>
                  </a:lnTo>
                  <a:lnTo>
                    <a:pt x="523" y="776"/>
                  </a:lnTo>
                  <a:lnTo>
                    <a:pt x="521" y="779"/>
                  </a:lnTo>
                  <a:lnTo>
                    <a:pt x="517" y="783"/>
                  </a:lnTo>
                  <a:lnTo>
                    <a:pt x="511" y="790"/>
                  </a:lnTo>
                  <a:lnTo>
                    <a:pt x="509" y="794"/>
                  </a:lnTo>
                  <a:lnTo>
                    <a:pt x="509" y="797"/>
                  </a:lnTo>
                  <a:lnTo>
                    <a:pt x="510" y="800"/>
                  </a:lnTo>
                  <a:lnTo>
                    <a:pt x="511" y="801"/>
                  </a:lnTo>
                  <a:lnTo>
                    <a:pt x="514" y="802"/>
                  </a:lnTo>
                  <a:lnTo>
                    <a:pt x="515" y="803"/>
                  </a:lnTo>
                  <a:lnTo>
                    <a:pt x="520" y="802"/>
                  </a:lnTo>
                  <a:lnTo>
                    <a:pt x="525" y="801"/>
                  </a:lnTo>
                  <a:lnTo>
                    <a:pt x="529" y="800"/>
                  </a:lnTo>
                  <a:lnTo>
                    <a:pt x="535" y="798"/>
                  </a:lnTo>
                  <a:lnTo>
                    <a:pt x="540" y="798"/>
                  </a:lnTo>
                  <a:lnTo>
                    <a:pt x="546" y="797"/>
                  </a:lnTo>
                  <a:lnTo>
                    <a:pt x="551" y="796"/>
                  </a:lnTo>
                  <a:lnTo>
                    <a:pt x="556" y="794"/>
                  </a:lnTo>
                  <a:lnTo>
                    <a:pt x="567" y="794"/>
                  </a:lnTo>
                  <a:lnTo>
                    <a:pt x="579" y="792"/>
                  </a:lnTo>
                  <a:lnTo>
                    <a:pt x="591" y="791"/>
                  </a:lnTo>
                  <a:lnTo>
                    <a:pt x="593" y="791"/>
                  </a:lnTo>
                  <a:lnTo>
                    <a:pt x="594" y="789"/>
                  </a:lnTo>
                  <a:lnTo>
                    <a:pt x="597" y="786"/>
                  </a:lnTo>
                  <a:lnTo>
                    <a:pt x="597" y="785"/>
                  </a:lnTo>
                  <a:lnTo>
                    <a:pt x="598" y="786"/>
                  </a:lnTo>
                  <a:lnTo>
                    <a:pt x="597" y="789"/>
                  </a:lnTo>
                  <a:lnTo>
                    <a:pt x="598" y="790"/>
                  </a:lnTo>
                  <a:lnTo>
                    <a:pt x="600" y="790"/>
                  </a:lnTo>
                  <a:lnTo>
                    <a:pt x="603" y="790"/>
                  </a:lnTo>
                  <a:lnTo>
                    <a:pt x="604" y="790"/>
                  </a:lnTo>
                  <a:lnTo>
                    <a:pt x="603" y="791"/>
                  </a:lnTo>
                  <a:lnTo>
                    <a:pt x="599" y="794"/>
                  </a:lnTo>
                  <a:lnTo>
                    <a:pt x="597" y="795"/>
                  </a:lnTo>
                  <a:lnTo>
                    <a:pt x="593" y="795"/>
                  </a:lnTo>
                  <a:lnTo>
                    <a:pt x="587" y="797"/>
                  </a:lnTo>
                  <a:lnTo>
                    <a:pt x="581" y="797"/>
                  </a:lnTo>
                  <a:lnTo>
                    <a:pt x="574" y="797"/>
                  </a:lnTo>
                  <a:lnTo>
                    <a:pt x="570" y="798"/>
                  </a:lnTo>
                  <a:lnTo>
                    <a:pt x="567" y="800"/>
                  </a:lnTo>
                  <a:lnTo>
                    <a:pt x="560" y="800"/>
                  </a:lnTo>
                  <a:lnTo>
                    <a:pt x="553" y="801"/>
                  </a:lnTo>
                  <a:lnTo>
                    <a:pt x="549" y="802"/>
                  </a:lnTo>
                  <a:lnTo>
                    <a:pt x="543" y="804"/>
                  </a:lnTo>
                  <a:lnTo>
                    <a:pt x="539" y="806"/>
                  </a:lnTo>
                  <a:lnTo>
                    <a:pt x="535" y="807"/>
                  </a:lnTo>
                  <a:lnTo>
                    <a:pt x="531" y="808"/>
                  </a:lnTo>
                  <a:lnTo>
                    <a:pt x="527" y="809"/>
                  </a:lnTo>
                  <a:lnTo>
                    <a:pt x="523" y="812"/>
                  </a:lnTo>
                  <a:lnTo>
                    <a:pt x="520" y="813"/>
                  </a:lnTo>
                  <a:lnTo>
                    <a:pt x="515" y="814"/>
                  </a:lnTo>
                  <a:lnTo>
                    <a:pt x="513" y="815"/>
                  </a:lnTo>
                  <a:lnTo>
                    <a:pt x="511" y="817"/>
                  </a:lnTo>
                  <a:lnTo>
                    <a:pt x="511" y="818"/>
                  </a:lnTo>
                  <a:lnTo>
                    <a:pt x="511" y="819"/>
                  </a:lnTo>
                  <a:lnTo>
                    <a:pt x="513" y="823"/>
                  </a:lnTo>
                  <a:lnTo>
                    <a:pt x="514" y="826"/>
                  </a:lnTo>
                  <a:lnTo>
                    <a:pt x="515" y="830"/>
                  </a:lnTo>
                  <a:lnTo>
                    <a:pt x="515" y="833"/>
                  </a:lnTo>
                  <a:lnTo>
                    <a:pt x="515" y="837"/>
                  </a:lnTo>
                  <a:lnTo>
                    <a:pt x="513" y="842"/>
                  </a:lnTo>
                  <a:lnTo>
                    <a:pt x="511" y="847"/>
                  </a:lnTo>
                  <a:lnTo>
                    <a:pt x="510" y="853"/>
                  </a:lnTo>
                  <a:lnTo>
                    <a:pt x="510" y="857"/>
                  </a:lnTo>
                  <a:lnTo>
                    <a:pt x="509" y="861"/>
                  </a:lnTo>
                  <a:lnTo>
                    <a:pt x="509" y="869"/>
                  </a:lnTo>
                  <a:lnTo>
                    <a:pt x="510" y="877"/>
                  </a:lnTo>
                  <a:lnTo>
                    <a:pt x="510" y="884"/>
                  </a:lnTo>
                  <a:lnTo>
                    <a:pt x="511" y="891"/>
                  </a:lnTo>
                  <a:lnTo>
                    <a:pt x="511" y="926"/>
                  </a:lnTo>
                  <a:lnTo>
                    <a:pt x="511" y="937"/>
                  </a:lnTo>
                  <a:lnTo>
                    <a:pt x="510" y="946"/>
                  </a:lnTo>
                  <a:lnTo>
                    <a:pt x="510" y="950"/>
                  </a:lnTo>
                  <a:lnTo>
                    <a:pt x="509" y="952"/>
                  </a:lnTo>
                  <a:lnTo>
                    <a:pt x="508" y="955"/>
                  </a:lnTo>
                  <a:lnTo>
                    <a:pt x="505" y="957"/>
                  </a:lnTo>
                  <a:lnTo>
                    <a:pt x="501" y="958"/>
                  </a:lnTo>
                  <a:lnTo>
                    <a:pt x="497" y="960"/>
                  </a:lnTo>
                  <a:lnTo>
                    <a:pt x="492" y="960"/>
                  </a:lnTo>
                  <a:lnTo>
                    <a:pt x="487" y="960"/>
                  </a:lnTo>
                  <a:lnTo>
                    <a:pt x="481" y="958"/>
                  </a:lnTo>
                  <a:lnTo>
                    <a:pt x="478" y="958"/>
                  </a:lnTo>
                  <a:lnTo>
                    <a:pt x="473" y="957"/>
                  </a:lnTo>
                  <a:lnTo>
                    <a:pt x="472" y="956"/>
                  </a:lnTo>
                  <a:lnTo>
                    <a:pt x="470" y="955"/>
                  </a:lnTo>
                  <a:lnTo>
                    <a:pt x="469" y="954"/>
                  </a:lnTo>
                  <a:lnTo>
                    <a:pt x="468" y="952"/>
                  </a:lnTo>
                  <a:lnTo>
                    <a:pt x="469" y="946"/>
                  </a:lnTo>
                  <a:lnTo>
                    <a:pt x="470" y="942"/>
                  </a:lnTo>
                  <a:lnTo>
                    <a:pt x="470" y="940"/>
                  </a:lnTo>
                  <a:lnTo>
                    <a:pt x="472" y="937"/>
                  </a:lnTo>
                  <a:lnTo>
                    <a:pt x="472" y="932"/>
                  </a:lnTo>
                  <a:lnTo>
                    <a:pt x="472" y="928"/>
                  </a:lnTo>
                  <a:lnTo>
                    <a:pt x="473" y="924"/>
                  </a:lnTo>
                  <a:lnTo>
                    <a:pt x="473" y="904"/>
                  </a:lnTo>
                  <a:lnTo>
                    <a:pt x="473" y="901"/>
                  </a:lnTo>
                  <a:lnTo>
                    <a:pt x="472" y="896"/>
                  </a:lnTo>
                  <a:lnTo>
                    <a:pt x="472" y="892"/>
                  </a:lnTo>
                  <a:lnTo>
                    <a:pt x="472" y="889"/>
                  </a:lnTo>
                  <a:lnTo>
                    <a:pt x="474" y="881"/>
                  </a:lnTo>
                  <a:lnTo>
                    <a:pt x="474" y="878"/>
                  </a:lnTo>
                  <a:lnTo>
                    <a:pt x="474" y="873"/>
                  </a:lnTo>
                  <a:lnTo>
                    <a:pt x="474" y="865"/>
                  </a:lnTo>
                  <a:lnTo>
                    <a:pt x="474" y="860"/>
                  </a:lnTo>
                  <a:lnTo>
                    <a:pt x="475" y="855"/>
                  </a:lnTo>
                  <a:lnTo>
                    <a:pt x="475" y="850"/>
                  </a:lnTo>
                  <a:lnTo>
                    <a:pt x="476" y="847"/>
                  </a:lnTo>
                  <a:lnTo>
                    <a:pt x="475" y="837"/>
                  </a:lnTo>
                  <a:lnTo>
                    <a:pt x="475" y="833"/>
                  </a:lnTo>
                  <a:lnTo>
                    <a:pt x="475" y="831"/>
                  </a:lnTo>
                  <a:lnTo>
                    <a:pt x="473" y="830"/>
                  </a:lnTo>
                  <a:lnTo>
                    <a:pt x="472" y="827"/>
                  </a:lnTo>
                  <a:lnTo>
                    <a:pt x="469" y="826"/>
                  </a:lnTo>
                  <a:lnTo>
                    <a:pt x="464" y="825"/>
                  </a:lnTo>
                  <a:lnTo>
                    <a:pt x="456" y="821"/>
                  </a:lnTo>
                  <a:lnTo>
                    <a:pt x="449" y="818"/>
                  </a:lnTo>
                  <a:lnTo>
                    <a:pt x="444" y="815"/>
                  </a:lnTo>
                  <a:lnTo>
                    <a:pt x="440" y="813"/>
                  </a:lnTo>
                  <a:lnTo>
                    <a:pt x="434" y="808"/>
                  </a:lnTo>
                  <a:lnTo>
                    <a:pt x="432" y="807"/>
                  </a:lnTo>
                  <a:lnTo>
                    <a:pt x="431" y="807"/>
                  </a:lnTo>
                  <a:lnTo>
                    <a:pt x="426" y="806"/>
                  </a:lnTo>
                  <a:lnTo>
                    <a:pt x="420" y="806"/>
                  </a:lnTo>
                  <a:lnTo>
                    <a:pt x="415" y="806"/>
                  </a:lnTo>
                  <a:lnTo>
                    <a:pt x="409" y="806"/>
                  </a:lnTo>
                  <a:lnTo>
                    <a:pt x="408" y="806"/>
                  </a:lnTo>
                  <a:lnTo>
                    <a:pt x="405" y="804"/>
                  </a:lnTo>
                  <a:lnTo>
                    <a:pt x="396" y="803"/>
                  </a:lnTo>
                  <a:lnTo>
                    <a:pt x="386" y="801"/>
                  </a:lnTo>
                  <a:lnTo>
                    <a:pt x="381" y="801"/>
                  </a:lnTo>
                  <a:lnTo>
                    <a:pt x="376" y="801"/>
                  </a:lnTo>
                  <a:lnTo>
                    <a:pt x="374" y="801"/>
                  </a:lnTo>
                  <a:lnTo>
                    <a:pt x="372" y="801"/>
                  </a:lnTo>
                  <a:lnTo>
                    <a:pt x="370" y="801"/>
                  </a:lnTo>
                  <a:lnTo>
                    <a:pt x="368" y="802"/>
                  </a:lnTo>
                  <a:lnTo>
                    <a:pt x="364" y="804"/>
                  </a:lnTo>
                  <a:lnTo>
                    <a:pt x="361" y="807"/>
                  </a:lnTo>
                  <a:lnTo>
                    <a:pt x="360" y="808"/>
                  </a:lnTo>
                  <a:lnTo>
                    <a:pt x="357" y="809"/>
                  </a:lnTo>
                  <a:lnTo>
                    <a:pt x="352" y="812"/>
                  </a:lnTo>
                  <a:lnTo>
                    <a:pt x="348" y="813"/>
                  </a:lnTo>
                  <a:lnTo>
                    <a:pt x="346" y="812"/>
                  </a:lnTo>
                  <a:lnTo>
                    <a:pt x="346" y="810"/>
                  </a:lnTo>
                  <a:lnTo>
                    <a:pt x="348" y="808"/>
                  </a:lnTo>
                  <a:lnTo>
                    <a:pt x="350" y="807"/>
                  </a:lnTo>
                  <a:lnTo>
                    <a:pt x="355" y="806"/>
                  </a:lnTo>
                  <a:lnTo>
                    <a:pt x="358" y="802"/>
                  </a:lnTo>
                  <a:lnTo>
                    <a:pt x="362" y="800"/>
                  </a:lnTo>
                  <a:lnTo>
                    <a:pt x="364" y="796"/>
                  </a:lnTo>
                  <a:lnTo>
                    <a:pt x="368" y="794"/>
                  </a:lnTo>
                  <a:lnTo>
                    <a:pt x="372" y="791"/>
                  </a:lnTo>
                  <a:lnTo>
                    <a:pt x="373" y="790"/>
                  </a:lnTo>
                  <a:lnTo>
                    <a:pt x="374" y="789"/>
                  </a:lnTo>
                  <a:lnTo>
                    <a:pt x="374" y="786"/>
                  </a:lnTo>
                  <a:lnTo>
                    <a:pt x="373" y="784"/>
                  </a:lnTo>
                  <a:lnTo>
                    <a:pt x="372" y="783"/>
                  </a:lnTo>
                  <a:lnTo>
                    <a:pt x="370" y="782"/>
                  </a:lnTo>
                  <a:lnTo>
                    <a:pt x="368" y="782"/>
                  </a:lnTo>
                  <a:lnTo>
                    <a:pt x="366" y="783"/>
                  </a:lnTo>
                  <a:lnTo>
                    <a:pt x="364" y="784"/>
                  </a:lnTo>
                  <a:lnTo>
                    <a:pt x="362" y="784"/>
                  </a:lnTo>
                  <a:lnTo>
                    <a:pt x="357" y="784"/>
                  </a:lnTo>
                  <a:lnTo>
                    <a:pt x="352" y="785"/>
                  </a:lnTo>
                  <a:lnTo>
                    <a:pt x="348" y="785"/>
                  </a:lnTo>
                  <a:lnTo>
                    <a:pt x="345" y="784"/>
                  </a:lnTo>
                  <a:lnTo>
                    <a:pt x="344" y="784"/>
                  </a:lnTo>
                  <a:lnTo>
                    <a:pt x="327" y="785"/>
                  </a:lnTo>
                  <a:lnTo>
                    <a:pt x="316" y="786"/>
                  </a:lnTo>
                  <a:lnTo>
                    <a:pt x="311" y="786"/>
                  </a:lnTo>
                  <a:lnTo>
                    <a:pt x="309" y="788"/>
                  </a:lnTo>
                  <a:lnTo>
                    <a:pt x="307" y="788"/>
                  </a:lnTo>
                  <a:lnTo>
                    <a:pt x="303" y="788"/>
                  </a:lnTo>
                  <a:lnTo>
                    <a:pt x="301" y="788"/>
                  </a:lnTo>
                  <a:lnTo>
                    <a:pt x="298" y="786"/>
                  </a:lnTo>
                  <a:lnTo>
                    <a:pt x="297" y="786"/>
                  </a:lnTo>
                  <a:lnTo>
                    <a:pt x="296" y="788"/>
                  </a:lnTo>
                  <a:lnTo>
                    <a:pt x="297" y="791"/>
                  </a:lnTo>
                  <a:lnTo>
                    <a:pt x="297" y="794"/>
                  </a:lnTo>
                  <a:lnTo>
                    <a:pt x="296" y="795"/>
                  </a:lnTo>
                  <a:lnTo>
                    <a:pt x="292" y="797"/>
                  </a:lnTo>
                  <a:lnTo>
                    <a:pt x="289" y="797"/>
                  </a:lnTo>
                  <a:lnTo>
                    <a:pt x="285" y="797"/>
                  </a:lnTo>
                  <a:lnTo>
                    <a:pt x="283" y="796"/>
                  </a:lnTo>
                  <a:lnTo>
                    <a:pt x="283" y="797"/>
                  </a:lnTo>
                  <a:lnTo>
                    <a:pt x="284" y="797"/>
                  </a:lnTo>
                  <a:lnTo>
                    <a:pt x="284" y="798"/>
                  </a:lnTo>
                  <a:lnTo>
                    <a:pt x="284" y="801"/>
                  </a:lnTo>
                  <a:lnTo>
                    <a:pt x="283" y="803"/>
                  </a:lnTo>
                  <a:lnTo>
                    <a:pt x="279" y="804"/>
                  </a:lnTo>
                  <a:lnTo>
                    <a:pt x="277" y="806"/>
                  </a:lnTo>
                  <a:lnTo>
                    <a:pt x="275" y="808"/>
                  </a:lnTo>
                  <a:lnTo>
                    <a:pt x="274" y="809"/>
                  </a:lnTo>
                  <a:lnTo>
                    <a:pt x="273" y="810"/>
                  </a:lnTo>
                  <a:lnTo>
                    <a:pt x="272" y="809"/>
                  </a:lnTo>
                  <a:lnTo>
                    <a:pt x="269" y="810"/>
                  </a:lnTo>
                  <a:lnTo>
                    <a:pt x="268" y="809"/>
                  </a:lnTo>
                  <a:lnTo>
                    <a:pt x="267" y="809"/>
                  </a:lnTo>
                  <a:lnTo>
                    <a:pt x="266" y="809"/>
                  </a:lnTo>
                  <a:lnTo>
                    <a:pt x="266" y="810"/>
                  </a:lnTo>
                  <a:lnTo>
                    <a:pt x="265" y="810"/>
                  </a:lnTo>
                  <a:lnTo>
                    <a:pt x="263" y="810"/>
                  </a:lnTo>
                  <a:lnTo>
                    <a:pt x="263" y="809"/>
                  </a:lnTo>
                  <a:lnTo>
                    <a:pt x="263" y="807"/>
                  </a:lnTo>
                  <a:lnTo>
                    <a:pt x="259" y="807"/>
                  </a:lnTo>
                  <a:lnTo>
                    <a:pt x="257" y="806"/>
                  </a:lnTo>
                  <a:lnTo>
                    <a:pt x="254" y="804"/>
                  </a:lnTo>
                  <a:lnTo>
                    <a:pt x="252" y="803"/>
                  </a:lnTo>
                  <a:lnTo>
                    <a:pt x="251" y="806"/>
                  </a:lnTo>
                  <a:lnTo>
                    <a:pt x="250" y="807"/>
                  </a:lnTo>
                  <a:lnTo>
                    <a:pt x="249" y="808"/>
                  </a:lnTo>
                  <a:lnTo>
                    <a:pt x="248" y="808"/>
                  </a:lnTo>
                  <a:lnTo>
                    <a:pt x="248" y="810"/>
                  </a:lnTo>
                  <a:lnTo>
                    <a:pt x="246" y="812"/>
                  </a:lnTo>
                  <a:lnTo>
                    <a:pt x="244" y="815"/>
                  </a:lnTo>
                  <a:lnTo>
                    <a:pt x="243" y="818"/>
                  </a:lnTo>
                  <a:lnTo>
                    <a:pt x="244" y="819"/>
                  </a:lnTo>
                  <a:lnTo>
                    <a:pt x="243" y="820"/>
                  </a:lnTo>
                  <a:lnTo>
                    <a:pt x="240" y="819"/>
                  </a:lnTo>
                  <a:lnTo>
                    <a:pt x="240" y="821"/>
                  </a:lnTo>
                  <a:lnTo>
                    <a:pt x="239" y="823"/>
                  </a:lnTo>
                  <a:lnTo>
                    <a:pt x="238" y="823"/>
                  </a:lnTo>
                  <a:lnTo>
                    <a:pt x="238" y="824"/>
                  </a:lnTo>
                  <a:lnTo>
                    <a:pt x="236" y="823"/>
                  </a:lnTo>
                  <a:lnTo>
                    <a:pt x="234" y="821"/>
                  </a:lnTo>
                  <a:lnTo>
                    <a:pt x="233" y="818"/>
                  </a:lnTo>
                  <a:lnTo>
                    <a:pt x="231" y="818"/>
                  </a:lnTo>
                  <a:lnTo>
                    <a:pt x="230" y="819"/>
                  </a:lnTo>
                  <a:lnTo>
                    <a:pt x="228" y="818"/>
                  </a:lnTo>
                  <a:lnTo>
                    <a:pt x="227" y="817"/>
                  </a:lnTo>
                  <a:lnTo>
                    <a:pt x="226" y="818"/>
                  </a:lnTo>
                  <a:lnTo>
                    <a:pt x="225" y="818"/>
                  </a:lnTo>
                  <a:lnTo>
                    <a:pt x="224" y="818"/>
                  </a:lnTo>
                  <a:lnTo>
                    <a:pt x="221" y="818"/>
                  </a:lnTo>
                  <a:lnTo>
                    <a:pt x="219" y="820"/>
                  </a:lnTo>
                  <a:lnTo>
                    <a:pt x="219" y="819"/>
                  </a:lnTo>
                  <a:lnTo>
                    <a:pt x="218" y="820"/>
                  </a:lnTo>
                  <a:lnTo>
                    <a:pt x="218" y="818"/>
                  </a:lnTo>
                  <a:lnTo>
                    <a:pt x="216" y="818"/>
                  </a:lnTo>
                  <a:lnTo>
                    <a:pt x="218" y="815"/>
                  </a:lnTo>
                  <a:lnTo>
                    <a:pt x="218" y="813"/>
                  </a:lnTo>
                  <a:lnTo>
                    <a:pt x="218" y="814"/>
                  </a:lnTo>
                  <a:lnTo>
                    <a:pt x="216" y="814"/>
                  </a:lnTo>
                  <a:lnTo>
                    <a:pt x="216" y="813"/>
                  </a:lnTo>
                  <a:lnTo>
                    <a:pt x="214" y="813"/>
                  </a:lnTo>
                  <a:lnTo>
                    <a:pt x="214" y="812"/>
                  </a:lnTo>
                  <a:lnTo>
                    <a:pt x="213" y="813"/>
                  </a:lnTo>
                  <a:lnTo>
                    <a:pt x="210" y="812"/>
                  </a:lnTo>
                  <a:lnTo>
                    <a:pt x="207" y="815"/>
                  </a:lnTo>
                  <a:lnTo>
                    <a:pt x="206" y="817"/>
                  </a:lnTo>
                  <a:lnTo>
                    <a:pt x="203" y="817"/>
                  </a:lnTo>
                  <a:lnTo>
                    <a:pt x="200" y="815"/>
                  </a:lnTo>
                  <a:lnTo>
                    <a:pt x="198" y="814"/>
                  </a:lnTo>
                  <a:lnTo>
                    <a:pt x="200" y="813"/>
                  </a:lnTo>
                  <a:lnTo>
                    <a:pt x="201" y="813"/>
                  </a:lnTo>
                  <a:lnTo>
                    <a:pt x="203" y="812"/>
                  </a:lnTo>
                  <a:lnTo>
                    <a:pt x="202" y="810"/>
                  </a:lnTo>
                  <a:lnTo>
                    <a:pt x="201" y="810"/>
                  </a:lnTo>
                  <a:lnTo>
                    <a:pt x="200" y="809"/>
                  </a:lnTo>
                  <a:lnTo>
                    <a:pt x="197" y="808"/>
                  </a:lnTo>
                  <a:lnTo>
                    <a:pt x="196" y="806"/>
                  </a:lnTo>
                  <a:lnTo>
                    <a:pt x="193" y="804"/>
                  </a:lnTo>
                  <a:lnTo>
                    <a:pt x="193" y="803"/>
                  </a:lnTo>
                  <a:lnTo>
                    <a:pt x="195" y="802"/>
                  </a:lnTo>
                  <a:lnTo>
                    <a:pt x="196" y="800"/>
                  </a:lnTo>
                  <a:lnTo>
                    <a:pt x="197" y="802"/>
                  </a:lnTo>
                  <a:lnTo>
                    <a:pt x="198" y="803"/>
                  </a:lnTo>
                  <a:lnTo>
                    <a:pt x="200" y="804"/>
                  </a:lnTo>
                  <a:lnTo>
                    <a:pt x="201" y="804"/>
                  </a:lnTo>
                  <a:lnTo>
                    <a:pt x="203" y="804"/>
                  </a:lnTo>
                  <a:lnTo>
                    <a:pt x="204" y="806"/>
                  </a:lnTo>
                  <a:lnTo>
                    <a:pt x="204" y="804"/>
                  </a:lnTo>
                  <a:lnTo>
                    <a:pt x="207" y="804"/>
                  </a:lnTo>
                  <a:lnTo>
                    <a:pt x="208" y="806"/>
                  </a:lnTo>
                  <a:lnTo>
                    <a:pt x="210" y="808"/>
                  </a:lnTo>
                  <a:lnTo>
                    <a:pt x="212" y="808"/>
                  </a:lnTo>
                  <a:lnTo>
                    <a:pt x="213" y="807"/>
                  </a:lnTo>
                  <a:lnTo>
                    <a:pt x="213" y="806"/>
                  </a:lnTo>
                  <a:lnTo>
                    <a:pt x="213" y="804"/>
                  </a:lnTo>
                  <a:lnTo>
                    <a:pt x="209" y="804"/>
                  </a:lnTo>
                  <a:lnTo>
                    <a:pt x="209" y="802"/>
                  </a:lnTo>
                  <a:lnTo>
                    <a:pt x="209" y="800"/>
                  </a:lnTo>
                  <a:lnTo>
                    <a:pt x="210" y="796"/>
                  </a:lnTo>
                  <a:lnTo>
                    <a:pt x="209" y="796"/>
                  </a:lnTo>
                  <a:lnTo>
                    <a:pt x="209" y="795"/>
                  </a:lnTo>
                  <a:lnTo>
                    <a:pt x="209" y="794"/>
                  </a:lnTo>
                  <a:lnTo>
                    <a:pt x="212" y="794"/>
                  </a:lnTo>
                  <a:lnTo>
                    <a:pt x="213" y="791"/>
                  </a:lnTo>
                  <a:lnTo>
                    <a:pt x="215" y="792"/>
                  </a:lnTo>
                  <a:lnTo>
                    <a:pt x="216" y="790"/>
                  </a:lnTo>
                  <a:lnTo>
                    <a:pt x="218" y="789"/>
                  </a:lnTo>
                  <a:lnTo>
                    <a:pt x="218" y="786"/>
                  </a:lnTo>
                  <a:lnTo>
                    <a:pt x="219" y="784"/>
                  </a:lnTo>
                  <a:lnTo>
                    <a:pt x="220" y="784"/>
                  </a:lnTo>
                  <a:lnTo>
                    <a:pt x="222" y="785"/>
                  </a:lnTo>
                  <a:lnTo>
                    <a:pt x="225" y="784"/>
                  </a:lnTo>
                  <a:lnTo>
                    <a:pt x="226" y="785"/>
                  </a:lnTo>
                  <a:lnTo>
                    <a:pt x="227" y="785"/>
                  </a:lnTo>
                  <a:lnTo>
                    <a:pt x="230" y="788"/>
                  </a:lnTo>
                  <a:lnTo>
                    <a:pt x="231" y="788"/>
                  </a:lnTo>
                  <a:lnTo>
                    <a:pt x="231" y="786"/>
                  </a:lnTo>
                  <a:lnTo>
                    <a:pt x="231" y="785"/>
                  </a:lnTo>
                  <a:lnTo>
                    <a:pt x="231" y="784"/>
                  </a:lnTo>
                  <a:lnTo>
                    <a:pt x="230" y="783"/>
                  </a:lnTo>
                  <a:lnTo>
                    <a:pt x="228" y="783"/>
                  </a:lnTo>
                  <a:lnTo>
                    <a:pt x="227" y="783"/>
                  </a:lnTo>
                  <a:lnTo>
                    <a:pt x="228" y="782"/>
                  </a:lnTo>
                  <a:lnTo>
                    <a:pt x="226" y="782"/>
                  </a:lnTo>
                  <a:lnTo>
                    <a:pt x="226" y="780"/>
                  </a:lnTo>
                  <a:lnTo>
                    <a:pt x="226" y="778"/>
                  </a:lnTo>
                  <a:lnTo>
                    <a:pt x="226" y="777"/>
                  </a:lnTo>
                  <a:lnTo>
                    <a:pt x="225" y="776"/>
                  </a:lnTo>
                  <a:lnTo>
                    <a:pt x="226" y="774"/>
                  </a:lnTo>
                  <a:lnTo>
                    <a:pt x="226" y="771"/>
                  </a:lnTo>
                  <a:lnTo>
                    <a:pt x="224" y="768"/>
                  </a:lnTo>
                  <a:lnTo>
                    <a:pt x="226" y="767"/>
                  </a:lnTo>
                  <a:lnTo>
                    <a:pt x="227" y="766"/>
                  </a:lnTo>
                  <a:lnTo>
                    <a:pt x="228" y="766"/>
                  </a:lnTo>
                  <a:lnTo>
                    <a:pt x="230" y="766"/>
                  </a:lnTo>
                  <a:lnTo>
                    <a:pt x="230" y="768"/>
                  </a:lnTo>
                  <a:lnTo>
                    <a:pt x="231" y="770"/>
                  </a:lnTo>
                  <a:lnTo>
                    <a:pt x="232" y="771"/>
                  </a:lnTo>
                  <a:lnTo>
                    <a:pt x="234" y="772"/>
                  </a:lnTo>
                  <a:lnTo>
                    <a:pt x="236" y="771"/>
                  </a:lnTo>
                  <a:lnTo>
                    <a:pt x="236" y="773"/>
                  </a:lnTo>
                  <a:lnTo>
                    <a:pt x="238" y="773"/>
                  </a:lnTo>
                  <a:lnTo>
                    <a:pt x="242" y="773"/>
                  </a:lnTo>
                  <a:lnTo>
                    <a:pt x="242" y="774"/>
                  </a:lnTo>
                  <a:lnTo>
                    <a:pt x="244" y="774"/>
                  </a:lnTo>
                  <a:lnTo>
                    <a:pt x="244" y="777"/>
                  </a:lnTo>
                  <a:lnTo>
                    <a:pt x="245" y="777"/>
                  </a:lnTo>
                  <a:lnTo>
                    <a:pt x="245" y="778"/>
                  </a:lnTo>
                  <a:lnTo>
                    <a:pt x="246" y="778"/>
                  </a:lnTo>
                  <a:lnTo>
                    <a:pt x="249" y="778"/>
                  </a:lnTo>
                  <a:lnTo>
                    <a:pt x="250" y="776"/>
                  </a:lnTo>
                  <a:lnTo>
                    <a:pt x="250" y="774"/>
                  </a:lnTo>
                  <a:lnTo>
                    <a:pt x="251" y="774"/>
                  </a:lnTo>
                  <a:lnTo>
                    <a:pt x="251" y="776"/>
                  </a:lnTo>
                  <a:lnTo>
                    <a:pt x="255" y="774"/>
                  </a:lnTo>
                  <a:lnTo>
                    <a:pt x="256" y="777"/>
                  </a:lnTo>
                  <a:lnTo>
                    <a:pt x="257" y="777"/>
                  </a:lnTo>
                  <a:lnTo>
                    <a:pt x="259" y="777"/>
                  </a:lnTo>
                  <a:lnTo>
                    <a:pt x="257" y="774"/>
                  </a:lnTo>
                  <a:lnTo>
                    <a:pt x="259" y="773"/>
                  </a:lnTo>
                  <a:lnTo>
                    <a:pt x="257" y="772"/>
                  </a:lnTo>
                  <a:lnTo>
                    <a:pt x="260" y="772"/>
                  </a:lnTo>
                  <a:lnTo>
                    <a:pt x="260" y="771"/>
                  </a:lnTo>
                  <a:lnTo>
                    <a:pt x="261" y="771"/>
                  </a:lnTo>
                  <a:lnTo>
                    <a:pt x="262" y="771"/>
                  </a:lnTo>
                  <a:lnTo>
                    <a:pt x="263" y="772"/>
                  </a:lnTo>
                  <a:lnTo>
                    <a:pt x="263" y="771"/>
                  </a:lnTo>
                  <a:lnTo>
                    <a:pt x="265" y="772"/>
                  </a:lnTo>
                  <a:lnTo>
                    <a:pt x="266" y="772"/>
                  </a:lnTo>
                  <a:lnTo>
                    <a:pt x="267" y="772"/>
                  </a:lnTo>
                  <a:lnTo>
                    <a:pt x="269" y="771"/>
                  </a:lnTo>
                  <a:lnTo>
                    <a:pt x="271" y="773"/>
                  </a:lnTo>
                  <a:lnTo>
                    <a:pt x="272" y="773"/>
                  </a:lnTo>
                  <a:lnTo>
                    <a:pt x="273" y="773"/>
                  </a:lnTo>
                  <a:lnTo>
                    <a:pt x="273" y="770"/>
                  </a:lnTo>
                  <a:lnTo>
                    <a:pt x="274" y="770"/>
                  </a:lnTo>
                  <a:lnTo>
                    <a:pt x="274" y="768"/>
                  </a:lnTo>
                  <a:lnTo>
                    <a:pt x="273" y="768"/>
                  </a:lnTo>
                  <a:lnTo>
                    <a:pt x="272" y="768"/>
                  </a:lnTo>
                  <a:lnTo>
                    <a:pt x="271" y="766"/>
                  </a:lnTo>
                  <a:lnTo>
                    <a:pt x="268" y="765"/>
                  </a:lnTo>
                  <a:lnTo>
                    <a:pt x="268" y="764"/>
                  </a:lnTo>
                  <a:lnTo>
                    <a:pt x="269" y="764"/>
                  </a:lnTo>
                  <a:lnTo>
                    <a:pt x="272" y="764"/>
                  </a:lnTo>
                  <a:lnTo>
                    <a:pt x="274" y="761"/>
                  </a:lnTo>
                  <a:lnTo>
                    <a:pt x="278" y="764"/>
                  </a:lnTo>
                  <a:lnTo>
                    <a:pt x="279" y="766"/>
                  </a:lnTo>
                  <a:lnTo>
                    <a:pt x="281" y="765"/>
                  </a:lnTo>
                  <a:lnTo>
                    <a:pt x="281" y="764"/>
                  </a:lnTo>
                  <a:lnTo>
                    <a:pt x="280" y="761"/>
                  </a:lnTo>
                  <a:lnTo>
                    <a:pt x="280" y="758"/>
                  </a:lnTo>
                  <a:lnTo>
                    <a:pt x="281" y="758"/>
                  </a:lnTo>
                  <a:lnTo>
                    <a:pt x="283" y="758"/>
                  </a:lnTo>
                  <a:lnTo>
                    <a:pt x="284" y="758"/>
                  </a:lnTo>
                  <a:lnTo>
                    <a:pt x="286" y="756"/>
                  </a:lnTo>
                  <a:lnTo>
                    <a:pt x="287" y="760"/>
                  </a:lnTo>
                  <a:lnTo>
                    <a:pt x="287" y="761"/>
                  </a:lnTo>
                  <a:lnTo>
                    <a:pt x="290" y="761"/>
                  </a:lnTo>
                  <a:lnTo>
                    <a:pt x="290" y="762"/>
                  </a:lnTo>
                  <a:lnTo>
                    <a:pt x="289" y="765"/>
                  </a:lnTo>
                  <a:lnTo>
                    <a:pt x="290" y="765"/>
                  </a:lnTo>
                  <a:lnTo>
                    <a:pt x="290" y="766"/>
                  </a:lnTo>
                  <a:lnTo>
                    <a:pt x="291" y="766"/>
                  </a:lnTo>
                  <a:lnTo>
                    <a:pt x="291" y="765"/>
                  </a:lnTo>
                  <a:lnTo>
                    <a:pt x="295" y="766"/>
                  </a:lnTo>
                  <a:lnTo>
                    <a:pt x="293" y="768"/>
                  </a:lnTo>
                  <a:lnTo>
                    <a:pt x="296" y="768"/>
                  </a:lnTo>
                  <a:lnTo>
                    <a:pt x="296" y="771"/>
                  </a:lnTo>
                  <a:lnTo>
                    <a:pt x="297" y="771"/>
                  </a:lnTo>
                  <a:lnTo>
                    <a:pt x="298" y="771"/>
                  </a:lnTo>
                  <a:lnTo>
                    <a:pt x="301" y="770"/>
                  </a:lnTo>
                  <a:lnTo>
                    <a:pt x="301" y="771"/>
                  </a:lnTo>
                  <a:lnTo>
                    <a:pt x="302" y="771"/>
                  </a:lnTo>
                  <a:lnTo>
                    <a:pt x="303" y="771"/>
                  </a:lnTo>
                  <a:lnTo>
                    <a:pt x="302" y="773"/>
                  </a:lnTo>
                  <a:lnTo>
                    <a:pt x="301" y="774"/>
                  </a:lnTo>
                  <a:lnTo>
                    <a:pt x="301" y="776"/>
                  </a:lnTo>
                  <a:lnTo>
                    <a:pt x="299" y="776"/>
                  </a:lnTo>
                  <a:lnTo>
                    <a:pt x="299" y="778"/>
                  </a:lnTo>
                  <a:lnTo>
                    <a:pt x="299" y="779"/>
                  </a:lnTo>
                  <a:lnTo>
                    <a:pt x="302" y="780"/>
                  </a:lnTo>
                  <a:lnTo>
                    <a:pt x="301" y="780"/>
                  </a:lnTo>
                  <a:lnTo>
                    <a:pt x="299" y="782"/>
                  </a:lnTo>
                  <a:lnTo>
                    <a:pt x="301" y="783"/>
                  </a:lnTo>
                  <a:lnTo>
                    <a:pt x="302" y="782"/>
                  </a:lnTo>
                  <a:lnTo>
                    <a:pt x="304" y="782"/>
                  </a:lnTo>
                  <a:lnTo>
                    <a:pt x="305" y="780"/>
                  </a:lnTo>
                  <a:lnTo>
                    <a:pt x="309" y="780"/>
                  </a:lnTo>
                  <a:lnTo>
                    <a:pt x="310" y="779"/>
                  </a:lnTo>
                  <a:lnTo>
                    <a:pt x="313" y="779"/>
                  </a:lnTo>
                  <a:lnTo>
                    <a:pt x="313" y="780"/>
                  </a:lnTo>
                  <a:lnTo>
                    <a:pt x="314" y="782"/>
                  </a:lnTo>
                  <a:lnTo>
                    <a:pt x="315" y="783"/>
                  </a:lnTo>
                  <a:lnTo>
                    <a:pt x="316" y="783"/>
                  </a:lnTo>
                  <a:lnTo>
                    <a:pt x="319" y="782"/>
                  </a:lnTo>
                  <a:lnTo>
                    <a:pt x="320" y="782"/>
                  </a:lnTo>
                  <a:lnTo>
                    <a:pt x="324" y="780"/>
                  </a:lnTo>
                  <a:lnTo>
                    <a:pt x="333" y="780"/>
                  </a:lnTo>
                  <a:lnTo>
                    <a:pt x="338" y="780"/>
                  </a:lnTo>
                  <a:lnTo>
                    <a:pt x="343" y="779"/>
                  </a:lnTo>
                  <a:lnTo>
                    <a:pt x="348" y="779"/>
                  </a:lnTo>
                  <a:lnTo>
                    <a:pt x="350" y="778"/>
                  </a:lnTo>
                  <a:lnTo>
                    <a:pt x="351" y="779"/>
                  </a:lnTo>
                  <a:lnTo>
                    <a:pt x="352" y="778"/>
                  </a:lnTo>
                  <a:lnTo>
                    <a:pt x="354" y="779"/>
                  </a:lnTo>
                  <a:lnTo>
                    <a:pt x="358" y="779"/>
                  </a:lnTo>
                  <a:lnTo>
                    <a:pt x="363" y="779"/>
                  </a:lnTo>
                  <a:lnTo>
                    <a:pt x="367" y="777"/>
                  </a:lnTo>
                  <a:lnTo>
                    <a:pt x="375" y="774"/>
                  </a:lnTo>
                  <a:lnTo>
                    <a:pt x="379" y="772"/>
                  </a:lnTo>
                  <a:lnTo>
                    <a:pt x="380" y="770"/>
                  </a:lnTo>
                  <a:lnTo>
                    <a:pt x="381" y="768"/>
                  </a:lnTo>
                  <a:lnTo>
                    <a:pt x="384" y="768"/>
                  </a:lnTo>
                  <a:lnTo>
                    <a:pt x="385" y="768"/>
                  </a:lnTo>
                  <a:lnTo>
                    <a:pt x="386" y="771"/>
                  </a:lnTo>
                  <a:lnTo>
                    <a:pt x="389" y="772"/>
                  </a:lnTo>
                  <a:lnTo>
                    <a:pt x="392" y="772"/>
                  </a:lnTo>
                  <a:lnTo>
                    <a:pt x="395" y="772"/>
                  </a:lnTo>
                  <a:lnTo>
                    <a:pt x="397" y="771"/>
                  </a:lnTo>
                  <a:lnTo>
                    <a:pt x="399" y="770"/>
                  </a:lnTo>
                  <a:lnTo>
                    <a:pt x="402" y="768"/>
                  </a:lnTo>
                  <a:lnTo>
                    <a:pt x="403" y="767"/>
                  </a:lnTo>
                  <a:lnTo>
                    <a:pt x="404" y="766"/>
                  </a:lnTo>
                  <a:lnTo>
                    <a:pt x="405" y="765"/>
                  </a:lnTo>
                  <a:lnTo>
                    <a:pt x="405" y="764"/>
                  </a:lnTo>
                  <a:lnTo>
                    <a:pt x="405" y="760"/>
                  </a:lnTo>
                  <a:lnTo>
                    <a:pt x="407" y="760"/>
                  </a:lnTo>
                  <a:lnTo>
                    <a:pt x="409" y="761"/>
                  </a:lnTo>
                  <a:lnTo>
                    <a:pt x="411" y="761"/>
                  </a:lnTo>
                  <a:lnTo>
                    <a:pt x="414" y="760"/>
                  </a:lnTo>
                  <a:lnTo>
                    <a:pt x="414" y="759"/>
                  </a:lnTo>
                  <a:lnTo>
                    <a:pt x="415" y="759"/>
                  </a:lnTo>
                  <a:lnTo>
                    <a:pt x="416" y="758"/>
                  </a:lnTo>
                  <a:lnTo>
                    <a:pt x="421" y="756"/>
                  </a:lnTo>
                  <a:lnTo>
                    <a:pt x="423" y="756"/>
                  </a:lnTo>
                  <a:lnTo>
                    <a:pt x="425" y="756"/>
                  </a:lnTo>
                  <a:lnTo>
                    <a:pt x="426" y="756"/>
                  </a:lnTo>
                  <a:lnTo>
                    <a:pt x="427" y="755"/>
                  </a:lnTo>
                  <a:lnTo>
                    <a:pt x="429" y="753"/>
                  </a:lnTo>
                  <a:lnTo>
                    <a:pt x="432" y="752"/>
                  </a:lnTo>
                  <a:lnTo>
                    <a:pt x="432" y="750"/>
                  </a:lnTo>
                  <a:lnTo>
                    <a:pt x="433" y="749"/>
                  </a:lnTo>
                  <a:lnTo>
                    <a:pt x="431" y="750"/>
                  </a:lnTo>
                  <a:lnTo>
                    <a:pt x="431" y="749"/>
                  </a:lnTo>
                  <a:lnTo>
                    <a:pt x="427" y="749"/>
                  </a:lnTo>
                  <a:lnTo>
                    <a:pt x="428" y="744"/>
                  </a:lnTo>
                  <a:lnTo>
                    <a:pt x="428" y="742"/>
                  </a:lnTo>
                  <a:lnTo>
                    <a:pt x="427" y="742"/>
                  </a:lnTo>
                  <a:lnTo>
                    <a:pt x="427" y="740"/>
                  </a:lnTo>
                  <a:lnTo>
                    <a:pt x="425" y="738"/>
                  </a:lnTo>
                  <a:lnTo>
                    <a:pt x="423" y="738"/>
                  </a:lnTo>
                  <a:lnTo>
                    <a:pt x="423" y="740"/>
                  </a:lnTo>
                  <a:lnTo>
                    <a:pt x="425" y="741"/>
                  </a:lnTo>
                  <a:lnTo>
                    <a:pt x="425" y="742"/>
                  </a:lnTo>
                  <a:lnTo>
                    <a:pt x="426" y="743"/>
                  </a:lnTo>
                  <a:lnTo>
                    <a:pt x="426" y="744"/>
                  </a:lnTo>
                  <a:lnTo>
                    <a:pt x="425" y="744"/>
                  </a:lnTo>
                  <a:lnTo>
                    <a:pt x="425" y="746"/>
                  </a:lnTo>
                  <a:lnTo>
                    <a:pt x="423" y="747"/>
                  </a:lnTo>
                  <a:lnTo>
                    <a:pt x="423" y="752"/>
                  </a:lnTo>
                  <a:lnTo>
                    <a:pt x="422" y="750"/>
                  </a:lnTo>
                  <a:lnTo>
                    <a:pt x="421" y="752"/>
                  </a:lnTo>
                  <a:lnTo>
                    <a:pt x="422" y="753"/>
                  </a:lnTo>
                  <a:lnTo>
                    <a:pt x="417" y="753"/>
                  </a:lnTo>
                  <a:lnTo>
                    <a:pt x="415" y="750"/>
                  </a:lnTo>
                  <a:lnTo>
                    <a:pt x="414" y="749"/>
                  </a:lnTo>
                  <a:lnTo>
                    <a:pt x="414" y="748"/>
                  </a:lnTo>
                  <a:lnTo>
                    <a:pt x="415" y="748"/>
                  </a:lnTo>
                  <a:lnTo>
                    <a:pt x="415" y="747"/>
                  </a:lnTo>
                  <a:lnTo>
                    <a:pt x="413" y="747"/>
                  </a:lnTo>
                  <a:lnTo>
                    <a:pt x="411" y="748"/>
                  </a:lnTo>
                  <a:lnTo>
                    <a:pt x="409" y="749"/>
                  </a:lnTo>
                  <a:lnTo>
                    <a:pt x="407" y="750"/>
                  </a:lnTo>
                  <a:lnTo>
                    <a:pt x="404" y="748"/>
                  </a:lnTo>
                  <a:lnTo>
                    <a:pt x="403" y="747"/>
                  </a:lnTo>
                  <a:lnTo>
                    <a:pt x="402" y="747"/>
                  </a:lnTo>
                  <a:lnTo>
                    <a:pt x="399" y="749"/>
                  </a:lnTo>
                  <a:lnTo>
                    <a:pt x="398" y="752"/>
                  </a:lnTo>
                  <a:lnTo>
                    <a:pt x="395" y="753"/>
                  </a:lnTo>
                  <a:lnTo>
                    <a:pt x="393" y="753"/>
                  </a:lnTo>
                  <a:lnTo>
                    <a:pt x="393" y="752"/>
                  </a:lnTo>
                  <a:lnTo>
                    <a:pt x="393" y="748"/>
                  </a:lnTo>
                  <a:lnTo>
                    <a:pt x="393" y="746"/>
                  </a:lnTo>
                  <a:lnTo>
                    <a:pt x="397" y="746"/>
                  </a:lnTo>
                  <a:lnTo>
                    <a:pt x="397" y="743"/>
                  </a:lnTo>
                  <a:lnTo>
                    <a:pt x="397" y="738"/>
                  </a:lnTo>
                  <a:lnTo>
                    <a:pt x="397" y="737"/>
                  </a:lnTo>
                  <a:lnTo>
                    <a:pt x="397" y="735"/>
                  </a:lnTo>
                  <a:lnTo>
                    <a:pt x="399" y="732"/>
                  </a:lnTo>
                  <a:lnTo>
                    <a:pt x="401" y="731"/>
                  </a:lnTo>
                  <a:lnTo>
                    <a:pt x="402" y="734"/>
                  </a:lnTo>
                  <a:lnTo>
                    <a:pt x="403" y="734"/>
                  </a:lnTo>
                  <a:lnTo>
                    <a:pt x="404" y="732"/>
                  </a:lnTo>
                  <a:lnTo>
                    <a:pt x="404" y="731"/>
                  </a:lnTo>
                  <a:lnTo>
                    <a:pt x="403" y="731"/>
                  </a:lnTo>
                  <a:lnTo>
                    <a:pt x="399" y="729"/>
                  </a:lnTo>
                  <a:lnTo>
                    <a:pt x="398" y="730"/>
                  </a:lnTo>
                  <a:lnTo>
                    <a:pt x="397" y="730"/>
                  </a:lnTo>
                  <a:lnTo>
                    <a:pt x="395" y="730"/>
                  </a:lnTo>
                  <a:lnTo>
                    <a:pt x="393" y="729"/>
                  </a:lnTo>
                  <a:lnTo>
                    <a:pt x="390" y="729"/>
                  </a:lnTo>
                  <a:lnTo>
                    <a:pt x="390" y="726"/>
                  </a:lnTo>
                  <a:lnTo>
                    <a:pt x="391" y="724"/>
                  </a:lnTo>
                  <a:lnTo>
                    <a:pt x="391" y="723"/>
                  </a:lnTo>
                  <a:lnTo>
                    <a:pt x="390" y="723"/>
                  </a:lnTo>
                  <a:lnTo>
                    <a:pt x="387" y="722"/>
                  </a:lnTo>
                  <a:lnTo>
                    <a:pt x="386" y="720"/>
                  </a:lnTo>
                  <a:lnTo>
                    <a:pt x="387" y="724"/>
                  </a:lnTo>
                  <a:lnTo>
                    <a:pt x="387" y="726"/>
                  </a:lnTo>
                  <a:lnTo>
                    <a:pt x="386" y="726"/>
                  </a:lnTo>
                  <a:lnTo>
                    <a:pt x="384" y="724"/>
                  </a:lnTo>
                  <a:lnTo>
                    <a:pt x="383" y="723"/>
                  </a:lnTo>
                  <a:lnTo>
                    <a:pt x="381" y="724"/>
                  </a:lnTo>
                  <a:lnTo>
                    <a:pt x="381" y="725"/>
                  </a:lnTo>
                  <a:lnTo>
                    <a:pt x="378" y="724"/>
                  </a:lnTo>
                  <a:lnTo>
                    <a:pt x="378" y="725"/>
                  </a:lnTo>
                  <a:lnTo>
                    <a:pt x="378" y="726"/>
                  </a:lnTo>
                  <a:lnTo>
                    <a:pt x="378" y="729"/>
                  </a:lnTo>
                  <a:lnTo>
                    <a:pt x="376" y="729"/>
                  </a:lnTo>
                  <a:lnTo>
                    <a:pt x="374" y="729"/>
                  </a:lnTo>
                  <a:lnTo>
                    <a:pt x="374" y="730"/>
                  </a:lnTo>
                  <a:lnTo>
                    <a:pt x="374" y="731"/>
                  </a:lnTo>
                  <a:lnTo>
                    <a:pt x="373" y="734"/>
                  </a:lnTo>
                  <a:lnTo>
                    <a:pt x="368" y="736"/>
                  </a:lnTo>
                  <a:lnTo>
                    <a:pt x="367" y="736"/>
                  </a:lnTo>
                  <a:lnTo>
                    <a:pt x="367" y="737"/>
                  </a:lnTo>
                  <a:lnTo>
                    <a:pt x="366" y="740"/>
                  </a:lnTo>
                  <a:lnTo>
                    <a:pt x="364" y="742"/>
                  </a:lnTo>
                  <a:lnTo>
                    <a:pt x="363" y="743"/>
                  </a:lnTo>
                  <a:lnTo>
                    <a:pt x="363" y="744"/>
                  </a:lnTo>
                  <a:lnTo>
                    <a:pt x="366" y="742"/>
                  </a:lnTo>
                  <a:lnTo>
                    <a:pt x="366" y="741"/>
                  </a:lnTo>
                  <a:lnTo>
                    <a:pt x="368" y="742"/>
                  </a:lnTo>
                  <a:lnTo>
                    <a:pt x="368" y="743"/>
                  </a:lnTo>
                  <a:lnTo>
                    <a:pt x="368" y="747"/>
                  </a:lnTo>
                  <a:lnTo>
                    <a:pt x="367" y="747"/>
                  </a:lnTo>
                  <a:lnTo>
                    <a:pt x="367" y="746"/>
                  </a:lnTo>
                  <a:lnTo>
                    <a:pt x="366" y="746"/>
                  </a:lnTo>
                  <a:lnTo>
                    <a:pt x="366" y="747"/>
                  </a:lnTo>
                  <a:lnTo>
                    <a:pt x="368" y="747"/>
                  </a:lnTo>
                  <a:lnTo>
                    <a:pt x="370" y="746"/>
                  </a:lnTo>
                  <a:lnTo>
                    <a:pt x="369" y="748"/>
                  </a:lnTo>
                  <a:lnTo>
                    <a:pt x="369" y="749"/>
                  </a:lnTo>
                  <a:lnTo>
                    <a:pt x="368" y="752"/>
                  </a:lnTo>
                  <a:lnTo>
                    <a:pt x="368" y="753"/>
                  </a:lnTo>
                  <a:lnTo>
                    <a:pt x="369" y="752"/>
                  </a:lnTo>
                  <a:lnTo>
                    <a:pt x="370" y="754"/>
                  </a:lnTo>
                  <a:lnTo>
                    <a:pt x="370" y="755"/>
                  </a:lnTo>
                  <a:lnTo>
                    <a:pt x="368" y="755"/>
                  </a:lnTo>
                  <a:lnTo>
                    <a:pt x="367" y="756"/>
                  </a:lnTo>
                  <a:lnTo>
                    <a:pt x="366" y="756"/>
                  </a:lnTo>
                  <a:lnTo>
                    <a:pt x="364" y="759"/>
                  </a:lnTo>
                  <a:lnTo>
                    <a:pt x="363" y="759"/>
                  </a:lnTo>
                  <a:lnTo>
                    <a:pt x="360" y="759"/>
                  </a:lnTo>
                  <a:lnTo>
                    <a:pt x="357" y="759"/>
                  </a:lnTo>
                  <a:lnTo>
                    <a:pt x="360" y="756"/>
                  </a:lnTo>
                  <a:lnTo>
                    <a:pt x="360" y="754"/>
                  </a:lnTo>
                  <a:lnTo>
                    <a:pt x="358" y="753"/>
                  </a:lnTo>
                  <a:lnTo>
                    <a:pt x="357" y="755"/>
                  </a:lnTo>
                  <a:lnTo>
                    <a:pt x="357" y="758"/>
                  </a:lnTo>
                  <a:lnTo>
                    <a:pt x="356" y="758"/>
                  </a:lnTo>
                  <a:lnTo>
                    <a:pt x="352" y="759"/>
                  </a:lnTo>
                  <a:lnTo>
                    <a:pt x="351" y="755"/>
                  </a:lnTo>
                  <a:lnTo>
                    <a:pt x="350" y="756"/>
                  </a:lnTo>
                  <a:lnTo>
                    <a:pt x="349" y="756"/>
                  </a:lnTo>
                  <a:lnTo>
                    <a:pt x="349" y="758"/>
                  </a:lnTo>
                  <a:lnTo>
                    <a:pt x="348" y="759"/>
                  </a:lnTo>
                  <a:lnTo>
                    <a:pt x="345" y="758"/>
                  </a:lnTo>
                  <a:lnTo>
                    <a:pt x="345" y="760"/>
                  </a:lnTo>
                  <a:lnTo>
                    <a:pt x="343" y="759"/>
                  </a:lnTo>
                  <a:lnTo>
                    <a:pt x="343" y="758"/>
                  </a:lnTo>
                  <a:lnTo>
                    <a:pt x="338" y="756"/>
                  </a:lnTo>
                  <a:lnTo>
                    <a:pt x="338" y="754"/>
                  </a:lnTo>
                  <a:lnTo>
                    <a:pt x="339" y="754"/>
                  </a:lnTo>
                  <a:lnTo>
                    <a:pt x="340" y="752"/>
                  </a:lnTo>
                  <a:lnTo>
                    <a:pt x="342" y="750"/>
                  </a:lnTo>
                  <a:lnTo>
                    <a:pt x="345" y="748"/>
                  </a:lnTo>
                  <a:lnTo>
                    <a:pt x="345" y="747"/>
                  </a:lnTo>
                  <a:lnTo>
                    <a:pt x="345" y="744"/>
                  </a:lnTo>
                  <a:lnTo>
                    <a:pt x="344" y="746"/>
                  </a:lnTo>
                  <a:lnTo>
                    <a:pt x="343" y="747"/>
                  </a:lnTo>
                  <a:lnTo>
                    <a:pt x="342" y="749"/>
                  </a:lnTo>
                  <a:lnTo>
                    <a:pt x="338" y="749"/>
                  </a:lnTo>
                  <a:lnTo>
                    <a:pt x="337" y="748"/>
                  </a:lnTo>
                  <a:lnTo>
                    <a:pt x="334" y="748"/>
                  </a:lnTo>
                  <a:lnTo>
                    <a:pt x="332" y="746"/>
                  </a:lnTo>
                  <a:lnTo>
                    <a:pt x="332" y="744"/>
                  </a:lnTo>
                  <a:lnTo>
                    <a:pt x="333" y="744"/>
                  </a:lnTo>
                  <a:lnTo>
                    <a:pt x="333" y="742"/>
                  </a:lnTo>
                  <a:lnTo>
                    <a:pt x="332" y="742"/>
                  </a:lnTo>
                  <a:lnTo>
                    <a:pt x="331" y="742"/>
                  </a:lnTo>
                  <a:lnTo>
                    <a:pt x="331" y="743"/>
                  </a:lnTo>
                  <a:lnTo>
                    <a:pt x="330" y="742"/>
                  </a:lnTo>
                  <a:lnTo>
                    <a:pt x="330" y="740"/>
                  </a:lnTo>
                  <a:lnTo>
                    <a:pt x="331" y="736"/>
                  </a:lnTo>
                  <a:lnTo>
                    <a:pt x="331" y="734"/>
                  </a:lnTo>
                  <a:lnTo>
                    <a:pt x="331" y="732"/>
                  </a:lnTo>
                  <a:lnTo>
                    <a:pt x="328" y="730"/>
                  </a:lnTo>
                  <a:lnTo>
                    <a:pt x="327" y="728"/>
                  </a:lnTo>
                  <a:lnTo>
                    <a:pt x="327" y="723"/>
                  </a:lnTo>
                  <a:lnTo>
                    <a:pt x="328" y="722"/>
                  </a:lnTo>
                  <a:lnTo>
                    <a:pt x="330" y="724"/>
                  </a:lnTo>
                  <a:lnTo>
                    <a:pt x="331" y="724"/>
                  </a:lnTo>
                  <a:lnTo>
                    <a:pt x="331" y="723"/>
                  </a:lnTo>
                  <a:lnTo>
                    <a:pt x="331" y="720"/>
                  </a:lnTo>
                  <a:lnTo>
                    <a:pt x="334" y="718"/>
                  </a:lnTo>
                  <a:lnTo>
                    <a:pt x="339" y="718"/>
                  </a:lnTo>
                  <a:lnTo>
                    <a:pt x="338" y="716"/>
                  </a:lnTo>
                  <a:lnTo>
                    <a:pt x="336" y="716"/>
                  </a:lnTo>
                  <a:lnTo>
                    <a:pt x="334" y="716"/>
                  </a:lnTo>
                  <a:lnTo>
                    <a:pt x="333" y="717"/>
                  </a:lnTo>
                  <a:lnTo>
                    <a:pt x="331" y="718"/>
                  </a:lnTo>
                  <a:lnTo>
                    <a:pt x="330" y="717"/>
                  </a:lnTo>
                  <a:lnTo>
                    <a:pt x="328" y="716"/>
                  </a:lnTo>
                  <a:lnTo>
                    <a:pt x="326" y="716"/>
                  </a:lnTo>
                  <a:lnTo>
                    <a:pt x="325" y="716"/>
                  </a:lnTo>
                  <a:lnTo>
                    <a:pt x="324" y="718"/>
                  </a:lnTo>
                  <a:lnTo>
                    <a:pt x="322" y="720"/>
                  </a:lnTo>
                  <a:lnTo>
                    <a:pt x="324" y="722"/>
                  </a:lnTo>
                  <a:lnTo>
                    <a:pt x="325" y="722"/>
                  </a:lnTo>
                  <a:lnTo>
                    <a:pt x="322" y="725"/>
                  </a:lnTo>
                  <a:lnTo>
                    <a:pt x="321" y="726"/>
                  </a:lnTo>
                  <a:lnTo>
                    <a:pt x="321" y="729"/>
                  </a:lnTo>
                  <a:lnTo>
                    <a:pt x="320" y="729"/>
                  </a:lnTo>
                  <a:lnTo>
                    <a:pt x="319" y="728"/>
                  </a:lnTo>
                  <a:lnTo>
                    <a:pt x="321" y="723"/>
                  </a:lnTo>
                  <a:lnTo>
                    <a:pt x="318" y="723"/>
                  </a:lnTo>
                  <a:lnTo>
                    <a:pt x="316" y="724"/>
                  </a:lnTo>
                  <a:lnTo>
                    <a:pt x="316" y="725"/>
                  </a:lnTo>
                  <a:lnTo>
                    <a:pt x="315" y="726"/>
                  </a:lnTo>
                  <a:lnTo>
                    <a:pt x="313" y="726"/>
                  </a:lnTo>
                  <a:lnTo>
                    <a:pt x="310" y="725"/>
                  </a:lnTo>
                  <a:lnTo>
                    <a:pt x="308" y="726"/>
                  </a:lnTo>
                  <a:lnTo>
                    <a:pt x="307" y="726"/>
                  </a:lnTo>
                  <a:lnTo>
                    <a:pt x="308" y="726"/>
                  </a:lnTo>
                  <a:lnTo>
                    <a:pt x="308" y="728"/>
                  </a:lnTo>
                  <a:lnTo>
                    <a:pt x="307" y="729"/>
                  </a:lnTo>
                  <a:lnTo>
                    <a:pt x="305" y="730"/>
                  </a:lnTo>
                  <a:lnTo>
                    <a:pt x="305" y="729"/>
                  </a:lnTo>
                  <a:lnTo>
                    <a:pt x="303" y="729"/>
                  </a:lnTo>
                  <a:lnTo>
                    <a:pt x="302" y="730"/>
                  </a:lnTo>
                  <a:lnTo>
                    <a:pt x="301" y="731"/>
                  </a:lnTo>
                  <a:lnTo>
                    <a:pt x="299" y="731"/>
                  </a:lnTo>
                  <a:lnTo>
                    <a:pt x="299" y="730"/>
                  </a:lnTo>
                  <a:lnTo>
                    <a:pt x="297" y="731"/>
                  </a:lnTo>
                  <a:lnTo>
                    <a:pt x="296" y="730"/>
                  </a:lnTo>
                  <a:lnTo>
                    <a:pt x="295" y="730"/>
                  </a:lnTo>
                  <a:lnTo>
                    <a:pt x="295" y="731"/>
                  </a:lnTo>
                  <a:lnTo>
                    <a:pt x="293" y="731"/>
                  </a:lnTo>
                  <a:lnTo>
                    <a:pt x="292" y="730"/>
                  </a:lnTo>
                  <a:lnTo>
                    <a:pt x="292" y="729"/>
                  </a:lnTo>
                  <a:lnTo>
                    <a:pt x="291" y="729"/>
                  </a:lnTo>
                  <a:lnTo>
                    <a:pt x="290" y="729"/>
                  </a:lnTo>
                  <a:lnTo>
                    <a:pt x="287" y="728"/>
                  </a:lnTo>
                  <a:lnTo>
                    <a:pt x="286" y="726"/>
                  </a:lnTo>
                  <a:lnTo>
                    <a:pt x="285" y="725"/>
                  </a:lnTo>
                  <a:lnTo>
                    <a:pt x="286" y="723"/>
                  </a:lnTo>
                  <a:lnTo>
                    <a:pt x="284" y="723"/>
                  </a:lnTo>
                  <a:lnTo>
                    <a:pt x="281" y="723"/>
                  </a:lnTo>
                  <a:lnTo>
                    <a:pt x="280" y="722"/>
                  </a:lnTo>
                  <a:lnTo>
                    <a:pt x="279" y="723"/>
                  </a:lnTo>
                  <a:lnTo>
                    <a:pt x="278" y="724"/>
                  </a:lnTo>
                  <a:lnTo>
                    <a:pt x="277" y="725"/>
                  </a:lnTo>
                  <a:lnTo>
                    <a:pt x="275" y="724"/>
                  </a:lnTo>
                  <a:lnTo>
                    <a:pt x="272" y="724"/>
                  </a:lnTo>
                  <a:lnTo>
                    <a:pt x="269" y="723"/>
                  </a:lnTo>
                  <a:lnTo>
                    <a:pt x="269" y="720"/>
                  </a:lnTo>
                  <a:lnTo>
                    <a:pt x="268" y="720"/>
                  </a:lnTo>
                  <a:lnTo>
                    <a:pt x="267" y="720"/>
                  </a:lnTo>
                  <a:lnTo>
                    <a:pt x="267" y="722"/>
                  </a:lnTo>
                  <a:lnTo>
                    <a:pt x="266" y="723"/>
                  </a:lnTo>
                  <a:lnTo>
                    <a:pt x="265" y="724"/>
                  </a:lnTo>
                  <a:lnTo>
                    <a:pt x="262" y="723"/>
                  </a:lnTo>
                  <a:lnTo>
                    <a:pt x="261" y="722"/>
                  </a:lnTo>
                  <a:lnTo>
                    <a:pt x="260" y="722"/>
                  </a:lnTo>
                  <a:lnTo>
                    <a:pt x="259" y="722"/>
                  </a:lnTo>
                  <a:lnTo>
                    <a:pt x="256" y="722"/>
                  </a:lnTo>
                  <a:lnTo>
                    <a:pt x="255" y="722"/>
                  </a:lnTo>
                  <a:lnTo>
                    <a:pt x="254" y="722"/>
                  </a:lnTo>
                  <a:lnTo>
                    <a:pt x="252" y="720"/>
                  </a:lnTo>
                  <a:lnTo>
                    <a:pt x="250" y="722"/>
                  </a:lnTo>
                  <a:lnTo>
                    <a:pt x="248" y="722"/>
                  </a:lnTo>
                  <a:lnTo>
                    <a:pt x="244" y="723"/>
                  </a:lnTo>
                  <a:lnTo>
                    <a:pt x="244" y="724"/>
                  </a:lnTo>
                  <a:lnTo>
                    <a:pt x="243" y="726"/>
                  </a:lnTo>
                  <a:lnTo>
                    <a:pt x="244" y="728"/>
                  </a:lnTo>
                  <a:lnTo>
                    <a:pt x="245" y="725"/>
                  </a:lnTo>
                  <a:lnTo>
                    <a:pt x="248" y="725"/>
                  </a:lnTo>
                  <a:lnTo>
                    <a:pt x="248" y="726"/>
                  </a:lnTo>
                  <a:lnTo>
                    <a:pt x="250" y="726"/>
                  </a:lnTo>
                  <a:lnTo>
                    <a:pt x="251" y="726"/>
                  </a:lnTo>
                  <a:lnTo>
                    <a:pt x="252" y="726"/>
                  </a:lnTo>
                  <a:lnTo>
                    <a:pt x="254" y="728"/>
                  </a:lnTo>
                  <a:lnTo>
                    <a:pt x="255" y="725"/>
                  </a:lnTo>
                  <a:lnTo>
                    <a:pt x="255" y="723"/>
                  </a:lnTo>
                  <a:lnTo>
                    <a:pt x="255" y="724"/>
                  </a:lnTo>
                  <a:lnTo>
                    <a:pt x="256" y="724"/>
                  </a:lnTo>
                  <a:lnTo>
                    <a:pt x="256" y="726"/>
                  </a:lnTo>
                  <a:lnTo>
                    <a:pt x="257" y="725"/>
                  </a:lnTo>
                  <a:lnTo>
                    <a:pt x="260" y="725"/>
                  </a:lnTo>
                  <a:lnTo>
                    <a:pt x="260" y="726"/>
                  </a:lnTo>
                  <a:lnTo>
                    <a:pt x="261" y="724"/>
                  </a:lnTo>
                  <a:lnTo>
                    <a:pt x="262" y="724"/>
                  </a:lnTo>
                  <a:lnTo>
                    <a:pt x="263" y="725"/>
                  </a:lnTo>
                  <a:lnTo>
                    <a:pt x="265" y="725"/>
                  </a:lnTo>
                  <a:lnTo>
                    <a:pt x="265" y="726"/>
                  </a:lnTo>
                  <a:lnTo>
                    <a:pt x="265" y="725"/>
                  </a:lnTo>
                  <a:lnTo>
                    <a:pt x="265" y="726"/>
                  </a:lnTo>
                  <a:lnTo>
                    <a:pt x="265" y="728"/>
                  </a:lnTo>
                  <a:lnTo>
                    <a:pt x="266" y="729"/>
                  </a:lnTo>
                  <a:lnTo>
                    <a:pt x="267" y="729"/>
                  </a:lnTo>
                  <a:lnTo>
                    <a:pt x="267" y="730"/>
                  </a:lnTo>
                  <a:lnTo>
                    <a:pt x="267" y="729"/>
                  </a:lnTo>
                  <a:lnTo>
                    <a:pt x="268" y="729"/>
                  </a:lnTo>
                  <a:lnTo>
                    <a:pt x="268" y="726"/>
                  </a:lnTo>
                  <a:lnTo>
                    <a:pt x="268" y="725"/>
                  </a:lnTo>
                  <a:lnTo>
                    <a:pt x="269" y="724"/>
                  </a:lnTo>
                  <a:lnTo>
                    <a:pt x="272" y="725"/>
                  </a:lnTo>
                  <a:lnTo>
                    <a:pt x="272" y="729"/>
                  </a:lnTo>
                  <a:lnTo>
                    <a:pt x="271" y="728"/>
                  </a:lnTo>
                  <a:lnTo>
                    <a:pt x="269" y="731"/>
                  </a:lnTo>
                  <a:lnTo>
                    <a:pt x="271" y="734"/>
                  </a:lnTo>
                  <a:lnTo>
                    <a:pt x="267" y="734"/>
                  </a:lnTo>
                  <a:lnTo>
                    <a:pt x="266" y="734"/>
                  </a:lnTo>
                  <a:lnTo>
                    <a:pt x="268" y="734"/>
                  </a:lnTo>
                  <a:lnTo>
                    <a:pt x="268" y="737"/>
                  </a:lnTo>
                  <a:lnTo>
                    <a:pt x="267" y="736"/>
                  </a:lnTo>
                  <a:lnTo>
                    <a:pt x="266" y="736"/>
                  </a:lnTo>
                  <a:lnTo>
                    <a:pt x="263" y="736"/>
                  </a:lnTo>
                  <a:lnTo>
                    <a:pt x="262" y="736"/>
                  </a:lnTo>
                  <a:lnTo>
                    <a:pt x="260" y="737"/>
                  </a:lnTo>
                  <a:lnTo>
                    <a:pt x="256" y="737"/>
                  </a:lnTo>
                  <a:lnTo>
                    <a:pt x="255" y="740"/>
                  </a:lnTo>
                  <a:lnTo>
                    <a:pt x="255" y="741"/>
                  </a:lnTo>
                  <a:lnTo>
                    <a:pt x="254" y="743"/>
                  </a:lnTo>
                  <a:lnTo>
                    <a:pt x="252" y="744"/>
                  </a:lnTo>
                  <a:lnTo>
                    <a:pt x="252" y="746"/>
                  </a:lnTo>
                  <a:lnTo>
                    <a:pt x="249" y="746"/>
                  </a:lnTo>
                  <a:lnTo>
                    <a:pt x="246" y="744"/>
                  </a:lnTo>
                  <a:lnTo>
                    <a:pt x="248" y="743"/>
                  </a:lnTo>
                  <a:lnTo>
                    <a:pt x="248" y="742"/>
                  </a:lnTo>
                  <a:lnTo>
                    <a:pt x="246" y="742"/>
                  </a:lnTo>
                  <a:lnTo>
                    <a:pt x="245" y="740"/>
                  </a:lnTo>
                  <a:lnTo>
                    <a:pt x="244" y="736"/>
                  </a:lnTo>
                  <a:lnTo>
                    <a:pt x="242" y="736"/>
                  </a:lnTo>
                  <a:lnTo>
                    <a:pt x="242" y="737"/>
                  </a:lnTo>
                  <a:lnTo>
                    <a:pt x="243" y="738"/>
                  </a:lnTo>
                  <a:lnTo>
                    <a:pt x="244" y="741"/>
                  </a:lnTo>
                  <a:lnTo>
                    <a:pt x="245" y="742"/>
                  </a:lnTo>
                  <a:lnTo>
                    <a:pt x="244" y="743"/>
                  </a:lnTo>
                  <a:lnTo>
                    <a:pt x="242" y="744"/>
                  </a:lnTo>
                  <a:lnTo>
                    <a:pt x="243" y="741"/>
                  </a:lnTo>
                  <a:lnTo>
                    <a:pt x="242" y="741"/>
                  </a:lnTo>
                  <a:lnTo>
                    <a:pt x="240" y="742"/>
                  </a:lnTo>
                  <a:lnTo>
                    <a:pt x="240" y="744"/>
                  </a:lnTo>
                  <a:lnTo>
                    <a:pt x="243" y="747"/>
                  </a:lnTo>
                  <a:lnTo>
                    <a:pt x="239" y="747"/>
                  </a:lnTo>
                  <a:lnTo>
                    <a:pt x="239" y="748"/>
                  </a:lnTo>
                  <a:lnTo>
                    <a:pt x="240" y="749"/>
                  </a:lnTo>
                  <a:lnTo>
                    <a:pt x="240" y="750"/>
                  </a:lnTo>
                  <a:lnTo>
                    <a:pt x="238" y="749"/>
                  </a:lnTo>
                  <a:lnTo>
                    <a:pt x="238" y="752"/>
                  </a:lnTo>
                  <a:lnTo>
                    <a:pt x="238" y="753"/>
                  </a:lnTo>
                  <a:lnTo>
                    <a:pt x="239" y="753"/>
                  </a:lnTo>
                  <a:lnTo>
                    <a:pt x="239" y="754"/>
                  </a:lnTo>
                  <a:lnTo>
                    <a:pt x="238" y="754"/>
                  </a:lnTo>
                  <a:lnTo>
                    <a:pt x="237" y="755"/>
                  </a:lnTo>
                  <a:lnTo>
                    <a:pt x="240" y="756"/>
                  </a:lnTo>
                  <a:lnTo>
                    <a:pt x="243" y="755"/>
                  </a:lnTo>
                  <a:lnTo>
                    <a:pt x="243" y="756"/>
                  </a:lnTo>
                  <a:lnTo>
                    <a:pt x="244" y="756"/>
                  </a:lnTo>
                  <a:lnTo>
                    <a:pt x="244" y="761"/>
                  </a:lnTo>
                  <a:lnTo>
                    <a:pt x="243" y="764"/>
                  </a:lnTo>
                  <a:lnTo>
                    <a:pt x="243" y="766"/>
                  </a:lnTo>
                  <a:lnTo>
                    <a:pt x="242" y="766"/>
                  </a:lnTo>
                  <a:lnTo>
                    <a:pt x="239" y="767"/>
                  </a:lnTo>
                  <a:lnTo>
                    <a:pt x="239" y="766"/>
                  </a:lnTo>
                  <a:lnTo>
                    <a:pt x="237" y="766"/>
                  </a:lnTo>
                  <a:lnTo>
                    <a:pt x="236" y="765"/>
                  </a:lnTo>
                  <a:lnTo>
                    <a:pt x="233" y="764"/>
                  </a:lnTo>
                  <a:lnTo>
                    <a:pt x="230" y="761"/>
                  </a:lnTo>
                  <a:lnTo>
                    <a:pt x="228" y="761"/>
                  </a:lnTo>
                  <a:lnTo>
                    <a:pt x="226" y="761"/>
                  </a:lnTo>
                  <a:lnTo>
                    <a:pt x="224" y="761"/>
                  </a:lnTo>
                  <a:lnTo>
                    <a:pt x="221" y="761"/>
                  </a:lnTo>
                  <a:lnTo>
                    <a:pt x="219" y="762"/>
                  </a:lnTo>
                  <a:lnTo>
                    <a:pt x="214" y="762"/>
                  </a:lnTo>
                  <a:lnTo>
                    <a:pt x="212" y="762"/>
                  </a:lnTo>
                  <a:lnTo>
                    <a:pt x="210" y="762"/>
                  </a:lnTo>
                  <a:lnTo>
                    <a:pt x="208" y="762"/>
                  </a:lnTo>
                  <a:lnTo>
                    <a:pt x="207" y="761"/>
                  </a:lnTo>
                  <a:lnTo>
                    <a:pt x="206" y="762"/>
                  </a:lnTo>
                  <a:lnTo>
                    <a:pt x="204" y="764"/>
                  </a:lnTo>
                  <a:lnTo>
                    <a:pt x="203" y="764"/>
                  </a:lnTo>
                  <a:lnTo>
                    <a:pt x="202" y="765"/>
                  </a:lnTo>
                  <a:lnTo>
                    <a:pt x="198" y="768"/>
                  </a:lnTo>
                  <a:lnTo>
                    <a:pt x="198" y="770"/>
                  </a:lnTo>
                  <a:lnTo>
                    <a:pt x="197" y="771"/>
                  </a:lnTo>
                  <a:lnTo>
                    <a:pt x="196" y="770"/>
                  </a:lnTo>
                  <a:lnTo>
                    <a:pt x="195" y="771"/>
                  </a:lnTo>
                  <a:lnTo>
                    <a:pt x="192" y="771"/>
                  </a:lnTo>
                  <a:lnTo>
                    <a:pt x="190" y="768"/>
                  </a:lnTo>
                  <a:lnTo>
                    <a:pt x="187" y="765"/>
                  </a:lnTo>
                  <a:lnTo>
                    <a:pt x="189" y="764"/>
                  </a:lnTo>
                  <a:lnTo>
                    <a:pt x="187" y="762"/>
                  </a:lnTo>
                  <a:lnTo>
                    <a:pt x="186" y="760"/>
                  </a:lnTo>
                  <a:lnTo>
                    <a:pt x="185" y="759"/>
                  </a:lnTo>
                  <a:lnTo>
                    <a:pt x="183" y="760"/>
                  </a:lnTo>
                  <a:lnTo>
                    <a:pt x="181" y="760"/>
                  </a:lnTo>
                  <a:lnTo>
                    <a:pt x="180" y="759"/>
                  </a:lnTo>
                  <a:lnTo>
                    <a:pt x="179" y="756"/>
                  </a:lnTo>
                  <a:lnTo>
                    <a:pt x="177" y="753"/>
                  </a:lnTo>
                  <a:lnTo>
                    <a:pt x="174" y="750"/>
                  </a:lnTo>
                  <a:lnTo>
                    <a:pt x="175" y="750"/>
                  </a:lnTo>
                  <a:lnTo>
                    <a:pt x="175" y="749"/>
                  </a:lnTo>
                  <a:lnTo>
                    <a:pt x="175" y="748"/>
                  </a:lnTo>
                  <a:lnTo>
                    <a:pt x="177" y="749"/>
                  </a:lnTo>
                  <a:lnTo>
                    <a:pt x="178" y="749"/>
                  </a:lnTo>
                  <a:lnTo>
                    <a:pt x="179" y="750"/>
                  </a:lnTo>
                  <a:lnTo>
                    <a:pt x="181" y="750"/>
                  </a:lnTo>
                  <a:lnTo>
                    <a:pt x="183" y="752"/>
                  </a:lnTo>
                  <a:lnTo>
                    <a:pt x="185" y="750"/>
                  </a:lnTo>
                  <a:lnTo>
                    <a:pt x="184" y="748"/>
                  </a:lnTo>
                  <a:lnTo>
                    <a:pt x="184" y="747"/>
                  </a:lnTo>
                  <a:lnTo>
                    <a:pt x="184" y="746"/>
                  </a:lnTo>
                  <a:lnTo>
                    <a:pt x="186" y="746"/>
                  </a:lnTo>
                  <a:lnTo>
                    <a:pt x="189" y="747"/>
                  </a:lnTo>
                  <a:lnTo>
                    <a:pt x="189" y="746"/>
                  </a:lnTo>
                  <a:lnTo>
                    <a:pt x="191" y="746"/>
                  </a:lnTo>
                  <a:lnTo>
                    <a:pt x="192" y="744"/>
                  </a:lnTo>
                  <a:lnTo>
                    <a:pt x="191" y="744"/>
                  </a:lnTo>
                  <a:lnTo>
                    <a:pt x="190" y="743"/>
                  </a:lnTo>
                  <a:lnTo>
                    <a:pt x="187" y="741"/>
                  </a:lnTo>
                  <a:lnTo>
                    <a:pt x="187" y="737"/>
                  </a:lnTo>
                  <a:lnTo>
                    <a:pt x="190" y="738"/>
                  </a:lnTo>
                  <a:lnTo>
                    <a:pt x="191" y="740"/>
                  </a:lnTo>
                  <a:lnTo>
                    <a:pt x="192" y="740"/>
                  </a:lnTo>
                  <a:lnTo>
                    <a:pt x="195" y="738"/>
                  </a:lnTo>
                  <a:lnTo>
                    <a:pt x="197" y="736"/>
                  </a:lnTo>
                  <a:lnTo>
                    <a:pt x="198" y="736"/>
                  </a:lnTo>
                  <a:lnTo>
                    <a:pt x="198" y="735"/>
                  </a:lnTo>
                  <a:lnTo>
                    <a:pt x="195" y="732"/>
                  </a:lnTo>
                  <a:lnTo>
                    <a:pt x="193" y="731"/>
                  </a:lnTo>
                  <a:lnTo>
                    <a:pt x="192" y="730"/>
                  </a:lnTo>
                  <a:lnTo>
                    <a:pt x="192" y="728"/>
                  </a:lnTo>
                  <a:lnTo>
                    <a:pt x="190" y="728"/>
                  </a:lnTo>
                  <a:lnTo>
                    <a:pt x="189" y="726"/>
                  </a:lnTo>
                  <a:lnTo>
                    <a:pt x="190" y="725"/>
                  </a:lnTo>
                  <a:lnTo>
                    <a:pt x="191" y="725"/>
                  </a:lnTo>
                  <a:lnTo>
                    <a:pt x="192" y="724"/>
                  </a:lnTo>
                  <a:lnTo>
                    <a:pt x="192" y="723"/>
                  </a:lnTo>
                  <a:lnTo>
                    <a:pt x="196" y="725"/>
                  </a:lnTo>
                  <a:lnTo>
                    <a:pt x="197" y="724"/>
                  </a:lnTo>
                  <a:lnTo>
                    <a:pt x="195" y="723"/>
                  </a:lnTo>
                  <a:lnTo>
                    <a:pt x="196" y="719"/>
                  </a:lnTo>
                  <a:lnTo>
                    <a:pt x="196" y="717"/>
                  </a:lnTo>
                  <a:lnTo>
                    <a:pt x="195" y="716"/>
                  </a:lnTo>
                  <a:lnTo>
                    <a:pt x="193" y="717"/>
                  </a:lnTo>
                  <a:lnTo>
                    <a:pt x="190" y="717"/>
                  </a:lnTo>
                  <a:lnTo>
                    <a:pt x="187" y="716"/>
                  </a:lnTo>
                  <a:lnTo>
                    <a:pt x="186" y="716"/>
                  </a:lnTo>
                  <a:lnTo>
                    <a:pt x="185" y="716"/>
                  </a:lnTo>
                  <a:lnTo>
                    <a:pt x="183" y="716"/>
                  </a:lnTo>
                  <a:lnTo>
                    <a:pt x="181" y="717"/>
                  </a:lnTo>
                  <a:lnTo>
                    <a:pt x="179" y="718"/>
                  </a:lnTo>
                  <a:lnTo>
                    <a:pt x="178" y="719"/>
                  </a:lnTo>
                  <a:lnTo>
                    <a:pt x="178" y="718"/>
                  </a:lnTo>
                  <a:lnTo>
                    <a:pt x="177" y="717"/>
                  </a:lnTo>
                  <a:lnTo>
                    <a:pt x="175" y="718"/>
                  </a:lnTo>
                  <a:lnTo>
                    <a:pt x="173" y="718"/>
                  </a:lnTo>
                  <a:lnTo>
                    <a:pt x="172" y="718"/>
                  </a:lnTo>
                  <a:lnTo>
                    <a:pt x="169" y="717"/>
                  </a:lnTo>
                  <a:lnTo>
                    <a:pt x="168" y="717"/>
                  </a:lnTo>
                  <a:lnTo>
                    <a:pt x="166" y="716"/>
                  </a:lnTo>
                  <a:lnTo>
                    <a:pt x="163" y="717"/>
                  </a:lnTo>
                  <a:lnTo>
                    <a:pt x="161" y="717"/>
                  </a:lnTo>
                  <a:lnTo>
                    <a:pt x="161" y="718"/>
                  </a:lnTo>
                  <a:lnTo>
                    <a:pt x="160" y="718"/>
                  </a:lnTo>
                  <a:lnTo>
                    <a:pt x="159" y="719"/>
                  </a:lnTo>
                  <a:lnTo>
                    <a:pt x="157" y="722"/>
                  </a:lnTo>
                  <a:lnTo>
                    <a:pt x="155" y="720"/>
                  </a:lnTo>
                  <a:lnTo>
                    <a:pt x="149" y="720"/>
                  </a:lnTo>
                  <a:lnTo>
                    <a:pt x="147" y="720"/>
                  </a:lnTo>
                  <a:lnTo>
                    <a:pt x="143" y="719"/>
                  </a:lnTo>
                  <a:lnTo>
                    <a:pt x="141" y="723"/>
                  </a:lnTo>
                  <a:lnTo>
                    <a:pt x="138" y="722"/>
                  </a:lnTo>
                  <a:lnTo>
                    <a:pt x="137" y="720"/>
                  </a:lnTo>
                  <a:lnTo>
                    <a:pt x="136" y="719"/>
                  </a:lnTo>
                  <a:lnTo>
                    <a:pt x="133" y="719"/>
                  </a:lnTo>
                  <a:lnTo>
                    <a:pt x="131" y="717"/>
                  </a:lnTo>
                  <a:lnTo>
                    <a:pt x="128" y="717"/>
                  </a:lnTo>
                  <a:lnTo>
                    <a:pt x="128" y="716"/>
                  </a:lnTo>
                  <a:lnTo>
                    <a:pt x="131" y="713"/>
                  </a:lnTo>
                  <a:lnTo>
                    <a:pt x="132" y="713"/>
                  </a:lnTo>
                  <a:lnTo>
                    <a:pt x="132" y="714"/>
                  </a:lnTo>
                  <a:lnTo>
                    <a:pt x="136" y="714"/>
                  </a:lnTo>
                  <a:lnTo>
                    <a:pt x="137" y="714"/>
                  </a:lnTo>
                  <a:lnTo>
                    <a:pt x="138" y="714"/>
                  </a:lnTo>
                  <a:lnTo>
                    <a:pt x="138" y="713"/>
                  </a:lnTo>
                  <a:lnTo>
                    <a:pt x="136" y="712"/>
                  </a:lnTo>
                  <a:lnTo>
                    <a:pt x="136" y="710"/>
                  </a:lnTo>
                  <a:lnTo>
                    <a:pt x="133" y="708"/>
                  </a:lnTo>
                  <a:lnTo>
                    <a:pt x="132" y="708"/>
                  </a:lnTo>
                  <a:lnTo>
                    <a:pt x="131" y="708"/>
                  </a:lnTo>
                  <a:lnTo>
                    <a:pt x="131" y="707"/>
                  </a:lnTo>
                  <a:lnTo>
                    <a:pt x="128" y="707"/>
                  </a:lnTo>
                  <a:lnTo>
                    <a:pt x="130" y="701"/>
                  </a:lnTo>
                  <a:lnTo>
                    <a:pt x="133" y="697"/>
                  </a:lnTo>
                  <a:lnTo>
                    <a:pt x="134" y="697"/>
                  </a:lnTo>
                  <a:lnTo>
                    <a:pt x="136" y="697"/>
                  </a:lnTo>
                  <a:lnTo>
                    <a:pt x="136" y="696"/>
                  </a:lnTo>
                  <a:lnTo>
                    <a:pt x="138" y="695"/>
                  </a:lnTo>
                  <a:lnTo>
                    <a:pt x="139" y="697"/>
                  </a:lnTo>
                  <a:lnTo>
                    <a:pt x="143" y="699"/>
                  </a:lnTo>
                  <a:lnTo>
                    <a:pt x="143" y="696"/>
                  </a:lnTo>
                  <a:lnTo>
                    <a:pt x="143" y="694"/>
                  </a:lnTo>
                  <a:lnTo>
                    <a:pt x="144" y="694"/>
                  </a:lnTo>
                  <a:lnTo>
                    <a:pt x="145" y="694"/>
                  </a:lnTo>
                  <a:lnTo>
                    <a:pt x="149" y="693"/>
                  </a:lnTo>
                  <a:lnTo>
                    <a:pt x="150" y="693"/>
                  </a:lnTo>
                  <a:lnTo>
                    <a:pt x="150" y="691"/>
                  </a:lnTo>
                  <a:lnTo>
                    <a:pt x="147" y="688"/>
                  </a:lnTo>
                  <a:lnTo>
                    <a:pt x="145" y="688"/>
                  </a:lnTo>
                  <a:lnTo>
                    <a:pt x="144" y="689"/>
                  </a:lnTo>
                  <a:lnTo>
                    <a:pt x="143" y="690"/>
                  </a:lnTo>
                  <a:lnTo>
                    <a:pt x="143" y="689"/>
                  </a:lnTo>
                  <a:lnTo>
                    <a:pt x="141" y="689"/>
                  </a:lnTo>
                  <a:lnTo>
                    <a:pt x="139" y="689"/>
                  </a:lnTo>
                  <a:lnTo>
                    <a:pt x="138" y="688"/>
                  </a:lnTo>
                  <a:lnTo>
                    <a:pt x="137" y="688"/>
                  </a:lnTo>
                  <a:lnTo>
                    <a:pt x="137" y="687"/>
                  </a:lnTo>
                  <a:lnTo>
                    <a:pt x="133" y="685"/>
                  </a:lnTo>
                  <a:lnTo>
                    <a:pt x="128" y="683"/>
                  </a:lnTo>
                  <a:lnTo>
                    <a:pt x="127" y="682"/>
                  </a:lnTo>
                  <a:lnTo>
                    <a:pt x="126" y="681"/>
                  </a:lnTo>
                  <a:lnTo>
                    <a:pt x="126" y="678"/>
                  </a:lnTo>
                  <a:lnTo>
                    <a:pt x="125" y="677"/>
                  </a:lnTo>
                  <a:lnTo>
                    <a:pt x="124" y="676"/>
                  </a:lnTo>
                  <a:lnTo>
                    <a:pt x="122" y="675"/>
                  </a:lnTo>
                  <a:lnTo>
                    <a:pt x="125" y="673"/>
                  </a:lnTo>
                  <a:lnTo>
                    <a:pt x="125" y="672"/>
                  </a:lnTo>
                  <a:lnTo>
                    <a:pt x="126" y="672"/>
                  </a:lnTo>
                  <a:lnTo>
                    <a:pt x="127" y="673"/>
                  </a:lnTo>
                  <a:lnTo>
                    <a:pt x="127" y="675"/>
                  </a:lnTo>
                  <a:lnTo>
                    <a:pt x="130" y="675"/>
                  </a:lnTo>
                  <a:lnTo>
                    <a:pt x="130" y="676"/>
                  </a:lnTo>
                  <a:lnTo>
                    <a:pt x="132" y="677"/>
                  </a:lnTo>
                  <a:lnTo>
                    <a:pt x="133" y="677"/>
                  </a:lnTo>
                  <a:lnTo>
                    <a:pt x="134" y="678"/>
                  </a:lnTo>
                  <a:lnTo>
                    <a:pt x="134" y="677"/>
                  </a:lnTo>
                  <a:lnTo>
                    <a:pt x="133" y="675"/>
                  </a:lnTo>
                  <a:lnTo>
                    <a:pt x="134" y="672"/>
                  </a:lnTo>
                  <a:lnTo>
                    <a:pt x="137" y="670"/>
                  </a:lnTo>
                  <a:lnTo>
                    <a:pt x="138" y="672"/>
                  </a:lnTo>
                  <a:lnTo>
                    <a:pt x="139" y="675"/>
                  </a:lnTo>
                  <a:lnTo>
                    <a:pt x="141" y="676"/>
                  </a:lnTo>
                  <a:lnTo>
                    <a:pt x="141" y="677"/>
                  </a:lnTo>
                  <a:lnTo>
                    <a:pt x="144" y="677"/>
                  </a:lnTo>
                  <a:lnTo>
                    <a:pt x="145" y="677"/>
                  </a:lnTo>
                  <a:lnTo>
                    <a:pt x="145" y="678"/>
                  </a:lnTo>
                  <a:lnTo>
                    <a:pt x="145" y="679"/>
                  </a:lnTo>
                  <a:lnTo>
                    <a:pt x="147" y="681"/>
                  </a:lnTo>
                  <a:lnTo>
                    <a:pt x="149" y="682"/>
                  </a:lnTo>
                  <a:lnTo>
                    <a:pt x="149" y="681"/>
                  </a:lnTo>
                  <a:lnTo>
                    <a:pt x="150" y="681"/>
                  </a:lnTo>
                  <a:lnTo>
                    <a:pt x="153" y="682"/>
                  </a:lnTo>
                  <a:lnTo>
                    <a:pt x="155" y="682"/>
                  </a:lnTo>
                  <a:lnTo>
                    <a:pt x="157" y="682"/>
                  </a:lnTo>
                  <a:lnTo>
                    <a:pt x="155" y="678"/>
                  </a:lnTo>
                  <a:lnTo>
                    <a:pt x="154" y="676"/>
                  </a:lnTo>
                  <a:lnTo>
                    <a:pt x="153" y="673"/>
                  </a:lnTo>
                  <a:lnTo>
                    <a:pt x="151" y="672"/>
                  </a:lnTo>
                  <a:lnTo>
                    <a:pt x="153" y="672"/>
                  </a:lnTo>
                  <a:lnTo>
                    <a:pt x="153" y="671"/>
                  </a:lnTo>
                  <a:lnTo>
                    <a:pt x="154" y="670"/>
                  </a:lnTo>
                  <a:lnTo>
                    <a:pt x="155" y="671"/>
                  </a:lnTo>
                  <a:lnTo>
                    <a:pt x="157" y="672"/>
                  </a:lnTo>
                  <a:lnTo>
                    <a:pt x="159" y="673"/>
                  </a:lnTo>
                  <a:lnTo>
                    <a:pt x="160" y="675"/>
                  </a:lnTo>
                  <a:lnTo>
                    <a:pt x="161" y="676"/>
                  </a:lnTo>
                  <a:lnTo>
                    <a:pt x="162" y="673"/>
                  </a:lnTo>
                  <a:lnTo>
                    <a:pt x="161" y="672"/>
                  </a:lnTo>
                  <a:lnTo>
                    <a:pt x="160" y="670"/>
                  </a:lnTo>
                  <a:lnTo>
                    <a:pt x="160" y="669"/>
                  </a:lnTo>
                  <a:lnTo>
                    <a:pt x="159" y="667"/>
                  </a:lnTo>
                  <a:lnTo>
                    <a:pt x="157" y="664"/>
                  </a:lnTo>
                  <a:lnTo>
                    <a:pt x="161" y="664"/>
                  </a:lnTo>
                  <a:lnTo>
                    <a:pt x="163" y="664"/>
                  </a:lnTo>
                  <a:lnTo>
                    <a:pt x="163" y="665"/>
                  </a:lnTo>
                  <a:lnTo>
                    <a:pt x="163" y="666"/>
                  </a:lnTo>
                  <a:lnTo>
                    <a:pt x="166" y="666"/>
                  </a:lnTo>
                  <a:lnTo>
                    <a:pt x="168" y="666"/>
                  </a:lnTo>
                  <a:lnTo>
                    <a:pt x="168" y="667"/>
                  </a:lnTo>
                  <a:lnTo>
                    <a:pt x="171" y="669"/>
                  </a:lnTo>
                  <a:lnTo>
                    <a:pt x="171" y="667"/>
                  </a:lnTo>
                  <a:lnTo>
                    <a:pt x="171" y="666"/>
                  </a:lnTo>
                  <a:lnTo>
                    <a:pt x="171" y="665"/>
                  </a:lnTo>
                  <a:lnTo>
                    <a:pt x="172" y="663"/>
                  </a:lnTo>
                  <a:lnTo>
                    <a:pt x="175" y="664"/>
                  </a:lnTo>
                  <a:lnTo>
                    <a:pt x="175" y="665"/>
                  </a:lnTo>
                  <a:lnTo>
                    <a:pt x="177" y="666"/>
                  </a:lnTo>
                  <a:lnTo>
                    <a:pt x="178" y="665"/>
                  </a:lnTo>
                  <a:lnTo>
                    <a:pt x="179" y="665"/>
                  </a:lnTo>
                  <a:lnTo>
                    <a:pt x="179" y="663"/>
                  </a:lnTo>
                  <a:lnTo>
                    <a:pt x="181" y="661"/>
                  </a:lnTo>
                  <a:lnTo>
                    <a:pt x="184" y="661"/>
                  </a:lnTo>
                  <a:lnTo>
                    <a:pt x="184" y="660"/>
                  </a:lnTo>
                  <a:lnTo>
                    <a:pt x="183" y="659"/>
                  </a:lnTo>
                  <a:lnTo>
                    <a:pt x="181" y="659"/>
                  </a:lnTo>
                  <a:lnTo>
                    <a:pt x="181" y="658"/>
                  </a:lnTo>
                  <a:lnTo>
                    <a:pt x="180" y="657"/>
                  </a:lnTo>
                  <a:lnTo>
                    <a:pt x="179" y="655"/>
                  </a:lnTo>
                  <a:lnTo>
                    <a:pt x="179" y="652"/>
                  </a:lnTo>
                  <a:lnTo>
                    <a:pt x="181" y="651"/>
                  </a:lnTo>
                  <a:lnTo>
                    <a:pt x="183" y="649"/>
                  </a:lnTo>
                  <a:lnTo>
                    <a:pt x="181" y="652"/>
                  </a:lnTo>
                  <a:lnTo>
                    <a:pt x="184" y="653"/>
                  </a:lnTo>
                  <a:lnTo>
                    <a:pt x="185" y="654"/>
                  </a:lnTo>
                  <a:lnTo>
                    <a:pt x="186" y="653"/>
                  </a:lnTo>
                  <a:lnTo>
                    <a:pt x="187" y="654"/>
                  </a:lnTo>
                  <a:lnTo>
                    <a:pt x="189" y="655"/>
                  </a:lnTo>
                  <a:lnTo>
                    <a:pt x="190" y="655"/>
                  </a:lnTo>
                  <a:lnTo>
                    <a:pt x="190" y="654"/>
                  </a:lnTo>
                  <a:lnTo>
                    <a:pt x="190" y="652"/>
                  </a:lnTo>
                  <a:lnTo>
                    <a:pt x="189" y="651"/>
                  </a:lnTo>
                  <a:lnTo>
                    <a:pt x="191" y="651"/>
                  </a:lnTo>
                  <a:lnTo>
                    <a:pt x="191" y="649"/>
                  </a:lnTo>
                  <a:lnTo>
                    <a:pt x="193" y="652"/>
                  </a:lnTo>
                  <a:lnTo>
                    <a:pt x="195" y="653"/>
                  </a:lnTo>
                  <a:lnTo>
                    <a:pt x="196" y="653"/>
                  </a:lnTo>
                  <a:lnTo>
                    <a:pt x="196" y="652"/>
                  </a:lnTo>
                  <a:lnTo>
                    <a:pt x="195" y="651"/>
                  </a:lnTo>
                  <a:lnTo>
                    <a:pt x="193" y="649"/>
                  </a:lnTo>
                  <a:lnTo>
                    <a:pt x="193" y="648"/>
                  </a:lnTo>
                  <a:lnTo>
                    <a:pt x="195" y="647"/>
                  </a:lnTo>
                  <a:lnTo>
                    <a:pt x="196" y="648"/>
                  </a:lnTo>
                  <a:lnTo>
                    <a:pt x="197" y="648"/>
                  </a:lnTo>
                  <a:lnTo>
                    <a:pt x="200" y="648"/>
                  </a:lnTo>
                  <a:lnTo>
                    <a:pt x="197" y="646"/>
                  </a:lnTo>
                  <a:lnTo>
                    <a:pt x="195" y="642"/>
                  </a:lnTo>
                  <a:lnTo>
                    <a:pt x="197" y="641"/>
                  </a:lnTo>
                  <a:lnTo>
                    <a:pt x="198" y="642"/>
                  </a:lnTo>
                  <a:lnTo>
                    <a:pt x="200" y="642"/>
                  </a:lnTo>
                  <a:lnTo>
                    <a:pt x="202" y="641"/>
                  </a:lnTo>
                  <a:lnTo>
                    <a:pt x="203" y="641"/>
                  </a:lnTo>
                  <a:lnTo>
                    <a:pt x="204" y="641"/>
                  </a:lnTo>
                  <a:lnTo>
                    <a:pt x="206" y="640"/>
                  </a:lnTo>
                  <a:lnTo>
                    <a:pt x="207" y="640"/>
                  </a:lnTo>
                  <a:lnTo>
                    <a:pt x="209" y="639"/>
                  </a:lnTo>
                  <a:lnTo>
                    <a:pt x="210" y="640"/>
                  </a:lnTo>
                  <a:lnTo>
                    <a:pt x="212" y="641"/>
                  </a:lnTo>
                  <a:lnTo>
                    <a:pt x="214" y="641"/>
                  </a:lnTo>
                  <a:lnTo>
                    <a:pt x="216" y="641"/>
                  </a:lnTo>
                  <a:lnTo>
                    <a:pt x="218" y="643"/>
                  </a:lnTo>
                  <a:lnTo>
                    <a:pt x="220" y="643"/>
                  </a:lnTo>
                  <a:lnTo>
                    <a:pt x="221" y="643"/>
                  </a:lnTo>
                  <a:lnTo>
                    <a:pt x="221" y="642"/>
                  </a:lnTo>
                  <a:lnTo>
                    <a:pt x="225" y="643"/>
                  </a:lnTo>
                  <a:lnTo>
                    <a:pt x="226" y="643"/>
                  </a:lnTo>
                  <a:lnTo>
                    <a:pt x="228" y="642"/>
                  </a:lnTo>
                  <a:lnTo>
                    <a:pt x="227" y="640"/>
                  </a:lnTo>
                  <a:lnTo>
                    <a:pt x="227" y="637"/>
                  </a:lnTo>
                  <a:lnTo>
                    <a:pt x="230" y="639"/>
                  </a:lnTo>
                  <a:lnTo>
                    <a:pt x="234" y="640"/>
                  </a:lnTo>
                  <a:lnTo>
                    <a:pt x="237" y="637"/>
                  </a:lnTo>
                  <a:lnTo>
                    <a:pt x="238" y="634"/>
                  </a:lnTo>
                  <a:lnTo>
                    <a:pt x="238" y="633"/>
                  </a:lnTo>
                  <a:lnTo>
                    <a:pt x="239" y="631"/>
                  </a:lnTo>
                  <a:lnTo>
                    <a:pt x="243" y="629"/>
                  </a:lnTo>
                  <a:lnTo>
                    <a:pt x="245" y="628"/>
                  </a:lnTo>
                  <a:lnTo>
                    <a:pt x="246" y="628"/>
                  </a:lnTo>
                  <a:lnTo>
                    <a:pt x="248" y="627"/>
                  </a:lnTo>
                  <a:lnTo>
                    <a:pt x="249" y="624"/>
                  </a:lnTo>
                  <a:lnTo>
                    <a:pt x="250" y="623"/>
                  </a:lnTo>
                  <a:lnTo>
                    <a:pt x="251" y="622"/>
                  </a:lnTo>
                  <a:lnTo>
                    <a:pt x="250" y="622"/>
                  </a:lnTo>
                  <a:lnTo>
                    <a:pt x="249" y="621"/>
                  </a:lnTo>
                  <a:lnTo>
                    <a:pt x="250" y="619"/>
                  </a:lnTo>
                  <a:lnTo>
                    <a:pt x="251" y="621"/>
                  </a:lnTo>
                  <a:lnTo>
                    <a:pt x="252" y="619"/>
                  </a:lnTo>
                  <a:lnTo>
                    <a:pt x="254" y="621"/>
                  </a:lnTo>
                  <a:lnTo>
                    <a:pt x="255" y="619"/>
                  </a:lnTo>
                  <a:lnTo>
                    <a:pt x="256" y="619"/>
                  </a:lnTo>
                  <a:lnTo>
                    <a:pt x="257" y="617"/>
                  </a:lnTo>
                  <a:lnTo>
                    <a:pt x="260" y="618"/>
                  </a:lnTo>
                  <a:lnTo>
                    <a:pt x="260" y="619"/>
                  </a:lnTo>
                  <a:lnTo>
                    <a:pt x="262" y="618"/>
                  </a:lnTo>
                  <a:lnTo>
                    <a:pt x="263" y="618"/>
                  </a:lnTo>
                  <a:lnTo>
                    <a:pt x="266" y="618"/>
                  </a:lnTo>
                  <a:lnTo>
                    <a:pt x="267" y="617"/>
                  </a:lnTo>
                  <a:lnTo>
                    <a:pt x="268" y="619"/>
                  </a:lnTo>
                  <a:lnTo>
                    <a:pt x="269" y="619"/>
                  </a:lnTo>
                  <a:lnTo>
                    <a:pt x="269" y="618"/>
                  </a:lnTo>
                  <a:lnTo>
                    <a:pt x="272" y="618"/>
                  </a:lnTo>
                  <a:lnTo>
                    <a:pt x="272" y="617"/>
                  </a:lnTo>
                  <a:lnTo>
                    <a:pt x="271" y="616"/>
                  </a:lnTo>
                  <a:lnTo>
                    <a:pt x="272" y="615"/>
                  </a:lnTo>
                  <a:lnTo>
                    <a:pt x="273" y="615"/>
                  </a:lnTo>
                  <a:lnTo>
                    <a:pt x="273" y="616"/>
                  </a:lnTo>
                  <a:lnTo>
                    <a:pt x="273" y="617"/>
                  </a:lnTo>
                  <a:lnTo>
                    <a:pt x="277" y="617"/>
                  </a:lnTo>
                  <a:lnTo>
                    <a:pt x="275" y="615"/>
                  </a:lnTo>
                  <a:lnTo>
                    <a:pt x="277" y="613"/>
                  </a:lnTo>
                  <a:lnTo>
                    <a:pt x="280" y="613"/>
                  </a:lnTo>
                  <a:lnTo>
                    <a:pt x="281" y="611"/>
                  </a:lnTo>
                  <a:lnTo>
                    <a:pt x="281" y="612"/>
                  </a:lnTo>
                  <a:lnTo>
                    <a:pt x="284" y="612"/>
                  </a:lnTo>
                  <a:lnTo>
                    <a:pt x="285" y="611"/>
                  </a:lnTo>
                  <a:lnTo>
                    <a:pt x="283" y="611"/>
                  </a:lnTo>
                  <a:lnTo>
                    <a:pt x="284" y="610"/>
                  </a:lnTo>
                  <a:lnTo>
                    <a:pt x="285" y="609"/>
                  </a:lnTo>
                  <a:lnTo>
                    <a:pt x="287" y="609"/>
                  </a:lnTo>
                  <a:lnTo>
                    <a:pt x="289" y="607"/>
                  </a:lnTo>
                  <a:lnTo>
                    <a:pt x="289" y="609"/>
                  </a:lnTo>
                  <a:lnTo>
                    <a:pt x="290" y="609"/>
                  </a:lnTo>
                  <a:lnTo>
                    <a:pt x="289" y="610"/>
                  </a:lnTo>
                  <a:lnTo>
                    <a:pt x="289" y="611"/>
                  </a:lnTo>
                  <a:lnTo>
                    <a:pt x="290" y="611"/>
                  </a:lnTo>
                  <a:lnTo>
                    <a:pt x="290" y="610"/>
                  </a:lnTo>
                  <a:lnTo>
                    <a:pt x="291" y="611"/>
                  </a:lnTo>
                  <a:lnTo>
                    <a:pt x="293" y="613"/>
                  </a:lnTo>
                  <a:lnTo>
                    <a:pt x="297" y="613"/>
                  </a:lnTo>
                  <a:lnTo>
                    <a:pt x="296" y="611"/>
                  </a:lnTo>
                  <a:lnTo>
                    <a:pt x="296" y="610"/>
                  </a:lnTo>
                  <a:lnTo>
                    <a:pt x="293" y="610"/>
                  </a:lnTo>
                  <a:lnTo>
                    <a:pt x="292" y="609"/>
                  </a:lnTo>
                  <a:lnTo>
                    <a:pt x="293" y="609"/>
                  </a:lnTo>
                  <a:lnTo>
                    <a:pt x="295" y="609"/>
                  </a:lnTo>
                  <a:lnTo>
                    <a:pt x="295" y="607"/>
                  </a:lnTo>
                  <a:lnTo>
                    <a:pt x="296" y="607"/>
                  </a:lnTo>
                  <a:lnTo>
                    <a:pt x="296" y="606"/>
                  </a:lnTo>
                  <a:lnTo>
                    <a:pt x="296" y="605"/>
                  </a:lnTo>
                  <a:lnTo>
                    <a:pt x="298" y="606"/>
                  </a:lnTo>
                  <a:lnTo>
                    <a:pt x="298" y="605"/>
                  </a:lnTo>
                  <a:lnTo>
                    <a:pt x="297" y="604"/>
                  </a:lnTo>
                  <a:lnTo>
                    <a:pt x="298" y="603"/>
                  </a:lnTo>
                  <a:lnTo>
                    <a:pt x="299" y="603"/>
                  </a:lnTo>
                  <a:lnTo>
                    <a:pt x="299" y="601"/>
                  </a:lnTo>
                  <a:lnTo>
                    <a:pt x="298" y="601"/>
                  </a:lnTo>
                  <a:lnTo>
                    <a:pt x="299" y="601"/>
                  </a:lnTo>
                  <a:lnTo>
                    <a:pt x="297" y="601"/>
                  </a:lnTo>
                  <a:lnTo>
                    <a:pt x="297" y="600"/>
                  </a:lnTo>
                  <a:lnTo>
                    <a:pt x="296" y="600"/>
                  </a:lnTo>
                  <a:lnTo>
                    <a:pt x="296" y="603"/>
                  </a:lnTo>
                  <a:lnTo>
                    <a:pt x="295" y="601"/>
                  </a:lnTo>
                  <a:lnTo>
                    <a:pt x="293" y="603"/>
                  </a:lnTo>
                  <a:lnTo>
                    <a:pt x="293" y="604"/>
                  </a:lnTo>
                  <a:lnTo>
                    <a:pt x="292" y="604"/>
                  </a:lnTo>
                  <a:lnTo>
                    <a:pt x="291" y="605"/>
                  </a:lnTo>
                  <a:lnTo>
                    <a:pt x="290" y="605"/>
                  </a:lnTo>
                  <a:lnTo>
                    <a:pt x="289" y="600"/>
                  </a:lnTo>
                  <a:lnTo>
                    <a:pt x="289" y="599"/>
                  </a:lnTo>
                  <a:lnTo>
                    <a:pt x="289" y="598"/>
                  </a:lnTo>
                  <a:lnTo>
                    <a:pt x="285" y="598"/>
                  </a:lnTo>
                  <a:lnTo>
                    <a:pt x="284" y="596"/>
                  </a:lnTo>
                  <a:lnTo>
                    <a:pt x="283" y="596"/>
                  </a:lnTo>
                  <a:lnTo>
                    <a:pt x="283" y="595"/>
                  </a:lnTo>
                  <a:lnTo>
                    <a:pt x="281" y="599"/>
                  </a:lnTo>
                  <a:lnTo>
                    <a:pt x="281" y="601"/>
                  </a:lnTo>
                  <a:lnTo>
                    <a:pt x="277" y="600"/>
                  </a:lnTo>
                  <a:lnTo>
                    <a:pt x="275" y="601"/>
                  </a:lnTo>
                  <a:lnTo>
                    <a:pt x="274" y="601"/>
                  </a:lnTo>
                  <a:lnTo>
                    <a:pt x="273" y="601"/>
                  </a:lnTo>
                  <a:lnTo>
                    <a:pt x="272" y="601"/>
                  </a:lnTo>
                  <a:lnTo>
                    <a:pt x="272" y="604"/>
                  </a:lnTo>
                  <a:lnTo>
                    <a:pt x="272" y="605"/>
                  </a:lnTo>
                  <a:lnTo>
                    <a:pt x="271" y="605"/>
                  </a:lnTo>
                  <a:lnTo>
                    <a:pt x="271" y="604"/>
                  </a:lnTo>
                  <a:lnTo>
                    <a:pt x="269" y="604"/>
                  </a:lnTo>
                  <a:lnTo>
                    <a:pt x="268" y="604"/>
                  </a:lnTo>
                  <a:lnTo>
                    <a:pt x="268" y="605"/>
                  </a:lnTo>
                  <a:lnTo>
                    <a:pt x="266" y="605"/>
                  </a:lnTo>
                  <a:lnTo>
                    <a:pt x="265" y="605"/>
                  </a:lnTo>
                  <a:lnTo>
                    <a:pt x="265" y="606"/>
                  </a:lnTo>
                  <a:lnTo>
                    <a:pt x="266" y="606"/>
                  </a:lnTo>
                  <a:lnTo>
                    <a:pt x="266" y="607"/>
                  </a:lnTo>
                  <a:lnTo>
                    <a:pt x="263" y="607"/>
                  </a:lnTo>
                  <a:lnTo>
                    <a:pt x="262" y="606"/>
                  </a:lnTo>
                  <a:lnTo>
                    <a:pt x="261" y="605"/>
                  </a:lnTo>
                  <a:lnTo>
                    <a:pt x="260" y="603"/>
                  </a:lnTo>
                  <a:lnTo>
                    <a:pt x="261" y="604"/>
                  </a:lnTo>
                  <a:lnTo>
                    <a:pt x="262" y="604"/>
                  </a:lnTo>
                  <a:lnTo>
                    <a:pt x="261" y="603"/>
                  </a:lnTo>
                  <a:lnTo>
                    <a:pt x="261" y="601"/>
                  </a:lnTo>
                  <a:lnTo>
                    <a:pt x="259" y="601"/>
                  </a:lnTo>
                  <a:lnTo>
                    <a:pt x="257" y="601"/>
                  </a:lnTo>
                  <a:lnTo>
                    <a:pt x="256" y="601"/>
                  </a:lnTo>
                  <a:lnTo>
                    <a:pt x="256" y="603"/>
                  </a:lnTo>
                  <a:lnTo>
                    <a:pt x="254" y="604"/>
                  </a:lnTo>
                  <a:lnTo>
                    <a:pt x="252" y="606"/>
                  </a:lnTo>
                  <a:lnTo>
                    <a:pt x="254" y="605"/>
                  </a:lnTo>
                  <a:lnTo>
                    <a:pt x="255" y="605"/>
                  </a:lnTo>
                  <a:lnTo>
                    <a:pt x="255" y="607"/>
                  </a:lnTo>
                  <a:lnTo>
                    <a:pt x="252" y="607"/>
                  </a:lnTo>
                  <a:lnTo>
                    <a:pt x="250" y="607"/>
                  </a:lnTo>
                  <a:lnTo>
                    <a:pt x="250" y="609"/>
                  </a:lnTo>
                  <a:lnTo>
                    <a:pt x="249" y="609"/>
                  </a:lnTo>
                  <a:lnTo>
                    <a:pt x="249" y="610"/>
                  </a:lnTo>
                  <a:lnTo>
                    <a:pt x="246" y="610"/>
                  </a:lnTo>
                  <a:lnTo>
                    <a:pt x="246" y="611"/>
                  </a:lnTo>
                  <a:lnTo>
                    <a:pt x="245" y="612"/>
                  </a:lnTo>
                  <a:lnTo>
                    <a:pt x="246" y="612"/>
                  </a:lnTo>
                  <a:lnTo>
                    <a:pt x="248" y="613"/>
                  </a:lnTo>
                  <a:lnTo>
                    <a:pt x="249" y="615"/>
                  </a:lnTo>
                  <a:lnTo>
                    <a:pt x="248" y="616"/>
                  </a:lnTo>
                  <a:lnTo>
                    <a:pt x="244" y="617"/>
                  </a:lnTo>
                  <a:lnTo>
                    <a:pt x="245" y="615"/>
                  </a:lnTo>
                  <a:lnTo>
                    <a:pt x="244" y="616"/>
                  </a:lnTo>
                  <a:lnTo>
                    <a:pt x="243" y="617"/>
                  </a:lnTo>
                  <a:lnTo>
                    <a:pt x="243" y="616"/>
                  </a:lnTo>
                  <a:lnTo>
                    <a:pt x="243" y="615"/>
                  </a:lnTo>
                  <a:lnTo>
                    <a:pt x="244" y="615"/>
                  </a:lnTo>
                  <a:lnTo>
                    <a:pt x="245" y="613"/>
                  </a:lnTo>
                  <a:lnTo>
                    <a:pt x="245" y="612"/>
                  </a:lnTo>
                  <a:lnTo>
                    <a:pt x="244" y="613"/>
                  </a:lnTo>
                  <a:lnTo>
                    <a:pt x="242" y="612"/>
                  </a:lnTo>
                  <a:lnTo>
                    <a:pt x="242" y="613"/>
                  </a:lnTo>
                  <a:lnTo>
                    <a:pt x="242" y="615"/>
                  </a:lnTo>
                  <a:lnTo>
                    <a:pt x="242" y="616"/>
                  </a:lnTo>
                  <a:lnTo>
                    <a:pt x="242" y="617"/>
                  </a:lnTo>
                  <a:lnTo>
                    <a:pt x="244" y="618"/>
                  </a:lnTo>
                  <a:lnTo>
                    <a:pt x="243" y="619"/>
                  </a:lnTo>
                  <a:lnTo>
                    <a:pt x="240" y="621"/>
                  </a:lnTo>
                  <a:lnTo>
                    <a:pt x="240" y="622"/>
                  </a:lnTo>
                  <a:lnTo>
                    <a:pt x="239" y="622"/>
                  </a:lnTo>
                  <a:lnTo>
                    <a:pt x="236" y="621"/>
                  </a:lnTo>
                  <a:lnTo>
                    <a:pt x="233" y="618"/>
                  </a:lnTo>
                  <a:lnTo>
                    <a:pt x="234" y="618"/>
                  </a:lnTo>
                  <a:lnTo>
                    <a:pt x="236" y="618"/>
                  </a:lnTo>
                  <a:lnTo>
                    <a:pt x="237" y="617"/>
                  </a:lnTo>
                  <a:lnTo>
                    <a:pt x="236" y="616"/>
                  </a:lnTo>
                  <a:lnTo>
                    <a:pt x="234" y="616"/>
                  </a:lnTo>
                  <a:lnTo>
                    <a:pt x="233" y="616"/>
                  </a:lnTo>
                  <a:lnTo>
                    <a:pt x="233" y="615"/>
                  </a:lnTo>
                  <a:lnTo>
                    <a:pt x="234" y="613"/>
                  </a:lnTo>
                  <a:lnTo>
                    <a:pt x="234" y="612"/>
                  </a:lnTo>
                  <a:lnTo>
                    <a:pt x="234" y="611"/>
                  </a:lnTo>
                  <a:lnTo>
                    <a:pt x="236" y="611"/>
                  </a:lnTo>
                  <a:lnTo>
                    <a:pt x="236" y="610"/>
                  </a:lnTo>
                  <a:lnTo>
                    <a:pt x="237" y="610"/>
                  </a:lnTo>
                  <a:lnTo>
                    <a:pt x="237" y="609"/>
                  </a:lnTo>
                  <a:lnTo>
                    <a:pt x="236" y="606"/>
                  </a:lnTo>
                  <a:lnTo>
                    <a:pt x="234" y="606"/>
                  </a:lnTo>
                  <a:lnTo>
                    <a:pt x="233" y="607"/>
                  </a:lnTo>
                  <a:lnTo>
                    <a:pt x="234" y="610"/>
                  </a:lnTo>
                  <a:lnTo>
                    <a:pt x="233" y="611"/>
                  </a:lnTo>
                  <a:lnTo>
                    <a:pt x="232" y="611"/>
                  </a:lnTo>
                  <a:lnTo>
                    <a:pt x="230" y="613"/>
                  </a:lnTo>
                  <a:lnTo>
                    <a:pt x="230" y="616"/>
                  </a:lnTo>
                  <a:lnTo>
                    <a:pt x="227" y="616"/>
                  </a:lnTo>
                  <a:lnTo>
                    <a:pt x="227" y="615"/>
                  </a:lnTo>
                  <a:lnTo>
                    <a:pt x="226" y="616"/>
                  </a:lnTo>
                  <a:lnTo>
                    <a:pt x="222" y="615"/>
                  </a:lnTo>
                  <a:lnTo>
                    <a:pt x="221" y="616"/>
                  </a:lnTo>
                  <a:lnTo>
                    <a:pt x="221" y="615"/>
                  </a:lnTo>
                  <a:lnTo>
                    <a:pt x="220" y="616"/>
                  </a:lnTo>
                  <a:lnTo>
                    <a:pt x="216" y="616"/>
                  </a:lnTo>
                  <a:lnTo>
                    <a:pt x="216" y="613"/>
                  </a:lnTo>
                  <a:lnTo>
                    <a:pt x="215" y="613"/>
                  </a:lnTo>
                  <a:lnTo>
                    <a:pt x="214" y="612"/>
                  </a:lnTo>
                  <a:lnTo>
                    <a:pt x="215" y="610"/>
                  </a:lnTo>
                  <a:lnTo>
                    <a:pt x="215" y="611"/>
                  </a:lnTo>
                  <a:lnTo>
                    <a:pt x="216" y="610"/>
                  </a:lnTo>
                  <a:lnTo>
                    <a:pt x="216" y="609"/>
                  </a:lnTo>
                  <a:lnTo>
                    <a:pt x="218" y="609"/>
                  </a:lnTo>
                  <a:lnTo>
                    <a:pt x="219" y="610"/>
                  </a:lnTo>
                  <a:lnTo>
                    <a:pt x="219" y="607"/>
                  </a:lnTo>
                  <a:lnTo>
                    <a:pt x="219" y="606"/>
                  </a:lnTo>
                  <a:lnTo>
                    <a:pt x="220" y="606"/>
                  </a:lnTo>
                  <a:lnTo>
                    <a:pt x="220" y="605"/>
                  </a:lnTo>
                  <a:lnTo>
                    <a:pt x="220" y="601"/>
                  </a:lnTo>
                  <a:lnTo>
                    <a:pt x="221" y="601"/>
                  </a:lnTo>
                  <a:lnTo>
                    <a:pt x="222" y="600"/>
                  </a:lnTo>
                  <a:lnTo>
                    <a:pt x="225" y="599"/>
                  </a:lnTo>
                  <a:lnTo>
                    <a:pt x="226" y="598"/>
                  </a:lnTo>
                  <a:lnTo>
                    <a:pt x="228" y="596"/>
                  </a:lnTo>
                  <a:lnTo>
                    <a:pt x="228" y="594"/>
                  </a:lnTo>
                  <a:lnTo>
                    <a:pt x="230" y="594"/>
                  </a:lnTo>
                  <a:lnTo>
                    <a:pt x="231" y="593"/>
                  </a:lnTo>
                  <a:lnTo>
                    <a:pt x="232" y="593"/>
                  </a:lnTo>
                  <a:lnTo>
                    <a:pt x="234" y="593"/>
                  </a:lnTo>
                  <a:lnTo>
                    <a:pt x="233" y="590"/>
                  </a:lnTo>
                  <a:lnTo>
                    <a:pt x="232" y="588"/>
                  </a:lnTo>
                  <a:lnTo>
                    <a:pt x="230" y="588"/>
                  </a:lnTo>
                  <a:lnTo>
                    <a:pt x="228" y="588"/>
                  </a:lnTo>
                  <a:lnTo>
                    <a:pt x="228" y="589"/>
                  </a:lnTo>
                  <a:lnTo>
                    <a:pt x="227" y="592"/>
                  </a:lnTo>
                  <a:lnTo>
                    <a:pt x="225" y="593"/>
                  </a:lnTo>
                  <a:lnTo>
                    <a:pt x="222" y="592"/>
                  </a:lnTo>
                  <a:lnTo>
                    <a:pt x="221" y="593"/>
                  </a:lnTo>
                  <a:lnTo>
                    <a:pt x="220" y="593"/>
                  </a:lnTo>
                  <a:lnTo>
                    <a:pt x="219" y="593"/>
                  </a:lnTo>
                  <a:lnTo>
                    <a:pt x="219" y="590"/>
                  </a:lnTo>
                  <a:lnTo>
                    <a:pt x="216" y="592"/>
                  </a:lnTo>
                  <a:lnTo>
                    <a:pt x="215" y="592"/>
                  </a:lnTo>
                  <a:lnTo>
                    <a:pt x="214" y="593"/>
                  </a:lnTo>
                  <a:lnTo>
                    <a:pt x="213" y="594"/>
                  </a:lnTo>
                  <a:lnTo>
                    <a:pt x="212" y="594"/>
                  </a:lnTo>
                  <a:lnTo>
                    <a:pt x="212" y="593"/>
                  </a:lnTo>
                  <a:lnTo>
                    <a:pt x="210" y="594"/>
                  </a:lnTo>
                  <a:lnTo>
                    <a:pt x="210" y="595"/>
                  </a:lnTo>
                  <a:lnTo>
                    <a:pt x="209" y="595"/>
                  </a:lnTo>
                  <a:lnTo>
                    <a:pt x="209" y="593"/>
                  </a:lnTo>
                  <a:lnTo>
                    <a:pt x="208" y="595"/>
                  </a:lnTo>
                  <a:lnTo>
                    <a:pt x="206" y="595"/>
                  </a:lnTo>
                  <a:lnTo>
                    <a:pt x="204" y="595"/>
                  </a:lnTo>
                  <a:lnTo>
                    <a:pt x="204" y="596"/>
                  </a:lnTo>
                  <a:lnTo>
                    <a:pt x="202" y="595"/>
                  </a:lnTo>
                  <a:lnTo>
                    <a:pt x="200" y="594"/>
                  </a:lnTo>
                  <a:lnTo>
                    <a:pt x="201" y="593"/>
                  </a:lnTo>
                  <a:lnTo>
                    <a:pt x="201" y="592"/>
                  </a:lnTo>
                  <a:lnTo>
                    <a:pt x="203" y="592"/>
                  </a:lnTo>
                  <a:lnTo>
                    <a:pt x="203" y="589"/>
                  </a:lnTo>
                  <a:lnTo>
                    <a:pt x="204" y="588"/>
                  </a:lnTo>
                  <a:lnTo>
                    <a:pt x="206" y="588"/>
                  </a:lnTo>
                  <a:lnTo>
                    <a:pt x="206" y="589"/>
                  </a:lnTo>
                  <a:lnTo>
                    <a:pt x="208" y="589"/>
                  </a:lnTo>
                  <a:lnTo>
                    <a:pt x="208" y="588"/>
                  </a:lnTo>
                  <a:lnTo>
                    <a:pt x="209" y="588"/>
                  </a:lnTo>
                  <a:lnTo>
                    <a:pt x="208" y="588"/>
                  </a:lnTo>
                  <a:lnTo>
                    <a:pt x="208" y="587"/>
                  </a:lnTo>
                  <a:lnTo>
                    <a:pt x="207" y="587"/>
                  </a:lnTo>
                  <a:lnTo>
                    <a:pt x="206" y="586"/>
                  </a:lnTo>
                  <a:lnTo>
                    <a:pt x="203" y="584"/>
                  </a:lnTo>
                  <a:lnTo>
                    <a:pt x="203" y="581"/>
                  </a:lnTo>
                  <a:lnTo>
                    <a:pt x="204" y="580"/>
                  </a:lnTo>
                  <a:lnTo>
                    <a:pt x="204" y="577"/>
                  </a:lnTo>
                  <a:lnTo>
                    <a:pt x="207" y="575"/>
                  </a:lnTo>
                  <a:lnTo>
                    <a:pt x="207" y="577"/>
                  </a:lnTo>
                  <a:lnTo>
                    <a:pt x="209" y="576"/>
                  </a:lnTo>
                  <a:lnTo>
                    <a:pt x="212" y="576"/>
                  </a:lnTo>
                  <a:lnTo>
                    <a:pt x="214" y="576"/>
                  </a:lnTo>
                  <a:lnTo>
                    <a:pt x="218" y="575"/>
                  </a:lnTo>
                  <a:lnTo>
                    <a:pt x="219" y="575"/>
                  </a:lnTo>
                  <a:lnTo>
                    <a:pt x="219" y="572"/>
                  </a:lnTo>
                  <a:lnTo>
                    <a:pt x="219" y="570"/>
                  </a:lnTo>
                  <a:lnTo>
                    <a:pt x="219" y="566"/>
                  </a:lnTo>
                  <a:lnTo>
                    <a:pt x="221" y="565"/>
                  </a:lnTo>
                  <a:lnTo>
                    <a:pt x="224" y="565"/>
                  </a:lnTo>
                  <a:lnTo>
                    <a:pt x="225" y="564"/>
                  </a:lnTo>
                  <a:lnTo>
                    <a:pt x="226" y="564"/>
                  </a:lnTo>
                  <a:lnTo>
                    <a:pt x="226" y="563"/>
                  </a:lnTo>
                  <a:lnTo>
                    <a:pt x="227" y="563"/>
                  </a:lnTo>
                  <a:lnTo>
                    <a:pt x="228" y="560"/>
                  </a:lnTo>
                  <a:lnTo>
                    <a:pt x="230" y="559"/>
                  </a:lnTo>
                  <a:lnTo>
                    <a:pt x="230" y="558"/>
                  </a:lnTo>
                  <a:lnTo>
                    <a:pt x="230" y="554"/>
                  </a:lnTo>
                  <a:lnTo>
                    <a:pt x="232" y="554"/>
                  </a:lnTo>
                  <a:lnTo>
                    <a:pt x="233" y="556"/>
                  </a:lnTo>
                  <a:lnTo>
                    <a:pt x="234" y="554"/>
                  </a:lnTo>
                  <a:lnTo>
                    <a:pt x="237" y="553"/>
                  </a:lnTo>
                  <a:lnTo>
                    <a:pt x="238" y="553"/>
                  </a:lnTo>
                  <a:lnTo>
                    <a:pt x="238" y="552"/>
                  </a:lnTo>
                  <a:lnTo>
                    <a:pt x="239" y="550"/>
                  </a:lnTo>
                  <a:lnTo>
                    <a:pt x="238" y="547"/>
                  </a:lnTo>
                  <a:lnTo>
                    <a:pt x="239" y="545"/>
                  </a:lnTo>
                  <a:lnTo>
                    <a:pt x="242" y="547"/>
                  </a:lnTo>
                  <a:lnTo>
                    <a:pt x="243" y="547"/>
                  </a:lnTo>
                  <a:lnTo>
                    <a:pt x="243" y="546"/>
                  </a:lnTo>
                  <a:lnTo>
                    <a:pt x="243" y="545"/>
                  </a:lnTo>
                  <a:lnTo>
                    <a:pt x="244" y="544"/>
                  </a:lnTo>
                  <a:lnTo>
                    <a:pt x="245" y="544"/>
                  </a:lnTo>
                  <a:lnTo>
                    <a:pt x="245" y="545"/>
                  </a:lnTo>
                  <a:lnTo>
                    <a:pt x="246" y="546"/>
                  </a:lnTo>
                  <a:lnTo>
                    <a:pt x="248" y="546"/>
                  </a:lnTo>
                  <a:lnTo>
                    <a:pt x="249" y="546"/>
                  </a:lnTo>
                  <a:lnTo>
                    <a:pt x="249" y="545"/>
                  </a:lnTo>
                  <a:lnTo>
                    <a:pt x="249" y="544"/>
                  </a:lnTo>
                  <a:lnTo>
                    <a:pt x="251" y="541"/>
                  </a:lnTo>
                  <a:lnTo>
                    <a:pt x="252" y="542"/>
                  </a:lnTo>
                  <a:lnTo>
                    <a:pt x="252" y="544"/>
                  </a:lnTo>
                  <a:lnTo>
                    <a:pt x="254" y="542"/>
                  </a:lnTo>
                  <a:lnTo>
                    <a:pt x="257" y="541"/>
                  </a:lnTo>
                  <a:lnTo>
                    <a:pt x="257" y="544"/>
                  </a:lnTo>
                  <a:lnTo>
                    <a:pt x="259" y="541"/>
                  </a:lnTo>
                  <a:lnTo>
                    <a:pt x="261" y="540"/>
                  </a:lnTo>
                  <a:lnTo>
                    <a:pt x="262" y="538"/>
                  </a:lnTo>
                  <a:lnTo>
                    <a:pt x="263" y="538"/>
                  </a:lnTo>
                  <a:lnTo>
                    <a:pt x="265" y="538"/>
                  </a:lnTo>
                  <a:lnTo>
                    <a:pt x="265" y="536"/>
                  </a:lnTo>
                  <a:lnTo>
                    <a:pt x="267" y="536"/>
                  </a:lnTo>
                  <a:lnTo>
                    <a:pt x="266" y="535"/>
                  </a:lnTo>
                  <a:lnTo>
                    <a:pt x="267" y="533"/>
                  </a:lnTo>
                  <a:lnTo>
                    <a:pt x="267" y="532"/>
                  </a:lnTo>
                  <a:lnTo>
                    <a:pt x="268" y="532"/>
                  </a:lnTo>
                  <a:lnTo>
                    <a:pt x="268" y="533"/>
                  </a:lnTo>
                  <a:lnTo>
                    <a:pt x="269" y="533"/>
                  </a:lnTo>
                  <a:lnTo>
                    <a:pt x="269" y="532"/>
                  </a:lnTo>
                  <a:lnTo>
                    <a:pt x="269" y="530"/>
                  </a:lnTo>
                  <a:lnTo>
                    <a:pt x="271" y="530"/>
                  </a:lnTo>
                  <a:lnTo>
                    <a:pt x="273" y="529"/>
                  </a:lnTo>
                  <a:lnTo>
                    <a:pt x="272" y="528"/>
                  </a:lnTo>
                  <a:lnTo>
                    <a:pt x="271" y="527"/>
                  </a:lnTo>
                  <a:lnTo>
                    <a:pt x="271" y="526"/>
                  </a:lnTo>
                  <a:lnTo>
                    <a:pt x="272" y="526"/>
                  </a:lnTo>
                  <a:lnTo>
                    <a:pt x="273" y="528"/>
                  </a:lnTo>
                  <a:lnTo>
                    <a:pt x="274" y="526"/>
                  </a:lnTo>
                  <a:lnTo>
                    <a:pt x="277" y="526"/>
                  </a:lnTo>
                  <a:lnTo>
                    <a:pt x="275" y="526"/>
                  </a:lnTo>
                  <a:lnTo>
                    <a:pt x="274" y="524"/>
                  </a:lnTo>
                  <a:lnTo>
                    <a:pt x="273" y="522"/>
                  </a:lnTo>
                  <a:lnTo>
                    <a:pt x="275" y="521"/>
                  </a:lnTo>
                  <a:lnTo>
                    <a:pt x="277" y="521"/>
                  </a:lnTo>
                  <a:lnTo>
                    <a:pt x="277" y="520"/>
                  </a:lnTo>
                  <a:lnTo>
                    <a:pt x="274" y="520"/>
                  </a:lnTo>
                  <a:lnTo>
                    <a:pt x="273" y="521"/>
                  </a:lnTo>
                  <a:lnTo>
                    <a:pt x="272" y="521"/>
                  </a:lnTo>
                  <a:lnTo>
                    <a:pt x="268" y="522"/>
                  </a:lnTo>
                  <a:lnTo>
                    <a:pt x="268" y="523"/>
                  </a:lnTo>
                  <a:lnTo>
                    <a:pt x="266" y="522"/>
                  </a:lnTo>
                  <a:lnTo>
                    <a:pt x="263" y="522"/>
                  </a:lnTo>
                  <a:lnTo>
                    <a:pt x="260" y="523"/>
                  </a:lnTo>
                  <a:lnTo>
                    <a:pt x="257" y="523"/>
                  </a:lnTo>
                  <a:lnTo>
                    <a:pt x="254" y="524"/>
                  </a:lnTo>
                  <a:lnTo>
                    <a:pt x="251" y="526"/>
                  </a:lnTo>
                  <a:lnTo>
                    <a:pt x="249" y="527"/>
                  </a:lnTo>
                  <a:lnTo>
                    <a:pt x="248" y="528"/>
                  </a:lnTo>
                  <a:lnTo>
                    <a:pt x="248" y="527"/>
                  </a:lnTo>
                  <a:lnTo>
                    <a:pt x="245" y="527"/>
                  </a:lnTo>
                  <a:lnTo>
                    <a:pt x="243" y="528"/>
                  </a:lnTo>
                  <a:lnTo>
                    <a:pt x="242" y="529"/>
                  </a:lnTo>
                  <a:lnTo>
                    <a:pt x="239" y="529"/>
                  </a:lnTo>
                  <a:lnTo>
                    <a:pt x="239" y="530"/>
                  </a:lnTo>
                  <a:lnTo>
                    <a:pt x="237" y="530"/>
                  </a:lnTo>
                  <a:lnTo>
                    <a:pt x="236" y="530"/>
                  </a:lnTo>
                  <a:lnTo>
                    <a:pt x="234" y="532"/>
                  </a:lnTo>
                  <a:lnTo>
                    <a:pt x="230" y="533"/>
                  </a:lnTo>
                  <a:lnTo>
                    <a:pt x="228" y="533"/>
                  </a:lnTo>
                  <a:lnTo>
                    <a:pt x="227" y="534"/>
                  </a:lnTo>
                  <a:lnTo>
                    <a:pt x="225" y="536"/>
                  </a:lnTo>
                  <a:lnTo>
                    <a:pt x="222" y="536"/>
                  </a:lnTo>
                  <a:lnTo>
                    <a:pt x="218" y="540"/>
                  </a:lnTo>
                  <a:lnTo>
                    <a:pt x="215" y="542"/>
                  </a:lnTo>
                  <a:lnTo>
                    <a:pt x="213" y="544"/>
                  </a:lnTo>
                  <a:lnTo>
                    <a:pt x="210" y="545"/>
                  </a:lnTo>
                  <a:lnTo>
                    <a:pt x="209" y="547"/>
                  </a:lnTo>
                  <a:lnTo>
                    <a:pt x="209" y="548"/>
                  </a:lnTo>
                  <a:lnTo>
                    <a:pt x="210" y="547"/>
                  </a:lnTo>
                  <a:lnTo>
                    <a:pt x="210" y="546"/>
                  </a:lnTo>
                  <a:lnTo>
                    <a:pt x="213" y="547"/>
                  </a:lnTo>
                  <a:lnTo>
                    <a:pt x="215" y="548"/>
                  </a:lnTo>
                  <a:lnTo>
                    <a:pt x="215" y="550"/>
                  </a:lnTo>
                  <a:lnTo>
                    <a:pt x="214" y="550"/>
                  </a:lnTo>
                  <a:lnTo>
                    <a:pt x="213" y="550"/>
                  </a:lnTo>
                  <a:lnTo>
                    <a:pt x="214" y="550"/>
                  </a:lnTo>
                  <a:lnTo>
                    <a:pt x="216" y="551"/>
                  </a:lnTo>
                  <a:lnTo>
                    <a:pt x="216" y="552"/>
                  </a:lnTo>
                  <a:lnTo>
                    <a:pt x="218" y="552"/>
                  </a:lnTo>
                  <a:lnTo>
                    <a:pt x="218" y="553"/>
                  </a:lnTo>
                  <a:lnTo>
                    <a:pt x="216" y="553"/>
                  </a:lnTo>
                  <a:lnTo>
                    <a:pt x="218" y="554"/>
                  </a:lnTo>
                  <a:lnTo>
                    <a:pt x="216" y="554"/>
                  </a:lnTo>
                  <a:lnTo>
                    <a:pt x="215" y="554"/>
                  </a:lnTo>
                  <a:lnTo>
                    <a:pt x="215" y="556"/>
                  </a:lnTo>
                  <a:lnTo>
                    <a:pt x="215" y="557"/>
                  </a:lnTo>
                  <a:lnTo>
                    <a:pt x="214" y="557"/>
                  </a:lnTo>
                  <a:lnTo>
                    <a:pt x="214" y="558"/>
                  </a:lnTo>
                  <a:lnTo>
                    <a:pt x="216" y="558"/>
                  </a:lnTo>
                  <a:lnTo>
                    <a:pt x="218" y="559"/>
                  </a:lnTo>
                  <a:lnTo>
                    <a:pt x="219" y="560"/>
                  </a:lnTo>
                  <a:lnTo>
                    <a:pt x="216" y="560"/>
                  </a:lnTo>
                  <a:lnTo>
                    <a:pt x="218" y="563"/>
                  </a:lnTo>
                  <a:lnTo>
                    <a:pt x="218" y="564"/>
                  </a:lnTo>
                  <a:lnTo>
                    <a:pt x="218" y="565"/>
                  </a:lnTo>
                  <a:lnTo>
                    <a:pt x="216" y="565"/>
                  </a:lnTo>
                  <a:lnTo>
                    <a:pt x="216" y="566"/>
                  </a:lnTo>
                  <a:lnTo>
                    <a:pt x="218" y="568"/>
                  </a:lnTo>
                  <a:lnTo>
                    <a:pt x="215" y="568"/>
                  </a:lnTo>
                  <a:lnTo>
                    <a:pt x="214" y="568"/>
                  </a:lnTo>
                  <a:lnTo>
                    <a:pt x="213" y="569"/>
                  </a:lnTo>
                  <a:lnTo>
                    <a:pt x="213" y="570"/>
                  </a:lnTo>
                  <a:lnTo>
                    <a:pt x="210" y="570"/>
                  </a:lnTo>
                  <a:lnTo>
                    <a:pt x="210" y="568"/>
                  </a:lnTo>
                  <a:lnTo>
                    <a:pt x="209" y="566"/>
                  </a:lnTo>
                  <a:lnTo>
                    <a:pt x="208" y="565"/>
                  </a:lnTo>
                  <a:lnTo>
                    <a:pt x="206" y="566"/>
                  </a:lnTo>
                  <a:lnTo>
                    <a:pt x="204" y="568"/>
                  </a:lnTo>
                  <a:lnTo>
                    <a:pt x="204" y="569"/>
                  </a:lnTo>
                  <a:lnTo>
                    <a:pt x="204" y="572"/>
                  </a:lnTo>
                  <a:lnTo>
                    <a:pt x="204" y="575"/>
                  </a:lnTo>
                  <a:lnTo>
                    <a:pt x="203" y="576"/>
                  </a:lnTo>
                  <a:lnTo>
                    <a:pt x="203" y="578"/>
                  </a:lnTo>
                  <a:lnTo>
                    <a:pt x="202" y="578"/>
                  </a:lnTo>
                  <a:lnTo>
                    <a:pt x="201" y="581"/>
                  </a:lnTo>
                  <a:lnTo>
                    <a:pt x="198" y="581"/>
                  </a:lnTo>
                  <a:lnTo>
                    <a:pt x="200" y="581"/>
                  </a:lnTo>
                  <a:lnTo>
                    <a:pt x="198" y="583"/>
                  </a:lnTo>
                  <a:lnTo>
                    <a:pt x="197" y="584"/>
                  </a:lnTo>
                  <a:lnTo>
                    <a:pt x="196" y="586"/>
                  </a:lnTo>
                  <a:lnTo>
                    <a:pt x="195" y="586"/>
                  </a:lnTo>
                  <a:lnTo>
                    <a:pt x="195" y="584"/>
                  </a:lnTo>
                  <a:lnTo>
                    <a:pt x="192" y="584"/>
                  </a:lnTo>
                  <a:lnTo>
                    <a:pt x="192" y="587"/>
                  </a:lnTo>
                  <a:lnTo>
                    <a:pt x="191" y="587"/>
                  </a:lnTo>
                  <a:lnTo>
                    <a:pt x="190" y="588"/>
                  </a:lnTo>
                  <a:lnTo>
                    <a:pt x="189" y="588"/>
                  </a:lnTo>
                  <a:lnTo>
                    <a:pt x="189" y="587"/>
                  </a:lnTo>
                  <a:lnTo>
                    <a:pt x="187" y="587"/>
                  </a:lnTo>
                  <a:lnTo>
                    <a:pt x="187" y="588"/>
                  </a:lnTo>
                  <a:lnTo>
                    <a:pt x="185" y="588"/>
                  </a:lnTo>
                  <a:lnTo>
                    <a:pt x="184" y="587"/>
                  </a:lnTo>
                  <a:lnTo>
                    <a:pt x="183" y="587"/>
                  </a:lnTo>
                  <a:lnTo>
                    <a:pt x="181" y="584"/>
                  </a:lnTo>
                  <a:lnTo>
                    <a:pt x="183" y="582"/>
                  </a:lnTo>
                  <a:lnTo>
                    <a:pt x="184" y="582"/>
                  </a:lnTo>
                  <a:lnTo>
                    <a:pt x="184" y="581"/>
                  </a:lnTo>
                  <a:lnTo>
                    <a:pt x="184" y="582"/>
                  </a:lnTo>
                  <a:lnTo>
                    <a:pt x="184" y="580"/>
                  </a:lnTo>
                  <a:lnTo>
                    <a:pt x="185" y="580"/>
                  </a:lnTo>
                  <a:lnTo>
                    <a:pt x="185" y="578"/>
                  </a:lnTo>
                  <a:lnTo>
                    <a:pt x="185" y="576"/>
                  </a:lnTo>
                  <a:lnTo>
                    <a:pt x="181" y="575"/>
                  </a:lnTo>
                  <a:lnTo>
                    <a:pt x="181" y="574"/>
                  </a:lnTo>
                  <a:lnTo>
                    <a:pt x="180" y="574"/>
                  </a:lnTo>
                  <a:lnTo>
                    <a:pt x="179" y="574"/>
                  </a:lnTo>
                  <a:lnTo>
                    <a:pt x="178" y="572"/>
                  </a:lnTo>
                  <a:lnTo>
                    <a:pt x="177" y="574"/>
                  </a:lnTo>
                  <a:lnTo>
                    <a:pt x="175" y="574"/>
                  </a:lnTo>
                  <a:lnTo>
                    <a:pt x="175" y="575"/>
                  </a:lnTo>
                  <a:lnTo>
                    <a:pt x="174" y="576"/>
                  </a:lnTo>
                  <a:lnTo>
                    <a:pt x="173" y="577"/>
                  </a:lnTo>
                  <a:lnTo>
                    <a:pt x="172" y="577"/>
                  </a:lnTo>
                  <a:lnTo>
                    <a:pt x="171" y="580"/>
                  </a:lnTo>
                  <a:lnTo>
                    <a:pt x="171" y="582"/>
                  </a:lnTo>
                  <a:lnTo>
                    <a:pt x="171" y="583"/>
                  </a:lnTo>
                  <a:lnTo>
                    <a:pt x="171" y="584"/>
                  </a:lnTo>
                  <a:lnTo>
                    <a:pt x="169" y="586"/>
                  </a:lnTo>
                  <a:lnTo>
                    <a:pt x="168" y="586"/>
                  </a:lnTo>
                  <a:lnTo>
                    <a:pt x="167" y="587"/>
                  </a:lnTo>
                  <a:lnTo>
                    <a:pt x="165" y="590"/>
                  </a:lnTo>
                  <a:lnTo>
                    <a:pt x="165" y="592"/>
                  </a:lnTo>
                  <a:lnTo>
                    <a:pt x="166" y="594"/>
                  </a:lnTo>
                  <a:lnTo>
                    <a:pt x="163" y="596"/>
                  </a:lnTo>
                  <a:lnTo>
                    <a:pt x="161" y="596"/>
                  </a:lnTo>
                  <a:lnTo>
                    <a:pt x="160" y="598"/>
                  </a:lnTo>
                  <a:lnTo>
                    <a:pt x="159" y="599"/>
                  </a:lnTo>
                  <a:lnTo>
                    <a:pt x="155" y="599"/>
                  </a:lnTo>
                  <a:lnTo>
                    <a:pt x="153" y="598"/>
                  </a:lnTo>
                  <a:lnTo>
                    <a:pt x="153" y="596"/>
                  </a:lnTo>
                  <a:lnTo>
                    <a:pt x="153" y="595"/>
                  </a:lnTo>
                  <a:lnTo>
                    <a:pt x="151" y="595"/>
                  </a:lnTo>
                  <a:lnTo>
                    <a:pt x="149" y="594"/>
                  </a:lnTo>
                  <a:lnTo>
                    <a:pt x="149" y="593"/>
                  </a:lnTo>
                  <a:lnTo>
                    <a:pt x="148" y="592"/>
                  </a:lnTo>
                  <a:lnTo>
                    <a:pt x="147" y="595"/>
                  </a:lnTo>
                  <a:lnTo>
                    <a:pt x="144" y="595"/>
                  </a:lnTo>
                  <a:lnTo>
                    <a:pt x="143" y="595"/>
                  </a:lnTo>
                  <a:lnTo>
                    <a:pt x="143" y="596"/>
                  </a:lnTo>
                  <a:lnTo>
                    <a:pt x="142" y="599"/>
                  </a:lnTo>
                  <a:lnTo>
                    <a:pt x="142" y="601"/>
                  </a:lnTo>
                  <a:lnTo>
                    <a:pt x="143" y="603"/>
                  </a:lnTo>
                  <a:lnTo>
                    <a:pt x="141" y="603"/>
                  </a:lnTo>
                  <a:lnTo>
                    <a:pt x="141" y="604"/>
                  </a:lnTo>
                  <a:lnTo>
                    <a:pt x="142" y="605"/>
                  </a:lnTo>
                  <a:lnTo>
                    <a:pt x="143" y="605"/>
                  </a:lnTo>
                  <a:lnTo>
                    <a:pt x="141" y="605"/>
                  </a:lnTo>
                  <a:lnTo>
                    <a:pt x="143" y="606"/>
                  </a:lnTo>
                  <a:lnTo>
                    <a:pt x="141" y="607"/>
                  </a:lnTo>
                  <a:lnTo>
                    <a:pt x="139" y="607"/>
                  </a:lnTo>
                  <a:lnTo>
                    <a:pt x="137" y="606"/>
                  </a:lnTo>
                  <a:lnTo>
                    <a:pt x="136" y="607"/>
                  </a:lnTo>
                  <a:lnTo>
                    <a:pt x="138" y="610"/>
                  </a:lnTo>
                  <a:lnTo>
                    <a:pt x="136" y="610"/>
                  </a:lnTo>
                  <a:lnTo>
                    <a:pt x="134" y="611"/>
                  </a:lnTo>
                  <a:lnTo>
                    <a:pt x="134" y="610"/>
                  </a:lnTo>
                  <a:lnTo>
                    <a:pt x="131" y="611"/>
                  </a:lnTo>
                  <a:lnTo>
                    <a:pt x="128" y="610"/>
                  </a:lnTo>
                  <a:lnTo>
                    <a:pt x="133" y="607"/>
                  </a:lnTo>
                  <a:lnTo>
                    <a:pt x="131" y="606"/>
                  </a:lnTo>
                  <a:lnTo>
                    <a:pt x="130" y="606"/>
                  </a:lnTo>
                  <a:lnTo>
                    <a:pt x="128" y="605"/>
                  </a:lnTo>
                  <a:lnTo>
                    <a:pt x="127" y="607"/>
                  </a:lnTo>
                  <a:lnTo>
                    <a:pt x="126" y="609"/>
                  </a:lnTo>
                  <a:lnTo>
                    <a:pt x="125" y="610"/>
                  </a:lnTo>
                  <a:lnTo>
                    <a:pt x="124" y="612"/>
                  </a:lnTo>
                  <a:lnTo>
                    <a:pt x="120" y="612"/>
                  </a:lnTo>
                  <a:lnTo>
                    <a:pt x="121" y="615"/>
                  </a:lnTo>
                  <a:lnTo>
                    <a:pt x="120" y="616"/>
                  </a:lnTo>
                  <a:lnTo>
                    <a:pt x="119" y="617"/>
                  </a:lnTo>
                  <a:lnTo>
                    <a:pt x="121" y="618"/>
                  </a:lnTo>
                  <a:lnTo>
                    <a:pt x="122" y="618"/>
                  </a:lnTo>
                  <a:lnTo>
                    <a:pt x="122" y="621"/>
                  </a:lnTo>
                  <a:lnTo>
                    <a:pt x="118" y="622"/>
                  </a:lnTo>
                  <a:lnTo>
                    <a:pt x="118" y="624"/>
                  </a:lnTo>
                  <a:lnTo>
                    <a:pt x="116" y="627"/>
                  </a:lnTo>
                  <a:lnTo>
                    <a:pt x="115" y="629"/>
                  </a:lnTo>
                  <a:lnTo>
                    <a:pt x="114" y="629"/>
                  </a:lnTo>
                  <a:lnTo>
                    <a:pt x="113" y="628"/>
                  </a:lnTo>
                  <a:lnTo>
                    <a:pt x="110" y="627"/>
                  </a:lnTo>
                  <a:lnTo>
                    <a:pt x="109" y="625"/>
                  </a:lnTo>
                  <a:lnTo>
                    <a:pt x="108" y="625"/>
                  </a:lnTo>
                  <a:lnTo>
                    <a:pt x="107" y="624"/>
                  </a:lnTo>
                  <a:lnTo>
                    <a:pt x="106" y="623"/>
                  </a:lnTo>
                  <a:lnTo>
                    <a:pt x="108" y="622"/>
                  </a:lnTo>
                  <a:lnTo>
                    <a:pt x="107" y="621"/>
                  </a:lnTo>
                  <a:lnTo>
                    <a:pt x="104" y="621"/>
                  </a:lnTo>
                  <a:lnTo>
                    <a:pt x="100" y="622"/>
                  </a:lnTo>
                  <a:lnTo>
                    <a:pt x="100" y="624"/>
                  </a:lnTo>
                  <a:lnTo>
                    <a:pt x="100" y="625"/>
                  </a:lnTo>
                  <a:lnTo>
                    <a:pt x="98" y="625"/>
                  </a:lnTo>
                  <a:lnTo>
                    <a:pt x="97" y="623"/>
                  </a:lnTo>
                  <a:lnTo>
                    <a:pt x="96" y="622"/>
                  </a:lnTo>
                  <a:lnTo>
                    <a:pt x="94" y="623"/>
                  </a:lnTo>
                  <a:lnTo>
                    <a:pt x="92" y="623"/>
                  </a:lnTo>
                  <a:lnTo>
                    <a:pt x="90" y="623"/>
                  </a:lnTo>
                  <a:lnTo>
                    <a:pt x="89" y="622"/>
                  </a:lnTo>
                  <a:lnTo>
                    <a:pt x="88" y="619"/>
                  </a:lnTo>
                  <a:lnTo>
                    <a:pt x="86" y="619"/>
                  </a:lnTo>
                  <a:lnTo>
                    <a:pt x="86" y="621"/>
                  </a:lnTo>
                  <a:lnTo>
                    <a:pt x="84" y="618"/>
                  </a:lnTo>
                  <a:lnTo>
                    <a:pt x="85" y="618"/>
                  </a:lnTo>
                  <a:lnTo>
                    <a:pt x="85" y="617"/>
                  </a:lnTo>
                  <a:lnTo>
                    <a:pt x="85" y="615"/>
                  </a:lnTo>
                  <a:lnTo>
                    <a:pt x="83" y="615"/>
                  </a:lnTo>
                  <a:lnTo>
                    <a:pt x="82" y="613"/>
                  </a:lnTo>
                  <a:lnTo>
                    <a:pt x="77" y="611"/>
                  </a:lnTo>
                  <a:lnTo>
                    <a:pt x="77" y="610"/>
                  </a:lnTo>
                  <a:lnTo>
                    <a:pt x="78" y="609"/>
                  </a:lnTo>
                  <a:lnTo>
                    <a:pt x="85" y="609"/>
                  </a:lnTo>
                  <a:lnTo>
                    <a:pt x="84" y="607"/>
                  </a:lnTo>
                  <a:lnTo>
                    <a:pt x="84" y="606"/>
                  </a:lnTo>
                  <a:lnTo>
                    <a:pt x="83" y="605"/>
                  </a:lnTo>
                  <a:lnTo>
                    <a:pt x="80" y="605"/>
                  </a:lnTo>
                  <a:lnTo>
                    <a:pt x="80" y="604"/>
                  </a:lnTo>
                  <a:lnTo>
                    <a:pt x="80" y="603"/>
                  </a:lnTo>
                  <a:lnTo>
                    <a:pt x="78" y="600"/>
                  </a:lnTo>
                  <a:lnTo>
                    <a:pt x="77" y="599"/>
                  </a:lnTo>
                  <a:lnTo>
                    <a:pt x="75" y="598"/>
                  </a:lnTo>
                  <a:lnTo>
                    <a:pt x="75" y="596"/>
                  </a:lnTo>
                  <a:lnTo>
                    <a:pt x="77" y="595"/>
                  </a:lnTo>
                  <a:lnTo>
                    <a:pt x="79" y="595"/>
                  </a:lnTo>
                  <a:lnTo>
                    <a:pt x="80" y="595"/>
                  </a:lnTo>
                  <a:lnTo>
                    <a:pt x="80" y="596"/>
                  </a:lnTo>
                  <a:lnTo>
                    <a:pt x="83" y="595"/>
                  </a:lnTo>
                  <a:lnTo>
                    <a:pt x="84" y="594"/>
                  </a:lnTo>
                  <a:lnTo>
                    <a:pt x="88" y="594"/>
                  </a:lnTo>
                  <a:lnTo>
                    <a:pt x="88" y="593"/>
                  </a:lnTo>
                  <a:lnTo>
                    <a:pt x="90" y="593"/>
                  </a:lnTo>
                  <a:lnTo>
                    <a:pt x="90" y="590"/>
                  </a:lnTo>
                  <a:lnTo>
                    <a:pt x="88" y="592"/>
                  </a:lnTo>
                  <a:lnTo>
                    <a:pt x="86" y="592"/>
                  </a:lnTo>
                  <a:lnTo>
                    <a:pt x="85" y="592"/>
                  </a:lnTo>
                  <a:lnTo>
                    <a:pt x="85" y="590"/>
                  </a:lnTo>
                  <a:lnTo>
                    <a:pt x="84" y="588"/>
                  </a:lnTo>
                  <a:lnTo>
                    <a:pt x="82" y="586"/>
                  </a:lnTo>
                  <a:lnTo>
                    <a:pt x="80" y="584"/>
                  </a:lnTo>
                  <a:lnTo>
                    <a:pt x="83" y="584"/>
                  </a:lnTo>
                  <a:lnTo>
                    <a:pt x="84" y="582"/>
                  </a:lnTo>
                  <a:lnTo>
                    <a:pt x="85" y="584"/>
                  </a:lnTo>
                  <a:lnTo>
                    <a:pt x="86" y="583"/>
                  </a:lnTo>
                  <a:lnTo>
                    <a:pt x="89" y="583"/>
                  </a:lnTo>
                  <a:lnTo>
                    <a:pt x="90" y="583"/>
                  </a:lnTo>
                  <a:lnTo>
                    <a:pt x="91" y="584"/>
                  </a:lnTo>
                  <a:lnTo>
                    <a:pt x="92" y="584"/>
                  </a:lnTo>
                  <a:lnTo>
                    <a:pt x="90" y="581"/>
                  </a:lnTo>
                  <a:lnTo>
                    <a:pt x="90" y="580"/>
                  </a:lnTo>
                  <a:lnTo>
                    <a:pt x="90" y="578"/>
                  </a:lnTo>
                  <a:lnTo>
                    <a:pt x="91" y="577"/>
                  </a:lnTo>
                  <a:lnTo>
                    <a:pt x="95" y="578"/>
                  </a:lnTo>
                  <a:lnTo>
                    <a:pt x="97" y="580"/>
                  </a:lnTo>
                  <a:lnTo>
                    <a:pt x="98" y="578"/>
                  </a:lnTo>
                  <a:lnTo>
                    <a:pt x="98" y="576"/>
                  </a:lnTo>
                  <a:lnTo>
                    <a:pt x="100" y="574"/>
                  </a:lnTo>
                  <a:lnTo>
                    <a:pt x="100" y="571"/>
                  </a:lnTo>
                  <a:lnTo>
                    <a:pt x="100" y="570"/>
                  </a:lnTo>
                  <a:lnTo>
                    <a:pt x="102" y="569"/>
                  </a:lnTo>
                  <a:lnTo>
                    <a:pt x="104" y="569"/>
                  </a:lnTo>
                  <a:lnTo>
                    <a:pt x="104" y="568"/>
                  </a:lnTo>
                  <a:lnTo>
                    <a:pt x="104" y="566"/>
                  </a:lnTo>
                  <a:lnTo>
                    <a:pt x="107" y="568"/>
                  </a:lnTo>
                  <a:lnTo>
                    <a:pt x="108" y="569"/>
                  </a:lnTo>
                  <a:lnTo>
                    <a:pt x="109" y="569"/>
                  </a:lnTo>
                  <a:lnTo>
                    <a:pt x="109" y="563"/>
                  </a:lnTo>
                  <a:lnTo>
                    <a:pt x="107" y="562"/>
                  </a:lnTo>
                  <a:lnTo>
                    <a:pt x="104" y="559"/>
                  </a:lnTo>
                  <a:lnTo>
                    <a:pt x="103" y="556"/>
                  </a:lnTo>
                  <a:lnTo>
                    <a:pt x="103" y="554"/>
                  </a:lnTo>
                  <a:lnTo>
                    <a:pt x="104" y="554"/>
                  </a:lnTo>
                  <a:lnTo>
                    <a:pt x="106" y="554"/>
                  </a:lnTo>
                  <a:lnTo>
                    <a:pt x="107" y="553"/>
                  </a:lnTo>
                  <a:lnTo>
                    <a:pt x="107" y="552"/>
                  </a:lnTo>
                  <a:lnTo>
                    <a:pt x="108" y="553"/>
                  </a:lnTo>
                  <a:lnTo>
                    <a:pt x="108" y="554"/>
                  </a:lnTo>
                  <a:lnTo>
                    <a:pt x="110" y="554"/>
                  </a:lnTo>
                  <a:lnTo>
                    <a:pt x="113" y="552"/>
                  </a:lnTo>
                  <a:lnTo>
                    <a:pt x="114" y="553"/>
                  </a:lnTo>
                  <a:lnTo>
                    <a:pt x="115" y="553"/>
                  </a:lnTo>
                  <a:lnTo>
                    <a:pt x="116" y="551"/>
                  </a:lnTo>
                  <a:lnTo>
                    <a:pt x="118" y="550"/>
                  </a:lnTo>
                  <a:lnTo>
                    <a:pt x="121" y="550"/>
                  </a:lnTo>
                  <a:lnTo>
                    <a:pt x="124" y="547"/>
                  </a:lnTo>
                  <a:lnTo>
                    <a:pt x="126" y="547"/>
                  </a:lnTo>
                  <a:lnTo>
                    <a:pt x="125" y="546"/>
                  </a:lnTo>
                  <a:lnTo>
                    <a:pt x="125" y="545"/>
                  </a:lnTo>
                  <a:lnTo>
                    <a:pt x="125" y="544"/>
                  </a:lnTo>
                  <a:lnTo>
                    <a:pt x="124" y="542"/>
                  </a:lnTo>
                  <a:lnTo>
                    <a:pt x="121" y="541"/>
                  </a:lnTo>
                  <a:lnTo>
                    <a:pt x="121" y="539"/>
                  </a:lnTo>
                  <a:lnTo>
                    <a:pt x="121" y="538"/>
                  </a:lnTo>
                  <a:lnTo>
                    <a:pt x="122" y="538"/>
                  </a:lnTo>
                  <a:lnTo>
                    <a:pt x="124" y="538"/>
                  </a:lnTo>
                  <a:lnTo>
                    <a:pt x="125" y="538"/>
                  </a:lnTo>
                  <a:lnTo>
                    <a:pt x="127" y="538"/>
                  </a:lnTo>
                  <a:lnTo>
                    <a:pt x="128" y="538"/>
                  </a:lnTo>
                  <a:lnTo>
                    <a:pt x="130" y="539"/>
                  </a:lnTo>
                  <a:lnTo>
                    <a:pt x="130" y="538"/>
                  </a:lnTo>
                  <a:lnTo>
                    <a:pt x="131" y="538"/>
                  </a:lnTo>
                  <a:lnTo>
                    <a:pt x="132" y="538"/>
                  </a:lnTo>
                  <a:lnTo>
                    <a:pt x="132" y="536"/>
                  </a:lnTo>
                  <a:lnTo>
                    <a:pt x="133" y="535"/>
                  </a:lnTo>
                  <a:lnTo>
                    <a:pt x="134" y="535"/>
                  </a:lnTo>
                  <a:lnTo>
                    <a:pt x="136" y="538"/>
                  </a:lnTo>
                  <a:lnTo>
                    <a:pt x="137" y="538"/>
                  </a:lnTo>
                  <a:lnTo>
                    <a:pt x="139" y="538"/>
                  </a:lnTo>
                  <a:lnTo>
                    <a:pt x="139" y="541"/>
                  </a:lnTo>
                  <a:lnTo>
                    <a:pt x="139" y="539"/>
                  </a:lnTo>
                  <a:lnTo>
                    <a:pt x="143" y="536"/>
                  </a:lnTo>
                  <a:lnTo>
                    <a:pt x="142" y="535"/>
                  </a:lnTo>
                  <a:lnTo>
                    <a:pt x="143" y="534"/>
                  </a:lnTo>
                  <a:lnTo>
                    <a:pt x="144" y="533"/>
                  </a:lnTo>
                  <a:lnTo>
                    <a:pt x="145" y="533"/>
                  </a:lnTo>
                  <a:lnTo>
                    <a:pt x="145" y="532"/>
                  </a:lnTo>
                  <a:lnTo>
                    <a:pt x="144" y="530"/>
                  </a:lnTo>
                  <a:lnTo>
                    <a:pt x="144" y="528"/>
                  </a:lnTo>
                  <a:lnTo>
                    <a:pt x="145" y="527"/>
                  </a:lnTo>
                  <a:lnTo>
                    <a:pt x="147" y="526"/>
                  </a:lnTo>
                  <a:lnTo>
                    <a:pt x="148" y="524"/>
                  </a:lnTo>
                  <a:lnTo>
                    <a:pt x="149" y="522"/>
                  </a:lnTo>
                  <a:lnTo>
                    <a:pt x="150" y="520"/>
                  </a:lnTo>
                  <a:lnTo>
                    <a:pt x="151" y="518"/>
                  </a:lnTo>
                  <a:lnTo>
                    <a:pt x="151" y="517"/>
                  </a:lnTo>
                  <a:lnTo>
                    <a:pt x="155" y="517"/>
                  </a:lnTo>
                  <a:lnTo>
                    <a:pt x="155" y="514"/>
                  </a:lnTo>
                  <a:lnTo>
                    <a:pt x="156" y="512"/>
                  </a:lnTo>
                  <a:lnTo>
                    <a:pt x="157" y="510"/>
                  </a:lnTo>
                  <a:lnTo>
                    <a:pt x="159" y="510"/>
                  </a:lnTo>
                  <a:lnTo>
                    <a:pt x="159" y="508"/>
                  </a:lnTo>
                  <a:lnTo>
                    <a:pt x="162" y="508"/>
                  </a:lnTo>
                  <a:lnTo>
                    <a:pt x="162" y="506"/>
                  </a:lnTo>
                  <a:lnTo>
                    <a:pt x="160" y="505"/>
                  </a:lnTo>
                  <a:lnTo>
                    <a:pt x="160" y="503"/>
                  </a:lnTo>
                  <a:lnTo>
                    <a:pt x="161" y="503"/>
                  </a:lnTo>
                  <a:lnTo>
                    <a:pt x="161" y="502"/>
                  </a:lnTo>
                  <a:lnTo>
                    <a:pt x="159" y="503"/>
                  </a:lnTo>
                  <a:lnTo>
                    <a:pt x="156" y="502"/>
                  </a:lnTo>
                  <a:lnTo>
                    <a:pt x="157" y="500"/>
                  </a:lnTo>
                  <a:lnTo>
                    <a:pt x="159" y="498"/>
                  </a:lnTo>
                  <a:lnTo>
                    <a:pt x="160" y="497"/>
                  </a:lnTo>
                  <a:lnTo>
                    <a:pt x="157" y="496"/>
                  </a:lnTo>
                  <a:lnTo>
                    <a:pt x="155" y="496"/>
                  </a:lnTo>
                  <a:lnTo>
                    <a:pt x="155" y="493"/>
                  </a:lnTo>
                  <a:lnTo>
                    <a:pt x="153" y="492"/>
                  </a:lnTo>
                  <a:lnTo>
                    <a:pt x="151" y="492"/>
                  </a:lnTo>
                  <a:lnTo>
                    <a:pt x="147" y="491"/>
                  </a:lnTo>
                  <a:lnTo>
                    <a:pt x="148" y="488"/>
                  </a:lnTo>
                  <a:lnTo>
                    <a:pt x="145" y="486"/>
                  </a:lnTo>
                  <a:lnTo>
                    <a:pt x="144" y="486"/>
                  </a:lnTo>
                  <a:lnTo>
                    <a:pt x="144" y="485"/>
                  </a:lnTo>
                  <a:lnTo>
                    <a:pt x="142" y="485"/>
                  </a:lnTo>
                  <a:lnTo>
                    <a:pt x="139" y="485"/>
                  </a:lnTo>
                  <a:lnTo>
                    <a:pt x="137" y="483"/>
                  </a:lnTo>
                  <a:lnTo>
                    <a:pt x="137" y="482"/>
                  </a:lnTo>
                  <a:lnTo>
                    <a:pt x="136" y="481"/>
                  </a:lnTo>
                  <a:lnTo>
                    <a:pt x="136" y="480"/>
                  </a:lnTo>
                  <a:lnTo>
                    <a:pt x="137" y="479"/>
                  </a:lnTo>
                  <a:lnTo>
                    <a:pt x="139" y="479"/>
                  </a:lnTo>
                  <a:lnTo>
                    <a:pt x="139" y="477"/>
                  </a:lnTo>
                  <a:lnTo>
                    <a:pt x="138" y="477"/>
                  </a:lnTo>
                  <a:lnTo>
                    <a:pt x="137" y="477"/>
                  </a:lnTo>
                  <a:lnTo>
                    <a:pt x="136" y="479"/>
                  </a:lnTo>
                  <a:lnTo>
                    <a:pt x="134" y="477"/>
                  </a:lnTo>
                  <a:lnTo>
                    <a:pt x="133" y="476"/>
                  </a:lnTo>
                  <a:lnTo>
                    <a:pt x="132" y="476"/>
                  </a:lnTo>
                  <a:lnTo>
                    <a:pt x="132" y="479"/>
                  </a:lnTo>
                  <a:lnTo>
                    <a:pt x="132" y="480"/>
                  </a:lnTo>
                  <a:lnTo>
                    <a:pt x="131" y="482"/>
                  </a:lnTo>
                  <a:lnTo>
                    <a:pt x="133" y="482"/>
                  </a:lnTo>
                  <a:lnTo>
                    <a:pt x="132" y="485"/>
                  </a:lnTo>
                  <a:lnTo>
                    <a:pt x="130" y="486"/>
                  </a:lnTo>
                  <a:lnTo>
                    <a:pt x="132" y="485"/>
                  </a:lnTo>
                  <a:lnTo>
                    <a:pt x="132" y="487"/>
                  </a:lnTo>
                  <a:lnTo>
                    <a:pt x="130" y="488"/>
                  </a:lnTo>
                  <a:lnTo>
                    <a:pt x="131" y="488"/>
                  </a:lnTo>
                  <a:lnTo>
                    <a:pt x="130" y="489"/>
                  </a:lnTo>
                  <a:lnTo>
                    <a:pt x="128" y="491"/>
                  </a:lnTo>
                  <a:lnTo>
                    <a:pt x="127" y="491"/>
                  </a:lnTo>
                  <a:lnTo>
                    <a:pt x="126" y="494"/>
                  </a:lnTo>
                  <a:lnTo>
                    <a:pt x="125" y="496"/>
                  </a:lnTo>
                  <a:lnTo>
                    <a:pt x="122" y="494"/>
                  </a:lnTo>
                  <a:lnTo>
                    <a:pt x="122" y="496"/>
                  </a:lnTo>
                  <a:lnTo>
                    <a:pt x="121" y="494"/>
                  </a:lnTo>
                  <a:lnTo>
                    <a:pt x="118" y="496"/>
                  </a:lnTo>
                  <a:lnTo>
                    <a:pt x="116" y="494"/>
                  </a:lnTo>
                  <a:lnTo>
                    <a:pt x="115" y="496"/>
                  </a:lnTo>
                  <a:lnTo>
                    <a:pt x="114" y="498"/>
                  </a:lnTo>
                  <a:lnTo>
                    <a:pt x="113" y="499"/>
                  </a:lnTo>
                  <a:lnTo>
                    <a:pt x="113" y="500"/>
                  </a:lnTo>
                  <a:lnTo>
                    <a:pt x="112" y="500"/>
                  </a:lnTo>
                  <a:lnTo>
                    <a:pt x="110" y="500"/>
                  </a:lnTo>
                  <a:lnTo>
                    <a:pt x="108" y="502"/>
                  </a:lnTo>
                  <a:lnTo>
                    <a:pt x="103" y="503"/>
                  </a:lnTo>
                  <a:lnTo>
                    <a:pt x="101" y="506"/>
                  </a:lnTo>
                  <a:lnTo>
                    <a:pt x="100" y="504"/>
                  </a:lnTo>
                  <a:lnTo>
                    <a:pt x="98" y="506"/>
                  </a:lnTo>
                  <a:lnTo>
                    <a:pt x="97" y="506"/>
                  </a:lnTo>
                  <a:lnTo>
                    <a:pt x="96" y="508"/>
                  </a:lnTo>
                  <a:lnTo>
                    <a:pt x="94" y="508"/>
                  </a:lnTo>
                  <a:lnTo>
                    <a:pt x="91" y="509"/>
                  </a:lnTo>
                  <a:lnTo>
                    <a:pt x="89" y="508"/>
                  </a:lnTo>
                  <a:lnTo>
                    <a:pt x="86" y="509"/>
                  </a:lnTo>
                  <a:lnTo>
                    <a:pt x="86" y="508"/>
                  </a:lnTo>
                  <a:lnTo>
                    <a:pt x="85" y="508"/>
                  </a:lnTo>
                  <a:lnTo>
                    <a:pt x="84" y="509"/>
                  </a:lnTo>
                  <a:lnTo>
                    <a:pt x="82" y="509"/>
                  </a:lnTo>
                  <a:lnTo>
                    <a:pt x="80" y="510"/>
                  </a:lnTo>
                  <a:lnTo>
                    <a:pt x="77" y="509"/>
                  </a:lnTo>
                  <a:lnTo>
                    <a:pt x="73" y="510"/>
                  </a:lnTo>
                  <a:lnTo>
                    <a:pt x="73" y="508"/>
                  </a:lnTo>
                  <a:lnTo>
                    <a:pt x="72" y="506"/>
                  </a:lnTo>
                  <a:lnTo>
                    <a:pt x="71" y="506"/>
                  </a:lnTo>
                  <a:lnTo>
                    <a:pt x="71" y="504"/>
                  </a:lnTo>
                  <a:lnTo>
                    <a:pt x="69" y="504"/>
                  </a:lnTo>
                  <a:lnTo>
                    <a:pt x="68" y="504"/>
                  </a:lnTo>
                  <a:lnTo>
                    <a:pt x="68" y="503"/>
                  </a:lnTo>
                  <a:lnTo>
                    <a:pt x="67" y="503"/>
                  </a:lnTo>
                  <a:lnTo>
                    <a:pt x="66" y="503"/>
                  </a:lnTo>
                  <a:lnTo>
                    <a:pt x="66" y="500"/>
                  </a:lnTo>
                  <a:lnTo>
                    <a:pt x="66" y="499"/>
                  </a:lnTo>
                  <a:lnTo>
                    <a:pt x="65" y="499"/>
                  </a:lnTo>
                  <a:lnTo>
                    <a:pt x="63" y="499"/>
                  </a:lnTo>
                  <a:lnTo>
                    <a:pt x="63" y="498"/>
                  </a:lnTo>
                  <a:lnTo>
                    <a:pt x="62" y="498"/>
                  </a:lnTo>
                  <a:lnTo>
                    <a:pt x="61" y="499"/>
                  </a:lnTo>
                  <a:lnTo>
                    <a:pt x="61" y="498"/>
                  </a:lnTo>
                  <a:lnTo>
                    <a:pt x="60" y="498"/>
                  </a:lnTo>
                  <a:lnTo>
                    <a:pt x="59" y="498"/>
                  </a:lnTo>
                  <a:lnTo>
                    <a:pt x="57" y="499"/>
                  </a:lnTo>
                  <a:lnTo>
                    <a:pt x="55" y="498"/>
                  </a:lnTo>
                  <a:lnTo>
                    <a:pt x="56" y="498"/>
                  </a:lnTo>
                  <a:lnTo>
                    <a:pt x="53" y="497"/>
                  </a:lnTo>
                  <a:lnTo>
                    <a:pt x="54" y="496"/>
                  </a:lnTo>
                  <a:lnTo>
                    <a:pt x="51" y="492"/>
                  </a:lnTo>
                  <a:lnTo>
                    <a:pt x="50" y="491"/>
                  </a:lnTo>
                  <a:lnTo>
                    <a:pt x="49" y="491"/>
                  </a:lnTo>
                  <a:lnTo>
                    <a:pt x="48" y="491"/>
                  </a:lnTo>
                  <a:lnTo>
                    <a:pt x="47" y="492"/>
                  </a:lnTo>
                  <a:lnTo>
                    <a:pt x="44" y="491"/>
                  </a:lnTo>
                  <a:lnTo>
                    <a:pt x="43" y="491"/>
                  </a:lnTo>
                  <a:lnTo>
                    <a:pt x="42" y="491"/>
                  </a:lnTo>
                  <a:lnTo>
                    <a:pt x="41" y="489"/>
                  </a:lnTo>
                  <a:lnTo>
                    <a:pt x="38" y="488"/>
                  </a:lnTo>
                  <a:lnTo>
                    <a:pt x="37" y="487"/>
                  </a:lnTo>
                  <a:lnTo>
                    <a:pt x="36" y="486"/>
                  </a:lnTo>
                  <a:lnTo>
                    <a:pt x="37" y="486"/>
                  </a:lnTo>
                  <a:lnTo>
                    <a:pt x="35" y="485"/>
                  </a:lnTo>
                  <a:lnTo>
                    <a:pt x="33" y="485"/>
                  </a:lnTo>
                  <a:lnTo>
                    <a:pt x="32" y="483"/>
                  </a:lnTo>
                  <a:lnTo>
                    <a:pt x="35" y="483"/>
                  </a:lnTo>
                  <a:lnTo>
                    <a:pt x="35" y="480"/>
                  </a:lnTo>
                  <a:lnTo>
                    <a:pt x="37" y="482"/>
                  </a:lnTo>
                  <a:lnTo>
                    <a:pt x="37" y="481"/>
                  </a:lnTo>
                  <a:lnTo>
                    <a:pt x="38" y="480"/>
                  </a:lnTo>
                  <a:lnTo>
                    <a:pt x="38" y="477"/>
                  </a:lnTo>
                  <a:lnTo>
                    <a:pt x="37" y="475"/>
                  </a:lnTo>
                  <a:lnTo>
                    <a:pt x="35" y="474"/>
                  </a:lnTo>
                  <a:lnTo>
                    <a:pt x="33" y="473"/>
                  </a:lnTo>
                  <a:lnTo>
                    <a:pt x="35" y="471"/>
                  </a:lnTo>
                  <a:lnTo>
                    <a:pt x="37" y="471"/>
                  </a:lnTo>
                  <a:lnTo>
                    <a:pt x="41" y="470"/>
                  </a:lnTo>
                  <a:lnTo>
                    <a:pt x="42" y="469"/>
                  </a:lnTo>
                  <a:lnTo>
                    <a:pt x="37" y="469"/>
                  </a:lnTo>
                  <a:lnTo>
                    <a:pt x="35" y="470"/>
                  </a:lnTo>
                  <a:lnTo>
                    <a:pt x="32" y="471"/>
                  </a:lnTo>
                  <a:lnTo>
                    <a:pt x="31" y="475"/>
                  </a:lnTo>
                  <a:lnTo>
                    <a:pt x="30" y="475"/>
                  </a:lnTo>
                  <a:lnTo>
                    <a:pt x="30" y="476"/>
                  </a:lnTo>
                  <a:lnTo>
                    <a:pt x="27" y="479"/>
                  </a:lnTo>
                  <a:lnTo>
                    <a:pt x="26" y="479"/>
                  </a:lnTo>
                  <a:lnTo>
                    <a:pt x="24" y="479"/>
                  </a:lnTo>
                  <a:lnTo>
                    <a:pt x="20" y="477"/>
                  </a:lnTo>
                  <a:lnTo>
                    <a:pt x="20" y="479"/>
                  </a:lnTo>
                  <a:lnTo>
                    <a:pt x="19" y="479"/>
                  </a:lnTo>
                  <a:lnTo>
                    <a:pt x="16" y="477"/>
                  </a:lnTo>
                  <a:lnTo>
                    <a:pt x="16" y="479"/>
                  </a:lnTo>
                  <a:lnTo>
                    <a:pt x="14" y="476"/>
                  </a:lnTo>
                  <a:lnTo>
                    <a:pt x="12" y="476"/>
                  </a:lnTo>
                  <a:lnTo>
                    <a:pt x="13" y="475"/>
                  </a:lnTo>
                  <a:lnTo>
                    <a:pt x="12" y="474"/>
                  </a:lnTo>
                  <a:lnTo>
                    <a:pt x="10" y="473"/>
                  </a:lnTo>
                  <a:lnTo>
                    <a:pt x="10" y="471"/>
                  </a:lnTo>
                  <a:lnTo>
                    <a:pt x="8" y="470"/>
                  </a:lnTo>
                  <a:lnTo>
                    <a:pt x="9" y="470"/>
                  </a:lnTo>
                  <a:lnTo>
                    <a:pt x="8" y="467"/>
                  </a:lnTo>
                  <a:lnTo>
                    <a:pt x="6" y="464"/>
                  </a:lnTo>
                  <a:lnTo>
                    <a:pt x="3" y="463"/>
                  </a:lnTo>
                  <a:lnTo>
                    <a:pt x="3" y="461"/>
                  </a:lnTo>
                  <a:lnTo>
                    <a:pt x="3" y="459"/>
                  </a:lnTo>
                  <a:lnTo>
                    <a:pt x="4" y="458"/>
                  </a:lnTo>
                  <a:lnTo>
                    <a:pt x="3" y="457"/>
                  </a:lnTo>
                  <a:lnTo>
                    <a:pt x="2" y="456"/>
                  </a:lnTo>
                  <a:lnTo>
                    <a:pt x="0" y="452"/>
                  </a:lnTo>
                  <a:lnTo>
                    <a:pt x="0" y="451"/>
                  </a:lnTo>
                  <a:lnTo>
                    <a:pt x="0" y="450"/>
                  </a:lnTo>
                  <a:lnTo>
                    <a:pt x="1" y="450"/>
                  </a:lnTo>
                  <a:lnTo>
                    <a:pt x="3" y="449"/>
                  </a:lnTo>
                  <a:lnTo>
                    <a:pt x="6" y="451"/>
                  </a:lnTo>
                  <a:lnTo>
                    <a:pt x="6" y="452"/>
                  </a:lnTo>
                  <a:lnTo>
                    <a:pt x="8" y="453"/>
                  </a:lnTo>
                  <a:lnTo>
                    <a:pt x="8" y="455"/>
                  </a:lnTo>
                  <a:lnTo>
                    <a:pt x="9" y="45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9" name="Freeform 62"/>
            <p:cNvSpPr>
              <a:spLocks/>
            </p:cNvSpPr>
            <p:nvPr userDrawn="1"/>
          </p:nvSpPr>
          <p:spPr bwMode="auto">
            <a:xfrm>
              <a:off x="3551238" y="6235701"/>
              <a:ext cx="344488" cy="290513"/>
            </a:xfrm>
            <a:custGeom>
              <a:avLst/>
              <a:gdLst/>
              <a:ahLst/>
              <a:cxnLst>
                <a:cxn ang="0">
                  <a:pos x="359" y="802"/>
                </a:cxn>
                <a:cxn ang="0">
                  <a:pos x="313" y="812"/>
                </a:cxn>
                <a:cxn ang="0">
                  <a:pos x="287" y="782"/>
                </a:cxn>
                <a:cxn ang="0">
                  <a:pos x="235" y="795"/>
                </a:cxn>
                <a:cxn ang="0">
                  <a:pos x="249" y="769"/>
                </a:cxn>
                <a:cxn ang="0">
                  <a:pos x="120" y="806"/>
                </a:cxn>
                <a:cxn ang="0">
                  <a:pos x="140" y="771"/>
                </a:cxn>
                <a:cxn ang="0">
                  <a:pos x="95" y="757"/>
                </a:cxn>
                <a:cxn ang="0">
                  <a:pos x="75" y="677"/>
                </a:cxn>
                <a:cxn ang="0">
                  <a:pos x="17" y="613"/>
                </a:cxn>
                <a:cxn ang="0">
                  <a:pos x="82" y="626"/>
                </a:cxn>
                <a:cxn ang="0">
                  <a:pos x="123" y="594"/>
                </a:cxn>
                <a:cxn ang="0">
                  <a:pos x="218" y="557"/>
                </a:cxn>
                <a:cxn ang="0">
                  <a:pos x="173" y="539"/>
                </a:cxn>
                <a:cxn ang="0">
                  <a:pos x="90" y="540"/>
                </a:cxn>
                <a:cxn ang="0">
                  <a:pos x="112" y="480"/>
                </a:cxn>
                <a:cxn ang="0">
                  <a:pos x="137" y="379"/>
                </a:cxn>
                <a:cxn ang="0">
                  <a:pos x="181" y="367"/>
                </a:cxn>
                <a:cxn ang="0">
                  <a:pos x="205" y="331"/>
                </a:cxn>
                <a:cxn ang="0">
                  <a:pos x="257" y="277"/>
                </a:cxn>
                <a:cxn ang="0">
                  <a:pos x="259" y="239"/>
                </a:cxn>
                <a:cxn ang="0">
                  <a:pos x="165" y="231"/>
                </a:cxn>
                <a:cxn ang="0">
                  <a:pos x="165" y="183"/>
                </a:cxn>
                <a:cxn ang="0">
                  <a:pos x="181" y="126"/>
                </a:cxn>
                <a:cxn ang="0">
                  <a:pos x="225" y="107"/>
                </a:cxn>
                <a:cxn ang="0">
                  <a:pos x="276" y="40"/>
                </a:cxn>
                <a:cxn ang="0">
                  <a:pos x="359" y="14"/>
                </a:cxn>
                <a:cxn ang="0">
                  <a:pos x="460" y="24"/>
                </a:cxn>
                <a:cxn ang="0">
                  <a:pos x="488" y="90"/>
                </a:cxn>
                <a:cxn ang="0">
                  <a:pos x="538" y="87"/>
                </a:cxn>
                <a:cxn ang="0">
                  <a:pos x="554" y="121"/>
                </a:cxn>
                <a:cxn ang="0">
                  <a:pos x="638" y="109"/>
                </a:cxn>
                <a:cxn ang="0">
                  <a:pos x="721" y="124"/>
                </a:cxn>
                <a:cxn ang="0">
                  <a:pos x="821" y="147"/>
                </a:cxn>
                <a:cxn ang="0">
                  <a:pos x="891" y="162"/>
                </a:cxn>
                <a:cxn ang="0">
                  <a:pos x="860" y="198"/>
                </a:cxn>
                <a:cxn ang="0">
                  <a:pos x="883" y="256"/>
                </a:cxn>
                <a:cxn ang="0">
                  <a:pos x="838" y="271"/>
                </a:cxn>
                <a:cxn ang="0">
                  <a:pos x="832" y="293"/>
                </a:cxn>
                <a:cxn ang="0">
                  <a:pos x="902" y="355"/>
                </a:cxn>
                <a:cxn ang="0">
                  <a:pos x="962" y="370"/>
                </a:cxn>
                <a:cxn ang="0">
                  <a:pos x="943" y="424"/>
                </a:cxn>
                <a:cxn ang="0">
                  <a:pos x="1003" y="444"/>
                </a:cxn>
                <a:cxn ang="0">
                  <a:pos x="1055" y="448"/>
                </a:cxn>
                <a:cxn ang="0">
                  <a:pos x="1068" y="521"/>
                </a:cxn>
                <a:cxn ang="0">
                  <a:pos x="1058" y="522"/>
                </a:cxn>
                <a:cxn ang="0">
                  <a:pos x="1080" y="578"/>
                </a:cxn>
                <a:cxn ang="0">
                  <a:pos x="1078" y="624"/>
                </a:cxn>
                <a:cxn ang="0">
                  <a:pos x="973" y="638"/>
                </a:cxn>
                <a:cxn ang="0">
                  <a:pos x="926" y="664"/>
                </a:cxn>
                <a:cxn ang="0">
                  <a:pos x="915" y="695"/>
                </a:cxn>
                <a:cxn ang="0">
                  <a:pos x="952" y="745"/>
                </a:cxn>
                <a:cxn ang="0">
                  <a:pos x="902" y="782"/>
                </a:cxn>
                <a:cxn ang="0">
                  <a:pos x="856" y="757"/>
                </a:cxn>
                <a:cxn ang="0">
                  <a:pos x="778" y="759"/>
                </a:cxn>
                <a:cxn ang="0">
                  <a:pos x="759" y="780"/>
                </a:cxn>
                <a:cxn ang="0">
                  <a:pos x="718" y="780"/>
                </a:cxn>
                <a:cxn ang="0">
                  <a:pos x="769" y="819"/>
                </a:cxn>
                <a:cxn ang="0">
                  <a:pos x="707" y="840"/>
                </a:cxn>
                <a:cxn ang="0">
                  <a:pos x="654" y="842"/>
                </a:cxn>
                <a:cxn ang="0">
                  <a:pos x="618" y="804"/>
                </a:cxn>
                <a:cxn ang="0">
                  <a:pos x="552" y="840"/>
                </a:cxn>
                <a:cxn ang="0">
                  <a:pos x="539" y="786"/>
                </a:cxn>
              </a:cxnLst>
              <a:rect l="0" t="0" r="r" b="b"/>
              <a:pathLst>
                <a:path w="1086" h="917">
                  <a:moveTo>
                    <a:pt x="511" y="917"/>
                  </a:moveTo>
                  <a:lnTo>
                    <a:pt x="354" y="917"/>
                  </a:lnTo>
                  <a:lnTo>
                    <a:pt x="358" y="911"/>
                  </a:lnTo>
                  <a:lnTo>
                    <a:pt x="361" y="898"/>
                  </a:lnTo>
                  <a:lnTo>
                    <a:pt x="362" y="889"/>
                  </a:lnTo>
                  <a:lnTo>
                    <a:pt x="365" y="884"/>
                  </a:lnTo>
                  <a:lnTo>
                    <a:pt x="367" y="879"/>
                  </a:lnTo>
                  <a:lnTo>
                    <a:pt x="372" y="872"/>
                  </a:lnTo>
                  <a:lnTo>
                    <a:pt x="375" y="863"/>
                  </a:lnTo>
                  <a:lnTo>
                    <a:pt x="372" y="849"/>
                  </a:lnTo>
                  <a:lnTo>
                    <a:pt x="375" y="838"/>
                  </a:lnTo>
                  <a:lnTo>
                    <a:pt x="379" y="832"/>
                  </a:lnTo>
                  <a:lnTo>
                    <a:pt x="382" y="826"/>
                  </a:lnTo>
                  <a:lnTo>
                    <a:pt x="383" y="815"/>
                  </a:lnTo>
                  <a:lnTo>
                    <a:pt x="384" y="808"/>
                  </a:lnTo>
                  <a:lnTo>
                    <a:pt x="383" y="806"/>
                  </a:lnTo>
                  <a:lnTo>
                    <a:pt x="381" y="806"/>
                  </a:lnTo>
                  <a:lnTo>
                    <a:pt x="375" y="813"/>
                  </a:lnTo>
                  <a:lnTo>
                    <a:pt x="370" y="813"/>
                  </a:lnTo>
                  <a:lnTo>
                    <a:pt x="369" y="812"/>
                  </a:lnTo>
                  <a:lnTo>
                    <a:pt x="365" y="812"/>
                  </a:lnTo>
                  <a:lnTo>
                    <a:pt x="358" y="813"/>
                  </a:lnTo>
                  <a:lnTo>
                    <a:pt x="356" y="809"/>
                  </a:lnTo>
                  <a:lnTo>
                    <a:pt x="359" y="802"/>
                  </a:lnTo>
                  <a:lnTo>
                    <a:pt x="359" y="800"/>
                  </a:lnTo>
                  <a:lnTo>
                    <a:pt x="356" y="801"/>
                  </a:lnTo>
                  <a:lnTo>
                    <a:pt x="353" y="800"/>
                  </a:lnTo>
                  <a:lnTo>
                    <a:pt x="350" y="798"/>
                  </a:lnTo>
                  <a:lnTo>
                    <a:pt x="350" y="796"/>
                  </a:lnTo>
                  <a:lnTo>
                    <a:pt x="349" y="790"/>
                  </a:lnTo>
                  <a:lnTo>
                    <a:pt x="348" y="789"/>
                  </a:lnTo>
                  <a:lnTo>
                    <a:pt x="348" y="792"/>
                  </a:lnTo>
                  <a:lnTo>
                    <a:pt x="349" y="798"/>
                  </a:lnTo>
                  <a:lnTo>
                    <a:pt x="347" y="800"/>
                  </a:lnTo>
                  <a:lnTo>
                    <a:pt x="346" y="798"/>
                  </a:lnTo>
                  <a:lnTo>
                    <a:pt x="343" y="800"/>
                  </a:lnTo>
                  <a:lnTo>
                    <a:pt x="336" y="800"/>
                  </a:lnTo>
                  <a:lnTo>
                    <a:pt x="334" y="801"/>
                  </a:lnTo>
                  <a:lnTo>
                    <a:pt x="331" y="802"/>
                  </a:lnTo>
                  <a:lnTo>
                    <a:pt x="330" y="804"/>
                  </a:lnTo>
                  <a:lnTo>
                    <a:pt x="331" y="807"/>
                  </a:lnTo>
                  <a:lnTo>
                    <a:pt x="331" y="809"/>
                  </a:lnTo>
                  <a:lnTo>
                    <a:pt x="328" y="809"/>
                  </a:lnTo>
                  <a:lnTo>
                    <a:pt x="325" y="808"/>
                  </a:lnTo>
                  <a:lnTo>
                    <a:pt x="324" y="812"/>
                  </a:lnTo>
                  <a:lnTo>
                    <a:pt x="320" y="809"/>
                  </a:lnTo>
                  <a:lnTo>
                    <a:pt x="317" y="810"/>
                  </a:lnTo>
                  <a:lnTo>
                    <a:pt x="313" y="812"/>
                  </a:lnTo>
                  <a:lnTo>
                    <a:pt x="316" y="813"/>
                  </a:lnTo>
                  <a:lnTo>
                    <a:pt x="311" y="814"/>
                  </a:lnTo>
                  <a:lnTo>
                    <a:pt x="302" y="813"/>
                  </a:lnTo>
                  <a:lnTo>
                    <a:pt x="297" y="812"/>
                  </a:lnTo>
                  <a:lnTo>
                    <a:pt x="294" y="809"/>
                  </a:lnTo>
                  <a:lnTo>
                    <a:pt x="291" y="806"/>
                  </a:lnTo>
                  <a:lnTo>
                    <a:pt x="289" y="802"/>
                  </a:lnTo>
                  <a:lnTo>
                    <a:pt x="289" y="798"/>
                  </a:lnTo>
                  <a:lnTo>
                    <a:pt x="289" y="796"/>
                  </a:lnTo>
                  <a:lnTo>
                    <a:pt x="291" y="795"/>
                  </a:lnTo>
                  <a:lnTo>
                    <a:pt x="297" y="794"/>
                  </a:lnTo>
                  <a:lnTo>
                    <a:pt x="299" y="791"/>
                  </a:lnTo>
                  <a:lnTo>
                    <a:pt x="297" y="786"/>
                  </a:lnTo>
                  <a:lnTo>
                    <a:pt x="299" y="785"/>
                  </a:lnTo>
                  <a:lnTo>
                    <a:pt x="305" y="783"/>
                  </a:lnTo>
                  <a:lnTo>
                    <a:pt x="308" y="780"/>
                  </a:lnTo>
                  <a:lnTo>
                    <a:pt x="308" y="778"/>
                  </a:lnTo>
                  <a:lnTo>
                    <a:pt x="307" y="774"/>
                  </a:lnTo>
                  <a:lnTo>
                    <a:pt x="303" y="772"/>
                  </a:lnTo>
                  <a:lnTo>
                    <a:pt x="300" y="771"/>
                  </a:lnTo>
                  <a:lnTo>
                    <a:pt x="297" y="773"/>
                  </a:lnTo>
                  <a:lnTo>
                    <a:pt x="293" y="777"/>
                  </a:lnTo>
                  <a:lnTo>
                    <a:pt x="289" y="779"/>
                  </a:lnTo>
                  <a:lnTo>
                    <a:pt x="287" y="782"/>
                  </a:lnTo>
                  <a:lnTo>
                    <a:pt x="284" y="786"/>
                  </a:lnTo>
                  <a:lnTo>
                    <a:pt x="281" y="786"/>
                  </a:lnTo>
                  <a:lnTo>
                    <a:pt x="277" y="783"/>
                  </a:lnTo>
                  <a:lnTo>
                    <a:pt x="276" y="783"/>
                  </a:lnTo>
                  <a:lnTo>
                    <a:pt x="275" y="786"/>
                  </a:lnTo>
                  <a:lnTo>
                    <a:pt x="273" y="796"/>
                  </a:lnTo>
                  <a:lnTo>
                    <a:pt x="272" y="797"/>
                  </a:lnTo>
                  <a:lnTo>
                    <a:pt x="271" y="798"/>
                  </a:lnTo>
                  <a:lnTo>
                    <a:pt x="264" y="798"/>
                  </a:lnTo>
                  <a:lnTo>
                    <a:pt x="264" y="802"/>
                  </a:lnTo>
                  <a:lnTo>
                    <a:pt x="263" y="803"/>
                  </a:lnTo>
                  <a:lnTo>
                    <a:pt x="261" y="804"/>
                  </a:lnTo>
                  <a:lnTo>
                    <a:pt x="255" y="806"/>
                  </a:lnTo>
                  <a:lnTo>
                    <a:pt x="254" y="806"/>
                  </a:lnTo>
                  <a:lnTo>
                    <a:pt x="252" y="803"/>
                  </a:lnTo>
                  <a:lnTo>
                    <a:pt x="248" y="801"/>
                  </a:lnTo>
                  <a:lnTo>
                    <a:pt x="249" y="797"/>
                  </a:lnTo>
                  <a:lnTo>
                    <a:pt x="255" y="788"/>
                  </a:lnTo>
                  <a:lnTo>
                    <a:pt x="254" y="785"/>
                  </a:lnTo>
                  <a:lnTo>
                    <a:pt x="251" y="785"/>
                  </a:lnTo>
                  <a:lnTo>
                    <a:pt x="243" y="791"/>
                  </a:lnTo>
                  <a:lnTo>
                    <a:pt x="238" y="794"/>
                  </a:lnTo>
                  <a:lnTo>
                    <a:pt x="241" y="795"/>
                  </a:lnTo>
                  <a:lnTo>
                    <a:pt x="235" y="795"/>
                  </a:lnTo>
                  <a:lnTo>
                    <a:pt x="226" y="795"/>
                  </a:lnTo>
                  <a:lnTo>
                    <a:pt x="220" y="790"/>
                  </a:lnTo>
                  <a:lnTo>
                    <a:pt x="211" y="785"/>
                  </a:lnTo>
                  <a:lnTo>
                    <a:pt x="208" y="783"/>
                  </a:lnTo>
                  <a:lnTo>
                    <a:pt x="207" y="782"/>
                  </a:lnTo>
                  <a:lnTo>
                    <a:pt x="210" y="780"/>
                  </a:lnTo>
                  <a:lnTo>
                    <a:pt x="211" y="780"/>
                  </a:lnTo>
                  <a:lnTo>
                    <a:pt x="212" y="778"/>
                  </a:lnTo>
                  <a:lnTo>
                    <a:pt x="213" y="772"/>
                  </a:lnTo>
                  <a:lnTo>
                    <a:pt x="216" y="771"/>
                  </a:lnTo>
                  <a:lnTo>
                    <a:pt x="216" y="768"/>
                  </a:lnTo>
                  <a:lnTo>
                    <a:pt x="218" y="769"/>
                  </a:lnTo>
                  <a:lnTo>
                    <a:pt x="222" y="773"/>
                  </a:lnTo>
                  <a:lnTo>
                    <a:pt x="223" y="774"/>
                  </a:lnTo>
                  <a:lnTo>
                    <a:pt x="225" y="774"/>
                  </a:lnTo>
                  <a:lnTo>
                    <a:pt x="225" y="772"/>
                  </a:lnTo>
                  <a:lnTo>
                    <a:pt x="228" y="771"/>
                  </a:lnTo>
                  <a:lnTo>
                    <a:pt x="231" y="771"/>
                  </a:lnTo>
                  <a:lnTo>
                    <a:pt x="235" y="772"/>
                  </a:lnTo>
                  <a:lnTo>
                    <a:pt x="236" y="772"/>
                  </a:lnTo>
                  <a:lnTo>
                    <a:pt x="240" y="771"/>
                  </a:lnTo>
                  <a:lnTo>
                    <a:pt x="242" y="769"/>
                  </a:lnTo>
                  <a:lnTo>
                    <a:pt x="244" y="768"/>
                  </a:lnTo>
                  <a:lnTo>
                    <a:pt x="249" y="769"/>
                  </a:lnTo>
                  <a:lnTo>
                    <a:pt x="249" y="766"/>
                  </a:lnTo>
                  <a:lnTo>
                    <a:pt x="246" y="760"/>
                  </a:lnTo>
                  <a:lnTo>
                    <a:pt x="242" y="757"/>
                  </a:lnTo>
                  <a:lnTo>
                    <a:pt x="236" y="762"/>
                  </a:lnTo>
                  <a:lnTo>
                    <a:pt x="232" y="765"/>
                  </a:lnTo>
                  <a:lnTo>
                    <a:pt x="228" y="766"/>
                  </a:lnTo>
                  <a:lnTo>
                    <a:pt x="210" y="766"/>
                  </a:lnTo>
                  <a:lnTo>
                    <a:pt x="195" y="766"/>
                  </a:lnTo>
                  <a:lnTo>
                    <a:pt x="188" y="765"/>
                  </a:lnTo>
                  <a:lnTo>
                    <a:pt x="184" y="765"/>
                  </a:lnTo>
                  <a:lnTo>
                    <a:pt x="184" y="767"/>
                  </a:lnTo>
                  <a:lnTo>
                    <a:pt x="188" y="774"/>
                  </a:lnTo>
                  <a:lnTo>
                    <a:pt x="189" y="778"/>
                  </a:lnTo>
                  <a:lnTo>
                    <a:pt x="188" y="780"/>
                  </a:lnTo>
                  <a:lnTo>
                    <a:pt x="177" y="784"/>
                  </a:lnTo>
                  <a:lnTo>
                    <a:pt x="176" y="783"/>
                  </a:lnTo>
                  <a:lnTo>
                    <a:pt x="171" y="782"/>
                  </a:lnTo>
                  <a:lnTo>
                    <a:pt x="165" y="783"/>
                  </a:lnTo>
                  <a:lnTo>
                    <a:pt x="160" y="782"/>
                  </a:lnTo>
                  <a:lnTo>
                    <a:pt x="157" y="776"/>
                  </a:lnTo>
                  <a:lnTo>
                    <a:pt x="151" y="779"/>
                  </a:lnTo>
                  <a:lnTo>
                    <a:pt x="143" y="785"/>
                  </a:lnTo>
                  <a:lnTo>
                    <a:pt x="135" y="794"/>
                  </a:lnTo>
                  <a:lnTo>
                    <a:pt x="120" y="806"/>
                  </a:lnTo>
                  <a:lnTo>
                    <a:pt x="113" y="809"/>
                  </a:lnTo>
                  <a:lnTo>
                    <a:pt x="107" y="810"/>
                  </a:lnTo>
                  <a:lnTo>
                    <a:pt x="102" y="810"/>
                  </a:lnTo>
                  <a:lnTo>
                    <a:pt x="110" y="809"/>
                  </a:lnTo>
                  <a:lnTo>
                    <a:pt x="117" y="806"/>
                  </a:lnTo>
                  <a:lnTo>
                    <a:pt x="125" y="800"/>
                  </a:lnTo>
                  <a:lnTo>
                    <a:pt x="137" y="789"/>
                  </a:lnTo>
                  <a:lnTo>
                    <a:pt x="140" y="785"/>
                  </a:lnTo>
                  <a:lnTo>
                    <a:pt x="113" y="798"/>
                  </a:lnTo>
                  <a:lnTo>
                    <a:pt x="96" y="806"/>
                  </a:lnTo>
                  <a:lnTo>
                    <a:pt x="125" y="791"/>
                  </a:lnTo>
                  <a:lnTo>
                    <a:pt x="143" y="779"/>
                  </a:lnTo>
                  <a:lnTo>
                    <a:pt x="145" y="778"/>
                  </a:lnTo>
                  <a:lnTo>
                    <a:pt x="140" y="774"/>
                  </a:lnTo>
                  <a:lnTo>
                    <a:pt x="134" y="769"/>
                  </a:lnTo>
                  <a:lnTo>
                    <a:pt x="131" y="769"/>
                  </a:lnTo>
                  <a:lnTo>
                    <a:pt x="125" y="774"/>
                  </a:lnTo>
                  <a:lnTo>
                    <a:pt x="114" y="784"/>
                  </a:lnTo>
                  <a:lnTo>
                    <a:pt x="111" y="785"/>
                  </a:lnTo>
                  <a:lnTo>
                    <a:pt x="116" y="782"/>
                  </a:lnTo>
                  <a:lnTo>
                    <a:pt x="123" y="776"/>
                  </a:lnTo>
                  <a:lnTo>
                    <a:pt x="129" y="767"/>
                  </a:lnTo>
                  <a:lnTo>
                    <a:pt x="134" y="767"/>
                  </a:lnTo>
                  <a:lnTo>
                    <a:pt x="140" y="771"/>
                  </a:lnTo>
                  <a:lnTo>
                    <a:pt x="147" y="777"/>
                  </a:lnTo>
                  <a:lnTo>
                    <a:pt x="151" y="777"/>
                  </a:lnTo>
                  <a:lnTo>
                    <a:pt x="153" y="773"/>
                  </a:lnTo>
                  <a:lnTo>
                    <a:pt x="155" y="771"/>
                  </a:lnTo>
                  <a:lnTo>
                    <a:pt x="153" y="768"/>
                  </a:lnTo>
                  <a:lnTo>
                    <a:pt x="151" y="765"/>
                  </a:lnTo>
                  <a:lnTo>
                    <a:pt x="147" y="762"/>
                  </a:lnTo>
                  <a:lnTo>
                    <a:pt x="141" y="762"/>
                  </a:lnTo>
                  <a:lnTo>
                    <a:pt x="134" y="761"/>
                  </a:lnTo>
                  <a:lnTo>
                    <a:pt x="127" y="762"/>
                  </a:lnTo>
                  <a:lnTo>
                    <a:pt x="122" y="765"/>
                  </a:lnTo>
                  <a:lnTo>
                    <a:pt x="119" y="769"/>
                  </a:lnTo>
                  <a:lnTo>
                    <a:pt x="118" y="772"/>
                  </a:lnTo>
                  <a:lnTo>
                    <a:pt x="116" y="774"/>
                  </a:lnTo>
                  <a:lnTo>
                    <a:pt x="112" y="776"/>
                  </a:lnTo>
                  <a:lnTo>
                    <a:pt x="111" y="773"/>
                  </a:lnTo>
                  <a:lnTo>
                    <a:pt x="108" y="767"/>
                  </a:lnTo>
                  <a:lnTo>
                    <a:pt x="111" y="763"/>
                  </a:lnTo>
                  <a:lnTo>
                    <a:pt x="111" y="762"/>
                  </a:lnTo>
                  <a:lnTo>
                    <a:pt x="107" y="762"/>
                  </a:lnTo>
                  <a:lnTo>
                    <a:pt x="100" y="767"/>
                  </a:lnTo>
                  <a:lnTo>
                    <a:pt x="98" y="767"/>
                  </a:lnTo>
                  <a:lnTo>
                    <a:pt x="98" y="763"/>
                  </a:lnTo>
                  <a:lnTo>
                    <a:pt x="95" y="757"/>
                  </a:lnTo>
                  <a:lnTo>
                    <a:pt x="96" y="753"/>
                  </a:lnTo>
                  <a:lnTo>
                    <a:pt x="101" y="747"/>
                  </a:lnTo>
                  <a:lnTo>
                    <a:pt x="102" y="745"/>
                  </a:lnTo>
                  <a:lnTo>
                    <a:pt x="101" y="743"/>
                  </a:lnTo>
                  <a:lnTo>
                    <a:pt x="96" y="738"/>
                  </a:lnTo>
                  <a:lnTo>
                    <a:pt x="95" y="733"/>
                  </a:lnTo>
                  <a:lnTo>
                    <a:pt x="93" y="730"/>
                  </a:lnTo>
                  <a:lnTo>
                    <a:pt x="93" y="725"/>
                  </a:lnTo>
                  <a:lnTo>
                    <a:pt x="99" y="719"/>
                  </a:lnTo>
                  <a:lnTo>
                    <a:pt x="101" y="717"/>
                  </a:lnTo>
                  <a:lnTo>
                    <a:pt x="102" y="715"/>
                  </a:lnTo>
                  <a:lnTo>
                    <a:pt x="96" y="712"/>
                  </a:lnTo>
                  <a:lnTo>
                    <a:pt x="95" y="711"/>
                  </a:lnTo>
                  <a:lnTo>
                    <a:pt x="98" y="707"/>
                  </a:lnTo>
                  <a:lnTo>
                    <a:pt x="105" y="703"/>
                  </a:lnTo>
                  <a:lnTo>
                    <a:pt x="107" y="701"/>
                  </a:lnTo>
                  <a:lnTo>
                    <a:pt x="108" y="699"/>
                  </a:lnTo>
                  <a:lnTo>
                    <a:pt x="110" y="690"/>
                  </a:lnTo>
                  <a:lnTo>
                    <a:pt x="111" y="685"/>
                  </a:lnTo>
                  <a:lnTo>
                    <a:pt x="113" y="679"/>
                  </a:lnTo>
                  <a:lnTo>
                    <a:pt x="93" y="681"/>
                  </a:lnTo>
                  <a:lnTo>
                    <a:pt x="84" y="682"/>
                  </a:lnTo>
                  <a:lnTo>
                    <a:pt x="80" y="681"/>
                  </a:lnTo>
                  <a:lnTo>
                    <a:pt x="75" y="677"/>
                  </a:lnTo>
                  <a:lnTo>
                    <a:pt x="74" y="676"/>
                  </a:lnTo>
                  <a:lnTo>
                    <a:pt x="70" y="677"/>
                  </a:lnTo>
                  <a:lnTo>
                    <a:pt x="68" y="682"/>
                  </a:lnTo>
                  <a:lnTo>
                    <a:pt x="60" y="681"/>
                  </a:lnTo>
                  <a:lnTo>
                    <a:pt x="51" y="677"/>
                  </a:lnTo>
                  <a:lnTo>
                    <a:pt x="45" y="677"/>
                  </a:lnTo>
                  <a:lnTo>
                    <a:pt x="39" y="678"/>
                  </a:lnTo>
                  <a:lnTo>
                    <a:pt x="34" y="676"/>
                  </a:lnTo>
                  <a:lnTo>
                    <a:pt x="25" y="669"/>
                  </a:lnTo>
                  <a:lnTo>
                    <a:pt x="21" y="660"/>
                  </a:lnTo>
                  <a:lnTo>
                    <a:pt x="16" y="656"/>
                  </a:lnTo>
                  <a:lnTo>
                    <a:pt x="15" y="654"/>
                  </a:lnTo>
                  <a:lnTo>
                    <a:pt x="15" y="652"/>
                  </a:lnTo>
                  <a:lnTo>
                    <a:pt x="17" y="643"/>
                  </a:lnTo>
                  <a:lnTo>
                    <a:pt x="16" y="646"/>
                  </a:lnTo>
                  <a:lnTo>
                    <a:pt x="11" y="640"/>
                  </a:lnTo>
                  <a:lnTo>
                    <a:pt x="4" y="624"/>
                  </a:lnTo>
                  <a:lnTo>
                    <a:pt x="0" y="617"/>
                  </a:lnTo>
                  <a:lnTo>
                    <a:pt x="0" y="614"/>
                  </a:lnTo>
                  <a:lnTo>
                    <a:pt x="4" y="614"/>
                  </a:lnTo>
                  <a:lnTo>
                    <a:pt x="9" y="613"/>
                  </a:lnTo>
                  <a:lnTo>
                    <a:pt x="11" y="611"/>
                  </a:lnTo>
                  <a:lnTo>
                    <a:pt x="13" y="611"/>
                  </a:lnTo>
                  <a:lnTo>
                    <a:pt x="17" y="613"/>
                  </a:lnTo>
                  <a:lnTo>
                    <a:pt x="21" y="619"/>
                  </a:lnTo>
                  <a:lnTo>
                    <a:pt x="25" y="622"/>
                  </a:lnTo>
                  <a:lnTo>
                    <a:pt x="30" y="624"/>
                  </a:lnTo>
                  <a:lnTo>
                    <a:pt x="31" y="626"/>
                  </a:lnTo>
                  <a:lnTo>
                    <a:pt x="35" y="636"/>
                  </a:lnTo>
                  <a:lnTo>
                    <a:pt x="35" y="638"/>
                  </a:lnTo>
                  <a:lnTo>
                    <a:pt x="37" y="637"/>
                  </a:lnTo>
                  <a:lnTo>
                    <a:pt x="40" y="634"/>
                  </a:lnTo>
                  <a:lnTo>
                    <a:pt x="42" y="629"/>
                  </a:lnTo>
                  <a:lnTo>
                    <a:pt x="46" y="628"/>
                  </a:lnTo>
                  <a:lnTo>
                    <a:pt x="51" y="629"/>
                  </a:lnTo>
                  <a:lnTo>
                    <a:pt x="55" y="629"/>
                  </a:lnTo>
                  <a:lnTo>
                    <a:pt x="61" y="626"/>
                  </a:lnTo>
                  <a:lnTo>
                    <a:pt x="59" y="625"/>
                  </a:lnTo>
                  <a:lnTo>
                    <a:pt x="57" y="622"/>
                  </a:lnTo>
                  <a:lnTo>
                    <a:pt x="53" y="618"/>
                  </a:lnTo>
                  <a:lnTo>
                    <a:pt x="54" y="614"/>
                  </a:lnTo>
                  <a:lnTo>
                    <a:pt x="60" y="612"/>
                  </a:lnTo>
                  <a:lnTo>
                    <a:pt x="66" y="611"/>
                  </a:lnTo>
                  <a:lnTo>
                    <a:pt x="70" y="613"/>
                  </a:lnTo>
                  <a:lnTo>
                    <a:pt x="70" y="620"/>
                  </a:lnTo>
                  <a:lnTo>
                    <a:pt x="78" y="624"/>
                  </a:lnTo>
                  <a:lnTo>
                    <a:pt x="76" y="625"/>
                  </a:lnTo>
                  <a:lnTo>
                    <a:pt x="82" y="626"/>
                  </a:lnTo>
                  <a:lnTo>
                    <a:pt x="92" y="630"/>
                  </a:lnTo>
                  <a:lnTo>
                    <a:pt x="94" y="631"/>
                  </a:lnTo>
                  <a:lnTo>
                    <a:pt x="95" y="629"/>
                  </a:lnTo>
                  <a:lnTo>
                    <a:pt x="96" y="624"/>
                  </a:lnTo>
                  <a:lnTo>
                    <a:pt x="102" y="626"/>
                  </a:lnTo>
                  <a:lnTo>
                    <a:pt x="116" y="634"/>
                  </a:lnTo>
                  <a:lnTo>
                    <a:pt x="118" y="635"/>
                  </a:lnTo>
                  <a:lnTo>
                    <a:pt x="120" y="632"/>
                  </a:lnTo>
                  <a:lnTo>
                    <a:pt x="123" y="628"/>
                  </a:lnTo>
                  <a:lnTo>
                    <a:pt x="125" y="626"/>
                  </a:lnTo>
                  <a:lnTo>
                    <a:pt x="127" y="628"/>
                  </a:lnTo>
                  <a:lnTo>
                    <a:pt x="131" y="628"/>
                  </a:lnTo>
                  <a:lnTo>
                    <a:pt x="140" y="625"/>
                  </a:lnTo>
                  <a:lnTo>
                    <a:pt x="147" y="625"/>
                  </a:lnTo>
                  <a:lnTo>
                    <a:pt x="149" y="624"/>
                  </a:lnTo>
                  <a:lnTo>
                    <a:pt x="146" y="622"/>
                  </a:lnTo>
                  <a:lnTo>
                    <a:pt x="136" y="614"/>
                  </a:lnTo>
                  <a:lnTo>
                    <a:pt x="135" y="610"/>
                  </a:lnTo>
                  <a:lnTo>
                    <a:pt x="133" y="607"/>
                  </a:lnTo>
                  <a:lnTo>
                    <a:pt x="129" y="607"/>
                  </a:lnTo>
                  <a:lnTo>
                    <a:pt x="127" y="605"/>
                  </a:lnTo>
                  <a:lnTo>
                    <a:pt x="124" y="601"/>
                  </a:lnTo>
                  <a:lnTo>
                    <a:pt x="122" y="599"/>
                  </a:lnTo>
                  <a:lnTo>
                    <a:pt x="123" y="594"/>
                  </a:lnTo>
                  <a:lnTo>
                    <a:pt x="129" y="590"/>
                  </a:lnTo>
                  <a:lnTo>
                    <a:pt x="130" y="587"/>
                  </a:lnTo>
                  <a:lnTo>
                    <a:pt x="133" y="583"/>
                  </a:lnTo>
                  <a:lnTo>
                    <a:pt x="139" y="582"/>
                  </a:lnTo>
                  <a:lnTo>
                    <a:pt x="145" y="578"/>
                  </a:lnTo>
                  <a:lnTo>
                    <a:pt x="152" y="572"/>
                  </a:lnTo>
                  <a:lnTo>
                    <a:pt x="157" y="568"/>
                  </a:lnTo>
                  <a:lnTo>
                    <a:pt x="159" y="566"/>
                  </a:lnTo>
                  <a:lnTo>
                    <a:pt x="159" y="564"/>
                  </a:lnTo>
                  <a:lnTo>
                    <a:pt x="160" y="562"/>
                  </a:lnTo>
                  <a:lnTo>
                    <a:pt x="163" y="562"/>
                  </a:lnTo>
                  <a:lnTo>
                    <a:pt x="173" y="568"/>
                  </a:lnTo>
                  <a:lnTo>
                    <a:pt x="183" y="564"/>
                  </a:lnTo>
                  <a:lnTo>
                    <a:pt x="188" y="563"/>
                  </a:lnTo>
                  <a:lnTo>
                    <a:pt x="192" y="560"/>
                  </a:lnTo>
                  <a:lnTo>
                    <a:pt x="196" y="554"/>
                  </a:lnTo>
                  <a:lnTo>
                    <a:pt x="201" y="552"/>
                  </a:lnTo>
                  <a:lnTo>
                    <a:pt x="202" y="551"/>
                  </a:lnTo>
                  <a:lnTo>
                    <a:pt x="204" y="547"/>
                  </a:lnTo>
                  <a:lnTo>
                    <a:pt x="205" y="547"/>
                  </a:lnTo>
                  <a:lnTo>
                    <a:pt x="206" y="551"/>
                  </a:lnTo>
                  <a:lnTo>
                    <a:pt x="211" y="558"/>
                  </a:lnTo>
                  <a:lnTo>
                    <a:pt x="216" y="558"/>
                  </a:lnTo>
                  <a:lnTo>
                    <a:pt x="218" y="557"/>
                  </a:lnTo>
                  <a:lnTo>
                    <a:pt x="220" y="554"/>
                  </a:lnTo>
                  <a:lnTo>
                    <a:pt x="224" y="549"/>
                  </a:lnTo>
                  <a:lnTo>
                    <a:pt x="226" y="547"/>
                  </a:lnTo>
                  <a:lnTo>
                    <a:pt x="226" y="542"/>
                  </a:lnTo>
                  <a:lnTo>
                    <a:pt x="226" y="540"/>
                  </a:lnTo>
                  <a:lnTo>
                    <a:pt x="223" y="537"/>
                  </a:lnTo>
                  <a:lnTo>
                    <a:pt x="219" y="539"/>
                  </a:lnTo>
                  <a:lnTo>
                    <a:pt x="216" y="543"/>
                  </a:lnTo>
                  <a:lnTo>
                    <a:pt x="214" y="543"/>
                  </a:lnTo>
                  <a:lnTo>
                    <a:pt x="212" y="541"/>
                  </a:lnTo>
                  <a:lnTo>
                    <a:pt x="210" y="537"/>
                  </a:lnTo>
                  <a:lnTo>
                    <a:pt x="208" y="535"/>
                  </a:lnTo>
                  <a:lnTo>
                    <a:pt x="206" y="534"/>
                  </a:lnTo>
                  <a:lnTo>
                    <a:pt x="201" y="535"/>
                  </a:lnTo>
                  <a:lnTo>
                    <a:pt x="199" y="539"/>
                  </a:lnTo>
                  <a:lnTo>
                    <a:pt x="199" y="542"/>
                  </a:lnTo>
                  <a:lnTo>
                    <a:pt x="196" y="543"/>
                  </a:lnTo>
                  <a:lnTo>
                    <a:pt x="193" y="541"/>
                  </a:lnTo>
                  <a:lnTo>
                    <a:pt x="185" y="537"/>
                  </a:lnTo>
                  <a:lnTo>
                    <a:pt x="179" y="535"/>
                  </a:lnTo>
                  <a:lnTo>
                    <a:pt x="173" y="533"/>
                  </a:lnTo>
                  <a:lnTo>
                    <a:pt x="171" y="534"/>
                  </a:lnTo>
                  <a:lnTo>
                    <a:pt x="171" y="536"/>
                  </a:lnTo>
                  <a:lnTo>
                    <a:pt x="173" y="539"/>
                  </a:lnTo>
                  <a:lnTo>
                    <a:pt x="179" y="545"/>
                  </a:lnTo>
                  <a:lnTo>
                    <a:pt x="179" y="546"/>
                  </a:lnTo>
                  <a:lnTo>
                    <a:pt x="176" y="546"/>
                  </a:lnTo>
                  <a:lnTo>
                    <a:pt x="166" y="543"/>
                  </a:lnTo>
                  <a:lnTo>
                    <a:pt x="161" y="543"/>
                  </a:lnTo>
                  <a:lnTo>
                    <a:pt x="157" y="551"/>
                  </a:lnTo>
                  <a:lnTo>
                    <a:pt x="154" y="552"/>
                  </a:lnTo>
                  <a:lnTo>
                    <a:pt x="151" y="551"/>
                  </a:lnTo>
                  <a:lnTo>
                    <a:pt x="146" y="549"/>
                  </a:lnTo>
                  <a:lnTo>
                    <a:pt x="145" y="543"/>
                  </a:lnTo>
                  <a:lnTo>
                    <a:pt x="147" y="537"/>
                  </a:lnTo>
                  <a:lnTo>
                    <a:pt x="143" y="536"/>
                  </a:lnTo>
                  <a:lnTo>
                    <a:pt x="130" y="536"/>
                  </a:lnTo>
                  <a:lnTo>
                    <a:pt x="130" y="539"/>
                  </a:lnTo>
                  <a:lnTo>
                    <a:pt x="129" y="541"/>
                  </a:lnTo>
                  <a:lnTo>
                    <a:pt x="124" y="543"/>
                  </a:lnTo>
                  <a:lnTo>
                    <a:pt x="119" y="543"/>
                  </a:lnTo>
                  <a:lnTo>
                    <a:pt x="118" y="540"/>
                  </a:lnTo>
                  <a:lnTo>
                    <a:pt x="116" y="540"/>
                  </a:lnTo>
                  <a:lnTo>
                    <a:pt x="107" y="545"/>
                  </a:lnTo>
                  <a:lnTo>
                    <a:pt x="104" y="547"/>
                  </a:lnTo>
                  <a:lnTo>
                    <a:pt x="101" y="548"/>
                  </a:lnTo>
                  <a:lnTo>
                    <a:pt x="98" y="545"/>
                  </a:lnTo>
                  <a:lnTo>
                    <a:pt x="90" y="540"/>
                  </a:lnTo>
                  <a:lnTo>
                    <a:pt x="88" y="537"/>
                  </a:lnTo>
                  <a:lnTo>
                    <a:pt x="88" y="535"/>
                  </a:lnTo>
                  <a:lnTo>
                    <a:pt x="90" y="531"/>
                  </a:lnTo>
                  <a:lnTo>
                    <a:pt x="88" y="529"/>
                  </a:lnTo>
                  <a:lnTo>
                    <a:pt x="82" y="527"/>
                  </a:lnTo>
                  <a:lnTo>
                    <a:pt x="78" y="523"/>
                  </a:lnTo>
                  <a:lnTo>
                    <a:pt x="76" y="515"/>
                  </a:lnTo>
                  <a:lnTo>
                    <a:pt x="78" y="512"/>
                  </a:lnTo>
                  <a:lnTo>
                    <a:pt x="83" y="512"/>
                  </a:lnTo>
                  <a:lnTo>
                    <a:pt x="90" y="513"/>
                  </a:lnTo>
                  <a:lnTo>
                    <a:pt x="95" y="517"/>
                  </a:lnTo>
                  <a:lnTo>
                    <a:pt x="101" y="522"/>
                  </a:lnTo>
                  <a:lnTo>
                    <a:pt x="102" y="521"/>
                  </a:lnTo>
                  <a:lnTo>
                    <a:pt x="101" y="516"/>
                  </a:lnTo>
                  <a:lnTo>
                    <a:pt x="100" y="515"/>
                  </a:lnTo>
                  <a:lnTo>
                    <a:pt x="102" y="512"/>
                  </a:lnTo>
                  <a:lnTo>
                    <a:pt x="106" y="507"/>
                  </a:lnTo>
                  <a:lnTo>
                    <a:pt x="110" y="501"/>
                  </a:lnTo>
                  <a:lnTo>
                    <a:pt x="116" y="498"/>
                  </a:lnTo>
                  <a:lnTo>
                    <a:pt x="122" y="493"/>
                  </a:lnTo>
                  <a:lnTo>
                    <a:pt x="123" y="488"/>
                  </a:lnTo>
                  <a:lnTo>
                    <a:pt x="124" y="486"/>
                  </a:lnTo>
                  <a:lnTo>
                    <a:pt x="123" y="485"/>
                  </a:lnTo>
                  <a:lnTo>
                    <a:pt x="112" y="480"/>
                  </a:lnTo>
                  <a:lnTo>
                    <a:pt x="108" y="476"/>
                  </a:lnTo>
                  <a:lnTo>
                    <a:pt x="107" y="468"/>
                  </a:lnTo>
                  <a:lnTo>
                    <a:pt x="107" y="452"/>
                  </a:lnTo>
                  <a:lnTo>
                    <a:pt x="108" y="447"/>
                  </a:lnTo>
                  <a:lnTo>
                    <a:pt x="110" y="442"/>
                  </a:lnTo>
                  <a:lnTo>
                    <a:pt x="104" y="440"/>
                  </a:lnTo>
                  <a:lnTo>
                    <a:pt x="100" y="438"/>
                  </a:lnTo>
                  <a:lnTo>
                    <a:pt x="96" y="433"/>
                  </a:lnTo>
                  <a:lnTo>
                    <a:pt x="94" y="424"/>
                  </a:lnTo>
                  <a:lnTo>
                    <a:pt x="98" y="418"/>
                  </a:lnTo>
                  <a:lnTo>
                    <a:pt x="104" y="412"/>
                  </a:lnTo>
                  <a:lnTo>
                    <a:pt x="106" y="406"/>
                  </a:lnTo>
                  <a:lnTo>
                    <a:pt x="104" y="402"/>
                  </a:lnTo>
                  <a:lnTo>
                    <a:pt x="104" y="396"/>
                  </a:lnTo>
                  <a:lnTo>
                    <a:pt x="108" y="390"/>
                  </a:lnTo>
                  <a:lnTo>
                    <a:pt x="112" y="385"/>
                  </a:lnTo>
                  <a:lnTo>
                    <a:pt x="111" y="378"/>
                  </a:lnTo>
                  <a:lnTo>
                    <a:pt x="111" y="376"/>
                  </a:lnTo>
                  <a:lnTo>
                    <a:pt x="113" y="375"/>
                  </a:lnTo>
                  <a:lnTo>
                    <a:pt x="119" y="378"/>
                  </a:lnTo>
                  <a:lnTo>
                    <a:pt x="125" y="380"/>
                  </a:lnTo>
                  <a:lnTo>
                    <a:pt x="133" y="378"/>
                  </a:lnTo>
                  <a:lnTo>
                    <a:pt x="135" y="378"/>
                  </a:lnTo>
                  <a:lnTo>
                    <a:pt x="137" y="379"/>
                  </a:lnTo>
                  <a:lnTo>
                    <a:pt x="141" y="382"/>
                  </a:lnTo>
                  <a:lnTo>
                    <a:pt x="146" y="385"/>
                  </a:lnTo>
                  <a:lnTo>
                    <a:pt x="151" y="382"/>
                  </a:lnTo>
                  <a:lnTo>
                    <a:pt x="152" y="382"/>
                  </a:lnTo>
                  <a:lnTo>
                    <a:pt x="153" y="385"/>
                  </a:lnTo>
                  <a:lnTo>
                    <a:pt x="154" y="393"/>
                  </a:lnTo>
                  <a:lnTo>
                    <a:pt x="155" y="396"/>
                  </a:lnTo>
                  <a:lnTo>
                    <a:pt x="159" y="398"/>
                  </a:lnTo>
                  <a:lnTo>
                    <a:pt x="164" y="399"/>
                  </a:lnTo>
                  <a:lnTo>
                    <a:pt x="166" y="396"/>
                  </a:lnTo>
                  <a:lnTo>
                    <a:pt x="169" y="391"/>
                  </a:lnTo>
                  <a:lnTo>
                    <a:pt x="167" y="387"/>
                  </a:lnTo>
                  <a:lnTo>
                    <a:pt x="163" y="384"/>
                  </a:lnTo>
                  <a:lnTo>
                    <a:pt x="152" y="379"/>
                  </a:lnTo>
                  <a:lnTo>
                    <a:pt x="148" y="378"/>
                  </a:lnTo>
                  <a:lnTo>
                    <a:pt x="148" y="374"/>
                  </a:lnTo>
                  <a:lnTo>
                    <a:pt x="151" y="366"/>
                  </a:lnTo>
                  <a:lnTo>
                    <a:pt x="153" y="361"/>
                  </a:lnTo>
                  <a:lnTo>
                    <a:pt x="152" y="356"/>
                  </a:lnTo>
                  <a:lnTo>
                    <a:pt x="155" y="355"/>
                  </a:lnTo>
                  <a:lnTo>
                    <a:pt x="161" y="356"/>
                  </a:lnTo>
                  <a:lnTo>
                    <a:pt x="169" y="357"/>
                  </a:lnTo>
                  <a:lnTo>
                    <a:pt x="176" y="363"/>
                  </a:lnTo>
                  <a:lnTo>
                    <a:pt x="181" y="367"/>
                  </a:lnTo>
                  <a:lnTo>
                    <a:pt x="185" y="366"/>
                  </a:lnTo>
                  <a:lnTo>
                    <a:pt x="185" y="364"/>
                  </a:lnTo>
                  <a:lnTo>
                    <a:pt x="183" y="362"/>
                  </a:lnTo>
                  <a:lnTo>
                    <a:pt x="173" y="351"/>
                  </a:lnTo>
                  <a:lnTo>
                    <a:pt x="166" y="349"/>
                  </a:lnTo>
                  <a:lnTo>
                    <a:pt x="166" y="344"/>
                  </a:lnTo>
                  <a:lnTo>
                    <a:pt x="171" y="332"/>
                  </a:lnTo>
                  <a:lnTo>
                    <a:pt x="175" y="331"/>
                  </a:lnTo>
                  <a:lnTo>
                    <a:pt x="179" y="331"/>
                  </a:lnTo>
                  <a:lnTo>
                    <a:pt x="183" y="328"/>
                  </a:lnTo>
                  <a:lnTo>
                    <a:pt x="188" y="331"/>
                  </a:lnTo>
                  <a:lnTo>
                    <a:pt x="193" y="331"/>
                  </a:lnTo>
                  <a:lnTo>
                    <a:pt x="195" y="332"/>
                  </a:lnTo>
                  <a:lnTo>
                    <a:pt x="196" y="337"/>
                  </a:lnTo>
                  <a:lnTo>
                    <a:pt x="196" y="345"/>
                  </a:lnTo>
                  <a:lnTo>
                    <a:pt x="198" y="348"/>
                  </a:lnTo>
                  <a:lnTo>
                    <a:pt x="200" y="345"/>
                  </a:lnTo>
                  <a:lnTo>
                    <a:pt x="206" y="343"/>
                  </a:lnTo>
                  <a:lnTo>
                    <a:pt x="208" y="339"/>
                  </a:lnTo>
                  <a:lnTo>
                    <a:pt x="211" y="335"/>
                  </a:lnTo>
                  <a:lnTo>
                    <a:pt x="210" y="333"/>
                  </a:lnTo>
                  <a:lnTo>
                    <a:pt x="207" y="332"/>
                  </a:lnTo>
                  <a:lnTo>
                    <a:pt x="206" y="332"/>
                  </a:lnTo>
                  <a:lnTo>
                    <a:pt x="205" y="331"/>
                  </a:lnTo>
                  <a:lnTo>
                    <a:pt x="204" y="327"/>
                  </a:lnTo>
                  <a:lnTo>
                    <a:pt x="204" y="317"/>
                  </a:lnTo>
                  <a:lnTo>
                    <a:pt x="202" y="315"/>
                  </a:lnTo>
                  <a:lnTo>
                    <a:pt x="200" y="314"/>
                  </a:lnTo>
                  <a:lnTo>
                    <a:pt x="189" y="314"/>
                  </a:lnTo>
                  <a:lnTo>
                    <a:pt x="182" y="309"/>
                  </a:lnTo>
                  <a:lnTo>
                    <a:pt x="178" y="305"/>
                  </a:lnTo>
                  <a:lnTo>
                    <a:pt x="178" y="304"/>
                  </a:lnTo>
                  <a:lnTo>
                    <a:pt x="182" y="297"/>
                  </a:lnTo>
                  <a:lnTo>
                    <a:pt x="188" y="291"/>
                  </a:lnTo>
                  <a:lnTo>
                    <a:pt x="193" y="289"/>
                  </a:lnTo>
                  <a:lnTo>
                    <a:pt x="195" y="286"/>
                  </a:lnTo>
                  <a:lnTo>
                    <a:pt x="200" y="287"/>
                  </a:lnTo>
                  <a:lnTo>
                    <a:pt x="210" y="291"/>
                  </a:lnTo>
                  <a:lnTo>
                    <a:pt x="218" y="291"/>
                  </a:lnTo>
                  <a:lnTo>
                    <a:pt x="225" y="291"/>
                  </a:lnTo>
                  <a:lnTo>
                    <a:pt x="232" y="290"/>
                  </a:lnTo>
                  <a:lnTo>
                    <a:pt x="240" y="291"/>
                  </a:lnTo>
                  <a:lnTo>
                    <a:pt x="243" y="291"/>
                  </a:lnTo>
                  <a:lnTo>
                    <a:pt x="247" y="291"/>
                  </a:lnTo>
                  <a:lnTo>
                    <a:pt x="249" y="289"/>
                  </a:lnTo>
                  <a:lnTo>
                    <a:pt x="252" y="284"/>
                  </a:lnTo>
                  <a:lnTo>
                    <a:pt x="253" y="280"/>
                  </a:lnTo>
                  <a:lnTo>
                    <a:pt x="257" y="277"/>
                  </a:lnTo>
                  <a:lnTo>
                    <a:pt x="263" y="272"/>
                  </a:lnTo>
                  <a:lnTo>
                    <a:pt x="264" y="269"/>
                  </a:lnTo>
                  <a:lnTo>
                    <a:pt x="263" y="268"/>
                  </a:lnTo>
                  <a:lnTo>
                    <a:pt x="258" y="268"/>
                  </a:lnTo>
                  <a:lnTo>
                    <a:pt x="254" y="268"/>
                  </a:lnTo>
                  <a:lnTo>
                    <a:pt x="248" y="272"/>
                  </a:lnTo>
                  <a:lnTo>
                    <a:pt x="246" y="266"/>
                  </a:lnTo>
                  <a:lnTo>
                    <a:pt x="242" y="263"/>
                  </a:lnTo>
                  <a:lnTo>
                    <a:pt x="237" y="262"/>
                  </a:lnTo>
                  <a:lnTo>
                    <a:pt x="238" y="261"/>
                  </a:lnTo>
                  <a:lnTo>
                    <a:pt x="236" y="257"/>
                  </a:lnTo>
                  <a:lnTo>
                    <a:pt x="226" y="251"/>
                  </a:lnTo>
                  <a:lnTo>
                    <a:pt x="223" y="248"/>
                  </a:lnTo>
                  <a:lnTo>
                    <a:pt x="230" y="247"/>
                  </a:lnTo>
                  <a:lnTo>
                    <a:pt x="236" y="248"/>
                  </a:lnTo>
                  <a:lnTo>
                    <a:pt x="237" y="250"/>
                  </a:lnTo>
                  <a:lnTo>
                    <a:pt x="242" y="250"/>
                  </a:lnTo>
                  <a:lnTo>
                    <a:pt x="246" y="250"/>
                  </a:lnTo>
                  <a:lnTo>
                    <a:pt x="247" y="249"/>
                  </a:lnTo>
                  <a:lnTo>
                    <a:pt x="248" y="248"/>
                  </a:lnTo>
                  <a:lnTo>
                    <a:pt x="251" y="244"/>
                  </a:lnTo>
                  <a:lnTo>
                    <a:pt x="254" y="236"/>
                  </a:lnTo>
                  <a:lnTo>
                    <a:pt x="255" y="239"/>
                  </a:lnTo>
                  <a:lnTo>
                    <a:pt x="259" y="239"/>
                  </a:lnTo>
                  <a:lnTo>
                    <a:pt x="260" y="242"/>
                  </a:lnTo>
                  <a:lnTo>
                    <a:pt x="263" y="248"/>
                  </a:lnTo>
                  <a:lnTo>
                    <a:pt x="267" y="251"/>
                  </a:lnTo>
                  <a:lnTo>
                    <a:pt x="269" y="253"/>
                  </a:lnTo>
                  <a:lnTo>
                    <a:pt x="271" y="249"/>
                  </a:lnTo>
                  <a:lnTo>
                    <a:pt x="279" y="238"/>
                  </a:lnTo>
                  <a:lnTo>
                    <a:pt x="284" y="235"/>
                  </a:lnTo>
                  <a:lnTo>
                    <a:pt x="284" y="231"/>
                  </a:lnTo>
                  <a:lnTo>
                    <a:pt x="277" y="227"/>
                  </a:lnTo>
                  <a:lnTo>
                    <a:pt x="273" y="225"/>
                  </a:lnTo>
                  <a:lnTo>
                    <a:pt x="265" y="225"/>
                  </a:lnTo>
                  <a:lnTo>
                    <a:pt x="255" y="227"/>
                  </a:lnTo>
                  <a:lnTo>
                    <a:pt x="251" y="227"/>
                  </a:lnTo>
                  <a:lnTo>
                    <a:pt x="248" y="226"/>
                  </a:lnTo>
                  <a:lnTo>
                    <a:pt x="244" y="225"/>
                  </a:lnTo>
                  <a:lnTo>
                    <a:pt x="241" y="225"/>
                  </a:lnTo>
                  <a:lnTo>
                    <a:pt x="235" y="222"/>
                  </a:lnTo>
                  <a:lnTo>
                    <a:pt x="217" y="218"/>
                  </a:lnTo>
                  <a:lnTo>
                    <a:pt x="214" y="215"/>
                  </a:lnTo>
                  <a:lnTo>
                    <a:pt x="206" y="215"/>
                  </a:lnTo>
                  <a:lnTo>
                    <a:pt x="194" y="221"/>
                  </a:lnTo>
                  <a:lnTo>
                    <a:pt x="185" y="226"/>
                  </a:lnTo>
                  <a:lnTo>
                    <a:pt x="173" y="228"/>
                  </a:lnTo>
                  <a:lnTo>
                    <a:pt x="165" y="231"/>
                  </a:lnTo>
                  <a:lnTo>
                    <a:pt x="147" y="232"/>
                  </a:lnTo>
                  <a:lnTo>
                    <a:pt x="143" y="235"/>
                  </a:lnTo>
                  <a:lnTo>
                    <a:pt x="140" y="238"/>
                  </a:lnTo>
                  <a:lnTo>
                    <a:pt x="134" y="238"/>
                  </a:lnTo>
                  <a:lnTo>
                    <a:pt x="130" y="236"/>
                  </a:lnTo>
                  <a:lnTo>
                    <a:pt x="125" y="236"/>
                  </a:lnTo>
                  <a:lnTo>
                    <a:pt x="118" y="233"/>
                  </a:lnTo>
                  <a:lnTo>
                    <a:pt x="111" y="230"/>
                  </a:lnTo>
                  <a:lnTo>
                    <a:pt x="108" y="225"/>
                  </a:lnTo>
                  <a:lnTo>
                    <a:pt x="111" y="219"/>
                  </a:lnTo>
                  <a:lnTo>
                    <a:pt x="116" y="215"/>
                  </a:lnTo>
                  <a:lnTo>
                    <a:pt x="119" y="214"/>
                  </a:lnTo>
                  <a:lnTo>
                    <a:pt x="120" y="209"/>
                  </a:lnTo>
                  <a:lnTo>
                    <a:pt x="118" y="203"/>
                  </a:lnTo>
                  <a:lnTo>
                    <a:pt x="123" y="203"/>
                  </a:lnTo>
                  <a:lnTo>
                    <a:pt x="133" y="203"/>
                  </a:lnTo>
                  <a:lnTo>
                    <a:pt x="137" y="201"/>
                  </a:lnTo>
                  <a:lnTo>
                    <a:pt x="142" y="202"/>
                  </a:lnTo>
                  <a:lnTo>
                    <a:pt x="147" y="200"/>
                  </a:lnTo>
                  <a:lnTo>
                    <a:pt x="147" y="195"/>
                  </a:lnTo>
                  <a:lnTo>
                    <a:pt x="151" y="192"/>
                  </a:lnTo>
                  <a:lnTo>
                    <a:pt x="154" y="188"/>
                  </a:lnTo>
                  <a:lnTo>
                    <a:pt x="157" y="185"/>
                  </a:lnTo>
                  <a:lnTo>
                    <a:pt x="165" y="183"/>
                  </a:lnTo>
                  <a:lnTo>
                    <a:pt x="167" y="182"/>
                  </a:lnTo>
                  <a:lnTo>
                    <a:pt x="169" y="179"/>
                  </a:lnTo>
                  <a:lnTo>
                    <a:pt x="163" y="173"/>
                  </a:lnTo>
                  <a:lnTo>
                    <a:pt x="155" y="170"/>
                  </a:lnTo>
                  <a:lnTo>
                    <a:pt x="155" y="173"/>
                  </a:lnTo>
                  <a:lnTo>
                    <a:pt x="154" y="174"/>
                  </a:lnTo>
                  <a:lnTo>
                    <a:pt x="149" y="173"/>
                  </a:lnTo>
                  <a:lnTo>
                    <a:pt x="139" y="172"/>
                  </a:lnTo>
                  <a:lnTo>
                    <a:pt x="136" y="172"/>
                  </a:lnTo>
                  <a:lnTo>
                    <a:pt x="136" y="168"/>
                  </a:lnTo>
                  <a:lnTo>
                    <a:pt x="139" y="162"/>
                  </a:lnTo>
                  <a:lnTo>
                    <a:pt x="142" y="159"/>
                  </a:lnTo>
                  <a:lnTo>
                    <a:pt x="143" y="155"/>
                  </a:lnTo>
                  <a:lnTo>
                    <a:pt x="143" y="150"/>
                  </a:lnTo>
                  <a:lnTo>
                    <a:pt x="142" y="144"/>
                  </a:lnTo>
                  <a:lnTo>
                    <a:pt x="145" y="141"/>
                  </a:lnTo>
                  <a:lnTo>
                    <a:pt x="145" y="137"/>
                  </a:lnTo>
                  <a:lnTo>
                    <a:pt x="149" y="137"/>
                  </a:lnTo>
                  <a:lnTo>
                    <a:pt x="157" y="140"/>
                  </a:lnTo>
                  <a:lnTo>
                    <a:pt x="164" y="138"/>
                  </a:lnTo>
                  <a:lnTo>
                    <a:pt x="171" y="137"/>
                  </a:lnTo>
                  <a:lnTo>
                    <a:pt x="173" y="134"/>
                  </a:lnTo>
                  <a:lnTo>
                    <a:pt x="176" y="128"/>
                  </a:lnTo>
                  <a:lnTo>
                    <a:pt x="181" y="126"/>
                  </a:lnTo>
                  <a:lnTo>
                    <a:pt x="185" y="130"/>
                  </a:lnTo>
                  <a:lnTo>
                    <a:pt x="190" y="130"/>
                  </a:lnTo>
                  <a:lnTo>
                    <a:pt x="198" y="129"/>
                  </a:lnTo>
                  <a:lnTo>
                    <a:pt x="202" y="126"/>
                  </a:lnTo>
                  <a:lnTo>
                    <a:pt x="204" y="125"/>
                  </a:lnTo>
                  <a:lnTo>
                    <a:pt x="205" y="123"/>
                  </a:lnTo>
                  <a:lnTo>
                    <a:pt x="200" y="123"/>
                  </a:lnTo>
                  <a:lnTo>
                    <a:pt x="192" y="125"/>
                  </a:lnTo>
                  <a:lnTo>
                    <a:pt x="189" y="121"/>
                  </a:lnTo>
                  <a:lnTo>
                    <a:pt x="188" y="113"/>
                  </a:lnTo>
                  <a:lnTo>
                    <a:pt x="184" y="112"/>
                  </a:lnTo>
                  <a:lnTo>
                    <a:pt x="183" y="111"/>
                  </a:lnTo>
                  <a:lnTo>
                    <a:pt x="185" y="108"/>
                  </a:lnTo>
                  <a:lnTo>
                    <a:pt x="190" y="103"/>
                  </a:lnTo>
                  <a:lnTo>
                    <a:pt x="192" y="100"/>
                  </a:lnTo>
                  <a:lnTo>
                    <a:pt x="195" y="96"/>
                  </a:lnTo>
                  <a:lnTo>
                    <a:pt x="202" y="97"/>
                  </a:lnTo>
                  <a:lnTo>
                    <a:pt x="211" y="99"/>
                  </a:lnTo>
                  <a:lnTo>
                    <a:pt x="213" y="99"/>
                  </a:lnTo>
                  <a:lnTo>
                    <a:pt x="214" y="101"/>
                  </a:lnTo>
                  <a:lnTo>
                    <a:pt x="214" y="106"/>
                  </a:lnTo>
                  <a:lnTo>
                    <a:pt x="219" y="107"/>
                  </a:lnTo>
                  <a:lnTo>
                    <a:pt x="224" y="107"/>
                  </a:lnTo>
                  <a:lnTo>
                    <a:pt x="225" y="107"/>
                  </a:lnTo>
                  <a:lnTo>
                    <a:pt x="226" y="111"/>
                  </a:lnTo>
                  <a:lnTo>
                    <a:pt x="229" y="108"/>
                  </a:lnTo>
                  <a:lnTo>
                    <a:pt x="232" y="97"/>
                  </a:lnTo>
                  <a:lnTo>
                    <a:pt x="241" y="89"/>
                  </a:lnTo>
                  <a:lnTo>
                    <a:pt x="246" y="85"/>
                  </a:lnTo>
                  <a:lnTo>
                    <a:pt x="249" y="85"/>
                  </a:lnTo>
                  <a:lnTo>
                    <a:pt x="253" y="87"/>
                  </a:lnTo>
                  <a:lnTo>
                    <a:pt x="257" y="84"/>
                  </a:lnTo>
                  <a:lnTo>
                    <a:pt x="263" y="79"/>
                  </a:lnTo>
                  <a:lnTo>
                    <a:pt x="264" y="79"/>
                  </a:lnTo>
                  <a:lnTo>
                    <a:pt x="267" y="78"/>
                  </a:lnTo>
                  <a:lnTo>
                    <a:pt x="275" y="72"/>
                  </a:lnTo>
                  <a:lnTo>
                    <a:pt x="279" y="71"/>
                  </a:lnTo>
                  <a:lnTo>
                    <a:pt x="281" y="70"/>
                  </a:lnTo>
                  <a:lnTo>
                    <a:pt x="279" y="67"/>
                  </a:lnTo>
                  <a:lnTo>
                    <a:pt x="277" y="65"/>
                  </a:lnTo>
                  <a:lnTo>
                    <a:pt x="273" y="60"/>
                  </a:lnTo>
                  <a:lnTo>
                    <a:pt x="272" y="60"/>
                  </a:lnTo>
                  <a:lnTo>
                    <a:pt x="272" y="57"/>
                  </a:lnTo>
                  <a:lnTo>
                    <a:pt x="275" y="49"/>
                  </a:lnTo>
                  <a:lnTo>
                    <a:pt x="278" y="45"/>
                  </a:lnTo>
                  <a:lnTo>
                    <a:pt x="281" y="45"/>
                  </a:lnTo>
                  <a:lnTo>
                    <a:pt x="281" y="42"/>
                  </a:lnTo>
                  <a:lnTo>
                    <a:pt x="276" y="40"/>
                  </a:lnTo>
                  <a:lnTo>
                    <a:pt x="276" y="35"/>
                  </a:lnTo>
                  <a:lnTo>
                    <a:pt x="281" y="30"/>
                  </a:lnTo>
                  <a:lnTo>
                    <a:pt x="283" y="28"/>
                  </a:lnTo>
                  <a:lnTo>
                    <a:pt x="288" y="29"/>
                  </a:lnTo>
                  <a:lnTo>
                    <a:pt x="295" y="27"/>
                  </a:lnTo>
                  <a:lnTo>
                    <a:pt x="297" y="24"/>
                  </a:lnTo>
                  <a:lnTo>
                    <a:pt x="294" y="21"/>
                  </a:lnTo>
                  <a:lnTo>
                    <a:pt x="293" y="19"/>
                  </a:lnTo>
                  <a:lnTo>
                    <a:pt x="296" y="18"/>
                  </a:lnTo>
                  <a:lnTo>
                    <a:pt x="305" y="18"/>
                  </a:lnTo>
                  <a:lnTo>
                    <a:pt x="312" y="19"/>
                  </a:lnTo>
                  <a:lnTo>
                    <a:pt x="317" y="18"/>
                  </a:lnTo>
                  <a:lnTo>
                    <a:pt x="322" y="19"/>
                  </a:lnTo>
                  <a:lnTo>
                    <a:pt x="324" y="19"/>
                  </a:lnTo>
                  <a:lnTo>
                    <a:pt x="328" y="17"/>
                  </a:lnTo>
                  <a:lnTo>
                    <a:pt x="331" y="12"/>
                  </a:lnTo>
                  <a:lnTo>
                    <a:pt x="334" y="10"/>
                  </a:lnTo>
                  <a:lnTo>
                    <a:pt x="335" y="7"/>
                  </a:lnTo>
                  <a:lnTo>
                    <a:pt x="335" y="6"/>
                  </a:lnTo>
                  <a:lnTo>
                    <a:pt x="338" y="6"/>
                  </a:lnTo>
                  <a:lnTo>
                    <a:pt x="346" y="6"/>
                  </a:lnTo>
                  <a:lnTo>
                    <a:pt x="352" y="10"/>
                  </a:lnTo>
                  <a:lnTo>
                    <a:pt x="355" y="14"/>
                  </a:lnTo>
                  <a:lnTo>
                    <a:pt x="359" y="14"/>
                  </a:lnTo>
                  <a:lnTo>
                    <a:pt x="361" y="14"/>
                  </a:lnTo>
                  <a:lnTo>
                    <a:pt x="365" y="12"/>
                  </a:lnTo>
                  <a:lnTo>
                    <a:pt x="375" y="4"/>
                  </a:lnTo>
                  <a:lnTo>
                    <a:pt x="388" y="0"/>
                  </a:lnTo>
                  <a:lnTo>
                    <a:pt x="390" y="0"/>
                  </a:lnTo>
                  <a:lnTo>
                    <a:pt x="393" y="2"/>
                  </a:lnTo>
                  <a:lnTo>
                    <a:pt x="401" y="8"/>
                  </a:lnTo>
                  <a:lnTo>
                    <a:pt x="406" y="14"/>
                  </a:lnTo>
                  <a:lnTo>
                    <a:pt x="409" y="16"/>
                  </a:lnTo>
                  <a:lnTo>
                    <a:pt x="414" y="11"/>
                  </a:lnTo>
                  <a:lnTo>
                    <a:pt x="419" y="13"/>
                  </a:lnTo>
                  <a:lnTo>
                    <a:pt x="423" y="19"/>
                  </a:lnTo>
                  <a:lnTo>
                    <a:pt x="425" y="21"/>
                  </a:lnTo>
                  <a:lnTo>
                    <a:pt x="429" y="22"/>
                  </a:lnTo>
                  <a:lnTo>
                    <a:pt x="428" y="24"/>
                  </a:lnTo>
                  <a:lnTo>
                    <a:pt x="430" y="23"/>
                  </a:lnTo>
                  <a:lnTo>
                    <a:pt x="435" y="18"/>
                  </a:lnTo>
                  <a:lnTo>
                    <a:pt x="438" y="16"/>
                  </a:lnTo>
                  <a:lnTo>
                    <a:pt x="440" y="11"/>
                  </a:lnTo>
                  <a:lnTo>
                    <a:pt x="442" y="10"/>
                  </a:lnTo>
                  <a:lnTo>
                    <a:pt x="447" y="12"/>
                  </a:lnTo>
                  <a:lnTo>
                    <a:pt x="454" y="19"/>
                  </a:lnTo>
                  <a:lnTo>
                    <a:pt x="458" y="22"/>
                  </a:lnTo>
                  <a:lnTo>
                    <a:pt x="460" y="24"/>
                  </a:lnTo>
                  <a:lnTo>
                    <a:pt x="461" y="28"/>
                  </a:lnTo>
                  <a:lnTo>
                    <a:pt x="462" y="35"/>
                  </a:lnTo>
                  <a:lnTo>
                    <a:pt x="465" y="45"/>
                  </a:lnTo>
                  <a:lnTo>
                    <a:pt x="461" y="51"/>
                  </a:lnTo>
                  <a:lnTo>
                    <a:pt x="458" y="54"/>
                  </a:lnTo>
                  <a:lnTo>
                    <a:pt x="456" y="58"/>
                  </a:lnTo>
                  <a:lnTo>
                    <a:pt x="456" y="61"/>
                  </a:lnTo>
                  <a:lnTo>
                    <a:pt x="458" y="66"/>
                  </a:lnTo>
                  <a:lnTo>
                    <a:pt x="462" y="71"/>
                  </a:lnTo>
                  <a:lnTo>
                    <a:pt x="466" y="70"/>
                  </a:lnTo>
                  <a:lnTo>
                    <a:pt x="468" y="67"/>
                  </a:lnTo>
                  <a:lnTo>
                    <a:pt x="472" y="65"/>
                  </a:lnTo>
                  <a:lnTo>
                    <a:pt x="473" y="69"/>
                  </a:lnTo>
                  <a:lnTo>
                    <a:pt x="473" y="75"/>
                  </a:lnTo>
                  <a:lnTo>
                    <a:pt x="470" y="79"/>
                  </a:lnTo>
                  <a:lnTo>
                    <a:pt x="466" y="83"/>
                  </a:lnTo>
                  <a:lnTo>
                    <a:pt x="465" y="85"/>
                  </a:lnTo>
                  <a:lnTo>
                    <a:pt x="466" y="87"/>
                  </a:lnTo>
                  <a:lnTo>
                    <a:pt x="470" y="87"/>
                  </a:lnTo>
                  <a:lnTo>
                    <a:pt x="472" y="88"/>
                  </a:lnTo>
                  <a:lnTo>
                    <a:pt x="476" y="90"/>
                  </a:lnTo>
                  <a:lnTo>
                    <a:pt x="479" y="93"/>
                  </a:lnTo>
                  <a:lnTo>
                    <a:pt x="483" y="94"/>
                  </a:lnTo>
                  <a:lnTo>
                    <a:pt x="488" y="90"/>
                  </a:lnTo>
                  <a:lnTo>
                    <a:pt x="495" y="88"/>
                  </a:lnTo>
                  <a:lnTo>
                    <a:pt x="496" y="85"/>
                  </a:lnTo>
                  <a:lnTo>
                    <a:pt x="497" y="83"/>
                  </a:lnTo>
                  <a:lnTo>
                    <a:pt x="499" y="82"/>
                  </a:lnTo>
                  <a:lnTo>
                    <a:pt x="495" y="81"/>
                  </a:lnTo>
                  <a:lnTo>
                    <a:pt x="489" y="76"/>
                  </a:lnTo>
                  <a:lnTo>
                    <a:pt x="487" y="72"/>
                  </a:lnTo>
                  <a:lnTo>
                    <a:pt x="488" y="67"/>
                  </a:lnTo>
                  <a:lnTo>
                    <a:pt x="490" y="66"/>
                  </a:lnTo>
                  <a:lnTo>
                    <a:pt x="499" y="69"/>
                  </a:lnTo>
                  <a:lnTo>
                    <a:pt x="503" y="72"/>
                  </a:lnTo>
                  <a:lnTo>
                    <a:pt x="503" y="76"/>
                  </a:lnTo>
                  <a:lnTo>
                    <a:pt x="505" y="79"/>
                  </a:lnTo>
                  <a:lnTo>
                    <a:pt x="507" y="79"/>
                  </a:lnTo>
                  <a:lnTo>
                    <a:pt x="509" y="76"/>
                  </a:lnTo>
                  <a:lnTo>
                    <a:pt x="512" y="75"/>
                  </a:lnTo>
                  <a:lnTo>
                    <a:pt x="518" y="72"/>
                  </a:lnTo>
                  <a:lnTo>
                    <a:pt x="525" y="69"/>
                  </a:lnTo>
                  <a:lnTo>
                    <a:pt x="529" y="69"/>
                  </a:lnTo>
                  <a:lnTo>
                    <a:pt x="532" y="71"/>
                  </a:lnTo>
                  <a:lnTo>
                    <a:pt x="533" y="76"/>
                  </a:lnTo>
                  <a:lnTo>
                    <a:pt x="535" y="82"/>
                  </a:lnTo>
                  <a:lnTo>
                    <a:pt x="536" y="85"/>
                  </a:lnTo>
                  <a:lnTo>
                    <a:pt x="538" y="87"/>
                  </a:lnTo>
                  <a:lnTo>
                    <a:pt x="541" y="83"/>
                  </a:lnTo>
                  <a:lnTo>
                    <a:pt x="547" y="81"/>
                  </a:lnTo>
                  <a:lnTo>
                    <a:pt x="555" y="82"/>
                  </a:lnTo>
                  <a:lnTo>
                    <a:pt x="555" y="85"/>
                  </a:lnTo>
                  <a:lnTo>
                    <a:pt x="555" y="90"/>
                  </a:lnTo>
                  <a:lnTo>
                    <a:pt x="558" y="91"/>
                  </a:lnTo>
                  <a:lnTo>
                    <a:pt x="560" y="94"/>
                  </a:lnTo>
                  <a:lnTo>
                    <a:pt x="558" y="97"/>
                  </a:lnTo>
                  <a:lnTo>
                    <a:pt x="559" y="100"/>
                  </a:lnTo>
                  <a:lnTo>
                    <a:pt x="558" y="102"/>
                  </a:lnTo>
                  <a:lnTo>
                    <a:pt x="554" y="102"/>
                  </a:lnTo>
                  <a:lnTo>
                    <a:pt x="554" y="106"/>
                  </a:lnTo>
                  <a:lnTo>
                    <a:pt x="554" y="113"/>
                  </a:lnTo>
                  <a:lnTo>
                    <a:pt x="553" y="115"/>
                  </a:lnTo>
                  <a:lnTo>
                    <a:pt x="544" y="115"/>
                  </a:lnTo>
                  <a:lnTo>
                    <a:pt x="542" y="114"/>
                  </a:lnTo>
                  <a:lnTo>
                    <a:pt x="539" y="115"/>
                  </a:lnTo>
                  <a:lnTo>
                    <a:pt x="537" y="118"/>
                  </a:lnTo>
                  <a:lnTo>
                    <a:pt x="535" y="120"/>
                  </a:lnTo>
                  <a:lnTo>
                    <a:pt x="536" y="125"/>
                  </a:lnTo>
                  <a:lnTo>
                    <a:pt x="536" y="124"/>
                  </a:lnTo>
                  <a:lnTo>
                    <a:pt x="539" y="121"/>
                  </a:lnTo>
                  <a:lnTo>
                    <a:pt x="548" y="121"/>
                  </a:lnTo>
                  <a:lnTo>
                    <a:pt x="554" y="121"/>
                  </a:lnTo>
                  <a:lnTo>
                    <a:pt x="555" y="124"/>
                  </a:lnTo>
                  <a:lnTo>
                    <a:pt x="556" y="128"/>
                  </a:lnTo>
                  <a:lnTo>
                    <a:pt x="559" y="126"/>
                  </a:lnTo>
                  <a:lnTo>
                    <a:pt x="561" y="120"/>
                  </a:lnTo>
                  <a:lnTo>
                    <a:pt x="562" y="117"/>
                  </a:lnTo>
                  <a:lnTo>
                    <a:pt x="567" y="115"/>
                  </a:lnTo>
                  <a:lnTo>
                    <a:pt x="572" y="114"/>
                  </a:lnTo>
                  <a:lnTo>
                    <a:pt x="576" y="115"/>
                  </a:lnTo>
                  <a:lnTo>
                    <a:pt x="582" y="119"/>
                  </a:lnTo>
                  <a:lnTo>
                    <a:pt x="588" y="121"/>
                  </a:lnTo>
                  <a:lnTo>
                    <a:pt x="598" y="121"/>
                  </a:lnTo>
                  <a:lnTo>
                    <a:pt x="602" y="121"/>
                  </a:lnTo>
                  <a:lnTo>
                    <a:pt x="603" y="124"/>
                  </a:lnTo>
                  <a:lnTo>
                    <a:pt x="603" y="126"/>
                  </a:lnTo>
                  <a:lnTo>
                    <a:pt x="603" y="129"/>
                  </a:lnTo>
                  <a:lnTo>
                    <a:pt x="606" y="130"/>
                  </a:lnTo>
                  <a:lnTo>
                    <a:pt x="609" y="130"/>
                  </a:lnTo>
                  <a:lnTo>
                    <a:pt x="612" y="129"/>
                  </a:lnTo>
                  <a:lnTo>
                    <a:pt x="614" y="120"/>
                  </a:lnTo>
                  <a:lnTo>
                    <a:pt x="618" y="115"/>
                  </a:lnTo>
                  <a:lnTo>
                    <a:pt x="621" y="113"/>
                  </a:lnTo>
                  <a:lnTo>
                    <a:pt x="626" y="113"/>
                  </a:lnTo>
                  <a:lnTo>
                    <a:pt x="633" y="113"/>
                  </a:lnTo>
                  <a:lnTo>
                    <a:pt x="638" y="109"/>
                  </a:lnTo>
                  <a:lnTo>
                    <a:pt x="641" y="107"/>
                  </a:lnTo>
                  <a:lnTo>
                    <a:pt x="647" y="109"/>
                  </a:lnTo>
                  <a:lnTo>
                    <a:pt x="653" y="109"/>
                  </a:lnTo>
                  <a:lnTo>
                    <a:pt x="656" y="109"/>
                  </a:lnTo>
                  <a:lnTo>
                    <a:pt x="660" y="113"/>
                  </a:lnTo>
                  <a:lnTo>
                    <a:pt x="663" y="113"/>
                  </a:lnTo>
                  <a:lnTo>
                    <a:pt x="667" y="111"/>
                  </a:lnTo>
                  <a:lnTo>
                    <a:pt x="671" y="111"/>
                  </a:lnTo>
                  <a:lnTo>
                    <a:pt x="674" y="114"/>
                  </a:lnTo>
                  <a:lnTo>
                    <a:pt x="680" y="114"/>
                  </a:lnTo>
                  <a:lnTo>
                    <a:pt x="690" y="108"/>
                  </a:lnTo>
                  <a:lnTo>
                    <a:pt x="696" y="105"/>
                  </a:lnTo>
                  <a:lnTo>
                    <a:pt x="702" y="103"/>
                  </a:lnTo>
                  <a:lnTo>
                    <a:pt x="708" y="103"/>
                  </a:lnTo>
                  <a:lnTo>
                    <a:pt x="709" y="107"/>
                  </a:lnTo>
                  <a:lnTo>
                    <a:pt x="707" y="112"/>
                  </a:lnTo>
                  <a:lnTo>
                    <a:pt x="707" y="114"/>
                  </a:lnTo>
                  <a:lnTo>
                    <a:pt x="709" y="117"/>
                  </a:lnTo>
                  <a:lnTo>
                    <a:pt x="715" y="119"/>
                  </a:lnTo>
                  <a:lnTo>
                    <a:pt x="718" y="120"/>
                  </a:lnTo>
                  <a:lnTo>
                    <a:pt x="716" y="124"/>
                  </a:lnTo>
                  <a:lnTo>
                    <a:pt x="716" y="125"/>
                  </a:lnTo>
                  <a:lnTo>
                    <a:pt x="720" y="126"/>
                  </a:lnTo>
                  <a:lnTo>
                    <a:pt x="721" y="124"/>
                  </a:lnTo>
                  <a:lnTo>
                    <a:pt x="724" y="121"/>
                  </a:lnTo>
                  <a:lnTo>
                    <a:pt x="727" y="121"/>
                  </a:lnTo>
                  <a:lnTo>
                    <a:pt x="731" y="129"/>
                  </a:lnTo>
                  <a:lnTo>
                    <a:pt x="733" y="132"/>
                  </a:lnTo>
                  <a:lnTo>
                    <a:pt x="736" y="136"/>
                  </a:lnTo>
                  <a:lnTo>
                    <a:pt x="737" y="140"/>
                  </a:lnTo>
                  <a:lnTo>
                    <a:pt x="741" y="141"/>
                  </a:lnTo>
                  <a:lnTo>
                    <a:pt x="743" y="138"/>
                  </a:lnTo>
                  <a:lnTo>
                    <a:pt x="747" y="137"/>
                  </a:lnTo>
                  <a:lnTo>
                    <a:pt x="754" y="141"/>
                  </a:lnTo>
                  <a:lnTo>
                    <a:pt x="760" y="143"/>
                  </a:lnTo>
                  <a:lnTo>
                    <a:pt x="762" y="137"/>
                  </a:lnTo>
                  <a:lnTo>
                    <a:pt x="765" y="136"/>
                  </a:lnTo>
                  <a:lnTo>
                    <a:pt x="767" y="138"/>
                  </a:lnTo>
                  <a:lnTo>
                    <a:pt x="773" y="143"/>
                  </a:lnTo>
                  <a:lnTo>
                    <a:pt x="777" y="146"/>
                  </a:lnTo>
                  <a:lnTo>
                    <a:pt x="784" y="147"/>
                  </a:lnTo>
                  <a:lnTo>
                    <a:pt x="791" y="148"/>
                  </a:lnTo>
                  <a:lnTo>
                    <a:pt x="797" y="147"/>
                  </a:lnTo>
                  <a:lnTo>
                    <a:pt x="798" y="143"/>
                  </a:lnTo>
                  <a:lnTo>
                    <a:pt x="803" y="143"/>
                  </a:lnTo>
                  <a:lnTo>
                    <a:pt x="810" y="148"/>
                  </a:lnTo>
                  <a:lnTo>
                    <a:pt x="816" y="148"/>
                  </a:lnTo>
                  <a:lnTo>
                    <a:pt x="821" y="147"/>
                  </a:lnTo>
                  <a:lnTo>
                    <a:pt x="826" y="147"/>
                  </a:lnTo>
                  <a:lnTo>
                    <a:pt x="837" y="148"/>
                  </a:lnTo>
                  <a:lnTo>
                    <a:pt x="845" y="149"/>
                  </a:lnTo>
                  <a:lnTo>
                    <a:pt x="850" y="148"/>
                  </a:lnTo>
                  <a:lnTo>
                    <a:pt x="854" y="144"/>
                  </a:lnTo>
                  <a:lnTo>
                    <a:pt x="855" y="144"/>
                  </a:lnTo>
                  <a:lnTo>
                    <a:pt x="855" y="148"/>
                  </a:lnTo>
                  <a:lnTo>
                    <a:pt x="853" y="160"/>
                  </a:lnTo>
                  <a:lnTo>
                    <a:pt x="851" y="165"/>
                  </a:lnTo>
                  <a:lnTo>
                    <a:pt x="854" y="166"/>
                  </a:lnTo>
                  <a:lnTo>
                    <a:pt x="857" y="166"/>
                  </a:lnTo>
                  <a:lnTo>
                    <a:pt x="860" y="168"/>
                  </a:lnTo>
                  <a:lnTo>
                    <a:pt x="865" y="170"/>
                  </a:lnTo>
                  <a:lnTo>
                    <a:pt x="869" y="170"/>
                  </a:lnTo>
                  <a:lnTo>
                    <a:pt x="871" y="170"/>
                  </a:lnTo>
                  <a:lnTo>
                    <a:pt x="871" y="167"/>
                  </a:lnTo>
                  <a:lnTo>
                    <a:pt x="867" y="164"/>
                  </a:lnTo>
                  <a:lnTo>
                    <a:pt x="867" y="162"/>
                  </a:lnTo>
                  <a:lnTo>
                    <a:pt x="871" y="160"/>
                  </a:lnTo>
                  <a:lnTo>
                    <a:pt x="880" y="158"/>
                  </a:lnTo>
                  <a:lnTo>
                    <a:pt x="883" y="156"/>
                  </a:lnTo>
                  <a:lnTo>
                    <a:pt x="885" y="159"/>
                  </a:lnTo>
                  <a:lnTo>
                    <a:pt x="890" y="165"/>
                  </a:lnTo>
                  <a:lnTo>
                    <a:pt x="891" y="162"/>
                  </a:lnTo>
                  <a:lnTo>
                    <a:pt x="891" y="165"/>
                  </a:lnTo>
                  <a:lnTo>
                    <a:pt x="892" y="177"/>
                  </a:lnTo>
                  <a:lnTo>
                    <a:pt x="889" y="183"/>
                  </a:lnTo>
                  <a:lnTo>
                    <a:pt x="890" y="185"/>
                  </a:lnTo>
                  <a:lnTo>
                    <a:pt x="886" y="185"/>
                  </a:lnTo>
                  <a:lnTo>
                    <a:pt x="880" y="185"/>
                  </a:lnTo>
                  <a:lnTo>
                    <a:pt x="879" y="189"/>
                  </a:lnTo>
                  <a:lnTo>
                    <a:pt x="879" y="191"/>
                  </a:lnTo>
                  <a:lnTo>
                    <a:pt x="875" y="191"/>
                  </a:lnTo>
                  <a:lnTo>
                    <a:pt x="866" y="189"/>
                  </a:lnTo>
                  <a:lnTo>
                    <a:pt x="867" y="192"/>
                  </a:lnTo>
                  <a:lnTo>
                    <a:pt x="867" y="197"/>
                  </a:lnTo>
                  <a:lnTo>
                    <a:pt x="862" y="197"/>
                  </a:lnTo>
                  <a:lnTo>
                    <a:pt x="859" y="194"/>
                  </a:lnTo>
                  <a:lnTo>
                    <a:pt x="856" y="194"/>
                  </a:lnTo>
                  <a:lnTo>
                    <a:pt x="851" y="195"/>
                  </a:lnTo>
                  <a:lnTo>
                    <a:pt x="844" y="197"/>
                  </a:lnTo>
                  <a:lnTo>
                    <a:pt x="843" y="197"/>
                  </a:lnTo>
                  <a:lnTo>
                    <a:pt x="843" y="200"/>
                  </a:lnTo>
                  <a:lnTo>
                    <a:pt x="844" y="202"/>
                  </a:lnTo>
                  <a:lnTo>
                    <a:pt x="849" y="201"/>
                  </a:lnTo>
                  <a:lnTo>
                    <a:pt x="855" y="197"/>
                  </a:lnTo>
                  <a:lnTo>
                    <a:pt x="857" y="197"/>
                  </a:lnTo>
                  <a:lnTo>
                    <a:pt x="860" y="198"/>
                  </a:lnTo>
                  <a:lnTo>
                    <a:pt x="868" y="202"/>
                  </a:lnTo>
                  <a:lnTo>
                    <a:pt x="871" y="206"/>
                  </a:lnTo>
                  <a:lnTo>
                    <a:pt x="877" y="207"/>
                  </a:lnTo>
                  <a:lnTo>
                    <a:pt x="879" y="212"/>
                  </a:lnTo>
                  <a:lnTo>
                    <a:pt x="880" y="216"/>
                  </a:lnTo>
                  <a:lnTo>
                    <a:pt x="883" y="219"/>
                  </a:lnTo>
                  <a:lnTo>
                    <a:pt x="889" y="220"/>
                  </a:lnTo>
                  <a:lnTo>
                    <a:pt x="895" y="222"/>
                  </a:lnTo>
                  <a:lnTo>
                    <a:pt x="897" y="226"/>
                  </a:lnTo>
                  <a:lnTo>
                    <a:pt x="902" y="231"/>
                  </a:lnTo>
                  <a:lnTo>
                    <a:pt x="908" y="231"/>
                  </a:lnTo>
                  <a:lnTo>
                    <a:pt x="908" y="236"/>
                  </a:lnTo>
                  <a:lnTo>
                    <a:pt x="901" y="248"/>
                  </a:lnTo>
                  <a:lnTo>
                    <a:pt x="895" y="250"/>
                  </a:lnTo>
                  <a:lnTo>
                    <a:pt x="891" y="250"/>
                  </a:lnTo>
                  <a:lnTo>
                    <a:pt x="890" y="248"/>
                  </a:lnTo>
                  <a:lnTo>
                    <a:pt x="887" y="247"/>
                  </a:lnTo>
                  <a:lnTo>
                    <a:pt x="883" y="247"/>
                  </a:lnTo>
                  <a:lnTo>
                    <a:pt x="880" y="249"/>
                  </a:lnTo>
                  <a:lnTo>
                    <a:pt x="878" y="249"/>
                  </a:lnTo>
                  <a:lnTo>
                    <a:pt x="869" y="248"/>
                  </a:lnTo>
                  <a:lnTo>
                    <a:pt x="873" y="250"/>
                  </a:lnTo>
                  <a:lnTo>
                    <a:pt x="878" y="253"/>
                  </a:lnTo>
                  <a:lnTo>
                    <a:pt x="883" y="256"/>
                  </a:lnTo>
                  <a:lnTo>
                    <a:pt x="884" y="262"/>
                  </a:lnTo>
                  <a:lnTo>
                    <a:pt x="884" y="267"/>
                  </a:lnTo>
                  <a:lnTo>
                    <a:pt x="884" y="271"/>
                  </a:lnTo>
                  <a:lnTo>
                    <a:pt x="881" y="271"/>
                  </a:lnTo>
                  <a:lnTo>
                    <a:pt x="872" y="267"/>
                  </a:lnTo>
                  <a:lnTo>
                    <a:pt x="867" y="265"/>
                  </a:lnTo>
                  <a:lnTo>
                    <a:pt x="862" y="265"/>
                  </a:lnTo>
                  <a:lnTo>
                    <a:pt x="857" y="262"/>
                  </a:lnTo>
                  <a:lnTo>
                    <a:pt x="855" y="261"/>
                  </a:lnTo>
                  <a:lnTo>
                    <a:pt x="855" y="265"/>
                  </a:lnTo>
                  <a:lnTo>
                    <a:pt x="853" y="265"/>
                  </a:lnTo>
                  <a:lnTo>
                    <a:pt x="849" y="261"/>
                  </a:lnTo>
                  <a:lnTo>
                    <a:pt x="843" y="253"/>
                  </a:lnTo>
                  <a:lnTo>
                    <a:pt x="839" y="250"/>
                  </a:lnTo>
                  <a:lnTo>
                    <a:pt x="837" y="248"/>
                  </a:lnTo>
                  <a:lnTo>
                    <a:pt x="833" y="248"/>
                  </a:lnTo>
                  <a:lnTo>
                    <a:pt x="832" y="250"/>
                  </a:lnTo>
                  <a:lnTo>
                    <a:pt x="830" y="251"/>
                  </a:lnTo>
                  <a:lnTo>
                    <a:pt x="822" y="251"/>
                  </a:lnTo>
                  <a:lnTo>
                    <a:pt x="818" y="251"/>
                  </a:lnTo>
                  <a:lnTo>
                    <a:pt x="819" y="257"/>
                  </a:lnTo>
                  <a:lnTo>
                    <a:pt x="822" y="263"/>
                  </a:lnTo>
                  <a:lnTo>
                    <a:pt x="830" y="265"/>
                  </a:lnTo>
                  <a:lnTo>
                    <a:pt x="838" y="271"/>
                  </a:lnTo>
                  <a:lnTo>
                    <a:pt x="838" y="272"/>
                  </a:lnTo>
                  <a:lnTo>
                    <a:pt x="839" y="274"/>
                  </a:lnTo>
                  <a:lnTo>
                    <a:pt x="847" y="281"/>
                  </a:lnTo>
                  <a:lnTo>
                    <a:pt x="848" y="284"/>
                  </a:lnTo>
                  <a:lnTo>
                    <a:pt x="847" y="285"/>
                  </a:lnTo>
                  <a:lnTo>
                    <a:pt x="842" y="286"/>
                  </a:lnTo>
                  <a:lnTo>
                    <a:pt x="830" y="284"/>
                  </a:lnTo>
                  <a:lnTo>
                    <a:pt x="827" y="284"/>
                  </a:lnTo>
                  <a:lnTo>
                    <a:pt x="826" y="284"/>
                  </a:lnTo>
                  <a:lnTo>
                    <a:pt x="824" y="284"/>
                  </a:lnTo>
                  <a:lnTo>
                    <a:pt x="822" y="280"/>
                  </a:lnTo>
                  <a:lnTo>
                    <a:pt x="822" y="273"/>
                  </a:lnTo>
                  <a:lnTo>
                    <a:pt x="815" y="268"/>
                  </a:lnTo>
                  <a:lnTo>
                    <a:pt x="802" y="263"/>
                  </a:lnTo>
                  <a:lnTo>
                    <a:pt x="800" y="263"/>
                  </a:lnTo>
                  <a:lnTo>
                    <a:pt x="802" y="266"/>
                  </a:lnTo>
                  <a:lnTo>
                    <a:pt x="807" y="272"/>
                  </a:lnTo>
                  <a:lnTo>
                    <a:pt x="808" y="277"/>
                  </a:lnTo>
                  <a:lnTo>
                    <a:pt x="809" y="283"/>
                  </a:lnTo>
                  <a:lnTo>
                    <a:pt x="812" y="281"/>
                  </a:lnTo>
                  <a:lnTo>
                    <a:pt x="815" y="285"/>
                  </a:lnTo>
                  <a:lnTo>
                    <a:pt x="824" y="291"/>
                  </a:lnTo>
                  <a:lnTo>
                    <a:pt x="830" y="293"/>
                  </a:lnTo>
                  <a:lnTo>
                    <a:pt x="832" y="293"/>
                  </a:lnTo>
                  <a:lnTo>
                    <a:pt x="837" y="298"/>
                  </a:lnTo>
                  <a:lnTo>
                    <a:pt x="844" y="304"/>
                  </a:lnTo>
                  <a:lnTo>
                    <a:pt x="847" y="308"/>
                  </a:lnTo>
                  <a:lnTo>
                    <a:pt x="848" y="313"/>
                  </a:lnTo>
                  <a:lnTo>
                    <a:pt x="851" y="317"/>
                  </a:lnTo>
                  <a:lnTo>
                    <a:pt x="854" y="323"/>
                  </a:lnTo>
                  <a:lnTo>
                    <a:pt x="859" y="325"/>
                  </a:lnTo>
                  <a:lnTo>
                    <a:pt x="867" y="323"/>
                  </a:lnTo>
                  <a:lnTo>
                    <a:pt x="871" y="325"/>
                  </a:lnTo>
                  <a:lnTo>
                    <a:pt x="872" y="326"/>
                  </a:lnTo>
                  <a:lnTo>
                    <a:pt x="872" y="333"/>
                  </a:lnTo>
                  <a:lnTo>
                    <a:pt x="873" y="335"/>
                  </a:lnTo>
                  <a:lnTo>
                    <a:pt x="875" y="337"/>
                  </a:lnTo>
                  <a:lnTo>
                    <a:pt x="880" y="334"/>
                  </a:lnTo>
                  <a:lnTo>
                    <a:pt x="881" y="333"/>
                  </a:lnTo>
                  <a:lnTo>
                    <a:pt x="884" y="334"/>
                  </a:lnTo>
                  <a:lnTo>
                    <a:pt x="887" y="341"/>
                  </a:lnTo>
                  <a:lnTo>
                    <a:pt x="890" y="341"/>
                  </a:lnTo>
                  <a:lnTo>
                    <a:pt x="891" y="346"/>
                  </a:lnTo>
                  <a:lnTo>
                    <a:pt x="890" y="355"/>
                  </a:lnTo>
                  <a:lnTo>
                    <a:pt x="891" y="357"/>
                  </a:lnTo>
                  <a:lnTo>
                    <a:pt x="893" y="357"/>
                  </a:lnTo>
                  <a:lnTo>
                    <a:pt x="898" y="357"/>
                  </a:lnTo>
                  <a:lnTo>
                    <a:pt x="902" y="355"/>
                  </a:lnTo>
                  <a:lnTo>
                    <a:pt x="904" y="351"/>
                  </a:lnTo>
                  <a:lnTo>
                    <a:pt x="907" y="350"/>
                  </a:lnTo>
                  <a:lnTo>
                    <a:pt x="913" y="350"/>
                  </a:lnTo>
                  <a:lnTo>
                    <a:pt x="918" y="349"/>
                  </a:lnTo>
                  <a:lnTo>
                    <a:pt x="919" y="346"/>
                  </a:lnTo>
                  <a:lnTo>
                    <a:pt x="919" y="345"/>
                  </a:lnTo>
                  <a:lnTo>
                    <a:pt x="924" y="344"/>
                  </a:lnTo>
                  <a:lnTo>
                    <a:pt x="933" y="344"/>
                  </a:lnTo>
                  <a:lnTo>
                    <a:pt x="936" y="345"/>
                  </a:lnTo>
                  <a:lnTo>
                    <a:pt x="937" y="348"/>
                  </a:lnTo>
                  <a:lnTo>
                    <a:pt x="936" y="354"/>
                  </a:lnTo>
                  <a:lnTo>
                    <a:pt x="934" y="358"/>
                  </a:lnTo>
                  <a:lnTo>
                    <a:pt x="937" y="360"/>
                  </a:lnTo>
                  <a:lnTo>
                    <a:pt x="940" y="360"/>
                  </a:lnTo>
                  <a:lnTo>
                    <a:pt x="944" y="357"/>
                  </a:lnTo>
                  <a:lnTo>
                    <a:pt x="951" y="357"/>
                  </a:lnTo>
                  <a:lnTo>
                    <a:pt x="952" y="358"/>
                  </a:lnTo>
                  <a:lnTo>
                    <a:pt x="955" y="356"/>
                  </a:lnTo>
                  <a:lnTo>
                    <a:pt x="960" y="352"/>
                  </a:lnTo>
                  <a:lnTo>
                    <a:pt x="962" y="352"/>
                  </a:lnTo>
                  <a:lnTo>
                    <a:pt x="963" y="354"/>
                  </a:lnTo>
                  <a:lnTo>
                    <a:pt x="962" y="361"/>
                  </a:lnTo>
                  <a:lnTo>
                    <a:pt x="962" y="368"/>
                  </a:lnTo>
                  <a:lnTo>
                    <a:pt x="962" y="370"/>
                  </a:lnTo>
                  <a:lnTo>
                    <a:pt x="966" y="374"/>
                  </a:lnTo>
                  <a:lnTo>
                    <a:pt x="974" y="372"/>
                  </a:lnTo>
                  <a:lnTo>
                    <a:pt x="979" y="367"/>
                  </a:lnTo>
                  <a:lnTo>
                    <a:pt x="981" y="366"/>
                  </a:lnTo>
                  <a:lnTo>
                    <a:pt x="984" y="366"/>
                  </a:lnTo>
                  <a:lnTo>
                    <a:pt x="985" y="370"/>
                  </a:lnTo>
                  <a:lnTo>
                    <a:pt x="987" y="374"/>
                  </a:lnTo>
                  <a:lnTo>
                    <a:pt x="993" y="380"/>
                  </a:lnTo>
                  <a:lnTo>
                    <a:pt x="997" y="386"/>
                  </a:lnTo>
                  <a:lnTo>
                    <a:pt x="996" y="388"/>
                  </a:lnTo>
                  <a:lnTo>
                    <a:pt x="992" y="391"/>
                  </a:lnTo>
                  <a:lnTo>
                    <a:pt x="981" y="392"/>
                  </a:lnTo>
                  <a:lnTo>
                    <a:pt x="978" y="391"/>
                  </a:lnTo>
                  <a:lnTo>
                    <a:pt x="975" y="393"/>
                  </a:lnTo>
                  <a:lnTo>
                    <a:pt x="973" y="397"/>
                  </a:lnTo>
                  <a:lnTo>
                    <a:pt x="968" y="400"/>
                  </a:lnTo>
                  <a:lnTo>
                    <a:pt x="967" y="400"/>
                  </a:lnTo>
                  <a:lnTo>
                    <a:pt x="962" y="404"/>
                  </a:lnTo>
                  <a:lnTo>
                    <a:pt x="956" y="409"/>
                  </a:lnTo>
                  <a:lnTo>
                    <a:pt x="950" y="410"/>
                  </a:lnTo>
                  <a:lnTo>
                    <a:pt x="945" y="411"/>
                  </a:lnTo>
                  <a:lnTo>
                    <a:pt x="944" y="414"/>
                  </a:lnTo>
                  <a:lnTo>
                    <a:pt x="942" y="420"/>
                  </a:lnTo>
                  <a:lnTo>
                    <a:pt x="943" y="424"/>
                  </a:lnTo>
                  <a:lnTo>
                    <a:pt x="948" y="429"/>
                  </a:lnTo>
                  <a:lnTo>
                    <a:pt x="945" y="432"/>
                  </a:lnTo>
                  <a:lnTo>
                    <a:pt x="933" y="432"/>
                  </a:lnTo>
                  <a:lnTo>
                    <a:pt x="928" y="432"/>
                  </a:lnTo>
                  <a:lnTo>
                    <a:pt x="926" y="435"/>
                  </a:lnTo>
                  <a:lnTo>
                    <a:pt x="926" y="441"/>
                  </a:lnTo>
                  <a:lnTo>
                    <a:pt x="928" y="442"/>
                  </a:lnTo>
                  <a:lnTo>
                    <a:pt x="943" y="442"/>
                  </a:lnTo>
                  <a:lnTo>
                    <a:pt x="943" y="440"/>
                  </a:lnTo>
                  <a:lnTo>
                    <a:pt x="945" y="440"/>
                  </a:lnTo>
                  <a:lnTo>
                    <a:pt x="951" y="442"/>
                  </a:lnTo>
                  <a:lnTo>
                    <a:pt x="962" y="447"/>
                  </a:lnTo>
                  <a:lnTo>
                    <a:pt x="967" y="446"/>
                  </a:lnTo>
                  <a:lnTo>
                    <a:pt x="967" y="442"/>
                  </a:lnTo>
                  <a:lnTo>
                    <a:pt x="968" y="441"/>
                  </a:lnTo>
                  <a:lnTo>
                    <a:pt x="973" y="442"/>
                  </a:lnTo>
                  <a:lnTo>
                    <a:pt x="981" y="446"/>
                  </a:lnTo>
                  <a:lnTo>
                    <a:pt x="985" y="445"/>
                  </a:lnTo>
                  <a:lnTo>
                    <a:pt x="992" y="439"/>
                  </a:lnTo>
                  <a:lnTo>
                    <a:pt x="996" y="433"/>
                  </a:lnTo>
                  <a:lnTo>
                    <a:pt x="999" y="434"/>
                  </a:lnTo>
                  <a:lnTo>
                    <a:pt x="1005" y="440"/>
                  </a:lnTo>
                  <a:lnTo>
                    <a:pt x="1005" y="441"/>
                  </a:lnTo>
                  <a:lnTo>
                    <a:pt x="1003" y="444"/>
                  </a:lnTo>
                  <a:lnTo>
                    <a:pt x="996" y="447"/>
                  </a:lnTo>
                  <a:lnTo>
                    <a:pt x="995" y="448"/>
                  </a:lnTo>
                  <a:lnTo>
                    <a:pt x="997" y="450"/>
                  </a:lnTo>
                  <a:lnTo>
                    <a:pt x="1010" y="455"/>
                  </a:lnTo>
                  <a:lnTo>
                    <a:pt x="1014" y="456"/>
                  </a:lnTo>
                  <a:lnTo>
                    <a:pt x="1016" y="458"/>
                  </a:lnTo>
                  <a:lnTo>
                    <a:pt x="1019" y="461"/>
                  </a:lnTo>
                  <a:lnTo>
                    <a:pt x="1022" y="462"/>
                  </a:lnTo>
                  <a:lnTo>
                    <a:pt x="1023" y="461"/>
                  </a:lnTo>
                  <a:lnTo>
                    <a:pt x="1023" y="459"/>
                  </a:lnTo>
                  <a:lnTo>
                    <a:pt x="1026" y="462"/>
                  </a:lnTo>
                  <a:lnTo>
                    <a:pt x="1030" y="465"/>
                  </a:lnTo>
                  <a:lnTo>
                    <a:pt x="1031" y="469"/>
                  </a:lnTo>
                  <a:lnTo>
                    <a:pt x="1033" y="470"/>
                  </a:lnTo>
                  <a:lnTo>
                    <a:pt x="1036" y="469"/>
                  </a:lnTo>
                  <a:lnTo>
                    <a:pt x="1043" y="464"/>
                  </a:lnTo>
                  <a:lnTo>
                    <a:pt x="1042" y="462"/>
                  </a:lnTo>
                  <a:lnTo>
                    <a:pt x="1042" y="458"/>
                  </a:lnTo>
                  <a:lnTo>
                    <a:pt x="1043" y="452"/>
                  </a:lnTo>
                  <a:lnTo>
                    <a:pt x="1043" y="450"/>
                  </a:lnTo>
                  <a:lnTo>
                    <a:pt x="1042" y="448"/>
                  </a:lnTo>
                  <a:lnTo>
                    <a:pt x="1046" y="447"/>
                  </a:lnTo>
                  <a:lnTo>
                    <a:pt x="1054" y="446"/>
                  </a:lnTo>
                  <a:lnTo>
                    <a:pt x="1055" y="448"/>
                  </a:lnTo>
                  <a:lnTo>
                    <a:pt x="1055" y="453"/>
                  </a:lnTo>
                  <a:lnTo>
                    <a:pt x="1058" y="455"/>
                  </a:lnTo>
                  <a:lnTo>
                    <a:pt x="1063" y="453"/>
                  </a:lnTo>
                  <a:lnTo>
                    <a:pt x="1067" y="455"/>
                  </a:lnTo>
                  <a:lnTo>
                    <a:pt x="1072" y="459"/>
                  </a:lnTo>
                  <a:lnTo>
                    <a:pt x="1076" y="465"/>
                  </a:lnTo>
                  <a:lnTo>
                    <a:pt x="1079" y="473"/>
                  </a:lnTo>
                  <a:lnTo>
                    <a:pt x="1074" y="475"/>
                  </a:lnTo>
                  <a:lnTo>
                    <a:pt x="1069" y="477"/>
                  </a:lnTo>
                  <a:lnTo>
                    <a:pt x="1061" y="479"/>
                  </a:lnTo>
                  <a:lnTo>
                    <a:pt x="1061" y="482"/>
                  </a:lnTo>
                  <a:lnTo>
                    <a:pt x="1062" y="481"/>
                  </a:lnTo>
                  <a:lnTo>
                    <a:pt x="1066" y="483"/>
                  </a:lnTo>
                  <a:lnTo>
                    <a:pt x="1076" y="492"/>
                  </a:lnTo>
                  <a:lnTo>
                    <a:pt x="1079" y="492"/>
                  </a:lnTo>
                  <a:lnTo>
                    <a:pt x="1079" y="493"/>
                  </a:lnTo>
                  <a:lnTo>
                    <a:pt x="1076" y="497"/>
                  </a:lnTo>
                  <a:lnTo>
                    <a:pt x="1069" y="501"/>
                  </a:lnTo>
                  <a:lnTo>
                    <a:pt x="1070" y="506"/>
                  </a:lnTo>
                  <a:lnTo>
                    <a:pt x="1074" y="516"/>
                  </a:lnTo>
                  <a:lnTo>
                    <a:pt x="1076" y="519"/>
                  </a:lnTo>
                  <a:lnTo>
                    <a:pt x="1075" y="521"/>
                  </a:lnTo>
                  <a:lnTo>
                    <a:pt x="1070" y="521"/>
                  </a:lnTo>
                  <a:lnTo>
                    <a:pt x="1068" y="521"/>
                  </a:lnTo>
                  <a:lnTo>
                    <a:pt x="1066" y="518"/>
                  </a:lnTo>
                  <a:lnTo>
                    <a:pt x="1064" y="513"/>
                  </a:lnTo>
                  <a:lnTo>
                    <a:pt x="1061" y="512"/>
                  </a:lnTo>
                  <a:lnTo>
                    <a:pt x="1056" y="512"/>
                  </a:lnTo>
                  <a:lnTo>
                    <a:pt x="1054" y="511"/>
                  </a:lnTo>
                  <a:lnTo>
                    <a:pt x="1054" y="509"/>
                  </a:lnTo>
                  <a:lnTo>
                    <a:pt x="1056" y="509"/>
                  </a:lnTo>
                  <a:lnTo>
                    <a:pt x="1050" y="507"/>
                  </a:lnTo>
                  <a:lnTo>
                    <a:pt x="1038" y="507"/>
                  </a:lnTo>
                  <a:lnTo>
                    <a:pt x="1033" y="509"/>
                  </a:lnTo>
                  <a:lnTo>
                    <a:pt x="1028" y="512"/>
                  </a:lnTo>
                  <a:lnTo>
                    <a:pt x="1030" y="513"/>
                  </a:lnTo>
                  <a:lnTo>
                    <a:pt x="1028" y="518"/>
                  </a:lnTo>
                  <a:lnTo>
                    <a:pt x="1023" y="521"/>
                  </a:lnTo>
                  <a:lnTo>
                    <a:pt x="1025" y="522"/>
                  </a:lnTo>
                  <a:lnTo>
                    <a:pt x="1027" y="523"/>
                  </a:lnTo>
                  <a:lnTo>
                    <a:pt x="1032" y="525"/>
                  </a:lnTo>
                  <a:lnTo>
                    <a:pt x="1036" y="530"/>
                  </a:lnTo>
                  <a:lnTo>
                    <a:pt x="1037" y="530"/>
                  </a:lnTo>
                  <a:lnTo>
                    <a:pt x="1038" y="528"/>
                  </a:lnTo>
                  <a:lnTo>
                    <a:pt x="1042" y="521"/>
                  </a:lnTo>
                  <a:lnTo>
                    <a:pt x="1045" y="517"/>
                  </a:lnTo>
                  <a:lnTo>
                    <a:pt x="1050" y="518"/>
                  </a:lnTo>
                  <a:lnTo>
                    <a:pt x="1058" y="522"/>
                  </a:lnTo>
                  <a:lnTo>
                    <a:pt x="1064" y="524"/>
                  </a:lnTo>
                  <a:lnTo>
                    <a:pt x="1069" y="525"/>
                  </a:lnTo>
                  <a:lnTo>
                    <a:pt x="1078" y="524"/>
                  </a:lnTo>
                  <a:lnTo>
                    <a:pt x="1082" y="523"/>
                  </a:lnTo>
                  <a:lnTo>
                    <a:pt x="1084" y="524"/>
                  </a:lnTo>
                  <a:lnTo>
                    <a:pt x="1085" y="525"/>
                  </a:lnTo>
                  <a:lnTo>
                    <a:pt x="1086" y="531"/>
                  </a:lnTo>
                  <a:lnTo>
                    <a:pt x="1084" y="537"/>
                  </a:lnTo>
                  <a:lnTo>
                    <a:pt x="1079" y="543"/>
                  </a:lnTo>
                  <a:lnTo>
                    <a:pt x="1076" y="546"/>
                  </a:lnTo>
                  <a:lnTo>
                    <a:pt x="1074" y="546"/>
                  </a:lnTo>
                  <a:lnTo>
                    <a:pt x="1070" y="542"/>
                  </a:lnTo>
                  <a:lnTo>
                    <a:pt x="1069" y="541"/>
                  </a:lnTo>
                  <a:lnTo>
                    <a:pt x="1067" y="542"/>
                  </a:lnTo>
                  <a:lnTo>
                    <a:pt x="1063" y="548"/>
                  </a:lnTo>
                  <a:lnTo>
                    <a:pt x="1061" y="549"/>
                  </a:lnTo>
                  <a:lnTo>
                    <a:pt x="1057" y="549"/>
                  </a:lnTo>
                  <a:lnTo>
                    <a:pt x="1056" y="551"/>
                  </a:lnTo>
                  <a:lnTo>
                    <a:pt x="1057" y="553"/>
                  </a:lnTo>
                  <a:lnTo>
                    <a:pt x="1064" y="557"/>
                  </a:lnTo>
                  <a:lnTo>
                    <a:pt x="1069" y="560"/>
                  </a:lnTo>
                  <a:lnTo>
                    <a:pt x="1076" y="569"/>
                  </a:lnTo>
                  <a:lnTo>
                    <a:pt x="1080" y="574"/>
                  </a:lnTo>
                  <a:lnTo>
                    <a:pt x="1080" y="578"/>
                  </a:lnTo>
                  <a:lnTo>
                    <a:pt x="1072" y="588"/>
                  </a:lnTo>
                  <a:lnTo>
                    <a:pt x="1072" y="590"/>
                  </a:lnTo>
                  <a:lnTo>
                    <a:pt x="1070" y="592"/>
                  </a:lnTo>
                  <a:lnTo>
                    <a:pt x="1066" y="598"/>
                  </a:lnTo>
                  <a:lnTo>
                    <a:pt x="1061" y="598"/>
                  </a:lnTo>
                  <a:lnTo>
                    <a:pt x="1054" y="598"/>
                  </a:lnTo>
                  <a:lnTo>
                    <a:pt x="1050" y="596"/>
                  </a:lnTo>
                  <a:lnTo>
                    <a:pt x="1046" y="596"/>
                  </a:lnTo>
                  <a:lnTo>
                    <a:pt x="1042" y="596"/>
                  </a:lnTo>
                  <a:lnTo>
                    <a:pt x="1042" y="598"/>
                  </a:lnTo>
                  <a:lnTo>
                    <a:pt x="1044" y="600"/>
                  </a:lnTo>
                  <a:lnTo>
                    <a:pt x="1049" y="602"/>
                  </a:lnTo>
                  <a:lnTo>
                    <a:pt x="1050" y="605"/>
                  </a:lnTo>
                  <a:lnTo>
                    <a:pt x="1046" y="612"/>
                  </a:lnTo>
                  <a:lnTo>
                    <a:pt x="1046" y="614"/>
                  </a:lnTo>
                  <a:lnTo>
                    <a:pt x="1048" y="617"/>
                  </a:lnTo>
                  <a:lnTo>
                    <a:pt x="1052" y="618"/>
                  </a:lnTo>
                  <a:lnTo>
                    <a:pt x="1058" y="618"/>
                  </a:lnTo>
                  <a:lnTo>
                    <a:pt x="1064" y="619"/>
                  </a:lnTo>
                  <a:lnTo>
                    <a:pt x="1067" y="620"/>
                  </a:lnTo>
                  <a:lnTo>
                    <a:pt x="1070" y="620"/>
                  </a:lnTo>
                  <a:lnTo>
                    <a:pt x="1075" y="618"/>
                  </a:lnTo>
                  <a:lnTo>
                    <a:pt x="1078" y="619"/>
                  </a:lnTo>
                  <a:lnTo>
                    <a:pt x="1078" y="624"/>
                  </a:lnTo>
                  <a:lnTo>
                    <a:pt x="1074" y="630"/>
                  </a:lnTo>
                  <a:lnTo>
                    <a:pt x="1067" y="637"/>
                  </a:lnTo>
                  <a:lnTo>
                    <a:pt x="1049" y="643"/>
                  </a:lnTo>
                  <a:lnTo>
                    <a:pt x="1044" y="650"/>
                  </a:lnTo>
                  <a:lnTo>
                    <a:pt x="1043" y="650"/>
                  </a:lnTo>
                  <a:lnTo>
                    <a:pt x="1038" y="649"/>
                  </a:lnTo>
                  <a:lnTo>
                    <a:pt x="1036" y="647"/>
                  </a:lnTo>
                  <a:lnTo>
                    <a:pt x="1033" y="642"/>
                  </a:lnTo>
                  <a:lnTo>
                    <a:pt x="1031" y="650"/>
                  </a:lnTo>
                  <a:lnTo>
                    <a:pt x="1031" y="652"/>
                  </a:lnTo>
                  <a:lnTo>
                    <a:pt x="1027" y="650"/>
                  </a:lnTo>
                  <a:lnTo>
                    <a:pt x="1021" y="649"/>
                  </a:lnTo>
                  <a:lnTo>
                    <a:pt x="1015" y="644"/>
                  </a:lnTo>
                  <a:lnTo>
                    <a:pt x="1013" y="640"/>
                  </a:lnTo>
                  <a:lnTo>
                    <a:pt x="1010" y="634"/>
                  </a:lnTo>
                  <a:lnTo>
                    <a:pt x="1004" y="630"/>
                  </a:lnTo>
                  <a:lnTo>
                    <a:pt x="1002" y="626"/>
                  </a:lnTo>
                  <a:lnTo>
                    <a:pt x="998" y="625"/>
                  </a:lnTo>
                  <a:lnTo>
                    <a:pt x="990" y="628"/>
                  </a:lnTo>
                  <a:lnTo>
                    <a:pt x="979" y="628"/>
                  </a:lnTo>
                  <a:lnTo>
                    <a:pt x="974" y="626"/>
                  </a:lnTo>
                  <a:lnTo>
                    <a:pt x="973" y="629"/>
                  </a:lnTo>
                  <a:lnTo>
                    <a:pt x="974" y="636"/>
                  </a:lnTo>
                  <a:lnTo>
                    <a:pt x="973" y="638"/>
                  </a:lnTo>
                  <a:lnTo>
                    <a:pt x="971" y="640"/>
                  </a:lnTo>
                  <a:lnTo>
                    <a:pt x="964" y="641"/>
                  </a:lnTo>
                  <a:lnTo>
                    <a:pt x="961" y="640"/>
                  </a:lnTo>
                  <a:lnTo>
                    <a:pt x="957" y="634"/>
                  </a:lnTo>
                  <a:lnTo>
                    <a:pt x="952" y="630"/>
                  </a:lnTo>
                  <a:lnTo>
                    <a:pt x="948" y="630"/>
                  </a:lnTo>
                  <a:lnTo>
                    <a:pt x="944" y="632"/>
                  </a:lnTo>
                  <a:lnTo>
                    <a:pt x="937" y="636"/>
                  </a:lnTo>
                  <a:lnTo>
                    <a:pt x="921" y="647"/>
                  </a:lnTo>
                  <a:lnTo>
                    <a:pt x="918" y="650"/>
                  </a:lnTo>
                  <a:lnTo>
                    <a:pt x="925" y="656"/>
                  </a:lnTo>
                  <a:lnTo>
                    <a:pt x="932" y="660"/>
                  </a:lnTo>
                  <a:lnTo>
                    <a:pt x="936" y="662"/>
                  </a:lnTo>
                  <a:lnTo>
                    <a:pt x="938" y="667"/>
                  </a:lnTo>
                  <a:lnTo>
                    <a:pt x="948" y="671"/>
                  </a:lnTo>
                  <a:lnTo>
                    <a:pt x="963" y="677"/>
                  </a:lnTo>
                  <a:lnTo>
                    <a:pt x="948" y="676"/>
                  </a:lnTo>
                  <a:lnTo>
                    <a:pt x="940" y="673"/>
                  </a:lnTo>
                  <a:lnTo>
                    <a:pt x="937" y="672"/>
                  </a:lnTo>
                  <a:lnTo>
                    <a:pt x="942" y="681"/>
                  </a:lnTo>
                  <a:lnTo>
                    <a:pt x="931" y="672"/>
                  </a:lnTo>
                  <a:lnTo>
                    <a:pt x="931" y="667"/>
                  </a:lnTo>
                  <a:lnTo>
                    <a:pt x="930" y="665"/>
                  </a:lnTo>
                  <a:lnTo>
                    <a:pt x="926" y="664"/>
                  </a:lnTo>
                  <a:lnTo>
                    <a:pt x="915" y="658"/>
                  </a:lnTo>
                  <a:lnTo>
                    <a:pt x="903" y="650"/>
                  </a:lnTo>
                  <a:lnTo>
                    <a:pt x="887" y="640"/>
                  </a:lnTo>
                  <a:lnTo>
                    <a:pt x="890" y="641"/>
                  </a:lnTo>
                  <a:lnTo>
                    <a:pt x="890" y="643"/>
                  </a:lnTo>
                  <a:lnTo>
                    <a:pt x="886" y="646"/>
                  </a:lnTo>
                  <a:lnTo>
                    <a:pt x="883" y="647"/>
                  </a:lnTo>
                  <a:lnTo>
                    <a:pt x="881" y="649"/>
                  </a:lnTo>
                  <a:lnTo>
                    <a:pt x="879" y="650"/>
                  </a:lnTo>
                  <a:lnTo>
                    <a:pt x="878" y="654"/>
                  </a:lnTo>
                  <a:lnTo>
                    <a:pt x="879" y="660"/>
                  </a:lnTo>
                  <a:lnTo>
                    <a:pt x="884" y="666"/>
                  </a:lnTo>
                  <a:lnTo>
                    <a:pt x="889" y="672"/>
                  </a:lnTo>
                  <a:lnTo>
                    <a:pt x="891" y="676"/>
                  </a:lnTo>
                  <a:lnTo>
                    <a:pt x="893" y="682"/>
                  </a:lnTo>
                  <a:lnTo>
                    <a:pt x="896" y="683"/>
                  </a:lnTo>
                  <a:lnTo>
                    <a:pt x="898" y="683"/>
                  </a:lnTo>
                  <a:lnTo>
                    <a:pt x="902" y="685"/>
                  </a:lnTo>
                  <a:lnTo>
                    <a:pt x="905" y="688"/>
                  </a:lnTo>
                  <a:lnTo>
                    <a:pt x="908" y="683"/>
                  </a:lnTo>
                  <a:lnTo>
                    <a:pt x="909" y="682"/>
                  </a:lnTo>
                  <a:lnTo>
                    <a:pt x="910" y="683"/>
                  </a:lnTo>
                  <a:lnTo>
                    <a:pt x="913" y="693"/>
                  </a:lnTo>
                  <a:lnTo>
                    <a:pt x="915" y="695"/>
                  </a:lnTo>
                  <a:lnTo>
                    <a:pt x="918" y="695"/>
                  </a:lnTo>
                  <a:lnTo>
                    <a:pt x="919" y="697"/>
                  </a:lnTo>
                  <a:lnTo>
                    <a:pt x="916" y="702"/>
                  </a:lnTo>
                  <a:lnTo>
                    <a:pt x="918" y="703"/>
                  </a:lnTo>
                  <a:lnTo>
                    <a:pt x="922" y="701"/>
                  </a:lnTo>
                  <a:lnTo>
                    <a:pt x="926" y="700"/>
                  </a:lnTo>
                  <a:lnTo>
                    <a:pt x="927" y="702"/>
                  </a:lnTo>
                  <a:lnTo>
                    <a:pt x="931" y="706"/>
                  </a:lnTo>
                  <a:lnTo>
                    <a:pt x="933" y="707"/>
                  </a:lnTo>
                  <a:lnTo>
                    <a:pt x="933" y="703"/>
                  </a:lnTo>
                  <a:lnTo>
                    <a:pt x="938" y="705"/>
                  </a:lnTo>
                  <a:lnTo>
                    <a:pt x="943" y="707"/>
                  </a:lnTo>
                  <a:lnTo>
                    <a:pt x="944" y="709"/>
                  </a:lnTo>
                  <a:lnTo>
                    <a:pt x="943" y="715"/>
                  </a:lnTo>
                  <a:lnTo>
                    <a:pt x="944" y="717"/>
                  </a:lnTo>
                  <a:lnTo>
                    <a:pt x="946" y="717"/>
                  </a:lnTo>
                  <a:lnTo>
                    <a:pt x="951" y="714"/>
                  </a:lnTo>
                  <a:lnTo>
                    <a:pt x="952" y="713"/>
                  </a:lnTo>
                  <a:lnTo>
                    <a:pt x="954" y="715"/>
                  </a:lnTo>
                  <a:lnTo>
                    <a:pt x="954" y="724"/>
                  </a:lnTo>
                  <a:lnTo>
                    <a:pt x="955" y="733"/>
                  </a:lnTo>
                  <a:lnTo>
                    <a:pt x="949" y="733"/>
                  </a:lnTo>
                  <a:lnTo>
                    <a:pt x="957" y="742"/>
                  </a:lnTo>
                  <a:lnTo>
                    <a:pt x="952" y="745"/>
                  </a:lnTo>
                  <a:lnTo>
                    <a:pt x="949" y="747"/>
                  </a:lnTo>
                  <a:lnTo>
                    <a:pt x="950" y="748"/>
                  </a:lnTo>
                  <a:lnTo>
                    <a:pt x="946" y="750"/>
                  </a:lnTo>
                  <a:lnTo>
                    <a:pt x="939" y="751"/>
                  </a:lnTo>
                  <a:lnTo>
                    <a:pt x="937" y="751"/>
                  </a:lnTo>
                  <a:lnTo>
                    <a:pt x="934" y="756"/>
                  </a:lnTo>
                  <a:lnTo>
                    <a:pt x="931" y="757"/>
                  </a:lnTo>
                  <a:lnTo>
                    <a:pt x="928" y="759"/>
                  </a:lnTo>
                  <a:lnTo>
                    <a:pt x="928" y="761"/>
                  </a:lnTo>
                  <a:lnTo>
                    <a:pt x="930" y="762"/>
                  </a:lnTo>
                  <a:lnTo>
                    <a:pt x="932" y="767"/>
                  </a:lnTo>
                  <a:lnTo>
                    <a:pt x="932" y="772"/>
                  </a:lnTo>
                  <a:lnTo>
                    <a:pt x="927" y="774"/>
                  </a:lnTo>
                  <a:lnTo>
                    <a:pt x="925" y="774"/>
                  </a:lnTo>
                  <a:lnTo>
                    <a:pt x="924" y="772"/>
                  </a:lnTo>
                  <a:lnTo>
                    <a:pt x="922" y="771"/>
                  </a:lnTo>
                  <a:lnTo>
                    <a:pt x="920" y="771"/>
                  </a:lnTo>
                  <a:lnTo>
                    <a:pt x="918" y="772"/>
                  </a:lnTo>
                  <a:lnTo>
                    <a:pt x="914" y="771"/>
                  </a:lnTo>
                  <a:lnTo>
                    <a:pt x="912" y="769"/>
                  </a:lnTo>
                  <a:lnTo>
                    <a:pt x="912" y="771"/>
                  </a:lnTo>
                  <a:lnTo>
                    <a:pt x="912" y="777"/>
                  </a:lnTo>
                  <a:lnTo>
                    <a:pt x="909" y="782"/>
                  </a:lnTo>
                  <a:lnTo>
                    <a:pt x="902" y="782"/>
                  </a:lnTo>
                  <a:lnTo>
                    <a:pt x="898" y="779"/>
                  </a:lnTo>
                  <a:lnTo>
                    <a:pt x="893" y="778"/>
                  </a:lnTo>
                  <a:lnTo>
                    <a:pt x="891" y="777"/>
                  </a:lnTo>
                  <a:lnTo>
                    <a:pt x="893" y="777"/>
                  </a:lnTo>
                  <a:lnTo>
                    <a:pt x="891" y="774"/>
                  </a:lnTo>
                  <a:lnTo>
                    <a:pt x="884" y="768"/>
                  </a:lnTo>
                  <a:lnTo>
                    <a:pt x="883" y="768"/>
                  </a:lnTo>
                  <a:lnTo>
                    <a:pt x="883" y="765"/>
                  </a:lnTo>
                  <a:lnTo>
                    <a:pt x="887" y="761"/>
                  </a:lnTo>
                  <a:lnTo>
                    <a:pt x="887" y="759"/>
                  </a:lnTo>
                  <a:lnTo>
                    <a:pt x="886" y="755"/>
                  </a:lnTo>
                  <a:lnTo>
                    <a:pt x="884" y="750"/>
                  </a:lnTo>
                  <a:lnTo>
                    <a:pt x="883" y="745"/>
                  </a:lnTo>
                  <a:lnTo>
                    <a:pt x="881" y="744"/>
                  </a:lnTo>
                  <a:lnTo>
                    <a:pt x="879" y="745"/>
                  </a:lnTo>
                  <a:lnTo>
                    <a:pt x="875" y="751"/>
                  </a:lnTo>
                  <a:lnTo>
                    <a:pt x="874" y="755"/>
                  </a:lnTo>
                  <a:lnTo>
                    <a:pt x="872" y="757"/>
                  </a:lnTo>
                  <a:lnTo>
                    <a:pt x="868" y="757"/>
                  </a:lnTo>
                  <a:lnTo>
                    <a:pt x="862" y="760"/>
                  </a:lnTo>
                  <a:lnTo>
                    <a:pt x="862" y="759"/>
                  </a:lnTo>
                  <a:lnTo>
                    <a:pt x="861" y="757"/>
                  </a:lnTo>
                  <a:lnTo>
                    <a:pt x="860" y="756"/>
                  </a:lnTo>
                  <a:lnTo>
                    <a:pt x="856" y="757"/>
                  </a:lnTo>
                  <a:lnTo>
                    <a:pt x="849" y="762"/>
                  </a:lnTo>
                  <a:lnTo>
                    <a:pt x="849" y="763"/>
                  </a:lnTo>
                  <a:lnTo>
                    <a:pt x="845" y="762"/>
                  </a:lnTo>
                  <a:lnTo>
                    <a:pt x="842" y="762"/>
                  </a:lnTo>
                  <a:lnTo>
                    <a:pt x="840" y="761"/>
                  </a:lnTo>
                  <a:lnTo>
                    <a:pt x="839" y="754"/>
                  </a:lnTo>
                  <a:lnTo>
                    <a:pt x="838" y="751"/>
                  </a:lnTo>
                  <a:lnTo>
                    <a:pt x="836" y="753"/>
                  </a:lnTo>
                  <a:lnTo>
                    <a:pt x="831" y="756"/>
                  </a:lnTo>
                  <a:lnTo>
                    <a:pt x="826" y="756"/>
                  </a:lnTo>
                  <a:lnTo>
                    <a:pt x="824" y="754"/>
                  </a:lnTo>
                  <a:lnTo>
                    <a:pt x="819" y="754"/>
                  </a:lnTo>
                  <a:lnTo>
                    <a:pt x="803" y="759"/>
                  </a:lnTo>
                  <a:lnTo>
                    <a:pt x="804" y="763"/>
                  </a:lnTo>
                  <a:lnTo>
                    <a:pt x="804" y="765"/>
                  </a:lnTo>
                  <a:lnTo>
                    <a:pt x="802" y="765"/>
                  </a:lnTo>
                  <a:lnTo>
                    <a:pt x="795" y="761"/>
                  </a:lnTo>
                  <a:lnTo>
                    <a:pt x="791" y="756"/>
                  </a:lnTo>
                  <a:lnTo>
                    <a:pt x="789" y="754"/>
                  </a:lnTo>
                  <a:lnTo>
                    <a:pt x="789" y="756"/>
                  </a:lnTo>
                  <a:lnTo>
                    <a:pt x="789" y="762"/>
                  </a:lnTo>
                  <a:lnTo>
                    <a:pt x="786" y="762"/>
                  </a:lnTo>
                  <a:lnTo>
                    <a:pt x="781" y="759"/>
                  </a:lnTo>
                  <a:lnTo>
                    <a:pt x="778" y="759"/>
                  </a:lnTo>
                  <a:lnTo>
                    <a:pt x="774" y="757"/>
                  </a:lnTo>
                  <a:lnTo>
                    <a:pt x="773" y="755"/>
                  </a:lnTo>
                  <a:lnTo>
                    <a:pt x="769" y="755"/>
                  </a:lnTo>
                  <a:lnTo>
                    <a:pt x="767" y="757"/>
                  </a:lnTo>
                  <a:lnTo>
                    <a:pt x="765" y="760"/>
                  </a:lnTo>
                  <a:lnTo>
                    <a:pt x="765" y="761"/>
                  </a:lnTo>
                  <a:lnTo>
                    <a:pt x="771" y="763"/>
                  </a:lnTo>
                  <a:lnTo>
                    <a:pt x="775" y="765"/>
                  </a:lnTo>
                  <a:lnTo>
                    <a:pt x="779" y="766"/>
                  </a:lnTo>
                  <a:lnTo>
                    <a:pt x="784" y="767"/>
                  </a:lnTo>
                  <a:lnTo>
                    <a:pt x="788" y="772"/>
                  </a:lnTo>
                  <a:lnTo>
                    <a:pt x="790" y="777"/>
                  </a:lnTo>
                  <a:lnTo>
                    <a:pt x="788" y="778"/>
                  </a:lnTo>
                  <a:lnTo>
                    <a:pt x="783" y="776"/>
                  </a:lnTo>
                  <a:lnTo>
                    <a:pt x="780" y="776"/>
                  </a:lnTo>
                  <a:lnTo>
                    <a:pt x="778" y="779"/>
                  </a:lnTo>
                  <a:lnTo>
                    <a:pt x="774" y="779"/>
                  </a:lnTo>
                  <a:lnTo>
                    <a:pt x="771" y="777"/>
                  </a:lnTo>
                  <a:lnTo>
                    <a:pt x="769" y="778"/>
                  </a:lnTo>
                  <a:lnTo>
                    <a:pt x="768" y="782"/>
                  </a:lnTo>
                  <a:lnTo>
                    <a:pt x="765" y="783"/>
                  </a:lnTo>
                  <a:lnTo>
                    <a:pt x="762" y="780"/>
                  </a:lnTo>
                  <a:lnTo>
                    <a:pt x="761" y="780"/>
                  </a:lnTo>
                  <a:lnTo>
                    <a:pt x="759" y="780"/>
                  </a:lnTo>
                  <a:lnTo>
                    <a:pt x="756" y="778"/>
                  </a:lnTo>
                  <a:lnTo>
                    <a:pt x="753" y="773"/>
                  </a:lnTo>
                  <a:lnTo>
                    <a:pt x="750" y="769"/>
                  </a:lnTo>
                  <a:lnTo>
                    <a:pt x="747" y="768"/>
                  </a:lnTo>
                  <a:lnTo>
                    <a:pt x="741" y="769"/>
                  </a:lnTo>
                  <a:lnTo>
                    <a:pt x="733" y="768"/>
                  </a:lnTo>
                  <a:lnTo>
                    <a:pt x="725" y="769"/>
                  </a:lnTo>
                  <a:lnTo>
                    <a:pt x="720" y="768"/>
                  </a:lnTo>
                  <a:lnTo>
                    <a:pt x="714" y="763"/>
                  </a:lnTo>
                  <a:lnTo>
                    <a:pt x="709" y="761"/>
                  </a:lnTo>
                  <a:lnTo>
                    <a:pt x="704" y="761"/>
                  </a:lnTo>
                  <a:lnTo>
                    <a:pt x="700" y="761"/>
                  </a:lnTo>
                  <a:lnTo>
                    <a:pt x="697" y="759"/>
                  </a:lnTo>
                  <a:lnTo>
                    <a:pt x="694" y="756"/>
                  </a:lnTo>
                  <a:lnTo>
                    <a:pt x="691" y="756"/>
                  </a:lnTo>
                  <a:lnTo>
                    <a:pt x="695" y="765"/>
                  </a:lnTo>
                  <a:lnTo>
                    <a:pt x="698" y="772"/>
                  </a:lnTo>
                  <a:lnTo>
                    <a:pt x="702" y="776"/>
                  </a:lnTo>
                  <a:lnTo>
                    <a:pt x="704" y="776"/>
                  </a:lnTo>
                  <a:lnTo>
                    <a:pt x="707" y="778"/>
                  </a:lnTo>
                  <a:lnTo>
                    <a:pt x="708" y="778"/>
                  </a:lnTo>
                  <a:lnTo>
                    <a:pt x="712" y="779"/>
                  </a:lnTo>
                  <a:lnTo>
                    <a:pt x="714" y="782"/>
                  </a:lnTo>
                  <a:lnTo>
                    <a:pt x="718" y="780"/>
                  </a:lnTo>
                  <a:lnTo>
                    <a:pt x="724" y="780"/>
                  </a:lnTo>
                  <a:lnTo>
                    <a:pt x="727" y="779"/>
                  </a:lnTo>
                  <a:lnTo>
                    <a:pt x="730" y="779"/>
                  </a:lnTo>
                  <a:lnTo>
                    <a:pt x="735" y="783"/>
                  </a:lnTo>
                  <a:lnTo>
                    <a:pt x="739" y="785"/>
                  </a:lnTo>
                  <a:lnTo>
                    <a:pt x="744" y="786"/>
                  </a:lnTo>
                  <a:lnTo>
                    <a:pt x="748" y="786"/>
                  </a:lnTo>
                  <a:lnTo>
                    <a:pt x="749" y="789"/>
                  </a:lnTo>
                  <a:lnTo>
                    <a:pt x="753" y="794"/>
                  </a:lnTo>
                  <a:lnTo>
                    <a:pt x="754" y="796"/>
                  </a:lnTo>
                  <a:lnTo>
                    <a:pt x="751" y="802"/>
                  </a:lnTo>
                  <a:lnTo>
                    <a:pt x="754" y="803"/>
                  </a:lnTo>
                  <a:lnTo>
                    <a:pt x="760" y="801"/>
                  </a:lnTo>
                  <a:lnTo>
                    <a:pt x="762" y="797"/>
                  </a:lnTo>
                  <a:lnTo>
                    <a:pt x="762" y="792"/>
                  </a:lnTo>
                  <a:lnTo>
                    <a:pt x="767" y="791"/>
                  </a:lnTo>
                  <a:lnTo>
                    <a:pt x="774" y="792"/>
                  </a:lnTo>
                  <a:lnTo>
                    <a:pt x="774" y="796"/>
                  </a:lnTo>
                  <a:lnTo>
                    <a:pt x="772" y="800"/>
                  </a:lnTo>
                  <a:lnTo>
                    <a:pt x="771" y="802"/>
                  </a:lnTo>
                  <a:lnTo>
                    <a:pt x="772" y="806"/>
                  </a:lnTo>
                  <a:lnTo>
                    <a:pt x="773" y="810"/>
                  </a:lnTo>
                  <a:lnTo>
                    <a:pt x="773" y="816"/>
                  </a:lnTo>
                  <a:lnTo>
                    <a:pt x="769" y="819"/>
                  </a:lnTo>
                  <a:lnTo>
                    <a:pt x="766" y="818"/>
                  </a:lnTo>
                  <a:lnTo>
                    <a:pt x="762" y="815"/>
                  </a:lnTo>
                  <a:lnTo>
                    <a:pt x="760" y="814"/>
                  </a:lnTo>
                  <a:lnTo>
                    <a:pt x="759" y="815"/>
                  </a:lnTo>
                  <a:lnTo>
                    <a:pt x="756" y="814"/>
                  </a:lnTo>
                  <a:lnTo>
                    <a:pt x="748" y="810"/>
                  </a:lnTo>
                  <a:lnTo>
                    <a:pt x="744" y="812"/>
                  </a:lnTo>
                  <a:lnTo>
                    <a:pt x="744" y="814"/>
                  </a:lnTo>
                  <a:lnTo>
                    <a:pt x="743" y="815"/>
                  </a:lnTo>
                  <a:lnTo>
                    <a:pt x="743" y="820"/>
                  </a:lnTo>
                  <a:lnTo>
                    <a:pt x="747" y="830"/>
                  </a:lnTo>
                  <a:lnTo>
                    <a:pt x="744" y="837"/>
                  </a:lnTo>
                  <a:lnTo>
                    <a:pt x="744" y="843"/>
                  </a:lnTo>
                  <a:lnTo>
                    <a:pt x="744" y="845"/>
                  </a:lnTo>
                  <a:lnTo>
                    <a:pt x="743" y="845"/>
                  </a:lnTo>
                  <a:lnTo>
                    <a:pt x="733" y="840"/>
                  </a:lnTo>
                  <a:lnTo>
                    <a:pt x="727" y="837"/>
                  </a:lnTo>
                  <a:lnTo>
                    <a:pt x="729" y="839"/>
                  </a:lnTo>
                  <a:lnTo>
                    <a:pt x="727" y="842"/>
                  </a:lnTo>
                  <a:lnTo>
                    <a:pt x="725" y="844"/>
                  </a:lnTo>
                  <a:lnTo>
                    <a:pt x="722" y="845"/>
                  </a:lnTo>
                  <a:lnTo>
                    <a:pt x="718" y="846"/>
                  </a:lnTo>
                  <a:lnTo>
                    <a:pt x="713" y="845"/>
                  </a:lnTo>
                  <a:lnTo>
                    <a:pt x="707" y="840"/>
                  </a:lnTo>
                  <a:lnTo>
                    <a:pt x="703" y="834"/>
                  </a:lnTo>
                  <a:lnTo>
                    <a:pt x="700" y="832"/>
                  </a:lnTo>
                  <a:lnTo>
                    <a:pt x="700" y="830"/>
                  </a:lnTo>
                  <a:lnTo>
                    <a:pt x="700" y="824"/>
                  </a:lnTo>
                  <a:lnTo>
                    <a:pt x="694" y="818"/>
                  </a:lnTo>
                  <a:lnTo>
                    <a:pt x="694" y="819"/>
                  </a:lnTo>
                  <a:lnTo>
                    <a:pt x="696" y="825"/>
                  </a:lnTo>
                  <a:lnTo>
                    <a:pt x="691" y="826"/>
                  </a:lnTo>
                  <a:lnTo>
                    <a:pt x="684" y="825"/>
                  </a:lnTo>
                  <a:lnTo>
                    <a:pt x="682" y="825"/>
                  </a:lnTo>
                  <a:lnTo>
                    <a:pt x="677" y="828"/>
                  </a:lnTo>
                  <a:lnTo>
                    <a:pt x="673" y="830"/>
                  </a:lnTo>
                  <a:lnTo>
                    <a:pt x="682" y="832"/>
                  </a:lnTo>
                  <a:lnTo>
                    <a:pt x="685" y="832"/>
                  </a:lnTo>
                  <a:lnTo>
                    <a:pt x="690" y="833"/>
                  </a:lnTo>
                  <a:lnTo>
                    <a:pt x="691" y="838"/>
                  </a:lnTo>
                  <a:lnTo>
                    <a:pt x="692" y="842"/>
                  </a:lnTo>
                  <a:lnTo>
                    <a:pt x="695" y="845"/>
                  </a:lnTo>
                  <a:lnTo>
                    <a:pt x="694" y="848"/>
                  </a:lnTo>
                  <a:lnTo>
                    <a:pt x="682" y="850"/>
                  </a:lnTo>
                  <a:lnTo>
                    <a:pt x="674" y="848"/>
                  </a:lnTo>
                  <a:lnTo>
                    <a:pt x="670" y="845"/>
                  </a:lnTo>
                  <a:lnTo>
                    <a:pt x="659" y="842"/>
                  </a:lnTo>
                  <a:lnTo>
                    <a:pt x="654" y="842"/>
                  </a:lnTo>
                  <a:lnTo>
                    <a:pt x="651" y="839"/>
                  </a:lnTo>
                  <a:lnTo>
                    <a:pt x="648" y="837"/>
                  </a:lnTo>
                  <a:lnTo>
                    <a:pt x="647" y="834"/>
                  </a:lnTo>
                  <a:lnTo>
                    <a:pt x="649" y="830"/>
                  </a:lnTo>
                  <a:lnTo>
                    <a:pt x="649" y="826"/>
                  </a:lnTo>
                  <a:lnTo>
                    <a:pt x="648" y="825"/>
                  </a:lnTo>
                  <a:lnTo>
                    <a:pt x="645" y="824"/>
                  </a:lnTo>
                  <a:lnTo>
                    <a:pt x="643" y="824"/>
                  </a:lnTo>
                  <a:lnTo>
                    <a:pt x="642" y="827"/>
                  </a:lnTo>
                  <a:lnTo>
                    <a:pt x="641" y="828"/>
                  </a:lnTo>
                  <a:lnTo>
                    <a:pt x="638" y="828"/>
                  </a:lnTo>
                  <a:lnTo>
                    <a:pt x="632" y="827"/>
                  </a:lnTo>
                  <a:lnTo>
                    <a:pt x="631" y="824"/>
                  </a:lnTo>
                  <a:lnTo>
                    <a:pt x="631" y="815"/>
                  </a:lnTo>
                  <a:lnTo>
                    <a:pt x="627" y="809"/>
                  </a:lnTo>
                  <a:lnTo>
                    <a:pt x="627" y="812"/>
                  </a:lnTo>
                  <a:lnTo>
                    <a:pt x="626" y="809"/>
                  </a:lnTo>
                  <a:lnTo>
                    <a:pt x="621" y="801"/>
                  </a:lnTo>
                  <a:lnTo>
                    <a:pt x="621" y="798"/>
                  </a:lnTo>
                  <a:lnTo>
                    <a:pt x="619" y="796"/>
                  </a:lnTo>
                  <a:lnTo>
                    <a:pt x="614" y="796"/>
                  </a:lnTo>
                  <a:lnTo>
                    <a:pt x="611" y="795"/>
                  </a:lnTo>
                  <a:lnTo>
                    <a:pt x="612" y="797"/>
                  </a:lnTo>
                  <a:lnTo>
                    <a:pt x="618" y="804"/>
                  </a:lnTo>
                  <a:lnTo>
                    <a:pt x="621" y="814"/>
                  </a:lnTo>
                  <a:lnTo>
                    <a:pt x="625" y="818"/>
                  </a:lnTo>
                  <a:lnTo>
                    <a:pt x="626" y="822"/>
                  </a:lnTo>
                  <a:lnTo>
                    <a:pt x="624" y="827"/>
                  </a:lnTo>
                  <a:lnTo>
                    <a:pt x="624" y="831"/>
                  </a:lnTo>
                  <a:lnTo>
                    <a:pt x="625" y="840"/>
                  </a:lnTo>
                  <a:lnTo>
                    <a:pt x="625" y="844"/>
                  </a:lnTo>
                  <a:lnTo>
                    <a:pt x="624" y="846"/>
                  </a:lnTo>
                  <a:lnTo>
                    <a:pt x="617" y="848"/>
                  </a:lnTo>
                  <a:lnTo>
                    <a:pt x="611" y="851"/>
                  </a:lnTo>
                  <a:lnTo>
                    <a:pt x="608" y="854"/>
                  </a:lnTo>
                  <a:lnTo>
                    <a:pt x="606" y="854"/>
                  </a:lnTo>
                  <a:lnTo>
                    <a:pt x="597" y="855"/>
                  </a:lnTo>
                  <a:lnTo>
                    <a:pt x="585" y="857"/>
                  </a:lnTo>
                  <a:lnTo>
                    <a:pt x="582" y="857"/>
                  </a:lnTo>
                  <a:lnTo>
                    <a:pt x="578" y="855"/>
                  </a:lnTo>
                  <a:lnTo>
                    <a:pt x="574" y="845"/>
                  </a:lnTo>
                  <a:lnTo>
                    <a:pt x="574" y="838"/>
                  </a:lnTo>
                  <a:lnTo>
                    <a:pt x="570" y="836"/>
                  </a:lnTo>
                  <a:lnTo>
                    <a:pt x="565" y="834"/>
                  </a:lnTo>
                  <a:lnTo>
                    <a:pt x="562" y="836"/>
                  </a:lnTo>
                  <a:lnTo>
                    <a:pt x="561" y="839"/>
                  </a:lnTo>
                  <a:lnTo>
                    <a:pt x="558" y="840"/>
                  </a:lnTo>
                  <a:lnTo>
                    <a:pt x="552" y="840"/>
                  </a:lnTo>
                  <a:lnTo>
                    <a:pt x="548" y="840"/>
                  </a:lnTo>
                  <a:lnTo>
                    <a:pt x="547" y="844"/>
                  </a:lnTo>
                  <a:lnTo>
                    <a:pt x="543" y="844"/>
                  </a:lnTo>
                  <a:lnTo>
                    <a:pt x="535" y="840"/>
                  </a:lnTo>
                  <a:lnTo>
                    <a:pt x="535" y="833"/>
                  </a:lnTo>
                  <a:lnTo>
                    <a:pt x="537" y="830"/>
                  </a:lnTo>
                  <a:lnTo>
                    <a:pt x="536" y="827"/>
                  </a:lnTo>
                  <a:lnTo>
                    <a:pt x="533" y="826"/>
                  </a:lnTo>
                  <a:lnTo>
                    <a:pt x="533" y="824"/>
                  </a:lnTo>
                  <a:lnTo>
                    <a:pt x="530" y="822"/>
                  </a:lnTo>
                  <a:lnTo>
                    <a:pt x="524" y="824"/>
                  </a:lnTo>
                  <a:lnTo>
                    <a:pt x="521" y="821"/>
                  </a:lnTo>
                  <a:lnTo>
                    <a:pt x="519" y="819"/>
                  </a:lnTo>
                  <a:lnTo>
                    <a:pt x="519" y="814"/>
                  </a:lnTo>
                  <a:lnTo>
                    <a:pt x="517" y="809"/>
                  </a:lnTo>
                  <a:lnTo>
                    <a:pt x="519" y="808"/>
                  </a:lnTo>
                  <a:lnTo>
                    <a:pt x="529" y="808"/>
                  </a:lnTo>
                  <a:lnTo>
                    <a:pt x="533" y="802"/>
                  </a:lnTo>
                  <a:lnTo>
                    <a:pt x="537" y="803"/>
                  </a:lnTo>
                  <a:lnTo>
                    <a:pt x="538" y="802"/>
                  </a:lnTo>
                  <a:lnTo>
                    <a:pt x="539" y="800"/>
                  </a:lnTo>
                  <a:lnTo>
                    <a:pt x="543" y="791"/>
                  </a:lnTo>
                  <a:lnTo>
                    <a:pt x="542" y="788"/>
                  </a:lnTo>
                  <a:lnTo>
                    <a:pt x="539" y="786"/>
                  </a:lnTo>
                  <a:lnTo>
                    <a:pt x="533" y="788"/>
                  </a:lnTo>
                  <a:lnTo>
                    <a:pt x="527" y="791"/>
                  </a:lnTo>
                  <a:lnTo>
                    <a:pt x="523" y="792"/>
                  </a:lnTo>
                  <a:lnTo>
                    <a:pt x="520" y="794"/>
                  </a:lnTo>
                  <a:lnTo>
                    <a:pt x="519" y="792"/>
                  </a:lnTo>
                  <a:lnTo>
                    <a:pt x="515" y="789"/>
                  </a:lnTo>
                  <a:lnTo>
                    <a:pt x="513" y="789"/>
                  </a:lnTo>
                  <a:lnTo>
                    <a:pt x="511" y="792"/>
                  </a:lnTo>
                  <a:lnTo>
                    <a:pt x="506" y="798"/>
                  </a:lnTo>
                  <a:lnTo>
                    <a:pt x="497" y="806"/>
                  </a:lnTo>
                  <a:lnTo>
                    <a:pt x="493" y="812"/>
                  </a:lnTo>
                  <a:lnTo>
                    <a:pt x="490" y="820"/>
                  </a:lnTo>
                  <a:lnTo>
                    <a:pt x="490" y="837"/>
                  </a:lnTo>
                  <a:lnTo>
                    <a:pt x="493" y="864"/>
                  </a:lnTo>
                  <a:lnTo>
                    <a:pt x="493" y="879"/>
                  </a:lnTo>
                  <a:lnTo>
                    <a:pt x="494" y="885"/>
                  </a:lnTo>
                  <a:lnTo>
                    <a:pt x="499" y="891"/>
                  </a:lnTo>
                  <a:lnTo>
                    <a:pt x="505" y="899"/>
                  </a:lnTo>
                  <a:lnTo>
                    <a:pt x="508" y="909"/>
                  </a:lnTo>
                  <a:lnTo>
                    <a:pt x="511" y="91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0" name="Freeform 63"/>
            <p:cNvSpPr>
              <a:spLocks/>
            </p:cNvSpPr>
            <p:nvPr userDrawn="1"/>
          </p:nvSpPr>
          <p:spPr bwMode="auto">
            <a:xfrm>
              <a:off x="4319588" y="6208713"/>
              <a:ext cx="287338" cy="350838"/>
            </a:xfrm>
            <a:custGeom>
              <a:avLst/>
              <a:gdLst/>
              <a:ahLst/>
              <a:cxnLst>
                <a:cxn ang="0">
                  <a:pos x="422" y="709"/>
                </a:cxn>
                <a:cxn ang="0">
                  <a:pos x="410" y="667"/>
                </a:cxn>
                <a:cxn ang="0">
                  <a:pos x="390" y="629"/>
                </a:cxn>
                <a:cxn ang="0">
                  <a:pos x="430" y="603"/>
                </a:cxn>
                <a:cxn ang="0">
                  <a:pos x="355" y="668"/>
                </a:cxn>
                <a:cxn ang="0">
                  <a:pos x="387" y="737"/>
                </a:cxn>
                <a:cxn ang="0">
                  <a:pos x="371" y="696"/>
                </a:cxn>
                <a:cxn ang="0">
                  <a:pos x="319" y="703"/>
                </a:cxn>
                <a:cxn ang="0">
                  <a:pos x="273" y="707"/>
                </a:cxn>
                <a:cxn ang="0">
                  <a:pos x="231" y="682"/>
                </a:cxn>
                <a:cxn ang="0">
                  <a:pos x="207" y="703"/>
                </a:cxn>
                <a:cxn ang="0">
                  <a:pos x="175" y="722"/>
                </a:cxn>
                <a:cxn ang="0">
                  <a:pos x="130" y="698"/>
                </a:cxn>
                <a:cxn ang="0">
                  <a:pos x="21" y="722"/>
                </a:cxn>
                <a:cxn ang="0">
                  <a:pos x="80" y="649"/>
                </a:cxn>
                <a:cxn ang="0">
                  <a:pos x="23" y="611"/>
                </a:cxn>
                <a:cxn ang="0">
                  <a:pos x="9" y="560"/>
                </a:cxn>
                <a:cxn ang="0">
                  <a:pos x="9" y="490"/>
                </a:cxn>
                <a:cxn ang="0">
                  <a:pos x="116" y="494"/>
                </a:cxn>
                <a:cxn ang="0">
                  <a:pos x="125" y="454"/>
                </a:cxn>
                <a:cxn ang="0">
                  <a:pos x="149" y="383"/>
                </a:cxn>
                <a:cxn ang="0">
                  <a:pos x="86" y="381"/>
                </a:cxn>
                <a:cxn ang="0">
                  <a:pos x="51" y="358"/>
                </a:cxn>
                <a:cxn ang="0">
                  <a:pos x="62" y="328"/>
                </a:cxn>
                <a:cxn ang="0">
                  <a:pos x="88" y="275"/>
                </a:cxn>
                <a:cxn ang="0">
                  <a:pos x="125" y="203"/>
                </a:cxn>
                <a:cxn ang="0">
                  <a:pos x="165" y="155"/>
                </a:cxn>
                <a:cxn ang="0">
                  <a:pos x="207" y="149"/>
                </a:cxn>
                <a:cxn ang="0">
                  <a:pos x="246" y="179"/>
                </a:cxn>
                <a:cxn ang="0">
                  <a:pos x="332" y="174"/>
                </a:cxn>
                <a:cxn ang="0">
                  <a:pos x="348" y="105"/>
                </a:cxn>
                <a:cxn ang="0">
                  <a:pos x="353" y="108"/>
                </a:cxn>
                <a:cxn ang="0">
                  <a:pos x="385" y="155"/>
                </a:cxn>
                <a:cxn ang="0">
                  <a:pos x="454" y="126"/>
                </a:cxn>
                <a:cxn ang="0">
                  <a:pos x="501" y="156"/>
                </a:cxn>
                <a:cxn ang="0">
                  <a:pos x="556" y="210"/>
                </a:cxn>
                <a:cxn ang="0">
                  <a:pos x="541" y="141"/>
                </a:cxn>
                <a:cxn ang="0">
                  <a:pos x="503" y="89"/>
                </a:cxn>
                <a:cxn ang="0">
                  <a:pos x="490" y="18"/>
                </a:cxn>
                <a:cxn ang="0">
                  <a:pos x="562" y="41"/>
                </a:cxn>
                <a:cxn ang="0">
                  <a:pos x="631" y="86"/>
                </a:cxn>
                <a:cxn ang="0">
                  <a:pos x="648" y="139"/>
                </a:cxn>
                <a:cxn ang="0">
                  <a:pos x="678" y="171"/>
                </a:cxn>
                <a:cxn ang="0">
                  <a:pos x="730" y="171"/>
                </a:cxn>
                <a:cxn ang="0">
                  <a:pos x="780" y="141"/>
                </a:cxn>
                <a:cxn ang="0">
                  <a:pos x="816" y="169"/>
                </a:cxn>
                <a:cxn ang="0">
                  <a:pos x="779" y="222"/>
                </a:cxn>
                <a:cxn ang="0">
                  <a:pos x="755" y="250"/>
                </a:cxn>
                <a:cxn ang="0">
                  <a:pos x="794" y="273"/>
                </a:cxn>
                <a:cxn ang="0">
                  <a:pos x="860" y="298"/>
                </a:cxn>
                <a:cxn ang="0">
                  <a:pos x="902" y="356"/>
                </a:cxn>
                <a:cxn ang="0">
                  <a:pos x="847" y="407"/>
                </a:cxn>
                <a:cxn ang="0">
                  <a:pos x="838" y="446"/>
                </a:cxn>
                <a:cxn ang="0">
                  <a:pos x="771" y="477"/>
                </a:cxn>
                <a:cxn ang="0">
                  <a:pos x="842" y="551"/>
                </a:cxn>
                <a:cxn ang="0">
                  <a:pos x="774" y="549"/>
                </a:cxn>
                <a:cxn ang="0">
                  <a:pos x="768" y="601"/>
                </a:cxn>
                <a:cxn ang="0">
                  <a:pos x="786" y="694"/>
                </a:cxn>
                <a:cxn ang="0">
                  <a:pos x="757" y="742"/>
                </a:cxn>
                <a:cxn ang="0">
                  <a:pos x="686" y="786"/>
                </a:cxn>
                <a:cxn ang="0">
                  <a:pos x="619" y="773"/>
                </a:cxn>
                <a:cxn ang="0">
                  <a:pos x="544" y="777"/>
                </a:cxn>
                <a:cxn ang="0">
                  <a:pos x="483" y="722"/>
                </a:cxn>
              </a:cxnLst>
              <a:rect l="0" t="0" r="r" b="b"/>
              <a:pathLst>
                <a:path w="906" h="1106">
                  <a:moveTo>
                    <a:pt x="472" y="1106"/>
                  </a:moveTo>
                  <a:lnTo>
                    <a:pt x="442" y="1106"/>
                  </a:lnTo>
                  <a:lnTo>
                    <a:pt x="440" y="1077"/>
                  </a:lnTo>
                  <a:lnTo>
                    <a:pt x="437" y="1060"/>
                  </a:lnTo>
                  <a:lnTo>
                    <a:pt x="437" y="1022"/>
                  </a:lnTo>
                  <a:lnTo>
                    <a:pt x="436" y="1017"/>
                  </a:lnTo>
                  <a:lnTo>
                    <a:pt x="438" y="1009"/>
                  </a:lnTo>
                  <a:lnTo>
                    <a:pt x="444" y="958"/>
                  </a:lnTo>
                  <a:lnTo>
                    <a:pt x="452" y="912"/>
                  </a:lnTo>
                  <a:lnTo>
                    <a:pt x="455" y="892"/>
                  </a:lnTo>
                  <a:lnTo>
                    <a:pt x="461" y="873"/>
                  </a:lnTo>
                  <a:lnTo>
                    <a:pt x="462" y="868"/>
                  </a:lnTo>
                  <a:lnTo>
                    <a:pt x="462" y="862"/>
                  </a:lnTo>
                  <a:lnTo>
                    <a:pt x="461" y="849"/>
                  </a:lnTo>
                  <a:lnTo>
                    <a:pt x="461" y="823"/>
                  </a:lnTo>
                  <a:lnTo>
                    <a:pt x="459" y="802"/>
                  </a:lnTo>
                  <a:lnTo>
                    <a:pt x="460" y="791"/>
                  </a:lnTo>
                  <a:lnTo>
                    <a:pt x="461" y="780"/>
                  </a:lnTo>
                  <a:lnTo>
                    <a:pt x="461" y="768"/>
                  </a:lnTo>
                  <a:lnTo>
                    <a:pt x="460" y="756"/>
                  </a:lnTo>
                  <a:lnTo>
                    <a:pt x="458" y="748"/>
                  </a:lnTo>
                  <a:lnTo>
                    <a:pt x="454" y="740"/>
                  </a:lnTo>
                  <a:lnTo>
                    <a:pt x="452" y="738"/>
                  </a:lnTo>
                  <a:lnTo>
                    <a:pt x="452" y="734"/>
                  </a:lnTo>
                  <a:lnTo>
                    <a:pt x="452" y="728"/>
                  </a:lnTo>
                  <a:lnTo>
                    <a:pt x="446" y="714"/>
                  </a:lnTo>
                  <a:lnTo>
                    <a:pt x="444" y="708"/>
                  </a:lnTo>
                  <a:lnTo>
                    <a:pt x="442" y="710"/>
                  </a:lnTo>
                  <a:lnTo>
                    <a:pt x="446" y="715"/>
                  </a:lnTo>
                  <a:lnTo>
                    <a:pt x="444" y="718"/>
                  </a:lnTo>
                  <a:lnTo>
                    <a:pt x="443" y="724"/>
                  </a:lnTo>
                  <a:lnTo>
                    <a:pt x="443" y="728"/>
                  </a:lnTo>
                  <a:lnTo>
                    <a:pt x="441" y="726"/>
                  </a:lnTo>
                  <a:lnTo>
                    <a:pt x="440" y="728"/>
                  </a:lnTo>
                  <a:lnTo>
                    <a:pt x="437" y="728"/>
                  </a:lnTo>
                  <a:lnTo>
                    <a:pt x="435" y="726"/>
                  </a:lnTo>
                  <a:lnTo>
                    <a:pt x="432" y="728"/>
                  </a:lnTo>
                  <a:lnTo>
                    <a:pt x="429" y="731"/>
                  </a:lnTo>
                  <a:lnTo>
                    <a:pt x="426" y="734"/>
                  </a:lnTo>
                  <a:lnTo>
                    <a:pt x="425" y="728"/>
                  </a:lnTo>
                  <a:lnTo>
                    <a:pt x="425" y="726"/>
                  </a:lnTo>
                  <a:lnTo>
                    <a:pt x="423" y="727"/>
                  </a:lnTo>
                  <a:lnTo>
                    <a:pt x="420" y="727"/>
                  </a:lnTo>
                  <a:lnTo>
                    <a:pt x="418" y="732"/>
                  </a:lnTo>
                  <a:lnTo>
                    <a:pt x="408" y="734"/>
                  </a:lnTo>
                  <a:lnTo>
                    <a:pt x="406" y="736"/>
                  </a:lnTo>
                  <a:lnTo>
                    <a:pt x="410" y="732"/>
                  </a:lnTo>
                  <a:lnTo>
                    <a:pt x="412" y="728"/>
                  </a:lnTo>
                  <a:lnTo>
                    <a:pt x="413" y="725"/>
                  </a:lnTo>
                  <a:lnTo>
                    <a:pt x="417" y="724"/>
                  </a:lnTo>
                  <a:lnTo>
                    <a:pt x="414" y="722"/>
                  </a:lnTo>
                  <a:lnTo>
                    <a:pt x="411" y="725"/>
                  </a:lnTo>
                  <a:lnTo>
                    <a:pt x="411" y="721"/>
                  </a:lnTo>
                  <a:lnTo>
                    <a:pt x="416" y="719"/>
                  </a:lnTo>
                  <a:lnTo>
                    <a:pt x="417" y="719"/>
                  </a:lnTo>
                  <a:lnTo>
                    <a:pt x="417" y="718"/>
                  </a:lnTo>
                  <a:lnTo>
                    <a:pt x="416" y="715"/>
                  </a:lnTo>
                  <a:lnTo>
                    <a:pt x="419" y="714"/>
                  </a:lnTo>
                  <a:lnTo>
                    <a:pt x="420" y="716"/>
                  </a:lnTo>
                  <a:lnTo>
                    <a:pt x="420" y="719"/>
                  </a:lnTo>
                  <a:lnTo>
                    <a:pt x="419" y="720"/>
                  </a:lnTo>
                  <a:lnTo>
                    <a:pt x="420" y="722"/>
                  </a:lnTo>
                  <a:lnTo>
                    <a:pt x="424" y="720"/>
                  </a:lnTo>
                  <a:lnTo>
                    <a:pt x="425" y="719"/>
                  </a:lnTo>
                  <a:lnTo>
                    <a:pt x="425" y="718"/>
                  </a:lnTo>
                  <a:lnTo>
                    <a:pt x="424" y="715"/>
                  </a:lnTo>
                  <a:lnTo>
                    <a:pt x="423" y="713"/>
                  </a:lnTo>
                  <a:lnTo>
                    <a:pt x="422" y="709"/>
                  </a:lnTo>
                  <a:lnTo>
                    <a:pt x="423" y="708"/>
                  </a:lnTo>
                  <a:lnTo>
                    <a:pt x="422" y="708"/>
                  </a:lnTo>
                  <a:lnTo>
                    <a:pt x="424" y="703"/>
                  </a:lnTo>
                  <a:lnTo>
                    <a:pt x="428" y="701"/>
                  </a:lnTo>
                  <a:lnTo>
                    <a:pt x="434" y="701"/>
                  </a:lnTo>
                  <a:lnTo>
                    <a:pt x="435" y="702"/>
                  </a:lnTo>
                  <a:lnTo>
                    <a:pt x="440" y="696"/>
                  </a:lnTo>
                  <a:lnTo>
                    <a:pt x="444" y="686"/>
                  </a:lnTo>
                  <a:lnTo>
                    <a:pt x="449" y="683"/>
                  </a:lnTo>
                  <a:lnTo>
                    <a:pt x="449" y="680"/>
                  </a:lnTo>
                  <a:lnTo>
                    <a:pt x="449" y="678"/>
                  </a:lnTo>
                  <a:lnTo>
                    <a:pt x="448" y="680"/>
                  </a:lnTo>
                  <a:lnTo>
                    <a:pt x="448" y="678"/>
                  </a:lnTo>
                  <a:lnTo>
                    <a:pt x="446" y="679"/>
                  </a:lnTo>
                  <a:lnTo>
                    <a:pt x="442" y="682"/>
                  </a:lnTo>
                  <a:lnTo>
                    <a:pt x="438" y="682"/>
                  </a:lnTo>
                  <a:lnTo>
                    <a:pt x="438" y="679"/>
                  </a:lnTo>
                  <a:lnTo>
                    <a:pt x="436" y="680"/>
                  </a:lnTo>
                  <a:lnTo>
                    <a:pt x="435" y="682"/>
                  </a:lnTo>
                  <a:lnTo>
                    <a:pt x="435" y="678"/>
                  </a:lnTo>
                  <a:lnTo>
                    <a:pt x="436" y="676"/>
                  </a:lnTo>
                  <a:lnTo>
                    <a:pt x="437" y="673"/>
                  </a:lnTo>
                  <a:lnTo>
                    <a:pt x="441" y="670"/>
                  </a:lnTo>
                  <a:lnTo>
                    <a:pt x="435" y="674"/>
                  </a:lnTo>
                  <a:lnTo>
                    <a:pt x="434" y="671"/>
                  </a:lnTo>
                  <a:lnTo>
                    <a:pt x="434" y="668"/>
                  </a:lnTo>
                  <a:lnTo>
                    <a:pt x="436" y="667"/>
                  </a:lnTo>
                  <a:lnTo>
                    <a:pt x="435" y="666"/>
                  </a:lnTo>
                  <a:lnTo>
                    <a:pt x="432" y="667"/>
                  </a:lnTo>
                  <a:lnTo>
                    <a:pt x="430" y="670"/>
                  </a:lnTo>
                  <a:lnTo>
                    <a:pt x="430" y="666"/>
                  </a:lnTo>
                  <a:lnTo>
                    <a:pt x="429" y="664"/>
                  </a:lnTo>
                  <a:lnTo>
                    <a:pt x="428" y="660"/>
                  </a:lnTo>
                  <a:lnTo>
                    <a:pt x="425" y="665"/>
                  </a:lnTo>
                  <a:lnTo>
                    <a:pt x="423" y="666"/>
                  </a:lnTo>
                  <a:lnTo>
                    <a:pt x="422" y="668"/>
                  </a:lnTo>
                  <a:lnTo>
                    <a:pt x="423" y="672"/>
                  </a:lnTo>
                  <a:lnTo>
                    <a:pt x="420" y="673"/>
                  </a:lnTo>
                  <a:lnTo>
                    <a:pt x="420" y="674"/>
                  </a:lnTo>
                  <a:lnTo>
                    <a:pt x="425" y="676"/>
                  </a:lnTo>
                  <a:lnTo>
                    <a:pt x="425" y="678"/>
                  </a:lnTo>
                  <a:lnTo>
                    <a:pt x="426" y="680"/>
                  </a:lnTo>
                  <a:lnTo>
                    <a:pt x="425" y="684"/>
                  </a:lnTo>
                  <a:lnTo>
                    <a:pt x="424" y="683"/>
                  </a:lnTo>
                  <a:lnTo>
                    <a:pt x="422" y="680"/>
                  </a:lnTo>
                  <a:lnTo>
                    <a:pt x="420" y="683"/>
                  </a:lnTo>
                  <a:lnTo>
                    <a:pt x="420" y="684"/>
                  </a:lnTo>
                  <a:lnTo>
                    <a:pt x="418" y="679"/>
                  </a:lnTo>
                  <a:lnTo>
                    <a:pt x="416" y="677"/>
                  </a:lnTo>
                  <a:lnTo>
                    <a:pt x="414" y="678"/>
                  </a:lnTo>
                  <a:lnTo>
                    <a:pt x="412" y="680"/>
                  </a:lnTo>
                  <a:lnTo>
                    <a:pt x="411" y="680"/>
                  </a:lnTo>
                  <a:lnTo>
                    <a:pt x="408" y="682"/>
                  </a:lnTo>
                  <a:lnTo>
                    <a:pt x="406" y="686"/>
                  </a:lnTo>
                  <a:lnTo>
                    <a:pt x="402" y="688"/>
                  </a:lnTo>
                  <a:lnTo>
                    <a:pt x="399" y="691"/>
                  </a:lnTo>
                  <a:lnTo>
                    <a:pt x="399" y="688"/>
                  </a:lnTo>
                  <a:lnTo>
                    <a:pt x="402" y="685"/>
                  </a:lnTo>
                  <a:lnTo>
                    <a:pt x="405" y="683"/>
                  </a:lnTo>
                  <a:lnTo>
                    <a:pt x="403" y="683"/>
                  </a:lnTo>
                  <a:lnTo>
                    <a:pt x="403" y="682"/>
                  </a:lnTo>
                  <a:lnTo>
                    <a:pt x="406" y="679"/>
                  </a:lnTo>
                  <a:lnTo>
                    <a:pt x="405" y="678"/>
                  </a:lnTo>
                  <a:lnTo>
                    <a:pt x="402" y="678"/>
                  </a:lnTo>
                  <a:lnTo>
                    <a:pt x="400" y="678"/>
                  </a:lnTo>
                  <a:lnTo>
                    <a:pt x="401" y="674"/>
                  </a:lnTo>
                  <a:lnTo>
                    <a:pt x="403" y="668"/>
                  </a:lnTo>
                  <a:lnTo>
                    <a:pt x="410" y="667"/>
                  </a:lnTo>
                  <a:lnTo>
                    <a:pt x="412" y="670"/>
                  </a:lnTo>
                  <a:lnTo>
                    <a:pt x="413" y="670"/>
                  </a:lnTo>
                  <a:lnTo>
                    <a:pt x="411" y="666"/>
                  </a:lnTo>
                  <a:lnTo>
                    <a:pt x="412" y="665"/>
                  </a:lnTo>
                  <a:lnTo>
                    <a:pt x="417" y="665"/>
                  </a:lnTo>
                  <a:lnTo>
                    <a:pt x="418" y="668"/>
                  </a:lnTo>
                  <a:lnTo>
                    <a:pt x="419" y="666"/>
                  </a:lnTo>
                  <a:lnTo>
                    <a:pt x="422" y="665"/>
                  </a:lnTo>
                  <a:lnTo>
                    <a:pt x="425" y="662"/>
                  </a:lnTo>
                  <a:lnTo>
                    <a:pt x="426" y="659"/>
                  </a:lnTo>
                  <a:lnTo>
                    <a:pt x="426" y="655"/>
                  </a:lnTo>
                  <a:lnTo>
                    <a:pt x="425" y="655"/>
                  </a:lnTo>
                  <a:lnTo>
                    <a:pt x="423" y="656"/>
                  </a:lnTo>
                  <a:lnTo>
                    <a:pt x="418" y="656"/>
                  </a:lnTo>
                  <a:lnTo>
                    <a:pt x="422" y="654"/>
                  </a:lnTo>
                  <a:lnTo>
                    <a:pt x="422" y="650"/>
                  </a:lnTo>
                  <a:lnTo>
                    <a:pt x="422" y="647"/>
                  </a:lnTo>
                  <a:lnTo>
                    <a:pt x="424" y="642"/>
                  </a:lnTo>
                  <a:lnTo>
                    <a:pt x="423" y="642"/>
                  </a:lnTo>
                  <a:lnTo>
                    <a:pt x="418" y="643"/>
                  </a:lnTo>
                  <a:lnTo>
                    <a:pt x="414" y="646"/>
                  </a:lnTo>
                  <a:lnTo>
                    <a:pt x="411" y="648"/>
                  </a:lnTo>
                  <a:lnTo>
                    <a:pt x="408" y="652"/>
                  </a:lnTo>
                  <a:lnTo>
                    <a:pt x="406" y="655"/>
                  </a:lnTo>
                  <a:lnTo>
                    <a:pt x="405" y="654"/>
                  </a:lnTo>
                  <a:lnTo>
                    <a:pt x="405" y="649"/>
                  </a:lnTo>
                  <a:lnTo>
                    <a:pt x="407" y="648"/>
                  </a:lnTo>
                  <a:lnTo>
                    <a:pt x="412" y="647"/>
                  </a:lnTo>
                  <a:lnTo>
                    <a:pt x="417" y="642"/>
                  </a:lnTo>
                  <a:lnTo>
                    <a:pt x="418" y="637"/>
                  </a:lnTo>
                  <a:lnTo>
                    <a:pt x="416" y="638"/>
                  </a:lnTo>
                  <a:lnTo>
                    <a:pt x="412" y="644"/>
                  </a:lnTo>
                  <a:lnTo>
                    <a:pt x="410" y="644"/>
                  </a:lnTo>
                  <a:lnTo>
                    <a:pt x="414" y="637"/>
                  </a:lnTo>
                  <a:lnTo>
                    <a:pt x="414" y="632"/>
                  </a:lnTo>
                  <a:lnTo>
                    <a:pt x="418" y="629"/>
                  </a:lnTo>
                  <a:lnTo>
                    <a:pt x="420" y="626"/>
                  </a:lnTo>
                  <a:lnTo>
                    <a:pt x="417" y="626"/>
                  </a:lnTo>
                  <a:lnTo>
                    <a:pt x="416" y="627"/>
                  </a:lnTo>
                  <a:lnTo>
                    <a:pt x="416" y="630"/>
                  </a:lnTo>
                  <a:lnTo>
                    <a:pt x="413" y="632"/>
                  </a:lnTo>
                  <a:lnTo>
                    <a:pt x="413" y="630"/>
                  </a:lnTo>
                  <a:lnTo>
                    <a:pt x="413" y="626"/>
                  </a:lnTo>
                  <a:lnTo>
                    <a:pt x="411" y="625"/>
                  </a:lnTo>
                  <a:lnTo>
                    <a:pt x="408" y="623"/>
                  </a:lnTo>
                  <a:lnTo>
                    <a:pt x="405" y="623"/>
                  </a:lnTo>
                  <a:lnTo>
                    <a:pt x="410" y="626"/>
                  </a:lnTo>
                  <a:lnTo>
                    <a:pt x="410" y="629"/>
                  </a:lnTo>
                  <a:lnTo>
                    <a:pt x="408" y="630"/>
                  </a:lnTo>
                  <a:lnTo>
                    <a:pt x="408" y="632"/>
                  </a:lnTo>
                  <a:lnTo>
                    <a:pt x="406" y="630"/>
                  </a:lnTo>
                  <a:lnTo>
                    <a:pt x="405" y="632"/>
                  </a:lnTo>
                  <a:lnTo>
                    <a:pt x="406" y="633"/>
                  </a:lnTo>
                  <a:lnTo>
                    <a:pt x="406" y="636"/>
                  </a:lnTo>
                  <a:lnTo>
                    <a:pt x="401" y="641"/>
                  </a:lnTo>
                  <a:lnTo>
                    <a:pt x="399" y="643"/>
                  </a:lnTo>
                  <a:lnTo>
                    <a:pt x="397" y="639"/>
                  </a:lnTo>
                  <a:lnTo>
                    <a:pt x="397" y="635"/>
                  </a:lnTo>
                  <a:lnTo>
                    <a:pt x="396" y="635"/>
                  </a:lnTo>
                  <a:lnTo>
                    <a:pt x="397" y="631"/>
                  </a:lnTo>
                  <a:lnTo>
                    <a:pt x="397" y="629"/>
                  </a:lnTo>
                  <a:lnTo>
                    <a:pt x="397" y="630"/>
                  </a:lnTo>
                  <a:lnTo>
                    <a:pt x="396" y="631"/>
                  </a:lnTo>
                  <a:lnTo>
                    <a:pt x="396" y="627"/>
                  </a:lnTo>
                  <a:lnTo>
                    <a:pt x="395" y="631"/>
                  </a:lnTo>
                  <a:lnTo>
                    <a:pt x="391" y="631"/>
                  </a:lnTo>
                  <a:lnTo>
                    <a:pt x="389" y="633"/>
                  </a:lnTo>
                  <a:lnTo>
                    <a:pt x="390" y="629"/>
                  </a:lnTo>
                  <a:lnTo>
                    <a:pt x="393" y="626"/>
                  </a:lnTo>
                  <a:lnTo>
                    <a:pt x="393" y="624"/>
                  </a:lnTo>
                  <a:lnTo>
                    <a:pt x="388" y="625"/>
                  </a:lnTo>
                  <a:lnTo>
                    <a:pt x="389" y="621"/>
                  </a:lnTo>
                  <a:lnTo>
                    <a:pt x="389" y="619"/>
                  </a:lnTo>
                  <a:lnTo>
                    <a:pt x="389" y="615"/>
                  </a:lnTo>
                  <a:lnTo>
                    <a:pt x="389" y="613"/>
                  </a:lnTo>
                  <a:lnTo>
                    <a:pt x="389" y="612"/>
                  </a:lnTo>
                  <a:lnTo>
                    <a:pt x="391" y="609"/>
                  </a:lnTo>
                  <a:lnTo>
                    <a:pt x="393" y="613"/>
                  </a:lnTo>
                  <a:lnTo>
                    <a:pt x="394" y="617"/>
                  </a:lnTo>
                  <a:lnTo>
                    <a:pt x="394" y="619"/>
                  </a:lnTo>
                  <a:lnTo>
                    <a:pt x="395" y="620"/>
                  </a:lnTo>
                  <a:lnTo>
                    <a:pt x="397" y="620"/>
                  </a:lnTo>
                  <a:lnTo>
                    <a:pt x="400" y="617"/>
                  </a:lnTo>
                  <a:lnTo>
                    <a:pt x="403" y="617"/>
                  </a:lnTo>
                  <a:lnTo>
                    <a:pt x="406" y="618"/>
                  </a:lnTo>
                  <a:lnTo>
                    <a:pt x="407" y="620"/>
                  </a:lnTo>
                  <a:lnTo>
                    <a:pt x="411" y="621"/>
                  </a:lnTo>
                  <a:lnTo>
                    <a:pt x="413" y="621"/>
                  </a:lnTo>
                  <a:lnTo>
                    <a:pt x="416" y="621"/>
                  </a:lnTo>
                  <a:lnTo>
                    <a:pt x="416" y="618"/>
                  </a:lnTo>
                  <a:lnTo>
                    <a:pt x="418" y="617"/>
                  </a:lnTo>
                  <a:lnTo>
                    <a:pt x="422" y="617"/>
                  </a:lnTo>
                  <a:lnTo>
                    <a:pt x="423" y="617"/>
                  </a:lnTo>
                  <a:lnTo>
                    <a:pt x="424" y="619"/>
                  </a:lnTo>
                  <a:lnTo>
                    <a:pt x="425" y="620"/>
                  </a:lnTo>
                  <a:lnTo>
                    <a:pt x="426" y="619"/>
                  </a:lnTo>
                  <a:lnTo>
                    <a:pt x="428" y="618"/>
                  </a:lnTo>
                  <a:lnTo>
                    <a:pt x="426" y="617"/>
                  </a:lnTo>
                  <a:lnTo>
                    <a:pt x="425" y="615"/>
                  </a:lnTo>
                  <a:lnTo>
                    <a:pt x="423" y="614"/>
                  </a:lnTo>
                  <a:lnTo>
                    <a:pt x="422" y="614"/>
                  </a:lnTo>
                  <a:lnTo>
                    <a:pt x="419" y="615"/>
                  </a:lnTo>
                  <a:lnTo>
                    <a:pt x="417" y="615"/>
                  </a:lnTo>
                  <a:lnTo>
                    <a:pt x="414" y="618"/>
                  </a:lnTo>
                  <a:lnTo>
                    <a:pt x="412" y="619"/>
                  </a:lnTo>
                  <a:lnTo>
                    <a:pt x="411" y="618"/>
                  </a:lnTo>
                  <a:lnTo>
                    <a:pt x="410" y="617"/>
                  </a:lnTo>
                  <a:lnTo>
                    <a:pt x="408" y="614"/>
                  </a:lnTo>
                  <a:lnTo>
                    <a:pt x="411" y="613"/>
                  </a:lnTo>
                  <a:lnTo>
                    <a:pt x="412" y="612"/>
                  </a:lnTo>
                  <a:lnTo>
                    <a:pt x="416" y="611"/>
                  </a:lnTo>
                  <a:lnTo>
                    <a:pt x="417" y="612"/>
                  </a:lnTo>
                  <a:lnTo>
                    <a:pt x="419" y="611"/>
                  </a:lnTo>
                  <a:lnTo>
                    <a:pt x="418" y="611"/>
                  </a:lnTo>
                  <a:lnTo>
                    <a:pt x="419" y="608"/>
                  </a:lnTo>
                  <a:lnTo>
                    <a:pt x="419" y="607"/>
                  </a:lnTo>
                  <a:lnTo>
                    <a:pt x="420" y="607"/>
                  </a:lnTo>
                  <a:lnTo>
                    <a:pt x="423" y="606"/>
                  </a:lnTo>
                  <a:lnTo>
                    <a:pt x="418" y="606"/>
                  </a:lnTo>
                  <a:lnTo>
                    <a:pt x="414" y="608"/>
                  </a:lnTo>
                  <a:lnTo>
                    <a:pt x="406" y="608"/>
                  </a:lnTo>
                  <a:lnTo>
                    <a:pt x="410" y="606"/>
                  </a:lnTo>
                  <a:lnTo>
                    <a:pt x="413" y="602"/>
                  </a:lnTo>
                  <a:lnTo>
                    <a:pt x="419" y="602"/>
                  </a:lnTo>
                  <a:lnTo>
                    <a:pt x="423" y="602"/>
                  </a:lnTo>
                  <a:lnTo>
                    <a:pt x="426" y="603"/>
                  </a:lnTo>
                  <a:lnTo>
                    <a:pt x="425" y="607"/>
                  </a:lnTo>
                  <a:lnTo>
                    <a:pt x="426" y="609"/>
                  </a:lnTo>
                  <a:lnTo>
                    <a:pt x="426" y="611"/>
                  </a:lnTo>
                  <a:lnTo>
                    <a:pt x="429" y="612"/>
                  </a:lnTo>
                  <a:lnTo>
                    <a:pt x="429" y="611"/>
                  </a:lnTo>
                  <a:lnTo>
                    <a:pt x="431" y="609"/>
                  </a:lnTo>
                  <a:lnTo>
                    <a:pt x="430" y="607"/>
                  </a:lnTo>
                  <a:lnTo>
                    <a:pt x="429" y="607"/>
                  </a:lnTo>
                  <a:lnTo>
                    <a:pt x="429" y="606"/>
                  </a:lnTo>
                  <a:lnTo>
                    <a:pt x="430" y="603"/>
                  </a:lnTo>
                  <a:lnTo>
                    <a:pt x="430" y="601"/>
                  </a:lnTo>
                  <a:lnTo>
                    <a:pt x="429" y="600"/>
                  </a:lnTo>
                  <a:lnTo>
                    <a:pt x="429" y="597"/>
                  </a:lnTo>
                  <a:lnTo>
                    <a:pt x="429" y="596"/>
                  </a:lnTo>
                  <a:lnTo>
                    <a:pt x="428" y="594"/>
                  </a:lnTo>
                  <a:lnTo>
                    <a:pt x="429" y="594"/>
                  </a:lnTo>
                  <a:lnTo>
                    <a:pt x="425" y="593"/>
                  </a:lnTo>
                  <a:lnTo>
                    <a:pt x="405" y="593"/>
                  </a:lnTo>
                  <a:lnTo>
                    <a:pt x="366" y="599"/>
                  </a:lnTo>
                  <a:lnTo>
                    <a:pt x="355" y="600"/>
                  </a:lnTo>
                  <a:lnTo>
                    <a:pt x="348" y="602"/>
                  </a:lnTo>
                  <a:lnTo>
                    <a:pt x="330" y="611"/>
                  </a:lnTo>
                  <a:lnTo>
                    <a:pt x="325" y="611"/>
                  </a:lnTo>
                  <a:lnTo>
                    <a:pt x="334" y="617"/>
                  </a:lnTo>
                  <a:lnTo>
                    <a:pt x="342" y="621"/>
                  </a:lnTo>
                  <a:lnTo>
                    <a:pt x="346" y="626"/>
                  </a:lnTo>
                  <a:lnTo>
                    <a:pt x="351" y="631"/>
                  </a:lnTo>
                  <a:lnTo>
                    <a:pt x="354" y="633"/>
                  </a:lnTo>
                  <a:lnTo>
                    <a:pt x="349" y="631"/>
                  </a:lnTo>
                  <a:lnTo>
                    <a:pt x="347" y="636"/>
                  </a:lnTo>
                  <a:lnTo>
                    <a:pt x="346" y="638"/>
                  </a:lnTo>
                  <a:lnTo>
                    <a:pt x="346" y="642"/>
                  </a:lnTo>
                  <a:lnTo>
                    <a:pt x="349" y="648"/>
                  </a:lnTo>
                  <a:lnTo>
                    <a:pt x="353" y="652"/>
                  </a:lnTo>
                  <a:lnTo>
                    <a:pt x="355" y="655"/>
                  </a:lnTo>
                  <a:lnTo>
                    <a:pt x="357" y="656"/>
                  </a:lnTo>
                  <a:lnTo>
                    <a:pt x="358" y="655"/>
                  </a:lnTo>
                  <a:lnTo>
                    <a:pt x="358" y="658"/>
                  </a:lnTo>
                  <a:lnTo>
                    <a:pt x="355" y="658"/>
                  </a:lnTo>
                  <a:lnTo>
                    <a:pt x="358" y="659"/>
                  </a:lnTo>
                  <a:lnTo>
                    <a:pt x="360" y="661"/>
                  </a:lnTo>
                  <a:lnTo>
                    <a:pt x="363" y="664"/>
                  </a:lnTo>
                  <a:lnTo>
                    <a:pt x="364" y="661"/>
                  </a:lnTo>
                  <a:lnTo>
                    <a:pt x="363" y="660"/>
                  </a:lnTo>
                  <a:lnTo>
                    <a:pt x="361" y="656"/>
                  </a:lnTo>
                  <a:lnTo>
                    <a:pt x="366" y="659"/>
                  </a:lnTo>
                  <a:lnTo>
                    <a:pt x="370" y="664"/>
                  </a:lnTo>
                  <a:lnTo>
                    <a:pt x="367" y="662"/>
                  </a:lnTo>
                  <a:lnTo>
                    <a:pt x="365" y="664"/>
                  </a:lnTo>
                  <a:lnTo>
                    <a:pt x="366" y="667"/>
                  </a:lnTo>
                  <a:lnTo>
                    <a:pt x="369" y="670"/>
                  </a:lnTo>
                  <a:lnTo>
                    <a:pt x="369" y="674"/>
                  </a:lnTo>
                  <a:lnTo>
                    <a:pt x="366" y="672"/>
                  </a:lnTo>
                  <a:lnTo>
                    <a:pt x="365" y="668"/>
                  </a:lnTo>
                  <a:lnTo>
                    <a:pt x="364" y="671"/>
                  </a:lnTo>
                  <a:lnTo>
                    <a:pt x="365" y="677"/>
                  </a:lnTo>
                  <a:lnTo>
                    <a:pt x="365" y="680"/>
                  </a:lnTo>
                  <a:lnTo>
                    <a:pt x="364" y="673"/>
                  </a:lnTo>
                  <a:lnTo>
                    <a:pt x="363" y="677"/>
                  </a:lnTo>
                  <a:lnTo>
                    <a:pt x="361" y="679"/>
                  </a:lnTo>
                  <a:lnTo>
                    <a:pt x="363" y="673"/>
                  </a:lnTo>
                  <a:lnTo>
                    <a:pt x="360" y="676"/>
                  </a:lnTo>
                  <a:lnTo>
                    <a:pt x="363" y="671"/>
                  </a:lnTo>
                  <a:lnTo>
                    <a:pt x="361" y="668"/>
                  </a:lnTo>
                  <a:lnTo>
                    <a:pt x="363" y="667"/>
                  </a:lnTo>
                  <a:lnTo>
                    <a:pt x="364" y="666"/>
                  </a:lnTo>
                  <a:lnTo>
                    <a:pt x="359" y="662"/>
                  </a:lnTo>
                  <a:lnTo>
                    <a:pt x="355" y="658"/>
                  </a:lnTo>
                  <a:lnTo>
                    <a:pt x="352" y="652"/>
                  </a:lnTo>
                  <a:lnTo>
                    <a:pt x="349" y="649"/>
                  </a:lnTo>
                  <a:lnTo>
                    <a:pt x="351" y="658"/>
                  </a:lnTo>
                  <a:lnTo>
                    <a:pt x="352" y="662"/>
                  </a:lnTo>
                  <a:lnTo>
                    <a:pt x="353" y="666"/>
                  </a:lnTo>
                  <a:lnTo>
                    <a:pt x="353" y="664"/>
                  </a:lnTo>
                  <a:lnTo>
                    <a:pt x="357" y="662"/>
                  </a:lnTo>
                  <a:lnTo>
                    <a:pt x="355" y="666"/>
                  </a:lnTo>
                  <a:lnTo>
                    <a:pt x="354" y="667"/>
                  </a:lnTo>
                  <a:lnTo>
                    <a:pt x="355" y="668"/>
                  </a:lnTo>
                  <a:lnTo>
                    <a:pt x="358" y="667"/>
                  </a:lnTo>
                  <a:lnTo>
                    <a:pt x="357" y="671"/>
                  </a:lnTo>
                  <a:lnTo>
                    <a:pt x="355" y="672"/>
                  </a:lnTo>
                  <a:lnTo>
                    <a:pt x="358" y="676"/>
                  </a:lnTo>
                  <a:lnTo>
                    <a:pt x="363" y="682"/>
                  </a:lnTo>
                  <a:lnTo>
                    <a:pt x="366" y="685"/>
                  </a:lnTo>
                  <a:lnTo>
                    <a:pt x="365" y="683"/>
                  </a:lnTo>
                  <a:lnTo>
                    <a:pt x="369" y="684"/>
                  </a:lnTo>
                  <a:lnTo>
                    <a:pt x="370" y="689"/>
                  </a:lnTo>
                  <a:lnTo>
                    <a:pt x="372" y="690"/>
                  </a:lnTo>
                  <a:lnTo>
                    <a:pt x="375" y="689"/>
                  </a:lnTo>
                  <a:lnTo>
                    <a:pt x="376" y="686"/>
                  </a:lnTo>
                  <a:lnTo>
                    <a:pt x="376" y="684"/>
                  </a:lnTo>
                  <a:lnTo>
                    <a:pt x="377" y="682"/>
                  </a:lnTo>
                  <a:lnTo>
                    <a:pt x="381" y="680"/>
                  </a:lnTo>
                  <a:lnTo>
                    <a:pt x="383" y="679"/>
                  </a:lnTo>
                  <a:lnTo>
                    <a:pt x="384" y="683"/>
                  </a:lnTo>
                  <a:lnTo>
                    <a:pt x="382" y="686"/>
                  </a:lnTo>
                  <a:lnTo>
                    <a:pt x="381" y="690"/>
                  </a:lnTo>
                  <a:lnTo>
                    <a:pt x="382" y="692"/>
                  </a:lnTo>
                  <a:lnTo>
                    <a:pt x="385" y="692"/>
                  </a:lnTo>
                  <a:lnTo>
                    <a:pt x="387" y="691"/>
                  </a:lnTo>
                  <a:lnTo>
                    <a:pt x="389" y="688"/>
                  </a:lnTo>
                  <a:lnTo>
                    <a:pt x="388" y="686"/>
                  </a:lnTo>
                  <a:lnTo>
                    <a:pt x="389" y="682"/>
                  </a:lnTo>
                  <a:lnTo>
                    <a:pt x="390" y="685"/>
                  </a:lnTo>
                  <a:lnTo>
                    <a:pt x="390" y="688"/>
                  </a:lnTo>
                  <a:lnTo>
                    <a:pt x="388" y="691"/>
                  </a:lnTo>
                  <a:lnTo>
                    <a:pt x="387" y="692"/>
                  </a:lnTo>
                  <a:lnTo>
                    <a:pt x="387" y="694"/>
                  </a:lnTo>
                  <a:lnTo>
                    <a:pt x="389" y="695"/>
                  </a:lnTo>
                  <a:lnTo>
                    <a:pt x="390" y="696"/>
                  </a:lnTo>
                  <a:lnTo>
                    <a:pt x="395" y="698"/>
                  </a:lnTo>
                  <a:lnTo>
                    <a:pt x="395" y="702"/>
                  </a:lnTo>
                  <a:lnTo>
                    <a:pt x="393" y="701"/>
                  </a:lnTo>
                  <a:lnTo>
                    <a:pt x="391" y="702"/>
                  </a:lnTo>
                  <a:lnTo>
                    <a:pt x="391" y="703"/>
                  </a:lnTo>
                  <a:lnTo>
                    <a:pt x="394" y="709"/>
                  </a:lnTo>
                  <a:lnTo>
                    <a:pt x="390" y="708"/>
                  </a:lnTo>
                  <a:lnTo>
                    <a:pt x="388" y="702"/>
                  </a:lnTo>
                  <a:lnTo>
                    <a:pt x="390" y="700"/>
                  </a:lnTo>
                  <a:lnTo>
                    <a:pt x="388" y="698"/>
                  </a:lnTo>
                  <a:lnTo>
                    <a:pt x="387" y="696"/>
                  </a:lnTo>
                  <a:lnTo>
                    <a:pt x="385" y="695"/>
                  </a:lnTo>
                  <a:lnTo>
                    <a:pt x="384" y="694"/>
                  </a:lnTo>
                  <a:lnTo>
                    <a:pt x="381" y="692"/>
                  </a:lnTo>
                  <a:lnTo>
                    <a:pt x="379" y="695"/>
                  </a:lnTo>
                  <a:lnTo>
                    <a:pt x="383" y="698"/>
                  </a:lnTo>
                  <a:lnTo>
                    <a:pt x="384" y="704"/>
                  </a:lnTo>
                  <a:lnTo>
                    <a:pt x="388" y="707"/>
                  </a:lnTo>
                  <a:lnTo>
                    <a:pt x="388" y="712"/>
                  </a:lnTo>
                  <a:lnTo>
                    <a:pt x="389" y="720"/>
                  </a:lnTo>
                  <a:lnTo>
                    <a:pt x="393" y="725"/>
                  </a:lnTo>
                  <a:lnTo>
                    <a:pt x="395" y="727"/>
                  </a:lnTo>
                  <a:lnTo>
                    <a:pt x="397" y="728"/>
                  </a:lnTo>
                  <a:lnTo>
                    <a:pt x="400" y="728"/>
                  </a:lnTo>
                  <a:lnTo>
                    <a:pt x="402" y="733"/>
                  </a:lnTo>
                  <a:lnTo>
                    <a:pt x="399" y="732"/>
                  </a:lnTo>
                  <a:lnTo>
                    <a:pt x="400" y="734"/>
                  </a:lnTo>
                  <a:lnTo>
                    <a:pt x="397" y="737"/>
                  </a:lnTo>
                  <a:lnTo>
                    <a:pt x="396" y="737"/>
                  </a:lnTo>
                  <a:lnTo>
                    <a:pt x="396" y="738"/>
                  </a:lnTo>
                  <a:lnTo>
                    <a:pt x="394" y="736"/>
                  </a:lnTo>
                  <a:lnTo>
                    <a:pt x="393" y="737"/>
                  </a:lnTo>
                  <a:lnTo>
                    <a:pt x="390" y="742"/>
                  </a:lnTo>
                  <a:lnTo>
                    <a:pt x="388" y="739"/>
                  </a:lnTo>
                  <a:lnTo>
                    <a:pt x="387" y="738"/>
                  </a:lnTo>
                  <a:lnTo>
                    <a:pt x="387" y="737"/>
                  </a:lnTo>
                  <a:lnTo>
                    <a:pt x="387" y="734"/>
                  </a:lnTo>
                  <a:lnTo>
                    <a:pt x="388" y="732"/>
                  </a:lnTo>
                  <a:lnTo>
                    <a:pt x="387" y="728"/>
                  </a:lnTo>
                  <a:lnTo>
                    <a:pt x="389" y="722"/>
                  </a:lnTo>
                  <a:lnTo>
                    <a:pt x="387" y="713"/>
                  </a:lnTo>
                  <a:lnTo>
                    <a:pt x="385" y="714"/>
                  </a:lnTo>
                  <a:lnTo>
                    <a:pt x="384" y="714"/>
                  </a:lnTo>
                  <a:lnTo>
                    <a:pt x="385" y="718"/>
                  </a:lnTo>
                  <a:lnTo>
                    <a:pt x="382" y="716"/>
                  </a:lnTo>
                  <a:lnTo>
                    <a:pt x="377" y="714"/>
                  </a:lnTo>
                  <a:lnTo>
                    <a:pt x="376" y="713"/>
                  </a:lnTo>
                  <a:lnTo>
                    <a:pt x="375" y="714"/>
                  </a:lnTo>
                  <a:lnTo>
                    <a:pt x="376" y="716"/>
                  </a:lnTo>
                  <a:lnTo>
                    <a:pt x="375" y="722"/>
                  </a:lnTo>
                  <a:lnTo>
                    <a:pt x="375" y="724"/>
                  </a:lnTo>
                  <a:lnTo>
                    <a:pt x="372" y="720"/>
                  </a:lnTo>
                  <a:lnTo>
                    <a:pt x="371" y="716"/>
                  </a:lnTo>
                  <a:lnTo>
                    <a:pt x="373" y="714"/>
                  </a:lnTo>
                  <a:lnTo>
                    <a:pt x="375" y="712"/>
                  </a:lnTo>
                  <a:lnTo>
                    <a:pt x="377" y="709"/>
                  </a:lnTo>
                  <a:lnTo>
                    <a:pt x="378" y="707"/>
                  </a:lnTo>
                  <a:lnTo>
                    <a:pt x="378" y="704"/>
                  </a:lnTo>
                  <a:lnTo>
                    <a:pt x="376" y="704"/>
                  </a:lnTo>
                  <a:lnTo>
                    <a:pt x="375" y="707"/>
                  </a:lnTo>
                  <a:lnTo>
                    <a:pt x="375" y="706"/>
                  </a:lnTo>
                  <a:lnTo>
                    <a:pt x="373" y="703"/>
                  </a:lnTo>
                  <a:lnTo>
                    <a:pt x="370" y="708"/>
                  </a:lnTo>
                  <a:lnTo>
                    <a:pt x="366" y="715"/>
                  </a:lnTo>
                  <a:lnTo>
                    <a:pt x="363" y="722"/>
                  </a:lnTo>
                  <a:lnTo>
                    <a:pt x="364" y="725"/>
                  </a:lnTo>
                  <a:lnTo>
                    <a:pt x="365" y="726"/>
                  </a:lnTo>
                  <a:lnTo>
                    <a:pt x="367" y="725"/>
                  </a:lnTo>
                  <a:lnTo>
                    <a:pt x="369" y="728"/>
                  </a:lnTo>
                  <a:lnTo>
                    <a:pt x="367" y="728"/>
                  </a:lnTo>
                  <a:lnTo>
                    <a:pt x="367" y="733"/>
                  </a:lnTo>
                  <a:lnTo>
                    <a:pt x="366" y="734"/>
                  </a:lnTo>
                  <a:lnTo>
                    <a:pt x="369" y="737"/>
                  </a:lnTo>
                  <a:lnTo>
                    <a:pt x="369" y="739"/>
                  </a:lnTo>
                  <a:lnTo>
                    <a:pt x="367" y="738"/>
                  </a:lnTo>
                  <a:lnTo>
                    <a:pt x="369" y="744"/>
                  </a:lnTo>
                  <a:lnTo>
                    <a:pt x="367" y="748"/>
                  </a:lnTo>
                  <a:lnTo>
                    <a:pt x="364" y="743"/>
                  </a:lnTo>
                  <a:lnTo>
                    <a:pt x="361" y="739"/>
                  </a:lnTo>
                  <a:lnTo>
                    <a:pt x="360" y="743"/>
                  </a:lnTo>
                  <a:lnTo>
                    <a:pt x="355" y="746"/>
                  </a:lnTo>
                  <a:lnTo>
                    <a:pt x="355" y="744"/>
                  </a:lnTo>
                  <a:lnTo>
                    <a:pt x="354" y="742"/>
                  </a:lnTo>
                  <a:lnTo>
                    <a:pt x="352" y="744"/>
                  </a:lnTo>
                  <a:lnTo>
                    <a:pt x="351" y="738"/>
                  </a:lnTo>
                  <a:lnTo>
                    <a:pt x="352" y="734"/>
                  </a:lnTo>
                  <a:lnTo>
                    <a:pt x="349" y="736"/>
                  </a:lnTo>
                  <a:lnTo>
                    <a:pt x="349" y="732"/>
                  </a:lnTo>
                  <a:lnTo>
                    <a:pt x="354" y="726"/>
                  </a:lnTo>
                  <a:lnTo>
                    <a:pt x="354" y="724"/>
                  </a:lnTo>
                  <a:lnTo>
                    <a:pt x="351" y="725"/>
                  </a:lnTo>
                  <a:lnTo>
                    <a:pt x="347" y="730"/>
                  </a:lnTo>
                  <a:lnTo>
                    <a:pt x="346" y="730"/>
                  </a:lnTo>
                  <a:lnTo>
                    <a:pt x="346" y="727"/>
                  </a:lnTo>
                  <a:lnTo>
                    <a:pt x="348" y="721"/>
                  </a:lnTo>
                  <a:lnTo>
                    <a:pt x="351" y="719"/>
                  </a:lnTo>
                  <a:lnTo>
                    <a:pt x="355" y="721"/>
                  </a:lnTo>
                  <a:lnTo>
                    <a:pt x="360" y="720"/>
                  </a:lnTo>
                  <a:lnTo>
                    <a:pt x="363" y="718"/>
                  </a:lnTo>
                  <a:lnTo>
                    <a:pt x="366" y="713"/>
                  </a:lnTo>
                  <a:lnTo>
                    <a:pt x="371" y="704"/>
                  </a:lnTo>
                  <a:lnTo>
                    <a:pt x="373" y="700"/>
                  </a:lnTo>
                  <a:lnTo>
                    <a:pt x="371" y="700"/>
                  </a:lnTo>
                  <a:lnTo>
                    <a:pt x="371" y="696"/>
                  </a:lnTo>
                  <a:lnTo>
                    <a:pt x="370" y="695"/>
                  </a:lnTo>
                  <a:lnTo>
                    <a:pt x="370" y="696"/>
                  </a:lnTo>
                  <a:lnTo>
                    <a:pt x="369" y="698"/>
                  </a:lnTo>
                  <a:lnTo>
                    <a:pt x="365" y="700"/>
                  </a:lnTo>
                  <a:lnTo>
                    <a:pt x="361" y="700"/>
                  </a:lnTo>
                  <a:lnTo>
                    <a:pt x="360" y="701"/>
                  </a:lnTo>
                  <a:lnTo>
                    <a:pt x="359" y="702"/>
                  </a:lnTo>
                  <a:lnTo>
                    <a:pt x="353" y="702"/>
                  </a:lnTo>
                  <a:lnTo>
                    <a:pt x="355" y="700"/>
                  </a:lnTo>
                  <a:lnTo>
                    <a:pt x="358" y="697"/>
                  </a:lnTo>
                  <a:lnTo>
                    <a:pt x="359" y="695"/>
                  </a:lnTo>
                  <a:lnTo>
                    <a:pt x="360" y="694"/>
                  </a:lnTo>
                  <a:lnTo>
                    <a:pt x="365" y="694"/>
                  </a:lnTo>
                  <a:lnTo>
                    <a:pt x="367" y="695"/>
                  </a:lnTo>
                  <a:lnTo>
                    <a:pt x="367" y="692"/>
                  </a:lnTo>
                  <a:lnTo>
                    <a:pt x="370" y="691"/>
                  </a:lnTo>
                  <a:lnTo>
                    <a:pt x="370" y="690"/>
                  </a:lnTo>
                  <a:lnTo>
                    <a:pt x="367" y="690"/>
                  </a:lnTo>
                  <a:lnTo>
                    <a:pt x="364" y="688"/>
                  </a:lnTo>
                  <a:lnTo>
                    <a:pt x="364" y="685"/>
                  </a:lnTo>
                  <a:lnTo>
                    <a:pt x="364" y="688"/>
                  </a:lnTo>
                  <a:lnTo>
                    <a:pt x="360" y="688"/>
                  </a:lnTo>
                  <a:lnTo>
                    <a:pt x="357" y="686"/>
                  </a:lnTo>
                  <a:lnTo>
                    <a:pt x="354" y="686"/>
                  </a:lnTo>
                  <a:lnTo>
                    <a:pt x="351" y="685"/>
                  </a:lnTo>
                  <a:lnTo>
                    <a:pt x="348" y="680"/>
                  </a:lnTo>
                  <a:lnTo>
                    <a:pt x="347" y="683"/>
                  </a:lnTo>
                  <a:lnTo>
                    <a:pt x="351" y="688"/>
                  </a:lnTo>
                  <a:lnTo>
                    <a:pt x="352" y="690"/>
                  </a:lnTo>
                  <a:lnTo>
                    <a:pt x="349" y="691"/>
                  </a:lnTo>
                  <a:lnTo>
                    <a:pt x="349" y="695"/>
                  </a:lnTo>
                  <a:lnTo>
                    <a:pt x="351" y="698"/>
                  </a:lnTo>
                  <a:lnTo>
                    <a:pt x="347" y="697"/>
                  </a:lnTo>
                  <a:lnTo>
                    <a:pt x="347" y="700"/>
                  </a:lnTo>
                  <a:lnTo>
                    <a:pt x="347" y="703"/>
                  </a:lnTo>
                  <a:lnTo>
                    <a:pt x="346" y="702"/>
                  </a:lnTo>
                  <a:lnTo>
                    <a:pt x="344" y="698"/>
                  </a:lnTo>
                  <a:lnTo>
                    <a:pt x="343" y="698"/>
                  </a:lnTo>
                  <a:lnTo>
                    <a:pt x="342" y="701"/>
                  </a:lnTo>
                  <a:lnTo>
                    <a:pt x="341" y="698"/>
                  </a:lnTo>
                  <a:lnTo>
                    <a:pt x="340" y="701"/>
                  </a:lnTo>
                  <a:lnTo>
                    <a:pt x="340" y="707"/>
                  </a:lnTo>
                  <a:lnTo>
                    <a:pt x="338" y="702"/>
                  </a:lnTo>
                  <a:lnTo>
                    <a:pt x="336" y="702"/>
                  </a:lnTo>
                  <a:lnTo>
                    <a:pt x="332" y="704"/>
                  </a:lnTo>
                  <a:lnTo>
                    <a:pt x="334" y="698"/>
                  </a:lnTo>
                  <a:lnTo>
                    <a:pt x="334" y="694"/>
                  </a:lnTo>
                  <a:lnTo>
                    <a:pt x="336" y="689"/>
                  </a:lnTo>
                  <a:lnTo>
                    <a:pt x="334" y="688"/>
                  </a:lnTo>
                  <a:lnTo>
                    <a:pt x="331" y="685"/>
                  </a:lnTo>
                  <a:lnTo>
                    <a:pt x="331" y="686"/>
                  </a:lnTo>
                  <a:lnTo>
                    <a:pt x="329" y="685"/>
                  </a:lnTo>
                  <a:lnTo>
                    <a:pt x="325" y="685"/>
                  </a:lnTo>
                  <a:lnTo>
                    <a:pt x="325" y="688"/>
                  </a:lnTo>
                  <a:lnTo>
                    <a:pt x="329" y="690"/>
                  </a:lnTo>
                  <a:lnTo>
                    <a:pt x="329" y="695"/>
                  </a:lnTo>
                  <a:lnTo>
                    <a:pt x="326" y="695"/>
                  </a:lnTo>
                  <a:lnTo>
                    <a:pt x="326" y="698"/>
                  </a:lnTo>
                  <a:lnTo>
                    <a:pt x="324" y="697"/>
                  </a:lnTo>
                  <a:lnTo>
                    <a:pt x="322" y="692"/>
                  </a:lnTo>
                  <a:lnTo>
                    <a:pt x="320" y="690"/>
                  </a:lnTo>
                  <a:lnTo>
                    <a:pt x="318" y="691"/>
                  </a:lnTo>
                  <a:lnTo>
                    <a:pt x="318" y="694"/>
                  </a:lnTo>
                  <a:lnTo>
                    <a:pt x="320" y="696"/>
                  </a:lnTo>
                  <a:lnTo>
                    <a:pt x="323" y="698"/>
                  </a:lnTo>
                  <a:lnTo>
                    <a:pt x="324" y="703"/>
                  </a:lnTo>
                  <a:lnTo>
                    <a:pt x="323" y="709"/>
                  </a:lnTo>
                  <a:lnTo>
                    <a:pt x="319" y="703"/>
                  </a:lnTo>
                  <a:lnTo>
                    <a:pt x="317" y="698"/>
                  </a:lnTo>
                  <a:lnTo>
                    <a:pt x="316" y="700"/>
                  </a:lnTo>
                  <a:lnTo>
                    <a:pt x="314" y="702"/>
                  </a:lnTo>
                  <a:lnTo>
                    <a:pt x="313" y="700"/>
                  </a:lnTo>
                  <a:lnTo>
                    <a:pt x="312" y="700"/>
                  </a:lnTo>
                  <a:lnTo>
                    <a:pt x="310" y="703"/>
                  </a:lnTo>
                  <a:lnTo>
                    <a:pt x="310" y="706"/>
                  </a:lnTo>
                  <a:lnTo>
                    <a:pt x="310" y="709"/>
                  </a:lnTo>
                  <a:lnTo>
                    <a:pt x="313" y="710"/>
                  </a:lnTo>
                  <a:lnTo>
                    <a:pt x="317" y="710"/>
                  </a:lnTo>
                  <a:lnTo>
                    <a:pt x="318" y="712"/>
                  </a:lnTo>
                  <a:lnTo>
                    <a:pt x="316" y="712"/>
                  </a:lnTo>
                  <a:lnTo>
                    <a:pt x="312" y="712"/>
                  </a:lnTo>
                  <a:lnTo>
                    <a:pt x="311" y="710"/>
                  </a:lnTo>
                  <a:lnTo>
                    <a:pt x="311" y="713"/>
                  </a:lnTo>
                  <a:lnTo>
                    <a:pt x="312" y="716"/>
                  </a:lnTo>
                  <a:lnTo>
                    <a:pt x="311" y="715"/>
                  </a:lnTo>
                  <a:lnTo>
                    <a:pt x="311" y="718"/>
                  </a:lnTo>
                  <a:lnTo>
                    <a:pt x="308" y="720"/>
                  </a:lnTo>
                  <a:lnTo>
                    <a:pt x="307" y="718"/>
                  </a:lnTo>
                  <a:lnTo>
                    <a:pt x="308" y="712"/>
                  </a:lnTo>
                  <a:lnTo>
                    <a:pt x="308" y="709"/>
                  </a:lnTo>
                  <a:lnTo>
                    <a:pt x="307" y="713"/>
                  </a:lnTo>
                  <a:lnTo>
                    <a:pt x="306" y="715"/>
                  </a:lnTo>
                  <a:lnTo>
                    <a:pt x="305" y="713"/>
                  </a:lnTo>
                  <a:lnTo>
                    <a:pt x="304" y="715"/>
                  </a:lnTo>
                  <a:lnTo>
                    <a:pt x="302" y="714"/>
                  </a:lnTo>
                  <a:lnTo>
                    <a:pt x="301" y="712"/>
                  </a:lnTo>
                  <a:lnTo>
                    <a:pt x="301" y="709"/>
                  </a:lnTo>
                  <a:lnTo>
                    <a:pt x="300" y="706"/>
                  </a:lnTo>
                  <a:lnTo>
                    <a:pt x="300" y="708"/>
                  </a:lnTo>
                  <a:lnTo>
                    <a:pt x="298" y="709"/>
                  </a:lnTo>
                  <a:lnTo>
                    <a:pt x="299" y="712"/>
                  </a:lnTo>
                  <a:lnTo>
                    <a:pt x="299" y="716"/>
                  </a:lnTo>
                  <a:lnTo>
                    <a:pt x="293" y="721"/>
                  </a:lnTo>
                  <a:lnTo>
                    <a:pt x="295" y="716"/>
                  </a:lnTo>
                  <a:lnTo>
                    <a:pt x="298" y="712"/>
                  </a:lnTo>
                  <a:lnTo>
                    <a:pt x="296" y="709"/>
                  </a:lnTo>
                  <a:lnTo>
                    <a:pt x="294" y="710"/>
                  </a:lnTo>
                  <a:lnTo>
                    <a:pt x="292" y="712"/>
                  </a:lnTo>
                  <a:lnTo>
                    <a:pt x="290" y="713"/>
                  </a:lnTo>
                  <a:lnTo>
                    <a:pt x="287" y="712"/>
                  </a:lnTo>
                  <a:lnTo>
                    <a:pt x="287" y="714"/>
                  </a:lnTo>
                  <a:lnTo>
                    <a:pt x="290" y="718"/>
                  </a:lnTo>
                  <a:lnTo>
                    <a:pt x="289" y="722"/>
                  </a:lnTo>
                  <a:lnTo>
                    <a:pt x="289" y="724"/>
                  </a:lnTo>
                  <a:lnTo>
                    <a:pt x="288" y="724"/>
                  </a:lnTo>
                  <a:lnTo>
                    <a:pt x="284" y="722"/>
                  </a:lnTo>
                  <a:lnTo>
                    <a:pt x="284" y="725"/>
                  </a:lnTo>
                  <a:lnTo>
                    <a:pt x="282" y="727"/>
                  </a:lnTo>
                  <a:lnTo>
                    <a:pt x="281" y="728"/>
                  </a:lnTo>
                  <a:lnTo>
                    <a:pt x="278" y="728"/>
                  </a:lnTo>
                  <a:lnTo>
                    <a:pt x="277" y="725"/>
                  </a:lnTo>
                  <a:lnTo>
                    <a:pt x="276" y="722"/>
                  </a:lnTo>
                  <a:lnTo>
                    <a:pt x="272" y="724"/>
                  </a:lnTo>
                  <a:lnTo>
                    <a:pt x="271" y="724"/>
                  </a:lnTo>
                  <a:lnTo>
                    <a:pt x="273" y="720"/>
                  </a:lnTo>
                  <a:lnTo>
                    <a:pt x="275" y="718"/>
                  </a:lnTo>
                  <a:lnTo>
                    <a:pt x="275" y="714"/>
                  </a:lnTo>
                  <a:lnTo>
                    <a:pt x="276" y="713"/>
                  </a:lnTo>
                  <a:lnTo>
                    <a:pt x="273" y="712"/>
                  </a:lnTo>
                  <a:lnTo>
                    <a:pt x="272" y="712"/>
                  </a:lnTo>
                  <a:lnTo>
                    <a:pt x="275" y="709"/>
                  </a:lnTo>
                  <a:lnTo>
                    <a:pt x="276" y="707"/>
                  </a:lnTo>
                  <a:lnTo>
                    <a:pt x="276" y="706"/>
                  </a:lnTo>
                  <a:lnTo>
                    <a:pt x="273" y="703"/>
                  </a:lnTo>
                  <a:lnTo>
                    <a:pt x="273" y="704"/>
                  </a:lnTo>
                  <a:lnTo>
                    <a:pt x="273" y="707"/>
                  </a:lnTo>
                  <a:lnTo>
                    <a:pt x="272" y="708"/>
                  </a:lnTo>
                  <a:lnTo>
                    <a:pt x="269" y="710"/>
                  </a:lnTo>
                  <a:lnTo>
                    <a:pt x="267" y="709"/>
                  </a:lnTo>
                  <a:lnTo>
                    <a:pt x="265" y="707"/>
                  </a:lnTo>
                  <a:lnTo>
                    <a:pt x="267" y="703"/>
                  </a:lnTo>
                  <a:lnTo>
                    <a:pt x="266" y="700"/>
                  </a:lnTo>
                  <a:lnTo>
                    <a:pt x="265" y="701"/>
                  </a:lnTo>
                  <a:lnTo>
                    <a:pt x="264" y="701"/>
                  </a:lnTo>
                  <a:lnTo>
                    <a:pt x="263" y="700"/>
                  </a:lnTo>
                  <a:lnTo>
                    <a:pt x="263" y="697"/>
                  </a:lnTo>
                  <a:lnTo>
                    <a:pt x="261" y="698"/>
                  </a:lnTo>
                  <a:lnTo>
                    <a:pt x="259" y="698"/>
                  </a:lnTo>
                  <a:lnTo>
                    <a:pt x="258" y="700"/>
                  </a:lnTo>
                  <a:lnTo>
                    <a:pt x="259" y="701"/>
                  </a:lnTo>
                  <a:lnTo>
                    <a:pt x="263" y="701"/>
                  </a:lnTo>
                  <a:lnTo>
                    <a:pt x="264" y="703"/>
                  </a:lnTo>
                  <a:lnTo>
                    <a:pt x="263" y="703"/>
                  </a:lnTo>
                  <a:lnTo>
                    <a:pt x="260" y="706"/>
                  </a:lnTo>
                  <a:lnTo>
                    <a:pt x="260" y="708"/>
                  </a:lnTo>
                  <a:lnTo>
                    <a:pt x="258" y="706"/>
                  </a:lnTo>
                  <a:lnTo>
                    <a:pt x="255" y="704"/>
                  </a:lnTo>
                  <a:lnTo>
                    <a:pt x="257" y="702"/>
                  </a:lnTo>
                  <a:lnTo>
                    <a:pt x="254" y="702"/>
                  </a:lnTo>
                  <a:lnTo>
                    <a:pt x="253" y="704"/>
                  </a:lnTo>
                  <a:lnTo>
                    <a:pt x="253" y="702"/>
                  </a:lnTo>
                  <a:lnTo>
                    <a:pt x="252" y="701"/>
                  </a:lnTo>
                  <a:lnTo>
                    <a:pt x="253" y="700"/>
                  </a:lnTo>
                  <a:lnTo>
                    <a:pt x="257" y="698"/>
                  </a:lnTo>
                  <a:lnTo>
                    <a:pt x="257" y="697"/>
                  </a:lnTo>
                  <a:lnTo>
                    <a:pt x="255" y="697"/>
                  </a:lnTo>
                  <a:lnTo>
                    <a:pt x="257" y="696"/>
                  </a:lnTo>
                  <a:lnTo>
                    <a:pt x="259" y="695"/>
                  </a:lnTo>
                  <a:lnTo>
                    <a:pt x="260" y="694"/>
                  </a:lnTo>
                  <a:lnTo>
                    <a:pt x="265" y="691"/>
                  </a:lnTo>
                  <a:lnTo>
                    <a:pt x="267" y="689"/>
                  </a:lnTo>
                  <a:lnTo>
                    <a:pt x="266" y="688"/>
                  </a:lnTo>
                  <a:lnTo>
                    <a:pt x="266" y="689"/>
                  </a:lnTo>
                  <a:lnTo>
                    <a:pt x="265" y="690"/>
                  </a:lnTo>
                  <a:lnTo>
                    <a:pt x="263" y="689"/>
                  </a:lnTo>
                  <a:lnTo>
                    <a:pt x="259" y="689"/>
                  </a:lnTo>
                  <a:lnTo>
                    <a:pt x="261" y="686"/>
                  </a:lnTo>
                  <a:lnTo>
                    <a:pt x="264" y="685"/>
                  </a:lnTo>
                  <a:lnTo>
                    <a:pt x="264" y="684"/>
                  </a:lnTo>
                  <a:lnTo>
                    <a:pt x="263" y="683"/>
                  </a:lnTo>
                  <a:lnTo>
                    <a:pt x="261" y="684"/>
                  </a:lnTo>
                  <a:lnTo>
                    <a:pt x="257" y="688"/>
                  </a:lnTo>
                  <a:lnTo>
                    <a:pt x="257" y="685"/>
                  </a:lnTo>
                  <a:lnTo>
                    <a:pt x="259" y="683"/>
                  </a:lnTo>
                  <a:lnTo>
                    <a:pt x="260" y="680"/>
                  </a:lnTo>
                  <a:lnTo>
                    <a:pt x="257" y="682"/>
                  </a:lnTo>
                  <a:lnTo>
                    <a:pt x="255" y="684"/>
                  </a:lnTo>
                  <a:lnTo>
                    <a:pt x="251" y="686"/>
                  </a:lnTo>
                  <a:lnTo>
                    <a:pt x="251" y="682"/>
                  </a:lnTo>
                  <a:lnTo>
                    <a:pt x="249" y="682"/>
                  </a:lnTo>
                  <a:lnTo>
                    <a:pt x="248" y="683"/>
                  </a:lnTo>
                  <a:lnTo>
                    <a:pt x="248" y="686"/>
                  </a:lnTo>
                  <a:lnTo>
                    <a:pt x="245" y="683"/>
                  </a:lnTo>
                  <a:lnTo>
                    <a:pt x="242" y="682"/>
                  </a:lnTo>
                  <a:lnTo>
                    <a:pt x="241" y="684"/>
                  </a:lnTo>
                  <a:lnTo>
                    <a:pt x="240" y="685"/>
                  </a:lnTo>
                  <a:lnTo>
                    <a:pt x="237" y="683"/>
                  </a:lnTo>
                  <a:lnTo>
                    <a:pt x="235" y="682"/>
                  </a:lnTo>
                  <a:lnTo>
                    <a:pt x="235" y="678"/>
                  </a:lnTo>
                  <a:lnTo>
                    <a:pt x="236" y="677"/>
                  </a:lnTo>
                  <a:lnTo>
                    <a:pt x="239" y="676"/>
                  </a:lnTo>
                  <a:lnTo>
                    <a:pt x="235" y="676"/>
                  </a:lnTo>
                  <a:lnTo>
                    <a:pt x="233" y="678"/>
                  </a:lnTo>
                  <a:lnTo>
                    <a:pt x="231" y="682"/>
                  </a:lnTo>
                  <a:lnTo>
                    <a:pt x="230" y="683"/>
                  </a:lnTo>
                  <a:lnTo>
                    <a:pt x="230" y="685"/>
                  </a:lnTo>
                  <a:lnTo>
                    <a:pt x="233" y="688"/>
                  </a:lnTo>
                  <a:lnTo>
                    <a:pt x="235" y="689"/>
                  </a:lnTo>
                  <a:lnTo>
                    <a:pt x="237" y="691"/>
                  </a:lnTo>
                  <a:lnTo>
                    <a:pt x="241" y="692"/>
                  </a:lnTo>
                  <a:lnTo>
                    <a:pt x="240" y="694"/>
                  </a:lnTo>
                  <a:lnTo>
                    <a:pt x="239" y="695"/>
                  </a:lnTo>
                  <a:lnTo>
                    <a:pt x="236" y="695"/>
                  </a:lnTo>
                  <a:lnTo>
                    <a:pt x="236" y="696"/>
                  </a:lnTo>
                  <a:lnTo>
                    <a:pt x="241" y="697"/>
                  </a:lnTo>
                  <a:lnTo>
                    <a:pt x="243" y="702"/>
                  </a:lnTo>
                  <a:lnTo>
                    <a:pt x="241" y="702"/>
                  </a:lnTo>
                  <a:lnTo>
                    <a:pt x="237" y="700"/>
                  </a:lnTo>
                  <a:lnTo>
                    <a:pt x="236" y="701"/>
                  </a:lnTo>
                  <a:lnTo>
                    <a:pt x="235" y="702"/>
                  </a:lnTo>
                  <a:lnTo>
                    <a:pt x="229" y="700"/>
                  </a:lnTo>
                  <a:lnTo>
                    <a:pt x="228" y="700"/>
                  </a:lnTo>
                  <a:lnTo>
                    <a:pt x="227" y="701"/>
                  </a:lnTo>
                  <a:lnTo>
                    <a:pt x="224" y="707"/>
                  </a:lnTo>
                  <a:lnTo>
                    <a:pt x="223" y="707"/>
                  </a:lnTo>
                  <a:lnTo>
                    <a:pt x="223" y="704"/>
                  </a:lnTo>
                  <a:lnTo>
                    <a:pt x="220" y="700"/>
                  </a:lnTo>
                  <a:lnTo>
                    <a:pt x="220" y="696"/>
                  </a:lnTo>
                  <a:lnTo>
                    <a:pt x="219" y="700"/>
                  </a:lnTo>
                  <a:lnTo>
                    <a:pt x="218" y="703"/>
                  </a:lnTo>
                  <a:lnTo>
                    <a:pt x="219" y="704"/>
                  </a:lnTo>
                  <a:lnTo>
                    <a:pt x="217" y="703"/>
                  </a:lnTo>
                  <a:lnTo>
                    <a:pt x="214" y="701"/>
                  </a:lnTo>
                  <a:lnTo>
                    <a:pt x="216" y="704"/>
                  </a:lnTo>
                  <a:lnTo>
                    <a:pt x="216" y="708"/>
                  </a:lnTo>
                  <a:lnTo>
                    <a:pt x="216" y="710"/>
                  </a:lnTo>
                  <a:lnTo>
                    <a:pt x="218" y="712"/>
                  </a:lnTo>
                  <a:lnTo>
                    <a:pt x="220" y="713"/>
                  </a:lnTo>
                  <a:lnTo>
                    <a:pt x="220" y="715"/>
                  </a:lnTo>
                  <a:lnTo>
                    <a:pt x="220" y="719"/>
                  </a:lnTo>
                  <a:lnTo>
                    <a:pt x="222" y="719"/>
                  </a:lnTo>
                  <a:lnTo>
                    <a:pt x="223" y="718"/>
                  </a:lnTo>
                  <a:lnTo>
                    <a:pt x="223" y="712"/>
                  </a:lnTo>
                  <a:lnTo>
                    <a:pt x="224" y="710"/>
                  </a:lnTo>
                  <a:lnTo>
                    <a:pt x="227" y="715"/>
                  </a:lnTo>
                  <a:lnTo>
                    <a:pt x="228" y="720"/>
                  </a:lnTo>
                  <a:lnTo>
                    <a:pt x="224" y="725"/>
                  </a:lnTo>
                  <a:lnTo>
                    <a:pt x="224" y="722"/>
                  </a:lnTo>
                  <a:lnTo>
                    <a:pt x="222" y="720"/>
                  </a:lnTo>
                  <a:lnTo>
                    <a:pt x="223" y="725"/>
                  </a:lnTo>
                  <a:lnTo>
                    <a:pt x="222" y="726"/>
                  </a:lnTo>
                  <a:lnTo>
                    <a:pt x="219" y="724"/>
                  </a:lnTo>
                  <a:lnTo>
                    <a:pt x="216" y="722"/>
                  </a:lnTo>
                  <a:lnTo>
                    <a:pt x="218" y="721"/>
                  </a:lnTo>
                  <a:lnTo>
                    <a:pt x="219" y="719"/>
                  </a:lnTo>
                  <a:lnTo>
                    <a:pt x="219" y="718"/>
                  </a:lnTo>
                  <a:lnTo>
                    <a:pt x="217" y="719"/>
                  </a:lnTo>
                  <a:lnTo>
                    <a:pt x="214" y="720"/>
                  </a:lnTo>
                  <a:lnTo>
                    <a:pt x="214" y="716"/>
                  </a:lnTo>
                  <a:lnTo>
                    <a:pt x="212" y="715"/>
                  </a:lnTo>
                  <a:lnTo>
                    <a:pt x="206" y="716"/>
                  </a:lnTo>
                  <a:lnTo>
                    <a:pt x="207" y="713"/>
                  </a:lnTo>
                  <a:lnTo>
                    <a:pt x="210" y="710"/>
                  </a:lnTo>
                  <a:lnTo>
                    <a:pt x="213" y="710"/>
                  </a:lnTo>
                  <a:lnTo>
                    <a:pt x="213" y="709"/>
                  </a:lnTo>
                  <a:lnTo>
                    <a:pt x="210" y="709"/>
                  </a:lnTo>
                  <a:lnTo>
                    <a:pt x="210" y="708"/>
                  </a:lnTo>
                  <a:lnTo>
                    <a:pt x="211" y="706"/>
                  </a:lnTo>
                  <a:lnTo>
                    <a:pt x="210" y="703"/>
                  </a:lnTo>
                  <a:lnTo>
                    <a:pt x="210" y="702"/>
                  </a:lnTo>
                  <a:lnTo>
                    <a:pt x="208" y="701"/>
                  </a:lnTo>
                  <a:lnTo>
                    <a:pt x="207" y="703"/>
                  </a:lnTo>
                  <a:lnTo>
                    <a:pt x="206" y="703"/>
                  </a:lnTo>
                  <a:lnTo>
                    <a:pt x="205" y="706"/>
                  </a:lnTo>
                  <a:lnTo>
                    <a:pt x="205" y="709"/>
                  </a:lnTo>
                  <a:lnTo>
                    <a:pt x="202" y="706"/>
                  </a:lnTo>
                  <a:lnTo>
                    <a:pt x="200" y="702"/>
                  </a:lnTo>
                  <a:lnTo>
                    <a:pt x="200" y="700"/>
                  </a:lnTo>
                  <a:lnTo>
                    <a:pt x="198" y="697"/>
                  </a:lnTo>
                  <a:lnTo>
                    <a:pt x="200" y="695"/>
                  </a:lnTo>
                  <a:lnTo>
                    <a:pt x="200" y="692"/>
                  </a:lnTo>
                  <a:lnTo>
                    <a:pt x="198" y="694"/>
                  </a:lnTo>
                  <a:lnTo>
                    <a:pt x="198" y="692"/>
                  </a:lnTo>
                  <a:lnTo>
                    <a:pt x="196" y="691"/>
                  </a:lnTo>
                  <a:lnTo>
                    <a:pt x="194" y="691"/>
                  </a:lnTo>
                  <a:lnTo>
                    <a:pt x="193" y="690"/>
                  </a:lnTo>
                  <a:lnTo>
                    <a:pt x="192" y="689"/>
                  </a:lnTo>
                  <a:lnTo>
                    <a:pt x="192" y="686"/>
                  </a:lnTo>
                  <a:lnTo>
                    <a:pt x="190" y="690"/>
                  </a:lnTo>
                  <a:lnTo>
                    <a:pt x="192" y="691"/>
                  </a:lnTo>
                  <a:lnTo>
                    <a:pt x="195" y="692"/>
                  </a:lnTo>
                  <a:lnTo>
                    <a:pt x="194" y="695"/>
                  </a:lnTo>
                  <a:lnTo>
                    <a:pt x="193" y="696"/>
                  </a:lnTo>
                  <a:lnTo>
                    <a:pt x="193" y="698"/>
                  </a:lnTo>
                  <a:lnTo>
                    <a:pt x="190" y="701"/>
                  </a:lnTo>
                  <a:lnTo>
                    <a:pt x="194" y="701"/>
                  </a:lnTo>
                  <a:lnTo>
                    <a:pt x="196" y="701"/>
                  </a:lnTo>
                  <a:lnTo>
                    <a:pt x="198" y="704"/>
                  </a:lnTo>
                  <a:lnTo>
                    <a:pt x="196" y="707"/>
                  </a:lnTo>
                  <a:lnTo>
                    <a:pt x="195" y="707"/>
                  </a:lnTo>
                  <a:lnTo>
                    <a:pt x="194" y="708"/>
                  </a:lnTo>
                  <a:lnTo>
                    <a:pt x="193" y="709"/>
                  </a:lnTo>
                  <a:lnTo>
                    <a:pt x="190" y="710"/>
                  </a:lnTo>
                  <a:lnTo>
                    <a:pt x="189" y="709"/>
                  </a:lnTo>
                  <a:lnTo>
                    <a:pt x="189" y="704"/>
                  </a:lnTo>
                  <a:lnTo>
                    <a:pt x="188" y="703"/>
                  </a:lnTo>
                  <a:lnTo>
                    <a:pt x="187" y="707"/>
                  </a:lnTo>
                  <a:lnTo>
                    <a:pt x="186" y="712"/>
                  </a:lnTo>
                  <a:lnTo>
                    <a:pt x="186" y="708"/>
                  </a:lnTo>
                  <a:lnTo>
                    <a:pt x="184" y="709"/>
                  </a:lnTo>
                  <a:lnTo>
                    <a:pt x="182" y="712"/>
                  </a:lnTo>
                  <a:lnTo>
                    <a:pt x="182" y="707"/>
                  </a:lnTo>
                  <a:lnTo>
                    <a:pt x="181" y="704"/>
                  </a:lnTo>
                  <a:lnTo>
                    <a:pt x="180" y="704"/>
                  </a:lnTo>
                  <a:lnTo>
                    <a:pt x="178" y="706"/>
                  </a:lnTo>
                  <a:lnTo>
                    <a:pt x="178" y="707"/>
                  </a:lnTo>
                  <a:lnTo>
                    <a:pt x="180" y="709"/>
                  </a:lnTo>
                  <a:lnTo>
                    <a:pt x="177" y="713"/>
                  </a:lnTo>
                  <a:lnTo>
                    <a:pt x="175" y="715"/>
                  </a:lnTo>
                  <a:lnTo>
                    <a:pt x="174" y="713"/>
                  </a:lnTo>
                  <a:lnTo>
                    <a:pt x="171" y="710"/>
                  </a:lnTo>
                  <a:lnTo>
                    <a:pt x="170" y="714"/>
                  </a:lnTo>
                  <a:lnTo>
                    <a:pt x="171" y="718"/>
                  </a:lnTo>
                  <a:lnTo>
                    <a:pt x="172" y="718"/>
                  </a:lnTo>
                  <a:lnTo>
                    <a:pt x="176" y="718"/>
                  </a:lnTo>
                  <a:lnTo>
                    <a:pt x="177" y="720"/>
                  </a:lnTo>
                  <a:lnTo>
                    <a:pt x="178" y="720"/>
                  </a:lnTo>
                  <a:lnTo>
                    <a:pt x="180" y="716"/>
                  </a:lnTo>
                  <a:lnTo>
                    <a:pt x="181" y="712"/>
                  </a:lnTo>
                  <a:lnTo>
                    <a:pt x="181" y="714"/>
                  </a:lnTo>
                  <a:lnTo>
                    <a:pt x="182" y="714"/>
                  </a:lnTo>
                  <a:lnTo>
                    <a:pt x="187" y="715"/>
                  </a:lnTo>
                  <a:lnTo>
                    <a:pt x="184" y="719"/>
                  </a:lnTo>
                  <a:lnTo>
                    <a:pt x="182" y="720"/>
                  </a:lnTo>
                  <a:lnTo>
                    <a:pt x="182" y="721"/>
                  </a:lnTo>
                  <a:lnTo>
                    <a:pt x="183" y="722"/>
                  </a:lnTo>
                  <a:lnTo>
                    <a:pt x="181" y="724"/>
                  </a:lnTo>
                  <a:lnTo>
                    <a:pt x="180" y="722"/>
                  </a:lnTo>
                  <a:lnTo>
                    <a:pt x="175" y="721"/>
                  </a:lnTo>
                  <a:lnTo>
                    <a:pt x="175" y="722"/>
                  </a:lnTo>
                  <a:lnTo>
                    <a:pt x="176" y="725"/>
                  </a:lnTo>
                  <a:lnTo>
                    <a:pt x="174" y="727"/>
                  </a:lnTo>
                  <a:lnTo>
                    <a:pt x="174" y="730"/>
                  </a:lnTo>
                  <a:lnTo>
                    <a:pt x="171" y="726"/>
                  </a:lnTo>
                  <a:lnTo>
                    <a:pt x="169" y="721"/>
                  </a:lnTo>
                  <a:lnTo>
                    <a:pt x="166" y="721"/>
                  </a:lnTo>
                  <a:lnTo>
                    <a:pt x="164" y="724"/>
                  </a:lnTo>
                  <a:lnTo>
                    <a:pt x="165" y="720"/>
                  </a:lnTo>
                  <a:lnTo>
                    <a:pt x="163" y="722"/>
                  </a:lnTo>
                  <a:lnTo>
                    <a:pt x="161" y="726"/>
                  </a:lnTo>
                  <a:lnTo>
                    <a:pt x="160" y="725"/>
                  </a:lnTo>
                  <a:lnTo>
                    <a:pt x="155" y="728"/>
                  </a:lnTo>
                  <a:lnTo>
                    <a:pt x="154" y="731"/>
                  </a:lnTo>
                  <a:lnTo>
                    <a:pt x="152" y="728"/>
                  </a:lnTo>
                  <a:lnTo>
                    <a:pt x="149" y="727"/>
                  </a:lnTo>
                  <a:lnTo>
                    <a:pt x="146" y="731"/>
                  </a:lnTo>
                  <a:lnTo>
                    <a:pt x="145" y="734"/>
                  </a:lnTo>
                  <a:lnTo>
                    <a:pt x="142" y="730"/>
                  </a:lnTo>
                  <a:lnTo>
                    <a:pt x="140" y="726"/>
                  </a:lnTo>
                  <a:lnTo>
                    <a:pt x="139" y="724"/>
                  </a:lnTo>
                  <a:lnTo>
                    <a:pt x="137" y="725"/>
                  </a:lnTo>
                  <a:lnTo>
                    <a:pt x="139" y="721"/>
                  </a:lnTo>
                  <a:lnTo>
                    <a:pt x="142" y="716"/>
                  </a:lnTo>
                  <a:lnTo>
                    <a:pt x="146" y="715"/>
                  </a:lnTo>
                  <a:lnTo>
                    <a:pt x="148" y="716"/>
                  </a:lnTo>
                  <a:lnTo>
                    <a:pt x="151" y="716"/>
                  </a:lnTo>
                  <a:lnTo>
                    <a:pt x="149" y="714"/>
                  </a:lnTo>
                  <a:lnTo>
                    <a:pt x="148" y="713"/>
                  </a:lnTo>
                  <a:lnTo>
                    <a:pt x="146" y="714"/>
                  </a:lnTo>
                  <a:lnTo>
                    <a:pt x="141" y="714"/>
                  </a:lnTo>
                  <a:lnTo>
                    <a:pt x="139" y="713"/>
                  </a:lnTo>
                  <a:lnTo>
                    <a:pt x="136" y="713"/>
                  </a:lnTo>
                  <a:lnTo>
                    <a:pt x="131" y="715"/>
                  </a:lnTo>
                  <a:lnTo>
                    <a:pt x="127" y="720"/>
                  </a:lnTo>
                  <a:lnTo>
                    <a:pt x="127" y="716"/>
                  </a:lnTo>
                  <a:lnTo>
                    <a:pt x="128" y="713"/>
                  </a:lnTo>
                  <a:lnTo>
                    <a:pt x="130" y="709"/>
                  </a:lnTo>
                  <a:lnTo>
                    <a:pt x="134" y="709"/>
                  </a:lnTo>
                  <a:lnTo>
                    <a:pt x="136" y="709"/>
                  </a:lnTo>
                  <a:lnTo>
                    <a:pt x="141" y="707"/>
                  </a:lnTo>
                  <a:lnTo>
                    <a:pt x="135" y="706"/>
                  </a:lnTo>
                  <a:lnTo>
                    <a:pt x="130" y="707"/>
                  </a:lnTo>
                  <a:lnTo>
                    <a:pt x="127" y="707"/>
                  </a:lnTo>
                  <a:lnTo>
                    <a:pt x="125" y="708"/>
                  </a:lnTo>
                  <a:lnTo>
                    <a:pt x="124" y="709"/>
                  </a:lnTo>
                  <a:lnTo>
                    <a:pt x="125" y="707"/>
                  </a:lnTo>
                  <a:lnTo>
                    <a:pt x="122" y="708"/>
                  </a:lnTo>
                  <a:lnTo>
                    <a:pt x="121" y="709"/>
                  </a:lnTo>
                  <a:lnTo>
                    <a:pt x="122" y="706"/>
                  </a:lnTo>
                  <a:lnTo>
                    <a:pt x="124" y="702"/>
                  </a:lnTo>
                  <a:lnTo>
                    <a:pt x="133" y="702"/>
                  </a:lnTo>
                  <a:lnTo>
                    <a:pt x="136" y="703"/>
                  </a:lnTo>
                  <a:lnTo>
                    <a:pt x="140" y="706"/>
                  </a:lnTo>
                  <a:lnTo>
                    <a:pt x="143" y="706"/>
                  </a:lnTo>
                  <a:lnTo>
                    <a:pt x="147" y="703"/>
                  </a:lnTo>
                  <a:lnTo>
                    <a:pt x="153" y="702"/>
                  </a:lnTo>
                  <a:lnTo>
                    <a:pt x="154" y="701"/>
                  </a:lnTo>
                  <a:lnTo>
                    <a:pt x="153" y="701"/>
                  </a:lnTo>
                  <a:lnTo>
                    <a:pt x="152" y="702"/>
                  </a:lnTo>
                  <a:lnTo>
                    <a:pt x="149" y="701"/>
                  </a:lnTo>
                  <a:lnTo>
                    <a:pt x="146" y="702"/>
                  </a:lnTo>
                  <a:lnTo>
                    <a:pt x="143" y="703"/>
                  </a:lnTo>
                  <a:lnTo>
                    <a:pt x="137" y="702"/>
                  </a:lnTo>
                  <a:lnTo>
                    <a:pt x="139" y="700"/>
                  </a:lnTo>
                  <a:lnTo>
                    <a:pt x="136" y="700"/>
                  </a:lnTo>
                  <a:lnTo>
                    <a:pt x="137" y="697"/>
                  </a:lnTo>
                  <a:lnTo>
                    <a:pt x="134" y="698"/>
                  </a:lnTo>
                  <a:lnTo>
                    <a:pt x="130" y="698"/>
                  </a:lnTo>
                  <a:lnTo>
                    <a:pt x="127" y="698"/>
                  </a:lnTo>
                  <a:lnTo>
                    <a:pt x="121" y="700"/>
                  </a:lnTo>
                  <a:lnTo>
                    <a:pt x="121" y="696"/>
                  </a:lnTo>
                  <a:lnTo>
                    <a:pt x="122" y="694"/>
                  </a:lnTo>
                  <a:lnTo>
                    <a:pt x="121" y="692"/>
                  </a:lnTo>
                  <a:lnTo>
                    <a:pt x="118" y="691"/>
                  </a:lnTo>
                  <a:lnTo>
                    <a:pt x="118" y="688"/>
                  </a:lnTo>
                  <a:lnTo>
                    <a:pt x="116" y="689"/>
                  </a:lnTo>
                  <a:lnTo>
                    <a:pt x="115" y="686"/>
                  </a:lnTo>
                  <a:lnTo>
                    <a:pt x="113" y="688"/>
                  </a:lnTo>
                  <a:lnTo>
                    <a:pt x="112" y="689"/>
                  </a:lnTo>
                  <a:lnTo>
                    <a:pt x="110" y="688"/>
                  </a:lnTo>
                  <a:lnTo>
                    <a:pt x="107" y="689"/>
                  </a:lnTo>
                  <a:lnTo>
                    <a:pt x="105" y="695"/>
                  </a:lnTo>
                  <a:lnTo>
                    <a:pt x="101" y="702"/>
                  </a:lnTo>
                  <a:lnTo>
                    <a:pt x="99" y="706"/>
                  </a:lnTo>
                  <a:lnTo>
                    <a:pt x="98" y="702"/>
                  </a:lnTo>
                  <a:lnTo>
                    <a:pt x="95" y="698"/>
                  </a:lnTo>
                  <a:lnTo>
                    <a:pt x="93" y="700"/>
                  </a:lnTo>
                  <a:lnTo>
                    <a:pt x="92" y="701"/>
                  </a:lnTo>
                  <a:lnTo>
                    <a:pt x="93" y="703"/>
                  </a:lnTo>
                  <a:lnTo>
                    <a:pt x="92" y="704"/>
                  </a:lnTo>
                  <a:lnTo>
                    <a:pt x="92" y="707"/>
                  </a:lnTo>
                  <a:lnTo>
                    <a:pt x="89" y="708"/>
                  </a:lnTo>
                  <a:lnTo>
                    <a:pt x="93" y="708"/>
                  </a:lnTo>
                  <a:lnTo>
                    <a:pt x="95" y="709"/>
                  </a:lnTo>
                  <a:lnTo>
                    <a:pt x="95" y="710"/>
                  </a:lnTo>
                  <a:lnTo>
                    <a:pt x="94" y="716"/>
                  </a:lnTo>
                  <a:lnTo>
                    <a:pt x="92" y="715"/>
                  </a:lnTo>
                  <a:lnTo>
                    <a:pt x="87" y="714"/>
                  </a:lnTo>
                  <a:lnTo>
                    <a:pt x="86" y="712"/>
                  </a:lnTo>
                  <a:lnTo>
                    <a:pt x="84" y="712"/>
                  </a:lnTo>
                  <a:lnTo>
                    <a:pt x="86" y="716"/>
                  </a:lnTo>
                  <a:lnTo>
                    <a:pt x="82" y="713"/>
                  </a:lnTo>
                  <a:lnTo>
                    <a:pt x="81" y="710"/>
                  </a:lnTo>
                  <a:lnTo>
                    <a:pt x="78" y="713"/>
                  </a:lnTo>
                  <a:lnTo>
                    <a:pt x="78" y="715"/>
                  </a:lnTo>
                  <a:lnTo>
                    <a:pt x="75" y="716"/>
                  </a:lnTo>
                  <a:lnTo>
                    <a:pt x="72" y="716"/>
                  </a:lnTo>
                  <a:lnTo>
                    <a:pt x="71" y="716"/>
                  </a:lnTo>
                  <a:lnTo>
                    <a:pt x="69" y="720"/>
                  </a:lnTo>
                  <a:lnTo>
                    <a:pt x="66" y="724"/>
                  </a:lnTo>
                  <a:lnTo>
                    <a:pt x="65" y="721"/>
                  </a:lnTo>
                  <a:lnTo>
                    <a:pt x="62" y="721"/>
                  </a:lnTo>
                  <a:lnTo>
                    <a:pt x="59" y="719"/>
                  </a:lnTo>
                  <a:lnTo>
                    <a:pt x="53" y="722"/>
                  </a:lnTo>
                  <a:lnTo>
                    <a:pt x="48" y="724"/>
                  </a:lnTo>
                  <a:lnTo>
                    <a:pt x="47" y="727"/>
                  </a:lnTo>
                  <a:lnTo>
                    <a:pt x="46" y="730"/>
                  </a:lnTo>
                  <a:lnTo>
                    <a:pt x="45" y="732"/>
                  </a:lnTo>
                  <a:lnTo>
                    <a:pt x="42" y="731"/>
                  </a:lnTo>
                  <a:lnTo>
                    <a:pt x="41" y="728"/>
                  </a:lnTo>
                  <a:lnTo>
                    <a:pt x="42" y="727"/>
                  </a:lnTo>
                  <a:lnTo>
                    <a:pt x="39" y="727"/>
                  </a:lnTo>
                  <a:lnTo>
                    <a:pt x="37" y="727"/>
                  </a:lnTo>
                  <a:lnTo>
                    <a:pt x="40" y="725"/>
                  </a:lnTo>
                  <a:lnTo>
                    <a:pt x="37" y="726"/>
                  </a:lnTo>
                  <a:lnTo>
                    <a:pt x="37" y="722"/>
                  </a:lnTo>
                  <a:lnTo>
                    <a:pt x="36" y="725"/>
                  </a:lnTo>
                  <a:lnTo>
                    <a:pt x="36" y="724"/>
                  </a:lnTo>
                  <a:lnTo>
                    <a:pt x="31" y="724"/>
                  </a:lnTo>
                  <a:lnTo>
                    <a:pt x="27" y="726"/>
                  </a:lnTo>
                  <a:lnTo>
                    <a:pt x="27" y="725"/>
                  </a:lnTo>
                  <a:lnTo>
                    <a:pt x="23" y="727"/>
                  </a:lnTo>
                  <a:lnTo>
                    <a:pt x="19" y="728"/>
                  </a:lnTo>
                  <a:lnTo>
                    <a:pt x="23" y="724"/>
                  </a:lnTo>
                  <a:lnTo>
                    <a:pt x="23" y="722"/>
                  </a:lnTo>
                  <a:lnTo>
                    <a:pt x="21" y="722"/>
                  </a:lnTo>
                  <a:lnTo>
                    <a:pt x="24" y="716"/>
                  </a:lnTo>
                  <a:lnTo>
                    <a:pt x="28" y="712"/>
                  </a:lnTo>
                  <a:lnTo>
                    <a:pt x="31" y="710"/>
                  </a:lnTo>
                  <a:lnTo>
                    <a:pt x="29" y="709"/>
                  </a:lnTo>
                  <a:lnTo>
                    <a:pt x="22" y="714"/>
                  </a:lnTo>
                  <a:lnTo>
                    <a:pt x="19" y="719"/>
                  </a:lnTo>
                  <a:lnTo>
                    <a:pt x="24" y="710"/>
                  </a:lnTo>
                  <a:lnTo>
                    <a:pt x="23" y="706"/>
                  </a:lnTo>
                  <a:lnTo>
                    <a:pt x="22" y="703"/>
                  </a:lnTo>
                  <a:lnTo>
                    <a:pt x="27" y="698"/>
                  </a:lnTo>
                  <a:lnTo>
                    <a:pt x="23" y="698"/>
                  </a:lnTo>
                  <a:lnTo>
                    <a:pt x="21" y="701"/>
                  </a:lnTo>
                  <a:lnTo>
                    <a:pt x="16" y="703"/>
                  </a:lnTo>
                  <a:lnTo>
                    <a:pt x="15" y="701"/>
                  </a:lnTo>
                  <a:lnTo>
                    <a:pt x="15" y="695"/>
                  </a:lnTo>
                  <a:lnTo>
                    <a:pt x="17" y="691"/>
                  </a:lnTo>
                  <a:lnTo>
                    <a:pt x="19" y="690"/>
                  </a:lnTo>
                  <a:lnTo>
                    <a:pt x="22" y="691"/>
                  </a:lnTo>
                  <a:lnTo>
                    <a:pt x="25" y="690"/>
                  </a:lnTo>
                  <a:lnTo>
                    <a:pt x="30" y="688"/>
                  </a:lnTo>
                  <a:lnTo>
                    <a:pt x="33" y="686"/>
                  </a:lnTo>
                  <a:lnTo>
                    <a:pt x="35" y="684"/>
                  </a:lnTo>
                  <a:lnTo>
                    <a:pt x="36" y="684"/>
                  </a:lnTo>
                  <a:lnTo>
                    <a:pt x="37" y="689"/>
                  </a:lnTo>
                  <a:lnTo>
                    <a:pt x="39" y="686"/>
                  </a:lnTo>
                  <a:lnTo>
                    <a:pt x="42" y="686"/>
                  </a:lnTo>
                  <a:lnTo>
                    <a:pt x="45" y="685"/>
                  </a:lnTo>
                  <a:lnTo>
                    <a:pt x="52" y="682"/>
                  </a:lnTo>
                  <a:lnTo>
                    <a:pt x="58" y="683"/>
                  </a:lnTo>
                  <a:lnTo>
                    <a:pt x="54" y="684"/>
                  </a:lnTo>
                  <a:lnTo>
                    <a:pt x="52" y="686"/>
                  </a:lnTo>
                  <a:lnTo>
                    <a:pt x="48" y="688"/>
                  </a:lnTo>
                  <a:lnTo>
                    <a:pt x="48" y="691"/>
                  </a:lnTo>
                  <a:lnTo>
                    <a:pt x="47" y="692"/>
                  </a:lnTo>
                  <a:lnTo>
                    <a:pt x="48" y="692"/>
                  </a:lnTo>
                  <a:lnTo>
                    <a:pt x="53" y="691"/>
                  </a:lnTo>
                  <a:lnTo>
                    <a:pt x="54" y="689"/>
                  </a:lnTo>
                  <a:lnTo>
                    <a:pt x="56" y="686"/>
                  </a:lnTo>
                  <a:lnTo>
                    <a:pt x="57" y="685"/>
                  </a:lnTo>
                  <a:lnTo>
                    <a:pt x="58" y="685"/>
                  </a:lnTo>
                  <a:lnTo>
                    <a:pt x="62" y="685"/>
                  </a:lnTo>
                  <a:lnTo>
                    <a:pt x="65" y="684"/>
                  </a:lnTo>
                  <a:lnTo>
                    <a:pt x="63" y="683"/>
                  </a:lnTo>
                  <a:lnTo>
                    <a:pt x="60" y="684"/>
                  </a:lnTo>
                  <a:lnTo>
                    <a:pt x="60" y="682"/>
                  </a:lnTo>
                  <a:lnTo>
                    <a:pt x="63" y="676"/>
                  </a:lnTo>
                  <a:lnTo>
                    <a:pt x="66" y="673"/>
                  </a:lnTo>
                  <a:lnTo>
                    <a:pt x="68" y="671"/>
                  </a:lnTo>
                  <a:lnTo>
                    <a:pt x="69" y="670"/>
                  </a:lnTo>
                  <a:lnTo>
                    <a:pt x="65" y="671"/>
                  </a:lnTo>
                  <a:lnTo>
                    <a:pt x="64" y="674"/>
                  </a:lnTo>
                  <a:lnTo>
                    <a:pt x="64" y="670"/>
                  </a:lnTo>
                  <a:lnTo>
                    <a:pt x="62" y="670"/>
                  </a:lnTo>
                  <a:lnTo>
                    <a:pt x="56" y="674"/>
                  </a:lnTo>
                  <a:lnTo>
                    <a:pt x="60" y="666"/>
                  </a:lnTo>
                  <a:lnTo>
                    <a:pt x="63" y="662"/>
                  </a:lnTo>
                  <a:lnTo>
                    <a:pt x="68" y="660"/>
                  </a:lnTo>
                  <a:lnTo>
                    <a:pt x="66" y="656"/>
                  </a:lnTo>
                  <a:lnTo>
                    <a:pt x="68" y="654"/>
                  </a:lnTo>
                  <a:lnTo>
                    <a:pt x="64" y="653"/>
                  </a:lnTo>
                  <a:lnTo>
                    <a:pt x="58" y="654"/>
                  </a:lnTo>
                  <a:lnTo>
                    <a:pt x="63" y="649"/>
                  </a:lnTo>
                  <a:lnTo>
                    <a:pt x="68" y="647"/>
                  </a:lnTo>
                  <a:lnTo>
                    <a:pt x="66" y="647"/>
                  </a:lnTo>
                  <a:lnTo>
                    <a:pt x="72" y="646"/>
                  </a:lnTo>
                  <a:lnTo>
                    <a:pt x="76" y="648"/>
                  </a:lnTo>
                  <a:lnTo>
                    <a:pt x="78" y="649"/>
                  </a:lnTo>
                  <a:lnTo>
                    <a:pt x="80" y="649"/>
                  </a:lnTo>
                  <a:lnTo>
                    <a:pt x="83" y="649"/>
                  </a:lnTo>
                  <a:lnTo>
                    <a:pt x="86" y="649"/>
                  </a:lnTo>
                  <a:lnTo>
                    <a:pt x="84" y="648"/>
                  </a:lnTo>
                  <a:lnTo>
                    <a:pt x="78" y="647"/>
                  </a:lnTo>
                  <a:lnTo>
                    <a:pt x="77" y="644"/>
                  </a:lnTo>
                  <a:lnTo>
                    <a:pt x="80" y="643"/>
                  </a:lnTo>
                  <a:lnTo>
                    <a:pt x="82" y="641"/>
                  </a:lnTo>
                  <a:lnTo>
                    <a:pt x="81" y="638"/>
                  </a:lnTo>
                  <a:lnTo>
                    <a:pt x="78" y="638"/>
                  </a:lnTo>
                  <a:lnTo>
                    <a:pt x="76" y="642"/>
                  </a:lnTo>
                  <a:lnTo>
                    <a:pt x="76" y="639"/>
                  </a:lnTo>
                  <a:lnTo>
                    <a:pt x="75" y="636"/>
                  </a:lnTo>
                  <a:lnTo>
                    <a:pt x="77" y="633"/>
                  </a:lnTo>
                  <a:lnTo>
                    <a:pt x="75" y="633"/>
                  </a:lnTo>
                  <a:lnTo>
                    <a:pt x="75" y="631"/>
                  </a:lnTo>
                  <a:lnTo>
                    <a:pt x="74" y="633"/>
                  </a:lnTo>
                  <a:lnTo>
                    <a:pt x="70" y="635"/>
                  </a:lnTo>
                  <a:lnTo>
                    <a:pt x="69" y="638"/>
                  </a:lnTo>
                  <a:lnTo>
                    <a:pt x="69" y="633"/>
                  </a:lnTo>
                  <a:lnTo>
                    <a:pt x="70" y="631"/>
                  </a:lnTo>
                  <a:lnTo>
                    <a:pt x="68" y="635"/>
                  </a:lnTo>
                  <a:lnTo>
                    <a:pt x="70" y="629"/>
                  </a:lnTo>
                  <a:lnTo>
                    <a:pt x="71" y="626"/>
                  </a:lnTo>
                  <a:lnTo>
                    <a:pt x="75" y="624"/>
                  </a:lnTo>
                  <a:lnTo>
                    <a:pt x="78" y="619"/>
                  </a:lnTo>
                  <a:lnTo>
                    <a:pt x="82" y="615"/>
                  </a:lnTo>
                  <a:lnTo>
                    <a:pt x="80" y="615"/>
                  </a:lnTo>
                  <a:lnTo>
                    <a:pt x="78" y="617"/>
                  </a:lnTo>
                  <a:lnTo>
                    <a:pt x="77" y="615"/>
                  </a:lnTo>
                  <a:lnTo>
                    <a:pt x="76" y="617"/>
                  </a:lnTo>
                  <a:lnTo>
                    <a:pt x="75" y="619"/>
                  </a:lnTo>
                  <a:lnTo>
                    <a:pt x="75" y="617"/>
                  </a:lnTo>
                  <a:lnTo>
                    <a:pt x="74" y="620"/>
                  </a:lnTo>
                  <a:lnTo>
                    <a:pt x="71" y="618"/>
                  </a:lnTo>
                  <a:lnTo>
                    <a:pt x="70" y="618"/>
                  </a:lnTo>
                  <a:lnTo>
                    <a:pt x="68" y="623"/>
                  </a:lnTo>
                  <a:lnTo>
                    <a:pt x="68" y="619"/>
                  </a:lnTo>
                  <a:lnTo>
                    <a:pt x="69" y="615"/>
                  </a:lnTo>
                  <a:lnTo>
                    <a:pt x="66" y="614"/>
                  </a:lnTo>
                  <a:lnTo>
                    <a:pt x="64" y="612"/>
                  </a:lnTo>
                  <a:lnTo>
                    <a:pt x="63" y="609"/>
                  </a:lnTo>
                  <a:lnTo>
                    <a:pt x="64" y="607"/>
                  </a:lnTo>
                  <a:lnTo>
                    <a:pt x="63" y="606"/>
                  </a:lnTo>
                  <a:lnTo>
                    <a:pt x="60" y="602"/>
                  </a:lnTo>
                  <a:lnTo>
                    <a:pt x="52" y="608"/>
                  </a:lnTo>
                  <a:lnTo>
                    <a:pt x="50" y="618"/>
                  </a:lnTo>
                  <a:lnTo>
                    <a:pt x="46" y="625"/>
                  </a:lnTo>
                  <a:lnTo>
                    <a:pt x="42" y="629"/>
                  </a:lnTo>
                  <a:lnTo>
                    <a:pt x="45" y="625"/>
                  </a:lnTo>
                  <a:lnTo>
                    <a:pt x="48" y="619"/>
                  </a:lnTo>
                  <a:lnTo>
                    <a:pt x="48" y="613"/>
                  </a:lnTo>
                  <a:lnTo>
                    <a:pt x="45" y="615"/>
                  </a:lnTo>
                  <a:lnTo>
                    <a:pt x="40" y="617"/>
                  </a:lnTo>
                  <a:lnTo>
                    <a:pt x="45" y="614"/>
                  </a:lnTo>
                  <a:lnTo>
                    <a:pt x="50" y="611"/>
                  </a:lnTo>
                  <a:lnTo>
                    <a:pt x="50" y="608"/>
                  </a:lnTo>
                  <a:lnTo>
                    <a:pt x="41" y="613"/>
                  </a:lnTo>
                  <a:lnTo>
                    <a:pt x="34" y="619"/>
                  </a:lnTo>
                  <a:lnTo>
                    <a:pt x="39" y="613"/>
                  </a:lnTo>
                  <a:lnTo>
                    <a:pt x="33" y="614"/>
                  </a:lnTo>
                  <a:lnTo>
                    <a:pt x="31" y="613"/>
                  </a:lnTo>
                  <a:lnTo>
                    <a:pt x="36" y="613"/>
                  </a:lnTo>
                  <a:lnTo>
                    <a:pt x="34" y="611"/>
                  </a:lnTo>
                  <a:lnTo>
                    <a:pt x="30" y="612"/>
                  </a:lnTo>
                  <a:lnTo>
                    <a:pt x="28" y="613"/>
                  </a:lnTo>
                  <a:lnTo>
                    <a:pt x="25" y="613"/>
                  </a:lnTo>
                  <a:lnTo>
                    <a:pt x="25" y="611"/>
                  </a:lnTo>
                  <a:lnTo>
                    <a:pt x="23" y="611"/>
                  </a:lnTo>
                  <a:lnTo>
                    <a:pt x="21" y="612"/>
                  </a:lnTo>
                  <a:lnTo>
                    <a:pt x="21" y="607"/>
                  </a:lnTo>
                  <a:lnTo>
                    <a:pt x="23" y="605"/>
                  </a:lnTo>
                  <a:lnTo>
                    <a:pt x="22" y="605"/>
                  </a:lnTo>
                  <a:lnTo>
                    <a:pt x="23" y="602"/>
                  </a:lnTo>
                  <a:lnTo>
                    <a:pt x="22" y="601"/>
                  </a:lnTo>
                  <a:lnTo>
                    <a:pt x="22" y="600"/>
                  </a:lnTo>
                  <a:lnTo>
                    <a:pt x="23" y="599"/>
                  </a:lnTo>
                  <a:lnTo>
                    <a:pt x="24" y="597"/>
                  </a:lnTo>
                  <a:lnTo>
                    <a:pt x="29" y="596"/>
                  </a:lnTo>
                  <a:lnTo>
                    <a:pt x="33" y="595"/>
                  </a:lnTo>
                  <a:lnTo>
                    <a:pt x="34" y="595"/>
                  </a:lnTo>
                  <a:lnTo>
                    <a:pt x="33" y="594"/>
                  </a:lnTo>
                  <a:lnTo>
                    <a:pt x="34" y="593"/>
                  </a:lnTo>
                  <a:lnTo>
                    <a:pt x="33" y="591"/>
                  </a:lnTo>
                  <a:lnTo>
                    <a:pt x="34" y="589"/>
                  </a:lnTo>
                  <a:lnTo>
                    <a:pt x="36" y="588"/>
                  </a:lnTo>
                  <a:lnTo>
                    <a:pt x="30" y="589"/>
                  </a:lnTo>
                  <a:lnTo>
                    <a:pt x="28" y="587"/>
                  </a:lnTo>
                  <a:lnTo>
                    <a:pt x="23" y="585"/>
                  </a:lnTo>
                  <a:lnTo>
                    <a:pt x="25" y="584"/>
                  </a:lnTo>
                  <a:lnTo>
                    <a:pt x="29" y="582"/>
                  </a:lnTo>
                  <a:lnTo>
                    <a:pt x="33" y="582"/>
                  </a:lnTo>
                  <a:lnTo>
                    <a:pt x="37" y="582"/>
                  </a:lnTo>
                  <a:lnTo>
                    <a:pt x="39" y="585"/>
                  </a:lnTo>
                  <a:lnTo>
                    <a:pt x="43" y="588"/>
                  </a:lnTo>
                  <a:lnTo>
                    <a:pt x="47" y="588"/>
                  </a:lnTo>
                  <a:lnTo>
                    <a:pt x="47" y="585"/>
                  </a:lnTo>
                  <a:lnTo>
                    <a:pt x="51" y="585"/>
                  </a:lnTo>
                  <a:lnTo>
                    <a:pt x="53" y="585"/>
                  </a:lnTo>
                  <a:lnTo>
                    <a:pt x="56" y="583"/>
                  </a:lnTo>
                  <a:lnTo>
                    <a:pt x="58" y="583"/>
                  </a:lnTo>
                  <a:lnTo>
                    <a:pt x="60" y="582"/>
                  </a:lnTo>
                  <a:lnTo>
                    <a:pt x="63" y="581"/>
                  </a:lnTo>
                  <a:lnTo>
                    <a:pt x="63" y="578"/>
                  </a:lnTo>
                  <a:lnTo>
                    <a:pt x="65" y="577"/>
                  </a:lnTo>
                  <a:lnTo>
                    <a:pt x="65" y="575"/>
                  </a:lnTo>
                  <a:lnTo>
                    <a:pt x="66" y="571"/>
                  </a:lnTo>
                  <a:lnTo>
                    <a:pt x="63" y="573"/>
                  </a:lnTo>
                  <a:lnTo>
                    <a:pt x="57" y="577"/>
                  </a:lnTo>
                  <a:lnTo>
                    <a:pt x="56" y="579"/>
                  </a:lnTo>
                  <a:lnTo>
                    <a:pt x="54" y="573"/>
                  </a:lnTo>
                  <a:lnTo>
                    <a:pt x="52" y="569"/>
                  </a:lnTo>
                  <a:lnTo>
                    <a:pt x="52" y="565"/>
                  </a:lnTo>
                  <a:lnTo>
                    <a:pt x="48" y="565"/>
                  </a:lnTo>
                  <a:lnTo>
                    <a:pt x="43" y="569"/>
                  </a:lnTo>
                  <a:lnTo>
                    <a:pt x="42" y="571"/>
                  </a:lnTo>
                  <a:lnTo>
                    <a:pt x="41" y="566"/>
                  </a:lnTo>
                  <a:lnTo>
                    <a:pt x="39" y="566"/>
                  </a:lnTo>
                  <a:lnTo>
                    <a:pt x="36" y="565"/>
                  </a:lnTo>
                  <a:lnTo>
                    <a:pt x="33" y="564"/>
                  </a:lnTo>
                  <a:lnTo>
                    <a:pt x="33" y="565"/>
                  </a:lnTo>
                  <a:lnTo>
                    <a:pt x="31" y="563"/>
                  </a:lnTo>
                  <a:lnTo>
                    <a:pt x="31" y="555"/>
                  </a:lnTo>
                  <a:lnTo>
                    <a:pt x="28" y="559"/>
                  </a:lnTo>
                  <a:lnTo>
                    <a:pt x="29" y="565"/>
                  </a:lnTo>
                  <a:lnTo>
                    <a:pt x="29" y="573"/>
                  </a:lnTo>
                  <a:lnTo>
                    <a:pt x="28" y="577"/>
                  </a:lnTo>
                  <a:lnTo>
                    <a:pt x="22" y="567"/>
                  </a:lnTo>
                  <a:lnTo>
                    <a:pt x="19" y="566"/>
                  </a:lnTo>
                  <a:lnTo>
                    <a:pt x="17" y="567"/>
                  </a:lnTo>
                  <a:lnTo>
                    <a:pt x="15" y="570"/>
                  </a:lnTo>
                  <a:lnTo>
                    <a:pt x="15" y="565"/>
                  </a:lnTo>
                  <a:lnTo>
                    <a:pt x="15" y="564"/>
                  </a:lnTo>
                  <a:lnTo>
                    <a:pt x="13" y="563"/>
                  </a:lnTo>
                  <a:lnTo>
                    <a:pt x="11" y="563"/>
                  </a:lnTo>
                  <a:lnTo>
                    <a:pt x="9" y="564"/>
                  </a:lnTo>
                  <a:lnTo>
                    <a:pt x="9" y="560"/>
                  </a:lnTo>
                  <a:lnTo>
                    <a:pt x="10" y="555"/>
                  </a:lnTo>
                  <a:lnTo>
                    <a:pt x="15" y="552"/>
                  </a:lnTo>
                  <a:lnTo>
                    <a:pt x="13" y="551"/>
                  </a:lnTo>
                  <a:lnTo>
                    <a:pt x="15" y="547"/>
                  </a:lnTo>
                  <a:lnTo>
                    <a:pt x="16" y="543"/>
                  </a:lnTo>
                  <a:lnTo>
                    <a:pt x="18" y="540"/>
                  </a:lnTo>
                  <a:lnTo>
                    <a:pt x="18" y="542"/>
                  </a:lnTo>
                  <a:lnTo>
                    <a:pt x="21" y="541"/>
                  </a:lnTo>
                  <a:lnTo>
                    <a:pt x="21" y="540"/>
                  </a:lnTo>
                  <a:lnTo>
                    <a:pt x="24" y="535"/>
                  </a:lnTo>
                  <a:lnTo>
                    <a:pt x="27" y="530"/>
                  </a:lnTo>
                  <a:lnTo>
                    <a:pt x="28" y="532"/>
                  </a:lnTo>
                  <a:lnTo>
                    <a:pt x="29" y="531"/>
                  </a:lnTo>
                  <a:lnTo>
                    <a:pt x="31" y="530"/>
                  </a:lnTo>
                  <a:lnTo>
                    <a:pt x="34" y="529"/>
                  </a:lnTo>
                  <a:lnTo>
                    <a:pt x="36" y="528"/>
                  </a:lnTo>
                  <a:lnTo>
                    <a:pt x="39" y="526"/>
                  </a:lnTo>
                  <a:lnTo>
                    <a:pt x="29" y="523"/>
                  </a:lnTo>
                  <a:lnTo>
                    <a:pt x="21" y="518"/>
                  </a:lnTo>
                  <a:lnTo>
                    <a:pt x="19" y="520"/>
                  </a:lnTo>
                  <a:lnTo>
                    <a:pt x="19" y="525"/>
                  </a:lnTo>
                  <a:lnTo>
                    <a:pt x="17" y="525"/>
                  </a:lnTo>
                  <a:lnTo>
                    <a:pt x="15" y="529"/>
                  </a:lnTo>
                  <a:lnTo>
                    <a:pt x="12" y="530"/>
                  </a:lnTo>
                  <a:lnTo>
                    <a:pt x="11" y="531"/>
                  </a:lnTo>
                  <a:lnTo>
                    <a:pt x="11" y="528"/>
                  </a:lnTo>
                  <a:lnTo>
                    <a:pt x="11" y="524"/>
                  </a:lnTo>
                  <a:lnTo>
                    <a:pt x="13" y="523"/>
                  </a:lnTo>
                  <a:lnTo>
                    <a:pt x="13" y="520"/>
                  </a:lnTo>
                  <a:lnTo>
                    <a:pt x="15" y="517"/>
                  </a:lnTo>
                  <a:lnTo>
                    <a:pt x="16" y="518"/>
                  </a:lnTo>
                  <a:lnTo>
                    <a:pt x="19" y="518"/>
                  </a:lnTo>
                  <a:lnTo>
                    <a:pt x="15" y="514"/>
                  </a:lnTo>
                  <a:lnTo>
                    <a:pt x="11" y="513"/>
                  </a:lnTo>
                  <a:lnTo>
                    <a:pt x="10" y="511"/>
                  </a:lnTo>
                  <a:lnTo>
                    <a:pt x="13" y="512"/>
                  </a:lnTo>
                  <a:lnTo>
                    <a:pt x="17" y="514"/>
                  </a:lnTo>
                  <a:lnTo>
                    <a:pt x="27" y="520"/>
                  </a:lnTo>
                  <a:lnTo>
                    <a:pt x="42" y="524"/>
                  </a:lnTo>
                  <a:lnTo>
                    <a:pt x="34" y="518"/>
                  </a:lnTo>
                  <a:lnTo>
                    <a:pt x="33" y="517"/>
                  </a:lnTo>
                  <a:lnTo>
                    <a:pt x="33" y="520"/>
                  </a:lnTo>
                  <a:lnTo>
                    <a:pt x="29" y="517"/>
                  </a:lnTo>
                  <a:lnTo>
                    <a:pt x="28" y="513"/>
                  </a:lnTo>
                  <a:lnTo>
                    <a:pt x="21" y="507"/>
                  </a:lnTo>
                  <a:lnTo>
                    <a:pt x="16" y="504"/>
                  </a:lnTo>
                  <a:lnTo>
                    <a:pt x="16" y="506"/>
                  </a:lnTo>
                  <a:lnTo>
                    <a:pt x="17" y="511"/>
                  </a:lnTo>
                  <a:lnTo>
                    <a:pt x="15" y="508"/>
                  </a:lnTo>
                  <a:lnTo>
                    <a:pt x="12" y="508"/>
                  </a:lnTo>
                  <a:lnTo>
                    <a:pt x="12" y="505"/>
                  </a:lnTo>
                  <a:lnTo>
                    <a:pt x="12" y="504"/>
                  </a:lnTo>
                  <a:lnTo>
                    <a:pt x="11" y="506"/>
                  </a:lnTo>
                  <a:lnTo>
                    <a:pt x="5" y="508"/>
                  </a:lnTo>
                  <a:lnTo>
                    <a:pt x="0" y="508"/>
                  </a:lnTo>
                  <a:lnTo>
                    <a:pt x="4" y="506"/>
                  </a:lnTo>
                  <a:lnTo>
                    <a:pt x="5" y="504"/>
                  </a:lnTo>
                  <a:lnTo>
                    <a:pt x="5" y="502"/>
                  </a:lnTo>
                  <a:lnTo>
                    <a:pt x="10" y="502"/>
                  </a:lnTo>
                  <a:lnTo>
                    <a:pt x="13" y="504"/>
                  </a:lnTo>
                  <a:lnTo>
                    <a:pt x="16" y="502"/>
                  </a:lnTo>
                  <a:lnTo>
                    <a:pt x="9" y="494"/>
                  </a:lnTo>
                  <a:lnTo>
                    <a:pt x="6" y="493"/>
                  </a:lnTo>
                  <a:lnTo>
                    <a:pt x="1" y="490"/>
                  </a:lnTo>
                  <a:lnTo>
                    <a:pt x="0" y="488"/>
                  </a:lnTo>
                  <a:lnTo>
                    <a:pt x="4" y="489"/>
                  </a:lnTo>
                  <a:lnTo>
                    <a:pt x="6" y="490"/>
                  </a:lnTo>
                  <a:lnTo>
                    <a:pt x="9" y="490"/>
                  </a:lnTo>
                  <a:lnTo>
                    <a:pt x="11" y="489"/>
                  </a:lnTo>
                  <a:lnTo>
                    <a:pt x="13" y="492"/>
                  </a:lnTo>
                  <a:lnTo>
                    <a:pt x="16" y="494"/>
                  </a:lnTo>
                  <a:lnTo>
                    <a:pt x="17" y="498"/>
                  </a:lnTo>
                  <a:lnTo>
                    <a:pt x="16" y="496"/>
                  </a:lnTo>
                  <a:lnTo>
                    <a:pt x="16" y="498"/>
                  </a:lnTo>
                  <a:lnTo>
                    <a:pt x="12" y="494"/>
                  </a:lnTo>
                  <a:lnTo>
                    <a:pt x="10" y="493"/>
                  </a:lnTo>
                  <a:lnTo>
                    <a:pt x="16" y="501"/>
                  </a:lnTo>
                  <a:lnTo>
                    <a:pt x="28" y="512"/>
                  </a:lnTo>
                  <a:lnTo>
                    <a:pt x="30" y="511"/>
                  </a:lnTo>
                  <a:lnTo>
                    <a:pt x="34" y="510"/>
                  </a:lnTo>
                  <a:lnTo>
                    <a:pt x="36" y="511"/>
                  </a:lnTo>
                  <a:lnTo>
                    <a:pt x="34" y="513"/>
                  </a:lnTo>
                  <a:lnTo>
                    <a:pt x="34" y="516"/>
                  </a:lnTo>
                  <a:lnTo>
                    <a:pt x="42" y="524"/>
                  </a:lnTo>
                  <a:lnTo>
                    <a:pt x="46" y="524"/>
                  </a:lnTo>
                  <a:lnTo>
                    <a:pt x="48" y="519"/>
                  </a:lnTo>
                  <a:lnTo>
                    <a:pt x="50" y="519"/>
                  </a:lnTo>
                  <a:lnTo>
                    <a:pt x="50" y="517"/>
                  </a:lnTo>
                  <a:lnTo>
                    <a:pt x="50" y="513"/>
                  </a:lnTo>
                  <a:lnTo>
                    <a:pt x="52" y="513"/>
                  </a:lnTo>
                  <a:lnTo>
                    <a:pt x="57" y="517"/>
                  </a:lnTo>
                  <a:lnTo>
                    <a:pt x="58" y="519"/>
                  </a:lnTo>
                  <a:lnTo>
                    <a:pt x="62" y="520"/>
                  </a:lnTo>
                  <a:lnTo>
                    <a:pt x="63" y="520"/>
                  </a:lnTo>
                  <a:lnTo>
                    <a:pt x="63" y="514"/>
                  </a:lnTo>
                  <a:lnTo>
                    <a:pt x="63" y="512"/>
                  </a:lnTo>
                  <a:lnTo>
                    <a:pt x="65" y="510"/>
                  </a:lnTo>
                  <a:lnTo>
                    <a:pt x="70" y="505"/>
                  </a:lnTo>
                  <a:lnTo>
                    <a:pt x="74" y="502"/>
                  </a:lnTo>
                  <a:lnTo>
                    <a:pt x="80" y="502"/>
                  </a:lnTo>
                  <a:lnTo>
                    <a:pt x="82" y="505"/>
                  </a:lnTo>
                  <a:lnTo>
                    <a:pt x="86" y="505"/>
                  </a:lnTo>
                  <a:lnTo>
                    <a:pt x="89" y="507"/>
                  </a:lnTo>
                  <a:lnTo>
                    <a:pt x="86" y="507"/>
                  </a:lnTo>
                  <a:lnTo>
                    <a:pt x="86" y="511"/>
                  </a:lnTo>
                  <a:lnTo>
                    <a:pt x="89" y="511"/>
                  </a:lnTo>
                  <a:lnTo>
                    <a:pt x="92" y="512"/>
                  </a:lnTo>
                  <a:lnTo>
                    <a:pt x="94" y="512"/>
                  </a:lnTo>
                  <a:lnTo>
                    <a:pt x="94" y="511"/>
                  </a:lnTo>
                  <a:lnTo>
                    <a:pt x="94" y="507"/>
                  </a:lnTo>
                  <a:lnTo>
                    <a:pt x="92" y="508"/>
                  </a:lnTo>
                  <a:lnTo>
                    <a:pt x="89" y="508"/>
                  </a:lnTo>
                  <a:lnTo>
                    <a:pt x="92" y="507"/>
                  </a:lnTo>
                  <a:lnTo>
                    <a:pt x="92" y="506"/>
                  </a:lnTo>
                  <a:lnTo>
                    <a:pt x="92" y="505"/>
                  </a:lnTo>
                  <a:lnTo>
                    <a:pt x="89" y="504"/>
                  </a:lnTo>
                  <a:lnTo>
                    <a:pt x="88" y="502"/>
                  </a:lnTo>
                  <a:lnTo>
                    <a:pt x="92" y="500"/>
                  </a:lnTo>
                  <a:lnTo>
                    <a:pt x="93" y="499"/>
                  </a:lnTo>
                  <a:lnTo>
                    <a:pt x="94" y="496"/>
                  </a:lnTo>
                  <a:lnTo>
                    <a:pt x="89" y="498"/>
                  </a:lnTo>
                  <a:lnTo>
                    <a:pt x="86" y="495"/>
                  </a:lnTo>
                  <a:lnTo>
                    <a:pt x="89" y="495"/>
                  </a:lnTo>
                  <a:lnTo>
                    <a:pt x="89" y="493"/>
                  </a:lnTo>
                  <a:lnTo>
                    <a:pt x="93" y="494"/>
                  </a:lnTo>
                  <a:lnTo>
                    <a:pt x="95" y="494"/>
                  </a:lnTo>
                  <a:lnTo>
                    <a:pt x="93" y="493"/>
                  </a:lnTo>
                  <a:lnTo>
                    <a:pt x="98" y="493"/>
                  </a:lnTo>
                  <a:lnTo>
                    <a:pt x="102" y="494"/>
                  </a:lnTo>
                  <a:lnTo>
                    <a:pt x="106" y="493"/>
                  </a:lnTo>
                  <a:lnTo>
                    <a:pt x="107" y="488"/>
                  </a:lnTo>
                  <a:lnTo>
                    <a:pt x="109" y="489"/>
                  </a:lnTo>
                  <a:lnTo>
                    <a:pt x="111" y="493"/>
                  </a:lnTo>
                  <a:lnTo>
                    <a:pt x="111" y="498"/>
                  </a:lnTo>
                  <a:lnTo>
                    <a:pt x="113" y="496"/>
                  </a:lnTo>
                  <a:lnTo>
                    <a:pt x="116" y="494"/>
                  </a:lnTo>
                  <a:lnTo>
                    <a:pt x="116" y="492"/>
                  </a:lnTo>
                  <a:lnTo>
                    <a:pt x="117" y="489"/>
                  </a:lnTo>
                  <a:lnTo>
                    <a:pt x="118" y="487"/>
                  </a:lnTo>
                  <a:lnTo>
                    <a:pt x="116" y="486"/>
                  </a:lnTo>
                  <a:lnTo>
                    <a:pt x="118" y="486"/>
                  </a:lnTo>
                  <a:lnTo>
                    <a:pt x="118" y="483"/>
                  </a:lnTo>
                  <a:lnTo>
                    <a:pt x="121" y="483"/>
                  </a:lnTo>
                  <a:lnTo>
                    <a:pt x="125" y="482"/>
                  </a:lnTo>
                  <a:lnTo>
                    <a:pt x="124" y="484"/>
                  </a:lnTo>
                  <a:lnTo>
                    <a:pt x="124" y="487"/>
                  </a:lnTo>
                  <a:lnTo>
                    <a:pt x="127" y="486"/>
                  </a:lnTo>
                  <a:lnTo>
                    <a:pt x="129" y="483"/>
                  </a:lnTo>
                  <a:lnTo>
                    <a:pt x="133" y="480"/>
                  </a:lnTo>
                  <a:lnTo>
                    <a:pt x="135" y="477"/>
                  </a:lnTo>
                  <a:lnTo>
                    <a:pt x="135" y="475"/>
                  </a:lnTo>
                  <a:lnTo>
                    <a:pt x="133" y="474"/>
                  </a:lnTo>
                  <a:lnTo>
                    <a:pt x="129" y="474"/>
                  </a:lnTo>
                  <a:lnTo>
                    <a:pt x="124" y="475"/>
                  </a:lnTo>
                  <a:lnTo>
                    <a:pt x="121" y="475"/>
                  </a:lnTo>
                  <a:lnTo>
                    <a:pt x="122" y="472"/>
                  </a:lnTo>
                  <a:lnTo>
                    <a:pt x="125" y="470"/>
                  </a:lnTo>
                  <a:lnTo>
                    <a:pt x="125" y="468"/>
                  </a:lnTo>
                  <a:lnTo>
                    <a:pt x="124" y="464"/>
                  </a:lnTo>
                  <a:lnTo>
                    <a:pt x="117" y="459"/>
                  </a:lnTo>
                  <a:lnTo>
                    <a:pt x="115" y="460"/>
                  </a:lnTo>
                  <a:lnTo>
                    <a:pt x="112" y="463"/>
                  </a:lnTo>
                  <a:lnTo>
                    <a:pt x="113" y="459"/>
                  </a:lnTo>
                  <a:lnTo>
                    <a:pt x="116" y="458"/>
                  </a:lnTo>
                  <a:lnTo>
                    <a:pt x="112" y="456"/>
                  </a:lnTo>
                  <a:lnTo>
                    <a:pt x="111" y="456"/>
                  </a:lnTo>
                  <a:lnTo>
                    <a:pt x="109" y="458"/>
                  </a:lnTo>
                  <a:lnTo>
                    <a:pt x="105" y="459"/>
                  </a:lnTo>
                  <a:lnTo>
                    <a:pt x="106" y="458"/>
                  </a:lnTo>
                  <a:lnTo>
                    <a:pt x="109" y="456"/>
                  </a:lnTo>
                  <a:lnTo>
                    <a:pt x="107" y="454"/>
                  </a:lnTo>
                  <a:lnTo>
                    <a:pt x="109" y="452"/>
                  </a:lnTo>
                  <a:lnTo>
                    <a:pt x="105" y="453"/>
                  </a:lnTo>
                  <a:lnTo>
                    <a:pt x="101" y="458"/>
                  </a:lnTo>
                  <a:lnTo>
                    <a:pt x="100" y="456"/>
                  </a:lnTo>
                  <a:lnTo>
                    <a:pt x="98" y="457"/>
                  </a:lnTo>
                  <a:lnTo>
                    <a:pt x="93" y="457"/>
                  </a:lnTo>
                  <a:lnTo>
                    <a:pt x="99" y="456"/>
                  </a:lnTo>
                  <a:lnTo>
                    <a:pt x="100" y="452"/>
                  </a:lnTo>
                  <a:lnTo>
                    <a:pt x="104" y="452"/>
                  </a:lnTo>
                  <a:lnTo>
                    <a:pt x="107" y="451"/>
                  </a:lnTo>
                  <a:lnTo>
                    <a:pt x="102" y="445"/>
                  </a:lnTo>
                  <a:lnTo>
                    <a:pt x="102" y="444"/>
                  </a:lnTo>
                  <a:lnTo>
                    <a:pt x="104" y="441"/>
                  </a:lnTo>
                  <a:lnTo>
                    <a:pt x="106" y="441"/>
                  </a:lnTo>
                  <a:lnTo>
                    <a:pt x="109" y="440"/>
                  </a:lnTo>
                  <a:lnTo>
                    <a:pt x="112" y="441"/>
                  </a:lnTo>
                  <a:lnTo>
                    <a:pt x="110" y="445"/>
                  </a:lnTo>
                  <a:lnTo>
                    <a:pt x="107" y="447"/>
                  </a:lnTo>
                  <a:lnTo>
                    <a:pt x="106" y="446"/>
                  </a:lnTo>
                  <a:lnTo>
                    <a:pt x="104" y="445"/>
                  </a:lnTo>
                  <a:lnTo>
                    <a:pt x="107" y="451"/>
                  </a:lnTo>
                  <a:lnTo>
                    <a:pt x="110" y="451"/>
                  </a:lnTo>
                  <a:lnTo>
                    <a:pt x="112" y="452"/>
                  </a:lnTo>
                  <a:lnTo>
                    <a:pt x="115" y="450"/>
                  </a:lnTo>
                  <a:lnTo>
                    <a:pt x="113" y="453"/>
                  </a:lnTo>
                  <a:lnTo>
                    <a:pt x="118" y="458"/>
                  </a:lnTo>
                  <a:lnTo>
                    <a:pt x="127" y="464"/>
                  </a:lnTo>
                  <a:lnTo>
                    <a:pt x="128" y="466"/>
                  </a:lnTo>
                  <a:lnTo>
                    <a:pt x="129" y="463"/>
                  </a:lnTo>
                  <a:lnTo>
                    <a:pt x="128" y="462"/>
                  </a:lnTo>
                  <a:lnTo>
                    <a:pt x="128" y="460"/>
                  </a:lnTo>
                  <a:lnTo>
                    <a:pt x="128" y="458"/>
                  </a:lnTo>
                  <a:lnTo>
                    <a:pt x="125" y="454"/>
                  </a:lnTo>
                  <a:lnTo>
                    <a:pt x="127" y="451"/>
                  </a:lnTo>
                  <a:lnTo>
                    <a:pt x="133" y="452"/>
                  </a:lnTo>
                  <a:lnTo>
                    <a:pt x="129" y="450"/>
                  </a:lnTo>
                  <a:lnTo>
                    <a:pt x="124" y="452"/>
                  </a:lnTo>
                  <a:lnTo>
                    <a:pt x="121" y="458"/>
                  </a:lnTo>
                  <a:lnTo>
                    <a:pt x="121" y="453"/>
                  </a:lnTo>
                  <a:lnTo>
                    <a:pt x="122" y="451"/>
                  </a:lnTo>
                  <a:lnTo>
                    <a:pt x="122" y="447"/>
                  </a:lnTo>
                  <a:lnTo>
                    <a:pt x="123" y="445"/>
                  </a:lnTo>
                  <a:lnTo>
                    <a:pt x="124" y="440"/>
                  </a:lnTo>
                  <a:lnTo>
                    <a:pt x="128" y="438"/>
                  </a:lnTo>
                  <a:lnTo>
                    <a:pt x="125" y="436"/>
                  </a:lnTo>
                  <a:lnTo>
                    <a:pt x="129" y="435"/>
                  </a:lnTo>
                  <a:lnTo>
                    <a:pt x="131" y="432"/>
                  </a:lnTo>
                  <a:lnTo>
                    <a:pt x="131" y="429"/>
                  </a:lnTo>
                  <a:lnTo>
                    <a:pt x="129" y="430"/>
                  </a:lnTo>
                  <a:lnTo>
                    <a:pt x="129" y="428"/>
                  </a:lnTo>
                  <a:lnTo>
                    <a:pt x="128" y="427"/>
                  </a:lnTo>
                  <a:lnTo>
                    <a:pt x="130" y="424"/>
                  </a:lnTo>
                  <a:lnTo>
                    <a:pt x="131" y="422"/>
                  </a:lnTo>
                  <a:lnTo>
                    <a:pt x="133" y="419"/>
                  </a:lnTo>
                  <a:lnTo>
                    <a:pt x="133" y="416"/>
                  </a:lnTo>
                  <a:lnTo>
                    <a:pt x="129" y="418"/>
                  </a:lnTo>
                  <a:lnTo>
                    <a:pt x="125" y="422"/>
                  </a:lnTo>
                  <a:lnTo>
                    <a:pt x="127" y="416"/>
                  </a:lnTo>
                  <a:lnTo>
                    <a:pt x="128" y="412"/>
                  </a:lnTo>
                  <a:lnTo>
                    <a:pt x="129" y="411"/>
                  </a:lnTo>
                  <a:lnTo>
                    <a:pt x="127" y="410"/>
                  </a:lnTo>
                  <a:lnTo>
                    <a:pt x="130" y="409"/>
                  </a:lnTo>
                  <a:lnTo>
                    <a:pt x="134" y="406"/>
                  </a:lnTo>
                  <a:lnTo>
                    <a:pt x="131" y="406"/>
                  </a:lnTo>
                  <a:lnTo>
                    <a:pt x="130" y="405"/>
                  </a:lnTo>
                  <a:lnTo>
                    <a:pt x="125" y="406"/>
                  </a:lnTo>
                  <a:lnTo>
                    <a:pt x="128" y="403"/>
                  </a:lnTo>
                  <a:lnTo>
                    <a:pt x="133" y="399"/>
                  </a:lnTo>
                  <a:lnTo>
                    <a:pt x="133" y="398"/>
                  </a:lnTo>
                  <a:lnTo>
                    <a:pt x="135" y="398"/>
                  </a:lnTo>
                  <a:lnTo>
                    <a:pt x="139" y="398"/>
                  </a:lnTo>
                  <a:lnTo>
                    <a:pt x="141" y="395"/>
                  </a:lnTo>
                  <a:lnTo>
                    <a:pt x="142" y="395"/>
                  </a:lnTo>
                  <a:lnTo>
                    <a:pt x="146" y="395"/>
                  </a:lnTo>
                  <a:lnTo>
                    <a:pt x="149" y="393"/>
                  </a:lnTo>
                  <a:lnTo>
                    <a:pt x="149" y="397"/>
                  </a:lnTo>
                  <a:lnTo>
                    <a:pt x="153" y="398"/>
                  </a:lnTo>
                  <a:lnTo>
                    <a:pt x="154" y="395"/>
                  </a:lnTo>
                  <a:lnTo>
                    <a:pt x="157" y="397"/>
                  </a:lnTo>
                  <a:lnTo>
                    <a:pt x="159" y="395"/>
                  </a:lnTo>
                  <a:lnTo>
                    <a:pt x="158" y="394"/>
                  </a:lnTo>
                  <a:lnTo>
                    <a:pt x="157" y="393"/>
                  </a:lnTo>
                  <a:lnTo>
                    <a:pt x="157" y="392"/>
                  </a:lnTo>
                  <a:lnTo>
                    <a:pt x="159" y="386"/>
                  </a:lnTo>
                  <a:lnTo>
                    <a:pt x="161" y="385"/>
                  </a:lnTo>
                  <a:lnTo>
                    <a:pt x="163" y="385"/>
                  </a:lnTo>
                  <a:lnTo>
                    <a:pt x="161" y="388"/>
                  </a:lnTo>
                  <a:lnTo>
                    <a:pt x="164" y="389"/>
                  </a:lnTo>
                  <a:lnTo>
                    <a:pt x="166" y="387"/>
                  </a:lnTo>
                  <a:lnTo>
                    <a:pt x="168" y="388"/>
                  </a:lnTo>
                  <a:lnTo>
                    <a:pt x="168" y="386"/>
                  </a:lnTo>
                  <a:lnTo>
                    <a:pt x="164" y="382"/>
                  </a:lnTo>
                  <a:lnTo>
                    <a:pt x="159" y="382"/>
                  </a:lnTo>
                  <a:lnTo>
                    <a:pt x="155" y="387"/>
                  </a:lnTo>
                  <a:lnTo>
                    <a:pt x="154" y="383"/>
                  </a:lnTo>
                  <a:lnTo>
                    <a:pt x="154" y="382"/>
                  </a:lnTo>
                  <a:lnTo>
                    <a:pt x="155" y="380"/>
                  </a:lnTo>
                  <a:lnTo>
                    <a:pt x="154" y="377"/>
                  </a:lnTo>
                  <a:lnTo>
                    <a:pt x="153" y="380"/>
                  </a:lnTo>
                  <a:lnTo>
                    <a:pt x="151" y="379"/>
                  </a:lnTo>
                  <a:lnTo>
                    <a:pt x="149" y="383"/>
                  </a:lnTo>
                  <a:lnTo>
                    <a:pt x="145" y="386"/>
                  </a:lnTo>
                  <a:lnTo>
                    <a:pt x="143" y="387"/>
                  </a:lnTo>
                  <a:lnTo>
                    <a:pt x="143" y="383"/>
                  </a:lnTo>
                  <a:lnTo>
                    <a:pt x="139" y="381"/>
                  </a:lnTo>
                  <a:lnTo>
                    <a:pt x="142" y="381"/>
                  </a:lnTo>
                  <a:lnTo>
                    <a:pt x="142" y="379"/>
                  </a:lnTo>
                  <a:lnTo>
                    <a:pt x="143" y="377"/>
                  </a:lnTo>
                  <a:lnTo>
                    <a:pt x="142" y="374"/>
                  </a:lnTo>
                  <a:lnTo>
                    <a:pt x="141" y="375"/>
                  </a:lnTo>
                  <a:lnTo>
                    <a:pt x="140" y="371"/>
                  </a:lnTo>
                  <a:lnTo>
                    <a:pt x="135" y="370"/>
                  </a:lnTo>
                  <a:lnTo>
                    <a:pt x="130" y="376"/>
                  </a:lnTo>
                  <a:lnTo>
                    <a:pt x="128" y="380"/>
                  </a:lnTo>
                  <a:lnTo>
                    <a:pt x="129" y="374"/>
                  </a:lnTo>
                  <a:lnTo>
                    <a:pt x="128" y="368"/>
                  </a:lnTo>
                  <a:lnTo>
                    <a:pt x="125" y="374"/>
                  </a:lnTo>
                  <a:lnTo>
                    <a:pt x="123" y="371"/>
                  </a:lnTo>
                  <a:lnTo>
                    <a:pt x="121" y="373"/>
                  </a:lnTo>
                  <a:lnTo>
                    <a:pt x="119" y="373"/>
                  </a:lnTo>
                  <a:lnTo>
                    <a:pt x="118" y="374"/>
                  </a:lnTo>
                  <a:lnTo>
                    <a:pt x="116" y="379"/>
                  </a:lnTo>
                  <a:lnTo>
                    <a:pt x="116" y="381"/>
                  </a:lnTo>
                  <a:lnTo>
                    <a:pt x="115" y="382"/>
                  </a:lnTo>
                  <a:lnTo>
                    <a:pt x="111" y="385"/>
                  </a:lnTo>
                  <a:lnTo>
                    <a:pt x="110" y="386"/>
                  </a:lnTo>
                  <a:lnTo>
                    <a:pt x="107" y="383"/>
                  </a:lnTo>
                  <a:lnTo>
                    <a:pt x="107" y="382"/>
                  </a:lnTo>
                  <a:lnTo>
                    <a:pt x="105" y="386"/>
                  </a:lnTo>
                  <a:lnTo>
                    <a:pt x="105" y="393"/>
                  </a:lnTo>
                  <a:lnTo>
                    <a:pt x="102" y="389"/>
                  </a:lnTo>
                  <a:lnTo>
                    <a:pt x="101" y="385"/>
                  </a:lnTo>
                  <a:lnTo>
                    <a:pt x="100" y="389"/>
                  </a:lnTo>
                  <a:lnTo>
                    <a:pt x="99" y="391"/>
                  </a:lnTo>
                  <a:lnTo>
                    <a:pt x="98" y="389"/>
                  </a:lnTo>
                  <a:lnTo>
                    <a:pt x="94" y="391"/>
                  </a:lnTo>
                  <a:lnTo>
                    <a:pt x="93" y="394"/>
                  </a:lnTo>
                  <a:lnTo>
                    <a:pt x="90" y="397"/>
                  </a:lnTo>
                  <a:lnTo>
                    <a:pt x="89" y="399"/>
                  </a:lnTo>
                  <a:lnTo>
                    <a:pt x="90" y="393"/>
                  </a:lnTo>
                  <a:lnTo>
                    <a:pt x="92" y="388"/>
                  </a:lnTo>
                  <a:lnTo>
                    <a:pt x="88" y="388"/>
                  </a:lnTo>
                  <a:lnTo>
                    <a:pt x="88" y="387"/>
                  </a:lnTo>
                  <a:lnTo>
                    <a:pt x="87" y="387"/>
                  </a:lnTo>
                  <a:lnTo>
                    <a:pt x="89" y="386"/>
                  </a:lnTo>
                  <a:lnTo>
                    <a:pt x="92" y="382"/>
                  </a:lnTo>
                  <a:lnTo>
                    <a:pt x="94" y="379"/>
                  </a:lnTo>
                  <a:lnTo>
                    <a:pt x="98" y="379"/>
                  </a:lnTo>
                  <a:lnTo>
                    <a:pt x="102" y="379"/>
                  </a:lnTo>
                  <a:lnTo>
                    <a:pt x="106" y="379"/>
                  </a:lnTo>
                  <a:lnTo>
                    <a:pt x="106" y="376"/>
                  </a:lnTo>
                  <a:lnTo>
                    <a:pt x="104" y="374"/>
                  </a:lnTo>
                  <a:lnTo>
                    <a:pt x="101" y="374"/>
                  </a:lnTo>
                  <a:lnTo>
                    <a:pt x="98" y="376"/>
                  </a:lnTo>
                  <a:lnTo>
                    <a:pt x="96" y="376"/>
                  </a:lnTo>
                  <a:lnTo>
                    <a:pt x="98" y="373"/>
                  </a:lnTo>
                  <a:lnTo>
                    <a:pt x="99" y="370"/>
                  </a:lnTo>
                  <a:lnTo>
                    <a:pt x="96" y="368"/>
                  </a:lnTo>
                  <a:lnTo>
                    <a:pt x="94" y="370"/>
                  </a:lnTo>
                  <a:lnTo>
                    <a:pt x="93" y="368"/>
                  </a:lnTo>
                  <a:lnTo>
                    <a:pt x="92" y="370"/>
                  </a:lnTo>
                  <a:lnTo>
                    <a:pt x="89" y="371"/>
                  </a:lnTo>
                  <a:lnTo>
                    <a:pt x="89" y="374"/>
                  </a:lnTo>
                  <a:lnTo>
                    <a:pt x="93" y="374"/>
                  </a:lnTo>
                  <a:lnTo>
                    <a:pt x="94" y="376"/>
                  </a:lnTo>
                  <a:lnTo>
                    <a:pt x="90" y="380"/>
                  </a:lnTo>
                  <a:lnTo>
                    <a:pt x="89" y="382"/>
                  </a:lnTo>
                  <a:lnTo>
                    <a:pt x="89" y="380"/>
                  </a:lnTo>
                  <a:lnTo>
                    <a:pt x="86" y="381"/>
                  </a:lnTo>
                  <a:lnTo>
                    <a:pt x="80" y="385"/>
                  </a:lnTo>
                  <a:lnTo>
                    <a:pt x="82" y="380"/>
                  </a:lnTo>
                  <a:lnTo>
                    <a:pt x="81" y="376"/>
                  </a:lnTo>
                  <a:lnTo>
                    <a:pt x="80" y="376"/>
                  </a:lnTo>
                  <a:lnTo>
                    <a:pt x="81" y="374"/>
                  </a:lnTo>
                  <a:lnTo>
                    <a:pt x="82" y="371"/>
                  </a:lnTo>
                  <a:lnTo>
                    <a:pt x="83" y="370"/>
                  </a:lnTo>
                  <a:lnTo>
                    <a:pt x="80" y="370"/>
                  </a:lnTo>
                  <a:lnTo>
                    <a:pt x="82" y="367"/>
                  </a:lnTo>
                  <a:lnTo>
                    <a:pt x="82" y="365"/>
                  </a:lnTo>
                  <a:lnTo>
                    <a:pt x="83" y="365"/>
                  </a:lnTo>
                  <a:lnTo>
                    <a:pt x="87" y="367"/>
                  </a:lnTo>
                  <a:lnTo>
                    <a:pt x="88" y="364"/>
                  </a:lnTo>
                  <a:lnTo>
                    <a:pt x="83" y="363"/>
                  </a:lnTo>
                  <a:lnTo>
                    <a:pt x="80" y="364"/>
                  </a:lnTo>
                  <a:lnTo>
                    <a:pt x="74" y="364"/>
                  </a:lnTo>
                  <a:lnTo>
                    <a:pt x="77" y="362"/>
                  </a:lnTo>
                  <a:lnTo>
                    <a:pt x="81" y="359"/>
                  </a:lnTo>
                  <a:lnTo>
                    <a:pt x="83" y="361"/>
                  </a:lnTo>
                  <a:lnTo>
                    <a:pt x="87" y="362"/>
                  </a:lnTo>
                  <a:lnTo>
                    <a:pt x="92" y="364"/>
                  </a:lnTo>
                  <a:lnTo>
                    <a:pt x="94" y="364"/>
                  </a:lnTo>
                  <a:lnTo>
                    <a:pt x="98" y="362"/>
                  </a:lnTo>
                  <a:lnTo>
                    <a:pt x="99" y="359"/>
                  </a:lnTo>
                  <a:lnTo>
                    <a:pt x="99" y="356"/>
                  </a:lnTo>
                  <a:lnTo>
                    <a:pt x="95" y="356"/>
                  </a:lnTo>
                  <a:lnTo>
                    <a:pt x="90" y="358"/>
                  </a:lnTo>
                  <a:lnTo>
                    <a:pt x="89" y="361"/>
                  </a:lnTo>
                  <a:lnTo>
                    <a:pt x="86" y="359"/>
                  </a:lnTo>
                  <a:lnTo>
                    <a:pt x="86" y="356"/>
                  </a:lnTo>
                  <a:lnTo>
                    <a:pt x="89" y="352"/>
                  </a:lnTo>
                  <a:lnTo>
                    <a:pt x="89" y="349"/>
                  </a:lnTo>
                  <a:lnTo>
                    <a:pt x="86" y="347"/>
                  </a:lnTo>
                  <a:lnTo>
                    <a:pt x="84" y="345"/>
                  </a:lnTo>
                  <a:lnTo>
                    <a:pt x="86" y="343"/>
                  </a:lnTo>
                  <a:lnTo>
                    <a:pt x="82" y="339"/>
                  </a:lnTo>
                  <a:lnTo>
                    <a:pt x="78" y="337"/>
                  </a:lnTo>
                  <a:lnTo>
                    <a:pt x="80" y="341"/>
                  </a:lnTo>
                  <a:lnTo>
                    <a:pt x="78" y="344"/>
                  </a:lnTo>
                  <a:lnTo>
                    <a:pt x="76" y="340"/>
                  </a:lnTo>
                  <a:lnTo>
                    <a:pt x="74" y="340"/>
                  </a:lnTo>
                  <a:lnTo>
                    <a:pt x="75" y="343"/>
                  </a:lnTo>
                  <a:lnTo>
                    <a:pt x="72" y="344"/>
                  </a:lnTo>
                  <a:lnTo>
                    <a:pt x="72" y="345"/>
                  </a:lnTo>
                  <a:lnTo>
                    <a:pt x="75" y="347"/>
                  </a:lnTo>
                  <a:lnTo>
                    <a:pt x="76" y="349"/>
                  </a:lnTo>
                  <a:lnTo>
                    <a:pt x="74" y="351"/>
                  </a:lnTo>
                  <a:lnTo>
                    <a:pt x="72" y="355"/>
                  </a:lnTo>
                  <a:lnTo>
                    <a:pt x="76" y="358"/>
                  </a:lnTo>
                  <a:lnTo>
                    <a:pt x="72" y="356"/>
                  </a:lnTo>
                  <a:lnTo>
                    <a:pt x="71" y="359"/>
                  </a:lnTo>
                  <a:lnTo>
                    <a:pt x="70" y="356"/>
                  </a:lnTo>
                  <a:lnTo>
                    <a:pt x="68" y="351"/>
                  </a:lnTo>
                  <a:lnTo>
                    <a:pt x="63" y="351"/>
                  </a:lnTo>
                  <a:lnTo>
                    <a:pt x="64" y="358"/>
                  </a:lnTo>
                  <a:lnTo>
                    <a:pt x="60" y="359"/>
                  </a:lnTo>
                  <a:lnTo>
                    <a:pt x="57" y="361"/>
                  </a:lnTo>
                  <a:lnTo>
                    <a:pt x="59" y="364"/>
                  </a:lnTo>
                  <a:lnTo>
                    <a:pt x="56" y="369"/>
                  </a:lnTo>
                  <a:lnTo>
                    <a:pt x="52" y="374"/>
                  </a:lnTo>
                  <a:lnTo>
                    <a:pt x="53" y="370"/>
                  </a:lnTo>
                  <a:lnTo>
                    <a:pt x="54" y="365"/>
                  </a:lnTo>
                  <a:lnTo>
                    <a:pt x="56" y="365"/>
                  </a:lnTo>
                  <a:lnTo>
                    <a:pt x="57" y="363"/>
                  </a:lnTo>
                  <a:lnTo>
                    <a:pt x="56" y="362"/>
                  </a:lnTo>
                  <a:lnTo>
                    <a:pt x="54" y="361"/>
                  </a:lnTo>
                  <a:lnTo>
                    <a:pt x="52" y="362"/>
                  </a:lnTo>
                  <a:lnTo>
                    <a:pt x="51" y="358"/>
                  </a:lnTo>
                  <a:lnTo>
                    <a:pt x="47" y="357"/>
                  </a:lnTo>
                  <a:lnTo>
                    <a:pt x="43" y="362"/>
                  </a:lnTo>
                  <a:lnTo>
                    <a:pt x="45" y="356"/>
                  </a:lnTo>
                  <a:lnTo>
                    <a:pt x="41" y="361"/>
                  </a:lnTo>
                  <a:lnTo>
                    <a:pt x="40" y="362"/>
                  </a:lnTo>
                  <a:lnTo>
                    <a:pt x="39" y="362"/>
                  </a:lnTo>
                  <a:lnTo>
                    <a:pt x="40" y="359"/>
                  </a:lnTo>
                  <a:lnTo>
                    <a:pt x="39" y="358"/>
                  </a:lnTo>
                  <a:lnTo>
                    <a:pt x="39" y="356"/>
                  </a:lnTo>
                  <a:lnTo>
                    <a:pt x="36" y="356"/>
                  </a:lnTo>
                  <a:lnTo>
                    <a:pt x="41" y="352"/>
                  </a:lnTo>
                  <a:lnTo>
                    <a:pt x="45" y="352"/>
                  </a:lnTo>
                  <a:lnTo>
                    <a:pt x="46" y="350"/>
                  </a:lnTo>
                  <a:lnTo>
                    <a:pt x="50" y="347"/>
                  </a:lnTo>
                  <a:lnTo>
                    <a:pt x="50" y="345"/>
                  </a:lnTo>
                  <a:lnTo>
                    <a:pt x="45" y="344"/>
                  </a:lnTo>
                  <a:lnTo>
                    <a:pt x="41" y="343"/>
                  </a:lnTo>
                  <a:lnTo>
                    <a:pt x="41" y="345"/>
                  </a:lnTo>
                  <a:lnTo>
                    <a:pt x="40" y="346"/>
                  </a:lnTo>
                  <a:lnTo>
                    <a:pt x="36" y="343"/>
                  </a:lnTo>
                  <a:lnTo>
                    <a:pt x="33" y="344"/>
                  </a:lnTo>
                  <a:lnTo>
                    <a:pt x="36" y="347"/>
                  </a:lnTo>
                  <a:lnTo>
                    <a:pt x="33" y="352"/>
                  </a:lnTo>
                  <a:lnTo>
                    <a:pt x="29" y="355"/>
                  </a:lnTo>
                  <a:lnTo>
                    <a:pt x="27" y="356"/>
                  </a:lnTo>
                  <a:lnTo>
                    <a:pt x="24" y="351"/>
                  </a:lnTo>
                  <a:lnTo>
                    <a:pt x="25" y="345"/>
                  </a:lnTo>
                  <a:lnTo>
                    <a:pt x="28" y="345"/>
                  </a:lnTo>
                  <a:lnTo>
                    <a:pt x="31" y="344"/>
                  </a:lnTo>
                  <a:lnTo>
                    <a:pt x="35" y="341"/>
                  </a:lnTo>
                  <a:lnTo>
                    <a:pt x="37" y="340"/>
                  </a:lnTo>
                  <a:lnTo>
                    <a:pt x="34" y="340"/>
                  </a:lnTo>
                  <a:lnTo>
                    <a:pt x="30" y="339"/>
                  </a:lnTo>
                  <a:lnTo>
                    <a:pt x="30" y="338"/>
                  </a:lnTo>
                  <a:lnTo>
                    <a:pt x="29" y="338"/>
                  </a:lnTo>
                  <a:lnTo>
                    <a:pt x="28" y="338"/>
                  </a:lnTo>
                  <a:lnTo>
                    <a:pt x="27" y="338"/>
                  </a:lnTo>
                  <a:lnTo>
                    <a:pt x="22" y="340"/>
                  </a:lnTo>
                  <a:lnTo>
                    <a:pt x="23" y="338"/>
                  </a:lnTo>
                  <a:lnTo>
                    <a:pt x="24" y="333"/>
                  </a:lnTo>
                  <a:lnTo>
                    <a:pt x="23" y="334"/>
                  </a:lnTo>
                  <a:lnTo>
                    <a:pt x="22" y="333"/>
                  </a:lnTo>
                  <a:lnTo>
                    <a:pt x="22" y="332"/>
                  </a:lnTo>
                  <a:lnTo>
                    <a:pt x="27" y="331"/>
                  </a:lnTo>
                  <a:lnTo>
                    <a:pt x="28" y="334"/>
                  </a:lnTo>
                  <a:lnTo>
                    <a:pt x="31" y="337"/>
                  </a:lnTo>
                  <a:lnTo>
                    <a:pt x="34" y="337"/>
                  </a:lnTo>
                  <a:lnTo>
                    <a:pt x="33" y="332"/>
                  </a:lnTo>
                  <a:lnTo>
                    <a:pt x="30" y="331"/>
                  </a:lnTo>
                  <a:lnTo>
                    <a:pt x="31" y="326"/>
                  </a:lnTo>
                  <a:lnTo>
                    <a:pt x="34" y="328"/>
                  </a:lnTo>
                  <a:lnTo>
                    <a:pt x="34" y="334"/>
                  </a:lnTo>
                  <a:lnTo>
                    <a:pt x="36" y="335"/>
                  </a:lnTo>
                  <a:lnTo>
                    <a:pt x="36" y="333"/>
                  </a:lnTo>
                  <a:lnTo>
                    <a:pt x="35" y="332"/>
                  </a:lnTo>
                  <a:lnTo>
                    <a:pt x="36" y="331"/>
                  </a:lnTo>
                  <a:lnTo>
                    <a:pt x="39" y="329"/>
                  </a:lnTo>
                  <a:lnTo>
                    <a:pt x="41" y="331"/>
                  </a:lnTo>
                  <a:lnTo>
                    <a:pt x="42" y="332"/>
                  </a:lnTo>
                  <a:lnTo>
                    <a:pt x="47" y="331"/>
                  </a:lnTo>
                  <a:lnTo>
                    <a:pt x="48" y="333"/>
                  </a:lnTo>
                  <a:lnTo>
                    <a:pt x="53" y="334"/>
                  </a:lnTo>
                  <a:lnTo>
                    <a:pt x="59" y="338"/>
                  </a:lnTo>
                  <a:lnTo>
                    <a:pt x="59" y="337"/>
                  </a:lnTo>
                  <a:lnTo>
                    <a:pt x="58" y="335"/>
                  </a:lnTo>
                  <a:lnTo>
                    <a:pt x="56" y="334"/>
                  </a:lnTo>
                  <a:lnTo>
                    <a:pt x="59" y="331"/>
                  </a:lnTo>
                  <a:lnTo>
                    <a:pt x="62" y="328"/>
                  </a:lnTo>
                  <a:lnTo>
                    <a:pt x="64" y="325"/>
                  </a:lnTo>
                  <a:lnTo>
                    <a:pt x="65" y="322"/>
                  </a:lnTo>
                  <a:lnTo>
                    <a:pt x="62" y="326"/>
                  </a:lnTo>
                  <a:lnTo>
                    <a:pt x="58" y="329"/>
                  </a:lnTo>
                  <a:lnTo>
                    <a:pt x="52" y="331"/>
                  </a:lnTo>
                  <a:lnTo>
                    <a:pt x="53" y="327"/>
                  </a:lnTo>
                  <a:lnTo>
                    <a:pt x="56" y="322"/>
                  </a:lnTo>
                  <a:lnTo>
                    <a:pt x="58" y="320"/>
                  </a:lnTo>
                  <a:lnTo>
                    <a:pt x="60" y="317"/>
                  </a:lnTo>
                  <a:lnTo>
                    <a:pt x="60" y="320"/>
                  </a:lnTo>
                  <a:lnTo>
                    <a:pt x="63" y="319"/>
                  </a:lnTo>
                  <a:lnTo>
                    <a:pt x="66" y="317"/>
                  </a:lnTo>
                  <a:lnTo>
                    <a:pt x="63" y="314"/>
                  </a:lnTo>
                  <a:lnTo>
                    <a:pt x="60" y="316"/>
                  </a:lnTo>
                  <a:lnTo>
                    <a:pt x="57" y="316"/>
                  </a:lnTo>
                  <a:lnTo>
                    <a:pt x="53" y="316"/>
                  </a:lnTo>
                  <a:lnTo>
                    <a:pt x="52" y="317"/>
                  </a:lnTo>
                  <a:lnTo>
                    <a:pt x="52" y="314"/>
                  </a:lnTo>
                  <a:lnTo>
                    <a:pt x="46" y="308"/>
                  </a:lnTo>
                  <a:lnTo>
                    <a:pt x="52" y="306"/>
                  </a:lnTo>
                  <a:lnTo>
                    <a:pt x="54" y="302"/>
                  </a:lnTo>
                  <a:lnTo>
                    <a:pt x="50" y="304"/>
                  </a:lnTo>
                  <a:lnTo>
                    <a:pt x="51" y="299"/>
                  </a:lnTo>
                  <a:lnTo>
                    <a:pt x="56" y="293"/>
                  </a:lnTo>
                  <a:lnTo>
                    <a:pt x="60" y="291"/>
                  </a:lnTo>
                  <a:lnTo>
                    <a:pt x="54" y="290"/>
                  </a:lnTo>
                  <a:lnTo>
                    <a:pt x="45" y="293"/>
                  </a:lnTo>
                  <a:lnTo>
                    <a:pt x="35" y="303"/>
                  </a:lnTo>
                  <a:lnTo>
                    <a:pt x="30" y="310"/>
                  </a:lnTo>
                  <a:lnTo>
                    <a:pt x="30" y="306"/>
                  </a:lnTo>
                  <a:lnTo>
                    <a:pt x="31" y="303"/>
                  </a:lnTo>
                  <a:lnTo>
                    <a:pt x="33" y="298"/>
                  </a:lnTo>
                  <a:lnTo>
                    <a:pt x="29" y="300"/>
                  </a:lnTo>
                  <a:lnTo>
                    <a:pt x="31" y="292"/>
                  </a:lnTo>
                  <a:lnTo>
                    <a:pt x="34" y="287"/>
                  </a:lnTo>
                  <a:lnTo>
                    <a:pt x="35" y="287"/>
                  </a:lnTo>
                  <a:lnTo>
                    <a:pt x="40" y="288"/>
                  </a:lnTo>
                  <a:lnTo>
                    <a:pt x="39" y="285"/>
                  </a:lnTo>
                  <a:lnTo>
                    <a:pt x="40" y="285"/>
                  </a:lnTo>
                  <a:lnTo>
                    <a:pt x="43" y="281"/>
                  </a:lnTo>
                  <a:lnTo>
                    <a:pt x="45" y="278"/>
                  </a:lnTo>
                  <a:lnTo>
                    <a:pt x="33" y="276"/>
                  </a:lnTo>
                  <a:lnTo>
                    <a:pt x="24" y="274"/>
                  </a:lnTo>
                  <a:lnTo>
                    <a:pt x="30" y="274"/>
                  </a:lnTo>
                  <a:lnTo>
                    <a:pt x="33" y="274"/>
                  </a:lnTo>
                  <a:lnTo>
                    <a:pt x="33" y="272"/>
                  </a:lnTo>
                  <a:lnTo>
                    <a:pt x="35" y="272"/>
                  </a:lnTo>
                  <a:lnTo>
                    <a:pt x="35" y="270"/>
                  </a:lnTo>
                  <a:lnTo>
                    <a:pt x="39" y="272"/>
                  </a:lnTo>
                  <a:lnTo>
                    <a:pt x="37" y="269"/>
                  </a:lnTo>
                  <a:lnTo>
                    <a:pt x="41" y="270"/>
                  </a:lnTo>
                  <a:lnTo>
                    <a:pt x="42" y="268"/>
                  </a:lnTo>
                  <a:lnTo>
                    <a:pt x="46" y="272"/>
                  </a:lnTo>
                  <a:lnTo>
                    <a:pt x="47" y="274"/>
                  </a:lnTo>
                  <a:lnTo>
                    <a:pt x="50" y="278"/>
                  </a:lnTo>
                  <a:lnTo>
                    <a:pt x="51" y="280"/>
                  </a:lnTo>
                  <a:lnTo>
                    <a:pt x="53" y="280"/>
                  </a:lnTo>
                  <a:lnTo>
                    <a:pt x="54" y="278"/>
                  </a:lnTo>
                  <a:lnTo>
                    <a:pt x="54" y="276"/>
                  </a:lnTo>
                  <a:lnTo>
                    <a:pt x="56" y="275"/>
                  </a:lnTo>
                  <a:lnTo>
                    <a:pt x="58" y="275"/>
                  </a:lnTo>
                  <a:lnTo>
                    <a:pt x="64" y="273"/>
                  </a:lnTo>
                  <a:lnTo>
                    <a:pt x="69" y="275"/>
                  </a:lnTo>
                  <a:lnTo>
                    <a:pt x="71" y="275"/>
                  </a:lnTo>
                  <a:lnTo>
                    <a:pt x="75" y="275"/>
                  </a:lnTo>
                  <a:lnTo>
                    <a:pt x="81" y="275"/>
                  </a:lnTo>
                  <a:lnTo>
                    <a:pt x="83" y="275"/>
                  </a:lnTo>
                  <a:lnTo>
                    <a:pt x="88" y="275"/>
                  </a:lnTo>
                  <a:lnTo>
                    <a:pt x="88" y="272"/>
                  </a:lnTo>
                  <a:lnTo>
                    <a:pt x="90" y="273"/>
                  </a:lnTo>
                  <a:lnTo>
                    <a:pt x="92" y="274"/>
                  </a:lnTo>
                  <a:lnTo>
                    <a:pt x="92" y="275"/>
                  </a:lnTo>
                  <a:lnTo>
                    <a:pt x="95" y="274"/>
                  </a:lnTo>
                  <a:lnTo>
                    <a:pt x="100" y="275"/>
                  </a:lnTo>
                  <a:lnTo>
                    <a:pt x="105" y="276"/>
                  </a:lnTo>
                  <a:lnTo>
                    <a:pt x="109" y="279"/>
                  </a:lnTo>
                  <a:lnTo>
                    <a:pt x="112" y="280"/>
                  </a:lnTo>
                  <a:lnTo>
                    <a:pt x="116" y="280"/>
                  </a:lnTo>
                  <a:lnTo>
                    <a:pt x="117" y="275"/>
                  </a:lnTo>
                  <a:lnTo>
                    <a:pt x="117" y="272"/>
                  </a:lnTo>
                  <a:lnTo>
                    <a:pt x="118" y="269"/>
                  </a:lnTo>
                  <a:lnTo>
                    <a:pt x="115" y="272"/>
                  </a:lnTo>
                  <a:lnTo>
                    <a:pt x="112" y="270"/>
                  </a:lnTo>
                  <a:lnTo>
                    <a:pt x="111" y="273"/>
                  </a:lnTo>
                  <a:lnTo>
                    <a:pt x="111" y="269"/>
                  </a:lnTo>
                  <a:lnTo>
                    <a:pt x="106" y="268"/>
                  </a:lnTo>
                  <a:lnTo>
                    <a:pt x="105" y="267"/>
                  </a:lnTo>
                  <a:lnTo>
                    <a:pt x="105" y="266"/>
                  </a:lnTo>
                  <a:lnTo>
                    <a:pt x="102" y="267"/>
                  </a:lnTo>
                  <a:lnTo>
                    <a:pt x="100" y="268"/>
                  </a:lnTo>
                  <a:lnTo>
                    <a:pt x="101" y="264"/>
                  </a:lnTo>
                  <a:lnTo>
                    <a:pt x="101" y="258"/>
                  </a:lnTo>
                  <a:lnTo>
                    <a:pt x="96" y="261"/>
                  </a:lnTo>
                  <a:lnTo>
                    <a:pt x="93" y="263"/>
                  </a:lnTo>
                  <a:lnTo>
                    <a:pt x="92" y="262"/>
                  </a:lnTo>
                  <a:lnTo>
                    <a:pt x="88" y="260"/>
                  </a:lnTo>
                  <a:lnTo>
                    <a:pt x="86" y="263"/>
                  </a:lnTo>
                  <a:lnTo>
                    <a:pt x="86" y="260"/>
                  </a:lnTo>
                  <a:lnTo>
                    <a:pt x="88" y="256"/>
                  </a:lnTo>
                  <a:lnTo>
                    <a:pt x="86" y="254"/>
                  </a:lnTo>
                  <a:lnTo>
                    <a:pt x="89" y="254"/>
                  </a:lnTo>
                  <a:lnTo>
                    <a:pt x="93" y="254"/>
                  </a:lnTo>
                  <a:lnTo>
                    <a:pt x="95" y="255"/>
                  </a:lnTo>
                  <a:lnTo>
                    <a:pt x="98" y="252"/>
                  </a:lnTo>
                  <a:lnTo>
                    <a:pt x="95" y="250"/>
                  </a:lnTo>
                  <a:lnTo>
                    <a:pt x="93" y="248"/>
                  </a:lnTo>
                  <a:lnTo>
                    <a:pt x="93" y="245"/>
                  </a:lnTo>
                  <a:lnTo>
                    <a:pt x="89" y="248"/>
                  </a:lnTo>
                  <a:lnTo>
                    <a:pt x="90" y="244"/>
                  </a:lnTo>
                  <a:lnTo>
                    <a:pt x="95" y="240"/>
                  </a:lnTo>
                  <a:lnTo>
                    <a:pt x="100" y="242"/>
                  </a:lnTo>
                  <a:lnTo>
                    <a:pt x="101" y="243"/>
                  </a:lnTo>
                  <a:lnTo>
                    <a:pt x="104" y="240"/>
                  </a:lnTo>
                  <a:lnTo>
                    <a:pt x="107" y="238"/>
                  </a:lnTo>
                  <a:lnTo>
                    <a:pt x="109" y="236"/>
                  </a:lnTo>
                  <a:lnTo>
                    <a:pt x="115" y="233"/>
                  </a:lnTo>
                  <a:lnTo>
                    <a:pt x="113" y="230"/>
                  </a:lnTo>
                  <a:lnTo>
                    <a:pt x="110" y="227"/>
                  </a:lnTo>
                  <a:lnTo>
                    <a:pt x="110" y="226"/>
                  </a:lnTo>
                  <a:lnTo>
                    <a:pt x="111" y="227"/>
                  </a:lnTo>
                  <a:lnTo>
                    <a:pt x="113" y="228"/>
                  </a:lnTo>
                  <a:lnTo>
                    <a:pt x="116" y="226"/>
                  </a:lnTo>
                  <a:lnTo>
                    <a:pt x="116" y="224"/>
                  </a:lnTo>
                  <a:lnTo>
                    <a:pt x="121" y="222"/>
                  </a:lnTo>
                  <a:lnTo>
                    <a:pt x="124" y="221"/>
                  </a:lnTo>
                  <a:lnTo>
                    <a:pt x="128" y="219"/>
                  </a:lnTo>
                  <a:lnTo>
                    <a:pt x="130" y="218"/>
                  </a:lnTo>
                  <a:lnTo>
                    <a:pt x="128" y="213"/>
                  </a:lnTo>
                  <a:lnTo>
                    <a:pt x="127" y="210"/>
                  </a:lnTo>
                  <a:lnTo>
                    <a:pt x="123" y="215"/>
                  </a:lnTo>
                  <a:lnTo>
                    <a:pt x="118" y="219"/>
                  </a:lnTo>
                  <a:lnTo>
                    <a:pt x="119" y="215"/>
                  </a:lnTo>
                  <a:lnTo>
                    <a:pt x="125" y="209"/>
                  </a:lnTo>
                  <a:lnTo>
                    <a:pt x="128" y="207"/>
                  </a:lnTo>
                  <a:lnTo>
                    <a:pt x="125" y="207"/>
                  </a:lnTo>
                  <a:lnTo>
                    <a:pt x="125" y="203"/>
                  </a:lnTo>
                  <a:lnTo>
                    <a:pt x="125" y="202"/>
                  </a:lnTo>
                  <a:lnTo>
                    <a:pt x="121" y="203"/>
                  </a:lnTo>
                  <a:lnTo>
                    <a:pt x="115" y="205"/>
                  </a:lnTo>
                  <a:lnTo>
                    <a:pt x="109" y="208"/>
                  </a:lnTo>
                  <a:lnTo>
                    <a:pt x="111" y="202"/>
                  </a:lnTo>
                  <a:lnTo>
                    <a:pt x="113" y="199"/>
                  </a:lnTo>
                  <a:lnTo>
                    <a:pt x="116" y="196"/>
                  </a:lnTo>
                  <a:lnTo>
                    <a:pt x="119" y="195"/>
                  </a:lnTo>
                  <a:lnTo>
                    <a:pt x="125" y="196"/>
                  </a:lnTo>
                  <a:lnTo>
                    <a:pt x="125" y="193"/>
                  </a:lnTo>
                  <a:lnTo>
                    <a:pt x="111" y="192"/>
                  </a:lnTo>
                  <a:lnTo>
                    <a:pt x="110" y="190"/>
                  </a:lnTo>
                  <a:lnTo>
                    <a:pt x="113" y="189"/>
                  </a:lnTo>
                  <a:lnTo>
                    <a:pt x="117" y="187"/>
                  </a:lnTo>
                  <a:lnTo>
                    <a:pt x="119" y="186"/>
                  </a:lnTo>
                  <a:lnTo>
                    <a:pt x="122" y="185"/>
                  </a:lnTo>
                  <a:lnTo>
                    <a:pt x="127" y="186"/>
                  </a:lnTo>
                  <a:lnTo>
                    <a:pt x="129" y="190"/>
                  </a:lnTo>
                  <a:lnTo>
                    <a:pt x="129" y="189"/>
                  </a:lnTo>
                  <a:lnTo>
                    <a:pt x="130" y="186"/>
                  </a:lnTo>
                  <a:lnTo>
                    <a:pt x="134" y="187"/>
                  </a:lnTo>
                  <a:lnTo>
                    <a:pt x="135" y="185"/>
                  </a:lnTo>
                  <a:lnTo>
                    <a:pt x="134" y="183"/>
                  </a:lnTo>
                  <a:lnTo>
                    <a:pt x="129" y="180"/>
                  </a:lnTo>
                  <a:lnTo>
                    <a:pt x="128" y="178"/>
                  </a:lnTo>
                  <a:lnTo>
                    <a:pt x="127" y="177"/>
                  </a:lnTo>
                  <a:lnTo>
                    <a:pt x="125" y="174"/>
                  </a:lnTo>
                  <a:lnTo>
                    <a:pt x="125" y="171"/>
                  </a:lnTo>
                  <a:lnTo>
                    <a:pt x="127" y="168"/>
                  </a:lnTo>
                  <a:lnTo>
                    <a:pt x="127" y="166"/>
                  </a:lnTo>
                  <a:lnTo>
                    <a:pt x="129" y="168"/>
                  </a:lnTo>
                  <a:lnTo>
                    <a:pt x="130" y="167"/>
                  </a:lnTo>
                  <a:lnTo>
                    <a:pt x="133" y="171"/>
                  </a:lnTo>
                  <a:lnTo>
                    <a:pt x="135" y="171"/>
                  </a:lnTo>
                  <a:lnTo>
                    <a:pt x="136" y="177"/>
                  </a:lnTo>
                  <a:lnTo>
                    <a:pt x="136" y="181"/>
                  </a:lnTo>
                  <a:lnTo>
                    <a:pt x="137" y="186"/>
                  </a:lnTo>
                  <a:lnTo>
                    <a:pt x="140" y="189"/>
                  </a:lnTo>
                  <a:lnTo>
                    <a:pt x="145" y="190"/>
                  </a:lnTo>
                  <a:lnTo>
                    <a:pt x="148" y="191"/>
                  </a:lnTo>
                  <a:lnTo>
                    <a:pt x="153" y="189"/>
                  </a:lnTo>
                  <a:lnTo>
                    <a:pt x="155" y="189"/>
                  </a:lnTo>
                  <a:lnTo>
                    <a:pt x="155" y="187"/>
                  </a:lnTo>
                  <a:lnTo>
                    <a:pt x="158" y="186"/>
                  </a:lnTo>
                  <a:lnTo>
                    <a:pt x="159" y="187"/>
                  </a:lnTo>
                  <a:lnTo>
                    <a:pt x="160" y="185"/>
                  </a:lnTo>
                  <a:lnTo>
                    <a:pt x="163" y="184"/>
                  </a:lnTo>
                  <a:lnTo>
                    <a:pt x="165" y="181"/>
                  </a:lnTo>
                  <a:lnTo>
                    <a:pt x="166" y="179"/>
                  </a:lnTo>
                  <a:lnTo>
                    <a:pt x="168" y="178"/>
                  </a:lnTo>
                  <a:lnTo>
                    <a:pt x="166" y="178"/>
                  </a:lnTo>
                  <a:lnTo>
                    <a:pt x="166" y="174"/>
                  </a:lnTo>
                  <a:lnTo>
                    <a:pt x="166" y="173"/>
                  </a:lnTo>
                  <a:lnTo>
                    <a:pt x="165" y="171"/>
                  </a:lnTo>
                  <a:lnTo>
                    <a:pt x="165" y="167"/>
                  </a:lnTo>
                  <a:lnTo>
                    <a:pt x="168" y="168"/>
                  </a:lnTo>
                  <a:lnTo>
                    <a:pt x="169" y="169"/>
                  </a:lnTo>
                  <a:lnTo>
                    <a:pt x="170" y="168"/>
                  </a:lnTo>
                  <a:lnTo>
                    <a:pt x="169" y="167"/>
                  </a:lnTo>
                  <a:lnTo>
                    <a:pt x="172" y="166"/>
                  </a:lnTo>
                  <a:lnTo>
                    <a:pt x="175" y="166"/>
                  </a:lnTo>
                  <a:lnTo>
                    <a:pt x="174" y="162"/>
                  </a:lnTo>
                  <a:lnTo>
                    <a:pt x="172" y="155"/>
                  </a:lnTo>
                  <a:lnTo>
                    <a:pt x="171" y="156"/>
                  </a:lnTo>
                  <a:lnTo>
                    <a:pt x="169" y="155"/>
                  </a:lnTo>
                  <a:lnTo>
                    <a:pt x="168" y="157"/>
                  </a:lnTo>
                  <a:lnTo>
                    <a:pt x="166" y="157"/>
                  </a:lnTo>
                  <a:lnTo>
                    <a:pt x="165" y="155"/>
                  </a:lnTo>
                  <a:lnTo>
                    <a:pt x="165" y="154"/>
                  </a:lnTo>
                  <a:lnTo>
                    <a:pt x="164" y="151"/>
                  </a:lnTo>
                  <a:lnTo>
                    <a:pt x="166" y="151"/>
                  </a:lnTo>
                  <a:lnTo>
                    <a:pt x="170" y="154"/>
                  </a:lnTo>
                  <a:lnTo>
                    <a:pt x="170" y="150"/>
                  </a:lnTo>
                  <a:lnTo>
                    <a:pt x="169" y="147"/>
                  </a:lnTo>
                  <a:lnTo>
                    <a:pt x="170" y="147"/>
                  </a:lnTo>
                  <a:lnTo>
                    <a:pt x="171" y="144"/>
                  </a:lnTo>
                  <a:lnTo>
                    <a:pt x="172" y="143"/>
                  </a:lnTo>
                  <a:lnTo>
                    <a:pt x="174" y="143"/>
                  </a:lnTo>
                  <a:lnTo>
                    <a:pt x="175" y="143"/>
                  </a:lnTo>
                  <a:lnTo>
                    <a:pt x="175" y="147"/>
                  </a:lnTo>
                  <a:lnTo>
                    <a:pt x="177" y="147"/>
                  </a:lnTo>
                  <a:lnTo>
                    <a:pt x="178" y="148"/>
                  </a:lnTo>
                  <a:lnTo>
                    <a:pt x="178" y="149"/>
                  </a:lnTo>
                  <a:lnTo>
                    <a:pt x="175" y="150"/>
                  </a:lnTo>
                  <a:lnTo>
                    <a:pt x="174" y="154"/>
                  </a:lnTo>
                  <a:lnTo>
                    <a:pt x="174" y="157"/>
                  </a:lnTo>
                  <a:lnTo>
                    <a:pt x="175" y="161"/>
                  </a:lnTo>
                  <a:lnTo>
                    <a:pt x="177" y="160"/>
                  </a:lnTo>
                  <a:lnTo>
                    <a:pt x="176" y="157"/>
                  </a:lnTo>
                  <a:lnTo>
                    <a:pt x="176" y="154"/>
                  </a:lnTo>
                  <a:lnTo>
                    <a:pt x="176" y="153"/>
                  </a:lnTo>
                  <a:lnTo>
                    <a:pt x="177" y="153"/>
                  </a:lnTo>
                  <a:lnTo>
                    <a:pt x="178" y="153"/>
                  </a:lnTo>
                  <a:lnTo>
                    <a:pt x="181" y="153"/>
                  </a:lnTo>
                  <a:lnTo>
                    <a:pt x="182" y="153"/>
                  </a:lnTo>
                  <a:lnTo>
                    <a:pt x="182" y="154"/>
                  </a:lnTo>
                  <a:lnTo>
                    <a:pt x="180" y="159"/>
                  </a:lnTo>
                  <a:lnTo>
                    <a:pt x="182" y="161"/>
                  </a:lnTo>
                  <a:lnTo>
                    <a:pt x="184" y="162"/>
                  </a:lnTo>
                  <a:lnTo>
                    <a:pt x="184" y="163"/>
                  </a:lnTo>
                  <a:lnTo>
                    <a:pt x="180" y="167"/>
                  </a:lnTo>
                  <a:lnTo>
                    <a:pt x="182" y="167"/>
                  </a:lnTo>
                  <a:lnTo>
                    <a:pt x="183" y="166"/>
                  </a:lnTo>
                  <a:lnTo>
                    <a:pt x="186" y="165"/>
                  </a:lnTo>
                  <a:lnTo>
                    <a:pt x="188" y="163"/>
                  </a:lnTo>
                  <a:lnTo>
                    <a:pt x="190" y="161"/>
                  </a:lnTo>
                  <a:lnTo>
                    <a:pt x="188" y="160"/>
                  </a:lnTo>
                  <a:lnTo>
                    <a:pt x="183" y="159"/>
                  </a:lnTo>
                  <a:lnTo>
                    <a:pt x="183" y="155"/>
                  </a:lnTo>
                  <a:lnTo>
                    <a:pt x="182" y="150"/>
                  </a:lnTo>
                  <a:lnTo>
                    <a:pt x="183" y="150"/>
                  </a:lnTo>
                  <a:lnTo>
                    <a:pt x="184" y="149"/>
                  </a:lnTo>
                  <a:lnTo>
                    <a:pt x="186" y="149"/>
                  </a:lnTo>
                  <a:lnTo>
                    <a:pt x="188" y="149"/>
                  </a:lnTo>
                  <a:lnTo>
                    <a:pt x="189" y="151"/>
                  </a:lnTo>
                  <a:lnTo>
                    <a:pt x="192" y="149"/>
                  </a:lnTo>
                  <a:lnTo>
                    <a:pt x="195" y="150"/>
                  </a:lnTo>
                  <a:lnTo>
                    <a:pt x="195" y="151"/>
                  </a:lnTo>
                  <a:lnTo>
                    <a:pt x="198" y="153"/>
                  </a:lnTo>
                  <a:lnTo>
                    <a:pt x="196" y="156"/>
                  </a:lnTo>
                  <a:lnTo>
                    <a:pt x="199" y="157"/>
                  </a:lnTo>
                  <a:lnTo>
                    <a:pt x="201" y="155"/>
                  </a:lnTo>
                  <a:lnTo>
                    <a:pt x="200" y="159"/>
                  </a:lnTo>
                  <a:lnTo>
                    <a:pt x="201" y="161"/>
                  </a:lnTo>
                  <a:lnTo>
                    <a:pt x="202" y="157"/>
                  </a:lnTo>
                  <a:lnTo>
                    <a:pt x="204" y="160"/>
                  </a:lnTo>
                  <a:lnTo>
                    <a:pt x="206" y="159"/>
                  </a:lnTo>
                  <a:lnTo>
                    <a:pt x="208" y="156"/>
                  </a:lnTo>
                  <a:lnTo>
                    <a:pt x="206" y="157"/>
                  </a:lnTo>
                  <a:lnTo>
                    <a:pt x="205" y="157"/>
                  </a:lnTo>
                  <a:lnTo>
                    <a:pt x="205" y="155"/>
                  </a:lnTo>
                  <a:lnTo>
                    <a:pt x="204" y="154"/>
                  </a:lnTo>
                  <a:lnTo>
                    <a:pt x="204" y="153"/>
                  </a:lnTo>
                  <a:lnTo>
                    <a:pt x="206" y="153"/>
                  </a:lnTo>
                  <a:lnTo>
                    <a:pt x="206" y="150"/>
                  </a:lnTo>
                  <a:lnTo>
                    <a:pt x="207" y="149"/>
                  </a:lnTo>
                  <a:lnTo>
                    <a:pt x="208" y="149"/>
                  </a:lnTo>
                  <a:lnTo>
                    <a:pt x="211" y="149"/>
                  </a:lnTo>
                  <a:lnTo>
                    <a:pt x="212" y="151"/>
                  </a:lnTo>
                  <a:lnTo>
                    <a:pt x="213" y="149"/>
                  </a:lnTo>
                  <a:lnTo>
                    <a:pt x="214" y="148"/>
                  </a:lnTo>
                  <a:lnTo>
                    <a:pt x="214" y="147"/>
                  </a:lnTo>
                  <a:lnTo>
                    <a:pt x="214" y="138"/>
                  </a:lnTo>
                  <a:lnTo>
                    <a:pt x="217" y="142"/>
                  </a:lnTo>
                  <a:lnTo>
                    <a:pt x="217" y="145"/>
                  </a:lnTo>
                  <a:lnTo>
                    <a:pt x="219" y="145"/>
                  </a:lnTo>
                  <a:lnTo>
                    <a:pt x="219" y="148"/>
                  </a:lnTo>
                  <a:lnTo>
                    <a:pt x="218" y="149"/>
                  </a:lnTo>
                  <a:lnTo>
                    <a:pt x="217" y="151"/>
                  </a:lnTo>
                  <a:lnTo>
                    <a:pt x="218" y="155"/>
                  </a:lnTo>
                  <a:lnTo>
                    <a:pt x="220" y="157"/>
                  </a:lnTo>
                  <a:lnTo>
                    <a:pt x="222" y="155"/>
                  </a:lnTo>
                  <a:lnTo>
                    <a:pt x="224" y="157"/>
                  </a:lnTo>
                  <a:lnTo>
                    <a:pt x="225" y="162"/>
                  </a:lnTo>
                  <a:lnTo>
                    <a:pt x="229" y="160"/>
                  </a:lnTo>
                  <a:lnTo>
                    <a:pt x="231" y="161"/>
                  </a:lnTo>
                  <a:lnTo>
                    <a:pt x="234" y="161"/>
                  </a:lnTo>
                  <a:lnTo>
                    <a:pt x="234" y="163"/>
                  </a:lnTo>
                  <a:lnTo>
                    <a:pt x="236" y="165"/>
                  </a:lnTo>
                  <a:lnTo>
                    <a:pt x="237" y="168"/>
                  </a:lnTo>
                  <a:lnTo>
                    <a:pt x="240" y="172"/>
                  </a:lnTo>
                  <a:lnTo>
                    <a:pt x="241" y="173"/>
                  </a:lnTo>
                  <a:lnTo>
                    <a:pt x="233" y="168"/>
                  </a:lnTo>
                  <a:lnTo>
                    <a:pt x="225" y="165"/>
                  </a:lnTo>
                  <a:lnTo>
                    <a:pt x="223" y="161"/>
                  </a:lnTo>
                  <a:lnTo>
                    <a:pt x="223" y="165"/>
                  </a:lnTo>
                  <a:lnTo>
                    <a:pt x="225" y="168"/>
                  </a:lnTo>
                  <a:lnTo>
                    <a:pt x="225" y="171"/>
                  </a:lnTo>
                  <a:lnTo>
                    <a:pt x="227" y="173"/>
                  </a:lnTo>
                  <a:lnTo>
                    <a:pt x="230" y="174"/>
                  </a:lnTo>
                  <a:lnTo>
                    <a:pt x="234" y="175"/>
                  </a:lnTo>
                  <a:lnTo>
                    <a:pt x="229" y="177"/>
                  </a:lnTo>
                  <a:lnTo>
                    <a:pt x="231" y="186"/>
                  </a:lnTo>
                  <a:lnTo>
                    <a:pt x="234" y="191"/>
                  </a:lnTo>
                  <a:lnTo>
                    <a:pt x="236" y="190"/>
                  </a:lnTo>
                  <a:lnTo>
                    <a:pt x="237" y="191"/>
                  </a:lnTo>
                  <a:lnTo>
                    <a:pt x="239" y="195"/>
                  </a:lnTo>
                  <a:lnTo>
                    <a:pt x="240" y="195"/>
                  </a:lnTo>
                  <a:lnTo>
                    <a:pt x="241" y="193"/>
                  </a:lnTo>
                  <a:lnTo>
                    <a:pt x="242" y="195"/>
                  </a:lnTo>
                  <a:lnTo>
                    <a:pt x="242" y="199"/>
                  </a:lnTo>
                  <a:lnTo>
                    <a:pt x="242" y="203"/>
                  </a:lnTo>
                  <a:lnTo>
                    <a:pt x="243" y="204"/>
                  </a:lnTo>
                  <a:lnTo>
                    <a:pt x="246" y="203"/>
                  </a:lnTo>
                  <a:lnTo>
                    <a:pt x="247" y="203"/>
                  </a:lnTo>
                  <a:lnTo>
                    <a:pt x="247" y="199"/>
                  </a:lnTo>
                  <a:lnTo>
                    <a:pt x="249" y="197"/>
                  </a:lnTo>
                  <a:lnTo>
                    <a:pt x="252" y="196"/>
                  </a:lnTo>
                  <a:lnTo>
                    <a:pt x="257" y="195"/>
                  </a:lnTo>
                  <a:lnTo>
                    <a:pt x="253" y="193"/>
                  </a:lnTo>
                  <a:lnTo>
                    <a:pt x="247" y="195"/>
                  </a:lnTo>
                  <a:lnTo>
                    <a:pt x="245" y="193"/>
                  </a:lnTo>
                  <a:lnTo>
                    <a:pt x="245" y="191"/>
                  </a:lnTo>
                  <a:lnTo>
                    <a:pt x="247" y="190"/>
                  </a:lnTo>
                  <a:lnTo>
                    <a:pt x="248" y="187"/>
                  </a:lnTo>
                  <a:lnTo>
                    <a:pt x="249" y="186"/>
                  </a:lnTo>
                  <a:lnTo>
                    <a:pt x="253" y="185"/>
                  </a:lnTo>
                  <a:lnTo>
                    <a:pt x="255" y="184"/>
                  </a:lnTo>
                  <a:lnTo>
                    <a:pt x="257" y="183"/>
                  </a:lnTo>
                  <a:lnTo>
                    <a:pt x="255" y="180"/>
                  </a:lnTo>
                  <a:lnTo>
                    <a:pt x="254" y="177"/>
                  </a:lnTo>
                  <a:lnTo>
                    <a:pt x="248" y="181"/>
                  </a:lnTo>
                  <a:lnTo>
                    <a:pt x="246" y="183"/>
                  </a:lnTo>
                  <a:lnTo>
                    <a:pt x="246" y="179"/>
                  </a:lnTo>
                  <a:lnTo>
                    <a:pt x="245" y="178"/>
                  </a:lnTo>
                  <a:lnTo>
                    <a:pt x="245" y="177"/>
                  </a:lnTo>
                  <a:lnTo>
                    <a:pt x="245" y="173"/>
                  </a:lnTo>
                  <a:lnTo>
                    <a:pt x="243" y="171"/>
                  </a:lnTo>
                  <a:lnTo>
                    <a:pt x="245" y="169"/>
                  </a:lnTo>
                  <a:lnTo>
                    <a:pt x="241" y="162"/>
                  </a:lnTo>
                  <a:lnTo>
                    <a:pt x="245" y="165"/>
                  </a:lnTo>
                  <a:lnTo>
                    <a:pt x="248" y="163"/>
                  </a:lnTo>
                  <a:lnTo>
                    <a:pt x="251" y="165"/>
                  </a:lnTo>
                  <a:lnTo>
                    <a:pt x="254" y="166"/>
                  </a:lnTo>
                  <a:lnTo>
                    <a:pt x="257" y="160"/>
                  </a:lnTo>
                  <a:lnTo>
                    <a:pt x="255" y="157"/>
                  </a:lnTo>
                  <a:lnTo>
                    <a:pt x="252" y="159"/>
                  </a:lnTo>
                  <a:lnTo>
                    <a:pt x="249" y="159"/>
                  </a:lnTo>
                  <a:lnTo>
                    <a:pt x="248" y="155"/>
                  </a:lnTo>
                  <a:lnTo>
                    <a:pt x="247" y="153"/>
                  </a:lnTo>
                  <a:lnTo>
                    <a:pt x="252" y="153"/>
                  </a:lnTo>
                  <a:lnTo>
                    <a:pt x="255" y="154"/>
                  </a:lnTo>
                  <a:lnTo>
                    <a:pt x="258" y="153"/>
                  </a:lnTo>
                  <a:lnTo>
                    <a:pt x="259" y="151"/>
                  </a:lnTo>
                  <a:lnTo>
                    <a:pt x="261" y="151"/>
                  </a:lnTo>
                  <a:lnTo>
                    <a:pt x="261" y="148"/>
                  </a:lnTo>
                  <a:lnTo>
                    <a:pt x="263" y="149"/>
                  </a:lnTo>
                  <a:lnTo>
                    <a:pt x="264" y="153"/>
                  </a:lnTo>
                  <a:lnTo>
                    <a:pt x="265" y="156"/>
                  </a:lnTo>
                  <a:lnTo>
                    <a:pt x="267" y="155"/>
                  </a:lnTo>
                  <a:lnTo>
                    <a:pt x="267" y="157"/>
                  </a:lnTo>
                  <a:lnTo>
                    <a:pt x="269" y="160"/>
                  </a:lnTo>
                  <a:lnTo>
                    <a:pt x="270" y="160"/>
                  </a:lnTo>
                  <a:lnTo>
                    <a:pt x="272" y="162"/>
                  </a:lnTo>
                  <a:lnTo>
                    <a:pt x="275" y="163"/>
                  </a:lnTo>
                  <a:lnTo>
                    <a:pt x="275" y="165"/>
                  </a:lnTo>
                  <a:lnTo>
                    <a:pt x="276" y="171"/>
                  </a:lnTo>
                  <a:lnTo>
                    <a:pt x="277" y="173"/>
                  </a:lnTo>
                  <a:lnTo>
                    <a:pt x="278" y="177"/>
                  </a:lnTo>
                  <a:lnTo>
                    <a:pt x="279" y="174"/>
                  </a:lnTo>
                  <a:lnTo>
                    <a:pt x="281" y="177"/>
                  </a:lnTo>
                  <a:lnTo>
                    <a:pt x="284" y="174"/>
                  </a:lnTo>
                  <a:lnTo>
                    <a:pt x="287" y="174"/>
                  </a:lnTo>
                  <a:lnTo>
                    <a:pt x="287" y="169"/>
                  </a:lnTo>
                  <a:lnTo>
                    <a:pt x="290" y="172"/>
                  </a:lnTo>
                  <a:lnTo>
                    <a:pt x="294" y="175"/>
                  </a:lnTo>
                  <a:lnTo>
                    <a:pt x="295" y="177"/>
                  </a:lnTo>
                  <a:lnTo>
                    <a:pt x="298" y="178"/>
                  </a:lnTo>
                  <a:lnTo>
                    <a:pt x="300" y="180"/>
                  </a:lnTo>
                  <a:lnTo>
                    <a:pt x="300" y="184"/>
                  </a:lnTo>
                  <a:lnTo>
                    <a:pt x="304" y="184"/>
                  </a:lnTo>
                  <a:lnTo>
                    <a:pt x="307" y="181"/>
                  </a:lnTo>
                  <a:lnTo>
                    <a:pt x="304" y="181"/>
                  </a:lnTo>
                  <a:lnTo>
                    <a:pt x="305" y="179"/>
                  </a:lnTo>
                  <a:lnTo>
                    <a:pt x="305" y="177"/>
                  </a:lnTo>
                  <a:lnTo>
                    <a:pt x="306" y="175"/>
                  </a:lnTo>
                  <a:lnTo>
                    <a:pt x="310" y="175"/>
                  </a:lnTo>
                  <a:lnTo>
                    <a:pt x="310" y="174"/>
                  </a:lnTo>
                  <a:lnTo>
                    <a:pt x="311" y="172"/>
                  </a:lnTo>
                  <a:lnTo>
                    <a:pt x="313" y="171"/>
                  </a:lnTo>
                  <a:lnTo>
                    <a:pt x="314" y="172"/>
                  </a:lnTo>
                  <a:lnTo>
                    <a:pt x="317" y="174"/>
                  </a:lnTo>
                  <a:lnTo>
                    <a:pt x="319" y="174"/>
                  </a:lnTo>
                  <a:lnTo>
                    <a:pt x="322" y="174"/>
                  </a:lnTo>
                  <a:lnTo>
                    <a:pt x="322" y="175"/>
                  </a:lnTo>
                  <a:lnTo>
                    <a:pt x="322" y="179"/>
                  </a:lnTo>
                  <a:lnTo>
                    <a:pt x="324" y="178"/>
                  </a:lnTo>
                  <a:lnTo>
                    <a:pt x="324" y="177"/>
                  </a:lnTo>
                  <a:lnTo>
                    <a:pt x="326" y="175"/>
                  </a:lnTo>
                  <a:lnTo>
                    <a:pt x="328" y="174"/>
                  </a:lnTo>
                  <a:lnTo>
                    <a:pt x="331" y="177"/>
                  </a:lnTo>
                  <a:lnTo>
                    <a:pt x="332" y="174"/>
                  </a:lnTo>
                  <a:lnTo>
                    <a:pt x="329" y="173"/>
                  </a:lnTo>
                  <a:lnTo>
                    <a:pt x="326" y="173"/>
                  </a:lnTo>
                  <a:lnTo>
                    <a:pt x="325" y="172"/>
                  </a:lnTo>
                  <a:lnTo>
                    <a:pt x="325" y="167"/>
                  </a:lnTo>
                  <a:lnTo>
                    <a:pt x="328" y="168"/>
                  </a:lnTo>
                  <a:lnTo>
                    <a:pt x="330" y="167"/>
                  </a:lnTo>
                  <a:lnTo>
                    <a:pt x="332" y="165"/>
                  </a:lnTo>
                  <a:lnTo>
                    <a:pt x="334" y="163"/>
                  </a:lnTo>
                  <a:lnTo>
                    <a:pt x="335" y="163"/>
                  </a:lnTo>
                  <a:lnTo>
                    <a:pt x="337" y="165"/>
                  </a:lnTo>
                  <a:lnTo>
                    <a:pt x="340" y="168"/>
                  </a:lnTo>
                  <a:lnTo>
                    <a:pt x="342" y="166"/>
                  </a:lnTo>
                  <a:lnTo>
                    <a:pt x="343" y="165"/>
                  </a:lnTo>
                  <a:lnTo>
                    <a:pt x="342" y="162"/>
                  </a:lnTo>
                  <a:lnTo>
                    <a:pt x="342" y="161"/>
                  </a:lnTo>
                  <a:lnTo>
                    <a:pt x="343" y="160"/>
                  </a:lnTo>
                  <a:lnTo>
                    <a:pt x="346" y="159"/>
                  </a:lnTo>
                  <a:lnTo>
                    <a:pt x="346" y="157"/>
                  </a:lnTo>
                  <a:lnTo>
                    <a:pt x="348" y="155"/>
                  </a:lnTo>
                  <a:lnTo>
                    <a:pt x="351" y="154"/>
                  </a:lnTo>
                  <a:lnTo>
                    <a:pt x="344" y="155"/>
                  </a:lnTo>
                  <a:lnTo>
                    <a:pt x="341" y="156"/>
                  </a:lnTo>
                  <a:lnTo>
                    <a:pt x="340" y="157"/>
                  </a:lnTo>
                  <a:lnTo>
                    <a:pt x="340" y="156"/>
                  </a:lnTo>
                  <a:lnTo>
                    <a:pt x="343" y="151"/>
                  </a:lnTo>
                  <a:lnTo>
                    <a:pt x="344" y="148"/>
                  </a:lnTo>
                  <a:lnTo>
                    <a:pt x="346" y="147"/>
                  </a:lnTo>
                  <a:lnTo>
                    <a:pt x="348" y="144"/>
                  </a:lnTo>
                  <a:lnTo>
                    <a:pt x="349" y="142"/>
                  </a:lnTo>
                  <a:lnTo>
                    <a:pt x="352" y="141"/>
                  </a:lnTo>
                  <a:lnTo>
                    <a:pt x="357" y="141"/>
                  </a:lnTo>
                  <a:lnTo>
                    <a:pt x="358" y="142"/>
                  </a:lnTo>
                  <a:lnTo>
                    <a:pt x="359" y="142"/>
                  </a:lnTo>
                  <a:lnTo>
                    <a:pt x="361" y="142"/>
                  </a:lnTo>
                  <a:lnTo>
                    <a:pt x="361" y="141"/>
                  </a:lnTo>
                  <a:lnTo>
                    <a:pt x="364" y="141"/>
                  </a:lnTo>
                  <a:lnTo>
                    <a:pt x="361" y="133"/>
                  </a:lnTo>
                  <a:lnTo>
                    <a:pt x="360" y="135"/>
                  </a:lnTo>
                  <a:lnTo>
                    <a:pt x="359" y="137"/>
                  </a:lnTo>
                  <a:lnTo>
                    <a:pt x="359" y="133"/>
                  </a:lnTo>
                  <a:lnTo>
                    <a:pt x="359" y="131"/>
                  </a:lnTo>
                  <a:lnTo>
                    <a:pt x="354" y="130"/>
                  </a:lnTo>
                  <a:lnTo>
                    <a:pt x="348" y="131"/>
                  </a:lnTo>
                  <a:lnTo>
                    <a:pt x="341" y="131"/>
                  </a:lnTo>
                  <a:lnTo>
                    <a:pt x="343" y="130"/>
                  </a:lnTo>
                  <a:lnTo>
                    <a:pt x="344" y="127"/>
                  </a:lnTo>
                  <a:lnTo>
                    <a:pt x="348" y="127"/>
                  </a:lnTo>
                  <a:lnTo>
                    <a:pt x="353" y="125"/>
                  </a:lnTo>
                  <a:lnTo>
                    <a:pt x="354" y="127"/>
                  </a:lnTo>
                  <a:lnTo>
                    <a:pt x="360" y="130"/>
                  </a:lnTo>
                  <a:lnTo>
                    <a:pt x="361" y="130"/>
                  </a:lnTo>
                  <a:lnTo>
                    <a:pt x="357" y="118"/>
                  </a:lnTo>
                  <a:lnTo>
                    <a:pt x="353" y="111"/>
                  </a:lnTo>
                  <a:lnTo>
                    <a:pt x="352" y="113"/>
                  </a:lnTo>
                  <a:lnTo>
                    <a:pt x="348" y="114"/>
                  </a:lnTo>
                  <a:lnTo>
                    <a:pt x="347" y="115"/>
                  </a:lnTo>
                  <a:lnTo>
                    <a:pt x="347" y="112"/>
                  </a:lnTo>
                  <a:lnTo>
                    <a:pt x="347" y="108"/>
                  </a:lnTo>
                  <a:lnTo>
                    <a:pt x="349" y="109"/>
                  </a:lnTo>
                  <a:lnTo>
                    <a:pt x="349" y="106"/>
                  </a:lnTo>
                  <a:lnTo>
                    <a:pt x="346" y="106"/>
                  </a:lnTo>
                  <a:lnTo>
                    <a:pt x="342" y="108"/>
                  </a:lnTo>
                  <a:lnTo>
                    <a:pt x="338" y="112"/>
                  </a:lnTo>
                  <a:lnTo>
                    <a:pt x="338" y="106"/>
                  </a:lnTo>
                  <a:lnTo>
                    <a:pt x="340" y="103"/>
                  </a:lnTo>
                  <a:lnTo>
                    <a:pt x="342" y="102"/>
                  </a:lnTo>
                  <a:lnTo>
                    <a:pt x="346" y="102"/>
                  </a:lnTo>
                  <a:lnTo>
                    <a:pt x="348" y="105"/>
                  </a:lnTo>
                  <a:lnTo>
                    <a:pt x="344" y="97"/>
                  </a:lnTo>
                  <a:lnTo>
                    <a:pt x="338" y="97"/>
                  </a:lnTo>
                  <a:lnTo>
                    <a:pt x="334" y="100"/>
                  </a:lnTo>
                  <a:lnTo>
                    <a:pt x="332" y="105"/>
                  </a:lnTo>
                  <a:lnTo>
                    <a:pt x="330" y="106"/>
                  </a:lnTo>
                  <a:lnTo>
                    <a:pt x="330" y="103"/>
                  </a:lnTo>
                  <a:lnTo>
                    <a:pt x="328" y="100"/>
                  </a:lnTo>
                  <a:lnTo>
                    <a:pt x="329" y="96"/>
                  </a:lnTo>
                  <a:lnTo>
                    <a:pt x="330" y="95"/>
                  </a:lnTo>
                  <a:lnTo>
                    <a:pt x="334" y="96"/>
                  </a:lnTo>
                  <a:lnTo>
                    <a:pt x="340" y="96"/>
                  </a:lnTo>
                  <a:lnTo>
                    <a:pt x="342" y="95"/>
                  </a:lnTo>
                  <a:lnTo>
                    <a:pt x="338" y="95"/>
                  </a:lnTo>
                  <a:lnTo>
                    <a:pt x="335" y="95"/>
                  </a:lnTo>
                  <a:lnTo>
                    <a:pt x="335" y="92"/>
                  </a:lnTo>
                  <a:lnTo>
                    <a:pt x="338" y="91"/>
                  </a:lnTo>
                  <a:lnTo>
                    <a:pt x="338" y="90"/>
                  </a:lnTo>
                  <a:lnTo>
                    <a:pt x="335" y="90"/>
                  </a:lnTo>
                  <a:lnTo>
                    <a:pt x="334" y="91"/>
                  </a:lnTo>
                  <a:lnTo>
                    <a:pt x="331" y="92"/>
                  </a:lnTo>
                  <a:lnTo>
                    <a:pt x="330" y="90"/>
                  </a:lnTo>
                  <a:lnTo>
                    <a:pt x="334" y="89"/>
                  </a:lnTo>
                  <a:lnTo>
                    <a:pt x="338" y="89"/>
                  </a:lnTo>
                  <a:lnTo>
                    <a:pt x="336" y="86"/>
                  </a:lnTo>
                  <a:lnTo>
                    <a:pt x="332" y="86"/>
                  </a:lnTo>
                  <a:lnTo>
                    <a:pt x="329" y="89"/>
                  </a:lnTo>
                  <a:lnTo>
                    <a:pt x="325" y="85"/>
                  </a:lnTo>
                  <a:lnTo>
                    <a:pt x="326" y="84"/>
                  </a:lnTo>
                  <a:lnTo>
                    <a:pt x="330" y="83"/>
                  </a:lnTo>
                  <a:lnTo>
                    <a:pt x="332" y="85"/>
                  </a:lnTo>
                  <a:lnTo>
                    <a:pt x="335" y="85"/>
                  </a:lnTo>
                  <a:lnTo>
                    <a:pt x="331" y="82"/>
                  </a:lnTo>
                  <a:lnTo>
                    <a:pt x="328" y="82"/>
                  </a:lnTo>
                  <a:lnTo>
                    <a:pt x="324" y="80"/>
                  </a:lnTo>
                  <a:lnTo>
                    <a:pt x="319" y="77"/>
                  </a:lnTo>
                  <a:lnTo>
                    <a:pt x="323" y="77"/>
                  </a:lnTo>
                  <a:lnTo>
                    <a:pt x="328" y="78"/>
                  </a:lnTo>
                  <a:lnTo>
                    <a:pt x="332" y="80"/>
                  </a:lnTo>
                  <a:lnTo>
                    <a:pt x="337" y="85"/>
                  </a:lnTo>
                  <a:lnTo>
                    <a:pt x="338" y="85"/>
                  </a:lnTo>
                  <a:lnTo>
                    <a:pt x="340" y="82"/>
                  </a:lnTo>
                  <a:lnTo>
                    <a:pt x="337" y="78"/>
                  </a:lnTo>
                  <a:lnTo>
                    <a:pt x="335" y="77"/>
                  </a:lnTo>
                  <a:lnTo>
                    <a:pt x="329" y="76"/>
                  </a:lnTo>
                  <a:lnTo>
                    <a:pt x="326" y="73"/>
                  </a:lnTo>
                  <a:lnTo>
                    <a:pt x="337" y="73"/>
                  </a:lnTo>
                  <a:lnTo>
                    <a:pt x="338" y="77"/>
                  </a:lnTo>
                  <a:lnTo>
                    <a:pt x="340" y="79"/>
                  </a:lnTo>
                  <a:lnTo>
                    <a:pt x="342" y="77"/>
                  </a:lnTo>
                  <a:lnTo>
                    <a:pt x="344" y="76"/>
                  </a:lnTo>
                  <a:lnTo>
                    <a:pt x="346" y="72"/>
                  </a:lnTo>
                  <a:lnTo>
                    <a:pt x="346" y="71"/>
                  </a:lnTo>
                  <a:lnTo>
                    <a:pt x="347" y="70"/>
                  </a:lnTo>
                  <a:lnTo>
                    <a:pt x="351" y="70"/>
                  </a:lnTo>
                  <a:lnTo>
                    <a:pt x="354" y="70"/>
                  </a:lnTo>
                  <a:lnTo>
                    <a:pt x="358" y="68"/>
                  </a:lnTo>
                  <a:lnTo>
                    <a:pt x="354" y="74"/>
                  </a:lnTo>
                  <a:lnTo>
                    <a:pt x="348" y="74"/>
                  </a:lnTo>
                  <a:lnTo>
                    <a:pt x="344" y="78"/>
                  </a:lnTo>
                  <a:lnTo>
                    <a:pt x="344" y="80"/>
                  </a:lnTo>
                  <a:lnTo>
                    <a:pt x="343" y="83"/>
                  </a:lnTo>
                  <a:lnTo>
                    <a:pt x="347" y="84"/>
                  </a:lnTo>
                  <a:lnTo>
                    <a:pt x="346" y="86"/>
                  </a:lnTo>
                  <a:lnTo>
                    <a:pt x="344" y="92"/>
                  </a:lnTo>
                  <a:lnTo>
                    <a:pt x="346" y="90"/>
                  </a:lnTo>
                  <a:lnTo>
                    <a:pt x="348" y="94"/>
                  </a:lnTo>
                  <a:lnTo>
                    <a:pt x="348" y="97"/>
                  </a:lnTo>
                  <a:lnTo>
                    <a:pt x="353" y="108"/>
                  </a:lnTo>
                  <a:lnTo>
                    <a:pt x="361" y="127"/>
                  </a:lnTo>
                  <a:lnTo>
                    <a:pt x="364" y="127"/>
                  </a:lnTo>
                  <a:lnTo>
                    <a:pt x="367" y="125"/>
                  </a:lnTo>
                  <a:lnTo>
                    <a:pt x="366" y="121"/>
                  </a:lnTo>
                  <a:lnTo>
                    <a:pt x="367" y="120"/>
                  </a:lnTo>
                  <a:lnTo>
                    <a:pt x="367" y="118"/>
                  </a:lnTo>
                  <a:lnTo>
                    <a:pt x="370" y="119"/>
                  </a:lnTo>
                  <a:lnTo>
                    <a:pt x="372" y="120"/>
                  </a:lnTo>
                  <a:lnTo>
                    <a:pt x="373" y="121"/>
                  </a:lnTo>
                  <a:lnTo>
                    <a:pt x="373" y="120"/>
                  </a:lnTo>
                  <a:lnTo>
                    <a:pt x="372" y="115"/>
                  </a:lnTo>
                  <a:lnTo>
                    <a:pt x="375" y="115"/>
                  </a:lnTo>
                  <a:lnTo>
                    <a:pt x="377" y="117"/>
                  </a:lnTo>
                  <a:lnTo>
                    <a:pt x="378" y="117"/>
                  </a:lnTo>
                  <a:lnTo>
                    <a:pt x="381" y="114"/>
                  </a:lnTo>
                  <a:lnTo>
                    <a:pt x="382" y="112"/>
                  </a:lnTo>
                  <a:lnTo>
                    <a:pt x="383" y="112"/>
                  </a:lnTo>
                  <a:lnTo>
                    <a:pt x="387" y="114"/>
                  </a:lnTo>
                  <a:lnTo>
                    <a:pt x="389" y="115"/>
                  </a:lnTo>
                  <a:lnTo>
                    <a:pt x="387" y="117"/>
                  </a:lnTo>
                  <a:lnTo>
                    <a:pt x="387" y="118"/>
                  </a:lnTo>
                  <a:lnTo>
                    <a:pt x="390" y="118"/>
                  </a:lnTo>
                  <a:lnTo>
                    <a:pt x="390" y="120"/>
                  </a:lnTo>
                  <a:lnTo>
                    <a:pt x="393" y="123"/>
                  </a:lnTo>
                  <a:lnTo>
                    <a:pt x="393" y="124"/>
                  </a:lnTo>
                  <a:lnTo>
                    <a:pt x="394" y="125"/>
                  </a:lnTo>
                  <a:lnTo>
                    <a:pt x="395" y="126"/>
                  </a:lnTo>
                  <a:lnTo>
                    <a:pt x="387" y="124"/>
                  </a:lnTo>
                  <a:lnTo>
                    <a:pt x="379" y="123"/>
                  </a:lnTo>
                  <a:lnTo>
                    <a:pt x="378" y="124"/>
                  </a:lnTo>
                  <a:lnTo>
                    <a:pt x="378" y="126"/>
                  </a:lnTo>
                  <a:lnTo>
                    <a:pt x="378" y="127"/>
                  </a:lnTo>
                  <a:lnTo>
                    <a:pt x="379" y="131"/>
                  </a:lnTo>
                  <a:lnTo>
                    <a:pt x="379" y="135"/>
                  </a:lnTo>
                  <a:lnTo>
                    <a:pt x="383" y="132"/>
                  </a:lnTo>
                  <a:lnTo>
                    <a:pt x="383" y="133"/>
                  </a:lnTo>
                  <a:lnTo>
                    <a:pt x="387" y="133"/>
                  </a:lnTo>
                  <a:lnTo>
                    <a:pt x="385" y="135"/>
                  </a:lnTo>
                  <a:lnTo>
                    <a:pt x="388" y="135"/>
                  </a:lnTo>
                  <a:lnTo>
                    <a:pt x="391" y="133"/>
                  </a:lnTo>
                  <a:lnTo>
                    <a:pt x="391" y="135"/>
                  </a:lnTo>
                  <a:lnTo>
                    <a:pt x="394" y="135"/>
                  </a:lnTo>
                  <a:lnTo>
                    <a:pt x="395" y="137"/>
                  </a:lnTo>
                  <a:lnTo>
                    <a:pt x="400" y="137"/>
                  </a:lnTo>
                  <a:lnTo>
                    <a:pt x="395" y="138"/>
                  </a:lnTo>
                  <a:lnTo>
                    <a:pt x="394" y="139"/>
                  </a:lnTo>
                  <a:lnTo>
                    <a:pt x="394" y="141"/>
                  </a:lnTo>
                  <a:lnTo>
                    <a:pt x="393" y="143"/>
                  </a:lnTo>
                  <a:lnTo>
                    <a:pt x="394" y="148"/>
                  </a:lnTo>
                  <a:lnTo>
                    <a:pt x="394" y="151"/>
                  </a:lnTo>
                  <a:lnTo>
                    <a:pt x="393" y="153"/>
                  </a:lnTo>
                  <a:lnTo>
                    <a:pt x="391" y="151"/>
                  </a:lnTo>
                  <a:lnTo>
                    <a:pt x="390" y="148"/>
                  </a:lnTo>
                  <a:lnTo>
                    <a:pt x="389" y="147"/>
                  </a:lnTo>
                  <a:lnTo>
                    <a:pt x="387" y="147"/>
                  </a:lnTo>
                  <a:lnTo>
                    <a:pt x="381" y="148"/>
                  </a:lnTo>
                  <a:lnTo>
                    <a:pt x="378" y="145"/>
                  </a:lnTo>
                  <a:lnTo>
                    <a:pt x="376" y="144"/>
                  </a:lnTo>
                  <a:lnTo>
                    <a:pt x="369" y="147"/>
                  </a:lnTo>
                  <a:lnTo>
                    <a:pt x="371" y="155"/>
                  </a:lnTo>
                  <a:lnTo>
                    <a:pt x="372" y="156"/>
                  </a:lnTo>
                  <a:lnTo>
                    <a:pt x="373" y="156"/>
                  </a:lnTo>
                  <a:lnTo>
                    <a:pt x="375" y="154"/>
                  </a:lnTo>
                  <a:lnTo>
                    <a:pt x="376" y="153"/>
                  </a:lnTo>
                  <a:lnTo>
                    <a:pt x="379" y="151"/>
                  </a:lnTo>
                  <a:lnTo>
                    <a:pt x="383" y="154"/>
                  </a:lnTo>
                  <a:lnTo>
                    <a:pt x="383" y="156"/>
                  </a:lnTo>
                  <a:lnTo>
                    <a:pt x="385" y="155"/>
                  </a:lnTo>
                  <a:lnTo>
                    <a:pt x="389" y="154"/>
                  </a:lnTo>
                  <a:lnTo>
                    <a:pt x="390" y="156"/>
                  </a:lnTo>
                  <a:lnTo>
                    <a:pt x="393" y="157"/>
                  </a:lnTo>
                  <a:lnTo>
                    <a:pt x="396" y="157"/>
                  </a:lnTo>
                  <a:lnTo>
                    <a:pt x="399" y="160"/>
                  </a:lnTo>
                  <a:lnTo>
                    <a:pt x="397" y="162"/>
                  </a:lnTo>
                  <a:lnTo>
                    <a:pt x="400" y="162"/>
                  </a:lnTo>
                  <a:lnTo>
                    <a:pt x="403" y="160"/>
                  </a:lnTo>
                  <a:lnTo>
                    <a:pt x="405" y="157"/>
                  </a:lnTo>
                  <a:lnTo>
                    <a:pt x="406" y="160"/>
                  </a:lnTo>
                  <a:lnTo>
                    <a:pt x="407" y="159"/>
                  </a:lnTo>
                  <a:lnTo>
                    <a:pt x="408" y="160"/>
                  </a:lnTo>
                  <a:lnTo>
                    <a:pt x="410" y="161"/>
                  </a:lnTo>
                  <a:lnTo>
                    <a:pt x="413" y="161"/>
                  </a:lnTo>
                  <a:lnTo>
                    <a:pt x="413" y="160"/>
                  </a:lnTo>
                  <a:lnTo>
                    <a:pt x="414" y="160"/>
                  </a:lnTo>
                  <a:lnTo>
                    <a:pt x="414" y="159"/>
                  </a:lnTo>
                  <a:lnTo>
                    <a:pt x="414" y="156"/>
                  </a:lnTo>
                  <a:lnTo>
                    <a:pt x="416" y="155"/>
                  </a:lnTo>
                  <a:lnTo>
                    <a:pt x="420" y="151"/>
                  </a:lnTo>
                  <a:lnTo>
                    <a:pt x="422" y="150"/>
                  </a:lnTo>
                  <a:lnTo>
                    <a:pt x="423" y="148"/>
                  </a:lnTo>
                  <a:lnTo>
                    <a:pt x="425" y="145"/>
                  </a:lnTo>
                  <a:lnTo>
                    <a:pt x="428" y="143"/>
                  </a:lnTo>
                  <a:lnTo>
                    <a:pt x="424" y="139"/>
                  </a:lnTo>
                  <a:lnTo>
                    <a:pt x="420" y="130"/>
                  </a:lnTo>
                  <a:lnTo>
                    <a:pt x="422" y="131"/>
                  </a:lnTo>
                  <a:lnTo>
                    <a:pt x="423" y="135"/>
                  </a:lnTo>
                  <a:lnTo>
                    <a:pt x="424" y="132"/>
                  </a:lnTo>
                  <a:lnTo>
                    <a:pt x="426" y="131"/>
                  </a:lnTo>
                  <a:lnTo>
                    <a:pt x="428" y="130"/>
                  </a:lnTo>
                  <a:lnTo>
                    <a:pt x="429" y="130"/>
                  </a:lnTo>
                  <a:lnTo>
                    <a:pt x="429" y="132"/>
                  </a:lnTo>
                  <a:lnTo>
                    <a:pt x="428" y="133"/>
                  </a:lnTo>
                  <a:lnTo>
                    <a:pt x="424" y="137"/>
                  </a:lnTo>
                  <a:lnTo>
                    <a:pt x="425" y="139"/>
                  </a:lnTo>
                  <a:lnTo>
                    <a:pt x="426" y="137"/>
                  </a:lnTo>
                  <a:lnTo>
                    <a:pt x="429" y="136"/>
                  </a:lnTo>
                  <a:lnTo>
                    <a:pt x="431" y="136"/>
                  </a:lnTo>
                  <a:lnTo>
                    <a:pt x="431" y="139"/>
                  </a:lnTo>
                  <a:lnTo>
                    <a:pt x="428" y="141"/>
                  </a:lnTo>
                  <a:lnTo>
                    <a:pt x="430" y="144"/>
                  </a:lnTo>
                  <a:lnTo>
                    <a:pt x="434" y="145"/>
                  </a:lnTo>
                  <a:lnTo>
                    <a:pt x="438" y="145"/>
                  </a:lnTo>
                  <a:lnTo>
                    <a:pt x="435" y="142"/>
                  </a:lnTo>
                  <a:lnTo>
                    <a:pt x="436" y="141"/>
                  </a:lnTo>
                  <a:lnTo>
                    <a:pt x="440" y="141"/>
                  </a:lnTo>
                  <a:lnTo>
                    <a:pt x="440" y="144"/>
                  </a:lnTo>
                  <a:lnTo>
                    <a:pt x="442" y="147"/>
                  </a:lnTo>
                  <a:lnTo>
                    <a:pt x="444" y="144"/>
                  </a:lnTo>
                  <a:lnTo>
                    <a:pt x="444" y="141"/>
                  </a:lnTo>
                  <a:lnTo>
                    <a:pt x="442" y="139"/>
                  </a:lnTo>
                  <a:lnTo>
                    <a:pt x="441" y="136"/>
                  </a:lnTo>
                  <a:lnTo>
                    <a:pt x="443" y="138"/>
                  </a:lnTo>
                  <a:lnTo>
                    <a:pt x="442" y="136"/>
                  </a:lnTo>
                  <a:lnTo>
                    <a:pt x="441" y="135"/>
                  </a:lnTo>
                  <a:lnTo>
                    <a:pt x="442" y="135"/>
                  </a:lnTo>
                  <a:lnTo>
                    <a:pt x="444" y="132"/>
                  </a:lnTo>
                  <a:lnTo>
                    <a:pt x="446" y="130"/>
                  </a:lnTo>
                  <a:lnTo>
                    <a:pt x="447" y="129"/>
                  </a:lnTo>
                  <a:lnTo>
                    <a:pt x="447" y="126"/>
                  </a:lnTo>
                  <a:lnTo>
                    <a:pt x="449" y="126"/>
                  </a:lnTo>
                  <a:lnTo>
                    <a:pt x="452" y="125"/>
                  </a:lnTo>
                  <a:lnTo>
                    <a:pt x="452" y="130"/>
                  </a:lnTo>
                  <a:lnTo>
                    <a:pt x="452" y="131"/>
                  </a:lnTo>
                  <a:lnTo>
                    <a:pt x="454" y="131"/>
                  </a:lnTo>
                  <a:lnTo>
                    <a:pt x="456" y="130"/>
                  </a:lnTo>
                  <a:lnTo>
                    <a:pt x="454" y="126"/>
                  </a:lnTo>
                  <a:lnTo>
                    <a:pt x="456" y="125"/>
                  </a:lnTo>
                  <a:lnTo>
                    <a:pt x="456" y="124"/>
                  </a:lnTo>
                  <a:lnTo>
                    <a:pt x="456" y="123"/>
                  </a:lnTo>
                  <a:lnTo>
                    <a:pt x="456" y="124"/>
                  </a:lnTo>
                  <a:lnTo>
                    <a:pt x="458" y="133"/>
                  </a:lnTo>
                  <a:lnTo>
                    <a:pt x="460" y="132"/>
                  </a:lnTo>
                  <a:lnTo>
                    <a:pt x="462" y="136"/>
                  </a:lnTo>
                  <a:lnTo>
                    <a:pt x="465" y="133"/>
                  </a:lnTo>
                  <a:lnTo>
                    <a:pt x="462" y="131"/>
                  </a:lnTo>
                  <a:lnTo>
                    <a:pt x="461" y="130"/>
                  </a:lnTo>
                  <a:lnTo>
                    <a:pt x="461" y="129"/>
                  </a:lnTo>
                  <a:lnTo>
                    <a:pt x="462" y="126"/>
                  </a:lnTo>
                  <a:lnTo>
                    <a:pt x="462" y="124"/>
                  </a:lnTo>
                  <a:lnTo>
                    <a:pt x="464" y="121"/>
                  </a:lnTo>
                  <a:lnTo>
                    <a:pt x="462" y="119"/>
                  </a:lnTo>
                  <a:lnTo>
                    <a:pt x="465" y="118"/>
                  </a:lnTo>
                  <a:lnTo>
                    <a:pt x="465" y="117"/>
                  </a:lnTo>
                  <a:lnTo>
                    <a:pt x="466" y="115"/>
                  </a:lnTo>
                  <a:lnTo>
                    <a:pt x="470" y="113"/>
                  </a:lnTo>
                  <a:lnTo>
                    <a:pt x="471" y="117"/>
                  </a:lnTo>
                  <a:lnTo>
                    <a:pt x="472" y="120"/>
                  </a:lnTo>
                  <a:lnTo>
                    <a:pt x="473" y="121"/>
                  </a:lnTo>
                  <a:lnTo>
                    <a:pt x="473" y="124"/>
                  </a:lnTo>
                  <a:lnTo>
                    <a:pt x="472" y="124"/>
                  </a:lnTo>
                  <a:lnTo>
                    <a:pt x="472" y="126"/>
                  </a:lnTo>
                  <a:lnTo>
                    <a:pt x="473" y="132"/>
                  </a:lnTo>
                  <a:lnTo>
                    <a:pt x="475" y="133"/>
                  </a:lnTo>
                  <a:lnTo>
                    <a:pt x="472" y="135"/>
                  </a:lnTo>
                  <a:lnTo>
                    <a:pt x="469" y="133"/>
                  </a:lnTo>
                  <a:lnTo>
                    <a:pt x="469" y="136"/>
                  </a:lnTo>
                  <a:lnTo>
                    <a:pt x="472" y="137"/>
                  </a:lnTo>
                  <a:lnTo>
                    <a:pt x="473" y="138"/>
                  </a:lnTo>
                  <a:lnTo>
                    <a:pt x="475" y="139"/>
                  </a:lnTo>
                  <a:lnTo>
                    <a:pt x="476" y="142"/>
                  </a:lnTo>
                  <a:lnTo>
                    <a:pt x="476" y="143"/>
                  </a:lnTo>
                  <a:lnTo>
                    <a:pt x="477" y="143"/>
                  </a:lnTo>
                  <a:lnTo>
                    <a:pt x="481" y="142"/>
                  </a:lnTo>
                  <a:lnTo>
                    <a:pt x="482" y="142"/>
                  </a:lnTo>
                  <a:lnTo>
                    <a:pt x="483" y="143"/>
                  </a:lnTo>
                  <a:lnTo>
                    <a:pt x="483" y="147"/>
                  </a:lnTo>
                  <a:lnTo>
                    <a:pt x="485" y="147"/>
                  </a:lnTo>
                  <a:lnTo>
                    <a:pt x="488" y="149"/>
                  </a:lnTo>
                  <a:lnTo>
                    <a:pt x="490" y="150"/>
                  </a:lnTo>
                  <a:lnTo>
                    <a:pt x="489" y="154"/>
                  </a:lnTo>
                  <a:lnTo>
                    <a:pt x="491" y="156"/>
                  </a:lnTo>
                  <a:lnTo>
                    <a:pt x="494" y="156"/>
                  </a:lnTo>
                  <a:lnTo>
                    <a:pt x="496" y="157"/>
                  </a:lnTo>
                  <a:lnTo>
                    <a:pt x="497" y="154"/>
                  </a:lnTo>
                  <a:lnTo>
                    <a:pt x="499" y="150"/>
                  </a:lnTo>
                  <a:lnTo>
                    <a:pt x="499" y="145"/>
                  </a:lnTo>
                  <a:lnTo>
                    <a:pt x="499" y="142"/>
                  </a:lnTo>
                  <a:lnTo>
                    <a:pt x="499" y="141"/>
                  </a:lnTo>
                  <a:lnTo>
                    <a:pt x="500" y="141"/>
                  </a:lnTo>
                  <a:lnTo>
                    <a:pt x="500" y="139"/>
                  </a:lnTo>
                  <a:lnTo>
                    <a:pt x="499" y="139"/>
                  </a:lnTo>
                  <a:lnTo>
                    <a:pt x="497" y="133"/>
                  </a:lnTo>
                  <a:lnTo>
                    <a:pt x="500" y="131"/>
                  </a:lnTo>
                  <a:lnTo>
                    <a:pt x="501" y="132"/>
                  </a:lnTo>
                  <a:lnTo>
                    <a:pt x="502" y="133"/>
                  </a:lnTo>
                  <a:lnTo>
                    <a:pt x="503" y="135"/>
                  </a:lnTo>
                  <a:lnTo>
                    <a:pt x="501" y="139"/>
                  </a:lnTo>
                  <a:lnTo>
                    <a:pt x="501" y="141"/>
                  </a:lnTo>
                  <a:lnTo>
                    <a:pt x="503" y="139"/>
                  </a:lnTo>
                  <a:lnTo>
                    <a:pt x="502" y="143"/>
                  </a:lnTo>
                  <a:lnTo>
                    <a:pt x="500" y="148"/>
                  </a:lnTo>
                  <a:lnTo>
                    <a:pt x="499" y="156"/>
                  </a:lnTo>
                  <a:lnTo>
                    <a:pt x="499" y="159"/>
                  </a:lnTo>
                  <a:lnTo>
                    <a:pt x="501" y="156"/>
                  </a:lnTo>
                  <a:lnTo>
                    <a:pt x="505" y="154"/>
                  </a:lnTo>
                  <a:lnTo>
                    <a:pt x="506" y="156"/>
                  </a:lnTo>
                  <a:lnTo>
                    <a:pt x="506" y="159"/>
                  </a:lnTo>
                  <a:lnTo>
                    <a:pt x="508" y="156"/>
                  </a:lnTo>
                  <a:lnTo>
                    <a:pt x="511" y="155"/>
                  </a:lnTo>
                  <a:lnTo>
                    <a:pt x="512" y="153"/>
                  </a:lnTo>
                  <a:lnTo>
                    <a:pt x="514" y="151"/>
                  </a:lnTo>
                  <a:lnTo>
                    <a:pt x="515" y="153"/>
                  </a:lnTo>
                  <a:lnTo>
                    <a:pt x="517" y="154"/>
                  </a:lnTo>
                  <a:lnTo>
                    <a:pt x="520" y="153"/>
                  </a:lnTo>
                  <a:lnTo>
                    <a:pt x="523" y="154"/>
                  </a:lnTo>
                  <a:lnTo>
                    <a:pt x="526" y="154"/>
                  </a:lnTo>
                  <a:lnTo>
                    <a:pt x="519" y="156"/>
                  </a:lnTo>
                  <a:lnTo>
                    <a:pt x="513" y="156"/>
                  </a:lnTo>
                  <a:lnTo>
                    <a:pt x="508" y="161"/>
                  </a:lnTo>
                  <a:lnTo>
                    <a:pt x="503" y="165"/>
                  </a:lnTo>
                  <a:lnTo>
                    <a:pt x="499" y="167"/>
                  </a:lnTo>
                  <a:lnTo>
                    <a:pt x="495" y="172"/>
                  </a:lnTo>
                  <a:lnTo>
                    <a:pt x="495" y="174"/>
                  </a:lnTo>
                  <a:lnTo>
                    <a:pt x="497" y="172"/>
                  </a:lnTo>
                  <a:lnTo>
                    <a:pt x="499" y="169"/>
                  </a:lnTo>
                  <a:lnTo>
                    <a:pt x="501" y="168"/>
                  </a:lnTo>
                  <a:lnTo>
                    <a:pt x="507" y="166"/>
                  </a:lnTo>
                  <a:lnTo>
                    <a:pt x="502" y="173"/>
                  </a:lnTo>
                  <a:lnTo>
                    <a:pt x="500" y="175"/>
                  </a:lnTo>
                  <a:lnTo>
                    <a:pt x="505" y="178"/>
                  </a:lnTo>
                  <a:lnTo>
                    <a:pt x="508" y="180"/>
                  </a:lnTo>
                  <a:lnTo>
                    <a:pt x="511" y="179"/>
                  </a:lnTo>
                  <a:lnTo>
                    <a:pt x="514" y="178"/>
                  </a:lnTo>
                  <a:lnTo>
                    <a:pt x="517" y="178"/>
                  </a:lnTo>
                  <a:lnTo>
                    <a:pt x="519" y="179"/>
                  </a:lnTo>
                  <a:lnTo>
                    <a:pt x="519" y="180"/>
                  </a:lnTo>
                  <a:lnTo>
                    <a:pt x="520" y="183"/>
                  </a:lnTo>
                  <a:lnTo>
                    <a:pt x="521" y="184"/>
                  </a:lnTo>
                  <a:lnTo>
                    <a:pt x="521" y="187"/>
                  </a:lnTo>
                  <a:lnTo>
                    <a:pt x="523" y="190"/>
                  </a:lnTo>
                  <a:lnTo>
                    <a:pt x="521" y="192"/>
                  </a:lnTo>
                  <a:lnTo>
                    <a:pt x="521" y="195"/>
                  </a:lnTo>
                  <a:lnTo>
                    <a:pt x="524" y="197"/>
                  </a:lnTo>
                  <a:lnTo>
                    <a:pt x="525" y="193"/>
                  </a:lnTo>
                  <a:lnTo>
                    <a:pt x="526" y="191"/>
                  </a:lnTo>
                  <a:lnTo>
                    <a:pt x="530" y="187"/>
                  </a:lnTo>
                  <a:lnTo>
                    <a:pt x="530" y="186"/>
                  </a:lnTo>
                  <a:lnTo>
                    <a:pt x="531" y="192"/>
                  </a:lnTo>
                  <a:lnTo>
                    <a:pt x="531" y="196"/>
                  </a:lnTo>
                  <a:lnTo>
                    <a:pt x="534" y="192"/>
                  </a:lnTo>
                  <a:lnTo>
                    <a:pt x="535" y="197"/>
                  </a:lnTo>
                  <a:lnTo>
                    <a:pt x="535" y="199"/>
                  </a:lnTo>
                  <a:lnTo>
                    <a:pt x="537" y="198"/>
                  </a:lnTo>
                  <a:lnTo>
                    <a:pt x="540" y="197"/>
                  </a:lnTo>
                  <a:lnTo>
                    <a:pt x="540" y="201"/>
                  </a:lnTo>
                  <a:lnTo>
                    <a:pt x="542" y="198"/>
                  </a:lnTo>
                  <a:lnTo>
                    <a:pt x="543" y="199"/>
                  </a:lnTo>
                  <a:lnTo>
                    <a:pt x="544" y="198"/>
                  </a:lnTo>
                  <a:lnTo>
                    <a:pt x="548" y="202"/>
                  </a:lnTo>
                  <a:lnTo>
                    <a:pt x="542" y="202"/>
                  </a:lnTo>
                  <a:lnTo>
                    <a:pt x="536" y="202"/>
                  </a:lnTo>
                  <a:lnTo>
                    <a:pt x="534" y="202"/>
                  </a:lnTo>
                  <a:lnTo>
                    <a:pt x="535" y="205"/>
                  </a:lnTo>
                  <a:lnTo>
                    <a:pt x="536" y="205"/>
                  </a:lnTo>
                  <a:lnTo>
                    <a:pt x="538" y="205"/>
                  </a:lnTo>
                  <a:lnTo>
                    <a:pt x="540" y="207"/>
                  </a:lnTo>
                  <a:lnTo>
                    <a:pt x="542" y="205"/>
                  </a:lnTo>
                  <a:lnTo>
                    <a:pt x="544" y="205"/>
                  </a:lnTo>
                  <a:lnTo>
                    <a:pt x="548" y="207"/>
                  </a:lnTo>
                  <a:lnTo>
                    <a:pt x="552" y="208"/>
                  </a:lnTo>
                  <a:lnTo>
                    <a:pt x="554" y="208"/>
                  </a:lnTo>
                  <a:lnTo>
                    <a:pt x="556" y="210"/>
                  </a:lnTo>
                  <a:lnTo>
                    <a:pt x="558" y="205"/>
                  </a:lnTo>
                  <a:lnTo>
                    <a:pt x="559" y="204"/>
                  </a:lnTo>
                  <a:lnTo>
                    <a:pt x="560" y="202"/>
                  </a:lnTo>
                  <a:lnTo>
                    <a:pt x="562" y="198"/>
                  </a:lnTo>
                  <a:lnTo>
                    <a:pt x="564" y="198"/>
                  </a:lnTo>
                  <a:lnTo>
                    <a:pt x="561" y="202"/>
                  </a:lnTo>
                  <a:lnTo>
                    <a:pt x="562" y="203"/>
                  </a:lnTo>
                  <a:lnTo>
                    <a:pt x="564" y="202"/>
                  </a:lnTo>
                  <a:lnTo>
                    <a:pt x="567" y="202"/>
                  </a:lnTo>
                  <a:lnTo>
                    <a:pt x="566" y="201"/>
                  </a:lnTo>
                  <a:lnTo>
                    <a:pt x="565" y="198"/>
                  </a:lnTo>
                  <a:lnTo>
                    <a:pt x="565" y="196"/>
                  </a:lnTo>
                  <a:lnTo>
                    <a:pt x="565" y="195"/>
                  </a:lnTo>
                  <a:lnTo>
                    <a:pt x="564" y="193"/>
                  </a:lnTo>
                  <a:lnTo>
                    <a:pt x="559" y="195"/>
                  </a:lnTo>
                  <a:lnTo>
                    <a:pt x="554" y="196"/>
                  </a:lnTo>
                  <a:lnTo>
                    <a:pt x="555" y="192"/>
                  </a:lnTo>
                  <a:lnTo>
                    <a:pt x="556" y="190"/>
                  </a:lnTo>
                  <a:lnTo>
                    <a:pt x="559" y="189"/>
                  </a:lnTo>
                  <a:lnTo>
                    <a:pt x="562" y="189"/>
                  </a:lnTo>
                  <a:lnTo>
                    <a:pt x="565" y="190"/>
                  </a:lnTo>
                  <a:lnTo>
                    <a:pt x="566" y="192"/>
                  </a:lnTo>
                  <a:lnTo>
                    <a:pt x="567" y="192"/>
                  </a:lnTo>
                  <a:lnTo>
                    <a:pt x="568" y="191"/>
                  </a:lnTo>
                  <a:lnTo>
                    <a:pt x="572" y="190"/>
                  </a:lnTo>
                  <a:lnTo>
                    <a:pt x="574" y="190"/>
                  </a:lnTo>
                  <a:lnTo>
                    <a:pt x="576" y="187"/>
                  </a:lnTo>
                  <a:lnTo>
                    <a:pt x="577" y="185"/>
                  </a:lnTo>
                  <a:lnTo>
                    <a:pt x="579" y="184"/>
                  </a:lnTo>
                  <a:lnTo>
                    <a:pt x="580" y="183"/>
                  </a:lnTo>
                  <a:lnTo>
                    <a:pt x="583" y="184"/>
                  </a:lnTo>
                  <a:lnTo>
                    <a:pt x="583" y="181"/>
                  </a:lnTo>
                  <a:lnTo>
                    <a:pt x="580" y="181"/>
                  </a:lnTo>
                  <a:lnTo>
                    <a:pt x="577" y="184"/>
                  </a:lnTo>
                  <a:lnTo>
                    <a:pt x="577" y="180"/>
                  </a:lnTo>
                  <a:lnTo>
                    <a:pt x="578" y="178"/>
                  </a:lnTo>
                  <a:lnTo>
                    <a:pt x="576" y="181"/>
                  </a:lnTo>
                  <a:lnTo>
                    <a:pt x="573" y="185"/>
                  </a:lnTo>
                  <a:lnTo>
                    <a:pt x="571" y="187"/>
                  </a:lnTo>
                  <a:lnTo>
                    <a:pt x="570" y="186"/>
                  </a:lnTo>
                  <a:lnTo>
                    <a:pt x="568" y="183"/>
                  </a:lnTo>
                  <a:lnTo>
                    <a:pt x="570" y="179"/>
                  </a:lnTo>
                  <a:lnTo>
                    <a:pt x="574" y="177"/>
                  </a:lnTo>
                  <a:lnTo>
                    <a:pt x="574" y="174"/>
                  </a:lnTo>
                  <a:lnTo>
                    <a:pt x="576" y="173"/>
                  </a:lnTo>
                  <a:lnTo>
                    <a:pt x="578" y="169"/>
                  </a:lnTo>
                  <a:lnTo>
                    <a:pt x="576" y="167"/>
                  </a:lnTo>
                  <a:lnTo>
                    <a:pt x="568" y="161"/>
                  </a:lnTo>
                  <a:lnTo>
                    <a:pt x="561" y="153"/>
                  </a:lnTo>
                  <a:lnTo>
                    <a:pt x="552" y="130"/>
                  </a:lnTo>
                  <a:lnTo>
                    <a:pt x="550" y="132"/>
                  </a:lnTo>
                  <a:lnTo>
                    <a:pt x="552" y="138"/>
                  </a:lnTo>
                  <a:lnTo>
                    <a:pt x="553" y="145"/>
                  </a:lnTo>
                  <a:lnTo>
                    <a:pt x="552" y="143"/>
                  </a:lnTo>
                  <a:lnTo>
                    <a:pt x="550" y="139"/>
                  </a:lnTo>
                  <a:lnTo>
                    <a:pt x="549" y="144"/>
                  </a:lnTo>
                  <a:lnTo>
                    <a:pt x="550" y="143"/>
                  </a:lnTo>
                  <a:lnTo>
                    <a:pt x="552" y="145"/>
                  </a:lnTo>
                  <a:lnTo>
                    <a:pt x="550" y="149"/>
                  </a:lnTo>
                  <a:lnTo>
                    <a:pt x="549" y="154"/>
                  </a:lnTo>
                  <a:lnTo>
                    <a:pt x="549" y="156"/>
                  </a:lnTo>
                  <a:lnTo>
                    <a:pt x="548" y="151"/>
                  </a:lnTo>
                  <a:lnTo>
                    <a:pt x="546" y="148"/>
                  </a:lnTo>
                  <a:lnTo>
                    <a:pt x="543" y="147"/>
                  </a:lnTo>
                  <a:lnTo>
                    <a:pt x="543" y="149"/>
                  </a:lnTo>
                  <a:lnTo>
                    <a:pt x="542" y="147"/>
                  </a:lnTo>
                  <a:lnTo>
                    <a:pt x="542" y="144"/>
                  </a:lnTo>
                  <a:lnTo>
                    <a:pt x="541" y="141"/>
                  </a:lnTo>
                  <a:lnTo>
                    <a:pt x="540" y="141"/>
                  </a:lnTo>
                  <a:lnTo>
                    <a:pt x="537" y="143"/>
                  </a:lnTo>
                  <a:lnTo>
                    <a:pt x="534" y="144"/>
                  </a:lnTo>
                  <a:lnTo>
                    <a:pt x="531" y="147"/>
                  </a:lnTo>
                  <a:lnTo>
                    <a:pt x="530" y="148"/>
                  </a:lnTo>
                  <a:lnTo>
                    <a:pt x="531" y="143"/>
                  </a:lnTo>
                  <a:lnTo>
                    <a:pt x="532" y="138"/>
                  </a:lnTo>
                  <a:lnTo>
                    <a:pt x="531" y="137"/>
                  </a:lnTo>
                  <a:lnTo>
                    <a:pt x="529" y="139"/>
                  </a:lnTo>
                  <a:lnTo>
                    <a:pt x="526" y="142"/>
                  </a:lnTo>
                  <a:lnTo>
                    <a:pt x="525" y="144"/>
                  </a:lnTo>
                  <a:lnTo>
                    <a:pt x="525" y="138"/>
                  </a:lnTo>
                  <a:lnTo>
                    <a:pt x="524" y="137"/>
                  </a:lnTo>
                  <a:lnTo>
                    <a:pt x="525" y="136"/>
                  </a:lnTo>
                  <a:lnTo>
                    <a:pt x="526" y="132"/>
                  </a:lnTo>
                  <a:lnTo>
                    <a:pt x="525" y="131"/>
                  </a:lnTo>
                  <a:lnTo>
                    <a:pt x="526" y="131"/>
                  </a:lnTo>
                  <a:lnTo>
                    <a:pt x="526" y="130"/>
                  </a:lnTo>
                  <a:lnTo>
                    <a:pt x="528" y="127"/>
                  </a:lnTo>
                  <a:lnTo>
                    <a:pt x="532" y="127"/>
                  </a:lnTo>
                  <a:lnTo>
                    <a:pt x="534" y="125"/>
                  </a:lnTo>
                  <a:lnTo>
                    <a:pt x="532" y="126"/>
                  </a:lnTo>
                  <a:lnTo>
                    <a:pt x="534" y="125"/>
                  </a:lnTo>
                  <a:lnTo>
                    <a:pt x="536" y="120"/>
                  </a:lnTo>
                  <a:lnTo>
                    <a:pt x="537" y="119"/>
                  </a:lnTo>
                  <a:lnTo>
                    <a:pt x="535" y="120"/>
                  </a:lnTo>
                  <a:lnTo>
                    <a:pt x="531" y="123"/>
                  </a:lnTo>
                  <a:lnTo>
                    <a:pt x="532" y="119"/>
                  </a:lnTo>
                  <a:lnTo>
                    <a:pt x="530" y="119"/>
                  </a:lnTo>
                  <a:lnTo>
                    <a:pt x="528" y="118"/>
                  </a:lnTo>
                  <a:lnTo>
                    <a:pt x="525" y="119"/>
                  </a:lnTo>
                  <a:lnTo>
                    <a:pt x="524" y="119"/>
                  </a:lnTo>
                  <a:lnTo>
                    <a:pt x="520" y="118"/>
                  </a:lnTo>
                  <a:lnTo>
                    <a:pt x="521" y="117"/>
                  </a:lnTo>
                  <a:lnTo>
                    <a:pt x="520" y="115"/>
                  </a:lnTo>
                  <a:lnTo>
                    <a:pt x="515" y="114"/>
                  </a:lnTo>
                  <a:lnTo>
                    <a:pt x="515" y="111"/>
                  </a:lnTo>
                  <a:lnTo>
                    <a:pt x="518" y="112"/>
                  </a:lnTo>
                  <a:lnTo>
                    <a:pt x="520" y="109"/>
                  </a:lnTo>
                  <a:lnTo>
                    <a:pt x="519" y="107"/>
                  </a:lnTo>
                  <a:lnTo>
                    <a:pt x="523" y="105"/>
                  </a:lnTo>
                  <a:lnTo>
                    <a:pt x="525" y="106"/>
                  </a:lnTo>
                  <a:lnTo>
                    <a:pt x="528" y="106"/>
                  </a:lnTo>
                  <a:lnTo>
                    <a:pt x="526" y="103"/>
                  </a:lnTo>
                  <a:lnTo>
                    <a:pt x="525" y="101"/>
                  </a:lnTo>
                  <a:lnTo>
                    <a:pt x="524" y="100"/>
                  </a:lnTo>
                  <a:lnTo>
                    <a:pt x="524" y="103"/>
                  </a:lnTo>
                  <a:lnTo>
                    <a:pt x="521" y="100"/>
                  </a:lnTo>
                  <a:lnTo>
                    <a:pt x="520" y="96"/>
                  </a:lnTo>
                  <a:lnTo>
                    <a:pt x="519" y="94"/>
                  </a:lnTo>
                  <a:lnTo>
                    <a:pt x="517" y="95"/>
                  </a:lnTo>
                  <a:lnTo>
                    <a:pt x="515" y="95"/>
                  </a:lnTo>
                  <a:lnTo>
                    <a:pt x="515" y="89"/>
                  </a:lnTo>
                  <a:lnTo>
                    <a:pt x="517" y="85"/>
                  </a:lnTo>
                  <a:lnTo>
                    <a:pt x="517" y="83"/>
                  </a:lnTo>
                  <a:lnTo>
                    <a:pt x="517" y="80"/>
                  </a:lnTo>
                  <a:lnTo>
                    <a:pt x="517" y="78"/>
                  </a:lnTo>
                  <a:lnTo>
                    <a:pt x="514" y="83"/>
                  </a:lnTo>
                  <a:lnTo>
                    <a:pt x="514" y="85"/>
                  </a:lnTo>
                  <a:lnTo>
                    <a:pt x="512" y="90"/>
                  </a:lnTo>
                  <a:lnTo>
                    <a:pt x="511" y="88"/>
                  </a:lnTo>
                  <a:lnTo>
                    <a:pt x="509" y="84"/>
                  </a:lnTo>
                  <a:lnTo>
                    <a:pt x="509" y="80"/>
                  </a:lnTo>
                  <a:lnTo>
                    <a:pt x="508" y="79"/>
                  </a:lnTo>
                  <a:lnTo>
                    <a:pt x="507" y="79"/>
                  </a:lnTo>
                  <a:lnTo>
                    <a:pt x="507" y="84"/>
                  </a:lnTo>
                  <a:lnTo>
                    <a:pt x="506" y="88"/>
                  </a:lnTo>
                  <a:lnTo>
                    <a:pt x="503" y="89"/>
                  </a:lnTo>
                  <a:lnTo>
                    <a:pt x="503" y="91"/>
                  </a:lnTo>
                  <a:lnTo>
                    <a:pt x="502" y="92"/>
                  </a:lnTo>
                  <a:lnTo>
                    <a:pt x="501" y="95"/>
                  </a:lnTo>
                  <a:lnTo>
                    <a:pt x="500" y="94"/>
                  </a:lnTo>
                  <a:lnTo>
                    <a:pt x="500" y="96"/>
                  </a:lnTo>
                  <a:lnTo>
                    <a:pt x="499" y="97"/>
                  </a:lnTo>
                  <a:lnTo>
                    <a:pt x="497" y="95"/>
                  </a:lnTo>
                  <a:lnTo>
                    <a:pt x="497" y="90"/>
                  </a:lnTo>
                  <a:lnTo>
                    <a:pt x="496" y="89"/>
                  </a:lnTo>
                  <a:lnTo>
                    <a:pt x="496" y="88"/>
                  </a:lnTo>
                  <a:lnTo>
                    <a:pt x="496" y="89"/>
                  </a:lnTo>
                  <a:lnTo>
                    <a:pt x="494" y="90"/>
                  </a:lnTo>
                  <a:lnTo>
                    <a:pt x="493" y="90"/>
                  </a:lnTo>
                  <a:lnTo>
                    <a:pt x="489" y="92"/>
                  </a:lnTo>
                  <a:lnTo>
                    <a:pt x="488" y="95"/>
                  </a:lnTo>
                  <a:lnTo>
                    <a:pt x="487" y="96"/>
                  </a:lnTo>
                  <a:lnTo>
                    <a:pt x="487" y="91"/>
                  </a:lnTo>
                  <a:lnTo>
                    <a:pt x="488" y="85"/>
                  </a:lnTo>
                  <a:lnTo>
                    <a:pt x="489" y="83"/>
                  </a:lnTo>
                  <a:lnTo>
                    <a:pt x="489" y="82"/>
                  </a:lnTo>
                  <a:lnTo>
                    <a:pt x="488" y="82"/>
                  </a:lnTo>
                  <a:lnTo>
                    <a:pt x="487" y="82"/>
                  </a:lnTo>
                  <a:lnTo>
                    <a:pt x="487" y="79"/>
                  </a:lnTo>
                  <a:lnTo>
                    <a:pt x="488" y="74"/>
                  </a:lnTo>
                  <a:lnTo>
                    <a:pt x="489" y="72"/>
                  </a:lnTo>
                  <a:lnTo>
                    <a:pt x="491" y="70"/>
                  </a:lnTo>
                  <a:lnTo>
                    <a:pt x="493" y="66"/>
                  </a:lnTo>
                  <a:lnTo>
                    <a:pt x="494" y="64"/>
                  </a:lnTo>
                  <a:lnTo>
                    <a:pt x="494" y="61"/>
                  </a:lnTo>
                  <a:lnTo>
                    <a:pt x="491" y="65"/>
                  </a:lnTo>
                  <a:lnTo>
                    <a:pt x="490" y="66"/>
                  </a:lnTo>
                  <a:lnTo>
                    <a:pt x="490" y="62"/>
                  </a:lnTo>
                  <a:lnTo>
                    <a:pt x="487" y="66"/>
                  </a:lnTo>
                  <a:lnTo>
                    <a:pt x="484" y="66"/>
                  </a:lnTo>
                  <a:lnTo>
                    <a:pt x="483" y="64"/>
                  </a:lnTo>
                  <a:lnTo>
                    <a:pt x="477" y="66"/>
                  </a:lnTo>
                  <a:lnTo>
                    <a:pt x="475" y="67"/>
                  </a:lnTo>
                  <a:lnTo>
                    <a:pt x="470" y="77"/>
                  </a:lnTo>
                  <a:lnTo>
                    <a:pt x="466" y="79"/>
                  </a:lnTo>
                  <a:lnTo>
                    <a:pt x="465" y="82"/>
                  </a:lnTo>
                  <a:lnTo>
                    <a:pt x="462" y="79"/>
                  </a:lnTo>
                  <a:lnTo>
                    <a:pt x="464" y="73"/>
                  </a:lnTo>
                  <a:lnTo>
                    <a:pt x="466" y="67"/>
                  </a:lnTo>
                  <a:lnTo>
                    <a:pt x="465" y="65"/>
                  </a:lnTo>
                  <a:lnTo>
                    <a:pt x="467" y="61"/>
                  </a:lnTo>
                  <a:lnTo>
                    <a:pt x="470" y="60"/>
                  </a:lnTo>
                  <a:lnTo>
                    <a:pt x="473" y="61"/>
                  </a:lnTo>
                  <a:lnTo>
                    <a:pt x="478" y="61"/>
                  </a:lnTo>
                  <a:lnTo>
                    <a:pt x="483" y="58"/>
                  </a:lnTo>
                  <a:lnTo>
                    <a:pt x="488" y="55"/>
                  </a:lnTo>
                  <a:lnTo>
                    <a:pt x="488" y="53"/>
                  </a:lnTo>
                  <a:lnTo>
                    <a:pt x="487" y="50"/>
                  </a:lnTo>
                  <a:lnTo>
                    <a:pt x="487" y="46"/>
                  </a:lnTo>
                  <a:lnTo>
                    <a:pt x="484" y="46"/>
                  </a:lnTo>
                  <a:lnTo>
                    <a:pt x="485" y="40"/>
                  </a:lnTo>
                  <a:lnTo>
                    <a:pt x="484" y="38"/>
                  </a:lnTo>
                  <a:lnTo>
                    <a:pt x="483" y="41"/>
                  </a:lnTo>
                  <a:lnTo>
                    <a:pt x="478" y="48"/>
                  </a:lnTo>
                  <a:lnTo>
                    <a:pt x="477" y="49"/>
                  </a:lnTo>
                  <a:lnTo>
                    <a:pt x="475" y="44"/>
                  </a:lnTo>
                  <a:lnTo>
                    <a:pt x="475" y="37"/>
                  </a:lnTo>
                  <a:lnTo>
                    <a:pt x="476" y="35"/>
                  </a:lnTo>
                  <a:lnTo>
                    <a:pt x="473" y="35"/>
                  </a:lnTo>
                  <a:lnTo>
                    <a:pt x="476" y="28"/>
                  </a:lnTo>
                  <a:lnTo>
                    <a:pt x="481" y="25"/>
                  </a:lnTo>
                  <a:lnTo>
                    <a:pt x="483" y="23"/>
                  </a:lnTo>
                  <a:lnTo>
                    <a:pt x="487" y="20"/>
                  </a:lnTo>
                  <a:lnTo>
                    <a:pt x="490" y="18"/>
                  </a:lnTo>
                  <a:lnTo>
                    <a:pt x="490" y="14"/>
                  </a:lnTo>
                  <a:lnTo>
                    <a:pt x="484" y="12"/>
                  </a:lnTo>
                  <a:lnTo>
                    <a:pt x="479" y="11"/>
                  </a:lnTo>
                  <a:lnTo>
                    <a:pt x="484" y="11"/>
                  </a:lnTo>
                  <a:lnTo>
                    <a:pt x="487" y="8"/>
                  </a:lnTo>
                  <a:lnTo>
                    <a:pt x="490" y="7"/>
                  </a:lnTo>
                  <a:lnTo>
                    <a:pt x="490" y="5"/>
                  </a:lnTo>
                  <a:lnTo>
                    <a:pt x="490" y="2"/>
                  </a:lnTo>
                  <a:lnTo>
                    <a:pt x="491" y="1"/>
                  </a:lnTo>
                  <a:lnTo>
                    <a:pt x="495" y="0"/>
                  </a:lnTo>
                  <a:lnTo>
                    <a:pt x="497" y="0"/>
                  </a:lnTo>
                  <a:lnTo>
                    <a:pt x="501" y="0"/>
                  </a:lnTo>
                  <a:lnTo>
                    <a:pt x="501" y="1"/>
                  </a:lnTo>
                  <a:lnTo>
                    <a:pt x="502" y="1"/>
                  </a:lnTo>
                  <a:lnTo>
                    <a:pt x="502" y="4"/>
                  </a:lnTo>
                  <a:lnTo>
                    <a:pt x="505" y="2"/>
                  </a:lnTo>
                  <a:lnTo>
                    <a:pt x="506" y="2"/>
                  </a:lnTo>
                  <a:lnTo>
                    <a:pt x="507" y="2"/>
                  </a:lnTo>
                  <a:lnTo>
                    <a:pt x="509" y="2"/>
                  </a:lnTo>
                  <a:lnTo>
                    <a:pt x="511" y="1"/>
                  </a:lnTo>
                  <a:lnTo>
                    <a:pt x="513" y="0"/>
                  </a:lnTo>
                  <a:lnTo>
                    <a:pt x="511" y="6"/>
                  </a:lnTo>
                  <a:lnTo>
                    <a:pt x="508" y="16"/>
                  </a:lnTo>
                  <a:lnTo>
                    <a:pt x="508" y="18"/>
                  </a:lnTo>
                  <a:lnTo>
                    <a:pt x="511" y="14"/>
                  </a:lnTo>
                  <a:lnTo>
                    <a:pt x="512" y="16"/>
                  </a:lnTo>
                  <a:lnTo>
                    <a:pt x="513" y="20"/>
                  </a:lnTo>
                  <a:lnTo>
                    <a:pt x="512" y="26"/>
                  </a:lnTo>
                  <a:lnTo>
                    <a:pt x="514" y="31"/>
                  </a:lnTo>
                  <a:lnTo>
                    <a:pt x="514" y="29"/>
                  </a:lnTo>
                  <a:lnTo>
                    <a:pt x="518" y="30"/>
                  </a:lnTo>
                  <a:lnTo>
                    <a:pt x="518" y="28"/>
                  </a:lnTo>
                  <a:lnTo>
                    <a:pt x="518" y="23"/>
                  </a:lnTo>
                  <a:lnTo>
                    <a:pt x="523" y="22"/>
                  </a:lnTo>
                  <a:lnTo>
                    <a:pt x="528" y="24"/>
                  </a:lnTo>
                  <a:lnTo>
                    <a:pt x="530" y="28"/>
                  </a:lnTo>
                  <a:lnTo>
                    <a:pt x="531" y="32"/>
                  </a:lnTo>
                  <a:lnTo>
                    <a:pt x="529" y="34"/>
                  </a:lnTo>
                  <a:lnTo>
                    <a:pt x="526" y="32"/>
                  </a:lnTo>
                  <a:lnTo>
                    <a:pt x="526" y="34"/>
                  </a:lnTo>
                  <a:lnTo>
                    <a:pt x="524" y="32"/>
                  </a:lnTo>
                  <a:lnTo>
                    <a:pt x="523" y="31"/>
                  </a:lnTo>
                  <a:lnTo>
                    <a:pt x="523" y="35"/>
                  </a:lnTo>
                  <a:lnTo>
                    <a:pt x="524" y="37"/>
                  </a:lnTo>
                  <a:lnTo>
                    <a:pt x="526" y="40"/>
                  </a:lnTo>
                  <a:lnTo>
                    <a:pt x="529" y="42"/>
                  </a:lnTo>
                  <a:lnTo>
                    <a:pt x="530" y="46"/>
                  </a:lnTo>
                  <a:lnTo>
                    <a:pt x="531" y="49"/>
                  </a:lnTo>
                  <a:lnTo>
                    <a:pt x="534" y="50"/>
                  </a:lnTo>
                  <a:lnTo>
                    <a:pt x="536" y="49"/>
                  </a:lnTo>
                  <a:lnTo>
                    <a:pt x="537" y="52"/>
                  </a:lnTo>
                  <a:lnTo>
                    <a:pt x="538" y="50"/>
                  </a:lnTo>
                  <a:lnTo>
                    <a:pt x="540" y="49"/>
                  </a:lnTo>
                  <a:lnTo>
                    <a:pt x="541" y="49"/>
                  </a:lnTo>
                  <a:lnTo>
                    <a:pt x="544" y="49"/>
                  </a:lnTo>
                  <a:lnTo>
                    <a:pt x="547" y="52"/>
                  </a:lnTo>
                  <a:lnTo>
                    <a:pt x="547" y="49"/>
                  </a:lnTo>
                  <a:lnTo>
                    <a:pt x="544" y="46"/>
                  </a:lnTo>
                  <a:lnTo>
                    <a:pt x="546" y="41"/>
                  </a:lnTo>
                  <a:lnTo>
                    <a:pt x="546" y="37"/>
                  </a:lnTo>
                  <a:lnTo>
                    <a:pt x="548" y="37"/>
                  </a:lnTo>
                  <a:lnTo>
                    <a:pt x="550" y="35"/>
                  </a:lnTo>
                  <a:lnTo>
                    <a:pt x="554" y="36"/>
                  </a:lnTo>
                  <a:lnTo>
                    <a:pt x="556" y="38"/>
                  </a:lnTo>
                  <a:lnTo>
                    <a:pt x="559" y="41"/>
                  </a:lnTo>
                  <a:lnTo>
                    <a:pt x="562" y="41"/>
                  </a:lnTo>
                  <a:lnTo>
                    <a:pt x="566" y="38"/>
                  </a:lnTo>
                  <a:lnTo>
                    <a:pt x="562" y="41"/>
                  </a:lnTo>
                  <a:lnTo>
                    <a:pt x="561" y="44"/>
                  </a:lnTo>
                  <a:lnTo>
                    <a:pt x="559" y="43"/>
                  </a:lnTo>
                  <a:lnTo>
                    <a:pt x="556" y="43"/>
                  </a:lnTo>
                  <a:lnTo>
                    <a:pt x="552" y="50"/>
                  </a:lnTo>
                  <a:lnTo>
                    <a:pt x="556" y="50"/>
                  </a:lnTo>
                  <a:lnTo>
                    <a:pt x="561" y="53"/>
                  </a:lnTo>
                  <a:lnTo>
                    <a:pt x="566" y="55"/>
                  </a:lnTo>
                  <a:lnTo>
                    <a:pt x="562" y="56"/>
                  </a:lnTo>
                  <a:lnTo>
                    <a:pt x="562" y="61"/>
                  </a:lnTo>
                  <a:lnTo>
                    <a:pt x="561" y="62"/>
                  </a:lnTo>
                  <a:lnTo>
                    <a:pt x="560" y="61"/>
                  </a:lnTo>
                  <a:lnTo>
                    <a:pt x="559" y="53"/>
                  </a:lnTo>
                  <a:lnTo>
                    <a:pt x="555" y="52"/>
                  </a:lnTo>
                  <a:lnTo>
                    <a:pt x="550" y="53"/>
                  </a:lnTo>
                  <a:lnTo>
                    <a:pt x="549" y="58"/>
                  </a:lnTo>
                  <a:lnTo>
                    <a:pt x="548" y="61"/>
                  </a:lnTo>
                  <a:lnTo>
                    <a:pt x="549" y="67"/>
                  </a:lnTo>
                  <a:lnTo>
                    <a:pt x="553" y="66"/>
                  </a:lnTo>
                  <a:lnTo>
                    <a:pt x="556" y="68"/>
                  </a:lnTo>
                  <a:lnTo>
                    <a:pt x="558" y="71"/>
                  </a:lnTo>
                  <a:lnTo>
                    <a:pt x="559" y="73"/>
                  </a:lnTo>
                  <a:lnTo>
                    <a:pt x="558" y="76"/>
                  </a:lnTo>
                  <a:lnTo>
                    <a:pt x="561" y="78"/>
                  </a:lnTo>
                  <a:lnTo>
                    <a:pt x="561" y="84"/>
                  </a:lnTo>
                  <a:lnTo>
                    <a:pt x="561" y="88"/>
                  </a:lnTo>
                  <a:lnTo>
                    <a:pt x="562" y="90"/>
                  </a:lnTo>
                  <a:lnTo>
                    <a:pt x="562" y="94"/>
                  </a:lnTo>
                  <a:lnTo>
                    <a:pt x="561" y="97"/>
                  </a:lnTo>
                  <a:lnTo>
                    <a:pt x="562" y="100"/>
                  </a:lnTo>
                  <a:lnTo>
                    <a:pt x="566" y="100"/>
                  </a:lnTo>
                  <a:lnTo>
                    <a:pt x="570" y="97"/>
                  </a:lnTo>
                  <a:lnTo>
                    <a:pt x="573" y="96"/>
                  </a:lnTo>
                  <a:lnTo>
                    <a:pt x="574" y="95"/>
                  </a:lnTo>
                  <a:lnTo>
                    <a:pt x="578" y="94"/>
                  </a:lnTo>
                  <a:lnTo>
                    <a:pt x="578" y="91"/>
                  </a:lnTo>
                  <a:lnTo>
                    <a:pt x="580" y="91"/>
                  </a:lnTo>
                  <a:lnTo>
                    <a:pt x="583" y="91"/>
                  </a:lnTo>
                  <a:lnTo>
                    <a:pt x="584" y="92"/>
                  </a:lnTo>
                  <a:lnTo>
                    <a:pt x="587" y="92"/>
                  </a:lnTo>
                  <a:lnTo>
                    <a:pt x="584" y="95"/>
                  </a:lnTo>
                  <a:lnTo>
                    <a:pt x="587" y="94"/>
                  </a:lnTo>
                  <a:lnTo>
                    <a:pt x="589" y="94"/>
                  </a:lnTo>
                  <a:lnTo>
                    <a:pt x="590" y="95"/>
                  </a:lnTo>
                  <a:lnTo>
                    <a:pt x="594" y="95"/>
                  </a:lnTo>
                  <a:lnTo>
                    <a:pt x="596" y="92"/>
                  </a:lnTo>
                  <a:lnTo>
                    <a:pt x="599" y="90"/>
                  </a:lnTo>
                  <a:lnTo>
                    <a:pt x="600" y="91"/>
                  </a:lnTo>
                  <a:lnTo>
                    <a:pt x="601" y="94"/>
                  </a:lnTo>
                  <a:lnTo>
                    <a:pt x="603" y="95"/>
                  </a:lnTo>
                  <a:lnTo>
                    <a:pt x="607" y="94"/>
                  </a:lnTo>
                  <a:lnTo>
                    <a:pt x="606" y="94"/>
                  </a:lnTo>
                  <a:lnTo>
                    <a:pt x="606" y="95"/>
                  </a:lnTo>
                  <a:lnTo>
                    <a:pt x="611" y="96"/>
                  </a:lnTo>
                  <a:lnTo>
                    <a:pt x="613" y="100"/>
                  </a:lnTo>
                  <a:lnTo>
                    <a:pt x="615" y="97"/>
                  </a:lnTo>
                  <a:lnTo>
                    <a:pt x="618" y="97"/>
                  </a:lnTo>
                  <a:lnTo>
                    <a:pt x="618" y="96"/>
                  </a:lnTo>
                  <a:lnTo>
                    <a:pt x="619" y="95"/>
                  </a:lnTo>
                  <a:lnTo>
                    <a:pt x="621" y="94"/>
                  </a:lnTo>
                  <a:lnTo>
                    <a:pt x="623" y="92"/>
                  </a:lnTo>
                  <a:lnTo>
                    <a:pt x="625" y="95"/>
                  </a:lnTo>
                  <a:lnTo>
                    <a:pt x="626" y="95"/>
                  </a:lnTo>
                  <a:lnTo>
                    <a:pt x="627" y="97"/>
                  </a:lnTo>
                  <a:lnTo>
                    <a:pt x="630" y="96"/>
                  </a:lnTo>
                  <a:lnTo>
                    <a:pt x="630" y="92"/>
                  </a:lnTo>
                  <a:lnTo>
                    <a:pt x="629" y="91"/>
                  </a:lnTo>
                  <a:lnTo>
                    <a:pt x="630" y="89"/>
                  </a:lnTo>
                  <a:lnTo>
                    <a:pt x="631" y="86"/>
                  </a:lnTo>
                  <a:lnTo>
                    <a:pt x="633" y="84"/>
                  </a:lnTo>
                  <a:lnTo>
                    <a:pt x="637" y="83"/>
                  </a:lnTo>
                  <a:lnTo>
                    <a:pt x="639" y="84"/>
                  </a:lnTo>
                  <a:lnTo>
                    <a:pt x="642" y="85"/>
                  </a:lnTo>
                  <a:lnTo>
                    <a:pt x="644" y="85"/>
                  </a:lnTo>
                  <a:lnTo>
                    <a:pt x="644" y="86"/>
                  </a:lnTo>
                  <a:lnTo>
                    <a:pt x="645" y="86"/>
                  </a:lnTo>
                  <a:lnTo>
                    <a:pt x="645" y="77"/>
                  </a:lnTo>
                  <a:lnTo>
                    <a:pt x="642" y="74"/>
                  </a:lnTo>
                  <a:lnTo>
                    <a:pt x="639" y="71"/>
                  </a:lnTo>
                  <a:lnTo>
                    <a:pt x="641" y="68"/>
                  </a:lnTo>
                  <a:lnTo>
                    <a:pt x="641" y="67"/>
                  </a:lnTo>
                  <a:lnTo>
                    <a:pt x="642" y="66"/>
                  </a:lnTo>
                  <a:lnTo>
                    <a:pt x="643" y="67"/>
                  </a:lnTo>
                  <a:lnTo>
                    <a:pt x="643" y="65"/>
                  </a:lnTo>
                  <a:lnTo>
                    <a:pt x="645" y="65"/>
                  </a:lnTo>
                  <a:lnTo>
                    <a:pt x="648" y="65"/>
                  </a:lnTo>
                  <a:lnTo>
                    <a:pt x="649" y="65"/>
                  </a:lnTo>
                  <a:lnTo>
                    <a:pt x="652" y="65"/>
                  </a:lnTo>
                  <a:lnTo>
                    <a:pt x="650" y="68"/>
                  </a:lnTo>
                  <a:lnTo>
                    <a:pt x="652" y="71"/>
                  </a:lnTo>
                  <a:lnTo>
                    <a:pt x="655" y="71"/>
                  </a:lnTo>
                  <a:lnTo>
                    <a:pt x="661" y="71"/>
                  </a:lnTo>
                  <a:lnTo>
                    <a:pt x="658" y="73"/>
                  </a:lnTo>
                  <a:lnTo>
                    <a:pt x="654" y="76"/>
                  </a:lnTo>
                  <a:lnTo>
                    <a:pt x="652" y="78"/>
                  </a:lnTo>
                  <a:lnTo>
                    <a:pt x="650" y="79"/>
                  </a:lnTo>
                  <a:lnTo>
                    <a:pt x="653" y="78"/>
                  </a:lnTo>
                  <a:lnTo>
                    <a:pt x="656" y="77"/>
                  </a:lnTo>
                  <a:lnTo>
                    <a:pt x="654" y="79"/>
                  </a:lnTo>
                  <a:lnTo>
                    <a:pt x="656" y="82"/>
                  </a:lnTo>
                  <a:lnTo>
                    <a:pt x="658" y="83"/>
                  </a:lnTo>
                  <a:lnTo>
                    <a:pt x="654" y="83"/>
                  </a:lnTo>
                  <a:lnTo>
                    <a:pt x="650" y="85"/>
                  </a:lnTo>
                  <a:lnTo>
                    <a:pt x="654" y="85"/>
                  </a:lnTo>
                  <a:lnTo>
                    <a:pt x="659" y="84"/>
                  </a:lnTo>
                  <a:lnTo>
                    <a:pt x="664" y="85"/>
                  </a:lnTo>
                  <a:lnTo>
                    <a:pt x="667" y="84"/>
                  </a:lnTo>
                  <a:lnTo>
                    <a:pt x="662" y="88"/>
                  </a:lnTo>
                  <a:lnTo>
                    <a:pt x="659" y="90"/>
                  </a:lnTo>
                  <a:lnTo>
                    <a:pt x="656" y="92"/>
                  </a:lnTo>
                  <a:lnTo>
                    <a:pt x="653" y="95"/>
                  </a:lnTo>
                  <a:lnTo>
                    <a:pt x="653" y="98"/>
                  </a:lnTo>
                  <a:lnTo>
                    <a:pt x="655" y="98"/>
                  </a:lnTo>
                  <a:lnTo>
                    <a:pt x="659" y="98"/>
                  </a:lnTo>
                  <a:lnTo>
                    <a:pt x="662" y="96"/>
                  </a:lnTo>
                  <a:lnTo>
                    <a:pt x="665" y="96"/>
                  </a:lnTo>
                  <a:lnTo>
                    <a:pt x="668" y="97"/>
                  </a:lnTo>
                  <a:lnTo>
                    <a:pt x="667" y="97"/>
                  </a:lnTo>
                  <a:lnTo>
                    <a:pt x="666" y="98"/>
                  </a:lnTo>
                  <a:lnTo>
                    <a:pt x="666" y="103"/>
                  </a:lnTo>
                  <a:lnTo>
                    <a:pt x="668" y="106"/>
                  </a:lnTo>
                  <a:lnTo>
                    <a:pt x="670" y="109"/>
                  </a:lnTo>
                  <a:lnTo>
                    <a:pt x="666" y="111"/>
                  </a:lnTo>
                  <a:lnTo>
                    <a:pt x="667" y="113"/>
                  </a:lnTo>
                  <a:lnTo>
                    <a:pt x="667" y="118"/>
                  </a:lnTo>
                  <a:lnTo>
                    <a:pt x="666" y="120"/>
                  </a:lnTo>
                  <a:lnTo>
                    <a:pt x="665" y="118"/>
                  </a:lnTo>
                  <a:lnTo>
                    <a:pt x="664" y="120"/>
                  </a:lnTo>
                  <a:lnTo>
                    <a:pt x="662" y="125"/>
                  </a:lnTo>
                  <a:lnTo>
                    <a:pt x="661" y="127"/>
                  </a:lnTo>
                  <a:lnTo>
                    <a:pt x="661" y="132"/>
                  </a:lnTo>
                  <a:lnTo>
                    <a:pt x="659" y="133"/>
                  </a:lnTo>
                  <a:lnTo>
                    <a:pt x="656" y="137"/>
                  </a:lnTo>
                  <a:lnTo>
                    <a:pt x="653" y="137"/>
                  </a:lnTo>
                  <a:lnTo>
                    <a:pt x="653" y="139"/>
                  </a:lnTo>
                  <a:lnTo>
                    <a:pt x="648" y="142"/>
                  </a:lnTo>
                  <a:lnTo>
                    <a:pt x="648" y="139"/>
                  </a:lnTo>
                  <a:lnTo>
                    <a:pt x="645" y="138"/>
                  </a:lnTo>
                  <a:lnTo>
                    <a:pt x="645" y="137"/>
                  </a:lnTo>
                  <a:lnTo>
                    <a:pt x="644" y="141"/>
                  </a:lnTo>
                  <a:lnTo>
                    <a:pt x="642" y="144"/>
                  </a:lnTo>
                  <a:lnTo>
                    <a:pt x="643" y="137"/>
                  </a:lnTo>
                  <a:lnTo>
                    <a:pt x="641" y="142"/>
                  </a:lnTo>
                  <a:lnTo>
                    <a:pt x="638" y="138"/>
                  </a:lnTo>
                  <a:lnTo>
                    <a:pt x="636" y="141"/>
                  </a:lnTo>
                  <a:lnTo>
                    <a:pt x="637" y="144"/>
                  </a:lnTo>
                  <a:lnTo>
                    <a:pt x="639" y="145"/>
                  </a:lnTo>
                  <a:lnTo>
                    <a:pt x="633" y="147"/>
                  </a:lnTo>
                  <a:lnTo>
                    <a:pt x="630" y="148"/>
                  </a:lnTo>
                  <a:lnTo>
                    <a:pt x="627" y="151"/>
                  </a:lnTo>
                  <a:lnTo>
                    <a:pt x="629" y="153"/>
                  </a:lnTo>
                  <a:lnTo>
                    <a:pt x="631" y="154"/>
                  </a:lnTo>
                  <a:lnTo>
                    <a:pt x="635" y="154"/>
                  </a:lnTo>
                  <a:lnTo>
                    <a:pt x="636" y="157"/>
                  </a:lnTo>
                  <a:lnTo>
                    <a:pt x="633" y="159"/>
                  </a:lnTo>
                  <a:lnTo>
                    <a:pt x="629" y="157"/>
                  </a:lnTo>
                  <a:lnTo>
                    <a:pt x="629" y="155"/>
                  </a:lnTo>
                  <a:lnTo>
                    <a:pt x="627" y="155"/>
                  </a:lnTo>
                  <a:lnTo>
                    <a:pt x="627" y="160"/>
                  </a:lnTo>
                  <a:lnTo>
                    <a:pt x="630" y="160"/>
                  </a:lnTo>
                  <a:lnTo>
                    <a:pt x="633" y="161"/>
                  </a:lnTo>
                  <a:lnTo>
                    <a:pt x="633" y="166"/>
                  </a:lnTo>
                  <a:lnTo>
                    <a:pt x="635" y="167"/>
                  </a:lnTo>
                  <a:lnTo>
                    <a:pt x="641" y="165"/>
                  </a:lnTo>
                  <a:lnTo>
                    <a:pt x="645" y="161"/>
                  </a:lnTo>
                  <a:lnTo>
                    <a:pt x="644" y="160"/>
                  </a:lnTo>
                  <a:lnTo>
                    <a:pt x="643" y="157"/>
                  </a:lnTo>
                  <a:lnTo>
                    <a:pt x="645" y="154"/>
                  </a:lnTo>
                  <a:lnTo>
                    <a:pt x="648" y="150"/>
                  </a:lnTo>
                  <a:lnTo>
                    <a:pt x="650" y="148"/>
                  </a:lnTo>
                  <a:lnTo>
                    <a:pt x="652" y="150"/>
                  </a:lnTo>
                  <a:lnTo>
                    <a:pt x="654" y="149"/>
                  </a:lnTo>
                  <a:lnTo>
                    <a:pt x="655" y="149"/>
                  </a:lnTo>
                  <a:lnTo>
                    <a:pt x="656" y="148"/>
                  </a:lnTo>
                  <a:lnTo>
                    <a:pt x="659" y="148"/>
                  </a:lnTo>
                  <a:lnTo>
                    <a:pt x="661" y="147"/>
                  </a:lnTo>
                  <a:lnTo>
                    <a:pt x="660" y="150"/>
                  </a:lnTo>
                  <a:lnTo>
                    <a:pt x="659" y="153"/>
                  </a:lnTo>
                  <a:lnTo>
                    <a:pt x="660" y="154"/>
                  </a:lnTo>
                  <a:lnTo>
                    <a:pt x="660" y="155"/>
                  </a:lnTo>
                  <a:lnTo>
                    <a:pt x="661" y="154"/>
                  </a:lnTo>
                  <a:lnTo>
                    <a:pt x="661" y="156"/>
                  </a:lnTo>
                  <a:lnTo>
                    <a:pt x="662" y="157"/>
                  </a:lnTo>
                  <a:lnTo>
                    <a:pt x="665" y="156"/>
                  </a:lnTo>
                  <a:lnTo>
                    <a:pt x="662" y="153"/>
                  </a:lnTo>
                  <a:lnTo>
                    <a:pt x="664" y="148"/>
                  </a:lnTo>
                  <a:lnTo>
                    <a:pt x="666" y="149"/>
                  </a:lnTo>
                  <a:lnTo>
                    <a:pt x="670" y="147"/>
                  </a:lnTo>
                  <a:lnTo>
                    <a:pt x="671" y="148"/>
                  </a:lnTo>
                  <a:lnTo>
                    <a:pt x="673" y="150"/>
                  </a:lnTo>
                  <a:lnTo>
                    <a:pt x="676" y="151"/>
                  </a:lnTo>
                  <a:lnTo>
                    <a:pt x="676" y="155"/>
                  </a:lnTo>
                  <a:lnTo>
                    <a:pt x="672" y="157"/>
                  </a:lnTo>
                  <a:lnTo>
                    <a:pt x="672" y="154"/>
                  </a:lnTo>
                  <a:lnTo>
                    <a:pt x="668" y="156"/>
                  </a:lnTo>
                  <a:lnTo>
                    <a:pt x="660" y="162"/>
                  </a:lnTo>
                  <a:lnTo>
                    <a:pt x="662" y="165"/>
                  </a:lnTo>
                  <a:lnTo>
                    <a:pt x="665" y="163"/>
                  </a:lnTo>
                  <a:lnTo>
                    <a:pt x="664" y="167"/>
                  </a:lnTo>
                  <a:lnTo>
                    <a:pt x="670" y="169"/>
                  </a:lnTo>
                  <a:lnTo>
                    <a:pt x="671" y="172"/>
                  </a:lnTo>
                  <a:lnTo>
                    <a:pt x="672" y="173"/>
                  </a:lnTo>
                  <a:lnTo>
                    <a:pt x="673" y="172"/>
                  </a:lnTo>
                  <a:lnTo>
                    <a:pt x="676" y="173"/>
                  </a:lnTo>
                  <a:lnTo>
                    <a:pt x="678" y="171"/>
                  </a:lnTo>
                  <a:lnTo>
                    <a:pt x="676" y="177"/>
                  </a:lnTo>
                  <a:lnTo>
                    <a:pt x="674" y="179"/>
                  </a:lnTo>
                  <a:lnTo>
                    <a:pt x="674" y="183"/>
                  </a:lnTo>
                  <a:lnTo>
                    <a:pt x="674" y="184"/>
                  </a:lnTo>
                  <a:lnTo>
                    <a:pt x="677" y="184"/>
                  </a:lnTo>
                  <a:lnTo>
                    <a:pt x="679" y="184"/>
                  </a:lnTo>
                  <a:lnTo>
                    <a:pt x="682" y="183"/>
                  </a:lnTo>
                  <a:lnTo>
                    <a:pt x="684" y="178"/>
                  </a:lnTo>
                  <a:lnTo>
                    <a:pt x="685" y="175"/>
                  </a:lnTo>
                  <a:lnTo>
                    <a:pt x="683" y="173"/>
                  </a:lnTo>
                  <a:lnTo>
                    <a:pt x="684" y="169"/>
                  </a:lnTo>
                  <a:lnTo>
                    <a:pt x="685" y="167"/>
                  </a:lnTo>
                  <a:lnTo>
                    <a:pt x="688" y="165"/>
                  </a:lnTo>
                  <a:lnTo>
                    <a:pt x="689" y="163"/>
                  </a:lnTo>
                  <a:lnTo>
                    <a:pt x="691" y="163"/>
                  </a:lnTo>
                  <a:lnTo>
                    <a:pt x="694" y="163"/>
                  </a:lnTo>
                  <a:lnTo>
                    <a:pt x="695" y="166"/>
                  </a:lnTo>
                  <a:lnTo>
                    <a:pt x="697" y="166"/>
                  </a:lnTo>
                  <a:lnTo>
                    <a:pt x="697" y="167"/>
                  </a:lnTo>
                  <a:lnTo>
                    <a:pt x="697" y="171"/>
                  </a:lnTo>
                  <a:lnTo>
                    <a:pt x="698" y="172"/>
                  </a:lnTo>
                  <a:lnTo>
                    <a:pt x="697" y="173"/>
                  </a:lnTo>
                  <a:lnTo>
                    <a:pt x="694" y="174"/>
                  </a:lnTo>
                  <a:lnTo>
                    <a:pt x="696" y="177"/>
                  </a:lnTo>
                  <a:lnTo>
                    <a:pt x="694" y="178"/>
                  </a:lnTo>
                  <a:lnTo>
                    <a:pt x="694" y="180"/>
                  </a:lnTo>
                  <a:lnTo>
                    <a:pt x="695" y="183"/>
                  </a:lnTo>
                  <a:lnTo>
                    <a:pt x="696" y="183"/>
                  </a:lnTo>
                  <a:lnTo>
                    <a:pt x="697" y="183"/>
                  </a:lnTo>
                  <a:lnTo>
                    <a:pt x="697" y="181"/>
                  </a:lnTo>
                  <a:lnTo>
                    <a:pt x="698" y="180"/>
                  </a:lnTo>
                  <a:lnTo>
                    <a:pt x="701" y="180"/>
                  </a:lnTo>
                  <a:lnTo>
                    <a:pt x="701" y="183"/>
                  </a:lnTo>
                  <a:lnTo>
                    <a:pt x="702" y="180"/>
                  </a:lnTo>
                  <a:lnTo>
                    <a:pt x="706" y="179"/>
                  </a:lnTo>
                  <a:lnTo>
                    <a:pt x="708" y="177"/>
                  </a:lnTo>
                  <a:lnTo>
                    <a:pt x="711" y="175"/>
                  </a:lnTo>
                  <a:lnTo>
                    <a:pt x="712" y="174"/>
                  </a:lnTo>
                  <a:lnTo>
                    <a:pt x="712" y="173"/>
                  </a:lnTo>
                  <a:lnTo>
                    <a:pt x="711" y="173"/>
                  </a:lnTo>
                  <a:lnTo>
                    <a:pt x="709" y="172"/>
                  </a:lnTo>
                  <a:lnTo>
                    <a:pt x="713" y="169"/>
                  </a:lnTo>
                  <a:lnTo>
                    <a:pt x="714" y="169"/>
                  </a:lnTo>
                  <a:lnTo>
                    <a:pt x="714" y="173"/>
                  </a:lnTo>
                  <a:lnTo>
                    <a:pt x="717" y="172"/>
                  </a:lnTo>
                  <a:lnTo>
                    <a:pt x="715" y="169"/>
                  </a:lnTo>
                  <a:lnTo>
                    <a:pt x="709" y="165"/>
                  </a:lnTo>
                  <a:lnTo>
                    <a:pt x="706" y="166"/>
                  </a:lnTo>
                  <a:lnTo>
                    <a:pt x="701" y="165"/>
                  </a:lnTo>
                  <a:lnTo>
                    <a:pt x="701" y="162"/>
                  </a:lnTo>
                  <a:lnTo>
                    <a:pt x="702" y="162"/>
                  </a:lnTo>
                  <a:lnTo>
                    <a:pt x="704" y="162"/>
                  </a:lnTo>
                  <a:lnTo>
                    <a:pt x="704" y="161"/>
                  </a:lnTo>
                  <a:lnTo>
                    <a:pt x="706" y="161"/>
                  </a:lnTo>
                  <a:lnTo>
                    <a:pt x="707" y="159"/>
                  </a:lnTo>
                  <a:lnTo>
                    <a:pt x="708" y="160"/>
                  </a:lnTo>
                  <a:lnTo>
                    <a:pt x="709" y="159"/>
                  </a:lnTo>
                  <a:lnTo>
                    <a:pt x="711" y="161"/>
                  </a:lnTo>
                  <a:lnTo>
                    <a:pt x="713" y="166"/>
                  </a:lnTo>
                  <a:lnTo>
                    <a:pt x="718" y="169"/>
                  </a:lnTo>
                  <a:lnTo>
                    <a:pt x="719" y="169"/>
                  </a:lnTo>
                  <a:lnTo>
                    <a:pt x="721" y="168"/>
                  </a:lnTo>
                  <a:lnTo>
                    <a:pt x="721" y="167"/>
                  </a:lnTo>
                  <a:lnTo>
                    <a:pt x="723" y="165"/>
                  </a:lnTo>
                  <a:lnTo>
                    <a:pt x="725" y="165"/>
                  </a:lnTo>
                  <a:lnTo>
                    <a:pt x="726" y="167"/>
                  </a:lnTo>
                  <a:lnTo>
                    <a:pt x="727" y="168"/>
                  </a:lnTo>
                  <a:lnTo>
                    <a:pt x="730" y="171"/>
                  </a:lnTo>
                  <a:lnTo>
                    <a:pt x="730" y="169"/>
                  </a:lnTo>
                  <a:lnTo>
                    <a:pt x="732" y="168"/>
                  </a:lnTo>
                  <a:lnTo>
                    <a:pt x="733" y="166"/>
                  </a:lnTo>
                  <a:lnTo>
                    <a:pt x="736" y="167"/>
                  </a:lnTo>
                  <a:lnTo>
                    <a:pt x="737" y="168"/>
                  </a:lnTo>
                  <a:lnTo>
                    <a:pt x="737" y="161"/>
                  </a:lnTo>
                  <a:lnTo>
                    <a:pt x="729" y="160"/>
                  </a:lnTo>
                  <a:lnTo>
                    <a:pt x="720" y="159"/>
                  </a:lnTo>
                  <a:lnTo>
                    <a:pt x="720" y="156"/>
                  </a:lnTo>
                  <a:lnTo>
                    <a:pt x="723" y="155"/>
                  </a:lnTo>
                  <a:lnTo>
                    <a:pt x="725" y="154"/>
                  </a:lnTo>
                  <a:lnTo>
                    <a:pt x="726" y="154"/>
                  </a:lnTo>
                  <a:lnTo>
                    <a:pt x="726" y="153"/>
                  </a:lnTo>
                  <a:lnTo>
                    <a:pt x="730" y="151"/>
                  </a:lnTo>
                  <a:lnTo>
                    <a:pt x="732" y="151"/>
                  </a:lnTo>
                  <a:lnTo>
                    <a:pt x="733" y="149"/>
                  </a:lnTo>
                  <a:lnTo>
                    <a:pt x="735" y="151"/>
                  </a:lnTo>
                  <a:lnTo>
                    <a:pt x="736" y="150"/>
                  </a:lnTo>
                  <a:lnTo>
                    <a:pt x="736" y="151"/>
                  </a:lnTo>
                  <a:lnTo>
                    <a:pt x="736" y="156"/>
                  </a:lnTo>
                  <a:lnTo>
                    <a:pt x="738" y="161"/>
                  </a:lnTo>
                  <a:lnTo>
                    <a:pt x="741" y="163"/>
                  </a:lnTo>
                  <a:lnTo>
                    <a:pt x="743" y="162"/>
                  </a:lnTo>
                  <a:lnTo>
                    <a:pt x="747" y="159"/>
                  </a:lnTo>
                  <a:lnTo>
                    <a:pt x="748" y="156"/>
                  </a:lnTo>
                  <a:lnTo>
                    <a:pt x="749" y="153"/>
                  </a:lnTo>
                  <a:lnTo>
                    <a:pt x="753" y="151"/>
                  </a:lnTo>
                  <a:lnTo>
                    <a:pt x="754" y="153"/>
                  </a:lnTo>
                  <a:lnTo>
                    <a:pt x="754" y="154"/>
                  </a:lnTo>
                  <a:lnTo>
                    <a:pt x="754" y="156"/>
                  </a:lnTo>
                  <a:lnTo>
                    <a:pt x="756" y="156"/>
                  </a:lnTo>
                  <a:lnTo>
                    <a:pt x="757" y="154"/>
                  </a:lnTo>
                  <a:lnTo>
                    <a:pt x="760" y="154"/>
                  </a:lnTo>
                  <a:lnTo>
                    <a:pt x="762" y="154"/>
                  </a:lnTo>
                  <a:lnTo>
                    <a:pt x="761" y="156"/>
                  </a:lnTo>
                  <a:lnTo>
                    <a:pt x="762" y="159"/>
                  </a:lnTo>
                  <a:lnTo>
                    <a:pt x="766" y="160"/>
                  </a:lnTo>
                  <a:lnTo>
                    <a:pt x="762" y="161"/>
                  </a:lnTo>
                  <a:lnTo>
                    <a:pt x="759" y="161"/>
                  </a:lnTo>
                  <a:lnTo>
                    <a:pt x="756" y="162"/>
                  </a:lnTo>
                  <a:lnTo>
                    <a:pt x="754" y="162"/>
                  </a:lnTo>
                  <a:lnTo>
                    <a:pt x="755" y="163"/>
                  </a:lnTo>
                  <a:lnTo>
                    <a:pt x="751" y="163"/>
                  </a:lnTo>
                  <a:lnTo>
                    <a:pt x="754" y="167"/>
                  </a:lnTo>
                  <a:lnTo>
                    <a:pt x="756" y="172"/>
                  </a:lnTo>
                  <a:lnTo>
                    <a:pt x="759" y="171"/>
                  </a:lnTo>
                  <a:lnTo>
                    <a:pt x="760" y="172"/>
                  </a:lnTo>
                  <a:lnTo>
                    <a:pt x="762" y="171"/>
                  </a:lnTo>
                  <a:lnTo>
                    <a:pt x="766" y="171"/>
                  </a:lnTo>
                  <a:lnTo>
                    <a:pt x="762" y="168"/>
                  </a:lnTo>
                  <a:lnTo>
                    <a:pt x="761" y="163"/>
                  </a:lnTo>
                  <a:lnTo>
                    <a:pt x="763" y="165"/>
                  </a:lnTo>
                  <a:lnTo>
                    <a:pt x="766" y="162"/>
                  </a:lnTo>
                  <a:lnTo>
                    <a:pt x="768" y="160"/>
                  </a:lnTo>
                  <a:lnTo>
                    <a:pt x="770" y="156"/>
                  </a:lnTo>
                  <a:lnTo>
                    <a:pt x="771" y="154"/>
                  </a:lnTo>
                  <a:lnTo>
                    <a:pt x="772" y="154"/>
                  </a:lnTo>
                  <a:lnTo>
                    <a:pt x="776" y="154"/>
                  </a:lnTo>
                  <a:lnTo>
                    <a:pt x="777" y="153"/>
                  </a:lnTo>
                  <a:lnTo>
                    <a:pt x="776" y="153"/>
                  </a:lnTo>
                  <a:lnTo>
                    <a:pt x="776" y="150"/>
                  </a:lnTo>
                  <a:lnTo>
                    <a:pt x="776" y="147"/>
                  </a:lnTo>
                  <a:lnTo>
                    <a:pt x="774" y="147"/>
                  </a:lnTo>
                  <a:lnTo>
                    <a:pt x="776" y="144"/>
                  </a:lnTo>
                  <a:lnTo>
                    <a:pt x="778" y="143"/>
                  </a:lnTo>
                  <a:lnTo>
                    <a:pt x="776" y="142"/>
                  </a:lnTo>
                  <a:lnTo>
                    <a:pt x="778" y="141"/>
                  </a:lnTo>
                  <a:lnTo>
                    <a:pt x="780" y="141"/>
                  </a:lnTo>
                  <a:lnTo>
                    <a:pt x="779" y="138"/>
                  </a:lnTo>
                  <a:lnTo>
                    <a:pt x="780" y="135"/>
                  </a:lnTo>
                  <a:lnTo>
                    <a:pt x="783" y="132"/>
                  </a:lnTo>
                  <a:lnTo>
                    <a:pt x="785" y="133"/>
                  </a:lnTo>
                  <a:lnTo>
                    <a:pt x="789" y="133"/>
                  </a:lnTo>
                  <a:lnTo>
                    <a:pt x="789" y="130"/>
                  </a:lnTo>
                  <a:lnTo>
                    <a:pt x="786" y="129"/>
                  </a:lnTo>
                  <a:lnTo>
                    <a:pt x="782" y="130"/>
                  </a:lnTo>
                  <a:lnTo>
                    <a:pt x="784" y="127"/>
                  </a:lnTo>
                  <a:lnTo>
                    <a:pt x="786" y="125"/>
                  </a:lnTo>
                  <a:lnTo>
                    <a:pt x="790" y="127"/>
                  </a:lnTo>
                  <a:lnTo>
                    <a:pt x="792" y="127"/>
                  </a:lnTo>
                  <a:lnTo>
                    <a:pt x="794" y="130"/>
                  </a:lnTo>
                  <a:lnTo>
                    <a:pt x="797" y="131"/>
                  </a:lnTo>
                  <a:lnTo>
                    <a:pt x="797" y="132"/>
                  </a:lnTo>
                  <a:lnTo>
                    <a:pt x="803" y="127"/>
                  </a:lnTo>
                  <a:lnTo>
                    <a:pt x="803" y="126"/>
                  </a:lnTo>
                  <a:lnTo>
                    <a:pt x="803" y="124"/>
                  </a:lnTo>
                  <a:lnTo>
                    <a:pt x="806" y="121"/>
                  </a:lnTo>
                  <a:lnTo>
                    <a:pt x="807" y="120"/>
                  </a:lnTo>
                  <a:lnTo>
                    <a:pt x="809" y="120"/>
                  </a:lnTo>
                  <a:lnTo>
                    <a:pt x="808" y="125"/>
                  </a:lnTo>
                  <a:lnTo>
                    <a:pt x="810" y="124"/>
                  </a:lnTo>
                  <a:lnTo>
                    <a:pt x="813" y="120"/>
                  </a:lnTo>
                  <a:lnTo>
                    <a:pt x="815" y="121"/>
                  </a:lnTo>
                  <a:lnTo>
                    <a:pt x="816" y="123"/>
                  </a:lnTo>
                  <a:lnTo>
                    <a:pt x="820" y="123"/>
                  </a:lnTo>
                  <a:lnTo>
                    <a:pt x="821" y="124"/>
                  </a:lnTo>
                  <a:lnTo>
                    <a:pt x="816" y="126"/>
                  </a:lnTo>
                  <a:lnTo>
                    <a:pt x="810" y="129"/>
                  </a:lnTo>
                  <a:lnTo>
                    <a:pt x="813" y="132"/>
                  </a:lnTo>
                  <a:lnTo>
                    <a:pt x="815" y="130"/>
                  </a:lnTo>
                  <a:lnTo>
                    <a:pt x="821" y="125"/>
                  </a:lnTo>
                  <a:lnTo>
                    <a:pt x="822" y="126"/>
                  </a:lnTo>
                  <a:lnTo>
                    <a:pt x="818" y="131"/>
                  </a:lnTo>
                  <a:lnTo>
                    <a:pt x="820" y="135"/>
                  </a:lnTo>
                  <a:lnTo>
                    <a:pt x="816" y="136"/>
                  </a:lnTo>
                  <a:lnTo>
                    <a:pt x="815" y="137"/>
                  </a:lnTo>
                  <a:lnTo>
                    <a:pt x="818" y="139"/>
                  </a:lnTo>
                  <a:lnTo>
                    <a:pt x="820" y="139"/>
                  </a:lnTo>
                  <a:lnTo>
                    <a:pt x="824" y="142"/>
                  </a:lnTo>
                  <a:lnTo>
                    <a:pt x="825" y="141"/>
                  </a:lnTo>
                  <a:lnTo>
                    <a:pt x="826" y="142"/>
                  </a:lnTo>
                  <a:lnTo>
                    <a:pt x="830" y="143"/>
                  </a:lnTo>
                  <a:lnTo>
                    <a:pt x="831" y="144"/>
                  </a:lnTo>
                  <a:lnTo>
                    <a:pt x="831" y="145"/>
                  </a:lnTo>
                  <a:lnTo>
                    <a:pt x="832" y="145"/>
                  </a:lnTo>
                  <a:lnTo>
                    <a:pt x="832" y="149"/>
                  </a:lnTo>
                  <a:lnTo>
                    <a:pt x="827" y="149"/>
                  </a:lnTo>
                  <a:lnTo>
                    <a:pt x="830" y="151"/>
                  </a:lnTo>
                  <a:lnTo>
                    <a:pt x="831" y="154"/>
                  </a:lnTo>
                  <a:lnTo>
                    <a:pt x="832" y="155"/>
                  </a:lnTo>
                  <a:lnTo>
                    <a:pt x="836" y="153"/>
                  </a:lnTo>
                  <a:lnTo>
                    <a:pt x="836" y="155"/>
                  </a:lnTo>
                  <a:lnTo>
                    <a:pt x="837" y="161"/>
                  </a:lnTo>
                  <a:lnTo>
                    <a:pt x="838" y="162"/>
                  </a:lnTo>
                  <a:lnTo>
                    <a:pt x="837" y="165"/>
                  </a:lnTo>
                  <a:lnTo>
                    <a:pt x="837" y="168"/>
                  </a:lnTo>
                  <a:lnTo>
                    <a:pt x="835" y="173"/>
                  </a:lnTo>
                  <a:lnTo>
                    <a:pt x="833" y="165"/>
                  </a:lnTo>
                  <a:lnTo>
                    <a:pt x="832" y="157"/>
                  </a:lnTo>
                  <a:lnTo>
                    <a:pt x="827" y="156"/>
                  </a:lnTo>
                  <a:lnTo>
                    <a:pt x="821" y="154"/>
                  </a:lnTo>
                  <a:lnTo>
                    <a:pt x="821" y="156"/>
                  </a:lnTo>
                  <a:lnTo>
                    <a:pt x="822" y="161"/>
                  </a:lnTo>
                  <a:lnTo>
                    <a:pt x="821" y="165"/>
                  </a:lnTo>
                  <a:lnTo>
                    <a:pt x="820" y="167"/>
                  </a:lnTo>
                  <a:lnTo>
                    <a:pt x="816" y="169"/>
                  </a:lnTo>
                  <a:lnTo>
                    <a:pt x="813" y="169"/>
                  </a:lnTo>
                  <a:lnTo>
                    <a:pt x="812" y="168"/>
                  </a:lnTo>
                  <a:lnTo>
                    <a:pt x="808" y="169"/>
                  </a:lnTo>
                  <a:lnTo>
                    <a:pt x="802" y="172"/>
                  </a:lnTo>
                  <a:lnTo>
                    <a:pt x="796" y="172"/>
                  </a:lnTo>
                  <a:lnTo>
                    <a:pt x="794" y="172"/>
                  </a:lnTo>
                  <a:lnTo>
                    <a:pt x="792" y="174"/>
                  </a:lnTo>
                  <a:lnTo>
                    <a:pt x="792" y="175"/>
                  </a:lnTo>
                  <a:lnTo>
                    <a:pt x="792" y="177"/>
                  </a:lnTo>
                  <a:lnTo>
                    <a:pt x="797" y="174"/>
                  </a:lnTo>
                  <a:lnTo>
                    <a:pt x="796" y="177"/>
                  </a:lnTo>
                  <a:lnTo>
                    <a:pt x="800" y="175"/>
                  </a:lnTo>
                  <a:lnTo>
                    <a:pt x="804" y="172"/>
                  </a:lnTo>
                  <a:lnTo>
                    <a:pt x="813" y="173"/>
                  </a:lnTo>
                  <a:lnTo>
                    <a:pt x="818" y="173"/>
                  </a:lnTo>
                  <a:lnTo>
                    <a:pt x="821" y="173"/>
                  </a:lnTo>
                  <a:lnTo>
                    <a:pt x="824" y="177"/>
                  </a:lnTo>
                  <a:lnTo>
                    <a:pt x="820" y="177"/>
                  </a:lnTo>
                  <a:lnTo>
                    <a:pt x="818" y="178"/>
                  </a:lnTo>
                  <a:lnTo>
                    <a:pt x="819" y="179"/>
                  </a:lnTo>
                  <a:lnTo>
                    <a:pt x="816" y="179"/>
                  </a:lnTo>
                  <a:lnTo>
                    <a:pt x="814" y="183"/>
                  </a:lnTo>
                  <a:lnTo>
                    <a:pt x="814" y="184"/>
                  </a:lnTo>
                  <a:lnTo>
                    <a:pt x="810" y="183"/>
                  </a:lnTo>
                  <a:lnTo>
                    <a:pt x="813" y="187"/>
                  </a:lnTo>
                  <a:lnTo>
                    <a:pt x="816" y="190"/>
                  </a:lnTo>
                  <a:lnTo>
                    <a:pt x="816" y="191"/>
                  </a:lnTo>
                  <a:lnTo>
                    <a:pt x="815" y="195"/>
                  </a:lnTo>
                  <a:lnTo>
                    <a:pt x="814" y="196"/>
                  </a:lnTo>
                  <a:lnTo>
                    <a:pt x="813" y="192"/>
                  </a:lnTo>
                  <a:lnTo>
                    <a:pt x="812" y="193"/>
                  </a:lnTo>
                  <a:lnTo>
                    <a:pt x="810" y="193"/>
                  </a:lnTo>
                  <a:lnTo>
                    <a:pt x="807" y="190"/>
                  </a:lnTo>
                  <a:lnTo>
                    <a:pt x="806" y="184"/>
                  </a:lnTo>
                  <a:lnTo>
                    <a:pt x="806" y="181"/>
                  </a:lnTo>
                  <a:lnTo>
                    <a:pt x="803" y="179"/>
                  </a:lnTo>
                  <a:lnTo>
                    <a:pt x="800" y="179"/>
                  </a:lnTo>
                  <a:lnTo>
                    <a:pt x="798" y="183"/>
                  </a:lnTo>
                  <a:lnTo>
                    <a:pt x="797" y="186"/>
                  </a:lnTo>
                  <a:lnTo>
                    <a:pt x="795" y="189"/>
                  </a:lnTo>
                  <a:lnTo>
                    <a:pt x="789" y="196"/>
                  </a:lnTo>
                  <a:lnTo>
                    <a:pt x="789" y="192"/>
                  </a:lnTo>
                  <a:lnTo>
                    <a:pt x="789" y="189"/>
                  </a:lnTo>
                  <a:lnTo>
                    <a:pt x="786" y="192"/>
                  </a:lnTo>
                  <a:lnTo>
                    <a:pt x="779" y="199"/>
                  </a:lnTo>
                  <a:lnTo>
                    <a:pt x="780" y="195"/>
                  </a:lnTo>
                  <a:lnTo>
                    <a:pt x="782" y="192"/>
                  </a:lnTo>
                  <a:lnTo>
                    <a:pt x="782" y="190"/>
                  </a:lnTo>
                  <a:lnTo>
                    <a:pt x="777" y="190"/>
                  </a:lnTo>
                  <a:lnTo>
                    <a:pt x="774" y="193"/>
                  </a:lnTo>
                  <a:lnTo>
                    <a:pt x="774" y="197"/>
                  </a:lnTo>
                  <a:lnTo>
                    <a:pt x="773" y="199"/>
                  </a:lnTo>
                  <a:lnTo>
                    <a:pt x="771" y="203"/>
                  </a:lnTo>
                  <a:lnTo>
                    <a:pt x="770" y="205"/>
                  </a:lnTo>
                  <a:lnTo>
                    <a:pt x="767" y="208"/>
                  </a:lnTo>
                  <a:lnTo>
                    <a:pt x="768" y="208"/>
                  </a:lnTo>
                  <a:lnTo>
                    <a:pt x="771" y="207"/>
                  </a:lnTo>
                  <a:lnTo>
                    <a:pt x="772" y="208"/>
                  </a:lnTo>
                  <a:lnTo>
                    <a:pt x="774" y="205"/>
                  </a:lnTo>
                  <a:lnTo>
                    <a:pt x="774" y="210"/>
                  </a:lnTo>
                  <a:lnTo>
                    <a:pt x="771" y="215"/>
                  </a:lnTo>
                  <a:lnTo>
                    <a:pt x="770" y="219"/>
                  </a:lnTo>
                  <a:lnTo>
                    <a:pt x="772" y="219"/>
                  </a:lnTo>
                  <a:lnTo>
                    <a:pt x="770" y="221"/>
                  </a:lnTo>
                  <a:lnTo>
                    <a:pt x="770" y="225"/>
                  </a:lnTo>
                  <a:lnTo>
                    <a:pt x="772" y="224"/>
                  </a:lnTo>
                  <a:lnTo>
                    <a:pt x="777" y="224"/>
                  </a:lnTo>
                  <a:lnTo>
                    <a:pt x="779" y="222"/>
                  </a:lnTo>
                  <a:lnTo>
                    <a:pt x="784" y="224"/>
                  </a:lnTo>
                  <a:lnTo>
                    <a:pt x="786" y="225"/>
                  </a:lnTo>
                  <a:lnTo>
                    <a:pt x="785" y="226"/>
                  </a:lnTo>
                  <a:lnTo>
                    <a:pt x="786" y="227"/>
                  </a:lnTo>
                  <a:lnTo>
                    <a:pt x="784" y="228"/>
                  </a:lnTo>
                  <a:lnTo>
                    <a:pt x="784" y="231"/>
                  </a:lnTo>
                  <a:lnTo>
                    <a:pt x="783" y="232"/>
                  </a:lnTo>
                  <a:lnTo>
                    <a:pt x="782" y="237"/>
                  </a:lnTo>
                  <a:lnTo>
                    <a:pt x="779" y="233"/>
                  </a:lnTo>
                  <a:lnTo>
                    <a:pt x="776" y="232"/>
                  </a:lnTo>
                  <a:lnTo>
                    <a:pt x="774" y="231"/>
                  </a:lnTo>
                  <a:lnTo>
                    <a:pt x="773" y="230"/>
                  </a:lnTo>
                  <a:lnTo>
                    <a:pt x="772" y="228"/>
                  </a:lnTo>
                  <a:lnTo>
                    <a:pt x="770" y="230"/>
                  </a:lnTo>
                  <a:lnTo>
                    <a:pt x="767" y="232"/>
                  </a:lnTo>
                  <a:lnTo>
                    <a:pt x="772" y="232"/>
                  </a:lnTo>
                  <a:lnTo>
                    <a:pt x="767" y="233"/>
                  </a:lnTo>
                  <a:lnTo>
                    <a:pt x="767" y="236"/>
                  </a:lnTo>
                  <a:lnTo>
                    <a:pt x="771" y="237"/>
                  </a:lnTo>
                  <a:lnTo>
                    <a:pt x="776" y="237"/>
                  </a:lnTo>
                  <a:lnTo>
                    <a:pt x="779" y="236"/>
                  </a:lnTo>
                  <a:lnTo>
                    <a:pt x="780" y="238"/>
                  </a:lnTo>
                  <a:lnTo>
                    <a:pt x="782" y="238"/>
                  </a:lnTo>
                  <a:lnTo>
                    <a:pt x="780" y="239"/>
                  </a:lnTo>
                  <a:lnTo>
                    <a:pt x="782" y="240"/>
                  </a:lnTo>
                  <a:lnTo>
                    <a:pt x="782" y="243"/>
                  </a:lnTo>
                  <a:lnTo>
                    <a:pt x="780" y="243"/>
                  </a:lnTo>
                  <a:lnTo>
                    <a:pt x="783" y="245"/>
                  </a:lnTo>
                  <a:lnTo>
                    <a:pt x="780" y="248"/>
                  </a:lnTo>
                  <a:lnTo>
                    <a:pt x="778" y="244"/>
                  </a:lnTo>
                  <a:lnTo>
                    <a:pt x="774" y="239"/>
                  </a:lnTo>
                  <a:lnTo>
                    <a:pt x="773" y="240"/>
                  </a:lnTo>
                  <a:lnTo>
                    <a:pt x="774" y="244"/>
                  </a:lnTo>
                  <a:lnTo>
                    <a:pt x="772" y="245"/>
                  </a:lnTo>
                  <a:lnTo>
                    <a:pt x="772" y="248"/>
                  </a:lnTo>
                  <a:lnTo>
                    <a:pt x="772" y="254"/>
                  </a:lnTo>
                  <a:lnTo>
                    <a:pt x="771" y="248"/>
                  </a:lnTo>
                  <a:lnTo>
                    <a:pt x="770" y="250"/>
                  </a:lnTo>
                  <a:lnTo>
                    <a:pt x="768" y="246"/>
                  </a:lnTo>
                  <a:lnTo>
                    <a:pt x="768" y="242"/>
                  </a:lnTo>
                  <a:lnTo>
                    <a:pt x="767" y="242"/>
                  </a:lnTo>
                  <a:lnTo>
                    <a:pt x="763" y="239"/>
                  </a:lnTo>
                  <a:lnTo>
                    <a:pt x="765" y="243"/>
                  </a:lnTo>
                  <a:lnTo>
                    <a:pt x="763" y="251"/>
                  </a:lnTo>
                  <a:lnTo>
                    <a:pt x="761" y="250"/>
                  </a:lnTo>
                  <a:lnTo>
                    <a:pt x="760" y="248"/>
                  </a:lnTo>
                  <a:lnTo>
                    <a:pt x="759" y="243"/>
                  </a:lnTo>
                  <a:lnTo>
                    <a:pt x="759" y="244"/>
                  </a:lnTo>
                  <a:lnTo>
                    <a:pt x="757" y="252"/>
                  </a:lnTo>
                  <a:lnTo>
                    <a:pt x="762" y="256"/>
                  </a:lnTo>
                  <a:lnTo>
                    <a:pt x="762" y="261"/>
                  </a:lnTo>
                  <a:lnTo>
                    <a:pt x="761" y="263"/>
                  </a:lnTo>
                  <a:lnTo>
                    <a:pt x="761" y="264"/>
                  </a:lnTo>
                  <a:lnTo>
                    <a:pt x="759" y="264"/>
                  </a:lnTo>
                  <a:lnTo>
                    <a:pt x="759" y="267"/>
                  </a:lnTo>
                  <a:lnTo>
                    <a:pt x="757" y="268"/>
                  </a:lnTo>
                  <a:lnTo>
                    <a:pt x="757" y="273"/>
                  </a:lnTo>
                  <a:lnTo>
                    <a:pt x="755" y="270"/>
                  </a:lnTo>
                  <a:lnTo>
                    <a:pt x="754" y="268"/>
                  </a:lnTo>
                  <a:lnTo>
                    <a:pt x="754" y="267"/>
                  </a:lnTo>
                  <a:lnTo>
                    <a:pt x="753" y="264"/>
                  </a:lnTo>
                  <a:lnTo>
                    <a:pt x="751" y="262"/>
                  </a:lnTo>
                  <a:lnTo>
                    <a:pt x="750" y="262"/>
                  </a:lnTo>
                  <a:lnTo>
                    <a:pt x="750" y="258"/>
                  </a:lnTo>
                  <a:lnTo>
                    <a:pt x="753" y="255"/>
                  </a:lnTo>
                  <a:lnTo>
                    <a:pt x="756" y="252"/>
                  </a:lnTo>
                  <a:lnTo>
                    <a:pt x="757" y="248"/>
                  </a:lnTo>
                  <a:lnTo>
                    <a:pt x="755" y="250"/>
                  </a:lnTo>
                  <a:lnTo>
                    <a:pt x="753" y="251"/>
                  </a:lnTo>
                  <a:lnTo>
                    <a:pt x="754" y="246"/>
                  </a:lnTo>
                  <a:lnTo>
                    <a:pt x="750" y="249"/>
                  </a:lnTo>
                  <a:lnTo>
                    <a:pt x="748" y="250"/>
                  </a:lnTo>
                  <a:lnTo>
                    <a:pt x="745" y="252"/>
                  </a:lnTo>
                  <a:lnTo>
                    <a:pt x="745" y="249"/>
                  </a:lnTo>
                  <a:lnTo>
                    <a:pt x="744" y="250"/>
                  </a:lnTo>
                  <a:lnTo>
                    <a:pt x="739" y="249"/>
                  </a:lnTo>
                  <a:lnTo>
                    <a:pt x="737" y="249"/>
                  </a:lnTo>
                  <a:lnTo>
                    <a:pt x="741" y="251"/>
                  </a:lnTo>
                  <a:lnTo>
                    <a:pt x="738" y="255"/>
                  </a:lnTo>
                  <a:lnTo>
                    <a:pt x="736" y="256"/>
                  </a:lnTo>
                  <a:lnTo>
                    <a:pt x="733" y="258"/>
                  </a:lnTo>
                  <a:lnTo>
                    <a:pt x="733" y="263"/>
                  </a:lnTo>
                  <a:lnTo>
                    <a:pt x="736" y="263"/>
                  </a:lnTo>
                  <a:lnTo>
                    <a:pt x="738" y="266"/>
                  </a:lnTo>
                  <a:lnTo>
                    <a:pt x="737" y="269"/>
                  </a:lnTo>
                  <a:lnTo>
                    <a:pt x="738" y="268"/>
                  </a:lnTo>
                  <a:lnTo>
                    <a:pt x="739" y="272"/>
                  </a:lnTo>
                  <a:lnTo>
                    <a:pt x="741" y="274"/>
                  </a:lnTo>
                  <a:lnTo>
                    <a:pt x="744" y="276"/>
                  </a:lnTo>
                  <a:lnTo>
                    <a:pt x="748" y="275"/>
                  </a:lnTo>
                  <a:lnTo>
                    <a:pt x="744" y="273"/>
                  </a:lnTo>
                  <a:lnTo>
                    <a:pt x="742" y="270"/>
                  </a:lnTo>
                  <a:lnTo>
                    <a:pt x="748" y="269"/>
                  </a:lnTo>
                  <a:lnTo>
                    <a:pt x="751" y="270"/>
                  </a:lnTo>
                  <a:lnTo>
                    <a:pt x="751" y="274"/>
                  </a:lnTo>
                  <a:lnTo>
                    <a:pt x="754" y="274"/>
                  </a:lnTo>
                  <a:lnTo>
                    <a:pt x="756" y="275"/>
                  </a:lnTo>
                  <a:lnTo>
                    <a:pt x="760" y="274"/>
                  </a:lnTo>
                  <a:lnTo>
                    <a:pt x="763" y="272"/>
                  </a:lnTo>
                  <a:lnTo>
                    <a:pt x="767" y="270"/>
                  </a:lnTo>
                  <a:lnTo>
                    <a:pt x="770" y="269"/>
                  </a:lnTo>
                  <a:lnTo>
                    <a:pt x="770" y="272"/>
                  </a:lnTo>
                  <a:lnTo>
                    <a:pt x="770" y="275"/>
                  </a:lnTo>
                  <a:lnTo>
                    <a:pt x="772" y="275"/>
                  </a:lnTo>
                  <a:lnTo>
                    <a:pt x="772" y="274"/>
                  </a:lnTo>
                  <a:lnTo>
                    <a:pt x="771" y="273"/>
                  </a:lnTo>
                  <a:lnTo>
                    <a:pt x="772" y="272"/>
                  </a:lnTo>
                  <a:lnTo>
                    <a:pt x="776" y="272"/>
                  </a:lnTo>
                  <a:lnTo>
                    <a:pt x="778" y="270"/>
                  </a:lnTo>
                  <a:lnTo>
                    <a:pt x="780" y="272"/>
                  </a:lnTo>
                  <a:lnTo>
                    <a:pt x="779" y="273"/>
                  </a:lnTo>
                  <a:lnTo>
                    <a:pt x="782" y="272"/>
                  </a:lnTo>
                  <a:lnTo>
                    <a:pt x="778" y="266"/>
                  </a:lnTo>
                  <a:lnTo>
                    <a:pt x="773" y="266"/>
                  </a:lnTo>
                  <a:lnTo>
                    <a:pt x="770" y="268"/>
                  </a:lnTo>
                  <a:lnTo>
                    <a:pt x="770" y="266"/>
                  </a:lnTo>
                  <a:lnTo>
                    <a:pt x="767" y="264"/>
                  </a:lnTo>
                  <a:lnTo>
                    <a:pt x="766" y="262"/>
                  </a:lnTo>
                  <a:lnTo>
                    <a:pt x="772" y="261"/>
                  </a:lnTo>
                  <a:lnTo>
                    <a:pt x="778" y="262"/>
                  </a:lnTo>
                  <a:lnTo>
                    <a:pt x="782" y="262"/>
                  </a:lnTo>
                  <a:lnTo>
                    <a:pt x="780" y="262"/>
                  </a:lnTo>
                  <a:lnTo>
                    <a:pt x="779" y="264"/>
                  </a:lnTo>
                  <a:lnTo>
                    <a:pt x="782" y="269"/>
                  </a:lnTo>
                  <a:lnTo>
                    <a:pt x="784" y="269"/>
                  </a:lnTo>
                  <a:lnTo>
                    <a:pt x="786" y="269"/>
                  </a:lnTo>
                  <a:lnTo>
                    <a:pt x="786" y="267"/>
                  </a:lnTo>
                  <a:lnTo>
                    <a:pt x="788" y="266"/>
                  </a:lnTo>
                  <a:lnTo>
                    <a:pt x="790" y="264"/>
                  </a:lnTo>
                  <a:lnTo>
                    <a:pt x="790" y="263"/>
                  </a:lnTo>
                  <a:lnTo>
                    <a:pt x="791" y="263"/>
                  </a:lnTo>
                  <a:lnTo>
                    <a:pt x="792" y="266"/>
                  </a:lnTo>
                  <a:lnTo>
                    <a:pt x="795" y="267"/>
                  </a:lnTo>
                  <a:lnTo>
                    <a:pt x="794" y="270"/>
                  </a:lnTo>
                  <a:lnTo>
                    <a:pt x="791" y="273"/>
                  </a:lnTo>
                  <a:lnTo>
                    <a:pt x="794" y="273"/>
                  </a:lnTo>
                  <a:lnTo>
                    <a:pt x="796" y="272"/>
                  </a:lnTo>
                  <a:lnTo>
                    <a:pt x="800" y="269"/>
                  </a:lnTo>
                  <a:lnTo>
                    <a:pt x="803" y="267"/>
                  </a:lnTo>
                  <a:lnTo>
                    <a:pt x="807" y="266"/>
                  </a:lnTo>
                  <a:lnTo>
                    <a:pt x="801" y="274"/>
                  </a:lnTo>
                  <a:lnTo>
                    <a:pt x="797" y="278"/>
                  </a:lnTo>
                  <a:lnTo>
                    <a:pt x="796" y="287"/>
                  </a:lnTo>
                  <a:lnTo>
                    <a:pt x="797" y="288"/>
                  </a:lnTo>
                  <a:lnTo>
                    <a:pt x="798" y="282"/>
                  </a:lnTo>
                  <a:lnTo>
                    <a:pt x="802" y="280"/>
                  </a:lnTo>
                  <a:lnTo>
                    <a:pt x="803" y="278"/>
                  </a:lnTo>
                  <a:lnTo>
                    <a:pt x="804" y="274"/>
                  </a:lnTo>
                  <a:lnTo>
                    <a:pt x="807" y="276"/>
                  </a:lnTo>
                  <a:lnTo>
                    <a:pt x="809" y="278"/>
                  </a:lnTo>
                  <a:lnTo>
                    <a:pt x="809" y="279"/>
                  </a:lnTo>
                  <a:lnTo>
                    <a:pt x="810" y="280"/>
                  </a:lnTo>
                  <a:lnTo>
                    <a:pt x="810" y="281"/>
                  </a:lnTo>
                  <a:lnTo>
                    <a:pt x="810" y="284"/>
                  </a:lnTo>
                  <a:lnTo>
                    <a:pt x="808" y="287"/>
                  </a:lnTo>
                  <a:lnTo>
                    <a:pt x="808" y="290"/>
                  </a:lnTo>
                  <a:lnTo>
                    <a:pt x="810" y="287"/>
                  </a:lnTo>
                  <a:lnTo>
                    <a:pt x="814" y="287"/>
                  </a:lnTo>
                  <a:lnTo>
                    <a:pt x="819" y="287"/>
                  </a:lnTo>
                  <a:lnTo>
                    <a:pt x="821" y="287"/>
                  </a:lnTo>
                  <a:lnTo>
                    <a:pt x="825" y="286"/>
                  </a:lnTo>
                  <a:lnTo>
                    <a:pt x="825" y="288"/>
                  </a:lnTo>
                  <a:lnTo>
                    <a:pt x="827" y="288"/>
                  </a:lnTo>
                  <a:lnTo>
                    <a:pt x="824" y="292"/>
                  </a:lnTo>
                  <a:lnTo>
                    <a:pt x="819" y="293"/>
                  </a:lnTo>
                  <a:lnTo>
                    <a:pt x="814" y="293"/>
                  </a:lnTo>
                  <a:lnTo>
                    <a:pt x="809" y="293"/>
                  </a:lnTo>
                  <a:lnTo>
                    <a:pt x="809" y="297"/>
                  </a:lnTo>
                  <a:lnTo>
                    <a:pt x="812" y="296"/>
                  </a:lnTo>
                  <a:lnTo>
                    <a:pt x="815" y="294"/>
                  </a:lnTo>
                  <a:lnTo>
                    <a:pt x="816" y="296"/>
                  </a:lnTo>
                  <a:lnTo>
                    <a:pt x="819" y="296"/>
                  </a:lnTo>
                  <a:lnTo>
                    <a:pt x="822" y="294"/>
                  </a:lnTo>
                  <a:lnTo>
                    <a:pt x="825" y="297"/>
                  </a:lnTo>
                  <a:lnTo>
                    <a:pt x="826" y="297"/>
                  </a:lnTo>
                  <a:lnTo>
                    <a:pt x="829" y="298"/>
                  </a:lnTo>
                  <a:lnTo>
                    <a:pt x="829" y="296"/>
                  </a:lnTo>
                  <a:lnTo>
                    <a:pt x="829" y="290"/>
                  </a:lnTo>
                  <a:lnTo>
                    <a:pt x="832" y="287"/>
                  </a:lnTo>
                  <a:lnTo>
                    <a:pt x="833" y="284"/>
                  </a:lnTo>
                  <a:lnTo>
                    <a:pt x="831" y="284"/>
                  </a:lnTo>
                  <a:lnTo>
                    <a:pt x="829" y="282"/>
                  </a:lnTo>
                  <a:lnTo>
                    <a:pt x="831" y="281"/>
                  </a:lnTo>
                  <a:lnTo>
                    <a:pt x="832" y="275"/>
                  </a:lnTo>
                  <a:lnTo>
                    <a:pt x="836" y="276"/>
                  </a:lnTo>
                  <a:lnTo>
                    <a:pt x="839" y="273"/>
                  </a:lnTo>
                  <a:lnTo>
                    <a:pt x="839" y="275"/>
                  </a:lnTo>
                  <a:lnTo>
                    <a:pt x="839" y="279"/>
                  </a:lnTo>
                  <a:lnTo>
                    <a:pt x="839" y="280"/>
                  </a:lnTo>
                  <a:lnTo>
                    <a:pt x="841" y="284"/>
                  </a:lnTo>
                  <a:lnTo>
                    <a:pt x="842" y="287"/>
                  </a:lnTo>
                  <a:lnTo>
                    <a:pt x="844" y="290"/>
                  </a:lnTo>
                  <a:lnTo>
                    <a:pt x="845" y="291"/>
                  </a:lnTo>
                  <a:lnTo>
                    <a:pt x="845" y="292"/>
                  </a:lnTo>
                  <a:lnTo>
                    <a:pt x="848" y="293"/>
                  </a:lnTo>
                  <a:lnTo>
                    <a:pt x="851" y="296"/>
                  </a:lnTo>
                  <a:lnTo>
                    <a:pt x="853" y="296"/>
                  </a:lnTo>
                  <a:lnTo>
                    <a:pt x="853" y="293"/>
                  </a:lnTo>
                  <a:lnTo>
                    <a:pt x="855" y="292"/>
                  </a:lnTo>
                  <a:lnTo>
                    <a:pt x="860" y="292"/>
                  </a:lnTo>
                  <a:lnTo>
                    <a:pt x="856" y="296"/>
                  </a:lnTo>
                  <a:lnTo>
                    <a:pt x="855" y="297"/>
                  </a:lnTo>
                  <a:lnTo>
                    <a:pt x="857" y="297"/>
                  </a:lnTo>
                  <a:lnTo>
                    <a:pt x="860" y="298"/>
                  </a:lnTo>
                  <a:lnTo>
                    <a:pt x="862" y="299"/>
                  </a:lnTo>
                  <a:lnTo>
                    <a:pt x="861" y="303"/>
                  </a:lnTo>
                  <a:lnTo>
                    <a:pt x="859" y="306"/>
                  </a:lnTo>
                  <a:lnTo>
                    <a:pt x="859" y="309"/>
                  </a:lnTo>
                  <a:lnTo>
                    <a:pt x="854" y="305"/>
                  </a:lnTo>
                  <a:lnTo>
                    <a:pt x="850" y="308"/>
                  </a:lnTo>
                  <a:lnTo>
                    <a:pt x="849" y="311"/>
                  </a:lnTo>
                  <a:lnTo>
                    <a:pt x="851" y="311"/>
                  </a:lnTo>
                  <a:lnTo>
                    <a:pt x="850" y="314"/>
                  </a:lnTo>
                  <a:lnTo>
                    <a:pt x="848" y="319"/>
                  </a:lnTo>
                  <a:lnTo>
                    <a:pt x="845" y="321"/>
                  </a:lnTo>
                  <a:lnTo>
                    <a:pt x="844" y="320"/>
                  </a:lnTo>
                  <a:lnTo>
                    <a:pt x="844" y="325"/>
                  </a:lnTo>
                  <a:lnTo>
                    <a:pt x="847" y="328"/>
                  </a:lnTo>
                  <a:lnTo>
                    <a:pt x="850" y="327"/>
                  </a:lnTo>
                  <a:lnTo>
                    <a:pt x="855" y="325"/>
                  </a:lnTo>
                  <a:lnTo>
                    <a:pt x="859" y="323"/>
                  </a:lnTo>
                  <a:lnTo>
                    <a:pt x="863" y="322"/>
                  </a:lnTo>
                  <a:lnTo>
                    <a:pt x="857" y="326"/>
                  </a:lnTo>
                  <a:lnTo>
                    <a:pt x="854" y="329"/>
                  </a:lnTo>
                  <a:lnTo>
                    <a:pt x="855" y="331"/>
                  </a:lnTo>
                  <a:lnTo>
                    <a:pt x="855" y="332"/>
                  </a:lnTo>
                  <a:lnTo>
                    <a:pt x="857" y="333"/>
                  </a:lnTo>
                  <a:lnTo>
                    <a:pt x="862" y="332"/>
                  </a:lnTo>
                  <a:lnTo>
                    <a:pt x="868" y="333"/>
                  </a:lnTo>
                  <a:lnTo>
                    <a:pt x="869" y="331"/>
                  </a:lnTo>
                  <a:lnTo>
                    <a:pt x="872" y="327"/>
                  </a:lnTo>
                  <a:lnTo>
                    <a:pt x="874" y="325"/>
                  </a:lnTo>
                  <a:lnTo>
                    <a:pt x="878" y="321"/>
                  </a:lnTo>
                  <a:lnTo>
                    <a:pt x="883" y="321"/>
                  </a:lnTo>
                  <a:lnTo>
                    <a:pt x="881" y="321"/>
                  </a:lnTo>
                  <a:lnTo>
                    <a:pt x="883" y="322"/>
                  </a:lnTo>
                  <a:lnTo>
                    <a:pt x="886" y="322"/>
                  </a:lnTo>
                  <a:lnTo>
                    <a:pt x="886" y="323"/>
                  </a:lnTo>
                  <a:lnTo>
                    <a:pt x="884" y="325"/>
                  </a:lnTo>
                  <a:lnTo>
                    <a:pt x="879" y="326"/>
                  </a:lnTo>
                  <a:lnTo>
                    <a:pt x="878" y="328"/>
                  </a:lnTo>
                  <a:lnTo>
                    <a:pt x="878" y="331"/>
                  </a:lnTo>
                  <a:lnTo>
                    <a:pt x="879" y="333"/>
                  </a:lnTo>
                  <a:lnTo>
                    <a:pt x="881" y="334"/>
                  </a:lnTo>
                  <a:lnTo>
                    <a:pt x="884" y="338"/>
                  </a:lnTo>
                  <a:lnTo>
                    <a:pt x="883" y="340"/>
                  </a:lnTo>
                  <a:lnTo>
                    <a:pt x="885" y="343"/>
                  </a:lnTo>
                  <a:lnTo>
                    <a:pt x="885" y="346"/>
                  </a:lnTo>
                  <a:lnTo>
                    <a:pt x="884" y="347"/>
                  </a:lnTo>
                  <a:lnTo>
                    <a:pt x="883" y="352"/>
                  </a:lnTo>
                  <a:lnTo>
                    <a:pt x="883" y="356"/>
                  </a:lnTo>
                  <a:lnTo>
                    <a:pt x="885" y="357"/>
                  </a:lnTo>
                  <a:lnTo>
                    <a:pt x="886" y="356"/>
                  </a:lnTo>
                  <a:lnTo>
                    <a:pt x="889" y="352"/>
                  </a:lnTo>
                  <a:lnTo>
                    <a:pt x="892" y="350"/>
                  </a:lnTo>
                  <a:lnTo>
                    <a:pt x="889" y="350"/>
                  </a:lnTo>
                  <a:lnTo>
                    <a:pt x="888" y="350"/>
                  </a:lnTo>
                  <a:lnTo>
                    <a:pt x="888" y="349"/>
                  </a:lnTo>
                  <a:lnTo>
                    <a:pt x="889" y="347"/>
                  </a:lnTo>
                  <a:lnTo>
                    <a:pt x="894" y="345"/>
                  </a:lnTo>
                  <a:lnTo>
                    <a:pt x="897" y="345"/>
                  </a:lnTo>
                  <a:lnTo>
                    <a:pt x="898" y="341"/>
                  </a:lnTo>
                  <a:lnTo>
                    <a:pt x="898" y="337"/>
                  </a:lnTo>
                  <a:lnTo>
                    <a:pt x="903" y="333"/>
                  </a:lnTo>
                  <a:lnTo>
                    <a:pt x="901" y="340"/>
                  </a:lnTo>
                  <a:lnTo>
                    <a:pt x="902" y="343"/>
                  </a:lnTo>
                  <a:lnTo>
                    <a:pt x="904" y="341"/>
                  </a:lnTo>
                  <a:lnTo>
                    <a:pt x="902" y="345"/>
                  </a:lnTo>
                  <a:lnTo>
                    <a:pt x="901" y="350"/>
                  </a:lnTo>
                  <a:lnTo>
                    <a:pt x="902" y="352"/>
                  </a:lnTo>
                  <a:lnTo>
                    <a:pt x="902" y="353"/>
                  </a:lnTo>
                  <a:lnTo>
                    <a:pt x="902" y="356"/>
                  </a:lnTo>
                  <a:lnTo>
                    <a:pt x="904" y="362"/>
                  </a:lnTo>
                  <a:lnTo>
                    <a:pt x="901" y="365"/>
                  </a:lnTo>
                  <a:lnTo>
                    <a:pt x="897" y="365"/>
                  </a:lnTo>
                  <a:lnTo>
                    <a:pt x="891" y="364"/>
                  </a:lnTo>
                  <a:lnTo>
                    <a:pt x="886" y="364"/>
                  </a:lnTo>
                  <a:lnTo>
                    <a:pt x="879" y="367"/>
                  </a:lnTo>
                  <a:lnTo>
                    <a:pt x="877" y="370"/>
                  </a:lnTo>
                  <a:lnTo>
                    <a:pt x="880" y="369"/>
                  </a:lnTo>
                  <a:lnTo>
                    <a:pt x="886" y="370"/>
                  </a:lnTo>
                  <a:lnTo>
                    <a:pt x="886" y="374"/>
                  </a:lnTo>
                  <a:lnTo>
                    <a:pt x="889" y="374"/>
                  </a:lnTo>
                  <a:lnTo>
                    <a:pt x="891" y="375"/>
                  </a:lnTo>
                  <a:lnTo>
                    <a:pt x="895" y="376"/>
                  </a:lnTo>
                  <a:lnTo>
                    <a:pt x="898" y="377"/>
                  </a:lnTo>
                  <a:lnTo>
                    <a:pt x="902" y="377"/>
                  </a:lnTo>
                  <a:lnTo>
                    <a:pt x="904" y="376"/>
                  </a:lnTo>
                  <a:lnTo>
                    <a:pt x="906" y="379"/>
                  </a:lnTo>
                  <a:lnTo>
                    <a:pt x="906" y="381"/>
                  </a:lnTo>
                  <a:lnTo>
                    <a:pt x="904" y="382"/>
                  </a:lnTo>
                  <a:lnTo>
                    <a:pt x="901" y="383"/>
                  </a:lnTo>
                  <a:lnTo>
                    <a:pt x="906" y="387"/>
                  </a:lnTo>
                  <a:lnTo>
                    <a:pt x="902" y="387"/>
                  </a:lnTo>
                  <a:lnTo>
                    <a:pt x="902" y="388"/>
                  </a:lnTo>
                  <a:lnTo>
                    <a:pt x="901" y="392"/>
                  </a:lnTo>
                  <a:lnTo>
                    <a:pt x="900" y="393"/>
                  </a:lnTo>
                  <a:lnTo>
                    <a:pt x="897" y="392"/>
                  </a:lnTo>
                  <a:lnTo>
                    <a:pt x="898" y="397"/>
                  </a:lnTo>
                  <a:lnTo>
                    <a:pt x="896" y="395"/>
                  </a:lnTo>
                  <a:lnTo>
                    <a:pt x="894" y="399"/>
                  </a:lnTo>
                  <a:lnTo>
                    <a:pt x="891" y="398"/>
                  </a:lnTo>
                  <a:lnTo>
                    <a:pt x="891" y="399"/>
                  </a:lnTo>
                  <a:lnTo>
                    <a:pt x="889" y="401"/>
                  </a:lnTo>
                  <a:lnTo>
                    <a:pt x="888" y="401"/>
                  </a:lnTo>
                  <a:lnTo>
                    <a:pt x="884" y="399"/>
                  </a:lnTo>
                  <a:lnTo>
                    <a:pt x="883" y="400"/>
                  </a:lnTo>
                  <a:lnTo>
                    <a:pt x="881" y="397"/>
                  </a:lnTo>
                  <a:lnTo>
                    <a:pt x="880" y="399"/>
                  </a:lnTo>
                  <a:lnTo>
                    <a:pt x="881" y="401"/>
                  </a:lnTo>
                  <a:lnTo>
                    <a:pt x="885" y="401"/>
                  </a:lnTo>
                  <a:lnTo>
                    <a:pt x="889" y="405"/>
                  </a:lnTo>
                  <a:lnTo>
                    <a:pt x="891" y="412"/>
                  </a:lnTo>
                  <a:lnTo>
                    <a:pt x="890" y="415"/>
                  </a:lnTo>
                  <a:lnTo>
                    <a:pt x="888" y="410"/>
                  </a:lnTo>
                  <a:lnTo>
                    <a:pt x="885" y="406"/>
                  </a:lnTo>
                  <a:lnTo>
                    <a:pt x="883" y="409"/>
                  </a:lnTo>
                  <a:lnTo>
                    <a:pt x="881" y="410"/>
                  </a:lnTo>
                  <a:lnTo>
                    <a:pt x="880" y="407"/>
                  </a:lnTo>
                  <a:lnTo>
                    <a:pt x="879" y="407"/>
                  </a:lnTo>
                  <a:lnTo>
                    <a:pt x="879" y="405"/>
                  </a:lnTo>
                  <a:lnTo>
                    <a:pt x="879" y="403"/>
                  </a:lnTo>
                  <a:lnTo>
                    <a:pt x="875" y="405"/>
                  </a:lnTo>
                  <a:lnTo>
                    <a:pt x="873" y="407"/>
                  </a:lnTo>
                  <a:lnTo>
                    <a:pt x="872" y="406"/>
                  </a:lnTo>
                  <a:lnTo>
                    <a:pt x="869" y="409"/>
                  </a:lnTo>
                  <a:lnTo>
                    <a:pt x="868" y="411"/>
                  </a:lnTo>
                  <a:lnTo>
                    <a:pt x="866" y="405"/>
                  </a:lnTo>
                  <a:lnTo>
                    <a:pt x="866" y="400"/>
                  </a:lnTo>
                  <a:lnTo>
                    <a:pt x="863" y="401"/>
                  </a:lnTo>
                  <a:lnTo>
                    <a:pt x="862" y="399"/>
                  </a:lnTo>
                  <a:lnTo>
                    <a:pt x="863" y="393"/>
                  </a:lnTo>
                  <a:lnTo>
                    <a:pt x="863" y="389"/>
                  </a:lnTo>
                  <a:lnTo>
                    <a:pt x="860" y="391"/>
                  </a:lnTo>
                  <a:lnTo>
                    <a:pt x="854" y="395"/>
                  </a:lnTo>
                  <a:lnTo>
                    <a:pt x="847" y="400"/>
                  </a:lnTo>
                  <a:lnTo>
                    <a:pt x="847" y="403"/>
                  </a:lnTo>
                  <a:lnTo>
                    <a:pt x="848" y="403"/>
                  </a:lnTo>
                  <a:lnTo>
                    <a:pt x="848" y="405"/>
                  </a:lnTo>
                  <a:lnTo>
                    <a:pt x="847" y="407"/>
                  </a:lnTo>
                  <a:lnTo>
                    <a:pt x="851" y="413"/>
                  </a:lnTo>
                  <a:lnTo>
                    <a:pt x="854" y="415"/>
                  </a:lnTo>
                  <a:lnTo>
                    <a:pt x="862" y="423"/>
                  </a:lnTo>
                  <a:lnTo>
                    <a:pt x="865" y="421"/>
                  </a:lnTo>
                  <a:lnTo>
                    <a:pt x="866" y="418"/>
                  </a:lnTo>
                  <a:lnTo>
                    <a:pt x="867" y="415"/>
                  </a:lnTo>
                  <a:lnTo>
                    <a:pt x="869" y="415"/>
                  </a:lnTo>
                  <a:lnTo>
                    <a:pt x="871" y="416"/>
                  </a:lnTo>
                  <a:lnTo>
                    <a:pt x="871" y="419"/>
                  </a:lnTo>
                  <a:lnTo>
                    <a:pt x="877" y="422"/>
                  </a:lnTo>
                  <a:lnTo>
                    <a:pt x="875" y="428"/>
                  </a:lnTo>
                  <a:lnTo>
                    <a:pt x="877" y="433"/>
                  </a:lnTo>
                  <a:lnTo>
                    <a:pt x="886" y="433"/>
                  </a:lnTo>
                  <a:lnTo>
                    <a:pt x="886" y="429"/>
                  </a:lnTo>
                  <a:lnTo>
                    <a:pt x="884" y="429"/>
                  </a:lnTo>
                  <a:lnTo>
                    <a:pt x="888" y="424"/>
                  </a:lnTo>
                  <a:lnTo>
                    <a:pt x="894" y="423"/>
                  </a:lnTo>
                  <a:lnTo>
                    <a:pt x="896" y="419"/>
                  </a:lnTo>
                  <a:lnTo>
                    <a:pt x="898" y="421"/>
                  </a:lnTo>
                  <a:lnTo>
                    <a:pt x="897" y="425"/>
                  </a:lnTo>
                  <a:lnTo>
                    <a:pt x="892" y="429"/>
                  </a:lnTo>
                  <a:lnTo>
                    <a:pt x="889" y="433"/>
                  </a:lnTo>
                  <a:lnTo>
                    <a:pt x="888" y="434"/>
                  </a:lnTo>
                  <a:lnTo>
                    <a:pt x="878" y="435"/>
                  </a:lnTo>
                  <a:lnTo>
                    <a:pt x="877" y="438"/>
                  </a:lnTo>
                  <a:lnTo>
                    <a:pt x="874" y="438"/>
                  </a:lnTo>
                  <a:lnTo>
                    <a:pt x="874" y="441"/>
                  </a:lnTo>
                  <a:lnTo>
                    <a:pt x="878" y="441"/>
                  </a:lnTo>
                  <a:lnTo>
                    <a:pt x="875" y="447"/>
                  </a:lnTo>
                  <a:lnTo>
                    <a:pt x="874" y="448"/>
                  </a:lnTo>
                  <a:lnTo>
                    <a:pt x="872" y="445"/>
                  </a:lnTo>
                  <a:lnTo>
                    <a:pt x="871" y="440"/>
                  </a:lnTo>
                  <a:lnTo>
                    <a:pt x="871" y="436"/>
                  </a:lnTo>
                  <a:lnTo>
                    <a:pt x="868" y="439"/>
                  </a:lnTo>
                  <a:lnTo>
                    <a:pt x="868" y="442"/>
                  </a:lnTo>
                  <a:lnTo>
                    <a:pt x="863" y="445"/>
                  </a:lnTo>
                  <a:lnTo>
                    <a:pt x="862" y="442"/>
                  </a:lnTo>
                  <a:lnTo>
                    <a:pt x="861" y="436"/>
                  </a:lnTo>
                  <a:lnTo>
                    <a:pt x="859" y="440"/>
                  </a:lnTo>
                  <a:lnTo>
                    <a:pt x="856" y="445"/>
                  </a:lnTo>
                  <a:lnTo>
                    <a:pt x="854" y="447"/>
                  </a:lnTo>
                  <a:lnTo>
                    <a:pt x="853" y="444"/>
                  </a:lnTo>
                  <a:lnTo>
                    <a:pt x="851" y="440"/>
                  </a:lnTo>
                  <a:lnTo>
                    <a:pt x="853" y="435"/>
                  </a:lnTo>
                  <a:lnTo>
                    <a:pt x="850" y="434"/>
                  </a:lnTo>
                  <a:lnTo>
                    <a:pt x="848" y="435"/>
                  </a:lnTo>
                  <a:lnTo>
                    <a:pt x="843" y="436"/>
                  </a:lnTo>
                  <a:lnTo>
                    <a:pt x="844" y="433"/>
                  </a:lnTo>
                  <a:lnTo>
                    <a:pt x="845" y="428"/>
                  </a:lnTo>
                  <a:lnTo>
                    <a:pt x="842" y="428"/>
                  </a:lnTo>
                  <a:lnTo>
                    <a:pt x="843" y="424"/>
                  </a:lnTo>
                  <a:lnTo>
                    <a:pt x="843" y="422"/>
                  </a:lnTo>
                  <a:lnTo>
                    <a:pt x="842" y="419"/>
                  </a:lnTo>
                  <a:lnTo>
                    <a:pt x="841" y="419"/>
                  </a:lnTo>
                  <a:lnTo>
                    <a:pt x="838" y="423"/>
                  </a:lnTo>
                  <a:lnTo>
                    <a:pt x="837" y="422"/>
                  </a:lnTo>
                  <a:lnTo>
                    <a:pt x="838" y="417"/>
                  </a:lnTo>
                  <a:lnTo>
                    <a:pt x="835" y="418"/>
                  </a:lnTo>
                  <a:lnTo>
                    <a:pt x="833" y="422"/>
                  </a:lnTo>
                  <a:lnTo>
                    <a:pt x="833" y="424"/>
                  </a:lnTo>
                  <a:lnTo>
                    <a:pt x="835" y="428"/>
                  </a:lnTo>
                  <a:lnTo>
                    <a:pt x="835" y="432"/>
                  </a:lnTo>
                  <a:lnTo>
                    <a:pt x="833" y="433"/>
                  </a:lnTo>
                  <a:lnTo>
                    <a:pt x="836" y="435"/>
                  </a:lnTo>
                  <a:lnTo>
                    <a:pt x="836" y="441"/>
                  </a:lnTo>
                  <a:lnTo>
                    <a:pt x="835" y="442"/>
                  </a:lnTo>
                  <a:lnTo>
                    <a:pt x="835" y="444"/>
                  </a:lnTo>
                  <a:lnTo>
                    <a:pt x="838" y="446"/>
                  </a:lnTo>
                  <a:lnTo>
                    <a:pt x="837" y="446"/>
                  </a:lnTo>
                  <a:lnTo>
                    <a:pt x="836" y="447"/>
                  </a:lnTo>
                  <a:lnTo>
                    <a:pt x="842" y="451"/>
                  </a:lnTo>
                  <a:lnTo>
                    <a:pt x="842" y="452"/>
                  </a:lnTo>
                  <a:lnTo>
                    <a:pt x="843" y="452"/>
                  </a:lnTo>
                  <a:lnTo>
                    <a:pt x="845" y="447"/>
                  </a:lnTo>
                  <a:lnTo>
                    <a:pt x="849" y="446"/>
                  </a:lnTo>
                  <a:lnTo>
                    <a:pt x="851" y="451"/>
                  </a:lnTo>
                  <a:lnTo>
                    <a:pt x="855" y="452"/>
                  </a:lnTo>
                  <a:lnTo>
                    <a:pt x="851" y="454"/>
                  </a:lnTo>
                  <a:lnTo>
                    <a:pt x="856" y="456"/>
                  </a:lnTo>
                  <a:lnTo>
                    <a:pt x="855" y="458"/>
                  </a:lnTo>
                  <a:lnTo>
                    <a:pt x="851" y="459"/>
                  </a:lnTo>
                  <a:lnTo>
                    <a:pt x="844" y="456"/>
                  </a:lnTo>
                  <a:lnTo>
                    <a:pt x="841" y="457"/>
                  </a:lnTo>
                  <a:lnTo>
                    <a:pt x="839" y="456"/>
                  </a:lnTo>
                  <a:lnTo>
                    <a:pt x="835" y="454"/>
                  </a:lnTo>
                  <a:lnTo>
                    <a:pt x="830" y="457"/>
                  </a:lnTo>
                  <a:lnTo>
                    <a:pt x="825" y="462"/>
                  </a:lnTo>
                  <a:lnTo>
                    <a:pt x="824" y="457"/>
                  </a:lnTo>
                  <a:lnTo>
                    <a:pt x="820" y="462"/>
                  </a:lnTo>
                  <a:lnTo>
                    <a:pt x="820" y="456"/>
                  </a:lnTo>
                  <a:lnTo>
                    <a:pt x="814" y="453"/>
                  </a:lnTo>
                  <a:lnTo>
                    <a:pt x="814" y="457"/>
                  </a:lnTo>
                  <a:lnTo>
                    <a:pt x="815" y="459"/>
                  </a:lnTo>
                  <a:lnTo>
                    <a:pt x="813" y="459"/>
                  </a:lnTo>
                  <a:lnTo>
                    <a:pt x="812" y="460"/>
                  </a:lnTo>
                  <a:lnTo>
                    <a:pt x="812" y="463"/>
                  </a:lnTo>
                  <a:lnTo>
                    <a:pt x="814" y="465"/>
                  </a:lnTo>
                  <a:lnTo>
                    <a:pt x="812" y="466"/>
                  </a:lnTo>
                  <a:lnTo>
                    <a:pt x="810" y="469"/>
                  </a:lnTo>
                  <a:lnTo>
                    <a:pt x="809" y="465"/>
                  </a:lnTo>
                  <a:lnTo>
                    <a:pt x="808" y="460"/>
                  </a:lnTo>
                  <a:lnTo>
                    <a:pt x="807" y="463"/>
                  </a:lnTo>
                  <a:lnTo>
                    <a:pt x="807" y="459"/>
                  </a:lnTo>
                  <a:lnTo>
                    <a:pt x="804" y="460"/>
                  </a:lnTo>
                  <a:lnTo>
                    <a:pt x="803" y="463"/>
                  </a:lnTo>
                  <a:lnTo>
                    <a:pt x="802" y="462"/>
                  </a:lnTo>
                  <a:lnTo>
                    <a:pt x="801" y="462"/>
                  </a:lnTo>
                  <a:lnTo>
                    <a:pt x="798" y="459"/>
                  </a:lnTo>
                  <a:lnTo>
                    <a:pt x="796" y="459"/>
                  </a:lnTo>
                  <a:lnTo>
                    <a:pt x="796" y="457"/>
                  </a:lnTo>
                  <a:lnTo>
                    <a:pt x="794" y="456"/>
                  </a:lnTo>
                  <a:lnTo>
                    <a:pt x="791" y="459"/>
                  </a:lnTo>
                  <a:lnTo>
                    <a:pt x="788" y="463"/>
                  </a:lnTo>
                  <a:lnTo>
                    <a:pt x="785" y="466"/>
                  </a:lnTo>
                  <a:lnTo>
                    <a:pt x="785" y="469"/>
                  </a:lnTo>
                  <a:lnTo>
                    <a:pt x="784" y="464"/>
                  </a:lnTo>
                  <a:lnTo>
                    <a:pt x="780" y="463"/>
                  </a:lnTo>
                  <a:lnTo>
                    <a:pt x="777" y="464"/>
                  </a:lnTo>
                  <a:lnTo>
                    <a:pt x="774" y="465"/>
                  </a:lnTo>
                  <a:lnTo>
                    <a:pt x="774" y="463"/>
                  </a:lnTo>
                  <a:lnTo>
                    <a:pt x="768" y="464"/>
                  </a:lnTo>
                  <a:lnTo>
                    <a:pt x="766" y="466"/>
                  </a:lnTo>
                  <a:lnTo>
                    <a:pt x="765" y="471"/>
                  </a:lnTo>
                  <a:lnTo>
                    <a:pt x="763" y="470"/>
                  </a:lnTo>
                  <a:lnTo>
                    <a:pt x="762" y="466"/>
                  </a:lnTo>
                  <a:lnTo>
                    <a:pt x="761" y="469"/>
                  </a:lnTo>
                  <a:lnTo>
                    <a:pt x="760" y="471"/>
                  </a:lnTo>
                  <a:lnTo>
                    <a:pt x="760" y="474"/>
                  </a:lnTo>
                  <a:lnTo>
                    <a:pt x="762" y="474"/>
                  </a:lnTo>
                  <a:lnTo>
                    <a:pt x="760" y="477"/>
                  </a:lnTo>
                  <a:lnTo>
                    <a:pt x="762" y="478"/>
                  </a:lnTo>
                  <a:lnTo>
                    <a:pt x="763" y="480"/>
                  </a:lnTo>
                  <a:lnTo>
                    <a:pt x="766" y="480"/>
                  </a:lnTo>
                  <a:lnTo>
                    <a:pt x="767" y="478"/>
                  </a:lnTo>
                  <a:lnTo>
                    <a:pt x="770" y="480"/>
                  </a:lnTo>
                  <a:lnTo>
                    <a:pt x="771" y="477"/>
                  </a:lnTo>
                  <a:lnTo>
                    <a:pt x="771" y="472"/>
                  </a:lnTo>
                  <a:lnTo>
                    <a:pt x="774" y="475"/>
                  </a:lnTo>
                  <a:lnTo>
                    <a:pt x="777" y="478"/>
                  </a:lnTo>
                  <a:lnTo>
                    <a:pt x="780" y="478"/>
                  </a:lnTo>
                  <a:lnTo>
                    <a:pt x="782" y="482"/>
                  </a:lnTo>
                  <a:lnTo>
                    <a:pt x="779" y="482"/>
                  </a:lnTo>
                  <a:lnTo>
                    <a:pt x="778" y="482"/>
                  </a:lnTo>
                  <a:lnTo>
                    <a:pt x="778" y="483"/>
                  </a:lnTo>
                  <a:lnTo>
                    <a:pt x="780" y="487"/>
                  </a:lnTo>
                  <a:lnTo>
                    <a:pt x="778" y="486"/>
                  </a:lnTo>
                  <a:lnTo>
                    <a:pt x="776" y="486"/>
                  </a:lnTo>
                  <a:lnTo>
                    <a:pt x="774" y="487"/>
                  </a:lnTo>
                  <a:lnTo>
                    <a:pt x="777" y="489"/>
                  </a:lnTo>
                  <a:lnTo>
                    <a:pt x="779" y="490"/>
                  </a:lnTo>
                  <a:lnTo>
                    <a:pt x="782" y="489"/>
                  </a:lnTo>
                  <a:lnTo>
                    <a:pt x="783" y="487"/>
                  </a:lnTo>
                  <a:lnTo>
                    <a:pt x="784" y="490"/>
                  </a:lnTo>
                  <a:lnTo>
                    <a:pt x="783" y="494"/>
                  </a:lnTo>
                  <a:lnTo>
                    <a:pt x="780" y="494"/>
                  </a:lnTo>
                  <a:lnTo>
                    <a:pt x="778" y="495"/>
                  </a:lnTo>
                  <a:lnTo>
                    <a:pt x="779" y="496"/>
                  </a:lnTo>
                  <a:lnTo>
                    <a:pt x="783" y="496"/>
                  </a:lnTo>
                  <a:lnTo>
                    <a:pt x="785" y="498"/>
                  </a:lnTo>
                  <a:lnTo>
                    <a:pt x="789" y="499"/>
                  </a:lnTo>
                  <a:lnTo>
                    <a:pt x="790" y="500"/>
                  </a:lnTo>
                  <a:lnTo>
                    <a:pt x="790" y="501"/>
                  </a:lnTo>
                  <a:lnTo>
                    <a:pt x="790" y="506"/>
                  </a:lnTo>
                  <a:lnTo>
                    <a:pt x="792" y="508"/>
                  </a:lnTo>
                  <a:lnTo>
                    <a:pt x="795" y="508"/>
                  </a:lnTo>
                  <a:lnTo>
                    <a:pt x="797" y="508"/>
                  </a:lnTo>
                  <a:lnTo>
                    <a:pt x="800" y="510"/>
                  </a:lnTo>
                  <a:lnTo>
                    <a:pt x="801" y="508"/>
                  </a:lnTo>
                  <a:lnTo>
                    <a:pt x="801" y="505"/>
                  </a:lnTo>
                  <a:lnTo>
                    <a:pt x="803" y="502"/>
                  </a:lnTo>
                  <a:lnTo>
                    <a:pt x="804" y="501"/>
                  </a:lnTo>
                  <a:lnTo>
                    <a:pt x="809" y="501"/>
                  </a:lnTo>
                  <a:lnTo>
                    <a:pt x="807" y="505"/>
                  </a:lnTo>
                  <a:lnTo>
                    <a:pt x="806" y="506"/>
                  </a:lnTo>
                  <a:lnTo>
                    <a:pt x="807" y="506"/>
                  </a:lnTo>
                  <a:lnTo>
                    <a:pt x="808" y="506"/>
                  </a:lnTo>
                  <a:lnTo>
                    <a:pt x="807" y="510"/>
                  </a:lnTo>
                  <a:lnTo>
                    <a:pt x="809" y="514"/>
                  </a:lnTo>
                  <a:lnTo>
                    <a:pt x="810" y="518"/>
                  </a:lnTo>
                  <a:lnTo>
                    <a:pt x="810" y="519"/>
                  </a:lnTo>
                  <a:lnTo>
                    <a:pt x="812" y="516"/>
                  </a:lnTo>
                  <a:lnTo>
                    <a:pt x="814" y="519"/>
                  </a:lnTo>
                  <a:lnTo>
                    <a:pt x="814" y="525"/>
                  </a:lnTo>
                  <a:lnTo>
                    <a:pt x="813" y="530"/>
                  </a:lnTo>
                  <a:lnTo>
                    <a:pt x="816" y="530"/>
                  </a:lnTo>
                  <a:lnTo>
                    <a:pt x="819" y="528"/>
                  </a:lnTo>
                  <a:lnTo>
                    <a:pt x="821" y="528"/>
                  </a:lnTo>
                  <a:lnTo>
                    <a:pt x="824" y="530"/>
                  </a:lnTo>
                  <a:lnTo>
                    <a:pt x="827" y="530"/>
                  </a:lnTo>
                  <a:lnTo>
                    <a:pt x="825" y="529"/>
                  </a:lnTo>
                  <a:lnTo>
                    <a:pt x="827" y="528"/>
                  </a:lnTo>
                  <a:lnTo>
                    <a:pt x="829" y="526"/>
                  </a:lnTo>
                  <a:lnTo>
                    <a:pt x="830" y="525"/>
                  </a:lnTo>
                  <a:lnTo>
                    <a:pt x="832" y="526"/>
                  </a:lnTo>
                  <a:lnTo>
                    <a:pt x="833" y="529"/>
                  </a:lnTo>
                  <a:lnTo>
                    <a:pt x="832" y="530"/>
                  </a:lnTo>
                  <a:lnTo>
                    <a:pt x="832" y="531"/>
                  </a:lnTo>
                  <a:lnTo>
                    <a:pt x="836" y="532"/>
                  </a:lnTo>
                  <a:lnTo>
                    <a:pt x="842" y="537"/>
                  </a:lnTo>
                  <a:lnTo>
                    <a:pt x="839" y="537"/>
                  </a:lnTo>
                  <a:lnTo>
                    <a:pt x="838" y="540"/>
                  </a:lnTo>
                  <a:lnTo>
                    <a:pt x="841" y="542"/>
                  </a:lnTo>
                  <a:lnTo>
                    <a:pt x="842" y="542"/>
                  </a:lnTo>
                  <a:lnTo>
                    <a:pt x="842" y="551"/>
                  </a:lnTo>
                  <a:lnTo>
                    <a:pt x="839" y="555"/>
                  </a:lnTo>
                  <a:lnTo>
                    <a:pt x="836" y="554"/>
                  </a:lnTo>
                  <a:lnTo>
                    <a:pt x="836" y="557"/>
                  </a:lnTo>
                  <a:lnTo>
                    <a:pt x="833" y="561"/>
                  </a:lnTo>
                  <a:lnTo>
                    <a:pt x="830" y="564"/>
                  </a:lnTo>
                  <a:lnTo>
                    <a:pt x="825" y="564"/>
                  </a:lnTo>
                  <a:lnTo>
                    <a:pt x="824" y="567"/>
                  </a:lnTo>
                  <a:lnTo>
                    <a:pt x="821" y="567"/>
                  </a:lnTo>
                  <a:lnTo>
                    <a:pt x="819" y="569"/>
                  </a:lnTo>
                  <a:lnTo>
                    <a:pt x="824" y="572"/>
                  </a:lnTo>
                  <a:lnTo>
                    <a:pt x="827" y="575"/>
                  </a:lnTo>
                  <a:lnTo>
                    <a:pt x="833" y="575"/>
                  </a:lnTo>
                  <a:lnTo>
                    <a:pt x="841" y="575"/>
                  </a:lnTo>
                  <a:lnTo>
                    <a:pt x="843" y="577"/>
                  </a:lnTo>
                  <a:lnTo>
                    <a:pt x="847" y="581"/>
                  </a:lnTo>
                  <a:lnTo>
                    <a:pt x="848" y="587"/>
                  </a:lnTo>
                  <a:lnTo>
                    <a:pt x="844" y="584"/>
                  </a:lnTo>
                  <a:lnTo>
                    <a:pt x="841" y="582"/>
                  </a:lnTo>
                  <a:lnTo>
                    <a:pt x="836" y="581"/>
                  </a:lnTo>
                  <a:lnTo>
                    <a:pt x="835" y="579"/>
                  </a:lnTo>
                  <a:lnTo>
                    <a:pt x="835" y="577"/>
                  </a:lnTo>
                  <a:lnTo>
                    <a:pt x="829" y="576"/>
                  </a:lnTo>
                  <a:lnTo>
                    <a:pt x="822" y="573"/>
                  </a:lnTo>
                  <a:lnTo>
                    <a:pt x="821" y="573"/>
                  </a:lnTo>
                  <a:lnTo>
                    <a:pt x="820" y="576"/>
                  </a:lnTo>
                  <a:lnTo>
                    <a:pt x="820" y="578"/>
                  </a:lnTo>
                  <a:lnTo>
                    <a:pt x="819" y="579"/>
                  </a:lnTo>
                  <a:lnTo>
                    <a:pt x="818" y="582"/>
                  </a:lnTo>
                  <a:lnTo>
                    <a:pt x="815" y="585"/>
                  </a:lnTo>
                  <a:lnTo>
                    <a:pt x="813" y="585"/>
                  </a:lnTo>
                  <a:lnTo>
                    <a:pt x="810" y="588"/>
                  </a:lnTo>
                  <a:lnTo>
                    <a:pt x="809" y="589"/>
                  </a:lnTo>
                  <a:lnTo>
                    <a:pt x="810" y="582"/>
                  </a:lnTo>
                  <a:lnTo>
                    <a:pt x="810" y="578"/>
                  </a:lnTo>
                  <a:lnTo>
                    <a:pt x="812" y="573"/>
                  </a:lnTo>
                  <a:lnTo>
                    <a:pt x="816" y="572"/>
                  </a:lnTo>
                  <a:lnTo>
                    <a:pt x="816" y="569"/>
                  </a:lnTo>
                  <a:lnTo>
                    <a:pt x="813" y="569"/>
                  </a:lnTo>
                  <a:lnTo>
                    <a:pt x="812" y="570"/>
                  </a:lnTo>
                  <a:lnTo>
                    <a:pt x="810" y="573"/>
                  </a:lnTo>
                  <a:lnTo>
                    <a:pt x="809" y="576"/>
                  </a:lnTo>
                  <a:lnTo>
                    <a:pt x="807" y="578"/>
                  </a:lnTo>
                  <a:lnTo>
                    <a:pt x="808" y="572"/>
                  </a:lnTo>
                  <a:lnTo>
                    <a:pt x="809" y="569"/>
                  </a:lnTo>
                  <a:lnTo>
                    <a:pt x="808" y="567"/>
                  </a:lnTo>
                  <a:lnTo>
                    <a:pt x="806" y="569"/>
                  </a:lnTo>
                  <a:lnTo>
                    <a:pt x="806" y="571"/>
                  </a:lnTo>
                  <a:lnTo>
                    <a:pt x="803" y="573"/>
                  </a:lnTo>
                  <a:lnTo>
                    <a:pt x="802" y="573"/>
                  </a:lnTo>
                  <a:lnTo>
                    <a:pt x="801" y="570"/>
                  </a:lnTo>
                  <a:lnTo>
                    <a:pt x="800" y="567"/>
                  </a:lnTo>
                  <a:lnTo>
                    <a:pt x="798" y="566"/>
                  </a:lnTo>
                  <a:lnTo>
                    <a:pt x="796" y="565"/>
                  </a:lnTo>
                  <a:lnTo>
                    <a:pt x="795" y="565"/>
                  </a:lnTo>
                  <a:lnTo>
                    <a:pt x="791" y="563"/>
                  </a:lnTo>
                  <a:lnTo>
                    <a:pt x="792" y="560"/>
                  </a:lnTo>
                  <a:lnTo>
                    <a:pt x="789" y="561"/>
                  </a:lnTo>
                  <a:lnTo>
                    <a:pt x="786" y="564"/>
                  </a:lnTo>
                  <a:lnTo>
                    <a:pt x="786" y="560"/>
                  </a:lnTo>
                  <a:lnTo>
                    <a:pt x="788" y="557"/>
                  </a:lnTo>
                  <a:lnTo>
                    <a:pt x="786" y="555"/>
                  </a:lnTo>
                  <a:lnTo>
                    <a:pt x="783" y="555"/>
                  </a:lnTo>
                  <a:lnTo>
                    <a:pt x="780" y="554"/>
                  </a:lnTo>
                  <a:lnTo>
                    <a:pt x="780" y="551"/>
                  </a:lnTo>
                  <a:lnTo>
                    <a:pt x="778" y="551"/>
                  </a:lnTo>
                  <a:lnTo>
                    <a:pt x="776" y="552"/>
                  </a:lnTo>
                  <a:lnTo>
                    <a:pt x="774" y="551"/>
                  </a:lnTo>
                  <a:lnTo>
                    <a:pt x="774" y="549"/>
                  </a:lnTo>
                  <a:lnTo>
                    <a:pt x="779" y="548"/>
                  </a:lnTo>
                  <a:lnTo>
                    <a:pt x="780" y="548"/>
                  </a:lnTo>
                  <a:lnTo>
                    <a:pt x="779" y="547"/>
                  </a:lnTo>
                  <a:lnTo>
                    <a:pt x="776" y="545"/>
                  </a:lnTo>
                  <a:lnTo>
                    <a:pt x="778" y="542"/>
                  </a:lnTo>
                  <a:lnTo>
                    <a:pt x="776" y="543"/>
                  </a:lnTo>
                  <a:lnTo>
                    <a:pt x="773" y="542"/>
                  </a:lnTo>
                  <a:lnTo>
                    <a:pt x="772" y="539"/>
                  </a:lnTo>
                  <a:lnTo>
                    <a:pt x="767" y="539"/>
                  </a:lnTo>
                  <a:lnTo>
                    <a:pt x="768" y="546"/>
                  </a:lnTo>
                  <a:lnTo>
                    <a:pt x="770" y="559"/>
                  </a:lnTo>
                  <a:lnTo>
                    <a:pt x="771" y="560"/>
                  </a:lnTo>
                  <a:lnTo>
                    <a:pt x="771" y="564"/>
                  </a:lnTo>
                  <a:lnTo>
                    <a:pt x="771" y="569"/>
                  </a:lnTo>
                  <a:lnTo>
                    <a:pt x="770" y="566"/>
                  </a:lnTo>
                  <a:lnTo>
                    <a:pt x="768" y="561"/>
                  </a:lnTo>
                  <a:lnTo>
                    <a:pt x="767" y="554"/>
                  </a:lnTo>
                  <a:lnTo>
                    <a:pt x="765" y="557"/>
                  </a:lnTo>
                  <a:lnTo>
                    <a:pt x="761" y="563"/>
                  </a:lnTo>
                  <a:lnTo>
                    <a:pt x="761" y="566"/>
                  </a:lnTo>
                  <a:lnTo>
                    <a:pt x="762" y="569"/>
                  </a:lnTo>
                  <a:lnTo>
                    <a:pt x="762" y="571"/>
                  </a:lnTo>
                  <a:lnTo>
                    <a:pt x="760" y="576"/>
                  </a:lnTo>
                  <a:lnTo>
                    <a:pt x="753" y="581"/>
                  </a:lnTo>
                  <a:lnTo>
                    <a:pt x="751" y="584"/>
                  </a:lnTo>
                  <a:lnTo>
                    <a:pt x="759" y="593"/>
                  </a:lnTo>
                  <a:lnTo>
                    <a:pt x="763" y="595"/>
                  </a:lnTo>
                  <a:lnTo>
                    <a:pt x="763" y="593"/>
                  </a:lnTo>
                  <a:lnTo>
                    <a:pt x="768" y="594"/>
                  </a:lnTo>
                  <a:lnTo>
                    <a:pt x="771" y="596"/>
                  </a:lnTo>
                  <a:lnTo>
                    <a:pt x="770" y="597"/>
                  </a:lnTo>
                  <a:lnTo>
                    <a:pt x="771" y="599"/>
                  </a:lnTo>
                  <a:lnTo>
                    <a:pt x="773" y="597"/>
                  </a:lnTo>
                  <a:lnTo>
                    <a:pt x="776" y="597"/>
                  </a:lnTo>
                  <a:lnTo>
                    <a:pt x="777" y="595"/>
                  </a:lnTo>
                  <a:lnTo>
                    <a:pt x="778" y="590"/>
                  </a:lnTo>
                  <a:lnTo>
                    <a:pt x="780" y="588"/>
                  </a:lnTo>
                  <a:lnTo>
                    <a:pt x="783" y="589"/>
                  </a:lnTo>
                  <a:lnTo>
                    <a:pt x="785" y="591"/>
                  </a:lnTo>
                  <a:lnTo>
                    <a:pt x="780" y="599"/>
                  </a:lnTo>
                  <a:lnTo>
                    <a:pt x="782" y="602"/>
                  </a:lnTo>
                  <a:lnTo>
                    <a:pt x="784" y="599"/>
                  </a:lnTo>
                  <a:lnTo>
                    <a:pt x="785" y="599"/>
                  </a:lnTo>
                  <a:lnTo>
                    <a:pt x="786" y="602"/>
                  </a:lnTo>
                  <a:lnTo>
                    <a:pt x="788" y="600"/>
                  </a:lnTo>
                  <a:lnTo>
                    <a:pt x="791" y="600"/>
                  </a:lnTo>
                  <a:lnTo>
                    <a:pt x="790" y="603"/>
                  </a:lnTo>
                  <a:lnTo>
                    <a:pt x="784" y="605"/>
                  </a:lnTo>
                  <a:lnTo>
                    <a:pt x="783" y="607"/>
                  </a:lnTo>
                  <a:lnTo>
                    <a:pt x="786" y="609"/>
                  </a:lnTo>
                  <a:lnTo>
                    <a:pt x="789" y="611"/>
                  </a:lnTo>
                  <a:lnTo>
                    <a:pt x="790" y="615"/>
                  </a:lnTo>
                  <a:lnTo>
                    <a:pt x="788" y="619"/>
                  </a:lnTo>
                  <a:lnTo>
                    <a:pt x="786" y="617"/>
                  </a:lnTo>
                  <a:lnTo>
                    <a:pt x="786" y="620"/>
                  </a:lnTo>
                  <a:lnTo>
                    <a:pt x="784" y="625"/>
                  </a:lnTo>
                  <a:lnTo>
                    <a:pt x="782" y="623"/>
                  </a:lnTo>
                  <a:lnTo>
                    <a:pt x="779" y="621"/>
                  </a:lnTo>
                  <a:lnTo>
                    <a:pt x="778" y="620"/>
                  </a:lnTo>
                  <a:lnTo>
                    <a:pt x="780" y="614"/>
                  </a:lnTo>
                  <a:lnTo>
                    <a:pt x="780" y="609"/>
                  </a:lnTo>
                  <a:lnTo>
                    <a:pt x="779" y="611"/>
                  </a:lnTo>
                  <a:lnTo>
                    <a:pt x="776" y="613"/>
                  </a:lnTo>
                  <a:lnTo>
                    <a:pt x="774" y="612"/>
                  </a:lnTo>
                  <a:lnTo>
                    <a:pt x="774" y="606"/>
                  </a:lnTo>
                  <a:lnTo>
                    <a:pt x="772" y="607"/>
                  </a:lnTo>
                  <a:lnTo>
                    <a:pt x="768" y="606"/>
                  </a:lnTo>
                  <a:lnTo>
                    <a:pt x="768" y="601"/>
                  </a:lnTo>
                  <a:lnTo>
                    <a:pt x="767" y="599"/>
                  </a:lnTo>
                  <a:lnTo>
                    <a:pt x="767" y="601"/>
                  </a:lnTo>
                  <a:lnTo>
                    <a:pt x="767" y="603"/>
                  </a:lnTo>
                  <a:lnTo>
                    <a:pt x="760" y="602"/>
                  </a:lnTo>
                  <a:lnTo>
                    <a:pt x="761" y="600"/>
                  </a:lnTo>
                  <a:lnTo>
                    <a:pt x="763" y="599"/>
                  </a:lnTo>
                  <a:lnTo>
                    <a:pt x="763" y="597"/>
                  </a:lnTo>
                  <a:lnTo>
                    <a:pt x="762" y="596"/>
                  </a:lnTo>
                  <a:lnTo>
                    <a:pt x="757" y="593"/>
                  </a:lnTo>
                  <a:lnTo>
                    <a:pt x="751" y="588"/>
                  </a:lnTo>
                  <a:lnTo>
                    <a:pt x="751" y="591"/>
                  </a:lnTo>
                  <a:lnTo>
                    <a:pt x="753" y="595"/>
                  </a:lnTo>
                  <a:lnTo>
                    <a:pt x="754" y="600"/>
                  </a:lnTo>
                  <a:lnTo>
                    <a:pt x="756" y="603"/>
                  </a:lnTo>
                  <a:lnTo>
                    <a:pt x="756" y="605"/>
                  </a:lnTo>
                  <a:lnTo>
                    <a:pt x="754" y="612"/>
                  </a:lnTo>
                  <a:lnTo>
                    <a:pt x="751" y="615"/>
                  </a:lnTo>
                  <a:lnTo>
                    <a:pt x="750" y="620"/>
                  </a:lnTo>
                  <a:lnTo>
                    <a:pt x="748" y="624"/>
                  </a:lnTo>
                  <a:lnTo>
                    <a:pt x="749" y="626"/>
                  </a:lnTo>
                  <a:lnTo>
                    <a:pt x="750" y="629"/>
                  </a:lnTo>
                  <a:lnTo>
                    <a:pt x="753" y="630"/>
                  </a:lnTo>
                  <a:lnTo>
                    <a:pt x="755" y="626"/>
                  </a:lnTo>
                  <a:lnTo>
                    <a:pt x="757" y="624"/>
                  </a:lnTo>
                  <a:lnTo>
                    <a:pt x="760" y="624"/>
                  </a:lnTo>
                  <a:lnTo>
                    <a:pt x="761" y="625"/>
                  </a:lnTo>
                  <a:lnTo>
                    <a:pt x="761" y="630"/>
                  </a:lnTo>
                  <a:lnTo>
                    <a:pt x="765" y="629"/>
                  </a:lnTo>
                  <a:lnTo>
                    <a:pt x="766" y="629"/>
                  </a:lnTo>
                  <a:lnTo>
                    <a:pt x="770" y="631"/>
                  </a:lnTo>
                  <a:lnTo>
                    <a:pt x="772" y="633"/>
                  </a:lnTo>
                  <a:lnTo>
                    <a:pt x="774" y="632"/>
                  </a:lnTo>
                  <a:lnTo>
                    <a:pt x="776" y="630"/>
                  </a:lnTo>
                  <a:lnTo>
                    <a:pt x="780" y="627"/>
                  </a:lnTo>
                  <a:lnTo>
                    <a:pt x="784" y="630"/>
                  </a:lnTo>
                  <a:lnTo>
                    <a:pt x="778" y="630"/>
                  </a:lnTo>
                  <a:lnTo>
                    <a:pt x="777" y="633"/>
                  </a:lnTo>
                  <a:lnTo>
                    <a:pt x="776" y="636"/>
                  </a:lnTo>
                  <a:lnTo>
                    <a:pt x="778" y="637"/>
                  </a:lnTo>
                  <a:lnTo>
                    <a:pt x="783" y="637"/>
                  </a:lnTo>
                  <a:lnTo>
                    <a:pt x="786" y="636"/>
                  </a:lnTo>
                  <a:lnTo>
                    <a:pt x="789" y="635"/>
                  </a:lnTo>
                  <a:lnTo>
                    <a:pt x="791" y="635"/>
                  </a:lnTo>
                  <a:lnTo>
                    <a:pt x="795" y="633"/>
                  </a:lnTo>
                  <a:lnTo>
                    <a:pt x="795" y="631"/>
                  </a:lnTo>
                  <a:lnTo>
                    <a:pt x="796" y="635"/>
                  </a:lnTo>
                  <a:lnTo>
                    <a:pt x="797" y="638"/>
                  </a:lnTo>
                  <a:lnTo>
                    <a:pt x="794" y="644"/>
                  </a:lnTo>
                  <a:lnTo>
                    <a:pt x="795" y="647"/>
                  </a:lnTo>
                  <a:lnTo>
                    <a:pt x="796" y="647"/>
                  </a:lnTo>
                  <a:lnTo>
                    <a:pt x="797" y="649"/>
                  </a:lnTo>
                  <a:lnTo>
                    <a:pt x="795" y="658"/>
                  </a:lnTo>
                  <a:lnTo>
                    <a:pt x="792" y="664"/>
                  </a:lnTo>
                  <a:lnTo>
                    <a:pt x="790" y="665"/>
                  </a:lnTo>
                  <a:lnTo>
                    <a:pt x="789" y="670"/>
                  </a:lnTo>
                  <a:lnTo>
                    <a:pt x="788" y="672"/>
                  </a:lnTo>
                  <a:lnTo>
                    <a:pt x="791" y="673"/>
                  </a:lnTo>
                  <a:lnTo>
                    <a:pt x="791" y="682"/>
                  </a:lnTo>
                  <a:lnTo>
                    <a:pt x="790" y="684"/>
                  </a:lnTo>
                  <a:lnTo>
                    <a:pt x="788" y="683"/>
                  </a:lnTo>
                  <a:lnTo>
                    <a:pt x="785" y="684"/>
                  </a:lnTo>
                  <a:lnTo>
                    <a:pt x="785" y="685"/>
                  </a:lnTo>
                  <a:lnTo>
                    <a:pt x="786" y="689"/>
                  </a:lnTo>
                  <a:lnTo>
                    <a:pt x="785" y="691"/>
                  </a:lnTo>
                  <a:lnTo>
                    <a:pt x="784" y="690"/>
                  </a:lnTo>
                  <a:lnTo>
                    <a:pt x="784" y="689"/>
                  </a:lnTo>
                  <a:lnTo>
                    <a:pt x="784" y="692"/>
                  </a:lnTo>
                  <a:lnTo>
                    <a:pt x="786" y="694"/>
                  </a:lnTo>
                  <a:lnTo>
                    <a:pt x="788" y="695"/>
                  </a:lnTo>
                  <a:lnTo>
                    <a:pt x="788" y="690"/>
                  </a:lnTo>
                  <a:lnTo>
                    <a:pt x="788" y="688"/>
                  </a:lnTo>
                  <a:lnTo>
                    <a:pt x="791" y="688"/>
                  </a:lnTo>
                  <a:lnTo>
                    <a:pt x="792" y="691"/>
                  </a:lnTo>
                  <a:lnTo>
                    <a:pt x="794" y="694"/>
                  </a:lnTo>
                  <a:lnTo>
                    <a:pt x="792" y="696"/>
                  </a:lnTo>
                  <a:lnTo>
                    <a:pt x="792" y="698"/>
                  </a:lnTo>
                  <a:lnTo>
                    <a:pt x="795" y="700"/>
                  </a:lnTo>
                  <a:lnTo>
                    <a:pt x="796" y="702"/>
                  </a:lnTo>
                  <a:lnTo>
                    <a:pt x="798" y="703"/>
                  </a:lnTo>
                  <a:lnTo>
                    <a:pt x="798" y="704"/>
                  </a:lnTo>
                  <a:lnTo>
                    <a:pt x="798" y="706"/>
                  </a:lnTo>
                  <a:lnTo>
                    <a:pt x="798" y="708"/>
                  </a:lnTo>
                  <a:lnTo>
                    <a:pt x="800" y="709"/>
                  </a:lnTo>
                  <a:lnTo>
                    <a:pt x="802" y="710"/>
                  </a:lnTo>
                  <a:lnTo>
                    <a:pt x="803" y="710"/>
                  </a:lnTo>
                  <a:lnTo>
                    <a:pt x="806" y="710"/>
                  </a:lnTo>
                  <a:lnTo>
                    <a:pt x="807" y="712"/>
                  </a:lnTo>
                  <a:lnTo>
                    <a:pt x="812" y="716"/>
                  </a:lnTo>
                  <a:lnTo>
                    <a:pt x="807" y="716"/>
                  </a:lnTo>
                  <a:lnTo>
                    <a:pt x="804" y="716"/>
                  </a:lnTo>
                  <a:lnTo>
                    <a:pt x="803" y="716"/>
                  </a:lnTo>
                  <a:lnTo>
                    <a:pt x="808" y="720"/>
                  </a:lnTo>
                  <a:lnTo>
                    <a:pt x="810" y="721"/>
                  </a:lnTo>
                  <a:lnTo>
                    <a:pt x="812" y="722"/>
                  </a:lnTo>
                  <a:lnTo>
                    <a:pt x="810" y="728"/>
                  </a:lnTo>
                  <a:lnTo>
                    <a:pt x="806" y="725"/>
                  </a:lnTo>
                  <a:lnTo>
                    <a:pt x="803" y="721"/>
                  </a:lnTo>
                  <a:lnTo>
                    <a:pt x="802" y="722"/>
                  </a:lnTo>
                  <a:lnTo>
                    <a:pt x="800" y="722"/>
                  </a:lnTo>
                  <a:lnTo>
                    <a:pt x="798" y="725"/>
                  </a:lnTo>
                  <a:lnTo>
                    <a:pt x="795" y="730"/>
                  </a:lnTo>
                  <a:lnTo>
                    <a:pt x="790" y="731"/>
                  </a:lnTo>
                  <a:lnTo>
                    <a:pt x="788" y="733"/>
                  </a:lnTo>
                  <a:lnTo>
                    <a:pt x="789" y="727"/>
                  </a:lnTo>
                  <a:lnTo>
                    <a:pt x="788" y="726"/>
                  </a:lnTo>
                  <a:lnTo>
                    <a:pt x="790" y="721"/>
                  </a:lnTo>
                  <a:lnTo>
                    <a:pt x="791" y="720"/>
                  </a:lnTo>
                  <a:lnTo>
                    <a:pt x="791" y="718"/>
                  </a:lnTo>
                  <a:lnTo>
                    <a:pt x="790" y="715"/>
                  </a:lnTo>
                  <a:lnTo>
                    <a:pt x="789" y="719"/>
                  </a:lnTo>
                  <a:lnTo>
                    <a:pt x="786" y="719"/>
                  </a:lnTo>
                  <a:lnTo>
                    <a:pt x="784" y="713"/>
                  </a:lnTo>
                  <a:lnTo>
                    <a:pt x="782" y="710"/>
                  </a:lnTo>
                  <a:lnTo>
                    <a:pt x="783" y="713"/>
                  </a:lnTo>
                  <a:lnTo>
                    <a:pt x="783" y="716"/>
                  </a:lnTo>
                  <a:lnTo>
                    <a:pt x="779" y="718"/>
                  </a:lnTo>
                  <a:lnTo>
                    <a:pt x="779" y="722"/>
                  </a:lnTo>
                  <a:lnTo>
                    <a:pt x="779" y="725"/>
                  </a:lnTo>
                  <a:lnTo>
                    <a:pt x="777" y="722"/>
                  </a:lnTo>
                  <a:lnTo>
                    <a:pt x="778" y="725"/>
                  </a:lnTo>
                  <a:lnTo>
                    <a:pt x="780" y="728"/>
                  </a:lnTo>
                  <a:lnTo>
                    <a:pt x="777" y="726"/>
                  </a:lnTo>
                  <a:lnTo>
                    <a:pt x="776" y="728"/>
                  </a:lnTo>
                  <a:lnTo>
                    <a:pt x="774" y="730"/>
                  </a:lnTo>
                  <a:lnTo>
                    <a:pt x="772" y="733"/>
                  </a:lnTo>
                  <a:lnTo>
                    <a:pt x="770" y="737"/>
                  </a:lnTo>
                  <a:lnTo>
                    <a:pt x="766" y="740"/>
                  </a:lnTo>
                  <a:lnTo>
                    <a:pt x="765" y="737"/>
                  </a:lnTo>
                  <a:lnTo>
                    <a:pt x="765" y="733"/>
                  </a:lnTo>
                  <a:lnTo>
                    <a:pt x="763" y="738"/>
                  </a:lnTo>
                  <a:lnTo>
                    <a:pt x="762" y="740"/>
                  </a:lnTo>
                  <a:lnTo>
                    <a:pt x="760" y="736"/>
                  </a:lnTo>
                  <a:lnTo>
                    <a:pt x="759" y="736"/>
                  </a:lnTo>
                  <a:lnTo>
                    <a:pt x="760" y="740"/>
                  </a:lnTo>
                  <a:lnTo>
                    <a:pt x="760" y="744"/>
                  </a:lnTo>
                  <a:lnTo>
                    <a:pt x="757" y="742"/>
                  </a:lnTo>
                  <a:lnTo>
                    <a:pt x="754" y="744"/>
                  </a:lnTo>
                  <a:lnTo>
                    <a:pt x="754" y="746"/>
                  </a:lnTo>
                  <a:lnTo>
                    <a:pt x="751" y="745"/>
                  </a:lnTo>
                  <a:lnTo>
                    <a:pt x="750" y="746"/>
                  </a:lnTo>
                  <a:lnTo>
                    <a:pt x="748" y="748"/>
                  </a:lnTo>
                  <a:lnTo>
                    <a:pt x="747" y="746"/>
                  </a:lnTo>
                  <a:lnTo>
                    <a:pt x="745" y="748"/>
                  </a:lnTo>
                  <a:lnTo>
                    <a:pt x="744" y="748"/>
                  </a:lnTo>
                  <a:lnTo>
                    <a:pt x="743" y="744"/>
                  </a:lnTo>
                  <a:lnTo>
                    <a:pt x="743" y="740"/>
                  </a:lnTo>
                  <a:lnTo>
                    <a:pt x="743" y="737"/>
                  </a:lnTo>
                  <a:lnTo>
                    <a:pt x="739" y="736"/>
                  </a:lnTo>
                  <a:lnTo>
                    <a:pt x="739" y="739"/>
                  </a:lnTo>
                  <a:lnTo>
                    <a:pt x="738" y="743"/>
                  </a:lnTo>
                  <a:lnTo>
                    <a:pt x="738" y="748"/>
                  </a:lnTo>
                  <a:lnTo>
                    <a:pt x="742" y="753"/>
                  </a:lnTo>
                  <a:lnTo>
                    <a:pt x="743" y="757"/>
                  </a:lnTo>
                  <a:lnTo>
                    <a:pt x="745" y="760"/>
                  </a:lnTo>
                  <a:lnTo>
                    <a:pt x="742" y="761"/>
                  </a:lnTo>
                  <a:lnTo>
                    <a:pt x="739" y="757"/>
                  </a:lnTo>
                  <a:lnTo>
                    <a:pt x="736" y="757"/>
                  </a:lnTo>
                  <a:lnTo>
                    <a:pt x="735" y="757"/>
                  </a:lnTo>
                  <a:lnTo>
                    <a:pt x="735" y="759"/>
                  </a:lnTo>
                  <a:lnTo>
                    <a:pt x="736" y="763"/>
                  </a:lnTo>
                  <a:lnTo>
                    <a:pt x="733" y="767"/>
                  </a:lnTo>
                  <a:lnTo>
                    <a:pt x="733" y="769"/>
                  </a:lnTo>
                  <a:lnTo>
                    <a:pt x="732" y="768"/>
                  </a:lnTo>
                  <a:lnTo>
                    <a:pt x="729" y="771"/>
                  </a:lnTo>
                  <a:lnTo>
                    <a:pt x="726" y="774"/>
                  </a:lnTo>
                  <a:lnTo>
                    <a:pt x="726" y="779"/>
                  </a:lnTo>
                  <a:lnTo>
                    <a:pt x="729" y="786"/>
                  </a:lnTo>
                  <a:lnTo>
                    <a:pt x="731" y="792"/>
                  </a:lnTo>
                  <a:lnTo>
                    <a:pt x="730" y="795"/>
                  </a:lnTo>
                  <a:lnTo>
                    <a:pt x="729" y="797"/>
                  </a:lnTo>
                  <a:lnTo>
                    <a:pt x="726" y="801"/>
                  </a:lnTo>
                  <a:lnTo>
                    <a:pt x="723" y="805"/>
                  </a:lnTo>
                  <a:lnTo>
                    <a:pt x="719" y="810"/>
                  </a:lnTo>
                  <a:lnTo>
                    <a:pt x="718" y="814"/>
                  </a:lnTo>
                  <a:lnTo>
                    <a:pt x="717" y="809"/>
                  </a:lnTo>
                  <a:lnTo>
                    <a:pt x="715" y="804"/>
                  </a:lnTo>
                  <a:lnTo>
                    <a:pt x="714" y="802"/>
                  </a:lnTo>
                  <a:lnTo>
                    <a:pt x="714" y="799"/>
                  </a:lnTo>
                  <a:lnTo>
                    <a:pt x="712" y="801"/>
                  </a:lnTo>
                  <a:lnTo>
                    <a:pt x="708" y="802"/>
                  </a:lnTo>
                  <a:lnTo>
                    <a:pt x="708" y="798"/>
                  </a:lnTo>
                  <a:lnTo>
                    <a:pt x="706" y="798"/>
                  </a:lnTo>
                  <a:lnTo>
                    <a:pt x="703" y="802"/>
                  </a:lnTo>
                  <a:lnTo>
                    <a:pt x="703" y="807"/>
                  </a:lnTo>
                  <a:lnTo>
                    <a:pt x="702" y="801"/>
                  </a:lnTo>
                  <a:lnTo>
                    <a:pt x="701" y="797"/>
                  </a:lnTo>
                  <a:lnTo>
                    <a:pt x="702" y="792"/>
                  </a:lnTo>
                  <a:lnTo>
                    <a:pt x="704" y="791"/>
                  </a:lnTo>
                  <a:lnTo>
                    <a:pt x="707" y="793"/>
                  </a:lnTo>
                  <a:lnTo>
                    <a:pt x="709" y="792"/>
                  </a:lnTo>
                  <a:lnTo>
                    <a:pt x="712" y="786"/>
                  </a:lnTo>
                  <a:lnTo>
                    <a:pt x="712" y="780"/>
                  </a:lnTo>
                  <a:lnTo>
                    <a:pt x="712" y="777"/>
                  </a:lnTo>
                  <a:lnTo>
                    <a:pt x="709" y="775"/>
                  </a:lnTo>
                  <a:lnTo>
                    <a:pt x="706" y="774"/>
                  </a:lnTo>
                  <a:lnTo>
                    <a:pt x="702" y="778"/>
                  </a:lnTo>
                  <a:lnTo>
                    <a:pt x="702" y="774"/>
                  </a:lnTo>
                  <a:lnTo>
                    <a:pt x="704" y="772"/>
                  </a:lnTo>
                  <a:lnTo>
                    <a:pt x="700" y="774"/>
                  </a:lnTo>
                  <a:lnTo>
                    <a:pt x="697" y="775"/>
                  </a:lnTo>
                  <a:lnTo>
                    <a:pt x="697" y="778"/>
                  </a:lnTo>
                  <a:lnTo>
                    <a:pt x="694" y="785"/>
                  </a:lnTo>
                  <a:lnTo>
                    <a:pt x="691" y="786"/>
                  </a:lnTo>
                  <a:lnTo>
                    <a:pt x="686" y="786"/>
                  </a:lnTo>
                  <a:lnTo>
                    <a:pt x="686" y="784"/>
                  </a:lnTo>
                  <a:lnTo>
                    <a:pt x="686" y="783"/>
                  </a:lnTo>
                  <a:lnTo>
                    <a:pt x="683" y="785"/>
                  </a:lnTo>
                  <a:lnTo>
                    <a:pt x="682" y="789"/>
                  </a:lnTo>
                  <a:lnTo>
                    <a:pt x="680" y="791"/>
                  </a:lnTo>
                  <a:lnTo>
                    <a:pt x="680" y="795"/>
                  </a:lnTo>
                  <a:lnTo>
                    <a:pt x="679" y="798"/>
                  </a:lnTo>
                  <a:lnTo>
                    <a:pt x="677" y="802"/>
                  </a:lnTo>
                  <a:lnTo>
                    <a:pt x="674" y="804"/>
                  </a:lnTo>
                  <a:lnTo>
                    <a:pt x="673" y="807"/>
                  </a:lnTo>
                  <a:lnTo>
                    <a:pt x="672" y="810"/>
                  </a:lnTo>
                  <a:lnTo>
                    <a:pt x="671" y="810"/>
                  </a:lnTo>
                  <a:lnTo>
                    <a:pt x="670" y="813"/>
                  </a:lnTo>
                  <a:lnTo>
                    <a:pt x="667" y="816"/>
                  </a:lnTo>
                  <a:lnTo>
                    <a:pt x="666" y="820"/>
                  </a:lnTo>
                  <a:lnTo>
                    <a:pt x="666" y="814"/>
                  </a:lnTo>
                  <a:lnTo>
                    <a:pt x="664" y="816"/>
                  </a:lnTo>
                  <a:lnTo>
                    <a:pt x="660" y="816"/>
                  </a:lnTo>
                  <a:lnTo>
                    <a:pt x="658" y="817"/>
                  </a:lnTo>
                  <a:lnTo>
                    <a:pt x="658" y="814"/>
                  </a:lnTo>
                  <a:lnTo>
                    <a:pt x="660" y="810"/>
                  </a:lnTo>
                  <a:lnTo>
                    <a:pt x="659" y="807"/>
                  </a:lnTo>
                  <a:lnTo>
                    <a:pt x="658" y="805"/>
                  </a:lnTo>
                  <a:lnTo>
                    <a:pt x="661" y="804"/>
                  </a:lnTo>
                  <a:lnTo>
                    <a:pt x="659" y="803"/>
                  </a:lnTo>
                  <a:lnTo>
                    <a:pt x="661" y="802"/>
                  </a:lnTo>
                  <a:lnTo>
                    <a:pt x="662" y="799"/>
                  </a:lnTo>
                  <a:lnTo>
                    <a:pt x="660" y="799"/>
                  </a:lnTo>
                  <a:lnTo>
                    <a:pt x="661" y="796"/>
                  </a:lnTo>
                  <a:lnTo>
                    <a:pt x="664" y="792"/>
                  </a:lnTo>
                  <a:lnTo>
                    <a:pt x="661" y="787"/>
                  </a:lnTo>
                  <a:lnTo>
                    <a:pt x="660" y="775"/>
                  </a:lnTo>
                  <a:lnTo>
                    <a:pt x="662" y="757"/>
                  </a:lnTo>
                  <a:lnTo>
                    <a:pt x="661" y="740"/>
                  </a:lnTo>
                  <a:lnTo>
                    <a:pt x="658" y="746"/>
                  </a:lnTo>
                  <a:lnTo>
                    <a:pt x="654" y="756"/>
                  </a:lnTo>
                  <a:lnTo>
                    <a:pt x="656" y="759"/>
                  </a:lnTo>
                  <a:lnTo>
                    <a:pt x="653" y="756"/>
                  </a:lnTo>
                  <a:lnTo>
                    <a:pt x="643" y="759"/>
                  </a:lnTo>
                  <a:lnTo>
                    <a:pt x="653" y="756"/>
                  </a:lnTo>
                  <a:lnTo>
                    <a:pt x="659" y="742"/>
                  </a:lnTo>
                  <a:lnTo>
                    <a:pt x="654" y="743"/>
                  </a:lnTo>
                  <a:lnTo>
                    <a:pt x="649" y="743"/>
                  </a:lnTo>
                  <a:lnTo>
                    <a:pt x="645" y="740"/>
                  </a:lnTo>
                  <a:lnTo>
                    <a:pt x="643" y="743"/>
                  </a:lnTo>
                  <a:lnTo>
                    <a:pt x="639" y="744"/>
                  </a:lnTo>
                  <a:lnTo>
                    <a:pt x="636" y="743"/>
                  </a:lnTo>
                  <a:lnTo>
                    <a:pt x="633" y="739"/>
                  </a:lnTo>
                  <a:lnTo>
                    <a:pt x="635" y="738"/>
                  </a:lnTo>
                  <a:lnTo>
                    <a:pt x="637" y="734"/>
                  </a:lnTo>
                  <a:lnTo>
                    <a:pt x="635" y="733"/>
                  </a:lnTo>
                  <a:lnTo>
                    <a:pt x="632" y="736"/>
                  </a:lnTo>
                  <a:lnTo>
                    <a:pt x="630" y="737"/>
                  </a:lnTo>
                  <a:lnTo>
                    <a:pt x="627" y="737"/>
                  </a:lnTo>
                  <a:lnTo>
                    <a:pt x="625" y="736"/>
                  </a:lnTo>
                  <a:lnTo>
                    <a:pt x="620" y="738"/>
                  </a:lnTo>
                  <a:lnTo>
                    <a:pt x="621" y="744"/>
                  </a:lnTo>
                  <a:lnTo>
                    <a:pt x="621" y="749"/>
                  </a:lnTo>
                  <a:lnTo>
                    <a:pt x="624" y="751"/>
                  </a:lnTo>
                  <a:lnTo>
                    <a:pt x="625" y="753"/>
                  </a:lnTo>
                  <a:lnTo>
                    <a:pt x="623" y="754"/>
                  </a:lnTo>
                  <a:lnTo>
                    <a:pt x="623" y="757"/>
                  </a:lnTo>
                  <a:lnTo>
                    <a:pt x="624" y="763"/>
                  </a:lnTo>
                  <a:lnTo>
                    <a:pt x="626" y="769"/>
                  </a:lnTo>
                  <a:lnTo>
                    <a:pt x="623" y="761"/>
                  </a:lnTo>
                  <a:lnTo>
                    <a:pt x="620" y="762"/>
                  </a:lnTo>
                  <a:lnTo>
                    <a:pt x="618" y="766"/>
                  </a:lnTo>
                  <a:lnTo>
                    <a:pt x="619" y="773"/>
                  </a:lnTo>
                  <a:lnTo>
                    <a:pt x="614" y="780"/>
                  </a:lnTo>
                  <a:lnTo>
                    <a:pt x="611" y="785"/>
                  </a:lnTo>
                  <a:lnTo>
                    <a:pt x="615" y="775"/>
                  </a:lnTo>
                  <a:lnTo>
                    <a:pt x="617" y="771"/>
                  </a:lnTo>
                  <a:lnTo>
                    <a:pt x="614" y="767"/>
                  </a:lnTo>
                  <a:lnTo>
                    <a:pt x="612" y="768"/>
                  </a:lnTo>
                  <a:lnTo>
                    <a:pt x="612" y="772"/>
                  </a:lnTo>
                  <a:lnTo>
                    <a:pt x="612" y="774"/>
                  </a:lnTo>
                  <a:lnTo>
                    <a:pt x="612" y="777"/>
                  </a:lnTo>
                  <a:lnTo>
                    <a:pt x="609" y="778"/>
                  </a:lnTo>
                  <a:lnTo>
                    <a:pt x="608" y="775"/>
                  </a:lnTo>
                  <a:lnTo>
                    <a:pt x="608" y="774"/>
                  </a:lnTo>
                  <a:lnTo>
                    <a:pt x="607" y="774"/>
                  </a:lnTo>
                  <a:lnTo>
                    <a:pt x="606" y="777"/>
                  </a:lnTo>
                  <a:lnTo>
                    <a:pt x="607" y="785"/>
                  </a:lnTo>
                  <a:lnTo>
                    <a:pt x="608" y="786"/>
                  </a:lnTo>
                  <a:lnTo>
                    <a:pt x="605" y="793"/>
                  </a:lnTo>
                  <a:lnTo>
                    <a:pt x="601" y="796"/>
                  </a:lnTo>
                  <a:lnTo>
                    <a:pt x="605" y="789"/>
                  </a:lnTo>
                  <a:lnTo>
                    <a:pt x="606" y="784"/>
                  </a:lnTo>
                  <a:lnTo>
                    <a:pt x="605" y="774"/>
                  </a:lnTo>
                  <a:lnTo>
                    <a:pt x="603" y="778"/>
                  </a:lnTo>
                  <a:lnTo>
                    <a:pt x="602" y="783"/>
                  </a:lnTo>
                  <a:lnTo>
                    <a:pt x="601" y="789"/>
                  </a:lnTo>
                  <a:lnTo>
                    <a:pt x="599" y="791"/>
                  </a:lnTo>
                  <a:lnTo>
                    <a:pt x="596" y="791"/>
                  </a:lnTo>
                  <a:lnTo>
                    <a:pt x="594" y="795"/>
                  </a:lnTo>
                  <a:lnTo>
                    <a:pt x="593" y="795"/>
                  </a:lnTo>
                  <a:lnTo>
                    <a:pt x="591" y="792"/>
                  </a:lnTo>
                  <a:lnTo>
                    <a:pt x="591" y="790"/>
                  </a:lnTo>
                  <a:lnTo>
                    <a:pt x="590" y="791"/>
                  </a:lnTo>
                  <a:lnTo>
                    <a:pt x="587" y="795"/>
                  </a:lnTo>
                  <a:lnTo>
                    <a:pt x="583" y="798"/>
                  </a:lnTo>
                  <a:lnTo>
                    <a:pt x="579" y="796"/>
                  </a:lnTo>
                  <a:lnTo>
                    <a:pt x="578" y="790"/>
                  </a:lnTo>
                  <a:lnTo>
                    <a:pt x="578" y="785"/>
                  </a:lnTo>
                  <a:lnTo>
                    <a:pt x="580" y="784"/>
                  </a:lnTo>
                  <a:lnTo>
                    <a:pt x="584" y="784"/>
                  </a:lnTo>
                  <a:lnTo>
                    <a:pt x="584" y="779"/>
                  </a:lnTo>
                  <a:lnTo>
                    <a:pt x="583" y="778"/>
                  </a:lnTo>
                  <a:lnTo>
                    <a:pt x="583" y="775"/>
                  </a:lnTo>
                  <a:lnTo>
                    <a:pt x="587" y="771"/>
                  </a:lnTo>
                  <a:lnTo>
                    <a:pt x="583" y="772"/>
                  </a:lnTo>
                  <a:lnTo>
                    <a:pt x="580" y="775"/>
                  </a:lnTo>
                  <a:lnTo>
                    <a:pt x="578" y="783"/>
                  </a:lnTo>
                  <a:lnTo>
                    <a:pt x="577" y="786"/>
                  </a:lnTo>
                  <a:lnTo>
                    <a:pt x="576" y="792"/>
                  </a:lnTo>
                  <a:lnTo>
                    <a:pt x="574" y="791"/>
                  </a:lnTo>
                  <a:lnTo>
                    <a:pt x="571" y="795"/>
                  </a:lnTo>
                  <a:lnTo>
                    <a:pt x="570" y="795"/>
                  </a:lnTo>
                  <a:lnTo>
                    <a:pt x="570" y="789"/>
                  </a:lnTo>
                  <a:lnTo>
                    <a:pt x="568" y="791"/>
                  </a:lnTo>
                  <a:lnTo>
                    <a:pt x="567" y="785"/>
                  </a:lnTo>
                  <a:lnTo>
                    <a:pt x="565" y="780"/>
                  </a:lnTo>
                  <a:lnTo>
                    <a:pt x="561" y="781"/>
                  </a:lnTo>
                  <a:lnTo>
                    <a:pt x="559" y="783"/>
                  </a:lnTo>
                  <a:lnTo>
                    <a:pt x="555" y="787"/>
                  </a:lnTo>
                  <a:lnTo>
                    <a:pt x="550" y="789"/>
                  </a:lnTo>
                  <a:lnTo>
                    <a:pt x="552" y="784"/>
                  </a:lnTo>
                  <a:lnTo>
                    <a:pt x="553" y="779"/>
                  </a:lnTo>
                  <a:lnTo>
                    <a:pt x="549" y="779"/>
                  </a:lnTo>
                  <a:lnTo>
                    <a:pt x="549" y="781"/>
                  </a:lnTo>
                  <a:lnTo>
                    <a:pt x="546" y="787"/>
                  </a:lnTo>
                  <a:lnTo>
                    <a:pt x="542" y="791"/>
                  </a:lnTo>
                  <a:lnTo>
                    <a:pt x="540" y="792"/>
                  </a:lnTo>
                  <a:lnTo>
                    <a:pt x="541" y="786"/>
                  </a:lnTo>
                  <a:lnTo>
                    <a:pt x="543" y="781"/>
                  </a:lnTo>
                  <a:lnTo>
                    <a:pt x="544" y="777"/>
                  </a:lnTo>
                  <a:lnTo>
                    <a:pt x="548" y="773"/>
                  </a:lnTo>
                  <a:lnTo>
                    <a:pt x="547" y="772"/>
                  </a:lnTo>
                  <a:lnTo>
                    <a:pt x="544" y="774"/>
                  </a:lnTo>
                  <a:lnTo>
                    <a:pt x="544" y="771"/>
                  </a:lnTo>
                  <a:lnTo>
                    <a:pt x="540" y="771"/>
                  </a:lnTo>
                  <a:lnTo>
                    <a:pt x="540" y="766"/>
                  </a:lnTo>
                  <a:lnTo>
                    <a:pt x="537" y="768"/>
                  </a:lnTo>
                  <a:lnTo>
                    <a:pt x="534" y="768"/>
                  </a:lnTo>
                  <a:lnTo>
                    <a:pt x="535" y="763"/>
                  </a:lnTo>
                  <a:lnTo>
                    <a:pt x="532" y="766"/>
                  </a:lnTo>
                  <a:lnTo>
                    <a:pt x="529" y="768"/>
                  </a:lnTo>
                  <a:lnTo>
                    <a:pt x="530" y="763"/>
                  </a:lnTo>
                  <a:lnTo>
                    <a:pt x="529" y="763"/>
                  </a:lnTo>
                  <a:lnTo>
                    <a:pt x="526" y="759"/>
                  </a:lnTo>
                  <a:lnTo>
                    <a:pt x="526" y="756"/>
                  </a:lnTo>
                  <a:lnTo>
                    <a:pt x="526" y="755"/>
                  </a:lnTo>
                  <a:lnTo>
                    <a:pt x="523" y="757"/>
                  </a:lnTo>
                  <a:lnTo>
                    <a:pt x="517" y="761"/>
                  </a:lnTo>
                  <a:lnTo>
                    <a:pt x="520" y="756"/>
                  </a:lnTo>
                  <a:lnTo>
                    <a:pt x="524" y="754"/>
                  </a:lnTo>
                  <a:lnTo>
                    <a:pt x="528" y="751"/>
                  </a:lnTo>
                  <a:lnTo>
                    <a:pt x="530" y="750"/>
                  </a:lnTo>
                  <a:lnTo>
                    <a:pt x="526" y="749"/>
                  </a:lnTo>
                  <a:lnTo>
                    <a:pt x="524" y="750"/>
                  </a:lnTo>
                  <a:lnTo>
                    <a:pt x="521" y="749"/>
                  </a:lnTo>
                  <a:lnTo>
                    <a:pt x="521" y="750"/>
                  </a:lnTo>
                  <a:lnTo>
                    <a:pt x="519" y="749"/>
                  </a:lnTo>
                  <a:lnTo>
                    <a:pt x="517" y="749"/>
                  </a:lnTo>
                  <a:lnTo>
                    <a:pt x="515" y="750"/>
                  </a:lnTo>
                  <a:lnTo>
                    <a:pt x="514" y="753"/>
                  </a:lnTo>
                  <a:lnTo>
                    <a:pt x="512" y="750"/>
                  </a:lnTo>
                  <a:lnTo>
                    <a:pt x="509" y="744"/>
                  </a:lnTo>
                  <a:lnTo>
                    <a:pt x="509" y="740"/>
                  </a:lnTo>
                  <a:lnTo>
                    <a:pt x="509" y="736"/>
                  </a:lnTo>
                  <a:lnTo>
                    <a:pt x="512" y="733"/>
                  </a:lnTo>
                  <a:lnTo>
                    <a:pt x="515" y="733"/>
                  </a:lnTo>
                  <a:lnTo>
                    <a:pt x="517" y="731"/>
                  </a:lnTo>
                  <a:lnTo>
                    <a:pt x="515" y="727"/>
                  </a:lnTo>
                  <a:lnTo>
                    <a:pt x="515" y="724"/>
                  </a:lnTo>
                  <a:lnTo>
                    <a:pt x="512" y="726"/>
                  </a:lnTo>
                  <a:lnTo>
                    <a:pt x="509" y="727"/>
                  </a:lnTo>
                  <a:lnTo>
                    <a:pt x="508" y="724"/>
                  </a:lnTo>
                  <a:lnTo>
                    <a:pt x="507" y="725"/>
                  </a:lnTo>
                  <a:lnTo>
                    <a:pt x="506" y="726"/>
                  </a:lnTo>
                  <a:lnTo>
                    <a:pt x="503" y="731"/>
                  </a:lnTo>
                  <a:lnTo>
                    <a:pt x="502" y="730"/>
                  </a:lnTo>
                  <a:lnTo>
                    <a:pt x="502" y="733"/>
                  </a:lnTo>
                  <a:lnTo>
                    <a:pt x="499" y="736"/>
                  </a:lnTo>
                  <a:lnTo>
                    <a:pt x="495" y="739"/>
                  </a:lnTo>
                  <a:lnTo>
                    <a:pt x="495" y="736"/>
                  </a:lnTo>
                  <a:lnTo>
                    <a:pt x="495" y="733"/>
                  </a:lnTo>
                  <a:lnTo>
                    <a:pt x="493" y="734"/>
                  </a:lnTo>
                  <a:lnTo>
                    <a:pt x="493" y="733"/>
                  </a:lnTo>
                  <a:lnTo>
                    <a:pt x="490" y="733"/>
                  </a:lnTo>
                  <a:lnTo>
                    <a:pt x="488" y="731"/>
                  </a:lnTo>
                  <a:lnTo>
                    <a:pt x="485" y="732"/>
                  </a:lnTo>
                  <a:lnTo>
                    <a:pt x="481" y="734"/>
                  </a:lnTo>
                  <a:lnTo>
                    <a:pt x="481" y="732"/>
                  </a:lnTo>
                  <a:lnTo>
                    <a:pt x="483" y="730"/>
                  </a:lnTo>
                  <a:lnTo>
                    <a:pt x="483" y="728"/>
                  </a:lnTo>
                  <a:lnTo>
                    <a:pt x="484" y="728"/>
                  </a:lnTo>
                  <a:lnTo>
                    <a:pt x="485" y="727"/>
                  </a:lnTo>
                  <a:lnTo>
                    <a:pt x="489" y="728"/>
                  </a:lnTo>
                  <a:lnTo>
                    <a:pt x="490" y="726"/>
                  </a:lnTo>
                  <a:lnTo>
                    <a:pt x="489" y="724"/>
                  </a:lnTo>
                  <a:lnTo>
                    <a:pt x="488" y="724"/>
                  </a:lnTo>
                  <a:lnTo>
                    <a:pt x="484" y="724"/>
                  </a:lnTo>
                  <a:lnTo>
                    <a:pt x="483" y="722"/>
                  </a:lnTo>
                  <a:lnTo>
                    <a:pt x="481" y="722"/>
                  </a:lnTo>
                  <a:lnTo>
                    <a:pt x="477" y="724"/>
                  </a:lnTo>
                  <a:lnTo>
                    <a:pt x="476" y="721"/>
                  </a:lnTo>
                  <a:lnTo>
                    <a:pt x="476" y="719"/>
                  </a:lnTo>
                  <a:lnTo>
                    <a:pt x="478" y="716"/>
                  </a:lnTo>
                  <a:lnTo>
                    <a:pt x="481" y="715"/>
                  </a:lnTo>
                  <a:lnTo>
                    <a:pt x="484" y="714"/>
                  </a:lnTo>
                  <a:lnTo>
                    <a:pt x="485" y="713"/>
                  </a:lnTo>
                  <a:lnTo>
                    <a:pt x="484" y="712"/>
                  </a:lnTo>
                  <a:lnTo>
                    <a:pt x="482" y="712"/>
                  </a:lnTo>
                  <a:lnTo>
                    <a:pt x="479" y="714"/>
                  </a:lnTo>
                  <a:lnTo>
                    <a:pt x="475" y="716"/>
                  </a:lnTo>
                  <a:lnTo>
                    <a:pt x="471" y="719"/>
                  </a:lnTo>
                  <a:lnTo>
                    <a:pt x="472" y="724"/>
                  </a:lnTo>
                  <a:lnTo>
                    <a:pt x="477" y="736"/>
                  </a:lnTo>
                  <a:lnTo>
                    <a:pt x="482" y="749"/>
                  </a:lnTo>
                  <a:lnTo>
                    <a:pt x="484" y="759"/>
                  </a:lnTo>
                  <a:lnTo>
                    <a:pt x="483" y="774"/>
                  </a:lnTo>
                  <a:lnTo>
                    <a:pt x="483" y="790"/>
                  </a:lnTo>
                  <a:lnTo>
                    <a:pt x="497" y="817"/>
                  </a:lnTo>
                  <a:lnTo>
                    <a:pt x="505" y="833"/>
                  </a:lnTo>
                  <a:lnTo>
                    <a:pt x="506" y="839"/>
                  </a:lnTo>
                  <a:lnTo>
                    <a:pt x="505" y="846"/>
                  </a:lnTo>
                  <a:lnTo>
                    <a:pt x="497" y="860"/>
                  </a:lnTo>
                  <a:lnTo>
                    <a:pt x="493" y="869"/>
                  </a:lnTo>
                  <a:lnTo>
                    <a:pt x="487" y="884"/>
                  </a:lnTo>
                  <a:lnTo>
                    <a:pt x="484" y="893"/>
                  </a:lnTo>
                  <a:lnTo>
                    <a:pt x="483" y="903"/>
                  </a:lnTo>
                  <a:lnTo>
                    <a:pt x="481" y="922"/>
                  </a:lnTo>
                  <a:lnTo>
                    <a:pt x="479" y="941"/>
                  </a:lnTo>
                  <a:lnTo>
                    <a:pt x="478" y="959"/>
                  </a:lnTo>
                  <a:lnTo>
                    <a:pt x="477" y="975"/>
                  </a:lnTo>
                  <a:lnTo>
                    <a:pt x="477" y="993"/>
                  </a:lnTo>
                  <a:lnTo>
                    <a:pt x="481" y="1041"/>
                  </a:lnTo>
                  <a:lnTo>
                    <a:pt x="479" y="1069"/>
                  </a:lnTo>
                  <a:lnTo>
                    <a:pt x="476" y="1088"/>
                  </a:lnTo>
                  <a:lnTo>
                    <a:pt x="472" y="110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1" name="Freeform 64"/>
            <p:cNvSpPr>
              <a:spLocks/>
            </p:cNvSpPr>
            <p:nvPr userDrawn="1"/>
          </p:nvSpPr>
          <p:spPr bwMode="auto">
            <a:xfrm>
              <a:off x="4610100" y="6411913"/>
              <a:ext cx="65088" cy="107950"/>
            </a:xfrm>
            <a:custGeom>
              <a:avLst/>
              <a:gdLst/>
              <a:ahLst/>
              <a:cxnLst>
                <a:cxn ang="0">
                  <a:pos x="106" y="18"/>
                </a:cxn>
                <a:cxn ang="0">
                  <a:pos x="118" y="40"/>
                </a:cxn>
                <a:cxn ang="0">
                  <a:pos x="122" y="58"/>
                </a:cxn>
                <a:cxn ang="0">
                  <a:pos x="136" y="71"/>
                </a:cxn>
                <a:cxn ang="0">
                  <a:pos x="132" y="81"/>
                </a:cxn>
                <a:cxn ang="0">
                  <a:pos x="140" y="88"/>
                </a:cxn>
                <a:cxn ang="0">
                  <a:pos x="155" y="112"/>
                </a:cxn>
                <a:cxn ang="0">
                  <a:pos x="141" y="113"/>
                </a:cxn>
                <a:cxn ang="0">
                  <a:pos x="158" y="131"/>
                </a:cxn>
                <a:cxn ang="0">
                  <a:pos x="161" y="140"/>
                </a:cxn>
                <a:cxn ang="0">
                  <a:pos x="176" y="149"/>
                </a:cxn>
                <a:cxn ang="0">
                  <a:pos x="165" y="155"/>
                </a:cxn>
                <a:cxn ang="0">
                  <a:pos x="173" y="164"/>
                </a:cxn>
                <a:cxn ang="0">
                  <a:pos x="183" y="171"/>
                </a:cxn>
                <a:cxn ang="0">
                  <a:pos x="182" y="183"/>
                </a:cxn>
                <a:cxn ang="0">
                  <a:pos x="175" y="195"/>
                </a:cxn>
                <a:cxn ang="0">
                  <a:pos x="170" y="204"/>
                </a:cxn>
                <a:cxn ang="0">
                  <a:pos x="157" y="203"/>
                </a:cxn>
                <a:cxn ang="0">
                  <a:pos x="145" y="202"/>
                </a:cxn>
                <a:cxn ang="0">
                  <a:pos x="165" y="218"/>
                </a:cxn>
                <a:cxn ang="0">
                  <a:pos x="180" y="225"/>
                </a:cxn>
                <a:cxn ang="0">
                  <a:pos x="183" y="236"/>
                </a:cxn>
                <a:cxn ang="0">
                  <a:pos x="198" y="241"/>
                </a:cxn>
                <a:cxn ang="0">
                  <a:pos x="186" y="247"/>
                </a:cxn>
                <a:cxn ang="0">
                  <a:pos x="193" y="257"/>
                </a:cxn>
                <a:cxn ang="0">
                  <a:pos x="194" y="265"/>
                </a:cxn>
                <a:cxn ang="0">
                  <a:pos x="191" y="271"/>
                </a:cxn>
                <a:cxn ang="0">
                  <a:pos x="180" y="277"/>
                </a:cxn>
                <a:cxn ang="0">
                  <a:pos x="167" y="296"/>
                </a:cxn>
                <a:cxn ang="0">
                  <a:pos x="145" y="301"/>
                </a:cxn>
                <a:cxn ang="0">
                  <a:pos x="112" y="320"/>
                </a:cxn>
                <a:cxn ang="0">
                  <a:pos x="76" y="308"/>
                </a:cxn>
                <a:cxn ang="0">
                  <a:pos x="49" y="320"/>
                </a:cxn>
                <a:cxn ang="0">
                  <a:pos x="17" y="307"/>
                </a:cxn>
                <a:cxn ang="0">
                  <a:pos x="22" y="284"/>
                </a:cxn>
                <a:cxn ang="0">
                  <a:pos x="23" y="265"/>
                </a:cxn>
                <a:cxn ang="0">
                  <a:pos x="33" y="256"/>
                </a:cxn>
                <a:cxn ang="0">
                  <a:pos x="28" y="245"/>
                </a:cxn>
                <a:cxn ang="0">
                  <a:pos x="15" y="236"/>
                </a:cxn>
                <a:cxn ang="0">
                  <a:pos x="23" y="221"/>
                </a:cxn>
                <a:cxn ang="0">
                  <a:pos x="29" y="217"/>
                </a:cxn>
                <a:cxn ang="0">
                  <a:pos x="52" y="207"/>
                </a:cxn>
                <a:cxn ang="0">
                  <a:pos x="40" y="207"/>
                </a:cxn>
                <a:cxn ang="0">
                  <a:pos x="31" y="194"/>
                </a:cxn>
                <a:cxn ang="0">
                  <a:pos x="28" y="189"/>
                </a:cxn>
                <a:cxn ang="0">
                  <a:pos x="17" y="180"/>
                </a:cxn>
                <a:cxn ang="0">
                  <a:pos x="29" y="164"/>
                </a:cxn>
                <a:cxn ang="0">
                  <a:pos x="27" y="150"/>
                </a:cxn>
                <a:cxn ang="0">
                  <a:pos x="51" y="138"/>
                </a:cxn>
                <a:cxn ang="0">
                  <a:pos x="40" y="138"/>
                </a:cxn>
                <a:cxn ang="0">
                  <a:pos x="45" y="125"/>
                </a:cxn>
                <a:cxn ang="0">
                  <a:pos x="68" y="112"/>
                </a:cxn>
                <a:cxn ang="0">
                  <a:pos x="46" y="111"/>
                </a:cxn>
                <a:cxn ang="0">
                  <a:pos x="92" y="95"/>
                </a:cxn>
                <a:cxn ang="0">
                  <a:pos x="74" y="85"/>
                </a:cxn>
                <a:cxn ang="0">
                  <a:pos x="67" y="69"/>
                </a:cxn>
                <a:cxn ang="0">
                  <a:pos x="76" y="59"/>
                </a:cxn>
                <a:cxn ang="0">
                  <a:pos x="87" y="54"/>
                </a:cxn>
                <a:cxn ang="0">
                  <a:pos x="82" y="35"/>
                </a:cxn>
                <a:cxn ang="0">
                  <a:pos x="93" y="39"/>
                </a:cxn>
                <a:cxn ang="0">
                  <a:pos x="81" y="23"/>
                </a:cxn>
                <a:cxn ang="0">
                  <a:pos x="97" y="13"/>
                </a:cxn>
                <a:cxn ang="0">
                  <a:pos x="97" y="9"/>
                </a:cxn>
              </a:cxnLst>
              <a:rect l="0" t="0" r="r" b="b"/>
              <a:pathLst>
                <a:path w="206" h="338">
                  <a:moveTo>
                    <a:pt x="103" y="6"/>
                  </a:moveTo>
                  <a:lnTo>
                    <a:pt x="104" y="4"/>
                  </a:lnTo>
                  <a:lnTo>
                    <a:pt x="105" y="0"/>
                  </a:lnTo>
                  <a:lnTo>
                    <a:pt x="105" y="3"/>
                  </a:lnTo>
                  <a:lnTo>
                    <a:pt x="104" y="4"/>
                  </a:lnTo>
                  <a:lnTo>
                    <a:pt x="103" y="6"/>
                  </a:lnTo>
                  <a:lnTo>
                    <a:pt x="104" y="7"/>
                  </a:lnTo>
                  <a:lnTo>
                    <a:pt x="104" y="5"/>
                  </a:lnTo>
                  <a:lnTo>
                    <a:pt x="105" y="5"/>
                  </a:lnTo>
                  <a:lnTo>
                    <a:pt x="104" y="7"/>
                  </a:lnTo>
                  <a:lnTo>
                    <a:pt x="106" y="6"/>
                  </a:lnTo>
                  <a:lnTo>
                    <a:pt x="108" y="6"/>
                  </a:lnTo>
                  <a:lnTo>
                    <a:pt x="103" y="9"/>
                  </a:lnTo>
                  <a:lnTo>
                    <a:pt x="104" y="9"/>
                  </a:lnTo>
                  <a:lnTo>
                    <a:pt x="105" y="9"/>
                  </a:lnTo>
                  <a:lnTo>
                    <a:pt x="104" y="10"/>
                  </a:lnTo>
                  <a:lnTo>
                    <a:pt x="106" y="10"/>
                  </a:lnTo>
                  <a:lnTo>
                    <a:pt x="104" y="10"/>
                  </a:lnTo>
                  <a:lnTo>
                    <a:pt x="104" y="11"/>
                  </a:lnTo>
                  <a:lnTo>
                    <a:pt x="104" y="12"/>
                  </a:lnTo>
                  <a:lnTo>
                    <a:pt x="105" y="12"/>
                  </a:lnTo>
                  <a:lnTo>
                    <a:pt x="104" y="12"/>
                  </a:lnTo>
                  <a:lnTo>
                    <a:pt x="105" y="12"/>
                  </a:lnTo>
                  <a:lnTo>
                    <a:pt x="104" y="12"/>
                  </a:lnTo>
                  <a:lnTo>
                    <a:pt x="104" y="13"/>
                  </a:lnTo>
                  <a:lnTo>
                    <a:pt x="104" y="12"/>
                  </a:lnTo>
                  <a:lnTo>
                    <a:pt x="105" y="13"/>
                  </a:lnTo>
                  <a:lnTo>
                    <a:pt x="106" y="11"/>
                  </a:lnTo>
                  <a:lnTo>
                    <a:pt x="105" y="13"/>
                  </a:lnTo>
                  <a:lnTo>
                    <a:pt x="106" y="13"/>
                  </a:lnTo>
                  <a:lnTo>
                    <a:pt x="106" y="12"/>
                  </a:lnTo>
                  <a:lnTo>
                    <a:pt x="106" y="13"/>
                  </a:lnTo>
                  <a:lnTo>
                    <a:pt x="105" y="13"/>
                  </a:lnTo>
                  <a:lnTo>
                    <a:pt x="106" y="13"/>
                  </a:lnTo>
                  <a:lnTo>
                    <a:pt x="105" y="15"/>
                  </a:lnTo>
                  <a:lnTo>
                    <a:pt x="106" y="16"/>
                  </a:lnTo>
                  <a:lnTo>
                    <a:pt x="106" y="15"/>
                  </a:lnTo>
                  <a:lnTo>
                    <a:pt x="109" y="13"/>
                  </a:lnTo>
                  <a:lnTo>
                    <a:pt x="108" y="15"/>
                  </a:lnTo>
                  <a:lnTo>
                    <a:pt x="109" y="15"/>
                  </a:lnTo>
                  <a:lnTo>
                    <a:pt x="110" y="15"/>
                  </a:lnTo>
                  <a:lnTo>
                    <a:pt x="109" y="15"/>
                  </a:lnTo>
                  <a:lnTo>
                    <a:pt x="108" y="15"/>
                  </a:lnTo>
                  <a:lnTo>
                    <a:pt x="109" y="16"/>
                  </a:lnTo>
                  <a:lnTo>
                    <a:pt x="108" y="16"/>
                  </a:lnTo>
                  <a:lnTo>
                    <a:pt x="106" y="16"/>
                  </a:lnTo>
                  <a:lnTo>
                    <a:pt x="108" y="16"/>
                  </a:lnTo>
                  <a:lnTo>
                    <a:pt x="106" y="16"/>
                  </a:lnTo>
                  <a:lnTo>
                    <a:pt x="105" y="16"/>
                  </a:lnTo>
                  <a:lnTo>
                    <a:pt x="106" y="17"/>
                  </a:lnTo>
                  <a:lnTo>
                    <a:pt x="105" y="16"/>
                  </a:lnTo>
                  <a:lnTo>
                    <a:pt x="103" y="17"/>
                  </a:lnTo>
                  <a:lnTo>
                    <a:pt x="103" y="18"/>
                  </a:lnTo>
                  <a:lnTo>
                    <a:pt x="104" y="18"/>
                  </a:lnTo>
                  <a:lnTo>
                    <a:pt x="105" y="18"/>
                  </a:lnTo>
                  <a:lnTo>
                    <a:pt x="106" y="18"/>
                  </a:lnTo>
                  <a:lnTo>
                    <a:pt x="106" y="17"/>
                  </a:lnTo>
                  <a:lnTo>
                    <a:pt x="108" y="17"/>
                  </a:lnTo>
                  <a:lnTo>
                    <a:pt x="106" y="18"/>
                  </a:lnTo>
                  <a:lnTo>
                    <a:pt x="108" y="18"/>
                  </a:lnTo>
                  <a:lnTo>
                    <a:pt x="108" y="19"/>
                  </a:lnTo>
                  <a:lnTo>
                    <a:pt x="106" y="19"/>
                  </a:lnTo>
                  <a:lnTo>
                    <a:pt x="108" y="21"/>
                  </a:lnTo>
                  <a:lnTo>
                    <a:pt x="105" y="19"/>
                  </a:lnTo>
                  <a:lnTo>
                    <a:pt x="104" y="19"/>
                  </a:lnTo>
                  <a:lnTo>
                    <a:pt x="105" y="19"/>
                  </a:lnTo>
                  <a:lnTo>
                    <a:pt x="105" y="21"/>
                  </a:lnTo>
                  <a:lnTo>
                    <a:pt x="106" y="21"/>
                  </a:lnTo>
                  <a:lnTo>
                    <a:pt x="105" y="22"/>
                  </a:lnTo>
                  <a:lnTo>
                    <a:pt x="106" y="23"/>
                  </a:lnTo>
                  <a:lnTo>
                    <a:pt x="105" y="23"/>
                  </a:lnTo>
                  <a:lnTo>
                    <a:pt x="105" y="24"/>
                  </a:lnTo>
                  <a:lnTo>
                    <a:pt x="106" y="24"/>
                  </a:lnTo>
                  <a:lnTo>
                    <a:pt x="105" y="24"/>
                  </a:lnTo>
                  <a:lnTo>
                    <a:pt x="105" y="25"/>
                  </a:lnTo>
                  <a:lnTo>
                    <a:pt x="106" y="25"/>
                  </a:lnTo>
                  <a:lnTo>
                    <a:pt x="106" y="24"/>
                  </a:lnTo>
                  <a:lnTo>
                    <a:pt x="106" y="25"/>
                  </a:lnTo>
                  <a:lnTo>
                    <a:pt x="106" y="27"/>
                  </a:lnTo>
                  <a:lnTo>
                    <a:pt x="106" y="25"/>
                  </a:lnTo>
                  <a:lnTo>
                    <a:pt x="105" y="25"/>
                  </a:lnTo>
                  <a:lnTo>
                    <a:pt x="105" y="27"/>
                  </a:lnTo>
                  <a:lnTo>
                    <a:pt x="106" y="27"/>
                  </a:lnTo>
                  <a:lnTo>
                    <a:pt x="109" y="28"/>
                  </a:lnTo>
                  <a:lnTo>
                    <a:pt x="111" y="30"/>
                  </a:lnTo>
                  <a:lnTo>
                    <a:pt x="112" y="30"/>
                  </a:lnTo>
                  <a:lnTo>
                    <a:pt x="111" y="30"/>
                  </a:lnTo>
                  <a:lnTo>
                    <a:pt x="112" y="30"/>
                  </a:lnTo>
                  <a:lnTo>
                    <a:pt x="114" y="31"/>
                  </a:lnTo>
                  <a:lnTo>
                    <a:pt x="111" y="31"/>
                  </a:lnTo>
                  <a:lnTo>
                    <a:pt x="111" y="33"/>
                  </a:lnTo>
                  <a:lnTo>
                    <a:pt x="111" y="31"/>
                  </a:lnTo>
                  <a:lnTo>
                    <a:pt x="111" y="30"/>
                  </a:lnTo>
                  <a:lnTo>
                    <a:pt x="110" y="30"/>
                  </a:lnTo>
                  <a:lnTo>
                    <a:pt x="110" y="31"/>
                  </a:lnTo>
                  <a:lnTo>
                    <a:pt x="110" y="30"/>
                  </a:lnTo>
                  <a:lnTo>
                    <a:pt x="109" y="30"/>
                  </a:lnTo>
                  <a:lnTo>
                    <a:pt x="110" y="31"/>
                  </a:lnTo>
                  <a:lnTo>
                    <a:pt x="109" y="33"/>
                  </a:lnTo>
                  <a:lnTo>
                    <a:pt x="109" y="34"/>
                  </a:lnTo>
                  <a:lnTo>
                    <a:pt x="110" y="34"/>
                  </a:lnTo>
                  <a:lnTo>
                    <a:pt x="111" y="34"/>
                  </a:lnTo>
                  <a:lnTo>
                    <a:pt x="110" y="35"/>
                  </a:lnTo>
                  <a:lnTo>
                    <a:pt x="110" y="34"/>
                  </a:lnTo>
                  <a:lnTo>
                    <a:pt x="110" y="35"/>
                  </a:lnTo>
                  <a:lnTo>
                    <a:pt x="111" y="35"/>
                  </a:lnTo>
                  <a:lnTo>
                    <a:pt x="112" y="36"/>
                  </a:lnTo>
                  <a:lnTo>
                    <a:pt x="111" y="36"/>
                  </a:lnTo>
                  <a:lnTo>
                    <a:pt x="111" y="37"/>
                  </a:lnTo>
                  <a:lnTo>
                    <a:pt x="112" y="36"/>
                  </a:lnTo>
                  <a:lnTo>
                    <a:pt x="114" y="36"/>
                  </a:lnTo>
                  <a:lnTo>
                    <a:pt x="114" y="37"/>
                  </a:lnTo>
                  <a:lnTo>
                    <a:pt x="115" y="39"/>
                  </a:lnTo>
                  <a:lnTo>
                    <a:pt x="116" y="39"/>
                  </a:lnTo>
                  <a:lnTo>
                    <a:pt x="117" y="39"/>
                  </a:lnTo>
                  <a:lnTo>
                    <a:pt x="118" y="40"/>
                  </a:lnTo>
                  <a:lnTo>
                    <a:pt x="120" y="40"/>
                  </a:lnTo>
                  <a:lnTo>
                    <a:pt x="118" y="40"/>
                  </a:lnTo>
                  <a:lnTo>
                    <a:pt x="120" y="40"/>
                  </a:lnTo>
                  <a:lnTo>
                    <a:pt x="121" y="40"/>
                  </a:lnTo>
                  <a:lnTo>
                    <a:pt x="121" y="41"/>
                  </a:lnTo>
                  <a:lnTo>
                    <a:pt x="123" y="42"/>
                  </a:lnTo>
                  <a:lnTo>
                    <a:pt x="124" y="42"/>
                  </a:lnTo>
                  <a:lnTo>
                    <a:pt x="124" y="43"/>
                  </a:lnTo>
                  <a:lnTo>
                    <a:pt x="126" y="43"/>
                  </a:lnTo>
                  <a:lnTo>
                    <a:pt x="126" y="45"/>
                  </a:lnTo>
                  <a:lnTo>
                    <a:pt x="127" y="45"/>
                  </a:lnTo>
                  <a:lnTo>
                    <a:pt x="128" y="47"/>
                  </a:lnTo>
                  <a:lnTo>
                    <a:pt x="127" y="46"/>
                  </a:lnTo>
                  <a:lnTo>
                    <a:pt x="127" y="47"/>
                  </a:lnTo>
                  <a:lnTo>
                    <a:pt x="126" y="46"/>
                  </a:lnTo>
                  <a:lnTo>
                    <a:pt x="126" y="45"/>
                  </a:lnTo>
                  <a:lnTo>
                    <a:pt x="123" y="43"/>
                  </a:lnTo>
                  <a:lnTo>
                    <a:pt x="124" y="45"/>
                  </a:lnTo>
                  <a:lnTo>
                    <a:pt x="123" y="45"/>
                  </a:lnTo>
                  <a:lnTo>
                    <a:pt x="123" y="46"/>
                  </a:lnTo>
                  <a:lnTo>
                    <a:pt x="123" y="45"/>
                  </a:lnTo>
                  <a:lnTo>
                    <a:pt x="123" y="43"/>
                  </a:lnTo>
                  <a:lnTo>
                    <a:pt x="123" y="45"/>
                  </a:lnTo>
                  <a:lnTo>
                    <a:pt x="123" y="46"/>
                  </a:lnTo>
                  <a:lnTo>
                    <a:pt x="122" y="46"/>
                  </a:lnTo>
                  <a:lnTo>
                    <a:pt x="122" y="47"/>
                  </a:lnTo>
                  <a:lnTo>
                    <a:pt x="123" y="47"/>
                  </a:lnTo>
                  <a:lnTo>
                    <a:pt x="123" y="48"/>
                  </a:lnTo>
                  <a:lnTo>
                    <a:pt x="123" y="49"/>
                  </a:lnTo>
                  <a:lnTo>
                    <a:pt x="123" y="51"/>
                  </a:lnTo>
                  <a:lnTo>
                    <a:pt x="123" y="52"/>
                  </a:lnTo>
                  <a:lnTo>
                    <a:pt x="122" y="52"/>
                  </a:lnTo>
                  <a:lnTo>
                    <a:pt x="123" y="52"/>
                  </a:lnTo>
                  <a:lnTo>
                    <a:pt x="123" y="53"/>
                  </a:lnTo>
                  <a:lnTo>
                    <a:pt x="124" y="53"/>
                  </a:lnTo>
                  <a:lnTo>
                    <a:pt x="126" y="53"/>
                  </a:lnTo>
                  <a:lnTo>
                    <a:pt x="124" y="53"/>
                  </a:lnTo>
                  <a:lnTo>
                    <a:pt x="126" y="54"/>
                  </a:lnTo>
                  <a:lnTo>
                    <a:pt x="126" y="53"/>
                  </a:lnTo>
                  <a:lnTo>
                    <a:pt x="127" y="53"/>
                  </a:lnTo>
                  <a:lnTo>
                    <a:pt x="127" y="54"/>
                  </a:lnTo>
                  <a:lnTo>
                    <a:pt x="128" y="54"/>
                  </a:lnTo>
                  <a:lnTo>
                    <a:pt x="127" y="54"/>
                  </a:lnTo>
                  <a:lnTo>
                    <a:pt x="129" y="54"/>
                  </a:lnTo>
                  <a:lnTo>
                    <a:pt x="128" y="55"/>
                  </a:lnTo>
                  <a:lnTo>
                    <a:pt x="127" y="54"/>
                  </a:lnTo>
                  <a:lnTo>
                    <a:pt x="128" y="57"/>
                  </a:lnTo>
                  <a:lnTo>
                    <a:pt x="127" y="54"/>
                  </a:lnTo>
                  <a:lnTo>
                    <a:pt x="127" y="55"/>
                  </a:lnTo>
                  <a:lnTo>
                    <a:pt x="126" y="55"/>
                  </a:lnTo>
                  <a:lnTo>
                    <a:pt x="126" y="54"/>
                  </a:lnTo>
                  <a:lnTo>
                    <a:pt x="124" y="54"/>
                  </a:lnTo>
                  <a:lnTo>
                    <a:pt x="124" y="55"/>
                  </a:lnTo>
                  <a:lnTo>
                    <a:pt x="124" y="58"/>
                  </a:lnTo>
                  <a:lnTo>
                    <a:pt x="123" y="58"/>
                  </a:lnTo>
                  <a:lnTo>
                    <a:pt x="123" y="57"/>
                  </a:lnTo>
                  <a:lnTo>
                    <a:pt x="123" y="58"/>
                  </a:lnTo>
                  <a:lnTo>
                    <a:pt x="123" y="57"/>
                  </a:lnTo>
                  <a:lnTo>
                    <a:pt x="122" y="58"/>
                  </a:lnTo>
                  <a:lnTo>
                    <a:pt x="122" y="57"/>
                  </a:lnTo>
                  <a:lnTo>
                    <a:pt x="122" y="58"/>
                  </a:lnTo>
                  <a:lnTo>
                    <a:pt x="121" y="58"/>
                  </a:lnTo>
                  <a:lnTo>
                    <a:pt x="121" y="57"/>
                  </a:lnTo>
                  <a:lnTo>
                    <a:pt x="121" y="55"/>
                  </a:lnTo>
                  <a:lnTo>
                    <a:pt x="120" y="55"/>
                  </a:lnTo>
                  <a:lnTo>
                    <a:pt x="120" y="57"/>
                  </a:lnTo>
                  <a:lnTo>
                    <a:pt x="120" y="58"/>
                  </a:lnTo>
                  <a:lnTo>
                    <a:pt x="120" y="59"/>
                  </a:lnTo>
                  <a:lnTo>
                    <a:pt x="121" y="59"/>
                  </a:lnTo>
                  <a:lnTo>
                    <a:pt x="122" y="60"/>
                  </a:lnTo>
                  <a:lnTo>
                    <a:pt x="123" y="60"/>
                  </a:lnTo>
                  <a:lnTo>
                    <a:pt x="124" y="61"/>
                  </a:lnTo>
                  <a:lnTo>
                    <a:pt x="126" y="61"/>
                  </a:lnTo>
                  <a:lnTo>
                    <a:pt x="127" y="61"/>
                  </a:lnTo>
                  <a:lnTo>
                    <a:pt x="128" y="61"/>
                  </a:lnTo>
                  <a:lnTo>
                    <a:pt x="129" y="61"/>
                  </a:lnTo>
                  <a:lnTo>
                    <a:pt x="129" y="60"/>
                  </a:lnTo>
                  <a:lnTo>
                    <a:pt x="129" y="61"/>
                  </a:lnTo>
                  <a:lnTo>
                    <a:pt x="130" y="61"/>
                  </a:lnTo>
                  <a:lnTo>
                    <a:pt x="132" y="60"/>
                  </a:lnTo>
                  <a:lnTo>
                    <a:pt x="133" y="60"/>
                  </a:lnTo>
                  <a:lnTo>
                    <a:pt x="130" y="61"/>
                  </a:lnTo>
                  <a:lnTo>
                    <a:pt x="134" y="61"/>
                  </a:lnTo>
                  <a:lnTo>
                    <a:pt x="132" y="63"/>
                  </a:lnTo>
                  <a:lnTo>
                    <a:pt x="130" y="63"/>
                  </a:lnTo>
                  <a:lnTo>
                    <a:pt x="132" y="63"/>
                  </a:lnTo>
                  <a:lnTo>
                    <a:pt x="130" y="61"/>
                  </a:lnTo>
                  <a:lnTo>
                    <a:pt x="129" y="61"/>
                  </a:lnTo>
                  <a:lnTo>
                    <a:pt x="129" y="63"/>
                  </a:lnTo>
                  <a:lnTo>
                    <a:pt x="129" y="64"/>
                  </a:lnTo>
                  <a:lnTo>
                    <a:pt x="129" y="65"/>
                  </a:lnTo>
                  <a:lnTo>
                    <a:pt x="128" y="65"/>
                  </a:lnTo>
                  <a:lnTo>
                    <a:pt x="129" y="65"/>
                  </a:lnTo>
                  <a:lnTo>
                    <a:pt x="129" y="66"/>
                  </a:lnTo>
                  <a:lnTo>
                    <a:pt x="130" y="67"/>
                  </a:lnTo>
                  <a:lnTo>
                    <a:pt x="130" y="66"/>
                  </a:lnTo>
                  <a:lnTo>
                    <a:pt x="132" y="66"/>
                  </a:lnTo>
                  <a:lnTo>
                    <a:pt x="132" y="67"/>
                  </a:lnTo>
                  <a:lnTo>
                    <a:pt x="134" y="66"/>
                  </a:lnTo>
                  <a:lnTo>
                    <a:pt x="134" y="65"/>
                  </a:lnTo>
                  <a:lnTo>
                    <a:pt x="136" y="64"/>
                  </a:lnTo>
                  <a:lnTo>
                    <a:pt x="135" y="65"/>
                  </a:lnTo>
                  <a:lnTo>
                    <a:pt x="136" y="65"/>
                  </a:lnTo>
                  <a:lnTo>
                    <a:pt x="136" y="66"/>
                  </a:lnTo>
                  <a:lnTo>
                    <a:pt x="135" y="66"/>
                  </a:lnTo>
                  <a:lnTo>
                    <a:pt x="135" y="67"/>
                  </a:lnTo>
                  <a:lnTo>
                    <a:pt x="135" y="66"/>
                  </a:lnTo>
                  <a:lnTo>
                    <a:pt x="134" y="66"/>
                  </a:lnTo>
                  <a:lnTo>
                    <a:pt x="135" y="67"/>
                  </a:lnTo>
                  <a:lnTo>
                    <a:pt x="134" y="67"/>
                  </a:lnTo>
                  <a:lnTo>
                    <a:pt x="133" y="67"/>
                  </a:lnTo>
                  <a:lnTo>
                    <a:pt x="134" y="67"/>
                  </a:lnTo>
                  <a:lnTo>
                    <a:pt x="135" y="69"/>
                  </a:lnTo>
                  <a:lnTo>
                    <a:pt x="134" y="69"/>
                  </a:lnTo>
                  <a:lnTo>
                    <a:pt x="133" y="69"/>
                  </a:lnTo>
                  <a:lnTo>
                    <a:pt x="132" y="69"/>
                  </a:lnTo>
                  <a:lnTo>
                    <a:pt x="132" y="70"/>
                  </a:lnTo>
                  <a:lnTo>
                    <a:pt x="133" y="71"/>
                  </a:lnTo>
                  <a:lnTo>
                    <a:pt x="134" y="71"/>
                  </a:lnTo>
                  <a:lnTo>
                    <a:pt x="136" y="71"/>
                  </a:lnTo>
                  <a:lnTo>
                    <a:pt x="135" y="71"/>
                  </a:lnTo>
                  <a:lnTo>
                    <a:pt x="135" y="72"/>
                  </a:lnTo>
                  <a:lnTo>
                    <a:pt x="136" y="73"/>
                  </a:lnTo>
                  <a:lnTo>
                    <a:pt x="135" y="72"/>
                  </a:lnTo>
                  <a:lnTo>
                    <a:pt x="134" y="72"/>
                  </a:lnTo>
                  <a:lnTo>
                    <a:pt x="134" y="73"/>
                  </a:lnTo>
                  <a:lnTo>
                    <a:pt x="134" y="72"/>
                  </a:lnTo>
                  <a:lnTo>
                    <a:pt x="133" y="73"/>
                  </a:lnTo>
                  <a:lnTo>
                    <a:pt x="132" y="73"/>
                  </a:lnTo>
                  <a:lnTo>
                    <a:pt x="133" y="73"/>
                  </a:lnTo>
                  <a:lnTo>
                    <a:pt x="132" y="73"/>
                  </a:lnTo>
                  <a:lnTo>
                    <a:pt x="132" y="75"/>
                  </a:lnTo>
                  <a:lnTo>
                    <a:pt x="133" y="75"/>
                  </a:lnTo>
                  <a:lnTo>
                    <a:pt x="134" y="76"/>
                  </a:lnTo>
                  <a:lnTo>
                    <a:pt x="134" y="77"/>
                  </a:lnTo>
                  <a:lnTo>
                    <a:pt x="135" y="77"/>
                  </a:lnTo>
                  <a:lnTo>
                    <a:pt x="135" y="78"/>
                  </a:lnTo>
                  <a:lnTo>
                    <a:pt x="136" y="78"/>
                  </a:lnTo>
                  <a:lnTo>
                    <a:pt x="138" y="78"/>
                  </a:lnTo>
                  <a:lnTo>
                    <a:pt x="139" y="78"/>
                  </a:lnTo>
                  <a:lnTo>
                    <a:pt x="139" y="79"/>
                  </a:lnTo>
                  <a:lnTo>
                    <a:pt x="138" y="79"/>
                  </a:lnTo>
                  <a:lnTo>
                    <a:pt x="139" y="79"/>
                  </a:lnTo>
                  <a:lnTo>
                    <a:pt x="139" y="81"/>
                  </a:lnTo>
                  <a:lnTo>
                    <a:pt x="138" y="81"/>
                  </a:lnTo>
                  <a:lnTo>
                    <a:pt x="138" y="79"/>
                  </a:lnTo>
                  <a:lnTo>
                    <a:pt x="138" y="81"/>
                  </a:lnTo>
                  <a:lnTo>
                    <a:pt x="138" y="79"/>
                  </a:lnTo>
                  <a:lnTo>
                    <a:pt x="136" y="79"/>
                  </a:lnTo>
                  <a:lnTo>
                    <a:pt x="135" y="78"/>
                  </a:lnTo>
                  <a:lnTo>
                    <a:pt x="135" y="79"/>
                  </a:lnTo>
                  <a:lnTo>
                    <a:pt x="135" y="81"/>
                  </a:lnTo>
                  <a:lnTo>
                    <a:pt x="135" y="82"/>
                  </a:lnTo>
                  <a:lnTo>
                    <a:pt x="135" y="81"/>
                  </a:lnTo>
                  <a:lnTo>
                    <a:pt x="135" y="79"/>
                  </a:lnTo>
                  <a:lnTo>
                    <a:pt x="134" y="81"/>
                  </a:lnTo>
                  <a:lnTo>
                    <a:pt x="134" y="82"/>
                  </a:lnTo>
                  <a:lnTo>
                    <a:pt x="133" y="81"/>
                  </a:lnTo>
                  <a:lnTo>
                    <a:pt x="133" y="79"/>
                  </a:lnTo>
                  <a:lnTo>
                    <a:pt x="133" y="81"/>
                  </a:lnTo>
                  <a:lnTo>
                    <a:pt x="132" y="81"/>
                  </a:lnTo>
                  <a:lnTo>
                    <a:pt x="132" y="79"/>
                  </a:lnTo>
                  <a:lnTo>
                    <a:pt x="132" y="78"/>
                  </a:lnTo>
                  <a:lnTo>
                    <a:pt x="130" y="79"/>
                  </a:lnTo>
                  <a:lnTo>
                    <a:pt x="130" y="78"/>
                  </a:lnTo>
                  <a:lnTo>
                    <a:pt x="130" y="77"/>
                  </a:lnTo>
                  <a:lnTo>
                    <a:pt x="129" y="77"/>
                  </a:lnTo>
                  <a:lnTo>
                    <a:pt x="129" y="78"/>
                  </a:lnTo>
                  <a:lnTo>
                    <a:pt x="129" y="79"/>
                  </a:lnTo>
                  <a:lnTo>
                    <a:pt x="129" y="78"/>
                  </a:lnTo>
                  <a:lnTo>
                    <a:pt x="129" y="77"/>
                  </a:lnTo>
                  <a:lnTo>
                    <a:pt x="129" y="76"/>
                  </a:lnTo>
                  <a:lnTo>
                    <a:pt x="128" y="76"/>
                  </a:lnTo>
                  <a:lnTo>
                    <a:pt x="128" y="77"/>
                  </a:lnTo>
                  <a:lnTo>
                    <a:pt x="128" y="78"/>
                  </a:lnTo>
                  <a:lnTo>
                    <a:pt x="129" y="78"/>
                  </a:lnTo>
                  <a:lnTo>
                    <a:pt x="129" y="79"/>
                  </a:lnTo>
                  <a:lnTo>
                    <a:pt x="130" y="81"/>
                  </a:lnTo>
                  <a:lnTo>
                    <a:pt x="132" y="81"/>
                  </a:lnTo>
                  <a:lnTo>
                    <a:pt x="132" y="82"/>
                  </a:lnTo>
                  <a:lnTo>
                    <a:pt x="133" y="82"/>
                  </a:lnTo>
                  <a:lnTo>
                    <a:pt x="134" y="83"/>
                  </a:lnTo>
                  <a:lnTo>
                    <a:pt x="135" y="82"/>
                  </a:lnTo>
                  <a:lnTo>
                    <a:pt x="136" y="82"/>
                  </a:lnTo>
                  <a:lnTo>
                    <a:pt x="138" y="82"/>
                  </a:lnTo>
                  <a:lnTo>
                    <a:pt x="139" y="82"/>
                  </a:lnTo>
                  <a:lnTo>
                    <a:pt x="139" y="81"/>
                  </a:lnTo>
                  <a:lnTo>
                    <a:pt x="140" y="79"/>
                  </a:lnTo>
                  <a:lnTo>
                    <a:pt x="140" y="78"/>
                  </a:lnTo>
                  <a:lnTo>
                    <a:pt x="141" y="78"/>
                  </a:lnTo>
                  <a:lnTo>
                    <a:pt x="140" y="77"/>
                  </a:lnTo>
                  <a:lnTo>
                    <a:pt x="141" y="77"/>
                  </a:lnTo>
                  <a:lnTo>
                    <a:pt x="141" y="78"/>
                  </a:lnTo>
                  <a:lnTo>
                    <a:pt x="144" y="76"/>
                  </a:lnTo>
                  <a:lnTo>
                    <a:pt x="145" y="76"/>
                  </a:lnTo>
                  <a:lnTo>
                    <a:pt x="144" y="76"/>
                  </a:lnTo>
                  <a:lnTo>
                    <a:pt x="146" y="76"/>
                  </a:lnTo>
                  <a:lnTo>
                    <a:pt x="145" y="77"/>
                  </a:lnTo>
                  <a:lnTo>
                    <a:pt x="144" y="77"/>
                  </a:lnTo>
                  <a:lnTo>
                    <a:pt x="145" y="78"/>
                  </a:lnTo>
                  <a:lnTo>
                    <a:pt x="144" y="77"/>
                  </a:lnTo>
                  <a:lnTo>
                    <a:pt x="142" y="78"/>
                  </a:lnTo>
                  <a:lnTo>
                    <a:pt x="144" y="79"/>
                  </a:lnTo>
                  <a:lnTo>
                    <a:pt x="142" y="78"/>
                  </a:lnTo>
                  <a:lnTo>
                    <a:pt x="142" y="79"/>
                  </a:lnTo>
                  <a:lnTo>
                    <a:pt x="141" y="79"/>
                  </a:lnTo>
                  <a:lnTo>
                    <a:pt x="141" y="81"/>
                  </a:lnTo>
                  <a:lnTo>
                    <a:pt x="142" y="82"/>
                  </a:lnTo>
                  <a:lnTo>
                    <a:pt x="141" y="81"/>
                  </a:lnTo>
                  <a:lnTo>
                    <a:pt x="140" y="81"/>
                  </a:lnTo>
                  <a:lnTo>
                    <a:pt x="141" y="82"/>
                  </a:lnTo>
                  <a:lnTo>
                    <a:pt x="142" y="82"/>
                  </a:lnTo>
                  <a:lnTo>
                    <a:pt x="141" y="83"/>
                  </a:lnTo>
                  <a:lnTo>
                    <a:pt x="142" y="83"/>
                  </a:lnTo>
                  <a:lnTo>
                    <a:pt x="142" y="84"/>
                  </a:lnTo>
                  <a:lnTo>
                    <a:pt x="141" y="84"/>
                  </a:lnTo>
                  <a:lnTo>
                    <a:pt x="142" y="85"/>
                  </a:lnTo>
                  <a:lnTo>
                    <a:pt x="141" y="85"/>
                  </a:lnTo>
                  <a:lnTo>
                    <a:pt x="140" y="84"/>
                  </a:lnTo>
                  <a:lnTo>
                    <a:pt x="140" y="83"/>
                  </a:lnTo>
                  <a:lnTo>
                    <a:pt x="140" y="84"/>
                  </a:lnTo>
                  <a:lnTo>
                    <a:pt x="140" y="85"/>
                  </a:lnTo>
                  <a:lnTo>
                    <a:pt x="139" y="85"/>
                  </a:lnTo>
                  <a:lnTo>
                    <a:pt x="139" y="87"/>
                  </a:lnTo>
                  <a:lnTo>
                    <a:pt x="140" y="87"/>
                  </a:lnTo>
                  <a:lnTo>
                    <a:pt x="140" y="85"/>
                  </a:lnTo>
                  <a:lnTo>
                    <a:pt x="140" y="87"/>
                  </a:lnTo>
                  <a:lnTo>
                    <a:pt x="141" y="87"/>
                  </a:lnTo>
                  <a:lnTo>
                    <a:pt x="142" y="87"/>
                  </a:lnTo>
                  <a:lnTo>
                    <a:pt x="144" y="88"/>
                  </a:lnTo>
                  <a:lnTo>
                    <a:pt x="142" y="88"/>
                  </a:lnTo>
                  <a:lnTo>
                    <a:pt x="141" y="88"/>
                  </a:lnTo>
                  <a:lnTo>
                    <a:pt x="142" y="88"/>
                  </a:lnTo>
                  <a:lnTo>
                    <a:pt x="142" y="89"/>
                  </a:lnTo>
                  <a:lnTo>
                    <a:pt x="141" y="88"/>
                  </a:lnTo>
                  <a:lnTo>
                    <a:pt x="141" y="89"/>
                  </a:lnTo>
                  <a:lnTo>
                    <a:pt x="141" y="88"/>
                  </a:lnTo>
                  <a:lnTo>
                    <a:pt x="140" y="88"/>
                  </a:lnTo>
                  <a:lnTo>
                    <a:pt x="141" y="89"/>
                  </a:lnTo>
                  <a:lnTo>
                    <a:pt x="140" y="90"/>
                  </a:lnTo>
                  <a:lnTo>
                    <a:pt x="140" y="89"/>
                  </a:lnTo>
                  <a:lnTo>
                    <a:pt x="139" y="89"/>
                  </a:lnTo>
                  <a:lnTo>
                    <a:pt x="139" y="88"/>
                  </a:lnTo>
                  <a:lnTo>
                    <a:pt x="139" y="89"/>
                  </a:lnTo>
                  <a:lnTo>
                    <a:pt x="138" y="89"/>
                  </a:lnTo>
                  <a:lnTo>
                    <a:pt x="138" y="90"/>
                  </a:lnTo>
                  <a:lnTo>
                    <a:pt x="138" y="91"/>
                  </a:lnTo>
                  <a:lnTo>
                    <a:pt x="139" y="90"/>
                  </a:lnTo>
                  <a:lnTo>
                    <a:pt x="139" y="91"/>
                  </a:lnTo>
                  <a:lnTo>
                    <a:pt x="138" y="91"/>
                  </a:lnTo>
                  <a:lnTo>
                    <a:pt x="140" y="91"/>
                  </a:lnTo>
                  <a:lnTo>
                    <a:pt x="140" y="93"/>
                  </a:lnTo>
                  <a:lnTo>
                    <a:pt x="141" y="93"/>
                  </a:lnTo>
                  <a:lnTo>
                    <a:pt x="141" y="94"/>
                  </a:lnTo>
                  <a:lnTo>
                    <a:pt x="142" y="95"/>
                  </a:lnTo>
                  <a:lnTo>
                    <a:pt x="142" y="94"/>
                  </a:lnTo>
                  <a:lnTo>
                    <a:pt x="144" y="95"/>
                  </a:lnTo>
                  <a:lnTo>
                    <a:pt x="145" y="94"/>
                  </a:lnTo>
                  <a:lnTo>
                    <a:pt x="145" y="95"/>
                  </a:lnTo>
                  <a:lnTo>
                    <a:pt x="145" y="96"/>
                  </a:lnTo>
                  <a:lnTo>
                    <a:pt x="144" y="96"/>
                  </a:lnTo>
                  <a:lnTo>
                    <a:pt x="144" y="95"/>
                  </a:lnTo>
                  <a:lnTo>
                    <a:pt x="144" y="96"/>
                  </a:lnTo>
                  <a:lnTo>
                    <a:pt x="142" y="96"/>
                  </a:lnTo>
                  <a:lnTo>
                    <a:pt x="144" y="96"/>
                  </a:lnTo>
                  <a:lnTo>
                    <a:pt x="144" y="97"/>
                  </a:lnTo>
                  <a:lnTo>
                    <a:pt x="144" y="99"/>
                  </a:lnTo>
                  <a:lnTo>
                    <a:pt x="144" y="100"/>
                  </a:lnTo>
                  <a:lnTo>
                    <a:pt x="145" y="100"/>
                  </a:lnTo>
                  <a:lnTo>
                    <a:pt x="145" y="101"/>
                  </a:lnTo>
                  <a:lnTo>
                    <a:pt x="146" y="101"/>
                  </a:lnTo>
                  <a:lnTo>
                    <a:pt x="147" y="101"/>
                  </a:lnTo>
                  <a:lnTo>
                    <a:pt x="146" y="101"/>
                  </a:lnTo>
                  <a:lnTo>
                    <a:pt x="148" y="103"/>
                  </a:lnTo>
                  <a:lnTo>
                    <a:pt x="150" y="106"/>
                  </a:lnTo>
                  <a:lnTo>
                    <a:pt x="151" y="106"/>
                  </a:lnTo>
                  <a:lnTo>
                    <a:pt x="152" y="106"/>
                  </a:lnTo>
                  <a:lnTo>
                    <a:pt x="151" y="106"/>
                  </a:lnTo>
                  <a:lnTo>
                    <a:pt x="151" y="107"/>
                  </a:lnTo>
                  <a:lnTo>
                    <a:pt x="153" y="108"/>
                  </a:lnTo>
                  <a:lnTo>
                    <a:pt x="152" y="108"/>
                  </a:lnTo>
                  <a:lnTo>
                    <a:pt x="151" y="107"/>
                  </a:lnTo>
                  <a:lnTo>
                    <a:pt x="152" y="110"/>
                  </a:lnTo>
                  <a:lnTo>
                    <a:pt x="153" y="108"/>
                  </a:lnTo>
                  <a:lnTo>
                    <a:pt x="153" y="110"/>
                  </a:lnTo>
                  <a:lnTo>
                    <a:pt x="155" y="111"/>
                  </a:lnTo>
                  <a:lnTo>
                    <a:pt x="153" y="111"/>
                  </a:lnTo>
                  <a:lnTo>
                    <a:pt x="155" y="111"/>
                  </a:lnTo>
                  <a:lnTo>
                    <a:pt x="156" y="111"/>
                  </a:lnTo>
                  <a:lnTo>
                    <a:pt x="157" y="112"/>
                  </a:lnTo>
                  <a:lnTo>
                    <a:pt x="156" y="113"/>
                  </a:lnTo>
                  <a:lnTo>
                    <a:pt x="158" y="114"/>
                  </a:lnTo>
                  <a:lnTo>
                    <a:pt x="156" y="113"/>
                  </a:lnTo>
                  <a:lnTo>
                    <a:pt x="156" y="114"/>
                  </a:lnTo>
                  <a:lnTo>
                    <a:pt x="155" y="114"/>
                  </a:lnTo>
                  <a:lnTo>
                    <a:pt x="155" y="113"/>
                  </a:lnTo>
                  <a:lnTo>
                    <a:pt x="155" y="112"/>
                  </a:lnTo>
                  <a:lnTo>
                    <a:pt x="153" y="113"/>
                  </a:lnTo>
                  <a:lnTo>
                    <a:pt x="153" y="111"/>
                  </a:lnTo>
                  <a:lnTo>
                    <a:pt x="153" y="114"/>
                  </a:lnTo>
                  <a:lnTo>
                    <a:pt x="152" y="113"/>
                  </a:lnTo>
                  <a:lnTo>
                    <a:pt x="152" y="114"/>
                  </a:lnTo>
                  <a:lnTo>
                    <a:pt x="151" y="114"/>
                  </a:lnTo>
                  <a:lnTo>
                    <a:pt x="151" y="113"/>
                  </a:lnTo>
                  <a:lnTo>
                    <a:pt x="151" y="112"/>
                  </a:lnTo>
                  <a:lnTo>
                    <a:pt x="150" y="111"/>
                  </a:lnTo>
                  <a:lnTo>
                    <a:pt x="148" y="111"/>
                  </a:lnTo>
                  <a:lnTo>
                    <a:pt x="148" y="112"/>
                  </a:lnTo>
                  <a:lnTo>
                    <a:pt x="148" y="111"/>
                  </a:lnTo>
                  <a:lnTo>
                    <a:pt x="148" y="110"/>
                  </a:lnTo>
                  <a:lnTo>
                    <a:pt x="147" y="110"/>
                  </a:lnTo>
                  <a:lnTo>
                    <a:pt x="146" y="110"/>
                  </a:lnTo>
                  <a:lnTo>
                    <a:pt x="146" y="111"/>
                  </a:lnTo>
                  <a:lnTo>
                    <a:pt x="147" y="112"/>
                  </a:lnTo>
                  <a:lnTo>
                    <a:pt x="148" y="112"/>
                  </a:lnTo>
                  <a:lnTo>
                    <a:pt x="148" y="114"/>
                  </a:lnTo>
                  <a:lnTo>
                    <a:pt x="150" y="114"/>
                  </a:lnTo>
                  <a:lnTo>
                    <a:pt x="150" y="116"/>
                  </a:lnTo>
                  <a:lnTo>
                    <a:pt x="152" y="117"/>
                  </a:lnTo>
                  <a:lnTo>
                    <a:pt x="153" y="118"/>
                  </a:lnTo>
                  <a:lnTo>
                    <a:pt x="152" y="118"/>
                  </a:lnTo>
                  <a:lnTo>
                    <a:pt x="153" y="119"/>
                  </a:lnTo>
                  <a:lnTo>
                    <a:pt x="152" y="118"/>
                  </a:lnTo>
                  <a:lnTo>
                    <a:pt x="151" y="119"/>
                  </a:lnTo>
                  <a:lnTo>
                    <a:pt x="151" y="118"/>
                  </a:lnTo>
                  <a:lnTo>
                    <a:pt x="151" y="117"/>
                  </a:lnTo>
                  <a:lnTo>
                    <a:pt x="150" y="117"/>
                  </a:lnTo>
                  <a:lnTo>
                    <a:pt x="150" y="118"/>
                  </a:lnTo>
                  <a:lnTo>
                    <a:pt x="150" y="116"/>
                  </a:lnTo>
                  <a:lnTo>
                    <a:pt x="148" y="118"/>
                  </a:lnTo>
                  <a:lnTo>
                    <a:pt x="148" y="119"/>
                  </a:lnTo>
                  <a:lnTo>
                    <a:pt x="148" y="118"/>
                  </a:lnTo>
                  <a:lnTo>
                    <a:pt x="148" y="117"/>
                  </a:lnTo>
                  <a:lnTo>
                    <a:pt x="147" y="117"/>
                  </a:lnTo>
                  <a:lnTo>
                    <a:pt x="148" y="114"/>
                  </a:lnTo>
                  <a:lnTo>
                    <a:pt x="148" y="113"/>
                  </a:lnTo>
                  <a:lnTo>
                    <a:pt x="148" y="114"/>
                  </a:lnTo>
                  <a:lnTo>
                    <a:pt x="147" y="117"/>
                  </a:lnTo>
                  <a:lnTo>
                    <a:pt x="147" y="116"/>
                  </a:lnTo>
                  <a:lnTo>
                    <a:pt x="147" y="113"/>
                  </a:lnTo>
                  <a:lnTo>
                    <a:pt x="147" y="114"/>
                  </a:lnTo>
                  <a:lnTo>
                    <a:pt x="147" y="116"/>
                  </a:lnTo>
                  <a:lnTo>
                    <a:pt x="147" y="112"/>
                  </a:lnTo>
                  <a:lnTo>
                    <a:pt x="146" y="114"/>
                  </a:lnTo>
                  <a:lnTo>
                    <a:pt x="146" y="116"/>
                  </a:lnTo>
                  <a:lnTo>
                    <a:pt x="145" y="116"/>
                  </a:lnTo>
                  <a:lnTo>
                    <a:pt x="145" y="113"/>
                  </a:lnTo>
                  <a:lnTo>
                    <a:pt x="144" y="113"/>
                  </a:lnTo>
                  <a:lnTo>
                    <a:pt x="144" y="112"/>
                  </a:lnTo>
                  <a:lnTo>
                    <a:pt x="144" y="111"/>
                  </a:lnTo>
                  <a:lnTo>
                    <a:pt x="144" y="112"/>
                  </a:lnTo>
                  <a:lnTo>
                    <a:pt x="144" y="113"/>
                  </a:lnTo>
                  <a:lnTo>
                    <a:pt x="142" y="113"/>
                  </a:lnTo>
                  <a:lnTo>
                    <a:pt x="142" y="112"/>
                  </a:lnTo>
                  <a:lnTo>
                    <a:pt x="141" y="112"/>
                  </a:lnTo>
                  <a:lnTo>
                    <a:pt x="141" y="113"/>
                  </a:lnTo>
                  <a:lnTo>
                    <a:pt x="142" y="114"/>
                  </a:lnTo>
                  <a:lnTo>
                    <a:pt x="141" y="114"/>
                  </a:lnTo>
                  <a:lnTo>
                    <a:pt x="142" y="114"/>
                  </a:lnTo>
                  <a:lnTo>
                    <a:pt x="142" y="116"/>
                  </a:lnTo>
                  <a:lnTo>
                    <a:pt x="144" y="117"/>
                  </a:lnTo>
                  <a:lnTo>
                    <a:pt x="145" y="117"/>
                  </a:lnTo>
                  <a:lnTo>
                    <a:pt x="146" y="118"/>
                  </a:lnTo>
                  <a:lnTo>
                    <a:pt x="145" y="118"/>
                  </a:lnTo>
                  <a:lnTo>
                    <a:pt x="146" y="118"/>
                  </a:lnTo>
                  <a:lnTo>
                    <a:pt x="147" y="119"/>
                  </a:lnTo>
                  <a:lnTo>
                    <a:pt x="146" y="119"/>
                  </a:lnTo>
                  <a:lnTo>
                    <a:pt x="147" y="120"/>
                  </a:lnTo>
                  <a:lnTo>
                    <a:pt x="147" y="119"/>
                  </a:lnTo>
                  <a:lnTo>
                    <a:pt x="148" y="119"/>
                  </a:lnTo>
                  <a:lnTo>
                    <a:pt x="148" y="120"/>
                  </a:lnTo>
                  <a:lnTo>
                    <a:pt x="150" y="120"/>
                  </a:lnTo>
                  <a:lnTo>
                    <a:pt x="148" y="120"/>
                  </a:lnTo>
                  <a:lnTo>
                    <a:pt x="148" y="122"/>
                  </a:lnTo>
                  <a:lnTo>
                    <a:pt x="150" y="122"/>
                  </a:lnTo>
                  <a:lnTo>
                    <a:pt x="148" y="122"/>
                  </a:lnTo>
                  <a:lnTo>
                    <a:pt x="150" y="123"/>
                  </a:lnTo>
                  <a:lnTo>
                    <a:pt x="151" y="123"/>
                  </a:lnTo>
                  <a:lnTo>
                    <a:pt x="152" y="123"/>
                  </a:lnTo>
                  <a:lnTo>
                    <a:pt x="151" y="124"/>
                  </a:lnTo>
                  <a:lnTo>
                    <a:pt x="152" y="125"/>
                  </a:lnTo>
                  <a:lnTo>
                    <a:pt x="151" y="124"/>
                  </a:lnTo>
                  <a:lnTo>
                    <a:pt x="150" y="124"/>
                  </a:lnTo>
                  <a:lnTo>
                    <a:pt x="150" y="125"/>
                  </a:lnTo>
                  <a:lnTo>
                    <a:pt x="151" y="125"/>
                  </a:lnTo>
                  <a:lnTo>
                    <a:pt x="152" y="125"/>
                  </a:lnTo>
                  <a:lnTo>
                    <a:pt x="153" y="126"/>
                  </a:lnTo>
                  <a:lnTo>
                    <a:pt x="153" y="125"/>
                  </a:lnTo>
                  <a:lnTo>
                    <a:pt x="155" y="126"/>
                  </a:lnTo>
                  <a:lnTo>
                    <a:pt x="153" y="126"/>
                  </a:lnTo>
                  <a:lnTo>
                    <a:pt x="155" y="126"/>
                  </a:lnTo>
                  <a:lnTo>
                    <a:pt x="155" y="128"/>
                  </a:lnTo>
                  <a:lnTo>
                    <a:pt x="153" y="128"/>
                  </a:lnTo>
                  <a:lnTo>
                    <a:pt x="152" y="128"/>
                  </a:lnTo>
                  <a:lnTo>
                    <a:pt x="152" y="129"/>
                  </a:lnTo>
                  <a:lnTo>
                    <a:pt x="152" y="128"/>
                  </a:lnTo>
                  <a:lnTo>
                    <a:pt x="152" y="126"/>
                  </a:lnTo>
                  <a:lnTo>
                    <a:pt x="152" y="128"/>
                  </a:lnTo>
                  <a:lnTo>
                    <a:pt x="151" y="128"/>
                  </a:lnTo>
                  <a:lnTo>
                    <a:pt x="151" y="126"/>
                  </a:lnTo>
                  <a:lnTo>
                    <a:pt x="151" y="128"/>
                  </a:lnTo>
                  <a:lnTo>
                    <a:pt x="151" y="129"/>
                  </a:lnTo>
                  <a:lnTo>
                    <a:pt x="152" y="129"/>
                  </a:lnTo>
                  <a:lnTo>
                    <a:pt x="151" y="129"/>
                  </a:lnTo>
                  <a:lnTo>
                    <a:pt x="152" y="129"/>
                  </a:lnTo>
                  <a:lnTo>
                    <a:pt x="153" y="129"/>
                  </a:lnTo>
                  <a:lnTo>
                    <a:pt x="155" y="128"/>
                  </a:lnTo>
                  <a:lnTo>
                    <a:pt x="155" y="129"/>
                  </a:lnTo>
                  <a:lnTo>
                    <a:pt x="156" y="129"/>
                  </a:lnTo>
                  <a:lnTo>
                    <a:pt x="157" y="130"/>
                  </a:lnTo>
                  <a:lnTo>
                    <a:pt x="156" y="130"/>
                  </a:lnTo>
                  <a:lnTo>
                    <a:pt x="155" y="130"/>
                  </a:lnTo>
                  <a:lnTo>
                    <a:pt x="156" y="131"/>
                  </a:lnTo>
                  <a:lnTo>
                    <a:pt x="157" y="131"/>
                  </a:lnTo>
                  <a:lnTo>
                    <a:pt x="158" y="131"/>
                  </a:lnTo>
                  <a:lnTo>
                    <a:pt x="159" y="131"/>
                  </a:lnTo>
                  <a:lnTo>
                    <a:pt x="161" y="131"/>
                  </a:lnTo>
                  <a:lnTo>
                    <a:pt x="161" y="132"/>
                  </a:lnTo>
                  <a:lnTo>
                    <a:pt x="162" y="132"/>
                  </a:lnTo>
                  <a:lnTo>
                    <a:pt x="163" y="134"/>
                  </a:lnTo>
                  <a:lnTo>
                    <a:pt x="164" y="134"/>
                  </a:lnTo>
                  <a:lnTo>
                    <a:pt x="164" y="132"/>
                  </a:lnTo>
                  <a:lnTo>
                    <a:pt x="165" y="132"/>
                  </a:lnTo>
                  <a:lnTo>
                    <a:pt x="165" y="134"/>
                  </a:lnTo>
                  <a:lnTo>
                    <a:pt x="164" y="134"/>
                  </a:lnTo>
                  <a:lnTo>
                    <a:pt x="164" y="135"/>
                  </a:lnTo>
                  <a:lnTo>
                    <a:pt x="165" y="135"/>
                  </a:lnTo>
                  <a:lnTo>
                    <a:pt x="167" y="135"/>
                  </a:lnTo>
                  <a:lnTo>
                    <a:pt x="168" y="135"/>
                  </a:lnTo>
                  <a:lnTo>
                    <a:pt x="167" y="136"/>
                  </a:lnTo>
                  <a:lnTo>
                    <a:pt x="167" y="135"/>
                  </a:lnTo>
                  <a:lnTo>
                    <a:pt x="165" y="135"/>
                  </a:lnTo>
                  <a:lnTo>
                    <a:pt x="165" y="136"/>
                  </a:lnTo>
                  <a:lnTo>
                    <a:pt x="167" y="137"/>
                  </a:lnTo>
                  <a:lnTo>
                    <a:pt x="168" y="137"/>
                  </a:lnTo>
                  <a:lnTo>
                    <a:pt x="170" y="137"/>
                  </a:lnTo>
                  <a:lnTo>
                    <a:pt x="171" y="137"/>
                  </a:lnTo>
                  <a:lnTo>
                    <a:pt x="170" y="138"/>
                  </a:lnTo>
                  <a:lnTo>
                    <a:pt x="171" y="138"/>
                  </a:lnTo>
                  <a:lnTo>
                    <a:pt x="171" y="140"/>
                  </a:lnTo>
                  <a:lnTo>
                    <a:pt x="170" y="138"/>
                  </a:lnTo>
                  <a:lnTo>
                    <a:pt x="169" y="138"/>
                  </a:lnTo>
                  <a:lnTo>
                    <a:pt x="170" y="140"/>
                  </a:lnTo>
                  <a:lnTo>
                    <a:pt x="169" y="140"/>
                  </a:lnTo>
                  <a:lnTo>
                    <a:pt x="169" y="138"/>
                  </a:lnTo>
                  <a:lnTo>
                    <a:pt x="168" y="137"/>
                  </a:lnTo>
                  <a:lnTo>
                    <a:pt x="168" y="138"/>
                  </a:lnTo>
                  <a:lnTo>
                    <a:pt x="169" y="140"/>
                  </a:lnTo>
                  <a:lnTo>
                    <a:pt x="171" y="141"/>
                  </a:lnTo>
                  <a:lnTo>
                    <a:pt x="170" y="141"/>
                  </a:lnTo>
                  <a:lnTo>
                    <a:pt x="169" y="141"/>
                  </a:lnTo>
                  <a:lnTo>
                    <a:pt x="169" y="142"/>
                  </a:lnTo>
                  <a:lnTo>
                    <a:pt x="169" y="141"/>
                  </a:lnTo>
                  <a:lnTo>
                    <a:pt x="169" y="140"/>
                  </a:lnTo>
                  <a:lnTo>
                    <a:pt x="168" y="140"/>
                  </a:lnTo>
                  <a:lnTo>
                    <a:pt x="168" y="142"/>
                  </a:lnTo>
                  <a:lnTo>
                    <a:pt x="168" y="143"/>
                  </a:lnTo>
                  <a:lnTo>
                    <a:pt x="167" y="143"/>
                  </a:lnTo>
                  <a:lnTo>
                    <a:pt x="167" y="142"/>
                  </a:lnTo>
                  <a:lnTo>
                    <a:pt x="165" y="142"/>
                  </a:lnTo>
                  <a:lnTo>
                    <a:pt x="165" y="141"/>
                  </a:lnTo>
                  <a:lnTo>
                    <a:pt x="164" y="141"/>
                  </a:lnTo>
                  <a:lnTo>
                    <a:pt x="164" y="142"/>
                  </a:lnTo>
                  <a:lnTo>
                    <a:pt x="164" y="143"/>
                  </a:lnTo>
                  <a:lnTo>
                    <a:pt x="163" y="143"/>
                  </a:lnTo>
                  <a:lnTo>
                    <a:pt x="163" y="141"/>
                  </a:lnTo>
                  <a:lnTo>
                    <a:pt x="163" y="142"/>
                  </a:lnTo>
                  <a:lnTo>
                    <a:pt x="162" y="141"/>
                  </a:lnTo>
                  <a:lnTo>
                    <a:pt x="161" y="141"/>
                  </a:lnTo>
                  <a:lnTo>
                    <a:pt x="162" y="141"/>
                  </a:lnTo>
                  <a:lnTo>
                    <a:pt x="162" y="140"/>
                  </a:lnTo>
                  <a:lnTo>
                    <a:pt x="162" y="138"/>
                  </a:lnTo>
                  <a:lnTo>
                    <a:pt x="161" y="138"/>
                  </a:lnTo>
                  <a:lnTo>
                    <a:pt x="161" y="140"/>
                  </a:lnTo>
                  <a:lnTo>
                    <a:pt x="162" y="140"/>
                  </a:lnTo>
                  <a:lnTo>
                    <a:pt x="161" y="141"/>
                  </a:lnTo>
                  <a:lnTo>
                    <a:pt x="161" y="142"/>
                  </a:lnTo>
                  <a:lnTo>
                    <a:pt x="161" y="143"/>
                  </a:lnTo>
                  <a:lnTo>
                    <a:pt x="161" y="142"/>
                  </a:lnTo>
                  <a:lnTo>
                    <a:pt x="159" y="142"/>
                  </a:lnTo>
                  <a:lnTo>
                    <a:pt x="159" y="140"/>
                  </a:lnTo>
                  <a:lnTo>
                    <a:pt x="159" y="141"/>
                  </a:lnTo>
                  <a:lnTo>
                    <a:pt x="158" y="141"/>
                  </a:lnTo>
                  <a:lnTo>
                    <a:pt x="158" y="142"/>
                  </a:lnTo>
                  <a:lnTo>
                    <a:pt x="158" y="143"/>
                  </a:lnTo>
                  <a:lnTo>
                    <a:pt x="159" y="143"/>
                  </a:lnTo>
                  <a:lnTo>
                    <a:pt x="161" y="144"/>
                  </a:lnTo>
                  <a:lnTo>
                    <a:pt x="159" y="144"/>
                  </a:lnTo>
                  <a:lnTo>
                    <a:pt x="159" y="143"/>
                  </a:lnTo>
                  <a:lnTo>
                    <a:pt x="159" y="144"/>
                  </a:lnTo>
                  <a:lnTo>
                    <a:pt x="159" y="146"/>
                  </a:lnTo>
                  <a:lnTo>
                    <a:pt x="161" y="146"/>
                  </a:lnTo>
                  <a:lnTo>
                    <a:pt x="161" y="144"/>
                  </a:lnTo>
                  <a:lnTo>
                    <a:pt x="161" y="146"/>
                  </a:lnTo>
                  <a:lnTo>
                    <a:pt x="162" y="146"/>
                  </a:lnTo>
                  <a:lnTo>
                    <a:pt x="163" y="144"/>
                  </a:lnTo>
                  <a:lnTo>
                    <a:pt x="164" y="144"/>
                  </a:lnTo>
                  <a:lnTo>
                    <a:pt x="167" y="144"/>
                  </a:lnTo>
                  <a:lnTo>
                    <a:pt x="168" y="144"/>
                  </a:lnTo>
                  <a:lnTo>
                    <a:pt x="168" y="146"/>
                  </a:lnTo>
                  <a:lnTo>
                    <a:pt x="168" y="144"/>
                  </a:lnTo>
                  <a:lnTo>
                    <a:pt x="169" y="144"/>
                  </a:lnTo>
                  <a:lnTo>
                    <a:pt x="170" y="144"/>
                  </a:lnTo>
                  <a:lnTo>
                    <a:pt x="170" y="146"/>
                  </a:lnTo>
                  <a:lnTo>
                    <a:pt x="171" y="146"/>
                  </a:lnTo>
                  <a:lnTo>
                    <a:pt x="173" y="146"/>
                  </a:lnTo>
                  <a:lnTo>
                    <a:pt x="174" y="146"/>
                  </a:lnTo>
                  <a:lnTo>
                    <a:pt x="175" y="146"/>
                  </a:lnTo>
                  <a:lnTo>
                    <a:pt x="175" y="147"/>
                  </a:lnTo>
                  <a:lnTo>
                    <a:pt x="176" y="147"/>
                  </a:lnTo>
                  <a:lnTo>
                    <a:pt x="177" y="147"/>
                  </a:lnTo>
                  <a:lnTo>
                    <a:pt x="177" y="148"/>
                  </a:lnTo>
                  <a:lnTo>
                    <a:pt x="179" y="148"/>
                  </a:lnTo>
                  <a:lnTo>
                    <a:pt x="180" y="148"/>
                  </a:lnTo>
                  <a:lnTo>
                    <a:pt x="181" y="148"/>
                  </a:lnTo>
                  <a:lnTo>
                    <a:pt x="182" y="148"/>
                  </a:lnTo>
                  <a:lnTo>
                    <a:pt x="181" y="148"/>
                  </a:lnTo>
                  <a:lnTo>
                    <a:pt x="181" y="149"/>
                  </a:lnTo>
                  <a:lnTo>
                    <a:pt x="183" y="149"/>
                  </a:lnTo>
                  <a:lnTo>
                    <a:pt x="182" y="150"/>
                  </a:lnTo>
                  <a:lnTo>
                    <a:pt x="181" y="149"/>
                  </a:lnTo>
                  <a:lnTo>
                    <a:pt x="181" y="150"/>
                  </a:lnTo>
                  <a:lnTo>
                    <a:pt x="180" y="150"/>
                  </a:lnTo>
                  <a:lnTo>
                    <a:pt x="180" y="149"/>
                  </a:lnTo>
                  <a:lnTo>
                    <a:pt x="179" y="149"/>
                  </a:lnTo>
                  <a:lnTo>
                    <a:pt x="179" y="150"/>
                  </a:lnTo>
                  <a:lnTo>
                    <a:pt x="179" y="152"/>
                  </a:lnTo>
                  <a:lnTo>
                    <a:pt x="177" y="152"/>
                  </a:lnTo>
                  <a:lnTo>
                    <a:pt x="177" y="153"/>
                  </a:lnTo>
                  <a:lnTo>
                    <a:pt x="176" y="153"/>
                  </a:lnTo>
                  <a:lnTo>
                    <a:pt x="176" y="152"/>
                  </a:lnTo>
                  <a:lnTo>
                    <a:pt x="176" y="150"/>
                  </a:lnTo>
                  <a:lnTo>
                    <a:pt x="176" y="149"/>
                  </a:lnTo>
                  <a:lnTo>
                    <a:pt x="176" y="148"/>
                  </a:lnTo>
                  <a:lnTo>
                    <a:pt x="175" y="148"/>
                  </a:lnTo>
                  <a:lnTo>
                    <a:pt x="176" y="148"/>
                  </a:lnTo>
                  <a:lnTo>
                    <a:pt x="176" y="149"/>
                  </a:lnTo>
                  <a:lnTo>
                    <a:pt x="175" y="149"/>
                  </a:lnTo>
                  <a:lnTo>
                    <a:pt x="176" y="150"/>
                  </a:lnTo>
                  <a:lnTo>
                    <a:pt x="176" y="152"/>
                  </a:lnTo>
                  <a:lnTo>
                    <a:pt x="175" y="152"/>
                  </a:lnTo>
                  <a:lnTo>
                    <a:pt x="175" y="150"/>
                  </a:lnTo>
                  <a:lnTo>
                    <a:pt x="174" y="150"/>
                  </a:lnTo>
                  <a:lnTo>
                    <a:pt x="174" y="149"/>
                  </a:lnTo>
                  <a:lnTo>
                    <a:pt x="174" y="150"/>
                  </a:lnTo>
                  <a:lnTo>
                    <a:pt x="174" y="152"/>
                  </a:lnTo>
                  <a:lnTo>
                    <a:pt x="174" y="153"/>
                  </a:lnTo>
                  <a:lnTo>
                    <a:pt x="173" y="153"/>
                  </a:lnTo>
                  <a:lnTo>
                    <a:pt x="173" y="152"/>
                  </a:lnTo>
                  <a:lnTo>
                    <a:pt x="173" y="150"/>
                  </a:lnTo>
                  <a:lnTo>
                    <a:pt x="173" y="149"/>
                  </a:lnTo>
                  <a:lnTo>
                    <a:pt x="171" y="150"/>
                  </a:lnTo>
                  <a:lnTo>
                    <a:pt x="171" y="149"/>
                  </a:lnTo>
                  <a:lnTo>
                    <a:pt x="171" y="148"/>
                  </a:lnTo>
                  <a:lnTo>
                    <a:pt x="171" y="149"/>
                  </a:lnTo>
                  <a:lnTo>
                    <a:pt x="171" y="150"/>
                  </a:lnTo>
                  <a:lnTo>
                    <a:pt x="171" y="152"/>
                  </a:lnTo>
                  <a:lnTo>
                    <a:pt x="171" y="150"/>
                  </a:lnTo>
                  <a:lnTo>
                    <a:pt x="170" y="150"/>
                  </a:lnTo>
                  <a:lnTo>
                    <a:pt x="170" y="152"/>
                  </a:lnTo>
                  <a:lnTo>
                    <a:pt x="170" y="150"/>
                  </a:lnTo>
                  <a:lnTo>
                    <a:pt x="169" y="150"/>
                  </a:lnTo>
                  <a:lnTo>
                    <a:pt x="169" y="152"/>
                  </a:lnTo>
                  <a:lnTo>
                    <a:pt x="169" y="153"/>
                  </a:lnTo>
                  <a:lnTo>
                    <a:pt x="169" y="154"/>
                  </a:lnTo>
                  <a:lnTo>
                    <a:pt x="168" y="154"/>
                  </a:lnTo>
                  <a:lnTo>
                    <a:pt x="168" y="153"/>
                  </a:lnTo>
                  <a:lnTo>
                    <a:pt x="168" y="152"/>
                  </a:lnTo>
                  <a:lnTo>
                    <a:pt x="167" y="152"/>
                  </a:lnTo>
                  <a:lnTo>
                    <a:pt x="167" y="150"/>
                  </a:lnTo>
                  <a:lnTo>
                    <a:pt x="167" y="152"/>
                  </a:lnTo>
                  <a:lnTo>
                    <a:pt x="165" y="152"/>
                  </a:lnTo>
                  <a:lnTo>
                    <a:pt x="165" y="153"/>
                  </a:lnTo>
                  <a:lnTo>
                    <a:pt x="165" y="154"/>
                  </a:lnTo>
                  <a:lnTo>
                    <a:pt x="165" y="153"/>
                  </a:lnTo>
                  <a:lnTo>
                    <a:pt x="164" y="153"/>
                  </a:lnTo>
                  <a:lnTo>
                    <a:pt x="164" y="154"/>
                  </a:lnTo>
                  <a:lnTo>
                    <a:pt x="163" y="154"/>
                  </a:lnTo>
                  <a:lnTo>
                    <a:pt x="163" y="153"/>
                  </a:lnTo>
                  <a:lnTo>
                    <a:pt x="163" y="152"/>
                  </a:lnTo>
                  <a:lnTo>
                    <a:pt x="163" y="153"/>
                  </a:lnTo>
                  <a:lnTo>
                    <a:pt x="163" y="154"/>
                  </a:lnTo>
                  <a:lnTo>
                    <a:pt x="162" y="154"/>
                  </a:lnTo>
                  <a:lnTo>
                    <a:pt x="162" y="153"/>
                  </a:lnTo>
                  <a:lnTo>
                    <a:pt x="161" y="153"/>
                  </a:lnTo>
                  <a:lnTo>
                    <a:pt x="161" y="154"/>
                  </a:lnTo>
                  <a:lnTo>
                    <a:pt x="162" y="154"/>
                  </a:lnTo>
                  <a:lnTo>
                    <a:pt x="163" y="154"/>
                  </a:lnTo>
                  <a:lnTo>
                    <a:pt x="164" y="154"/>
                  </a:lnTo>
                  <a:lnTo>
                    <a:pt x="167" y="154"/>
                  </a:lnTo>
                  <a:lnTo>
                    <a:pt x="165" y="154"/>
                  </a:lnTo>
                  <a:lnTo>
                    <a:pt x="165" y="155"/>
                  </a:lnTo>
                  <a:lnTo>
                    <a:pt x="165" y="156"/>
                  </a:lnTo>
                  <a:lnTo>
                    <a:pt x="164" y="155"/>
                  </a:lnTo>
                  <a:lnTo>
                    <a:pt x="163" y="155"/>
                  </a:lnTo>
                  <a:lnTo>
                    <a:pt x="163" y="154"/>
                  </a:lnTo>
                  <a:lnTo>
                    <a:pt x="162" y="154"/>
                  </a:lnTo>
                  <a:lnTo>
                    <a:pt x="162" y="155"/>
                  </a:lnTo>
                  <a:lnTo>
                    <a:pt x="163" y="155"/>
                  </a:lnTo>
                  <a:lnTo>
                    <a:pt x="163" y="156"/>
                  </a:lnTo>
                  <a:lnTo>
                    <a:pt x="163" y="158"/>
                  </a:lnTo>
                  <a:lnTo>
                    <a:pt x="162" y="156"/>
                  </a:lnTo>
                  <a:lnTo>
                    <a:pt x="162" y="155"/>
                  </a:lnTo>
                  <a:lnTo>
                    <a:pt x="161" y="155"/>
                  </a:lnTo>
                  <a:lnTo>
                    <a:pt x="161" y="156"/>
                  </a:lnTo>
                  <a:lnTo>
                    <a:pt x="161" y="155"/>
                  </a:lnTo>
                  <a:lnTo>
                    <a:pt x="159" y="155"/>
                  </a:lnTo>
                  <a:lnTo>
                    <a:pt x="161" y="156"/>
                  </a:lnTo>
                  <a:lnTo>
                    <a:pt x="159" y="156"/>
                  </a:lnTo>
                  <a:lnTo>
                    <a:pt x="159" y="158"/>
                  </a:lnTo>
                  <a:lnTo>
                    <a:pt x="159" y="156"/>
                  </a:lnTo>
                  <a:lnTo>
                    <a:pt x="158" y="156"/>
                  </a:lnTo>
                  <a:lnTo>
                    <a:pt x="158" y="155"/>
                  </a:lnTo>
                  <a:lnTo>
                    <a:pt x="158" y="154"/>
                  </a:lnTo>
                  <a:lnTo>
                    <a:pt x="158" y="153"/>
                  </a:lnTo>
                  <a:lnTo>
                    <a:pt x="158" y="152"/>
                  </a:lnTo>
                  <a:lnTo>
                    <a:pt x="158" y="153"/>
                  </a:lnTo>
                  <a:lnTo>
                    <a:pt x="158" y="154"/>
                  </a:lnTo>
                  <a:lnTo>
                    <a:pt x="158" y="155"/>
                  </a:lnTo>
                  <a:lnTo>
                    <a:pt x="158" y="156"/>
                  </a:lnTo>
                  <a:lnTo>
                    <a:pt x="158" y="158"/>
                  </a:lnTo>
                  <a:lnTo>
                    <a:pt x="157" y="158"/>
                  </a:lnTo>
                  <a:lnTo>
                    <a:pt x="157" y="156"/>
                  </a:lnTo>
                  <a:lnTo>
                    <a:pt x="157" y="158"/>
                  </a:lnTo>
                  <a:lnTo>
                    <a:pt x="156" y="158"/>
                  </a:lnTo>
                  <a:lnTo>
                    <a:pt x="155" y="158"/>
                  </a:lnTo>
                  <a:lnTo>
                    <a:pt x="155" y="159"/>
                  </a:lnTo>
                  <a:lnTo>
                    <a:pt x="156" y="159"/>
                  </a:lnTo>
                  <a:lnTo>
                    <a:pt x="156" y="160"/>
                  </a:lnTo>
                  <a:lnTo>
                    <a:pt x="155" y="160"/>
                  </a:lnTo>
                  <a:lnTo>
                    <a:pt x="153" y="159"/>
                  </a:lnTo>
                  <a:lnTo>
                    <a:pt x="153" y="160"/>
                  </a:lnTo>
                  <a:lnTo>
                    <a:pt x="153" y="161"/>
                  </a:lnTo>
                  <a:lnTo>
                    <a:pt x="155" y="161"/>
                  </a:lnTo>
                  <a:lnTo>
                    <a:pt x="156" y="161"/>
                  </a:lnTo>
                  <a:lnTo>
                    <a:pt x="157" y="161"/>
                  </a:lnTo>
                  <a:lnTo>
                    <a:pt x="158" y="161"/>
                  </a:lnTo>
                  <a:lnTo>
                    <a:pt x="158" y="162"/>
                  </a:lnTo>
                  <a:lnTo>
                    <a:pt x="159" y="162"/>
                  </a:lnTo>
                  <a:lnTo>
                    <a:pt x="159" y="161"/>
                  </a:lnTo>
                  <a:lnTo>
                    <a:pt x="161" y="162"/>
                  </a:lnTo>
                  <a:lnTo>
                    <a:pt x="162" y="162"/>
                  </a:lnTo>
                  <a:lnTo>
                    <a:pt x="164" y="162"/>
                  </a:lnTo>
                  <a:lnTo>
                    <a:pt x="165" y="162"/>
                  </a:lnTo>
                  <a:lnTo>
                    <a:pt x="167" y="162"/>
                  </a:lnTo>
                  <a:lnTo>
                    <a:pt x="168" y="162"/>
                  </a:lnTo>
                  <a:lnTo>
                    <a:pt x="169" y="162"/>
                  </a:lnTo>
                  <a:lnTo>
                    <a:pt x="170" y="162"/>
                  </a:lnTo>
                  <a:lnTo>
                    <a:pt x="170" y="164"/>
                  </a:lnTo>
                  <a:lnTo>
                    <a:pt x="171" y="164"/>
                  </a:lnTo>
                  <a:lnTo>
                    <a:pt x="173" y="164"/>
                  </a:lnTo>
                  <a:lnTo>
                    <a:pt x="173" y="162"/>
                  </a:lnTo>
                  <a:lnTo>
                    <a:pt x="173" y="164"/>
                  </a:lnTo>
                  <a:lnTo>
                    <a:pt x="174" y="165"/>
                  </a:lnTo>
                  <a:lnTo>
                    <a:pt x="174" y="164"/>
                  </a:lnTo>
                  <a:lnTo>
                    <a:pt x="174" y="165"/>
                  </a:lnTo>
                  <a:lnTo>
                    <a:pt x="175" y="164"/>
                  </a:lnTo>
                  <a:lnTo>
                    <a:pt x="176" y="164"/>
                  </a:lnTo>
                  <a:lnTo>
                    <a:pt x="177" y="164"/>
                  </a:lnTo>
                  <a:lnTo>
                    <a:pt x="179" y="164"/>
                  </a:lnTo>
                  <a:lnTo>
                    <a:pt x="179" y="165"/>
                  </a:lnTo>
                  <a:lnTo>
                    <a:pt x="177" y="165"/>
                  </a:lnTo>
                  <a:lnTo>
                    <a:pt x="176" y="165"/>
                  </a:lnTo>
                  <a:lnTo>
                    <a:pt x="176" y="166"/>
                  </a:lnTo>
                  <a:lnTo>
                    <a:pt x="175" y="166"/>
                  </a:lnTo>
                  <a:lnTo>
                    <a:pt x="175" y="165"/>
                  </a:lnTo>
                  <a:lnTo>
                    <a:pt x="174" y="165"/>
                  </a:lnTo>
                  <a:lnTo>
                    <a:pt x="174" y="166"/>
                  </a:lnTo>
                  <a:lnTo>
                    <a:pt x="174" y="165"/>
                  </a:lnTo>
                  <a:lnTo>
                    <a:pt x="173" y="165"/>
                  </a:lnTo>
                  <a:lnTo>
                    <a:pt x="173" y="166"/>
                  </a:lnTo>
                  <a:lnTo>
                    <a:pt x="173" y="167"/>
                  </a:lnTo>
                  <a:lnTo>
                    <a:pt x="173" y="168"/>
                  </a:lnTo>
                  <a:lnTo>
                    <a:pt x="174" y="168"/>
                  </a:lnTo>
                  <a:lnTo>
                    <a:pt x="175" y="168"/>
                  </a:lnTo>
                  <a:lnTo>
                    <a:pt x="176" y="168"/>
                  </a:lnTo>
                  <a:lnTo>
                    <a:pt x="177" y="168"/>
                  </a:lnTo>
                  <a:lnTo>
                    <a:pt x="179" y="168"/>
                  </a:lnTo>
                  <a:lnTo>
                    <a:pt x="180" y="167"/>
                  </a:lnTo>
                  <a:lnTo>
                    <a:pt x="180" y="168"/>
                  </a:lnTo>
                  <a:lnTo>
                    <a:pt x="181" y="168"/>
                  </a:lnTo>
                  <a:lnTo>
                    <a:pt x="182" y="167"/>
                  </a:lnTo>
                  <a:lnTo>
                    <a:pt x="183" y="167"/>
                  </a:lnTo>
                  <a:lnTo>
                    <a:pt x="182" y="167"/>
                  </a:lnTo>
                  <a:lnTo>
                    <a:pt x="182" y="168"/>
                  </a:lnTo>
                  <a:lnTo>
                    <a:pt x="183" y="168"/>
                  </a:lnTo>
                  <a:lnTo>
                    <a:pt x="185" y="168"/>
                  </a:lnTo>
                  <a:lnTo>
                    <a:pt x="185" y="170"/>
                  </a:lnTo>
                  <a:lnTo>
                    <a:pt x="183" y="170"/>
                  </a:lnTo>
                  <a:lnTo>
                    <a:pt x="185" y="170"/>
                  </a:lnTo>
                  <a:lnTo>
                    <a:pt x="185" y="171"/>
                  </a:lnTo>
                  <a:lnTo>
                    <a:pt x="185" y="170"/>
                  </a:lnTo>
                  <a:lnTo>
                    <a:pt x="186" y="170"/>
                  </a:lnTo>
                  <a:lnTo>
                    <a:pt x="187" y="170"/>
                  </a:lnTo>
                  <a:lnTo>
                    <a:pt x="186" y="170"/>
                  </a:lnTo>
                  <a:lnTo>
                    <a:pt x="186" y="171"/>
                  </a:lnTo>
                  <a:lnTo>
                    <a:pt x="187" y="171"/>
                  </a:lnTo>
                  <a:lnTo>
                    <a:pt x="186" y="171"/>
                  </a:lnTo>
                  <a:lnTo>
                    <a:pt x="185" y="171"/>
                  </a:lnTo>
                  <a:lnTo>
                    <a:pt x="185" y="172"/>
                  </a:lnTo>
                  <a:lnTo>
                    <a:pt x="185" y="173"/>
                  </a:lnTo>
                  <a:lnTo>
                    <a:pt x="183" y="173"/>
                  </a:lnTo>
                  <a:lnTo>
                    <a:pt x="183" y="172"/>
                  </a:lnTo>
                  <a:lnTo>
                    <a:pt x="183" y="173"/>
                  </a:lnTo>
                  <a:lnTo>
                    <a:pt x="183" y="172"/>
                  </a:lnTo>
                  <a:lnTo>
                    <a:pt x="183" y="171"/>
                  </a:lnTo>
                  <a:lnTo>
                    <a:pt x="182" y="171"/>
                  </a:lnTo>
                  <a:lnTo>
                    <a:pt x="182" y="170"/>
                  </a:lnTo>
                  <a:lnTo>
                    <a:pt x="182" y="171"/>
                  </a:lnTo>
                  <a:lnTo>
                    <a:pt x="183" y="171"/>
                  </a:lnTo>
                  <a:lnTo>
                    <a:pt x="183" y="172"/>
                  </a:lnTo>
                  <a:lnTo>
                    <a:pt x="182" y="172"/>
                  </a:lnTo>
                  <a:lnTo>
                    <a:pt x="182" y="173"/>
                  </a:lnTo>
                  <a:lnTo>
                    <a:pt x="183" y="173"/>
                  </a:lnTo>
                  <a:lnTo>
                    <a:pt x="182" y="173"/>
                  </a:lnTo>
                  <a:lnTo>
                    <a:pt x="182" y="174"/>
                  </a:lnTo>
                  <a:lnTo>
                    <a:pt x="182" y="176"/>
                  </a:lnTo>
                  <a:lnTo>
                    <a:pt x="182" y="174"/>
                  </a:lnTo>
                  <a:lnTo>
                    <a:pt x="182" y="172"/>
                  </a:lnTo>
                  <a:lnTo>
                    <a:pt x="182" y="173"/>
                  </a:lnTo>
                  <a:lnTo>
                    <a:pt x="181" y="173"/>
                  </a:lnTo>
                  <a:lnTo>
                    <a:pt x="182" y="173"/>
                  </a:lnTo>
                  <a:lnTo>
                    <a:pt x="181" y="174"/>
                  </a:lnTo>
                  <a:lnTo>
                    <a:pt x="182" y="174"/>
                  </a:lnTo>
                  <a:lnTo>
                    <a:pt x="181" y="174"/>
                  </a:lnTo>
                  <a:lnTo>
                    <a:pt x="181" y="177"/>
                  </a:lnTo>
                  <a:lnTo>
                    <a:pt x="181" y="176"/>
                  </a:lnTo>
                  <a:lnTo>
                    <a:pt x="181" y="173"/>
                  </a:lnTo>
                  <a:lnTo>
                    <a:pt x="180" y="174"/>
                  </a:lnTo>
                  <a:lnTo>
                    <a:pt x="180" y="173"/>
                  </a:lnTo>
                  <a:lnTo>
                    <a:pt x="179" y="173"/>
                  </a:lnTo>
                  <a:lnTo>
                    <a:pt x="179" y="172"/>
                  </a:lnTo>
                  <a:lnTo>
                    <a:pt x="179" y="171"/>
                  </a:lnTo>
                  <a:lnTo>
                    <a:pt x="179" y="172"/>
                  </a:lnTo>
                  <a:lnTo>
                    <a:pt x="177" y="172"/>
                  </a:lnTo>
                  <a:lnTo>
                    <a:pt x="177" y="173"/>
                  </a:lnTo>
                  <a:lnTo>
                    <a:pt x="179" y="173"/>
                  </a:lnTo>
                  <a:lnTo>
                    <a:pt x="179" y="174"/>
                  </a:lnTo>
                  <a:lnTo>
                    <a:pt x="177" y="174"/>
                  </a:lnTo>
                  <a:lnTo>
                    <a:pt x="179" y="174"/>
                  </a:lnTo>
                  <a:lnTo>
                    <a:pt x="177" y="174"/>
                  </a:lnTo>
                  <a:lnTo>
                    <a:pt x="177" y="176"/>
                  </a:lnTo>
                  <a:lnTo>
                    <a:pt x="177" y="174"/>
                  </a:lnTo>
                  <a:lnTo>
                    <a:pt x="176" y="174"/>
                  </a:lnTo>
                  <a:lnTo>
                    <a:pt x="176" y="176"/>
                  </a:lnTo>
                  <a:lnTo>
                    <a:pt x="177" y="176"/>
                  </a:lnTo>
                  <a:lnTo>
                    <a:pt x="177" y="177"/>
                  </a:lnTo>
                  <a:lnTo>
                    <a:pt x="177" y="178"/>
                  </a:lnTo>
                  <a:lnTo>
                    <a:pt x="179" y="179"/>
                  </a:lnTo>
                  <a:lnTo>
                    <a:pt x="180" y="179"/>
                  </a:lnTo>
                  <a:lnTo>
                    <a:pt x="180" y="180"/>
                  </a:lnTo>
                  <a:lnTo>
                    <a:pt x="181" y="180"/>
                  </a:lnTo>
                  <a:lnTo>
                    <a:pt x="182" y="182"/>
                  </a:lnTo>
                  <a:lnTo>
                    <a:pt x="183" y="182"/>
                  </a:lnTo>
                  <a:lnTo>
                    <a:pt x="185" y="180"/>
                  </a:lnTo>
                  <a:lnTo>
                    <a:pt x="185" y="182"/>
                  </a:lnTo>
                  <a:lnTo>
                    <a:pt x="183" y="182"/>
                  </a:lnTo>
                  <a:lnTo>
                    <a:pt x="185" y="182"/>
                  </a:lnTo>
                  <a:lnTo>
                    <a:pt x="186" y="182"/>
                  </a:lnTo>
                  <a:lnTo>
                    <a:pt x="185" y="182"/>
                  </a:lnTo>
                  <a:lnTo>
                    <a:pt x="185" y="183"/>
                  </a:lnTo>
                  <a:lnTo>
                    <a:pt x="185" y="182"/>
                  </a:lnTo>
                  <a:lnTo>
                    <a:pt x="183" y="182"/>
                  </a:lnTo>
                  <a:lnTo>
                    <a:pt x="183" y="183"/>
                  </a:lnTo>
                  <a:lnTo>
                    <a:pt x="185" y="183"/>
                  </a:lnTo>
                  <a:lnTo>
                    <a:pt x="183" y="183"/>
                  </a:lnTo>
                  <a:lnTo>
                    <a:pt x="182" y="183"/>
                  </a:lnTo>
                  <a:lnTo>
                    <a:pt x="182" y="182"/>
                  </a:lnTo>
                  <a:lnTo>
                    <a:pt x="182" y="183"/>
                  </a:lnTo>
                  <a:lnTo>
                    <a:pt x="182" y="184"/>
                  </a:lnTo>
                  <a:lnTo>
                    <a:pt x="183" y="184"/>
                  </a:lnTo>
                  <a:lnTo>
                    <a:pt x="183" y="185"/>
                  </a:lnTo>
                  <a:lnTo>
                    <a:pt x="185" y="184"/>
                  </a:lnTo>
                  <a:lnTo>
                    <a:pt x="186" y="184"/>
                  </a:lnTo>
                  <a:lnTo>
                    <a:pt x="187" y="183"/>
                  </a:lnTo>
                  <a:lnTo>
                    <a:pt x="187" y="184"/>
                  </a:lnTo>
                  <a:lnTo>
                    <a:pt x="188" y="184"/>
                  </a:lnTo>
                  <a:lnTo>
                    <a:pt x="187" y="184"/>
                  </a:lnTo>
                  <a:lnTo>
                    <a:pt x="187" y="185"/>
                  </a:lnTo>
                  <a:lnTo>
                    <a:pt x="186" y="185"/>
                  </a:lnTo>
                  <a:lnTo>
                    <a:pt x="186" y="186"/>
                  </a:lnTo>
                  <a:lnTo>
                    <a:pt x="186" y="185"/>
                  </a:lnTo>
                  <a:lnTo>
                    <a:pt x="185" y="185"/>
                  </a:lnTo>
                  <a:lnTo>
                    <a:pt x="185" y="186"/>
                  </a:lnTo>
                  <a:lnTo>
                    <a:pt x="185" y="185"/>
                  </a:lnTo>
                  <a:lnTo>
                    <a:pt x="183" y="185"/>
                  </a:lnTo>
                  <a:lnTo>
                    <a:pt x="183" y="186"/>
                  </a:lnTo>
                  <a:lnTo>
                    <a:pt x="185" y="188"/>
                  </a:lnTo>
                  <a:lnTo>
                    <a:pt x="186" y="188"/>
                  </a:lnTo>
                  <a:lnTo>
                    <a:pt x="185" y="188"/>
                  </a:lnTo>
                  <a:lnTo>
                    <a:pt x="185" y="189"/>
                  </a:lnTo>
                  <a:lnTo>
                    <a:pt x="186" y="189"/>
                  </a:lnTo>
                  <a:lnTo>
                    <a:pt x="187" y="189"/>
                  </a:lnTo>
                  <a:lnTo>
                    <a:pt x="186" y="189"/>
                  </a:lnTo>
                  <a:lnTo>
                    <a:pt x="185" y="189"/>
                  </a:lnTo>
                  <a:lnTo>
                    <a:pt x="186" y="189"/>
                  </a:lnTo>
                  <a:lnTo>
                    <a:pt x="186" y="190"/>
                  </a:lnTo>
                  <a:lnTo>
                    <a:pt x="185" y="190"/>
                  </a:lnTo>
                  <a:lnTo>
                    <a:pt x="185" y="191"/>
                  </a:lnTo>
                  <a:lnTo>
                    <a:pt x="185" y="190"/>
                  </a:lnTo>
                  <a:lnTo>
                    <a:pt x="183" y="190"/>
                  </a:lnTo>
                  <a:lnTo>
                    <a:pt x="183" y="191"/>
                  </a:lnTo>
                  <a:lnTo>
                    <a:pt x="183" y="194"/>
                  </a:lnTo>
                  <a:lnTo>
                    <a:pt x="182" y="194"/>
                  </a:lnTo>
                  <a:lnTo>
                    <a:pt x="182" y="192"/>
                  </a:lnTo>
                  <a:lnTo>
                    <a:pt x="182" y="194"/>
                  </a:lnTo>
                  <a:lnTo>
                    <a:pt x="182" y="192"/>
                  </a:lnTo>
                  <a:lnTo>
                    <a:pt x="181" y="192"/>
                  </a:lnTo>
                  <a:lnTo>
                    <a:pt x="181" y="191"/>
                  </a:lnTo>
                  <a:lnTo>
                    <a:pt x="181" y="192"/>
                  </a:lnTo>
                  <a:lnTo>
                    <a:pt x="180" y="192"/>
                  </a:lnTo>
                  <a:lnTo>
                    <a:pt x="180" y="191"/>
                  </a:lnTo>
                  <a:lnTo>
                    <a:pt x="180" y="192"/>
                  </a:lnTo>
                  <a:lnTo>
                    <a:pt x="180" y="194"/>
                  </a:lnTo>
                  <a:lnTo>
                    <a:pt x="180" y="195"/>
                  </a:lnTo>
                  <a:lnTo>
                    <a:pt x="180" y="194"/>
                  </a:lnTo>
                  <a:lnTo>
                    <a:pt x="179" y="194"/>
                  </a:lnTo>
                  <a:lnTo>
                    <a:pt x="180" y="195"/>
                  </a:lnTo>
                  <a:lnTo>
                    <a:pt x="179" y="195"/>
                  </a:lnTo>
                  <a:lnTo>
                    <a:pt x="179" y="194"/>
                  </a:lnTo>
                  <a:lnTo>
                    <a:pt x="177" y="194"/>
                  </a:lnTo>
                  <a:lnTo>
                    <a:pt x="177" y="192"/>
                  </a:lnTo>
                  <a:lnTo>
                    <a:pt x="177" y="194"/>
                  </a:lnTo>
                  <a:lnTo>
                    <a:pt x="176" y="194"/>
                  </a:lnTo>
                  <a:lnTo>
                    <a:pt x="176" y="195"/>
                  </a:lnTo>
                  <a:lnTo>
                    <a:pt x="176" y="194"/>
                  </a:lnTo>
                  <a:lnTo>
                    <a:pt x="175" y="194"/>
                  </a:lnTo>
                  <a:lnTo>
                    <a:pt x="175" y="195"/>
                  </a:lnTo>
                  <a:lnTo>
                    <a:pt x="175" y="196"/>
                  </a:lnTo>
                  <a:lnTo>
                    <a:pt x="175" y="195"/>
                  </a:lnTo>
                  <a:lnTo>
                    <a:pt x="174" y="195"/>
                  </a:lnTo>
                  <a:lnTo>
                    <a:pt x="174" y="196"/>
                  </a:lnTo>
                  <a:lnTo>
                    <a:pt x="173" y="197"/>
                  </a:lnTo>
                  <a:lnTo>
                    <a:pt x="174" y="198"/>
                  </a:lnTo>
                  <a:lnTo>
                    <a:pt x="175" y="198"/>
                  </a:lnTo>
                  <a:lnTo>
                    <a:pt x="175" y="197"/>
                  </a:lnTo>
                  <a:lnTo>
                    <a:pt x="175" y="198"/>
                  </a:lnTo>
                  <a:lnTo>
                    <a:pt x="176" y="198"/>
                  </a:lnTo>
                  <a:lnTo>
                    <a:pt x="176" y="197"/>
                  </a:lnTo>
                  <a:lnTo>
                    <a:pt x="177" y="197"/>
                  </a:lnTo>
                  <a:lnTo>
                    <a:pt x="179" y="197"/>
                  </a:lnTo>
                  <a:lnTo>
                    <a:pt x="180" y="197"/>
                  </a:lnTo>
                  <a:lnTo>
                    <a:pt x="179" y="197"/>
                  </a:lnTo>
                  <a:lnTo>
                    <a:pt x="179" y="198"/>
                  </a:lnTo>
                  <a:lnTo>
                    <a:pt x="177" y="198"/>
                  </a:lnTo>
                  <a:lnTo>
                    <a:pt x="176" y="198"/>
                  </a:lnTo>
                  <a:lnTo>
                    <a:pt x="177" y="198"/>
                  </a:lnTo>
                  <a:lnTo>
                    <a:pt x="177" y="200"/>
                  </a:lnTo>
                  <a:lnTo>
                    <a:pt x="176" y="200"/>
                  </a:lnTo>
                  <a:lnTo>
                    <a:pt x="176" y="198"/>
                  </a:lnTo>
                  <a:lnTo>
                    <a:pt x="175" y="198"/>
                  </a:lnTo>
                  <a:lnTo>
                    <a:pt x="175" y="200"/>
                  </a:lnTo>
                  <a:lnTo>
                    <a:pt x="176" y="200"/>
                  </a:lnTo>
                  <a:lnTo>
                    <a:pt x="176" y="201"/>
                  </a:lnTo>
                  <a:lnTo>
                    <a:pt x="175" y="201"/>
                  </a:lnTo>
                  <a:lnTo>
                    <a:pt x="176" y="202"/>
                  </a:lnTo>
                  <a:lnTo>
                    <a:pt x="175" y="202"/>
                  </a:lnTo>
                  <a:lnTo>
                    <a:pt x="175" y="203"/>
                  </a:lnTo>
                  <a:lnTo>
                    <a:pt x="175" y="202"/>
                  </a:lnTo>
                  <a:lnTo>
                    <a:pt x="175" y="201"/>
                  </a:lnTo>
                  <a:lnTo>
                    <a:pt x="175" y="200"/>
                  </a:lnTo>
                  <a:lnTo>
                    <a:pt x="174" y="200"/>
                  </a:lnTo>
                  <a:lnTo>
                    <a:pt x="174" y="198"/>
                  </a:lnTo>
                  <a:lnTo>
                    <a:pt x="174" y="200"/>
                  </a:lnTo>
                  <a:lnTo>
                    <a:pt x="174" y="198"/>
                  </a:lnTo>
                  <a:lnTo>
                    <a:pt x="174" y="200"/>
                  </a:lnTo>
                  <a:lnTo>
                    <a:pt x="174" y="201"/>
                  </a:lnTo>
                  <a:lnTo>
                    <a:pt x="174" y="202"/>
                  </a:lnTo>
                  <a:lnTo>
                    <a:pt x="174" y="203"/>
                  </a:lnTo>
                  <a:lnTo>
                    <a:pt x="173" y="203"/>
                  </a:lnTo>
                  <a:lnTo>
                    <a:pt x="173" y="202"/>
                  </a:lnTo>
                  <a:lnTo>
                    <a:pt x="173" y="201"/>
                  </a:lnTo>
                  <a:lnTo>
                    <a:pt x="173" y="200"/>
                  </a:lnTo>
                  <a:lnTo>
                    <a:pt x="173" y="198"/>
                  </a:lnTo>
                  <a:lnTo>
                    <a:pt x="173" y="200"/>
                  </a:lnTo>
                  <a:lnTo>
                    <a:pt x="173" y="201"/>
                  </a:lnTo>
                  <a:lnTo>
                    <a:pt x="171" y="201"/>
                  </a:lnTo>
                  <a:lnTo>
                    <a:pt x="171" y="202"/>
                  </a:lnTo>
                  <a:lnTo>
                    <a:pt x="173" y="202"/>
                  </a:lnTo>
                  <a:lnTo>
                    <a:pt x="173" y="203"/>
                  </a:lnTo>
                  <a:lnTo>
                    <a:pt x="171" y="203"/>
                  </a:lnTo>
                  <a:lnTo>
                    <a:pt x="171" y="202"/>
                  </a:lnTo>
                  <a:lnTo>
                    <a:pt x="170" y="202"/>
                  </a:lnTo>
                  <a:lnTo>
                    <a:pt x="170" y="203"/>
                  </a:lnTo>
                  <a:lnTo>
                    <a:pt x="171" y="203"/>
                  </a:lnTo>
                  <a:lnTo>
                    <a:pt x="170" y="203"/>
                  </a:lnTo>
                  <a:lnTo>
                    <a:pt x="170" y="204"/>
                  </a:lnTo>
                  <a:lnTo>
                    <a:pt x="170" y="203"/>
                  </a:lnTo>
                  <a:lnTo>
                    <a:pt x="170" y="202"/>
                  </a:lnTo>
                  <a:lnTo>
                    <a:pt x="169" y="202"/>
                  </a:lnTo>
                  <a:lnTo>
                    <a:pt x="169" y="203"/>
                  </a:lnTo>
                  <a:lnTo>
                    <a:pt x="168" y="202"/>
                  </a:lnTo>
                  <a:lnTo>
                    <a:pt x="168" y="203"/>
                  </a:lnTo>
                  <a:lnTo>
                    <a:pt x="168" y="204"/>
                  </a:lnTo>
                  <a:lnTo>
                    <a:pt x="168" y="206"/>
                  </a:lnTo>
                  <a:lnTo>
                    <a:pt x="168" y="207"/>
                  </a:lnTo>
                  <a:lnTo>
                    <a:pt x="168" y="206"/>
                  </a:lnTo>
                  <a:lnTo>
                    <a:pt x="167" y="204"/>
                  </a:lnTo>
                  <a:lnTo>
                    <a:pt x="165" y="204"/>
                  </a:lnTo>
                  <a:lnTo>
                    <a:pt x="165" y="206"/>
                  </a:lnTo>
                  <a:lnTo>
                    <a:pt x="167" y="206"/>
                  </a:lnTo>
                  <a:lnTo>
                    <a:pt x="167" y="207"/>
                  </a:lnTo>
                  <a:lnTo>
                    <a:pt x="165" y="207"/>
                  </a:lnTo>
                  <a:lnTo>
                    <a:pt x="165" y="206"/>
                  </a:lnTo>
                  <a:lnTo>
                    <a:pt x="164" y="206"/>
                  </a:lnTo>
                  <a:lnTo>
                    <a:pt x="164" y="204"/>
                  </a:lnTo>
                  <a:lnTo>
                    <a:pt x="164" y="203"/>
                  </a:lnTo>
                  <a:lnTo>
                    <a:pt x="164" y="202"/>
                  </a:lnTo>
                  <a:lnTo>
                    <a:pt x="163" y="202"/>
                  </a:lnTo>
                  <a:lnTo>
                    <a:pt x="164" y="203"/>
                  </a:lnTo>
                  <a:lnTo>
                    <a:pt x="164" y="204"/>
                  </a:lnTo>
                  <a:lnTo>
                    <a:pt x="164" y="206"/>
                  </a:lnTo>
                  <a:lnTo>
                    <a:pt x="164" y="204"/>
                  </a:lnTo>
                  <a:lnTo>
                    <a:pt x="163" y="204"/>
                  </a:lnTo>
                  <a:lnTo>
                    <a:pt x="163" y="206"/>
                  </a:lnTo>
                  <a:lnTo>
                    <a:pt x="164" y="207"/>
                  </a:lnTo>
                  <a:lnTo>
                    <a:pt x="164" y="208"/>
                  </a:lnTo>
                  <a:lnTo>
                    <a:pt x="163" y="208"/>
                  </a:lnTo>
                  <a:lnTo>
                    <a:pt x="163" y="207"/>
                  </a:lnTo>
                  <a:lnTo>
                    <a:pt x="163" y="208"/>
                  </a:lnTo>
                  <a:lnTo>
                    <a:pt x="162" y="208"/>
                  </a:lnTo>
                  <a:lnTo>
                    <a:pt x="162" y="207"/>
                  </a:lnTo>
                  <a:lnTo>
                    <a:pt x="161" y="207"/>
                  </a:lnTo>
                  <a:lnTo>
                    <a:pt x="161" y="208"/>
                  </a:lnTo>
                  <a:lnTo>
                    <a:pt x="161" y="209"/>
                  </a:lnTo>
                  <a:lnTo>
                    <a:pt x="161" y="208"/>
                  </a:lnTo>
                  <a:lnTo>
                    <a:pt x="161" y="207"/>
                  </a:lnTo>
                  <a:lnTo>
                    <a:pt x="159" y="207"/>
                  </a:lnTo>
                  <a:lnTo>
                    <a:pt x="159" y="206"/>
                  </a:lnTo>
                  <a:lnTo>
                    <a:pt x="159" y="204"/>
                  </a:lnTo>
                  <a:lnTo>
                    <a:pt x="159" y="206"/>
                  </a:lnTo>
                  <a:lnTo>
                    <a:pt x="159" y="207"/>
                  </a:lnTo>
                  <a:lnTo>
                    <a:pt x="158" y="207"/>
                  </a:lnTo>
                  <a:lnTo>
                    <a:pt x="158" y="208"/>
                  </a:lnTo>
                  <a:lnTo>
                    <a:pt x="158" y="207"/>
                  </a:lnTo>
                  <a:lnTo>
                    <a:pt x="158" y="206"/>
                  </a:lnTo>
                  <a:lnTo>
                    <a:pt x="158" y="204"/>
                  </a:lnTo>
                  <a:lnTo>
                    <a:pt x="158" y="206"/>
                  </a:lnTo>
                  <a:lnTo>
                    <a:pt x="158" y="207"/>
                  </a:lnTo>
                  <a:lnTo>
                    <a:pt x="157" y="207"/>
                  </a:lnTo>
                  <a:lnTo>
                    <a:pt x="157" y="206"/>
                  </a:lnTo>
                  <a:lnTo>
                    <a:pt x="157" y="204"/>
                  </a:lnTo>
                  <a:lnTo>
                    <a:pt x="157" y="203"/>
                  </a:lnTo>
                  <a:lnTo>
                    <a:pt x="156" y="202"/>
                  </a:lnTo>
                  <a:lnTo>
                    <a:pt x="156" y="203"/>
                  </a:lnTo>
                  <a:lnTo>
                    <a:pt x="157" y="203"/>
                  </a:lnTo>
                  <a:lnTo>
                    <a:pt x="157" y="204"/>
                  </a:lnTo>
                  <a:lnTo>
                    <a:pt x="156" y="204"/>
                  </a:lnTo>
                  <a:lnTo>
                    <a:pt x="157" y="204"/>
                  </a:lnTo>
                  <a:lnTo>
                    <a:pt x="156" y="204"/>
                  </a:lnTo>
                  <a:lnTo>
                    <a:pt x="157" y="204"/>
                  </a:lnTo>
                  <a:lnTo>
                    <a:pt x="157" y="206"/>
                  </a:lnTo>
                  <a:lnTo>
                    <a:pt x="157" y="207"/>
                  </a:lnTo>
                  <a:lnTo>
                    <a:pt x="157" y="206"/>
                  </a:lnTo>
                  <a:lnTo>
                    <a:pt x="156" y="206"/>
                  </a:lnTo>
                  <a:lnTo>
                    <a:pt x="156" y="207"/>
                  </a:lnTo>
                  <a:lnTo>
                    <a:pt x="156" y="208"/>
                  </a:lnTo>
                  <a:lnTo>
                    <a:pt x="156" y="209"/>
                  </a:lnTo>
                  <a:lnTo>
                    <a:pt x="156" y="210"/>
                  </a:lnTo>
                  <a:lnTo>
                    <a:pt x="156" y="209"/>
                  </a:lnTo>
                  <a:lnTo>
                    <a:pt x="155" y="209"/>
                  </a:lnTo>
                  <a:lnTo>
                    <a:pt x="155" y="210"/>
                  </a:lnTo>
                  <a:lnTo>
                    <a:pt x="155" y="212"/>
                  </a:lnTo>
                  <a:lnTo>
                    <a:pt x="153" y="212"/>
                  </a:lnTo>
                  <a:lnTo>
                    <a:pt x="153" y="210"/>
                  </a:lnTo>
                  <a:lnTo>
                    <a:pt x="153" y="209"/>
                  </a:lnTo>
                  <a:lnTo>
                    <a:pt x="153" y="208"/>
                  </a:lnTo>
                  <a:lnTo>
                    <a:pt x="153" y="207"/>
                  </a:lnTo>
                  <a:lnTo>
                    <a:pt x="153" y="206"/>
                  </a:lnTo>
                  <a:lnTo>
                    <a:pt x="152" y="206"/>
                  </a:lnTo>
                  <a:lnTo>
                    <a:pt x="152" y="208"/>
                  </a:lnTo>
                  <a:lnTo>
                    <a:pt x="152" y="209"/>
                  </a:lnTo>
                  <a:lnTo>
                    <a:pt x="152" y="210"/>
                  </a:lnTo>
                  <a:lnTo>
                    <a:pt x="152" y="212"/>
                  </a:lnTo>
                  <a:lnTo>
                    <a:pt x="152" y="210"/>
                  </a:lnTo>
                  <a:lnTo>
                    <a:pt x="152" y="209"/>
                  </a:lnTo>
                  <a:lnTo>
                    <a:pt x="151" y="208"/>
                  </a:lnTo>
                  <a:lnTo>
                    <a:pt x="151" y="207"/>
                  </a:lnTo>
                  <a:lnTo>
                    <a:pt x="151" y="208"/>
                  </a:lnTo>
                  <a:lnTo>
                    <a:pt x="150" y="208"/>
                  </a:lnTo>
                  <a:lnTo>
                    <a:pt x="150" y="209"/>
                  </a:lnTo>
                  <a:lnTo>
                    <a:pt x="151" y="209"/>
                  </a:lnTo>
                  <a:lnTo>
                    <a:pt x="151" y="210"/>
                  </a:lnTo>
                  <a:lnTo>
                    <a:pt x="151" y="212"/>
                  </a:lnTo>
                  <a:lnTo>
                    <a:pt x="150" y="212"/>
                  </a:lnTo>
                  <a:lnTo>
                    <a:pt x="150" y="210"/>
                  </a:lnTo>
                  <a:lnTo>
                    <a:pt x="150" y="208"/>
                  </a:lnTo>
                  <a:lnTo>
                    <a:pt x="150" y="207"/>
                  </a:lnTo>
                  <a:lnTo>
                    <a:pt x="150" y="206"/>
                  </a:lnTo>
                  <a:lnTo>
                    <a:pt x="150" y="204"/>
                  </a:lnTo>
                  <a:lnTo>
                    <a:pt x="148" y="204"/>
                  </a:lnTo>
                  <a:lnTo>
                    <a:pt x="148" y="203"/>
                  </a:lnTo>
                  <a:lnTo>
                    <a:pt x="148" y="204"/>
                  </a:lnTo>
                  <a:lnTo>
                    <a:pt x="147" y="204"/>
                  </a:lnTo>
                  <a:lnTo>
                    <a:pt x="147" y="206"/>
                  </a:lnTo>
                  <a:lnTo>
                    <a:pt x="147" y="207"/>
                  </a:lnTo>
                  <a:lnTo>
                    <a:pt x="146" y="206"/>
                  </a:lnTo>
                  <a:lnTo>
                    <a:pt x="146" y="204"/>
                  </a:lnTo>
                  <a:lnTo>
                    <a:pt x="146" y="203"/>
                  </a:lnTo>
                  <a:lnTo>
                    <a:pt x="146" y="202"/>
                  </a:lnTo>
                  <a:lnTo>
                    <a:pt x="146" y="201"/>
                  </a:lnTo>
                  <a:lnTo>
                    <a:pt x="146" y="203"/>
                  </a:lnTo>
                  <a:lnTo>
                    <a:pt x="145" y="202"/>
                  </a:lnTo>
                  <a:lnTo>
                    <a:pt x="145" y="201"/>
                  </a:lnTo>
                  <a:lnTo>
                    <a:pt x="145" y="202"/>
                  </a:lnTo>
                  <a:lnTo>
                    <a:pt x="144" y="201"/>
                  </a:lnTo>
                  <a:lnTo>
                    <a:pt x="144" y="200"/>
                  </a:lnTo>
                  <a:lnTo>
                    <a:pt x="144" y="198"/>
                  </a:lnTo>
                  <a:lnTo>
                    <a:pt x="144" y="197"/>
                  </a:lnTo>
                  <a:lnTo>
                    <a:pt x="142" y="197"/>
                  </a:lnTo>
                  <a:lnTo>
                    <a:pt x="142" y="198"/>
                  </a:lnTo>
                  <a:lnTo>
                    <a:pt x="144" y="200"/>
                  </a:lnTo>
                  <a:lnTo>
                    <a:pt x="144" y="201"/>
                  </a:lnTo>
                  <a:lnTo>
                    <a:pt x="144" y="202"/>
                  </a:lnTo>
                  <a:lnTo>
                    <a:pt x="144" y="203"/>
                  </a:lnTo>
                  <a:lnTo>
                    <a:pt x="142" y="203"/>
                  </a:lnTo>
                  <a:lnTo>
                    <a:pt x="142" y="204"/>
                  </a:lnTo>
                  <a:lnTo>
                    <a:pt x="144" y="204"/>
                  </a:lnTo>
                  <a:lnTo>
                    <a:pt x="145" y="204"/>
                  </a:lnTo>
                  <a:lnTo>
                    <a:pt x="146" y="206"/>
                  </a:lnTo>
                  <a:lnTo>
                    <a:pt x="145" y="206"/>
                  </a:lnTo>
                  <a:lnTo>
                    <a:pt x="144" y="206"/>
                  </a:lnTo>
                  <a:lnTo>
                    <a:pt x="144" y="207"/>
                  </a:lnTo>
                  <a:lnTo>
                    <a:pt x="144" y="208"/>
                  </a:lnTo>
                  <a:lnTo>
                    <a:pt x="145" y="209"/>
                  </a:lnTo>
                  <a:lnTo>
                    <a:pt x="145" y="210"/>
                  </a:lnTo>
                  <a:lnTo>
                    <a:pt x="146" y="212"/>
                  </a:lnTo>
                  <a:lnTo>
                    <a:pt x="147" y="212"/>
                  </a:lnTo>
                  <a:lnTo>
                    <a:pt x="148" y="212"/>
                  </a:lnTo>
                  <a:lnTo>
                    <a:pt x="148" y="213"/>
                  </a:lnTo>
                  <a:lnTo>
                    <a:pt x="150" y="213"/>
                  </a:lnTo>
                  <a:lnTo>
                    <a:pt x="151" y="213"/>
                  </a:lnTo>
                  <a:lnTo>
                    <a:pt x="152" y="213"/>
                  </a:lnTo>
                  <a:lnTo>
                    <a:pt x="153" y="213"/>
                  </a:lnTo>
                  <a:lnTo>
                    <a:pt x="155" y="214"/>
                  </a:lnTo>
                  <a:lnTo>
                    <a:pt x="156" y="214"/>
                  </a:lnTo>
                  <a:lnTo>
                    <a:pt x="157" y="214"/>
                  </a:lnTo>
                  <a:lnTo>
                    <a:pt x="158" y="215"/>
                  </a:lnTo>
                  <a:lnTo>
                    <a:pt x="157" y="215"/>
                  </a:lnTo>
                  <a:lnTo>
                    <a:pt x="156" y="214"/>
                  </a:lnTo>
                  <a:lnTo>
                    <a:pt x="156" y="215"/>
                  </a:lnTo>
                  <a:lnTo>
                    <a:pt x="155" y="214"/>
                  </a:lnTo>
                  <a:lnTo>
                    <a:pt x="155" y="215"/>
                  </a:lnTo>
                  <a:lnTo>
                    <a:pt x="156" y="215"/>
                  </a:lnTo>
                  <a:lnTo>
                    <a:pt x="155" y="215"/>
                  </a:lnTo>
                  <a:lnTo>
                    <a:pt x="153" y="215"/>
                  </a:lnTo>
                  <a:lnTo>
                    <a:pt x="153" y="217"/>
                  </a:lnTo>
                  <a:lnTo>
                    <a:pt x="152" y="215"/>
                  </a:lnTo>
                  <a:lnTo>
                    <a:pt x="152" y="217"/>
                  </a:lnTo>
                  <a:lnTo>
                    <a:pt x="153" y="217"/>
                  </a:lnTo>
                  <a:lnTo>
                    <a:pt x="155" y="217"/>
                  </a:lnTo>
                  <a:lnTo>
                    <a:pt x="156" y="217"/>
                  </a:lnTo>
                  <a:lnTo>
                    <a:pt x="157" y="218"/>
                  </a:lnTo>
                  <a:lnTo>
                    <a:pt x="158" y="217"/>
                  </a:lnTo>
                  <a:lnTo>
                    <a:pt x="158" y="218"/>
                  </a:lnTo>
                  <a:lnTo>
                    <a:pt x="159" y="218"/>
                  </a:lnTo>
                  <a:lnTo>
                    <a:pt x="158" y="218"/>
                  </a:lnTo>
                  <a:lnTo>
                    <a:pt x="159" y="219"/>
                  </a:lnTo>
                  <a:lnTo>
                    <a:pt x="161" y="219"/>
                  </a:lnTo>
                  <a:lnTo>
                    <a:pt x="161" y="218"/>
                  </a:lnTo>
                  <a:lnTo>
                    <a:pt x="162" y="218"/>
                  </a:lnTo>
                  <a:lnTo>
                    <a:pt x="163" y="218"/>
                  </a:lnTo>
                  <a:lnTo>
                    <a:pt x="164" y="218"/>
                  </a:lnTo>
                  <a:lnTo>
                    <a:pt x="165" y="218"/>
                  </a:lnTo>
                  <a:lnTo>
                    <a:pt x="167" y="217"/>
                  </a:lnTo>
                  <a:lnTo>
                    <a:pt x="168" y="217"/>
                  </a:lnTo>
                  <a:lnTo>
                    <a:pt x="168" y="215"/>
                  </a:lnTo>
                  <a:lnTo>
                    <a:pt x="168" y="217"/>
                  </a:lnTo>
                  <a:lnTo>
                    <a:pt x="169" y="217"/>
                  </a:lnTo>
                  <a:lnTo>
                    <a:pt x="169" y="215"/>
                  </a:lnTo>
                  <a:lnTo>
                    <a:pt x="170" y="215"/>
                  </a:lnTo>
                  <a:lnTo>
                    <a:pt x="171" y="215"/>
                  </a:lnTo>
                  <a:lnTo>
                    <a:pt x="173" y="215"/>
                  </a:lnTo>
                  <a:lnTo>
                    <a:pt x="171" y="214"/>
                  </a:lnTo>
                  <a:lnTo>
                    <a:pt x="173" y="214"/>
                  </a:lnTo>
                  <a:lnTo>
                    <a:pt x="174" y="214"/>
                  </a:lnTo>
                  <a:lnTo>
                    <a:pt x="175" y="214"/>
                  </a:lnTo>
                  <a:lnTo>
                    <a:pt x="176" y="214"/>
                  </a:lnTo>
                  <a:lnTo>
                    <a:pt x="177" y="214"/>
                  </a:lnTo>
                  <a:lnTo>
                    <a:pt x="179" y="213"/>
                  </a:lnTo>
                  <a:lnTo>
                    <a:pt x="180" y="213"/>
                  </a:lnTo>
                  <a:lnTo>
                    <a:pt x="179" y="213"/>
                  </a:lnTo>
                  <a:lnTo>
                    <a:pt x="179" y="214"/>
                  </a:lnTo>
                  <a:lnTo>
                    <a:pt x="180" y="214"/>
                  </a:lnTo>
                  <a:lnTo>
                    <a:pt x="180" y="213"/>
                  </a:lnTo>
                  <a:lnTo>
                    <a:pt x="180" y="214"/>
                  </a:lnTo>
                  <a:lnTo>
                    <a:pt x="181" y="214"/>
                  </a:lnTo>
                  <a:lnTo>
                    <a:pt x="180" y="214"/>
                  </a:lnTo>
                  <a:lnTo>
                    <a:pt x="179" y="214"/>
                  </a:lnTo>
                  <a:lnTo>
                    <a:pt x="179" y="215"/>
                  </a:lnTo>
                  <a:lnTo>
                    <a:pt x="177" y="215"/>
                  </a:lnTo>
                  <a:lnTo>
                    <a:pt x="177" y="214"/>
                  </a:lnTo>
                  <a:lnTo>
                    <a:pt x="177" y="215"/>
                  </a:lnTo>
                  <a:lnTo>
                    <a:pt x="176" y="214"/>
                  </a:lnTo>
                  <a:lnTo>
                    <a:pt x="176" y="215"/>
                  </a:lnTo>
                  <a:lnTo>
                    <a:pt x="177" y="217"/>
                  </a:lnTo>
                  <a:lnTo>
                    <a:pt x="177" y="218"/>
                  </a:lnTo>
                  <a:lnTo>
                    <a:pt x="176" y="219"/>
                  </a:lnTo>
                  <a:lnTo>
                    <a:pt x="176" y="220"/>
                  </a:lnTo>
                  <a:lnTo>
                    <a:pt x="176" y="219"/>
                  </a:lnTo>
                  <a:lnTo>
                    <a:pt x="176" y="218"/>
                  </a:lnTo>
                  <a:lnTo>
                    <a:pt x="175" y="218"/>
                  </a:lnTo>
                  <a:lnTo>
                    <a:pt x="175" y="219"/>
                  </a:lnTo>
                  <a:lnTo>
                    <a:pt x="176" y="220"/>
                  </a:lnTo>
                  <a:lnTo>
                    <a:pt x="175" y="220"/>
                  </a:lnTo>
                  <a:lnTo>
                    <a:pt x="175" y="221"/>
                  </a:lnTo>
                  <a:lnTo>
                    <a:pt x="174" y="221"/>
                  </a:lnTo>
                  <a:lnTo>
                    <a:pt x="174" y="223"/>
                  </a:lnTo>
                  <a:lnTo>
                    <a:pt x="175" y="221"/>
                  </a:lnTo>
                  <a:lnTo>
                    <a:pt x="176" y="221"/>
                  </a:lnTo>
                  <a:lnTo>
                    <a:pt x="177" y="221"/>
                  </a:lnTo>
                  <a:lnTo>
                    <a:pt x="179" y="221"/>
                  </a:lnTo>
                  <a:lnTo>
                    <a:pt x="179" y="223"/>
                  </a:lnTo>
                  <a:lnTo>
                    <a:pt x="177" y="223"/>
                  </a:lnTo>
                  <a:lnTo>
                    <a:pt x="176" y="223"/>
                  </a:lnTo>
                  <a:lnTo>
                    <a:pt x="176" y="224"/>
                  </a:lnTo>
                  <a:lnTo>
                    <a:pt x="175" y="223"/>
                  </a:lnTo>
                  <a:lnTo>
                    <a:pt x="175" y="224"/>
                  </a:lnTo>
                  <a:lnTo>
                    <a:pt x="176" y="224"/>
                  </a:lnTo>
                  <a:lnTo>
                    <a:pt x="177" y="224"/>
                  </a:lnTo>
                  <a:lnTo>
                    <a:pt x="179" y="224"/>
                  </a:lnTo>
                  <a:lnTo>
                    <a:pt x="180" y="224"/>
                  </a:lnTo>
                  <a:lnTo>
                    <a:pt x="180" y="225"/>
                  </a:lnTo>
                  <a:lnTo>
                    <a:pt x="179" y="225"/>
                  </a:lnTo>
                  <a:lnTo>
                    <a:pt x="180" y="225"/>
                  </a:lnTo>
                  <a:lnTo>
                    <a:pt x="181" y="225"/>
                  </a:lnTo>
                  <a:lnTo>
                    <a:pt x="182" y="224"/>
                  </a:lnTo>
                  <a:lnTo>
                    <a:pt x="183" y="224"/>
                  </a:lnTo>
                  <a:lnTo>
                    <a:pt x="183" y="225"/>
                  </a:lnTo>
                  <a:lnTo>
                    <a:pt x="183" y="224"/>
                  </a:lnTo>
                  <a:lnTo>
                    <a:pt x="185" y="224"/>
                  </a:lnTo>
                  <a:lnTo>
                    <a:pt x="186" y="223"/>
                  </a:lnTo>
                  <a:lnTo>
                    <a:pt x="186" y="224"/>
                  </a:lnTo>
                  <a:lnTo>
                    <a:pt x="187" y="223"/>
                  </a:lnTo>
                  <a:lnTo>
                    <a:pt x="188" y="223"/>
                  </a:lnTo>
                  <a:lnTo>
                    <a:pt x="187" y="224"/>
                  </a:lnTo>
                  <a:lnTo>
                    <a:pt x="187" y="225"/>
                  </a:lnTo>
                  <a:lnTo>
                    <a:pt x="188" y="225"/>
                  </a:lnTo>
                  <a:lnTo>
                    <a:pt x="187" y="225"/>
                  </a:lnTo>
                  <a:lnTo>
                    <a:pt x="186" y="224"/>
                  </a:lnTo>
                  <a:lnTo>
                    <a:pt x="185" y="224"/>
                  </a:lnTo>
                  <a:lnTo>
                    <a:pt x="186" y="225"/>
                  </a:lnTo>
                  <a:lnTo>
                    <a:pt x="186" y="226"/>
                  </a:lnTo>
                  <a:lnTo>
                    <a:pt x="186" y="225"/>
                  </a:lnTo>
                  <a:lnTo>
                    <a:pt x="185" y="225"/>
                  </a:lnTo>
                  <a:lnTo>
                    <a:pt x="183" y="225"/>
                  </a:lnTo>
                  <a:lnTo>
                    <a:pt x="185" y="226"/>
                  </a:lnTo>
                  <a:lnTo>
                    <a:pt x="185" y="227"/>
                  </a:lnTo>
                  <a:lnTo>
                    <a:pt x="186" y="227"/>
                  </a:lnTo>
                  <a:lnTo>
                    <a:pt x="187" y="227"/>
                  </a:lnTo>
                  <a:lnTo>
                    <a:pt x="187" y="226"/>
                  </a:lnTo>
                  <a:lnTo>
                    <a:pt x="187" y="227"/>
                  </a:lnTo>
                  <a:lnTo>
                    <a:pt x="188" y="227"/>
                  </a:lnTo>
                  <a:lnTo>
                    <a:pt x="189" y="227"/>
                  </a:lnTo>
                  <a:lnTo>
                    <a:pt x="188" y="227"/>
                  </a:lnTo>
                  <a:lnTo>
                    <a:pt x="187" y="227"/>
                  </a:lnTo>
                  <a:lnTo>
                    <a:pt x="187" y="229"/>
                  </a:lnTo>
                  <a:lnTo>
                    <a:pt x="188" y="229"/>
                  </a:lnTo>
                  <a:lnTo>
                    <a:pt x="187" y="229"/>
                  </a:lnTo>
                  <a:lnTo>
                    <a:pt x="186" y="227"/>
                  </a:lnTo>
                  <a:lnTo>
                    <a:pt x="186" y="229"/>
                  </a:lnTo>
                  <a:lnTo>
                    <a:pt x="186" y="230"/>
                  </a:lnTo>
                  <a:lnTo>
                    <a:pt x="186" y="229"/>
                  </a:lnTo>
                  <a:lnTo>
                    <a:pt x="185" y="229"/>
                  </a:lnTo>
                  <a:lnTo>
                    <a:pt x="186" y="230"/>
                  </a:lnTo>
                  <a:lnTo>
                    <a:pt x="185" y="230"/>
                  </a:lnTo>
                  <a:lnTo>
                    <a:pt x="185" y="229"/>
                  </a:lnTo>
                  <a:lnTo>
                    <a:pt x="183" y="229"/>
                  </a:lnTo>
                  <a:lnTo>
                    <a:pt x="185" y="230"/>
                  </a:lnTo>
                  <a:lnTo>
                    <a:pt x="183" y="230"/>
                  </a:lnTo>
                  <a:lnTo>
                    <a:pt x="183" y="229"/>
                  </a:lnTo>
                  <a:lnTo>
                    <a:pt x="183" y="230"/>
                  </a:lnTo>
                  <a:lnTo>
                    <a:pt x="183" y="231"/>
                  </a:lnTo>
                  <a:lnTo>
                    <a:pt x="182" y="231"/>
                  </a:lnTo>
                  <a:lnTo>
                    <a:pt x="182" y="232"/>
                  </a:lnTo>
                  <a:lnTo>
                    <a:pt x="182" y="233"/>
                  </a:lnTo>
                  <a:lnTo>
                    <a:pt x="181" y="232"/>
                  </a:lnTo>
                  <a:lnTo>
                    <a:pt x="181" y="233"/>
                  </a:lnTo>
                  <a:lnTo>
                    <a:pt x="182" y="233"/>
                  </a:lnTo>
                  <a:lnTo>
                    <a:pt x="181" y="235"/>
                  </a:lnTo>
                  <a:lnTo>
                    <a:pt x="182" y="235"/>
                  </a:lnTo>
                  <a:lnTo>
                    <a:pt x="183" y="236"/>
                  </a:lnTo>
                  <a:lnTo>
                    <a:pt x="182" y="236"/>
                  </a:lnTo>
                  <a:lnTo>
                    <a:pt x="181" y="235"/>
                  </a:lnTo>
                  <a:lnTo>
                    <a:pt x="181" y="236"/>
                  </a:lnTo>
                  <a:lnTo>
                    <a:pt x="181" y="235"/>
                  </a:lnTo>
                  <a:lnTo>
                    <a:pt x="180" y="235"/>
                  </a:lnTo>
                  <a:lnTo>
                    <a:pt x="180" y="236"/>
                  </a:lnTo>
                  <a:lnTo>
                    <a:pt x="181" y="236"/>
                  </a:lnTo>
                  <a:lnTo>
                    <a:pt x="182" y="236"/>
                  </a:lnTo>
                  <a:lnTo>
                    <a:pt x="183" y="236"/>
                  </a:lnTo>
                  <a:lnTo>
                    <a:pt x="185" y="236"/>
                  </a:lnTo>
                  <a:lnTo>
                    <a:pt x="186" y="236"/>
                  </a:lnTo>
                  <a:lnTo>
                    <a:pt x="187" y="236"/>
                  </a:lnTo>
                  <a:lnTo>
                    <a:pt x="188" y="236"/>
                  </a:lnTo>
                  <a:lnTo>
                    <a:pt x="187" y="237"/>
                  </a:lnTo>
                  <a:lnTo>
                    <a:pt x="186" y="237"/>
                  </a:lnTo>
                  <a:lnTo>
                    <a:pt x="186" y="238"/>
                  </a:lnTo>
                  <a:lnTo>
                    <a:pt x="186" y="237"/>
                  </a:lnTo>
                  <a:lnTo>
                    <a:pt x="185" y="237"/>
                  </a:lnTo>
                  <a:lnTo>
                    <a:pt x="185" y="238"/>
                  </a:lnTo>
                  <a:lnTo>
                    <a:pt x="186" y="238"/>
                  </a:lnTo>
                  <a:lnTo>
                    <a:pt x="186" y="239"/>
                  </a:lnTo>
                  <a:lnTo>
                    <a:pt x="186" y="241"/>
                  </a:lnTo>
                  <a:lnTo>
                    <a:pt x="185" y="242"/>
                  </a:lnTo>
                  <a:lnTo>
                    <a:pt x="185" y="241"/>
                  </a:lnTo>
                  <a:lnTo>
                    <a:pt x="185" y="239"/>
                  </a:lnTo>
                  <a:lnTo>
                    <a:pt x="185" y="238"/>
                  </a:lnTo>
                  <a:lnTo>
                    <a:pt x="183" y="238"/>
                  </a:lnTo>
                  <a:lnTo>
                    <a:pt x="183" y="239"/>
                  </a:lnTo>
                  <a:lnTo>
                    <a:pt x="182" y="239"/>
                  </a:lnTo>
                  <a:lnTo>
                    <a:pt x="182" y="238"/>
                  </a:lnTo>
                  <a:lnTo>
                    <a:pt x="182" y="239"/>
                  </a:lnTo>
                  <a:lnTo>
                    <a:pt x="182" y="241"/>
                  </a:lnTo>
                  <a:lnTo>
                    <a:pt x="183" y="241"/>
                  </a:lnTo>
                  <a:lnTo>
                    <a:pt x="183" y="242"/>
                  </a:lnTo>
                  <a:lnTo>
                    <a:pt x="182" y="242"/>
                  </a:lnTo>
                  <a:lnTo>
                    <a:pt x="183" y="242"/>
                  </a:lnTo>
                  <a:lnTo>
                    <a:pt x="185" y="242"/>
                  </a:lnTo>
                  <a:lnTo>
                    <a:pt x="186" y="242"/>
                  </a:lnTo>
                  <a:lnTo>
                    <a:pt x="186" y="241"/>
                  </a:lnTo>
                  <a:lnTo>
                    <a:pt x="187" y="241"/>
                  </a:lnTo>
                  <a:lnTo>
                    <a:pt x="188" y="241"/>
                  </a:lnTo>
                  <a:lnTo>
                    <a:pt x="189" y="241"/>
                  </a:lnTo>
                  <a:lnTo>
                    <a:pt x="191" y="241"/>
                  </a:lnTo>
                  <a:lnTo>
                    <a:pt x="192" y="241"/>
                  </a:lnTo>
                  <a:lnTo>
                    <a:pt x="192" y="239"/>
                  </a:lnTo>
                  <a:lnTo>
                    <a:pt x="193" y="239"/>
                  </a:lnTo>
                  <a:lnTo>
                    <a:pt x="194" y="239"/>
                  </a:lnTo>
                  <a:lnTo>
                    <a:pt x="194" y="241"/>
                  </a:lnTo>
                  <a:lnTo>
                    <a:pt x="195" y="239"/>
                  </a:lnTo>
                  <a:lnTo>
                    <a:pt x="197" y="239"/>
                  </a:lnTo>
                  <a:lnTo>
                    <a:pt x="197" y="238"/>
                  </a:lnTo>
                  <a:lnTo>
                    <a:pt x="197" y="239"/>
                  </a:lnTo>
                  <a:lnTo>
                    <a:pt x="199" y="239"/>
                  </a:lnTo>
                  <a:lnTo>
                    <a:pt x="198" y="239"/>
                  </a:lnTo>
                  <a:lnTo>
                    <a:pt x="197" y="239"/>
                  </a:lnTo>
                  <a:lnTo>
                    <a:pt x="197" y="241"/>
                  </a:lnTo>
                  <a:lnTo>
                    <a:pt x="198" y="241"/>
                  </a:lnTo>
                  <a:lnTo>
                    <a:pt x="198" y="242"/>
                  </a:lnTo>
                  <a:lnTo>
                    <a:pt x="198" y="241"/>
                  </a:lnTo>
                  <a:lnTo>
                    <a:pt x="197" y="241"/>
                  </a:lnTo>
                  <a:lnTo>
                    <a:pt x="195" y="241"/>
                  </a:lnTo>
                  <a:lnTo>
                    <a:pt x="195" y="242"/>
                  </a:lnTo>
                  <a:lnTo>
                    <a:pt x="195" y="241"/>
                  </a:lnTo>
                  <a:lnTo>
                    <a:pt x="194" y="241"/>
                  </a:lnTo>
                  <a:lnTo>
                    <a:pt x="194" y="242"/>
                  </a:lnTo>
                  <a:lnTo>
                    <a:pt x="195" y="242"/>
                  </a:lnTo>
                  <a:lnTo>
                    <a:pt x="195" y="243"/>
                  </a:lnTo>
                  <a:lnTo>
                    <a:pt x="195" y="244"/>
                  </a:lnTo>
                  <a:lnTo>
                    <a:pt x="194" y="244"/>
                  </a:lnTo>
                  <a:lnTo>
                    <a:pt x="194" y="245"/>
                  </a:lnTo>
                  <a:lnTo>
                    <a:pt x="193" y="244"/>
                  </a:lnTo>
                  <a:lnTo>
                    <a:pt x="193" y="243"/>
                  </a:lnTo>
                  <a:lnTo>
                    <a:pt x="193" y="244"/>
                  </a:lnTo>
                  <a:lnTo>
                    <a:pt x="193" y="243"/>
                  </a:lnTo>
                  <a:lnTo>
                    <a:pt x="192" y="242"/>
                  </a:lnTo>
                  <a:lnTo>
                    <a:pt x="192" y="243"/>
                  </a:lnTo>
                  <a:lnTo>
                    <a:pt x="192" y="242"/>
                  </a:lnTo>
                  <a:lnTo>
                    <a:pt x="191" y="242"/>
                  </a:lnTo>
                  <a:lnTo>
                    <a:pt x="192" y="243"/>
                  </a:lnTo>
                  <a:lnTo>
                    <a:pt x="192" y="244"/>
                  </a:lnTo>
                  <a:lnTo>
                    <a:pt x="191" y="243"/>
                  </a:lnTo>
                  <a:lnTo>
                    <a:pt x="191" y="244"/>
                  </a:lnTo>
                  <a:lnTo>
                    <a:pt x="192" y="245"/>
                  </a:lnTo>
                  <a:lnTo>
                    <a:pt x="192" y="247"/>
                  </a:lnTo>
                  <a:lnTo>
                    <a:pt x="191" y="247"/>
                  </a:lnTo>
                  <a:lnTo>
                    <a:pt x="191" y="245"/>
                  </a:lnTo>
                  <a:lnTo>
                    <a:pt x="191" y="244"/>
                  </a:lnTo>
                  <a:lnTo>
                    <a:pt x="189" y="244"/>
                  </a:lnTo>
                  <a:lnTo>
                    <a:pt x="189" y="245"/>
                  </a:lnTo>
                  <a:lnTo>
                    <a:pt x="188" y="245"/>
                  </a:lnTo>
                  <a:lnTo>
                    <a:pt x="188" y="244"/>
                  </a:lnTo>
                  <a:lnTo>
                    <a:pt x="188" y="245"/>
                  </a:lnTo>
                  <a:lnTo>
                    <a:pt x="189" y="247"/>
                  </a:lnTo>
                  <a:lnTo>
                    <a:pt x="188" y="247"/>
                  </a:lnTo>
                  <a:lnTo>
                    <a:pt x="188" y="245"/>
                  </a:lnTo>
                  <a:lnTo>
                    <a:pt x="188" y="247"/>
                  </a:lnTo>
                  <a:lnTo>
                    <a:pt x="188" y="248"/>
                  </a:lnTo>
                  <a:lnTo>
                    <a:pt x="189" y="248"/>
                  </a:lnTo>
                  <a:lnTo>
                    <a:pt x="191" y="249"/>
                  </a:lnTo>
                  <a:lnTo>
                    <a:pt x="192" y="249"/>
                  </a:lnTo>
                  <a:lnTo>
                    <a:pt x="191" y="249"/>
                  </a:lnTo>
                  <a:lnTo>
                    <a:pt x="191" y="250"/>
                  </a:lnTo>
                  <a:lnTo>
                    <a:pt x="189" y="250"/>
                  </a:lnTo>
                  <a:lnTo>
                    <a:pt x="189" y="249"/>
                  </a:lnTo>
                  <a:lnTo>
                    <a:pt x="188" y="249"/>
                  </a:lnTo>
                  <a:lnTo>
                    <a:pt x="189" y="249"/>
                  </a:lnTo>
                  <a:lnTo>
                    <a:pt x="189" y="250"/>
                  </a:lnTo>
                  <a:lnTo>
                    <a:pt x="188" y="250"/>
                  </a:lnTo>
                  <a:lnTo>
                    <a:pt x="187" y="250"/>
                  </a:lnTo>
                  <a:lnTo>
                    <a:pt x="187" y="249"/>
                  </a:lnTo>
                  <a:lnTo>
                    <a:pt x="188" y="249"/>
                  </a:lnTo>
                  <a:lnTo>
                    <a:pt x="187" y="248"/>
                  </a:lnTo>
                  <a:lnTo>
                    <a:pt x="187" y="249"/>
                  </a:lnTo>
                  <a:lnTo>
                    <a:pt x="187" y="248"/>
                  </a:lnTo>
                  <a:lnTo>
                    <a:pt x="186" y="248"/>
                  </a:lnTo>
                  <a:lnTo>
                    <a:pt x="186" y="249"/>
                  </a:lnTo>
                  <a:lnTo>
                    <a:pt x="186" y="248"/>
                  </a:lnTo>
                  <a:lnTo>
                    <a:pt x="186" y="247"/>
                  </a:lnTo>
                  <a:lnTo>
                    <a:pt x="186" y="245"/>
                  </a:lnTo>
                  <a:lnTo>
                    <a:pt x="185" y="247"/>
                  </a:lnTo>
                  <a:lnTo>
                    <a:pt x="185" y="248"/>
                  </a:lnTo>
                  <a:lnTo>
                    <a:pt x="185" y="249"/>
                  </a:lnTo>
                  <a:lnTo>
                    <a:pt x="186" y="249"/>
                  </a:lnTo>
                  <a:lnTo>
                    <a:pt x="185" y="250"/>
                  </a:lnTo>
                  <a:lnTo>
                    <a:pt x="186" y="250"/>
                  </a:lnTo>
                  <a:lnTo>
                    <a:pt x="187" y="251"/>
                  </a:lnTo>
                  <a:lnTo>
                    <a:pt x="188" y="251"/>
                  </a:lnTo>
                  <a:lnTo>
                    <a:pt x="189" y="251"/>
                  </a:lnTo>
                  <a:lnTo>
                    <a:pt x="191" y="251"/>
                  </a:lnTo>
                  <a:lnTo>
                    <a:pt x="191" y="253"/>
                  </a:lnTo>
                  <a:lnTo>
                    <a:pt x="189" y="253"/>
                  </a:lnTo>
                  <a:lnTo>
                    <a:pt x="188" y="251"/>
                  </a:lnTo>
                  <a:lnTo>
                    <a:pt x="188" y="253"/>
                  </a:lnTo>
                  <a:lnTo>
                    <a:pt x="188" y="254"/>
                  </a:lnTo>
                  <a:lnTo>
                    <a:pt x="187" y="253"/>
                  </a:lnTo>
                  <a:lnTo>
                    <a:pt x="187" y="251"/>
                  </a:lnTo>
                  <a:lnTo>
                    <a:pt x="186" y="251"/>
                  </a:lnTo>
                  <a:lnTo>
                    <a:pt x="186" y="253"/>
                  </a:lnTo>
                  <a:lnTo>
                    <a:pt x="186" y="254"/>
                  </a:lnTo>
                  <a:lnTo>
                    <a:pt x="186" y="255"/>
                  </a:lnTo>
                  <a:lnTo>
                    <a:pt x="186" y="254"/>
                  </a:lnTo>
                  <a:lnTo>
                    <a:pt x="186" y="253"/>
                  </a:lnTo>
                  <a:lnTo>
                    <a:pt x="186" y="254"/>
                  </a:lnTo>
                  <a:lnTo>
                    <a:pt x="185" y="253"/>
                  </a:lnTo>
                  <a:lnTo>
                    <a:pt x="185" y="251"/>
                  </a:lnTo>
                  <a:lnTo>
                    <a:pt x="185" y="253"/>
                  </a:lnTo>
                  <a:lnTo>
                    <a:pt x="185" y="254"/>
                  </a:lnTo>
                  <a:lnTo>
                    <a:pt x="185" y="253"/>
                  </a:lnTo>
                  <a:lnTo>
                    <a:pt x="183" y="253"/>
                  </a:lnTo>
                  <a:lnTo>
                    <a:pt x="183" y="251"/>
                  </a:lnTo>
                  <a:lnTo>
                    <a:pt x="183" y="253"/>
                  </a:lnTo>
                  <a:lnTo>
                    <a:pt x="183" y="254"/>
                  </a:lnTo>
                  <a:lnTo>
                    <a:pt x="183" y="255"/>
                  </a:lnTo>
                  <a:lnTo>
                    <a:pt x="183" y="256"/>
                  </a:lnTo>
                  <a:lnTo>
                    <a:pt x="183" y="257"/>
                  </a:lnTo>
                  <a:lnTo>
                    <a:pt x="185" y="259"/>
                  </a:lnTo>
                  <a:lnTo>
                    <a:pt x="183" y="257"/>
                  </a:lnTo>
                  <a:lnTo>
                    <a:pt x="183" y="259"/>
                  </a:lnTo>
                  <a:lnTo>
                    <a:pt x="185" y="259"/>
                  </a:lnTo>
                  <a:lnTo>
                    <a:pt x="186" y="259"/>
                  </a:lnTo>
                  <a:lnTo>
                    <a:pt x="187" y="259"/>
                  </a:lnTo>
                  <a:lnTo>
                    <a:pt x="187" y="257"/>
                  </a:lnTo>
                  <a:lnTo>
                    <a:pt x="188" y="257"/>
                  </a:lnTo>
                  <a:lnTo>
                    <a:pt x="189" y="256"/>
                  </a:lnTo>
                  <a:lnTo>
                    <a:pt x="191" y="256"/>
                  </a:lnTo>
                  <a:lnTo>
                    <a:pt x="191" y="255"/>
                  </a:lnTo>
                  <a:lnTo>
                    <a:pt x="192" y="255"/>
                  </a:lnTo>
                  <a:lnTo>
                    <a:pt x="192" y="254"/>
                  </a:lnTo>
                  <a:lnTo>
                    <a:pt x="192" y="255"/>
                  </a:lnTo>
                  <a:lnTo>
                    <a:pt x="193" y="255"/>
                  </a:lnTo>
                  <a:lnTo>
                    <a:pt x="193" y="256"/>
                  </a:lnTo>
                  <a:lnTo>
                    <a:pt x="192" y="256"/>
                  </a:lnTo>
                  <a:lnTo>
                    <a:pt x="191" y="257"/>
                  </a:lnTo>
                  <a:lnTo>
                    <a:pt x="191" y="259"/>
                  </a:lnTo>
                  <a:lnTo>
                    <a:pt x="192" y="259"/>
                  </a:lnTo>
                  <a:lnTo>
                    <a:pt x="192" y="257"/>
                  </a:lnTo>
                  <a:lnTo>
                    <a:pt x="193" y="257"/>
                  </a:lnTo>
                  <a:lnTo>
                    <a:pt x="194" y="257"/>
                  </a:lnTo>
                  <a:lnTo>
                    <a:pt x="195" y="257"/>
                  </a:lnTo>
                  <a:lnTo>
                    <a:pt x="195" y="256"/>
                  </a:lnTo>
                  <a:lnTo>
                    <a:pt x="197" y="256"/>
                  </a:lnTo>
                  <a:lnTo>
                    <a:pt x="198" y="255"/>
                  </a:lnTo>
                  <a:lnTo>
                    <a:pt x="199" y="254"/>
                  </a:lnTo>
                  <a:lnTo>
                    <a:pt x="201" y="253"/>
                  </a:lnTo>
                  <a:lnTo>
                    <a:pt x="203" y="253"/>
                  </a:lnTo>
                  <a:lnTo>
                    <a:pt x="203" y="251"/>
                  </a:lnTo>
                  <a:lnTo>
                    <a:pt x="204" y="251"/>
                  </a:lnTo>
                  <a:lnTo>
                    <a:pt x="205" y="251"/>
                  </a:lnTo>
                  <a:lnTo>
                    <a:pt x="206" y="250"/>
                  </a:lnTo>
                  <a:lnTo>
                    <a:pt x="206" y="251"/>
                  </a:lnTo>
                  <a:lnTo>
                    <a:pt x="205" y="251"/>
                  </a:lnTo>
                  <a:lnTo>
                    <a:pt x="205" y="253"/>
                  </a:lnTo>
                  <a:lnTo>
                    <a:pt x="204" y="251"/>
                  </a:lnTo>
                  <a:lnTo>
                    <a:pt x="204" y="253"/>
                  </a:lnTo>
                  <a:lnTo>
                    <a:pt x="205" y="253"/>
                  </a:lnTo>
                  <a:lnTo>
                    <a:pt x="204" y="253"/>
                  </a:lnTo>
                  <a:lnTo>
                    <a:pt x="203" y="254"/>
                  </a:lnTo>
                  <a:lnTo>
                    <a:pt x="204" y="254"/>
                  </a:lnTo>
                  <a:lnTo>
                    <a:pt x="203" y="254"/>
                  </a:lnTo>
                  <a:lnTo>
                    <a:pt x="203" y="255"/>
                  </a:lnTo>
                  <a:lnTo>
                    <a:pt x="201" y="254"/>
                  </a:lnTo>
                  <a:lnTo>
                    <a:pt x="201" y="255"/>
                  </a:lnTo>
                  <a:lnTo>
                    <a:pt x="201" y="256"/>
                  </a:lnTo>
                  <a:lnTo>
                    <a:pt x="203" y="256"/>
                  </a:lnTo>
                  <a:lnTo>
                    <a:pt x="201" y="256"/>
                  </a:lnTo>
                  <a:lnTo>
                    <a:pt x="200" y="256"/>
                  </a:lnTo>
                  <a:lnTo>
                    <a:pt x="200" y="255"/>
                  </a:lnTo>
                  <a:lnTo>
                    <a:pt x="200" y="256"/>
                  </a:lnTo>
                  <a:lnTo>
                    <a:pt x="200" y="257"/>
                  </a:lnTo>
                  <a:lnTo>
                    <a:pt x="200" y="256"/>
                  </a:lnTo>
                  <a:lnTo>
                    <a:pt x="199" y="256"/>
                  </a:lnTo>
                  <a:lnTo>
                    <a:pt x="200" y="257"/>
                  </a:lnTo>
                  <a:lnTo>
                    <a:pt x="200" y="259"/>
                  </a:lnTo>
                  <a:lnTo>
                    <a:pt x="200" y="260"/>
                  </a:lnTo>
                  <a:lnTo>
                    <a:pt x="200" y="261"/>
                  </a:lnTo>
                  <a:lnTo>
                    <a:pt x="200" y="260"/>
                  </a:lnTo>
                  <a:lnTo>
                    <a:pt x="199" y="260"/>
                  </a:lnTo>
                  <a:lnTo>
                    <a:pt x="199" y="259"/>
                  </a:lnTo>
                  <a:lnTo>
                    <a:pt x="199" y="260"/>
                  </a:lnTo>
                  <a:lnTo>
                    <a:pt x="199" y="261"/>
                  </a:lnTo>
                  <a:lnTo>
                    <a:pt x="199" y="262"/>
                  </a:lnTo>
                  <a:lnTo>
                    <a:pt x="199" y="261"/>
                  </a:lnTo>
                  <a:lnTo>
                    <a:pt x="198" y="261"/>
                  </a:lnTo>
                  <a:lnTo>
                    <a:pt x="198" y="262"/>
                  </a:lnTo>
                  <a:lnTo>
                    <a:pt x="198" y="263"/>
                  </a:lnTo>
                  <a:lnTo>
                    <a:pt x="197" y="263"/>
                  </a:lnTo>
                  <a:lnTo>
                    <a:pt x="197" y="262"/>
                  </a:lnTo>
                  <a:lnTo>
                    <a:pt x="197" y="261"/>
                  </a:lnTo>
                  <a:lnTo>
                    <a:pt x="197" y="262"/>
                  </a:lnTo>
                  <a:lnTo>
                    <a:pt x="195" y="261"/>
                  </a:lnTo>
                  <a:lnTo>
                    <a:pt x="195" y="262"/>
                  </a:lnTo>
                  <a:lnTo>
                    <a:pt x="195" y="263"/>
                  </a:lnTo>
                  <a:lnTo>
                    <a:pt x="195" y="265"/>
                  </a:lnTo>
                  <a:lnTo>
                    <a:pt x="195" y="266"/>
                  </a:lnTo>
                  <a:lnTo>
                    <a:pt x="194" y="266"/>
                  </a:lnTo>
                  <a:lnTo>
                    <a:pt x="194" y="265"/>
                  </a:lnTo>
                  <a:lnTo>
                    <a:pt x="194" y="263"/>
                  </a:lnTo>
                  <a:lnTo>
                    <a:pt x="194" y="265"/>
                  </a:lnTo>
                  <a:lnTo>
                    <a:pt x="194" y="263"/>
                  </a:lnTo>
                  <a:lnTo>
                    <a:pt x="193" y="263"/>
                  </a:lnTo>
                  <a:lnTo>
                    <a:pt x="193" y="265"/>
                  </a:lnTo>
                  <a:lnTo>
                    <a:pt x="193" y="263"/>
                  </a:lnTo>
                  <a:lnTo>
                    <a:pt x="192" y="263"/>
                  </a:lnTo>
                  <a:lnTo>
                    <a:pt x="192" y="265"/>
                  </a:lnTo>
                  <a:lnTo>
                    <a:pt x="193" y="265"/>
                  </a:lnTo>
                  <a:lnTo>
                    <a:pt x="193" y="266"/>
                  </a:lnTo>
                  <a:lnTo>
                    <a:pt x="194" y="266"/>
                  </a:lnTo>
                  <a:lnTo>
                    <a:pt x="195" y="267"/>
                  </a:lnTo>
                  <a:lnTo>
                    <a:pt x="197" y="267"/>
                  </a:lnTo>
                  <a:lnTo>
                    <a:pt x="199" y="267"/>
                  </a:lnTo>
                  <a:lnTo>
                    <a:pt x="198" y="267"/>
                  </a:lnTo>
                  <a:lnTo>
                    <a:pt x="197" y="268"/>
                  </a:lnTo>
                  <a:lnTo>
                    <a:pt x="198" y="268"/>
                  </a:lnTo>
                  <a:lnTo>
                    <a:pt x="199" y="269"/>
                  </a:lnTo>
                  <a:lnTo>
                    <a:pt x="198" y="269"/>
                  </a:lnTo>
                  <a:lnTo>
                    <a:pt x="198" y="268"/>
                  </a:lnTo>
                  <a:lnTo>
                    <a:pt x="198" y="269"/>
                  </a:lnTo>
                  <a:lnTo>
                    <a:pt x="197" y="269"/>
                  </a:lnTo>
                  <a:lnTo>
                    <a:pt x="197" y="268"/>
                  </a:lnTo>
                  <a:lnTo>
                    <a:pt x="197" y="269"/>
                  </a:lnTo>
                  <a:lnTo>
                    <a:pt x="195" y="269"/>
                  </a:lnTo>
                  <a:lnTo>
                    <a:pt x="195" y="268"/>
                  </a:lnTo>
                  <a:lnTo>
                    <a:pt x="194" y="268"/>
                  </a:lnTo>
                  <a:lnTo>
                    <a:pt x="194" y="269"/>
                  </a:lnTo>
                  <a:lnTo>
                    <a:pt x="195" y="269"/>
                  </a:lnTo>
                  <a:lnTo>
                    <a:pt x="195" y="271"/>
                  </a:lnTo>
                  <a:lnTo>
                    <a:pt x="194" y="271"/>
                  </a:lnTo>
                  <a:lnTo>
                    <a:pt x="195" y="272"/>
                  </a:lnTo>
                  <a:lnTo>
                    <a:pt x="194" y="271"/>
                  </a:lnTo>
                  <a:lnTo>
                    <a:pt x="193" y="269"/>
                  </a:lnTo>
                  <a:lnTo>
                    <a:pt x="193" y="268"/>
                  </a:lnTo>
                  <a:lnTo>
                    <a:pt x="192" y="268"/>
                  </a:lnTo>
                  <a:lnTo>
                    <a:pt x="192" y="269"/>
                  </a:lnTo>
                  <a:lnTo>
                    <a:pt x="191" y="269"/>
                  </a:lnTo>
                  <a:lnTo>
                    <a:pt x="192" y="271"/>
                  </a:lnTo>
                  <a:lnTo>
                    <a:pt x="192" y="272"/>
                  </a:lnTo>
                  <a:lnTo>
                    <a:pt x="193" y="272"/>
                  </a:lnTo>
                  <a:lnTo>
                    <a:pt x="194" y="272"/>
                  </a:lnTo>
                  <a:lnTo>
                    <a:pt x="194" y="273"/>
                  </a:lnTo>
                  <a:lnTo>
                    <a:pt x="195" y="274"/>
                  </a:lnTo>
                  <a:lnTo>
                    <a:pt x="194" y="274"/>
                  </a:lnTo>
                  <a:lnTo>
                    <a:pt x="193" y="274"/>
                  </a:lnTo>
                  <a:lnTo>
                    <a:pt x="193" y="273"/>
                  </a:lnTo>
                  <a:lnTo>
                    <a:pt x="193" y="272"/>
                  </a:lnTo>
                  <a:lnTo>
                    <a:pt x="192" y="272"/>
                  </a:lnTo>
                  <a:lnTo>
                    <a:pt x="192" y="273"/>
                  </a:lnTo>
                  <a:lnTo>
                    <a:pt x="193" y="274"/>
                  </a:lnTo>
                  <a:lnTo>
                    <a:pt x="192" y="274"/>
                  </a:lnTo>
                  <a:lnTo>
                    <a:pt x="192" y="273"/>
                  </a:lnTo>
                  <a:lnTo>
                    <a:pt x="192" y="274"/>
                  </a:lnTo>
                  <a:lnTo>
                    <a:pt x="191" y="274"/>
                  </a:lnTo>
                  <a:lnTo>
                    <a:pt x="191" y="273"/>
                  </a:lnTo>
                  <a:lnTo>
                    <a:pt x="191" y="272"/>
                  </a:lnTo>
                  <a:lnTo>
                    <a:pt x="189" y="272"/>
                  </a:lnTo>
                  <a:lnTo>
                    <a:pt x="191" y="271"/>
                  </a:lnTo>
                  <a:lnTo>
                    <a:pt x="189" y="271"/>
                  </a:lnTo>
                  <a:lnTo>
                    <a:pt x="188" y="269"/>
                  </a:lnTo>
                  <a:lnTo>
                    <a:pt x="188" y="271"/>
                  </a:lnTo>
                  <a:lnTo>
                    <a:pt x="188" y="272"/>
                  </a:lnTo>
                  <a:lnTo>
                    <a:pt x="189" y="273"/>
                  </a:lnTo>
                  <a:lnTo>
                    <a:pt x="189" y="274"/>
                  </a:lnTo>
                  <a:lnTo>
                    <a:pt x="189" y="275"/>
                  </a:lnTo>
                  <a:lnTo>
                    <a:pt x="188" y="275"/>
                  </a:lnTo>
                  <a:lnTo>
                    <a:pt x="188" y="274"/>
                  </a:lnTo>
                  <a:lnTo>
                    <a:pt x="188" y="273"/>
                  </a:lnTo>
                  <a:lnTo>
                    <a:pt x="187" y="273"/>
                  </a:lnTo>
                  <a:lnTo>
                    <a:pt x="187" y="274"/>
                  </a:lnTo>
                  <a:lnTo>
                    <a:pt x="187" y="275"/>
                  </a:lnTo>
                  <a:lnTo>
                    <a:pt x="187" y="277"/>
                  </a:lnTo>
                  <a:lnTo>
                    <a:pt x="186" y="277"/>
                  </a:lnTo>
                  <a:lnTo>
                    <a:pt x="186" y="275"/>
                  </a:lnTo>
                  <a:lnTo>
                    <a:pt x="186" y="274"/>
                  </a:lnTo>
                  <a:lnTo>
                    <a:pt x="186" y="272"/>
                  </a:lnTo>
                  <a:lnTo>
                    <a:pt x="186" y="274"/>
                  </a:lnTo>
                  <a:lnTo>
                    <a:pt x="186" y="273"/>
                  </a:lnTo>
                  <a:lnTo>
                    <a:pt x="186" y="272"/>
                  </a:lnTo>
                  <a:lnTo>
                    <a:pt x="185" y="272"/>
                  </a:lnTo>
                  <a:lnTo>
                    <a:pt x="185" y="271"/>
                  </a:lnTo>
                  <a:lnTo>
                    <a:pt x="185" y="269"/>
                  </a:lnTo>
                  <a:lnTo>
                    <a:pt x="185" y="271"/>
                  </a:lnTo>
                  <a:lnTo>
                    <a:pt x="185" y="272"/>
                  </a:lnTo>
                  <a:lnTo>
                    <a:pt x="185" y="273"/>
                  </a:lnTo>
                  <a:lnTo>
                    <a:pt x="185" y="274"/>
                  </a:lnTo>
                  <a:lnTo>
                    <a:pt x="186" y="275"/>
                  </a:lnTo>
                  <a:lnTo>
                    <a:pt x="186" y="277"/>
                  </a:lnTo>
                  <a:lnTo>
                    <a:pt x="185" y="277"/>
                  </a:lnTo>
                  <a:lnTo>
                    <a:pt x="185" y="275"/>
                  </a:lnTo>
                  <a:lnTo>
                    <a:pt x="185" y="274"/>
                  </a:lnTo>
                  <a:lnTo>
                    <a:pt x="183" y="274"/>
                  </a:lnTo>
                  <a:lnTo>
                    <a:pt x="185" y="274"/>
                  </a:lnTo>
                  <a:lnTo>
                    <a:pt x="183" y="273"/>
                  </a:lnTo>
                  <a:lnTo>
                    <a:pt x="183" y="274"/>
                  </a:lnTo>
                  <a:lnTo>
                    <a:pt x="183" y="275"/>
                  </a:lnTo>
                  <a:lnTo>
                    <a:pt x="183" y="274"/>
                  </a:lnTo>
                  <a:lnTo>
                    <a:pt x="183" y="273"/>
                  </a:lnTo>
                  <a:lnTo>
                    <a:pt x="182" y="273"/>
                  </a:lnTo>
                  <a:lnTo>
                    <a:pt x="182" y="272"/>
                  </a:lnTo>
                  <a:lnTo>
                    <a:pt x="182" y="273"/>
                  </a:lnTo>
                  <a:lnTo>
                    <a:pt x="182" y="274"/>
                  </a:lnTo>
                  <a:lnTo>
                    <a:pt x="182" y="275"/>
                  </a:lnTo>
                  <a:lnTo>
                    <a:pt x="182" y="277"/>
                  </a:lnTo>
                  <a:lnTo>
                    <a:pt x="183" y="278"/>
                  </a:lnTo>
                  <a:lnTo>
                    <a:pt x="182" y="278"/>
                  </a:lnTo>
                  <a:lnTo>
                    <a:pt x="182" y="279"/>
                  </a:lnTo>
                  <a:lnTo>
                    <a:pt x="181" y="279"/>
                  </a:lnTo>
                  <a:lnTo>
                    <a:pt x="181" y="278"/>
                  </a:lnTo>
                  <a:lnTo>
                    <a:pt x="180" y="277"/>
                  </a:lnTo>
                  <a:lnTo>
                    <a:pt x="180" y="274"/>
                  </a:lnTo>
                  <a:lnTo>
                    <a:pt x="180" y="273"/>
                  </a:lnTo>
                  <a:lnTo>
                    <a:pt x="180" y="272"/>
                  </a:lnTo>
                  <a:lnTo>
                    <a:pt x="180" y="273"/>
                  </a:lnTo>
                  <a:lnTo>
                    <a:pt x="180" y="274"/>
                  </a:lnTo>
                  <a:lnTo>
                    <a:pt x="180" y="275"/>
                  </a:lnTo>
                  <a:lnTo>
                    <a:pt x="180" y="277"/>
                  </a:lnTo>
                  <a:lnTo>
                    <a:pt x="180" y="278"/>
                  </a:lnTo>
                  <a:lnTo>
                    <a:pt x="181" y="278"/>
                  </a:lnTo>
                  <a:lnTo>
                    <a:pt x="181" y="279"/>
                  </a:lnTo>
                  <a:lnTo>
                    <a:pt x="181" y="280"/>
                  </a:lnTo>
                  <a:lnTo>
                    <a:pt x="181" y="281"/>
                  </a:lnTo>
                  <a:lnTo>
                    <a:pt x="181" y="283"/>
                  </a:lnTo>
                  <a:lnTo>
                    <a:pt x="182" y="284"/>
                  </a:lnTo>
                  <a:lnTo>
                    <a:pt x="183" y="283"/>
                  </a:lnTo>
                  <a:lnTo>
                    <a:pt x="185" y="283"/>
                  </a:lnTo>
                  <a:lnTo>
                    <a:pt x="186" y="281"/>
                  </a:lnTo>
                  <a:lnTo>
                    <a:pt x="187" y="281"/>
                  </a:lnTo>
                  <a:lnTo>
                    <a:pt x="188" y="281"/>
                  </a:lnTo>
                  <a:lnTo>
                    <a:pt x="188" y="283"/>
                  </a:lnTo>
                  <a:lnTo>
                    <a:pt x="187" y="283"/>
                  </a:lnTo>
                  <a:lnTo>
                    <a:pt x="188" y="283"/>
                  </a:lnTo>
                  <a:lnTo>
                    <a:pt x="187" y="284"/>
                  </a:lnTo>
                  <a:lnTo>
                    <a:pt x="187" y="283"/>
                  </a:lnTo>
                  <a:lnTo>
                    <a:pt x="186" y="283"/>
                  </a:lnTo>
                  <a:lnTo>
                    <a:pt x="187" y="284"/>
                  </a:lnTo>
                  <a:lnTo>
                    <a:pt x="186" y="285"/>
                  </a:lnTo>
                  <a:lnTo>
                    <a:pt x="186" y="284"/>
                  </a:lnTo>
                  <a:lnTo>
                    <a:pt x="186" y="285"/>
                  </a:lnTo>
                  <a:lnTo>
                    <a:pt x="186" y="286"/>
                  </a:lnTo>
                  <a:lnTo>
                    <a:pt x="185" y="286"/>
                  </a:lnTo>
                  <a:lnTo>
                    <a:pt x="185" y="287"/>
                  </a:lnTo>
                  <a:lnTo>
                    <a:pt x="183" y="287"/>
                  </a:lnTo>
                  <a:lnTo>
                    <a:pt x="185" y="289"/>
                  </a:lnTo>
                  <a:lnTo>
                    <a:pt x="183" y="289"/>
                  </a:lnTo>
                  <a:lnTo>
                    <a:pt x="182" y="289"/>
                  </a:lnTo>
                  <a:lnTo>
                    <a:pt x="182" y="287"/>
                  </a:lnTo>
                  <a:lnTo>
                    <a:pt x="181" y="287"/>
                  </a:lnTo>
                  <a:lnTo>
                    <a:pt x="182" y="289"/>
                  </a:lnTo>
                  <a:lnTo>
                    <a:pt x="182" y="290"/>
                  </a:lnTo>
                  <a:lnTo>
                    <a:pt x="181" y="290"/>
                  </a:lnTo>
                  <a:lnTo>
                    <a:pt x="180" y="291"/>
                  </a:lnTo>
                  <a:lnTo>
                    <a:pt x="180" y="290"/>
                  </a:lnTo>
                  <a:lnTo>
                    <a:pt x="180" y="291"/>
                  </a:lnTo>
                  <a:lnTo>
                    <a:pt x="179" y="291"/>
                  </a:lnTo>
                  <a:lnTo>
                    <a:pt x="179" y="290"/>
                  </a:lnTo>
                  <a:lnTo>
                    <a:pt x="179" y="291"/>
                  </a:lnTo>
                  <a:lnTo>
                    <a:pt x="177" y="291"/>
                  </a:lnTo>
                  <a:lnTo>
                    <a:pt x="177" y="290"/>
                  </a:lnTo>
                  <a:lnTo>
                    <a:pt x="176" y="290"/>
                  </a:lnTo>
                  <a:lnTo>
                    <a:pt x="175" y="290"/>
                  </a:lnTo>
                  <a:lnTo>
                    <a:pt x="174" y="290"/>
                  </a:lnTo>
                  <a:lnTo>
                    <a:pt x="174" y="291"/>
                  </a:lnTo>
                  <a:lnTo>
                    <a:pt x="173" y="291"/>
                  </a:lnTo>
                  <a:lnTo>
                    <a:pt x="171" y="290"/>
                  </a:lnTo>
                  <a:lnTo>
                    <a:pt x="171" y="291"/>
                  </a:lnTo>
                  <a:lnTo>
                    <a:pt x="170" y="291"/>
                  </a:lnTo>
                  <a:lnTo>
                    <a:pt x="169" y="291"/>
                  </a:lnTo>
                  <a:lnTo>
                    <a:pt x="169" y="292"/>
                  </a:lnTo>
                  <a:lnTo>
                    <a:pt x="168" y="292"/>
                  </a:lnTo>
                  <a:lnTo>
                    <a:pt x="168" y="293"/>
                  </a:lnTo>
                  <a:lnTo>
                    <a:pt x="167" y="293"/>
                  </a:lnTo>
                  <a:lnTo>
                    <a:pt x="168" y="293"/>
                  </a:lnTo>
                  <a:lnTo>
                    <a:pt x="167" y="293"/>
                  </a:lnTo>
                  <a:lnTo>
                    <a:pt x="167" y="295"/>
                  </a:lnTo>
                  <a:lnTo>
                    <a:pt x="167" y="296"/>
                  </a:lnTo>
                  <a:lnTo>
                    <a:pt x="167" y="295"/>
                  </a:lnTo>
                  <a:lnTo>
                    <a:pt x="165" y="295"/>
                  </a:lnTo>
                  <a:lnTo>
                    <a:pt x="165" y="296"/>
                  </a:lnTo>
                  <a:lnTo>
                    <a:pt x="165" y="297"/>
                  </a:lnTo>
                  <a:lnTo>
                    <a:pt x="164" y="296"/>
                  </a:lnTo>
                  <a:lnTo>
                    <a:pt x="164" y="297"/>
                  </a:lnTo>
                  <a:lnTo>
                    <a:pt x="165" y="297"/>
                  </a:lnTo>
                  <a:lnTo>
                    <a:pt x="165" y="298"/>
                  </a:lnTo>
                  <a:lnTo>
                    <a:pt x="164" y="297"/>
                  </a:lnTo>
                  <a:lnTo>
                    <a:pt x="164" y="296"/>
                  </a:lnTo>
                  <a:lnTo>
                    <a:pt x="164" y="297"/>
                  </a:lnTo>
                  <a:lnTo>
                    <a:pt x="164" y="298"/>
                  </a:lnTo>
                  <a:lnTo>
                    <a:pt x="164" y="299"/>
                  </a:lnTo>
                  <a:lnTo>
                    <a:pt x="164" y="301"/>
                  </a:lnTo>
                  <a:lnTo>
                    <a:pt x="165" y="301"/>
                  </a:lnTo>
                  <a:lnTo>
                    <a:pt x="165" y="302"/>
                  </a:lnTo>
                  <a:lnTo>
                    <a:pt x="165" y="303"/>
                  </a:lnTo>
                  <a:lnTo>
                    <a:pt x="167" y="303"/>
                  </a:lnTo>
                  <a:lnTo>
                    <a:pt x="167" y="304"/>
                  </a:lnTo>
                  <a:lnTo>
                    <a:pt x="167" y="305"/>
                  </a:lnTo>
                  <a:lnTo>
                    <a:pt x="167" y="307"/>
                  </a:lnTo>
                  <a:lnTo>
                    <a:pt x="165" y="307"/>
                  </a:lnTo>
                  <a:lnTo>
                    <a:pt x="165" y="308"/>
                  </a:lnTo>
                  <a:lnTo>
                    <a:pt x="165" y="307"/>
                  </a:lnTo>
                  <a:lnTo>
                    <a:pt x="164" y="307"/>
                  </a:lnTo>
                  <a:lnTo>
                    <a:pt x="164" y="305"/>
                  </a:lnTo>
                  <a:lnTo>
                    <a:pt x="163" y="305"/>
                  </a:lnTo>
                  <a:lnTo>
                    <a:pt x="162" y="307"/>
                  </a:lnTo>
                  <a:lnTo>
                    <a:pt x="161" y="307"/>
                  </a:lnTo>
                  <a:lnTo>
                    <a:pt x="161" y="308"/>
                  </a:lnTo>
                  <a:lnTo>
                    <a:pt x="159" y="308"/>
                  </a:lnTo>
                  <a:lnTo>
                    <a:pt x="159" y="309"/>
                  </a:lnTo>
                  <a:lnTo>
                    <a:pt x="158" y="309"/>
                  </a:lnTo>
                  <a:lnTo>
                    <a:pt x="158" y="310"/>
                  </a:lnTo>
                  <a:lnTo>
                    <a:pt x="157" y="310"/>
                  </a:lnTo>
                  <a:lnTo>
                    <a:pt x="157" y="309"/>
                  </a:lnTo>
                  <a:lnTo>
                    <a:pt x="157" y="308"/>
                  </a:lnTo>
                  <a:lnTo>
                    <a:pt x="157" y="307"/>
                  </a:lnTo>
                  <a:lnTo>
                    <a:pt x="157" y="305"/>
                  </a:lnTo>
                  <a:lnTo>
                    <a:pt x="157" y="304"/>
                  </a:lnTo>
                  <a:lnTo>
                    <a:pt x="158" y="304"/>
                  </a:lnTo>
                  <a:lnTo>
                    <a:pt x="157" y="303"/>
                  </a:lnTo>
                  <a:lnTo>
                    <a:pt x="157" y="302"/>
                  </a:lnTo>
                  <a:lnTo>
                    <a:pt x="156" y="302"/>
                  </a:lnTo>
                  <a:lnTo>
                    <a:pt x="155" y="302"/>
                  </a:lnTo>
                  <a:lnTo>
                    <a:pt x="153" y="302"/>
                  </a:lnTo>
                  <a:lnTo>
                    <a:pt x="152" y="302"/>
                  </a:lnTo>
                  <a:lnTo>
                    <a:pt x="151" y="302"/>
                  </a:lnTo>
                  <a:lnTo>
                    <a:pt x="151" y="301"/>
                  </a:lnTo>
                  <a:lnTo>
                    <a:pt x="150" y="301"/>
                  </a:lnTo>
                  <a:lnTo>
                    <a:pt x="150" y="299"/>
                  </a:lnTo>
                  <a:lnTo>
                    <a:pt x="148" y="299"/>
                  </a:lnTo>
                  <a:lnTo>
                    <a:pt x="147" y="299"/>
                  </a:lnTo>
                  <a:lnTo>
                    <a:pt x="147" y="301"/>
                  </a:lnTo>
                  <a:lnTo>
                    <a:pt x="146" y="299"/>
                  </a:lnTo>
                  <a:lnTo>
                    <a:pt x="146" y="298"/>
                  </a:lnTo>
                  <a:lnTo>
                    <a:pt x="146" y="299"/>
                  </a:lnTo>
                  <a:lnTo>
                    <a:pt x="146" y="301"/>
                  </a:lnTo>
                  <a:lnTo>
                    <a:pt x="145" y="301"/>
                  </a:lnTo>
                  <a:lnTo>
                    <a:pt x="144" y="301"/>
                  </a:lnTo>
                  <a:lnTo>
                    <a:pt x="144" y="302"/>
                  </a:lnTo>
                  <a:lnTo>
                    <a:pt x="142" y="302"/>
                  </a:lnTo>
                  <a:lnTo>
                    <a:pt x="142" y="303"/>
                  </a:lnTo>
                  <a:lnTo>
                    <a:pt x="142" y="301"/>
                  </a:lnTo>
                  <a:lnTo>
                    <a:pt x="141" y="302"/>
                  </a:lnTo>
                  <a:lnTo>
                    <a:pt x="141" y="303"/>
                  </a:lnTo>
                  <a:lnTo>
                    <a:pt x="140" y="303"/>
                  </a:lnTo>
                  <a:lnTo>
                    <a:pt x="140" y="302"/>
                  </a:lnTo>
                  <a:lnTo>
                    <a:pt x="140" y="303"/>
                  </a:lnTo>
                  <a:lnTo>
                    <a:pt x="139" y="303"/>
                  </a:lnTo>
                  <a:lnTo>
                    <a:pt x="138" y="303"/>
                  </a:lnTo>
                  <a:lnTo>
                    <a:pt x="136" y="302"/>
                  </a:lnTo>
                  <a:lnTo>
                    <a:pt x="135" y="303"/>
                  </a:lnTo>
                  <a:lnTo>
                    <a:pt x="134" y="304"/>
                  </a:lnTo>
                  <a:lnTo>
                    <a:pt x="133" y="304"/>
                  </a:lnTo>
                  <a:lnTo>
                    <a:pt x="134" y="305"/>
                  </a:lnTo>
                  <a:lnTo>
                    <a:pt x="133" y="305"/>
                  </a:lnTo>
                  <a:lnTo>
                    <a:pt x="133" y="307"/>
                  </a:lnTo>
                  <a:lnTo>
                    <a:pt x="132" y="307"/>
                  </a:lnTo>
                  <a:lnTo>
                    <a:pt x="133" y="308"/>
                  </a:lnTo>
                  <a:lnTo>
                    <a:pt x="132" y="307"/>
                  </a:lnTo>
                  <a:lnTo>
                    <a:pt x="130" y="307"/>
                  </a:lnTo>
                  <a:lnTo>
                    <a:pt x="129" y="305"/>
                  </a:lnTo>
                  <a:lnTo>
                    <a:pt x="128" y="305"/>
                  </a:lnTo>
                  <a:lnTo>
                    <a:pt x="127" y="305"/>
                  </a:lnTo>
                  <a:lnTo>
                    <a:pt x="126" y="305"/>
                  </a:lnTo>
                  <a:lnTo>
                    <a:pt x="124" y="305"/>
                  </a:lnTo>
                  <a:lnTo>
                    <a:pt x="124" y="304"/>
                  </a:lnTo>
                  <a:lnTo>
                    <a:pt x="124" y="303"/>
                  </a:lnTo>
                  <a:lnTo>
                    <a:pt x="123" y="304"/>
                  </a:lnTo>
                  <a:lnTo>
                    <a:pt x="123" y="305"/>
                  </a:lnTo>
                  <a:lnTo>
                    <a:pt x="123" y="307"/>
                  </a:lnTo>
                  <a:lnTo>
                    <a:pt x="123" y="308"/>
                  </a:lnTo>
                  <a:lnTo>
                    <a:pt x="122" y="308"/>
                  </a:lnTo>
                  <a:lnTo>
                    <a:pt x="122" y="309"/>
                  </a:lnTo>
                  <a:lnTo>
                    <a:pt x="122" y="310"/>
                  </a:lnTo>
                  <a:lnTo>
                    <a:pt x="122" y="311"/>
                  </a:lnTo>
                  <a:lnTo>
                    <a:pt x="122" y="313"/>
                  </a:lnTo>
                  <a:lnTo>
                    <a:pt x="121" y="313"/>
                  </a:lnTo>
                  <a:lnTo>
                    <a:pt x="121" y="314"/>
                  </a:lnTo>
                  <a:lnTo>
                    <a:pt x="120" y="314"/>
                  </a:lnTo>
                  <a:lnTo>
                    <a:pt x="120" y="315"/>
                  </a:lnTo>
                  <a:lnTo>
                    <a:pt x="118" y="315"/>
                  </a:lnTo>
                  <a:lnTo>
                    <a:pt x="118" y="314"/>
                  </a:lnTo>
                  <a:lnTo>
                    <a:pt x="118" y="315"/>
                  </a:lnTo>
                  <a:lnTo>
                    <a:pt x="118" y="314"/>
                  </a:lnTo>
                  <a:lnTo>
                    <a:pt x="117" y="314"/>
                  </a:lnTo>
                  <a:lnTo>
                    <a:pt x="116" y="314"/>
                  </a:lnTo>
                  <a:lnTo>
                    <a:pt x="116" y="313"/>
                  </a:lnTo>
                  <a:lnTo>
                    <a:pt x="115" y="313"/>
                  </a:lnTo>
                  <a:lnTo>
                    <a:pt x="115" y="314"/>
                  </a:lnTo>
                  <a:lnTo>
                    <a:pt x="114" y="314"/>
                  </a:lnTo>
                  <a:lnTo>
                    <a:pt x="114" y="315"/>
                  </a:lnTo>
                  <a:lnTo>
                    <a:pt x="114" y="316"/>
                  </a:lnTo>
                  <a:lnTo>
                    <a:pt x="114" y="317"/>
                  </a:lnTo>
                  <a:lnTo>
                    <a:pt x="112" y="317"/>
                  </a:lnTo>
                  <a:lnTo>
                    <a:pt x="112" y="319"/>
                  </a:lnTo>
                  <a:lnTo>
                    <a:pt x="112" y="320"/>
                  </a:lnTo>
                  <a:lnTo>
                    <a:pt x="112" y="322"/>
                  </a:lnTo>
                  <a:lnTo>
                    <a:pt x="112" y="327"/>
                  </a:lnTo>
                  <a:lnTo>
                    <a:pt x="112" y="331"/>
                  </a:lnTo>
                  <a:lnTo>
                    <a:pt x="112" y="334"/>
                  </a:lnTo>
                  <a:lnTo>
                    <a:pt x="112" y="336"/>
                  </a:lnTo>
                  <a:lnTo>
                    <a:pt x="112" y="337"/>
                  </a:lnTo>
                  <a:lnTo>
                    <a:pt x="111" y="338"/>
                  </a:lnTo>
                  <a:lnTo>
                    <a:pt x="110" y="338"/>
                  </a:lnTo>
                  <a:lnTo>
                    <a:pt x="103" y="337"/>
                  </a:lnTo>
                  <a:lnTo>
                    <a:pt x="103" y="331"/>
                  </a:lnTo>
                  <a:lnTo>
                    <a:pt x="103" y="325"/>
                  </a:lnTo>
                  <a:lnTo>
                    <a:pt x="103" y="317"/>
                  </a:lnTo>
                  <a:lnTo>
                    <a:pt x="102" y="316"/>
                  </a:lnTo>
                  <a:lnTo>
                    <a:pt x="102" y="315"/>
                  </a:lnTo>
                  <a:lnTo>
                    <a:pt x="100" y="315"/>
                  </a:lnTo>
                  <a:lnTo>
                    <a:pt x="99" y="315"/>
                  </a:lnTo>
                  <a:lnTo>
                    <a:pt x="99" y="314"/>
                  </a:lnTo>
                  <a:lnTo>
                    <a:pt x="98" y="314"/>
                  </a:lnTo>
                  <a:lnTo>
                    <a:pt x="98" y="313"/>
                  </a:lnTo>
                  <a:lnTo>
                    <a:pt x="99" y="313"/>
                  </a:lnTo>
                  <a:lnTo>
                    <a:pt x="99" y="311"/>
                  </a:lnTo>
                  <a:lnTo>
                    <a:pt x="99" y="310"/>
                  </a:lnTo>
                  <a:lnTo>
                    <a:pt x="99" y="311"/>
                  </a:lnTo>
                  <a:lnTo>
                    <a:pt x="99" y="310"/>
                  </a:lnTo>
                  <a:lnTo>
                    <a:pt x="100" y="310"/>
                  </a:lnTo>
                  <a:lnTo>
                    <a:pt x="99" y="310"/>
                  </a:lnTo>
                  <a:lnTo>
                    <a:pt x="99" y="309"/>
                  </a:lnTo>
                  <a:lnTo>
                    <a:pt x="99" y="308"/>
                  </a:lnTo>
                  <a:lnTo>
                    <a:pt x="98" y="308"/>
                  </a:lnTo>
                  <a:lnTo>
                    <a:pt x="97" y="308"/>
                  </a:lnTo>
                  <a:lnTo>
                    <a:pt x="96" y="308"/>
                  </a:lnTo>
                  <a:lnTo>
                    <a:pt x="96" y="309"/>
                  </a:lnTo>
                  <a:lnTo>
                    <a:pt x="94" y="309"/>
                  </a:lnTo>
                  <a:lnTo>
                    <a:pt x="94" y="308"/>
                  </a:lnTo>
                  <a:lnTo>
                    <a:pt x="94" y="309"/>
                  </a:lnTo>
                  <a:lnTo>
                    <a:pt x="93" y="309"/>
                  </a:lnTo>
                  <a:lnTo>
                    <a:pt x="92" y="310"/>
                  </a:lnTo>
                  <a:lnTo>
                    <a:pt x="91" y="311"/>
                  </a:lnTo>
                  <a:lnTo>
                    <a:pt x="91" y="313"/>
                  </a:lnTo>
                  <a:lnTo>
                    <a:pt x="91" y="311"/>
                  </a:lnTo>
                  <a:lnTo>
                    <a:pt x="89" y="313"/>
                  </a:lnTo>
                  <a:lnTo>
                    <a:pt x="89" y="314"/>
                  </a:lnTo>
                  <a:lnTo>
                    <a:pt x="88" y="314"/>
                  </a:lnTo>
                  <a:lnTo>
                    <a:pt x="87" y="314"/>
                  </a:lnTo>
                  <a:lnTo>
                    <a:pt x="86" y="314"/>
                  </a:lnTo>
                  <a:lnTo>
                    <a:pt x="85" y="313"/>
                  </a:lnTo>
                  <a:lnTo>
                    <a:pt x="83" y="311"/>
                  </a:lnTo>
                  <a:lnTo>
                    <a:pt x="83" y="313"/>
                  </a:lnTo>
                  <a:lnTo>
                    <a:pt x="82" y="313"/>
                  </a:lnTo>
                  <a:lnTo>
                    <a:pt x="81" y="313"/>
                  </a:lnTo>
                  <a:lnTo>
                    <a:pt x="81" y="311"/>
                  </a:lnTo>
                  <a:lnTo>
                    <a:pt x="80" y="311"/>
                  </a:lnTo>
                  <a:lnTo>
                    <a:pt x="80" y="310"/>
                  </a:lnTo>
                  <a:lnTo>
                    <a:pt x="79" y="310"/>
                  </a:lnTo>
                  <a:lnTo>
                    <a:pt x="79" y="309"/>
                  </a:lnTo>
                  <a:lnTo>
                    <a:pt x="77" y="309"/>
                  </a:lnTo>
                  <a:lnTo>
                    <a:pt x="77" y="308"/>
                  </a:lnTo>
                  <a:lnTo>
                    <a:pt x="76" y="307"/>
                  </a:lnTo>
                  <a:lnTo>
                    <a:pt x="76" y="308"/>
                  </a:lnTo>
                  <a:lnTo>
                    <a:pt x="75" y="308"/>
                  </a:lnTo>
                  <a:lnTo>
                    <a:pt x="75" y="307"/>
                  </a:lnTo>
                  <a:lnTo>
                    <a:pt x="75" y="308"/>
                  </a:lnTo>
                  <a:lnTo>
                    <a:pt x="74" y="308"/>
                  </a:lnTo>
                  <a:lnTo>
                    <a:pt x="73" y="308"/>
                  </a:lnTo>
                  <a:lnTo>
                    <a:pt x="71" y="308"/>
                  </a:lnTo>
                  <a:lnTo>
                    <a:pt x="70" y="309"/>
                  </a:lnTo>
                  <a:lnTo>
                    <a:pt x="69" y="310"/>
                  </a:lnTo>
                  <a:lnTo>
                    <a:pt x="69" y="311"/>
                  </a:lnTo>
                  <a:lnTo>
                    <a:pt x="68" y="311"/>
                  </a:lnTo>
                  <a:lnTo>
                    <a:pt x="67" y="311"/>
                  </a:lnTo>
                  <a:lnTo>
                    <a:pt x="65" y="311"/>
                  </a:lnTo>
                  <a:lnTo>
                    <a:pt x="65" y="310"/>
                  </a:lnTo>
                  <a:lnTo>
                    <a:pt x="65" y="309"/>
                  </a:lnTo>
                  <a:lnTo>
                    <a:pt x="65" y="308"/>
                  </a:lnTo>
                  <a:lnTo>
                    <a:pt x="65" y="309"/>
                  </a:lnTo>
                  <a:lnTo>
                    <a:pt x="65" y="310"/>
                  </a:lnTo>
                  <a:lnTo>
                    <a:pt x="64" y="310"/>
                  </a:lnTo>
                  <a:lnTo>
                    <a:pt x="64" y="309"/>
                  </a:lnTo>
                  <a:lnTo>
                    <a:pt x="64" y="308"/>
                  </a:lnTo>
                  <a:lnTo>
                    <a:pt x="64" y="309"/>
                  </a:lnTo>
                  <a:lnTo>
                    <a:pt x="64" y="310"/>
                  </a:lnTo>
                  <a:lnTo>
                    <a:pt x="63" y="310"/>
                  </a:lnTo>
                  <a:lnTo>
                    <a:pt x="63" y="311"/>
                  </a:lnTo>
                  <a:lnTo>
                    <a:pt x="63" y="310"/>
                  </a:lnTo>
                  <a:lnTo>
                    <a:pt x="63" y="309"/>
                  </a:lnTo>
                  <a:lnTo>
                    <a:pt x="62" y="310"/>
                  </a:lnTo>
                  <a:lnTo>
                    <a:pt x="62" y="311"/>
                  </a:lnTo>
                  <a:lnTo>
                    <a:pt x="62" y="310"/>
                  </a:lnTo>
                  <a:lnTo>
                    <a:pt x="62" y="309"/>
                  </a:lnTo>
                  <a:lnTo>
                    <a:pt x="61" y="309"/>
                  </a:lnTo>
                  <a:lnTo>
                    <a:pt x="61" y="310"/>
                  </a:lnTo>
                  <a:lnTo>
                    <a:pt x="59" y="310"/>
                  </a:lnTo>
                  <a:lnTo>
                    <a:pt x="58" y="310"/>
                  </a:lnTo>
                  <a:lnTo>
                    <a:pt x="58" y="311"/>
                  </a:lnTo>
                  <a:lnTo>
                    <a:pt x="58" y="310"/>
                  </a:lnTo>
                  <a:lnTo>
                    <a:pt x="58" y="311"/>
                  </a:lnTo>
                  <a:lnTo>
                    <a:pt x="58" y="313"/>
                  </a:lnTo>
                  <a:lnTo>
                    <a:pt x="57" y="313"/>
                  </a:lnTo>
                  <a:lnTo>
                    <a:pt x="57" y="314"/>
                  </a:lnTo>
                  <a:lnTo>
                    <a:pt x="56" y="314"/>
                  </a:lnTo>
                  <a:lnTo>
                    <a:pt x="56" y="315"/>
                  </a:lnTo>
                  <a:lnTo>
                    <a:pt x="56" y="316"/>
                  </a:lnTo>
                  <a:lnTo>
                    <a:pt x="55" y="316"/>
                  </a:lnTo>
                  <a:lnTo>
                    <a:pt x="55" y="317"/>
                  </a:lnTo>
                  <a:lnTo>
                    <a:pt x="55" y="319"/>
                  </a:lnTo>
                  <a:lnTo>
                    <a:pt x="53" y="319"/>
                  </a:lnTo>
                  <a:lnTo>
                    <a:pt x="53" y="320"/>
                  </a:lnTo>
                  <a:lnTo>
                    <a:pt x="52" y="320"/>
                  </a:lnTo>
                  <a:lnTo>
                    <a:pt x="52" y="319"/>
                  </a:lnTo>
                  <a:lnTo>
                    <a:pt x="52" y="317"/>
                  </a:lnTo>
                  <a:lnTo>
                    <a:pt x="51" y="319"/>
                  </a:lnTo>
                  <a:lnTo>
                    <a:pt x="51" y="320"/>
                  </a:lnTo>
                  <a:lnTo>
                    <a:pt x="51" y="321"/>
                  </a:lnTo>
                  <a:lnTo>
                    <a:pt x="50" y="321"/>
                  </a:lnTo>
                  <a:lnTo>
                    <a:pt x="49" y="321"/>
                  </a:lnTo>
                  <a:lnTo>
                    <a:pt x="49" y="320"/>
                  </a:lnTo>
                  <a:lnTo>
                    <a:pt x="49" y="321"/>
                  </a:lnTo>
                  <a:lnTo>
                    <a:pt x="49" y="320"/>
                  </a:lnTo>
                  <a:lnTo>
                    <a:pt x="47" y="319"/>
                  </a:lnTo>
                  <a:lnTo>
                    <a:pt x="46" y="320"/>
                  </a:lnTo>
                  <a:lnTo>
                    <a:pt x="47" y="320"/>
                  </a:lnTo>
                  <a:lnTo>
                    <a:pt x="47" y="321"/>
                  </a:lnTo>
                  <a:lnTo>
                    <a:pt x="46" y="321"/>
                  </a:lnTo>
                  <a:lnTo>
                    <a:pt x="47" y="321"/>
                  </a:lnTo>
                  <a:lnTo>
                    <a:pt x="47" y="322"/>
                  </a:lnTo>
                  <a:lnTo>
                    <a:pt x="47" y="324"/>
                  </a:lnTo>
                  <a:lnTo>
                    <a:pt x="46" y="324"/>
                  </a:lnTo>
                  <a:lnTo>
                    <a:pt x="46" y="325"/>
                  </a:lnTo>
                  <a:lnTo>
                    <a:pt x="45" y="325"/>
                  </a:lnTo>
                  <a:lnTo>
                    <a:pt x="45" y="326"/>
                  </a:lnTo>
                  <a:lnTo>
                    <a:pt x="44" y="326"/>
                  </a:lnTo>
                  <a:lnTo>
                    <a:pt x="43" y="327"/>
                  </a:lnTo>
                  <a:lnTo>
                    <a:pt x="43" y="326"/>
                  </a:lnTo>
                  <a:lnTo>
                    <a:pt x="43" y="325"/>
                  </a:lnTo>
                  <a:lnTo>
                    <a:pt x="43" y="324"/>
                  </a:lnTo>
                  <a:lnTo>
                    <a:pt x="41" y="324"/>
                  </a:lnTo>
                  <a:lnTo>
                    <a:pt x="40" y="324"/>
                  </a:lnTo>
                  <a:lnTo>
                    <a:pt x="40" y="322"/>
                  </a:lnTo>
                  <a:lnTo>
                    <a:pt x="39" y="322"/>
                  </a:lnTo>
                  <a:lnTo>
                    <a:pt x="39" y="321"/>
                  </a:lnTo>
                  <a:lnTo>
                    <a:pt x="38" y="321"/>
                  </a:lnTo>
                  <a:lnTo>
                    <a:pt x="37" y="321"/>
                  </a:lnTo>
                  <a:lnTo>
                    <a:pt x="35" y="321"/>
                  </a:lnTo>
                  <a:lnTo>
                    <a:pt x="34" y="321"/>
                  </a:lnTo>
                  <a:lnTo>
                    <a:pt x="33" y="321"/>
                  </a:lnTo>
                  <a:lnTo>
                    <a:pt x="33" y="320"/>
                  </a:lnTo>
                  <a:lnTo>
                    <a:pt x="32" y="320"/>
                  </a:lnTo>
                  <a:lnTo>
                    <a:pt x="32" y="319"/>
                  </a:lnTo>
                  <a:lnTo>
                    <a:pt x="31" y="319"/>
                  </a:lnTo>
                  <a:lnTo>
                    <a:pt x="29" y="319"/>
                  </a:lnTo>
                  <a:lnTo>
                    <a:pt x="29" y="317"/>
                  </a:lnTo>
                  <a:lnTo>
                    <a:pt x="29" y="316"/>
                  </a:lnTo>
                  <a:lnTo>
                    <a:pt x="29" y="315"/>
                  </a:lnTo>
                  <a:lnTo>
                    <a:pt x="29" y="316"/>
                  </a:lnTo>
                  <a:lnTo>
                    <a:pt x="29" y="315"/>
                  </a:lnTo>
                  <a:lnTo>
                    <a:pt x="28" y="316"/>
                  </a:lnTo>
                  <a:lnTo>
                    <a:pt x="28" y="315"/>
                  </a:lnTo>
                  <a:lnTo>
                    <a:pt x="28" y="314"/>
                  </a:lnTo>
                  <a:lnTo>
                    <a:pt x="27" y="314"/>
                  </a:lnTo>
                  <a:lnTo>
                    <a:pt x="27" y="313"/>
                  </a:lnTo>
                  <a:lnTo>
                    <a:pt x="26" y="313"/>
                  </a:lnTo>
                  <a:lnTo>
                    <a:pt x="26" y="311"/>
                  </a:lnTo>
                  <a:lnTo>
                    <a:pt x="24" y="311"/>
                  </a:lnTo>
                  <a:lnTo>
                    <a:pt x="24" y="310"/>
                  </a:lnTo>
                  <a:lnTo>
                    <a:pt x="26" y="309"/>
                  </a:lnTo>
                  <a:lnTo>
                    <a:pt x="24" y="309"/>
                  </a:lnTo>
                  <a:lnTo>
                    <a:pt x="24" y="308"/>
                  </a:lnTo>
                  <a:lnTo>
                    <a:pt x="24" y="309"/>
                  </a:lnTo>
                  <a:lnTo>
                    <a:pt x="23" y="309"/>
                  </a:lnTo>
                  <a:lnTo>
                    <a:pt x="23" y="308"/>
                  </a:lnTo>
                  <a:lnTo>
                    <a:pt x="22" y="307"/>
                  </a:lnTo>
                  <a:lnTo>
                    <a:pt x="22" y="308"/>
                  </a:lnTo>
                  <a:lnTo>
                    <a:pt x="21" y="308"/>
                  </a:lnTo>
                  <a:lnTo>
                    <a:pt x="21" y="307"/>
                  </a:lnTo>
                  <a:lnTo>
                    <a:pt x="20" y="307"/>
                  </a:lnTo>
                  <a:lnTo>
                    <a:pt x="18" y="307"/>
                  </a:lnTo>
                  <a:lnTo>
                    <a:pt x="17" y="307"/>
                  </a:lnTo>
                  <a:lnTo>
                    <a:pt x="17" y="305"/>
                  </a:lnTo>
                  <a:lnTo>
                    <a:pt x="17" y="304"/>
                  </a:lnTo>
                  <a:lnTo>
                    <a:pt x="16" y="303"/>
                  </a:lnTo>
                  <a:lnTo>
                    <a:pt x="15" y="303"/>
                  </a:lnTo>
                  <a:lnTo>
                    <a:pt x="14" y="303"/>
                  </a:lnTo>
                  <a:lnTo>
                    <a:pt x="12" y="303"/>
                  </a:lnTo>
                  <a:lnTo>
                    <a:pt x="11" y="303"/>
                  </a:lnTo>
                  <a:lnTo>
                    <a:pt x="11" y="302"/>
                  </a:lnTo>
                  <a:lnTo>
                    <a:pt x="11" y="301"/>
                  </a:lnTo>
                  <a:lnTo>
                    <a:pt x="10" y="301"/>
                  </a:lnTo>
                  <a:lnTo>
                    <a:pt x="10" y="302"/>
                  </a:lnTo>
                  <a:lnTo>
                    <a:pt x="10" y="301"/>
                  </a:lnTo>
                  <a:lnTo>
                    <a:pt x="10" y="299"/>
                  </a:lnTo>
                  <a:lnTo>
                    <a:pt x="9" y="299"/>
                  </a:lnTo>
                  <a:lnTo>
                    <a:pt x="8" y="299"/>
                  </a:lnTo>
                  <a:lnTo>
                    <a:pt x="8" y="298"/>
                  </a:lnTo>
                  <a:lnTo>
                    <a:pt x="6" y="298"/>
                  </a:lnTo>
                  <a:lnTo>
                    <a:pt x="5" y="298"/>
                  </a:lnTo>
                  <a:lnTo>
                    <a:pt x="4" y="298"/>
                  </a:lnTo>
                  <a:lnTo>
                    <a:pt x="4" y="297"/>
                  </a:lnTo>
                  <a:lnTo>
                    <a:pt x="5" y="297"/>
                  </a:lnTo>
                  <a:lnTo>
                    <a:pt x="4" y="297"/>
                  </a:lnTo>
                  <a:lnTo>
                    <a:pt x="4" y="296"/>
                  </a:lnTo>
                  <a:lnTo>
                    <a:pt x="4" y="295"/>
                  </a:lnTo>
                  <a:lnTo>
                    <a:pt x="4" y="293"/>
                  </a:lnTo>
                  <a:lnTo>
                    <a:pt x="4" y="292"/>
                  </a:lnTo>
                  <a:lnTo>
                    <a:pt x="4" y="291"/>
                  </a:lnTo>
                  <a:lnTo>
                    <a:pt x="4" y="290"/>
                  </a:lnTo>
                  <a:lnTo>
                    <a:pt x="4" y="289"/>
                  </a:lnTo>
                  <a:lnTo>
                    <a:pt x="3" y="289"/>
                  </a:lnTo>
                  <a:lnTo>
                    <a:pt x="4" y="289"/>
                  </a:lnTo>
                  <a:lnTo>
                    <a:pt x="3" y="289"/>
                  </a:lnTo>
                  <a:lnTo>
                    <a:pt x="3" y="287"/>
                  </a:lnTo>
                  <a:lnTo>
                    <a:pt x="2" y="287"/>
                  </a:lnTo>
                  <a:lnTo>
                    <a:pt x="0" y="286"/>
                  </a:lnTo>
                  <a:lnTo>
                    <a:pt x="0" y="285"/>
                  </a:lnTo>
                  <a:lnTo>
                    <a:pt x="2" y="285"/>
                  </a:lnTo>
                  <a:lnTo>
                    <a:pt x="3" y="286"/>
                  </a:lnTo>
                  <a:lnTo>
                    <a:pt x="4" y="286"/>
                  </a:lnTo>
                  <a:lnTo>
                    <a:pt x="5" y="287"/>
                  </a:lnTo>
                  <a:lnTo>
                    <a:pt x="6" y="287"/>
                  </a:lnTo>
                  <a:lnTo>
                    <a:pt x="9" y="289"/>
                  </a:lnTo>
                  <a:lnTo>
                    <a:pt x="10" y="289"/>
                  </a:lnTo>
                  <a:lnTo>
                    <a:pt x="11" y="289"/>
                  </a:lnTo>
                  <a:lnTo>
                    <a:pt x="12" y="289"/>
                  </a:lnTo>
                  <a:lnTo>
                    <a:pt x="15" y="290"/>
                  </a:lnTo>
                  <a:lnTo>
                    <a:pt x="16" y="290"/>
                  </a:lnTo>
                  <a:lnTo>
                    <a:pt x="17" y="290"/>
                  </a:lnTo>
                  <a:lnTo>
                    <a:pt x="20" y="289"/>
                  </a:lnTo>
                  <a:lnTo>
                    <a:pt x="21" y="289"/>
                  </a:lnTo>
                  <a:lnTo>
                    <a:pt x="24" y="289"/>
                  </a:lnTo>
                  <a:lnTo>
                    <a:pt x="26" y="287"/>
                  </a:lnTo>
                  <a:lnTo>
                    <a:pt x="26" y="286"/>
                  </a:lnTo>
                  <a:lnTo>
                    <a:pt x="27" y="285"/>
                  </a:lnTo>
                  <a:lnTo>
                    <a:pt x="26" y="285"/>
                  </a:lnTo>
                  <a:lnTo>
                    <a:pt x="24" y="285"/>
                  </a:lnTo>
                  <a:lnTo>
                    <a:pt x="24" y="284"/>
                  </a:lnTo>
                  <a:lnTo>
                    <a:pt x="23" y="284"/>
                  </a:lnTo>
                  <a:lnTo>
                    <a:pt x="22" y="284"/>
                  </a:lnTo>
                  <a:lnTo>
                    <a:pt x="21" y="284"/>
                  </a:lnTo>
                  <a:lnTo>
                    <a:pt x="21" y="283"/>
                  </a:lnTo>
                  <a:lnTo>
                    <a:pt x="21" y="281"/>
                  </a:lnTo>
                  <a:lnTo>
                    <a:pt x="20" y="283"/>
                  </a:lnTo>
                  <a:lnTo>
                    <a:pt x="20" y="281"/>
                  </a:lnTo>
                  <a:lnTo>
                    <a:pt x="20" y="283"/>
                  </a:lnTo>
                  <a:lnTo>
                    <a:pt x="18" y="283"/>
                  </a:lnTo>
                  <a:lnTo>
                    <a:pt x="17" y="281"/>
                  </a:lnTo>
                  <a:lnTo>
                    <a:pt x="17" y="280"/>
                  </a:lnTo>
                  <a:lnTo>
                    <a:pt x="16" y="279"/>
                  </a:lnTo>
                  <a:lnTo>
                    <a:pt x="16" y="278"/>
                  </a:lnTo>
                  <a:lnTo>
                    <a:pt x="15" y="278"/>
                  </a:lnTo>
                  <a:lnTo>
                    <a:pt x="15" y="277"/>
                  </a:lnTo>
                  <a:lnTo>
                    <a:pt x="15" y="275"/>
                  </a:lnTo>
                  <a:lnTo>
                    <a:pt x="16" y="277"/>
                  </a:lnTo>
                  <a:lnTo>
                    <a:pt x="18" y="277"/>
                  </a:lnTo>
                  <a:lnTo>
                    <a:pt x="20" y="277"/>
                  </a:lnTo>
                  <a:lnTo>
                    <a:pt x="21" y="277"/>
                  </a:lnTo>
                  <a:lnTo>
                    <a:pt x="22" y="277"/>
                  </a:lnTo>
                  <a:lnTo>
                    <a:pt x="23" y="275"/>
                  </a:lnTo>
                  <a:lnTo>
                    <a:pt x="23" y="274"/>
                  </a:lnTo>
                  <a:lnTo>
                    <a:pt x="22" y="274"/>
                  </a:lnTo>
                  <a:lnTo>
                    <a:pt x="22" y="273"/>
                  </a:lnTo>
                  <a:lnTo>
                    <a:pt x="21" y="273"/>
                  </a:lnTo>
                  <a:lnTo>
                    <a:pt x="21" y="272"/>
                  </a:lnTo>
                  <a:lnTo>
                    <a:pt x="20" y="272"/>
                  </a:lnTo>
                  <a:lnTo>
                    <a:pt x="18" y="272"/>
                  </a:lnTo>
                  <a:lnTo>
                    <a:pt x="17" y="271"/>
                  </a:lnTo>
                  <a:lnTo>
                    <a:pt x="16" y="271"/>
                  </a:lnTo>
                  <a:lnTo>
                    <a:pt x="16" y="269"/>
                  </a:lnTo>
                  <a:lnTo>
                    <a:pt x="15" y="269"/>
                  </a:lnTo>
                  <a:lnTo>
                    <a:pt x="15" y="268"/>
                  </a:lnTo>
                  <a:lnTo>
                    <a:pt x="14" y="268"/>
                  </a:lnTo>
                  <a:lnTo>
                    <a:pt x="14" y="267"/>
                  </a:lnTo>
                  <a:lnTo>
                    <a:pt x="14" y="266"/>
                  </a:lnTo>
                  <a:lnTo>
                    <a:pt x="14" y="265"/>
                  </a:lnTo>
                  <a:lnTo>
                    <a:pt x="12" y="265"/>
                  </a:lnTo>
                  <a:lnTo>
                    <a:pt x="12" y="263"/>
                  </a:lnTo>
                  <a:lnTo>
                    <a:pt x="14" y="263"/>
                  </a:lnTo>
                  <a:lnTo>
                    <a:pt x="14" y="265"/>
                  </a:lnTo>
                  <a:lnTo>
                    <a:pt x="15" y="265"/>
                  </a:lnTo>
                  <a:lnTo>
                    <a:pt x="14" y="263"/>
                  </a:lnTo>
                  <a:lnTo>
                    <a:pt x="14" y="262"/>
                  </a:lnTo>
                  <a:lnTo>
                    <a:pt x="15" y="262"/>
                  </a:lnTo>
                  <a:lnTo>
                    <a:pt x="14" y="262"/>
                  </a:lnTo>
                  <a:lnTo>
                    <a:pt x="14" y="261"/>
                  </a:lnTo>
                  <a:lnTo>
                    <a:pt x="15" y="261"/>
                  </a:lnTo>
                  <a:lnTo>
                    <a:pt x="14" y="261"/>
                  </a:lnTo>
                  <a:lnTo>
                    <a:pt x="14" y="260"/>
                  </a:lnTo>
                  <a:lnTo>
                    <a:pt x="15" y="260"/>
                  </a:lnTo>
                  <a:lnTo>
                    <a:pt x="16" y="260"/>
                  </a:lnTo>
                  <a:lnTo>
                    <a:pt x="16" y="261"/>
                  </a:lnTo>
                  <a:lnTo>
                    <a:pt x="17" y="261"/>
                  </a:lnTo>
                  <a:lnTo>
                    <a:pt x="17" y="262"/>
                  </a:lnTo>
                  <a:lnTo>
                    <a:pt x="18" y="263"/>
                  </a:lnTo>
                  <a:lnTo>
                    <a:pt x="20" y="263"/>
                  </a:lnTo>
                  <a:lnTo>
                    <a:pt x="21" y="265"/>
                  </a:lnTo>
                  <a:lnTo>
                    <a:pt x="22" y="265"/>
                  </a:lnTo>
                  <a:lnTo>
                    <a:pt x="23" y="265"/>
                  </a:lnTo>
                  <a:lnTo>
                    <a:pt x="22" y="263"/>
                  </a:lnTo>
                  <a:lnTo>
                    <a:pt x="23" y="263"/>
                  </a:lnTo>
                  <a:lnTo>
                    <a:pt x="23" y="262"/>
                  </a:lnTo>
                  <a:lnTo>
                    <a:pt x="22" y="262"/>
                  </a:lnTo>
                  <a:lnTo>
                    <a:pt x="22" y="261"/>
                  </a:lnTo>
                  <a:lnTo>
                    <a:pt x="22" y="260"/>
                  </a:lnTo>
                  <a:lnTo>
                    <a:pt x="23" y="260"/>
                  </a:lnTo>
                  <a:lnTo>
                    <a:pt x="24" y="260"/>
                  </a:lnTo>
                  <a:lnTo>
                    <a:pt x="24" y="261"/>
                  </a:lnTo>
                  <a:lnTo>
                    <a:pt x="26" y="261"/>
                  </a:lnTo>
                  <a:lnTo>
                    <a:pt x="24" y="260"/>
                  </a:lnTo>
                  <a:lnTo>
                    <a:pt x="24" y="259"/>
                  </a:lnTo>
                  <a:lnTo>
                    <a:pt x="26" y="257"/>
                  </a:lnTo>
                  <a:lnTo>
                    <a:pt x="26" y="259"/>
                  </a:lnTo>
                  <a:lnTo>
                    <a:pt x="27" y="259"/>
                  </a:lnTo>
                  <a:lnTo>
                    <a:pt x="27" y="260"/>
                  </a:lnTo>
                  <a:lnTo>
                    <a:pt x="27" y="259"/>
                  </a:lnTo>
                  <a:lnTo>
                    <a:pt x="28" y="260"/>
                  </a:lnTo>
                  <a:lnTo>
                    <a:pt x="27" y="260"/>
                  </a:lnTo>
                  <a:lnTo>
                    <a:pt x="28" y="261"/>
                  </a:lnTo>
                  <a:lnTo>
                    <a:pt x="27" y="261"/>
                  </a:lnTo>
                  <a:lnTo>
                    <a:pt x="28" y="261"/>
                  </a:lnTo>
                  <a:lnTo>
                    <a:pt x="28" y="262"/>
                  </a:lnTo>
                  <a:lnTo>
                    <a:pt x="29" y="262"/>
                  </a:lnTo>
                  <a:lnTo>
                    <a:pt x="28" y="263"/>
                  </a:lnTo>
                  <a:lnTo>
                    <a:pt x="29" y="263"/>
                  </a:lnTo>
                  <a:lnTo>
                    <a:pt x="29" y="265"/>
                  </a:lnTo>
                  <a:lnTo>
                    <a:pt x="31" y="265"/>
                  </a:lnTo>
                  <a:lnTo>
                    <a:pt x="32" y="265"/>
                  </a:lnTo>
                  <a:lnTo>
                    <a:pt x="33" y="265"/>
                  </a:lnTo>
                  <a:lnTo>
                    <a:pt x="34" y="265"/>
                  </a:lnTo>
                  <a:lnTo>
                    <a:pt x="35" y="265"/>
                  </a:lnTo>
                  <a:lnTo>
                    <a:pt x="37" y="265"/>
                  </a:lnTo>
                  <a:lnTo>
                    <a:pt x="38" y="265"/>
                  </a:lnTo>
                  <a:lnTo>
                    <a:pt x="38" y="263"/>
                  </a:lnTo>
                  <a:lnTo>
                    <a:pt x="38" y="262"/>
                  </a:lnTo>
                  <a:lnTo>
                    <a:pt x="37" y="262"/>
                  </a:lnTo>
                  <a:lnTo>
                    <a:pt x="37" y="263"/>
                  </a:lnTo>
                  <a:lnTo>
                    <a:pt x="35" y="265"/>
                  </a:lnTo>
                  <a:lnTo>
                    <a:pt x="35" y="263"/>
                  </a:lnTo>
                  <a:lnTo>
                    <a:pt x="37" y="263"/>
                  </a:lnTo>
                  <a:lnTo>
                    <a:pt x="37" y="262"/>
                  </a:lnTo>
                  <a:lnTo>
                    <a:pt x="37" y="261"/>
                  </a:lnTo>
                  <a:lnTo>
                    <a:pt x="37" y="262"/>
                  </a:lnTo>
                  <a:lnTo>
                    <a:pt x="37" y="261"/>
                  </a:lnTo>
                  <a:lnTo>
                    <a:pt x="35" y="261"/>
                  </a:lnTo>
                  <a:lnTo>
                    <a:pt x="35" y="262"/>
                  </a:lnTo>
                  <a:lnTo>
                    <a:pt x="35" y="261"/>
                  </a:lnTo>
                  <a:lnTo>
                    <a:pt x="35" y="260"/>
                  </a:lnTo>
                  <a:lnTo>
                    <a:pt x="37" y="260"/>
                  </a:lnTo>
                  <a:lnTo>
                    <a:pt x="35" y="259"/>
                  </a:lnTo>
                  <a:lnTo>
                    <a:pt x="35" y="260"/>
                  </a:lnTo>
                  <a:lnTo>
                    <a:pt x="34" y="260"/>
                  </a:lnTo>
                  <a:lnTo>
                    <a:pt x="33" y="260"/>
                  </a:lnTo>
                  <a:lnTo>
                    <a:pt x="33" y="259"/>
                  </a:lnTo>
                  <a:lnTo>
                    <a:pt x="33" y="257"/>
                  </a:lnTo>
                  <a:lnTo>
                    <a:pt x="34" y="257"/>
                  </a:lnTo>
                  <a:lnTo>
                    <a:pt x="34" y="256"/>
                  </a:lnTo>
                  <a:lnTo>
                    <a:pt x="33" y="256"/>
                  </a:lnTo>
                  <a:lnTo>
                    <a:pt x="33" y="257"/>
                  </a:lnTo>
                  <a:lnTo>
                    <a:pt x="32" y="257"/>
                  </a:lnTo>
                  <a:lnTo>
                    <a:pt x="31" y="257"/>
                  </a:lnTo>
                  <a:lnTo>
                    <a:pt x="31" y="256"/>
                  </a:lnTo>
                  <a:lnTo>
                    <a:pt x="32" y="256"/>
                  </a:lnTo>
                  <a:lnTo>
                    <a:pt x="33" y="255"/>
                  </a:lnTo>
                  <a:lnTo>
                    <a:pt x="33" y="254"/>
                  </a:lnTo>
                  <a:lnTo>
                    <a:pt x="33" y="255"/>
                  </a:lnTo>
                  <a:lnTo>
                    <a:pt x="32" y="255"/>
                  </a:lnTo>
                  <a:lnTo>
                    <a:pt x="31" y="255"/>
                  </a:lnTo>
                  <a:lnTo>
                    <a:pt x="32" y="254"/>
                  </a:lnTo>
                  <a:lnTo>
                    <a:pt x="33" y="254"/>
                  </a:lnTo>
                  <a:lnTo>
                    <a:pt x="34" y="254"/>
                  </a:lnTo>
                  <a:lnTo>
                    <a:pt x="34" y="253"/>
                  </a:lnTo>
                  <a:lnTo>
                    <a:pt x="33" y="253"/>
                  </a:lnTo>
                  <a:lnTo>
                    <a:pt x="33" y="254"/>
                  </a:lnTo>
                  <a:lnTo>
                    <a:pt x="32" y="254"/>
                  </a:lnTo>
                  <a:lnTo>
                    <a:pt x="31" y="254"/>
                  </a:lnTo>
                  <a:lnTo>
                    <a:pt x="32" y="253"/>
                  </a:lnTo>
                  <a:lnTo>
                    <a:pt x="32" y="251"/>
                  </a:lnTo>
                  <a:lnTo>
                    <a:pt x="31" y="253"/>
                  </a:lnTo>
                  <a:lnTo>
                    <a:pt x="32" y="251"/>
                  </a:lnTo>
                  <a:lnTo>
                    <a:pt x="31" y="251"/>
                  </a:lnTo>
                  <a:lnTo>
                    <a:pt x="31" y="250"/>
                  </a:lnTo>
                  <a:lnTo>
                    <a:pt x="32" y="250"/>
                  </a:lnTo>
                  <a:lnTo>
                    <a:pt x="33" y="250"/>
                  </a:lnTo>
                  <a:lnTo>
                    <a:pt x="33" y="249"/>
                  </a:lnTo>
                  <a:lnTo>
                    <a:pt x="34" y="248"/>
                  </a:lnTo>
                  <a:lnTo>
                    <a:pt x="35" y="248"/>
                  </a:lnTo>
                  <a:lnTo>
                    <a:pt x="34" y="245"/>
                  </a:lnTo>
                  <a:lnTo>
                    <a:pt x="34" y="247"/>
                  </a:lnTo>
                  <a:lnTo>
                    <a:pt x="34" y="248"/>
                  </a:lnTo>
                  <a:lnTo>
                    <a:pt x="34" y="247"/>
                  </a:lnTo>
                  <a:lnTo>
                    <a:pt x="33" y="248"/>
                  </a:lnTo>
                  <a:lnTo>
                    <a:pt x="33" y="247"/>
                  </a:lnTo>
                  <a:lnTo>
                    <a:pt x="33" y="245"/>
                  </a:lnTo>
                  <a:lnTo>
                    <a:pt x="33" y="248"/>
                  </a:lnTo>
                  <a:lnTo>
                    <a:pt x="32" y="248"/>
                  </a:lnTo>
                  <a:lnTo>
                    <a:pt x="32" y="249"/>
                  </a:lnTo>
                  <a:lnTo>
                    <a:pt x="32" y="248"/>
                  </a:lnTo>
                  <a:lnTo>
                    <a:pt x="32" y="247"/>
                  </a:lnTo>
                  <a:lnTo>
                    <a:pt x="32" y="245"/>
                  </a:lnTo>
                  <a:lnTo>
                    <a:pt x="33" y="245"/>
                  </a:lnTo>
                  <a:lnTo>
                    <a:pt x="33" y="244"/>
                  </a:lnTo>
                  <a:lnTo>
                    <a:pt x="33" y="243"/>
                  </a:lnTo>
                  <a:lnTo>
                    <a:pt x="32" y="243"/>
                  </a:lnTo>
                  <a:lnTo>
                    <a:pt x="32" y="244"/>
                  </a:lnTo>
                  <a:lnTo>
                    <a:pt x="32" y="245"/>
                  </a:lnTo>
                  <a:lnTo>
                    <a:pt x="32" y="247"/>
                  </a:lnTo>
                  <a:lnTo>
                    <a:pt x="31" y="247"/>
                  </a:lnTo>
                  <a:lnTo>
                    <a:pt x="31" y="245"/>
                  </a:lnTo>
                  <a:lnTo>
                    <a:pt x="31" y="244"/>
                  </a:lnTo>
                  <a:lnTo>
                    <a:pt x="31" y="243"/>
                  </a:lnTo>
                  <a:lnTo>
                    <a:pt x="32" y="243"/>
                  </a:lnTo>
                  <a:lnTo>
                    <a:pt x="31" y="243"/>
                  </a:lnTo>
                  <a:lnTo>
                    <a:pt x="31" y="244"/>
                  </a:lnTo>
                  <a:lnTo>
                    <a:pt x="29" y="244"/>
                  </a:lnTo>
                  <a:lnTo>
                    <a:pt x="29" y="245"/>
                  </a:lnTo>
                  <a:lnTo>
                    <a:pt x="28" y="245"/>
                  </a:lnTo>
                  <a:lnTo>
                    <a:pt x="28" y="244"/>
                  </a:lnTo>
                  <a:lnTo>
                    <a:pt x="27" y="244"/>
                  </a:lnTo>
                  <a:lnTo>
                    <a:pt x="27" y="247"/>
                  </a:lnTo>
                  <a:lnTo>
                    <a:pt x="27" y="245"/>
                  </a:lnTo>
                  <a:lnTo>
                    <a:pt x="26" y="244"/>
                  </a:lnTo>
                  <a:lnTo>
                    <a:pt x="26" y="245"/>
                  </a:lnTo>
                  <a:lnTo>
                    <a:pt x="24" y="245"/>
                  </a:lnTo>
                  <a:lnTo>
                    <a:pt x="24" y="247"/>
                  </a:lnTo>
                  <a:lnTo>
                    <a:pt x="24" y="245"/>
                  </a:lnTo>
                  <a:lnTo>
                    <a:pt x="24" y="244"/>
                  </a:lnTo>
                  <a:lnTo>
                    <a:pt x="23" y="244"/>
                  </a:lnTo>
                  <a:lnTo>
                    <a:pt x="23" y="243"/>
                  </a:lnTo>
                  <a:lnTo>
                    <a:pt x="24" y="242"/>
                  </a:lnTo>
                  <a:lnTo>
                    <a:pt x="23" y="242"/>
                  </a:lnTo>
                  <a:lnTo>
                    <a:pt x="22" y="242"/>
                  </a:lnTo>
                  <a:lnTo>
                    <a:pt x="22" y="243"/>
                  </a:lnTo>
                  <a:lnTo>
                    <a:pt x="22" y="242"/>
                  </a:lnTo>
                  <a:lnTo>
                    <a:pt x="21" y="243"/>
                  </a:lnTo>
                  <a:lnTo>
                    <a:pt x="20" y="243"/>
                  </a:lnTo>
                  <a:lnTo>
                    <a:pt x="18" y="243"/>
                  </a:lnTo>
                  <a:lnTo>
                    <a:pt x="20" y="243"/>
                  </a:lnTo>
                  <a:lnTo>
                    <a:pt x="20" y="242"/>
                  </a:lnTo>
                  <a:lnTo>
                    <a:pt x="21" y="242"/>
                  </a:lnTo>
                  <a:lnTo>
                    <a:pt x="22" y="241"/>
                  </a:lnTo>
                  <a:lnTo>
                    <a:pt x="23" y="239"/>
                  </a:lnTo>
                  <a:lnTo>
                    <a:pt x="24" y="238"/>
                  </a:lnTo>
                  <a:lnTo>
                    <a:pt x="23" y="238"/>
                  </a:lnTo>
                  <a:lnTo>
                    <a:pt x="23" y="239"/>
                  </a:lnTo>
                  <a:lnTo>
                    <a:pt x="22" y="239"/>
                  </a:lnTo>
                  <a:lnTo>
                    <a:pt x="21" y="239"/>
                  </a:lnTo>
                  <a:lnTo>
                    <a:pt x="21" y="238"/>
                  </a:lnTo>
                  <a:lnTo>
                    <a:pt x="21" y="239"/>
                  </a:lnTo>
                  <a:lnTo>
                    <a:pt x="21" y="241"/>
                  </a:lnTo>
                  <a:lnTo>
                    <a:pt x="21" y="242"/>
                  </a:lnTo>
                  <a:lnTo>
                    <a:pt x="20" y="242"/>
                  </a:lnTo>
                  <a:lnTo>
                    <a:pt x="20" y="241"/>
                  </a:lnTo>
                  <a:lnTo>
                    <a:pt x="20" y="239"/>
                  </a:lnTo>
                  <a:lnTo>
                    <a:pt x="20" y="241"/>
                  </a:lnTo>
                  <a:lnTo>
                    <a:pt x="20" y="242"/>
                  </a:lnTo>
                  <a:lnTo>
                    <a:pt x="18" y="242"/>
                  </a:lnTo>
                  <a:lnTo>
                    <a:pt x="18" y="241"/>
                  </a:lnTo>
                  <a:lnTo>
                    <a:pt x="18" y="239"/>
                  </a:lnTo>
                  <a:lnTo>
                    <a:pt x="18" y="238"/>
                  </a:lnTo>
                  <a:lnTo>
                    <a:pt x="18" y="239"/>
                  </a:lnTo>
                  <a:lnTo>
                    <a:pt x="17" y="239"/>
                  </a:lnTo>
                  <a:lnTo>
                    <a:pt x="17" y="241"/>
                  </a:lnTo>
                  <a:lnTo>
                    <a:pt x="17" y="242"/>
                  </a:lnTo>
                  <a:lnTo>
                    <a:pt x="17" y="241"/>
                  </a:lnTo>
                  <a:lnTo>
                    <a:pt x="17" y="239"/>
                  </a:lnTo>
                  <a:lnTo>
                    <a:pt x="17" y="238"/>
                  </a:lnTo>
                  <a:lnTo>
                    <a:pt x="16" y="237"/>
                  </a:lnTo>
                  <a:lnTo>
                    <a:pt x="17" y="237"/>
                  </a:lnTo>
                  <a:lnTo>
                    <a:pt x="17" y="236"/>
                  </a:lnTo>
                  <a:lnTo>
                    <a:pt x="16" y="236"/>
                  </a:lnTo>
                  <a:lnTo>
                    <a:pt x="16" y="237"/>
                  </a:lnTo>
                  <a:lnTo>
                    <a:pt x="16" y="238"/>
                  </a:lnTo>
                  <a:lnTo>
                    <a:pt x="15" y="238"/>
                  </a:lnTo>
                  <a:lnTo>
                    <a:pt x="15" y="237"/>
                  </a:lnTo>
                  <a:lnTo>
                    <a:pt x="15" y="236"/>
                  </a:lnTo>
                  <a:lnTo>
                    <a:pt x="14" y="238"/>
                  </a:lnTo>
                  <a:lnTo>
                    <a:pt x="12" y="238"/>
                  </a:lnTo>
                  <a:lnTo>
                    <a:pt x="12" y="237"/>
                  </a:lnTo>
                  <a:lnTo>
                    <a:pt x="12" y="238"/>
                  </a:lnTo>
                  <a:lnTo>
                    <a:pt x="12" y="239"/>
                  </a:lnTo>
                  <a:lnTo>
                    <a:pt x="12" y="241"/>
                  </a:lnTo>
                  <a:lnTo>
                    <a:pt x="11" y="239"/>
                  </a:lnTo>
                  <a:lnTo>
                    <a:pt x="11" y="238"/>
                  </a:lnTo>
                  <a:lnTo>
                    <a:pt x="11" y="239"/>
                  </a:lnTo>
                  <a:lnTo>
                    <a:pt x="10" y="239"/>
                  </a:lnTo>
                  <a:lnTo>
                    <a:pt x="10" y="238"/>
                  </a:lnTo>
                  <a:lnTo>
                    <a:pt x="10" y="237"/>
                  </a:lnTo>
                  <a:lnTo>
                    <a:pt x="9" y="237"/>
                  </a:lnTo>
                  <a:lnTo>
                    <a:pt x="10" y="236"/>
                  </a:lnTo>
                  <a:lnTo>
                    <a:pt x="11" y="235"/>
                  </a:lnTo>
                  <a:lnTo>
                    <a:pt x="14" y="233"/>
                  </a:lnTo>
                  <a:lnTo>
                    <a:pt x="15" y="232"/>
                  </a:lnTo>
                  <a:lnTo>
                    <a:pt x="17" y="232"/>
                  </a:lnTo>
                  <a:lnTo>
                    <a:pt x="18" y="232"/>
                  </a:lnTo>
                  <a:lnTo>
                    <a:pt x="20" y="232"/>
                  </a:lnTo>
                  <a:lnTo>
                    <a:pt x="21" y="232"/>
                  </a:lnTo>
                  <a:lnTo>
                    <a:pt x="22" y="232"/>
                  </a:lnTo>
                  <a:lnTo>
                    <a:pt x="23" y="231"/>
                  </a:lnTo>
                  <a:lnTo>
                    <a:pt x="24" y="231"/>
                  </a:lnTo>
                  <a:lnTo>
                    <a:pt x="24" y="230"/>
                  </a:lnTo>
                  <a:lnTo>
                    <a:pt x="23" y="230"/>
                  </a:lnTo>
                  <a:lnTo>
                    <a:pt x="22" y="231"/>
                  </a:lnTo>
                  <a:lnTo>
                    <a:pt x="22" y="230"/>
                  </a:lnTo>
                  <a:lnTo>
                    <a:pt x="23" y="230"/>
                  </a:lnTo>
                  <a:lnTo>
                    <a:pt x="22" y="229"/>
                  </a:lnTo>
                  <a:lnTo>
                    <a:pt x="23" y="230"/>
                  </a:lnTo>
                  <a:lnTo>
                    <a:pt x="23" y="229"/>
                  </a:lnTo>
                  <a:lnTo>
                    <a:pt x="24" y="230"/>
                  </a:lnTo>
                  <a:lnTo>
                    <a:pt x="26" y="230"/>
                  </a:lnTo>
                  <a:lnTo>
                    <a:pt x="27" y="231"/>
                  </a:lnTo>
                  <a:lnTo>
                    <a:pt x="28" y="231"/>
                  </a:lnTo>
                  <a:lnTo>
                    <a:pt x="31" y="230"/>
                  </a:lnTo>
                  <a:lnTo>
                    <a:pt x="32" y="229"/>
                  </a:lnTo>
                  <a:lnTo>
                    <a:pt x="33" y="230"/>
                  </a:lnTo>
                  <a:lnTo>
                    <a:pt x="33" y="229"/>
                  </a:lnTo>
                  <a:lnTo>
                    <a:pt x="33" y="227"/>
                  </a:lnTo>
                  <a:lnTo>
                    <a:pt x="33" y="226"/>
                  </a:lnTo>
                  <a:lnTo>
                    <a:pt x="32" y="226"/>
                  </a:lnTo>
                  <a:lnTo>
                    <a:pt x="32" y="227"/>
                  </a:lnTo>
                  <a:lnTo>
                    <a:pt x="32" y="226"/>
                  </a:lnTo>
                  <a:lnTo>
                    <a:pt x="31" y="226"/>
                  </a:lnTo>
                  <a:lnTo>
                    <a:pt x="29" y="226"/>
                  </a:lnTo>
                  <a:lnTo>
                    <a:pt x="28" y="225"/>
                  </a:lnTo>
                  <a:lnTo>
                    <a:pt x="27" y="224"/>
                  </a:lnTo>
                  <a:lnTo>
                    <a:pt x="26" y="224"/>
                  </a:lnTo>
                  <a:lnTo>
                    <a:pt x="26" y="223"/>
                  </a:lnTo>
                  <a:lnTo>
                    <a:pt x="24" y="223"/>
                  </a:lnTo>
                  <a:lnTo>
                    <a:pt x="24" y="221"/>
                  </a:lnTo>
                  <a:lnTo>
                    <a:pt x="26" y="221"/>
                  </a:lnTo>
                  <a:lnTo>
                    <a:pt x="24" y="221"/>
                  </a:lnTo>
                  <a:lnTo>
                    <a:pt x="24" y="223"/>
                  </a:lnTo>
                  <a:lnTo>
                    <a:pt x="23" y="224"/>
                  </a:lnTo>
                  <a:lnTo>
                    <a:pt x="23" y="223"/>
                  </a:lnTo>
                  <a:lnTo>
                    <a:pt x="23" y="221"/>
                  </a:lnTo>
                  <a:lnTo>
                    <a:pt x="23" y="223"/>
                  </a:lnTo>
                  <a:lnTo>
                    <a:pt x="23" y="224"/>
                  </a:lnTo>
                  <a:lnTo>
                    <a:pt x="23" y="225"/>
                  </a:lnTo>
                  <a:lnTo>
                    <a:pt x="22" y="224"/>
                  </a:lnTo>
                  <a:lnTo>
                    <a:pt x="22" y="223"/>
                  </a:lnTo>
                  <a:lnTo>
                    <a:pt x="22" y="221"/>
                  </a:lnTo>
                  <a:lnTo>
                    <a:pt x="23" y="220"/>
                  </a:lnTo>
                  <a:lnTo>
                    <a:pt x="22" y="220"/>
                  </a:lnTo>
                  <a:lnTo>
                    <a:pt x="22" y="219"/>
                  </a:lnTo>
                  <a:lnTo>
                    <a:pt x="21" y="219"/>
                  </a:lnTo>
                  <a:lnTo>
                    <a:pt x="21" y="220"/>
                  </a:lnTo>
                  <a:lnTo>
                    <a:pt x="21" y="219"/>
                  </a:lnTo>
                  <a:lnTo>
                    <a:pt x="21" y="218"/>
                  </a:lnTo>
                  <a:lnTo>
                    <a:pt x="21" y="217"/>
                  </a:lnTo>
                  <a:lnTo>
                    <a:pt x="21" y="215"/>
                  </a:lnTo>
                  <a:lnTo>
                    <a:pt x="20" y="215"/>
                  </a:lnTo>
                  <a:lnTo>
                    <a:pt x="20" y="217"/>
                  </a:lnTo>
                  <a:lnTo>
                    <a:pt x="20" y="218"/>
                  </a:lnTo>
                  <a:lnTo>
                    <a:pt x="20" y="219"/>
                  </a:lnTo>
                  <a:lnTo>
                    <a:pt x="20" y="220"/>
                  </a:lnTo>
                  <a:lnTo>
                    <a:pt x="20" y="219"/>
                  </a:lnTo>
                  <a:lnTo>
                    <a:pt x="20" y="218"/>
                  </a:lnTo>
                  <a:lnTo>
                    <a:pt x="20" y="219"/>
                  </a:lnTo>
                  <a:lnTo>
                    <a:pt x="18" y="219"/>
                  </a:lnTo>
                  <a:lnTo>
                    <a:pt x="18" y="218"/>
                  </a:lnTo>
                  <a:lnTo>
                    <a:pt x="18" y="217"/>
                  </a:lnTo>
                  <a:lnTo>
                    <a:pt x="18" y="218"/>
                  </a:lnTo>
                  <a:lnTo>
                    <a:pt x="18" y="219"/>
                  </a:lnTo>
                  <a:lnTo>
                    <a:pt x="18" y="220"/>
                  </a:lnTo>
                  <a:lnTo>
                    <a:pt x="17" y="218"/>
                  </a:lnTo>
                  <a:lnTo>
                    <a:pt x="17" y="219"/>
                  </a:lnTo>
                  <a:lnTo>
                    <a:pt x="17" y="220"/>
                  </a:lnTo>
                  <a:lnTo>
                    <a:pt x="17" y="219"/>
                  </a:lnTo>
                  <a:lnTo>
                    <a:pt x="17" y="218"/>
                  </a:lnTo>
                  <a:lnTo>
                    <a:pt x="16" y="218"/>
                  </a:lnTo>
                  <a:lnTo>
                    <a:pt x="15" y="218"/>
                  </a:lnTo>
                  <a:lnTo>
                    <a:pt x="15" y="219"/>
                  </a:lnTo>
                  <a:lnTo>
                    <a:pt x="15" y="220"/>
                  </a:lnTo>
                  <a:lnTo>
                    <a:pt x="15" y="219"/>
                  </a:lnTo>
                  <a:lnTo>
                    <a:pt x="15" y="218"/>
                  </a:lnTo>
                  <a:lnTo>
                    <a:pt x="14" y="219"/>
                  </a:lnTo>
                  <a:lnTo>
                    <a:pt x="14" y="218"/>
                  </a:lnTo>
                  <a:lnTo>
                    <a:pt x="14" y="217"/>
                  </a:lnTo>
                  <a:lnTo>
                    <a:pt x="15" y="217"/>
                  </a:lnTo>
                  <a:lnTo>
                    <a:pt x="15" y="218"/>
                  </a:lnTo>
                  <a:lnTo>
                    <a:pt x="16" y="217"/>
                  </a:lnTo>
                  <a:lnTo>
                    <a:pt x="17" y="217"/>
                  </a:lnTo>
                  <a:lnTo>
                    <a:pt x="17" y="215"/>
                  </a:lnTo>
                  <a:lnTo>
                    <a:pt x="18" y="215"/>
                  </a:lnTo>
                  <a:lnTo>
                    <a:pt x="20" y="215"/>
                  </a:lnTo>
                  <a:lnTo>
                    <a:pt x="21" y="215"/>
                  </a:lnTo>
                  <a:lnTo>
                    <a:pt x="22" y="215"/>
                  </a:lnTo>
                  <a:lnTo>
                    <a:pt x="23" y="215"/>
                  </a:lnTo>
                  <a:lnTo>
                    <a:pt x="24" y="215"/>
                  </a:lnTo>
                  <a:lnTo>
                    <a:pt x="26" y="215"/>
                  </a:lnTo>
                  <a:lnTo>
                    <a:pt x="27" y="215"/>
                  </a:lnTo>
                  <a:lnTo>
                    <a:pt x="28" y="215"/>
                  </a:lnTo>
                  <a:lnTo>
                    <a:pt x="28" y="217"/>
                  </a:lnTo>
                  <a:lnTo>
                    <a:pt x="29" y="217"/>
                  </a:lnTo>
                  <a:lnTo>
                    <a:pt x="32" y="217"/>
                  </a:lnTo>
                  <a:lnTo>
                    <a:pt x="33" y="217"/>
                  </a:lnTo>
                  <a:lnTo>
                    <a:pt x="34" y="217"/>
                  </a:lnTo>
                  <a:lnTo>
                    <a:pt x="35" y="217"/>
                  </a:lnTo>
                  <a:lnTo>
                    <a:pt x="37" y="217"/>
                  </a:lnTo>
                  <a:lnTo>
                    <a:pt x="38" y="217"/>
                  </a:lnTo>
                  <a:lnTo>
                    <a:pt x="39" y="217"/>
                  </a:lnTo>
                  <a:lnTo>
                    <a:pt x="40" y="217"/>
                  </a:lnTo>
                  <a:lnTo>
                    <a:pt x="41" y="217"/>
                  </a:lnTo>
                  <a:lnTo>
                    <a:pt x="43" y="215"/>
                  </a:lnTo>
                  <a:lnTo>
                    <a:pt x="44" y="215"/>
                  </a:lnTo>
                  <a:lnTo>
                    <a:pt x="45" y="214"/>
                  </a:lnTo>
                  <a:lnTo>
                    <a:pt x="46" y="214"/>
                  </a:lnTo>
                  <a:lnTo>
                    <a:pt x="46" y="213"/>
                  </a:lnTo>
                  <a:lnTo>
                    <a:pt x="46" y="214"/>
                  </a:lnTo>
                  <a:lnTo>
                    <a:pt x="45" y="214"/>
                  </a:lnTo>
                  <a:lnTo>
                    <a:pt x="46" y="213"/>
                  </a:lnTo>
                  <a:lnTo>
                    <a:pt x="45" y="213"/>
                  </a:lnTo>
                  <a:lnTo>
                    <a:pt x="44" y="213"/>
                  </a:lnTo>
                  <a:lnTo>
                    <a:pt x="46" y="213"/>
                  </a:lnTo>
                  <a:lnTo>
                    <a:pt x="46" y="212"/>
                  </a:lnTo>
                  <a:lnTo>
                    <a:pt x="47" y="212"/>
                  </a:lnTo>
                  <a:lnTo>
                    <a:pt x="47" y="213"/>
                  </a:lnTo>
                  <a:lnTo>
                    <a:pt x="49" y="213"/>
                  </a:lnTo>
                  <a:lnTo>
                    <a:pt x="49" y="214"/>
                  </a:lnTo>
                  <a:lnTo>
                    <a:pt x="50" y="213"/>
                  </a:lnTo>
                  <a:lnTo>
                    <a:pt x="52" y="212"/>
                  </a:lnTo>
                  <a:lnTo>
                    <a:pt x="53" y="213"/>
                  </a:lnTo>
                  <a:lnTo>
                    <a:pt x="55" y="213"/>
                  </a:lnTo>
                  <a:lnTo>
                    <a:pt x="56" y="212"/>
                  </a:lnTo>
                  <a:lnTo>
                    <a:pt x="57" y="212"/>
                  </a:lnTo>
                  <a:lnTo>
                    <a:pt x="58" y="212"/>
                  </a:lnTo>
                  <a:lnTo>
                    <a:pt x="58" y="210"/>
                  </a:lnTo>
                  <a:lnTo>
                    <a:pt x="59" y="208"/>
                  </a:lnTo>
                  <a:lnTo>
                    <a:pt x="61" y="208"/>
                  </a:lnTo>
                  <a:lnTo>
                    <a:pt x="61" y="207"/>
                  </a:lnTo>
                  <a:lnTo>
                    <a:pt x="59" y="206"/>
                  </a:lnTo>
                  <a:lnTo>
                    <a:pt x="59" y="204"/>
                  </a:lnTo>
                  <a:lnTo>
                    <a:pt x="58" y="206"/>
                  </a:lnTo>
                  <a:lnTo>
                    <a:pt x="57" y="206"/>
                  </a:lnTo>
                  <a:lnTo>
                    <a:pt x="57" y="207"/>
                  </a:lnTo>
                  <a:lnTo>
                    <a:pt x="57" y="208"/>
                  </a:lnTo>
                  <a:lnTo>
                    <a:pt x="57" y="209"/>
                  </a:lnTo>
                  <a:lnTo>
                    <a:pt x="56" y="209"/>
                  </a:lnTo>
                  <a:lnTo>
                    <a:pt x="56" y="208"/>
                  </a:lnTo>
                  <a:lnTo>
                    <a:pt x="56" y="207"/>
                  </a:lnTo>
                  <a:lnTo>
                    <a:pt x="55" y="207"/>
                  </a:lnTo>
                  <a:lnTo>
                    <a:pt x="56" y="208"/>
                  </a:lnTo>
                  <a:lnTo>
                    <a:pt x="55" y="208"/>
                  </a:lnTo>
                  <a:lnTo>
                    <a:pt x="55" y="207"/>
                  </a:lnTo>
                  <a:lnTo>
                    <a:pt x="55" y="206"/>
                  </a:lnTo>
                  <a:lnTo>
                    <a:pt x="53" y="206"/>
                  </a:lnTo>
                  <a:lnTo>
                    <a:pt x="52" y="206"/>
                  </a:lnTo>
                  <a:lnTo>
                    <a:pt x="53" y="204"/>
                  </a:lnTo>
                  <a:lnTo>
                    <a:pt x="52" y="204"/>
                  </a:lnTo>
                  <a:lnTo>
                    <a:pt x="52" y="206"/>
                  </a:lnTo>
                  <a:lnTo>
                    <a:pt x="52" y="207"/>
                  </a:lnTo>
                  <a:lnTo>
                    <a:pt x="52" y="208"/>
                  </a:lnTo>
                  <a:lnTo>
                    <a:pt x="52" y="207"/>
                  </a:lnTo>
                  <a:lnTo>
                    <a:pt x="52" y="206"/>
                  </a:lnTo>
                  <a:lnTo>
                    <a:pt x="52" y="204"/>
                  </a:lnTo>
                  <a:lnTo>
                    <a:pt x="52" y="203"/>
                  </a:lnTo>
                  <a:lnTo>
                    <a:pt x="52" y="204"/>
                  </a:lnTo>
                  <a:lnTo>
                    <a:pt x="51" y="204"/>
                  </a:lnTo>
                  <a:lnTo>
                    <a:pt x="51" y="206"/>
                  </a:lnTo>
                  <a:lnTo>
                    <a:pt x="51" y="207"/>
                  </a:lnTo>
                  <a:lnTo>
                    <a:pt x="51" y="208"/>
                  </a:lnTo>
                  <a:lnTo>
                    <a:pt x="50" y="207"/>
                  </a:lnTo>
                  <a:lnTo>
                    <a:pt x="50" y="206"/>
                  </a:lnTo>
                  <a:lnTo>
                    <a:pt x="50" y="204"/>
                  </a:lnTo>
                  <a:lnTo>
                    <a:pt x="51" y="203"/>
                  </a:lnTo>
                  <a:lnTo>
                    <a:pt x="50" y="203"/>
                  </a:lnTo>
                  <a:lnTo>
                    <a:pt x="50" y="206"/>
                  </a:lnTo>
                  <a:lnTo>
                    <a:pt x="50" y="204"/>
                  </a:lnTo>
                  <a:lnTo>
                    <a:pt x="49" y="206"/>
                  </a:lnTo>
                  <a:lnTo>
                    <a:pt x="49" y="207"/>
                  </a:lnTo>
                  <a:lnTo>
                    <a:pt x="49" y="206"/>
                  </a:lnTo>
                  <a:lnTo>
                    <a:pt x="49" y="204"/>
                  </a:lnTo>
                  <a:lnTo>
                    <a:pt x="49" y="202"/>
                  </a:lnTo>
                  <a:lnTo>
                    <a:pt x="47" y="203"/>
                  </a:lnTo>
                  <a:lnTo>
                    <a:pt x="47" y="204"/>
                  </a:lnTo>
                  <a:lnTo>
                    <a:pt x="47" y="206"/>
                  </a:lnTo>
                  <a:lnTo>
                    <a:pt x="49" y="207"/>
                  </a:lnTo>
                  <a:lnTo>
                    <a:pt x="47" y="208"/>
                  </a:lnTo>
                  <a:lnTo>
                    <a:pt x="47" y="207"/>
                  </a:lnTo>
                  <a:lnTo>
                    <a:pt x="47" y="206"/>
                  </a:lnTo>
                  <a:lnTo>
                    <a:pt x="47" y="207"/>
                  </a:lnTo>
                  <a:lnTo>
                    <a:pt x="46" y="207"/>
                  </a:lnTo>
                  <a:lnTo>
                    <a:pt x="46" y="206"/>
                  </a:lnTo>
                  <a:lnTo>
                    <a:pt x="46" y="204"/>
                  </a:lnTo>
                  <a:lnTo>
                    <a:pt x="46" y="203"/>
                  </a:lnTo>
                  <a:lnTo>
                    <a:pt x="46" y="204"/>
                  </a:lnTo>
                  <a:lnTo>
                    <a:pt x="46" y="206"/>
                  </a:lnTo>
                  <a:lnTo>
                    <a:pt x="46" y="207"/>
                  </a:lnTo>
                  <a:lnTo>
                    <a:pt x="45" y="207"/>
                  </a:lnTo>
                  <a:lnTo>
                    <a:pt x="45" y="206"/>
                  </a:lnTo>
                  <a:lnTo>
                    <a:pt x="45" y="207"/>
                  </a:lnTo>
                  <a:lnTo>
                    <a:pt x="45" y="208"/>
                  </a:lnTo>
                  <a:lnTo>
                    <a:pt x="44" y="209"/>
                  </a:lnTo>
                  <a:lnTo>
                    <a:pt x="44" y="208"/>
                  </a:lnTo>
                  <a:lnTo>
                    <a:pt x="44" y="207"/>
                  </a:lnTo>
                  <a:lnTo>
                    <a:pt x="44" y="206"/>
                  </a:lnTo>
                  <a:lnTo>
                    <a:pt x="43" y="206"/>
                  </a:lnTo>
                  <a:lnTo>
                    <a:pt x="43" y="207"/>
                  </a:lnTo>
                  <a:lnTo>
                    <a:pt x="44" y="207"/>
                  </a:lnTo>
                  <a:lnTo>
                    <a:pt x="44" y="208"/>
                  </a:lnTo>
                  <a:lnTo>
                    <a:pt x="44" y="209"/>
                  </a:lnTo>
                  <a:lnTo>
                    <a:pt x="43" y="209"/>
                  </a:lnTo>
                  <a:lnTo>
                    <a:pt x="43" y="208"/>
                  </a:lnTo>
                  <a:lnTo>
                    <a:pt x="43" y="207"/>
                  </a:lnTo>
                  <a:lnTo>
                    <a:pt x="41" y="207"/>
                  </a:lnTo>
                  <a:lnTo>
                    <a:pt x="41" y="208"/>
                  </a:lnTo>
                  <a:lnTo>
                    <a:pt x="41" y="209"/>
                  </a:lnTo>
                  <a:lnTo>
                    <a:pt x="41" y="208"/>
                  </a:lnTo>
                  <a:lnTo>
                    <a:pt x="40" y="207"/>
                  </a:lnTo>
                  <a:lnTo>
                    <a:pt x="39" y="208"/>
                  </a:lnTo>
                  <a:lnTo>
                    <a:pt x="39" y="207"/>
                  </a:lnTo>
                  <a:lnTo>
                    <a:pt x="40" y="207"/>
                  </a:lnTo>
                  <a:lnTo>
                    <a:pt x="40" y="206"/>
                  </a:lnTo>
                  <a:lnTo>
                    <a:pt x="41" y="206"/>
                  </a:lnTo>
                  <a:lnTo>
                    <a:pt x="43" y="206"/>
                  </a:lnTo>
                  <a:lnTo>
                    <a:pt x="43" y="204"/>
                  </a:lnTo>
                  <a:lnTo>
                    <a:pt x="44" y="204"/>
                  </a:lnTo>
                  <a:lnTo>
                    <a:pt x="44" y="203"/>
                  </a:lnTo>
                  <a:lnTo>
                    <a:pt x="45" y="203"/>
                  </a:lnTo>
                  <a:lnTo>
                    <a:pt x="49" y="201"/>
                  </a:lnTo>
                  <a:lnTo>
                    <a:pt x="47" y="201"/>
                  </a:lnTo>
                  <a:lnTo>
                    <a:pt x="46" y="202"/>
                  </a:lnTo>
                  <a:lnTo>
                    <a:pt x="45" y="202"/>
                  </a:lnTo>
                  <a:lnTo>
                    <a:pt x="45" y="201"/>
                  </a:lnTo>
                  <a:lnTo>
                    <a:pt x="45" y="200"/>
                  </a:lnTo>
                  <a:lnTo>
                    <a:pt x="46" y="198"/>
                  </a:lnTo>
                  <a:lnTo>
                    <a:pt x="46" y="197"/>
                  </a:lnTo>
                  <a:lnTo>
                    <a:pt x="46" y="196"/>
                  </a:lnTo>
                  <a:lnTo>
                    <a:pt x="45" y="196"/>
                  </a:lnTo>
                  <a:lnTo>
                    <a:pt x="45" y="197"/>
                  </a:lnTo>
                  <a:lnTo>
                    <a:pt x="45" y="198"/>
                  </a:lnTo>
                  <a:lnTo>
                    <a:pt x="45" y="197"/>
                  </a:lnTo>
                  <a:lnTo>
                    <a:pt x="44" y="197"/>
                  </a:lnTo>
                  <a:lnTo>
                    <a:pt x="43" y="197"/>
                  </a:lnTo>
                  <a:lnTo>
                    <a:pt x="43" y="198"/>
                  </a:lnTo>
                  <a:lnTo>
                    <a:pt x="43" y="197"/>
                  </a:lnTo>
                  <a:lnTo>
                    <a:pt x="41" y="197"/>
                  </a:lnTo>
                  <a:lnTo>
                    <a:pt x="43" y="197"/>
                  </a:lnTo>
                  <a:lnTo>
                    <a:pt x="43" y="196"/>
                  </a:lnTo>
                  <a:lnTo>
                    <a:pt x="44" y="196"/>
                  </a:lnTo>
                  <a:lnTo>
                    <a:pt x="44" y="195"/>
                  </a:lnTo>
                  <a:lnTo>
                    <a:pt x="43" y="195"/>
                  </a:lnTo>
                  <a:lnTo>
                    <a:pt x="43" y="196"/>
                  </a:lnTo>
                  <a:lnTo>
                    <a:pt x="41" y="197"/>
                  </a:lnTo>
                  <a:lnTo>
                    <a:pt x="41" y="196"/>
                  </a:lnTo>
                  <a:lnTo>
                    <a:pt x="40" y="197"/>
                  </a:lnTo>
                  <a:lnTo>
                    <a:pt x="40" y="198"/>
                  </a:lnTo>
                  <a:lnTo>
                    <a:pt x="40" y="197"/>
                  </a:lnTo>
                  <a:lnTo>
                    <a:pt x="40" y="196"/>
                  </a:lnTo>
                  <a:lnTo>
                    <a:pt x="40" y="195"/>
                  </a:lnTo>
                  <a:lnTo>
                    <a:pt x="39" y="195"/>
                  </a:lnTo>
                  <a:lnTo>
                    <a:pt x="38" y="195"/>
                  </a:lnTo>
                  <a:lnTo>
                    <a:pt x="38" y="196"/>
                  </a:lnTo>
                  <a:lnTo>
                    <a:pt x="38" y="198"/>
                  </a:lnTo>
                  <a:lnTo>
                    <a:pt x="37" y="196"/>
                  </a:lnTo>
                  <a:lnTo>
                    <a:pt x="37" y="195"/>
                  </a:lnTo>
                  <a:lnTo>
                    <a:pt x="37" y="196"/>
                  </a:lnTo>
                  <a:lnTo>
                    <a:pt x="37" y="197"/>
                  </a:lnTo>
                  <a:lnTo>
                    <a:pt x="37" y="196"/>
                  </a:lnTo>
                  <a:lnTo>
                    <a:pt x="35" y="196"/>
                  </a:lnTo>
                  <a:lnTo>
                    <a:pt x="35" y="195"/>
                  </a:lnTo>
                  <a:lnTo>
                    <a:pt x="35" y="196"/>
                  </a:lnTo>
                  <a:lnTo>
                    <a:pt x="34" y="196"/>
                  </a:lnTo>
                  <a:lnTo>
                    <a:pt x="34" y="195"/>
                  </a:lnTo>
                  <a:lnTo>
                    <a:pt x="33" y="196"/>
                  </a:lnTo>
                  <a:lnTo>
                    <a:pt x="33" y="195"/>
                  </a:lnTo>
                  <a:lnTo>
                    <a:pt x="32" y="196"/>
                  </a:lnTo>
                  <a:lnTo>
                    <a:pt x="32" y="195"/>
                  </a:lnTo>
                  <a:lnTo>
                    <a:pt x="32" y="196"/>
                  </a:lnTo>
                  <a:lnTo>
                    <a:pt x="31" y="195"/>
                  </a:lnTo>
                  <a:lnTo>
                    <a:pt x="31" y="194"/>
                  </a:lnTo>
                  <a:lnTo>
                    <a:pt x="31" y="192"/>
                  </a:lnTo>
                  <a:lnTo>
                    <a:pt x="29" y="192"/>
                  </a:lnTo>
                  <a:lnTo>
                    <a:pt x="29" y="194"/>
                  </a:lnTo>
                  <a:lnTo>
                    <a:pt x="29" y="195"/>
                  </a:lnTo>
                  <a:lnTo>
                    <a:pt x="29" y="197"/>
                  </a:lnTo>
                  <a:lnTo>
                    <a:pt x="29" y="196"/>
                  </a:lnTo>
                  <a:lnTo>
                    <a:pt x="29" y="195"/>
                  </a:lnTo>
                  <a:lnTo>
                    <a:pt x="28" y="194"/>
                  </a:lnTo>
                  <a:lnTo>
                    <a:pt x="28" y="195"/>
                  </a:lnTo>
                  <a:lnTo>
                    <a:pt x="28" y="196"/>
                  </a:lnTo>
                  <a:lnTo>
                    <a:pt x="28" y="197"/>
                  </a:lnTo>
                  <a:lnTo>
                    <a:pt x="28" y="196"/>
                  </a:lnTo>
                  <a:lnTo>
                    <a:pt x="28" y="195"/>
                  </a:lnTo>
                  <a:lnTo>
                    <a:pt x="27" y="195"/>
                  </a:lnTo>
                  <a:lnTo>
                    <a:pt x="27" y="196"/>
                  </a:lnTo>
                  <a:lnTo>
                    <a:pt x="27" y="197"/>
                  </a:lnTo>
                  <a:lnTo>
                    <a:pt x="27" y="198"/>
                  </a:lnTo>
                  <a:lnTo>
                    <a:pt x="27" y="200"/>
                  </a:lnTo>
                  <a:lnTo>
                    <a:pt x="26" y="198"/>
                  </a:lnTo>
                  <a:lnTo>
                    <a:pt x="26" y="197"/>
                  </a:lnTo>
                  <a:lnTo>
                    <a:pt x="24" y="197"/>
                  </a:lnTo>
                  <a:lnTo>
                    <a:pt x="24" y="196"/>
                  </a:lnTo>
                  <a:lnTo>
                    <a:pt x="26" y="196"/>
                  </a:lnTo>
                  <a:lnTo>
                    <a:pt x="26" y="195"/>
                  </a:lnTo>
                  <a:lnTo>
                    <a:pt x="27" y="194"/>
                  </a:lnTo>
                  <a:lnTo>
                    <a:pt x="26" y="194"/>
                  </a:lnTo>
                  <a:lnTo>
                    <a:pt x="27" y="194"/>
                  </a:lnTo>
                  <a:lnTo>
                    <a:pt x="27" y="192"/>
                  </a:lnTo>
                  <a:lnTo>
                    <a:pt x="28" y="192"/>
                  </a:lnTo>
                  <a:lnTo>
                    <a:pt x="29" y="192"/>
                  </a:lnTo>
                  <a:lnTo>
                    <a:pt x="29" y="191"/>
                  </a:lnTo>
                  <a:lnTo>
                    <a:pt x="31" y="190"/>
                  </a:lnTo>
                  <a:lnTo>
                    <a:pt x="33" y="190"/>
                  </a:lnTo>
                  <a:lnTo>
                    <a:pt x="34" y="190"/>
                  </a:lnTo>
                  <a:lnTo>
                    <a:pt x="35" y="190"/>
                  </a:lnTo>
                  <a:lnTo>
                    <a:pt x="34" y="189"/>
                  </a:lnTo>
                  <a:lnTo>
                    <a:pt x="35" y="189"/>
                  </a:lnTo>
                  <a:lnTo>
                    <a:pt x="37" y="189"/>
                  </a:lnTo>
                  <a:lnTo>
                    <a:pt x="38" y="189"/>
                  </a:lnTo>
                  <a:lnTo>
                    <a:pt x="38" y="188"/>
                  </a:lnTo>
                  <a:lnTo>
                    <a:pt x="37" y="186"/>
                  </a:lnTo>
                  <a:lnTo>
                    <a:pt x="35" y="186"/>
                  </a:lnTo>
                  <a:lnTo>
                    <a:pt x="35" y="188"/>
                  </a:lnTo>
                  <a:lnTo>
                    <a:pt x="35" y="186"/>
                  </a:lnTo>
                  <a:lnTo>
                    <a:pt x="34" y="188"/>
                  </a:lnTo>
                  <a:lnTo>
                    <a:pt x="34" y="186"/>
                  </a:lnTo>
                  <a:lnTo>
                    <a:pt x="34" y="188"/>
                  </a:lnTo>
                  <a:lnTo>
                    <a:pt x="33" y="189"/>
                  </a:lnTo>
                  <a:lnTo>
                    <a:pt x="33" y="190"/>
                  </a:lnTo>
                  <a:lnTo>
                    <a:pt x="33" y="189"/>
                  </a:lnTo>
                  <a:lnTo>
                    <a:pt x="33" y="188"/>
                  </a:lnTo>
                  <a:lnTo>
                    <a:pt x="32" y="188"/>
                  </a:lnTo>
                  <a:lnTo>
                    <a:pt x="32" y="186"/>
                  </a:lnTo>
                  <a:lnTo>
                    <a:pt x="31" y="188"/>
                  </a:lnTo>
                  <a:lnTo>
                    <a:pt x="31" y="189"/>
                  </a:lnTo>
                  <a:lnTo>
                    <a:pt x="29" y="189"/>
                  </a:lnTo>
                  <a:lnTo>
                    <a:pt x="28" y="189"/>
                  </a:lnTo>
                  <a:lnTo>
                    <a:pt x="28" y="190"/>
                  </a:lnTo>
                  <a:lnTo>
                    <a:pt x="28" y="189"/>
                  </a:lnTo>
                  <a:lnTo>
                    <a:pt x="28" y="188"/>
                  </a:lnTo>
                  <a:lnTo>
                    <a:pt x="27" y="188"/>
                  </a:lnTo>
                  <a:lnTo>
                    <a:pt x="27" y="186"/>
                  </a:lnTo>
                  <a:lnTo>
                    <a:pt x="27" y="188"/>
                  </a:lnTo>
                  <a:lnTo>
                    <a:pt x="27" y="189"/>
                  </a:lnTo>
                  <a:lnTo>
                    <a:pt x="26" y="189"/>
                  </a:lnTo>
                  <a:lnTo>
                    <a:pt x="26" y="190"/>
                  </a:lnTo>
                  <a:lnTo>
                    <a:pt x="26" y="191"/>
                  </a:lnTo>
                  <a:lnTo>
                    <a:pt x="26" y="190"/>
                  </a:lnTo>
                  <a:lnTo>
                    <a:pt x="26" y="189"/>
                  </a:lnTo>
                  <a:lnTo>
                    <a:pt x="24" y="188"/>
                  </a:lnTo>
                  <a:lnTo>
                    <a:pt x="24" y="189"/>
                  </a:lnTo>
                  <a:lnTo>
                    <a:pt x="24" y="190"/>
                  </a:lnTo>
                  <a:lnTo>
                    <a:pt x="23" y="189"/>
                  </a:lnTo>
                  <a:lnTo>
                    <a:pt x="23" y="188"/>
                  </a:lnTo>
                  <a:lnTo>
                    <a:pt x="22" y="188"/>
                  </a:lnTo>
                  <a:lnTo>
                    <a:pt x="22" y="189"/>
                  </a:lnTo>
                  <a:lnTo>
                    <a:pt x="21" y="189"/>
                  </a:lnTo>
                  <a:lnTo>
                    <a:pt x="20" y="190"/>
                  </a:lnTo>
                  <a:lnTo>
                    <a:pt x="20" y="191"/>
                  </a:lnTo>
                  <a:lnTo>
                    <a:pt x="18" y="191"/>
                  </a:lnTo>
                  <a:lnTo>
                    <a:pt x="18" y="190"/>
                  </a:lnTo>
                  <a:lnTo>
                    <a:pt x="18" y="189"/>
                  </a:lnTo>
                  <a:lnTo>
                    <a:pt x="18" y="190"/>
                  </a:lnTo>
                  <a:lnTo>
                    <a:pt x="17" y="190"/>
                  </a:lnTo>
                  <a:lnTo>
                    <a:pt x="18" y="189"/>
                  </a:lnTo>
                  <a:lnTo>
                    <a:pt x="18" y="188"/>
                  </a:lnTo>
                  <a:lnTo>
                    <a:pt x="20" y="186"/>
                  </a:lnTo>
                  <a:lnTo>
                    <a:pt x="20" y="185"/>
                  </a:lnTo>
                  <a:lnTo>
                    <a:pt x="20" y="184"/>
                  </a:lnTo>
                  <a:lnTo>
                    <a:pt x="20" y="186"/>
                  </a:lnTo>
                  <a:lnTo>
                    <a:pt x="18" y="185"/>
                  </a:lnTo>
                  <a:lnTo>
                    <a:pt x="18" y="184"/>
                  </a:lnTo>
                  <a:lnTo>
                    <a:pt x="18" y="183"/>
                  </a:lnTo>
                  <a:lnTo>
                    <a:pt x="20" y="182"/>
                  </a:lnTo>
                  <a:lnTo>
                    <a:pt x="20" y="180"/>
                  </a:lnTo>
                  <a:lnTo>
                    <a:pt x="18" y="180"/>
                  </a:lnTo>
                  <a:lnTo>
                    <a:pt x="17" y="180"/>
                  </a:lnTo>
                  <a:lnTo>
                    <a:pt x="17" y="183"/>
                  </a:lnTo>
                  <a:lnTo>
                    <a:pt x="17" y="185"/>
                  </a:lnTo>
                  <a:lnTo>
                    <a:pt x="17" y="184"/>
                  </a:lnTo>
                  <a:lnTo>
                    <a:pt x="17" y="183"/>
                  </a:lnTo>
                  <a:lnTo>
                    <a:pt x="17" y="182"/>
                  </a:lnTo>
                  <a:lnTo>
                    <a:pt x="16" y="182"/>
                  </a:lnTo>
                  <a:lnTo>
                    <a:pt x="17" y="183"/>
                  </a:lnTo>
                  <a:lnTo>
                    <a:pt x="16" y="184"/>
                  </a:lnTo>
                  <a:lnTo>
                    <a:pt x="16" y="185"/>
                  </a:lnTo>
                  <a:lnTo>
                    <a:pt x="16" y="186"/>
                  </a:lnTo>
                  <a:lnTo>
                    <a:pt x="15" y="185"/>
                  </a:lnTo>
                  <a:lnTo>
                    <a:pt x="15" y="184"/>
                  </a:lnTo>
                  <a:lnTo>
                    <a:pt x="15" y="183"/>
                  </a:lnTo>
                  <a:lnTo>
                    <a:pt x="14" y="183"/>
                  </a:lnTo>
                  <a:lnTo>
                    <a:pt x="12" y="183"/>
                  </a:lnTo>
                  <a:lnTo>
                    <a:pt x="12" y="182"/>
                  </a:lnTo>
                  <a:lnTo>
                    <a:pt x="14" y="182"/>
                  </a:lnTo>
                  <a:lnTo>
                    <a:pt x="15" y="182"/>
                  </a:lnTo>
                  <a:lnTo>
                    <a:pt x="15" y="180"/>
                  </a:lnTo>
                  <a:lnTo>
                    <a:pt x="16" y="180"/>
                  </a:lnTo>
                  <a:lnTo>
                    <a:pt x="17" y="180"/>
                  </a:lnTo>
                  <a:lnTo>
                    <a:pt x="20" y="179"/>
                  </a:lnTo>
                  <a:lnTo>
                    <a:pt x="21" y="179"/>
                  </a:lnTo>
                  <a:lnTo>
                    <a:pt x="22" y="179"/>
                  </a:lnTo>
                  <a:lnTo>
                    <a:pt x="23" y="178"/>
                  </a:lnTo>
                  <a:lnTo>
                    <a:pt x="24" y="178"/>
                  </a:lnTo>
                  <a:lnTo>
                    <a:pt x="26" y="178"/>
                  </a:lnTo>
                  <a:lnTo>
                    <a:pt x="27" y="178"/>
                  </a:lnTo>
                  <a:lnTo>
                    <a:pt x="29" y="177"/>
                  </a:lnTo>
                  <a:lnTo>
                    <a:pt x="32" y="177"/>
                  </a:lnTo>
                  <a:lnTo>
                    <a:pt x="33" y="177"/>
                  </a:lnTo>
                  <a:lnTo>
                    <a:pt x="34" y="177"/>
                  </a:lnTo>
                  <a:lnTo>
                    <a:pt x="34" y="176"/>
                  </a:lnTo>
                  <a:lnTo>
                    <a:pt x="34" y="174"/>
                  </a:lnTo>
                  <a:lnTo>
                    <a:pt x="35" y="174"/>
                  </a:lnTo>
                  <a:lnTo>
                    <a:pt x="34" y="173"/>
                  </a:lnTo>
                  <a:lnTo>
                    <a:pt x="34" y="172"/>
                  </a:lnTo>
                  <a:lnTo>
                    <a:pt x="33" y="172"/>
                  </a:lnTo>
                  <a:lnTo>
                    <a:pt x="33" y="173"/>
                  </a:lnTo>
                  <a:lnTo>
                    <a:pt x="32" y="176"/>
                  </a:lnTo>
                  <a:lnTo>
                    <a:pt x="31" y="176"/>
                  </a:lnTo>
                  <a:lnTo>
                    <a:pt x="31" y="174"/>
                  </a:lnTo>
                  <a:lnTo>
                    <a:pt x="31" y="176"/>
                  </a:lnTo>
                  <a:lnTo>
                    <a:pt x="29" y="174"/>
                  </a:lnTo>
                  <a:lnTo>
                    <a:pt x="28" y="174"/>
                  </a:lnTo>
                  <a:lnTo>
                    <a:pt x="29" y="173"/>
                  </a:lnTo>
                  <a:lnTo>
                    <a:pt x="29" y="172"/>
                  </a:lnTo>
                  <a:lnTo>
                    <a:pt x="29" y="171"/>
                  </a:lnTo>
                  <a:lnTo>
                    <a:pt x="28" y="170"/>
                  </a:lnTo>
                  <a:lnTo>
                    <a:pt x="28" y="171"/>
                  </a:lnTo>
                  <a:lnTo>
                    <a:pt x="27" y="170"/>
                  </a:lnTo>
                  <a:lnTo>
                    <a:pt x="26" y="168"/>
                  </a:lnTo>
                  <a:lnTo>
                    <a:pt x="27" y="170"/>
                  </a:lnTo>
                  <a:lnTo>
                    <a:pt x="27" y="171"/>
                  </a:lnTo>
                  <a:lnTo>
                    <a:pt x="27" y="172"/>
                  </a:lnTo>
                  <a:lnTo>
                    <a:pt x="26" y="173"/>
                  </a:lnTo>
                  <a:lnTo>
                    <a:pt x="26" y="174"/>
                  </a:lnTo>
                  <a:lnTo>
                    <a:pt x="24" y="174"/>
                  </a:lnTo>
                  <a:lnTo>
                    <a:pt x="23" y="174"/>
                  </a:lnTo>
                  <a:lnTo>
                    <a:pt x="23" y="173"/>
                  </a:lnTo>
                  <a:lnTo>
                    <a:pt x="22" y="173"/>
                  </a:lnTo>
                  <a:lnTo>
                    <a:pt x="21" y="173"/>
                  </a:lnTo>
                  <a:lnTo>
                    <a:pt x="22" y="172"/>
                  </a:lnTo>
                  <a:lnTo>
                    <a:pt x="23" y="172"/>
                  </a:lnTo>
                  <a:lnTo>
                    <a:pt x="23" y="171"/>
                  </a:lnTo>
                  <a:lnTo>
                    <a:pt x="24" y="170"/>
                  </a:lnTo>
                  <a:lnTo>
                    <a:pt x="24" y="168"/>
                  </a:lnTo>
                  <a:lnTo>
                    <a:pt x="24" y="167"/>
                  </a:lnTo>
                  <a:lnTo>
                    <a:pt x="26" y="167"/>
                  </a:lnTo>
                  <a:lnTo>
                    <a:pt x="27" y="167"/>
                  </a:lnTo>
                  <a:lnTo>
                    <a:pt x="27" y="166"/>
                  </a:lnTo>
                  <a:lnTo>
                    <a:pt x="28" y="166"/>
                  </a:lnTo>
                  <a:lnTo>
                    <a:pt x="29" y="166"/>
                  </a:lnTo>
                  <a:lnTo>
                    <a:pt x="32" y="165"/>
                  </a:lnTo>
                  <a:lnTo>
                    <a:pt x="33" y="164"/>
                  </a:lnTo>
                  <a:lnTo>
                    <a:pt x="32" y="164"/>
                  </a:lnTo>
                  <a:lnTo>
                    <a:pt x="32" y="162"/>
                  </a:lnTo>
                  <a:lnTo>
                    <a:pt x="31" y="162"/>
                  </a:lnTo>
                  <a:lnTo>
                    <a:pt x="31" y="164"/>
                  </a:lnTo>
                  <a:lnTo>
                    <a:pt x="29" y="164"/>
                  </a:lnTo>
                  <a:lnTo>
                    <a:pt x="31" y="162"/>
                  </a:lnTo>
                  <a:lnTo>
                    <a:pt x="29" y="162"/>
                  </a:lnTo>
                  <a:lnTo>
                    <a:pt x="28" y="162"/>
                  </a:lnTo>
                  <a:lnTo>
                    <a:pt x="29" y="162"/>
                  </a:lnTo>
                  <a:lnTo>
                    <a:pt x="29" y="161"/>
                  </a:lnTo>
                  <a:lnTo>
                    <a:pt x="31" y="161"/>
                  </a:lnTo>
                  <a:lnTo>
                    <a:pt x="32" y="161"/>
                  </a:lnTo>
                  <a:lnTo>
                    <a:pt x="33" y="161"/>
                  </a:lnTo>
                  <a:lnTo>
                    <a:pt x="34" y="161"/>
                  </a:lnTo>
                  <a:lnTo>
                    <a:pt x="34" y="160"/>
                  </a:lnTo>
                  <a:lnTo>
                    <a:pt x="35" y="160"/>
                  </a:lnTo>
                  <a:lnTo>
                    <a:pt x="35" y="159"/>
                  </a:lnTo>
                  <a:lnTo>
                    <a:pt x="37" y="159"/>
                  </a:lnTo>
                  <a:lnTo>
                    <a:pt x="37" y="158"/>
                  </a:lnTo>
                  <a:lnTo>
                    <a:pt x="37" y="156"/>
                  </a:lnTo>
                  <a:lnTo>
                    <a:pt x="38" y="156"/>
                  </a:lnTo>
                  <a:lnTo>
                    <a:pt x="39" y="154"/>
                  </a:lnTo>
                  <a:lnTo>
                    <a:pt x="40" y="153"/>
                  </a:lnTo>
                  <a:lnTo>
                    <a:pt x="39" y="152"/>
                  </a:lnTo>
                  <a:lnTo>
                    <a:pt x="39" y="153"/>
                  </a:lnTo>
                  <a:lnTo>
                    <a:pt x="38" y="153"/>
                  </a:lnTo>
                  <a:lnTo>
                    <a:pt x="38" y="154"/>
                  </a:lnTo>
                  <a:lnTo>
                    <a:pt x="38" y="155"/>
                  </a:lnTo>
                  <a:lnTo>
                    <a:pt x="37" y="154"/>
                  </a:lnTo>
                  <a:lnTo>
                    <a:pt x="37" y="153"/>
                  </a:lnTo>
                  <a:lnTo>
                    <a:pt x="35" y="153"/>
                  </a:lnTo>
                  <a:lnTo>
                    <a:pt x="35" y="154"/>
                  </a:lnTo>
                  <a:lnTo>
                    <a:pt x="35" y="155"/>
                  </a:lnTo>
                  <a:lnTo>
                    <a:pt x="35" y="154"/>
                  </a:lnTo>
                  <a:lnTo>
                    <a:pt x="35" y="153"/>
                  </a:lnTo>
                  <a:lnTo>
                    <a:pt x="35" y="154"/>
                  </a:lnTo>
                  <a:lnTo>
                    <a:pt x="34" y="154"/>
                  </a:lnTo>
                  <a:lnTo>
                    <a:pt x="34" y="153"/>
                  </a:lnTo>
                  <a:lnTo>
                    <a:pt x="34" y="154"/>
                  </a:lnTo>
                  <a:lnTo>
                    <a:pt x="33" y="154"/>
                  </a:lnTo>
                  <a:lnTo>
                    <a:pt x="33" y="153"/>
                  </a:lnTo>
                  <a:lnTo>
                    <a:pt x="32" y="153"/>
                  </a:lnTo>
                  <a:lnTo>
                    <a:pt x="33" y="154"/>
                  </a:lnTo>
                  <a:lnTo>
                    <a:pt x="33" y="156"/>
                  </a:lnTo>
                  <a:lnTo>
                    <a:pt x="32" y="156"/>
                  </a:lnTo>
                  <a:lnTo>
                    <a:pt x="32" y="158"/>
                  </a:lnTo>
                  <a:lnTo>
                    <a:pt x="31" y="158"/>
                  </a:lnTo>
                  <a:lnTo>
                    <a:pt x="31" y="156"/>
                  </a:lnTo>
                  <a:lnTo>
                    <a:pt x="31" y="155"/>
                  </a:lnTo>
                  <a:lnTo>
                    <a:pt x="32" y="154"/>
                  </a:lnTo>
                  <a:lnTo>
                    <a:pt x="32" y="153"/>
                  </a:lnTo>
                  <a:lnTo>
                    <a:pt x="32" y="150"/>
                  </a:lnTo>
                  <a:lnTo>
                    <a:pt x="32" y="149"/>
                  </a:lnTo>
                  <a:lnTo>
                    <a:pt x="31" y="149"/>
                  </a:lnTo>
                  <a:lnTo>
                    <a:pt x="31" y="150"/>
                  </a:lnTo>
                  <a:lnTo>
                    <a:pt x="29" y="150"/>
                  </a:lnTo>
                  <a:lnTo>
                    <a:pt x="29" y="149"/>
                  </a:lnTo>
                  <a:lnTo>
                    <a:pt x="29" y="148"/>
                  </a:lnTo>
                  <a:lnTo>
                    <a:pt x="29" y="150"/>
                  </a:lnTo>
                  <a:lnTo>
                    <a:pt x="28" y="150"/>
                  </a:lnTo>
                  <a:lnTo>
                    <a:pt x="28" y="149"/>
                  </a:lnTo>
                  <a:lnTo>
                    <a:pt x="27" y="148"/>
                  </a:lnTo>
                  <a:lnTo>
                    <a:pt x="27" y="149"/>
                  </a:lnTo>
                  <a:lnTo>
                    <a:pt x="27" y="150"/>
                  </a:lnTo>
                  <a:lnTo>
                    <a:pt x="27" y="152"/>
                  </a:lnTo>
                  <a:lnTo>
                    <a:pt x="27" y="150"/>
                  </a:lnTo>
                  <a:lnTo>
                    <a:pt x="27" y="149"/>
                  </a:lnTo>
                  <a:lnTo>
                    <a:pt x="27" y="148"/>
                  </a:lnTo>
                  <a:lnTo>
                    <a:pt x="26" y="147"/>
                  </a:lnTo>
                  <a:lnTo>
                    <a:pt x="27" y="146"/>
                  </a:lnTo>
                  <a:lnTo>
                    <a:pt x="26" y="146"/>
                  </a:lnTo>
                  <a:lnTo>
                    <a:pt x="26" y="144"/>
                  </a:lnTo>
                  <a:lnTo>
                    <a:pt x="24" y="144"/>
                  </a:lnTo>
                  <a:lnTo>
                    <a:pt x="24" y="143"/>
                  </a:lnTo>
                  <a:lnTo>
                    <a:pt x="26" y="143"/>
                  </a:lnTo>
                  <a:lnTo>
                    <a:pt x="27" y="144"/>
                  </a:lnTo>
                  <a:lnTo>
                    <a:pt x="27" y="143"/>
                  </a:lnTo>
                  <a:lnTo>
                    <a:pt x="27" y="144"/>
                  </a:lnTo>
                  <a:lnTo>
                    <a:pt x="28" y="144"/>
                  </a:lnTo>
                  <a:lnTo>
                    <a:pt x="28" y="143"/>
                  </a:lnTo>
                  <a:lnTo>
                    <a:pt x="28" y="144"/>
                  </a:lnTo>
                  <a:lnTo>
                    <a:pt x="29" y="144"/>
                  </a:lnTo>
                  <a:lnTo>
                    <a:pt x="31" y="146"/>
                  </a:lnTo>
                  <a:lnTo>
                    <a:pt x="33" y="146"/>
                  </a:lnTo>
                  <a:lnTo>
                    <a:pt x="34" y="146"/>
                  </a:lnTo>
                  <a:lnTo>
                    <a:pt x="35" y="147"/>
                  </a:lnTo>
                  <a:lnTo>
                    <a:pt x="37" y="147"/>
                  </a:lnTo>
                  <a:lnTo>
                    <a:pt x="38" y="147"/>
                  </a:lnTo>
                  <a:lnTo>
                    <a:pt x="39" y="147"/>
                  </a:lnTo>
                  <a:lnTo>
                    <a:pt x="40" y="147"/>
                  </a:lnTo>
                  <a:lnTo>
                    <a:pt x="41" y="147"/>
                  </a:lnTo>
                  <a:lnTo>
                    <a:pt x="43" y="148"/>
                  </a:lnTo>
                  <a:lnTo>
                    <a:pt x="45" y="147"/>
                  </a:lnTo>
                  <a:lnTo>
                    <a:pt x="46" y="147"/>
                  </a:lnTo>
                  <a:lnTo>
                    <a:pt x="47" y="147"/>
                  </a:lnTo>
                  <a:lnTo>
                    <a:pt x="47" y="146"/>
                  </a:lnTo>
                  <a:lnTo>
                    <a:pt x="47" y="144"/>
                  </a:lnTo>
                  <a:lnTo>
                    <a:pt x="49" y="144"/>
                  </a:lnTo>
                  <a:lnTo>
                    <a:pt x="50" y="146"/>
                  </a:lnTo>
                  <a:lnTo>
                    <a:pt x="51" y="146"/>
                  </a:lnTo>
                  <a:lnTo>
                    <a:pt x="52" y="144"/>
                  </a:lnTo>
                  <a:lnTo>
                    <a:pt x="53" y="144"/>
                  </a:lnTo>
                  <a:lnTo>
                    <a:pt x="55" y="143"/>
                  </a:lnTo>
                  <a:lnTo>
                    <a:pt x="56" y="142"/>
                  </a:lnTo>
                  <a:lnTo>
                    <a:pt x="57" y="141"/>
                  </a:lnTo>
                  <a:lnTo>
                    <a:pt x="58" y="140"/>
                  </a:lnTo>
                  <a:lnTo>
                    <a:pt x="57" y="140"/>
                  </a:lnTo>
                  <a:lnTo>
                    <a:pt x="58" y="138"/>
                  </a:lnTo>
                  <a:lnTo>
                    <a:pt x="58" y="137"/>
                  </a:lnTo>
                  <a:lnTo>
                    <a:pt x="57" y="137"/>
                  </a:lnTo>
                  <a:lnTo>
                    <a:pt x="57" y="138"/>
                  </a:lnTo>
                  <a:lnTo>
                    <a:pt x="56" y="137"/>
                  </a:lnTo>
                  <a:lnTo>
                    <a:pt x="56" y="138"/>
                  </a:lnTo>
                  <a:lnTo>
                    <a:pt x="56" y="141"/>
                  </a:lnTo>
                  <a:lnTo>
                    <a:pt x="55" y="140"/>
                  </a:lnTo>
                  <a:lnTo>
                    <a:pt x="55" y="138"/>
                  </a:lnTo>
                  <a:lnTo>
                    <a:pt x="53" y="138"/>
                  </a:lnTo>
                  <a:lnTo>
                    <a:pt x="53" y="140"/>
                  </a:lnTo>
                  <a:lnTo>
                    <a:pt x="53" y="141"/>
                  </a:lnTo>
                  <a:lnTo>
                    <a:pt x="52" y="140"/>
                  </a:lnTo>
                  <a:lnTo>
                    <a:pt x="52" y="138"/>
                  </a:lnTo>
                  <a:lnTo>
                    <a:pt x="52" y="140"/>
                  </a:lnTo>
                  <a:lnTo>
                    <a:pt x="51" y="138"/>
                  </a:lnTo>
                  <a:lnTo>
                    <a:pt x="51" y="137"/>
                  </a:lnTo>
                  <a:lnTo>
                    <a:pt x="51" y="140"/>
                  </a:lnTo>
                  <a:lnTo>
                    <a:pt x="51" y="141"/>
                  </a:lnTo>
                  <a:lnTo>
                    <a:pt x="51" y="140"/>
                  </a:lnTo>
                  <a:lnTo>
                    <a:pt x="50" y="138"/>
                  </a:lnTo>
                  <a:lnTo>
                    <a:pt x="49" y="138"/>
                  </a:lnTo>
                  <a:lnTo>
                    <a:pt x="49" y="140"/>
                  </a:lnTo>
                  <a:lnTo>
                    <a:pt x="50" y="141"/>
                  </a:lnTo>
                  <a:lnTo>
                    <a:pt x="49" y="141"/>
                  </a:lnTo>
                  <a:lnTo>
                    <a:pt x="49" y="140"/>
                  </a:lnTo>
                  <a:lnTo>
                    <a:pt x="49" y="138"/>
                  </a:lnTo>
                  <a:lnTo>
                    <a:pt x="47" y="137"/>
                  </a:lnTo>
                  <a:lnTo>
                    <a:pt x="47" y="140"/>
                  </a:lnTo>
                  <a:lnTo>
                    <a:pt x="49" y="141"/>
                  </a:lnTo>
                  <a:lnTo>
                    <a:pt x="47" y="140"/>
                  </a:lnTo>
                  <a:lnTo>
                    <a:pt x="47" y="138"/>
                  </a:lnTo>
                  <a:lnTo>
                    <a:pt x="47" y="141"/>
                  </a:lnTo>
                  <a:lnTo>
                    <a:pt x="46" y="141"/>
                  </a:lnTo>
                  <a:lnTo>
                    <a:pt x="46" y="140"/>
                  </a:lnTo>
                  <a:lnTo>
                    <a:pt x="45" y="140"/>
                  </a:lnTo>
                  <a:lnTo>
                    <a:pt x="45" y="141"/>
                  </a:lnTo>
                  <a:lnTo>
                    <a:pt x="44" y="140"/>
                  </a:lnTo>
                  <a:lnTo>
                    <a:pt x="44" y="142"/>
                  </a:lnTo>
                  <a:lnTo>
                    <a:pt x="43" y="143"/>
                  </a:lnTo>
                  <a:lnTo>
                    <a:pt x="43" y="142"/>
                  </a:lnTo>
                  <a:lnTo>
                    <a:pt x="41" y="142"/>
                  </a:lnTo>
                  <a:lnTo>
                    <a:pt x="41" y="144"/>
                  </a:lnTo>
                  <a:lnTo>
                    <a:pt x="41" y="143"/>
                  </a:lnTo>
                  <a:lnTo>
                    <a:pt x="40" y="142"/>
                  </a:lnTo>
                  <a:lnTo>
                    <a:pt x="40" y="143"/>
                  </a:lnTo>
                  <a:lnTo>
                    <a:pt x="40" y="142"/>
                  </a:lnTo>
                  <a:lnTo>
                    <a:pt x="39" y="141"/>
                  </a:lnTo>
                  <a:lnTo>
                    <a:pt x="39" y="142"/>
                  </a:lnTo>
                  <a:lnTo>
                    <a:pt x="39" y="143"/>
                  </a:lnTo>
                  <a:lnTo>
                    <a:pt x="39" y="144"/>
                  </a:lnTo>
                  <a:lnTo>
                    <a:pt x="39" y="146"/>
                  </a:lnTo>
                  <a:lnTo>
                    <a:pt x="38" y="146"/>
                  </a:lnTo>
                  <a:lnTo>
                    <a:pt x="38" y="144"/>
                  </a:lnTo>
                  <a:lnTo>
                    <a:pt x="38" y="143"/>
                  </a:lnTo>
                  <a:lnTo>
                    <a:pt x="38" y="142"/>
                  </a:lnTo>
                  <a:lnTo>
                    <a:pt x="37" y="143"/>
                  </a:lnTo>
                  <a:lnTo>
                    <a:pt x="37" y="144"/>
                  </a:lnTo>
                  <a:lnTo>
                    <a:pt x="37" y="143"/>
                  </a:lnTo>
                  <a:lnTo>
                    <a:pt x="37" y="144"/>
                  </a:lnTo>
                  <a:lnTo>
                    <a:pt x="35" y="146"/>
                  </a:lnTo>
                  <a:lnTo>
                    <a:pt x="35" y="144"/>
                  </a:lnTo>
                  <a:lnTo>
                    <a:pt x="35" y="143"/>
                  </a:lnTo>
                  <a:lnTo>
                    <a:pt x="34" y="144"/>
                  </a:lnTo>
                  <a:lnTo>
                    <a:pt x="34" y="143"/>
                  </a:lnTo>
                  <a:lnTo>
                    <a:pt x="35" y="143"/>
                  </a:lnTo>
                  <a:lnTo>
                    <a:pt x="37" y="143"/>
                  </a:lnTo>
                  <a:lnTo>
                    <a:pt x="35" y="142"/>
                  </a:lnTo>
                  <a:lnTo>
                    <a:pt x="37" y="142"/>
                  </a:lnTo>
                  <a:lnTo>
                    <a:pt x="38" y="142"/>
                  </a:lnTo>
                  <a:lnTo>
                    <a:pt x="38" y="141"/>
                  </a:lnTo>
                  <a:lnTo>
                    <a:pt x="38" y="140"/>
                  </a:lnTo>
                  <a:lnTo>
                    <a:pt x="39" y="140"/>
                  </a:lnTo>
                  <a:lnTo>
                    <a:pt x="39" y="138"/>
                  </a:lnTo>
                  <a:lnTo>
                    <a:pt x="40" y="138"/>
                  </a:lnTo>
                  <a:lnTo>
                    <a:pt x="40" y="137"/>
                  </a:lnTo>
                  <a:lnTo>
                    <a:pt x="41" y="137"/>
                  </a:lnTo>
                  <a:lnTo>
                    <a:pt x="41" y="136"/>
                  </a:lnTo>
                  <a:lnTo>
                    <a:pt x="41" y="135"/>
                  </a:lnTo>
                  <a:lnTo>
                    <a:pt x="40" y="136"/>
                  </a:lnTo>
                  <a:lnTo>
                    <a:pt x="40" y="137"/>
                  </a:lnTo>
                  <a:lnTo>
                    <a:pt x="39" y="137"/>
                  </a:lnTo>
                  <a:lnTo>
                    <a:pt x="39" y="136"/>
                  </a:lnTo>
                  <a:lnTo>
                    <a:pt x="39" y="137"/>
                  </a:lnTo>
                  <a:lnTo>
                    <a:pt x="39" y="136"/>
                  </a:lnTo>
                  <a:lnTo>
                    <a:pt x="39" y="135"/>
                  </a:lnTo>
                  <a:lnTo>
                    <a:pt x="40" y="135"/>
                  </a:lnTo>
                  <a:lnTo>
                    <a:pt x="40" y="134"/>
                  </a:lnTo>
                  <a:lnTo>
                    <a:pt x="39" y="134"/>
                  </a:lnTo>
                  <a:lnTo>
                    <a:pt x="40" y="134"/>
                  </a:lnTo>
                  <a:lnTo>
                    <a:pt x="43" y="134"/>
                  </a:lnTo>
                  <a:lnTo>
                    <a:pt x="44" y="132"/>
                  </a:lnTo>
                  <a:lnTo>
                    <a:pt x="45" y="132"/>
                  </a:lnTo>
                  <a:lnTo>
                    <a:pt x="46" y="131"/>
                  </a:lnTo>
                  <a:lnTo>
                    <a:pt x="47" y="130"/>
                  </a:lnTo>
                  <a:lnTo>
                    <a:pt x="49" y="130"/>
                  </a:lnTo>
                  <a:lnTo>
                    <a:pt x="50" y="130"/>
                  </a:lnTo>
                  <a:lnTo>
                    <a:pt x="51" y="130"/>
                  </a:lnTo>
                  <a:lnTo>
                    <a:pt x="52" y="129"/>
                  </a:lnTo>
                  <a:lnTo>
                    <a:pt x="53" y="129"/>
                  </a:lnTo>
                  <a:lnTo>
                    <a:pt x="53" y="128"/>
                  </a:lnTo>
                  <a:lnTo>
                    <a:pt x="52" y="128"/>
                  </a:lnTo>
                  <a:lnTo>
                    <a:pt x="53" y="128"/>
                  </a:lnTo>
                  <a:lnTo>
                    <a:pt x="55" y="128"/>
                  </a:lnTo>
                  <a:lnTo>
                    <a:pt x="56" y="126"/>
                  </a:lnTo>
                  <a:lnTo>
                    <a:pt x="56" y="125"/>
                  </a:lnTo>
                  <a:lnTo>
                    <a:pt x="56" y="124"/>
                  </a:lnTo>
                  <a:lnTo>
                    <a:pt x="56" y="123"/>
                  </a:lnTo>
                  <a:lnTo>
                    <a:pt x="55" y="122"/>
                  </a:lnTo>
                  <a:lnTo>
                    <a:pt x="55" y="123"/>
                  </a:lnTo>
                  <a:lnTo>
                    <a:pt x="55" y="124"/>
                  </a:lnTo>
                  <a:lnTo>
                    <a:pt x="53" y="124"/>
                  </a:lnTo>
                  <a:lnTo>
                    <a:pt x="52" y="124"/>
                  </a:lnTo>
                  <a:lnTo>
                    <a:pt x="52" y="123"/>
                  </a:lnTo>
                  <a:lnTo>
                    <a:pt x="52" y="124"/>
                  </a:lnTo>
                  <a:lnTo>
                    <a:pt x="52" y="125"/>
                  </a:lnTo>
                  <a:lnTo>
                    <a:pt x="51" y="124"/>
                  </a:lnTo>
                  <a:lnTo>
                    <a:pt x="51" y="123"/>
                  </a:lnTo>
                  <a:lnTo>
                    <a:pt x="51" y="124"/>
                  </a:lnTo>
                  <a:lnTo>
                    <a:pt x="50" y="124"/>
                  </a:lnTo>
                  <a:lnTo>
                    <a:pt x="50" y="123"/>
                  </a:lnTo>
                  <a:lnTo>
                    <a:pt x="50" y="124"/>
                  </a:lnTo>
                  <a:lnTo>
                    <a:pt x="50" y="125"/>
                  </a:lnTo>
                  <a:lnTo>
                    <a:pt x="50" y="126"/>
                  </a:lnTo>
                  <a:lnTo>
                    <a:pt x="49" y="126"/>
                  </a:lnTo>
                  <a:lnTo>
                    <a:pt x="49" y="125"/>
                  </a:lnTo>
                  <a:lnTo>
                    <a:pt x="49" y="124"/>
                  </a:lnTo>
                  <a:lnTo>
                    <a:pt x="49" y="125"/>
                  </a:lnTo>
                  <a:lnTo>
                    <a:pt x="47" y="125"/>
                  </a:lnTo>
                  <a:lnTo>
                    <a:pt x="47" y="124"/>
                  </a:lnTo>
                  <a:lnTo>
                    <a:pt x="46" y="125"/>
                  </a:lnTo>
                  <a:lnTo>
                    <a:pt x="46" y="124"/>
                  </a:lnTo>
                  <a:lnTo>
                    <a:pt x="46" y="125"/>
                  </a:lnTo>
                  <a:lnTo>
                    <a:pt x="45" y="125"/>
                  </a:lnTo>
                  <a:lnTo>
                    <a:pt x="45" y="126"/>
                  </a:lnTo>
                  <a:lnTo>
                    <a:pt x="45" y="128"/>
                  </a:lnTo>
                  <a:lnTo>
                    <a:pt x="44" y="128"/>
                  </a:lnTo>
                  <a:lnTo>
                    <a:pt x="44" y="126"/>
                  </a:lnTo>
                  <a:lnTo>
                    <a:pt x="44" y="125"/>
                  </a:lnTo>
                  <a:lnTo>
                    <a:pt x="43" y="125"/>
                  </a:lnTo>
                  <a:lnTo>
                    <a:pt x="41" y="125"/>
                  </a:lnTo>
                  <a:lnTo>
                    <a:pt x="41" y="124"/>
                  </a:lnTo>
                  <a:lnTo>
                    <a:pt x="41" y="125"/>
                  </a:lnTo>
                  <a:lnTo>
                    <a:pt x="40" y="125"/>
                  </a:lnTo>
                  <a:lnTo>
                    <a:pt x="39" y="125"/>
                  </a:lnTo>
                  <a:lnTo>
                    <a:pt x="40" y="124"/>
                  </a:lnTo>
                  <a:lnTo>
                    <a:pt x="41" y="123"/>
                  </a:lnTo>
                  <a:lnTo>
                    <a:pt x="43" y="123"/>
                  </a:lnTo>
                  <a:lnTo>
                    <a:pt x="44" y="123"/>
                  </a:lnTo>
                  <a:lnTo>
                    <a:pt x="45" y="122"/>
                  </a:lnTo>
                  <a:lnTo>
                    <a:pt x="44" y="122"/>
                  </a:lnTo>
                  <a:lnTo>
                    <a:pt x="43" y="122"/>
                  </a:lnTo>
                  <a:lnTo>
                    <a:pt x="45" y="120"/>
                  </a:lnTo>
                  <a:lnTo>
                    <a:pt x="44" y="120"/>
                  </a:lnTo>
                  <a:lnTo>
                    <a:pt x="45" y="120"/>
                  </a:lnTo>
                  <a:lnTo>
                    <a:pt x="46" y="119"/>
                  </a:lnTo>
                  <a:lnTo>
                    <a:pt x="47" y="119"/>
                  </a:lnTo>
                  <a:lnTo>
                    <a:pt x="47" y="118"/>
                  </a:lnTo>
                  <a:lnTo>
                    <a:pt x="49" y="118"/>
                  </a:lnTo>
                  <a:lnTo>
                    <a:pt x="50" y="118"/>
                  </a:lnTo>
                  <a:lnTo>
                    <a:pt x="50" y="117"/>
                  </a:lnTo>
                  <a:lnTo>
                    <a:pt x="51" y="118"/>
                  </a:lnTo>
                  <a:lnTo>
                    <a:pt x="52" y="118"/>
                  </a:lnTo>
                  <a:lnTo>
                    <a:pt x="52" y="117"/>
                  </a:lnTo>
                  <a:lnTo>
                    <a:pt x="53" y="117"/>
                  </a:lnTo>
                  <a:lnTo>
                    <a:pt x="53" y="116"/>
                  </a:lnTo>
                  <a:lnTo>
                    <a:pt x="55" y="117"/>
                  </a:lnTo>
                  <a:lnTo>
                    <a:pt x="56" y="117"/>
                  </a:lnTo>
                  <a:lnTo>
                    <a:pt x="56" y="116"/>
                  </a:lnTo>
                  <a:lnTo>
                    <a:pt x="58" y="116"/>
                  </a:lnTo>
                  <a:lnTo>
                    <a:pt x="59" y="114"/>
                  </a:lnTo>
                  <a:lnTo>
                    <a:pt x="61" y="114"/>
                  </a:lnTo>
                  <a:lnTo>
                    <a:pt x="62" y="114"/>
                  </a:lnTo>
                  <a:lnTo>
                    <a:pt x="63" y="114"/>
                  </a:lnTo>
                  <a:lnTo>
                    <a:pt x="64" y="113"/>
                  </a:lnTo>
                  <a:lnTo>
                    <a:pt x="65" y="113"/>
                  </a:lnTo>
                  <a:lnTo>
                    <a:pt x="67" y="113"/>
                  </a:lnTo>
                  <a:lnTo>
                    <a:pt x="68" y="112"/>
                  </a:lnTo>
                  <a:lnTo>
                    <a:pt x="68" y="113"/>
                  </a:lnTo>
                  <a:lnTo>
                    <a:pt x="69" y="113"/>
                  </a:lnTo>
                  <a:lnTo>
                    <a:pt x="70" y="113"/>
                  </a:lnTo>
                  <a:lnTo>
                    <a:pt x="70" y="112"/>
                  </a:lnTo>
                  <a:lnTo>
                    <a:pt x="71" y="112"/>
                  </a:lnTo>
                  <a:lnTo>
                    <a:pt x="73" y="112"/>
                  </a:lnTo>
                  <a:lnTo>
                    <a:pt x="74" y="112"/>
                  </a:lnTo>
                  <a:lnTo>
                    <a:pt x="74" y="111"/>
                  </a:lnTo>
                  <a:lnTo>
                    <a:pt x="73" y="111"/>
                  </a:lnTo>
                  <a:lnTo>
                    <a:pt x="73" y="112"/>
                  </a:lnTo>
                  <a:lnTo>
                    <a:pt x="71" y="112"/>
                  </a:lnTo>
                  <a:lnTo>
                    <a:pt x="70" y="112"/>
                  </a:lnTo>
                  <a:lnTo>
                    <a:pt x="69" y="112"/>
                  </a:lnTo>
                  <a:lnTo>
                    <a:pt x="69" y="113"/>
                  </a:lnTo>
                  <a:lnTo>
                    <a:pt x="68" y="112"/>
                  </a:lnTo>
                  <a:lnTo>
                    <a:pt x="67" y="112"/>
                  </a:lnTo>
                  <a:lnTo>
                    <a:pt x="65" y="112"/>
                  </a:lnTo>
                  <a:lnTo>
                    <a:pt x="65" y="113"/>
                  </a:lnTo>
                  <a:lnTo>
                    <a:pt x="64" y="113"/>
                  </a:lnTo>
                  <a:lnTo>
                    <a:pt x="63" y="113"/>
                  </a:lnTo>
                  <a:lnTo>
                    <a:pt x="63" y="112"/>
                  </a:lnTo>
                  <a:lnTo>
                    <a:pt x="62" y="113"/>
                  </a:lnTo>
                  <a:lnTo>
                    <a:pt x="61" y="113"/>
                  </a:lnTo>
                  <a:lnTo>
                    <a:pt x="61" y="114"/>
                  </a:lnTo>
                  <a:lnTo>
                    <a:pt x="59" y="113"/>
                  </a:lnTo>
                  <a:lnTo>
                    <a:pt x="59" y="114"/>
                  </a:lnTo>
                  <a:lnTo>
                    <a:pt x="58" y="114"/>
                  </a:lnTo>
                  <a:lnTo>
                    <a:pt x="57" y="113"/>
                  </a:lnTo>
                  <a:lnTo>
                    <a:pt x="57" y="114"/>
                  </a:lnTo>
                  <a:lnTo>
                    <a:pt x="57" y="113"/>
                  </a:lnTo>
                  <a:lnTo>
                    <a:pt x="56" y="112"/>
                  </a:lnTo>
                  <a:lnTo>
                    <a:pt x="56" y="113"/>
                  </a:lnTo>
                  <a:lnTo>
                    <a:pt x="56" y="114"/>
                  </a:lnTo>
                  <a:lnTo>
                    <a:pt x="55" y="116"/>
                  </a:lnTo>
                  <a:lnTo>
                    <a:pt x="55" y="114"/>
                  </a:lnTo>
                  <a:lnTo>
                    <a:pt x="55" y="113"/>
                  </a:lnTo>
                  <a:lnTo>
                    <a:pt x="53" y="116"/>
                  </a:lnTo>
                  <a:lnTo>
                    <a:pt x="53" y="114"/>
                  </a:lnTo>
                  <a:lnTo>
                    <a:pt x="53" y="113"/>
                  </a:lnTo>
                  <a:lnTo>
                    <a:pt x="53" y="112"/>
                  </a:lnTo>
                  <a:lnTo>
                    <a:pt x="52" y="114"/>
                  </a:lnTo>
                  <a:lnTo>
                    <a:pt x="52" y="116"/>
                  </a:lnTo>
                  <a:lnTo>
                    <a:pt x="51" y="116"/>
                  </a:lnTo>
                  <a:lnTo>
                    <a:pt x="51" y="114"/>
                  </a:lnTo>
                  <a:lnTo>
                    <a:pt x="51" y="116"/>
                  </a:lnTo>
                  <a:lnTo>
                    <a:pt x="51" y="117"/>
                  </a:lnTo>
                  <a:lnTo>
                    <a:pt x="50" y="117"/>
                  </a:lnTo>
                  <a:lnTo>
                    <a:pt x="50" y="116"/>
                  </a:lnTo>
                  <a:lnTo>
                    <a:pt x="49" y="114"/>
                  </a:lnTo>
                  <a:lnTo>
                    <a:pt x="49" y="113"/>
                  </a:lnTo>
                  <a:lnTo>
                    <a:pt x="49" y="114"/>
                  </a:lnTo>
                  <a:lnTo>
                    <a:pt x="49" y="116"/>
                  </a:lnTo>
                  <a:lnTo>
                    <a:pt x="47" y="116"/>
                  </a:lnTo>
                  <a:lnTo>
                    <a:pt x="47" y="114"/>
                  </a:lnTo>
                  <a:lnTo>
                    <a:pt x="47" y="116"/>
                  </a:lnTo>
                  <a:lnTo>
                    <a:pt x="47" y="117"/>
                  </a:lnTo>
                  <a:lnTo>
                    <a:pt x="46" y="117"/>
                  </a:lnTo>
                  <a:lnTo>
                    <a:pt x="46" y="116"/>
                  </a:lnTo>
                  <a:lnTo>
                    <a:pt x="45" y="116"/>
                  </a:lnTo>
                  <a:lnTo>
                    <a:pt x="45" y="114"/>
                  </a:lnTo>
                  <a:lnTo>
                    <a:pt x="44" y="113"/>
                  </a:lnTo>
                  <a:lnTo>
                    <a:pt x="44" y="114"/>
                  </a:lnTo>
                  <a:lnTo>
                    <a:pt x="43" y="116"/>
                  </a:lnTo>
                  <a:lnTo>
                    <a:pt x="43" y="114"/>
                  </a:lnTo>
                  <a:lnTo>
                    <a:pt x="40" y="116"/>
                  </a:lnTo>
                  <a:lnTo>
                    <a:pt x="40" y="114"/>
                  </a:lnTo>
                  <a:lnTo>
                    <a:pt x="41" y="114"/>
                  </a:lnTo>
                  <a:lnTo>
                    <a:pt x="43" y="114"/>
                  </a:lnTo>
                  <a:lnTo>
                    <a:pt x="41" y="113"/>
                  </a:lnTo>
                  <a:lnTo>
                    <a:pt x="43" y="113"/>
                  </a:lnTo>
                  <a:lnTo>
                    <a:pt x="44" y="113"/>
                  </a:lnTo>
                  <a:lnTo>
                    <a:pt x="44" y="112"/>
                  </a:lnTo>
                  <a:lnTo>
                    <a:pt x="45" y="112"/>
                  </a:lnTo>
                  <a:lnTo>
                    <a:pt x="46" y="111"/>
                  </a:lnTo>
                  <a:lnTo>
                    <a:pt x="47" y="110"/>
                  </a:lnTo>
                  <a:lnTo>
                    <a:pt x="46" y="110"/>
                  </a:lnTo>
                  <a:lnTo>
                    <a:pt x="46" y="108"/>
                  </a:lnTo>
                  <a:lnTo>
                    <a:pt x="47" y="108"/>
                  </a:lnTo>
                  <a:lnTo>
                    <a:pt x="47" y="107"/>
                  </a:lnTo>
                  <a:lnTo>
                    <a:pt x="47" y="108"/>
                  </a:lnTo>
                  <a:lnTo>
                    <a:pt x="49" y="108"/>
                  </a:lnTo>
                  <a:lnTo>
                    <a:pt x="50" y="108"/>
                  </a:lnTo>
                  <a:lnTo>
                    <a:pt x="52" y="107"/>
                  </a:lnTo>
                  <a:lnTo>
                    <a:pt x="53" y="107"/>
                  </a:lnTo>
                  <a:lnTo>
                    <a:pt x="53" y="106"/>
                  </a:lnTo>
                  <a:lnTo>
                    <a:pt x="53" y="107"/>
                  </a:lnTo>
                  <a:lnTo>
                    <a:pt x="55" y="107"/>
                  </a:lnTo>
                  <a:lnTo>
                    <a:pt x="55" y="106"/>
                  </a:lnTo>
                  <a:lnTo>
                    <a:pt x="56" y="106"/>
                  </a:lnTo>
                  <a:lnTo>
                    <a:pt x="57" y="106"/>
                  </a:lnTo>
                  <a:lnTo>
                    <a:pt x="59" y="106"/>
                  </a:lnTo>
                  <a:lnTo>
                    <a:pt x="59" y="105"/>
                  </a:lnTo>
                  <a:lnTo>
                    <a:pt x="61" y="105"/>
                  </a:lnTo>
                  <a:lnTo>
                    <a:pt x="62" y="105"/>
                  </a:lnTo>
                  <a:lnTo>
                    <a:pt x="63" y="103"/>
                  </a:lnTo>
                  <a:lnTo>
                    <a:pt x="64" y="103"/>
                  </a:lnTo>
                  <a:lnTo>
                    <a:pt x="65" y="102"/>
                  </a:lnTo>
                  <a:lnTo>
                    <a:pt x="67" y="102"/>
                  </a:lnTo>
                  <a:lnTo>
                    <a:pt x="68" y="102"/>
                  </a:lnTo>
                  <a:lnTo>
                    <a:pt x="69" y="102"/>
                  </a:lnTo>
                  <a:lnTo>
                    <a:pt x="71" y="102"/>
                  </a:lnTo>
                  <a:lnTo>
                    <a:pt x="73" y="102"/>
                  </a:lnTo>
                  <a:lnTo>
                    <a:pt x="74" y="101"/>
                  </a:lnTo>
                  <a:lnTo>
                    <a:pt x="75" y="101"/>
                  </a:lnTo>
                  <a:lnTo>
                    <a:pt x="76" y="101"/>
                  </a:lnTo>
                  <a:lnTo>
                    <a:pt x="79" y="101"/>
                  </a:lnTo>
                  <a:lnTo>
                    <a:pt x="80" y="100"/>
                  </a:lnTo>
                  <a:lnTo>
                    <a:pt x="81" y="101"/>
                  </a:lnTo>
                  <a:lnTo>
                    <a:pt x="82" y="101"/>
                  </a:lnTo>
                  <a:lnTo>
                    <a:pt x="82" y="100"/>
                  </a:lnTo>
                  <a:lnTo>
                    <a:pt x="83" y="100"/>
                  </a:lnTo>
                  <a:lnTo>
                    <a:pt x="85" y="100"/>
                  </a:lnTo>
                  <a:lnTo>
                    <a:pt x="86" y="100"/>
                  </a:lnTo>
                  <a:lnTo>
                    <a:pt x="87" y="100"/>
                  </a:lnTo>
                  <a:lnTo>
                    <a:pt x="88" y="100"/>
                  </a:lnTo>
                  <a:lnTo>
                    <a:pt x="88" y="99"/>
                  </a:lnTo>
                  <a:lnTo>
                    <a:pt x="89" y="99"/>
                  </a:lnTo>
                  <a:lnTo>
                    <a:pt x="89" y="97"/>
                  </a:lnTo>
                  <a:lnTo>
                    <a:pt x="91" y="97"/>
                  </a:lnTo>
                  <a:lnTo>
                    <a:pt x="92" y="97"/>
                  </a:lnTo>
                  <a:lnTo>
                    <a:pt x="92" y="96"/>
                  </a:lnTo>
                  <a:lnTo>
                    <a:pt x="93" y="95"/>
                  </a:lnTo>
                  <a:lnTo>
                    <a:pt x="94" y="95"/>
                  </a:lnTo>
                  <a:lnTo>
                    <a:pt x="94" y="93"/>
                  </a:lnTo>
                  <a:lnTo>
                    <a:pt x="94" y="91"/>
                  </a:lnTo>
                  <a:lnTo>
                    <a:pt x="93" y="93"/>
                  </a:lnTo>
                  <a:lnTo>
                    <a:pt x="93" y="91"/>
                  </a:lnTo>
                  <a:lnTo>
                    <a:pt x="93" y="90"/>
                  </a:lnTo>
                  <a:lnTo>
                    <a:pt x="92" y="91"/>
                  </a:lnTo>
                  <a:lnTo>
                    <a:pt x="93" y="93"/>
                  </a:lnTo>
                  <a:lnTo>
                    <a:pt x="93" y="94"/>
                  </a:lnTo>
                  <a:lnTo>
                    <a:pt x="93" y="95"/>
                  </a:lnTo>
                  <a:lnTo>
                    <a:pt x="92" y="95"/>
                  </a:lnTo>
                  <a:lnTo>
                    <a:pt x="92" y="96"/>
                  </a:lnTo>
                  <a:lnTo>
                    <a:pt x="91" y="97"/>
                  </a:lnTo>
                  <a:lnTo>
                    <a:pt x="91" y="96"/>
                  </a:lnTo>
                  <a:lnTo>
                    <a:pt x="89" y="97"/>
                  </a:lnTo>
                  <a:lnTo>
                    <a:pt x="88" y="97"/>
                  </a:lnTo>
                  <a:lnTo>
                    <a:pt x="89" y="96"/>
                  </a:lnTo>
                  <a:lnTo>
                    <a:pt x="89" y="95"/>
                  </a:lnTo>
                  <a:lnTo>
                    <a:pt x="89" y="94"/>
                  </a:lnTo>
                  <a:lnTo>
                    <a:pt x="89" y="93"/>
                  </a:lnTo>
                  <a:lnTo>
                    <a:pt x="89" y="91"/>
                  </a:lnTo>
                  <a:lnTo>
                    <a:pt x="88" y="93"/>
                  </a:lnTo>
                  <a:lnTo>
                    <a:pt x="89" y="93"/>
                  </a:lnTo>
                  <a:lnTo>
                    <a:pt x="88" y="93"/>
                  </a:lnTo>
                  <a:lnTo>
                    <a:pt x="88" y="94"/>
                  </a:lnTo>
                  <a:lnTo>
                    <a:pt x="88" y="93"/>
                  </a:lnTo>
                  <a:lnTo>
                    <a:pt x="87" y="93"/>
                  </a:lnTo>
                  <a:lnTo>
                    <a:pt x="87" y="94"/>
                  </a:lnTo>
                  <a:lnTo>
                    <a:pt x="87" y="95"/>
                  </a:lnTo>
                  <a:lnTo>
                    <a:pt x="86" y="95"/>
                  </a:lnTo>
                  <a:lnTo>
                    <a:pt x="86" y="94"/>
                  </a:lnTo>
                  <a:lnTo>
                    <a:pt x="86" y="95"/>
                  </a:lnTo>
                  <a:lnTo>
                    <a:pt x="85" y="95"/>
                  </a:lnTo>
                  <a:lnTo>
                    <a:pt x="85" y="96"/>
                  </a:lnTo>
                  <a:lnTo>
                    <a:pt x="85" y="95"/>
                  </a:lnTo>
                  <a:lnTo>
                    <a:pt x="83" y="95"/>
                  </a:lnTo>
                  <a:lnTo>
                    <a:pt x="85" y="96"/>
                  </a:lnTo>
                  <a:lnTo>
                    <a:pt x="85" y="97"/>
                  </a:lnTo>
                  <a:lnTo>
                    <a:pt x="83" y="97"/>
                  </a:lnTo>
                  <a:lnTo>
                    <a:pt x="83" y="96"/>
                  </a:lnTo>
                  <a:lnTo>
                    <a:pt x="83" y="95"/>
                  </a:lnTo>
                  <a:lnTo>
                    <a:pt x="83" y="96"/>
                  </a:lnTo>
                  <a:lnTo>
                    <a:pt x="83" y="97"/>
                  </a:lnTo>
                  <a:lnTo>
                    <a:pt x="82" y="97"/>
                  </a:lnTo>
                  <a:lnTo>
                    <a:pt x="82" y="99"/>
                  </a:lnTo>
                  <a:lnTo>
                    <a:pt x="82" y="97"/>
                  </a:lnTo>
                  <a:lnTo>
                    <a:pt x="81" y="97"/>
                  </a:lnTo>
                  <a:lnTo>
                    <a:pt x="81" y="96"/>
                  </a:lnTo>
                  <a:lnTo>
                    <a:pt x="80" y="96"/>
                  </a:lnTo>
                  <a:lnTo>
                    <a:pt x="81" y="95"/>
                  </a:lnTo>
                  <a:lnTo>
                    <a:pt x="81" y="94"/>
                  </a:lnTo>
                  <a:lnTo>
                    <a:pt x="81" y="95"/>
                  </a:lnTo>
                  <a:lnTo>
                    <a:pt x="80" y="94"/>
                  </a:lnTo>
                  <a:lnTo>
                    <a:pt x="80" y="93"/>
                  </a:lnTo>
                  <a:lnTo>
                    <a:pt x="79" y="94"/>
                  </a:lnTo>
                  <a:lnTo>
                    <a:pt x="79" y="93"/>
                  </a:lnTo>
                  <a:lnTo>
                    <a:pt x="79" y="91"/>
                  </a:lnTo>
                  <a:lnTo>
                    <a:pt x="77" y="91"/>
                  </a:lnTo>
                  <a:lnTo>
                    <a:pt x="77" y="88"/>
                  </a:lnTo>
                  <a:lnTo>
                    <a:pt x="77" y="87"/>
                  </a:lnTo>
                  <a:lnTo>
                    <a:pt x="77" y="88"/>
                  </a:lnTo>
                  <a:lnTo>
                    <a:pt x="76" y="88"/>
                  </a:lnTo>
                  <a:lnTo>
                    <a:pt x="76" y="87"/>
                  </a:lnTo>
                  <a:lnTo>
                    <a:pt x="75" y="87"/>
                  </a:lnTo>
                  <a:lnTo>
                    <a:pt x="75" y="88"/>
                  </a:lnTo>
                  <a:lnTo>
                    <a:pt x="75" y="89"/>
                  </a:lnTo>
                  <a:lnTo>
                    <a:pt x="74" y="89"/>
                  </a:lnTo>
                  <a:lnTo>
                    <a:pt x="74" y="88"/>
                  </a:lnTo>
                  <a:lnTo>
                    <a:pt x="74" y="87"/>
                  </a:lnTo>
                  <a:lnTo>
                    <a:pt x="74" y="85"/>
                  </a:lnTo>
                  <a:lnTo>
                    <a:pt x="73" y="85"/>
                  </a:lnTo>
                  <a:lnTo>
                    <a:pt x="73" y="84"/>
                  </a:lnTo>
                  <a:lnTo>
                    <a:pt x="74" y="83"/>
                  </a:lnTo>
                  <a:lnTo>
                    <a:pt x="74" y="82"/>
                  </a:lnTo>
                  <a:lnTo>
                    <a:pt x="73" y="82"/>
                  </a:lnTo>
                  <a:lnTo>
                    <a:pt x="73" y="83"/>
                  </a:lnTo>
                  <a:lnTo>
                    <a:pt x="71" y="83"/>
                  </a:lnTo>
                  <a:lnTo>
                    <a:pt x="70" y="82"/>
                  </a:lnTo>
                  <a:lnTo>
                    <a:pt x="70" y="84"/>
                  </a:lnTo>
                  <a:lnTo>
                    <a:pt x="70" y="83"/>
                  </a:lnTo>
                  <a:lnTo>
                    <a:pt x="70" y="82"/>
                  </a:lnTo>
                  <a:lnTo>
                    <a:pt x="69" y="81"/>
                  </a:lnTo>
                  <a:lnTo>
                    <a:pt x="69" y="79"/>
                  </a:lnTo>
                  <a:lnTo>
                    <a:pt x="69" y="78"/>
                  </a:lnTo>
                  <a:lnTo>
                    <a:pt x="68" y="78"/>
                  </a:lnTo>
                  <a:lnTo>
                    <a:pt x="68" y="79"/>
                  </a:lnTo>
                  <a:lnTo>
                    <a:pt x="67" y="79"/>
                  </a:lnTo>
                  <a:lnTo>
                    <a:pt x="67" y="78"/>
                  </a:lnTo>
                  <a:lnTo>
                    <a:pt x="67" y="77"/>
                  </a:lnTo>
                  <a:lnTo>
                    <a:pt x="67" y="76"/>
                  </a:lnTo>
                  <a:lnTo>
                    <a:pt x="65" y="76"/>
                  </a:lnTo>
                  <a:lnTo>
                    <a:pt x="67" y="76"/>
                  </a:lnTo>
                  <a:lnTo>
                    <a:pt x="67" y="75"/>
                  </a:lnTo>
                  <a:lnTo>
                    <a:pt x="68" y="75"/>
                  </a:lnTo>
                  <a:lnTo>
                    <a:pt x="68" y="73"/>
                  </a:lnTo>
                  <a:lnTo>
                    <a:pt x="67" y="73"/>
                  </a:lnTo>
                  <a:lnTo>
                    <a:pt x="65" y="75"/>
                  </a:lnTo>
                  <a:lnTo>
                    <a:pt x="65" y="76"/>
                  </a:lnTo>
                  <a:lnTo>
                    <a:pt x="65" y="75"/>
                  </a:lnTo>
                  <a:lnTo>
                    <a:pt x="65" y="76"/>
                  </a:lnTo>
                  <a:lnTo>
                    <a:pt x="65" y="75"/>
                  </a:lnTo>
                  <a:lnTo>
                    <a:pt x="65" y="73"/>
                  </a:lnTo>
                  <a:lnTo>
                    <a:pt x="64" y="73"/>
                  </a:lnTo>
                  <a:lnTo>
                    <a:pt x="65" y="73"/>
                  </a:lnTo>
                  <a:lnTo>
                    <a:pt x="65" y="72"/>
                  </a:lnTo>
                  <a:lnTo>
                    <a:pt x="67" y="72"/>
                  </a:lnTo>
                  <a:lnTo>
                    <a:pt x="65" y="72"/>
                  </a:lnTo>
                  <a:lnTo>
                    <a:pt x="64" y="72"/>
                  </a:lnTo>
                  <a:lnTo>
                    <a:pt x="65" y="72"/>
                  </a:lnTo>
                  <a:lnTo>
                    <a:pt x="65" y="71"/>
                  </a:lnTo>
                  <a:lnTo>
                    <a:pt x="64" y="71"/>
                  </a:lnTo>
                  <a:lnTo>
                    <a:pt x="63" y="71"/>
                  </a:lnTo>
                  <a:lnTo>
                    <a:pt x="63" y="70"/>
                  </a:lnTo>
                  <a:lnTo>
                    <a:pt x="62" y="70"/>
                  </a:lnTo>
                  <a:lnTo>
                    <a:pt x="62" y="71"/>
                  </a:lnTo>
                  <a:lnTo>
                    <a:pt x="62" y="70"/>
                  </a:lnTo>
                  <a:lnTo>
                    <a:pt x="61" y="70"/>
                  </a:lnTo>
                  <a:lnTo>
                    <a:pt x="61" y="69"/>
                  </a:lnTo>
                  <a:lnTo>
                    <a:pt x="63" y="69"/>
                  </a:lnTo>
                  <a:lnTo>
                    <a:pt x="64" y="70"/>
                  </a:lnTo>
                  <a:lnTo>
                    <a:pt x="65" y="70"/>
                  </a:lnTo>
                  <a:lnTo>
                    <a:pt x="67" y="70"/>
                  </a:lnTo>
                  <a:lnTo>
                    <a:pt x="67" y="71"/>
                  </a:lnTo>
                  <a:lnTo>
                    <a:pt x="68" y="71"/>
                  </a:lnTo>
                  <a:lnTo>
                    <a:pt x="69" y="71"/>
                  </a:lnTo>
                  <a:lnTo>
                    <a:pt x="69" y="70"/>
                  </a:lnTo>
                  <a:lnTo>
                    <a:pt x="68" y="70"/>
                  </a:lnTo>
                  <a:lnTo>
                    <a:pt x="68" y="69"/>
                  </a:lnTo>
                  <a:lnTo>
                    <a:pt x="67" y="69"/>
                  </a:lnTo>
                  <a:lnTo>
                    <a:pt x="65" y="69"/>
                  </a:lnTo>
                  <a:lnTo>
                    <a:pt x="64" y="69"/>
                  </a:lnTo>
                  <a:lnTo>
                    <a:pt x="65" y="67"/>
                  </a:lnTo>
                  <a:lnTo>
                    <a:pt x="64" y="67"/>
                  </a:lnTo>
                  <a:lnTo>
                    <a:pt x="65" y="67"/>
                  </a:lnTo>
                  <a:lnTo>
                    <a:pt x="67" y="67"/>
                  </a:lnTo>
                  <a:lnTo>
                    <a:pt x="68" y="67"/>
                  </a:lnTo>
                  <a:lnTo>
                    <a:pt x="68" y="69"/>
                  </a:lnTo>
                  <a:lnTo>
                    <a:pt x="69" y="70"/>
                  </a:lnTo>
                  <a:lnTo>
                    <a:pt x="69" y="69"/>
                  </a:lnTo>
                  <a:lnTo>
                    <a:pt x="68" y="69"/>
                  </a:lnTo>
                  <a:lnTo>
                    <a:pt x="69" y="69"/>
                  </a:lnTo>
                  <a:lnTo>
                    <a:pt x="69" y="67"/>
                  </a:lnTo>
                  <a:lnTo>
                    <a:pt x="70" y="67"/>
                  </a:lnTo>
                  <a:lnTo>
                    <a:pt x="70" y="69"/>
                  </a:lnTo>
                  <a:lnTo>
                    <a:pt x="70" y="70"/>
                  </a:lnTo>
                  <a:lnTo>
                    <a:pt x="71" y="71"/>
                  </a:lnTo>
                  <a:lnTo>
                    <a:pt x="73" y="71"/>
                  </a:lnTo>
                  <a:lnTo>
                    <a:pt x="73" y="70"/>
                  </a:lnTo>
                  <a:lnTo>
                    <a:pt x="74" y="70"/>
                  </a:lnTo>
                  <a:lnTo>
                    <a:pt x="75" y="70"/>
                  </a:lnTo>
                  <a:lnTo>
                    <a:pt x="75" y="69"/>
                  </a:lnTo>
                  <a:lnTo>
                    <a:pt x="74" y="69"/>
                  </a:lnTo>
                  <a:lnTo>
                    <a:pt x="74" y="67"/>
                  </a:lnTo>
                  <a:lnTo>
                    <a:pt x="73" y="67"/>
                  </a:lnTo>
                  <a:lnTo>
                    <a:pt x="71" y="67"/>
                  </a:lnTo>
                  <a:lnTo>
                    <a:pt x="71" y="66"/>
                  </a:lnTo>
                  <a:lnTo>
                    <a:pt x="70" y="66"/>
                  </a:lnTo>
                  <a:lnTo>
                    <a:pt x="71" y="66"/>
                  </a:lnTo>
                  <a:lnTo>
                    <a:pt x="71" y="65"/>
                  </a:lnTo>
                  <a:lnTo>
                    <a:pt x="71" y="64"/>
                  </a:lnTo>
                  <a:lnTo>
                    <a:pt x="73" y="65"/>
                  </a:lnTo>
                  <a:lnTo>
                    <a:pt x="74" y="65"/>
                  </a:lnTo>
                  <a:lnTo>
                    <a:pt x="74" y="66"/>
                  </a:lnTo>
                  <a:lnTo>
                    <a:pt x="75" y="66"/>
                  </a:lnTo>
                  <a:lnTo>
                    <a:pt x="75" y="65"/>
                  </a:lnTo>
                  <a:lnTo>
                    <a:pt x="75" y="66"/>
                  </a:lnTo>
                  <a:lnTo>
                    <a:pt x="76" y="66"/>
                  </a:lnTo>
                  <a:lnTo>
                    <a:pt x="77" y="67"/>
                  </a:lnTo>
                  <a:lnTo>
                    <a:pt x="79" y="66"/>
                  </a:lnTo>
                  <a:lnTo>
                    <a:pt x="80" y="66"/>
                  </a:lnTo>
                  <a:lnTo>
                    <a:pt x="80" y="65"/>
                  </a:lnTo>
                  <a:lnTo>
                    <a:pt x="81" y="65"/>
                  </a:lnTo>
                  <a:lnTo>
                    <a:pt x="80" y="64"/>
                  </a:lnTo>
                  <a:lnTo>
                    <a:pt x="81" y="64"/>
                  </a:lnTo>
                  <a:lnTo>
                    <a:pt x="80" y="64"/>
                  </a:lnTo>
                  <a:lnTo>
                    <a:pt x="80" y="63"/>
                  </a:lnTo>
                  <a:lnTo>
                    <a:pt x="81" y="63"/>
                  </a:lnTo>
                  <a:lnTo>
                    <a:pt x="81" y="61"/>
                  </a:lnTo>
                  <a:lnTo>
                    <a:pt x="80" y="61"/>
                  </a:lnTo>
                  <a:lnTo>
                    <a:pt x="80" y="63"/>
                  </a:lnTo>
                  <a:lnTo>
                    <a:pt x="80" y="61"/>
                  </a:lnTo>
                  <a:lnTo>
                    <a:pt x="79" y="61"/>
                  </a:lnTo>
                  <a:lnTo>
                    <a:pt x="80" y="61"/>
                  </a:lnTo>
                  <a:lnTo>
                    <a:pt x="79" y="61"/>
                  </a:lnTo>
                  <a:lnTo>
                    <a:pt x="77" y="61"/>
                  </a:lnTo>
                  <a:lnTo>
                    <a:pt x="77" y="60"/>
                  </a:lnTo>
                  <a:lnTo>
                    <a:pt x="77" y="59"/>
                  </a:lnTo>
                  <a:lnTo>
                    <a:pt x="76" y="59"/>
                  </a:lnTo>
                  <a:lnTo>
                    <a:pt x="76" y="60"/>
                  </a:lnTo>
                  <a:lnTo>
                    <a:pt x="75" y="60"/>
                  </a:lnTo>
                  <a:lnTo>
                    <a:pt x="75" y="59"/>
                  </a:lnTo>
                  <a:lnTo>
                    <a:pt x="75" y="58"/>
                  </a:lnTo>
                  <a:lnTo>
                    <a:pt x="74" y="58"/>
                  </a:lnTo>
                  <a:lnTo>
                    <a:pt x="74" y="57"/>
                  </a:lnTo>
                  <a:lnTo>
                    <a:pt x="74" y="58"/>
                  </a:lnTo>
                  <a:lnTo>
                    <a:pt x="74" y="57"/>
                  </a:lnTo>
                  <a:lnTo>
                    <a:pt x="74" y="55"/>
                  </a:lnTo>
                  <a:lnTo>
                    <a:pt x="74" y="57"/>
                  </a:lnTo>
                  <a:lnTo>
                    <a:pt x="73" y="57"/>
                  </a:lnTo>
                  <a:lnTo>
                    <a:pt x="71" y="57"/>
                  </a:lnTo>
                  <a:lnTo>
                    <a:pt x="73" y="57"/>
                  </a:lnTo>
                  <a:lnTo>
                    <a:pt x="73" y="55"/>
                  </a:lnTo>
                  <a:lnTo>
                    <a:pt x="74" y="55"/>
                  </a:lnTo>
                  <a:lnTo>
                    <a:pt x="74" y="54"/>
                  </a:lnTo>
                  <a:lnTo>
                    <a:pt x="73" y="54"/>
                  </a:lnTo>
                  <a:lnTo>
                    <a:pt x="71" y="55"/>
                  </a:lnTo>
                  <a:lnTo>
                    <a:pt x="73" y="54"/>
                  </a:lnTo>
                  <a:lnTo>
                    <a:pt x="71" y="53"/>
                  </a:lnTo>
                  <a:lnTo>
                    <a:pt x="70" y="54"/>
                  </a:lnTo>
                  <a:lnTo>
                    <a:pt x="71" y="53"/>
                  </a:lnTo>
                  <a:lnTo>
                    <a:pt x="70" y="53"/>
                  </a:lnTo>
                  <a:lnTo>
                    <a:pt x="69" y="53"/>
                  </a:lnTo>
                  <a:lnTo>
                    <a:pt x="69" y="52"/>
                  </a:lnTo>
                  <a:lnTo>
                    <a:pt x="68" y="52"/>
                  </a:lnTo>
                  <a:lnTo>
                    <a:pt x="68" y="51"/>
                  </a:lnTo>
                  <a:lnTo>
                    <a:pt x="67" y="51"/>
                  </a:lnTo>
                  <a:lnTo>
                    <a:pt x="65" y="51"/>
                  </a:lnTo>
                  <a:lnTo>
                    <a:pt x="67" y="51"/>
                  </a:lnTo>
                  <a:lnTo>
                    <a:pt x="67" y="49"/>
                  </a:lnTo>
                  <a:lnTo>
                    <a:pt x="65" y="49"/>
                  </a:lnTo>
                  <a:lnTo>
                    <a:pt x="67" y="49"/>
                  </a:lnTo>
                  <a:lnTo>
                    <a:pt x="68" y="51"/>
                  </a:lnTo>
                  <a:lnTo>
                    <a:pt x="69" y="51"/>
                  </a:lnTo>
                  <a:lnTo>
                    <a:pt x="69" y="52"/>
                  </a:lnTo>
                  <a:lnTo>
                    <a:pt x="70" y="52"/>
                  </a:lnTo>
                  <a:lnTo>
                    <a:pt x="71" y="52"/>
                  </a:lnTo>
                  <a:lnTo>
                    <a:pt x="71" y="51"/>
                  </a:lnTo>
                  <a:lnTo>
                    <a:pt x="71" y="52"/>
                  </a:lnTo>
                  <a:lnTo>
                    <a:pt x="71" y="53"/>
                  </a:lnTo>
                  <a:lnTo>
                    <a:pt x="73" y="53"/>
                  </a:lnTo>
                  <a:lnTo>
                    <a:pt x="73" y="52"/>
                  </a:lnTo>
                  <a:lnTo>
                    <a:pt x="73" y="53"/>
                  </a:lnTo>
                  <a:lnTo>
                    <a:pt x="74" y="53"/>
                  </a:lnTo>
                  <a:lnTo>
                    <a:pt x="75" y="54"/>
                  </a:lnTo>
                  <a:lnTo>
                    <a:pt x="75" y="53"/>
                  </a:lnTo>
                  <a:lnTo>
                    <a:pt x="75" y="54"/>
                  </a:lnTo>
                  <a:lnTo>
                    <a:pt x="77" y="55"/>
                  </a:lnTo>
                  <a:lnTo>
                    <a:pt x="79" y="55"/>
                  </a:lnTo>
                  <a:lnTo>
                    <a:pt x="79" y="57"/>
                  </a:lnTo>
                  <a:lnTo>
                    <a:pt x="80" y="57"/>
                  </a:lnTo>
                  <a:lnTo>
                    <a:pt x="81" y="57"/>
                  </a:lnTo>
                  <a:lnTo>
                    <a:pt x="82" y="57"/>
                  </a:lnTo>
                  <a:lnTo>
                    <a:pt x="83" y="57"/>
                  </a:lnTo>
                  <a:lnTo>
                    <a:pt x="85" y="55"/>
                  </a:lnTo>
                  <a:lnTo>
                    <a:pt x="86" y="55"/>
                  </a:lnTo>
                  <a:lnTo>
                    <a:pt x="87" y="55"/>
                  </a:lnTo>
                  <a:lnTo>
                    <a:pt x="87" y="54"/>
                  </a:lnTo>
                  <a:lnTo>
                    <a:pt x="86" y="54"/>
                  </a:lnTo>
                  <a:lnTo>
                    <a:pt x="85" y="54"/>
                  </a:lnTo>
                  <a:lnTo>
                    <a:pt x="86" y="54"/>
                  </a:lnTo>
                  <a:lnTo>
                    <a:pt x="87" y="53"/>
                  </a:lnTo>
                  <a:lnTo>
                    <a:pt x="87" y="52"/>
                  </a:lnTo>
                  <a:lnTo>
                    <a:pt x="86" y="52"/>
                  </a:lnTo>
                  <a:lnTo>
                    <a:pt x="86" y="51"/>
                  </a:lnTo>
                  <a:lnTo>
                    <a:pt x="87" y="51"/>
                  </a:lnTo>
                  <a:lnTo>
                    <a:pt x="88" y="52"/>
                  </a:lnTo>
                  <a:lnTo>
                    <a:pt x="89" y="49"/>
                  </a:lnTo>
                  <a:lnTo>
                    <a:pt x="91" y="49"/>
                  </a:lnTo>
                  <a:lnTo>
                    <a:pt x="91" y="48"/>
                  </a:lnTo>
                  <a:lnTo>
                    <a:pt x="92" y="48"/>
                  </a:lnTo>
                  <a:lnTo>
                    <a:pt x="93" y="47"/>
                  </a:lnTo>
                  <a:lnTo>
                    <a:pt x="93" y="46"/>
                  </a:lnTo>
                  <a:lnTo>
                    <a:pt x="92" y="46"/>
                  </a:lnTo>
                  <a:lnTo>
                    <a:pt x="93" y="46"/>
                  </a:lnTo>
                  <a:lnTo>
                    <a:pt x="93" y="45"/>
                  </a:lnTo>
                  <a:lnTo>
                    <a:pt x="92" y="45"/>
                  </a:lnTo>
                  <a:lnTo>
                    <a:pt x="91" y="45"/>
                  </a:lnTo>
                  <a:lnTo>
                    <a:pt x="91" y="46"/>
                  </a:lnTo>
                  <a:lnTo>
                    <a:pt x="91" y="45"/>
                  </a:lnTo>
                  <a:lnTo>
                    <a:pt x="91" y="46"/>
                  </a:lnTo>
                  <a:lnTo>
                    <a:pt x="89" y="46"/>
                  </a:lnTo>
                  <a:lnTo>
                    <a:pt x="89" y="45"/>
                  </a:lnTo>
                  <a:lnTo>
                    <a:pt x="88" y="46"/>
                  </a:lnTo>
                  <a:lnTo>
                    <a:pt x="89" y="45"/>
                  </a:lnTo>
                  <a:lnTo>
                    <a:pt x="88" y="45"/>
                  </a:lnTo>
                  <a:lnTo>
                    <a:pt x="87" y="45"/>
                  </a:lnTo>
                  <a:lnTo>
                    <a:pt x="87" y="43"/>
                  </a:lnTo>
                  <a:lnTo>
                    <a:pt x="87" y="42"/>
                  </a:lnTo>
                  <a:lnTo>
                    <a:pt x="87" y="41"/>
                  </a:lnTo>
                  <a:lnTo>
                    <a:pt x="88" y="42"/>
                  </a:lnTo>
                  <a:lnTo>
                    <a:pt x="88" y="41"/>
                  </a:lnTo>
                  <a:lnTo>
                    <a:pt x="87" y="41"/>
                  </a:lnTo>
                  <a:lnTo>
                    <a:pt x="87" y="40"/>
                  </a:lnTo>
                  <a:lnTo>
                    <a:pt x="86" y="41"/>
                  </a:lnTo>
                  <a:lnTo>
                    <a:pt x="86" y="40"/>
                  </a:lnTo>
                  <a:lnTo>
                    <a:pt x="87" y="40"/>
                  </a:lnTo>
                  <a:lnTo>
                    <a:pt x="86" y="40"/>
                  </a:lnTo>
                  <a:lnTo>
                    <a:pt x="86" y="37"/>
                  </a:lnTo>
                  <a:lnTo>
                    <a:pt x="86" y="39"/>
                  </a:lnTo>
                  <a:lnTo>
                    <a:pt x="85" y="39"/>
                  </a:lnTo>
                  <a:lnTo>
                    <a:pt x="85" y="40"/>
                  </a:lnTo>
                  <a:lnTo>
                    <a:pt x="85" y="39"/>
                  </a:lnTo>
                  <a:lnTo>
                    <a:pt x="83" y="39"/>
                  </a:lnTo>
                  <a:lnTo>
                    <a:pt x="85" y="39"/>
                  </a:lnTo>
                  <a:lnTo>
                    <a:pt x="85" y="37"/>
                  </a:lnTo>
                  <a:lnTo>
                    <a:pt x="83" y="37"/>
                  </a:lnTo>
                  <a:lnTo>
                    <a:pt x="85" y="37"/>
                  </a:lnTo>
                  <a:lnTo>
                    <a:pt x="86" y="37"/>
                  </a:lnTo>
                  <a:lnTo>
                    <a:pt x="86" y="36"/>
                  </a:lnTo>
                  <a:lnTo>
                    <a:pt x="85" y="36"/>
                  </a:lnTo>
                  <a:lnTo>
                    <a:pt x="83" y="36"/>
                  </a:lnTo>
                  <a:lnTo>
                    <a:pt x="85" y="36"/>
                  </a:lnTo>
                  <a:lnTo>
                    <a:pt x="83" y="36"/>
                  </a:lnTo>
                  <a:lnTo>
                    <a:pt x="82" y="36"/>
                  </a:lnTo>
                  <a:lnTo>
                    <a:pt x="83" y="35"/>
                  </a:lnTo>
                  <a:lnTo>
                    <a:pt x="82" y="35"/>
                  </a:lnTo>
                  <a:lnTo>
                    <a:pt x="83" y="35"/>
                  </a:lnTo>
                  <a:lnTo>
                    <a:pt x="82" y="35"/>
                  </a:lnTo>
                  <a:lnTo>
                    <a:pt x="81" y="35"/>
                  </a:lnTo>
                  <a:lnTo>
                    <a:pt x="80" y="35"/>
                  </a:lnTo>
                  <a:lnTo>
                    <a:pt x="80" y="34"/>
                  </a:lnTo>
                  <a:lnTo>
                    <a:pt x="81" y="34"/>
                  </a:lnTo>
                  <a:lnTo>
                    <a:pt x="82" y="34"/>
                  </a:lnTo>
                  <a:lnTo>
                    <a:pt x="81" y="33"/>
                  </a:lnTo>
                  <a:lnTo>
                    <a:pt x="81" y="34"/>
                  </a:lnTo>
                  <a:lnTo>
                    <a:pt x="80" y="34"/>
                  </a:lnTo>
                  <a:lnTo>
                    <a:pt x="80" y="33"/>
                  </a:lnTo>
                  <a:lnTo>
                    <a:pt x="79" y="33"/>
                  </a:lnTo>
                  <a:lnTo>
                    <a:pt x="79" y="34"/>
                  </a:lnTo>
                  <a:lnTo>
                    <a:pt x="79" y="33"/>
                  </a:lnTo>
                  <a:lnTo>
                    <a:pt x="77" y="33"/>
                  </a:lnTo>
                  <a:lnTo>
                    <a:pt x="76" y="33"/>
                  </a:lnTo>
                  <a:lnTo>
                    <a:pt x="77" y="33"/>
                  </a:lnTo>
                  <a:lnTo>
                    <a:pt x="77" y="31"/>
                  </a:lnTo>
                  <a:lnTo>
                    <a:pt x="75" y="30"/>
                  </a:lnTo>
                  <a:lnTo>
                    <a:pt x="76" y="30"/>
                  </a:lnTo>
                  <a:lnTo>
                    <a:pt x="77" y="31"/>
                  </a:lnTo>
                  <a:lnTo>
                    <a:pt x="79" y="31"/>
                  </a:lnTo>
                  <a:lnTo>
                    <a:pt x="77" y="30"/>
                  </a:lnTo>
                  <a:lnTo>
                    <a:pt x="79" y="31"/>
                  </a:lnTo>
                  <a:lnTo>
                    <a:pt x="80" y="31"/>
                  </a:lnTo>
                  <a:lnTo>
                    <a:pt x="80" y="33"/>
                  </a:lnTo>
                  <a:lnTo>
                    <a:pt x="81" y="31"/>
                  </a:lnTo>
                  <a:lnTo>
                    <a:pt x="81" y="33"/>
                  </a:lnTo>
                  <a:lnTo>
                    <a:pt x="82" y="33"/>
                  </a:lnTo>
                  <a:lnTo>
                    <a:pt x="81" y="33"/>
                  </a:lnTo>
                  <a:lnTo>
                    <a:pt x="82" y="33"/>
                  </a:lnTo>
                  <a:lnTo>
                    <a:pt x="82" y="31"/>
                  </a:lnTo>
                  <a:lnTo>
                    <a:pt x="82" y="33"/>
                  </a:lnTo>
                  <a:lnTo>
                    <a:pt x="83" y="33"/>
                  </a:lnTo>
                  <a:lnTo>
                    <a:pt x="83" y="34"/>
                  </a:lnTo>
                  <a:lnTo>
                    <a:pt x="85" y="35"/>
                  </a:lnTo>
                  <a:lnTo>
                    <a:pt x="85" y="34"/>
                  </a:lnTo>
                  <a:lnTo>
                    <a:pt x="85" y="35"/>
                  </a:lnTo>
                  <a:lnTo>
                    <a:pt x="86" y="35"/>
                  </a:lnTo>
                  <a:lnTo>
                    <a:pt x="86" y="36"/>
                  </a:lnTo>
                  <a:lnTo>
                    <a:pt x="87" y="36"/>
                  </a:lnTo>
                  <a:lnTo>
                    <a:pt x="87" y="35"/>
                  </a:lnTo>
                  <a:lnTo>
                    <a:pt x="87" y="36"/>
                  </a:lnTo>
                  <a:lnTo>
                    <a:pt x="86" y="36"/>
                  </a:lnTo>
                  <a:lnTo>
                    <a:pt x="87" y="35"/>
                  </a:lnTo>
                  <a:lnTo>
                    <a:pt x="87" y="34"/>
                  </a:lnTo>
                  <a:lnTo>
                    <a:pt x="87" y="35"/>
                  </a:lnTo>
                  <a:lnTo>
                    <a:pt x="88" y="35"/>
                  </a:lnTo>
                  <a:lnTo>
                    <a:pt x="88" y="34"/>
                  </a:lnTo>
                  <a:lnTo>
                    <a:pt x="88" y="35"/>
                  </a:lnTo>
                  <a:lnTo>
                    <a:pt x="88" y="36"/>
                  </a:lnTo>
                  <a:lnTo>
                    <a:pt x="87" y="36"/>
                  </a:lnTo>
                  <a:lnTo>
                    <a:pt x="87" y="37"/>
                  </a:lnTo>
                  <a:lnTo>
                    <a:pt x="88" y="37"/>
                  </a:lnTo>
                  <a:lnTo>
                    <a:pt x="88" y="39"/>
                  </a:lnTo>
                  <a:lnTo>
                    <a:pt x="89" y="39"/>
                  </a:lnTo>
                  <a:lnTo>
                    <a:pt x="91" y="40"/>
                  </a:lnTo>
                  <a:lnTo>
                    <a:pt x="92" y="40"/>
                  </a:lnTo>
                  <a:lnTo>
                    <a:pt x="93" y="39"/>
                  </a:lnTo>
                  <a:lnTo>
                    <a:pt x="93" y="37"/>
                  </a:lnTo>
                  <a:lnTo>
                    <a:pt x="93" y="39"/>
                  </a:lnTo>
                  <a:lnTo>
                    <a:pt x="92" y="37"/>
                  </a:lnTo>
                  <a:lnTo>
                    <a:pt x="93" y="37"/>
                  </a:lnTo>
                  <a:lnTo>
                    <a:pt x="93" y="36"/>
                  </a:lnTo>
                  <a:lnTo>
                    <a:pt x="92" y="36"/>
                  </a:lnTo>
                  <a:lnTo>
                    <a:pt x="92" y="35"/>
                  </a:lnTo>
                  <a:lnTo>
                    <a:pt x="93" y="35"/>
                  </a:lnTo>
                  <a:lnTo>
                    <a:pt x="94" y="35"/>
                  </a:lnTo>
                  <a:lnTo>
                    <a:pt x="94" y="34"/>
                  </a:lnTo>
                  <a:lnTo>
                    <a:pt x="93" y="34"/>
                  </a:lnTo>
                  <a:lnTo>
                    <a:pt x="92" y="34"/>
                  </a:lnTo>
                  <a:lnTo>
                    <a:pt x="92" y="33"/>
                  </a:lnTo>
                  <a:lnTo>
                    <a:pt x="93" y="33"/>
                  </a:lnTo>
                  <a:lnTo>
                    <a:pt x="92" y="33"/>
                  </a:lnTo>
                  <a:lnTo>
                    <a:pt x="91" y="33"/>
                  </a:lnTo>
                  <a:lnTo>
                    <a:pt x="89" y="33"/>
                  </a:lnTo>
                  <a:lnTo>
                    <a:pt x="89" y="34"/>
                  </a:lnTo>
                  <a:lnTo>
                    <a:pt x="89" y="33"/>
                  </a:lnTo>
                  <a:lnTo>
                    <a:pt x="91" y="31"/>
                  </a:lnTo>
                  <a:lnTo>
                    <a:pt x="89" y="31"/>
                  </a:lnTo>
                  <a:lnTo>
                    <a:pt x="89" y="30"/>
                  </a:lnTo>
                  <a:lnTo>
                    <a:pt x="89" y="31"/>
                  </a:lnTo>
                  <a:lnTo>
                    <a:pt x="89" y="33"/>
                  </a:lnTo>
                  <a:lnTo>
                    <a:pt x="88" y="33"/>
                  </a:lnTo>
                  <a:lnTo>
                    <a:pt x="88" y="31"/>
                  </a:lnTo>
                  <a:lnTo>
                    <a:pt x="87" y="30"/>
                  </a:lnTo>
                  <a:lnTo>
                    <a:pt x="88" y="30"/>
                  </a:lnTo>
                  <a:lnTo>
                    <a:pt x="88" y="29"/>
                  </a:lnTo>
                  <a:lnTo>
                    <a:pt x="87" y="29"/>
                  </a:lnTo>
                  <a:lnTo>
                    <a:pt x="86" y="29"/>
                  </a:lnTo>
                  <a:lnTo>
                    <a:pt x="86" y="28"/>
                  </a:lnTo>
                  <a:lnTo>
                    <a:pt x="87" y="28"/>
                  </a:lnTo>
                  <a:lnTo>
                    <a:pt x="86" y="27"/>
                  </a:lnTo>
                  <a:lnTo>
                    <a:pt x="85" y="27"/>
                  </a:lnTo>
                  <a:lnTo>
                    <a:pt x="83" y="27"/>
                  </a:lnTo>
                  <a:lnTo>
                    <a:pt x="83" y="28"/>
                  </a:lnTo>
                  <a:lnTo>
                    <a:pt x="82" y="28"/>
                  </a:lnTo>
                  <a:lnTo>
                    <a:pt x="82" y="27"/>
                  </a:lnTo>
                  <a:lnTo>
                    <a:pt x="83" y="27"/>
                  </a:lnTo>
                  <a:lnTo>
                    <a:pt x="83" y="25"/>
                  </a:lnTo>
                  <a:lnTo>
                    <a:pt x="83" y="27"/>
                  </a:lnTo>
                  <a:lnTo>
                    <a:pt x="82" y="27"/>
                  </a:lnTo>
                  <a:lnTo>
                    <a:pt x="83" y="25"/>
                  </a:lnTo>
                  <a:lnTo>
                    <a:pt x="82" y="25"/>
                  </a:lnTo>
                  <a:lnTo>
                    <a:pt x="81" y="27"/>
                  </a:lnTo>
                  <a:lnTo>
                    <a:pt x="81" y="25"/>
                  </a:lnTo>
                  <a:lnTo>
                    <a:pt x="81" y="24"/>
                  </a:lnTo>
                  <a:lnTo>
                    <a:pt x="81" y="25"/>
                  </a:lnTo>
                  <a:lnTo>
                    <a:pt x="80" y="25"/>
                  </a:lnTo>
                  <a:lnTo>
                    <a:pt x="80" y="24"/>
                  </a:lnTo>
                  <a:lnTo>
                    <a:pt x="81" y="24"/>
                  </a:lnTo>
                  <a:lnTo>
                    <a:pt x="80" y="24"/>
                  </a:lnTo>
                  <a:lnTo>
                    <a:pt x="79" y="23"/>
                  </a:lnTo>
                  <a:lnTo>
                    <a:pt x="80" y="23"/>
                  </a:lnTo>
                  <a:lnTo>
                    <a:pt x="81" y="24"/>
                  </a:lnTo>
                  <a:lnTo>
                    <a:pt x="81" y="23"/>
                  </a:lnTo>
                  <a:lnTo>
                    <a:pt x="80" y="23"/>
                  </a:lnTo>
                  <a:lnTo>
                    <a:pt x="81" y="23"/>
                  </a:lnTo>
                  <a:lnTo>
                    <a:pt x="82" y="23"/>
                  </a:lnTo>
                  <a:lnTo>
                    <a:pt x="82" y="24"/>
                  </a:lnTo>
                  <a:lnTo>
                    <a:pt x="83" y="24"/>
                  </a:lnTo>
                  <a:lnTo>
                    <a:pt x="85" y="24"/>
                  </a:lnTo>
                  <a:lnTo>
                    <a:pt x="85" y="25"/>
                  </a:lnTo>
                  <a:lnTo>
                    <a:pt x="85" y="24"/>
                  </a:lnTo>
                  <a:lnTo>
                    <a:pt x="86" y="24"/>
                  </a:lnTo>
                  <a:lnTo>
                    <a:pt x="86" y="25"/>
                  </a:lnTo>
                  <a:lnTo>
                    <a:pt x="87" y="25"/>
                  </a:lnTo>
                  <a:lnTo>
                    <a:pt x="87" y="27"/>
                  </a:lnTo>
                  <a:lnTo>
                    <a:pt x="88" y="27"/>
                  </a:lnTo>
                  <a:lnTo>
                    <a:pt x="89" y="27"/>
                  </a:lnTo>
                  <a:lnTo>
                    <a:pt x="91" y="28"/>
                  </a:lnTo>
                  <a:lnTo>
                    <a:pt x="92" y="29"/>
                  </a:lnTo>
                  <a:lnTo>
                    <a:pt x="92" y="28"/>
                  </a:lnTo>
                  <a:lnTo>
                    <a:pt x="92" y="27"/>
                  </a:lnTo>
                  <a:lnTo>
                    <a:pt x="91" y="27"/>
                  </a:lnTo>
                  <a:lnTo>
                    <a:pt x="89" y="27"/>
                  </a:lnTo>
                  <a:lnTo>
                    <a:pt x="91" y="25"/>
                  </a:lnTo>
                  <a:lnTo>
                    <a:pt x="91" y="27"/>
                  </a:lnTo>
                  <a:lnTo>
                    <a:pt x="92" y="27"/>
                  </a:lnTo>
                  <a:lnTo>
                    <a:pt x="92" y="25"/>
                  </a:lnTo>
                  <a:lnTo>
                    <a:pt x="93" y="25"/>
                  </a:lnTo>
                  <a:lnTo>
                    <a:pt x="94" y="25"/>
                  </a:lnTo>
                  <a:lnTo>
                    <a:pt x="96" y="25"/>
                  </a:lnTo>
                  <a:lnTo>
                    <a:pt x="97" y="25"/>
                  </a:lnTo>
                  <a:lnTo>
                    <a:pt x="96" y="25"/>
                  </a:lnTo>
                  <a:lnTo>
                    <a:pt x="96" y="24"/>
                  </a:lnTo>
                  <a:lnTo>
                    <a:pt x="97" y="23"/>
                  </a:lnTo>
                  <a:lnTo>
                    <a:pt x="96" y="23"/>
                  </a:lnTo>
                  <a:lnTo>
                    <a:pt x="96" y="24"/>
                  </a:lnTo>
                  <a:lnTo>
                    <a:pt x="94" y="24"/>
                  </a:lnTo>
                  <a:lnTo>
                    <a:pt x="94" y="25"/>
                  </a:lnTo>
                  <a:lnTo>
                    <a:pt x="94" y="24"/>
                  </a:lnTo>
                  <a:lnTo>
                    <a:pt x="93" y="25"/>
                  </a:lnTo>
                  <a:lnTo>
                    <a:pt x="93" y="24"/>
                  </a:lnTo>
                  <a:lnTo>
                    <a:pt x="92" y="24"/>
                  </a:lnTo>
                  <a:lnTo>
                    <a:pt x="93" y="24"/>
                  </a:lnTo>
                  <a:lnTo>
                    <a:pt x="94" y="24"/>
                  </a:lnTo>
                  <a:lnTo>
                    <a:pt x="94" y="23"/>
                  </a:lnTo>
                  <a:lnTo>
                    <a:pt x="96" y="23"/>
                  </a:lnTo>
                  <a:lnTo>
                    <a:pt x="97" y="22"/>
                  </a:lnTo>
                  <a:lnTo>
                    <a:pt x="98" y="22"/>
                  </a:lnTo>
                  <a:lnTo>
                    <a:pt x="97" y="22"/>
                  </a:lnTo>
                  <a:lnTo>
                    <a:pt x="97" y="21"/>
                  </a:lnTo>
                  <a:lnTo>
                    <a:pt x="98" y="21"/>
                  </a:lnTo>
                  <a:lnTo>
                    <a:pt x="97" y="21"/>
                  </a:lnTo>
                  <a:lnTo>
                    <a:pt x="97" y="19"/>
                  </a:lnTo>
                  <a:lnTo>
                    <a:pt x="97" y="18"/>
                  </a:lnTo>
                  <a:lnTo>
                    <a:pt x="96" y="17"/>
                  </a:lnTo>
                  <a:lnTo>
                    <a:pt x="96" y="16"/>
                  </a:lnTo>
                  <a:lnTo>
                    <a:pt x="97" y="16"/>
                  </a:lnTo>
                  <a:lnTo>
                    <a:pt x="96" y="15"/>
                  </a:lnTo>
                  <a:lnTo>
                    <a:pt x="96" y="16"/>
                  </a:lnTo>
                  <a:lnTo>
                    <a:pt x="94" y="15"/>
                  </a:lnTo>
                  <a:lnTo>
                    <a:pt x="96" y="15"/>
                  </a:lnTo>
                  <a:lnTo>
                    <a:pt x="94" y="15"/>
                  </a:lnTo>
                  <a:lnTo>
                    <a:pt x="96" y="15"/>
                  </a:lnTo>
                  <a:lnTo>
                    <a:pt x="97" y="13"/>
                  </a:lnTo>
                  <a:lnTo>
                    <a:pt x="97" y="15"/>
                  </a:lnTo>
                  <a:lnTo>
                    <a:pt x="97" y="13"/>
                  </a:lnTo>
                  <a:lnTo>
                    <a:pt x="98" y="13"/>
                  </a:lnTo>
                  <a:lnTo>
                    <a:pt x="97" y="13"/>
                  </a:lnTo>
                  <a:lnTo>
                    <a:pt x="96" y="13"/>
                  </a:lnTo>
                  <a:lnTo>
                    <a:pt x="96" y="12"/>
                  </a:lnTo>
                  <a:lnTo>
                    <a:pt x="96" y="13"/>
                  </a:lnTo>
                  <a:lnTo>
                    <a:pt x="94" y="13"/>
                  </a:lnTo>
                  <a:lnTo>
                    <a:pt x="94" y="12"/>
                  </a:lnTo>
                  <a:lnTo>
                    <a:pt x="96" y="12"/>
                  </a:lnTo>
                  <a:lnTo>
                    <a:pt x="94" y="12"/>
                  </a:lnTo>
                  <a:lnTo>
                    <a:pt x="94" y="13"/>
                  </a:lnTo>
                  <a:lnTo>
                    <a:pt x="94" y="12"/>
                  </a:lnTo>
                  <a:lnTo>
                    <a:pt x="93" y="12"/>
                  </a:lnTo>
                  <a:lnTo>
                    <a:pt x="93" y="13"/>
                  </a:lnTo>
                  <a:lnTo>
                    <a:pt x="92" y="12"/>
                  </a:lnTo>
                  <a:lnTo>
                    <a:pt x="93" y="12"/>
                  </a:lnTo>
                  <a:lnTo>
                    <a:pt x="92" y="12"/>
                  </a:lnTo>
                  <a:lnTo>
                    <a:pt x="92" y="11"/>
                  </a:lnTo>
                  <a:lnTo>
                    <a:pt x="91" y="11"/>
                  </a:lnTo>
                  <a:lnTo>
                    <a:pt x="92" y="11"/>
                  </a:lnTo>
                  <a:lnTo>
                    <a:pt x="93" y="11"/>
                  </a:lnTo>
                  <a:lnTo>
                    <a:pt x="94" y="11"/>
                  </a:lnTo>
                  <a:lnTo>
                    <a:pt x="93" y="11"/>
                  </a:lnTo>
                  <a:lnTo>
                    <a:pt x="93" y="10"/>
                  </a:lnTo>
                  <a:lnTo>
                    <a:pt x="94" y="10"/>
                  </a:lnTo>
                  <a:lnTo>
                    <a:pt x="94" y="11"/>
                  </a:lnTo>
                  <a:lnTo>
                    <a:pt x="96" y="11"/>
                  </a:lnTo>
                  <a:lnTo>
                    <a:pt x="96" y="12"/>
                  </a:lnTo>
                  <a:lnTo>
                    <a:pt x="97" y="12"/>
                  </a:lnTo>
                  <a:lnTo>
                    <a:pt x="97" y="11"/>
                  </a:lnTo>
                  <a:lnTo>
                    <a:pt x="96" y="12"/>
                  </a:lnTo>
                  <a:lnTo>
                    <a:pt x="96" y="11"/>
                  </a:lnTo>
                  <a:lnTo>
                    <a:pt x="96" y="10"/>
                  </a:lnTo>
                  <a:lnTo>
                    <a:pt x="94" y="10"/>
                  </a:lnTo>
                  <a:lnTo>
                    <a:pt x="93" y="10"/>
                  </a:lnTo>
                  <a:lnTo>
                    <a:pt x="93" y="9"/>
                  </a:lnTo>
                  <a:lnTo>
                    <a:pt x="96" y="9"/>
                  </a:lnTo>
                  <a:lnTo>
                    <a:pt x="94" y="9"/>
                  </a:lnTo>
                  <a:lnTo>
                    <a:pt x="93" y="9"/>
                  </a:lnTo>
                  <a:lnTo>
                    <a:pt x="93" y="7"/>
                  </a:lnTo>
                  <a:lnTo>
                    <a:pt x="94" y="7"/>
                  </a:lnTo>
                  <a:lnTo>
                    <a:pt x="94" y="9"/>
                  </a:lnTo>
                  <a:lnTo>
                    <a:pt x="93" y="6"/>
                  </a:lnTo>
                  <a:lnTo>
                    <a:pt x="92" y="5"/>
                  </a:lnTo>
                  <a:lnTo>
                    <a:pt x="91" y="4"/>
                  </a:lnTo>
                  <a:lnTo>
                    <a:pt x="92" y="4"/>
                  </a:lnTo>
                  <a:lnTo>
                    <a:pt x="93" y="5"/>
                  </a:lnTo>
                  <a:lnTo>
                    <a:pt x="94" y="6"/>
                  </a:lnTo>
                  <a:lnTo>
                    <a:pt x="94" y="7"/>
                  </a:lnTo>
                  <a:lnTo>
                    <a:pt x="96" y="7"/>
                  </a:lnTo>
                  <a:lnTo>
                    <a:pt x="96" y="9"/>
                  </a:lnTo>
                  <a:lnTo>
                    <a:pt x="97" y="9"/>
                  </a:lnTo>
                  <a:lnTo>
                    <a:pt x="97" y="7"/>
                  </a:lnTo>
                  <a:lnTo>
                    <a:pt x="98" y="7"/>
                  </a:lnTo>
                  <a:lnTo>
                    <a:pt x="98" y="6"/>
                  </a:lnTo>
                  <a:lnTo>
                    <a:pt x="98" y="7"/>
                  </a:lnTo>
                  <a:lnTo>
                    <a:pt x="97" y="7"/>
                  </a:lnTo>
                  <a:lnTo>
                    <a:pt x="97" y="9"/>
                  </a:lnTo>
                  <a:lnTo>
                    <a:pt x="97" y="10"/>
                  </a:lnTo>
                  <a:lnTo>
                    <a:pt x="98" y="10"/>
                  </a:lnTo>
                  <a:lnTo>
                    <a:pt x="98" y="9"/>
                  </a:lnTo>
                  <a:lnTo>
                    <a:pt x="98" y="10"/>
                  </a:lnTo>
                  <a:lnTo>
                    <a:pt x="97" y="10"/>
                  </a:lnTo>
                  <a:lnTo>
                    <a:pt x="97" y="11"/>
                  </a:lnTo>
                  <a:lnTo>
                    <a:pt x="98" y="11"/>
                  </a:lnTo>
                  <a:lnTo>
                    <a:pt x="98" y="10"/>
                  </a:lnTo>
                  <a:lnTo>
                    <a:pt x="98" y="11"/>
                  </a:lnTo>
                  <a:lnTo>
                    <a:pt x="97" y="12"/>
                  </a:lnTo>
                  <a:lnTo>
                    <a:pt x="98" y="12"/>
                  </a:lnTo>
                  <a:lnTo>
                    <a:pt x="98" y="11"/>
                  </a:lnTo>
                  <a:lnTo>
                    <a:pt x="99" y="11"/>
                  </a:lnTo>
                  <a:lnTo>
                    <a:pt x="99" y="10"/>
                  </a:lnTo>
                  <a:lnTo>
                    <a:pt x="98" y="10"/>
                  </a:lnTo>
                  <a:lnTo>
                    <a:pt x="99" y="10"/>
                  </a:lnTo>
                  <a:lnTo>
                    <a:pt x="99" y="9"/>
                  </a:lnTo>
                  <a:lnTo>
                    <a:pt x="98" y="9"/>
                  </a:lnTo>
                  <a:lnTo>
                    <a:pt x="97" y="9"/>
                  </a:lnTo>
                  <a:lnTo>
                    <a:pt x="98" y="9"/>
                  </a:lnTo>
                  <a:lnTo>
                    <a:pt x="99" y="9"/>
                  </a:lnTo>
                  <a:lnTo>
                    <a:pt x="99" y="7"/>
                  </a:lnTo>
                  <a:lnTo>
                    <a:pt x="99" y="6"/>
                  </a:lnTo>
                  <a:lnTo>
                    <a:pt x="99" y="5"/>
                  </a:lnTo>
                  <a:lnTo>
                    <a:pt x="99" y="4"/>
                  </a:lnTo>
                  <a:lnTo>
                    <a:pt x="100" y="4"/>
                  </a:lnTo>
                  <a:lnTo>
                    <a:pt x="100" y="5"/>
                  </a:lnTo>
                  <a:lnTo>
                    <a:pt x="100" y="6"/>
                  </a:lnTo>
                  <a:lnTo>
                    <a:pt x="100" y="7"/>
                  </a:lnTo>
                  <a:lnTo>
                    <a:pt x="100" y="9"/>
                  </a:lnTo>
                  <a:lnTo>
                    <a:pt x="99" y="10"/>
                  </a:lnTo>
                  <a:lnTo>
                    <a:pt x="99" y="11"/>
                  </a:lnTo>
                  <a:lnTo>
                    <a:pt x="100" y="10"/>
                  </a:lnTo>
                  <a:lnTo>
                    <a:pt x="100" y="11"/>
                  </a:lnTo>
                  <a:lnTo>
                    <a:pt x="102" y="11"/>
                  </a:lnTo>
                  <a:lnTo>
                    <a:pt x="102" y="10"/>
                  </a:lnTo>
                  <a:lnTo>
                    <a:pt x="102" y="9"/>
                  </a:lnTo>
                  <a:lnTo>
                    <a:pt x="103" y="10"/>
                  </a:lnTo>
                  <a:lnTo>
                    <a:pt x="102" y="9"/>
                  </a:lnTo>
                  <a:lnTo>
                    <a:pt x="103" y="9"/>
                  </a:lnTo>
                  <a:lnTo>
                    <a:pt x="102" y="7"/>
                  </a:lnTo>
                  <a:lnTo>
                    <a:pt x="103" y="7"/>
                  </a:lnTo>
                  <a:lnTo>
                    <a:pt x="102" y="6"/>
                  </a:lnTo>
                  <a:lnTo>
                    <a:pt x="100" y="5"/>
                  </a:lnTo>
                  <a:lnTo>
                    <a:pt x="102" y="5"/>
                  </a:lnTo>
                  <a:lnTo>
                    <a:pt x="103" y="6"/>
                  </a:lnTo>
                  <a:lnTo>
                    <a:pt x="103" y="5"/>
                  </a:lnTo>
                  <a:lnTo>
                    <a:pt x="102" y="5"/>
                  </a:lnTo>
                  <a:lnTo>
                    <a:pt x="103" y="4"/>
                  </a:lnTo>
                  <a:lnTo>
                    <a:pt x="103" y="5"/>
                  </a:lnTo>
                  <a:lnTo>
                    <a:pt x="103" y="4"/>
                  </a:lnTo>
                  <a:lnTo>
                    <a:pt x="103" y="3"/>
                  </a:lnTo>
                  <a:lnTo>
                    <a:pt x="103" y="4"/>
                  </a:lnTo>
                  <a:lnTo>
                    <a:pt x="103" y="5"/>
                  </a:lnTo>
                  <a:lnTo>
                    <a:pt x="103" y="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2" name="Freeform 65"/>
            <p:cNvSpPr>
              <a:spLocks/>
            </p:cNvSpPr>
            <p:nvPr userDrawn="1"/>
          </p:nvSpPr>
          <p:spPr bwMode="auto">
            <a:xfrm>
              <a:off x="4665663" y="6424613"/>
              <a:ext cx="95250" cy="114300"/>
            </a:xfrm>
            <a:custGeom>
              <a:avLst/>
              <a:gdLst/>
              <a:ahLst/>
              <a:cxnLst>
                <a:cxn ang="0">
                  <a:pos x="168" y="253"/>
                </a:cxn>
                <a:cxn ang="0">
                  <a:pos x="170" y="248"/>
                </a:cxn>
                <a:cxn ang="0">
                  <a:pos x="170" y="279"/>
                </a:cxn>
                <a:cxn ang="0">
                  <a:pos x="182" y="274"/>
                </a:cxn>
                <a:cxn ang="0">
                  <a:pos x="197" y="272"/>
                </a:cxn>
                <a:cxn ang="0">
                  <a:pos x="183" y="295"/>
                </a:cxn>
                <a:cxn ang="0">
                  <a:pos x="197" y="308"/>
                </a:cxn>
                <a:cxn ang="0">
                  <a:pos x="235" y="311"/>
                </a:cxn>
                <a:cxn ang="0">
                  <a:pos x="244" y="290"/>
                </a:cxn>
                <a:cxn ang="0">
                  <a:pos x="248" y="273"/>
                </a:cxn>
                <a:cxn ang="0">
                  <a:pos x="222" y="262"/>
                </a:cxn>
                <a:cxn ang="0">
                  <a:pos x="239" y="258"/>
                </a:cxn>
                <a:cxn ang="0">
                  <a:pos x="238" y="246"/>
                </a:cxn>
                <a:cxn ang="0">
                  <a:pos x="226" y="228"/>
                </a:cxn>
                <a:cxn ang="0">
                  <a:pos x="220" y="202"/>
                </a:cxn>
                <a:cxn ang="0">
                  <a:pos x="215" y="188"/>
                </a:cxn>
                <a:cxn ang="0">
                  <a:pos x="260" y="189"/>
                </a:cxn>
                <a:cxn ang="0">
                  <a:pos x="274" y="158"/>
                </a:cxn>
                <a:cxn ang="0">
                  <a:pos x="269" y="139"/>
                </a:cxn>
                <a:cxn ang="0">
                  <a:pos x="260" y="109"/>
                </a:cxn>
                <a:cxn ang="0">
                  <a:pos x="272" y="92"/>
                </a:cxn>
                <a:cxn ang="0">
                  <a:pos x="263" y="70"/>
                </a:cxn>
                <a:cxn ang="0">
                  <a:pos x="253" y="56"/>
                </a:cxn>
                <a:cxn ang="0">
                  <a:pos x="224" y="26"/>
                </a:cxn>
                <a:cxn ang="0">
                  <a:pos x="197" y="14"/>
                </a:cxn>
                <a:cxn ang="0">
                  <a:pos x="186" y="28"/>
                </a:cxn>
                <a:cxn ang="0">
                  <a:pos x="182" y="50"/>
                </a:cxn>
                <a:cxn ang="0">
                  <a:pos x="170" y="54"/>
                </a:cxn>
                <a:cxn ang="0">
                  <a:pos x="170" y="33"/>
                </a:cxn>
                <a:cxn ang="0">
                  <a:pos x="155" y="14"/>
                </a:cxn>
                <a:cxn ang="0">
                  <a:pos x="126" y="15"/>
                </a:cxn>
                <a:cxn ang="0">
                  <a:pos x="132" y="36"/>
                </a:cxn>
                <a:cxn ang="0">
                  <a:pos x="99" y="22"/>
                </a:cxn>
                <a:cxn ang="0">
                  <a:pos x="87" y="40"/>
                </a:cxn>
                <a:cxn ang="0">
                  <a:pos x="97" y="52"/>
                </a:cxn>
                <a:cxn ang="0">
                  <a:pos x="71" y="59"/>
                </a:cxn>
                <a:cxn ang="0">
                  <a:pos x="102" y="76"/>
                </a:cxn>
                <a:cxn ang="0">
                  <a:pos x="116" y="75"/>
                </a:cxn>
                <a:cxn ang="0">
                  <a:pos x="111" y="92"/>
                </a:cxn>
                <a:cxn ang="0">
                  <a:pos x="85" y="111"/>
                </a:cxn>
                <a:cxn ang="0">
                  <a:pos x="58" y="95"/>
                </a:cxn>
                <a:cxn ang="0">
                  <a:pos x="37" y="99"/>
                </a:cxn>
                <a:cxn ang="0">
                  <a:pos x="53" y="134"/>
                </a:cxn>
                <a:cxn ang="0">
                  <a:pos x="50" y="148"/>
                </a:cxn>
                <a:cxn ang="0">
                  <a:pos x="26" y="154"/>
                </a:cxn>
                <a:cxn ang="0">
                  <a:pos x="5" y="161"/>
                </a:cxn>
                <a:cxn ang="0">
                  <a:pos x="2" y="178"/>
                </a:cxn>
                <a:cxn ang="0">
                  <a:pos x="30" y="188"/>
                </a:cxn>
                <a:cxn ang="0">
                  <a:pos x="57" y="192"/>
                </a:cxn>
                <a:cxn ang="0">
                  <a:pos x="68" y="201"/>
                </a:cxn>
                <a:cxn ang="0">
                  <a:pos x="32" y="222"/>
                </a:cxn>
                <a:cxn ang="0">
                  <a:pos x="33" y="240"/>
                </a:cxn>
                <a:cxn ang="0">
                  <a:pos x="71" y="235"/>
                </a:cxn>
                <a:cxn ang="0">
                  <a:pos x="71" y="244"/>
                </a:cxn>
                <a:cxn ang="0">
                  <a:pos x="55" y="266"/>
                </a:cxn>
                <a:cxn ang="0">
                  <a:pos x="91" y="271"/>
                </a:cxn>
                <a:cxn ang="0">
                  <a:pos x="97" y="250"/>
                </a:cxn>
                <a:cxn ang="0">
                  <a:pos x="103" y="230"/>
                </a:cxn>
                <a:cxn ang="0">
                  <a:pos x="123" y="262"/>
                </a:cxn>
                <a:cxn ang="0">
                  <a:pos x="120" y="232"/>
                </a:cxn>
                <a:cxn ang="0">
                  <a:pos x="126" y="237"/>
                </a:cxn>
                <a:cxn ang="0">
                  <a:pos x="140" y="229"/>
                </a:cxn>
                <a:cxn ang="0">
                  <a:pos x="151" y="232"/>
                </a:cxn>
              </a:cxnLst>
              <a:rect l="0" t="0" r="r" b="b"/>
              <a:pathLst>
                <a:path w="297" h="363">
                  <a:moveTo>
                    <a:pt x="197" y="360"/>
                  </a:moveTo>
                  <a:lnTo>
                    <a:pt x="195" y="360"/>
                  </a:lnTo>
                  <a:lnTo>
                    <a:pt x="182" y="361"/>
                  </a:lnTo>
                  <a:lnTo>
                    <a:pt x="175" y="360"/>
                  </a:lnTo>
                  <a:lnTo>
                    <a:pt x="174" y="355"/>
                  </a:lnTo>
                  <a:lnTo>
                    <a:pt x="174" y="350"/>
                  </a:lnTo>
                  <a:lnTo>
                    <a:pt x="174" y="348"/>
                  </a:lnTo>
                  <a:lnTo>
                    <a:pt x="173" y="339"/>
                  </a:lnTo>
                  <a:lnTo>
                    <a:pt x="170" y="313"/>
                  </a:lnTo>
                  <a:lnTo>
                    <a:pt x="170" y="308"/>
                  </a:lnTo>
                  <a:lnTo>
                    <a:pt x="169" y="301"/>
                  </a:lnTo>
                  <a:lnTo>
                    <a:pt x="169" y="295"/>
                  </a:lnTo>
                  <a:lnTo>
                    <a:pt x="168" y="290"/>
                  </a:lnTo>
                  <a:lnTo>
                    <a:pt x="168" y="285"/>
                  </a:lnTo>
                  <a:lnTo>
                    <a:pt x="167" y="280"/>
                  </a:lnTo>
                  <a:lnTo>
                    <a:pt x="167" y="278"/>
                  </a:lnTo>
                  <a:lnTo>
                    <a:pt x="168" y="278"/>
                  </a:lnTo>
                  <a:lnTo>
                    <a:pt x="169" y="279"/>
                  </a:lnTo>
                  <a:lnTo>
                    <a:pt x="170" y="279"/>
                  </a:lnTo>
                  <a:lnTo>
                    <a:pt x="170" y="278"/>
                  </a:lnTo>
                  <a:lnTo>
                    <a:pt x="169" y="277"/>
                  </a:lnTo>
                  <a:lnTo>
                    <a:pt x="169" y="276"/>
                  </a:lnTo>
                  <a:lnTo>
                    <a:pt x="168" y="277"/>
                  </a:lnTo>
                  <a:lnTo>
                    <a:pt x="168" y="276"/>
                  </a:lnTo>
                  <a:lnTo>
                    <a:pt x="168" y="274"/>
                  </a:lnTo>
                  <a:lnTo>
                    <a:pt x="169" y="274"/>
                  </a:lnTo>
                  <a:lnTo>
                    <a:pt x="170" y="274"/>
                  </a:lnTo>
                  <a:lnTo>
                    <a:pt x="170" y="273"/>
                  </a:lnTo>
                  <a:lnTo>
                    <a:pt x="171" y="272"/>
                  </a:lnTo>
                  <a:lnTo>
                    <a:pt x="171" y="271"/>
                  </a:lnTo>
                  <a:lnTo>
                    <a:pt x="170" y="271"/>
                  </a:lnTo>
                  <a:lnTo>
                    <a:pt x="170" y="272"/>
                  </a:lnTo>
                  <a:lnTo>
                    <a:pt x="169" y="273"/>
                  </a:lnTo>
                  <a:lnTo>
                    <a:pt x="168" y="273"/>
                  </a:lnTo>
                  <a:lnTo>
                    <a:pt x="167" y="273"/>
                  </a:lnTo>
                  <a:lnTo>
                    <a:pt x="167" y="271"/>
                  </a:lnTo>
                  <a:lnTo>
                    <a:pt x="167" y="264"/>
                  </a:lnTo>
                  <a:lnTo>
                    <a:pt x="167" y="261"/>
                  </a:lnTo>
                  <a:lnTo>
                    <a:pt x="168" y="261"/>
                  </a:lnTo>
                  <a:lnTo>
                    <a:pt x="168" y="260"/>
                  </a:lnTo>
                  <a:lnTo>
                    <a:pt x="168" y="259"/>
                  </a:lnTo>
                  <a:lnTo>
                    <a:pt x="167" y="258"/>
                  </a:lnTo>
                  <a:lnTo>
                    <a:pt x="167" y="255"/>
                  </a:lnTo>
                  <a:lnTo>
                    <a:pt x="167" y="253"/>
                  </a:lnTo>
                  <a:lnTo>
                    <a:pt x="165" y="252"/>
                  </a:lnTo>
                  <a:lnTo>
                    <a:pt x="167" y="252"/>
                  </a:lnTo>
                  <a:lnTo>
                    <a:pt x="167" y="250"/>
                  </a:lnTo>
                  <a:lnTo>
                    <a:pt x="167" y="248"/>
                  </a:lnTo>
                  <a:lnTo>
                    <a:pt x="167" y="247"/>
                  </a:lnTo>
                  <a:lnTo>
                    <a:pt x="167" y="246"/>
                  </a:lnTo>
                  <a:lnTo>
                    <a:pt x="165" y="246"/>
                  </a:lnTo>
                  <a:lnTo>
                    <a:pt x="167" y="243"/>
                  </a:lnTo>
                  <a:lnTo>
                    <a:pt x="167" y="244"/>
                  </a:lnTo>
                  <a:lnTo>
                    <a:pt x="167" y="246"/>
                  </a:lnTo>
                  <a:lnTo>
                    <a:pt x="168" y="244"/>
                  </a:lnTo>
                  <a:lnTo>
                    <a:pt x="168" y="243"/>
                  </a:lnTo>
                  <a:lnTo>
                    <a:pt x="167" y="242"/>
                  </a:lnTo>
                  <a:lnTo>
                    <a:pt x="167" y="238"/>
                  </a:lnTo>
                  <a:lnTo>
                    <a:pt x="167" y="236"/>
                  </a:lnTo>
                  <a:lnTo>
                    <a:pt x="167" y="235"/>
                  </a:lnTo>
                  <a:lnTo>
                    <a:pt x="168" y="234"/>
                  </a:lnTo>
                  <a:lnTo>
                    <a:pt x="168" y="232"/>
                  </a:lnTo>
                  <a:lnTo>
                    <a:pt x="169" y="231"/>
                  </a:lnTo>
                  <a:lnTo>
                    <a:pt x="170" y="231"/>
                  </a:lnTo>
                  <a:lnTo>
                    <a:pt x="170" y="232"/>
                  </a:lnTo>
                  <a:lnTo>
                    <a:pt x="170" y="234"/>
                  </a:lnTo>
                  <a:lnTo>
                    <a:pt x="170" y="235"/>
                  </a:lnTo>
                  <a:lnTo>
                    <a:pt x="169" y="236"/>
                  </a:lnTo>
                  <a:lnTo>
                    <a:pt x="169" y="237"/>
                  </a:lnTo>
                  <a:lnTo>
                    <a:pt x="169" y="241"/>
                  </a:lnTo>
                  <a:lnTo>
                    <a:pt x="169" y="244"/>
                  </a:lnTo>
                  <a:lnTo>
                    <a:pt x="169" y="247"/>
                  </a:lnTo>
                  <a:lnTo>
                    <a:pt x="169" y="249"/>
                  </a:lnTo>
                  <a:lnTo>
                    <a:pt x="169" y="250"/>
                  </a:lnTo>
                  <a:lnTo>
                    <a:pt x="168" y="253"/>
                  </a:lnTo>
                  <a:lnTo>
                    <a:pt x="169" y="253"/>
                  </a:lnTo>
                  <a:lnTo>
                    <a:pt x="169" y="254"/>
                  </a:lnTo>
                  <a:lnTo>
                    <a:pt x="168" y="254"/>
                  </a:lnTo>
                  <a:lnTo>
                    <a:pt x="169" y="254"/>
                  </a:lnTo>
                  <a:lnTo>
                    <a:pt x="169" y="255"/>
                  </a:lnTo>
                  <a:lnTo>
                    <a:pt x="169" y="256"/>
                  </a:lnTo>
                  <a:lnTo>
                    <a:pt x="169" y="258"/>
                  </a:lnTo>
                  <a:lnTo>
                    <a:pt x="169" y="259"/>
                  </a:lnTo>
                  <a:lnTo>
                    <a:pt x="169" y="260"/>
                  </a:lnTo>
                  <a:lnTo>
                    <a:pt x="169" y="261"/>
                  </a:lnTo>
                  <a:lnTo>
                    <a:pt x="169" y="262"/>
                  </a:lnTo>
                  <a:lnTo>
                    <a:pt x="169" y="264"/>
                  </a:lnTo>
                  <a:lnTo>
                    <a:pt x="169" y="265"/>
                  </a:lnTo>
                  <a:lnTo>
                    <a:pt x="169" y="266"/>
                  </a:lnTo>
                  <a:lnTo>
                    <a:pt x="168" y="267"/>
                  </a:lnTo>
                  <a:lnTo>
                    <a:pt x="168" y="268"/>
                  </a:lnTo>
                  <a:lnTo>
                    <a:pt x="169" y="270"/>
                  </a:lnTo>
                  <a:lnTo>
                    <a:pt x="169" y="271"/>
                  </a:lnTo>
                  <a:lnTo>
                    <a:pt x="170" y="271"/>
                  </a:lnTo>
                  <a:lnTo>
                    <a:pt x="170" y="270"/>
                  </a:lnTo>
                  <a:lnTo>
                    <a:pt x="170" y="268"/>
                  </a:lnTo>
                  <a:lnTo>
                    <a:pt x="170" y="267"/>
                  </a:lnTo>
                  <a:lnTo>
                    <a:pt x="170" y="268"/>
                  </a:lnTo>
                  <a:lnTo>
                    <a:pt x="170" y="270"/>
                  </a:lnTo>
                  <a:lnTo>
                    <a:pt x="171" y="268"/>
                  </a:lnTo>
                  <a:lnTo>
                    <a:pt x="171" y="267"/>
                  </a:lnTo>
                  <a:lnTo>
                    <a:pt x="171" y="266"/>
                  </a:lnTo>
                  <a:lnTo>
                    <a:pt x="171" y="265"/>
                  </a:lnTo>
                  <a:lnTo>
                    <a:pt x="171" y="264"/>
                  </a:lnTo>
                  <a:lnTo>
                    <a:pt x="170" y="264"/>
                  </a:lnTo>
                  <a:lnTo>
                    <a:pt x="170" y="262"/>
                  </a:lnTo>
                  <a:lnTo>
                    <a:pt x="171" y="264"/>
                  </a:lnTo>
                  <a:lnTo>
                    <a:pt x="173" y="264"/>
                  </a:lnTo>
                  <a:lnTo>
                    <a:pt x="174" y="265"/>
                  </a:lnTo>
                  <a:lnTo>
                    <a:pt x="173" y="266"/>
                  </a:lnTo>
                  <a:lnTo>
                    <a:pt x="173" y="267"/>
                  </a:lnTo>
                  <a:lnTo>
                    <a:pt x="174" y="266"/>
                  </a:lnTo>
                  <a:lnTo>
                    <a:pt x="174" y="267"/>
                  </a:lnTo>
                  <a:lnTo>
                    <a:pt x="175" y="268"/>
                  </a:lnTo>
                  <a:lnTo>
                    <a:pt x="176" y="268"/>
                  </a:lnTo>
                  <a:lnTo>
                    <a:pt x="177" y="267"/>
                  </a:lnTo>
                  <a:lnTo>
                    <a:pt x="176" y="266"/>
                  </a:lnTo>
                  <a:lnTo>
                    <a:pt x="175" y="266"/>
                  </a:lnTo>
                  <a:lnTo>
                    <a:pt x="176" y="266"/>
                  </a:lnTo>
                  <a:lnTo>
                    <a:pt x="177" y="266"/>
                  </a:lnTo>
                  <a:lnTo>
                    <a:pt x="179" y="265"/>
                  </a:lnTo>
                  <a:lnTo>
                    <a:pt x="179" y="264"/>
                  </a:lnTo>
                  <a:lnTo>
                    <a:pt x="177" y="262"/>
                  </a:lnTo>
                  <a:lnTo>
                    <a:pt x="177" y="264"/>
                  </a:lnTo>
                  <a:lnTo>
                    <a:pt x="176" y="264"/>
                  </a:lnTo>
                  <a:lnTo>
                    <a:pt x="175" y="264"/>
                  </a:lnTo>
                  <a:lnTo>
                    <a:pt x="174" y="264"/>
                  </a:lnTo>
                  <a:lnTo>
                    <a:pt x="175" y="262"/>
                  </a:lnTo>
                  <a:lnTo>
                    <a:pt x="175" y="261"/>
                  </a:lnTo>
                  <a:lnTo>
                    <a:pt x="174" y="261"/>
                  </a:lnTo>
                  <a:lnTo>
                    <a:pt x="173" y="262"/>
                  </a:lnTo>
                  <a:lnTo>
                    <a:pt x="173" y="261"/>
                  </a:lnTo>
                  <a:lnTo>
                    <a:pt x="171" y="260"/>
                  </a:lnTo>
                  <a:lnTo>
                    <a:pt x="170" y="259"/>
                  </a:lnTo>
                  <a:lnTo>
                    <a:pt x="170" y="258"/>
                  </a:lnTo>
                  <a:lnTo>
                    <a:pt x="170" y="256"/>
                  </a:lnTo>
                  <a:lnTo>
                    <a:pt x="171" y="256"/>
                  </a:lnTo>
                  <a:lnTo>
                    <a:pt x="171" y="258"/>
                  </a:lnTo>
                  <a:lnTo>
                    <a:pt x="171" y="259"/>
                  </a:lnTo>
                  <a:lnTo>
                    <a:pt x="171" y="258"/>
                  </a:lnTo>
                  <a:lnTo>
                    <a:pt x="171" y="256"/>
                  </a:lnTo>
                  <a:lnTo>
                    <a:pt x="171" y="255"/>
                  </a:lnTo>
                  <a:lnTo>
                    <a:pt x="171" y="254"/>
                  </a:lnTo>
                  <a:lnTo>
                    <a:pt x="170" y="254"/>
                  </a:lnTo>
                  <a:lnTo>
                    <a:pt x="170" y="253"/>
                  </a:lnTo>
                  <a:lnTo>
                    <a:pt x="170" y="252"/>
                  </a:lnTo>
                  <a:lnTo>
                    <a:pt x="169" y="250"/>
                  </a:lnTo>
                  <a:lnTo>
                    <a:pt x="169" y="249"/>
                  </a:lnTo>
                  <a:lnTo>
                    <a:pt x="169" y="248"/>
                  </a:lnTo>
                  <a:lnTo>
                    <a:pt x="170" y="248"/>
                  </a:lnTo>
                  <a:lnTo>
                    <a:pt x="171" y="248"/>
                  </a:lnTo>
                  <a:lnTo>
                    <a:pt x="171" y="249"/>
                  </a:lnTo>
                  <a:lnTo>
                    <a:pt x="173" y="250"/>
                  </a:lnTo>
                  <a:lnTo>
                    <a:pt x="174" y="252"/>
                  </a:lnTo>
                  <a:lnTo>
                    <a:pt x="175" y="253"/>
                  </a:lnTo>
                  <a:lnTo>
                    <a:pt x="174" y="254"/>
                  </a:lnTo>
                  <a:lnTo>
                    <a:pt x="174" y="253"/>
                  </a:lnTo>
                  <a:lnTo>
                    <a:pt x="173" y="253"/>
                  </a:lnTo>
                  <a:lnTo>
                    <a:pt x="173" y="254"/>
                  </a:lnTo>
                  <a:lnTo>
                    <a:pt x="174" y="255"/>
                  </a:lnTo>
                  <a:lnTo>
                    <a:pt x="173" y="256"/>
                  </a:lnTo>
                  <a:lnTo>
                    <a:pt x="173" y="258"/>
                  </a:lnTo>
                  <a:lnTo>
                    <a:pt x="174" y="256"/>
                  </a:lnTo>
                  <a:lnTo>
                    <a:pt x="175" y="255"/>
                  </a:lnTo>
                  <a:lnTo>
                    <a:pt x="176" y="255"/>
                  </a:lnTo>
                  <a:lnTo>
                    <a:pt x="176" y="256"/>
                  </a:lnTo>
                  <a:lnTo>
                    <a:pt x="175" y="256"/>
                  </a:lnTo>
                  <a:lnTo>
                    <a:pt x="173" y="258"/>
                  </a:lnTo>
                  <a:lnTo>
                    <a:pt x="173" y="259"/>
                  </a:lnTo>
                  <a:lnTo>
                    <a:pt x="174" y="259"/>
                  </a:lnTo>
                  <a:lnTo>
                    <a:pt x="174" y="258"/>
                  </a:lnTo>
                  <a:lnTo>
                    <a:pt x="175" y="258"/>
                  </a:lnTo>
                  <a:lnTo>
                    <a:pt x="176" y="258"/>
                  </a:lnTo>
                  <a:lnTo>
                    <a:pt x="177" y="258"/>
                  </a:lnTo>
                  <a:lnTo>
                    <a:pt x="179" y="258"/>
                  </a:lnTo>
                  <a:lnTo>
                    <a:pt x="180" y="256"/>
                  </a:lnTo>
                  <a:lnTo>
                    <a:pt x="181" y="258"/>
                  </a:lnTo>
                  <a:lnTo>
                    <a:pt x="180" y="258"/>
                  </a:lnTo>
                  <a:lnTo>
                    <a:pt x="179" y="259"/>
                  </a:lnTo>
                  <a:lnTo>
                    <a:pt x="177" y="259"/>
                  </a:lnTo>
                  <a:lnTo>
                    <a:pt x="176" y="259"/>
                  </a:lnTo>
                  <a:lnTo>
                    <a:pt x="177" y="260"/>
                  </a:lnTo>
                  <a:lnTo>
                    <a:pt x="179" y="260"/>
                  </a:lnTo>
                  <a:lnTo>
                    <a:pt x="180" y="260"/>
                  </a:lnTo>
                  <a:lnTo>
                    <a:pt x="179" y="261"/>
                  </a:lnTo>
                  <a:lnTo>
                    <a:pt x="177" y="260"/>
                  </a:lnTo>
                  <a:lnTo>
                    <a:pt x="176" y="260"/>
                  </a:lnTo>
                  <a:lnTo>
                    <a:pt x="175" y="260"/>
                  </a:lnTo>
                  <a:lnTo>
                    <a:pt x="174" y="260"/>
                  </a:lnTo>
                  <a:lnTo>
                    <a:pt x="173" y="260"/>
                  </a:lnTo>
                  <a:lnTo>
                    <a:pt x="174" y="261"/>
                  </a:lnTo>
                  <a:lnTo>
                    <a:pt x="175" y="261"/>
                  </a:lnTo>
                  <a:lnTo>
                    <a:pt x="176" y="261"/>
                  </a:lnTo>
                  <a:lnTo>
                    <a:pt x="176" y="262"/>
                  </a:lnTo>
                  <a:lnTo>
                    <a:pt x="177" y="262"/>
                  </a:lnTo>
                  <a:lnTo>
                    <a:pt x="179" y="262"/>
                  </a:lnTo>
                  <a:lnTo>
                    <a:pt x="179" y="264"/>
                  </a:lnTo>
                  <a:lnTo>
                    <a:pt x="179" y="265"/>
                  </a:lnTo>
                  <a:lnTo>
                    <a:pt x="179" y="266"/>
                  </a:lnTo>
                  <a:lnTo>
                    <a:pt x="180" y="266"/>
                  </a:lnTo>
                  <a:lnTo>
                    <a:pt x="180" y="265"/>
                  </a:lnTo>
                  <a:lnTo>
                    <a:pt x="180" y="264"/>
                  </a:lnTo>
                  <a:lnTo>
                    <a:pt x="181" y="262"/>
                  </a:lnTo>
                  <a:lnTo>
                    <a:pt x="182" y="262"/>
                  </a:lnTo>
                  <a:lnTo>
                    <a:pt x="183" y="261"/>
                  </a:lnTo>
                  <a:lnTo>
                    <a:pt x="183" y="262"/>
                  </a:lnTo>
                  <a:lnTo>
                    <a:pt x="182" y="264"/>
                  </a:lnTo>
                  <a:lnTo>
                    <a:pt x="181" y="264"/>
                  </a:lnTo>
                  <a:lnTo>
                    <a:pt x="182" y="265"/>
                  </a:lnTo>
                  <a:lnTo>
                    <a:pt x="181" y="265"/>
                  </a:lnTo>
                  <a:lnTo>
                    <a:pt x="181" y="264"/>
                  </a:lnTo>
                  <a:lnTo>
                    <a:pt x="180" y="265"/>
                  </a:lnTo>
                  <a:lnTo>
                    <a:pt x="180" y="266"/>
                  </a:lnTo>
                  <a:lnTo>
                    <a:pt x="180" y="267"/>
                  </a:lnTo>
                  <a:lnTo>
                    <a:pt x="180" y="268"/>
                  </a:lnTo>
                  <a:lnTo>
                    <a:pt x="179" y="270"/>
                  </a:lnTo>
                  <a:lnTo>
                    <a:pt x="176" y="271"/>
                  </a:lnTo>
                  <a:lnTo>
                    <a:pt x="175" y="272"/>
                  </a:lnTo>
                  <a:lnTo>
                    <a:pt x="175" y="274"/>
                  </a:lnTo>
                  <a:lnTo>
                    <a:pt x="175" y="276"/>
                  </a:lnTo>
                  <a:lnTo>
                    <a:pt x="174" y="276"/>
                  </a:lnTo>
                  <a:lnTo>
                    <a:pt x="174" y="278"/>
                  </a:lnTo>
                  <a:lnTo>
                    <a:pt x="173" y="279"/>
                  </a:lnTo>
                  <a:lnTo>
                    <a:pt x="171" y="279"/>
                  </a:lnTo>
                  <a:lnTo>
                    <a:pt x="170" y="279"/>
                  </a:lnTo>
                  <a:lnTo>
                    <a:pt x="170" y="280"/>
                  </a:lnTo>
                  <a:lnTo>
                    <a:pt x="170" y="282"/>
                  </a:lnTo>
                  <a:lnTo>
                    <a:pt x="170" y="283"/>
                  </a:lnTo>
                  <a:lnTo>
                    <a:pt x="170" y="284"/>
                  </a:lnTo>
                  <a:lnTo>
                    <a:pt x="169" y="285"/>
                  </a:lnTo>
                  <a:lnTo>
                    <a:pt x="168" y="287"/>
                  </a:lnTo>
                  <a:lnTo>
                    <a:pt x="169" y="287"/>
                  </a:lnTo>
                  <a:lnTo>
                    <a:pt x="169" y="285"/>
                  </a:lnTo>
                  <a:lnTo>
                    <a:pt x="169" y="288"/>
                  </a:lnTo>
                  <a:lnTo>
                    <a:pt x="169" y="289"/>
                  </a:lnTo>
                  <a:lnTo>
                    <a:pt x="169" y="290"/>
                  </a:lnTo>
                  <a:lnTo>
                    <a:pt x="169" y="291"/>
                  </a:lnTo>
                  <a:lnTo>
                    <a:pt x="169" y="293"/>
                  </a:lnTo>
                  <a:lnTo>
                    <a:pt x="170" y="290"/>
                  </a:lnTo>
                  <a:lnTo>
                    <a:pt x="170" y="289"/>
                  </a:lnTo>
                  <a:lnTo>
                    <a:pt x="170" y="287"/>
                  </a:lnTo>
                  <a:lnTo>
                    <a:pt x="171" y="287"/>
                  </a:lnTo>
                  <a:lnTo>
                    <a:pt x="171" y="285"/>
                  </a:lnTo>
                  <a:lnTo>
                    <a:pt x="171" y="284"/>
                  </a:lnTo>
                  <a:lnTo>
                    <a:pt x="173" y="282"/>
                  </a:lnTo>
                  <a:lnTo>
                    <a:pt x="173" y="283"/>
                  </a:lnTo>
                  <a:lnTo>
                    <a:pt x="173" y="284"/>
                  </a:lnTo>
                  <a:lnTo>
                    <a:pt x="173" y="285"/>
                  </a:lnTo>
                  <a:lnTo>
                    <a:pt x="174" y="287"/>
                  </a:lnTo>
                  <a:lnTo>
                    <a:pt x="174" y="285"/>
                  </a:lnTo>
                  <a:lnTo>
                    <a:pt x="175" y="285"/>
                  </a:lnTo>
                  <a:lnTo>
                    <a:pt x="176" y="284"/>
                  </a:lnTo>
                  <a:lnTo>
                    <a:pt x="175" y="284"/>
                  </a:lnTo>
                  <a:lnTo>
                    <a:pt x="175" y="283"/>
                  </a:lnTo>
                  <a:lnTo>
                    <a:pt x="175" y="282"/>
                  </a:lnTo>
                  <a:lnTo>
                    <a:pt x="175" y="280"/>
                  </a:lnTo>
                  <a:lnTo>
                    <a:pt x="175" y="279"/>
                  </a:lnTo>
                  <a:lnTo>
                    <a:pt x="175" y="278"/>
                  </a:lnTo>
                  <a:lnTo>
                    <a:pt x="175" y="277"/>
                  </a:lnTo>
                  <a:lnTo>
                    <a:pt x="176" y="276"/>
                  </a:lnTo>
                  <a:lnTo>
                    <a:pt x="176" y="274"/>
                  </a:lnTo>
                  <a:lnTo>
                    <a:pt x="177" y="273"/>
                  </a:lnTo>
                  <a:lnTo>
                    <a:pt x="179" y="273"/>
                  </a:lnTo>
                  <a:lnTo>
                    <a:pt x="179" y="272"/>
                  </a:lnTo>
                  <a:lnTo>
                    <a:pt x="179" y="273"/>
                  </a:lnTo>
                  <a:lnTo>
                    <a:pt x="177" y="274"/>
                  </a:lnTo>
                  <a:lnTo>
                    <a:pt x="177" y="276"/>
                  </a:lnTo>
                  <a:lnTo>
                    <a:pt x="177" y="277"/>
                  </a:lnTo>
                  <a:lnTo>
                    <a:pt x="176" y="277"/>
                  </a:lnTo>
                  <a:lnTo>
                    <a:pt x="175" y="279"/>
                  </a:lnTo>
                  <a:lnTo>
                    <a:pt x="175" y="282"/>
                  </a:lnTo>
                  <a:lnTo>
                    <a:pt x="175" y="283"/>
                  </a:lnTo>
                  <a:lnTo>
                    <a:pt x="176" y="283"/>
                  </a:lnTo>
                  <a:lnTo>
                    <a:pt x="176" y="280"/>
                  </a:lnTo>
                  <a:lnTo>
                    <a:pt x="177" y="283"/>
                  </a:lnTo>
                  <a:lnTo>
                    <a:pt x="177" y="282"/>
                  </a:lnTo>
                  <a:lnTo>
                    <a:pt x="179" y="280"/>
                  </a:lnTo>
                  <a:lnTo>
                    <a:pt x="177" y="279"/>
                  </a:lnTo>
                  <a:lnTo>
                    <a:pt x="176" y="279"/>
                  </a:lnTo>
                  <a:lnTo>
                    <a:pt x="176" y="278"/>
                  </a:lnTo>
                  <a:lnTo>
                    <a:pt x="176" y="277"/>
                  </a:lnTo>
                  <a:lnTo>
                    <a:pt x="177" y="277"/>
                  </a:lnTo>
                  <a:lnTo>
                    <a:pt x="177" y="276"/>
                  </a:lnTo>
                  <a:lnTo>
                    <a:pt x="179" y="274"/>
                  </a:lnTo>
                  <a:lnTo>
                    <a:pt x="180" y="273"/>
                  </a:lnTo>
                  <a:lnTo>
                    <a:pt x="180" y="272"/>
                  </a:lnTo>
                  <a:lnTo>
                    <a:pt x="181" y="271"/>
                  </a:lnTo>
                  <a:lnTo>
                    <a:pt x="181" y="272"/>
                  </a:lnTo>
                  <a:lnTo>
                    <a:pt x="180" y="273"/>
                  </a:lnTo>
                  <a:lnTo>
                    <a:pt x="181" y="273"/>
                  </a:lnTo>
                  <a:lnTo>
                    <a:pt x="181" y="274"/>
                  </a:lnTo>
                  <a:lnTo>
                    <a:pt x="180" y="276"/>
                  </a:lnTo>
                  <a:lnTo>
                    <a:pt x="180" y="277"/>
                  </a:lnTo>
                  <a:lnTo>
                    <a:pt x="180" y="279"/>
                  </a:lnTo>
                  <a:lnTo>
                    <a:pt x="180" y="280"/>
                  </a:lnTo>
                  <a:lnTo>
                    <a:pt x="181" y="279"/>
                  </a:lnTo>
                  <a:lnTo>
                    <a:pt x="181" y="277"/>
                  </a:lnTo>
                  <a:lnTo>
                    <a:pt x="181" y="276"/>
                  </a:lnTo>
                  <a:lnTo>
                    <a:pt x="182" y="276"/>
                  </a:lnTo>
                  <a:lnTo>
                    <a:pt x="182" y="274"/>
                  </a:lnTo>
                  <a:lnTo>
                    <a:pt x="182" y="273"/>
                  </a:lnTo>
                  <a:lnTo>
                    <a:pt x="182" y="272"/>
                  </a:lnTo>
                  <a:lnTo>
                    <a:pt x="182" y="271"/>
                  </a:lnTo>
                  <a:lnTo>
                    <a:pt x="182" y="268"/>
                  </a:lnTo>
                  <a:lnTo>
                    <a:pt x="182" y="270"/>
                  </a:lnTo>
                  <a:lnTo>
                    <a:pt x="182" y="271"/>
                  </a:lnTo>
                  <a:lnTo>
                    <a:pt x="183" y="271"/>
                  </a:lnTo>
                  <a:lnTo>
                    <a:pt x="183" y="272"/>
                  </a:lnTo>
                  <a:lnTo>
                    <a:pt x="183" y="273"/>
                  </a:lnTo>
                  <a:lnTo>
                    <a:pt x="183" y="272"/>
                  </a:lnTo>
                  <a:lnTo>
                    <a:pt x="185" y="272"/>
                  </a:lnTo>
                  <a:lnTo>
                    <a:pt x="183" y="273"/>
                  </a:lnTo>
                  <a:lnTo>
                    <a:pt x="183" y="274"/>
                  </a:lnTo>
                  <a:lnTo>
                    <a:pt x="183" y="276"/>
                  </a:lnTo>
                  <a:lnTo>
                    <a:pt x="185" y="276"/>
                  </a:lnTo>
                  <a:lnTo>
                    <a:pt x="186" y="276"/>
                  </a:lnTo>
                  <a:lnTo>
                    <a:pt x="186" y="274"/>
                  </a:lnTo>
                  <a:lnTo>
                    <a:pt x="187" y="276"/>
                  </a:lnTo>
                  <a:lnTo>
                    <a:pt x="187" y="277"/>
                  </a:lnTo>
                  <a:lnTo>
                    <a:pt x="188" y="277"/>
                  </a:lnTo>
                  <a:lnTo>
                    <a:pt x="189" y="278"/>
                  </a:lnTo>
                  <a:lnTo>
                    <a:pt x="189" y="277"/>
                  </a:lnTo>
                  <a:lnTo>
                    <a:pt x="189" y="276"/>
                  </a:lnTo>
                  <a:lnTo>
                    <a:pt x="188" y="276"/>
                  </a:lnTo>
                  <a:lnTo>
                    <a:pt x="189" y="276"/>
                  </a:lnTo>
                  <a:lnTo>
                    <a:pt x="191" y="276"/>
                  </a:lnTo>
                  <a:lnTo>
                    <a:pt x="192" y="276"/>
                  </a:lnTo>
                  <a:lnTo>
                    <a:pt x="193" y="276"/>
                  </a:lnTo>
                  <a:lnTo>
                    <a:pt x="193" y="274"/>
                  </a:lnTo>
                  <a:lnTo>
                    <a:pt x="192" y="274"/>
                  </a:lnTo>
                  <a:lnTo>
                    <a:pt x="191" y="274"/>
                  </a:lnTo>
                  <a:lnTo>
                    <a:pt x="189" y="274"/>
                  </a:lnTo>
                  <a:lnTo>
                    <a:pt x="189" y="273"/>
                  </a:lnTo>
                  <a:lnTo>
                    <a:pt x="188" y="273"/>
                  </a:lnTo>
                  <a:lnTo>
                    <a:pt x="187" y="272"/>
                  </a:lnTo>
                  <a:lnTo>
                    <a:pt x="186" y="271"/>
                  </a:lnTo>
                  <a:lnTo>
                    <a:pt x="186" y="270"/>
                  </a:lnTo>
                  <a:lnTo>
                    <a:pt x="185" y="270"/>
                  </a:lnTo>
                  <a:lnTo>
                    <a:pt x="183" y="268"/>
                  </a:lnTo>
                  <a:lnTo>
                    <a:pt x="183" y="267"/>
                  </a:lnTo>
                  <a:lnTo>
                    <a:pt x="185" y="266"/>
                  </a:lnTo>
                  <a:lnTo>
                    <a:pt x="187" y="266"/>
                  </a:lnTo>
                  <a:lnTo>
                    <a:pt x="187" y="265"/>
                  </a:lnTo>
                  <a:lnTo>
                    <a:pt x="188" y="264"/>
                  </a:lnTo>
                  <a:lnTo>
                    <a:pt x="189" y="262"/>
                  </a:lnTo>
                  <a:lnTo>
                    <a:pt x="192" y="261"/>
                  </a:lnTo>
                  <a:lnTo>
                    <a:pt x="193" y="264"/>
                  </a:lnTo>
                  <a:lnTo>
                    <a:pt x="193" y="265"/>
                  </a:lnTo>
                  <a:lnTo>
                    <a:pt x="193" y="267"/>
                  </a:lnTo>
                  <a:lnTo>
                    <a:pt x="191" y="268"/>
                  </a:lnTo>
                  <a:lnTo>
                    <a:pt x="191" y="270"/>
                  </a:lnTo>
                  <a:lnTo>
                    <a:pt x="188" y="271"/>
                  </a:lnTo>
                  <a:lnTo>
                    <a:pt x="187" y="271"/>
                  </a:lnTo>
                  <a:lnTo>
                    <a:pt x="188" y="271"/>
                  </a:lnTo>
                  <a:lnTo>
                    <a:pt x="191" y="270"/>
                  </a:lnTo>
                  <a:lnTo>
                    <a:pt x="192" y="268"/>
                  </a:lnTo>
                  <a:lnTo>
                    <a:pt x="193" y="268"/>
                  </a:lnTo>
                  <a:lnTo>
                    <a:pt x="193" y="267"/>
                  </a:lnTo>
                  <a:lnTo>
                    <a:pt x="193" y="270"/>
                  </a:lnTo>
                  <a:lnTo>
                    <a:pt x="193" y="271"/>
                  </a:lnTo>
                  <a:lnTo>
                    <a:pt x="193" y="273"/>
                  </a:lnTo>
                  <a:lnTo>
                    <a:pt x="193" y="271"/>
                  </a:lnTo>
                  <a:lnTo>
                    <a:pt x="193" y="270"/>
                  </a:lnTo>
                  <a:lnTo>
                    <a:pt x="194" y="268"/>
                  </a:lnTo>
                  <a:lnTo>
                    <a:pt x="194" y="267"/>
                  </a:lnTo>
                  <a:lnTo>
                    <a:pt x="195" y="267"/>
                  </a:lnTo>
                  <a:lnTo>
                    <a:pt x="195" y="266"/>
                  </a:lnTo>
                  <a:lnTo>
                    <a:pt x="195" y="265"/>
                  </a:lnTo>
                  <a:lnTo>
                    <a:pt x="194" y="264"/>
                  </a:lnTo>
                  <a:lnTo>
                    <a:pt x="195" y="264"/>
                  </a:lnTo>
                  <a:lnTo>
                    <a:pt x="197" y="266"/>
                  </a:lnTo>
                  <a:lnTo>
                    <a:pt x="198" y="266"/>
                  </a:lnTo>
                  <a:lnTo>
                    <a:pt x="198" y="267"/>
                  </a:lnTo>
                  <a:lnTo>
                    <a:pt x="198" y="270"/>
                  </a:lnTo>
                  <a:lnTo>
                    <a:pt x="197" y="272"/>
                  </a:lnTo>
                  <a:lnTo>
                    <a:pt x="194" y="276"/>
                  </a:lnTo>
                  <a:lnTo>
                    <a:pt x="192" y="278"/>
                  </a:lnTo>
                  <a:lnTo>
                    <a:pt x="191" y="280"/>
                  </a:lnTo>
                  <a:lnTo>
                    <a:pt x="189" y="280"/>
                  </a:lnTo>
                  <a:lnTo>
                    <a:pt x="189" y="282"/>
                  </a:lnTo>
                  <a:lnTo>
                    <a:pt x="188" y="282"/>
                  </a:lnTo>
                  <a:lnTo>
                    <a:pt x="187" y="282"/>
                  </a:lnTo>
                  <a:lnTo>
                    <a:pt x="186" y="282"/>
                  </a:lnTo>
                  <a:lnTo>
                    <a:pt x="185" y="282"/>
                  </a:lnTo>
                  <a:lnTo>
                    <a:pt x="183" y="280"/>
                  </a:lnTo>
                  <a:lnTo>
                    <a:pt x="183" y="279"/>
                  </a:lnTo>
                  <a:lnTo>
                    <a:pt x="182" y="278"/>
                  </a:lnTo>
                  <a:lnTo>
                    <a:pt x="182" y="277"/>
                  </a:lnTo>
                  <a:lnTo>
                    <a:pt x="182" y="278"/>
                  </a:lnTo>
                  <a:lnTo>
                    <a:pt x="182" y="279"/>
                  </a:lnTo>
                  <a:lnTo>
                    <a:pt x="182" y="280"/>
                  </a:lnTo>
                  <a:lnTo>
                    <a:pt x="183" y="280"/>
                  </a:lnTo>
                  <a:lnTo>
                    <a:pt x="185" y="282"/>
                  </a:lnTo>
                  <a:lnTo>
                    <a:pt x="185" y="283"/>
                  </a:lnTo>
                  <a:lnTo>
                    <a:pt x="186" y="283"/>
                  </a:lnTo>
                  <a:lnTo>
                    <a:pt x="187" y="284"/>
                  </a:lnTo>
                  <a:lnTo>
                    <a:pt x="187" y="285"/>
                  </a:lnTo>
                  <a:lnTo>
                    <a:pt x="186" y="284"/>
                  </a:lnTo>
                  <a:lnTo>
                    <a:pt x="185" y="283"/>
                  </a:lnTo>
                  <a:lnTo>
                    <a:pt x="183" y="283"/>
                  </a:lnTo>
                  <a:lnTo>
                    <a:pt x="182" y="283"/>
                  </a:lnTo>
                  <a:lnTo>
                    <a:pt x="183" y="284"/>
                  </a:lnTo>
                  <a:lnTo>
                    <a:pt x="183" y="285"/>
                  </a:lnTo>
                  <a:lnTo>
                    <a:pt x="182" y="284"/>
                  </a:lnTo>
                  <a:lnTo>
                    <a:pt x="181" y="284"/>
                  </a:lnTo>
                  <a:lnTo>
                    <a:pt x="182" y="285"/>
                  </a:lnTo>
                  <a:lnTo>
                    <a:pt x="182" y="287"/>
                  </a:lnTo>
                  <a:lnTo>
                    <a:pt x="182" y="288"/>
                  </a:lnTo>
                  <a:lnTo>
                    <a:pt x="181" y="288"/>
                  </a:lnTo>
                  <a:lnTo>
                    <a:pt x="180" y="288"/>
                  </a:lnTo>
                  <a:lnTo>
                    <a:pt x="180" y="289"/>
                  </a:lnTo>
                  <a:lnTo>
                    <a:pt x="177" y="290"/>
                  </a:lnTo>
                  <a:lnTo>
                    <a:pt x="176" y="291"/>
                  </a:lnTo>
                  <a:lnTo>
                    <a:pt x="175" y="293"/>
                  </a:lnTo>
                  <a:lnTo>
                    <a:pt x="174" y="294"/>
                  </a:lnTo>
                  <a:lnTo>
                    <a:pt x="174" y="295"/>
                  </a:lnTo>
                  <a:lnTo>
                    <a:pt x="174" y="297"/>
                  </a:lnTo>
                  <a:lnTo>
                    <a:pt x="175" y="296"/>
                  </a:lnTo>
                  <a:lnTo>
                    <a:pt x="175" y="295"/>
                  </a:lnTo>
                  <a:lnTo>
                    <a:pt x="176" y="294"/>
                  </a:lnTo>
                  <a:lnTo>
                    <a:pt x="176" y="293"/>
                  </a:lnTo>
                  <a:lnTo>
                    <a:pt x="177" y="291"/>
                  </a:lnTo>
                  <a:lnTo>
                    <a:pt x="179" y="291"/>
                  </a:lnTo>
                  <a:lnTo>
                    <a:pt x="180" y="290"/>
                  </a:lnTo>
                  <a:lnTo>
                    <a:pt x="181" y="289"/>
                  </a:lnTo>
                  <a:lnTo>
                    <a:pt x="182" y="288"/>
                  </a:lnTo>
                  <a:lnTo>
                    <a:pt x="183" y="287"/>
                  </a:lnTo>
                  <a:lnTo>
                    <a:pt x="183" y="288"/>
                  </a:lnTo>
                  <a:lnTo>
                    <a:pt x="185" y="288"/>
                  </a:lnTo>
                  <a:lnTo>
                    <a:pt x="183" y="290"/>
                  </a:lnTo>
                  <a:lnTo>
                    <a:pt x="183" y="291"/>
                  </a:lnTo>
                  <a:lnTo>
                    <a:pt x="185" y="290"/>
                  </a:lnTo>
                  <a:lnTo>
                    <a:pt x="185" y="289"/>
                  </a:lnTo>
                  <a:lnTo>
                    <a:pt x="186" y="289"/>
                  </a:lnTo>
                  <a:lnTo>
                    <a:pt x="187" y="288"/>
                  </a:lnTo>
                  <a:lnTo>
                    <a:pt x="187" y="287"/>
                  </a:lnTo>
                  <a:lnTo>
                    <a:pt x="188" y="287"/>
                  </a:lnTo>
                  <a:lnTo>
                    <a:pt x="189" y="287"/>
                  </a:lnTo>
                  <a:lnTo>
                    <a:pt x="189" y="288"/>
                  </a:lnTo>
                  <a:lnTo>
                    <a:pt x="189" y="289"/>
                  </a:lnTo>
                  <a:lnTo>
                    <a:pt x="188" y="289"/>
                  </a:lnTo>
                  <a:lnTo>
                    <a:pt x="187" y="289"/>
                  </a:lnTo>
                  <a:lnTo>
                    <a:pt x="186" y="290"/>
                  </a:lnTo>
                  <a:lnTo>
                    <a:pt x="185" y="290"/>
                  </a:lnTo>
                  <a:lnTo>
                    <a:pt x="185" y="291"/>
                  </a:lnTo>
                  <a:lnTo>
                    <a:pt x="183" y="293"/>
                  </a:lnTo>
                  <a:lnTo>
                    <a:pt x="183" y="294"/>
                  </a:lnTo>
                  <a:lnTo>
                    <a:pt x="182" y="293"/>
                  </a:lnTo>
                  <a:lnTo>
                    <a:pt x="182" y="294"/>
                  </a:lnTo>
                  <a:lnTo>
                    <a:pt x="183" y="295"/>
                  </a:lnTo>
                  <a:lnTo>
                    <a:pt x="185" y="295"/>
                  </a:lnTo>
                  <a:lnTo>
                    <a:pt x="186" y="294"/>
                  </a:lnTo>
                  <a:lnTo>
                    <a:pt x="187" y="293"/>
                  </a:lnTo>
                  <a:lnTo>
                    <a:pt x="188" y="291"/>
                  </a:lnTo>
                  <a:lnTo>
                    <a:pt x="189" y="291"/>
                  </a:lnTo>
                  <a:lnTo>
                    <a:pt x="188" y="294"/>
                  </a:lnTo>
                  <a:lnTo>
                    <a:pt x="187" y="294"/>
                  </a:lnTo>
                  <a:lnTo>
                    <a:pt x="186" y="295"/>
                  </a:lnTo>
                  <a:lnTo>
                    <a:pt x="183" y="296"/>
                  </a:lnTo>
                  <a:lnTo>
                    <a:pt x="185" y="296"/>
                  </a:lnTo>
                  <a:lnTo>
                    <a:pt x="186" y="297"/>
                  </a:lnTo>
                  <a:lnTo>
                    <a:pt x="187" y="299"/>
                  </a:lnTo>
                  <a:lnTo>
                    <a:pt x="188" y="300"/>
                  </a:lnTo>
                  <a:lnTo>
                    <a:pt x="189" y="301"/>
                  </a:lnTo>
                  <a:lnTo>
                    <a:pt x="189" y="302"/>
                  </a:lnTo>
                  <a:lnTo>
                    <a:pt x="188" y="302"/>
                  </a:lnTo>
                  <a:lnTo>
                    <a:pt x="188" y="301"/>
                  </a:lnTo>
                  <a:lnTo>
                    <a:pt x="187" y="300"/>
                  </a:lnTo>
                  <a:lnTo>
                    <a:pt x="186" y="300"/>
                  </a:lnTo>
                  <a:lnTo>
                    <a:pt x="187" y="301"/>
                  </a:lnTo>
                  <a:lnTo>
                    <a:pt x="186" y="302"/>
                  </a:lnTo>
                  <a:lnTo>
                    <a:pt x="185" y="302"/>
                  </a:lnTo>
                  <a:lnTo>
                    <a:pt x="185" y="303"/>
                  </a:lnTo>
                  <a:lnTo>
                    <a:pt x="185" y="305"/>
                  </a:lnTo>
                  <a:lnTo>
                    <a:pt x="186" y="305"/>
                  </a:lnTo>
                  <a:lnTo>
                    <a:pt x="186" y="306"/>
                  </a:lnTo>
                  <a:lnTo>
                    <a:pt x="187" y="306"/>
                  </a:lnTo>
                  <a:lnTo>
                    <a:pt x="188" y="306"/>
                  </a:lnTo>
                  <a:lnTo>
                    <a:pt x="189" y="305"/>
                  </a:lnTo>
                  <a:lnTo>
                    <a:pt x="191" y="305"/>
                  </a:lnTo>
                  <a:lnTo>
                    <a:pt x="191" y="303"/>
                  </a:lnTo>
                  <a:lnTo>
                    <a:pt x="191" y="302"/>
                  </a:lnTo>
                  <a:lnTo>
                    <a:pt x="192" y="302"/>
                  </a:lnTo>
                  <a:lnTo>
                    <a:pt x="192" y="301"/>
                  </a:lnTo>
                  <a:lnTo>
                    <a:pt x="193" y="300"/>
                  </a:lnTo>
                  <a:lnTo>
                    <a:pt x="194" y="300"/>
                  </a:lnTo>
                  <a:lnTo>
                    <a:pt x="195" y="300"/>
                  </a:lnTo>
                  <a:lnTo>
                    <a:pt x="197" y="299"/>
                  </a:lnTo>
                  <a:lnTo>
                    <a:pt x="198" y="299"/>
                  </a:lnTo>
                  <a:lnTo>
                    <a:pt x="198" y="300"/>
                  </a:lnTo>
                  <a:lnTo>
                    <a:pt x="197" y="300"/>
                  </a:lnTo>
                  <a:lnTo>
                    <a:pt x="197" y="301"/>
                  </a:lnTo>
                  <a:lnTo>
                    <a:pt x="197" y="302"/>
                  </a:lnTo>
                  <a:lnTo>
                    <a:pt x="195" y="301"/>
                  </a:lnTo>
                  <a:lnTo>
                    <a:pt x="194" y="301"/>
                  </a:lnTo>
                  <a:lnTo>
                    <a:pt x="193" y="302"/>
                  </a:lnTo>
                  <a:lnTo>
                    <a:pt x="193" y="303"/>
                  </a:lnTo>
                  <a:lnTo>
                    <a:pt x="194" y="305"/>
                  </a:lnTo>
                  <a:lnTo>
                    <a:pt x="195" y="305"/>
                  </a:lnTo>
                  <a:lnTo>
                    <a:pt x="197" y="303"/>
                  </a:lnTo>
                  <a:lnTo>
                    <a:pt x="198" y="303"/>
                  </a:lnTo>
                  <a:lnTo>
                    <a:pt x="197" y="305"/>
                  </a:lnTo>
                  <a:lnTo>
                    <a:pt x="195" y="305"/>
                  </a:lnTo>
                  <a:lnTo>
                    <a:pt x="195" y="306"/>
                  </a:lnTo>
                  <a:lnTo>
                    <a:pt x="195" y="307"/>
                  </a:lnTo>
                  <a:lnTo>
                    <a:pt x="195" y="308"/>
                  </a:lnTo>
                  <a:lnTo>
                    <a:pt x="194" y="308"/>
                  </a:lnTo>
                  <a:lnTo>
                    <a:pt x="193" y="308"/>
                  </a:lnTo>
                  <a:lnTo>
                    <a:pt x="193" y="306"/>
                  </a:lnTo>
                  <a:lnTo>
                    <a:pt x="192" y="306"/>
                  </a:lnTo>
                  <a:lnTo>
                    <a:pt x="192" y="307"/>
                  </a:lnTo>
                  <a:lnTo>
                    <a:pt x="192" y="308"/>
                  </a:lnTo>
                  <a:lnTo>
                    <a:pt x="191" y="309"/>
                  </a:lnTo>
                  <a:lnTo>
                    <a:pt x="191" y="311"/>
                  </a:lnTo>
                  <a:lnTo>
                    <a:pt x="192" y="312"/>
                  </a:lnTo>
                  <a:lnTo>
                    <a:pt x="192" y="313"/>
                  </a:lnTo>
                  <a:lnTo>
                    <a:pt x="192" y="312"/>
                  </a:lnTo>
                  <a:lnTo>
                    <a:pt x="193" y="311"/>
                  </a:lnTo>
                  <a:lnTo>
                    <a:pt x="194" y="311"/>
                  </a:lnTo>
                  <a:lnTo>
                    <a:pt x="195" y="309"/>
                  </a:lnTo>
                  <a:lnTo>
                    <a:pt x="197" y="309"/>
                  </a:lnTo>
                  <a:lnTo>
                    <a:pt x="197" y="311"/>
                  </a:lnTo>
                  <a:lnTo>
                    <a:pt x="198" y="311"/>
                  </a:lnTo>
                  <a:lnTo>
                    <a:pt x="198" y="309"/>
                  </a:lnTo>
                  <a:lnTo>
                    <a:pt x="197" y="308"/>
                  </a:lnTo>
                  <a:lnTo>
                    <a:pt x="198" y="308"/>
                  </a:lnTo>
                  <a:lnTo>
                    <a:pt x="198" y="307"/>
                  </a:lnTo>
                  <a:lnTo>
                    <a:pt x="199" y="308"/>
                  </a:lnTo>
                  <a:lnTo>
                    <a:pt x="199" y="311"/>
                  </a:lnTo>
                  <a:lnTo>
                    <a:pt x="200" y="311"/>
                  </a:lnTo>
                  <a:lnTo>
                    <a:pt x="200" y="309"/>
                  </a:lnTo>
                  <a:lnTo>
                    <a:pt x="199" y="307"/>
                  </a:lnTo>
                  <a:lnTo>
                    <a:pt x="200" y="307"/>
                  </a:lnTo>
                  <a:lnTo>
                    <a:pt x="201" y="307"/>
                  </a:lnTo>
                  <a:lnTo>
                    <a:pt x="203" y="307"/>
                  </a:lnTo>
                  <a:lnTo>
                    <a:pt x="204" y="307"/>
                  </a:lnTo>
                  <a:lnTo>
                    <a:pt x="205" y="308"/>
                  </a:lnTo>
                  <a:lnTo>
                    <a:pt x="205" y="309"/>
                  </a:lnTo>
                  <a:lnTo>
                    <a:pt x="204" y="311"/>
                  </a:lnTo>
                  <a:lnTo>
                    <a:pt x="203" y="311"/>
                  </a:lnTo>
                  <a:lnTo>
                    <a:pt x="201" y="311"/>
                  </a:lnTo>
                  <a:lnTo>
                    <a:pt x="201" y="312"/>
                  </a:lnTo>
                  <a:lnTo>
                    <a:pt x="203" y="312"/>
                  </a:lnTo>
                  <a:lnTo>
                    <a:pt x="204" y="312"/>
                  </a:lnTo>
                  <a:lnTo>
                    <a:pt x="205" y="312"/>
                  </a:lnTo>
                  <a:lnTo>
                    <a:pt x="205" y="313"/>
                  </a:lnTo>
                  <a:lnTo>
                    <a:pt x="205" y="314"/>
                  </a:lnTo>
                  <a:lnTo>
                    <a:pt x="204" y="314"/>
                  </a:lnTo>
                  <a:lnTo>
                    <a:pt x="203" y="314"/>
                  </a:lnTo>
                  <a:lnTo>
                    <a:pt x="203" y="315"/>
                  </a:lnTo>
                  <a:lnTo>
                    <a:pt x="204" y="317"/>
                  </a:lnTo>
                  <a:lnTo>
                    <a:pt x="205" y="317"/>
                  </a:lnTo>
                  <a:lnTo>
                    <a:pt x="206" y="318"/>
                  </a:lnTo>
                  <a:lnTo>
                    <a:pt x="207" y="317"/>
                  </a:lnTo>
                  <a:lnTo>
                    <a:pt x="207" y="315"/>
                  </a:lnTo>
                  <a:lnTo>
                    <a:pt x="207" y="313"/>
                  </a:lnTo>
                  <a:lnTo>
                    <a:pt x="209" y="312"/>
                  </a:lnTo>
                  <a:lnTo>
                    <a:pt x="210" y="312"/>
                  </a:lnTo>
                  <a:lnTo>
                    <a:pt x="211" y="311"/>
                  </a:lnTo>
                  <a:lnTo>
                    <a:pt x="212" y="311"/>
                  </a:lnTo>
                  <a:lnTo>
                    <a:pt x="214" y="309"/>
                  </a:lnTo>
                  <a:lnTo>
                    <a:pt x="215" y="309"/>
                  </a:lnTo>
                  <a:lnTo>
                    <a:pt x="215" y="308"/>
                  </a:lnTo>
                  <a:lnTo>
                    <a:pt x="216" y="309"/>
                  </a:lnTo>
                  <a:lnTo>
                    <a:pt x="216" y="312"/>
                  </a:lnTo>
                  <a:lnTo>
                    <a:pt x="217" y="313"/>
                  </a:lnTo>
                  <a:lnTo>
                    <a:pt x="218" y="314"/>
                  </a:lnTo>
                  <a:lnTo>
                    <a:pt x="220" y="313"/>
                  </a:lnTo>
                  <a:lnTo>
                    <a:pt x="221" y="312"/>
                  </a:lnTo>
                  <a:lnTo>
                    <a:pt x="221" y="311"/>
                  </a:lnTo>
                  <a:lnTo>
                    <a:pt x="221" y="309"/>
                  </a:lnTo>
                  <a:lnTo>
                    <a:pt x="222" y="309"/>
                  </a:lnTo>
                  <a:lnTo>
                    <a:pt x="222" y="308"/>
                  </a:lnTo>
                  <a:lnTo>
                    <a:pt x="222" y="311"/>
                  </a:lnTo>
                  <a:lnTo>
                    <a:pt x="222" y="313"/>
                  </a:lnTo>
                  <a:lnTo>
                    <a:pt x="223" y="312"/>
                  </a:lnTo>
                  <a:lnTo>
                    <a:pt x="224" y="312"/>
                  </a:lnTo>
                  <a:lnTo>
                    <a:pt x="224" y="313"/>
                  </a:lnTo>
                  <a:lnTo>
                    <a:pt x="224" y="315"/>
                  </a:lnTo>
                  <a:lnTo>
                    <a:pt x="226" y="318"/>
                  </a:lnTo>
                  <a:lnTo>
                    <a:pt x="227" y="318"/>
                  </a:lnTo>
                  <a:lnTo>
                    <a:pt x="228" y="318"/>
                  </a:lnTo>
                  <a:lnTo>
                    <a:pt x="228" y="317"/>
                  </a:lnTo>
                  <a:lnTo>
                    <a:pt x="228" y="315"/>
                  </a:lnTo>
                  <a:lnTo>
                    <a:pt x="227" y="315"/>
                  </a:lnTo>
                  <a:lnTo>
                    <a:pt x="226" y="315"/>
                  </a:lnTo>
                  <a:lnTo>
                    <a:pt x="226" y="314"/>
                  </a:lnTo>
                  <a:lnTo>
                    <a:pt x="224" y="313"/>
                  </a:lnTo>
                  <a:lnTo>
                    <a:pt x="226" y="313"/>
                  </a:lnTo>
                  <a:lnTo>
                    <a:pt x="227" y="313"/>
                  </a:lnTo>
                  <a:lnTo>
                    <a:pt x="228" y="314"/>
                  </a:lnTo>
                  <a:lnTo>
                    <a:pt x="229" y="314"/>
                  </a:lnTo>
                  <a:lnTo>
                    <a:pt x="230" y="314"/>
                  </a:lnTo>
                  <a:lnTo>
                    <a:pt x="232" y="314"/>
                  </a:lnTo>
                  <a:lnTo>
                    <a:pt x="232" y="313"/>
                  </a:lnTo>
                  <a:lnTo>
                    <a:pt x="233" y="313"/>
                  </a:lnTo>
                  <a:lnTo>
                    <a:pt x="233" y="312"/>
                  </a:lnTo>
                  <a:lnTo>
                    <a:pt x="232" y="311"/>
                  </a:lnTo>
                  <a:lnTo>
                    <a:pt x="233" y="311"/>
                  </a:lnTo>
                  <a:lnTo>
                    <a:pt x="235" y="311"/>
                  </a:lnTo>
                  <a:lnTo>
                    <a:pt x="236" y="311"/>
                  </a:lnTo>
                  <a:lnTo>
                    <a:pt x="236" y="309"/>
                  </a:lnTo>
                  <a:lnTo>
                    <a:pt x="238" y="308"/>
                  </a:lnTo>
                  <a:lnTo>
                    <a:pt x="239" y="308"/>
                  </a:lnTo>
                  <a:lnTo>
                    <a:pt x="240" y="307"/>
                  </a:lnTo>
                  <a:lnTo>
                    <a:pt x="240" y="306"/>
                  </a:lnTo>
                  <a:lnTo>
                    <a:pt x="241" y="305"/>
                  </a:lnTo>
                  <a:lnTo>
                    <a:pt x="242" y="306"/>
                  </a:lnTo>
                  <a:lnTo>
                    <a:pt x="244" y="305"/>
                  </a:lnTo>
                  <a:lnTo>
                    <a:pt x="245" y="303"/>
                  </a:lnTo>
                  <a:lnTo>
                    <a:pt x="245" y="306"/>
                  </a:lnTo>
                  <a:lnTo>
                    <a:pt x="244" y="307"/>
                  </a:lnTo>
                  <a:lnTo>
                    <a:pt x="245" y="308"/>
                  </a:lnTo>
                  <a:lnTo>
                    <a:pt x="246" y="309"/>
                  </a:lnTo>
                  <a:lnTo>
                    <a:pt x="247" y="309"/>
                  </a:lnTo>
                  <a:lnTo>
                    <a:pt x="248" y="308"/>
                  </a:lnTo>
                  <a:lnTo>
                    <a:pt x="247" y="309"/>
                  </a:lnTo>
                  <a:lnTo>
                    <a:pt x="247" y="311"/>
                  </a:lnTo>
                  <a:lnTo>
                    <a:pt x="247" y="312"/>
                  </a:lnTo>
                  <a:lnTo>
                    <a:pt x="248" y="312"/>
                  </a:lnTo>
                  <a:lnTo>
                    <a:pt x="250" y="312"/>
                  </a:lnTo>
                  <a:lnTo>
                    <a:pt x="250" y="311"/>
                  </a:lnTo>
                  <a:lnTo>
                    <a:pt x="251" y="311"/>
                  </a:lnTo>
                  <a:lnTo>
                    <a:pt x="252" y="311"/>
                  </a:lnTo>
                  <a:lnTo>
                    <a:pt x="253" y="309"/>
                  </a:lnTo>
                  <a:lnTo>
                    <a:pt x="254" y="308"/>
                  </a:lnTo>
                  <a:lnTo>
                    <a:pt x="256" y="307"/>
                  </a:lnTo>
                  <a:lnTo>
                    <a:pt x="257" y="306"/>
                  </a:lnTo>
                  <a:lnTo>
                    <a:pt x="256" y="306"/>
                  </a:lnTo>
                  <a:lnTo>
                    <a:pt x="257" y="305"/>
                  </a:lnTo>
                  <a:lnTo>
                    <a:pt x="258" y="305"/>
                  </a:lnTo>
                  <a:lnTo>
                    <a:pt x="259" y="305"/>
                  </a:lnTo>
                  <a:lnTo>
                    <a:pt x="259" y="303"/>
                  </a:lnTo>
                  <a:lnTo>
                    <a:pt x="259" y="302"/>
                  </a:lnTo>
                  <a:lnTo>
                    <a:pt x="259" y="301"/>
                  </a:lnTo>
                  <a:lnTo>
                    <a:pt x="259" y="300"/>
                  </a:lnTo>
                  <a:lnTo>
                    <a:pt x="259" y="299"/>
                  </a:lnTo>
                  <a:lnTo>
                    <a:pt x="260" y="299"/>
                  </a:lnTo>
                  <a:lnTo>
                    <a:pt x="262" y="297"/>
                  </a:lnTo>
                  <a:lnTo>
                    <a:pt x="262" y="296"/>
                  </a:lnTo>
                  <a:lnTo>
                    <a:pt x="260" y="296"/>
                  </a:lnTo>
                  <a:lnTo>
                    <a:pt x="260" y="295"/>
                  </a:lnTo>
                  <a:lnTo>
                    <a:pt x="259" y="295"/>
                  </a:lnTo>
                  <a:lnTo>
                    <a:pt x="258" y="296"/>
                  </a:lnTo>
                  <a:lnTo>
                    <a:pt x="257" y="297"/>
                  </a:lnTo>
                  <a:lnTo>
                    <a:pt x="257" y="296"/>
                  </a:lnTo>
                  <a:lnTo>
                    <a:pt x="257" y="295"/>
                  </a:lnTo>
                  <a:lnTo>
                    <a:pt x="256" y="295"/>
                  </a:lnTo>
                  <a:lnTo>
                    <a:pt x="256" y="294"/>
                  </a:lnTo>
                  <a:lnTo>
                    <a:pt x="254" y="295"/>
                  </a:lnTo>
                  <a:lnTo>
                    <a:pt x="254" y="296"/>
                  </a:lnTo>
                  <a:lnTo>
                    <a:pt x="253" y="299"/>
                  </a:lnTo>
                  <a:lnTo>
                    <a:pt x="253" y="297"/>
                  </a:lnTo>
                  <a:lnTo>
                    <a:pt x="252" y="296"/>
                  </a:lnTo>
                  <a:lnTo>
                    <a:pt x="252" y="297"/>
                  </a:lnTo>
                  <a:lnTo>
                    <a:pt x="251" y="297"/>
                  </a:lnTo>
                  <a:lnTo>
                    <a:pt x="251" y="299"/>
                  </a:lnTo>
                  <a:lnTo>
                    <a:pt x="250" y="299"/>
                  </a:lnTo>
                  <a:lnTo>
                    <a:pt x="251" y="297"/>
                  </a:lnTo>
                  <a:lnTo>
                    <a:pt x="251" y="296"/>
                  </a:lnTo>
                  <a:lnTo>
                    <a:pt x="250" y="296"/>
                  </a:lnTo>
                  <a:lnTo>
                    <a:pt x="250" y="295"/>
                  </a:lnTo>
                  <a:lnTo>
                    <a:pt x="248" y="295"/>
                  </a:lnTo>
                  <a:lnTo>
                    <a:pt x="248" y="296"/>
                  </a:lnTo>
                  <a:lnTo>
                    <a:pt x="247" y="297"/>
                  </a:lnTo>
                  <a:lnTo>
                    <a:pt x="245" y="297"/>
                  </a:lnTo>
                  <a:lnTo>
                    <a:pt x="246" y="296"/>
                  </a:lnTo>
                  <a:lnTo>
                    <a:pt x="247" y="295"/>
                  </a:lnTo>
                  <a:lnTo>
                    <a:pt x="246" y="294"/>
                  </a:lnTo>
                  <a:lnTo>
                    <a:pt x="246" y="293"/>
                  </a:lnTo>
                  <a:lnTo>
                    <a:pt x="245" y="293"/>
                  </a:lnTo>
                  <a:lnTo>
                    <a:pt x="245" y="291"/>
                  </a:lnTo>
                  <a:lnTo>
                    <a:pt x="244" y="290"/>
                  </a:lnTo>
                  <a:lnTo>
                    <a:pt x="244" y="291"/>
                  </a:lnTo>
                  <a:lnTo>
                    <a:pt x="244" y="290"/>
                  </a:lnTo>
                  <a:lnTo>
                    <a:pt x="242" y="289"/>
                  </a:lnTo>
                  <a:lnTo>
                    <a:pt x="241" y="288"/>
                  </a:lnTo>
                  <a:lnTo>
                    <a:pt x="240" y="288"/>
                  </a:lnTo>
                  <a:lnTo>
                    <a:pt x="238" y="288"/>
                  </a:lnTo>
                  <a:lnTo>
                    <a:pt x="236" y="287"/>
                  </a:lnTo>
                  <a:lnTo>
                    <a:pt x="236" y="285"/>
                  </a:lnTo>
                  <a:lnTo>
                    <a:pt x="235" y="284"/>
                  </a:lnTo>
                  <a:lnTo>
                    <a:pt x="234" y="284"/>
                  </a:lnTo>
                  <a:lnTo>
                    <a:pt x="234" y="283"/>
                  </a:lnTo>
                  <a:lnTo>
                    <a:pt x="234" y="282"/>
                  </a:lnTo>
                  <a:lnTo>
                    <a:pt x="235" y="282"/>
                  </a:lnTo>
                  <a:lnTo>
                    <a:pt x="235" y="283"/>
                  </a:lnTo>
                  <a:lnTo>
                    <a:pt x="236" y="283"/>
                  </a:lnTo>
                  <a:lnTo>
                    <a:pt x="236" y="284"/>
                  </a:lnTo>
                  <a:lnTo>
                    <a:pt x="238" y="285"/>
                  </a:lnTo>
                  <a:lnTo>
                    <a:pt x="238" y="287"/>
                  </a:lnTo>
                  <a:lnTo>
                    <a:pt x="239" y="288"/>
                  </a:lnTo>
                  <a:lnTo>
                    <a:pt x="240" y="287"/>
                  </a:lnTo>
                  <a:lnTo>
                    <a:pt x="240" y="285"/>
                  </a:lnTo>
                  <a:lnTo>
                    <a:pt x="240" y="284"/>
                  </a:lnTo>
                  <a:lnTo>
                    <a:pt x="239" y="284"/>
                  </a:lnTo>
                  <a:lnTo>
                    <a:pt x="238" y="283"/>
                  </a:lnTo>
                  <a:lnTo>
                    <a:pt x="236" y="282"/>
                  </a:lnTo>
                  <a:lnTo>
                    <a:pt x="236" y="280"/>
                  </a:lnTo>
                  <a:lnTo>
                    <a:pt x="235" y="280"/>
                  </a:lnTo>
                  <a:lnTo>
                    <a:pt x="234" y="280"/>
                  </a:lnTo>
                  <a:lnTo>
                    <a:pt x="234" y="279"/>
                  </a:lnTo>
                  <a:lnTo>
                    <a:pt x="235" y="279"/>
                  </a:lnTo>
                  <a:lnTo>
                    <a:pt x="235" y="278"/>
                  </a:lnTo>
                  <a:lnTo>
                    <a:pt x="236" y="279"/>
                  </a:lnTo>
                  <a:lnTo>
                    <a:pt x="238" y="279"/>
                  </a:lnTo>
                  <a:lnTo>
                    <a:pt x="238" y="280"/>
                  </a:lnTo>
                  <a:lnTo>
                    <a:pt x="240" y="282"/>
                  </a:lnTo>
                  <a:lnTo>
                    <a:pt x="241" y="283"/>
                  </a:lnTo>
                  <a:lnTo>
                    <a:pt x="240" y="284"/>
                  </a:lnTo>
                  <a:lnTo>
                    <a:pt x="241" y="284"/>
                  </a:lnTo>
                  <a:lnTo>
                    <a:pt x="242" y="284"/>
                  </a:lnTo>
                  <a:lnTo>
                    <a:pt x="242" y="283"/>
                  </a:lnTo>
                  <a:lnTo>
                    <a:pt x="244" y="283"/>
                  </a:lnTo>
                  <a:lnTo>
                    <a:pt x="244" y="284"/>
                  </a:lnTo>
                  <a:lnTo>
                    <a:pt x="245" y="283"/>
                  </a:lnTo>
                  <a:lnTo>
                    <a:pt x="246" y="283"/>
                  </a:lnTo>
                  <a:lnTo>
                    <a:pt x="247" y="284"/>
                  </a:lnTo>
                  <a:lnTo>
                    <a:pt x="250" y="284"/>
                  </a:lnTo>
                  <a:lnTo>
                    <a:pt x="251" y="284"/>
                  </a:lnTo>
                  <a:lnTo>
                    <a:pt x="251" y="283"/>
                  </a:lnTo>
                  <a:lnTo>
                    <a:pt x="250" y="282"/>
                  </a:lnTo>
                  <a:lnTo>
                    <a:pt x="251" y="280"/>
                  </a:lnTo>
                  <a:lnTo>
                    <a:pt x="250" y="280"/>
                  </a:lnTo>
                  <a:lnTo>
                    <a:pt x="248" y="280"/>
                  </a:lnTo>
                  <a:lnTo>
                    <a:pt x="248" y="279"/>
                  </a:lnTo>
                  <a:lnTo>
                    <a:pt x="248" y="278"/>
                  </a:lnTo>
                  <a:lnTo>
                    <a:pt x="250" y="279"/>
                  </a:lnTo>
                  <a:lnTo>
                    <a:pt x="251" y="279"/>
                  </a:lnTo>
                  <a:lnTo>
                    <a:pt x="251" y="278"/>
                  </a:lnTo>
                  <a:lnTo>
                    <a:pt x="251" y="277"/>
                  </a:lnTo>
                  <a:lnTo>
                    <a:pt x="250" y="276"/>
                  </a:lnTo>
                  <a:lnTo>
                    <a:pt x="251" y="276"/>
                  </a:lnTo>
                  <a:lnTo>
                    <a:pt x="251" y="274"/>
                  </a:lnTo>
                  <a:lnTo>
                    <a:pt x="250" y="274"/>
                  </a:lnTo>
                  <a:lnTo>
                    <a:pt x="248" y="274"/>
                  </a:lnTo>
                  <a:lnTo>
                    <a:pt x="248" y="276"/>
                  </a:lnTo>
                  <a:lnTo>
                    <a:pt x="247" y="276"/>
                  </a:lnTo>
                  <a:lnTo>
                    <a:pt x="246" y="276"/>
                  </a:lnTo>
                  <a:lnTo>
                    <a:pt x="246" y="277"/>
                  </a:lnTo>
                  <a:lnTo>
                    <a:pt x="245" y="277"/>
                  </a:lnTo>
                  <a:lnTo>
                    <a:pt x="244" y="277"/>
                  </a:lnTo>
                  <a:lnTo>
                    <a:pt x="242" y="277"/>
                  </a:lnTo>
                  <a:lnTo>
                    <a:pt x="242" y="276"/>
                  </a:lnTo>
                  <a:lnTo>
                    <a:pt x="244" y="274"/>
                  </a:lnTo>
                  <a:lnTo>
                    <a:pt x="245" y="274"/>
                  </a:lnTo>
                  <a:lnTo>
                    <a:pt x="247" y="274"/>
                  </a:lnTo>
                  <a:lnTo>
                    <a:pt x="246" y="273"/>
                  </a:lnTo>
                  <a:lnTo>
                    <a:pt x="247" y="273"/>
                  </a:lnTo>
                  <a:lnTo>
                    <a:pt x="248" y="273"/>
                  </a:lnTo>
                  <a:lnTo>
                    <a:pt x="250" y="272"/>
                  </a:lnTo>
                  <a:lnTo>
                    <a:pt x="251" y="272"/>
                  </a:lnTo>
                  <a:lnTo>
                    <a:pt x="252" y="272"/>
                  </a:lnTo>
                  <a:lnTo>
                    <a:pt x="253" y="271"/>
                  </a:lnTo>
                  <a:lnTo>
                    <a:pt x="254" y="271"/>
                  </a:lnTo>
                  <a:lnTo>
                    <a:pt x="254" y="270"/>
                  </a:lnTo>
                  <a:lnTo>
                    <a:pt x="253" y="268"/>
                  </a:lnTo>
                  <a:lnTo>
                    <a:pt x="252" y="267"/>
                  </a:lnTo>
                  <a:lnTo>
                    <a:pt x="251" y="267"/>
                  </a:lnTo>
                  <a:lnTo>
                    <a:pt x="250" y="267"/>
                  </a:lnTo>
                  <a:lnTo>
                    <a:pt x="250" y="268"/>
                  </a:lnTo>
                  <a:lnTo>
                    <a:pt x="248" y="270"/>
                  </a:lnTo>
                  <a:lnTo>
                    <a:pt x="247" y="271"/>
                  </a:lnTo>
                  <a:lnTo>
                    <a:pt x="246" y="272"/>
                  </a:lnTo>
                  <a:lnTo>
                    <a:pt x="245" y="273"/>
                  </a:lnTo>
                  <a:lnTo>
                    <a:pt x="244" y="273"/>
                  </a:lnTo>
                  <a:lnTo>
                    <a:pt x="241" y="274"/>
                  </a:lnTo>
                  <a:lnTo>
                    <a:pt x="240" y="276"/>
                  </a:lnTo>
                  <a:lnTo>
                    <a:pt x="239" y="276"/>
                  </a:lnTo>
                  <a:lnTo>
                    <a:pt x="238" y="276"/>
                  </a:lnTo>
                  <a:lnTo>
                    <a:pt x="238" y="274"/>
                  </a:lnTo>
                  <a:lnTo>
                    <a:pt x="239" y="273"/>
                  </a:lnTo>
                  <a:lnTo>
                    <a:pt x="240" y="273"/>
                  </a:lnTo>
                  <a:lnTo>
                    <a:pt x="240" y="272"/>
                  </a:lnTo>
                  <a:lnTo>
                    <a:pt x="239" y="272"/>
                  </a:lnTo>
                  <a:lnTo>
                    <a:pt x="239" y="271"/>
                  </a:lnTo>
                  <a:lnTo>
                    <a:pt x="238" y="271"/>
                  </a:lnTo>
                  <a:lnTo>
                    <a:pt x="238" y="272"/>
                  </a:lnTo>
                  <a:lnTo>
                    <a:pt x="235" y="272"/>
                  </a:lnTo>
                  <a:lnTo>
                    <a:pt x="234" y="273"/>
                  </a:lnTo>
                  <a:lnTo>
                    <a:pt x="234" y="272"/>
                  </a:lnTo>
                  <a:lnTo>
                    <a:pt x="235" y="271"/>
                  </a:lnTo>
                  <a:lnTo>
                    <a:pt x="236" y="271"/>
                  </a:lnTo>
                  <a:lnTo>
                    <a:pt x="235" y="270"/>
                  </a:lnTo>
                  <a:lnTo>
                    <a:pt x="234" y="271"/>
                  </a:lnTo>
                  <a:lnTo>
                    <a:pt x="234" y="272"/>
                  </a:lnTo>
                  <a:lnTo>
                    <a:pt x="234" y="273"/>
                  </a:lnTo>
                  <a:lnTo>
                    <a:pt x="233" y="273"/>
                  </a:lnTo>
                  <a:lnTo>
                    <a:pt x="233" y="272"/>
                  </a:lnTo>
                  <a:lnTo>
                    <a:pt x="232" y="272"/>
                  </a:lnTo>
                  <a:lnTo>
                    <a:pt x="230" y="272"/>
                  </a:lnTo>
                  <a:lnTo>
                    <a:pt x="230" y="273"/>
                  </a:lnTo>
                  <a:lnTo>
                    <a:pt x="230" y="274"/>
                  </a:lnTo>
                  <a:lnTo>
                    <a:pt x="229" y="276"/>
                  </a:lnTo>
                  <a:lnTo>
                    <a:pt x="229" y="274"/>
                  </a:lnTo>
                  <a:lnTo>
                    <a:pt x="228" y="273"/>
                  </a:lnTo>
                  <a:lnTo>
                    <a:pt x="228" y="274"/>
                  </a:lnTo>
                  <a:lnTo>
                    <a:pt x="227" y="273"/>
                  </a:lnTo>
                  <a:lnTo>
                    <a:pt x="226" y="272"/>
                  </a:lnTo>
                  <a:lnTo>
                    <a:pt x="227" y="272"/>
                  </a:lnTo>
                  <a:lnTo>
                    <a:pt x="227" y="271"/>
                  </a:lnTo>
                  <a:lnTo>
                    <a:pt x="229" y="270"/>
                  </a:lnTo>
                  <a:lnTo>
                    <a:pt x="228" y="268"/>
                  </a:lnTo>
                  <a:lnTo>
                    <a:pt x="227" y="268"/>
                  </a:lnTo>
                  <a:lnTo>
                    <a:pt x="226" y="268"/>
                  </a:lnTo>
                  <a:lnTo>
                    <a:pt x="226" y="270"/>
                  </a:lnTo>
                  <a:lnTo>
                    <a:pt x="226" y="271"/>
                  </a:lnTo>
                  <a:lnTo>
                    <a:pt x="224" y="270"/>
                  </a:lnTo>
                  <a:lnTo>
                    <a:pt x="223" y="270"/>
                  </a:lnTo>
                  <a:lnTo>
                    <a:pt x="222" y="270"/>
                  </a:lnTo>
                  <a:lnTo>
                    <a:pt x="221" y="268"/>
                  </a:lnTo>
                  <a:lnTo>
                    <a:pt x="220" y="271"/>
                  </a:lnTo>
                  <a:lnTo>
                    <a:pt x="218" y="270"/>
                  </a:lnTo>
                  <a:lnTo>
                    <a:pt x="217" y="270"/>
                  </a:lnTo>
                  <a:lnTo>
                    <a:pt x="217" y="268"/>
                  </a:lnTo>
                  <a:lnTo>
                    <a:pt x="218" y="268"/>
                  </a:lnTo>
                  <a:lnTo>
                    <a:pt x="220" y="268"/>
                  </a:lnTo>
                  <a:lnTo>
                    <a:pt x="221" y="267"/>
                  </a:lnTo>
                  <a:lnTo>
                    <a:pt x="222" y="266"/>
                  </a:lnTo>
                  <a:lnTo>
                    <a:pt x="221" y="266"/>
                  </a:lnTo>
                  <a:lnTo>
                    <a:pt x="221" y="265"/>
                  </a:lnTo>
                  <a:lnTo>
                    <a:pt x="222" y="264"/>
                  </a:lnTo>
                  <a:lnTo>
                    <a:pt x="223" y="264"/>
                  </a:lnTo>
                  <a:lnTo>
                    <a:pt x="223" y="262"/>
                  </a:lnTo>
                  <a:lnTo>
                    <a:pt x="222" y="262"/>
                  </a:lnTo>
                  <a:lnTo>
                    <a:pt x="221" y="262"/>
                  </a:lnTo>
                  <a:lnTo>
                    <a:pt x="220" y="262"/>
                  </a:lnTo>
                  <a:lnTo>
                    <a:pt x="220" y="261"/>
                  </a:lnTo>
                  <a:lnTo>
                    <a:pt x="221" y="261"/>
                  </a:lnTo>
                  <a:lnTo>
                    <a:pt x="222" y="261"/>
                  </a:lnTo>
                  <a:lnTo>
                    <a:pt x="223" y="262"/>
                  </a:lnTo>
                  <a:lnTo>
                    <a:pt x="224" y="261"/>
                  </a:lnTo>
                  <a:lnTo>
                    <a:pt x="226" y="262"/>
                  </a:lnTo>
                  <a:lnTo>
                    <a:pt x="227" y="262"/>
                  </a:lnTo>
                  <a:lnTo>
                    <a:pt x="228" y="265"/>
                  </a:lnTo>
                  <a:lnTo>
                    <a:pt x="228" y="266"/>
                  </a:lnTo>
                  <a:lnTo>
                    <a:pt x="228" y="267"/>
                  </a:lnTo>
                  <a:lnTo>
                    <a:pt x="229" y="267"/>
                  </a:lnTo>
                  <a:lnTo>
                    <a:pt x="230" y="266"/>
                  </a:lnTo>
                  <a:lnTo>
                    <a:pt x="232" y="266"/>
                  </a:lnTo>
                  <a:lnTo>
                    <a:pt x="233" y="266"/>
                  </a:lnTo>
                  <a:lnTo>
                    <a:pt x="234" y="266"/>
                  </a:lnTo>
                  <a:lnTo>
                    <a:pt x="236" y="266"/>
                  </a:lnTo>
                  <a:lnTo>
                    <a:pt x="238" y="266"/>
                  </a:lnTo>
                  <a:lnTo>
                    <a:pt x="238" y="265"/>
                  </a:lnTo>
                  <a:lnTo>
                    <a:pt x="238" y="264"/>
                  </a:lnTo>
                  <a:lnTo>
                    <a:pt x="236" y="264"/>
                  </a:lnTo>
                  <a:lnTo>
                    <a:pt x="235" y="265"/>
                  </a:lnTo>
                  <a:lnTo>
                    <a:pt x="234" y="265"/>
                  </a:lnTo>
                  <a:lnTo>
                    <a:pt x="233" y="265"/>
                  </a:lnTo>
                  <a:lnTo>
                    <a:pt x="233" y="264"/>
                  </a:lnTo>
                  <a:lnTo>
                    <a:pt x="230" y="264"/>
                  </a:lnTo>
                  <a:lnTo>
                    <a:pt x="230" y="262"/>
                  </a:lnTo>
                  <a:lnTo>
                    <a:pt x="229" y="262"/>
                  </a:lnTo>
                  <a:lnTo>
                    <a:pt x="228" y="261"/>
                  </a:lnTo>
                  <a:lnTo>
                    <a:pt x="227" y="261"/>
                  </a:lnTo>
                  <a:lnTo>
                    <a:pt x="228" y="261"/>
                  </a:lnTo>
                  <a:lnTo>
                    <a:pt x="229" y="260"/>
                  </a:lnTo>
                  <a:lnTo>
                    <a:pt x="228" y="259"/>
                  </a:lnTo>
                  <a:lnTo>
                    <a:pt x="227" y="259"/>
                  </a:lnTo>
                  <a:lnTo>
                    <a:pt x="227" y="258"/>
                  </a:lnTo>
                  <a:lnTo>
                    <a:pt x="227" y="256"/>
                  </a:lnTo>
                  <a:lnTo>
                    <a:pt x="226" y="256"/>
                  </a:lnTo>
                  <a:lnTo>
                    <a:pt x="224" y="256"/>
                  </a:lnTo>
                  <a:lnTo>
                    <a:pt x="223" y="256"/>
                  </a:lnTo>
                  <a:lnTo>
                    <a:pt x="222" y="255"/>
                  </a:lnTo>
                  <a:lnTo>
                    <a:pt x="222" y="254"/>
                  </a:lnTo>
                  <a:lnTo>
                    <a:pt x="222" y="253"/>
                  </a:lnTo>
                  <a:lnTo>
                    <a:pt x="222" y="254"/>
                  </a:lnTo>
                  <a:lnTo>
                    <a:pt x="223" y="255"/>
                  </a:lnTo>
                  <a:lnTo>
                    <a:pt x="224" y="256"/>
                  </a:lnTo>
                  <a:lnTo>
                    <a:pt x="226" y="255"/>
                  </a:lnTo>
                  <a:lnTo>
                    <a:pt x="224" y="255"/>
                  </a:lnTo>
                  <a:lnTo>
                    <a:pt x="224" y="254"/>
                  </a:lnTo>
                  <a:lnTo>
                    <a:pt x="226" y="255"/>
                  </a:lnTo>
                  <a:lnTo>
                    <a:pt x="227" y="255"/>
                  </a:lnTo>
                  <a:lnTo>
                    <a:pt x="228" y="256"/>
                  </a:lnTo>
                  <a:lnTo>
                    <a:pt x="229" y="258"/>
                  </a:lnTo>
                  <a:lnTo>
                    <a:pt x="230" y="258"/>
                  </a:lnTo>
                  <a:lnTo>
                    <a:pt x="230" y="259"/>
                  </a:lnTo>
                  <a:lnTo>
                    <a:pt x="232" y="260"/>
                  </a:lnTo>
                  <a:lnTo>
                    <a:pt x="232" y="261"/>
                  </a:lnTo>
                  <a:lnTo>
                    <a:pt x="232" y="260"/>
                  </a:lnTo>
                  <a:lnTo>
                    <a:pt x="230" y="260"/>
                  </a:lnTo>
                  <a:lnTo>
                    <a:pt x="230" y="261"/>
                  </a:lnTo>
                  <a:lnTo>
                    <a:pt x="232" y="261"/>
                  </a:lnTo>
                  <a:lnTo>
                    <a:pt x="232" y="262"/>
                  </a:lnTo>
                  <a:lnTo>
                    <a:pt x="234" y="262"/>
                  </a:lnTo>
                  <a:lnTo>
                    <a:pt x="234" y="264"/>
                  </a:lnTo>
                  <a:lnTo>
                    <a:pt x="235" y="262"/>
                  </a:lnTo>
                  <a:lnTo>
                    <a:pt x="236" y="262"/>
                  </a:lnTo>
                  <a:lnTo>
                    <a:pt x="238" y="262"/>
                  </a:lnTo>
                  <a:lnTo>
                    <a:pt x="236" y="261"/>
                  </a:lnTo>
                  <a:lnTo>
                    <a:pt x="238" y="260"/>
                  </a:lnTo>
                  <a:lnTo>
                    <a:pt x="239" y="261"/>
                  </a:lnTo>
                  <a:lnTo>
                    <a:pt x="241" y="261"/>
                  </a:lnTo>
                  <a:lnTo>
                    <a:pt x="242" y="259"/>
                  </a:lnTo>
                  <a:lnTo>
                    <a:pt x="241" y="259"/>
                  </a:lnTo>
                  <a:lnTo>
                    <a:pt x="240" y="259"/>
                  </a:lnTo>
                  <a:lnTo>
                    <a:pt x="239" y="258"/>
                  </a:lnTo>
                  <a:lnTo>
                    <a:pt x="238" y="258"/>
                  </a:lnTo>
                  <a:lnTo>
                    <a:pt x="236" y="258"/>
                  </a:lnTo>
                  <a:lnTo>
                    <a:pt x="235" y="256"/>
                  </a:lnTo>
                  <a:lnTo>
                    <a:pt x="233" y="256"/>
                  </a:lnTo>
                  <a:lnTo>
                    <a:pt x="232" y="256"/>
                  </a:lnTo>
                  <a:lnTo>
                    <a:pt x="230" y="255"/>
                  </a:lnTo>
                  <a:lnTo>
                    <a:pt x="229" y="255"/>
                  </a:lnTo>
                  <a:lnTo>
                    <a:pt x="228" y="254"/>
                  </a:lnTo>
                  <a:lnTo>
                    <a:pt x="227" y="253"/>
                  </a:lnTo>
                  <a:lnTo>
                    <a:pt x="227" y="252"/>
                  </a:lnTo>
                  <a:lnTo>
                    <a:pt x="226" y="250"/>
                  </a:lnTo>
                  <a:lnTo>
                    <a:pt x="224" y="249"/>
                  </a:lnTo>
                  <a:lnTo>
                    <a:pt x="223" y="249"/>
                  </a:lnTo>
                  <a:lnTo>
                    <a:pt x="222" y="249"/>
                  </a:lnTo>
                  <a:lnTo>
                    <a:pt x="222" y="248"/>
                  </a:lnTo>
                  <a:lnTo>
                    <a:pt x="222" y="247"/>
                  </a:lnTo>
                  <a:lnTo>
                    <a:pt x="222" y="246"/>
                  </a:lnTo>
                  <a:lnTo>
                    <a:pt x="223" y="247"/>
                  </a:lnTo>
                  <a:lnTo>
                    <a:pt x="224" y="247"/>
                  </a:lnTo>
                  <a:lnTo>
                    <a:pt x="226" y="247"/>
                  </a:lnTo>
                  <a:lnTo>
                    <a:pt x="227" y="249"/>
                  </a:lnTo>
                  <a:lnTo>
                    <a:pt x="227" y="250"/>
                  </a:lnTo>
                  <a:lnTo>
                    <a:pt x="228" y="250"/>
                  </a:lnTo>
                  <a:lnTo>
                    <a:pt x="228" y="252"/>
                  </a:lnTo>
                  <a:lnTo>
                    <a:pt x="229" y="253"/>
                  </a:lnTo>
                  <a:lnTo>
                    <a:pt x="230" y="254"/>
                  </a:lnTo>
                  <a:lnTo>
                    <a:pt x="233" y="254"/>
                  </a:lnTo>
                  <a:lnTo>
                    <a:pt x="234" y="255"/>
                  </a:lnTo>
                  <a:lnTo>
                    <a:pt x="235" y="256"/>
                  </a:lnTo>
                  <a:lnTo>
                    <a:pt x="236" y="256"/>
                  </a:lnTo>
                  <a:lnTo>
                    <a:pt x="238" y="255"/>
                  </a:lnTo>
                  <a:lnTo>
                    <a:pt x="239" y="256"/>
                  </a:lnTo>
                  <a:lnTo>
                    <a:pt x="240" y="258"/>
                  </a:lnTo>
                  <a:lnTo>
                    <a:pt x="241" y="258"/>
                  </a:lnTo>
                  <a:lnTo>
                    <a:pt x="242" y="258"/>
                  </a:lnTo>
                  <a:lnTo>
                    <a:pt x="242" y="256"/>
                  </a:lnTo>
                  <a:lnTo>
                    <a:pt x="241" y="256"/>
                  </a:lnTo>
                  <a:lnTo>
                    <a:pt x="239" y="255"/>
                  </a:lnTo>
                  <a:lnTo>
                    <a:pt x="240" y="254"/>
                  </a:lnTo>
                  <a:lnTo>
                    <a:pt x="241" y="254"/>
                  </a:lnTo>
                  <a:lnTo>
                    <a:pt x="242" y="254"/>
                  </a:lnTo>
                  <a:lnTo>
                    <a:pt x="244" y="252"/>
                  </a:lnTo>
                  <a:lnTo>
                    <a:pt x="244" y="250"/>
                  </a:lnTo>
                  <a:lnTo>
                    <a:pt x="242" y="250"/>
                  </a:lnTo>
                  <a:lnTo>
                    <a:pt x="242" y="249"/>
                  </a:lnTo>
                  <a:lnTo>
                    <a:pt x="242" y="250"/>
                  </a:lnTo>
                  <a:lnTo>
                    <a:pt x="241" y="252"/>
                  </a:lnTo>
                  <a:lnTo>
                    <a:pt x="239" y="252"/>
                  </a:lnTo>
                  <a:lnTo>
                    <a:pt x="239" y="250"/>
                  </a:lnTo>
                  <a:lnTo>
                    <a:pt x="238" y="250"/>
                  </a:lnTo>
                  <a:lnTo>
                    <a:pt x="238" y="252"/>
                  </a:lnTo>
                  <a:lnTo>
                    <a:pt x="238" y="253"/>
                  </a:lnTo>
                  <a:lnTo>
                    <a:pt x="236" y="253"/>
                  </a:lnTo>
                  <a:lnTo>
                    <a:pt x="236" y="252"/>
                  </a:lnTo>
                  <a:lnTo>
                    <a:pt x="235" y="252"/>
                  </a:lnTo>
                  <a:lnTo>
                    <a:pt x="234" y="250"/>
                  </a:lnTo>
                  <a:lnTo>
                    <a:pt x="234" y="249"/>
                  </a:lnTo>
                  <a:lnTo>
                    <a:pt x="233" y="249"/>
                  </a:lnTo>
                  <a:lnTo>
                    <a:pt x="233" y="248"/>
                  </a:lnTo>
                  <a:lnTo>
                    <a:pt x="232" y="247"/>
                  </a:lnTo>
                  <a:lnTo>
                    <a:pt x="230" y="247"/>
                  </a:lnTo>
                  <a:lnTo>
                    <a:pt x="230" y="246"/>
                  </a:lnTo>
                  <a:lnTo>
                    <a:pt x="232" y="246"/>
                  </a:lnTo>
                  <a:lnTo>
                    <a:pt x="233" y="246"/>
                  </a:lnTo>
                  <a:lnTo>
                    <a:pt x="234" y="246"/>
                  </a:lnTo>
                  <a:lnTo>
                    <a:pt x="235" y="247"/>
                  </a:lnTo>
                  <a:lnTo>
                    <a:pt x="238" y="248"/>
                  </a:lnTo>
                  <a:lnTo>
                    <a:pt x="240" y="248"/>
                  </a:lnTo>
                  <a:lnTo>
                    <a:pt x="240" y="247"/>
                  </a:lnTo>
                  <a:lnTo>
                    <a:pt x="240" y="246"/>
                  </a:lnTo>
                  <a:lnTo>
                    <a:pt x="239" y="246"/>
                  </a:lnTo>
                  <a:lnTo>
                    <a:pt x="238" y="246"/>
                  </a:lnTo>
                  <a:lnTo>
                    <a:pt x="235" y="244"/>
                  </a:lnTo>
                  <a:lnTo>
                    <a:pt x="236" y="244"/>
                  </a:lnTo>
                  <a:lnTo>
                    <a:pt x="238" y="246"/>
                  </a:lnTo>
                  <a:lnTo>
                    <a:pt x="238" y="244"/>
                  </a:lnTo>
                  <a:lnTo>
                    <a:pt x="239" y="244"/>
                  </a:lnTo>
                  <a:lnTo>
                    <a:pt x="239" y="243"/>
                  </a:lnTo>
                  <a:lnTo>
                    <a:pt x="240" y="244"/>
                  </a:lnTo>
                  <a:lnTo>
                    <a:pt x="240" y="246"/>
                  </a:lnTo>
                  <a:lnTo>
                    <a:pt x="241" y="246"/>
                  </a:lnTo>
                  <a:lnTo>
                    <a:pt x="242" y="246"/>
                  </a:lnTo>
                  <a:lnTo>
                    <a:pt x="242" y="244"/>
                  </a:lnTo>
                  <a:lnTo>
                    <a:pt x="242" y="243"/>
                  </a:lnTo>
                  <a:lnTo>
                    <a:pt x="242" y="242"/>
                  </a:lnTo>
                  <a:lnTo>
                    <a:pt x="241" y="242"/>
                  </a:lnTo>
                  <a:lnTo>
                    <a:pt x="240" y="242"/>
                  </a:lnTo>
                  <a:lnTo>
                    <a:pt x="240" y="241"/>
                  </a:lnTo>
                  <a:lnTo>
                    <a:pt x="240" y="242"/>
                  </a:lnTo>
                  <a:lnTo>
                    <a:pt x="239" y="242"/>
                  </a:lnTo>
                  <a:lnTo>
                    <a:pt x="238" y="242"/>
                  </a:lnTo>
                  <a:lnTo>
                    <a:pt x="236" y="242"/>
                  </a:lnTo>
                  <a:lnTo>
                    <a:pt x="236" y="241"/>
                  </a:lnTo>
                  <a:lnTo>
                    <a:pt x="238" y="240"/>
                  </a:lnTo>
                  <a:lnTo>
                    <a:pt x="236" y="240"/>
                  </a:lnTo>
                  <a:lnTo>
                    <a:pt x="234" y="240"/>
                  </a:lnTo>
                  <a:lnTo>
                    <a:pt x="233" y="241"/>
                  </a:lnTo>
                  <a:lnTo>
                    <a:pt x="232" y="241"/>
                  </a:lnTo>
                  <a:lnTo>
                    <a:pt x="233" y="238"/>
                  </a:lnTo>
                  <a:lnTo>
                    <a:pt x="234" y="238"/>
                  </a:lnTo>
                  <a:lnTo>
                    <a:pt x="235" y="238"/>
                  </a:lnTo>
                  <a:lnTo>
                    <a:pt x="236" y="237"/>
                  </a:lnTo>
                  <a:lnTo>
                    <a:pt x="236" y="236"/>
                  </a:lnTo>
                  <a:lnTo>
                    <a:pt x="239" y="236"/>
                  </a:lnTo>
                  <a:lnTo>
                    <a:pt x="240" y="235"/>
                  </a:lnTo>
                  <a:lnTo>
                    <a:pt x="241" y="235"/>
                  </a:lnTo>
                  <a:lnTo>
                    <a:pt x="241" y="234"/>
                  </a:lnTo>
                  <a:lnTo>
                    <a:pt x="241" y="232"/>
                  </a:lnTo>
                  <a:lnTo>
                    <a:pt x="240" y="232"/>
                  </a:lnTo>
                  <a:lnTo>
                    <a:pt x="240" y="231"/>
                  </a:lnTo>
                  <a:lnTo>
                    <a:pt x="239" y="232"/>
                  </a:lnTo>
                  <a:lnTo>
                    <a:pt x="238" y="232"/>
                  </a:lnTo>
                  <a:lnTo>
                    <a:pt x="238" y="231"/>
                  </a:lnTo>
                  <a:lnTo>
                    <a:pt x="236" y="231"/>
                  </a:lnTo>
                  <a:lnTo>
                    <a:pt x="235" y="232"/>
                  </a:lnTo>
                  <a:lnTo>
                    <a:pt x="235" y="234"/>
                  </a:lnTo>
                  <a:lnTo>
                    <a:pt x="235" y="232"/>
                  </a:lnTo>
                  <a:lnTo>
                    <a:pt x="235" y="231"/>
                  </a:lnTo>
                  <a:lnTo>
                    <a:pt x="234" y="231"/>
                  </a:lnTo>
                  <a:lnTo>
                    <a:pt x="233" y="232"/>
                  </a:lnTo>
                  <a:lnTo>
                    <a:pt x="232" y="234"/>
                  </a:lnTo>
                  <a:lnTo>
                    <a:pt x="230" y="234"/>
                  </a:lnTo>
                  <a:lnTo>
                    <a:pt x="232" y="232"/>
                  </a:lnTo>
                  <a:lnTo>
                    <a:pt x="233" y="232"/>
                  </a:lnTo>
                  <a:lnTo>
                    <a:pt x="233" y="231"/>
                  </a:lnTo>
                  <a:lnTo>
                    <a:pt x="232" y="230"/>
                  </a:lnTo>
                  <a:lnTo>
                    <a:pt x="232" y="229"/>
                  </a:lnTo>
                  <a:lnTo>
                    <a:pt x="230" y="229"/>
                  </a:lnTo>
                  <a:lnTo>
                    <a:pt x="232" y="228"/>
                  </a:lnTo>
                  <a:lnTo>
                    <a:pt x="232" y="229"/>
                  </a:lnTo>
                  <a:lnTo>
                    <a:pt x="233" y="229"/>
                  </a:lnTo>
                  <a:lnTo>
                    <a:pt x="234" y="229"/>
                  </a:lnTo>
                  <a:lnTo>
                    <a:pt x="234" y="228"/>
                  </a:lnTo>
                  <a:lnTo>
                    <a:pt x="235" y="228"/>
                  </a:lnTo>
                  <a:lnTo>
                    <a:pt x="235" y="226"/>
                  </a:lnTo>
                  <a:lnTo>
                    <a:pt x="234" y="225"/>
                  </a:lnTo>
                  <a:lnTo>
                    <a:pt x="233" y="224"/>
                  </a:lnTo>
                  <a:lnTo>
                    <a:pt x="232" y="224"/>
                  </a:lnTo>
                  <a:lnTo>
                    <a:pt x="232" y="225"/>
                  </a:lnTo>
                  <a:lnTo>
                    <a:pt x="230" y="225"/>
                  </a:lnTo>
                  <a:lnTo>
                    <a:pt x="229" y="225"/>
                  </a:lnTo>
                  <a:lnTo>
                    <a:pt x="228" y="225"/>
                  </a:lnTo>
                  <a:lnTo>
                    <a:pt x="227" y="226"/>
                  </a:lnTo>
                  <a:lnTo>
                    <a:pt x="227" y="228"/>
                  </a:lnTo>
                  <a:lnTo>
                    <a:pt x="228" y="228"/>
                  </a:lnTo>
                  <a:lnTo>
                    <a:pt x="228" y="229"/>
                  </a:lnTo>
                  <a:lnTo>
                    <a:pt x="228" y="230"/>
                  </a:lnTo>
                  <a:lnTo>
                    <a:pt x="227" y="229"/>
                  </a:lnTo>
                  <a:lnTo>
                    <a:pt x="226" y="229"/>
                  </a:lnTo>
                  <a:lnTo>
                    <a:pt x="226" y="228"/>
                  </a:lnTo>
                  <a:lnTo>
                    <a:pt x="224" y="228"/>
                  </a:lnTo>
                  <a:lnTo>
                    <a:pt x="224" y="226"/>
                  </a:lnTo>
                  <a:lnTo>
                    <a:pt x="226" y="225"/>
                  </a:lnTo>
                  <a:lnTo>
                    <a:pt x="226" y="224"/>
                  </a:lnTo>
                  <a:lnTo>
                    <a:pt x="226" y="223"/>
                  </a:lnTo>
                  <a:lnTo>
                    <a:pt x="224" y="223"/>
                  </a:lnTo>
                  <a:lnTo>
                    <a:pt x="222" y="223"/>
                  </a:lnTo>
                  <a:lnTo>
                    <a:pt x="222" y="224"/>
                  </a:lnTo>
                  <a:lnTo>
                    <a:pt x="222" y="225"/>
                  </a:lnTo>
                  <a:lnTo>
                    <a:pt x="221" y="226"/>
                  </a:lnTo>
                  <a:lnTo>
                    <a:pt x="220" y="225"/>
                  </a:lnTo>
                  <a:lnTo>
                    <a:pt x="221" y="224"/>
                  </a:lnTo>
                  <a:lnTo>
                    <a:pt x="221" y="223"/>
                  </a:lnTo>
                  <a:lnTo>
                    <a:pt x="222" y="223"/>
                  </a:lnTo>
                  <a:lnTo>
                    <a:pt x="224" y="222"/>
                  </a:lnTo>
                  <a:lnTo>
                    <a:pt x="224" y="220"/>
                  </a:lnTo>
                  <a:lnTo>
                    <a:pt x="223" y="220"/>
                  </a:lnTo>
                  <a:lnTo>
                    <a:pt x="223" y="219"/>
                  </a:lnTo>
                  <a:lnTo>
                    <a:pt x="224" y="219"/>
                  </a:lnTo>
                  <a:lnTo>
                    <a:pt x="226" y="219"/>
                  </a:lnTo>
                  <a:lnTo>
                    <a:pt x="227" y="219"/>
                  </a:lnTo>
                  <a:lnTo>
                    <a:pt x="227" y="218"/>
                  </a:lnTo>
                  <a:lnTo>
                    <a:pt x="228" y="217"/>
                  </a:lnTo>
                  <a:lnTo>
                    <a:pt x="228" y="216"/>
                  </a:lnTo>
                  <a:lnTo>
                    <a:pt x="229" y="216"/>
                  </a:lnTo>
                  <a:lnTo>
                    <a:pt x="229" y="214"/>
                  </a:lnTo>
                  <a:lnTo>
                    <a:pt x="229" y="213"/>
                  </a:lnTo>
                  <a:lnTo>
                    <a:pt x="228" y="213"/>
                  </a:lnTo>
                  <a:lnTo>
                    <a:pt x="227" y="214"/>
                  </a:lnTo>
                  <a:lnTo>
                    <a:pt x="227" y="213"/>
                  </a:lnTo>
                  <a:lnTo>
                    <a:pt x="226" y="213"/>
                  </a:lnTo>
                  <a:lnTo>
                    <a:pt x="226" y="214"/>
                  </a:lnTo>
                  <a:lnTo>
                    <a:pt x="224" y="214"/>
                  </a:lnTo>
                  <a:lnTo>
                    <a:pt x="223" y="216"/>
                  </a:lnTo>
                  <a:lnTo>
                    <a:pt x="222" y="214"/>
                  </a:lnTo>
                  <a:lnTo>
                    <a:pt x="224" y="213"/>
                  </a:lnTo>
                  <a:lnTo>
                    <a:pt x="226" y="212"/>
                  </a:lnTo>
                  <a:lnTo>
                    <a:pt x="224" y="211"/>
                  </a:lnTo>
                  <a:lnTo>
                    <a:pt x="223" y="212"/>
                  </a:lnTo>
                  <a:lnTo>
                    <a:pt x="222" y="211"/>
                  </a:lnTo>
                  <a:lnTo>
                    <a:pt x="222" y="210"/>
                  </a:lnTo>
                  <a:lnTo>
                    <a:pt x="222" y="208"/>
                  </a:lnTo>
                  <a:lnTo>
                    <a:pt x="221" y="211"/>
                  </a:lnTo>
                  <a:lnTo>
                    <a:pt x="220" y="210"/>
                  </a:lnTo>
                  <a:lnTo>
                    <a:pt x="218" y="210"/>
                  </a:lnTo>
                  <a:lnTo>
                    <a:pt x="217" y="210"/>
                  </a:lnTo>
                  <a:lnTo>
                    <a:pt x="217" y="208"/>
                  </a:lnTo>
                  <a:lnTo>
                    <a:pt x="216" y="208"/>
                  </a:lnTo>
                  <a:lnTo>
                    <a:pt x="215" y="207"/>
                  </a:lnTo>
                  <a:lnTo>
                    <a:pt x="215" y="206"/>
                  </a:lnTo>
                  <a:lnTo>
                    <a:pt x="214" y="206"/>
                  </a:lnTo>
                  <a:lnTo>
                    <a:pt x="215" y="206"/>
                  </a:lnTo>
                  <a:lnTo>
                    <a:pt x="216" y="207"/>
                  </a:lnTo>
                  <a:lnTo>
                    <a:pt x="217" y="207"/>
                  </a:lnTo>
                  <a:lnTo>
                    <a:pt x="218" y="207"/>
                  </a:lnTo>
                  <a:lnTo>
                    <a:pt x="218" y="208"/>
                  </a:lnTo>
                  <a:lnTo>
                    <a:pt x="220" y="208"/>
                  </a:lnTo>
                  <a:lnTo>
                    <a:pt x="221" y="206"/>
                  </a:lnTo>
                  <a:lnTo>
                    <a:pt x="221" y="207"/>
                  </a:lnTo>
                  <a:lnTo>
                    <a:pt x="222" y="207"/>
                  </a:lnTo>
                  <a:lnTo>
                    <a:pt x="223" y="207"/>
                  </a:lnTo>
                  <a:lnTo>
                    <a:pt x="223" y="206"/>
                  </a:lnTo>
                  <a:lnTo>
                    <a:pt x="224" y="206"/>
                  </a:lnTo>
                  <a:lnTo>
                    <a:pt x="226" y="205"/>
                  </a:lnTo>
                  <a:lnTo>
                    <a:pt x="227" y="205"/>
                  </a:lnTo>
                  <a:lnTo>
                    <a:pt x="228" y="205"/>
                  </a:lnTo>
                  <a:lnTo>
                    <a:pt x="228" y="204"/>
                  </a:lnTo>
                  <a:lnTo>
                    <a:pt x="227" y="202"/>
                  </a:lnTo>
                  <a:lnTo>
                    <a:pt x="227" y="201"/>
                  </a:lnTo>
                  <a:lnTo>
                    <a:pt x="226" y="202"/>
                  </a:lnTo>
                  <a:lnTo>
                    <a:pt x="224" y="202"/>
                  </a:lnTo>
                  <a:lnTo>
                    <a:pt x="223" y="202"/>
                  </a:lnTo>
                  <a:lnTo>
                    <a:pt x="222" y="202"/>
                  </a:lnTo>
                  <a:lnTo>
                    <a:pt x="221" y="202"/>
                  </a:lnTo>
                  <a:lnTo>
                    <a:pt x="220" y="202"/>
                  </a:lnTo>
                  <a:lnTo>
                    <a:pt x="220" y="201"/>
                  </a:lnTo>
                  <a:lnTo>
                    <a:pt x="217" y="201"/>
                  </a:lnTo>
                  <a:lnTo>
                    <a:pt x="216" y="201"/>
                  </a:lnTo>
                  <a:lnTo>
                    <a:pt x="216" y="200"/>
                  </a:lnTo>
                  <a:lnTo>
                    <a:pt x="215" y="200"/>
                  </a:lnTo>
                  <a:lnTo>
                    <a:pt x="214" y="200"/>
                  </a:lnTo>
                  <a:lnTo>
                    <a:pt x="214" y="199"/>
                  </a:lnTo>
                  <a:lnTo>
                    <a:pt x="212" y="199"/>
                  </a:lnTo>
                  <a:lnTo>
                    <a:pt x="211" y="199"/>
                  </a:lnTo>
                  <a:lnTo>
                    <a:pt x="210" y="199"/>
                  </a:lnTo>
                  <a:lnTo>
                    <a:pt x="210" y="198"/>
                  </a:lnTo>
                  <a:lnTo>
                    <a:pt x="209" y="196"/>
                  </a:lnTo>
                  <a:lnTo>
                    <a:pt x="207" y="196"/>
                  </a:lnTo>
                  <a:lnTo>
                    <a:pt x="206" y="198"/>
                  </a:lnTo>
                  <a:lnTo>
                    <a:pt x="204" y="198"/>
                  </a:lnTo>
                  <a:lnTo>
                    <a:pt x="205" y="196"/>
                  </a:lnTo>
                  <a:lnTo>
                    <a:pt x="206" y="196"/>
                  </a:lnTo>
                  <a:lnTo>
                    <a:pt x="207" y="196"/>
                  </a:lnTo>
                  <a:lnTo>
                    <a:pt x="209" y="196"/>
                  </a:lnTo>
                  <a:lnTo>
                    <a:pt x="210" y="196"/>
                  </a:lnTo>
                  <a:lnTo>
                    <a:pt x="209" y="195"/>
                  </a:lnTo>
                  <a:lnTo>
                    <a:pt x="207" y="194"/>
                  </a:lnTo>
                  <a:lnTo>
                    <a:pt x="206" y="193"/>
                  </a:lnTo>
                  <a:lnTo>
                    <a:pt x="206" y="194"/>
                  </a:lnTo>
                  <a:lnTo>
                    <a:pt x="205" y="195"/>
                  </a:lnTo>
                  <a:lnTo>
                    <a:pt x="205" y="194"/>
                  </a:lnTo>
                  <a:lnTo>
                    <a:pt x="204" y="193"/>
                  </a:lnTo>
                  <a:lnTo>
                    <a:pt x="205" y="193"/>
                  </a:lnTo>
                  <a:lnTo>
                    <a:pt x="205" y="192"/>
                  </a:lnTo>
                  <a:lnTo>
                    <a:pt x="205" y="190"/>
                  </a:lnTo>
                  <a:lnTo>
                    <a:pt x="206" y="190"/>
                  </a:lnTo>
                  <a:lnTo>
                    <a:pt x="206" y="192"/>
                  </a:lnTo>
                  <a:lnTo>
                    <a:pt x="207" y="192"/>
                  </a:lnTo>
                  <a:lnTo>
                    <a:pt x="207" y="190"/>
                  </a:lnTo>
                  <a:lnTo>
                    <a:pt x="206" y="189"/>
                  </a:lnTo>
                  <a:lnTo>
                    <a:pt x="206" y="188"/>
                  </a:lnTo>
                  <a:lnTo>
                    <a:pt x="205" y="188"/>
                  </a:lnTo>
                  <a:lnTo>
                    <a:pt x="205" y="187"/>
                  </a:lnTo>
                  <a:lnTo>
                    <a:pt x="206" y="187"/>
                  </a:lnTo>
                  <a:lnTo>
                    <a:pt x="207" y="186"/>
                  </a:lnTo>
                  <a:lnTo>
                    <a:pt x="206" y="186"/>
                  </a:lnTo>
                  <a:lnTo>
                    <a:pt x="206" y="187"/>
                  </a:lnTo>
                  <a:lnTo>
                    <a:pt x="205" y="186"/>
                  </a:lnTo>
                  <a:lnTo>
                    <a:pt x="204" y="186"/>
                  </a:lnTo>
                  <a:lnTo>
                    <a:pt x="203" y="187"/>
                  </a:lnTo>
                  <a:lnTo>
                    <a:pt x="201" y="186"/>
                  </a:lnTo>
                  <a:lnTo>
                    <a:pt x="200" y="184"/>
                  </a:lnTo>
                  <a:lnTo>
                    <a:pt x="200" y="183"/>
                  </a:lnTo>
                  <a:lnTo>
                    <a:pt x="201" y="183"/>
                  </a:lnTo>
                  <a:lnTo>
                    <a:pt x="203" y="183"/>
                  </a:lnTo>
                  <a:lnTo>
                    <a:pt x="204" y="182"/>
                  </a:lnTo>
                  <a:lnTo>
                    <a:pt x="205" y="182"/>
                  </a:lnTo>
                  <a:lnTo>
                    <a:pt x="206" y="183"/>
                  </a:lnTo>
                  <a:lnTo>
                    <a:pt x="209" y="183"/>
                  </a:lnTo>
                  <a:lnTo>
                    <a:pt x="209" y="182"/>
                  </a:lnTo>
                  <a:lnTo>
                    <a:pt x="210" y="183"/>
                  </a:lnTo>
                  <a:lnTo>
                    <a:pt x="211" y="183"/>
                  </a:lnTo>
                  <a:lnTo>
                    <a:pt x="212" y="183"/>
                  </a:lnTo>
                  <a:lnTo>
                    <a:pt x="214" y="182"/>
                  </a:lnTo>
                  <a:lnTo>
                    <a:pt x="212" y="183"/>
                  </a:lnTo>
                  <a:lnTo>
                    <a:pt x="212" y="184"/>
                  </a:lnTo>
                  <a:lnTo>
                    <a:pt x="212" y="186"/>
                  </a:lnTo>
                  <a:lnTo>
                    <a:pt x="212" y="187"/>
                  </a:lnTo>
                  <a:lnTo>
                    <a:pt x="211" y="187"/>
                  </a:lnTo>
                  <a:lnTo>
                    <a:pt x="210" y="186"/>
                  </a:lnTo>
                  <a:lnTo>
                    <a:pt x="210" y="187"/>
                  </a:lnTo>
                  <a:lnTo>
                    <a:pt x="209" y="187"/>
                  </a:lnTo>
                  <a:lnTo>
                    <a:pt x="209" y="188"/>
                  </a:lnTo>
                  <a:lnTo>
                    <a:pt x="210" y="188"/>
                  </a:lnTo>
                  <a:lnTo>
                    <a:pt x="212" y="188"/>
                  </a:lnTo>
                  <a:lnTo>
                    <a:pt x="214" y="187"/>
                  </a:lnTo>
                  <a:lnTo>
                    <a:pt x="211" y="188"/>
                  </a:lnTo>
                  <a:lnTo>
                    <a:pt x="211" y="189"/>
                  </a:lnTo>
                  <a:lnTo>
                    <a:pt x="214" y="188"/>
                  </a:lnTo>
                  <a:lnTo>
                    <a:pt x="215" y="188"/>
                  </a:lnTo>
                  <a:lnTo>
                    <a:pt x="214" y="189"/>
                  </a:lnTo>
                  <a:lnTo>
                    <a:pt x="212" y="190"/>
                  </a:lnTo>
                  <a:lnTo>
                    <a:pt x="212" y="192"/>
                  </a:lnTo>
                  <a:lnTo>
                    <a:pt x="214" y="192"/>
                  </a:lnTo>
                  <a:lnTo>
                    <a:pt x="215" y="190"/>
                  </a:lnTo>
                  <a:lnTo>
                    <a:pt x="216" y="192"/>
                  </a:lnTo>
                  <a:lnTo>
                    <a:pt x="217" y="192"/>
                  </a:lnTo>
                  <a:lnTo>
                    <a:pt x="217" y="193"/>
                  </a:lnTo>
                  <a:lnTo>
                    <a:pt x="218" y="193"/>
                  </a:lnTo>
                  <a:lnTo>
                    <a:pt x="220" y="192"/>
                  </a:lnTo>
                  <a:lnTo>
                    <a:pt x="221" y="193"/>
                  </a:lnTo>
                  <a:lnTo>
                    <a:pt x="222" y="193"/>
                  </a:lnTo>
                  <a:lnTo>
                    <a:pt x="223" y="193"/>
                  </a:lnTo>
                  <a:lnTo>
                    <a:pt x="224" y="192"/>
                  </a:lnTo>
                  <a:lnTo>
                    <a:pt x="224" y="190"/>
                  </a:lnTo>
                  <a:lnTo>
                    <a:pt x="226" y="192"/>
                  </a:lnTo>
                  <a:lnTo>
                    <a:pt x="227" y="193"/>
                  </a:lnTo>
                  <a:lnTo>
                    <a:pt x="227" y="194"/>
                  </a:lnTo>
                  <a:lnTo>
                    <a:pt x="228" y="195"/>
                  </a:lnTo>
                  <a:lnTo>
                    <a:pt x="230" y="198"/>
                  </a:lnTo>
                  <a:lnTo>
                    <a:pt x="230" y="196"/>
                  </a:lnTo>
                  <a:lnTo>
                    <a:pt x="230" y="194"/>
                  </a:lnTo>
                  <a:lnTo>
                    <a:pt x="229" y="194"/>
                  </a:lnTo>
                  <a:lnTo>
                    <a:pt x="229" y="193"/>
                  </a:lnTo>
                  <a:lnTo>
                    <a:pt x="230" y="193"/>
                  </a:lnTo>
                  <a:lnTo>
                    <a:pt x="232" y="193"/>
                  </a:lnTo>
                  <a:lnTo>
                    <a:pt x="233" y="194"/>
                  </a:lnTo>
                  <a:lnTo>
                    <a:pt x="234" y="194"/>
                  </a:lnTo>
                  <a:lnTo>
                    <a:pt x="235" y="196"/>
                  </a:lnTo>
                  <a:lnTo>
                    <a:pt x="236" y="199"/>
                  </a:lnTo>
                  <a:lnTo>
                    <a:pt x="235" y="200"/>
                  </a:lnTo>
                  <a:lnTo>
                    <a:pt x="238" y="201"/>
                  </a:lnTo>
                  <a:lnTo>
                    <a:pt x="239" y="201"/>
                  </a:lnTo>
                  <a:lnTo>
                    <a:pt x="239" y="202"/>
                  </a:lnTo>
                  <a:lnTo>
                    <a:pt x="240" y="202"/>
                  </a:lnTo>
                  <a:lnTo>
                    <a:pt x="242" y="204"/>
                  </a:lnTo>
                  <a:lnTo>
                    <a:pt x="244" y="202"/>
                  </a:lnTo>
                  <a:lnTo>
                    <a:pt x="244" y="201"/>
                  </a:lnTo>
                  <a:lnTo>
                    <a:pt x="242" y="201"/>
                  </a:lnTo>
                  <a:lnTo>
                    <a:pt x="242" y="200"/>
                  </a:lnTo>
                  <a:lnTo>
                    <a:pt x="241" y="199"/>
                  </a:lnTo>
                  <a:lnTo>
                    <a:pt x="240" y="199"/>
                  </a:lnTo>
                  <a:lnTo>
                    <a:pt x="240" y="198"/>
                  </a:lnTo>
                  <a:lnTo>
                    <a:pt x="239" y="196"/>
                  </a:lnTo>
                  <a:lnTo>
                    <a:pt x="240" y="196"/>
                  </a:lnTo>
                  <a:lnTo>
                    <a:pt x="241" y="195"/>
                  </a:lnTo>
                  <a:lnTo>
                    <a:pt x="241" y="194"/>
                  </a:lnTo>
                  <a:lnTo>
                    <a:pt x="239" y="194"/>
                  </a:lnTo>
                  <a:lnTo>
                    <a:pt x="238" y="193"/>
                  </a:lnTo>
                  <a:lnTo>
                    <a:pt x="238" y="192"/>
                  </a:lnTo>
                  <a:lnTo>
                    <a:pt x="236" y="190"/>
                  </a:lnTo>
                  <a:lnTo>
                    <a:pt x="235" y="189"/>
                  </a:lnTo>
                  <a:lnTo>
                    <a:pt x="235" y="188"/>
                  </a:lnTo>
                  <a:lnTo>
                    <a:pt x="236" y="189"/>
                  </a:lnTo>
                  <a:lnTo>
                    <a:pt x="238" y="190"/>
                  </a:lnTo>
                  <a:lnTo>
                    <a:pt x="240" y="192"/>
                  </a:lnTo>
                  <a:lnTo>
                    <a:pt x="241" y="193"/>
                  </a:lnTo>
                  <a:lnTo>
                    <a:pt x="242" y="193"/>
                  </a:lnTo>
                  <a:lnTo>
                    <a:pt x="244" y="190"/>
                  </a:lnTo>
                  <a:lnTo>
                    <a:pt x="244" y="193"/>
                  </a:lnTo>
                  <a:lnTo>
                    <a:pt x="245" y="194"/>
                  </a:lnTo>
                  <a:lnTo>
                    <a:pt x="246" y="194"/>
                  </a:lnTo>
                  <a:lnTo>
                    <a:pt x="246" y="193"/>
                  </a:lnTo>
                  <a:lnTo>
                    <a:pt x="247" y="193"/>
                  </a:lnTo>
                  <a:lnTo>
                    <a:pt x="248" y="194"/>
                  </a:lnTo>
                  <a:lnTo>
                    <a:pt x="251" y="194"/>
                  </a:lnTo>
                  <a:lnTo>
                    <a:pt x="253" y="194"/>
                  </a:lnTo>
                  <a:lnTo>
                    <a:pt x="253" y="193"/>
                  </a:lnTo>
                  <a:lnTo>
                    <a:pt x="254" y="193"/>
                  </a:lnTo>
                  <a:lnTo>
                    <a:pt x="254" y="192"/>
                  </a:lnTo>
                  <a:lnTo>
                    <a:pt x="256" y="190"/>
                  </a:lnTo>
                  <a:lnTo>
                    <a:pt x="258" y="190"/>
                  </a:lnTo>
                  <a:lnTo>
                    <a:pt x="258" y="189"/>
                  </a:lnTo>
                  <a:lnTo>
                    <a:pt x="259" y="189"/>
                  </a:lnTo>
                  <a:lnTo>
                    <a:pt x="260" y="189"/>
                  </a:lnTo>
                  <a:lnTo>
                    <a:pt x="260" y="188"/>
                  </a:lnTo>
                  <a:lnTo>
                    <a:pt x="263" y="188"/>
                  </a:lnTo>
                  <a:lnTo>
                    <a:pt x="264" y="188"/>
                  </a:lnTo>
                  <a:lnTo>
                    <a:pt x="265" y="187"/>
                  </a:lnTo>
                  <a:lnTo>
                    <a:pt x="265" y="186"/>
                  </a:lnTo>
                  <a:lnTo>
                    <a:pt x="266" y="186"/>
                  </a:lnTo>
                  <a:lnTo>
                    <a:pt x="268" y="187"/>
                  </a:lnTo>
                  <a:lnTo>
                    <a:pt x="269" y="187"/>
                  </a:lnTo>
                  <a:lnTo>
                    <a:pt x="269" y="186"/>
                  </a:lnTo>
                  <a:lnTo>
                    <a:pt x="268" y="184"/>
                  </a:lnTo>
                  <a:lnTo>
                    <a:pt x="268" y="183"/>
                  </a:lnTo>
                  <a:lnTo>
                    <a:pt x="269" y="182"/>
                  </a:lnTo>
                  <a:lnTo>
                    <a:pt x="271" y="183"/>
                  </a:lnTo>
                  <a:lnTo>
                    <a:pt x="272" y="182"/>
                  </a:lnTo>
                  <a:lnTo>
                    <a:pt x="274" y="181"/>
                  </a:lnTo>
                  <a:lnTo>
                    <a:pt x="275" y="181"/>
                  </a:lnTo>
                  <a:lnTo>
                    <a:pt x="276" y="181"/>
                  </a:lnTo>
                  <a:lnTo>
                    <a:pt x="277" y="181"/>
                  </a:lnTo>
                  <a:lnTo>
                    <a:pt x="277" y="180"/>
                  </a:lnTo>
                  <a:lnTo>
                    <a:pt x="277" y="178"/>
                  </a:lnTo>
                  <a:lnTo>
                    <a:pt x="277" y="177"/>
                  </a:lnTo>
                  <a:lnTo>
                    <a:pt x="277" y="176"/>
                  </a:lnTo>
                  <a:lnTo>
                    <a:pt x="275" y="176"/>
                  </a:lnTo>
                  <a:lnTo>
                    <a:pt x="272" y="176"/>
                  </a:lnTo>
                  <a:lnTo>
                    <a:pt x="271" y="176"/>
                  </a:lnTo>
                  <a:lnTo>
                    <a:pt x="269" y="177"/>
                  </a:lnTo>
                  <a:lnTo>
                    <a:pt x="269" y="176"/>
                  </a:lnTo>
                  <a:lnTo>
                    <a:pt x="268" y="177"/>
                  </a:lnTo>
                  <a:lnTo>
                    <a:pt x="266" y="177"/>
                  </a:lnTo>
                  <a:lnTo>
                    <a:pt x="266" y="176"/>
                  </a:lnTo>
                  <a:lnTo>
                    <a:pt x="268" y="175"/>
                  </a:lnTo>
                  <a:lnTo>
                    <a:pt x="269" y="173"/>
                  </a:lnTo>
                  <a:lnTo>
                    <a:pt x="269" y="172"/>
                  </a:lnTo>
                  <a:lnTo>
                    <a:pt x="268" y="172"/>
                  </a:lnTo>
                  <a:lnTo>
                    <a:pt x="265" y="173"/>
                  </a:lnTo>
                  <a:lnTo>
                    <a:pt x="264" y="172"/>
                  </a:lnTo>
                  <a:lnTo>
                    <a:pt x="265" y="172"/>
                  </a:lnTo>
                  <a:lnTo>
                    <a:pt x="268" y="171"/>
                  </a:lnTo>
                  <a:lnTo>
                    <a:pt x="266" y="171"/>
                  </a:lnTo>
                  <a:lnTo>
                    <a:pt x="268" y="171"/>
                  </a:lnTo>
                  <a:lnTo>
                    <a:pt x="269" y="170"/>
                  </a:lnTo>
                  <a:lnTo>
                    <a:pt x="270" y="169"/>
                  </a:lnTo>
                  <a:lnTo>
                    <a:pt x="270" y="167"/>
                  </a:lnTo>
                  <a:lnTo>
                    <a:pt x="271" y="166"/>
                  </a:lnTo>
                  <a:lnTo>
                    <a:pt x="271" y="167"/>
                  </a:lnTo>
                  <a:lnTo>
                    <a:pt x="271" y="169"/>
                  </a:lnTo>
                  <a:lnTo>
                    <a:pt x="274" y="169"/>
                  </a:lnTo>
                  <a:lnTo>
                    <a:pt x="275" y="169"/>
                  </a:lnTo>
                  <a:lnTo>
                    <a:pt x="276" y="167"/>
                  </a:lnTo>
                  <a:lnTo>
                    <a:pt x="276" y="166"/>
                  </a:lnTo>
                  <a:lnTo>
                    <a:pt x="275" y="166"/>
                  </a:lnTo>
                  <a:lnTo>
                    <a:pt x="274" y="166"/>
                  </a:lnTo>
                  <a:lnTo>
                    <a:pt x="272" y="166"/>
                  </a:lnTo>
                  <a:lnTo>
                    <a:pt x="272" y="165"/>
                  </a:lnTo>
                  <a:lnTo>
                    <a:pt x="272" y="164"/>
                  </a:lnTo>
                  <a:lnTo>
                    <a:pt x="274" y="164"/>
                  </a:lnTo>
                  <a:lnTo>
                    <a:pt x="274" y="163"/>
                  </a:lnTo>
                  <a:lnTo>
                    <a:pt x="274" y="161"/>
                  </a:lnTo>
                  <a:lnTo>
                    <a:pt x="274" y="163"/>
                  </a:lnTo>
                  <a:lnTo>
                    <a:pt x="275" y="164"/>
                  </a:lnTo>
                  <a:lnTo>
                    <a:pt x="276" y="164"/>
                  </a:lnTo>
                  <a:lnTo>
                    <a:pt x="277" y="165"/>
                  </a:lnTo>
                  <a:lnTo>
                    <a:pt x="280" y="165"/>
                  </a:lnTo>
                  <a:lnTo>
                    <a:pt x="281" y="165"/>
                  </a:lnTo>
                  <a:lnTo>
                    <a:pt x="282" y="164"/>
                  </a:lnTo>
                  <a:lnTo>
                    <a:pt x="282" y="163"/>
                  </a:lnTo>
                  <a:lnTo>
                    <a:pt x="282" y="161"/>
                  </a:lnTo>
                  <a:lnTo>
                    <a:pt x="280" y="163"/>
                  </a:lnTo>
                  <a:lnTo>
                    <a:pt x="279" y="161"/>
                  </a:lnTo>
                  <a:lnTo>
                    <a:pt x="277" y="161"/>
                  </a:lnTo>
                  <a:lnTo>
                    <a:pt x="276" y="160"/>
                  </a:lnTo>
                  <a:lnTo>
                    <a:pt x="276" y="161"/>
                  </a:lnTo>
                  <a:lnTo>
                    <a:pt x="275" y="160"/>
                  </a:lnTo>
                  <a:lnTo>
                    <a:pt x="275" y="159"/>
                  </a:lnTo>
                  <a:lnTo>
                    <a:pt x="274" y="158"/>
                  </a:lnTo>
                  <a:lnTo>
                    <a:pt x="275" y="157"/>
                  </a:lnTo>
                  <a:lnTo>
                    <a:pt x="276" y="157"/>
                  </a:lnTo>
                  <a:lnTo>
                    <a:pt x="277" y="158"/>
                  </a:lnTo>
                  <a:lnTo>
                    <a:pt x="277" y="159"/>
                  </a:lnTo>
                  <a:lnTo>
                    <a:pt x="279" y="160"/>
                  </a:lnTo>
                  <a:lnTo>
                    <a:pt x="280" y="160"/>
                  </a:lnTo>
                  <a:lnTo>
                    <a:pt x="281" y="160"/>
                  </a:lnTo>
                  <a:lnTo>
                    <a:pt x="281" y="159"/>
                  </a:lnTo>
                  <a:lnTo>
                    <a:pt x="282" y="159"/>
                  </a:lnTo>
                  <a:lnTo>
                    <a:pt x="282" y="160"/>
                  </a:lnTo>
                  <a:lnTo>
                    <a:pt x="285" y="160"/>
                  </a:lnTo>
                  <a:lnTo>
                    <a:pt x="285" y="159"/>
                  </a:lnTo>
                  <a:lnTo>
                    <a:pt x="285" y="158"/>
                  </a:lnTo>
                  <a:lnTo>
                    <a:pt x="283" y="158"/>
                  </a:lnTo>
                  <a:lnTo>
                    <a:pt x="282" y="158"/>
                  </a:lnTo>
                  <a:lnTo>
                    <a:pt x="280" y="157"/>
                  </a:lnTo>
                  <a:lnTo>
                    <a:pt x="281" y="155"/>
                  </a:lnTo>
                  <a:lnTo>
                    <a:pt x="282" y="155"/>
                  </a:lnTo>
                  <a:lnTo>
                    <a:pt x="283" y="157"/>
                  </a:lnTo>
                  <a:lnTo>
                    <a:pt x="285" y="158"/>
                  </a:lnTo>
                  <a:lnTo>
                    <a:pt x="286" y="159"/>
                  </a:lnTo>
                  <a:lnTo>
                    <a:pt x="286" y="160"/>
                  </a:lnTo>
                  <a:lnTo>
                    <a:pt x="288" y="159"/>
                  </a:lnTo>
                  <a:lnTo>
                    <a:pt x="289" y="159"/>
                  </a:lnTo>
                  <a:lnTo>
                    <a:pt x="289" y="158"/>
                  </a:lnTo>
                  <a:lnTo>
                    <a:pt x="289" y="157"/>
                  </a:lnTo>
                  <a:lnTo>
                    <a:pt x="287" y="157"/>
                  </a:lnTo>
                  <a:lnTo>
                    <a:pt x="286" y="158"/>
                  </a:lnTo>
                  <a:lnTo>
                    <a:pt x="285" y="158"/>
                  </a:lnTo>
                  <a:lnTo>
                    <a:pt x="285" y="157"/>
                  </a:lnTo>
                  <a:lnTo>
                    <a:pt x="286" y="155"/>
                  </a:lnTo>
                  <a:lnTo>
                    <a:pt x="288" y="154"/>
                  </a:lnTo>
                  <a:lnTo>
                    <a:pt x="288" y="153"/>
                  </a:lnTo>
                  <a:lnTo>
                    <a:pt x="289" y="152"/>
                  </a:lnTo>
                  <a:lnTo>
                    <a:pt x="291" y="153"/>
                  </a:lnTo>
                  <a:lnTo>
                    <a:pt x="292" y="152"/>
                  </a:lnTo>
                  <a:lnTo>
                    <a:pt x="293" y="152"/>
                  </a:lnTo>
                  <a:lnTo>
                    <a:pt x="292" y="149"/>
                  </a:lnTo>
                  <a:lnTo>
                    <a:pt x="293" y="148"/>
                  </a:lnTo>
                  <a:lnTo>
                    <a:pt x="294" y="148"/>
                  </a:lnTo>
                  <a:lnTo>
                    <a:pt x="295" y="147"/>
                  </a:lnTo>
                  <a:lnTo>
                    <a:pt x="295" y="146"/>
                  </a:lnTo>
                  <a:lnTo>
                    <a:pt x="297" y="145"/>
                  </a:lnTo>
                  <a:lnTo>
                    <a:pt x="297" y="143"/>
                  </a:lnTo>
                  <a:lnTo>
                    <a:pt x="295" y="142"/>
                  </a:lnTo>
                  <a:lnTo>
                    <a:pt x="294" y="143"/>
                  </a:lnTo>
                  <a:lnTo>
                    <a:pt x="293" y="145"/>
                  </a:lnTo>
                  <a:lnTo>
                    <a:pt x="293" y="146"/>
                  </a:lnTo>
                  <a:lnTo>
                    <a:pt x="292" y="146"/>
                  </a:lnTo>
                  <a:lnTo>
                    <a:pt x="292" y="145"/>
                  </a:lnTo>
                  <a:lnTo>
                    <a:pt x="292" y="143"/>
                  </a:lnTo>
                  <a:lnTo>
                    <a:pt x="291" y="143"/>
                  </a:lnTo>
                  <a:lnTo>
                    <a:pt x="289" y="142"/>
                  </a:lnTo>
                  <a:lnTo>
                    <a:pt x="288" y="142"/>
                  </a:lnTo>
                  <a:lnTo>
                    <a:pt x="288" y="141"/>
                  </a:lnTo>
                  <a:lnTo>
                    <a:pt x="288" y="140"/>
                  </a:lnTo>
                  <a:lnTo>
                    <a:pt x="287" y="140"/>
                  </a:lnTo>
                  <a:lnTo>
                    <a:pt x="286" y="141"/>
                  </a:lnTo>
                  <a:lnTo>
                    <a:pt x="285" y="142"/>
                  </a:lnTo>
                  <a:lnTo>
                    <a:pt x="282" y="142"/>
                  </a:lnTo>
                  <a:lnTo>
                    <a:pt x="281" y="142"/>
                  </a:lnTo>
                  <a:lnTo>
                    <a:pt x="281" y="141"/>
                  </a:lnTo>
                  <a:lnTo>
                    <a:pt x="280" y="142"/>
                  </a:lnTo>
                  <a:lnTo>
                    <a:pt x="279" y="142"/>
                  </a:lnTo>
                  <a:lnTo>
                    <a:pt x="277" y="142"/>
                  </a:lnTo>
                  <a:lnTo>
                    <a:pt x="276" y="141"/>
                  </a:lnTo>
                  <a:lnTo>
                    <a:pt x="275" y="140"/>
                  </a:lnTo>
                  <a:lnTo>
                    <a:pt x="275" y="142"/>
                  </a:lnTo>
                  <a:lnTo>
                    <a:pt x="274" y="142"/>
                  </a:lnTo>
                  <a:lnTo>
                    <a:pt x="272" y="142"/>
                  </a:lnTo>
                  <a:lnTo>
                    <a:pt x="270" y="142"/>
                  </a:lnTo>
                  <a:lnTo>
                    <a:pt x="269" y="141"/>
                  </a:lnTo>
                  <a:lnTo>
                    <a:pt x="268" y="141"/>
                  </a:lnTo>
                  <a:lnTo>
                    <a:pt x="268" y="140"/>
                  </a:lnTo>
                  <a:lnTo>
                    <a:pt x="269" y="139"/>
                  </a:lnTo>
                  <a:lnTo>
                    <a:pt x="268" y="139"/>
                  </a:lnTo>
                  <a:lnTo>
                    <a:pt x="266" y="139"/>
                  </a:lnTo>
                  <a:lnTo>
                    <a:pt x="265" y="139"/>
                  </a:lnTo>
                  <a:lnTo>
                    <a:pt x="264" y="139"/>
                  </a:lnTo>
                  <a:lnTo>
                    <a:pt x="263" y="139"/>
                  </a:lnTo>
                  <a:lnTo>
                    <a:pt x="262" y="139"/>
                  </a:lnTo>
                  <a:lnTo>
                    <a:pt x="262" y="137"/>
                  </a:lnTo>
                  <a:lnTo>
                    <a:pt x="260" y="136"/>
                  </a:lnTo>
                  <a:lnTo>
                    <a:pt x="259" y="136"/>
                  </a:lnTo>
                  <a:lnTo>
                    <a:pt x="259" y="137"/>
                  </a:lnTo>
                  <a:lnTo>
                    <a:pt x="258" y="137"/>
                  </a:lnTo>
                  <a:lnTo>
                    <a:pt x="257" y="137"/>
                  </a:lnTo>
                  <a:lnTo>
                    <a:pt x="257" y="139"/>
                  </a:lnTo>
                  <a:lnTo>
                    <a:pt x="256" y="137"/>
                  </a:lnTo>
                  <a:lnTo>
                    <a:pt x="256" y="136"/>
                  </a:lnTo>
                  <a:lnTo>
                    <a:pt x="257" y="135"/>
                  </a:lnTo>
                  <a:lnTo>
                    <a:pt x="256" y="135"/>
                  </a:lnTo>
                  <a:lnTo>
                    <a:pt x="254" y="135"/>
                  </a:lnTo>
                  <a:lnTo>
                    <a:pt x="253" y="135"/>
                  </a:lnTo>
                  <a:lnTo>
                    <a:pt x="253" y="134"/>
                  </a:lnTo>
                  <a:lnTo>
                    <a:pt x="254" y="133"/>
                  </a:lnTo>
                  <a:lnTo>
                    <a:pt x="256" y="134"/>
                  </a:lnTo>
                  <a:lnTo>
                    <a:pt x="257" y="134"/>
                  </a:lnTo>
                  <a:lnTo>
                    <a:pt x="259" y="133"/>
                  </a:lnTo>
                  <a:lnTo>
                    <a:pt x="258" y="131"/>
                  </a:lnTo>
                  <a:lnTo>
                    <a:pt x="257" y="131"/>
                  </a:lnTo>
                  <a:lnTo>
                    <a:pt x="258" y="131"/>
                  </a:lnTo>
                  <a:lnTo>
                    <a:pt x="259" y="131"/>
                  </a:lnTo>
                  <a:lnTo>
                    <a:pt x="259" y="130"/>
                  </a:lnTo>
                  <a:lnTo>
                    <a:pt x="262" y="130"/>
                  </a:lnTo>
                  <a:lnTo>
                    <a:pt x="262" y="131"/>
                  </a:lnTo>
                  <a:lnTo>
                    <a:pt x="263" y="131"/>
                  </a:lnTo>
                  <a:lnTo>
                    <a:pt x="265" y="131"/>
                  </a:lnTo>
                  <a:lnTo>
                    <a:pt x="265" y="130"/>
                  </a:lnTo>
                  <a:lnTo>
                    <a:pt x="265" y="129"/>
                  </a:lnTo>
                  <a:lnTo>
                    <a:pt x="266" y="129"/>
                  </a:lnTo>
                  <a:lnTo>
                    <a:pt x="268" y="129"/>
                  </a:lnTo>
                  <a:lnTo>
                    <a:pt x="269" y="128"/>
                  </a:lnTo>
                  <a:lnTo>
                    <a:pt x="270" y="127"/>
                  </a:lnTo>
                  <a:lnTo>
                    <a:pt x="270" y="125"/>
                  </a:lnTo>
                  <a:lnTo>
                    <a:pt x="269" y="125"/>
                  </a:lnTo>
                  <a:lnTo>
                    <a:pt x="269" y="124"/>
                  </a:lnTo>
                  <a:lnTo>
                    <a:pt x="268" y="125"/>
                  </a:lnTo>
                  <a:lnTo>
                    <a:pt x="266" y="125"/>
                  </a:lnTo>
                  <a:lnTo>
                    <a:pt x="264" y="127"/>
                  </a:lnTo>
                  <a:lnTo>
                    <a:pt x="264" y="125"/>
                  </a:lnTo>
                  <a:lnTo>
                    <a:pt x="263" y="125"/>
                  </a:lnTo>
                  <a:lnTo>
                    <a:pt x="262" y="127"/>
                  </a:lnTo>
                  <a:lnTo>
                    <a:pt x="260" y="125"/>
                  </a:lnTo>
                  <a:lnTo>
                    <a:pt x="259" y="124"/>
                  </a:lnTo>
                  <a:lnTo>
                    <a:pt x="258" y="125"/>
                  </a:lnTo>
                  <a:lnTo>
                    <a:pt x="257" y="124"/>
                  </a:lnTo>
                  <a:lnTo>
                    <a:pt x="259" y="124"/>
                  </a:lnTo>
                  <a:lnTo>
                    <a:pt x="259" y="123"/>
                  </a:lnTo>
                  <a:lnTo>
                    <a:pt x="258" y="122"/>
                  </a:lnTo>
                  <a:lnTo>
                    <a:pt x="257" y="122"/>
                  </a:lnTo>
                  <a:lnTo>
                    <a:pt x="257" y="121"/>
                  </a:lnTo>
                  <a:lnTo>
                    <a:pt x="259" y="119"/>
                  </a:lnTo>
                  <a:lnTo>
                    <a:pt x="260" y="118"/>
                  </a:lnTo>
                  <a:lnTo>
                    <a:pt x="260" y="116"/>
                  </a:lnTo>
                  <a:lnTo>
                    <a:pt x="259" y="116"/>
                  </a:lnTo>
                  <a:lnTo>
                    <a:pt x="259" y="115"/>
                  </a:lnTo>
                  <a:lnTo>
                    <a:pt x="259" y="113"/>
                  </a:lnTo>
                  <a:lnTo>
                    <a:pt x="260" y="113"/>
                  </a:lnTo>
                  <a:lnTo>
                    <a:pt x="263" y="112"/>
                  </a:lnTo>
                  <a:lnTo>
                    <a:pt x="264" y="112"/>
                  </a:lnTo>
                  <a:lnTo>
                    <a:pt x="265" y="111"/>
                  </a:lnTo>
                  <a:lnTo>
                    <a:pt x="266" y="110"/>
                  </a:lnTo>
                  <a:lnTo>
                    <a:pt x="265" y="109"/>
                  </a:lnTo>
                  <a:lnTo>
                    <a:pt x="265" y="107"/>
                  </a:lnTo>
                  <a:lnTo>
                    <a:pt x="264" y="106"/>
                  </a:lnTo>
                  <a:lnTo>
                    <a:pt x="263" y="107"/>
                  </a:lnTo>
                  <a:lnTo>
                    <a:pt x="263" y="109"/>
                  </a:lnTo>
                  <a:lnTo>
                    <a:pt x="262" y="109"/>
                  </a:lnTo>
                  <a:lnTo>
                    <a:pt x="260" y="109"/>
                  </a:lnTo>
                  <a:lnTo>
                    <a:pt x="259" y="109"/>
                  </a:lnTo>
                  <a:lnTo>
                    <a:pt x="259" y="107"/>
                  </a:lnTo>
                  <a:lnTo>
                    <a:pt x="259" y="106"/>
                  </a:lnTo>
                  <a:lnTo>
                    <a:pt x="259" y="105"/>
                  </a:lnTo>
                  <a:lnTo>
                    <a:pt x="259" y="106"/>
                  </a:lnTo>
                  <a:lnTo>
                    <a:pt x="258" y="106"/>
                  </a:lnTo>
                  <a:lnTo>
                    <a:pt x="257" y="106"/>
                  </a:lnTo>
                  <a:lnTo>
                    <a:pt x="256" y="106"/>
                  </a:lnTo>
                  <a:lnTo>
                    <a:pt x="254" y="106"/>
                  </a:lnTo>
                  <a:lnTo>
                    <a:pt x="254" y="105"/>
                  </a:lnTo>
                  <a:lnTo>
                    <a:pt x="253" y="104"/>
                  </a:lnTo>
                  <a:lnTo>
                    <a:pt x="252" y="104"/>
                  </a:lnTo>
                  <a:lnTo>
                    <a:pt x="252" y="105"/>
                  </a:lnTo>
                  <a:lnTo>
                    <a:pt x="251" y="105"/>
                  </a:lnTo>
                  <a:lnTo>
                    <a:pt x="251" y="104"/>
                  </a:lnTo>
                  <a:lnTo>
                    <a:pt x="250" y="104"/>
                  </a:lnTo>
                  <a:lnTo>
                    <a:pt x="248" y="105"/>
                  </a:lnTo>
                  <a:lnTo>
                    <a:pt x="248" y="104"/>
                  </a:lnTo>
                  <a:lnTo>
                    <a:pt x="250" y="103"/>
                  </a:lnTo>
                  <a:lnTo>
                    <a:pt x="248" y="103"/>
                  </a:lnTo>
                  <a:lnTo>
                    <a:pt x="247" y="103"/>
                  </a:lnTo>
                  <a:lnTo>
                    <a:pt x="246" y="103"/>
                  </a:lnTo>
                  <a:lnTo>
                    <a:pt x="245" y="101"/>
                  </a:lnTo>
                  <a:lnTo>
                    <a:pt x="246" y="101"/>
                  </a:lnTo>
                  <a:lnTo>
                    <a:pt x="247" y="101"/>
                  </a:lnTo>
                  <a:lnTo>
                    <a:pt x="246" y="100"/>
                  </a:lnTo>
                  <a:lnTo>
                    <a:pt x="246" y="98"/>
                  </a:lnTo>
                  <a:lnTo>
                    <a:pt x="247" y="98"/>
                  </a:lnTo>
                  <a:lnTo>
                    <a:pt x="247" y="100"/>
                  </a:lnTo>
                  <a:lnTo>
                    <a:pt x="248" y="100"/>
                  </a:lnTo>
                  <a:lnTo>
                    <a:pt x="248" y="101"/>
                  </a:lnTo>
                  <a:lnTo>
                    <a:pt x="250" y="101"/>
                  </a:lnTo>
                  <a:lnTo>
                    <a:pt x="250" y="99"/>
                  </a:lnTo>
                  <a:lnTo>
                    <a:pt x="250" y="98"/>
                  </a:lnTo>
                  <a:lnTo>
                    <a:pt x="251" y="100"/>
                  </a:lnTo>
                  <a:lnTo>
                    <a:pt x="252" y="100"/>
                  </a:lnTo>
                  <a:lnTo>
                    <a:pt x="252" y="101"/>
                  </a:lnTo>
                  <a:lnTo>
                    <a:pt x="252" y="103"/>
                  </a:lnTo>
                  <a:lnTo>
                    <a:pt x="254" y="103"/>
                  </a:lnTo>
                  <a:lnTo>
                    <a:pt x="256" y="103"/>
                  </a:lnTo>
                  <a:lnTo>
                    <a:pt x="256" y="101"/>
                  </a:lnTo>
                  <a:lnTo>
                    <a:pt x="254" y="101"/>
                  </a:lnTo>
                  <a:lnTo>
                    <a:pt x="254" y="100"/>
                  </a:lnTo>
                  <a:lnTo>
                    <a:pt x="254" y="99"/>
                  </a:lnTo>
                  <a:lnTo>
                    <a:pt x="253" y="99"/>
                  </a:lnTo>
                  <a:lnTo>
                    <a:pt x="253" y="98"/>
                  </a:lnTo>
                  <a:lnTo>
                    <a:pt x="252" y="98"/>
                  </a:lnTo>
                  <a:lnTo>
                    <a:pt x="252" y="97"/>
                  </a:lnTo>
                  <a:lnTo>
                    <a:pt x="251" y="97"/>
                  </a:lnTo>
                  <a:lnTo>
                    <a:pt x="251" y="95"/>
                  </a:lnTo>
                  <a:lnTo>
                    <a:pt x="252" y="94"/>
                  </a:lnTo>
                  <a:lnTo>
                    <a:pt x="252" y="95"/>
                  </a:lnTo>
                  <a:lnTo>
                    <a:pt x="253" y="97"/>
                  </a:lnTo>
                  <a:lnTo>
                    <a:pt x="256" y="97"/>
                  </a:lnTo>
                  <a:lnTo>
                    <a:pt x="254" y="95"/>
                  </a:lnTo>
                  <a:lnTo>
                    <a:pt x="256" y="95"/>
                  </a:lnTo>
                  <a:lnTo>
                    <a:pt x="256" y="97"/>
                  </a:lnTo>
                  <a:lnTo>
                    <a:pt x="256" y="98"/>
                  </a:lnTo>
                  <a:lnTo>
                    <a:pt x="257" y="98"/>
                  </a:lnTo>
                  <a:lnTo>
                    <a:pt x="258" y="98"/>
                  </a:lnTo>
                  <a:lnTo>
                    <a:pt x="259" y="97"/>
                  </a:lnTo>
                  <a:lnTo>
                    <a:pt x="260" y="97"/>
                  </a:lnTo>
                  <a:lnTo>
                    <a:pt x="262" y="97"/>
                  </a:lnTo>
                  <a:lnTo>
                    <a:pt x="263" y="95"/>
                  </a:lnTo>
                  <a:lnTo>
                    <a:pt x="264" y="95"/>
                  </a:lnTo>
                  <a:lnTo>
                    <a:pt x="264" y="98"/>
                  </a:lnTo>
                  <a:lnTo>
                    <a:pt x="266" y="99"/>
                  </a:lnTo>
                  <a:lnTo>
                    <a:pt x="268" y="98"/>
                  </a:lnTo>
                  <a:lnTo>
                    <a:pt x="270" y="97"/>
                  </a:lnTo>
                  <a:lnTo>
                    <a:pt x="271" y="95"/>
                  </a:lnTo>
                  <a:lnTo>
                    <a:pt x="271" y="94"/>
                  </a:lnTo>
                  <a:lnTo>
                    <a:pt x="270" y="94"/>
                  </a:lnTo>
                  <a:lnTo>
                    <a:pt x="271" y="93"/>
                  </a:lnTo>
                  <a:lnTo>
                    <a:pt x="271" y="92"/>
                  </a:lnTo>
                  <a:lnTo>
                    <a:pt x="272" y="92"/>
                  </a:lnTo>
                  <a:lnTo>
                    <a:pt x="274" y="91"/>
                  </a:lnTo>
                  <a:lnTo>
                    <a:pt x="276" y="91"/>
                  </a:lnTo>
                  <a:lnTo>
                    <a:pt x="277" y="89"/>
                  </a:lnTo>
                  <a:lnTo>
                    <a:pt x="277" y="88"/>
                  </a:lnTo>
                  <a:lnTo>
                    <a:pt x="279" y="87"/>
                  </a:lnTo>
                  <a:lnTo>
                    <a:pt x="280" y="86"/>
                  </a:lnTo>
                  <a:lnTo>
                    <a:pt x="281" y="85"/>
                  </a:lnTo>
                  <a:lnTo>
                    <a:pt x="280" y="83"/>
                  </a:lnTo>
                  <a:lnTo>
                    <a:pt x="277" y="83"/>
                  </a:lnTo>
                  <a:lnTo>
                    <a:pt x="276" y="85"/>
                  </a:lnTo>
                  <a:lnTo>
                    <a:pt x="275" y="83"/>
                  </a:lnTo>
                  <a:lnTo>
                    <a:pt x="274" y="85"/>
                  </a:lnTo>
                  <a:lnTo>
                    <a:pt x="271" y="85"/>
                  </a:lnTo>
                  <a:lnTo>
                    <a:pt x="274" y="83"/>
                  </a:lnTo>
                  <a:lnTo>
                    <a:pt x="274" y="82"/>
                  </a:lnTo>
                  <a:lnTo>
                    <a:pt x="272" y="81"/>
                  </a:lnTo>
                  <a:lnTo>
                    <a:pt x="274" y="80"/>
                  </a:lnTo>
                  <a:lnTo>
                    <a:pt x="275" y="80"/>
                  </a:lnTo>
                  <a:lnTo>
                    <a:pt x="275" y="77"/>
                  </a:lnTo>
                  <a:lnTo>
                    <a:pt x="274" y="77"/>
                  </a:lnTo>
                  <a:lnTo>
                    <a:pt x="272" y="77"/>
                  </a:lnTo>
                  <a:lnTo>
                    <a:pt x="272" y="79"/>
                  </a:lnTo>
                  <a:lnTo>
                    <a:pt x="271" y="79"/>
                  </a:lnTo>
                  <a:lnTo>
                    <a:pt x="270" y="79"/>
                  </a:lnTo>
                  <a:lnTo>
                    <a:pt x="269" y="80"/>
                  </a:lnTo>
                  <a:lnTo>
                    <a:pt x="269" y="79"/>
                  </a:lnTo>
                  <a:lnTo>
                    <a:pt x="270" y="77"/>
                  </a:lnTo>
                  <a:lnTo>
                    <a:pt x="271" y="77"/>
                  </a:lnTo>
                  <a:lnTo>
                    <a:pt x="271" y="76"/>
                  </a:lnTo>
                  <a:lnTo>
                    <a:pt x="272" y="76"/>
                  </a:lnTo>
                  <a:lnTo>
                    <a:pt x="274" y="75"/>
                  </a:lnTo>
                  <a:lnTo>
                    <a:pt x="272" y="74"/>
                  </a:lnTo>
                  <a:lnTo>
                    <a:pt x="270" y="74"/>
                  </a:lnTo>
                  <a:lnTo>
                    <a:pt x="269" y="75"/>
                  </a:lnTo>
                  <a:lnTo>
                    <a:pt x="269" y="74"/>
                  </a:lnTo>
                  <a:lnTo>
                    <a:pt x="272" y="73"/>
                  </a:lnTo>
                  <a:lnTo>
                    <a:pt x="274" y="71"/>
                  </a:lnTo>
                  <a:lnTo>
                    <a:pt x="275" y="71"/>
                  </a:lnTo>
                  <a:lnTo>
                    <a:pt x="275" y="70"/>
                  </a:lnTo>
                  <a:lnTo>
                    <a:pt x="276" y="69"/>
                  </a:lnTo>
                  <a:lnTo>
                    <a:pt x="275" y="68"/>
                  </a:lnTo>
                  <a:lnTo>
                    <a:pt x="274" y="68"/>
                  </a:lnTo>
                  <a:lnTo>
                    <a:pt x="274" y="69"/>
                  </a:lnTo>
                  <a:lnTo>
                    <a:pt x="272" y="69"/>
                  </a:lnTo>
                  <a:lnTo>
                    <a:pt x="271" y="69"/>
                  </a:lnTo>
                  <a:lnTo>
                    <a:pt x="270" y="70"/>
                  </a:lnTo>
                  <a:lnTo>
                    <a:pt x="269" y="70"/>
                  </a:lnTo>
                  <a:lnTo>
                    <a:pt x="266" y="70"/>
                  </a:lnTo>
                  <a:lnTo>
                    <a:pt x="266" y="71"/>
                  </a:lnTo>
                  <a:lnTo>
                    <a:pt x="265" y="71"/>
                  </a:lnTo>
                  <a:lnTo>
                    <a:pt x="265" y="70"/>
                  </a:lnTo>
                  <a:lnTo>
                    <a:pt x="266" y="70"/>
                  </a:lnTo>
                  <a:lnTo>
                    <a:pt x="266" y="69"/>
                  </a:lnTo>
                  <a:lnTo>
                    <a:pt x="269" y="69"/>
                  </a:lnTo>
                  <a:lnTo>
                    <a:pt x="270" y="69"/>
                  </a:lnTo>
                  <a:lnTo>
                    <a:pt x="271" y="68"/>
                  </a:lnTo>
                  <a:lnTo>
                    <a:pt x="271" y="65"/>
                  </a:lnTo>
                  <a:lnTo>
                    <a:pt x="272" y="64"/>
                  </a:lnTo>
                  <a:lnTo>
                    <a:pt x="272" y="63"/>
                  </a:lnTo>
                  <a:lnTo>
                    <a:pt x="272" y="62"/>
                  </a:lnTo>
                  <a:lnTo>
                    <a:pt x="271" y="60"/>
                  </a:lnTo>
                  <a:lnTo>
                    <a:pt x="270" y="60"/>
                  </a:lnTo>
                  <a:lnTo>
                    <a:pt x="269" y="60"/>
                  </a:lnTo>
                  <a:lnTo>
                    <a:pt x="269" y="62"/>
                  </a:lnTo>
                  <a:lnTo>
                    <a:pt x="270" y="63"/>
                  </a:lnTo>
                  <a:lnTo>
                    <a:pt x="269" y="64"/>
                  </a:lnTo>
                  <a:lnTo>
                    <a:pt x="268" y="65"/>
                  </a:lnTo>
                  <a:lnTo>
                    <a:pt x="266" y="65"/>
                  </a:lnTo>
                  <a:lnTo>
                    <a:pt x="265" y="64"/>
                  </a:lnTo>
                  <a:lnTo>
                    <a:pt x="264" y="64"/>
                  </a:lnTo>
                  <a:lnTo>
                    <a:pt x="263" y="65"/>
                  </a:lnTo>
                  <a:lnTo>
                    <a:pt x="263" y="66"/>
                  </a:lnTo>
                  <a:lnTo>
                    <a:pt x="263" y="68"/>
                  </a:lnTo>
                  <a:lnTo>
                    <a:pt x="264" y="70"/>
                  </a:lnTo>
                  <a:lnTo>
                    <a:pt x="263" y="70"/>
                  </a:lnTo>
                  <a:lnTo>
                    <a:pt x="263" y="69"/>
                  </a:lnTo>
                  <a:lnTo>
                    <a:pt x="262" y="68"/>
                  </a:lnTo>
                  <a:lnTo>
                    <a:pt x="260" y="66"/>
                  </a:lnTo>
                  <a:lnTo>
                    <a:pt x="259" y="66"/>
                  </a:lnTo>
                  <a:lnTo>
                    <a:pt x="258" y="66"/>
                  </a:lnTo>
                  <a:lnTo>
                    <a:pt x="258" y="68"/>
                  </a:lnTo>
                  <a:lnTo>
                    <a:pt x="257" y="69"/>
                  </a:lnTo>
                  <a:lnTo>
                    <a:pt x="257" y="70"/>
                  </a:lnTo>
                  <a:lnTo>
                    <a:pt x="257" y="71"/>
                  </a:lnTo>
                  <a:lnTo>
                    <a:pt x="256" y="71"/>
                  </a:lnTo>
                  <a:lnTo>
                    <a:pt x="254" y="70"/>
                  </a:lnTo>
                  <a:lnTo>
                    <a:pt x="254" y="71"/>
                  </a:lnTo>
                  <a:lnTo>
                    <a:pt x="253" y="71"/>
                  </a:lnTo>
                  <a:lnTo>
                    <a:pt x="252" y="73"/>
                  </a:lnTo>
                  <a:lnTo>
                    <a:pt x="251" y="74"/>
                  </a:lnTo>
                  <a:lnTo>
                    <a:pt x="250" y="74"/>
                  </a:lnTo>
                  <a:lnTo>
                    <a:pt x="248" y="74"/>
                  </a:lnTo>
                  <a:lnTo>
                    <a:pt x="247" y="73"/>
                  </a:lnTo>
                  <a:lnTo>
                    <a:pt x="247" y="71"/>
                  </a:lnTo>
                  <a:lnTo>
                    <a:pt x="246" y="70"/>
                  </a:lnTo>
                  <a:lnTo>
                    <a:pt x="244" y="70"/>
                  </a:lnTo>
                  <a:lnTo>
                    <a:pt x="245" y="69"/>
                  </a:lnTo>
                  <a:lnTo>
                    <a:pt x="246" y="70"/>
                  </a:lnTo>
                  <a:lnTo>
                    <a:pt x="246" y="69"/>
                  </a:lnTo>
                  <a:lnTo>
                    <a:pt x="247" y="68"/>
                  </a:lnTo>
                  <a:lnTo>
                    <a:pt x="248" y="68"/>
                  </a:lnTo>
                  <a:lnTo>
                    <a:pt x="250" y="66"/>
                  </a:lnTo>
                  <a:lnTo>
                    <a:pt x="248" y="65"/>
                  </a:lnTo>
                  <a:lnTo>
                    <a:pt x="248" y="64"/>
                  </a:lnTo>
                  <a:lnTo>
                    <a:pt x="248" y="62"/>
                  </a:lnTo>
                  <a:lnTo>
                    <a:pt x="250" y="60"/>
                  </a:lnTo>
                  <a:lnTo>
                    <a:pt x="251" y="59"/>
                  </a:lnTo>
                  <a:lnTo>
                    <a:pt x="253" y="59"/>
                  </a:lnTo>
                  <a:lnTo>
                    <a:pt x="254" y="60"/>
                  </a:lnTo>
                  <a:lnTo>
                    <a:pt x="253" y="60"/>
                  </a:lnTo>
                  <a:lnTo>
                    <a:pt x="251" y="62"/>
                  </a:lnTo>
                  <a:lnTo>
                    <a:pt x="250" y="63"/>
                  </a:lnTo>
                  <a:lnTo>
                    <a:pt x="250" y="64"/>
                  </a:lnTo>
                  <a:lnTo>
                    <a:pt x="251" y="65"/>
                  </a:lnTo>
                  <a:lnTo>
                    <a:pt x="253" y="66"/>
                  </a:lnTo>
                  <a:lnTo>
                    <a:pt x="253" y="65"/>
                  </a:lnTo>
                  <a:lnTo>
                    <a:pt x="254" y="65"/>
                  </a:lnTo>
                  <a:lnTo>
                    <a:pt x="256" y="65"/>
                  </a:lnTo>
                  <a:lnTo>
                    <a:pt x="256" y="64"/>
                  </a:lnTo>
                  <a:lnTo>
                    <a:pt x="257" y="65"/>
                  </a:lnTo>
                  <a:lnTo>
                    <a:pt x="258" y="64"/>
                  </a:lnTo>
                  <a:lnTo>
                    <a:pt x="259" y="64"/>
                  </a:lnTo>
                  <a:lnTo>
                    <a:pt x="259" y="63"/>
                  </a:lnTo>
                  <a:lnTo>
                    <a:pt x="258" y="62"/>
                  </a:lnTo>
                  <a:lnTo>
                    <a:pt x="258" y="60"/>
                  </a:lnTo>
                  <a:lnTo>
                    <a:pt x="259" y="59"/>
                  </a:lnTo>
                  <a:lnTo>
                    <a:pt x="260" y="60"/>
                  </a:lnTo>
                  <a:lnTo>
                    <a:pt x="262" y="60"/>
                  </a:lnTo>
                  <a:lnTo>
                    <a:pt x="263" y="59"/>
                  </a:lnTo>
                  <a:lnTo>
                    <a:pt x="264" y="58"/>
                  </a:lnTo>
                  <a:lnTo>
                    <a:pt x="265" y="58"/>
                  </a:lnTo>
                  <a:lnTo>
                    <a:pt x="264" y="57"/>
                  </a:lnTo>
                  <a:lnTo>
                    <a:pt x="263" y="56"/>
                  </a:lnTo>
                  <a:lnTo>
                    <a:pt x="264" y="54"/>
                  </a:lnTo>
                  <a:lnTo>
                    <a:pt x="264" y="53"/>
                  </a:lnTo>
                  <a:lnTo>
                    <a:pt x="263" y="53"/>
                  </a:lnTo>
                  <a:lnTo>
                    <a:pt x="263" y="52"/>
                  </a:lnTo>
                  <a:lnTo>
                    <a:pt x="262" y="51"/>
                  </a:lnTo>
                  <a:lnTo>
                    <a:pt x="262" y="53"/>
                  </a:lnTo>
                  <a:lnTo>
                    <a:pt x="262" y="54"/>
                  </a:lnTo>
                  <a:lnTo>
                    <a:pt x="260" y="53"/>
                  </a:lnTo>
                  <a:lnTo>
                    <a:pt x="259" y="53"/>
                  </a:lnTo>
                  <a:lnTo>
                    <a:pt x="259" y="56"/>
                  </a:lnTo>
                  <a:lnTo>
                    <a:pt x="260" y="57"/>
                  </a:lnTo>
                  <a:lnTo>
                    <a:pt x="259" y="57"/>
                  </a:lnTo>
                  <a:lnTo>
                    <a:pt x="259" y="56"/>
                  </a:lnTo>
                  <a:lnTo>
                    <a:pt x="258" y="54"/>
                  </a:lnTo>
                  <a:lnTo>
                    <a:pt x="257" y="54"/>
                  </a:lnTo>
                  <a:lnTo>
                    <a:pt x="256" y="54"/>
                  </a:lnTo>
                  <a:lnTo>
                    <a:pt x="253" y="56"/>
                  </a:lnTo>
                  <a:lnTo>
                    <a:pt x="252" y="56"/>
                  </a:lnTo>
                  <a:lnTo>
                    <a:pt x="252" y="57"/>
                  </a:lnTo>
                  <a:lnTo>
                    <a:pt x="252" y="54"/>
                  </a:lnTo>
                  <a:lnTo>
                    <a:pt x="251" y="53"/>
                  </a:lnTo>
                  <a:lnTo>
                    <a:pt x="251" y="52"/>
                  </a:lnTo>
                  <a:lnTo>
                    <a:pt x="250" y="52"/>
                  </a:lnTo>
                  <a:lnTo>
                    <a:pt x="250" y="54"/>
                  </a:lnTo>
                  <a:lnTo>
                    <a:pt x="248" y="54"/>
                  </a:lnTo>
                  <a:lnTo>
                    <a:pt x="248" y="53"/>
                  </a:lnTo>
                  <a:lnTo>
                    <a:pt x="248" y="52"/>
                  </a:lnTo>
                  <a:lnTo>
                    <a:pt x="248" y="51"/>
                  </a:lnTo>
                  <a:lnTo>
                    <a:pt x="247" y="50"/>
                  </a:lnTo>
                  <a:lnTo>
                    <a:pt x="246" y="51"/>
                  </a:lnTo>
                  <a:lnTo>
                    <a:pt x="245" y="50"/>
                  </a:lnTo>
                  <a:lnTo>
                    <a:pt x="242" y="48"/>
                  </a:lnTo>
                  <a:lnTo>
                    <a:pt x="242" y="47"/>
                  </a:lnTo>
                  <a:lnTo>
                    <a:pt x="242" y="46"/>
                  </a:lnTo>
                  <a:lnTo>
                    <a:pt x="242" y="45"/>
                  </a:lnTo>
                  <a:lnTo>
                    <a:pt x="241" y="45"/>
                  </a:lnTo>
                  <a:lnTo>
                    <a:pt x="240" y="44"/>
                  </a:lnTo>
                  <a:lnTo>
                    <a:pt x="240" y="42"/>
                  </a:lnTo>
                  <a:lnTo>
                    <a:pt x="241" y="44"/>
                  </a:lnTo>
                  <a:lnTo>
                    <a:pt x="242" y="44"/>
                  </a:lnTo>
                  <a:lnTo>
                    <a:pt x="244" y="42"/>
                  </a:lnTo>
                  <a:lnTo>
                    <a:pt x="244" y="41"/>
                  </a:lnTo>
                  <a:lnTo>
                    <a:pt x="244" y="40"/>
                  </a:lnTo>
                  <a:lnTo>
                    <a:pt x="245" y="39"/>
                  </a:lnTo>
                  <a:lnTo>
                    <a:pt x="245" y="38"/>
                  </a:lnTo>
                  <a:lnTo>
                    <a:pt x="244" y="38"/>
                  </a:lnTo>
                  <a:lnTo>
                    <a:pt x="242" y="38"/>
                  </a:lnTo>
                  <a:lnTo>
                    <a:pt x="242" y="39"/>
                  </a:lnTo>
                  <a:lnTo>
                    <a:pt x="241" y="39"/>
                  </a:lnTo>
                  <a:lnTo>
                    <a:pt x="240" y="39"/>
                  </a:lnTo>
                  <a:lnTo>
                    <a:pt x="239" y="40"/>
                  </a:lnTo>
                  <a:lnTo>
                    <a:pt x="239" y="41"/>
                  </a:lnTo>
                  <a:lnTo>
                    <a:pt x="239" y="42"/>
                  </a:lnTo>
                  <a:lnTo>
                    <a:pt x="238" y="42"/>
                  </a:lnTo>
                  <a:lnTo>
                    <a:pt x="238" y="41"/>
                  </a:lnTo>
                  <a:lnTo>
                    <a:pt x="238" y="40"/>
                  </a:lnTo>
                  <a:lnTo>
                    <a:pt x="239" y="38"/>
                  </a:lnTo>
                  <a:lnTo>
                    <a:pt x="238" y="36"/>
                  </a:lnTo>
                  <a:lnTo>
                    <a:pt x="236" y="36"/>
                  </a:lnTo>
                  <a:lnTo>
                    <a:pt x="235" y="39"/>
                  </a:lnTo>
                  <a:lnTo>
                    <a:pt x="234" y="40"/>
                  </a:lnTo>
                  <a:lnTo>
                    <a:pt x="235" y="38"/>
                  </a:lnTo>
                  <a:lnTo>
                    <a:pt x="235" y="36"/>
                  </a:lnTo>
                  <a:lnTo>
                    <a:pt x="236" y="35"/>
                  </a:lnTo>
                  <a:lnTo>
                    <a:pt x="235" y="34"/>
                  </a:lnTo>
                  <a:lnTo>
                    <a:pt x="234" y="34"/>
                  </a:lnTo>
                  <a:lnTo>
                    <a:pt x="233" y="35"/>
                  </a:lnTo>
                  <a:lnTo>
                    <a:pt x="232" y="35"/>
                  </a:lnTo>
                  <a:lnTo>
                    <a:pt x="232" y="36"/>
                  </a:lnTo>
                  <a:lnTo>
                    <a:pt x="230" y="38"/>
                  </a:lnTo>
                  <a:lnTo>
                    <a:pt x="229" y="38"/>
                  </a:lnTo>
                  <a:lnTo>
                    <a:pt x="228" y="38"/>
                  </a:lnTo>
                  <a:lnTo>
                    <a:pt x="229" y="36"/>
                  </a:lnTo>
                  <a:lnTo>
                    <a:pt x="228" y="36"/>
                  </a:lnTo>
                  <a:lnTo>
                    <a:pt x="227" y="35"/>
                  </a:lnTo>
                  <a:lnTo>
                    <a:pt x="226" y="35"/>
                  </a:lnTo>
                  <a:lnTo>
                    <a:pt x="226" y="34"/>
                  </a:lnTo>
                  <a:lnTo>
                    <a:pt x="227" y="33"/>
                  </a:lnTo>
                  <a:lnTo>
                    <a:pt x="228" y="33"/>
                  </a:lnTo>
                  <a:lnTo>
                    <a:pt x="228" y="32"/>
                  </a:lnTo>
                  <a:lnTo>
                    <a:pt x="226" y="32"/>
                  </a:lnTo>
                  <a:lnTo>
                    <a:pt x="224" y="32"/>
                  </a:lnTo>
                  <a:lnTo>
                    <a:pt x="224" y="30"/>
                  </a:lnTo>
                  <a:lnTo>
                    <a:pt x="226" y="30"/>
                  </a:lnTo>
                  <a:lnTo>
                    <a:pt x="227" y="29"/>
                  </a:lnTo>
                  <a:lnTo>
                    <a:pt x="228" y="28"/>
                  </a:lnTo>
                  <a:lnTo>
                    <a:pt x="228" y="27"/>
                  </a:lnTo>
                  <a:lnTo>
                    <a:pt x="228" y="26"/>
                  </a:lnTo>
                  <a:lnTo>
                    <a:pt x="226" y="27"/>
                  </a:lnTo>
                  <a:lnTo>
                    <a:pt x="226" y="28"/>
                  </a:lnTo>
                  <a:lnTo>
                    <a:pt x="224" y="28"/>
                  </a:lnTo>
                  <a:lnTo>
                    <a:pt x="224" y="26"/>
                  </a:lnTo>
                  <a:lnTo>
                    <a:pt x="226" y="24"/>
                  </a:lnTo>
                  <a:lnTo>
                    <a:pt x="224" y="23"/>
                  </a:lnTo>
                  <a:lnTo>
                    <a:pt x="224" y="22"/>
                  </a:lnTo>
                  <a:lnTo>
                    <a:pt x="222" y="22"/>
                  </a:lnTo>
                  <a:lnTo>
                    <a:pt x="222" y="21"/>
                  </a:lnTo>
                  <a:lnTo>
                    <a:pt x="224" y="21"/>
                  </a:lnTo>
                  <a:lnTo>
                    <a:pt x="224" y="20"/>
                  </a:lnTo>
                  <a:lnTo>
                    <a:pt x="224" y="18"/>
                  </a:lnTo>
                  <a:lnTo>
                    <a:pt x="223" y="18"/>
                  </a:lnTo>
                  <a:lnTo>
                    <a:pt x="222" y="18"/>
                  </a:lnTo>
                  <a:lnTo>
                    <a:pt x="221" y="20"/>
                  </a:lnTo>
                  <a:lnTo>
                    <a:pt x="220" y="20"/>
                  </a:lnTo>
                  <a:lnTo>
                    <a:pt x="220" y="18"/>
                  </a:lnTo>
                  <a:lnTo>
                    <a:pt x="218" y="17"/>
                  </a:lnTo>
                  <a:lnTo>
                    <a:pt x="217" y="18"/>
                  </a:lnTo>
                  <a:lnTo>
                    <a:pt x="215" y="18"/>
                  </a:lnTo>
                  <a:lnTo>
                    <a:pt x="214" y="18"/>
                  </a:lnTo>
                  <a:lnTo>
                    <a:pt x="216" y="17"/>
                  </a:lnTo>
                  <a:lnTo>
                    <a:pt x="216" y="16"/>
                  </a:lnTo>
                  <a:lnTo>
                    <a:pt x="218" y="16"/>
                  </a:lnTo>
                  <a:lnTo>
                    <a:pt x="220" y="15"/>
                  </a:lnTo>
                  <a:lnTo>
                    <a:pt x="221" y="15"/>
                  </a:lnTo>
                  <a:lnTo>
                    <a:pt x="222" y="14"/>
                  </a:lnTo>
                  <a:lnTo>
                    <a:pt x="221" y="12"/>
                  </a:lnTo>
                  <a:lnTo>
                    <a:pt x="218" y="12"/>
                  </a:lnTo>
                  <a:lnTo>
                    <a:pt x="218" y="11"/>
                  </a:lnTo>
                  <a:lnTo>
                    <a:pt x="218" y="10"/>
                  </a:lnTo>
                  <a:lnTo>
                    <a:pt x="216" y="10"/>
                  </a:lnTo>
                  <a:lnTo>
                    <a:pt x="216" y="12"/>
                  </a:lnTo>
                  <a:lnTo>
                    <a:pt x="214" y="12"/>
                  </a:lnTo>
                  <a:lnTo>
                    <a:pt x="215" y="11"/>
                  </a:lnTo>
                  <a:lnTo>
                    <a:pt x="214" y="10"/>
                  </a:lnTo>
                  <a:lnTo>
                    <a:pt x="212" y="10"/>
                  </a:lnTo>
                  <a:lnTo>
                    <a:pt x="211" y="12"/>
                  </a:lnTo>
                  <a:lnTo>
                    <a:pt x="211" y="10"/>
                  </a:lnTo>
                  <a:lnTo>
                    <a:pt x="210" y="9"/>
                  </a:lnTo>
                  <a:lnTo>
                    <a:pt x="210" y="8"/>
                  </a:lnTo>
                  <a:lnTo>
                    <a:pt x="210" y="6"/>
                  </a:lnTo>
                  <a:lnTo>
                    <a:pt x="209" y="6"/>
                  </a:lnTo>
                  <a:lnTo>
                    <a:pt x="207" y="6"/>
                  </a:lnTo>
                  <a:lnTo>
                    <a:pt x="206" y="6"/>
                  </a:lnTo>
                  <a:lnTo>
                    <a:pt x="205" y="6"/>
                  </a:lnTo>
                  <a:lnTo>
                    <a:pt x="205" y="5"/>
                  </a:lnTo>
                  <a:lnTo>
                    <a:pt x="206" y="4"/>
                  </a:lnTo>
                  <a:lnTo>
                    <a:pt x="206" y="3"/>
                  </a:lnTo>
                  <a:lnTo>
                    <a:pt x="206" y="2"/>
                  </a:lnTo>
                  <a:lnTo>
                    <a:pt x="206" y="0"/>
                  </a:lnTo>
                  <a:lnTo>
                    <a:pt x="205" y="0"/>
                  </a:lnTo>
                  <a:lnTo>
                    <a:pt x="204" y="2"/>
                  </a:lnTo>
                  <a:lnTo>
                    <a:pt x="204" y="3"/>
                  </a:lnTo>
                  <a:lnTo>
                    <a:pt x="203" y="3"/>
                  </a:lnTo>
                  <a:lnTo>
                    <a:pt x="203" y="2"/>
                  </a:lnTo>
                  <a:lnTo>
                    <a:pt x="203" y="0"/>
                  </a:lnTo>
                  <a:lnTo>
                    <a:pt x="201" y="0"/>
                  </a:lnTo>
                  <a:lnTo>
                    <a:pt x="201" y="2"/>
                  </a:lnTo>
                  <a:lnTo>
                    <a:pt x="200" y="3"/>
                  </a:lnTo>
                  <a:lnTo>
                    <a:pt x="199" y="4"/>
                  </a:lnTo>
                  <a:lnTo>
                    <a:pt x="199" y="5"/>
                  </a:lnTo>
                  <a:lnTo>
                    <a:pt x="200" y="6"/>
                  </a:lnTo>
                  <a:lnTo>
                    <a:pt x="199" y="6"/>
                  </a:lnTo>
                  <a:lnTo>
                    <a:pt x="198" y="8"/>
                  </a:lnTo>
                  <a:lnTo>
                    <a:pt x="198" y="9"/>
                  </a:lnTo>
                  <a:lnTo>
                    <a:pt x="198" y="10"/>
                  </a:lnTo>
                  <a:lnTo>
                    <a:pt x="197" y="10"/>
                  </a:lnTo>
                  <a:lnTo>
                    <a:pt x="197" y="9"/>
                  </a:lnTo>
                  <a:lnTo>
                    <a:pt x="195" y="9"/>
                  </a:lnTo>
                  <a:lnTo>
                    <a:pt x="194" y="10"/>
                  </a:lnTo>
                  <a:lnTo>
                    <a:pt x="195" y="11"/>
                  </a:lnTo>
                  <a:lnTo>
                    <a:pt x="195" y="12"/>
                  </a:lnTo>
                  <a:lnTo>
                    <a:pt x="197" y="12"/>
                  </a:lnTo>
                  <a:lnTo>
                    <a:pt x="198" y="12"/>
                  </a:lnTo>
                  <a:lnTo>
                    <a:pt x="199" y="14"/>
                  </a:lnTo>
                  <a:lnTo>
                    <a:pt x="198" y="15"/>
                  </a:lnTo>
                  <a:lnTo>
                    <a:pt x="197" y="15"/>
                  </a:lnTo>
                  <a:lnTo>
                    <a:pt x="197" y="14"/>
                  </a:lnTo>
                  <a:lnTo>
                    <a:pt x="195" y="14"/>
                  </a:lnTo>
                  <a:lnTo>
                    <a:pt x="195" y="12"/>
                  </a:lnTo>
                  <a:lnTo>
                    <a:pt x="194" y="12"/>
                  </a:lnTo>
                  <a:lnTo>
                    <a:pt x="194" y="10"/>
                  </a:lnTo>
                  <a:lnTo>
                    <a:pt x="193" y="10"/>
                  </a:lnTo>
                  <a:lnTo>
                    <a:pt x="192" y="10"/>
                  </a:lnTo>
                  <a:lnTo>
                    <a:pt x="191" y="11"/>
                  </a:lnTo>
                  <a:lnTo>
                    <a:pt x="192" y="12"/>
                  </a:lnTo>
                  <a:lnTo>
                    <a:pt x="192" y="14"/>
                  </a:lnTo>
                  <a:lnTo>
                    <a:pt x="193" y="15"/>
                  </a:lnTo>
                  <a:lnTo>
                    <a:pt x="194" y="16"/>
                  </a:lnTo>
                  <a:lnTo>
                    <a:pt x="194" y="17"/>
                  </a:lnTo>
                  <a:lnTo>
                    <a:pt x="193" y="17"/>
                  </a:lnTo>
                  <a:lnTo>
                    <a:pt x="194" y="18"/>
                  </a:lnTo>
                  <a:lnTo>
                    <a:pt x="195" y="18"/>
                  </a:lnTo>
                  <a:lnTo>
                    <a:pt x="195" y="17"/>
                  </a:lnTo>
                  <a:lnTo>
                    <a:pt x="197" y="17"/>
                  </a:lnTo>
                  <a:lnTo>
                    <a:pt x="197" y="18"/>
                  </a:lnTo>
                  <a:lnTo>
                    <a:pt x="195" y="20"/>
                  </a:lnTo>
                  <a:lnTo>
                    <a:pt x="197" y="20"/>
                  </a:lnTo>
                  <a:lnTo>
                    <a:pt x="197" y="21"/>
                  </a:lnTo>
                  <a:lnTo>
                    <a:pt x="195" y="21"/>
                  </a:lnTo>
                  <a:lnTo>
                    <a:pt x="194" y="21"/>
                  </a:lnTo>
                  <a:lnTo>
                    <a:pt x="193" y="20"/>
                  </a:lnTo>
                  <a:lnTo>
                    <a:pt x="192" y="20"/>
                  </a:lnTo>
                  <a:lnTo>
                    <a:pt x="192" y="21"/>
                  </a:lnTo>
                  <a:lnTo>
                    <a:pt x="193" y="22"/>
                  </a:lnTo>
                  <a:lnTo>
                    <a:pt x="193" y="23"/>
                  </a:lnTo>
                  <a:lnTo>
                    <a:pt x="194" y="23"/>
                  </a:lnTo>
                  <a:lnTo>
                    <a:pt x="195" y="24"/>
                  </a:lnTo>
                  <a:lnTo>
                    <a:pt x="195" y="23"/>
                  </a:lnTo>
                  <a:lnTo>
                    <a:pt x="197" y="23"/>
                  </a:lnTo>
                  <a:lnTo>
                    <a:pt x="198" y="22"/>
                  </a:lnTo>
                  <a:lnTo>
                    <a:pt x="199" y="22"/>
                  </a:lnTo>
                  <a:lnTo>
                    <a:pt x="200" y="22"/>
                  </a:lnTo>
                  <a:lnTo>
                    <a:pt x="199" y="23"/>
                  </a:lnTo>
                  <a:lnTo>
                    <a:pt x="198" y="23"/>
                  </a:lnTo>
                  <a:lnTo>
                    <a:pt x="197" y="23"/>
                  </a:lnTo>
                  <a:lnTo>
                    <a:pt x="198" y="24"/>
                  </a:lnTo>
                  <a:lnTo>
                    <a:pt x="199" y="24"/>
                  </a:lnTo>
                  <a:lnTo>
                    <a:pt x="199" y="26"/>
                  </a:lnTo>
                  <a:lnTo>
                    <a:pt x="200" y="26"/>
                  </a:lnTo>
                  <a:lnTo>
                    <a:pt x="201" y="26"/>
                  </a:lnTo>
                  <a:lnTo>
                    <a:pt x="200" y="24"/>
                  </a:lnTo>
                  <a:lnTo>
                    <a:pt x="201" y="23"/>
                  </a:lnTo>
                  <a:lnTo>
                    <a:pt x="203" y="23"/>
                  </a:lnTo>
                  <a:lnTo>
                    <a:pt x="203" y="24"/>
                  </a:lnTo>
                  <a:lnTo>
                    <a:pt x="201" y="24"/>
                  </a:lnTo>
                  <a:lnTo>
                    <a:pt x="201" y="26"/>
                  </a:lnTo>
                  <a:lnTo>
                    <a:pt x="200" y="27"/>
                  </a:lnTo>
                  <a:lnTo>
                    <a:pt x="199" y="27"/>
                  </a:lnTo>
                  <a:lnTo>
                    <a:pt x="199" y="28"/>
                  </a:lnTo>
                  <a:lnTo>
                    <a:pt x="200" y="28"/>
                  </a:lnTo>
                  <a:lnTo>
                    <a:pt x="200" y="29"/>
                  </a:lnTo>
                  <a:lnTo>
                    <a:pt x="199" y="29"/>
                  </a:lnTo>
                  <a:lnTo>
                    <a:pt x="198" y="28"/>
                  </a:lnTo>
                  <a:lnTo>
                    <a:pt x="198" y="29"/>
                  </a:lnTo>
                  <a:lnTo>
                    <a:pt x="198" y="30"/>
                  </a:lnTo>
                  <a:lnTo>
                    <a:pt x="198" y="29"/>
                  </a:lnTo>
                  <a:lnTo>
                    <a:pt x="197" y="29"/>
                  </a:lnTo>
                  <a:lnTo>
                    <a:pt x="195" y="30"/>
                  </a:lnTo>
                  <a:lnTo>
                    <a:pt x="195" y="29"/>
                  </a:lnTo>
                  <a:lnTo>
                    <a:pt x="194" y="28"/>
                  </a:lnTo>
                  <a:lnTo>
                    <a:pt x="194" y="29"/>
                  </a:lnTo>
                  <a:lnTo>
                    <a:pt x="193" y="29"/>
                  </a:lnTo>
                  <a:lnTo>
                    <a:pt x="192" y="29"/>
                  </a:lnTo>
                  <a:lnTo>
                    <a:pt x="191" y="29"/>
                  </a:lnTo>
                  <a:lnTo>
                    <a:pt x="191" y="28"/>
                  </a:lnTo>
                  <a:lnTo>
                    <a:pt x="189" y="28"/>
                  </a:lnTo>
                  <a:lnTo>
                    <a:pt x="189" y="27"/>
                  </a:lnTo>
                  <a:lnTo>
                    <a:pt x="188" y="27"/>
                  </a:lnTo>
                  <a:lnTo>
                    <a:pt x="188" y="28"/>
                  </a:lnTo>
                  <a:lnTo>
                    <a:pt x="187" y="28"/>
                  </a:lnTo>
                  <a:lnTo>
                    <a:pt x="187" y="29"/>
                  </a:lnTo>
                  <a:lnTo>
                    <a:pt x="186" y="28"/>
                  </a:lnTo>
                  <a:lnTo>
                    <a:pt x="185" y="29"/>
                  </a:lnTo>
                  <a:lnTo>
                    <a:pt x="185" y="30"/>
                  </a:lnTo>
                  <a:lnTo>
                    <a:pt x="186" y="32"/>
                  </a:lnTo>
                  <a:lnTo>
                    <a:pt x="186" y="33"/>
                  </a:lnTo>
                  <a:lnTo>
                    <a:pt x="187" y="33"/>
                  </a:lnTo>
                  <a:lnTo>
                    <a:pt x="187" y="32"/>
                  </a:lnTo>
                  <a:lnTo>
                    <a:pt x="188" y="33"/>
                  </a:lnTo>
                  <a:lnTo>
                    <a:pt x="189" y="34"/>
                  </a:lnTo>
                  <a:lnTo>
                    <a:pt x="191" y="35"/>
                  </a:lnTo>
                  <a:lnTo>
                    <a:pt x="192" y="35"/>
                  </a:lnTo>
                  <a:lnTo>
                    <a:pt x="193" y="35"/>
                  </a:lnTo>
                  <a:lnTo>
                    <a:pt x="194" y="35"/>
                  </a:lnTo>
                  <a:lnTo>
                    <a:pt x="194" y="36"/>
                  </a:lnTo>
                  <a:lnTo>
                    <a:pt x="194" y="38"/>
                  </a:lnTo>
                  <a:lnTo>
                    <a:pt x="195" y="38"/>
                  </a:lnTo>
                  <a:lnTo>
                    <a:pt x="197" y="36"/>
                  </a:lnTo>
                  <a:lnTo>
                    <a:pt x="197" y="35"/>
                  </a:lnTo>
                  <a:lnTo>
                    <a:pt x="195" y="35"/>
                  </a:lnTo>
                  <a:lnTo>
                    <a:pt x="197" y="35"/>
                  </a:lnTo>
                  <a:lnTo>
                    <a:pt x="198" y="35"/>
                  </a:lnTo>
                  <a:lnTo>
                    <a:pt x="198" y="36"/>
                  </a:lnTo>
                  <a:lnTo>
                    <a:pt x="199" y="36"/>
                  </a:lnTo>
                  <a:lnTo>
                    <a:pt x="199" y="38"/>
                  </a:lnTo>
                  <a:lnTo>
                    <a:pt x="198" y="38"/>
                  </a:lnTo>
                  <a:lnTo>
                    <a:pt x="198" y="36"/>
                  </a:lnTo>
                  <a:lnTo>
                    <a:pt x="197" y="38"/>
                  </a:lnTo>
                  <a:lnTo>
                    <a:pt x="195" y="38"/>
                  </a:lnTo>
                  <a:lnTo>
                    <a:pt x="195" y="39"/>
                  </a:lnTo>
                  <a:lnTo>
                    <a:pt x="195" y="40"/>
                  </a:lnTo>
                  <a:lnTo>
                    <a:pt x="197" y="41"/>
                  </a:lnTo>
                  <a:lnTo>
                    <a:pt x="197" y="42"/>
                  </a:lnTo>
                  <a:lnTo>
                    <a:pt x="195" y="42"/>
                  </a:lnTo>
                  <a:lnTo>
                    <a:pt x="195" y="41"/>
                  </a:lnTo>
                  <a:lnTo>
                    <a:pt x="194" y="42"/>
                  </a:lnTo>
                  <a:lnTo>
                    <a:pt x="193" y="42"/>
                  </a:lnTo>
                  <a:lnTo>
                    <a:pt x="193" y="41"/>
                  </a:lnTo>
                  <a:lnTo>
                    <a:pt x="193" y="42"/>
                  </a:lnTo>
                  <a:lnTo>
                    <a:pt x="192" y="42"/>
                  </a:lnTo>
                  <a:lnTo>
                    <a:pt x="192" y="41"/>
                  </a:lnTo>
                  <a:lnTo>
                    <a:pt x="191" y="40"/>
                  </a:lnTo>
                  <a:lnTo>
                    <a:pt x="191" y="41"/>
                  </a:lnTo>
                  <a:lnTo>
                    <a:pt x="189" y="41"/>
                  </a:lnTo>
                  <a:lnTo>
                    <a:pt x="189" y="40"/>
                  </a:lnTo>
                  <a:lnTo>
                    <a:pt x="191" y="39"/>
                  </a:lnTo>
                  <a:lnTo>
                    <a:pt x="191" y="38"/>
                  </a:lnTo>
                  <a:lnTo>
                    <a:pt x="191" y="36"/>
                  </a:lnTo>
                  <a:lnTo>
                    <a:pt x="189" y="36"/>
                  </a:lnTo>
                  <a:lnTo>
                    <a:pt x="188" y="35"/>
                  </a:lnTo>
                  <a:lnTo>
                    <a:pt x="188" y="36"/>
                  </a:lnTo>
                  <a:lnTo>
                    <a:pt x="188" y="38"/>
                  </a:lnTo>
                  <a:lnTo>
                    <a:pt x="187" y="39"/>
                  </a:lnTo>
                  <a:lnTo>
                    <a:pt x="187" y="40"/>
                  </a:lnTo>
                  <a:lnTo>
                    <a:pt x="187" y="41"/>
                  </a:lnTo>
                  <a:lnTo>
                    <a:pt x="187" y="40"/>
                  </a:lnTo>
                  <a:lnTo>
                    <a:pt x="187" y="39"/>
                  </a:lnTo>
                  <a:lnTo>
                    <a:pt x="187" y="38"/>
                  </a:lnTo>
                  <a:lnTo>
                    <a:pt x="187" y="36"/>
                  </a:lnTo>
                  <a:lnTo>
                    <a:pt x="187" y="35"/>
                  </a:lnTo>
                  <a:lnTo>
                    <a:pt x="186" y="35"/>
                  </a:lnTo>
                  <a:lnTo>
                    <a:pt x="185" y="36"/>
                  </a:lnTo>
                  <a:lnTo>
                    <a:pt x="183" y="36"/>
                  </a:lnTo>
                  <a:lnTo>
                    <a:pt x="182" y="36"/>
                  </a:lnTo>
                  <a:lnTo>
                    <a:pt x="182" y="38"/>
                  </a:lnTo>
                  <a:lnTo>
                    <a:pt x="182" y="39"/>
                  </a:lnTo>
                  <a:lnTo>
                    <a:pt x="182" y="40"/>
                  </a:lnTo>
                  <a:lnTo>
                    <a:pt x="183" y="41"/>
                  </a:lnTo>
                  <a:lnTo>
                    <a:pt x="183" y="42"/>
                  </a:lnTo>
                  <a:lnTo>
                    <a:pt x="183" y="44"/>
                  </a:lnTo>
                  <a:lnTo>
                    <a:pt x="185" y="44"/>
                  </a:lnTo>
                  <a:lnTo>
                    <a:pt x="185" y="45"/>
                  </a:lnTo>
                  <a:lnTo>
                    <a:pt x="183" y="45"/>
                  </a:lnTo>
                  <a:lnTo>
                    <a:pt x="183" y="46"/>
                  </a:lnTo>
                  <a:lnTo>
                    <a:pt x="183" y="48"/>
                  </a:lnTo>
                  <a:lnTo>
                    <a:pt x="183" y="50"/>
                  </a:lnTo>
                  <a:lnTo>
                    <a:pt x="182" y="50"/>
                  </a:lnTo>
                  <a:lnTo>
                    <a:pt x="182" y="48"/>
                  </a:lnTo>
                  <a:lnTo>
                    <a:pt x="182" y="47"/>
                  </a:lnTo>
                  <a:lnTo>
                    <a:pt x="182" y="46"/>
                  </a:lnTo>
                  <a:lnTo>
                    <a:pt x="182" y="45"/>
                  </a:lnTo>
                  <a:lnTo>
                    <a:pt x="181" y="45"/>
                  </a:lnTo>
                  <a:lnTo>
                    <a:pt x="181" y="46"/>
                  </a:lnTo>
                  <a:lnTo>
                    <a:pt x="181" y="47"/>
                  </a:lnTo>
                  <a:lnTo>
                    <a:pt x="180" y="47"/>
                  </a:lnTo>
                  <a:lnTo>
                    <a:pt x="180" y="46"/>
                  </a:lnTo>
                  <a:lnTo>
                    <a:pt x="181" y="46"/>
                  </a:lnTo>
                  <a:lnTo>
                    <a:pt x="181" y="45"/>
                  </a:lnTo>
                  <a:lnTo>
                    <a:pt x="180" y="45"/>
                  </a:lnTo>
                  <a:lnTo>
                    <a:pt x="180" y="44"/>
                  </a:lnTo>
                  <a:lnTo>
                    <a:pt x="179" y="44"/>
                  </a:lnTo>
                  <a:lnTo>
                    <a:pt x="179" y="45"/>
                  </a:lnTo>
                  <a:lnTo>
                    <a:pt x="177" y="45"/>
                  </a:lnTo>
                  <a:lnTo>
                    <a:pt x="177" y="44"/>
                  </a:lnTo>
                  <a:lnTo>
                    <a:pt x="176" y="42"/>
                  </a:lnTo>
                  <a:lnTo>
                    <a:pt x="175" y="42"/>
                  </a:lnTo>
                  <a:lnTo>
                    <a:pt x="174" y="44"/>
                  </a:lnTo>
                  <a:lnTo>
                    <a:pt x="175" y="45"/>
                  </a:lnTo>
                  <a:lnTo>
                    <a:pt x="175" y="46"/>
                  </a:lnTo>
                  <a:lnTo>
                    <a:pt x="174" y="46"/>
                  </a:lnTo>
                  <a:lnTo>
                    <a:pt x="174" y="47"/>
                  </a:lnTo>
                  <a:lnTo>
                    <a:pt x="175" y="48"/>
                  </a:lnTo>
                  <a:lnTo>
                    <a:pt x="175" y="50"/>
                  </a:lnTo>
                  <a:lnTo>
                    <a:pt x="176" y="50"/>
                  </a:lnTo>
                  <a:lnTo>
                    <a:pt x="177" y="50"/>
                  </a:lnTo>
                  <a:lnTo>
                    <a:pt x="177" y="51"/>
                  </a:lnTo>
                  <a:lnTo>
                    <a:pt x="177" y="52"/>
                  </a:lnTo>
                  <a:lnTo>
                    <a:pt x="179" y="52"/>
                  </a:lnTo>
                  <a:lnTo>
                    <a:pt x="179" y="53"/>
                  </a:lnTo>
                  <a:lnTo>
                    <a:pt x="179" y="54"/>
                  </a:lnTo>
                  <a:lnTo>
                    <a:pt x="180" y="54"/>
                  </a:lnTo>
                  <a:lnTo>
                    <a:pt x="180" y="53"/>
                  </a:lnTo>
                  <a:lnTo>
                    <a:pt x="181" y="53"/>
                  </a:lnTo>
                  <a:lnTo>
                    <a:pt x="181" y="54"/>
                  </a:lnTo>
                  <a:lnTo>
                    <a:pt x="181" y="56"/>
                  </a:lnTo>
                  <a:lnTo>
                    <a:pt x="180" y="56"/>
                  </a:lnTo>
                  <a:lnTo>
                    <a:pt x="179" y="56"/>
                  </a:lnTo>
                  <a:lnTo>
                    <a:pt x="179" y="54"/>
                  </a:lnTo>
                  <a:lnTo>
                    <a:pt x="179" y="53"/>
                  </a:lnTo>
                  <a:lnTo>
                    <a:pt x="177" y="53"/>
                  </a:lnTo>
                  <a:lnTo>
                    <a:pt x="177" y="52"/>
                  </a:lnTo>
                  <a:lnTo>
                    <a:pt x="176" y="52"/>
                  </a:lnTo>
                  <a:lnTo>
                    <a:pt x="176" y="51"/>
                  </a:lnTo>
                  <a:lnTo>
                    <a:pt x="176" y="50"/>
                  </a:lnTo>
                  <a:lnTo>
                    <a:pt x="175" y="50"/>
                  </a:lnTo>
                  <a:lnTo>
                    <a:pt x="175" y="51"/>
                  </a:lnTo>
                  <a:lnTo>
                    <a:pt x="175" y="52"/>
                  </a:lnTo>
                  <a:lnTo>
                    <a:pt x="175" y="53"/>
                  </a:lnTo>
                  <a:lnTo>
                    <a:pt x="176" y="54"/>
                  </a:lnTo>
                  <a:lnTo>
                    <a:pt x="175" y="54"/>
                  </a:lnTo>
                  <a:lnTo>
                    <a:pt x="175" y="53"/>
                  </a:lnTo>
                  <a:lnTo>
                    <a:pt x="174" y="52"/>
                  </a:lnTo>
                  <a:lnTo>
                    <a:pt x="174" y="51"/>
                  </a:lnTo>
                  <a:lnTo>
                    <a:pt x="174" y="50"/>
                  </a:lnTo>
                  <a:lnTo>
                    <a:pt x="174" y="48"/>
                  </a:lnTo>
                  <a:lnTo>
                    <a:pt x="173" y="48"/>
                  </a:lnTo>
                  <a:lnTo>
                    <a:pt x="171" y="48"/>
                  </a:lnTo>
                  <a:lnTo>
                    <a:pt x="171" y="50"/>
                  </a:lnTo>
                  <a:lnTo>
                    <a:pt x="173" y="51"/>
                  </a:lnTo>
                  <a:lnTo>
                    <a:pt x="173" y="52"/>
                  </a:lnTo>
                  <a:lnTo>
                    <a:pt x="173" y="53"/>
                  </a:lnTo>
                  <a:lnTo>
                    <a:pt x="173" y="54"/>
                  </a:lnTo>
                  <a:lnTo>
                    <a:pt x="171" y="54"/>
                  </a:lnTo>
                  <a:lnTo>
                    <a:pt x="171" y="53"/>
                  </a:lnTo>
                  <a:lnTo>
                    <a:pt x="170" y="53"/>
                  </a:lnTo>
                  <a:lnTo>
                    <a:pt x="170" y="52"/>
                  </a:lnTo>
                  <a:lnTo>
                    <a:pt x="171" y="52"/>
                  </a:lnTo>
                  <a:lnTo>
                    <a:pt x="170" y="51"/>
                  </a:lnTo>
                  <a:lnTo>
                    <a:pt x="169" y="51"/>
                  </a:lnTo>
                  <a:lnTo>
                    <a:pt x="169" y="52"/>
                  </a:lnTo>
                  <a:lnTo>
                    <a:pt x="169" y="53"/>
                  </a:lnTo>
                  <a:lnTo>
                    <a:pt x="170" y="54"/>
                  </a:lnTo>
                  <a:lnTo>
                    <a:pt x="169" y="54"/>
                  </a:lnTo>
                  <a:lnTo>
                    <a:pt x="169" y="53"/>
                  </a:lnTo>
                  <a:lnTo>
                    <a:pt x="169" y="52"/>
                  </a:lnTo>
                  <a:lnTo>
                    <a:pt x="168" y="52"/>
                  </a:lnTo>
                  <a:lnTo>
                    <a:pt x="168" y="51"/>
                  </a:lnTo>
                  <a:lnTo>
                    <a:pt x="167" y="52"/>
                  </a:lnTo>
                  <a:lnTo>
                    <a:pt x="165" y="52"/>
                  </a:lnTo>
                  <a:lnTo>
                    <a:pt x="165" y="51"/>
                  </a:lnTo>
                  <a:lnTo>
                    <a:pt x="167" y="51"/>
                  </a:lnTo>
                  <a:lnTo>
                    <a:pt x="167" y="50"/>
                  </a:lnTo>
                  <a:lnTo>
                    <a:pt x="167" y="48"/>
                  </a:lnTo>
                  <a:lnTo>
                    <a:pt x="168" y="48"/>
                  </a:lnTo>
                  <a:lnTo>
                    <a:pt x="168" y="47"/>
                  </a:lnTo>
                  <a:lnTo>
                    <a:pt x="167" y="46"/>
                  </a:lnTo>
                  <a:lnTo>
                    <a:pt x="165" y="47"/>
                  </a:lnTo>
                  <a:lnTo>
                    <a:pt x="165" y="46"/>
                  </a:lnTo>
                  <a:lnTo>
                    <a:pt x="167" y="46"/>
                  </a:lnTo>
                  <a:lnTo>
                    <a:pt x="168" y="46"/>
                  </a:lnTo>
                  <a:lnTo>
                    <a:pt x="168" y="45"/>
                  </a:lnTo>
                  <a:lnTo>
                    <a:pt x="168" y="46"/>
                  </a:lnTo>
                  <a:lnTo>
                    <a:pt x="169" y="46"/>
                  </a:lnTo>
                  <a:lnTo>
                    <a:pt x="170" y="46"/>
                  </a:lnTo>
                  <a:lnTo>
                    <a:pt x="170" y="45"/>
                  </a:lnTo>
                  <a:lnTo>
                    <a:pt x="171" y="45"/>
                  </a:lnTo>
                  <a:lnTo>
                    <a:pt x="171" y="44"/>
                  </a:lnTo>
                  <a:lnTo>
                    <a:pt x="170" y="44"/>
                  </a:lnTo>
                  <a:lnTo>
                    <a:pt x="170" y="42"/>
                  </a:lnTo>
                  <a:lnTo>
                    <a:pt x="170" y="44"/>
                  </a:lnTo>
                  <a:lnTo>
                    <a:pt x="169" y="44"/>
                  </a:lnTo>
                  <a:lnTo>
                    <a:pt x="168" y="42"/>
                  </a:lnTo>
                  <a:lnTo>
                    <a:pt x="167" y="42"/>
                  </a:lnTo>
                  <a:lnTo>
                    <a:pt x="168" y="41"/>
                  </a:lnTo>
                  <a:lnTo>
                    <a:pt x="169" y="40"/>
                  </a:lnTo>
                  <a:lnTo>
                    <a:pt x="170" y="40"/>
                  </a:lnTo>
                  <a:lnTo>
                    <a:pt x="170" y="39"/>
                  </a:lnTo>
                  <a:lnTo>
                    <a:pt x="171" y="39"/>
                  </a:lnTo>
                  <a:lnTo>
                    <a:pt x="173" y="39"/>
                  </a:lnTo>
                  <a:lnTo>
                    <a:pt x="174" y="38"/>
                  </a:lnTo>
                  <a:lnTo>
                    <a:pt x="174" y="39"/>
                  </a:lnTo>
                  <a:lnTo>
                    <a:pt x="175" y="39"/>
                  </a:lnTo>
                  <a:lnTo>
                    <a:pt x="175" y="38"/>
                  </a:lnTo>
                  <a:lnTo>
                    <a:pt x="176" y="38"/>
                  </a:lnTo>
                  <a:lnTo>
                    <a:pt x="176" y="39"/>
                  </a:lnTo>
                  <a:lnTo>
                    <a:pt x="177" y="39"/>
                  </a:lnTo>
                  <a:lnTo>
                    <a:pt x="179" y="38"/>
                  </a:lnTo>
                  <a:lnTo>
                    <a:pt x="180" y="36"/>
                  </a:lnTo>
                  <a:lnTo>
                    <a:pt x="180" y="35"/>
                  </a:lnTo>
                  <a:lnTo>
                    <a:pt x="180" y="34"/>
                  </a:lnTo>
                  <a:lnTo>
                    <a:pt x="179" y="34"/>
                  </a:lnTo>
                  <a:lnTo>
                    <a:pt x="177" y="34"/>
                  </a:lnTo>
                  <a:lnTo>
                    <a:pt x="177" y="35"/>
                  </a:lnTo>
                  <a:lnTo>
                    <a:pt x="176" y="36"/>
                  </a:lnTo>
                  <a:lnTo>
                    <a:pt x="175" y="36"/>
                  </a:lnTo>
                  <a:lnTo>
                    <a:pt x="176" y="35"/>
                  </a:lnTo>
                  <a:lnTo>
                    <a:pt x="176" y="34"/>
                  </a:lnTo>
                  <a:lnTo>
                    <a:pt x="175" y="34"/>
                  </a:lnTo>
                  <a:lnTo>
                    <a:pt x="175" y="35"/>
                  </a:lnTo>
                  <a:lnTo>
                    <a:pt x="174" y="35"/>
                  </a:lnTo>
                  <a:lnTo>
                    <a:pt x="173" y="35"/>
                  </a:lnTo>
                  <a:lnTo>
                    <a:pt x="171" y="35"/>
                  </a:lnTo>
                  <a:lnTo>
                    <a:pt x="173" y="34"/>
                  </a:lnTo>
                  <a:lnTo>
                    <a:pt x="174" y="34"/>
                  </a:lnTo>
                  <a:lnTo>
                    <a:pt x="174" y="33"/>
                  </a:lnTo>
                  <a:lnTo>
                    <a:pt x="174" y="32"/>
                  </a:lnTo>
                  <a:lnTo>
                    <a:pt x="174" y="30"/>
                  </a:lnTo>
                  <a:lnTo>
                    <a:pt x="173" y="30"/>
                  </a:lnTo>
                  <a:lnTo>
                    <a:pt x="171" y="30"/>
                  </a:lnTo>
                  <a:lnTo>
                    <a:pt x="171" y="32"/>
                  </a:lnTo>
                  <a:lnTo>
                    <a:pt x="171" y="33"/>
                  </a:lnTo>
                  <a:lnTo>
                    <a:pt x="170" y="33"/>
                  </a:lnTo>
                  <a:lnTo>
                    <a:pt x="170" y="34"/>
                  </a:lnTo>
                  <a:lnTo>
                    <a:pt x="169" y="34"/>
                  </a:lnTo>
                  <a:lnTo>
                    <a:pt x="169" y="35"/>
                  </a:lnTo>
                  <a:lnTo>
                    <a:pt x="169" y="34"/>
                  </a:lnTo>
                  <a:lnTo>
                    <a:pt x="170" y="33"/>
                  </a:lnTo>
                  <a:lnTo>
                    <a:pt x="170" y="32"/>
                  </a:lnTo>
                  <a:lnTo>
                    <a:pt x="170" y="30"/>
                  </a:lnTo>
                  <a:lnTo>
                    <a:pt x="169" y="30"/>
                  </a:lnTo>
                  <a:lnTo>
                    <a:pt x="168" y="32"/>
                  </a:lnTo>
                  <a:lnTo>
                    <a:pt x="167" y="32"/>
                  </a:lnTo>
                  <a:lnTo>
                    <a:pt x="165" y="32"/>
                  </a:lnTo>
                  <a:lnTo>
                    <a:pt x="165" y="33"/>
                  </a:lnTo>
                  <a:lnTo>
                    <a:pt x="164" y="33"/>
                  </a:lnTo>
                  <a:lnTo>
                    <a:pt x="163" y="33"/>
                  </a:lnTo>
                  <a:lnTo>
                    <a:pt x="163" y="32"/>
                  </a:lnTo>
                  <a:lnTo>
                    <a:pt x="162" y="32"/>
                  </a:lnTo>
                  <a:lnTo>
                    <a:pt x="163" y="30"/>
                  </a:lnTo>
                  <a:lnTo>
                    <a:pt x="163" y="29"/>
                  </a:lnTo>
                  <a:lnTo>
                    <a:pt x="163" y="28"/>
                  </a:lnTo>
                  <a:lnTo>
                    <a:pt x="162" y="28"/>
                  </a:lnTo>
                  <a:lnTo>
                    <a:pt x="161" y="29"/>
                  </a:lnTo>
                  <a:lnTo>
                    <a:pt x="161" y="30"/>
                  </a:lnTo>
                  <a:lnTo>
                    <a:pt x="159" y="32"/>
                  </a:lnTo>
                  <a:lnTo>
                    <a:pt x="157" y="32"/>
                  </a:lnTo>
                  <a:lnTo>
                    <a:pt x="156" y="32"/>
                  </a:lnTo>
                  <a:lnTo>
                    <a:pt x="156" y="30"/>
                  </a:lnTo>
                  <a:lnTo>
                    <a:pt x="157" y="30"/>
                  </a:lnTo>
                  <a:lnTo>
                    <a:pt x="157" y="29"/>
                  </a:lnTo>
                  <a:lnTo>
                    <a:pt x="157" y="28"/>
                  </a:lnTo>
                  <a:lnTo>
                    <a:pt x="157" y="27"/>
                  </a:lnTo>
                  <a:lnTo>
                    <a:pt x="156" y="26"/>
                  </a:lnTo>
                  <a:lnTo>
                    <a:pt x="156" y="24"/>
                  </a:lnTo>
                  <a:lnTo>
                    <a:pt x="155" y="24"/>
                  </a:lnTo>
                  <a:lnTo>
                    <a:pt x="153" y="26"/>
                  </a:lnTo>
                  <a:lnTo>
                    <a:pt x="152" y="26"/>
                  </a:lnTo>
                  <a:lnTo>
                    <a:pt x="151" y="27"/>
                  </a:lnTo>
                  <a:lnTo>
                    <a:pt x="150" y="27"/>
                  </a:lnTo>
                  <a:lnTo>
                    <a:pt x="150" y="26"/>
                  </a:lnTo>
                  <a:lnTo>
                    <a:pt x="150" y="24"/>
                  </a:lnTo>
                  <a:lnTo>
                    <a:pt x="148" y="24"/>
                  </a:lnTo>
                  <a:lnTo>
                    <a:pt x="148" y="26"/>
                  </a:lnTo>
                  <a:lnTo>
                    <a:pt x="147" y="27"/>
                  </a:lnTo>
                  <a:lnTo>
                    <a:pt x="147" y="26"/>
                  </a:lnTo>
                  <a:lnTo>
                    <a:pt x="146" y="26"/>
                  </a:lnTo>
                  <a:lnTo>
                    <a:pt x="146" y="24"/>
                  </a:lnTo>
                  <a:lnTo>
                    <a:pt x="145" y="24"/>
                  </a:lnTo>
                  <a:lnTo>
                    <a:pt x="144" y="26"/>
                  </a:lnTo>
                  <a:lnTo>
                    <a:pt x="144" y="24"/>
                  </a:lnTo>
                  <a:lnTo>
                    <a:pt x="142" y="24"/>
                  </a:lnTo>
                  <a:lnTo>
                    <a:pt x="141" y="24"/>
                  </a:lnTo>
                  <a:lnTo>
                    <a:pt x="141" y="23"/>
                  </a:lnTo>
                  <a:lnTo>
                    <a:pt x="142" y="23"/>
                  </a:lnTo>
                  <a:lnTo>
                    <a:pt x="144" y="23"/>
                  </a:lnTo>
                  <a:lnTo>
                    <a:pt x="145" y="23"/>
                  </a:lnTo>
                  <a:lnTo>
                    <a:pt x="146" y="23"/>
                  </a:lnTo>
                  <a:lnTo>
                    <a:pt x="147" y="23"/>
                  </a:lnTo>
                  <a:lnTo>
                    <a:pt x="148" y="23"/>
                  </a:lnTo>
                  <a:lnTo>
                    <a:pt x="150" y="23"/>
                  </a:lnTo>
                  <a:lnTo>
                    <a:pt x="151" y="22"/>
                  </a:lnTo>
                  <a:lnTo>
                    <a:pt x="151" y="21"/>
                  </a:lnTo>
                  <a:lnTo>
                    <a:pt x="150" y="20"/>
                  </a:lnTo>
                  <a:lnTo>
                    <a:pt x="150" y="21"/>
                  </a:lnTo>
                  <a:lnTo>
                    <a:pt x="148" y="21"/>
                  </a:lnTo>
                  <a:lnTo>
                    <a:pt x="147" y="21"/>
                  </a:lnTo>
                  <a:lnTo>
                    <a:pt x="148" y="21"/>
                  </a:lnTo>
                  <a:lnTo>
                    <a:pt x="148" y="20"/>
                  </a:lnTo>
                  <a:lnTo>
                    <a:pt x="147" y="20"/>
                  </a:lnTo>
                  <a:lnTo>
                    <a:pt x="147" y="18"/>
                  </a:lnTo>
                  <a:lnTo>
                    <a:pt x="148" y="20"/>
                  </a:lnTo>
                  <a:lnTo>
                    <a:pt x="150" y="20"/>
                  </a:lnTo>
                  <a:lnTo>
                    <a:pt x="151" y="18"/>
                  </a:lnTo>
                  <a:lnTo>
                    <a:pt x="152" y="18"/>
                  </a:lnTo>
                  <a:lnTo>
                    <a:pt x="153" y="18"/>
                  </a:lnTo>
                  <a:lnTo>
                    <a:pt x="153" y="17"/>
                  </a:lnTo>
                  <a:lnTo>
                    <a:pt x="155" y="17"/>
                  </a:lnTo>
                  <a:lnTo>
                    <a:pt x="155" y="16"/>
                  </a:lnTo>
                  <a:lnTo>
                    <a:pt x="156" y="16"/>
                  </a:lnTo>
                  <a:lnTo>
                    <a:pt x="156" y="15"/>
                  </a:lnTo>
                  <a:lnTo>
                    <a:pt x="155" y="15"/>
                  </a:lnTo>
                  <a:lnTo>
                    <a:pt x="155" y="14"/>
                  </a:lnTo>
                  <a:lnTo>
                    <a:pt x="153" y="15"/>
                  </a:lnTo>
                  <a:lnTo>
                    <a:pt x="152" y="16"/>
                  </a:lnTo>
                  <a:lnTo>
                    <a:pt x="152" y="15"/>
                  </a:lnTo>
                  <a:lnTo>
                    <a:pt x="152" y="14"/>
                  </a:lnTo>
                  <a:lnTo>
                    <a:pt x="153" y="12"/>
                  </a:lnTo>
                  <a:lnTo>
                    <a:pt x="153" y="10"/>
                  </a:lnTo>
                  <a:lnTo>
                    <a:pt x="152" y="10"/>
                  </a:lnTo>
                  <a:lnTo>
                    <a:pt x="151" y="10"/>
                  </a:lnTo>
                  <a:lnTo>
                    <a:pt x="150" y="11"/>
                  </a:lnTo>
                  <a:lnTo>
                    <a:pt x="150" y="12"/>
                  </a:lnTo>
                  <a:lnTo>
                    <a:pt x="150" y="14"/>
                  </a:lnTo>
                  <a:lnTo>
                    <a:pt x="148" y="12"/>
                  </a:lnTo>
                  <a:lnTo>
                    <a:pt x="148" y="11"/>
                  </a:lnTo>
                  <a:lnTo>
                    <a:pt x="148" y="10"/>
                  </a:lnTo>
                  <a:lnTo>
                    <a:pt x="147" y="10"/>
                  </a:lnTo>
                  <a:lnTo>
                    <a:pt x="147" y="11"/>
                  </a:lnTo>
                  <a:lnTo>
                    <a:pt x="146" y="11"/>
                  </a:lnTo>
                  <a:lnTo>
                    <a:pt x="146" y="12"/>
                  </a:lnTo>
                  <a:lnTo>
                    <a:pt x="145" y="12"/>
                  </a:lnTo>
                  <a:lnTo>
                    <a:pt x="144" y="12"/>
                  </a:lnTo>
                  <a:lnTo>
                    <a:pt x="144" y="14"/>
                  </a:lnTo>
                  <a:lnTo>
                    <a:pt x="142" y="14"/>
                  </a:lnTo>
                  <a:lnTo>
                    <a:pt x="144" y="15"/>
                  </a:lnTo>
                  <a:lnTo>
                    <a:pt x="142" y="15"/>
                  </a:lnTo>
                  <a:lnTo>
                    <a:pt x="142" y="16"/>
                  </a:lnTo>
                  <a:lnTo>
                    <a:pt x="141" y="15"/>
                  </a:lnTo>
                  <a:lnTo>
                    <a:pt x="141" y="14"/>
                  </a:lnTo>
                  <a:lnTo>
                    <a:pt x="140" y="14"/>
                  </a:lnTo>
                  <a:lnTo>
                    <a:pt x="140" y="12"/>
                  </a:lnTo>
                  <a:lnTo>
                    <a:pt x="140" y="11"/>
                  </a:lnTo>
                  <a:lnTo>
                    <a:pt x="139" y="11"/>
                  </a:lnTo>
                  <a:lnTo>
                    <a:pt x="138" y="11"/>
                  </a:lnTo>
                  <a:lnTo>
                    <a:pt x="138" y="12"/>
                  </a:lnTo>
                  <a:lnTo>
                    <a:pt x="136" y="12"/>
                  </a:lnTo>
                  <a:lnTo>
                    <a:pt x="136" y="11"/>
                  </a:lnTo>
                  <a:lnTo>
                    <a:pt x="136" y="10"/>
                  </a:lnTo>
                  <a:lnTo>
                    <a:pt x="136" y="9"/>
                  </a:lnTo>
                  <a:lnTo>
                    <a:pt x="136" y="8"/>
                  </a:lnTo>
                  <a:lnTo>
                    <a:pt x="135" y="6"/>
                  </a:lnTo>
                  <a:lnTo>
                    <a:pt x="134" y="6"/>
                  </a:lnTo>
                  <a:lnTo>
                    <a:pt x="134" y="8"/>
                  </a:lnTo>
                  <a:lnTo>
                    <a:pt x="133" y="9"/>
                  </a:lnTo>
                  <a:lnTo>
                    <a:pt x="133" y="10"/>
                  </a:lnTo>
                  <a:lnTo>
                    <a:pt x="133" y="11"/>
                  </a:lnTo>
                  <a:lnTo>
                    <a:pt x="133" y="10"/>
                  </a:lnTo>
                  <a:lnTo>
                    <a:pt x="132" y="9"/>
                  </a:lnTo>
                  <a:lnTo>
                    <a:pt x="132" y="8"/>
                  </a:lnTo>
                  <a:lnTo>
                    <a:pt x="130" y="6"/>
                  </a:lnTo>
                  <a:lnTo>
                    <a:pt x="132" y="6"/>
                  </a:lnTo>
                  <a:lnTo>
                    <a:pt x="132" y="5"/>
                  </a:lnTo>
                  <a:lnTo>
                    <a:pt x="129" y="4"/>
                  </a:lnTo>
                  <a:lnTo>
                    <a:pt x="129" y="5"/>
                  </a:lnTo>
                  <a:lnTo>
                    <a:pt x="128" y="5"/>
                  </a:lnTo>
                  <a:lnTo>
                    <a:pt x="128" y="6"/>
                  </a:lnTo>
                  <a:lnTo>
                    <a:pt x="127" y="8"/>
                  </a:lnTo>
                  <a:lnTo>
                    <a:pt x="127" y="9"/>
                  </a:lnTo>
                  <a:lnTo>
                    <a:pt x="126" y="9"/>
                  </a:lnTo>
                  <a:lnTo>
                    <a:pt x="127" y="10"/>
                  </a:lnTo>
                  <a:lnTo>
                    <a:pt x="128" y="10"/>
                  </a:lnTo>
                  <a:lnTo>
                    <a:pt x="128" y="11"/>
                  </a:lnTo>
                  <a:lnTo>
                    <a:pt x="129" y="11"/>
                  </a:lnTo>
                  <a:lnTo>
                    <a:pt x="129" y="12"/>
                  </a:lnTo>
                  <a:lnTo>
                    <a:pt x="128" y="12"/>
                  </a:lnTo>
                  <a:lnTo>
                    <a:pt x="128" y="14"/>
                  </a:lnTo>
                  <a:lnTo>
                    <a:pt x="127" y="12"/>
                  </a:lnTo>
                  <a:lnTo>
                    <a:pt x="126" y="11"/>
                  </a:lnTo>
                  <a:lnTo>
                    <a:pt x="124" y="10"/>
                  </a:lnTo>
                  <a:lnTo>
                    <a:pt x="123" y="10"/>
                  </a:lnTo>
                  <a:lnTo>
                    <a:pt x="122" y="10"/>
                  </a:lnTo>
                  <a:lnTo>
                    <a:pt x="122" y="11"/>
                  </a:lnTo>
                  <a:lnTo>
                    <a:pt x="122" y="12"/>
                  </a:lnTo>
                  <a:lnTo>
                    <a:pt x="122" y="14"/>
                  </a:lnTo>
                  <a:lnTo>
                    <a:pt x="123" y="15"/>
                  </a:lnTo>
                  <a:lnTo>
                    <a:pt x="124" y="15"/>
                  </a:lnTo>
                  <a:lnTo>
                    <a:pt x="126" y="15"/>
                  </a:lnTo>
                  <a:lnTo>
                    <a:pt x="124" y="15"/>
                  </a:lnTo>
                  <a:lnTo>
                    <a:pt x="124" y="16"/>
                  </a:lnTo>
                  <a:lnTo>
                    <a:pt x="126" y="16"/>
                  </a:lnTo>
                  <a:lnTo>
                    <a:pt x="127" y="17"/>
                  </a:lnTo>
                  <a:lnTo>
                    <a:pt x="128" y="17"/>
                  </a:lnTo>
                  <a:lnTo>
                    <a:pt x="129" y="18"/>
                  </a:lnTo>
                  <a:lnTo>
                    <a:pt x="128" y="20"/>
                  </a:lnTo>
                  <a:lnTo>
                    <a:pt x="127" y="20"/>
                  </a:lnTo>
                  <a:lnTo>
                    <a:pt x="127" y="18"/>
                  </a:lnTo>
                  <a:lnTo>
                    <a:pt x="126" y="17"/>
                  </a:lnTo>
                  <a:lnTo>
                    <a:pt x="124" y="17"/>
                  </a:lnTo>
                  <a:lnTo>
                    <a:pt x="124" y="18"/>
                  </a:lnTo>
                  <a:lnTo>
                    <a:pt x="123" y="18"/>
                  </a:lnTo>
                  <a:lnTo>
                    <a:pt x="122" y="18"/>
                  </a:lnTo>
                  <a:lnTo>
                    <a:pt x="121" y="18"/>
                  </a:lnTo>
                  <a:lnTo>
                    <a:pt x="121" y="17"/>
                  </a:lnTo>
                  <a:lnTo>
                    <a:pt x="120" y="17"/>
                  </a:lnTo>
                  <a:lnTo>
                    <a:pt x="120" y="18"/>
                  </a:lnTo>
                  <a:lnTo>
                    <a:pt x="120" y="20"/>
                  </a:lnTo>
                  <a:lnTo>
                    <a:pt x="121" y="21"/>
                  </a:lnTo>
                  <a:lnTo>
                    <a:pt x="121" y="22"/>
                  </a:lnTo>
                  <a:lnTo>
                    <a:pt x="122" y="22"/>
                  </a:lnTo>
                  <a:lnTo>
                    <a:pt x="123" y="22"/>
                  </a:lnTo>
                  <a:lnTo>
                    <a:pt x="124" y="22"/>
                  </a:lnTo>
                  <a:lnTo>
                    <a:pt x="126" y="22"/>
                  </a:lnTo>
                  <a:lnTo>
                    <a:pt x="126" y="23"/>
                  </a:lnTo>
                  <a:lnTo>
                    <a:pt x="127" y="23"/>
                  </a:lnTo>
                  <a:lnTo>
                    <a:pt x="126" y="23"/>
                  </a:lnTo>
                  <a:lnTo>
                    <a:pt x="124" y="23"/>
                  </a:lnTo>
                  <a:lnTo>
                    <a:pt x="124" y="24"/>
                  </a:lnTo>
                  <a:lnTo>
                    <a:pt x="124" y="26"/>
                  </a:lnTo>
                  <a:lnTo>
                    <a:pt x="123" y="26"/>
                  </a:lnTo>
                  <a:lnTo>
                    <a:pt x="122" y="26"/>
                  </a:lnTo>
                  <a:lnTo>
                    <a:pt x="123" y="28"/>
                  </a:lnTo>
                  <a:lnTo>
                    <a:pt x="124" y="28"/>
                  </a:lnTo>
                  <a:lnTo>
                    <a:pt x="126" y="29"/>
                  </a:lnTo>
                  <a:lnTo>
                    <a:pt x="127" y="29"/>
                  </a:lnTo>
                  <a:lnTo>
                    <a:pt x="127" y="30"/>
                  </a:lnTo>
                  <a:lnTo>
                    <a:pt x="128" y="30"/>
                  </a:lnTo>
                  <a:lnTo>
                    <a:pt x="129" y="29"/>
                  </a:lnTo>
                  <a:lnTo>
                    <a:pt x="129" y="28"/>
                  </a:lnTo>
                  <a:lnTo>
                    <a:pt x="129" y="27"/>
                  </a:lnTo>
                  <a:lnTo>
                    <a:pt x="130" y="28"/>
                  </a:lnTo>
                  <a:lnTo>
                    <a:pt x="132" y="28"/>
                  </a:lnTo>
                  <a:lnTo>
                    <a:pt x="132" y="27"/>
                  </a:lnTo>
                  <a:lnTo>
                    <a:pt x="133" y="28"/>
                  </a:lnTo>
                  <a:lnTo>
                    <a:pt x="133" y="29"/>
                  </a:lnTo>
                  <a:lnTo>
                    <a:pt x="132" y="29"/>
                  </a:lnTo>
                  <a:lnTo>
                    <a:pt x="130" y="29"/>
                  </a:lnTo>
                  <a:lnTo>
                    <a:pt x="129" y="30"/>
                  </a:lnTo>
                  <a:lnTo>
                    <a:pt x="129" y="32"/>
                  </a:lnTo>
                  <a:lnTo>
                    <a:pt x="130" y="33"/>
                  </a:lnTo>
                  <a:lnTo>
                    <a:pt x="132" y="34"/>
                  </a:lnTo>
                  <a:lnTo>
                    <a:pt x="133" y="33"/>
                  </a:lnTo>
                  <a:lnTo>
                    <a:pt x="134" y="33"/>
                  </a:lnTo>
                  <a:lnTo>
                    <a:pt x="134" y="32"/>
                  </a:lnTo>
                  <a:lnTo>
                    <a:pt x="134" y="30"/>
                  </a:lnTo>
                  <a:lnTo>
                    <a:pt x="135" y="32"/>
                  </a:lnTo>
                  <a:lnTo>
                    <a:pt x="136" y="32"/>
                  </a:lnTo>
                  <a:lnTo>
                    <a:pt x="136" y="33"/>
                  </a:lnTo>
                  <a:lnTo>
                    <a:pt x="135" y="33"/>
                  </a:lnTo>
                  <a:lnTo>
                    <a:pt x="134" y="34"/>
                  </a:lnTo>
                  <a:lnTo>
                    <a:pt x="134" y="35"/>
                  </a:lnTo>
                  <a:lnTo>
                    <a:pt x="134" y="36"/>
                  </a:lnTo>
                  <a:lnTo>
                    <a:pt x="135" y="38"/>
                  </a:lnTo>
                  <a:lnTo>
                    <a:pt x="135" y="39"/>
                  </a:lnTo>
                  <a:lnTo>
                    <a:pt x="136" y="40"/>
                  </a:lnTo>
                  <a:lnTo>
                    <a:pt x="136" y="41"/>
                  </a:lnTo>
                  <a:lnTo>
                    <a:pt x="135" y="41"/>
                  </a:lnTo>
                  <a:lnTo>
                    <a:pt x="135" y="40"/>
                  </a:lnTo>
                  <a:lnTo>
                    <a:pt x="135" y="39"/>
                  </a:lnTo>
                  <a:lnTo>
                    <a:pt x="134" y="39"/>
                  </a:lnTo>
                  <a:lnTo>
                    <a:pt x="134" y="38"/>
                  </a:lnTo>
                  <a:lnTo>
                    <a:pt x="133" y="36"/>
                  </a:lnTo>
                  <a:lnTo>
                    <a:pt x="132" y="36"/>
                  </a:lnTo>
                  <a:lnTo>
                    <a:pt x="132" y="38"/>
                  </a:lnTo>
                  <a:lnTo>
                    <a:pt x="132" y="39"/>
                  </a:lnTo>
                  <a:lnTo>
                    <a:pt x="130" y="39"/>
                  </a:lnTo>
                  <a:lnTo>
                    <a:pt x="130" y="40"/>
                  </a:lnTo>
                  <a:lnTo>
                    <a:pt x="129" y="40"/>
                  </a:lnTo>
                  <a:lnTo>
                    <a:pt x="129" y="39"/>
                  </a:lnTo>
                  <a:lnTo>
                    <a:pt x="129" y="38"/>
                  </a:lnTo>
                  <a:lnTo>
                    <a:pt x="128" y="39"/>
                  </a:lnTo>
                  <a:lnTo>
                    <a:pt x="128" y="40"/>
                  </a:lnTo>
                  <a:lnTo>
                    <a:pt x="127" y="40"/>
                  </a:lnTo>
                  <a:lnTo>
                    <a:pt x="127" y="39"/>
                  </a:lnTo>
                  <a:lnTo>
                    <a:pt x="127" y="38"/>
                  </a:lnTo>
                  <a:lnTo>
                    <a:pt x="127" y="36"/>
                  </a:lnTo>
                  <a:lnTo>
                    <a:pt x="126" y="36"/>
                  </a:lnTo>
                  <a:lnTo>
                    <a:pt x="126" y="35"/>
                  </a:lnTo>
                  <a:lnTo>
                    <a:pt x="124" y="35"/>
                  </a:lnTo>
                  <a:lnTo>
                    <a:pt x="123" y="36"/>
                  </a:lnTo>
                  <a:lnTo>
                    <a:pt x="123" y="38"/>
                  </a:lnTo>
                  <a:lnTo>
                    <a:pt x="123" y="39"/>
                  </a:lnTo>
                  <a:lnTo>
                    <a:pt x="123" y="40"/>
                  </a:lnTo>
                  <a:lnTo>
                    <a:pt x="122" y="40"/>
                  </a:lnTo>
                  <a:lnTo>
                    <a:pt x="122" y="39"/>
                  </a:lnTo>
                  <a:lnTo>
                    <a:pt x="121" y="39"/>
                  </a:lnTo>
                  <a:lnTo>
                    <a:pt x="121" y="40"/>
                  </a:lnTo>
                  <a:lnTo>
                    <a:pt x="120" y="40"/>
                  </a:lnTo>
                  <a:lnTo>
                    <a:pt x="118" y="39"/>
                  </a:lnTo>
                  <a:lnTo>
                    <a:pt x="118" y="38"/>
                  </a:lnTo>
                  <a:lnTo>
                    <a:pt x="117" y="38"/>
                  </a:lnTo>
                  <a:lnTo>
                    <a:pt x="117" y="36"/>
                  </a:lnTo>
                  <a:lnTo>
                    <a:pt x="117" y="35"/>
                  </a:lnTo>
                  <a:lnTo>
                    <a:pt x="117" y="34"/>
                  </a:lnTo>
                  <a:lnTo>
                    <a:pt x="116" y="33"/>
                  </a:lnTo>
                  <a:lnTo>
                    <a:pt x="115" y="34"/>
                  </a:lnTo>
                  <a:lnTo>
                    <a:pt x="114" y="35"/>
                  </a:lnTo>
                  <a:lnTo>
                    <a:pt x="112" y="36"/>
                  </a:lnTo>
                  <a:lnTo>
                    <a:pt x="112" y="35"/>
                  </a:lnTo>
                  <a:lnTo>
                    <a:pt x="112" y="34"/>
                  </a:lnTo>
                  <a:lnTo>
                    <a:pt x="111" y="33"/>
                  </a:lnTo>
                  <a:lnTo>
                    <a:pt x="110" y="33"/>
                  </a:lnTo>
                  <a:lnTo>
                    <a:pt x="110" y="34"/>
                  </a:lnTo>
                  <a:lnTo>
                    <a:pt x="109" y="35"/>
                  </a:lnTo>
                  <a:lnTo>
                    <a:pt x="109" y="36"/>
                  </a:lnTo>
                  <a:lnTo>
                    <a:pt x="108" y="35"/>
                  </a:lnTo>
                  <a:lnTo>
                    <a:pt x="108" y="34"/>
                  </a:lnTo>
                  <a:lnTo>
                    <a:pt x="109" y="33"/>
                  </a:lnTo>
                  <a:lnTo>
                    <a:pt x="109" y="32"/>
                  </a:lnTo>
                  <a:lnTo>
                    <a:pt x="108" y="32"/>
                  </a:lnTo>
                  <a:lnTo>
                    <a:pt x="109" y="32"/>
                  </a:lnTo>
                  <a:lnTo>
                    <a:pt x="109" y="30"/>
                  </a:lnTo>
                  <a:lnTo>
                    <a:pt x="108" y="29"/>
                  </a:lnTo>
                  <a:lnTo>
                    <a:pt x="106" y="29"/>
                  </a:lnTo>
                  <a:lnTo>
                    <a:pt x="105" y="29"/>
                  </a:lnTo>
                  <a:lnTo>
                    <a:pt x="105" y="28"/>
                  </a:lnTo>
                  <a:lnTo>
                    <a:pt x="105" y="27"/>
                  </a:lnTo>
                  <a:lnTo>
                    <a:pt x="104" y="26"/>
                  </a:lnTo>
                  <a:lnTo>
                    <a:pt x="103" y="24"/>
                  </a:lnTo>
                  <a:lnTo>
                    <a:pt x="103" y="26"/>
                  </a:lnTo>
                  <a:lnTo>
                    <a:pt x="102" y="27"/>
                  </a:lnTo>
                  <a:lnTo>
                    <a:pt x="100" y="28"/>
                  </a:lnTo>
                  <a:lnTo>
                    <a:pt x="99" y="29"/>
                  </a:lnTo>
                  <a:lnTo>
                    <a:pt x="99" y="28"/>
                  </a:lnTo>
                  <a:lnTo>
                    <a:pt x="99" y="27"/>
                  </a:lnTo>
                  <a:lnTo>
                    <a:pt x="100" y="26"/>
                  </a:lnTo>
                  <a:lnTo>
                    <a:pt x="99" y="26"/>
                  </a:lnTo>
                  <a:lnTo>
                    <a:pt x="100" y="26"/>
                  </a:lnTo>
                  <a:lnTo>
                    <a:pt x="100" y="24"/>
                  </a:lnTo>
                  <a:lnTo>
                    <a:pt x="102" y="24"/>
                  </a:lnTo>
                  <a:lnTo>
                    <a:pt x="102" y="23"/>
                  </a:lnTo>
                  <a:lnTo>
                    <a:pt x="102" y="22"/>
                  </a:lnTo>
                  <a:lnTo>
                    <a:pt x="103" y="21"/>
                  </a:lnTo>
                  <a:lnTo>
                    <a:pt x="102" y="20"/>
                  </a:lnTo>
                  <a:lnTo>
                    <a:pt x="100" y="20"/>
                  </a:lnTo>
                  <a:lnTo>
                    <a:pt x="99" y="20"/>
                  </a:lnTo>
                  <a:lnTo>
                    <a:pt x="100" y="21"/>
                  </a:lnTo>
                  <a:lnTo>
                    <a:pt x="99" y="22"/>
                  </a:lnTo>
                  <a:lnTo>
                    <a:pt x="99" y="21"/>
                  </a:lnTo>
                  <a:lnTo>
                    <a:pt x="98" y="22"/>
                  </a:lnTo>
                  <a:lnTo>
                    <a:pt x="98" y="23"/>
                  </a:lnTo>
                  <a:lnTo>
                    <a:pt x="98" y="24"/>
                  </a:lnTo>
                  <a:lnTo>
                    <a:pt x="97" y="24"/>
                  </a:lnTo>
                  <a:lnTo>
                    <a:pt x="97" y="23"/>
                  </a:lnTo>
                  <a:lnTo>
                    <a:pt x="97" y="22"/>
                  </a:lnTo>
                  <a:lnTo>
                    <a:pt x="97" y="21"/>
                  </a:lnTo>
                  <a:lnTo>
                    <a:pt x="98" y="20"/>
                  </a:lnTo>
                  <a:lnTo>
                    <a:pt x="97" y="18"/>
                  </a:lnTo>
                  <a:lnTo>
                    <a:pt x="96" y="17"/>
                  </a:lnTo>
                  <a:lnTo>
                    <a:pt x="96" y="18"/>
                  </a:lnTo>
                  <a:lnTo>
                    <a:pt x="94" y="20"/>
                  </a:lnTo>
                  <a:lnTo>
                    <a:pt x="94" y="18"/>
                  </a:lnTo>
                  <a:lnTo>
                    <a:pt x="94" y="17"/>
                  </a:lnTo>
                  <a:lnTo>
                    <a:pt x="93" y="18"/>
                  </a:lnTo>
                  <a:lnTo>
                    <a:pt x="93" y="17"/>
                  </a:lnTo>
                  <a:lnTo>
                    <a:pt x="92" y="17"/>
                  </a:lnTo>
                  <a:lnTo>
                    <a:pt x="92" y="16"/>
                  </a:lnTo>
                  <a:lnTo>
                    <a:pt x="92" y="15"/>
                  </a:lnTo>
                  <a:lnTo>
                    <a:pt x="91" y="15"/>
                  </a:lnTo>
                  <a:lnTo>
                    <a:pt x="89" y="15"/>
                  </a:lnTo>
                  <a:lnTo>
                    <a:pt x="89" y="16"/>
                  </a:lnTo>
                  <a:lnTo>
                    <a:pt x="89" y="17"/>
                  </a:lnTo>
                  <a:lnTo>
                    <a:pt x="91" y="18"/>
                  </a:lnTo>
                  <a:lnTo>
                    <a:pt x="89" y="18"/>
                  </a:lnTo>
                  <a:lnTo>
                    <a:pt x="88" y="18"/>
                  </a:lnTo>
                  <a:lnTo>
                    <a:pt x="89" y="20"/>
                  </a:lnTo>
                  <a:lnTo>
                    <a:pt x="91" y="21"/>
                  </a:lnTo>
                  <a:lnTo>
                    <a:pt x="92" y="22"/>
                  </a:lnTo>
                  <a:lnTo>
                    <a:pt x="92" y="23"/>
                  </a:lnTo>
                  <a:lnTo>
                    <a:pt x="93" y="23"/>
                  </a:lnTo>
                  <a:lnTo>
                    <a:pt x="92" y="23"/>
                  </a:lnTo>
                  <a:lnTo>
                    <a:pt x="91" y="22"/>
                  </a:lnTo>
                  <a:lnTo>
                    <a:pt x="89" y="22"/>
                  </a:lnTo>
                  <a:lnTo>
                    <a:pt x="88" y="23"/>
                  </a:lnTo>
                  <a:lnTo>
                    <a:pt x="89" y="23"/>
                  </a:lnTo>
                  <a:lnTo>
                    <a:pt x="89" y="24"/>
                  </a:lnTo>
                  <a:lnTo>
                    <a:pt x="91" y="26"/>
                  </a:lnTo>
                  <a:lnTo>
                    <a:pt x="91" y="27"/>
                  </a:lnTo>
                  <a:lnTo>
                    <a:pt x="91" y="28"/>
                  </a:lnTo>
                  <a:lnTo>
                    <a:pt x="89" y="28"/>
                  </a:lnTo>
                  <a:lnTo>
                    <a:pt x="88" y="27"/>
                  </a:lnTo>
                  <a:lnTo>
                    <a:pt x="86" y="27"/>
                  </a:lnTo>
                  <a:lnTo>
                    <a:pt x="85" y="28"/>
                  </a:lnTo>
                  <a:lnTo>
                    <a:pt x="85" y="29"/>
                  </a:lnTo>
                  <a:lnTo>
                    <a:pt x="86" y="30"/>
                  </a:lnTo>
                  <a:lnTo>
                    <a:pt x="86" y="32"/>
                  </a:lnTo>
                  <a:lnTo>
                    <a:pt x="87" y="32"/>
                  </a:lnTo>
                  <a:lnTo>
                    <a:pt x="88" y="33"/>
                  </a:lnTo>
                  <a:lnTo>
                    <a:pt x="89" y="34"/>
                  </a:lnTo>
                  <a:lnTo>
                    <a:pt x="91" y="35"/>
                  </a:lnTo>
                  <a:lnTo>
                    <a:pt x="92" y="34"/>
                  </a:lnTo>
                  <a:lnTo>
                    <a:pt x="93" y="34"/>
                  </a:lnTo>
                  <a:lnTo>
                    <a:pt x="94" y="35"/>
                  </a:lnTo>
                  <a:lnTo>
                    <a:pt x="93" y="36"/>
                  </a:lnTo>
                  <a:lnTo>
                    <a:pt x="93" y="35"/>
                  </a:lnTo>
                  <a:lnTo>
                    <a:pt x="92" y="35"/>
                  </a:lnTo>
                  <a:lnTo>
                    <a:pt x="91" y="35"/>
                  </a:lnTo>
                  <a:lnTo>
                    <a:pt x="89" y="35"/>
                  </a:lnTo>
                  <a:lnTo>
                    <a:pt x="88" y="35"/>
                  </a:lnTo>
                  <a:lnTo>
                    <a:pt x="88" y="34"/>
                  </a:lnTo>
                  <a:lnTo>
                    <a:pt x="87" y="34"/>
                  </a:lnTo>
                  <a:lnTo>
                    <a:pt x="87" y="35"/>
                  </a:lnTo>
                  <a:lnTo>
                    <a:pt x="86" y="35"/>
                  </a:lnTo>
                  <a:lnTo>
                    <a:pt x="87" y="36"/>
                  </a:lnTo>
                  <a:lnTo>
                    <a:pt x="88" y="36"/>
                  </a:lnTo>
                  <a:lnTo>
                    <a:pt x="88" y="38"/>
                  </a:lnTo>
                  <a:lnTo>
                    <a:pt x="88" y="39"/>
                  </a:lnTo>
                  <a:lnTo>
                    <a:pt x="88" y="40"/>
                  </a:lnTo>
                  <a:lnTo>
                    <a:pt x="89" y="40"/>
                  </a:lnTo>
                  <a:lnTo>
                    <a:pt x="89" y="41"/>
                  </a:lnTo>
                  <a:lnTo>
                    <a:pt x="88" y="41"/>
                  </a:lnTo>
                  <a:lnTo>
                    <a:pt x="88" y="40"/>
                  </a:lnTo>
                  <a:lnTo>
                    <a:pt x="87" y="40"/>
                  </a:lnTo>
                  <a:lnTo>
                    <a:pt x="87" y="41"/>
                  </a:lnTo>
                  <a:lnTo>
                    <a:pt x="87" y="42"/>
                  </a:lnTo>
                  <a:lnTo>
                    <a:pt x="87" y="41"/>
                  </a:lnTo>
                  <a:lnTo>
                    <a:pt x="86" y="42"/>
                  </a:lnTo>
                  <a:lnTo>
                    <a:pt x="87" y="44"/>
                  </a:lnTo>
                  <a:lnTo>
                    <a:pt x="88" y="44"/>
                  </a:lnTo>
                  <a:lnTo>
                    <a:pt x="89" y="44"/>
                  </a:lnTo>
                  <a:lnTo>
                    <a:pt x="91" y="44"/>
                  </a:lnTo>
                  <a:lnTo>
                    <a:pt x="92" y="44"/>
                  </a:lnTo>
                  <a:lnTo>
                    <a:pt x="93" y="44"/>
                  </a:lnTo>
                  <a:lnTo>
                    <a:pt x="94" y="44"/>
                  </a:lnTo>
                  <a:lnTo>
                    <a:pt x="96" y="44"/>
                  </a:lnTo>
                  <a:lnTo>
                    <a:pt x="96" y="45"/>
                  </a:lnTo>
                  <a:lnTo>
                    <a:pt x="97" y="45"/>
                  </a:lnTo>
                  <a:lnTo>
                    <a:pt x="98" y="45"/>
                  </a:lnTo>
                  <a:lnTo>
                    <a:pt x="99" y="45"/>
                  </a:lnTo>
                  <a:lnTo>
                    <a:pt x="100" y="45"/>
                  </a:lnTo>
                  <a:lnTo>
                    <a:pt x="102" y="46"/>
                  </a:lnTo>
                  <a:lnTo>
                    <a:pt x="100" y="46"/>
                  </a:lnTo>
                  <a:lnTo>
                    <a:pt x="99" y="46"/>
                  </a:lnTo>
                  <a:lnTo>
                    <a:pt x="98" y="46"/>
                  </a:lnTo>
                  <a:lnTo>
                    <a:pt x="97" y="47"/>
                  </a:lnTo>
                  <a:lnTo>
                    <a:pt x="96" y="46"/>
                  </a:lnTo>
                  <a:lnTo>
                    <a:pt x="96" y="47"/>
                  </a:lnTo>
                  <a:lnTo>
                    <a:pt x="94" y="47"/>
                  </a:lnTo>
                  <a:lnTo>
                    <a:pt x="94" y="46"/>
                  </a:lnTo>
                  <a:lnTo>
                    <a:pt x="93" y="45"/>
                  </a:lnTo>
                  <a:lnTo>
                    <a:pt x="93" y="46"/>
                  </a:lnTo>
                  <a:lnTo>
                    <a:pt x="92" y="46"/>
                  </a:lnTo>
                  <a:lnTo>
                    <a:pt x="92" y="47"/>
                  </a:lnTo>
                  <a:lnTo>
                    <a:pt x="93" y="47"/>
                  </a:lnTo>
                  <a:lnTo>
                    <a:pt x="92" y="48"/>
                  </a:lnTo>
                  <a:lnTo>
                    <a:pt x="92" y="47"/>
                  </a:lnTo>
                  <a:lnTo>
                    <a:pt x="91" y="46"/>
                  </a:lnTo>
                  <a:lnTo>
                    <a:pt x="91" y="47"/>
                  </a:lnTo>
                  <a:lnTo>
                    <a:pt x="89" y="47"/>
                  </a:lnTo>
                  <a:lnTo>
                    <a:pt x="89" y="46"/>
                  </a:lnTo>
                  <a:lnTo>
                    <a:pt x="89" y="45"/>
                  </a:lnTo>
                  <a:lnTo>
                    <a:pt x="88" y="45"/>
                  </a:lnTo>
                  <a:lnTo>
                    <a:pt x="87" y="45"/>
                  </a:lnTo>
                  <a:lnTo>
                    <a:pt x="86" y="45"/>
                  </a:lnTo>
                  <a:lnTo>
                    <a:pt x="86" y="46"/>
                  </a:lnTo>
                  <a:lnTo>
                    <a:pt x="85" y="46"/>
                  </a:lnTo>
                  <a:lnTo>
                    <a:pt x="86" y="46"/>
                  </a:lnTo>
                  <a:lnTo>
                    <a:pt x="86" y="48"/>
                  </a:lnTo>
                  <a:lnTo>
                    <a:pt x="87" y="48"/>
                  </a:lnTo>
                  <a:lnTo>
                    <a:pt x="87" y="50"/>
                  </a:lnTo>
                  <a:lnTo>
                    <a:pt x="88" y="50"/>
                  </a:lnTo>
                  <a:lnTo>
                    <a:pt x="88" y="51"/>
                  </a:lnTo>
                  <a:lnTo>
                    <a:pt x="89" y="51"/>
                  </a:lnTo>
                  <a:lnTo>
                    <a:pt x="89" y="52"/>
                  </a:lnTo>
                  <a:lnTo>
                    <a:pt x="88" y="52"/>
                  </a:lnTo>
                  <a:lnTo>
                    <a:pt x="87" y="51"/>
                  </a:lnTo>
                  <a:lnTo>
                    <a:pt x="87" y="52"/>
                  </a:lnTo>
                  <a:lnTo>
                    <a:pt x="86" y="52"/>
                  </a:lnTo>
                  <a:lnTo>
                    <a:pt x="85" y="52"/>
                  </a:lnTo>
                  <a:lnTo>
                    <a:pt x="85" y="51"/>
                  </a:lnTo>
                  <a:lnTo>
                    <a:pt x="83" y="51"/>
                  </a:lnTo>
                  <a:lnTo>
                    <a:pt x="82" y="52"/>
                  </a:lnTo>
                  <a:lnTo>
                    <a:pt x="82" y="53"/>
                  </a:lnTo>
                  <a:lnTo>
                    <a:pt x="83" y="53"/>
                  </a:lnTo>
                  <a:lnTo>
                    <a:pt x="85" y="54"/>
                  </a:lnTo>
                  <a:lnTo>
                    <a:pt x="86" y="54"/>
                  </a:lnTo>
                  <a:lnTo>
                    <a:pt x="87" y="54"/>
                  </a:lnTo>
                  <a:lnTo>
                    <a:pt x="88" y="54"/>
                  </a:lnTo>
                  <a:lnTo>
                    <a:pt x="89" y="54"/>
                  </a:lnTo>
                  <a:lnTo>
                    <a:pt x="91" y="53"/>
                  </a:lnTo>
                  <a:lnTo>
                    <a:pt x="91" y="52"/>
                  </a:lnTo>
                  <a:lnTo>
                    <a:pt x="92" y="52"/>
                  </a:lnTo>
                  <a:lnTo>
                    <a:pt x="93" y="52"/>
                  </a:lnTo>
                  <a:lnTo>
                    <a:pt x="94" y="51"/>
                  </a:lnTo>
                  <a:lnTo>
                    <a:pt x="96" y="50"/>
                  </a:lnTo>
                  <a:lnTo>
                    <a:pt x="97" y="50"/>
                  </a:lnTo>
                  <a:lnTo>
                    <a:pt x="98" y="51"/>
                  </a:lnTo>
                  <a:lnTo>
                    <a:pt x="97" y="52"/>
                  </a:lnTo>
                  <a:lnTo>
                    <a:pt x="97" y="51"/>
                  </a:lnTo>
                  <a:lnTo>
                    <a:pt x="96" y="51"/>
                  </a:lnTo>
                  <a:lnTo>
                    <a:pt x="94" y="52"/>
                  </a:lnTo>
                  <a:lnTo>
                    <a:pt x="94" y="53"/>
                  </a:lnTo>
                  <a:lnTo>
                    <a:pt x="94" y="54"/>
                  </a:lnTo>
                  <a:lnTo>
                    <a:pt x="93" y="54"/>
                  </a:lnTo>
                  <a:lnTo>
                    <a:pt x="93" y="53"/>
                  </a:lnTo>
                  <a:lnTo>
                    <a:pt x="92" y="53"/>
                  </a:lnTo>
                  <a:lnTo>
                    <a:pt x="92" y="54"/>
                  </a:lnTo>
                  <a:lnTo>
                    <a:pt x="92" y="56"/>
                  </a:lnTo>
                  <a:lnTo>
                    <a:pt x="91" y="56"/>
                  </a:lnTo>
                  <a:lnTo>
                    <a:pt x="91" y="57"/>
                  </a:lnTo>
                  <a:lnTo>
                    <a:pt x="89" y="57"/>
                  </a:lnTo>
                  <a:lnTo>
                    <a:pt x="89" y="56"/>
                  </a:lnTo>
                  <a:lnTo>
                    <a:pt x="88" y="56"/>
                  </a:lnTo>
                  <a:lnTo>
                    <a:pt x="88" y="57"/>
                  </a:lnTo>
                  <a:lnTo>
                    <a:pt x="87" y="57"/>
                  </a:lnTo>
                  <a:lnTo>
                    <a:pt x="87" y="56"/>
                  </a:lnTo>
                  <a:lnTo>
                    <a:pt x="86" y="56"/>
                  </a:lnTo>
                  <a:lnTo>
                    <a:pt x="85" y="56"/>
                  </a:lnTo>
                  <a:lnTo>
                    <a:pt x="83" y="56"/>
                  </a:lnTo>
                  <a:lnTo>
                    <a:pt x="83" y="54"/>
                  </a:lnTo>
                  <a:lnTo>
                    <a:pt x="82" y="54"/>
                  </a:lnTo>
                  <a:lnTo>
                    <a:pt x="81" y="54"/>
                  </a:lnTo>
                  <a:lnTo>
                    <a:pt x="80" y="53"/>
                  </a:lnTo>
                  <a:lnTo>
                    <a:pt x="80" y="52"/>
                  </a:lnTo>
                  <a:lnTo>
                    <a:pt x="79" y="51"/>
                  </a:lnTo>
                  <a:lnTo>
                    <a:pt x="77" y="51"/>
                  </a:lnTo>
                  <a:lnTo>
                    <a:pt x="77" y="50"/>
                  </a:lnTo>
                  <a:lnTo>
                    <a:pt x="76" y="50"/>
                  </a:lnTo>
                  <a:lnTo>
                    <a:pt x="75" y="50"/>
                  </a:lnTo>
                  <a:lnTo>
                    <a:pt x="75" y="51"/>
                  </a:lnTo>
                  <a:lnTo>
                    <a:pt x="76" y="51"/>
                  </a:lnTo>
                  <a:lnTo>
                    <a:pt x="76" y="53"/>
                  </a:lnTo>
                  <a:lnTo>
                    <a:pt x="75" y="53"/>
                  </a:lnTo>
                  <a:lnTo>
                    <a:pt x="74" y="52"/>
                  </a:lnTo>
                  <a:lnTo>
                    <a:pt x="73" y="52"/>
                  </a:lnTo>
                  <a:lnTo>
                    <a:pt x="71" y="52"/>
                  </a:lnTo>
                  <a:lnTo>
                    <a:pt x="70" y="52"/>
                  </a:lnTo>
                  <a:lnTo>
                    <a:pt x="70" y="51"/>
                  </a:lnTo>
                  <a:lnTo>
                    <a:pt x="69" y="51"/>
                  </a:lnTo>
                  <a:lnTo>
                    <a:pt x="68" y="51"/>
                  </a:lnTo>
                  <a:lnTo>
                    <a:pt x="67" y="50"/>
                  </a:lnTo>
                  <a:lnTo>
                    <a:pt x="67" y="48"/>
                  </a:lnTo>
                  <a:lnTo>
                    <a:pt x="65" y="48"/>
                  </a:lnTo>
                  <a:lnTo>
                    <a:pt x="64" y="48"/>
                  </a:lnTo>
                  <a:lnTo>
                    <a:pt x="64" y="50"/>
                  </a:lnTo>
                  <a:lnTo>
                    <a:pt x="65" y="51"/>
                  </a:lnTo>
                  <a:lnTo>
                    <a:pt x="64" y="52"/>
                  </a:lnTo>
                  <a:lnTo>
                    <a:pt x="63" y="52"/>
                  </a:lnTo>
                  <a:lnTo>
                    <a:pt x="63" y="51"/>
                  </a:lnTo>
                  <a:lnTo>
                    <a:pt x="63" y="50"/>
                  </a:lnTo>
                  <a:lnTo>
                    <a:pt x="62" y="50"/>
                  </a:lnTo>
                  <a:lnTo>
                    <a:pt x="61" y="51"/>
                  </a:lnTo>
                  <a:lnTo>
                    <a:pt x="59" y="51"/>
                  </a:lnTo>
                  <a:lnTo>
                    <a:pt x="61" y="52"/>
                  </a:lnTo>
                  <a:lnTo>
                    <a:pt x="62" y="53"/>
                  </a:lnTo>
                  <a:lnTo>
                    <a:pt x="62" y="54"/>
                  </a:lnTo>
                  <a:lnTo>
                    <a:pt x="63" y="54"/>
                  </a:lnTo>
                  <a:lnTo>
                    <a:pt x="64" y="54"/>
                  </a:lnTo>
                  <a:lnTo>
                    <a:pt x="64" y="56"/>
                  </a:lnTo>
                  <a:lnTo>
                    <a:pt x="63" y="56"/>
                  </a:lnTo>
                  <a:lnTo>
                    <a:pt x="62" y="56"/>
                  </a:lnTo>
                  <a:lnTo>
                    <a:pt x="62" y="57"/>
                  </a:lnTo>
                  <a:lnTo>
                    <a:pt x="63" y="57"/>
                  </a:lnTo>
                  <a:lnTo>
                    <a:pt x="64" y="58"/>
                  </a:lnTo>
                  <a:lnTo>
                    <a:pt x="65" y="58"/>
                  </a:lnTo>
                  <a:lnTo>
                    <a:pt x="67" y="58"/>
                  </a:lnTo>
                  <a:lnTo>
                    <a:pt x="68" y="58"/>
                  </a:lnTo>
                  <a:lnTo>
                    <a:pt x="69" y="58"/>
                  </a:lnTo>
                  <a:lnTo>
                    <a:pt x="69" y="59"/>
                  </a:lnTo>
                  <a:lnTo>
                    <a:pt x="69" y="60"/>
                  </a:lnTo>
                  <a:lnTo>
                    <a:pt x="70" y="60"/>
                  </a:lnTo>
                  <a:lnTo>
                    <a:pt x="71" y="60"/>
                  </a:lnTo>
                  <a:lnTo>
                    <a:pt x="71" y="59"/>
                  </a:lnTo>
                  <a:lnTo>
                    <a:pt x="73" y="60"/>
                  </a:lnTo>
                  <a:lnTo>
                    <a:pt x="74" y="60"/>
                  </a:lnTo>
                  <a:lnTo>
                    <a:pt x="75" y="60"/>
                  </a:lnTo>
                  <a:lnTo>
                    <a:pt x="75" y="59"/>
                  </a:lnTo>
                  <a:lnTo>
                    <a:pt x="76" y="58"/>
                  </a:lnTo>
                  <a:lnTo>
                    <a:pt x="76" y="59"/>
                  </a:lnTo>
                  <a:lnTo>
                    <a:pt x="77" y="59"/>
                  </a:lnTo>
                  <a:lnTo>
                    <a:pt x="79" y="60"/>
                  </a:lnTo>
                  <a:lnTo>
                    <a:pt x="77" y="60"/>
                  </a:lnTo>
                  <a:lnTo>
                    <a:pt x="77" y="62"/>
                  </a:lnTo>
                  <a:lnTo>
                    <a:pt x="79" y="62"/>
                  </a:lnTo>
                  <a:lnTo>
                    <a:pt x="77" y="63"/>
                  </a:lnTo>
                  <a:lnTo>
                    <a:pt x="76" y="63"/>
                  </a:lnTo>
                  <a:lnTo>
                    <a:pt x="75" y="64"/>
                  </a:lnTo>
                  <a:lnTo>
                    <a:pt x="76" y="65"/>
                  </a:lnTo>
                  <a:lnTo>
                    <a:pt x="77" y="65"/>
                  </a:lnTo>
                  <a:lnTo>
                    <a:pt x="77" y="66"/>
                  </a:lnTo>
                  <a:lnTo>
                    <a:pt x="79" y="66"/>
                  </a:lnTo>
                  <a:lnTo>
                    <a:pt x="79" y="68"/>
                  </a:lnTo>
                  <a:lnTo>
                    <a:pt x="77" y="68"/>
                  </a:lnTo>
                  <a:lnTo>
                    <a:pt x="79" y="69"/>
                  </a:lnTo>
                  <a:lnTo>
                    <a:pt x="80" y="69"/>
                  </a:lnTo>
                  <a:lnTo>
                    <a:pt x="81" y="69"/>
                  </a:lnTo>
                  <a:lnTo>
                    <a:pt x="80" y="70"/>
                  </a:lnTo>
                  <a:lnTo>
                    <a:pt x="80" y="71"/>
                  </a:lnTo>
                  <a:lnTo>
                    <a:pt x="79" y="71"/>
                  </a:lnTo>
                  <a:lnTo>
                    <a:pt x="77" y="71"/>
                  </a:lnTo>
                  <a:lnTo>
                    <a:pt x="77" y="73"/>
                  </a:lnTo>
                  <a:lnTo>
                    <a:pt x="79" y="74"/>
                  </a:lnTo>
                  <a:lnTo>
                    <a:pt x="80" y="74"/>
                  </a:lnTo>
                  <a:lnTo>
                    <a:pt x="80" y="75"/>
                  </a:lnTo>
                  <a:lnTo>
                    <a:pt x="81" y="74"/>
                  </a:lnTo>
                  <a:lnTo>
                    <a:pt x="81" y="75"/>
                  </a:lnTo>
                  <a:lnTo>
                    <a:pt x="82" y="76"/>
                  </a:lnTo>
                  <a:lnTo>
                    <a:pt x="83" y="76"/>
                  </a:lnTo>
                  <a:lnTo>
                    <a:pt x="85" y="76"/>
                  </a:lnTo>
                  <a:lnTo>
                    <a:pt x="85" y="75"/>
                  </a:lnTo>
                  <a:lnTo>
                    <a:pt x="86" y="75"/>
                  </a:lnTo>
                  <a:lnTo>
                    <a:pt x="87" y="75"/>
                  </a:lnTo>
                  <a:lnTo>
                    <a:pt x="87" y="74"/>
                  </a:lnTo>
                  <a:lnTo>
                    <a:pt x="88" y="74"/>
                  </a:lnTo>
                  <a:lnTo>
                    <a:pt x="89" y="74"/>
                  </a:lnTo>
                  <a:lnTo>
                    <a:pt x="91" y="74"/>
                  </a:lnTo>
                  <a:lnTo>
                    <a:pt x="92" y="74"/>
                  </a:lnTo>
                  <a:lnTo>
                    <a:pt x="92" y="75"/>
                  </a:lnTo>
                  <a:lnTo>
                    <a:pt x="93" y="75"/>
                  </a:lnTo>
                  <a:lnTo>
                    <a:pt x="94" y="74"/>
                  </a:lnTo>
                  <a:lnTo>
                    <a:pt x="94" y="73"/>
                  </a:lnTo>
                  <a:lnTo>
                    <a:pt x="94" y="74"/>
                  </a:lnTo>
                  <a:lnTo>
                    <a:pt x="96" y="74"/>
                  </a:lnTo>
                  <a:lnTo>
                    <a:pt x="97" y="74"/>
                  </a:lnTo>
                  <a:lnTo>
                    <a:pt x="97" y="73"/>
                  </a:lnTo>
                  <a:lnTo>
                    <a:pt x="98" y="71"/>
                  </a:lnTo>
                  <a:lnTo>
                    <a:pt x="99" y="70"/>
                  </a:lnTo>
                  <a:lnTo>
                    <a:pt x="100" y="71"/>
                  </a:lnTo>
                  <a:lnTo>
                    <a:pt x="102" y="71"/>
                  </a:lnTo>
                  <a:lnTo>
                    <a:pt x="103" y="71"/>
                  </a:lnTo>
                  <a:lnTo>
                    <a:pt x="104" y="71"/>
                  </a:lnTo>
                  <a:lnTo>
                    <a:pt x="105" y="71"/>
                  </a:lnTo>
                  <a:lnTo>
                    <a:pt x="105" y="73"/>
                  </a:lnTo>
                  <a:lnTo>
                    <a:pt x="104" y="73"/>
                  </a:lnTo>
                  <a:lnTo>
                    <a:pt x="103" y="73"/>
                  </a:lnTo>
                  <a:lnTo>
                    <a:pt x="103" y="74"/>
                  </a:lnTo>
                  <a:lnTo>
                    <a:pt x="103" y="75"/>
                  </a:lnTo>
                  <a:lnTo>
                    <a:pt x="102" y="75"/>
                  </a:lnTo>
                  <a:lnTo>
                    <a:pt x="100" y="75"/>
                  </a:lnTo>
                  <a:lnTo>
                    <a:pt x="99" y="76"/>
                  </a:lnTo>
                  <a:lnTo>
                    <a:pt x="98" y="76"/>
                  </a:lnTo>
                  <a:lnTo>
                    <a:pt x="98" y="77"/>
                  </a:lnTo>
                  <a:lnTo>
                    <a:pt x="98" y="79"/>
                  </a:lnTo>
                  <a:lnTo>
                    <a:pt x="99" y="79"/>
                  </a:lnTo>
                  <a:lnTo>
                    <a:pt x="100" y="79"/>
                  </a:lnTo>
                  <a:lnTo>
                    <a:pt x="100" y="77"/>
                  </a:lnTo>
                  <a:lnTo>
                    <a:pt x="102" y="77"/>
                  </a:lnTo>
                  <a:lnTo>
                    <a:pt x="102" y="76"/>
                  </a:lnTo>
                  <a:lnTo>
                    <a:pt x="103" y="76"/>
                  </a:lnTo>
                  <a:lnTo>
                    <a:pt x="104" y="76"/>
                  </a:lnTo>
                  <a:lnTo>
                    <a:pt x="104" y="75"/>
                  </a:lnTo>
                  <a:lnTo>
                    <a:pt x="105" y="75"/>
                  </a:lnTo>
                  <a:lnTo>
                    <a:pt x="106" y="74"/>
                  </a:lnTo>
                  <a:lnTo>
                    <a:pt x="106" y="75"/>
                  </a:lnTo>
                  <a:lnTo>
                    <a:pt x="105" y="75"/>
                  </a:lnTo>
                  <a:lnTo>
                    <a:pt x="104" y="76"/>
                  </a:lnTo>
                  <a:lnTo>
                    <a:pt x="105" y="76"/>
                  </a:lnTo>
                  <a:lnTo>
                    <a:pt x="106" y="76"/>
                  </a:lnTo>
                  <a:lnTo>
                    <a:pt x="106" y="75"/>
                  </a:lnTo>
                  <a:lnTo>
                    <a:pt x="108" y="75"/>
                  </a:lnTo>
                  <a:lnTo>
                    <a:pt x="108" y="74"/>
                  </a:lnTo>
                  <a:lnTo>
                    <a:pt x="109" y="75"/>
                  </a:lnTo>
                  <a:lnTo>
                    <a:pt x="108" y="76"/>
                  </a:lnTo>
                  <a:lnTo>
                    <a:pt x="106" y="76"/>
                  </a:lnTo>
                  <a:lnTo>
                    <a:pt x="106" y="77"/>
                  </a:lnTo>
                  <a:lnTo>
                    <a:pt x="108" y="77"/>
                  </a:lnTo>
                  <a:lnTo>
                    <a:pt x="106" y="79"/>
                  </a:lnTo>
                  <a:lnTo>
                    <a:pt x="105" y="79"/>
                  </a:lnTo>
                  <a:lnTo>
                    <a:pt x="104" y="80"/>
                  </a:lnTo>
                  <a:lnTo>
                    <a:pt x="104" y="79"/>
                  </a:lnTo>
                  <a:lnTo>
                    <a:pt x="103" y="79"/>
                  </a:lnTo>
                  <a:lnTo>
                    <a:pt x="103" y="80"/>
                  </a:lnTo>
                  <a:lnTo>
                    <a:pt x="104" y="81"/>
                  </a:lnTo>
                  <a:lnTo>
                    <a:pt x="103" y="81"/>
                  </a:lnTo>
                  <a:lnTo>
                    <a:pt x="103" y="82"/>
                  </a:lnTo>
                  <a:lnTo>
                    <a:pt x="102" y="83"/>
                  </a:lnTo>
                  <a:lnTo>
                    <a:pt x="102" y="85"/>
                  </a:lnTo>
                  <a:lnTo>
                    <a:pt x="103" y="85"/>
                  </a:lnTo>
                  <a:lnTo>
                    <a:pt x="104" y="85"/>
                  </a:lnTo>
                  <a:lnTo>
                    <a:pt x="105" y="85"/>
                  </a:lnTo>
                  <a:lnTo>
                    <a:pt x="106" y="85"/>
                  </a:lnTo>
                  <a:lnTo>
                    <a:pt x="108" y="83"/>
                  </a:lnTo>
                  <a:lnTo>
                    <a:pt x="109" y="83"/>
                  </a:lnTo>
                  <a:lnTo>
                    <a:pt x="109" y="82"/>
                  </a:lnTo>
                  <a:lnTo>
                    <a:pt x="108" y="81"/>
                  </a:lnTo>
                  <a:lnTo>
                    <a:pt x="108" y="80"/>
                  </a:lnTo>
                  <a:lnTo>
                    <a:pt x="109" y="80"/>
                  </a:lnTo>
                  <a:lnTo>
                    <a:pt x="109" y="79"/>
                  </a:lnTo>
                  <a:lnTo>
                    <a:pt x="109" y="77"/>
                  </a:lnTo>
                  <a:lnTo>
                    <a:pt x="110" y="77"/>
                  </a:lnTo>
                  <a:lnTo>
                    <a:pt x="110" y="76"/>
                  </a:lnTo>
                  <a:lnTo>
                    <a:pt x="110" y="75"/>
                  </a:lnTo>
                  <a:lnTo>
                    <a:pt x="110" y="74"/>
                  </a:lnTo>
                  <a:lnTo>
                    <a:pt x="111" y="74"/>
                  </a:lnTo>
                  <a:lnTo>
                    <a:pt x="111" y="73"/>
                  </a:lnTo>
                  <a:lnTo>
                    <a:pt x="110" y="71"/>
                  </a:lnTo>
                  <a:lnTo>
                    <a:pt x="111" y="70"/>
                  </a:lnTo>
                  <a:lnTo>
                    <a:pt x="112" y="70"/>
                  </a:lnTo>
                  <a:lnTo>
                    <a:pt x="114" y="70"/>
                  </a:lnTo>
                  <a:lnTo>
                    <a:pt x="115" y="69"/>
                  </a:lnTo>
                  <a:lnTo>
                    <a:pt x="116" y="69"/>
                  </a:lnTo>
                  <a:lnTo>
                    <a:pt x="118" y="69"/>
                  </a:lnTo>
                  <a:lnTo>
                    <a:pt x="120" y="69"/>
                  </a:lnTo>
                  <a:lnTo>
                    <a:pt x="120" y="70"/>
                  </a:lnTo>
                  <a:lnTo>
                    <a:pt x="121" y="70"/>
                  </a:lnTo>
                  <a:lnTo>
                    <a:pt x="122" y="70"/>
                  </a:lnTo>
                  <a:lnTo>
                    <a:pt x="123" y="70"/>
                  </a:lnTo>
                  <a:lnTo>
                    <a:pt x="122" y="71"/>
                  </a:lnTo>
                  <a:lnTo>
                    <a:pt x="121" y="71"/>
                  </a:lnTo>
                  <a:lnTo>
                    <a:pt x="121" y="73"/>
                  </a:lnTo>
                  <a:lnTo>
                    <a:pt x="122" y="73"/>
                  </a:lnTo>
                  <a:lnTo>
                    <a:pt x="123" y="73"/>
                  </a:lnTo>
                  <a:lnTo>
                    <a:pt x="124" y="73"/>
                  </a:lnTo>
                  <a:lnTo>
                    <a:pt x="123" y="74"/>
                  </a:lnTo>
                  <a:lnTo>
                    <a:pt x="122" y="75"/>
                  </a:lnTo>
                  <a:lnTo>
                    <a:pt x="121" y="75"/>
                  </a:lnTo>
                  <a:lnTo>
                    <a:pt x="120" y="75"/>
                  </a:lnTo>
                  <a:lnTo>
                    <a:pt x="120" y="76"/>
                  </a:lnTo>
                  <a:lnTo>
                    <a:pt x="120" y="77"/>
                  </a:lnTo>
                  <a:lnTo>
                    <a:pt x="118" y="76"/>
                  </a:lnTo>
                  <a:lnTo>
                    <a:pt x="117" y="77"/>
                  </a:lnTo>
                  <a:lnTo>
                    <a:pt x="117" y="76"/>
                  </a:lnTo>
                  <a:lnTo>
                    <a:pt x="116" y="75"/>
                  </a:lnTo>
                  <a:lnTo>
                    <a:pt x="115" y="76"/>
                  </a:lnTo>
                  <a:lnTo>
                    <a:pt x="114" y="75"/>
                  </a:lnTo>
                  <a:lnTo>
                    <a:pt x="112" y="75"/>
                  </a:lnTo>
                  <a:lnTo>
                    <a:pt x="112" y="76"/>
                  </a:lnTo>
                  <a:lnTo>
                    <a:pt x="114" y="76"/>
                  </a:lnTo>
                  <a:lnTo>
                    <a:pt x="114" y="77"/>
                  </a:lnTo>
                  <a:lnTo>
                    <a:pt x="115" y="77"/>
                  </a:lnTo>
                  <a:lnTo>
                    <a:pt x="116" y="77"/>
                  </a:lnTo>
                  <a:lnTo>
                    <a:pt x="115" y="79"/>
                  </a:lnTo>
                  <a:lnTo>
                    <a:pt x="114" y="79"/>
                  </a:lnTo>
                  <a:lnTo>
                    <a:pt x="112" y="79"/>
                  </a:lnTo>
                  <a:lnTo>
                    <a:pt x="112" y="80"/>
                  </a:lnTo>
                  <a:lnTo>
                    <a:pt x="114" y="80"/>
                  </a:lnTo>
                  <a:lnTo>
                    <a:pt x="115" y="80"/>
                  </a:lnTo>
                  <a:lnTo>
                    <a:pt x="116" y="80"/>
                  </a:lnTo>
                  <a:lnTo>
                    <a:pt x="117" y="79"/>
                  </a:lnTo>
                  <a:lnTo>
                    <a:pt x="118" y="79"/>
                  </a:lnTo>
                  <a:lnTo>
                    <a:pt x="118" y="80"/>
                  </a:lnTo>
                  <a:lnTo>
                    <a:pt x="120" y="80"/>
                  </a:lnTo>
                  <a:lnTo>
                    <a:pt x="120" y="79"/>
                  </a:lnTo>
                  <a:lnTo>
                    <a:pt x="121" y="79"/>
                  </a:lnTo>
                  <a:lnTo>
                    <a:pt x="122" y="79"/>
                  </a:lnTo>
                  <a:lnTo>
                    <a:pt x="122" y="77"/>
                  </a:lnTo>
                  <a:lnTo>
                    <a:pt x="122" y="76"/>
                  </a:lnTo>
                  <a:lnTo>
                    <a:pt x="123" y="75"/>
                  </a:lnTo>
                  <a:lnTo>
                    <a:pt x="124" y="74"/>
                  </a:lnTo>
                  <a:lnTo>
                    <a:pt x="126" y="73"/>
                  </a:lnTo>
                  <a:lnTo>
                    <a:pt x="127" y="73"/>
                  </a:lnTo>
                  <a:lnTo>
                    <a:pt x="126" y="74"/>
                  </a:lnTo>
                  <a:lnTo>
                    <a:pt x="126" y="75"/>
                  </a:lnTo>
                  <a:lnTo>
                    <a:pt x="126" y="76"/>
                  </a:lnTo>
                  <a:lnTo>
                    <a:pt x="126" y="77"/>
                  </a:lnTo>
                  <a:lnTo>
                    <a:pt x="127" y="77"/>
                  </a:lnTo>
                  <a:lnTo>
                    <a:pt x="128" y="79"/>
                  </a:lnTo>
                  <a:lnTo>
                    <a:pt x="130" y="79"/>
                  </a:lnTo>
                  <a:lnTo>
                    <a:pt x="130" y="80"/>
                  </a:lnTo>
                  <a:lnTo>
                    <a:pt x="129" y="80"/>
                  </a:lnTo>
                  <a:lnTo>
                    <a:pt x="128" y="80"/>
                  </a:lnTo>
                  <a:lnTo>
                    <a:pt x="127" y="80"/>
                  </a:lnTo>
                  <a:lnTo>
                    <a:pt x="126" y="81"/>
                  </a:lnTo>
                  <a:lnTo>
                    <a:pt x="124" y="81"/>
                  </a:lnTo>
                  <a:lnTo>
                    <a:pt x="126" y="82"/>
                  </a:lnTo>
                  <a:lnTo>
                    <a:pt x="127" y="81"/>
                  </a:lnTo>
                  <a:lnTo>
                    <a:pt x="128" y="81"/>
                  </a:lnTo>
                  <a:lnTo>
                    <a:pt x="127" y="82"/>
                  </a:lnTo>
                  <a:lnTo>
                    <a:pt x="126" y="82"/>
                  </a:lnTo>
                  <a:lnTo>
                    <a:pt x="124" y="83"/>
                  </a:lnTo>
                  <a:lnTo>
                    <a:pt x="123" y="83"/>
                  </a:lnTo>
                  <a:lnTo>
                    <a:pt x="122" y="85"/>
                  </a:lnTo>
                  <a:lnTo>
                    <a:pt x="121" y="86"/>
                  </a:lnTo>
                  <a:lnTo>
                    <a:pt x="120" y="87"/>
                  </a:lnTo>
                  <a:lnTo>
                    <a:pt x="120" y="88"/>
                  </a:lnTo>
                  <a:lnTo>
                    <a:pt x="118" y="88"/>
                  </a:lnTo>
                  <a:lnTo>
                    <a:pt x="118" y="87"/>
                  </a:lnTo>
                  <a:lnTo>
                    <a:pt x="117" y="87"/>
                  </a:lnTo>
                  <a:lnTo>
                    <a:pt x="116" y="87"/>
                  </a:lnTo>
                  <a:lnTo>
                    <a:pt x="116" y="88"/>
                  </a:lnTo>
                  <a:lnTo>
                    <a:pt x="116" y="89"/>
                  </a:lnTo>
                  <a:lnTo>
                    <a:pt x="117" y="89"/>
                  </a:lnTo>
                  <a:lnTo>
                    <a:pt x="116" y="91"/>
                  </a:lnTo>
                  <a:lnTo>
                    <a:pt x="115" y="91"/>
                  </a:lnTo>
                  <a:lnTo>
                    <a:pt x="114" y="91"/>
                  </a:lnTo>
                  <a:lnTo>
                    <a:pt x="112" y="89"/>
                  </a:lnTo>
                  <a:lnTo>
                    <a:pt x="112" y="88"/>
                  </a:lnTo>
                  <a:lnTo>
                    <a:pt x="111" y="88"/>
                  </a:lnTo>
                  <a:lnTo>
                    <a:pt x="111" y="89"/>
                  </a:lnTo>
                  <a:lnTo>
                    <a:pt x="110" y="89"/>
                  </a:lnTo>
                  <a:lnTo>
                    <a:pt x="109" y="89"/>
                  </a:lnTo>
                  <a:lnTo>
                    <a:pt x="109" y="91"/>
                  </a:lnTo>
                  <a:lnTo>
                    <a:pt x="110" y="92"/>
                  </a:lnTo>
                  <a:lnTo>
                    <a:pt x="111" y="92"/>
                  </a:lnTo>
                  <a:lnTo>
                    <a:pt x="114" y="92"/>
                  </a:lnTo>
                  <a:lnTo>
                    <a:pt x="115" y="92"/>
                  </a:lnTo>
                  <a:lnTo>
                    <a:pt x="112" y="92"/>
                  </a:lnTo>
                  <a:lnTo>
                    <a:pt x="111" y="92"/>
                  </a:lnTo>
                  <a:lnTo>
                    <a:pt x="110" y="93"/>
                  </a:lnTo>
                  <a:lnTo>
                    <a:pt x="110" y="94"/>
                  </a:lnTo>
                  <a:lnTo>
                    <a:pt x="109" y="94"/>
                  </a:lnTo>
                  <a:lnTo>
                    <a:pt x="110" y="94"/>
                  </a:lnTo>
                  <a:lnTo>
                    <a:pt x="111" y="94"/>
                  </a:lnTo>
                  <a:lnTo>
                    <a:pt x="112" y="94"/>
                  </a:lnTo>
                  <a:lnTo>
                    <a:pt x="114" y="94"/>
                  </a:lnTo>
                  <a:lnTo>
                    <a:pt x="114" y="95"/>
                  </a:lnTo>
                  <a:lnTo>
                    <a:pt x="112" y="95"/>
                  </a:lnTo>
                  <a:lnTo>
                    <a:pt x="111" y="95"/>
                  </a:lnTo>
                  <a:lnTo>
                    <a:pt x="110" y="95"/>
                  </a:lnTo>
                  <a:lnTo>
                    <a:pt x="109" y="95"/>
                  </a:lnTo>
                  <a:lnTo>
                    <a:pt x="109" y="97"/>
                  </a:lnTo>
                  <a:lnTo>
                    <a:pt x="110" y="97"/>
                  </a:lnTo>
                  <a:lnTo>
                    <a:pt x="110" y="98"/>
                  </a:lnTo>
                  <a:lnTo>
                    <a:pt x="111" y="98"/>
                  </a:lnTo>
                  <a:lnTo>
                    <a:pt x="110" y="99"/>
                  </a:lnTo>
                  <a:lnTo>
                    <a:pt x="110" y="100"/>
                  </a:lnTo>
                  <a:lnTo>
                    <a:pt x="109" y="100"/>
                  </a:lnTo>
                  <a:lnTo>
                    <a:pt x="109" y="101"/>
                  </a:lnTo>
                  <a:lnTo>
                    <a:pt x="108" y="101"/>
                  </a:lnTo>
                  <a:lnTo>
                    <a:pt x="108" y="103"/>
                  </a:lnTo>
                  <a:lnTo>
                    <a:pt x="106" y="103"/>
                  </a:lnTo>
                  <a:lnTo>
                    <a:pt x="106" y="101"/>
                  </a:lnTo>
                  <a:lnTo>
                    <a:pt x="105" y="101"/>
                  </a:lnTo>
                  <a:lnTo>
                    <a:pt x="104" y="101"/>
                  </a:lnTo>
                  <a:lnTo>
                    <a:pt x="104" y="103"/>
                  </a:lnTo>
                  <a:lnTo>
                    <a:pt x="103" y="103"/>
                  </a:lnTo>
                  <a:lnTo>
                    <a:pt x="103" y="101"/>
                  </a:lnTo>
                  <a:lnTo>
                    <a:pt x="103" y="103"/>
                  </a:lnTo>
                  <a:lnTo>
                    <a:pt x="102" y="103"/>
                  </a:lnTo>
                  <a:lnTo>
                    <a:pt x="102" y="104"/>
                  </a:lnTo>
                  <a:lnTo>
                    <a:pt x="102" y="103"/>
                  </a:lnTo>
                  <a:lnTo>
                    <a:pt x="100" y="103"/>
                  </a:lnTo>
                  <a:lnTo>
                    <a:pt x="99" y="103"/>
                  </a:lnTo>
                  <a:lnTo>
                    <a:pt x="99" y="104"/>
                  </a:lnTo>
                  <a:lnTo>
                    <a:pt x="98" y="104"/>
                  </a:lnTo>
                  <a:lnTo>
                    <a:pt x="97" y="104"/>
                  </a:lnTo>
                  <a:lnTo>
                    <a:pt x="97" y="105"/>
                  </a:lnTo>
                  <a:lnTo>
                    <a:pt x="96" y="104"/>
                  </a:lnTo>
                  <a:lnTo>
                    <a:pt x="94" y="104"/>
                  </a:lnTo>
                  <a:lnTo>
                    <a:pt x="93" y="104"/>
                  </a:lnTo>
                  <a:lnTo>
                    <a:pt x="92" y="104"/>
                  </a:lnTo>
                  <a:lnTo>
                    <a:pt x="91" y="104"/>
                  </a:lnTo>
                  <a:lnTo>
                    <a:pt x="91" y="105"/>
                  </a:lnTo>
                  <a:lnTo>
                    <a:pt x="91" y="106"/>
                  </a:lnTo>
                  <a:lnTo>
                    <a:pt x="92" y="106"/>
                  </a:lnTo>
                  <a:lnTo>
                    <a:pt x="92" y="107"/>
                  </a:lnTo>
                  <a:lnTo>
                    <a:pt x="92" y="109"/>
                  </a:lnTo>
                  <a:lnTo>
                    <a:pt x="93" y="110"/>
                  </a:lnTo>
                  <a:lnTo>
                    <a:pt x="94" y="110"/>
                  </a:lnTo>
                  <a:lnTo>
                    <a:pt x="94" y="111"/>
                  </a:lnTo>
                  <a:lnTo>
                    <a:pt x="93" y="111"/>
                  </a:lnTo>
                  <a:lnTo>
                    <a:pt x="92" y="111"/>
                  </a:lnTo>
                  <a:lnTo>
                    <a:pt x="91" y="111"/>
                  </a:lnTo>
                  <a:lnTo>
                    <a:pt x="91" y="110"/>
                  </a:lnTo>
                  <a:lnTo>
                    <a:pt x="92" y="110"/>
                  </a:lnTo>
                  <a:lnTo>
                    <a:pt x="92" y="109"/>
                  </a:lnTo>
                  <a:lnTo>
                    <a:pt x="91" y="109"/>
                  </a:lnTo>
                  <a:lnTo>
                    <a:pt x="89" y="109"/>
                  </a:lnTo>
                  <a:lnTo>
                    <a:pt x="91" y="107"/>
                  </a:lnTo>
                  <a:lnTo>
                    <a:pt x="91" y="106"/>
                  </a:lnTo>
                  <a:lnTo>
                    <a:pt x="89" y="106"/>
                  </a:lnTo>
                  <a:lnTo>
                    <a:pt x="89" y="107"/>
                  </a:lnTo>
                  <a:lnTo>
                    <a:pt x="88" y="107"/>
                  </a:lnTo>
                  <a:lnTo>
                    <a:pt x="87" y="107"/>
                  </a:lnTo>
                  <a:lnTo>
                    <a:pt x="87" y="109"/>
                  </a:lnTo>
                  <a:lnTo>
                    <a:pt x="86" y="109"/>
                  </a:lnTo>
                  <a:lnTo>
                    <a:pt x="86" y="107"/>
                  </a:lnTo>
                  <a:lnTo>
                    <a:pt x="85" y="107"/>
                  </a:lnTo>
                  <a:lnTo>
                    <a:pt x="83" y="107"/>
                  </a:lnTo>
                  <a:lnTo>
                    <a:pt x="83" y="109"/>
                  </a:lnTo>
                  <a:lnTo>
                    <a:pt x="82" y="110"/>
                  </a:lnTo>
                  <a:lnTo>
                    <a:pt x="83" y="111"/>
                  </a:lnTo>
                  <a:lnTo>
                    <a:pt x="85" y="111"/>
                  </a:lnTo>
                  <a:lnTo>
                    <a:pt x="85" y="112"/>
                  </a:lnTo>
                  <a:lnTo>
                    <a:pt x="86" y="112"/>
                  </a:lnTo>
                  <a:lnTo>
                    <a:pt x="85" y="112"/>
                  </a:lnTo>
                  <a:lnTo>
                    <a:pt x="83" y="111"/>
                  </a:lnTo>
                  <a:lnTo>
                    <a:pt x="82" y="111"/>
                  </a:lnTo>
                  <a:lnTo>
                    <a:pt x="82" y="110"/>
                  </a:lnTo>
                  <a:lnTo>
                    <a:pt x="82" y="109"/>
                  </a:lnTo>
                  <a:lnTo>
                    <a:pt x="83" y="107"/>
                  </a:lnTo>
                  <a:lnTo>
                    <a:pt x="83" y="106"/>
                  </a:lnTo>
                  <a:lnTo>
                    <a:pt x="82" y="105"/>
                  </a:lnTo>
                  <a:lnTo>
                    <a:pt x="82" y="104"/>
                  </a:lnTo>
                  <a:lnTo>
                    <a:pt x="82" y="103"/>
                  </a:lnTo>
                  <a:lnTo>
                    <a:pt x="82" y="101"/>
                  </a:lnTo>
                  <a:lnTo>
                    <a:pt x="80" y="103"/>
                  </a:lnTo>
                  <a:lnTo>
                    <a:pt x="80" y="104"/>
                  </a:lnTo>
                  <a:lnTo>
                    <a:pt x="79" y="104"/>
                  </a:lnTo>
                  <a:lnTo>
                    <a:pt x="79" y="103"/>
                  </a:lnTo>
                  <a:lnTo>
                    <a:pt x="77" y="103"/>
                  </a:lnTo>
                  <a:lnTo>
                    <a:pt x="77" y="101"/>
                  </a:lnTo>
                  <a:lnTo>
                    <a:pt x="76" y="101"/>
                  </a:lnTo>
                  <a:lnTo>
                    <a:pt x="75" y="101"/>
                  </a:lnTo>
                  <a:lnTo>
                    <a:pt x="75" y="100"/>
                  </a:lnTo>
                  <a:lnTo>
                    <a:pt x="76" y="100"/>
                  </a:lnTo>
                  <a:lnTo>
                    <a:pt x="76" y="99"/>
                  </a:lnTo>
                  <a:lnTo>
                    <a:pt x="76" y="98"/>
                  </a:lnTo>
                  <a:lnTo>
                    <a:pt x="75" y="97"/>
                  </a:lnTo>
                  <a:lnTo>
                    <a:pt x="74" y="97"/>
                  </a:lnTo>
                  <a:lnTo>
                    <a:pt x="73" y="97"/>
                  </a:lnTo>
                  <a:lnTo>
                    <a:pt x="73" y="98"/>
                  </a:lnTo>
                  <a:lnTo>
                    <a:pt x="71" y="98"/>
                  </a:lnTo>
                  <a:lnTo>
                    <a:pt x="73" y="99"/>
                  </a:lnTo>
                  <a:lnTo>
                    <a:pt x="71" y="100"/>
                  </a:lnTo>
                  <a:lnTo>
                    <a:pt x="73" y="101"/>
                  </a:lnTo>
                  <a:lnTo>
                    <a:pt x="73" y="103"/>
                  </a:lnTo>
                  <a:lnTo>
                    <a:pt x="73" y="104"/>
                  </a:lnTo>
                  <a:lnTo>
                    <a:pt x="73" y="105"/>
                  </a:lnTo>
                  <a:lnTo>
                    <a:pt x="74" y="105"/>
                  </a:lnTo>
                  <a:lnTo>
                    <a:pt x="74" y="106"/>
                  </a:lnTo>
                  <a:lnTo>
                    <a:pt x="74" y="107"/>
                  </a:lnTo>
                  <a:lnTo>
                    <a:pt x="73" y="107"/>
                  </a:lnTo>
                  <a:lnTo>
                    <a:pt x="73" y="106"/>
                  </a:lnTo>
                  <a:lnTo>
                    <a:pt x="73" y="105"/>
                  </a:lnTo>
                  <a:lnTo>
                    <a:pt x="71" y="105"/>
                  </a:lnTo>
                  <a:lnTo>
                    <a:pt x="71" y="104"/>
                  </a:lnTo>
                  <a:lnTo>
                    <a:pt x="71" y="103"/>
                  </a:lnTo>
                  <a:lnTo>
                    <a:pt x="70" y="103"/>
                  </a:lnTo>
                  <a:lnTo>
                    <a:pt x="70" y="101"/>
                  </a:lnTo>
                  <a:lnTo>
                    <a:pt x="69" y="101"/>
                  </a:lnTo>
                  <a:lnTo>
                    <a:pt x="68" y="103"/>
                  </a:lnTo>
                  <a:lnTo>
                    <a:pt x="68" y="104"/>
                  </a:lnTo>
                  <a:lnTo>
                    <a:pt x="69" y="104"/>
                  </a:lnTo>
                  <a:lnTo>
                    <a:pt x="69" y="105"/>
                  </a:lnTo>
                  <a:lnTo>
                    <a:pt x="70" y="105"/>
                  </a:lnTo>
                  <a:lnTo>
                    <a:pt x="70" y="106"/>
                  </a:lnTo>
                  <a:lnTo>
                    <a:pt x="69" y="106"/>
                  </a:lnTo>
                  <a:lnTo>
                    <a:pt x="69" y="105"/>
                  </a:lnTo>
                  <a:lnTo>
                    <a:pt x="68" y="105"/>
                  </a:lnTo>
                  <a:lnTo>
                    <a:pt x="68" y="104"/>
                  </a:lnTo>
                  <a:lnTo>
                    <a:pt x="67" y="104"/>
                  </a:lnTo>
                  <a:lnTo>
                    <a:pt x="67" y="103"/>
                  </a:lnTo>
                  <a:lnTo>
                    <a:pt x="67" y="101"/>
                  </a:lnTo>
                  <a:lnTo>
                    <a:pt x="65" y="101"/>
                  </a:lnTo>
                  <a:lnTo>
                    <a:pt x="67" y="100"/>
                  </a:lnTo>
                  <a:lnTo>
                    <a:pt x="67" y="99"/>
                  </a:lnTo>
                  <a:lnTo>
                    <a:pt x="65" y="99"/>
                  </a:lnTo>
                  <a:lnTo>
                    <a:pt x="64" y="99"/>
                  </a:lnTo>
                  <a:lnTo>
                    <a:pt x="63" y="99"/>
                  </a:lnTo>
                  <a:lnTo>
                    <a:pt x="63" y="98"/>
                  </a:lnTo>
                  <a:lnTo>
                    <a:pt x="62" y="97"/>
                  </a:lnTo>
                  <a:lnTo>
                    <a:pt x="62" y="95"/>
                  </a:lnTo>
                  <a:lnTo>
                    <a:pt x="61" y="95"/>
                  </a:lnTo>
                  <a:lnTo>
                    <a:pt x="61" y="94"/>
                  </a:lnTo>
                  <a:lnTo>
                    <a:pt x="59" y="94"/>
                  </a:lnTo>
                  <a:lnTo>
                    <a:pt x="58" y="94"/>
                  </a:lnTo>
                  <a:lnTo>
                    <a:pt x="58" y="95"/>
                  </a:lnTo>
                  <a:lnTo>
                    <a:pt x="57" y="97"/>
                  </a:lnTo>
                  <a:lnTo>
                    <a:pt x="58" y="97"/>
                  </a:lnTo>
                  <a:lnTo>
                    <a:pt x="58" y="98"/>
                  </a:lnTo>
                  <a:lnTo>
                    <a:pt x="59" y="99"/>
                  </a:lnTo>
                  <a:lnTo>
                    <a:pt x="61" y="99"/>
                  </a:lnTo>
                  <a:lnTo>
                    <a:pt x="62" y="100"/>
                  </a:lnTo>
                  <a:lnTo>
                    <a:pt x="62" y="101"/>
                  </a:lnTo>
                  <a:lnTo>
                    <a:pt x="61" y="100"/>
                  </a:lnTo>
                  <a:lnTo>
                    <a:pt x="59" y="99"/>
                  </a:lnTo>
                  <a:lnTo>
                    <a:pt x="59" y="100"/>
                  </a:lnTo>
                  <a:lnTo>
                    <a:pt x="58" y="100"/>
                  </a:lnTo>
                  <a:lnTo>
                    <a:pt x="58" y="99"/>
                  </a:lnTo>
                  <a:lnTo>
                    <a:pt x="57" y="98"/>
                  </a:lnTo>
                  <a:lnTo>
                    <a:pt x="57" y="99"/>
                  </a:lnTo>
                  <a:lnTo>
                    <a:pt x="56" y="99"/>
                  </a:lnTo>
                  <a:lnTo>
                    <a:pt x="56" y="98"/>
                  </a:lnTo>
                  <a:lnTo>
                    <a:pt x="55" y="97"/>
                  </a:lnTo>
                  <a:lnTo>
                    <a:pt x="53" y="97"/>
                  </a:lnTo>
                  <a:lnTo>
                    <a:pt x="53" y="98"/>
                  </a:lnTo>
                  <a:lnTo>
                    <a:pt x="52" y="97"/>
                  </a:lnTo>
                  <a:lnTo>
                    <a:pt x="53" y="95"/>
                  </a:lnTo>
                  <a:lnTo>
                    <a:pt x="53" y="94"/>
                  </a:lnTo>
                  <a:lnTo>
                    <a:pt x="52" y="94"/>
                  </a:lnTo>
                  <a:lnTo>
                    <a:pt x="51" y="94"/>
                  </a:lnTo>
                  <a:lnTo>
                    <a:pt x="50" y="94"/>
                  </a:lnTo>
                  <a:lnTo>
                    <a:pt x="49" y="94"/>
                  </a:lnTo>
                  <a:lnTo>
                    <a:pt x="47" y="94"/>
                  </a:lnTo>
                  <a:lnTo>
                    <a:pt x="47" y="93"/>
                  </a:lnTo>
                  <a:lnTo>
                    <a:pt x="46" y="93"/>
                  </a:lnTo>
                  <a:lnTo>
                    <a:pt x="44" y="93"/>
                  </a:lnTo>
                  <a:lnTo>
                    <a:pt x="44" y="94"/>
                  </a:lnTo>
                  <a:lnTo>
                    <a:pt x="43" y="94"/>
                  </a:lnTo>
                  <a:lnTo>
                    <a:pt x="43" y="93"/>
                  </a:lnTo>
                  <a:lnTo>
                    <a:pt x="43" y="92"/>
                  </a:lnTo>
                  <a:lnTo>
                    <a:pt x="43" y="91"/>
                  </a:lnTo>
                  <a:lnTo>
                    <a:pt x="41" y="91"/>
                  </a:lnTo>
                  <a:lnTo>
                    <a:pt x="40" y="91"/>
                  </a:lnTo>
                  <a:lnTo>
                    <a:pt x="40" y="89"/>
                  </a:lnTo>
                  <a:lnTo>
                    <a:pt x="40" y="88"/>
                  </a:lnTo>
                  <a:lnTo>
                    <a:pt x="39" y="88"/>
                  </a:lnTo>
                  <a:lnTo>
                    <a:pt x="38" y="88"/>
                  </a:lnTo>
                  <a:lnTo>
                    <a:pt x="39" y="88"/>
                  </a:lnTo>
                  <a:lnTo>
                    <a:pt x="39" y="89"/>
                  </a:lnTo>
                  <a:lnTo>
                    <a:pt x="38" y="89"/>
                  </a:lnTo>
                  <a:lnTo>
                    <a:pt x="38" y="88"/>
                  </a:lnTo>
                  <a:lnTo>
                    <a:pt x="37" y="88"/>
                  </a:lnTo>
                  <a:lnTo>
                    <a:pt x="35" y="87"/>
                  </a:lnTo>
                  <a:lnTo>
                    <a:pt x="34" y="87"/>
                  </a:lnTo>
                  <a:lnTo>
                    <a:pt x="33" y="87"/>
                  </a:lnTo>
                  <a:lnTo>
                    <a:pt x="33" y="89"/>
                  </a:lnTo>
                  <a:lnTo>
                    <a:pt x="34" y="89"/>
                  </a:lnTo>
                  <a:lnTo>
                    <a:pt x="34" y="91"/>
                  </a:lnTo>
                  <a:lnTo>
                    <a:pt x="35" y="92"/>
                  </a:lnTo>
                  <a:lnTo>
                    <a:pt x="34" y="92"/>
                  </a:lnTo>
                  <a:lnTo>
                    <a:pt x="34" y="93"/>
                  </a:lnTo>
                  <a:lnTo>
                    <a:pt x="34" y="94"/>
                  </a:lnTo>
                  <a:lnTo>
                    <a:pt x="35" y="94"/>
                  </a:lnTo>
                  <a:lnTo>
                    <a:pt x="37" y="95"/>
                  </a:lnTo>
                  <a:lnTo>
                    <a:pt x="38" y="95"/>
                  </a:lnTo>
                  <a:lnTo>
                    <a:pt x="39" y="95"/>
                  </a:lnTo>
                  <a:lnTo>
                    <a:pt x="39" y="97"/>
                  </a:lnTo>
                  <a:lnTo>
                    <a:pt x="38" y="97"/>
                  </a:lnTo>
                  <a:lnTo>
                    <a:pt x="37" y="97"/>
                  </a:lnTo>
                  <a:lnTo>
                    <a:pt x="37" y="98"/>
                  </a:lnTo>
                  <a:lnTo>
                    <a:pt x="38" y="98"/>
                  </a:lnTo>
                  <a:lnTo>
                    <a:pt x="38" y="99"/>
                  </a:lnTo>
                  <a:lnTo>
                    <a:pt x="39" y="100"/>
                  </a:lnTo>
                  <a:lnTo>
                    <a:pt x="40" y="100"/>
                  </a:lnTo>
                  <a:lnTo>
                    <a:pt x="41" y="100"/>
                  </a:lnTo>
                  <a:lnTo>
                    <a:pt x="41" y="101"/>
                  </a:lnTo>
                  <a:lnTo>
                    <a:pt x="40" y="101"/>
                  </a:lnTo>
                  <a:lnTo>
                    <a:pt x="39" y="100"/>
                  </a:lnTo>
                  <a:lnTo>
                    <a:pt x="38" y="100"/>
                  </a:lnTo>
                  <a:lnTo>
                    <a:pt x="38" y="99"/>
                  </a:lnTo>
                  <a:lnTo>
                    <a:pt x="37" y="99"/>
                  </a:lnTo>
                  <a:lnTo>
                    <a:pt x="37" y="100"/>
                  </a:lnTo>
                  <a:lnTo>
                    <a:pt x="35" y="100"/>
                  </a:lnTo>
                  <a:lnTo>
                    <a:pt x="35" y="99"/>
                  </a:lnTo>
                  <a:lnTo>
                    <a:pt x="34" y="100"/>
                  </a:lnTo>
                  <a:lnTo>
                    <a:pt x="33" y="100"/>
                  </a:lnTo>
                  <a:lnTo>
                    <a:pt x="32" y="101"/>
                  </a:lnTo>
                  <a:lnTo>
                    <a:pt x="32" y="103"/>
                  </a:lnTo>
                  <a:lnTo>
                    <a:pt x="33" y="103"/>
                  </a:lnTo>
                  <a:lnTo>
                    <a:pt x="34" y="103"/>
                  </a:lnTo>
                  <a:lnTo>
                    <a:pt x="34" y="104"/>
                  </a:lnTo>
                  <a:lnTo>
                    <a:pt x="35" y="105"/>
                  </a:lnTo>
                  <a:lnTo>
                    <a:pt x="37" y="105"/>
                  </a:lnTo>
                  <a:lnTo>
                    <a:pt x="38" y="105"/>
                  </a:lnTo>
                  <a:lnTo>
                    <a:pt x="39" y="105"/>
                  </a:lnTo>
                  <a:lnTo>
                    <a:pt x="39" y="106"/>
                  </a:lnTo>
                  <a:lnTo>
                    <a:pt x="40" y="107"/>
                  </a:lnTo>
                  <a:lnTo>
                    <a:pt x="41" y="107"/>
                  </a:lnTo>
                  <a:lnTo>
                    <a:pt x="43" y="107"/>
                  </a:lnTo>
                  <a:lnTo>
                    <a:pt x="44" y="107"/>
                  </a:lnTo>
                  <a:lnTo>
                    <a:pt x="45" y="109"/>
                  </a:lnTo>
                  <a:lnTo>
                    <a:pt x="46" y="109"/>
                  </a:lnTo>
                  <a:lnTo>
                    <a:pt x="47" y="109"/>
                  </a:lnTo>
                  <a:lnTo>
                    <a:pt x="49" y="110"/>
                  </a:lnTo>
                  <a:lnTo>
                    <a:pt x="47" y="111"/>
                  </a:lnTo>
                  <a:lnTo>
                    <a:pt x="46" y="111"/>
                  </a:lnTo>
                  <a:lnTo>
                    <a:pt x="45" y="111"/>
                  </a:lnTo>
                  <a:lnTo>
                    <a:pt x="45" y="112"/>
                  </a:lnTo>
                  <a:lnTo>
                    <a:pt x="46" y="113"/>
                  </a:lnTo>
                  <a:lnTo>
                    <a:pt x="47" y="113"/>
                  </a:lnTo>
                  <a:lnTo>
                    <a:pt x="49" y="113"/>
                  </a:lnTo>
                  <a:lnTo>
                    <a:pt x="50" y="112"/>
                  </a:lnTo>
                  <a:lnTo>
                    <a:pt x="51" y="112"/>
                  </a:lnTo>
                  <a:lnTo>
                    <a:pt x="51" y="113"/>
                  </a:lnTo>
                  <a:lnTo>
                    <a:pt x="52" y="113"/>
                  </a:lnTo>
                  <a:lnTo>
                    <a:pt x="53" y="113"/>
                  </a:lnTo>
                  <a:lnTo>
                    <a:pt x="55" y="113"/>
                  </a:lnTo>
                  <a:lnTo>
                    <a:pt x="55" y="115"/>
                  </a:lnTo>
                  <a:lnTo>
                    <a:pt x="53" y="116"/>
                  </a:lnTo>
                  <a:lnTo>
                    <a:pt x="52" y="115"/>
                  </a:lnTo>
                  <a:lnTo>
                    <a:pt x="51" y="115"/>
                  </a:lnTo>
                  <a:lnTo>
                    <a:pt x="51" y="116"/>
                  </a:lnTo>
                  <a:lnTo>
                    <a:pt x="50" y="116"/>
                  </a:lnTo>
                  <a:lnTo>
                    <a:pt x="49" y="116"/>
                  </a:lnTo>
                  <a:lnTo>
                    <a:pt x="47" y="116"/>
                  </a:lnTo>
                  <a:lnTo>
                    <a:pt x="46" y="117"/>
                  </a:lnTo>
                  <a:lnTo>
                    <a:pt x="46" y="118"/>
                  </a:lnTo>
                  <a:lnTo>
                    <a:pt x="46" y="119"/>
                  </a:lnTo>
                  <a:lnTo>
                    <a:pt x="47" y="119"/>
                  </a:lnTo>
                  <a:lnTo>
                    <a:pt x="49" y="119"/>
                  </a:lnTo>
                  <a:lnTo>
                    <a:pt x="50" y="119"/>
                  </a:lnTo>
                  <a:lnTo>
                    <a:pt x="51" y="119"/>
                  </a:lnTo>
                  <a:lnTo>
                    <a:pt x="51" y="118"/>
                  </a:lnTo>
                  <a:lnTo>
                    <a:pt x="52" y="118"/>
                  </a:lnTo>
                  <a:lnTo>
                    <a:pt x="53" y="118"/>
                  </a:lnTo>
                  <a:lnTo>
                    <a:pt x="53" y="119"/>
                  </a:lnTo>
                  <a:lnTo>
                    <a:pt x="52" y="119"/>
                  </a:lnTo>
                  <a:lnTo>
                    <a:pt x="51" y="121"/>
                  </a:lnTo>
                  <a:lnTo>
                    <a:pt x="52" y="121"/>
                  </a:lnTo>
                  <a:lnTo>
                    <a:pt x="52" y="122"/>
                  </a:lnTo>
                  <a:lnTo>
                    <a:pt x="53" y="122"/>
                  </a:lnTo>
                  <a:lnTo>
                    <a:pt x="55" y="123"/>
                  </a:lnTo>
                  <a:lnTo>
                    <a:pt x="56" y="123"/>
                  </a:lnTo>
                  <a:lnTo>
                    <a:pt x="56" y="124"/>
                  </a:lnTo>
                  <a:lnTo>
                    <a:pt x="55" y="124"/>
                  </a:lnTo>
                  <a:lnTo>
                    <a:pt x="53" y="124"/>
                  </a:lnTo>
                  <a:lnTo>
                    <a:pt x="52" y="124"/>
                  </a:lnTo>
                  <a:lnTo>
                    <a:pt x="52" y="125"/>
                  </a:lnTo>
                  <a:lnTo>
                    <a:pt x="52" y="127"/>
                  </a:lnTo>
                  <a:lnTo>
                    <a:pt x="52" y="128"/>
                  </a:lnTo>
                  <a:lnTo>
                    <a:pt x="51" y="129"/>
                  </a:lnTo>
                  <a:lnTo>
                    <a:pt x="52" y="130"/>
                  </a:lnTo>
                  <a:lnTo>
                    <a:pt x="53" y="130"/>
                  </a:lnTo>
                  <a:lnTo>
                    <a:pt x="55" y="131"/>
                  </a:lnTo>
                  <a:lnTo>
                    <a:pt x="55" y="133"/>
                  </a:lnTo>
                  <a:lnTo>
                    <a:pt x="53" y="134"/>
                  </a:lnTo>
                  <a:lnTo>
                    <a:pt x="52" y="134"/>
                  </a:lnTo>
                  <a:lnTo>
                    <a:pt x="53" y="134"/>
                  </a:lnTo>
                  <a:lnTo>
                    <a:pt x="55" y="134"/>
                  </a:lnTo>
                  <a:lnTo>
                    <a:pt x="56" y="135"/>
                  </a:lnTo>
                  <a:lnTo>
                    <a:pt x="58" y="136"/>
                  </a:lnTo>
                  <a:lnTo>
                    <a:pt x="57" y="137"/>
                  </a:lnTo>
                  <a:lnTo>
                    <a:pt x="56" y="137"/>
                  </a:lnTo>
                  <a:lnTo>
                    <a:pt x="56" y="139"/>
                  </a:lnTo>
                  <a:lnTo>
                    <a:pt x="55" y="139"/>
                  </a:lnTo>
                  <a:lnTo>
                    <a:pt x="53" y="140"/>
                  </a:lnTo>
                  <a:lnTo>
                    <a:pt x="52" y="140"/>
                  </a:lnTo>
                  <a:lnTo>
                    <a:pt x="52" y="139"/>
                  </a:lnTo>
                  <a:lnTo>
                    <a:pt x="51" y="140"/>
                  </a:lnTo>
                  <a:lnTo>
                    <a:pt x="51" y="141"/>
                  </a:lnTo>
                  <a:lnTo>
                    <a:pt x="52" y="141"/>
                  </a:lnTo>
                  <a:lnTo>
                    <a:pt x="51" y="142"/>
                  </a:lnTo>
                  <a:lnTo>
                    <a:pt x="51" y="143"/>
                  </a:lnTo>
                  <a:lnTo>
                    <a:pt x="50" y="143"/>
                  </a:lnTo>
                  <a:lnTo>
                    <a:pt x="50" y="142"/>
                  </a:lnTo>
                  <a:lnTo>
                    <a:pt x="49" y="142"/>
                  </a:lnTo>
                  <a:lnTo>
                    <a:pt x="49" y="143"/>
                  </a:lnTo>
                  <a:lnTo>
                    <a:pt x="49" y="145"/>
                  </a:lnTo>
                  <a:lnTo>
                    <a:pt x="47" y="145"/>
                  </a:lnTo>
                  <a:lnTo>
                    <a:pt x="46" y="143"/>
                  </a:lnTo>
                  <a:lnTo>
                    <a:pt x="45" y="143"/>
                  </a:lnTo>
                  <a:lnTo>
                    <a:pt x="45" y="145"/>
                  </a:lnTo>
                  <a:lnTo>
                    <a:pt x="44" y="145"/>
                  </a:lnTo>
                  <a:lnTo>
                    <a:pt x="44" y="146"/>
                  </a:lnTo>
                  <a:lnTo>
                    <a:pt x="41" y="146"/>
                  </a:lnTo>
                  <a:lnTo>
                    <a:pt x="40" y="146"/>
                  </a:lnTo>
                  <a:lnTo>
                    <a:pt x="39" y="146"/>
                  </a:lnTo>
                  <a:lnTo>
                    <a:pt x="39" y="145"/>
                  </a:lnTo>
                  <a:lnTo>
                    <a:pt x="38" y="145"/>
                  </a:lnTo>
                  <a:lnTo>
                    <a:pt x="37" y="145"/>
                  </a:lnTo>
                  <a:lnTo>
                    <a:pt x="37" y="146"/>
                  </a:lnTo>
                  <a:lnTo>
                    <a:pt x="38" y="146"/>
                  </a:lnTo>
                  <a:lnTo>
                    <a:pt x="38" y="147"/>
                  </a:lnTo>
                  <a:lnTo>
                    <a:pt x="38" y="148"/>
                  </a:lnTo>
                  <a:lnTo>
                    <a:pt x="39" y="148"/>
                  </a:lnTo>
                  <a:lnTo>
                    <a:pt x="40" y="149"/>
                  </a:lnTo>
                  <a:lnTo>
                    <a:pt x="39" y="149"/>
                  </a:lnTo>
                  <a:lnTo>
                    <a:pt x="38" y="151"/>
                  </a:lnTo>
                  <a:lnTo>
                    <a:pt x="38" y="152"/>
                  </a:lnTo>
                  <a:lnTo>
                    <a:pt x="39" y="151"/>
                  </a:lnTo>
                  <a:lnTo>
                    <a:pt x="39" y="152"/>
                  </a:lnTo>
                  <a:lnTo>
                    <a:pt x="40" y="152"/>
                  </a:lnTo>
                  <a:lnTo>
                    <a:pt x="41" y="152"/>
                  </a:lnTo>
                  <a:lnTo>
                    <a:pt x="43" y="152"/>
                  </a:lnTo>
                  <a:lnTo>
                    <a:pt x="44" y="151"/>
                  </a:lnTo>
                  <a:lnTo>
                    <a:pt x="43" y="149"/>
                  </a:lnTo>
                  <a:lnTo>
                    <a:pt x="41" y="149"/>
                  </a:lnTo>
                  <a:lnTo>
                    <a:pt x="43" y="148"/>
                  </a:lnTo>
                  <a:lnTo>
                    <a:pt x="43" y="149"/>
                  </a:lnTo>
                  <a:lnTo>
                    <a:pt x="44" y="148"/>
                  </a:lnTo>
                  <a:lnTo>
                    <a:pt x="45" y="147"/>
                  </a:lnTo>
                  <a:lnTo>
                    <a:pt x="46" y="146"/>
                  </a:lnTo>
                  <a:lnTo>
                    <a:pt x="47" y="146"/>
                  </a:lnTo>
                  <a:lnTo>
                    <a:pt x="49" y="146"/>
                  </a:lnTo>
                  <a:lnTo>
                    <a:pt x="50" y="146"/>
                  </a:lnTo>
                  <a:lnTo>
                    <a:pt x="51" y="146"/>
                  </a:lnTo>
                  <a:lnTo>
                    <a:pt x="52" y="146"/>
                  </a:lnTo>
                  <a:lnTo>
                    <a:pt x="52" y="145"/>
                  </a:lnTo>
                  <a:lnTo>
                    <a:pt x="53" y="145"/>
                  </a:lnTo>
                  <a:lnTo>
                    <a:pt x="53" y="146"/>
                  </a:lnTo>
                  <a:lnTo>
                    <a:pt x="55" y="146"/>
                  </a:lnTo>
                  <a:lnTo>
                    <a:pt x="56" y="147"/>
                  </a:lnTo>
                  <a:lnTo>
                    <a:pt x="57" y="147"/>
                  </a:lnTo>
                  <a:lnTo>
                    <a:pt x="57" y="148"/>
                  </a:lnTo>
                  <a:lnTo>
                    <a:pt x="56" y="148"/>
                  </a:lnTo>
                  <a:lnTo>
                    <a:pt x="55" y="148"/>
                  </a:lnTo>
                  <a:lnTo>
                    <a:pt x="53" y="148"/>
                  </a:lnTo>
                  <a:lnTo>
                    <a:pt x="52" y="148"/>
                  </a:lnTo>
                  <a:lnTo>
                    <a:pt x="51" y="149"/>
                  </a:lnTo>
                  <a:lnTo>
                    <a:pt x="51" y="148"/>
                  </a:lnTo>
                  <a:lnTo>
                    <a:pt x="50" y="148"/>
                  </a:lnTo>
                  <a:lnTo>
                    <a:pt x="49" y="147"/>
                  </a:lnTo>
                  <a:lnTo>
                    <a:pt x="49" y="148"/>
                  </a:lnTo>
                  <a:lnTo>
                    <a:pt x="47" y="148"/>
                  </a:lnTo>
                  <a:lnTo>
                    <a:pt x="46" y="148"/>
                  </a:lnTo>
                  <a:lnTo>
                    <a:pt x="45" y="148"/>
                  </a:lnTo>
                  <a:lnTo>
                    <a:pt x="44" y="149"/>
                  </a:lnTo>
                  <a:lnTo>
                    <a:pt x="44" y="151"/>
                  </a:lnTo>
                  <a:lnTo>
                    <a:pt x="45" y="151"/>
                  </a:lnTo>
                  <a:lnTo>
                    <a:pt x="46" y="151"/>
                  </a:lnTo>
                  <a:lnTo>
                    <a:pt x="47" y="151"/>
                  </a:lnTo>
                  <a:lnTo>
                    <a:pt x="47" y="149"/>
                  </a:lnTo>
                  <a:lnTo>
                    <a:pt x="47" y="151"/>
                  </a:lnTo>
                  <a:lnTo>
                    <a:pt x="49" y="151"/>
                  </a:lnTo>
                  <a:lnTo>
                    <a:pt x="47" y="151"/>
                  </a:lnTo>
                  <a:lnTo>
                    <a:pt x="47" y="152"/>
                  </a:lnTo>
                  <a:lnTo>
                    <a:pt x="47" y="153"/>
                  </a:lnTo>
                  <a:lnTo>
                    <a:pt x="46" y="152"/>
                  </a:lnTo>
                  <a:lnTo>
                    <a:pt x="46" y="151"/>
                  </a:lnTo>
                  <a:lnTo>
                    <a:pt x="45" y="151"/>
                  </a:lnTo>
                  <a:lnTo>
                    <a:pt x="45" y="152"/>
                  </a:lnTo>
                  <a:lnTo>
                    <a:pt x="45" y="153"/>
                  </a:lnTo>
                  <a:lnTo>
                    <a:pt x="44" y="153"/>
                  </a:lnTo>
                  <a:lnTo>
                    <a:pt x="45" y="154"/>
                  </a:lnTo>
                  <a:lnTo>
                    <a:pt x="45" y="155"/>
                  </a:lnTo>
                  <a:lnTo>
                    <a:pt x="44" y="155"/>
                  </a:lnTo>
                  <a:lnTo>
                    <a:pt x="43" y="157"/>
                  </a:lnTo>
                  <a:lnTo>
                    <a:pt x="43" y="155"/>
                  </a:lnTo>
                  <a:lnTo>
                    <a:pt x="41" y="154"/>
                  </a:lnTo>
                  <a:lnTo>
                    <a:pt x="40" y="154"/>
                  </a:lnTo>
                  <a:lnTo>
                    <a:pt x="40" y="155"/>
                  </a:lnTo>
                  <a:lnTo>
                    <a:pt x="40" y="157"/>
                  </a:lnTo>
                  <a:lnTo>
                    <a:pt x="39" y="155"/>
                  </a:lnTo>
                  <a:lnTo>
                    <a:pt x="39" y="154"/>
                  </a:lnTo>
                  <a:lnTo>
                    <a:pt x="39" y="153"/>
                  </a:lnTo>
                  <a:lnTo>
                    <a:pt x="38" y="153"/>
                  </a:lnTo>
                  <a:lnTo>
                    <a:pt x="37" y="154"/>
                  </a:lnTo>
                  <a:lnTo>
                    <a:pt x="35" y="154"/>
                  </a:lnTo>
                  <a:lnTo>
                    <a:pt x="35" y="155"/>
                  </a:lnTo>
                  <a:lnTo>
                    <a:pt x="34" y="154"/>
                  </a:lnTo>
                  <a:lnTo>
                    <a:pt x="35" y="153"/>
                  </a:lnTo>
                  <a:lnTo>
                    <a:pt x="37" y="153"/>
                  </a:lnTo>
                  <a:lnTo>
                    <a:pt x="35" y="152"/>
                  </a:lnTo>
                  <a:lnTo>
                    <a:pt x="34" y="152"/>
                  </a:lnTo>
                  <a:lnTo>
                    <a:pt x="34" y="151"/>
                  </a:lnTo>
                  <a:lnTo>
                    <a:pt x="33" y="151"/>
                  </a:lnTo>
                  <a:lnTo>
                    <a:pt x="33" y="149"/>
                  </a:lnTo>
                  <a:lnTo>
                    <a:pt x="32" y="151"/>
                  </a:lnTo>
                  <a:lnTo>
                    <a:pt x="30" y="151"/>
                  </a:lnTo>
                  <a:lnTo>
                    <a:pt x="32" y="152"/>
                  </a:lnTo>
                  <a:lnTo>
                    <a:pt x="32" y="153"/>
                  </a:lnTo>
                  <a:lnTo>
                    <a:pt x="30" y="153"/>
                  </a:lnTo>
                  <a:lnTo>
                    <a:pt x="32" y="153"/>
                  </a:lnTo>
                  <a:lnTo>
                    <a:pt x="30" y="154"/>
                  </a:lnTo>
                  <a:lnTo>
                    <a:pt x="29" y="153"/>
                  </a:lnTo>
                  <a:lnTo>
                    <a:pt x="29" y="152"/>
                  </a:lnTo>
                  <a:lnTo>
                    <a:pt x="28" y="152"/>
                  </a:lnTo>
                  <a:lnTo>
                    <a:pt x="28" y="151"/>
                  </a:lnTo>
                  <a:lnTo>
                    <a:pt x="29" y="151"/>
                  </a:lnTo>
                  <a:lnTo>
                    <a:pt x="29" y="149"/>
                  </a:lnTo>
                  <a:lnTo>
                    <a:pt x="28" y="148"/>
                  </a:lnTo>
                  <a:lnTo>
                    <a:pt x="27" y="149"/>
                  </a:lnTo>
                  <a:lnTo>
                    <a:pt x="27" y="148"/>
                  </a:lnTo>
                  <a:lnTo>
                    <a:pt x="27" y="147"/>
                  </a:lnTo>
                  <a:lnTo>
                    <a:pt x="26" y="146"/>
                  </a:lnTo>
                  <a:lnTo>
                    <a:pt x="24" y="146"/>
                  </a:lnTo>
                  <a:lnTo>
                    <a:pt x="24" y="147"/>
                  </a:lnTo>
                  <a:lnTo>
                    <a:pt x="24" y="148"/>
                  </a:lnTo>
                  <a:lnTo>
                    <a:pt x="24" y="149"/>
                  </a:lnTo>
                  <a:lnTo>
                    <a:pt x="23" y="149"/>
                  </a:lnTo>
                  <a:lnTo>
                    <a:pt x="23" y="151"/>
                  </a:lnTo>
                  <a:lnTo>
                    <a:pt x="24" y="151"/>
                  </a:lnTo>
                  <a:lnTo>
                    <a:pt x="24" y="152"/>
                  </a:lnTo>
                  <a:lnTo>
                    <a:pt x="26" y="152"/>
                  </a:lnTo>
                  <a:lnTo>
                    <a:pt x="27" y="153"/>
                  </a:lnTo>
                  <a:lnTo>
                    <a:pt x="26" y="154"/>
                  </a:lnTo>
                  <a:lnTo>
                    <a:pt x="27" y="154"/>
                  </a:lnTo>
                  <a:lnTo>
                    <a:pt x="27" y="155"/>
                  </a:lnTo>
                  <a:lnTo>
                    <a:pt x="26" y="155"/>
                  </a:lnTo>
                  <a:lnTo>
                    <a:pt x="26" y="154"/>
                  </a:lnTo>
                  <a:lnTo>
                    <a:pt x="24" y="154"/>
                  </a:lnTo>
                  <a:lnTo>
                    <a:pt x="26" y="155"/>
                  </a:lnTo>
                  <a:lnTo>
                    <a:pt x="26" y="157"/>
                  </a:lnTo>
                  <a:lnTo>
                    <a:pt x="27" y="158"/>
                  </a:lnTo>
                  <a:lnTo>
                    <a:pt x="26" y="158"/>
                  </a:lnTo>
                  <a:lnTo>
                    <a:pt x="26" y="157"/>
                  </a:lnTo>
                  <a:lnTo>
                    <a:pt x="24" y="157"/>
                  </a:lnTo>
                  <a:lnTo>
                    <a:pt x="24" y="158"/>
                  </a:lnTo>
                  <a:lnTo>
                    <a:pt x="23" y="158"/>
                  </a:lnTo>
                  <a:lnTo>
                    <a:pt x="23" y="157"/>
                  </a:lnTo>
                  <a:lnTo>
                    <a:pt x="23" y="155"/>
                  </a:lnTo>
                  <a:lnTo>
                    <a:pt x="23" y="154"/>
                  </a:lnTo>
                  <a:lnTo>
                    <a:pt x="22" y="154"/>
                  </a:lnTo>
                  <a:lnTo>
                    <a:pt x="22" y="153"/>
                  </a:lnTo>
                  <a:lnTo>
                    <a:pt x="21" y="153"/>
                  </a:lnTo>
                  <a:lnTo>
                    <a:pt x="21" y="154"/>
                  </a:lnTo>
                  <a:lnTo>
                    <a:pt x="20" y="154"/>
                  </a:lnTo>
                  <a:lnTo>
                    <a:pt x="20" y="155"/>
                  </a:lnTo>
                  <a:lnTo>
                    <a:pt x="18" y="155"/>
                  </a:lnTo>
                  <a:lnTo>
                    <a:pt x="17" y="155"/>
                  </a:lnTo>
                  <a:lnTo>
                    <a:pt x="16" y="155"/>
                  </a:lnTo>
                  <a:lnTo>
                    <a:pt x="16" y="154"/>
                  </a:lnTo>
                  <a:lnTo>
                    <a:pt x="17" y="154"/>
                  </a:lnTo>
                  <a:lnTo>
                    <a:pt x="17" y="153"/>
                  </a:lnTo>
                  <a:lnTo>
                    <a:pt x="16" y="152"/>
                  </a:lnTo>
                  <a:lnTo>
                    <a:pt x="15" y="153"/>
                  </a:lnTo>
                  <a:lnTo>
                    <a:pt x="15" y="154"/>
                  </a:lnTo>
                  <a:lnTo>
                    <a:pt x="15" y="153"/>
                  </a:lnTo>
                  <a:lnTo>
                    <a:pt x="14" y="153"/>
                  </a:lnTo>
                  <a:lnTo>
                    <a:pt x="14" y="152"/>
                  </a:lnTo>
                  <a:lnTo>
                    <a:pt x="12" y="151"/>
                  </a:lnTo>
                  <a:lnTo>
                    <a:pt x="11" y="152"/>
                  </a:lnTo>
                  <a:lnTo>
                    <a:pt x="10" y="152"/>
                  </a:lnTo>
                  <a:lnTo>
                    <a:pt x="10" y="153"/>
                  </a:lnTo>
                  <a:lnTo>
                    <a:pt x="11" y="154"/>
                  </a:lnTo>
                  <a:lnTo>
                    <a:pt x="12" y="154"/>
                  </a:lnTo>
                  <a:lnTo>
                    <a:pt x="12" y="155"/>
                  </a:lnTo>
                  <a:lnTo>
                    <a:pt x="12" y="157"/>
                  </a:lnTo>
                  <a:lnTo>
                    <a:pt x="11" y="157"/>
                  </a:lnTo>
                  <a:lnTo>
                    <a:pt x="11" y="155"/>
                  </a:lnTo>
                  <a:lnTo>
                    <a:pt x="11" y="154"/>
                  </a:lnTo>
                  <a:lnTo>
                    <a:pt x="10" y="153"/>
                  </a:lnTo>
                  <a:lnTo>
                    <a:pt x="9" y="153"/>
                  </a:lnTo>
                  <a:lnTo>
                    <a:pt x="8" y="154"/>
                  </a:lnTo>
                  <a:lnTo>
                    <a:pt x="8" y="153"/>
                  </a:lnTo>
                  <a:lnTo>
                    <a:pt x="9" y="152"/>
                  </a:lnTo>
                  <a:lnTo>
                    <a:pt x="9" y="151"/>
                  </a:lnTo>
                  <a:lnTo>
                    <a:pt x="8" y="151"/>
                  </a:lnTo>
                  <a:lnTo>
                    <a:pt x="6" y="151"/>
                  </a:lnTo>
                  <a:lnTo>
                    <a:pt x="6" y="152"/>
                  </a:lnTo>
                  <a:lnTo>
                    <a:pt x="6" y="153"/>
                  </a:lnTo>
                  <a:lnTo>
                    <a:pt x="5" y="153"/>
                  </a:lnTo>
                  <a:lnTo>
                    <a:pt x="5" y="152"/>
                  </a:lnTo>
                  <a:lnTo>
                    <a:pt x="5" y="151"/>
                  </a:lnTo>
                  <a:lnTo>
                    <a:pt x="4" y="151"/>
                  </a:lnTo>
                  <a:lnTo>
                    <a:pt x="3" y="151"/>
                  </a:lnTo>
                  <a:lnTo>
                    <a:pt x="2" y="151"/>
                  </a:lnTo>
                  <a:lnTo>
                    <a:pt x="0" y="151"/>
                  </a:lnTo>
                  <a:lnTo>
                    <a:pt x="0" y="152"/>
                  </a:lnTo>
                  <a:lnTo>
                    <a:pt x="2" y="153"/>
                  </a:lnTo>
                  <a:lnTo>
                    <a:pt x="2" y="154"/>
                  </a:lnTo>
                  <a:lnTo>
                    <a:pt x="3" y="154"/>
                  </a:lnTo>
                  <a:lnTo>
                    <a:pt x="4" y="154"/>
                  </a:lnTo>
                  <a:lnTo>
                    <a:pt x="4" y="155"/>
                  </a:lnTo>
                  <a:lnTo>
                    <a:pt x="5" y="157"/>
                  </a:lnTo>
                  <a:lnTo>
                    <a:pt x="5" y="158"/>
                  </a:lnTo>
                  <a:lnTo>
                    <a:pt x="4" y="158"/>
                  </a:lnTo>
                  <a:lnTo>
                    <a:pt x="5" y="159"/>
                  </a:lnTo>
                  <a:lnTo>
                    <a:pt x="4" y="159"/>
                  </a:lnTo>
                  <a:lnTo>
                    <a:pt x="4" y="160"/>
                  </a:lnTo>
                  <a:lnTo>
                    <a:pt x="5" y="161"/>
                  </a:lnTo>
                  <a:lnTo>
                    <a:pt x="5" y="163"/>
                  </a:lnTo>
                  <a:lnTo>
                    <a:pt x="6" y="163"/>
                  </a:lnTo>
                  <a:lnTo>
                    <a:pt x="8" y="164"/>
                  </a:lnTo>
                  <a:lnTo>
                    <a:pt x="9" y="164"/>
                  </a:lnTo>
                  <a:lnTo>
                    <a:pt x="10" y="164"/>
                  </a:lnTo>
                  <a:lnTo>
                    <a:pt x="11" y="163"/>
                  </a:lnTo>
                  <a:lnTo>
                    <a:pt x="12" y="163"/>
                  </a:lnTo>
                  <a:lnTo>
                    <a:pt x="12" y="164"/>
                  </a:lnTo>
                  <a:lnTo>
                    <a:pt x="14" y="164"/>
                  </a:lnTo>
                  <a:lnTo>
                    <a:pt x="15" y="164"/>
                  </a:lnTo>
                  <a:lnTo>
                    <a:pt x="15" y="163"/>
                  </a:lnTo>
                  <a:lnTo>
                    <a:pt x="16" y="164"/>
                  </a:lnTo>
                  <a:lnTo>
                    <a:pt x="17" y="164"/>
                  </a:lnTo>
                  <a:lnTo>
                    <a:pt x="16" y="164"/>
                  </a:lnTo>
                  <a:lnTo>
                    <a:pt x="15" y="164"/>
                  </a:lnTo>
                  <a:lnTo>
                    <a:pt x="14" y="165"/>
                  </a:lnTo>
                  <a:lnTo>
                    <a:pt x="14" y="164"/>
                  </a:lnTo>
                  <a:lnTo>
                    <a:pt x="12" y="164"/>
                  </a:lnTo>
                  <a:lnTo>
                    <a:pt x="11" y="164"/>
                  </a:lnTo>
                  <a:lnTo>
                    <a:pt x="10" y="165"/>
                  </a:lnTo>
                  <a:lnTo>
                    <a:pt x="9" y="165"/>
                  </a:lnTo>
                  <a:lnTo>
                    <a:pt x="8" y="165"/>
                  </a:lnTo>
                  <a:lnTo>
                    <a:pt x="8" y="164"/>
                  </a:lnTo>
                  <a:lnTo>
                    <a:pt x="8" y="165"/>
                  </a:lnTo>
                  <a:lnTo>
                    <a:pt x="6" y="166"/>
                  </a:lnTo>
                  <a:lnTo>
                    <a:pt x="8" y="166"/>
                  </a:lnTo>
                  <a:lnTo>
                    <a:pt x="8" y="167"/>
                  </a:lnTo>
                  <a:lnTo>
                    <a:pt x="9" y="167"/>
                  </a:lnTo>
                  <a:lnTo>
                    <a:pt x="10" y="167"/>
                  </a:lnTo>
                  <a:lnTo>
                    <a:pt x="10" y="166"/>
                  </a:lnTo>
                  <a:lnTo>
                    <a:pt x="11" y="167"/>
                  </a:lnTo>
                  <a:lnTo>
                    <a:pt x="12" y="167"/>
                  </a:lnTo>
                  <a:lnTo>
                    <a:pt x="14" y="167"/>
                  </a:lnTo>
                  <a:lnTo>
                    <a:pt x="15" y="167"/>
                  </a:lnTo>
                  <a:lnTo>
                    <a:pt x="16" y="167"/>
                  </a:lnTo>
                  <a:lnTo>
                    <a:pt x="17" y="167"/>
                  </a:lnTo>
                  <a:lnTo>
                    <a:pt x="16" y="169"/>
                  </a:lnTo>
                  <a:lnTo>
                    <a:pt x="16" y="167"/>
                  </a:lnTo>
                  <a:lnTo>
                    <a:pt x="15" y="167"/>
                  </a:lnTo>
                  <a:lnTo>
                    <a:pt x="14" y="167"/>
                  </a:lnTo>
                  <a:lnTo>
                    <a:pt x="14" y="169"/>
                  </a:lnTo>
                  <a:lnTo>
                    <a:pt x="15" y="169"/>
                  </a:lnTo>
                  <a:lnTo>
                    <a:pt x="15" y="170"/>
                  </a:lnTo>
                  <a:lnTo>
                    <a:pt x="15" y="171"/>
                  </a:lnTo>
                  <a:lnTo>
                    <a:pt x="14" y="171"/>
                  </a:lnTo>
                  <a:lnTo>
                    <a:pt x="14" y="170"/>
                  </a:lnTo>
                  <a:lnTo>
                    <a:pt x="12" y="170"/>
                  </a:lnTo>
                  <a:lnTo>
                    <a:pt x="11" y="170"/>
                  </a:lnTo>
                  <a:lnTo>
                    <a:pt x="10" y="170"/>
                  </a:lnTo>
                  <a:lnTo>
                    <a:pt x="10" y="171"/>
                  </a:lnTo>
                  <a:lnTo>
                    <a:pt x="9" y="171"/>
                  </a:lnTo>
                  <a:lnTo>
                    <a:pt x="10" y="172"/>
                  </a:lnTo>
                  <a:lnTo>
                    <a:pt x="11" y="172"/>
                  </a:lnTo>
                  <a:lnTo>
                    <a:pt x="11" y="173"/>
                  </a:lnTo>
                  <a:lnTo>
                    <a:pt x="12" y="173"/>
                  </a:lnTo>
                  <a:lnTo>
                    <a:pt x="11" y="173"/>
                  </a:lnTo>
                  <a:lnTo>
                    <a:pt x="10" y="173"/>
                  </a:lnTo>
                  <a:lnTo>
                    <a:pt x="9" y="173"/>
                  </a:lnTo>
                  <a:lnTo>
                    <a:pt x="9" y="175"/>
                  </a:lnTo>
                  <a:lnTo>
                    <a:pt x="10" y="176"/>
                  </a:lnTo>
                  <a:lnTo>
                    <a:pt x="9" y="176"/>
                  </a:lnTo>
                  <a:lnTo>
                    <a:pt x="8" y="176"/>
                  </a:lnTo>
                  <a:lnTo>
                    <a:pt x="8" y="177"/>
                  </a:lnTo>
                  <a:lnTo>
                    <a:pt x="9" y="178"/>
                  </a:lnTo>
                  <a:lnTo>
                    <a:pt x="8" y="178"/>
                  </a:lnTo>
                  <a:lnTo>
                    <a:pt x="8" y="177"/>
                  </a:lnTo>
                  <a:lnTo>
                    <a:pt x="8" y="176"/>
                  </a:lnTo>
                  <a:lnTo>
                    <a:pt x="6" y="176"/>
                  </a:lnTo>
                  <a:lnTo>
                    <a:pt x="6" y="177"/>
                  </a:lnTo>
                  <a:lnTo>
                    <a:pt x="5" y="177"/>
                  </a:lnTo>
                  <a:lnTo>
                    <a:pt x="5" y="178"/>
                  </a:lnTo>
                  <a:lnTo>
                    <a:pt x="5" y="177"/>
                  </a:lnTo>
                  <a:lnTo>
                    <a:pt x="4" y="177"/>
                  </a:lnTo>
                  <a:lnTo>
                    <a:pt x="3" y="177"/>
                  </a:lnTo>
                  <a:lnTo>
                    <a:pt x="2" y="178"/>
                  </a:lnTo>
                  <a:lnTo>
                    <a:pt x="2" y="180"/>
                  </a:lnTo>
                  <a:lnTo>
                    <a:pt x="2" y="181"/>
                  </a:lnTo>
                  <a:lnTo>
                    <a:pt x="3" y="181"/>
                  </a:lnTo>
                  <a:lnTo>
                    <a:pt x="4" y="183"/>
                  </a:lnTo>
                  <a:lnTo>
                    <a:pt x="5" y="183"/>
                  </a:lnTo>
                  <a:lnTo>
                    <a:pt x="8" y="183"/>
                  </a:lnTo>
                  <a:lnTo>
                    <a:pt x="6" y="184"/>
                  </a:lnTo>
                  <a:lnTo>
                    <a:pt x="5" y="184"/>
                  </a:lnTo>
                  <a:lnTo>
                    <a:pt x="4" y="184"/>
                  </a:lnTo>
                  <a:lnTo>
                    <a:pt x="4" y="186"/>
                  </a:lnTo>
                  <a:lnTo>
                    <a:pt x="3" y="186"/>
                  </a:lnTo>
                  <a:lnTo>
                    <a:pt x="5" y="188"/>
                  </a:lnTo>
                  <a:lnTo>
                    <a:pt x="5" y="187"/>
                  </a:lnTo>
                  <a:lnTo>
                    <a:pt x="6" y="188"/>
                  </a:lnTo>
                  <a:lnTo>
                    <a:pt x="8" y="188"/>
                  </a:lnTo>
                  <a:lnTo>
                    <a:pt x="9" y="188"/>
                  </a:lnTo>
                  <a:lnTo>
                    <a:pt x="10" y="187"/>
                  </a:lnTo>
                  <a:lnTo>
                    <a:pt x="11" y="186"/>
                  </a:lnTo>
                  <a:lnTo>
                    <a:pt x="12" y="186"/>
                  </a:lnTo>
                  <a:lnTo>
                    <a:pt x="14" y="186"/>
                  </a:lnTo>
                  <a:lnTo>
                    <a:pt x="15" y="186"/>
                  </a:lnTo>
                  <a:lnTo>
                    <a:pt x="14" y="187"/>
                  </a:lnTo>
                  <a:lnTo>
                    <a:pt x="12" y="187"/>
                  </a:lnTo>
                  <a:lnTo>
                    <a:pt x="11" y="187"/>
                  </a:lnTo>
                  <a:lnTo>
                    <a:pt x="10" y="188"/>
                  </a:lnTo>
                  <a:lnTo>
                    <a:pt x="11" y="189"/>
                  </a:lnTo>
                  <a:lnTo>
                    <a:pt x="12" y="189"/>
                  </a:lnTo>
                  <a:lnTo>
                    <a:pt x="14" y="189"/>
                  </a:lnTo>
                  <a:lnTo>
                    <a:pt x="15" y="189"/>
                  </a:lnTo>
                  <a:lnTo>
                    <a:pt x="15" y="188"/>
                  </a:lnTo>
                  <a:lnTo>
                    <a:pt x="16" y="189"/>
                  </a:lnTo>
                  <a:lnTo>
                    <a:pt x="17" y="189"/>
                  </a:lnTo>
                  <a:lnTo>
                    <a:pt x="18" y="188"/>
                  </a:lnTo>
                  <a:lnTo>
                    <a:pt x="20" y="188"/>
                  </a:lnTo>
                  <a:lnTo>
                    <a:pt x="21" y="188"/>
                  </a:lnTo>
                  <a:lnTo>
                    <a:pt x="21" y="189"/>
                  </a:lnTo>
                  <a:lnTo>
                    <a:pt x="21" y="190"/>
                  </a:lnTo>
                  <a:lnTo>
                    <a:pt x="20" y="192"/>
                  </a:lnTo>
                  <a:lnTo>
                    <a:pt x="18" y="193"/>
                  </a:lnTo>
                  <a:lnTo>
                    <a:pt x="17" y="193"/>
                  </a:lnTo>
                  <a:lnTo>
                    <a:pt x="17" y="192"/>
                  </a:lnTo>
                  <a:lnTo>
                    <a:pt x="16" y="192"/>
                  </a:lnTo>
                  <a:lnTo>
                    <a:pt x="16" y="193"/>
                  </a:lnTo>
                  <a:lnTo>
                    <a:pt x="16" y="194"/>
                  </a:lnTo>
                  <a:lnTo>
                    <a:pt x="15" y="194"/>
                  </a:lnTo>
                  <a:lnTo>
                    <a:pt x="15" y="195"/>
                  </a:lnTo>
                  <a:lnTo>
                    <a:pt x="14" y="194"/>
                  </a:lnTo>
                  <a:lnTo>
                    <a:pt x="12" y="195"/>
                  </a:lnTo>
                  <a:lnTo>
                    <a:pt x="12" y="198"/>
                  </a:lnTo>
                  <a:lnTo>
                    <a:pt x="14" y="198"/>
                  </a:lnTo>
                  <a:lnTo>
                    <a:pt x="15" y="196"/>
                  </a:lnTo>
                  <a:lnTo>
                    <a:pt x="15" y="198"/>
                  </a:lnTo>
                  <a:lnTo>
                    <a:pt x="16" y="198"/>
                  </a:lnTo>
                  <a:lnTo>
                    <a:pt x="17" y="198"/>
                  </a:lnTo>
                  <a:lnTo>
                    <a:pt x="18" y="196"/>
                  </a:lnTo>
                  <a:lnTo>
                    <a:pt x="20" y="195"/>
                  </a:lnTo>
                  <a:lnTo>
                    <a:pt x="21" y="194"/>
                  </a:lnTo>
                  <a:lnTo>
                    <a:pt x="21" y="193"/>
                  </a:lnTo>
                  <a:lnTo>
                    <a:pt x="21" y="192"/>
                  </a:lnTo>
                  <a:lnTo>
                    <a:pt x="22" y="190"/>
                  </a:lnTo>
                  <a:lnTo>
                    <a:pt x="22" y="192"/>
                  </a:lnTo>
                  <a:lnTo>
                    <a:pt x="22" y="193"/>
                  </a:lnTo>
                  <a:lnTo>
                    <a:pt x="23" y="193"/>
                  </a:lnTo>
                  <a:lnTo>
                    <a:pt x="24" y="193"/>
                  </a:lnTo>
                  <a:lnTo>
                    <a:pt x="24" y="192"/>
                  </a:lnTo>
                  <a:lnTo>
                    <a:pt x="24" y="190"/>
                  </a:lnTo>
                  <a:lnTo>
                    <a:pt x="26" y="189"/>
                  </a:lnTo>
                  <a:lnTo>
                    <a:pt x="27" y="188"/>
                  </a:lnTo>
                  <a:lnTo>
                    <a:pt x="27" y="187"/>
                  </a:lnTo>
                  <a:lnTo>
                    <a:pt x="28" y="187"/>
                  </a:lnTo>
                  <a:lnTo>
                    <a:pt x="28" y="188"/>
                  </a:lnTo>
                  <a:lnTo>
                    <a:pt x="29" y="188"/>
                  </a:lnTo>
                  <a:lnTo>
                    <a:pt x="30" y="187"/>
                  </a:lnTo>
                  <a:lnTo>
                    <a:pt x="32" y="187"/>
                  </a:lnTo>
                  <a:lnTo>
                    <a:pt x="30" y="188"/>
                  </a:lnTo>
                  <a:lnTo>
                    <a:pt x="30" y="189"/>
                  </a:lnTo>
                  <a:lnTo>
                    <a:pt x="29" y="189"/>
                  </a:lnTo>
                  <a:lnTo>
                    <a:pt x="28" y="190"/>
                  </a:lnTo>
                  <a:lnTo>
                    <a:pt x="28" y="189"/>
                  </a:lnTo>
                  <a:lnTo>
                    <a:pt x="28" y="188"/>
                  </a:lnTo>
                  <a:lnTo>
                    <a:pt x="27" y="188"/>
                  </a:lnTo>
                  <a:lnTo>
                    <a:pt x="27" y="189"/>
                  </a:lnTo>
                  <a:lnTo>
                    <a:pt x="26" y="190"/>
                  </a:lnTo>
                  <a:lnTo>
                    <a:pt x="27" y="192"/>
                  </a:lnTo>
                  <a:lnTo>
                    <a:pt x="28" y="192"/>
                  </a:lnTo>
                  <a:lnTo>
                    <a:pt x="28" y="193"/>
                  </a:lnTo>
                  <a:lnTo>
                    <a:pt x="29" y="193"/>
                  </a:lnTo>
                  <a:lnTo>
                    <a:pt x="30" y="193"/>
                  </a:lnTo>
                  <a:lnTo>
                    <a:pt x="32" y="193"/>
                  </a:lnTo>
                  <a:lnTo>
                    <a:pt x="32" y="192"/>
                  </a:lnTo>
                  <a:lnTo>
                    <a:pt x="33" y="192"/>
                  </a:lnTo>
                  <a:lnTo>
                    <a:pt x="34" y="190"/>
                  </a:lnTo>
                  <a:lnTo>
                    <a:pt x="35" y="189"/>
                  </a:lnTo>
                  <a:lnTo>
                    <a:pt x="37" y="188"/>
                  </a:lnTo>
                  <a:lnTo>
                    <a:pt x="38" y="187"/>
                  </a:lnTo>
                  <a:lnTo>
                    <a:pt x="38" y="188"/>
                  </a:lnTo>
                  <a:lnTo>
                    <a:pt x="37" y="188"/>
                  </a:lnTo>
                  <a:lnTo>
                    <a:pt x="37" y="189"/>
                  </a:lnTo>
                  <a:lnTo>
                    <a:pt x="35" y="189"/>
                  </a:lnTo>
                  <a:lnTo>
                    <a:pt x="34" y="190"/>
                  </a:lnTo>
                  <a:lnTo>
                    <a:pt x="34" y="192"/>
                  </a:lnTo>
                  <a:lnTo>
                    <a:pt x="35" y="192"/>
                  </a:lnTo>
                  <a:lnTo>
                    <a:pt x="37" y="192"/>
                  </a:lnTo>
                  <a:lnTo>
                    <a:pt x="38" y="193"/>
                  </a:lnTo>
                  <a:lnTo>
                    <a:pt x="39" y="193"/>
                  </a:lnTo>
                  <a:lnTo>
                    <a:pt x="39" y="194"/>
                  </a:lnTo>
                  <a:lnTo>
                    <a:pt x="40" y="194"/>
                  </a:lnTo>
                  <a:lnTo>
                    <a:pt x="40" y="195"/>
                  </a:lnTo>
                  <a:lnTo>
                    <a:pt x="39" y="195"/>
                  </a:lnTo>
                  <a:lnTo>
                    <a:pt x="38" y="195"/>
                  </a:lnTo>
                  <a:lnTo>
                    <a:pt x="37" y="196"/>
                  </a:lnTo>
                  <a:lnTo>
                    <a:pt x="35" y="196"/>
                  </a:lnTo>
                  <a:lnTo>
                    <a:pt x="35" y="198"/>
                  </a:lnTo>
                  <a:lnTo>
                    <a:pt x="35" y="199"/>
                  </a:lnTo>
                  <a:lnTo>
                    <a:pt x="37" y="199"/>
                  </a:lnTo>
                  <a:lnTo>
                    <a:pt x="38" y="199"/>
                  </a:lnTo>
                  <a:lnTo>
                    <a:pt x="39" y="199"/>
                  </a:lnTo>
                  <a:lnTo>
                    <a:pt x="39" y="198"/>
                  </a:lnTo>
                  <a:lnTo>
                    <a:pt x="40" y="196"/>
                  </a:lnTo>
                  <a:lnTo>
                    <a:pt x="40" y="198"/>
                  </a:lnTo>
                  <a:lnTo>
                    <a:pt x="41" y="198"/>
                  </a:lnTo>
                  <a:lnTo>
                    <a:pt x="41" y="196"/>
                  </a:lnTo>
                  <a:lnTo>
                    <a:pt x="41" y="195"/>
                  </a:lnTo>
                  <a:lnTo>
                    <a:pt x="43" y="194"/>
                  </a:lnTo>
                  <a:lnTo>
                    <a:pt x="43" y="193"/>
                  </a:lnTo>
                  <a:lnTo>
                    <a:pt x="43" y="192"/>
                  </a:lnTo>
                  <a:lnTo>
                    <a:pt x="44" y="192"/>
                  </a:lnTo>
                  <a:lnTo>
                    <a:pt x="44" y="193"/>
                  </a:lnTo>
                  <a:lnTo>
                    <a:pt x="45" y="193"/>
                  </a:lnTo>
                  <a:lnTo>
                    <a:pt x="46" y="193"/>
                  </a:lnTo>
                  <a:lnTo>
                    <a:pt x="47" y="192"/>
                  </a:lnTo>
                  <a:lnTo>
                    <a:pt x="49" y="190"/>
                  </a:lnTo>
                  <a:lnTo>
                    <a:pt x="49" y="192"/>
                  </a:lnTo>
                  <a:lnTo>
                    <a:pt x="47" y="192"/>
                  </a:lnTo>
                  <a:lnTo>
                    <a:pt x="46" y="193"/>
                  </a:lnTo>
                  <a:lnTo>
                    <a:pt x="45" y="194"/>
                  </a:lnTo>
                  <a:lnTo>
                    <a:pt x="44" y="194"/>
                  </a:lnTo>
                  <a:lnTo>
                    <a:pt x="45" y="195"/>
                  </a:lnTo>
                  <a:lnTo>
                    <a:pt x="46" y="195"/>
                  </a:lnTo>
                  <a:lnTo>
                    <a:pt x="47" y="194"/>
                  </a:lnTo>
                  <a:lnTo>
                    <a:pt x="49" y="193"/>
                  </a:lnTo>
                  <a:lnTo>
                    <a:pt x="50" y="193"/>
                  </a:lnTo>
                  <a:lnTo>
                    <a:pt x="51" y="193"/>
                  </a:lnTo>
                  <a:lnTo>
                    <a:pt x="51" y="194"/>
                  </a:lnTo>
                  <a:lnTo>
                    <a:pt x="52" y="193"/>
                  </a:lnTo>
                  <a:lnTo>
                    <a:pt x="52" y="192"/>
                  </a:lnTo>
                  <a:lnTo>
                    <a:pt x="53" y="192"/>
                  </a:lnTo>
                  <a:lnTo>
                    <a:pt x="55" y="193"/>
                  </a:lnTo>
                  <a:lnTo>
                    <a:pt x="56" y="193"/>
                  </a:lnTo>
                  <a:lnTo>
                    <a:pt x="57" y="192"/>
                  </a:lnTo>
                  <a:lnTo>
                    <a:pt x="57" y="190"/>
                  </a:lnTo>
                  <a:lnTo>
                    <a:pt x="57" y="189"/>
                  </a:lnTo>
                  <a:lnTo>
                    <a:pt x="56" y="189"/>
                  </a:lnTo>
                  <a:lnTo>
                    <a:pt x="55" y="189"/>
                  </a:lnTo>
                  <a:lnTo>
                    <a:pt x="53" y="189"/>
                  </a:lnTo>
                  <a:lnTo>
                    <a:pt x="52" y="188"/>
                  </a:lnTo>
                  <a:lnTo>
                    <a:pt x="53" y="188"/>
                  </a:lnTo>
                  <a:lnTo>
                    <a:pt x="55" y="188"/>
                  </a:lnTo>
                  <a:lnTo>
                    <a:pt x="55" y="189"/>
                  </a:lnTo>
                  <a:lnTo>
                    <a:pt x="56" y="189"/>
                  </a:lnTo>
                  <a:lnTo>
                    <a:pt x="56" y="188"/>
                  </a:lnTo>
                  <a:lnTo>
                    <a:pt x="56" y="187"/>
                  </a:lnTo>
                  <a:lnTo>
                    <a:pt x="56" y="186"/>
                  </a:lnTo>
                  <a:lnTo>
                    <a:pt x="53" y="186"/>
                  </a:lnTo>
                  <a:lnTo>
                    <a:pt x="53" y="184"/>
                  </a:lnTo>
                  <a:lnTo>
                    <a:pt x="55" y="184"/>
                  </a:lnTo>
                  <a:lnTo>
                    <a:pt x="55" y="183"/>
                  </a:lnTo>
                  <a:lnTo>
                    <a:pt x="56" y="184"/>
                  </a:lnTo>
                  <a:lnTo>
                    <a:pt x="56" y="186"/>
                  </a:lnTo>
                  <a:lnTo>
                    <a:pt x="57" y="186"/>
                  </a:lnTo>
                  <a:lnTo>
                    <a:pt x="58" y="187"/>
                  </a:lnTo>
                  <a:lnTo>
                    <a:pt x="59" y="187"/>
                  </a:lnTo>
                  <a:lnTo>
                    <a:pt x="61" y="187"/>
                  </a:lnTo>
                  <a:lnTo>
                    <a:pt x="61" y="188"/>
                  </a:lnTo>
                  <a:lnTo>
                    <a:pt x="59" y="188"/>
                  </a:lnTo>
                  <a:lnTo>
                    <a:pt x="59" y="189"/>
                  </a:lnTo>
                  <a:lnTo>
                    <a:pt x="61" y="189"/>
                  </a:lnTo>
                  <a:lnTo>
                    <a:pt x="62" y="190"/>
                  </a:lnTo>
                  <a:lnTo>
                    <a:pt x="62" y="192"/>
                  </a:lnTo>
                  <a:lnTo>
                    <a:pt x="62" y="193"/>
                  </a:lnTo>
                  <a:lnTo>
                    <a:pt x="62" y="194"/>
                  </a:lnTo>
                  <a:lnTo>
                    <a:pt x="61" y="193"/>
                  </a:lnTo>
                  <a:lnTo>
                    <a:pt x="61" y="192"/>
                  </a:lnTo>
                  <a:lnTo>
                    <a:pt x="59" y="192"/>
                  </a:lnTo>
                  <a:lnTo>
                    <a:pt x="61" y="193"/>
                  </a:lnTo>
                  <a:lnTo>
                    <a:pt x="61" y="194"/>
                  </a:lnTo>
                  <a:lnTo>
                    <a:pt x="59" y="194"/>
                  </a:lnTo>
                  <a:lnTo>
                    <a:pt x="59" y="195"/>
                  </a:lnTo>
                  <a:lnTo>
                    <a:pt x="61" y="196"/>
                  </a:lnTo>
                  <a:lnTo>
                    <a:pt x="61" y="195"/>
                  </a:lnTo>
                  <a:lnTo>
                    <a:pt x="62" y="195"/>
                  </a:lnTo>
                  <a:lnTo>
                    <a:pt x="62" y="196"/>
                  </a:lnTo>
                  <a:lnTo>
                    <a:pt x="61" y="196"/>
                  </a:lnTo>
                  <a:lnTo>
                    <a:pt x="59" y="196"/>
                  </a:lnTo>
                  <a:lnTo>
                    <a:pt x="58" y="198"/>
                  </a:lnTo>
                  <a:lnTo>
                    <a:pt x="58" y="199"/>
                  </a:lnTo>
                  <a:lnTo>
                    <a:pt x="59" y="199"/>
                  </a:lnTo>
                  <a:lnTo>
                    <a:pt x="58" y="200"/>
                  </a:lnTo>
                  <a:lnTo>
                    <a:pt x="57" y="200"/>
                  </a:lnTo>
                  <a:lnTo>
                    <a:pt x="57" y="199"/>
                  </a:lnTo>
                  <a:lnTo>
                    <a:pt x="56" y="199"/>
                  </a:lnTo>
                  <a:lnTo>
                    <a:pt x="56" y="200"/>
                  </a:lnTo>
                  <a:lnTo>
                    <a:pt x="56" y="201"/>
                  </a:lnTo>
                  <a:lnTo>
                    <a:pt x="56" y="202"/>
                  </a:lnTo>
                  <a:lnTo>
                    <a:pt x="57" y="202"/>
                  </a:lnTo>
                  <a:lnTo>
                    <a:pt x="58" y="202"/>
                  </a:lnTo>
                  <a:lnTo>
                    <a:pt x="58" y="201"/>
                  </a:lnTo>
                  <a:lnTo>
                    <a:pt x="59" y="201"/>
                  </a:lnTo>
                  <a:lnTo>
                    <a:pt x="62" y="202"/>
                  </a:lnTo>
                  <a:lnTo>
                    <a:pt x="62" y="201"/>
                  </a:lnTo>
                  <a:lnTo>
                    <a:pt x="62" y="202"/>
                  </a:lnTo>
                  <a:lnTo>
                    <a:pt x="63" y="202"/>
                  </a:lnTo>
                  <a:lnTo>
                    <a:pt x="64" y="202"/>
                  </a:lnTo>
                  <a:lnTo>
                    <a:pt x="64" y="201"/>
                  </a:lnTo>
                  <a:lnTo>
                    <a:pt x="67" y="200"/>
                  </a:lnTo>
                  <a:lnTo>
                    <a:pt x="65" y="200"/>
                  </a:lnTo>
                  <a:lnTo>
                    <a:pt x="64" y="200"/>
                  </a:lnTo>
                  <a:lnTo>
                    <a:pt x="63" y="200"/>
                  </a:lnTo>
                  <a:lnTo>
                    <a:pt x="64" y="199"/>
                  </a:lnTo>
                  <a:lnTo>
                    <a:pt x="65" y="199"/>
                  </a:lnTo>
                  <a:lnTo>
                    <a:pt x="65" y="198"/>
                  </a:lnTo>
                  <a:lnTo>
                    <a:pt x="67" y="199"/>
                  </a:lnTo>
                  <a:lnTo>
                    <a:pt x="67" y="200"/>
                  </a:lnTo>
                  <a:lnTo>
                    <a:pt x="68" y="200"/>
                  </a:lnTo>
                  <a:lnTo>
                    <a:pt x="68" y="201"/>
                  </a:lnTo>
                  <a:lnTo>
                    <a:pt x="67" y="201"/>
                  </a:lnTo>
                  <a:lnTo>
                    <a:pt x="65" y="201"/>
                  </a:lnTo>
                  <a:lnTo>
                    <a:pt x="65" y="202"/>
                  </a:lnTo>
                  <a:lnTo>
                    <a:pt x="64" y="202"/>
                  </a:lnTo>
                  <a:lnTo>
                    <a:pt x="64" y="204"/>
                  </a:lnTo>
                  <a:lnTo>
                    <a:pt x="62" y="204"/>
                  </a:lnTo>
                  <a:lnTo>
                    <a:pt x="62" y="202"/>
                  </a:lnTo>
                  <a:lnTo>
                    <a:pt x="62" y="204"/>
                  </a:lnTo>
                  <a:lnTo>
                    <a:pt x="61" y="202"/>
                  </a:lnTo>
                  <a:lnTo>
                    <a:pt x="59" y="202"/>
                  </a:lnTo>
                  <a:lnTo>
                    <a:pt x="59" y="204"/>
                  </a:lnTo>
                  <a:lnTo>
                    <a:pt x="58" y="204"/>
                  </a:lnTo>
                  <a:lnTo>
                    <a:pt x="57" y="202"/>
                  </a:lnTo>
                  <a:lnTo>
                    <a:pt x="57" y="204"/>
                  </a:lnTo>
                  <a:lnTo>
                    <a:pt x="56" y="204"/>
                  </a:lnTo>
                  <a:lnTo>
                    <a:pt x="55" y="204"/>
                  </a:lnTo>
                  <a:lnTo>
                    <a:pt x="55" y="202"/>
                  </a:lnTo>
                  <a:lnTo>
                    <a:pt x="53" y="202"/>
                  </a:lnTo>
                  <a:lnTo>
                    <a:pt x="52" y="202"/>
                  </a:lnTo>
                  <a:lnTo>
                    <a:pt x="52" y="204"/>
                  </a:lnTo>
                  <a:lnTo>
                    <a:pt x="51" y="205"/>
                  </a:lnTo>
                  <a:lnTo>
                    <a:pt x="50" y="205"/>
                  </a:lnTo>
                  <a:lnTo>
                    <a:pt x="49" y="205"/>
                  </a:lnTo>
                  <a:lnTo>
                    <a:pt x="50" y="206"/>
                  </a:lnTo>
                  <a:lnTo>
                    <a:pt x="47" y="206"/>
                  </a:lnTo>
                  <a:lnTo>
                    <a:pt x="49" y="206"/>
                  </a:lnTo>
                  <a:lnTo>
                    <a:pt x="49" y="207"/>
                  </a:lnTo>
                  <a:lnTo>
                    <a:pt x="50" y="207"/>
                  </a:lnTo>
                  <a:lnTo>
                    <a:pt x="50" y="208"/>
                  </a:lnTo>
                  <a:lnTo>
                    <a:pt x="51" y="208"/>
                  </a:lnTo>
                  <a:lnTo>
                    <a:pt x="52" y="207"/>
                  </a:lnTo>
                  <a:lnTo>
                    <a:pt x="53" y="207"/>
                  </a:lnTo>
                  <a:lnTo>
                    <a:pt x="53" y="206"/>
                  </a:lnTo>
                  <a:lnTo>
                    <a:pt x="55" y="207"/>
                  </a:lnTo>
                  <a:lnTo>
                    <a:pt x="56" y="206"/>
                  </a:lnTo>
                  <a:lnTo>
                    <a:pt x="56" y="207"/>
                  </a:lnTo>
                  <a:lnTo>
                    <a:pt x="55" y="207"/>
                  </a:lnTo>
                  <a:lnTo>
                    <a:pt x="55" y="208"/>
                  </a:lnTo>
                  <a:lnTo>
                    <a:pt x="53" y="208"/>
                  </a:lnTo>
                  <a:lnTo>
                    <a:pt x="52" y="208"/>
                  </a:lnTo>
                  <a:lnTo>
                    <a:pt x="51" y="210"/>
                  </a:lnTo>
                  <a:lnTo>
                    <a:pt x="50" y="210"/>
                  </a:lnTo>
                  <a:lnTo>
                    <a:pt x="50" y="211"/>
                  </a:lnTo>
                  <a:lnTo>
                    <a:pt x="49" y="211"/>
                  </a:lnTo>
                  <a:lnTo>
                    <a:pt x="49" y="210"/>
                  </a:lnTo>
                  <a:lnTo>
                    <a:pt x="47" y="211"/>
                  </a:lnTo>
                  <a:lnTo>
                    <a:pt x="46" y="211"/>
                  </a:lnTo>
                  <a:lnTo>
                    <a:pt x="45" y="212"/>
                  </a:lnTo>
                  <a:lnTo>
                    <a:pt x="44" y="212"/>
                  </a:lnTo>
                  <a:lnTo>
                    <a:pt x="41" y="212"/>
                  </a:lnTo>
                  <a:lnTo>
                    <a:pt x="41" y="213"/>
                  </a:lnTo>
                  <a:lnTo>
                    <a:pt x="41" y="214"/>
                  </a:lnTo>
                  <a:lnTo>
                    <a:pt x="40" y="214"/>
                  </a:lnTo>
                  <a:lnTo>
                    <a:pt x="39" y="214"/>
                  </a:lnTo>
                  <a:lnTo>
                    <a:pt x="39" y="216"/>
                  </a:lnTo>
                  <a:lnTo>
                    <a:pt x="38" y="216"/>
                  </a:lnTo>
                  <a:lnTo>
                    <a:pt x="37" y="214"/>
                  </a:lnTo>
                  <a:lnTo>
                    <a:pt x="35" y="216"/>
                  </a:lnTo>
                  <a:lnTo>
                    <a:pt x="34" y="216"/>
                  </a:lnTo>
                  <a:lnTo>
                    <a:pt x="33" y="216"/>
                  </a:lnTo>
                  <a:lnTo>
                    <a:pt x="32" y="216"/>
                  </a:lnTo>
                  <a:lnTo>
                    <a:pt x="32" y="217"/>
                  </a:lnTo>
                  <a:lnTo>
                    <a:pt x="30" y="216"/>
                  </a:lnTo>
                  <a:lnTo>
                    <a:pt x="29" y="216"/>
                  </a:lnTo>
                  <a:lnTo>
                    <a:pt x="28" y="214"/>
                  </a:lnTo>
                  <a:lnTo>
                    <a:pt x="27" y="216"/>
                  </a:lnTo>
                  <a:lnTo>
                    <a:pt x="27" y="217"/>
                  </a:lnTo>
                  <a:lnTo>
                    <a:pt x="27" y="218"/>
                  </a:lnTo>
                  <a:lnTo>
                    <a:pt x="28" y="219"/>
                  </a:lnTo>
                  <a:lnTo>
                    <a:pt x="27" y="220"/>
                  </a:lnTo>
                  <a:lnTo>
                    <a:pt x="28" y="220"/>
                  </a:lnTo>
                  <a:lnTo>
                    <a:pt x="29" y="220"/>
                  </a:lnTo>
                  <a:lnTo>
                    <a:pt x="29" y="222"/>
                  </a:lnTo>
                  <a:lnTo>
                    <a:pt x="30" y="222"/>
                  </a:lnTo>
                  <a:lnTo>
                    <a:pt x="32" y="222"/>
                  </a:lnTo>
                  <a:lnTo>
                    <a:pt x="33" y="220"/>
                  </a:lnTo>
                  <a:lnTo>
                    <a:pt x="34" y="220"/>
                  </a:lnTo>
                  <a:lnTo>
                    <a:pt x="37" y="222"/>
                  </a:lnTo>
                  <a:lnTo>
                    <a:pt x="37" y="223"/>
                  </a:lnTo>
                  <a:lnTo>
                    <a:pt x="35" y="223"/>
                  </a:lnTo>
                  <a:lnTo>
                    <a:pt x="34" y="223"/>
                  </a:lnTo>
                  <a:lnTo>
                    <a:pt x="33" y="223"/>
                  </a:lnTo>
                  <a:lnTo>
                    <a:pt x="32" y="223"/>
                  </a:lnTo>
                  <a:lnTo>
                    <a:pt x="30" y="223"/>
                  </a:lnTo>
                  <a:lnTo>
                    <a:pt x="32" y="224"/>
                  </a:lnTo>
                  <a:lnTo>
                    <a:pt x="32" y="225"/>
                  </a:lnTo>
                  <a:lnTo>
                    <a:pt x="33" y="225"/>
                  </a:lnTo>
                  <a:lnTo>
                    <a:pt x="34" y="226"/>
                  </a:lnTo>
                  <a:lnTo>
                    <a:pt x="33" y="228"/>
                  </a:lnTo>
                  <a:lnTo>
                    <a:pt x="35" y="228"/>
                  </a:lnTo>
                  <a:lnTo>
                    <a:pt x="35" y="226"/>
                  </a:lnTo>
                  <a:lnTo>
                    <a:pt x="37" y="226"/>
                  </a:lnTo>
                  <a:lnTo>
                    <a:pt x="37" y="225"/>
                  </a:lnTo>
                  <a:lnTo>
                    <a:pt x="37" y="226"/>
                  </a:lnTo>
                  <a:lnTo>
                    <a:pt x="35" y="228"/>
                  </a:lnTo>
                  <a:lnTo>
                    <a:pt x="35" y="229"/>
                  </a:lnTo>
                  <a:lnTo>
                    <a:pt x="34" y="229"/>
                  </a:lnTo>
                  <a:lnTo>
                    <a:pt x="33" y="229"/>
                  </a:lnTo>
                  <a:lnTo>
                    <a:pt x="32" y="229"/>
                  </a:lnTo>
                  <a:lnTo>
                    <a:pt x="32" y="228"/>
                  </a:lnTo>
                  <a:lnTo>
                    <a:pt x="32" y="226"/>
                  </a:lnTo>
                  <a:lnTo>
                    <a:pt x="32" y="225"/>
                  </a:lnTo>
                  <a:lnTo>
                    <a:pt x="30" y="225"/>
                  </a:lnTo>
                  <a:lnTo>
                    <a:pt x="30" y="224"/>
                  </a:lnTo>
                  <a:lnTo>
                    <a:pt x="29" y="223"/>
                  </a:lnTo>
                  <a:lnTo>
                    <a:pt x="28" y="224"/>
                  </a:lnTo>
                  <a:lnTo>
                    <a:pt x="27" y="224"/>
                  </a:lnTo>
                  <a:lnTo>
                    <a:pt x="26" y="225"/>
                  </a:lnTo>
                  <a:lnTo>
                    <a:pt x="24" y="225"/>
                  </a:lnTo>
                  <a:lnTo>
                    <a:pt x="24" y="226"/>
                  </a:lnTo>
                  <a:lnTo>
                    <a:pt x="24" y="228"/>
                  </a:lnTo>
                  <a:lnTo>
                    <a:pt x="26" y="228"/>
                  </a:lnTo>
                  <a:lnTo>
                    <a:pt x="27" y="229"/>
                  </a:lnTo>
                  <a:lnTo>
                    <a:pt x="27" y="230"/>
                  </a:lnTo>
                  <a:lnTo>
                    <a:pt x="26" y="230"/>
                  </a:lnTo>
                  <a:lnTo>
                    <a:pt x="27" y="231"/>
                  </a:lnTo>
                  <a:lnTo>
                    <a:pt x="28" y="232"/>
                  </a:lnTo>
                  <a:lnTo>
                    <a:pt x="29" y="234"/>
                  </a:lnTo>
                  <a:lnTo>
                    <a:pt x="30" y="234"/>
                  </a:lnTo>
                  <a:lnTo>
                    <a:pt x="33" y="234"/>
                  </a:lnTo>
                  <a:lnTo>
                    <a:pt x="34" y="234"/>
                  </a:lnTo>
                  <a:lnTo>
                    <a:pt x="35" y="234"/>
                  </a:lnTo>
                  <a:lnTo>
                    <a:pt x="37" y="232"/>
                  </a:lnTo>
                  <a:lnTo>
                    <a:pt x="37" y="231"/>
                  </a:lnTo>
                  <a:lnTo>
                    <a:pt x="38" y="231"/>
                  </a:lnTo>
                  <a:lnTo>
                    <a:pt x="39" y="231"/>
                  </a:lnTo>
                  <a:lnTo>
                    <a:pt x="40" y="231"/>
                  </a:lnTo>
                  <a:lnTo>
                    <a:pt x="39" y="231"/>
                  </a:lnTo>
                  <a:lnTo>
                    <a:pt x="38" y="232"/>
                  </a:lnTo>
                  <a:lnTo>
                    <a:pt x="37" y="232"/>
                  </a:lnTo>
                  <a:lnTo>
                    <a:pt x="37" y="234"/>
                  </a:lnTo>
                  <a:lnTo>
                    <a:pt x="37" y="235"/>
                  </a:lnTo>
                  <a:lnTo>
                    <a:pt x="38" y="235"/>
                  </a:lnTo>
                  <a:lnTo>
                    <a:pt x="35" y="235"/>
                  </a:lnTo>
                  <a:lnTo>
                    <a:pt x="34" y="236"/>
                  </a:lnTo>
                  <a:lnTo>
                    <a:pt x="33" y="237"/>
                  </a:lnTo>
                  <a:lnTo>
                    <a:pt x="34" y="237"/>
                  </a:lnTo>
                  <a:lnTo>
                    <a:pt x="35" y="237"/>
                  </a:lnTo>
                  <a:lnTo>
                    <a:pt x="35" y="238"/>
                  </a:lnTo>
                  <a:lnTo>
                    <a:pt x="34" y="238"/>
                  </a:lnTo>
                  <a:lnTo>
                    <a:pt x="33" y="238"/>
                  </a:lnTo>
                  <a:lnTo>
                    <a:pt x="33" y="237"/>
                  </a:lnTo>
                  <a:lnTo>
                    <a:pt x="32" y="236"/>
                  </a:lnTo>
                  <a:lnTo>
                    <a:pt x="32" y="237"/>
                  </a:lnTo>
                  <a:lnTo>
                    <a:pt x="32" y="238"/>
                  </a:lnTo>
                  <a:lnTo>
                    <a:pt x="30" y="238"/>
                  </a:lnTo>
                  <a:lnTo>
                    <a:pt x="29" y="240"/>
                  </a:lnTo>
                  <a:lnTo>
                    <a:pt x="30" y="241"/>
                  </a:lnTo>
                  <a:lnTo>
                    <a:pt x="32" y="241"/>
                  </a:lnTo>
                  <a:lnTo>
                    <a:pt x="33" y="240"/>
                  </a:lnTo>
                  <a:lnTo>
                    <a:pt x="33" y="241"/>
                  </a:lnTo>
                  <a:lnTo>
                    <a:pt x="34" y="241"/>
                  </a:lnTo>
                  <a:lnTo>
                    <a:pt x="35" y="241"/>
                  </a:lnTo>
                  <a:lnTo>
                    <a:pt x="35" y="240"/>
                  </a:lnTo>
                  <a:lnTo>
                    <a:pt x="37" y="240"/>
                  </a:lnTo>
                  <a:lnTo>
                    <a:pt x="38" y="238"/>
                  </a:lnTo>
                  <a:lnTo>
                    <a:pt x="39" y="238"/>
                  </a:lnTo>
                  <a:lnTo>
                    <a:pt x="39" y="241"/>
                  </a:lnTo>
                  <a:lnTo>
                    <a:pt x="40" y="242"/>
                  </a:lnTo>
                  <a:lnTo>
                    <a:pt x="41" y="242"/>
                  </a:lnTo>
                  <a:lnTo>
                    <a:pt x="44" y="241"/>
                  </a:lnTo>
                  <a:lnTo>
                    <a:pt x="44" y="240"/>
                  </a:lnTo>
                  <a:lnTo>
                    <a:pt x="43" y="241"/>
                  </a:lnTo>
                  <a:lnTo>
                    <a:pt x="41" y="241"/>
                  </a:lnTo>
                  <a:lnTo>
                    <a:pt x="41" y="240"/>
                  </a:lnTo>
                  <a:lnTo>
                    <a:pt x="43" y="240"/>
                  </a:lnTo>
                  <a:lnTo>
                    <a:pt x="44" y="238"/>
                  </a:lnTo>
                  <a:lnTo>
                    <a:pt x="45" y="238"/>
                  </a:lnTo>
                  <a:lnTo>
                    <a:pt x="45" y="237"/>
                  </a:lnTo>
                  <a:lnTo>
                    <a:pt x="44" y="237"/>
                  </a:lnTo>
                  <a:lnTo>
                    <a:pt x="43" y="237"/>
                  </a:lnTo>
                  <a:lnTo>
                    <a:pt x="43" y="236"/>
                  </a:lnTo>
                  <a:lnTo>
                    <a:pt x="45" y="237"/>
                  </a:lnTo>
                  <a:lnTo>
                    <a:pt x="45" y="236"/>
                  </a:lnTo>
                  <a:lnTo>
                    <a:pt x="46" y="236"/>
                  </a:lnTo>
                  <a:lnTo>
                    <a:pt x="46" y="235"/>
                  </a:lnTo>
                  <a:lnTo>
                    <a:pt x="45" y="234"/>
                  </a:lnTo>
                  <a:lnTo>
                    <a:pt x="45" y="232"/>
                  </a:lnTo>
                  <a:lnTo>
                    <a:pt x="45" y="231"/>
                  </a:lnTo>
                  <a:lnTo>
                    <a:pt x="46" y="230"/>
                  </a:lnTo>
                  <a:lnTo>
                    <a:pt x="45" y="231"/>
                  </a:lnTo>
                  <a:lnTo>
                    <a:pt x="46" y="231"/>
                  </a:lnTo>
                  <a:lnTo>
                    <a:pt x="46" y="232"/>
                  </a:lnTo>
                  <a:lnTo>
                    <a:pt x="47" y="232"/>
                  </a:lnTo>
                  <a:lnTo>
                    <a:pt x="47" y="234"/>
                  </a:lnTo>
                  <a:lnTo>
                    <a:pt x="49" y="232"/>
                  </a:lnTo>
                  <a:lnTo>
                    <a:pt x="49" y="234"/>
                  </a:lnTo>
                  <a:lnTo>
                    <a:pt x="50" y="234"/>
                  </a:lnTo>
                  <a:lnTo>
                    <a:pt x="51" y="234"/>
                  </a:lnTo>
                  <a:lnTo>
                    <a:pt x="52" y="232"/>
                  </a:lnTo>
                  <a:lnTo>
                    <a:pt x="52" y="231"/>
                  </a:lnTo>
                  <a:lnTo>
                    <a:pt x="52" y="230"/>
                  </a:lnTo>
                  <a:lnTo>
                    <a:pt x="53" y="229"/>
                  </a:lnTo>
                  <a:lnTo>
                    <a:pt x="53" y="230"/>
                  </a:lnTo>
                  <a:lnTo>
                    <a:pt x="53" y="231"/>
                  </a:lnTo>
                  <a:lnTo>
                    <a:pt x="53" y="234"/>
                  </a:lnTo>
                  <a:lnTo>
                    <a:pt x="55" y="234"/>
                  </a:lnTo>
                  <a:lnTo>
                    <a:pt x="56" y="234"/>
                  </a:lnTo>
                  <a:lnTo>
                    <a:pt x="56" y="232"/>
                  </a:lnTo>
                  <a:lnTo>
                    <a:pt x="56" y="231"/>
                  </a:lnTo>
                  <a:lnTo>
                    <a:pt x="56" y="232"/>
                  </a:lnTo>
                  <a:lnTo>
                    <a:pt x="56" y="235"/>
                  </a:lnTo>
                  <a:lnTo>
                    <a:pt x="56" y="236"/>
                  </a:lnTo>
                  <a:lnTo>
                    <a:pt x="57" y="236"/>
                  </a:lnTo>
                  <a:lnTo>
                    <a:pt x="57" y="235"/>
                  </a:lnTo>
                  <a:lnTo>
                    <a:pt x="58" y="235"/>
                  </a:lnTo>
                  <a:lnTo>
                    <a:pt x="58" y="234"/>
                  </a:lnTo>
                  <a:lnTo>
                    <a:pt x="59" y="234"/>
                  </a:lnTo>
                  <a:lnTo>
                    <a:pt x="61" y="235"/>
                  </a:lnTo>
                  <a:lnTo>
                    <a:pt x="62" y="235"/>
                  </a:lnTo>
                  <a:lnTo>
                    <a:pt x="62" y="234"/>
                  </a:lnTo>
                  <a:lnTo>
                    <a:pt x="63" y="234"/>
                  </a:lnTo>
                  <a:lnTo>
                    <a:pt x="63" y="232"/>
                  </a:lnTo>
                  <a:lnTo>
                    <a:pt x="64" y="232"/>
                  </a:lnTo>
                  <a:lnTo>
                    <a:pt x="65" y="234"/>
                  </a:lnTo>
                  <a:lnTo>
                    <a:pt x="65" y="232"/>
                  </a:lnTo>
                  <a:lnTo>
                    <a:pt x="67" y="232"/>
                  </a:lnTo>
                  <a:lnTo>
                    <a:pt x="68" y="232"/>
                  </a:lnTo>
                  <a:lnTo>
                    <a:pt x="68" y="231"/>
                  </a:lnTo>
                  <a:lnTo>
                    <a:pt x="69" y="231"/>
                  </a:lnTo>
                  <a:lnTo>
                    <a:pt x="70" y="231"/>
                  </a:lnTo>
                  <a:lnTo>
                    <a:pt x="70" y="232"/>
                  </a:lnTo>
                  <a:lnTo>
                    <a:pt x="71" y="232"/>
                  </a:lnTo>
                  <a:lnTo>
                    <a:pt x="71" y="234"/>
                  </a:lnTo>
                  <a:lnTo>
                    <a:pt x="71" y="235"/>
                  </a:lnTo>
                  <a:lnTo>
                    <a:pt x="71" y="236"/>
                  </a:lnTo>
                  <a:lnTo>
                    <a:pt x="70" y="236"/>
                  </a:lnTo>
                  <a:lnTo>
                    <a:pt x="69" y="236"/>
                  </a:lnTo>
                  <a:lnTo>
                    <a:pt x="69" y="235"/>
                  </a:lnTo>
                  <a:lnTo>
                    <a:pt x="68" y="235"/>
                  </a:lnTo>
                  <a:lnTo>
                    <a:pt x="68" y="236"/>
                  </a:lnTo>
                  <a:lnTo>
                    <a:pt x="68" y="237"/>
                  </a:lnTo>
                  <a:lnTo>
                    <a:pt x="69" y="237"/>
                  </a:lnTo>
                  <a:lnTo>
                    <a:pt x="68" y="237"/>
                  </a:lnTo>
                  <a:lnTo>
                    <a:pt x="68" y="236"/>
                  </a:lnTo>
                  <a:lnTo>
                    <a:pt x="67" y="236"/>
                  </a:lnTo>
                  <a:lnTo>
                    <a:pt x="65" y="237"/>
                  </a:lnTo>
                  <a:lnTo>
                    <a:pt x="65" y="238"/>
                  </a:lnTo>
                  <a:lnTo>
                    <a:pt x="67" y="238"/>
                  </a:lnTo>
                  <a:lnTo>
                    <a:pt x="65" y="238"/>
                  </a:lnTo>
                  <a:lnTo>
                    <a:pt x="64" y="238"/>
                  </a:lnTo>
                  <a:lnTo>
                    <a:pt x="64" y="240"/>
                  </a:lnTo>
                  <a:lnTo>
                    <a:pt x="67" y="241"/>
                  </a:lnTo>
                  <a:lnTo>
                    <a:pt x="68" y="240"/>
                  </a:lnTo>
                  <a:lnTo>
                    <a:pt x="69" y="240"/>
                  </a:lnTo>
                  <a:lnTo>
                    <a:pt x="69" y="238"/>
                  </a:lnTo>
                  <a:lnTo>
                    <a:pt x="70" y="238"/>
                  </a:lnTo>
                  <a:lnTo>
                    <a:pt x="71" y="238"/>
                  </a:lnTo>
                  <a:lnTo>
                    <a:pt x="73" y="238"/>
                  </a:lnTo>
                  <a:lnTo>
                    <a:pt x="74" y="238"/>
                  </a:lnTo>
                  <a:lnTo>
                    <a:pt x="74" y="237"/>
                  </a:lnTo>
                  <a:lnTo>
                    <a:pt x="74" y="236"/>
                  </a:lnTo>
                  <a:lnTo>
                    <a:pt x="75" y="235"/>
                  </a:lnTo>
                  <a:lnTo>
                    <a:pt x="77" y="235"/>
                  </a:lnTo>
                  <a:lnTo>
                    <a:pt x="79" y="235"/>
                  </a:lnTo>
                  <a:lnTo>
                    <a:pt x="80" y="235"/>
                  </a:lnTo>
                  <a:lnTo>
                    <a:pt x="80" y="236"/>
                  </a:lnTo>
                  <a:lnTo>
                    <a:pt x="79" y="236"/>
                  </a:lnTo>
                  <a:lnTo>
                    <a:pt x="79" y="237"/>
                  </a:lnTo>
                  <a:lnTo>
                    <a:pt x="77" y="236"/>
                  </a:lnTo>
                  <a:lnTo>
                    <a:pt x="77" y="237"/>
                  </a:lnTo>
                  <a:lnTo>
                    <a:pt x="76" y="237"/>
                  </a:lnTo>
                  <a:lnTo>
                    <a:pt x="75" y="238"/>
                  </a:lnTo>
                  <a:lnTo>
                    <a:pt x="76" y="240"/>
                  </a:lnTo>
                  <a:lnTo>
                    <a:pt x="76" y="241"/>
                  </a:lnTo>
                  <a:lnTo>
                    <a:pt x="77" y="241"/>
                  </a:lnTo>
                  <a:lnTo>
                    <a:pt x="79" y="241"/>
                  </a:lnTo>
                  <a:lnTo>
                    <a:pt x="79" y="240"/>
                  </a:lnTo>
                  <a:lnTo>
                    <a:pt x="80" y="238"/>
                  </a:lnTo>
                  <a:lnTo>
                    <a:pt x="80" y="237"/>
                  </a:lnTo>
                  <a:lnTo>
                    <a:pt x="81" y="237"/>
                  </a:lnTo>
                  <a:lnTo>
                    <a:pt x="82" y="236"/>
                  </a:lnTo>
                  <a:lnTo>
                    <a:pt x="83" y="236"/>
                  </a:lnTo>
                  <a:lnTo>
                    <a:pt x="82" y="237"/>
                  </a:lnTo>
                  <a:lnTo>
                    <a:pt x="82" y="238"/>
                  </a:lnTo>
                  <a:lnTo>
                    <a:pt x="83" y="238"/>
                  </a:lnTo>
                  <a:lnTo>
                    <a:pt x="85" y="237"/>
                  </a:lnTo>
                  <a:lnTo>
                    <a:pt x="83" y="238"/>
                  </a:lnTo>
                  <a:lnTo>
                    <a:pt x="83" y="240"/>
                  </a:lnTo>
                  <a:lnTo>
                    <a:pt x="82" y="240"/>
                  </a:lnTo>
                  <a:lnTo>
                    <a:pt x="81" y="241"/>
                  </a:lnTo>
                  <a:lnTo>
                    <a:pt x="80" y="241"/>
                  </a:lnTo>
                  <a:lnTo>
                    <a:pt x="79" y="241"/>
                  </a:lnTo>
                  <a:lnTo>
                    <a:pt x="79" y="242"/>
                  </a:lnTo>
                  <a:lnTo>
                    <a:pt x="79" y="243"/>
                  </a:lnTo>
                  <a:lnTo>
                    <a:pt x="77" y="243"/>
                  </a:lnTo>
                  <a:lnTo>
                    <a:pt x="76" y="243"/>
                  </a:lnTo>
                  <a:lnTo>
                    <a:pt x="75" y="243"/>
                  </a:lnTo>
                  <a:lnTo>
                    <a:pt x="75" y="242"/>
                  </a:lnTo>
                  <a:lnTo>
                    <a:pt x="74" y="242"/>
                  </a:lnTo>
                  <a:lnTo>
                    <a:pt x="73" y="242"/>
                  </a:lnTo>
                  <a:lnTo>
                    <a:pt x="73" y="243"/>
                  </a:lnTo>
                  <a:lnTo>
                    <a:pt x="74" y="243"/>
                  </a:lnTo>
                  <a:lnTo>
                    <a:pt x="74" y="244"/>
                  </a:lnTo>
                  <a:lnTo>
                    <a:pt x="75" y="244"/>
                  </a:lnTo>
                  <a:lnTo>
                    <a:pt x="75" y="246"/>
                  </a:lnTo>
                  <a:lnTo>
                    <a:pt x="75" y="247"/>
                  </a:lnTo>
                  <a:lnTo>
                    <a:pt x="74" y="246"/>
                  </a:lnTo>
                  <a:lnTo>
                    <a:pt x="74" y="244"/>
                  </a:lnTo>
                  <a:lnTo>
                    <a:pt x="71" y="244"/>
                  </a:lnTo>
                  <a:lnTo>
                    <a:pt x="70" y="246"/>
                  </a:lnTo>
                  <a:lnTo>
                    <a:pt x="69" y="246"/>
                  </a:lnTo>
                  <a:lnTo>
                    <a:pt x="69" y="244"/>
                  </a:lnTo>
                  <a:lnTo>
                    <a:pt x="68" y="246"/>
                  </a:lnTo>
                  <a:lnTo>
                    <a:pt x="68" y="244"/>
                  </a:lnTo>
                  <a:lnTo>
                    <a:pt x="67" y="246"/>
                  </a:lnTo>
                  <a:lnTo>
                    <a:pt x="67" y="247"/>
                  </a:lnTo>
                  <a:lnTo>
                    <a:pt x="67" y="248"/>
                  </a:lnTo>
                  <a:lnTo>
                    <a:pt x="65" y="249"/>
                  </a:lnTo>
                  <a:lnTo>
                    <a:pt x="65" y="248"/>
                  </a:lnTo>
                  <a:lnTo>
                    <a:pt x="65" y="247"/>
                  </a:lnTo>
                  <a:lnTo>
                    <a:pt x="64" y="247"/>
                  </a:lnTo>
                  <a:lnTo>
                    <a:pt x="63" y="247"/>
                  </a:lnTo>
                  <a:lnTo>
                    <a:pt x="63" y="246"/>
                  </a:lnTo>
                  <a:lnTo>
                    <a:pt x="62" y="246"/>
                  </a:lnTo>
                  <a:lnTo>
                    <a:pt x="61" y="247"/>
                  </a:lnTo>
                  <a:lnTo>
                    <a:pt x="59" y="247"/>
                  </a:lnTo>
                  <a:lnTo>
                    <a:pt x="58" y="247"/>
                  </a:lnTo>
                  <a:lnTo>
                    <a:pt x="57" y="248"/>
                  </a:lnTo>
                  <a:lnTo>
                    <a:pt x="57" y="247"/>
                  </a:lnTo>
                  <a:lnTo>
                    <a:pt x="56" y="247"/>
                  </a:lnTo>
                  <a:lnTo>
                    <a:pt x="55" y="247"/>
                  </a:lnTo>
                  <a:lnTo>
                    <a:pt x="55" y="248"/>
                  </a:lnTo>
                  <a:lnTo>
                    <a:pt x="53" y="248"/>
                  </a:lnTo>
                  <a:lnTo>
                    <a:pt x="55" y="249"/>
                  </a:lnTo>
                  <a:lnTo>
                    <a:pt x="56" y="249"/>
                  </a:lnTo>
                  <a:lnTo>
                    <a:pt x="56" y="250"/>
                  </a:lnTo>
                  <a:lnTo>
                    <a:pt x="57" y="250"/>
                  </a:lnTo>
                  <a:lnTo>
                    <a:pt x="58" y="252"/>
                  </a:lnTo>
                  <a:lnTo>
                    <a:pt x="57" y="252"/>
                  </a:lnTo>
                  <a:lnTo>
                    <a:pt x="57" y="253"/>
                  </a:lnTo>
                  <a:lnTo>
                    <a:pt x="58" y="253"/>
                  </a:lnTo>
                  <a:lnTo>
                    <a:pt x="59" y="253"/>
                  </a:lnTo>
                  <a:lnTo>
                    <a:pt x="59" y="252"/>
                  </a:lnTo>
                  <a:lnTo>
                    <a:pt x="59" y="250"/>
                  </a:lnTo>
                  <a:lnTo>
                    <a:pt x="61" y="250"/>
                  </a:lnTo>
                  <a:lnTo>
                    <a:pt x="61" y="252"/>
                  </a:lnTo>
                  <a:lnTo>
                    <a:pt x="62" y="252"/>
                  </a:lnTo>
                  <a:lnTo>
                    <a:pt x="63" y="252"/>
                  </a:lnTo>
                  <a:lnTo>
                    <a:pt x="64" y="252"/>
                  </a:lnTo>
                  <a:lnTo>
                    <a:pt x="63" y="253"/>
                  </a:lnTo>
                  <a:lnTo>
                    <a:pt x="62" y="253"/>
                  </a:lnTo>
                  <a:lnTo>
                    <a:pt x="61" y="254"/>
                  </a:lnTo>
                  <a:lnTo>
                    <a:pt x="62" y="254"/>
                  </a:lnTo>
                  <a:lnTo>
                    <a:pt x="63" y="254"/>
                  </a:lnTo>
                  <a:lnTo>
                    <a:pt x="63" y="255"/>
                  </a:lnTo>
                  <a:lnTo>
                    <a:pt x="64" y="254"/>
                  </a:lnTo>
                  <a:lnTo>
                    <a:pt x="65" y="254"/>
                  </a:lnTo>
                  <a:lnTo>
                    <a:pt x="65" y="253"/>
                  </a:lnTo>
                  <a:lnTo>
                    <a:pt x="67" y="253"/>
                  </a:lnTo>
                  <a:lnTo>
                    <a:pt x="68" y="253"/>
                  </a:lnTo>
                  <a:lnTo>
                    <a:pt x="68" y="254"/>
                  </a:lnTo>
                  <a:lnTo>
                    <a:pt x="67" y="254"/>
                  </a:lnTo>
                  <a:lnTo>
                    <a:pt x="65" y="255"/>
                  </a:lnTo>
                  <a:lnTo>
                    <a:pt x="64" y="256"/>
                  </a:lnTo>
                  <a:lnTo>
                    <a:pt x="64" y="258"/>
                  </a:lnTo>
                  <a:lnTo>
                    <a:pt x="65" y="258"/>
                  </a:lnTo>
                  <a:lnTo>
                    <a:pt x="64" y="259"/>
                  </a:lnTo>
                  <a:lnTo>
                    <a:pt x="63" y="259"/>
                  </a:lnTo>
                  <a:lnTo>
                    <a:pt x="63" y="258"/>
                  </a:lnTo>
                  <a:lnTo>
                    <a:pt x="62" y="259"/>
                  </a:lnTo>
                  <a:lnTo>
                    <a:pt x="62" y="260"/>
                  </a:lnTo>
                  <a:lnTo>
                    <a:pt x="63" y="260"/>
                  </a:lnTo>
                  <a:lnTo>
                    <a:pt x="62" y="261"/>
                  </a:lnTo>
                  <a:lnTo>
                    <a:pt x="61" y="261"/>
                  </a:lnTo>
                  <a:lnTo>
                    <a:pt x="61" y="262"/>
                  </a:lnTo>
                  <a:lnTo>
                    <a:pt x="59" y="262"/>
                  </a:lnTo>
                  <a:lnTo>
                    <a:pt x="58" y="262"/>
                  </a:lnTo>
                  <a:lnTo>
                    <a:pt x="58" y="264"/>
                  </a:lnTo>
                  <a:lnTo>
                    <a:pt x="59" y="266"/>
                  </a:lnTo>
                  <a:lnTo>
                    <a:pt x="59" y="267"/>
                  </a:lnTo>
                  <a:lnTo>
                    <a:pt x="58" y="266"/>
                  </a:lnTo>
                  <a:lnTo>
                    <a:pt x="57" y="266"/>
                  </a:lnTo>
                  <a:lnTo>
                    <a:pt x="56" y="266"/>
                  </a:lnTo>
                  <a:lnTo>
                    <a:pt x="55" y="266"/>
                  </a:lnTo>
                  <a:lnTo>
                    <a:pt x="55" y="267"/>
                  </a:lnTo>
                  <a:lnTo>
                    <a:pt x="55" y="268"/>
                  </a:lnTo>
                  <a:lnTo>
                    <a:pt x="56" y="267"/>
                  </a:lnTo>
                  <a:lnTo>
                    <a:pt x="56" y="268"/>
                  </a:lnTo>
                  <a:lnTo>
                    <a:pt x="56" y="270"/>
                  </a:lnTo>
                  <a:lnTo>
                    <a:pt x="57" y="270"/>
                  </a:lnTo>
                  <a:lnTo>
                    <a:pt x="58" y="270"/>
                  </a:lnTo>
                  <a:lnTo>
                    <a:pt x="58" y="268"/>
                  </a:lnTo>
                  <a:lnTo>
                    <a:pt x="59" y="268"/>
                  </a:lnTo>
                  <a:lnTo>
                    <a:pt x="61" y="270"/>
                  </a:lnTo>
                  <a:lnTo>
                    <a:pt x="62" y="268"/>
                  </a:lnTo>
                  <a:lnTo>
                    <a:pt x="63" y="270"/>
                  </a:lnTo>
                  <a:lnTo>
                    <a:pt x="64" y="270"/>
                  </a:lnTo>
                  <a:lnTo>
                    <a:pt x="65" y="271"/>
                  </a:lnTo>
                  <a:lnTo>
                    <a:pt x="67" y="270"/>
                  </a:lnTo>
                  <a:lnTo>
                    <a:pt x="68" y="270"/>
                  </a:lnTo>
                  <a:lnTo>
                    <a:pt x="69" y="270"/>
                  </a:lnTo>
                  <a:lnTo>
                    <a:pt x="69" y="268"/>
                  </a:lnTo>
                  <a:lnTo>
                    <a:pt x="70" y="270"/>
                  </a:lnTo>
                  <a:lnTo>
                    <a:pt x="69" y="271"/>
                  </a:lnTo>
                  <a:lnTo>
                    <a:pt x="69" y="272"/>
                  </a:lnTo>
                  <a:lnTo>
                    <a:pt x="70" y="272"/>
                  </a:lnTo>
                  <a:lnTo>
                    <a:pt x="70" y="273"/>
                  </a:lnTo>
                  <a:lnTo>
                    <a:pt x="69" y="273"/>
                  </a:lnTo>
                  <a:lnTo>
                    <a:pt x="68" y="273"/>
                  </a:lnTo>
                  <a:lnTo>
                    <a:pt x="67" y="273"/>
                  </a:lnTo>
                  <a:lnTo>
                    <a:pt x="67" y="274"/>
                  </a:lnTo>
                  <a:lnTo>
                    <a:pt x="65" y="274"/>
                  </a:lnTo>
                  <a:lnTo>
                    <a:pt x="65" y="276"/>
                  </a:lnTo>
                  <a:lnTo>
                    <a:pt x="67" y="276"/>
                  </a:lnTo>
                  <a:lnTo>
                    <a:pt x="67" y="277"/>
                  </a:lnTo>
                  <a:lnTo>
                    <a:pt x="68" y="277"/>
                  </a:lnTo>
                  <a:lnTo>
                    <a:pt x="69" y="278"/>
                  </a:lnTo>
                  <a:lnTo>
                    <a:pt x="70" y="277"/>
                  </a:lnTo>
                  <a:lnTo>
                    <a:pt x="71" y="277"/>
                  </a:lnTo>
                  <a:lnTo>
                    <a:pt x="73" y="276"/>
                  </a:lnTo>
                  <a:lnTo>
                    <a:pt x="73" y="274"/>
                  </a:lnTo>
                  <a:lnTo>
                    <a:pt x="74" y="274"/>
                  </a:lnTo>
                  <a:lnTo>
                    <a:pt x="74" y="273"/>
                  </a:lnTo>
                  <a:lnTo>
                    <a:pt x="75" y="272"/>
                  </a:lnTo>
                  <a:lnTo>
                    <a:pt x="75" y="271"/>
                  </a:lnTo>
                  <a:lnTo>
                    <a:pt x="76" y="270"/>
                  </a:lnTo>
                  <a:lnTo>
                    <a:pt x="76" y="268"/>
                  </a:lnTo>
                  <a:lnTo>
                    <a:pt x="76" y="267"/>
                  </a:lnTo>
                  <a:lnTo>
                    <a:pt x="77" y="267"/>
                  </a:lnTo>
                  <a:lnTo>
                    <a:pt x="77" y="268"/>
                  </a:lnTo>
                  <a:lnTo>
                    <a:pt x="77" y="270"/>
                  </a:lnTo>
                  <a:lnTo>
                    <a:pt x="77" y="271"/>
                  </a:lnTo>
                  <a:lnTo>
                    <a:pt x="76" y="272"/>
                  </a:lnTo>
                  <a:lnTo>
                    <a:pt x="76" y="273"/>
                  </a:lnTo>
                  <a:lnTo>
                    <a:pt x="77" y="273"/>
                  </a:lnTo>
                  <a:lnTo>
                    <a:pt x="79" y="273"/>
                  </a:lnTo>
                  <a:lnTo>
                    <a:pt x="79" y="274"/>
                  </a:lnTo>
                  <a:lnTo>
                    <a:pt x="80" y="274"/>
                  </a:lnTo>
                  <a:lnTo>
                    <a:pt x="81" y="273"/>
                  </a:lnTo>
                  <a:lnTo>
                    <a:pt x="81" y="272"/>
                  </a:lnTo>
                  <a:lnTo>
                    <a:pt x="80" y="272"/>
                  </a:lnTo>
                  <a:lnTo>
                    <a:pt x="81" y="272"/>
                  </a:lnTo>
                  <a:lnTo>
                    <a:pt x="82" y="272"/>
                  </a:lnTo>
                  <a:lnTo>
                    <a:pt x="83" y="273"/>
                  </a:lnTo>
                  <a:lnTo>
                    <a:pt x="83" y="274"/>
                  </a:lnTo>
                  <a:lnTo>
                    <a:pt x="83" y="276"/>
                  </a:lnTo>
                  <a:lnTo>
                    <a:pt x="85" y="276"/>
                  </a:lnTo>
                  <a:lnTo>
                    <a:pt x="86" y="276"/>
                  </a:lnTo>
                  <a:lnTo>
                    <a:pt x="86" y="274"/>
                  </a:lnTo>
                  <a:lnTo>
                    <a:pt x="87" y="274"/>
                  </a:lnTo>
                  <a:lnTo>
                    <a:pt x="88" y="274"/>
                  </a:lnTo>
                  <a:lnTo>
                    <a:pt x="88" y="273"/>
                  </a:lnTo>
                  <a:lnTo>
                    <a:pt x="89" y="272"/>
                  </a:lnTo>
                  <a:lnTo>
                    <a:pt x="88" y="272"/>
                  </a:lnTo>
                  <a:lnTo>
                    <a:pt x="87" y="273"/>
                  </a:lnTo>
                  <a:lnTo>
                    <a:pt x="87" y="272"/>
                  </a:lnTo>
                  <a:lnTo>
                    <a:pt x="88" y="271"/>
                  </a:lnTo>
                  <a:lnTo>
                    <a:pt x="89" y="271"/>
                  </a:lnTo>
                  <a:lnTo>
                    <a:pt x="91" y="271"/>
                  </a:lnTo>
                  <a:lnTo>
                    <a:pt x="91" y="270"/>
                  </a:lnTo>
                  <a:lnTo>
                    <a:pt x="91" y="268"/>
                  </a:lnTo>
                  <a:lnTo>
                    <a:pt x="89" y="268"/>
                  </a:lnTo>
                  <a:lnTo>
                    <a:pt x="91" y="267"/>
                  </a:lnTo>
                  <a:lnTo>
                    <a:pt x="91" y="266"/>
                  </a:lnTo>
                  <a:lnTo>
                    <a:pt x="91" y="265"/>
                  </a:lnTo>
                  <a:lnTo>
                    <a:pt x="92" y="265"/>
                  </a:lnTo>
                  <a:lnTo>
                    <a:pt x="92" y="264"/>
                  </a:lnTo>
                  <a:lnTo>
                    <a:pt x="93" y="264"/>
                  </a:lnTo>
                  <a:lnTo>
                    <a:pt x="93" y="262"/>
                  </a:lnTo>
                  <a:lnTo>
                    <a:pt x="92" y="262"/>
                  </a:lnTo>
                  <a:lnTo>
                    <a:pt x="92" y="261"/>
                  </a:lnTo>
                  <a:lnTo>
                    <a:pt x="92" y="260"/>
                  </a:lnTo>
                  <a:lnTo>
                    <a:pt x="93" y="261"/>
                  </a:lnTo>
                  <a:lnTo>
                    <a:pt x="94" y="261"/>
                  </a:lnTo>
                  <a:lnTo>
                    <a:pt x="94" y="262"/>
                  </a:lnTo>
                  <a:lnTo>
                    <a:pt x="94" y="264"/>
                  </a:lnTo>
                  <a:lnTo>
                    <a:pt x="94" y="265"/>
                  </a:lnTo>
                  <a:lnTo>
                    <a:pt x="96" y="265"/>
                  </a:lnTo>
                  <a:lnTo>
                    <a:pt x="96" y="266"/>
                  </a:lnTo>
                  <a:lnTo>
                    <a:pt x="98" y="266"/>
                  </a:lnTo>
                  <a:lnTo>
                    <a:pt x="99" y="266"/>
                  </a:lnTo>
                  <a:lnTo>
                    <a:pt x="99" y="265"/>
                  </a:lnTo>
                  <a:lnTo>
                    <a:pt x="99" y="264"/>
                  </a:lnTo>
                  <a:lnTo>
                    <a:pt x="98" y="262"/>
                  </a:lnTo>
                  <a:lnTo>
                    <a:pt x="97" y="262"/>
                  </a:lnTo>
                  <a:lnTo>
                    <a:pt x="96" y="261"/>
                  </a:lnTo>
                  <a:lnTo>
                    <a:pt x="94" y="260"/>
                  </a:lnTo>
                  <a:lnTo>
                    <a:pt x="94" y="259"/>
                  </a:lnTo>
                  <a:lnTo>
                    <a:pt x="96" y="259"/>
                  </a:lnTo>
                  <a:lnTo>
                    <a:pt x="96" y="258"/>
                  </a:lnTo>
                  <a:lnTo>
                    <a:pt x="97" y="258"/>
                  </a:lnTo>
                  <a:lnTo>
                    <a:pt x="98" y="256"/>
                  </a:lnTo>
                  <a:lnTo>
                    <a:pt x="99" y="256"/>
                  </a:lnTo>
                  <a:lnTo>
                    <a:pt x="99" y="255"/>
                  </a:lnTo>
                  <a:lnTo>
                    <a:pt x="98" y="256"/>
                  </a:lnTo>
                  <a:lnTo>
                    <a:pt x="97" y="256"/>
                  </a:lnTo>
                  <a:lnTo>
                    <a:pt x="97" y="255"/>
                  </a:lnTo>
                  <a:lnTo>
                    <a:pt x="98" y="255"/>
                  </a:lnTo>
                  <a:lnTo>
                    <a:pt x="99" y="255"/>
                  </a:lnTo>
                  <a:lnTo>
                    <a:pt x="100" y="255"/>
                  </a:lnTo>
                  <a:lnTo>
                    <a:pt x="102" y="255"/>
                  </a:lnTo>
                  <a:lnTo>
                    <a:pt x="103" y="255"/>
                  </a:lnTo>
                  <a:lnTo>
                    <a:pt x="103" y="254"/>
                  </a:lnTo>
                  <a:lnTo>
                    <a:pt x="102" y="254"/>
                  </a:lnTo>
                  <a:lnTo>
                    <a:pt x="100" y="254"/>
                  </a:lnTo>
                  <a:lnTo>
                    <a:pt x="102" y="253"/>
                  </a:lnTo>
                  <a:lnTo>
                    <a:pt x="103" y="254"/>
                  </a:lnTo>
                  <a:lnTo>
                    <a:pt x="104" y="255"/>
                  </a:lnTo>
                  <a:lnTo>
                    <a:pt x="105" y="255"/>
                  </a:lnTo>
                  <a:lnTo>
                    <a:pt x="106" y="254"/>
                  </a:lnTo>
                  <a:lnTo>
                    <a:pt x="106" y="253"/>
                  </a:lnTo>
                  <a:lnTo>
                    <a:pt x="105" y="253"/>
                  </a:lnTo>
                  <a:lnTo>
                    <a:pt x="105" y="252"/>
                  </a:lnTo>
                  <a:lnTo>
                    <a:pt x="104" y="252"/>
                  </a:lnTo>
                  <a:lnTo>
                    <a:pt x="103" y="252"/>
                  </a:lnTo>
                  <a:lnTo>
                    <a:pt x="102" y="252"/>
                  </a:lnTo>
                  <a:lnTo>
                    <a:pt x="100" y="252"/>
                  </a:lnTo>
                  <a:lnTo>
                    <a:pt x="99" y="250"/>
                  </a:lnTo>
                  <a:lnTo>
                    <a:pt x="99" y="249"/>
                  </a:lnTo>
                  <a:lnTo>
                    <a:pt x="99" y="250"/>
                  </a:lnTo>
                  <a:lnTo>
                    <a:pt x="102" y="250"/>
                  </a:lnTo>
                  <a:lnTo>
                    <a:pt x="103" y="250"/>
                  </a:lnTo>
                  <a:lnTo>
                    <a:pt x="104" y="249"/>
                  </a:lnTo>
                  <a:lnTo>
                    <a:pt x="104" y="248"/>
                  </a:lnTo>
                  <a:lnTo>
                    <a:pt x="104" y="247"/>
                  </a:lnTo>
                  <a:lnTo>
                    <a:pt x="103" y="247"/>
                  </a:lnTo>
                  <a:lnTo>
                    <a:pt x="103" y="248"/>
                  </a:lnTo>
                  <a:lnTo>
                    <a:pt x="102" y="247"/>
                  </a:lnTo>
                  <a:lnTo>
                    <a:pt x="102" y="248"/>
                  </a:lnTo>
                  <a:lnTo>
                    <a:pt x="100" y="248"/>
                  </a:lnTo>
                  <a:lnTo>
                    <a:pt x="99" y="248"/>
                  </a:lnTo>
                  <a:lnTo>
                    <a:pt x="98" y="249"/>
                  </a:lnTo>
                  <a:lnTo>
                    <a:pt x="98" y="250"/>
                  </a:lnTo>
                  <a:lnTo>
                    <a:pt x="97" y="250"/>
                  </a:lnTo>
                  <a:lnTo>
                    <a:pt x="98" y="249"/>
                  </a:lnTo>
                  <a:lnTo>
                    <a:pt x="98" y="248"/>
                  </a:lnTo>
                  <a:lnTo>
                    <a:pt x="99" y="247"/>
                  </a:lnTo>
                  <a:lnTo>
                    <a:pt x="100" y="247"/>
                  </a:lnTo>
                  <a:lnTo>
                    <a:pt x="99" y="246"/>
                  </a:lnTo>
                  <a:lnTo>
                    <a:pt x="98" y="247"/>
                  </a:lnTo>
                  <a:lnTo>
                    <a:pt x="98" y="246"/>
                  </a:lnTo>
                  <a:lnTo>
                    <a:pt x="97" y="244"/>
                  </a:lnTo>
                  <a:lnTo>
                    <a:pt x="97" y="246"/>
                  </a:lnTo>
                  <a:lnTo>
                    <a:pt x="97" y="247"/>
                  </a:lnTo>
                  <a:lnTo>
                    <a:pt x="96" y="247"/>
                  </a:lnTo>
                  <a:lnTo>
                    <a:pt x="96" y="246"/>
                  </a:lnTo>
                  <a:lnTo>
                    <a:pt x="96" y="244"/>
                  </a:lnTo>
                  <a:lnTo>
                    <a:pt x="94" y="244"/>
                  </a:lnTo>
                  <a:lnTo>
                    <a:pt x="94" y="243"/>
                  </a:lnTo>
                  <a:lnTo>
                    <a:pt x="93" y="242"/>
                  </a:lnTo>
                  <a:lnTo>
                    <a:pt x="93" y="241"/>
                  </a:lnTo>
                  <a:lnTo>
                    <a:pt x="94" y="240"/>
                  </a:lnTo>
                  <a:lnTo>
                    <a:pt x="96" y="241"/>
                  </a:lnTo>
                  <a:lnTo>
                    <a:pt x="97" y="241"/>
                  </a:lnTo>
                  <a:lnTo>
                    <a:pt x="97" y="242"/>
                  </a:lnTo>
                  <a:lnTo>
                    <a:pt x="98" y="242"/>
                  </a:lnTo>
                  <a:lnTo>
                    <a:pt x="99" y="242"/>
                  </a:lnTo>
                  <a:lnTo>
                    <a:pt x="99" y="241"/>
                  </a:lnTo>
                  <a:lnTo>
                    <a:pt x="99" y="240"/>
                  </a:lnTo>
                  <a:lnTo>
                    <a:pt x="100" y="240"/>
                  </a:lnTo>
                  <a:lnTo>
                    <a:pt x="99" y="240"/>
                  </a:lnTo>
                  <a:lnTo>
                    <a:pt x="98" y="240"/>
                  </a:lnTo>
                  <a:lnTo>
                    <a:pt x="97" y="240"/>
                  </a:lnTo>
                  <a:lnTo>
                    <a:pt x="96" y="240"/>
                  </a:lnTo>
                  <a:lnTo>
                    <a:pt x="94" y="238"/>
                  </a:lnTo>
                  <a:lnTo>
                    <a:pt x="93" y="237"/>
                  </a:lnTo>
                  <a:lnTo>
                    <a:pt x="93" y="236"/>
                  </a:lnTo>
                  <a:lnTo>
                    <a:pt x="93" y="235"/>
                  </a:lnTo>
                  <a:lnTo>
                    <a:pt x="92" y="235"/>
                  </a:lnTo>
                  <a:lnTo>
                    <a:pt x="91" y="234"/>
                  </a:lnTo>
                  <a:lnTo>
                    <a:pt x="91" y="232"/>
                  </a:lnTo>
                  <a:lnTo>
                    <a:pt x="91" y="231"/>
                  </a:lnTo>
                  <a:lnTo>
                    <a:pt x="91" y="230"/>
                  </a:lnTo>
                  <a:lnTo>
                    <a:pt x="91" y="229"/>
                  </a:lnTo>
                  <a:lnTo>
                    <a:pt x="92" y="228"/>
                  </a:lnTo>
                  <a:lnTo>
                    <a:pt x="92" y="226"/>
                  </a:lnTo>
                  <a:lnTo>
                    <a:pt x="93" y="225"/>
                  </a:lnTo>
                  <a:lnTo>
                    <a:pt x="94" y="226"/>
                  </a:lnTo>
                  <a:lnTo>
                    <a:pt x="96" y="228"/>
                  </a:lnTo>
                  <a:lnTo>
                    <a:pt x="94" y="229"/>
                  </a:lnTo>
                  <a:lnTo>
                    <a:pt x="94" y="228"/>
                  </a:lnTo>
                  <a:lnTo>
                    <a:pt x="93" y="228"/>
                  </a:lnTo>
                  <a:lnTo>
                    <a:pt x="93" y="229"/>
                  </a:lnTo>
                  <a:lnTo>
                    <a:pt x="92" y="229"/>
                  </a:lnTo>
                  <a:lnTo>
                    <a:pt x="93" y="229"/>
                  </a:lnTo>
                  <a:lnTo>
                    <a:pt x="93" y="230"/>
                  </a:lnTo>
                  <a:lnTo>
                    <a:pt x="93" y="231"/>
                  </a:lnTo>
                  <a:lnTo>
                    <a:pt x="94" y="231"/>
                  </a:lnTo>
                  <a:lnTo>
                    <a:pt x="94" y="230"/>
                  </a:lnTo>
                  <a:lnTo>
                    <a:pt x="96" y="229"/>
                  </a:lnTo>
                  <a:lnTo>
                    <a:pt x="97" y="229"/>
                  </a:lnTo>
                  <a:lnTo>
                    <a:pt x="98" y="229"/>
                  </a:lnTo>
                  <a:lnTo>
                    <a:pt x="99" y="229"/>
                  </a:lnTo>
                  <a:lnTo>
                    <a:pt x="100" y="229"/>
                  </a:lnTo>
                  <a:lnTo>
                    <a:pt x="100" y="230"/>
                  </a:lnTo>
                  <a:lnTo>
                    <a:pt x="100" y="231"/>
                  </a:lnTo>
                  <a:lnTo>
                    <a:pt x="99" y="231"/>
                  </a:lnTo>
                  <a:lnTo>
                    <a:pt x="98" y="231"/>
                  </a:lnTo>
                  <a:lnTo>
                    <a:pt x="97" y="231"/>
                  </a:lnTo>
                  <a:lnTo>
                    <a:pt x="97" y="232"/>
                  </a:lnTo>
                  <a:lnTo>
                    <a:pt x="98" y="234"/>
                  </a:lnTo>
                  <a:lnTo>
                    <a:pt x="99" y="235"/>
                  </a:lnTo>
                  <a:lnTo>
                    <a:pt x="100" y="235"/>
                  </a:lnTo>
                  <a:lnTo>
                    <a:pt x="102" y="235"/>
                  </a:lnTo>
                  <a:lnTo>
                    <a:pt x="100" y="234"/>
                  </a:lnTo>
                  <a:lnTo>
                    <a:pt x="102" y="234"/>
                  </a:lnTo>
                  <a:lnTo>
                    <a:pt x="102" y="232"/>
                  </a:lnTo>
                  <a:lnTo>
                    <a:pt x="102" y="231"/>
                  </a:lnTo>
                  <a:lnTo>
                    <a:pt x="103" y="230"/>
                  </a:lnTo>
                  <a:lnTo>
                    <a:pt x="104" y="231"/>
                  </a:lnTo>
                  <a:lnTo>
                    <a:pt x="105" y="231"/>
                  </a:lnTo>
                  <a:lnTo>
                    <a:pt x="106" y="231"/>
                  </a:lnTo>
                  <a:lnTo>
                    <a:pt x="108" y="231"/>
                  </a:lnTo>
                  <a:lnTo>
                    <a:pt x="108" y="230"/>
                  </a:lnTo>
                  <a:lnTo>
                    <a:pt x="108" y="229"/>
                  </a:lnTo>
                  <a:lnTo>
                    <a:pt x="106" y="229"/>
                  </a:lnTo>
                  <a:lnTo>
                    <a:pt x="105" y="229"/>
                  </a:lnTo>
                  <a:lnTo>
                    <a:pt x="106" y="229"/>
                  </a:lnTo>
                  <a:lnTo>
                    <a:pt x="108" y="229"/>
                  </a:lnTo>
                  <a:lnTo>
                    <a:pt x="109" y="229"/>
                  </a:lnTo>
                  <a:lnTo>
                    <a:pt x="110" y="228"/>
                  </a:lnTo>
                  <a:lnTo>
                    <a:pt x="111" y="229"/>
                  </a:lnTo>
                  <a:lnTo>
                    <a:pt x="112" y="228"/>
                  </a:lnTo>
                  <a:lnTo>
                    <a:pt x="111" y="228"/>
                  </a:lnTo>
                  <a:lnTo>
                    <a:pt x="111" y="226"/>
                  </a:lnTo>
                  <a:lnTo>
                    <a:pt x="112" y="226"/>
                  </a:lnTo>
                  <a:lnTo>
                    <a:pt x="114" y="226"/>
                  </a:lnTo>
                  <a:lnTo>
                    <a:pt x="114" y="228"/>
                  </a:lnTo>
                  <a:lnTo>
                    <a:pt x="112" y="229"/>
                  </a:lnTo>
                  <a:lnTo>
                    <a:pt x="114" y="229"/>
                  </a:lnTo>
                  <a:lnTo>
                    <a:pt x="115" y="228"/>
                  </a:lnTo>
                  <a:lnTo>
                    <a:pt x="115" y="226"/>
                  </a:lnTo>
                  <a:lnTo>
                    <a:pt x="115" y="225"/>
                  </a:lnTo>
                  <a:lnTo>
                    <a:pt x="115" y="226"/>
                  </a:lnTo>
                  <a:lnTo>
                    <a:pt x="116" y="226"/>
                  </a:lnTo>
                  <a:lnTo>
                    <a:pt x="115" y="228"/>
                  </a:lnTo>
                  <a:lnTo>
                    <a:pt x="115" y="229"/>
                  </a:lnTo>
                  <a:lnTo>
                    <a:pt x="114" y="229"/>
                  </a:lnTo>
                  <a:lnTo>
                    <a:pt x="114" y="230"/>
                  </a:lnTo>
                  <a:lnTo>
                    <a:pt x="112" y="231"/>
                  </a:lnTo>
                  <a:lnTo>
                    <a:pt x="114" y="231"/>
                  </a:lnTo>
                  <a:lnTo>
                    <a:pt x="115" y="230"/>
                  </a:lnTo>
                  <a:lnTo>
                    <a:pt x="115" y="231"/>
                  </a:lnTo>
                  <a:lnTo>
                    <a:pt x="114" y="232"/>
                  </a:lnTo>
                  <a:lnTo>
                    <a:pt x="115" y="232"/>
                  </a:lnTo>
                  <a:lnTo>
                    <a:pt x="115" y="234"/>
                  </a:lnTo>
                  <a:lnTo>
                    <a:pt x="114" y="238"/>
                  </a:lnTo>
                  <a:lnTo>
                    <a:pt x="114" y="240"/>
                  </a:lnTo>
                  <a:lnTo>
                    <a:pt x="114" y="241"/>
                  </a:lnTo>
                  <a:lnTo>
                    <a:pt x="114" y="242"/>
                  </a:lnTo>
                  <a:lnTo>
                    <a:pt x="114" y="243"/>
                  </a:lnTo>
                  <a:lnTo>
                    <a:pt x="115" y="244"/>
                  </a:lnTo>
                  <a:lnTo>
                    <a:pt x="114" y="244"/>
                  </a:lnTo>
                  <a:lnTo>
                    <a:pt x="115" y="246"/>
                  </a:lnTo>
                  <a:lnTo>
                    <a:pt x="116" y="246"/>
                  </a:lnTo>
                  <a:lnTo>
                    <a:pt x="116" y="247"/>
                  </a:lnTo>
                  <a:lnTo>
                    <a:pt x="116" y="248"/>
                  </a:lnTo>
                  <a:lnTo>
                    <a:pt x="117" y="248"/>
                  </a:lnTo>
                  <a:lnTo>
                    <a:pt x="117" y="250"/>
                  </a:lnTo>
                  <a:lnTo>
                    <a:pt x="117" y="252"/>
                  </a:lnTo>
                  <a:lnTo>
                    <a:pt x="117" y="254"/>
                  </a:lnTo>
                  <a:lnTo>
                    <a:pt x="117" y="255"/>
                  </a:lnTo>
                  <a:lnTo>
                    <a:pt x="116" y="258"/>
                  </a:lnTo>
                  <a:lnTo>
                    <a:pt x="116" y="259"/>
                  </a:lnTo>
                  <a:lnTo>
                    <a:pt x="116" y="260"/>
                  </a:lnTo>
                  <a:lnTo>
                    <a:pt x="117" y="260"/>
                  </a:lnTo>
                  <a:lnTo>
                    <a:pt x="117" y="259"/>
                  </a:lnTo>
                  <a:lnTo>
                    <a:pt x="117" y="258"/>
                  </a:lnTo>
                  <a:lnTo>
                    <a:pt x="117" y="256"/>
                  </a:lnTo>
                  <a:lnTo>
                    <a:pt x="118" y="255"/>
                  </a:lnTo>
                  <a:lnTo>
                    <a:pt x="120" y="256"/>
                  </a:lnTo>
                  <a:lnTo>
                    <a:pt x="120" y="258"/>
                  </a:lnTo>
                  <a:lnTo>
                    <a:pt x="121" y="259"/>
                  </a:lnTo>
                  <a:lnTo>
                    <a:pt x="121" y="260"/>
                  </a:lnTo>
                  <a:lnTo>
                    <a:pt x="121" y="261"/>
                  </a:lnTo>
                  <a:lnTo>
                    <a:pt x="122" y="262"/>
                  </a:lnTo>
                  <a:lnTo>
                    <a:pt x="122" y="264"/>
                  </a:lnTo>
                  <a:lnTo>
                    <a:pt x="123" y="265"/>
                  </a:lnTo>
                  <a:lnTo>
                    <a:pt x="124" y="266"/>
                  </a:lnTo>
                  <a:lnTo>
                    <a:pt x="124" y="267"/>
                  </a:lnTo>
                  <a:lnTo>
                    <a:pt x="126" y="268"/>
                  </a:lnTo>
                  <a:lnTo>
                    <a:pt x="126" y="267"/>
                  </a:lnTo>
                  <a:lnTo>
                    <a:pt x="126" y="266"/>
                  </a:lnTo>
                  <a:lnTo>
                    <a:pt x="123" y="262"/>
                  </a:lnTo>
                  <a:lnTo>
                    <a:pt x="122" y="260"/>
                  </a:lnTo>
                  <a:lnTo>
                    <a:pt x="122" y="259"/>
                  </a:lnTo>
                  <a:lnTo>
                    <a:pt x="121" y="258"/>
                  </a:lnTo>
                  <a:lnTo>
                    <a:pt x="120" y="256"/>
                  </a:lnTo>
                  <a:lnTo>
                    <a:pt x="120" y="255"/>
                  </a:lnTo>
                  <a:lnTo>
                    <a:pt x="118" y="253"/>
                  </a:lnTo>
                  <a:lnTo>
                    <a:pt x="118" y="252"/>
                  </a:lnTo>
                  <a:lnTo>
                    <a:pt x="118" y="248"/>
                  </a:lnTo>
                  <a:lnTo>
                    <a:pt x="117" y="246"/>
                  </a:lnTo>
                  <a:lnTo>
                    <a:pt x="116" y="243"/>
                  </a:lnTo>
                  <a:lnTo>
                    <a:pt x="115" y="242"/>
                  </a:lnTo>
                  <a:lnTo>
                    <a:pt x="115" y="240"/>
                  </a:lnTo>
                  <a:lnTo>
                    <a:pt x="115" y="238"/>
                  </a:lnTo>
                  <a:lnTo>
                    <a:pt x="116" y="235"/>
                  </a:lnTo>
                  <a:lnTo>
                    <a:pt x="117" y="232"/>
                  </a:lnTo>
                  <a:lnTo>
                    <a:pt x="117" y="230"/>
                  </a:lnTo>
                  <a:lnTo>
                    <a:pt x="117" y="226"/>
                  </a:lnTo>
                  <a:lnTo>
                    <a:pt x="117" y="225"/>
                  </a:lnTo>
                  <a:lnTo>
                    <a:pt x="117" y="224"/>
                  </a:lnTo>
                  <a:lnTo>
                    <a:pt x="118" y="220"/>
                  </a:lnTo>
                  <a:lnTo>
                    <a:pt x="118" y="219"/>
                  </a:lnTo>
                  <a:lnTo>
                    <a:pt x="120" y="219"/>
                  </a:lnTo>
                  <a:lnTo>
                    <a:pt x="120" y="220"/>
                  </a:lnTo>
                  <a:lnTo>
                    <a:pt x="120" y="222"/>
                  </a:lnTo>
                  <a:lnTo>
                    <a:pt x="120" y="223"/>
                  </a:lnTo>
                  <a:lnTo>
                    <a:pt x="118" y="224"/>
                  </a:lnTo>
                  <a:lnTo>
                    <a:pt x="118" y="225"/>
                  </a:lnTo>
                  <a:lnTo>
                    <a:pt x="117" y="226"/>
                  </a:lnTo>
                  <a:lnTo>
                    <a:pt x="117" y="228"/>
                  </a:lnTo>
                  <a:lnTo>
                    <a:pt x="117" y="230"/>
                  </a:lnTo>
                  <a:lnTo>
                    <a:pt x="117" y="231"/>
                  </a:lnTo>
                  <a:lnTo>
                    <a:pt x="117" y="232"/>
                  </a:lnTo>
                  <a:lnTo>
                    <a:pt x="117" y="234"/>
                  </a:lnTo>
                  <a:lnTo>
                    <a:pt x="117" y="236"/>
                  </a:lnTo>
                  <a:lnTo>
                    <a:pt x="117" y="237"/>
                  </a:lnTo>
                  <a:lnTo>
                    <a:pt x="116" y="238"/>
                  </a:lnTo>
                  <a:lnTo>
                    <a:pt x="116" y="240"/>
                  </a:lnTo>
                  <a:lnTo>
                    <a:pt x="116" y="241"/>
                  </a:lnTo>
                  <a:lnTo>
                    <a:pt x="117" y="242"/>
                  </a:lnTo>
                  <a:lnTo>
                    <a:pt x="116" y="243"/>
                  </a:lnTo>
                  <a:lnTo>
                    <a:pt x="117" y="243"/>
                  </a:lnTo>
                  <a:lnTo>
                    <a:pt x="118" y="243"/>
                  </a:lnTo>
                  <a:lnTo>
                    <a:pt x="120" y="243"/>
                  </a:lnTo>
                  <a:lnTo>
                    <a:pt x="118" y="243"/>
                  </a:lnTo>
                  <a:lnTo>
                    <a:pt x="118" y="242"/>
                  </a:lnTo>
                  <a:lnTo>
                    <a:pt x="120" y="242"/>
                  </a:lnTo>
                  <a:lnTo>
                    <a:pt x="118" y="241"/>
                  </a:lnTo>
                  <a:lnTo>
                    <a:pt x="120" y="241"/>
                  </a:lnTo>
                  <a:lnTo>
                    <a:pt x="121" y="241"/>
                  </a:lnTo>
                  <a:lnTo>
                    <a:pt x="120" y="241"/>
                  </a:lnTo>
                  <a:lnTo>
                    <a:pt x="118" y="240"/>
                  </a:lnTo>
                  <a:lnTo>
                    <a:pt x="120" y="240"/>
                  </a:lnTo>
                  <a:lnTo>
                    <a:pt x="120" y="238"/>
                  </a:lnTo>
                  <a:lnTo>
                    <a:pt x="118" y="238"/>
                  </a:lnTo>
                  <a:lnTo>
                    <a:pt x="118" y="237"/>
                  </a:lnTo>
                  <a:lnTo>
                    <a:pt x="118" y="236"/>
                  </a:lnTo>
                  <a:lnTo>
                    <a:pt x="118" y="235"/>
                  </a:lnTo>
                  <a:lnTo>
                    <a:pt x="118" y="234"/>
                  </a:lnTo>
                  <a:lnTo>
                    <a:pt x="118" y="231"/>
                  </a:lnTo>
                  <a:lnTo>
                    <a:pt x="118" y="230"/>
                  </a:lnTo>
                  <a:lnTo>
                    <a:pt x="118" y="228"/>
                  </a:lnTo>
                  <a:lnTo>
                    <a:pt x="118" y="225"/>
                  </a:lnTo>
                  <a:lnTo>
                    <a:pt x="120" y="225"/>
                  </a:lnTo>
                  <a:lnTo>
                    <a:pt x="120" y="224"/>
                  </a:lnTo>
                  <a:lnTo>
                    <a:pt x="121" y="225"/>
                  </a:lnTo>
                  <a:lnTo>
                    <a:pt x="121" y="226"/>
                  </a:lnTo>
                  <a:lnTo>
                    <a:pt x="121" y="228"/>
                  </a:lnTo>
                  <a:lnTo>
                    <a:pt x="121" y="229"/>
                  </a:lnTo>
                  <a:lnTo>
                    <a:pt x="121" y="228"/>
                  </a:lnTo>
                  <a:lnTo>
                    <a:pt x="121" y="226"/>
                  </a:lnTo>
                  <a:lnTo>
                    <a:pt x="121" y="229"/>
                  </a:lnTo>
                  <a:lnTo>
                    <a:pt x="121" y="230"/>
                  </a:lnTo>
                  <a:lnTo>
                    <a:pt x="121" y="231"/>
                  </a:lnTo>
                  <a:lnTo>
                    <a:pt x="121" y="232"/>
                  </a:lnTo>
                  <a:lnTo>
                    <a:pt x="120" y="232"/>
                  </a:lnTo>
                  <a:lnTo>
                    <a:pt x="121" y="234"/>
                  </a:lnTo>
                  <a:lnTo>
                    <a:pt x="122" y="232"/>
                  </a:lnTo>
                  <a:lnTo>
                    <a:pt x="122" y="231"/>
                  </a:lnTo>
                  <a:lnTo>
                    <a:pt x="123" y="231"/>
                  </a:lnTo>
                  <a:lnTo>
                    <a:pt x="123" y="232"/>
                  </a:lnTo>
                  <a:lnTo>
                    <a:pt x="123" y="234"/>
                  </a:lnTo>
                  <a:lnTo>
                    <a:pt x="123" y="235"/>
                  </a:lnTo>
                  <a:lnTo>
                    <a:pt x="123" y="234"/>
                  </a:lnTo>
                  <a:lnTo>
                    <a:pt x="124" y="232"/>
                  </a:lnTo>
                  <a:lnTo>
                    <a:pt x="124" y="231"/>
                  </a:lnTo>
                  <a:lnTo>
                    <a:pt x="123" y="231"/>
                  </a:lnTo>
                  <a:lnTo>
                    <a:pt x="122" y="230"/>
                  </a:lnTo>
                  <a:lnTo>
                    <a:pt x="122" y="229"/>
                  </a:lnTo>
                  <a:lnTo>
                    <a:pt x="122" y="228"/>
                  </a:lnTo>
                  <a:lnTo>
                    <a:pt x="122" y="226"/>
                  </a:lnTo>
                  <a:lnTo>
                    <a:pt x="122" y="225"/>
                  </a:lnTo>
                  <a:lnTo>
                    <a:pt x="122" y="224"/>
                  </a:lnTo>
                  <a:lnTo>
                    <a:pt x="121" y="224"/>
                  </a:lnTo>
                  <a:lnTo>
                    <a:pt x="121" y="223"/>
                  </a:lnTo>
                  <a:lnTo>
                    <a:pt x="121" y="222"/>
                  </a:lnTo>
                  <a:lnTo>
                    <a:pt x="121" y="220"/>
                  </a:lnTo>
                  <a:lnTo>
                    <a:pt x="122" y="222"/>
                  </a:lnTo>
                  <a:lnTo>
                    <a:pt x="122" y="223"/>
                  </a:lnTo>
                  <a:lnTo>
                    <a:pt x="122" y="224"/>
                  </a:lnTo>
                  <a:lnTo>
                    <a:pt x="123" y="224"/>
                  </a:lnTo>
                  <a:lnTo>
                    <a:pt x="124" y="224"/>
                  </a:lnTo>
                  <a:lnTo>
                    <a:pt x="124" y="223"/>
                  </a:lnTo>
                  <a:lnTo>
                    <a:pt x="123" y="222"/>
                  </a:lnTo>
                  <a:lnTo>
                    <a:pt x="124" y="222"/>
                  </a:lnTo>
                  <a:lnTo>
                    <a:pt x="124" y="223"/>
                  </a:lnTo>
                  <a:lnTo>
                    <a:pt x="126" y="224"/>
                  </a:lnTo>
                  <a:lnTo>
                    <a:pt x="124" y="224"/>
                  </a:lnTo>
                  <a:lnTo>
                    <a:pt x="123" y="224"/>
                  </a:lnTo>
                  <a:lnTo>
                    <a:pt x="123" y="225"/>
                  </a:lnTo>
                  <a:lnTo>
                    <a:pt x="124" y="226"/>
                  </a:lnTo>
                  <a:lnTo>
                    <a:pt x="126" y="226"/>
                  </a:lnTo>
                  <a:lnTo>
                    <a:pt x="127" y="225"/>
                  </a:lnTo>
                  <a:lnTo>
                    <a:pt x="129" y="225"/>
                  </a:lnTo>
                  <a:lnTo>
                    <a:pt x="129" y="224"/>
                  </a:lnTo>
                  <a:lnTo>
                    <a:pt x="130" y="224"/>
                  </a:lnTo>
                  <a:lnTo>
                    <a:pt x="130" y="225"/>
                  </a:lnTo>
                  <a:lnTo>
                    <a:pt x="132" y="225"/>
                  </a:lnTo>
                  <a:lnTo>
                    <a:pt x="130" y="225"/>
                  </a:lnTo>
                  <a:lnTo>
                    <a:pt x="130" y="226"/>
                  </a:lnTo>
                  <a:lnTo>
                    <a:pt x="129" y="226"/>
                  </a:lnTo>
                  <a:lnTo>
                    <a:pt x="128" y="226"/>
                  </a:lnTo>
                  <a:lnTo>
                    <a:pt x="129" y="226"/>
                  </a:lnTo>
                  <a:lnTo>
                    <a:pt x="129" y="228"/>
                  </a:lnTo>
                  <a:lnTo>
                    <a:pt x="129" y="229"/>
                  </a:lnTo>
                  <a:lnTo>
                    <a:pt x="128" y="229"/>
                  </a:lnTo>
                  <a:lnTo>
                    <a:pt x="128" y="230"/>
                  </a:lnTo>
                  <a:lnTo>
                    <a:pt x="128" y="229"/>
                  </a:lnTo>
                  <a:lnTo>
                    <a:pt x="127" y="229"/>
                  </a:lnTo>
                  <a:lnTo>
                    <a:pt x="126" y="230"/>
                  </a:lnTo>
                  <a:lnTo>
                    <a:pt x="126" y="231"/>
                  </a:lnTo>
                  <a:lnTo>
                    <a:pt x="127" y="231"/>
                  </a:lnTo>
                  <a:lnTo>
                    <a:pt x="128" y="232"/>
                  </a:lnTo>
                  <a:lnTo>
                    <a:pt x="128" y="234"/>
                  </a:lnTo>
                  <a:lnTo>
                    <a:pt x="127" y="234"/>
                  </a:lnTo>
                  <a:lnTo>
                    <a:pt x="126" y="234"/>
                  </a:lnTo>
                  <a:lnTo>
                    <a:pt x="124" y="234"/>
                  </a:lnTo>
                  <a:lnTo>
                    <a:pt x="124" y="235"/>
                  </a:lnTo>
                  <a:lnTo>
                    <a:pt x="123" y="235"/>
                  </a:lnTo>
                  <a:lnTo>
                    <a:pt x="122" y="235"/>
                  </a:lnTo>
                  <a:lnTo>
                    <a:pt x="122" y="236"/>
                  </a:lnTo>
                  <a:lnTo>
                    <a:pt x="122" y="237"/>
                  </a:lnTo>
                  <a:lnTo>
                    <a:pt x="123" y="237"/>
                  </a:lnTo>
                  <a:lnTo>
                    <a:pt x="124" y="237"/>
                  </a:lnTo>
                  <a:lnTo>
                    <a:pt x="123" y="237"/>
                  </a:lnTo>
                  <a:lnTo>
                    <a:pt x="123" y="238"/>
                  </a:lnTo>
                  <a:lnTo>
                    <a:pt x="123" y="240"/>
                  </a:lnTo>
                  <a:lnTo>
                    <a:pt x="124" y="240"/>
                  </a:lnTo>
                  <a:lnTo>
                    <a:pt x="126" y="240"/>
                  </a:lnTo>
                  <a:lnTo>
                    <a:pt x="126" y="238"/>
                  </a:lnTo>
                  <a:lnTo>
                    <a:pt x="126" y="237"/>
                  </a:lnTo>
                  <a:lnTo>
                    <a:pt x="127" y="237"/>
                  </a:lnTo>
                  <a:lnTo>
                    <a:pt x="128" y="236"/>
                  </a:lnTo>
                  <a:lnTo>
                    <a:pt x="129" y="236"/>
                  </a:lnTo>
                  <a:lnTo>
                    <a:pt x="129" y="235"/>
                  </a:lnTo>
                  <a:lnTo>
                    <a:pt x="129" y="234"/>
                  </a:lnTo>
                  <a:lnTo>
                    <a:pt x="130" y="232"/>
                  </a:lnTo>
                  <a:lnTo>
                    <a:pt x="132" y="231"/>
                  </a:lnTo>
                  <a:lnTo>
                    <a:pt x="132" y="230"/>
                  </a:lnTo>
                  <a:lnTo>
                    <a:pt x="132" y="229"/>
                  </a:lnTo>
                  <a:lnTo>
                    <a:pt x="132" y="228"/>
                  </a:lnTo>
                  <a:lnTo>
                    <a:pt x="133" y="228"/>
                  </a:lnTo>
                  <a:lnTo>
                    <a:pt x="134" y="226"/>
                  </a:lnTo>
                  <a:lnTo>
                    <a:pt x="134" y="228"/>
                  </a:lnTo>
                  <a:lnTo>
                    <a:pt x="135" y="229"/>
                  </a:lnTo>
                  <a:lnTo>
                    <a:pt x="134" y="229"/>
                  </a:lnTo>
                  <a:lnTo>
                    <a:pt x="134" y="228"/>
                  </a:lnTo>
                  <a:lnTo>
                    <a:pt x="133" y="228"/>
                  </a:lnTo>
                  <a:lnTo>
                    <a:pt x="132" y="229"/>
                  </a:lnTo>
                  <a:lnTo>
                    <a:pt x="133" y="229"/>
                  </a:lnTo>
                  <a:lnTo>
                    <a:pt x="132" y="230"/>
                  </a:lnTo>
                  <a:lnTo>
                    <a:pt x="132" y="231"/>
                  </a:lnTo>
                  <a:lnTo>
                    <a:pt x="132" y="232"/>
                  </a:lnTo>
                  <a:lnTo>
                    <a:pt x="132" y="234"/>
                  </a:lnTo>
                  <a:lnTo>
                    <a:pt x="130" y="234"/>
                  </a:lnTo>
                  <a:lnTo>
                    <a:pt x="130" y="236"/>
                  </a:lnTo>
                  <a:lnTo>
                    <a:pt x="129" y="237"/>
                  </a:lnTo>
                  <a:lnTo>
                    <a:pt x="129" y="238"/>
                  </a:lnTo>
                  <a:lnTo>
                    <a:pt x="130" y="238"/>
                  </a:lnTo>
                  <a:lnTo>
                    <a:pt x="132" y="238"/>
                  </a:lnTo>
                  <a:lnTo>
                    <a:pt x="132" y="237"/>
                  </a:lnTo>
                  <a:lnTo>
                    <a:pt x="133" y="237"/>
                  </a:lnTo>
                  <a:lnTo>
                    <a:pt x="134" y="237"/>
                  </a:lnTo>
                  <a:lnTo>
                    <a:pt x="133" y="237"/>
                  </a:lnTo>
                  <a:lnTo>
                    <a:pt x="134" y="238"/>
                  </a:lnTo>
                  <a:lnTo>
                    <a:pt x="134" y="237"/>
                  </a:lnTo>
                  <a:lnTo>
                    <a:pt x="135" y="237"/>
                  </a:lnTo>
                  <a:lnTo>
                    <a:pt x="135" y="236"/>
                  </a:lnTo>
                  <a:lnTo>
                    <a:pt x="136" y="236"/>
                  </a:lnTo>
                  <a:lnTo>
                    <a:pt x="136" y="235"/>
                  </a:lnTo>
                  <a:lnTo>
                    <a:pt x="138" y="235"/>
                  </a:lnTo>
                  <a:lnTo>
                    <a:pt x="139" y="234"/>
                  </a:lnTo>
                  <a:lnTo>
                    <a:pt x="139" y="232"/>
                  </a:lnTo>
                  <a:lnTo>
                    <a:pt x="139" y="231"/>
                  </a:lnTo>
                  <a:lnTo>
                    <a:pt x="139" y="232"/>
                  </a:lnTo>
                  <a:lnTo>
                    <a:pt x="139" y="234"/>
                  </a:lnTo>
                  <a:lnTo>
                    <a:pt x="139" y="236"/>
                  </a:lnTo>
                  <a:lnTo>
                    <a:pt x="140" y="236"/>
                  </a:lnTo>
                  <a:lnTo>
                    <a:pt x="141" y="236"/>
                  </a:lnTo>
                  <a:lnTo>
                    <a:pt x="141" y="235"/>
                  </a:lnTo>
                  <a:lnTo>
                    <a:pt x="141" y="234"/>
                  </a:lnTo>
                  <a:lnTo>
                    <a:pt x="142" y="235"/>
                  </a:lnTo>
                  <a:lnTo>
                    <a:pt x="142" y="236"/>
                  </a:lnTo>
                  <a:lnTo>
                    <a:pt x="142" y="235"/>
                  </a:lnTo>
                  <a:lnTo>
                    <a:pt x="142" y="234"/>
                  </a:lnTo>
                  <a:lnTo>
                    <a:pt x="144" y="234"/>
                  </a:lnTo>
                  <a:lnTo>
                    <a:pt x="145" y="234"/>
                  </a:lnTo>
                  <a:lnTo>
                    <a:pt x="146" y="232"/>
                  </a:lnTo>
                  <a:lnTo>
                    <a:pt x="146" y="231"/>
                  </a:lnTo>
                  <a:lnTo>
                    <a:pt x="146" y="230"/>
                  </a:lnTo>
                  <a:lnTo>
                    <a:pt x="145" y="230"/>
                  </a:lnTo>
                  <a:lnTo>
                    <a:pt x="145" y="231"/>
                  </a:lnTo>
                  <a:lnTo>
                    <a:pt x="144" y="230"/>
                  </a:lnTo>
                  <a:lnTo>
                    <a:pt x="144" y="231"/>
                  </a:lnTo>
                  <a:lnTo>
                    <a:pt x="142" y="231"/>
                  </a:lnTo>
                  <a:lnTo>
                    <a:pt x="141" y="231"/>
                  </a:lnTo>
                  <a:lnTo>
                    <a:pt x="141" y="230"/>
                  </a:lnTo>
                  <a:lnTo>
                    <a:pt x="142" y="229"/>
                  </a:lnTo>
                  <a:lnTo>
                    <a:pt x="144" y="229"/>
                  </a:lnTo>
                  <a:lnTo>
                    <a:pt x="144" y="226"/>
                  </a:lnTo>
                  <a:lnTo>
                    <a:pt x="144" y="225"/>
                  </a:lnTo>
                  <a:lnTo>
                    <a:pt x="142" y="225"/>
                  </a:lnTo>
                  <a:lnTo>
                    <a:pt x="142" y="226"/>
                  </a:lnTo>
                  <a:lnTo>
                    <a:pt x="141" y="228"/>
                  </a:lnTo>
                  <a:lnTo>
                    <a:pt x="141" y="229"/>
                  </a:lnTo>
                  <a:lnTo>
                    <a:pt x="140" y="229"/>
                  </a:lnTo>
                  <a:lnTo>
                    <a:pt x="140" y="228"/>
                  </a:lnTo>
                  <a:lnTo>
                    <a:pt x="141" y="226"/>
                  </a:lnTo>
                  <a:lnTo>
                    <a:pt x="142" y="225"/>
                  </a:lnTo>
                  <a:lnTo>
                    <a:pt x="144" y="225"/>
                  </a:lnTo>
                  <a:lnTo>
                    <a:pt x="145" y="224"/>
                  </a:lnTo>
                  <a:lnTo>
                    <a:pt x="146" y="224"/>
                  </a:lnTo>
                  <a:lnTo>
                    <a:pt x="146" y="225"/>
                  </a:lnTo>
                  <a:lnTo>
                    <a:pt x="146" y="226"/>
                  </a:lnTo>
                  <a:lnTo>
                    <a:pt x="145" y="228"/>
                  </a:lnTo>
                  <a:lnTo>
                    <a:pt x="145" y="229"/>
                  </a:lnTo>
                  <a:lnTo>
                    <a:pt x="146" y="228"/>
                  </a:lnTo>
                  <a:lnTo>
                    <a:pt x="146" y="226"/>
                  </a:lnTo>
                  <a:lnTo>
                    <a:pt x="147" y="225"/>
                  </a:lnTo>
                  <a:lnTo>
                    <a:pt x="147" y="224"/>
                  </a:lnTo>
                  <a:lnTo>
                    <a:pt x="148" y="224"/>
                  </a:lnTo>
                  <a:lnTo>
                    <a:pt x="150" y="223"/>
                  </a:lnTo>
                  <a:lnTo>
                    <a:pt x="151" y="222"/>
                  </a:lnTo>
                  <a:lnTo>
                    <a:pt x="152" y="222"/>
                  </a:lnTo>
                  <a:lnTo>
                    <a:pt x="152" y="220"/>
                  </a:lnTo>
                  <a:lnTo>
                    <a:pt x="153" y="220"/>
                  </a:lnTo>
                  <a:lnTo>
                    <a:pt x="153" y="222"/>
                  </a:lnTo>
                  <a:lnTo>
                    <a:pt x="153" y="223"/>
                  </a:lnTo>
                  <a:lnTo>
                    <a:pt x="153" y="224"/>
                  </a:lnTo>
                  <a:lnTo>
                    <a:pt x="152" y="224"/>
                  </a:lnTo>
                  <a:lnTo>
                    <a:pt x="151" y="224"/>
                  </a:lnTo>
                  <a:lnTo>
                    <a:pt x="151" y="223"/>
                  </a:lnTo>
                  <a:lnTo>
                    <a:pt x="150" y="223"/>
                  </a:lnTo>
                  <a:lnTo>
                    <a:pt x="151" y="224"/>
                  </a:lnTo>
                  <a:lnTo>
                    <a:pt x="151" y="225"/>
                  </a:lnTo>
                  <a:lnTo>
                    <a:pt x="152" y="225"/>
                  </a:lnTo>
                  <a:lnTo>
                    <a:pt x="153" y="225"/>
                  </a:lnTo>
                  <a:lnTo>
                    <a:pt x="152" y="226"/>
                  </a:lnTo>
                  <a:lnTo>
                    <a:pt x="151" y="228"/>
                  </a:lnTo>
                  <a:lnTo>
                    <a:pt x="151" y="229"/>
                  </a:lnTo>
                  <a:lnTo>
                    <a:pt x="150" y="230"/>
                  </a:lnTo>
                  <a:lnTo>
                    <a:pt x="150" y="231"/>
                  </a:lnTo>
                  <a:lnTo>
                    <a:pt x="148" y="231"/>
                  </a:lnTo>
                  <a:lnTo>
                    <a:pt x="148" y="232"/>
                  </a:lnTo>
                  <a:lnTo>
                    <a:pt x="148" y="234"/>
                  </a:lnTo>
                  <a:lnTo>
                    <a:pt x="147" y="235"/>
                  </a:lnTo>
                  <a:lnTo>
                    <a:pt x="146" y="235"/>
                  </a:lnTo>
                  <a:lnTo>
                    <a:pt x="145" y="236"/>
                  </a:lnTo>
                  <a:lnTo>
                    <a:pt x="145" y="235"/>
                  </a:lnTo>
                  <a:lnTo>
                    <a:pt x="144" y="235"/>
                  </a:lnTo>
                  <a:lnTo>
                    <a:pt x="144" y="236"/>
                  </a:lnTo>
                  <a:lnTo>
                    <a:pt x="142" y="236"/>
                  </a:lnTo>
                  <a:lnTo>
                    <a:pt x="142" y="237"/>
                  </a:lnTo>
                  <a:lnTo>
                    <a:pt x="144" y="238"/>
                  </a:lnTo>
                  <a:lnTo>
                    <a:pt x="144" y="237"/>
                  </a:lnTo>
                  <a:lnTo>
                    <a:pt x="145" y="236"/>
                  </a:lnTo>
                  <a:lnTo>
                    <a:pt x="146" y="236"/>
                  </a:lnTo>
                  <a:lnTo>
                    <a:pt x="147" y="236"/>
                  </a:lnTo>
                  <a:lnTo>
                    <a:pt x="148" y="235"/>
                  </a:lnTo>
                  <a:lnTo>
                    <a:pt x="150" y="234"/>
                  </a:lnTo>
                  <a:lnTo>
                    <a:pt x="148" y="235"/>
                  </a:lnTo>
                  <a:lnTo>
                    <a:pt x="148" y="236"/>
                  </a:lnTo>
                  <a:lnTo>
                    <a:pt x="147" y="237"/>
                  </a:lnTo>
                  <a:lnTo>
                    <a:pt x="147" y="238"/>
                  </a:lnTo>
                  <a:lnTo>
                    <a:pt x="146" y="241"/>
                  </a:lnTo>
                  <a:lnTo>
                    <a:pt x="145" y="241"/>
                  </a:lnTo>
                  <a:lnTo>
                    <a:pt x="146" y="242"/>
                  </a:lnTo>
                  <a:lnTo>
                    <a:pt x="147" y="241"/>
                  </a:lnTo>
                  <a:lnTo>
                    <a:pt x="147" y="240"/>
                  </a:lnTo>
                  <a:lnTo>
                    <a:pt x="148" y="238"/>
                  </a:lnTo>
                  <a:lnTo>
                    <a:pt x="148" y="237"/>
                  </a:lnTo>
                  <a:lnTo>
                    <a:pt x="150" y="236"/>
                  </a:lnTo>
                  <a:lnTo>
                    <a:pt x="150" y="235"/>
                  </a:lnTo>
                  <a:lnTo>
                    <a:pt x="150" y="237"/>
                  </a:lnTo>
                  <a:lnTo>
                    <a:pt x="151" y="238"/>
                  </a:lnTo>
                  <a:lnTo>
                    <a:pt x="151" y="237"/>
                  </a:lnTo>
                  <a:lnTo>
                    <a:pt x="151" y="236"/>
                  </a:lnTo>
                  <a:lnTo>
                    <a:pt x="151" y="235"/>
                  </a:lnTo>
                  <a:lnTo>
                    <a:pt x="150" y="234"/>
                  </a:lnTo>
                  <a:lnTo>
                    <a:pt x="150" y="232"/>
                  </a:lnTo>
                  <a:lnTo>
                    <a:pt x="151" y="232"/>
                  </a:lnTo>
                  <a:lnTo>
                    <a:pt x="152" y="234"/>
                  </a:lnTo>
                  <a:lnTo>
                    <a:pt x="153" y="235"/>
                  </a:lnTo>
                  <a:lnTo>
                    <a:pt x="153" y="234"/>
                  </a:lnTo>
                  <a:lnTo>
                    <a:pt x="152" y="232"/>
                  </a:lnTo>
                  <a:lnTo>
                    <a:pt x="151" y="232"/>
                  </a:lnTo>
                  <a:lnTo>
                    <a:pt x="151" y="231"/>
                  </a:lnTo>
                  <a:lnTo>
                    <a:pt x="151" y="230"/>
                  </a:lnTo>
                  <a:lnTo>
                    <a:pt x="152" y="229"/>
                  </a:lnTo>
                  <a:lnTo>
                    <a:pt x="152" y="228"/>
                  </a:lnTo>
                  <a:lnTo>
                    <a:pt x="153" y="228"/>
                  </a:lnTo>
                  <a:lnTo>
                    <a:pt x="155" y="228"/>
                  </a:lnTo>
                  <a:lnTo>
                    <a:pt x="155" y="232"/>
                  </a:lnTo>
                  <a:lnTo>
                    <a:pt x="155" y="238"/>
                  </a:lnTo>
                  <a:lnTo>
                    <a:pt x="155" y="244"/>
                  </a:lnTo>
                  <a:lnTo>
                    <a:pt x="155" y="252"/>
                  </a:lnTo>
                  <a:lnTo>
                    <a:pt x="155" y="256"/>
                  </a:lnTo>
                  <a:lnTo>
                    <a:pt x="155" y="255"/>
                  </a:lnTo>
                  <a:lnTo>
                    <a:pt x="153" y="255"/>
                  </a:lnTo>
                  <a:lnTo>
                    <a:pt x="153" y="254"/>
                  </a:lnTo>
                  <a:lnTo>
                    <a:pt x="152" y="254"/>
                  </a:lnTo>
                  <a:lnTo>
                    <a:pt x="151" y="254"/>
                  </a:lnTo>
                  <a:lnTo>
                    <a:pt x="151" y="255"/>
                  </a:lnTo>
                  <a:lnTo>
                    <a:pt x="150" y="254"/>
                  </a:lnTo>
                  <a:lnTo>
                    <a:pt x="150" y="255"/>
                  </a:lnTo>
                  <a:lnTo>
                    <a:pt x="148" y="254"/>
                  </a:lnTo>
                  <a:lnTo>
                    <a:pt x="148" y="255"/>
                  </a:lnTo>
                  <a:lnTo>
                    <a:pt x="147" y="255"/>
                  </a:lnTo>
                  <a:lnTo>
                    <a:pt x="147" y="256"/>
                  </a:lnTo>
                  <a:lnTo>
                    <a:pt x="146" y="256"/>
                  </a:lnTo>
                  <a:lnTo>
                    <a:pt x="146" y="258"/>
                  </a:lnTo>
                  <a:lnTo>
                    <a:pt x="148" y="259"/>
                  </a:lnTo>
                  <a:lnTo>
                    <a:pt x="150" y="259"/>
                  </a:lnTo>
                  <a:lnTo>
                    <a:pt x="151" y="258"/>
                  </a:lnTo>
                  <a:lnTo>
                    <a:pt x="152" y="258"/>
                  </a:lnTo>
                  <a:lnTo>
                    <a:pt x="152" y="259"/>
                  </a:lnTo>
                  <a:lnTo>
                    <a:pt x="153" y="260"/>
                  </a:lnTo>
                  <a:lnTo>
                    <a:pt x="155" y="261"/>
                  </a:lnTo>
                  <a:lnTo>
                    <a:pt x="155" y="264"/>
                  </a:lnTo>
                  <a:lnTo>
                    <a:pt x="155" y="270"/>
                  </a:lnTo>
                  <a:lnTo>
                    <a:pt x="155" y="276"/>
                  </a:lnTo>
                  <a:lnTo>
                    <a:pt x="155" y="284"/>
                  </a:lnTo>
                  <a:lnTo>
                    <a:pt x="156" y="291"/>
                  </a:lnTo>
                  <a:lnTo>
                    <a:pt x="156" y="300"/>
                  </a:lnTo>
                  <a:lnTo>
                    <a:pt x="156" y="308"/>
                  </a:lnTo>
                  <a:lnTo>
                    <a:pt x="157" y="317"/>
                  </a:lnTo>
                  <a:lnTo>
                    <a:pt x="157" y="337"/>
                  </a:lnTo>
                  <a:lnTo>
                    <a:pt x="157" y="348"/>
                  </a:lnTo>
                  <a:lnTo>
                    <a:pt x="158" y="359"/>
                  </a:lnTo>
                  <a:lnTo>
                    <a:pt x="156" y="360"/>
                  </a:lnTo>
                  <a:lnTo>
                    <a:pt x="148" y="362"/>
                  </a:lnTo>
                  <a:lnTo>
                    <a:pt x="141" y="362"/>
                  </a:lnTo>
                  <a:lnTo>
                    <a:pt x="142" y="363"/>
                  </a:lnTo>
                  <a:lnTo>
                    <a:pt x="140" y="363"/>
                  </a:lnTo>
                  <a:lnTo>
                    <a:pt x="153" y="362"/>
                  </a:lnTo>
                  <a:lnTo>
                    <a:pt x="161" y="362"/>
                  </a:lnTo>
                  <a:lnTo>
                    <a:pt x="165" y="362"/>
                  </a:lnTo>
                  <a:lnTo>
                    <a:pt x="168" y="362"/>
                  </a:lnTo>
                  <a:lnTo>
                    <a:pt x="173" y="361"/>
                  </a:lnTo>
                  <a:lnTo>
                    <a:pt x="177" y="362"/>
                  </a:lnTo>
                  <a:lnTo>
                    <a:pt x="189" y="362"/>
                  </a:lnTo>
                  <a:lnTo>
                    <a:pt x="195" y="362"/>
                  </a:lnTo>
                  <a:lnTo>
                    <a:pt x="198" y="361"/>
                  </a:lnTo>
                  <a:lnTo>
                    <a:pt x="197" y="36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3" name="Freeform 66"/>
            <p:cNvSpPr>
              <a:spLocks/>
            </p:cNvSpPr>
            <p:nvPr userDrawn="1"/>
          </p:nvSpPr>
          <p:spPr bwMode="auto">
            <a:xfrm>
              <a:off x="4795838" y="6443663"/>
              <a:ext cx="60325" cy="85725"/>
            </a:xfrm>
            <a:custGeom>
              <a:avLst/>
              <a:gdLst/>
              <a:ahLst/>
              <a:cxnLst>
                <a:cxn ang="0">
                  <a:pos x="146" y="147"/>
                </a:cxn>
                <a:cxn ang="0">
                  <a:pos x="148" y="144"/>
                </a:cxn>
                <a:cxn ang="0">
                  <a:pos x="166" y="142"/>
                </a:cxn>
                <a:cxn ang="0">
                  <a:pos x="168" y="124"/>
                </a:cxn>
                <a:cxn ang="0">
                  <a:pos x="175" y="130"/>
                </a:cxn>
                <a:cxn ang="0">
                  <a:pos x="180" y="124"/>
                </a:cxn>
                <a:cxn ang="0">
                  <a:pos x="184" y="113"/>
                </a:cxn>
                <a:cxn ang="0">
                  <a:pos x="170" y="103"/>
                </a:cxn>
                <a:cxn ang="0">
                  <a:pos x="160" y="89"/>
                </a:cxn>
                <a:cxn ang="0">
                  <a:pos x="180" y="88"/>
                </a:cxn>
                <a:cxn ang="0">
                  <a:pos x="182" y="82"/>
                </a:cxn>
                <a:cxn ang="0">
                  <a:pos x="175" y="78"/>
                </a:cxn>
                <a:cxn ang="0">
                  <a:pos x="187" y="72"/>
                </a:cxn>
                <a:cxn ang="0">
                  <a:pos x="189" y="67"/>
                </a:cxn>
                <a:cxn ang="0">
                  <a:pos x="174" y="73"/>
                </a:cxn>
                <a:cxn ang="0">
                  <a:pos x="168" y="72"/>
                </a:cxn>
                <a:cxn ang="0">
                  <a:pos x="158" y="65"/>
                </a:cxn>
                <a:cxn ang="0">
                  <a:pos x="158" y="53"/>
                </a:cxn>
                <a:cxn ang="0">
                  <a:pos x="143" y="54"/>
                </a:cxn>
                <a:cxn ang="0">
                  <a:pos x="143" y="43"/>
                </a:cxn>
                <a:cxn ang="0">
                  <a:pos x="137" y="41"/>
                </a:cxn>
                <a:cxn ang="0">
                  <a:pos x="135" y="40"/>
                </a:cxn>
                <a:cxn ang="0">
                  <a:pos x="124" y="30"/>
                </a:cxn>
                <a:cxn ang="0">
                  <a:pos x="116" y="34"/>
                </a:cxn>
                <a:cxn ang="0">
                  <a:pos x="110" y="34"/>
                </a:cxn>
                <a:cxn ang="0">
                  <a:pos x="102" y="11"/>
                </a:cxn>
                <a:cxn ang="0">
                  <a:pos x="93" y="2"/>
                </a:cxn>
                <a:cxn ang="0">
                  <a:pos x="88" y="6"/>
                </a:cxn>
                <a:cxn ang="0">
                  <a:pos x="95" y="30"/>
                </a:cxn>
                <a:cxn ang="0">
                  <a:pos x="89" y="30"/>
                </a:cxn>
                <a:cxn ang="0">
                  <a:pos x="86" y="43"/>
                </a:cxn>
                <a:cxn ang="0">
                  <a:pos x="74" y="52"/>
                </a:cxn>
                <a:cxn ang="0">
                  <a:pos x="68" y="59"/>
                </a:cxn>
                <a:cxn ang="0">
                  <a:pos x="59" y="50"/>
                </a:cxn>
                <a:cxn ang="0">
                  <a:pos x="58" y="38"/>
                </a:cxn>
                <a:cxn ang="0">
                  <a:pos x="52" y="42"/>
                </a:cxn>
                <a:cxn ang="0">
                  <a:pos x="48" y="46"/>
                </a:cxn>
                <a:cxn ang="0">
                  <a:pos x="37" y="55"/>
                </a:cxn>
                <a:cxn ang="0">
                  <a:pos x="33" y="60"/>
                </a:cxn>
                <a:cxn ang="0">
                  <a:pos x="28" y="65"/>
                </a:cxn>
                <a:cxn ang="0">
                  <a:pos x="30" y="70"/>
                </a:cxn>
                <a:cxn ang="0">
                  <a:pos x="39" y="76"/>
                </a:cxn>
                <a:cxn ang="0">
                  <a:pos x="25" y="73"/>
                </a:cxn>
                <a:cxn ang="0">
                  <a:pos x="31" y="79"/>
                </a:cxn>
                <a:cxn ang="0">
                  <a:pos x="10" y="84"/>
                </a:cxn>
                <a:cxn ang="0">
                  <a:pos x="3" y="83"/>
                </a:cxn>
                <a:cxn ang="0">
                  <a:pos x="4" y="90"/>
                </a:cxn>
                <a:cxn ang="0">
                  <a:pos x="28" y="102"/>
                </a:cxn>
                <a:cxn ang="0">
                  <a:pos x="23" y="114"/>
                </a:cxn>
                <a:cxn ang="0">
                  <a:pos x="4" y="123"/>
                </a:cxn>
                <a:cxn ang="0">
                  <a:pos x="16" y="137"/>
                </a:cxn>
                <a:cxn ang="0">
                  <a:pos x="17" y="160"/>
                </a:cxn>
                <a:cxn ang="0">
                  <a:pos x="39" y="155"/>
                </a:cxn>
                <a:cxn ang="0">
                  <a:pos x="27" y="172"/>
                </a:cxn>
                <a:cxn ang="0">
                  <a:pos x="36" y="174"/>
                </a:cxn>
                <a:cxn ang="0">
                  <a:pos x="43" y="178"/>
                </a:cxn>
                <a:cxn ang="0">
                  <a:pos x="57" y="171"/>
                </a:cxn>
                <a:cxn ang="0">
                  <a:pos x="63" y="177"/>
                </a:cxn>
                <a:cxn ang="0">
                  <a:pos x="70" y="168"/>
                </a:cxn>
                <a:cxn ang="0">
                  <a:pos x="86" y="165"/>
                </a:cxn>
                <a:cxn ang="0">
                  <a:pos x="94" y="167"/>
                </a:cxn>
                <a:cxn ang="0">
                  <a:pos x="96" y="171"/>
                </a:cxn>
                <a:cxn ang="0">
                  <a:pos x="105" y="166"/>
                </a:cxn>
              </a:cxnLst>
              <a:rect l="0" t="0" r="r" b="b"/>
              <a:pathLst>
                <a:path w="193" h="268">
                  <a:moveTo>
                    <a:pt x="133" y="268"/>
                  </a:moveTo>
                  <a:lnTo>
                    <a:pt x="129" y="262"/>
                  </a:lnTo>
                  <a:lnTo>
                    <a:pt x="131" y="245"/>
                  </a:lnTo>
                  <a:lnTo>
                    <a:pt x="130" y="232"/>
                  </a:lnTo>
                  <a:lnTo>
                    <a:pt x="134" y="215"/>
                  </a:lnTo>
                  <a:lnTo>
                    <a:pt x="134" y="204"/>
                  </a:lnTo>
                  <a:lnTo>
                    <a:pt x="140" y="179"/>
                  </a:lnTo>
                  <a:lnTo>
                    <a:pt x="142" y="168"/>
                  </a:lnTo>
                  <a:lnTo>
                    <a:pt x="141" y="155"/>
                  </a:lnTo>
                  <a:lnTo>
                    <a:pt x="136" y="149"/>
                  </a:lnTo>
                  <a:lnTo>
                    <a:pt x="136" y="145"/>
                  </a:lnTo>
                  <a:lnTo>
                    <a:pt x="136" y="144"/>
                  </a:lnTo>
                  <a:lnTo>
                    <a:pt x="137" y="143"/>
                  </a:lnTo>
                  <a:lnTo>
                    <a:pt x="139" y="144"/>
                  </a:lnTo>
                  <a:lnTo>
                    <a:pt x="140" y="145"/>
                  </a:lnTo>
                  <a:lnTo>
                    <a:pt x="140" y="147"/>
                  </a:lnTo>
                  <a:lnTo>
                    <a:pt x="141" y="147"/>
                  </a:lnTo>
                  <a:lnTo>
                    <a:pt x="140" y="147"/>
                  </a:lnTo>
                  <a:lnTo>
                    <a:pt x="140" y="148"/>
                  </a:lnTo>
                  <a:lnTo>
                    <a:pt x="141" y="148"/>
                  </a:lnTo>
                  <a:lnTo>
                    <a:pt x="142" y="147"/>
                  </a:lnTo>
                  <a:lnTo>
                    <a:pt x="143" y="148"/>
                  </a:lnTo>
                  <a:lnTo>
                    <a:pt x="143" y="147"/>
                  </a:lnTo>
                  <a:lnTo>
                    <a:pt x="145" y="148"/>
                  </a:lnTo>
                  <a:lnTo>
                    <a:pt x="143" y="147"/>
                  </a:lnTo>
                  <a:lnTo>
                    <a:pt x="143" y="145"/>
                  </a:lnTo>
                  <a:lnTo>
                    <a:pt x="142" y="145"/>
                  </a:lnTo>
                  <a:lnTo>
                    <a:pt x="141" y="144"/>
                  </a:lnTo>
                  <a:lnTo>
                    <a:pt x="140" y="144"/>
                  </a:lnTo>
                  <a:lnTo>
                    <a:pt x="140" y="145"/>
                  </a:lnTo>
                  <a:lnTo>
                    <a:pt x="139" y="145"/>
                  </a:lnTo>
                  <a:lnTo>
                    <a:pt x="139" y="143"/>
                  </a:lnTo>
                  <a:lnTo>
                    <a:pt x="141" y="143"/>
                  </a:lnTo>
                  <a:lnTo>
                    <a:pt x="146" y="147"/>
                  </a:lnTo>
                  <a:lnTo>
                    <a:pt x="147" y="149"/>
                  </a:lnTo>
                  <a:lnTo>
                    <a:pt x="148" y="149"/>
                  </a:lnTo>
                  <a:lnTo>
                    <a:pt x="148" y="151"/>
                  </a:lnTo>
                  <a:lnTo>
                    <a:pt x="148" y="153"/>
                  </a:lnTo>
                  <a:lnTo>
                    <a:pt x="148" y="150"/>
                  </a:lnTo>
                  <a:lnTo>
                    <a:pt x="148" y="149"/>
                  </a:lnTo>
                  <a:lnTo>
                    <a:pt x="149" y="149"/>
                  </a:lnTo>
                  <a:lnTo>
                    <a:pt x="151" y="151"/>
                  </a:lnTo>
                  <a:lnTo>
                    <a:pt x="152" y="151"/>
                  </a:lnTo>
                  <a:lnTo>
                    <a:pt x="151" y="150"/>
                  </a:lnTo>
                  <a:lnTo>
                    <a:pt x="149" y="149"/>
                  </a:lnTo>
                  <a:lnTo>
                    <a:pt x="148" y="149"/>
                  </a:lnTo>
                  <a:lnTo>
                    <a:pt x="147" y="147"/>
                  </a:lnTo>
                  <a:lnTo>
                    <a:pt x="145" y="144"/>
                  </a:lnTo>
                  <a:lnTo>
                    <a:pt x="140" y="142"/>
                  </a:lnTo>
                  <a:lnTo>
                    <a:pt x="139" y="142"/>
                  </a:lnTo>
                  <a:lnTo>
                    <a:pt x="139" y="141"/>
                  </a:lnTo>
                  <a:lnTo>
                    <a:pt x="139" y="139"/>
                  </a:lnTo>
                  <a:lnTo>
                    <a:pt x="140" y="139"/>
                  </a:lnTo>
                  <a:lnTo>
                    <a:pt x="139" y="139"/>
                  </a:lnTo>
                  <a:lnTo>
                    <a:pt x="140" y="139"/>
                  </a:lnTo>
                  <a:lnTo>
                    <a:pt x="141" y="138"/>
                  </a:lnTo>
                  <a:lnTo>
                    <a:pt x="141" y="139"/>
                  </a:lnTo>
                  <a:lnTo>
                    <a:pt x="142" y="139"/>
                  </a:lnTo>
                  <a:lnTo>
                    <a:pt x="143" y="141"/>
                  </a:lnTo>
                  <a:lnTo>
                    <a:pt x="143" y="142"/>
                  </a:lnTo>
                  <a:lnTo>
                    <a:pt x="143" y="143"/>
                  </a:lnTo>
                  <a:lnTo>
                    <a:pt x="145" y="142"/>
                  </a:lnTo>
                  <a:lnTo>
                    <a:pt x="145" y="143"/>
                  </a:lnTo>
                  <a:lnTo>
                    <a:pt x="146" y="143"/>
                  </a:lnTo>
                  <a:lnTo>
                    <a:pt x="146" y="142"/>
                  </a:lnTo>
                  <a:lnTo>
                    <a:pt x="147" y="143"/>
                  </a:lnTo>
                  <a:lnTo>
                    <a:pt x="147" y="144"/>
                  </a:lnTo>
                  <a:lnTo>
                    <a:pt x="148" y="144"/>
                  </a:lnTo>
                  <a:lnTo>
                    <a:pt x="148" y="143"/>
                  </a:lnTo>
                  <a:lnTo>
                    <a:pt x="149" y="144"/>
                  </a:lnTo>
                  <a:lnTo>
                    <a:pt x="153" y="147"/>
                  </a:lnTo>
                  <a:lnTo>
                    <a:pt x="154" y="149"/>
                  </a:lnTo>
                  <a:lnTo>
                    <a:pt x="154" y="148"/>
                  </a:lnTo>
                  <a:lnTo>
                    <a:pt x="155" y="149"/>
                  </a:lnTo>
                  <a:lnTo>
                    <a:pt x="155" y="150"/>
                  </a:lnTo>
                  <a:lnTo>
                    <a:pt x="157" y="151"/>
                  </a:lnTo>
                  <a:lnTo>
                    <a:pt x="157" y="154"/>
                  </a:lnTo>
                  <a:lnTo>
                    <a:pt x="157" y="153"/>
                  </a:lnTo>
                  <a:lnTo>
                    <a:pt x="158" y="154"/>
                  </a:lnTo>
                  <a:lnTo>
                    <a:pt x="157" y="151"/>
                  </a:lnTo>
                  <a:lnTo>
                    <a:pt x="155" y="149"/>
                  </a:lnTo>
                  <a:lnTo>
                    <a:pt x="155" y="148"/>
                  </a:lnTo>
                  <a:lnTo>
                    <a:pt x="155" y="147"/>
                  </a:lnTo>
                  <a:lnTo>
                    <a:pt x="157" y="148"/>
                  </a:lnTo>
                  <a:lnTo>
                    <a:pt x="159" y="149"/>
                  </a:lnTo>
                  <a:lnTo>
                    <a:pt x="159" y="150"/>
                  </a:lnTo>
                  <a:lnTo>
                    <a:pt x="160" y="151"/>
                  </a:lnTo>
                  <a:lnTo>
                    <a:pt x="161" y="150"/>
                  </a:lnTo>
                  <a:lnTo>
                    <a:pt x="161" y="151"/>
                  </a:lnTo>
                  <a:lnTo>
                    <a:pt x="163" y="151"/>
                  </a:lnTo>
                  <a:lnTo>
                    <a:pt x="164" y="150"/>
                  </a:lnTo>
                  <a:lnTo>
                    <a:pt x="164" y="149"/>
                  </a:lnTo>
                  <a:lnTo>
                    <a:pt x="165" y="149"/>
                  </a:lnTo>
                  <a:lnTo>
                    <a:pt x="165" y="147"/>
                  </a:lnTo>
                  <a:lnTo>
                    <a:pt x="165" y="145"/>
                  </a:lnTo>
                  <a:lnTo>
                    <a:pt x="164" y="145"/>
                  </a:lnTo>
                  <a:lnTo>
                    <a:pt x="164" y="144"/>
                  </a:lnTo>
                  <a:lnTo>
                    <a:pt x="165" y="145"/>
                  </a:lnTo>
                  <a:lnTo>
                    <a:pt x="165" y="144"/>
                  </a:lnTo>
                  <a:lnTo>
                    <a:pt x="166" y="144"/>
                  </a:lnTo>
                  <a:lnTo>
                    <a:pt x="166" y="143"/>
                  </a:lnTo>
                  <a:lnTo>
                    <a:pt x="166" y="142"/>
                  </a:lnTo>
                  <a:lnTo>
                    <a:pt x="168" y="141"/>
                  </a:lnTo>
                  <a:lnTo>
                    <a:pt x="168" y="139"/>
                  </a:lnTo>
                  <a:lnTo>
                    <a:pt x="168" y="138"/>
                  </a:lnTo>
                  <a:lnTo>
                    <a:pt x="169" y="137"/>
                  </a:lnTo>
                  <a:lnTo>
                    <a:pt x="168" y="137"/>
                  </a:lnTo>
                  <a:lnTo>
                    <a:pt x="168" y="136"/>
                  </a:lnTo>
                  <a:lnTo>
                    <a:pt x="166" y="136"/>
                  </a:lnTo>
                  <a:lnTo>
                    <a:pt x="166" y="135"/>
                  </a:lnTo>
                  <a:lnTo>
                    <a:pt x="166" y="133"/>
                  </a:lnTo>
                  <a:lnTo>
                    <a:pt x="165" y="133"/>
                  </a:lnTo>
                  <a:lnTo>
                    <a:pt x="165" y="135"/>
                  </a:lnTo>
                  <a:lnTo>
                    <a:pt x="165" y="133"/>
                  </a:lnTo>
                  <a:lnTo>
                    <a:pt x="164" y="133"/>
                  </a:lnTo>
                  <a:lnTo>
                    <a:pt x="165" y="132"/>
                  </a:lnTo>
                  <a:lnTo>
                    <a:pt x="164" y="132"/>
                  </a:lnTo>
                  <a:lnTo>
                    <a:pt x="163" y="131"/>
                  </a:lnTo>
                  <a:lnTo>
                    <a:pt x="164" y="131"/>
                  </a:lnTo>
                  <a:lnTo>
                    <a:pt x="164" y="130"/>
                  </a:lnTo>
                  <a:lnTo>
                    <a:pt x="164" y="129"/>
                  </a:lnTo>
                  <a:lnTo>
                    <a:pt x="164" y="127"/>
                  </a:lnTo>
                  <a:lnTo>
                    <a:pt x="165" y="127"/>
                  </a:lnTo>
                  <a:lnTo>
                    <a:pt x="166" y="127"/>
                  </a:lnTo>
                  <a:lnTo>
                    <a:pt x="168" y="129"/>
                  </a:lnTo>
                  <a:lnTo>
                    <a:pt x="168" y="130"/>
                  </a:lnTo>
                  <a:lnTo>
                    <a:pt x="169" y="129"/>
                  </a:lnTo>
                  <a:lnTo>
                    <a:pt x="169" y="130"/>
                  </a:lnTo>
                  <a:lnTo>
                    <a:pt x="169" y="129"/>
                  </a:lnTo>
                  <a:lnTo>
                    <a:pt x="169" y="127"/>
                  </a:lnTo>
                  <a:lnTo>
                    <a:pt x="169" y="126"/>
                  </a:lnTo>
                  <a:lnTo>
                    <a:pt x="168" y="126"/>
                  </a:lnTo>
                  <a:lnTo>
                    <a:pt x="168" y="125"/>
                  </a:lnTo>
                  <a:lnTo>
                    <a:pt x="168" y="124"/>
                  </a:lnTo>
                  <a:lnTo>
                    <a:pt x="168" y="125"/>
                  </a:lnTo>
                  <a:lnTo>
                    <a:pt x="168" y="124"/>
                  </a:lnTo>
                  <a:lnTo>
                    <a:pt x="166" y="125"/>
                  </a:lnTo>
                  <a:lnTo>
                    <a:pt x="165" y="125"/>
                  </a:lnTo>
                  <a:lnTo>
                    <a:pt x="166" y="124"/>
                  </a:lnTo>
                  <a:lnTo>
                    <a:pt x="166" y="123"/>
                  </a:lnTo>
                  <a:lnTo>
                    <a:pt x="165" y="123"/>
                  </a:lnTo>
                  <a:lnTo>
                    <a:pt x="165" y="120"/>
                  </a:lnTo>
                  <a:lnTo>
                    <a:pt x="166" y="120"/>
                  </a:lnTo>
                  <a:lnTo>
                    <a:pt x="168" y="121"/>
                  </a:lnTo>
                  <a:lnTo>
                    <a:pt x="168" y="120"/>
                  </a:lnTo>
                  <a:lnTo>
                    <a:pt x="168" y="121"/>
                  </a:lnTo>
                  <a:lnTo>
                    <a:pt x="169" y="121"/>
                  </a:lnTo>
                  <a:lnTo>
                    <a:pt x="169" y="123"/>
                  </a:lnTo>
                  <a:lnTo>
                    <a:pt x="170" y="123"/>
                  </a:lnTo>
                  <a:lnTo>
                    <a:pt x="170" y="124"/>
                  </a:lnTo>
                  <a:lnTo>
                    <a:pt x="169" y="124"/>
                  </a:lnTo>
                  <a:lnTo>
                    <a:pt x="169" y="125"/>
                  </a:lnTo>
                  <a:lnTo>
                    <a:pt x="169" y="124"/>
                  </a:lnTo>
                  <a:lnTo>
                    <a:pt x="170" y="124"/>
                  </a:lnTo>
                  <a:lnTo>
                    <a:pt x="170" y="125"/>
                  </a:lnTo>
                  <a:lnTo>
                    <a:pt x="169" y="125"/>
                  </a:lnTo>
                  <a:lnTo>
                    <a:pt x="169" y="126"/>
                  </a:lnTo>
                  <a:lnTo>
                    <a:pt x="169" y="127"/>
                  </a:lnTo>
                  <a:lnTo>
                    <a:pt x="170" y="126"/>
                  </a:lnTo>
                  <a:lnTo>
                    <a:pt x="170" y="127"/>
                  </a:lnTo>
                  <a:lnTo>
                    <a:pt x="171" y="127"/>
                  </a:lnTo>
                  <a:lnTo>
                    <a:pt x="172" y="127"/>
                  </a:lnTo>
                  <a:lnTo>
                    <a:pt x="172" y="129"/>
                  </a:lnTo>
                  <a:lnTo>
                    <a:pt x="172" y="130"/>
                  </a:lnTo>
                  <a:lnTo>
                    <a:pt x="172" y="129"/>
                  </a:lnTo>
                  <a:lnTo>
                    <a:pt x="174" y="129"/>
                  </a:lnTo>
                  <a:lnTo>
                    <a:pt x="174" y="130"/>
                  </a:lnTo>
                  <a:lnTo>
                    <a:pt x="175" y="130"/>
                  </a:lnTo>
                  <a:lnTo>
                    <a:pt x="175" y="129"/>
                  </a:lnTo>
                  <a:lnTo>
                    <a:pt x="175" y="130"/>
                  </a:lnTo>
                  <a:lnTo>
                    <a:pt x="175" y="129"/>
                  </a:lnTo>
                  <a:lnTo>
                    <a:pt x="174" y="129"/>
                  </a:lnTo>
                  <a:lnTo>
                    <a:pt x="174" y="127"/>
                  </a:lnTo>
                  <a:lnTo>
                    <a:pt x="175" y="127"/>
                  </a:lnTo>
                  <a:lnTo>
                    <a:pt x="174" y="127"/>
                  </a:lnTo>
                  <a:lnTo>
                    <a:pt x="172" y="127"/>
                  </a:lnTo>
                  <a:lnTo>
                    <a:pt x="174" y="127"/>
                  </a:lnTo>
                  <a:lnTo>
                    <a:pt x="172" y="127"/>
                  </a:lnTo>
                  <a:lnTo>
                    <a:pt x="172" y="126"/>
                  </a:lnTo>
                  <a:lnTo>
                    <a:pt x="171" y="126"/>
                  </a:lnTo>
                  <a:lnTo>
                    <a:pt x="171" y="125"/>
                  </a:lnTo>
                  <a:lnTo>
                    <a:pt x="171" y="123"/>
                  </a:lnTo>
                  <a:lnTo>
                    <a:pt x="171" y="124"/>
                  </a:lnTo>
                  <a:lnTo>
                    <a:pt x="172" y="124"/>
                  </a:lnTo>
                  <a:lnTo>
                    <a:pt x="172" y="125"/>
                  </a:lnTo>
                  <a:lnTo>
                    <a:pt x="171" y="125"/>
                  </a:lnTo>
                  <a:lnTo>
                    <a:pt x="172" y="126"/>
                  </a:lnTo>
                  <a:lnTo>
                    <a:pt x="172" y="125"/>
                  </a:lnTo>
                  <a:lnTo>
                    <a:pt x="174" y="125"/>
                  </a:lnTo>
                  <a:lnTo>
                    <a:pt x="174" y="124"/>
                  </a:lnTo>
                  <a:lnTo>
                    <a:pt x="175" y="124"/>
                  </a:lnTo>
                  <a:lnTo>
                    <a:pt x="175" y="125"/>
                  </a:lnTo>
                  <a:lnTo>
                    <a:pt x="176" y="125"/>
                  </a:lnTo>
                  <a:lnTo>
                    <a:pt x="177" y="125"/>
                  </a:lnTo>
                  <a:lnTo>
                    <a:pt x="177" y="126"/>
                  </a:lnTo>
                  <a:lnTo>
                    <a:pt x="176" y="126"/>
                  </a:lnTo>
                  <a:lnTo>
                    <a:pt x="176" y="127"/>
                  </a:lnTo>
                  <a:lnTo>
                    <a:pt x="177" y="129"/>
                  </a:lnTo>
                  <a:lnTo>
                    <a:pt x="178" y="127"/>
                  </a:lnTo>
                  <a:lnTo>
                    <a:pt x="178" y="126"/>
                  </a:lnTo>
                  <a:lnTo>
                    <a:pt x="180" y="125"/>
                  </a:lnTo>
                  <a:lnTo>
                    <a:pt x="178" y="125"/>
                  </a:lnTo>
                  <a:lnTo>
                    <a:pt x="180" y="125"/>
                  </a:lnTo>
                  <a:lnTo>
                    <a:pt x="180" y="124"/>
                  </a:lnTo>
                  <a:lnTo>
                    <a:pt x="180" y="123"/>
                  </a:lnTo>
                  <a:lnTo>
                    <a:pt x="180" y="124"/>
                  </a:lnTo>
                  <a:lnTo>
                    <a:pt x="180" y="123"/>
                  </a:lnTo>
                  <a:lnTo>
                    <a:pt x="180" y="121"/>
                  </a:lnTo>
                  <a:lnTo>
                    <a:pt x="180" y="120"/>
                  </a:lnTo>
                  <a:lnTo>
                    <a:pt x="178" y="120"/>
                  </a:lnTo>
                  <a:lnTo>
                    <a:pt x="177" y="119"/>
                  </a:lnTo>
                  <a:lnTo>
                    <a:pt x="177" y="118"/>
                  </a:lnTo>
                  <a:lnTo>
                    <a:pt x="177" y="117"/>
                  </a:lnTo>
                  <a:lnTo>
                    <a:pt x="176" y="117"/>
                  </a:lnTo>
                  <a:lnTo>
                    <a:pt x="175" y="115"/>
                  </a:lnTo>
                  <a:lnTo>
                    <a:pt x="176" y="115"/>
                  </a:lnTo>
                  <a:lnTo>
                    <a:pt x="177" y="115"/>
                  </a:lnTo>
                  <a:lnTo>
                    <a:pt x="180" y="115"/>
                  </a:lnTo>
                  <a:lnTo>
                    <a:pt x="182" y="115"/>
                  </a:lnTo>
                  <a:lnTo>
                    <a:pt x="181" y="115"/>
                  </a:lnTo>
                  <a:lnTo>
                    <a:pt x="182" y="117"/>
                  </a:lnTo>
                  <a:lnTo>
                    <a:pt x="182" y="115"/>
                  </a:lnTo>
                  <a:lnTo>
                    <a:pt x="182" y="114"/>
                  </a:lnTo>
                  <a:lnTo>
                    <a:pt x="183" y="114"/>
                  </a:lnTo>
                  <a:lnTo>
                    <a:pt x="183" y="115"/>
                  </a:lnTo>
                  <a:lnTo>
                    <a:pt x="184" y="115"/>
                  </a:lnTo>
                  <a:lnTo>
                    <a:pt x="184" y="117"/>
                  </a:lnTo>
                  <a:lnTo>
                    <a:pt x="184" y="115"/>
                  </a:lnTo>
                  <a:lnTo>
                    <a:pt x="184" y="114"/>
                  </a:lnTo>
                  <a:lnTo>
                    <a:pt x="186" y="114"/>
                  </a:lnTo>
                  <a:lnTo>
                    <a:pt x="184" y="115"/>
                  </a:lnTo>
                  <a:lnTo>
                    <a:pt x="186" y="117"/>
                  </a:lnTo>
                  <a:lnTo>
                    <a:pt x="186" y="115"/>
                  </a:lnTo>
                  <a:lnTo>
                    <a:pt x="186" y="114"/>
                  </a:lnTo>
                  <a:lnTo>
                    <a:pt x="184" y="114"/>
                  </a:lnTo>
                  <a:lnTo>
                    <a:pt x="184" y="113"/>
                  </a:lnTo>
                  <a:lnTo>
                    <a:pt x="186" y="113"/>
                  </a:lnTo>
                  <a:lnTo>
                    <a:pt x="184" y="113"/>
                  </a:lnTo>
                  <a:lnTo>
                    <a:pt x="183" y="113"/>
                  </a:lnTo>
                  <a:lnTo>
                    <a:pt x="182" y="112"/>
                  </a:lnTo>
                  <a:lnTo>
                    <a:pt x="182" y="113"/>
                  </a:lnTo>
                  <a:lnTo>
                    <a:pt x="182" y="114"/>
                  </a:lnTo>
                  <a:lnTo>
                    <a:pt x="182" y="113"/>
                  </a:lnTo>
                  <a:lnTo>
                    <a:pt x="182" y="114"/>
                  </a:lnTo>
                  <a:lnTo>
                    <a:pt x="183" y="113"/>
                  </a:lnTo>
                  <a:lnTo>
                    <a:pt x="183" y="114"/>
                  </a:lnTo>
                  <a:lnTo>
                    <a:pt x="181" y="115"/>
                  </a:lnTo>
                  <a:lnTo>
                    <a:pt x="177" y="115"/>
                  </a:lnTo>
                  <a:lnTo>
                    <a:pt x="177" y="114"/>
                  </a:lnTo>
                  <a:lnTo>
                    <a:pt x="177" y="113"/>
                  </a:lnTo>
                  <a:lnTo>
                    <a:pt x="177" y="114"/>
                  </a:lnTo>
                  <a:lnTo>
                    <a:pt x="176" y="114"/>
                  </a:lnTo>
                  <a:lnTo>
                    <a:pt x="177" y="113"/>
                  </a:lnTo>
                  <a:lnTo>
                    <a:pt x="176" y="112"/>
                  </a:lnTo>
                  <a:lnTo>
                    <a:pt x="177" y="112"/>
                  </a:lnTo>
                  <a:lnTo>
                    <a:pt x="177" y="110"/>
                  </a:lnTo>
                  <a:lnTo>
                    <a:pt x="177" y="109"/>
                  </a:lnTo>
                  <a:lnTo>
                    <a:pt x="177" y="108"/>
                  </a:lnTo>
                  <a:lnTo>
                    <a:pt x="176" y="109"/>
                  </a:lnTo>
                  <a:lnTo>
                    <a:pt x="177" y="108"/>
                  </a:lnTo>
                  <a:lnTo>
                    <a:pt x="177" y="107"/>
                  </a:lnTo>
                  <a:lnTo>
                    <a:pt x="177" y="106"/>
                  </a:lnTo>
                  <a:lnTo>
                    <a:pt x="176" y="106"/>
                  </a:lnTo>
                  <a:lnTo>
                    <a:pt x="175" y="106"/>
                  </a:lnTo>
                  <a:lnTo>
                    <a:pt x="175" y="104"/>
                  </a:lnTo>
                  <a:lnTo>
                    <a:pt x="174" y="104"/>
                  </a:lnTo>
                  <a:lnTo>
                    <a:pt x="174" y="103"/>
                  </a:lnTo>
                  <a:lnTo>
                    <a:pt x="172" y="102"/>
                  </a:lnTo>
                  <a:lnTo>
                    <a:pt x="171" y="102"/>
                  </a:lnTo>
                  <a:lnTo>
                    <a:pt x="172" y="103"/>
                  </a:lnTo>
                  <a:lnTo>
                    <a:pt x="171" y="103"/>
                  </a:lnTo>
                  <a:lnTo>
                    <a:pt x="170" y="103"/>
                  </a:lnTo>
                  <a:lnTo>
                    <a:pt x="169" y="103"/>
                  </a:lnTo>
                  <a:lnTo>
                    <a:pt x="168" y="102"/>
                  </a:lnTo>
                  <a:lnTo>
                    <a:pt x="168" y="101"/>
                  </a:lnTo>
                  <a:lnTo>
                    <a:pt x="169" y="101"/>
                  </a:lnTo>
                  <a:lnTo>
                    <a:pt x="168" y="100"/>
                  </a:lnTo>
                  <a:lnTo>
                    <a:pt x="169" y="100"/>
                  </a:lnTo>
                  <a:lnTo>
                    <a:pt x="169" y="101"/>
                  </a:lnTo>
                  <a:lnTo>
                    <a:pt x="169" y="102"/>
                  </a:lnTo>
                  <a:lnTo>
                    <a:pt x="170" y="101"/>
                  </a:lnTo>
                  <a:lnTo>
                    <a:pt x="169" y="100"/>
                  </a:lnTo>
                  <a:lnTo>
                    <a:pt x="170" y="100"/>
                  </a:lnTo>
                  <a:lnTo>
                    <a:pt x="169" y="98"/>
                  </a:lnTo>
                  <a:lnTo>
                    <a:pt x="169" y="97"/>
                  </a:lnTo>
                  <a:lnTo>
                    <a:pt x="170" y="97"/>
                  </a:lnTo>
                  <a:lnTo>
                    <a:pt x="170" y="98"/>
                  </a:lnTo>
                  <a:lnTo>
                    <a:pt x="170" y="100"/>
                  </a:lnTo>
                  <a:lnTo>
                    <a:pt x="170" y="98"/>
                  </a:lnTo>
                  <a:lnTo>
                    <a:pt x="170" y="97"/>
                  </a:lnTo>
                  <a:lnTo>
                    <a:pt x="169" y="96"/>
                  </a:lnTo>
                  <a:lnTo>
                    <a:pt x="169" y="95"/>
                  </a:lnTo>
                  <a:lnTo>
                    <a:pt x="166" y="94"/>
                  </a:lnTo>
                  <a:lnTo>
                    <a:pt x="165" y="94"/>
                  </a:lnTo>
                  <a:lnTo>
                    <a:pt x="164" y="94"/>
                  </a:lnTo>
                  <a:lnTo>
                    <a:pt x="164" y="92"/>
                  </a:lnTo>
                  <a:lnTo>
                    <a:pt x="164" y="94"/>
                  </a:lnTo>
                  <a:lnTo>
                    <a:pt x="163" y="92"/>
                  </a:lnTo>
                  <a:lnTo>
                    <a:pt x="161" y="91"/>
                  </a:lnTo>
                  <a:lnTo>
                    <a:pt x="163" y="91"/>
                  </a:lnTo>
                  <a:lnTo>
                    <a:pt x="163" y="90"/>
                  </a:lnTo>
                  <a:lnTo>
                    <a:pt x="163" y="89"/>
                  </a:lnTo>
                  <a:lnTo>
                    <a:pt x="161" y="89"/>
                  </a:lnTo>
                  <a:lnTo>
                    <a:pt x="163" y="89"/>
                  </a:lnTo>
                  <a:lnTo>
                    <a:pt x="161" y="89"/>
                  </a:lnTo>
                  <a:lnTo>
                    <a:pt x="160" y="89"/>
                  </a:lnTo>
                  <a:lnTo>
                    <a:pt x="160" y="88"/>
                  </a:lnTo>
                  <a:lnTo>
                    <a:pt x="163" y="86"/>
                  </a:lnTo>
                  <a:lnTo>
                    <a:pt x="163" y="88"/>
                  </a:lnTo>
                  <a:lnTo>
                    <a:pt x="163" y="86"/>
                  </a:lnTo>
                  <a:lnTo>
                    <a:pt x="164" y="88"/>
                  </a:lnTo>
                  <a:lnTo>
                    <a:pt x="165" y="88"/>
                  </a:lnTo>
                  <a:lnTo>
                    <a:pt x="165" y="86"/>
                  </a:lnTo>
                  <a:lnTo>
                    <a:pt x="165" y="85"/>
                  </a:lnTo>
                  <a:lnTo>
                    <a:pt x="165" y="86"/>
                  </a:lnTo>
                  <a:lnTo>
                    <a:pt x="166" y="85"/>
                  </a:lnTo>
                  <a:lnTo>
                    <a:pt x="168" y="85"/>
                  </a:lnTo>
                  <a:lnTo>
                    <a:pt x="168" y="86"/>
                  </a:lnTo>
                  <a:lnTo>
                    <a:pt x="169" y="86"/>
                  </a:lnTo>
                  <a:lnTo>
                    <a:pt x="169" y="85"/>
                  </a:lnTo>
                  <a:lnTo>
                    <a:pt x="168" y="85"/>
                  </a:lnTo>
                  <a:lnTo>
                    <a:pt x="168" y="84"/>
                  </a:lnTo>
                  <a:lnTo>
                    <a:pt x="170" y="85"/>
                  </a:lnTo>
                  <a:lnTo>
                    <a:pt x="171" y="85"/>
                  </a:lnTo>
                  <a:lnTo>
                    <a:pt x="171" y="84"/>
                  </a:lnTo>
                  <a:lnTo>
                    <a:pt x="171" y="85"/>
                  </a:lnTo>
                  <a:lnTo>
                    <a:pt x="172" y="84"/>
                  </a:lnTo>
                  <a:lnTo>
                    <a:pt x="175" y="85"/>
                  </a:lnTo>
                  <a:lnTo>
                    <a:pt x="175" y="86"/>
                  </a:lnTo>
                  <a:lnTo>
                    <a:pt x="175" y="88"/>
                  </a:lnTo>
                  <a:lnTo>
                    <a:pt x="176" y="86"/>
                  </a:lnTo>
                  <a:lnTo>
                    <a:pt x="176" y="85"/>
                  </a:lnTo>
                  <a:lnTo>
                    <a:pt x="175" y="84"/>
                  </a:lnTo>
                  <a:lnTo>
                    <a:pt x="176" y="85"/>
                  </a:lnTo>
                  <a:lnTo>
                    <a:pt x="177" y="85"/>
                  </a:lnTo>
                  <a:lnTo>
                    <a:pt x="177" y="88"/>
                  </a:lnTo>
                  <a:lnTo>
                    <a:pt x="178" y="86"/>
                  </a:lnTo>
                  <a:lnTo>
                    <a:pt x="178" y="88"/>
                  </a:lnTo>
                  <a:lnTo>
                    <a:pt x="178" y="89"/>
                  </a:lnTo>
                  <a:lnTo>
                    <a:pt x="180" y="88"/>
                  </a:lnTo>
                  <a:lnTo>
                    <a:pt x="180" y="86"/>
                  </a:lnTo>
                  <a:lnTo>
                    <a:pt x="181" y="86"/>
                  </a:lnTo>
                  <a:lnTo>
                    <a:pt x="181" y="88"/>
                  </a:lnTo>
                  <a:lnTo>
                    <a:pt x="181" y="86"/>
                  </a:lnTo>
                  <a:lnTo>
                    <a:pt x="182" y="85"/>
                  </a:lnTo>
                  <a:lnTo>
                    <a:pt x="182" y="86"/>
                  </a:lnTo>
                  <a:lnTo>
                    <a:pt x="182" y="88"/>
                  </a:lnTo>
                  <a:lnTo>
                    <a:pt x="182" y="86"/>
                  </a:lnTo>
                  <a:lnTo>
                    <a:pt x="182" y="85"/>
                  </a:lnTo>
                  <a:lnTo>
                    <a:pt x="183" y="85"/>
                  </a:lnTo>
                  <a:lnTo>
                    <a:pt x="183" y="86"/>
                  </a:lnTo>
                  <a:lnTo>
                    <a:pt x="184" y="88"/>
                  </a:lnTo>
                  <a:lnTo>
                    <a:pt x="184" y="86"/>
                  </a:lnTo>
                  <a:lnTo>
                    <a:pt x="184" y="85"/>
                  </a:lnTo>
                  <a:lnTo>
                    <a:pt x="184" y="84"/>
                  </a:lnTo>
                  <a:lnTo>
                    <a:pt x="186" y="84"/>
                  </a:lnTo>
                  <a:lnTo>
                    <a:pt x="186" y="85"/>
                  </a:lnTo>
                  <a:lnTo>
                    <a:pt x="187" y="85"/>
                  </a:lnTo>
                  <a:lnTo>
                    <a:pt x="187" y="86"/>
                  </a:lnTo>
                  <a:lnTo>
                    <a:pt x="188" y="85"/>
                  </a:lnTo>
                  <a:lnTo>
                    <a:pt x="187" y="84"/>
                  </a:lnTo>
                  <a:lnTo>
                    <a:pt x="188" y="84"/>
                  </a:lnTo>
                  <a:lnTo>
                    <a:pt x="189" y="84"/>
                  </a:lnTo>
                  <a:lnTo>
                    <a:pt x="189" y="85"/>
                  </a:lnTo>
                  <a:lnTo>
                    <a:pt x="190" y="84"/>
                  </a:lnTo>
                  <a:lnTo>
                    <a:pt x="189" y="83"/>
                  </a:lnTo>
                  <a:lnTo>
                    <a:pt x="189" y="82"/>
                  </a:lnTo>
                  <a:lnTo>
                    <a:pt x="188" y="82"/>
                  </a:lnTo>
                  <a:lnTo>
                    <a:pt x="187" y="83"/>
                  </a:lnTo>
                  <a:lnTo>
                    <a:pt x="186" y="83"/>
                  </a:lnTo>
                  <a:lnTo>
                    <a:pt x="184" y="83"/>
                  </a:lnTo>
                  <a:lnTo>
                    <a:pt x="183" y="83"/>
                  </a:lnTo>
                  <a:lnTo>
                    <a:pt x="183" y="82"/>
                  </a:lnTo>
                  <a:lnTo>
                    <a:pt x="182" y="82"/>
                  </a:lnTo>
                  <a:lnTo>
                    <a:pt x="182" y="83"/>
                  </a:lnTo>
                  <a:lnTo>
                    <a:pt x="181" y="83"/>
                  </a:lnTo>
                  <a:lnTo>
                    <a:pt x="181" y="82"/>
                  </a:lnTo>
                  <a:lnTo>
                    <a:pt x="181" y="83"/>
                  </a:lnTo>
                  <a:lnTo>
                    <a:pt x="180" y="83"/>
                  </a:lnTo>
                  <a:lnTo>
                    <a:pt x="178" y="83"/>
                  </a:lnTo>
                  <a:lnTo>
                    <a:pt x="178" y="82"/>
                  </a:lnTo>
                  <a:lnTo>
                    <a:pt x="177" y="82"/>
                  </a:lnTo>
                  <a:lnTo>
                    <a:pt x="177" y="83"/>
                  </a:lnTo>
                  <a:lnTo>
                    <a:pt x="176" y="83"/>
                  </a:lnTo>
                  <a:lnTo>
                    <a:pt x="177" y="82"/>
                  </a:lnTo>
                  <a:lnTo>
                    <a:pt x="176" y="83"/>
                  </a:lnTo>
                  <a:lnTo>
                    <a:pt x="176" y="82"/>
                  </a:lnTo>
                  <a:lnTo>
                    <a:pt x="175" y="82"/>
                  </a:lnTo>
                  <a:lnTo>
                    <a:pt x="176" y="82"/>
                  </a:lnTo>
                  <a:lnTo>
                    <a:pt x="176" y="80"/>
                  </a:lnTo>
                  <a:lnTo>
                    <a:pt x="175" y="82"/>
                  </a:lnTo>
                  <a:lnTo>
                    <a:pt x="174" y="82"/>
                  </a:lnTo>
                  <a:lnTo>
                    <a:pt x="172" y="82"/>
                  </a:lnTo>
                  <a:lnTo>
                    <a:pt x="172" y="83"/>
                  </a:lnTo>
                  <a:lnTo>
                    <a:pt x="172" y="82"/>
                  </a:lnTo>
                  <a:lnTo>
                    <a:pt x="171" y="82"/>
                  </a:lnTo>
                  <a:lnTo>
                    <a:pt x="170" y="82"/>
                  </a:lnTo>
                  <a:lnTo>
                    <a:pt x="170" y="80"/>
                  </a:lnTo>
                  <a:lnTo>
                    <a:pt x="169" y="79"/>
                  </a:lnTo>
                  <a:lnTo>
                    <a:pt x="170" y="79"/>
                  </a:lnTo>
                  <a:lnTo>
                    <a:pt x="171" y="79"/>
                  </a:lnTo>
                  <a:lnTo>
                    <a:pt x="171" y="78"/>
                  </a:lnTo>
                  <a:lnTo>
                    <a:pt x="172" y="78"/>
                  </a:lnTo>
                  <a:lnTo>
                    <a:pt x="172" y="79"/>
                  </a:lnTo>
                  <a:lnTo>
                    <a:pt x="172" y="78"/>
                  </a:lnTo>
                  <a:lnTo>
                    <a:pt x="172" y="77"/>
                  </a:lnTo>
                  <a:lnTo>
                    <a:pt x="174" y="77"/>
                  </a:lnTo>
                  <a:lnTo>
                    <a:pt x="175" y="78"/>
                  </a:lnTo>
                  <a:lnTo>
                    <a:pt x="176" y="77"/>
                  </a:lnTo>
                  <a:lnTo>
                    <a:pt x="176" y="78"/>
                  </a:lnTo>
                  <a:lnTo>
                    <a:pt x="177" y="78"/>
                  </a:lnTo>
                  <a:lnTo>
                    <a:pt x="177" y="77"/>
                  </a:lnTo>
                  <a:lnTo>
                    <a:pt x="178" y="78"/>
                  </a:lnTo>
                  <a:lnTo>
                    <a:pt x="180" y="78"/>
                  </a:lnTo>
                  <a:lnTo>
                    <a:pt x="180" y="77"/>
                  </a:lnTo>
                  <a:lnTo>
                    <a:pt x="181" y="77"/>
                  </a:lnTo>
                  <a:lnTo>
                    <a:pt x="182" y="77"/>
                  </a:lnTo>
                  <a:lnTo>
                    <a:pt x="183" y="77"/>
                  </a:lnTo>
                  <a:lnTo>
                    <a:pt x="184" y="78"/>
                  </a:lnTo>
                  <a:lnTo>
                    <a:pt x="184" y="79"/>
                  </a:lnTo>
                  <a:lnTo>
                    <a:pt x="184" y="78"/>
                  </a:lnTo>
                  <a:lnTo>
                    <a:pt x="184" y="77"/>
                  </a:lnTo>
                  <a:lnTo>
                    <a:pt x="183" y="77"/>
                  </a:lnTo>
                  <a:lnTo>
                    <a:pt x="183" y="76"/>
                  </a:lnTo>
                  <a:lnTo>
                    <a:pt x="182" y="74"/>
                  </a:lnTo>
                  <a:lnTo>
                    <a:pt x="182" y="76"/>
                  </a:lnTo>
                  <a:lnTo>
                    <a:pt x="182" y="77"/>
                  </a:lnTo>
                  <a:lnTo>
                    <a:pt x="182" y="76"/>
                  </a:lnTo>
                  <a:lnTo>
                    <a:pt x="181" y="77"/>
                  </a:lnTo>
                  <a:lnTo>
                    <a:pt x="180" y="76"/>
                  </a:lnTo>
                  <a:lnTo>
                    <a:pt x="178" y="76"/>
                  </a:lnTo>
                  <a:lnTo>
                    <a:pt x="177" y="76"/>
                  </a:lnTo>
                  <a:lnTo>
                    <a:pt x="177" y="77"/>
                  </a:lnTo>
                  <a:lnTo>
                    <a:pt x="177" y="76"/>
                  </a:lnTo>
                  <a:lnTo>
                    <a:pt x="177" y="74"/>
                  </a:lnTo>
                  <a:lnTo>
                    <a:pt x="180" y="73"/>
                  </a:lnTo>
                  <a:lnTo>
                    <a:pt x="183" y="73"/>
                  </a:lnTo>
                  <a:lnTo>
                    <a:pt x="184" y="73"/>
                  </a:lnTo>
                  <a:lnTo>
                    <a:pt x="186" y="73"/>
                  </a:lnTo>
                  <a:lnTo>
                    <a:pt x="184" y="73"/>
                  </a:lnTo>
                  <a:lnTo>
                    <a:pt x="184" y="72"/>
                  </a:lnTo>
                  <a:lnTo>
                    <a:pt x="187" y="72"/>
                  </a:lnTo>
                  <a:lnTo>
                    <a:pt x="188" y="72"/>
                  </a:lnTo>
                  <a:lnTo>
                    <a:pt x="188" y="73"/>
                  </a:lnTo>
                  <a:lnTo>
                    <a:pt x="188" y="72"/>
                  </a:lnTo>
                  <a:lnTo>
                    <a:pt x="189" y="72"/>
                  </a:lnTo>
                  <a:lnTo>
                    <a:pt x="190" y="72"/>
                  </a:lnTo>
                  <a:lnTo>
                    <a:pt x="190" y="73"/>
                  </a:lnTo>
                  <a:lnTo>
                    <a:pt x="190" y="74"/>
                  </a:lnTo>
                  <a:lnTo>
                    <a:pt x="190" y="73"/>
                  </a:lnTo>
                  <a:lnTo>
                    <a:pt x="189" y="72"/>
                  </a:lnTo>
                  <a:lnTo>
                    <a:pt x="190" y="72"/>
                  </a:lnTo>
                  <a:lnTo>
                    <a:pt x="192" y="72"/>
                  </a:lnTo>
                  <a:lnTo>
                    <a:pt x="192" y="74"/>
                  </a:lnTo>
                  <a:lnTo>
                    <a:pt x="192" y="73"/>
                  </a:lnTo>
                  <a:lnTo>
                    <a:pt x="192" y="74"/>
                  </a:lnTo>
                  <a:lnTo>
                    <a:pt x="192" y="73"/>
                  </a:lnTo>
                  <a:lnTo>
                    <a:pt x="192" y="72"/>
                  </a:lnTo>
                  <a:lnTo>
                    <a:pt x="193" y="71"/>
                  </a:lnTo>
                  <a:lnTo>
                    <a:pt x="190" y="72"/>
                  </a:lnTo>
                  <a:lnTo>
                    <a:pt x="189" y="72"/>
                  </a:lnTo>
                  <a:lnTo>
                    <a:pt x="189" y="71"/>
                  </a:lnTo>
                  <a:lnTo>
                    <a:pt x="189" y="72"/>
                  </a:lnTo>
                  <a:lnTo>
                    <a:pt x="189" y="71"/>
                  </a:lnTo>
                  <a:lnTo>
                    <a:pt x="188" y="72"/>
                  </a:lnTo>
                  <a:lnTo>
                    <a:pt x="187" y="72"/>
                  </a:lnTo>
                  <a:lnTo>
                    <a:pt x="184" y="72"/>
                  </a:lnTo>
                  <a:lnTo>
                    <a:pt x="187" y="70"/>
                  </a:lnTo>
                  <a:lnTo>
                    <a:pt x="188" y="70"/>
                  </a:lnTo>
                  <a:lnTo>
                    <a:pt x="188" y="68"/>
                  </a:lnTo>
                  <a:lnTo>
                    <a:pt x="189" y="68"/>
                  </a:lnTo>
                  <a:lnTo>
                    <a:pt x="190" y="68"/>
                  </a:lnTo>
                  <a:lnTo>
                    <a:pt x="192" y="68"/>
                  </a:lnTo>
                  <a:lnTo>
                    <a:pt x="192" y="67"/>
                  </a:lnTo>
                  <a:lnTo>
                    <a:pt x="190" y="67"/>
                  </a:lnTo>
                  <a:lnTo>
                    <a:pt x="189" y="67"/>
                  </a:lnTo>
                  <a:lnTo>
                    <a:pt x="189" y="68"/>
                  </a:lnTo>
                  <a:lnTo>
                    <a:pt x="189" y="67"/>
                  </a:lnTo>
                  <a:lnTo>
                    <a:pt x="188" y="68"/>
                  </a:lnTo>
                  <a:lnTo>
                    <a:pt x="188" y="67"/>
                  </a:lnTo>
                  <a:lnTo>
                    <a:pt x="187" y="67"/>
                  </a:lnTo>
                  <a:lnTo>
                    <a:pt x="187" y="66"/>
                  </a:lnTo>
                  <a:lnTo>
                    <a:pt x="187" y="67"/>
                  </a:lnTo>
                  <a:lnTo>
                    <a:pt x="187" y="68"/>
                  </a:lnTo>
                  <a:lnTo>
                    <a:pt x="187" y="67"/>
                  </a:lnTo>
                  <a:lnTo>
                    <a:pt x="186" y="66"/>
                  </a:lnTo>
                  <a:lnTo>
                    <a:pt x="186" y="67"/>
                  </a:lnTo>
                  <a:lnTo>
                    <a:pt x="187" y="68"/>
                  </a:lnTo>
                  <a:lnTo>
                    <a:pt x="186" y="70"/>
                  </a:lnTo>
                  <a:lnTo>
                    <a:pt x="184" y="70"/>
                  </a:lnTo>
                  <a:lnTo>
                    <a:pt x="184" y="71"/>
                  </a:lnTo>
                  <a:lnTo>
                    <a:pt x="184" y="72"/>
                  </a:lnTo>
                  <a:lnTo>
                    <a:pt x="183" y="72"/>
                  </a:lnTo>
                  <a:lnTo>
                    <a:pt x="183" y="71"/>
                  </a:lnTo>
                  <a:lnTo>
                    <a:pt x="183" y="72"/>
                  </a:lnTo>
                  <a:lnTo>
                    <a:pt x="182" y="71"/>
                  </a:lnTo>
                  <a:lnTo>
                    <a:pt x="182" y="72"/>
                  </a:lnTo>
                  <a:lnTo>
                    <a:pt x="181" y="73"/>
                  </a:lnTo>
                  <a:lnTo>
                    <a:pt x="181" y="72"/>
                  </a:lnTo>
                  <a:lnTo>
                    <a:pt x="182" y="72"/>
                  </a:lnTo>
                  <a:lnTo>
                    <a:pt x="182" y="71"/>
                  </a:lnTo>
                  <a:lnTo>
                    <a:pt x="181" y="72"/>
                  </a:lnTo>
                  <a:lnTo>
                    <a:pt x="181" y="73"/>
                  </a:lnTo>
                  <a:lnTo>
                    <a:pt x="178" y="73"/>
                  </a:lnTo>
                  <a:lnTo>
                    <a:pt x="177" y="74"/>
                  </a:lnTo>
                  <a:lnTo>
                    <a:pt x="177" y="73"/>
                  </a:lnTo>
                  <a:lnTo>
                    <a:pt x="176" y="74"/>
                  </a:lnTo>
                  <a:lnTo>
                    <a:pt x="175" y="74"/>
                  </a:lnTo>
                  <a:lnTo>
                    <a:pt x="174" y="74"/>
                  </a:lnTo>
                  <a:lnTo>
                    <a:pt x="174" y="73"/>
                  </a:lnTo>
                  <a:lnTo>
                    <a:pt x="175" y="73"/>
                  </a:lnTo>
                  <a:lnTo>
                    <a:pt x="175" y="72"/>
                  </a:lnTo>
                  <a:lnTo>
                    <a:pt x="175" y="73"/>
                  </a:lnTo>
                  <a:lnTo>
                    <a:pt x="174" y="73"/>
                  </a:lnTo>
                  <a:lnTo>
                    <a:pt x="172" y="73"/>
                  </a:lnTo>
                  <a:lnTo>
                    <a:pt x="172" y="74"/>
                  </a:lnTo>
                  <a:lnTo>
                    <a:pt x="171" y="74"/>
                  </a:lnTo>
                  <a:lnTo>
                    <a:pt x="171" y="76"/>
                  </a:lnTo>
                  <a:lnTo>
                    <a:pt x="171" y="74"/>
                  </a:lnTo>
                  <a:lnTo>
                    <a:pt x="170" y="76"/>
                  </a:lnTo>
                  <a:lnTo>
                    <a:pt x="170" y="77"/>
                  </a:lnTo>
                  <a:lnTo>
                    <a:pt x="169" y="77"/>
                  </a:lnTo>
                  <a:lnTo>
                    <a:pt x="168" y="78"/>
                  </a:lnTo>
                  <a:lnTo>
                    <a:pt x="168" y="77"/>
                  </a:lnTo>
                  <a:lnTo>
                    <a:pt x="168" y="76"/>
                  </a:lnTo>
                  <a:lnTo>
                    <a:pt x="169" y="74"/>
                  </a:lnTo>
                  <a:lnTo>
                    <a:pt x="169" y="73"/>
                  </a:lnTo>
                  <a:lnTo>
                    <a:pt x="170" y="73"/>
                  </a:lnTo>
                  <a:lnTo>
                    <a:pt x="170" y="72"/>
                  </a:lnTo>
                  <a:lnTo>
                    <a:pt x="171" y="72"/>
                  </a:lnTo>
                  <a:lnTo>
                    <a:pt x="170" y="73"/>
                  </a:lnTo>
                  <a:lnTo>
                    <a:pt x="170" y="74"/>
                  </a:lnTo>
                  <a:lnTo>
                    <a:pt x="171" y="73"/>
                  </a:lnTo>
                  <a:lnTo>
                    <a:pt x="171" y="72"/>
                  </a:lnTo>
                  <a:lnTo>
                    <a:pt x="172" y="71"/>
                  </a:lnTo>
                  <a:lnTo>
                    <a:pt x="171" y="71"/>
                  </a:lnTo>
                  <a:lnTo>
                    <a:pt x="170" y="72"/>
                  </a:lnTo>
                  <a:lnTo>
                    <a:pt x="170" y="73"/>
                  </a:lnTo>
                  <a:lnTo>
                    <a:pt x="169" y="73"/>
                  </a:lnTo>
                  <a:lnTo>
                    <a:pt x="169" y="72"/>
                  </a:lnTo>
                  <a:lnTo>
                    <a:pt x="170" y="72"/>
                  </a:lnTo>
                  <a:lnTo>
                    <a:pt x="169" y="71"/>
                  </a:lnTo>
                  <a:lnTo>
                    <a:pt x="169" y="72"/>
                  </a:lnTo>
                  <a:lnTo>
                    <a:pt x="168" y="72"/>
                  </a:lnTo>
                  <a:lnTo>
                    <a:pt x="168" y="73"/>
                  </a:lnTo>
                  <a:lnTo>
                    <a:pt x="169" y="73"/>
                  </a:lnTo>
                  <a:lnTo>
                    <a:pt x="168" y="74"/>
                  </a:lnTo>
                  <a:lnTo>
                    <a:pt x="168" y="73"/>
                  </a:lnTo>
                  <a:lnTo>
                    <a:pt x="166" y="73"/>
                  </a:lnTo>
                  <a:lnTo>
                    <a:pt x="168" y="72"/>
                  </a:lnTo>
                  <a:lnTo>
                    <a:pt x="169" y="71"/>
                  </a:lnTo>
                  <a:lnTo>
                    <a:pt x="168" y="71"/>
                  </a:lnTo>
                  <a:lnTo>
                    <a:pt x="168" y="72"/>
                  </a:lnTo>
                  <a:lnTo>
                    <a:pt x="166" y="72"/>
                  </a:lnTo>
                  <a:lnTo>
                    <a:pt x="166" y="71"/>
                  </a:lnTo>
                  <a:lnTo>
                    <a:pt x="166" y="72"/>
                  </a:lnTo>
                  <a:lnTo>
                    <a:pt x="168" y="74"/>
                  </a:lnTo>
                  <a:lnTo>
                    <a:pt x="168" y="76"/>
                  </a:lnTo>
                  <a:lnTo>
                    <a:pt x="166" y="74"/>
                  </a:lnTo>
                  <a:lnTo>
                    <a:pt x="165" y="76"/>
                  </a:lnTo>
                  <a:lnTo>
                    <a:pt x="165" y="74"/>
                  </a:lnTo>
                  <a:lnTo>
                    <a:pt x="164" y="74"/>
                  </a:lnTo>
                  <a:lnTo>
                    <a:pt x="164" y="76"/>
                  </a:lnTo>
                  <a:lnTo>
                    <a:pt x="163" y="77"/>
                  </a:lnTo>
                  <a:lnTo>
                    <a:pt x="161" y="73"/>
                  </a:lnTo>
                  <a:lnTo>
                    <a:pt x="159" y="70"/>
                  </a:lnTo>
                  <a:lnTo>
                    <a:pt x="159" y="68"/>
                  </a:lnTo>
                  <a:lnTo>
                    <a:pt x="160" y="67"/>
                  </a:lnTo>
                  <a:lnTo>
                    <a:pt x="161" y="65"/>
                  </a:lnTo>
                  <a:lnTo>
                    <a:pt x="163" y="65"/>
                  </a:lnTo>
                  <a:lnTo>
                    <a:pt x="163" y="64"/>
                  </a:lnTo>
                  <a:lnTo>
                    <a:pt x="161" y="64"/>
                  </a:lnTo>
                  <a:lnTo>
                    <a:pt x="160" y="64"/>
                  </a:lnTo>
                  <a:lnTo>
                    <a:pt x="161" y="62"/>
                  </a:lnTo>
                  <a:lnTo>
                    <a:pt x="160" y="64"/>
                  </a:lnTo>
                  <a:lnTo>
                    <a:pt x="160" y="62"/>
                  </a:lnTo>
                  <a:lnTo>
                    <a:pt x="159" y="65"/>
                  </a:lnTo>
                  <a:lnTo>
                    <a:pt x="158" y="65"/>
                  </a:lnTo>
                  <a:lnTo>
                    <a:pt x="157" y="66"/>
                  </a:lnTo>
                  <a:lnTo>
                    <a:pt x="155" y="66"/>
                  </a:lnTo>
                  <a:lnTo>
                    <a:pt x="155" y="65"/>
                  </a:lnTo>
                  <a:lnTo>
                    <a:pt x="155" y="66"/>
                  </a:lnTo>
                  <a:lnTo>
                    <a:pt x="153" y="66"/>
                  </a:lnTo>
                  <a:lnTo>
                    <a:pt x="151" y="66"/>
                  </a:lnTo>
                  <a:lnTo>
                    <a:pt x="149" y="66"/>
                  </a:lnTo>
                  <a:lnTo>
                    <a:pt x="149" y="65"/>
                  </a:lnTo>
                  <a:lnTo>
                    <a:pt x="148" y="64"/>
                  </a:lnTo>
                  <a:lnTo>
                    <a:pt x="147" y="64"/>
                  </a:lnTo>
                  <a:lnTo>
                    <a:pt x="147" y="62"/>
                  </a:lnTo>
                  <a:lnTo>
                    <a:pt x="148" y="61"/>
                  </a:lnTo>
                  <a:lnTo>
                    <a:pt x="151" y="61"/>
                  </a:lnTo>
                  <a:lnTo>
                    <a:pt x="153" y="60"/>
                  </a:lnTo>
                  <a:lnTo>
                    <a:pt x="155" y="60"/>
                  </a:lnTo>
                  <a:lnTo>
                    <a:pt x="154" y="60"/>
                  </a:lnTo>
                  <a:lnTo>
                    <a:pt x="153" y="60"/>
                  </a:lnTo>
                  <a:lnTo>
                    <a:pt x="157" y="59"/>
                  </a:lnTo>
                  <a:lnTo>
                    <a:pt x="158" y="59"/>
                  </a:lnTo>
                  <a:lnTo>
                    <a:pt x="159" y="59"/>
                  </a:lnTo>
                  <a:lnTo>
                    <a:pt x="159" y="60"/>
                  </a:lnTo>
                  <a:lnTo>
                    <a:pt x="159" y="59"/>
                  </a:lnTo>
                  <a:lnTo>
                    <a:pt x="160" y="60"/>
                  </a:lnTo>
                  <a:lnTo>
                    <a:pt x="160" y="59"/>
                  </a:lnTo>
                  <a:lnTo>
                    <a:pt x="161" y="59"/>
                  </a:lnTo>
                  <a:lnTo>
                    <a:pt x="160" y="59"/>
                  </a:lnTo>
                  <a:lnTo>
                    <a:pt x="160" y="58"/>
                  </a:lnTo>
                  <a:lnTo>
                    <a:pt x="161" y="58"/>
                  </a:lnTo>
                  <a:lnTo>
                    <a:pt x="161" y="56"/>
                  </a:lnTo>
                  <a:lnTo>
                    <a:pt x="161" y="55"/>
                  </a:lnTo>
                  <a:lnTo>
                    <a:pt x="160" y="55"/>
                  </a:lnTo>
                  <a:lnTo>
                    <a:pt x="159" y="55"/>
                  </a:lnTo>
                  <a:lnTo>
                    <a:pt x="159" y="54"/>
                  </a:lnTo>
                  <a:lnTo>
                    <a:pt x="158" y="53"/>
                  </a:lnTo>
                  <a:lnTo>
                    <a:pt x="159" y="53"/>
                  </a:lnTo>
                  <a:lnTo>
                    <a:pt x="160" y="54"/>
                  </a:lnTo>
                  <a:lnTo>
                    <a:pt x="160" y="53"/>
                  </a:lnTo>
                  <a:lnTo>
                    <a:pt x="160" y="52"/>
                  </a:lnTo>
                  <a:lnTo>
                    <a:pt x="159" y="52"/>
                  </a:lnTo>
                  <a:lnTo>
                    <a:pt x="159" y="50"/>
                  </a:lnTo>
                  <a:lnTo>
                    <a:pt x="158" y="50"/>
                  </a:lnTo>
                  <a:lnTo>
                    <a:pt x="158" y="52"/>
                  </a:lnTo>
                  <a:lnTo>
                    <a:pt x="157" y="52"/>
                  </a:lnTo>
                  <a:lnTo>
                    <a:pt x="157" y="50"/>
                  </a:lnTo>
                  <a:lnTo>
                    <a:pt x="155" y="50"/>
                  </a:lnTo>
                  <a:lnTo>
                    <a:pt x="155" y="52"/>
                  </a:lnTo>
                  <a:lnTo>
                    <a:pt x="154" y="52"/>
                  </a:lnTo>
                  <a:lnTo>
                    <a:pt x="154" y="50"/>
                  </a:lnTo>
                  <a:lnTo>
                    <a:pt x="154" y="52"/>
                  </a:lnTo>
                  <a:lnTo>
                    <a:pt x="153" y="53"/>
                  </a:lnTo>
                  <a:lnTo>
                    <a:pt x="152" y="53"/>
                  </a:lnTo>
                  <a:lnTo>
                    <a:pt x="151" y="53"/>
                  </a:lnTo>
                  <a:lnTo>
                    <a:pt x="151" y="52"/>
                  </a:lnTo>
                  <a:lnTo>
                    <a:pt x="149" y="52"/>
                  </a:lnTo>
                  <a:lnTo>
                    <a:pt x="149" y="53"/>
                  </a:lnTo>
                  <a:lnTo>
                    <a:pt x="149" y="54"/>
                  </a:lnTo>
                  <a:lnTo>
                    <a:pt x="149" y="55"/>
                  </a:lnTo>
                  <a:lnTo>
                    <a:pt x="148" y="54"/>
                  </a:lnTo>
                  <a:lnTo>
                    <a:pt x="148" y="53"/>
                  </a:lnTo>
                  <a:lnTo>
                    <a:pt x="148" y="52"/>
                  </a:lnTo>
                  <a:lnTo>
                    <a:pt x="147" y="52"/>
                  </a:lnTo>
                  <a:lnTo>
                    <a:pt x="146" y="52"/>
                  </a:lnTo>
                  <a:lnTo>
                    <a:pt x="146" y="50"/>
                  </a:lnTo>
                  <a:lnTo>
                    <a:pt x="145" y="50"/>
                  </a:lnTo>
                  <a:lnTo>
                    <a:pt x="143" y="52"/>
                  </a:lnTo>
                  <a:lnTo>
                    <a:pt x="145" y="53"/>
                  </a:lnTo>
                  <a:lnTo>
                    <a:pt x="143" y="53"/>
                  </a:lnTo>
                  <a:lnTo>
                    <a:pt x="143" y="54"/>
                  </a:lnTo>
                  <a:lnTo>
                    <a:pt x="142" y="54"/>
                  </a:lnTo>
                  <a:lnTo>
                    <a:pt x="142" y="53"/>
                  </a:lnTo>
                  <a:lnTo>
                    <a:pt x="141" y="53"/>
                  </a:lnTo>
                  <a:lnTo>
                    <a:pt x="141" y="50"/>
                  </a:lnTo>
                  <a:lnTo>
                    <a:pt x="141" y="49"/>
                  </a:lnTo>
                  <a:lnTo>
                    <a:pt x="141" y="50"/>
                  </a:lnTo>
                  <a:lnTo>
                    <a:pt x="141" y="49"/>
                  </a:lnTo>
                  <a:lnTo>
                    <a:pt x="141" y="48"/>
                  </a:lnTo>
                  <a:lnTo>
                    <a:pt x="142" y="48"/>
                  </a:lnTo>
                  <a:lnTo>
                    <a:pt x="143" y="48"/>
                  </a:lnTo>
                  <a:lnTo>
                    <a:pt x="143" y="49"/>
                  </a:lnTo>
                  <a:lnTo>
                    <a:pt x="143" y="48"/>
                  </a:lnTo>
                  <a:lnTo>
                    <a:pt x="143" y="47"/>
                  </a:lnTo>
                  <a:lnTo>
                    <a:pt x="142" y="48"/>
                  </a:lnTo>
                  <a:lnTo>
                    <a:pt x="141" y="48"/>
                  </a:lnTo>
                  <a:lnTo>
                    <a:pt x="141" y="47"/>
                  </a:lnTo>
                  <a:lnTo>
                    <a:pt x="141" y="46"/>
                  </a:lnTo>
                  <a:lnTo>
                    <a:pt x="142" y="46"/>
                  </a:lnTo>
                  <a:lnTo>
                    <a:pt x="142" y="47"/>
                  </a:lnTo>
                  <a:lnTo>
                    <a:pt x="143" y="47"/>
                  </a:lnTo>
                  <a:lnTo>
                    <a:pt x="143" y="46"/>
                  </a:lnTo>
                  <a:lnTo>
                    <a:pt x="142" y="46"/>
                  </a:lnTo>
                  <a:lnTo>
                    <a:pt x="143" y="44"/>
                  </a:lnTo>
                  <a:lnTo>
                    <a:pt x="145" y="44"/>
                  </a:lnTo>
                  <a:lnTo>
                    <a:pt x="146" y="43"/>
                  </a:lnTo>
                  <a:lnTo>
                    <a:pt x="147" y="43"/>
                  </a:lnTo>
                  <a:lnTo>
                    <a:pt x="147" y="44"/>
                  </a:lnTo>
                  <a:lnTo>
                    <a:pt x="148" y="43"/>
                  </a:lnTo>
                  <a:lnTo>
                    <a:pt x="148" y="42"/>
                  </a:lnTo>
                  <a:lnTo>
                    <a:pt x="147" y="42"/>
                  </a:lnTo>
                  <a:lnTo>
                    <a:pt x="146" y="42"/>
                  </a:lnTo>
                  <a:lnTo>
                    <a:pt x="146" y="43"/>
                  </a:lnTo>
                  <a:lnTo>
                    <a:pt x="145" y="43"/>
                  </a:lnTo>
                  <a:lnTo>
                    <a:pt x="143" y="43"/>
                  </a:lnTo>
                  <a:lnTo>
                    <a:pt x="142" y="44"/>
                  </a:lnTo>
                  <a:lnTo>
                    <a:pt x="143" y="43"/>
                  </a:lnTo>
                  <a:lnTo>
                    <a:pt x="142" y="42"/>
                  </a:lnTo>
                  <a:lnTo>
                    <a:pt x="142" y="43"/>
                  </a:lnTo>
                  <a:lnTo>
                    <a:pt x="141" y="42"/>
                  </a:lnTo>
                  <a:lnTo>
                    <a:pt x="140" y="42"/>
                  </a:lnTo>
                  <a:lnTo>
                    <a:pt x="140" y="43"/>
                  </a:lnTo>
                  <a:lnTo>
                    <a:pt x="139" y="44"/>
                  </a:lnTo>
                  <a:lnTo>
                    <a:pt x="139" y="43"/>
                  </a:lnTo>
                  <a:lnTo>
                    <a:pt x="137" y="43"/>
                  </a:lnTo>
                  <a:lnTo>
                    <a:pt x="137" y="44"/>
                  </a:lnTo>
                  <a:lnTo>
                    <a:pt x="137" y="46"/>
                  </a:lnTo>
                  <a:lnTo>
                    <a:pt x="136" y="46"/>
                  </a:lnTo>
                  <a:lnTo>
                    <a:pt x="137" y="46"/>
                  </a:lnTo>
                  <a:lnTo>
                    <a:pt x="137" y="44"/>
                  </a:lnTo>
                  <a:lnTo>
                    <a:pt x="136" y="44"/>
                  </a:lnTo>
                  <a:lnTo>
                    <a:pt x="135" y="46"/>
                  </a:lnTo>
                  <a:lnTo>
                    <a:pt x="135" y="47"/>
                  </a:lnTo>
                  <a:lnTo>
                    <a:pt x="135" y="48"/>
                  </a:lnTo>
                  <a:lnTo>
                    <a:pt x="135" y="47"/>
                  </a:lnTo>
                  <a:lnTo>
                    <a:pt x="136" y="47"/>
                  </a:lnTo>
                  <a:lnTo>
                    <a:pt x="136" y="48"/>
                  </a:lnTo>
                  <a:lnTo>
                    <a:pt x="134" y="49"/>
                  </a:lnTo>
                  <a:lnTo>
                    <a:pt x="133" y="50"/>
                  </a:lnTo>
                  <a:lnTo>
                    <a:pt x="133" y="49"/>
                  </a:lnTo>
                  <a:lnTo>
                    <a:pt x="133" y="47"/>
                  </a:lnTo>
                  <a:lnTo>
                    <a:pt x="134" y="47"/>
                  </a:lnTo>
                  <a:lnTo>
                    <a:pt x="134" y="46"/>
                  </a:lnTo>
                  <a:lnTo>
                    <a:pt x="135" y="44"/>
                  </a:lnTo>
                  <a:lnTo>
                    <a:pt x="134" y="44"/>
                  </a:lnTo>
                  <a:lnTo>
                    <a:pt x="135" y="40"/>
                  </a:lnTo>
                  <a:lnTo>
                    <a:pt x="136" y="40"/>
                  </a:lnTo>
                  <a:lnTo>
                    <a:pt x="136" y="41"/>
                  </a:lnTo>
                  <a:lnTo>
                    <a:pt x="137" y="41"/>
                  </a:lnTo>
                  <a:lnTo>
                    <a:pt x="137" y="40"/>
                  </a:lnTo>
                  <a:lnTo>
                    <a:pt x="139" y="40"/>
                  </a:lnTo>
                  <a:lnTo>
                    <a:pt x="140" y="40"/>
                  </a:lnTo>
                  <a:lnTo>
                    <a:pt x="141" y="40"/>
                  </a:lnTo>
                  <a:lnTo>
                    <a:pt x="142" y="40"/>
                  </a:lnTo>
                  <a:lnTo>
                    <a:pt x="143" y="40"/>
                  </a:lnTo>
                  <a:lnTo>
                    <a:pt x="143" y="41"/>
                  </a:lnTo>
                  <a:lnTo>
                    <a:pt x="143" y="40"/>
                  </a:lnTo>
                  <a:lnTo>
                    <a:pt x="143" y="38"/>
                  </a:lnTo>
                  <a:lnTo>
                    <a:pt x="142" y="38"/>
                  </a:lnTo>
                  <a:lnTo>
                    <a:pt x="142" y="37"/>
                  </a:lnTo>
                  <a:lnTo>
                    <a:pt x="141" y="38"/>
                  </a:lnTo>
                  <a:lnTo>
                    <a:pt x="141" y="37"/>
                  </a:lnTo>
                  <a:lnTo>
                    <a:pt x="140" y="38"/>
                  </a:lnTo>
                  <a:lnTo>
                    <a:pt x="139" y="38"/>
                  </a:lnTo>
                  <a:lnTo>
                    <a:pt x="140" y="38"/>
                  </a:lnTo>
                  <a:lnTo>
                    <a:pt x="139" y="38"/>
                  </a:lnTo>
                  <a:lnTo>
                    <a:pt x="139" y="37"/>
                  </a:lnTo>
                  <a:lnTo>
                    <a:pt x="137" y="37"/>
                  </a:lnTo>
                  <a:lnTo>
                    <a:pt x="137" y="38"/>
                  </a:lnTo>
                  <a:lnTo>
                    <a:pt x="136" y="38"/>
                  </a:lnTo>
                  <a:lnTo>
                    <a:pt x="137" y="37"/>
                  </a:lnTo>
                  <a:lnTo>
                    <a:pt x="139" y="36"/>
                  </a:lnTo>
                  <a:lnTo>
                    <a:pt x="137" y="36"/>
                  </a:lnTo>
                  <a:lnTo>
                    <a:pt x="137" y="35"/>
                  </a:lnTo>
                  <a:lnTo>
                    <a:pt x="137" y="36"/>
                  </a:lnTo>
                  <a:lnTo>
                    <a:pt x="136" y="36"/>
                  </a:lnTo>
                  <a:lnTo>
                    <a:pt x="136" y="37"/>
                  </a:lnTo>
                  <a:lnTo>
                    <a:pt x="136" y="35"/>
                  </a:lnTo>
                  <a:lnTo>
                    <a:pt x="135" y="36"/>
                  </a:lnTo>
                  <a:lnTo>
                    <a:pt x="134" y="36"/>
                  </a:lnTo>
                  <a:lnTo>
                    <a:pt x="134" y="37"/>
                  </a:lnTo>
                  <a:lnTo>
                    <a:pt x="134" y="38"/>
                  </a:lnTo>
                  <a:lnTo>
                    <a:pt x="135" y="40"/>
                  </a:lnTo>
                  <a:lnTo>
                    <a:pt x="134" y="38"/>
                  </a:lnTo>
                  <a:lnTo>
                    <a:pt x="135" y="40"/>
                  </a:lnTo>
                  <a:lnTo>
                    <a:pt x="134" y="43"/>
                  </a:lnTo>
                  <a:lnTo>
                    <a:pt x="133" y="43"/>
                  </a:lnTo>
                  <a:lnTo>
                    <a:pt x="133" y="44"/>
                  </a:lnTo>
                  <a:lnTo>
                    <a:pt x="131" y="44"/>
                  </a:lnTo>
                  <a:lnTo>
                    <a:pt x="131" y="43"/>
                  </a:lnTo>
                  <a:lnTo>
                    <a:pt x="130" y="44"/>
                  </a:lnTo>
                  <a:lnTo>
                    <a:pt x="130" y="43"/>
                  </a:lnTo>
                  <a:lnTo>
                    <a:pt x="129" y="43"/>
                  </a:lnTo>
                  <a:lnTo>
                    <a:pt x="128" y="43"/>
                  </a:lnTo>
                  <a:lnTo>
                    <a:pt x="129" y="43"/>
                  </a:lnTo>
                  <a:lnTo>
                    <a:pt x="129" y="42"/>
                  </a:lnTo>
                  <a:lnTo>
                    <a:pt x="128" y="42"/>
                  </a:lnTo>
                  <a:lnTo>
                    <a:pt x="127" y="42"/>
                  </a:lnTo>
                  <a:lnTo>
                    <a:pt x="127" y="43"/>
                  </a:lnTo>
                  <a:lnTo>
                    <a:pt x="125" y="43"/>
                  </a:lnTo>
                  <a:lnTo>
                    <a:pt x="124" y="43"/>
                  </a:lnTo>
                  <a:lnTo>
                    <a:pt x="124" y="40"/>
                  </a:lnTo>
                  <a:lnTo>
                    <a:pt x="125" y="38"/>
                  </a:lnTo>
                  <a:lnTo>
                    <a:pt x="125" y="40"/>
                  </a:lnTo>
                  <a:lnTo>
                    <a:pt x="125" y="38"/>
                  </a:lnTo>
                  <a:lnTo>
                    <a:pt x="127" y="38"/>
                  </a:lnTo>
                  <a:lnTo>
                    <a:pt x="128" y="38"/>
                  </a:lnTo>
                  <a:lnTo>
                    <a:pt x="127" y="37"/>
                  </a:lnTo>
                  <a:lnTo>
                    <a:pt x="127" y="36"/>
                  </a:lnTo>
                  <a:lnTo>
                    <a:pt x="128" y="35"/>
                  </a:lnTo>
                  <a:lnTo>
                    <a:pt x="127" y="34"/>
                  </a:lnTo>
                  <a:lnTo>
                    <a:pt x="127" y="32"/>
                  </a:lnTo>
                  <a:lnTo>
                    <a:pt x="125" y="34"/>
                  </a:lnTo>
                  <a:lnTo>
                    <a:pt x="125" y="32"/>
                  </a:lnTo>
                  <a:lnTo>
                    <a:pt x="125" y="31"/>
                  </a:lnTo>
                  <a:lnTo>
                    <a:pt x="125" y="30"/>
                  </a:lnTo>
                  <a:lnTo>
                    <a:pt x="124" y="30"/>
                  </a:lnTo>
                  <a:lnTo>
                    <a:pt x="124" y="31"/>
                  </a:lnTo>
                  <a:lnTo>
                    <a:pt x="123" y="31"/>
                  </a:lnTo>
                  <a:lnTo>
                    <a:pt x="124" y="32"/>
                  </a:lnTo>
                  <a:lnTo>
                    <a:pt x="124" y="31"/>
                  </a:lnTo>
                  <a:lnTo>
                    <a:pt x="124" y="32"/>
                  </a:lnTo>
                  <a:lnTo>
                    <a:pt x="124" y="34"/>
                  </a:lnTo>
                  <a:lnTo>
                    <a:pt x="124" y="35"/>
                  </a:lnTo>
                  <a:lnTo>
                    <a:pt x="125" y="35"/>
                  </a:lnTo>
                  <a:lnTo>
                    <a:pt x="124" y="36"/>
                  </a:lnTo>
                  <a:lnTo>
                    <a:pt x="124" y="37"/>
                  </a:lnTo>
                  <a:lnTo>
                    <a:pt x="123" y="37"/>
                  </a:lnTo>
                  <a:lnTo>
                    <a:pt x="124" y="38"/>
                  </a:lnTo>
                  <a:lnTo>
                    <a:pt x="123" y="37"/>
                  </a:lnTo>
                  <a:lnTo>
                    <a:pt x="123" y="38"/>
                  </a:lnTo>
                  <a:lnTo>
                    <a:pt x="122" y="38"/>
                  </a:lnTo>
                  <a:lnTo>
                    <a:pt x="123" y="38"/>
                  </a:lnTo>
                  <a:lnTo>
                    <a:pt x="123" y="40"/>
                  </a:lnTo>
                  <a:lnTo>
                    <a:pt x="123" y="41"/>
                  </a:lnTo>
                  <a:lnTo>
                    <a:pt x="122" y="42"/>
                  </a:lnTo>
                  <a:lnTo>
                    <a:pt x="121" y="42"/>
                  </a:lnTo>
                  <a:lnTo>
                    <a:pt x="119" y="42"/>
                  </a:lnTo>
                  <a:lnTo>
                    <a:pt x="119" y="41"/>
                  </a:lnTo>
                  <a:lnTo>
                    <a:pt x="118" y="41"/>
                  </a:lnTo>
                  <a:lnTo>
                    <a:pt x="117" y="41"/>
                  </a:lnTo>
                  <a:lnTo>
                    <a:pt x="118" y="40"/>
                  </a:lnTo>
                  <a:lnTo>
                    <a:pt x="118" y="38"/>
                  </a:lnTo>
                  <a:lnTo>
                    <a:pt x="119" y="38"/>
                  </a:lnTo>
                  <a:lnTo>
                    <a:pt x="119" y="37"/>
                  </a:lnTo>
                  <a:lnTo>
                    <a:pt x="119" y="36"/>
                  </a:lnTo>
                  <a:lnTo>
                    <a:pt x="119" y="35"/>
                  </a:lnTo>
                  <a:lnTo>
                    <a:pt x="119" y="34"/>
                  </a:lnTo>
                  <a:lnTo>
                    <a:pt x="118" y="34"/>
                  </a:lnTo>
                  <a:lnTo>
                    <a:pt x="117" y="34"/>
                  </a:lnTo>
                  <a:lnTo>
                    <a:pt x="116" y="34"/>
                  </a:lnTo>
                  <a:lnTo>
                    <a:pt x="116" y="35"/>
                  </a:lnTo>
                  <a:lnTo>
                    <a:pt x="115" y="35"/>
                  </a:lnTo>
                  <a:lnTo>
                    <a:pt x="115" y="36"/>
                  </a:lnTo>
                  <a:lnTo>
                    <a:pt x="113" y="36"/>
                  </a:lnTo>
                  <a:lnTo>
                    <a:pt x="112" y="36"/>
                  </a:lnTo>
                  <a:lnTo>
                    <a:pt x="112" y="37"/>
                  </a:lnTo>
                  <a:lnTo>
                    <a:pt x="113" y="37"/>
                  </a:lnTo>
                  <a:lnTo>
                    <a:pt x="115" y="37"/>
                  </a:lnTo>
                  <a:lnTo>
                    <a:pt x="115" y="38"/>
                  </a:lnTo>
                  <a:lnTo>
                    <a:pt x="115" y="40"/>
                  </a:lnTo>
                  <a:lnTo>
                    <a:pt x="113" y="41"/>
                  </a:lnTo>
                  <a:lnTo>
                    <a:pt x="115" y="41"/>
                  </a:lnTo>
                  <a:lnTo>
                    <a:pt x="115" y="42"/>
                  </a:lnTo>
                  <a:lnTo>
                    <a:pt x="113" y="42"/>
                  </a:lnTo>
                  <a:lnTo>
                    <a:pt x="113" y="41"/>
                  </a:lnTo>
                  <a:lnTo>
                    <a:pt x="113" y="40"/>
                  </a:lnTo>
                  <a:lnTo>
                    <a:pt x="112" y="41"/>
                  </a:lnTo>
                  <a:lnTo>
                    <a:pt x="112" y="42"/>
                  </a:lnTo>
                  <a:lnTo>
                    <a:pt x="111" y="42"/>
                  </a:lnTo>
                  <a:lnTo>
                    <a:pt x="111" y="41"/>
                  </a:lnTo>
                  <a:lnTo>
                    <a:pt x="110" y="41"/>
                  </a:lnTo>
                  <a:lnTo>
                    <a:pt x="110" y="40"/>
                  </a:lnTo>
                  <a:lnTo>
                    <a:pt x="110" y="38"/>
                  </a:lnTo>
                  <a:lnTo>
                    <a:pt x="109" y="38"/>
                  </a:lnTo>
                  <a:lnTo>
                    <a:pt x="109" y="40"/>
                  </a:lnTo>
                  <a:lnTo>
                    <a:pt x="107" y="40"/>
                  </a:lnTo>
                  <a:lnTo>
                    <a:pt x="109" y="38"/>
                  </a:lnTo>
                  <a:lnTo>
                    <a:pt x="107" y="37"/>
                  </a:lnTo>
                  <a:lnTo>
                    <a:pt x="107" y="36"/>
                  </a:lnTo>
                  <a:lnTo>
                    <a:pt x="107" y="37"/>
                  </a:lnTo>
                  <a:lnTo>
                    <a:pt x="109" y="36"/>
                  </a:lnTo>
                  <a:lnTo>
                    <a:pt x="109" y="35"/>
                  </a:lnTo>
                  <a:lnTo>
                    <a:pt x="110" y="35"/>
                  </a:lnTo>
                  <a:lnTo>
                    <a:pt x="110" y="34"/>
                  </a:lnTo>
                  <a:lnTo>
                    <a:pt x="110" y="32"/>
                  </a:lnTo>
                  <a:lnTo>
                    <a:pt x="110" y="31"/>
                  </a:lnTo>
                  <a:lnTo>
                    <a:pt x="110" y="32"/>
                  </a:lnTo>
                  <a:lnTo>
                    <a:pt x="109" y="32"/>
                  </a:lnTo>
                  <a:lnTo>
                    <a:pt x="109" y="31"/>
                  </a:lnTo>
                  <a:lnTo>
                    <a:pt x="109" y="30"/>
                  </a:lnTo>
                  <a:lnTo>
                    <a:pt x="109" y="29"/>
                  </a:lnTo>
                  <a:lnTo>
                    <a:pt x="107" y="29"/>
                  </a:lnTo>
                  <a:lnTo>
                    <a:pt x="107" y="30"/>
                  </a:lnTo>
                  <a:lnTo>
                    <a:pt x="107" y="29"/>
                  </a:lnTo>
                  <a:lnTo>
                    <a:pt x="106" y="29"/>
                  </a:lnTo>
                  <a:lnTo>
                    <a:pt x="106" y="28"/>
                  </a:lnTo>
                  <a:lnTo>
                    <a:pt x="105" y="29"/>
                  </a:lnTo>
                  <a:lnTo>
                    <a:pt x="105" y="28"/>
                  </a:lnTo>
                  <a:lnTo>
                    <a:pt x="104" y="28"/>
                  </a:lnTo>
                  <a:lnTo>
                    <a:pt x="104" y="29"/>
                  </a:lnTo>
                  <a:lnTo>
                    <a:pt x="102" y="31"/>
                  </a:lnTo>
                  <a:lnTo>
                    <a:pt x="101" y="31"/>
                  </a:lnTo>
                  <a:lnTo>
                    <a:pt x="101" y="30"/>
                  </a:lnTo>
                  <a:lnTo>
                    <a:pt x="100" y="29"/>
                  </a:lnTo>
                  <a:lnTo>
                    <a:pt x="100" y="28"/>
                  </a:lnTo>
                  <a:lnTo>
                    <a:pt x="101" y="29"/>
                  </a:lnTo>
                  <a:lnTo>
                    <a:pt x="101" y="26"/>
                  </a:lnTo>
                  <a:lnTo>
                    <a:pt x="100" y="26"/>
                  </a:lnTo>
                  <a:lnTo>
                    <a:pt x="100" y="25"/>
                  </a:lnTo>
                  <a:lnTo>
                    <a:pt x="100" y="24"/>
                  </a:lnTo>
                  <a:lnTo>
                    <a:pt x="99" y="18"/>
                  </a:lnTo>
                  <a:lnTo>
                    <a:pt x="99" y="14"/>
                  </a:lnTo>
                  <a:lnTo>
                    <a:pt x="100" y="13"/>
                  </a:lnTo>
                  <a:lnTo>
                    <a:pt x="101" y="13"/>
                  </a:lnTo>
                  <a:lnTo>
                    <a:pt x="104" y="13"/>
                  </a:lnTo>
                  <a:lnTo>
                    <a:pt x="104" y="12"/>
                  </a:lnTo>
                  <a:lnTo>
                    <a:pt x="104" y="11"/>
                  </a:lnTo>
                  <a:lnTo>
                    <a:pt x="102" y="11"/>
                  </a:lnTo>
                  <a:lnTo>
                    <a:pt x="101" y="11"/>
                  </a:lnTo>
                  <a:lnTo>
                    <a:pt x="102" y="11"/>
                  </a:lnTo>
                  <a:lnTo>
                    <a:pt x="101" y="10"/>
                  </a:lnTo>
                  <a:lnTo>
                    <a:pt x="101" y="11"/>
                  </a:lnTo>
                  <a:lnTo>
                    <a:pt x="101" y="12"/>
                  </a:lnTo>
                  <a:lnTo>
                    <a:pt x="101" y="13"/>
                  </a:lnTo>
                  <a:lnTo>
                    <a:pt x="100" y="13"/>
                  </a:lnTo>
                  <a:lnTo>
                    <a:pt x="99" y="13"/>
                  </a:lnTo>
                  <a:lnTo>
                    <a:pt x="99" y="14"/>
                  </a:lnTo>
                  <a:lnTo>
                    <a:pt x="99" y="13"/>
                  </a:lnTo>
                  <a:lnTo>
                    <a:pt x="99" y="12"/>
                  </a:lnTo>
                  <a:lnTo>
                    <a:pt x="98" y="13"/>
                  </a:lnTo>
                  <a:lnTo>
                    <a:pt x="98" y="11"/>
                  </a:lnTo>
                  <a:lnTo>
                    <a:pt x="96" y="10"/>
                  </a:lnTo>
                  <a:lnTo>
                    <a:pt x="96" y="8"/>
                  </a:lnTo>
                  <a:lnTo>
                    <a:pt x="96" y="7"/>
                  </a:lnTo>
                  <a:lnTo>
                    <a:pt x="96" y="8"/>
                  </a:lnTo>
                  <a:lnTo>
                    <a:pt x="96" y="7"/>
                  </a:lnTo>
                  <a:lnTo>
                    <a:pt x="95" y="7"/>
                  </a:lnTo>
                  <a:lnTo>
                    <a:pt x="95" y="8"/>
                  </a:lnTo>
                  <a:lnTo>
                    <a:pt x="95" y="7"/>
                  </a:lnTo>
                  <a:lnTo>
                    <a:pt x="94" y="7"/>
                  </a:lnTo>
                  <a:lnTo>
                    <a:pt x="94" y="8"/>
                  </a:lnTo>
                  <a:lnTo>
                    <a:pt x="94" y="7"/>
                  </a:lnTo>
                  <a:lnTo>
                    <a:pt x="93" y="7"/>
                  </a:lnTo>
                  <a:lnTo>
                    <a:pt x="93" y="6"/>
                  </a:lnTo>
                  <a:lnTo>
                    <a:pt x="93" y="5"/>
                  </a:lnTo>
                  <a:lnTo>
                    <a:pt x="93" y="3"/>
                  </a:lnTo>
                  <a:lnTo>
                    <a:pt x="93" y="5"/>
                  </a:lnTo>
                  <a:lnTo>
                    <a:pt x="93" y="3"/>
                  </a:lnTo>
                  <a:lnTo>
                    <a:pt x="93" y="5"/>
                  </a:lnTo>
                  <a:lnTo>
                    <a:pt x="92" y="5"/>
                  </a:lnTo>
                  <a:lnTo>
                    <a:pt x="92" y="3"/>
                  </a:lnTo>
                  <a:lnTo>
                    <a:pt x="93" y="2"/>
                  </a:lnTo>
                  <a:lnTo>
                    <a:pt x="92" y="3"/>
                  </a:lnTo>
                  <a:lnTo>
                    <a:pt x="92" y="5"/>
                  </a:lnTo>
                  <a:lnTo>
                    <a:pt x="92" y="3"/>
                  </a:lnTo>
                  <a:lnTo>
                    <a:pt x="92" y="2"/>
                  </a:lnTo>
                  <a:lnTo>
                    <a:pt x="92" y="0"/>
                  </a:lnTo>
                  <a:lnTo>
                    <a:pt x="92" y="1"/>
                  </a:lnTo>
                  <a:lnTo>
                    <a:pt x="90" y="0"/>
                  </a:lnTo>
                  <a:lnTo>
                    <a:pt x="92" y="2"/>
                  </a:lnTo>
                  <a:lnTo>
                    <a:pt x="90" y="1"/>
                  </a:lnTo>
                  <a:lnTo>
                    <a:pt x="92" y="2"/>
                  </a:lnTo>
                  <a:lnTo>
                    <a:pt x="90" y="2"/>
                  </a:lnTo>
                  <a:lnTo>
                    <a:pt x="92" y="3"/>
                  </a:lnTo>
                  <a:lnTo>
                    <a:pt x="92" y="5"/>
                  </a:lnTo>
                  <a:lnTo>
                    <a:pt x="90" y="3"/>
                  </a:lnTo>
                  <a:lnTo>
                    <a:pt x="92" y="5"/>
                  </a:lnTo>
                  <a:lnTo>
                    <a:pt x="93" y="6"/>
                  </a:lnTo>
                  <a:lnTo>
                    <a:pt x="92" y="6"/>
                  </a:lnTo>
                  <a:lnTo>
                    <a:pt x="92" y="5"/>
                  </a:lnTo>
                  <a:lnTo>
                    <a:pt x="90" y="6"/>
                  </a:lnTo>
                  <a:lnTo>
                    <a:pt x="90" y="5"/>
                  </a:lnTo>
                  <a:lnTo>
                    <a:pt x="90" y="3"/>
                  </a:lnTo>
                  <a:lnTo>
                    <a:pt x="90" y="2"/>
                  </a:lnTo>
                  <a:lnTo>
                    <a:pt x="90" y="1"/>
                  </a:lnTo>
                  <a:lnTo>
                    <a:pt x="90" y="0"/>
                  </a:lnTo>
                  <a:lnTo>
                    <a:pt x="89" y="0"/>
                  </a:lnTo>
                  <a:lnTo>
                    <a:pt x="90" y="1"/>
                  </a:lnTo>
                  <a:lnTo>
                    <a:pt x="89" y="1"/>
                  </a:lnTo>
                  <a:lnTo>
                    <a:pt x="89" y="2"/>
                  </a:lnTo>
                  <a:lnTo>
                    <a:pt x="89" y="3"/>
                  </a:lnTo>
                  <a:lnTo>
                    <a:pt x="89" y="5"/>
                  </a:lnTo>
                  <a:lnTo>
                    <a:pt x="89" y="6"/>
                  </a:lnTo>
                  <a:lnTo>
                    <a:pt x="89" y="5"/>
                  </a:lnTo>
                  <a:lnTo>
                    <a:pt x="88" y="5"/>
                  </a:lnTo>
                  <a:lnTo>
                    <a:pt x="88" y="6"/>
                  </a:lnTo>
                  <a:lnTo>
                    <a:pt x="87" y="5"/>
                  </a:lnTo>
                  <a:lnTo>
                    <a:pt x="87" y="6"/>
                  </a:lnTo>
                  <a:lnTo>
                    <a:pt x="88" y="6"/>
                  </a:lnTo>
                  <a:lnTo>
                    <a:pt x="88" y="7"/>
                  </a:lnTo>
                  <a:lnTo>
                    <a:pt x="88" y="8"/>
                  </a:lnTo>
                  <a:lnTo>
                    <a:pt x="88" y="7"/>
                  </a:lnTo>
                  <a:lnTo>
                    <a:pt x="89" y="8"/>
                  </a:lnTo>
                  <a:lnTo>
                    <a:pt x="90" y="11"/>
                  </a:lnTo>
                  <a:lnTo>
                    <a:pt x="93" y="17"/>
                  </a:lnTo>
                  <a:lnTo>
                    <a:pt x="94" y="20"/>
                  </a:lnTo>
                  <a:lnTo>
                    <a:pt x="94" y="19"/>
                  </a:lnTo>
                  <a:lnTo>
                    <a:pt x="94" y="20"/>
                  </a:lnTo>
                  <a:lnTo>
                    <a:pt x="93" y="20"/>
                  </a:lnTo>
                  <a:lnTo>
                    <a:pt x="93" y="19"/>
                  </a:lnTo>
                  <a:lnTo>
                    <a:pt x="94" y="20"/>
                  </a:lnTo>
                  <a:lnTo>
                    <a:pt x="95" y="22"/>
                  </a:lnTo>
                  <a:lnTo>
                    <a:pt x="94" y="22"/>
                  </a:lnTo>
                  <a:lnTo>
                    <a:pt x="93" y="20"/>
                  </a:lnTo>
                  <a:lnTo>
                    <a:pt x="93" y="22"/>
                  </a:lnTo>
                  <a:lnTo>
                    <a:pt x="92" y="20"/>
                  </a:lnTo>
                  <a:lnTo>
                    <a:pt x="93" y="22"/>
                  </a:lnTo>
                  <a:lnTo>
                    <a:pt x="92" y="22"/>
                  </a:lnTo>
                  <a:lnTo>
                    <a:pt x="94" y="22"/>
                  </a:lnTo>
                  <a:lnTo>
                    <a:pt x="95" y="22"/>
                  </a:lnTo>
                  <a:lnTo>
                    <a:pt x="95" y="23"/>
                  </a:lnTo>
                  <a:lnTo>
                    <a:pt x="94" y="23"/>
                  </a:lnTo>
                  <a:lnTo>
                    <a:pt x="93" y="24"/>
                  </a:lnTo>
                  <a:lnTo>
                    <a:pt x="94" y="24"/>
                  </a:lnTo>
                  <a:lnTo>
                    <a:pt x="95" y="24"/>
                  </a:lnTo>
                  <a:lnTo>
                    <a:pt x="98" y="26"/>
                  </a:lnTo>
                  <a:lnTo>
                    <a:pt x="96" y="28"/>
                  </a:lnTo>
                  <a:lnTo>
                    <a:pt x="96" y="29"/>
                  </a:lnTo>
                  <a:lnTo>
                    <a:pt x="95" y="29"/>
                  </a:lnTo>
                  <a:lnTo>
                    <a:pt x="95" y="30"/>
                  </a:lnTo>
                  <a:lnTo>
                    <a:pt x="95" y="31"/>
                  </a:lnTo>
                  <a:lnTo>
                    <a:pt x="96" y="32"/>
                  </a:lnTo>
                  <a:lnTo>
                    <a:pt x="96" y="34"/>
                  </a:lnTo>
                  <a:lnTo>
                    <a:pt x="96" y="35"/>
                  </a:lnTo>
                  <a:lnTo>
                    <a:pt x="96" y="36"/>
                  </a:lnTo>
                  <a:lnTo>
                    <a:pt x="96" y="37"/>
                  </a:lnTo>
                  <a:lnTo>
                    <a:pt x="98" y="38"/>
                  </a:lnTo>
                  <a:lnTo>
                    <a:pt x="96" y="38"/>
                  </a:lnTo>
                  <a:lnTo>
                    <a:pt x="95" y="38"/>
                  </a:lnTo>
                  <a:lnTo>
                    <a:pt x="95" y="40"/>
                  </a:lnTo>
                  <a:lnTo>
                    <a:pt x="95" y="41"/>
                  </a:lnTo>
                  <a:lnTo>
                    <a:pt x="94" y="40"/>
                  </a:lnTo>
                  <a:lnTo>
                    <a:pt x="94" y="41"/>
                  </a:lnTo>
                  <a:lnTo>
                    <a:pt x="94" y="40"/>
                  </a:lnTo>
                  <a:lnTo>
                    <a:pt x="93" y="38"/>
                  </a:lnTo>
                  <a:lnTo>
                    <a:pt x="93" y="40"/>
                  </a:lnTo>
                  <a:lnTo>
                    <a:pt x="93" y="38"/>
                  </a:lnTo>
                  <a:lnTo>
                    <a:pt x="92" y="38"/>
                  </a:lnTo>
                  <a:lnTo>
                    <a:pt x="90" y="38"/>
                  </a:lnTo>
                  <a:lnTo>
                    <a:pt x="92" y="38"/>
                  </a:lnTo>
                  <a:lnTo>
                    <a:pt x="92" y="40"/>
                  </a:lnTo>
                  <a:lnTo>
                    <a:pt x="90" y="38"/>
                  </a:lnTo>
                  <a:lnTo>
                    <a:pt x="90" y="37"/>
                  </a:lnTo>
                  <a:lnTo>
                    <a:pt x="90" y="36"/>
                  </a:lnTo>
                  <a:lnTo>
                    <a:pt x="89" y="36"/>
                  </a:lnTo>
                  <a:lnTo>
                    <a:pt x="89" y="35"/>
                  </a:lnTo>
                  <a:lnTo>
                    <a:pt x="90" y="34"/>
                  </a:lnTo>
                  <a:lnTo>
                    <a:pt x="89" y="35"/>
                  </a:lnTo>
                  <a:lnTo>
                    <a:pt x="89" y="34"/>
                  </a:lnTo>
                  <a:lnTo>
                    <a:pt x="90" y="34"/>
                  </a:lnTo>
                  <a:lnTo>
                    <a:pt x="90" y="32"/>
                  </a:lnTo>
                  <a:lnTo>
                    <a:pt x="89" y="32"/>
                  </a:lnTo>
                  <a:lnTo>
                    <a:pt x="89" y="31"/>
                  </a:lnTo>
                  <a:lnTo>
                    <a:pt x="89" y="30"/>
                  </a:lnTo>
                  <a:lnTo>
                    <a:pt x="89" y="31"/>
                  </a:lnTo>
                  <a:lnTo>
                    <a:pt x="88" y="34"/>
                  </a:lnTo>
                  <a:lnTo>
                    <a:pt x="88" y="32"/>
                  </a:lnTo>
                  <a:lnTo>
                    <a:pt x="88" y="31"/>
                  </a:lnTo>
                  <a:lnTo>
                    <a:pt x="87" y="31"/>
                  </a:lnTo>
                  <a:lnTo>
                    <a:pt x="88" y="31"/>
                  </a:lnTo>
                  <a:lnTo>
                    <a:pt x="87" y="31"/>
                  </a:lnTo>
                  <a:lnTo>
                    <a:pt x="86" y="31"/>
                  </a:lnTo>
                  <a:lnTo>
                    <a:pt x="86" y="30"/>
                  </a:lnTo>
                  <a:lnTo>
                    <a:pt x="86" y="31"/>
                  </a:lnTo>
                  <a:lnTo>
                    <a:pt x="84" y="32"/>
                  </a:lnTo>
                  <a:lnTo>
                    <a:pt x="86" y="31"/>
                  </a:lnTo>
                  <a:lnTo>
                    <a:pt x="86" y="32"/>
                  </a:lnTo>
                  <a:lnTo>
                    <a:pt x="86" y="34"/>
                  </a:lnTo>
                  <a:lnTo>
                    <a:pt x="86" y="35"/>
                  </a:lnTo>
                  <a:lnTo>
                    <a:pt x="87" y="35"/>
                  </a:lnTo>
                  <a:lnTo>
                    <a:pt x="88" y="35"/>
                  </a:lnTo>
                  <a:lnTo>
                    <a:pt x="88" y="36"/>
                  </a:lnTo>
                  <a:lnTo>
                    <a:pt x="87" y="36"/>
                  </a:lnTo>
                  <a:lnTo>
                    <a:pt x="87" y="37"/>
                  </a:lnTo>
                  <a:lnTo>
                    <a:pt x="87" y="38"/>
                  </a:lnTo>
                  <a:lnTo>
                    <a:pt x="88" y="38"/>
                  </a:lnTo>
                  <a:lnTo>
                    <a:pt x="89" y="41"/>
                  </a:lnTo>
                  <a:lnTo>
                    <a:pt x="89" y="42"/>
                  </a:lnTo>
                  <a:lnTo>
                    <a:pt x="89" y="43"/>
                  </a:lnTo>
                  <a:lnTo>
                    <a:pt x="89" y="42"/>
                  </a:lnTo>
                  <a:lnTo>
                    <a:pt x="88" y="42"/>
                  </a:lnTo>
                  <a:lnTo>
                    <a:pt x="88" y="43"/>
                  </a:lnTo>
                  <a:lnTo>
                    <a:pt x="89" y="43"/>
                  </a:lnTo>
                  <a:lnTo>
                    <a:pt x="89" y="44"/>
                  </a:lnTo>
                  <a:lnTo>
                    <a:pt x="88" y="44"/>
                  </a:lnTo>
                  <a:lnTo>
                    <a:pt x="87" y="44"/>
                  </a:lnTo>
                  <a:lnTo>
                    <a:pt x="87" y="43"/>
                  </a:lnTo>
                  <a:lnTo>
                    <a:pt x="86" y="43"/>
                  </a:lnTo>
                  <a:lnTo>
                    <a:pt x="84" y="46"/>
                  </a:lnTo>
                  <a:lnTo>
                    <a:pt x="84" y="44"/>
                  </a:lnTo>
                  <a:lnTo>
                    <a:pt x="83" y="44"/>
                  </a:lnTo>
                  <a:lnTo>
                    <a:pt x="83" y="43"/>
                  </a:lnTo>
                  <a:lnTo>
                    <a:pt x="82" y="43"/>
                  </a:lnTo>
                  <a:lnTo>
                    <a:pt x="82" y="44"/>
                  </a:lnTo>
                  <a:lnTo>
                    <a:pt x="81" y="44"/>
                  </a:lnTo>
                  <a:lnTo>
                    <a:pt x="81" y="43"/>
                  </a:lnTo>
                  <a:lnTo>
                    <a:pt x="81" y="44"/>
                  </a:lnTo>
                  <a:lnTo>
                    <a:pt x="81" y="46"/>
                  </a:lnTo>
                  <a:lnTo>
                    <a:pt x="80" y="47"/>
                  </a:lnTo>
                  <a:lnTo>
                    <a:pt x="80" y="48"/>
                  </a:lnTo>
                  <a:lnTo>
                    <a:pt x="78" y="48"/>
                  </a:lnTo>
                  <a:lnTo>
                    <a:pt x="78" y="47"/>
                  </a:lnTo>
                  <a:lnTo>
                    <a:pt x="78" y="48"/>
                  </a:lnTo>
                  <a:lnTo>
                    <a:pt x="77" y="48"/>
                  </a:lnTo>
                  <a:lnTo>
                    <a:pt x="76" y="48"/>
                  </a:lnTo>
                  <a:lnTo>
                    <a:pt x="77" y="48"/>
                  </a:lnTo>
                  <a:lnTo>
                    <a:pt x="77" y="47"/>
                  </a:lnTo>
                  <a:lnTo>
                    <a:pt x="77" y="46"/>
                  </a:lnTo>
                  <a:lnTo>
                    <a:pt x="76" y="46"/>
                  </a:lnTo>
                  <a:lnTo>
                    <a:pt x="76" y="47"/>
                  </a:lnTo>
                  <a:lnTo>
                    <a:pt x="76" y="48"/>
                  </a:lnTo>
                  <a:lnTo>
                    <a:pt x="76" y="49"/>
                  </a:lnTo>
                  <a:lnTo>
                    <a:pt x="75" y="49"/>
                  </a:lnTo>
                  <a:lnTo>
                    <a:pt x="74" y="49"/>
                  </a:lnTo>
                  <a:lnTo>
                    <a:pt x="74" y="48"/>
                  </a:lnTo>
                  <a:lnTo>
                    <a:pt x="72" y="48"/>
                  </a:lnTo>
                  <a:lnTo>
                    <a:pt x="74" y="50"/>
                  </a:lnTo>
                  <a:lnTo>
                    <a:pt x="75" y="52"/>
                  </a:lnTo>
                  <a:lnTo>
                    <a:pt x="76" y="52"/>
                  </a:lnTo>
                  <a:lnTo>
                    <a:pt x="76" y="53"/>
                  </a:lnTo>
                  <a:lnTo>
                    <a:pt x="75" y="53"/>
                  </a:lnTo>
                  <a:lnTo>
                    <a:pt x="74" y="52"/>
                  </a:lnTo>
                  <a:lnTo>
                    <a:pt x="74" y="50"/>
                  </a:lnTo>
                  <a:lnTo>
                    <a:pt x="74" y="49"/>
                  </a:lnTo>
                  <a:lnTo>
                    <a:pt x="72" y="50"/>
                  </a:lnTo>
                  <a:lnTo>
                    <a:pt x="72" y="52"/>
                  </a:lnTo>
                  <a:lnTo>
                    <a:pt x="71" y="52"/>
                  </a:lnTo>
                  <a:lnTo>
                    <a:pt x="72" y="52"/>
                  </a:lnTo>
                  <a:lnTo>
                    <a:pt x="71" y="53"/>
                  </a:lnTo>
                  <a:lnTo>
                    <a:pt x="71" y="52"/>
                  </a:lnTo>
                  <a:lnTo>
                    <a:pt x="71" y="50"/>
                  </a:lnTo>
                  <a:lnTo>
                    <a:pt x="71" y="49"/>
                  </a:lnTo>
                  <a:lnTo>
                    <a:pt x="71" y="50"/>
                  </a:lnTo>
                  <a:lnTo>
                    <a:pt x="70" y="50"/>
                  </a:lnTo>
                  <a:lnTo>
                    <a:pt x="71" y="49"/>
                  </a:lnTo>
                  <a:lnTo>
                    <a:pt x="70" y="49"/>
                  </a:lnTo>
                  <a:lnTo>
                    <a:pt x="70" y="50"/>
                  </a:lnTo>
                  <a:lnTo>
                    <a:pt x="70" y="49"/>
                  </a:lnTo>
                  <a:lnTo>
                    <a:pt x="70" y="50"/>
                  </a:lnTo>
                  <a:lnTo>
                    <a:pt x="70" y="52"/>
                  </a:lnTo>
                  <a:lnTo>
                    <a:pt x="70" y="53"/>
                  </a:lnTo>
                  <a:lnTo>
                    <a:pt x="69" y="53"/>
                  </a:lnTo>
                  <a:lnTo>
                    <a:pt x="68" y="53"/>
                  </a:lnTo>
                  <a:lnTo>
                    <a:pt x="68" y="54"/>
                  </a:lnTo>
                  <a:lnTo>
                    <a:pt x="66" y="54"/>
                  </a:lnTo>
                  <a:lnTo>
                    <a:pt x="65" y="54"/>
                  </a:lnTo>
                  <a:lnTo>
                    <a:pt x="65" y="55"/>
                  </a:lnTo>
                  <a:lnTo>
                    <a:pt x="64" y="55"/>
                  </a:lnTo>
                  <a:lnTo>
                    <a:pt x="65" y="56"/>
                  </a:lnTo>
                  <a:lnTo>
                    <a:pt x="65" y="58"/>
                  </a:lnTo>
                  <a:lnTo>
                    <a:pt x="66" y="58"/>
                  </a:lnTo>
                  <a:lnTo>
                    <a:pt x="66" y="56"/>
                  </a:lnTo>
                  <a:lnTo>
                    <a:pt x="66" y="58"/>
                  </a:lnTo>
                  <a:lnTo>
                    <a:pt x="68" y="58"/>
                  </a:lnTo>
                  <a:lnTo>
                    <a:pt x="66" y="59"/>
                  </a:lnTo>
                  <a:lnTo>
                    <a:pt x="68" y="59"/>
                  </a:lnTo>
                  <a:lnTo>
                    <a:pt x="68" y="60"/>
                  </a:lnTo>
                  <a:lnTo>
                    <a:pt x="68" y="61"/>
                  </a:lnTo>
                  <a:lnTo>
                    <a:pt x="68" y="60"/>
                  </a:lnTo>
                  <a:lnTo>
                    <a:pt x="69" y="61"/>
                  </a:lnTo>
                  <a:lnTo>
                    <a:pt x="68" y="61"/>
                  </a:lnTo>
                  <a:lnTo>
                    <a:pt x="66" y="60"/>
                  </a:lnTo>
                  <a:lnTo>
                    <a:pt x="66" y="61"/>
                  </a:lnTo>
                  <a:lnTo>
                    <a:pt x="65" y="60"/>
                  </a:lnTo>
                  <a:lnTo>
                    <a:pt x="65" y="59"/>
                  </a:lnTo>
                  <a:lnTo>
                    <a:pt x="65" y="60"/>
                  </a:lnTo>
                  <a:lnTo>
                    <a:pt x="65" y="61"/>
                  </a:lnTo>
                  <a:lnTo>
                    <a:pt x="63" y="60"/>
                  </a:lnTo>
                  <a:lnTo>
                    <a:pt x="64" y="59"/>
                  </a:lnTo>
                  <a:lnTo>
                    <a:pt x="63" y="60"/>
                  </a:lnTo>
                  <a:lnTo>
                    <a:pt x="63" y="59"/>
                  </a:lnTo>
                  <a:lnTo>
                    <a:pt x="62" y="60"/>
                  </a:lnTo>
                  <a:lnTo>
                    <a:pt x="59" y="58"/>
                  </a:lnTo>
                  <a:lnTo>
                    <a:pt x="56" y="56"/>
                  </a:lnTo>
                  <a:lnTo>
                    <a:pt x="57" y="55"/>
                  </a:lnTo>
                  <a:lnTo>
                    <a:pt x="57" y="56"/>
                  </a:lnTo>
                  <a:lnTo>
                    <a:pt x="58" y="56"/>
                  </a:lnTo>
                  <a:lnTo>
                    <a:pt x="58" y="55"/>
                  </a:lnTo>
                  <a:lnTo>
                    <a:pt x="59" y="56"/>
                  </a:lnTo>
                  <a:lnTo>
                    <a:pt x="58" y="55"/>
                  </a:lnTo>
                  <a:lnTo>
                    <a:pt x="57" y="55"/>
                  </a:lnTo>
                  <a:lnTo>
                    <a:pt x="57" y="54"/>
                  </a:lnTo>
                  <a:lnTo>
                    <a:pt x="57" y="53"/>
                  </a:lnTo>
                  <a:lnTo>
                    <a:pt x="58" y="52"/>
                  </a:lnTo>
                  <a:lnTo>
                    <a:pt x="58" y="50"/>
                  </a:lnTo>
                  <a:lnTo>
                    <a:pt x="59" y="50"/>
                  </a:lnTo>
                  <a:lnTo>
                    <a:pt x="59" y="52"/>
                  </a:lnTo>
                  <a:lnTo>
                    <a:pt x="58" y="53"/>
                  </a:lnTo>
                  <a:lnTo>
                    <a:pt x="59" y="52"/>
                  </a:lnTo>
                  <a:lnTo>
                    <a:pt x="59" y="50"/>
                  </a:lnTo>
                  <a:lnTo>
                    <a:pt x="58" y="50"/>
                  </a:lnTo>
                  <a:lnTo>
                    <a:pt x="57" y="50"/>
                  </a:lnTo>
                  <a:lnTo>
                    <a:pt x="57" y="48"/>
                  </a:lnTo>
                  <a:lnTo>
                    <a:pt x="58" y="48"/>
                  </a:lnTo>
                  <a:lnTo>
                    <a:pt x="58" y="47"/>
                  </a:lnTo>
                  <a:lnTo>
                    <a:pt x="58" y="46"/>
                  </a:lnTo>
                  <a:lnTo>
                    <a:pt x="58" y="44"/>
                  </a:lnTo>
                  <a:lnTo>
                    <a:pt x="59" y="44"/>
                  </a:lnTo>
                  <a:lnTo>
                    <a:pt x="58" y="44"/>
                  </a:lnTo>
                  <a:lnTo>
                    <a:pt x="59" y="43"/>
                  </a:lnTo>
                  <a:lnTo>
                    <a:pt x="59" y="42"/>
                  </a:lnTo>
                  <a:lnTo>
                    <a:pt x="60" y="42"/>
                  </a:lnTo>
                  <a:lnTo>
                    <a:pt x="60" y="41"/>
                  </a:lnTo>
                  <a:lnTo>
                    <a:pt x="62" y="41"/>
                  </a:lnTo>
                  <a:lnTo>
                    <a:pt x="62" y="42"/>
                  </a:lnTo>
                  <a:lnTo>
                    <a:pt x="62" y="43"/>
                  </a:lnTo>
                  <a:lnTo>
                    <a:pt x="62" y="42"/>
                  </a:lnTo>
                  <a:lnTo>
                    <a:pt x="63" y="42"/>
                  </a:lnTo>
                  <a:lnTo>
                    <a:pt x="62" y="41"/>
                  </a:lnTo>
                  <a:lnTo>
                    <a:pt x="60" y="40"/>
                  </a:lnTo>
                  <a:lnTo>
                    <a:pt x="60" y="38"/>
                  </a:lnTo>
                  <a:lnTo>
                    <a:pt x="62" y="38"/>
                  </a:lnTo>
                  <a:lnTo>
                    <a:pt x="62" y="40"/>
                  </a:lnTo>
                  <a:lnTo>
                    <a:pt x="63" y="40"/>
                  </a:lnTo>
                  <a:lnTo>
                    <a:pt x="62" y="38"/>
                  </a:lnTo>
                  <a:lnTo>
                    <a:pt x="60" y="38"/>
                  </a:lnTo>
                  <a:lnTo>
                    <a:pt x="62" y="37"/>
                  </a:lnTo>
                  <a:lnTo>
                    <a:pt x="60" y="37"/>
                  </a:lnTo>
                  <a:lnTo>
                    <a:pt x="60" y="36"/>
                  </a:lnTo>
                  <a:lnTo>
                    <a:pt x="62" y="35"/>
                  </a:lnTo>
                  <a:lnTo>
                    <a:pt x="60" y="37"/>
                  </a:lnTo>
                  <a:lnTo>
                    <a:pt x="59" y="37"/>
                  </a:lnTo>
                  <a:lnTo>
                    <a:pt x="59" y="38"/>
                  </a:lnTo>
                  <a:lnTo>
                    <a:pt x="58" y="38"/>
                  </a:lnTo>
                  <a:lnTo>
                    <a:pt x="58" y="37"/>
                  </a:lnTo>
                  <a:lnTo>
                    <a:pt x="58" y="38"/>
                  </a:lnTo>
                  <a:lnTo>
                    <a:pt x="59" y="38"/>
                  </a:lnTo>
                  <a:lnTo>
                    <a:pt x="59" y="40"/>
                  </a:lnTo>
                  <a:lnTo>
                    <a:pt x="58" y="38"/>
                  </a:lnTo>
                  <a:lnTo>
                    <a:pt x="59" y="40"/>
                  </a:lnTo>
                  <a:lnTo>
                    <a:pt x="59" y="41"/>
                  </a:lnTo>
                  <a:lnTo>
                    <a:pt x="58" y="41"/>
                  </a:lnTo>
                  <a:lnTo>
                    <a:pt x="57" y="42"/>
                  </a:lnTo>
                  <a:lnTo>
                    <a:pt x="57" y="43"/>
                  </a:lnTo>
                  <a:lnTo>
                    <a:pt x="58" y="42"/>
                  </a:lnTo>
                  <a:lnTo>
                    <a:pt x="58" y="43"/>
                  </a:lnTo>
                  <a:lnTo>
                    <a:pt x="58" y="44"/>
                  </a:lnTo>
                  <a:lnTo>
                    <a:pt x="57" y="47"/>
                  </a:lnTo>
                  <a:lnTo>
                    <a:pt x="57" y="50"/>
                  </a:lnTo>
                  <a:lnTo>
                    <a:pt x="56" y="50"/>
                  </a:lnTo>
                  <a:lnTo>
                    <a:pt x="56" y="52"/>
                  </a:lnTo>
                  <a:lnTo>
                    <a:pt x="54" y="52"/>
                  </a:lnTo>
                  <a:lnTo>
                    <a:pt x="54" y="53"/>
                  </a:lnTo>
                  <a:lnTo>
                    <a:pt x="54" y="52"/>
                  </a:lnTo>
                  <a:lnTo>
                    <a:pt x="53" y="49"/>
                  </a:lnTo>
                  <a:lnTo>
                    <a:pt x="52" y="47"/>
                  </a:lnTo>
                  <a:lnTo>
                    <a:pt x="53" y="47"/>
                  </a:lnTo>
                  <a:lnTo>
                    <a:pt x="52" y="47"/>
                  </a:lnTo>
                  <a:lnTo>
                    <a:pt x="52" y="46"/>
                  </a:lnTo>
                  <a:lnTo>
                    <a:pt x="53" y="46"/>
                  </a:lnTo>
                  <a:lnTo>
                    <a:pt x="52" y="46"/>
                  </a:lnTo>
                  <a:lnTo>
                    <a:pt x="53" y="44"/>
                  </a:lnTo>
                  <a:lnTo>
                    <a:pt x="53" y="43"/>
                  </a:lnTo>
                  <a:lnTo>
                    <a:pt x="53" y="44"/>
                  </a:lnTo>
                  <a:lnTo>
                    <a:pt x="52" y="44"/>
                  </a:lnTo>
                  <a:lnTo>
                    <a:pt x="52" y="46"/>
                  </a:lnTo>
                  <a:lnTo>
                    <a:pt x="51" y="43"/>
                  </a:lnTo>
                  <a:lnTo>
                    <a:pt x="52" y="42"/>
                  </a:lnTo>
                  <a:lnTo>
                    <a:pt x="53" y="42"/>
                  </a:lnTo>
                  <a:lnTo>
                    <a:pt x="52" y="42"/>
                  </a:lnTo>
                  <a:lnTo>
                    <a:pt x="53" y="41"/>
                  </a:lnTo>
                  <a:lnTo>
                    <a:pt x="52" y="42"/>
                  </a:lnTo>
                  <a:lnTo>
                    <a:pt x="52" y="41"/>
                  </a:lnTo>
                  <a:lnTo>
                    <a:pt x="52" y="42"/>
                  </a:lnTo>
                  <a:lnTo>
                    <a:pt x="51" y="42"/>
                  </a:lnTo>
                  <a:lnTo>
                    <a:pt x="51" y="41"/>
                  </a:lnTo>
                  <a:lnTo>
                    <a:pt x="51" y="40"/>
                  </a:lnTo>
                  <a:lnTo>
                    <a:pt x="51" y="38"/>
                  </a:lnTo>
                  <a:lnTo>
                    <a:pt x="50" y="38"/>
                  </a:lnTo>
                  <a:lnTo>
                    <a:pt x="50" y="40"/>
                  </a:lnTo>
                  <a:lnTo>
                    <a:pt x="48" y="40"/>
                  </a:lnTo>
                  <a:lnTo>
                    <a:pt x="48" y="38"/>
                  </a:lnTo>
                  <a:lnTo>
                    <a:pt x="48" y="40"/>
                  </a:lnTo>
                  <a:lnTo>
                    <a:pt x="48" y="41"/>
                  </a:lnTo>
                  <a:lnTo>
                    <a:pt x="48" y="42"/>
                  </a:lnTo>
                  <a:lnTo>
                    <a:pt x="48" y="43"/>
                  </a:lnTo>
                  <a:lnTo>
                    <a:pt x="48" y="42"/>
                  </a:lnTo>
                  <a:lnTo>
                    <a:pt x="47" y="42"/>
                  </a:lnTo>
                  <a:lnTo>
                    <a:pt x="46" y="42"/>
                  </a:lnTo>
                  <a:lnTo>
                    <a:pt x="45" y="42"/>
                  </a:lnTo>
                  <a:lnTo>
                    <a:pt x="45" y="41"/>
                  </a:lnTo>
                  <a:lnTo>
                    <a:pt x="45" y="42"/>
                  </a:lnTo>
                  <a:lnTo>
                    <a:pt x="45" y="43"/>
                  </a:lnTo>
                  <a:lnTo>
                    <a:pt x="45" y="44"/>
                  </a:lnTo>
                  <a:lnTo>
                    <a:pt x="45" y="43"/>
                  </a:lnTo>
                  <a:lnTo>
                    <a:pt x="46" y="42"/>
                  </a:lnTo>
                  <a:lnTo>
                    <a:pt x="46" y="43"/>
                  </a:lnTo>
                  <a:lnTo>
                    <a:pt x="47" y="44"/>
                  </a:lnTo>
                  <a:lnTo>
                    <a:pt x="46" y="43"/>
                  </a:lnTo>
                  <a:lnTo>
                    <a:pt x="46" y="44"/>
                  </a:lnTo>
                  <a:lnTo>
                    <a:pt x="47" y="44"/>
                  </a:lnTo>
                  <a:lnTo>
                    <a:pt x="48" y="46"/>
                  </a:lnTo>
                  <a:lnTo>
                    <a:pt x="47" y="52"/>
                  </a:lnTo>
                  <a:lnTo>
                    <a:pt x="47" y="50"/>
                  </a:lnTo>
                  <a:lnTo>
                    <a:pt x="46" y="50"/>
                  </a:lnTo>
                  <a:lnTo>
                    <a:pt x="46" y="52"/>
                  </a:lnTo>
                  <a:lnTo>
                    <a:pt x="46" y="53"/>
                  </a:lnTo>
                  <a:lnTo>
                    <a:pt x="45" y="52"/>
                  </a:lnTo>
                  <a:lnTo>
                    <a:pt x="43" y="52"/>
                  </a:lnTo>
                  <a:lnTo>
                    <a:pt x="43" y="53"/>
                  </a:lnTo>
                  <a:lnTo>
                    <a:pt x="43" y="54"/>
                  </a:lnTo>
                  <a:lnTo>
                    <a:pt x="45" y="54"/>
                  </a:lnTo>
                  <a:lnTo>
                    <a:pt x="45" y="55"/>
                  </a:lnTo>
                  <a:lnTo>
                    <a:pt x="45" y="56"/>
                  </a:lnTo>
                  <a:lnTo>
                    <a:pt x="46" y="56"/>
                  </a:lnTo>
                  <a:lnTo>
                    <a:pt x="46" y="58"/>
                  </a:lnTo>
                  <a:lnTo>
                    <a:pt x="45" y="58"/>
                  </a:lnTo>
                  <a:lnTo>
                    <a:pt x="43" y="56"/>
                  </a:lnTo>
                  <a:lnTo>
                    <a:pt x="42" y="55"/>
                  </a:lnTo>
                  <a:lnTo>
                    <a:pt x="43" y="56"/>
                  </a:lnTo>
                  <a:lnTo>
                    <a:pt x="43" y="58"/>
                  </a:lnTo>
                  <a:lnTo>
                    <a:pt x="42" y="58"/>
                  </a:lnTo>
                  <a:lnTo>
                    <a:pt x="42" y="56"/>
                  </a:lnTo>
                  <a:lnTo>
                    <a:pt x="41" y="58"/>
                  </a:lnTo>
                  <a:lnTo>
                    <a:pt x="41" y="59"/>
                  </a:lnTo>
                  <a:lnTo>
                    <a:pt x="42" y="60"/>
                  </a:lnTo>
                  <a:lnTo>
                    <a:pt x="41" y="59"/>
                  </a:lnTo>
                  <a:lnTo>
                    <a:pt x="40" y="59"/>
                  </a:lnTo>
                  <a:lnTo>
                    <a:pt x="40" y="58"/>
                  </a:lnTo>
                  <a:lnTo>
                    <a:pt x="39" y="56"/>
                  </a:lnTo>
                  <a:lnTo>
                    <a:pt x="40" y="55"/>
                  </a:lnTo>
                  <a:lnTo>
                    <a:pt x="39" y="55"/>
                  </a:lnTo>
                  <a:lnTo>
                    <a:pt x="37" y="55"/>
                  </a:lnTo>
                  <a:lnTo>
                    <a:pt x="39" y="56"/>
                  </a:lnTo>
                  <a:lnTo>
                    <a:pt x="37" y="56"/>
                  </a:lnTo>
                  <a:lnTo>
                    <a:pt x="37" y="55"/>
                  </a:lnTo>
                  <a:lnTo>
                    <a:pt x="37" y="53"/>
                  </a:lnTo>
                  <a:lnTo>
                    <a:pt x="36" y="53"/>
                  </a:lnTo>
                  <a:lnTo>
                    <a:pt x="35" y="53"/>
                  </a:lnTo>
                  <a:lnTo>
                    <a:pt x="34" y="53"/>
                  </a:lnTo>
                  <a:lnTo>
                    <a:pt x="34" y="52"/>
                  </a:lnTo>
                  <a:lnTo>
                    <a:pt x="33" y="49"/>
                  </a:lnTo>
                  <a:lnTo>
                    <a:pt x="31" y="49"/>
                  </a:lnTo>
                  <a:lnTo>
                    <a:pt x="31" y="50"/>
                  </a:lnTo>
                  <a:lnTo>
                    <a:pt x="33" y="49"/>
                  </a:lnTo>
                  <a:lnTo>
                    <a:pt x="33" y="50"/>
                  </a:lnTo>
                  <a:lnTo>
                    <a:pt x="34" y="53"/>
                  </a:lnTo>
                  <a:lnTo>
                    <a:pt x="33" y="53"/>
                  </a:lnTo>
                  <a:lnTo>
                    <a:pt x="33" y="52"/>
                  </a:lnTo>
                  <a:lnTo>
                    <a:pt x="31" y="52"/>
                  </a:lnTo>
                  <a:lnTo>
                    <a:pt x="31" y="53"/>
                  </a:lnTo>
                  <a:lnTo>
                    <a:pt x="33" y="52"/>
                  </a:lnTo>
                  <a:lnTo>
                    <a:pt x="33" y="53"/>
                  </a:lnTo>
                  <a:lnTo>
                    <a:pt x="31" y="54"/>
                  </a:lnTo>
                  <a:lnTo>
                    <a:pt x="30" y="54"/>
                  </a:lnTo>
                  <a:lnTo>
                    <a:pt x="30" y="55"/>
                  </a:lnTo>
                  <a:lnTo>
                    <a:pt x="30" y="56"/>
                  </a:lnTo>
                  <a:lnTo>
                    <a:pt x="31" y="56"/>
                  </a:lnTo>
                  <a:lnTo>
                    <a:pt x="33" y="56"/>
                  </a:lnTo>
                  <a:lnTo>
                    <a:pt x="33" y="58"/>
                  </a:lnTo>
                  <a:lnTo>
                    <a:pt x="31" y="56"/>
                  </a:lnTo>
                  <a:lnTo>
                    <a:pt x="33" y="58"/>
                  </a:lnTo>
                  <a:lnTo>
                    <a:pt x="31" y="58"/>
                  </a:lnTo>
                  <a:lnTo>
                    <a:pt x="33" y="58"/>
                  </a:lnTo>
                  <a:lnTo>
                    <a:pt x="34" y="58"/>
                  </a:lnTo>
                  <a:lnTo>
                    <a:pt x="33" y="58"/>
                  </a:lnTo>
                  <a:lnTo>
                    <a:pt x="33" y="59"/>
                  </a:lnTo>
                  <a:lnTo>
                    <a:pt x="34" y="60"/>
                  </a:lnTo>
                  <a:lnTo>
                    <a:pt x="34" y="61"/>
                  </a:lnTo>
                  <a:lnTo>
                    <a:pt x="33" y="60"/>
                  </a:lnTo>
                  <a:lnTo>
                    <a:pt x="31" y="60"/>
                  </a:lnTo>
                  <a:lnTo>
                    <a:pt x="31" y="59"/>
                  </a:lnTo>
                  <a:lnTo>
                    <a:pt x="30" y="58"/>
                  </a:lnTo>
                  <a:lnTo>
                    <a:pt x="30" y="59"/>
                  </a:lnTo>
                  <a:lnTo>
                    <a:pt x="30" y="60"/>
                  </a:lnTo>
                  <a:lnTo>
                    <a:pt x="29" y="60"/>
                  </a:lnTo>
                  <a:lnTo>
                    <a:pt x="28" y="60"/>
                  </a:lnTo>
                  <a:lnTo>
                    <a:pt x="27" y="60"/>
                  </a:lnTo>
                  <a:lnTo>
                    <a:pt x="27" y="62"/>
                  </a:lnTo>
                  <a:lnTo>
                    <a:pt x="27" y="61"/>
                  </a:lnTo>
                  <a:lnTo>
                    <a:pt x="27" y="60"/>
                  </a:lnTo>
                  <a:lnTo>
                    <a:pt x="25" y="59"/>
                  </a:lnTo>
                  <a:lnTo>
                    <a:pt x="25" y="60"/>
                  </a:lnTo>
                  <a:lnTo>
                    <a:pt x="25" y="61"/>
                  </a:lnTo>
                  <a:lnTo>
                    <a:pt x="24" y="61"/>
                  </a:lnTo>
                  <a:lnTo>
                    <a:pt x="24" y="60"/>
                  </a:lnTo>
                  <a:lnTo>
                    <a:pt x="23" y="60"/>
                  </a:lnTo>
                  <a:lnTo>
                    <a:pt x="22" y="60"/>
                  </a:lnTo>
                  <a:lnTo>
                    <a:pt x="22" y="59"/>
                  </a:lnTo>
                  <a:lnTo>
                    <a:pt x="22" y="58"/>
                  </a:lnTo>
                  <a:lnTo>
                    <a:pt x="21" y="58"/>
                  </a:lnTo>
                  <a:lnTo>
                    <a:pt x="21" y="59"/>
                  </a:lnTo>
                  <a:lnTo>
                    <a:pt x="22" y="59"/>
                  </a:lnTo>
                  <a:lnTo>
                    <a:pt x="22" y="60"/>
                  </a:lnTo>
                  <a:lnTo>
                    <a:pt x="22" y="61"/>
                  </a:lnTo>
                  <a:lnTo>
                    <a:pt x="23" y="60"/>
                  </a:lnTo>
                  <a:lnTo>
                    <a:pt x="23" y="61"/>
                  </a:lnTo>
                  <a:lnTo>
                    <a:pt x="23" y="62"/>
                  </a:lnTo>
                  <a:lnTo>
                    <a:pt x="24" y="61"/>
                  </a:lnTo>
                  <a:lnTo>
                    <a:pt x="25" y="62"/>
                  </a:lnTo>
                  <a:lnTo>
                    <a:pt x="27" y="62"/>
                  </a:lnTo>
                  <a:lnTo>
                    <a:pt x="28" y="64"/>
                  </a:lnTo>
                  <a:lnTo>
                    <a:pt x="27" y="64"/>
                  </a:lnTo>
                  <a:lnTo>
                    <a:pt x="28" y="65"/>
                  </a:lnTo>
                  <a:lnTo>
                    <a:pt x="28" y="64"/>
                  </a:lnTo>
                  <a:lnTo>
                    <a:pt x="29" y="64"/>
                  </a:lnTo>
                  <a:lnTo>
                    <a:pt x="29" y="65"/>
                  </a:lnTo>
                  <a:lnTo>
                    <a:pt x="29" y="66"/>
                  </a:lnTo>
                  <a:lnTo>
                    <a:pt x="30" y="66"/>
                  </a:lnTo>
                  <a:lnTo>
                    <a:pt x="33" y="68"/>
                  </a:lnTo>
                  <a:lnTo>
                    <a:pt x="33" y="70"/>
                  </a:lnTo>
                  <a:lnTo>
                    <a:pt x="30" y="70"/>
                  </a:lnTo>
                  <a:lnTo>
                    <a:pt x="28" y="68"/>
                  </a:lnTo>
                  <a:lnTo>
                    <a:pt x="25" y="67"/>
                  </a:lnTo>
                  <a:lnTo>
                    <a:pt x="28" y="68"/>
                  </a:lnTo>
                  <a:lnTo>
                    <a:pt x="25" y="68"/>
                  </a:lnTo>
                  <a:lnTo>
                    <a:pt x="24" y="67"/>
                  </a:lnTo>
                  <a:lnTo>
                    <a:pt x="23" y="67"/>
                  </a:lnTo>
                  <a:lnTo>
                    <a:pt x="23" y="66"/>
                  </a:lnTo>
                  <a:lnTo>
                    <a:pt x="21" y="65"/>
                  </a:lnTo>
                  <a:lnTo>
                    <a:pt x="22" y="67"/>
                  </a:lnTo>
                  <a:lnTo>
                    <a:pt x="23" y="67"/>
                  </a:lnTo>
                  <a:lnTo>
                    <a:pt x="22" y="67"/>
                  </a:lnTo>
                  <a:lnTo>
                    <a:pt x="19" y="66"/>
                  </a:lnTo>
                  <a:lnTo>
                    <a:pt x="18" y="65"/>
                  </a:lnTo>
                  <a:lnTo>
                    <a:pt x="21" y="66"/>
                  </a:lnTo>
                  <a:lnTo>
                    <a:pt x="22" y="67"/>
                  </a:lnTo>
                  <a:lnTo>
                    <a:pt x="22" y="68"/>
                  </a:lnTo>
                  <a:lnTo>
                    <a:pt x="23" y="70"/>
                  </a:lnTo>
                  <a:lnTo>
                    <a:pt x="23" y="68"/>
                  </a:lnTo>
                  <a:lnTo>
                    <a:pt x="23" y="67"/>
                  </a:lnTo>
                  <a:lnTo>
                    <a:pt x="24" y="68"/>
                  </a:lnTo>
                  <a:lnTo>
                    <a:pt x="27" y="68"/>
                  </a:lnTo>
                  <a:lnTo>
                    <a:pt x="28" y="71"/>
                  </a:lnTo>
                  <a:lnTo>
                    <a:pt x="28" y="68"/>
                  </a:lnTo>
                  <a:lnTo>
                    <a:pt x="30" y="70"/>
                  </a:lnTo>
                  <a:lnTo>
                    <a:pt x="31" y="70"/>
                  </a:lnTo>
                  <a:lnTo>
                    <a:pt x="30" y="70"/>
                  </a:lnTo>
                  <a:lnTo>
                    <a:pt x="30" y="71"/>
                  </a:lnTo>
                  <a:lnTo>
                    <a:pt x="31" y="71"/>
                  </a:lnTo>
                  <a:lnTo>
                    <a:pt x="33" y="72"/>
                  </a:lnTo>
                  <a:lnTo>
                    <a:pt x="31" y="71"/>
                  </a:lnTo>
                  <a:lnTo>
                    <a:pt x="33" y="71"/>
                  </a:lnTo>
                  <a:lnTo>
                    <a:pt x="34" y="71"/>
                  </a:lnTo>
                  <a:lnTo>
                    <a:pt x="35" y="71"/>
                  </a:lnTo>
                  <a:lnTo>
                    <a:pt x="35" y="72"/>
                  </a:lnTo>
                  <a:lnTo>
                    <a:pt x="36" y="72"/>
                  </a:lnTo>
                  <a:lnTo>
                    <a:pt x="36" y="73"/>
                  </a:lnTo>
                  <a:lnTo>
                    <a:pt x="36" y="72"/>
                  </a:lnTo>
                  <a:lnTo>
                    <a:pt x="37" y="72"/>
                  </a:lnTo>
                  <a:lnTo>
                    <a:pt x="39" y="73"/>
                  </a:lnTo>
                  <a:lnTo>
                    <a:pt x="39" y="74"/>
                  </a:lnTo>
                  <a:lnTo>
                    <a:pt x="39" y="73"/>
                  </a:lnTo>
                  <a:lnTo>
                    <a:pt x="39" y="74"/>
                  </a:lnTo>
                  <a:lnTo>
                    <a:pt x="40" y="76"/>
                  </a:lnTo>
                  <a:lnTo>
                    <a:pt x="40" y="74"/>
                  </a:lnTo>
                  <a:lnTo>
                    <a:pt x="41" y="74"/>
                  </a:lnTo>
                  <a:lnTo>
                    <a:pt x="41" y="76"/>
                  </a:lnTo>
                  <a:lnTo>
                    <a:pt x="42" y="76"/>
                  </a:lnTo>
                  <a:lnTo>
                    <a:pt x="42" y="77"/>
                  </a:lnTo>
                  <a:lnTo>
                    <a:pt x="42" y="78"/>
                  </a:lnTo>
                  <a:lnTo>
                    <a:pt x="41" y="79"/>
                  </a:lnTo>
                  <a:lnTo>
                    <a:pt x="41" y="78"/>
                  </a:lnTo>
                  <a:lnTo>
                    <a:pt x="40" y="79"/>
                  </a:lnTo>
                  <a:lnTo>
                    <a:pt x="40" y="78"/>
                  </a:lnTo>
                  <a:lnTo>
                    <a:pt x="39" y="77"/>
                  </a:lnTo>
                  <a:lnTo>
                    <a:pt x="39" y="78"/>
                  </a:lnTo>
                  <a:lnTo>
                    <a:pt x="37" y="78"/>
                  </a:lnTo>
                  <a:lnTo>
                    <a:pt x="36" y="78"/>
                  </a:lnTo>
                  <a:lnTo>
                    <a:pt x="37" y="77"/>
                  </a:lnTo>
                  <a:lnTo>
                    <a:pt x="39" y="77"/>
                  </a:lnTo>
                  <a:lnTo>
                    <a:pt x="39" y="76"/>
                  </a:lnTo>
                  <a:lnTo>
                    <a:pt x="37" y="76"/>
                  </a:lnTo>
                  <a:lnTo>
                    <a:pt x="37" y="77"/>
                  </a:lnTo>
                  <a:lnTo>
                    <a:pt x="36" y="77"/>
                  </a:lnTo>
                  <a:lnTo>
                    <a:pt x="36" y="76"/>
                  </a:lnTo>
                  <a:lnTo>
                    <a:pt x="36" y="74"/>
                  </a:lnTo>
                  <a:lnTo>
                    <a:pt x="36" y="73"/>
                  </a:lnTo>
                  <a:lnTo>
                    <a:pt x="35" y="73"/>
                  </a:lnTo>
                  <a:lnTo>
                    <a:pt x="34" y="73"/>
                  </a:lnTo>
                  <a:lnTo>
                    <a:pt x="34" y="74"/>
                  </a:lnTo>
                  <a:lnTo>
                    <a:pt x="34" y="73"/>
                  </a:lnTo>
                  <a:lnTo>
                    <a:pt x="33" y="74"/>
                  </a:lnTo>
                  <a:lnTo>
                    <a:pt x="33" y="76"/>
                  </a:lnTo>
                  <a:lnTo>
                    <a:pt x="33" y="77"/>
                  </a:lnTo>
                  <a:lnTo>
                    <a:pt x="33" y="78"/>
                  </a:lnTo>
                  <a:lnTo>
                    <a:pt x="31" y="78"/>
                  </a:lnTo>
                  <a:lnTo>
                    <a:pt x="30" y="78"/>
                  </a:lnTo>
                  <a:lnTo>
                    <a:pt x="31" y="78"/>
                  </a:lnTo>
                  <a:lnTo>
                    <a:pt x="30" y="77"/>
                  </a:lnTo>
                  <a:lnTo>
                    <a:pt x="30" y="76"/>
                  </a:lnTo>
                  <a:lnTo>
                    <a:pt x="31" y="76"/>
                  </a:lnTo>
                  <a:lnTo>
                    <a:pt x="30" y="74"/>
                  </a:lnTo>
                  <a:lnTo>
                    <a:pt x="30" y="76"/>
                  </a:lnTo>
                  <a:lnTo>
                    <a:pt x="29" y="78"/>
                  </a:lnTo>
                  <a:lnTo>
                    <a:pt x="28" y="76"/>
                  </a:lnTo>
                  <a:lnTo>
                    <a:pt x="28" y="74"/>
                  </a:lnTo>
                  <a:lnTo>
                    <a:pt x="29" y="74"/>
                  </a:lnTo>
                  <a:lnTo>
                    <a:pt x="29" y="73"/>
                  </a:lnTo>
                  <a:lnTo>
                    <a:pt x="28" y="73"/>
                  </a:lnTo>
                  <a:lnTo>
                    <a:pt x="28" y="74"/>
                  </a:lnTo>
                  <a:lnTo>
                    <a:pt x="27" y="72"/>
                  </a:lnTo>
                  <a:lnTo>
                    <a:pt x="27" y="74"/>
                  </a:lnTo>
                  <a:lnTo>
                    <a:pt x="28" y="74"/>
                  </a:lnTo>
                  <a:lnTo>
                    <a:pt x="28" y="76"/>
                  </a:lnTo>
                  <a:lnTo>
                    <a:pt x="25" y="73"/>
                  </a:lnTo>
                  <a:lnTo>
                    <a:pt x="28" y="76"/>
                  </a:lnTo>
                  <a:lnTo>
                    <a:pt x="27" y="76"/>
                  </a:lnTo>
                  <a:lnTo>
                    <a:pt x="25" y="76"/>
                  </a:lnTo>
                  <a:lnTo>
                    <a:pt x="25" y="77"/>
                  </a:lnTo>
                  <a:lnTo>
                    <a:pt x="24" y="76"/>
                  </a:lnTo>
                  <a:lnTo>
                    <a:pt x="23" y="76"/>
                  </a:lnTo>
                  <a:lnTo>
                    <a:pt x="23" y="77"/>
                  </a:lnTo>
                  <a:lnTo>
                    <a:pt x="22" y="77"/>
                  </a:lnTo>
                  <a:lnTo>
                    <a:pt x="22" y="76"/>
                  </a:lnTo>
                  <a:lnTo>
                    <a:pt x="21" y="76"/>
                  </a:lnTo>
                  <a:lnTo>
                    <a:pt x="19" y="76"/>
                  </a:lnTo>
                  <a:lnTo>
                    <a:pt x="19" y="74"/>
                  </a:lnTo>
                  <a:lnTo>
                    <a:pt x="19" y="73"/>
                  </a:lnTo>
                  <a:lnTo>
                    <a:pt x="18" y="74"/>
                  </a:lnTo>
                  <a:lnTo>
                    <a:pt x="18" y="76"/>
                  </a:lnTo>
                  <a:lnTo>
                    <a:pt x="18" y="74"/>
                  </a:lnTo>
                  <a:lnTo>
                    <a:pt x="17" y="74"/>
                  </a:lnTo>
                  <a:lnTo>
                    <a:pt x="17" y="73"/>
                  </a:lnTo>
                  <a:lnTo>
                    <a:pt x="17" y="74"/>
                  </a:lnTo>
                  <a:lnTo>
                    <a:pt x="17" y="76"/>
                  </a:lnTo>
                  <a:lnTo>
                    <a:pt x="18" y="76"/>
                  </a:lnTo>
                  <a:lnTo>
                    <a:pt x="19" y="76"/>
                  </a:lnTo>
                  <a:lnTo>
                    <a:pt x="24" y="78"/>
                  </a:lnTo>
                  <a:lnTo>
                    <a:pt x="27" y="78"/>
                  </a:lnTo>
                  <a:lnTo>
                    <a:pt x="25" y="80"/>
                  </a:lnTo>
                  <a:lnTo>
                    <a:pt x="27" y="80"/>
                  </a:lnTo>
                  <a:lnTo>
                    <a:pt x="27" y="79"/>
                  </a:lnTo>
                  <a:lnTo>
                    <a:pt x="28" y="79"/>
                  </a:lnTo>
                  <a:lnTo>
                    <a:pt x="28" y="80"/>
                  </a:lnTo>
                  <a:lnTo>
                    <a:pt x="28" y="79"/>
                  </a:lnTo>
                  <a:lnTo>
                    <a:pt x="29" y="80"/>
                  </a:lnTo>
                  <a:lnTo>
                    <a:pt x="29" y="79"/>
                  </a:lnTo>
                  <a:lnTo>
                    <a:pt x="29" y="78"/>
                  </a:lnTo>
                  <a:lnTo>
                    <a:pt x="31" y="79"/>
                  </a:lnTo>
                  <a:lnTo>
                    <a:pt x="33" y="79"/>
                  </a:lnTo>
                  <a:lnTo>
                    <a:pt x="33" y="80"/>
                  </a:lnTo>
                  <a:lnTo>
                    <a:pt x="31" y="83"/>
                  </a:lnTo>
                  <a:lnTo>
                    <a:pt x="30" y="84"/>
                  </a:lnTo>
                  <a:lnTo>
                    <a:pt x="29" y="84"/>
                  </a:lnTo>
                  <a:lnTo>
                    <a:pt x="28" y="84"/>
                  </a:lnTo>
                  <a:lnTo>
                    <a:pt x="27" y="83"/>
                  </a:lnTo>
                  <a:lnTo>
                    <a:pt x="25" y="84"/>
                  </a:lnTo>
                  <a:lnTo>
                    <a:pt x="24" y="84"/>
                  </a:lnTo>
                  <a:lnTo>
                    <a:pt x="25" y="85"/>
                  </a:lnTo>
                  <a:lnTo>
                    <a:pt x="24" y="86"/>
                  </a:lnTo>
                  <a:lnTo>
                    <a:pt x="23" y="88"/>
                  </a:lnTo>
                  <a:lnTo>
                    <a:pt x="23" y="89"/>
                  </a:lnTo>
                  <a:lnTo>
                    <a:pt x="22" y="89"/>
                  </a:lnTo>
                  <a:lnTo>
                    <a:pt x="21" y="89"/>
                  </a:lnTo>
                  <a:lnTo>
                    <a:pt x="19" y="89"/>
                  </a:lnTo>
                  <a:lnTo>
                    <a:pt x="19" y="90"/>
                  </a:lnTo>
                  <a:lnTo>
                    <a:pt x="18" y="90"/>
                  </a:lnTo>
                  <a:lnTo>
                    <a:pt x="17" y="89"/>
                  </a:lnTo>
                  <a:lnTo>
                    <a:pt x="18" y="91"/>
                  </a:lnTo>
                  <a:lnTo>
                    <a:pt x="17" y="91"/>
                  </a:lnTo>
                  <a:lnTo>
                    <a:pt x="17" y="92"/>
                  </a:lnTo>
                  <a:lnTo>
                    <a:pt x="16" y="92"/>
                  </a:lnTo>
                  <a:lnTo>
                    <a:pt x="13" y="91"/>
                  </a:lnTo>
                  <a:lnTo>
                    <a:pt x="13" y="90"/>
                  </a:lnTo>
                  <a:lnTo>
                    <a:pt x="13" y="89"/>
                  </a:lnTo>
                  <a:lnTo>
                    <a:pt x="13" y="90"/>
                  </a:lnTo>
                  <a:lnTo>
                    <a:pt x="12" y="90"/>
                  </a:lnTo>
                  <a:lnTo>
                    <a:pt x="11" y="89"/>
                  </a:lnTo>
                  <a:lnTo>
                    <a:pt x="9" y="88"/>
                  </a:lnTo>
                  <a:lnTo>
                    <a:pt x="10" y="88"/>
                  </a:lnTo>
                  <a:lnTo>
                    <a:pt x="11" y="86"/>
                  </a:lnTo>
                  <a:lnTo>
                    <a:pt x="11" y="85"/>
                  </a:lnTo>
                  <a:lnTo>
                    <a:pt x="10" y="84"/>
                  </a:lnTo>
                  <a:lnTo>
                    <a:pt x="10" y="86"/>
                  </a:lnTo>
                  <a:lnTo>
                    <a:pt x="9" y="88"/>
                  </a:lnTo>
                  <a:lnTo>
                    <a:pt x="9" y="86"/>
                  </a:lnTo>
                  <a:lnTo>
                    <a:pt x="10" y="85"/>
                  </a:lnTo>
                  <a:lnTo>
                    <a:pt x="9" y="86"/>
                  </a:lnTo>
                  <a:lnTo>
                    <a:pt x="7" y="86"/>
                  </a:lnTo>
                  <a:lnTo>
                    <a:pt x="9" y="85"/>
                  </a:lnTo>
                  <a:lnTo>
                    <a:pt x="9" y="84"/>
                  </a:lnTo>
                  <a:lnTo>
                    <a:pt x="9" y="85"/>
                  </a:lnTo>
                  <a:lnTo>
                    <a:pt x="10" y="84"/>
                  </a:lnTo>
                  <a:lnTo>
                    <a:pt x="9" y="83"/>
                  </a:lnTo>
                  <a:lnTo>
                    <a:pt x="7" y="84"/>
                  </a:lnTo>
                  <a:lnTo>
                    <a:pt x="7" y="85"/>
                  </a:lnTo>
                  <a:lnTo>
                    <a:pt x="7" y="84"/>
                  </a:lnTo>
                  <a:lnTo>
                    <a:pt x="9" y="83"/>
                  </a:lnTo>
                  <a:lnTo>
                    <a:pt x="9" y="82"/>
                  </a:lnTo>
                  <a:lnTo>
                    <a:pt x="9" y="83"/>
                  </a:lnTo>
                  <a:lnTo>
                    <a:pt x="9" y="82"/>
                  </a:lnTo>
                  <a:lnTo>
                    <a:pt x="9" y="80"/>
                  </a:lnTo>
                  <a:lnTo>
                    <a:pt x="10" y="79"/>
                  </a:lnTo>
                  <a:lnTo>
                    <a:pt x="7" y="80"/>
                  </a:lnTo>
                  <a:lnTo>
                    <a:pt x="7" y="79"/>
                  </a:lnTo>
                  <a:lnTo>
                    <a:pt x="7" y="78"/>
                  </a:lnTo>
                  <a:lnTo>
                    <a:pt x="6" y="78"/>
                  </a:lnTo>
                  <a:lnTo>
                    <a:pt x="7" y="79"/>
                  </a:lnTo>
                  <a:lnTo>
                    <a:pt x="6" y="79"/>
                  </a:lnTo>
                  <a:lnTo>
                    <a:pt x="5" y="79"/>
                  </a:lnTo>
                  <a:lnTo>
                    <a:pt x="5" y="80"/>
                  </a:lnTo>
                  <a:lnTo>
                    <a:pt x="5" y="82"/>
                  </a:lnTo>
                  <a:lnTo>
                    <a:pt x="4" y="82"/>
                  </a:lnTo>
                  <a:lnTo>
                    <a:pt x="3" y="82"/>
                  </a:lnTo>
                  <a:lnTo>
                    <a:pt x="4" y="82"/>
                  </a:lnTo>
                  <a:lnTo>
                    <a:pt x="4" y="83"/>
                  </a:lnTo>
                  <a:lnTo>
                    <a:pt x="3" y="83"/>
                  </a:lnTo>
                  <a:lnTo>
                    <a:pt x="1" y="82"/>
                  </a:lnTo>
                  <a:lnTo>
                    <a:pt x="0" y="83"/>
                  </a:lnTo>
                  <a:lnTo>
                    <a:pt x="0" y="84"/>
                  </a:lnTo>
                  <a:lnTo>
                    <a:pt x="1" y="83"/>
                  </a:lnTo>
                  <a:lnTo>
                    <a:pt x="1" y="84"/>
                  </a:lnTo>
                  <a:lnTo>
                    <a:pt x="3" y="84"/>
                  </a:lnTo>
                  <a:lnTo>
                    <a:pt x="3" y="83"/>
                  </a:lnTo>
                  <a:lnTo>
                    <a:pt x="4" y="84"/>
                  </a:lnTo>
                  <a:lnTo>
                    <a:pt x="5" y="84"/>
                  </a:lnTo>
                  <a:lnTo>
                    <a:pt x="6" y="85"/>
                  </a:lnTo>
                  <a:lnTo>
                    <a:pt x="5" y="85"/>
                  </a:lnTo>
                  <a:lnTo>
                    <a:pt x="5" y="86"/>
                  </a:lnTo>
                  <a:lnTo>
                    <a:pt x="6" y="86"/>
                  </a:lnTo>
                  <a:lnTo>
                    <a:pt x="7" y="86"/>
                  </a:lnTo>
                  <a:lnTo>
                    <a:pt x="9" y="86"/>
                  </a:lnTo>
                  <a:lnTo>
                    <a:pt x="7" y="86"/>
                  </a:lnTo>
                  <a:lnTo>
                    <a:pt x="6" y="86"/>
                  </a:lnTo>
                  <a:lnTo>
                    <a:pt x="7" y="86"/>
                  </a:lnTo>
                  <a:lnTo>
                    <a:pt x="7" y="88"/>
                  </a:lnTo>
                  <a:lnTo>
                    <a:pt x="7" y="89"/>
                  </a:lnTo>
                  <a:lnTo>
                    <a:pt x="6" y="88"/>
                  </a:lnTo>
                  <a:lnTo>
                    <a:pt x="6" y="89"/>
                  </a:lnTo>
                  <a:lnTo>
                    <a:pt x="5" y="89"/>
                  </a:lnTo>
                  <a:lnTo>
                    <a:pt x="5" y="88"/>
                  </a:lnTo>
                  <a:lnTo>
                    <a:pt x="4" y="88"/>
                  </a:lnTo>
                  <a:lnTo>
                    <a:pt x="5" y="88"/>
                  </a:lnTo>
                  <a:lnTo>
                    <a:pt x="4" y="88"/>
                  </a:lnTo>
                  <a:lnTo>
                    <a:pt x="4" y="89"/>
                  </a:lnTo>
                  <a:lnTo>
                    <a:pt x="3" y="89"/>
                  </a:lnTo>
                  <a:lnTo>
                    <a:pt x="4" y="90"/>
                  </a:lnTo>
                  <a:lnTo>
                    <a:pt x="4" y="91"/>
                  </a:lnTo>
                  <a:lnTo>
                    <a:pt x="4" y="92"/>
                  </a:lnTo>
                  <a:lnTo>
                    <a:pt x="4" y="91"/>
                  </a:lnTo>
                  <a:lnTo>
                    <a:pt x="4" y="90"/>
                  </a:lnTo>
                  <a:lnTo>
                    <a:pt x="5" y="90"/>
                  </a:lnTo>
                  <a:lnTo>
                    <a:pt x="5" y="91"/>
                  </a:lnTo>
                  <a:lnTo>
                    <a:pt x="6" y="90"/>
                  </a:lnTo>
                  <a:lnTo>
                    <a:pt x="6" y="91"/>
                  </a:lnTo>
                  <a:lnTo>
                    <a:pt x="7" y="91"/>
                  </a:lnTo>
                  <a:lnTo>
                    <a:pt x="6" y="92"/>
                  </a:lnTo>
                  <a:lnTo>
                    <a:pt x="7" y="92"/>
                  </a:lnTo>
                  <a:lnTo>
                    <a:pt x="7" y="91"/>
                  </a:lnTo>
                  <a:lnTo>
                    <a:pt x="9" y="91"/>
                  </a:lnTo>
                  <a:lnTo>
                    <a:pt x="11" y="91"/>
                  </a:lnTo>
                  <a:lnTo>
                    <a:pt x="12" y="92"/>
                  </a:lnTo>
                  <a:lnTo>
                    <a:pt x="15" y="92"/>
                  </a:lnTo>
                  <a:lnTo>
                    <a:pt x="16" y="94"/>
                  </a:lnTo>
                  <a:lnTo>
                    <a:pt x="17" y="95"/>
                  </a:lnTo>
                  <a:lnTo>
                    <a:pt x="17" y="96"/>
                  </a:lnTo>
                  <a:lnTo>
                    <a:pt x="18" y="97"/>
                  </a:lnTo>
                  <a:lnTo>
                    <a:pt x="18" y="96"/>
                  </a:lnTo>
                  <a:lnTo>
                    <a:pt x="18" y="95"/>
                  </a:lnTo>
                  <a:lnTo>
                    <a:pt x="18" y="96"/>
                  </a:lnTo>
                  <a:lnTo>
                    <a:pt x="19" y="95"/>
                  </a:lnTo>
                  <a:lnTo>
                    <a:pt x="21" y="95"/>
                  </a:lnTo>
                  <a:lnTo>
                    <a:pt x="21" y="96"/>
                  </a:lnTo>
                  <a:lnTo>
                    <a:pt x="22" y="95"/>
                  </a:lnTo>
                  <a:lnTo>
                    <a:pt x="22" y="96"/>
                  </a:lnTo>
                  <a:lnTo>
                    <a:pt x="22" y="97"/>
                  </a:lnTo>
                  <a:lnTo>
                    <a:pt x="23" y="96"/>
                  </a:lnTo>
                  <a:lnTo>
                    <a:pt x="23" y="97"/>
                  </a:lnTo>
                  <a:lnTo>
                    <a:pt x="24" y="97"/>
                  </a:lnTo>
                  <a:lnTo>
                    <a:pt x="24" y="98"/>
                  </a:lnTo>
                  <a:lnTo>
                    <a:pt x="25" y="97"/>
                  </a:lnTo>
                  <a:lnTo>
                    <a:pt x="27" y="97"/>
                  </a:lnTo>
                  <a:lnTo>
                    <a:pt x="27" y="98"/>
                  </a:lnTo>
                  <a:lnTo>
                    <a:pt x="27" y="100"/>
                  </a:lnTo>
                  <a:lnTo>
                    <a:pt x="28" y="102"/>
                  </a:lnTo>
                  <a:lnTo>
                    <a:pt x="27" y="102"/>
                  </a:lnTo>
                  <a:lnTo>
                    <a:pt x="25" y="101"/>
                  </a:lnTo>
                  <a:lnTo>
                    <a:pt x="27" y="101"/>
                  </a:lnTo>
                  <a:lnTo>
                    <a:pt x="25" y="101"/>
                  </a:lnTo>
                  <a:lnTo>
                    <a:pt x="25" y="102"/>
                  </a:lnTo>
                  <a:lnTo>
                    <a:pt x="24" y="102"/>
                  </a:lnTo>
                  <a:lnTo>
                    <a:pt x="24" y="103"/>
                  </a:lnTo>
                  <a:lnTo>
                    <a:pt x="25" y="104"/>
                  </a:lnTo>
                  <a:lnTo>
                    <a:pt x="24" y="106"/>
                  </a:lnTo>
                  <a:lnTo>
                    <a:pt x="23" y="107"/>
                  </a:lnTo>
                  <a:lnTo>
                    <a:pt x="23" y="108"/>
                  </a:lnTo>
                  <a:lnTo>
                    <a:pt x="22" y="107"/>
                  </a:lnTo>
                  <a:lnTo>
                    <a:pt x="22" y="108"/>
                  </a:lnTo>
                  <a:lnTo>
                    <a:pt x="21" y="108"/>
                  </a:lnTo>
                  <a:lnTo>
                    <a:pt x="21" y="109"/>
                  </a:lnTo>
                  <a:lnTo>
                    <a:pt x="19" y="109"/>
                  </a:lnTo>
                  <a:lnTo>
                    <a:pt x="18" y="109"/>
                  </a:lnTo>
                  <a:lnTo>
                    <a:pt x="17" y="109"/>
                  </a:lnTo>
                  <a:lnTo>
                    <a:pt x="16" y="110"/>
                  </a:lnTo>
                  <a:lnTo>
                    <a:pt x="17" y="110"/>
                  </a:lnTo>
                  <a:lnTo>
                    <a:pt x="17" y="112"/>
                  </a:lnTo>
                  <a:lnTo>
                    <a:pt x="17" y="110"/>
                  </a:lnTo>
                  <a:lnTo>
                    <a:pt x="17" y="112"/>
                  </a:lnTo>
                  <a:lnTo>
                    <a:pt x="17" y="113"/>
                  </a:lnTo>
                  <a:lnTo>
                    <a:pt x="18" y="112"/>
                  </a:lnTo>
                  <a:lnTo>
                    <a:pt x="19" y="112"/>
                  </a:lnTo>
                  <a:lnTo>
                    <a:pt x="19" y="113"/>
                  </a:lnTo>
                  <a:lnTo>
                    <a:pt x="19" y="114"/>
                  </a:lnTo>
                  <a:lnTo>
                    <a:pt x="21" y="113"/>
                  </a:lnTo>
                  <a:lnTo>
                    <a:pt x="21" y="114"/>
                  </a:lnTo>
                  <a:lnTo>
                    <a:pt x="21" y="115"/>
                  </a:lnTo>
                  <a:lnTo>
                    <a:pt x="22" y="114"/>
                  </a:lnTo>
                  <a:lnTo>
                    <a:pt x="23" y="113"/>
                  </a:lnTo>
                  <a:lnTo>
                    <a:pt x="23" y="114"/>
                  </a:lnTo>
                  <a:lnTo>
                    <a:pt x="23" y="115"/>
                  </a:lnTo>
                  <a:lnTo>
                    <a:pt x="22" y="115"/>
                  </a:lnTo>
                  <a:lnTo>
                    <a:pt x="23" y="115"/>
                  </a:lnTo>
                  <a:lnTo>
                    <a:pt x="24" y="115"/>
                  </a:lnTo>
                  <a:lnTo>
                    <a:pt x="23" y="117"/>
                  </a:lnTo>
                  <a:lnTo>
                    <a:pt x="23" y="118"/>
                  </a:lnTo>
                  <a:lnTo>
                    <a:pt x="21" y="118"/>
                  </a:lnTo>
                  <a:lnTo>
                    <a:pt x="19" y="117"/>
                  </a:lnTo>
                  <a:lnTo>
                    <a:pt x="18" y="117"/>
                  </a:lnTo>
                  <a:lnTo>
                    <a:pt x="18" y="115"/>
                  </a:lnTo>
                  <a:lnTo>
                    <a:pt x="17" y="115"/>
                  </a:lnTo>
                  <a:lnTo>
                    <a:pt x="16" y="115"/>
                  </a:lnTo>
                  <a:lnTo>
                    <a:pt x="15" y="115"/>
                  </a:lnTo>
                  <a:lnTo>
                    <a:pt x="13" y="115"/>
                  </a:lnTo>
                  <a:lnTo>
                    <a:pt x="13" y="117"/>
                  </a:lnTo>
                  <a:lnTo>
                    <a:pt x="12" y="118"/>
                  </a:lnTo>
                  <a:lnTo>
                    <a:pt x="13" y="117"/>
                  </a:lnTo>
                  <a:lnTo>
                    <a:pt x="12" y="117"/>
                  </a:lnTo>
                  <a:lnTo>
                    <a:pt x="11" y="117"/>
                  </a:lnTo>
                  <a:lnTo>
                    <a:pt x="11" y="118"/>
                  </a:lnTo>
                  <a:lnTo>
                    <a:pt x="10" y="119"/>
                  </a:lnTo>
                  <a:lnTo>
                    <a:pt x="10" y="120"/>
                  </a:lnTo>
                  <a:lnTo>
                    <a:pt x="9" y="120"/>
                  </a:lnTo>
                  <a:lnTo>
                    <a:pt x="9" y="119"/>
                  </a:lnTo>
                  <a:lnTo>
                    <a:pt x="9" y="118"/>
                  </a:lnTo>
                  <a:lnTo>
                    <a:pt x="9" y="119"/>
                  </a:lnTo>
                  <a:lnTo>
                    <a:pt x="7" y="119"/>
                  </a:lnTo>
                  <a:lnTo>
                    <a:pt x="7" y="118"/>
                  </a:lnTo>
                  <a:lnTo>
                    <a:pt x="6" y="118"/>
                  </a:lnTo>
                  <a:lnTo>
                    <a:pt x="5" y="119"/>
                  </a:lnTo>
                  <a:lnTo>
                    <a:pt x="5" y="120"/>
                  </a:lnTo>
                  <a:lnTo>
                    <a:pt x="4" y="120"/>
                  </a:lnTo>
                  <a:lnTo>
                    <a:pt x="4" y="121"/>
                  </a:lnTo>
                  <a:lnTo>
                    <a:pt x="4" y="123"/>
                  </a:lnTo>
                  <a:lnTo>
                    <a:pt x="4" y="124"/>
                  </a:lnTo>
                  <a:lnTo>
                    <a:pt x="4" y="123"/>
                  </a:lnTo>
                  <a:lnTo>
                    <a:pt x="5" y="123"/>
                  </a:lnTo>
                  <a:lnTo>
                    <a:pt x="5" y="125"/>
                  </a:lnTo>
                  <a:lnTo>
                    <a:pt x="5" y="126"/>
                  </a:lnTo>
                  <a:lnTo>
                    <a:pt x="6" y="127"/>
                  </a:lnTo>
                  <a:lnTo>
                    <a:pt x="6" y="130"/>
                  </a:lnTo>
                  <a:lnTo>
                    <a:pt x="6" y="129"/>
                  </a:lnTo>
                  <a:lnTo>
                    <a:pt x="7" y="127"/>
                  </a:lnTo>
                  <a:lnTo>
                    <a:pt x="7" y="129"/>
                  </a:lnTo>
                  <a:lnTo>
                    <a:pt x="9" y="129"/>
                  </a:lnTo>
                  <a:lnTo>
                    <a:pt x="10" y="127"/>
                  </a:lnTo>
                  <a:lnTo>
                    <a:pt x="10" y="126"/>
                  </a:lnTo>
                  <a:lnTo>
                    <a:pt x="10" y="127"/>
                  </a:lnTo>
                  <a:lnTo>
                    <a:pt x="11" y="126"/>
                  </a:lnTo>
                  <a:lnTo>
                    <a:pt x="11" y="129"/>
                  </a:lnTo>
                  <a:lnTo>
                    <a:pt x="12" y="127"/>
                  </a:lnTo>
                  <a:lnTo>
                    <a:pt x="12" y="129"/>
                  </a:lnTo>
                  <a:lnTo>
                    <a:pt x="12" y="130"/>
                  </a:lnTo>
                  <a:lnTo>
                    <a:pt x="13" y="129"/>
                  </a:lnTo>
                  <a:lnTo>
                    <a:pt x="13" y="130"/>
                  </a:lnTo>
                  <a:lnTo>
                    <a:pt x="15" y="130"/>
                  </a:lnTo>
                  <a:lnTo>
                    <a:pt x="15" y="131"/>
                  </a:lnTo>
                  <a:lnTo>
                    <a:pt x="16" y="130"/>
                  </a:lnTo>
                  <a:lnTo>
                    <a:pt x="16" y="132"/>
                  </a:lnTo>
                  <a:lnTo>
                    <a:pt x="17" y="133"/>
                  </a:lnTo>
                  <a:lnTo>
                    <a:pt x="17" y="135"/>
                  </a:lnTo>
                  <a:lnTo>
                    <a:pt x="16" y="135"/>
                  </a:lnTo>
                  <a:lnTo>
                    <a:pt x="15" y="136"/>
                  </a:lnTo>
                  <a:lnTo>
                    <a:pt x="15" y="138"/>
                  </a:lnTo>
                  <a:lnTo>
                    <a:pt x="15" y="139"/>
                  </a:lnTo>
                  <a:lnTo>
                    <a:pt x="15" y="137"/>
                  </a:lnTo>
                  <a:lnTo>
                    <a:pt x="16" y="136"/>
                  </a:lnTo>
                  <a:lnTo>
                    <a:pt x="16" y="137"/>
                  </a:lnTo>
                  <a:lnTo>
                    <a:pt x="16" y="138"/>
                  </a:lnTo>
                  <a:lnTo>
                    <a:pt x="17" y="138"/>
                  </a:lnTo>
                  <a:lnTo>
                    <a:pt x="16" y="139"/>
                  </a:lnTo>
                  <a:lnTo>
                    <a:pt x="15" y="139"/>
                  </a:lnTo>
                  <a:lnTo>
                    <a:pt x="13" y="141"/>
                  </a:lnTo>
                  <a:lnTo>
                    <a:pt x="13" y="143"/>
                  </a:lnTo>
                  <a:lnTo>
                    <a:pt x="13" y="142"/>
                  </a:lnTo>
                  <a:lnTo>
                    <a:pt x="15" y="141"/>
                  </a:lnTo>
                  <a:lnTo>
                    <a:pt x="15" y="142"/>
                  </a:lnTo>
                  <a:lnTo>
                    <a:pt x="16" y="142"/>
                  </a:lnTo>
                  <a:lnTo>
                    <a:pt x="16" y="141"/>
                  </a:lnTo>
                  <a:lnTo>
                    <a:pt x="16" y="143"/>
                  </a:lnTo>
                  <a:lnTo>
                    <a:pt x="17" y="142"/>
                  </a:lnTo>
                  <a:lnTo>
                    <a:pt x="17" y="144"/>
                  </a:lnTo>
                  <a:lnTo>
                    <a:pt x="17" y="145"/>
                  </a:lnTo>
                  <a:lnTo>
                    <a:pt x="16" y="147"/>
                  </a:lnTo>
                  <a:lnTo>
                    <a:pt x="17" y="145"/>
                  </a:lnTo>
                  <a:lnTo>
                    <a:pt x="17" y="148"/>
                  </a:lnTo>
                  <a:lnTo>
                    <a:pt x="18" y="149"/>
                  </a:lnTo>
                  <a:lnTo>
                    <a:pt x="17" y="150"/>
                  </a:lnTo>
                  <a:lnTo>
                    <a:pt x="18" y="150"/>
                  </a:lnTo>
                  <a:lnTo>
                    <a:pt x="18" y="151"/>
                  </a:lnTo>
                  <a:lnTo>
                    <a:pt x="18" y="153"/>
                  </a:lnTo>
                  <a:lnTo>
                    <a:pt x="19" y="153"/>
                  </a:lnTo>
                  <a:lnTo>
                    <a:pt x="19" y="155"/>
                  </a:lnTo>
                  <a:lnTo>
                    <a:pt x="19" y="153"/>
                  </a:lnTo>
                  <a:lnTo>
                    <a:pt x="21" y="154"/>
                  </a:lnTo>
                  <a:lnTo>
                    <a:pt x="19" y="154"/>
                  </a:lnTo>
                  <a:lnTo>
                    <a:pt x="21" y="156"/>
                  </a:lnTo>
                  <a:lnTo>
                    <a:pt x="19" y="156"/>
                  </a:lnTo>
                  <a:lnTo>
                    <a:pt x="18" y="157"/>
                  </a:lnTo>
                  <a:lnTo>
                    <a:pt x="17" y="156"/>
                  </a:lnTo>
                  <a:lnTo>
                    <a:pt x="17" y="159"/>
                  </a:lnTo>
                  <a:lnTo>
                    <a:pt x="17" y="160"/>
                  </a:lnTo>
                  <a:lnTo>
                    <a:pt x="17" y="159"/>
                  </a:lnTo>
                  <a:lnTo>
                    <a:pt x="18" y="160"/>
                  </a:lnTo>
                  <a:lnTo>
                    <a:pt x="19" y="160"/>
                  </a:lnTo>
                  <a:lnTo>
                    <a:pt x="19" y="159"/>
                  </a:lnTo>
                  <a:lnTo>
                    <a:pt x="19" y="160"/>
                  </a:lnTo>
                  <a:lnTo>
                    <a:pt x="21" y="161"/>
                  </a:lnTo>
                  <a:lnTo>
                    <a:pt x="22" y="160"/>
                  </a:lnTo>
                  <a:lnTo>
                    <a:pt x="23" y="160"/>
                  </a:lnTo>
                  <a:lnTo>
                    <a:pt x="24" y="159"/>
                  </a:lnTo>
                  <a:lnTo>
                    <a:pt x="24" y="157"/>
                  </a:lnTo>
                  <a:lnTo>
                    <a:pt x="24" y="160"/>
                  </a:lnTo>
                  <a:lnTo>
                    <a:pt x="25" y="161"/>
                  </a:lnTo>
                  <a:lnTo>
                    <a:pt x="27" y="161"/>
                  </a:lnTo>
                  <a:lnTo>
                    <a:pt x="28" y="160"/>
                  </a:lnTo>
                  <a:lnTo>
                    <a:pt x="28" y="161"/>
                  </a:lnTo>
                  <a:lnTo>
                    <a:pt x="28" y="162"/>
                  </a:lnTo>
                  <a:lnTo>
                    <a:pt x="29" y="160"/>
                  </a:lnTo>
                  <a:lnTo>
                    <a:pt x="30" y="159"/>
                  </a:lnTo>
                  <a:lnTo>
                    <a:pt x="30" y="157"/>
                  </a:lnTo>
                  <a:lnTo>
                    <a:pt x="30" y="156"/>
                  </a:lnTo>
                  <a:lnTo>
                    <a:pt x="31" y="157"/>
                  </a:lnTo>
                  <a:lnTo>
                    <a:pt x="30" y="160"/>
                  </a:lnTo>
                  <a:lnTo>
                    <a:pt x="30" y="161"/>
                  </a:lnTo>
                  <a:lnTo>
                    <a:pt x="30" y="160"/>
                  </a:lnTo>
                  <a:lnTo>
                    <a:pt x="31" y="159"/>
                  </a:lnTo>
                  <a:lnTo>
                    <a:pt x="31" y="157"/>
                  </a:lnTo>
                  <a:lnTo>
                    <a:pt x="33" y="157"/>
                  </a:lnTo>
                  <a:lnTo>
                    <a:pt x="33" y="156"/>
                  </a:lnTo>
                  <a:lnTo>
                    <a:pt x="34" y="156"/>
                  </a:lnTo>
                  <a:lnTo>
                    <a:pt x="34" y="155"/>
                  </a:lnTo>
                  <a:lnTo>
                    <a:pt x="35" y="155"/>
                  </a:lnTo>
                  <a:lnTo>
                    <a:pt x="37" y="154"/>
                  </a:lnTo>
                  <a:lnTo>
                    <a:pt x="39" y="154"/>
                  </a:lnTo>
                  <a:lnTo>
                    <a:pt x="39" y="155"/>
                  </a:lnTo>
                  <a:lnTo>
                    <a:pt x="39" y="156"/>
                  </a:lnTo>
                  <a:lnTo>
                    <a:pt x="40" y="157"/>
                  </a:lnTo>
                  <a:lnTo>
                    <a:pt x="39" y="157"/>
                  </a:lnTo>
                  <a:lnTo>
                    <a:pt x="37" y="157"/>
                  </a:lnTo>
                  <a:lnTo>
                    <a:pt x="36" y="157"/>
                  </a:lnTo>
                  <a:lnTo>
                    <a:pt x="35" y="157"/>
                  </a:lnTo>
                  <a:lnTo>
                    <a:pt x="35" y="156"/>
                  </a:lnTo>
                  <a:lnTo>
                    <a:pt x="34" y="156"/>
                  </a:lnTo>
                  <a:lnTo>
                    <a:pt x="34" y="157"/>
                  </a:lnTo>
                  <a:lnTo>
                    <a:pt x="35" y="157"/>
                  </a:lnTo>
                  <a:lnTo>
                    <a:pt x="34" y="159"/>
                  </a:lnTo>
                  <a:lnTo>
                    <a:pt x="33" y="159"/>
                  </a:lnTo>
                  <a:lnTo>
                    <a:pt x="31" y="159"/>
                  </a:lnTo>
                  <a:lnTo>
                    <a:pt x="31" y="160"/>
                  </a:lnTo>
                  <a:lnTo>
                    <a:pt x="31" y="161"/>
                  </a:lnTo>
                  <a:lnTo>
                    <a:pt x="31" y="163"/>
                  </a:lnTo>
                  <a:lnTo>
                    <a:pt x="29" y="165"/>
                  </a:lnTo>
                  <a:lnTo>
                    <a:pt x="28" y="165"/>
                  </a:lnTo>
                  <a:lnTo>
                    <a:pt x="28" y="163"/>
                  </a:lnTo>
                  <a:lnTo>
                    <a:pt x="27" y="163"/>
                  </a:lnTo>
                  <a:lnTo>
                    <a:pt x="25" y="163"/>
                  </a:lnTo>
                  <a:lnTo>
                    <a:pt x="27" y="165"/>
                  </a:lnTo>
                  <a:lnTo>
                    <a:pt x="28" y="165"/>
                  </a:lnTo>
                  <a:lnTo>
                    <a:pt x="27" y="165"/>
                  </a:lnTo>
                  <a:lnTo>
                    <a:pt x="25" y="166"/>
                  </a:lnTo>
                  <a:lnTo>
                    <a:pt x="24" y="166"/>
                  </a:lnTo>
                  <a:lnTo>
                    <a:pt x="23" y="167"/>
                  </a:lnTo>
                  <a:lnTo>
                    <a:pt x="23" y="169"/>
                  </a:lnTo>
                  <a:lnTo>
                    <a:pt x="24" y="171"/>
                  </a:lnTo>
                  <a:lnTo>
                    <a:pt x="25" y="171"/>
                  </a:lnTo>
                  <a:lnTo>
                    <a:pt x="25" y="172"/>
                  </a:lnTo>
                  <a:lnTo>
                    <a:pt x="25" y="171"/>
                  </a:lnTo>
                  <a:lnTo>
                    <a:pt x="27" y="171"/>
                  </a:lnTo>
                  <a:lnTo>
                    <a:pt x="27" y="172"/>
                  </a:lnTo>
                  <a:lnTo>
                    <a:pt x="28" y="171"/>
                  </a:lnTo>
                  <a:lnTo>
                    <a:pt x="28" y="172"/>
                  </a:lnTo>
                  <a:lnTo>
                    <a:pt x="29" y="173"/>
                  </a:lnTo>
                  <a:lnTo>
                    <a:pt x="30" y="173"/>
                  </a:lnTo>
                  <a:lnTo>
                    <a:pt x="29" y="174"/>
                  </a:lnTo>
                  <a:lnTo>
                    <a:pt x="29" y="173"/>
                  </a:lnTo>
                  <a:lnTo>
                    <a:pt x="28" y="174"/>
                  </a:lnTo>
                  <a:lnTo>
                    <a:pt x="27" y="177"/>
                  </a:lnTo>
                  <a:lnTo>
                    <a:pt x="28" y="177"/>
                  </a:lnTo>
                  <a:lnTo>
                    <a:pt x="28" y="178"/>
                  </a:lnTo>
                  <a:lnTo>
                    <a:pt x="27" y="178"/>
                  </a:lnTo>
                  <a:lnTo>
                    <a:pt x="27" y="179"/>
                  </a:lnTo>
                  <a:lnTo>
                    <a:pt x="27" y="180"/>
                  </a:lnTo>
                  <a:lnTo>
                    <a:pt x="27" y="179"/>
                  </a:lnTo>
                  <a:lnTo>
                    <a:pt x="28" y="178"/>
                  </a:lnTo>
                  <a:lnTo>
                    <a:pt x="28" y="179"/>
                  </a:lnTo>
                  <a:lnTo>
                    <a:pt x="29" y="180"/>
                  </a:lnTo>
                  <a:lnTo>
                    <a:pt x="29" y="181"/>
                  </a:lnTo>
                  <a:lnTo>
                    <a:pt x="30" y="183"/>
                  </a:lnTo>
                  <a:lnTo>
                    <a:pt x="30" y="181"/>
                  </a:lnTo>
                  <a:lnTo>
                    <a:pt x="31" y="180"/>
                  </a:lnTo>
                  <a:lnTo>
                    <a:pt x="33" y="179"/>
                  </a:lnTo>
                  <a:lnTo>
                    <a:pt x="33" y="180"/>
                  </a:lnTo>
                  <a:lnTo>
                    <a:pt x="34" y="179"/>
                  </a:lnTo>
                  <a:lnTo>
                    <a:pt x="34" y="180"/>
                  </a:lnTo>
                  <a:lnTo>
                    <a:pt x="35" y="180"/>
                  </a:lnTo>
                  <a:lnTo>
                    <a:pt x="35" y="178"/>
                  </a:lnTo>
                  <a:lnTo>
                    <a:pt x="34" y="178"/>
                  </a:lnTo>
                  <a:lnTo>
                    <a:pt x="35" y="177"/>
                  </a:lnTo>
                  <a:lnTo>
                    <a:pt x="36" y="177"/>
                  </a:lnTo>
                  <a:lnTo>
                    <a:pt x="36" y="178"/>
                  </a:lnTo>
                  <a:lnTo>
                    <a:pt x="36" y="177"/>
                  </a:lnTo>
                  <a:lnTo>
                    <a:pt x="36" y="175"/>
                  </a:lnTo>
                  <a:lnTo>
                    <a:pt x="36" y="174"/>
                  </a:lnTo>
                  <a:lnTo>
                    <a:pt x="37" y="174"/>
                  </a:lnTo>
                  <a:lnTo>
                    <a:pt x="37" y="175"/>
                  </a:lnTo>
                  <a:lnTo>
                    <a:pt x="39" y="174"/>
                  </a:lnTo>
                  <a:lnTo>
                    <a:pt x="40" y="173"/>
                  </a:lnTo>
                  <a:lnTo>
                    <a:pt x="41" y="172"/>
                  </a:lnTo>
                  <a:lnTo>
                    <a:pt x="41" y="171"/>
                  </a:lnTo>
                  <a:lnTo>
                    <a:pt x="41" y="169"/>
                  </a:lnTo>
                  <a:lnTo>
                    <a:pt x="41" y="171"/>
                  </a:lnTo>
                  <a:lnTo>
                    <a:pt x="41" y="169"/>
                  </a:lnTo>
                  <a:lnTo>
                    <a:pt x="42" y="169"/>
                  </a:lnTo>
                  <a:lnTo>
                    <a:pt x="43" y="168"/>
                  </a:lnTo>
                  <a:lnTo>
                    <a:pt x="43" y="169"/>
                  </a:lnTo>
                  <a:lnTo>
                    <a:pt x="43" y="171"/>
                  </a:lnTo>
                  <a:lnTo>
                    <a:pt x="45" y="169"/>
                  </a:lnTo>
                  <a:lnTo>
                    <a:pt x="45" y="171"/>
                  </a:lnTo>
                  <a:lnTo>
                    <a:pt x="45" y="169"/>
                  </a:lnTo>
                  <a:lnTo>
                    <a:pt x="46" y="171"/>
                  </a:lnTo>
                  <a:lnTo>
                    <a:pt x="46" y="169"/>
                  </a:lnTo>
                  <a:lnTo>
                    <a:pt x="47" y="169"/>
                  </a:lnTo>
                  <a:lnTo>
                    <a:pt x="47" y="171"/>
                  </a:lnTo>
                  <a:lnTo>
                    <a:pt x="47" y="172"/>
                  </a:lnTo>
                  <a:lnTo>
                    <a:pt x="48" y="173"/>
                  </a:lnTo>
                  <a:lnTo>
                    <a:pt x="48" y="174"/>
                  </a:lnTo>
                  <a:lnTo>
                    <a:pt x="48" y="175"/>
                  </a:lnTo>
                  <a:lnTo>
                    <a:pt x="48" y="174"/>
                  </a:lnTo>
                  <a:lnTo>
                    <a:pt x="47" y="174"/>
                  </a:lnTo>
                  <a:lnTo>
                    <a:pt x="47" y="175"/>
                  </a:lnTo>
                  <a:lnTo>
                    <a:pt x="46" y="177"/>
                  </a:lnTo>
                  <a:lnTo>
                    <a:pt x="46" y="175"/>
                  </a:lnTo>
                  <a:lnTo>
                    <a:pt x="46" y="174"/>
                  </a:lnTo>
                  <a:lnTo>
                    <a:pt x="46" y="175"/>
                  </a:lnTo>
                  <a:lnTo>
                    <a:pt x="45" y="175"/>
                  </a:lnTo>
                  <a:lnTo>
                    <a:pt x="45" y="177"/>
                  </a:lnTo>
                  <a:lnTo>
                    <a:pt x="43" y="178"/>
                  </a:lnTo>
                  <a:lnTo>
                    <a:pt x="45" y="179"/>
                  </a:lnTo>
                  <a:lnTo>
                    <a:pt x="43" y="180"/>
                  </a:lnTo>
                  <a:lnTo>
                    <a:pt x="43" y="181"/>
                  </a:lnTo>
                  <a:lnTo>
                    <a:pt x="45" y="180"/>
                  </a:lnTo>
                  <a:lnTo>
                    <a:pt x="45" y="181"/>
                  </a:lnTo>
                  <a:lnTo>
                    <a:pt x="46" y="180"/>
                  </a:lnTo>
                  <a:lnTo>
                    <a:pt x="47" y="181"/>
                  </a:lnTo>
                  <a:lnTo>
                    <a:pt x="47" y="180"/>
                  </a:lnTo>
                  <a:lnTo>
                    <a:pt x="47" y="181"/>
                  </a:lnTo>
                  <a:lnTo>
                    <a:pt x="48" y="181"/>
                  </a:lnTo>
                  <a:lnTo>
                    <a:pt x="48" y="183"/>
                  </a:lnTo>
                  <a:lnTo>
                    <a:pt x="50" y="181"/>
                  </a:lnTo>
                  <a:lnTo>
                    <a:pt x="50" y="180"/>
                  </a:lnTo>
                  <a:lnTo>
                    <a:pt x="51" y="179"/>
                  </a:lnTo>
                  <a:lnTo>
                    <a:pt x="51" y="178"/>
                  </a:lnTo>
                  <a:lnTo>
                    <a:pt x="51" y="179"/>
                  </a:lnTo>
                  <a:lnTo>
                    <a:pt x="51" y="180"/>
                  </a:lnTo>
                  <a:lnTo>
                    <a:pt x="52" y="180"/>
                  </a:lnTo>
                  <a:lnTo>
                    <a:pt x="52" y="178"/>
                  </a:lnTo>
                  <a:lnTo>
                    <a:pt x="52" y="179"/>
                  </a:lnTo>
                  <a:lnTo>
                    <a:pt x="53" y="179"/>
                  </a:lnTo>
                  <a:lnTo>
                    <a:pt x="53" y="180"/>
                  </a:lnTo>
                  <a:lnTo>
                    <a:pt x="53" y="179"/>
                  </a:lnTo>
                  <a:lnTo>
                    <a:pt x="54" y="178"/>
                  </a:lnTo>
                  <a:lnTo>
                    <a:pt x="54" y="177"/>
                  </a:lnTo>
                  <a:lnTo>
                    <a:pt x="54" y="179"/>
                  </a:lnTo>
                  <a:lnTo>
                    <a:pt x="54" y="177"/>
                  </a:lnTo>
                  <a:lnTo>
                    <a:pt x="54" y="175"/>
                  </a:lnTo>
                  <a:lnTo>
                    <a:pt x="54" y="174"/>
                  </a:lnTo>
                  <a:lnTo>
                    <a:pt x="54" y="173"/>
                  </a:lnTo>
                  <a:lnTo>
                    <a:pt x="54" y="172"/>
                  </a:lnTo>
                  <a:lnTo>
                    <a:pt x="56" y="171"/>
                  </a:lnTo>
                  <a:lnTo>
                    <a:pt x="57" y="169"/>
                  </a:lnTo>
                  <a:lnTo>
                    <a:pt x="57" y="171"/>
                  </a:lnTo>
                  <a:lnTo>
                    <a:pt x="57" y="169"/>
                  </a:lnTo>
                  <a:lnTo>
                    <a:pt x="57" y="168"/>
                  </a:lnTo>
                  <a:lnTo>
                    <a:pt x="58" y="167"/>
                  </a:lnTo>
                  <a:lnTo>
                    <a:pt x="59" y="166"/>
                  </a:lnTo>
                  <a:lnTo>
                    <a:pt x="59" y="165"/>
                  </a:lnTo>
                  <a:lnTo>
                    <a:pt x="60" y="165"/>
                  </a:lnTo>
                  <a:lnTo>
                    <a:pt x="60" y="163"/>
                  </a:lnTo>
                  <a:lnTo>
                    <a:pt x="62" y="162"/>
                  </a:lnTo>
                  <a:lnTo>
                    <a:pt x="63" y="163"/>
                  </a:lnTo>
                  <a:lnTo>
                    <a:pt x="64" y="163"/>
                  </a:lnTo>
                  <a:lnTo>
                    <a:pt x="64" y="162"/>
                  </a:lnTo>
                  <a:lnTo>
                    <a:pt x="65" y="162"/>
                  </a:lnTo>
                  <a:lnTo>
                    <a:pt x="65" y="163"/>
                  </a:lnTo>
                  <a:lnTo>
                    <a:pt x="64" y="166"/>
                  </a:lnTo>
                  <a:lnTo>
                    <a:pt x="63" y="167"/>
                  </a:lnTo>
                  <a:lnTo>
                    <a:pt x="63" y="168"/>
                  </a:lnTo>
                  <a:lnTo>
                    <a:pt x="62" y="171"/>
                  </a:lnTo>
                  <a:lnTo>
                    <a:pt x="60" y="172"/>
                  </a:lnTo>
                  <a:lnTo>
                    <a:pt x="60" y="173"/>
                  </a:lnTo>
                  <a:lnTo>
                    <a:pt x="60" y="174"/>
                  </a:lnTo>
                  <a:lnTo>
                    <a:pt x="60" y="175"/>
                  </a:lnTo>
                  <a:lnTo>
                    <a:pt x="60" y="174"/>
                  </a:lnTo>
                  <a:lnTo>
                    <a:pt x="62" y="174"/>
                  </a:lnTo>
                  <a:lnTo>
                    <a:pt x="62" y="175"/>
                  </a:lnTo>
                  <a:lnTo>
                    <a:pt x="62" y="178"/>
                  </a:lnTo>
                  <a:lnTo>
                    <a:pt x="62" y="179"/>
                  </a:lnTo>
                  <a:lnTo>
                    <a:pt x="62" y="180"/>
                  </a:lnTo>
                  <a:lnTo>
                    <a:pt x="62" y="179"/>
                  </a:lnTo>
                  <a:lnTo>
                    <a:pt x="62" y="178"/>
                  </a:lnTo>
                  <a:lnTo>
                    <a:pt x="63" y="178"/>
                  </a:lnTo>
                  <a:lnTo>
                    <a:pt x="63" y="179"/>
                  </a:lnTo>
                  <a:lnTo>
                    <a:pt x="64" y="179"/>
                  </a:lnTo>
                  <a:lnTo>
                    <a:pt x="63" y="178"/>
                  </a:lnTo>
                  <a:lnTo>
                    <a:pt x="63" y="177"/>
                  </a:lnTo>
                  <a:lnTo>
                    <a:pt x="64" y="177"/>
                  </a:lnTo>
                  <a:lnTo>
                    <a:pt x="64" y="178"/>
                  </a:lnTo>
                  <a:lnTo>
                    <a:pt x="65" y="177"/>
                  </a:lnTo>
                  <a:lnTo>
                    <a:pt x="65" y="178"/>
                  </a:lnTo>
                  <a:lnTo>
                    <a:pt x="66" y="179"/>
                  </a:lnTo>
                  <a:lnTo>
                    <a:pt x="66" y="180"/>
                  </a:lnTo>
                  <a:lnTo>
                    <a:pt x="66" y="179"/>
                  </a:lnTo>
                  <a:lnTo>
                    <a:pt x="68" y="179"/>
                  </a:lnTo>
                  <a:lnTo>
                    <a:pt x="69" y="179"/>
                  </a:lnTo>
                  <a:lnTo>
                    <a:pt x="68" y="180"/>
                  </a:lnTo>
                  <a:lnTo>
                    <a:pt x="68" y="181"/>
                  </a:lnTo>
                  <a:lnTo>
                    <a:pt x="68" y="183"/>
                  </a:lnTo>
                  <a:lnTo>
                    <a:pt x="69" y="181"/>
                  </a:lnTo>
                  <a:lnTo>
                    <a:pt x="69" y="180"/>
                  </a:lnTo>
                  <a:lnTo>
                    <a:pt x="70" y="183"/>
                  </a:lnTo>
                  <a:lnTo>
                    <a:pt x="70" y="181"/>
                  </a:lnTo>
                  <a:lnTo>
                    <a:pt x="70" y="180"/>
                  </a:lnTo>
                  <a:lnTo>
                    <a:pt x="70" y="179"/>
                  </a:lnTo>
                  <a:lnTo>
                    <a:pt x="70" y="178"/>
                  </a:lnTo>
                  <a:lnTo>
                    <a:pt x="70" y="177"/>
                  </a:lnTo>
                  <a:lnTo>
                    <a:pt x="70" y="175"/>
                  </a:lnTo>
                  <a:lnTo>
                    <a:pt x="69" y="175"/>
                  </a:lnTo>
                  <a:lnTo>
                    <a:pt x="69" y="174"/>
                  </a:lnTo>
                  <a:lnTo>
                    <a:pt x="69" y="173"/>
                  </a:lnTo>
                  <a:lnTo>
                    <a:pt x="69" y="172"/>
                  </a:lnTo>
                  <a:lnTo>
                    <a:pt x="68" y="172"/>
                  </a:lnTo>
                  <a:lnTo>
                    <a:pt x="66" y="171"/>
                  </a:lnTo>
                  <a:lnTo>
                    <a:pt x="66" y="169"/>
                  </a:lnTo>
                  <a:lnTo>
                    <a:pt x="68" y="168"/>
                  </a:lnTo>
                  <a:lnTo>
                    <a:pt x="68" y="169"/>
                  </a:lnTo>
                  <a:lnTo>
                    <a:pt x="69" y="171"/>
                  </a:lnTo>
                  <a:lnTo>
                    <a:pt x="70" y="169"/>
                  </a:lnTo>
                  <a:lnTo>
                    <a:pt x="69" y="168"/>
                  </a:lnTo>
                  <a:lnTo>
                    <a:pt x="70" y="168"/>
                  </a:lnTo>
                  <a:lnTo>
                    <a:pt x="70" y="167"/>
                  </a:lnTo>
                  <a:lnTo>
                    <a:pt x="69" y="167"/>
                  </a:lnTo>
                  <a:lnTo>
                    <a:pt x="70" y="166"/>
                  </a:lnTo>
                  <a:lnTo>
                    <a:pt x="71" y="167"/>
                  </a:lnTo>
                  <a:lnTo>
                    <a:pt x="70" y="168"/>
                  </a:lnTo>
                  <a:lnTo>
                    <a:pt x="71" y="167"/>
                  </a:lnTo>
                  <a:lnTo>
                    <a:pt x="71" y="168"/>
                  </a:lnTo>
                  <a:lnTo>
                    <a:pt x="72" y="171"/>
                  </a:lnTo>
                  <a:lnTo>
                    <a:pt x="72" y="169"/>
                  </a:lnTo>
                  <a:lnTo>
                    <a:pt x="74" y="168"/>
                  </a:lnTo>
                  <a:lnTo>
                    <a:pt x="74" y="169"/>
                  </a:lnTo>
                  <a:lnTo>
                    <a:pt x="75" y="168"/>
                  </a:lnTo>
                  <a:lnTo>
                    <a:pt x="74" y="167"/>
                  </a:lnTo>
                  <a:lnTo>
                    <a:pt x="74" y="166"/>
                  </a:lnTo>
                  <a:lnTo>
                    <a:pt x="75" y="167"/>
                  </a:lnTo>
                  <a:lnTo>
                    <a:pt x="75" y="166"/>
                  </a:lnTo>
                  <a:lnTo>
                    <a:pt x="76" y="166"/>
                  </a:lnTo>
                  <a:lnTo>
                    <a:pt x="77" y="167"/>
                  </a:lnTo>
                  <a:lnTo>
                    <a:pt x="77" y="166"/>
                  </a:lnTo>
                  <a:lnTo>
                    <a:pt x="78" y="165"/>
                  </a:lnTo>
                  <a:lnTo>
                    <a:pt x="78" y="166"/>
                  </a:lnTo>
                  <a:lnTo>
                    <a:pt x="78" y="167"/>
                  </a:lnTo>
                  <a:lnTo>
                    <a:pt x="80" y="168"/>
                  </a:lnTo>
                  <a:lnTo>
                    <a:pt x="80" y="167"/>
                  </a:lnTo>
                  <a:lnTo>
                    <a:pt x="80" y="168"/>
                  </a:lnTo>
                  <a:lnTo>
                    <a:pt x="81" y="167"/>
                  </a:lnTo>
                  <a:lnTo>
                    <a:pt x="81" y="166"/>
                  </a:lnTo>
                  <a:lnTo>
                    <a:pt x="81" y="165"/>
                  </a:lnTo>
                  <a:lnTo>
                    <a:pt x="82" y="166"/>
                  </a:lnTo>
                  <a:lnTo>
                    <a:pt x="82" y="165"/>
                  </a:lnTo>
                  <a:lnTo>
                    <a:pt x="82" y="163"/>
                  </a:lnTo>
                  <a:lnTo>
                    <a:pt x="83" y="165"/>
                  </a:lnTo>
                  <a:lnTo>
                    <a:pt x="84" y="163"/>
                  </a:lnTo>
                  <a:lnTo>
                    <a:pt x="86" y="165"/>
                  </a:lnTo>
                  <a:lnTo>
                    <a:pt x="84" y="167"/>
                  </a:lnTo>
                  <a:lnTo>
                    <a:pt x="86" y="167"/>
                  </a:lnTo>
                  <a:lnTo>
                    <a:pt x="87" y="166"/>
                  </a:lnTo>
                  <a:lnTo>
                    <a:pt x="87" y="165"/>
                  </a:lnTo>
                  <a:lnTo>
                    <a:pt x="88" y="165"/>
                  </a:lnTo>
                  <a:lnTo>
                    <a:pt x="88" y="163"/>
                  </a:lnTo>
                  <a:lnTo>
                    <a:pt x="88" y="166"/>
                  </a:lnTo>
                  <a:lnTo>
                    <a:pt x="88" y="167"/>
                  </a:lnTo>
                  <a:lnTo>
                    <a:pt x="88" y="168"/>
                  </a:lnTo>
                  <a:lnTo>
                    <a:pt x="88" y="167"/>
                  </a:lnTo>
                  <a:lnTo>
                    <a:pt x="89" y="167"/>
                  </a:lnTo>
                  <a:lnTo>
                    <a:pt x="89" y="168"/>
                  </a:lnTo>
                  <a:lnTo>
                    <a:pt x="90" y="167"/>
                  </a:lnTo>
                  <a:lnTo>
                    <a:pt x="90" y="166"/>
                  </a:lnTo>
                  <a:lnTo>
                    <a:pt x="90" y="165"/>
                  </a:lnTo>
                  <a:lnTo>
                    <a:pt x="90" y="166"/>
                  </a:lnTo>
                  <a:lnTo>
                    <a:pt x="89" y="166"/>
                  </a:lnTo>
                  <a:lnTo>
                    <a:pt x="88" y="166"/>
                  </a:lnTo>
                  <a:lnTo>
                    <a:pt x="88" y="163"/>
                  </a:lnTo>
                  <a:lnTo>
                    <a:pt x="89" y="163"/>
                  </a:lnTo>
                  <a:lnTo>
                    <a:pt x="89" y="162"/>
                  </a:lnTo>
                  <a:lnTo>
                    <a:pt x="90" y="162"/>
                  </a:lnTo>
                  <a:lnTo>
                    <a:pt x="90" y="161"/>
                  </a:lnTo>
                  <a:lnTo>
                    <a:pt x="92" y="160"/>
                  </a:lnTo>
                  <a:lnTo>
                    <a:pt x="92" y="161"/>
                  </a:lnTo>
                  <a:lnTo>
                    <a:pt x="92" y="163"/>
                  </a:lnTo>
                  <a:lnTo>
                    <a:pt x="92" y="162"/>
                  </a:lnTo>
                  <a:lnTo>
                    <a:pt x="92" y="163"/>
                  </a:lnTo>
                  <a:lnTo>
                    <a:pt x="93" y="165"/>
                  </a:lnTo>
                  <a:lnTo>
                    <a:pt x="92" y="166"/>
                  </a:lnTo>
                  <a:lnTo>
                    <a:pt x="92" y="167"/>
                  </a:lnTo>
                  <a:lnTo>
                    <a:pt x="92" y="168"/>
                  </a:lnTo>
                  <a:lnTo>
                    <a:pt x="93" y="167"/>
                  </a:lnTo>
                  <a:lnTo>
                    <a:pt x="94" y="167"/>
                  </a:lnTo>
                  <a:lnTo>
                    <a:pt x="95" y="167"/>
                  </a:lnTo>
                  <a:lnTo>
                    <a:pt x="96" y="165"/>
                  </a:lnTo>
                  <a:lnTo>
                    <a:pt x="96" y="163"/>
                  </a:lnTo>
                  <a:lnTo>
                    <a:pt x="98" y="163"/>
                  </a:lnTo>
                  <a:lnTo>
                    <a:pt x="98" y="162"/>
                  </a:lnTo>
                  <a:lnTo>
                    <a:pt x="99" y="162"/>
                  </a:lnTo>
                  <a:lnTo>
                    <a:pt x="99" y="163"/>
                  </a:lnTo>
                  <a:lnTo>
                    <a:pt x="99" y="165"/>
                  </a:lnTo>
                  <a:lnTo>
                    <a:pt x="100" y="166"/>
                  </a:lnTo>
                  <a:lnTo>
                    <a:pt x="101" y="165"/>
                  </a:lnTo>
                  <a:lnTo>
                    <a:pt x="100" y="163"/>
                  </a:lnTo>
                  <a:lnTo>
                    <a:pt x="100" y="162"/>
                  </a:lnTo>
                  <a:lnTo>
                    <a:pt x="101" y="163"/>
                  </a:lnTo>
                  <a:lnTo>
                    <a:pt x="104" y="165"/>
                  </a:lnTo>
                  <a:lnTo>
                    <a:pt x="105" y="166"/>
                  </a:lnTo>
                  <a:lnTo>
                    <a:pt x="105" y="167"/>
                  </a:lnTo>
                  <a:lnTo>
                    <a:pt x="104" y="166"/>
                  </a:lnTo>
                  <a:lnTo>
                    <a:pt x="104" y="165"/>
                  </a:lnTo>
                  <a:lnTo>
                    <a:pt x="102" y="166"/>
                  </a:lnTo>
                  <a:lnTo>
                    <a:pt x="102" y="167"/>
                  </a:lnTo>
                  <a:lnTo>
                    <a:pt x="101" y="167"/>
                  </a:lnTo>
                  <a:lnTo>
                    <a:pt x="100" y="167"/>
                  </a:lnTo>
                  <a:lnTo>
                    <a:pt x="100" y="166"/>
                  </a:lnTo>
                  <a:lnTo>
                    <a:pt x="100" y="167"/>
                  </a:lnTo>
                  <a:lnTo>
                    <a:pt x="99" y="168"/>
                  </a:lnTo>
                  <a:lnTo>
                    <a:pt x="99" y="167"/>
                  </a:lnTo>
                  <a:lnTo>
                    <a:pt x="98" y="167"/>
                  </a:lnTo>
                  <a:lnTo>
                    <a:pt x="96" y="167"/>
                  </a:lnTo>
                  <a:lnTo>
                    <a:pt x="96" y="168"/>
                  </a:lnTo>
                  <a:lnTo>
                    <a:pt x="98" y="168"/>
                  </a:lnTo>
                  <a:lnTo>
                    <a:pt x="98" y="169"/>
                  </a:lnTo>
                  <a:lnTo>
                    <a:pt x="96" y="171"/>
                  </a:lnTo>
                  <a:lnTo>
                    <a:pt x="95" y="171"/>
                  </a:lnTo>
                  <a:lnTo>
                    <a:pt x="96" y="171"/>
                  </a:lnTo>
                  <a:lnTo>
                    <a:pt x="96" y="172"/>
                  </a:lnTo>
                  <a:lnTo>
                    <a:pt x="98" y="171"/>
                  </a:lnTo>
                  <a:lnTo>
                    <a:pt x="98" y="169"/>
                  </a:lnTo>
                  <a:lnTo>
                    <a:pt x="99" y="171"/>
                  </a:lnTo>
                  <a:lnTo>
                    <a:pt x="99" y="172"/>
                  </a:lnTo>
                  <a:lnTo>
                    <a:pt x="100" y="171"/>
                  </a:lnTo>
                  <a:lnTo>
                    <a:pt x="100" y="172"/>
                  </a:lnTo>
                  <a:lnTo>
                    <a:pt x="101" y="171"/>
                  </a:lnTo>
                  <a:lnTo>
                    <a:pt x="102" y="171"/>
                  </a:lnTo>
                  <a:lnTo>
                    <a:pt x="104" y="171"/>
                  </a:lnTo>
                  <a:lnTo>
                    <a:pt x="104" y="172"/>
                  </a:lnTo>
                  <a:lnTo>
                    <a:pt x="102" y="172"/>
                  </a:lnTo>
                  <a:lnTo>
                    <a:pt x="101" y="172"/>
                  </a:lnTo>
                  <a:lnTo>
                    <a:pt x="100" y="173"/>
                  </a:lnTo>
                  <a:lnTo>
                    <a:pt x="100" y="174"/>
                  </a:lnTo>
                  <a:lnTo>
                    <a:pt x="101" y="173"/>
                  </a:lnTo>
                  <a:lnTo>
                    <a:pt x="101" y="174"/>
                  </a:lnTo>
                  <a:lnTo>
                    <a:pt x="101" y="175"/>
                  </a:lnTo>
                  <a:lnTo>
                    <a:pt x="102" y="174"/>
                  </a:lnTo>
                  <a:lnTo>
                    <a:pt x="102" y="173"/>
                  </a:lnTo>
                  <a:lnTo>
                    <a:pt x="102" y="174"/>
                  </a:lnTo>
                  <a:lnTo>
                    <a:pt x="102" y="175"/>
                  </a:lnTo>
                  <a:lnTo>
                    <a:pt x="102" y="177"/>
                  </a:lnTo>
                  <a:lnTo>
                    <a:pt x="102" y="178"/>
                  </a:lnTo>
                  <a:lnTo>
                    <a:pt x="104" y="178"/>
                  </a:lnTo>
                  <a:lnTo>
                    <a:pt x="104" y="179"/>
                  </a:lnTo>
                  <a:lnTo>
                    <a:pt x="104" y="178"/>
                  </a:lnTo>
                  <a:lnTo>
                    <a:pt x="105" y="177"/>
                  </a:lnTo>
                  <a:lnTo>
                    <a:pt x="105" y="175"/>
                  </a:lnTo>
                  <a:lnTo>
                    <a:pt x="105" y="174"/>
                  </a:lnTo>
                  <a:lnTo>
                    <a:pt x="105" y="173"/>
                  </a:lnTo>
                  <a:lnTo>
                    <a:pt x="105" y="171"/>
                  </a:lnTo>
                  <a:lnTo>
                    <a:pt x="105" y="167"/>
                  </a:lnTo>
                  <a:lnTo>
                    <a:pt x="105" y="166"/>
                  </a:lnTo>
                  <a:lnTo>
                    <a:pt x="107" y="168"/>
                  </a:lnTo>
                  <a:lnTo>
                    <a:pt x="113" y="172"/>
                  </a:lnTo>
                  <a:lnTo>
                    <a:pt x="116" y="183"/>
                  </a:lnTo>
                  <a:lnTo>
                    <a:pt x="118" y="195"/>
                  </a:lnTo>
                  <a:lnTo>
                    <a:pt x="119" y="207"/>
                  </a:lnTo>
                  <a:lnTo>
                    <a:pt x="119" y="213"/>
                  </a:lnTo>
                  <a:lnTo>
                    <a:pt x="121" y="222"/>
                  </a:lnTo>
                  <a:lnTo>
                    <a:pt x="123" y="227"/>
                  </a:lnTo>
                  <a:lnTo>
                    <a:pt x="123" y="233"/>
                  </a:lnTo>
                  <a:lnTo>
                    <a:pt x="122" y="234"/>
                  </a:lnTo>
                  <a:lnTo>
                    <a:pt x="123" y="237"/>
                  </a:lnTo>
                  <a:lnTo>
                    <a:pt x="122" y="243"/>
                  </a:lnTo>
                  <a:lnTo>
                    <a:pt x="119" y="252"/>
                  </a:lnTo>
                  <a:lnTo>
                    <a:pt x="118" y="260"/>
                  </a:lnTo>
                  <a:lnTo>
                    <a:pt x="117" y="266"/>
                  </a:lnTo>
                  <a:lnTo>
                    <a:pt x="133" y="26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4" name="Freeform 67"/>
            <p:cNvSpPr>
              <a:spLocks/>
            </p:cNvSpPr>
            <p:nvPr userDrawn="1"/>
          </p:nvSpPr>
          <p:spPr bwMode="auto">
            <a:xfrm>
              <a:off x="6640513" y="6230938"/>
              <a:ext cx="80963" cy="246063"/>
            </a:xfrm>
            <a:custGeom>
              <a:avLst/>
              <a:gdLst/>
              <a:ahLst/>
              <a:cxnLst>
                <a:cxn ang="0">
                  <a:pos x="228" y="160"/>
                </a:cxn>
                <a:cxn ang="0">
                  <a:pos x="227" y="154"/>
                </a:cxn>
                <a:cxn ang="0">
                  <a:pos x="195" y="150"/>
                </a:cxn>
                <a:cxn ang="0">
                  <a:pos x="193" y="143"/>
                </a:cxn>
                <a:cxn ang="0">
                  <a:pos x="203" y="102"/>
                </a:cxn>
                <a:cxn ang="0">
                  <a:pos x="196" y="89"/>
                </a:cxn>
                <a:cxn ang="0">
                  <a:pos x="163" y="83"/>
                </a:cxn>
                <a:cxn ang="0">
                  <a:pos x="163" y="64"/>
                </a:cxn>
                <a:cxn ang="0">
                  <a:pos x="160" y="63"/>
                </a:cxn>
                <a:cxn ang="0">
                  <a:pos x="167" y="51"/>
                </a:cxn>
                <a:cxn ang="0">
                  <a:pos x="169" y="37"/>
                </a:cxn>
                <a:cxn ang="0">
                  <a:pos x="166" y="23"/>
                </a:cxn>
                <a:cxn ang="0">
                  <a:pos x="158" y="11"/>
                </a:cxn>
                <a:cxn ang="0">
                  <a:pos x="146" y="2"/>
                </a:cxn>
                <a:cxn ang="0">
                  <a:pos x="139" y="1"/>
                </a:cxn>
                <a:cxn ang="0">
                  <a:pos x="132" y="0"/>
                </a:cxn>
                <a:cxn ang="0">
                  <a:pos x="118" y="2"/>
                </a:cxn>
                <a:cxn ang="0">
                  <a:pos x="105" y="11"/>
                </a:cxn>
                <a:cxn ang="0">
                  <a:pos x="97" y="23"/>
                </a:cxn>
                <a:cxn ang="0">
                  <a:pos x="95" y="30"/>
                </a:cxn>
                <a:cxn ang="0">
                  <a:pos x="95" y="37"/>
                </a:cxn>
                <a:cxn ang="0">
                  <a:pos x="97" y="51"/>
                </a:cxn>
                <a:cxn ang="0">
                  <a:pos x="99" y="57"/>
                </a:cxn>
                <a:cxn ang="0">
                  <a:pos x="103" y="61"/>
                </a:cxn>
                <a:cxn ang="0">
                  <a:pos x="95" y="64"/>
                </a:cxn>
                <a:cxn ang="0">
                  <a:pos x="95" y="83"/>
                </a:cxn>
                <a:cxn ang="0">
                  <a:pos x="62" y="89"/>
                </a:cxn>
                <a:cxn ang="0">
                  <a:pos x="55" y="102"/>
                </a:cxn>
                <a:cxn ang="0">
                  <a:pos x="66" y="143"/>
                </a:cxn>
                <a:cxn ang="0">
                  <a:pos x="63" y="150"/>
                </a:cxn>
                <a:cxn ang="0">
                  <a:pos x="31" y="154"/>
                </a:cxn>
                <a:cxn ang="0">
                  <a:pos x="31" y="160"/>
                </a:cxn>
                <a:cxn ang="0">
                  <a:pos x="10" y="162"/>
                </a:cxn>
                <a:cxn ang="0">
                  <a:pos x="0" y="166"/>
                </a:cxn>
                <a:cxn ang="0">
                  <a:pos x="0" y="186"/>
                </a:cxn>
                <a:cxn ang="0">
                  <a:pos x="0" y="190"/>
                </a:cxn>
                <a:cxn ang="0">
                  <a:pos x="48" y="272"/>
                </a:cxn>
                <a:cxn ang="0">
                  <a:pos x="91" y="272"/>
                </a:cxn>
                <a:cxn ang="0">
                  <a:pos x="95" y="483"/>
                </a:cxn>
                <a:cxn ang="0">
                  <a:pos x="95" y="629"/>
                </a:cxn>
                <a:cxn ang="0">
                  <a:pos x="93" y="678"/>
                </a:cxn>
                <a:cxn ang="0">
                  <a:pos x="92" y="691"/>
                </a:cxn>
                <a:cxn ang="0">
                  <a:pos x="91" y="696"/>
                </a:cxn>
                <a:cxn ang="0">
                  <a:pos x="86" y="699"/>
                </a:cxn>
                <a:cxn ang="0">
                  <a:pos x="83" y="701"/>
                </a:cxn>
                <a:cxn ang="0">
                  <a:pos x="80" y="706"/>
                </a:cxn>
                <a:cxn ang="0">
                  <a:pos x="80" y="774"/>
                </a:cxn>
                <a:cxn ang="0">
                  <a:pos x="130" y="774"/>
                </a:cxn>
                <a:cxn ang="0">
                  <a:pos x="179" y="774"/>
                </a:cxn>
                <a:cxn ang="0">
                  <a:pos x="179" y="706"/>
                </a:cxn>
                <a:cxn ang="0">
                  <a:pos x="175" y="701"/>
                </a:cxn>
                <a:cxn ang="0">
                  <a:pos x="172" y="699"/>
                </a:cxn>
                <a:cxn ang="0">
                  <a:pos x="167" y="696"/>
                </a:cxn>
                <a:cxn ang="0">
                  <a:pos x="164" y="678"/>
                </a:cxn>
                <a:cxn ang="0">
                  <a:pos x="163" y="629"/>
                </a:cxn>
                <a:cxn ang="0">
                  <a:pos x="164" y="483"/>
                </a:cxn>
                <a:cxn ang="0">
                  <a:pos x="167" y="272"/>
                </a:cxn>
                <a:cxn ang="0">
                  <a:pos x="210" y="272"/>
                </a:cxn>
                <a:cxn ang="0">
                  <a:pos x="258" y="190"/>
                </a:cxn>
                <a:cxn ang="0">
                  <a:pos x="258" y="186"/>
                </a:cxn>
                <a:cxn ang="0">
                  <a:pos x="258" y="166"/>
                </a:cxn>
                <a:cxn ang="0">
                  <a:pos x="248" y="162"/>
                </a:cxn>
                <a:cxn ang="0">
                  <a:pos x="228" y="160"/>
                </a:cxn>
              </a:cxnLst>
              <a:rect l="0" t="0" r="r" b="b"/>
              <a:pathLst>
                <a:path w="258" h="774">
                  <a:moveTo>
                    <a:pt x="228" y="160"/>
                  </a:moveTo>
                  <a:lnTo>
                    <a:pt x="227" y="154"/>
                  </a:lnTo>
                  <a:lnTo>
                    <a:pt x="195" y="150"/>
                  </a:lnTo>
                  <a:lnTo>
                    <a:pt x="193" y="143"/>
                  </a:lnTo>
                  <a:lnTo>
                    <a:pt x="203" y="102"/>
                  </a:lnTo>
                  <a:lnTo>
                    <a:pt x="196" y="89"/>
                  </a:lnTo>
                  <a:lnTo>
                    <a:pt x="163" y="83"/>
                  </a:lnTo>
                  <a:lnTo>
                    <a:pt x="163" y="64"/>
                  </a:lnTo>
                  <a:lnTo>
                    <a:pt x="160" y="63"/>
                  </a:lnTo>
                  <a:lnTo>
                    <a:pt x="167" y="51"/>
                  </a:lnTo>
                  <a:lnTo>
                    <a:pt x="169" y="37"/>
                  </a:lnTo>
                  <a:lnTo>
                    <a:pt x="166" y="23"/>
                  </a:lnTo>
                  <a:lnTo>
                    <a:pt x="158" y="11"/>
                  </a:lnTo>
                  <a:lnTo>
                    <a:pt x="146" y="2"/>
                  </a:lnTo>
                  <a:lnTo>
                    <a:pt x="139" y="1"/>
                  </a:lnTo>
                  <a:lnTo>
                    <a:pt x="132" y="0"/>
                  </a:lnTo>
                  <a:lnTo>
                    <a:pt x="118" y="2"/>
                  </a:lnTo>
                  <a:lnTo>
                    <a:pt x="105" y="11"/>
                  </a:lnTo>
                  <a:lnTo>
                    <a:pt x="97" y="23"/>
                  </a:lnTo>
                  <a:lnTo>
                    <a:pt x="95" y="30"/>
                  </a:lnTo>
                  <a:lnTo>
                    <a:pt x="95" y="37"/>
                  </a:lnTo>
                  <a:lnTo>
                    <a:pt x="97" y="51"/>
                  </a:lnTo>
                  <a:lnTo>
                    <a:pt x="99" y="57"/>
                  </a:lnTo>
                  <a:lnTo>
                    <a:pt x="103" y="61"/>
                  </a:lnTo>
                  <a:lnTo>
                    <a:pt x="95" y="64"/>
                  </a:lnTo>
                  <a:lnTo>
                    <a:pt x="95" y="83"/>
                  </a:lnTo>
                  <a:lnTo>
                    <a:pt x="62" y="89"/>
                  </a:lnTo>
                  <a:lnTo>
                    <a:pt x="55" y="102"/>
                  </a:lnTo>
                  <a:lnTo>
                    <a:pt x="66" y="143"/>
                  </a:lnTo>
                  <a:lnTo>
                    <a:pt x="63" y="150"/>
                  </a:lnTo>
                  <a:lnTo>
                    <a:pt x="31" y="154"/>
                  </a:lnTo>
                  <a:lnTo>
                    <a:pt x="31" y="160"/>
                  </a:lnTo>
                  <a:lnTo>
                    <a:pt x="10" y="162"/>
                  </a:lnTo>
                  <a:lnTo>
                    <a:pt x="0" y="166"/>
                  </a:lnTo>
                  <a:lnTo>
                    <a:pt x="0" y="186"/>
                  </a:lnTo>
                  <a:lnTo>
                    <a:pt x="0" y="190"/>
                  </a:lnTo>
                  <a:lnTo>
                    <a:pt x="48" y="272"/>
                  </a:lnTo>
                  <a:lnTo>
                    <a:pt x="91" y="272"/>
                  </a:lnTo>
                  <a:lnTo>
                    <a:pt x="95" y="483"/>
                  </a:lnTo>
                  <a:lnTo>
                    <a:pt x="95" y="629"/>
                  </a:lnTo>
                  <a:lnTo>
                    <a:pt x="93" y="678"/>
                  </a:lnTo>
                  <a:lnTo>
                    <a:pt x="92" y="691"/>
                  </a:lnTo>
                  <a:lnTo>
                    <a:pt x="91" y="696"/>
                  </a:lnTo>
                  <a:lnTo>
                    <a:pt x="86" y="699"/>
                  </a:lnTo>
                  <a:lnTo>
                    <a:pt x="83" y="701"/>
                  </a:lnTo>
                  <a:lnTo>
                    <a:pt x="80" y="706"/>
                  </a:lnTo>
                  <a:lnTo>
                    <a:pt x="80" y="774"/>
                  </a:lnTo>
                  <a:lnTo>
                    <a:pt x="130" y="774"/>
                  </a:lnTo>
                  <a:lnTo>
                    <a:pt x="179" y="774"/>
                  </a:lnTo>
                  <a:lnTo>
                    <a:pt x="179" y="706"/>
                  </a:lnTo>
                  <a:lnTo>
                    <a:pt x="175" y="701"/>
                  </a:lnTo>
                  <a:lnTo>
                    <a:pt x="172" y="699"/>
                  </a:lnTo>
                  <a:lnTo>
                    <a:pt x="167" y="696"/>
                  </a:lnTo>
                  <a:lnTo>
                    <a:pt x="164" y="678"/>
                  </a:lnTo>
                  <a:lnTo>
                    <a:pt x="163" y="629"/>
                  </a:lnTo>
                  <a:lnTo>
                    <a:pt x="164" y="483"/>
                  </a:lnTo>
                  <a:lnTo>
                    <a:pt x="167" y="272"/>
                  </a:lnTo>
                  <a:lnTo>
                    <a:pt x="210" y="272"/>
                  </a:lnTo>
                  <a:lnTo>
                    <a:pt x="258" y="190"/>
                  </a:lnTo>
                  <a:lnTo>
                    <a:pt x="258" y="186"/>
                  </a:lnTo>
                  <a:lnTo>
                    <a:pt x="258" y="166"/>
                  </a:lnTo>
                  <a:lnTo>
                    <a:pt x="248" y="162"/>
                  </a:lnTo>
                  <a:lnTo>
                    <a:pt x="228" y="160"/>
                  </a:ln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5" name="Freeform 68"/>
            <p:cNvSpPr>
              <a:spLocks/>
            </p:cNvSpPr>
            <p:nvPr userDrawn="1"/>
          </p:nvSpPr>
          <p:spPr bwMode="auto">
            <a:xfrm>
              <a:off x="5983288" y="6507163"/>
              <a:ext cx="96838" cy="104775"/>
            </a:xfrm>
            <a:custGeom>
              <a:avLst/>
              <a:gdLst/>
              <a:ahLst/>
              <a:cxnLst>
                <a:cxn ang="0">
                  <a:pos x="274" y="146"/>
                </a:cxn>
                <a:cxn ang="0">
                  <a:pos x="258" y="129"/>
                </a:cxn>
                <a:cxn ang="0">
                  <a:pos x="228" y="113"/>
                </a:cxn>
                <a:cxn ang="0">
                  <a:pos x="221" y="109"/>
                </a:cxn>
                <a:cxn ang="0">
                  <a:pos x="241" y="107"/>
                </a:cxn>
                <a:cxn ang="0">
                  <a:pos x="248" y="92"/>
                </a:cxn>
                <a:cxn ang="0">
                  <a:pos x="244" y="77"/>
                </a:cxn>
                <a:cxn ang="0">
                  <a:pos x="228" y="61"/>
                </a:cxn>
                <a:cxn ang="0">
                  <a:pos x="215" y="50"/>
                </a:cxn>
                <a:cxn ang="0">
                  <a:pos x="195" y="55"/>
                </a:cxn>
                <a:cxn ang="0">
                  <a:pos x="182" y="58"/>
                </a:cxn>
                <a:cxn ang="0">
                  <a:pos x="162" y="71"/>
                </a:cxn>
                <a:cxn ang="0">
                  <a:pos x="150" y="83"/>
                </a:cxn>
                <a:cxn ang="0">
                  <a:pos x="164" y="65"/>
                </a:cxn>
                <a:cxn ang="0">
                  <a:pos x="179" y="59"/>
                </a:cxn>
                <a:cxn ang="0">
                  <a:pos x="200" y="45"/>
                </a:cxn>
                <a:cxn ang="0">
                  <a:pos x="192" y="23"/>
                </a:cxn>
                <a:cxn ang="0">
                  <a:pos x="181" y="14"/>
                </a:cxn>
                <a:cxn ang="0">
                  <a:pos x="165" y="10"/>
                </a:cxn>
                <a:cxn ang="0">
                  <a:pos x="147" y="16"/>
                </a:cxn>
                <a:cxn ang="0">
                  <a:pos x="134" y="9"/>
                </a:cxn>
                <a:cxn ang="0">
                  <a:pos x="122" y="18"/>
                </a:cxn>
                <a:cxn ang="0">
                  <a:pos x="109" y="23"/>
                </a:cxn>
                <a:cxn ang="0">
                  <a:pos x="97" y="29"/>
                </a:cxn>
                <a:cxn ang="0">
                  <a:pos x="93" y="40"/>
                </a:cxn>
                <a:cxn ang="0">
                  <a:pos x="80" y="57"/>
                </a:cxn>
                <a:cxn ang="0">
                  <a:pos x="62" y="71"/>
                </a:cxn>
                <a:cxn ang="0">
                  <a:pos x="52" y="83"/>
                </a:cxn>
                <a:cxn ang="0">
                  <a:pos x="32" y="97"/>
                </a:cxn>
                <a:cxn ang="0">
                  <a:pos x="23" y="127"/>
                </a:cxn>
                <a:cxn ang="0">
                  <a:pos x="56" y="130"/>
                </a:cxn>
                <a:cxn ang="0">
                  <a:pos x="25" y="159"/>
                </a:cxn>
                <a:cxn ang="0">
                  <a:pos x="34" y="170"/>
                </a:cxn>
                <a:cxn ang="0">
                  <a:pos x="63" y="158"/>
                </a:cxn>
                <a:cxn ang="0">
                  <a:pos x="56" y="168"/>
                </a:cxn>
                <a:cxn ang="0">
                  <a:pos x="23" y="194"/>
                </a:cxn>
                <a:cxn ang="0">
                  <a:pos x="6" y="232"/>
                </a:cxn>
                <a:cxn ang="0">
                  <a:pos x="31" y="230"/>
                </a:cxn>
                <a:cxn ang="0">
                  <a:pos x="46" y="249"/>
                </a:cxn>
                <a:cxn ang="0">
                  <a:pos x="52" y="251"/>
                </a:cxn>
                <a:cxn ang="0">
                  <a:pos x="57" y="238"/>
                </a:cxn>
                <a:cxn ang="0">
                  <a:pos x="103" y="238"/>
                </a:cxn>
                <a:cxn ang="0">
                  <a:pos x="63" y="257"/>
                </a:cxn>
                <a:cxn ang="0">
                  <a:pos x="71" y="271"/>
                </a:cxn>
                <a:cxn ang="0">
                  <a:pos x="87" y="258"/>
                </a:cxn>
                <a:cxn ang="0">
                  <a:pos x="118" y="267"/>
                </a:cxn>
                <a:cxn ang="0">
                  <a:pos x="129" y="288"/>
                </a:cxn>
                <a:cxn ang="0">
                  <a:pos x="199" y="270"/>
                </a:cxn>
                <a:cxn ang="0">
                  <a:pos x="233" y="272"/>
                </a:cxn>
                <a:cxn ang="0">
                  <a:pos x="198" y="269"/>
                </a:cxn>
                <a:cxn ang="0">
                  <a:pos x="173" y="251"/>
                </a:cxn>
                <a:cxn ang="0">
                  <a:pos x="189" y="247"/>
                </a:cxn>
                <a:cxn ang="0">
                  <a:pos x="216" y="253"/>
                </a:cxn>
                <a:cxn ang="0">
                  <a:pos x="238" y="252"/>
                </a:cxn>
                <a:cxn ang="0">
                  <a:pos x="263" y="231"/>
                </a:cxn>
                <a:cxn ang="0">
                  <a:pos x="232" y="219"/>
                </a:cxn>
                <a:cxn ang="0">
                  <a:pos x="209" y="204"/>
                </a:cxn>
                <a:cxn ang="0">
                  <a:pos x="226" y="204"/>
                </a:cxn>
                <a:cxn ang="0">
                  <a:pos x="211" y="181"/>
                </a:cxn>
                <a:cxn ang="0">
                  <a:pos x="242" y="198"/>
                </a:cxn>
                <a:cxn ang="0">
                  <a:pos x="277" y="212"/>
                </a:cxn>
                <a:cxn ang="0">
                  <a:pos x="257" y="182"/>
                </a:cxn>
                <a:cxn ang="0">
                  <a:pos x="283" y="172"/>
                </a:cxn>
              </a:cxnLst>
              <a:rect l="0" t="0" r="r" b="b"/>
              <a:pathLst>
                <a:path w="305" h="329">
                  <a:moveTo>
                    <a:pt x="303" y="156"/>
                  </a:moveTo>
                  <a:lnTo>
                    <a:pt x="304" y="156"/>
                  </a:lnTo>
                  <a:lnTo>
                    <a:pt x="303" y="156"/>
                  </a:lnTo>
                  <a:lnTo>
                    <a:pt x="301" y="156"/>
                  </a:lnTo>
                  <a:lnTo>
                    <a:pt x="300" y="156"/>
                  </a:lnTo>
                  <a:lnTo>
                    <a:pt x="300" y="154"/>
                  </a:lnTo>
                  <a:lnTo>
                    <a:pt x="299" y="154"/>
                  </a:lnTo>
                  <a:lnTo>
                    <a:pt x="299" y="156"/>
                  </a:lnTo>
                  <a:lnTo>
                    <a:pt x="299" y="157"/>
                  </a:lnTo>
                  <a:lnTo>
                    <a:pt x="297" y="157"/>
                  </a:lnTo>
                  <a:lnTo>
                    <a:pt x="298" y="156"/>
                  </a:lnTo>
                  <a:lnTo>
                    <a:pt x="298" y="154"/>
                  </a:lnTo>
                  <a:lnTo>
                    <a:pt x="299" y="153"/>
                  </a:lnTo>
                  <a:lnTo>
                    <a:pt x="298" y="153"/>
                  </a:lnTo>
                  <a:lnTo>
                    <a:pt x="297" y="153"/>
                  </a:lnTo>
                  <a:lnTo>
                    <a:pt x="297" y="154"/>
                  </a:lnTo>
                  <a:lnTo>
                    <a:pt x="295" y="156"/>
                  </a:lnTo>
                  <a:lnTo>
                    <a:pt x="294" y="156"/>
                  </a:lnTo>
                  <a:lnTo>
                    <a:pt x="294" y="157"/>
                  </a:lnTo>
                  <a:lnTo>
                    <a:pt x="293" y="157"/>
                  </a:lnTo>
                  <a:lnTo>
                    <a:pt x="293" y="156"/>
                  </a:lnTo>
                  <a:lnTo>
                    <a:pt x="292" y="154"/>
                  </a:lnTo>
                  <a:lnTo>
                    <a:pt x="291" y="156"/>
                  </a:lnTo>
                  <a:lnTo>
                    <a:pt x="289" y="156"/>
                  </a:lnTo>
                  <a:lnTo>
                    <a:pt x="291" y="154"/>
                  </a:lnTo>
                  <a:lnTo>
                    <a:pt x="291" y="153"/>
                  </a:lnTo>
                  <a:lnTo>
                    <a:pt x="292" y="152"/>
                  </a:lnTo>
                  <a:lnTo>
                    <a:pt x="292" y="150"/>
                  </a:lnTo>
                  <a:lnTo>
                    <a:pt x="291" y="151"/>
                  </a:lnTo>
                  <a:lnTo>
                    <a:pt x="291" y="150"/>
                  </a:lnTo>
                  <a:lnTo>
                    <a:pt x="289" y="151"/>
                  </a:lnTo>
                  <a:lnTo>
                    <a:pt x="289" y="152"/>
                  </a:lnTo>
                  <a:lnTo>
                    <a:pt x="288" y="152"/>
                  </a:lnTo>
                  <a:lnTo>
                    <a:pt x="287" y="153"/>
                  </a:lnTo>
                  <a:lnTo>
                    <a:pt x="287" y="152"/>
                  </a:lnTo>
                  <a:lnTo>
                    <a:pt x="286" y="152"/>
                  </a:lnTo>
                  <a:lnTo>
                    <a:pt x="286" y="151"/>
                  </a:lnTo>
                  <a:lnTo>
                    <a:pt x="285" y="148"/>
                  </a:lnTo>
                  <a:lnTo>
                    <a:pt x="283" y="148"/>
                  </a:lnTo>
                  <a:lnTo>
                    <a:pt x="282" y="148"/>
                  </a:lnTo>
                  <a:lnTo>
                    <a:pt x="282" y="147"/>
                  </a:lnTo>
                  <a:lnTo>
                    <a:pt x="283" y="146"/>
                  </a:lnTo>
                  <a:lnTo>
                    <a:pt x="282" y="146"/>
                  </a:lnTo>
                  <a:lnTo>
                    <a:pt x="281" y="146"/>
                  </a:lnTo>
                  <a:lnTo>
                    <a:pt x="281" y="147"/>
                  </a:lnTo>
                  <a:lnTo>
                    <a:pt x="280" y="147"/>
                  </a:lnTo>
                  <a:lnTo>
                    <a:pt x="279" y="147"/>
                  </a:lnTo>
                  <a:lnTo>
                    <a:pt x="277" y="147"/>
                  </a:lnTo>
                  <a:lnTo>
                    <a:pt x="279" y="147"/>
                  </a:lnTo>
                  <a:lnTo>
                    <a:pt x="279" y="146"/>
                  </a:lnTo>
                  <a:lnTo>
                    <a:pt x="279" y="145"/>
                  </a:lnTo>
                  <a:lnTo>
                    <a:pt x="279" y="144"/>
                  </a:lnTo>
                  <a:lnTo>
                    <a:pt x="277" y="145"/>
                  </a:lnTo>
                  <a:lnTo>
                    <a:pt x="276" y="145"/>
                  </a:lnTo>
                  <a:lnTo>
                    <a:pt x="276" y="146"/>
                  </a:lnTo>
                  <a:lnTo>
                    <a:pt x="275" y="145"/>
                  </a:lnTo>
                  <a:lnTo>
                    <a:pt x="274" y="145"/>
                  </a:lnTo>
                  <a:lnTo>
                    <a:pt x="274" y="146"/>
                  </a:lnTo>
                  <a:lnTo>
                    <a:pt x="273" y="146"/>
                  </a:lnTo>
                  <a:lnTo>
                    <a:pt x="271" y="145"/>
                  </a:lnTo>
                  <a:lnTo>
                    <a:pt x="271" y="144"/>
                  </a:lnTo>
                  <a:lnTo>
                    <a:pt x="271" y="142"/>
                  </a:lnTo>
                  <a:lnTo>
                    <a:pt x="270" y="142"/>
                  </a:lnTo>
                  <a:lnTo>
                    <a:pt x="269" y="144"/>
                  </a:lnTo>
                  <a:lnTo>
                    <a:pt x="268" y="145"/>
                  </a:lnTo>
                  <a:lnTo>
                    <a:pt x="267" y="145"/>
                  </a:lnTo>
                  <a:lnTo>
                    <a:pt x="267" y="144"/>
                  </a:lnTo>
                  <a:lnTo>
                    <a:pt x="268" y="144"/>
                  </a:lnTo>
                  <a:lnTo>
                    <a:pt x="268" y="142"/>
                  </a:lnTo>
                  <a:lnTo>
                    <a:pt x="268" y="141"/>
                  </a:lnTo>
                  <a:lnTo>
                    <a:pt x="269" y="140"/>
                  </a:lnTo>
                  <a:lnTo>
                    <a:pt x="268" y="140"/>
                  </a:lnTo>
                  <a:lnTo>
                    <a:pt x="268" y="139"/>
                  </a:lnTo>
                  <a:lnTo>
                    <a:pt x="268" y="140"/>
                  </a:lnTo>
                  <a:lnTo>
                    <a:pt x="267" y="140"/>
                  </a:lnTo>
                  <a:lnTo>
                    <a:pt x="265" y="141"/>
                  </a:lnTo>
                  <a:lnTo>
                    <a:pt x="264" y="140"/>
                  </a:lnTo>
                  <a:lnTo>
                    <a:pt x="264" y="141"/>
                  </a:lnTo>
                  <a:lnTo>
                    <a:pt x="263" y="141"/>
                  </a:lnTo>
                  <a:lnTo>
                    <a:pt x="262" y="141"/>
                  </a:lnTo>
                  <a:lnTo>
                    <a:pt x="260" y="141"/>
                  </a:lnTo>
                  <a:lnTo>
                    <a:pt x="259" y="141"/>
                  </a:lnTo>
                  <a:lnTo>
                    <a:pt x="260" y="141"/>
                  </a:lnTo>
                  <a:lnTo>
                    <a:pt x="260" y="140"/>
                  </a:lnTo>
                  <a:lnTo>
                    <a:pt x="262" y="139"/>
                  </a:lnTo>
                  <a:lnTo>
                    <a:pt x="263" y="138"/>
                  </a:lnTo>
                  <a:lnTo>
                    <a:pt x="262" y="138"/>
                  </a:lnTo>
                  <a:lnTo>
                    <a:pt x="262" y="136"/>
                  </a:lnTo>
                  <a:lnTo>
                    <a:pt x="263" y="136"/>
                  </a:lnTo>
                  <a:lnTo>
                    <a:pt x="263" y="138"/>
                  </a:lnTo>
                  <a:lnTo>
                    <a:pt x="264" y="136"/>
                  </a:lnTo>
                  <a:lnTo>
                    <a:pt x="267" y="135"/>
                  </a:lnTo>
                  <a:lnTo>
                    <a:pt x="268" y="134"/>
                  </a:lnTo>
                  <a:lnTo>
                    <a:pt x="269" y="134"/>
                  </a:lnTo>
                  <a:lnTo>
                    <a:pt x="269" y="133"/>
                  </a:lnTo>
                  <a:lnTo>
                    <a:pt x="269" y="132"/>
                  </a:lnTo>
                  <a:lnTo>
                    <a:pt x="269" y="130"/>
                  </a:lnTo>
                  <a:lnTo>
                    <a:pt x="270" y="129"/>
                  </a:lnTo>
                  <a:lnTo>
                    <a:pt x="269" y="129"/>
                  </a:lnTo>
                  <a:lnTo>
                    <a:pt x="268" y="129"/>
                  </a:lnTo>
                  <a:lnTo>
                    <a:pt x="267" y="128"/>
                  </a:lnTo>
                  <a:lnTo>
                    <a:pt x="267" y="127"/>
                  </a:lnTo>
                  <a:lnTo>
                    <a:pt x="265" y="128"/>
                  </a:lnTo>
                  <a:lnTo>
                    <a:pt x="264" y="129"/>
                  </a:lnTo>
                  <a:lnTo>
                    <a:pt x="264" y="130"/>
                  </a:lnTo>
                  <a:lnTo>
                    <a:pt x="263" y="130"/>
                  </a:lnTo>
                  <a:lnTo>
                    <a:pt x="263" y="128"/>
                  </a:lnTo>
                  <a:lnTo>
                    <a:pt x="264" y="128"/>
                  </a:lnTo>
                  <a:lnTo>
                    <a:pt x="263" y="127"/>
                  </a:lnTo>
                  <a:lnTo>
                    <a:pt x="263" y="128"/>
                  </a:lnTo>
                  <a:lnTo>
                    <a:pt x="262" y="127"/>
                  </a:lnTo>
                  <a:lnTo>
                    <a:pt x="262" y="128"/>
                  </a:lnTo>
                  <a:lnTo>
                    <a:pt x="260" y="128"/>
                  </a:lnTo>
                  <a:lnTo>
                    <a:pt x="259" y="128"/>
                  </a:lnTo>
                  <a:lnTo>
                    <a:pt x="259" y="129"/>
                  </a:lnTo>
                  <a:lnTo>
                    <a:pt x="258" y="129"/>
                  </a:lnTo>
                  <a:lnTo>
                    <a:pt x="258" y="128"/>
                  </a:lnTo>
                  <a:lnTo>
                    <a:pt x="258" y="127"/>
                  </a:lnTo>
                  <a:lnTo>
                    <a:pt x="257" y="125"/>
                  </a:lnTo>
                  <a:lnTo>
                    <a:pt x="257" y="127"/>
                  </a:lnTo>
                  <a:lnTo>
                    <a:pt x="256" y="127"/>
                  </a:lnTo>
                  <a:lnTo>
                    <a:pt x="256" y="125"/>
                  </a:lnTo>
                  <a:lnTo>
                    <a:pt x="257" y="124"/>
                  </a:lnTo>
                  <a:lnTo>
                    <a:pt x="256" y="123"/>
                  </a:lnTo>
                  <a:lnTo>
                    <a:pt x="256" y="122"/>
                  </a:lnTo>
                  <a:lnTo>
                    <a:pt x="256" y="123"/>
                  </a:lnTo>
                  <a:lnTo>
                    <a:pt x="254" y="123"/>
                  </a:lnTo>
                  <a:lnTo>
                    <a:pt x="254" y="124"/>
                  </a:lnTo>
                  <a:lnTo>
                    <a:pt x="253" y="124"/>
                  </a:lnTo>
                  <a:lnTo>
                    <a:pt x="253" y="125"/>
                  </a:lnTo>
                  <a:lnTo>
                    <a:pt x="252" y="125"/>
                  </a:lnTo>
                  <a:lnTo>
                    <a:pt x="251" y="125"/>
                  </a:lnTo>
                  <a:lnTo>
                    <a:pt x="251" y="127"/>
                  </a:lnTo>
                  <a:lnTo>
                    <a:pt x="250" y="127"/>
                  </a:lnTo>
                  <a:lnTo>
                    <a:pt x="248" y="127"/>
                  </a:lnTo>
                  <a:lnTo>
                    <a:pt x="248" y="128"/>
                  </a:lnTo>
                  <a:lnTo>
                    <a:pt x="247" y="128"/>
                  </a:lnTo>
                  <a:lnTo>
                    <a:pt x="247" y="127"/>
                  </a:lnTo>
                  <a:lnTo>
                    <a:pt x="248" y="127"/>
                  </a:lnTo>
                  <a:lnTo>
                    <a:pt x="248" y="125"/>
                  </a:lnTo>
                  <a:lnTo>
                    <a:pt x="248" y="124"/>
                  </a:lnTo>
                  <a:lnTo>
                    <a:pt x="247" y="123"/>
                  </a:lnTo>
                  <a:lnTo>
                    <a:pt x="247" y="124"/>
                  </a:lnTo>
                  <a:lnTo>
                    <a:pt x="247" y="123"/>
                  </a:lnTo>
                  <a:lnTo>
                    <a:pt x="246" y="123"/>
                  </a:lnTo>
                  <a:lnTo>
                    <a:pt x="245" y="123"/>
                  </a:lnTo>
                  <a:lnTo>
                    <a:pt x="245" y="122"/>
                  </a:lnTo>
                  <a:lnTo>
                    <a:pt x="242" y="122"/>
                  </a:lnTo>
                  <a:lnTo>
                    <a:pt x="241" y="123"/>
                  </a:lnTo>
                  <a:lnTo>
                    <a:pt x="240" y="123"/>
                  </a:lnTo>
                  <a:lnTo>
                    <a:pt x="240" y="124"/>
                  </a:lnTo>
                  <a:lnTo>
                    <a:pt x="240" y="123"/>
                  </a:lnTo>
                  <a:lnTo>
                    <a:pt x="239" y="124"/>
                  </a:lnTo>
                  <a:lnTo>
                    <a:pt x="239" y="123"/>
                  </a:lnTo>
                  <a:lnTo>
                    <a:pt x="239" y="122"/>
                  </a:lnTo>
                  <a:lnTo>
                    <a:pt x="238" y="122"/>
                  </a:lnTo>
                  <a:lnTo>
                    <a:pt x="236" y="122"/>
                  </a:lnTo>
                  <a:lnTo>
                    <a:pt x="236" y="121"/>
                  </a:lnTo>
                  <a:lnTo>
                    <a:pt x="235" y="121"/>
                  </a:lnTo>
                  <a:lnTo>
                    <a:pt x="235" y="122"/>
                  </a:lnTo>
                  <a:lnTo>
                    <a:pt x="236" y="122"/>
                  </a:lnTo>
                  <a:lnTo>
                    <a:pt x="235" y="122"/>
                  </a:lnTo>
                  <a:lnTo>
                    <a:pt x="234" y="121"/>
                  </a:lnTo>
                  <a:lnTo>
                    <a:pt x="235" y="119"/>
                  </a:lnTo>
                  <a:lnTo>
                    <a:pt x="235" y="118"/>
                  </a:lnTo>
                  <a:lnTo>
                    <a:pt x="235" y="117"/>
                  </a:lnTo>
                  <a:lnTo>
                    <a:pt x="235" y="116"/>
                  </a:lnTo>
                  <a:lnTo>
                    <a:pt x="235" y="117"/>
                  </a:lnTo>
                  <a:lnTo>
                    <a:pt x="234" y="117"/>
                  </a:lnTo>
                  <a:lnTo>
                    <a:pt x="233" y="117"/>
                  </a:lnTo>
                  <a:lnTo>
                    <a:pt x="229" y="116"/>
                  </a:lnTo>
                  <a:lnTo>
                    <a:pt x="229" y="115"/>
                  </a:lnTo>
                  <a:lnTo>
                    <a:pt x="228" y="115"/>
                  </a:lnTo>
                  <a:lnTo>
                    <a:pt x="228" y="113"/>
                  </a:lnTo>
                  <a:lnTo>
                    <a:pt x="227" y="113"/>
                  </a:lnTo>
                  <a:lnTo>
                    <a:pt x="227" y="115"/>
                  </a:lnTo>
                  <a:lnTo>
                    <a:pt x="226" y="113"/>
                  </a:lnTo>
                  <a:lnTo>
                    <a:pt x="224" y="113"/>
                  </a:lnTo>
                  <a:lnTo>
                    <a:pt x="223" y="113"/>
                  </a:lnTo>
                  <a:lnTo>
                    <a:pt x="222" y="113"/>
                  </a:lnTo>
                  <a:lnTo>
                    <a:pt x="221" y="113"/>
                  </a:lnTo>
                  <a:lnTo>
                    <a:pt x="220" y="113"/>
                  </a:lnTo>
                  <a:lnTo>
                    <a:pt x="220" y="112"/>
                  </a:lnTo>
                  <a:lnTo>
                    <a:pt x="218" y="111"/>
                  </a:lnTo>
                  <a:lnTo>
                    <a:pt x="218" y="112"/>
                  </a:lnTo>
                  <a:lnTo>
                    <a:pt x="217" y="112"/>
                  </a:lnTo>
                  <a:lnTo>
                    <a:pt x="217" y="111"/>
                  </a:lnTo>
                  <a:lnTo>
                    <a:pt x="218" y="111"/>
                  </a:lnTo>
                  <a:lnTo>
                    <a:pt x="217" y="110"/>
                  </a:lnTo>
                  <a:lnTo>
                    <a:pt x="217" y="111"/>
                  </a:lnTo>
                  <a:lnTo>
                    <a:pt x="216" y="110"/>
                  </a:lnTo>
                  <a:lnTo>
                    <a:pt x="217" y="110"/>
                  </a:lnTo>
                  <a:lnTo>
                    <a:pt x="216" y="110"/>
                  </a:lnTo>
                  <a:lnTo>
                    <a:pt x="216" y="109"/>
                  </a:lnTo>
                  <a:lnTo>
                    <a:pt x="217" y="107"/>
                  </a:lnTo>
                  <a:lnTo>
                    <a:pt x="216" y="107"/>
                  </a:lnTo>
                  <a:lnTo>
                    <a:pt x="216" y="106"/>
                  </a:lnTo>
                  <a:lnTo>
                    <a:pt x="215" y="106"/>
                  </a:lnTo>
                  <a:lnTo>
                    <a:pt x="215" y="105"/>
                  </a:lnTo>
                  <a:lnTo>
                    <a:pt x="214" y="105"/>
                  </a:lnTo>
                  <a:lnTo>
                    <a:pt x="214" y="104"/>
                  </a:lnTo>
                  <a:lnTo>
                    <a:pt x="212" y="104"/>
                  </a:lnTo>
                  <a:lnTo>
                    <a:pt x="212" y="103"/>
                  </a:lnTo>
                  <a:lnTo>
                    <a:pt x="214" y="103"/>
                  </a:lnTo>
                  <a:lnTo>
                    <a:pt x="214" y="101"/>
                  </a:lnTo>
                  <a:lnTo>
                    <a:pt x="212" y="101"/>
                  </a:lnTo>
                  <a:lnTo>
                    <a:pt x="214" y="101"/>
                  </a:lnTo>
                  <a:lnTo>
                    <a:pt x="215" y="101"/>
                  </a:lnTo>
                  <a:lnTo>
                    <a:pt x="215" y="100"/>
                  </a:lnTo>
                  <a:lnTo>
                    <a:pt x="216" y="100"/>
                  </a:lnTo>
                  <a:lnTo>
                    <a:pt x="216" y="101"/>
                  </a:lnTo>
                  <a:lnTo>
                    <a:pt x="216" y="100"/>
                  </a:lnTo>
                  <a:lnTo>
                    <a:pt x="217" y="100"/>
                  </a:lnTo>
                  <a:lnTo>
                    <a:pt x="217" y="101"/>
                  </a:lnTo>
                  <a:lnTo>
                    <a:pt x="217" y="100"/>
                  </a:lnTo>
                  <a:lnTo>
                    <a:pt x="218" y="100"/>
                  </a:lnTo>
                  <a:lnTo>
                    <a:pt x="218" y="101"/>
                  </a:lnTo>
                  <a:lnTo>
                    <a:pt x="220" y="101"/>
                  </a:lnTo>
                  <a:lnTo>
                    <a:pt x="220" y="103"/>
                  </a:lnTo>
                  <a:lnTo>
                    <a:pt x="221" y="104"/>
                  </a:lnTo>
                  <a:lnTo>
                    <a:pt x="220" y="104"/>
                  </a:lnTo>
                  <a:lnTo>
                    <a:pt x="220" y="105"/>
                  </a:lnTo>
                  <a:lnTo>
                    <a:pt x="220" y="106"/>
                  </a:lnTo>
                  <a:lnTo>
                    <a:pt x="221" y="106"/>
                  </a:lnTo>
                  <a:lnTo>
                    <a:pt x="221" y="107"/>
                  </a:lnTo>
                  <a:lnTo>
                    <a:pt x="222" y="107"/>
                  </a:lnTo>
                  <a:lnTo>
                    <a:pt x="222" y="109"/>
                  </a:lnTo>
                  <a:lnTo>
                    <a:pt x="223" y="109"/>
                  </a:lnTo>
                  <a:lnTo>
                    <a:pt x="222" y="109"/>
                  </a:lnTo>
                  <a:lnTo>
                    <a:pt x="223" y="109"/>
                  </a:lnTo>
                  <a:lnTo>
                    <a:pt x="222" y="109"/>
                  </a:lnTo>
                  <a:lnTo>
                    <a:pt x="221" y="109"/>
                  </a:lnTo>
                  <a:lnTo>
                    <a:pt x="220" y="109"/>
                  </a:lnTo>
                  <a:lnTo>
                    <a:pt x="220" y="110"/>
                  </a:lnTo>
                  <a:lnTo>
                    <a:pt x="221" y="110"/>
                  </a:lnTo>
                  <a:lnTo>
                    <a:pt x="220" y="110"/>
                  </a:lnTo>
                  <a:lnTo>
                    <a:pt x="221" y="110"/>
                  </a:lnTo>
                  <a:lnTo>
                    <a:pt x="221" y="111"/>
                  </a:lnTo>
                  <a:lnTo>
                    <a:pt x="222" y="111"/>
                  </a:lnTo>
                  <a:lnTo>
                    <a:pt x="222" y="112"/>
                  </a:lnTo>
                  <a:lnTo>
                    <a:pt x="222" y="111"/>
                  </a:lnTo>
                  <a:lnTo>
                    <a:pt x="223" y="111"/>
                  </a:lnTo>
                  <a:lnTo>
                    <a:pt x="223" y="112"/>
                  </a:lnTo>
                  <a:lnTo>
                    <a:pt x="223" y="111"/>
                  </a:lnTo>
                  <a:lnTo>
                    <a:pt x="223" y="112"/>
                  </a:lnTo>
                  <a:lnTo>
                    <a:pt x="224" y="112"/>
                  </a:lnTo>
                  <a:lnTo>
                    <a:pt x="224" y="111"/>
                  </a:lnTo>
                  <a:lnTo>
                    <a:pt x="224" y="112"/>
                  </a:lnTo>
                  <a:lnTo>
                    <a:pt x="224" y="111"/>
                  </a:lnTo>
                  <a:lnTo>
                    <a:pt x="226" y="111"/>
                  </a:lnTo>
                  <a:lnTo>
                    <a:pt x="227" y="111"/>
                  </a:lnTo>
                  <a:lnTo>
                    <a:pt x="228" y="111"/>
                  </a:lnTo>
                  <a:lnTo>
                    <a:pt x="229" y="111"/>
                  </a:lnTo>
                  <a:lnTo>
                    <a:pt x="229" y="110"/>
                  </a:lnTo>
                  <a:lnTo>
                    <a:pt x="228" y="110"/>
                  </a:lnTo>
                  <a:lnTo>
                    <a:pt x="228" y="109"/>
                  </a:lnTo>
                  <a:lnTo>
                    <a:pt x="227" y="109"/>
                  </a:lnTo>
                  <a:lnTo>
                    <a:pt x="227" y="107"/>
                  </a:lnTo>
                  <a:lnTo>
                    <a:pt x="227" y="106"/>
                  </a:lnTo>
                  <a:lnTo>
                    <a:pt x="228" y="106"/>
                  </a:lnTo>
                  <a:lnTo>
                    <a:pt x="228" y="105"/>
                  </a:lnTo>
                  <a:lnTo>
                    <a:pt x="227" y="105"/>
                  </a:lnTo>
                  <a:lnTo>
                    <a:pt x="226" y="105"/>
                  </a:lnTo>
                  <a:lnTo>
                    <a:pt x="226" y="104"/>
                  </a:lnTo>
                  <a:lnTo>
                    <a:pt x="227" y="104"/>
                  </a:lnTo>
                  <a:lnTo>
                    <a:pt x="226" y="104"/>
                  </a:lnTo>
                  <a:lnTo>
                    <a:pt x="227" y="104"/>
                  </a:lnTo>
                  <a:lnTo>
                    <a:pt x="228" y="104"/>
                  </a:lnTo>
                  <a:lnTo>
                    <a:pt x="228" y="105"/>
                  </a:lnTo>
                  <a:lnTo>
                    <a:pt x="229" y="105"/>
                  </a:lnTo>
                  <a:lnTo>
                    <a:pt x="230" y="105"/>
                  </a:lnTo>
                  <a:lnTo>
                    <a:pt x="232" y="105"/>
                  </a:lnTo>
                  <a:lnTo>
                    <a:pt x="233" y="105"/>
                  </a:lnTo>
                  <a:lnTo>
                    <a:pt x="233" y="106"/>
                  </a:lnTo>
                  <a:lnTo>
                    <a:pt x="234" y="107"/>
                  </a:lnTo>
                  <a:lnTo>
                    <a:pt x="234" y="106"/>
                  </a:lnTo>
                  <a:lnTo>
                    <a:pt x="234" y="107"/>
                  </a:lnTo>
                  <a:lnTo>
                    <a:pt x="235" y="107"/>
                  </a:lnTo>
                  <a:lnTo>
                    <a:pt x="236" y="106"/>
                  </a:lnTo>
                  <a:lnTo>
                    <a:pt x="238" y="106"/>
                  </a:lnTo>
                  <a:lnTo>
                    <a:pt x="239" y="106"/>
                  </a:lnTo>
                  <a:lnTo>
                    <a:pt x="239" y="105"/>
                  </a:lnTo>
                  <a:lnTo>
                    <a:pt x="239" y="106"/>
                  </a:lnTo>
                  <a:lnTo>
                    <a:pt x="240" y="106"/>
                  </a:lnTo>
                  <a:lnTo>
                    <a:pt x="240" y="107"/>
                  </a:lnTo>
                  <a:lnTo>
                    <a:pt x="241" y="107"/>
                  </a:lnTo>
                  <a:lnTo>
                    <a:pt x="241" y="106"/>
                  </a:lnTo>
                  <a:lnTo>
                    <a:pt x="241" y="107"/>
                  </a:lnTo>
                  <a:lnTo>
                    <a:pt x="242" y="107"/>
                  </a:lnTo>
                  <a:lnTo>
                    <a:pt x="241" y="107"/>
                  </a:lnTo>
                  <a:lnTo>
                    <a:pt x="241" y="109"/>
                  </a:lnTo>
                  <a:lnTo>
                    <a:pt x="242" y="109"/>
                  </a:lnTo>
                  <a:lnTo>
                    <a:pt x="242" y="107"/>
                  </a:lnTo>
                  <a:lnTo>
                    <a:pt x="242" y="109"/>
                  </a:lnTo>
                  <a:lnTo>
                    <a:pt x="244" y="107"/>
                  </a:lnTo>
                  <a:lnTo>
                    <a:pt x="245" y="109"/>
                  </a:lnTo>
                  <a:lnTo>
                    <a:pt x="245" y="107"/>
                  </a:lnTo>
                  <a:lnTo>
                    <a:pt x="245" y="106"/>
                  </a:lnTo>
                  <a:lnTo>
                    <a:pt x="244" y="106"/>
                  </a:lnTo>
                  <a:lnTo>
                    <a:pt x="242" y="106"/>
                  </a:lnTo>
                  <a:lnTo>
                    <a:pt x="244" y="106"/>
                  </a:lnTo>
                  <a:lnTo>
                    <a:pt x="242" y="106"/>
                  </a:lnTo>
                  <a:lnTo>
                    <a:pt x="242" y="105"/>
                  </a:lnTo>
                  <a:lnTo>
                    <a:pt x="244" y="105"/>
                  </a:lnTo>
                  <a:lnTo>
                    <a:pt x="242" y="105"/>
                  </a:lnTo>
                  <a:lnTo>
                    <a:pt x="241" y="105"/>
                  </a:lnTo>
                  <a:lnTo>
                    <a:pt x="241" y="104"/>
                  </a:lnTo>
                  <a:lnTo>
                    <a:pt x="242" y="104"/>
                  </a:lnTo>
                  <a:lnTo>
                    <a:pt x="244" y="104"/>
                  </a:lnTo>
                  <a:lnTo>
                    <a:pt x="244" y="105"/>
                  </a:lnTo>
                  <a:lnTo>
                    <a:pt x="245" y="105"/>
                  </a:lnTo>
                  <a:lnTo>
                    <a:pt x="246" y="105"/>
                  </a:lnTo>
                  <a:lnTo>
                    <a:pt x="245" y="105"/>
                  </a:lnTo>
                  <a:lnTo>
                    <a:pt x="246" y="105"/>
                  </a:lnTo>
                  <a:lnTo>
                    <a:pt x="246" y="106"/>
                  </a:lnTo>
                  <a:lnTo>
                    <a:pt x="247" y="106"/>
                  </a:lnTo>
                  <a:lnTo>
                    <a:pt x="247" y="105"/>
                  </a:lnTo>
                  <a:lnTo>
                    <a:pt x="248" y="105"/>
                  </a:lnTo>
                  <a:lnTo>
                    <a:pt x="250" y="105"/>
                  </a:lnTo>
                  <a:lnTo>
                    <a:pt x="250" y="104"/>
                  </a:lnTo>
                  <a:lnTo>
                    <a:pt x="250" y="105"/>
                  </a:lnTo>
                  <a:lnTo>
                    <a:pt x="251" y="104"/>
                  </a:lnTo>
                  <a:lnTo>
                    <a:pt x="252" y="104"/>
                  </a:lnTo>
                  <a:lnTo>
                    <a:pt x="252" y="103"/>
                  </a:lnTo>
                  <a:lnTo>
                    <a:pt x="252" y="101"/>
                  </a:lnTo>
                  <a:lnTo>
                    <a:pt x="252" y="100"/>
                  </a:lnTo>
                  <a:lnTo>
                    <a:pt x="253" y="100"/>
                  </a:lnTo>
                  <a:lnTo>
                    <a:pt x="253" y="99"/>
                  </a:lnTo>
                  <a:lnTo>
                    <a:pt x="253" y="98"/>
                  </a:lnTo>
                  <a:lnTo>
                    <a:pt x="254" y="98"/>
                  </a:lnTo>
                  <a:lnTo>
                    <a:pt x="254" y="97"/>
                  </a:lnTo>
                  <a:lnTo>
                    <a:pt x="254" y="95"/>
                  </a:lnTo>
                  <a:lnTo>
                    <a:pt x="253" y="95"/>
                  </a:lnTo>
                  <a:lnTo>
                    <a:pt x="253" y="97"/>
                  </a:lnTo>
                  <a:lnTo>
                    <a:pt x="252" y="97"/>
                  </a:lnTo>
                  <a:lnTo>
                    <a:pt x="251" y="97"/>
                  </a:lnTo>
                  <a:lnTo>
                    <a:pt x="251" y="95"/>
                  </a:lnTo>
                  <a:lnTo>
                    <a:pt x="250" y="95"/>
                  </a:lnTo>
                  <a:lnTo>
                    <a:pt x="248" y="95"/>
                  </a:lnTo>
                  <a:lnTo>
                    <a:pt x="248" y="94"/>
                  </a:lnTo>
                  <a:lnTo>
                    <a:pt x="248" y="95"/>
                  </a:lnTo>
                  <a:lnTo>
                    <a:pt x="247" y="95"/>
                  </a:lnTo>
                  <a:lnTo>
                    <a:pt x="247" y="94"/>
                  </a:lnTo>
                  <a:lnTo>
                    <a:pt x="248" y="94"/>
                  </a:lnTo>
                  <a:lnTo>
                    <a:pt x="248" y="93"/>
                  </a:lnTo>
                  <a:lnTo>
                    <a:pt x="250" y="93"/>
                  </a:lnTo>
                  <a:lnTo>
                    <a:pt x="250" y="92"/>
                  </a:lnTo>
                  <a:lnTo>
                    <a:pt x="248" y="92"/>
                  </a:lnTo>
                  <a:lnTo>
                    <a:pt x="250" y="92"/>
                  </a:lnTo>
                  <a:lnTo>
                    <a:pt x="250" y="91"/>
                  </a:lnTo>
                  <a:lnTo>
                    <a:pt x="251" y="91"/>
                  </a:lnTo>
                  <a:lnTo>
                    <a:pt x="251" y="89"/>
                  </a:lnTo>
                  <a:lnTo>
                    <a:pt x="251" y="88"/>
                  </a:lnTo>
                  <a:lnTo>
                    <a:pt x="252" y="88"/>
                  </a:lnTo>
                  <a:lnTo>
                    <a:pt x="251" y="87"/>
                  </a:lnTo>
                  <a:lnTo>
                    <a:pt x="252" y="87"/>
                  </a:lnTo>
                  <a:lnTo>
                    <a:pt x="252" y="86"/>
                  </a:lnTo>
                  <a:lnTo>
                    <a:pt x="252" y="85"/>
                  </a:lnTo>
                  <a:lnTo>
                    <a:pt x="252" y="83"/>
                  </a:lnTo>
                  <a:lnTo>
                    <a:pt x="252" y="82"/>
                  </a:lnTo>
                  <a:lnTo>
                    <a:pt x="252" y="81"/>
                  </a:lnTo>
                  <a:lnTo>
                    <a:pt x="251" y="81"/>
                  </a:lnTo>
                  <a:lnTo>
                    <a:pt x="251" y="82"/>
                  </a:lnTo>
                  <a:lnTo>
                    <a:pt x="250" y="82"/>
                  </a:lnTo>
                  <a:lnTo>
                    <a:pt x="250" y="83"/>
                  </a:lnTo>
                  <a:lnTo>
                    <a:pt x="248" y="83"/>
                  </a:lnTo>
                  <a:lnTo>
                    <a:pt x="248" y="82"/>
                  </a:lnTo>
                  <a:lnTo>
                    <a:pt x="248" y="81"/>
                  </a:lnTo>
                  <a:lnTo>
                    <a:pt x="247" y="81"/>
                  </a:lnTo>
                  <a:lnTo>
                    <a:pt x="247" y="82"/>
                  </a:lnTo>
                  <a:lnTo>
                    <a:pt x="246" y="82"/>
                  </a:lnTo>
                  <a:lnTo>
                    <a:pt x="246" y="83"/>
                  </a:lnTo>
                  <a:lnTo>
                    <a:pt x="246" y="82"/>
                  </a:lnTo>
                  <a:lnTo>
                    <a:pt x="245" y="82"/>
                  </a:lnTo>
                  <a:lnTo>
                    <a:pt x="244" y="83"/>
                  </a:lnTo>
                  <a:lnTo>
                    <a:pt x="242" y="83"/>
                  </a:lnTo>
                  <a:lnTo>
                    <a:pt x="242" y="85"/>
                  </a:lnTo>
                  <a:lnTo>
                    <a:pt x="241" y="85"/>
                  </a:lnTo>
                  <a:lnTo>
                    <a:pt x="240" y="85"/>
                  </a:lnTo>
                  <a:lnTo>
                    <a:pt x="241" y="85"/>
                  </a:lnTo>
                  <a:lnTo>
                    <a:pt x="241" y="83"/>
                  </a:lnTo>
                  <a:lnTo>
                    <a:pt x="242" y="83"/>
                  </a:lnTo>
                  <a:lnTo>
                    <a:pt x="242" y="82"/>
                  </a:lnTo>
                  <a:lnTo>
                    <a:pt x="242" y="81"/>
                  </a:lnTo>
                  <a:lnTo>
                    <a:pt x="241" y="81"/>
                  </a:lnTo>
                  <a:lnTo>
                    <a:pt x="240" y="81"/>
                  </a:lnTo>
                  <a:lnTo>
                    <a:pt x="241" y="81"/>
                  </a:lnTo>
                  <a:lnTo>
                    <a:pt x="240" y="81"/>
                  </a:lnTo>
                  <a:lnTo>
                    <a:pt x="239" y="81"/>
                  </a:lnTo>
                  <a:lnTo>
                    <a:pt x="239" y="82"/>
                  </a:lnTo>
                  <a:lnTo>
                    <a:pt x="238" y="82"/>
                  </a:lnTo>
                  <a:lnTo>
                    <a:pt x="236" y="82"/>
                  </a:lnTo>
                  <a:lnTo>
                    <a:pt x="235" y="82"/>
                  </a:lnTo>
                  <a:lnTo>
                    <a:pt x="235" y="81"/>
                  </a:lnTo>
                  <a:lnTo>
                    <a:pt x="234" y="81"/>
                  </a:lnTo>
                  <a:lnTo>
                    <a:pt x="235" y="81"/>
                  </a:lnTo>
                  <a:lnTo>
                    <a:pt x="236" y="81"/>
                  </a:lnTo>
                  <a:lnTo>
                    <a:pt x="236" y="80"/>
                  </a:lnTo>
                  <a:lnTo>
                    <a:pt x="238" y="80"/>
                  </a:lnTo>
                  <a:lnTo>
                    <a:pt x="239" y="80"/>
                  </a:lnTo>
                  <a:lnTo>
                    <a:pt x="239" y="79"/>
                  </a:lnTo>
                  <a:lnTo>
                    <a:pt x="240" y="79"/>
                  </a:lnTo>
                  <a:lnTo>
                    <a:pt x="241" y="79"/>
                  </a:lnTo>
                  <a:lnTo>
                    <a:pt x="242" y="79"/>
                  </a:lnTo>
                  <a:lnTo>
                    <a:pt x="242" y="77"/>
                  </a:lnTo>
                  <a:lnTo>
                    <a:pt x="244" y="77"/>
                  </a:lnTo>
                  <a:lnTo>
                    <a:pt x="244" y="76"/>
                  </a:lnTo>
                  <a:lnTo>
                    <a:pt x="245" y="76"/>
                  </a:lnTo>
                  <a:lnTo>
                    <a:pt x="246" y="75"/>
                  </a:lnTo>
                  <a:lnTo>
                    <a:pt x="245" y="75"/>
                  </a:lnTo>
                  <a:lnTo>
                    <a:pt x="246" y="75"/>
                  </a:lnTo>
                  <a:lnTo>
                    <a:pt x="245" y="75"/>
                  </a:lnTo>
                  <a:lnTo>
                    <a:pt x="245" y="74"/>
                  </a:lnTo>
                  <a:lnTo>
                    <a:pt x="246" y="74"/>
                  </a:lnTo>
                  <a:lnTo>
                    <a:pt x="246" y="73"/>
                  </a:lnTo>
                  <a:lnTo>
                    <a:pt x="247" y="73"/>
                  </a:lnTo>
                  <a:lnTo>
                    <a:pt x="246" y="71"/>
                  </a:lnTo>
                  <a:lnTo>
                    <a:pt x="245" y="71"/>
                  </a:lnTo>
                  <a:lnTo>
                    <a:pt x="245" y="73"/>
                  </a:lnTo>
                  <a:lnTo>
                    <a:pt x="245" y="71"/>
                  </a:lnTo>
                  <a:lnTo>
                    <a:pt x="244" y="71"/>
                  </a:lnTo>
                  <a:lnTo>
                    <a:pt x="244" y="73"/>
                  </a:lnTo>
                  <a:lnTo>
                    <a:pt x="242" y="73"/>
                  </a:lnTo>
                  <a:lnTo>
                    <a:pt x="242" y="71"/>
                  </a:lnTo>
                  <a:lnTo>
                    <a:pt x="242" y="70"/>
                  </a:lnTo>
                  <a:lnTo>
                    <a:pt x="241" y="71"/>
                  </a:lnTo>
                  <a:lnTo>
                    <a:pt x="240" y="71"/>
                  </a:lnTo>
                  <a:lnTo>
                    <a:pt x="240" y="73"/>
                  </a:lnTo>
                  <a:lnTo>
                    <a:pt x="240" y="74"/>
                  </a:lnTo>
                  <a:lnTo>
                    <a:pt x="239" y="74"/>
                  </a:lnTo>
                  <a:lnTo>
                    <a:pt x="239" y="73"/>
                  </a:lnTo>
                  <a:lnTo>
                    <a:pt x="238" y="73"/>
                  </a:lnTo>
                  <a:lnTo>
                    <a:pt x="236" y="73"/>
                  </a:lnTo>
                  <a:lnTo>
                    <a:pt x="235" y="73"/>
                  </a:lnTo>
                  <a:lnTo>
                    <a:pt x="234" y="74"/>
                  </a:lnTo>
                  <a:lnTo>
                    <a:pt x="234" y="75"/>
                  </a:lnTo>
                  <a:lnTo>
                    <a:pt x="233" y="75"/>
                  </a:lnTo>
                  <a:lnTo>
                    <a:pt x="234" y="74"/>
                  </a:lnTo>
                  <a:lnTo>
                    <a:pt x="234" y="73"/>
                  </a:lnTo>
                  <a:lnTo>
                    <a:pt x="234" y="71"/>
                  </a:lnTo>
                  <a:lnTo>
                    <a:pt x="233" y="71"/>
                  </a:lnTo>
                  <a:lnTo>
                    <a:pt x="233" y="70"/>
                  </a:lnTo>
                  <a:lnTo>
                    <a:pt x="233" y="69"/>
                  </a:lnTo>
                  <a:lnTo>
                    <a:pt x="234" y="69"/>
                  </a:lnTo>
                  <a:lnTo>
                    <a:pt x="234" y="68"/>
                  </a:lnTo>
                  <a:lnTo>
                    <a:pt x="233" y="68"/>
                  </a:lnTo>
                  <a:lnTo>
                    <a:pt x="233" y="69"/>
                  </a:lnTo>
                  <a:lnTo>
                    <a:pt x="233" y="68"/>
                  </a:lnTo>
                  <a:lnTo>
                    <a:pt x="232" y="68"/>
                  </a:lnTo>
                  <a:lnTo>
                    <a:pt x="230" y="68"/>
                  </a:lnTo>
                  <a:lnTo>
                    <a:pt x="230" y="69"/>
                  </a:lnTo>
                  <a:lnTo>
                    <a:pt x="229" y="69"/>
                  </a:lnTo>
                  <a:lnTo>
                    <a:pt x="229" y="68"/>
                  </a:lnTo>
                  <a:lnTo>
                    <a:pt x="228" y="68"/>
                  </a:lnTo>
                  <a:lnTo>
                    <a:pt x="229" y="67"/>
                  </a:lnTo>
                  <a:lnTo>
                    <a:pt x="229" y="65"/>
                  </a:lnTo>
                  <a:lnTo>
                    <a:pt x="228" y="65"/>
                  </a:lnTo>
                  <a:lnTo>
                    <a:pt x="227" y="65"/>
                  </a:lnTo>
                  <a:lnTo>
                    <a:pt x="226" y="64"/>
                  </a:lnTo>
                  <a:lnTo>
                    <a:pt x="226" y="63"/>
                  </a:lnTo>
                  <a:lnTo>
                    <a:pt x="226" y="62"/>
                  </a:lnTo>
                  <a:lnTo>
                    <a:pt x="227" y="62"/>
                  </a:lnTo>
                  <a:lnTo>
                    <a:pt x="227" y="61"/>
                  </a:lnTo>
                  <a:lnTo>
                    <a:pt x="228" y="61"/>
                  </a:lnTo>
                  <a:lnTo>
                    <a:pt x="227" y="61"/>
                  </a:lnTo>
                  <a:lnTo>
                    <a:pt x="228" y="59"/>
                  </a:lnTo>
                  <a:lnTo>
                    <a:pt x="229" y="59"/>
                  </a:lnTo>
                  <a:lnTo>
                    <a:pt x="230" y="59"/>
                  </a:lnTo>
                  <a:lnTo>
                    <a:pt x="230" y="58"/>
                  </a:lnTo>
                  <a:lnTo>
                    <a:pt x="230" y="57"/>
                  </a:lnTo>
                  <a:lnTo>
                    <a:pt x="229" y="57"/>
                  </a:lnTo>
                  <a:lnTo>
                    <a:pt x="230" y="56"/>
                  </a:lnTo>
                  <a:lnTo>
                    <a:pt x="232" y="56"/>
                  </a:lnTo>
                  <a:lnTo>
                    <a:pt x="232" y="55"/>
                  </a:lnTo>
                  <a:lnTo>
                    <a:pt x="233" y="55"/>
                  </a:lnTo>
                  <a:lnTo>
                    <a:pt x="233" y="53"/>
                  </a:lnTo>
                  <a:lnTo>
                    <a:pt x="233" y="52"/>
                  </a:lnTo>
                  <a:lnTo>
                    <a:pt x="233" y="51"/>
                  </a:lnTo>
                  <a:lnTo>
                    <a:pt x="233" y="50"/>
                  </a:lnTo>
                  <a:lnTo>
                    <a:pt x="233" y="49"/>
                  </a:lnTo>
                  <a:lnTo>
                    <a:pt x="232" y="49"/>
                  </a:lnTo>
                  <a:lnTo>
                    <a:pt x="232" y="50"/>
                  </a:lnTo>
                  <a:lnTo>
                    <a:pt x="230" y="50"/>
                  </a:lnTo>
                  <a:lnTo>
                    <a:pt x="229" y="50"/>
                  </a:lnTo>
                  <a:lnTo>
                    <a:pt x="228" y="50"/>
                  </a:lnTo>
                  <a:lnTo>
                    <a:pt x="228" y="51"/>
                  </a:lnTo>
                  <a:lnTo>
                    <a:pt x="227" y="51"/>
                  </a:lnTo>
                  <a:lnTo>
                    <a:pt x="227" y="52"/>
                  </a:lnTo>
                  <a:lnTo>
                    <a:pt x="226" y="52"/>
                  </a:lnTo>
                  <a:lnTo>
                    <a:pt x="224" y="52"/>
                  </a:lnTo>
                  <a:lnTo>
                    <a:pt x="223" y="52"/>
                  </a:lnTo>
                  <a:lnTo>
                    <a:pt x="222" y="52"/>
                  </a:lnTo>
                  <a:lnTo>
                    <a:pt x="222" y="51"/>
                  </a:lnTo>
                  <a:lnTo>
                    <a:pt x="223" y="51"/>
                  </a:lnTo>
                  <a:lnTo>
                    <a:pt x="223" y="50"/>
                  </a:lnTo>
                  <a:lnTo>
                    <a:pt x="224" y="50"/>
                  </a:lnTo>
                  <a:lnTo>
                    <a:pt x="223" y="50"/>
                  </a:lnTo>
                  <a:lnTo>
                    <a:pt x="223" y="49"/>
                  </a:lnTo>
                  <a:lnTo>
                    <a:pt x="223" y="47"/>
                  </a:lnTo>
                  <a:lnTo>
                    <a:pt x="223" y="46"/>
                  </a:lnTo>
                  <a:lnTo>
                    <a:pt x="223" y="45"/>
                  </a:lnTo>
                  <a:lnTo>
                    <a:pt x="222" y="45"/>
                  </a:lnTo>
                  <a:lnTo>
                    <a:pt x="221" y="45"/>
                  </a:lnTo>
                  <a:lnTo>
                    <a:pt x="221" y="46"/>
                  </a:lnTo>
                  <a:lnTo>
                    <a:pt x="220" y="46"/>
                  </a:lnTo>
                  <a:lnTo>
                    <a:pt x="220" y="45"/>
                  </a:lnTo>
                  <a:lnTo>
                    <a:pt x="220" y="44"/>
                  </a:lnTo>
                  <a:lnTo>
                    <a:pt x="218" y="44"/>
                  </a:lnTo>
                  <a:lnTo>
                    <a:pt x="218" y="45"/>
                  </a:lnTo>
                  <a:lnTo>
                    <a:pt x="218" y="46"/>
                  </a:lnTo>
                  <a:lnTo>
                    <a:pt x="217" y="46"/>
                  </a:lnTo>
                  <a:lnTo>
                    <a:pt x="217" y="47"/>
                  </a:lnTo>
                  <a:lnTo>
                    <a:pt x="217" y="49"/>
                  </a:lnTo>
                  <a:lnTo>
                    <a:pt x="218" y="49"/>
                  </a:lnTo>
                  <a:lnTo>
                    <a:pt x="218" y="50"/>
                  </a:lnTo>
                  <a:lnTo>
                    <a:pt x="218" y="51"/>
                  </a:lnTo>
                  <a:lnTo>
                    <a:pt x="217" y="51"/>
                  </a:lnTo>
                  <a:lnTo>
                    <a:pt x="216" y="51"/>
                  </a:lnTo>
                  <a:lnTo>
                    <a:pt x="215" y="51"/>
                  </a:lnTo>
                  <a:lnTo>
                    <a:pt x="215" y="52"/>
                  </a:lnTo>
                  <a:lnTo>
                    <a:pt x="215" y="51"/>
                  </a:lnTo>
                  <a:lnTo>
                    <a:pt x="215" y="50"/>
                  </a:lnTo>
                  <a:lnTo>
                    <a:pt x="216" y="50"/>
                  </a:lnTo>
                  <a:lnTo>
                    <a:pt x="216" y="49"/>
                  </a:lnTo>
                  <a:lnTo>
                    <a:pt x="216" y="47"/>
                  </a:lnTo>
                  <a:lnTo>
                    <a:pt x="215" y="46"/>
                  </a:lnTo>
                  <a:lnTo>
                    <a:pt x="215" y="47"/>
                  </a:lnTo>
                  <a:lnTo>
                    <a:pt x="214" y="49"/>
                  </a:lnTo>
                  <a:lnTo>
                    <a:pt x="214" y="47"/>
                  </a:lnTo>
                  <a:lnTo>
                    <a:pt x="212" y="47"/>
                  </a:lnTo>
                  <a:lnTo>
                    <a:pt x="212" y="49"/>
                  </a:lnTo>
                  <a:lnTo>
                    <a:pt x="211" y="50"/>
                  </a:lnTo>
                  <a:lnTo>
                    <a:pt x="210" y="50"/>
                  </a:lnTo>
                  <a:lnTo>
                    <a:pt x="210" y="51"/>
                  </a:lnTo>
                  <a:lnTo>
                    <a:pt x="210" y="52"/>
                  </a:lnTo>
                  <a:lnTo>
                    <a:pt x="210" y="53"/>
                  </a:lnTo>
                  <a:lnTo>
                    <a:pt x="210" y="55"/>
                  </a:lnTo>
                  <a:lnTo>
                    <a:pt x="209" y="56"/>
                  </a:lnTo>
                  <a:lnTo>
                    <a:pt x="208" y="56"/>
                  </a:lnTo>
                  <a:lnTo>
                    <a:pt x="208" y="55"/>
                  </a:lnTo>
                  <a:lnTo>
                    <a:pt x="209" y="55"/>
                  </a:lnTo>
                  <a:lnTo>
                    <a:pt x="208" y="53"/>
                  </a:lnTo>
                  <a:lnTo>
                    <a:pt x="208" y="52"/>
                  </a:lnTo>
                  <a:lnTo>
                    <a:pt x="208" y="51"/>
                  </a:lnTo>
                  <a:lnTo>
                    <a:pt x="209" y="51"/>
                  </a:lnTo>
                  <a:lnTo>
                    <a:pt x="209" y="50"/>
                  </a:lnTo>
                  <a:lnTo>
                    <a:pt x="208" y="50"/>
                  </a:lnTo>
                  <a:lnTo>
                    <a:pt x="206" y="51"/>
                  </a:lnTo>
                  <a:lnTo>
                    <a:pt x="206" y="50"/>
                  </a:lnTo>
                  <a:lnTo>
                    <a:pt x="206" y="49"/>
                  </a:lnTo>
                  <a:lnTo>
                    <a:pt x="205" y="49"/>
                  </a:lnTo>
                  <a:lnTo>
                    <a:pt x="205" y="47"/>
                  </a:lnTo>
                  <a:lnTo>
                    <a:pt x="205" y="49"/>
                  </a:lnTo>
                  <a:lnTo>
                    <a:pt x="204" y="49"/>
                  </a:lnTo>
                  <a:lnTo>
                    <a:pt x="203" y="49"/>
                  </a:lnTo>
                  <a:lnTo>
                    <a:pt x="203" y="47"/>
                  </a:lnTo>
                  <a:lnTo>
                    <a:pt x="201" y="47"/>
                  </a:lnTo>
                  <a:lnTo>
                    <a:pt x="201" y="49"/>
                  </a:lnTo>
                  <a:lnTo>
                    <a:pt x="201" y="50"/>
                  </a:lnTo>
                  <a:lnTo>
                    <a:pt x="200" y="49"/>
                  </a:lnTo>
                  <a:lnTo>
                    <a:pt x="200" y="50"/>
                  </a:lnTo>
                  <a:lnTo>
                    <a:pt x="199" y="50"/>
                  </a:lnTo>
                  <a:lnTo>
                    <a:pt x="199" y="51"/>
                  </a:lnTo>
                  <a:lnTo>
                    <a:pt x="198" y="51"/>
                  </a:lnTo>
                  <a:lnTo>
                    <a:pt x="198" y="52"/>
                  </a:lnTo>
                  <a:lnTo>
                    <a:pt x="198" y="53"/>
                  </a:lnTo>
                  <a:lnTo>
                    <a:pt x="199" y="53"/>
                  </a:lnTo>
                  <a:lnTo>
                    <a:pt x="199" y="55"/>
                  </a:lnTo>
                  <a:lnTo>
                    <a:pt x="199" y="53"/>
                  </a:lnTo>
                  <a:lnTo>
                    <a:pt x="199" y="55"/>
                  </a:lnTo>
                  <a:lnTo>
                    <a:pt x="199" y="56"/>
                  </a:lnTo>
                  <a:lnTo>
                    <a:pt x="199" y="57"/>
                  </a:lnTo>
                  <a:lnTo>
                    <a:pt x="199" y="58"/>
                  </a:lnTo>
                  <a:lnTo>
                    <a:pt x="198" y="58"/>
                  </a:lnTo>
                  <a:lnTo>
                    <a:pt x="198" y="57"/>
                  </a:lnTo>
                  <a:lnTo>
                    <a:pt x="198" y="56"/>
                  </a:lnTo>
                  <a:lnTo>
                    <a:pt x="197" y="56"/>
                  </a:lnTo>
                  <a:lnTo>
                    <a:pt x="195" y="55"/>
                  </a:lnTo>
                  <a:lnTo>
                    <a:pt x="195" y="56"/>
                  </a:lnTo>
                  <a:lnTo>
                    <a:pt x="195" y="55"/>
                  </a:lnTo>
                  <a:lnTo>
                    <a:pt x="194" y="53"/>
                  </a:lnTo>
                  <a:lnTo>
                    <a:pt x="193" y="53"/>
                  </a:lnTo>
                  <a:lnTo>
                    <a:pt x="193" y="55"/>
                  </a:lnTo>
                  <a:lnTo>
                    <a:pt x="193" y="56"/>
                  </a:lnTo>
                  <a:lnTo>
                    <a:pt x="192" y="56"/>
                  </a:lnTo>
                  <a:lnTo>
                    <a:pt x="192" y="55"/>
                  </a:lnTo>
                  <a:lnTo>
                    <a:pt x="191" y="55"/>
                  </a:lnTo>
                  <a:lnTo>
                    <a:pt x="191" y="56"/>
                  </a:lnTo>
                  <a:lnTo>
                    <a:pt x="191" y="57"/>
                  </a:lnTo>
                  <a:lnTo>
                    <a:pt x="192" y="57"/>
                  </a:lnTo>
                  <a:lnTo>
                    <a:pt x="191" y="57"/>
                  </a:lnTo>
                  <a:lnTo>
                    <a:pt x="192" y="58"/>
                  </a:lnTo>
                  <a:lnTo>
                    <a:pt x="191" y="58"/>
                  </a:lnTo>
                  <a:lnTo>
                    <a:pt x="191" y="59"/>
                  </a:lnTo>
                  <a:lnTo>
                    <a:pt x="191" y="58"/>
                  </a:lnTo>
                  <a:lnTo>
                    <a:pt x="189" y="58"/>
                  </a:lnTo>
                  <a:lnTo>
                    <a:pt x="189" y="59"/>
                  </a:lnTo>
                  <a:lnTo>
                    <a:pt x="189" y="61"/>
                  </a:lnTo>
                  <a:lnTo>
                    <a:pt x="188" y="61"/>
                  </a:lnTo>
                  <a:lnTo>
                    <a:pt x="188" y="59"/>
                  </a:lnTo>
                  <a:lnTo>
                    <a:pt x="188" y="58"/>
                  </a:lnTo>
                  <a:lnTo>
                    <a:pt x="187" y="58"/>
                  </a:lnTo>
                  <a:lnTo>
                    <a:pt x="187" y="59"/>
                  </a:lnTo>
                  <a:lnTo>
                    <a:pt x="186" y="59"/>
                  </a:lnTo>
                  <a:lnTo>
                    <a:pt x="186" y="58"/>
                  </a:lnTo>
                  <a:lnTo>
                    <a:pt x="186" y="59"/>
                  </a:lnTo>
                  <a:lnTo>
                    <a:pt x="185" y="59"/>
                  </a:lnTo>
                  <a:lnTo>
                    <a:pt x="185" y="61"/>
                  </a:lnTo>
                  <a:lnTo>
                    <a:pt x="186" y="61"/>
                  </a:lnTo>
                  <a:lnTo>
                    <a:pt x="186" y="62"/>
                  </a:lnTo>
                  <a:lnTo>
                    <a:pt x="187" y="62"/>
                  </a:lnTo>
                  <a:lnTo>
                    <a:pt x="187" y="61"/>
                  </a:lnTo>
                  <a:lnTo>
                    <a:pt x="188" y="61"/>
                  </a:lnTo>
                  <a:lnTo>
                    <a:pt x="188" y="62"/>
                  </a:lnTo>
                  <a:lnTo>
                    <a:pt x="187" y="62"/>
                  </a:lnTo>
                  <a:lnTo>
                    <a:pt x="186" y="62"/>
                  </a:lnTo>
                  <a:lnTo>
                    <a:pt x="185" y="62"/>
                  </a:lnTo>
                  <a:lnTo>
                    <a:pt x="185" y="61"/>
                  </a:lnTo>
                  <a:lnTo>
                    <a:pt x="183" y="61"/>
                  </a:lnTo>
                  <a:lnTo>
                    <a:pt x="185" y="59"/>
                  </a:lnTo>
                  <a:lnTo>
                    <a:pt x="185" y="58"/>
                  </a:lnTo>
                  <a:lnTo>
                    <a:pt x="186" y="58"/>
                  </a:lnTo>
                  <a:lnTo>
                    <a:pt x="185" y="57"/>
                  </a:lnTo>
                  <a:lnTo>
                    <a:pt x="186" y="57"/>
                  </a:lnTo>
                  <a:lnTo>
                    <a:pt x="186" y="56"/>
                  </a:lnTo>
                  <a:lnTo>
                    <a:pt x="185" y="56"/>
                  </a:lnTo>
                  <a:lnTo>
                    <a:pt x="185" y="57"/>
                  </a:lnTo>
                  <a:lnTo>
                    <a:pt x="183" y="57"/>
                  </a:lnTo>
                  <a:lnTo>
                    <a:pt x="183" y="56"/>
                  </a:lnTo>
                  <a:lnTo>
                    <a:pt x="182" y="56"/>
                  </a:lnTo>
                  <a:lnTo>
                    <a:pt x="182" y="57"/>
                  </a:lnTo>
                  <a:lnTo>
                    <a:pt x="182" y="56"/>
                  </a:lnTo>
                  <a:lnTo>
                    <a:pt x="181" y="56"/>
                  </a:lnTo>
                  <a:lnTo>
                    <a:pt x="182" y="56"/>
                  </a:lnTo>
                  <a:lnTo>
                    <a:pt x="181" y="56"/>
                  </a:lnTo>
                  <a:lnTo>
                    <a:pt x="181" y="57"/>
                  </a:lnTo>
                  <a:lnTo>
                    <a:pt x="182" y="57"/>
                  </a:lnTo>
                  <a:lnTo>
                    <a:pt x="182" y="58"/>
                  </a:lnTo>
                  <a:lnTo>
                    <a:pt x="182" y="59"/>
                  </a:lnTo>
                  <a:lnTo>
                    <a:pt x="183" y="59"/>
                  </a:lnTo>
                  <a:lnTo>
                    <a:pt x="183" y="61"/>
                  </a:lnTo>
                  <a:lnTo>
                    <a:pt x="183" y="62"/>
                  </a:lnTo>
                  <a:lnTo>
                    <a:pt x="182" y="63"/>
                  </a:lnTo>
                  <a:lnTo>
                    <a:pt x="182" y="62"/>
                  </a:lnTo>
                  <a:lnTo>
                    <a:pt x="181" y="62"/>
                  </a:lnTo>
                  <a:lnTo>
                    <a:pt x="180" y="62"/>
                  </a:lnTo>
                  <a:lnTo>
                    <a:pt x="179" y="62"/>
                  </a:lnTo>
                  <a:lnTo>
                    <a:pt x="177" y="62"/>
                  </a:lnTo>
                  <a:lnTo>
                    <a:pt x="176" y="63"/>
                  </a:lnTo>
                  <a:lnTo>
                    <a:pt x="176" y="62"/>
                  </a:lnTo>
                  <a:lnTo>
                    <a:pt x="176" y="63"/>
                  </a:lnTo>
                  <a:lnTo>
                    <a:pt x="175" y="63"/>
                  </a:lnTo>
                  <a:lnTo>
                    <a:pt x="175" y="62"/>
                  </a:lnTo>
                  <a:lnTo>
                    <a:pt x="175" y="63"/>
                  </a:lnTo>
                  <a:lnTo>
                    <a:pt x="174" y="63"/>
                  </a:lnTo>
                  <a:lnTo>
                    <a:pt x="174" y="62"/>
                  </a:lnTo>
                  <a:lnTo>
                    <a:pt x="175" y="62"/>
                  </a:lnTo>
                  <a:lnTo>
                    <a:pt x="174" y="62"/>
                  </a:lnTo>
                  <a:lnTo>
                    <a:pt x="174" y="63"/>
                  </a:lnTo>
                  <a:lnTo>
                    <a:pt x="174" y="64"/>
                  </a:lnTo>
                  <a:lnTo>
                    <a:pt x="175" y="64"/>
                  </a:lnTo>
                  <a:lnTo>
                    <a:pt x="175" y="65"/>
                  </a:lnTo>
                  <a:lnTo>
                    <a:pt x="175" y="64"/>
                  </a:lnTo>
                  <a:lnTo>
                    <a:pt x="175" y="65"/>
                  </a:lnTo>
                  <a:lnTo>
                    <a:pt x="175" y="67"/>
                  </a:lnTo>
                  <a:lnTo>
                    <a:pt x="176" y="67"/>
                  </a:lnTo>
                  <a:lnTo>
                    <a:pt x="176" y="68"/>
                  </a:lnTo>
                  <a:lnTo>
                    <a:pt x="175" y="68"/>
                  </a:lnTo>
                  <a:lnTo>
                    <a:pt x="175" y="67"/>
                  </a:lnTo>
                  <a:lnTo>
                    <a:pt x="175" y="65"/>
                  </a:lnTo>
                  <a:lnTo>
                    <a:pt x="174" y="65"/>
                  </a:lnTo>
                  <a:lnTo>
                    <a:pt x="174" y="67"/>
                  </a:lnTo>
                  <a:lnTo>
                    <a:pt x="174" y="65"/>
                  </a:lnTo>
                  <a:lnTo>
                    <a:pt x="174" y="67"/>
                  </a:lnTo>
                  <a:lnTo>
                    <a:pt x="174" y="68"/>
                  </a:lnTo>
                  <a:lnTo>
                    <a:pt x="173" y="68"/>
                  </a:lnTo>
                  <a:lnTo>
                    <a:pt x="173" y="67"/>
                  </a:lnTo>
                  <a:lnTo>
                    <a:pt x="171" y="67"/>
                  </a:lnTo>
                  <a:lnTo>
                    <a:pt x="170" y="67"/>
                  </a:lnTo>
                  <a:lnTo>
                    <a:pt x="170" y="68"/>
                  </a:lnTo>
                  <a:lnTo>
                    <a:pt x="169" y="68"/>
                  </a:lnTo>
                  <a:lnTo>
                    <a:pt x="168" y="68"/>
                  </a:lnTo>
                  <a:lnTo>
                    <a:pt x="167" y="68"/>
                  </a:lnTo>
                  <a:lnTo>
                    <a:pt x="167" y="69"/>
                  </a:lnTo>
                  <a:lnTo>
                    <a:pt x="165" y="69"/>
                  </a:lnTo>
                  <a:lnTo>
                    <a:pt x="164" y="69"/>
                  </a:lnTo>
                  <a:lnTo>
                    <a:pt x="163" y="69"/>
                  </a:lnTo>
                  <a:lnTo>
                    <a:pt x="163" y="70"/>
                  </a:lnTo>
                  <a:lnTo>
                    <a:pt x="162" y="70"/>
                  </a:lnTo>
                  <a:lnTo>
                    <a:pt x="161" y="70"/>
                  </a:lnTo>
                  <a:lnTo>
                    <a:pt x="162" y="70"/>
                  </a:lnTo>
                  <a:lnTo>
                    <a:pt x="163" y="70"/>
                  </a:lnTo>
                  <a:lnTo>
                    <a:pt x="163" y="71"/>
                  </a:lnTo>
                  <a:lnTo>
                    <a:pt x="162" y="71"/>
                  </a:lnTo>
                  <a:lnTo>
                    <a:pt x="163" y="71"/>
                  </a:lnTo>
                  <a:lnTo>
                    <a:pt x="162" y="71"/>
                  </a:lnTo>
                  <a:lnTo>
                    <a:pt x="161" y="73"/>
                  </a:lnTo>
                  <a:lnTo>
                    <a:pt x="161" y="71"/>
                  </a:lnTo>
                  <a:lnTo>
                    <a:pt x="161" y="70"/>
                  </a:lnTo>
                  <a:lnTo>
                    <a:pt x="161" y="71"/>
                  </a:lnTo>
                  <a:lnTo>
                    <a:pt x="161" y="73"/>
                  </a:lnTo>
                  <a:lnTo>
                    <a:pt x="159" y="73"/>
                  </a:lnTo>
                  <a:lnTo>
                    <a:pt x="159" y="71"/>
                  </a:lnTo>
                  <a:lnTo>
                    <a:pt x="158" y="71"/>
                  </a:lnTo>
                  <a:lnTo>
                    <a:pt x="158" y="73"/>
                  </a:lnTo>
                  <a:lnTo>
                    <a:pt x="157" y="73"/>
                  </a:lnTo>
                  <a:lnTo>
                    <a:pt x="156" y="73"/>
                  </a:lnTo>
                  <a:lnTo>
                    <a:pt x="156" y="74"/>
                  </a:lnTo>
                  <a:lnTo>
                    <a:pt x="156" y="73"/>
                  </a:lnTo>
                  <a:lnTo>
                    <a:pt x="155" y="73"/>
                  </a:lnTo>
                  <a:lnTo>
                    <a:pt x="155" y="74"/>
                  </a:lnTo>
                  <a:lnTo>
                    <a:pt x="155" y="75"/>
                  </a:lnTo>
                  <a:lnTo>
                    <a:pt x="155" y="76"/>
                  </a:lnTo>
                  <a:lnTo>
                    <a:pt x="155" y="77"/>
                  </a:lnTo>
                  <a:lnTo>
                    <a:pt x="156" y="77"/>
                  </a:lnTo>
                  <a:lnTo>
                    <a:pt x="157" y="77"/>
                  </a:lnTo>
                  <a:lnTo>
                    <a:pt x="157" y="79"/>
                  </a:lnTo>
                  <a:lnTo>
                    <a:pt x="158" y="79"/>
                  </a:lnTo>
                  <a:lnTo>
                    <a:pt x="158" y="77"/>
                  </a:lnTo>
                  <a:lnTo>
                    <a:pt x="158" y="76"/>
                  </a:lnTo>
                  <a:lnTo>
                    <a:pt x="158" y="77"/>
                  </a:lnTo>
                  <a:lnTo>
                    <a:pt x="158" y="79"/>
                  </a:lnTo>
                  <a:lnTo>
                    <a:pt x="158" y="77"/>
                  </a:lnTo>
                  <a:lnTo>
                    <a:pt x="159" y="76"/>
                  </a:lnTo>
                  <a:lnTo>
                    <a:pt x="161" y="76"/>
                  </a:lnTo>
                  <a:lnTo>
                    <a:pt x="161" y="77"/>
                  </a:lnTo>
                  <a:lnTo>
                    <a:pt x="159" y="77"/>
                  </a:lnTo>
                  <a:lnTo>
                    <a:pt x="159" y="79"/>
                  </a:lnTo>
                  <a:lnTo>
                    <a:pt x="158" y="79"/>
                  </a:lnTo>
                  <a:lnTo>
                    <a:pt x="157" y="79"/>
                  </a:lnTo>
                  <a:lnTo>
                    <a:pt x="157" y="80"/>
                  </a:lnTo>
                  <a:lnTo>
                    <a:pt x="157" y="81"/>
                  </a:lnTo>
                  <a:lnTo>
                    <a:pt x="157" y="82"/>
                  </a:lnTo>
                  <a:lnTo>
                    <a:pt x="157" y="81"/>
                  </a:lnTo>
                  <a:lnTo>
                    <a:pt x="156" y="81"/>
                  </a:lnTo>
                  <a:lnTo>
                    <a:pt x="156" y="80"/>
                  </a:lnTo>
                  <a:lnTo>
                    <a:pt x="157" y="80"/>
                  </a:lnTo>
                  <a:lnTo>
                    <a:pt x="157" y="79"/>
                  </a:lnTo>
                  <a:lnTo>
                    <a:pt x="156" y="79"/>
                  </a:lnTo>
                  <a:lnTo>
                    <a:pt x="156" y="80"/>
                  </a:lnTo>
                  <a:lnTo>
                    <a:pt x="156" y="79"/>
                  </a:lnTo>
                  <a:lnTo>
                    <a:pt x="155" y="79"/>
                  </a:lnTo>
                  <a:lnTo>
                    <a:pt x="153" y="79"/>
                  </a:lnTo>
                  <a:lnTo>
                    <a:pt x="153" y="80"/>
                  </a:lnTo>
                  <a:lnTo>
                    <a:pt x="152" y="80"/>
                  </a:lnTo>
                  <a:lnTo>
                    <a:pt x="152" y="81"/>
                  </a:lnTo>
                  <a:lnTo>
                    <a:pt x="152" y="82"/>
                  </a:lnTo>
                  <a:lnTo>
                    <a:pt x="151" y="82"/>
                  </a:lnTo>
                  <a:lnTo>
                    <a:pt x="151" y="83"/>
                  </a:lnTo>
                  <a:lnTo>
                    <a:pt x="152" y="83"/>
                  </a:lnTo>
                  <a:lnTo>
                    <a:pt x="151" y="83"/>
                  </a:lnTo>
                  <a:lnTo>
                    <a:pt x="151" y="85"/>
                  </a:lnTo>
                  <a:lnTo>
                    <a:pt x="150" y="85"/>
                  </a:lnTo>
                  <a:lnTo>
                    <a:pt x="150" y="83"/>
                  </a:lnTo>
                  <a:lnTo>
                    <a:pt x="150" y="85"/>
                  </a:lnTo>
                  <a:lnTo>
                    <a:pt x="149" y="85"/>
                  </a:lnTo>
                  <a:lnTo>
                    <a:pt x="150" y="85"/>
                  </a:lnTo>
                  <a:lnTo>
                    <a:pt x="150" y="83"/>
                  </a:lnTo>
                  <a:lnTo>
                    <a:pt x="151" y="83"/>
                  </a:lnTo>
                  <a:lnTo>
                    <a:pt x="150" y="83"/>
                  </a:lnTo>
                  <a:lnTo>
                    <a:pt x="150" y="82"/>
                  </a:lnTo>
                  <a:lnTo>
                    <a:pt x="150" y="81"/>
                  </a:lnTo>
                  <a:lnTo>
                    <a:pt x="151" y="81"/>
                  </a:lnTo>
                  <a:lnTo>
                    <a:pt x="151" y="80"/>
                  </a:lnTo>
                  <a:lnTo>
                    <a:pt x="151" y="79"/>
                  </a:lnTo>
                  <a:lnTo>
                    <a:pt x="152" y="79"/>
                  </a:lnTo>
                  <a:lnTo>
                    <a:pt x="152" y="77"/>
                  </a:lnTo>
                  <a:lnTo>
                    <a:pt x="152" y="76"/>
                  </a:lnTo>
                  <a:lnTo>
                    <a:pt x="152" y="75"/>
                  </a:lnTo>
                  <a:lnTo>
                    <a:pt x="152" y="74"/>
                  </a:lnTo>
                  <a:lnTo>
                    <a:pt x="153" y="74"/>
                  </a:lnTo>
                  <a:lnTo>
                    <a:pt x="152" y="74"/>
                  </a:lnTo>
                  <a:lnTo>
                    <a:pt x="152" y="73"/>
                  </a:lnTo>
                  <a:lnTo>
                    <a:pt x="153" y="73"/>
                  </a:lnTo>
                  <a:lnTo>
                    <a:pt x="153" y="71"/>
                  </a:lnTo>
                  <a:lnTo>
                    <a:pt x="153" y="70"/>
                  </a:lnTo>
                  <a:lnTo>
                    <a:pt x="155" y="70"/>
                  </a:lnTo>
                  <a:lnTo>
                    <a:pt x="156" y="70"/>
                  </a:lnTo>
                  <a:lnTo>
                    <a:pt x="155" y="70"/>
                  </a:lnTo>
                  <a:lnTo>
                    <a:pt x="156" y="70"/>
                  </a:lnTo>
                  <a:lnTo>
                    <a:pt x="156" y="69"/>
                  </a:lnTo>
                  <a:lnTo>
                    <a:pt x="155" y="69"/>
                  </a:lnTo>
                  <a:lnTo>
                    <a:pt x="156" y="69"/>
                  </a:lnTo>
                  <a:lnTo>
                    <a:pt x="156" y="68"/>
                  </a:lnTo>
                  <a:lnTo>
                    <a:pt x="156" y="69"/>
                  </a:lnTo>
                  <a:lnTo>
                    <a:pt x="155" y="68"/>
                  </a:lnTo>
                  <a:lnTo>
                    <a:pt x="155" y="69"/>
                  </a:lnTo>
                  <a:lnTo>
                    <a:pt x="155" y="68"/>
                  </a:lnTo>
                  <a:lnTo>
                    <a:pt x="156" y="68"/>
                  </a:lnTo>
                  <a:lnTo>
                    <a:pt x="157" y="68"/>
                  </a:lnTo>
                  <a:lnTo>
                    <a:pt x="158" y="68"/>
                  </a:lnTo>
                  <a:lnTo>
                    <a:pt x="159" y="68"/>
                  </a:lnTo>
                  <a:lnTo>
                    <a:pt x="161" y="68"/>
                  </a:lnTo>
                  <a:lnTo>
                    <a:pt x="161" y="67"/>
                  </a:lnTo>
                  <a:lnTo>
                    <a:pt x="161" y="65"/>
                  </a:lnTo>
                  <a:lnTo>
                    <a:pt x="159" y="65"/>
                  </a:lnTo>
                  <a:lnTo>
                    <a:pt x="158" y="65"/>
                  </a:lnTo>
                  <a:lnTo>
                    <a:pt x="157" y="65"/>
                  </a:lnTo>
                  <a:lnTo>
                    <a:pt x="157" y="64"/>
                  </a:lnTo>
                  <a:lnTo>
                    <a:pt x="158" y="64"/>
                  </a:lnTo>
                  <a:lnTo>
                    <a:pt x="158" y="63"/>
                  </a:lnTo>
                  <a:lnTo>
                    <a:pt x="158" y="64"/>
                  </a:lnTo>
                  <a:lnTo>
                    <a:pt x="158" y="65"/>
                  </a:lnTo>
                  <a:lnTo>
                    <a:pt x="159" y="65"/>
                  </a:lnTo>
                  <a:lnTo>
                    <a:pt x="161" y="65"/>
                  </a:lnTo>
                  <a:lnTo>
                    <a:pt x="162" y="65"/>
                  </a:lnTo>
                  <a:lnTo>
                    <a:pt x="162" y="64"/>
                  </a:lnTo>
                  <a:lnTo>
                    <a:pt x="162" y="65"/>
                  </a:lnTo>
                  <a:lnTo>
                    <a:pt x="162" y="64"/>
                  </a:lnTo>
                  <a:lnTo>
                    <a:pt x="163" y="64"/>
                  </a:lnTo>
                  <a:lnTo>
                    <a:pt x="163" y="65"/>
                  </a:lnTo>
                  <a:lnTo>
                    <a:pt x="164" y="65"/>
                  </a:lnTo>
                  <a:lnTo>
                    <a:pt x="164" y="64"/>
                  </a:lnTo>
                  <a:lnTo>
                    <a:pt x="165" y="64"/>
                  </a:lnTo>
                  <a:lnTo>
                    <a:pt x="167" y="64"/>
                  </a:lnTo>
                  <a:lnTo>
                    <a:pt x="168" y="63"/>
                  </a:lnTo>
                  <a:lnTo>
                    <a:pt x="167" y="63"/>
                  </a:lnTo>
                  <a:lnTo>
                    <a:pt x="167" y="62"/>
                  </a:lnTo>
                  <a:lnTo>
                    <a:pt x="165" y="62"/>
                  </a:lnTo>
                  <a:lnTo>
                    <a:pt x="165" y="63"/>
                  </a:lnTo>
                  <a:lnTo>
                    <a:pt x="164" y="63"/>
                  </a:lnTo>
                  <a:lnTo>
                    <a:pt x="164" y="62"/>
                  </a:lnTo>
                  <a:lnTo>
                    <a:pt x="165" y="62"/>
                  </a:lnTo>
                  <a:lnTo>
                    <a:pt x="167" y="62"/>
                  </a:lnTo>
                  <a:lnTo>
                    <a:pt x="168" y="62"/>
                  </a:lnTo>
                  <a:lnTo>
                    <a:pt x="168" y="63"/>
                  </a:lnTo>
                  <a:lnTo>
                    <a:pt x="168" y="62"/>
                  </a:lnTo>
                  <a:lnTo>
                    <a:pt x="167" y="62"/>
                  </a:lnTo>
                  <a:lnTo>
                    <a:pt x="168" y="62"/>
                  </a:lnTo>
                  <a:lnTo>
                    <a:pt x="168" y="61"/>
                  </a:lnTo>
                  <a:lnTo>
                    <a:pt x="168" y="59"/>
                  </a:lnTo>
                  <a:lnTo>
                    <a:pt x="168" y="58"/>
                  </a:lnTo>
                  <a:lnTo>
                    <a:pt x="169" y="58"/>
                  </a:lnTo>
                  <a:lnTo>
                    <a:pt x="170" y="58"/>
                  </a:lnTo>
                  <a:lnTo>
                    <a:pt x="170" y="59"/>
                  </a:lnTo>
                  <a:lnTo>
                    <a:pt x="169" y="59"/>
                  </a:lnTo>
                  <a:lnTo>
                    <a:pt x="169" y="58"/>
                  </a:lnTo>
                  <a:lnTo>
                    <a:pt x="169" y="59"/>
                  </a:lnTo>
                  <a:lnTo>
                    <a:pt x="170" y="59"/>
                  </a:lnTo>
                  <a:lnTo>
                    <a:pt x="169" y="59"/>
                  </a:lnTo>
                  <a:lnTo>
                    <a:pt x="169" y="61"/>
                  </a:lnTo>
                  <a:lnTo>
                    <a:pt x="169" y="59"/>
                  </a:lnTo>
                  <a:lnTo>
                    <a:pt x="168" y="59"/>
                  </a:lnTo>
                  <a:lnTo>
                    <a:pt x="169" y="61"/>
                  </a:lnTo>
                  <a:lnTo>
                    <a:pt x="170" y="61"/>
                  </a:lnTo>
                  <a:lnTo>
                    <a:pt x="171" y="61"/>
                  </a:lnTo>
                  <a:lnTo>
                    <a:pt x="171" y="62"/>
                  </a:lnTo>
                  <a:lnTo>
                    <a:pt x="173" y="62"/>
                  </a:lnTo>
                  <a:lnTo>
                    <a:pt x="173" y="61"/>
                  </a:lnTo>
                  <a:lnTo>
                    <a:pt x="173" y="59"/>
                  </a:lnTo>
                  <a:lnTo>
                    <a:pt x="173" y="61"/>
                  </a:lnTo>
                  <a:lnTo>
                    <a:pt x="171" y="61"/>
                  </a:lnTo>
                  <a:lnTo>
                    <a:pt x="173" y="61"/>
                  </a:lnTo>
                  <a:lnTo>
                    <a:pt x="171" y="61"/>
                  </a:lnTo>
                  <a:lnTo>
                    <a:pt x="171" y="59"/>
                  </a:lnTo>
                  <a:lnTo>
                    <a:pt x="173" y="59"/>
                  </a:lnTo>
                  <a:lnTo>
                    <a:pt x="171" y="59"/>
                  </a:lnTo>
                  <a:lnTo>
                    <a:pt x="173" y="59"/>
                  </a:lnTo>
                  <a:lnTo>
                    <a:pt x="173" y="58"/>
                  </a:lnTo>
                  <a:lnTo>
                    <a:pt x="174" y="58"/>
                  </a:lnTo>
                  <a:lnTo>
                    <a:pt x="174" y="57"/>
                  </a:lnTo>
                  <a:lnTo>
                    <a:pt x="174" y="58"/>
                  </a:lnTo>
                  <a:lnTo>
                    <a:pt x="175" y="58"/>
                  </a:lnTo>
                  <a:lnTo>
                    <a:pt x="175" y="57"/>
                  </a:lnTo>
                  <a:lnTo>
                    <a:pt x="176" y="57"/>
                  </a:lnTo>
                  <a:lnTo>
                    <a:pt x="177" y="58"/>
                  </a:lnTo>
                  <a:lnTo>
                    <a:pt x="177" y="57"/>
                  </a:lnTo>
                  <a:lnTo>
                    <a:pt x="177" y="58"/>
                  </a:lnTo>
                  <a:lnTo>
                    <a:pt x="177" y="59"/>
                  </a:lnTo>
                  <a:lnTo>
                    <a:pt x="179" y="59"/>
                  </a:lnTo>
                  <a:lnTo>
                    <a:pt x="179" y="61"/>
                  </a:lnTo>
                  <a:lnTo>
                    <a:pt x="180" y="59"/>
                  </a:lnTo>
                  <a:lnTo>
                    <a:pt x="180" y="61"/>
                  </a:lnTo>
                  <a:lnTo>
                    <a:pt x="181" y="59"/>
                  </a:lnTo>
                  <a:lnTo>
                    <a:pt x="180" y="59"/>
                  </a:lnTo>
                  <a:lnTo>
                    <a:pt x="180" y="58"/>
                  </a:lnTo>
                  <a:lnTo>
                    <a:pt x="180" y="59"/>
                  </a:lnTo>
                  <a:lnTo>
                    <a:pt x="180" y="58"/>
                  </a:lnTo>
                  <a:lnTo>
                    <a:pt x="180" y="57"/>
                  </a:lnTo>
                  <a:lnTo>
                    <a:pt x="179" y="57"/>
                  </a:lnTo>
                  <a:lnTo>
                    <a:pt x="179" y="56"/>
                  </a:lnTo>
                  <a:lnTo>
                    <a:pt x="180" y="56"/>
                  </a:lnTo>
                  <a:lnTo>
                    <a:pt x="179" y="56"/>
                  </a:lnTo>
                  <a:lnTo>
                    <a:pt x="179" y="55"/>
                  </a:lnTo>
                  <a:lnTo>
                    <a:pt x="180" y="55"/>
                  </a:lnTo>
                  <a:lnTo>
                    <a:pt x="181" y="55"/>
                  </a:lnTo>
                  <a:lnTo>
                    <a:pt x="181" y="56"/>
                  </a:lnTo>
                  <a:lnTo>
                    <a:pt x="181" y="55"/>
                  </a:lnTo>
                  <a:lnTo>
                    <a:pt x="182" y="55"/>
                  </a:lnTo>
                  <a:lnTo>
                    <a:pt x="183" y="55"/>
                  </a:lnTo>
                  <a:lnTo>
                    <a:pt x="185" y="55"/>
                  </a:lnTo>
                  <a:lnTo>
                    <a:pt x="185" y="56"/>
                  </a:lnTo>
                  <a:lnTo>
                    <a:pt x="186" y="56"/>
                  </a:lnTo>
                  <a:lnTo>
                    <a:pt x="186" y="55"/>
                  </a:lnTo>
                  <a:lnTo>
                    <a:pt x="185" y="55"/>
                  </a:lnTo>
                  <a:lnTo>
                    <a:pt x="186" y="55"/>
                  </a:lnTo>
                  <a:lnTo>
                    <a:pt x="187" y="55"/>
                  </a:lnTo>
                  <a:lnTo>
                    <a:pt x="188" y="56"/>
                  </a:lnTo>
                  <a:lnTo>
                    <a:pt x="187" y="56"/>
                  </a:lnTo>
                  <a:lnTo>
                    <a:pt x="188" y="56"/>
                  </a:lnTo>
                  <a:lnTo>
                    <a:pt x="188" y="57"/>
                  </a:lnTo>
                  <a:lnTo>
                    <a:pt x="189" y="57"/>
                  </a:lnTo>
                  <a:lnTo>
                    <a:pt x="189" y="56"/>
                  </a:lnTo>
                  <a:lnTo>
                    <a:pt x="188" y="56"/>
                  </a:lnTo>
                  <a:lnTo>
                    <a:pt x="189" y="56"/>
                  </a:lnTo>
                  <a:lnTo>
                    <a:pt x="188" y="55"/>
                  </a:lnTo>
                  <a:lnTo>
                    <a:pt x="188" y="53"/>
                  </a:lnTo>
                  <a:lnTo>
                    <a:pt x="189" y="53"/>
                  </a:lnTo>
                  <a:lnTo>
                    <a:pt x="189" y="55"/>
                  </a:lnTo>
                  <a:lnTo>
                    <a:pt x="189" y="53"/>
                  </a:lnTo>
                  <a:lnTo>
                    <a:pt x="191" y="53"/>
                  </a:lnTo>
                  <a:lnTo>
                    <a:pt x="191" y="52"/>
                  </a:lnTo>
                  <a:lnTo>
                    <a:pt x="192" y="52"/>
                  </a:lnTo>
                  <a:lnTo>
                    <a:pt x="193" y="52"/>
                  </a:lnTo>
                  <a:lnTo>
                    <a:pt x="193" y="51"/>
                  </a:lnTo>
                  <a:lnTo>
                    <a:pt x="194" y="51"/>
                  </a:lnTo>
                  <a:lnTo>
                    <a:pt x="194" y="50"/>
                  </a:lnTo>
                  <a:lnTo>
                    <a:pt x="195" y="50"/>
                  </a:lnTo>
                  <a:lnTo>
                    <a:pt x="197" y="50"/>
                  </a:lnTo>
                  <a:lnTo>
                    <a:pt x="197" y="49"/>
                  </a:lnTo>
                  <a:lnTo>
                    <a:pt x="198" y="49"/>
                  </a:lnTo>
                  <a:lnTo>
                    <a:pt x="198" y="47"/>
                  </a:lnTo>
                  <a:lnTo>
                    <a:pt x="198" y="46"/>
                  </a:lnTo>
                  <a:lnTo>
                    <a:pt x="197" y="46"/>
                  </a:lnTo>
                  <a:lnTo>
                    <a:pt x="198" y="46"/>
                  </a:lnTo>
                  <a:lnTo>
                    <a:pt x="198" y="45"/>
                  </a:lnTo>
                  <a:lnTo>
                    <a:pt x="199" y="45"/>
                  </a:lnTo>
                  <a:lnTo>
                    <a:pt x="200" y="45"/>
                  </a:lnTo>
                  <a:lnTo>
                    <a:pt x="200" y="44"/>
                  </a:lnTo>
                  <a:lnTo>
                    <a:pt x="201" y="44"/>
                  </a:lnTo>
                  <a:lnTo>
                    <a:pt x="201" y="43"/>
                  </a:lnTo>
                  <a:lnTo>
                    <a:pt x="200" y="43"/>
                  </a:lnTo>
                  <a:lnTo>
                    <a:pt x="199" y="43"/>
                  </a:lnTo>
                  <a:lnTo>
                    <a:pt x="199" y="41"/>
                  </a:lnTo>
                  <a:lnTo>
                    <a:pt x="198" y="41"/>
                  </a:lnTo>
                  <a:lnTo>
                    <a:pt x="197" y="41"/>
                  </a:lnTo>
                  <a:lnTo>
                    <a:pt x="197" y="43"/>
                  </a:lnTo>
                  <a:lnTo>
                    <a:pt x="197" y="41"/>
                  </a:lnTo>
                  <a:lnTo>
                    <a:pt x="198" y="41"/>
                  </a:lnTo>
                  <a:lnTo>
                    <a:pt x="198" y="40"/>
                  </a:lnTo>
                  <a:lnTo>
                    <a:pt x="199" y="40"/>
                  </a:lnTo>
                  <a:lnTo>
                    <a:pt x="199" y="39"/>
                  </a:lnTo>
                  <a:lnTo>
                    <a:pt x="199" y="38"/>
                  </a:lnTo>
                  <a:lnTo>
                    <a:pt x="200" y="38"/>
                  </a:lnTo>
                  <a:lnTo>
                    <a:pt x="200" y="37"/>
                  </a:lnTo>
                  <a:lnTo>
                    <a:pt x="200" y="35"/>
                  </a:lnTo>
                  <a:lnTo>
                    <a:pt x="199" y="35"/>
                  </a:lnTo>
                  <a:lnTo>
                    <a:pt x="199" y="37"/>
                  </a:lnTo>
                  <a:lnTo>
                    <a:pt x="198" y="37"/>
                  </a:lnTo>
                  <a:lnTo>
                    <a:pt x="197" y="37"/>
                  </a:lnTo>
                  <a:lnTo>
                    <a:pt x="195" y="37"/>
                  </a:lnTo>
                  <a:lnTo>
                    <a:pt x="195" y="35"/>
                  </a:lnTo>
                  <a:lnTo>
                    <a:pt x="197" y="35"/>
                  </a:lnTo>
                  <a:lnTo>
                    <a:pt x="198" y="35"/>
                  </a:lnTo>
                  <a:lnTo>
                    <a:pt x="198" y="34"/>
                  </a:lnTo>
                  <a:lnTo>
                    <a:pt x="198" y="33"/>
                  </a:lnTo>
                  <a:lnTo>
                    <a:pt x="199" y="33"/>
                  </a:lnTo>
                  <a:lnTo>
                    <a:pt x="198" y="33"/>
                  </a:lnTo>
                  <a:lnTo>
                    <a:pt x="199" y="33"/>
                  </a:lnTo>
                  <a:lnTo>
                    <a:pt x="199" y="32"/>
                  </a:lnTo>
                  <a:lnTo>
                    <a:pt x="199" y="31"/>
                  </a:lnTo>
                  <a:lnTo>
                    <a:pt x="198" y="31"/>
                  </a:lnTo>
                  <a:lnTo>
                    <a:pt x="198" y="32"/>
                  </a:lnTo>
                  <a:lnTo>
                    <a:pt x="197" y="32"/>
                  </a:lnTo>
                  <a:lnTo>
                    <a:pt x="197" y="31"/>
                  </a:lnTo>
                  <a:lnTo>
                    <a:pt x="197" y="29"/>
                  </a:lnTo>
                  <a:lnTo>
                    <a:pt x="198" y="29"/>
                  </a:lnTo>
                  <a:lnTo>
                    <a:pt x="197" y="29"/>
                  </a:lnTo>
                  <a:lnTo>
                    <a:pt x="197" y="28"/>
                  </a:lnTo>
                  <a:lnTo>
                    <a:pt x="197" y="27"/>
                  </a:lnTo>
                  <a:lnTo>
                    <a:pt x="197" y="26"/>
                  </a:lnTo>
                  <a:lnTo>
                    <a:pt x="197" y="25"/>
                  </a:lnTo>
                  <a:lnTo>
                    <a:pt x="195" y="25"/>
                  </a:lnTo>
                  <a:lnTo>
                    <a:pt x="195" y="26"/>
                  </a:lnTo>
                  <a:lnTo>
                    <a:pt x="195" y="27"/>
                  </a:lnTo>
                  <a:lnTo>
                    <a:pt x="195" y="28"/>
                  </a:lnTo>
                  <a:lnTo>
                    <a:pt x="194" y="28"/>
                  </a:lnTo>
                  <a:lnTo>
                    <a:pt x="194" y="27"/>
                  </a:lnTo>
                  <a:lnTo>
                    <a:pt x="193" y="26"/>
                  </a:lnTo>
                  <a:lnTo>
                    <a:pt x="194" y="26"/>
                  </a:lnTo>
                  <a:lnTo>
                    <a:pt x="194" y="25"/>
                  </a:lnTo>
                  <a:lnTo>
                    <a:pt x="194" y="23"/>
                  </a:lnTo>
                  <a:lnTo>
                    <a:pt x="193" y="23"/>
                  </a:lnTo>
                  <a:lnTo>
                    <a:pt x="193" y="25"/>
                  </a:lnTo>
                  <a:lnTo>
                    <a:pt x="192" y="25"/>
                  </a:lnTo>
                  <a:lnTo>
                    <a:pt x="192" y="23"/>
                  </a:lnTo>
                  <a:lnTo>
                    <a:pt x="193" y="23"/>
                  </a:lnTo>
                  <a:lnTo>
                    <a:pt x="192" y="23"/>
                  </a:lnTo>
                  <a:lnTo>
                    <a:pt x="193" y="23"/>
                  </a:lnTo>
                  <a:lnTo>
                    <a:pt x="193" y="22"/>
                  </a:lnTo>
                  <a:lnTo>
                    <a:pt x="192" y="22"/>
                  </a:lnTo>
                  <a:lnTo>
                    <a:pt x="192" y="21"/>
                  </a:lnTo>
                  <a:lnTo>
                    <a:pt x="193" y="21"/>
                  </a:lnTo>
                  <a:lnTo>
                    <a:pt x="192" y="21"/>
                  </a:lnTo>
                  <a:lnTo>
                    <a:pt x="193" y="20"/>
                  </a:lnTo>
                  <a:lnTo>
                    <a:pt x="193" y="21"/>
                  </a:lnTo>
                  <a:lnTo>
                    <a:pt x="193" y="20"/>
                  </a:lnTo>
                  <a:lnTo>
                    <a:pt x="194" y="20"/>
                  </a:lnTo>
                  <a:lnTo>
                    <a:pt x="194" y="18"/>
                  </a:lnTo>
                  <a:lnTo>
                    <a:pt x="193" y="17"/>
                  </a:lnTo>
                  <a:lnTo>
                    <a:pt x="193" y="18"/>
                  </a:lnTo>
                  <a:lnTo>
                    <a:pt x="193" y="17"/>
                  </a:lnTo>
                  <a:lnTo>
                    <a:pt x="193" y="16"/>
                  </a:lnTo>
                  <a:lnTo>
                    <a:pt x="192" y="15"/>
                  </a:lnTo>
                  <a:lnTo>
                    <a:pt x="192" y="16"/>
                  </a:lnTo>
                  <a:lnTo>
                    <a:pt x="192" y="17"/>
                  </a:lnTo>
                  <a:lnTo>
                    <a:pt x="191" y="17"/>
                  </a:lnTo>
                  <a:lnTo>
                    <a:pt x="189" y="17"/>
                  </a:lnTo>
                  <a:lnTo>
                    <a:pt x="189" y="18"/>
                  </a:lnTo>
                  <a:lnTo>
                    <a:pt x="189" y="20"/>
                  </a:lnTo>
                  <a:lnTo>
                    <a:pt x="188" y="20"/>
                  </a:lnTo>
                  <a:lnTo>
                    <a:pt x="187" y="20"/>
                  </a:lnTo>
                  <a:lnTo>
                    <a:pt x="187" y="18"/>
                  </a:lnTo>
                  <a:lnTo>
                    <a:pt x="188" y="18"/>
                  </a:lnTo>
                  <a:lnTo>
                    <a:pt x="187" y="18"/>
                  </a:lnTo>
                  <a:lnTo>
                    <a:pt x="188" y="17"/>
                  </a:lnTo>
                  <a:lnTo>
                    <a:pt x="188" y="16"/>
                  </a:lnTo>
                  <a:lnTo>
                    <a:pt x="188" y="15"/>
                  </a:lnTo>
                  <a:lnTo>
                    <a:pt x="188" y="14"/>
                  </a:lnTo>
                  <a:lnTo>
                    <a:pt x="189" y="12"/>
                  </a:lnTo>
                  <a:lnTo>
                    <a:pt x="189" y="11"/>
                  </a:lnTo>
                  <a:lnTo>
                    <a:pt x="189" y="10"/>
                  </a:lnTo>
                  <a:lnTo>
                    <a:pt x="188" y="10"/>
                  </a:lnTo>
                  <a:lnTo>
                    <a:pt x="188" y="9"/>
                  </a:lnTo>
                  <a:lnTo>
                    <a:pt x="188" y="8"/>
                  </a:lnTo>
                  <a:lnTo>
                    <a:pt x="187" y="8"/>
                  </a:lnTo>
                  <a:lnTo>
                    <a:pt x="187" y="9"/>
                  </a:lnTo>
                  <a:lnTo>
                    <a:pt x="187" y="10"/>
                  </a:lnTo>
                  <a:lnTo>
                    <a:pt x="186" y="10"/>
                  </a:lnTo>
                  <a:lnTo>
                    <a:pt x="186" y="11"/>
                  </a:lnTo>
                  <a:lnTo>
                    <a:pt x="186" y="10"/>
                  </a:lnTo>
                  <a:lnTo>
                    <a:pt x="185" y="10"/>
                  </a:lnTo>
                  <a:lnTo>
                    <a:pt x="183" y="10"/>
                  </a:lnTo>
                  <a:lnTo>
                    <a:pt x="183" y="11"/>
                  </a:lnTo>
                  <a:lnTo>
                    <a:pt x="183" y="10"/>
                  </a:lnTo>
                  <a:lnTo>
                    <a:pt x="183" y="9"/>
                  </a:lnTo>
                  <a:lnTo>
                    <a:pt x="182" y="9"/>
                  </a:lnTo>
                  <a:lnTo>
                    <a:pt x="181" y="9"/>
                  </a:lnTo>
                  <a:lnTo>
                    <a:pt x="181" y="10"/>
                  </a:lnTo>
                  <a:lnTo>
                    <a:pt x="181" y="11"/>
                  </a:lnTo>
                  <a:lnTo>
                    <a:pt x="182" y="11"/>
                  </a:lnTo>
                  <a:lnTo>
                    <a:pt x="182" y="12"/>
                  </a:lnTo>
                  <a:lnTo>
                    <a:pt x="181" y="12"/>
                  </a:lnTo>
                  <a:lnTo>
                    <a:pt x="181" y="14"/>
                  </a:lnTo>
                  <a:lnTo>
                    <a:pt x="182" y="14"/>
                  </a:lnTo>
                  <a:lnTo>
                    <a:pt x="182" y="15"/>
                  </a:lnTo>
                  <a:lnTo>
                    <a:pt x="182" y="16"/>
                  </a:lnTo>
                  <a:lnTo>
                    <a:pt x="182" y="17"/>
                  </a:lnTo>
                  <a:lnTo>
                    <a:pt x="181" y="17"/>
                  </a:lnTo>
                  <a:lnTo>
                    <a:pt x="181" y="18"/>
                  </a:lnTo>
                  <a:lnTo>
                    <a:pt x="180" y="18"/>
                  </a:lnTo>
                  <a:lnTo>
                    <a:pt x="180" y="17"/>
                  </a:lnTo>
                  <a:lnTo>
                    <a:pt x="179" y="17"/>
                  </a:lnTo>
                  <a:lnTo>
                    <a:pt x="179" y="16"/>
                  </a:lnTo>
                  <a:lnTo>
                    <a:pt x="179" y="15"/>
                  </a:lnTo>
                  <a:lnTo>
                    <a:pt x="177" y="15"/>
                  </a:lnTo>
                  <a:lnTo>
                    <a:pt x="177" y="14"/>
                  </a:lnTo>
                  <a:lnTo>
                    <a:pt x="177" y="12"/>
                  </a:lnTo>
                  <a:lnTo>
                    <a:pt x="177" y="11"/>
                  </a:lnTo>
                  <a:lnTo>
                    <a:pt x="176" y="11"/>
                  </a:lnTo>
                  <a:lnTo>
                    <a:pt x="176" y="12"/>
                  </a:lnTo>
                  <a:lnTo>
                    <a:pt x="176" y="14"/>
                  </a:lnTo>
                  <a:lnTo>
                    <a:pt x="175" y="14"/>
                  </a:lnTo>
                  <a:lnTo>
                    <a:pt x="174" y="14"/>
                  </a:lnTo>
                  <a:lnTo>
                    <a:pt x="174" y="15"/>
                  </a:lnTo>
                  <a:lnTo>
                    <a:pt x="174" y="16"/>
                  </a:lnTo>
                  <a:lnTo>
                    <a:pt x="174" y="15"/>
                  </a:lnTo>
                  <a:lnTo>
                    <a:pt x="173" y="15"/>
                  </a:lnTo>
                  <a:lnTo>
                    <a:pt x="173" y="16"/>
                  </a:lnTo>
                  <a:lnTo>
                    <a:pt x="171" y="16"/>
                  </a:lnTo>
                  <a:lnTo>
                    <a:pt x="171" y="15"/>
                  </a:lnTo>
                  <a:lnTo>
                    <a:pt x="173" y="15"/>
                  </a:lnTo>
                  <a:lnTo>
                    <a:pt x="171" y="14"/>
                  </a:lnTo>
                  <a:lnTo>
                    <a:pt x="171" y="12"/>
                  </a:lnTo>
                  <a:lnTo>
                    <a:pt x="170" y="12"/>
                  </a:lnTo>
                  <a:lnTo>
                    <a:pt x="171" y="12"/>
                  </a:lnTo>
                  <a:lnTo>
                    <a:pt x="171" y="11"/>
                  </a:lnTo>
                  <a:lnTo>
                    <a:pt x="170" y="11"/>
                  </a:lnTo>
                  <a:lnTo>
                    <a:pt x="171" y="10"/>
                  </a:lnTo>
                  <a:lnTo>
                    <a:pt x="173" y="10"/>
                  </a:lnTo>
                  <a:lnTo>
                    <a:pt x="173" y="9"/>
                  </a:lnTo>
                  <a:lnTo>
                    <a:pt x="173" y="8"/>
                  </a:lnTo>
                  <a:lnTo>
                    <a:pt x="174" y="6"/>
                  </a:lnTo>
                  <a:lnTo>
                    <a:pt x="173" y="5"/>
                  </a:lnTo>
                  <a:lnTo>
                    <a:pt x="173" y="6"/>
                  </a:lnTo>
                  <a:lnTo>
                    <a:pt x="171" y="5"/>
                  </a:lnTo>
                  <a:lnTo>
                    <a:pt x="171" y="4"/>
                  </a:lnTo>
                  <a:lnTo>
                    <a:pt x="170" y="4"/>
                  </a:lnTo>
                  <a:lnTo>
                    <a:pt x="170" y="5"/>
                  </a:lnTo>
                  <a:lnTo>
                    <a:pt x="169" y="5"/>
                  </a:lnTo>
                  <a:lnTo>
                    <a:pt x="169" y="6"/>
                  </a:lnTo>
                  <a:lnTo>
                    <a:pt x="169" y="8"/>
                  </a:lnTo>
                  <a:lnTo>
                    <a:pt x="170" y="8"/>
                  </a:lnTo>
                  <a:lnTo>
                    <a:pt x="170" y="9"/>
                  </a:lnTo>
                  <a:lnTo>
                    <a:pt x="169" y="9"/>
                  </a:lnTo>
                  <a:lnTo>
                    <a:pt x="169" y="10"/>
                  </a:lnTo>
                  <a:lnTo>
                    <a:pt x="169" y="9"/>
                  </a:lnTo>
                  <a:lnTo>
                    <a:pt x="168" y="9"/>
                  </a:lnTo>
                  <a:lnTo>
                    <a:pt x="167" y="9"/>
                  </a:lnTo>
                  <a:lnTo>
                    <a:pt x="167" y="10"/>
                  </a:lnTo>
                  <a:lnTo>
                    <a:pt x="165" y="11"/>
                  </a:lnTo>
                  <a:lnTo>
                    <a:pt x="165" y="10"/>
                  </a:lnTo>
                  <a:lnTo>
                    <a:pt x="165" y="9"/>
                  </a:lnTo>
                  <a:lnTo>
                    <a:pt x="164" y="9"/>
                  </a:lnTo>
                  <a:lnTo>
                    <a:pt x="165" y="8"/>
                  </a:lnTo>
                  <a:lnTo>
                    <a:pt x="165" y="6"/>
                  </a:lnTo>
                  <a:lnTo>
                    <a:pt x="164" y="6"/>
                  </a:lnTo>
                  <a:lnTo>
                    <a:pt x="163" y="6"/>
                  </a:lnTo>
                  <a:lnTo>
                    <a:pt x="163" y="5"/>
                  </a:lnTo>
                  <a:lnTo>
                    <a:pt x="162" y="5"/>
                  </a:lnTo>
                  <a:lnTo>
                    <a:pt x="162" y="4"/>
                  </a:lnTo>
                  <a:lnTo>
                    <a:pt x="162" y="3"/>
                  </a:lnTo>
                  <a:lnTo>
                    <a:pt x="161" y="3"/>
                  </a:lnTo>
                  <a:lnTo>
                    <a:pt x="161" y="4"/>
                  </a:lnTo>
                  <a:lnTo>
                    <a:pt x="159" y="5"/>
                  </a:lnTo>
                  <a:lnTo>
                    <a:pt x="159" y="4"/>
                  </a:lnTo>
                  <a:lnTo>
                    <a:pt x="159" y="3"/>
                  </a:lnTo>
                  <a:lnTo>
                    <a:pt x="159" y="2"/>
                  </a:lnTo>
                  <a:lnTo>
                    <a:pt x="158" y="2"/>
                  </a:lnTo>
                  <a:lnTo>
                    <a:pt x="158" y="0"/>
                  </a:lnTo>
                  <a:lnTo>
                    <a:pt x="157" y="0"/>
                  </a:lnTo>
                  <a:lnTo>
                    <a:pt x="157" y="2"/>
                  </a:lnTo>
                  <a:lnTo>
                    <a:pt x="157" y="3"/>
                  </a:lnTo>
                  <a:lnTo>
                    <a:pt x="157" y="4"/>
                  </a:lnTo>
                  <a:lnTo>
                    <a:pt x="156" y="4"/>
                  </a:lnTo>
                  <a:lnTo>
                    <a:pt x="157" y="5"/>
                  </a:lnTo>
                  <a:lnTo>
                    <a:pt x="157" y="6"/>
                  </a:lnTo>
                  <a:lnTo>
                    <a:pt x="156" y="6"/>
                  </a:lnTo>
                  <a:lnTo>
                    <a:pt x="156" y="8"/>
                  </a:lnTo>
                  <a:lnTo>
                    <a:pt x="156" y="9"/>
                  </a:lnTo>
                  <a:lnTo>
                    <a:pt x="157" y="9"/>
                  </a:lnTo>
                  <a:lnTo>
                    <a:pt x="157" y="10"/>
                  </a:lnTo>
                  <a:lnTo>
                    <a:pt x="157" y="11"/>
                  </a:lnTo>
                  <a:lnTo>
                    <a:pt x="157" y="12"/>
                  </a:lnTo>
                  <a:lnTo>
                    <a:pt x="157" y="14"/>
                  </a:lnTo>
                  <a:lnTo>
                    <a:pt x="157" y="15"/>
                  </a:lnTo>
                  <a:lnTo>
                    <a:pt x="157" y="16"/>
                  </a:lnTo>
                  <a:lnTo>
                    <a:pt x="157" y="15"/>
                  </a:lnTo>
                  <a:lnTo>
                    <a:pt x="156" y="15"/>
                  </a:lnTo>
                  <a:lnTo>
                    <a:pt x="155" y="15"/>
                  </a:lnTo>
                  <a:lnTo>
                    <a:pt x="153" y="15"/>
                  </a:lnTo>
                  <a:lnTo>
                    <a:pt x="153" y="14"/>
                  </a:lnTo>
                  <a:lnTo>
                    <a:pt x="152" y="14"/>
                  </a:lnTo>
                  <a:lnTo>
                    <a:pt x="152" y="15"/>
                  </a:lnTo>
                  <a:lnTo>
                    <a:pt x="153" y="16"/>
                  </a:lnTo>
                  <a:lnTo>
                    <a:pt x="153" y="17"/>
                  </a:lnTo>
                  <a:lnTo>
                    <a:pt x="153" y="18"/>
                  </a:lnTo>
                  <a:lnTo>
                    <a:pt x="153" y="20"/>
                  </a:lnTo>
                  <a:lnTo>
                    <a:pt x="152" y="20"/>
                  </a:lnTo>
                  <a:lnTo>
                    <a:pt x="152" y="18"/>
                  </a:lnTo>
                  <a:lnTo>
                    <a:pt x="152" y="17"/>
                  </a:lnTo>
                  <a:lnTo>
                    <a:pt x="152" y="16"/>
                  </a:lnTo>
                  <a:lnTo>
                    <a:pt x="151" y="16"/>
                  </a:lnTo>
                  <a:lnTo>
                    <a:pt x="150" y="17"/>
                  </a:lnTo>
                  <a:lnTo>
                    <a:pt x="149" y="17"/>
                  </a:lnTo>
                  <a:lnTo>
                    <a:pt x="150" y="18"/>
                  </a:lnTo>
                  <a:lnTo>
                    <a:pt x="149" y="18"/>
                  </a:lnTo>
                  <a:lnTo>
                    <a:pt x="149" y="17"/>
                  </a:lnTo>
                  <a:lnTo>
                    <a:pt x="147" y="17"/>
                  </a:lnTo>
                  <a:lnTo>
                    <a:pt x="147" y="16"/>
                  </a:lnTo>
                  <a:lnTo>
                    <a:pt x="149" y="16"/>
                  </a:lnTo>
                  <a:lnTo>
                    <a:pt x="149" y="15"/>
                  </a:lnTo>
                  <a:lnTo>
                    <a:pt x="149" y="14"/>
                  </a:lnTo>
                  <a:lnTo>
                    <a:pt x="147" y="14"/>
                  </a:lnTo>
                  <a:lnTo>
                    <a:pt x="147" y="15"/>
                  </a:lnTo>
                  <a:lnTo>
                    <a:pt x="146" y="15"/>
                  </a:lnTo>
                  <a:lnTo>
                    <a:pt x="145" y="15"/>
                  </a:lnTo>
                  <a:lnTo>
                    <a:pt x="146" y="15"/>
                  </a:lnTo>
                  <a:lnTo>
                    <a:pt x="145" y="15"/>
                  </a:lnTo>
                  <a:lnTo>
                    <a:pt x="145" y="14"/>
                  </a:lnTo>
                  <a:lnTo>
                    <a:pt x="145" y="12"/>
                  </a:lnTo>
                  <a:lnTo>
                    <a:pt x="144" y="12"/>
                  </a:lnTo>
                  <a:lnTo>
                    <a:pt x="144" y="11"/>
                  </a:lnTo>
                  <a:lnTo>
                    <a:pt x="142" y="11"/>
                  </a:lnTo>
                  <a:lnTo>
                    <a:pt x="144" y="11"/>
                  </a:lnTo>
                  <a:lnTo>
                    <a:pt x="144" y="10"/>
                  </a:lnTo>
                  <a:lnTo>
                    <a:pt x="145" y="10"/>
                  </a:lnTo>
                  <a:lnTo>
                    <a:pt x="145" y="9"/>
                  </a:lnTo>
                  <a:lnTo>
                    <a:pt x="144" y="9"/>
                  </a:lnTo>
                  <a:lnTo>
                    <a:pt x="142" y="9"/>
                  </a:lnTo>
                  <a:lnTo>
                    <a:pt x="142" y="8"/>
                  </a:lnTo>
                  <a:lnTo>
                    <a:pt x="142" y="6"/>
                  </a:lnTo>
                  <a:lnTo>
                    <a:pt x="142" y="5"/>
                  </a:lnTo>
                  <a:lnTo>
                    <a:pt x="141" y="5"/>
                  </a:lnTo>
                  <a:lnTo>
                    <a:pt x="141" y="4"/>
                  </a:lnTo>
                  <a:lnTo>
                    <a:pt x="140" y="3"/>
                  </a:lnTo>
                  <a:lnTo>
                    <a:pt x="140" y="4"/>
                  </a:lnTo>
                  <a:lnTo>
                    <a:pt x="139" y="4"/>
                  </a:lnTo>
                  <a:lnTo>
                    <a:pt x="139" y="5"/>
                  </a:lnTo>
                  <a:lnTo>
                    <a:pt x="139" y="6"/>
                  </a:lnTo>
                  <a:lnTo>
                    <a:pt x="139" y="8"/>
                  </a:lnTo>
                  <a:lnTo>
                    <a:pt x="139" y="9"/>
                  </a:lnTo>
                  <a:lnTo>
                    <a:pt x="138" y="9"/>
                  </a:lnTo>
                  <a:lnTo>
                    <a:pt x="138" y="8"/>
                  </a:lnTo>
                  <a:lnTo>
                    <a:pt x="138" y="9"/>
                  </a:lnTo>
                  <a:lnTo>
                    <a:pt x="138" y="10"/>
                  </a:lnTo>
                  <a:lnTo>
                    <a:pt x="139" y="10"/>
                  </a:lnTo>
                  <a:lnTo>
                    <a:pt x="140" y="11"/>
                  </a:lnTo>
                  <a:lnTo>
                    <a:pt x="140" y="12"/>
                  </a:lnTo>
                  <a:lnTo>
                    <a:pt x="141" y="12"/>
                  </a:lnTo>
                  <a:lnTo>
                    <a:pt x="141" y="14"/>
                  </a:lnTo>
                  <a:lnTo>
                    <a:pt x="141" y="15"/>
                  </a:lnTo>
                  <a:lnTo>
                    <a:pt x="141" y="16"/>
                  </a:lnTo>
                  <a:lnTo>
                    <a:pt x="140" y="16"/>
                  </a:lnTo>
                  <a:lnTo>
                    <a:pt x="140" y="15"/>
                  </a:lnTo>
                  <a:lnTo>
                    <a:pt x="139" y="15"/>
                  </a:lnTo>
                  <a:lnTo>
                    <a:pt x="138" y="16"/>
                  </a:lnTo>
                  <a:lnTo>
                    <a:pt x="138" y="15"/>
                  </a:lnTo>
                  <a:lnTo>
                    <a:pt x="136" y="15"/>
                  </a:lnTo>
                  <a:lnTo>
                    <a:pt x="136" y="14"/>
                  </a:lnTo>
                  <a:lnTo>
                    <a:pt x="136" y="12"/>
                  </a:lnTo>
                  <a:lnTo>
                    <a:pt x="136" y="11"/>
                  </a:lnTo>
                  <a:lnTo>
                    <a:pt x="136" y="10"/>
                  </a:lnTo>
                  <a:lnTo>
                    <a:pt x="135" y="10"/>
                  </a:lnTo>
                  <a:lnTo>
                    <a:pt x="135" y="9"/>
                  </a:lnTo>
                  <a:lnTo>
                    <a:pt x="135" y="8"/>
                  </a:lnTo>
                  <a:lnTo>
                    <a:pt x="134" y="8"/>
                  </a:lnTo>
                  <a:lnTo>
                    <a:pt x="134" y="9"/>
                  </a:lnTo>
                  <a:lnTo>
                    <a:pt x="134" y="10"/>
                  </a:lnTo>
                  <a:lnTo>
                    <a:pt x="133" y="10"/>
                  </a:lnTo>
                  <a:lnTo>
                    <a:pt x="133" y="9"/>
                  </a:lnTo>
                  <a:lnTo>
                    <a:pt x="133" y="8"/>
                  </a:lnTo>
                  <a:lnTo>
                    <a:pt x="132" y="6"/>
                  </a:lnTo>
                  <a:lnTo>
                    <a:pt x="132" y="8"/>
                  </a:lnTo>
                  <a:lnTo>
                    <a:pt x="132" y="6"/>
                  </a:lnTo>
                  <a:lnTo>
                    <a:pt x="130" y="6"/>
                  </a:lnTo>
                  <a:lnTo>
                    <a:pt x="130" y="5"/>
                  </a:lnTo>
                  <a:lnTo>
                    <a:pt x="129" y="5"/>
                  </a:lnTo>
                  <a:lnTo>
                    <a:pt x="129" y="6"/>
                  </a:lnTo>
                  <a:lnTo>
                    <a:pt x="129" y="8"/>
                  </a:lnTo>
                  <a:lnTo>
                    <a:pt x="129" y="9"/>
                  </a:lnTo>
                  <a:lnTo>
                    <a:pt x="129" y="10"/>
                  </a:lnTo>
                  <a:lnTo>
                    <a:pt x="130" y="11"/>
                  </a:lnTo>
                  <a:lnTo>
                    <a:pt x="130" y="12"/>
                  </a:lnTo>
                  <a:lnTo>
                    <a:pt x="132" y="12"/>
                  </a:lnTo>
                  <a:lnTo>
                    <a:pt x="133" y="12"/>
                  </a:lnTo>
                  <a:lnTo>
                    <a:pt x="132" y="14"/>
                  </a:lnTo>
                  <a:lnTo>
                    <a:pt x="130" y="14"/>
                  </a:lnTo>
                  <a:lnTo>
                    <a:pt x="129" y="14"/>
                  </a:lnTo>
                  <a:lnTo>
                    <a:pt x="129" y="15"/>
                  </a:lnTo>
                  <a:lnTo>
                    <a:pt x="129" y="16"/>
                  </a:lnTo>
                  <a:lnTo>
                    <a:pt x="128" y="16"/>
                  </a:lnTo>
                  <a:lnTo>
                    <a:pt x="128" y="15"/>
                  </a:lnTo>
                  <a:lnTo>
                    <a:pt x="128" y="14"/>
                  </a:lnTo>
                  <a:lnTo>
                    <a:pt x="127" y="12"/>
                  </a:lnTo>
                  <a:lnTo>
                    <a:pt x="127" y="14"/>
                  </a:lnTo>
                  <a:lnTo>
                    <a:pt x="126" y="14"/>
                  </a:lnTo>
                  <a:lnTo>
                    <a:pt x="126" y="12"/>
                  </a:lnTo>
                  <a:lnTo>
                    <a:pt x="124" y="12"/>
                  </a:lnTo>
                  <a:lnTo>
                    <a:pt x="124" y="11"/>
                  </a:lnTo>
                  <a:lnTo>
                    <a:pt x="123" y="12"/>
                  </a:lnTo>
                  <a:lnTo>
                    <a:pt x="123" y="14"/>
                  </a:lnTo>
                  <a:lnTo>
                    <a:pt x="124" y="15"/>
                  </a:lnTo>
                  <a:lnTo>
                    <a:pt x="124" y="16"/>
                  </a:lnTo>
                  <a:lnTo>
                    <a:pt x="124" y="17"/>
                  </a:lnTo>
                  <a:lnTo>
                    <a:pt x="126" y="17"/>
                  </a:lnTo>
                  <a:lnTo>
                    <a:pt x="126" y="21"/>
                  </a:lnTo>
                  <a:lnTo>
                    <a:pt x="126" y="22"/>
                  </a:lnTo>
                  <a:lnTo>
                    <a:pt x="124" y="22"/>
                  </a:lnTo>
                  <a:lnTo>
                    <a:pt x="124" y="23"/>
                  </a:lnTo>
                  <a:lnTo>
                    <a:pt x="126" y="23"/>
                  </a:lnTo>
                  <a:lnTo>
                    <a:pt x="126" y="25"/>
                  </a:lnTo>
                  <a:lnTo>
                    <a:pt x="126" y="26"/>
                  </a:lnTo>
                  <a:lnTo>
                    <a:pt x="126" y="25"/>
                  </a:lnTo>
                  <a:lnTo>
                    <a:pt x="126" y="26"/>
                  </a:lnTo>
                  <a:lnTo>
                    <a:pt x="126" y="27"/>
                  </a:lnTo>
                  <a:lnTo>
                    <a:pt x="124" y="27"/>
                  </a:lnTo>
                  <a:lnTo>
                    <a:pt x="123" y="27"/>
                  </a:lnTo>
                  <a:lnTo>
                    <a:pt x="123" y="26"/>
                  </a:lnTo>
                  <a:lnTo>
                    <a:pt x="123" y="25"/>
                  </a:lnTo>
                  <a:lnTo>
                    <a:pt x="122" y="25"/>
                  </a:lnTo>
                  <a:lnTo>
                    <a:pt x="122" y="23"/>
                  </a:lnTo>
                  <a:lnTo>
                    <a:pt x="122" y="22"/>
                  </a:lnTo>
                  <a:lnTo>
                    <a:pt x="122" y="21"/>
                  </a:lnTo>
                  <a:lnTo>
                    <a:pt x="122" y="20"/>
                  </a:lnTo>
                  <a:lnTo>
                    <a:pt x="122" y="18"/>
                  </a:lnTo>
                  <a:lnTo>
                    <a:pt x="122" y="20"/>
                  </a:lnTo>
                  <a:lnTo>
                    <a:pt x="121" y="18"/>
                  </a:lnTo>
                  <a:lnTo>
                    <a:pt x="121" y="17"/>
                  </a:lnTo>
                  <a:lnTo>
                    <a:pt x="120" y="17"/>
                  </a:lnTo>
                  <a:lnTo>
                    <a:pt x="118" y="17"/>
                  </a:lnTo>
                  <a:lnTo>
                    <a:pt x="118" y="18"/>
                  </a:lnTo>
                  <a:lnTo>
                    <a:pt x="120" y="20"/>
                  </a:lnTo>
                  <a:lnTo>
                    <a:pt x="120" y="21"/>
                  </a:lnTo>
                  <a:lnTo>
                    <a:pt x="118" y="21"/>
                  </a:lnTo>
                  <a:lnTo>
                    <a:pt x="118" y="22"/>
                  </a:lnTo>
                  <a:lnTo>
                    <a:pt x="118" y="23"/>
                  </a:lnTo>
                  <a:lnTo>
                    <a:pt x="120" y="23"/>
                  </a:lnTo>
                  <a:lnTo>
                    <a:pt x="120" y="25"/>
                  </a:lnTo>
                  <a:lnTo>
                    <a:pt x="121" y="25"/>
                  </a:lnTo>
                  <a:lnTo>
                    <a:pt x="121" y="26"/>
                  </a:lnTo>
                  <a:lnTo>
                    <a:pt x="120" y="26"/>
                  </a:lnTo>
                  <a:lnTo>
                    <a:pt x="120" y="27"/>
                  </a:lnTo>
                  <a:lnTo>
                    <a:pt x="120" y="26"/>
                  </a:lnTo>
                  <a:lnTo>
                    <a:pt x="118" y="26"/>
                  </a:lnTo>
                  <a:lnTo>
                    <a:pt x="118" y="27"/>
                  </a:lnTo>
                  <a:lnTo>
                    <a:pt x="118" y="26"/>
                  </a:lnTo>
                  <a:lnTo>
                    <a:pt x="118" y="25"/>
                  </a:lnTo>
                  <a:lnTo>
                    <a:pt x="118" y="23"/>
                  </a:lnTo>
                  <a:lnTo>
                    <a:pt x="117" y="23"/>
                  </a:lnTo>
                  <a:lnTo>
                    <a:pt x="117" y="22"/>
                  </a:lnTo>
                  <a:lnTo>
                    <a:pt x="117" y="23"/>
                  </a:lnTo>
                  <a:lnTo>
                    <a:pt x="116" y="23"/>
                  </a:lnTo>
                  <a:lnTo>
                    <a:pt x="115" y="23"/>
                  </a:lnTo>
                  <a:lnTo>
                    <a:pt x="115" y="22"/>
                  </a:lnTo>
                  <a:lnTo>
                    <a:pt x="116" y="22"/>
                  </a:lnTo>
                  <a:lnTo>
                    <a:pt x="116" y="21"/>
                  </a:lnTo>
                  <a:lnTo>
                    <a:pt x="117" y="21"/>
                  </a:lnTo>
                  <a:lnTo>
                    <a:pt x="117" y="20"/>
                  </a:lnTo>
                  <a:lnTo>
                    <a:pt x="116" y="20"/>
                  </a:lnTo>
                  <a:lnTo>
                    <a:pt x="116" y="18"/>
                  </a:lnTo>
                  <a:lnTo>
                    <a:pt x="116" y="17"/>
                  </a:lnTo>
                  <a:lnTo>
                    <a:pt x="115" y="17"/>
                  </a:lnTo>
                  <a:lnTo>
                    <a:pt x="115" y="18"/>
                  </a:lnTo>
                  <a:lnTo>
                    <a:pt x="114" y="18"/>
                  </a:lnTo>
                  <a:lnTo>
                    <a:pt x="114" y="17"/>
                  </a:lnTo>
                  <a:lnTo>
                    <a:pt x="114" y="16"/>
                  </a:lnTo>
                  <a:lnTo>
                    <a:pt x="114" y="15"/>
                  </a:lnTo>
                  <a:lnTo>
                    <a:pt x="112" y="15"/>
                  </a:lnTo>
                  <a:lnTo>
                    <a:pt x="112" y="14"/>
                  </a:lnTo>
                  <a:lnTo>
                    <a:pt x="111" y="14"/>
                  </a:lnTo>
                  <a:lnTo>
                    <a:pt x="111" y="12"/>
                  </a:lnTo>
                  <a:lnTo>
                    <a:pt x="111" y="14"/>
                  </a:lnTo>
                  <a:lnTo>
                    <a:pt x="110" y="14"/>
                  </a:lnTo>
                  <a:lnTo>
                    <a:pt x="110" y="15"/>
                  </a:lnTo>
                  <a:lnTo>
                    <a:pt x="110" y="16"/>
                  </a:lnTo>
                  <a:lnTo>
                    <a:pt x="109" y="17"/>
                  </a:lnTo>
                  <a:lnTo>
                    <a:pt x="109" y="18"/>
                  </a:lnTo>
                  <a:lnTo>
                    <a:pt x="110" y="18"/>
                  </a:lnTo>
                  <a:lnTo>
                    <a:pt x="110" y="20"/>
                  </a:lnTo>
                  <a:lnTo>
                    <a:pt x="109" y="20"/>
                  </a:lnTo>
                  <a:lnTo>
                    <a:pt x="109" y="21"/>
                  </a:lnTo>
                  <a:lnTo>
                    <a:pt x="109" y="22"/>
                  </a:lnTo>
                  <a:lnTo>
                    <a:pt x="109" y="23"/>
                  </a:lnTo>
                  <a:lnTo>
                    <a:pt x="110" y="23"/>
                  </a:lnTo>
                  <a:lnTo>
                    <a:pt x="110" y="25"/>
                  </a:lnTo>
                  <a:lnTo>
                    <a:pt x="110" y="23"/>
                  </a:lnTo>
                  <a:lnTo>
                    <a:pt x="110" y="25"/>
                  </a:lnTo>
                  <a:lnTo>
                    <a:pt x="110" y="26"/>
                  </a:lnTo>
                  <a:lnTo>
                    <a:pt x="109" y="25"/>
                  </a:lnTo>
                  <a:lnTo>
                    <a:pt x="109" y="23"/>
                  </a:lnTo>
                  <a:lnTo>
                    <a:pt x="108" y="23"/>
                  </a:lnTo>
                  <a:lnTo>
                    <a:pt x="108" y="22"/>
                  </a:lnTo>
                  <a:lnTo>
                    <a:pt x="106" y="22"/>
                  </a:lnTo>
                  <a:lnTo>
                    <a:pt x="106" y="21"/>
                  </a:lnTo>
                  <a:lnTo>
                    <a:pt x="106" y="20"/>
                  </a:lnTo>
                  <a:lnTo>
                    <a:pt x="106" y="18"/>
                  </a:lnTo>
                  <a:lnTo>
                    <a:pt x="106" y="17"/>
                  </a:lnTo>
                  <a:lnTo>
                    <a:pt x="106" y="16"/>
                  </a:lnTo>
                  <a:lnTo>
                    <a:pt x="105" y="16"/>
                  </a:lnTo>
                  <a:lnTo>
                    <a:pt x="104" y="16"/>
                  </a:lnTo>
                  <a:lnTo>
                    <a:pt x="103" y="16"/>
                  </a:lnTo>
                  <a:lnTo>
                    <a:pt x="103" y="15"/>
                  </a:lnTo>
                  <a:lnTo>
                    <a:pt x="102" y="15"/>
                  </a:lnTo>
                  <a:lnTo>
                    <a:pt x="100" y="14"/>
                  </a:lnTo>
                  <a:lnTo>
                    <a:pt x="100" y="12"/>
                  </a:lnTo>
                  <a:lnTo>
                    <a:pt x="99" y="12"/>
                  </a:lnTo>
                  <a:lnTo>
                    <a:pt x="98" y="12"/>
                  </a:lnTo>
                  <a:lnTo>
                    <a:pt x="98" y="14"/>
                  </a:lnTo>
                  <a:lnTo>
                    <a:pt x="98" y="15"/>
                  </a:lnTo>
                  <a:lnTo>
                    <a:pt x="98" y="16"/>
                  </a:lnTo>
                  <a:lnTo>
                    <a:pt x="97" y="16"/>
                  </a:lnTo>
                  <a:lnTo>
                    <a:pt x="97" y="17"/>
                  </a:lnTo>
                  <a:lnTo>
                    <a:pt x="97" y="18"/>
                  </a:lnTo>
                  <a:lnTo>
                    <a:pt x="98" y="18"/>
                  </a:lnTo>
                  <a:lnTo>
                    <a:pt x="97" y="18"/>
                  </a:lnTo>
                  <a:lnTo>
                    <a:pt x="96" y="18"/>
                  </a:lnTo>
                  <a:lnTo>
                    <a:pt x="97" y="20"/>
                  </a:lnTo>
                  <a:lnTo>
                    <a:pt x="96" y="20"/>
                  </a:lnTo>
                  <a:lnTo>
                    <a:pt x="96" y="18"/>
                  </a:lnTo>
                  <a:lnTo>
                    <a:pt x="94" y="18"/>
                  </a:lnTo>
                  <a:lnTo>
                    <a:pt x="93" y="17"/>
                  </a:lnTo>
                  <a:lnTo>
                    <a:pt x="93" y="18"/>
                  </a:lnTo>
                  <a:lnTo>
                    <a:pt x="92" y="18"/>
                  </a:lnTo>
                  <a:lnTo>
                    <a:pt x="92" y="20"/>
                  </a:lnTo>
                  <a:lnTo>
                    <a:pt x="91" y="20"/>
                  </a:lnTo>
                  <a:lnTo>
                    <a:pt x="92" y="20"/>
                  </a:lnTo>
                  <a:lnTo>
                    <a:pt x="92" y="21"/>
                  </a:lnTo>
                  <a:lnTo>
                    <a:pt x="92" y="22"/>
                  </a:lnTo>
                  <a:lnTo>
                    <a:pt x="93" y="23"/>
                  </a:lnTo>
                  <a:lnTo>
                    <a:pt x="93" y="25"/>
                  </a:lnTo>
                  <a:lnTo>
                    <a:pt x="94" y="25"/>
                  </a:lnTo>
                  <a:lnTo>
                    <a:pt x="94" y="26"/>
                  </a:lnTo>
                  <a:lnTo>
                    <a:pt x="96" y="26"/>
                  </a:lnTo>
                  <a:lnTo>
                    <a:pt x="97" y="26"/>
                  </a:lnTo>
                  <a:lnTo>
                    <a:pt x="98" y="26"/>
                  </a:lnTo>
                  <a:lnTo>
                    <a:pt x="98" y="27"/>
                  </a:lnTo>
                  <a:lnTo>
                    <a:pt x="99" y="27"/>
                  </a:lnTo>
                  <a:lnTo>
                    <a:pt x="99" y="28"/>
                  </a:lnTo>
                  <a:lnTo>
                    <a:pt x="99" y="29"/>
                  </a:lnTo>
                  <a:lnTo>
                    <a:pt x="98" y="29"/>
                  </a:lnTo>
                  <a:lnTo>
                    <a:pt x="97" y="29"/>
                  </a:lnTo>
                  <a:lnTo>
                    <a:pt x="96" y="29"/>
                  </a:lnTo>
                  <a:lnTo>
                    <a:pt x="94" y="29"/>
                  </a:lnTo>
                  <a:lnTo>
                    <a:pt x="94" y="28"/>
                  </a:lnTo>
                  <a:lnTo>
                    <a:pt x="93" y="28"/>
                  </a:lnTo>
                  <a:lnTo>
                    <a:pt x="93" y="27"/>
                  </a:lnTo>
                  <a:lnTo>
                    <a:pt x="93" y="26"/>
                  </a:lnTo>
                  <a:lnTo>
                    <a:pt x="92" y="26"/>
                  </a:lnTo>
                  <a:lnTo>
                    <a:pt x="91" y="26"/>
                  </a:lnTo>
                  <a:lnTo>
                    <a:pt x="91" y="25"/>
                  </a:lnTo>
                  <a:lnTo>
                    <a:pt x="90" y="25"/>
                  </a:lnTo>
                  <a:lnTo>
                    <a:pt x="88" y="25"/>
                  </a:lnTo>
                  <a:lnTo>
                    <a:pt x="87" y="25"/>
                  </a:lnTo>
                  <a:lnTo>
                    <a:pt x="87" y="23"/>
                  </a:lnTo>
                  <a:lnTo>
                    <a:pt x="86" y="23"/>
                  </a:lnTo>
                  <a:lnTo>
                    <a:pt x="86" y="25"/>
                  </a:lnTo>
                  <a:lnTo>
                    <a:pt x="86" y="26"/>
                  </a:lnTo>
                  <a:lnTo>
                    <a:pt x="85" y="26"/>
                  </a:lnTo>
                  <a:lnTo>
                    <a:pt x="85" y="28"/>
                  </a:lnTo>
                  <a:lnTo>
                    <a:pt x="83" y="28"/>
                  </a:lnTo>
                  <a:lnTo>
                    <a:pt x="83" y="27"/>
                  </a:lnTo>
                  <a:lnTo>
                    <a:pt x="82" y="27"/>
                  </a:lnTo>
                  <a:lnTo>
                    <a:pt x="82" y="26"/>
                  </a:lnTo>
                  <a:lnTo>
                    <a:pt x="81" y="26"/>
                  </a:lnTo>
                  <a:lnTo>
                    <a:pt x="81" y="27"/>
                  </a:lnTo>
                  <a:lnTo>
                    <a:pt x="81" y="28"/>
                  </a:lnTo>
                  <a:lnTo>
                    <a:pt x="82" y="29"/>
                  </a:lnTo>
                  <a:lnTo>
                    <a:pt x="81" y="31"/>
                  </a:lnTo>
                  <a:lnTo>
                    <a:pt x="81" y="32"/>
                  </a:lnTo>
                  <a:lnTo>
                    <a:pt x="81" y="33"/>
                  </a:lnTo>
                  <a:lnTo>
                    <a:pt x="82" y="33"/>
                  </a:lnTo>
                  <a:lnTo>
                    <a:pt x="82" y="34"/>
                  </a:lnTo>
                  <a:lnTo>
                    <a:pt x="83" y="34"/>
                  </a:lnTo>
                  <a:lnTo>
                    <a:pt x="82" y="34"/>
                  </a:lnTo>
                  <a:lnTo>
                    <a:pt x="82" y="35"/>
                  </a:lnTo>
                  <a:lnTo>
                    <a:pt x="82" y="37"/>
                  </a:lnTo>
                  <a:lnTo>
                    <a:pt x="83" y="37"/>
                  </a:lnTo>
                  <a:lnTo>
                    <a:pt x="83" y="38"/>
                  </a:lnTo>
                  <a:lnTo>
                    <a:pt x="85" y="38"/>
                  </a:lnTo>
                  <a:lnTo>
                    <a:pt x="86" y="38"/>
                  </a:lnTo>
                  <a:lnTo>
                    <a:pt x="87" y="38"/>
                  </a:lnTo>
                  <a:lnTo>
                    <a:pt x="87" y="39"/>
                  </a:lnTo>
                  <a:lnTo>
                    <a:pt x="86" y="39"/>
                  </a:lnTo>
                  <a:lnTo>
                    <a:pt x="85" y="39"/>
                  </a:lnTo>
                  <a:lnTo>
                    <a:pt x="83" y="39"/>
                  </a:lnTo>
                  <a:lnTo>
                    <a:pt x="83" y="40"/>
                  </a:lnTo>
                  <a:lnTo>
                    <a:pt x="85" y="41"/>
                  </a:lnTo>
                  <a:lnTo>
                    <a:pt x="86" y="43"/>
                  </a:lnTo>
                  <a:lnTo>
                    <a:pt x="87" y="43"/>
                  </a:lnTo>
                  <a:lnTo>
                    <a:pt x="90" y="43"/>
                  </a:lnTo>
                  <a:lnTo>
                    <a:pt x="91" y="43"/>
                  </a:lnTo>
                  <a:lnTo>
                    <a:pt x="91" y="41"/>
                  </a:lnTo>
                  <a:lnTo>
                    <a:pt x="91" y="43"/>
                  </a:lnTo>
                  <a:lnTo>
                    <a:pt x="92" y="43"/>
                  </a:lnTo>
                  <a:lnTo>
                    <a:pt x="93" y="44"/>
                  </a:lnTo>
                  <a:lnTo>
                    <a:pt x="93" y="43"/>
                  </a:lnTo>
                  <a:lnTo>
                    <a:pt x="94" y="43"/>
                  </a:lnTo>
                  <a:lnTo>
                    <a:pt x="94" y="41"/>
                  </a:lnTo>
                  <a:lnTo>
                    <a:pt x="93" y="40"/>
                  </a:lnTo>
                  <a:lnTo>
                    <a:pt x="94" y="40"/>
                  </a:lnTo>
                  <a:lnTo>
                    <a:pt x="94" y="41"/>
                  </a:lnTo>
                  <a:lnTo>
                    <a:pt x="96" y="41"/>
                  </a:lnTo>
                  <a:lnTo>
                    <a:pt x="96" y="43"/>
                  </a:lnTo>
                  <a:lnTo>
                    <a:pt x="97" y="43"/>
                  </a:lnTo>
                  <a:lnTo>
                    <a:pt x="97" y="44"/>
                  </a:lnTo>
                  <a:lnTo>
                    <a:pt x="98" y="44"/>
                  </a:lnTo>
                  <a:lnTo>
                    <a:pt x="97" y="44"/>
                  </a:lnTo>
                  <a:lnTo>
                    <a:pt x="97" y="45"/>
                  </a:lnTo>
                  <a:lnTo>
                    <a:pt x="96" y="45"/>
                  </a:lnTo>
                  <a:lnTo>
                    <a:pt x="96" y="46"/>
                  </a:lnTo>
                  <a:lnTo>
                    <a:pt x="96" y="45"/>
                  </a:lnTo>
                  <a:lnTo>
                    <a:pt x="94" y="45"/>
                  </a:lnTo>
                  <a:lnTo>
                    <a:pt x="94" y="46"/>
                  </a:lnTo>
                  <a:lnTo>
                    <a:pt x="93" y="46"/>
                  </a:lnTo>
                  <a:lnTo>
                    <a:pt x="92" y="46"/>
                  </a:lnTo>
                  <a:lnTo>
                    <a:pt x="92" y="47"/>
                  </a:lnTo>
                  <a:lnTo>
                    <a:pt x="93" y="47"/>
                  </a:lnTo>
                  <a:lnTo>
                    <a:pt x="93" y="49"/>
                  </a:lnTo>
                  <a:lnTo>
                    <a:pt x="94" y="49"/>
                  </a:lnTo>
                  <a:lnTo>
                    <a:pt x="94" y="47"/>
                  </a:lnTo>
                  <a:lnTo>
                    <a:pt x="96" y="47"/>
                  </a:lnTo>
                  <a:lnTo>
                    <a:pt x="94" y="47"/>
                  </a:lnTo>
                  <a:lnTo>
                    <a:pt x="96" y="47"/>
                  </a:lnTo>
                  <a:lnTo>
                    <a:pt x="96" y="46"/>
                  </a:lnTo>
                  <a:lnTo>
                    <a:pt x="97" y="45"/>
                  </a:lnTo>
                  <a:lnTo>
                    <a:pt x="98" y="46"/>
                  </a:lnTo>
                  <a:lnTo>
                    <a:pt x="97" y="46"/>
                  </a:lnTo>
                  <a:lnTo>
                    <a:pt x="97" y="47"/>
                  </a:lnTo>
                  <a:lnTo>
                    <a:pt x="98" y="47"/>
                  </a:lnTo>
                  <a:lnTo>
                    <a:pt x="98" y="49"/>
                  </a:lnTo>
                  <a:lnTo>
                    <a:pt x="97" y="49"/>
                  </a:lnTo>
                  <a:lnTo>
                    <a:pt x="96" y="49"/>
                  </a:lnTo>
                  <a:lnTo>
                    <a:pt x="96" y="50"/>
                  </a:lnTo>
                  <a:lnTo>
                    <a:pt x="94" y="50"/>
                  </a:lnTo>
                  <a:lnTo>
                    <a:pt x="94" y="51"/>
                  </a:lnTo>
                  <a:lnTo>
                    <a:pt x="93" y="51"/>
                  </a:lnTo>
                  <a:lnTo>
                    <a:pt x="93" y="50"/>
                  </a:lnTo>
                  <a:lnTo>
                    <a:pt x="92" y="50"/>
                  </a:lnTo>
                  <a:lnTo>
                    <a:pt x="91" y="50"/>
                  </a:lnTo>
                  <a:lnTo>
                    <a:pt x="91" y="52"/>
                  </a:lnTo>
                  <a:lnTo>
                    <a:pt x="91" y="51"/>
                  </a:lnTo>
                  <a:lnTo>
                    <a:pt x="90" y="51"/>
                  </a:lnTo>
                  <a:lnTo>
                    <a:pt x="90" y="52"/>
                  </a:lnTo>
                  <a:lnTo>
                    <a:pt x="88" y="52"/>
                  </a:lnTo>
                  <a:lnTo>
                    <a:pt x="87" y="52"/>
                  </a:lnTo>
                  <a:lnTo>
                    <a:pt x="87" y="53"/>
                  </a:lnTo>
                  <a:lnTo>
                    <a:pt x="86" y="53"/>
                  </a:lnTo>
                  <a:lnTo>
                    <a:pt x="86" y="52"/>
                  </a:lnTo>
                  <a:lnTo>
                    <a:pt x="85" y="53"/>
                  </a:lnTo>
                  <a:lnTo>
                    <a:pt x="83" y="53"/>
                  </a:lnTo>
                  <a:lnTo>
                    <a:pt x="82" y="53"/>
                  </a:lnTo>
                  <a:lnTo>
                    <a:pt x="82" y="55"/>
                  </a:lnTo>
                  <a:lnTo>
                    <a:pt x="82" y="57"/>
                  </a:lnTo>
                  <a:lnTo>
                    <a:pt x="82" y="58"/>
                  </a:lnTo>
                  <a:lnTo>
                    <a:pt x="81" y="58"/>
                  </a:lnTo>
                  <a:lnTo>
                    <a:pt x="81" y="57"/>
                  </a:lnTo>
                  <a:lnTo>
                    <a:pt x="80" y="57"/>
                  </a:lnTo>
                  <a:lnTo>
                    <a:pt x="80" y="56"/>
                  </a:lnTo>
                  <a:lnTo>
                    <a:pt x="80" y="55"/>
                  </a:lnTo>
                  <a:lnTo>
                    <a:pt x="79" y="55"/>
                  </a:lnTo>
                  <a:lnTo>
                    <a:pt x="79" y="56"/>
                  </a:lnTo>
                  <a:lnTo>
                    <a:pt x="77" y="57"/>
                  </a:lnTo>
                  <a:lnTo>
                    <a:pt x="76" y="57"/>
                  </a:lnTo>
                  <a:lnTo>
                    <a:pt x="76" y="56"/>
                  </a:lnTo>
                  <a:lnTo>
                    <a:pt x="76" y="55"/>
                  </a:lnTo>
                  <a:lnTo>
                    <a:pt x="75" y="53"/>
                  </a:lnTo>
                  <a:lnTo>
                    <a:pt x="75" y="55"/>
                  </a:lnTo>
                  <a:lnTo>
                    <a:pt x="74" y="55"/>
                  </a:lnTo>
                  <a:lnTo>
                    <a:pt x="74" y="53"/>
                  </a:lnTo>
                  <a:lnTo>
                    <a:pt x="73" y="53"/>
                  </a:lnTo>
                  <a:lnTo>
                    <a:pt x="71" y="53"/>
                  </a:lnTo>
                  <a:lnTo>
                    <a:pt x="71" y="55"/>
                  </a:lnTo>
                  <a:lnTo>
                    <a:pt x="73" y="56"/>
                  </a:lnTo>
                  <a:lnTo>
                    <a:pt x="73" y="57"/>
                  </a:lnTo>
                  <a:lnTo>
                    <a:pt x="73" y="58"/>
                  </a:lnTo>
                  <a:lnTo>
                    <a:pt x="74" y="58"/>
                  </a:lnTo>
                  <a:lnTo>
                    <a:pt x="74" y="59"/>
                  </a:lnTo>
                  <a:lnTo>
                    <a:pt x="75" y="61"/>
                  </a:lnTo>
                  <a:lnTo>
                    <a:pt x="74" y="61"/>
                  </a:lnTo>
                  <a:lnTo>
                    <a:pt x="74" y="62"/>
                  </a:lnTo>
                  <a:lnTo>
                    <a:pt x="73" y="62"/>
                  </a:lnTo>
                  <a:lnTo>
                    <a:pt x="73" y="61"/>
                  </a:lnTo>
                  <a:lnTo>
                    <a:pt x="73" y="59"/>
                  </a:lnTo>
                  <a:lnTo>
                    <a:pt x="71" y="59"/>
                  </a:lnTo>
                  <a:lnTo>
                    <a:pt x="71" y="61"/>
                  </a:lnTo>
                  <a:lnTo>
                    <a:pt x="70" y="61"/>
                  </a:lnTo>
                  <a:lnTo>
                    <a:pt x="71" y="61"/>
                  </a:lnTo>
                  <a:lnTo>
                    <a:pt x="70" y="62"/>
                  </a:lnTo>
                  <a:lnTo>
                    <a:pt x="70" y="63"/>
                  </a:lnTo>
                  <a:lnTo>
                    <a:pt x="71" y="63"/>
                  </a:lnTo>
                  <a:lnTo>
                    <a:pt x="71" y="64"/>
                  </a:lnTo>
                  <a:lnTo>
                    <a:pt x="71" y="65"/>
                  </a:lnTo>
                  <a:lnTo>
                    <a:pt x="73" y="65"/>
                  </a:lnTo>
                  <a:lnTo>
                    <a:pt x="73" y="67"/>
                  </a:lnTo>
                  <a:lnTo>
                    <a:pt x="74" y="67"/>
                  </a:lnTo>
                  <a:lnTo>
                    <a:pt x="74" y="65"/>
                  </a:lnTo>
                  <a:lnTo>
                    <a:pt x="74" y="67"/>
                  </a:lnTo>
                  <a:lnTo>
                    <a:pt x="74" y="68"/>
                  </a:lnTo>
                  <a:lnTo>
                    <a:pt x="73" y="68"/>
                  </a:lnTo>
                  <a:lnTo>
                    <a:pt x="73" y="67"/>
                  </a:lnTo>
                  <a:lnTo>
                    <a:pt x="71" y="68"/>
                  </a:lnTo>
                  <a:lnTo>
                    <a:pt x="70" y="68"/>
                  </a:lnTo>
                  <a:lnTo>
                    <a:pt x="70" y="69"/>
                  </a:lnTo>
                  <a:lnTo>
                    <a:pt x="69" y="69"/>
                  </a:lnTo>
                  <a:lnTo>
                    <a:pt x="69" y="68"/>
                  </a:lnTo>
                  <a:lnTo>
                    <a:pt x="68" y="68"/>
                  </a:lnTo>
                  <a:lnTo>
                    <a:pt x="67" y="68"/>
                  </a:lnTo>
                  <a:lnTo>
                    <a:pt x="65" y="69"/>
                  </a:lnTo>
                  <a:lnTo>
                    <a:pt x="67" y="69"/>
                  </a:lnTo>
                  <a:lnTo>
                    <a:pt x="67" y="70"/>
                  </a:lnTo>
                  <a:lnTo>
                    <a:pt x="65" y="70"/>
                  </a:lnTo>
                  <a:lnTo>
                    <a:pt x="65" y="71"/>
                  </a:lnTo>
                  <a:lnTo>
                    <a:pt x="64" y="71"/>
                  </a:lnTo>
                  <a:lnTo>
                    <a:pt x="63" y="71"/>
                  </a:lnTo>
                  <a:lnTo>
                    <a:pt x="62" y="71"/>
                  </a:lnTo>
                  <a:lnTo>
                    <a:pt x="63" y="71"/>
                  </a:lnTo>
                  <a:lnTo>
                    <a:pt x="63" y="73"/>
                  </a:lnTo>
                  <a:lnTo>
                    <a:pt x="63" y="74"/>
                  </a:lnTo>
                  <a:lnTo>
                    <a:pt x="62" y="75"/>
                  </a:lnTo>
                  <a:lnTo>
                    <a:pt x="62" y="74"/>
                  </a:lnTo>
                  <a:lnTo>
                    <a:pt x="61" y="74"/>
                  </a:lnTo>
                  <a:lnTo>
                    <a:pt x="59" y="73"/>
                  </a:lnTo>
                  <a:lnTo>
                    <a:pt x="58" y="73"/>
                  </a:lnTo>
                  <a:lnTo>
                    <a:pt x="57" y="73"/>
                  </a:lnTo>
                  <a:lnTo>
                    <a:pt x="57" y="74"/>
                  </a:lnTo>
                  <a:lnTo>
                    <a:pt x="57" y="75"/>
                  </a:lnTo>
                  <a:lnTo>
                    <a:pt x="57" y="74"/>
                  </a:lnTo>
                  <a:lnTo>
                    <a:pt x="56" y="74"/>
                  </a:lnTo>
                  <a:lnTo>
                    <a:pt x="55" y="74"/>
                  </a:lnTo>
                  <a:lnTo>
                    <a:pt x="55" y="75"/>
                  </a:lnTo>
                  <a:lnTo>
                    <a:pt x="53" y="75"/>
                  </a:lnTo>
                  <a:lnTo>
                    <a:pt x="53" y="74"/>
                  </a:lnTo>
                  <a:lnTo>
                    <a:pt x="52" y="74"/>
                  </a:lnTo>
                  <a:lnTo>
                    <a:pt x="52" y="75"/>
                  </a:lnTo>
                  <a:lnTo>
                    <a:pt x="52" y="76"/>
                  </a:lnTo>
                  <a:lnTo>
                    <a:pt x="53" y="76"/>
                  </a:lnTo>
                  <a:lnTo>
                    <a:pt x="52" y="77"/>
                  </a:lnTo>
                  <a:lnTo>
                    <a:pt x="53" y="77"/>
                  </a:lnTo>
                  <a:lnTo>
                    <a:pt x="55" y="77"/>
                  </a:lnTo>
                  <a:lnTo>
                    <a:pt x="55" y="79"/>
                  </a:lnTo>
                  <a:lnTo>
                    <a:pt x="55" y="80"/>
                  </a:lnTo>
                  <a:lnTo>
                    <a:pt x="53" y="80"/>
                  </a:lnTo>
                  <a:lnTo>
                    <a:pt x="53" y="79"/>
                  </a:lnTo>
                  <a:lnTo>
                    <a:pt x="52" y="79"/>
                  </a:lnTo>
                  <a:lnTo>
                    <a:pt x="51" y="79"/>
                  </a:lnTo>
                  <a:lnTo>
                    <a:pt x="51" y="77"/>
                  </a:lnTo>
                  <a:lnTo>
                    <a:pt x="51" y="76"/>
                  </a:lnTo>
                  <a:lnTo>
                    <a:pt x="50" y="76"/>
                  </a:lnTo>
                  <a:lnTo>
                    <a:pt x="50" y="77"/>
                  </a:lnTo>
                  <a:lnTo>
                    <a:pt x="50" y="76"/>
                  </a:lnTo>
                  <a:lnTo>
                    <a:pt x="49" y="76"/>
                  </a:lnTo>
                  <a:lnTo>
                    <a:pt x="49" y="75"/>
                  </a:lnTo>
                  <a:lnTo>
                    <a:pt x="49" y="76"/>
                  </a:lnTo>
                  <a:lnTo>
                    <a:pt x="47" y="76"/>
                  </a:lnTo>
                  <a:lnTo>
                    <a:pt x="49" y="76"/>
                  </a:lnTo>
                  <a:lnTo>
                    <a:pt x="49" y="79"/>
                  </a:lnTo>
                  <a:lnTo>
                    <a:pt x="47" y="79"/>
                  </a:lnTo>
                  <a:lnTo>
                    <a:pt x="46" y="79"/>
                  </a:lnTo>
                  <a:lnTo>
                    <a:pt x="46" y="77"/>
                  </a:lnTo>
                  <a:lnTo>
                    <a:pt x="45" y="79"/>
                  </a:lnTo>
                  <a:lnTo>
                    <a:pt x="46" y="79"/>
                  </a:lnTo>
                  <a:lnTo>
                    <a:pt x="46" y="80"/>
                  </a:lnTo>
                  <a:lnTo>
                    <a:pt x="46" y="81"/>
                  </a:lnTo>
                  <a:lnTo>
                    <a:pt x="47" y="81"/>
                  </a:lnTo>
                  <a:lnTo>
                    <a:pt x="49" y="81"/>
                  </a:lnTo>
                  <a:lnTo>
                    <a:pt x="47" y="82"/>
                  </a:lnTo>
                  <a:lnTo>
                    <a:pt x="49" y="82"/>
                  </a:lnTo>
                  <a:lnTo>
                    <a:pt x="49" y="81"/>
                  </a:lnTo>
                  <a:lnTo>
                    <a:pt x="50" y="81"/>
                  </a:lnTo>
                  <a:lnTo>
                    <a:pt x="49" y="82"/>
                  </a:lnTo>
                  <a:lnTo>
                    <a:pt x="50" y="82"/>
                  </a:lnTo>
                  <a:lnTo>
                    <a:pt x="51" y="83"/>
                  </a:lnTo>
                  <a:lnTo>
                    <a:pt x="52" y="83"/>
                  </a:lnTo>
                  <a:lnTo>
                    <a:pt x="53" y="83"/>
                  </a:lnTo>
                  <a:lnTo>
                    <a:pt x="53" y="85"/>
                  </a:lnTo>
                  <a:lnTo>
                    <a:pt x="55" y="85"/>
                  </a:lnTo>
                  <a:lnTo>
                    <a:pt x="55" y="86"/>
                  </a:lnTo>
                  <a:lnTo>
                    <a:pt x="56" y="86"/>
                  </a:lnTo>
                  <a:lnTo>
                    <a:pt x="57" y="87"/>
                  </a:lnTo>
                  <a:lnTo>
                    <a:pt x="58" y="87"/>
                  </a:lnTo>
                  <a:lnTo>
                    <a:pt x="58" y="88"/>
                  </a:lnTo>
                  <a:lnTo>
                    <a:pt x="59" y="88"/>
                  </a:lnTo>
                  <a:lnTo>
                    <a:pt x="57" y="88"/>
                  </a:lnTo>
                  <a:lnTo>
                    <a:pt x="56" y="88"/>
                  </a:lnTo>
                  <a:lnTo>
                    <a:pt x="55" y="89"/>
                  </a:lnTo>
                  <a:lnTo>
                    <a:pt x="53" y="91"/>
                  </a:lnTo>
                  <a:lnTo>
                    <a:pt x="53" y="89"/>
                  </a:lnTo>
                  <a:lnTo>
                    <a:pt x="52" y="89"/>
                  </a:lnTo>
                  <a:lnTo>
                    <a:pt x="52" y="91"/>
                  </a:lnTo>
                  <a:lnTo>
                    <a:pt x="51" y="91"/>
                  </a:lnTo>
                  <a:lnTo>
                    <a:pt x="51" y="89"/>
                  </a:lnTo>
                  <a:lnTo>
                    <a:pt x="50" y="89"/>
                  </a:lnTo>
                  <a:lnTo>
                    <a:pt x="50" y="88"/>
                  </a:lnTo>
                  <a:lnTo>
                    <a:pt x="49" y="88"/>
                  </a:lnTo>
                  <a:lnTo>
                    <a:pt x="49" y="89"/>
                  </a:lnTo>
                  <a:lnTo>
                    <a:pt x="49" y="91"/>
                  </a:lnTo>
                  <a:lnTo>
                    <a:pt x="47" y="91"/>
                  </a:lnTo>
                  <a:lnTo>
                    <a:pt x="46" y="91"/>
                  </a:lnTo>
                  <a:lnTo>
                    <a:pt x="45" y="91"/>
                  </a:lnTo>
                  <a:lnTo>
                    <a:pt x="44" y="91"/>
                  </a:lnTo>
                  <a:lnTo>
                    <a:pt x="43" y="91"/>
                  </a:lnTo>
                  <a:lnTo>
                    <a:pt x="43" y="92"/>
                  </a:lnTo>
                  <a:lnTo>
                    <a:pt x="43" y="91"/>
                  </a:lnTo>
                  <a:lnTo>
                    <a:pt x="41" y="91"/>
                  </a:lnTo>
                  <a:lnTo>
                    <a:pt x="41" y="92"/>
                  </a:lnTo>
                  <a:lnTo>
                    <a:pt x="40" y="92"/>
                  </a:lnTo>
                  <a:lnTo>
                    <a:pt x="40" y="91"/>
                  </a:lnTo>
                  <a:lnTo>
                    <a:pt x="39" y="91"/>
                  </a:lnTo>
                  <a:lnTo>
                    <a:pt x="38" y="91"/>
                  </a:lnTo>
                  <a:lnTo>
                    <a:pt x="39" y="91"/>
                  </a:lnTo>
                  <a:lnTo>
                    <a:pt x="39" y="92"/>
                  </a:lnTo>
                  <a:lnTo>
                    <a:pt x="39" y="93"/>
                  </a:lnTo>
                  <a:lnTo>
                    <a:pt x="39" y="94"/>
                  </a:lnTo>
                  <a:lnTo>
                    <a:pt x="38" y="94"/>
                  </a:lnTo>
                  <a:lnTo>
                    <a:pt x="37" y="95"/>
                  </a:lnTo>
                  <a:lnTo>
                    <a:pt x="38" y="95"/>
                  </a:lnTo>
                  <a:lnTo>
                    <a:pt x="39" y="97"/>
                  </a:lnTo>
                  <a:lnTo>
                    <a:pt x="40" y="98"/>
                  </a:lnTo>
                  <a:lnTo>
                    <a:pt x="40" y="99"/>
                  </a:lnTo>
                  <a:lnTo>
                    <a:pt x="39" y="99"/>
                  </a:lnTo>
                  <a:lnTo>
                    <a:pt x="40" y="99"/>
                  </a:lnTo>
                  <a:lnTo>
                    <a:pt x="39" y="100"/>
                  </a:lnTo>
                  <a:lnTo>
                    <a:pt x="38" y="100"/>
                  </a:lnTo>
                  <a:lnTo>
                    <a:pt x="37" y="99"/>
                  </a:lnTo>
                  <a:lnTo>
                    <a:pt x="37" y="98"/>
                  </a:lnTo>
                  <a:lnTo>
                    <a:pt x="35" y="99"/>
                  </a:lnTo>
                  <a:lnTo>
                    <a:pt x="35" y="98"/>
                  </a:lnTo>
                  <a:lnTo>
                    <a:pt x="35" y="97"/>
                  </a:lnTo>
                  <a:lnTo>
                    <a:pt x="34" y="97"/>
                  </a:lnTo>
                  <a:lnTo>
                    <a:pt x="33" y="97"/>
                  </a:lnTo>
                  <a:lnTo>
                    <a:pt x="32" y="97"/>
                  </a:lnTo>
                  <a:lnTo>
                    <a:pt x="32" y="95"/>
                  </a:lnTo>
                  <a:lnTo>
                    <a:pt x="31" y="97"/>
                  </a:lnTo>
                  <a:lnTo>
                    <a:pt x="31" y="98"/>
                  </a:lnTo>
                  <a:lnTo>
                    <a:pt x="32" y="98"/>
                  </a:lnTo>
                  <a:lnTo>
                    <a:pt x="32" y="99"/>
                  </a:lnTo>
                  <a:lnTo>
                    <a:pt x="33" y="100"/>
                  </a:lnTo>
                  <a:lnTo>
                    <a:pt x="35" y="100"/>
                  </a:lnTo>
                  <a:lnTo>
                    <a:pt x="35" y="101"/>
                  </a:lnTo>
                  <a:lnTo>
                    <a:pt x="35" y="103"/>
                  </a:lnTo>
                  <a:lnTo>
                    <a:pt x="37" y="103"/>
                  </a:lnTo>
                  <a:lnTo>
                    <a:pt x="38" y="104"/>
                  </a:lnTo>
                  <a:lnTo>
                    <a:pt x="38" y="105"/>
                  </a:lnTo>
                  <a:lnTo>
                    <a:pt x="39" y="105"/>
                  </a:lnTo>
                  <a:lnTo>
                    <a:pt x="39" y="106"/>
                  </a:lnTo>
                  <a:lnTo>
                    <a:pt x="40" y="106"/>
                  </a:lnTo>
                  <a:lnTo>
                    <a:pt x="40" y="105"/>
                  </a:lnTo>
                  <a:lnTo>
                    <a:pt x="41" y="105"/>
                  </a:lnTo>
                  <a:lnTo>
                    <a:pt x="43" y="105"/>
                  </a:lnTo>
                  <a:lnTo>
                    <a:pt x="44" y="106"/>
                  </a:lnTo>
                  <a:lnTo>
                    <a:pt x="43" y="106"/>
                  </a:lnTo>
                  <a:lnTo>
                    <a:pt x="41" y="107"/>
                  </a:lnTo>
                  <a:lnTo>
                    <a:pt x="41" y="109"/>
                  </a:lnTo>
                  <a:lnTo>
                    <a:pt x="40" y="109"/>
                  </a:lnTo>
                  <a:lnTo>
                    <a:pt x="40" y="110"/>
                  </a:lnTo>
                  <a:lnTo>
                    <a:pt x="39" y="110"/>
                  </a:lnTo>
                  <a:lnTo>
                    <a:pt x="38" y="110"/>
                  </a:lnTo>
                  <a:lnTo>
                    <a:pt x="37" y="110"/>
                  </a:lnTo>
                  <a:lnTo>
                    <a:pt x="35" y="110"/>
                  </a:lnTo>
                  <a:lnTo>
                    <a:pt x="35" y="111"/>
                  </a:lnTo>
                  <a:lnTo>
                    <a:pt x="37" y="111"/>
                  </a:lnTo>
                  <a:lnTo>
                    <a:pt x="37" y="112"/>
                  </a:lnTo>
                  <a:lnTo>
                    <a:pt x="35" y="112"/>
                  </a:lnTo>
                  <a:lnTo>
                    <a:pt x="37" y="113"/>
                  </a:lnTo>
                  <a:lnTo>
                    <a:pt x="38" y="116"/>
                  </a:lnTo>
                  <a:lnTo>
                    <a:pt x="37" y="117"/>
                  </a:lnTo>
                  <a:lnTo>
                    <a:pt x="37" y="118"/>
                  </a:lnTo>
                  <a:lnTo>
                    <a:pt x="37" y="119"/>
                  </a:lnTo>
                  <a:lnTo>
                    <a:pt x="37" y="121"/>
                  </a:lnTo>
                  <a:lnTo>
                    <a:pt x="35" y="119"/>
                  </a:lnTo>
                  <a:lnTo>
                    <a:pt x="35" y="121"/>
                  </a:lnTo>
                  <a:lnTo>
                    <a:pt x="35" y="122"/>
                  </a:lnTo>
                  <a:lnTo>
                    <a:pt x="33" y="122"/>
                  </a:lnTo>
                  <a:lnTo>
                    <a:pt x="32" y="122"/>
                  </a:lnTo>
                  <a:lnTo>
                    <a:pt x="31" y="122"/>
                  </a:lnTo>
                  <a:lnTo>
                    <a:pt x="31" y="121"/>
                  </a:lnTo>
                  <a:lnTo>
                    <a:pt x="31" y="122"/>
                  </a:lnTo>
                  <a:lnTo>
                    <a:pt x="29" y="122"/>
                  </a:lnTo>
                  <a:lnTo>
                    <a:pt x="28" y="122"/>
                  </a:lnTo>
                  <a:lnTo>
                    <a:pt x="27" y="123"/>
                  </a:lnTo>
                  <a:lnTo>
                    <a:pt x="26" y="123"/>
                  </a:lnTo>
                  <a:lnTo>
                    <a:pt x="25" y="123"/>
                  </a:lnTo>
                  <a:lnTo>
                    <a:pt x="23" y="123"/>
                  </a:lnTo>
                  <a:lnTo>
                    <a:pt x="23" y="122"/>
                  </a:lnTo>
                  <a:lnTo>
                    <a:pt x="23" y="123"/>
                  </a:lnTo>
                  <a:lnTo>
                    <a:pt x="23" y="124"/>
                  </a:lnTo>
                  <a:lnTo>
                    <a:pt x="25" y="125"/>
                  </a:lnTo>
                  <a:lnTo>
                    <a:pt x="25" y="127"/>
                  </a:lnTo>
                  <a:lnTo>
                    <a:pt x="23" y="127"/>
                  </a:lnTo>
                  <a:lnTo>
                    <a:pt x="22" y="127"/>
                  </a:lnTo>
                  <a:lnTo>
                    <a:pt x="21" y="127"/>
                  </a:lnTo>
                  <a:lnTo>
                    <a:pt x="20" y="127"/>
                  </a:lnTo>
                  <a:lnTo>
                    <a:pt x="18" y="127"/>
                  </a:lnTo>
                  <a:lnTo>
                    <a:pt x="16" y="127"/>
                  </a:lnTo>
                  <a:lnTo>
                    <a:pt x="16" y="128"/>
                  </a:lnTo>
                  <a:lnTo>
                    <a:pt x="17" y="128"/>
                  </a:lnTo>
                  <a:lnTo>
                    <a:pt x="17" y="129"/>
                  </a:lnTo>
                  <a:lnTo>
                    <a:pt x="20" y="130"/>
                  </a:lnTo>
                  <a:lnTo>
                    <a:pt x="21" y="130"/>
                  </a:lnTo>
                  <a:lnTo>
                    <a:pt x="21" y="132"/>
                  </a:lnTo>
                  <a:lnTo>
                    <a:pt x="22" y="132"/>
                  </a:lnTo>
                  <a:lnTo>
                    <a:pt x="22" y="133"/>
                  </a:lnTo>
                  <a:lnTo>
                    <a:pt x="23" y="134"/>
                  </a:lnTo>
                  <a:lnTo>
                    <a:pt x="25" y="134"/>
                  </a:lnTo>
                  <a:lnTo>
                    <a:pt x="26" y="133"/>
                  </a:lnTo>
                  <a:lnTo>
                    <a:pt x="26" y="134"/>
                  </a:lnTo>
                  <a:lnTo>
                    <a:pt x="27" y="133"/>
                  </a:lnTo>
                  <a:lnTo>
                    <a:pt x="27" y="134"/>
                  </a:lnTo>
                  <a:lnTo>
                    <a:pt x="28" y="133"/>
                  </a:lnTo>
                  <a:lnTo>
                    <a:pt x="29" y="134"/>
                  </a:lnTo>
                  <a:lnTo>
                    <a:pt x="31" y="133"/>
                  </a:lnTo>
                  <a:lnTo>
                    <a:pt x="31" y="132"/>
                  </a:lnTo>
                  <a:lnTo>
                    <a:pt x="32" y="132"/>
                  </a:lnTo>
                  <a:lnTo>
                    <a:pt x="33" y="132"/>
                  </a:lnTo>
                  <a:lnTo>
                    <a:pt x="33" y="130"/>
                  </a:lnTo>
                  <a:lnTo>
                    <a:pt x="33" y="129"/>
                  </a:lnTo>
                  <a:lnTo>
                    <a:pt x="34" y="129"/>
                  </a:lnTo>
                  <a:lnTo>
                    <a:pt x="34" y="130"/>
                  </a:lnTo>
                  <a:lnTo>
                    <a:pt x="33" y="132"/>
                  </a:lnTo>
                  <a:lnTo>
                    <a:pt x="33" y="133"/>
                  </a:lnTo>
                  <a:lnTo>
                    <a:pt x="34" y="134"/>
                  </a:lnTo>
                  <a:lnTo>
                    <a:pt x="34" y="135"/>
                  </a:lnTo>
                  <a:lnTo>
                    <a:pt x="35" y="134"/>
                  </a:lnTo>
                  <a:lnTo>
                    <a:pt x="37" y="134"/>
                  </a:lnTo>
                  <a:lnTo>
                    <a:pt x="37" y="133"/>
                  </a:lnTo>
                  <a:lnTo>
                    <a:pt x="37" y="132"/>
                  </a:lnTo>
                  <a:lnTo>
                    <a:pt x="38" y="132"/>
                  </a:lnTo>
                  <a:lnTo>
                    <a:pt x="39" y="130"/>
                  </a:lnTo>
                  <a:lnTo>
                    <a:pt x="39" y="132"/>
                  </a:lnTo>
                  <a:lnTo>
                    <a:pt x="40" y="132"/>
                  </a:lnTo>
                  <a:lnTo>
                    <a:pt x="41" y="130"/>
                  </a:lnTo>
                  <a:lnTo>
                    <a:pt x="43" y="130"/>
                  </a:lnTo>
                  <a:lnTo>
                    <a:pt x="44" y="130"/>
                  </a:lnTo>
                  <a:lnTo>
                    <a:pt x="45" y="130"/>
                  </a:lnTo>
                  <a:lnTo>
                    <a:pt x="46" y="132"/>
                  </a:lnTo>
                  <a:lnTo>
                    <a:pt x="47" y="132"/>
                  </a:lnTo>
                  <a:lnTo>
                    <a:pt x="49" y="130"/>
                  </a:lnTo>
                  <a:lnTo>
                    <a:pt x="50" y="130"/>
                  </a:lnTo>
                  <a:lnTo>
                    <a:pt x="50" y="132"/>
                  </a:lnTo>
                  <a:lnTo>
                    <a:pt x="51" y="132"/>
                  </a:lnTo>
                  <a:lnTo>
                    <a:pt x="52" y="133"/>
                  </a:lnTo>
                  <a:lnTo>
                    <a:pt x="53" y="132"/>
                  </a:lnTo>
                  <a:lnTo>
                    <a:pt x="55" y="132"/>
                  </a:lnTo>
                  <a:lnTo>
                    <a:pt x="53" y="130"/>
                  </a:lnTo>
                  <a:lnTo>
                    <a:pt x="55" y="129"/>
                  </a:lnTo>
                  <a:lnTo>
                    <a:pt x="55" y="130"/>
                  </a:lnTo>
                  <a:lnTo>
                    <a:pt x="56" y="130"/>
                  </a:lnTo>
                  <a:lnTo>
                    <a:pt x="57" y="130"/>
                  </a:lnTo>
                  <a:lnTo>
                    <a:pt x="58" y="130"/>
                  </a:lnTo>
                  <a:lnTo>
                    <a:pt x="58" y="132"/>
                  </a:lnTo>
                  <a:lnTo>
                    <a:pt x="58" y="133"/>
                  </a:lnTo>
                  <a:lnTo>
                    <a:pt x="57" y="133"/>
                  </a:lnTo>
                  <a:lnTo>
                    <a:pt x="57" y="132"/>
                  </a:lnTo>
                  <a:lnTo>
                    <a:pt x="57" y="133"/>
                  </a:lnTo>
                  <a:lnTo>
                    <a:pt x="56" y="133"/>
                  </a:lnTo>
                  <a:lnTo>
                    <a:pt x="56" y="134"/>
                  </a:lnTo>
                  <a:lnTo>
                    <a:pt x="56" y="133"/>
                  </a:lnTo>
                  <a:lnTo>
                    <a:pt x="56" y="134"/>
                  </a:lnTo>
                  <a:lnTo>
                    <a:pt x="56" y="135"/>
                  </a:lnTo>
                  <a:lnTo>
                    <a:pt x="56" y="136"/>
                  </a:lnTo>
                  <a:lnTo>
                    <a:pt x="55" y="135"/>
                  </a:lnTo>
                  <a:lnTo>
                    <a:pt x="55" y="136"/>
                  </a:lnTo>
                  <a:lnTo>
                    <a:pt x="56" y="136"/>
                  </a:lnTo>
                  <a:lnTo>
                    <a:pt x="56" y="138"/>
                  </a:lnTo>
                  <a:lnTo>
                    <a:pt x="55" y="138"/>
                  </a:lnTo>
                  <a:lnTo>
                    <a:pt x="53" y="138"/>
                  </a:lnTo>
                  <a:lnTo>
                    <a:pt x="52" y="138"/>
                  </a:lnTo>
                  <a:lnTo>
                    <a:pt x="51" y="139"/>
                  </a:lnTo>
                  <a:lnTo>
                    <a:pt x="50" y="140"/>
                  </a:lnTo>
                  <a:lnTo>
                    <a:pt x="50" y="141"/>
                  </a:lnTo>
                  <a:lnTo>
                    <a:pt x="49" y="141"/>
                  </a:lnTo>
                  <a:lnTo>
                    <a:pt x="47" y="142"/>
                  </a:lnTo>
                  <a:lnTo>
                    <a:pt x="47" y="144"/>
                  </a:lnTo>
                  <a:lnTo>
                    <a:pt x="46" y="144"/>
                  </a:lnTo>
                  <a:lnTo>
                    <a:pt x="45" y="145"/>
                  </a:lnTo>
                  <a:lnTo>
                    <a:pt x="44" y="146"/>
                  </a:lnTo>
                  <a:lnTo>
                    <a:pt x="44" y="145"/>
                  </a:lnTo>
                  <a:lnTo>
                    <a:pt x="43" y="146"/>
                  </a:lnTo>
                  <a:lnTo>
                    <a:pt x="41" y="146"/>
                  </a:lnTo>
                  <a:lnTo>
                    <a:pt x="41" y="147"/>
                  </a:lnTo>
                  <a:lnTo>
                    <a:pt x="40" y="147"/>
                  </a:lnTo>
                  <a:lnTo>
                    <a:pt x="39" y="147"/>
                  </a:lnTo>
                  <a:lnTo>
                    <a:pt x="38" y="147"/>
                  </a:lnTo>
                  <a:lnTo>
                    <a:pt x="38" y="148"/>
                  </a:lnTo>
                  <a:lnTo>
                    <a:pt x="37" y="148"/>
                  </a:lnTo>
                  <a:lnTo>
                    <a:pt x="37" y="150"/>
                  </a:lnTo>
                  <a:lnTo>
                    <a:pt x="37" y="151"/>
                  </a:lnTo>
                  <a:lnTo>
                    <a:pt x="37" y="152"/>
                  </a:lnTo>
                  <a:lnTo>
                    <a:pt x="35" y="152"/>
                  </a:lnTo>
                  <a:lnTo>
                    <a:pt x="37" y="152"/>
                  </a:lnTo>
                  <a:lnTo>
                    <a:pt x="35" y="152"/>
                  </a:lnTo>
                  <a:lnTo>
                    <a:pt x="34" y="153"/>
                  </a:lnTo>
                  <a:lnTo>
                    <a:pt x="33" y="153"/>
                  </a:lnTo>
                  <a:lnTo>
                    <a:pt x="31" y="153"/>
                  </a:lnTo>
                  <a:lnTo>
                    <a:pt x="31" y="154"/>
                  </a:lnTo>
                  <a:lnTo>
                    <a:pt x="28" y="154"/>
                  </a:lnTo>
                  <a:lnTo>
                    <a:pt x="27" y="153"/>
                  </a:lnTo>
                  <a:lnTo>
                    <a:pt x="27" y="154"/>
                  </a:lnTo>
                  <a:lnTo>
                    <a:pt x="26" y="154"/>
                  </a:lnTo>
                  <a:lnTo>
                    <a:pt x="25" y="154"/>
                  </a:lnTo>
                  <a:lnTo>
                    <a:pt x="26" y="157"/>
                  </a:lnTo>
                  <a:lnTo>
                    <a:pt x="27" y="157"/>
                  </a:lnTo>
                  <a:lnTo>
                    <a:pt x="26" y="158"/>
                  </a:lnTo>
                  <a:lnTo>
                    <a:pt x="25" y="158"/>
                  </a:lnTo>
                  <a:lnTo>
                    <a:pt x="25" y="159"/>
                  </a:lnTo>
                  <a:lnTo>
                    <a:pt x="23" y="159"/>
                  </a:lnTo>
                  <a:lnTo>
                    <a:pt x="22" y="159"/>
                  </a:lnTo>
                  <a:lnTo>
                    <a:pt x="23" y="160"/>
                  </a:lnTo>
                  <a:lnTo>
                    <a:pt x="22" y="162"/>
                  </a:lnTo>
                  <a:lnTo>
                    <a:pt x="21" y="162"/>
                  </a:lnTo>
                  <a:lnTo>
                    <a:pt x="20" y="162"/>
                  </a:lnTo>
                  <a:lnTo>
                    <a:pt x="18" y="162"/>
                  </a:lnTo>
                  <a:lnTo>
                    <a:pt x="17" y="162"/>
                  </a:lnTo>
                  <a:lnTo>
                    <a:pt x="16" y="162"/>
                  </a:lnTo>
                  <a:lnTo>
                    <a:pt x="17" y="164"/>
                  </a:lnTo>
                  <a:lnTo>
                    <a:pt x="17" y="165"/>
                  </a:lnTo>
                  <a:lnTo>
                    <a:pt x="18" y="165"/>
                  </a:lnTo>
                  <a:lnTo>
                    <a:pt x="20" y="165"/>
                  </a:lnTo>
                  <a:lnTo>
                    <a:pt x="21" y="166"/>
                  </a:lnTo>
                  <a:lnTo>
                    <a:pt x="20" y="166"/>
                  </a:lnTo>
                  <a:lnTo>
                    <a:pt x="18" y="166"/>
                  </a:lnTo>
                  <a:lnTo>
                    <a:pt x="17" y="168"/>
                  </a:lnTo>
                  <a:lnTo>
                    <a:pt x="17" y="170"/>
                  </a:lnTo>
                  <a:lnTo>
                    <a:pt x="18" y="171"/>
                  </a:lnTo>
                  <a:lnTo>
                    <a:pt x="18" y="172"/>
                  </a:lnTo>
                  <a:lnTo>
                    <a:pt x="18" y="174"/>
                  </a:lnTo>
                  <a:lnTo>
                    <a:pt x="17" y="175"/>
                  </a:lnTo>
                  <a:lnTo>
                    <a:pt x="17" y="176"/>
                  </a:lnTo>
                  <a:lnTo>
                    <a:pt x="18" y="177"/>
                  </a:lnTo>
                  <a:lnTo>
                    <a:pt x="20" y="177"/>
                  </a:lnTo>
                  <a:lnTo>
                    <a:pt x="18" y="178"/>
                  </a:lnTo>
                  <a:lnTo>
                    <a:pt x="18" y="180"/>
                  </a:lnTo>
                  <a:lnTo>
                    <a:pt x="17" y="181"/>
                  </a:lnTo>
                  <a:lnTo>
                    <a:pt x="17" y="180"/>
                  </a:lnTo>
                  <a:lnTo>
                    <a:pt x="16" y="180"/>
                  </a:lnTo>
                  <a:lnTo>
                    <a:pt x="16" y="181"/>
                  </a:lnTo>
                  <a:lnTo>
                    <a:pt x="15" y="181"/>
                  </a:lnTo>
                  <a:lnTo>
                    <a:pt x="16" y="181"/>
                  </a:lnTo>
                  <a:lnTo>
                    <a:pt x="16" y="182"/>
                  </a:lnTo>
                  <a:lnTo>
                    <a:pt x="17" y="182"/>
                  </a:lnTo>
                  <a:lnTo>
                    <a:pt x="18" y="182"/>
                  </a:lnTo>
                  <a:lnTo>
                    <a:pt x="20" y="182"/>
                  </a:lnTo>
                  <a:lnTo>
                    <a:pt x="21" y="182"/>
                  </a:lnTo>
                  <a:lnTo>
                    <a:pt x="21" y="181"/>
                  </a:lnTo>
                  <a:lnTo>
                    <a:pt x="25" y="181"/>
                  </a:lnTo>
                  <a:lnTo>
                    <a:pt x="25" y="180"/>
                  </a:lnTo>
                  <a:lnTo>
                    <a:pt x="26" y="178"/>
                  </a:lnTo>
                  <a:lnTo>
                    <a:pt x="27" y="177"/>
                  </a:lnTo>
                  <a:lnTo>
                    <a:pt x="27" y="176"/>
                  </a:lnTo>
                  <a:lnTo>
                    <a:pt x="27" y="175"/>
                  </a:lnTo>
                  <a:lnTo>
                    <a:pt x="28" y="174"/>
                  </a:lnTo>
                  <a:lnTo>
                    <a:pt x="28" y="172"/>
                  </a:lnTo>
                  <a:lnTo>
                    <a:pt x="29" y="171"/>
                  </a:lnTo>
                  <a:lnTo>
                    <a:pt x="31" y="172"/>
                  </a:lnTo>
                  <a:lnTo>
                    <a:pt x="32" y="172"/>
                  </a:lnTo>
                  <a:lnTo>
                    <a:pt x="33" y="171"/>
                  </a:lnTo>
                  <a:lnTo>
                    <a:pt x="33" y="172"/>
                  </a:lnTo>
                  <a:lnTo>
                    <a:pt x="34" y="172"/>
                  </a:lnTo>
                  <a:lnTo>
                    <a:pt x="35" y="174"/>
                  </a:lnTo>
                  <a:lnTo>
                    <a:pt x="37" y="172"/>
                  </a:lnTo>
                  <a:lnTo>
                    <a:pt x="37" y="171"/>
                  </a:lnTo>
                  <a:lnTo>
                    <a:pt x="35" y="170"/>
                  </a:lnTo>
                  <a:lnTo>
                    <a:pt x="34" y="170"/>
                  </a:lnTo>
                  <a:lnTo>
                    <a:pt x="34" y="169"/>
                  </a:lnTo>
                  <a:lnTo>
                    <a:pt x="34" y="168"/>
                  </a:lnTo>
                  <a:lnTo>
                    <a:pt x="33" y="168"/>
                  </a:lnTo>
                  <a:lnTo>
                    <a:pt x="32" y="168"/>
                  </a:lnTo>
                  <a:lnTo>
                    <a:pt x="32" y="166"/>
                  </a:lnTo>
                  <a:lnTo>
                    <a:pt x="33" y="166"/>
                  </a:lnTo>
                  <a:lnTo>
                    <a:pt x="34" y="166"/>
                  </a:lnTo>
                  <a:lnTo>
                    <a:pt x="35" y="166"/>
                  </a:lnTo>
                  <a:lnTo>
                    <a:pt x="37" y="166"/>
                  </a:lnTo>
                  <a:lnTo>
                    <a:pt x="38" y="165"/>
                  </a:lnTo>
                  <a:lnTo>
                    <a:pt x="39" y="165"/>
                  </a:lnTo>
                  <a:lnTo>
                    <a:pt x="38" y="164"/>
                  </a:lnTo>
                  <a:lnTo>
                    <a:pt x="39" y="164"/>
                  </a:lnTo>
                  <a:lnTo>
                    <a:pt x="40" y="164"/>
                  </a:lnTo>
                  <a:lnTo>
                    <a:pt x="39" y="163"/>
                  </a:lnTo>
                  <a:lnTo>
                    <a:pt x="40" y="163"/>
                  </a:lnTo>
                  <a:lnTo>
                    <a:pt x="41" y="163"/>
                  </a:lnTo>
                  <a:lnTo>
                    <a:pt x="43" y="163"/>
                  </a:lnTo>
                  <a:lnTo>
                    <a:pt x="43" y="164"/>
                  </a:lnTo>
                  <a:lnTo>
                    <a:pt x="44" y="163"/>
                  </a:lnTo>
                  <a:lnTo>
                    <a:pt x="44" y="162"/>
                  </a:lnTo>
                  <a:lnTo>
                    <a:pt x="45" y="162"/>
                  </a:lnTo>
                  <a:lnTo>
                    <a:pt x="46" y="162"/>
                  </a:lnTo>
                  <a:lnTo>
                    <a:pt x="45" y="160"/>
                  </a:lnTo>
                  <a:lnTo>
                    <a:pt x="46" y="160"/>
                  </a:lnTo>
                  <a:lnTo>
                    <a:pt x="47" y="160"/>
                  </a:lnTo>
                  <a:lnTo>
                    <a:pt x="49" y="160"/>
                  </a:lnTo>
                  <a:lnTo>
                    <a:pt x="49" y="159"/>
                  </a:lnTo>
                  <a:lnTo>
                    <a:pt x="50" y="159"/>
                  </a:lnTo>
                  <a:lnTo>
                    <a:pt x="51" y="159"/>
                  </a:lnTo>
                  <a:lnTo>
                    <a:pt x="51" y="158"/>
                  </a:lnTo>
                  <a:lnTo>
                    <a:pt x="51" y="157"/>
                  </a:lnTo>
                  <a:lnTo>
                    <a:pt x="51" y="156"/>
                  </a:lnTo>
                  <a:lnTo>
                    <a:pt x="52" y="154"/>
                  </a:lnTo>
                  <a:lnTo>
                    <a:pt x="53" y="153"/>
                  </a:lnTo>
                  <a:lnTo>
                    <a:pt x="53" y="154"/>
                  </a:lnTo>
                  <a:lnTo>
                    <a:pt x="53" y="156"/>
                  </a:lnTo>
                  <a:lnTo>
                    <a:pt x="55" y="156"/>
                  </a:lnTo>
                  <a:lnTo>
                    <a:pt x="55" y="158"/>
                  </a:lnTo>
                  <a:lnTo>
                    <a:pt x="55" y="157"/>
                  </a:lnTo>
                  <a:lnTo>
                    <a:pt x="53" y="157"/>
                  </a:lnTo>
                  <a:lnTo>
                    <a:pt x="52" y="158"/>
                  </a:lnTo>
                  <a:lnTo>
                    <a:pt x="52" y="159"/>
                  </a:lnTo>
                  <a:lnTo>
                    <a:pt x="52" y="160"/>
                  </a:lnTo>
                  <a:lnTo>
                    <a:pt x="51" y="160"/>
                  </a:lnTo>
                  <a:lnTo>
                    <a:pt x="51" y="162"/>
                  </a:lnTo>
                  <a:lnTo>
                    <a:pt x="52" y="162"/>
                  </a:lnTo>
                  <a:lnTo>
                    <a:pt x="53" y="162"/>
                  </a:lnTo>
                  <a:lnTo>
                    <a:pt x="55" y="160"/>
                  </a:lnTo>
                  <a:lnTo>
                    <a:pt x="56" y="160"/>
                  </a:lnTo>
                  <a:lnTo>
                    <a:pt x="56" y="159"/>
                  </a:lnTo>
                  <a:lnTo>
                    <a:pt x="57" y="159"/>
                  </a:lnTo>
                  <a:lnTo>
                    <a:pt x="58" y="159"/>
                  </a:lnTo>
                  <a:lnTo>
                    <a:pt x="59" y="159"/>
                  </a:lnTo>
                  <a:lnTo>
                    <a:pt x="59" y="158"/>
                  </a:lnTo>
                  <a:lnTo>
                    <a:pt x="61" y="158"/>
                  </a:lnTo>
                  <a:lnTo>
                    <a:pt x="62" y="158"/>
                  </a:lnTo>
                  <a:lnTo>
                    <a:pt x="63" y="158"/>
                  </a:lnTo>
                  <a:lnTo>
                    <a:pt x="65" y="158"/>
                  </a:lnTo>
                  <a:lnTo>
                    <a:pt x="67" y="157"/>
                  </a:lnTo>
                  <a:lnTo>
                    <a:pt x="65" y="157"/>
                  </a:lnTo>
                  <a:lnTo>
                    <a:pt x="67" y="156"/>
                  </a:lnTo>
                  <a:lnTo>
                    <a:pt x="68" y="156"/>
                  </a:lnTo>
                  <a:lnTo>
                    <a:pt x="70" y="154"/>
                  </a:lnTo>
                  <a:lnTo>
                    <a:pt x="69" y="152"/>
                  </a:lnTo>
                  <a:lnTo>
                    <a:pt x="69" y="151"/>
                  </a:lnTo>
                  <a:lnTo>
                    <a:pt x="68" y="151"/>
                  </a:lnTo>
                  <a:lnTo>
                    <a:pt x="69" y="150"/>
                  </a:lnTo>
                  <a:lnTo>
                    <a:pt x="69" y="151"/>
                  </a:lnTo>
                  <a:lnTo>
                    <a:pt x="69" y="152"/>
                  </a:lnTo>
                  <a:lnTo>
                    <a:pt x="70" y="153"/>
                  </a:lnTo>
                  <a:lnTo>
                    <a:pt x="71" y="152"/>
                  </a:lnTo>
                  <a:lnTo>
                    <a:pt x="73" y="152"/>
                  </a:lnTo>
                  <a:lnTo>
                    <a:pt x="74" y="152"/>
                  </a:lnTo>
                  <a:lnTo>
                    <a:pt x="75" y="153"/>
                  </a:lnTo>
                  <a:lnTo>
                    <a:pt x="76" y="153"/>
                  </a:lnTo>
                  <a:lnTo>
                    <a:pt x="77" y="153"/>
                  </a:lnTo>
                  <a:lnTo>
                    <a:pt x="77" y="154"/>
                  </a:lnTo>
                  <a:lnTo>
                    <a:pt x="77" y="157"/>
                  </a:lnTo>
                  <a:lnTo>
                    <a:pt x="77" y="156"/>
                  </a:lnTo>
                  <a:lnTo>
                    <a:pt x="76" y="156"/>
                  </a:lnTo>
                  <a:lnTo>
                    <a:pt x="75" y="157"/>
                  </a:lnTo>
                  <a:lnTo>
                    <a:pt x="75" y="156"/>
                  </a:lnTo>
                  <a:lnTo>
                    <a:pt x="74" y="156"/>
                  </a:lnTo>
                  <a:lnTo>
                    <a:pt x="73" y="156"/>
                  </a:lnTo>
                  <a:lnTo>
                    <a:pt x="73" y="157"/>
                  </a:lnTo>
                  <a:lnTo>
                    <a:pt x="74" y="157"/>
                  </a:lnTo>
                  <a:lnTo>
                    <a:pt x="74" y="158"/>
                  </a:lnTo>
                  <a:lnTo>
                    <a:pt x="73" y="158"/>
                  </a:lnTo>
                  <a:lnTo>
                    <a:pt x="73" y="159"/>
                  </a:lnTo>
                  <a:lnTo>
                    <a:pt x="74" y="158"/>
                  </a:lnTo>
                  <a:lnTo>
                    <a:pt x="75" y="158"/>
                  </a:lnTo>
                  <a:lnTo>
                    <a:pt x="76" y="158"/>
                  </a:lnTo>
                  <a:lnTo>
                    <a:pt x="75" y="159"/>
                  </a:lnTo>
                  <a:lnTo>
                    <a:pt x="74" y="159"/>
                  </a:lnTo>
                  <a:lnTo>
                    <a:pt x="74" y="160"/>
                  </a:lnTo>
                  <a:lnTo>
                    <a:pt x="73" y="160"/>
                  </a:lnTo>
                  <a:lnTo>
                    <a:pt x="71" y="160"/>
                  </a:lnTo>
                  <a:lnTo>
                    <a:pt x="70" y="159"/>
                  </a:lnTo>
                  <a:lnTo>
                    <a:pt x="69" y="159"/>
                  </a:lnTo>
                  <a:lnTo>
                    <a:pt x="68" y="159"/>
                  </a:lnTo>
                  <a:lnTo>
                    <a:pt x="68" y="160"/>
                  </a:lnTo>
                  <a:lnTo>
                    <a:pt x="68" y="162"/>
                  </a:lnTo>
                  <a:lnTo>
                    <a:pt x="67" y="163"/>
                  </a:lnTo>
                  <a:lnTo>
                    <a:pt x="67" y="164"/>
                  </a:lnTo>
                  <a:lnTo>
                    <a:pt x="67" y="165"/>
                  </a:lnTo>
                  <a:lnTo>
                    <a:pt x="65" y="165"/>
                  </a:lnTo>
                  <a:lnTo>
                    <a:pt x="64" y="166"/>
                  </a:lnTo>
                  <a:lnTo>
                    <a:pt x="65" y="166"/>
                  </a:lnTo>
                  <a:lnTo>
                    <a:pt x="64" y="166"/>
                  </a:lnTo>
                  <a:lnTo>
                    <a:pt x="62" y="166"/>
                  </a:lnTo>
                  <a:lnTo>
                    <a:pt x="62" y="168"/>
                  </a:lnTo>
                  <a:lnTo>
                    <a:pt x="61" y="168"/>
                  </a:lnTo>
                  <a:lnTo>
                    <a:pt x="58" y="169"/>
                  </a:lnTo>
                  <a:lnTo>
                    <a:pt x="57" y="168"/>
                  </a:lnTo>
                  <a:lnTo>
                    <a:pt x="56" y="168"/>
                  </a:lnTo>
                  <a:lnTo>
                    <a:pt x="55" y="168"/>
                  </a:lnTo>
                  <a:lnTo>
                    <a:pt x="53" y="168"/>
                  </a:lnTo>
                  <a:lnTo>
                    <a:pt x="53" y="166"/>
                  </a:lnTo>
                  <a:lnTo>
                    <a:pt x="52" y="166"/>
                  </a:lnTo>
                  <a:lnTo>
                    <a:pt x="51" y="168"/>
                  </a:lnTo>
                  <a:lnTo>
                    <a:pt x="50" y="168"/>
                  </a:lnTo>
                  <a:lnTo>
                    <a:pt x="49" y="169"/>
                  </a:lnTo>
                  <a:lnTo>
                    <a:pt x="47" y="170"/>
                  </a:lnTo>
                  <a:lnTo>
                    <a:pt x="46" y="170"/>
                  </a:lnTo>
                  <a:lnTo>
                    <a:pt x="47" y="170"/>
                  </a:lnTo>
                  <a:lnTo>
                    <a:pt x="46" y="171"/>
                  </a:lnTo>
                  <a:lnTo>
                    <a:pt x="47" y="172"/>
                  </a:lnTo>
                  <a:lnTo>
                    <a:pt x="46" y="172"/>
                  </a:lnTo>
                  <a:lnTo>
                    <a:pt x="46" y="174"/>
                  </a:lnTo>
                  <a:lnTo>
                    <a:pt x="47" y="174"/>
                  </a:lnTo>
                  <a:lnTo>
                    <a:pt x="49" y="175"/>
                  </a:lnTo>
                  <a:lnTo>
                    <a:pt x="47" y="175"/>
                  </a:lnTo>
                  <a:lnTo>
                    <a:pt x="46" y="174"/>
                  </a:lnTo>
                  <a:lnTo>
                    <a:pt x="45" y="174"/>
                  </a:lnTo>
                  <a:lnTo>
                    <a:pt x="44" y="172"/>
                  </a:lnTo>
                  <a:lnTo>
                    <a:pt x="44" y="174"/>
                  </a:lnTo>
                  <a:lnTo>
                    <a:pt x="43" y="174"/>
                  </a:lnTo>
                  <a:lnTo>
                    <a:pt x="43" y="175"/>
                  </a:lnTo>
                  <a:lnTo>
                    <a:pt x="43" y="176"/>
                  </a:lnTo>
                  <a:lnTo>
                    <a:pt x="41" y="176"/>
                  </a:lnTo>
                  <a:lnTo>
                    <a:pt x="40" y="178"/>
                  </a:lnTo>
                  <a:lnTo>
                    <a:pt x="39" y="178"/>
                  </a:lnTo>
                  <a:lnTo>
                    <a:pt x="38" y="178"/>
                  </a:lnTo>
                  <a:lnTo>
                    <a:pt x="37" y="177"/>
                  </a:lnTo>
                  <a:lnTo>
                    <a:pt x="37" y="178"/>
                  </a:lnTo>
                  <a:lnTo>
                    <a:pt x="35" y="178"/>
                  </a:lnTo>
                  <a:lnTo>
                    <a:pt x="34" y="178"/>
                  </a:lnTo>
                  <a:lnTo>
                    <a:pt x="34" y="180"/>
                  </a:lnTo>
                  <a:lnTo>
                    <a:pt x="35" y="180"/>
                  </a:lnTo>
                  <a:lnTo>
                    <a:pt x="34" y="181"/>
                  </a:lnTo>
                  <a:lnTo>
                    <a:pt x="35" y="182"/>
                  </a:lnTo>
                  <a:lnTo>
                    <a:pt x="34" y="182"/>
                  </a:lnTo>
                  <a:lnTo>
                    <a:pt x="34" y="183"/>
                  </a:lnTo>
                  <a:lnTo>
                    <a:pt x="34" y="184"/>
                  </a:lnTo>
                  <a:lnTo>
                    <a:pt x="34" y="186"/>
                  </a:lnTo>
                  <a:lnTo>
                    <a:pt x="35" y="186"/>
                  </a:lnTo>
                  <a:lnTo>
                    <a:pt x="34" y="187"/>
                  </a:lnTo>
                  <a:lnTo>
                    <a:pt x="34" y="188"/>
                  </a:lnTo>
                  <a:lnTo>
                    <a:pt x="33" y="188"/>
                  </a:lnTo>
                  <a:lnTo>
                    <a:pt x="33" y="187"/>
                  </a:lnTo>
                  <a:lnTo>
                    <a:pt x="32" y="187"/>
                  </a:lnTo>
                  <a:lnTo>
                    <a:pt x="32" y="188"/>
                  </a:lnTo>
                  <a:lnTo>
                    <a:pt x="31" y="188"/>
                  </a:lnTo>
                  <a:lnTo>
                    <a:pt x="29" y="188"/>
                  </a:lnTo>
                  <a:lnTo>
                    <a:pt x="28" y="189"/>
                  </a:lnTo>
                  <a:lnTo>
                    <a:pt x="28" y="190"/>
                  </a:lnTo>
                  <a:lnTo>
                    <a:pt x="27" y="189"/>
                  </a:lnTo>
                  <a:lnTo>
                    <a:pt x="26" y="190"/>
                  </a:lnTo>
                  <a:lnTo>
                    <a:pt x="25" y="190"/>
                  </a:lnTo>
                  <a:lnTo>
                    <a:pt x="25" y="192"/>
                  </a:lnTo>
                  <a:lnTo>
                    <a:pt x="26" y="193"/>
                  </a:lnTo>
                  <a:lnTo>
                    <a:pt x="25" y="194"/>
                  </a:lnTo>
                  <a:lnTo>
                    <a:pt x="23" y="194"/>
                  </a:lnTo>
                  <a:lnTo>
                    <a:pt x="23" y="195"/>
                  </a:lnTo>
                  <a:lnTo>
                    <a:pt x="21" y="195"/>
                  </a:lnTo>
                  <a:lnTo>
                    <a:pt x="21" y="196"/>
                  </a:lnTo>
                  <a:lnTo>
                    <a:pt x="20" y="198"/>
                  </a:lnTo>
                  <a:lnTo>
                    <a:pt x="18" y="198"/>
                  </a:lnTo>
                  <a:lnTo>
                    <a:pt x="18" y="199"/>
                  </a:lnTo>
                  <a:lnTo>
                    <a:pt x="18" y="200"/>
                  </a:lnTo>
                  <a:lnTo>
                    <a:pt x="18" y="201"/>
                  </a:lnTo>
                  <a:lnTo>
                    <a:pt x="17" y="201"/>
                  </a:lnTo>
                  <a:lnTo>
                    <a:pt x="18" y="202"/>
                  </a:lnTo>
                  <a:lnTo>
                    <a:pt x="17" y="204"/>
                  </a:lnTo>
                  <a:lnTo>
                    <a:pt x="17" y="205"/>
                  </a:lnTo>
                  <a:lnTo>
                    <a:pt x="16" y="205"/>
                  </a:lnTo>
                  <a:lnTo>
                    <a:pt x="17" y="206"/>
                  </a:lnTo>
                  <a:lnTo>
                    <a:pt x="17" y="207"/>
                  </a:lnTo>
                  <a:lnTo>
                    <a:pt x="17" y="208"/>
                  </a:lnTo>
                  <a:lnTo>
                    <a:pt x="17" y="207"/>
                  </a:lnTo>
                  <a:lnTo>
                    <a:pt x="16" y="207"/>
                  </a:lnTo>
                  <a:lnTo>
                    <a:pt x="15" y="210"/>
                  </a:lnTo>
                  <a:lnTo>
                    <a:pt x="14" y="211"/>
                  </a:lnTo>
                  <a:lnTo>
                    <a:pt x="12" y="211"/>
                  </a:lnTo>
                  <a:lnTo>
                    <a:pt x="11" y="211"/>
                  </a:lnTo>
                  <a:lnTo>
                    <a:pt x="12" y="212"/>
                  </a:lnTo>
                  <a:lnTo>
                    <a:pt x="12" y="213"/>
                  </a:lnTo>
                  <a:lnTo>
                    <a:pt x="11" y="213"/>
                  </a:lnTo>
                  <a:lnTo>
                    <a:pt x="10" y="213"/>
                  </a:lnTo>
                  <a:lnTo>
                    <a:pt x="10" y="214"/>
                  </a:lnTo>
                  <a:lnTo>
                    <a:pt x="10" y="216"/>
                  </a:lnTo>
                  <a:lnTo>
                    <a:pt x="9" y="217"/>
                  </a:lnTo>
                  <a:lnTo>
                    <a:pt x="8" y="217"/>
                  </a:lnTo>
                  <a:lnTo>
                    <a:pt x="8" y="218"/>
                  </a:lnTo>
                  <a:lnTo>
                    <a:pt x="8" y="219"/>
                  </a:lnTo>
                  <a:lnTo>
                    <a:pt x="6" y="219"/>
                  </a:lnTo>
                  <a:lnTo>
                    <a:pt x="6" y="220"/>
                  </a:lnTo>
                  <a:lnTo>
                    <a:pt x="6" y="219"/>
                  </a:lnTo>
                  <a:lnTo>
                    <a:pt x="5" y="220"/>
                  </a:lnTo>
                  <a:lnTo>
                    <a:pt x="4" y="219"/>
                  </a:lnTo>
                  <a:lnTo>
                    <a:pt x="3" y="220"/>
                  </a:lnTo>
                  <a:lnTo>
                    <a:pt x="3" y="219"/>
                  </a:lnTo>
                  <a:lnTo>
                    <a:pt x="0" y="219"/>
                  </a:lnTo>
                  <a:lnTo>
                    <a:pt x="0" y="220"/>
                  </a:lnTo>
                  <a:lnTo>
                    <a:pt x="2" y="222"/>
                  </a:lnTo>
                  <a:lnTo>
                    <a:pt x="2" y="223"/>
                  </a:lnTo>
                  <a:lnTo>
                    <a:pt x="3" y="223"/>
                  </a:lnTo>
                  <a:lnTo>
                    <a:pt x="4" y="223"/>
                  </a:lnTo>
                  <a:lnTo>
                    <a:pt x="5" y="223"/>
                  </a:lnTo>
                  <a:lnTo>
                    <a:pt x="5" y="224"/>
                  </a:lnTo>
                  <a:lnTo>
                    <a:pt x="6" y="226"/>
                  </a:lnTo>
                  <a:lnTo>
                    <a:pt x="6" y="228"/>
                  </a:lnTo>
                  <a:lnTo>
                    <a:pt x="6" y="229"/>
                  </a:lnTo>
                  <a:lnTo>
                    <a:pt x="8" y="229"/>
                  </a:lnTo>
                  <a:lnTo>
                    <a:pt x="5" y="230"/>
                  </a:lnTo>
                  <a:lnTo>
                    <a:pt x="5" y="231"/>
                  </a:lnTo>
                  <a:lnTo>
                    <a:pt x="4" y="230"/>
                  </a:lnTo>
                  <a:lnTo>
                    <a:pt x="4" y="231"/>
                  </a:lnTo>
                  <a:lnTo>
                    <a:pt x="4" y="232"/>
                  </a:lnTo>
                  <a:lnTo>
                    <a:pt x="5" y="232"/>
                  </a:lnTo>
                  <a:lnTo>
                    <a:pt x="6" y="232"/>
                  </a:lnTo>
                  <a:lnTo>
                    <a:pt x="8" y="232"/>
                  </a:lnTo>
                  <a:lnTo>
                    <a:pt x="9" y="231"/>
                  </a:lnTo>
                  <a:lnTo>
                    <a:pt x="9" y="230"/>
                  </a:lnTo>
                  <a:lnTo>
                    <a:pt x="10" y="229"/>
                  </a:lnTo>
                  <a:lnTo>
                    <a:pt x="11" y="229"/>
                  </a:lnTo>
                  <a:lnTo>
                    <a:pt x="11" y="228"/>
                  </a:lnTo>
                  <a:lnTo>
                    <a:pt x="11" y="226"/>
                  </a:lnTo>
                  <a:lnTo>
                    <a:pt x="12" y="226"/>
                  </a:lnTo>
                  <a:lnTo>
                    <a:pt x="14" y="226"/>
                  </a:lnTo>
                  <a:lnTo>
                    <a:pt x="15" y="226"/>
                  </a:lnTo>
                  <a:lnTo>
                    <a:pt x="16" y="226"/>
                  </a:lnTo>
                  <a:lnTo>
                    <a:pt x="18" y="226"/>
                  </a:lnTo>
                  <a:lnTo>
                    <a:pt x="17" y="225"/>
                  </a:lnTo>
                  <a:lnTo>
                    <a:pt x="17" y="224"/>
                  </a:lnTo>
                  <a:lnTo>
                    <a:pt x="18" y="225"/>
                  </a:lnTo>
                  <a:lnTo>
                    <a:pt x="20" y="225"/>
                  </a:lnTo>
                  <a:lnTo>
                    <a:pt x="21" y="226"/>
                  </a:lnTo>
                  <a:lnTo>
                    <a:pt x="21" y="228"/>
                  </a:lnTo>
                  <a:lnTo>
                    <a:pt x="21" y="229"/>
                  </a:lnTo>
                  <a:lnTo>
                    <a:pt x="21" y="230"/>
                  </a:lnTo>
                  <a:lnTo>
                    <a:pt x="22" y="230"/>
                  </a:lnTo>
                  <a:lnTo>
                    <a:pt x="22" y="231"/>
                  </a:lnTo>
                  <a:lnTo>
                    <a:pt x="22" y="230"/>
                  </a:lnTo>
                  <a:lnTo>
                    <a:pt x="23" y="231"/>
                  </a:lnTo>
                  <a:lnTo>
                    <a:pt x="25" y="231"/>
                  </a:lnTo>
                  <a:lnTo>
                    <a:pt x="25" y="230"/>
                  </a:lnTo>
                  <a:lnTo>
                    <a:pt x="25" y="229"/>
                  </a:lnTo>
                  <a:lnTo>
                    <a:pt x="26" y="228"/>
                  </a:lnTo>
                  <a:lnTo>
                    <a:pt x="26" y="226"/>
                  </a:lnTo>
                  <a:lnTo>
                    <a:pt x="27" y="226"/>
                  </a:lnTo>
                  <a:lnTo>
                    <a:pt x="28" y="226"/>
                  </a:lnTo>
                  <a:lnTo>
                    <a:pt x="29" y="226"/>
                  </a:lnTo>
                  <a:lnTo>
                    <a:pt x="28" y="226"/>
                  </a:lnTo>
                  <a:lnTo>
                    <a:pt x="28" y="225"/>
                  </a:lnTo>
                  <a:lnTo>
                    <a:pt x="29" y="225"/>
                  </a:lnTo>
                  <a:lnTo>
                    <a:pt x="31" y="225"/>
                  </a:lnTo>
                  <a:lnTo>
                    <a:pt x="31" y="224"/>
                  </a:lnTo>
                  <a:lnTo>
                    <a:pt x="31" y="223"/>
                  </a:lnTo>
                  <a:lnTo>
                    <a:pt x="32" y="223"/>
                  </a:lnTo>
                  <a:lnTo>
                    <a:pt x="32" y="222"/>
                  </a:lnTo>
                  <a:lnTo>
                    <a:pt x="33" y="222"/>
                  </a:lnTo>
                  <a:lnTo>
                    <a:pt x="34" y="224"/>
                  </a:lnTo>
                  <a:lnTo>
                    <a:pt x="35" y="224"/>
                  </a:lnTo>
                  <a:lnTo>
                    <a:pt x="37" y="223"/>
                  </a:lnTo>
                  <a:lnTo>
                    <a:pt x="38" y="223"/>
                  </a:lnTo>
                  <a:lnTo>
                    <a:pt x="38" y="224"/>
                  </a:lnTo>
                  <a:lnTo>
                    <a:pt x="39" y="225"/>
                  </a:lnTo>
                  <a:lnTo>
                    <a:pt x="38" y="226"/>
                  </a:lnTo>
                  <a:lnTo>
                    <a:pt x="37" y="228"/>
                  </a:lnTo>
                  <a:lnTo>
                    <a:pt x="38" y="226"/>
                  </a:lnTo>
                  <a:lnTo>
                    <a:pt x="37" y="226"/>
                  </a:lnTo>
                  <a:lnTo>
                    <a:pt x="35" y="226"/>
                  </a:lnTo>
                  <a:lnTo>
                    <a:pt x="34" y="228"/>
                  </a:lnTo>
                  <a:lnTo>
                    <a:pt x="33" y="228"/>
                  </a:lnTo>
                  <a:lnTo>
                    <a:pt x="32" y="228"/>
                  </a:lnTo>
                  <a:lnTo>
                    <a:pt x="31" y="228"/>
                  </a:lnTo>
                  <a:lnTo>
                    <a:pt x="31" y="229"/>
                  </a:lnTo>
                  <a:lnTo>
                    <a:pt x="31" y="230"/>
                  </a:lnTo>
                  <a:lnTo>
                    <a:pt x="29" y="230"/>
                  </a:lnTo>
                  <a:lnTo>
                    <a:pt x="29" y="231"/>
                  </a:lnTo>
                  <a:lnTo>
                    <a:pt x="28" y="231"/>
                  </a:lnTo>
                  <a:lnTo>
                    <a:pt x="28" y="232"/>
                  </a:lnTo>
                  <a:lnTo>
                    <a:pt x="28" y="234"/>
                  </a:lnTo>
                  <a:lnTo>
                    <a:pt x="28" y="235"/>
                  </a:lnTo>
                  <a:lnTo>
                    <a:pt x="29" y="236"/>
                  </a:lnTo>
                  <a:lnTo>
                    <a:pt x="31" y="236"/>
                  </a:lnTo>
                  <a:lnTo>
                    <a:pt x="31" y="235"/>
                  </a:lnTo>
                  <a:lnTo>
                    <a:pt x="32" y="235"/>
                  </a:lnTo>
                  <a:lnTo>
                    <a:pt x="33" y="235"/>
                  </a:lnTo>
                  <a:lnTo>
                    <a:pt x="33" y="236"/>
                  </a:lnTo>
                  <a:lnTo>
                    <a:pt x="34" y="235"/>
                  </a:lnTo>
                  <a:lnTo>
                    <a:pt x="35" y="236"/>
                  </a:lnTo>
                  <a:lnTo>
                    <a:pt x="35" y="237"/>
                  </a:lnTo>
                  <a:lnTo>
                    <a:pt x="35" y="238"/>
                  </a:lnTo>
                  <a:lnTo>
                    <a:pt x="37" y="237"/>
                  </a:lnTo>
                  <a:lnTo>
                    <a:pt x="38" y="237"/>
                  </a:lnTo>
                  <a:lnTo>
                    <a:pt x="38" y="238"/>
                  </a:lnTo>
                  <a:lnTo>
                    <a:pt x="38" y="237"/>
                  </a:lnTo>
                  <a:lnTo>
                    <a:pt x="39" y="238"/>
                  </a:lnTo>
                  <a:lnTo>
                    <a:pt x="40" y="237"/>
                  </a:lnTo>
                  <a:lnTo>
                    <a:pt x="40" y="238"/>
                  </a:lnTo>
                  <a:lnTo>
                    <a:pt x="41" y="238"/>
                  </a:lnTo>
                  <a:lnTo>
                    <a:pt x="43" y="238"/>
                  </a:lnTo>
                  <a:lnTo>
                    <a:pt x="45" y="237"/>
                  </a:lnTo>
                  <a:lnTo>
                    <a:pt x="45" y="236"/>
                  </a:lnTo>
                  <a:lnTo>
                    <a:pt x="46" y="236"/>
                  </a:lnTo>
                  <a:lnTo>
                    <a:pt x="47" y="236"/>
                  </a:lnTo>
                  <a:lnTo>
                    <a:pt x="47" y="235"/>
                  </a:lnTo>
                  <a:lnTo>
                    <a:pt x="47" y="236"/>
                  </a:lnTo>
                  <a:lnTo>
                    <a:pt x="46" y="237"/>
                  </a:lnTo>
                  <a:lnTo>
                    <a:pt x="45" y="237"/>
                  </a:lnTo>
                  <a:lnTo>
                    <a:pt x="45" y="238"/>
                  </a:lnTo>
                  <a:lnTo>
                    <a:pt x="45" y="240"/>
                  </a:lnTo>
                  <a:lnTo>
                    <a:pt x="46" y="238"/>
                  </a:lnTo>
                  <a:lnTo>
                    <a:pt x="46" y="240"/>
                  </a:lnTo>
                  <a:lnTo>
                    <a:pt x="46" y="241"/>
                  </a:lnTo>
                  <a:lnTo>
                    <a:pt x="45" y="241"/>
                  </a:lnTo>
                  <a:lnTo>
                    <a:pt x="46" y="242"/>
                  </a:lnTo>
                  <a:lnTo>
                    <a:pt x="47" y="242"/>
                  </a:lnTo>
                  <a:lnTo>
                    <a:pt x="49" y="242"/>
                  </a:lnTo>
                  <a:lnTo>
                    <a:pt x="50" y="242"/>
                  </a:lnTo>
                  <a:lnTo>
                    <a:pt x="51" y="242"/>
                  </a:lnTo>
                  <a:lnTo>
                    <a:pt x="51" y="243"/>
                  </a:lnTo>
                  <a:lnTo>
                    <a:pt x="52" y="245"/>
                  </a:lnTo>
                  <a:lnTo>
                    <a:pt x="52" y="243"/>
                  </a:lnTo>
                  <a:lnTo>
                    <a:pt x="53" y="243"/>
                  </a:lnTo>
                  <a:lnTo>
                    <a:pt x="53" y="245"/>
                  </a:lnTo>
                  <a:lnTo>
                    <a:pt x="52" y="246"/>
                  </a:lnTo>
                  <a:lnTo>
                    <a:pt x="52" y="247"/>
                  </a:lnTo>
                  <a:lnTo>
                    <a:pt x="50" y="248"/>
                  </a:lnTo>
                  <a:lnTo>
                    <a:pt x="49" y="248"/>
                  </a:lnTo>
                  <a:lnTo>
                    <a:pt x="49" y="247"/>
                  </a:lnTo>
                  <a:lnTo>
                    <a:pt x="47" y="247"/>
                  </a:lnTo>
                  <a:lnTo>
                    <a:pt x="47" y="248"/>
                  </a:lnTo>
                  <a:lnTo>
                    <a:pt x="46" y="248"/>
                  </a:lnTo>
                  <a:lnTo>
                    <a:pt x="46" y="249"/>
                  </a:lnTo>
                  <a:lnTo>
                    <a:pt x="46" y="251"/>
                  </a:lnTo>
                  <a:lnTo>
                    <a:pt x="46" y="252"/>
                  </a:lnTo>
                  <a:lnTo>
                    <a:pt x="46" y="253"/>
                  </a:lnTo>
                  <a:lnTo>
                    <a:pt x="47" y="253"/>
                  </a:lnTo>
                  <a:lnTo>
                    <a:pt x="49" y="253"/>
                  </a:lnTo>
                  <a:lnTo>
                    <a:pt x="49" y="254"/>
                  </a:lnTo>
                  <a:lnTo>
                    <a:pt x="50" y="254"/>
                  </a:lnTo>
                  <a:lnTo>
                    <a:pt x="49" y="255"/>
                  </a:lnTo>
                  <a:lnTo>
                    <a:pt x="47" y="255"/>
                  </a:lnTo>
                  <a:lnTo>
                    <a:pt x="46" y="254"/>
                  </a:lnTo>
                  <a:lnTo>
                    <a:pt x="45" y="254"/>
                  </a:lnTo>
                  <a:lnTo>
                    <a:pt x="45" y="255"/>
                  </a:lnTo>
                  <a:lnTo>
                    <a:pt x="44" y="257"/>
                  </a:lnTo>
                  <a:lnTo>
                    <a:pt x="44" y="258"/>
                  </a:lnTo>
                  <a:lnTo>
                    <a:pt x="43" y="258"/>
                  </a:lnTo>
                  <a:lnTo>
                    <a:pt x="43" y="259"/>
                  </a:lnTo>
                  <a:lnTo>
                    <a:pt x="43" y="258"/>
                  </a:lnTo>
                  <a:lnTo>
                    <a:pt x="43" y="259"/>
                  </a:lnTo>
                  <a:lnTo>
                    <a:pt x="43" y="260"/>
                  </a:lnTo>
                  <a:lnTo>
                    <a:pt x="44" y="260"/>
                  </a:lnTo>
                  <a:lnTo>
                    <a:pt x="43" y="260"/>
                  </a:lnTo>
                  <a:lnTo>
                    <a:pt x="43" y="261"/>
                  </a:lnTo>
                  <a:lnTo>
                    <a:pt x="44" y="263"/>
                  </a:lnTo>
                  <a:lnTo>
                    <a:pt x="45" y="263"/>
                  </a:lnTo>
                  <a:lnTo>
                    <a:pt x="45" y="261"/>
                  </a:lnTo>
                  <a:lnTo>
                    <a:pt x="46" y="263"/>
                  </a:lnTo>
                  <a:lnTo>
                    <a:pt x="47" y="261"/>
                  </a:lnTo>
                  <a:lnTo>
                    <a:pt x="47" y="263"/>
                  </a:lnTo>
                  <a:lnTo>
                    <a:pt x="49" y="261"/>
                  </a:lnTo>
                  <a:lnTo>
                    <a:pt x="50" y="261"/>
                  </a:lnTo>
                  <a:lnTo>
                    <a:pt x="50" y="260"/>
                  </a:lnTo>
                  <a:lnTo>
                    <a:pt x="51" y="260"/>
                  </a:lnTo>
                  <a:lnTo>
                    <a:pt x="52" y="260"/>
                  </a:lnTo>
                  <a:lnTo>
                    <a:pt x="52" y="259"/>
                  </a:lnTo>
                  <a:lnTo>
                    <a:pt x="53" y="258"/>
                  </a:lnTo>
                  <a:lnTo>
                    <a:pt x="55" y="259"/>
                  </a:lnTo>
                  <a:lnTo>
                    <a:pt x="56" y="259"/>
                  </a:lnTo>
                  <a:lnTo>
                    <a:pt x="56" y="258"/>
                  </a:lnTo>
                  <a:lnTo>
                    <a:pt x="55" y="258"/>
                  </a:lnTo>
                  <a:lnTo>
                    <a:pt x="55" y="255"/>
                  </a:lnTo>
                  <a:lnTo>
                    <a:pt x="53" y="257"/>
                  </a:lnTo>
                  <a:lnTo>
                    <a:pt x="53" y="258"/>
                  </a:lnTo>
                  <a:lnTo>
                    <a:pt x="52" y="258"/>
                  </a:lnTo>
                  <a:lnTo>
                    <a:pt x="52" y="259"/>
                  </a:lnTo>
                  <a:lnTo>
                    <a:pt x="51" y="259"/>
                  </a:lnTo>
                  <a:lnTo>
                    <a:pt x="50" y="259"/>
                  </a:lnTo>
                  <a:lnTo>
                    <a:pt x="49" y="259"/>
                  </a:lnTo>
                  <a:lnTo>
                    <a:pt x="49" y="258"/>
                  </a:lnTo>
                  <a:lnTo>
                    <a:pt x="50" y="257"/>
                  </a:lnTo>
                  <a:lnTo>
                    <a:pt x="50" y="258"/>
                  </a:lnTo>
                  <a:lnTo>
                    <a:pt x="50" y="257"/>
                  </a:lnTo>
                  <a:lnTo>
                    <a:pt x="51" y="257"/>
                  </a:lnTo>
                  <a:lnTo>
                    <a:pt x="51" y="255"/>
                  </a:lnTo>
                  <a:lnTo>
                    <a:pt x="51" y="254"/>
                  </a:lnTo>
                  <a:lnTo>
                    <a:pt x="50" y="254"/>
                  </a:lnTo>
                  <a:lnTo>
                    <a:pt x="51" y="253"/>
                  </a:lnTo>
                  <a:lnTo>
                    <a:pt x="52" y="252"/>
                  </a:lnTo>
                  <a:lnTo>
                    <a:pt x="52" y="251"/>
                  </a:lnTo>
                  <a:lnTo>
                    <a:pt x="53" y="251"/>
                  </a:lnTo>
                  <a:lnTo>
                    <a:pt x="53" y="252"/>
                  </a:lnTo>
                  <a:lnTo>
                    <a:pt x="55" y="252"/>
                  </a:lnTo>
                  <a:lnTo>
                    <a:pt x="53" y="252"/>
                  </a:lnTo>
                  <a:lnTo>
                    <a:pt x="52" y="253"/>
                  </a:lnTo>
                  <a:lnTo>
                    <a:pt x="53" y="253"/>
                  </a:lnTo>
                  <a:lnTo>
                    <a:pt x="55" y="253"/>
                  </a:lnTo>
                  <a:lnTo>
                    <a:pt x="55" y="252"/>
                  </a:lnTo>
                  <a:lnTo>
                    <a:pt x="56" y="252"/>
                  </a:lnTo>
                  <a:lnTo>
                    <a:pt x="56" y="251"/>
                  </a:lnTo>
                  <a:lnTo>
                    <a:pt x="57" y="251"/>
                  </a:lnTo>
                  <a:lnTo>
                    <a:pt x="58" y="249"/>
                  </a:lnTo>
                  <a:lnTo>
                    <a:pt x="59" y="248"/>
                  </a:lnTo>
                  <a:lnTo>
                    <a:pt x="61" y="248"/>
                  </a:lnTo>
                  <a:lnTo>
                    <a:pt x="61" y="247"/>
                  </a:lnTo>
                  <a:lnTo>
                    <a:pt x="59" y="247"/>
                  </a:lnTo>
                  <a:lnTo>
                    <a:pt x="59" y="246"/>
                  </a:lnTo>
                  <a:lnTo>
                    <a:pt x="58" y="245"/>
                  </a:lnTo>
                  <a:lnTo>
                    <a:pt x="59" y="245"/>
                  </a:lnTo>
                  <a:lnTo>
                    <a:pt x="58" y="243"/>
                  </a:lnTo>
                  <a:lnTo>
                    <a:pt x="59" y="243"/>
                  </a:lnTo>
                  <a:lnTo>
                    <a:pt x="59" y="245"/>
                  </a:lnTo>
                  <a:lnTo>
                    <a:pt x="62" y="245"/>
                  </a:lnTo>
                  <a:lnTo>
                    <a:pt x="62" y="243"/>
                  </a:lnTo>
                  <a:lnTo>
                    <a:pt x="63" y="243"/>
                  </a:lnTo>
                  <a:lnTo>
                    <a:pt x="64" y="242"/>
                  </a:lnTo>
                  <a:lnTo>
                    <a:pt x="65" y="242"/>
                  </a:lnTo>
                  <a:lnTo>
                    <a:pt x="67" y="242"/>
                  </a:lnTo>
                  <a:lnTo>
                    <a:pt x="67" y="241"/>
                  </a:lnTo>
                  <a:lnTo>
                    <a:pt x="67" y="240"/>
                  </a:lnTo>
                  <a:lnTo>
                    <a:pt x="68" y="238"/>
                  </a:lnTo>
                  <a:lnTo>
                    <a:pt x="67" y="237"/>
                  </a:lnTo>
                  <a:lnTo>
                    <a:pt x="67" y="238"/>
                  </a:lnTo>
                  <a:lnTo>
                    <a:pt x="65" y="237"/>
                  </a:lnTo>
                  <a:lnTo>
                    <a:pt x="64" y="236"/>
                  </a:lnTo>
                  <a:lnTo>
                    <a:pt x="64" y="237"/>
                  </a:lnTo>
                  <a:lnTo>
                    <a:pt x="64" y="236"/>
                  </a:lnTo>
                  <a:lnTo>
                    <a:pt x="64" y="235"/>
                  </a:lnTo>
                  <a:lnTo>
                    <a:pt x="64" y="236"/>
                  </a:lnTo>
                  <a:lnTo>
                    <a:pt x="64" y="235"/>
                  </a:lnTo>
                  <a:lnTo>
                    <a:pt x="64" y="234"/>
                  </a:lnTo>
                  <a:lnTo>
                    <a:pt x="63" y="232"/>
                  </a:lnTo>
                  <a:lnTo>
                    <a:pt x="63" y="234"/>
                  </a:lnTo>
                  <a:lnTo>
                    <a:pt x="63" y="235"/>
                  </a:lnTo>
                  <a:lnTo>
                    <a:pt x="63" y="236"/>
                  </a:lnTo>
                  <a:lnTo>
                    <a:pt x="62" y="236"/>
                  </a:lnTo>
                  <a:lnTo>
                    <a:pt x="62" y="235"/>
                  </a:lnTo>
                  <a:lnTo>
                    <a:pt x="62" y="236"/>
                  </a:lnTo>
                  <a:lnTo>
                    <a:pt x="63" y="236"/>
                  </a:lnTo>
                  <a:lnTo>
                    <a:pt x="63" y="237"/>
                  </a:lnTo>
                  <a:lnTo>
                    <a:pt x="62" y="237"/>
                  </a:lnTo>
                  <a:lnTo>
                    <a:pt x="61" y="237"/>
                  </a:lnTo>
                  <a:lnTo>
                    <a:pt x="61" y="236"/>
                  </a:lnTo>
                  <a:lnTo>
                    <a:pt x="59" y="237"/>
                  </a:lnTo>
                  <a:lnTo>
                    <a:pt x="61" y="237"/>
                  </a:lnTo>
                  <a:lnTo>
                    <a:pt x="59" y="238"/>
                  </a:lnTo>
                  <a:lnTo>
                    <a:pt x="58" y="238"/>
                  </a:lnTo>
                  <a:lnTo>
                    <a:pt x="57" y="238"/>
                  </a:lnTo>
                  <a:lnTo>
                    <a:pt x="57" y="236"/>
                  </a:lnTo>
                  <a:lnTo>
                    <a:pt x="58" y="236"/>
                  </a:lnTo>
                  <a:lnTo>
                    <a:pt x="57" y="235"/>
                  </a:lnTo>
                  <a:lnTo>
                    <a:pt x="57" y="234"/>
                  </a:lnTo>
                  <a:lnTo>
                    <a:pt x="57" y="232"/>
                  </a:lnTo>
                  <a:lnTo>
                    <a:pt x="58" y="232"/>
                  </a:lnTo>
                  <a:lnTo>
                    <a:pt x="59" y="232"/>
                  </a:lnTo>
                  <a:lnTo>
                    <a:pt x="61" y="232"/>
                  </a:lnTo>
                  <a:lnTo>
                    <a:pt x="62" y="232"/>
                  </a:lnTo>
                  <a:lnTo>
                    <a:pt x="63" y="232"/>
                  </a:lnTo>
                  <a:lnTo>
                    <a:pt x="64" y="232"/>
                  </a:lnTo>
                  <a:lnTo>
                    <a:pt x="65" y="232"/>
                  </a:lnTo>
                  <a:lnTo>
                    <a:pt x="67" y="231"/>
                  </a:lnTo>
                  <a:lnTo>
                    <a:pt x="69" y="230"/>
                  </a:lnTo>
                  <a:lnTo>
                    <a:pt x="70" y="230"/>
                  </a:lnTo>
                  <a:lnTo>
                    <a:pt x="70" y="231"/>
                  </a:lnTo>
                  <a:lnTo>
                    <a:pt x="69" y="231"/>
                  </a:lnTo>
                  <a:lnTo>
                    <a:pt x="70" y="232"/>
                  </a:lnTo>
                  <a:lnTo>
                    <a:pt x="71" y="232"/>
                  </a:lnTo>
                  <a:lnTo>
                    <a:pt x="73" y="234"/>
                  </a:lnTo>
                  <a:lnTo>
                    <a:pt x="74" y="234"/>
                  </a:lnTo>
                  <a:lnTo>
                    <a:pt x="75" y="234"/>
                  </a:lnTo>
                  <a:lnTo>
                    <a:pt x="76" y="234"/>
                  </a:lnTo>
                  <a:lnTo>
                    <a:pt x="76" y="232"/>
                  </a:lnTo>
                  <a:lnTo>
                    <a:pt x="77" y="232"/>
                  </a:lnTo>
                  <a:lnTo>
                    <a:pt x="79" y="234"/>
                  </a:lnTo>
                  <a:lnTo>
                    <a:pt x="80" y="234"/>
                  </a:lnTo>
                  <a:lnTo>
                    <a:pt x="80" y="235"/>
                  </a:lnTo>
                  <a:lnTo>
                    <a:pt x="81" y="235"/>
                  </a:lnTo>
                  <a:lnTo>
                    <a:pt x="81" y="234"/>
                  </a:lnTo>
                  <a:lnTo>
                    <a:pt x="82" y="234"/>
                  </a:lnTo>
                  <a:lnTo>
                    <a:pt x="83" y="235"/>
                  </a:lnTo>
                  <a:lnTo>
                    <a:pt x="85" y="234"/>
                  </a:lnTo>
                  <a:lnTo>
                    <a:pt x="85" y="231"/>
                  </a:lnTo>
                  <a:lnTo>
                    <a:pt x="86" y="231"/>
                  </a:lnTo>
                  <a:lnTo>
                    <a:pt x="87" y="231"/>
                  </a:lnTo>
                  <a:lnTo>
                    <a:pt x="88" y="231"/>
                  </a:lnTo>
                  <a:lnTo>
                    <a:pt x="92" y="232"/>
                  </a:lnTo>
                  <a:lnTo>
                    <a:pt x="93" y="232"/>
                  </a:lnTo>
                  <a:lnTo>
                    <a:pt x="94" y="232"/>
                  </a:lnTo>
                  <a:lnTo>
                    <a:pt x="97" y="232"/>
                  </a:lnTo>
                  <a:lnTo>
                    <a:pt x="98" y="234"/>
                  </a:lnTo>
                  <a:lnTo>
                    <a:pt x="100" y="234"/>
                  </a:lnTo>
                  <a:lnTo>
                    <a:pt x="102" y="234"/>
                  </a:lnTo>
                  <a:lnTo>
                    <a:pt x="103" y="234"/>
                  </a:lnTo>
                  <a:lnTo>
                    <a:pt x="105" y="234"/>
                  </a:lnTo>
                  <a:lnTo>
                    <a:pt x="109" y="234"/>
                  </a:lnTo>
                  <a:lnTo>
                    <a:pt x="110" y="235"/>
                  </a:lnTo>
                  <a:lnTo>
                    <a:pt x="110" y="236"/>
                  </a:lnTo>
                  <a:lnTo>
                    <a:pt x="109" y="236"/>
                  </a:lnTo>
                  <a:lnTo>
                    <a:pt x="109" y="237"/>
                  </a:lnTo>
                  <a:lnTo>
                    <a:pt x="109" y="236"/>
                  </a:lnTo>
                  <a:lnTo>
                    <a:pt x="108" y="237"/>
                  </a:lnTo>
                  <a:lnTo>
                    <a:pt x="106" y="237"/>
                  </a:lnTo>
                  <a:lnTo>
                    <a:pt x="105" y="236"/>
                  </a:lnTo>
                  <a:lnTo>
                    <a:pt x="105" y="237"/>
                  </a:lnTo>
                  <a:lnTo>
                    <a:pt x="104" y="237"/>
                  </a:lnTo>
                  <a:lnTo>
                    <a:pt x="103" y="238"/>
                  </a:lnTo>
                  <a:lnTo>
                    <a:pt x="103" y="240"/>
                  </a:lnTo>
                  <a:lnTo>
                    <a:pt x="102" y="240"/>
                  </a:lnTo>
                  <a:lnTo>
                    <a:pt x="102" y="241"/>
                  </a:lnTo>
                  <a:lnTo>
                    <a:pt x="102" y="242"/>
                  </a:lnTo>
                  <a:lnTo>
                    <a:pt x="102" y="243"/>
                  </a:lnTo>
                  <a:lnTo>
                    <a:pt x="102" y="245"/>
                  </a:lnTo>
                  <a:lnTo>
                    <a:pt x="103" y="246"/>
                  </a:lnTo>
                  <a:lnTo>
                    <a:pt x="104" y="246"/>
                  </a:lnTo>
                  <a:lnTo>
                    <a:pt x="105" y="247"/>
                  </a:lnTo>
                  <a:lnTo>
                    <a:pt x="108" y="247"/>
                  </a:lnTo>
                  <a:lnTo>
                    <a:pt x="106" y="247"/>
                  </a:lnTo>
                  <a:lnTo>
                    <a:pt x="105" y="248"/>
                  </a:lnTo>
                  <a:lnTo>
                    <a:pt x="103" y="248"/>
                  </a:lnTo>
                  <a:lnTo>
                    <a:pt x="98" y="248"/>
                  </a:lnTo>
                  <a:lnTo>
                    <a:pt x="97" y="248"/>
                  </a:lnTo>
                  <a:lnTo>
                    <a:pt x="94" y="248"/>
                  </a:lnTo>
                  <a:lnTo>
                    <a:pt x="92" y="249"/>
                  </a:lnTo>
                  <a:lnTo>
                    <a:pt x="91" y="249"/>
                  </a:lnTo>
                  <a:lnTo>
                    <a:pt x="90" y="249"/>
                  </a:lnTo>
                  <a:lnTo>
                    <a:pt x="90" y="248"/>
                  </a:lnTo>
                  <a:lnTo>
                    <a:pt x="90" y="247"/>
                  </a:lnTo>
                  <a:lnTo>
                    <a:pt x="91" y="248"/>
                  </a:lnTo>
                  <a:lnTo>
                    <a:pt x="91" y="247"/>
                  </a:lnTo>
                  <a:lnTo>
                    <a:pt x="92" y="246"/>
                  </a:lnTo>
                  <a:lnTo>
                    <a:pt x="91" y="246"/>
                  </a:lnTo>
                  <a:lnTo>
                    <a:pt x="88" y="246"/>
                  </a:lnTo>
                  <a:lnTo>
                    <a:pt x="87" y="246"/>
                  </a:lnTo>
                  <a:lnTo>
                    <a:pt x="87" y="247"/>
                  </a:lnTo>
                  <a:lnTo>
                    <a:pt x="86" y="247"/>
                  </a:lnTo>
                  <a:lnTo>
                    <a:pt x="85" y="246"/>
                  </a:lnTo>
                  <a:lnTo>
                    <a:pt x="83" y="246"/>
                  </a:lnTo>
                  <a:lnTo>
                    <a:pt x="83" y="245"/>
                  </a:lnTo>
                  <a:lnTo>
                    <a:pt x="82" y="245"/>
                  </a:lnTo>
                  <a:lnTo>
                    <a:pt x="81" y="243"/>
                  </a:lnTo>
                  <a:lnTo>
                    <a:pt x="80" y="243"/>
                  </a:lnTo>
                  <a:lnTo>
                    <a:pt x="79" y="243"/>
                  </a:lnTo>
                  <a:lnTo>
                    <a:pt x="77" y="243"/>
                  </a:lnTo>
                  <a:lnTo>
                    <a:pt x="76" y="245"/>
                  </a:lnTo>
                  <a:lnTo>
                    <a:pt x="75" y="246"/>
                  </a:lnTo>
                  <a:lnTo>
                    <a:pt x="74" y="247"/>
                  </a:lnTo>
                  <a:lnTo>
                    <a:pt x="74" y="248"/>
                  </a:lnTo>
                  <a:lnTo>
                    <a:pt x="73" y="247"/>
                  </a:lnTo>
                  <a:lnTo>
                    <a:pt x="73" y="248"/>
                  </a:lnTo>
                  <a:lnTo>
                    <a:pt x="71" y="249"/>
                  </a:lnTo>
                  <a:lnTo>
                    <a:pt x="70" y="251"/>
                  </a:lnTo>
                  <a:lnTo>
                    <a:pt x="70" y="249"/>
                  </a:lnTo>
                  <a:lnTo>
                    <a:pt x="69" y="249"/>
                  </a:lnTo>
                  <a:lnTo>
                    <a:pt x="68" y="249"/>
                  </a:lnTo>
                  <a:lnTo>
                    <a:pt x="67" y="249"/>
                  </a:lnTo>
                  <a:lnTo>
                    <a:pt x="65" y="249"/>
                  </a:lnTo>
                  <a:lnTo>
                    <a:pt x="65" y="251"/>
                  </a:lnTo>
                  <a:lnTo>
                    <a:pt x="65" y="252"/>
                  </a:lnTo>
                  <a:lnTo>
                    <a:pt x="64" y="253"/>
                  </a:lnTo>
                  <a:lnTo>
                    <a:pt x="64" y="254"/>
                  </a:lnTo>
                  <a:lnTo>
                    <a:pt x="64" y="255"/>
                  </a:lnTo>
                  <a:lnTo>
                    <a:pt x="65" y="255"/>
                  </a:lnTo>
                  <a:lnTo>
                    <a:pt x="64" y="255"/>
                  </a:lnTo>
                  <a:lnTo>
                    <a:pt x="63" y="257"/>
                  </a:lnTo>
                  <a:lnTo>
                    <a:pt x="62" y="257"/>
                  </a:lnTo>
                  <a:lnTo>
                    <a:pt x="61" y="257"/>
                  </a:lnTo>
                  <a:lnTo>
                    <a:pt x="59" y="258"/>
                  </a:lnTo>
                  <a:lnTo>
                    <a:pt x="59" y="259"/>
                  </a:lnTo>
                  <a:lnTo>
                    <a:pt x="59" y="260"/>
                  </a:lnTo>
                  <a:lnTo>
                    <a:pt x="61" y="261"/>
                  </a:lnTo>
                  <a:lnTo>
                    <a:pt x="59" y="260"/>
                  </a:lnTo>
                  <a:lnTo>
                    <a:pt x="58" y="260"/>
                  </a:lnTo>
                  <a:lnTo>
                    <a:pt x="58" y="261"/>
                  </a:lnTo>
                  <a:lnTo>
                    <a:pt x="58" y="263"/>
                  </a:lnTo>
                  <a:lnTo>
                    <a:pt x="58" y="264"/>
                  </a:lnTo>
                  <a:lnTo>
                    <a:pt x="57" y="265"/>
                  </a:lnTo>
                  <a:lnTo>
                    <a:pt x="56" y="266"/>
                  </a:lnTo>
                  <a:lnTo>
                    <a:pt x="57" y="266"/>
                  </a:lnTo>
                  <a:lnTo>
                    <a:pt x="58" y="266"/>
                  </a:lnTo>
                  <a:lnTo>
                    <a:pt x="58" y="267"/>
                  </a:lnTo>
                  <a:lnTo>
                    <a:pt x="57" y="267"/>
                  </a:lnTo>
                  <a:lnTo>
                    <a:pt x="56" y="270"/>
                  </a:lnTo>
                  <a:lnTo>
                    <a:pt x="57" y="269"/>
                  </a:lnTo>
                  <a:lnTo>
                    <a:pt x="56" y="269"/>
                  </a:lnTo>
                  <a:lnTo>
                    <a:pt x="56" y="270"/>
                  </a:lnTo>
                  <a:lnTo>
                    <a:pt x="55" y="271"/>
                  </a:lnTo>
                  <a:lnTo>
                    <a:pt x="53" y="272"/>
                  </a:lnTo>
                  <a:lnTo>
                    <a:pt x="52" y="272"/>
                  </a:lnTo>
                  <a:lnTo>
                    <a:pt x="52" y="273"/>
                  </a:lnTo>
                  <a:lnTo>
                    <a:pt x="53" y="276"/>
                  </a:lnTo>
                  <a:lnTo>
                    <a:pt x="55" y="277"/>
                  </a:lnTo>
                  <a:lnTo>
                    <a:pt x="56" y="276"/>
                  </a:lnTo>
                  <a:lnTo>
                    <a:pt x="57" y="276"/>
                  </a:lnTo>
                  <a:lnTo>
                    <a:pt x="57" y="275"/>
                  </a:lnTo>
                  <a:lnTo>
                    <a:pt x="58" y="275"/>
                  </a:lnTo>
                  <a:lnTo>
                    <a:pt x="59" y="275"/>
                  </a:lnTo>
                  <a:lnTo>
                    <a:pt x="59" y="273"/>
                  </a:lnTo>
                  <a:lnTo>
                    <a:pt x="61" y="273"/>
                  </a:lnTo>
                  <a:lnTo>
                    <a:pt x="62" y="273"/>
                  </a:lnTo>
                  <a:lnTo>
                    <a:pt x="63" y="272"/>
                  </a:lnTo>
                  <a:lnTo>
                    <a:pt x="63" y="271"/>
                  </a:lnTo>
                  <a:lnTo>
                    <a:pt x="64" y="272"/>
                  </a:lnTo>
                  <a:lnTo>
                    <a:pt x="63" y="272"/>
                  </a:lnTo>
                  <a:lnTo>
                    <a:pt x="64" y="272"/>
                  </a:lnTo>
                  <a:lnTo>
                    <a:pt x="64" y="273"/>
                  </a:lnTo>
                  <a:lnTo>
                    <a:pt x="65" y="273"/>
                  </a:lnTo>
                  <a:lnTo>
                    <a:pt x="64" y="273"/>
                  </a:lnTo>
                  <a:lnTo>
                    <a:pt x="65" y="271"/>
                  </a:lnTo>
                  <a:lnTo>
                    <a:pt x="67" y="271"/>
                  </a:lnTo>
                  <a:lnTo>
                    <a:pt x="67" y="272"/>
                  </a:lnTo>
                  <a:lnTo>
                    <a:pt x="68" y="271"/>
                  </a:lnTo>
                  <a:lnTo>
                    <a:pt x="67" y="271"/>
                  </a:lnTo>
                  <a:lnTo>
                    <a:pt x="68" y="270"/>
                  </a:lnTo>
                  <a:lnTo>
                    <a:pt x="69" y="270"/>
                  </a:lnTo>
                  <a:lnTo>
                    <a:pt x="70" y="270"/>
                  </a:lnTo>
                  <a:lnTo>
                    <a:pt x="71" y="270"/>
                  </a:lnTo>
                  <a:lnTo>
                    <a:pt x="71" y="269"/>
                  </a:lnTo>
                  <a:lnTo>
                    <a:pt x="73" y="269"/>
                  </a:lnTo>
                  <a:lnTo>
                    <a:pt x="73" y="270"/>
                  </a:lnTo>
                  <a:lnTo>
                    <a:pt x="74" y="270"/>
                  </a:lnTo>
                  <a:lnTo>
                    <a:pt x="73" y="271"/>
                  </a:lnTo>
                  <a:lnTo>
                    <a:pt x="71" y="271"/>
                  </a:lnTo>
                  <a:lnTo>
                    <a:pt x="71" y="272"/>
                  </a:lnTo>
                  <a:lnTo>
                    <a:pt x="73" y="271"/>
                  </a:lnTo>
                  <a:lnTo>
                    <a:pt x="73" y="272"/>
                  </a:lnTo>
                  <a:lnTo>
                    <a:pt x="74" y="272"/>
                  </a:lnTo>
                  <a:lnTo>
                    <a:pt x="75" y="272"/>
                  </a:lnTo>
                  <a:lnTo>
                    <a:pt x="76" y="273"/>
                  </a:lnTo>
                  <a:lnTo>
                    <a:pt x="77" y="273"/>
                  </a:lnTo>
                  <a:lnTo>
                    <a:pt x="77" y="275"/>
                  </a:lnTo>
                  <a:lnTo>
                    <a:pt x="79" y="275"/>
                  </a:lnTo>
                  <a:lnTo>
                    <a:pt x="79" y="273"/>
                  </a:lnTo>
                  <a:lnTo>
                    <a:pt x="79" y="275"/>
                  </a:lnTo>
                  <a:lnTo>
                    <a:pt x="77" y="275"/>
                  </a:lnTo>
                  <a:lnTo>
                    <a:pt x="76" y="276"/>
                  </a:lnTo>
                  <a:lnTo>
                    <a:pt x="79" y="276"/>
                  </a:lnTo>
                  <a:lnTo>
                    <a:pt x="80" y="276"/>
                  </a:lnTo>
                  <a:lnTo>
                    <a:pt x="81" y="276"/>
                  </a:lnTo>
                  <a:lnTo>
                    <a:pt x="82" y="276"/>
                  </a:lnTo>
                  <a:lnTo>
                    <a:pt x="83" y="276"/>
                  </a:lnTo>
                  <a:lnTo>
                    <a:pt x="85" y="275"/>
                  </a:lnTo>
                  <a:lnTo>
                    <a:pt x="86" y="276"/>
                  </a:lnTo>
                  <a:lnTo>
                    <a:pt x="85" y="277"/>
                  </a:lnTo>
                  <a:lnTo>
                    <a:pt x="85" y="278"/>
                  </a:lnTo>
                  <a:lnTo>
                    <a:pt x="86" y="277"/>
                  </a:lnTo>
                  <a:lnTo>
                    <a:pt x="87" y="277"/>
                  </a:lnTo>
                  <a:lnTo>
                    <a:pt x="87" y="278"/>
                  </a:lnTo>
                  <a:lnTo>
                    <a:pt x="88" y="278"/>
                  </a:lnTo>
                  <a:lnTo>
                    <a:pt x="88" y="277"/>
                  </a:lnTo>
                  <a:lnTo>
                    <a:pt x="90" y="278"/>
                  </a:lnTo>
                  <a:lnTo>
                    <a:pt x="90" y="277"/>
                  </a:lnTo>
                  <a:lnTo>
                    <a:pt x="90" y="276"/>
                  </a:lnTo>
                  <a:lnTo>
                    <a:pt x="88" y="276"/>
                  </a:lnTo>
                  <a:lnTo>
                    <a:pt x="88" y="275"/>
                  </a:lnTo>
                  <a:lnTo>
                    <a:pt x="88" y="273"/>
                  </a:lnTo>
                  <a:lnTo>
                    <a:pt x="90" y="275"/>
                  </a:lnTo>
                  <a:lnTo>
                    <a:pt x="91" y="275"/>
                  </a:lnTo>
                  <a:lnTo>
                    <a:pt x="91" y="273"/>
                  </a:lnTo>
                  <a:lnTo>
                    <a:pt x="92" y="273"/>
                  </a:lnTo>
                  <a:lnTo>
                    <a:pt x="92" y="272"/>
                  </a:lnTo>
                  <a:lnTo>
                    <a:pt x="92" y="271"/>
                  </a:lnTo>
                  <a:lnTo>
                    <a:pt x="91" y="271"/>
                  </a:lnTo>
                  <a:lnTo>
                    <a:pt x="90" y="271"/>
                  </a:lnTo>
                  <a:lnTo>
                    <a:pt x="88" y="271"/>
                  </a:lnTo>
                  <a:lnTo>
                    <a:pt x="87" y="270"/>
                  </a:lnTo>
                  <a:lnTo>
                    <a:pt x="86" y="270"/>
                  </a:lnTo>
                  <a:lnTo>
                    <a:pt x="86" y="269"/>
                  </a:lnTo>
                  <a:lnTo>
                    <a:pt x="87" y="267"/>
                  </a:lnTo>
                  <a:lnTo>
                    <a:pt x="87" y="266"/>
                  </a:lnTo>
                  <a:lnTo>
                    <a:pt x="86" y="266"/>
                  </a:lnTo>
                  <a:lnTo>
                    <a:pt x="86" y="265"/>
                  </a:lnTo>
                  <a:lnTo>
                    <a:pt x="85" y="264"/>
                  </a:lnTo>
                  <a:lnTo>
                    <a:pt x="86" y="264"/>
                  </a:lnTo>
                  <a:lnTo>
                    <a:pt x="86" y="263"/>
                  </a:lnTo>
                  <a:lnTo>
                    <a:pt x="87" y="263"/>
                  </a:lnTo>
                  <a:lnTo>
                    <a:pt x="88" y="263"/>
                  </a:lnTo>
                  <a:lnTo>
                    <a:pt x="88" y="261"/>
                  </a:lnTo>
                  <a:lnTo>
                    <a:pt x="87" y="260"/>
                  </a:lnTo>
                  <a:lnTo>
                    <a:pt x="87" y="259"/>
                  </a:lnTo>
                  <a:lnTo>
                    <a:pt x="87" y="258"/>
                  </a:lnTo>
                  <a:lnTo>
                    <a:pt x="87" y="259"/>
                  </a:lnTo>
                  <a:lnTo>
                    <a:pt x="87" y="258"/>
                  </a:lnTo>
                  <a:lnTo>
                    <a:pt x="87" y="257"/>
                  </a:lnTo>
                  <a:lnTo>
                    <a:pt x="86" y="257"/>
                  </a:lnTo>
                  <a:lnTo>
                    <a:pt x="87" y="255"/>
                  </a:lnTo>
                  <a:lnTo>
                    <a:pt x="88" y="253"/>
                  </a:lnTo>
                  <a:lnTo>
                    <a:pt x="87" y="252"/>
                  </a:lnTo>
                  <a:lnTo>
                    <a:pt x="88" y="252"/>
                  </a:lnTo>
                  <a:lnTo>
                    <a:pt x="90" y="252"/>
                  </a:lnTo>
                  <a:lnTo>
                    <a:pt x="90" y="253"/>
                  </a:lnTo>
                  <a:lnTo>
                    <a:pt x="91" y="253"/>
                  </a:lnTo>
                  <a:lnTo>
                    <a:pt x="91" y="252"/>
                  </a:lnTo>
                  <a:lnTo>
                    <a:pt x="92" y="251"/>
                  </a:lnTo>
                  <a:lnTo>
                    <a:pt x="97" y="251"/>
                  </a:lnTo>
                  <a:lnTo>
                    <a:pt x="98" y="251"/>
                  </a:lnTo>
                  <a:lnTo>
                    <a:pt x="99" y="249"/>
                  </a:lnTo>
                  <a:lnTo>
                    <a:pt x="102" y="249"/>
                  </a:lnTo>
                  <a:lnTo>
                    <a:pt x="103" y="251"/>
                  </a:lnTo>
                  <a:lnTo>
                    <a:pt x="102" y="251"/>
                  </a:lnTo>
                  <a:lnTo>
                    <a:pt x="103" y="252"/>
                  </a:lnTo>
                  <a:lnTo>
                    <a:pt x="103" y="251"/>
                  </a:lnTo>
                  <a:lnTo>
                    <a:pt x="104" y="252"/>
                  </a:lnTo>
                  <a:lnTo>
                    <a:pt x="105" y="251"/>
                  </a:lnTo>
                  <a:lnTo>
                    <a:pt x="105" y="252"/>
                  </a:lnTo>
                  <a:lnTo>
                    <a:pt x="106" y="253"/>
                  </a:lnTo>
                  <a:lnTo>
                    <a:pt x="108" y="252"/>
                  </a:lnTo>
                  <a:lnTo>
                    <a:pt x="109" y="253"/>
                  </a:lnTo>
                  <a:lnTo>
                    <a:pt x="110" y="254"/>
                  </a:lnTo>
                  <a:lnTo>
                    <a:pt x="111" y="257"/>
                  </a:lnTo>
                  <a:lnTo>
                    <a:pt x="112" y="257"/>
                  </a:lnTo>
                  <a:lnTo>
                    <a:pt x="114" y="257"/>
                  </a:lnTo>
                  <a:lnTo>
                    <a:pt x="114" y="255"/>
                  </a:lnTo>
                  <a:lnTo>
                    <a:pt x="115" y="255"/>
                  </a:lnTo>
                  <a:lnTo>
                    <a:pt x="115" y="254"/>
                  </a:lnTo>
                  <a:lnTo>
                    <a:pt x="116" y="254"/>
                  </a:lnTo>
                  <a:lnTo>
                    <a:pt x="118" y="254"/>
                  </a:lnTo>
                  <a:lnTo>
                    <a:pt x="120" y="254"/>
                  </a:lnTo>
                  <a:lnTo>
                    <a:pt x="122" y="255"/>
                  </a:lnTo>
                  <a:lnTo>
                    <a:pt x="121" y="257"/>
                  </a:lnTo>
                  <a:lnTo>
                    <a:pt x="120" y="255"/>
                  </a:lnTo>
                  <a:lnTo>
                    <a:pt x="118" y="257"/>
                  </a:lnTo>
                  <a:lnTo>
                    <a:pt x="117" y="257"/>
                  </a:lnTo>
                  <a:lnTo>
                    <a:pt x="118" y="257"/>
                  </a:lnTo>
                  <a:lnTo>
                    <a:pt x="118" y="258"/>
                  </a:lnTo>
                  <a:lnTo>
                    <a:pt x="118" y="260"/>
                  </a:lnTo>
                  <a:lnTo>
                    <a:pt x="118" y="261"/>
                  </a:lnTo>
                  <a:lnTo>
                    <a:pt x="117" y="261"/>
                  </a:lnTo>
                  <a:lnTo>
                    <a:pt x="118" y="263"/>
                  </a:lnTo>
                  <a:lnTo>
                    <a:pt x="120" y="264"/>
                  </a:lnTo>
                  <a:lnTo>
                    <a:pt x="118" y="265"/>
                  </a:lnTo>
                  <a:lnTo>
                    <a:pt x="120" y="266"/>
                  </a:lnTo>
                  <a:lnTo>
                    <a:pt x="120" y="265"/>
                  </a:lnTo>
                  <a:lnTo>
                    <a:pt x="121" y="265"/>
                  </a:lnTo>
                  <a:lnTo>
                    <a:pt x="121" y="266"/>
                  </a:lnTo>
                  <a:lnTo>
                    <a:pt x="122" y="266"/>
                  </a:lnTo>
                  <a:lnTo>
                    <a:pt x="120" y="266"/>
                  </a:lnTo>
                  <a:lnTo>
                    <a:pt x="118" y="266"/>
                  </a:lnTo>
                  <a:lnTo>
                    <a:pt x="118" y="267"/>
                  </a:lnTo>
                  <a:lnTo>
                    <a:pt x="120" y="267"/>
                  </a:lnTo>
                  <a:lnTo>
                    <a:pt x="121" y="267"/>
                  </a:lnTo>
                  <a:lnTo>
                    <a:pt x="121" y="269"/>
                  </a:lnTo>
                  <a:lnTo>
                    <a:pt x="122" y="269"/>
                  </a:lnTo>
                  <a:lnTo>
                    <a:pt x="121" y="270"/>
                  </a:lnTo>
                  <a:lnTo>
                    <a:pt x="121" y="271"/>
                  </a:lnTo>
                  <a:lnTo>
                    <a:pt x="122" y="270"/>
                  </a:lnTo>
                  <a:lnTo>
                    <a:pt x="123" y="269"/>
                  </a:lnTo>
                  <a:lnTo>
                    <a:pt x="123" y="270"/>
                  </a:lnTo>
                  <a:lnTo>
                    <a:pt x="123" y="269"/>
                  </a:lnTo>
                  <a:lnTo>
                    <a:pt x="124" y="270"/>
                  </a:lnTo>
                  <a:lnTo>
                    <a:pt x="124" y="269"/>
                  </a:lnTo>
                  <a:lnTo>
                    <a:pt x="126" y="267"/>
                  </a:lnTo>
                  <a:lnTo>
                    <a:pt x="124" y="267"/>
                  </a:lnTo>
                  <a:lnTo>
                    <a:pt x="123" y="269"/>
                  </a:lnTo>
                  <a:lnTo>
                    <a:pt x="124" y="267"/>
                  </a:lnTo>
                  <a:lnTo>
                    <a:pt x="124" y="266"/>
                  </a:lnTo>
                  <a:lnTo>
                    <a:pt x="126" y="266"/>
                  </a:lnTo>
                  <a:lnTo>
                    <a:pt x="124" y="266"/>
                  </a:lnTo>
                  <a:lnTo>
                    <a:pt x="124" y="265"/>
                  </a:lnTo>
                  <a:lnTo>
                    <a:pt x="124" y="264"/>
                  </a:lnTo>
                  <a:lnTo>
                    <a:pt x="126" y="266"/>
                  </a:lnTo>
                  <a:lnTo>
                    <a:pt x="127" y="266"/>
                  </a:lnTo>
                  <a:lnTo>
                    <a:pt x="127" y="267"/>
                  </a:lnTo>
                  <a:lnTo>
                    <a:pt x="129" y="269"/>
                  </a:lnTo>
                  <a:lnTo>
                    <a:pt x="130" y="271"/>
                  </a:lnTo>
                  <a:lnTo>
                    <a:pt x="132" y="273"/>
                  </a:lnTo>
                  <a:lnTo>
                    <a:pt x="129" y="276"/>
                  </a:lnTo>
                  <a:lnTo>
                    <a:pt x="126" y="275"/>
                  </a:lnTo>
                  <a:lnTo>
                    <a:pt x="124" y="275"/>
                  </a:lnTo>
                  <a:lnTo>
                    <a:pt x="122" y="273"/>
                  </a:lnTo>
                  <a:lnTo>
                    <a:pt x="121" y="273"/>
                  </a:lnTo>
                  <a:lnTo>
                    <a:pt x="118" y="273"/>
                  </a:lnTo>
                  <a:lnTo>
                    <a:pt x="115" y="272"/>
                  </a:lnTo>
                  <a:lnTo>
                    <a:pt x="108" y="272"/>
                  </a:lnTo>
                  <a:lnTo>
                    <a:pt x="103" y="271"/>
                  </a:lnTo>
                  <a:lnTo>
                    <a:pt x="102" y="271"/>
                  </a:lnTo>
                  <a:lnTo>
                    <a:pt x="102" y="270"/>
                  </a:lnTo>
                  <a:lnTo>
                    <a:pt x="102" y="271"/>
                  </a:lnTo>
                  <a:lnTo>
                    <a:pt x="100" y="271"/>
                  </a:lnTo>
                  <a:lnTo>
                    <a:pt x="99" y="271"/>
                  </a:lnTo>
                  <a:lnTo>
                    <a:pt x="100" y="272"/>
                  </a:lnTo>
                  <a:lnTo>
                    <a:pt x="103" y="273"/>
                  </a:lnTo>
                  <a:lnTo>
                    <a:pt x="104" y="273"/>
                  </a:lnTo>
                  <a:lnTo>
                    <a:pt x="109" y="273"/>
                  </a:lnTo>
                  <a:lnTo>
                    <a:pt x="111" y="275"/>
                  </a:lnTo>
                  <a:lnTo>
                    <a:pt x="114" y="275"/>
                  </a:lnTo>
                  <a:lnTo>
                    <a:pt x="116" y="275"/>
                  </a:lnTo>
                  <a:lnTo>
                    <a:pt x="118" y="275"/>
                  </a:lnTo>
                  <a:lnTo>
                    <a:pt x="120" y="276"/>
                  </a:lnTo>
                  <a:lnTo>
                    <a:pt x="122" y="277"/>
                  </a:lnTo>
                  <a:lnTo>
                    <a:pt x="126" y="278"/>
                  </a:lnTo>
                  <a:lnTo>
                    <a:pt x="128" y="278"/>
                  </a:lnTo>
                  <a:lnTo>
                    <a:pt x="130" y="279"/>
                  </a:lnTo>
                  <a:lnTo>
                    <a:pt x="130" y="282"/>
                  </a:lnTo>
                  <a:lnTo>
                    <a:pt x="129" y="283"/>
                  </a:lnTo>
                  <a:lnTo>
                    <a:pt x="129" y="284"/>
                  </a:lnTo>
                  <a:lnTo>
                    <a:pt x="129" y="288"/>
                  </a:lnTo>
                  <a:lnTo>
                    <a:pt x="130" y="289"/>
                  </a:lnTo>
                  <a:lnTo>
                    <a:pt x="130" y="293"/>
                  </a:lnTo>
                  <a:lnTo>
                    <a:pt x="132" y="295"/>
                  </a:lnTo>
                  <a:lnTo>
                    <a:pt x="132" y="299"/>
                  </a:lnTo>
                  <a:lnTo>
                    <a:pt x="130" y="303"/>
                  </a:lnTo>
                  <a:lnTo>
                    <a:pt x="130" y="306"/>
                  </a:lnTo>
                  <a:lnTo>
                    <a:pt x="130" y="318"/>
                  </a:lnTo>
                  <a:lnTo>
                    <a:pt x="130" y="321"/>
                  </a:lnTo>
                  <a:lnTo>
                    <a:pt x="130" y="324"/>
                  </a:lnTo>
                  <a:lnTo>
                    <a:pt x="130" y="326"/>
                  </a:lnTo>
                  <a:lnTo>
                    <a:pt x="132" y="327"/>
                  </a:lnTo>
                  <a:lnTo>
                    <a:pt x="133" y="329"/>
                  </a:lnTo>
                  <a:lnTo>
                    <a:pt x="134" y="329"/>
                  </a:lnTo>
                  <a:lnTo>
                    <a:pt x="136" y="329"/>
                  </a:lnTo>
                  <a:lnTo>
                    <a:pt x="141" y="329"/>
                  </a:lnTo>
                  <a:lnTo>
                    <a:pt x="144" y="327"/>
                  </a:lnTo>
                  <a:lnTo>
                    <a:pt x="145" y="326"/>
                  </a:lnTo>
                  <a:lnTo>
                    <a:pt x="145" y="323"/>
                  </a:lnTo>
                  <a:lnTo>
                    <a:pt x="145" y="320"/>
                  </a:lnTo>
                  <a:lnTo>
                    <a:pt x="144" y="317"/>
                  </a:lnTo>
                  <a:lnTo>
                    <a:pt x="144" y="311"/>
                  </a:lnTo>
                  <a:lnTo>
                    <a:pt x="144" y="308"/>
                  </a:lnTo>
                  <a:lnTo>
                    <a:pt x="145" y="307"/>
                  </a:lnTo>
                  <a:lnTo>
                    <a:pt x="144" y="302"/>
                  </a:lnTo>
                  <a:lnTo>
                    <a:pt x="144" y="300"/>
                  </a:lnTo>
                  <a:lnTo>
                    <a:pt x="142" y="294"/>
                  </a:lnTo>
                  <a:lnTo>
                    <a:pt x="142" y="287"/>
                  </a:lnTo>
                  <a:lnTo>
                    <a:pt x="144" y="284"/>
                  </a:lnTo>
                  <a:lnTo>
                    <a:pt x="146" y="283"/>
                  </a:lnTo>
                  <a:lnTo>
                    <a:pt x="152" y="281"/>
                  </a:lnTo>
                  <a:lnTo>
                    <a:pt x="155" y="279"/>
                  </a:lnTo>
                  <a:lnTo>
                    <a:pt x="157" y="277"/>
                  </a:lnTo>
                  <a:lnTo>
                    <a:pt x="161" y="277"/>
                  </a:lnTo>
                  <a:lnTo>
                    <a:pt x="164" y="277"/>
                  </a:lnTo>
                  <a:lnTo>
                    <a:pt x="165" y="277"/>
                  </a:lnTo>
                  <a:lnTo>
                    <a:pt x="167" y="276"/>
                  </a:lnTo>
                  <a:lnTo>
                    <a:pt x="170" y="276"/>
                  </a:lnTo>
                  <a:lnTo>
                    <a:pt x="174" y="275"/>
                  </a:lnTo>
                  <a:lnTo>
                    <a:pt x="176" y="275"/>
                  </a:lnTo>
                  <a:lnTo>
                    <a:pt x="179" y="275"/>
                  </a:lnTo>
                  <a:lnTo>
                    <a:pt x="180" y="275"/>
                  </a:lnTo>
                  <a:lnTo>
                    <a:pt x="181" y="276"/>
                  </a:lnTo>
                  <a:lnTo>
                    <a:pt x="182" y="277"/>
                  </a:lnTo>
                  <a:lnTo>
                    <a:pt x="183" y="278"/>
                  </a:lnTo>
                  <a:lnTo>
                    <a:pt x="185" y="278"/>
                  </a:lnTo>
                  <a:lnTo>
                    <a:pt x="187" y="278"/>
                  </a:lnTo>
                  <a:lnTo>
                    <a:pt x="185" y="276"/>
                  </a:lnTo>
                  <a:lnTo>
                    <a:pt x="181" y="275"/>
                  </a:lnTo>
                  <a:lnTo>
                    <a:pt x="180" y="272"/>
                  </a:lnTo>
                  <a:lnTo>
                    <a:pt x="177" y="271"/>
                  </a:lnTo>
                  <a:lnTo>
                    <a:pt x="179" y="269"/>
                  </a:lnTo>
                  <a:lnTo>
                    <a:pt x="182" y="269"/>
                  </a:lnTo>
                  <a:lnTo>
                    <a:pt x="185" y="270"/>
                  </a:lnTo>
                  <a:lnTo>
                    <a:pt x="187" y="270"/>
                  </a:lnTo>
                  <a:lnTo>
                    <a:pt x="188" y="269"/>
                  </a:lnTo>
                  <a:lnTo>
                    <a:pt x="194" y="270"/>
                  </a:lnTo>
                  <a:lnTo>
                    <a:pt x="198" y="270"/>
                  </a:lnTo>
                  <a:lnTo>
                    <a:pt x="199" y="270"/>
                  </a:lnTo>
                  <a:lnTo>
                    <a:pt x="200" y="270"/>
                  </a:lnTo>
                  <a:lnTo>
                    <a:pt x="201" y="270"/>
                  </a:lnTo>
                  <a:lnTo>
                    <a:pt x="203" y="270"/>
                  </a:lnTo>
                  <a:lnTo>
                    <a:pt x="204" y="270"/>
                  </a:lnTo>
                  <a:lnTo>
                    <a:pt x="204" y="271"/>
                  </a:lnTo>
                  <a:lnTo>
                    <a:pt x="204" y="272"/>
                  </a:lnTo>
                  <a:lnTo>
                    <a:pt x="205" y="273"/>
                  </a:lnTo>
                  <a:lnTo>
                    <a:pt x="208" y="273"/>
                  </a:lnTo>
                  <a:lnTo>
                    <a:pt x="209" y="273"/>
                  </a:lnTo>
                  <a:lnTo>
                    <a:pt x="209" y="275"/>
                  </a:lnTo>
                  <a:lnTo>
                    <a:pt x="209" y="276"/>
                  </a:lnTo>
                  <a:lnTo>
                    <a:pt x="210" y="276"/>
                  </a:lnTo>
                  <a:lnTo>
                    <a:pt x="211" y="277"/>
                  </a:lnTo>
                  <a:lnTo>
                    <a:pt x="212" y="277"/>
                  </a:lnTo>
                  <a:lnTo>
                    <a:pt x="214" y="278"/>
                  </a:lnTo>
                  <a:lnTo>
                    <a:pt x="215" y="278"/>
                  </a:lnTo>
                  <a:lnTo>
                    <a:pt x="216" y="277"/>
                  </a:lnTo>
                  <a:lnTo>
                    <a:pt x="217" y="277"/>
                  </a:lnTo>
                  <a:lnTo>
                    <a:pt x="217" y="276"/>
                  </a:lnTo>
                  <a:lnTo>
                    <a:pt x="220" y="276"/>
                  </a:lnTo>
                  <a:lnTo>
                    <a:pt x="221" y="277"/>
                  </a:lnTo>
                  <a:lnTo>
                    <a:pt x="221" y="278"/>
                  </a:lnTo>
                  <a:lnTo>
                    <a:pt x="222" y="279"/>
                  </a:lnTo>
                  <a:lnTo>
                    <a:pt x="222" y="281"/>
                  </a:lnTo>
                  <a:lnTo>
                    <a:pt x="223" y="281"/>
                  </a:lnTo>
                  <a:lnTo>
                    <a:pt x="224" y="282"/>
                  </a:lnTo>
                  <a:lnTo>
                    <a:pt x="226" y="282"/>
                  </a:lnTo>
                  <a:lnTo>
                    <a:pt x="227" y="281"/>
                  </a:lnTo>
                  <a:lnTo>
                    <a:pt x="228" y="281"/>
                  </a:lnTo>
                  <a:lnTo>
                    <a:pt x="230" y="281"/>
                  </a:lnTo>
                  <a:lnTo>
                    <a:pt x="232" y="282"/>
                  </a:lnTo>
                  <a:lnTo>
                    <a:pt x="232" y="281"/>
                  </a:lnTo>
                  <a:lnTo>
                    <a:pt x="232" y="279"/>
                  </a:lnTo>
                  <a:lnTo>
                    <a:pt x="232" y="278"/>
                  </a:lnTo>
                  <a:lnTo>
                    <a:pt x="232" y="279"/>
                  </a:lnTo>
                  <a:lnTo>
                    <a:pt x="233" y="279"/>
                  </a:lnTo>
                  <a:lnTo>
                    <a:pt x="233" y="278"/>
                  </a:lnTo>
                  <a:lnTo>
                    <a:pt x="233" y="279"/>
                  </a:lnTo>
                  <a:lnTo>
                    <a:pt x="234" y="278"/>
                  </a:lnTo>
                  <a:lnTo>
                    <a:pt x="235" y="279"/>
                  </a:lnTo>
                  <a:lnTo>
                    <a:pt x="236" y="279"/>
                  </a:lnTo>
                  <a:lnTo>
                    <a:pt x="238" y="279"/>
                  </a:lnTo>
                  <a:lnTo>
                    <a:pt x="236" y="278"/>
                  </a:lnTo>
                  <a:lnTo>
                    <a:pt x="238" y="278"/>
                  </a:lnTo>
                  <a:lnTo>
                    <a:pt x="238" y="277"/>
                  </a:lnTo>
                  <a:lnTo>
                    <a:pt x="239" y="277"/>
                  </a:lnTo>
                  <a:lnTo>
                    <a:pt x="240" y="276"/>
                  </a:lnTo>
                  <a:lnTo>
                    <a:pt x="239" y="275"/>
                  </a:lnTo>
                  <a:lnTo>
                    <a:pt x="238" y="276"/>
                  </a:lnTo>
                  <a:lnTo>
                    <a:pt x="236" y="276"/>
                  </a:lnTo>
                  <a:lnTo>
                    <a:pt x="235" y="276"/>
                  </a:lnTo>
                  <a:lnTo>
                    <a:pt x="234" y="277"/>
                  </a:lnTo>
                  <a:lnTo>
                    <a:pt x="233" y="276"/>
                  </a:lnTo>
                  <a:lnTo>
                    <a:pt x="234" y="276"/>
                  </a:lnTo>
                  <a:lnTo>
                    <a:pt x="234" y="275"/>
                  </a:lnTo>
                  <a:lnTo>
                    <a:pt x="234" y="273"/>
                  </a:lnTo>
                  <a:lnTo>
                    <a:pt x="234" y="272"/>
                  </a:lnTo>
                  <a:lnTo>
                    <a:pt x="233" y="272"/>
                  </a:lnTo>
                  <a:lnTo>
                    <a:pt x="233" y="271"/>
                  </a:lnTo>
                  <a:lnTo>
                    <a:pt x="232" y="272"/>
                  </a:lnTo>
                  <a:lnTo>
                    <a:pt x="232" y="271"/>
                  </a:lnTo>
                  <a:lnTo>
                    <a:pt x="230" y="269"/>
                  </a:lnTo>
                  <a:lnTo>
                    <a:pt x="229" y="270"/>
                  </a:lnTo>
                  <a:lnTo>
                    <a:pt x="229" y="269"/>
                  </a:lnTo>
                  <a:lnTo>
                    <a:pt x="227" y="270"/>
                  </a:lnTo>
                  <a:lnTo>
                    <a:pt x="227" y="269"/>
                  </a:lnTo>
                  <a:lnTo>
                    <a:pt x="228" y="269"/>
                  </a:lnTo>
                  <a:lnTo>
                    <a:pt x="228" y="266"/>
                  </a:lnTo>
                  <a:lnTo>
                    <a:pt x="229" y="266"/>
                  </a:lnTo>
                  <a:lnTo>
                    <a:pt x="228" y="266"/>
                  </a:lnTo>
                  <a:lnTo>
                    <a:pt x="228" y="264"/>
                  </a:lnTo>
                  <a:lnTo>
                    <a:pt x="229" y="264"/>
                  </a:lnTo>
                  <a:lnTo>
                    <a:pt x="228" y="263"/>
                  </a:lnTo>
                  <a:lnTo>
                    <a:pt x="227" y="264"/>
                  </a:lnTo>
                  <a:lnTo>
                    <a:pt x="226" y="265"/>
                  </a:lnTo>
                  <a:lnTo>
                    <a:pt x="223" y="265"/>
                  </a:lnTo>
                  <a:lnTo>
                    <a:pt x="222" y="266"/>
                  </a:lnTo>
                  <a:lnTo>
                    <a:pt x="221" y="267"/>
                  </a:lnTo>
                  <a:lnTo>
                    <a:pt x="220" y="266"/>
                  </a:lnTo>
                  <a:lnTo>
                    <a:pt x="221" y="266"/>
                  </a:lnTo>
                  <a:lnTo>
                    <a:pt x="220" y="266"/>
                  </a:lnTo>
                  <a:lnTo>
                    <a:pt x="218" y="265"/>
                  </a:lnTo>
                  <a:lnTo>
                    <a:pt x="217" y="266"/>
                  </a:lnTo>
                  <a:lnTo>
                    <a:pt x="217" y="265"/>
                  </a:lnTo>
                  <a:lnTo>
                    <a:pt x="216" y="265"/>
                  </a:lnTo>
                  <a:lnTo>
                    <a:pt x="215" y="265"/>
                  </a:lnTo>
                  <a:lnTo>
                    <a:pt x="214" y="264"/>
                  </a:lnTo>
                  <a:lnTo>
                    <a:pt x="212" y="265"/>
                  </a:lnTo>
                  <a:lnTo>
                    <a:pt x="212" y="264"/>
                  </a:lnTo>
                  <a:lnTo>
                    <a:pt x="214" y="263"/>
                  </a:lnTo>
                  <a:lnTo>
                    <a:pt x="212" y="261"/>
                  </a:lnTo>
                  <a:lnTo>
                    <a:pt x="211" y="261"/>
                  </a:lnTo>
                  <a:lnTo>
                    <a:pt x="210" y="263"/>
                  </a:lnTo>
                  <a:lnTo>
                    <a:pt x="210" y="261"/>
                  </a:lnTo>
                  <a:lnTo>
                    <a:pt x="210" y="260"/>
                  </a:lnTo>
                  <a:lnTo>
                    <a:pt x="209" y="260"/>
                  </a:lnTo>
                  <a:lnTo>
                    <a:pt x="208" y="259"/>
                  </a:lnTo>
                  <a:lnTo>
                    <a:pt x="206" y="261"/>
                  </a:lnTo>
                  <a:lnTo>
                    <a:pt x="206" y="263"/>
                  </a:lnTo>
                  <a:lnTo>
                    <a:pt x="205" y="263"/>
                  </a:lnTo>
                  <a:lnTo>
                    <a:pt x="205" y="264"/>
                  </a:lnTo>
                  <a:lnTo>
                    <a:pt x="204" y="264"/>
                  </a:lnTo>
                  <a:lnTo>
                    <a:pt x="205" y="265"/>
                  </a:lnTo>
                  <a:lnTo>
                    <a:pt x="204" y="265"/>
                  </a:lnTo>
                  <a:lnTo>
                    <a:pt x="203" y="264"/>
                  </a:lnTo>
                  <a:lnTo>
                    <a:pt x="201" y="265"/>
                  </a:lnTo>
                  <a:lnTo>
                    <a:pt x="203" y="265"/>
                  </a:lnTo>
                  <a:lnTo>
                    <a:pt x="203" y="266"/>
                  </a:lnTo>
                  <a:lnTo>
                    <a:pt x="204" y="266"/>
                  </a:lnTo>
                  <a:lnTo>
                    <a:pt x="204" y="267"/>
                  </a:lnTo>
                  <a:lnTo>
                    <a:pt x="203" y="267"/>
                  </a:lnTo>
                  <a:lnTo>
                    <a:pt x="203" y="269"/>
                  </a:lnTo>
                  <a:lnTo>
                    <a:pt x="201" y="269"/>
                  </a:lnTo>
                  <a:lnTo>
                    <a:pt x="201" y="267"/>
                  </a:lnTo>
                  <a:lnTo>
                    <a:pt x="199" y="267"/>
                  </a:lnTo>
                  <a:lnTo>
                    <a:pt x="198" y="269"/>
                  </a:lnTo>
                  <a:lnTo>
                    <a:pt x="194" y="267"/>
                  </a:lnTo>
                  <a:lnTo>
                    <a:pt x="192" y="267"/>
                  </a:lnTo>
                  <a:lnTo>
                    <a:pt x="188" y="267"/>
                  </a:lnTo>
                  <a:lnTo>
                    <a:pt x="187" y="267"/>
                  </a:lnTo>
                  <a:lnTo>
                    <a:pt x="186" y="267"/>
                  </a:lnTo>
                  <a:lnTo>
                    <a:pt x="185" y="267"/>
                  </a:lnTo>
                  <a:lnTo>
                    <a:pt x="183" y="267"/>
                  </a:lnTo>
                  <a:lnTo>
                    <a:pt x="181" y="267"/>
                  </a:lnTo>
                  <a:lnTo>
                    <a:pt x="180" y="266"/>
                  </a:lnTo>
                  <a:lnTo>
                    <a:pt x="177" y="266"/>
                  </a:lnTo>
                  <a:lnTo>
                    <a:pt x="176" y="265"/>
                  </a:lnTo>
                  <a:lnTo>
                    <a:pt x="175" y="264"/>
                  </a:lnTo>
                  <a:lnTo>
                    <a:pt x="174" y="264"/>
                  </a:lnTo>
                  <a:lnTo>
                    <a:pt x="171" y="265"/>
                  </a:lnTo>
                  <a:lnTo>
                    <a:pt x="170" y="264"/>
                  </a:lnTo>
                  <a:lnTo>
                    <a:pt x="168" y="264"/>
                  </a:lnTo>
                  <a:lnTo>
                    <a:pt x="167" y="261"/>
                  </a:lnTo>
                  <a:lnTo>
                    <a:pt x="167" y="260"/>
                  </a:lnTo>
                  <a:lnTo>
                    <a:pt x="165" y="261"/>
                  </a:lnTo>
                  <a:lnTo>
                    <a:pt x="164" y="260"/>
                  </a:lnTo>
                  <a:lnTo>
                    <a:pt x="163" y="260"/>
                  </a:lnTo>
                  <a:lnTo>
                    <a:pt x="162" y="260"/>
                  </a:lnTo>
                  <a:lnTo>
                    <a:pt x="159" y="259"/>
                  </a:lnTo>
                  <a:lnTo>
                    <a:pt x="158" y="257"/>
                  </a:lnTo>
                  <a:lnTo>
                    <a:pt x="158" y="258"/>
                  </a:lnTo>
                  <a:lnTo>
                    <a:pt x="158" y="257"/>
                  </a:lnTo>
                  <a:lnTo>
                    <a:pt x="159" y="257"/>
                  </a:lnTo>
                  <a:lnTo>
                    <a:pt x="159" y="255"/>
                  </a:lnTo>
                  <a:lnTo>
                    <a:pt x="159" y="254"/>
                  </a:lnTo>
                  <a:lnTo>
                    <a:pt x="161" y="254"/>
                  </a:lnTo>
                  <a:lnTo>
                    <a:pt x="159" y="255"/>
                  </a:lnTo>
                  <a:lnTo>
                    <a:pt x="161" y="255"/>
                  </a:lnTo>
                  <a:lnTo>
                    <a:pt x="161" y="257"/>
                  </a:lnTo>
                  <a:lnTo>
                    <a:pt x="161" y="258"/>
                  </a:lnTo>
                  <a:lnTo>
                    <a:pt x="162" y="258"/>
                  </a:lnTo>
                  <a:lnTo>
                    <a:pt x="163" y="258"/>
                  </a:lnTo>
                  <a:lnTo>
                    <a:pt x="164" y="258"/>
                  </a:lnTo>
                  <a:lnTo>
                    <a:pt x="164" y="257"/>
                  </a:lnTo>
                  <a:lnTo>
                    <a:pt x="165" y="257"/>
                  </a:lnTo>
                  <a:lnTo>
                    <a:pt x="167" y="258"/>
                  </a:lnTo>
                  <a:lnTo>
                    <a:pt x="168" y="257"/>
                  </a:lnTo>
                  <a:lnTo>
                    <a:pt x="169" y="257"/>
                  </a:lnTo>
                  <a:lnTo>
                    <a:pt x="169" y="258"/>
                  </a:lnTo>
                  <a:lnTo>
                    <a:pt x="170" y="258"/>
                  </a:lnTo>
                  <a:lnTo>
                    <a:pt x="171" y="258"/>
                  </a:lnTo>
                  <a:lnTo>
                    <a:pt x="171" y="257"/>
                  </a:lnTo>
                  <a:lnTo>
                    <a:pt x="171" y="255"/>
                  </a:lnTo>
                  <a:lnTo>
                    <a:pt x="170" y="255"/>
                  </a:lnTo>
                  <a:lnTo>
                    <a:pt x="170" y="253"/>
                  </a:lnTo>
                  <a:lnTo>
                    <a:pt x="170" y="252"/>
                  </a:lnTo>
                  <a:lnTo>
                    <a:pt x="169" y="252"/>
                  </a:lnTo>
                  <a:lnTo>
                    <a:pt x="169" y="251"/>
                  </a:lnTo>
                  <a:lnTo>
                    <a:pt x="168" y="252"/>
                  </a:lnTo>
                  <a:lnTo>
                    <a:pt x="168" y="251"/>
                  </a:lnTo>
                  <a:lnTo>
                    <a:pt x="169" y="251"/>
                  </a:lnTo>
                  <a:lnTo>
                    <a:pt x="170" y="251"/>
                  </a:lnTo>
                  <a:lnTo>
                    <a:pt x="171" y="251"/>
                  </a:lnTo>
                  <a:lnTo>
                    <a:pt x="173" y="251"/>
                  </a:lnTo>
                  <a:lnTo>
                    <a:pt x="173" y="249"/>
                  </a:lnTo>
                  <a:lnTo>
                    <a:pt x="171" y="248"/>
                  </a:lnTo>
                  <a:lnTo>
                    <a:pt x="173" y="248"/>
                  </a:lnTo>
                  <a:lnTo>
                    <a:pt x="174" y="247"/>
                  </a:lnTo>
                  <a:lnTo>
                    <a:pt x="173" y="248"/>
                  </a:lnTo>
                  <a:lnTo>
                    <a:pt x="174" y="249"/>
                  </a:lnTo>
                  <a:lnTo>
                    <a:pt x="174" y="248"/>
                  </a:lnTo>
                  <a:lnTo>
                    <a:pt x="175" y="248"/>
                  </a:lnTo>
                  <a:lnTo>
                    <a:pt x="176" y="248"/>
                  </a:lnTo>
                  <a:lnTo>
                    <a:pt x="176" y="251"/>
                  </a:lnTo>
                  <a:lnTo>
                    <a:pt x="177" y="249"/>
                  </a:lnTo>
                  <a:lnTo>
                    <a:pt x="177" y="251"/>
                  </a:lnTo>
                  <a:lnTo>
                    <a:pt x="180" y="252"/>
                  </a:lnTo>
                  <a:lnTo>
                    <a:pt x="181" y="254"/>
                  </a:lnTo>
                  <a:lnTo>
                    <a:pt x="181" y="255"/>
                  </a:lnTo>
                  <a:lnTo>
                    <a:pt x="181" y="254"/>
                  </a:lnTo>
                  <a:lnTo>
                    <a:pt x="180" y="254"/>
                  </a:lnTo>
                  <a:lnTo>
                    <a:pt x="180" y="255"/>
                  </a:lnTo>
                  <a:lnTo>
                    <a:pt x="180" y="257"/>
                  </a:lnTo>
                  <a:lnTo>
                    <a:pt x="181" y="257"/>
                  </a:lnTo>
                  <a:lnTo>
                    <a:pt x="180" y="257"/>
                  </a:lnTo>
                  <a:lnTo>
                    <a:pt x="179" y="255"/>
                  </a:lnTo>
                  <a:lnTo>
                    <a:pt x="179" y="257"/>
                  </a:lnTo>
                  <a:lnTo>
                    <a:pt x="180" y="257"/>
                  </a:lnTo>
                  <a:lnTo>
                    <a:pt x="180" y="258"/>
                  </a:lnTo>
                  <a:lnTo>
                    <a:pt x="179" y="258"/>
                  </a:lnTo>
                  <a:lnTo>
                    <a:pt x="179" y="259"/>
                  </a:lnTo>
                  <a:lnTo>
                    <a:pt x="180" y="259"/>
                  </a:lnTo>
                  <a:lnTo>
                    <a:pt x="181" y="259"/>
                  </a:lnTo>
                  <a:lnTo>
                    <a:pt x="182" y="260"/>
                  </a:lnTo>
                  <a:lnTo>
                    <a:pt x="183" y="260"/>
                  </a:lnTo>
                  <a:lnTo>
                    <a:pt x="182" y="260"/>
                  </a:lnTo>
                  <a:lnTo>
                    <a:pt x="182" y="259"/>
                  </a:lnTo>
                  <a:lnTo>
                    <a:pt x="183" y="258"/>
                  </a:lnTo>
                  <a:lnTo>
                    <a:pt x="183" y="260"/>
                  </a:lnTo>
                  <a:lnTo>
                    <a:pt x="185" y="260"/>
                  </a:lnTo>
                  <a:lnTo>
                    <a:pt x="186" y="259"/>
                  </a:lnTo>
                  <a:lnTo>
                    <a:pt x="186" y="260"/>
                  </a:lnTo>
                  <a:lnTo>
                    <a:pt x="187" y="260"/>
                  </a:lnTo>
                  <a:lnTo>
                    <a:pt x="188" y="260"/>
                  </a:lnTo>
                  <a:lnTo>
                    <a:pt x="189" y="260"/>
                  </a:lnTo>
                  <a:lnTo>
                    <a:pt x="189" y="259"/>
                  </a:lnTo>
                  <a:lnTo>
                    <a:pt x="188" y="258"/>
                  </a:lnTo>
                  <a:lnTo>
                    <a:pt x="187" y="255"/>
                  </a:lnTo>
                  <a:lnTo>
                    <a:pt x="188" y="257"/>
                  </a:lnTo>
                  <a:lnTo>
                    <a:pt x="189" y="257"/>
                  </a:lnTo>
                  <a:lnTo>
                    <a:pt x="191" y="257"/>
                  </a:lnTo>
                  <a:lnTo>
                    <a:pt x="192" y="257"/>
                  </a:lnTo>
                  <a:lnTo>
                    <a:pt x="192" y="255"/>
                  </a:lnTo>
                  <a:lnTo>
                    <a:pt x="193" y="253"/>
                  </a:lnTo>
                  <a:lnTo>
                    <a:pt x="193" y="252"/>
                  </a:lnTo>
                  <a:lnTo>
                    <a:pt x="194" y="249"/>
                  </a:lnTo>
                  <a:lnTo>
                    <a:pt x="194" y="248"/>
                  </a:lnTo>
                  <a:lnTo>
                    <a:pt x="193" y="247"/>
                  </a:lnTo>
                  <a:lnTo>
                    <a:pt x="193" y="248"/>
                  </a:lnTo>
                  <a:lnTo>
                    <a:pt x="192" y="247"/>
                  </a:lnTo>
                  <a:lnTo>
                    <a:pt x="191" y="246"/>
                  </a:lnTo>
                  <a:lnTo>
                    <a:pt x="189" y="247"/>
                  </a:lnTo>
                  <a:lnTo>
                    <a:pt x="189" y="246"/>
                  </a:lnTo>
                  <a:lnTo>
                    <a:pt x="191" y="246"/>
                  </a:lnTo>
                  <a:lnTo>
                    <a:pt x="192" y="246"/>
                  </a:lnTo>
                  <a:lnTo>
                    <a:pt x="193" y="246"/>
                  </a:lnTo>
                  <a:lnTo>
                    <a:pt x="195" y="246"/>
                  </a:lnTo>
                  <a:lnTo>
                    <a:pt x="195" y="247"/>
                  </a:lnTo>
                  <a:lnTo>
                    <a:pt x="194" y="248"/>
                  </a:lnTo>
                  <a:lnTo>
                    <a:pt x="195" y="248"/>
                  </a:lnTo>
                  <a:lnTo>
                    <a:pt x="195" y="249"/>
                  </a:lnTo>
                  <a:lnTo>
                    <a:pt x="197" y="249"/>
                  </a:lnTo>
                  <a:lnTo>
                    <a:pt x="195" y="248"/>
                  </a:lnTo>
                  <a:lnTo>
                    <a:pt x="197" y="248"/>
                  </a:lnTo>
                  <a:lnTo>
                    <a:pt x="198" y="249"/>
                  </a:lnTo>
                  <a:lnTo>
                    <a:pt x="199" y="249"/>
                  </a:lnTo>
                  <a:lnTo>
                    <a:pt x="200" y="249"/>
                  </a:lnTo>
                  <a:lnTo>
                    <a:pt x="200" y="251"/>
                  </a:lnTo>
                  <a:lnTo>
                    <a:pt x="201" y="249"/>
                  </a:lnTo>
                  <a:lnTo>
                    <a:pt x="203" y="251"/>
                  </a:lnTo>
                  <a:lnTo>
                    <a:pt x="204" y="251"/>
                  </a:lnTo>
                  <a:lnTo>
                    <a:pt x="205" y="251"/>
                  </a:lnTo>
                  <a:lnTo>
                    <a:pt x="206" y="249"/>
                  </a:lnTo>
                  <a:lnTo>
                    <a:pt x="208" y="248"/>
                  </a:lnTo>
                  <a:lnTo>
                    <a:pt x="209" y="248"/>
                  </a:lnTo>
                  <a:lnTo>
                    <a:pt x="210" y="248"/>
                  </a:lnTo>
                  <a:lnTo>
                    <a:pt x="211" y="248"/>
                  </a:lnTo>
                  <a:lnTo>
                    <a:pt x="214" y="248"/>
                  </a:lnTo>
                  <a:lnTo>
                    <a:pt x="215" y="247"/>
                  </a:lnTo>
                  <a:lnTo>
                    <a:pt x="216" y="248"/>
                  </a:lnTo>
                  <a:lnTo>
                    <a:pt x="217" y="247"/>
                  </a:lnTo>
                  <a:lnTo>
                    <a:pt x="217" y="248"/>
                  </a:lnTo>
                  <a:lnTo>
                    <a:pt x="218" y="248"/>
                  </a:lnTo>
                  <a:lnTo>
                    <a:pt x="220" y="247"/>
                  </a:lnTo>
                  <a:lnTo>
                    <a:pt x="220" y="248"/>
                  </a:lnTo>
                  <a:lnTo>
                    <a:pt x="221" y="247"/>
                  </a:lnTo>
                  <a:lnTo>
                    <a:pt x="222" y="248"/>
                  </a:lnTo>
                  <a:lnTo>
                    <a:pt x="222" y="249"/>
                  </a:lnTo>
                  <a:lnTo>
                    <a:pt x="221" y="249"/>
                  </a:lnTo>
                  <a:lnTo>
                    <a:pt x="220" y="249"/>
                  </a:lnTo>
                  <a:lnTo>
                    <a:pt x="218" y="249"/>
                  </a:lnTo>
                  <a:lnTo>
                    <a:pt x="218" y="248"/>
                  </a:lnTo>
                  <a:lnTo>
                    <a:pt x="218" y="249"/>
                  </a:lnTo>
                  <a:lnTo>
                    <a:pt x="217" y="248"/>
                  </a:lnTo>
                  <a:lnTo>
                    <a:pt x="217" y="249"/>
                  </a:lnTo>
                  <a:lnTo>
                    <a:pt x="216" y="248"/>
                  </a:lnTo>
                  <a:lnTo>
                    <a:pt x="216" y="249"/>
                  </a:lnTo>
                  <a:lnTo>
                    <a:pt x="215" y="248"/>
                  </a:lnTo>
                  <a:lnTo>
                    <a:pt x="215" y="249"/>
                  </a:lnTo>
                  <a:lnTo>
                    <a:pt x="215" y="251"/>
                  </a:lnTo>
                  <a:lnTo>
                    <a:pt x="214" y="248"/>
                  </a:lnTo>
                  <a:lnTo>
                    <a:pt x="212" y="249"/>
                  </a:lnTo>
                  <a:lnTo>
                    <a:pt x="214" y="249"/>
                  </a:lnTo>
                  <a:lnTo>
                    <a:pt x="214" y="252"/>
                  </a:lnTo>
                  <a:lnTo>
                    <a:pt x="215" y="252"/>
                  </a:lnTo>
                  <a:lnTo>
                    <a:pt x="214" y="252"/>
                  </a:lnTo>
                  <a:lnTo>
                    <a:pt x="214" y="253"/>
                  </a:lnTo>
                  <a:lnTo>
                    <a:pt x="215" y="253"/>
                  </a:lnTo>
                  <a:lnTo>
                    <a:pt x="215" y="252"/>
                  </a:lnTo>
                  <a:lnTo>
                    <a:pt x="216" y="253"/>
                  </a:lnTo>
                  <a:lnTo>
                    <a:pt x="216" y="252"/>
                  </a:lnTo>
                  <a:lnTo>
                    <a:pt x="217" y="253"/>
                  </a:lnTo>
                  <a:lnTo>
                    <a:pt x="218" y="253"/>
                  </a:lnTo>
                  <a:lnTo>
                    <a:pt x="220" y="255"/>
                  </a:lnTo>
                  <a:lnTo>
                    <a:pt x="221" y="255"/>
                  </a:lnTo>
                  <a:lnTo>
                    <a:pt x="222" y="254"/>
                  </a:lnTo>
                  <a:lnTo>
                    <a:pt x="222" y="253"/>
                  </a:lnTo>
                  <a:lnTo>
                    <a:pt x="223" y="253"/>
                  </a:lnTo>
                  <a:lnTo>
                    <a:pt x="222" y="254"/>
                  </a:lnTo>
                  <a:lnTo>
                    <a:pt x="223" y="255"/>
                  </a:lnTo>
                  <a:lnTo>
                    <a:pt x="223" y="254"/>
                  </a:lnTo>
                  <a:lnTo>
                    <a:pt x="223" y="255"/>
                  </a:lnTo>
                  <a:lnTo>
                    <a:pt x="222" y="257"/>
                  </a:lnTo>
                  <a:lnTo>
                    <a:pt x="224" y="257"/>
                  </a:lnTo>
                  <a:lnTo>
                    <a:pt x="223" y="258"/>
                  </a:lnTo>
                  <a:lnTo>
                    <a:pt x="224" y="258"/>
                  </a:lnTo>
                  <a:lnTo>
                    <a:pt x="223" y="259"/>
                  </a:lnTo>
                  <a:lnTo>
                    <a:pt x="224" y="259"/>
                  </a:lnTo>
                  <a:lnTo>
                    <a:pt x="223" y="259"/>
                  </a:lnTo>
                  <a:lnTo>
                    <a:pt x="222" y="260"/>
                  </a:lnTo>
                  <a:lnTo>
                    <a:pt x="222" y="261"/>
                  </a:lnTo>
                  <a:lnTo>
                    <a:pt x="222" y="263"/>
                  </a:lnTo>
                  <a:lnTo>
                    <a:pt x="223" y="263"/>
                  </a:lnTo>
                  <a:lnTo>
                    <a:pt x="224" y="263"/>
                  </a:lnTo>
                  <a:lnTo>
                    <a:pt x="226" y="263"/>
                  </a:lnTo>
                  <a:lnTo>
                    <a:pt x="226" y="261"/>
                  </a:lnTo>
                  <a:lnTo>
                    <a:pt x="228" y="261"/>
                  </a:lnTo>
                  <a:lnTo>
                    <a:pt x="229" y="261"/>
                  </a:lnTo>
                  <a:lnTo>
                    <a:pt x="230" y="261"/>
                  </a:lnTo>
                  <a:lnTo>
                    <a:pt x="232" y="261"/>
                  </a:lnTo>
                  <a:lnTo>
                    <a:pt x="234" y="261"/>
                  </a:lnTo>
                  <a:lnTo>
                    <a:pt x="235" y="261"/>
                  </a:lnTo>
                  <a:lnTo>
                    <a:pt x="236" y="261"/>
                  </a:lnTo>
                  <a:lnTo>
                    <a:pt x="236" y="263"/>
                  </a:lnTo>
                  <a:lnTo>
                    <a:pt x="238" y="264"/>
                  </a:lnTo>
                  <a:lnTo>
                    <a:pt x="239" y="264"/>
                  </a:lnTo>
                  <a:lnTo>
                    <a:pt x="240" y="264"/>
                  </a:lnTo>
                  <a:lnTo>
                    <a:pt x="241" y="264"/>
                  </a:lnTo>
                  <a:lnTo>
                    <a:pt x="241" y="263"/>
                  </a:lnTo>
                  <a:lnTo>
                    <a:pt x="241" y="261"/>
                  </a:lnTo>
                  <a:lnTo>
                    <a:pt x="242" y="260"/>
                  </a:lnTo>
                  <a:lnTo>
                    <a:pt x="244" y="260"/>
                  </a:lnTo>
                  <a:lnTo>
                    <a:pt x="245" y="259"/>
                  </a:lnTo>
                  <a:lnTo>
                    <a:pt x="246" y="258"/>
                  </a:lnTo>
                  <a:lnTo>
                    <a:pt x="246" y="257"/>
                  </a:lnTo>
                  <a:lnTo>
                    <a:pt x="245" y="257"/>
                  </a:lnTo>
                  <a:lnTo>
                    <a:pt x="245" y="258"/>
                  </a:lnTo>
                  <a:lnTo>
                    <a:pt x="244" y="258"/>
                  </a:lnTo>
                  <a:lnTo>
                    <a:pt x="242" y="258"/>
                  </a:lnTo>
                  <a:lnTo>
                    <a:pt x="242" y="257"/>
                  </a:lnTo>
                  <a:lnTo>
                    <a:pt x="242" y="255"/>
                  </a:lnTo>
                  <a:lnTo>
                    <a:pt x="241" y="257"/>
                  </a:lnTo>
                  <a:lnTo>
                    <a:pt x="241" y="255"/>
                  </a:lnTo>
                  <a:lnTo>
                    <a:pt x="240" y="255"/>
                  </a:lnTo>
                  <a:lnTo>
                    <a:pt x="241" y="254"/>
                  </a:lnTo>
                  <a:lnTo>
                    <a:pt x="241" y="253"/>
                  </a:lnTo>
                  <a:lnTo>
                    <a:pt x="239" y="253"/>
                  </a:lnTo>
                  <a:lnTo>
                    <a:pt x="238" y="252"/>
                  </a:lnTo>
                  <a:lnTo>
                    <a:pt x="239" y="251"/>
                  </a:lnTo>
                  <a:lnTo>
                    <a:pt x="240" y="251"/>
                  </a:lnTo>
                  <a:lnTo>
                    <a:pt x="240" y="249"/>
                  </a:lnTo>
                  <a:lnTo>
                    <a:pt x="241" y="249"/>
                  </a:lnTo>
                  <a:lnTo>
                    <a:pt x="240" y="248"/>
                  </a:lnTo>
                  <a:lnTo>
                    <a:pt x="239" y="248"/>
                  </a:lnTo>
                  <a:lnTo>
                    <a:pt x="239" y="247"/>
                  </a:lnTo>
                  <a:lnTo>
                    <a:pt x="239" y="246"/>
                  </a:lnTo>
                  <a:lnTo>
                    <a:pt x="240" y="246"/>
                  </a:lnTo>
                  <a:lnTo>
                    <a:pt x="241" y="246"/>
                  </a:lnTo>
                  <a:lnTo>
                    <a:pt x="242" y="246"/>
                  </a:lnTo>
                  <a:lnTo>
                    <a:pt x="244" y="246"/>
                  </a:lnTo>
                  <a:lnTo>
                    <a:pt x="245" y="247"/>
                  </a:lnTo>
                  <a:lnTo>
                    <a:pt x="245" y="246"/>
                  </a:lnTo>
                  <a:lnTo>
                    <a:pt x="246" y="246"/>
                  </a:lnTo>
                  <a:lnTo>
                    <a:pt x="247" y="246"/>
                  </a:lnTo>
                  <a:lnTo>
                    <a:pt x="248" y="246"/>
                  </a:lnTo>
                  <a:lnTo>
                    <a:pt x="250" y="246"/>
                  </a:lnTo>
                  <a:lnTo>
                    <a:pt x="251" y="246"/>
                  </a:lnTo>
                  <a:lnTo>
                    <a:pt x="252" y="247"/>
                  </a:lnTo>
                  <a:lnTo>
                    <a:pt x="253" y="247"/>
                  </a:lnTo>
                  <a:lnTo>
                    <a:pt x="257" y="247"/>
                  </a:lnTo>
                  <a:lnTo>
                    <a:pt x="258" y="248"/>
                  </a:lnTo>
                  <a:lnTo>
                    <a:pt x="258" y="247"/>
                  </a:lnTo>
                  <a:lnTo>
                    <a:pt x="259" y="247"/>
                  </a:lnTo>
                  <a:lnTo>
                    <a:pt x="260" y="247"/>
                  </a:lnTo>
                  <a:lnTo>
                    <a:pt x="262" y="246"/>
                  </a:lnTo>
                  <a:lnTo>
                    <a:pt x="260" y="245"/>
                  </a:lnTo>
                  <a:lnTo>
                    <a:pt x="259" y="245"/>
                  </a:lnTo>
                  <a:lnTo>
                    <a:pt x="258" y="245"/>
                  </a:lnTo>
                  <a:lnTo>
                    <a:pt x="259" y="245"/>
                  </a:lnTo>
                  <a:lnTo>
                    <a:pt x="259" y="243"/>
                  </a:lnTo>
                  <a:lnTo>
                    <a:pt x="260" y="243"/>
                  </a:lnTo>
                  <a:lnTo>
                    <a:pt x="260" y="242"/>
                  </a:lnTo>
                  <a:lnTo>
                    <a:pt x="262" y="242"/>
                  </a:lnTo>
                  <a:lnTo>
                    <a:pt x="262" y="241"/>
                  </a:lnTo>
                  <a:lnTo>
                    <a:pt x="260" y="240"/>
                  </a:lnTo>
                  <a:lnTo>
                    <a:pt x="259" y="240"/>
                  </a:lnTo>
                  <a:lnTo>
                    <a:pt x="259" y="238"/>
                  </a:lnTo>
                  <a:lnTo>
                    <a:pt x="258" y="238"/>
                  </a:lnTo>
                  <a:lnTo>
                    <a:pt x="258" y="240"/>
                  </a:lnTo>
                  <a:lnTo>
                    <a:pt x="257" y="240"/>
                  </a:lnTo>
                  <a:lnTo>
                    <a:pt x="257" y="238"/>
                  </a:lnTo>
                  <a:lnTo>
                    <a:pt x="256" y="238"/>
                  </a:lnTo>
                  <a:lnTo>
                    <a:pt x="254" y="237"/>
                  </a:lnTo>
                  <a:lnTo>
                    <a:pt x="256" y="236"/>
                  </a:lnTo>
                  <a:lnTo>
                    <a:pt x="257" y="236"/>
                  </a:lnTo>
                  <a:lnTo>
                    <a:pt x="258" y="236"/>
                  </a:lnTo>
                  <a:lnTo>
                    <a:pt x="259" y="236"/>
                  </a:lnTo>
                  <a:lnTo>
                    <a:pt x="260" y="235"/>
                  </a:lnTo>
                  <a:lnTo>
                    <a:pt x="262" y="235"/>
                  </a:lnTo>
                  <a:lnTo>
                    <a:pt x="262" y="234"/>
                  </a:lnTo>
                  <a:lnTo>
                    <a:pt x="263" y="234"/>
                  </a:lnTo>
                  <a:lnTo>
                    <a:pt x="263" y="232"/>
                  </a:lnTo>
                  <a:lnTo>
                    <a:pt x="264" y="231"/>
                  </a:lnTo>
                  <a:lnTo>
                    <a:pt x="263" y="231"/>
                  </a:lnTo>
                  <a:lnTo>
                    <a:pt x="263" y="230"/>
                  </a:lnTo>
                  <a:lnTo>
                    <a:pt x="263" y="231"/>
                  </a:lnTo>
                  <a:lnTo>
                    <a:pt x="262" y="231"/>
                  </a:lnTo>
                  <a:lnTo>
                    <a:pt x="260" y="232"/>
                  </a:lnTo>
                  <a:lnTo>
                    <a:pt x="259" y="232"/>
                  </a:lnTo>
                  <a:lnTo>
                    <a:pt x="260" y="231"/>
                  </a:lnTo>
                  <a:lnTo>
                    <a:pt x="259" y="230"/>
                  </a:lnTo>
                  <a:lnTo>
                    <a:pt x="258" y="231"/>
                  </a:lnTo>
                  <a:lnTo>
                    <a:pt x="257" y="232"/>
                  </a:lnTo>
                  <a:lnTo>
                    <a:pt x="256" y="234"/>
                  </a:lnTo>
                  <a:lnTo>
                    <a:pt x="254" y="234"/>
                  </a:lnTo>
                  <a:lnTo>
                    <a:pt x="252" y="234"/>
                  </a:lnTo>
                  <a:lnTo>
                    <a:pt x="253" y="232"/>
                  </a:lnTo>
                  <a:lnTo>
                    <a:pt x="253" y="231"/>
                  </a:lnTo>
                  <a:lnTo>
                    <a:pt x="253" y="230"/>
                  </a:lnTo>
                  <a:lnTo>
                    <a:pt x="252" y="230"/>
                  </a:lnTo>
                  <a:lnTo>
                    <a:pt x="252" y="231"/>
                  </a:lnTo>
                  <a:lnTo>
                    <a:pt x="251" y="231"/>
                  </a:lnTo>
                  <a:lnTo>
                    <a:pt x="251" y="230"/>
                  </a:lnTo>
                  <a:lnTo>
                    <a:pt x="251" y="229"/>
                  </a:lnTo>
                  <a:lnTo>
                    <a:pt x="252" y="228"/>
                  </a:lnTo>
                  <a:lnTo>
                    <a:pt x="251" y="228"/>
                  </a:lnTo>
                  <a:lnTo>
                    <a:pt x="250" y="228"/>
                  </a:lnTo>
                  <a:lnTo>
                    <a:pt x="248" y="229"/>
                  </a:lnTo>
                  <a:lnTo>
                    <a:pt x="247" y="229"/>
                  </a:lnTo>
                  <a:lnTo>
                    <a:pt x="247" y="228"/>
                  </a:lnTo>
                  <a:lnTo>
                    <a:pt x="246" y="228"/>
                  </a:lnTo>
                  <a:lnTo>
                    <a:pt x="246" y="229"/>
                  </a:lnTo>
                  <a:lnTo>
                    <a:pt x="245" y="229"/>
                  </a:lnTo>
                  <a:lnTo>
                    <a:pt x="245" y="228"/>
                  </a:lnTo>
                  <a:lnTo>
                    <a:pt x="244" y="226"/>
                  </a:lnTo>
                  <a:lnTo>
                    <a:pt x="242" y="226"/>
                  </a:lnTo>
                  <a:lnTo>
                    <a:pt x="244" y="226"/>
                  </a:lnTo>
                  <a:lnTo>
                    <a:pt x="244" y="225"/>
                  </a:lnTo>
                  <a:lnTo>
                    <a:pt x="245" y="225"/>
                  </a:lnTo>
                  <a:lnTo>
                    <a:pt x="245" y="224"/>
                  </a:lnTo>
                  <a:lnTo>
                    <a:pt x="244" y="223"/>
                  </a:lnTo>
                  <a:lnTo>
                    <a:pt x="244" y="224"/>
                  </a:lnTo>
                  <a:lnTo>
                    <a:pt x="242" y="224"/>
                  </a:lnTo>
                  <a:lnTo>
                    <a:pt x="241" y="224"/>
                  </a:lnTo>
                  <a:lnTo>
                    <a:pt x="241" y="225"/>
                  </a:lnTo>
                  <a:lnTo>
                    <a:pt x="241" y="224"/>
                  </a:lnTo>
                  <a:lnTo>
                    <a:pt x="241" y="223"/>
                  </a:lnTo>
                  <a:lnTo>
                    <a:pt x="240" y="223"/>
                  </a:lnTo>
                  <a:lnTo>
                    <a:pt x="240" y="224"/>
                  </a:lnTo>
                  <a:lnTo>
                    <a:pt x="239" y="224"/>
                  </a:lnTo>
                  <a:lnTo>
                    <a:pt x="239" y="223"/>
                  </a:lnTo>
                  <a:lnTo>
                    <a:pt x="240" y="223"/>
                  </a:lnTo>
                  <a:lnTo>
                    <a:pt x="240" y="222"/>
                  </a:lnTo>
                  <a:lnTo>
                    <a:pt x="239" y="222"/>
                  </a:lnTo>
                  <a:lnTo>
                    <a:pt x="239" y="223"/>
                  </a:lnTo>
                  <a:lnTo>
                    <a:pt x="238" y="223"/>
                  </a:lnTo>
                  <a:lnTo>
                    <a:pt x="239" y="222"/>
                  </a:lnTo>
                  <a:lnTo>
                    <a:pt x="239" y="220"/>
                  </a:lnTo>
                  <a:lnTo>
                    <a:pt x="238" y="220"/>
                  </a:lnTo>
                  <a:lnTo>
                    <a:pt x="236" y="220"/>
                  </a:lnTo>
                  <a:lnTo>
                    <a:pt x="236" y="219"/>
                  </a:lnTo>
                  <a:lnTo>
                    <a:pt x="235" y="219"/>
                  </a:lnTo>
                  <a:lnTo>
                    <a:pt x="234" y="219"/>
                  </a:lnTo>
                  <a:lnTo>
                    <a:pt x="232" y="219"/>
                  </a:lnTo>
                  <a:lnTo>
                    <a:pt x="232" y="220"/>
                  </a:lnTo>
                  <a:lnTo>
                    <a:pt x="230" y="220"/>
                  </a:lnTo>
                  <a:lnTo>
                    <a:pt x="229" y="220"/>
                  </a:lnTo>
                  <a:lnTo>
                    <a:pt x="228" y="220"/>
                  </a:lnTo>
                  <a:lnTo>
                    <a:pt x="228" y="219"/>
                  </a:lnTo>
                  <a:lnTo>
                    <a:pt x="227" y="219"/>
                  </a:lnTo>
                  <a:lnTo>
                    <a:pt x="226" y="219"/>
                  </a:lnTo>
                  <a:lnTo>
                    <a:pt x="224" y="219"/>
                  </a:lnTo>
                  <a:lnTo>
                    <a:pt x="224" y="218"/>
                  </a:lnTo>
                  <a:lnTo>
                    <a:pt x="224" y="217"/>
                  </a:lnTo>
                  <a:lnTo>
                    <a:pt x="223" y="217"/>
                  </a:lnTo>
                  <a:lnTo>
                    <a:pt x="223" y="216"/>
                  </a:lnTo>
                  <a:lnTo>
                    <a:pt x="221" y="214"/>
                  </a:lnTo>
                  <a:lnTo>
                    <a:pt x="220" y="213"/>
                  </a:lnTo>
                  <a:lnTo>
                    <a:pt x="221" y="212"/>
                  </a:lnTo>
                  <a:lnTo>
                    <a:pt x="220" y="213"/>
                  </a:lnTo>
                  <a:lnTo>
                    <a:pt x="220" y="212"/>
                  </a:lnTo>
                  <a:lnTo>
                    <a:pt x="218" y="213"/>
                  </a:lnTo>
                  <a:lnTo>
                    <a:pt x="218" y="212"/>
                  </a:lnTo>
                  <a:lnTo>
                    <a:pt x="217" y="212"/>
                  </a:lnTo>
                  <a:lnTo>
                    <a:pt x="216" y="212"/>
                  </a:lnTo>
                  <a:lnTo>
                    <a:pt x="215" y="212"/>
                  </a:lnTo>
                  <a:lnTo>
                    <a:pt x="214" y="212"/>
                  </a:lnTo>
                  <a:lnTo>
                    <a:pt x="212" y="212"/>
                  </a:lnTo>
                  <a:lnTo>
                    <a:pt x="214" y="211"/>
                  </a:lnTo>
                  <a:lnTo>
                    <a:pt x="212" y="211"/>
                  </a:lnTo>
                  <a:lnTo>
                    <a:pt x="212" y="212"/>
                  </a:lnTo>
                  <a:lnTo>
                    <a:pt x="211" y="212"/>
                  </a:lnTo>
                  <a:lnTo>
                    <a:pt x="211" y="211"/>
                  </a:lnTo>
                  <a:lnTo>
                    <a:pt x="210" y="211"/>
                  </a:lnTo>
                  <a:lnTo>
                    <a:pt x="210" y="210"/>
                  </a:lnTo>
                  <a:lnTo>
                    <a:pt x="209" y="210"/>
                  </a:lnTo>
                  <a:lnTo>
                    <a:pt x="208" y="210"/>
                  </a:lnTo>
                  <a:lnTo>
                    <a:pt x="209" y="210"/>
                  </a:lnTo>
                  <a:lnTo>
                    <a:pt x="208" y="208"/>
                  </a:lnTo>
                  <a:lnTo>
                    <a:pt x="206" y="208"/>
                  </a:lnTo>
                  <a:lnTo>
                    <a:pt x="206" y="210"/>
                  </a:lnTo>
                  <a:lnTo>
                    <a:pt x="208" y="210"/>
                  </a:lnTo>
                  <a:lnTo>
                    <a:pt x="206" y="210"/>
                  </a:lnTo>
                  <a:lnTo>
                    <a:pt x="205" y="210"/>
                  </a:lnTo>
                  <a:lnTo>
                    <a:pt x="204" y="211"/>
                  </a:lnTo>
                  <a:lnTo>
                    <a:pt x="204" y="210"/>
                  </a:lnTo>
                  <a:lnTo>
                    <a:pt x="205" y="210"/>
                  </a:lnTo>
                  <a:lnTo>
                    <a:pt x="205" y="208"/>
                  </a:lnTo>
                  <a:lnTo>
                    <a:pt x="204" y="208"/>
                  </a:lnTo>
                  <a:lnTo>
                    <a:pt x="205" y="207"/>
                  </a:lnTo>
                  <a:lnTo>
                    <a:pt x="204" y="207"/>
                  </a:lnTo>
                  <a:lnTo>
                    <a:pt x="204" y="208"/>
                  </a:lnTo>
                  <a:lnTo>
                    <a:pt x="204" y="207"/>
                  </a:lnTo>
                  <a:lnTo>
                    <a:pt x="203" y="206"/>
                  </a:lnTo>
                  <a:lnTo>
                    <a:pt x="204" y="206"/>
                  </a:lnTo>
                  <a:lnTo>
                    <a:pt x="205" y="206"/>
                  </a:lnTo>
                  <a:lnTo>
                    <a:pt x="205" y="207"/>
                  </a:lnTo>
                  <a:lnTo>
                    <a:pt x="206" y="207"/>
                  </a:lnTo>
                  <a:lnTo>
                    <a:pt x="208" y="206"/>
                  </a:lnTo>
                  <a:lnTo>
                    <a:pt x="208" y="205"/>
                  </a:lnTo>
                  <a:lnTo>
                    <a:pt x="209" y="205"/>
                  </a:lnTo>
                  <a:lnTo>
                    <a:pt x="209" y="204"/>
                  </a:lnTo>
                  <a:lnTo>
                    <a:pt x="209" y="205"/>
                  </a:lnTo>
                  <a:lnTo>
                    <a:pt x="210" y="206"/>
                  </a:lnTo>
                  <a:lnTo>
                    <a:pt x="211" y="206"/>
                  </a:lnTo>
                  <a:lnTo>
                    <a:pt x="212" y="206"/>
                  </a:lnTo>
                  <a:lnTo>
                    <a:pt x="214" y="207"/>
                  </a:lnTo>
                  <a:lnTo>
                    <a:pt x="215" y="208"/>
                  </a:lnTo>
                  <a:lnTo>
                    <a:pt x="216" y="208"/>
                  </a:lnTo>
                  <a:lnTo>
                    <a:pt x="216" y="207"/>
                  </a:lnTo>
                  <a:lnTo>
                    <a:pt x="217" y="207"/>
                  </a:lnTo>
                  <a:lnTo>
                    <a:pt x="216" y="207"/>
                  </a:lnTo>
                  <a:lnTo>
                    <a:pt x="216" y="206"/>
                  </a:lnTo>
                  <a:lnTo>
                    <a:pt x="217" y="206"/>
                  </a:lnTo>
                  <a:lnTo>
                    <a:pt x="218" y="206"/>
                  </a:lnTo>
                  <a:lnTo>
                    <a:pt x="220" y="207"/>
                  </a:lnTo>
                  <a:lnTo>
                    <a:pt x="218" y="207"/>
                  </a:lnTo>
                  <a:lnTo>
                    <a:pt x="218" y="208"/>
                  </a:lnTo>
                  <a:lnTo>
                    <a:pt x="220" y="208"/>
                  </a:lnTo>
                  <a:lnTo>
                    <a:pt x="221" y="208"/>
                  </a:lnTo>
                  <a:lnTo>
                    <a:pt x="221" y="210"/>
                  </a:lnTo>
                  <a:lnTo>
                    <a:pt x="222" y="210"/>
                  </a:lnTo>
                  <a:lnTo>
                    <a:pt x="221" y="210"/>
                  </a:lnTo>
                  <a:lnTo>
                    <a:pt x="221" y="211"/>
                  </a:lnTo>
                  <a:lnTo>
                    <a:pt x="222" y="212"/>
                  </a:lnTo>
                  <a:lnTo>
                    <a:pt x="222" y="211"/>
                  </a:lnTo>
                  <a:lnTo>
                    <a:pt x="223" y="211"/>
                  </a:lnTo>
                  <a:lnTo>
                    <a:pt x="222" y="210"/>
                  </a:lnTo>
                  <a:lnTo>
                    <a:pt x="222" y="211"/>
                  </a:lnTo>
                  <a:lnTo>
                    <a:pt x="223" y="210"/>
                  </a:lnTo>
                  <a:lnTo>
                    <a:pt x="223" y="212"/>
                  </a:lnTo>
                  <a:lnTo>
                    <a:pt x="222" y="212"/>
                  </a:lnTo>
                  <a:lnTo>
                    <a:pt x="223" y="213"/>
                  </a:lnTo>
                  <a:lnTo>
                    <a:pt x="224" y="213"/>
                  </a:lnTo>
                  <a:lnTo>
                    <a:pt x="226" y="213"/>
                  </a:lnTo>
                  <a:lnTo>
                    <a:pt x="226" y="212"/>
                  </a:lnTo>
                  <a:lnTo>
                    <a:pt x="224" y="212"/>
                  </a:lnTo>
                  <a:lnTo>
                    <a:pt x="226" y="211"/>
                  </a:lnTo>
                  <a:lnTo>
                    <a:pt x="226" y="210"/>
                  </a:lnTo>
                  <a:lnTo>
                    <a:pt x="224" y="208"/>
                  </a:lnTo>
                  <a:lnTo>
                    <a:pt x="226" y="208"/>
                  </a:lnTo>
                  <a:lnTo>
                    <a:pt x="226" y="210"/>
                  </a:lnTo>
                  <a:lnTo>
                    <a:pt x="227" y="210"/>
                  </a:lnTo>
                  <a:lnTo>
                    <a:pt x="227" y="211"/>
                  </a:lnTo>
                  <a:lnTo>
                    <a:pt x="228" y="211"/>
                  </a:lnTo>
                  <a:lnTo>
                    <a:pt x="229" y="211"/>
                  </a:lnTo>
                  <a:lnTo>
                    <a:pt x="230" y="211"/>
                  </a:lnTo>
                  <a:lnTo>
                    <a:pt x="232" y="211"/>
                  </a:lnTo>
                  <a:lnTo>
                    <a:pt x="233" y="210"/>
                  </a:lnTo>
                  <a:lnTo>
                    <a:pt x="232" y="210"/>
                  </a:lnTo>
                  <a:lnTo>
                    <a:pt x="232" y="208"/>
                  </a:lnTo>
                  <a:lnTo>
                    <a:pt x="230" y="210"/>
                  </a:lnTo>
                  <a:lnTo>
                    <a:pt x="230" y="208"/>
                  </a:lnTo>
                  <a:lnTo>
                    <a:pt x="230" y="207"/>
                  </a:lnTo>
                  <a:lnTo>
                    <a:pt x="230" y="206"/>
                  </a:lnTo>
                  <a:lnTo>
                    <a:pt x="229" y="206"/>
                  </a:lnTo>
                  <a:lnTo>
                    <a:pt x="228" y="205"/>
                  </a:lnTo>
                  <a:lnTo>
                    <a:pt x="228" y="204"/>
                  </a:lnTo>
                  <a:lnTo>
                    <a:pt x="227" y="204"/>
                  </a:lnTo>
                  <a:lnTo>
                    <a:pt x="226" y="204"/>
                  </a:lnTo>
                  <a:lnTo>
                    <a:pt x="226" y="202"/>
                  </a:lnTo>
                  <a:lnTo>
                    <a:pt x="227" y="201"/>
                  </a:lnTo>
                  <a:lnTo>
                    <a:pt x="228" y="201"/>
                  </a:lnTo>
                  <a:lnTo>
                    <a:pt x="228" y="202"/>
                  </a:lnTo>
                  <a:lnTo>
                    <a:pt x="228" y="204"/>
                  </a:lnTo>
                  <a:lnTo>
                    <a:pt x="229" y="204"/>
                  </a:lnTo>
                  <a:lnTo>
                    <a:pt x="230" y="204"/>
                  </a:lnTo>
                  <a:lnTo>
                    <a:pt x="230" y="202"/>
                  </a:lnTo>
                  <a:lnTo>
                    <a:pt x="232" y="202"/>
                  </a:lnTo>
                  <a:lnTo>
                    <a:pt x="233" y="204"/>
                  </a:lnTo>
                  <a:lnTo>
                    <a:pt x="234" y="204"/>
                  </a:lnTo>
                  <a:lnTo>
                    <a:pt x="234" y="205"/>
                  </a:lnTo>
                  <a:lnTo>
                    <a:pt x="235" y="205"/>
                  </a:lnTo>
                  <a:lnTo>
                    <a:pt x="236" y="205"/>
                  </a:lnTo>
                  <a:lnTo>
                    <a:pt x="236" y="204"/>
                  </a:lnTo>
                  <a:lnTo>
                    <a:pt x="238" y="202"/>
                  </a:lnTo>
                  <a:lnTo>
                    <a:pt x="236" y="204"/>
                  </a:lnTo>
                  <a:lnTo>
                    <a:pt x="236" y="202"/>
                  </a:lnTo>
                  <a:lnTo>
                    <a:pt x="235" y="201"/>
                  </a:lnTo>
                  <a:lnTo>
                    <a:pt x="235" y="202"/>
                  </a:lnTo>
                  <a:lnTo>
                    <a:pt x="234" y="201"/>
                  </a:lnTo>
                  <a:lnTo>
                    <a:pt x="235" y="201"/>
                  </a:lnTo>
                  <a:lnTo>
                    <a:pt x="236" y="200"/>
                  </a:lnTo>
                  <a:lnTo>
                    <a:pt x="236" y="199"/>
                  </a:lnTo>
                  <a:lnTo>
                    <a:pt x="236" y="198"/>
                  </a:lnTo>
                  <a:lnTo>
                    <a:pt x="235" y="198"/>
                  </a:lnTo>
                  <a:lnTo>
                    <a:pt x="234" y="198"/>
                  </a:lnTo>
                  <a:lnTo>
                    <a:pt x="233" y="198"/>
                  </a:lnTo>
                  <a:lnTo>
                    <a:pt x="230" y="196"/>
                  </a:lnTo>
                  <a:lnTo>
                    <a:pt x="230" y="195"/>
                  </a:lnTo>
                  <a:lnTo>
                    <a:pt x="230" y="194"/>
                  </a:lnTo>
                  <a:lnTo>
                    <a:pt x="229" y="194"/>
                  </a:lnTo>
                  <a:lnTo>
                    <a:pt x="228" y="193"/>
                  </a:lnTo>
                  <a:lnTo>
                    <a:pt x="227" y="192"/>
                  </a:lnTo>
                  <a:lnTo>
                    <a:pt x="227" y="190"/>
                  </a:lnTo>
                  <a:lnTo>
                    <a:pt x="226" y="190"/>
                  </a:lnTo>
                  <a:lnTo>
                    <a:pt x="224" y="190"/>
                  </a:lnTo>
                  <a:lnTo>
                    <a:pt x="224" y="188"/>
                  </a:lnTo>
                  <a:lnTo>
                    <a:pt x="223" y="187"/>
                  </a:lnTo>
                  <a:lnTo>
                    <a:pt x="223" y="188"/>
                  </a:lnTo>
                  <a:lnTo>
                    <a:pt x="222" y="187"/>
                  </a:lnTo>
                  <a:lnTo>
                    <a:pt x="222" y="188"/>
                  </a:lnTo>
                  <a:lnTo>
                    <a:pt x="221" y="187"/>
                  </a:lnTo>
                  <a:lnTo>
                    <a:pt x="220" y="186"/>
                  </a:lnTo>
                  <a:lnTo>
                    <a:pt x="220" y="187"/>
                  </a:lnTo>
                  <a:lnTo>
                    <a:pt x="218" y="187"/>
                  </a:lnTo>
                  <a:lnTo>
                    <a:pt x="217" y="186"/>
                  </a:lnTo>
                  <a:lnTo>
                    <a:pt x="217" y="187"/>
                  </a:lnTo>
                  <a:lnTo>
                    <a:pt x="217" y="186"/>
                  </a:lnTo>
                  <a:lnTo>
                    <a:pt x="216" y="184"/>
                  </a:lnTo>
                  <a:lnTo>
                    <a:pt x="215" y="184"/>
                  </a:lnTo>
                  <a:lnTo>
                    <a:pt x="215" y="183"/>
                  </a:lnTo>
                  <a:lnTo>
                    <a:pt x="214" y="182"/>
                  </a:lnTo>
                  <a:lnTo>
                    <a:pt x="214" y="183"/>
                  </a:lnTo>
                  <a:lnTo>
                    <a:pt x="214" y="182"/>
                  </a:lnTo>
                  <a:lnTo>
                    <a:pt x="212" y="182"/>
                  </a:lnTo>
                  <a:lnTo>
                    <a:pt x="212" y="181"/>
                  </a:lnTo>
                  <a:lnTo>
                    <a:pt x="211" y="181"/>
                  </a:lnTo>
                  <a:lnTo>
                    <a:pt x="212" y="180"/>
                  </a:lnTo>
                  <a:lnTo>
                    <a:pt x="211" y="178"/>
                  </a:lnTo>
                  <a:lnTo>
                    <a:pt x="212" y="178"/>
                  </a:lnTo>
                  <a:lnTo>
                    <a:pt x="214" y="178"/>
                  </a:lnTo>
                  <a:lnTo>
                    <a:pt x="214" y="180"/>
                  </a:lnTo>
                  <a:lnTo>
                    <a:pt x="215" y="180"/>
                  </a:lnTo>
                  <a:lnTo>
                    <a:pt x="216" y="180"/>
                  </a:lnTo>
                  <a:lnTo>
                    <a:pt x="217" y="180"/>
                  </a:lnTo>
                  <a:lnTo>
                    <a:pt x="218" y="180"/>
                  </a:lnTo>
                  <a:lnTo>
                    <a:pt x="220" y="181"/>
                  </a:lnTo>
                  <a:lnTo>
                    <a:pt x="221" y="181"/>
                  </a:lnTo>
                  <a:lnTo>
                    <a:pt x="222" y="181"/>
                  </a:lnTo>
                  <a:lnTo>
                    <a:pt x="223" y="181"/>
                  </a:lnTo>
                  <a:lnTo>
                    <a:pt x="223" y="182"/>
                  </a:lnTo>
                  <a:lnTo>
                    <a:pt x="224" y="182"/>
                  </a:lnTo>
                  <a:lnTo>
                    <a:pt x="226" y="182"/>
                  </a:lnTo>
                  <a:lnTo>
                    <a:pt x="227" y="183"/>
                  </a:lnTo>
                  <a:lnTo>
                    <a:pt x="228" y="183"/>
                  </a:lnTo>
                  <a:lnTo>
                    <a:pt x="229" y="184"/>
                  </a:lnTo>
                  <a:lnTo>
                    <a:pt x="232" y="186"/>
                  </a:lnTo>
                  <a:lnTo>
                    <a:pt x="233" y="187"/>
                  </a:lnTo>
                  <a:lnTo>
                    <a:pt x="234" y="188"/>
                  </a:lnTo>
                  <a:lnTo>
                    <a:pt x="233" y="188"/>
                  </a:lnTo>
                  <a:lnTo>
                    <a:pt x="232" y="188"/>
                  </a:lnTo>
                  <a:lnTo>
                    <a:pt x="233" y="188"/>
                  </a:lnTo>
                  <a:lnTo>
                    <a:pt x="233" y="189"/>
                  </a:lnTo>
                  <a:lnTo>
                    <a:pt x="232" y="189"/>
                  </a:lnTo>
                  <a:lnTo>
                    <a:pt x="232" y="190"/>
                  </a:lnTo>
                  <a:lnTo>
                    <a:pt x="233" y="192"/>
                  </a:lnTo>
                  <a:lnTo>
                    <a:pt x="232" y="192"/>
                  </a:lnTo>
                  <a:lnTo>
                    <a:pt x="232" y="193"/>
                  </a:lnTo>
                  <a:lnTo>
                    <a:pt x="232" y="194"/>
                  </a:lnTo>
                  <a:lnTo>
                    <a:pt x="232" y="195"/>
                  </a:lnTo>
                  <a:lnTo>
                    <a:pt x="233" y="195"/>
                  </a:lnTo>
                  <a:lnTo>
                    <a:pt x="234" y="195"/>
                  </a:lnTo>
                  <a:lnTo>
                    <a:pt x="234" y="194"/>
                  </a:lnTo>
                  <a:lnTo>
                    <a:pt x="235" y="194"/>
                  </a:lnTo>
                  <a:lnTo>
                    <a:pt x="235" y="196"/>
                  </a:lnTo>
                  <a:lnTo>
                    <a:pt x="235" y="198"/>
                  </a:lnTo>
                  <a:lnTo>
                    <a:pt x="236" y="198"/>
                  </a:lnTo>
                  <a:lnTo>
                    <a:pt x="236" y="199"/>
                  </a:lnTo>
                  <a:lnTo>
                    <a:pt x="238" y="199"/>
                  </a:lnTo>
                  <a:lnTo>
                    <a:pt x="236" y="199"/>
                  </a:lnTo>
                  <a:lnTo>
                    <a:pt x="238" y="199"/>
                  </a:lnTo>
                  <a:lnTo>
                    <a:pt x="238" y="200"/>
                  </a:lnTo>
                  <a:lnTo>
                    <a:pt x="238" y="201"/>
                  </a:lnTo>
                  <a:lnTo>
                    <a:pt x="239" y="200"/>
                  </a:lnTo>
                  <a:lnTo>
                    <a:pt x="240" y="201"/>
                  </a:lnTo>
                  <a:lnTo>
                    <a:pt x="241" y="201"/>
                  </a:lnTo>
                  <a:lnTo>
                    <a:pt x="241" y="202"/>
                  </a:lnTo>
                  <a:lnTo>
                    <a:pt x="242" y="201"/>
                  </a:lnTo>
                  <a:lnTo>
                    <a:pt x="244" y="201"/>
                  </a:lnTo>
                  <a:lnTo>
                    <a:pt x="244" y="200"/>
                  </a:lnTo>
                  <a:lnTo>
                    <a:pt x="242" y="200"/>
                  </a:lnTo>
                  <a:lnTo>
                    <a:pt x="242" y="199"/>
                  </a:lnTo>
                  <a:lnTo>
                    <a:pt x="242" y="200"/>
                  </a:lnTo>
                  <a:lnTo>
                    <a:pt x="242" y="199"/>
                  </a:lnTo>
                  <a:lnTo>
                    <a:pt x="242" y="198"/>
                  </a:lnTo>
                  <a:lnTo>
                    <a:pt x="244" y="198"/>
                  </a:lnTo>
                  <a:lnTo>
                    <a:pt x="245" y="196"/>
                  </a:lnTo>
                  <a:lnTo>
                    <a:pt x="246" y="196"/>
                  </a:lnTo>
                  <a:lnTo>
                    <a:pt x="246" y="198"/>
                  </a:lnTo>
                  <a:lnTo>
                    <a:pt x="247" y="199"/>
                  </a:lnTo>
                  <a:lnTo>
                    <a:pt x="247" y="201"/>
                  </a:lnTo>
                  <a:lnTo>
                    <a:pt x="248" y="201"/>
                  </a:lnTo>
                  <a:lnTo>
                    <a:pt x="250" y="202"/>
                  </a:lnTo>
                  <a:lnTo>
                    <a:pt x="250" y="204"/>
                  </a:lnTo>
                  <a:lnTo>
                    <a:pt x="250" y="205"/>
                  </a:lnTo>
                  <a:lnTo>
                    <a:pt x="251" y="205"/>
                  </a:lnTo>
                  <a:lnTo>
                    <a:pt x="252" y="206"/>
                  </a:lnTo>
                  <a:lnTo>
                    <a:pt x="253" y="206"/>
                  </a:lnTo>
                  <a:lnTo>
                    <a:pt x="253" y="205"/>
                  </a:lnTo>
                  <a:lnTo>
                    <a:pt x="254" y="204"/>
                  </a:lnTo>
                  <a:lnTo>
                    <a:pt x="256" y="204"/>
                  </a:lnTo>
                  <a:lnTo>
                    <a:pt x="257" y="205"/>
                  </a:lnTo>
                  <a:lnTo>
                    <a:pt x="257" y="206"/>
                  </a:lnTo>
                  <a:lnTo>
                    <a:pt x="258" y="206"/>
                  </a:lnTo>
                  <a:lnTo>
                    <a:pt x="258" y="207"/>
                  </a:lnTo>
                  <a:lnTo>
                    <a:pt x="257" y="207"/>
                  </a:lnTo>
                  <a:lnTo>
                    <a:pt x="258" y="207"/>
                  </a:lnTo>
                  <a:lnTo>
                    <a:pt x="257" y="208"/>
                  </a:lnTo>
                  <a:lnTo>
                    <a:pt x="258" y="208"/>
                  </a:lnTo>
                  <a:lnTo>
                    <a:pt x="259" y="207"/>
                  </a:lnTo>
                  <a:lnTo>
                    <a:pt x="259" y="208"/>
                  </a:lnTo>
                  <a:lnTo>
                    <a:pt x="258" y="210"/>
                  </a:lnTo>
                  <a:lnTo>
                    <a:pt x="259" y="210"/>
                  </a:lnTo>
                  <a:lnTo>
                    <a:pt x="260" y="210"/>
                  </a:lnTo>
                  <a:lnTo>
                    <a:pt x="262" y="208"/>
                  </a:lnTo>
                  <a:lnTo>
                    <a:pt x="260" y="208"/>
                  </a:lnTo>
                  <a:lnTo>
                    <a:pt x="262" y="208"/>
                  </a:lnTo>
                  <a:lnTo>
                    <a:pt x="262" y="207"/>
                  </a:lnTo>
                  <a:lnTo>
                    <a:pt x="262" y="208"/>
                  </a:lnTo>
                  <a:lnTo>
                    <a:pt x="263" y="208"/>
                  </a:lnTo>
                  <a:lnTo>
                    <a:pt x="263" y="210"/>
                  </a:lnTo>
                  <a:lnTo>
                    <a:pt x="264" y="210"/>
                  </a:lnTo>
                  <a:lnTo>
                    <a:pt x="264" y="211"/>
                  </a:lnTo>
                  <a:lnTo>
                    <a:pt x="265" y="212"/>
                  </a:lnTo>
                  <a:lnTo>
                    <a:pt x="264" y="212"/>
                  </a:lnTo>
                  <a:lnTo>
                    <a:pt x="264" y="213"/>
                  </a:lnTo>
                  <a:lnTo>
                    <a:pt x="265" y="213"/>
                  </a:lnTo>
                  <a:lnTo>
                    <a:pt x="265" y="214"/>
                  </a:lnTo>
                  <a:lnTo>
                    <a:pt x="267" y="216"/>
                  </a:lnTo>
                  <a:lnTo>
                    <a:pt x="268" y="216"/>
                  </a:lnTo>
                  <a:lnTo>
                    <a:pt x="268" y="214"/>
                  </a:lnTo>
                  <a:lnTo>
                    <a:pt x="269" y="214"/>
                  </a:lnTo>
                  <a:lnTo>
                    <a:pt x="270" y="213"/>
                  </a:lnTo>
                  <a:lnTo>
                    <a:pt x="269" y="213"/>
                  </a:lnTo>
                  <a:lnTo>
                    <a:pt x="270" y="213"/>
                  </a:lnTo>
                  <a:lnTo>
                    <a:pt x="271" y="213"/>
                  </a:lnTo>
                  <a:lnTo>
                    <a:pt x="273" y="214"/>
                  </a:lnTo>
                  <a:lnTo>
                    <a:pt x="273" y="213"/>
                  </a:lnTo>
                  <a:lnTo>
                    <a:pt x="274" y="213"/>
                  </a:lnTo>
                  <a:lnTo>
                    <a:pt x="275" y="213"/>
                  </a:lnTo>
                  <a:lnTo>
                    <a:pt x="276" y="212"/>
                  </a:lnTo>
                  <a:lnTo>
                    <a:pt x="276" y="213"/>
                  </a:lnTo>
                  <a:lnTo>
                    <a:pt x="277" y="212"/>
                  </a:lnTo>
                  <a:lnTo>
                    <a:pt x="276" y="212"/>
                  </a:lnTo>
                  <a:lnTo>
                    <a:pt x="276" y="211"/>
                  </a:lnTo>
                  <a:lnTo>
                    <a:pt x="277" y="211"/>
                  </a:lnTo>
                  <a:lnTo>
                    <a:pt x="280" y="210"/>
                  </a:lnTo>
                  <a:lnTo>
                    <a:pt x="279" y="208"/>
                  </a:lnTo>
                  <a:lnTo>
                    <a:pt x="277" y="208"/>
                  </a:lnTo>
                  <a:lnTo>
                    <a:pt x="279" y="207"/>
                  </a:lnTo>
                  <a:lnTo>
                    <a:pt x="279" y="206"/>
                  </a:lnTo>
                  <a:lnTo>
                    <a:pt x="280" y="205"/>
                  </a:lnTo>
                  <a:lnTo>
                    <a:pt x="279" y="205"/>
                  </a:lnTo>
                  <a:lnTo>
                    <a:pt x="279" y="204"/>
                  </a:lnTo>
                  <a:lnTo>
                    <a:pt x="279" y="205"/>
                  </a:lnTo>
                  <a:lnTo>
                    <a:pt x="277" y="204"/>
                  </a:lnTo>
                  <a:lnTo>
                    <a:pt x="276" y="204"/>
                  </a:lnTo>
                  <a:lnTo>
                    <a:pt x="275" y="204"/>
                  </a:lnTo>
                  <a:lnTo>
                    <a:pt x="275" y="202"/>
                  </a:lnTo>
                  <a:lnTo>
                    <a:pt x="276" y="204"/>
                  </a:lnTo>
                  <a:lnTo>
                    <a:pt x="276" y="202"/>
                  </a:lnTo>
                  <a:lnTo>
                    <a:pt x="277" y="202"/>
                  </a:lnTo>
                  <a:lnTo>
                    <a:pt x="279" y="201"/>
                  </a:lnTo>
                  <a:lnTo>
                    <a:pt x="277" y="200"/>
                  </a:lnTo>
                  <a:lnTo>
                    <a:pt x="276" y="200"/>
                  </a:lnTo>
                  <a:lnTo>
                    <a:pt x="274" y="200"/>
                  </a:lnTo>
                  <a:lnTo>
                    <a:pt x="275" y="199"/>
                  </a:lnTo>
                  <a:lnTo>
                    <a:pt x="275" y="198"/>
                  </a:lnTo>
                  <a:lnTo>
                    <a:pt x="274" y="199"/>
                  </a:lnTo>
                  <a:lnTo>
                    <a:pt x="273" y="199"/>
                  </a:lnTo>
                  <a:lnTo>
                    <a:pt x="271" y="196"/>
                  </a:lnTo>
                  <a:lnTo>
                    <a:pt x="271" y="195"/>
                  </a:lnTo>
                  <a:lnTo>
                    <a:pt x="270" y="194"/>
                  </a:lnTo>
                  <a:lnTo>
                    <a:pt x="269" y="195"/>
                  </a:lnTo>
                  <a:lnTo>
                    <a:pt x="269" y="193"/>
                  </a:lnTo>
                  <a:lnTo>
                    <a:pt x="270" y="192"/>
                  </a:lnTo>
                  <a:lnTo>
                    <a:pt x="270" y="190"/>
                  </a:lnTo>
                  <a:lnTo>
                    <a:pt x="269" y="189"/>
                  </a:lnTo>
                  <a:lnTo>
                    <a:pt x="269" y="190"/>
                  </a:lnTo>
                  <a:lnTo>
                    <a:pt x="268" y="190"/>
                  </a:lnTo>
                  <a:lnTo>
                    <a:pt x="267" y="189"/>
                  </a:lnTo>
                  <a:lnTo>
                    <a:pt x="265" y="188"/>
                  </a:lnTo>
                  <a:lnTo>
                    <a:pt x="264" y="188"/>
                  </a:lnTo>
                  <a:lnTo>
                    <a:pt x="263" y="188"/>
                  </a:lnTo>
                  <a:lnTo>
                    <a:pt x="263" y="187"/>
                  </a:lnTo>
                  <a:lnTo>
                    <a:pt x="264" y="186"/>
                  </a:lnTo>
                  <a:lnTo>
                    <a:pt x="264" y="184"/>
                  </a:lnTo>
                  <a:lnTo>
                    <a:pt x="263" y="184"/>
                  </a:lnTo>
                  <a:lnTo>
                    <a:pt x="262" y="184"/>
                  </a:lnTo>
                  <a:lnTo>
                    <a:pt x="262" y="186"/>
                  </a:lnTo>
                  <a:lnTo>
                    <a:pt x="262" y="184"/>
                  </a:lnTo>
                  <a:lnTo>
                    <a:pt x="260" y="184"/>
                  </a:lnTo>
                  <a:lnTo>
                    <a:pt x="259" y="184"/>
                  </a:lnTo>
                  <a:lnTo>
                    <a:pt x="258" y="184"/>
                  </a:lnTo>
                  <a:lnTo>
                    <a:pt x="258" y="186"/>
                  </a:lnTo>
                  <a:lnTo>
                    <a:pt x="258" y="184"/>
                  </a:lnTo>
                  <a:lnTo>
                    <a:pt x="257" y="184"/>
                  </a:lnTo>
                  <a:lnTo>
                    <a:pt x="257" y="183"/>
                  </a:lnTo>
                  <a:lnTo>
                    <a:pt x="256" y="183"/>
                  </a:lnTo>
                  <a:lnTo>
                    <a:pt x="256" y="182"/>
                  </a:lnTo>
                  <a:lnTo>
                    <a:pt x="257" y="182"/>
                  </a:lnTo>
                  <a:lnTo>
                    <a:pt x="257" y="181"/>
                  </a:lnTo>
                  <a:lnTo>
                    <a:pt x="256" y="181"/>
                  </a:lnTo>
                  <a:lnTo>
                    <a:pt x="256" y="180"/>
                  </a:lnTo>
                  <a:lnTo>
                    <a:pt x="254" y="180"/>
                  </a:lnTo>
                  <a:lnTo>
                    <a:pt x="254" y="178"/>
                  </a:lnTo>
                  <a:lnTo>
                    <a:pt x="253" y="177"/>
                  </a:lnTo>
                  <a:lnTo>
                    <a:pt x="252" y="176"/>
                  </a:lnTo>
                  <a:lnTo>
                    <a:pt x="252" y="175"/>
                  </a:lnTo>
                  <a:lnTo>
                    <a:pt x="251" y="175"/>
                  </a:lnTo>
                  <a:lnTo>
                    <a:pt x="250" y="174"/>
                  </a:lnTo>
                  <a:lnTo>
                    <a:pt x="251" y="174"/>
                  </a:lnTo>
                  <a:lnTo>
                    <a:pt x="251" y="172"/>
                  </a:lnTo>
                  <a:lnTo>
                    <a:pt x="252" y="172"/>
                  </a:lnTo>
                  <a:lnTo>
                    <a:pt x="252" y="171"/>
                  </a:lnTo>
                  <a:lnTo>
                    <a:pt x="251" y="170"/>
                  </a:lnTo>
                  <a:lnTo>
                    <a:pt x="252" y="170"/>
                  </a:lnTo>
                  <a:lnTo>
                    <a:pt x="253" y="170"/>
                  </a:lnTo>
                  <a:lnTo>
                    <a:pt x="253" y="169"/>
                  </a:lnTo>
                  <a:lnTo>
                    <a:pt x="254" y="169"/>
                  </a:lnTo>
                  <a:lnTo>
                    <a:pt x="256" y="169"/>
                  </a:lnTo>
                  <a:lnTo>
                    <a:pt x="256" y="168"/>
                  </a:lnTo>
                  <a:lnTo>
                    <a:pt x="256" y="166"/>
                  </a:lnTo>
                  <a:lnTo>
                    <a:pt x="257" y="166"/>
                  </a:lnTo>
                  <a:lnTo>
                    <a:pt x="258" y="166"/>
                  </a:lnTo>
                  <a:lnTo>
                    <a:pt x="259" y="166"/>
                  </a:lnTo>
                  <a:lnTo>
                    <a:pt x="259" y="165"/>
                  </a:lnTo>
                  <a:lnTo>
                    <a:pt x="259" y="164"/>
                  </a:lnTo>
                  <a:lnTo>
                    <a:pt x="258" y="164"/>
                  </a:lnTo>
                  <a:lnTo>
                    <a:pt x="259" y="164"/>
                  </a:lnTo>
                  <a:lnTo>
                    <a:pt x="260" y="164"/>
                  </a:lnTo>
                  <a:lnTo>
                    <a:pt x="260" y="165"/>
                  </a:lnTo>
                  <a:lnTo>
                    <a:pt x="260" y="166"/>
                  </a:lnTo>
                  <a:lnTo>
                    <a:pt x="262" y="166"/>
                  </a:lnTo>
                  <a:lnTo>
                    <a:pt x="260" y="166"/>
                  </a:lnTo>
                  <a:lnTo>
                    <a:pt x="260" y="168"/>
                  </a:lnTo>
                  <a:lnTo>
                    <a:pt x="262" y="168"/>
                  </a:lnTo>
                  <a:lnTo>
                    <a:pt x="262" y="169"/>
                  </a:lnTo>
                  <a:lnTo>
                    <a:pt x="263" y="170"/>
                  </a:lnTo>
                  <a:lnTo>
                    <a:pt x="264" y="170"/>
                  </a:lnTo>
                  <a:lnTo>
                    <a:pt x="265" y="170"/>
                  </a:lnTo>
                  <a:lnTo>
                    <a:pt x="267" y="170"/>
                  </a:lnTo>
                  <a:lnTo>
                    <a:pt x="267" y="171"/>
                  </a:lnTo>
                  <a:lnTo>
                    <a:pt x="268" y="172"/>
                  </a:lnTo>
                  <a:lnTo>
                    <a:pt x="268" y="171"/>
                  </a:lnTo>
                  <a:lnTo>
                    <a:pt x="268" y="172"/>
                  </a:lnTo>
                  <a:lnTo>
                    <a:pt x="269" y="172"/>
                  </a:lnTo>
                  <a:lnTo>
                    <a:pt x="270" y="172"/>
                  </a:lnTo>
                  <a:lnTo>
                    <a:pt x="271" y="174"/>
                  </a:lnTo>
                  <a:lnTo>
                    <a:pt x="274" y="175"/>
                  </a:lnTo>
                  <a:lnTo>
                    <a:pt x="275" y="175"/>
                  </a:lnTo>
                  <a:lnTo>
                    <a:pt x="276" y="175"/>
                  </a:lnTo>
                  <a:lnTo>
                    <a:pt x="277" y="175"/>
                  </a:lnTo>
                  <a:lnTo>
                    <a:pt x="279" y="175"/>
                  </a:lnTo>
                  <a:lnTo>
                    <a:pt x="280" y="175"/>
                  </a:lnTo>
                  <a:lnTo>
                    <a:pt x="281" y="175"/>
                  </a:lnTo>
                  <a:lnTo>
                    <a:pt x="281" y="174"/>
                  </a:lnTo>
                  <a:lnTo>
                    <a:pt x="282" y="172"/>
                  </a:lnTo>
                  <a:lnTo>
                    <a:pt x="283" y="172"/>
                  </a:lnTo>
                  <a:lnTo>
                    <a:pt x="285" y="171"/>
                  </a:lnTo>
                  <a:lnTo>
                    <a:pt x="286" y="171"/>
                  </a:lnTo>
                  <a:lnTo>
                    <a:pt x="287" y="171"/>
                  </a:lnTo>
                  <a:lnTo>
                    <a:pt x="288" y="171"/>
                  </a:lnTo>
                  <a:lnTo>
                    <a:pt x="287" y="170"/>
                  </a:lnTo>
                  <a:lnTo>
                    <a:pt x="288" y="169"/>
                  </a:lnTo>
                  <a:lnTo>
                    <a:pt x="289" y="169"/>
                  </a:lnTo>
                  <a:lnTo>
                    <a:pt x="291" y="169"/>
                  </a:lnTo>
                  <a:lnTo>
                    <a:pt x="292" y="169"/>
                  </a:lnTo>
                  <a:lnTo>
                    <a:pt x="292" y="168"/>
                  </a:lnTo>
                  <a:lnTo>
                    <a:pt x="293" y="168"/>
                  </a:lnTo>
                  <a:lnTo>
                    <a:pt x="293" y="166"/>
                  </a:lnTo>
                  <a:lnTo>
                    <a:pt x="294" y="166"/>
                  </a:lnTo>
                  <a:lnTo>
                    <a:pt x="294" y="165"/>
                  </a:lnTo>
                  <a:lnTo>
                    <a:pt x="293" y="165"/>
                  </a:lnTo>
                  <a:lnTo>
                    <a:pt x="293" y="164"/>
                  </a:lnTo>
                  <a:lnTo>
                    <a:pt x="293" y="163"/>
                  </a:lnTo>
                  <a:lnTo>
                    <a:pt x="294" y="163"/>
                  </a:lnTo>
                  <a:lnTo>
                    <a:pt x="293" y="162"/>
                  </a:lnTo>
                  <a:lnTo>
                    <a:pt x="292" y="162"/>
                  </a:lnTo>
                  <a:lnTo>
                    <a:pt x="293" y="162"/>
                  </a:lnTo>
                  <a:lnTo>
                    <a:pt x="294" y="162"/>
                  </a:lnTo>
                  <a:lnTo>
                    <a:pt x="295" y="163"/>
                  </a:lnTo>
                  <a:lnTo>
                    <a:pt x="295" y="164"/>
                  </a:lnTo>
                  <a:lnTo>
                    <a:pt x="297" y="164"/>
                  </a:lnTo>
                  <a:lnTo>
                    <a:pt x="298" y="164"/>
                  </a:lnTo>
                  <a:lnTo>
                    <a:pt x="299" y="164"/>
                  </a:lnTo>
                  <a:lnTo>
                    <a:pt x="300" y="164"/>
                  </a:lnTo>
                  <a:lnTo>
                    <a:pt x="301" y="164"/>
                  </a:lnTo>
                  <a:lnTo>
                    <a:pt x="303" y="162"/>
                  </a:lnTo>
                  <a:lnTo>
                    <a:pt x="303" y="160"/>
                  </a:lnTo>
                  <a:lnTo>
                    <a:pt x="305" y="158"/>
                  </a:lnTo>
                  <a:lnTo>
                    <a:pt x="304" y="158"/>
                  </a:lnTo>
                  <a:lnTo>
                    <a:pt x="305" y="157"/>
                  </a:lnTo>
                  <a:lnTo>
                    <a:pt x="305" y="154"/>
                  </a:lnTo>
                  <a:lnTo>
                    <a:pt x="304" y="154"/>
                  </a:lnTo>
                  <a:lnTo>
                    <a:pt x="303" y="1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6" name="Freeform 69"/>
            <p:cNvSpPr>
              <a:spLocks/>
            </p:cNvSpPr>
            <p:nvPr userDrawn="1"/>
          </p:nvSpPr>
          <p:spPr bwMode="auto">
            <a:xfrm>
              <a:off x="5962650" y="6515101"/>
              <a:ext cx="2976563" cy="144463"/>
            </a:xfrm>
            <a:custGeom>
              <a:avLst/>
              <a:gdLst/>
              <a:ahLst/>
              <a:cxnLst>
                <a:cxn ang="0">
                  <a:pos x="25" y="436"/>
                </a:cxn>
                <a:cxn ang="0">
                  <a:pos x="154" y="358"/>
                </a:cxn>
                <a:cxn ang="0">
                  <a:pos x="302" y="286"/>
                </a:cxn>
                <a:cxn ang="0">
                  <a:pos x="395" y="246"/>
                </a:cxn>
                <a:cxn ang="0">
                  <a:pos x="556" y="188"/>
                </a:cxn>
                <a:cxn ang="0">
                  <a:pos x="680" y="150"/>
                </a:cxn>
                <a:cxn ang="0">
                  <a:pos x="888" y="99"/>
                </a:cxn>
                <a:cxn ang="0">
                  <a:pos x="1042" y="71"/>
                </a:cxn>
                <a:cxn ang="0">
                  <a:pos x="1208" y="47"/>
                </a:cxn>
                <a:cxn ang="0">
                  <a:pos x="1387" y="30"/>
                </a:cxn>
                <a:cxn ang="0">
                  <a:pos x="1577" y="21"/>
                </a:cxn>
                <a:cxn ang="0">
                  <a:pos x="2005" y="19"/>
                </a:cxn>
                <a:cxn ang="0">
                  <a:pos x="2476" y="27"/>
                </a:cxn>
                <a:cxn ang="0">
                  <a:pos x="2960" y="44"/>
                </a:cxn>
                <a:cxn ang="0">
                  <a:pos x="3842" y="86"/>
                </a:cxn>
                <a:cxn ang="0">
                  <a:pos x="4485" y="126"/>
                </a:cxn>
                <a:cxn ang="0">
                  <a:pos x="4908" y="114"/>
                </a:cxn>
                <a:cxn ang="0">
                  <a:pos x="5281" y="99"/>
                </a:cxn>
                <a:cxn ang="0">
                  <a:pos x="5621" y="78"/>
                </a:cxn>
                <a:cxn ang="0">
                  <a:pos x="6421" y="17"/>
                </a:cxn>
                <a:cxn ang="0">
                  <a:pos x="6840" y="0"/>
                </a:cxn>
                <a:cxn ang="0">
                  <a:pos x="7011" y="1"/>
                </a:cxn>
                <a:cxn ang="0">
                  <a:pos x="7112" y="8"/>
                </a:cxn>
                <a:cxn ang="0">
                  <a:pos x="7541" y="77"/>
                </a:cxn>
                <a:cxn ang="0">
                  <a:pos x="8314" y="210"/>
                </a:cxn>
                <a:cxn ang="0">
                  <a:pos x="8947" y="326"/>
                </a:cxn>
                <a:cxn ang="0">
                  <a:pos x="9373" y="407"/>
                </a:cxn>
                <a:cxn ang="0">
                  <a:pos x="8201" y="412"/>
                </a:cxn>
                <a:cxn ang="0">
                  <a:pos x="7029" y="418"/>
                </a:cxn>
                <a:cxn ang="0">
                  <a:pos x="5858" y="424"/>
                </a:cxn>
                <a:cxn ang="0">
                  <a:pos x="4686" y="430"/>
                </a:cxn>
                <a:cxn ang="0">
                  <a:pos x="3515" y="435"/>
                </a:cxn>
                <a:cxn ang="0">
                  <a:pos x="2343" y="441"/>
                </a:cxn>
                <a:cxn ang="0">
                  <a:pos x="1172" y="447"/>
                </a:cxn>
                <a:cxn ang="0">
                  <a:pos x="0" y="453"/>
                </a:cxn>
              </a:cxnLst>
              <a:rect l="0" t="0" r="r" b="b"/>
              <a:pathLst>
                <a:path w="9373" h="453">
                  <a:moveTo>
                    <a:pt x="0" y="453"/>
                  </a:moveTo>
                  <a:lnTo>
                    <a:pt x="25" y="436"/>
                  </a:lnTo>
                  <a:lnTo>
                    <a:pt x="99" y="389"/>
                  </a:lnTo>
                  <a:lnTo>
                    <a:pt x="154" y="358"/>
                  </a:lnTo>
                  <a:lnTo>
                    <a:pt x="223" y="323"/>
                  </a:lnTo>
                  <a:lnTo>
                    <a:pt x="302" y="286"/>
                  </a:lnTo>
                  <a:lnTo>
                    <a:pt x="347" y="267"/>
                  </a:lnTo>
                  <a:lnTo>
                    <a:pt x="395" y="246"/>
                  </a:lnTo>
                  <a:lnTo>
                    <a:pt x="500" y="208"/>
                  </a:lnTo>
                  <a:lnTo>
                    <a:pt x="556" y="188"/>
                  </a:lnTo>
                  <a:lnTo>
                    <a:pt x="617" y="169"/>
                  </a:lnTo>
                  <a:lnTo>
                    <a:pt x="680" y="150"/>
                  </a:lnTo>
                  <a:lnTo>
                    <a:pt x="747" y="132"/>
                  </a:lnTo>
                  <a:lnTo>
                    <a:pt x="888" y="99"/>
                  </a:lnTo>
                  <a:lnTo>
                    <a:pt x="963" y="84"/>
                  </a:lnTo>
                  <a:lnTo>
                    <a:pt x="1042" y="71"/>
                  </a:lnTo>
                  <a:lnTo>
                    <a:pt x="1124" y="57"/>
                  </a:lnTo>
                  <a:lnTo>
                    <a:pt x="1208" y="47"/>
                  </a:lnTo>
                  <a:lnTo>
                    <a:pt x="1296" y="38"/>
                  </a:lnTo>
                  <a:lnTo>
                    <a:pt x="1387" y="30"/>
                  </a:lnTo>
                  <a:lnTo>
                    <a:pt x="1481" y="25"/>
                  </a:lnTo>
                  <a:lnTo>
                    <a:pt x="1577" y="21"/>
                  </a:lnTo>
                  <a:lnTo>
                    <a:pt x="1783" y="19"/>
                  </a:lnTo>
                  <a:lnTo>
                    <a:pt x="2005" y="19"/>
                  </a:lnTo>
                  <a:lnTo>
                    <a:pt x="2236" y="23"/>
                  </a:lnTo>
                  <a:lnTo>
                    <a:pt x="2476" y="27"/>
                  </a:lnTo>
                  <a:lnTo>
                    <a:pt x="2718" y="35"/>
                  </a:lnTo>
                  <a:lnTo>
                    <a:pt x="2960" y="44"/>
                  </a:lnTo>
                  <a:lnTo>
                    <a:pt x="3426" y="65"/>
                  </a:lnTo>
                  <a:lnTo>
                    <a:pt x="3842" y="86"/>
                  </a:lnTo>
                  <a:lnTo>
                    <a:pt x="4178" y="107"/>
                  </a:lnTo>
                  <a:lnTo>
                    <a:pt x="4485" y="126"/>
                  </a:lnTo>
                  <a:lnTo>
                    <a:pt x="4608" y="124"/>
                  </a:lnTo>
                  <a:lnTo>
                    <a:pt x="4908" y="114"/>
                  </a:lnTo>
                  <a:lnTo>
                    <a:pt x="5092" y="108"/>
                  </a:lnTo>
                  <a:lnTo>
                    <a:pt x="5281" y="99"/>
                  </a:lnTo>
                  <a:lnTo>
                    <a:pt x="5462" y="89"/>
                  </a:lnTo>
                  <a:lnTo>
                    <a:pt x="5621" y="78"/>
                  </a:lnTo>
                  <a:lnTo>
                    <a:pt x="5982" y="47"/>
                  </a:lnTo>
                  <a:lnTo>
                    <a:pt x="6421" y="17"/>
                  </a:lnTo>
                  <a:lnTo>
                    <a:pt x="6639" y="5"/>
                  </a:lnTo>
                  <a:lnTo>
                    <a:pt x="6840" y="0"/>
                  </a:lnTo>
                  <a:lnTo>
                    <a:pt x="6929" y="0"/>
                  </a:lnTo>
                  <a:lnTo>
                    <a:pt x="7011" y="1"/>
                  </a:lnTo>
                  <a:lnTo>
                    <a:pt x="7081" y="6"/>
                  </a:lnTo>
                  <a:lnTo>
                    <a:pt x="7112" y="8"/>
                  </a:lnTo>
                  <a:lnTo>
                    <a:pt x="7140" y="12"/>
                  </a:lnTo>
                  <a:lnTo>
                    <a:pt x="7541" y="77"/>
                  </a:lnTo>
                  <a:lnTo>
                    <a:pt x="7937" y="144"/>
                  </a:lnTo>
                  <a:lnTo>
                    <a:pt x="8314" y="210"/>
                  </a:lnTo>
                  <a:lnTo>
                    <a:pt x="8656" y="271"/>
                  </a:lnTo>
                  <a:lnTo>
                    <a:pt x="8947" y="326"/>
                  </a:lnTo>
                  <a:lnTo>
                    <a:pt x="9175" y="369"/>
                  </a:lnTo>
                  <a:lnTo>
                    <a:pt x="9373" y="407"/>
                  </a:lnTo>
                  <a:lnTo>
                    <a:pt x="8787" y="410"/>
                  </a:lnTo>
                  <a:lnTo>
                    <a:pt x="8201" y="412"/>
                  </a:lnTo>
                  <a:lnTo>
                    <a:pt x="7614" y="414"/>
                  </a:lnTo>
                  <a:lnTo>
                    <a:pt x="7029" y="418"/>
                  </a:lnTo>
                  <a:lnTo>
                    <a:pt x="6443" y="420"/>
                  </a:lnTo>
                  <a:lnTo>
                    <a:pt x="5858" y="424"/>
                  </a:lnTo>
                  <a:lnTo>
                    <a:pt x="5271" y="426"/>
                  </a:lnTo>
                  <a:lnTo>
                    <a:pt x="4686" y="430"/>
                  </a:lnTo>
                  <a:lnTo>
                    <a:pt x="4100" y="433"/>
                  </a:lnTo>
                  <a:lnTo>
                    <a:pt x="3515" y="435"/>
                  </a:lnTo>
                  <a:lnTo>
                    <a:pt x="2928" y="437"/>
                  </a:lnTo>
                  <a:lnTo>
                    <a:pt x="2343" y="441"/>
                  </a:lnTo>
                  <a:lnTo>
                    <a:pt x="1757" y="443"/>
                  </a:lnTo>
                  <a:lnTo>
                    <a:pt x="1172" y="447"/>
                  </a:lnTo>
                  <a:lnTo>
                    <a:pt x="585" y="449"/>
                  </a:lnTo>
                  <a:lnTo>
                    <a:pt x="0" y="45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7" name="Freeform 70"/>
            <p:cNvSpPr>
              <a:spLocks/>
            </p:cNvSpPr>
            <p:nvPr userDrawn="1"/>
          </p:nvSpPr>
          <p:spPr bwMode="auto">
            <a:xfrm>
              <a:off x="6608763" y="6438901"/>
              <a:ext cx="2020888" cy="225425"/>
            </a:xfrm>
            <a:custGeom>
              <a:avLst/>
              <a:gdLst/>
              <a:ahLst/>
              <a:cxnLst>
                <a:cxn ang="0">
                  <a:pos x="53" y="521"/>
                </a:cxn>
                <a:cxn ang="0">
                  <a:pos x="115" y="517"/>
                </a:cxn>
                <a:cxn ang="0">
                  <a:pos x="205" y="489"/>
                </a:cxn>
                <a:cxn ang="0">
                  <a:pos x="323" y="427"/>
                </a:cxn>
                <a:cxn ang="0">
                  <a:pos x="416" y="380"/>
                </a:cxn>
                <a:cxn ang="0">
                  <a:pos x="480" y="354"/>
                </a:cxn>
                <a:cxn ang="0">
                  <a:pos x="554" y="337"/>
                </a:cxn>
                <a:cxn ang="0">
                  <a:pos x="673" y="330"/>
                </a:cxn>
                <a:cxn ang="0">
                  <a:pos x="923" y="330"/>
                </a:cxn>
                <a:cxn ang="0">
                  <a:pos x="1322" y="341"/>
                </a:cxn>
                <a:cxn ang="0">
                  <a:pos x="1705" y="346"/>
                </a:cxn>
                <a:cxn ang="0">
                  <a:pos x="1948" y="330"/>
                </a:cxn>
                <a:cxn ang="0">
                  <a:pos x="2194" y="296"/>
                </a:cxn>
                <a:cxn ang="0">
                  <a:pos x="3062" y="160"/>
                </a:cxn>
                <a:cxn ang="0">
                  <a:pos x="3779" y="52"/>
                </a:cxn>
                <a:cxn ang="0">
                  <a:pos x="4065" y="16"/>
                </a:cxn>
                <a:cxn ang="0">
                  <a:pos x="4267" y="0"/>
                </a:cxn>
                <a:cxn ang="0">
                  <a:pos x="4399" y="9"/>
                </a:cxn>
                <a:cxn ang="0">
                  <a:pos x="4573" y="35"/>
                </a:cxn>
                <a:cxn ang="0">
                  <a:pos x="4854" y="89"/>
                </a:cxn>
                <a:cxn ang="0">
                  <a:pos x="5322" y="193"/>
                </a:cxn>
                <a:cxn ang="0">
                  <a:pos x="6010" y="349"/>
                </a:cxn>
                <a:cxn ang="0">
                  <a:pos x="6141" y="372"/>
                </a:cxn>
                <a:cxn ang="0">
                  <a:pos x="6197" y="378"/>
                </a:cxn>
                <a:cxn ang="0">
                  <a:pos x="6283" y="374"/>
                </a:cxn>
                <a:cxn ang="0">
                  <a:pos x="6327" y="379"/>
                </a:cxn>
                <a:cxn ang="0">
                  <a:pos x="6354" y="392"/>
                </a:cxn>
                <a:cxn ang="0">
                  <a:pos x="6365" y="412"/>
                </a:cxn>
                <a:cxn ang="0">
                  <a:pos x="6360" y="436"/>
                </a:cxn>
                <a:cxn ang="0">
                  <a:pos x="6344" y="463"/>
                </a:cxn>
                <a:cxn ang="0">
                  <a:pos x="6287" y="526"/>
                </a:cxn>
                <a:cxn ang="0">
                  <a:pos x="6211" y="591"/>
                </a:cxn>
                <a:cxn ang="0">
                  <a:pos x="6048" y="706"/>
                </a:cxn>
                <a:cxn ang="0">
                  <a:pos x="4390" y="691"/>
                </a:cxn>
                <a:cxn ang="0">
                  <a:pos x="2732" y="676"/>
                </a:cxn>
                <a:cxn ang="0">
                  <a:pos x="1739" y="680"/>
                </a:cxn>
                <a:cxn ang="0">
                  <a:pos x="747" y="685"/>
                </a:cxn>
                <a:cxn ang="0">
                  <a:pos x="62" y="529"/>
                </a:cxn>
                <a:cxn ang="0">
                  <a:pos x="0" y="513"/>
                </a:cxn>
              </a:cxnLst>
              <a:rect l="0" t="0" r="r" b="b"/>
              <a:pathLst>
                <a:path w="6365" h="706">
                  <a:moveTo>
                    <a:pt x="21" y="516"/>
                  </a:moveTo>
                  <a:lnTo>
                    <a:pt x="53" y="521"/>
                  </a:lnTo>
                  <a:lnTo>
                    <a:pt x="85" y="521"/>
                  </a:lnTo>
                  <a:lnTo>
                    <a:pt x="115" y="517"/>
                  </a:lnTo>
                  <a:lnTo>
                    <a:pt x="145" y="510"/>
                  </a:lnTo>
                  <a:lnTo>
                    <a:pt x="205" y="489"/>
                  </a:lnTo>
                  <a:lnTo>
                    <a:pt x="264" y="460"/>
                  </a:lnTo>
                  <a:lnTo>
                    <a:pt x="323" y="427"/>
                  </a:lnTo>
                  <a:lnTo>
                    <a:pt x="384" y="395"/>
                  </a:lnTo>
                  <a:lnTo>
                    <a:pt x="416" y="380"/>
                  </a:lnTo>
                  <a:lnTo>
                    <a:pt x="447" y="366"/>
                  </a:lnTo>
                  <a:lnTo>
                    <a:pt x="480" y="354"/>
                  </a:lnTo>
                  <a:lnTo>
                    <a:pt x="513" y="344"/>
                  </a:lnTo>
                  <a:lnTo>
                    <a:pt x="554" y="337"/>
                  </a:lnTo>
                  <a:lnTo>
                    <a:pt x="608" y="332"/>
                  </a:lnTo>
                  <a:lnTo>
                    <a:pt x="673" y="330"/>
                  </a:lnTo>
                  <a:lnTo>
                    <a:pt x="749" y="329"/>
                  </a:lnTo>
                  <a:lnTo>
                    <a:pt x="923" y="330"/>
                  </a:lnTo>
                  <a:lnTo>
                    <a:pt x="1118" y="336"/>
                  </a:lnTo>
                  <a:lnTo>
                    <a:pt x="1322" y="341"/>
                  </a:lnTo>
                  <a:lnTo>
                    <a:pt x="1522" y="346"/>
                  </a:lnTo>
                  <a:lnTo>
                    <a:pt x="1705" y="346"/>
                  </a:lnTo>
                  <a:lnTo>
                    <a:pt x="1861" y="338"/>
                  </a:lnTo>
                  <a:lnTo>
                    <a:pt x="1948" y="330"/>
                  </a:lnTo>
                  <a:lnTo>
                    <a:pt x="2060" y="315"/>
                  </a:lnTo>
                  <a:lnTo>
                    <a:pt x="2194" y="296"/>
                  </a:lnTo>
                  <a:lnTo>
                    <a:pt x="2347" y="273"/>
                  </a:lnTo>
                  <a:lnTo>
                    <a:pt x="3062" y="160"/>
                  </a:lnTo>
                  <a:lnTo>
                    <a:pt x="3434" y="103"/>
                  </a:lnTo>
                  <a:lnTo>
                    <a:pt x="3779" y="52"/>
                  </a:lnTo>
                  <a:lnTo>
                    <a:pt x="3930" y="32"/>
                  </a:lnTo>
                  <a:lnTo>
                    <a:pt x="4065" y="16"/>
                  </a:lnTo>
                  <a:lnTo>
                    <a:pt x="4180" y="5"/>
                  </a:lnTo>
                  <a:lnTo>
                    <a:pt x="4267" y="0"/>
                  </a:lnTo>
                  <a:lnTo>
                    <a:pt x="4349" y="4"/>
                  </a:lnTo>
                  <a:lnTo>
                    <a:pt x="4399" y="9"/>
                  </a:lnTo>
                  <a:lnTo>
                    <a:pt x="4452" y="16"/>
                  </a:lnTo>
                  <a:lnTo>
                    <a:pt x="4573" y="35"/>
                  </a:lnTo>
                  <a:lnTo>
                    <a:pt x="4708" y="59"/>
                  </a:lnTo>
                  <a:lnTo>
                    <a:pt x="4854" y="89"/>
                  </a:lnTo>
                  <a:lnTo>
                    <a:pt x="5007" y="122"/>
                  </a:lnTo>
                  <a:lnTo>
                    <a:pt x="5322" y="193"/>
                  </a:lnTo>
                  <a:lnTo>
                    <a:pt x="5898" y="325"/>
                  </a:lnTo>
                  <a:lnTo>
                    <a:pt x="6010" y="349"/>
                  </a:lnTo>
                  <a:lnTo>
                    <a:pt x="6102" y="366"/>
                  </a:lnTo>
                  <a:lnTo>
                    <a:pt x="6141" y="372"/>
                  </a:lnTo>
                  <a:lnTo>
                    <a:pt x="6172" y="376"/>
                  </a:lnTo>
                  <a:lnTo>
                    <a:pt x="6197" y="378"/>
                  </a:lnTo>
                  <a:lnTo>
                    <a:pt x="6217" y="378"/>
                  </a:lnTo>
                  <a:lnTo>
                    <a:pt x="6283" y="374"/>
                  </a:lnTo>
                  <a:lnTo>
                    <a:pt x="6307" y="376"/>
                  </a:lnTo>
                  <a:lnTo>
                    <a:pt x="6327" y="379"/>
                  </a:lnTo>
                  <a:lnTo>
                    <a:pt x="6343" y="385"/>
                  </a:lnTo>
                  <a:lnTo>
                    <a:pt x="6354" y="392"/>
                  </a:lnTo>
                  <a:lnTo>
                    <a:pt x="6361" y="401"/>
                  </a:lnTo>
                  <a:lnTo>
                    <a:pt x="6365" y="412"/>
                  </a:lnTo>
                  <a:lnTo>
                    <a:pt x="6364" y="422"/>
                  </a:lnTo>
                  <a:lnTo>
                    <a:pt x="6360" y="436"/>
                  </a:lnTo>
                  <a:lnTo>
                    <a:pt x="6354" y="449"/>
                  </a:lnTo>
                  <a:lnTo>
                    <a:pt x="6344" y="463"/>
                  </a:lnTo>
                  <a:lnTo>
                    <a:pt x="6319" y="493"/>
                  </a:lnTo>
                  <a:lnTo>
                    <a:pt x="6287" y="526"/>
                  </a:lnTo>
                  <a:lnTo>
                    <a:pt x="6250" y="559"/>
                  </a:lnTo>
                  <a:lnTo>
                    <a:pt x="6211" y="591"/>
                  </a:lnTo>
                  <a:lnTo>
                    <a:pt x="6132" y="648"/>
                  </a:lnTo>
                  <a:lnTo>
                    <a:pt x="6048" y="706"/>
                  </a:lnTo>
                  <a:lnTo>
                    <a:pt x="5219" y="698"/>
                  </a:lnTo>
                  <a:lnTo>
                    <a:pt x="4390" y="691"/>
                  </a:lnTo>
                  <a:lnTo>
                    <a:pt x="3561" y="683"/>
                  </a:lnTo>
                  <a:lnTo>
                    <a:pt x="2732" y="676"/>
                  </a:lnTo>
                  <a:lnTo>
                    <a:pt x="2235" y="677"/>
                  </a:lnTo>
                  <a:lnTo>
                    <a:pt x="1739" y="680"/>
                  </a:lnTo>
                  <a:lnTo>
                    <a:pt x="1243" y="682"/>
                  </a:lnTo>
                  <a:lnTo>
                    <a:pt x="747" y="685"/>
                  </a:lnTo>
                  <a:lnTo>
                    <a:pt x="319" y="588"/>
                  </a:lnTo>
                  <a:lnTo>
                    <a:pt x="62" y="529"/>
                  </a:lnTo>
                  <a:lnTo>
                    <a:pt x="3" y="515"/>
                  </a:lnTo>
                  <a:lnTo>
                    <a:pt x="0" y="513"/>
                  </a:lnTo>
                  <a:lnTo>
                    <a:pt x="21" y="5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8" name="Freeform 71"/>
            <p:cNvSpPr>
              <a:spLocks/>
            </p:cNvSpPr>
            <p:nvPr userDrawn="1"/>
          </p:nvSpPr>
          <p:spPr bwMode="auto">
            <a:xfrm>
              <a:off x="6940550" y="6437313"/>
              <a:ext cx="165100" cy="203200"/>
            </a:xfrm>
            <a:custGeom>
              <a:avLst/>
              <a:gdLst/>
              <a:ahLst/>
              <a:cxnLst>
                <a:cxn ang="0">
                  <a:pos x="243" y="410"/>
                </a:cxn>
                <a:cxn ang="0">
                  <a:pos x="230" y="392"/>
                </a:cxn>
                <a:cxn ang="0">
                  <a:pos x="227" y="366"/>
                </a:cxn>
                <a:cxn ang="0">
                  <a:pos x="248" y="352"/>
                </a:cxn>
                <a:cxn ang="0">
                  <a:pos x="206" y="384"/>
                </a:cxn>
                <a:cxn ang="0">
                  <a:pos x="225" y="430"/>
                </a:cxn>
                <a:cxn ang="0">
                  <a:pos x="215" y="404"/>
                </a:cxn>
                <a:cxn ang="0">
                  <a:pos x="186" y="412"/>
                </a:cxn>
                <a:cxn ang="0">
                  <a:pos x="157" y="408"/>
                </a:cxn>
                <a:cxn ang="0">
                  <a:pos x="132" y="397"/>
                </a:cxn>
                <a:cxn ang="0">
                  <a:pos x="118" y="409"/>
                </a:cxn>
                <a:cxn ang="0">
                  <a:pos x="100" y="421"/>
                </a:cxn>
                <a:cxn ang="0">
                  <a:pos x="77" y="404"/>
                </a:cxn>
                <a:cxn ang="0">
                  <a:pos x="13" y="419"/>
                </a:cxn>
                <a:cxn ang="0">
                  <a:pos x="43" y="376"/>
                </a:cxn>
                <a:cxn ang="0">
                  <a:pos x="19" y="354"/>
                </a:cxn>
                <a:cxn ang="0">
                  <a:pos x="9" y="329"/>
                </a:cxn>
                <a:cxn ang="0">
                  <a:pos x="6" y="291"/>
                </a:cxn>
                <a:cxn ang="0">
                  <a:pos x="53" y="285"/>
                </a:cxn>
                <a:cxn ang="0">
                  <a:pos x="63" y="261"/>
                </a:cxn>
                <a:cxn ang="0">
                  <a:pos x="96" y="225"/>
                </a:cxn>
                <a:cxn ang="0">
                  <a:pos x="56" y="217"/>
                </a:cxn>
                <a:cxn ang="0">
                  <a:pos x="35" y="208"/>
                </a:cxn>
                <a:cxn ang="0">
                  <a:pos x="27" y="193"/>
                </a:cxn>
                <a:cxn ang="0">
                  <a:pos x="32" y="160"/>
                </a:cxn>
                <a:cxn ang="0">
                  <a:pos x="73" y="124"/>
                </a:cxn>
                <a:cxn ang="0">
                  <a:pos x="97" y="91"/>
                </a:cxn>
                <a:cxn ang="0">
                  <a:pos x="120" y="87"/>
                </a:cxn>
                <a:cxn ang="0">
                  <a:pos x="141" y="100"/>
                </a:cxn>
                <a:cxn ang="0">
                  <a:pos x="191" y="97"/>
                </a:cxn>
                <a:cxn ang="0">
                  <a:pos x="189" y="57"/>
                </a:cxn>
                <a:cxn ang="0">
                  <a:pos x="212" y="69"/>
                </a:cxn>
                <a:cxn ang="0">
                  <a:pos x="232" y="93"/>
                </a:cxn>
                <a:cxn ang="0">
                  <a:pos x="267" y="73"/>
                </a:cxn>
                <a:cxn ang="0">
                  <a:pos x="303" y="89"/>
                </a:cxn>
                <a:cxn ang="0">
                  <a:pos x="320" y="112"/>
                </a:cxn>
                <a:cxn ang="0">
                  <a:pos x="304" y="75"/>
                </a:cxn>
                <a:cxn ang="0">
                  <a:pos x="280" y="49"/>
                </a:cxn>
                <a:cxn ang="0">
                  <a:pos x="292" y="2"/>
                </a:cxn>
                <a:cxn ang="0">
                  <a:pos x="316" y="34"/>
                </a:cxn>
                <a:cxn ang="0">
                  <a:pos x="370" y="39"/>
                </a:cxn>
                <a:cxn ang="0">
                  <a:pos x="362" y="88"/>
                </a:cxn>
                <a:cxn ang="0">
                  <a:pos x="395" y="101"/>
                </a:cxn>
                <a:cxn ang="0">
                  <a:pos x="423" y="87"/>
                </a:cxn>
                <a:cxn ang="0">
                  <a:pos x="467" y="70"/>
                </a:cxn>
                <a:cxn ang="0">
                  <a:pos x="473" y="104"/>
                </a:cxn>
                <a:cxn ang="0">
                  <a:pos x="443" y="136"/>
                </a:cxn>
                <a:cxn ang="0">
                  <a:pos x="425" y="153"/>
                </a:cxn>
                <a:cxn ang="0">
                  <a:pos x="466" y="160"/>
                </a:cxn>
                <a:cxn ang="0">
                  <a:pos x="487" y="186"/>
                </a:cxn>
                <a:cxn ang="0">
                  <a:pos x="522" y="220"/>
                </a:cxn>
                <a:cxn ang="0">
                  <a:pos x="513" y="246"/>
                </a:cxn>
                <a:cxn ang="0">
                  <a:pos x="481" y="264"/>
                </a:cxn>
                <a:cxn ang="0">
                  <a:pos x="451" y="282"/>
                </a:cxn>
                <a:cxn ang="0">
                  <a:pos x="482" y="336"/>
                </a:cxn>
                <a:cxn ang="0">
                  <a:pos x="440" y="331"/>
                </a:cxn>
                <a:cxn ang="0">
                  <a:pos x="434" y="365"/>
                </a:cxn>
                <a:cxn ang="0">
                  <a:pos x="466" y="418"/>
                </a:cxn>
                <a:cxn ang="0">
                  <a:pos x="425" y="442"/>
                </a:cxn>
                <a:cxn ang="0">
                  <a:pos x="380" y="467"/>
                </a:cxn>
                <a:cxn ang="0">
                  <a:pos x="349" y="450"/>
                </a:cxn>
                <a:cxn ang="0">
                  <a:pos x="299" y="438"/>
                </a:cxn>
                <a:cxn ang="0">
                  <a:pos x="279" y="457"/>
                </a:cxn>
              </a:cxnLst>
              <a:rect l="0" t="0" r="r" b="b"/>
              <a:pathLst>
                <a:path w="523" h="640">
                  <a:moveTo>
                    <a:pt x="272" y="640"/>
                  </a:moveTo>
                  <a:lnTo>
                    <a:pt x="255" y="640"/>
                  </a:lnTo>
                  <a:lnTo>
                    <a:pt x="254" y="623"/>
                  </a:lnTo>
                  <a:lnTo>
                    <a:pt x="253" y="614"/>
                  </a:lnTo>
                  <a:lnTo>
                    <a:pt x="253" y="592"/>
                  </a:lnTo>
                  <a:lnTo>
                    <a:pt x="251" y="588"/>
                  </a:lnTo>
                  <a:lnTo>
                    <a:pt x="253" y="584"/>
                  </a:lnTo>
                  <a:lnTo>
                    <a:pt x="256" y="555"/>
                  </a:lnTo>
                  <a:lnTo>
                    <a:pt x="259" y="540"/>
                  </a:lnTo>
                  <a:lnTo>
                    <a:pt x="261" y="525"/>
                  </a:lnTo>
                  <a:lnTo>
                    <a:pt x="263" y="511"/>
                  </a:lnTo>
                  <a:lnTo>
                    <a:pt x="266" y="502"/>
                  </a:lnTo>
                  <a:lnTo>
                    <a:pt x="272" y="490"/>
                  </a:lnTo>
                  <a:lnTo>
                    <a:pt x="274" y="485"/>
                  </a:lnTo>
                  <a:lnTo>
                    <a:pt x="269" y="471"/>
                  </a:lnTo>
                  <a:lnTo>
                    <a:pt x="265" y="461"/>
                  </a:lnTo>
                  <a:lnTo>
                    <a:pt x="266" y="451"/>
                  </a:lnTo>
                  <a:lnTo>
                    <a:pt x="266" y="445"/>
                  </a:lnTo>
                  <a:lnTo>
                    <a:pt x="265" y="438"/>
                  </a:lnTo>
                  <a:lnTo>
                    <a:pt x="265" y="432"/>
                  </a:lnTo>
                  <a:lnTo>
                    <a:pt x="262" y="428"/>
                  </a:lnTo>
                  <a:lnTo>
                    <a:pt x="260" y="426"/>
                  </a:lnTo>
                  <a:lnTo>
                    <a:pt x="260" y="422"/>
                  </a:lnTo>
                  <a:lnTo>
                    <a:pt x="257" y="413"/>
                  </a:lnTo>
                  <a:lnTo>
                    <a:pt x="256" y="410"/>
                  </a:lnTo>
                  <a:lnTo>
                    <a:pt x="255" y="412"/>
                  </a:lnTo>
                  <a:lnTo>
                    <a:pt x="257" y="414"/>
                  </a:lnTo>
                  <a:lnTo>
                    <a:pt x="256" y="415"/>
                  </a:lnTo>
                  <a:lnTo>
                    <a:pt x="256" y="419"/>
                  </a:lnTo>
                  <a:lnTo>
                    <a:pt x="255" y="422"/>
                  </a:lnTo>
                  <a:lnTo>
                    <a:pt x="254" y="420"/>
                  </a:lnTo>
                  <a:lnTo>
                    <a:pt x="254" y="422"/>
                  </a:lnTo>
                  <a:lnTo>
                    <a:pt x="251" y="421"/>
                  </a:lnTo>
                  <a:lnTo>
                    <a:pt x="250" y="421"/>
                  </a:lnTo>
                  <a:lnTo>
                    <a:pt x="249" y="421"/>
                  </a:lnTo>
                  <a:lnTo>
                    <a:pt x="246" y="424"/>
                  </a:lnTo>
                  <a:lnTo>
                    <a:pt x="245" y="425"/>
                  </a:lnTo>
                  <a:lnTo>
                    <a:pt x="245" y="422"/>
                  </a:lnTo>
                  <a:lnTo>
                    <a:pt x="245" y="421"/>
                  </a:lnTo>
                  <a:lnTo>
                    <a:pt x="244" y="421"/>
                  </a:lnTo>
                  <a:lnTo>
                    <a:pt x="243" y="421"/>
                  </a:lnTo>
                  <a:lnTo>
                    <a:pt x="240" y="424"/>
                  </a:lnTo>
                  <a:lnTo>
                    <a:pt x="236" y="426"/>
                  </a:lnTo>
                  <a:lnTo>
                    <a:pt x="234" y="426"/>
                  </a:lnTo>
                  <a:lnTo>
                    <a:pt x="236" y="424"/>
                  </a:lnTo>
                  <a:lnTo>
                    <a:pt x="237" y="421"/>
                  </a:lnTo>
                  <a:lnTo>
                    <a:pt x="238" y="420"/>
                  </a:lnTo>
                  <a:lnTo>
                    <a:pt x="240" y="419"/>
                  </a:lnTo>
                  <a:lnTo>
                    <a:pt x="239" y="419"/>
                  </a:lnTo>
                  <a:lnTo>
                    <a:pt x="237" y="420"/>
                  </a:lnTo>
                  <a:lnTo>
                    <a:pt x="237" y="418"/>
                  </a:lnTo>
                  <a:lnTo>
                    <a:pt x="239" y="416"/>
                  </a:lnTo>
                  <a:lnTo>
                    <a:pt x="240" y="415"/>
                  </a:lnTo>
                  <a:lnTo>
                    <a:pt x="239" y="414"/>
                  </a:lnTo>
                  <a:lnTo>
                    <a:pt x="242" y="414"/>
                  </a:lnTo>
                  <a:lnTo>
                    <a:pt x="243" y="416"/>
                  </a:lnTo>
                  <a:lnTo>
                    <a:pt x="242" y="418"/>
                  </a:lnTo>
                  <a:lnTo>
                    <a:pt x="243" y="419"/>
                  </a:lnTo>
                  <a:lnTo>
                    <a:pt x="244" y="416"/>
                  </a:lnTo>
                  <a:lnTo>
                    <a:pt x="245" y="415"/>
                  </a:lnTo>
                  <a:lnTo>
                    <a:pt x="244" y="414"/>
                  </a:lnTo>
                  <a:lnTo>
                    <a:pt x="244" y="413"/>
                  </a:lnTo>
                  <a:lnTo>
                    <a:pt x="243" y="410"/>
                  </a:lnTo>
                  <a:lnTo>
                    <a:pt x="244" y="409"/>
                  </a:lnTo>
                  <a:lnTo>
                    <a:pt x="243" y="409"/>
                  </a:lnTo>
                  <a:lnTo>
                    <a:pt x="244" y="408"/>
                  </a:lnTo>
                  <a:lnTo>
                    <a:pt x="246" y="406"/>
                  </a:lnTo>
                  <a:lnTo>
                    <a:pt x="250" y="406"/>
                  </a:lnTo>
                  <a:lnTo>
                    <a:pt x="251" y="407"/>
                  </a:lnTo>
                  <a:lnTo>
                    <a:pt x="254" y="403"/>
                  </a:lnTo>
                  <a:lnTo>
                    <a:pt x="256" y="397"/>
                  </a:lnTo>
                  <a:lnTo>
                    <a:pt x="259" y="395"/>
                  </a:lnTo>
                  <a:lnTo>
                    <a:pt x="259" y="394"/>
                  </a:lnTo>
                  <a:lnTo>
                    <a:pt x="260" y="392"/>
                  </a:lnTo>
                  <a:lnTo>
                    <a:pt x="259" y="394"/>
                  </a:lnTo>
                  <a:lnTo>
                    <a:pt x="259" y="392"/>
                  </a:lnTo>
                  <a:lnTo>
                    <a:pt x="257" y="394"/>
                  </a:lnTo>
                  <a:lnTo>
                    <a:pt x="255" y="395"/>
                  </a:lnTo>
                  <a:lnTo>
                    <a:pt x="253" y="395"/>
                  </a:lnTo>
                  <a:lnTo>
                    <a:pt x="253" y="394"/>
                  </a:lnTo>
                  <a:lnTo>
                    <a:pt x="251" y="394"/>
                  </a:lnTo>
                  <a:lnTo>
                    <a:pt x="250" y="395"/>
                  </a:lnTo>
                  <a:lnTo>
                    <a:pt x="251" y="392"/>
                  </a:lnTo>
                  <a:lnTo>
                    <a:pt x="251" y="391"/>
                  </a:lnTo>
                  <a:lnTo>
                    <a:pt x="251" y="390"/>
                  </a:lnTo>
                  <a:lnTo>
                    <a:pt x="254" y="388"/>
                  </a:lnTo>
                  <a:lnTo>
                    <a:pt x="250" y="390"/>
                  </a:lnTo>
                  <a:lnTo>
                    <a:pt x="250" y="389"/>
                  </a:lnTo>
                  <a:lnTo>
                    <a:pt x="250" y="388"/>
                  </a:lnTo>
                  <a:lnTo>
                    <a:pt x="251" y="386"/>
                  </a:lnTo>
                  <a:lnTo>
                    <a:pt x="249" y="386"/>
                  </a:lnTo>
                  <a:lnTo>
                    <a:pt x="248" y="388"/>
                  </a:lnTo>
                  <a:lnTo>
                    <a:pt x="248" y="386"/>
                  </a:lnTo>
                  <a:lnTo>
                    <a:pt x="246" y="384"/>
                  </a:lnTo>
                  <a:lnTo>
                    <a:pt x="246" y="383"/>
                  </a:lnTo>
                  <a:lnTo>
                    <a:pt x="245" y="385"/>
                  </a:lnTo>
                  <a:lnTo>
                    <a:pt x="244" y="386"/>
                  </a:lnTo>
                  <a:lnTo>
                    <a:pt x="243" y="388"/>
                  </a:lnTo>
                  <a:lnTo>
                    <a:pt x="243" y="389"/>
                  </a:lnTo>
                  <a:lnTo>
                    <a:pt x="242" y="390"/>
                  </a:lnTo>
                  <a:lnTo>
                    <a:pt x="243" y="391"/>
                  </a:lnTo>
                  <a:lnTo>
                    <a:pt x="245" y="391"/>
                  </a:lnTo>
                  <a:lnTo>
                    <a:pt x="245" y="392"/>
                  </a:lnTo>
                  <a:lnTo>
                    <a:pt x="245" y="394"/>
                  </a:lnTo>
                  <a:lnTo>
                    <a:pt x="245" y="396"/>
                  </a:lnTo>
                  <a:lnTo>
                    <a:pt x="244" y="395"/>
                  </a:lnTo>
                  <a:lnTo>
                    <a:pt x="243" y="395"/>
                  </a:lnTo>
                  <a:lnTo>
                    <a:pt x="242" y="395"/>
                  </a:lnTo>
                  <a:lnTo>
                    <a:pt x="242" y="396"/>
                  </a:lnTo>
                  <a:lnTo>
                    <a:pt x="240" y="394"/>
                  </a:lnTo>
                  <a:lnTo>
                    <a:pt x="239" y="392"/>
                  </a:lnTo>
                  <a:lnTo>
                    <a:pt x="237" y="394"/>
                  </a:lnTo>
                  <a:lnTo>
                    <a:pt x="237" y="395"/>
                  </a:lnTo>
                  <a:lnTo>
                    <a:pt x="234" y="395"/>
                  </a:lnTo>
                  <a:lnTo>
                    <a:pt x="234" y="397"/>
                  </a:lnTo>
                  <a:lnTo>
                    <a:pt x="232" y="398"/>
                  </a:lnTo>
                  <a:lnTo>
                    <a:pt x="230" y="400"/>
                  </a:lnTo>
                  <a:lnTo>
                    <a:pt x="230" y="398"/>
                  </a:lnTo>
                  <a:lnTo>
                    <a:pt x="232" y="397"/>
                  </a:lnTo>
                  <a:lnTo>
                    <a:pt x="233" y="396"/>
                  </a:lnTo>
                  <a:lnTo>
                    <a:pt x="232" y="396"/>
                  </a:lnTo>
                  <a:lnTo>
                    <a:pt x="232" y="395"/>
                  </a:lnTo>
                  <a:lnTo>
                    <a:pt x="234" y="394"/>
                  </a:lnTo>
                  <a:lnTo>
                    <a:pt x="233" y="392"/>
                  </a:lnTo>
                  <a:lnTo>
                    <a:pt x="232" y="392"/>
                  </a:lnTo>
                  <a:lnTo>
                    <a:pt x="230" y="392"/>
                  </a:lnTo>
                  <a:lnTo>
                    <a:pt x="231" y="390"/>
                  </a:lnTo>
                  <a:lnTo>
                    <a:pt x="232" y="388"/>
                  </a:lnTo>
                  <a:lnTo>
                    <a:pt x="236" y="386"/>
                  </a:lnTo>
                  <a:lnTo>
                    <a:pt x="238" y="388"/>
                  </a:lnTo>
                  <a:lnTo>
                    <a:pt x="237" y="386"/>
                  </a:lnTo>
                  <a:lnTo>
                    <a:pt x="237" y="385"/>
                  </a:lnTo>
                  <a:lnTo>
                    <a:pt x="240" y="385"/>
                  </a:lnTo>
                  <a:lnTo>
                    <a:pt x="240" y="388"/>
                  </a:lnTo>
                  <a:lnTo>
                    <a:pt x="242" y="386"/>
                  </a:lnTo>
                  <a:lnTo>
                    <a:pt x="243" y="385"/>
                  </a:lnTo>
                  <a:lnTo>
                    <a:pt x="245" y="384"/>
                  </a:lnTo>
                  <a:lnTo>
                    <a:pt x="246" y="382"/>
                  </a:lnTo>
                  <a:lnTo>
                    <a:pt x="246" y="379"/>
                  </a:lnTo>
                  <a:lnTo>
                    <a:pt x="245" y="379"/>
                  </a:lnTo>
                  <a:lnTo>
                    <a:pt x="244" y="380"/>
                  </a:lnTo>
                  <a:lnTo>
                    <a:pt x="242" y="380"/>
                  </a:lnTo>
                  <a:lnTo>
                    <a:pt x="243" y="379"/>
                  </a:lnTo>
                  <a:lnTo>
                    <a:pt x="243" y="377"/>
                  </a:lnTo>
                  <a:lnTo>
                    <a:pt x="243" y="374"/>
                  </a:lnTo>
                  <a:lnTo>
                    <a:pt x="244" y="372"/>
                  </a:lnTo>
                  <a:lnTo>
                    <a:pt x="240" y="373"/>
                  </a:lnTo>
                  <a:lnTo>
                    <a:pt x="238" y="374"/>
                  </a:lnTo>
                  <a:lnTo>
                    <a:pt x="237" y="376"/>
                  </a:lnTo>
                  <a:lnTo>
                    <a:pt x="236" y="377"/>
                  </a:lnTo>
                  <a:lnTo>
                    <a:pt x="234" y="380"/>
                  </a:lnTo>
                  <a:lnTo>
                    <a:pt x="233" y="379"/>
                  </a:lnTo>
                  <a:lnTo>
                    <a:pt x="233" y="376"/>
                  </a:lnTo>
                  <a:lnTo>
                    <a:pt x="234" y="376"/>
                  </a:lnTo>
                  <a:lnTo>
                    <a:pt x="237" y="374"/>
                  </a:lnTo>
                  <a:lnTo>
                    <a:pt x="240" y="372"/>
                  </a:lnTo>
                  <a:lnTo>
                    <a:pt x="240" y="370"/>
                  </a:lnTo>
                  <a:lnTo>
                    <a:pt x="239" y="370"/>
                  </a:lnTo>
                  <a:lnTo>
                    <a:pt x="237" y="373"/>
                  </a:lnTo>
                  <a:lnTo>
                    <a:pt x="236" y="373"/>
                  </a:lnTo>
                  <a:lnTo>
                    <a:pt x="238" y="368"/>
                  </a:lnTo>
                  <a:lnTo>
                    <a:pt x="239" y="366"/>
                  </a:lnTo>
                  <a:lnTo>
                    <a:pt x="240" y="364"/>
                  </a:lnTo>
                  <a:lnTo>
                    <a:pt x="242" y="362"/>
                  </a:lnTo>
                  <a:lnTo>
                    <a:pt x="240" y="362"/>
                  </a:lnTo>
                  <a:lnTo>
                    <a:pt x="239" y="364"/>
                  </a:lnTo>
                  <a:lnTo>
                    <a:pt x="239" y="365"/>
                  </a:lnTo>
                  <a:lnTo>
                    <a:pt x="238" y="366"/>
                  </a:lnTo>
                  <a:lnTo>
                    <a:pt x="238" y="365"/>
                  </a:lnTo>
                  <a:lnTo>
                    <a:pt x="238" y="364"/>
                  </a:lnTo>
                  <a:lnTo>
                    <a:pt x="237" y="362"/>
                  </a:lnTo>
                  <a:lnTo>
                    <a:pt x="236" y="361"/>
                  </a:lnTo>
                  <a:lnTo>
                    <a:pt x="233" y="361"/>
                  </a:lnTo>
                  <a:lnTo>
                    <a:pt x="236" y="362"/>
                  </a:lnTo>
                  <a:lnTo>
                    <a:pt x="236" y="365"/>
                  </a:lnTo>
                  <a:lnTo>
                    <a:pt x="234" y="366"/>
                  </a:lnTo>
                  <a:lnTo>
                    <a:pt x="234" y="365"/>
                  </a:lnTo>
                  <a:lnTo>
                    <a:pt x="233" y="366"/>
                  </a:lnTo>
                  <a:lnTo>
                    <a:pt x="233" y="368"/>
                  </a:lnTo>
                  <a:lnTo>
                    <a:pt x="231" y="371"/>
                  </a:lnTo>
                  <a:lnTo>
                    <a:pt x="230" y="373"/>
                  </a:lnTo>
                  <a:lnTo>
                    <a:pt x="230" y="371"/>
                  </a:lnTo>
                  <a:lnTo>
                    <a:pt x="228" y="367"/>
                  </a:lnTo>
                  <a:lnTo>
                    <a:pt x="228" y="368"/>
                  </a:lnTo>
                  <a:lnTo>
                    <a:pt x="230" y="366"/>
                  </a:lnTo>
                  <a:lnTo>
                    <a:pt x="230" y="365"/>
                  </a:lnTo>
                  <a:lnTo>
                    <a:pt x="228" y="366"/>
                  </a:lnTo>
                  <a:lnTo>
                    <a:pt x="228" y="364"/>
                  </a:lnTo>
                  <a:lnTo>
                    <a:pt x="227" y="366"/>
                  </a:lnTo>
                  <a:lnTo>
                    <a:pt x="226" y="366"/>
                  </a:lnTo>
                  <a:lnTo>
                    <a:pt x="225" y="367"/>
                  </a:lnTo>
                  <a:lnTo>
                    <a:pt x="225" y="365"/>
                  </a:lnTo>
                  <a:lnTo>
                    <a:pt x="226" y="362"/>
                  </a:lnTo>
                  <a:lnTo>
                    <a:pt x="224" y="362"/>
                  </a:lnTo>
                  <a:lnTo>
                    <a:pt x="224" y="360"/>
                  </a:lnTo>
                  <a:lnTo>
                    <a:pt x="224" y="359"/>
                  </a:lnTo>
                  <a:lnTo>
                    <a:pt x="224" y="356"/>
                  </a:lnTo>
                  <a:lnTo>
                    <a:pt x="224" y="355"/>
                  </a:lnTo>
                  <a:lnTo>
                    <a:pt x="226" y="353"/>
                  </a:lnTo>
                  <a:lnTo>
                    <a:pt x="226" y="355"/>
                  </a:lnTo>
                  <a:lnTo>
                    <a:pt x="227" y="358"/>
                  </a:lnTo>
                  <a:lnTo>
                    <a:pt x="227" y="359"/>
                  </a:lnTo>
                  <a:lnTo>
                    <a:pt x="227" y="360"/>
                  </a:lnTo>
                  <a:lnTo>
                    <a:pt x="230" y="359"/>
                  </a:lnTo>
                  <a:lnTo>
                    <a:pt x="231" y="358"/>
                  </a:lnTo>
                  <a:lnTo>
                    <a:pt x="232" y="358"/>
                  </a:lnTo>
                  <a:lnTo>
                    <a:pt x="234" y="358"/>
                  </a:lnTo>
                  <a:lnTo>
                    <a:pt x="234" y="359"/>
                  </a:lnTo>
                  <a:lnTo>
                    <a:pt x="237" y="360"/>
                  </a:lnTo>
                  <a:lnTo>
                    <a:pt x="238" y="360"/>
                  </a:lnTo>
                  <a:lnTo>
                    <a:pt x="239" y="360"/>
                  </a:lnTo>
                  <a:lnTo>
                    <a:pt x="239" y="359"/>
                  </a:lnTo>
                  <a:lnTo>
                    <a:pt x="240" y="358"/>
                  </a:lnTo>
                  <a:lnTo>
                    <a:pt x="243" y="358"/>
                  </a:lnTo>
                  <a:lnTo>
                    <a:pt x="244" y="358"/>
                  </a:lnTo>
                  <a:lnTo>
                    <a:pt x="244" y="359"/>
                  </a:lnTo>
                  <a:lnTo>
                    <a:pt x="245" y="359"/>
                  </a:lnTo>
                  <a:lnTo>
                    <a:pt x="246" y="359"/>
                  </a:lnTo>
                  <a:lnTo>
                    <a:pt x="246" y="358"/>
                  </a:lnTo>
                  <a:lnTo>
                    <a:pt x="245" y="356"/>
                  </a:lnTo>
                  <a:lnTo>
                    <a:pt x="244" y="356"/>
                  </a:lnTo>
                  <a:lnTo>
                    <a:pt x="243" y="355"/>
                  </a:lnTo>
                  <a:lnTo>
                    <a:pt x="242" y="356"/>
                  </a:lnTo>
                  <a:lnTo>
                    <a:pt x="240" y="356"/>
                  </a:lnTo>
                  <a:lnTo>
                    <a:pt x="239" y="358"/>
                  </a:lnTo>
                  <a:lnTo>
                    <a:pt x="238" y="359"/>
                  </a:lnTo>
                  <a:lnTo>
                    <a:pt x="237" y="359"/>
                  </a:lnTo>
                  <a:lnTo>
                    <a:pt x="236" y="358"/>
                  </a:lnTo>
                  <a:lnTo>
                    <a:pt x="236" y="356"/>
                  </a:lnTo>
                  <a:lnTo>
                    <a:pt x="237" y="355"/>
                  </a:lnTo>
                  <a:lnTo>
                    <a:pt x="237" y="354"/>
                  </a:lnTo>
                  <a:lnTo>
                    <a:pt x="239" y="354"/>
                  </a:lnTo>
                  <a:lnTo>
                    <a:pt x="240" y="355"/>
                  </a:lnTo>
                  <a:lnTo>
                    <a:pt x="242" y="354"/>
                  </a:lnTo>
                  <a:lnTo>
                    <a:pt x="240" y="354"/>
                  </a:lnTo>
                  <a:lnTo>
                    <a:pt x="242" y="353"/>
                  </a:lnTo>
                  <a:lnTo>
                    <a:pt x="243" y="352"/>
                  </a:lnTo>
                  <a:lnTo>
                    <a:pt x="242" y="352"/>
                  </a:lnTo>
                  <a:lnTo>
                    <a:pt x="239" y="353"/>
                  </a:lnTo>
                  <a:lnTo>
                    <a:pt x="234" y="353"/>
                  </a:lnTo>
                  <a:lnTo>
                    <a:pt x="236" y="352"/>
                  </a:lnTo>
                  <a:lnTo>
                    <a:pt x="238" y="349"/>
                  </a:lnTo>
                  <a:lnTo>
                    <a:pt x="242" y="349"/>
                  </a:lnTo>
                  <a:lnTo>
                    <a:pt x="244" y="349"/>
                  </a:lnTo>
                  <a:lnTo>
                    <a:pt x="245" y="350"/>
                  </a:lnTo>
                  <a:lnTo>
                    <a:pt x="245" y="352"/>
                  </a:lnTo>
                  <a:lnTo>
                    <a:pt x="246" y="353"/>
                  </a:lnTo>
                  <a:lnTo>
                    <a:pt x="245" y="354"/>
                  </a:lnTo>
                  <a:lnTo>
                    <a:pt x="246" y="355"/>
                  </a:lnTo>
                  <a:lnTo>
                    <a:pt x="248" y="354"/>
                  </a:lnTo>
                  <a:lnTo>
                    <a:pt x="249" y="353"/>
                  </a:lnTo>
                  <a:lnTo>
                    <a:pt x="248" y="352"/>
                  </a:lnTo>
                  <a:lnTo>
                    <a:pt x="246" y="352"/>
                  </a:lnTo>
                  <a:lnTo>
                    <a:pt x="248" y="349"/>
                  </a:lnTo>
                  <a:lnTo>
                    <a:pt x="248" y="348"/>
                  </a:lnTo>
                  <a:lnTo>
                    <a:pt x="248" y="347"/>
                  </a:lnTo>
                  <a:lnTo>
                    <a:pt x="246" y="345"/>
                  </a:lnTo>
                  <a:lnTo>
                    <a:pt x="246" y="344"/>
                  </a:lnTo>
                  <a:lnTo>
                    <a:pt x="248" y="344"/>
                  </a:lnTo>
                  <a:lnTo>
                    <a:pt x="245" y="343"/>
                  </a:lnTo>
                  <a:lnTo>
                    <a:pt x="233" y="343"/>
                  </a:lnTo>
                  <a:lnTo>
                    <a:pt x="212" y="347"/>
                  </a:lnTo>
                  <a:lnTo>
                    <a:pt x="201" y="349"/>
                  </a:lnTo>
                  <a:lnTo>
                    <a:pt x="191" y="354"/>
                  </a:lnTo>
                  <a:lnTo>
                    <a:pt x="187" y="354"/>
                  </a:lnTo>
                  <a:lnTo>
                    <a:pt x="192" y="358"/>
                  </a:lnTo>
                  <a:lnTo>
                    <a:pt x="197" y="360"/>
                  </a:lnTo>
                  <a:lnTo>
                    <a:pt x="200" y="364"/>
                  </a:lnTo>
                  <a:lnTo>
                    <a:pt x="202" y="366"/>
                  </a:lnTo>
                  <a:lnTo>
                    <a:pt x="204" y="367"/>
                  </a:lnTo>
                  <a:lnTo>
                    <a:pt x="201" y="366"/>
                  </a:lnTo>
                  <a:lnTo>
                    <a:pt x="200" y="368"/>
                  </a:lnTo>
                  <a:lnTo>
                    <a:pt x="200" y="372"/>
                  </a:lnTo>
                  <a:lnTo>
                    <a:pt x="201" y="376"/>
                  </a:lnTo>
                  <a:lnTo>
                    <a:pt x="203" y="378"/>
                  </a:lnTo>
                  <a:lnTo>
                    <a:pt x="204" y="379"/>
                  </a:lnTo>
                  <a:lnTo>
                    <a:pt x="206" y="380"/>
                  </a:lnTo>
                  <a:lnTo>
                    <a:pt x="207" y="379"/>
                  </a:lnTo>
                  <a:lnTo>
                    <a:pt x="206" y="380"/>
                  </a:lnTo>
                  <a:lnTo>
                    <a:pt x="206" y="382"/>
                  </a:lnTo>
                  <a:lnTo>
                    <a:pt x="207" y="383"/>
                  </a:lnTo>
                  <a:lnTo>
                    <a:pt x="209" y="384"/>
                  </a:lnTo>
                  <a:lnTo>
                    <a:pt x="209" y="383"/>
                  </a:lnTo>
                  <a:lnTo>
                    <a:pt x="209" y="382"/>
                  </a:lnTo>
                  <a:lnTo>
                    <a:pt x="209" y="380"/>
                  </a:lnTo>
                  <a:lnTo>
                    <a:pt x="210" y="382"/>
                  </a:lnTo>
                  <a:lnTo>
                    <a:pt x="213" y="384"/>
                  </a:lnTo>
                  <a:lnTo>
                    <a:pt x="212" y="384"/>
                  </a:lnTo>
                  <a:lnTo>
                    <a:pt x="210" y="385"/>
                  </a:lnTo>
                  <a:lnTo>
                    <a:pt x="212" y="386"/>
                  </a:lnTo>
                  <a:lnTo>
                    <a:pt x="213" y="388"/>
                  </a:lnTo>
                  <a:lnTo>
                    <a:pt x="213" y="390"/>
                  </a:lnTo>
                  <a:lnTo>
                    <a:pt x="212" y="389"/>
                  </a:lnTo>
                  <a:lnTo>
                    <a:pt x="210" y="388"/>
                  </a:lnTo>
                  <a:lnTo>
                    <a:pt x="210" y="389"/>
                  </a:lnTo>
                  <a:lnTo>
                    <a:pt x="210" y="391"/>
                  </a:lnTo>
                  <a:lnTo>
                    <a:pt x="210" y="394"/>
                  </a:lnTo>
                  <a:lnTo>
                    <a:pt x="209" y="390"/>
                  </a:lnTo>
                  <a:lnTo>
                    <a:pt x="209" y="391"/>
                  </a:lnTo>
                  <a:lnTo>
                    <a:pt x="208" y="394"/>
                  </a:lnTo>
                  <a:lnTo>
                    <a:pt x="209" y="390"/>
                  </a:lnTo>
                  <a:lnTo>
                    <a:pt x="208" y="391"/>
                  </a:lnTo>
                  <a:lnTo>
                    <a:pt x="209" y="389"/>
                  </a:lnTo>
                  <a:lnTo>
                    <a:pt x="209" y="388"/>
                  </a:lnTo>
                  <a:lnTo>
                    <a:pt x="209" y="386"/>
                  </a:lnTo>
                  <a:lnTo>
                    <a:pt x="209" y="385"/>
                  </a:lnTo>
                  <a:lnTo>
                    <a:pt x="207" y="384"/>
                  </a:lnTo>
                  <a:lnTo>
                    <a:pt x="204" y="382"/>
                  </a:lnTo>
                  <a:lnTo>
                    <a:pt x="202" y="378"/>
                  </a:lnTo>
                  <a:lnTo>
                    <a:pt x="202" y="377"/>
                  </a:lnTo>
                  <a:lnTo>
                    <a:pt x="202" y="380"/>
                  </a:lnTo>
                  <a:lnTo>
                    <a:pt x="202" y="384"/>
                  </a:lnTo>
                  <a:lnTo>
                    <a:pt x="203" y="386"/>
                  </a:lnTo>
                  <a:lnTo>
                    <a:pt x="203" y="384"/>
                  </a:lnTo>
                  <a:lnTo>
                    <a:pt x="206" y="384"/>
                  </a:lnTo>
                  <a:lnTo>
                    <a:pt x="204" y="385"/>
                  </a:lnTo>
                  <a:lnTo>
                    <a:pt x="204" y="386"/>
                  </a:lnTo>
                  <a:lnTo>
                    <a:pt x="204" y="388"/>
                  </a:lnTo>
                  <a:lnTo>
                    <a:pt x="207" y="386"/>
                  </a:lnTo>
                  <a:lnTo>
                    <a:pt x="206" y="389"/>
                  </a:lnTo>
                  <a:lnTo>
                    <a:pt x="206" y="391"/>
                  </a:lnTo>
                  <a:lnTo>
                    <a:pt x="209" y="395"/>
                  </a:lnTo>
                  <a:lnTo>
                    <a:pt x="210" y="397"/>
                  </a:lnTo>
                  <a:lnTo>
                    <a:pt x="210" y="396"/>
                  </a:lnTo>
                  <a:lnTo>
                    <a:pt x="213" y="396"/>
                  </a:lnTo>
                  <a:lnTo>
                    <a:pt x="213" y="398"/>
                  </a:lnTo>
                  <a:lnTo>
                    <a:pt x="214" y="400"/>
                  </a:lnTo>
                  <a:lnTo>
                    <a:pt x="216" y="400"/>
                  </a:lnTo>
                  <a:lnTo>
                    <a:pt x="216" y="398"/>
                  </a:lnTo>
                  <a:lnTo>
                    <a:pt x="216" y="396"/>
                  </a:lnTo>
                  <a:lnTo>
                    <a:pt x="218" y="395"/>
                  </a:lnTo>
                  <a:lnTo>
                    <a:pt x="220" y="394"/>
                  </a:lnTo>
                  <a:lnTo>
                    <a:pt x="221" y="394"/>
                  </a:lnTo>
                  <a:lnTo>
                    <a:pt x="221" y="396"/>
                  </a:lnTo>
                  <a:lnTo>
                    <a:pt x="220" y="397"/>
                  </a:lnTo>
                  <a:lnTo>
                    <a:pt x="220" y="400"/>
                  </a:lnTo>
                  <a:lnTo>
                    <a:pt x="220" y="401"/>
                  </a:lnTo>
                  <a:lnTo>
                    <a:pt x="222" y="401"/>
                  </a:lnTo>
                  <a:lnTo>
                    <a:pt x="224" y="401"/>
                  </a:lnTo>
                  <a:lnTo>
                    <a:pt x="225" y="398"/>
                  </a:lnTo>
                  <a:lnTo>
                    <a:pt x="224" y="397"/>
                  </a:lnTo>
                  <a:lnTo>
                    <a:pt x="225" y="395"/>
                  </a:lnTo>
                  <a:lnTo>
                    <a:pt x="225" y="397"/>
                  </a:lnTo>
                  <a:lnTo>
                    <a:pt x="225" y="398"/>
                  </a:lnTo>
                  <a:lnTo>
                    <a:pt x="224" y="401"/>
                  </a:lnTo>
                  <a:lnTo>
                    <a:pt x="222" y="402"/>
                  </a:lnTo>
                  <a:lnTo>
                    <a:pt x="225" y="403"/>
                  </a:lnTo>
                  <a:lnTo>
                    <a:pt x="227" y="404"/>
                  </a:lnTo>
                  <a:lnTo>
                    <a:pt x="228" y="407"/>
                  </a:lnTo>
                  <a:lnTo>
                    <a:pt x="226" y="406"/>
                  </a:lnTo>
                  <a:lnTo>
                    <a:pt x="226" y="407"/>
                  </a:lnTo>
                  <a:lnTo>
                    <a:pt x="227" y="410"/>
                  </a:lnTo>
                  <a:lnTo>
                    <a:pt x="225" y="409"/>
                  </a:lnTo>
                  <a:lnTo>
                    <a:pt x="224" y="407"/>
                  </a:lnTo>
                  <a:lnTo>
                    <a:pt x="225" y="406"/>
                  </a:lnTo>
                  <a:lnTo>
                    <a:pt x="224" y="404"/>
                  </a:lnTo>
                  <a:lnTo>
                    <a:pt x="222" y="403"/>
                  </a:lnTo>
                  <a:lnTo>
                    <a:pt x="221" y="402"/>
                  </a:lnTo>
                  <a:lnTo>
                    <a:pt x="220" y="401"/>
                  </a:lnTo>
                  <a:lnTo>
                    <a:pt x="219" y="402"/>
                  </a:lnTo>
                  <a:lnTo>
                    <a:pt x="221" y="404"/>
                  </a:lnTo>
                  <a:lnTo>
                    <a:pt x="221" y="408"/>
                  </a:lnTo>
                  <a:lnTo>
                    <a:pt x="224" y="409"/>
                  </a:lnTo>
                  <a:lnTo>
                    <a:pt x="224" y="413"/>
                  </a:lnTo>
                  <a:lnTo>
                    <a:pt x="225" y="418"/>
                  </a:lnTo>
                  <a:lnTo>
                    <a:pt x="226" y="420"/>
                  </a:lnTo>
                  <a:lnTo>
                    <a:pt x="227" y="421"/>
                  </a:lnTo>
                  <a:lnTo>
                    <a:pt x="230" y="421"/>
                  </a:lnTo>
                  <a:lnTo>
                    <a:pt x="231" y="422"/>
                  </a:lnTo>
                  <a:lnTo>
                    <a:pt x="232" y="425"/>
                  </a:lnTo>
                  <a:lnTo>
                    <a:pt x="230" y="424"/>
                  </a:lnTo>
                  <a:lnTo>
                    <a:pt x="231" y="425"/>
                  </a:lnTo>
                  <a:lnTo>
                    <a:pt x="228" y="427"/>
                  </a:lnTo>
                  <a:lnTo>
                    <a:pt x="228" y="426"/>
                  </a:lnTo>
                  <a:lnTo>
                    <a:pt x="228" y="427"/>
                  </a:lnTo>
                  <a:lnTo>
                    <a:pt x="227" y="426"/>
                  </a:lnTo>
                  <a:lnTo>
                    <a:pt x="226" y="427"/>
                  </a:lnTo>
                  <a:lnTo>
                    <a:pt x="225" y="430"/>
                  </a:lnTo>
                  <a:lnTo>
                    <a:pt x="224" y="428"/>
                  </a:lnTo>
                  <a:lnTo>
                    <a:pt x="222" y="427"/>
                  </a:lnTo>
                  <a:lnTo>
                    <a:pt x="224" y="424"/>
                  </a:lnTo>
                  <a:lnTo>
                    <a:pt x="224" y="421"/>
                  </a:lnTo>
                  <a:lnTo>
                    <a:pt x="224" y="419"/>
                  </a:lnTo>
                  <a:lnTo>
                    <a:pt x="222" y="413"/>
                  </a:lnTo>
                  <a:lnTo>
                    <a:pt x="222" y="414"/>
                  </a:lnTo>
                  <a:lnTo>
                    <a:pt x="221" y="414"/>
                  </a:lnTo>
                  <a:lnTo>
                    <a:pt x="222" y="415"/>
                  </a:lnTo>
                  <a:lnTo>
                    <a:pt x="220" y="415"/>
                  </a:lnTo>
                  <a:lnTo>
                    <a:pt x="218" y="414"/>
                  </a:lnTo>
                  <a:lnTo>
                    <a:pt x="216" y="413"/>
                  </a:lnTo>
                  <a:lnTo>
                    <a:pt x="216" y="414"/>
                  </a:lnTo>
                  <a:lnTo>
                    <a:pt x="216" y="419"/>
                  </a:lnTo>
                  <a:lnTo>
                    <a:pt x="215" y="419"/>
                  </a:lnTo>
                  <a:lnTo>
                    <a:pt x="214" y="416"/>
                  </a:lnTo>
                  <a:lnTo>
                    <a:pt x="214" y="414"/>
                  </a:lnTo>
                  <a:lnTo>
                    <a:pt x="215" y="414"/>
                  </a:lnTo>
                  <a:lnTo>
                    <a:pt x="216" y="413"/>
                  </a:lnTo>
                  <a:lnTo>
                    <a:pt x="216" y="410"/>
                  </a:lnTo>
                  <a:lnTo>
                    <a:pt x="218" y="409"/>
                  </a:lnTo>
                  <a:lnTo>
                    <a:pt x="218" y="408"/>
                  </a:lnTo>
                  <a:lnTo>
                    <a:pt x="216" y="408"/>
                  </a:lnTo>
                  <a:lnTo>
                    <a:pt x="216" y="409"/>
                  </a:lnTo>
                  <a:lnTo>
                    <a:pt x="215" y="408"/>
                  </a:lnTo>
                  <a:lnTo>
                    <a:pt x="215" y="407"/>
                  </a:lnTo>
                  <a:lnTo>
                    <a:pt x="213" y="410"/>
                  </a:lnTo>
                  <a:lnTo>
                    <a:pt x="212" y="414"/>
                  </a:lnTo>
                  <a:lnTo>
                    <a:pt x="209" y="418"/>
                  </a:lnTo>
                  <a:lnTo>
                    <a:pt x="210" y="420"/>
                  </a:lnTo>
                  <a:lnTo>
                    <a:pt x="212" y="420"/>
                  </a:lnTo>
                  <a:lnTo>
                    <a:pt x="213" y="421"/>
                  </a:lnTo>
                  <a:lnTo>
                    <a:pt x="212" y="421"/>
                  </a:lnTo>
                  <a:lnTo>
                    <a:pt x="212" y="425"/>
                  </a:lnTo>
                  <a:lnTo>
                    <a:pt x="210" y="426"/>
                  </a:lnTo>
                  <a:lnTo>
                    <a:pt x="213" y="426"/>
                  </a:lnTo>
                  <a:lnTo>
                    <a:pt x="213" y="428"/>
                  </a:lnTo>
                  <a:lnTo>
                    <a:pt x="212" y="427"/>
                  </a:lnTo>
                  <a:lnTo>
                    <a:pt x="213" y="431"/>
                  </a:lnTo>
                  <a:lnTo>
                    <a:pt x="212" y="433"/>
                  </a:lnTo>
                  <a:lnTo>
                    <a:pt x="209" y="431"/>
                  </a:lnTo>
                  <a:lnTo>
                    <a:pt x="208" y="428"/>
                  </a:lnTo>
                  <a:lnTo>
                    <a:pt x="208" y="430"/>
                  </a:lnTo>
                  <a:lnTo>
                    <a:pt x="206" y="432"/>
                  </a:lnTo>
                  <a:lnTo>
                    <a:pt x="204" y="431"/>
                  </a:lnTo>
                  <a:lnTo>
                    <a:pt x="204" y="430"/>
                  </a:lnTo>
                  <a:lnTo>
                    <a:pt x="203" y="431"/>
                  </a:lnTo>
                  <a:lnTo>
                    <a:pt x="202" y="427"/>
                  </a:lnTo>
                  <a:lnTo>
                    <a:pt x="203" y="425"/>
                  </a:lnTo>
                  <a:lnTo>
                    <a:pt x="202" y="426"/>
                  </a:lnTo>
                  <a:lnTo>
                    <a:pt x="201" y="424"/>
                  </a:lnTo>
                  <a:lnTo>
                    <a:pt x="204" y="420"/>
                  </a:lnTo>
                  <a:lnTo>
                    <a:pt x="204" y="419"/>
                  </a:lnTo>
                  <a:lnTo>
                    <a:pt x="202" y="420"/>
                  </a:lnTo>
                  <a:lnTo>
                    <a:pt x="200" y="422"/>
                  </a:lnTo>
                  <a:lnTo>
                    <a:pt x="200" y="421"/>
                  </a:lnTo>
                  <a:lnTo>
                    <a:pt x="201" y="418"/>
                  </a:lnTo>
                  <a:lnTo>
                    <a:pt x="202" y="416"/>
                  </a:lnTo>
                  <a:lnTo>
                    <a:pt x="204" y="418"/>
                  </a:lnTo>
                  <a:lnTo>
                    <a:pt x="208" y="416"/>
                  </a:lnTo>
                  <a:lnTo>
                    <a:pt x="210" y="413"/>
                  </a:lnTo>
                  <a:lnTo>
                    <a:pt x="214" y="408"/>
                  </a:lnTo>
                  <a:lnTo>
                    <a:pt x="215" y="404"/>
                  </a:lnTo>
                  <a:lnTo>
                    <a:pt x="214" y="404"/>
                  </a:lnTo>
                  <a:lnTo>
                    <a:pt x="214" y="403"/>
                  </a:lnTo>
                  <a:lnTo>
                    <a:pt x="213" y="402"/>
                  </a:lnTo>
                  <a:lnTo>
                    <a:pt x="213" y="404"/>
                  </a:lnTo>
                  <a:lnTo>
                    <a:pt x="210" y="406"/>
                  </a:lnTo>
                  <a:lnTo>
                    <a:pt x="208" y="406"/>
                  </a:lnTo>
                  <a:lnTo>
                    <a:pt x="207" y="407"/>
                  </a:lnTo>
                  <a:lnTo>
                    <a:pt x="203" y="407"/>
                  </a:lnTo>
                  <a:lnTo>
                    <a:pt x="206" y="406"/>
                  </a:lnTo>
                  <a:lnTo>
                    <a:pt x="207" y="404"/>
                  </a:lnTo>
                  <a:lnTo>
                    <a:pt x="208" y="401"/>
                  </a:lnTo>
                  <a:lnTo>
                    <a:pt x="210" y="402"/>
                  </a:lnTo>
                  <a:lnTo>
                    <a:pt x="212" y="402"/>
                  </a:lnTo>
                  <a:lnTo>
                    <a:pt x="212" y="401"/>
                  </a:lnTo>
                  <a:lnTo>
                    <a:pt x="213" y="401"/>
                  </a:lnTo>
                  <a:lnTo>
                    <a:pt x="213" y="400"/>
                  </a:lnTo>
                  <a:lnTo>
                    <a:pt x="212" y="400"/>
                  </a:lnTo>
                  <a:lnTo>
                    <a:pt x="210" y="398"/>
                  </a:lnTo>
                  <a:lnTo>
                    <a:pt x="209" y="397"/>
                  </a:lnTo>
                  <a:lnTo>
                    <a:pt x="209" y="398"/>
                  </a:lnTo>
                  <a:lnTo>
                    <a:pt x="208" y="398"/>
                  </a:lnTo>
                  <a:lnTo>
                    <a:pt x="206" y="397"/>
                  </a:lnTo>
                  <a:lnTo>
                    <a:pt x="204" y="397"/>
                  </a:lnTo>
                  <a:lnTo>
                    <a:pt x="202" y="397"/>
                  </a:lnTo>
                  <a:lnTo>
                    <a:pt x="201" y="395"/>
                  </a:lnTo>
                  <a:lnTo>
                    <a:pt x="200" y="395"/>
                  </a:lnTo>
                  <a:lnTo>
                    <a:pt x="202" y="398"/>
                  </a:lnTo>
                  <a:lnTo>
                    <a:pt x="203" y="400"/>
                  </a:lnTo>
                  <a:lnTo>
                    <a:pt x="202" y="400"/>
                  </a:lnTo>
                  <a:lnTo>
                    <a:pt x="201" y="403"/>
                  </a:lnTo>
                  <a:lnTo>
                    <a:pt x="202" y="404"/>
                  </a:lnTo>
                  <a:lnTo>
                    <a:pt x="200" y="403"/>
                  </a:lnTo>
                  <a:lnTo>
                    <a:pt x="201" y="406"/>
                  </a:lnTo>
                  <a:lnTo>
                    <a:pt x="200" y="408"/>
                  </a:lnTo>
                  <a:lnTo>
                    <a:pt x="198" y="404"/>
                  </a:lnTo>
                  <a:lnTo>
                    <a:pt x="197" y="404"/>
                  </a:lnTo>
                  <a:lnTo>
                    <a:pt x="197" y="406"/>
                  </a:lnTo>
                  <a:lnTo>
                    <a:pt x="196" y="404"/>
                  </a:lnTo>
                  <a:lnTo>
                    <a:pt x="196" y="406"/>
                  </a:lnTo>
                  <a:lnTo>
                    <a:pt x="196" y="409"/>
                  </a:lnTo>
                  <a:lnTo>
                    <a:pt x="195" y="407"/>
                  </a:lnTo>
                  <a:lnTo>
                    <a:pt x="194" y="407"/>
                  </a:lnTo>
                  <a:lnTo>
                    <a:pt x="192" y="408"/>
                  </a:lnTo>
                  <a:lnTo>
                    <a:pt x="192" y="404"/>
                  </a:lnTo>
                  <a:lnTo>
                    <a:pt x="192" y="402"/>
                  </a:lnTo>
                  <a:lnTo>
                    <a:pt x="194" y="400"/>
                  </a:lnTo>
                  <a:lnTo>
                    <a:pt x="192" y="398"/>
                  </a:lnTo>
                  <a:lnTo>
                    <a:pt x="191" y="397"/>
                  </a:lnTo>
                  <a:lnTo>
                    <a:pt x="190" y="397"/>
                  </a:lnTo>
                  <a:lnTo>
                    <a:pt x="187" y="397"/>
                  </a:lnTo>
                  <a:lnTo>
                    <a:pt x="187" y="398"/>
                  </a:lnTo>
                  <a:lnTo>
                    <a:pt x="190" y="400"/>
                  </a:lnTo>
                  <a:lnTo>
                    <a:pt x="190" y="402"/>
                  </a:lnTo>
                  <a:lnTo>
                    <a:pt x="189" y="402"/>
                  </a:lnTo>
                  <a:lnTo>
                    <a:pt x="187" y="404"/>
                  </a:lnTo>
                  <a:lnTo>
                    <a:pt x="186" y="403"/>
                  </a:lnTo>
                  <a:lnTo>
                    <a:pt x="185" y="401"/>
                  </a:lnTo>
                  <a:lnTo>
                    <a:pt x="185" y="400"/>
                  </a:lnTo>
                  <a:lnTo>
                    <a:pt x="184" y="400"/>
                  </a:lnTo>
                  <a:lnTo>
                    <a:pt x="183" y="402"/>
                  </a:lnTo>
                  <a:lnTo>
                    <a:pt x="184" y="403"/>
                  </a:lnTo>
                  <a:lnTo>
                    <a:pt x="186" y="407"/>
                  </a:lnTo>
                  <a:lnTo>
                    <a:pt x="186" y="412"/>
                  </a:lnTo>
                  <a:lnTo>
                    <a:pt x="184" y="408"/>
                  </a:lnTo>
                  <a:lnTo>
                    <a:pt x="183" y="404"/>
                  </a:lnTo>
                  <a:lnTo>
                    <a:pt x="181" y="404"/>
                  </a:lnTo>
                  <a:lnTo>
                    <a:pt x="181" y="407"/>
                  </a:lnTo>
                  <a:lnTo>
                    <a:pt x="180" y="406"/>
                  </a:lnTo>
                  <a:lnTo>
                    <a:pt x="179" y="407"/>
                  </a:lnTo>
                  <a:lnTo>
                    <a:pt x="178" y="409"/>
                  </a:lnTo>
                  <a:lnTo>
                    <a:pt x="179" y="410"/>
                  </a:lnTo>
                  <a:lnTo>
                    <a:pt x="180" y="412"/>
                  </a:lnTo>
                  <a:lnTo>
                    <a:pt x="183" y="412"/>
                  </a:lnTo>
                  <a:lnTo>
                    <a:pt x="184" y="412"/>
                  </a:lnTo>
                  <a:lnTo>
                    <a:pt x="181" y="413"/>
                  </a:lnTo>
                  <a:lnTo>
                    <a:pt x="180" y="413"/>
                  </a:lnTo>
                  <a:lnTo>
                    <a:pt x="179" y="412"/>
                  </a:lnTo>
                  <a:lnTo>
                    <a:pt x="179" y="413"/>
                  </a:lnTo>
                  <a:lnTo>
                    <a:pt x="179" y="415"/>
                  </a:lnTo>
                  <a:lnTo>
                    <a:pt x="179" y="414"/>
                  </a:lnTo>
                  <a:lnTo>
                    <a:pt x="179" y="415"/>
                  </a:lnTo>
                  <a:lnTo>
                    <a:pt x="178" y="416"/>
                  </a:lnTo>
                  <a:lnTo>
                    <a:pt x="177" y="415"/>
                  </a:lnTo>
                  <a:lnTo>
                    <a:pt x="178" y="412"/>
                  </a:lnTo>
                  <a:lnTo>
                    <a:pt x="178" y="410"/>
                  </a:lnTo>
                  <a:lnTo>
                    <a:pt x="177" y="413"/>
                  </a:lnTo>
                  <a:lnTo>
                    <a:pt x="177" y="414"/>
                  </a:lnTo>
                  <a:lnTo>
                    <a:pt x="175" y="413"/>
                  </a:lnTo>
                  <a:lnTo>
                    <a:pt x="175" y="414"/>
                  </a:lnTo>
                  <a:lnTo>
                    <a:pt x="174" y="414"/>
                  </a:lnTo>
                  <a:lnTo>
                    <a:pt x="173" y="412"/>
                  </a:lnTo>
                  <a:lnTo>
                    <a:pt x="174" y="410"/>
                  </a:lnTo>
                  <a:lnTo>
                    <a:pt x="173" y="409"/>
                  </a:lnTo>
                  <a:lnTo>
                    <a:pt x="173" y="410"/>
                  </a:lnTo>
                  <a:lnTo>
                    <a:pt x="172" y="410"/>
                  </a:lnTo>
                  <a:lnTo>
                    <a:pt x="172" y="413"/>
                  </a:lnTo>
                  <a:lnTo>
                    <a:pt x="172" y="415"/>
                  </a:lnTo>
                  <a:lnTo>
                    <a:pt x="169" y="418"/>
                  </a:lnTo>
                  <a:lnTo>
                    <a:pt x="169" y="415"/>
                  </a:lnTo>
                  <a:lnTo>
                    <a:pt x="172" y="413"/>
                  </a:lnTo>
                  <a:lnTo>
                    <a:pt x="171" y="412"/>
                  </a:lnTo>
                  <a:lnTo>
                    <a:pt x="169" y="412"/>
                  </a:lnTo>
                  <a:lnTo>
                    <a:pt x="168" y="412"/>
                  </a:lnTo>
                  <a:lnTo>
                    <a:pt x="167" y="413"/>
                  </a:lnTo>
                  <a:lnTo>
                    <a:pt x="165" y="413"/>
                  </a:lnTo>
                  <a:lnTo>
                    <a:pt x="165" y="414"/>
                  </a:lnTo>
                  <a:lnTo>
                    <a:pt x="167" y="415"/>
                  </a:lnTo>
                  <a:lnTo>
                    <a:pt x="167" y="418"/>
                  </a:lnTo>
                  <a:lnTo>
                    <a:pt x="166" y="419"/>
                  </a:lnTo>
                  <a:lnTo>
                    <a:pt x="163" y="418"/>
                  </a:lnTo>
                  <a:lnTo>
                    <a:pt x="163" y="420"/>
                  </a:lnTo>
                  <a:lnTo>
                    <a:pt x="162" y="421"/>
                  </a:lnTo>
                  <a:lnTo>
                    <a:pt x="161" y="422"/>
                  </a:lnTo>
                  <a:lnTo>
                    <a:pt x="160" y="421"/>
                  </a:lnTo>
                  <a:lnTo>
                    <a:pt x="160" y="420"/>
                  </a:lnTo>
                  <a:lnTo>
                    <a:pt x="159" y="419"/>
                  </a:lnTo>
                  <a:lnTo>
                    <a:pt x="156" y="419"/>
                  </a:lnTo>
                  <a:lnTo>
                    <a:pt x="157" y="416"/>
                  </a:lnTo>
                  <a:lnTo>
                    <a:pt x="159" y="414"/>
                  </a:lnTo>
                  <a:lnTo>
                    <a:pt x="159" y="413"/>
                  </a:lnTo>
                  <a:lnTo>
                    <a:pt x="157" y="413"/>
                  </a:lnTo>
                  <a:lnTo>
                    <a:pt x="156" y="412"/>
                  </a:lnTo>
                  <a:lnTo>
                    <a:pt x="157" y="410"/>
                  </a:lnTo>
                  <a:lnTo>
                    <a:pt x="159" y="409"/>
                  </a:lnTo>
                  <a:lnTo>
                    <a:pt x="159" y="408"/>
                  </a:lnTo>
                  <a:lnTo>
                    <a:pt x="157" y="408"/>
                  </a:lnTo>
                  <a:lnTo>
                    <a:pt x="157" y="409"/>
                  </a:lnTo>
                  <a:lnTo>
                    <a:pt x="156" y="410"/>
                  </a:lnTo>
                  <a:lnTo>
                    <a:pt x="155" y="412"/>
                  </a:lnTo>
                  <a:lnTo>
                    <a:pt x="154" y="410"/>
                  </a:lnTo>
                  <a:lnTo>
                    <a:pt x="153" y="409"/>
                  </a:lnTo>
                  <a:lnTo>
                    <a:pt x="154" y="407"/>
                  </a:lnTo>
                  <a:lnTo>
                    <a:pt x="154" y="404"/>
                  </a:lnTo>
                  <a:lnTo>
                    <a:pt x="153" y="406"/>
                  </a:lnTo>
                  <a:lnTo>
                    <a:pt x="151" y="406"/>
                  </a:lnTo>
                  <a:lnTo>
                    <a:pt x="151" y="403"/>
                  </a:lnTo>
                  <a:lnTo>
                    <a:pt x="150" y="404"/>
                  </a:lnTo>
                  <a:lnTo>
                    <a:pt x="149" y="404"/>
                  </a:lnTo>
                  <a:lnTo>
                    <a:pt x="149" y="406"/>
                  </a:lnTo>
                  <a:lnTo>
                    <a:pt x="151" y="406"/>
                  </a:lnTo>
                  <a:lnTo>
                    <a:pt x="151" y="408"/>
                  </a:lnTo>
                  <a:lnTo>
                    <a:pt x="151" y="407"/>
                  </a:lnTo>
                  <a:lnTo>
                    <a:pt x="150" y="409"/>
                  </a:lnTo>
                  <a:lnTo>
                    <a:pt x="150" y="410"/>
                  </a:lnTo>
                  <a:lnTo>
                    <a:pt x="149" y="408"/>
                  </a:lnTo>
                  <a:lnTo>
                    <a:pt x="147" y="408"/>
                  </a:lnTo>
                  <a:lnTo>
                    <a:pt x="148" y="407"/>
                  </a:lnTo>
                  <a:lnTo>
                    <a:pt x="147" y="407"/>
                  </a:lnTo>
                  <a:lnTo>
                    <a:pt x="145" y="408"/>
                  </a:lnTo>
                  <a:lnTo>
                    <a:pt x="145" y="407"/>
                  </a:lnTo>
                  <a:lnTo>
                    <a:pt x="145" y="406"/>
                  </a:lnTo>
                  <a:lnTo>
                    <a:pt x="145" y="404"/>
                  </a:lnTo>
                  <a:lnTo>
                    <a:pt x="148" y="404"/>
                  </a:lnTo>
                  <a:lnTo>
                    <a:pt x="148" y="403"/>
                  </a:lnTo>
                  <a:lnTo>
                    <a:pt x="147" y="403"/>
                  </a:lnTo>
                  <a:lnTo>
                    <a:pt x="148" y="403"/>
                  </a:lnTo>
                  <a:lnTo>
                    <a:pt x="149" y="402"/>
                  </a:lnTo>
                  <a:lnTo>
                    <a:pt x="150" y="402"/>
                  </a:lnTo>
                  <a:lnTo>
                    <a:pt x="153" y="401"/>
                  </a:lnTo>
                  <a:lnTo>
                    <a:pt x="154" y="398"/>
                  </a:lnTo>
                  <a:lnTo>
                    <a:pt x="153" y="400"/>
                  </a:lnTo>
                  <a:lnTo>
                    <a:pt x="151" y="400"/>
                  </a:lnTo>
                  <a:lnTo>
                    <a:pt x="149" y="398"/>
                  </a:lnTo>
                  <a:lnTo>
                    <a:pt x="151" y="397"/>
                  </a:lnTo>
                  <a:lnTo>
                    <a:pt x="151" y="396"/>
                  </a:lnTo>
                  <a:lnTo>
                    <a:pt x="150" y="396"/>
                  </a:lnTo>
                  <a:lnTo>
                    <a:pt x="148" y="398"/>
                  </a:lnTo>
                  <a:lnTo>
                    <a:pt x="148" y="397"/>
                  </a:lnTo>
                  <a:lnTo>
                    <a:pt x="149" y="395"/>
                  </a:lnTo>
                  <a:lnTo>
                    <a:pt x="150" y="394"/>
                  </a:lnTo>
                  <a:lnTo>
                    <a:pt x="148" y="395"/>
                  </a:lnTo>
                  <a:lnTo>
                    <a:pt x="147" y="396"/>
                  </a:lnTo>
                  <a:lnTo>
                    <a:pt x="144" y="397"/>
                  </a:lnTo>
                  <a:lnTo>
                    <a:pt x="144" y="395"/>
                  </a:lnTo>
                  <a:lnTo>
                    <a:pt x="143" y="396"/>
                  </a:lnTo>
                  <a:lnTo>
                    <a:pt x="143" y="398"/>
                  </a:lnTo>
                  <a:lnTo>
                    <a:pt x="141" y="396"/>
                  </a:lnTo>
                  <a:lnTo>
                    <a:pt x="139" y="395"/>
                  </a:lnTo>
                  <a:lnTo>
                    <a:pt x="138" y="396"/>
                  </a:lnTo>
                  <a:lnTo>
                    <a:pt x="138" y="397"/>
                  </a:lnTo>
                  <a:lnTo>
                    <a:pt x="137" y="396"/>
                  </a:lnTo>
                  <a:lnTo>
                    <a:pt x="136" y="395"/>
                  </a:lnTo>
                  <a:lnTo>
                    <a:pt x="136" y="392"/>
                  </a:lnTo>
                  <a:lnTo>
                    <a:pt x="136" y="391"/>
                  </a:lnTo>
                  <a:lnTo>
                    <a:pt x="137" y="391"/>
                  </a:lnTo>
                  <a:lnTo>
                    <a:pt x="135" y="391"/>
                  </a:lnTo>
                  <a:lnTo>
                    <a:pt x="133" y="392"/>
                  </a:lnTo>
                  <a:lnTo>
                    <a:pt x="133" y="395"/>
                  </a:lnTo>
                  <a:lnTo>
                    <a:pt x="132" y="397"/>
                  </a:lnTo>
                  <a:lnTo>
                    <a:pt x="133" y="398"/>
                  </a:lnTo>
                  <a:lnTo>
                    <a:pt x="136" y="400"/>
                  </a:lnTo>
                  <a:lnTo>
                    <a:pt x="137" y="401"/>
                  </a:lnTo>
                  <a:lnTo>
                    <a:pt x="138" y="401"/>
                  </a:lnTo>
                  <a:lnTo>
                    <a:pt x="138" y="402"/>
                  </a:lnTo>
                  <a:lnTo>
                    <a:pt x="137" y="402"/>
                  </a:lnTo>
                  <a:lnTo>
                    <a:pt x="136" y="403"/>
                  </a:lnTo>
                  <a:lnTo>
                    <a:pt x="139" y="403"/>
                  </a:lnTo>
                  <a:lnTo>
                    <a:pt x="141" y="407"/>
                  </a:lnTo>
                  <a:lnTo>
                    <a:pt x="138" y="407"/>
                  </a:lnTo>
                  <a:lnTo>
                    <a:pt x="136" y="406"/>
                  </a:lnTo>
                  <a:lnTo>
                    <a:pt x="135" y="407"/>
                  </a:lnTo>
                  <a:lnTo>
                    <a:pt x="132" y="404"/>
                  </a:lnTo>
                  <a:lnTo>
                    <a:pt x="131" y="406"/>
                  </a:lnTo>
                  <a:lnTo>
                    <a:pt x="130" y="406"/>
                  </a:lnTo>
                  <a:lnTo>
                    <a:pt x="128" y="409"/>
                  </a:lnTo>
                  <a:lnTo>
                    <a:pt x="128" y="408"/>
                  </a:lnTo>
                  <a:lnTo>
                    <a:pt x="127" y="406"/>
                  </a:lnTo>
                  <a:lnTo>
                    <a:pt x="127" y="403"/>
                  </a:lnTo>
                  <a:lnTo>
                    <a:pt x="126" y="406"/>
                  </a:lnTo>
                  <a:lnTo>
                    <a:pt x="126" y="407"/>
                  </a:lnTo>
                  <a:lnTo>
                    <a:pt x="126" y="408"/>
                  </a:lnTo>
                  <a:lnTo>
                    <a:pt x="125" y="407"/>
                  </a:lnTo>
                  <a:lnTo>
                    <a:pt x="122" y="406"/>
                  </a:lnTo>
                  <a:lnTo>
                    <a:pt x="124" y="408"/>
                  </a:lnTo>
                  <a:lnTo>
                    <a:pt x="124" y="410"/>
                  </a:lnTo>
                  <a:lnTo>
                    <a:pt x="124" y="412"/>
                  </a:lnTo>
                  <a:lnTo>
                    <a:pt x="125" y="413"/>
                  </a:lnTo>
                  <a:lnTo>
                    <a:pt x="126" y="413"/>
                  </a:lnTo>
                  <a:lnTo>
                    <a:pt x="127" y="414"/>
                  </a:lnTo>
                  <a:lnTo>
                    <a:pt x="127" y="416"/>
                  </a:lnTo>
                  <a:lnTo>
                    <a:pt x="128" y="415"/>
                  </a:lnTo>
                  <a:lnTo>
                    <a:pt x="128" y="413"/>
                  </a:lnTo>
                  <a:lnTo>
                    <a:pt x="130" y="412"/>
                  </a:lnTo>
                  <a:lnTo>
                    <a:pt x="130" y="414"/>
                  </a:lnTo>
                  <a:lnTo>
                    <a:pt x="131" y="418"/>
                  </a:lnTo>
                  <a:lnTo>
                    <a:pt x="130" y="420"/>
                  </a:lnTo>
                  <a:lnTo>
                    <a:pt x="128" y="418"/>
                  </a:lnTo>
                  <a:lnTo>
                    <a:pt x="127" y="416"/>
                  </a:lnTo>
                  <a:lnTo>
                    <a:pt x="128" y="420"/>
                  </a:lnTo>
                  <a:lnTo>
                    <a:pt x="127" y="420"/>
                  </a:lnTo>
                  <a:lnTo>
                    <a:pt x="126" y="419"/>
                  </a:lnTo>
                  <a:lnTo>
                    <a:pt x="124" y="419"/>
                  </a:lnTo>
                  <a:lnTo>
                    <a:pt x="125" y="418"/>
                  </a:lnTo>
                  <a:lnTo>
                    <a:pt x="126" y="416"/>
                  </a:lnTo>
                  <a:lnTo>
                    <a:pt x="126" y="415"/>
                  </a:lnTo>
                  <a:lnTo>
                    <a:pt x="125" y="416"/>
                  </a:lnTo>
                  <a:lnTo>
                    <a:pt x="124" y="416"/>
                  </a:lnTo>
                  <a:lnTo>
                    <a:pt x="124" y="415"/>
                  </a:lnTo>
                  <a:lnTo>
                    <a:pt x="121" y="414"/>
                  </a:lnTo>
                  <a:lnTo>
                    <a:pt x="119" y="415"/>
                  </a:lnTo>
                  <a:lnTo>
                    <a:pt x="119" y="413"/>
                  </a:lnTo>
                  <a:lnTo>
                    <a:pt x="121" y="412"/>
                  </a:lnTo>
                  <a:lnTo>
                    <a:pt x="122" y="412"/>
                  </a:lnTo>
                  <a:lnTo>
                    <a:pt x="122" y="410"/>
                  </a:lnTo>
                  <a:lnTo>
                    <a:pt x="121" y="410"/>
                  </a:lnTo>
                  <a:lnTo>
                    <a:pt x="121" y="409"/>
                  </a:lnTo>
                  <a:lnTo>
                    <a:pt x="121" y="408"/>
                  </a:lnTo>
                  <a:lnTo>
                    <a:pt x="121" y="407"/>
                  </a:lnTo>
                  <a:lnTo>
                    <a:pt x="120" y="406"/>
                  </a:lnTo>
                  <a:lnTo>
                    <a:pt x="119" y="407"/>
                  </a:lnTo>
                  <a:lnTo>
                    <a:pt x="119" y="408"/>
                  </a:lnTo>
                  <a:lnTo>
                    <a:pt x="118" y="409"/>
                  </a:lnTo>
                  <a:lnTo>
                    <a:pt x="118" y="410"/>
                  </a:lnTo>
                  <a:lnTo>
                    <a:pt x="116" y="409"/>
                  </a:lnTo>
                  <a:lnTo>
                    <a:pt x="115" y="407"/>
                  </a:lnTo>
                  <a:lnTo>
                    <a:pt x="115" y="406"/>
                  </a:lnTo>
                  <a:lnTo>
                    <a:pt x="114" y="404"/>
                  </a:lnTo>
                  <a:lnTo>
                    <a:pt x="115" y="402"/>
                  </a:lnTo>
                  <a:lnTo>
                    <a:pt x="115" y="401"/>
                  </a:lnTo>
                  <a:lnTo>
                    <a:pt x="114" y="402"/>
                  </a:lnTo>
                  <a:lnTo>
                    <a:pt x="114" y="401"/>
                  </a:lnTo>
                  <a:lnTo>
                    <a:pt x="113" y="401"/>
                  </a:lnTo>
                  <a:lnTo>
                    <a:pt x="112" y="400"/>
                  </a:lnTo>
                  <a:lnTo>
                    <a:pt x="110" y="400"/>
                  </a:lnTo>
                  <a:lnTo>
                    <a:pt x="110" y="398"/>
                  </a:lnTo>
                  <a:lnTo>
                    <a:pt x="110" y="397"/>
                  </a:lnTo>
                  <a:lnTo>
                    <a:pt x="109" y="400"/>
                  </a:lnTo>
                  <a:lnTo>
                    <a:pt x="110" y="401"/>
                  </a:lnTo>
                  <a:lnTo>
                    <a:pt x="112" y="401"/>
                  </a:lnTo>
                  <a:lnTo>
                    <a:pt x="112" y="402"/>
                  </a:lnTo>
                  <a:lnTo>
                    <a:pt x="112" y="403"/>
                  </a:lnTo>
                  <a:lnTo>
                    <a:pt x="110" y="404"/>
                  </a:lnTo>
                  <a:lnTo>
                    <a:pt x="109" y="406"/>
                  </a:lnTo>
                  <a:lnTo>
                    <a:pt x="112" y="406"/>
                  </a:lnTo>
                  <a:lnTo>
                    <a:pt x="113" y="406"/>
                  </a:lnTo>
                  <a:lnTo>
                    <a:pt x="114" y="408"/>
                  </a:lnTo>
                  <a:lnTo>
                    <a:pt x="113" y="409"/>
                  </a:lnTo>
                  <a:lnTo>
                    <a:pt x="112" y="409"/>
                  </a:lnTo>
                  <a:lnTo>
                    <a:pt x="110" y="410"/>
                  </a:lnTo>
                  <a:lnTo>
                    <a:pt x="109" y="412"/>
                  </a:lnTo>
                  <a:lnTo>
                    <a:pt x="108" y="410"/>
                  </a:lnTo>
                  <a:lnTo>
                    <a:pt x="109" y="408"/>
                  </a:lnTo>
                  <a:lnTo>
                    <a:pt x="108" y="407"/>
                  </a:lnTo>
                  <a:lnTo>
                    <a:pt x="108" y="409"/>
                  </a:lnTo>
                  <a:lnTo>
                    <a:pt x="107" y="412"/>
                  </a:lnTo>
                  <a:lnTo>
                    <a:pt x="107" y="410"/>
                  </a:lnTo>
                  <a:lnTo>
                    <a:pt x="106" y="410"/>
                  </a:lnTo>
                  <a:lnTo>
                    <a:pt x="104" y="412"/>
                  </a:lnTo>
                  <a:lnTo>
                    <a:pt x="104" y="409"/>
                  </a:lnTo>
                  <a:lnTo>
                    <a:pt x="103" y="408"/>
                  </a:lnTo>
                  <a:lnTo>
                    <a:pt x="102" y="409"/>
                  </a:lnTo>
                  <a:lnTo>
                    <a:pt x="103" y="410"/>
                  </a:lnTo>
                  <a:lnTo>
                    <a:pt x="102" y="413"/>
                  </a:lnTo>
                  <a:lnTo>
                    <a:pt x="101" y="414"/>
                  </a:lnTo>
                  <a:lnTo>
                    <a:pt x="100" y="413"/>
                  </a:lnTo>
                  <a:lnTo>
                    <a:pt x="98" y="412"/>
                  </a:lnTo>
                  <a:lnTo>
                    <a:pt x="97" y="414"/>
                  </a:lnTo>
                  <a:lnTo>
                    <a:pt x="98" y="415"/>
                  </a:lnTo>
                  <a:lnTo>
                    <a:pt x="100" y="416"/>
                  </a:lnTo>
                  <a:lnTo>
                    <a:pt x="101" y="415"/>
                  </a:lnTo>
                  <a:lnTo>
                    <a:pt x="102" y="418"/>
                  </a:lnTo>
                  <a:lnTo>
                    <a:pt x="103" y="418"/>
                  </a:lnTo>
                  <a:lnTo>
                    <a:pt x="103" y="414"/>
                  </a:lnTo>
                  <a:lnTo>
                    <a:pt x="104" y="413"/>
                  </a:lnTo>
                  <a:lnTo>
                    <a:pt x="104" y="414"/>
                  </a:lnTo>
                  <a:lnTo>
                    <a:pt x="107" y="414"/>
                  </a:lnTo>
                  <a:lnTo>
                    <a:pt x="107" y="416"/>
                  </a:lnTo>
                  <a:lnTo>
                    <a:pt x="104" y="418"/>
                  </a:lnTo>
                  <a:lnTo>
                    <a:pt x="106" y="419"/>
                  </a:lnTo>
                  <a:lnTo>
                    <a:pt x="104" y="419"/>
                  </a:lnTo>
                  <a:lnTo>
                    <a:pt x="103" y="419"/>
                  </a:lnTo>
                  <a:lnTo>
                    <a:pt x="101" y="418"/>
                  </a:lnTo>
                  <a:lnTo>
                    <a:pt x="101" y="419"/>
                  </a:lnTo>
                  <a:lnTo>
                    <a:pt x="101" y="420"/>
                  </a:lnTo>
                  <a:lnTo>
                    <a:pt x="100" y="421"/>
                  </a:lnTo>
                  <a:lnTo>
                    <a:pt x="100" y="422"/>
                  </a:lnTo>
                  <a:lnTo>
                    <a:pt x="98" y="421"/>
                  </a:lnTo>
                  <a:lnTo>
                    <a:pt x="97" y="418"/>
                  </a:lnTo>
                  <a:lnTo>
                    <a:pt x="95" y="418"/>
                  </a:lnTo>
                  <a:lnTo>
                    <a:pt x="95" y="419"/>
                  </a:lnTo>
                  <a:lnTo>
                    <a:pt x="95" y="416"/>
                  </a:lnTo>
                  <a:lnTo>
                    <a:pt x="94" y="419"/>
                  </a:lnTo>
                  <a:lnTo>
                    <a:pt x="92" y="421"/>
                  </a:lnTo>
                  <a:lnTo>
                    <a:pt x="92" y="420"/>
                  </a:lnTo>
                  <a:lnTo>
                    <a:pt x="89" y="422"/>
                  </a:lnTo>
                  <a:lnTo>
                    <a:pt x="89" y="424"/>
                  </a:lnTo>
                  <a:lnTo>
                    <a:pt x="88" y="421"/>
                  </a:lnTo>
                  <a:lnTo>
                    <a:pt x="86" y="421"/>
                  </a:lnTo>
                  <a:lnTo>
                    <a:pt x="84" y="424"/>
                  </a:lnTo>
                  <a:lnTo>
                    <a:pt x="83" y="425"/>
                  </a:lnTo>
                  <a:lnTo>
                    <a:pt x="82" y="422"/>
                  </a:lnTo>
                  <a:lnTo>
                    <a:pt x="80" y="420"/>
                  </a:lnTo>
                  <a:lnTo>
                    <a:pt x="80" y="419"/>
                  </a:lnTo>
                  <a:lnTo>
                    <a:pt x="79" y="420"/>
                  </a:lnTo>
                  <a:lnTo>
                    <a:pt x="79" y="418"/>
                  </a:lnTo>
                  <a:lnTo>
                    <a:pt x="82" y="415"/>
                  </a:lnTo>
                  <a:lnTo>
                    <a:pt x="84" y="414"/>
                  </a:lnTo>
                  <a:lnTo>
                    <a:pt x="85" y="415"/>
                  </a:lnTo>
                  <a:lnTo>
                    <a:pt x="86" y="415"/>
                  </a:lnTo>
                  <a:lnTo>
                    <a:pt x="85" y="414"/>
                  </a:lnTo>
                  <a:lnTo>
                    <a:pt x="85" y="413"/>
                  </a:lnTo>
                  <a:lnTo>
                    <a:pt x="84" y="414"/>
                  </a:lnTo>
                  <a:lnTo>
                    <a:pt x="82" y="413"/>
                  </a:lnTo>
                  <a:lnTo>
                    <a:pt x="79" y="413"/>
                  </a:lnTo>
                  <a:lnTo>
                    <a:pt x="78" y="413"/>
                  </a:lnTo>
                  <a:lnTo>
                    <a:pt x="76" y="414"/>
                  </a:lnTo>
                  <a:lnTo>
                    <a:pt x="73" y="418"/>
                  </a:lnTo>
                  <a:lnTo>
                    <a:pt x="73" y="415"/>
                  </a:lnTo>
                  <a:lnTo>
                    <a:pt x="73" y="413"/>
                  </a:lnTo>
                  <a:lnTo>
                    <a:pt x="74" y="410"/>
                  </a:lnTo>
                  <a:lnTo>
                    <a:pt x="77" y="410"/>
                  </a:lnTo>
                  <a:lnTo>
                    <a:pt x="78" y="410"/>
                  </a:lnTo>
                  <a:lnTo>
                    <a:pt x="82" y="409"/>
                  </a:lnTo>
                  <a:lnTo>
                    <a:pt x="78" y="408"/>
                  </a:lnTo>
                  <a:lnTo>
                    <a:pt x="74" y="409"/>
                  </a:lnTo>
                  <a:lnTo>
                    <a:pt x="73" y="409"/>
                  </a:lnTo>
                  <a:lnTo>
                    <a:pt x="72" y="410"/>
                  </a:lnTo>
                  <a:lnTo>
                    <a:pt x="71" y="410"/>
                  </a:lnTo>
                  <a:lnTo>
                    <a:pt x="72" y="409"/>
                  </a:lnTo>
                  <a:lnTo>
                    <a:pt x="69" y="410"/>
                  </a:lnTo>
                  <a:lnTo>
                    <a:pt x="69" y="409"/>
                  </a:lnTo>
                  <a:lnTo>
                    <a:pt x="72" y="407"/>
                  </a:lnTo>
                  <a:lnTo>
                    <a:pt x="76" y="407"/>
                  </a:lnTo>
                  <a:lnTo>
                    <a:pt x="78" y="408"/>
                  </a:lnTo>
                  <a:lnTo>
                    <a:pt x="80" y="409"/>
                  </a:lnTo>
                  <a:lnTo>
                    <a:pt x="82" y="409"/>
                  </a:lnTo>
                  <a:lnTo>
                    <a:pt x="84" y="408"/>
                  </a:lnTo>
                  <a:lnTo>
                    <a:pt x="88" y="407"/>
                  </a:lnTo>
                  <a:lnTo>
                    <a:pt x="89" y="406"/>
                  </a:lnTo>
                  <a:lnTo>
                    <a:pt x="88" y="407"/>
                  </a:lnTo>
                  <a:lnTo>
                    <a:pt x="85" y="406"/>
                  </a:lnTo>
                  <a:lnTo>
                    <a:pt x="84" y="407"/>
                  </a:lnTo>
                  <a:lnTo>
                    <a:pt x="82" y="407"/>
                  </a:lnTo>
                  <a:lnTo>
                    <a:pt x="79" y="407"/>
                  </a:lnTo>
                  <a:lnTo>
                    <a:pt x="79" y="406"/>
                  </a:lnTo>
                  <a:lnTo>
                    <a:pt x="78" y="404"/>
                  </a:lnTo>
                  <a:lnTo>
                    <a:pt x="79" y="403"/>
                  </a:lnTo>
                  <a:lnTo>
                    <a:pt x="77" y="404"/>
                  </a:lnTo>
                  <a:lnTo>
                    <a:pt x="74" y="404"/>
                  </a:lnTo>
                  <a:lnTo>
                    <a:pt x="73" y="404"/>
                  </a:lnTo>
                  <a:lnTo>
                    <a:pt x="69" y="404"/>
                  </a:lnTo>
                  <a:lnTo>
                    <a:pt x="69" y="403"/>
                  </a:lnTo>
                  <a:lnTo>
                    <a:pt x="71" y="402"/>
                  </a:lnTo>
                  <a:lnTo>
                    <a:pt x="69" y="401"/>
                  </a:lnTo>
                  <a:lnTo>
                    <a:pt x="67" y="401"/>
                  </a:lnTo>
                  <a:lnTo>
                    <a:pt x="68" y="398"/>
                  </a:lnTo>
                  <a:lnTo>
                    <a:pt x="66" y="398"/>
                  </a:lnTo>
                  <a:lnTo>
                    <a:pt x="66" y="397"/>
                  </a:lnTo>
                  <a:lnTo>
                    <a:pt x="65" y="398"/>
                  </a:lnTo>
                  <a:lnTo>
                    <a:pt x="63" y="400"/>
                  </a:lnTo>
                  <a:lnTo>
                    <a:pt x="63" y="398"/>
                  </a:lnTo>
                  <a:lnTo>
                    <a:pt x="61" y="400"/>
                  </a:lnTo>
                  <a:lnTo>
                    <a:pt x="60" y="403"/>
                  </a:lnTo>
                  <a:lnTo>
                    <a:pt x="57" y="407"/>
                  </a:lnTo>
                  <a:lnTo>
                    <a:pt x="56" y="409"/>
                  </a:lnTo>
                  <a:lnTo>
                    <a:pt x="55" y="404"/>
                  </a:lnTo>
                  <a:lnTo>
                    <a:pt x="54" y="406"/>
                  </a:lnTo>
                  <a:lnTo>
                    <a:pt x="53" y="406"/>
                  </a:lnTo>
                  <a:lnTo>
                    <a:pt x="53" y="407"/>
                  </a:lnTo>
                  <a:lnTo>
                    <a:pt x="53" y="408"/>
                  </a:lnTo>
                  <a:lnTo>
                    <a:pt x="53" y="409"/>
                  </a:lnTo>
                  <a:lnTo>
                    <a:pt x="51" y="410"/>
                  </a:lnTo>
                  <a:lnTo>
                    <a:pt x="53" y="409"/>
                  </a:lnTo>
                  <a:lnTo>
                    <a:pt x="55" y="412"/>
                  </a:lnTo>
                  <a:lnTo>
                    <a:pt x="54" y="415"/>
                  </a:lnTo>
                  <a:lnTo>
                    <a:pt x="53" y="414"/>
                  </a:lnTo>
                  <a:lnTo>
                    <a:pt x="50" y="413"/>
                  </a:lnTo>
                  <a:lnTo>
                    <a:pt x="49" y="412"/>
                  </a:lnTo>
                  <a:lnTo>
                    <a:pt x="49" y="413"/>
                  </a:lnTo>
                  <a:lnTo>
                    <a:pt x="49" y="414"/>
                  </a:lnTo>
                  <a:lnTo>
                    <a:pt x="47" y="413"/>
                  </a:lnTo>
                  <a:lnTo>
                    <a:pt x="47" y="412"/>
                  </a:lnTo>
                  <a:lnTo>
                    <a:pt x="45" y="413"/>
                  </a:lnTo>
                  <a:lnTo>
                    <a:pt x="45" y="414"/>
                  </a:lnTo>
                  <a:lnTo>
                    <a:pt x="43" y="415"/>
                  </a:lnTo>
                  <a:lnTo>
                    <a:pt x="42" y="415"/>
                  </a:lnTo>
                  <a:lnTo>
                    <a:pt x="41" y="415"/>
                  </a:lnTo>
                  <a:lnTo>
                    <a:pt x="39" y="418"/>
                  </a:lnTo>
                  <a:lnTo>
                    <a:pt x="38" y="419"/>
                  </a:lnTo>
                  <a:lnTo>
                    <a:pt x="37" y="418"/>
                  </a:lnTo>
                  <a:lnTo>
                    <a:pt x="35" y="418"/>
                  </a:lnTo>
                  <a:lnTo>
                    <a:pt x="33" y="416"/>
                  </a:lnTo>
                  <a:lnTo>
                    <a:pt x="30" y="418"/>
                  </a:lnTo>
                  <a:lnTo>
                    <a:pt x="27" y="419"/>
                  </a:lnTo>
                  <a:lnTo>
                    <a:pt x="26" y="421"/>
                  </a:lnTo>
                  <a:lnTo>
                    <a:pt x="26" y="422"/>
                  </a:lnTo>
                  <a:lnTo>
                    <a:pt x="25" y="424"/>
                  </a:lnTo>
                  <a:lnTo>
                    <a:pt x="24" y="422"/>
                  </a:lnTo>
                  <a:lnTo>
                    <a:pt x="24" y="421"/>
                  </a:lnTo>
                  <a:lnTo>
                    <a:pt x="21" y="421"/>
                  </a:lnTo>
                  <a:lnTo>
                    <a:pt x="23" y="420"/>
                  </a:lnTo>
                  <a:lnTo>
                    <a:pt x="21" y="420"/>
                  </a:lnTo>
                  <a:lnTo>
                    <a:pt x="21" y="419"/>
                  </a:lnTo>
                  <a:lnTo>
                    <a:pt x="20" y="420"/>
                  </a:lnTo>
                  <a:lnTo>
                    <a:pt x="20" y="419"/>
                  </a:lnTo>
                  <a:lnTo>
                    <a:pt x="18" y="419"/>
                  </a:lnTo>
                  <a:lnTo>
                    <a:pt x="15" y="421"/>
                  </a:lnTo>
                  <a:lnTo>
                    <a:pt x="15" y="420"/>
                  </a:lnTo>
                  <a:lnTo>
                    <a:pt x="13" y="421"/>
                  </a:lnTo>
                  <a:lnTo>
                    <a:pt x="10" y="422"/>
                  </a:lnTo>
                  <a:lnTo>
                    <a:pt x="13" y="419"/>
                  </a:lnTo>
                  <a:lnTo>
                    <a:pt x="12" y="419"/>
                  </a:lnTo>
                  <a:lnTo>
                    <a:pt x="14" y="415"/>
                  </a:lnTo>
                  <a:lnTo>
                    <a:pt x="15" y="412"/>
                  </a:lnTo>
                  <a:lnTo>
                    <a:pt x="18" y="412"/>
                  </a:lnTo>
                  <a:lnTo>
                    <a:pt x="17" y="410"/>
                  </a:lnTo>
                  <a:lnTo>
                    <a:pt x="13" y="413"/>
                  </a:lnTo>
                  <a:lnTo>
                    <a:pt x="10" y="416"/>
                  </a:lnTo>
                  <a:lnTo>
                    <a:pt x="13" y="412"/>
                  </a:lnTo>
                  <a:lnTo>
                    <a:pt x="13" y="409"/>
                  </a:lnTo>
                  <a:lnTo>
                    <a:pt x="12" y="407"/>
                  </a:lnTo>
                  <a:lnTo>
                    <a:pt x="14" y="404"/>
                  </a:lnTo>
                  <a:lnTo>
                    <a:pt x="13" y="404"/>
                  </a:lnTo>
                  <a:lnTo>
                    <a:pt x="12" y="406"/>
                  </a:lnTo>
                  <a:lnTo>
                    <a:pt x="8" y="408"/>
                  </a:lnTo>
                  <a:lnTo>
                    <a:pt x="8" y="406"/>
                  </a:lnTo>
                  <a:lnTo>
                    <a:pt x="8" y="402"/>
                  </a:lnTo>
                  <a:lnTo>
                    <a:pt x="10" y="400"/>
                  </a:lnTo>
                  <a:lnTo>
                    <a:pt x="12" y="400"/>
                  </a:lnTo>
                  <a:lnTo>
                    <a:pt x="14" y="400"/>
                  </a:lnTo>
                  <a:lnTo>
                    <a:pt x="18" y="398"/>
                  </a:lnTo>
                  <a:lnTo>
                    <a:pt x="18" y="397"/>
                  </a:lnTo>
                  <a:lnTo>
                    <a:pt x="20" y="396"/>
                  </a:lnTo>
                  <a:lnTo>
                    <a:pt x="21" y="398"/>
                  </a:lnTo>
                  <a:lnTo>
                    <a:pt x="23" y="397"/>
                  </a:lnTo>
                  <a:lnTo>
                    <a:pt x="24" y="397"/>
                  </a:lnTo>
                  <a:lnTo>
                    <a:pt x="26" y="397"/>
                  </a:lnTo>
                  <a:lnTo>
                    <a:pt x="30" y="395"/>
                  </a:lnTo>
                  <a:lnTo>
                    <a:pt x="32" y="396"/>
                  </a:lnTo>
                  <a:lnTo>
                    <a:pt x="31" y="396"/>
                  </a:lnTo>
                  <a:lnTo>
                    <a:pt x="30" y="397"/>
                  </a:lnTo>
                  <a:lnTo>
                    <a:pt x="27" y="398"/>
                  </a:lnTo>
                  <a:lnTo>
                    <a:pt x="27" y="400"/>
                  </a:lnTo>
                  <a:lnTo>
                    <a:pt x="26" y="401"/>
                  </a:lnTo>
                  <a:lnTo>
                    <a:pt x="27" y="401"/>
                  </a:lnTo>
                  <a:lnTo>
                    <a:pt x="30" y="400"/>
                  </a:lnTo>
                  <a:lnTo>
                    <a:pt x="31" y="398"/>
                  </a:lnTo>
                  <a:lnTo>
                    <a:pt x="31" y="397"/>
                  </a:lnTo>
                  <a:lnTo>
                    <a:pt x="33" y="397"/>
                  </a:lnTo>
                  <a:lnTo>
                    <a:pt x="35" y="397"/>
                  </a:lnTo>
                  <a:lnTo>
                    <a:pt x="37" y="396"/>
                  </a:lnTo>
                  <a:lnTo>
                    <a:pt x="36" y="396"/>
                  </a:lnTo>
                  <a:lnTo>
                    <a:pt x="35" y="396"/>
                  </a:lnTo>
                  <a:lnTo>
                    <a:pt x="35" y="395"/>
                  </a:lnTo>
                  <a:lnTo>
                    <a:pt x="36" y="391"/>
                  </a:lnTo>
                  <a:lnTo>
                    <a:pt x="38" y="390"/>
                  </a:lnTo>
                  <a:lnTo>
                    <a:pt x="38" y="389"/>
                  </a:lnTo>
                  <a:lnTo>
                    <a:pt x="39" y="388"/>
                  </a:lnTo>
                  <a:lnTo>
                    <a:pt x="37" y="389"/>
                  </a:lnTo>
                  <a:lnTo>
                    <a:pt x="36" y="390"/>
                  </a:lnTo>
                  <a:lnTo>
                    <a:pt x="37" y="388"/>
                  </a:lnTo>
                  <a:lnTo>
                    <a:pt x="35" y="388"/>
                  </a:lnTo>
                  <a:lnTo>
                    <a:pt x="32" y="391"/>
                  </a:lnTo>
                  <a:lnTo>
                    <a:pt x="35" y="386"/>
                  </a:lnTo>
                  <a:lnTo>
                    <a:pt x="36" y="384"/>
                  </a:lnTo>
                  <a:lnTo>
                    <a:pt x="38" y="382"/>
                  </a:lnTo>
                  <a:lnTo>
                    <a:pt x="38" y="380"/>
                  </a:lnTo>
                  <a:lnTo>
                    <a:pt x="39" y="379"/>
                  </a:lnTo>
                  <a:lnTo>
                    <a:pt x="37" y="378"/>
                  </a:lnTo>
                  <a:lnTo>
                    <a:pt x="33" y="379"/>
                  </a:lnTo>
                  <a:lnTo>
                    <a:pt x="36" y="376"/>
                  </a:lnTo>
                  <a:lnTo>
                    <a:pt x="38" y="374"/>
                  </a:lnTo>
                  <a:lnTo>
                    <a:pt x="42" y="374"/>
                  </a:lnTo>
                  <a:lnTo>
                    <a:pt x="43" y="376"/>
                  </a:lnTo>
                  <a:lnTo>
                    <a:pt x="45" y="377"/>
                  </a:lnTo>
                  <a:lnTo>
                    <a:pt x="45" y="376"/>
                  </a:lnTo>
                  <a:lnTo>
                    <a:pt x="48" y="377"/>
                  </a:lnTo>
                  <a:lnTo>
                    <a:pt x="49" y="377"/>
                  </a:lnTo>
                  <a:lnTo>
                    <a:pt x="48" y="376"/>
                  </a:lnTo>
                  <a:lnTo>
                    <a:pt x="44" y="374"/>
                  </a:lnTo>
                  <a:lnTo>
                    <a:pt x="44" y="373"/>
                  </a:lnTo>
                  <a:lnTo>
                    <a:pt x="45" y="372"/>
                  </a:lnTo>
                  <a:lnTo>
                    <a:pt x="47" y="371"/>
                  </a:lnTo>
                  <a:lnTo>
                    <a:pt x="45" y="370"/>
                  </a:lnTo>
                  <a:lnTo>
                    <a:pt x="44" y="370"/>
                  </a:lnTo>
                  <a:lnTo>
                    <a:pt x="44" y="372"/>
                  </a:lnTo>
                  <a:lnTo>
                    <a:pt x="43" y="371"/>
                  </a:lnTo>
                  <a:lnTo>
                    <a:pt x="43" y="368"/>
                  </a:lnTo>
                  <a:lnTo>
                    <a:pt x="44" y="367"/>
                  </a:lnTo>
                  <a:lnTo>
                    <a:pt x="43" y="367"/>
                  </a:lnTo>
                  <a:lnTo>
                    <a:pt x="43" y="366"/>
                  </a:lnTo>
                  <a:lnTo>
                    <a:pt x="42" y="367"/>
                  </a:lnTo>
                  <a:lnTo>
                    <a:pt x="39" y="368"/>
                  </a:lnTo>
                  <a:lnTo>
                    <a:pt x="39" y="370"/>
                  </a:lnTo>
                  <a:lnTo>
                    <a:pt x="39" y="367"/>
                  </a:lnTo>
                  <a:lnTo>
                    <a:pt x="39" y="366"/>
                  </a:lnTo>
                  <a:lnTo>
                    <a:pt x="38" y="367"/>
                  </a:lnTo>
                  <a:lnTo>
                    <a:pt x="39" y="364"/>
                  </a:lnTo>
                  <a:lnTo>
                    <a:pt x="41" y="362"/>
                  </a:lnTo>
                  <a:lnTo>
                    <a:pt x="43" y="361"/>
                  </a:lnTo>
                  <a:lnTo>
                    <a:pt x="45" y="359"/>
                  </a:lnTo>
                  <a:lnTo>
                    <a:pt x="47" y="356"/>
                  </a:lnTo>
                  <a:lnTo>
                    <a:pt x="45" y="356"/>
                  </a:lnTo>
                  <a:lnTo>
                    <a:pt x="44" y="358"/>
                  </a:lnTo>
                  <a:lnTo>
                    <a:pt x="44" y="356"/>
                  </a:lnTo>
                  <a:lnTo>
                    <a:pt x="43" y="358"/>
                  </a:lnTo>
                  <a:lnTo>
                    <a:pt x="43" y="359"/>
                  </a:lnTo>
                  <a:lnTo>
                    <a:pt x="43" y="358"/>
                  </a:lnTo>
                  <a:lnTo>
                    <a:pt x="42" y="359"/>
                  </a:lnTo>
                  <a:lnTo>
                    <a:pt x="41" y="359"/>
                  </a:lnTo>
                  <a:lnTo>
                    <a:pt x="39" y="359"/>
                  </a:lnTo>
                  <a:lnTo>
                    <a:pt x="38" y="361"/>
                  </a:lnTo>
                  <a:lnTo>
                    <a:pt x="38" y="359"/>
                  </a:lnTo>
                  <a:lnTo>
                    <a:pt x="39" y="356"/>
                  </a:lnTo>
                  <a:lnTo>
                    <a:pt x="38" y="356"/>
                  </a:lnTo>
                  <a:lnTo>
                    <a:pt x="36" y="355"/>
                  </a:lnTo>
                  <a:lnTo>
                    <a:pt x="36" y="353"/>
                  </a:lnTo>
                  <a:lnTo>
                    <a:pt x="37" y="352"/>
                  </a:lnTo>
                  <a:lnTo>
                    <a:pt x="36" y="350"/>
                  </a:lnTo>
                  <a:lnTo>
                    <a:pt x="35" y="349"/>
                  </a:lnTo>
                  <a:lnTo>
                    <a:pt x="30" y="353"/>
                  </a:lnTo>
                  <a:lnTo>
                    <a:pt x="29" y="358"/>
                  </a:lnTo>
                  <a:lnTo>
                    <a:pt x="24" y="364"/>
                  </a:lnTo>
                  <a:lnTo>
                    <a:pt x="27" y="359"/>
                  </a:lnTo>
                  <a:lnTo>
                    <a:pt x="27" y="355"/>
                  </a:lnTo>
                  <a:lnTo>
                    <a:pt x="25" y="356"/>
                  </a:lnTo>
                  <a:lnTo>
                    <a:pt x="23" y="358"/>
                  </a:lnTo>
                  <a:lnTo>
                    <a:pt x="26" y="356"/>
                  </a:lnTo>
                  <a:lnTo>
                    <a:pt x="29" y="354"/>
                  </a:lnTo>
                  <a:lnTo>
                    <a:pt x="29" y="353"/>
                  </a:lnTo>
                  <a:lnTo>
                    <a:pt x="23" y="355"/>
                  </a:lnTo>
                  <a:lnTo>
                    <a:pt x="19" y="359"/>
                  </a:lnTo>
                  <a:lnTo>
                    <a:pt x="21" y="355"/>
                  </a:lnTo>
                  <a:lnTo>
                    <a:pt x="19" y="356"/>
                  </a:lnTo>
                  <a:lnTo>
                    <a:pt x="18" y="355"/>
                  </a:lnTo>
                  <a:lnTo>
                    <a:pt x="20" y="355"/>
                  </a:lnTo>
                  <a:lnTo>
                    <a:pt x="19" y="354"/>
                  </a:lnTo>
                  <a:lnTo>
                    <a:pt x="18" y="354"/>
                  </a:lnTo>
                  <a:lnTo>
                    <a:pt x="15" y="355"/>
                  </a:lnTo>
                  <a:lnTo>
                    <a:pt x="14" y="355"/>
                  </a:lnTo>
                  <a:lnTo>
                    <a:pt x="14" y="354"/>
                  </a:lnTo>
                  <a:lnTo>
                    <a:pt x="13" y="354"/>
                  </a:lnTo>
                  <a:lnTo>
                    <a:pt x="10" y="354"/>
                  </a:lnTo>
                  <a:lnTo>
                    <a:pt x="12" y="352"/>
                  </a:lnTo>
                  <a:lnTo>
                    <a:pt x="13" y="350"/>
                  </a:lnTo>
                  <a:lnTo>
                    <a:pt x="12" y="350"/>
                  </a:lnTo>
                  <a:lnTo>
                    <a:pt x="13" y="349"/>
                  </a:lnTo>
                  <a:lnTo>
                    <a:pt x="12" y="349"/>
                  </a:lnTo>
                  <a:lnTo>
                    <a:pt x="13" y="348"/>
                  </a:lnTo>
                  <a:lnTo>
                    <a:pt x="13" y="347"/>
                  </a:lnTo>
                  <a:lnTo>
                    <a:pt x="17" y="345"/>
                  </a:lnTo>
                  <a:lnTo>
                    <a:pt x="19" y="344"/>
                  </a:lnTo>
                  <a:lnTo>
                    <a:pt x="18" y="344"/>
                  </a:lnTo>
                  <a:lnTo>
                    <a:pt x="19" y="343"/>
                  </a:lnTo>
                  <a:lnTo>
                    <a:pt x="18" y="343"/>
                  </a:lnTo>
                  <a:lnTo>
                    <a:pt x="19" y="342"/>
                  </a:lnTo>
                  <a:lnTo>
                    <a:pt x="20" y="341"/>
                  </a:lnTo>
                  <a:lnTo>
                    <a:pt x="17" y="341"/>
                  </a:lnTo>
                  <a:lnTo>
                    <a:pt x="15" y="341"/>
                  </a:lnTo>
                  <a:lnTo>
                    <a:pt x="13" y="339"/>
                  </a:lnTo>
                  <a:lnTo>
                    <a:pt x="14" y="338"/>
                  </a:lnTo>
                  <a:lnTo>
                    <a:pt x="17" y="337"/>
                  </a:lnTo>
                  <a:lnTo>
                    <a:pt x="19" y="337"/>
                  </a:lnTo>
                  <a:lnTo>
                    <a:pt x="21" y="337"/>
                  </a:lnTo>
                  <a:lnTo>
                    <a:pt x="23" y="339"/>
                  </a:lnTo>
                  <a:lnTo>
                    <a:pt x="25" y="341"/>
                  </a:lnTo>
                  <a:lnTo>
                    <a:pt x="26" y="341"/>
                  </a:lnTo>
                  <a:lnTo>
                    <a:pt x="27" y="339"/>
                  </a:lnTo>
                  <a:lnTo>
                    <a:pt x="29" y="339"/>
                  </a:lnTo>
                  <a:lnTo>
                    <a:pt x="31" y="339"/>
                  </a:lnTo>
                  <a:lnTo>
                    <a:pt x="32" y="338"/>
                  </a:lnTo>
                  <a:lnTo>
                    <a:pt x="33" y="338"/>
                  </a:lnTo>
                  <a:lnTo>
                    <a:pt x="35" y="337"/>
                  </a:lnTo>
                  <a:lnTo>
                    <a:pt x="36" y="337"/>
                  </a:lnTo>
                  <a:lnTo>
                    <a:pt x="36" y="335"/>
                  </a:lnTo>
                  <a:lnTo>
                    <a:pt x="37" y="335"/>
                  </a:lnTo>
                  <a:lnTo>
                    <a:pt x="37" y="332"/>
                  </a:lnTo>
                  <a:lnTo>
                    <a:pt x="38" y="331"/>
                  </a:lnTo>
                  <a:lnTo>
                    <a:pt x="36" y="332"/>
                  </a:lnTo>
                  <a:lnTo>
                    <a:pt x="32" y="335"/>
                  </a:lnTo>
                  <a:lnTo>
                    <a:pt x="31" y="336"/>
                  </a:lnTo>
                  <a:lnTo>
                    <a:pt x="31" y="332"/>
                  </a:lnTo>
                  <a:lnTo>
                    <a:pt x="30" y="330"/>
                  </a:lnTo>
                  <a:lnTo>
                    <a:pt x="30" y="327"/>
                  </a:lnTo>
                  <a:lnTo>
                    <a:pt x="27" y="327"/>
                  </a:lnTo>
                  <a:lnTo>
                    <a:pt x="25" y="329"/>
                  </a:lnTo>
                  <a:lnTo>
                    <a:pt x="24" y="331"/>
                  </a:lnTo>
                  <a:lnTo>
                    <a:pt x="24" y="329"/>
                  </a:lnTo>
                  <a:lnTo>
                    <a:pt x="21" y="329"/>
                  </a:lnTo>
                  <a:lnTo>
                    <a:pt x="20" y="327"/>
                  </a:lnTo>
                  <a:lnTo>
                    <a:pt x="19" y="327"/>
                  </a:lnTo>
                  <a:lnTo>
                    <a:pt x="18" y="326"/>
                  </a:lnTo>
                  <a:lnTo>
                    <a:pt x="18" y="321"/>
                  </a:lnTo>
                  <a:lnTo>
                    <a:pt x="15" y="324"/>
                  </a:lnTo>
                  <a:lnTo>
                    <a:pt x="17" y="327"/>
                  </a:lnTo>
                  <a:lnTo>
                    <a:pt x="17" y="332"/>
                  </a:lnTo>
                  <a:lnTo>
                    <a:pt x="15" y="335"/>
                  </a:lnTo>
                  <a:lnTo>
                    <a:pt x="12" y="329"/>
                  </a:lnTo>
                  <a:lnTo>
                    <a:pt x="10" y="329"/>
                  </a:lnTo>
                  <a:lnTo>
                    <a:pt x="9" y="329"/>
                  </a:lnTo>
                  <a:lnTo>
                    <a:pt x="8" y="331"/>
                  </a:lnTo>
                  <a:lnTo>
                    <a:pt x="8" y="327"/>
                  </a:lnTo>
                  <a:lnTo>
                    <a:pt x="7" y="326"/>
                  </a:lnTo>
                  <a:lnTo>
                    <a:pt x="6" y="326"/>
                  </a:lnTo>
                  <a:lnTo>
                    <a:pt x="4" y="326"/>
                  </a:lnTo>
                  <a:lnTo>
                    <a:pt x="4" y="325"/>
                  </a:lnTo>
                  <a:lnTo>
                    <a:pt x="6" y="323"/>
                  </a:lnTo>
                  <a:lnTo>
                    <a:pt x="8" y="320"/>
                  </a:lnTo>
                  <a:lnTo>
                    <a:pt x="7" y="319"/>
                  </a:lnTo>
                  <a:lnTo>
                    <a:pt x="8" y="317"/>
                  </a:lnTo>
                  <a:lnTo>
                    <a:pt x="8" y="314"/>
                  </a:lnTo>
                  <a:lnTo>
                    <a:pt x="9" y="313"/>
                  </a:lnTo>
                  <a:lnTo>
                    <a:pt x="10" y="314"/>
                  </a:lnTo>
                  <a:lnTo>
                    <a:pt x="10" y="313"/>
                  </a:lnTo>
                  <a:lnTo>
                    <a:pt x="12" y="313"/>
                  </a:lnTo>
                  <a:lnTo>
                    <a:pt x="14" y="311"/>
                  </a:lnTo>
                  <a:lnTo>
                    <a:pt x="15" y="307"/>
                  </a:lnTo>
                  <a:lnTo>
                    <a:pt x="15" y="308"/>
                  </a:lnTo>
                  <a:lnTo>
                    <a:pt x="17" y="308"/>
                  </a:lnTo>
                  <a:lnTo>
                    <a:pt x="18" y="307"/>
                  </a:lnTo>
                  <a:lnTo>
                    <a:pt x="19" y="307"/>
                  </a:lnTo>
                  <a:lnTo>
                    <a:pt x="20" y="306"/>
                  </a:lnTo>
                  <a:lnTo>
                    <a:pt x="23" y="305"/>
                  </a:lnTo>
                  <a:lnTo>
                    <a:pt x="17" y="302"/>
                  </a:lnTo>
                  <a:lnTo>
                    <a:pt x="12" y="300"/>
                  </a:lnTo>
                  <a:lnTo>
                    <a:pt x="10" y="302"/>
                  </a:lnTo>
                  <a:lnTo>
                    <a:pt x="10" y="305"/>
                  </a:lnTo>
                  <a:lnTo>
                    <a:pt x="9" y="305"/>
                  </a:lnTo>
                  <a:lnTo>
                    <a:pt x="8" y="306"/>
                  </a:lnTo>
                  <a:lnTo>
                    <a:pt x="6" y="308"/>
                  </a:lnTo>
                  <a:lnTo>
                    <a:pt x="6" y="306"/>
                  </a:lnTo>
                  <a:lnTo>
                    <a:pt x="6" y="305"/>
                  </a:lnTo>
                  <a:lnTo>
                    <a:pt x="7" y="303"/>
                  </a:lnTo>
                  <a:lnTo>
                    <a:pt x="7" y="301"/>
                  </a:lnTo>
                  <a:lnTo>
                    <a:pt x="8" y="300"/>
                  </a:lnTo>
                  <a:lnTo>
                    <a:pt x="9" y="300"/>
                  </a:lnTo>
                  <a:lnTo>
                    <a:pt x="10" y="300"/>
                  </a:lnTo>
                  <a:lnTo>
                    <a:pt x="8" y="299"/>
                  </a:lnTo>
                  <a:lnTo>
                    <a:pt x="6" y="297"/>
                  </a:lnTo>
                  <a:lnTo>
                    <a:pt x="6" y="296"/>
                  </a:lnTo>
                  <a:lnTo>
                    <a:pt x="7" y="296"/>
                  </a:lnTo>
                  <a:lnTo>
                    <a:pt x="9" y="299"/>
                  </a:lnTo>
                  <a:lnTo>
                    <a:pt x="15" y="301"/>
                  </a:lnTo>
                  <a:lnTo>
                    <a:pt x="24" y="305"/>
                  </a:lnTo>
                  <a:lnTo>
                    <a:pt x="19" y="300"/>
                  </a:lnTo>
                  <a:lnTo>
                    <a:pt x="18" y="300"/>
                  </a:lnTo>
                  <a:lnTo>
                    <a:pt x="18" y="301"/>
                  </a:lnTo>
                  <a:lnTo>
                    <a:pt x="17" y="300"/>
                  </a:lnTo>
                  <a:lnTo>
                    <a:pt x="15" y="297"/>
                  </a:lnTo>
                  <a:lnTo>
                    <a:pt x="12" y="294"/>
                  </a:lnTo>
                  <a:lnTo>
                    <a:pt x="9" y="291"/>
                  </a:lnTo>
                  <a:lnTo>
                    <a:pt x="9" y="294"/>
                  </a:lnTo>
                  <a:lnTo>
                    <a:pt x="9" y="296"/>
                  </a:lnTo>
                  <a:lnTo>
                    <a:pt x="8" y="295"/>
                  </a:lnTo>
                  <a:lnTo>
                    <a:pt x="7" y="295"/>
                  </a:lnTo>
                  <a:lnTo>
                    <a:pt x="7" y="293"/>
                  </a:lnTo>
                  <a:lnTo>
                    <a:pt x="6" y="293"/>
                  </a:lnTo>
                  <a:lnTo>
                    <a:pt x="6" y="294"/>
                  </a:lnTo>
                  <a:lnTo>
                    <a:pt x="2" y="295"/>
                  </a:lnTo>
                  <a:lnTo>
                    <a:pt x="0" y="295"/>
                  </a:lnTo>
                  <a:lnTo>
                    <a:pt x="2" y="293"/>
                  </a:lnTo>
                  <a:lnTo>
                    <a:pt x="2" y="291"/>
                  </a:lnTo>
                  <a:lnTo>
                    <a:pt x="6" y="291"/>
                  </a:lnTo>
                  <a:lnTo>
                    <a:pt x="7" y="291"/>
                  </a:lnTo>
                  <a:lnTo>
                    <a:pt x="8" y="291"/>
                  </a:lnTo>
                  <a:lnTo>
                    <a:pt x="4" y="287"/>
                  </a:lnTo>
                  <a:lnTo>
                    <a:pt x="3" y="285"/>
                  </a:lnTo>
                  <a:lnTo>
                    <a:pt x="0" y="284"/>
                  </a:lnTo>
                  <a:lnTo>
                    <a:pt x="0" y="283"/>
                  </a:lnTo>
                  <a:lnTo>
                    <a:pt x="1" y="283"/>
                  </a:lnTo>
                  <a:lnTo>
                    <a:pt x="3" y="284"/>
                  </a:lnTo>
                  <a:lnTo>
                    <a:pt x="4" y="284"/>
                  </a:lnTo>
                  <a:lnTo>
                    <a:pt x="6" y="284"/>
                  </a:lnTo>
                  <a:lnTo>
                    <a:pt x="9" y="287"/>
                  </a:lnTo>
                  <a:lnTo>
                    <a:pt x="9" y="289"/>
                  </a:lnTo>
                  <a:lnTo>
                    <a:pt x="8" y="288"/>
                  </a:lnTo>
                  <a:lnTo>
                    <a:pt x="8" y="289"/>
                  </a:lnTo>
                  <a:lnTo>
                    <a:pt x="7" y="287"/>
                  </a:lnTo>
                  <a:lnTo>
                    <a:pt x="4" y="287"/>
                  </a:lnTo>
                  <a:lnTo>
                    <a:pt x="8" y="290"/>
                  </a:lnTo>
                  <a:lnTo>
                    <a:pt x="15" y="296"/>
                  </a:lnTo>
                  <a:lnTo>
                    <a:pt x="17" y="296"/>
                  </a:lnTo>
                  <a:lnTo>
                    <a:pt x="19" y="295"/>
                  </a:lnTo>
                  <a:lnTo>
                    <a:pt x="20" y="296"/>
                  </a:lnTo>
                  <a:lnTo>
                    <a:pt x="19" y="297"/>
                  </a:lnTo>
                  <a:lnTo>
                    <a:pt x="19" y="299"/>
                  </a:lnTo>
                  <a:lnTo>
                    <a:pt x="24" y="303"/>
                  </a:lnTo>
                  <a:lnTo>
                    <a:pt x="26" y="303"/>
                  </a:lnTo>
                  <a:lnTo>
                    <a:pt x="27" y="301"/>
                  </a:lnTo>
                  <a:lnTo>
                    <a:pt x="29" y="300"/>
                  </a:lnTo>
                  <a:lnTo>
                    <a:pt x="27" y="297"/>
                  </a:lnTo>
                  <a:lnTo>
                    <a:pt x="30" y="297"/>
                  </a:lnTo>
                  <a:lnTo>
                    <a:pt x="32" y="300"/>
                  </a:lnTo>
                  <a:lnTo>
                    <a:pt x="33" y="301"/>
                  </a:lnTo>
                  <a:lnTo>
                    <a:pt x="36" y="302"/>
                  </a:lnTo>
                  <a:lnTo>
                    <a:pt x="36" y="299"/>
                  </a:lnTo>
                  <a:lnTo>
                    <a:pt x="37" y="295"/>
                  </a:lnTo>
                  <a:lnTo>
                    <a:pt x="41" y="293"/>
                  </a:lnTo>
                  <a:lnTo>
                    <a:pt x="42" y="291"/>
                  </a:lnTo>
                  <a:lnTo>
                    <a:pt x="45" y="291"/>
                  </a:lnTo>
                  <a:lnTo>
                    <a:pt x="47" y="293"/>
                  </a:lnTo>
                  <a:lnTo>
                    <a:pt x="49" y="293"/>
                  </a:lnTo>
                  <a:lnTo>
                    <a:pt x="50" y="294"/>
                  </a:lnTo>
                  <a:lnTo>
                    <a:pt x="49" y="294"/>
                  </a:lnTo>
                  <a:lnTo>
                    <a:pt x="49" y="296"/>
                  </a:lnTo>
                  <a:lnTo>
                    <a:pt x="50" y="296"/>
                  </a:lnTo>
                  <a:lnTo>
                    <a:pt x="53" y="296"/>
                  </a:lnTo>
                  <a:lnTo>
                    <a:pt x="54" y="297"/>
                  </a:lnTo>
                  <a:lnTo>
                    <a:pt x="54" y="296"/>
                  </a:lnTo>
                  <a:lnTo>
                    <a:pt x="54" y="294"/>
                  </a:lnTo>
                  <a:lnTo>
                    <a:pt x="53" y="295"/>
                  </a:lnTo>
                  <a:lnTo>
                    <a:pt x="51" y="295"/>
                  </a:lnTo>
                  <a:lnTo>
                    <a:pt x="53" y="294"/>
                  </a:lnTo>
                  <a:lnTo>
                    <a:pt x="53" y="293"/>
                  </a:lnTo>
                  <a:lnTo>
                    <a:pt x="51" y="293"/>
                  </a:lnTo>
                  <a:lnTo>
                    <a:pt x="50" y="291"/>
                  </a:lnTo>
                  <a:lnTo>
                    <a:pt x="53" y="290"/>
                  </a:lnTo>
                  <a:lnTo>
                    <a:pt x="53" y="289"/>
                  </a:lnTo>
                  <a:lnTo>
                    <a:pt x="54" y="288"/>
                  </a:lnTo>
                  <a:lnTo>
                    <a:pt x="51" y="289"/>
                  </a:lnTo>
                  <a:lnTo>
                    <a:pt x="49" y="288"/>
                  </a:lnTo>
                  <a:lnTo>
                    <a:pt x="51" y="287"/>
                  </a:lnTo>
                  <a:lnTo>
                    <a:pt x="51" y="285"/>
                  </a:lnTo>
                  <a:lnTo>
                    <a:pt x="53" y="287"/>
                  </a:lnTo>
                  <a:lnTo>
                    <a:pt x="55" y="287"/>
                  </a:lnTo>
                  <a:lnTo>
                    <a:pt x="53" y="285"/>
                  </a:lnTo>
                  <a:lnTo>
                    <a:pt x="56" y="285"/>
                  </a:lnTo>
                  <a:lnTo>
                    <a:pt x="59" y="287"/>
                  </a:lnTo>
                  <a:lnTo>
                    <a:pt x="61" y="285"/>
                  </a:lnTo>
                  <a:lnTo>
                    <a:pt x="61" y="283"/>
                  </a:lnTo>
                  <a:lnTo>
                    <a:pt x="62" y="284"/>
                  </a:lnTo>
                  <a:lnTo>
                    <a:pt x="63" y="285"/>
                  </a:lnTo>
                  <a:lnTo>
                    <a:pt x="63" y="288"/>
                  </a:lnTo>
                  <a:lnTo>
                    <a:pt x="65" y="288"/>
                  </a:lnTo>
                  <a:lnTo>
                    <a:pt x="66" y="285"/>
                  </a:lnTo>
                  <a:lnTo>
                    <a:pt x="67" y="282"/>
                  </a:lnTo>
                  <a:lnTo>
                    <a:pt x="66" y="282"/>
                  </a:lnTo>
                  <a:lnTo>
                    <a:pt x="68" y="282"/>
                  </a:lnTo>
                  <a:lnTo>
                    <a:pt x="67" y="281"/>
                  </a:lnTo>
                  <a:lnTo>
                    <a:pt x="69" y="281"/>
                  </a:lnTo>
                  <a:lnTo>
                    <a:pt x="72" y="279"/>
                  </a:lnTo>
                  <a:lnTo>
                    <a:pt x="71" y="281"/>
                  </a:lnTo>
                  <a:lnTo>
                    <a:pt x="71" y="282"/>
                  </a:lnTo>
                  <a:lnTo>
                    <a:pt x="73" y="282"/>
                  </a:lnTo>
                  <a:lnTo>
                    <a:pt x="74" y="279"/>
                  </a:lnTo>
                  <a:lnTo>
                    <a:pt x="77" y="278"/>
                  </a:lnTo>
                  <a:lnTo>
                    <a:pt x="77" y="276"/>
                  </a:lnTo>
                  <a:lnTo>
                    <a:pt x="76" y="275"/>
                  </a:lnTo>
                  <a:lnTo>
                    <a:pt x="74" y="275"/>
                  </a:lnTo>
                  <a:lnTo>
                    <a:pt x="72" y="276"/>
                  </a:lnTo>
                  <a:lnTo>
                    <a:pt x="69" y="276"/>
                  </a:lnTo>
                  <a:lnTo>
                    <a:pt x="69" y="273"/>
                  </a:lnTo>
                  <a:lnTo>
                    <a:pt x="72" y="272"/>
                  </a:lnTo>
                  <a:lnTo>
                    <a:pt x="72" y="271"/>
                  </a:lnTo>
                  <a:lnTo>
                    <a:pt x="72" y="270"/>
                  </a:lnTo>
                  <a:lnTo>
                    <a:pt x="67" y="266"/>
                  </a:lnTo>
                  <a:lnTo>
                    <a:pt x="66" y="267"/>
                  </a:lnTo>
                  <a:lnTo>
                    <a:pt x="65" y="269"/>
                  </a:lnTo>
                  <a:lnTo>
                    <a:pt x="65" y="266"/>
                  </a:lnTo>
                  <a:lnTo>
                    <a:pt x="66" y="266"/>
                  </a:lnTo>
                  <a:lnTo>
                    <a:pt x="65" y="264"/>
                  </a:lnTo>
                  <a:lnTo>
                    <a:pt x="63" y="265"/>
                  </a:lnTo>
                  <a:lnTo>
                    <a:pt x="62" y="266"/>
                  </a:lnTo>
                  <a:lnTo>
                    <a:pt x="60" y="266"/>
                  </a:lnTo>
                  <a:lnTo>
                    <a:pt x="61" y="265"/>
                  </a:lnTo>
                  <a:lnTo>
                    <a:pt x="62" y="264"/>
                  </a:lnTo>
                  <a:lnTo>
                    <a:pt x="61" y="264"/>
                  </a:lnTo>
                  <a:lnTo>
                    <a:pt x="62" y="263"/>
                  </a:lnTo>
                  <a:lnTo>
                    <a:pt x="60" y="264"/>
                  </a:lnTo>
                  <a:lnTo>
                    <a:pt x="57" y="266"/>
                  </a:lnTo>
                  <a:lnTo>
                    <a:pt x="57" y="265"/>
                  </a:lnTo>
                  <a:lnTo>
                    <a:pt x="56" y="265"/>
                  </a:lnTo>
                  <a:lnTo>
                    <a:pt x="53" y="265"/>
                  </a:lnTo>
                  <a:lnTo>
                    <a:pt x="56" y="264"/>
                  </a:lnTo>
                  <a:lnTo>
                    <a:pt x="57" y="263"/>
                  </a:lnTo>
                  <a:lnTo>
                    <a:pt x="60" y="263"/>
                  </a:lnTo>
                  <a:lnTo>
                    <a:pt x="61" y="261"/>
                  </a:lnTo>
                  <a:lnTo>
                    <a:pt x="59" y="258"/>
                  </a:lnTo>
                  <a:lnTo>
                    <a:pt x="59" y="257"/>
                  </a:lnTo>
                  <a:lnTo>
                    <a:pt x="61" y="257"/>
                  </a:lnTo>
                  <a:lnTo>
                    <a:pt x="62" y="255"/>
                  </a:lnTo>
                  <a:lnTo>
                    <a:pt x="65" y="255"/>
                  </a:lnTo>
                  <a:lnTo>
                    <a:pt x="62" y="258"/>
                  </a:lnTo>
                  <a:lnTo>
                    <a:pt x="61" y="260"/>
                  </a:lnTo>
                  <a:lnTo>
                    <a:pt x="61" y="259"/>
                  </a:lnTo>
                  <a:lnTo>
                    <a:pt x="60" y="258"/>
                  </a:lnTo>
                  <a:lnTo>
                    <a:pt x="61" y="261"/>
                  </a:lnTo>
                  <a:lnTo>
                    <a:pt x="62" y="261"/>
                  </a:lnTo>
                  <a:lnTo>
                    <a:pt x="63" y="261"/>
                  </a:lnTo>
                  <a:lnTo>
                    <a:pt x="66" y="261"/>
                  </a:lnTo>
                  <a:lnTo>
                    <a:pt x="65" y="264"/>
                  </a:lnTo>
                  <a:lnTo>
                    <a:pt x="68" y="266"/>
                  </a:lnTo>
                  <a:lnTo>
                    <a:pt x="72" y="269"/>
                  </a:lnTo>
                  <a:lnTo>
                    <a:pt x="73" y="270"/>
                  </a:lnTo>
                  <a:lnTo>
                    <a:pt x="74" y="269"/>
                  </a:lnTo>
                  <a:lnTo>
                    <a:pt x="73" y="267"/>
                  </a:lnTo>
                  <a:lnTo>
                    <a:pt x="73" y="266"/>
                  </a:lnTo>
                  <a:lnTo>
                    <a:pt x="73" y="265"/>
                  </a:lnTo>
                  <a:lnTo>
                    <a:pt x="72" y="264"/>
                  </a:lnTo>
                  <a:lnTo>
                    <a:pt x="73" y="261"/>
                  </a:lnTo>
                  <a:lnTo>
                    <a:pt x="77" y="263"/>
                  </a:lnTo>
                  <a:lnTo>
                    <a:pt x="74" y="260"/>
                  </a:lnTo>
                  <a:lnTo>
                    <a:pt x="71" y="263"/>
                  </a:lnTo>
                  <a:lnTo>
                    <a:pt x="69" y="265"/>
                  </a:lnTo>
                  <a:lnTo>
                    <a:pt x="69" y="263"/>
                  </a:lnTo>
                  <a:lnTo>
                    <a:pt x="69" y="261"/>
                  </a:lnTo>
                  <a:lnTo>
                    <a:pt x="69" y="259"/>
                  </a:lnTo>
                  <a:lnTo>
                    <a:pt x="71" y="258"/>
                  </a:lnTo>
                  <a:lnTo>
                    <a:pt x="72" y="255"/>
                  </a:lnTo>
                  <a:lnTo>
                    <a:pt x="73" y="254"/>
                  </a:lnTo>
                  <a:lnTo>
                    <a:pt x="72" y="253"/>
                  </a:lnTo>
                  <a:lnTo>
                    <a:pt x="74" y="252"/>
                  </a:lnTo>
                  <a:lnTo>
                    <a:pt x="76" y="251"/>
                  </a:lnTo>
                  <a:lnTo>
                    <a:pt x="76" y="249"/>
                  </a:lnTo>
                  <a:lnTo>
                    <a:pt x="74" y="249"/>
                  </a:lnTo>
                  <a:lnTo>
                    <a:pt x="74" y="248"/>
                  </a:lnTo>
                  <a:lnTo>
                    <a:pt x="73" y="248"/>
                  </a:lnTo>
                  <a:lnTo>
                    <a:pt x="74" y="246"/>
                  </a:lnTo>
                  <a:lnTo>
                    <a:pt x="76" y="245"/>
                  </a:lnTo>
                  <a:lnTo>
                    <a:pt x="77" y="243"/>
                  </a:lnTo>
                  <a:lnTo>
                    <a:pt x="76" y="241"/>
                  </a:lnTo>
                  <a:lnTo>
                    <a:pt x="74" y="243"/>
                  </a:lnTo>
                  <a:lnTo>
                    <a:pt x="72" y="245"/>
                  </a:lnTo>
                  <a:lnTo>
                    <a:pt x="72" y="241"/>
                  </a:lnTo>
                  <a:lnTo>
                    <a:pt x="73" y="240"/>
                  </a:lnTo>
                  <a:lnTo>
                    <a:pt x="74" y="238"/>
                  </a:lnTo>
                  <a:lnTo>
                    <a:pt x="73" y="237"/>
                  </a:lnTo>
                  <a:lnTo>
                    <a:pt x="74" y="237"/>
                  </a:lnTo>
                  <a:lnTo>
                    <a:pt x="77" y="236"/>
                  </a:lnTo>
                  <a:lnTo>
                    <a:pt x="76" y="236"/>
                  </a:lnTo>
                  <a:lnTo>
                    <a:pt x="76" y="235"/>
                  </a:lnTo>
                  <a:lnTo>
                    <a:pt x="72" y="236"/>
                  </a:lnTo>
                  <a:lnTo>
                    <a:pt x="73" y="234"/>
                  </a:lnTo>
                  <a:lnTo>
                    <a:pt x="76" y="231"/>
                  </a:lnTo>
                  <a:lnTo>
                    <a:pt x="78" y="231"/>
                  </a:lnTo>
                  <a:lnTo>
                    <a:pt x="79" y="231"/>
                  </a:lnTo>
                  <a:lnTo>
                    <a:pt x="82" y="229"/>
                  </a:lnTo>
                  <a:lnTo>
                    <a:pt x="84" y="230"/>
                  </a:lnTo>
                  <a:lnTo>
                    <a:pt x="86" y="228"/>
                  </a:lnTo>
                  <a:lnTo>
                    <a:pt x="85" y="230"/>
                  </a:lnTo>
                  <a:lnTo>
                    <a:pt x="88" y="231"/>
                  </a:lnTo>
                  <a:lnTo>
                    <a:pt x="89" y="229"/>
                  </a:lnTo>
                  <a:lnTo>
                    <a:pt x="90" y="230"/>
                  </a:lnTo>
                  <a:lnTo>
                    <a:pt x="91" y="229"/>
                  </a:lnTo>
                  <a:lnTo>
                    <a:pt x="90" y="228"/>
                  </a:lnTo>
                  <a:lnTo>
                    <a:pt x="91" y="224"/>
                  </a:lnTo>
                  <a:lnTo>
                    <a:pt x="92" y="223"/>
                  </a:lnTo>
                  <a:lnTo>
                    <a:pt x="94" y="224"/>
                  </a:lnTo>
                  <a:lnTo>
                    <a:pt x="92" y="225"/>
                  </a:lnTo>
                  <a:lnTo>
                    <a:pt x="95" y="226"/>
                  </a:lnTo>
                  <a:lnTo>
                    <a:pt x="96" y="224"/>
                  </a:lnTo>
                  <a:lnTo>
                    <a:pt x="96" y="225"/>
                  </a:lnTo>
                  <a:lnTo>
                    <a:pt x="96" y="224"/>
                  </a:lnTo>
                  <a:lnTo>
                    <a:pt x="95" y="222"/>
                  </a:lnTo>
                  <a:lnTo>
                    <a:pt x="91" y="222"/>
                  </a:lnTo>
                  <a:lnTo>
                    <a:pt x="89" y="224"/>
                  </a:lnTo>
                  <a:lnTo>
                    <a:pt x="89" y="223"/>
                  </a:lnTo>
                  <a:lnTo>
                    <a:pt x="89" y="222"/>
                  </a:lnTo>
                  <a:lnTo>
                    <a:pt x="90" y="220"/>
                  </a:lnTo>
                  <a:lnTo>
                    <a:pt x="89" y="219"/>
                  </a:lnTo>
                  <a:lnTo>
                    <a:pt x="88" y="220"/>
                  </a:lnTo>
                  <a:lnTo>
                    <a:pt x="86" y="220"/>
                  </a:lnTo>
                  <a:lnTo>
                    <a:pt x="86" y="223"/>
                  </a:lnTo>
                  <a:lnTo>
                    <a:pt x="83" y="224"/>
                  </a:lnTo>
                  <a:lnTo>
                    <a:pt x="83" y="225"/>
                  </a:lnTo>
                  <a:lnTo>
                    <a:pt x="82" y="223"/>
                  </a:lnTo>
                  <a:lnTo>
                    <a:pt x="80" y="220"/>
                  </a:lnTo>
                  <a:lnTo>
                    <a:pt x="82" y="220"/>
                  </a:lnTo>
                  <a:lnTo>
                    <a:pt x="82" y="219"/>
                  </a:lnTo>
                  <a:lnTo>
                    <a:pt x="82" y="217"/>
                  </a:lnTo>
                  <a:lnTo>
                    <a:pt x="82" y="218"/>
                  </a:lnTo>
                  <a:lnTo>
                    <a:pt x="80" y="216"/>
                  </a:lnTo>
                  <a:lnTo>
                    <a:pt x="78" y="214"/>
                  </a:lnTo>
                  <a:lnTo>
                    <a:pt x="74" y="218"/>
                  </a:lnTo>
                  <a:lnTo>
                    <a:pt x="73" y="220"/>
                  </a:lnTo>
                  <a:lnTo>
                    <a:pt x="74" y="217"/>
                  </a:lnTo>
                  <a:lnTo>
                    <a:pt x="73" y="213"/>
                  </a:lnTo>
                  <a:lnTo>
                    <a:pt x="72" y="217"/>
                  </a:lnTo>
                  <a:lnTo>
                    <a:pt x="71" y="216"/>
                  </a:lnTo>
                  <a:lnTo>
                    <a:pt x="68" y="217"/>
                  </a:lnTo>
                  <a:lnTo>
                    <a:pt x="68" y="216"/>
                  </a:lnTo>
                  <a:lnTo>
                    <a:pt x="67" y="217"/>
                  </a:lnTo>
                  <a:lnTo>
                    <a:pt x="66" y="219"/>
                  </a:lnTo>
                  <a:lnTo>
                    <a:pt x="66" y="220"/>
                  </a:lnTo>
                  <a:lnTo>
                    <a:pt x="66" y="222"/>
                  </a:lnTo>
                  <a:lnTo>
                    <a:pt x="63" y="224"/>
                  </a:lnTo>
                  <a:lnTo>
                    <a:pt x="62" y="223"/>
                  </a:lnTo>
                  <a:lnTo>
                    <a:pt x="61" y="222"/>
                  </a:lnTo>
                  <a:lnTo>
                    <a:pt x="60" y="224"/>
                  </a:lnTo>
                  <a:lnTo>
                    <a:pt x="60" y="228"/>
                  </a:lnTo>
                  <a:lnTo>
                    <a:pt x="59" y="226"/>
                  </a:lnTo>
                  <a:lnTo>
                    <a:pt x="59" y="223"/>
                  </a:lnTo>
                  <a:lnTo>
                    <a:pt x="57" y="225"/>
                  </a:lnTo>
                  <a:lnTo>
                    <a:pt x="57" y="226"/>
                  </a:lnTo>
                  <a:lnTo>
                    <a:pt x="56" y="226"/>
                  </a:lnTo>
                  <a:lnTo>
                    <a:pt x="54" y="226"/>
                  </a:lnTo>
                  <a:lnTo>
                    <a:pt x="54" y="229"/>
                  </a:lnTo>
                  <a:lnTo>
                    <a:pt x="51" y="230"/>
                  </a:lnTo>
                  <a:lnTo>
                    <a:pt x="51" y="231"/>
                  </a:lnTo>
                  <a:lnTo>
                    <a:pt x="51" y="228"/>
                  </a:lnTo>
                  <a:lnTo>
                    <a:pt x="53" y="225"/>
                  </a:lnTo>
                  <a:lnTo>
                    <a:pt x="50" y="225"/>
                  </a:lnTo>
                  <a:lnTo>
                    <a:pt x="49" y="225"/>
                  </a:lnTo>
                  <a:lnTo>
                    <a:pt x="51" y="224"/>
                  </a:lnTo>
                  <a:lnTo>
                    <a:pt x="53" y="222"/>
                  </a:lnTo>
                  <a:lnTo>
                    <a:pt x="54" y="220"/>
                  </a:lnTo>
                  <a:lnTo>
                    <a:pt x="56" y="219"/>
                  </a:lnTo>
                  <a:lnTo>
                    <a:pt x="59" y="219"/>
                  </a:lnTo>
                  <a:lnTo>
                    <a:pt x="61" y="220"/>
                  </a:lnTo>
                  <a:lnTo>
                    <a:pt x="61" y="218"/>
                  </a:lnTo>
                  <a:lnTo>
                    <a:pt x="59" y="217"/>
                  </a:lnTo>
                  <a:lnTo>
                    <a:pt x="57" y="217"/>
                  </a:lnTo>
                  <a:lnTo>
                    <a:pt x="55" y="219"/>
                  </a:lnTo>
                  <a:lnTo>
                    <a:pt x="55" y="218"/>
                  </a:lnTo>
                  <a:lnTo>
                    <a:pt x="56" y="217"/>
                  </a:lnTo>
                  <a:lnTo>
                    <a:pt x="57" y="214"/>
                  </a:lnTo>
                  <a:lnTo>
                    <a:pt x="55" y="213"/>
                  </a:lnTo>
                  <a:lnTo>
                    <a:pt x="54" y="214"/>
                  </a:lnTo>
                  <a:lnTo>
                    <a:pt x="53" y="213"/>
                  </a:lnTo>
                  <a:lnTo>
                    <a:pt x="53" y="214"/>
                  </a:lnTo>
                  <a:lnTo>
                    <a:pt x="51" y="216"/>
                  </a:lnTo>
                  <a:lnTo>
                    <a:pt x="51" y="217"/>
                  </a:lnTo>
                  <a:lnTo>
                    <a:pt x="53" y="217"/>
                  </a:lnTo>
                  <a:lnTo>
                    <a:pt x="54" y="219"/>
                  </a:lnTo>
                  <a:lnTo>
                    <a:pt x="51" y="220"/>
                  </a:lnTo>
                  <a:lnTo>
                    <a:pt x="51" y="222"/>
                  </a:lnTo>
                  <a:lnTo>
                    <a:pt x="50" y="220"/>
                  </a:lnTo>
                  <a:lnTo>
                    <a:pt x="49" y="222"/>
                  </a:lnTo>
                  <a:lnTo>
                    <a:pt x="45" y="224"/>
                  </a:lnTo>
                  <a:lnTo>
                    <a:pt x="47" y="220"/>
                  </a:lnTo>
                  <a:lnTo>
                    <a:pt x="47" y="218"/>
                  </a:lnTo>
                  <a:lnTo>
                    <a:pt x="45" y="217"/>
                  </a:lnTo>
                  <a:lnTo>
                    <a:pt x="48" y="216"/>
                  </a:lnTo>
                  <a:lnTo>
                    <a:pt x="45" y="214"/>
                  </a:lnTo>
                  <a:lnTo>
                    <a:pt x="47" y="213"/>
                  </a:lnTo>
                  <a:lnTo>
                    <a:pt x="48" y="212"/>
                  </a:lnTo>
                  <a:lnTo>
                    <a:pt x="50" y="213"/>
                  </a:lnTo>
                  <a:lnTo>
                    <a:pt x="50" y="211"/>
                  </a:lnTo>
                  <a:lnTo>
                    <a:pt x="48" y="211"/>
                  </a:lnTo>
                  <a:lnTo>
                    <a:pt x="45" y="211"/>
                  </a:lnTo>
                  <a:lnTo>
                    <a:pt x="42" y="211"/>
                  </a:lnTo>
                  <a:lnTo>
                    <a:pt x="44" y="211"/>
                  </a:lnTo>
                  <a:lnTo>
                    <a:pt x="47" y="208"/>
                  </a:lnTo>
                  <a:lnTo>
                    <a:pt x="48" y="210"/>
                  </a:lnTo>
                  <a:lnTo>
                    <a:pt x="49" y="210"/>
                  </a:lnTo>
                  <a:lnTo>
                    <a:pt x="53" y="211"/>
                  </a:lnTo>
                  <a:lnTo>
                    <a:pt x="54" y="211"/>
                  </a:lnTo>
                  <a:lnTo>
                    <a:pt x="56" y="210"/>
                  </a:lnTo>
                  <a:lnTo>
                    <a:pt x="57" y="207"/>
                  </a:lnTo>
                  <a:lnTo>
                    <a:pt x="55" y="206"/>
                  </a:lnTo>
                  <a:lnTo>
                    <a:pt x="51" y="207"/>
                  </a:lnTo>
                  <a:lnTo>
                    <a:pt x="50" y="208"/>
                  </a:lnTo>
                  <a:lnTo>
                    <a:pt x="49" y="208"/>
                  </a:lnTo>
                  <a:lnTo>
                    <a:pt x="49" y="207"/>
                  </a:lnTo>
                  <a:lnTo>
                    <a:pt x="51" y="205"/>
                  </a:lnTo>
                  <a:lnTo>
                    <a:pt x="51" y="202"/>
                  </a:lnTo>
                  <a:lnTo>
                    <a:pt x="49" y="201"/>
                  </a:lnTo>
                  <a:lnTo>
                    <a:pt x="48" y="200"/>
                  </a:lnTo>
                  <a:lnTo>
                    <a:pt x="49" y="199"/>
                  </a:lnTo>
                  <a:lnTo>
                    <a:pt x="47" y="196"/>
                  </a:lnTo>
                  <a:lnTo>
                    <a:pt x="44" y="195"/>
                  </a:lnTo>
                  <a:lnTo>
                    <a:pt x="45" y="199"/>
                  </a:lnTo>
                  <a:lnTo>
                    <a:pt x="44" y="200"/>
                  </a:lnTo>
                  <a:lnTo>
                    <a:pt x="43" y="198"/>
                  </a:lnTo>
                  <a:lnTo>
                    <a:pt x="42" y="198"/>
                  </a:lnTo>
                  <a:lnTo>
                    <a:pt x="43" y="199"/>
                  </a:lnTo>
                  <a:lnTo>
                    <a:pt x="42" y="199"/>
                  </a:lnTo>
                  <a:lnTo>
                    <a:pt x="42" y="201"/>
                  </a:lnTo>
                  <a:lnTo>
                    <a:pt x="43" y="202"/>
                  </a:lnTo>
                  <a:lnTo>
                    <a:pt x="42" y="206"/>
                  </a:lnTo>
                  <a:lnTo>
                    <a:pt x="43" y="208"/>
                  </a:lnTo>
                  <a:lnTo>
                    <a:pt x="42" y="207"/>
                  </a:lnTo>
                  <a:lnTo>
                    <a:pt x="41" y="208"/>
                  </a:lnTo>
                  <a:lnTo>
                    <a:pt x="39" y="206"/>
                  </a:lnTo>
                  <a:lnTo>
                    <a:pt x="38" y="204"/>
                  </a:lnTo>
                  <a:lnTo>
                    <a:pt x="36" y="204"/>
                  </a:lnTo>
                  <a:lnTo>
                    <a:pt x="37" y="208"/>
                  </a:lnTo>
                  <a:lnTo>
                    <a:pt x="35" y="208"/>
                  </a:lnTo>
                  <a:lnTo>
                    <a:pt x="32" y="210"/>
                  </a:lnTo>
                  <a:lnTo>
                    <a:pt x="33" y="212"/>
                  </a:lnTo>
                  <a:lnTo>
                    <a:pt x="32" y="214"/>
                  </a:lnTo>
                  <a:lnTo>
                    <a:pt x="30" y="217"/>
                  </a:lnTo>
                  <a:lnTo>
                    <a:pt x="30" y="214"/>
                  </a:lnTo>
                  <a:lnTo>
                    <a:pt x="31" y="212"/>
                  </a:lnTo>
                  <a:lnTo>
                    <a:pt x="32" y="211"/>
                  </a:lnTo>
                  <a:lnTo>
                    <a:pt x="31" y="210"/>
                  </a:lnTo>
                  <a:lnTo>
                    <a:pt x="30" y="210"/>
                  </a:lnTo>
                  <a:lnTo>
                    <a:pt x="29" y="208"/>
                  </a:lnTo>
                  <a:lnTo>
                    <a:pt x="27" y="207"/>
                  </a:lnTo>
                  <a:lnTo>
                    <a:pt x="25" y="210"/>
                  </a:lnTo>
                  <a:lnTo>
                    <a:pt x="25" y="207"/>
                  </a:lnTo>
                  <a:lnTo>
                    <a:pt x="24" y="210"/>
                  </a:lnTo>
                  <a:lnTo>
                    <a:pt x="23" y="210"/>
                  </a:lnTo>
                  <a:lnTo>
                    <a:pt x="23" y="208"/>
                  </a:lnTo>
                  <a:lnTo>
                    <a:pt x="21" y="207"/>
                  </a:lnTo>
                  <a:lnTo>
                    <a:pt x="23" y="207"/>
                  </a:lnTo>
                  <a:lnTo>
                    <a:pt x="20" y="206"/>
                  </a:lnTo>
                  <a:lnTo>
                    <a:pt x="23" y="205"/>
                  </a:lnTo>
                  <a:lnTo>
                    <a:pt x="25" y="205"/>
                  </a:lnTo>
                  <a:lnTo>
                    <a:pt x="26" y="204"/>
                  </a:lnTo>
                  <a:lnTo>
                    <a:pt x="27" y="202"/>
                  </a:lnTo>
                  <a:lnTo>
                    <a:pt x="29" y="200"/>
                  </a:lnTo>
                  <a:lnTo>
                    <a:pt x="25" y="200"/>
                  </a:lnTo>
                  <a:lnTo>
                    <a:pt x="24" y="199"/>
                  </a:lnTo>
                  <a:lnTo>
                    <a:pt x="23" y="201"/>
                  </a:lnTo>
                  <a:lnTo>
                    <a:pt x="20" y="199"/>
                  </a:lnTo>
                  <a:lnTo>
                    <a:pt x="19" y="200"/>
                  </a:lnTo>
                  <a:lnTo>
                    <a:pt x="20" y="202"/>
                  </a:lnTo>
                  <a:lnTo>
                    <a:pt x="18" y="205"/>
                  </a:lnTo>
                  <a:lnTo>
                    <a:pt x="15" y="206"/>
                  </a:lnTo>
                  <a:lnTo>
                    <a:pt x="14" y="204"/>
                  </a:lnTo>
                  <a:lnTo>
                    <a:pt x="14" y="200"/>
                  </a:lnTo>
                  <a:lnTo>
                    <a:pt x="15" y="200"/>
                  </a:lnTo>
                  <a:lnTo>
                    <a:pt x="18" y="200"/>
                  </a:lnTo>
                  <a:lnTo>
                    <a:pt x="20" y="199"/>
                  </a:lnTo>
                  <a:lnTo>
                    <a:pt x="21" y="198"/>
                  </a:lnTo>
                  <a:lnTo>
                    <a:pt x="19" y="198"/>
                  </a:lnTo>
                  <a:lnTo>
                    <a:pt x="18" y="196"/>
                  </a:lnTo>
                  <a:lnTo>
                    <a:pt x="17" y="196"/>
                  </a:lnTo>
                  <a:lnTo>
                    <a:pt x="15" y="196"/>
                  </a:lnTo>
                  <a:lnTo>
                    <a:pt x="12" y="198"/>
                  </a:lnTo>
                  <a:lnTo>
                    <a:pt x="13" y="196"/>
                  </a:lnTo>
                  <a:lnTo>
                    <a:pt x="14" y="194"/>
                  </a:lnTo>
                  <a:lnTo>
                    <a:pt x="13" y="194"/>
                  </a:lnTo>
                  <a:lnTo>
                    <a:pt x="12" y="193"/>
                  </a:lnTo>
                  <a:lnTo>
                    <a:pt x="15" y="192"/>
                  </a:lnTo>
                  <a:lnTo>
                    <a:pt x="15" y="194"/>
                  </a:lnTo>
                  <a:lnTo>
                    <a:pt x="18" y="195"/>
                  </a:lnTo>
                  <a:lnTo>
                    <a:pt x="19" y="195"/>
                  </a:lnTo>
                  <a:lnTo>
                    <a:pt x="19" y="193"/>
                  </a:lnTo>
                  <a:lnTo>
                    <a:pt x="18" y="192"/>
                  </a:lnTo>
                  <a:lnTo>
                    <a:pt x="18" y="189"/>
                  </a:lnTo>
                  <a:lnTo>
                    <a:pt x="19" y="190"/>
                  </a:lnTo>
                  <a:lnTo>
                    <a:pt x="19" y="194"/>
                  </a:lnTo>
                  <a:lnTo>
                    <a:pt x="20" y="195"/>
                  </a:lnTo>
                  <a:lnTo>
                    <a:pt x="20" y="194"/>
                  </a:lnTo>
                  <a:lnTo>
                    <a:pt x="20" y="193"/>
                  </a:lnTo>
                  <a:lnTo>
                    <a:pt x="21" y="192"/>
                  </a:lnTo>
                  <a:lnTo>
                    <a:pt x="24" y="193"/>
                  </a:lnTo>
                  <a:lnTo>
                    <a:pt x="27" y="192"/>
                  </a:lnTo>
                  <a:lnTo>
                    <a:pt x="27" y="193"/>
                  </a:lnTo>
                  <a:lnTo>
                    <a:pt x="30" y="194"/>
                  </a:lnTo>
                  <a:lnTo>
                    <a:pt x="33" y="196"/>
                  </a:lnTo>
                  <a:lnTo>
                    <a:pt x="33" y="194"/>
                  </a:lnTo>
                  <a:lnTo>
                    <a:pt x="31" y="194"/>
                  </a:lnTo>
                  <a:lnTo>
                    <a:pt x="33" y="192"/>
                  </a:lnTo>
                  <a:lnTo>
                    <a:pt x="36" y="190"/>
                  </a:lnTo>
                  <a:lnTo>
                    <a:pt x="37" y="188"/>
                  </a:lnTo>
                  <a:lnTo>
                    <a:pt x="37" y="187"/>
                  </a:lnTo>
                  <a:lnTo>
                    <a:pt x="35" y="189"/>
                  </a:lnTo>
                  <a:lnTo>
                    <a:pt x="33" y="192"/>
                  </a:lnTo>
                  <a:lnTo>
                    <a:pt x="30" y="192"/>
                  </a:lnTo>
                  <a:lnTo>
                    <a:pt x="30" y="190"/>
                  </a:lnTo>
                  <a:lnTo>
                    <a:pt x="32" y="187"/>
                  </a:lnTo>
                  <a:lnTo>
                    <a:pt x="33" y="186"/>
                  </a:lnTo>
                  <a:lnTo>
                    <a:pt x="35" y="184"/>
                  </a:lnTo>
                  <a:lnTo>
                    <a:pt x="35" y="186"/>
                  </a:lnTo>
                  <a:lnTo>
                    <a:pt x="36" y="186"/>
                  </a:lnTo>
                  <a:lnTo>
                    <a:pt x="38" y="184"/>
                  </a:lnTo>
                  <a:lnTo>
                    <a:pt x="36" y="182"/>
                  </a:lnTo>
                  <a:lnTo>
                    <a:pt x="32" y="183"/>
                  </a:lnTo>
                  <a:lnTo>
                    <a:pt x="30" y="184"/>
                  </a:lnTo>
                  <a:lnTo>
                    <a:pt x="30" y="182"/>
                  </a:lnTo>
                  <a:lnTo>
                    <a:pt x="26" y="180"/>
                  </a:lnTo>
                  <a:lnTo>
                    <a:pt x="30" y="178"/>
                  </a:lnTo>
                  <a:lnTo>
                    <a:pt x="31" y="175"/>
                  </a:lnTo>
                  <a:lnTo>
                    <a:pt x="29" y="176"/>
                  </a:lnTo>
                  <a:lnTo>
                    <a:pt x="29" y="174"/>
                  </a:lnTo>
                  <a:lnTo>
                    <a:pt x="32" y="171"/>
                  </a:lnTo>
                  <a:lnTo>
                    <a:pt x="35" y="169"/>
                  </a:lnTo>
                  <a:lnTo>
                    <a:pt x="31" y="169"/>
                  </a:lnTo>
                  <a:lnTo>
                    <a:pt x="25" y="170"/>
                  </a:lnTo>
                  <a:lnTo>
                    <a:pt x="20" y="176"/>
                  </a:lnTo>
                  <a:lnTo>
                    <a:pt x="17" y="180"/>
                  </a:lnTo>
                  <a:lnTo>
                    <a:pt x="17" y="178"/>
                  </a:lnTo>
                  <a:lnTo>
                    <a:pt x="18" y="176"/>
                  </a:lnTo>
                  <a:lnTo>
                    <a:pt x="18" y="174"/>
                  </a:lnTo>
                  <a:lnTo>
                    <a:pt x="17" y="175"/>
                  </a:lnTo>
                  <a:lnTo>
                    <a:pt x="18" y="170"/>
                  </a:lnTo>
                  <a:lnTo>
                    <a:pt x="19" y="168"/>
                  </a:lnTo>
                  <a:lnTo>
                    <a:pt x="20" y="166"/>
                  </a:lnTo>
                  <a:lnTo>
                    <a:pt x="23" y="168"/>
                  </a:lnTo>
                  <a:lnTo>
                    <a:pt x="21" y="165"/>
                  </a:lnTo>
                  <a:lnTo>
                    <a:pt x="23" y="165"/>
                  </a:lnTo>
                  <a:lnTo>
                    <a:pt x="25" y="163"/>
                  </a:lnTo>
                  <a:lnTo>
                    <a:pt x="25" y="162"/>
                  </a:lnTo>
                  <a:lnTo>
                    <a:pt x="19" y="162"/>
                  </a:lnTo>
                  <a:lnTo>
                    <a:pt x="13" y="159"/>
                  </a:lnTo>
                  <a:lnTo>
                    <a:pt x="17" y="159"/>
                  </a:lnTo>
                  <a:lnTo>
                    <a:pt x="19" y="159"/>
                  </a:lnTo>
                  <a:lnTo>
                    <a:pt x="19" y="158"/>
                  </a:lnTo>
                  <a:lnTo>
                    <a:pt x="20" y="158"/>
                  </a:lnTo>
                  <a:lnTo>
                    <a:pt x="20" y="157"/>
                  </a:lnTo>
                  <a:lnTo>
                    <a:pt x="21" y="158"/>
                  </a:lnTo>
                  <a:lnTo>
                    <a:pt x="21" y="157"/>
                  </a:lnTo>
                  <a:lnTo>
                    <a:pt x="24" y="157"/>
                  </a:lnTo>
                  <a:lnTo>
                    <a:pt x="26" y="158"/>
                  </a:lnTo>
                  <a:lnTo>
                    <a:pt x="27" y="159"/>
                  </a:lnTo>
                  <a:lnTo>
                    <a:pt x="29" y="162"/>
                  </a:lnTo>
                  <a:lnTo>
                    <a:pt x="29" y="163"/>
                  </a:lnTo>
                  <a:lnTo>
                    <a:pt x="31" y="163"/>
                  </a:lnTo>
                  <a:lnTo>
                    <a:pt x="31" y="162"/>
                  </a:lnTo>
                  <a:lnTo>
                    <a:pt x="31" y="160"/>
                  </a:lnTo>
                  <a:lnTo>
                    <a:pt x="32" y="160"/>
                  </a:lnTo>
                  <a:lnTo>
                    <a:pt x="36" y="159"/>
                  </a:lnTo>
                  <a:lnTo>
                    <a:pt x="39" y="160"/>
                  </a:lnTo>
                  <a:lnTo>
                    <a:pt x="41" y="160"/>
                  </a:lnTo>
                  <a:lnTo>
                    <a:pt x="43" y="160"/>
                  </a:lnTo>
                  <a:lnTo>
                    <a:pt x="45" y="160"/>
                  </a:lnTo>
                  <a:lnTo>
                    <a:pt x="48" y="160"/>
                  </a:lnTo>
                  <a:lnTo>
                    <a:pt x="50" y="160"/>
                  </a:lnTo>
                  <a:lnTo>
                    <a:pt x="50" y="158"/>
                  </a:lnTo>
                  <a:lnTo>
                    <a:pt x="51" y="158"/>
                  </a:lnTo>
                  <a:lnTo>
                    <a:pt x="53" y="160"/>
                  </a:lnTo>
                  <a:lnTo>
                    <a:pt x="54" y="159"/>
                  </a:lnTo>
                  <a:lnTo>
                    <a:pt x="57" y="160"/>
                  </a:lnTo>
                  <a:lnTo>
                    <a:pt x="60" y="160"/>
                  </a:lnTo>
                  <a:lnTo>
                    <a:pt x="62" y="163"/>
                  </a:lnTo>
                  <a:lnTo>
                    <a:pt x="65" y="163"/>
                  </a:lnTo>
                  <a:lnTo>
                    <a:pt x="66" y="163"/>
                  </a:lnTo>
                  <a:lnTo>
                    <a:pt x="67" y="160"/>
                  </a:lnTo>
                  <a:lnTo>
                    <a:pt x="67" y="157"/>
                  </a:lnTo>
                  <a:lnTo>
                    <a:pt x="66" y="158"/>
                  </a:lnTo>
                  <a:lnTo>
                    <a:pt x="65" y="157"/>
                  </a:lnTo>
                  <a:lnTo>
                    <a:pt x="63" y="158"/>
                  </a:lnTo>
                  <a:lnTo>
                    <a:pt x="63" y="157"/>
                  </a:lnTo>
                  <a:lnTo>
                    <a:pt x="61" y="156"/>
                  </a:lnTo>
                  <a:lnTo>
                    <a:pt x="60" y="154"/>
                  </a:lnTo>
                  <a:lnTo>
                    <a:pt x="59" y="156"/>
                  </a:lnTo>
                  <a:lnTo>
                    <a:pt x="57" y="157"/>
                  </a:lnTo>
                  <a:lnTo>
                    <a:pt x="57" y="153"/>
                  </a:lnTo>
                  <a:lnTo>
                    <a:pt x="57" y="151"/>
                  </a:lnTo>
                  <a:lnTo>
                    <a:pt x="55" y="152"/>
                  </a:lnTo>
                  <a:lnTo>
                    <a:pt x="54" y="153"/>
                  </a:lnTo>
                  <a:lnTo>
                    <a:pt x="53" y="152"/>
                  </a:lnTo>
                  <a:lnTo>
                    <a:pt x="50" y="151"/>
                  </a:lnTo>
                  <a:lnTo>
                    <a:pt x="49" y="153"/>
                  </a:lnTo>
                  <a:lnTo>
                    <a:pt x="49" y="151"/>
                  </a:lnTo>
                  <a:lnTo>
                    <a:pt x="50" y="150"/>
                  </a:lnTo>
                  <a:lnTo>
                    <a:pt x="49" y="148"/>
                  </a:lnTo>
                  <a:lnTo>
                    <a:pt x="51" y="147"/>
                  </a:lnTo>
                  <a:lnTo>
                    <a:pt x="54" y="147"/>
                  </a:lnTo>
                  <a:lnTo>
                    <a:pt x="55" y="148"/>
                  </a:lnTo>
                  <a:lnTo>
                    <a:pt x="55" y="147"/>
                  </a:lnTo>
                  <a:lnTo>
                    <a:pt x="55" y="145"/>
                  </a:lnTo>
                  <a:lnTo>
                    <a:pt x="53" y="144"/>
                  </a:lnTo>
                  <a:lnTo>
                    <a:pt x="53" y="142"/>
                  </a:lnTo>
                  <a:lnTo>
                    <a:pt x="51" y="144"/>
                  </a:lnTo>
                  <a:lnTo>
                    <a:pt x="51" y="142"/>
                  </a:lnTo>
                  <a:lnTo>
                    <a:pt x="54" y="140"/>
                  </a:lnTo>
                  <a:lnTo>
                    <a:pt x="57" y="140"/>
                  </a:lnTo>
                  <a:lnTo>
                    <a:pt x="59" y="141"/>
                  </a:lnTo>
                  <a:lnTo>
                    <a:pt x="60" y="140"/>
                  </a:lnTo>
                  <a:lnTo>
                    <a:pt x="61" y="139"/>
                  </a:lnTo>
                  <a:lnTo>
                    <a:pt x="62" y="136"/>
                  </a:lnTo>
                  <a:lnTo>
                    <a:pt x="66" y="136"/>
                  </a:lnTo>
                  <a:lnTo>
                    <a:pt x="65" y="134"/>
                  </a:lnTo>
                  <a:lnTo>
                    <a:pt x="62" y="133"/>
                  </a:lnTo>
                  <a:lnTo>
                    <a:pt x="62" y="131"/>
                  </a:lnTo>
                  <a:lnTo>
                    <a:pt x="65" y="133"/>
                  </a:lnTo>
                  <a:lnTo>
                    <a:pt x="66" y="131"/>
                  </a:lnTo>
                  <a:lnTo>
                    <a:pt x="67" y="130"/>
                  </a:lnTo>
                  <a:lnTo>
                    <a:pt x="69" y="130"/>
                  </a:lnTo>
                  <a:lnTo>
                    <a:pt x="72" y="129"/>
                  </a:lnTo>
                  <a:lnTo>
                    <a:pt x="73" y="128"/>
                  </a:lnTo>
                  <a:lnTo>
                    <a:pt x="74" y="127"/>
                  </a:lnTo>
                  <a:lnTo>
                    <a:pt x="73" y="124"/>
                  </a:lnTo>
                  <a:lnTo>
                    <a:pt x="73" y="122"/>
                  </a:lnTo>
                  <a:lnTo>
                    <a:pt x="71" y="125"/>
                  </a:lnTo>
                  <a:lnTo>
                    <a:pt x="67" y="128"/>
                  </a:lnTo>
                  <a:lnTo>
                    <a:pt x="68" y="125"/>
                  </a:lnTo>
                  <a:lnTo>
                    <a:pt x="72" y="122"/>
                  </a:lnTo>
                  <a:lnTo>
                    <a:pt x="73" y="121"/>
                  </a:lnTo>
                  <a:lnTo>
                    <a:pt x="72" y="121"/>
                  </a:lnTo>
                  <a:lnTo>
                    <a:pt x="72" y="118"/>
                  </a:lnTo>
                  <a:lnTo>
                    <a:pt x="72" y="117"/>
                  </a:lnTo>
                  <a:lnTo>
                    <a:pt x="69" y="118"/>
                  </a:lnTo>
                  <a:lnTo>
                    <a:pt x="66" y="119"/>
                  </a:lnTo>
                  <a:lnTo>
                    <a:pt x="62" y="121"/>
                  </a:lnTo>
                  <a:lnTo>
                    <a:pt x="63" y="118"/>
                  </a:lnTo>
                  <a:lnTo>
                    <a:pt x="65" y="116"/>
                  </a:lnTo>
                  <a:lnTo>
                    <a:pt x="66" y="115"/>
                  </a:lnTo>
                  <a:lnTo>
                    <a:pt x="68" y="113"/>
                  </a:lnTo>
                  <a:lnTo>
                    <a:pt x="72" y="115"/>
                  </a:lnTo>
                  <a:lnTo>
                    <a:pt x="72" y="112"/>
                  </a:lnTo>
                  <a:lnTo>
                    <a:pt x="63" y="112"/>
                  </a:lnTo>
                  <a:lnTo>
                    <a:pt x="62" y="111"/>
                  </a:lnTo>
                  <a:lnTo>
                    <a:pt x="65" y="110"/>
                  </a:lnTo>
                  <a:lnTo>
                    <a:pt x="67" y="109"/>
                  </a:lnTo>
                  <a:lnTo>
                    <a:pt x="68" y="109"/>
                  </a:lnTo>
                  <a:lnTo>
                    <a:pt x="69" y="109"/>
                  </a:lnTo>
                  <a:lnTo>
                    <a:pt x="72" y="109"/>
                  </a:lnTo>
                  <a:lnTo>
                    <a:pt x="74" y="111"/>
                  </a:lnTo>
                  <a:lnTo>
                    <a:pt x="74" y="109"/>
                  </a:lnTo>
                  <a:lnTo>
                    <a:pt x="77" y="109"/>
                  </a:lnTo>
                  <a:lnTo>
                    <a:pt x="77" y="106"/>
                  </a:lnTo>
                  <a:lnTo>
                    <a:pt x="74" y="105"/>
                  </a:lnTo>
                  <a:lnTo>
                    <a:pt x="73" y="104"/>
                  </a:lnTo>
                  <a:lnTo>
                    <a:pt x="72" y="101"/>
                  </a:lnTo>
                  <a:lnTo>
                    <a:pt x="72" y="99"/>
                  </a:lnTo>
                  <a:lnTo>
                    <a:pt x="73" y="97"/>
                  </a:lnTo>
                  <a:lnTo>
                    <a:pt x="74" y="98"/>
                  </a:lnTo>
                  <a:lnTo>
                    <a:pt x="76" y="100"/>
                  </a:lnTo>
                  <a:lnTo>
                    <a:pt x="77" y="99"/>
                  </a:lnTo>
                  <a:lnTo>
                    <a:pt x="78" y="103"/>
                  </a:lnTo>
                  <a:lnTo>
                    <a:pt x="78" y="106"/>
                  </a:lnTo>
                  <a:lnTo>
                    <a:pt x="79" y="109"/>
                  </a:lnTo>
                  <a:lnTo>
                    <a:pt x="80" y="110"/>
                  </a:lnTo>
                  <a:lnTo>
                    <a:pt x="83" y="111"/>
                  </a:lnTo>
                  <a:lnTo>
                    <a:pt x="85" y="111"/>
                  </a:lnTo>
                  <a:lnTo>
                    <a:pt x="88" y="110"/>
                  </a:lnTo>
                  <a:lnTo>
                    <a:pt x="90" y="109"/>
                  </a:lnTo>
                  <a:lnTo>
                    <a:pt x="91" y="109"/>
                  </a:lnTo>
                  <a:lnTo>
                    <a:pt x="92" y="107"/>
                  </a:lnTo>
                  <a:lnTo>
                    <a:pt x="94" y="107"/>
                  </a:lnTo>
                  <a:lnTo>
                    <a:pt x="95" y="106"/>
                  </a:lnTo>
                  <a:lnTo>
                    <a:pt x="95" y="105"/>
                  </a:lnTo>
                  <a:lnTo>
                    <a:pt x="96" y="104"/>
                  </a:lnTo>
                  <a:lnTo>
                    <a:pt x="96" y="101"/>
                  </a:lnTo>
                  <a:lnTo>
                    <a:pt x="95" y="100"/>
                  </a:lnTo>
                  <a:lnTo>
                    <a:pt x="95" y="99"/>
                  </a:lnTo>
                  <a:lnTo>
                    <a:pt x="95" y="98"/>
                  </a:lnTo>
                  <a:lnTo>
                    <a:pt x="96" y="98"/>
                  </a:lnTo>
                  <a:lnTo>
                    <a:pt x="97" y="99"/>
                  </a:lnTo>
                  <a:lnTo>
                    <a:pt x="98" y="98"/>
                  </a:lnTo>
                  <a:lnTo>
                    <a:pt x="97" y="97"/>
                  </a:lnTo>
                  <a:lnTo>
                    <a:pt x="100" y="97"/>
                  </a:lnTo>
                  <a:lnTo>
                    <a:pt x="100" y="95"/>
                  </a:lnTo>
                  <a:lnTo>
                    <a:pt x="98" y="91"/>
                  </a:lnTo>
                  <a:lnTo>
                    <a:pt x="97" y="91"/>
                  </a:lnTo>
                  <a:lnTo>
                    <a:pt x="96" y="92"/>
                  </a:lnTo>
                  <a:lnTo>
                    <a:pt x="95" y="91"/>
                  </a:lnTo>
                  <a:lnTo>
                    <a:pt x="95" y="89"/>
                  </a:lnTo>
                  <a:lnTo>
                    <a:pt x="95" y="88"/>
                  </a:lnTo>
                  <a:lnTo>
                    <a:pt x="96" y="88"/>
                  </a:lnTo>
                  <a:lnTo>
                    <a:pt x="98" y="89"/>
                  </a:lnTo>
                  <a:lnTo>
                    <a:pt x="97" y="87"/>
                  </a:lnTo>
                  <a:lnTo>
                    <a:pt x="97" y="86"/>
                  </a:lnTo>
                  <a:lnTo>
                    <a:pt x="98" y="86"/>
                  </a:lnTo>
                  <a:lnTo>
                    <a:pt x="98" y="85"/>
                  </a:lnTo>
                  <a:lnTo>
                    <a:pt x="98" y="83"/>
                  </a:lnTo>
                  <a:lnTo>
                    <a:pt x="100" y="83"/>
                  </a:lnTo>
                  <a:lnTo>
                    <a:pt x="101" y="83"/>
                  </a:lnTo>
                  <a:lnTo>
                    <a:pt x="101" y="86"/>
                  </a:lnTo>
                  <a:lnTo>
                    <a:pt x="102" y="86"/>
                  </a:lnTo>
                  <a:lnTo>
                    <a:pt x="102" y="87"/>
                  </a:lnTo>
                  <a:lnTo>
                    <a:pt x="100" y="88"/>
                  </a:lnTo>
                  <a:lnTo>
                    <a:pt x="100" y="89"/>
                  </a:lnTo>
                  <a:lnTo>
                    <a:pt x="100" y="92"/>
                  </a:lnTo>
                  <a:lnTo>
                    <a:pt x="100" y="94"/>
                  </a:lnTo>
                  <a:lnTo>
                    <a:pt x="102" y="93"/>
                  </a:lnTo>
                  <a:lnTo>
                    <a:pt x="101" y="92"/>
                  </a:lnTo>
                  <a:lnTo>
                    <a:pt x="101" y="91"/>
                  </a:lnTo>
                  <a:lnTo>
                    <a:pt x="101" y="89"/>
                  </a:lnTo>
                  <a:lnTo>
                    <a:pt x="102" y="89"/>
                  </a:lnTo>
                  <a:lnTo>
                    <a:pt x="104" y="89"/>
                  </a:lnTo>
                  <a:lnTo>
                    <a:pt x="103" y="93"/>
                  </a:lnTo>
                  <a:lnTo>
                    <a:pt x="104" y="94"/>
                  </a:lnTo>
                  <a:lnTo>
                    <a:pt x="106" y="95"/>
                  </a:lnTo>
                  <a:lnTo>
                    <a:pt x="103" y="98"/>
                  </a:lnTo>
                  <a:lnTo>
                    <a:pt x="104" y="98"/>
                  </a:lnTo>
                  <a:lnTo>
                    <a:pt x="106" y="97"/>
                  </a:lnTo>
                  <a:lnTo>
                    <a:pt x="107" y="97"/>
                  </a:lnTo>
                  <a:lnTo>
                    <a:pt x="108" y="95"/>
                  </a:lnTo>
                  <a:lnTo>
                    <a:pt x="109" y="94"/>
                  </a:lnTo>
                  <a:lnTo>
                    <a:pt x="108" y="93"/>
                  </a:lnTo>
                  <a:lnTo>
                    <a:pt x="106" y="93"/>
                  </a:lnTo>
                  <a:lnTo>
                    <a:pt x="106" y="91"/>
                  </a:lnTo>
                  <a:lnTo>
                    <a:pt x="104" y="87"/>
                  </a:lnTo>
                  <a:lnTo>
                    <a:pt x="106" y="88"/>
                  </a:lnTo>
                  <a:lnTo>
                    <a:pt x="106" y="87"/>
                  </a:lnTo>
                  <a:lnTo>
                    <a:pt x="107" y="87"/>
                  </a:lnTo>
                  <a:lnTo>
                    <a:pt x="108" y="87"/>
                  </a:lnTo>
                  <a:lnTo>
                    <a:pt x="109" y="88"/>
                  </a:lnTo>
                  <a:lnTo>
                    <a:pt x="110" y="87"/>
                  </a:lnTo>
                  <a:lnTo>
                    <a:pt x="112" y="88"/>
                  </a:lnTo>
                  <a:lnTo>
                    <a:pt x="113" y="88"/>
                  </a:lnTo>
                  <a:lnTo>
                    <a:pt x="113" y="89"/>
                  </a:lnTo>
                  <a:lnTo>
                    <a:pt x="113" y="92"/>
                  </a:lnTo>
                  <a:lnTo>
                    <a:pt x="114" y="92"/>
                  </a:lnTo>
                  <a:lnTo>
                    <a:pt x="115" y="91"/>
                  </a:lnTo>
                  <a:lnTo>
                    <a:pt x="115" y="93"/>
                  </a:lnTo>
                  <a:lnTo>
                    <a:pt x="115" y="94"/>
                  </a:lnTo>
                  <a:lnTo>
                    <a:pt x="116" y="92"/>
                  </a:lnTo>
                  <a:lnTo>
                    <a:pt x="116" y="93"/>
                  </a:lnTo>
                  <a:lnTo>
                    <a:pt x="119" y="93"/>
                  </a:lnTo>
                  <a:lnTo>
                    <a:pt x="120" y="91"/>
                  </a:lnTo>
                  <a:lnTo>
                    <a:pt x="118" y="92"/>
                  </a:lnTo>
                  <a:lnTo>
                    <a:pt x="118" y="91"/>
                  </a:lnTo>
                  <a:lnTo>
                    <a:pt x="118" y="89"/>
                  </a:lnTo>
                  <a:lnTo>
                    <a:pt x="119" y="89"/>
                  </a:lnTo>
                  <a:lnTo>
                    <a:pt x="119" y="87"/>
                  </a:lnTo>
                  <a:lnTo>
                    <a:pt x="120" y="87"/>
                  </a:lnTo>
                  <a:lnTo>
                    <a:pt x="121" y="87"/>
                  </a:lnTo>
                  <a:lnTo>
                    <a:pt x="121" y="88"/>
                  </a:lnTo>
                  <a:lnTo>
                    <a:pt x="122" y="87"/>
                  </a:lnTo>
                  <a:lnTo>
                    <a:pt x="124" y="86"/>
                  </a:lnTo>
                  <a:lnTo>
                    <a:pt x="124" y="81"/>
                  </a:lnTo>
                  <a:lnTo>
                    <a:pt x="125" y="83"/>
                  </a:lnTo>
                  <a:lnTo>
                    <a:pt x="125" y="85"/>
                  </a:lnTo>
                  <a:lnTo>
                    <a:pt x="126" y="85"/>
                  </a:lnTo>
                  <a:lnTo>
                    <a:pt x="126" y="87"/>
                  </a:lnTo>
                  <a:lnTo>
                    <a:pt x="125" y="88"/>
                  </a:lnTo>
                  <a:lnTo>
                    <a:pt x="125" y="91"/>
                  </a:lnTo>
                  <a:lnTo>
                    <a:pt x="127" y="92"/>
                  </a:lnTo>
                  <a:lnTo>
                    <a:pt x="127" y="91"/>
                  </a:lnTo>
                  <a:lnTo>
                    <a:pt x="130" y="92"/>
                  </a:lnTo>
                  <a:lnTo>
                    <a:pt x="130" y="95"/>
                  </a:lnTo>
                  <a:lnTo>
                    <a:pt x="132" y="93"/>
                  </a:lnTo>
                  <a:lnTo>
                    <a:pt x="133" y="94"/>
                  </a:lnTo>
                  <a:lnTo>
                    <a:pt x="135" y="94"/>
                  </a:lnTo>
                  <a:lnTo>
                    <a:pt x="135" y="95"/>
                  </a:lnTo>
                  <a:lnTo>
                    <a:pt x="136" y="97"/>
                  </a:lnTo>
                  <a:lnTo>
                    <a:pt x="137" y="98"/>
                  </a:lnTo>
                  <a:lnTo>
                    <a:pt x="138" y="100"/>
                  </a:lnTo>
                  <a:lnTo>
                    <a:pt x="138" y="101"/>
                  </a:lnTo>
                  <a:lnTo>
                    <a:pt x="135" y="98"/>
                  </a:lnTo>
                  <a:lnTo>
                    <a:pt x="130" y="97"/>
                  </a:lnTo>
                  <a:lnTo>
                    <a:pt x="128" y="94"/>
                  </a:lnTo>
                  <a:lnTo>
                    <a:pt x="128" y="97"/>
                  </a:lnTo>
                  <a:lnTo>
                    <a:pt x="130" y="98"/>
                  </a:lnTo>
                  <a:lnTo>
                    <a:pt x="131" y="101"/>
                  </a:lnTo>
                  <a:lnTo>
                    <a:pt x="132" y="101"/>
                  </a:lnTo>
                  <a:lnTo>
                    <a:pt x="135" y="103"/>
                  </a:lnTo>
                  <a:lnTo>
                    <a:pt x="132" y="104"/>
                  </a:lnTo>
                  <a:lnTo>
                    <a:pt x="133" y="109"/>
                  </a:lnTo>
                  <a:lnTo>
                    <a:pt x="135" y="111"/>
                  </a:lnTo>
                  <a:lnTo>
                    <a:pt x="137" y="111"/>
                  </a:lnTo>
                  <a:lnTo>
                    <a:pt x="137" y="113"/>
                  </a:lnTo>
                  <a:lnTo>
                    <a:pt x="138" y="113"/>
                  </a:lnTo>
                  <a:lnTo>
                    <a:pt x="139" y="113"/>
                  </a:lnTo>
                  <a:lnTo>
                    <a:pt x="139" y="117"/>
                  </a:lnTo>
                  <a:lnTo>
                    <a:pt x="141" y="118"/>
                  </a:lnTo>
                  <a:lnTo>
                    <a:pt x="142" y="118"/>
                  </a:lnTo>
                  <a:lnTo>
                    <a:pt x="143" y="116"/>
                  </a:lnTo>
                  <a:lnTo>
                    <a:pt x="144" y="115"/>
                  </a:lnTo>
                  <a:lnTo>
                    <a:pt x="145" y="115"/>
                  </a:lnTo>
                  <a:lnTo>
                    <a:pt x="148" y="113"/>
                  </a:lnTo>
                  <a:lnTo>
                    <a:pt x="145" y="112"/>
                  </a:lnTo>
                  <a:lnTo>
                    <a:pt x="143" y="113"/>
                  </a:lnTo>
                  <a:lnTo>
                    <a:pt x="141" y="112"/>
                  </a:lnTo>
                  <a:lnTo>
                    <a:pt x="141" y="111"/>
                  </a:lnTo>
                  <a:lnTo>
                    <a:pt x="142" y="111"/>
                  </a:lnTo>
                  <a:lnTo>
                    <a:pt x="143" y="109"/>
                  </a:lnTo>
                  <a:lnTo>
                    <a:pt x="144" y="109"/>
                  </a:lnTo>
                  <a:lnTo>
                    <a:pt x="145" y="107"/>
                  </a:lnTo>
                  <a:lnTo>
                    <a:pt x="147" y="107"/>
                  </a:lnTo>
                  <a:lnTo>
                    <a:pt x="148" y="106"/>
                  </a:lnTo>
                  <a:lnTo>
                    <a:pt x="148" y="105"/>
                  </a:lnTo>
                  <a:lnTo>
                    <a:pt x="147" y="103"/>
                  </a:lnTo>
                  <a:lnTo>
                    <a:pt x="143" y="105"/>
                  </a:lnTo>
                  <a:lnTo>
                    <a:pt x="142" y="106"/>
                  </a:lnTo>
                  <a:lnTo>
                    <a:pt x="142" y="105"/>
                  </a:lnTo>
                  <a:lnTo>
                    <a:pt x="141" y="104"/>
                  </a:lnTo>
                  <a:lnTo>
                    <a:pt x="141" y="103"/>
                  </a:lnTo>
                  <a:lnTo>
                    <a:pt x="141" y="100"/>
                  </a:lnTo>
                  <a:lnTo>
                    <a:pt x="141" y="99"/>
                  </a:lnTo>
                  <a:lnTo>
                    <a:pt x="138" y="94"/>
                  </a:lnTo>
                  <a:lnTo>
                    <a:pt x="141" y="97"/>
                  </a:lnTo>
                  <a:lnTo>
                    <a:pt x="143" y="95"/>
                  </a:lnTo>
                  <a:lnTo>
                    <a:pt x="144" y="95"/>
                  </a:lnTo>
                  <a:lnTo>
                    <a:pt x="147" y="97"/>
                  </a:lnTo>
                  <a:lnTo>
                    <a:pt x="148" y="93"/>
                  </a:lnTo>
                  <a:lnTo>
                    <a:pt x="147" y="92"/>
                  </a:lnTo>
                  <a:lnTo>
                    <a:pt x="145" y="93"/>
                  </a:lnTo>
                  <a:lnTo>
                    <a:pt x="143" y="93"/>
                  </a:lnTo>
                  <a:lnTo>
                    <a:pt x="143" y="91"/>
                  </a:lnTo>
                  <a:lnTo>
                    <a:pt x="142" y="89"/>
                  </a:lnTo>
                  <a:lnTo>
                    <a:pt x="145" y="89"/>
                  </a:lnTo>
                  <a:lnTo>
                    <a:pt x="148" y="89"/>
                  </a:lnTo>
                  <a:lnTo>
                    <a:pt x="149" y="89"/>
                  </a:lnTo>
                  <a:lnTo>
                    <a:pt x="149" y="88"/>
                  </a:lnTo>
                  <a:lnTo>
                    <a:pt x="150" y="88"/>
                  </a:lnTo>
                  <a:lnTo>
                    <a:pt x="150" y="87"/>
                  </a:lnTo>
                  <a:lnTo>
                    <a:pt x="153" y="89"/>
                  </a:lnTo>
                  <a:lnTo>
                    <a:pt x="153" y="91"/>
                  </a:lnTo>
                  <a:lnTo>
                    <a:pt x="154" y="91"/>
                  </a:lnTo>
                  <a:lnTo>
                    <a:pt x="154" y="92"/>
                  </a:lnTo>
                  <a:lnTo>
                    <a:pt x="156" y="94"/>
                  </a:lnTo>
                  <a:lnTo>
                    <a:pt x="157" y="95"/>
                  </a:lnTo>
                  <a:lnTo>
                    <a:pt x="159" y="97"/>
                  </a:lnTo>
                  <a:lnTo>
                    <a:pt x="159" y="99"/>
                  </a:lnTo>
                  <a:lnTo>
                    <a:pt x="160" y="101"/>
                  </a:lnTo>
                  <a:lnTo>
                    <a:pt x="160" y="103"/>
                  </a:lnTo>
                  <a:lnTo>
                    <a:pt x="161" y="101"/>
                  </a:lnTo>
                  <a:lnTo>
                    <a:pt x="162" y="103"/>
                  </a:lnTo>
                  <a:lnTo>
                    <a:pt x="163" y="101"/>
                  </a:lnTo>
                  <a:lnTo>
                    <a:pt x="165" y="101"/>
                  </a:lnTo>
                  <a:lnTo>
                    <a:pt x="166" y="99"/>
                  </a:lnTo>
                  <a:lnTo>
                    <a:pt x="167" y="100"/>
                  </a:lnTo>
                  <a:lnTo>
                    <a:pt x="169" y="103"/>
                  </a:lnTo>
                  <a:lnTo>
                    <a:pt x="171" y="104"/>
                  </a:lnTo>
                  <a:lnTo>
                    <a:pt x="173" y="105"/>
                  </a:lnTo>
                  <a:lnTo>
                    <a:pt x="173" y="107"/>
                  </a:lnTo>
                  <a:lnTo>
                    <a:pt x="175" y="107"/>
                  </a:lnTo>
                  <a:lnTo>
                    <a:pt x="177" y="106"/>
                  </a:lnTo>
                  <a:lnTo>
                    <a:pt x="175" y="106"/>
                  </a:lnTo>
                  <a:lnTo>
                    <a:pt x="175" y="104"/>
                  </a:lnTo>
                  <a:lnTo>
                    <a:pt x="177" y="103"/>
                  </a:lnTo>
                  <a:lnTo>
                    <a:pt x="178" y="103"/>
                  </a:lnTo>
                  <a:lnTo>
                    <a:pt x="178" y="101"/>
                  </a:lnTo>
                  <a:lnTo>
                    <a:pt x="179" y="100"/>
                  </a:lnTo>
                  <a:lnTo>
                    <a:pt x="181" y="100"/>
                  </a:lnTo>
                  <a:lnTo>
                    <a:pt x="183" y="101"/>
                  </a:lnTo>
                  <a:lnTo>
                    <a:pt x="184" y="101"/>
                  </a:lnTo>
                  <a:lnTo>
                    <a:pt x="185" y="101"/>
                  </a:lnTo>
                  <a:lnTo>
                    <a:pt x="185" y="103"/>
                  </a:lnTo>
                  <a:lnTo>
                    <a:pt x="185" y="105"/>
                  </a:lnTo>
                  <a:lnTo>
                    <a:pt x="186" y="104"/>
                  </a:lnTo>
                  <a:lnTo>
                    <a:pt x="187" y="103"/>
                  </a:lnTo>
                  <a:lnTo>
                    <a:pt x="189" y="101"/>
                  </a:lnTo>
                  <a:lnTo>
                    <a:pt x="191" y="104"/>
                  </a:lnTo>
                  <a:lnTo>
                    <a:pt x="191" y="101"/>
                  </a:lnTo>
                  <a:lnTo>
                    <a:pt x="189" y="101"/>
                  </a:lnTo>
                  <a:lnTo>
                    <a:pt x="187" y="100"/>
                  </a:lnTo>
                  <a:lnTo>
                    <a:pt x="187" y="97"/>
                  </a:lnTo>
                  <a:lnTo>
                    <a:pt x="189" y="98"/>
                  </a:lnTo>
                  <a:lnTo>
                    <a:pt x="190" y="98"/>
                  </a:lnTo>
                  <a:lnTo>
                    <a:pt x="191" y="97"/>
                  </a:lnTo>
                  <a:lnTo>
                    <a:pt x="192" y="95"/>
                  </a:lnTo>
                  <a:lnTo>
                    <a:pt x="194" y="95"/>
                  </a:lnTo>
                  <a:lnTo>
                    <a:pt x="195" y="97"/>
                  </a:lnTo>
                  <a:lnTo>
                    <a:pt x="196" y="98"/>
                  </a:lnTo>
                  <a:lnTo>
                    <a:pt x="197" y="97"/>
                  </a:lnTo>
                  <a:lnTo>
                    <a:pt x="198" y="97"/>
                  </a:lnTo>
                  <a:lnTo>
                    <a:pt x="197" y="95"/>
                  </a:lnTo>
                  <a:lnTo>
                    <a:pt x="197" y="94"/>
                  </a:lnTo>
                  <a:lnTo>
                    <a:pt x="198" y="93"/>
                  </a:lnTo>
                  <a:lnTo>
                    <a:pt x="200" y="92"/>
                  </a:lnTo>
                  <a:lnTo>
                    <a:pt x="201" y="91"/>
                  </a:lnTo>
                  <a:lnTo>
                    <a:pt x="202" y="89"/>
                  </a:lnTo>
                  <a:lnTo>
                    <a:pt x="198" y="91"/>
                  </a:lnTo>
                  <a:lnTo>
                    <a:pt x="196" y="92"/>
                  </a:lnTo>
                  <a:lnTo>
                    <a:pt x="196" y="91"/>
                  </a:lnTo>
                  <a:lnTo>
                    <a:pt x="197" y="88"/>
                  </a:lnTo>
                  <a:lnTo>
                    <a:pt x="198" y="86"/>
                  </a:lnTo>
                  <a:lnTo>
                    <a:pt x="200" y="86"/>
                  </a:lnTo>
                  <a:lnTo>
                    <a:pt x="201" y="85"/>
                  </a:lnTo>
                  <a:lnTo>
                    <a:pt x="201" y="83"/>
                  </a:lnTo>
                  <a:lnTo>
                    <a:pt x="202" y="82"/>
                  </a:lnTo>
                  <a:lnTo>
                    <a:pt x="207" y="83"/>
                  </a:lnTo>
                  <a:lnTo>
                    <a:pt x="208" y="82"/>
                  </a:lnTo>
                  <a:lnTo>
                    <a:pt x="210" y="82"/>
                  </a:lnTo>
                  <a:lnTo>
                    <a:pt x="208" y="77"/>
                  </a:lnTo>
                  <a:lnTo>
                    <a:pt x="208" y="79"/>
                  </a:lnTo>
                  <a:lnTo>
                    <a:pt x="207" y="80"/>
                  </a:lnTo>
                  <a:lnTo>
                    <a:pt x="207" y="77"/>
                  </a:lnTo>
                  <a:lnTo>
                    <a:pt x="204" y="76"/>
                  </a:lnTo>
                  <a:lnTo>
                    <a:pt x="201" y="77"/>
                  </a:lnTo>
                  <a:lnTo>
                    <a:pt x="197" y="77"/>
                  </a:lnTo>
                  <a:lnTo>
                    <a:pt x="197" y="76"/>
                  </a:lnTo>
                  <a:lnTo>
                    <a:pt x="198" y="75"/>
                  </a:lnTo>
                  <a:lnTo>
                    <a:pt x="201" y="75"/>
                  </a:lnTo>
                  <a:lnTo>
                    <a:pt x="203" y="74"/>
                  </a:lnTo>
                  <a:lnTo>
                    <a:pt x="204" y="75"/>
                  </a:lnTo>
                  <a:lnTo>
                    <a:pt x="207" y="76"/>
                  </a:lnTo>
                  <a:lnTo>
                    <a:pt x="208" y="76"/>
                  </a:lnTo>
                  <a:lnTo>
                    <a:pt x="206" y="69"/>
                  </a:lnTo>
                  <a:lnTo>
                    <a:pt x="203" y="65"/>
                  </a:lnTo>
                  <a:lnTo>
                    <a:pt x="203" y="67"/>
                  </a:lnTo>
                  <a:lnTo>
                    <a:pt x="201" y="67"/>
                  </a:lnTo>
                  <a:lnTo>
                    <a:pt x="200" y="68"/>
                  </a:lnTo>
                  <a:lnTo>
                    <a:pt x="200" y="65"/>
                  </a:lnTo>
                  <a:lnTo>
                    <a:pt x="201" y="63"/>
                  </a:lnTo>
                  <a:lnTo>
                    <a:pt x="201" y="64"/>
                  </a:lnTo>
                  <a:lnTo>
                    <a:pt x="202" y="62"/>
                  </a:lnTo>
                  <a:lnTo>
                    <a:pt x="200" y="62"/>
                  </a:lnTo>
                  <a:lnTo>
                    <a:pt x="197" y="63"/>
                  </a:lnTo>
                  <a:lnTo>
                    <a:pt x="195" y="65"/>
                  </a:lnTo>
                  <a:lnTo>
                    <a:pt x="196" y="62"/>
                  </a:lnTo>
                  <a:lnTo>
                    <a:pt x="196" y="61"/>
                  </a:lnTo>
                  <a:lnTo>
                    <a:pt x="197" y="59"/>
                  </a:lnTo>
                  <a:lnTo>
                    <a:pt x="200" y="61"/>
                  </a:lnTo>
                  <a:lnTo>
                    <a:pt x="201" y="62"/>
                  </a:lnTo>
                  <a:lnTo>
                    <a:pt x="198" y="57"/>
                  </a:lnTo>
                  <a:lnTo>
                    <a:pt x="195" y="57"/>
                  </a:lnTo>
                  <a:lnTo>
                    <a:pt x="192" y="59"/>
                  </a:lnTo>
                  <a:lnTo>
                    <a:pt x="192" y="62"/>
                  </a:lnTo>
                  <a:lnTo>
                    <a:pt x="190" y="62"/>
                  </a:lnTo>
                  <a:lnTo>
                    <a:pt x="190" y="61"/>
                  </a:lnTo>
                  <a:lnTo>
                    <a:pt x="189" y="59"/>
                  </a:lnTo>
                  <a:lnTo>
                    <a:pt x="189" y="57"/>
                  </a:lnTo>
                  <a:lnTo>
                    <a:pt x="190" y="56"/>
                  </a:lnTo>
                  <a:lnTo>
                    <a:pt x="192" y="57"/>
                  </a:lnTo>
                  <a:lnTo>
                    <a:pt x="196" y="56"/>
                  </a:lnTo>
                  <a:lnTo>
                    <a:pt x="197" y="56"/>
                  </a:lnTo>
                  <a:lnTo>
                    <a:pt x="195" y="56"/>
                  </a:lnTo>
                  <a:lnTo>
                    <a:pt x="192" y="56"/>
                  </a:lnTo>
                  <a:lnTo>
                    <a:pt x="194" y="55"/>
                  </a:lnTo>
                  <a:lnTo>
                    <a:pt x="195" y="53"/>
                  </a:lnTo>
                  <a:lnTo>
                    <a:pt x="194" y="53"/>
                  </a:lnTo>
                  <a:lnTo>
                    <a:pt x="192" y="53"/>
                  </a:lnTo>
                  <a:lnTo>
                    <a:pt x="191" y="55"/>
                  </a:lnTo>
                  <a:lnTo>
                    <a:pt x="190" y="53"/>
                  </a:lnTo>
                  <a:lnTo>
                    <a:pt x="192" y="52"/>
                  </a:lnTo>
                  <a:lnTo>
                    <a:pt x="195" y="52"/>
                  </a:lnTo>
                  <a:lnTo>
                    <a:pt x="194" y="51"/>
                  </a:lnTo>
                  <a:lnTo>
                    <a:pt x="191" y="51"/>
                  </a:lnTo>
                  <a:lnTo>
                    <a:pt x="189" y="52"/>
                  </a:lnTo>
                  <a:lnTo>
                    <a:pt x="187" y="50"/>
                  </a:lnTo>
                  <a:lnTo>
                    <a:pt x="190" y="49"/>
                  </a:lnTo>
                  <a:lnTo>
                    <a:pt x="191" y="51"/>
                  </a:lnTo>
                  <a:lnTo>
                    <a:pt x="194" y="50"/>
                  </a:lnTo>
                  <a:lnTo>
                    <a:pt x="191" y="49"/>
                  </a:lnTo>
                  <a:lnTo>
                    <a:pt x="189" y="47"/>
                  </a:lnTo>
                  <a:lnTo>
                    <a:pt x="187" y="47"/>
                  </a:lnTo>
                  <a:lnTo>
                    <a:pt x="184" y="46"/>
                  </a:lnTo>
                  <a:lnTo>
                    <a:pt x="186" y="45"/>
                  </a:lnTo>
                  <a:lnTo>
                    <a:pt x="189" y="46"/>
                  </a:lnTo>
                  <a:lnTo>
                    <a:pt x="191" y="47"/>
                  </a:lnTo>
                  <a:lnTo>
                    <a:pt x="194" y="50"/>
                  </a:lnTo>
                  <a:lnTo>
                    <a:pt x="195" y="50"/>
                  </a:lnTo>
                  <a:lnTo>
                    <a:pt x="196" y="49"/>
                  </a:lnTo>
                  <a:lnTo>
                    <a:pt x="195" y="46"/>
                  </a:lnTo>
                  <a:lnTo>
                    <a:pt x="192" y="45"/>
                  </a:lnTo>
                  <a:lnTo>
                    <a:pt x="190" y="45"/>
                  </a:lnTo>
                  <a:lnTo>
                    <a:pt x="187" y="44"/>
                  </a:lnTo>
                  <a:lnTo>
                    <a:pt x="194" y="44"/>
                  </a:lnTo>
                  <a:lnTo>
                    <a:pt x="195" y="45"/>
                  </a:lnTo>
                  <a:lnTo>
                    <a:pt x="196" y="46"/>
                  </a:lnTo>
                  <a:lnTo>
                    <a:pt x="197" y="45"/>
                  </a:lnTo>
                  <a:lnTo>
                    <a:pt x="198" y="45"/>
                  </a:lnTo>
                  <a:lnTo>
                    <a:pt x="198" y="43"/>
                  </a:lnTo>
                  <a:lnTo>
                    <a:pt x="201" y="41"/>
                  </a:lnTo>
                  <a:lnTo>
                    <a:pt x="202" y="41"/>
                  </a:lnTo>
                  <a:lnTo>
                    <a:pt x="204" y="41"/>
                  </a:lnTo>
                  <a:lnTo>
                    <a:pt x="206" y="40"/>
                  </a:lnTo>
                  <a:lnTo>
                    <a:pt x="204" y="44"/>
                  </a:lnTo>
                  <a:lnTo>
                    <a:pt x="201" y="45"/>
                  </a:lnTo>
                  <a:lnTo>
                    <a:pt x="198" y="46"/>
                  </a:lnTo>
                  <a:lnTo>
                    <a:pt x="198" y="47"/>
                  </a:lnTo>
                  <a:lnTo>
                    <a:pt x="198" y="49"/>
                  </a:lnTo>
                  <a:lnTo>
                    <a:pt x="200" y="50"/>
                  </a:lnTo>
                  <a:lnTo>
                    <a:pt x="200" y="51"/>
                  </a:lnTo>
                  <a:lnTo>
                    <a:pt x="198" y="55"/>
                  </a:lnTo>
                  <a:lnTo>
                    <a:pt x="200" y="53"/>
                  </a:lnTo>
                  <a:lnTo>
                    <a:pt x="201" y="55"/>
                  </a:lnTo>
                  <a:lnTo>
                    <a:pt x="201" y="57"/>
                  </a:lnTo>
                  <a:lnTo>
                    <a:pt x="203" y="64"/>
                  </a:lnTo>
                  <a:lnTo>
                    <a:pt x="208" y="75"/>
                  </a:lnTo>
                  <a:lnTo>
                    <a:pt x="210" y="74"/>
                  </a:lnTo>
                  <a:lnTo>
                    <a:pt x="212" y="74"/>
                  </a:lnTo>
                  <a:lnTo>
                    <a:pt x="212" y="71"/>
                  </a:lnTo>
                  <a:lnTo>
                    <a:pt x="212" y="70"/>
                  </a:lnTo>
                  <a:lnTo>
                    <a:pt x="212" y="69"/>
                  </a:lnTo>
                  <a:lnTo>
                    <a:pt x="213" y="69"/>
                  </a:lnTo>
                  <a:lnTo>
                    <a:pt x="214" y="70"/>
                  </a:lnTo>
                  <a:lnTo>
                    <a:pt x="215" y="70"/>
                  </a:lnTo>
                  <a:lnTo>
                    <a:pt x="214" y="68"/>
                  </a:lnTo>
                  <a:lnTo>
                    <a:pt x="216" y="68"/>
                  </a:lnTo>
                  <a:lnTo>
                    <a:pt x="218" y="68"/>
                  </a:lnTo>
                  <a:lnTo>
                    <a:pt x="219" y="67"/>
                  </a:lnTo>
                  <a:lnTo>
                    <a:pt x="221" y="65"/>
                  </a:lnTo>
                  <a:lnTo>
                    <a:pt x="222" y="67"/>
                  </a:lnTo>
                  <a:lnTo>
                    <a:pt x="224" y="68"/>
                  </a:lnTo>
                  <a:lnTo>
                    <a:pt x="222" y="68"/>
                  </a:lnTo>
                  <a:lnTo>
                    <a:pt x="224" y="69"/>
                  </a:lnTo>
                  <a:lnTo>
                    <a:pt x="225" y="69"/>
                  </a:lnTo>
                  <a:lnTo>
                    <a:pt x="225" y="70"/>
                  </a:lnTo>
                  <a:lnTo>
                    <a:pt x="226" y="71"/>
                  </a:lnTo>
                  <a:lnTo>
                    <a:pt x="226" y="73"/>
                  </a:lnTo>
                  <a:lnTo>
                    <a:pt x="227" y="73"/>
                  </a:lnTo>
                  <a:lnTo>
                    <a:pt x="227" y="74"/>
                  </a:lnTo>
                  <a:lnTo>
                    <a:pt x="222" y="73"/>
                  </a:lnTo>
                  <a:lnTo>
                    <a:pt x="219" y="71"/>
                  </a:lnTo>
                  <a:lnTo>
                    <a:pt x="218" y="73"/>
                  </a:lnTo>
                  <a:lnTo>
                    <a:pt x="219" y="74"/>
                  </a:lnTo>
                  <a:lnTo>
                    <a:pt x="218" y="75"/>
                  </a:lnTo>
                  <a:lnTo>
                    <a:pt x="219" y="77"/>
                  </a:lnTo>
                  <a:lnTo>
                    <a:pt x="219" y="79"/>
                  </a:lnTo>
                  <a:lnTo>
                    <a:pt x="220" y="77"/>
                  </a:lnTo>
                  <a:lnTo>
                    <a:pt x="221" y="77"/>
                  </a:lnTo>
                  <a:lnTo>
                    <a:pt x="222" y="77"/>
                  </a:lnTo>
                  <a:lnTo>
                    <a:pt x="222" y="79"/>
                  </a:lnTo>
                  <a:lnTo>
                    <a:pt x="224" y="79"/>
                  </a:lnTo>
                  <a:lnTo>
                    <a:pt x="226" y="79"/>
                  </a:lnTo>
                  <a:lnTo>
                    <a:pt x="227" y="79"/>
                  </a:lnTo>
                  <a:lnTo>
                    <a:pt x="227" y="80"/>
                  </a:lnTo>
                  <a:lnTo>
                    <a:pt x="231" y="81"/>
                  </a:lnTo>
                  <a:lnTo>
                    <a:pt x="227" y="81"/>
                  </a:lnTo>
                  <a:lnTo>
                    <a:pt x="227" y="82"/>
                  </a:lnTo>
                  <a:lnTo>
                    <a:pt x="226" y="83"/>
                  </a:lnTo>
                  <a:lnTo>
                    <a:pt x="227" y="87"/>
                  </a:lnTo>
                  <a:lnTo>
                    <a:pt x="227" y="88"/>
                  </a:lnTo>
                  <a:lnTo>
                    <a:pt x="226" y="89"/>
                  </a:lnTo>
                  <a:lnTo>
                    <a:pt x="225" y="88"/>
                  </a:lnTo>
                  <a:lnTo>
                    <a:pt x="225" y="87"/>
                  </a:lnTo>
                  <a:lnTo>
                    <a:pt x="225" y="86"/>
                  </a:lnTo>
                  <a:lnTo>
                    <a:pt x="222" y="86"/>
                  </a:lnTo>
                  <a:lnTo>
                    <a:pt x="220" y="86"/>
                  </a:lnTo>
                  <a:lnTo>
                    <a:pt x="218" y="85"/>
                  </a:lnTo>
                  <a:lnTo>
                    <a:pt x="216" y="85"/>
                  </a:lnTo>
                  <a:lnTo>
                    <a:pt x="213" y="86"/>
                  </a:lnTo>
                  <a:lnTo>
                    <a:pt x="214" y="91"/>
                  </a:lnTo>
                  <a:lnTo>
                    <a:pt x="215" y="91"/>
                  </a:lnTo>
                  <a:lnTo>
                    <a:pt x="216" y="89"/>
                  </a:lnTo>
                  <a:lnTo>
                    <a:pt x="219" y="88"/>
                  </a:lnTo>
                  <a:lnTo>
                    <a:pt x="221" y="89"/>
                  </a:lnTo>
                  <a:lnTo>
                    <a:pt x="221" y="91"/>
                  </a:lnTo>
                  <a:lnTo>
                    <a:pt x="222" y="91"/>
                  </a:lnTo>
                  <a:lnTo>
                    <a:pt x="224" y="91"/>
                  </a:lnTo>
                  <a:lnTo>
                    <a:pt x="225" y="91"/>
                  </a:lnTo>
                  <a:lnTo>
                    <a:pt x="226" y="92"/>
                  </a:lnTo>
                  <a:lnTo>
                    <a:pt x="228" y="92"/>
                  </a:lnTo>
                  <a:lnTo>
                    <a:pt x="230" y="94"/>
                  </a:lnTo>
                  <a:lnTo>
                    <a:pt x="228" y="94"/>
                  </a:lnTo>
                  <a:lnTo>
                    <a:pt x="231" y="94"/>
                  </a:lnTo>
                  <a:lnTo>
                    <a:pt x="232" y="93"/>
                  </a:lnTo>
                  <a:lnTo>
                    <a:pt x="233" y="92"/>
                  </a:lnTo>
                  <a:lnTo>
                    <a:pt x="233" y="93"/>
                  </a:lnTo>
                  <a:lnTo>
                    <a:pt x="234" y="93"/>
                  </a:lnTo>
                  <a:lnTo>
                    <a:pt x="236" y="93"/>
                  </a:lnTo>
                  <a:lnTo>
                    <a:pt x="236" y="94"/>
                  </a:lnTo>
                  <a:lnTo>
                    <a:pt x="238" y="94"/>
                  </a:lnTo>
                  <a:lnTo>
                    <a:pt x="238" y="93"/>
                  </a:lnTo>
                  <a:lnTo>
                    <a:pt x="239" y="93"/>
                  </a:lnTo>
                  <a:lnTo>
                    <a:pt x="239" y="91"/>
                  </a:lnTo>
                  <a:lnTo>
                    <a:pt x="243" y="88"/>
                  </a:lnTo>
                  <a:lnTo>
                    <a:pt x="243" y="87"/>
                  </a:lnTo>
                  <a:lnTo>
                    <a:pt x="244" y="87"/>
                  </a:lnTo>
                  <a:lnTo>
                    <a:pt x="245" y="86"/>
                  </a:lnTo>
                  <a:lnTo>
                    <a:pt x="246" y="83"/>
                  </a:lnTo>
                  <a:lnTo>
                    <a:pt x="244" y="81"/>
                  </a:lnTo>
                  <a:lnTo>
                    <a:pt x="242" y="76"/>
                  </a:lnTo>
                  <a:lnTo>
                    <a:pt x="243" y="76"/>
                  </a:lnTo>
                  <a:lnTo>
                    <a:pt x="244" y="79"/>
                  </a:lnTo>
                  <a:lnTo>
                    <a:pt x="244" y="77"/>
                  </a:lnTo>
                  <a:lnTo>
                    <a:pt x="245" y="76"/>
                  </a:lnTo>
                  <a:lnTo>
                    <a:pt x="246" y="76"/>
                  </a:lnTo>
                  <a:lnTo>
                    <a:pt x="248" y="76"/>
                  </a:lnTo>
                  <a:lnTo>
                    <a:pt x="248" y="77"/>
                  </a:lnTo>
                  <a:lnTo>
                    <a:pt x="246" y="79"/>
                  </a:lnTo>
                  <a:lnTo>
                    <a:pt x="245" y="80"/>
                  </a:lnTo>
                  <a:lnTo>
                    <a:pt x="245" y="81"/>
                  </a:lnTo>
                  <a:lnTo>
                    <a:pt x="248" y="80"/>
                  </a:lnTo>
                  <a:lnTo>
                    <a:pt x="249" y="79"/>
                  </a:lnTo>
                  <a:lnTo>
                    <a:pt x="249" y="81"/>
                  </a:lnTo>
                  <a:lnTo>
                    <a:pt x="246" y="82"/>
                  </a:lnTo>
                  <a:lnTo>
                    <a:pt x="248" y="85"/>
                  </a:lnTo>
                  <a:lnTo>
                    <a:pt x="250" y="85"/>
                  </a:lnTo>
                  <a:lnTo>
                    <a:pt x="253" y="85"/>
                  </a:lnTo>
                  <a:lnTo>
                    <a:pt x="250" y="83"/>
                  </a:lnTo>
                  <a:lnTo>
                    <a:pt x="251" y="82"/>
                  </a:lnTo>
                  <a:lnTo>
                    <a:pt x="254" y="82"/>
                  </a:lnTo>
                  <a:lnTo>
                    <a:pt x="254" y="85"/>
                  </a:lnTo>
                  <a:lnTo>
                    <a:pt x="255" y="86"/>
                  </a:lnTo>
                  <a:lnTo>
                    <a:pt x="256" y="85"/>
                  </a:lnTo>
                  <a:lnTo>
                    <a:pt x="256" y="82"/>
                  </a:lnTo>
                  <a:lnTo>
                    <a:pt x="255" y="81"/>
                  </a:lnTo>
                  <a:lnTo>
                    <a:pt x="254" y="80"/>
                  </a:lnTo>
                  <a:lnTo>
                    <a:pt x="255" y="81"/>
                  </a:lnTo>
                  <a:lnTo>
                    <a:pt x="255" y="80"/>
                  </a:lnTo>
                  <a:lnTo>
                    <a:pt x="255" y="79"/>
                  </a:lnTo>
                  <a:lnTo>
                    <a:pt x="256" y="77"/>
                  </a:lnTo>
                  <a:lnTo>
                    <a:pt x="257" y="76"/>
                  </a:lnTo>
                  <a:lnTo>
                    <a:pt x="257" y="75"/>
                  </a:lnTo>
                  <a:lnTo>
                    <a:pt x="257" y="74"/>
                  </a:lnTo>
                  <a:lnTo>
                    <a:pt x="260" y="74"/>
                  </a:lnTo>
                  <a:lnTo>
                    <a:pt x="261" y="76"/>
                  </a:lnTo>
                  <a:lnTo>
                    <a:pt x="262" y="76"/>
                  </a:lnTo>
                  <a:lnTo>
                    <a:pt x="263" y="76"/>
                  </a:lnTo>
                  <a:lnTo>
                    <a:pt x="262" y="74"/>
                  </a:lnTo>
                  <a:lnTo>
                    <a:pt x="263" y="73"/>
                  </a:lnTo>
                  <a:lnTo>
                    <a:pt x="263" y="77"/>
                  </a:lnTo>
                  <a:lnTo>
                    <a:pt x="265" y="77"/>
                  </a:lnTo>
                  <a:lnTo>
                    <a:pt x="267" y="79"/>
                  </a:lnTo>
                  <a:lnTo>
                    <a:pt x="268" y="79"/>
                  </a:lnTo>
                  <a:lnTo>
                    <a:pt x="267" y="76"/>
                  </a:lnTo>
                  <a:lnTo>
                    <a:pt x="266" y="75"/>
                  </a:lnTo>
                  <a:lnTo>
                    <a:pt x="267" y="74"/>
                  </a:lnTo>
                  <a:lnTo>
                    <a:pt x="267" y="73"/>
                  </a:lnTo>
                  <a:lnTo>
                    <a:pt x="267" y="71"/>
                  </a:lnTo>
                  <a:lnTo>
                    <a:pt x="267" y="70"/>
                  </a:lnTo>
                  <a:lnTo>
                    <a:pt x="268" y="69"/>
                  </a:lnTo>
                  <a:lnTo>
                    <a:pt x="268" y="68"/>
                  </a:lnTo>
                  <a:lnTo>
                    <a:pt x="269" y="68"/>
                  </a:lnTo>
                  <a:lnTo>
                    <a:pt x="271" y="67"/>
                  </a:lnTo>
                  <a:lnTo>
                    <a:pt x="272" y="68"/>
                  </a:lnTo>
                  <a:lnTo>
                    <a:pt x="272" y="70"/>
                  </a:lnTo>
                  <a:lnTo>
                    <a:pt x="273" y="73"/>
                  </a:lnTo>
                  <a:lnTo>
                    <a:pt x="272" y="74"/>
                  </a:lnTo>
                  <a:lnTo>
                    <a:pt x="273" y="77"/>
                  </a:lnTo>
                  <a:lnTo>
                    <a:pt x="273" y="79"/>
                  </a:lnTo>
                  <a:lnTo>
                    <a:pt x="272" y="79"/>
                  </a:lnTo>
                  <a:lnTo>
                    <a:pt x="271" y="79"/>
                  </a:lnTo>
                  <a:lnTo>
                    <a:pt x="271" y="80"/>
                  </a:lnTo>
                  <a:lnTo>
                    <a:pt x="272" y="80"/>
                  </a:lnTo>
                  <a:lnTo>
                    <a:pt x="273" y="81"/>
                  </a:lnTo>
                  <a:lnTo>
                    <a:pt x="274" y="82"/>
                  </a:lnTo>
                  <a:lnTo>
                    <a:pt x="274" y="83"/>
                  </a:lnTo>
                  <a:lnTo>
                    <a:pt x="275" y="83"/>
                  </a:lnTo>
                  <a:lnTo>
                    <a:pt x="277" y="82"/>
                  </a:lnTo>
                  <a:lnTo>
                    <a:pt x="278" y="83"/>
                  </a:lnTo>
                  <a:lnTo>
                    <a:pt x="279" y="83"/>
                  </a:lnTo>
                  <a:lnTo>
                    <a:pt x="279" y="86"/>
                  </a:lnTo>
                  <a:lnTo>
                    <a:pt x="280" y="86"/>
                  </a:lnTo>
                  <a:lnTo>
                    <a:pt x="281" y="87"/>
                  </a:lnTo>
                  <a:lnTo>
                    <a:pt x="283" y="88"/>
                  </a:lnTo>
                  <a:lnTo>
                    <a:pt x="283" y="89"/>
                  </a:lnTo>
                  <a:lnTo>
                    <a:pt x="284" y="91"/>
                  </a:lnTo>
                  <a:lnTo>
                    <a:pt x="285" y="91"/>
                  </a:lnTo>
                  <a:lnTo>
                    <a:pt x="286" y="92"/>
                  </a:lnTo>
                  <a:lnTo>
                    <a:pt x="287" y="91"/>
                  </a:lnTo>
                  <a:lnTo>
                    <a:pt x="287" y="87"/>
                  </a:lnTo>
                  <a:lnTo>
                    <a:pt x="287" y="85"/>
                  </a:lnTo>
                  <a:lnTo>
                    <a:pt x="287" y="83"/>
                  </a:lnTo>
                  <a:lnTo>
                    <a:pt x="287" y="82"/>
                  </a:lnTo>
                  <a:lnTo>
                    <a:pt x="289" y="82"/>
                  </a:lnTo>
                  <a:lnTo>
                    <a:pt x="289" y="81"/>
                  </a:lnTo>
                  <a:lnTo>
                    <a:pt x="287" y="81"/>
                  </a:lnTo>
                  <a:lnTo>
                    <a:pt x="287" y="79"/>
                  </a:lnTo>
                  <a:lnTo>
                    <a:pt x="287" y="76"/>
                  </a:lnTo>
                  <a:lnTo>
                    <a:pt x="289" y="77"/>
                  </a:lnTo>
                  <a:lnTo>
                    <a:pt x="290" y="77"/>
                  </a:lnTo>
                  <a:lnTo>
                    <a:pt x="290" y="79"/>
                  </a:lnTo>
                  <a:lnTo>
                    <a:pt x="290" y="82"/>
                  </a:lnTo>
                  <a:lnTo>
                    <a:pt x="289" y="82"/>
                  </a:lnTo>
                  <a:lnTo>
                    <a:pt x="291" y="82"/>
                  </a:lnTo>
                  <a:lnTo>
                    <a:pt x="290" y="83"/>
                  </a:lnTo>
                  <a:lnTo>
                    <a:pt x="289" y="87"/>
                  </a:lnTo>
                  <a:lnTo>
                    <a:pt x="287" y="92"/>
                  </a:lnTo>
                  <a:lnTo>
                    <a:pt x="287" y="93"/>
                  </a:lnTo>
                  <a:lnTo>
                    <a:pt x="289" y="92"/>
                  </a:lnTo>
                  <a:lnTo>
                    <a:pt x="291" y="91"/>
                  </a:lnTo>
                  <a:lnTo>
                    <a:pt x="291" y="92"/>
                  </a:lnTo>
                  <a:lnTo>
                    <a:pt x="292" y="92"/>
                  </a:lnTo>
                  <a:lnTo>
                    <a:pt x="293" y="92"/>
                  </a:lnTo>
                  <a:lnTo>
                    <a:pt x="295" y="89"/>
                  </a:lnTo>
                  <a:lnTo>
                    <a:pt x="296" y="88"/>
                  </a:lnTo>
                  <a:lnTo>
                    <a:pt x="297" y="89"/>
                  </a:lnTo>
                  <a:lnTo>
                    <a:pt x="298" y="89"/>
                  </a:lnTo>
                  <a:lnTo>
                    <a:pt x="299" y="89"/>
                  </a:lnTo>
                  <a:lnTo>
                    <a:pt x="302" y="89"/>
                  </a:lnTo>
                  <a:lnTo>
                    <a:pt x="303" y="89"/>
                  </a:lnTo>
                  <a:lnTo>
                    <a:pt x="299" y="92"/>
                  </a:lnTo>
                  <a:lnTo>
                    <a:pt x="296" y="92"/>
                  </a:lnTo>
                  <a:lnTo>
                    <a:pt x="293" y="94"/>
                  </a:lnTo>
                  <a:lnTo>
                    <a:pt x="291" y="97"/>
                  </a:lnTo>
                  <a:lnTo>
                    <a:pt x="287" y="98"/>
                  </a:lnTo>
                  <a:lnTo>
                    <a:pt x="286" y="100"/>
                  </a:lnTo>
                  <a:lnTo>
                    <a:pt x="285" y="101"/>
                  </a:lnTo>
                  <a:lnTo>
                    <a:pt x="286" y="100"/>
                  </a:lnTo>
                  <a:lnTo>
                    <a:pt x="289" y="99"/>
                  </a:lnTo>
                  <a:lnTo>
                    <a:pt x="292" y="97"/>
                  </a:lnTo>
                  <a:lnTo>
                    <a:pt x="290" y="101"/>
                  </a:lnTo>
                  <a:lnTo>
                    <a:pt x="289" y="103"/>
                  </a:lnTo>
                  <a:lnTo>
                    <a:pt x="291" y="104"/>
                  </a:lnTo>
                  <a:lnTo>
                    <a:pt x="293" y="105"/>
                  </a:lnTo>
                  <a:lnTo>
                    <a:pt x="295" y="104"/>
                  </a:lnTo>
                  <a:lnTo>
                    <a:pt x="298" y="104"/>
                  </a:lnTo>
                  <a:lnTo>
                    <a:pt x="299" y="105"/>
                  </a:lnTo>
                  <a:lnTo>
                    <a:pt x="299" y="106"/>
                  </a:lnTo>
                  <a:lnTo>
                    <a:pt x="301" y="107"/>
                  </a:lnTo>
                  <a:lnTo>
                    <a:pt x="301" y="110"/>
                  </a:lnTo>
                  <a:lnTo>
                    <a:pt x="301" y="111"/>
                  </a:lnTo>
                  <a:lnTo>
                    <a:pt x="301" y="112"/>
                  </a:lnTo>
                  <a:lnTo>
                    <a:pt x="301" y="113"/>
                  </a:lnTo>
                  <a:lnTo>
                    <a:pt x="302" y="115"/>
                  </a:lnTo>
                  <a:lnTo>
                    <a:pt x="303" y="112"/>
                  </a:lnTo>
                  <a:lnTo>
                    <a:pt x="303" y="111"/>
                  </a:lnTo>
                  <a:lnTo>
                    <a:pt x="305" y="109"/>
                  </a:lnTo>
                  <a:lnTo>
                    <a:pt x="305" y="112"/>
                  </a:lnTo>
                  <a:lnTo>
                    <a:pt x="307" y="115"/>
                  </a:lnTo>
                  <a:lnTo>
                    <a:pt x="308" y="112"/>
                  </a:lnTo>
                  <a:lnTo>
                    <a:pt x="308" y="115"/>
                  </a:lnTo>
                  <a:lnTo>
                    <a:pt x="309" y="116"/>
                  </a:lnTo>
                  <a:lnTo>
                    <a:pt x="311" y="115"/>
                  </a:lnTo>
                  <a:lnTo>
                    <a:pt x="311" y="117"/>
                  </a:lnTo>
                  <a:lnTo>
                    <a:pt x="313" y="116"/>
                  </a:lnTo>
                  <a:lnTo>
                    <a:pt x="314" y="116"/>
                  </a:lnTo>
                  <a:lnTo>
                    <a:pt x="316" y="117"/>
                  </a:lnTo>
                  <a:lnTo>
                    <a:pt x="313" y="118"/>
                  </a:lnTo>
                  <a:lnTo>
                    <a:pt x="308" y="118"/>
                  </a:lnTo>
                  <a:lnTo>
                    <a:pt x="309" y="119"/>
                  </a:lnTo>
                  <a:lnTo>
                    <a:pt x="310" y="119"/>
                  </a:lnTo>
                  <a:lnTo>
                    <a:pt x="311" y="121"/>
                  </a:lnTo>
                  <a:lnTo>
                    <a:pt x="313" y="119"/>
                  </a:lnTo>
                  <a:lnTo>
                    <a:pt x="314" y="119"/>
                  </a:lnTo>
                  <a:lnTo>
                    <a:pt x="316" y="121"/>
                  </a:lnTo>
                  <a:lnTo>
                    <a:pt x="319" y="121"/>
                  </a:lnTo>
                  <a:lnTo>
                    <a:pt x="319" y="122"/>
                  </a:lnTo>
                  <a:lnTo>
                    <a:pt x="321" y="122"/>
                  </a:lnTo>
                  <a:lnTo>
                    <a:pt x="321" y="121"/>
                  </a:lnTo>
                  <a:lnTo>
                    <a:pt x="322" y="119"/>
                  </a:lnTo>
                  <a:lnTo>
                    <a:pt x="322" y="117"/>
                  </a:lnTo>
                  <a:lnTo>
                    <a:pt x="325" y="116"/>
                  </a:lnTo>
                  <a:lnTo>
                    <a:pt x="324" y="118"/>
                  </a:lnTo>
                  <a:lnTo>
                    <a:pt x="325" y="118"/>
                  </a:lnTo>
                  <a:lnTo>
                    <a:pt x="326" y="118"/>
                  </a:lnTo>
                  <a:lnTo>
                    <a:pt x="327" y="117"/>
                  </a:lnTo>
                  <a:lnTo>
                    <a:pt x="326" y="117"/>
                  </a:lnTo>
                  <a:lnTo>
                    <a:pt x="326" y="116"/>
                  </a:lnTo>
                  <a:lnTo>
                    <a:pt x="326" y="115"/>
                  </a:lnTo>
                  <a:lnTo>
                    <a:pt x="325" y="112"/>
                  </a:lnTo>
                  <a:lnTo>
                    <a:pt x="322" y="113"/>
                  </a:lnTo>
                  <a:lnTo>
                    <a:pt x="320" y="115"/>
                  </a:lnTo>
                  <a:lnTo>
                    <a:pt x="320" y="112"/>
                  </a:lnTo>
                  <a:lnTo>
                    <a:pt x="322" y="110"/>
                  </a:lnTo>
                  <a:lnTo>
                    <a:pt x="324" y="110"/>
                  </a:lnTo>
                  <a:lnTo>
                    <a:pt x="326" y="111"/>
                  </a:lnTo>
                  <a:lnTo>
                    <a:pt x="326" y="112"/>
                  </a:lnTo>
                  <a:lnTo>
                    <a:pt x="328" y="111"/>
                  </a:lnTo>
                  <a:lnTo>
                    <a:pt x="330" y="111"/>
                  </a:lnTo>
                  <a:lnTo>
                    <a:pt x="331" y="111"/>
                  </a:lnTo>
                  <a:lnTo>
                    <a:pt x="332" y="109"/>
                  </a:lnTo>
                  <a:lnTo>
                    <a:pt x="333" y="107"/>
                  </a:lnTo>
                  <a:lnTo>
                    <a:pt x="334" y="107"/>
                  </a:lnTo>
                  <a:lnTo>
                    <a:pt x="336" y="107"/>
                  </a:lnTo>
                  <a:lnTo>
                    <a:pt x="336" y="106"/>
                  </a:lnTo>
                  <a:lnTo>
                    <a:pt x="334" y="105"/>
                  </a:lnTo>
                  <a:lnTo>
                    <a:pt x="333" y="107"/>
                  </a:lnTo>
                  <a:lnTo>
                    <a:pt x="333" y="105"/>
                  </a:lnTo>
                  <a:lnTo>
                    <a:pt x="333" y="104"/>
                  </a:lnTo>
                  <a:lnTo>
                    <a:pt x="332" y="106"/>
                  </a:lnTo>
                  <a:lnTo>
                    <a:pt x="331" y="109"/>
                  </a:lnTo>
                  <a:lnTo>
                    <a:pt x="330" y="109"/>
                  </a:lnTo>
                  <a:lnTo>
                    <a:pt x="328" y="109"/>
                  </a:lnTo>
                  <a:lnTo>
                    <a:pt x="328" y="106"/>
                  </a:lnTo>
                  <a:lnTo>
                    <a:pt x="328" y="105"/>
                  </a:lnTo>
                  <a:lnTo>
                    <a:pt x="331" y="103"/>
                  </a:lnTo>
                  <a:lnTo>
                    <a:pt x="332" y="101"/>
                  </a:lnTo>
                  <a:lnTo>
                    <a:pt x="332" y="100"/>
                  </a:lnTo>
                  <a:lnTo>
                    <a:pt x="333" y="99"/>
                  </a:lnTo>
                  <a:lnTo>
                    <a:pt x="332" y="97"/>
                  </a:lnTo>
                  <a:lnTo>
                    <a:pt x="324" y="89"/>
                  </a:lnTo>
                  <a:lnTo>
                    <a:pt x="318" y="76"/>
                  </a:lnTo>
                  <a:lnTo>
                    <a:pt x="318" y="77"/>
                  </a:lnTo>
                  <a:lnTo>
                    <a:pt x="319" y="81"/>
                  </a:lnTo>
                  <a:lnTo>
                    <a:pt x="319" y="85"/>
                  </a:lnTo>
                  <a:lnTo>
                    <a:pt x="318" y="83"/>
                  </a:lnTo>
                  <a:lnTo>
                    <a:pt x="318" y="82"/>
                  </a:lnTo>
                  <a:lnTo>
                    <a:pt x="318" y="81"/>
                  </a:lnTo>
                  <a:lnTo>
                    <a:pt x="318" y="82"/>
                  </a:lnTo>
                  <a:lnTo>
                    <a:pt x="316" y="85"/>
                  </a:lnTo>
                  <a:lnTo>
                    <a:pt x="318" y="85"/>
                  </a:lnTo>
                  <a:lnTo>
                    <a:pt x="318" y="87"/>
                  </a:lnTo>
                  <a:lnTo>
                    <a:pt x="316" y="89"/>
                  </a:lnTo>
                  <a:lnTo>
                    <a:pt x="316" y="92"/>
                  </a:lnTo>
                  <a:lnTo>
                    <a:pt x="316" y="88"/>
                  </a:lnTo>
                  <a:lnTo>
                    <a:pt x="315" y="86"/>
                  </a:lnTo>
                  <a:lnTo>
                    <a:pt x="314" y="86"/>
                  </a:lnTo>
                  <a:lnTo>
                    <a:pt x="314" y="87"/>
                  </a:lnTo>
                  <a:lnTo>
                    <a:pt x="313" y="86"/>
                  </a:lnTo>
                  <a:lnTo>
                    <a:pt x="313" y="85"/>
                  </a:lnTo>
                  <a:lnTo>
                    <a:pt x="311" y="82"/>
                  </a:lnTo>
                  <a:lnTo>
                    <a:pt x="309" y="83"/>
                  </a:lnTo>
                  <a:lnTo>
                    <a:pt x="308" y="85"/>
                  </a:lnTo>
                  <a:lnTo>
                    <a:pt x="307" y="86"/>
                  </a:lnTo>
                  <a:lnTo>
                    <a:pt x="305" y="87"/>
                  </a:lnTo>
                  <a:lnTo>
                    <a:pt x="305" y="83"/>
                  </a:lnTo>
                  <a:lnTo>
                    <a:pt x="308" y="81"/>
                  </a:lnTo>
                  <a:lnTo>
                    <a:pt x="307" y="81"/>
                  </a:lnTo>
                  <a:lnTo>
                    <a:pt x="303" y="83"/>
                  </a:lnTo>
                  <a:lnTo>
                    <a:pt x="303" y="85"/>
                  </a:lnTo>
                  <a:lnTo>
                    <a:pt x="303" y="81"/>
                  </a:lnTo>
                  <a:lnTo>
                    <a:pt x="302" y="80"/>
                  </a:lnTo>
                  <a:lnTo>
                    <a:pt x="303" y="80"/>
                  </a:lnTo>
                  <a:lnTo>
                    <a:pt x="303" y="77"/>
                  </a:lnTo>
                  <a:lnTo>
                    <a:pt x="303" y="76"/>
                  </a:lnTo>
                  <a:lnTo>
                    <a:pt x="304" y="75"/>
                  </a:lnTo>
                  <a:lnTo>
                    <a:pt x="308" y="75"/>
                  </a:lnTo>
                  <a:lnTo>
                    <a:pt x="308" y="74"/>
                  </a:lnTo>
                  <a:lnTo>
                    <a:pt x="308" y="73"/>
                  </a:lnTo>
                  <a:lnTo>
                    <a:pt x="309" y="70"/>
                  </a:lnTo>
                  <a:lnTo>
                    <a:pt x="310" y="70"/>
                  </a:lnTo>
                  <a:lnTo>
                    <a:pt x="308" y="70"/>
                  </a:lnTo>
                  <a:lnTo>
                    <a:pt x="307" y="71"/>
                  </a:lnTo>
                  <a:lnTo>
                    <a:pt x="307" y="70"/>
                  </a:lnTo>
                  <a:lnTo>
                    <a:pt x="305" y="70"/>
                  </a:lnTo>
                  <a:lnTo>
                    <a:pt x="304" y="69"/>
                  </a:lnTo>
                  <a:lnTo>
                    <a:pt x="303" y="70"/>
                  </a:lnTo>
                  <a:lnTo>
                    <a:pt x="302" y="69"/>
                  </a:lnTo>
                  <a:lnTo>
                    <a:pt x="301" y="69"/>
                  </a:lnTo>
                  <a:lnTo>
                    <a:pt x="301" y="68"/>
                  </a:lnTo>
                  <a:lnTo>
                    <a:pt x="297" y="67"/>
                  </a:lnTo>
                  <a:lnTo>
                    <a:pt x="297" y="65"/>
                  </a:lnTo>
                  <a:lnTo>
                    <a:pt x="299" y="65"/>
                  </a:lnTo>
                  <a:lnTo>
                    <a:pt x="299" y="64"/>
                  </a:lnTo>
                  <a:lnTo>
                    <a:pt x="299" y="63"/>
                  </a:lnTo>
                  <a:lnTo>
                    <a:pt x="301" y="62"/>
                  </a:lnTo>
                  <a:lnTo>
                    <a:pt x="303" y="62"/>
                  </a:lnTo>
                  <a:lnTo>
                    <a:pt x="304" y="62"/>
                  </a:lnTo>
                  <a:lnTo>
                    <a:pt x="303" y="61"/>
                  </a:lnTo>
                  <a:lnTo>
                    <a:pt x="303" y="59"/>
                  </a:lnTo>
                  <a:lnTo>
                    <a:pt x="302" y="58"/>
                  </a:lnTo>
                  <a:lnTo>
                    <a:pt x="302" y="61"/>
                  </a:lnTo>
                  <a:lnTo>
                    <a:pt x="301" y="58"/>
                  </a:lnTo>
                  <a:lnTo>
                    <a:pt x="299" y="56"/>
                  </a:lnTo>
                  <a:lnTo>
                    <a:pt x="298" y="56"/>
                  </a:lnTo>
                  <a:lnTo>
                    <a:pt x="297" y="56"/>
                  </a:lnTo>
                  <a:lnTo>
                    <a:pt x="297" y="52"/>
                  </a:lnTo>
                  <a:lnTo>
                    <a:pt x="298" y="50"/>
                  </a:lnTo>
                  <a:lnTo>
                    <a:pt x="298" y="47"/>
                  </a:lnTo>
                  <a:lnTo>
                    <a:pt x="298" y="46"/>
                  </a:lnTo>
                  <a:lnTo>
                    <a:pt x="297" y="49"/>
                  </a:lnTo>
                  <a:lnTo>
                    <a:pt x="296" y="50"/>
                  </a:lnTo>
                  <a:lnTo>
                    <a:pt x="295" y="53"/>
                  </a:lnTo>
                  <a:lnTo>
                    <a:pt x="295" y="52"/>
                  </a:lnTo>
                  <a:lnTo>
                    <a:pt x="293" y="50"/>
                  </a:lnTo>
                  <a:lnTo>
                    <a:pt x="293" y="47"/>
                  </a:lnTo>
                  <a:lnTo>
                    <a:pt x="293" y="46"/>
                  </a:lnTo>
                  <a:lnTo>
                    <a:pt x="292" y="46"/>
                  </a:lnTo>
                  <a:lnTo>
                    <a:pt x="292" y="50"/>
                  </a:lnTo>
                  <a:lnTo>
                    <a:pt x="291" y="52"/>
                  </a:lnTo>
                  <a:lnTo>
                    <a:pt x="290" y="52"/>
                  </a:lnTo>
                  <a:lnTo>
                    <a:pt x="290" y="53"/>
                  </a:lnTo>
                  <a:lnTo>
                    <a:pt x="290" y="55"/>
                  </a:lnTo>
                  <a:lnTo>
                    <a:pt x="289" y="56"/>
                  </a:lnTo>
                  <a:lnTo>
                    <a:pt x="289" y="55"/>
                  </a:lnTo>
                  <a:lnTo>
                    <a:pt x="289" y="57"/>
                  </a:lnTo>
                  <a:lnTo>
                    <a:pt x="287" y="57"/>
                  </a:lnTo>
                  <a:lnTo>
                    <a:pt x="287" y="56"/>
                  </a:lnTo>
                  <a:lnTo>
                    <a:pt x="286" y="53"/>
                  </a:lnTo>
                  <a:lnTo>
                    <a:pt x="286" y="52"/>
                  </a:lnTo>
                  <a:lnTo>
                    <a:pt x="285" y="53"/>
                  </a:lnTo>
                  <a:lnTo>
                    <a:pt x="284" y="53"/>
                  </a:lnTo>
                  <a:lnTo>
                    <a:pt x="283" y="55"/>
                  </a:lnTo>
                  <a:lnTo>
                    <a:pt x="281" y="56"/>
                  </a:lnTo>
                  <a:lnTo>
                    <a:pt x="280" y="57"/>
                  </a:lnTo>
                  <a:lnTo>
                    <a:pt x="280" y="53"/>
                  </a:lnTo>
                  <a:lnTo>
                    <a:pt x="281" y="51"/>
                  </a:lnTo>
                  <a:lnTo>
                    <a:pt x="281" y="49"/>
                  </a:lnTo>
                  <a:lnTo>
                    <a:pt x="280" y="49"/>
                  </a:lnTo>
                  <a:lnTo>
                    <a:pt x="280" y="46"/>
                  </a:lnTo>
                  <a:lnTo>
                    <a:pt x="281" y="44"/>
                  </a:lnTo>
                  <a:lnTo>
                    <a:pt x="283" y="43"/>
                  </a:lnTo>
                  <a:lnTo>
                    <a:pt x="283" y="41"/>
                  </a:lnTo>
                  <a:lnTo>
                    <a:pt x="284" y="39"/>
                  </a:lnTo>
                  <a:lnTo>
                    <a:pt x="285" y="38"/>
                  </a:lnTo>
                  <a:lnTo>
                    <a:pt x="285" y="37"/>
                  </a:lnTo>
                  <a:lnTo>
                    <a:pt x="284" y="38"/>
                  </a:lnTo>
                  <a:lnTo>
                    <a:pt x="283" y="39"/>
                  </a:lnTo>
                  <a:lnTo>
                    <a:pt x="283" y="38"/>
                  </a:lnTo>
                  <a:lnTo>
                    <a:pt x="280" y="39"/>
                  </a:lnTo>
                  <a:lnTo>
                    <a:pt x="279" y="39"/>
                  </a:lnTo>
                  <a:lnTo>
                    <a:pt x="278" y="38"/>
                  </a:lnTo>
                  <a:lnTo>
                    <a:pt x="275" y="39"/>
                  </a:lnTo>
                  <a:lnTo>
                    <a:pt x="274" y="40"/>
                  </a:lnTo>
                  <a:lnTo>
                    <a:pt x="271" y="45"/>
                  </a:lnTo>
                  <a:lnTo>
                    <a:pt x="269" y="46"/>
                  </a:lnTo>
                  <a:lnTo>
                    <a:pt x="268" y="49"/>
                  </a:lnTo>
                  <a:lnTo>
                    <a:pt x="267" y="46"/>
                  </a:lnTo>
                  <a:lnTo>
                    <a:pt x="267" y="43"/>
                  </a:lnTo>
                  <a:lnTo>
                    <a:pt x="268" y="40"/>
                  </a:lnTo>
                  <a:lnTo>
                    <a:pt x="268" y="38"/>
                  </a:lnTo>
                  <a:lnTo>
                    <a:pt x="269" y="37"/>
                  </a:lnTo>
                  <a:lnTo>
                    <a:pt x="271" y="35"/>
                  </a:lnTo>
                  <a:lnTo>
                    <a:pt x="273" y="37"/>
                  </a:lnTo>
                  <a:lnTo>
                    <a:pt x="277" y="37"/>
                  </a:lnTo>
                  <a:lnTo>
                    <a:pt x="279" y="34"/>
                  </a:lnTo>
                  <a:lnTo>
                    <a:pt x="281" y="33"/>
                  </a:lnTo>
                  <a:lnTo>
                    <a:pt x="281" y="32"/>
                  </a:lnTo>
                  <a:lnTo>
                    <a:pt x="280" y="31"/>
                  </a:lnTo>
                  <a:lnTo>
                    <a:pt x="280" y="28"/>
                  </a:lnTo>
                  <a:lnTo>
                    <a:pt x="279" y="27"/>
                  </a:lnTo>
                  <a:lnTo>
                    <a:pt x="280" y="24"/>
                  </a:lnTo>
                  <a:lnTo>
                    <a:pt x="278" y="24"/>
                  </a:lnTo>
                  <a:lnTo>
                    <a:pt x="277" y="28"/>
                  </a:lnTo>
                  <a:lnTo>
                    <a:pt x="274" y="29"/>
                  </a:lnTo>
                  <a:lnTo>
                    <a:pt x="274" y="27"/>
                  </a:lnTo>
                  <a:lnTo>
                    <a:pt x="274" y="22"/>
                  </a:lnTo>
                  <a:lnTo>
                    <a:pt x="274" y="21"/>
                  </a:lnTo>
                  <a:lnTo>
                    <a:pt x="273" y="21"/>
                  </a:lnTo>
                  <a:lnTo>
                    <a:pt x="274" y="17"/>
                  </a:lnTo>
                  <a:lnTo>
                    <a:pt x="278" y="16"/>
                  </a:lnTo>
                  <a:lnTo>
                    <a:pt x="279" y="14"/>
                  </a:lnTo>
                  <a:lnTo>
                    <a:pt x="280" y="12"/>
                  </a:lnTo>
                  <a:lnTo>
                    <a:pt x="283" y="11"/>
                  </a:lnTo>
                  <a:lnTo>
                    <a:pt x="283" y="9"/>
                  </a:lnTo>
                  <a:lnTo>
                    <a:pt x="279" y="8"/>
                  </a:lnTo>
                  <a:lnTo>
                    <a:pt x="277" y="6"/>
                  </a:lnTo>
                  <a:lnTo>
                    <a:pt x="279" y="6"/>
                  </a:lnTo>
                  <a:lnTo>
                    <a:pt x="281" y="6"/>
                  </a:lnTo>
                  <a:lnTo>
                    <a:pt x="283" y="5"/>
                  </a:lnTo>
                  <a:lnTo>
                    <a:pt x="283" y="4"/>
                  </a:lnTo>
                  <a:lnTo>
                    <a:pt x="283" y="3"/>
                  </a:lnTo>
                  <a:lnTo>
                    <a:pt x="284" y="2"/>
                  </a:lnTo>
                  <a:lnTo>
                    <a:pt x="285" y="0"/>
                  </a:lnTo>
                  <a:lnTo>
                    <a:pt x="286" y="0"/>
                  </a:lnTo>
                  <a:lnTo>
                    <a:pt x="287" y="0"/>
                  </a:lnTo>
                  <a:lnTo>
                    <a:pt x="289" y="0"/>
                  </a:lnTo>
                  <a:lnTo>
                    <a:pt x="289" y="2"/>
                  </a:lnTo>
                  <a:lnTo>
                    <a:pt x="290" y="2"/>
                  </a:lnTo>
                  <a:lnTo>
                    <a:pt x="290" y="3"/>
                  </a:lnTo>
                  <a:lnTo>
                    <a:pt x="291" y="3"/>
                  </a:lnTo>
                  <a:lnTo>
                    <a:pt x="292" y="2"/>
                  </a:lnTo>
                  <a:lnTo>
                    <a:pt x="293" y="2"/>
                  </a:lnTo>
                  <a:lnTo>
                    <a:pt x="295" y="2"/>
                  </a:lnTo>
                  <a:lnTo>
                    <a:pt x="296" y="0"/>
                  </a:lnTo>
                  <a:lnTo>
                    <a:pt x="295" y="4"/>
                  </a:lnTo>
                  <a:lnTo>
                    <a:pt x="292" y="10"/>
                  </a:lnTo>
                  <a:lnTo>
                    <a:pt x="293" y="11"/>
                  </a:lnTo>
                  <a:lnTo>
                    <a:pt x="295" y="9"/>
                  </a:lnTo>
                  <a:lnTo>
                    <a:pt x="296" y="12"/>
                  </a:lnTo>
                  <a:lnTo>
                    <a:pt x="296" y="16"/>
                  </a:lnTo>
                  <a:lnTo>
                    <a:pt x="297" y="18"/>
                  </a:lnTo>
                  <a:lnTo>
                    <a:pt x="297" y="17"/>
                  </a:lnTo>
                  <a:lnTo>
                    <a:pt x="298" y="18"/>
                  </a:lnTo>
                  <a:lnTo>
                    <a:pt x="299" y="17"/>
                  </a:lnTo>
                  <a:lnTo>
                    <a:pt x="298" y="14"/>
                  </a:lnTo>
                  <a:lnTo>
                    <a:pt x="301" y="14"/>
                  </a:lnTo>
                  <a:lnTo>
                    <a:pt x="304" y="15"/>
                  </a:lnTo>
                  <a:lnTo>
                    <a:pt x="305" y="17"/>
                  </a:lnTo>
                  <a:lnTo>
                    <a:pt x="307" y="20"/>
                  </a:lnTo>
                  <a:lnTo>
                    <a:pt x="305" y="20"/>
                  </a:lnTo>
                  <a:lnTo>
                    <a:pt x="304" y="21"/>
                  </a:lnTo>
                  <a:lnTo>
                    <a:pt x="304" y="20"/>
                  </a:lnTo>
                  <a:lnTo>
                    <a:pt x="303" y="21"/>
                  </a:lnTo>
                  <a:lnTo>
                    <a:pt x="302" y="20"/>
                  </a:lnTo>
                  <a:lnTo>
                    <a:pt x="301" y="18"/>
                  </a:lnTo>
                  <a:lnTo>
                    <a:pt x="301" y="21"/>
                  </a:lnTo>
                  <a:lnTo>
                    <a:pt x="302" y="22"/>
                  </a:lnTo>
                  <a:lnTo>
                    <a:pt x="303" y="24"/>
                  </a:lnTo>
                  <a:lnTo>
                    <a:pt x="304" y="26"/>
                  </a:lnTo>
                  <a:lnTo>
                    <a:pt x="305" y="27"/>
                  </a:lnTo>
                  <a:lnTo>
                    <a:pt x="307" y="29"/>
                  </a:lnTo>
                  <a:lnTo>
                    <a:pt x="308" y="31"/>
                  </a:lnTo>
                  <a:lnTo>
                    <a:pt x="309" y="29"/>
                  </a:lnTo>
                  <a:lnTo>
                    <a:pt x="309" y="31"/>
                  </a:lnTo>
                  <a:lnTo>
                    <a:pt x="310" y="31"/>
                  </a:lnTo>
                  <a:lnTo>
                    <a:pt x="311" y="29"/>
                  </a:lnTo>
                  <a:lnTo>
                    <a:pt x="314" y="29"/>
                  </a:lnTo>
                  <a:lnTo>
                    <a:pt x="315" y="31"/>
                  </a:lnTo>
                  <a:lnTo>
                    <a:pt x="315" y="29"/>
                  </a:lnTo>
                  <a:lnTo>
                    <a:pt x="314" y="28"/>
                  </a:lnTo>
                  <a:lnTo>
                    <a:pt x="314" y="24"/>
                  </a:lnTo>
                  <a:lnTo>
                    <a:pt x="315" y="22"/>
                  </a:lnTo>
                  <a:lnTo>
                    <a:pt x="316" y="22"/>
                  </a:lnTo>
                  <a:lnTo>
                    <a:pt x="318" y="21"/>
                  </a:lnTo>
                  <a:lnTo>
                    <a:pt x="319" y="22"/>
                  </a:lnTo>
                  <a:lnTo>
                    <a:pt x="321" y="23"/>
                  </a:lnTo>
                  <a:lnTo>
                    <a:pt x="322" y="24"/>
                  </a:lnTo>
                  <a:lnTo>
                    <a:pt x="325" y="24"/>
                  </a:lnTo>
                  <a:lnTo>
                    <a:pt x="327" y="23"/>
                  </a:lnTo>
                  <a:lnTo>
                    <a:pt x="325" y="24"/>
                  </a:lnTo>
                  <a:lnTo>
                    <a:pt x="324" y="27"/>
                  </a:lnTo>
                  <a:lnTo>
                    <a:pt x="322" y="26"/>
                  </a:lnTo>
                  <a:lnTo>
                    <a:pt x="321" y="26"/>
                  </a:lnTo>
                  <a:lnTo>
                    <a:pt x="319" y="29"/>
                  </a:lnTo>
                  <a:lnTo>
                    <a:pt x="321" y="31"/>
                  </a:lnTo>
                  <a:lnTo>
                    <a:pt x="324" y="32"/>
                  </a:lnTo>
                  <a:lnTo>
                    <a:pt x="326" y="33"/>
                  </a:lnTo>
                  <a:lnTo>
                    <a:pt x="325" y="34"/>
                  </a:lnTo>
                  <a:lnTo>
                    <a:pt x="325" y="37"/>
                  </a:lnTo>
                  <a:lnTo>
                    <a:pt x="324" y="37"/>
                  </a:lnTo>
                  <a:lnTo>
                    <a:pt x="322" y="32"/>
                  </a:lnTo>
                  <a:lnTo>
                    <a:pt x="320" y="31"/>
                  </a:lnTo>
                  <a:lnTo>
                    <a:pt x="318" y="32"/>
                  </a:lnTo>
                  <a:lnTo>
                    <a:pt x="316" y="34"/>
                  </a:lnTo>
                  <a:lnTo>
                    <a:pt x="316" y="37"/>
                  </a:lnTo>
                  <a:lnTo>
                    <a:pt x="318" y="40"/>
                  </a:lnTo>
                  <a:lnTo>
                    <a:pt x="319" y="39"/>
                  </a:lnTo>
                  <a:lnTo>
                    <a:pt x="321" y="41"/>
                  </a:lnTo>
                  <a:lnTo>
                    <a:pt x="322" y="44"/>
                  </a:lnTo>
                  <a:lnTo>
                    <a:pt x="322" y="45"/>
                  </a:lnTo>
                  <a:lnTo>
                    <a:pt x="324" y="46"/>
                  </a:lnTo>
                  <a:lnTo>
                    <a:pt x="324" y="50"/>
                  </a:lnTo>
                  <a:lnTo>
                    <a:pt x="324" y="51"/>
                  </a:lnTo>
                  <a:lnTo>
                    <a:pt x="325" y="53"/>
                  </a:lnTo>
                  <a:lnTo>
                    <a:pt x="325" y="56"/>
                  </a:lnTo>
                  <a:lnTo>
                    <a:pt x="324" y="57"/>
                  </a:lnTo>
                  <a:lnTo>
                    <a:pt x="325" y="59"/>
                  </a:lnTo>
                  <a:lnTo>
                    <a:pt x="326" y="58"/>
                  </a:lnTo>
                  <a:lnTo>
                    <a:pt x="328" y="57"/>
                  </a:lnTo>
                  <a:lnTo>
                    <a:pt x="331" y="57"/>
                  </a:lnTo>
                  <a:lnTo>
                    <a:pt x="332" y="56"/>
                  </a:lnTo>
                  <a:lnTo>
                    <a:pt x="333" y="55"/>
                  </a:lnTo>
                  <a:lnTo>
                    <a:pt x="333" y="53"/>
                  </a:lnTo>
                  <a:lnTo>
                    <a:pt x="336" y="55"/>
                  </a:lnTo>
                  <a:lnTo>
                    <a:pt x="336" y="53"/>
                  </a:lnTo>
                  <a:lnTo>
                    <a:pt x="337" y="55"/>
                  </a:lnTo>
                  <a:lnTo>
                    <a:pt x="338" y="55"/>
                  </a:lnTo>
                  <a:lnTo>
                    <a:pt x="337" y="56"/>
                  </a:lnTo>
                  <a:lnTo>
                    <a:pt x="338" y="55"/>
                  </a:lnTo>
                  <a:lnTo>
                    <a:pt x="339" y="55"/>
                  </a:lnTo>
                  <a:lnTo>
                    <a:pt x="340" y="56"/>
                  </a:lnTo>
                  <a:lnTo>
                    <a:pt x="342" y="56"/>
                  </a:lnTo>
                  <a:lnTo>
                    <a:pt x="344" y="55"/>
                  </a:lnTo>
                  <a:lnTo>
                    <a:pt x="345" y="53"/>
                  </a:lnTo>
                  <a:lnTo>
                    <a:pt x="346" y="53"/>
                  </a:lnTo>
                  <a:lnTo>
                    <a:pt x="346" y="55"/>
                  </a:lnTo>
                  <a:lnTo>
                    <a:pt x="349" y="56"/>
                  </a:lnTo>
                  <a:lnTo>
                    <a:pt x="350" y="55"/>
                  </a:lnTo>
                  <a:lnTo>
                    <a:pt x="350" y="56"/>
                  </a:lnTo>
                  <a:lnTo>
                    <a:pt x="352" y="57"/>
                  </a:lnTo>
                  <a:lnTo>
                    <a:pt x="354" y="58"/>
                  </a:lnTo>
                  <a:lnTo>
                    <a:pt x="355" y="57"/>
                  </a:lnTo>
                  <a:lnTo>
                    <a:pt x="356" y="57"/>
                  </a:lnTo>
                  <a:lnTo>
                    <a:pt x="356" y="56"/>
                  </a:lnTo>
                  <a:lnTo>
                    <a:pt x="357" y="56"/>
                  </a:lnTo>
                  <a:lnTo>
                    <a:pt x="358" y="56"/>
                  </a:lnTo>
                  <a:lnTo>
                    <a:pt x="358" y="55"/>
                  </a:lnTo>
                  <a:lnTo>
                    <a:pt x="360" y="56"/>
                  </a:lnTo>
                  <a:lnTo>
                    <a:pt x="361" y="56"/>
                  </a:lnTo>
                  <a:lnTo>
                    <a:pt x="362" y="57"/>
                  </a:lnTo>
                  <a:lnTo>
                    <a:pt x="363" y="56"/>
                  </a:lnTo>
                  <a:lnTo>
                    <a:pt x="363" y="55"/>
                  </a:lnTo>
                  <a:lnTo>
                    <a:pt x="363" y="52"/>
                  </a:lnTo>
                  <a:lnTo>
                    <a:pt x="364" y="51"/>
                  </a:lnTo>
                  <a:lnTo>
                    <a:pt x="366" y="50"/>
                  </a:lnTo>
                  <a:lnTo>
                    <a:pt x="367" y="49"/>
                  </a:lnTo>
                  <a:lnTo>
                    <a:pt x="369" y="50"/>
                  </a:lnTo>
                  <a:lnTo>
                    <a:pt x="370" y="50"/>
                  </a:lnTo>
                  <a:lnTo>
                    <a:pt x="372" y="50"/>
                  </a:lnTo>
                  <a:lnTo>
                    <a:pt x="372" y="51"/>
                  </a:lnTo>
                  <a:lnTo>
                    <a:pt x="373" y="51"/>
                  </a:lnTo>
                  <a:lnTo>
                    <a:pt x="372" y="46"/>
                  </a:lnTo>
                  <a:lnTo>
                    <a:pt x="370" y="44"/>
                  </a:lnTo>
                  <a:lnTo>
                    <a:pt x="369" y="43"/>
                  </a:lnTo>
                  <a:lnTo>
                    <a:pt x="369" y="41"/>
                  </a:lnTo>
                  <a:lnTo>
                    <a:pt x="369" y="40"/>
                  </a:lnTo>
                  <a:lnTo>
                    <a:pt x="370" y="39"/>
                  </a:lnTo>
                  <a:lnTo>
                    <a:pt x="370" y="40"/>
                  </a:lnTo>
                  <a:lnTo>
                    <a:pt x="372" y="39"/>
                  </a:lnTo>
                  <a:lnTo>
                    <a:pt x="373" y="39"/>
                  </a:lnTo>
                  <a:lnTo>
                    <a:pt x="374" y="39"/>
                  </a:lnTo>
                  <a:lnTo>
                    <a:pt x="377" y="39"/>
                  </a:lnTo>
                  <a:lnTo>
                    <a:pt x="375" y="41"/>
                  </a:lnTo>
                  <a:lnTo>
                    <a:pt x="377" y="41"/>
                  </a:lnTo>
                  <a:lnTo>
                    <a:pt x="378" y="41"/>
                  </a:lnTo>
                  <a:lnTo>
                    <a:pt x="381" y="41"/>
                  </a:lnTo>
                  <a:lnTo>
                    <a:pt x="379" y="44"/>
                  </a:lnTo>
                  <a:lnTo>
                    <a:pt x="378" y="45"/>
                  </a:lnTo>
                  <a:lnTo>
                    <a:pt x="377" y="46"/>
                  </a:lnTo>
                  <a:lnTo>
                    <a:pt x="375" y="47"/>
                  </a:lnTo>
                  <a:lnTo>
                    <a:pt x="377" y="46"/>
                  </a:lnTo>
                  <a:lnTo>
                    <a:pt x="379" y="46"/>
                  </a:lnTo>
                  <a:lnTo>
                    <a:pt x="378" y="46"/>
                  </a:lnTo>
                  <a:lnTo>
                    <a:pt x="379" y="49"/>
                  </a:lnTo>
                  <a:lnTo>
                    <a:pt x="377" y="49"/>
                  </a:lnTo>
                  <a:lnTo>
                    <a:pt x="375" y="50"/>
                  </a:lnTo>
                  <a:lnTo>
                    <a:pt x="377" y="51"/>
                  </a:lnTo>
                  <a:lnTo>
                    <a:pt x="380" y="50"/>
                  </a:lnTo>
                  <a:lnTo>
                    <a:pt x="383" y="50"/>
                  </a:lnTo>
                  <a:lnTo>
                    <a:pt x="385" y="50"/>
                  </a:lnTo>
                  <a:lnTo>
                    <a:pt x="383" y="52"/>
                  </a:lnTo>
                  <a:lnTo>
                    <a:pt x="379" y="55"/>
                  </a:lnTo>
                  <a:lnTo>
                    <a:pt x="377" y="56"/>
                  </a:lnTo>
                  <a:lnTo>
                    <a:pt x="377" y="58"/>
                  </a:lnTo>
                  <a:lnTo>
                    <a:pt x="378" y="58"/>
                  </a:lnTo>
                  <a:lnTo>
                    <a:pt x="380" y="58"/>
                  </a:lnTo>
                  <a:lnTo>
                    <a:pt x="381" y="57"/>
                  </a:lnTo>
                  <a:lnTo>
                    <a:pt x="384" y="56"/>
                  </a:lnTo>
                  <a:lnTo>
                    <a:pt x="385" y="57"/>
                  </a:lnTo>
                  <a:lnTo>
                    <a:pt x="384" y="58"/>
                  </a:lnTo>
                  <a:lnTo>
                    <a:pt x="384" y="61"/>
                  </a:lnTo>
                  <a:lnTo>
                    <a:pt x="385" y="62"/>
                  </a:lnTo>
                  <a:lnTo>
                    <a:pt x="386" y="64"/>
                  </a:lnTo>
                  <a:lnTo>
                    <a:pt x="384" y="64"/>
                  </a:lnTo>
                  <a:lnTo>
                    <a:pt x="385" y="67"/>
                  </a:lnTo>
                  <a:lnTo>
                    <a:pt x="385" y="69"/>
                  </a:lnTo>
                  <a:lnTo>
                    <a:pt x="384" y="70"/>
                  </a:lnTo>
                  <a:lnTo>
                    <a:pt x="384" y="69"/>
                  </a:lnTo>
                  <a:lnTo>
                    <a:pt x="383" y="70"/>
                  </a:lnTo>
                  <a:lnTo>
                    <a:pt x="383" y="73"/>
                  </a:lnTo>
                  <a:lnTo>
                    <a:pt x="381" y="74"/>
                  </a:lnTo>
                  <a:lnTo>
                    <a:pt x="381" y="77"/>
                  </a:lnTo>
                  <a:lnTo>
                    <a:pt x="380" y="77"/>
                  </a:lnTo>
                  <a:lnTo>
                    <a:pt x="378" y="80"/>
                  </a:lnTo>
                  <a:lnTo>
                    <a:pt x="377" y="80"/>
                  </a:lnTo>
                  <a:lnTo>
                    <a:pt x="377" y="82"/>
                  </a:lnTo>
                  <a:lnTo>
                    <a:pt x="374" y="83"/>
                  </a:lnTo>
                  <a:lnTo>
                    <a:pt x="374" y="82"/>
                  </a:lnTo>
                  <a:lnTo>
                    <a:pt x="373" y="81"/>
                  </a:lnTo>
                  <a:lnTo>
                    <a:pt x="372" y="80"/>
                  </a:lnTo>
                  <a:lnTo>
                    <a:pt x="372" y="82"/>
                  </a:lnTo>
                  <a:lnTo>
                    <a:pt x="370" y="85"/>
                  </a:lnTo>
                  <a:lnTo>
                    <a:pt x="370" y="81"/>
                  </a:lnTo>
                  <a:lnTo>
                    <a:pt x="369" y="83"/>
                  </a:lnTo>
                  <a:lnTo>
                    <a:pt x="368" y="81"/>
                  </a:lnTo>
                  <a:lnTo>
                    <a:pt x="367" y="82"/>
                  </a:lnTo>
                  <a:lnTo>
                    <a:pt x="368" y="85"/>
                  </a:lnTo>
                  <a:lnTo>
                    <a:pt x="366" y="86"/>
                  </a:lnTo>
                  <a:lnTo>
                    <a:pt x="363" y="87"/>
                  </a:lnTo>
                  <a:lnTo>
                    <a:pt x="362" y="88"/>
                  </a:lnTo>
                  <a:lnTo>
                    <a:pt x="362" y="89"/>
                  </a:lnTo>
                  <a:lnTo>
                    <a:pt x="364" y="89"/>
                  </a:lnTo>
                  <a:lnTo>
                    <a:pt x="366" y="91"/>
                  </a:lnTo>
                  <a:lnTo>
                    <a:pt x="367" y="92"/>
                  </a:lnTo>
                  <a:lnTo>
                    <a:pt x="366" y="93"/>
                  </a:lnTo>
                  <a:lnTo>
                    <a:pt x="363" y="92"/>
                  </a:lnTo>
                  <a:lnTo>
                    <a:pt x="363" y="91"/>
                  </a:lnTo>
                  <a:lnTo>
                    <a:pt x="362" y="91"/>
                  </a:lnTo>
                  <a:lnTo>
                    <a:pt x="362" y="93"/>
                  </a:lnTo>
                  <a:lnTo>
                    <a:pt x="366" y="94"/>
                  </a:lnTo>
                  <a:lnTo>
                    <a:pt x="366" y="97"/>
                  </a:lnTo>
                  <a:lnTo>
                    <a:pt x="366" y="98"/>
                  </a:lnTo>
                  <a:lnTo>
                    <a:pt x="369" y="97"/>
                  </a:lnTo>
                  <a:lnTo>
                    <a:pt x="373" y="94"/>
                  </a:lnTo>
                  <a:lnTo>
                    <a:pt x="372" y="92"/>
                  </a:lnTo>
                  <a:lnTo>
                    <a:pt x="372" y="89"/>
                  </a:lnTo>
                  <a:lnTo>
                    <a:pt x="374" y="88"/>
                  </a:lnTo>
                  <a:lnTo>
                    <a:pt x="375" y="86"/>
                  </a:lnTo>
                  <a:lnTo>
                    <a:pt x="375" y="88"/>
                  </a:lnTo>
                  <a:lnTo>
                    <a:pt x="377" y="87"/>
                  </a:lnTo>
                  <a:lnTo>
                    <a:pt x="378" y="87"/>
                  </a:lnTo>
                  <a:lnTo>
                    <a:pt x="379" y="86"/>
                  </a:lnTo>
                  <a:lnTo>
                    <a:pt x="380" y="86"/>
                  </a:lnTo>
                  <a:lnTo>
                    <a:pt x="381" y="86"/>
                  </a:lnTo>
                  <a:lnTo>
                    <a:pt x="381" y="88"/>
                  </a:lnTo>
                  <a:lnTo>
                    <a:pt x="380" y="89"/>
                  </a:lnTo>
                  <a:lnTo>
                    <a:pt x="381" y="89"/>
                  </a:lnTo>
                  <a:lnTo>
                    <a:pt x="380" y="91"/>
                  </a:lnTo>
                  <a:lnTo>
                    <a:pt x="381" y="89"/>
                  </a:lnTo>
                  <a:lnTo>
                    <a:pt x="381" y="92"/>
                  </a:lnTo>
                  <a:lnTo>
                    <a:pt x="383" y="92"/>
                  </a:lnTo>
                  <a:lnTo>
                    <a:pt x="384" y="91"/>
                  </a:lnTo>
                  <a:lnTo>
                    <a:pt x="383" y="89"/>
                  </a:lnTo>
                  <a:lnTo>
                    <a:pt x="383" y="87"/>
                  </a:lnTo>
                  <a:lnTo>
                    <a:pt x="385" y="87"/>
                  </a:lnTo>
                  <a:lnTo>
                    <a:pt x="386" y="86"/>
                  </a:lnTo>
                  <a:lnTo>
                    <a:pt x="387" y="87"/>
                  </a:lnTo>
                  <a:lnTo>
                    <a:pt x="389" y="87"/>
                  </a:lnTo>
                  <a:lnTo>
                    <a:pt x="390" y="88"/>
                  </a:lnTo>
                  <a:lnTo>
                    <a:pt x="390" y="91"/>
                  </a:lnTo>
                  <a:lnTo>
                    <a:pt x="387" y="92"/>
                  </a:lnTo>
                  <a:lnTo>
                    <a:pt x="387" y="91"/>
                  </a:lnTo>
                  <a:lnTo>
                    <a:pt x="385" y="91"/>
                  </a:lnTo>
                  <a:lnTo>
                    <a:pt x="380" y="95"/>
                  </a:lnTo>
                  <a:lnTo>
                    <a:pt x="381" y="97"/>
                  </a:lnTo>
                  <a:lnTo>
                    <a:pt x="384" y="95"/>
                  </a:lnTo>
                  <a:lnTo>
                    <a:pt x="384" y="98"/>
                  </a:lnTo>
                  <a:lnTo>
                    <a:pt x="386" y="99"/>
                  </a:lnTo>
                  <a:lnTo>
                    <a:pt x="387" y="100"/>
                  </a:lnTo>
                  <a:lnTo>
                    <a:pt x="387" y="101"/>
                  </a:lnTo>
                  <a:lnTo>
                    <a:pt x="389" y="100"/>
                  </a:lnTo>
                  <a:lnTo>
                    <a:pt x="390" y="101"/>
                  </a:lnTo>
                  <a:lnTo>
                    <a:pt x="391" y="99"/>
                  </a:lnTo>
                  <a:lnTo>
                    <a:pt x="390" y="103"/>
                  </a:lnTo>
                  <a:lnTo>
                    <a:pt x="389" y="105"/>
                  </a:lnTo>
                  <a:lnTo>
                    <a:pt x="389" y="106"/>
                  </a:lnTo>
                  <a:lnTo>
                    <a:pt x="390" y="107"/>
                  </a:lnTo>
                  <a:lnTo>
                    <a:pt x="391" y="107"/>
                  </a:lnTo>
                  <a:lnTo>
                    <a:pt x="392" y="107"/>
                  </a:lnTo>
                  <a:lnTo>
                    <a:pt x="393" y="106"/>
                  </a:lnTo>
                  <a:lnTo>
                    <a:pt x="395" y="104"/>
                  </a:lnTo>
                  <a:lnTo>
                    <a:pt x="395" y="103"/>
                  </a:lnTo>
                  <a:lnTo>
                    <a:pt x="395" y="101"/>
                  </a:lnTo>
                  <a:lnTo>
                    <a:pt x="395" y="99"/>
                  </a:lnTo>
                  <a:lnTo>
                    <a:pt x="396" y="98"/>
                  </a:lnTo>
                  <a:lnTo>
                    <a:pt x="397" y="97"/>
                  </a:lnTo>
                  <a:lnTo>
                    <a:pt x="397" y="95"/>
                  </a:lnTo>
                  <a:lnTo>
                    <a:pt x="398" y="95"/>
                  </a:lnTo>
                  <a:lnTo>
                    <a:pt x="401" y="95"/>
                  </a:lnTo>
                  <a:lnTo>
                    <a:pt x="401" y="97"/>
                  </a:lnTo>
                  <a:lnTo>
                    <a:pt x="402" y="97"/>
                  </a:lnTo>
                  <a:lnTo>
                    <a:pt x="403" y="98"/>
                  </a:lnTo>
                  <a:lnTo>
                    <a:pt x="403" y="99"/>
                  </a:lnTo>
                  <a:lnTo>
                    <a:pt x="402" y="101"/>
                  </a:lnTo>
                  <a:lnTo>
                    <a:pt x="401" y="101"/>
                  </a:lnTo>
                  <a:lnTo>
                    <a:pt x="402" y="103"/>
                  </a:lnTo>
                  <a:lnTo>
                    <a:pt x="401" y="104"/>
                  </a:lnTo>
                  <a:lnTo>
                    <a:pt x="401" y="105"/>
                  </a:lnTo>
                  <a:lnTo>
                    <a:pt x="401" y="106"/>
                  </a:lnTo>
                  <a:lnTo>
                    <a:pt x="402" y="106"/>
                  </a:lnTo>
                  <a:lnTo>
                    <a:pt x="403" y="105"/>
                  </a:lnTo>
                  <a:lnTo>
                    <a:pt x="404" y="105"/>
                  </a:lnTo>
                  <a:lnTo>
                    <a:pt x="404" y="106"/>
                  </a:lnTo>
                  <a:lnTo>
                    <a:pt x="405" y="105"/>
                  </a:lnTo>
                  <a:lnTo>
                    <a:pt x="407" y="105"/>
                  </a:lnTo>
                  <a:lnTo>
                    <a:pt x="409" y="104"/>
                  </a:lnTo>
                  <a:lnTo>
                    <a:pt x="410" y="103"/>
                  </a:lnTo>
                  <a:lnTo>
                    <a:pt x="410" y="101"/>
                  </a:lnTo>
                  <a:lnTo>
                    <a:pt x="409" y="100"/>
                  </a:lnTo>
                  <a:lnTo>
                    <a:pt x="411" y="99"/>
                  </a:lnTo>
                  <a:lnTo>
                    <a:pt x="413" y="99"/>
                  </a:lnTo>
                  <a:lnTo>
                    <a:pt x="411" y="100"/>
                  </a:lnTo>
                  <a:lnTo>
                    <a:pt x="414" y="100"/>
                  </a:lnTo>
                  <a:lnTo>
                    <a:pt x="413" y="99"/>
                  </a:lnTo>
                  <a:lnTo>
                    <a:pt x="409" y="95"/>
                  </a:lnTo>
                  <a:lnTo>
                    <a:pt x="407" y="97"/>
                  </a:lnTo>
                  <a:lnTo>
                    <a:pt x="404" y="95"/>
                  </a:lnTo>
                  <a:lnTo>
                    <a:pt x="405" y="94"/>
                  </a:lnTo>
                  <a:lnTo>
                    <a:pt x="407" y="94"/>
                  </a:lnTo>
                  <a:lnTo>
                    <a:pt x="408" y="94"/>
                  </a:lnTo>
                  <a:lnTo>
                    <a:pt x="408" y="93"/>
                  </a:lnTo>
                  <a:lnTo>
                    <a:pt x="409" y="93"/>
                  </a:lnTo>
                  <a:lnTo>
                    <a:pt x="410" y="94"/>
                  </a:lnTo>
                  <a:lnTo>
                    <a:pt x="411" y="97"/>
                  </a:lnTo>
                  <a:lnTo>
                    <a:pt x="414" y="99"/>
                  </a:lnTo>
                  <a:lnTo>
                    <a:pt x="415" y="99"/>
                  </a:lnTo>
                  <a:lnTo>
                    <a:pt x="416" y="98"/>
                  </a:lnTo>
                  <a:lnTo>
                    <a:pt x="417" y="95"/>
                  </a:lnTo>
                  <a:lnTo>
                    <a:pt x="419" y="97"/>
                  </a:lnTo>
                  <a:lnTo>
                    <a:pt x="420" y="97"/>
                  </a:lnTo>
                  <a:lnTo>
                    <a:pt x="420" y="98"/>
                  </a:lnTo>
                  <a:lnTo>
                    <a:pt x="421" y="100"/>
                  </a:lnTo>
                  <a:lnTo>
                    <a:pt x="421" y="99"/>
                  </a:lnTo>
                  <a:lnTo>
                    <a:pt x="422" y="98"/>
                  </a:lnTo>
                  <a:lnTo>
                    <a:pt x="422" y="97"/>
                  </a:lnTo>
                  <a:lnTo>
                    <a:pt x="425" y="98"/>
                  </a:lnTo>
                  <a:lnTo>
                    <a:pt x="426" y="98"/>
                  </a:lnTo>
                  <a:lnTo>
                    <a:pt x="425" y="94"/>
                  </a:lnTo>
                  <a:lnTo>
                    <a:pt x="420" y="93"/>
                  </a:lnTo>
                  <a:lnTo>
                    <a:pt x="416" y="92"/>
                  </a:lnTo>
                  <a:lnTo>
                    <a:pt x="417" y="91"/>
                  </a:lnTo>
                  <a:lnTo>
                    <a:pt x="419" y="89"/>
                  </a:lnTo>
                  <a:lnTo>
                    <a:pt x="420" y="89"/>
                  </a:lnTo>
                  <a:lnTo>
                    <a:pt x="421" y="88"/>
                  </a:lnTo>
                  <a:lnTo>
                    <a:pt x="422" y="88"/>
                  </a:lnTo>
                  <a:lnTo>
                    <a:pt x="423" y="87"/>
                  </a:lnTo>
                  <a:lnTo>
                    <a:pt x="423" y="88"/>
                  </a:lnTo>
                  <a:lnTo>
                    <a:pt x="425" y="88"/>
                  </a:lnTo>
                  <a:lnTo>
                    <a:pt x="425" y="91"/>
                  </a:lnTo>
                  <a:lnTo>
                    <a:pt x="426" y="94"/>
                  </a:lnTo>
                  <a:lnTo>
                    <a:pt x="427" y="95"/>
                  </a:lnTo>
                  <a:lnTo>
                    <a:pt x="429" y="94"/>
                  </a:lnTo>
                  <a:lnTo>
                    <a:pt x="431" y="93"/>
                  </a:lnTo>
                  <a:lnTo>
                    <a:pt x="432" y="91"/>
                  </a:lnTo>
                  <a:lnTo>
                    <a:pt x="432" y="89"/>
                  </a:lnTo>
                  <a:lnTo>
                    <a:pt x="434" y="88"/>
                  </a:lnTo>
                  <a:lnTo>
                    <a:pt x="434" y="89"/>
                  </a:lnTo>
                  <a:lnTo>
                    <a:pt x="436" y="91"/>
                  </a:lnTo>
                  <a:lnTo>
                    <a:pt x="437" y="92"/>
                  </a:lnTo>
                  <a:lnTo>
                    <a:pt x="438" y="89"/>
                  </a:lnTo>
                  <a:lnTo>
                    <a:pt x="439" y="91"/>
                  </a:lnTo>
                  <a:lnTo>
                    <a:pt x="440" y="92"/>
                  </a:lnTo>
                  <a:lnTo>
                    <a:pt x="442" y="94"/>
                  </a:lnTo>
                  <a:lnTo>
                    <a:pt x="440" y="94"/>
                  </a:lnTo>
                  <a:lnTo>
                    <a:pt x="438" y="94"/>
                  </a:lnTo>
                  <a:lnTo>
                    <a:pt x="437" y="95"/>
                  </a:lnTo>
                  <a:lnTo>
                    <a:pt x="434" y="95"/>
                  </a:lnTo>
                  <a:lnTo>
                    <a:pt x="436" y="95"/>
                  </a:lnTo>
                  <a:lnTo>
                    <a:pt x="433" y="95"/>
                  </a:lnTo>
                  <a:lnTo>
                    <a:pt x="436" y="98"/>
                  </a:lnTo>
                  <a:lnTo>
                    <a:pt x="437" y="100"/>
                  </a:lnTo>
                  <a:lnTo>
                    <a:pt x="438" y="99"/>
                  </a:lnTo>
                  <a:lnTo>
                    <a:pt x="439" y="100"/>
                  </a:lnTo>
                  <a:lnTo>
                    <a:pt x="439" y="99"/>
                  </a:lnTo>
                  <a:lnTo>
                    <a:pt x="442" y="99"/>
                  </a:lnTo>
                  <a:lnTo>
                    <a:pt x="440" y="98"/>
                  </a:lnTo>
                  <a:lnTo>
                    <a:pt x="439" y="95"/>
                  </a:lnTo>
                  <a:lnTo>
                    <a:pt x="440" y="97"/>
                  </a:lnTo>
                  <a:lnTo>
                    <a:pt x="443" y="93"/>
                  </a:lnTo>
                  <a:lnTo>
                    <a:pt x="444" y="92"/>
                  </a:lnTo>
                  <a:lnTo>
                    <a:pt x="445" y="89"/>
                  </a:lnTo>
                  <a:lnTo>
                    <a:pt x="448" y="89"/>
                  </a:lnTo>
                  <a:lnTo>
                    <a:pt x="448" y="88"/>
                  </a:lnTo>
                  <a:lnTo>
                    <a:pt x="448" y="86"/>
                  </a:lnTo>
                  <a:lnTo>
                    <a:pt x="448" y="85"/>
                  </a:lnTo>
                  <a:lnTo>
                    <a:pt x="449" y="83"/>
                  </a:lnTo>
                  <a:lnTo>
                    <a:pt x="448" y="83"/>
                  </a:lnTo>
                  <a:lnTo>
                    <a:pt x="449" y="82"/>
                  </a:lnTo>
                  <a:lnTo>
                    <a:pt x="450" y="82"/>
                  </a:lnTo>
                  <a:lnTo>
                    <a:pt x="450" y="81"/>
                  </a:lnTo>
                  <a:lnTo>
                    <a:pt x="450" y="79"/>
                  </a:lnTo>
                  <a:lnTo>
                    <a:pt x="451" y="77"/>
                  </a:lnTo>
                  <a:lnTo>
                    <a:pt x="452" y="79"/>
                  </a:lnTo>
                  <a:lnTo>
                    <a:pt x="456" y="79"/>
                  </a:lnTo>
                  <a:lnTo>
                    <a:pt x="455" y="76"/>
                  </a:lnTo>
                  <a:lnTo>
                    <a:pt x="454" y="75"/>
                  </a:lnTo>
                  <a:lnTo>
                    <a:pt x="451" y="76"/>
                  </a:lnTo>
                  <a:lnTo>
                    <a:pt x="452" y="75"/>
                  </a:lnTo>
                  <a:lnTo>
                    <a:pt x="454" y="74"/>
                  </a:lnTo>
                  <a:lnTo>
                    <a:pt x="456" y="75"/>
                  </a:lnTo>
                  <a:lnTo>
                    <a:pt x="457" y="74"/>
                  </a:lnTo>
                  <a:lnTo>
                    <a:pt x="458" y="76"/>
                  </a:lnTo>
                  <a:lnTo>
                    <a:pt x="460" y="76"/>
                  </a:lnTo>
                  <a:lnTo>
                    <a:pt x="461" y="77"/>
                  </a:lnTo>
                  <a:lnTo>
                    <a:pt x="464" y="75"/>
                  </a:lnTo>
                  <a:lnTo>
                    <a:pt x="463" y="73"/>
                  </a:lnTo>
                  <a:lnTo>
                    <a:pt x="464" y="71"/>
                  </a:lnTo>
                  <a:lnTo>
                    <a:pt x="466" y="70"/>
                  </a:lnTo>
                  <a:lnTo>
                    <a:pt x="467" y="70"/>
                  </a:lnTo>
                  <a:lnTo>
                    <a:pt x="466" y="73"/>
                  </a:lnTo>
                  <a:lnTo>
                    <a:pt x="467" y="73"/>
                  </a:lnTo>
                  <a:lnTo>
                    <a:pt x="469" y="70"/>
                  </a:lnTo>
                  <a:lnTo>
                    <a:pt x="470" y="71"/>
                  </a:lnTo>
                  <a:lnTo>
                    <a:pt x="472" y="73"/>
                  </a:lnTo>
                  <a:lnTo>
                    <a:pt x="473" y="73"/>
                  </a:lnTo>
                  <a:lnTo>
                    <a:pt x="474" y="73"/>
                  </a:lnTo>
                  <a:lnTo>
                    <a:pt x="472" y="74"/>
                  </a:lnTo>
                  <a:lnTo>
                    <a:pt x="468" y="75"/>
                  </a:lnTo>
                  <a:lnTo>
                    <a:pt x="469" y="77"/>
                  </a:lnTo>
                  <a:lnTo>
                    <a:pt x="470" y="76"/>
                  </a:lnTo>
                  <a:lnTo>
                    <a:pt x="474" y="74"/>
                  </a:lnTo>
                  <a:lnTo>
                    <a:pt x="472" y="77"/>
                  </a:lnTo>
                  <a:lnTo>
                    <a:pt x="473" y="79"/>
                  </a:lnTo>
                  <a:lnTo>
                    <a:pt x="472" y="79"/>
                  </a:lnTo>
                  <a:lnTo>
                    <a:pt x="470" y="80"/>
                  </a:lnTo>
                  <a:lnTo>
                    <a:pt x="472" y="81"/>
                  </a:lnTo>
                  <a:lnTo>
                    <a:pt x="473" y="81"/>
                  </a:lnTo>
                  <a:lnTo>
                    <a:pt x="475" y="82"/>
                  </a:lnTo>
                  <a:lnTo>
                    <a:pt x="476" y="82"/>
                  </a:lnTo>
                  <a:lnTo>
                    <a:pt x="476" y="83"/>
                  </a:lnTo>
                  <a:lnTo>
                    <a:pt x="479" y="83"/>
                  </a:lnTo>
                  <a:lnTo>
                    <a:pt x="480" y="85"/>
                  </a:lnTo>
                  <a:lnTo>
                    <a:pt x="479" y="85"/>
                  </a:lnTo>
                  <a:lnTo>
                    <a:pt x="480" y="86"/>
                  </a:lnTo>
                  <a:lnTo>
                    <a:pt x="480" y="87"/>
                  </a:lnTo>
                  <a:lnTo>
                    <a:pt x="478" y="87"/>
                  </a:lnTo>
                  <a:lnTo>
                    <a:pt x="479" y="88"/>
                  </a:lnTo>
                  <a:lnTo>
                    <a:pt x="480" y="91"/>
                  </a:lnTo>
                  <a:lnTo>
                    <a:pt x="482" y="89"/>
                  </a:lnTo>
                  <a:lnTo>
                    <a:pt x="482" y="91"/>
                  </a:lnTo>
                  <a:lnTo>
                    <a:pt x="482" y="94"/>
                  </a:lnTo>
                  <a:lnTo>
                    <a:pt x="484" y="94"/>
                  </a:lnTo>
                  <a:lnTo>
                    <a:pt x="482" y="97"/>
                  </a:lnTo>
                  <a:lnTo>
                    <a:pt x="484" y="98"/>
                  </a:lnTo>
                  <a:lnTo>
                    <a:pt x="481" y="101"/>
                  </a:lnTo>
                  <a:lnTo>
                    <a:pt x="481" y="97"/>
                  </a:lnTo>
                  <a:lnTo>
                    <a:pt x="480" y="92"/>
                  </a:lnTo>
                  <a:lnTo>
                    <a:pt x="478" y="92"/>
                  </a:lnTo>
                  <a:lnTo>
                    <a:pt x="474" y="89"/>
                  </a:lnTo>
                  <a:lnTo>
                    <a:pt x="474" y="91"/>
                  </a:lnTo>
                  <a:lnTo>
                    <a:pt x="474" y="94"/>
                  </a:lnTo>
                  <a:lnTo>
                    <a:pt x="474" y="95"/>
                  </a:lnTo>
                  <a:lnTo>
                    <a:pt x="473" y="98"/>
                  </a:lnTo>
                  <a:lnTo>
                    <a:pt x="472" y="99"/>
                  </a:lnTo>
                  <a:lnTo>
                    <a:pt x="469" y="99"/>
                  </a:lnTo>
                  <a:lnTo>
                    <a:pt x="468" y="98"/>
                  </a:lnTo>
                  <a:lnTo>
                    <a:pt x="467" y="99"/>
                  </a:lnTo>
                  <a:lnTo>
                    <a:pt x="460" y="100"/>
                  </a:lnTo>
                  <a:lnTo>
                    <a:pt x="457" y="100"/>
                  </a:lnTo>
                  <a:lnTo>
                    <a:pt x="457" y="101"/>
                  </a:lnTo>
                  <a:lnTo>
                    <a:pt x="457" y="103"/>
                  </a:lnTo>
                  <a:lnTo>
                    <a:pt x="460" y="101"/>
                  </a:lnTo>
                  <a:lnTo>
                    <a:pt x="460" y="103"/>
                  </a:lnTo>
                  <a:lnTo>
                    <a:pt x="461" y="103"/>
                  </a:lnTo>
                  <a:lnTo>
                    <a:pt x="464" y="100"/>
                  </a:lnTo>
                  <a:lnTo>
                    <a:pt x="469" y="100"/>
                  </a:lnTo>
                  <a:lnTo>
                    <a:pt x="472" y="100"/>
                  </a:lnTo>
                  <a:lnTo>
                    <a:pt x="474" y="101"/>
                  </a:lnTo>
                  <a:lnTo>
                    <a:pt x="475" y="103"/>
                  </a:lnTo>
                  <a:lnTo>
                    <a:pt x="474" y="103"/>
                  </a:lnTo>
                  <a:lnTo>
                    <a:pt x="472" y="104"/>
                  </a:lnTo>
                  <a:lnTo>
                    <a:pt x="473" y="104"/>
                  </a:lnTo>
                  <a:lnTo>
                    <a:pt x="470" y="105"/>
                  </a:lnTo>
                  <a:lnTo>
                    <a:pt x="469" y="106"/>
                  </a:lnTo>
                  <a:lnTo>
                    <a:pt x="470" y="107"/>
                  </a:lnTo>
                  <a:lnTo>
                    <a:pt x="468" y="107"/>
                  </a:lnTo>
                  <a:lnTo>
                    <a:pt x="469" y="109"/>
                  </a:lnTo>
                  <a:lnTo>
                    <a:pt x="472" y="111"/>
                  </a:lnTo>
                  <a:lnTo>
                    <a:pt x="470" y="111"/>
                  </a:lnTo>
                  <a:lnTo>
                    <a:pt x="470" y="113"/>
                  </a:lnTo>
                  <a:lnTo>
                    <a:pt x="470" y="115"/>
                  </a:lnTo>
                  <a:lnTo>
                    <a:pt x="469" y="112"/>
                  </a:lnTo>
                  <a:lnTo>
                    <a:pt x="469" y="113"/>
                  </a:lnTo>
                  <a:lnTo>
                    <a:pt x="468" y="112"/>
                  </a:lnTo>
                  <a:lnTo>
                    <a:pt x="467" y="113"/>
                  </a:lnTo>
                  <a:lnTo>
                    <a:pt x="466" y="111"/>
                  </a:lnTo>
                  <a:lnTo>
                    <a:pt x="466" y="107"/>
                  </a:lnTo>
                  <a:lnTo>
                    <a:pt x="466" y="106"/>
                  </a:lnTo>
                  <a:lnTo>
                    <a:pt x="463" y="105"/>
                  </a:lnTo>
                  <a:lnTo>
                    <a:pt x="462" y="104"/>
                  </a:lnTo>
                  <a:lnTo>
                    <a:pt x="461" y="106"/>
                  </a:lnTo>
                  <a:lnTo>
                    <a:pt x="460" y="109"/>
                  </a:lnTo>
                  <a:lnTo>
                    <a:pt x="458" y="110"/>
                  </a:lnTo>
                  <a:lnTo>
                    <a:pt x="455" y="115"/>
                  </a:lnTo>
                  <a:lnTo>
                    <a:pt x="455" y="112"/>
                  </a:lnTo>
                  <a:lnTo>
                    <a:pt x="456" y="110"/>
                  </a:lnTo>
                  <a:lnTo>
                    <a:pt x="454" y="112"/>
                  </a:lnTo>
                  <a:lnTo>
                    <a:pt x="450" y="116"/>
                  </a:lnTo>
                  <a:lnTo>
                    <a:pt x="450" y="113"/>
                  </a:lnTo>
                  <a:lnTo>
                    <a:pt x="451" y="112"/>
                  </a:lnTo>
                  <a:lnTo>
                    <a:pt x="451" y="111"/>
                  </a:lnTo>
                  <a:lnTo>
                    <a:pt x="449" y="111"/>
                  </a:lnTo>
                  <a:lnTo>
                    <a:pt x="448" y="113"/>
                  </a:lnTo>
                  <a:lnTo>
                    <a:pt x="446" y="115"/>
                  </a:lnTo>
                  <a:lnTo>
                    <a:pt x="446" y="116"/>
                  </a:lnTo>
                  <a:lnTo>
                    <a:pt x="445" y="118"/>
                  </a:lnTo>
                  <a:lnTo>
                    <a:pt x="444" y="119"/>
                  </a:lnTo>
                  <a:lnTo>
                    <a:pt x="443" y="121"/>
                  </a:lnTo>
                  <a:lnTo>
                    <a:pt x="444" y="122"/>
                  </a:lnTo>
                  <a:lnTo>
                    <a:pt x="445" y="121"/>
                  </a:lnTo>
                  <a:lnTo>
                    <a:pt x="446" y="119"/>
                  </a:lnTo>
                  <a:lnTo>
                    <a:pt x="446" y="122"/>
                  </a:lnTo>
                  <a:lnTo>
                    <a:pt x="445" y="125"/>
                  </a:lnTo>
                  <a:lnTo>
                    <a:pt x="444" y="128"/>
                  </a:lnTo>
                  <a:lnTo>
                    <a:pt x="445" y="128"/>
                  </a:lnTo>
                  <a:lnTo>
                    <a:pt x="444" y="129"/>
                  </a:lnTo>
                  <a:lnTo>
                    <a:pt x="444" y="131"/>
                  </a:lnTo>
                  <a:lnTo>
                    <a:pt x="445" y="130"/>
                  </a:lnTo>
                  <a:lnTo>
                    <a:pt x="448" y="130"/>
                  </a:lnTo>
                  <a:lnTo>
                    <a:pt x="450" y="129"/>
                  </a:lnTo>
                  <a:lnTo>
                    <a:pt x="452" y="130"/>
                  </a:lnTo>
                  <a:lnTo>
                    <a:pt x="454" y="131"/>
                  </a:lnTo>
                  <a:lnTo>
                    <a:pt x="454" y="133"/>
                  </a:lnTo>
                  <a:lnTo>
                    <a:pt x="452" y="133"/>
                  </a:lnTo>
                  <a:lnTo>
                    <a:pt x="452" y="135"/>
                  </a:lnTo>
                  <a:lnTo>
                    <a:pt x="451" y="135"/>
                  </a:lnTo>
                  <a:lnTo>
                    <a:pt x="451" y="138"/>
                  </a:lnTo>
                  <a:lnTo>
                    <a:pt x="449" y="136"/>
                  </a:lnTo>
                  <a:lnTo>
                    <a:pt x="448" y="135"/>
                  </a:lnTo>
                  <a:lnTo>
                    <a:pt x="446" y="134"/>
                  </a:lnTo>
                  <a:lnTo>
                    <a:pt x="445" y="133"/>
                  </a:lnTo>
                  <a:lnTo>
                    <a:pt x="444" y="134"/>
                  </a:lnTo>
                  <a:lnTo>
                    <a:pt x="443" y="135"/>
                  </a:lnTo>
                  <a:lnTo>
                    <a:pt x="445" y="135"/>
                  </a:lnTo>
                  <a:lnTo>
                    <a:pt x="443" y="136"/>
                  </a:lnTo>
                  <a:lnTo>
                    <a:pt x="443" y="138"/>
                  </a:lnTo>
                  <a:lnTo>
                    <a:pt x="445" y="138"/>
                  </a:lnTo>
                  <a:lnTo>
                    <a:pt x="448" y="138"/>
                  </a:lnTo>
                  <a:lnTo>
                    <a:pt x="450" y="138"/>
                  </a:lnTo>
                  <a:lnTo>
                    <a:pt x="450" y="139"/>
                  </a:lnTo>
                  <a:lnTo>
                    <a:pt x="451" y="139"/>
                  </a:lnTo>
                  <a:lnTo>
                    <a:pt x="450" y="139"/>
                  </a:lnTo>
                  <a:lnTo>
                    <a:pt x="451" y="140"/>
                  </a:lnTo>
                  <a:lnTo>
                    <a:pt x="451" y="141"/>
                  </a:lnTo>
                  <a:lnTo>
                    <a:pt x="450" y="141"/>
                  </a:lnTo>
                  <a:lnTo>
                    <a:pt x="451" y="144"/>
                  </a:lnTo>
                  <a:lnTo>
                    <a:pt x="451" y="145"/>
                  </a:lnTo>
                  <a:lnTo>
                    <a:pt x="449" y="141"/>
                  </a:lnTo>
                  <a:lnTo>
                    <a:pt x="446" y="139"/>
                  </a:lnTo>
                  <a:lnTo>
                    <a:pt x="446" y="140"/>
                  </a:lnTo>
                  <a:lnTo>
                    <a:pt x="446" y="141"/>
                  </a:lnTo>
                  <a:lnTo>
                    <a:pt x="445" y="144"/>
                  </a:lnTo>
                  <a:lnTo>
                    <a:pt x="445" y="147"/>
                  </a:lnTo>
                  <a:lnTo>
                    <a:pt x="445" y="145"/>
                  </a:lnTo>
                  <a:lnTo>
                    <a:pt x="444" y="146"/>
                  </a:lnTo>
                  <a:lnTo>
                    <a:pt x="443" y="144"/>
                  </a:lnTo>
                  <a:lnTo>
                    <a:pt x="444" y="140"/>
                  </a:lnTo>
                  <a:lnTo>
                    <a:pt x="443" y="140"/>
                  </a:lnTo>
                  <a:lnTo>
                    <a:pt x="440" y="140"/>
                  </a:lnTo>
                  <a:lnTo>
                    <a:pt x="442" y="141"/>
                  </a:lnTo>
                  <a:lnTo>
                    <a:pt x="440" y="146"/>
                  </a:lnTo>
                  <a:lnTo>
                    <a:pt x="438" y="144"/>
                  </a:lnTo>
                  <a:lnTo>
                    <a:pt x="438" y="141"/>
                  </a:lnTo>
                  <a:lnTo>
                    <a:pt x="438" y="142"/>
                  </a:lnTo>
                  <a:lnTo>
                    <a:pt x="438" y="147"/>
                  </a:lnTo>
                  <a:lnTo>
                    <a:pt x="440" y="150"/>
                  </a:lnTo>
                  <a:lnTo>
                    <a:pt x="440" y="152"/>
                  </a:lnTo>
                  <a:lnTo>
                    <a:pt x="439" y="153"/>
                  </a:lnTo>
                  <a:lnTo>
                    <a:pt x="439" y="154"/>
                  </a:lnTo>
                  <a:lnTo>
                    <a:pt x="438" y="154"/>
                  </a:lnTo>
                  <a:lnTo>
                    <a:pt x="438" y="156"/>
                  </a:lnTo>
                  <a:lnTo>
                    <a:pt x="437" y="156"/>
                  </a:lnTo>
                  <a:lnTo>
                    <a:pt x="437" y="159"/>
                  </a:lnTo>
                  <a:lnTo>
                    <a:pt x="436" y="157"/>
                  </a:lnTo>
                  <a:lnTo>
                    <a:pt x="436" y="156"/>
                  </a:lnTo>
                  <a:lnTo>
                    <a:pt x="434" y="156"/>
                  </a:lnTo>
                  <a:lnTo>
                    <a:pt x="434" y="154"/>
                  </a:lnTo>
                  <a:lnTo>
                    <a:pt x="434" y="152"/>
                  </a:lnTo>
                  <a:lnTo>
                    <a:pt x="433" y="152"/>
                  </a:lnTo>
                  <a:lnTo>
                    <a:pt x="433" y="151"/>
                  </a:lnTo>
                  <a:lnTo>
                    <a:pt x="434" y="148"/>
                  </a:lnTo>
                  <a:lnTo>
                    <a:pt x="437" y="147"/>
                  </a:lnTo>
                  <a:lnTo>
                    <a:pt x="437" y="145"/>
                  </a:lnTo>
                  <a:lnTo>
                    <a:pt x="436" y="145"/>
                  </a:lnTo>
                  <a:lnTo>
                    <a:pt x="434" y="146"/>
                  </a:lnTo>
                  <a:lnTo>
                    <a:pt x="436" y="144"/>
                  </a:lnTo>
                  <a:lnTo>
                    <a:pt x="433" y="145"/>
                  </a:lnTo>
                  <a:lnTo>
                    <a:pt x="432" y="145"/>
                  </a:lnTo>
                  <a:lnTo>
                    <a:pt x="431" y="147"/>
                  </a:lnTo>
                  <a:lnTo>
                    <a:pt x="431" y="145"/>
                  </a:lnTo>
                  <a:lnTo>
                    <a:pt x="429" y="145"/>
                  </a:lnTo>
                  <a:lnTo>
                    <a:pt x="427" y="145"/>
                  </a:lnTo>
                  <a:lnTo>
                    <a:pt x="425" y="145"/>
                  </a:lnTo>
                  <a:lnTo>
                    <a:pt x="427" y="146"/>
                  </a:lnTo>
                  <a:lnTo>
                    <a:pt x="426" y="148"/>
                  </a:lnTo>
                  <a:lnTo>
                    <a:pt x="423" y="151"/>
                  </a:lnTo>
                  <a:lnTo>
                    <a:pt x="422" y="153"/>
                  </a:lnTo>
                  <a:lnTo>
                    <a:pt x="425" y="153"/>
                  </a:lnTo>
                  <a:lnTo>
                    <a:pt x="426" y="154"/>
                  </a:lnTo>
                  <a:lnTo>
                    <a:pt x="425" y="157"/>
                  </a:lnTo>
                  <a:lnTo>
                    <a:pt x="426" y="157"/>
                  </a:lnTo>
                  <a:lnTo>
                    <a:pt x="427" y="158"/>
                  </a:lnTo>
                  <a:lnTo>
                    <a:pt x="427" y="159"/>
                  </a:lnTo>
                  <a:lnTo>
                    <a:pt x="429" y="160"/>
                  </a:lnTo>
                  <a:lnTo>
                    <a:pt x="431" y="160"/>
                  </a:lnTo>
                  <a:lnTo>
                    <a:pt x="429" y="159"/>
                  </a:lnTo>
                  <a:lnTo>
                    <a:pt x="428" y="158"/>
                  </a:lnTo>
                  <a:lnTo>
                    <a:pt x="431" y="157"/>
                  </a:lnTo>
                  <a:lnTo>
                    <a:pt x="433" y="158"/>
                  </a:lnTo>
                  <a:lnTo>
                    <a:pt x="433" y="159"/>
                  </a:lnTo>
                  <a:lnTo>
                    <a:pt x="436" y="159"/>
                  </a:lnTo>
                  <a:lnTo>
                    <a:pt x="437" y="160"/>
                  </a:lnTo>
                  <a:lnTo>
                    <a:pt x="438" y="159"/>
                  </a:lnTo>
                  <a:lnTo>
                    <a:pt x="440" y="158"/>
                  </a:lnTo>
                  <a:lnTo>
                    <a:pt x="443" y="157"/>
                  </a:lnTo>
                  <a:lnTo>
                    <a:pt x="444" y="158"/>
                  </a:lnTo>
                  <a:lnTo>
                    <a:pt x="444" y="160"/>
                  </a:lnTo>
                  <a:lnTo>
                    <a:pt x="445" y="160"/>
                  </a:lnTo>
                  <a:lnTo>
                    <a:pt x="445" y="159"/>
                  </a:lnTo>
                  <a:lnTo>
                    <a:pt x="445" y="158"/>
                  </a:lnTo>
                  <a:lnTo>
                    <a:pt x="446" y="158"/>
                  </a:lnTo>
                  <a:lnTo>
                    <a:pt x="448" y="158"/>
                  </a:lnTo>
                  <a:lnTo>
                    <a:pt x="449" y="158"/>
                  </a:lnTo>
                  <a:lnTo>
                    <a:pt x="450" y="158"/>
                  </a:lnTo>
                  <a:lnTo>
                    <a:pt x="450" y="159"/>
                  </a:lnTo>
                  <a:lnTo>
                    <a:pt x="451" y="158"/>
                  </a:lnTo>
                  <a:lnTo>
                    <a:pt x="449" y="154"/>
                  </a:lnTo>
                  <a:lnTo>
                    <a:pt x="446" y="154"/>
                  </a:lnTo>
                  <a:lnTo>
                    <a:pt x="444" y="156"/>
                  </a:lnTo>
                  <a:lnTo>
                    <a:pt x="444" y="154"/>
                  </a:lnTo>
                  <a:lnTo>
                    <a:pt x="443" y="154"/>
                  </a:lnTo>
                  <a:lnTo>
                    <a:pt x="443" y="153"/>
                  </a:lnTo>
                  <a:lnTo>
                    <a:pt x="445" y="152"/>
                  </a:lnTo>
                  <a:lnTo>
                    <a:pt x="449" y="153"/>
                  </a:lnTo>
                  <a:lnTo>
                    <a:pt x="451" y="152"/>
                  </a:lnTo>
                  <a:lnTo>
                    <a:pt x="450" y="154"/>
                  </a:lnTo>
                  <a:lnTo>
                    <a:pt x="451" y="157"/>
                  </a:lnTo>
                  <a:lnTo>
                    <a:pt x="452" y="157"/>
                  </a:lnTo>
                  <a:lnTo>
                    <a:pt x="454" y="157"/>
                  </a:lnTo>
                  <a:lnTo>
                    <a:pt x="454" y="156"/>
                  </a:lnTo>
                  <a:lnTo>
                    <a:pt x="455" y="154"/>
                  </a:lnTo>
                  <a:lnTo>
                    <a:pt x="456" y="154"/>
                  </a:lnTo>
                  <a:lnTo>
                    <a:pt x="456" y="153"/>
                  </a:lnTo>
                  <a:lnTo>
                    <a:pt x="457" y="153"/>
                  </a:lnTo>
                  <a:lnTo>
                    <a:pt x="457" y="154"/>
                  </a:lnTo>
                  <a:lnTo>
                    <a:pt x="458" y="156"/>
                  </a:lnTo>
                  <a:lnTo>
                    <a:pt x="457" y="157"/>
                  </a:lnTo>
                  <a:lnTo>
                    <a:pt x="457" y="159"/>
                  </a:lnTo>
                  <a:lnTo>
                    <a:pt x="458" y="159"/>
                  </a:lnTo>
                  <a:lnTo>
                    <a:pt x="460" y="158"/>
                  </a:lnTo>
                  <a:lnTo>
                    <a:pt x="462" y="157"/>
                  </a:lnTo>
                  <a:lnTo>
                    <a:pt x="463" y="156"/>
                  </a:lnTo>
                  <a:lnTo>
                    <a:pt x="466" y="154"/>
                  </a:lnTo>
                  <a:lnTo>
                    <a:pt x="462" y="159"/>
                  </a:lnTo>
                  <a:lnTo>
                    <a:pt x="460" y="162"/>
                  </a:lnTo>
                  <a:lnTo>
                    <a:pt x="460" y="168"/>
                  </a:lnTo>
                  <a:lnTo>
                    <a:pt x="461" y="164"/>
                  </a:lnTo>
                  <a:lnTo>
                    <a:pt x="463" y="163"/>
                  </a:lnTo>
                  <a:lnTo>
                    <a:pt x="463" y="162"/>
                  </a:lnTo>
                  <a:lnTo>
                    <a:pt x="464" y="159"/>
                  </a:lnTo>
                  <a:lnTo>
                    <a:pt x="466" y="160"/>
                  </a:lnTo>
                  <a:lnTo>
                    <a:pt x="467" y="162"/>
                  </a:lnTo>
                  <a:lnTo>
                    <a:pt x="468" y="163"/>
                  </a:lnTo>
                  <a:lnTo>
                    <a:pt x="468" y="164"/>
                  </a:lnTo>
                  <a:lnTo>
                    <a:pt x="468" y="165"/>
                  </a:lnTo>
                  <a:lnTo>
                    <a:pt x="466" y="166"/>
                  </a:lnTo>
                  <a:lnTo>
                    <a:pt x="466" y="169"/>
                  </a:lnTo>
                  <a:lnTo>
                    <a:pt x="468" y="168"/>
                  </a:lnTo>
                  <a:lnTo>
                    <a:pt x="469" y="166"/>
                  </a:lnTo>
                  <a:lnTo>
                    <a:pt x="473" y="168"/>
                  </a:lnTo>
                  <a:lnTo>
                    <a:pt x="474" y="168"/>
                  </a:lnTo>
                  <a:lnTo>
                    <a:pt x="476" y="166"/>
                  </a:lnTo>
                  <a:lnTo>
                    <a:pt x="476" y="168"/>
                  </a:lnTo>
                  <a:lnTo>
                    <a:pt x="478" y="168"/>
                  </a:lnTo>
                  <a:lnTo>
                    <a:pt x="475" y="170"/>
                  </a:lnTo>
                  <a:lnTo>
                    <a:pt x="472" y="170"/>
                  </a:lnTo>
                  <a:lnTo>
                    <a:pt x="469" y="170"/>
                  </a:lnTo>
                  <a:lnTo>
                    <a:pt x="467" y="170"/>
                  </a:lnTo>
                  <a:lnTo>
                    <a:pt x="467" y="172"/>
                  </a:lnTo>
                  <a:lnTo>
                    <a:pt x="468" y="171"/>
                  </a:lnTo>
                  <a:lnTo>
                    <a:pt x="470" y="171"/>
                  </a:lnTo>
                  <a:lnTo>
                    <a:pt x="472" y="172"/>
                  </a:lnTo>
                  <a:lnTo>
                    <a:pt x="473" y="171"/>
                  </a:lnTo>
                  <a:lnTo>
                    <a:pt x="474" y="171"/>
                  </a:lnTo>
                  <a:lnTo>
                    <a:pt x="475" y="172"/>
                  </a:lnTo>
                  <a:lnTo>
                    <a:pt x="476" y="172"/>
                  </a:lnTo>
                  <a:lnTo>
                    <a:pt x="478" y="174"/>
                  </a:lnTo>
                  <a:lnTo>
                    <a:pt x="478" y="171"/>
                  </a:lnTo>
                  <a:lnTo>
                    <a:pt x="478" y="169"/>
                  </a:lnTo>
                  <a:lnTo>
                    <a:pt x="480" y="166"/>
                  </a:lnTo>
                  <a:lnTo>
                    <a:pt x="481" y="165"/>
                  </a:lnTo>
                  <a:lnTo>
                    <a:pt x="479" y="165"/>
                  </a:lnTo>
                  <a:lnTo>
                    <a:pt x="479" y="164"/>
                  </a:lnTo>
                  <a:lnTo>
                    <a:pt x="480" y="160"/>
                  </a:lnTo>
                  <a:lnTo>
                    <a:pt x="482" y="160"/>
                  </a:lnTo>
                  <a:lnTo>
                    <a:pt x="484" y="158"/>
                  </a:lnTo>
                  <a:lnTo>
                    <a:pt x="484" y="160"/>
                  </a:lnTo>
                  <a:lnTo>
                    <a:pt x="484" y="162"/>
                  </a:lnTo>
                  <a:lnTo>
                    <a:pt x="485" y="163"/>
                  </a:lnTo>
                  <a:lnTo>
                    <a:pt x="485" y="165"/>
                  </a:lnTo>
                  <a:lnTo>
                    <a:pt x="486" y="168"/>
                  </a:lnTo>
                  <a:lnTo>
                    <a:pt x="487" y="169"/>
                  </a:lnTo>
                  <a:lnTo>
                    <a:pt x="488" y="169"/>
                  </a:lnTo>
                  <a:lnTo>
                    <a:pt x="487" y="170"/>
                  </a:lnTo>
                  <a:lnTo>
                    <a:pt x="488" y="171"/>
                  </a:lnTo>
                  <a:lnTo>
                    <a:pt x="491" y="171"/>
                  </a:lnTo>
                  <a:lnTo>
                    <a:pt x="492" y="171"/>
                  </a:lnTo>
                  <a:lnTo>
                    <a:pt x="493" y="170"/>
                  </a:lnTo>
                  <a:lnTo>
                    <a:pt x="497" y="170"/>
                  </a:lnTo>
                  <a:lnTo>
                    <a:pt x="495" y="171"/>
                  </a:lnTo>
                  <a:lnTo>
                    <a:pt x="493" y="172"/>
                  </a:lnTo>
                  <a:lnTo>
                    <a:pt x="495" y="172"/>
                  </a:lnTo>
                  <a:lnTo>
                    <a:pt x="496" y="174"/>
                  </a:lnTo>
                  <a:lnTo>
                    <a:pt x="498" y="175"/>
                  </a:lnTo>
                  <a:lnTo>
                    <a:pt x="497" y="176"/>
                  </a:lnTo>
                  <a:lnTo>
                    <a:pt x="496" y="178"/>
                  </a:lnTo>
                  <a:lnTo>
                    <a:pt x="496" y="180"/>
                  </a:lnTo>
                  <a:lnTo>
                    <a:pt x="493" y="177"/>
                  </a:lnTo>
                  <a:lnTo>
                    <a:pt x="491" y="178"/>
                  </a:lnTo>
                  <a:lnTo>
                    <a:pt x="490" y="181"/>
                  </a:lnTo>
                  <a:lnTo>
                    <a:pt x="491" y="181"/>
                  </a:lnTo>
                  <a:lnTo>
                    <a:pt x="491" y="182"/>
                  </a:lnTo>
                  <a:lnTo>
                    <a:pt x="488" y="184"/>
                  </a:lnTo>
                  <a:lnTo>
                    <a:pt x="487" y="186"/>
                  </a:lnTo>
                  <a:lnTo>
                    <a:pt x="487" y="188"/>
                  </a:lnTo>
                  <a:lnTo>
                    <a:pt x="488" y="190"/>
                  </a:lnTo>
                  <a:lnTo>
                    <a:pt x="491" y="190"/>
                  </a:lnTo>
                  <a:lnTo>
                    <a:pt x="493" y="189"/>
                  </a:lnTo>
                  <a:lnTo>
                    <a:pt x="496" y="188"/>
                  </a:lnTo>
                  <a:lnTo>
                    <a:pt x="498" y="187"/>
                  </a:lnTo>
                  <a:lnTo>
                    <a:pt x="495" y="189"/>
                  </a:lnTo>
                  <a:lnTo>
                    <a:pt x="492" y="192"/>
                  </a:lnTo>
                  <a:lnTo>
                    <a:pt x="493" y="192"/>
                  </a:lnTo>
                  <a:lnTo>
                    <a:pt x="495" y="193"/>
                  </a:lnTo>
                  <a:lnTo>
                    <a:pt x="498" y="193"/>
                  </a:lnTo>
                  <a:lnTo>
                    <a:pt x="502" y="193"/>
                  </a:lnTo>
                  <a:lnTo>
                    <a:pt x="502" y="192"/>
                  </a:lnTo>
                  <a:lnTo>
                    <a:pt x="503" y="190"/>
                  </a:lnTo>
                  <a:lnTo>
                    <a:pt x="504" y="189"/>
                  </a:lnTo>
                  <a:lnTo>
                    <a:pt x="507" y="187"/>
                  </a:lnTo>
                  <a:lnTo>
                    <a:pt x="509" y="187"/>
                  </a:lnTo>
                  <a:lnTo>
                    <a:pt x="511" y="187"/>
                  </a:lnTo>
                  <a:lnTo>
                    <a:pt x="510" y="188"/>
                  </a:lnTo>
                  <a:lnTo>
                    <a:pt x="507" y="190"/>
                  </a:lnTo>
                  <a:lnTo>
                    <a:pt x="508" y="193"/>
                  </a:lnTo>
                  <a:lnTo>
                    <a:pt x="509" y="194"/>
                  </a:lnTo>
                  <a:lnTo>
                    <a:pt x="510" y="196"/>
                  </a:lnTo>
                  <a:lnTo>
                    <a:pt x="509" y="198"/>
                  </a:lnTo>
                  <a:lnTo>
                    <a:pt x="511" y="199"/>
                  </a:lnTo>
                  <a:lnTo>
                    <a:pt x="511" y="201"/>
                  </a:lnTo>
                  <a:lnTo>
                    <a:pt x="510" y="201"/>
                  </a:lnTo>
                  <a:lnTo>
                    <a:pt x="509" y="205"/>
                  </a:lnTo>
                  <a:lnTo>
                    <a:pt x="509" y="206"/>
                  </a:lnTo>
                  <a:lnTo>
                    <a:pt x="511" y="206"/>
                  </a:lnTo>
                  <a:lnTo>
                    <a:pt x="513" y="205"/>
                  </a:lnTo>
                  <a:lnTo>
                    <a:pt x="515" y="204"/>
                  </a:lnTo>
                  <a:lnTo>
                    <a:pt x="513" y="204"/>
                  </a:lnTo>
                  <a:lnTo>
                    <a:pt x="513" y="201"/>
                  </a:lnTo>
                  <a:lnTo>
                    <a:pt x="516" y="200"/>
                  </a:lnTo>
                  <a:lnTo>
                    <a:pt x="517" y="200"/>
                  </a:lnTo>
                  <a:lnTo>
                    <a:pt x="519" y="199"/>
                  </a:lnTo>
                  <a:lnTo>
                    <a:pt x="519" y="195"/>
                  </a:lnTo>
                  <a:lnTo>
                    <a:pt x="521" y="193"/>
                  </a:lnTo>
                  <a:lnTo>
                    <a:pt x="520" y="198"/>
                  </a:lnTo>
                  <a:lnTo>
                    <a:pt x="521" y="199"/>
                  </a:lnTo>
                  <a:lnTo>
                    <a:pt x="522" y="199"/>
                  </a:lnTo>
                  <a:lnTo>
                    <a:pt x="521" y="200"/>
                  </a:lnTo>
                  <a:lnTo>
                    <a:pt x="520" y="204"/>
                  </a:lnTo>
                  <a:lnTo>
                    <a:pt x="521" y="205"/>
                  </a:lnTo>
                  <a:lnTo>
                    <a:pt x="520" y="207"/>
                  </a:lnTo>
                  <a:lnTo>
                    <a:pt x="522" y="210"/>
                  </a:lnTo>
                  <a:lnTo>
                    <a:pt x="520" y="212"/>
                  </a:lnTo>
                  <a:lnTo>
                    <a:pt x="517" y="212"/>
                  </a:lnTo>
                  <a:lnTo>
                    <a:pt x="514" y="212"/>
                  </a:lnTo>
                  <a:lnTo>
                    <a:pt x="511" y="211"/>
                  </a:lnTo>
                  <a:lnTo>
                    <a:pt x="508" y="213"/>
                  </a:lnTo>
                  <a:lnTo>
                    <a:pt x="507" y="214"/>
                  </a:lnTo>
                  <a:lnTo>
                    <a:pt x="508" y="214"/>
                  </a:lnTo>
                  <a:lnTo>
                    <a:pt x="511" y="214"/>
                  </a:lnTo>
                  <a:lnTo>
                    <a:pt x="511" y="217"/>
                  </a:lnTo>
                  <a:lnTo>
                    <a:pt x="514" y="217"/>
                  </a:lnTo>
                  <a:lnTo>
                    <a:pt x="514" y="218"/>
                  </a:lnTo>
                  <a:lnTo>
                    <a:pt x="516" y="218"/>
                  </a:lnTo>
                  <a:lnTo>
                    <a:pt x="519" y="219"/>
                  </a:lnTo>
                  <a:lnTo>
                    <a:pt x="521" y="219"/>
                  </a:lnTo>
                  <a:lnTo>
                    <a:pt x="522" y="218"/>
                  </a:lnTo>
                  <a:lnTo>
                    <a:pt x="522" y="220"/>
                  </a:lnTo>
                  <a:lnTo>
                    <a:pt x="523" y="222"/>
                  </a:lnTo>
                  <a:lnTo>
                    <a:pt x="521" y="222"/>
                  </a:lnTo>
                  <a:lnTo>
                    <a:pt x="520" y="223"/>
                  </a:lnTo>
                  <a:lnTo>
                    <a:pt x="522" y="225"/>
                  </a:lnTo>
                  <a:lnTo>
                    <a:pt x="521" y="225"/>
                  </a:lnTo>
                  <a:lnTo>
                    <a:pt x="520" y="228"/>
                  </a:lnTo>
                  <a:lnTo>
                    <a:pt x="519" y="228"/>
                  </a:lnTo>
                  <a:lnTo>
                    <a:pt x="517" y="228"/>
                  </a:lnTo>
                  <a:lnTo>
                    <a:pt x="519" y="230"/>
                  </a:lnTo>
                  <a:lnTo>
                    <a:pt x="517" y="229"/>
                  </a:lnTo>
                  <a:lnTo>
                    <a:pt x="516" y="231"/>
                  </a:lnTo>
                  <a:lnTo>
                    <a:pt x="515" y="231"/>
                  </a:lnTo>
                  <a:lnTo>
                    <a:pt x="514" y="231"/>
                  </a:lnTo>
                  <a:lnTo>
                    <a:pt x="514" y="232"/>
                  </a:lnTo>
                  <a:lnTo>
                    <a:pt x="511" y="232"/>
                  </a:lnTo>
                  <a:lnTo>
                    <a:pt x="510" y="231"/>
                  </a:lnTo>
                  <a:lnTo>
                    <a:pt x="510" y="232"/>
                  </a:lnTo>
                  <a:lnTo>
                    <a:pt x="509" y="230"/>
                  </a:lnTo>
                  <a:lnTo>
                    <a:pt x="508" y="231"/>
                  </a:lnTo>
                  <a:lnTo>
                    <a:pt x="509" y="232"/>
                  </a:lnTo>
                  <a:lnTo>
                    <a:pt x="510" y="234"/>
                  </a:lnTo>
                  <a:lnTo>
                    <a:pt x="513" y="235"/>
                  </a:lnTo>
                  <a:lnTo>
                    <a:pt x="514" y="238"/>
                  </a:lnTo>
                  <a:lnTo>
                    <a:pt x="514" y="241"/>
                  </a:lnTo>
                  <a:lnTo>
                    <a:pt x="513" y="237"/>
                  </a:lnTo>
                  <a:lnTo>
                    <a:pt x="510" y="236"/>
                  </a:lnTo>
                  <a:lnTo>
                    <a:pt x="509" y="237"/>
                  </a:lnTo>
                  <a:lnTo>
                    <a:pt x="508" y="236"/>
                  </a:lnTo>
                  <a:lnTo>
                    <a:pt x="507" y="237"/>
                  </a:lnTo>
                  <a:lnTo>
                    <a:pt x="508" y="235"/>
                  </a:lnTo>
                  <a:lnTo>
                    <a:pt x="507" y="234"/>
                  </a:lnTo>
                  <a:lnTo>
                    <a:pt x="505" y="235"/>
                  </a:lnTo>
                  <a:lnTo>
                    <a:pt x="504" y="237"/>
                  </a:lnTo>
                  <a:lnTo>
                    <a:pt x="503" y="236"/>
                  </a:lnTo>
                  <a:lnTo>
                    <a:pt x="502" y="237"/>
                  </a:lnTo>
                  <a:lnTo>
                    <a:pt x="501" y="238"/>
                  </a:lnTo>
                  <a:lnTo>
                    <a:pt x="499" y="235"/>
                  </a:lnTo>
                  <a:lnTo>
                    <a:pt x="499" y="232"/>
                  </a:lnTo>
                  <a:lnTo>
                    <a:pt x="498" y="232"/>
                  </a:lnTo>
                  <a:lnTo>
                    <a:pt x="497" y="231"/>
                  </a:lnTo>
                  <a:lnTo>
                    <a:pt x="498" y="228"/>
                  </a:lnTo>
                  <a:lnTo>
                    <a:pt x="498" y="225"/>
                  </a:lnTo>
                  <a:lnTo>
                    <a:pt x="496" y="226"/>
                  </a:lnTo>
                  <a:lnTo>
                    <a:pt x="492" y="229"/>
                  </a:lnTo>
                  <a:lnTo>
                    <a:pt x="488" y="232"/>
                  </a:lnTo>
                  <a:lnTo>
                    <a:pt x="488" y="234"/>
                  </a:lnTo>
                  <a:lnTo>
                    <a:pt x="490" y="234"/>
                  </a:lnTo>
                  <a:lnTo>
                    <a:pt x="490" y="235"/>
                  </a:lnTo>
                  <a:lnTo>
                    <a:pt x="488" y="236"/>
                  </a:lnTo>
                  <a:lnTo>
                    <a:pt x="491" y="240"/>
                  </a:lnTo>
                  <a:lnTo>
                    <a:pt x="492" y="241"/>
                  </a:lnTo>
                  <a:lnTo>
                    <a:pt x="498" y="246"/>
                  </a:lnTo>
                  <a:lnTo>
                    <a:pt x="499" y="243"/>
                  </a:lnTo>
                  <a:lnTo>
                    <a:pt x="501" y="241"/>
                  </a:lnTo>
                  <a:lnTo>
                    <a:pt x="503" y="242"/>
                  </a:lnTo>
                  <a:lnTo>
                    <a:pt x="502" y="243"/>
                  </a:lnTo>
                  <a:lnTo>
                    <a:pt x="507" y="245"/>
                  </a:lnTo>
                  <a:lnTo>
                    <a:pt x="505" y="248"/>
                  </a:lnTo>
                  <a:lnTo>
                    <a:pt x="507" y="252"/>
                  </a:lnTo>
                  <a:lnTo>
                    <a:pt x="511" y="251"/>
                  </a:lnTo>
                  <a:lnTo>
                    <a:pt x="511" y="249"/>
                  </a:lnTo>
                  <a:lnTo>
                    <a:pt x="510" y="249"/>
                  </a:lnTo>
                  <a:lnTo>
                    <a:pt x="513" y="246"/>
                  </a:lnTo>
                  <a:lnTo>
                    <a:pt x="515" y="246"/>
                  </a:lnTo>
                  <a:lnTo>
                    <a:pt x="517" y="243"/>
                  </a:lnTo>
                  <a:lnTo>
                    <a:pt x="519" y="245"/>
                  </a:lnTo>
                  <a:lnTo>
                    <a:pt x="517" y="247"/>
                  </a:lnTo>
                  <a:lnTo>
                    <a:pt x="515" y="249"/>
                  </a:lnTo>
                  <a:lnTo>
                    <a:pt x="513" y="251"/>
                  </a:lnTo>
                  <a:lnTo>
                    <a:pt x="513" y="252"/>
                  </a:lnTo>
                  <a:lnTo>
                    <a:pt x="507" y="252"/>
                  </a:lnTo>
                  <a:lnTo>
                    <a:pt x="507" y="254"/>
                  </a:lnTo>
                  <a:lnTo>
                    <a:pt x="505" y="254"/>
                  </a:lnTo>
                  <a:lnTo>
                    <a:pt x="504" y="255"/>
                  </a:lnTo>
                  <a:lnTo>
                    <a:pt x="507" y="257"/>
                  </a:lnTo>
                  <a:lnTo>
                    <a:pt x="505" y="259"/>
                  </a:lnTo>
                  <a:lnTo>
                    <a:pt x="504" y="260"/>
                  </a:lnTo>
                  <a:lnTo>
                    <a:pt x="503" y="258"/>
                  </a:lnTo>
                  <a:lnTo>
                    <a:pt x="503" y="255"/>
                  </a:lnTo>
                  <a:lnTo>
                    <a:pt x="503" y="253"/>
                  </a:lnTo>
                  <a:lnTo>
                    <a:pt x="502" y="254"/>
                  </a:lnTo>
                  <a:lnTo>
                    <a:pt x="501" y="257"/>
                  </a:lnTo>
                  <a:lnTo>
                    <a:pt x="498" y="258"/>
                  </a:lnTo>
                  <a:lnTo>
                    <a:pt x="497" y="257"/>
                  </a:lnTo>
                  <a:lnTo>
                    <a:pt x="497" y="253"/>
                  </a:lnTo>
                  <a:lnTo>
                    <a:pt x="496" y="255"/>
                  </a:lnTo>
                  <a:lnTo>
                    <a:pt x="495" y="258"/>
                  </a:lnTo>
                  <a:lnTo>
                    <a:pt x="492" y="259"/>
                  </a:lnTo>
                  <a:lnTo>
                    <a:pt x="492" y="258"/>
                  </a:lnTo>
                  <a:lnTo>
                    <a:pt x="491" y="255"/>
                  </a:lnTo>
                  <a:lnTo>
                    <a:pt x="492" y="253"/>
                  </a:lnTo>
                  <a:lnTo>
                    <a:pt x="491" y="252"/>
                  </a:lnTo>
                  <a:lnTo>
                    <a:pt x="490" y="253"/>
                  </a:lnTo>
                  <a:lnTo>
                    <a:pt x="487" y="253"/>
                  </a:lnTo>
                  <a:lnTo>
                    <a:pt x="487" y="251"/>
                  </a:lnTo>
                  <a:lnTo>
                    <a:pt x="487" y="248"/>
                  </a:lnTo>
                  <a:lnTo>
                    <a:pt x="486" y="248"/>
                  </a:lnTo>
                  <a:lnTo>
                    <a:pt x="487" y="246"/>
                  </a:lnTo>
                  <a:lnTo>
                    <a:pt x="486" y="243"/>
                  </a:lnTo>
                  <a:lnTo>
                    <a:pt x="485" y="243"/>
                  </a:lnTo>
                  <a:lnTo>
                    <a:pt x="484" y="246"/>
                  </a:lnTo>
                  <a:lnTo>
                    <a:pt x="482" y="245"/>
                  </a:lnTo>
                  <a:lnTo>
                    <a:pt x="484" y="242"/>
                  </a:lnTo>
                  <a:lnTo>
                    <a:pt x="481" y="242"/>
                  </a:lnTo>
                  <a:lnTo>
                    <a:pt x="481" y="245"/>
                  </a:lnTo>
                  <a:lnTo>
                    <a:pt x="481" y="247"/>
                  </a:lnTo>
                  <a:lnTo>
                    <a:pt x="481" y="248"/>
                  </a:lnTo>
                  <a:lnTo>
                    <a:pt x="481" y="251"/>
                  </a:lnTo>
                  <a:lnTo>
                    <a:pt x="481" y="252"/>
                  </a:lnTo>
                  <a:lnTo>
                    <a:pt x="482" y="252"/>
                  </a:lnTo>
                  <a:lnTo>
                    <a:pt x="482" y="255"/>
                  </a:lnTo>
                  <a:lnTo>
                    <a:pt x="481" y="258"/>
                  </a:lnTo>
                  <a:lnTo>
                    <a:pt x="484" y="259"/>
                  </a:lnTo>
                  <a:lnTo>
                    <a:pt x="482" y="260"/>
                  </a:lnTo>
                  <a:lnTo>
                    <a:pt x="485" y="261"/>
                  </a:lnTo>
                  <a:lnTo>
                    <a:pt x="486" y="261"/>
                  </a:lnTo>
                  <a:lnTo>
                    <a:pt x="487" y="259"/>
                  </a:lnTo>
                  <a:lnTo>
                    <a:pt x="490" y="259"/>
                  </a:lnTo>
                  <a:lnTo>
                    <a:pt x="491" y="261"/>
                  </a:lnTo>
                  <a:lnTo>
                    <a:pt x="493" y="263"/>
                  </a:lnTo>
                  <a:lnTo>
                    <a:pt x="492" y="264"/>
                  </a:lnTo>
                  <a:lnTo>
                    <a:pt x="495" y="265"/>
                  </a:lnTo>
                  <a:lnTo>
                    <a:pt x="492" y="266"/>
                  </a:lnTo>
                  <a:lnTo>
                    <a:pt x="487" y="265"/>
                  </a:lnTo>
                  <a:lnTo>
                    <a:pt x="485" y="265"/>
                  </a:lnTo>
                  <a:lnTo>
                    <a:pt x="481" y="264"/>
                  </a:lnTo>
                  <a:lnTo>
                    <a:pt x="479" y="265"/>
                  </a:lnTo>
                  <a:lnTo>
                    <a:pt x="475" y="267"/>
                  </a:lnTo>
                  <a:lnTo>
                    <a:pt x="475" y="265"/>
                  </a:lnTo>
                  <a:lnTo>
                    <a:pt x="473" y="267"/>
                  </a:lnTo>
                  <a:lnTo>
                    <a:pt x="473" y="264"/>
                  </a:lnTo>
                  <a:lnTo>
                    <a:pt x="469" y="263"/>
                  </a:lnTo>
                  <a:lnTo>
                    <a:pt x="469" y="265"/>
                  </a:lnTo>
                  <a:lnTo>
                    <a:pt x="470" y="266"/>
                  </a:lnTo>
                  <a:lnTo>
                    <a:pt x="469" y="266"/>
                  </a:lnTo>
                  <a:lnTo>
                    <a:pt x="468" y="269"/>
                  </a:lnTo>
                  <a:lnTo>
                    <a:pt x="469" y="270"/>
                  </a:lnTo>
                  <a:lnTo>
                    <a:pt x="468" y="270"/>
                  </a:lnTo>
                  <a:lnTo>
                    <a:pt x="468" y="272"/>
                  </a:lnTo>
                  <a:lnTo>
                    <a:pt x="467" y="270"/>
                  </a:lnTo>
                  <a:lnTo>
                    <a:pt x="466" y="267"/>
                  </a:lnTo>
                  <a:lnTo>
                    <a:pt x="466" y="269"/>
                  </a:lnTo>
                  <a:lnTo>
                    <a:pt x="466" y="266"/>
                  </a:lnTo>
                  <a:lnTo>
                    <a:pt x="464" y="267"/>
                  </a:lnTo>
                  <a:lnTo>
                    <a:pt x="463" y="269"/>
                  </a:lnTo>
                  <a:lnTo>
                    <a:pt x="463" y="267"/>
                  </a:lnTo>
                  <a:lnTo>
                    <a:pt x="462" y="267"/>
                  </a:lnTo>
                  <a:lnTo>
                    <a:pt x="461" y="266"/>
                  </a:lnTo>
                  <a:lnTo>
                    <a:pt x="460" y="266"/>
                  </a:lnTo>
                  <a:lnTo>
                    <a:pt x="460" y="265"/>
                  </a:lnTo>
                  <a:lnTo>
                    <a:pt x="457" y="265"/>
                  </a:lnTo>
                  <a:lnTo>
                    <a:pt x="456" y="266"/>
                  </a:lnTo>
                  <a:lnTo>
                    <a:pt x="455" y="269"/>
                  </a:lnTo>
                  <a:lnTo>
                    <a:pt x="454" y="270"/>
                  </a:lnTo>
                  <a:lnTo>
                    <a:pt x="452" y="272"/>
                  </a:lnTo>
                  <a:lnTo>
                    <a:pt x="452" y="269"/>
                  </a:lnTo>
                  <a:lnTo>
                    <a:pt x="450" y="269"/>
                  </a:lnTo>
                  <a:lnTo>
                    <a:pt x="448" y="269"/>
                  </a:lnTo>
                  <a:lnTo>
                    <a:pt x="448" y="270"/>
                  </a:lnTo>
                  <a:lnTo>
                    <a:pt x="446" y="269"/>
                  </a:lnTo>
                  <a:lnTo>
                    <a:pt x="444" y="269"/>
                  </a:lnTo>
                  <a:lnTo>
                    <a:pt x="442" y="270"/>
                  </a:lnTo>
                  <a:lnTo>
                    <a:pt x="442" y="273"/>
                  </a:lnTo>
                  <a:lnTo>
                    <a:pt x="440" y="272"/>
                  </a:lnTo>
                  <a:lnTo>
                    <a:pt x="439" y="271"/>
                  </a:lnTo>
                  <a:lnTo>
                    <a:pt x="439" y="272"/>
                  </a:lnTo>
                  <a:lnTo>
                    <a:pt x="438" y="273"/>
                  </a:lnTo>
                  <a:lnTo>
                    <a:pt x="439" y="275"/>
                  </a:lnTo>
                  <a:lnTo>
                    <a:pt x="440" y="275"/>
                  </a:lnTo>
                  <a:lnTo>
                    <a:pt x="439" y="277"/>
                  </a:lnTo>
                  <a:lnTo>
                    <a:pt x="439" y="278"/>
                  </a:lnTo>
                  <a:lnTo>
                    <a:pt x="440" y="278"/>
                  </a:lnTo>
                  <a:lnTo>
                    <a:pt x="443" y="278"/>
                  </a:lnTo>
                  <a:lnTo>
                    <a:pt x="443" y="277"/>
                  </a:lnTo>
                  <a:lnTo>
                    <a:pt x="444" y="278"/>
                  </a:lnTo>
                  <a:lnTo>
                    <a:pt x="445" y="277"/>
                  </a:lnTo>
                  <a:lnTo>
                    <a:pt x="445" y="273"/>
                  </a:lnTo>
                  <a:lnTo>
                    <a:pt x="448" y="276"/>
                  </a:lnTo>
                  <a:lnTo>
                    <a:pt x="448" y="277"/>
                  </a:lnTo>
                  <a:lnTo>
                    <a:pt x="450" y="277"/>
                  </a:lnTo>
                  <a:lnTo>
                    <a:pt x="451" y="279"/>
                  </a:lnTo>
                  <a:lnTo>
                    <a:pt x="450" y="279"/>
                  </a:lnTo>
                  <a:lnTo>
                    <a:pt x="449" y="281"/>
                  </a:lnTo>
                  <a:lnTo>
                    <a:pt x="450" y="282"/>
                  </a:lnTo>
                  <a:lnTo>
                    <a:pt x="449" y="282"/>
                  </a:lnTo>
                  <a:lnTo>
                    <a:pt x="448" y="283"/>
                  </a:lnTo>
                  <a:lnTo>
                    <a:pt x="450" y="284"/>
                  </a:lnTo>
                  <a:lnTo>
                    <a:pt x="451" y="283"/>
                  </a:lnTo>
                  <a:lnTo>
                    <a:pt x="451" y="282"/>
                  </a:lnTo>
                  <a:lnTo>
                    <a:pt x="452" y="284"/>
                  </a:lnTo>
                  <a:lnTo>
                    <a:pt x="451" y="287"/>
                  </a:lnTo>
                  <a:lnTo>
                    <a:pt x="450" y="287"/>
                  </a:lnTo>
                  <a:lnTo>
                    <a:pt x="450" y="288"/>
                  </a:lnTo>
                  <a:lnTo>
                    <a:pt x="452" y="288"/>
                  </a:lnTo>
                  <a:lnTo>
                    <a:pt x="454" y="289"/>
                  </a:lnTo>
                  <a:lnTo>
                    <a:pt x="455" y="289"/>
                  </a:lnTo>
                  <a:lnTo>
                    <a:pt x="456" y="290"/>
                  </a:lnTo>
                  <a:lnTo>
                    <a:pt x="456" y="294"/>
                  </a:lnTo>
                  <a:lnTo>
                    <a:pt x="457" y="295"/>
                  </a:lnTo>
                  <a:lnTo>
                    <a:pt x="458" y="295"/>
                  </a:lnTo>
                  <a:lnTo>
                    <a:pt x="461" y="295"/>
                  </a:lnTo>
                  <a:lnTo>
                    <a:pt x="462" y="295"/>
                  </a:lnTo>
                  <a:lnTo>
                    <a:pt x="462" y="293"/>
                  </a:lnTo>
                  <a:lnTo>
                    <a:pt x="463" y="291"/>
                  </a:lnTo>
                  <a:lnTo>
                    <a:pt x="464" y="290"/>
                  </a:lnTo>
                  <a:lnTo>
                    <a:pt x="467" y="290"/>
                  </a:lnTo>
                  <a:lnTo>
                    <a:pt x="466" y="293"/>
                  </a:lnTo>
                  <a:lnTo>
                    <a:pt x="466" y="294"/>
                  </a:lnTo>
                  <a:lnTo>
                    <a:pt x="467" y="294"/>
                  </a:lnTo>
                  <a:lnTo>
                    <a:pt x="466" y="296"/>
                  </a:lnTo>
                  <a:lnTo>
                    <a:pt x="467" y="299"/>
                  </a:lnTo>
                  <a:lnTo>
                    <a:pt x="468" y="300"/>
                  </a:lnTo>
                  <a:lnTo>
                    <a:pt x="468" y="301"/>
                  </a:lnTo>
                  <a:lnTo>
                    <a:pt x="468" y="300"/>
                  </a:lnTo>
                  <a:lnTo>
                    <a:pt x="469" y="301"/>
                  </a:lnTo>
                  <a:lnTo>
                    <a:pt x="469" y="305"/>
                  </a:lnTo>
                  <a:lnTo>
                    <a:pt x="469" y="307"/>
                  </a:lnTo>
                  <a:lnTo>
                    <a:pt x="472" y="307"/>
                  </a:lnTo>
                  <a:lnTo>
                    <a:pt x="473" y="306"/>
                  </a:lnTo>
                  <a:lnTo>
                    <a:pt x="474" y="306"/>
                  </a:lnTo>
                  <a:lnTo>
                    <a:pt x="475" y="307"/>
                  </a:lnTo>
                  <a:lnTo>
                    <a:pt x="478" y="307"/>
                  </a:lnTo>
                  <a:lnTo>
                    <a:pt x="476" y="307"/>
                  </a:lnTo>
                  <a:lnTo>
                    <a:pt x="478" y="306"/>
                  </a:lnTo>
                  <a:lnTo>
                    <a:pt x="479" y="305"/>
                  </a:lnTo>
                  <a:lnTo>
                    <a:pt x="480" y="305"/>
                  </a:lnTo>
                  <a:lnTo>
                    <a:pt x="481" y="307"/>
                  </a:lnTo>
                  <a:lnTo>
                    <a:pt x="480" y="308"/>
                  </a:lnTo>
                  <a:lnTo>
                    <a:pt x="482" y="309"/>
                  </a:lnTo>
                  <a:lnTo>
                    <a:pt x="486" y="312"/>
                  </a:lnTo>
                  <a:lnTo>
                    <a:pt x="485" y="312"/>
                  </a:lnTo>
                  <a:lnTo>
                    <a:pt x="484" y="313"/>
                  </a:lnTo>
                  <a:lnTo>
                    <a:pt x="485" y="314"/>
                  </a:lnTo>
                  <a:lnTo>
                    <a:pt x="486" y="314"/>
                  </a:lnTo>
                  <a:lnTo>
                    <a:pt x="486" y="319"/>
                  </a:lnTo>
                  <a:lnTo>
                    <a:pt x="484" y="321"/>
                  </a:lnTo>
                  <a:lnTo>
                    <a:pt x="482" y="321"/>
                  </a:lnTo>
                  <a:lnTo>
                    <a:pt x="482" y="323"/>
                  </a:lnTo>
                  <a:lnTo>
                    <a:pt x="479" y="326"/>
                  </a:lnTo>
                  <a:lnTo>
                    <a:pt x="476" y="327"/>
                  </a:lnTo>
                  <a:lnTo>
                    <a:pt x="475" y="329"/>
                  </a:lnTo>
                  <a:lnTo>
                    <a:pt x="474" y="329"/>
                  </a:lnTo>
                  <a:lnTo>
                    <a:pt x="473" y="330"/>
                  </a:lnTo>
                  <a:lnTo>
                    <a:pt x="475" y="331"/>
                  </a:lnTo>
                  <a:lnTo>
                    <a:pt x="481" y="333"/>
                  </a:lnTo>
                  <a:lnTo>
                    <a:pt x="485" y="333"/>
                  </a:lnTo>
                  <a:lnTo>
                    <a:pt x="486" y="335"/>
                  </a:lnTo>
                  <a:lnTo>
                    <a:pt x="488" y="337"/>
                  </a:lnTo>
                  <a:lnTo>
                    <a:pt x="488" y="339"/>
                  </a:lnTo>
                  <a:lnTo>
                    <a:pt x="487" y="338"/>
                  </a:lnTo>
                  <a:lnTo>
                    <a:pt x="485" y="337"/>
                  </a:lnTo>
                  <a:lnTo>
                    <a:pt x="482" y="336"/>
                  </a:lnTo>
                  <a:lnTo>
                    <a:pt x="481" y="336"/>
                  </a:lnTo>
                  <a:lnTo>
                    <a:pt x="481" y="335"/>
                  </a:lnTo>
                  <a:lnTo>
                    <a:pt x="479" y="333"/>
                  </a:lnTo>
                  <a:lnTo>
                    <a:pt x="474" y="332"/>
                  </a:lnTo>
                  <a:lnTo>
                    <a:pt x="474" y="333"/>
                  </a:lnTo>
                  <a:lnTo>
                    <a:pt x="473" y="335"/>
                  </a:lnTo>
                  <a:lnTo>
                    <a:pt x="472" y="336"/>
                  </a:lnTo>
                  <a:lnTo>
                    <a:pt x="472" y="337"/>
                  </a:lnTo>
                  <a:lnTo>
                    <a:pt x="470" y="339"/>
                  </a:lnTo>
                  <a:lnTo>
                    <a:pt x="469" y="339"/>
                  </a:lnTo>
                  <a:lnTo>
                    <a:pt x="468" y="341"/>
                  </a:lnTo>
                  <a:lnTo>
                    <a:pt x="467" y="341"/>
                  </a:lnTo>
                  <a:lnTo>
                    <a:pt x="468" y="337"/>
                  </a:lnTo>
                  <a:lnTo>
                    <a:pt x="468" y="335"/>
                  </a:lnTo>
                  <a:lnTo>
                    <a:pt x="468" y="332"/>
                  </a:lnTo>
                  <a:lnTo>
                    <a:pt x="470" y="331"/>
                  </a:lnTo>
                  <a:lnTo>
                    <a:pt x="472" y="330"/>
                  </a:lnTo>
                  <a:lnTo>
                    <a:pt x="469" y="330"/>
                  </a:lnTo>
                  <a:lnTo>
                    <a:pt x="468" y="330"/>
                  </a:lnTo>
                  <a:lnTo>
                    <a:pt x="467" y="332"/>
                  </a:lnTo>
                  <a:lnTo>
                    <a:pt x="467" y="333"/>
                  </a:lnTo>
                  <a:lnTo>
                    <a:pt x="466" y="335"/>
                  </a:lnTo>
                  <a:lnTo>
                    <a:pt x="466" y="332"/>
                  </a:lnTo>
                  <a:lnTo>
                    <a:pt x="467" y="329"/>
                  </a:lnTo>
                  <a:lnTo>
                    <a:pt x="464" y="330"/>
                  </a:lnTo>
                  <a:lnTo>
                    <a:pt x="464" y="331"/>
                  </a:lnTo>
                  <a:lnTo>
                    <a:pt x="463" y="332"/>
                  </a:lnTo>
                  <a:lnTo>
                    <a:pt x="462" y="330"/>
                  </a:lnTo>
                  <a:lnTo>
                    <a:pt x="461" y="329"/>
                  </a:lnTo>
                  <a:lnTo>
                    <a:pt x="460" y="327"/>
                  </a:lnTo>
                  <a:lnTo>
                    <a:pt x="458" y="327"/>
                  </a:lnTo>
                  <a:lnTo>
                    <a:pt x="457" y="326"/>
                  </a:lnTo>
                  <a:lnTo>
                    <a:pt x="457" y="324"/>
                  </a:lnTo>
                  <a:lnTo>
                    <a:pt x="455" y="325"/>
                  </a:lnTo>
                  <a:lnTo>
                    <a:pt x="454" y="326"/>
                  </a:lnTo>
                  <a:lnTo>
                    <a:pt x="454" y="325"/>
                  </a:lnTo>
                  <a:lnTo>
                    <a:pt x="455" y="323"/>
                  </a:lnTo>
                  <a:lnTo>
                    <a:pt x="454" y="321"/>
                  </a:lnTo>
                  <a:lnTo>
                    <a:pt x="450" y="321"/>
                  </a:lnTo>
                  <a:lnTo>
                    <a:pt x="450" y="319"/>
                  </a:lnTo>
                  <a:lnTo>
                    <a:pt x="449" y="319"/>
                  </a:lnTo>
                  <a:lnTo>
                    <a:pt x="448" y="320"/>
                  </a:lnTo>
                  <a:lnTo>
                    <a:pt x="446" y="319"/>
                  </a:lnTo>
                  <a:lnTo>
                    <a:pt x="450" y="318"/>
                  </a:lnTo>
                  <a:lnTo>
                    <a:pt x="450" y="317"/>
                  </a:lnTo>
                  <a:lnTo>
                    <a:pt x="448" y="315"/>
                  </a:lnTo>
                  <a:lnTo>
                    <a:pt x="449" y="314"/>
                  </a:lnTo>
                  <a:lnTo>
                    <a:pt x="448" y="315"/>
                  </a:lnTo>
                  <a:lnTo>
                    <a:pt x="446" y="314"/>
                  </a:lnTo>
                  <a:lnTo>
                    <a:pt x="445" y="312"/>
                  </a:lnTo>
                  <a:lnTo>
                    <a:pt x="443" y="312"/>
                  </a:lnTo>
                  <a:lnTo>
                    <a:pt x="444" y="317"/>
                  </a:lnTo>
                  <a:lnTo>
                    <a:pt x="444" y="324"/>
                  </a:lnTo>
                  <a:lnTo>
                    <a:pt x="444" y="325"/>
                  </a:lnTo>
                  <a:lnTo>
                    <a:pt x="445" y="327"/>
                  </a:lnTo>
                  <a:lnTo>
                    <a:pt x="445" y="330"/>
                  </a:lnTo>
                  <a:lnTo>
                    <a:pt x="444" y="329"/>
                  </a:lnTo>
                  <a:lnTo>
                    <a:pt x="443" y="325"/>
                  </a:lnTo>
                  <a:lnTo>
                    <a:pt x="443" y="321"/>
                  </a:lnTo>
                  <a:lnTo>
                    <a:pt x="442" y="323"/>
                  </a:lnTo>
                  <a:lnTo>
                    <a:pt x="439" y="326"/>
                  </a:lnTo>
                  <a:lnTo>
                    <a:pt x="439" y="327"/>
                  </a:lnTo>
                  <a:lnTo>
                    <a:pt x="440" y="331"/>
                  </a:lnTo>
                  <a:lnTo>
                    <a:pt x="438" y="333"/>
                  </a:lnTo>
                  <a:lnTo>
                    <a:pt x="434" y="337"/>
                  </a:lnTo>
                  <a:lnTo>
                    <a:pt x="433" y="338"/>
                  </a:lnTo>
                  <a:lnTo>
                    <a:pt x="438" y="343"/>
                  </a:lnTo>
                  <a:lnTo>
                    <a:pt x="440" y="344"/>
                  </a:lnTo>
                  <a:lnTo>
                    <a:pt x="440" y="343"/>
                  </a:lnTo>
                  <a:lnTo>
                    <a:pt x="444" y="344"/>
                  </a:lnTo>
                  <a:lnTo>
                    <a:pt x="445" y="345"/>
                  </a:lnTo>
                  <a:lnTo>
                    <a:pt x="444" y="347"/>
                  </a:lnTo>
                  <a:lnTo>
                    <a:pt x="445" y="347"/>
                  </a:lnTo>
                  <a:lnTo>
                    <a:pt x="446" y="347"/>
                  </a:lnTo>
                  <a:lnTo>
                    <a:pt x="448" y="347"/>
                  </a:lnTo>
                  <a:lnTo>
                    <a:pt x="449" y="344"/>
                  </a:lnTo>
                  <a:lnTo>
                    <a:pt x="449" y="342"/>
                  </a:lnTo>
                  <a:lnTo>
                    <a:pt x="450" y="341"/>
                  </a:lnTo>
                  <a:lnTo>
                    <a:pt x="452" y="343"/>
                  </a:lnTo>
                  <a:lnTo>
                    <a:pt x="451" y="347"/>
                  </a:lnTo>
                  <a:lnTo>
                    <a:pt x="451" y="349"/>
                  </a:lnTo>
                  <a:lnTo>
                    <a:pt x="452" y="347"/>
                  </a:lnTo>
                  <a:lnTo>
                    <a:pt x="454" y="347"/>
                  </a:lnTo>
                  <a:lnTo>
                    <a:pt x="454" y="349"/>
                  </a:lnTo>
                  <a:lnTo>
                    <a:pt x="455" y="348"/>
                  </a:lnTo>
                  <a:lnTo>
                    <a:pt x="456" y="348"/>
                  </a:lnTo>
                  <a:lnTo>
                    <a:pt x="456" y="350"/>
                  </a:lnTo>
                  <a:lnTo>
                    <a:pt x="452" y="350"/>
                  </a:lnTo>
                  <a:lnTo>
                    <a:pt x="452" y="352"/>
                  </a:lnTo>
                  <a:lnTo>
                    <a:pt x="454" y="353"/>
                  </a:lnTo>
                  <a:lnTo>
                    <a:pt x="455" y="354"/>
                  </a:lnTo>
                  <a:lnTo>
                    <a:pt x="456" y="356"/>
                  </a:lnTo>
                  <a:lnTo>
                    <a:pt x="455" y="359"/>
                  </a:lnTo>
                  <a:lnTo>
                    <a:pt x="454" y="358"/>
                  </a:lnTo>
                  <a:lnTo>
                    <a:pt x="454" y="359"/>
                  </a:lnTo>
                  <a:lnTo>
                    <a:pt x="452" y="362"/>
                  </a:lnTo>
                  <a:lnTo>
                    <a:pt x="451" y="361"/>
                  </a:lnTo>
                  <a:lnTo>
                    <a:pt x="449" y="359"/>
                  </a:lnTo>
                  <a:lnTo>
                    <a:pt x="450" y="356"/>
                  </a:lnTo>
                  <a:lnTo>
                    <a:pt x="450" y="353"/>
                  </a:lnTo>
                  <a:lnTo>
                    <a:pt x="449" y="354"/>
                  </a:lnTo>
                  <a:lnTo>
                    <a:pt x="448" y="355"/>
                  </a:lnTo>
                  <a:lnTo>
                    <a:pt x="446" y="355"/>
                  </a:lnTo>
                  <a:lnTo>
                    <a:pt x="446" y="352"/>
                  </a:lnTo>
                  <a:lnTo>
                    <a:pt x="445" y="352"/>
                  </a:lnTo>
                  <a:lnTo>
                    <a:pt x="444" y="352"/>
                  </a:lnTo>
                  <a:lnTo>
                    <a:pt x="443" y="348"/>
                  </a:lnTo>
                  <a:lnTo>
                    <a:pt x="443" y="347"/>
                  </a:lnTo>
                  <a:lnTo>
                    <a:pt x="443" y="349"/>
                  </a:lnTo>
                  <a:lnTo>
                    <a:pt x="439" y="349"/>
                  </a:lnTo>
                  <a:lnTo>
                    <a:pt x="439" y="348"/>
                  </a:lnTo>
                  <a:lnTo>
                    <a:pt x="440" y="347"/>
                  </a:lnTo>
                  <a:lnTo>
                    <a:pt x="440" y="345"/>
                  </a:lnTo>
                  <a:lnTo>
                    <a:pt x="437" y="343"/>
                  </a:lnTo>
                  <a:lnTo>
                    <a:pt x="434" y="341"/>
                  </a:lnTo>
                  <a:lnTo>
                    <a:pt x="433" y="343"/>
                  </a:lnTo>
                  <a:lnTo>
                    <a:pt x="434" y="344"/>
                  </a:lnTo>
                  <a:lnTo>
                    <a:pt x="436" y="348"/>
                  </a:lnTo>
                  <a:lnTo>
                    <a:pt x="437" y="350"/>
                  </a:lnTo>
                  <a:lnTo>
                    <a:pt x="434" y="355"/>
                  </a:lnTo>
                  <a:lnTo>
                    <a:pt x="433" y="356"/>
                  </a:lnTo>
                  <a:lnTo>
                    <a:pt x="433" y="359"/>
                  </a:lnTo>
                  <a:lnTo>
                    <a:pt x="432" y="361"/>
                  </a:lnTo>
                  <a:lnTo>
                    <a:pt x="432" y="362"/>
                  </a:lnTo>
                  <a:lnTo>
                    <a:pt x="433" y="365"/>
                  </a:lnTo>
                  <a:lnTo>
                    <a:pt x="434" y="365"/>
                  </a:lnTo>
                  <a:lnTo>
                    <a:pt x="436" y="362"/>
                  </a:lnTo>
                  <a:lnTo>
                    <a:pt x="437" y="361"/>
                  </a:lnTo>
                  <a:lnTo>
                    <a:pt x="439" y="362"/>
                  </a:lnTo>
                  <a:lnTo>
                    <a:pt x="439" y="365"/>
                  </a:lnTo>
                  <a:lnTo>
                    <a:pt x="442" y="365"/>
                  </a:lnTo>
                  <a:lnTo>
                    <a:pt x="444" y="366"/>
                  </a:lnTo>
                  <a:lnTo>
                    <a:pt x="445" y="367"/>
                  </a:lnTo>
                  <a:lnTo>
                    <a:pt x="446" y="366"/>
                  </a:lnTo>
                  <a:lnTo>
                    <a:pt x="448" y="365"/>
                  </a:lnTo>
                  <a:lnTo>
                    <a:pt x="450" y="364"/>
                  </a:lnTo>
                  <a:lnTo>
                    <a:pt x="452" y="365"/>
                  </a:lnTo>
                  <a:lnTo>
                    <a:pt x="449" y="365"/>
                  </a:lnTo>
                  <a:lnTo>
                    <a:pt x="448" y="367"/>
                  </a:lnTo>
                  <a:lnTo>
                    <a:pt x="448" y="368"/>
                  </a:lnTo>
                  <a:lnTo>
                    <a:pt x="449" y="368"/>
                  </a:lnTo>
                  <a:lnTo>
                    <a:pt x="452" y="368"/>
                  </a:lnTo>
                  <a:lnTo>
                    <a:pt x="454" y="368"/>
                  </a:lnTo>
                  <a:lnTo>
                    <a:pt x="455" y="367"/>
                  </a:lnTo>
                  <a:lnTo>
                    <a:pt x="456" y="367"/>
                  </a:lnTo>
                  <a:lnTo>
                    <a:pt x="458" y="367"/>
                  </a:lnTo>
                  <a:lnTo>
                    <a:pt x="458" y="366"/>
                  </a:lnTo>
                  <a:lnTo>
                    <a:pt x="460" y="367"/>
                  </a:lnTo>
                  <a:lnTo>
                    <a:pt x="460" y="370"/>
                  </a:lnTo>
                  <a:lnTo>
                    <a:pt x="457" y="373"/>
                  </a:lnTo>
                  <a:lnTo>
                    <a:pt x="458" y="374"/>
                  </a:lnTo>
                  <a:lnTo>
                    <a:pt x="460" y="376"/>
                  </a:lnTo>
                  <a:lnTo>
                    <a:pt x="458" y="380"/>
                  </a:lnTo>
                  <a:lnTo>
                    <a:pt x="457" y="384"/>
                  </a:lnTo>
                  <a:lnTo>
                    <a:pt x="456" y="385"/>
                  </a:lnTo>
                  <a:lnTo>
                    <a:pt x="456" y="388"/>
                  </a:lnTo>
                  <a:lnTo>
                    <a:pt x="455" y="389"/>
                  </a:lnTo>
                  <a:lnTo>
                    <a:pt x="457" y="390"/>
                  </a:lnTo>
                  <a:lnTo>
                    <a:pt x="456" y="395"/>
                  </a:lnTo>
                  <a:lnTo>
                    <a:pt x="456" y="396"/>
                  </a:lnTo>
                  <a:lnTo>
                    <a:pt x="454" y="396"/>
                  </a:lnTo>
                  <a:lnTo>
                    <a:pt x="454" y="397"/>
                  </a:lnTo>
                  <a:lnTo>
                    <a:pt x="454" y="400"/>
                  </a:lnTo>
                  <a:lnTo>
                    <a:pt x="452" y="400"/>
                  </a:lnTo>
                  <a:lnTo>
                    <a:pt x="452" y="398"/>
                  </a:lnTo>
                  <a:lnTo>
                    <a:pt x="452" y="401"/>
                  </a:lnTo>
                  <a:lnTo>
                    <a:pt x="454" y="402"/>
                  </a:lnTo>
                  <a:lnTo>
                    <a:pt x="455" y="402"/>
                  </a:lnTo>
                  <a:lnTo>
                    <a:pt x="455" y="400"/>
                  </a:lnTo>
                  <a:lnTo>
                    <a:pt x="455" y="398"/>
                  </a:lnTo>
                  <a:lnTo>
                    <a:pt x="456" y="398"/>
                  </a:lnTo>
                  <a:lnTo>
                    <a:pt x="457" y="402"/>
                  </a:lnTo>
                  <a:lnTo>
                    <a:pt x="457" y="404"/>
                  </a:lnTo>
                  <a:lnTo>
                    <a:pt x="458" y="406"/>
                  </a:lnTo>
                  <a:lnTo>
                    <a:pt x="460" y="407"/>
                  </a:lnTo>
                  <a:lnTo>
                    <a:pt x="461" y="408"/>
                  </a:lnTo>
                  <a:lnTo>
                    <a:pt x="461" y="409"/>
                  </a:lnTo>
                  <a:lnTo>
                    <a:pt x="461" y="410"/>
                  </a:lnTo>
                  <a:lnTo>
                    <a:pt x="462" y="410"/>
                  </a:lnTo>
                  <a:lnTo>
                    <a:pt x="462" y="412"/>
                  </a:lnTo>
                  <a:lnTo>
                    <a:pt x="463" y="412"/>
                  </a:lnTo>
                  <a:lnTo>
                    <a:pt x="464" y="412"/>
                  </a:lnTo>
                  <a:lnTo>
                    <a:pt x="466" y="413"/>
                  </a:lnTo>
                  <a:lnTo>
                    <a:pt x="468" y="415"/>
                  </a:lnTo>
                  <a:lnTo>
                    <a:pt x="466" y="415"/>
                  </a:lnTo>
                  <a:lnTo>
                    <a:pt x="464" y="415"/>
                  </a:lnTo>
                  <a:lnTo>
                    <a:pt x="463" y="414"/>
                  </a:lnTo>
                  <a:lnTo>
                    <a:pt x="463" y="415"/>
                  </a:lnTo>
                  <a:lnTo>
                    <a:pt x="466" y="418"/>
                  </a:lnTo>
                  <a:lnTo>
                    <a:pt x="468" y="419"/>
                  </a:lnTo>
                  <a:lnTo>
                    <a:pt x="468" y="421"/>
                  </a:lnTo>
                  <a:lnTo>
                    <a:pt x="466" y="420"/>
                  </a:lnTo>
                  <a:lnTo>
                    <a:pt x="463" y="418"/>
                  </a:lnTo>
                  <a:lnTo>
                    <a:pt x="463" y="419"/>
                  </a:lnTo>
                  <a:lnTo>
                    <a:pt x="461" y="419"/>
                  </a:lnTo>
                  <a:lnTo>
                    <a:pt x="461" y="420"/>
                  </a:lnTo>
                  <a:lnTo>
                    <a:pt x="458" y="422"/>
                  </a:lnTo>
                  <a:lnTo>
                    <a:pt x="456" y="424"/>
                  </a:lnTo>
                  <a:lnTo>
                    <a:pt x="455" y="425"/>
                  </a:lnTo>
                  <a:lnTo>
                    <a:pt x="455" y="421"/>
                  </a:lnTo>
                  <a:lnTo>
                    <a:pt x="455" y="420"/>
                  </a:lnTo>
                  <a:lnTo>
                    <a:pt x="456" y="418"/>
                  </a:lnTo>
                  <a:lnTo>
                    <a:pt x="457" y="415"/>
                  </a:lnTo>
                  <a:lnTo>
                    <a:pt x="456" y="414"/>
                  </a:lnTo>
                  <a:lnTo>
                    <a:pt x="455" y="416"/>
                  </a:lnTo>
                  <a:lnTo>
                    <a:pt x="454" y="416"/>
                  </a:lnTo>
                  <a:lnTo>
                    <a:pt x="452" y="413"/>
                  </a:lnTo>
                  <a:lnTo>
                    <a:pt x="451" y="412"/>
                  </a:lnTo>
                  <a:lnTo>
                    <a:pt x="451" y="415"/>
                  </a:lnTo>
                  <a:lnTo>
                    <a:pt x="449" y="415"/>
                  </a:lnTo>
                  <a:lnTo>
                    <a:pt x="449" y="418"/>
                  </a:lnTo>
                  <a:lnTo>
                    <a:pt x="450" y="420"/>
                  </a:lnTo>
                  <a:lnTo>
                    <a:pt x="448" y="418"/>
                  </a:lnTo>
                  <a:lnTo>
                    <a:pt x="449" y="420"/>
                  </a:lnTo>
                  <a:lnTo>
                    <a:pt x="450" y="421"/>
                  </a:lnTo>
                  <a:lnTo>
                    <a:pt x="448" y="420"/>
                  </a:lnTo>
                  <a:lnTo>
                    <a:pt x="448" y="421"/>
                  </a:lnTo>
                  <a:lnTo>
                    <a:pt x="446" y="422"/>
                  </a:lnTo>
                  <a:lnTo>
                    <a:pt x="445" y="425"/>
                  </a:lnTo>
                  <a:lnTo>
                    <a:pt x="444" y="426"/>
                  </a:lnTo>
                  <a:lnTo>
                    <a:pt x="443" y="428"/>
                  </a:lnTo>
                  <a:lnTo>
                    <a:pt x="442" y="427"/>
                  </a:lnTo>
                  <a:lnTo>
                    <a:pt x="442" y="425"/>
                  </a:lnTo>
                  <a:lnTo>
                    <a:pt x="440" y="427"/>
                  </a:lnTo>
                  <a:lnTo>
                    <a:pt x="440" y="428"/>
                  </a:lnTo>
                  <a:lnTo>
                    <a:pt x="439" y="426"/>
                  </a:lnTo>
                  <a:lnTo>
                    <a:pt x="438" y="426"/>
                  </a:lnTo>
                  <a:lnTo>
                    <a:pt x="438" y="428"/>
                  </a:lnTo>
                  <a:lnTo>
                    <a:pt x="438" y="431"/>
                  </a:lnTo>
                  <a:lnTo>
                    <a:pt x="437" y="430"/>
                  </a:lnTo>
                  <a:lnTo>
                    <a:pt x="436" y="431"/>
                  </a:lnTo>
                  <a:lnTo>
                    <a:pt x="434" y="432"/>
                  </a:lnTo>
                  <a:lnTo>
                    <a:pt x="433" y="432"/>
                  </a:lnTo>
                  <a:lnTo>
                    <a:pt x="432" y="433"/>
                  </a:lnTo>
                  <a:lnTo>
                    <a:pt x="431" y="432"/>
                  </a:lnTo>
                  <a:lnTo>
                    <a:pt x="431" y="433"/>
                  </a:lnTo>
                  <a:lnTo>
                    <a:pt x="429" y="433"/>
                  </a:lnTo>
                  <a:lnTo>
                    <a:pt x="429" y="431"/>
                  </a:lnTo>
                  <a:lnTo>
                    <a:pt x="428" y="428"/>
                  </a:lnTo>
                  <a:lnTo>
                    <a:pt x="428" y="426"/>
                  </a:lnTo>
                  <a:lnTo>
                    <a:pt x="427" y="426"/>
                  </a:lnTo>
                  <a:lnTo>
                    <a:pt x="427" y="428"/>
                  </a:lnTo>
                  <a:lnTo>
                    <a:pt x="426" y="431"/>
                  </a:lnTo>
                  <a:lnTo>
                    <a:pt x="426" y="433"/>
                  </a:lnTo>
                  <a:lnTo>
                    <a:pt x="428" y="436"/>
                  </a:lnTo>
                  <a:lnTo>
                    <a:pt x="428" y="439"/>
                  </a:lnTo>
                  <a:lnTo>
                    <a:pt x="429" y="440"/>
                  </a:lnTo>
                  <a:lnTo>
                    <a:pt x="428" y="440"/>
                  </a:lnTo>
                  <a:lnTo>
                    <a:pt x="426" y="438"/>
                  </a:lnTo>
                  <a:lnTo>
                    <a:pt x="425" y="438"/>
                  </a:lnTo>
                  <a:lnTo>
                    <a:pt x="423" y="439"/>
                  </a:lnTo>
                  <a:lnTo>
                    <a:pt x="425" y="442"/>
                  </a:lnTo>
                  <a:lnTo>
                    <a:pt x="423" y="444"/>
                  </a:lnTo>
                  <a:lnTo>
                    <a:pt x="423" y="445"/>
                  </a:lnTo>
                  <a:lnTo>
                    <a:pt x="422" y="444"/>
                  </a:lnTo>
                  <a:lnTo>
                    <a:pt x="421" y="445"/>
                  </a:lnTo>
                  <a:lnTo>
                    <a:pt x="419" y="448"/>
                  </a:lnTo>
                  <a:lnTo>
                    <a:pt x="419" y="451"/>
                  </a:lnTo>
                  <a:lnTo>
                    <a:pt x="420" y="455"/>
                  </a:lnTo>
                  <a:lnTo>
                    <a:pt x="422" y="458"/>
                  </a:lnTo>
                  <a:lnTo>
                    <a:pt x="421" y="460"/>
                  </a:lnTo>
                  <a:lnTo>
                    <a:pt x="420" y="461"/>
                  </a:lnTo>
                  <a:lnTo>
                    <a:pt x="419" y="463"/>
                  </a:lnTo>
                  <a:lnTo>
                    <a:pt x="417" y="467"/>
                  </a:lnTo>
                  <a:lnTo>
                    <a:pt x="415" y="469"/>
                  </a:lnTo>
                  <a:lnTo>
                    <a:pt x="414" y="472"/>
                  </a:lnTo>
                  <a:lnTo>
                    <a:pt x="414" y="468"/>
                  </a:lnTo>
                  <a:lnTo>
                    <a:pt x="413" y="466"/>
                  </a:lnTo>
                  <a:lnTo>
                    <a:pt x="411" y="463"/>
                  </a:lnTo>
                  <a:lnTo>
                    <a:pt x="410" y="463"/>
                  </a:lnTo>
                  <a:lnTo>
                    <a:pt x="408" y="465"/>
                  </a:lnTo>
                  <a:lnTo>
                    <a:pt x="409" y="462"/>
                  </a:lnTo>
                  <a:lnTo>
                    <a:pt x="408" y="462"/>
                  </a:lnTo>
                  <a:lnTo>
                    <a:pt x="407" y="465"/>
                  </a:lnTo>
                  <a:lnTo>
                    <a:pt x="405" y="467"/>
                  </a:lnTo>
                  <a:lnTo>
                    <a:pt x="405" y="463"/>
                  </a:lnTo>
                  <a:lnTo>
                    <a:pt x="404" y="461"/>
                  </a:lnTo>
                  <a:lnTo>
                    <a:pt x="405" y="458"/>
                  </a:lnTo>
                  <a:lnTo>
                    <a:pt x="407" y="458"/>
                  </a:lnTo>
                  <a:lnTo>
                    <a:pt x="408" y="460"/>
                  </a:lnTo>
                  <a:lnTo>
                    <a:pt x="409" y="458"/>
                  </a:lnTo>
                  <a:lnTo>
                    <a:pt x="410" y="455"/>
                  </a:lnTo>
                  <a:lnTo>
                    <a:pt x="410" y="451"/>
                  </a:lnTo>
                  <a:lnTo>
                    <a:pt x="411" y="449"/>
                  </a:lnTo>
                  <a:lnTo>
                    <a:pt x="409" y="449"/>
                  </a:lnTo>
                  <a:lnTo>
                    <a:pt x="407" y="448"/>
                  </a:lnTo>
                  <a:lnTo>
                    <a:pt x="405" y="450"/>
                  </a:lnTo>
                  <a:lnTo>
                    <a:pt x="405" y="448"/>
                  </a:lnTo>
                  <a:lnTo>
                    <a:pt x="407" y="446"/>
                  </a:lnTo>
                  <a:lnTo>
                    <a:pt x="404" y="449"/>
                  </a:lnTo>
                  <a:lnTo>
                    <a:pt x="402" y="450"/>
                  </a:lnTo>
                  <a:lnTo>
                    <a:pt x="401" y="454"/>
                  </a:lnTo>
                  <a:lnTo>
                    <a:pt x="398" y="455"/>
                  </a:lnTo>
                  <a:lnTo>
                    <a:pt x="396" y="455"/>
                  </a:lnTo>
                  <a:lnTo>
                    <a:pt x="396" y="454"/>
                  </a:lnTo>
                  <a:lnTo>
                    <a:pt x="396" y="452"/>
                  </a:lnTo>
                  <a:lnTo>
                    <a:pt x="393" y="455"/>
                  </a:lnTo>
                  <a:lnTo>
                    <a:pt x="393" y="456"/>
                  </a:lnTo>
                  <a:lnTo>
                    <a:pt x="393" y="458"/>
                  </a:lnTo>
                  <a:lnTo>
                    <a:pt x="393" y="460"/>
                  </a:lnTo>
                  <a:lnTo>
                    <a:pt x="392" y="462"/>
                  </a:lnTo>
                  <a:lnTo>
                    <a:pt x="391" y="463"/>
                  </a:lnTo>
                  <a:lnTo>
                    <a:pt x="390" y="466"/>
                  </a:lnTo>
                  <a:lnTo>
                    <a:pt x="389" y="467"/>
                  </a:lnTo>
                  <a:lnTo>
                    <a:pt x="387" y="469"/>
                  </a:lnTo>
                  <a:lnTo>
                    <a:pt x="386" y="471"/>
                  </a:lnTo>
                  <a:lnTo>
                    <a:pt x="385" y="473"/>
                  </a:lnTo>
                  <a:lnTo>
                    <a:pt x="385" y="474"/>
                  </a:lnTo>
                  <a:lnTo>
                    <a:pt x="384" y="472"/>
                  </a:lnTo>
                  <a:lnTo>
                    <a:pt x="384" y="473"/>
                  </a:lnTo>
                  <a:lnTo>
                    <a:pt x="381" y="473"/>
                  </a:lnTo>
                  <a:lnTo>
                    <a:pt x="379" y="473"/>
                  </a:lnTo>
                  <a:lnTo>
                    <a:pt x="379" y="472"/>
                  </a:lnTo>
                  <a:lnTo>
                    <a:pt x="381" y="469"/>
                  </a:lnTo>
                  <a:lnTo>
                    <a:pt x="380" y="467"/>
                  </a:lnTo>
                  <a:lnTo>
                    <a:pt x="379" y="467"/>
                  </a:lnTo>
                  <a:lnTo>
                    <a:pt x="381" y="466"/>
                  </a:lnTo>
                  <a:lnTo>
                    <a:pt x="380" y="466"/>
                  </a:lnTo>
                  <a:lnTo>
                    <a:pt x="381" y="465"/>
                  </a:lnTo>
                  <a:lnTo>
                    <a:pt x="383" y="462"/>
                  </a:lnTo>
                  <a:lnTo>
                    <a:pt x="381" y="463"/>
                  </a:lnTo>
                  <a:lnTo>
                    <a:pt x="381" y="461"/>
                  </a:lnTo>
                  <a:lnTo>
                    <a:pt x="383" y="458"/>
                  </a:lnTo>
                  <a:lnTo>
                    <a:pt x="381" y="456"/>
                  </a:lnTo>
                  <a:lnTo>
                    <a:pt x="381" y="449"/>
                  </a:lnTo>
                  <a:lnTo>
                    <a:pt x="383" y="438"/>
                  </a:lnTo>
                  <a:lnTo>
                    <a:pt x="381" y="428"/>
                  </a:lnTo>
                  <a:lnTo>
                    <a:pt x="379" y="432"/>
                  </a:lnTo>
                  <a:lnTo>
                    <a:pt x="378" y="438"/>
                  </a:lnTo>
                  <a:lnTo>
                    <a:pt x="379" y="439"/>
                  </a:lnTo>
                  <a:lnTo>
                    <a:pt x="377" y="438"/>
                  </a:lnTo>
                  <a:lnTo>
                    <a:pt x="370" y="439"/>
                  </a:lnTo>
                  <a:lnTo>
                    <a:pt x="377" y="438"/>
                  </a:lnTo>
                  <a:lnTo>
                    <a:pt x="380" y="430"/>
                  </a:lnTo>
                  <a:lnTo>
                    <a:pt x="378" y="430"/>
                  </a:lnTo>
                  <a:lnTo>
                    <a:pt x="374" y="430"/>
                  </a:lnTo>
                  <a:lnTo>
                    <a:pt x="373" y="430"/>
                  </a:lnTo>
                  <a:lnTo>
                    <a:pt x="370" y="431"/>
                  </a:lnTo>
                  <a:lnTo>
                    <a:pt x="369" y="431"/>
                  </a:lnTo>
                  <a:lnTo>
                    <a:pt x="367" y="430"/>
                  </a:lnTo>
                  <a:lnTo>
                    <a:pt x="366" y="427"/>
                  </a:lnTo>
                  <a:lnTo>
                    <a:pt x="367" y="425"/>
                  </a:lnTo>
                  <a:lnTo>
                    <a:pt x="364" y="426"/>
                  </a:lnTo>
                  <a:lnTo>
                    <a:pt x="362" y="427"/>
                  </a:lnTo>
                  <a:lnTo>
                    <a:pt x="361" y="426"/>
                  </a:lnTo>
                  <a:lnTo>
                    <a:pt x="357" y="427"/>
                  </a:lnTo>
                  <a:lnTo>
                    <a:pt x="358" y="431"/>
                  </a:lnTo>
                  <a:lnTo>
                    <a:pt x="358" y="433"/>
                  </a:lnTo>
                  <a:lnTo>
                    <a:pt x="360" y="434"/>
                  </a:lnTo>
                  <a:lnTo>
                    <a:pt x="360" y="436"/>
                  </a:lnTo>
                  <a:lnTo>
                    <a:pt x="358" y="437"/>
                  </a:lnTo>
                  <a:lnTo>
                    <a:pt x="358" y="439"/>
                  </a:lnTo>
                  <a:lnTo>
                    <a:pt x="360" y="442"/>
                  </a:lnTo>
                  <a:lnTo>
                    <a:pt x="361" y="445"/>
                  </a:lnTo>
                  <a:lnTo>
                    <a:pt x="358" y="440"/>
                  </a:lnTo>
                  <a:lnTo>
                    <a:pt x="357" y="442"/>
                  </a:lnTo>
                  <a:lnTo>
                    <a:pt x="356" y="443"/>
                  </a:lnTo>
                  <a:lnTo>
                    <a:pt x="357" y="448"/>
                  </a:lnTo>
                  <a:lnTo>
                    <a:pt x="355" y="451"/>
                  </a:lnTo>
                  <a:lnTo>
                    <a:pt x="352" y="454"/>
                  </a:lnTo>
                  <a:lnTo>
                    <a:pt x="355" y="449"/>
                  </a:lnTo>
                  <a:lnTo>
                    <a:pt x="355" y="446"/>
                  </a:lnTo>
                  <a:lnTo>
                    <a:pt x="355" y="444"/>
                  </a:lnTo>
                  <a:lnTo>
                    <a:pt x="352" y="444"/>
                  </a:lnTo>
                  <a:lnTo>
                    <a:pt x="352" y="446"/>
                  </a:lnTo>
                  <a:lnTo>
                    <a:pt x="352" y="448"/>
                  </a:lnTo>
                  <a:lnTo>
                    <a:pt x="351" y="450"/>
                  </a:lnTo>
                  <a:lnTo>
                    <a:pt x="351" y="448"/>
                  </a:lnTo>
                  <a:lnTo>
                    <a:pt x="350" y="448"/>
                  </a:lnTo>
                  <a:lnTo>
                    <a:pt x="350" y="450"/>
                  </a:lnTo>
                  <a:lnTo>
                    <a:pt x="350" y="454"/>
                  </a:lnTo>
                  <a:lnTo>
                    <a:pt x="351" y="455"/>
                  </a:lnTo>
                  <a:lnTo>
                    <a:pt x="349" y="460"/>
                  </a:lnTo>
                  <a:lnTo>
                    <a:pt x="346" y="461"/>
                  </a:lnTo>
                  <a:lnTo>
                    <a:pt x="349" y="456"/>
                  </a:lnTo>
                  <a:lnTo>
                    <a:pt x="349" y="454"/>
                  </a:lnTo>
                  <a:lnTo>
                    <a:pt x="349" y="448"/>
                  </a:lnTo>
                  <a:lnTo>
                    <a:pt x="349" y="450"/>
                  </a:lnTo>
                  <a:lnTo>
                    <a:pt x="348" y="452"/>
                  </a:lnTo>
                  <a:lnTo>
                    <a:pt x="346" y="456"/>
                  </a:lnTo>
                  <a:lnTo>
                    <a:pt x="345" y="457"/>
                  </a:lnTo>
                  <a:lnTo>
                    <a:pt x="344" y="458"/>
                  </a:lnTo>
                  <a:lnTo>
                    <a:pt x="343" y="460"/>
                  </a:lnTo>
                  <a:lnTo>
                    <a:pt x="342" y="458"/>
                  </a:lnTo>
                  <a:lnTo>
                    <a:pt x="340" y="457"/>
                  </a:lnTo>
                  <a:lnTo>
                    <a:pt x="340" y="458"/>
                  </a:lnTo>
                  <a:lnTo>
                    <a:pt x="338" y="460"/>
                  </a:lnTo>
                  <a:lnTo>
                    <a:pt x="336" y="462"/>
                  </a:lnTo>
                  <a:lnTo>
                    <a:pt x="334" y="461"/>
                  </a:lnTo>
                  <a:lnTo>
                    <a:pt x="333" y="457"/>
                  </a:lnTo>
                  <a:lnTo>
                    <a:pt x="333" y="455"/>
                  </a:lnTo>
                  <a:lnTo>
                    <a:pt x="336" y="454"/>
                  </a:lnTo>
                  <a:lnTo>
                    <a:pt x="337" y="454"/>
                  </a:lnTo>
                  <a:lnTo>
                    <a:pt x="337" y="451"/>
                  </a:lnTo>
                  <a:lnTo>
                    <a:pt x="336" y="450"/>
                  </a:lnTo>
                  <a:lnTo>
                    <a:pt x="337" y="449"/>
                  </a:lnTo>
                  <a:lnTo>
                    <a:pt x="338" y="446"/>
                  </a:lnTo>
                  <a:lnTo>
                    <a:pt x="337" y="446"/>
                  </a:lnTo>
                  <a:lnTo>
                    <a:pt x="334" y="449"/>
                  </a:lnTo>
                  <a:lnTo>
                    <a:pt x="333" y="452"/>
                  </a:lnTo>
                  <a:lnTo>
                    <a:pt x="332" y="455"/>
                  </a:lnTo>
                  <a:lnTo>
                    <a:pt x="332" y="458"/>
                  </a:lnTo>
                  <a:lnTo>
                    <a:pt x="332" y="457"/>
                  </a:lnTo>
                  <a:lnTo>
                    <a:pt x="330" y="460"/>
                  </a:lnTo>
                  <a:lnTo>
                    <a:pt x="328" y="460"/>
                  </a:lnTo>
                  <a:lnTo>
                    <a:pt x="328" y="457"/>
                  </a:lnTo>
                  <a:lnTo>
                    <a:pt x="327" y="454"/>
                  </a:lnTo>
                  <a:lnTo>
                    <a:pt x="326" y="451"/>
                  </a:lnTo>
                  <a:lnTo>
                    <a:pt x="324" y="452"/>
                  </a:lnTo>
                  <a:lnTo>
                    <a:pt x="322" y="452"/>
                  </a:lnTo>
                  <a:lnTo>
                    <a:pt x="320" y="456"/>
                  </a:lnTo>
                  <a:lnTo>
                    <a:pt x="318" y="456"/>
                  </a:lnTo>
                  <a:lnTo>
                    <a:pt x="319" y="454"/>
                  </a:lnTo>
                  <a:lnTo>
                    <a:pt x="319" y="451"/>
                  </a:lnTo>
                  <a:lnTo>
                    <a:pt x="316" y="451"/>
                  </a:lnTo>
                  <a:lnTo>
                    <a:pt x="318" y="452"/>
                  </a:lnTo>
                  <a:lnTo>
                    <a:pt x="315" y="456"/>
                  </a:lnTo>
                  <a:lnTo>
                    <a:pt x="313" y="457"/>
                  </a:lnTo>
                  <a:lnTo>
                    <a:pt x="310" y="458"/>
                  </a:lnTo>
                  <a:lnTo>
                    <a:pt x="313" y="455"/>
                  </a:lnTo>
                  <a:lnTo>
                    <a:pt x="314" y="452"/>
                  </a:lnTo>
                  <a:lnTo>
                    <a:pt x="314" y="450"/>
                  </a:lnTo>
                  <a:lnTo>
                    <a:pt x="316" y="448"/>
                  </a:lnTo>
                  <a:lnTo>
                    <a:pt x="315" y="446"/>
                  </a:lnTo>
                  <a:lnTo>
                    <a:pt x="314" y="448"/>
                  </a:lnTo>
                  <a:lnTo>
                    <a:pt x="314" y="446"/>
                  </a:lnTo>
                  <a:lnTo>
                    <a:pt x="311" y="446"/>
                  </a:lnTo>
                  <a:lnTo>
                    <a:pt x="311" y="444"/>
                  </a:lnTo>
                  <a:lnTo>
                    <a:pt x="309" y="444"/>
                  </a:lnTo>
                  <a:lnTo>
                    <a:pt x="308" y="445"/>
                  </a:lnTo>
                  <a:lnTo>
                    <a:pt x="309" y="443"/>
                  </a:lnTo>
                  <a:lnTo>
                    <a:pt x="307" y="443"/>
                  </a:lnTo>
                  <a:lnTo>
                    <a:pt x="305" y="444"/>
                  </a:lnTo>
                  <a:lnTo>
                    <a:pt x="305" y="442"/>
                  </a:lnTo>
                  <a:lnTo>
                    <a:pt x="304" y="442"/>
                  </a:lnTo>
                  <a:lnTo>
                    <a:pt x="303" y="439"/>
                  </a:lnTo>
                  <a:lnTo>
                    <a:pt x="303" y="438"/>
                  </a:lnTo>
                  <a:lnTo>
                    <a:pt x="304" y="437"/>
                  </a:lnTo>
                  <a:lnTo>
                    <a:pt x="301" y="439"/>
                  </a:lnTo>
                  <a:lnTo>
                    <a:pt x="298" y="440"/>
                  </a:lnTo>
                  <a:lnTo>
                    <a:pt x="299" y="438"/>
                  </a:lnTo>
                  <a:lnTo>
                    <a:pt x="302" y="437"/>
                  </a:lnTo>
                  <a:lnTo>
                    <a:pt x="304" y="436"/>
                  </a:lnTo>
                  <a:lnTo>
                    <a:pt x="305" y="434"/>
                  </a:lnTo>
                  <a:lnTo>
                    <a:pt x="304" y="434"/>
                  </a:lnTo>
                  <a:lnTo>
                    <a:pt x="302" y="434"/>
                  </a:lnTo>
                  <a:lnTo>
                    <a:pt x="301" y="433"/>
                  </a:lnTo>
                  <a:lnTo>
                    <a:pt x="301" y="434"/>
                  </a:lnTo>
                  <a:lnTo>
                    <a:pt x="299" y="434"/>
                  </a:lnTo>
                  <a:lnTo>
                    <a:pt x="297" y="434"/>
                  </a:lnTo>
                  <a:lnTo>
                    <a:pt x="297" y="436"/>
                  </a:lnTo>
                  <a:lnTo>
                    <a:pt x="295" y="434"/>
                  </a:lnTo>
                  <a:lnTo>
                    <a:pt x="293" y="431"/>
                  </a:lnTo>
                  <a:lnTo>
                    <a:pt x="293" y="428"/>
                  </a:lnTo>
                  <a:lnTo>
                    <a:pt x="293" y="426"/>
                  </a:lnTo>
                  <a:lnTo>
                    <a:pt x="296" y="425"/>
                  </a:lnTo>
                  <a:lnTo>
                    <a:pt x="297" y="425"/>
                  </a:lnTo>
                  <a:lnTo>
                    <a:pt x="298" y="424"/>
                  </a:lnTo>
                  <a:lnTo>
                    <a:pt x="297" y="421"/>
                  </a:lnTo>
                  <a:lnTo>
                    <a:pt x="297" y="419"/>
                  </a:lnTo>
                  <a:lnTo>
                    <a:pt x="295" y="420"/>
                  </a:lnTo>
                  <a:lnTo>
                    <a:pt x="293" y="421"/>
                  </a:lnTo>
                  <a:lnTo>
                    <a:pt x="293" y="419"/>
                  </a:lnTo>
                  <a:lnTo>
                    <a:pt x="292" y="421"/>
                  </a:lnTo>
                  <a:lnTo>
                    <a:pt x="291" y="424"/>
                  </a:lnTo>
                  <a:lnTo>
                    <a:pt x="290" y="422"/>
                  </a:lnTo>
                  <a:lnTo>
                    <a:pt x="290" y="425"/>
                  </a:lnTo>
                  <a:lnTo>
                    <a:pt x="287" y="426"/>
                  </a:lnTo>
                  <a:lnTo>
                    <a:pt x="285" y="428"/>
                  </a:lnTo>
                  <a:lnTo>
                    <a:pt x="285" y="426"/>
                  </a:lnTo>
                  <a:lnTo>
                    <a:pt x="286" y="425"/>
                  </a:lnTo>
                  <a:lnTo>
                    <a:pt x="284" y="426"/>
                  </a:lnTo>
                  <a:lnTo>
                    <a:pt x="284" y="425"/>
                  </a:lnTo>
                  <a:lnTo>
                    <a:pt x="283" y="425"/>
                  </a:lnTo>
                  <a:lnTo>
                    <a:pt x="281" y="424"/>
                  </a:lnTo>
                  <a:lnTo>
                    <a:pt x="280" y="424"/>
                  </a:lnTo>
                  <a:lnTo>
                    <a:pt x="278" y="425"/>
                  </a:lnTo>
                  <a:lnTo>
                    <a:pt x="277" y="424"/>
                  </a:lnTo>
                  <a:lnTo>
                    <a:pt x="279" y="422"/>
                  </a:lnTo>
                  <a:lnTo>
                    <a:pt x="278" y="422"/>
                  </a:lnTo>
                  <a:lnTo>
                    <a:pt x="279" y="421"/>
                  </a:lnTo>
                  <a:lnTo>
                    <a:pt x="280" y="421"/>
                  </a:lnTo>
                  <a:lnTo>
                    <a:pt x="281" y="422"/>
                  </a:lnTo>
                  <a:lnTo>
                    <a:pt x="283" y="420"/>
                  </a:lnTo>
                  <a:lnTo>
                    <a:pt x="281" y="419"/>
                  </a:lnTo>
                  <a:lnTo>
                    <a:pt x="279" y="419"/>
                  </a:lnTo>
                  <a:lnTo>
                    <a:pt x="278" y="418"/>
                  </a:lnTo>
                  <a:lnTo>
                    <a:pt x="277" y="419"/>
                  </a:lnTo>
                  <a:lnTo>
                    <a:pt x="275" y="419"/>
                  </a:lnTo>
                  <a:lnTo>
                    <a:pt x="274" y="419"/>
                  </a:lnTo>
                  <a:lnTo>
                    <a:pt x="274" y="418"/>
                  </a:lnTo>
                  <a:lnTo>
                    <a:pt x="274" y="416"/>
                  </a:lnTo>
                  <a:lnTo>
                    <a:pt x="275" y="415"/>
                  </a:lnTo>
                  <a:lnTo>
                    <a:pt x="278" y="414"/>
                  </a:lnTo>
                  <a:lnTo>
                    <a:pt x="280" y="413"/>
                  </a:lnTo>
                  <a:lnTo>
                    <a:pt x="279" y="413"/>
                  </a:lnTo>
                  <a:lnTo>
                    <a:pt x="278" y="413"/>
                  </a:lnTo>
                  <a:lnTo>
                    <a:pt x="277" y="413"/>
                  </a:lnTo>
                  <a:lnTo>
                    <a:pt x="274" y="415"/>
                  </a:lnTo>
                  <a:lnTo>
                    <a:pt x="272" y="416"/>
                  </a:lnTo>
                  <a:lnTo>
                    <a:pt x="274" y="426"/>
                  </a:lnTo>
                  <a:lnTo>
                    <a:pt x="279" y="439"/>
                  </a:lnTo>
                  <a:lnTo>
                    <a:pt x="278" y="448"/>
                  </a:lnTo>
                  <a:lnTo>
                    <a:pt x="279" y="457"/>
                  </a:lnTo>
                  <a:lnTo>
                    <a:pt x="286" y="473"/>
                  </a:lnTo>
                  <a:lnTo>
                    <a:pt x="291" y="483"/>
                  </a:lnTo>
                  <a:lnTo>
                    <a:pt x="291" y="490"/>
                  </a:lnTo>
                  <a:lnTo>
                    <a:pt x="286" y="498"/>
                  </a:lnTo>
                  <a:lnTo>
                    <a:pt x="280" y="511"/>
                  </a:lnTo>
                  <a:lnTo>
                    <a:pt x="275" y="533"/>
                  </a:lnTo>
                  <a:lnTo>
                    <a:pt x="273" y="553"/>
                  </a:lnTo>
                  <a:lnTo>
                    <a:pt x="271" y="574"/>
                  </a:lnTo>
                  <a:lnTo>
                    <a:pt x="269" y="603"/>
                  </a:lnTo>
                  <a:lnTo>
                    <a:pt x="271" y="630"/>
                  </a:lnTo>
                  <a:lnTo>
                    <a:pt x="272" y="64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9" name="Freeform 72"/>
            <p:cNvSpPr>
              <a:spLocks/>
            </p:cNvSpPr>
            <p:nvPr userDrawn="1"/>
          </p:nvSpPr>
          <p:spPr bwMode="auto">
            <a:xfrm>
              <a:off x="8397875" y="6397626"/>
              <a:ext cx="176213" cy="188913"/>
            </a:xfrm>
            <a:custGeom>
              <a:avLst/>
              <a:gdLst/>
              <a:ahLst/>
              <a:cxnLst>
                <a:cxn ang="0">
                  <a:pos x="71" y="263"/>
                </a:cxn>
                <a:cxn ang="0">
                  <a:pos x="95" y="226"/>
                </a:cxn>
                <a:cxn ang="0">
                  <a:pos x="156" y="203"/>
                </a:cxn>
                <a:cxn ang="0">
                  <a:pos x="154" y="199"/>
                </a:cxn>
                <a:cxn ang="0">
                  <a:pos x="116" y="196"/>
                </a:cxn>
                <a:cxn ang="0">
                  <a:pos x="102" y="173"/>
                </a:cxn>
                <a:cxn ang="0">
                  <a:pos x="120" y="145"/>
                </a:cxn>
                <a:cxn ang="0">
                  <a:pos x="129" y="131"/>
                </a:cxn>
                <a:cxn ang="0">
                  <a:pos x="132" y="88"/>
                </a:cxn>
                <a:cxn ang="0">
                  <a:pos x="167" y="86"/>
                </a:cxn>
                <a:cxn ang="0">
                  <a:pos x="200" y="98"/>
                </a:cxn>
                <a:cxn ang="0">
                  <a:pos x="222" y="101"/>
                </a:cxn>
                <a:cxn ang="0">
                  <a:pos x="248" y="121"/>
                </a:cxn>
                <a:cxn ang="0">
                  <a:pos x="266" y="139"/>
                </a:cxn>
                <a:cxn ang="0">
                  <a:pos x="273" y="125"/>
                </a:cxn>
                <a:cxn ang="0">
                  <a:pos x="252" y="108"/>
                </a:cxn>
                <a:cxn ang="0">
                  <a:pos x="230" y="98"/>
                </a:cxn>
                <a:cxn ang="0">
                  <a:pos x="199" y="74"/>
                </a:cxn>
                <a:cxn ang="0">
                  <a:pos x="206" y="43"/>
                </a:cxn>
                <a:cxn ang="0">
                  <a:pos x="217" y="19"/>
                </a:cxn>
                <a:cxn ang="0">
                  <a:pos x="241" y="13"/>
                </a:cxn>
                <a:cxn ang="0">
                  <a:pos x="271" y="17"/>
                </a:cxn>
                <a:cxn ang="0">
                  <a:pos x="300" y="7"/>
                </a:cxn>
                <a:cxn ang="0">
                  <a:pos x="320" y="8"/>
                </a:cxn>
                <a:cxn ang="0">
                  <a:pos x="336" y="32"/>
                </a:cxn>
                <a:cxn ang="0">
                  <a:pos x="355" y="35"/>
                </a:cxn>
                <a:cxn ang="0">
                  <a:pos x="386" y="43"/>
                </a:cxn>
                <a:cxn ang="0">
                  <a:pos x="402" y="66"/>
                </a:cxn>
                <a:cxn ang="0">
                  <a:pos x="380" y="83"/>
                </a:cxn>
                <a:cxn ang="0">
                  <a:pos x="426" y="108"/>
                </a:cxn>
                <a:cxn ang="0">
                  <a:pos x="459" y="143"/>
                </a:cxn>
                <a:cxn ang="0">
                  <a:pos x="467" y="160"/>
                </a:cxn>
                <a:cxn ang="0">
                  <a:pos x="477" y="193"/>
                </a:cxn>
                <a:cxn ang="0">
                  <a:pos x="495" y="235"/>
                </a:cxn>
                <a:cxn ang="0">
                  <a:pos x="488" y="268"/>
                </a:cxn>
                <a:cxn ang="0">
                  <a:pos x="504" y="312"/>
                </a:cxn>
                <a:cxn ang="0">
                  <a:pos x="456" y="291"/>
                </a:cxn>
                <a:cxn ang="0">
                  <a:pos x="445" y="304"/>
                </a:cxn>
                <a:cxn ang="0">
                  <a:pos x="520" y="358"/>
                </a:cxn>
                <a:cxn ang="0">
                  <a:pos x="536" y="416"/>
                </a:cxn>
                <a:cxn ang="0">
                  <a:pos x="503" y="428"/>
                </a:cxn>
                <a:cxn ang="0">
                  <a:pos x="473" y="461"/>
                </a:cxn>
                <a:cxn ang="0">
                  <a:pos x="439" y="440"/>
                </a:cxn>
                <a:cxn ang="0">
                  <a:pos x="396" y="419"/>
                </a:cxn>
                <a:cxn ang="0">
                  <a:pos x="427" y="454"/>
                </a:cxn>
                <a:cxn ang="0">
                  <a:pos x="426" y="487"/>
                </a:cxn>
                <a:cxn ang="0">
                  <a:pos x="400" y="465"/>
                </a:cxn>
                <a:cxn ang="0">
                  <a:pos x="329" y="484"/>
                </a:cxn>
                <a:cxn ang="0">
                  <a:pos x="225" y="502"/>
                </a:cxn>
                <a:cxn ang="0">
                  <a:pos x="128" y="501"/>
                </a:cxn>
                <a:cxn ang="0">
                  <a:pos x="187" y="487"/>
                </a:cxn>
                <a:cxn ang="0">
                  <a:pos x="237" y="451"/>
                </a:cxn>
                <a:cxn ang="0">
                  <a:pos x="176" y="449"/>
                </a:cxn>
                <a:cxn ang="0">
                  <a:pos x="137" y="473"/>
                </a:cxn>
                <a:cxn ang="0">
                  <a:pos x="82" y="440"/>
                </a:cxn>
                <a:cxn ang="0">
                  <a:pos x="118" y="407"/>
                </a:cxn>
                <a:cxn ang="0">
                  <a:pos x="184" y="376"/>
                </a:cxn>
                <a:cxn ang="0">
                  <a:pos x="138" y="373"/>
                </a:cxn>
                <a:cxn ang="0">
                  <a:pos x="167" y="332"/>
                </a:cxn>
                <a:cxn ang="0">
                  <a:pos x="113" y="363"/>
                </a:cxn>
                <a:cxn ang="0">
                  <a:pos x="48" y="379"/>
                </a:cxn>
                <a:cxn ang="0">
                  <a:pos x="101" y="315"/>
                </a:cxn>
                <a:cxn ang="0">
                  <a:pos x="22" y="300"/>
                </a:cxn>
              </a:cxnLst>
              <a:rect l="0" t="0" r="r" b="b"/>
              <a:pathLst>
                <a:path w="556" h="597">
                  <a:moveTo>
                    <a:pt x="5" y="282"/>
                  </a:moveTo>
                  <a:lnTo>
                    <a:pt x="4" y="281"/>
                  </a:lnTo>
                  <a:lnTo>
                    <a:pt x="6" y="281"/>
                  </a:lnTo>
                  <a:lnTo>
                    <a:pt x="8" y="281"/>
                  </a:lnTo>
                  <a:lnTo>
                    <a:pt x="8" y="282"/>
                  </a:lnTo>
                  <a:lnTo>
                    <a:pt x="10" y="282"/>
                  </a:lnTo>
                  <a:lnTo>
                    <a:pt x="10" y="280"/>
                  </a:lnTo>
                  <a:lnTo>
                    <a:pt x="12" y="280"/>
                  </a:lnTo>
                  <a:lnTo>
                    <a:pt x="12" y="282"/>
                  </a:lnTo>
                  <a:lnTo>
                    <a:pt x="13" y="282"/>
                  </a:lnTo>
                  <a:lnTo>
                    <a:pt x="16" y="284"/>
                  </a:lnTo>
                  <a:lnTo>
                    <a:pt x="13" y="282"/>
                  </a:lnTo>
                  <a:lnTo>
                    <a:pt x="13" y="281"/>
                  </a:lnTo>
                  <a:lnTo>
                    <a:pt x="12" y="278"/>
                  </a:lnTo>
                  <a:lnTo>
                    <a:pt x="13" y="278"/>
                  </a:lnTo>
                  <a:lnTo>
                    <a:pt x="16" y="278"/>
                  </a:lnTo>
                  <a:lnTo>
                    <a:pt x="17" y="279"/>
                  </a:lnTo>
                  <a:lnTo>
                    <a:pt x="17" y="280"/>
                  </a:lnTo>
                  <a:lnTo>
                    <a:pt x="18" y="281"/>
                  </a:lnTo>
                  <a:lnTo>
                    <a:pt x="20" y="282"/>
                  </a:lnTo>
                  <a:lnTo>
                    <a:pt x="20" y="284"/>
                  </a:lnTo>
                  <a:lnTo>
                    <a:pt x="23" y="284"/>
                  </a:lnTo>
                  <a:lnTo>
                    <a:pt x="23" y="281"/>
                  </a:lnTo>
                  <a:lnTo>
                    <a:pt x="24" y="279"/>
                  </a:lnTo>
                  <a:lnTo>
                    <a:pt x="25" y="280"/>
                  </a:lnTo>
                  <a:lnTo>
                    <a:pt x="26" y="281"/>
                  </a:lnTo>
                  <a:lnTo>
                    <a:pt x="29" y="281"/>
                  </a:lnTo>
                  <a:lnTo>
                    <a:pt x="26" y="279"/>
                  </a:lnTo>
                  <a:lnTo>
                    <a:pt x="26" y="276"/>
                  </a:lnTo>
                  <a:lnTo>
                    <a:pt x="25" y="275"/>
                  </a:lnTo>
                  <a:lnTo>
                    <a:pt x="24" y="273"/>
                  </a:lnTo>
                  <a:lnTo>
                    <a:pt x="25" y="270"/>
                  </a:lnTo>
                  <a:lnTo>
                    <a:pt x="26" y="272"/>
                  </a:lnTo>
                  <a:lnTo>
                    <a:pt x="28" y="272"/>
                  </a:lnTo>
                  <a:lnTo>
                    <a:pt x="29" y="273"/>
                  </a:lnTo>
                  <a:lnTo>
                    <a:pt x="30" y="274"/>
                  </a:lnTo>
                  <a:lnTo>
                    <a:pt x="31" y="275"/>
                  </a:lnTo>
                  <a:lnTo>
                    <a:pt x="32" y="275"/>
                  </a:lnTo>
                  <a:lnTo>
                    <a:pt x="34" y="278"/>
                  </a:lnTo>
                  <a:lnTo>
                    <a:pt x="32" y="276"/>
                  </a:lnTo>
                  <a:lnTo>
                    <a:pt x="32" y="274"/>
                  </a:lnTo>
                  <a:lnTo>
                    <a:pt x="35" y="274"/>
                  </a:lnTo>
                  <a:lnTo>
                    <a:pt x="37" y="274"/>
                  </a:lnTo>
                  <a:lnTo>
                    <a:pt x="36" y="273"/>
                  </a:lnTo>
                  <a:lnTo>
                    <a:pt x="37" y="270"/>
                  </a:lnTo>
                  <a:lnTo>
                    <a:pt x="38" y="268"/>
                  </a:lnTo>
                  <a:lnTo>
                    <a:pt x="41" y="269"/>
                  </a:lnTo>
                  <a:lnTo>
                    <a:pt x="43" y="268"/>
                  </a:lnTo>
                  <a:lnTo>
                    <a:pt x="42" y="267"/>
                  </a:lnTo>
                  <a:lnTo>
                    <a:pt x="41" y="264"/>
                  </a:lnTo>
                  <a:lnTo>
                    <a:pt x="42" y="264"/>
                  </a:lnTo>
                  <a:lnTo>
                    <a:pt x="43" y="264"/>
                  </a:lnTo>
                  <a:lnTo>
                    <a:pt x="45" y="264"/>
                  </a:lnTo>
                  <a:lnTo>
                    <a:pt x="46" y="264"/>
                  </a:lnTo>
                  <a:lnTo>
                    <a:pt x="46" y="266"/>
                  </a:lnTo>
                  <a:lnTo>
                    <a:pt x="47" y="267"/>
                  </a:lnTo>
                  <a:lnTo>
                    <a:pt x="48" y="267"/>
                  </a:lnTo>
                  <a:lnTo>
                    <a:pt x="49" y="266"/>
                  </a:lnTo>
                  <a:lnTo>
                    <a:pt x="51" y="267"/>
                  </a:lnTo>
                  <a:lnTo>
                    <a:pt x="49" y="266"/>
                  </a:lnTo>
                  <a:lnTo>
                    <a:pt x="49" y="263"/>
                  </a:lnTo>
                  <a:lnTo>
                    <a:pt x="48" y="262"/>
                  </a:lnTo>
                  <a:lnTo>
                    <a:pt x="48" y="261"/>
                  </a:lnTo>
                  <a:lnTo>
                    <a:pt x="49" y="261"/>
                  </a:lnTo>
                  <a:lnTo>
                    <a:pt x="51" y="262"/>
                  </a:lnTo>
                  <a:lnTo>
                    <a:pt x="52" y="263"/>
                  </a:lnTo>
                  <a:lnTo>
                    <a:pt x="53" y="263"/>
                  </a:lnTo>
                  <a:lnTo>
                    <a:pt x="55" y="263"/>
                  </a:lnTo>
                  <a:lnTo>
                    <a:pt x="55" y="262"/>
                  </a:lnTo>
                  <a:lnTo>
                    <a:pt x="57" y="262"/>
                  </a:lnTo>
                  <a:lnTo>
                    <a:pt x="58" y="263"/>
                  </a:lnTo>
                  <a:lnTo>
                    <a:pt x="59" y="263"/>
                  </a:lnTo>
                  <a:lnTo>
                    <a:pt x="59" y="264"/>
                  </a:lnTo>
                  <a:lnTo>
                    <a:pt x="60" y="264"/>
                  </a:lnTo>
                  <a:lnTo>
                    <a:pt x="61" y="263"/>
                  </a:lnTo>
                  <a:lnTo>
                    <a:pt x="64" y="262"/>
                  </a:lnTo>
                  <a:lnTo>
                    <a:pt x="63" y="261"/>
                  </a:lnTo>
                  <a:lnTo>
                    <a:pt x="63" y="259"/>
                  </a:lnTo>
                  <a:lnTo>
                    <a:pt x="63" y="258"/>
                  </a:lnTo>
                  <a:lnTo>
                    <a:pt x="64" y="258"/>
                  </a:lnTo>
                  <a:lnTo>
                    <a:pt x="65" y="258"/>
                  </a:lnTo>
                  <a:lnTo>
                    <a:pt x="66" y="259"/>
                  </a:lnTo>
                  <a:lnTo>
                    <a:pt x="67" y="261"/>
                  </a:lnTo>
                  <a:lnTo>
                    <a:pt x="69" y="263"/>
                  </a:lnTo>
                  <a:lnTo>
                    <a:pt x="71" y="263"/>
                  </a:lnTo>
                  <a:lnTo>
                    <a:pt x="70" y="261"/>
                  </a:lnTo>
                  <a:lnTo>
                    <a:pt x="70" y="259"/>
                  </a:lnTo>
                  <a:lnTo>
                    <a:pt x="69" y="258"/>
                  </a:lnTo>
                  <a:lnTo>
                    <a:pt x="69" y="256"/>
                  </a:lnTo>
                  <a:lnTo>
                    <a:pt x="69" y="255"/>
                  </a:lnTo>
                  <a:lnTo>
                    <a:pt x="67" y="255"/>
                  </a:lnTo>
                  <a:lnTo>
                    <a:pt x="67" y="253"/>
                  </a:lnTo>
                  <a:lnTo>
                    <a:pt x="69" y="252"/>
                  </a:lnTo>
                  <a:lnTo>
                    <a:pt x="70" y="252"/>
                  </a:lnTo>
                  <a:lnTo>
                    <a:pt x="71" y="253"/>
                  </a:lnTo>
                  <a:lnTo>
                    <a:pt x="72" y="253"/>
                  </a:lnTo>
                  <a:lnTo>
                    <a:pt x="72" y="255"/>
                  </a:lnTo>
                  <a:lnTo>
                    <a:pt x="73" y="256"/>
                  </a:lnTo>
                  <a:lnTo>
                    <a:pt x="75" y="255"/>
                  </a:lnTo>
                  <a:lnTo>
                    <a:pt x="76" y="256"/>
                  </a:lnTo>
                  <a:lnTo>
                    <a:pt x="77" y="255"/>
                  </a:lnTo>
                  <a:lnTo>
                    <a:pt x="78" y="255"/>
                  </a:lnTo>
                  <a:lnTo>
                    <a:pt x="79" y="256"/>
                  </a:lnTo>
                  <a:lnTo>
                    <a:pt x="82" y="256"/>
                  </a:lnTo>
                  <a:lnTo>
                    <a:pt x="84" y="256"/>
                  </a:lnTo>
                  <a:lnTo>
                    <a:pt x="83" y="255"/>
                  </a:lnTo>
                  <a:lnTo>
                    <a:pt x="82" y="253"/>
                  </a:lnTo>
                  <a:lnTo>
                    <a:pt x="81" y="251"/>
                  </a:lnTo>
                  <a:lnTo>
                    <a:pt x="78" y="250"/>
                  </a:lnTo>
                  <a:lnTo>
                    <a:pt x="78" y="249"/>
                  </a:lnTo>
                  <a:lnTo>
                    <a:pt x="79" y="246"/>
                  </a:lnTo>
                  <a:lnTo>
                    <a:pt x="78" y="247"/>
                  </a:lnTo>
                  <a:lnTo>
                    <a:pt x="77" y="247"/>
                  </a:lnTo>
                  <a:lnTo>
                    <a:pt x="76" y="246"/>
                  </a:lnTo>
                  <a:lnTo>
                    <a:pt x="75" y="246"/>
                  </a:lnTo>
                  <a:lnTo>
                    <a:pt x="72" y="245"/>
                  </a:lnTo>
                  <a:lnTo>
                    <a:pt x="71" y="245"/>
                  </a:lnTo>
                  <a:lnTo>
                    <a:pt x="71" y="244"/>
                  </a:lnTo>
                  <a:lnTo>
                    <a:pt x="70" y="244"/>
                  </a:lnTo>
                  <a:lnTo>
                    <a:pt x="69" y="243"/>
                  </a:lnTo>
                  <a:lnTo>
                    <a:pt x="69" y="241"/>
                  </a:lnTo>
                  <a:lnTo>
                    <a:pt x="67" y="241"/>
                  </a:lnTo>
                  <a:lnTo>
                    <a:pt x="66" y="240"/>
                  </a:lnTo>
                  <a:lnTo>
                    <a:pt x="67" y="239"/>
                  </a:lnTo>
                  <a:lnTo>
                    <a:pt x="67" y="238"/>
                  </a:lnTo>
                  <a:lnTo>
                    <a:pt x="66" y="235"/>
                  </a:lnTo>
                  <a:lnTo>
                    <a:pt x="65" y="233"/>
                  </a:lnTo>
                  <a:lnTo>
                    <a:pt x="66" y="233"/>
                  </a:lnTo>
                  <a:lnTo>
                    <a:pt x="67" y="233"/>
                  </a:lnTo>
                  <a:lnTo>
                    <a:pt x="69" y="233"/>
                  </a:lnTo>
                  <a:lnTo>
                    <a:pt x="69" y="234"/>
                  </a:lnTo>
                  <a:lnTo>
                    <a:pt x="70" y="234"/>
                  </a:lnTo>
                  <a:lnTo>
                    <a:pt x="70" y="232"/>
                  </a:lnTo>
                  <a:lnTo>
                    <a:pt x="70" y="231"/>
                  </a:lnTo>
                  <a:lnTo>
                    <a:pt x="72" y="231"/>
                  </a:lnTo>
                  <a:lnTo>
                    <a:pt x="73" y="232"/>
                  </a:lnTo>
                  <a:lnTo>
                    <a:pt x="75" y="233"/>
                  </a:lnTo>
                  <a:lnTo>
                    <a:pt x="75" y="234"/>
                  </a:lnTo>
                  <a:lnTo>
                    <a:pt x="76" y="235"/>
                  </a:lnTo>
                  <a:lnTo>
                    <a:pt x="78" y="234"/>
                  </a:lnTo>
                  <a:lnTo>
                    <a:pt x="77" y="232"/>
                  </a:lnTo>
                  <a:lnTo>
                    <a:pt x="77" y="231"/>
                  </a:lnTo>
                  <a:lnTo>
                    <a:pt x="76" y="231"/>
                  </a:lnTo>
                  <a:lnTo>
                    <a:pt x="78" y="229"/>
                  </a:lnTo>
                  <a:lnTo>
                    <a:pt x="78" y="231"/>
                  </a:lnTo>
                  <a:lnTo>
                    <a:pt x="79" y="229"/>
                  </a:lnTo>
                  <a:lnTo>
                    <a:pt x="79" y="231"/>
                  </a:lnTo>
                  <a:lnTo>
                    <a:pt x="82" y="231"/>
                  </a:lnTo>
                  <a:lnTo>
                    <a:pt x="83" y="232"/>
                  </a:lnTo>
                  <a:lnTo>
                    <a:pt x="84" y="233"/>
                  </a:lnTo>
                  <a:lnTo>
                    <a:pt x="85" y="233"/>
                  </a:lnTo>
                  <a:lnTo>
                    <a:pt x="85" y="232"/>
                  </a:lnTo>
                  <a:lnTo>
                    <a:pt x="85" y="231"/>
                  </a:lnTo>
                  <a:lnTo>
                    <a:pt x="87" y="228"/>
                  </a:lnTo>
                  <a:lnTo>
                    <a:pt x="87" y="227"/>
                  </a:lnTo>
                  <a:lnTo>
                    <a:pt x="89" y="227"/>
                  </a:lnTo>
                  <a:lnTo>
                    <a:pt x="89" y="229"/>
                  </a:lnTo>
                  <a:lnTo>
                    <a:pt x="89" y="231"/>
                  </a:lnTo>
                  <a:lnTo>
                    <a:pt x="90" y="231"/>
                  </a:lnTo>
                  <a:lnTo>
                    <a:pt x="90" y="227"/>
                  </a:lnTo>
                  <a:lnTo>
                    <a:pt x="89" y="225"/>
                  </a:lnTo>
                  <a:lnTo>
                    <a:pt x="90" y="222"/>
                  </a:lnTo>
                  <a:lnTo>
                    <a:pt x="90" y="221"/>
                  </a:lnTo>
                  <a:lnTo>
                    <a:pt x="91" y="222"/>
                  </a:lnTo>
                  <a:lnTo>
                    <a:pt x="93" y="222"/>
                  </a:lnTo>
                  <a:lnTo>
                    <a:pt x="93" y="223"/>
                  </a:lnTo>
                  <a:lnTo>
                    <a:pt x="94" y="222"/>
                  </a:lnTo>
                  <a:lnTo>
                    <a:pt x="94" y="223"/>
                  </a:lnTo>
                  <a:lnTo>
                    <a:pt x="94" y="226"/>
                  </a:lnTo>
                  <a:lnTo>
                    <a:pt x="95" y="226"/>
                  </a:lnTo>
                  <a:lnTo>
                    <a:pt x="96" y="227"/>
                  </a:lnTo>
                  <a:lnTo>
                    <a:pt x="95" y="227"/>
                  </a:lnTo>
                  <a:lnTo>
                    <a:pt x="96" y="227"/>
                  </a:lnTo>
                  <a:lnTo>
                    <a:pt x="97" y="227"/>
                  </a:lnTo>
                  <a:lnTo>
                    <a:pt x="99" y="228"/>
                  </a:lnTo>
                  <a:lnTo>
                    <a:pt x="100" y="228"/>
                  </a:lnTo>
                  <a:lnTo>
                    <a:pt x="101" y="229"/>
                  </a:lnTo>
                  <a:lnTo>
                    <a:pt x="104" y="229"/>
                  </a:lnTo>
                  <a:lnTo>
                    <a:pt x="104" y="231"/>
                  </a:lnTo>
                  <a:lnTo>
                    <a:pt x="105" y="232"/>
                  </a:lnTo>
                  <a:lnTo>
                    <a:pt x="106" y="231"/>
                  </a:lnTo>
                  <a:lnTo>
                    <a:pt x="106" y="229"/>
                  </a:lnTo>
                  <a:lnTo>
                    <a:pt x="105" y="228"/>
                  </a:lnTo>
                  <a:lnTo>
                    <a:pt x="104" y="227"/>
                  </a:lnTo>
                  <a:lnTo>
                    <a:pt x="104" y="225"/>
                  </a:lnTo>
                  <a:lnTo>
                    <a:pt x="105" y="223"/>
                  </a:lnTo>
                  <a:lnTo>
                    <a:pt x="106" y="223"/>
                  </a:lnTo>
                  <a:lnTo>
                    <a:pt x="107" y="225"/>
                  </a:lnTo>
                  <a:lnTo>
                    <a:pt x="107" y="223"/>
                  </a:lnTo>
                  <a:lnTo>
                    <a:pt x="108" y="222"/>
                  </a:lnTo>
                  <a:lnTo>
                    <a:pt x="108" y="223"/>
                  </a:lnTo>
                  <a:lnTo>
                    <a:pt x="110" y="223"/>
                  </a:lnTo>
                  <a:lnTo>
                    <a:pt x="110" y="222"/>
                  </a:lnTo>
                  <a:lnTo>
                    <a:pt x="111" y="222"/>
                  </a:lnTo>
                  <a:lnTo>
                    <a:pt x="111" y="221"/>
                  </a:lnTo>
                  <a:lnTo>
                    <a:pt x="114" y="221"/>
                  </a:lnTo>
                  <a:lnTo>
                    <a:pt x="116" y="221"/>
                  </a:lnTo>
                  <a:lnTo>
                    <a:pt x="117" y="222"/>
                  </a:lnTo>
                  <a:lnTo>
                    <a:pt x="118" y="222"/>
                  </a:lnTo>
                  <a:lnTo>
                    <a:pt x="118" y="223"/>
                  </a:lnTo>
                  <a:lnTo>
                    <a:pt x="119" y="223"/>
                  </a:lnTo>
                  <a:lnTo>
                    <a:pt x="120" y="223"/>
                  </a:lnTo>
                  <a:lnTo>
                    <a:pt x="120" y="222"/>
                  </a:lnTo>
                  <a:lnTo>
                    <a:pt x="122" y="221"/>
                  </a:lnTo>
                  <a:lnTo>
                    <a:pt x="124" y="221"/>
                  </a:lnTo>
                  <a:lnTo>
                    <a:pt x="125" y="220"/>
                  </a:lnTo>
                  <a:lnTo>
                    <a:pt x="126" y="219"/>
                  </a:lnTo>
                  <a:lnTo>
                    <a:pt x="128" y="219"/>
                  </a:lnTo>
                  <a:lnTo>
                    <a:pt x="126" y="220"/>
                  </a:lnTo>
                  <a:lnTo>
                    <a:pt x="126" y="221"/>
                  </a:lnTo>
                  <a:lnTo>
                    <a:pt x="126" y="220"/>
                  </a:lnTo>
                  <a:lnTo>
                    <a:pt x="128" y="220"/>
                  </a:lnTo>
                  <a:lnTo>
                    <a:pt x="129" y="220"/>
                  </a:lnTo>
                  <a:lnTo>
                    <a:pt x="130" y="219"/>
                  </a:lnTo>
                  <a:lnTo>
                    <a:pt x="130" y="217"/>
                  </a:lnTo>
                  <a:lnTo>
                    <a:pt x="129" y="217"/>
                  </a:lnTo>
                  <a:lnTo>
                    <a:pt x="128" y="219"/>
                  </a:lnTo>
                  <a:lnTo>
                    <a:pt x="128" y="217"/>
                  </a:lnTo>
                  <a:lnTo>
                    <a:pt x="128" y="215"/>
                  </a:lnTo>
                  <a:lnTo>
                    <a:pt x="128" y="214"/>
                  </a:lnTo>
                  <a:lnTo>
                    <a:pt x="128" y="213"/>
                  </a:lnTo>
                  <a:lnTo>
                    <a:pt x="128" y="211"/>
                  </a:lnTo>
                  <a:lnTo>
                    <a:pt x="129" y="210"/>
                  </a:lnTo>
                  <a:lnTo>
                    <a:pt x="129" y="211"/>
                  </a:lnTo>
                  <a:lnTo>
                    <a:pt x="131" y="211"/>
                  </a:lnTo>
                  <a:lnTo>
                    <a:pt x="132" y="213"/>
                  </a:lnTo>
                  <a:lnTo>
                    <a:pt x="134" y="211"/>
                  </a:lnTo>
                  <a:lnTo>
                    <a:pt x="136" y="210"/>
                  </a:lnTo>
                  <a:lnTo>
                    <a:pt x="138" y="209"/>
                  </a:lnTo>
                  <a:lnTo>
                    <a:pt x="138" y="208"/>
                  </a:lnTo>
                  <a:lnTo>
                    <a:pt x="138" y="207"/>
                  </a:lnTo>
                  <a:lnTo>
                    <a:pt x="140" y="207"/>
                  </a:lnTo>
                  <a:lnTo>
                    <a:pt x="141" y="207"/>
                  </a:lnTo>
                  <a:lnTo>
                    <a:pt x="141" y="205"/>
                  </a:lnTo>
                  <a:lnTo>
                    <a:pt x="141" y="204"/>
                  </a:lnTo>
                  <a:lnTo>
                    <a:pt x="142" y="205"/>
                  </a:lnTo>
                  <a:lnTo>
                    <a:pt x="143" y="205"/>
                  </a:lnTo>
                  <a:lnTo>
                    <a:pt x="144" y="207"/>
                  </a:lnTo>
                  <a:lnTo>
                    <a:pt x="144" y="205"/>
                  </a:lnTo>
                  <a:lnTo>
                    <a:pt x="146" y="205"/>
                  </a:lnTo>
                  <a:lnTo>
                    <a:pt x="147" y="205"/>
                  </a:lnTo>
                  <a:lnTo>
                    <a:pt x="148" y="205"/>
                  </a:lnTo>
                  <a:lnTo>
                    <a:pt x="149" y="205"/>
                  </a:lnTo>
                  <a:lnTo>
                    <a:pt x="149" y="207"/>
                  </a:lnTo>
                  <a:lnTo>
                    <a:pt x="150" y="205"/>
                  </a:lnTo>
                  <a:lnTo>
                    <a:pt x="152" y="205"/>
                  </a:lnTo>
                  <a:lnTo>
                    <a:pt x="153" y="205"/>
                  </a:lnTo>
                  <a:lnTo>
                    <a:pt x="153" y="204"/>
                  </a:lnTo>
                  <a:lnTo>
                    <a:pt x="155" y="204"/>
                  </a:lnTo>
                  <a:lnTo>
                    <a:pt x="154" y="204"/>
                  </a:lnTo>
                  <a:lnTo>
                    <a:pt x="155" y="204"/>
                  </a:lnTo>
                  <a:lnTo>
                    <a:pt x="155" y="205"/>
                  </a:lnTo>
                  <a:lnTo>
                    <a:pt x="155" y="204"/>
                  </a:lnTo>
                  <a:lnTo>
                    <a:pt x="155" y="203"/>
                  </a:lnTo>
                  <a:lnTo>
                    <a:pt x="156" y="203"/>
                  </a:lnTo>
                  <a:lnTo>
                    <a:pt x="155" y="203"/>
                  </a:lnTo>
                  <a:lnTo>
                    <a:pt x="156" y="202"/>
                  </a:lnTo>
                  <a:lnTo>
                    <a:pt x="158" y="202"/>
                  </a:lnTo>
                  <a:lnTo>
                    <a:pt x="159" y="202"/>
                  </a:lnTo>
                  <a:lnTo>
                    <a:pt x="160" y="202"/>
                  </a:lnTo>
                  <a:lnTo>
                    <a:pt x="160" y="203"/>
                  </a:lnTo>
                  <a:lnTo>
                    <a:pt x="160" y="202"/>
                  </a:lnTo>
                  <a:lnTo>
                    <a:pt x="159" y="201"/>
                  </a:lnTo>
                  <a:lnTo>
                    <a:pt x="160" y="201"/>
                  </a:lnTo>
                  <a:lnTo>
                    <a:pt x="159" y="199"/>
                  </a:lnTo>
                  <a:lnTo>
                    <a:pt x="160" y="199"/>
                  </a:lnTo>
                  <a:lnTo>
                    <a:pt x="161" y="199"/>
                  </a:lnTo>
                  <a:lnTo>
                    <a:pt x="161" y="201"/>
                  </a:lnTo>
                  <a:lnTo>
                    <a:pt x="161" y="199"/>
                  </a:lnTo>
                  <a:lnTo>
                    <a:pt x="163" y="199"/>
                  </a:lnTo>
                  <a:lnTo>
                    <a:pt x="161" y="199"/>
                  </a:lnTo>
                  <a:lnTo>
                    <a:pt x="163" y="198"/>
                  </a:lnTo>
                  <a:lnTo>
                    <a:pt x="163" y="197"/>
                  </a:lnTo>
                  <a:lnTo>
                    <a:pt x="163" y="196"/>
                  </a:lnTo>
                  <a:lnTo>
                    <a:pt x="161" y="196"/>
                  </a:lnTo>
                  <a:lnTo>
                    <a:pt x="163" y="195"/>
                  </a:lnTo>
                  <a:lnTo>
                    <a:pt x="163" y="193"/>
                  </a:lnTo>
                  <a:lnTo>
                    <a:pt x="164" y="195"/>
                  </a:lnTo>
                  <a:lnTo>
                    <a:pt x="164" y="193"/>
                  </a:lnTo>
                  <a:lnTo>
                    <a:pt x="163" y="193"/>
                  </a:lnTo>
                  <a:lnTo>
                    <a:pt x="165" y="192"/>
                  </a:lnTo>
                  <a:lnTo>
                    <a:pt x="166" y="191"/>
                  </a:lnTo>
                  <a:lnTo>
                    <a:pt x="166" y="190"/>
                  </a:lnTo>
                  <a:lnTo>
                    <a:pt x="167" y="190"/>
                  </a:lnTo>
                  <a:lnTo>
                    <a:pt x="167" y="189"/>
                  </a:lnTo>
                  <a:lnTo>
                    <a:pt x="167" y="187"/>
                  </a:lnTo>
                  <a:lnTo>
                    <a:pt x="169" y="187"/>
                  </a:lnTo>
                  <a:lnTo>
                    <a:pt x="169" y="186"/>
                  </a:lnTo>
                  <a:lnTo>
                    <a:pt x="170" y="186"/>
                  </a:lnTo>
                  <a:lnTo>
                    <a:pt x="169" y="186"/>
                  </a:lnTo>
                  <a:lnTo>
                    <a:pt x="169" y="185"/>
                  </a:lnTo>
                  <a:lnTo>
                    <a:pt x="169" y="184"/>
                  </a:lnTo>
                  <a:lnTo>
                    <a:pt x="169" y="183"/>
                  </a:lnTo>
                  <a:lnTo>
                    <a:pt x="167" y="183"/>
                  </a:lnTo>
                  <a:lnTo>
                    <a:pt x="166" y="183"/>
                  </a:lnTo>
                  <a:lnTo>
                    <a:pt x="166" y="184"/>
                  </a:lnTo>
                  <a:lnTo>
                    <a:pt x="166" y="183"/>
                  </a:lnTo>
                  <a:lnTo>
                    <a:pt x="166" y="184"/>
                  </a:lnTo>
                  <a:lnTo>
                    <a:pt x="165" y="183"/>
                  </a:lnTo>
                  <a:lnTo>
                    <a:pt x="164" y="181"/>
                  </a:lnTo>
                  <a:lnTo>
                    <a:pt x="164" y="183"/>
                  </a:lnTo>
                  <a:lnTo>
                    <a:pt x="163" y="183"/>
                  </a:lnTo>
                  <a:lnTo>
                    <a:pt x="161" y="183"/>
                  </a:lnTo>
                  <a:lnTo>
                    <a:pt x="160" y="183"/>
                  </a:lnTo>
                  <a:lnTo>
                    <a:pt x="160" y="181"/>
                  </a:lnTo>
                  <a:lnTo>
                    <a:pt x="159" y="183"/>
                  </a:lnTo>
                  <a:lnTo>
                    <a:pt x="158" y="183"/>
                  </a:lnTo>
                  <a:lnTo>
                    <a:pt x="158" y="184"/>
                  </a:lnTo>
                  <a:lnTo>
                    <a:pt x="156" y="184"/>
                  </a:lnTo>
                  <a:lnTo>
                    <a:pt x="156" y="185"/>
                  </a:lnTo>
                  <a:lnTo>
                    <a:pt x="155" y="185"/>
                  </a:lnTo>
                  <a:lnTo>
                    <a:pt x="155" y="186"/>
                  </a:lnTo>
                  <a:lnTo>
                    <a:pt x="155" y="187"/>
                  </a:lnTo>
                  <a:lnTo>
                    <a:pt x="155" y="189"/>
                  </a:lnTo>
                  <a:lnTo>
                    <a:pt x="156" y="189"/>
                  </a:lnTo>
                  <a:lnTo>
                    <a:pt x="156" y="190"/>
                  </a:lnTo>
                  <a:lnTo>
                    <a:pt x="155" y="191"/>
                  </a:lnTo>
                  <a:lnTo>
                    <a:pt x="155" y="192"/>
                  </a:lnTo>
                  <a:lnTo>
                    <a:pt x="154" y="192"/>
                  </a:lnTo>
                  <a:lnTo>
                    <a:pt x="154" y="193"/>
                  </a:lnTo>
                  <a:lnTo>
                    <a:pt x="153" y="193"/>
                  </a:lnTo>
                  <a:lnTo>
                    <a:pt x="153" y="195"/>
                  </a:lnTo>
                  <a:lnTo>
                    <a:pt x="152" y="195"/>
                  </a:lnTo>
                  <a:lnTo>
                    <a:pt x="152" y="196"/>
                  </a:lnTo>
                  <a:lnTo>
                    <a:pt x="150" y="196"/>
                  </a:lnTo>
                  <a:lnTo>
                    <a:pt x="152" y="196"/>
                  </a:lnTo>
                  <a:lnTo>
                    <a:pt x="150" y="196"/>
                  </a:lnTo>
                  <a:lnTo>
                    <a:pt x="152" y="197"/>
                  </a:lnTo>
                  <a:lnTo>
                    <a:pt x="152" y="196"/>
                  </a:lnTo>
                  <a:lnTo>
                    <a:pt x="153" y="196"/>
                  </a:lnTo>
                  <a:lnTo>
                    <a:pt x="154" y="196"/>
                  </a:lnTo>
                  <a:lnTo>
                    <a:pt x="155" y="197"/>
                  </a:lnTo>
                  <a:lnTo>
                    <a:pt x="156" y="197"/>
                  </a:lnTo>
                  <a:lnTo>
                    <a:pt x="156" y="198"/>
                  </a:lnTo>
                  <a:lnTo>
                    <a:pt x="155" y="198"/>
                  </a:lnTo>
                  <a:lnTo>
                    <a:pt x="156" y="198"/>
                  </a:lnTo>
                  <a:lnTo>
                    <a:pt x="155" y="198"/>
                  </a:lnTo>
                  <a:lnTo>
                    <a:pt x="154" y="199"/>
                  </a:lnTo>
                  <a:lnTo>
                    <a:pt x="154" y="201"/>
                  </a:lnTo>
                  <a:lnTo>
                    <a:pt x="154" y="199"/>
                  </a:lnTo>
                  <a:lnTo>
                    <a:pt x="154" y="201"/>
                  </a:lnTo>
                  <a:lnTo>
                    <a:pt x="153" y="202"/>
                  </a:lnTo>
                  <a:lnTo>
                    <a:pt x="152" y="202"/>
                  </a:lnTo>
                  <a:lnTo>
                    <a:pt x="150" y="201"/>
                  </a:lnTo>
                  <a:lnTo>
                    <a:pt x="150" y="202"/>
                  </a:lnTo>
                  <a:lnTo>
                    <a:pt x="149" y="202"/>
                  </a:lnTo>
                  <a:lnTo>
                    <a:pt x="148" y="202"/>
                  </a:lnTo>
                  <a:lnTo>
                    <a:pt x="147" y="202"/>
                  </a:lnTo>
                  <a:lnTo>
                    <a:pt x="147" y="201"/>
                  </a:lnTo>
                  <a:lnTo>
                    <a:pt x="146" y="201"/>
                  </a:lnTo>
                  <a:lnTo>
                    <a:pt x="144" y="201"/>
                  </a:lnTo>
                  <a:lnTo>
                    <a:pt x="143" y="201"/>
                  </a:lnTo>
                  <a:lnTo>
                    <a:pt x="142" y="201"/>
                  </a:lnTo>
                  <a:lnTo>
                    <a:pt x="142" y="202"/>
                  </a:lnTo>
                  <a:lnTo>
                    <a:pt x="141" y="201"/>
                  </a:lnTo>
                  <a:lnTo>
                    <a:pt x="140" y="201"/>
                  </a:lnTo>
                  <a:lnTo>
                    <a:pt x="140" y="199"/>
                  </a:lnTo>
                  <a:lnTo>
                    <a:pt x="140" y="198"/>
                  </a:lnTo>
                  <a:lnTo>
                    <a:pt x="142" y="198"/>
                  </a:lnTo>
                  <a:lnTo>
                    <a:pt x="142" y="197"/>
                  </a:lnTo>
                  <a:lnTo>
                    <a:pt x="141" y="196"/>
                  </a:lnTo>
                  <a:lnTo>
                    <a:pt x="142" y="196"/>
                  </a:lnTo>
                  <a:lnTo>
                    <a:pt x="143" y="195"/>
                  </a:lnTo>
                  <a:lnTo>
                    <a:pt x="143" y="193"/>
                  </a:lnTo>
                  <a:lnTo>
                    <a:pt x="142" y="193"/>
                  </a:lnTo>
                  <a:lnTo>
                    <a:pt x="142" y="192"/>
                  </a:lnTo>
                  <a:lnTo>
                    <a:pt x="142" y="191"/>
                  </a:lnTo>
                  <a:lnTo>
                    <a:pt x="143" y="190"/>
                  </a:lnTo>
                  <a:lnTo>
                    <a:pt x="142" y="190"/>
                  </a:lnTo>
                  <a:lnTo>
                    <a:pt x="143" y="190"/>
                  </a:lnTo>
                  <a:lnTo>
                    <a:pt x="144" y="190"/>
                  </a:lnTo>
                  <a:lnTo>
                    <a:pt x="146" y="190"/>
                  </a:lnTo>
                  <a:lnTo>
                    <a:pt x="146" y="187"/>
                  </a:lnTo>
                  <a:lnTo>
                    <a:pt x="144" y="187"/>
                  </a:lnTo>
                  <a:lnTo>
                    <a:pt x="143" y="187"/>
                  </a:lnTo>
                  <a:lnTo>
                    <a:pt x="144" y="187"/>
                  </a:lnTo>
                  <a:lnTo>
                    <a:pt x="143" y="187"/>
                  </a:lnTo>
                  <a:lnTo>
                    <a:pt x="142" y="187"/>
                  </a:lnTo>
                  <a:lnTo>
                    <a:pt x="141" y="189"/>
                  </a:lnTo>
                  <a:lnTo>
                    <a:pt x="140" y="189"/>
                  </a:lnTo>
                  <a:lnTo>
                    <a:pt x="140" y="190"/>
                  </a:lnTo>
                  <a:lnTo>
                    <a:pt x="138" y="190"/>
                  </a:lnTo>
                  <a:lnTo>
                    <a:pt x="137" y="190"/>
                  </a:lnTo>
                  <a:lnTo>
                    <a:pt x="137" y="191"/>
                  </a:lnTo>
                  <a:lnTo>
                    <a:pt x="137" y="190"/>
                  </a:lnTo>
                  <a:lnTo>
                    <a:pt x="136" y="190"/>
                  </a:lnTo>
                  <a:lnTo>
                    <a:pt x="135" y="191"/>
                  </a:lnTo>
                  <a:lnTo>
                    <a:pt x="135" y="190"/>
                  </a:lnTo>
                  <a:lnTo>
                    <a:pt x="134" y="190"/>
                  </a:lnTo>
                  <a:lnTo>
                    <a:pt x="134" y="191"/>
                  </a:lnTo>
                  <a:lnTo>
                    <a:pt x="132" y="191"/>
                  </a:lnTo>
                  <a:lnTo>
                    <a:pt x="134" y="191"/>
                  </a:lnTo>
                  <a:lnTo>
                    <a:pt x="134" y="192"/>
                  </a:lnTo>
                  <a:lnTo>
                    <a:pt x="132" y="192"/>
                  </a:lnTo>
                  <a:lnTo>
                    <a:pt x="132" y="191"/>
                  </a:lnTo>
                  <a:lnTo>
                    <a:pt x="131" y="192"/>
                  </a:lnTo>
                  <a:lnTo>
                    <a:pt x="131" y="193"/>
                  </a:lnTo>
                  <a:lnTo>
                    <a:pt x="132" y="193"/>
                  </a:lnTo>
                  <a:lnTo>
                    <a:pt x="131" y="193"/>
                  </a:lnTo>
                  <a:lnTo>
                    <a:pt x="130" y="193"/>
                  </a:lnTo>
                  <a:lnTo>
                    <a:pt x="129" y="193"/>
                  </a:lnTo>
                  <a:lnTo>
                    <a:pt x="128" y="193"/>
                  </a:lnTo>
                  <a:lnTo>
                    <a:pt x="126" y="193"/>
                  </a:lnTo>
                  <a:lnTo>
                    <a:pt x="125" y="193"/>
                  </a:lnTo>
                  <a:lnTo>
                    <a:pt x="125" y="192"/>
                  </a:lnTo>
                  <a:lnTo>
                    <a:pt x="124" y="192"/>
                  </a:lnTo>
                  <a:lnTo>
                    <a:pt x="123" y="192"/>
                  </a:lnTo>
                  <a:lnTo>
                    <a:pt x="123" y="191"/>
                  </a:lnTo>
                  <a:lnTo>
                    <a:pt x="122" y="190"/>
                  </a:lnTo>
                  <a:lnTo>
                    <a:pt x="122" y="191"/>
                  </a:lnTo>
                  <a:lnTo>
                    <a:pt x="122" y="192"/>
                  </a:lnTo>
                  <a:lnTo>
                    <a:pt x="120" y="191"/>
                  </a:lnTo>
                  <a:lnTo>
                    <a:pt x="120" y="192"/>
                  </a:lnTo>
                  <a:lnTo>
                    <a:pt x="120" y="193"/>
                  </a:lnTo>
                  <a:lnTo>
                    <a:pt x="119" y="193"/>
                  </a:lnTo>
                  <a:lnTo>
                    <a:pt x="119" y="195"/>
                  </a:lnTo>
                  <a:lnTo>
                    <a:pt x="118" y="195"/>
                  </a:lnTo>
                  <a:lnTo>
                    <a:pt x="117" y="193"/>
                  </a:lnTo>
                  <a:lnTo>
                    <a:pt x="117" y="192"/>
                  </a:lnTo>
                  <a:lnTo>
                    <a:pt x="117" y="193"/>
                  </a:lnTo>
                  <a:lnTo>
                    <a:pt x="116" y="193"/>
                  </a:lnTo>
                  <a:lnTo>
                    <a:pt x="116" y="195"/>
                  </a:lnTo>
                  <a:lnTo>
                    <a:pt x="116" y="196"/>
                  </a:lnTo>
                  <a:lnTo>
                    <a:pt x="116" y="195"/>
                  </a:lnTo>
                  <a:lnTo>
                    <a:pt x="116" y="196"/>
                  </a:lnTo>
                  <a:lnTo>
                    <a:pt x="114" y="197"/>
                  </a:lnTo>
                  <a:lnTo>
                    <a:pt x="114" y="196"/>
                  </a:lnTo>
                  <a:lnTo>
                    <a:pt x="113" y="196"/>
                  </a:lnTo>
                  <a:lnTo>
                    <a:pt x="113" y="195"/>
                  </a:lnTo>
                  <a:lnTo>
                    <a:pt x="112" y="195"/>
                  </a:lnTo>
                  <a:lnTo>
                    <a:pt x="112" y="196"/>
                  </a:lnTo>
                  <a:lnTo>
                    <a:pt x="111" y="196"/>
                  </a:lnTo>
                  <a:lnTo>
                    <a:pt x="111" y="195"/>
                  </a:lnTo>
                  <a:lnTo>
                    <a:pt x="111" y="193"/>
                  </a:lnTo>
                  <a:lnTo>
                    <a:pt x="111" y="192"/>
                  </a:lnTo>
                  <a:lnTo>
                    <a:pt x="112" y="192"/>
                  </a:lnTo>
                  <a:lnTo>
                    <a:pt x="113" y="192"/>
                  </a:lnTo>
                  <a:lnTo>
                    <a:pt x="114" y="192"/>
                  </a:lnTo>
                  <a:lnTo>
                    <a:pt x="113" y="191"/>
                  </a:lnTo>
                  <a:lnTo>
                    <a:pt x="114" y="191"/>
                  </a:lnTo>
                  <a:lnTo>
                    <a:pt x="113" y="191"/>
                  </a:lnTo>
                  <a:lnTo>
                    <a:pt x="113" y="190"/>
                  </a:lnTo>
                  <a:lnTo>
                    <a:pt x="116" y="190"/>
                  </a:lnTo>
                  <a:lnTo>
                    <a:pt x="114" y="190"/>
                  </a:lnTo>
                  <a:lnTo>
                    <a:pt x="116" y="190"/>
                  </a:lnTo>
                  <a:lnTo>
                    <a:pt x="117" y="190"/>
                  </a:lnTo>
                  <a:lnTo>
                    <a:pt x="117" y="189"/>
                  </a:lnTo>
                  <a:lnTo>
                    <a:pt x="116" y="189"/>
                  </a:lnTo>
                  <a:lnTo>
                    <a:pt x="116" y="187"/>
                  </a:lnTo>
                  <a:lnTo>
                    <a:pt x="114" y="187"/>
                  </a:lnTo>
                  <a:lnTo>
                    <a:pt x="113" y="187"/>
                  </a:lnTo>
                  <a:lnTo>
                    <a:pt x="113" y="189"/>
                  </a:lnTo>
                  <a:lnTo>
                    <a:pt x="111" y="189"/>
                  </a:lnTo>
                  <a:lnTo>
                    <a:pt x="110" y="190"/>
                  </a:lnTo>
                  <a:lnTo>
                    <a:pt x="110" y="191"/>
                  </a:lnTo>
                  <a:lnTo>
                    <a:pt x="110" y="190"/>
                  </a:lnTo>
                  <a:lnTo>
                    <a:pt x="110" y="189"/>
                  </a:lnTo>
                  <a:lnTo>
                    <a:pt x="108" y="190"/>
                  </a:lnTo>
                  <a:lnTo>
                    <a:pt x="107" y="191"/>
                  </a:lnTo>
                  <a:lnTo>
                    <a:pt x="107" y="192"/>
                  </a:lnTo>
                  <a:lnTo>
                    <a:pt x="107" y="191"/>
                  </a:lnTo>
                  <a:lnTo>
                    <a:pt x="106" y="191"/>
                  </a:lnTo>
                  <a:lnTo>
                    <a:pt x="106" y="190"/>
                  </a:lnTo>
                  <a:lnTo>
                    <a:pt x="105" y="190"/>
                  </a:lnTo>
                  <a:lnTo>
                    <a:pt x="104" y="190"/>
                  </a:lnTo>
                  <a:lnTo>
                    <a:pt x="102" y="190"/>
                  </a:lnTo>
                  <a:lnTo>
                    <a:pt x="102" y="189"/>
                  </a:lnTo>
                  <a:lnTo>
                    <a:pt x="101" y="189"/>
                  </a:lnTo>
                  <a:lnTo>
                    <a:pt x="100" y="189"/>
                  </a:lnTo>
                  <a:lnTo>
                    <a:pt x="100" y="187"/>
                  </a:lnTo>
                  <a:lnTo>
                    <a:pt x="99" y="187"/>
                  </a:lnTo>
                  <a:lnTo>
                    <a:pt x="99" y="186"/>
                  </a:lnTo>
                  <a:lnTo>
                    <a:pt x="97" y="186"/>
                  </a:lnTo>
                  <a:lnTo>
                    <a:pt x="96" y="186"/>
                  </a:lnTo>
                  <a:lnTo>
                    <a:pt x="97" y="186"/>
                  </a:lnTo>
                  <a:lnTo>
                    <a:pt x="97" y="185"/>
                  </a:lnTo>
                  <a:lnTo>
                    <a:pt x="96" y="184"/>
                  </a:lnTo>
                  <a:lnTo>
                    <a:pt x="97" y="184"/>
                  </a:lnTo>
                  <a:lnTo>
                    <a:pt x="97" y="183"/>
                  </a:lnTo>
                  <a:lnTo>
                    <a:pt x="96" y="183"/>
                  </a:lnTo>
                  <a:lnTo>
                    <a:pt x="97" y="183"/>
                  </a:lnTo>
                  <a:lnTo>
                    <a:pt x="97" y="181"/>
                  </a:lnTo>
                  <a:lnTo>
                    <a:pt x="97" y="183"/>
                  </a:lnTo>
                  <a:lnTo>
                    <a:pt x="96" y="183"/>
                  </a:lnTo>
                  <a:lnTo>
                    <a:pt x="96" y="181"/>
                  </a:lnTo>
                  <a:lnTo>
                    <a:pt x="95" y="181"/>
                  </a:lnTo>
                  <a:lnTo>
                    <a:pt x="95" y="180"/>
                  </a:lnTo>
                  <a:lnTo>
                    <a:pt x="95" y="179"/>
                  </a:lnTo>
                  <a:lnTo>
                    <a:pt x="94" y="179"/>
                  </a:lnTo>
                  <a:lnTo>
                    <a:pt x="94" y="178"/>
                  </a:lnTo>
                  <a:lnTo>
                    <a:pt x="94" y="177"/>
                  </a:lnTo>
                  <a:lnTo>
                    <a:pt x="94" y="175"/>
                  </a:lnTo>
                  <a:lnTo>
                    <a:pt x="93" y="174"/>
                  </a:lnTo>
                  <a:lnTo>
                    <a:pt x="94" y="174"/>
                  </a:lnTo>
                  <a:lnTo>
                    <a:pt x="94" y="173"/>
                  </a:lnTo>
                  <a:lnTo>
                    <a:pt x="95" y="173"/>
                  </a:lnTo>
                  <a:lnTo>
                    <a:pt x="95" y="174"/>
                  </a:lnTo>
                  <a:lnTo>
                    <a:pt x="96" y="174"/>
                  </a:lnTo>
                  <a:lnTo>
                    <a:pt x="96" y="175"/>
                  </a:lnTo>
                  <a:lnTo>
                    <a:pt x="96" y="174"/>
                  </a:lnTo>
                  <a:lnTo>
                    <a:pt x="97" y="174"/>
                  </a:lnTo>
                  <a:lnTo>
                    <a:pt x="96" y="174"/>
                  </a:lnTo>
                  <a:lnTo>
                    <a:pt x="97" y="174"/>
                  </a:lnTo>
                  <a:lnTo>
                    <a:pt x="99" y="174"/>
                  </a:lnTo>
                  <a:lnTo>
                    <a:pt x="99" y="173"/>
                  </a:lnTo>
                  <a:lnTo>
                    <a:pt x="100" y="173"/>
                  </a:lnTo>
                  <a:lnTo>
                    <a:pt x="100" y="172"/>
                  </a:lnTo>
                  <a:lnTo>
                    <a:pt x="101" y="172"/>
                  </a:lnTo>
                  <a:lnTo>
                    <a:pt x="101" y="173"/>
                  </a:lnTo>
                  <a:lnTo>
                    <a:pt x="102" y="173"/>
                  </a:lnTo>
                  <a:lnTo>
                    <a:pt x="104" y="173"/>
                  </a:lnTo>
                  <a:lnTo>
                    <a:pt x="104" y="172"/>
                  </a:lnTo>
                  <a:lnTo>
                    <a:pt x="104" y="171"/>
                  </a:lnTo>
                  <a:lnTo>
                    <a:pt x="104" y="172"/>
                  </a:lnTo>
                  <a:lnTo>
                    <a:pt x="105" y="172"/>
                  </a:lnTo>
                  <a:lnTo>
                    <a:pt x="106" y="172"/>
                  </a:lnTo>
                  <a:lnTo>
                    <a:pt x="105" y="172"/>
                  </a:lnTo>
                  <a:lnTo>
                    <a:pt x="105" y="171"/>
                  </a:lnTo>
                  <a:lnTo>
                    <a:pt x="105" y="169"/>
                  </a:lnTo>
                  <a:lnTo>
                    <a:pt x="104" y="169"/>
                  </a:lnTo>
                  <a:lnTo>
                    <a:pt x="104" y="168"/>
                  </a:lnTo>
                  <a:lnTo>
                    <a:pt x="102" y="168"/>
                  </a:lnTo>
                  <a:lnTo>
                    <a:pt x="102" y="167"/>
                  </a:lnTo>
                  <a:lnTo>
                    <a:pt x="102" y="166"/>
                  </a:lnTo>
                  <a:lnTo>
                    <a:pt x="104" y="166"/>
                  </a:lnTo>
                  <a:lnTo>
                    <a:pt x="102" y="166"/>
                  </a:lnTo>
                  <a:lnTo>
                    <a:pt x="102" y="165"/>
                  </a:lnTo>
                  <a:lnTo>
                    <a:pt x="101" y="165"/>
                  </a:lnTo>
                  <a:lnTo>
                    <a:pt x="100" y="163"/>
                  </a:lnTo>
                  <a:lnTo>
                    <a:pt x="100" y="162"/>
                  </a:lnTo>
                  <a:lnTo>
                    <a:pt x="100" y="161"/>
                  </a:lnTo>
                  <a:lnTo>
                    <a:pt x="100" y="160"/>
                  </a:lnTo>
                  <a:lnTo>
                    <a:pt x="99" y="160"/>
                  </a:lnTo>
                  <a:lnTo>
                    <a:pt x="99" y="159"/>
                  </a:lnTo>
                  <a:lnTo>
                    <a:pt x="99" y="157"/>
                  </a:lnTo>
                  <a:lnTo>
                    <a:pt x="97" y="157"/>
                  </a:lnTo>
                  <a:lnTo>
                    <a:pt x="97" y="156"/>
                  </a:lnTo>
                  <a:lnTo>
                    <a:pt x="97" y="155"/>
                  </a:lnTo>
                  <a:lnTo>
                    <a:pt x="97" y="154"/>
                  </a:lnTo>
                  <a:lnTo>
                    <a:pt x="97" y="152"/>
                  </a:lnTo>
                  <a:lnTo>
                    <a:pt x="97" y="151"/>
                  </a:lnTo>
                  <a:lnTo>
                    <a:pt x="97" y="150"/>
                  </a:lnTo>
                  <a:lnTo>
                    <a:pt x="97" y="149"/>
                  </a:lnTo>
                  <a:lnTo>
                    <a:pt x="96" y="148"/>
                  </a:lnTo>
                  <a:lnTo>
                    <a:pt x="96" y="146"/>
                  </a:lnTo>
                  <a:lnTo>
                    <a:pt x="97" y="145"/>
                  </a:lnTo>
                  <a:lnTo>
                    <a:pt x="99" y="145"/>
                  </a:lnTo>
                  <a:lnTo>
                    <a:pt x="99" y="146"/>
                  </a:lnTo>
                  <a:lnTo>
                    <a:pt x="99" y="148"/>
                  </a:lnTo>
                  <a:lnTo>
                    <a:pt x="100" y="148"/>
                  </a:lnTo>
                  <a:lnTo>
                    <a:pt x="100" y="149"/>
                  </a:lnTo>
                  <a:lnTo>
                    <a:pt x="101" y="149"/>
                  </a:lnTo>
                  <a:lnTo>
                    <a:pt x="102" y="149"/>
                  </a:lnTo>
                  <a:lnTo>
                    <a:pt x="102" y="150"/>
                  </a:lnTo>
                  <a:lnTo>
                    <a:pt x="104" y="150"/>
                  </a:lnTo>
                  <a:lnTo>
                    <a:pt x="104" y="151"/>
                  </a:lnTo>
                  <a:lnTo>
                    <a:pt x="105" y="151"/>
                  </a:lnTo>
                  <a:lnTo>
                    <a:pt x="105" y="150"/>
                  </a:lnTo>
                  <a:lnTo>
                    <a:pt x="105" y="149"/>
                  </a:lnTo>
                  <a:lnTo>
                    <a:pt x="105" y="148"/>
                  </a:lnTo>
                  <a:lnTo>
                    <a:pt x="105" y="146"/>
                  </a:lnTo>
                  <a:lnTo>
                    <a:pt x="106" y="146"/>
                  </a:lnTo>
                  <a:lnTo>
                    <a:pt x="107" y="146"/>
                  </a:lnTo>
                  <a:lnTo>
                    <a:pt x="107" y="148"/>
                  </a:lnTo>
                  <a:lnTo>
                    <a:pt x="107" y="149"/>
                  </a:lnTo>
                  <a:lnTo>
                    <a:pt x="108" y="149"/>
                  </a:lnTo>
                  <a:lnTo>
                    <a:pt x="108" y="150"/>
                  </a:lnTo>
                  <a:lnTo>
                    <a:pt x="108" y="149"/>
                  </a:lnTo>
                  <a:lnTo>
                    <a:pt x="110" y="148"/>
                  </a:lnTo>
                  <a:lnTo>
                    <a:pt x="111" y="148"/>
                  </a:lnTo>
                  <a:lnTo>
                    <a:pt x="111" y="149"/>
                  </a:lnTo>
                  <a:lnTo>
                    <a:pt x="112" y="149"/>
                  </a:lnTo>
                  <a:lnTo>
                    <a:pt x="112" y="150"/>
                  </a:lnTo>
                  <a:lnTo>
                    <a:pt x="113" y="150"/>
                  </a:lnTo>
                  <a:lnTo>
                    <a:pt x="113" y="151"/>
                  </a:lnTo>
                  <a:lnTo>
                    <a:pt x="114" y="151"/>
                  </a:lnTo>
                  <a:lnTo>
                    <a:pt x="114" y="152"/>
                  </a:lnTo>
                  <a:lnTo>
                    <a:pt x="116" y="152"/>
                  </a:lnTo>
                  <a:lnTo>
                    <a:pt x="116" y="154"/>
                  </a:lnTo>
                  <a:lnTo>
                    <a:pt x="117" y="154"/>
                  </a:lnTo>
                  <a:lnTo>
                    <a:pt x="118" y="154"/>
                  </a:lnTo>
                  <a:lnTo>
                    <a:pt x="118" y="152"/>
                  </a:lnTo>
                  <a:lnTo>
                    <a:pt x="117" y="151"/>
                  </a:lnTo>
                  <a:lnTo>
                    <a:pt x="116" y="151"/>
                  </a:lnTo>
                  <a:lnTo>
                    <a:pt x="116" y="150"/>
                  </a:lnTo>
                  <a:lnTo>
                    <a:pt x="114" y="149"/>
                  </a:lnTo>
                  <a:lnTo>
                    <a:pt x="114" y="148"/>
                  </a:lnTo>
                  <a:lnTo>
                    <a:pt x="114" y="146"/>
                  </a:lnTo>
                  <a:lnTo>
                    <a:pt x="116" y="146"/>
                  </a:lnTo>
                  <a:lnTo>
                    <a:pt x="116" y="145"/>
                  </a:lnTo>
                  <a:lnTo>
                    <a:pt x="117" y="145"/>
                  </a:lnTo>
                  <a:lnTo>
                    <a:pt x="117" y="146"/>
                  </a:lnTo>
                  <a:lnTo>
                    <a:pt x="118" y="146"/>
                  </a:lnTo>
                  <a:lnTo>
                    <a:pt x="119" y="146"/>
                  </a:lnTo>
                  <a:lnTo>
                    <a:pt x="120" y="145"/>
                  </a:lnTo>
                  <a:lnTo>
                    <a:pt x="120" y="146"/>
                  </a:lnTo>
                  <a:lnTo>
                    <a:pt x="122" y="146"/>
                  </a:lnTo>
                  <a:lnTo>
                    <a:pt x="122" y="148"/>
                  </a:lnTo>
                  <a:lnTo>
                    <a:pt x="123" y="148"/>
                  </a:lnTo>
                  <a:lnTo>
                    <a:pt x="125" y="148"/>
                  </a:lnTo>
                  <a:lnTo>
                    <a:pt x="125" y="149"/>
                  </a:lnTo>
                  <a:lnTo>
                    <a:pt x="126" y="149"/>
                  </a:lnTo>
                  <a:lnTo>
                    <a:pt x="128" y="149"/>
                  </a:lnTo>
                  <a:lnTo>
                    <a:pt x="128" y="148"/>
                  </a:lnTo>
                  <a:lnTo>
                    <a:pt x="129" y="146"/>
                  </a:lnTo>
                  <a:lnTo>
                    <a:pt x="129" y="145"/>
                  </a:lnTo>
                  <a:lnTo>
                    <a:pt x="129" y="146"/>
                  </a:lnTo>
                  <a:lnTo>
                    <a:pt x="128" y="145"/>
                  </a:lnTo>
                  <a:lnTo>
                    <a:pt x="128" y="146"/>
                  </a:lnTo>
                  <a:lnTo>
                    <a:pt x="126" y="146"/>
                  </a:lnTo>
                  <a:lnTo>
                    <a:pt x="126" y="145"/>
                  </a:lnTo>
                  <a:lnTo>
                    <a:pt x="125" y="144"/>
                  </a:lnTo>
                  <a:lnTo>
                    <a:pt x="124" y="144"/>
                  </a:lnTo>
                  <a:lnTo>
                    <a:pt x="123" y="144"/>
                  </a:lnTo>
                  <a:lnTo>
                    <a:pt x="123" y="143"/>
                  </a:lnTo>
                  <a:lnTo>
                    <a:pt x="122" y="143"/>
                  </a:lnTo>
                  <a:lnTo>
                    <a:pt x="122" y="140"/>
                  </a:lnTo>
                  <a:lnTo>
                    <a:pt x="120" y="140"/>
                  </a:lnTo>
                  <a:lnTo>
                    <a:pt x="120" y="142"/>
                  </a:lnTo>
                  <a:lnTo>
                    <a:pt x="119" y="142"/>
                  </a:lnTo>
                  <a:lnTo>
                    <a:pt x="118" y="142"/>
                  </a:lnTo>
                  <a:lnTo>
                    <a:pt x="117" y="142"/>
                  </a:lnTo>
                  <a:lnTo>
                    <a:pt x="116" y="142"/>
                  </a:lnTo>
                  <a:lnTo>
                    <a:pt x="116" y="140"/>
                  </a:lnTo>
                  <a:lnTo>
                    <a:pt x="114" y="142"/>
                  </a:lnTo>
                  <a:lnTo>
                    <a:pt x="114" y="140"/>
                  </a:lnTo>
                  <a:lnTo>
                    <a:pt x="114" y="139"/>
                  </a:lnTo>
                  <a:lnTo>
                    <a:pt x="113" y="138"/>
                  </a:lnTo>
                  <a:lnTo>
                    <a:pt x="113" y="137"/>
                  </a:lnTo>
                  <a:lnTo>
                    <a:pt x="112" y="137"/>
                  </a:lnTo>
                  <a:lnTo>
                    <a:pt x="111" y="137"/>
                  </a:lnTo>
                  <a:lnTo>
                    <a:pt x="110" y="137"/>
                  </a:lnTo>
                  <a:lnTo>
                    <a:pt x="110" y="136"/>
                  </a:lnTo>
                  <a:lnTo>
                    <a:pt x="110" y="134"/>
                  </a:lnTo>
                  <a:lnTo>
                    <a:pt x="110" y="133"/>
                  </a:lnTo>
                  <a:lnTo>
                    <a:pt x="110" y="132"/>
                  </a:lnTo>
                  <a:lnTo>
                    <a:pt x="108" y="132"/>
                  </a:lnTo>
                  <a:lnTo>
                    <a:pt x="108" y="131"/>
                  </a:lnTo>
                  <a:lnTo>
                    <a:pt x="107" y="131"/>
                  </a:lnTo>
                  <a:lnTo>
                    <a:pt x="107" y="130"/>
                  </a:lnTo>
                  <a:lnTo>
                    <a:pt x="108" y="130"/>
                  </a:lnTo>
                  <a:lnTo>
                    <a:pt x="108" y="128"/>
                  </a:lnTo>
                  <a:lnTo>
                    <a:pt x="110" y="128"/>
                  </a:lnTo>
                  <a:lnTo>
                    <a:pt x="110" y="130"/>
                  </a:lnTo>
                  <a:lnTo>
                    <a:pt x="111" y="130"/>
                  </a:lnTo>
                  <a:lnTo>
                    <a:pt x="112" y="130"/>
                  </a:lnTo>
                  <a:lnTo>
                    <a:pt x="113" y="130"/>
                  </a:lnTo>
                  <a:lnTo>
                    <a:pt x="113" y="131"/>
                  </a:lnTo>
                  <a:lnTo>
                    <a:pt x="114" y="131"/>
                  </a:lnTo>
                  <a:lnTo>
                    <a:pt x="116" y="131"/>
                  </a:lnTo>
                  <a:lnTo>
                    <a:pt x="116" y="130"/>
                  </a:lnTo>
                  <a:lnTo>
                    <a:pt x="114" y="130"/>
                  </a:lnTo>
                  <a:lnTo>
                    <a:pt x="114" y="128"/>
                  </a:lnTo>
                  <a:lnTo>
                    <a:pt x="114" y="127"/>
                  </a:lnTo>
                  <a:lnTo>
                    <a:pt x="114" y="126"/>
                  </a:lnTo>
                  <a:lnTo>
                    <a:pt x="116" y="126"/>
                  </a:lnTo>
                  <a:lnTo>
                    <a:pt x="116" y="127"/>
                  </a:lnTo>
                  <a:lnTo>
                    <a:pt x="117" y="128"/>
                  </a:lnTo>
                  <a:lnTo>
                    <a:pt x="118" y="128"/>
                  </a:lnTo>
                  <a:lnTo>
                    <a:pt x="119" y="128"/>
                  </a:lnTo>
                  <a:lnTo>
                    <a:pt x="119" y="131"/>
                  </a:lnTo>
                  <a:lnTo>
                    <a:pt x="119" y="132"/>
                  </a:lnTo>
                  <a:lnTo>
                    <a:pt x="120" y="132"/>
                  </a:lnTo>
                  <a:lnTo>
                    <a:pt x="120" y="133"/>
                  </a:lnTo>
                  <a:lnTo>
                    <a:pt x="120" y="132"/>
                  </a:lnTo>
                  <a:lnTo>
                    <a:pt x="122" y="132"/>
                  </a:lnTo>
                  <a:lnTo>
                    <a:pt x="123" y="132"/>
                  </a:lnTo>
                  <a:lnTo>
                    <a:pt x="123" y="131"/>
                  </a:lnTo>
                  <a:lnTo>
                    <a:pt x="124" y="131"/>
                  </a:lnTo>
                  <a:lnTo>
                    <a:pt x="126" y="131"/>
                  </a:lnTo>
                  <a:lnTo>
                    <a:pt x="129" y="131"/>
                  </a:lnTo>
                  <a:lnTo>
                    <a:pt x="129" y="132"/>
                  </a:lnTo>
                  <a:lnTo>
                    <a:pt x="129" y="133"/>
                  </a:lnTo>
                  <a:lnTo>
                    <a:pt x="130" y="133"/>
                  </a:lnTo>
                  <a:lnTo>
                    <a:pt x="130" y="134"/>
                  </a:lnTo>
                  <a:lnTo>
                    <a:pt x="131" y="134"/>
                  </a:lnTo>
                  <a:lnTo>
                    <a:pt x="131" y="133"/>
                  </a:lnTo>
                  <a:lnTo>
                    <a:pt x="130" y="132"/>
                  </a:lnTo>
                  <a:lnTo>
                    <a:pt x="130" y="131"/>
                  </a:lnTo>
                  <a:lnTo>
                    <a:pt x="129" y="131"/>
                  </a:lnTo>
                  <a:lnTo>
                    <a:pt x="129" y="130"/>
                  </a:lnTo>
                  <a:lnTo>
                    <a:pt x="129" y="128"/>
                  </a:lnTo>
                  <a:lnTo>
                    <a:pt x="130" y="127"/>
                  </a:lnTo>
                  <a:lnTo>
                    <a:pt x="130" y="128"/>
                  </a:lnTo>
                  <a:lnTo>
                    <a:pt x="131" y="128"/>
                  </a:lnTo>
                  <a:lnTo>
                    <a:pt x="132" y="130"/>
                  </a:lnTo>
                  <a:lnTo>
                    <a:pt x="132" y="128"/>
                  </a:lnTo>
                  <a:lnTo>
                    <a:pt x="132" y="126"/>
                  </a:lnTo>
                  <a:lnTo>
                    <a:pt x="131" y="125"/>
                  </a:lnTo>
                  <a:lnTo>
                    <a:pt x="131" y="124"/>
                  </a:lnTo>
                  <a:lnTo>
                    <a:pt x="131" y="122"/>
                  </a:lnTo>
                  <a:lnTo>
                    <a:pt x="132" y="122"/>
                  </a:lnTo>
                  <a:lnTo>
                    <a:pt x="132" y="124"/>
                  </a:lnTo>
                  <a:lnTo>
                    <a:pt x="134" y="122"/>
                  </a:lnTo>
                  <a:lnTo>
                    <a:pt x="135" y="122"/>
                  </a:lnTo>
                  <a:lnTo>
                    <a:pt x="136" y="124"/>
                  </a:lnTo>
                  <a:lnTo>
                    <a:pt x="136" y="125"/>
                  </a:lnTo>
                  <a:lnTo>
                    <a:pt x="136" y="124"/>
                  </a:lnTo>
                  <a:lnTo>
                    <a:pt x="137" y="125"/>
                  </a:lnTo>
                  <a:lnTo>
                    <a:pt x="138" y="125"/>
                  </a:lnTo>
                  <a:lnTo>
                    <a:pt x="138" y="124"/>
                  </a:lnTo>
                  <a:lnTo>
                    <a:pt x="140" y="124"/>
                  </a:lnTo>
                  <a:lnTo>
                    <a:pt x="140" y="122"/>
                  </a:lnTo>
                  <a:lnTo>
                    <a:pt x="138" y="122"/>
                  </a:lnTo>
                  <a:lnTo>
                    <a:pt x="140" y="121"/>
                  </a:lnTo>
                  <a:lnTo>
                    <a:pt x="140" y="120"/>
                  </a:lnTo>
                  <a:lnTo>
                    <a:pt x="138" y="120"/>
                  </a:lnTo>
                  <a:lnTo>
                    <a:pt x="138" y="119"/>
                  </a:lnTo>
                  <a:lnTo>
                    <a:pt x="138" y="118"/>
                  </a:lnTo>
                  <a:lnTo>
                    <a:pt x="140" y="118"/>
                  </a:lnTo>
                  <a:lnTo>
                    <a:pt x="140" y="116"/>
                  </a:lnTo>
                  <a:lnTo>
                    <a:pt x="141" y="116"/>
                  </a:lnTo>
                  <a:lnTo>
                    <a:pt x="141" y="118"/>
                  </a:lnTo>
                  <a:lnTo>
                    <a:pt x="142" y="118"/>
                  </a:lnTo>
                  <a:lnTo>
                    <a:pt x="142" y="119"/>
                  </a:lnTo>
                  <a:lnTo>
                    <a:pt x="143" y="119"/>
                  </a:lnTo>
                  <a:lnTo>
                    <a:pt x="143" y="118"/>
                  </a:lnTo>
                  <a:lnTo>
                    <a:pt x="144" y="116"/>
                  </a:lnTo>
                  <a:lnTo>
                    <a:pt x="144" y="115"/>
                  </a:lnTo>
                  <a:lnTo>
                    <a:pt x="146" y="116"/>
                  </a:lnTo>
                  <a:lnTo>
                    <a:pt x="146" y="115"/>
                  </a:lnTo>
                  <a:lnTo>
                    <a:pt x="146" y="114"/>
                  </a:lnTo>
                  <a:lnTo>
                    <a:pt x="144" y="114"/>
                  </a:lnTo>
                  <a:lnTo>
                    <a:pt x="144" y="113"/>
                  </a:lnTo>
                  <a:lnTo>
                    <a:pt x="144" y="112"/>
                  </a:lnTo>
                  <a:lnTo>
                    <a:pt x="143" y="110"/>
                  </a:lnTo>
                  <a:lnTo>
                    <a:pt x="143" y="112"/>
                  </a:lnTo>
                  <a:lnTo>
                    <a:pt x="143" y="110"/>
                  </a:lnTo>
                  <a:lnTo>
                    <a:pt x="142" y="110"/>
                  </a:lnTo>
                  <a:lnTo>
                    <a:pt x="143" y="109"/>
                  </a:lnTo>
                  <a:lnTo>
                    <a:pt x="142" y="109"/>
                  </a:lnTo>
                  <a:lnTo>
                    <a:pt x="142" y="108"/>
                  </a:lnTo>
                  <a:lnTo>
                    <a:pt x="141" y="107"/>
                  </a:lnTo>
                  <a:lnTo>
                    <a:pt x="141" y="108"/>
                  </a:lnTo>
                  <a:lnTo>
                    <a:pt x="141" y="107"/>
                  </a:lnTo>
                  <a:lnTo>
                    <a:pt x="141" y="108"/>
                  </a:lnTo>
                  <a:lnTo>
                    <a:pt x="140" y="108"/>
                  </a:lnTo>
                  <a:lnTo>
                    <a:pt x="138" y="107"/>
                  </a:lnTo>
                  <a:lnTo>
                    <a:pt x="138" y="106"/>
                  </a:lnTo>
                  <a:lnTo>
                    <a:pt x="137" y="106"/>
                  </a:lnTo>
                  <a:lnTo>
                    <a:pt x="136" y="106"/>
                  </a:lnTo>
                  <a:lnTo>
                    <a:pt x="136" y="104"/>
                  </a:lnTo>
                  <a:lnTo>
                    <a:pt x="136" y="103"/>
                  </a:lnTo>
                  <a:lnTo>
                    <a:pt x="136" y="102"/>
                  </a:lnTo>
                  <a:lnTo>
                    <a:pt x="137" y="102"/>
                  </a:lnTo>
                  <a:lnTo>
                    <a:pt x="137" y="103"/>
                  </a:lnTo>
                  <a:lnTo>
                    <a:pt x="138" y="102"/>
                  </a:lnTo>
                  <a:lnTo>
                    <a:pt x="140" y="102"/>
                  </a:lnTo>
                  <a:lnTo>
                    <a:pt x="138" y="101"/>
                  </a:lnTo>
                  <a:lnTo>
                    <a:pt x="137" y="101"/>
                  </a:lnTo>
                  <a:lnTo>
                    <a:pt x="136" y="101"/>
                  </a:lnTo>
                  <a:lnTo>
                    <a:pt x="135" y="101"/>
                  </a:lnTo>
                  <a:lnTo>
                    <a:pt x="135" y="100"/>
                  </a:lnTo>
                  <a:lnTo>
                    <a:pt x="135" y="98"/>
                  </a:lnTo>
                  <a:lnTo>
                    <a:pt x="134" y="98"/>
                  </a:lnTo>
                  <a:lnTo>
                    <a:pt x="132" y="98"/>
                  </a:lnTo>
                  <a:lnTo>
                    <a:pt x="132" y="97"/>
                  </a:lnTo>
                  <a:lnTo>
                    <a:pt x="131" y="97"/>
                  </a:lnTo>
                  <a:lnTo>
                    <a:pt x="132" y="96"/>
                  </a:lnTo>
                  <a:lnTo>
                    <a:pt x="132" y="94"/>
                  </a:lnTo>
                  <a:lnTo>
                    <a:pt x="134" y="92"/>
                  </a:lnTo>
                  <a:lnTo>
                    <a:pt x="132" y="91"/>
                  </a:lnTo>
                  <a:lnTo>
                    <a:pt x="132" y="90"/>
                  </a:lnTo>
                  <a:lnTo>
                    <a:pt x="132" y="89"/>
                  </a:lnTo>
                  <a:lnTo>
                    <a:pt x="132" y="88"/>
                  </a:lnTo>
                  <a:lnTo>
                    <a:pt x="134" y="88"/>
                  </a:lnTo>
                  <a:lnTo>
                    <a:pt x="135" y="88"/>
                  </a:lnTo>
                  <a:lnTo>
                    <a:pt x="135" y="89"/>
                  </a:lnTo>
                  <a:lnTo>
                    <a:pt x="136" y="90"/>
                  </a:lnTo>
                  <a:lnTo>
                    <a:pt x="136" y="89"/>
                  </a:lnTo>
                  <a:lnTo>
                    <a:pt x="137" y="89"/>
                  </a:lnTo>
                  <a:lnTo>
                    <a:pt x="140" y="89"/>
                  </a:lnTo>
                  <a:lnTo>
                    <a:pt x="140" y="88"/>
                  </a:lnTo>
                  <a:lnTo>
                    <a:pt x="141" y="88"/>
                  </a:lnTo>
                  <a:lnTo>
                    <a:pt x="140" y="89"/>
                  </a:lnTo>
                  <a:lnTo>
                    <a:pt x="141" y="89"/>
                  </a:lnTo>
                  <a:lnTo>
                    <a:pt x="141" y="90"/>
                  </a:lnTo>
                  <a:lnTo>
                    <a:pt x="142" y="91"/>
                  </a:lnTo>
                  <a:lnTo>
                    <a:pt x="143" y="92"/>
                  </a:lnTo>
                  <a:lnTo>
                    <a:pt x="143" y="94"/>
                  </a:lnTo>
                  <a:lnTo>
                    <a:pt x="144" y="94"/>
                  </a:lnTo>
                  <a:lnTo>
                    <a:pt x="146" y="94"/>
                  </a:lnTo>
                  <a:lnTo>
                    <a:pt x="147" y="94"/>
                  </a:lnTo>
                  <a:lnTo>
                    <a:pt x="146" y="94"/>
                  </a:lnTo>
                  <a:lnTo>
                    <a:pt x="147" y="92"/>
                  </a:lnTo>
                  <a:lnTo>
                    <a:pt x="148" y="92"/>
                  </a:lnTo>
                  <a:lnTo>
                    <a:pt x="148" y="94"/>
                  </a:lnTo>
                  <a:lnTo>
                    <a:pt x="148" y="95"/>
                  </a:lnTo>
                  <a:lnTo>
                    <a:pt x="149" y="94"/>
                  </a:lnTo>
                  <a:lnTo>
                    <a:pt x="150" y="94"/>
                  </a:lnTo>
                  <a:lnTo>
                    <a:pt x="152" y="94"/>
                  </a:lnTo>
                  <a:lnTo>
                    <a:pt x="152" y="92"/>
                  </a:lnTo>
                  <a:lnTo>
                    <a:pt x="153" y="92"/>
                  </a:lnTo>
                  <a:lnTo>
                    <a:pt x="152" y="92"/>
                  </a:lnTo>
                  <a:lnTo>
                    <a:pt x="150" y="91"/>
                  </a:lnTo>
                  <a:lnTo>
                    <a:pt x="150" y="90"/>
                  </a:lnTo>
                  <a:lnTo>
                    <a:pt x="149" y="90"/>
                  </a:lnTo>
                  <a:lnTo>
                    <a:pt x="149" y="89"/>
                  </a:lnTo>
                  <a:lnTo>
                    <a:pt x="148" y="89"/>
                  </a:lnTo>
                  <a:lnTo>
                    <a:pt x="149" y="89"/>
                  </a:lnTo>
                  <a:lnTo>
                    <a:pt x="149" y="86"/>
                  </a:lnTo>
                  <a:lnTo>
                    <a:pt x="149" y="85"/>
                  </a:lnTo>
                  <a:lnTo>
                    <a:pt x="149" y="84"/>
                  </a:lnTo>
                  <a:lnTo>
                    <a:pt x="150" y="84"/>
                  </a:lnTo>
                  <a:lnTo>
                    <a:pt x="150" y="83"/>
                  </a:lnTo>
                  <a:lnTo>
                    <a:pt x="150" y="82"/>
                  </a:lnTo>
                  <a:lnTo>
                    <a:pt x="150" y="80"/>
                  </a:lnTo>
                  <a:lnTo>
                    <a:pt x="152" y="80"/>
                  </a:lnTo>
                  <a:lnTo>
                    <a:pt x="153" y="80"/>
                  </a:lnTo>
                  <a:lnTo>
                    <a:pt x="154" y="80"/>
                  </a:lnTo>
                  <a:lnTo>
                    <a:pt x="154" y="82"/>
                  </a:lnTo>
                  <a:lnTo>
                    <a:pt x="155" y="83"/>
                  </a:lnTo>
                  <a:lnTo>
                    <a:pt x="155" y="82"/>
                  </a:lnTo>
                  <a:lnTo>
                    <a:pt x="155" y="79"/>
                  </a:lnTo>
                  <a:lnTo>
                    <a:pt x="158" y="79"/>
                  </a:lnTo>
                  <a:lnTo>
                    <a:pt x="158" y="82"/>
                  </a:lnTo>
                  <a:lnTo>
                    <a:pt x="159" y="82"/>
                  </a:lnTo>
                  <a:lnTo>
                    <a:pt x="159" y="83"/>
                  </a:lnTo>
                  <a:lnTo>
                    <a:pt x="160" y="83"/>
                  </a:lnTo>
                  <a:lnTo>
                    <a:pt x="160" y="84"/>
                  </a:lnTo>
                  <a:lnTo>
                    <a:pt x="160" y="85"/>
                  </a:lnTo>
                  <a:lnTo>
                    <a:pt x="160" y="88"/>
                  </a:lnTo>
                  <a:lnTo>
                    <a:pt x="159" y="88"/>
                  </a:lnTo>
                  <a:lnTo>
                    <a:pt x="159" y="89"/>
                  </a:lnTo>
                  <a:lnTo>
                    <a:pt x="159" y="90"/>
                  </a:lnTo>
                  <a:lnTo>
                    <a:pt x="159" y="91"/>
                  </a:lnTo>
                  <a:lnTo>
                    <a:pt x="159" y="92"/>
                  </a:lnTo>
                  <a:lnTo>
                    <a:pt x="160" y="92"/>
                  </a:lnTo>
                  <a:lnTo>
                    <a:pt x="161" y="92"/>
                  </a:lnTo>
                  <a:lnTo>
                    <a:pt x="161" y="91"/>
                  </a:lnTo>
                  <a:lnTo>
                    <a:pt x="163" y="91"/>
                  </a:lnTo>
                  <a:lnTo>
                    <a:pt x="163" y="92"/>
                  </a:lnTo>
                  <a:lnTo>
                    <a:pt x="164" y="92"/>
                  </a:lnTo>
                  <a:lnTo>
                    <a:pt x="164" y="91"/>
                  </a:lnTo>
                  <a:lnTo>
                    <a:pt x="164" y="92"/>
                  </a:lnTo>
                  <a:lnTo>
                    <a:pt x="165" y="92"/>
                  </a:lnTo>
                  <a:lnTo>
                    <a:pt x="166" y="92"/>
                  </a:lnTo>
                  <a:lnTo>
                    <a:pt x="165" y="92"/>
                  </a:lnTo>
                  <a:lnTo>
                    <a:pt x="165" y="91"/>
                  </a:lnTo>
                  <a:lnTo>
                    <a:pt x="164" y="90"/>
                  </a:lnTo>
                  <a:lnTo>
                    <a:pt x="165" y="90"/>
                  </a:lnTo>
                  <a:lnTo>
                    <a:pt x="165" y="89"/>
                  </a:lnTo>
                  <a:lnTo>
                    <a:pt x="164" y="88"/>
                  </a:lnTo>
                  <a:lnTo>
                    <a:pt x="164" y="86"/>
                  </a:lnTo>
                  <a:lnTo>
                    <a:pt x="164" y="85"/>
                  </a:lnTo>
                  <a:lnTo>
                    <a:pt x="164" y="84"/>
                  </a:lnTo>
                  <a:lnTo>
                    <a:pt x="165" y="84"/>
                  </a:lnTo>
                  <a:lnTo>
                    <a:pt x="166" y="83"/>
                  </a:lnTo>
                  <a:lnTo>
                    <a:pt x="166" y="84"/>
                  </a:lnTo>
                  <a:lnTo>
                    <a:pt x="167" y="86"/>
                  </a:lnTo>
                  <a:lnTo>
                    <a:pt x="167" y="85"/>
                  </a:lnTo>
                  <a:lnTo>
                    <a:pt x="169" y="86"/>
                  </a:lnTo>
                  <a:lnTo>
                    <a:pt x="169" y="85"/>
                  </a:lnTo>
                  <a:lnTo>
                    <a:pt x="170" y="85"/>
                  </a:lnTo>
                  <a:lnTo>
                    <a:pt x="170" y="86"/>
                  </a:lnTo>
                  <a:lnTo>
                    <a:pt x="170" y="88"/>
                  </a:lnTo>
                  <a:lnTo>
                    <a:pt x="171" y="89"/>
                  </a:lnTo>
                  <a:lnTo>
                    <a:pt x="172" y="89"/>
                  </a:lnTo>
                  <a:lnTo>
                    <a:pt x="173" y="89"/>
                  </a:lnTo>
                  <a:lnTo>
                    <a:pt x="175" y="89"/>
                  </a:lnTo>
                  <a:lnTo>
                    <a:pt x="175" y="90"/>
                  </a:lnTo>
                  <a:lnTo>
                    <a:pt x="175" y="91"/>
                  </a:lnTo>
                  <a:lnTo>
                    <a:pt x="175" y="92"/>
                  </a:lnTo>
                  <a:lnTo>
                    <a:pt x="173" y="92"/>
                  </a:lnTo>
                  <a:lnTo>
                    <a:pt x="173" y="94"/>
                  </a:lnTo>
                  <a:lnTo>
                    <a:pt x="173" y="95"/>
                  </a:lnTo>
                  <a:lnTo>
                    <a:pt x="173" y="97"/>
                  </a:lnTo>
                  <a:lnTo>
                    <a:pt x="175" y="97"/>
                  </a:lnTo>
                  <a:lnTo>
                    <a:pt x="175" y="98"/>
                  </a:lnTo>
                  <a:lnTo>
                    <a:pt x="175" y="100"/>
                  </a:lnTo>
                  <a:lnTo>
                    <a:pt x="176" y="100"/>
                  </a:lnTo>
                  <a:lnTo>
                    <a:pt x="177" y="100"/>
                  </a:lnTo>
                  <a:lnTo>
                    <a:pt x="178" y="100"/>
                  </a:lnTo>
                  <a:lnTo>
                    <a:pt x="178" y="98"/>
                  </a:lnTo>
                  <a:lnTo>
                    <a:pt x="177" y="98"/>
                  </a:lnTo>
                  <a:lnTo>
                    <a:pt x="177" y="97"/>
                  </a:lnTo>
                  <a:lnTo>
                    <a:pt x="177" y="96"/>
                  </a:lnTo>
                  <a:lnTo>
                    <a:pt x="178" y="96"/>
                  </a:lnTo>
                  <a:lnTo>
                    <a:pt x="178" y="95"/>
                  </a:lnTo>
                  <a:lnTo>
                    <a:pt x="178" y="94"/>
                  </a:lnTo>
                  <a:lnTo>
                    <a:pt x="177" y="92"/>
                  </a:lnTo>
                  <a:lnTo>
                    <a:pt x="177" y="91"/>
                  </a:lnTo>
                  <a:lnTo>
                    <a:pt x="176" y="91"/>
                  </a:lnTo>
                  <a:lnTo>
                    <a:pt x="177" y="90"/>
                  </a:lnTo>
                  <a:lnTo>
                    <a:pt x="177" y="89"/>
                  </a:lnTo>
                  <a:lnTo>
                    <a:pt x="178" y="89"/>
                  </a:lnTo>
                  <a:lnTo>
                    <a:pt x="178" y="90"/>
                  </a:lnTo>
                  <a:lnTo>
                    <a:pt x="179" y="90"/>
                  </a:lnTo>
                  <a:lnTo>
                    <a:pt x="181" y="90"/>
                  </a:lnTo>
                  <a:lnTo>
                    <a:pt x="181" y="89"/>
                  </a:lnTo>
                  <a:lnTo>
                    <a:pt x="182" y="89"/>
                  </a:lnTo>
                  <a:lnTo>
                    <a:pt x="182" y="88"/>
                  </a:lnTo>
                  <a:lnTo>
                    <a:pt x="182" y="86"/>
                  </a:lnTo>
                  <a:lnTo>
                    <a:pt x="182" y="85"/>
                  </a:lnTo>
                  <a:lnTo>
                    <a:pt x="183" y="85"/>
                  </a:lnTo>
                  <a:lnTo>
                    <a:pt x="183" y="86"/>
                  </a:lnTo>
                  <a:lnTo>
                    <a:pt x="184" y="86"/>
                  </a:lnTo>
                  <a:lnTo>
                    <a:pt x="185" y="86"/>
                  </a:lnTo>
                  <a:lnTo>
                    <a:pt x="187" y="86"/>
                  </a:lnTo>
                  <a:lnTo>
                    <a:pt x="187" y="85"/>
                  </a:lnTo>
                  <a:lnTo>
                    <a:pt x="188" y="85"/>
                  </a:lnTo>
                  <a:lnTo>
                    <a:pt x="189" y="85"/>
                  </a:lnTo>
                  <a:lnTo>
                    <a:pt x="189" y="86"/>
                  </a:lnTo>
                  <a:lnTo>
                    <a:pt x="189" y="89"/>
                  </a:lnTo>
                  <a:lnTo>
                    <a:pt x="189" y="90"/>
                  </a:lnTo>
                  <a:lnTo>
                    <a:pt x="190" y="89"/>
                  </a:lnTo>
                  <a:lnTo>
                    <a:pt x="191" y="88"/>
                  </a:lnTo>
                  <a:lnTo>
                    <a:pt x="191" y="89"/>
                  </a:lnTo>
                  <a:lnTo>
                    <a:pt x="191" y="90"/>
                  </a:lnTo>
                  <a:lnTo>
                    <a:pt x="193" y="90"/>
                  </a:lnTo>
                  <a:lnTo>
                    <a:pt x="193" y="91"/>
                  </a:lnTo>
                  <a:lnTo>
                    <a:pt x="194" y="91"/>
                  </a:lnTo>
                  <a:lnTo>
                    <a:pt x="194" y="92"/>
                  </a:lnTo>
                  <a:lnTo>
                    <a:pt x="195" y="92"/>
                  </a:lnTo>
                  <a:lnTo>
                    <a:pt x="195" y="94"/>
                  </a:lnTo>
                  <a:lnTo>
                    <a:pt x="196" y="94"/>
                  </a:lnTo>
                  <a:lnTo>
                    <a:pt x="196" y="95"/>
                  </a:lnTo>
                  <a:lnTo>
                    <a:pt x="195" y="96"/>
                  </a:lnTo>
                  <a:lnTo>
                    <a:pt x="194" y="97"/>
                  </a:lnTo>
                  <a:lnTo>
                    <a:pt x="194" y="98"/>
                  </a:lnTo>
                  <a:lnTo>
                    <a:pt x="194" y="100"/>
                  </a:lnTo>
                  <a:lnTo>
                    <a:pt x="194" y="101"/>
                  </a:lnTo>
                  <a:lnTo>
                    <a:pt x="194" y="102"/>
                  </a:lnTo>
                  <a:lnTo>
                    <a:pt x="194" y="103"/>
                  </a:lnTo>
                  <a:lnTo>
                    <a:pt x="195" y="103"/>
                  </a:lnTo>
                  <a:lnTo>
                    <a:pt x="196" y="104"/>
                  </a:lnTo>
                  <a:lnTo>
                    <a:pt x="196" y="103"/>
                  </a:lnTo>
                  <a:lnTo>
                    <a:pt x="195" y="103"/>
                  </a:lnTo>
                  <a:lnTo>
                    <a:pt x="195" y="102"/>
                  </a:lnTo>
                  <a:lnTo>
                    <a:pt x="196" y="101"/>
                  </a:lnTo>
                  <a:lnTo>
                    <a:pt x="197" y="101"/>
                  </a:lnTo>
                  <a:lnTo>
                    <a:pt x="199" y="100"/>
                  </a:lnTo>
                  <a:lnTo>
                    <a:pt x="200" y="100"/>
                  </a:lnTo>
                  <a:lnTo>
                    <a:pt x="201" y="100"/>
                  </a:lnTo>
                  <a:lnTo>
                    <a:pt x="200" y="98"/>
                  </a:lnTo>
                  <a:lnTo>
                    <a:pt x="201" y="98"/>
                  </a:lnTo>
                  <a:lnTo>
                    <a:pt x="201" y="97"/>
                  </a:lnTo>
                  <a:lnTo>
                    <a:pt x="201" y="96"/>
                  </a:lnTo>
                  <a:lnTo>
                    <a:pt x="202" y="96"/>
                  </a:lnTo>
                  <a:lnTo>
                    <a:pt x="203" y="96"/>
                  </a:lnTo>
                  <a:lnTo>
                    <a:pt x="205" y="96"/>
                  </a:lnTo>
                  <a:lnTo>
                    <a:pt x="205" y="97"/>
                  </a:lnTo>
                  <a:lnTo>
                    <a:pt x="206" y="98"/>
                  </a:lnTo>
                  <a:lnTo>
                    <a:pt x="206" y="100"/>
                  </a:lnTo>
                  <a:lnTo>
                    <a:pt x="205" y="100"/>
                  </a:lnTo>
                  <a:lnTo>
                    <a:pt x="206" y="100"/>
                  </a:lnTo>
                  <a:lnTo>
                    <a:pt x="206" y="98"/>
                  </a:lnTo>
                  <a:lnTo>
                    <a:pt x="207" y="98"/>
                  </a:lnTo>
                  <a:lnTo>
                    <a:pt x="207" y="97"/>
                  </a:lnTo>
                  <a:lnTo>
                    <a:pt x="208" y="97"/>
                  </a:lnTo>
                  <a:lnTo>
                    <a:pt x="208" y="98"/>
                  </a:lnTo>
                  <a:lnTo>
                    <a:pt x="208" y="100"/>
                  </a:lnTo>
                  <a:lnTo>
                    <a:pt x="209" y="100"/>
                  </a:lnTo>
                  <a:lnTo>
                    <a:pt x="209" y="101"/>
                  </a:lnTo>
                  <a:lnTo>
                    <a:pt x="208" y="101"/>
                  </a:lnTo>
                  <a:lnTo>
                    <a:pt x="208" y="102"/>
                  </a:lnTo>
                  <a:lnTo>
                    <a:pt x="207" y="102"/>
                  </a:lnTo>
                  <a:lnTo>
                    <a:pt x="208" y="102"/>
                  </a:lnTo>
                  <a:lnTo>
                    <a:pt x="208" y="103"/>
                  </a:lnTo>
                  <a:lnTo>
                    <a:pt x="208" y="104"/>
                  </a:lnTo>
                  <a:lnTo>
                    <a:pt x="208" y="106"/>
                  </a:lnTo>
                  <a:lnTo>
                    <a:pt x="208" y="107"/>
                  </a:lnTo>
                  <a:lnTo>
                    <a:pt x="208" y="108"/>
                  </a:lnTo>
                  <a:lnTo>
                    <a:pt x="209" y="107"/>
                  </a:lnTo>
                  <a:lnTo>
                    <a:pt x="208" y="106"/>
                  </a:lnTo>
                  <a:lnTo>
                    <a:pt x="208" y="104"/>
                  </a:lnTo>
                  <a:lnTo>
                    <a:pt x="209" y="104"/>
                  </a:lnTo>
                  <a:lnTo>
                    <a:pt x="211" y="104"/>
                  </a:lnTo>
                  <a:lnTo>
                    <a:pt x="211" y="107"/>
                  </a:lnTo>
                  <a:lnTo>
                    <a:pt x="212" y="108"/>
                  </a:lnTo>
                  <a:lnTo>
                    <a:pt x="213" y="108"/>
                  </a:lnTo>
                  <a:lnTo>
                    <a:pt x="213" y="109"/>
                  </a:lnTo>
                  <a:lnTo>
                    <a:pt x="213" y="108"/>
                  </a:lnTo>
                  <a:lnTo>
                    <a:pt x="213" y="107"/>
                  </a:lnTo>
                  <a:lnTo>
                    <a:pt x="213" y="106"/>
                  </a:lnTo>
                  <a:lnTo>
                    <a:pt x="213" y="104"/>
                  </a:lnTo>
                  <a:lnTo>
                    <a:pt x="213" y="103"/>
                  </a:lnTo>
                  <a:lnTo>
                    <a:pt x="214" y="103"/>
                  </a:lnTo>
                  <a:lnTo>
                    <a:pt x="214" y="104"/>
                  </a:lnTo>
                  <a:lnTo>
                    <a:pt x="215" y="104"/>
                  </a:lnTo>
                  <a:lnTo>
                    <a:pt x="215" y="106"/>
                  </a:lnTo>
                  <a:lnTo>
                    <a:pt x="215" y="107"/>
                  </a:lnTo>
                  <a:lnTo>
                    <a:pt x="217" y="108"/>
                  </a:lnTo>
                  <a:lnTo>
                    <a:pt x="217" y="107"/>
                  </a:lnTo>
                  <a:lnTo>
                    <a:pt x="217" y="106"/>
                  </a:lnTo>
                  <a:lnTo>
                    <a:pt x="218" y="106"/>
                  </a:lnTo>
                  <a:lnTo>
                    <a:pt x="218" y="107"/>
                  </a:lnTo>
                  <a:lnTo>
                    <a:pt x="219" y="107"/>
                  </a:lnTo>
                  <a:lnTo>
                    <a:pt x="219" y="108"/>
                  </a:lnTo>
                  <a:lnTo>
                    <a:pt x="219" y="109"/>
                  </a:lnTo>
                  <a:lnTo>
                    <a:pt x="218" y="109"/>
                  </a:lnTo>
                  <a:lnTo>
                    <a:pt x="217" y="110"/>
                  </a:lnTo>
                  <a:lnTo>
                    <a:pt x="215" y="110"/>
                  </a:lnTo>
                  <a:lnTo>
                    <a:pt x="215" y="109"/>
                  </a:lnTo>
                  <a:lnTo>
                    <a:pt x="214" y="109"/>
                  </a:lnTo>
                  <a:lnTo>
                    <a:pt x="214" y="110"/>
                  </a:lnTo>
                  <a:lnTo>
                    <a:pt x="214" y="112"/>
                  </a:lnTo>
                  <a:lnTo>
                    <a:pt x="214" y="110"/>
                  </a:lnTo>
                  <a:lnTo>
                    <a:pt x="215" y="110"/>
                  </a:lnTo>
                  <a:lnTo>
                    <a:pt x="217" y="112"/>
                  </a:lnTo>
                  <a:lnTo>
                    <a:pt x="218" y="112"/>
                  </a:lnTo>
                  <a:lnTo>
                    <a:pt x="219" y="112"/>
                  </a:lnTo>
                  <a:lnTo>
                    <a:pt x="220" y="112"/>
                  </a:lnTo>
                  <a:lnTo>
                    <a:pt x="220" y="110"/>
                  </a:lnTo>
                  <a:lnTo>
                    <a:pt x="220" y="109"/>
                  </a:lnTo>
                  <a:lnTo>
                    <a:pt x="222" y="109"/>
                  </a:lnTo>
                  <a:lnTo>
                    <a:pt x="222" y="108"/>
                  </a:lnTo>
                  <a:lnTo>
                    <a:pt x="220" y="108"/>
                  </a:lnTo>
                  <a:lnTo>
                    <a:pt x="220" y="107"/>
                  </a:lnTo>
                  <a:lnTo>
                    <a:pt x="220" y="106"/>
                  </a:lnTo>
                  <a:lnTo>
                    <a:pt x="219" y="106"/>
                  </a:lnTo>
                  <a:lnTo>
                    <a:pt x="219" y="104"/>
                  </a:lnTo>
                  <a:lnTo>
                    <a:pt x="219" y="103"/>
                  </a:lnTo>
                  <a:lnTo>
                    <a:pt x="219" y="102"/>
                  </a:lnTo>
                  <a:lnTo>
                    <a:pt x="218" y="102"/>
                  </a:lnTo>
                  <a:lnTo>
                    <a:pt x="218" y="101"/>
                  </a:lnTo>
                  <a:lnTo>
                    <a:pt x="219" y="101"/>
                  </a:lnTo>
                  <a:lnTo>
                    <a:pt x="220" y="101"/>
                  </a:lnTo>
                  <a:lnTo>
                    <a:pt x="220" y="102"/>
                  </a:lnTo>
                  <a:lnTo>
                    <a:pt x="222" y="101"/>
                  </a:lnTo>
                  <a:lnTo>
                    <a:pt x="223" y="101"/>
                  </a:lnTo>
                  <a:lnTo>
                    <a:pt x="224" y="101"/>
                  </a:lnTo>
                  <a:lnTo>
                    <a:pt x="224" y="102"/>
                  </a:lnTo>
                  <a:lnTo>
                    <a:pt x="224" y="101"/>
                  </a:lnTo>
                  <a:lnTo>
                    <a:pt x="225" y="101"/>
                  </a:lnTo>
                  <a:lnTo>
                    <a:pt x="224" y="101"/>
                  </a:lnTo>
                  <a:lnTo>
                    <a:pt x="224" y="100"/>
                  </a:lnTo>
                  <a:lnTo>
                    <a:pt x="225" y="100"/>
                  </a:lnTo>
                  <a:lnTo>
                    <a:pt x="225" y="101"/>
                  </a:lnTo>
                  <a:lnTo>
                    <a:pt x="226" y="101"/>
                  </a:lnTo>
                  <a:lnTo>
                    <a:pt x="226" y="102"/>
                  </a:lnTo>
                  <a:lnTo>
                    <a:pt x="225" y="102"/>
                  </a:lnTo>
                  <a:lnTo>
                    <a:pt x="225" y="103"/>
                  </a:lnTo>
                  <a:lnTo>
                    <a:pt x="225" y="104"/>
                  </a:lnTo>
                  <a:lnTo>
                    <a:pt x="224" y="104"/>
                  </a:lnTo>
                  <a:lnTo>
                    <a:pt x="224" y="106"/>
                  </a:lnTo>
                  <a:lnTo>
                    <a:pt x="224" y="107"/>
                  </a:lnTo>
                  <a:lnTo>
                    <a:pt x="223" y="107"/>
                  </a:lnTo>
                  <a:lnTo>
                    <a:pt x="222" y="107"/>
                  </a:lnTo>
                  <a:lnTo>
                    <a:pt x="222" y="108"/>
                  </a:lnTo>
                  <a:lnTo>
                    <a:pt x="223" y="108"/>
                  </a:lnTo>
                  <a:lnTo>
                    <a:pt x="223" y="110"/>
                  </a:lnTo>
                  <a:lnTo>
                    <a:pt x="222" y="110"/>
                  </a:lnTo>
                  <a:lnTo>
                    <a:pt x="223" y="112"/>
                  </a:lnTo>
                  <a:lnTo>
                    <a:pt x="223" y="113"/>
                  </a:lnTo>
                  <a:lnTo>
                    <a:pt x="224" y="113"/>
                  </a:lnTo>
                  <a:lnTo>
                    <a:pt x="224" y="112"/>
                  </a:lnTo>
                  <a:lnTo>
                    <a:pt x="225" y="112"/>
                  </a:lnTo>
                  <a:lnTo>
                    <a:pt x="228" y="112"/>
                  </a:lnTo>
                  <a:lnTo>
                    <a:pt x="229" y="110"/>
                  </a:lnTo>
                  <a:lnTo>
                    <a:pt x="229" y="112"/>
                  </a:lnTo>
                  <a:lnTo>
                    <a:pt x="230" y="112"/>
                  </a:lnTo>
                  <a:lnTo>
                    <a:pt x="231" y="112"/>
                  </a:lnTo>
                  <a:lnTo>
                    <a:pt x="231" y="110"/>
                  </a:lnTo>
                  <a:lnTo>
                    <a:pt x="232" y="110"/>
                  </a:lnTo>
                  <a:lnTo>
                    <a:pt x="232" y="112"/>
                  </a:lnTo>
                  <a:lnTo>
                    <a:pt x="234" y="112"/>
                  </a:lnTo>
                  <a:lnTo>
                    <a:pt x="235" y="113"/>
                  </a:lnTo>
                  <a:lnTo>
                    <a:pt x="235" y="112"/>
                  </a:lnTo>
                  <a:lnTo>
                    <a:pt x="235" y="113"/>
                  </a:lnTo>
                  <a:lnTo>
                    <a:pt x="236" y="113"/>
                  </a:lnTo>
                  <a:lnTo>
                    <a:pt x="237" y="112"/>
                  </a:lnTo>
                  <a:lnTo>
                    <a:pt x="238" y="112"/>
                  </a:lnTo>
                  <a:lnTo>
                    <a:pt x="238" y="113"/>
                  </a:lnTo>
                  <a:lnTo>
                    <a:pt x="240" y="113"/>
                  </a:lnTo>
                  <a:lnTo>
                    <a:pt x="238" y="112"/>
                  </a:lnTo>
                  <a:lnTo>
                    <a:pt x="240" y="110"/>
                  </a:lnTo>
                  <a:lnTo>
                    <a:pt x="238" y="110"/>
                  </a:lnTo>
                  <a:lnTo>
                    <a:pt x="240" y="110"/>
                  </a:lnTo>
                  <a:lnTo>
                    <a:pt x="240" y="112"/>
                  </a:lnTo>
                  <a:lnTo>
                    <a:pt x="240" y="113"/>
                  </a:lnTo>
                  <a:lnTo>
                    <a:pt x="240" y="114"/>
                  </a:lnTo>
                  <a:lnTo>
                    <a:pt x="238" y="115"/>
                  </a:lnTo>
                  <a:lnTo>
                    <a:pt x="238" y="116"/>
                  </a:lnTo>
                  <a:lnTo>
                    <a:pt x="237" y="116"/>
                  </a:lnTo>
                  <a:lnTo>
                    <a:pt x="236" y="116"/>
                  </a:lnTo>
                  <a:lnTo>
                    <a:pt x="237" y="116"/>
                  </a:lnTo>
                  <a:lnTo>
                    <a:pt x="237" y="119"/>
                  </a:lnTo>
                  <a:lnTo>
                    <a:pt x="237" y="120"/>
                  </a:lnTo>
                  <a:lnTo>
                    <a:pt x="236" y="121"/>
                  </a:lnTo>
                  <a:lnTo>
                    <a:pt x="236" y="120"/>
                  </a:lnTo>
                  <a:lnTo>
                    <a:pt x="236" y="121"/>
                  </a:lnTo>
                  <a:lnTo>
                    <a:pt x="236" y="122"/>
                  </a:lnTo>
                  <a:lnTo>
                    <a:pt x="237" y="122"/>
                  </a:lnTo>
                  <a:lnTo>
                    <a:pt x="237" y="121"/>
                  </a:lnTo>
                  <a:lnTo>
                    <a:pt x="237" y="120"/>
                  </a:lnTo>
                  <a:lnTo>
                    <a:pt x="238" y="119"/>
                  </a:lnTo>
                  <a:lnTo>
                    <a:pt x="238" y="120"/>
                  </a:lnTo>
                  <a:lnTo>
                    <a:pt x="240" y="120"/>
                  </a:lnTo>
                  <a:lnTo>
                    <a:pt x="240" y="119"/>
                  </a:lnTo>
                  <a:lnTo>
                    <a:pt x="241" y="119"/>
                  </a:lnTo>
                  <a:lnTo>
                    <a:pt x="241" y="120"/>
                  </a:lnTo>
                  <a:lnTo>
                    <a:pt x="240" y="120"/>
                  </a:lnTo>
                  <a:lnTo>
                    <a:pt x="240" y="121"/>
                  </a:lnTo>
                  <a:lnTo>
                    <a:pt x="240" y="122"/>
                  </a:lnTo>
                  <a:lnTo>
                    <a:pt x="241" y="122"/>
                  </a:lnTo>
                  <a:lnTo>
                    <a:pt x="242" y="122"/>
                  </a:lnTo>
                  <a:lnTo>
                    <a:pt x="242" y="121"/>
                  </a:lnTo>
                  <a:lnTo>
                    <a:pt x="243" y="121"/>
                  </a:lnTo>
                  <a:lnTo>
                    <a:pt x="243" y="120"/>
                  </a:lnTo>
                  <a:lnTo>
                    <a:pt x="244" y="120"/>
                  </a:lnTo>
                  <a:lnTo>
                    <a:pt x="246" y="120"/>
                  </a:lnTo>
                  <a:lnTo>
                    <a:pt x="246" y="121"/>
                  </a:lnTo>
                  <a:lnTo>
                    <a:pt x="247" y="121"/>
                  </a:lnTo>
                  <a:lnTo>
                    <a:pt x="248" y="121"/>
                  </a:lnTo>
                  <a:lnTo>
                    <a:pt x="248" y="122"/>
                  </a:lnTo>
                  <a:lnTo>
                    <a:pt x="249" y="122"/>
                  </a:lnTo>
                  <a:lnTo>
                    <a:pt x="250" y="122"/>
                  </a:lnTo>
                  <a:lnTo>
                    <a:pt x="250" y="121"/>
                  </a:lnTo>
                  <a:lnTo>
                    <a:pt x="252" y="121"/>
                  </a:lnTo>
                  <a:lnTo>
                    <a:pt x="253" y="122"/>
                  </a:lnTo>
                  <a:lnTo>
                    <a:pt x="253" y="124"/>
                  </a:lnTo>
                  <a:lnTo>
                    <a:pt x="254" y="124"/>
                  </a:lnTo>
                  <a:lnTo>
                    <a:pt x="254" y="125"/>
                  </a:lnTo>
                  <a:lnTo>
                    <a:pt x="255" y="125"/>
                  </a:lnTo>
                  <a:lnTo>
                    <a:pt x="256" y="125"/>
                  </a:lnTo>
                  <a:lnTo>
                    <a:pt x="256" y="124"/>
                  </a:lnTo>
                  <a:lnTo>
                    <a:pt x="258" y="124"/>
                  </a:lnTo>
                  <a:lnTo>
                    <a:pt x="258" y="125"/>
                  </a:lnTo>
                  <a:lnTo>
                    <a:pt x="259" y="125"/>
                  </a:lnTo>
                  <a:lnTo>
                    <a:pt x="259" y="126"/>
                  </a:lnTo>
                  <a:lnTo>
                    <a:pt x="259" y="127"/>
                  </a:lnTo>
                  <a:lnTo>
                    <a:pt x="260" y="127"/>
                  </a:lnTo>
                  <a:lnTo>
                    <a:pt x="260" y="126"/>
                  </a:lnTo>
                  <a:lnTo>
                    <a:pt x="261" y="126"/>
                  </a:lnTo>
                  <a:lnTo>
                    <a:pt x="262" y="126"/>
                  </a:lnTo>
                  <a:lnTo>
                    <a:pt x="262" y="127"/>
                  </a:lnTo>
                  <a:lnTo>
                    <a:pt x="261" y="127"/>
                  </a:lnTo>
                  <a:lnTo>
                    <a:pt x="260" y="127"/>
                  </a:lnTo>
                  <a:lnTo>
                    <a:pt x="260" y="128"/>
                  </a:lnTo>
                  <a:lnTo>
                    <a:pt x="260" y="127"/>
                  </a:lnTo>
                  <a:lnTo>
                    <a:pt x="260" y="128"/>
                  </a:lnTo>
                  <a:lnTo>
                    <a:pt x="261" y="128"/>
                  </a:lnTo>
                  <a:lnTo>
                    <a:pt x="260" y="128"/>
                  </a:lnTo>
                  <a:lnTo>
                    <a:pt x="260" y="130"/>
                  </a:lnTo>
                  <a:lnTo>
                    <a:pt x="261" y="130"/>
                  </a:lnTo>
                  <a:lnTo>
                    <a:pt x="262" y="130"/>
                  </a:lnTo>
                  <a:lnTo>
                    <a:pt x="262" y="128"/>
                  </a:lnTo>
                  <a:lnTo>
                    <a:pt x="262" y="130"/>
                  </a:lnTo>
                  <a:lnTo>
                    <a:pt x="264" y="128"/>
                  </a:lnTo>
                  <a:lnTo>
                    <a:pt x="264" y="127"/>
                  </a:lnTo>
                  <a:lnTo>
                    <a:pt x="264" y="126"/>
                  </a:lnTo>
                  <a:lnTo>
                    <a:pt x="264" y="127"/>
                  </a:lnTo>
                  <a:lnTo>
                    <a:pt x="265" y="127"/>
                  </a:lnTo>
                  <a:lnTo>
                    <a:pt x="265" y="128"/>
                  </a:lnTo>
                  <a:lnTo>
                    <a:pt x="264" y="128"/>
                  </a:lnTo>
                  <a:lnTo>
                    <a:pt x="265" y="128"/>
                  </a:lnTo>
                  <a:lnTo>
                    <a:pt x="265" y="130"/>
                  </a:lnTo>
                  <a:lnTo>
                    <a:pt x="265" y="131"/>
                  </a:lnTo>
                  <a:lnTo>
                    <a:pt x="265" y="130"/>
                  </a:lnTo>
                  <a:lnTo>
                    <a:pt x="267" y="130"/>
                  </a:lnTo>
                  <a:lnTo>
                    <a:pt x="268" y="130"/>
                  </a:lnTo>
                  <a:lnTo>
                    <a:pt x="270" y="130"/>
                  </a:lnTo>
                  <a:lnTo>
                    <a:pt x="271" y="130"/>
                  </a:lnTo>
                  <a:lnTo>
                    <a:pt x="271" y="131"/>
                  </a:lnTo>
                  <a:lnTo>
                    <a:pt x="272" y="131"/>
                  </a:lnTo>
                  <a:lnTo>
                    <a:pt x="272" y="132"/>
                  </a:lnTo>
                  <a:lnTo>
                    <a:pt x="272" y="131"/>
                  </a:lnTo>
                  <a:lnTo>
                    <a:pt x="273" y="131"/>
                  </a:lnTo>
                  <a:lnTo>
                    <a:pt x="273" y="132"/>
                  </a:lnTo>
                  <a:lnTo>
                    <a:pt x="274" y="132"/>
                  </a:lnTo>
                  <a:lnTo>
                    <a:pt x="273" y="133"/>
                  </a:lnTo>
                  <a:lnTo>
                    <a:pt x="274" y="133"/>
                  </a:lnTo>
                  <a:lnTo>
                    <a:pt x="274" y="134"/>
                  </a:lnTo>
                  <a:lnTo>
                    <a:pt x="273" y="134"/>
                  </a:lnTo>
                  <a:lnTo>
                    <a:pt x="274" y="134"/>
                  </a:lnTo>
                  <a:lnTo>
                    <a:pt x="274" y="136"/>
                  </a:lnTo>
                  <a:lnTo>
                    <a:pt x="274" y="137"/>
                  </a:lnTo>
                  <a:lnTo>
                    <a:pt x="273" y="138"/>
                  </a:lnTo>
                  <a:lnTo>
                    <a:pt x="274" y="138"/>
                  </a:lnTo>
                  <a:lnTo>
                    <a:pt x="273" y="138"/>
                  </a:lnTo>
                  <a:lnTo>
                    <a:pt x="273" y="139"/>
                  </a:lnTo>
                  <a:lnTo>
                    <a:pt x="272" y="139"/>
                  </a:lnTo>
                  <a:lnTo>
                    <a:pt x="272" y="140"/>
                  </a:lnTo>
                  <a:lnTo>
                    <a:pt x="271" y="140"/>
                  </a:lnTo>
                  <a:lnTo>
                    <a:pt x="270" y="140"/>
                  </a:lnTo>
                  <a:lnTo>
                    <a:pt x="268" y="140"/>
                  </a:lnTo>
                  <a:lnTo>
                    <a:pt x="268" y="139"/>
                  </a:lnTo>
                  <a:lnTo>
                    <a:pt x="268" y="138"/>
                  </a:lnTo>
                  <a:lnTo>
                    <a:pt x="268" y="139"/>
                  </a:lnTo>
                  <a:lnTo>
                    <a:pt x="267" y="140"/>
                  </a:lnTo>
                  <a:lnTo>
                    <a:pt x="267" y="139"/>
                  </a:lnTo>
                  <a:lnTo>
                    <a:pt x="267" y="138"/>
                  </a:lnTo>
                  <a:lnTo>
                    <a:pt x="266" y="138"/>
                  </a:lnTo>
                  <a:lnTo>
                    <a:pt x="265" y="137"/>
                  </a:lnTo>
                  <a:lnTo>
                    <a:pt x="264" y="137"/>
                  </a:lnTo>
                  <a:lnTo>
                    <a:pt x="265" y="138"/>
                  </a:lnTo>
                  <a:lnTo>
                    <a:pt x="265" y="140"/>
                  </a:lnTo>
                  <a:lnTo>
                    <a:pt x="265" y="139"/>
                  </a:lnTo>
                  <a:lnTo>
                    <a:pt x="266" y="139"/>
                  </a:lnTo>
                  <a:lnTo>
                    <a:pt x="266" y="138"/>
                  </a:lnTo>
                  <a:lnTo>
                    <a:pt x="266" y="139"/>
                  </a:lnTo>
                  <a:lnTo>
                    <a:pt x="266" y="140"/>
                  </a:lnTo>
                  <a:lnTo>
                    <a:pt x="265" y="140"/>
                  </a:lnTo>
                  <a:lnTo>
                    <a:pt x="266" y="140"/>
                  </a:lnTo>
                  <a:lnTo>
                    <a:pt x="268" y="140"/>
                  </a:lnTo>
                  <a:lnTo>
                    <a:pt x="270" y="140"/>
                  </a:lnTo>
                  <a:lnTo>
                    <a:pt x="270" y="142"/>
                  </a:lnTo>
                  <a:lnTo>
                    <a:pt x="271" y="143"/>
                  </a:lnTo>
                  <a:lnTo>
                    <a:pt x="271" y="144"/>
                  </a:lnTo>
                  <a:lnTo>
                    <a:pt x="270" y="145"/>
                  </a:lnTo>
                  <a:lnTo>
                    <a:pt x="270" y="146"/>
                  </a:lnTo>
                  <a:lnTo>
                    <a:pt x="271" y="146"/>
                  </a:lnTo>
                  <a:lnTo>
                    <a:pt x="271" y="148"/>
                  </a:lnTo>
                  <a:lnTo>
                    <a:pt x="270" y="148"/>
                  </a:lnTo>
                  <a:lnTo>
                    <a:pt x="271" y="148"/>
                  </a:lnTo>
                  <a:lnTo>
                    <a:pt x="271" y="146"/>
                  </a:lnTo>
                  <a:lnTo>
                    <a:pt x="272" y="146"/>
                  </a:lnTo>
                  <a:lnTo>
                    <a:pt x="272" y="145"/>
                  </a:lnTo>
                  <a:lnTo>
                    <a:pt x="273" y="145"/>
                  </a:lnTo>
                  <a:lnTo>
                    <a:pt x="272" y="144"/>
                  </a:lnTo>
                  <a:lnTo>
                    <a:pt x="271" y="144"/>
                  </a:lnTo>
                  <a:lnTo>
                    <a:pt x="271" y="143"/>
                  </a:lnTo>
                  <a:lnTo>
                    <a:pt x="271" y="142"/>
                  </a:lnTo>
                  <a:lnTo>
                    <a:pt x="272" y="142"/>
                  </a:lnTo>
                  <a:lnTo>
                    <a:pt x="273" y="143"/>
                  </a:lnTo>
                  <a:lnTo>
                    <a:pt x="273" y="142"/>
                  </a:lnTo>
                  <a:lnTo>
                    <a:pt x="274" y="142"/>
                  </a:lnTo>
                  <a:lnTo>
                    <a:pt x="276" y="142"/>
                  </a:lnTo>
                  <a:lnTo>
                    <a:pt x="277" y="143"/>
                  </a:lnTo>
                  <a:lnTo>
                    <a:pt x="278" y="143"/>
                  </a:lnTo>
                  <a:lnTo>
                    <a:pt x="278" y="144"/>
                  </a:lnTo>
                  <a:lnTo>
                    <a:pt x="279" y="144"/>
                  </a:lnTo>
                  <a:lnTo>
                    <a:pt x="279" y="145"/>
                  </a:lnTo>
                  <a:lnTo>
                    <a:pt x="279" y="146"/>
                  </a:lnTo>
                  <a:lnTo>
                    <a:pt x="281" y="148"/>
                  </a:lnTo>
                  <a:lnTo>
                    <a:pt x="282" y="148"/>
                  </a:lnTo>
                  <a:lnTo>
                    <a:pt x="282" y="149"/>
                  </a:lnTo>
                  <a:lnTo>
                    <a:pt x="281" y="149"/>
                  </a:lnTo>
                  <a:lnTo>
                    <a:pt x="282" y="149"/>
                  </a:lnTo>
                  <a:lnTo>
                    <a:pt x="281" y="149"/>
                  </a:lnTo>
                  <a:lnTo>
                    <a:pt x="279" y="150"/>
                  </a:lnTo>
                  <a:lnTo>
                    <a:pt x="279" y="151"/>
                  </a:lnTo>
                  <a:lnTo>
                    <a:pt x="281" y="151"/>
                  </a:lnTo>
                  <a:lnTo>
                    <a:pt x="282" y="151"/>
                  </a:lnTo>
                  <a:lnTo>
                    <a:pt x="283" y="152"/>
                  </a:lnTo>
                  <a:lnTo>
                    <a:pt x="283" y="151"/>
                  </a:lnTo>
                  <a:lnTo>
                    <a:pt x="283" y="152"/>
                  </a:lnTo>
                  <a:lnTo>
                    <a:pt x="284" y="152"/>
                  </a:lnTo>
                  <a:lnTo>
                    <a:pt x="284" y="154"/>
                  </a:lnTo>
                  <a:lnTo>
                    <a:pt x="284" y="152"/>
                  </a:lnTo>
                  <a:lnTo>
                    <a:pt x="284" y="151"/>
                  </a:lnTo>
                  <a:lnTo>
                    <a:pt x="283" y="151"/>
                  </a:lnTo>
                  <a:lnTo>
                    <a:pt x="283" y="150"/>
                  </a:lnTo>
                  <a:lnTo>
                    <a:pt x="282" y="150"/>
                  </a:lnTo>
                  <a:lnTo>
                    <a:pt x="283" y="150"/>
                  </a:lnTo>
                  <a:lnTo>
                    <a:pt x="284" y="149"/>
                  </a:lnTo>
                  <a:lnTo>
                    <a:pt x="283" y="148"/>
                  </a:lnTo>
                  <a:lnTo>
                    <a:pt x="283" y="146"/>
                  </a:lnTo>
                  <a:lnTo>
                    <a:pt x="282" y="146"/>
                  </a:lnTo>
                  <a:lnTo>
                    <a:pt x="282" y="145"/>
                  </a:lnTo>
                  <a:lnTo>
                    <a:pt x="281" y="145"/>
                  </a:lnTo>
                  <a:lnTo>
                    <a:pt x="281" y="144"/>
                  </a:lnTo>
                  <a:lnTo>
                    <a:pt x="282" y="144"/>
                  </a:lnTo>
                  <a:lnTo>
                    <a:pt x="281" y="143"/>
                  </a:lnTo>
                  <a:lnTo>
                    <a:pt x="281" y="142"/>
                  </a:lnTo>
                  <a:lnTo>
                    <a:pt x="279" y="142"/>
                  </a:lnTo>
                  <a:lnTo>
                    <a:pt x="279" y="140"/>
                  </a:lnTo>
                  <a:lnTo>
                    <a:pt x="279" y="139"/>
                  </a:lnTo>
                  <a:lnTo>
                    <a:pt x="279" y="137"/>
                  </a:lnTo>
                  <a:lnTo>
                    <a:pt x="279" y="136"/>
                  </a:lnTo>
                  <a:lnTo>
                    <a:pt x="279" y="134"/>
                  </a:lnTo>
                  <a:lnTo>
                    <a:pt x="278" y="134"/>
                  </a:lnTo>
                  <a:lnTo>
                    <a:pt x="278" y="133"/>
                  </a:lnTo>
                  <a:lnTo>
                    <a:pt x="278" y="132"/>
                  </a:lnTo>
                  <a:lnTo>
                    <a:pt x="278" y="131"/>
                  </a:lnTo>
                  <a:lnTo>
                    <a:pt x="277" y="131"/>
                  </a:lnTo>
                  <a:lnTo>
                    <a:pt x="277" y="130"/>
                  </a:lnTo>
                  <a:lnTo>
                    <a:pt x="277" y="128"/>
                  </a:lnTo>
                  <a:lnTo>
                    <a:pt x="277" y="127"/>
                  </a:lnTo>
                  <a:lnTo>
                    <a:pt x="277" y="126"/>
                  </a:lnTo>
                  <a:lnTo>
                    <a:pt x="276" y="126"/>
                  </a:lnTo>
                  <a:lnTo>
                    <a:pt x="274" y="126"/>
                  </a:lnTo>
                  <a:lnTo>
                    <a:pt x="273" y="126"/>
                  </a:lnTo>
                  <a:lnTo>
                    <a:pt x="273" y="125"/>
                  </a:lnTo>
                  <a:lnTo>
                    <a:pt x="274" y="125"/>
                  </a:lnTo>
                  <a:lnTo>
                    <a:pt x="273" y="125"/>
                  </a:lnTo>
                  <a:lnTo>
                    <a:pt x="273" y="124"/>
                  </a:lnTo>
                  <a:lnTo>
                    <a:pt x="273" y="122"/>
                  </a:lnTo>
                  <a:lnTo>
                    <a:pt x="273" y="124"/>
                  </a:lnTo>
                  <a:lnTo>
                    <a:pt x="274" y="124"/>
                  </a:lnTo>
                  <a:lnTo>
                    <a:pt x="274" y="122"/>
                  </a:lnTo>
                  <a:lnTo>
                    <a:pt x="273" y="122"/>
                  </a:lnTo>
                  <a:lnTo>
                    <a:pt x="273" y="121"/>
                  </a:lnTo>
                  <a:lnTo>
                    <a:pt x="272" y="121"/>
                  </a:lnTo>
                  <a:lnTo>
                    <a:pt x="272" y="122"/>
                  </a:lnTo>
                  <a:lnTo>
                    <a:pt x="272" y="121"/>
                  </a:lnTo>
                  <a:lnTo>
                    <a:pt x="271" y="121"/>
                  </a:lnTo>
                  <a:lnTo>
                    <a:pt x="271" y="122"/>
                  </a:lnTo>
                  <a:lnTo>
                    <a:pt x="270" y="122"/>
                  </a:lnTo>
                  <a:lnTo>
                    <a:pt x="268" y="122"/>
                  </a:lnTo>
                  <a:lnTo>
                    <a:pt x="267" y="122"/>
                  </a:lnTo>
                  <a:lnTo>
                    <a:pt x="267" y="121"/>
                  </a:lnTo>
                  <a:lnTo>
                    <a:pt x="266" y="121"/>
                  </a:lnTo>
                  <a:lnTo>
                    <a:pt x="265" y="121"/>
                  </a:lnTo>
                  <a:lnTo>
                    <a:pt x="265" y="120"/>
                  </a:lnTo>
                  <a:lnTo>
                    <a:pt x="265" y="119"/>
                  </a:lnTo>
                  <a:lnTo>
                    <a:pt x="266" y="118"/>
                  </a:lnTo>
                  <a:lnTo>
                    <a:pt x="266" y="119"/>
                  </a:lnTo>
                  <a:lnTo>
                    <a:pt x="266" y="118"/>
                  </a:lnTo>
                  <a:lnTo>
                    <a:pt x="267" y="119"/>
                  </a:lnTo>
                  <a:lnTo>
                    <a:pt x="267" y="118"/>
                  </a:lnTo>
                  <a:lnTo>
                    <a:pt x="268" y="118"/>
                  </a:lnTo>
                  <a:lnTo>
                    <a:pt x="268" y="116"/>
                  </a:lnTo>
                  <a:lnTo>
                    <a:pt x="270" y="116"/>
                  </a:lnTo>
                  <a:lnTo>
                    <a:pt x="270" y="118"/>
                  </a:lnTo>
                  <a:lnTo>
                    <a:pt x="271" y="118"/>
                  </a:lnTo>
                  <a:lnTo>
                    <a:pt x="271" y="116"/>
                  </a:lnTo>
                  <a:lnTo>
                    <a:pt x="270" y="116"/>
                  </a:lnTo>
                  <a:lnTo>
                    <a:pt x="270" y="115"/>
                  </a:lnTo>
                  <a:lnTo>
                    <a:pt x="268" y="115"/>
                  </a:lnTo>
                  <a:lnTo>
                    <a:pt x="268" y="114"/>
                  </a:lnTo>
                  <a:lnTo>
                    <a:pt x="267" y="114"/>
                  </a:lnTo>
                  <a:lnTo>
                    <a:pt x="267" y="115"/>
                  </a:lnTo>
                  <a:lnTo>
                    <a:pt x="267" y="116"/>
                  </a:lnTo>
                  <a:lnTo>
                    <a:pt x="267" y="118"/>
                  </a:lnTo>
                  <a:lnTo>
                    <a:pt x="267" y="116"/>
                  </a:lnTo>
                  <a:lnTo>
                    <a:pt x="266" y="116"/>
                  </a:lnTo>
                  <a:lnTo>
                    <a:pt x="265" y="118"/>
                  </a:lnTo>
                  <a:lnTo>
                    <a:pt x="264" y="118"/>
                  </a:lnTo>
                  <a:lnTo>
                    <a:pt x="262" y="118"/>
                  </a:lnTo>
                  <a:lnTo>
                    <a:pt x="261" y="116"/>
                  </a:lnTo>
                  <a:lnTo>
                    <a:pt x="261" y="115"/>
                  </a:lnTo>
                  <a:lnTo>
                    <a:pt x="261" y="116"/>
                  </a:lnTo>
                  <a:lnTo>
                    <a:pt x="260" y="116"/>
                  </a:lnTo>
                  <a:lnTo>
                    <a:pt x="259" y="116"/>
                  </a:lnTo>
                  <a:lnTo>
                    <a:pt x="258" y="116"/>
                  </a:lnTo>
                  <a:lnTo>
                    <a:pt x="258" y="115"/>
                  </a:lnTo>
                  <a:lnTo>
                    <a:pt x="256" y="115"/>
                  </a:lnTo>
                  <a:lnTo>
                    <a:pt x="255" y="115"/>
                  </a:lnTo>
                  <a:lnTo>
                    <a:pt x="254" y="115"/>
                  </a:lnTo>
                  <a:lnTo>
                    <a:pt x="253" y="115"/>
                  </a:lnTo>
                  <a:lnTo>
                    <a:pt x="252" y="114"/>
                  </a:lnTo>
                  <a:lnTo>
                    <a:pt x="253" y="114"/>
                  </a:lnTo>
                  <a:lnTo>
                    <a:pt x="253" y="113"/>
                  </a:lnTo>
                  <a:lnTo>
                    <a:pt x="253" y="112"/>
                  </a:lnTo>
                  <a:lnTo>
                    <a:pt x="254" y="112"/>
                  </a:lnTo>
                  <a:lnTo>
                    <a:pt x="255" y="112"/>
                  </a:lnTo>
                  <a:lnTo>
                    <a:pt x="255" y="113"/>
                  </a:lnTo>
                  <a:lnTo>
                    <a:pt x="256" y="113"/>
                  </a:lnTo>
                  <a:lnTo>
                    <a:pt x="256" y="112"/>
                  </a:lnTo>
                  <a:lnTo>
                    <a:pt x="255" y="110"/>
                  </a:lnTo>
                  <a:lnTo>
                    <a:pt x="254" y="110"/>
                  </a:lnTo>
                  <a:lnTo>
                    <a:pt x="253" y="110"/>
                  </a:lnTo>
                  <a:lnTo>
                    <a:pt x="253" y="112"/>
                  </a:lnTo>
                  <a:lnTo>
                    <a:pt x="253" y="110"/>
                  </a:lnTo>
                  <a:lnTo>
                    <a:pt x="252" y="112"/>
                  </a:lnTo>
                  <a:lnTo>
                    <a:pt x="250" y="112"/>
                  </a:lnTo>
                  <a:lnTo>
                    <a:pt x="250" y="113"/>
                  </a:lnTo>
                  <a:lnTo>
                    <a:pt x="249" y="113"/>
                  </a:lnTo>
                  <a:lnTo>
                    <a:pt x="249" y="112"/>
                  </a:lnTo>
                  <a:lnTo>
                    <a:pt x="250" y="112"/>
                  </a:lnTo>
                  <a:lnTo>
                    <a:pt x="250" y="110"/>
                  </a:lnTo>
                  <a:lnTo>
                    <a:pt x="252" y="110"/>
                  </a:lnTo>
                  <a:lnTo>
                    <a:pt x="250" y="110"/>
                  </a:lnTo>
                  <a:lnTo>
                    <a:pt x="250" y="109"/>
                  </a:lnTo>
                  <a:lnTo>
                    <a:pt x="252" y="109"/>
                  </a:lnTo>
                  <a:lnTo>
                    <a:pt x="252" y="108"/>
                  </a:lnTo>
                  <a:lnTo>
                    <a:pt x="250" y="108"/>
                  </a:lnTo>
                  <a:lnTo>
                    <a:pt x="252" y="108"/>
                  </a:lnTo>
                  <a:lnTo>
                    <a:pt x="252" y="107"/>
                  </a:lnTo>
                  <a:lnTo>
                    <a:pt x="250" y="106"/>
                  </a:lnTo>
                  <a:lnTo>
                    <a:pt x="250" y="104"/>
                  </a:lnTo>
                  <a:lnTo>
                    <a:pt x="249" y="104"/>
                  </a:lnTo>
                  <a:lnTo>
                    <a:pt x="248" y="104"/>
                  </a:lnTo>
                  <a:lnTo>
                    <a:pt x="247" y="104"/>
                  </a:lnTo>
                  <a:lnTo>
                    <a:pt x="247" y="106"/>
                  </a:lnTo>
                  <a:lnTo>
                    <a:pt x="248" y="106"/>
                  </a:lnTo>
                  <a:lnTo>
                    <a:pt x="247" y="107"/>
                  </a:lnTo>
                  <a:lnTo>
                    <a:pt x="248" y="107"/>
                  </a:lnTo>
                  <a:lnTo>
                    <a:pt x="249" y="107"/>
                  </a:lnTo>
                  <a:lnTo>
                    <a:pt x="248" y="107"/>
                  </a:lnTo>
                  <a:lnTo>
                    <a:pt x="248" y="108"/>
                  </a:lnTo>
                  <a:lnTo>
                    <a:pt x="249" y="108"/>
                  </a:lnTo>
                  <a:lnTo>
                    <a:pt x="249" y="109"/>
                  </a:lnTo>
                  <a:lnTo>
                    <a:pt x="249" y="108"/>
                  </a:lnTo>
                  <a:lnTo>
                    <a:pt x="248" y="108"/>
                  </a:lnTo>
                  <a:lnTo>
                    <a:pt x="248" y="109"/>
                  </a:lnTo>
                  <a:lnTo>
                    <a:pt x="247" y="109"/>
                  </a:lnTo>
                  <a:lnTo>
                    <a:pt x="246" y="109"/>
                  </a:lnTo>
                  <a:lnTo>
                    <a:pt x="244" y="109"/>
                  </a:lnTo>
                  <a:lnTo>
                    <a:pt x="244" y="110"/>
                  </a:lnTo>
                  <a:lnTo>
                    <a:pt x="243" y="110"/>
                  </a:lnTo>
                  <a:lnTo>
                    <a:pt x="243" y="112"/>
                  </a:lnTo>
                  <a:lnTo>
                    <a:pt x="242" y="112"/>
                  </a:lnTo>
                  <a:lnTo>
                    <a:pt x="241" y="110"/>
                  </a:lnTo>
                  <a:lnTo>
                    <a:pt x="242" y="110"/>
                  </a:lnTo>
                  <a:lnTo>
                    <a:pt x="242" y="109"/>
                  </a:lnTo>
                  <a:lnTo>
                    <a:pt x="241" y="108"/>
                  </a:lnTo>
                  <a:lnTo>
                    <a:pt x="241" y="107"/>
                  </a:lnTo>
                  <a:lnTo>
                    <a:pt x="242" y="107"/>
                  </a:lnTo>
                  <a:lnTo>
                    <a:pt x="242" y="108"/>
                  </a:lnTo>
                  <a:lnTo>
                    <a:pt x="243" y="108"/>
                  </a:lnTo>
                  <a:lnTo>
                    <a:pt x="243" y="109"/>
                  </a:lnTo>
                  <a:lnTo>
                    <a:pt x="244" y="109"/>
                  </a:lnTo>
                  <a:lnTo>
                    <a:pt x="244" y="108"/>
                  </a:lnTo>
                  <a:lnTo>
                    <a:pt x="243" y="109"/>
                  </a:lnTo>
                  <a:lnTo>
                    <a:pt x="243" y="108"/>
                  </a:lnTo>
                  <a:lnTo>
                    <a:pt x="243" y="107"/>
                  </a:lnTo>
                  <a:lnTo>
                    <a:pt x="243" y="106"/>
                  </a:lnTo>
                  <a:lnTo>
                    <a:pt x="243" y="107"/>
                  </a:lnTo>
                  <a:lnTo>
                    <a:pt x="242" y="107"/>
                  </a:lnTo>
                  <a:lnTo>
                    <a:pt x="242" y="106"/>
                  </a:lnTo>
                  <a:lnTo>
                    <a:pt x="242" y="104"/>
                  </a:lnTo>
                  <a:lnTo>
                    <a:pt x="241" y="103"/>
                  </a:lnTo>
                  <a:lnTo>
                    <a:pt x="240" y="103"/>
                  </a:lnTo>
                  <a:lnTo>
                    <a:pt x="241" y="102"/>
                  </a:lnTo>
                  <a:lnTo>
                    <a:pt x="240" y="103"/>
                  </a:lnTo>
                  <a:lnTo>
                    <a:pt x="241" y="104"/>
                  </a:lnTo>
                  <a:lnTo>
                    <a:pt x="240" y="104"/>
                  </a:lnTo>
                  <a:lnTo>
                    <a:pt x="240" y="106"/>
                  </a:lnTo>
                  <a:lnTo>
                    <a:pt x="240" y="104"/>
                  </a:lnTo>
                  <a:lnTo>
                    <a:pt x="240" y="103"/>
                  </a:lnTo>
                  <a:lnTo>
                    <a:pt x="238" y="103"/>
                  </a:lnTo>
                  <a:lnTo>
                    <a:pt x="237" y="103"/>
                  </a:lnTo>
                  <a:lnTo>
                    <a:pt x="237" y="104"/>
                  </a:lnTo>
                  <a:lnTo>
                    <a:pt x="237" y="103"/>
                  </a:lnTo>
                  <a:lnTo>
                    <a:pt x="236" y="103"/>
                  </a:lnTo>
                  <a:lnTo>
                    <a:pt x="236" y="102"/>
                  </a:lnTo>
                  <a:lnTo>
                    <a:pt x="235" y="102"/>
                  </a:lnTo>
                  <a:lnTo>
                    <a:pt x="235" y="103"/>
                  </a:lnTo>
                  <a:lnTo>
                    <a:pt x="234" y="104"/>
                  </a:lnTo>
                  <a:lnTo>
                    <a:pt x="234" y="103"/>
                  </a:lnTo>
                  <a:lnTo>
                    <a:pt x="232" y="104"/>
                  </a:lnTo>
                  <a:lnTo>
                    <a:pt x="234" y="104"/>
                  </a:lnTo>
                  <a:lnTo>
                    <a:pt x="234" y="106"/>
                  </a:lnTo>
                  <a:lnTo>
                    <a:pt x="232" y="106"/>
                  </a:lnTo>
                  <a:lnTo>
                    <a:pt x="232" y="107"/>
                  </a:lnTo>
                  <a:lnTo>
                    <a:pt x="231" y="108"/>
                  </a:lnTo>
                  <a:lnTo>
                    <a:pt x="230" y="108"/>
                  </a:lnTo>
                  <a:lnTo>
                    <a:pt x="228" y="108"/>
                  </a:lnTo>
                  <a:lnTo>
                    <a:pt x="228" y="107"/>
                  </a:lnTo>
                  <a:lnTo>
                    <a:pt x="228" y="106"/>
                  </a:lnTo>
                  <a:lnTo>
                    <a:pt x="229" y="106"/>
                  </a:lnTo>
                  <a:lnTo>
                    <a:pt x="229" y="104"/>
                  </a:lnTo>
                  <a:lnTo>
                    <a:pt x="229" y="106"/>
                  </a:lnTo>
                  <a:lnTo>
                    <a:pt x="228" y="106"/>
                  </a:lnTo>
                  <a:lnTo>
                    <a:pt x="228" y="104"/>
                  </a:lnTo>
                  <a:lnTo>
                    <a:pt x="229" y="104"/>
                  </a:lnTo>
                  <a:lnTo>
                    <a:pt x="229" y="103"/>
                  </a:lnTo>
                  <a:lnTo>
                    <a:pt x="229" y="102"/>
                  </a:lnTo>
                  <a:lnTo>
                    <a:pt x="230" y="102"/>
                  </a:lnTo>
                  <a:lnTo>
                    <a:pt x="230" y="101"/>
                  </a:lnTo>
                  <a:lnTo>
                    <a:pt x="230" y="100"/>
                  </a:lnTo>
                  <a:lnTo>
                    <a:pt x="230" y="98"/>
                  </a:lnTo>
                  <a:lnTo>
                    <a:pt x="229" y="98"/>
                  </a:lnTo>
                  <a:lnTo>
                    <a:pt x="228" y="98"/>
                  </a:lnTo>
                  <a:lnTo>
                    <a:pt x="228" y="100"/>
                  </a:lnTo>
                  <a:lnTo>
                    <a:pt x="226" y="100"/>
                  </a:lnTo>
                  <a:lnTo>
                    <a:pt x="226" y="98"/>
                  </a:lnTo>
                  <a:lnTo>
                    <a:pt x="225" y="98"/>
                  </a:lnTo>
                  <a:lnTo>
                    <a:pt x="224" y="98"/>
                  </a:lnTo>
                  <a:lnTo>
                    <a:pt x="224" y="97"/>
                  </a:lnTo>
                  <a:lnTo>
                    <a:pt x="223" y="97"/>
                  </a:lnTo>
                  <a:lnTo>
                    <a:pt x="222" y="97"/>
                  </a:lnTo>
                  <a:lnTo>
                    <a:pt x="219" y="97"/>
                  </a:lnTo>
                  <a:lnTo>
                    <a:pt x="219" y="98"/>
                  </a:lnTo>
                  <a:lnTo>
                    <a:pt x="220" y="98"/>
                  </a:lnTo>
                  <a:lnTo>
                    <a:pt x="220" y="100"/>
                  </a:lnTo>
                  <a:lnTo>
                    <a:pt x="219" y="100"/>
                  </a:lnTo>
                  <a:lnTo>
                    <a:pt x="219" y="98"/>
                  </a:lnTo>
                  <a:lnTo>
                    <a:pt x="218" y="98"/>
                  </a:lnTo>
                  <a:lnTo>
                    <a:pt x="219" y="97"/>
                  </a:lnTo>
                  <a:lnTo>
                    <a:pt x="218" y="97"/>
                  </a:lnTo>
                  <a:lnTo>
                    <a:pt x="217" y="98"/>
                  </a:lnTo>
                  <a:lnTo>
                    <a:pt x="215" y="98"/>
                  </a:lnTo>
                  <a:lnTo>
                    <a:pt x="214" y="98"/>
                  </a:lnTo>
                  <a:lnTo>
                    <a:pt x="214" y="100"/>
                  </a:lnTo>
                  <a:lnTo>
                    <a:pt x="215" y="100"/>
                  </a:lnTo>
                  <a:lnTo>
                    <a:pt x="215" y="101"/>
                  </a:lnTo>
                  <a:lnTo>
                    <a:pt x="214" y="101"/>
                  </a:lnTo>
                  <a:lnTo>
                    <a:pt x="213" y="102"/>
                  </a:lnTo>
                  <a:lnTo>
                    <a:pt x="213" y="103"/>
                  </a:lnTo>
                  <a:lnTo>
                    <a:pt x="212" y="102"/>
                  </a:lnTo>
                  <a:lnTo>
                    <a:pt x="211" y="101"/>
                  </a:lnTo>
                  <a:lnTo>
                    <a:pt x="211" y="100"/>
                  </a:lnTo>
                  <a:lnTo>
                    <a:pt x="211" y="101"/>
                  </a:lnTo>
                  <a:lnTo>
                    <a:pt x="212" y="100"/>
                  </a:lnTo>
                  <a:lnTo>
                    <a:pt x="213" y="100"/>
                  </a:lnTo>
                  <a:lnTo>
                    <a:pt x="212" y="100"/>
                  </a:lnTo>
                  <a:lnTo>
                    <a:pt x="213" y="98"/>
                  </a:lnTo>
                  <a:lnTo>
                    <a:pt x="213" y="97"/>
                  </a:lnTo>
                  <a:lnTo>
                    <a:pt x="213" y="96"/>
                  </a:lnTo>
                  <a:lnTo>
                    <a:pt x="212" y="96"/>
                  </a:lnTo>
                  <a:lnTo>
                    <a:pt x="212" y="97"/>
                  </a:lnTo>
                  <a:lnTo>
                    <a:pt x="211" y="97"/>
                  </a:lnTo>
                  <a:lnTo>
                    <a:pt x="211" y="96"/>
                  </a:lnTo>
                  <a:lnTo>
                    <a:pt x="209" y="96"/>
                  </a:lnTo>
                  <a:lnTo>
                    <a:pt x="209" y="95"/>
                  </a:lnTo>
                  <a:lnTo>
                    <a:pt x="208" y="95"/>
                  </a:lnTo>
                  <a:lnTo>
                    <a:pt x="208" y="94"/>
                  </a:lnTo>
                  <a:lnTo>
                    <a:pt x="207" y="94"/>
                  </a:lnTo>
                  <a:lnTo>
                    <a:pt x="206" y="92"/>
                  </a:lnTo>
                  <a:lnTo>
                    <a:pt x="205" y="92"/>
                  </a:lnTo>
                  <a:lnTo>
                    <a:pt x="203" y="91"/>
                  </a:lnTo>
                  <a:lnTo>
                    <a:pt x="202" y="91"/>
                  </a:lnTo>
                  <a:lnTo>
                    <a:pt x="202" y="90"/>
                  </a:lnTo>
                  <a:lnTo>
                    <a:pt x="202" y="89"/>
                  </a:lnTo>
                  <a:lnTo>
                    <a:pt x="201" y="89"/>
                  </a:lnTo>
                  <a:lnTo>
                    <a:pt x="200" y="89"/>
                  </a:lnTo>
                  <a:lnTo>
                    <a:pt x="199" y="89"/>
                  </a:lnTo>
                  <a:lnTo>
                    <a:pt x="199" y="88"/>
                  </a:lnTo>
                  <a:lnTo>
                    <a:pt x="197" y="86"/>
                  </a:lnTo>
                  <a:lnTo>
                    <a:pt x="196" y="86"/>
                  </a:lnTo>
                  <a:lnTo>
                    <a:pt x="196" y="85"/>
                  </a:lnTo>
                  <a:lnTo>
                    <a:pt x="196" y="84"/>
                  </a:lnTo>
                  <a:lnTo>
                    <a:pt x="196" y="83"/>
                  </a:lnTo>
                  <a:lnTo>
                    <a:pt x="197" y="82"/>
                  </a:lnTo>
                  <a:lnTo>
                    <a:pt x="196" y="82"/>
                  </a:lnTo>
                  <a:lnTo>
                    <a:pt x="195" y="82"/>
                  </a:lnTo>
                  <a:lnTo>
                    <a:pt x="195" y="80"/>
                  </a:lnTo>
                  <a:lnTo>
                    <a:pt x="194" y="80"/>
                  </a:lnTo>
                  <a:lnTo>
                    <a:pt x="193" y="80"/>
                  </a:lnTo>
                  <a:lnTo>
                    <a:pt x="191" y="80"/>
                  </a:lnTo>
                  <a:lnTo>
                    <a:pt x="191" y="79"/>
                  </a:lnTo>
                  <a:lnTo>
                    <a:pt x="190" y="78"/>
                  </a:lnTo>
                  <a:lnTo>
                    <a:pt x="189" y="78"/>
                  </a:lnTo>
                  <a:lnTo>
                    <a:pt x="190" y="77"/>
                  </a:lnTo>
                  <a:lnTo>
                    <a:pt x="190" y="76"/>
                  </a:lnTo>
                  <a:lnTo>
                    <a:pt x="191" y="76"/>
                  </a:lnTo>
                  <a:lnTo>
                    <a:pt x="193" y="76"/>
                  </a:lnTo>
                  <a:lnTo>
                    <a:pt x="194" y="74"/>
                  </a:lnTo>
                  <a:lnTo>
                    <a:pt x="194" y="73"/>
                  </a:lnTo>
                  <a:lnTo>
                    <a:pt x="195" y="73"/>
                  </a:lnTo>
                  <a:lnTo>
                    <a:pt x="196" y="73"/>
                  </a:lnTo>
                  <a:lnTo>
                    <a:pt x="196" y="74"/>
                  </a:lnTo>
                  <a:lnTo>
                    <a:pt x="197" y="74"/>
                  </a:lnTo>
                  <a:lnTo>
                    <a:pt x="199" y="74"/>
                  </a:lnTo>
                  <a:lnTo>
                    <a:pt x="199" y="76"/>
                  </a:lnTo>
                  <a:lnTo>
                    <a:pt x="199" y="74"/>
                  </a:lnTo>
                  <a:lnTo>
                    <a:pt x="197" y="73"/>
                  </a:lnTo>
                  <a:lnTo>
                    <a:pt x="196" y="73"/>
                  </a:lnTo>
                  <a:lnTo>
                    <a:pt x="196" y="72"/>
                  </a:lnTo>
                  <a:lnTo>
                    <a:pt x="195" y="72"/>
                  </a:lnTo>
                  <a:lnTo>
                    <a:pt x="194" y="72"/>
                  </a:lnTo>
                  <a:lnTo>
                    <a:pt x="194" y="71"/>
                  </a:lnTo>
                  <a:lnTo>
                    <a:pt x="194" y="70"/>
                  </a:lnTo>
                  <a:lnTo>
                    <a:pt x="193" y="70"/>
                  </a:lnTo>
                  <a:lnTo>
                    <a:pt x="193" y="68"/>
                  </a:lnTo>
                  <a:lnTo>
                    <a:pt x="193" y="67"/>
                  </a:lnTo>
                  <a:lnTo>
                    <a:pt x="191" y="67"/>
                  </a:lnTo>
                  <a:lnTo>
                    <a:pt x="191" y="66"/>
                  </a:lnTo>
                  <a:lnTo>
                    <a:pt x="191" y="65"/>
                  </a:lnTo>
                  <a:lnTo>
                    <a:pt x="191" y="64"/>
                  </a:lnTo>
                  <a:lnTo>
                    <a:pt x="193" y="64"/>
                  </a:lnTo>
                  <a:lnTo>
                    <a:pt x="194" y="65"/>
                  </a:lnTo>
                  <a:lnTo>
                    <a:pt x="196" y="65"/>
                  </a:lnTo>
                  <a:lnTo>
                    <a:pt x="197" y="65"/>
                  </a:lnTo>
                  <a:lnTo>
                    <a:pt x="199" y="66"/>
                  </a:lnTo>
                  <a:lnTo>
                    <a:pt x="200" y="66"/>
                  </a:lnTo>
                  <a:lnTo>
                    <a:pt x="201" y="66"/>
                  </a:lnTo>
                  <a:lnTo>
                    <a:pt x="201" y="65"/>
                  </a:lnTo>
                  <a:lnTo>
                    <a:pt x="201" y="64"/>
                  </a:lnTo>
                  <a:lnTo>
                    <a:pt x="200" y="64"/>
                  </a:lnTo>
                  <a:lnTo>
                    <a:pt x="201" y="64"/>
                  </a:lnTo>
                  <a:lnTo>
                    <a:pt x="201" y="62"/>
                  </a:lnTo>
                  <a:lnTo>
                    <a:pt x="200" y="62"/>
                  </a:lnTo>
                  <a:lnTo>
                    <a:pt x="199" y="62"/>
                  </a:lnTo>
                  <a:lnTo>
                    <a:pt x="197" y="62"/>
                  </a:lnTo>
                  <a:lnTo>
                    <a:pt x="196" y="62"/>
                  </a:lnTo>
                  <a:lnTo>
                    <a:pt x="196" y="61"/>
                  </a:lnTo>
                  <a:lnTo>
                    <a:pt x="195" y="61"/>
                  </a:lnTo>
                  <a:lnTo>
                    <a:pt x="196" y="61"/>
                  </a:lnTo>
                  <a:lnTo>
                    <a:pt x="195" y="60"/>
                  </a:lnTo>
                  <a:lnTo>
                    <a:pt x="195" y="59"/>
                  </a:lnTo>
                  <a:lnTo>
                    <a:pt x="195" y="58"/>
                  </a:lnTo>
                  <a:lnTo>
                    <a:pt x="194" y="58"/>
                  </a:lnTo>
                  <a:lnTo>
                    <a:pt x="194" y="56"/>
                  </a:lnTo>
                  <a:lnTo>
                    <a:pt x="194" y="55"/>
                  </a:lnTo>
                  <a:lnTo>
                    <a:pt x="195" y="55"/>
                  </a:lnTo>
                  <a:lnTo>
                    <a:pt x="196" y="55"/>
                  </a:lnTo>
                  <a:lnTo>
                    <a:pt x="196" y="56"/>
                  </a:lnTo>
                  <a:lnTo>
                    <a:pt x="197" y="56"/>
                  </a:lnTo>
                  <a:lnTo>
                    <a:pt x="197" y="58"/>
                  </a:lnTo>
                  <a:lnTo>
                    <a:pt x="199" y="56"/>
                  </a:lnTo>
                  <a:lnTo>
                    <a:pt x="199" y="55"/>
                  </a:lnTo>
                  <a:lnTo>
                    <a:pt x="197" y="55"/>
                  </a:lnTo>
                  <a:lnTo>
                    <a:pt x="197" y="54"/>
                  </a:lnTo>
                  <a:lnTo>
                    <a:pt x="199" y="54"/>
                  </a:lnTo>
                  <a:lnTo>
                    <a:pt x="199" y="53"/>
                  </a:lnTo>
                  <a:lnTo>
                    <a:pt x="197" y="53"/>
                  </a:lnTo>
                  <a:lnTo>
                    <a:pt x="197" y="52"/>
                  </a:lnTo>
                  <a:lnTo>
                    <a:pt x="196" y="52"/>
                  </a:lnTo>
                  <a:lnTo>
                    <a:pt x="197" y="52"/>
                  </a:lnTo>
                  <a:lnTo>
                    <a:pt x="197" y="50"/>
                  </a:lnTo>
                  <a:lnTo>
                    <a:pt x="197" y="49"/>
                  </a:lnTo>
                  <a:lnTo>
                    <a:pt x="199" y="49"/>
                  </a:lnTo>
                  <a:lnTo>
                    <a:pt x="199" y="48"/>
                  </a:lnTo>
                  <a:lnTo>
                    <a:pt x="199" y="47"/>
                  </a:lnTo>
                  <a:lnTo>
                    <a:pt x="197" y="47"/>
                  </a:lnTo>
                  <a:lnTo>
                    <a:pt x="197" y="45"/>
                  </a:lnTo>
                  <a:lnTo>
                    <a:pt x="197" y="44"/>
                  </a:lnTo>
                  <a:lnTo>
                    <a:pt x="199" y="44"/>
                  </a:lnTo>
                  <a:lnTo>
                    <a:pt x="200" y="43"/>
                  </a:lnTo>
                  <a:lnTo>
                    <a:pt x="200" y="44"/>
                  </a:lnTo>
                  <a:lnTo>
                    <a:pt x="201" y="44"/>
                  </a:lnTo>
                  <a:lnTo>
                    <a:pt x="201" y="45"/>
                  </a:lnTo>
                  <a:lnTo>
                    <a:pt x="201" y="47"/>
                  </a:lnTo>
                  <a:lnTo>
                    <a:pt x="201" y="48"/>
                  </a:lnTo>
                  <a:lnTo>
                    <a:pt x="201" y="49"/>
                  </a:lnTo>
                  <a:lnTo>
                    <a:pt x="201" y="50"/>
                  </a:lnTo>
                  <a:lnTo>
                    <a:pt x="202" y="49"/>
                  </a:lnTo>
                  <a:lnTo>
                    <a:pt x="202" y="48"/>
                  </a:lnTo>
                  <a:lnTo>
                    <a:pt x="203" y="48"/>
                  </a:lnTo>
                  <a:lnTo>
                    <a:pt x="203" y="47"/>
                  </a:lnTo>
                  <a:lnTo>
                    <a:pt x="203" y="45"/>
                  </a:lnTo>
                  <a:lnTo>
                    <a:pt x="202" y="45"/>
                  </a:lnTo>
                  <a:lnTo>
                    <a:pt x="202" y="44"/>
                  </a:lnTo>
                  <a:lnTo>
                    <a:pt x="201" y="44"/>
                  </a:lnTo>
                  <a:lnTo>
                    <a:pt x="202" y="43"/>
                  </a:lnTo>
                  <a:lnTo>
                    <a:pt x="202" y="42"/>
                  </a:lnTo>
                  <a:lnTo>
                    <a:pt x="203" y="42"/>
                  </a:lnTo>
                  <a:lnTo>
                    <a:pt x="205" y="42"/>
                  </a:lnTo>
                  <a:lnTo>
                    <a:pt x="205" y="43"/>
                  </a:lnTo>
                  <a:lnTo>
                    <a:pt x="206" y="43"/>
                  </a:lnTo>
                  <a:lnTo>
                    <a:pt x="207" y="43"/>
                  </a:lnTo>
                  <a:lnTo>
                    <a:pt x="207" y="42"/>
                  </a:lnTo>
                  <a:lnTo>
                    <a:pt x="205" y="42"/>
                  </a:lnTo>
                  <a:lnTo>
                    <a:pt x="206" y="42"/>
                  </a:lnTo>
                  <a:lnTo>
                    <a:pt x="205" y="41"/>
                  </a:lnTo>
                  <a:lnTo>
                    <a:pt x="205" y="39"/>
                  </a:lnTo>
                  <a:lnTo>
                    <a:pt x="206" y="38"/>
                  </a:lnTo>
                  <a:lnTo>
                    <a:pt x="207" y="38"/>
                  </a:lnTo>
                  <a:lnTo>
                    <a:pt x="206" y="38"/>
                  </a:lnTo>
                  <a:lnTo>
                    <a:pt x="207" y="37"/>
                  </a:lnTo>
                  <a:lnTo>
                    <a:pt x="206" y="37"/>
                  </a:lnTo>
                  <a:lnTo>
                    <a:pt x="206" y="36"/>
                  </a:lnTo>
                  <a:lnTo>
                    <a:pt x="205" y="36"/>
                  </a:lnTo>
                  <a:lnTo>
                    <a:pt x="203" y="35"/>
                  </a:lnTo>
                  <a:lnTo>
                    <a:pt x="202" y="35"/>
                  </a:lnTo>
                  <a:lnTo>
                    <a:pt x="202" y="33"/>
                  </a:lnTo>
                  <a:lnTo>
                    <a:pt x="203" y="33"/>
                  </a:lnTo>
                  <a:lnTo>
                    <a:pt x="203" y="32"/>
                  </a:lnTo>
                  <a:lnTo>
                    <a:pt x="203" y="31"/>
                  </a:lnTo>
                  <a:lnTo>
                    <a:pt x="205" y="32"/>
                  </a:lnTo>
                  <a:lnTo>
                    <a:pt x="205" y="31"/>
                  </a:lnTo>
                  <a:lnTo>
                    <a:pt x="205" y="30"/>
                  </a:lnTo>
                  <a:lnTo>
                    <a:pt x="205" y="29"/>
                  </a:lnTo>
                  <a:lnTo>
                    <a:pt x="203" y="29"/>
                  </a:lnTo>
                  <a:lnTo>
                    <a:pt x="203" y="27"/>
                  </a:lnTo>
                  <a:lnTo>
                    <a:pt x="205" y="27"/>
                  </a:lnTo>
                  <a:lnTo>
                    <a:pt x="206" y="27"/>
                  </a:lnTo>
                  <a:lnTo>
                    <a:pt x="206" y="26"/>
                  </a:lnTo>
                  <a:lnTo>
                    <a:pt x="207" y="27"/>
                  </a:lnTo>
                  <a:lnTo>
                    <a:pt x="207" y="29"/>
                  </a:lnTo>
                  <a:lnTo>
                    <a:pt x="207" y="30"/>
                  </a:lnTo>
                  <a:lnTo>
                    <a:pt x="208" y="30"/>
                  </a:lnTo>
                  <a:lnTo>
                    <a:pt x="208" y="31"/>
                  </a:lnTo>
                  <a:lnTo>
                    <a:pt x="209" y="31"/>
                  </a:lnTo>
                  <a:lnTo>
                    <a:pt x="209" y="30"/>
                  </a:lnTo>
                  <a:lnTo>
                    <a:pt x="211" y="30"/>
                  </a:lnTo>
                  <a:lnTo>
                    <a:pt x="211" y="31"/>
                  </a:lnTo>
                  <a:lnTo>
                    <a:pt x="211" y="32"/>
                  </a:lnTo>
                  <a:lnTo>
                    <a:pt x="211" y="35"/>
                  </a:lnTo>
                  <a:lnTo>
                    <a:pt x="212" y="35"/>
                  </a:lnTo>
                  <a:lnTo>
                    <a:pt x="213" y="35"/>
                  </a:lnTo>
                  <a:lnTo>
                    <a:pt x="214" y="35"/>
                  </a:lnTo>
                  <a:lnTo>
                    <a:pt x="215" y="35"/>
                  </a:lnTo>
                  <a:lnTo>
                    <a:pt x="215" y="33"/>
                  </a:lnTo>
                  <a:lnTo>
                    <a:pt x="217" y="33"/>
                  </a:lnTo>
                  <a:lnTo>
                    <a:pt x="215" y="33"/>
                  </a:lnTo>
                  <a:lnTo>
                    <a:pt x="214" y="32"/>
                  </a:lnTo>
                  <a:lnTo>
                    <a:pt x="215" y="32"/>
                  </a:lnTo>
                  <a:lnTo>
                    <a:pt x="214" y="32"/>
                  </a:lnTo>
                  <a:lnTo>
                    <a:pt x="214" y="31"/>
                  </a:lnTo>
                  <a:lnTo>
                    <a:pt x="214" y="30"/>
                  </a:lnTo>
                  <a:lnTo>
                    <a:pt x="213" y="30"/>
                  </a:lnTo>
                  <a:lnTo>
                    <a:pt x="214" y="29"/>
                  </a:lnTo>
                  <a:lnTo>
                    <a:pt x="213" y="29"/>
                  </a:lnTo>
                  <a:lnTo>
                    <a:pt x="213" y="27"/>
                  </a:lnTo>
                  <a:lnTo>
                    <a:pt x="213" y="26"/>
                  </a:lnTo>
                  <a:lnTo>
                    <a:pt x="213" y="25"/>
                  </a:lnTo>
                  <a:lnTo>
                    <a:pt x="213" y="24"/>
                  </a:lnTo>
                  <a:lnTo>
                    <a:pt x="212" y="24"/>
                  </a:lnTo>
                  <a:lnTo>
                    <a:pt x="212" y="23"/>
                  </a:lnTo>
                  <a:lnTo>
                    <a:pt x="212" y="21"/>
                  </a:lnTo>
                  <a:lnTo>
                    <a:pt x="211" y="21"/>
                  </a:lnTo>
                  <a:lnTo>
                    <a:pt x="212" y="20"/>
                  </a:lnTo>
                  <a:lnTo>
                    <a:pt x="211" y="20"/>
                  </a:lnTo>
                  <a:lnTo>
                    <a:pt x="211" y="19"/>
                  </a:lnTo>
                  <a:lnTo>
                    <a:pt x="211" y="18"/>
                  </a:lnTo>
                  <a:lnTo>
                    <a:pt x="212" y="18"/>
                  </a:lnTo>
                  <a:lnTo>
                    <a:pt x="212" y="17"/>
                  </a:lnTo>
                  <a:lnTo>
                    <a:pt x="213" y="17"/>
                  </a:lnTo>
                  <a:lnTo>
                    <a:pt x="212" y="18"/>
                  </a:lnTo>
                  <a:lnTo>
                    <a:pt x="213" y="18"/>
                  </a:lnTo>
                  <a:lnTo>
                    <a:pt x="213" y="17"/>
                  </a:lnTo>
                  <a:lnTo>
                    <a:pt x="213" y="15"/>
                  </a:lnTo>
                  <a:lnTo>
                    <a:pt x="213" y="14"/>
                  </a:lnTo>
                  <a:lnTo>
                    <a:pt x="213" y="13"/>
                  </a:lnTo>
                  <a:lnTo>
                    <a:pt x="214" y="12"/>
                  </a:lnTo>
                  <a:lnTo>
                    <a:pt x="214" y="13"/>
                  </a:lnTo>
                  <a:lnTo>
                    <a:pt x="217" y="13"/>
                  </a:lnTo>
                  <a:lnTo>
                    <a:pt x="215" y="13"/>
                  </a:lnTo>
                  <a:lnTo>
                    <a:pt x="215" y="14"/>
                  </a:lnTo>
                  <a:lnTo>
                    <a:pt x="217" y="14"/>
                  </a:lnTo>
                  <a:lnTo>
                    <a:pt x="215" y="15"/>
                  </a:lnTo>
                  <a:lnTo>
                    <a:pt x="217" y="17"/>
                  </a:lnTo>
                  <a:lnTo>
                    <a:pt x="217" y="18"/>
                  </a:lnTo>
                  <a:lnTo>
                    <a:pt x="217" y="19"/>
                  </a:lnTo>
                  <a:lnTo>
                    <a:pt x="218" y="19"/>
                  </a:lnTo>
                  <a:lnTo>
                    <a:pt x="218" y="18"/>
                  </a:lnTo>
                  <a:lnTo>
                    <a:pt x="219" y="18"/>
                  </a:lnTo>
                  <a:lnTo>
                    <a:pt x="220" y="18"/>
                  </a:lnTo>
                  <a:lnTo>
                    <a:pt x="222" y="18"/>
                  </a:lnTo>
                  <a:lnTo>
                    <a:pt x="222" y="19"/>
                  </a:lnTo>
                  <a:lnTo>
                    <a:pt x="223" y="19"/>
                  </a:lnTo>
                  <a:lnTo>
                    <a:pt x="223" y="18"/>
                  </a:lnTo>
                  <a:lnTo>
                    <a:pt x="223" y="17"/>
                  </a:lnTo>
                  <a:lnTo>
                    <a:pt x="223" y="15"/>
                  </a:lnTo>
                  <a:lnTo>
                    <a:pt x="224" y="14"/>
                  </a:lnTo>
                  <a:lnTo>
                    <a:pt x="224" y="15"/>
                  </a:lnTo>
                  <a:lnTo>
                    <a:pt x="225" y="15"/>
                  </a:lnTo>
                  <a:lnTo>
                    <a:pt x="226" y="15"/>
                  </a:lnTo>
                  <a:lnTo>
                    <a:pt x="226" y="17"/>
                  </a:lnTo>
                  <a:lnTo>
                    <a:pt x="226" y="18"/>
                  </a:lnTo>
                  <a:lnTo>
                    <a:pt x="225" y="18"/>
                  </a:lnTo>
                  <a:lnTo>
                    <a:pt x="225" y="19"/>
                  </a:lnTo>
                  <a:lnTo>
                    <a:pt x="225" y="21"/>
                  </a:lnTo>
                  <a:lnTo>
                    <a:pt x="226" y="21"/>
                  </a:lnTo>
                  <a:lnTo>
                    <a:pt x="226" y="23"/>
                  </a:lnTo>
                  <a:lnTo>
                    <a:pt x="228" y="23"/>
                  </a:lnTo>
                  <a:lnTo>
                    <a:pt x="226" y="23"/>
                  </a:lnTo>
                  <a:lnTo>
                    <a:pt x="226" y="24"/>
                  </a:lnTo>
                  <a:lnTo>
                    <a:pt x="225" y="24"/>
                  </a:lnTo>
                  <a:lnTo>
                    <a:pt x="225" y="25"/>
                  </a:lnTo>
                  <a:lnTo>
                    <a:pt x="224" y="26"/>
                  </a:lnTo>
                  <a:lnTo>
                    <a:pt x="224" y="27"/>
                  </a:lnTo>
                  <a:lnTo>
                    <a:pt x="224" y="29"/>
                  </a:lnTo>
                  <a:lnTo>
                    <a:pt x="225" y="29"/>
                  </a:lnTo>
                  <a:lnTo>
                    <a:pt x="225" y="30"/>
                  </a:lnTo>
                  <a:lnTo>
                    <a:pt x="225" y="31"/>
                  </a:lnTo>
                  <a:lnTo>
                    <a:pt x="226" y="30"/>
                  </a:lnTo>
                  <a:lnTo>
                    <a:pt x="226" y="31"/>
                  </a:lnTo>
                  <a:lnTo>
                    <a:pt x="228" y="31"/>
                  </a:lnTo>
                  <a:lnTo>
                    <a:pt x="229" y="32"/>
                  </a:lnTo>
                  <a:lnTo>
                    <a:pt x="229" y="31"/>
                  </a:lnTo>
                  <a:lnTo>
                    <a:pt x="230" y="31"/>
                  </a:lnTo>
                  <a:lnTo>
                    <a:pt x="230" y="30"/>
                  </a:lnTo>
                  <a:lnTo>
                    <a:pt x="230" y="29"/>
                  </a:lnTo>
                  <a:lnTo>
                    <a:pt x="231" y="29"/>
                  </a:lnTo>
                  <a:lnTo>
                    <a:pt x="231" y="27"/>
                  </a:lnTo>
                  <a:lnTo>
                    <a:pt x="231" y="26"/>
                  </a:lnTo>
                  <a:lnTo>
                    <a:pt x="232" y="25"/>
                  </a:lnTo>
                  <a:lnTo>
                    <a:pt x="232" y="23"/>
                  </a:lnTo>
                  <a:lnTo>
                    <a:pt x="232" y="21"/>
                  </a:lnTo>
                  <a:lnTo>
                    <a:pt x="232" y="20"/>
                  </a:lnTo>
                  <a:lnTo>
                    <a:pt x="234" y="20"/>
                  </a:lnTo>
                  <a:lnTo>
                    <a:pt x="235" y="19"/>
                  </a:lnTo>
                  <a:lnTo>
                    <a:pt x="235" y="20"/>
                  </a:lnTo>
                  <a:lnTo>
                    <a:pt x="236" y="20"/>
                  </a:lnTo>
                  <a:lnTo>
                    <a:pt x="236" y="21"/>
                  </a:lnTo>
                  <a:lnTo>
                    <a:pt x="236" y="23"/>
                  </a:lnTo>
                  <a:lnTo>
                    <a:pt x="236" y="24"/>
                  </a:lnTo>
                  <a:lnTo>
                    <a:pt x="237" y="24"/>
                  </a:lnTo>
                  <a:lnTo>
                    <a:pt x="238" y="24"/>
                  </a:lnTo>
                  <a:lnTo>
                    <a:pt x="238" y="25"/>
                  </a:lnTo>
                  <a:lnTo>
                    <a:pt x="238" y="26"/>
                  </a:lnTo>
                  <a:lnTo>
                    <a:pt x="240" y="27"/>
                  </a:lnTo>
                  <a:lnTo>
                    <a:pt x="240" y="26"/>
                  </a:lnTo>
                  <a:lnTo>
                    <a:pt x="241" y="26"/>
                  </a:lnTo>
                  <a:lnTo>
                    <a:pt x="241" y="25"/>
                  </a:lnTo>
                  <a:lnTo>
                    <a:pt x="242" y="26"/>
                  </a:lnTo>
                  <a:lnTo>
                    <a:pt x="243" y="27"/>
                  </a:lnTo>
                  <a:lnTo>
                    <a:pt x="243" y="26"/>
                  </a:lnTo>
                  <a:lnTo>
                    <a:pt x="242" y="26"/>
                  </a:lnTo>
                  <a:lnTo>
                    <a:pt x="242" y="25"/>
                  </a:lnTo>
                  <a:lnTo>
                    <a:pt x="243" y="25"/>
                  </a:lnTo>
                  <a:lnTo>
                    <a:pt x="243" y="24"/>
                  </a:lnTo>
                  <a:lnTo>
                    <a:pt x="243" y="23"/>
                  </a:lnTo>
                  <a:lnTo>
                    <a:pt x="244" y="23"/>
                  </a:lnTo>
                  <a:lnTo>
                    <a:pt x="246" y="21"/>
                  </a:lnTo>
                  <a:lnTo>
                    <a:pt x="244" y="21"/>
                  </a:lnTo>
                  <a:lnTo>
                    <a:pt x="244" y="20"/>
                  </a:lnTo>
                  <a:lnTo>
                    <a:pt x="244" y="19"/>
                  </a:lnTo>
                  <a:lnTo>
                    <a:pt x="244" y="18"/>
                  </a:lnTo>
                  <a:lnTo>
                    <a:pt x="244" y="19"/>
                  </a:lnTo>
                  <a:lnTo>
                    <a:pt x="246" y="19"/>
                  </a:lnTo>
                  <a:lnTo>
                    <a:pt x="244" y="18"/>
                  </a:lnTo>
                  <a:lnTo>
                    <a:pt x="244" y="17"/>
                  </a:lnTo>
                  <a:lnTo>
                    <a:pt x="243" y="17"/>
                  </a:lnTo>
                  <a:lnTo>
                    <a:pt x="242" y="17"/>
                  </a:lnTo>
                  <a:lnTo>
                    <a:pt x="242" y="15"/>
                  </a:lnTo>
                  <a:lnTo>
                    <a:pt x="242" y="14"/>
                  </a:lnTo>
                  <a:lnTo>
                    <a:pt x="241" y="13"/>
                  </a:lnTo>
                  <a:lnTo>
                    <a:pt x="241" y="12"/>
                  </a:lnTo>
                  <a:lnTo>
                    <a:pt x="240" y="11"/>
                  </a:lnTo>
                  <a:lnTo>
                    <a:pt x="241" y="9"/>
                  </a:lnTo>
                  <a:lnTo>
                    <a:pt x="242" y="9"/>
                  </a:lnTo>
                  <a:lnTo>
                    <a:pt x="242" y="11"/>
                  </a:lnTo>
                  <a:lnTo>
                    <a:pt x="243" y="11"/>
                  </a:lnTo>
                  <a:lnTo>
                    <a:pt x="243" y="8"/>
                  </a:lnTo>
                  <a:lnTo>
                    <a:pt x="243" y="7"/>
                  </a:lnTo>
                  <a:lnTo>
                    <a:pt x="244" y="6"/>
                  </a:lnTo>
                  <a:lnTo>
                    <a:pt x="246" y="5"/>
                  </a:lnTo>
                  <a:lnTo>
                    <a:pt x="246" y="6"/>
                  </a:lnTo>
                  <a:lnTo>
                    <a:pt x="247" y="5"/>
                  </a:lnTo>
                  <a:lnTo>
                    <a:pt x="247" y="6"/>
                  </a:lnTo>
                  <a:lnTo>
                    <a:pt x="247" y="7"/>
                  </a:lnTo>
                  <a:lnTo>
                    <a:pt x="247" y="8"/>
                  </a:lnTo>
                  <a:lnTo>
                    <a:pt x="248" y="8"/>
                  </a:lnTo>
                  <a:lnTo>
                    <a:pt x="248" y="9"/>
                  </a:lnTo>
                  <a:lnTo>
                    <a:pt x="249" y="9"/>
                  </a:lnTo>
                  <a:lnTo>
                    <a:pt x="249" y="11"/>
                  </a:lnTo>
                  <a:lnTo>
                    <a:pt x="249" y="12"/>
                  </a:lnTo>
                  <a:lnTo>
                    <a:pt x="248" y="12"/>
                  </a:lnTo>
                  <a:lnTo>
                    <a:pt x="248" y="13"/>
                  </a:lnTo>
                  <a:lnTo>
                    <a:pt x="247" y="13"/>
                  </a:lnTo>
                  <a:lnTo>
                    <a:pt x="247" y="14"/>
                  </a:lnTo>
                  <a:lnTo>
                    <a:pt x="247" y="15"/>
                  </a:lnTo>
                  <a:lnTo>
                    <a:pt x="248" y="15"/>
                  </a:lnTo>
                  <a:lnTo>
                    <a:pt x="248" y="17"/>
                  </a:lnTo>
                  <a:lnTo>
                    <a:pt x="248" y="15"/>
                  </a:lnTo>
                  <a:lnTo>
                    <a:pt x="249" y="15"/>
                  </a:lnTo>
                  <a:lnTo>
                    <a:pt x="250" y="14"/>
                  </a:lnTo>
                  <a:lnTo>
                    <a:pt x="252" y="14"/>
                  </a:lnTo>
                  <a:lnTo>
                    <a:pt x="253" y="14"/>
                  </a:lnTo>
                  <a:lnTo>
                    <a:pt x="253" y="15"/>
                  </a:lnTo>
                  <a:lnTo>
                    <a:pt x="253" y="18"/>
                  </a:lnTo>
                  <a:lnTo>
                    <a:pt x="254" y="18"/>
                  </a:lnTo>
                  <a:lnTo>
                    <a:pt x="254" y="19"/>
                  </a:lnTo>
                  <a:lnTo>
                    <a:pt x="255" y="20"/>
                  </a:lnTo>
                  <a:lnTo>
                    <a:pt x="255" y="18"/>
                  </a:lnTo>
                  <a:lnTo>
                    <a:pt x="256" y="18"/>
                  </a:lnTo>
                  <a:lnTo>
                    <a:pt x="256" y="17"/>
                  </a:lnTo>
                  <a:lnTo>
                    <a:pt x="255" y="17"/>
                  </a:lnTo>
                  <a:lnTo>
                    <a:pt x="255" y="15"/>
                  </a:lnTo>
                  <a:lnTo>
                    <a:pt x="256" y="15"/>
                  </a:lnTo>
                  <a:lnTo>
                    <a:pt x="255" y="13"/>
                  </a:lnTo>
                  <a:lnTo>
                    <a:pt x="255" y="12"/>
                  </a:lnTo>
                  <a:lnTo>
                    <a:pt x="256" y="12"/>
                  </a:lnTo>
                  <a:lnTo>
                    <a:pt x="256" y="11"/>
                  </a:lnTo>
                  <a:lnTo>
                    <a:pt x="258" y="9"/>
                  </a:lnTo>
                  <a:lnTo>
                    <a:pt x="259" y="9"/>
                  </a:lnTo>
                  <a:lnTo>
                    <a:pt x="260" y="11"/>
                  </a:lnTo>
                  <a:lnTo>
                    <a:pt x="260" y="9"/>
                  </a:lnTo>
                  <a:lnTo>
                    <a:pt x="260" y="8"/>
                  </a:lnTo>
                  <a:lnTo>
                    <a:pt x="260" y="7"/>
                  </a:lnTo>
                  <a:lnTo>
                    <a:pt x="261" y="7"/>
                  </a:lnTo>
                  <a:lnTo>
                    <a:pt x="261" y="6"/>
                  </a:lnTo>
                  <a:lnTo>
                    <a:pt x="261" y="3"/>
                  </a:lnTo>
                  <a:lnTo>
                    <a:pt x="264" y="3"/>
                  </a:lnTo>
                  <a:lnTo>
                    <a:pt x="264" y="5"/>
                  </a:lnTo>
                  <a:lnTo>
                    <a:pt x="264" y="6"/>
                  </a:lnTo>
                  <a:lnTo>
                    <a:pt x="265" y="7"/>
                  </a:lnTo>
                  <a:lnTo>
                    <a:pt x="265" y="6"/>
                  </a:lnTo>
                  <a:lnTo>
                    <a:pt x="266" y="5"/>
                  </a:lnTo>
                  <a:lnTo>
                    <a:pt x="266" y="3"/>
                  </a:lnTo>
                  <a:lnTo>
                    <a:pt x="267" y="2"/>
                  </a:lnTo>
                  <a:lnTo>
                    <a:pt x="267" y="0"/>
                  </a:lnTo>
                  <a:lnTo>
                    <a:pt x="268" y="0"/>
                  </a:lnTo>
                  <a:lnTo>
                    <a:pt x="271" y="0"/>
                  </a:lnTo>
                  <a:lnTo>
                    <a:pt x="271" y="1"/>
                  </a:lnTo>
                  <a:lnTo>
                    <a:pt x="271" y="2"/>
                  </a:lnTo>
                  <a:lnTo>
                    <a:pt x="270" y="3"/>
                  </a:lnTo>
                  <a:lnTo>
                    <a:pt x="270" y="5"/>
                  </a:lnTo>
                  <a:lnTo>
                    <a:pt x="271" y="6"/>
                  </a:lnTo>
                  <a:lnTo>
                    <a:pt x="272" y="6"/>
                  </a:lnTo>
                  <a:lnTo>
                    <a:pt x="272" y="7"/>
                  </a:lnTo>
                  <a:lnTo>
                    <a:pt x="271" y="8"/>
                  </a:lnTo>
                  <a:lnTo>
                    <a:pt x="271" y="9"/>
                  </a:lnTo>
                  <a:lnTo>
                    <a:pt x="270" y="11"/>
                  </a:lnTo>
                  <a:lnTo>
                    <a:pt x="271" y="11"/>
                  </a:lnTo>
                  <a:lnTo>
                    <a:pt x="272" y="11"/>
                  </a:lnTo>
                  <a:lnTo>
                    <a:pt x="272" y="12"/>
                  </a:lnTo>
                  <a:lnTo>
                    <a:pt x="272" y="13"/>
                  </a:lnTo>
                  <a:lnTo>
                    <a:pt x="272" y="14"/>
                  </a:lnTo>
                  <a:lnTo>
                    <a:pt x="272" y="15"/>
                  </a:lnTo>
                  <a:lnTo>
                    <a:pt x="271" y="15"/>
                  </a:lnTo>
                  <a:lnTo>
                    <a:pt x="271" y="17"/>
                  </a:lnTo>
                  <a:lnTo>
                    <a:pt x="271" y="18"/>
                  </a:lnTo>
                  <a:lnTo>
                    <a:pt x="270" y="18"/>
                  </a:lnTo>
                  <a:lnTo>
                    <a:pt x="271" y="18"/>
                  </a:lnTo>
                  <a:lnTo>
                    <a:pt x="271" y="19"/>
                  </a:lnTo>
                  <a:lnTo>
                    <a:pt x="271" y="20"/>
                  </a:lnTo>
                  <a:lnTo>
                    <a:pt x="271" y="21"/>
                  </a:lnTo>
                  <a:lnTo>
                    <a:pt x="270" y="23"/>
                  </a:lnTo>
                  <a:lnTo>
                    <a:pt x="270" y="24"/>
                  </a:lnTo>
                  <a:lnTo>
                    <a:pt x="270" y="25"/>
                  </a:lnTo>
                  <a:lnTo>
                    <a:pt x="270" y="26"/>
                  </a:lnTo>
                  <a:lnTo>
                    <a:pt x="270" y="27"/>
                  </a:lnTo>
                  <a:lnTo>
                    <a:pt x="270" y="26"/>
                  </a:lnTo>
                  <a:lnTo>
                    <a:pt x="271" y="25"/>
                  </a:lnTo>
                  <a:lnTo>
                    <a:pt x="272" y="25"/>
                  </a:lnTo>
                  <a:lnTo>
                    <a:pt x="272" y="26"/>
                  </a:lnTo>
                  <a:lnTo>
                    <a:pt x="273" y="26"/>
                  </a:lnTo>
                  <a:lnTo>
                    <a:pt x="274" y="25"/>
                  </a:lnTo>
                  <a:lnTo>
                    <a:pt x="276" y="25"/>
                  </a:lnTo>
                  <a:lnTo>
                    <a:pt x="276" y="24"/>
                  </a:lnTo>
                  <a:lnTo>
                    <a:pt x="277" y="24"/>
                  </a:lnTo>
                  <a:lnTo>
                    <a:pt x="278" y="24"/>
                  </a:lnTo>
                  <a:lnTo>
                    <a:pt x="278" y="25"/>
                  </a:lnTo>
                  <a:lnTo>
                    <a:pt x="278" y="26"/>
                  </a:lnTo>
                  <a:lnTo>
                    <a:pt x="278" y="27"/>
                  </a:lnTo>
                  <a:lnTo>
                    <a:pt x="277" y="29"/>
                  </a:lnTo>
                  <a:lnTo>
                    <a:pt x="277" y="30"/>
                  </a:lnTo>
                  <a:lnTo>
                    <a:pt x="277" y="31"/>
                  </a:lnTo>
                  <a:lnTo>
                    <a:pt x="277" y="32"/>
                  </a:lnTo>
                  <a:lnTo>
                    <a:pt x="277" y="33"/>
                  </a:lnTo>
                  <a:lnTo>
                    <a:pt x="277" y="35"/>
                  </a:lnTo>
                  <a:lnTo>
                    <a:pt x="278" y="35"/>
                  </a:lnTo>
                  <a:lnTo>
                    <a:pt x="278" y="33"/>
                  </a:lnTo>
                  <a:lnTo>
                    <a:pt x="279" y="33"/>
                  </a:lnTo>
                  <a:lnTo>
                    <a:pt x="279" y="32"/>
                  </a:lnTo>
                  <a:lnTo>
                    <a:pt x="279" y="31"/>
                  </a:lnTo>
                  <a:lnTo>
                    <a:pt x="279" y="30"/>
                  </a:lnTo>
                  <a:lnTo>
                    <a:pt x="281" y="29"/>
                  </a:lnTo>
                  <a:lnTo>
                    <a:pt x="283" y="30"/>
                  </a:lnTo>
                  <a:lnTo>
                    <a:pt x="284" y="30"/>
                  </a:lnTo>
                  <a:lnTo>
                    <a:pt x="285" y="30"/>
                  </a:lnTo>
                  <a:lnTo>
                    <a:pt x="284" y="31"/>
                  </a:lnTo>
                  <a:lnTo>
                    <a:pt x="284" y="32"/>
                  </a:lnTo>
                  <a:lnTo>
                    <a:pt x="285" y="31"/>
                  </a:lnTo>
                  <a:lnTo>
                    <a:pt x="288" y="31"/>
                  </a:lnTo>
                  <a:lnTo>
                    <a:pt x="288" y="30"/>
                  </a:lnTo>
                  <a:lnTo>
                    <a:pt x="287" y="30"/>
                  </a:lnTo>
                  <a:lnTo>
                    <a:pt x="287" y="29"/>
                  </a:lnTo>
                  <a:lnTo>
                    <a:pt x="288" y="29"/>
                  </a:lnTo>
                  <a:lnTo>
                    <a:pt x="288" y="27"/>
                  </a:lnTo>
                  <a:lnTo>
                    <a:pt x="287" y="27"/>
                  </a:lnTo>
                  <a:lnTo>
                    <a:pt x="287" y="26"/>
                  </a:lnTo>
                  <a:lnTo>
                    <a:pt x="287" y="24"/>
                  </a:lnTo>
                  <a:lnTo>
                    <a:pt x="287" y="23"/>
                  </a:lnTo>
                  <a:lnTo>
                    <a:pt x="288" y="23"/>
                  </a:lnTo>
                  <a:lnTo>
                    <a:pt x="288" y="24"/>
                  </a:lnTo>
                  <a:lnTo>
                    <a:pt x="289" y="25"/>
                  </a:lnTo>
                  <a:lnTo>
                    <a:pt x="290" y="25"/>
                  </a:lnTo>
                  <a:lnTo>
                    <a:pt x="290" y="26"/>
                  </a:lnTo>
                  <a:lnTo>
                    <a:pt x="291" y="26"/>
                  </a:lnTo>
                  <a:lnTo>
                    <a:pt x="291" y="25"/>
                  </a:lnTo>
                  <a:lnTo>
                    <a:pt x="291" y="24"/>
                  </a:lnTo>
                  <a:lnTo>
                    <a:pt x="293" y="24"/>
                  </a:lnTo>
                  <a:lnTo>
                    <a:pt x="293" y="23"/>
                  </a:lnTo>
                  <a:lnTo>
                    <a:pt x="293" y="21"/>
                  </a:lnTo>
                  <a:lnTo>
                    <a:pt x="294" y="20"/>
                  </a:lnTo>
                  <a:lnTo>
                    <a:pt x="295" y="20"/>
                  </a:lnTo>
                  <a:lnTo>
                    <a:pt x="296" y="19"/>
                  </a:lnTo>
                  <a:lnTo>
                    <a:pt x="295" y="18"/>
                  </a:lnTo>
                  <a:lnTo>
                    <a:pt x="294" y="18"/>
                  </a:lnTo>
                  <a:lnTo>
                    <a:pt x="293" y="17"/>
                  </a:lnTo>
                  <a:lnTo>
                    <a:pt x="293" y="15"/>
                  </a:lnTo>
                  <a:lnTo>
                    <a:pt x="294" y="15"/>
                  </a:lnTo>
                  <a:lnTo>
                    <a:pt x="294" y="14"/>
                  </a:lnTo>
                  <a:lnTo>
                    <a:pt x="295" y="14"/>
                  </a:lnTo>
                  <a:lnTo>
                    <a:pt x="296" y="15"/>
                  </a:lnTo>
                  <a:lnTo>
                    <a:pt x="296" y="14"/>
                  </a:lnTo>
                  <a:lnTo>
                    <a:pt x="296" y="13"/>
                  </a:lnTo>
                  <a:lnTo>
                    <a:pt x="296" y="12"/>
                  </a:lnTo>
                  <a:lnTo>
                    <a:pt x="296" y="11"/>
                  </a:lnTo>
                  <a:lnTo>
                    <a:pt x="296" y="9"/>
                  </a:lnTo>
                  <a:lnTo>
                    <a:pt x="296" y="8"/>
                  </a:lnTo>
                  <a:lnTo>
                    <a:pt x="297" y="8"/>
                  </a:lnTo>
                  <a:lnTo>
                    <a:pt x="299" y="8"/>
                  </a:lnTo>
                  <a:lnTo>
                    <a:pt x="299" y="7"/>
                  </a:lnTo>
                  <a:lnTo>
                    <a:pt x="300" y="7"/>
                  </a:lnTo>
                  <a:lnTo>
                    <a:pt x="300" y="6"/>
                  </a:lnTo>
                  <a:lnTo>
                    <a:pt x="300" y="5"/>
                  </a:lnTo>
                  <a:lnTo>
                    <a:pt x="301" y="5"/>
                  </a:lnTo>
                  <a:lnTo>
                    <a:pt x="301" y="6"/>
                  </a:lnTo>
                  <a:lnTo>
                    <a:pt x="302" y="6"/>
                  </a:lnTo>
                  <a:lnTo>
                    <a:pt x="303" y="6"/>
                  </a:lnTo>
                  <a:lnTo>
                    <a:pt x="303" y="7"/>
                  </a:lnTo>
                  <a:lnTo>
                    <a:pt x="302" y="7"/>
                  </a:lnTo>
                  <a:lnTo>
                    <a:pt x="302" y="8"/>
                  </a:lnTo>
                  <a:lnTo>
                    <a:pt x="302" y="9"/>
                  </a:lnTo>
                  <a:lnTo>
                    <a:pt x="302" y="11"/>
                  </a:lnTo>
                  <a:lnTo>
                    <a:pt x="302" y="12"/>
                  </a:lnTo>
                  <a:lnTo>
                    <a:pt x="302" y="13"/>
                  </a:lnTo>
                  <a:lnTo>
                    <a:pt x="302" y="14"/>
                  </a:lnTo>
                  <a:lnTo>
                    <a:pt x="302" y="15"/>
                  </a:lnTo>
                  <a:lnTo>
                    <a:pt x="302" y="14"/>
                  </a:lnTo>
                  <a:lnTo>
                    <a:pt x="303" y="14"/>
                  </a:lnTo>
                  <a:lnTo>
                    <a:pt x="305" y="14"/>
                  </a:lnTo>
                  <a:lnTo>
                    <a:pt x="305" y="13"/>
                  </a:lnTo>
                  <a:lnTo>
                    <a:pt x="305" y="14"/>
                  </a:lnTo>
                  <a:lnTo>
                    <a:pt x="306" y="14"/>
                  </a:lnTo>
                  <a:lnTo>
                    <a:pt x="306" y="15"/>
                  </a:lnTo>
                  <a:lnTo>
                    <a:pt x="306" y="17"/>
                  </a:lnTo>
                  <a:lnTo>
                    <a:pt x="305" y="17"/>
                  </a:lnTo>
                  <a:lnTo>
                    <a:pt x="303" y="18"/>
                  </a:lnTo>
                  <a:lnTo>
                    <a:pt x="302" y="18"/>
                  </a:lnTo>
                  <a:lnTo>
                    <a:pt x="302" y="19"/>
                  </a:lnTo>
                  <a:lnTo>
                    <a:pt x="301" y="19"/>
                  </a:lnTo>
                  <a:lnTo>
                    <a:pt x="301" y="20"/>
                  </a:lnTo>
                  <a:lnTo>
                    <a:pt x="300" y="21"/>
                  </a:lnTo>
                  <a:lnTo>
                    <a:pt x="299" y="21"/>
                  </a:lnTo>
                  <a:lnTo>
                    <a:pt x="299" y="23"/>
                  </a:lnTo>
                  <a:lnTo>
                    <a:pt x="300" y="23"/>
                  </a:lnTo>
                  <a:lnTo>
                    <a:pt x="300" y="24"/>
                  </a:lnTo>
                  <a:lnTo>
                    <a:pt x="300" y="25"/>
                  </a:lnTo>
                  <a:lnTo>
                    <a:pt x="299" y="25"/>
                  </a:lnTo>
                  <a:lnTo>
                    <a:pt x="299" y="26"/>
                  </a:lnTo>
                  <a:lnTo>
                    <a:pt x="299" y="27"/>
                  </a:lnTo>
                  <a:lnTo>
                    <a:pt x="300" y="27"/>
                  </a:lnTo>
                  <a:lnTo>
                    <a:pt x="300" y="29"/>
                  </a:lnTo>
                  <a:lnTo>
                    <a:pt x="300" y="27"/>
                  </a:lnTo>
                  <a:lnTo>
                    <a:pt x="301" y="26"/>
                  </a:lnTo>
                  <a:lnTo>
                    <a:pt x="300" y="26"/>
                  </a:lnTo>
                  <a:lnTo>
                    <a:pt x="301" y="26"/>
                  </a:lnTo>
                  <a:lnTo>
                    <a:pt x="302" y="26"/>
                  </a:lnTo>
                  <a:lnTo>
                    <a:pt x="302" y="25"/>
                  </a:lnTo>
                  <a:lnTo>
                    <a:pt x="302" y="26"/>
                  </a:lnTo>
                  <a:lnTo>
                    <a:pt x="303" y="26"/>
                  </a:lnTo>
                  <a:lnTo>
                    <a:pt x="305" y="27"/>
                  </a:lnTo>
                  <a:lnTo>
                    <a:pt x="306" y="27"/>
                  </a:lnTo>
                  <a:lnTo>
                    <a:pt x="306" y="26"/>
                  </a:lnTo>
                  <a:lnTo>
                    <a:pt x="306" y="25"/>
                  </a:lnTo>
                  <a:lnTo>
                    <a:pt x="307" y="25"/>
                  </a:lnTo>
                  <a:lnTo>
                    <a:pt x="308" y="25"/>
                  </a:lnTo>
                  <a:lnTo>
                    <a:pt x="308" y="24"/>
                  </a:lnTo>
                  <a:lnTo>
                    <a:pt x="308" y="21"/>
                  </a:lnTo>
                  <a:lnTo>
                    <a:pt x="308" y="20"/>
                  </a:lnTo>
                  <a:lnTo>
                    <a:pt x="308" y="19"/>
                  </a:lnTo>
                  <a:lnTo>
                    <a:pt x="307" y="18"/>
                  </a:lnTo>
                  <a:lnTo>
                    <a:pt x="308" y="18"/>
                  </a:lnTo>
                  <a:lnTo>
                    <a:pt x="308" y="17"/>
                  </a:lnTo>
                  <a:lnTo>
                    <a:pt x="309" y="17"/>
                  </a:lnTo>
                  <a:lnTo>
                    <a:pt x="309" y="15"/>
                  </a:lnTo>
                  <a:lnTo>
                    <a:pt x="311" y="14"/>
                  </a:lnTo>
                  <a:lnTo>
                    <a:pt x="311" y="13"/>
                  </a:lnTo>
                  <a:lnTo>
                    <a:pt x="312" y="13"/>
                  </a:lnTo>
                  <a:lnTo>
                    <a:pt x="312" y="14"/>
                  </a:lnTo>
                  <a:lnTo>
                    <a:pt x="312" y="15"/>
                  </a:lnTo>
                  <a:lnTo>
                    <a:pt x="313" y="18"/>
                  </a:lnTo>
                  <a:lnTo>
                    <a:pt x="313" y="17"/>
                  </a:lnTo>
                  <a:lnTo>
                    <a:pt x="314" y="15"/>
                  </a:lnTo>
                  <a:lnTo>
                    <a:pt x="314" y="14"/>
                  </a:lnTo>
                  <a:lnTo>
                    <a:pt x="314" y="13"/>
                  </a:lnTo>
                  <a:lnTo>
                    <a:pt x="315" y="12"/>
                  </a:lnTo>
                  <a:lnTo>
                    <a:pt x="315" y="11"/>
                  </a:lnTo>
                  <a:lnTo>
                    <a:pt x="317" y="11"/>
                  </a:lnTo>
                  <a:lnTo>
                    <a:pt x="317" y="12"/>
                  </a:lnTo>
                  <a:lnTo>
                    <a:pt x="318" y="12"/>
                  </a:lnTo>
                  <a:lnTo>
                    <a:pt x="318" y="11"/>
                  </a:lnTo>
                  <a:lnTo>
                    <a:pt x="318" y="9"/>
                  </a:lnTo>
                  <a:lnTo>
                    <a:pt x="318" y="8"/>
                  </a:lnTo>
                  <a:lnTo>
                    <a:pt x="319" y="8"/>
                  </a:lnTo>
                  <a:lnTo>
                    <a:pt x="319" y="7"/>
                  </a:lnTo>
                  <a:lnTo>
                    <a:pt x="319" y="8"/>
                  </a:lnTo>
                  <a:lnTo>
                    <a:pt x="320" y="8"/>
                  </a:lnTo>
                  <a:lnTo>
                    <a:pt x="321" y="8"/>
                  </a:lnTo>
                  <a:lnTo>
                    <a:pt x="321" y="9"/>
                  </a:lnTo>
                  <a:lnTo>
                    <a:pt x="320" y="11"/>
                  </a:lnTo>
                  <a:lnTo>
                    <a:pt x="320" y="12"/>
                  </a:lnTo>
                  <a:lnTo>
                    <a:pt x="320" y="13"/>
                  </a:lnTo>
                  <a:lnTo>
                    <a:pt x="321" y="14"/>
                  </a:lnTo>
                  <a:lnTo>
                    <a:pt x="321" y="15"/>
                  </a:lnTo>
                  <a:lnTo>
                    <a:pt x="321" y="17"/>
                  </a:lnTo>
                  <a:lnTo>
                    <a:pt x="320" y="17"/>
                  </a:lnTo>
                  <a:lnTo>
                    <a:pt x="320" y="18"/>
                  </a:lnTo>
                  <a:lnTo>
                    <a:pt x="319" y="18"/>
                  </a:lnTo>
                  <a:lnTo>
                    <a:pt x="319" y="19"/>
                  </a:lnTo>
                  <a:lnTo>
                    <a:pt x="319" y="20"/>
                  </a:lnTo>
                  <a:lnTo>
                    <a:pt x="318" y="20"/>
                  </a:lnTo>
                  <a:lnTo>
                    <a:pt x="317" y="20"/>
                  </a:lnTo>
                  <a:lnTo>
                    <a:pt x="317" y="21"/>
                  </a:lnTo>
                  <a:lnTo>
                    <a:pt x="315" y="21"/>
                  </a:lnTo>
                  <a:lnTo>
                    <a:pt x="314" y="23"/>
                  </a:lnTo>
                  <a:lnTo>
                    <a:pt x="315" y="23"/>
                  </a:lnTo>
                  <a:lnTo>
                    <a:pt x="317" y="23"/>
                  </a:lnTo>
                  <a:lnTo>
                    <a:pt x="317" y="24"/>
                  </a:lnTo>
                  <a:lnTo>
                    <a:pt x="318" y="23"/>
                  </a:lnTo>
                  <a:lnTo>
                    <a:pt x="319" y="23"/>
                  </a:lnTo>
                  <a:lnTo>
                    <a:pt x="320" y="23"/>
                  </a:lnTo>
                  <a:lnTo>
                    <a:pt x="320" y="24"/>
                  </a:lnTo>
                  <a:lnTo>
                    <a:pt x="320" y="25"/>
                  </a:lnTo>
                  <a:lnTo>
                    <a:pt x="321" y="26"/>
                  </a:lnTo>
                  <a:lnTo>
                    <a:pt x="321" y="27"/>
                  </a:lnTo>
                  <a:lnTo>
                    <a:pt x="323" y="27"/>
                  </a:lnTo>
                  <a:lnTo>
                    <a:pt x="323" y="26"/>
                  </a:lnTo>
                  <a:lnTo>
                    <a:pt x="324" y="26"/>
                  </a:lnTo>
                  <a:lnTo>
                    <a:pt x="323" y="25"/>
                  </a:lnTo>
                  <a:lnTo>
                    <a:pt x="324" y="23"/>
                  </a:lnTo>
                  <a:lnTo>
                    <a:pt x="325" y="23"/>
                  </a:lnTo>
                  <a:lnTo>
                    <a:pt x="326" y="24"/>
                  </a:lnTo>
                  <a:lnTo>
                    <a:pt x="326" y="23"/>
                  </a:lnTo>
                  <a:lnTo>
                    <a:pt x="327" y="23"/>
                  </a:lnTo>
                  <a:lnTo>
                    <a:pt x="329" y="21"/>
                  </a:lnTo>
                  <a:lnTo>
                    <a:pt x="330" y="20"/>
                  </a:lnTo>
                  <a:lnTo>
                    <a:pt x="331" y="19"/>
                  </a:lnTo>
                  <a:lnTo>
                    <a:pt x="332" y="21"/>
                  </a:lnTo>
                  <a:lnTo>
                    <a:pt x="332" y="23"/>
                  </a:lnTo>
                  <a:lnTo>
                    <a:pt x="331" y="24"/>
                  </a:lnTo>
                  <a:lnTo>
                    <a:pt x="330" y="25"/>
                  </a:lnTo>
                  <a:lnTo>
                    <a:pt x="330" y="26"/>
                  </a:lnTo>
                  <a:lnTo>
                    <a:pt x="329" y="27"/>
                  </a:lnTo>
                  <a:lnTo>
                    <a:pt x="329" y="30"/>
                  </a:lnTo>
                  <a:lnTo>
                    <a:pt x="327" y="30"/>
                  </a:lnTo>
                  <a:lnTo>
                    <a:pt x="327" y="31"/>
                  </a:lnTo>
                  <a:lnTo>
                    <a:pt x="326" y="37"/>
                  </a:lnTo>
                  <a:lnTo>
                    <a:pt x="326" y="38"/>
                  </a:lnTo>
                  <a:lnTo>
                    <a:pt x="327" y="38"/>
                  </a:lnTo>
                  <a:lnTo>
                    <a:pt x="327" y="39"/>
                  </a:lnTo>
                  <a:lnTo>
                    <a:pt x="327" y="38"/>
                  </a:lnTo>
                  <a:lnTo>
                    <a:pt x="329" y="38"/>
                  </a:lnTo>
                  <a:lnTo>
                    <a:pt x="330" y="38"/>
                  </a:lnTo>
                  <a:lnTo>
                    <a:pt x="329" y="39"/>
                  </a:lnTo>
                  <a:lnTo>
                    <a:pt x="329" y="41"/>
                  </a:lnTo>
                  <a:lnTo>
                    <a:pt x="327" y="41"/>
                  </a:lnTo>
                  <a:lnTo>
                    <a:pt x="327" y="42"/>
                  </a:lnTo>
                  <a:lnTo>
                    <a:pt x="326" y="43"/>
                  </a:lnTo>
                  <a:lnTo>
                    <a:pt x="327" y="43"/>
                  </a:lnTo>
                  <a:lnTo>
                    <a:pt x="327" y="44"/>
                  </a:lnTo>
                  <a:lnTo>
                    <a:pt x="327" y="45"/>
                  </a:lnTo>
                  <a:lnTo>
                    <a:pt x="327" y="47"/>
                  </a:lnTo>
                  <a:lnTo>
                    <a:pt x="329" y="48"/>
                  </a:lnTo>
                  <a:lnTo>
                    <a:pt x="330" y="48"/>
                  </a:lnTo>
                  <a:lnTo>
                    <a:pt x="330" y="47"/>
                  </a:lnTo>
                  <a:lnTo>
                    <a:pt x="331" y="47"/>
                  </a:lnTo>
                  <a:lnTo>
                    <a:pt x="331" y="45"/>
                  </a:lnTo>
                  <a:lnTo>
                    <a:pt x="332" y="45"/>
                  </a:lnTo>
                  <a:lnTo>
                    <a:pt x="332" y="43"/>
                  </a:lnTo>
                  <a:lnTo>
                    <a:pt x="333" y="43"/>
                  </a:lnTo>
                  <a:lnTo>
                    <a:pt x="333" y="42"/>
                  </a:lnTo>
                  <a:lnTo>
                    <a:pt x="333" y="41"/>
                  </a:lnTo>
                  <a:lnTo>
                    <a:pt x="332" y="38"/>
                  </a:lnTo>
                  <a:lnTo>
                    <a:pt x="332" y="37"/>
                  </a:lnTo>
                  <a:lnTo>
                    <a:pt x="333" y="37"/>
                  </a:lnTo>
                  <a:lnTo>
                    <a:pt x="333" y="36"/>
                  </a:lnTo>
                  <a:lnTo>
                    <a:pt x="333" y="35"/>
                  </a:lnTo>
                  <a:lnTo>
                    <a:pt x="332" y="35"/>
                  </a:lnTo>
                  <a:lnTo>
                    <a:pt x="333" y="33"/>
                  </a:lnTo>
                  <a:lnTo>
                    <a:pt x="335" y="33"/>
                  </a:lnTo>
                  <a:lnTo>
                    <a:pt x="336" y="33"/>
                  </a:lnTo>
                  <a:lnTo>
                    <a:pt x="336" y="32"/>
                  </a:lnTo>
                  <a:lnTo>
                    <a:pt x="336" y="31"/>
                  </a:lnTo>
                  <a:lnTo>
                    <a:pt x="336" y="30"/>
                  </a:lnTo>
                  <a:lnTo>
                    <a:pt x="337" y="30"/>
                  </a:lnTo>
                  <a:lnTo>
                    <a:pt x="338" y="30"/>
                  </a:lnTo>
                  <a:lnTo>
                    <a:pt x="340" y="30"/>
                  </a:lnTo>
                  <a:lnTo>
                    <a:pt x="340" y="31"/>
                  </a:lnTo>
                  <a:lnTo>
                    <a:pt x="340" y="32"/>
                  </a:lnTo>
                  <a:lnTo>
                    <a:pt x="340" y="35"/>
                  </a:lnTo>
                  <a:lnTo>
                    <a:pt x="338" y="35"/>
                  </a:lnTo>
                  <a:lnTo>
                    <a:pt x="338" y="36"/>
                  </a:lnTo>
                  <a:lnTo>
                    <a:pt x="338" y="37"/>
                  </a:lnTo>
                  <a:lnTo>
                    <a:pt x="340" y="38"/>
                  </a:lnTo>
                  <a:lnTo>
                    <a:pt x="340" y="37"/>
                  </a:lnTo>
                  <a:lnTo>
                    <a:pt x="341" y="37"/>
                  </a:lnTo>
                  <a:lnTo>
                    <a:pt x="341" y="38"/>
                  </a:lnTo>
                  <a:lnTo>
                    <a:pt x="342" y="38"/>
                  </a:lnTo>
                  <a:lnTo>
                    <a:pt x="341" y="38"/>
                  </a:lnTo>
                  <a:lnTo>
                    <a:pt x="341" y="39"/>
                  </a:lnTo>
                  <a:lnTo>
                    <a:pt x="340" y="39"/>
                  </a:lnTo>
                  <a:lnTo>
                    <a:pt x="340" y="41"/>
                  </a:lnTo>
                  <a:lnTo>
                    <a:pt x="338" y="41"/>
                  </a:lnTo>
                  <a:lnTo>
                    <a:pt x="338" y="42"/>
                  </a:lnTo>
                  <a:lnTo>
                    <a:pt x="337" y="42"/>
                  </a:lnTo>
                  <a:lnTo>
                    <a:pt x="337" y="43"/>
                  </a:lnTo>
                  <a:lnTo>
                    <a:pt x="336" y="43"/>
                  </a:lnTo>
                  <a:lnTo>
                    <a:pt x="336" y="44"/>
                  </a:lnTo>
                  <a:lnTo>
                    <a:pt x="337" y="44"/>
                  </a:lnTo>
                  <a:lnTo>
                    <a:pt x="336" y="44"/>
                  </a:lnTo>
                  <a:lnTo>
                    <a:pt x="337" y="45"/>
                  </a:lnTo>
                  <a:lnTo>
                    <a:pt x="338" y="47"/>
                  </a:lnTo>
                  <a:lnTo>
                    <a:pt x="340" y="47"/>
                  </a:lnTo>
                  <a:lnTo>
                    <a:pt x="341" y="47"/>
                  </a:lnTo>
                  <a:lnTo>
                    <a:pt x="341" y="45"/>
                  </a:lnTo>
                  <a:lnTo>
                    <a:pt x="341" y="44"/>
                  </a:lnTo>
                  <a:lnTo>
                    <a:pt x="342" y="41"/>
                  </a:lnTo>
                  <a:lnTo>
                    <a:pt x="343" y="39"/>
                  </a:lnTo>
                  <a:lnTo>
                    <a:pt x="343" y="41"/>
                  </a:lnTo>
                  <a:lnTo>
                    <a:pt x="344" y="41"/>
                  </a:lnTo>
                  <a:lnTo>
                    <a:pt x="346" y="41"/>
                  </a:lnTo>
                  <a:lnTo>
                    <a:pt x="347" y="41"/>
                  </a:lnTo>
                  <a:lnTo>
                    <a:pt x="348" y="41"/>
                  </a:lnTo>
                  <a:lnTo>
                    <a:pt x="347" y="41"/>
                  </a:lnTo>
                  <a:lnTo>
                    <a:pt x="348" y="39"/>
                  </a:lnTo>
                  <a:lnTo>
                    <a:pt x="347" y="39"/>
                  </a:lnTo>
                  <a:lnTo>
                    <a:pt x="344" y="39"/>
                  </a:lnTo>
                  <a:lnTo>
                    <a:pt x="346" y="39"/>
                  </a:lnTo>
                  <a:lnTo>
                    <a:pt x="344" y="39"/>
                  </a:lnTo>
                  <a:lnTo>
                    <a:pt x="344" y="38"/>
                  </a:lnTo>
                  <a:lnTo>
                    <a:pt x="344" y="37"/>
                  </a:lnTo>
                  <a:lnTo>
                    <a:pt x="343" y="37"/>
                  </a:lnTo>
                  <a:lnTo>
                    <a:pt x="343" y="36"/>
                  </a:lnTo>
                  <a:lnTo>
                    <a:pt x="344" y="35"/>
                  </a:lnTo>
                  <a:lnTo>
                    <a:pt x="344" y="33"/>
                  </a:lnTo>
                  <a:lnTo>
                    <a:pt x="344" y="32"/>
                  </a:lnTo>
                  <a:lnTo>
                    <a:pt x="344" y="31"/>
                  </a:lnTo>
                  <a:lnTo>
                    <a:pt x="346" y="31"/>
                  </a:lnTo>
                  <a:lnTo>
                    <a:pt x="347" y="31"/>
                  </a:lnTo>
                  <a:lnTo>
                    <a:pt x="347" y="32"/>
                  </a:lnTo>
                  <a:lnTo>
                    <a:pt x="348" y="32"/>
                  </a:lnTo>
                  <a:lnTo>
                    <a:pt x="348" y="31"/>
                  </a:lnTo>
                  <a:lnTo>
                    <a:pt x="349" y="31"/>
                  </a:lnTo>
                  <a:lnTo>
                    <a:pt x="349" y="30"/>
                  </a:lnTo>
                  <a:lnTo>
                    <a:pt x="349" y="29"/>
                  </a:lnTo>
                  <a:lnTo>
                    <a:pt x="349" y="27"/>
                  </a:lnTo>
                  <a:lnTo>
                    <a:pt x="350" y="26"/>
                  </a:lnTo>
                  <a:lnTo>
                    <a:pt x="352" y="26"/>
                  </a:lnTo>
                  <a:lnTo>
                    <a:pt x="352" y="25"/>
                  </a:lnTo>
                  <a:lnTo>
                    <a:pt x="352" y="24"/>
                  </a:lnTo>
                  <a:lnTo>
                    <a:pt x="353" y="24"/>
                  </a:lnTo>
                  <a:lnTo>
                    <a:pt x="353" y="23"/>
                  </a:lnTo>
                  <a:lnTo>
                    <a:pt x="354" y="23"/>
                  </a:lnTo>
                  <a:lnTo>
                    <a:pt x="354" y="24"/>
                  </a:lnTo>
                  <a:lnTo>
                    <a:pt x="355" y="24"/>
                  </a:lnTo>
                  <a:lnTo>
                    <a:pt x="356" y="24"/>
                  </a:lnTo>
                  <a:lnTo>
                    <a:pt x="356" y="25"/>
                  </a:lnTo>
                  <a:lnTo>
                    <a:pt x="356" y="26"/>
                  </a:lnTo>
                  <a:lnTo>
                    <a:pt x="356" y="27"/>
                  </a:lnTo>
                  <a:lnTo>
                    <a:pt x="356" y="29"/>
                  </a:lnTo>
                  <a:lnTo>
                    <a:pt x="356" y="30"/>
                  </a:lnTo>
                  <a:lnTo>
                    <a:pt x="358" y="30"/>
                  </a:lnTo>
                  <a:lnTo>
                    <a:pt x="358" y="31"/>
                  </a:lnTo>
                  <a:lnTo>
                    <a:pt x="358" y="32"/>
                  </a:lnTo>
                  <a:lnTo>
                    <a:pt x="356" y="33"/>
                  </a:lnTo>
                  <a:lnTo>
                    <a:pt x="355" y="33"/>
                  </a:lnTo>
                  <a:lnTo>
                    <a:pt x="355" y="35"/>
                  </a:lnTo>
                  <a:lnTo>
                    <a:pt x="356" y="35"/>
                  </a:lnTo>
                  <a:lnTo>
                    <a:pt x="356" y="36"/>
                  </a:lnTo>
                  <a:lnTo>
                    <a:pt x="358" y="36"/>
                  </a:lnTo>
                  <a:lnTo>
                    <a:pt x="358" y="37"/>
                  </a:lnTo>
                  <a:lnTo>
                    <a:pt x="359" y="37"/>
                  </a:lnTo>
                  <a:lnTo>
                    <a:pt x="359" y="38"/>
                  </a:lnTo>
                  <a:lnTo>
                    <a:pt x="358" y="39"/>
                  </a:lnTo>
                  <a:lnTo>
                    <a:pt x="358" y="41"/>
                  </a:lnTo>
                  <a:lnTo>
                    <a:pt x="358" y="42"/>
                  </a:lnTo>
                  <a:lnTo>
                    <a:pt x="356" y="42"/>
                  </a:lnTo>
                  <a:lnTo>
                    <a:pt x="356" y="43"/>
                  </a:lnTo>
                  <a:lnTo>
                    <a:pt x="355" y="43"/>
                  </a:lnTo>
                  <a:lnTo>
                    <a:pt x="355" y="42"/>
                  </a:lnTo>
                  <a:lnTo>
                    <a:pt x="355" y="43"/>
                  </a:lnTo>
                  <a:lnTo>
                    <a:pt x="355" y="44"/>
                  </a:lnTo>
                  <a:lnTo>
                    <a:pt x="356" y="44"/>
                  </a:lnTo>
                  <a:lnTo>
                    <a:pt x="358" y="43"/>
                  </a:lnTo>
                  <a:lnTo>
                    <a:pt x="359" y="42"/>
                  </a:lnTo>
                  <a:lnTo>
                    <a:pt x="359" y="41"/>
                  </a:lnTo>
                  <a:lnTo>
                    <a:pt x="360" y="39"/>
                  </a:lnTo>
                  <a:lnTo>
                    <a:pt x="359" y="39"/>
                  </a:lnTo>
                  <a:lnTo>
                    <a:pt x="360" y="38"/>
                  </a:lnTo>
                  <a:lnTo>
                    <a:pt x="361" y="38"/>
                  </a:lnTo>
                  <a:lnTo>
                    <a:pt x="362" y="38"/>
                  </a:lnTo>
                  <a:lnTo>
                    <a:pt x="362" y="37"/>
                  </a:lnTo>
                  <a:lnTo>
                    <a:pt x="364" y="37"/>
                  </a:lnTo>
                  <a:lnTo>
                    <a:pt x="362" y="36"/>
                  </a:lnTo>
                  <a:lnTo>
                    <a:pt x="362" y="35"/>
                  </a:lnTo>
                  <a:lnTo>
                    <a:pt x="361" y="35"/>
                  </a:lnTo>
                  <a:lnTo>
                    <a:pt x="362" y="33"/>
                  </a:lnTo>
                  <a:lnTo>
                    <a:pt x="361" y="33"/>
                  </a:lnTo>
                  <a:lnTo>
                    <a:pt x="362" y="32"/>
                  </a:lnTo>
                  <a:lnTo>
                    <a:pt x="362" y="31"/>
                  </a:lnTo>
                  <a:lnTo>
                    <a:pt x="362" y="30"/>
                  </a:lnTo>
                  <a:lnTo>
                    <a:pt x="364" y="29"/>
                  </a:lnTo>
                  <a:lnTo>
                    <a:pt x="365" y="29"/>
                  </a:lnTo>
                  <a:lnTo>
                    <a:pt x="365" y="27"/>
                  </a:lnTo>
                  <a:lnTo>
                    <a:pt x="366" y="27"/>
                  </a:lnTo>
                  <a:lnTo>
                    <a:pt x="368" y="27"/>
                  </a:lnTo>
                  <a:lnTo>
                    <a:pt x="370" y="26"/>
                  </a:lnTo>
                  <a:lnTo>
                    <a:pt x="371" y="25"/>
                  </a:lnTo>
                  <a:lnTo>
                    <a:pt x="372" y="25"/>
                  </a:lnTo>
                  <a:lnTo>
                    <a:pt x="372" y="24"/>
                  </a:lnTo>
                  <a:lnTo>
                    <a:pt x="373" y="23"/>
                  </a:lnTo>
                  <a:lnTo>
                    <a:pt x="373" y="21"/>
                  </a:lnTo>
                  <a:lnTo>
                    <a:pt x="374" y="21"/>
                  </a:lnTo>
                  <a:lnTo>
                    <a:pt x="374" y="20"/>
                  </a:lnTo>
                  <a:lnTo>
                    <a:pt x="376" y="21"/>
                  </a:lnTo>
                  <a:lnTo>
                    <a:pt x="377" y="21"/>
                  </a:lnTo>
                  <a:lnTo>
                    <a:pt x="377" y="24"/>
                  </a:lnTo>
                  <a:lnTo>
                    <a:pt x="377" y="25"/>
                  </a:lnTo>
                  <a:lnTo>
                    <a:pt x="377" y="26"/>
                  </a:lnTo>
                  <a:lnTo>
                    <a:pt x="378" y="27"/>
                  </a:lnTo>
                  <a:lnTo>
                    <a:pt x="379" y="27"/>
                  </a:lnTo>
                  <a:lnTo>
                    <a:pt x="379" y="29"/>
                  </a:lnTo>
                  <a:lnTo>
                    <a:pt x="380" y="29"/>
                  </a:lnTo>
                  <a:lnTo>
                    <a:pt x="380" y="30"/>
                  </a:lnTo>
                  <a:lnTo>
                    <a:pt x="379" y="31"/>
                  </a:lnTo>
                  <a:lnTo>
                    <a:pt x="379" y="32"/>
                  </a:lnTo>
                  <a:lnTo>
                    <a:pt x="382" y="32"/>
                  </a:lnTo>
                  <a:lnTo>
                    <a:pt x="382" y="33"/>
                  </a:lnTo>
                  <a:lnTo>
                    <a:pt x="380" y="33"/>
                  </a:lnTo>
                  <a:lnTo>
                    <a:pt x="382" y="33"/>
                  </a:lnTo>
                  <a:lnTo>
                    <a:pt x="382" y="32"/>
                  </a:lnTo>
                  <a:lnTo>
                    <a:pt x="383" y="32"/>
                  </a:lnTo>
                  <a:lnTo>
                    <a:pt x="384" y="32"/>
                  </a:lnTo>
                  <a:lnTo>
                    <a:pt x="385" y="32"/>
                  </a:lnTo>
                  <a:lnTo>
                    <a:pt x="385" y="31"/>
                  </a:lnTo>
                  <a:lnTo>
                    <a:pt x="386" y="31"/>
                  </a:lnTo>
                  <a:lnTo>
                    <a:pt x="386" y="32"/>
                  </a:lnTo>
                  <a:lnTo>
                    <a:pt x="388" y="32"/>
                  </a:lnTo>
                  <a:lnTo>
                    <a:pt x="388" y="33"/>
                  </a:lnTo>
                  <a:lnTo>
                    <a:pt x="389" y="35"/>
                  </a:lnTo>
                  <a:lnTo>
                    <a:pt x="390" y="33"/>
                  </a:lnTo>
                  <a:lnTo>
                    <a:pt x="390" y="35"/>
                  </a:lnTo>
                  <a:lnTo>
                    <a:pt x="390" y="36"/>
                  </a:lnTo>
                  <a:lnTo>
                    <a:pt x="389" y="36"/>
                  </a:lnTo>
                  <a:lnTo>
                    <a:pt x="389" y="37"/>
                  </a:lnTo>
                  <a:lnTo>
                    <a:pt x="389" y="38"/>
                  </a:lnTo>
                  <a:lnTo>
                    <a:pt x="388" y="38"/>
                  </a:lnTo>
                  <a:lnTo>
                    <a:pt x="388" y="39"/>
                  </a:lnTo>
                  <a:lnTo>
                    <a:pt x="388" y="41"/>
                  </a:lnTo>
                  <a:lnTo>
                    <a:pt x="386" y="41"/>
                  </a:lnTo>
                  <a:lnTo>
                    <a:pt x="386" y="42"/>
                  </a:lnTo>
                  <a:lnTo>
                    <a:pt x="386" y="43"/>
                  </a:lnTo>
                  <a:lnTo>
                    <a:pt x="385" y="43"/>
                  </a:lnTo>
                  <a:lnTo>
                    <a:pt x="385" y="44"/>
                  </a:lnTo>
                  <a:lnTo>
                    <a:pt x="384" y="44"/>
                  </a:lnTo>
                  <a:lnTo>
                    <a:pt x="383" y="44"/>
                  </a:lnTo>
                  <a:lnTo>
                    <a:pt x="382" y="45"/>
                  </a:lnTo>
                  <a:lnTo>
                    <a:pt x="380" y="45"/>
                  </a:lnTo>
                  <a:lnTo>
                    <a:pt x="380" y="47"/>
                  </a:lnTo>
                  <a:lnTo>
                    <a:pt x="379" y="45"/>
                  </a:lnTo>
                  <a:lnTo>
                    <a:pt x="378" y="45"/>
                  </a:lnTo>
                  <a:lnTo>
                    <a:pt x="377" y="47"/>
                  </a:lnTo>
                  <a:lnTo>
                    <a:pt x="377" y="48"/>
                  </a:lnTo>
                  <a:lnTo>
                    <a:pt x="376" y="48"/>
                  </a:lnTo>
                  <a:lnTo>
                    <a:pt x="376" y="49"/>
                  </a:lnTo>
                  <a:lnTo>
                    <a:pt x="374" y="50"/>
                  </a:lnTo>
                  <a:lnTo>
                    <a:pt x="374" y="52"/>
                  </a:lnTo>
                  <a:lnTo>
                    <a:pt x="376" y="53"/>
                  </a:lnTo>
                  <a:lnTo>
                    <a:pt x="377" y="53"/>
                  </a:lnTo>
                  <a:lnTo>
                    <a:pt x="378" y="52"/>
                  </a:lnTo>
                  <a:lnTo>
                    <a:pt x="379" y="52"/>
                  </a:lnTo>
                  <a:lnTo>
                    <a:pt x="380" y="52"/>
                  </a:lnTo>
                  <a:lnTo>
                    <a:pt x="382" y="52"/>
                  </a:lnTo>
                  <a:lnTo>
                    <a:pt x="383" y="52"/>
                  </a:lnTo>
                  <a:lnTo>
                    <a:pt x="383" y="50"/>
                  </a:lnTo>
                  <a:lnTo>
                    <a:pt x="384" y="50"/>
                  </a:lnTo>
                  <a:lnTo>
                    <a:pt x="385" y="50"/>
                  </a:lnTo>
                  <a:lnTo>
                    <a:pt x="385" y="49"/>
                  </a:lnTo>
                  <a:lnTo>
                    <a:pt x="385" y="48"/>
                  </a:lnTo>
                  <a:lnTo>
                    <a:pt x="386" y="48"/>
                  </a:lnTo>
                  <a:lnTo>
                    <a:pt x="386" y="47"/>
                  </a:lnTo>
                  <a:lnTo>
                    <a:pt x="389" y="47"/>
                  </a:lnTo>
                  <a:lnTo>
                    <a:pt x="389" y="45"/>
                  </a:lnTo>
                  <a:lnTo>
                    <a:pt x="390" y="45"/>
                  </a:lnTo>
                  <a:lnTo>
                    <a:pt x="390" y="44"/>
                  </a:lnTo>
                  <a:lnTo>
                    <a:pt x="391" y="43"/>
                  </a:lnTo>
                  <a:lnTo>
                    <a:pt x="392" y="43"/>
                  </a:lnTo>
                  <a:lnTo>
                    <a:pt x="392" y="42"/>
                  </a:lnTo>
                  <a:lnTo>
                    <a:pt x="394" y="43"/>
                  </a:lnTo>
                  <a:lnTo>
                    <a:pt x="395" y="43"/>
                  </a:lnTo>
                  <a:lnTo>
                    <a:pt x="396" y="43"/>
                  </a:lnTo>
                  <a:lnTo>
                    <a:pt x="397" y="43"/>
                  </a:lnTo>
                  <a:lnTo>
                    <a:pt x="397" y="42"/>
                  </a:lnTo>
                  <a:lnTo>
                    <a:pt x="398" y="42"/>
                  </a:lnTo>
                  <a:lnTo>
                    <a:pt x="398" y="43"/>
                  </a:lnTo>
                  <a:lnTo>
                    <a:pt x="400" y="43"/>
                  </a:lnTo>
                  <a:lnTo>
                    <a:pt x="401" y="44"/>
                  </a:lnTo>
                  <a:lnTo>
                    <a:pt x="401" y="45"/>
                  </a:lnTo>
                  <a:lnTo>
                    <a:pt x="401" y="47"/>
                  </a:lnTo>
                  <a:lnTo>
                    <a:pt x="401" y="49"/>
                  </a:lnTo>
                  <a:lnTo>
                    <a:pt x="402" y="49"/>
                  </a:lnTo>
                  <a:lnTo>
                    <a:pt x="403" y="49"/>
                  </a:lnTo>
                  <a:lnTo>
                    <a:pt x="403" y="48"/>
                  </a:lnTo>
                  <a:lnTo>
                    <a:pt x="405" y="48"/>
                  </a:lnTo>
                  <a:lnTo>
                    <a:pt x="405" y="47"/>
                  </a:lnTo>
                  <a:lnTo>
                    <a:pt x="406" y="47"/>
                  </a:lnTo>
                  <a:lnTo>
                    <a:pt x="406" y="45"/>
                  </a:lnTo>
                  <a:lnTo>
                    <a:pt x="406" y="44"/>
                  </a:lnTo>
                  <a:lnTo>
                    <a:pt x="407" y="44"/>
                  </a:lnTo>
                  <a:lnTo>
                    <a:pt x="408" y="44"/>
                  </a:lnTo>
                  <a:lnTo>
                    <a:pt x="408" y="45"/>
                  </a:lnTo>
                  <a:lnTo>
                    <a:pt x="408" y="47"/>
                  </a:lnTo>
                  <a:lnTo>
                    <a:pt x="408" y="48"/>
                  </a:lnTo>
                  <a:lnTo>
                    <a:pt x="408" y="49"/>
                  </a:lnTo>
                  <a:lnTo>
                    <a:pt x="408" y="50"/>
                  </a:lnTo>
                  <a:lnTo>
                    <a:pt x="407" y="50"/>
                  </a:lnTo>
                  <a:lnTo>
                    <a:pt x="407" y="52"/>
                  </a:lnTo>
                  <a:lnTo>
                    <a:pt x="407" y="53"/>
                  </a:lnTo>
                  <a:lnTo>
                    <a:pt x="408" y="54"/>
                  </a:lnTo>
                  <a:lnTo>
                    <a:pt x="409" y="54"/>
                  </a:lnTo>
                  <a:lnTo>
                    <a:pt x="409" y="56"/>
                  </a:lnTo>
                  <a:lnTo>
                    <a:pt x="408" y="56"/>
                  </a:lnTo>
                  <a:lnTo>
                    <a:pt x="408" y="58"/>
                  </a:lnTo>
                  <a:lnTo>
                    <a:pt x="407" y="59"/>
                  </a:lnTo>
                  <a:lnTo>
                    <a:pt x="406" y="59"/>
                  </a:lnTo>
                  <a:lnTo>
                    <a:pt x="406" y="60"/>
                  </a:lnTo>
                  <a:lnTo>
                    <a:pt x="405" y="61"/>
                  </a:lnTo>
                  <a:lnTo>
                    <a:pt x="405" y="62"/>
                  </a:lnTo>
                  <a:lnTo>
                    <a:pt x="405" y="61"/>
                  </a:lnTo>
                  <a:lnTo>
                    <a:pt x="406" y="61"/>
                  </a:lnTo>
                  <a:lnTo>
                    <a:pt x="406" y="64"/>
                  </a:lnTo>
                  <a:lnTo>
                    <a:pt x="406" y="65"/>
                  </a:lnTo>
                  <a:lnTo>
                    <a:pt x="405" y="66"/>
                  </a:lnTo>
                  <a:lnTo>
                    <a:pt x="403" y="66"/>
                  </a:lnTo>
                  <a:lnTo>
                    <a:pt x="403" y="67"/>
                  </a:lnTo>
                  <a:lnTo>
                    <a:pt x="402" y="67"/>
                  </a:lnTo>
                  <a:lnTo>
                    <a:pt x="402" y="66"/>
                  </a:lnTo>
                  <a:lnTo>
                    <a:pt x="401" y="67"/>
                  </a:lnTo>
                  <a:lnTo>
                    <a:pt x="401" y="68"/>
                  </a:lnTo>
                  <a:lnTo>
                    <a:pt x="400" y="68"/>
                  </a:lnTo>
                  <a:lnTo>
                    <a:pt x="398" y="68"/>
                  </a:lnTo>
                  <a:lnTo>
                    <a:pt x="397" y="68"/>
                  </a:lnTo>
                  <a:lnTo>
                    <a:pt x="397" y="71"/>
                  </a:lnTo>
                  <a:lnTo>
                    <a:pt x="398" y="71"/>
                  </a:lnTo>
                  <a:lnTo>
                    <a:pt x="398" y="70"/>
                  </a:lnTo>
                  <a:lnTo>
                    <a:pt x="400" y="70"/>
                  </a:lnTo>
                  <a:lnTo>
                    <a:pt x="400" y="68"/>
                  </a:lnTo>
                  <a:lnTo>
                    <a:pt x="401" y="68"/>
                  </a:lnTo>
                  <a:lnTo>
                    <a:pt x="402" y="70"/>
                  </a:lnTo>
                  <a:lnTo>
                    <a:pt x="403" y="70"/>
                  </a:lnTo>
                  <a:lnTo>
                    <a:pt x="403" y="68"/>
                  </a:lnTo>
                  <a:lnTo>
                    <a:pt x="403" y="70"/>
                  </a:lnTo>
                  <a:lnTo>
                    <a:pt x="405" y="70"/>
                  </a:lnTo>
                  <a:lnTo>
                    <a:pt x="405" y="72"/>
                  </a:lnTo>
                  <a:lnTo>
                    <a:pt x="403" y="72"/>
                  </a:lnTo>
                  <a:lnTo>
                    <a:pt x="403" y="73"/>
                  </a:lnTo>
                  <a:lnTo>
                    <a:pt x="402" y="73"/>
                  </a:lnTo>
                  <a:lnTo>
                    <a:pt x="401" y="74"/>
                  </a:lnTo>
                  <a:lnTo>
                    <a:pt x="401" y="76"/>
                  </a:lnTo>
                  <a:lnTo>
                    <a:pt x="400" y="76"/>
                  </a:lnTo>
                  <a:lnTo>
                    <a:pt x="398" y="76"/>
                  </a:lnTo>
                  <a:lnTo>
                    <a:pt x="397" y="76"/>
                  </a:lnTo>
                  <a:lnTo>
                    <a:pt x="396" y="77"/>
                  </a:lnTo>
                  <a:lnTo>
                    <a:pt x="394" y="77"/>
                  </a:lnTo>
                  <a:lnTo>
                    <a:pt x="392" y="76"/>
                  </a:lnTo>
                  <a:lnTo>
                    <a:pt x="391" y="76"/>
                  </a:lnTo>
                  <a:lnTo>
                    <a:pt x="391" y="74"/>
                  </a:lnTo>
                  <a:lnTo>
                    <a:pt x="391" y="73"/>
                  </a:lnTo>
                  <a:lnTo>
                    <a:pt x="391" y="74"/>
                  </a:lnTo>
                  <a:lnTo>
                    <a:pt x="390" y="73"/>
                  </a:lnTo>
                  <a:lnTo>
                    <a:pt x="390" y="74"/>
                  </a:lnTo>
                  <a:lnTo>
                    <a:pt x="391" y="74"/>
                  </a:lnTo>
                  <a:lnTo>
                    <a:pt x="391" y="76"/>
                  </a:lnTo>
                  <a:lnTo>
                    <a:pt x="390" y="76"/>
                  </a:lnTo>
                  <a:lnTo>
                    <a:pt x="390" y="77"/>
                  </a:lnTo>
                  <a:lnTo>
                    <a:pt x="389" y="77"/>
                  </a:lnTo>
                  <a:lnTo>
                    <a:pt x="388" y="78"/>
                  </a:lnTo>
                  <a:lnTo>
                    <a:pt x="386" y="77"/>
                  </a:lnTo>
                  <a:lnTo>
                    <a:pt x="385" y="77"/>
                  </a:lnTo>
                  <a:lnTo>
                    <a:pt x="385" y="76"/>
                  </a:lnTo>
                  <a:lnTo>
                    <a:pt x="385" y="74"/>
                  </a:lnTo>
                  <a:lnTo>
                    <a:pt x="385" y="73"/>
                  </a:lnTo>
                  <a:lnTo>
                    <a:pt x="384" y="72"/>
                  </a:lnTo>
                  <a:lnTo>
                    <a:pt x="384" y="73"/>
                  </a:lnTo>
                  <a:lnTo>
                    <a:pt x="383" y="73"/>
                  </a:lnTo>
                  <a:lnTo>
                    <a:pt x="382" y="74"/>
                  </a:lnTo>
                  <a:lnTo>
                    <a:pt x="380" y="76"/>
                  </a:lnTo>
                  <a:lnTo>
                    <a:pt x="379" y="77"/>
                  </a:lnTo>
                  <a:lnTo>
                    <a:pt x="379" y="78"/>
                  </a:lnTo>
                  <a:lnTo>
                    <a:pt x="380" y="78"/>
                  </a:lnTo>
                  <a:lnTo>
                    <a:pt x="380" y="79"/>
                  </a:lnTo>
                  <a:lnTo>
                    <a:pt x="378" y="78"/>
                  </a:lnTo>
                  <a:lnTo>
                    <a:pt x="379" y="79"/>
                  </a:lnTo>
                  <a:lnTo>
                    <a:pt x="380" y="79"/>
                  </a:lnTo>
                  <a:lnTo>
                    <a:pt x="380" y="80"/>
                  </a:lnTo>
                  <a:lnTo>
                    <a:pt x="382" y="80"/>
                  </a:lnTo>
                  <a:lnTo>
                    <a:pt x="382" y="82"/>
                  </a:lnTo>
                  <a:lnTo>
                    <a:pt x="383" y="82"/>
                  </a:lnTo>
                  <a:lnTo>
                    <a:pt x="383" y="80"/>
                  </a:lnTo>
                  <a:lnTo>
                    <a:pt x="384" y="82"/>
                  </a:lnTo>
                  <a:lnTo>
                    <a:pt x="384" y="83"/>
                  </a:lnTo>
                  <a:lnTo>
                    <a:pt x="386" y="83"/>
                  </a:lnTo>
                  <a:lnTo>
                    <a:pt x="388" y="82"/>
                  </a:lnTo>
                  <a:lnTo>
                    <a:pt x="388" y="83"/>
                  </a:lnTo>
                  <a:lnTo>
                    <a:pt x="389" y="83"/>
                  </a:lnTo>
                  <a:lnTo>
                    <a:pt x="389" y="84"/>
                  </a:lnTo>
                  <a:lnTo>
                    <a:pt x="389" y="85"/>
                  </a:lnTo>
                  <a:lnTo>
                    <a:pt x="388" y="85"/>
                  </a:lnTo>
                  <a:lnTo>
                    <a:pt x="386" y="86"/>
                  </a:lnTo>
                  <a:lnTo>
                    <a:pt x="385" y="86"/>
                  </a:lnTo>
                  <a:lnTo>
                    <a:pt x="385" y="88"/>
                  </a:lnTo>
                  <a:lnTo>
                    <a:pt x="384" y="86"/>
                  </a:lnTo>
                  <a:lnTo>
                    <a:pt x="383" y="86"/>
                  </a:lnTo>
                  <a:lnTo>
                    <a:pt x="383" y="85"/>
                  </a:lnTo>
                  <a:lnTo>
                    <a:pt x="383" y="84"/>
                  </a:lnTo>
                  <a:lnTo>
                    <a:pt x="382" y="83"/>
                  </a:lnTo>
                  <a:lnTo>
                    <a:pt x="382" y="82"/>
                  </a:lnTo>
                  <a:lnTo>
                    <a:pt x="380" y="82"/>
                  </a:lnTo>
                  <a:lnTo>
                    <a:pt x="379" y="80"/>
                  </a:lnTo>
                  <a:lnTo>
                    <a:pt x="378" y="82"/>
                  </a:lnTo>
                  <a:lnTo>
                    <a:pt x="380" y="82"/>
                  </a:lnTo>
                  <a:lnTo>
                    <a:pt x="380" y="83"/>
                  </a:lnTo>
                  <a:lnTo>
                    <a:pt x="379" y="84"/>
                  </a:lnTo>
                  <a:lnTo>
                    <a:pt x="378" y="84"/>
                  </a:lnTo>
                  <a:lnTo>
                    <a:pt x="378" y="85"/>
                  </a:lnTo>
                  <a:lnTo>
                    <a:pt x="378" y="86"/>
                  </a:lnTo>
                  <a:lnTo>
                    <a:pt x="379" y="88"/>
                  </a:lnTo>
                  <a:lnTo>
                    <a:pt x="380" y="88"/>
                  </a:lnTo>
                  <a:lnTo>
                    <a:pt x="382" y="86"/>
                  </a:lnTo>
                  <a:lnTo>
                    <a:pt x="383" y="86"/>
                  </a:lnTo>
                  <a:lnTo>
                    <a:pt x="383" y="88"/>
                  </a:lnTo>
                  <a:lnTo>
                    <a:pt x="383" y="89"/>
                  </a:lnTo>
                  <a:lnTo>
                    <a:pt x="383" y="90"/>
                  </a:lnTo>
                  <a:lnTo>
                    <a:pt x="383" y="91"/>
                  </a:lnTo>
                  <a:lnTo>
                    <a:pt x="384" y="91"/>
                  </a:lnTo>
                  <a:lnTo>
                    <a:pt x="385" y="91"/>
                  </a:lnTo>
                  <a:lnTo>
                    <a:pt x="386" y="91"/>
                  </a:lnTo>
                  <a:lnTo>
                    <a:pt x="386" y="90"/>
                  </a:lnTo>
                  <a:lnTo>
                    <a:pt x="388" y="90"/>
                  </a:lnTo>
                  <a:lnTo>
                    <a:pt x="388" y="89"/>
                  </a:lnTo>
                  <a:lnTo>
                    <a:pt x="389" y="89"/>
                  </a:lnTo>
                  <a:lnTo>
                    <a:pt x="390" y="90"/>
                  </a:lnTo>
                  <a:lnTo>
                    <a:pt x="391" y="92"/>
                  </a:lnTo>
                  <a:lnTo>
                    <a:pt x="392" y="92"/>
                  </a:lnTo>
                  <a:lnTo>
                    <a:pt x="394" y="92"/>
                  </a:lnTo>
                  <a:lnTo>
                    <a:pt x="394" y="94"/>
                  </a:lnTo>
                  <a:lnTo>
                    <a:pt x="395" y="95"/>
                  </a:lnTo>
                  <a:lnTo>
                    <a:pt x="396" y="95"/>
                  </a:lnTo>
                  <a:lnTo>
                    <a:pt x="397" y="95"/>
                  </a:lnTo>
                  <a:lnTo>
                    <a:pt x="398" y="95"/>
                  </a:lnTo>
                  <a:lnTo>
                    <a:pt x="401" y="95"/>
                  </a:lnTo>
                  <a:lnTo>
                    <a:pt x="402" y="96"/>
                  </a:lnTo>
                  <a:lnTo>
                    <a:pt x="403" y="96"/>
                  </a:lnTo>
                  <a:lnTo>
                    <a:pt x="405" y="96"/>
                  </a:lnTo>
                  <a:lnTo>
                    <a:pt x="406" y="96"/>
                  </a:lnTo>
                  <a:lnTo>
                    <a:pt x="406" y="97"/>
                  </a:lnTo>
                  <a:lnTo>
                    <a:pt x="406" y="98"/>
                  </a:lnTo>
                  <a:lnTo>
                    <a:pt x="406" y="102"/>
                  </a:lnTo>
                  <a:lnTo>
                    <a:pt x="406" y="104"/>
                  </a:lnTo>
                  <a:lnTo>
                    <a:pt x="407" y="106"/>
                  </a:lnTo>
                  <a:lnTo>
                    <a:pt x="408" y="106"/>
                  </a:lnTo>
                  <a:lnTo>
                    <a:pt x="408" y="104"/>
                  </a:lnTo>
                  <a:lnTo>
                    <a:pt x="409" y="104"/>
                  </a:lnTo>
                  <a:lnTo>
                    <a:pt x="409" y="103"/>
                  </a:lnTo>
                  <a:lnTo>
                    <a:pt x="408" y="103"/>
                  </a:lnTo>
                  <a:lnTo>
                    <a:pt x="409" y="102"/>
                  </a:lnTo>
                  <a:lnTo>
                    <a:pt x="409" y="100"/>
                  </a:lnTo>
                  <a:lnTo>
                    <a:pt x="411" y="100"/>
                  </a:lnTo>
                  <a:lnTo>
                    <a:pt x="411" y="98"/>
                  </a:lnTo>
                  <a:lnTo>
                    <a:pt x="412" y="98"/>
                  </a:lnTo>
                  <a:lnTo>
                    <a:pt x="413" y="98"/>
                  </a:lnTo>
                  <a:lnTo>
                    <a:pt x="413" y="100"/>
                  </a:lnTo>
                  <a:lnTo>
                    <a:pt x="413" y="101"/>
                  </a:lnTo>
                  <a:lnTo>
                    <a:pt x="414" y="102"/>
                  </a:lnTo>
                  <a:lnTo>
                    <a:pt x="415" y="102"/>
                  </a:lnTo>
                  <a:lnTo>
                    <a:pt x="417" y="101"/>
                  </a:lnTo>
                  <a:lnTo>
                    <a:pt x="417" y="100"/>
                  </a:lnTo>
                  <a:lnTo>
                    <a:pt x="417" y="98"/>
                  </a:lnTo>
                  <a:lnTo>
                    <a:pt x="417" y="97"/>
                  </a:lnTo>
                  <a:lnTo>
                    <a:pt x="418" y="97"/>
                  </a:lnTo>
                  <a:lnTo>
                    <a:pt x="419" y="97"/>
                  </a:lnTo>
                  <a:lnTo>
                    <a:pt x="420" y="97"/>
                  </a:lnTo>
                  <a:lnTo>
                    <a:pt x="421" y="97"/>
                  </a:lnTo>
                  <a:lnTo>
                    <a:pt x="423" y="96"/>
                  </a:lnTo>
                  <a:lnTo>
                    <a:pt x="423" y="95"/>
                  </a:lnTo>
                  <a:lnTo>
                    <a:pt x="424" y="96"/>
                  </a:lnTo>
                  <a:lnTo>
                    <a:pt x="425" y="96"/>
                  </a:lnTo>
                  <a:lnTo>
                    <a:pt x="425" y="97"/>
                  </a:lnTo>
                  <a:lnTo>
                    <a:pt x="425" y="98"/>
                  </a:lnTo>
                  <a:lnTo>
                    <a:pt x="425" y="100"/>
                  </a:lnTo>
                  <a:lnTo>
                    <a:pt x="424" y="100"/>
                  </a:lnTo>
                  <a:lnTo>
                    <a:pt x="424" y="101"/>
                  </a:lnTo>
                  <a:lnTo>
                    <a:pt x="424" y="102"/>
                  </a:lnTo>
                  <a:lnTo>
                    <a:pt x="424" y="103"/>
                  </a:lnTo>
                  <a:lnTo>
                    <a:pt x="423" y="104"/>
                  </a:lnTo>
                  <a:lnTo>
                    <a:pt x="423" y="106"/>
                  </a:lnTo>
                  <a:lnTo>
                    <a:pt x="421" y="106"/>
                  </a:lnTo>
                  <a:lnTo>
                    <a:pt x="420" y="107"/>
                  </a:lnTo>
                  <a:lnTo>
                    <a:pt x="420" y="109"/>
                  </a:lnTo>
                  <a:lnTo>
                    <a:pt x="420" y="110"/>
                  </a:lnTo>
                  <a:lnTo>
                    <a:pt x="421" y="112"/>
                  </a:lnTo>
                  <a:lnTo>
                    <a:pt x="423" y="112"/>
                  </a:lnTo>
                  <a:lnTo>
                    <a:pt x="424" y="110"/>
                  </a:lnTo>
                  <a:lnTo>
                    <a:pt x="424" y="109"/>
                  </a:lnTo>
                  <a:lnTo>
                    <a:pt x="424" y="108"/>
                  </a:lnTo>
                  <a:lnTo>
                    <a:pt x="425" y="108"/>
                  </a:lnTo>
                  <a:lnTo>
                    <a:pt x="426" y="108"/>
                  </a:lnTo>
                  <a:lnTo>
                    <a:pt x="427" y="108"/>
                  </a:lnTo>
                  <a:lnTo>
                    <a:pt x="427" y="109"/>
                  </a:lnTo>
                  <a:lnTo>
                    <a:pt x="427" y="110"/>
                  </a:lnTo>
                  <a:lnTo>
                    <a:pt x="427" y="112"/>
                  </a:lnTo>
                  <a:lnTo>
                    <a:pt x="427" y="113"/>
                  </a:lnTo>
                  <a:lnTo>
                    <a:pt x="426" y="114"/>
                  </a:lnTo>
                  <a:lnTo>
                    <a:pt x="425" y="115"/>
                  </a:lnTo>
                  <a:lnTo>
                    <a:pt x="425" y="116"/>
                  </a:lnTo>
                  <a:lnTo>
                    <a:pt x="425" y="118"/>
                  </a:lnTo>
                  <a:lnTo>
                    <a:pt x="424" y="119"/>
                  </a:lnTo>
                  <a:lnTo>
                    <a:pt x="423" y="119"/>
                  </a:lnTo>
                  <a:lnTo>
                    <a:pt x="421" y="119"/>
                  </a:lnTo>
                  <a:lnTo>
                    <a:pt x="420" y="120"/>
                  </a:lnTo>
                  <a:lnTo>
                    <a:pt x="421" y="120"/>
                  </a:lnTo>
                  <a:lnTo>
                    <a:pt x="421" y="121"/>
                  </a:lnTo>
                  <a:lnTo>
                    <a:pt x="423" y="121"/>
                  </a:lnTo>
                  <a:lnTo>
                    <a:pt x="424" y="121"/>
                  </a:lnTo>
                  <a:lnTo>
                    <a:pt x="425" y="121"/>
                  </a:lnTo>
                  <a:lnTo>
                    <a:pt x="427" y="121"/>
                  </a:lnTo>
                  <a:lnTo>
                    <a:pt x="429" y="121"/>
                  </a:lnTo>
                  <a:lnTo>
                    <a:pt x="429" y="122"/>
                  </a:lnTo>
                  <a:lnTo>
                    <a:pt x="427" y="124"/>
                  </a:lnTo>
                  <a:lnTo>
                    <a:pt x="429" y="124"/>
                  </a:lnTo>
                  <a:lnTo>
                    <a:pt x="430" y="125"/>
                  </a:lnTo>
                  <a:lnTo>
                    <a:pt x="430" y="124"/>
                  </a:lnTo>
                  <a:lnTo>
                    <a:pt x="431" y="124"/>
                  </a:lnTo>
                  <a:lnTo>
                    <a:pt x="431" y="122"/>
                  </a:lnTo>
                  <a:lnTo>
                    <a:pt x="432" y="122"/>
                  </a:lnTo>
                  <a:lnTo>
                    <a:pt x="433" y="122"/>
                  </a:lnTo>
                  <a:lnTo>
                    <a:pt x="435" y="122"/>
                  </a:lnTo>
                  <a:lnTo>
                    <a:pt x="436" y="122"/>
                  </a:lnTo>
                  <a:lnTo>
                    <a:pt x="436" y="124"/>
                  </a:lnTo>
                  <a:lnTo>
                    <a:pt x="435" y="126"/>
                  </a:lnTo>
                  <a:lnTo>
                    <a:pt x="436" y="126"/>
                  </a:lnTo>
                  <a:lnTo>
                    <a:pt x="437" y="126"/>
                  </a:lnTo>
                  <a:lnTo>
                    <a:pt x="437" y="128"/>
                  </a:lnTo>
                  <a:lnTo>
                    <a:pt x="438" y="128"/>
                  </a:lnTo>
                  <a:lnTo>
                    <a:pt x="439" y="128"/>
                  </a:lnTo>
                  <a:lnTo>
                    <a:pt x="442" y="127"/>
                  </a:lnTo>
                  <a:lnTo>
                    <a:pt x="443" y="127"/>
                  </a:lnTo>
                  <a:lnTo>
                    <a:pt x="443" y="128"/>
                  </a:lnTo>
                  <a:lnTo>
                    <a:pt x="443" y="130"/>
                  </a:lnTo>
                  <a:lnTo>
                    <a:pt x="442" y="130"/>
                  </a:lnTo>
                  <a:lnTo>
                    <a:pt x="442" y="131"/>
                  </a:lnTo>
                  <a:lnTo>
                    <a:pt x="441" y="133"/>
                  </a:lnTo>
                  <a:lnTo>
                    <a:pt x="442" y="133"/>
                  </a:lnTo>
                  <a:lnTo>
                    <a:pt x="442" y="134"/>
                  </a:lnTo>
                  <a:lnTo>
                    <a:pt x="443" y="134"/>
                  </a:lnTo>
                  <a:lnTo>
                    <a:pt x="443" y="133"/>
                  </a:lnTo>
                  <a:lnTo>
                    <a:pt x="444" y="133"/>
                  </a:lnTo>
                  <a:lnTo>
                    <a:pt x="444" y="132"/>
                  </a:lnTo>
                  <a:lnTo>
                    <a:pt x="445" y="132"/>
                  </a:lnTo>
                  <a:lnTo>
                    <a:pt x="447" y="132"/>
                  </a:lnTo>
                  <a:lnTo>
                    <a:pt x="448" y="132"/>
                  </a:lnTo>
                  <a:lnTo>
                    <a:pt x="449" y="132"/>
                  </a:lnTo>
                  <a:lnTo>
                    <a:pt x="449" y="131"/>
                  </a:lnTo>
                  <a:lnTo>
                    <a:pt x="450" y="131"/>
                  </a:lnTo>
                  <a:lnTo>
                    <a:pt x="451" y="131"/>
                  </a:lnTo>
                  <a:lnTo>
                    <a:pt x="451" y="132"/>
                  </a:lnTo>
                  <a:lnTo>
                    <a:pt x="451" y="133"/>
                  </a:lnTo>
                  <a:lnTo>
                    <a:pt x="451" y="134"/>
                  </a:lnTo>
                  <a:lnTo>
                    <a:pt x="453" y="133"/>
                  </a:lnTo>
                  <a:lnTo>
                    <a:pt x="454" y="133"/>
                  </a:lnTo>
                  <a:lnTo>
                    <a:pt x="455" y="134"/>
                  </a:lnTo>
                  <a:lnTo>
                    <a:pt x="455" y="133"/>
                  </a:lnTo>
                  <a:lnTo>
                    <a:pt x="455" y="134"/>
                  </a:lnTo>
                  <a:lnTo>
                    <a:pt x="456" y="134"/>
                  </a:lnTo>
                  <a:lnTo>
                    <a:pt x="457" y="134"/>
                  </a:lnTo>
                  <a:lnTo>
                    <a:pt x="459" y="134"/>
                  </a:lnTo>
                  <a:lnTo>
                    <a:pt x="459" y="133"/>
                  </a:lnTo>
                  <a:lnTo>
                    <a:pt x="460" y="133"/>
                  </a:lnTo>
                  <a:lnTo>
                    <a:pt x="461" y="134"/>
                  </a:lnTo>
                  <a:lnTo>
                    <a:pt x="461" y="136"/>
                  </a:lnTo>
                  <a:lnTo>
                    <a:pt x="460" y="136"/>
                  </a:lnTo>
                  <a:lnTo>
                    <a:pt x="460" y="137"/>
                  </a:lnTo>
                  <a:lnTo>
                    <a:pt x="460" y="138"/>
                  </a:lnTo>
                  <a:lnTo>
                    <a:pt x="460" y="139"/>
                  </a:lnTo>
                  <a:lnTo>
                    <a:pt x="459" y="139"/>
                  </a:lnTo>
                  <a:lnTo>
                    <a:pt x="457" y="139"/>
                  </a:lnTo>
                  <a:lnTo>
                    <a:pt x="457" y="140"/>
                  </a:lnTo>
                  <a:lnTo>
                    <a:pt x="456" y="140"/>
                  </a:lnTo>
                  <a:lnTo>
                    <a:pt x="456" y="142"/>
                  </a:lnTo>
                  <a:lnTo>
                    <a:pt x="456" y="143"/>
                  </a:lnTo>
                  <a:lnTo>
                    <a:pt x="457" y="143"/>
                  </a:lnTo>
                  <a:lnTo>
                    <a:pt x="459" y="143"/>
                  </a:lnTo>
                  <a:lnTo>
                    <a:pt x="459" y="142"/>
                  </a:lnTo>
                  <a:lnTo>
                    <a:pt x="461" y="142"/>
                  </a:lnTo>
                  <a:lnTo>
                    <a:pt x="462" y="142"/>
                  </a:lnTo>
                  <a:lnTo>
                    <a:pt x="462" y="140"/>
                  </a:lnTo>
                  <a:lnTo>
                    <a:pt x="462" y="139"/>
                  </a:lnTo>
                  <a:lnTo>
                    <a:pt x="464" y="139"/>
                  </a:lnTo>
                  <a:lnTo>
                    <a:pt x="464" y="138"/>
                  </a:lnTo>
                  <a:lnTo>
                    <a:pt x="465" y="138"/>
                  </a:lnTo>
                  <a:lnTo>
                    <a:pt x="465" y="139"/>
                  </a:lnTo>
                  <a:lnTo>
                    <a:pt x="465" y="138"/>
                  </a:lnTo>
                  <a:lnTo>
                    <a:pt x="466" y="138"/>
                  </a:lnTo>
                  <a:lnTo>
                    <a:pt x="467" y="138"/>
                  </a:lnTo>
                  <a:lnTo>
                    <a:pt x="467" y="137"/>
                  </a:lnTo>
                  <a:lnTo>
                    <a:pt x="468" y="136"/>
                  </a:lnTo>
                  <a:lnTo>
                    <a:pt x="468" y="137"/>
                  </a:lnTo>
                  <a:lnTo>
                    <a:pt x="470" y="137"/>
                  </a:lnTo>
                  <a:lnTo>
                    <a:pt x="468" y="138"/>
                  </a:lnTo>
                  <a:lnTo>
                    <a:pt x="468" y="142"/>
                  </a:lnTo>
                  <a:lnTo>
                    <a:pt x="470" y="140"/>
                  </a:lnTo>
                  <a:lnTo>
                    <a:pt x="471" y="142"/>
                  </a:lnTo>
                  <a:lnTo>
                    <a:pt x="471" y="140"/>
                  </a:lnTo>
                  <a:lnTo>
                    <a:pt x="472" y="139"/>
                  </a:lnTo>
                  <a:lnTo>
                    <a:pt x="473" y="139"/>
                  </a:lnTo>
                  <a:lnTo>
                    <a:pt x="473" y="140"/>
                  </a:lnTo>
                  <a:lnTo>
                    <a:pt x="473" y="142"/>
                  </a:lnTo>
                  <a:lnTo>
                    <a:pt x="472" y="143"/>
                  </a:lnTo>
                  <a:lnTo>
                    <a:pt x="471" y="143"/>
                  </a:lnTo>
                  <a:lnTo>
                    <a:pt x="471" y="144"/>
                  </a:lnTo>
                  <a:lnTo>
                    <a:pt x="471" y="145"/>
                  </a:lnTo>
                  <a:lnTo>
                    <a:pt x="471" y="146"/>
                  </a:lnTo>
                  <a:lnTo>
                    <a:pt x="470" y="146"/>
                  </a:lnTo>
                  <a:lnTo>
                    <a:pt x="467" y="146"/>
                  </a:lnTo>
                  <a:lnTo>
                    <a:pt x="468" y="148"/>
                  </a:lnTo>
                  <a:lnTo>
                    <a:pt x="467" y="146"/>
                  </a:lnTo>
                  <a:lnTo>
                    <a:pt x="466" y="146"/>
                  </a:lnTo>
                  <a:lnTo>
                    <a:pt x="467" y="148"/>
                  </a:lnTo>
                  <a:lnTo>
                    <a:pt x="468" y="148"/>
                  </a:lnTo>
                  <a:lnTo>
                    <a:pt x="467" y="149"/>
                  </a:lnTo>
                  <a:lnTo>
                    <a:pt x="466" y="149"/>
                  </a:lnTo>
                  <a:lnTo>
                    <a:pt x="465" y="149"/>
                  </a:lnTo>
                  <a:lnTo>
                    <a:pt x="464" y="150"/>
                  </a:lnTo>
                  <a:lnTo>
                    <a:pt x="462" y="150"/>
                  </a:lnTo>
                  <a:lnTo>
                    <a:pt x="461" y="150"/>
                  </a:lnTo>
                  <a:lnTo>
                    <a:pt x="460" y="150"/>
                  </a:lnTo>
                  <a:lnTo>
                    <a:pt x="460" y="149"/>
                  </a:lnTo>
                  <a:lnTo>
                    <a:pt x="457" y="150"/>
                  </a:lnTo>
                  <a:lnTo>
                    <a:pt x="459" y="151"/>
                  </a:lnTo>
                  <a:lnTo>
                    <a:pt x="459" y="152"/>
                  </a:lnTo>
                  <a:lnTo>
                    <a:pt x="457" y="152"/>
                  </a:lnTo>
                  <a:lnTo>
                    <a:pt x="456" y="154"/>
                  </a:lnTo>
                  <a:lnTo>
                    <a:pt x="455" y="154"/>
                  </a:lnTo>
                  <a:lnTo>
                    <a:pt x="455" y="155"/>
                  </a:lnTo>
                  <a:lnTo>
                    <a:pt x="454" y="155"/>
                  </a:lnTo>
                  <a:lnTo>
                    <a:pt x="454" y="156"/>
                  </a:lnTo>
                  <a:lnTo>
                    <a:pt x="453" y="156"/>
                  </a:lnTo>
                  <a:lnTo>
                    <a:pt x="453" y="157"/>
                  </a:lnTo>
                  <a:lnTo>
                    <a:pt x="451" y="157"/>
                  </a:lnTo>
                  <a:lnTo>
                    <a:pt x="450" y="159"/>
                  </a:lnTo>
                  <a:lnTo>
                    <a:pt x="449" y="160"/>
                  </a:lnTo>
                  <a:lnTo>
                    <a:pt x="448" y="160"/>
                  </a:lnTo>
                  <a:lnTo>
                    <a:pt x="449" y="160"/>
                  </a:lnTo>
                  <a:lnTo>
                    <a:pt x="451" y="160"/>
                  </a:lnTo>
                  <a:lnTo>
                    <a:pt x="453" y="160"/>
                  </a:lnTo>
                  <a:lnTo>
                    <a:pt x="454" y="160"/>
                  </a:lnTo>
                  <a:lnTo>
                    <a:pt x="455" y="160"/>
                  </a:lnTo>
                  <a:lnTo>
                    <a:pt x="455" y="161"/>
                  </a:lnTo>
                  <a:lnTo>
                    <a:pt x="456" y="161"/>
                  </a:lnTo>
                  <a:lnTo>
                    <a:pt x="456" y="162"/>
                  </a:lnTo>
                  <a:lnTo>
                    <a:pt x="457" y="163"/>
                  </a:lnTo>
                  <a:lnTo>
                    <a:pt x="457" y="162"/>
                  </a:lnTo>
                  <a:lnTo>
                    <a:pt x="459" y="162"/>
                  </a:lnTo>
                  <a:lnTo>
                    <a:pt x="460" y="161"/>
                  </a:lnTo>
                  <a:lnTo>
                    <a:pt x="460" y="162"/>
                  </a:lnTo>
                  <a:lnTo>
                    <a:pt x="461" y="162"/>
                  </a:lnTo>
                  <a:lnTo>
                    <a:pt x="460" y="162"/>
                  </a:lnTo>
                  <a:lnTo>
                    <a:pt x="460" y="163"/>
                  </a:lnTo>
                  <a:lnTo>
                    <a:pt x="461" y="163"/>
                  </a:lnTo>
                  <a:lnTo>
                    <a:pt x="461" y="165"/>
                  </a:lnTo>
                  <a:lnTo>
                    <a:pt x="461" y="163"/>
                  </a:lnTo>
                  <a:lnTo>
                    <a:pt x="462" y="163"/>
                  </a:lnTo>
                  <a:lnTo>
                    <a:pt x="462" y="162"/>
                  </a:lnTo>
                  <a:lnTo>
                    <a:pt x="464" y="162"/>
                  </a:lnTo>
                  <a:lnTo>
                    <a:pt x="464" y="161"/>
                  </a:lnTo>
                  <a:lnTo>
                    <a:pt x="466" y="160"/>
                  </a:lnTo>
                  <a:lnTo>
                    <a:pt x="467" y="160"/>
                  </a:lnTo>
                  <a:lnTo>
                    <a:pt x="468" y="161"/>
                  </a:lnTo>
                  <a:lnTo>
                    <a:pt x="468" y="162"/>
                  </a:lnTo>
                  <a:lnTo>
                    <a:pt x="467" y="162"/>
                  </a:lnTo>
                  <a:lnTo>
                    <a:pt x="467" y="163"/>
                  </a:lnTo>
                  <a:lnTo>
                    <a:pt x="468" y="165"/>
                  </a:lnTo>
                  <a:lnTo>
                    <a:pt x="470" y="165"/>
                  </a:lnTo>
                  <a:lnTo>
                    <a:pt x="471" y="165"/>
                  </a:lnTo>
                  <a:lnTo>
                    <a:pt x="472" y="165"/>
                  </a:lnTo>
                  <a:lnTo>
                    <a:pt x="473" y="165"/>
                  </a:lnTo>
                  <a:lnTo>
                    <a:pt x="473" y="163"/>
                  </a:lnTo>
                  <a:lnTo>
                    <a:pt x="474" y="163"/>
                  </a:lnTo>
                  <a:lnTo>
                    <a:pt x="476" y="163"/>
                  </a:lnTo>
                  <a:lnTo>
                    <a:pt x="477" y="165"/>
                  </a:lnTo>
                  <a:lnTo>
                    <a:pt x="478" y="165"/>
                  </a:lnTo>
                  <a:lnTo>
                    <a:pt x="479" y="165"/>
                  </a:lnTo>
                  <a:lnTo>
                    <a:pt x="480" y="163"/>
                  </a:lnTo>
                  <a:lnTo>
                    <a:pt x="480" y="165"/>
                  </a:lnTo>
                  <a:lnTo>
                    <a:pt x="482" y="165"/>
                  </a:lnTo>
                  <a:lnTo>
                    <a:pt x="483" y="166"/>
                  </a:lnTo>
                  <a:lnTo>
                    <a:pt x="483" y="165"/>
                  </a:lnTo>
                  <a:lnTo>
                    <a:pt x="483" y="163"/>
                  </a:lnTo>
                  <a:lnTo>
                    <a:pt x="484" y="163"/>
                  </a:lnTo>
                  <a:lnTo>
                    <a:pt x="484" y="162"/>
                  </a:lnTo>
                  <a:lnTo>
                    <a:pt x="484" y="165"/>
                  </a:lnTo>
                  <a:lnTo>
                    <a:pt x="485" y="165"/>
                  </a:lnTo>
                  <a:lnTo>
                    <a:pt x="485" y="163"/>
                  </a:lnTo>
                  <a:lnTo>
                    <a:pt x="486" y="163"/>
                  </a:lnTo>
                  <a:lnTo>
                    <a:pt x="485" y="165"/>
                  </a:lnTo>
                  <a:lnTo>
                    <a:pt x="485" y="166"/>
                  </a:lnTo>
                  <a:lnTo>
                    <a:pt x="484" y="166"/>
                  </a:lnTo>
                  <a:lnTo>
                    <a:pt x="484" y="167"/>
                  </a:lnTo>
                  <a:lnTo>
                    <a:pt x="484" y="168"/>
                  </a:lnTo>
                  <a:lnTo>
                    <a:pt x="485" y="168"/>
                  </a:lnTo>
                  <a:lnTo>
                    <a:pt x="485" y="169"/>
                  </a:lnTo>
                  <a:lnTo>
                    <a:pt x="486" y="169"/>
                  </a:lnTo>
                  <a:lnTo>
                    <a:pt x="486" y="171"/>
                  </a:lnTo>
                  <a:lnTo>
                    <a:pt x="488" y="171"/>
                  </a:lnTo>
                  <a:lnTo>
                    <a:pt x="488" y="172"/>
                  </a:lnTo>
                  <a:lnTo>
                    <a:pt x="488" y="173"/>
                  </a:lnTo>
                  <a:lnTo>
                    <a:pt x="484" y="173"/>
                  </a:lnTo>
                  <a:lnTo>
                    <a:pt x="484" y="175"/>
                  </a:lnTo>
                  <a:lnTo>
                    <a:pt x="482" y="177"/>
                  </a:lnTo>
                  <a:lnTo>
                    <a:pt x="483" y="178"/>
                  </a:lnTo>
                  <a:lnTo>
                    <a:pt x="484" y="178"/>
                  </a:lnTo>
                  <a:lnTo>
                    <a:pt x="483" y="180"/>
                  </a:lnTo>
                  <a:lnTo>
                    <a:pt x="485" y="181"/>
                  </a:lnTo>
                  <a:lnTo>
                    <a:pt x="485" y="180"/>
                  </a:lnTo>
                  <a:lnTo>
                    <a:pt x="486" y="180"/>
                  </a:lnTo>
                  <a:lnTo>
                    <a:pt x="489" y="180"/>
                  </a:lnTo>
                  <a:lnTo>
                    <a:pt x="490" y="179"/>
                  </a:lnTo>
                  <a:lnTo>
                    <a:pt x="490" y="178"/>
                  </a:lnTo>
                  <a:lnTo>
                    <a:pt x="491" y="177"/>
                  </a:lnTo>
                  <a:lnTo>
                    <a:pt x="492" y="175"/>
                  </a:lnTo>
                  <a:lnTo>
                    <a:pt x="494" y="175"/>
                  </a:lnTo>
                  <a:lnTo>
                    <a:pt x="494" y="174"/>
                  </a:lnTo>
                  <a:lnTo>
                    <a:pt x="495" y="174"/>
                  </a:lnTo>
                  <a:lnTo>
                    <a:pt x="496" y="174"/>
                  </a:lnTo>
                  <a:lnTo>
                    <a:pt x="497" y="173"/>
                  </a:lnTo>
                  <a:lnTo>
                    <a:pt x="498" y="173"/>
                  </a:lnTo>
                  <a:lnTo>
                    <a:pt x="500" y="174"/>
                  </a:lnTo>
                  <a:lnTo>
                    <a:pt x="500" y="175"/>
                  </a:lnTo>
                  <a:lnTo>
                    <a:pt x="500" y="177"/>
                  </a:lnTo>
                  <a:lnTo>
                    <a:pt x="498" y="178"/>
                  </a:lnTo>
                  <a:lnTo>
                    <a:pt x="498" y="179"/>
                  </a:lnTo>
                  <a:lnTo>
                    <a:pt x="496" y="180"/>
                  </a:lnTo>
                  <a:lnTo>
                    <a:pt x="495" y="180"/>
                  </a:lnTo>
                  <a:lnTo>
                    <a:pt x="492" y="181"/>
                  </a:lnTo>
                  <a:lnTo>
                    <a:pt x="491" y="183"/>
                  </a:lnTo>
                  <a:lnTo>
                    <a:pt x="492" y="185"/>
                  </a:lnTo>
                  <a:lnTo>
                    <a:pt x="491" y="185"/>
                  </a:lnTo>
                  <a:lnTo>
                    <a:pt x="491" y="186"/>
                  </a:lnTo>
                  <a:lnTo>
                    <a:pt x="489" y="186"/>
                  </a:lnTo>
                  <a:lnTo>
                    <a:pt x="488" y="187"/>
                  </a:lnTo>
                  <a:lnTo>
                    <a:pt x="486" y="189"/>
                  </a:lnTo>
                  <a:lnTo>
                    <a:pt x="486" y="190"/>
                  </a:lnTo>
                  <a:lnTo>
                    <a:pt x="485" y="190"/>
                  </a:lnTo>
                  <a:lnTo>
                    <a:pt x="485" y="191"/>
                  </a:lnTo>
                  <a:lnTo>
                    <a:pt x="484" y="191"/>
                  </a:lnTo>
                  <a:lnTo>
                    <a:pt x="483" y="190"/>
                  </a:lnTo>
                  <a:lnTo>
                    <a:pt x="482" y="191"/>
                  </a:lnTo>
                  <a:lnTo>
                    <a:pt x="480" y="190"/>
                  </a:lnTo>
                  <a:lnTo>
                    <a:pt x="478" y="191"/>
                  </a:lnTo>
                  <a:lnTo>
                    <a:pt x="477" y="192"/>
                  </a:lnTo>
                  <a:lnTo>
                    <a:pt x="476" y="192"/>
                  </a:lnTo>
                  <a:lnTo>
                    <a:pt x="477" y="193"/>
                  </a:lnTo>
                  <a:lnTo>
                    <a:pt x="479" y="193"/>
                  </a:lnTo>
                  <a:lnTo>
                    <a:pt x="479" y="196"/>
                  </a:lnTo>
                  <a:lnTo>
                    <a:pt x="480" y="196"/>
                  </a:lnTo>
                  <a:lnTo>
                    <a:pt x="482" y="196"/>
                  </a:lnTo>
                  <a:lnTo>
                    <a:pt x="482" y="197"/>
                  </a:lnTo>
                  <a:lnTo>
                    <a:pt x="482" y="198"/>
                  </a:lnTo>
                  <a:lnTo>
                    <a:pt x="484" y="199"/>
                  </a:lnTo>
                  <a:lnTo>
                    <a:pt x="485" y="198"/>
                  </a:lnTo>
                  <a:lnTo>
                    <a:pt x="488" y="198"/>
                  </a:lnTo>
                  <a:lnTo>
                    <a:pt x="489" y="199"/>
                  </a:lnTo>
                  <a:lnTo>
                    <a:pt x="490" y="198"/>
                  </a:lnTo>
                  <a:lnTo>
                    <a:pt x="491" y="198"/>
                  </a:lnTo>
                  <a:lnTo>
                    <a:pt x="491" y="199"/>
                  </a:lnTo>
                  <a:lnTo>
                    <a:pt x="490" y="201"/>
                  </a:lnTo>
                  <a:lnTo>
                    <a:pt x="489" y="202"/>
                  </a:lnTo>
                  <a:lnTo>
                    <a:pt x="489" y="203"/>
                  </a:lnTo>
                  <a:lnTo>
                    <a:pt x="490" y="202"/>
                  </a:lnTo>
                  <a:lnTo>
                    <a:pt x="491" y="202"/>
                  </a:lnTo>
                  <a:lnTo>
                    <a:pt x="491" y="203"/>
                  </a:lnTo>
                  <a:lnTo>
                    <a:pt x="491" y="204"/>
                  </a:lnTo>
                  <a:lnTo>
                    <a:pt x="490" y="207"/>
                  </a:lnTo>
                  <a:lnTo>
                    <a:pt x="486" y="209"/>
                  </a:lnTo>
                  <a:lnTo>
                    <a:pt x="489" y="210"/>
                  </a:lnTo>
                  <a:lnTo>
                    <a:pt x="489" y="213"/>
                  </a:lnTo>
                  <a:lnTo>
                    <a:pt x="489" y="214"/>
                  </a:lnTo>
                  <a:lnTo>
                    <a:pt x="490" y="214"/>
                  </a:lnTo>
                  <a:lnTo>
                    <a:pt x="490" y="216"/>
                  </a:lnTo>
                  <a:lnTo>
                    <a:pt x="489" y="217"/>
                  </a:lnTo>
                  <a:lnTo>
                    <a:pt x="491" y="217"/>
                  </a:lnTo>
                  <a:lnTo>
                    <a:pt x="491" y="219"/>
                  </a:lnTo>
                  <a:lnTo>
                    <a:pt x="492" y="220"/>
                  </a:lnTo>
                  <a:lnTo>
                    <a:pt x="495" y="220"/>
                  </a:lnTo>
                  <a:lnTo>
                    <a:pt x="496" y="220"/>
                  </a:lnTo>
                  <a:lnTo>
                    <a:pt x="497" y="220"/>
                  </a:lnTo>
                  <a:lnTo>
                    <a:pt x="498" y="220"/>
                  </a:lnTo>
                  <a:lnTo>
                    <a:pt x="500" y="220"/>
                  </a:lnTo>
                  <a:lnTo>
                    <a:pt x="501" y="220"/>
                  </a:lnTo>
                  <a:lnTo>
                    <a:pt x="502" y="220"/>
                  </a:lnTo>
                  <a:lnTo>
                    <a:pt x="506" y="221"/>
                  </a:lnTo>
                  <a:lnTo>
                    <a:pt x="506" y="222"/>
                  </a:lnTo>
                  <a:lnTo>
                    <a:pt x="508" y="222"/>
                  </a:lnTo>
                  <a:lnTo>
                    <a:pt x="509" y="222"/>
                  </a:lnTo>
                  <a:lnTo>
                    <a:pt x="510" y="222"/>
                  </a:lnTo>
                  <a:lnTo>
                    <a:pt x="513" y="221"/>
                  </a:lnTo>
                  <a:lnTo>
                    <a:pt x="514" y="221"/>
                  </a:lnTo>
                  <a:lnTo>
                    <a:pt x="514" y="222"/>
                  </a:lnTo>
                  <a:lnTo>
                    <a:pt x="513" y="223"/>
                  </a:lnTo>
                  <a:lnTo>
                    <a:pt x="512" y="227"/>
                  </a:lnTo>
                  <a:lnTo>
                    <a:pt x="512" y="228"/>
                  </a:lnTo>
                  <a:lnTo>
                    <a:pt x="513" y="228"/>
                  </a:lnTo>
                  <a:lnTo>
                    <a:pt x="515" y="228"/>
                  </a:lnTo>
                  <a:lnTo>
                    <a:pt x="518" y="228"/>
                  </a:lnTo>
                  <a:lnTo>
                    <a:pt x="519" y="229"/>
                  </a:lnTo>
                  <a:lnTo>
                    <a:pt x="521" y="229"/>
                  </a:lnTo>
                  <a:lnTo>
                    <a:pt x="523" y="229"/>
                  </a:lnTo>
                  <a:lnTo>
                    <a:pt x="523" y="228"/>
                  </a:lnTo>
                  <a:lnTo>
                    <a:pt x="525" y="228"/>
                  </a:lnTo>
                  <a:lnTo>
                    <a:pt x="526" y="229"/>
                  </a:lnTo>
                  <a:lnTo>
                    <a:pt x="526" y="231"/>
                  </a:lnTo>
                  <a:lnTo>
                    <a:pt x="525" y="232"/>
                  </a:lnTo>
                  <a:lnTo>
                    <a:pt x="524" y="233"/>
                  </a:lnTo>
                  <a:lnTo>
                    <a:pt x="521" y="235"/>
                  </a:lnTo>
                  <a:lnTo>
                    <a:pt x="519" y="235"/>
                  </a:lnTo>
                  <a:lnTo>
                    <a:pt x="519" y="237"/>
                  </a:lnTo>
                  <a:lnTo>
                    <a:pt x="518" y="237"/>
                  </a:lnTo>
                  <a:lnTo>
                    <a:pt x="516" y="238"/>
                  </a:lnTo>
                  <a:lnTo>
                    <a:pt x="514" y="240"/>
                  </a:lnTo>
                  <a:lnTo>
                    <a:pt x="513" y="241"/>
                  </a:lnTo>
                  <a:lnTo>
                    <a:pt x="512" y="241"/>
                  </a:lnTo>
                  <a:lnTo>
                    <a:pt x="510" y="241"/>
                  </a:lnTo>
                  <a:lnTo>
                    <a:pt x="509" y="240"/>
                  </a:lnTo>
                  <a:lnTo>
                    <a:pt x="508" y="241"/>
                  </a:lnTo>
                  <a:lnTo>
                    <a:pt x="507" y="241"/>
                  </a:lnTo>
                  <a:lnTo>
                    <a:pt x="504" y="241"/>
                  </a:lnTo>
                  <a:lnTo>
                    <a:pt x="502" y="241"/>
                  </a:lnTo>
                  <a:lnTo>
                    <a:pt x="501" y="240"/>
                  </a:lnTo>
                  <a:lnTo>
                    <a:pt x="501" y="239"/>
                  </a:lnTo>
                  <a:lnTo>
                    <a:pt x="500" y="239"/>
                  </a:lnTo>
                  <a:lnTo>
                    <a:pt x="498" y="239"/>
                  </a:lnTo>
                  <a:lnTo>
                    <a:pt x="497" y="238"/>
                  </a:lnTo>
                  <a:lnTo>
                    <a:pt x="496" y="237"/>
                  </a:lnTo>
                  <a:lnTo>
                    <a:pt x="496" y="235"/>
                  </a:lnTo>
                  <a:lnTo>
                    <a:pt x="496" y="234"/>
                  </a:lnTo>
                  <a:lnTo>
                    <a:pt x="494" y="234"/>
                  </a:lnTo>
                  <a:lnTo>
                    <a:pt x="495" y="235"/>
                  </a:lnTo>
                  <a:lnTo>
                    <a:pt x="495" y="238"/>
                  </a:lnTo>
                  <a:lnTo>
                    <a:pt x="496" y="238"/>
                  </a:lnTo>
                  <a:lnTo>
                    <a:pt x="496" y="240"/>
                  </a:lnTo>
                  <a:lnTo>
                    <a:pt x="496" y="241"/>
                  </a:lnTo>
                  <a:lnTo>
                    <a:pt x="495" y="243"/>
                  </a:lnTo>
                  <a:lnTo>
                    <a:pt x="494" y="244"/>
                  </a:lnTo>
                  <a:lnTo>
                    <a:pt x="491" y="243"/>
                  </a:lnTo>
                  <a:lnTo>
                    <a:pt x="490" y="241"/>
                  </a:lnTo>
                  <a:lnTo>
                    <a:pt x="490" y="240"/>
                  </a:lnTo>
                  <a:lnTo>
                    <a:pt x="489" y="240"/>
                  </a:lnTo>
                  <a:lnTo>
                    <a:pt x="489" y="238"/>
                  </a:lnTo>
                  <a:lnTo>
                    <a:pt x="486" y="238"/>
                  </a:lnTo>
                  <a:lnTo>
                    <a:pt x="486" y="237"/>
                  </a:lnTo>
                  <a:lnTo>
                    <a:pt x="485" y="237"/>
                  </a:lnTo>
                  <a:lnTo>
                    <a:pt x="484" y="238"/>
                  </a:lnTo>
                  <a:lnTo>
                    <a:pt x="483" y="238"/>
                  </a:lnTo>
                  <a:lnTo>
                    <a:pt x="483" y="237"/>
                  </a:lnTo>
                  <a:lnTo>
                    <a:pt x="482" y="237"/>
                  </a:lnTo>
                  <a:lnTo>
                    <a:pt x="479" y="234"/>
                  </a:lnTo>
                  <a:lnTo>
                    <a:pt x="477" y="235"/>
                  </a:lnTo>
                  <a:lnTo>
                    <a:pt x="476" y="237"/>
                  </a:lnTo>
                  <a:lnTo>
                    <a:pt x="474" y="235"/>
                  </a:lnTo>
                  <a:lnTo>
                    <a:pt x="472" y="237"/>
                  </a:lnTo>
                  <a:lnTo>
                    <a:pt x="468" y="237"/>
                  </a:lnTo>
                  <a:lnTo>
                    <a:pt x="468" y="235"/>
                  </a:lnTo>
                  <a:lnTo>
                    <a:pt x="467" y="237"/>
                  </a:lnTo>
                  <a:lnTo>
                    <a:pt x="466" y="237"/>
                  </a:lnTo>
                  <a:lnTo>
                    <a:pt x="465" y="238"/>
                  </a:lnTo>
                  <a:lnTo>
                    <a:pt x="462" y="238"/>
                  </a:lnTo>
                  <a:lnTo>
                    <a:pt x="461" y="240"/>
                  </a:lnTo>
                  <a:lnTo>
                    <a:pt x="457" y="238"/>
                  </a:lnTo>
                  <a:lnTo>
                    <a:pt x="457" y="235"/>
                  </a:lnTo>
                  <a:lnTo>
                    <a:pt x="457" y="234"/>
                  </a:lnTo>
                  <a:lnTo>
                    <a:pt x="456" y="234"/>
                  </a:lnTo>
                  <a:lnTo>
                    <a:pt x="454" y="235"/>
                  </a:lnTo>
                  <a:lnTo>
                    <a:pt x="453" y="235"/>
                  </a:lnTo>
                  <a:lnTo>
                    <a:pt x="451" y="235"/>
                  </a:lnTo>
                  <a:lnTo>
                    <a:pt x="450" y="237"/>
                  </a:lnTo>
                  <a:lnTo>
                    <a:pt x="450" y="238"/>
                  </a:lnTo>
                  <a:lnTo>
                    <a:pt x="450" y="240"/>
                  </a:lnTo>
                  <a:lnTo>
                    <a:pt x="451" y="239"/>
                  </a:lnTo>
                  <a:lnTo>
                    <a:pt x="453" y="238"/>
                  </a:lnTo>
                  <a:lnTo>
                    <a:pt x="453" y="239"/>
                  </a:lnTo>
                  <a:lnTo>
                    <a:pt x="453" y="240"/>
                  </a:lnTo>
                  <a:lnTo>
                    <a:pt x="453" y="243"/>
                  </a:lnTo>
                  <a:lnTo>
                    <a:pt x="454" y="240"/>
                  </a:lnTo>
                  <a:lnTo>
                    <a:pt x="454" y="243"/>
                  </a:lnTo>
                  <a:lnTo>
                    <a:pt x="454" y="244"/>
                  </a:lnTo>
                  <a:lnTo>
                    <a:pt x="454" y="245"/>
                  </a:lnTo>
                  <a:lnTo>
                    <a:pt x="455" y="245"/>
                  </a:lnTo>
                  <a:lnTo>
                    <a:pt x="455" y="246"/>
                  </a:lnTo>
                  <a:lnTo>
                    <a:pt x="456" y="245"/>
                  </a:lnTo>
                  <a:lnTo>
                    <a:pt x="456" y="246"/>
                  </a:lnTo>
                  <a:lnTo>
                    <a:pt x="454" y="246"/>
                  </a:lnTo>
                  <a:lnTo>
                    <a:pt x="455" y="249"/>
                  </a:lnTo>
                  <a:lnTo>
                    <a:pt x="456" y="247"/>
                  </a:lnTo>
                  <a:lnTo>
                    <a:pt x="457" y="249"/>
                  </a:lnTo>
                  <a:lnTo>
                    <a:pt x="459" y="249"/>
                  </a:lnTo>
                  <a:lnTo>
                    <a:pt x="460" y="249"/>
                  </a:lnTo>
                  <a:lnTo>
                    <a:pt x="462" y="250"/>
                  </a:lnTo>
                  <a:lnTo>
                    <a:pt x="464" y="250"/>
                  </a:lnTo>
                  <a:lnTo>
                    <a:pt x="464" y="251"/>
                  </a:lnTo>
                  <a:lnTo>
                    <a:pt x="465" y="252"/>
                  </a:lnTo>
                  <a:lnTo>
                    <a:pt x="465" y="253"/>
                  </a:lnTo>
                  <a:lnTo>
                    <a:pt x="465" y="255"/>
                  </a:lnTo>
                  <a:lnTo>
                    <a:pt x="466" y="255"/>
                  </a:lnTo>
                  <a:lnTo>
                    <a:pt x="467" y="256"/>
                  </a:lnTo>
                  <a:lnTo>
                    <a:pt x="470" y="257"/>
                  </a:lnTo>
                  <a:lnTo>
                    <a:pt x="471" y="259"/>
                  </a:lnTo>
                  <a:lnTo>
                    <a:pt x="472" y="259"/>
                  </a:lnTo>
                  <a:lnTo>
                    <a:pt x="473" y="261"/>
                  </a:lnTo>
                  <a:lnTo>
                    <a:pt x="473" y="262"/>
                  </a:lnTo>
                  <a:lnTo>
                    <a:pt x="474" y="262"/>
                  </a:lnTo>
                  <a:lnTo>
                    <a:pt x="474" y="263"/>
                  </a:lnTo>
                  <a:lnTo>
                    <a:pt x="476" y="263"/>
                  </a:lnTo>
                  <a:lnTo>
                    <a:pt x="476" y="262"/>
                  </a:lnTo>
                  <a:lnTo>
                    <a:pt x="479" y="263"/>
                  </a:lnTo>
                  <a:lnTo>
                    <a:pt x="480" y="263"/>
                  </a:lnTo>
                  <a:lnTo>
                    <a:pt x="480" y="264"/>
                  </a:lnTo>
                  <a:lnTo>
                    <a:pt x="482" y="266"/>
                  </a:lnTo>
                  <a:lnTo>
                    <a:pt x="484" y="266"/>
                  </a:lnTo>
                  <a:lnTo>
                    <a:pt x="484" y="267"/>
                  </a:lnTo>
                  <a:lnTo>
                    <a:pt x="486" y="267"/>
                  </a:lnTo>
                  <a:lnTo>
                    <a:pt x="486" y="268"/>
                  </a:lnTo>
                  <a:lnTo>
                    <a:pt x="488" y="268"/>
                  </a:lnTo>
                  <a:lnTo>
                    <a:pt x="489" y="269"/>
                  </a:lnTo>
                  <a:lnTo>
                    <a:pt x="490" y="269"/>
                  </a:lnTo>
                  <a:lnTo>
                    <a:pt x="490" y="270"/>
                  </a:lnTo>
                  <a:lnTo>
                    <a:pt x="489" y="272"/>
                  </a:lnTo>
                  <a:lnTo>
                    <a:pt x="490" y="273"/>
                  </a:lnTo>
                  <a:lnTo>
                    <a:pt x="490" y="274"/>
                  </a:lnTo>
                  <a:lnTo>
                    <a:pt x="491" y="275"/>
                  </a:lnTo>
                  <a:lnTo>
                    <a:pt x="490" y="276"/>
                  </a:lnTo>
                  <a:lnTo>
                    <a:pt x="492" y="276"/>
                  </a:lnTo>
                  <a:lnTo>
                    <a:pt x="496" y="276"/>
                  </a:lnTo>
                  <a:lnTo>
                    <a:pt x="500" y="276"/>
                  </a:lnTo>
                  <a:lnTo>
                    <a:pt x="500" y="279"/>
                  </a:lnTo>
                  <a:lnTo>
                    <a:pt x="501" y="279"/>
                  </a:lnTo>
                  <a:lnTo>
                    <a:pt x="503" y="279"/>
                  </a:lnTo>
                  <a:lnTo>
                    <a:pt x="506" y="279"/>
                  </a:lnTo>
                  <a:lnTo>
                    <a:pt x="507" y="278"/>
                  </a:lnTo>
                  <a:lnTo>
                    <a:pt x="508" y="280"/>
                  </a:lnTo>
                  <a:lnTo>
                    <a:pt x="509" y="280"/>
                  </a:lnTo>
                  <a:lnTo>
                    <a:pt x="510" y="280"/>
                  </a:lnTo>
                  <a:lnTo>
                    <a:pt x="510" y="281"/>
                  </a:lnTo>
                  <a:lnTo>
                    <a:pt x="509" y="284"/>
                  </a:lnTo>
                  <a:lnTo>
                    <a:pt x="508" y="285"/>
                  </a:lnTo>
                  <a:lnTo>
                    <a:pt x="507" y="285"/>
                  </a:lnTo>
                  <a:lnTo>
                    <a:pt x="508" y="286"/>
                  </a:lnTo>
                  <a:lnTo>
                    <a:pt x="510" y="287"/>
                  </a:lnTo>
                  <a:lnTo>
                    <a:pt x="512" y="288"/>
                  </a:lnTo>
                  <a:lnTo>
                    <a:pt x="514" y="288"/>
                  </a:lnTo>
                  <a:lnTo>
                    <a:pt x="515" y="288"/>
                  </a:lnTo>
                  <a:lnTo>
                    <a:pt x="514" y="291"/>
                  </a:lnTo>
                  <a:lnTo>
                    <a:pt x="516" y="292"/>
                  </a:lnTo>
                  <a:lnTo>
                    <a:pt x="519" y="293"/>
                  </a:lnTo>
                  <a:lnTo>
                    <a:pt x="520" y="293"/>
                  </a:lnTo>
                  <a:lnTo>
                    <a:pt x="521" y="293"/>
                  </a:lnTo>
                  <a:lnTo>
                    <a:pt x="523" y="293"/>
                  </a:lnTo>
                  <a:lnTo>
                    <a:pt x="525" y="293"/>
                  </a:lnTo>
                  <a:lnTo>
                    <a:pt x="526" y="293"/>
                  </a:lnTo>
                  <a:lnTo>
                    <a:pt x="525" y="297"/>
                  </a:lnTo>
                  <a:lnTo>
                    <a:pt x="524" y="298"/>
                  </a:lnTo>
                  <a:lnTo>
                    <a:pt x="523" y="299"/>
                  </a:lnTo>
                  <a:lnTo>
                    <a:pt x="521" y="300"/>
                  </a:lnTo>
                  <a:lnTo>
                    <a:pt x="520" y="300"/>
                  </a:lnTo>
                  <a:lnTo>
                    <a:pt x="518" y="302"/>
                  </a:lnTo>
                  <a:lnTo>
                    <a:pt x="520" y="302"/>
                  </a:lnTo>
                  <a:lnTo>
                    <a:pt x="523" y="302"/>
                  </a:lnTo>
                  <a:lnTo>
                    <a:pt x="524" y="304"/>
                  </a:lnTo>
                  <a:lnTo>
                    <a:pt x="526" y="305"/>
                  </a:lnTo>
                  <a:lnTo>
                    <a:pt x="525" y="308"/>
                  </a:lnTo>
                  <a:lnTo>
                    <a:pt x="524" y="309"/>
                  </a:lnTo>
                  <a:lnTo>
                    <a:pt x="523" y="310"/>
                  </a:lnTo>
                  <a:lnTo>
                    <a:pt x="523" y="311"/>
                  </a:lnTo>
                  <a:lnTo>
                    <a:pt x="523" y="312"/>
                  </a:lnTo>
                  <a:lnTo>
                    <a:pt x="523" y="314"/>
                  </a:lnTo>
                  <a:lnTo>
                    <a:pt x="523" y="315"/>
                  </a:lnTo>
                  <a:lnTo>
                    <a:pt x="525" y="316"/>
                  </a:lnTo>
                  <a:lnTo>
                    <a:pt x="525" y="317"/>
                  </a:lnTo>
                  <a:lnTo>
                    <a:pt x="525" y="320"/>
                  </a:lnTo>
                  <a:lnTo>
                    <a:pt x="524" y="320"/>
                  </a:lnTo>
                  <a:lnTo>
                    <a:pt x="524" y="321"/>
                  </a:lnTo>
                  <a:lnTo>
                    <a:pt x="521" y="321"/>
                  </a:lnTo>
                  <a:lnTo>
                    <a:pt x="519" y="321"/>
                  </a:lnTo>
                  <a:lnTo>
                    <a:pt x="521" y="324"/>
                  </a:lnTo>
                  <a:lnTo>
                    <a:pt x="523" y="326"/>
                  </a:lnTo>
                  <a:lnTo>
                    <a:pt x="524" y="327"/>
                  </a:lnTo>
                  <a:lnTo>
                    <a:pt x="524" y="326"/>
                  </a:lnTo>
                  <a:lnTo>
                    <a:pt x="525" y="326"/>
                  </a:lnTo>
                  <a:lnTo>
                    <a:pt x="526" y="326"/>
                  </a:lnTo>
                  <a:lnTo>
                    <a:pt x="526" y="327"/>
                  </a:lnTo>
                  <a:lnTo>
                    <a:pt x="527" y="327"/>
                  </a:lnTo>
                  <a:lnTo>
                    <a:pt x="527" y="328"/>
                  </a:lnTo>
                  <a:lnTo>
                    <a:pt x="526" y="329"/>
                  </a:lnTo>
                  <a:lnTo>
                    <a:pt x="525" y="330"/>
                  </a:lnTo>
                  <a:lnTo>
                    <a:pt x="523" y="330"/>
                  </a:lnTo>
                  <a:lnTo>
                    <a:pt x="520" y="330"/>
                  </a:lnTo>
                  <a:lnTo>
                    <a:pt x="520" y="329"/>
                  </a:lnTo>
                  <a:lnTo>
                    <a:pt x="518" y="329"/>
                  </a:lnTo>
                  <a:lnTo>
                    <a:pt x="516" y="328"/>
                  </a:lnTo>
                  <a:lnTo>
                    <a:pt x="512" y="327"/>
                  </a:lnTo>
                  <a:lnTo>
                    <a:pt x="510" y="324"/>
                  </a:lnTo>
                  <a:lnTo>
                    <a:pt x="509" y="323"/>
                  </a:lnTo>
                  <a:lnTo>
                    <a:pt x="508" y="321"/>
                  </a:lnTo>
                  <a:lnTo>
                    <a:pt x="507" y="318"/>
                  </a:lnTo>
                  <a:lnTo>
                    <a:pt x="506" y="317"/>
                  </a:lnTo>
                  <a:lnTo>
                    <a:pt x="506" y="315"/>
                  </a:lnTo>
                  <a:lnTo>
                    <a:pt x="504" y="315"/>
                  </a:lnTo>
                  <a:lnTo>
                    <a:pt x="504" y="312"/>
                  </a:lnTo>
                  <a:lnTo>
                    <a:pt x="502" y="311"/>
                  </a:lnTo>
                  <a:lnTo>
                    <a:pt x="501" y="311"/>
                  </a:lnTo>
                  <a:lnTo>
                    <a:pt x="500" y="312"/>
                  </a:lnTo>
                  <a:lnTo>
                    <a:pt x="498" y="312"/>
                  </a:lnTo>
                  <a:lnTo>
                    <a:pt x="497" y="311"/>
                  </a:lnTo>
                  <a:lnTo>
                    <a:pt x="496" y="311"/>
                  </a:lnTo>
                  <a:lnTo>
                    <a:pt x="495" y="311"/>
                  </a:lnTo>
                  <a:lnTo>
                    <a:pt x="494" y="312"/>
                  </a:lnTo>
                  <a:lnTo>
                    <a:pt x="492" y="314"/>
                  </a:lnTo>
                  <a:lnTo>
                    <a:pt x="490" y="312"/>
                  </a:lnTo>
                  <a:lnTo>
                    <a:pt x="490" y="310"/>
                  </a:lnTo>
                  <a:lnTo>
                    <a:pt x="490" y="309"/>
                  </a:lnTo>
                  <a:lnTo>
                    <a:pt x="491" y="308"/>
                  </a:lnTo>
                  <a:lnTo>
                    <a:pt x="492" y="308"/>
                  </a:lnTo>
                  <a:lnTo>
                    <a:pt x="494" y="308"/>
                  </a:lnTo>
                  <a:lnTo>
                    <a:pt x="494" y="306"/>
                  </a:lnTo>
                  <a:lnTo>
                    <a:pt x="492" y="305"/>
                  </a:lnTo>
                  <a:lnTo>
                    <a:pt x="494" y="304"/>
                  </a:lnTo>
                  <a:lnTo>
                    <a:pt x="495" y="304"/>
                  </a:lnTo>
                  <a:lnTo>
                    <a:pt x="496" y="304"/>
                  </a:lnTo>
                  <a:lnTo>
                    <a:pt x="497" y="304"/>
                  </a:lnTo>
                  <a:lnTo>
                    <a:pt x="497" y="302"/>
                  </a:lnTo>
                  <a:lnTo>
                    <a:pt x="495" y="303"/>
                  </a:lnTo>
                  <a:lnTo>
                    <a:pt x="495" y="302"/>
                  </a:lnTo>
                  <a:lnTo>
                    <a:pt x="494" y="302"/>
                  </a:lnTo>
                  <a:lnTo>
                    <a:pt x="491" y="302"/>
                  </a:lnTo>
                  <a:lnTo>
                    <a:pt x="490" y="302"/>
                  </a:lnTo>
                  <a:lnTo>
                    <a:pt x="488" y="300"/>
                  </a:lnTo>
                  <a:lnTo>
                    <a:pt x="486" y="299"/>
                  </a:lnTo>
                  <a:lnTo>
                    <a:pt x="484" y="299"/>
                  </a:lnTo>
                  <a:lnTo>
                    <a:pt x="486" y="298"/>
                  </a:lnTo>
                  <a:lnTo>
                    <a:pt x="484" y="298"/>
                  </a:lnTo>
                  <a:lnTo>
                    <a:pt x="484" y="296"/>
                  </a:lnTo>
                  <a:lnTo>
                    <a:pt x="484" y="294"/>
                  </a:lnTo>
                  <a:lnTo>
                    <a:pt x="483" y="294"/>
                  </a:lnTo>
                  <a:lnTo>
                    <a:pt x="483" y="296"/>
                  </a:lnTo>
                  <a:lnTo>
                    <a:pt x="480" y="296"/>
                  </a:lnTo>
                  <a:lnTo>
                    <a:pt x="479" y="296"/>
                  </a:lnTo>
                  <a:lnTo>
                    <a:pt x="478" y="297"/>
                  </a:lnTo>
                  <a:lnTo>
                    <a:pt x="477" y="296"/>
                  </a:lnTo>
                  <a:lnTo>
                    <a:pt x="476" y="294"/>
                  </a:lnTo>
                  <a:lnTo>
                    <a:pt x="476" y="293"/>
                  </a:lnTo>
                  <a:lnTo>
                    <a:pt x="473" y="293"/>
                  </a:lnTo>
                  <a:lnTo>
                    <a:pt x="472" y="292"/>
                  </a:lnTo>
                  <a:lnTo>
                    <a:pt x="473" y="291"/>
                  </a:lnTo>
                  <a:lnTo>
                    <a:pt x="472" y="291"/>
                  </a:lnTo>
                  <a:lnTo>
                    <a:pt x="471" y="291"/>
                  </a:lnTo>
                  <a:lnTo>
                    <a:pt x="470" y="290"/>
                  </a:lnTo>
                  <a:lnTo>
                    <a:pt x="468" y="290"/>
                  </a:lnTo>
                  <a:lnTo>
                    <a:pt x="467" y="290"/>
                  </a:lnTo>
                  <a:lnTo>
                    <a:pt x="466" y="288"/>
                  </a:lnTo>
                  <a:lnTo>
                    <a:pt x="465" y="290"/>
                  </a:lnTo>
                  <a:lnTo>
                    <a:pt x="464" y="287"/>
                  </a:lnTo>
                  <a:lnTo>
                    <a:pt x="464" y="286"/>
                  </a:lnTo>
                  <a:lnTo>
                    <a:pt x="462" y="286"/>
                  </a:lnTo>
                  <a:lnTo>
                    <a:pt x="462" y="285"/>
                  </a:lnTo>
                  <a:lnTo>
                    <a:pt x="462" y="282"/>
                  </a:lnTo>
                  <a:lnTo>
                    <a:pt x="464" y="282"/>
                  </a:lnTo>
                  <a:lnTo>
                    <a:pt x="462" y="282"/>
                  </a:lnTo>
                  <a:lnTo>
                    <a:pt x="462" y="281"/>
                  </a:lnTo>
                  <a:lnTo>
                    <a:pt x="461" y="280"/>
                  </a:lnTo>
                  <a:lnTo>
                    <a:pt x="460" y="279"/>
                  </a:lnTo>
                  <a:lnTo>
                    <a:pt x="459" y="278"/>
                  </a:lnTo>
                  <a:lnTo>
                    <a:pt x="459" y="279"/>
                  </a:lnTo>
                  <a:lnTo>
                    <a:pt x="459" y="280"/>
                  </a:lnTo>
                  <a:lnTo>
                    <a:pt x="459" y="281"/>
                  </a:lnTo>
                  <a:lnTo>
                    <a:pt x="457" y="282"/>
                  </a:lnTo>
                  <a:lnTo>
                    <a:pt x="455" y="282"/>
                  </a:lnTo>
                  <a:lnTo>
                    <a:pt x="455" y="284"/>
                  </a:lnTo>
                  <a:lnTo>
                    <a:pt x="456" y="285"/>
                  </a:lnTo>
                  <a:lnTo>
                    <a:pt x="457" y="285"/>
                  </a:lnTo>
                  <a:lnTo>
                    <a:pt x="459" y="285"/>
                  </a:lnTo>
                  <a:lnTo>
                    <a:pt x="460" y="285"/>
                  </a:lnTo>
                  <a:lnTo>
                    <a:pt x="460" y="287"/>
                  </a:lnTo>
                  <a:lnTo>
                    <a:pt x="461" y="287"/>
                  </a:lnTo>
                  <a:lnTo>
                    <a:pt x="461" y="288"/>
                  </a:lnTo>
                  <a:lnTo>
                    <a:pt x="461" y="290"/>
                  </a:lnTo>
                  <a:lnTo>
                    <a:pt x="461" y="291"/>
                  </a:lnTo>
                  <a:lnTo>
                    <a:pt x="462" y="292"/>
                  </a:lnTo>
                  <a:lnTo>
                    <a:pt x="462" y="293"/>
                  </a:lnTo>
                  <a:lnTo>
                    <a:pt x="460" y="292"/>
                  </a:lnTo>
                  <a:lnTo>
                    <a:pt x="460" y="293"/>
                  </a:lnTo>
                  <a:lnTo>
                    <a:pt x="459" y="292"/>
                  </a:lnTo>
                  <a:lnTo>
                    <a:pt x="457" y="291"/>
                  </a:lnTo>
                  <a:lnTo>
                    <a:pt x="456" y="291"/>
                  </a:lnTo>
                  <a:lnTo>
                    <a:pt x="456" y="290"/>
                  </a:lnTo>
                  <a:lnTo>
                    <a:pt x="455" y="290"/>
                  </a:lnTo>
                  <a:lnTo>
                    <a:pt x="455" y="288"/>
                  </a:lnTo>
                  <a:lnTo>
                    <a:pt x="451" y="288"/>
                  </a:lnTo>
                  <a:lnTo>
                    <a:pt x="450" y="287"/>
                  </a:lnTo>
                  <a:lnTo>
                    <a:pt x="449" y="287"/>
                  </a:lnTo>
                  <a:lnTo>
                    <a:pt x="447" y="287"/>
                  </a:lnTo>
                  <a:lnTo>
                    <a:pt x="445" y="287"/>
                  </a:lnTo>
                  <a:lnTo>
                    <a:pt x="444" y="286"/>
                  </a:lnTo>
                  <a:lnTo>
                    <a:pt x="441" y="286"/>
                  </a:lnTo>
                  <a:lnTo>
                    <a:pt x="438" y="285"/>
                  </a:lnTo>
                  <a:lnTo>
                    <a:pt x="437" y="285"/>
                  </a:lnTo>
                  <a:lnTo>
                    <a:pt x="435" y="285"/>
                  </a:lnTo>
                  <a:lnTo>
                    <a:pt x="436" y="284"/>
                  </a:lnTo>
                  <a:lnTo>
                    <a:pt x="433" y="282"/>
                  </a:lnTo>
                  <a:lnTo>
                    <a:pt x="432" y="282"/>
                  </a:lnTo>
                  <a:lnTo>
                    <a:pt x="429" y="279"/>
                  </a:lnTo>
                  <a:lnTo>
                    <a:pt x="430" y="276"/>
                  </a:lnTo>
                  <a:lnTo>
                    <a:pt x="431" y="274"/>
                  </a:lnTo>
                  <a:lnTo>
                    <a:pt x="431" y="272"/>
                  </a:lnTo>
                  <a:lnTo>
                    <a:pt x="431" y="273"/>
                  </a:lnTo>
                  <a:lnTo>
                    <a:pt x="430" y="273"/>
                  </a:lnTo>
                  <a:lnTo>
                    <a:pt x="430" y="274"/>
                  </a:lnTo>
                  <a:lnTo>
                    <a:pt x="430" y="275"/>
                  </a:lnTo>
                  <a:lnTo>
                    <a:pt x="429" y="276"/>
                  </a:lnTo>
                  <a:lnTo>
                    <a:pt x="426" y="275"/>
                  </a:lnTo>
                  <a:lnTo>
                    <a:pt x="425" y="275"/>
                  </a:lnTo>
                  <a:lnTo>
                    <a:pt x="424" y="274"/>
                  </a:lnTo>
                  <a:lnTo>
                    <a:pt x="421" y="275"/>
                  </a:lnTo>
                  <a:lnTo>
                    <a:pt x="420" y="278"/>
                  </a:lnTo>
                  <a:lnTo>
                    <a:pt x="418" y="279"/>
                  </a:lnTo>
                  <a:lnTo>
                    <a:pt x="418" y="278"/>
                  </a:lnTo>
                  <a:lnTo>
                    <a:pt x="417" y="278"/>
                  </a:lnTo>
                  <a:lnTo>
                    <a:pt x="415" y="278"/>
                  </a:lnTo>
                  <a:lnTo>
                    <a:pt x="414" y="279"/>
                  </a:lnTo>
                  <a:lnTo>
                    <a:pt x="414" y="282"/>
                  </a:lnTo>
                  <a:lnTo>
                    <a:pt x="415" y="281"/>
                  </a:lnTo>
                  <a:lnTo>
                    <a:pt x="417" y="281"/>
                  </a:lnTo>
                  <a:lnTo>
                    <a:pt x="418" y="282"/>
                  </a:lnTo>
                  <a:lnTo>
                    <a:pt x="419" y="284"/>
                  </a:lnTo>
                  <a:lnTo>
                    <a:pt x="419" y="281"/>
                  </a:lnTo>
                  <a:lnTo>
                    <a:pt x="420" y="281"/>
                  </a:lnTo>
                  <a:lnTo>
                    <a:pt x="423" y="281"/>
                  </a:lnTo>
                  <a:lnTo>
                    <a:pt x="424" y="281"/>
                  </a:lnTo>
                  <a:lnTo>
                    <a:pt x="423" y="282"/>
                  </a:lnTo>
                  <a:lnTo>
                    <a:pt x="423" y="284"/>
                  </a:lnTo>
                  <a:lnTo>
                    <a:pt x="423" y="285"/>
                  </a:lnTo>
                  <a:lnTo>
                    <a:pt x="423" y="287"/>
                  </a:lnTo>
                  <a:lnTo>
                    <a:pt x="424" y="287"/>
                  </a:lnTo>
                  <a:lnTo>
                    <a:pt x="421" y="287"/>
                  </a:lnTo>
                  <a:lnTo>
                    <a:pt x="420" y="287"/>
                  </a:lnTo>
                  <a:lnTo>
                    <a:pt x="419" y="286"/>
                  </a:lnTo>
                  <a:lnTo>
                    <a:pt x="419" y="285"/>
                  </a:lnTo>
                  <a:lnTo>
                    <a:pt x="418" y="285"/>
                  </a:lnTo>
                  <a:lnTo>
                    <a:pt x="418" y="287"/>
                  </a:lnTo>
                  <a:lnTo>
                    <a:pt x="419" y="287"/>
                  </a:lnTo>
                  <a:lnTo>
                    <a:pt x="421" y="288"/>
                  </a:lnTo>
                  <a:lnTo>
                    <a:pt x="421" y="290"/>
                  </a:lnTo>
                  <a:lnTo>
                    <a:pt x="425" y="291"/>
                  </a:lnTo>
                  <a:lnTo>
                    <a:pt x="425" y="290"/>
                  </a:lnTo>
                  <a:lnTo>
                    <a:pt x="426" y="290"/>
                  </a:lnTo>
                  <a:lnTo>
                    <a:pt x="429" y="288"/>
                  </a:lnTo>
                  <a:lnTo>
                    <a:pt x="429" y="287"/>
                  </a:lnTo>
                  <a:lnTo>
                    <a:pt x="430" y="287"/>
                  </a:lnTo>
                  <a:lnTo>
                    <a:pt x="431" y="288"/>
                  </a:lnTo>
                  <a:lnTo>
                    <a:pt x="432" y="290"/>
                  </a:lnTo>
                  <a:lnTo>
                    <a:pt x="431" y="290"/>
                  </a:lnTo>
                  <a:lnTo>
                    <a:pt x="432" y="291"/>
                  </a:lnTo>
                  <a:lnTo>
                    <a:pt x="431" y="292"/>
                  </a:lnTo>
                  <a:lnTo>
                    <a:pt x="433" y="293"/>
                  </a:lnTo>
                  <a:lnTo>
                    <a:pt x="435" y="294"/>
                  </a:lnTo>
                  <a:lnTo>
                    <a:pt x="435" y="296"/>
                  </a:lnTo>
                  <a:lnTo>
                    <a:pt x="433" y="296"/>
                  </a:lnTo>
                  <a:lnTo>
                    <a:pt x="435" y="296"/>
                  </a:lnTo>
                  <a:lnTo>
                    <a:pt x="433" y="298"/>
                  </a:lnTo>
                  <a:lnTo>
                    <a:pt x="435" y="299"/>
                  </a:lnTo>
                  <a:lnTo>
                    <a:pt x="436" y="298"/>
                  </a:lnTo>
                  <a:lnTo>
                    <a:pt x="437" y="299"/>
                  </a:lnTo>
                  <a:lnTo>
                    <a:pt x="438" y="300"/>
                  </a:lnTo>
                  <a:lnTo>
                    <a:pt x="437" y="302"/>
                  </a:lnTo>
                  <a:lnTo>
                    <a:pt x="439" y="302"/>
                  </a:lnTo>
                  <a:lnTo>
                    <a:pt x="443" y="302"/>
                  </a:lnTo>
                  <a:lnTo>
                    <a:pt x="444" y="303"/>
                  </a:lnTo>
                  <a:lnTo>
                    <a:pt x="444" y="304"/>
                  </a:lnTo>
                  <a:lnTo>
                    <a:pt x="445" y="304"/>
                  </a:lnTo>
                  <a:lnTo>
                    <a:pt x="449" y="305"/>
                  </a:lnTo>
                  <a:lnTo>
                    <a:pt x="451" y="304"/>
                  </a:lnTo>
                  <a:lnTo>
                    <a:pt x="453" y="303"/>
                  </a:lnTo>
                  <a:lnTo>
                    <a:pt x="454" y="303"/>
                  </a:lnTo>
                  <a:lnTo>
                    <a:pt x="455" y="304"/>
                  </a:lnTo>
                  <a:lnTo>
                    <a:pt x="456" y="304"/>
                  </a:lnTo>
                  <a:lnTo>
                    <a:pt x="457" y="304"/>
                  </a:lnTo>
                  <a:lnTo>
                    <a:pt x="460" y="304"/>
                  </a:lnTo>
                  <a:lnTo>
                    <a:pt x="459" y="303"/>
                  </a:lnTo>
                  <a:lnTo>
                    <a:pt x="460" y="302"/>
                  </a:lnTo>
                  <a:lnTo>
                    <a:pt x="460" y="303"/>
                  </a:lnTo>
                  <a:lnTo>
                    <a:pt x="464" y="303"/>
                  </a:lnTo>
                  <a:lnTo>
                    <a:pt x="462" y="303"/>
                  </a:lnTo>
                  <a:lnTo>
                    <a:pt x="465" y="304"/>
                  </a:lnTo>
                  <a:lnTo>
                    <a:pt x="467" y="305"/>
                  </a:lnTo>
                  <a:lnTo>
                    <a:pt x="468" y="305"/>
                  </a:lnTo>
                  <a:lnTo>
                    <a:pt x="468" y="306"/>
                  </a:lnTo>
                  <a:lnTo>
                    <a:pt x="470" y="306"/>
                  </a:lnTo>
                  <a:lnTo>
                    <a:pt x="472" y="308"/>
                  </a:lnTo>
                  <a:lnTo>
                    <a:pt x="472" y="309"/>
                  </a:lnTo>
                  <a:lnTo>
                    <a:pt x="471" y="309"/>
                  </a:lnTo>
                  <a:lnTo>
                    <a:pt x="471" y="310"/>
                  </a:lnTo>
                  <a:lnTo>
                    <a:pt x="471" y="311"/>
                  </a:lnTo>
                  <a:lnTo>
                    <a:pt x="471" y="315"/>
                  </a:lnTo>
                  <a:lnTo>
                    <a:pt x="468" y="315"/>
                  </a:lnTo>
                  <a:lnTo>
                    <a:pt x="467" y="316"/>
                  </a:lnTo>
                  <a:lnTo>
                    <a:pt x="467" y="317"/>
                  </a:lnTo>
                  <a:lnTo>
                    <a:pt x="470" y="317"/>
                  </a:lnTo>
                  <a:lnTo>
                    <a:pt x="470" y="316"/>
                  </a:lnTo>
                  <a:lnTo>
                    <a:pt x="471" y="315"/>
                  </a:lnTo>
                  <a:lnTo>
                    <a:pt x="472" y="314"/>
                  </a:lnTo>
                  <a:lnTo>
                    <a:pt x="473" y="314"/>
                  </a:lnTo>
                  <a:lnTo>
                    <a:pt x="474" y="314"/>
                  </a:lnTo>
                  <a:lnTo>
                    <a:pt x="476" y="314"/>
                  </a:lnTo>
                  <a:lnTo>
                    <a:pt x="476" y="312"/>
                  </a:lnTo>
                  <a:lnTo>
                    <a:pt x="477" y="315"/>
                  </a:lnTo>
                  <a:lnTo>
                    <a:pt x="477" y="314"/>
                  </a:lnTo>
                  <a:lnTo>
                    <a:pt x="477" y="315"/>
                  </a:lnTo>
                  <a:lnTo>
                    <a:pt x="478" y="315"/>
                  </a:lnTo>
                  <a:lnTo>
                    <a:pt x="478" y="316"/>
                  </a:lnTo>
                  <a:lnTo>
                    <a:pt x="479" y="317"/>
                  </a:lnTo>
                  <a:lnTo>
                    <a:pt x="479" y="318"/>
                  </a:lnTo>
                  <a:lnTo>
                    <a:pt x="480" y="320"/>
                  </a:lnTo>
                  <a:lnTo>
                    <a:pt x="482" y="320"/>
                  </a:lnTo>
                  <a:lnTo>
                    <a:pt x="484" y="322"/>
                  </a:lnTo>
                  <a:lnTo>
                    <a:pt x="484" y="323"/>
                  </a:lnTo>
                  <a:lnTo>
                    <a:pt x="485" y="323"/>
                  </a:lnTo>
                  <a:lnTo>
                    <a:pt x="486" y="323"/>
                  </a:lnTo>
                  <a:lnTo>
                    <a:pt x="488" y="322"/>
                  </a:lnTo>
                  <a:lnTo>
                    <a:pt x="490" y="322"/>
                  </a:lnTo>
                  <a:lnTo>
                    <a:pt x="489" y="323"/>
                  </a:lnTo>
                  <a:lnTo>
                    <a:pt x="490" y="323"/>
                  </a:lnTo>
                  <a:lnTo>
                    <a:pt x="491" y="323"/>
                  </a:lnTo>
                  <a:lnTo>
                    <a:pt x="492" y="323"/>
                  </a:lnTo>
                  <a:lnTo>
                    <a:pt x="492" y="324"/>
                  </a:lnTo>
                  <a:lnTo>
                    <a:pt x="492" y="328"/>
                  </a:lnTo>
                  <a:lnTo>
                    <a:pt x="492" y="330"/>
                  </a:lnTo>
                  <a:lnTo>
                    <a:pt x="494" y="330"/>
                  </a:lnTo>
                  <a:lnTo>
                    <a:pt x="494" y="333"/>
                  </a:lnTo>
                  <a:lnTo>
                    <a:pt x="494" y="335"/>
                  </a:lnTo>
                  <a:lnTo>
                    <a:pt x="492" y="336"/>
                  </a:lnTo>
                  <a:lnTo>
                    <a:pt x="492" y="339"/>
                  </a:lnTo>
                  <a:lnTo>
                    <a:pt x="494" y="339"/>
                  </a:lnTo>
                  <a:lnTo>
                    <a:pt x="495" y="340"/>
                  </a:lnTo>
                  <a:lnTo>
                    <a:pt x="496" y="340"/>
                  </a:lnTo>
                  <a:lnTo>
                    <a:pt x="497" y="340"/>
                  </a:lnTo>
                  <a:lnTo>
                    <a:pt x="498" y="339"/>
                  </a:lnTo>
                  <a:lnTo>
                    <a:pt x="498" y="340"/>
                  </a:lnTo>
                  <a:lnTo>
                    <a:pt x="500" y="340"/>
                  </a:lnTo>
                  <a:lnTo>
                    <a:pt x="503" y="341"/>
                  </a:lnTo>
                  <a:lnTo>
                    <a:pt x="503" y="342"/>
                  </a:lnTo>
                  <a:lnTo>
                    <a:pt x="504" y="344"/>
                  </a:lnTo>
                  <a:lnTo>
                    <a:pt x="508" y="344"/>
                  </a:lnTo>
                  <a:lnTo>
                    <a:pt x="509" y="344"/>
                  </a:lnTo>
                  <a:lnTo>
                    <a:pt x="510" y="345"/>
                  </a:lnTo>
                  <a:lnTo>
                    <a:pt x="510" y="348"/>
                  </a:lnTo>
                  <a:lnTo>
                    <a:pt x="509" y="350"/>
                  </a:lnTo>
                  <a:lnTo>
                    <a:pt x="512" y="351"/>
                  </a:lnTo>
                  <a:lnTo>
                    <a:pt x="512" y="352"/>
                  </a:lnTo>
                  <a:lnTo>
                    <a:pt x="513" y="352"/>
                  </a:lnTo>
                  <a:lnTo>
                    <a:pt x="514" y="354"/>
                  </a:lnTo>
                  <a:lnTo>
                    <a:pt x="518" y="354"/>
                  </a:lnTo>
                  <a:lnTo>
                    <a:pt x="519" y="357"/>
                  </a:lnTo>
                  <a:lnTo>
                    <a:pt x="519" y="358"/>
                  </a:lnTo>
                  <a:lnTo>
                    <a:pt x="520" y="358"/>
                  </a:lnTo>
                  <a:lnTo>
                    <a:pt x="521" y="358"/>
                  </a:lnTo>
                  <a:lnTo>
                    <a:pt x="523" y="358"/>
                  </a:lnTo>
                  <a:lnTo>
                    <a:pt x="521" y="359"/>
                  </a:lnTo>
                  <a:lnTo>
                    <a:pt x="521" y="360"/>
                  </a:lnTo>
                  <a:lnTo>
                    <a:pt x="521" y="362"/>
                  </a:lnTo>
                  <a:lnTo>
                    <a:pt x="521" y="364"/>
                  </a:lnTo>
                  <a:lnTo>
                    <a:pt x="523" y="365"/>
                  </a:lnTo>
                  <a:lnTo>
                    <a:pt x="524" y="365"/>
                  </a:lnTo>
                  <a:lnTo>
                    <a:pt x="521" y="366"/>
                  </a:lnTo>
                  <a:lnTo>
                    <a:pt x="523" y="368"/>
                  </a:lnTo>
                  <a:lnTo>
                    <a:pt x="524" y="369"/>
                  </a:lnTo>
                  <a:lnTo>
                    <a:pt x="525" y="370"/>
                  </a:lnTo>
                  <a:lnTo>
                    <a:pt x="526" y="371"/>
                  </a:lnTo>
                  <a:lnTo>
                    <a:pt x="525" y="373"/>
                  </a:lnTo>
                  <a:lnTo>
                    <a:pt x="524" y="375"/>
                  </a:lnTo>
                  <a:lnTo>
                    <a:pt x="525" y="377"/>
                  </a:lnTo>
                  <a:lnTo>
                    <a:pt x="525" y="376"/>
                  </a:lnTo>
                  <a:lnTo>
                    <a:pt x="527" y="376"/>
                  </a:lnTo>
                  <a:lnTo>
                    <a:pt x="530" y="380"/>
                  </a:lnTo>
                  <a:lnTo>
                    <a:pt x="530" y="381"/>
                  </a:lnTo>
                  <a:lnTo>
                    <a:pt x="532" y="381"/>
                  </a:lnTo>
                  <a:lnTo>
                    <a:pt x="533" y="381"/>
                  </a:lnTo>
                  <a:lnTo>
                    <a:pt x="533" y="382"/>
                  </a:lnTo>
                  <a:lnTo>
                    <a:pt x="536" y="382"/>
                  </a:lnTo>
                  <a:lnTo>
                    <a:pt x="535" y="385"/>
                  </a:lnTo>
                  <a:lnTo>
                    <a:pt x="533" y="386"/>
                  </a:lnTo>
                  <a:lnTo>
                    <a:pt x="532" y="387"/>
                  </a:lnTo>
                  <a:lnTo>
                    <a:pt x="535" y="388"/>
                  </a:lnTo>
                  <a:lnTo>
                    <a:pt x="535" y="387"/>
                  </a:lnTo>
                  <a:lnTo>
                    <a:pt x="536" y="387"/>
                  </a:lnTo>
                  <a:lnTo>
                    <a:pt x="536" y="388"/>
                  </a:lnTo>
                  <a:lnTo>
                    <a:pt x="537" y="388"/>
                  </a:lnTo>
                  <a:lnTo>
                    <a:pt x="537" y="389"/>
                  </a:lnTo>
                  <a:lnTo>
                    <a:pt x="537" y="391"/>
                  </a:lnTo>
                  <a:lnTo>
                    <a:pt x="538" y="391"/>
                  </a:lnTo>
                  <a:lnTo>
                    <a:pt x="539" y="393"/>
                  </a:lnTo>
                  <a:lnTo>
                    <a:pt x="539" y="392"/>
                  </a:lnTo>
                  <a:lnTo>
                    <a:pt x="542" y="394"/>
                  </a:lnTo>
                  <a:lnTo>
                    <a:pt x="542" y="395"/>
                  </a:lnTo>
                  <a:lnTo>
                    <a:pt x="541" y="397"/>
                  </a:lnTo>
                  <a:lnTo>
                    <a:pt x="543" y="398"/>
                  </a:lnTo>
                  <a:lnTo>
                    <a:pt x="544" y="399"/>
                  </a:lnTo>
                  <a:lnTo>
                    <a:pt x="545" y="400"/>
                  </a:lnTo>
                  <a:lnTo>
                    <a:pt x="547" y="399"/>
                  </a:lnTo>
                  <a:lnTo>
                    <a:pt x="548" y="398"/>
                  </a:lnTo>
                  <a:lnTo>
                    <a:pt x="549" y="398"/>
                  </a:lnTo>
                  <a:lnTo>
                    <a:pt x="550" y="399"/>
                  </a:lnTo>
                  <a:lnTo>
                    <a:pt x="550" y="400"/>
                  </a:lnTo>
                  <a:lnTo>
                    <a:pt x="551" y="399"/>
                  </a:lnTo>
                  <a:lnTo>
                    <a:pt x="554" y="398"/>
                  </a:lnTo>
                  <a:lnTo>
                    <a:pt x="556" y="399"/>
                  </a:lnTo>
                  <a:lnTo>
                    <a:pt x="555" y="400"/>
                  </a:lnTo>
                  <a:lnTo>
                    <a:pt x="555" y="401"/>
                  </a:lnTo>
                  <a:lnTo>
                    <a:pt x="554" y="403"/>
                  </a:lnTo>
                  <a:lnTo>
                    <a:pt x="553" y="401"/>
                  </a:lnTo>
                  <a:lnTo>
                    <a:pt x="553" y="403"/>
                  </a:lnTo>
                  <a:lnTo>
                    <a:pt x="550" y="404"/>
                  </a:lnTo>
                  <a:lnTo>
                    <a:pt x="549" y="404"/>
                  </a:lnTo>
                  <a:lnTo>
                    <a:pt x="548" y="405"/>
                  </a:lnTo>
                  <a:lnTo>
                    <a:pt x="547" y="404"/>
                  </a:lnTo>
                  <a:lnTo>
                    <a:pt x="547" y="405"/>
                  </a:lnTo>
                  <a:lnTo>
                    <a:pt x="545" y="406"/>
                  </a:lnTo>
                  <a:lnTo>
                    <a:pt x="547" y="407"/>
                  </a:lnTo>
                  <a:lnTo>
                    <a:pt x="544" y="410"/>
                  </a:lnTo>
                  <a:lnTo>
                    <a:pt x="544" y="411"/>
                  </a:lnTo>
                  <a:lnTo>
                    <a:pt x="543" y="412"/>
                  </a:lnTo>
                  <a:lnTo>
                    <a:pt x="544" y="413"/>
                  </a:lnTo>
                  <a:lnTo>
                    <a:pt x="544" y="415"/>
                  </a:lnTo>
                  <a:lnTo>
                    <a:pt x="543" y="416"/>
                  </a:lnTo>
                  <a:lnTo>
                    <a:pt x="545" y="417"/>
                  </a:lnTo>
                  <a:lnTo>
                    <a:pt x="547" y="418"/>
                  </a:lnTo>
                  <a:lnTo>
                    <a:pt x="548" y="418"/>
                  </a:lnTo>
                  <a:lnTo>
                    <a:pt x="549" y="419"/>
                  </a:lnTo>
                  <a:lnTo>
                    <a:pt x="549" y="421"/>
                  </a:lnTo>
                  <a:lnTo>
                    <a:pt x="547" y="421"/>
                  </a:lnTo>
                  <a:lnTo>
                    <a:pt x="547" y="422"/>
                  </a:lnTo>
                  <a:lnTo>
                    <a:pt x="545" y="422"/>
                  </a:lnTo>
                  <a:lnTo>
                    <a:pt x="544" y="422"/>
                  </a:lnTo>
                  <a:lnTo>
                    <a:pt x="544" y="421"/>
                  </a:lnTo>
                  <a:lnTo>
                    <a:pt x="542" y="421"/>
                  </a:lnTo>
                  <a:lnTo>
                    <a:pt x="541" y="419"/>
                  </a:lnTo>
                  <a:lnTo>
                    <a:pt x="541" y="418"/>
                  </a:lnTo>
                  <a:lnTo>
                    <a:pt x="539" y="418"/>
                  </a:lnTo>
                  <a:lnTo>
                    <a:pt x="538" y="416"/>
                  </a:lnTo>
                  <a:lnTo>
                    <a:pt x="536" y="416"/>
                  </a:lnTo>
                  <a:lnTo>
                    <a:pt x="535" y="413"/>
                  </a:lnTo>
                  <a:lnTo>
                    <a:pt x="535" y="412"/>
                  </a:lnTo>
                  <a:lnTo>
                    <a:pt x="535" y="411"/>
                  </a:lnTo>
                  <a:lnTo>
                    <a:pt x="533" y="411"/>
                  </a:lnTo>
                  <a:lnTo>
                    <a:pt x="532" y="411"/>
                  </a:lnTo>
                  <a:lnTo>
                    <a:pt x="530" y="411"/>
                  </a:lnTo>
                  <a:lnTo>
                    <a:pt x="527" y="411"/>
                  </a:lnTo>
                  <a:lnTo>
                    <a:pt x="523" y="411"/>
                  </a:lnTo>
                  <a:lnTo>
                    <a:pt x="524" y="410"/>
                  </a:lnTo>
                  <a:lnTo>
                    <a:pt x="524" y="407"/>
                  </a:lnTo>
                  <a:lnTo>
                    <a:pt x="524" y="405"/>
                  </a:lnTo>
                  <a:lnTo>
                    <a:pt x="523" y="407"/>
                  </a:lnTo>
                  <a:lnTo>
                    <a:pt x="523" y="409"/>
                  </a:lnTo>
                  <a:lnTo>
                    <a:pt x="520" y="410"/>
                  </a:lnTo>
                  <a:lnTo>
                    <a:pt x="518" y="411"/>
                  </a:lnTo>
                  <a:lnTo>
                    <a:pt x="516" y="411"/>
                  </a:lnTo>
                  <a:lnTo>
                    <a:pt x="516" y="413"/>
                  </a:lnTo>
                  <a:lnTo>
                    <a:pt x="518" y="413"/>
                  </a:lnTo>
                  <a:lnTo>
                    <a:pt x="518" y="416"/>
                  </a:lnTo>
                  <a:lnTo>
                    <a:pt x="518" y="417"/>
                  </a:lnTo>
                  <a:lnTo>
                    <a:pt x="516" y="418"/>
                  </a:lnTo>
                  <a:lnTo>
                    <a:pt x="516" y="417"/>
                  </a:lnTo>
                  <a:lnTo>
                    <a:pt x="515" y="418"/>
                  </a:lnTo>
                  <a:lnTo>
                    <a:pt x="514" y="418"/>
                  </a:lnTo>
                  <a:lnTo>
                    <a:pt x="513" y="418"/>
                  </a:lnTo>
                  <a:lnTo>
                    <a:pt x="512" y="419"/>
                  </a:lnTo>
                  <a:lnTo>
                    <a:pt x="510" y="419"/>
                  </a:lnTo>
                  <a:lnTo>
                    <a:pt x="512" y="418"/>
                  </a:lnTo>
                  <a:lnTo>
                    <a:pt x="512" y="416"/>
                  </a:lnTo>
                  <a:lnTo>
                    <a:pt x="510" y="416"/>
                  </a:lnTo>
                  <a:lnTo>
                    <a:pt x="510" y="415"/>
                  </a:lnTo>
                  <a:lnTo>
                    <a:pt x="509" y="413"/>
                  </a:lnTo>
                  <a:lnTo>
                    <a:pt x="509" y="412"/>
                  </a:lnTo>
                  <a:lnTo>
                    <a:pt x="508" y="411"/>
                  </a:lnTo>
                  <a:lnTo>
                    <a:pt x="507" y="411"/>
                  </a:lnTo>
                  <a:lnTo>
                    <a:pt x="506" y="411"/>
                  </a:lnTo>
                  <a:lnTo>
                    <a:pt x="504" y="411"/>
                  </a:lnTo>
                  <a:lnTo>
                    <a:pt x="503" y="410"/>
                  </a:lnTo>
                  <a:lnTo>
                    <a:pt x="504" y="409"/>
                  </a:lnTo>
                  <a:lnTo>
                    <a:pt x="503" y="409"/>
                  </a:lnTo>
                  <a:lnTo>
                    <a:pt x="501" y="407"/>
                  </a:lnTo>
                  <a:lnTo>
                    <a:pt x="500" y="406"/>
                  </a:lnTo>
                  <a:lnTo>
                    <a:pt x="500" y="405"/>
                  </a:lnTo>
                  <a:lnTo>
                    <a:pt x="498" y="404"/>
                  </a:lnTo>
                  <a:lnTo>
                    <a:pt x="497" y="403"/>
                  </a:lnTo>
                  <a:lnTo>
                    <a:pt x="496" y="403"/>
                  </a:lnTo>
                  <a:lnTo>
                    <a:pt x="495" y="405"/>
                  </a:lnTo>
                  <a:lnTo>
                    <a:pt x="494" y="405"/>
                  </a:lnTo>
                  <a:lnTo>
                    <a:pt x="494" y="406"/>
                  </a:lnTo>
                  <a:lnTo>
                    <a:pt x="491" y="406"/>
                  </a:lnTo>
                  <a:lnTo>
                    <a:pt x="490" y="404"/>
                  </a:lnTo>
                  <a:lnTo>
                    <a:pt x="488" y="405"/>
                  </a:lnTo>
                  <a:lnTo>
                    <a:pt x="488" y="406"/>
                  </a:lnTo>
                  <a:lnTo>
                    <a:pt x="486" y="406"/>
                  </a:lnTo>
                  <a:lnTo>
                    <a:pt x="485" y="407"/>
                  </a:lnTo>
                  <a:lnTo>
                    <a:pt x="484" y="410"/>
                  </a:lnTo>
                  <a:lnTo>
                    <a:pt x="486" y="410"/>
                  </a:lnTo>
                  <a:lnTo>
                    <a:pt x="488" y="411"/>
                  </a:lnTo>
                  <a:lnTo>
                    <a:pt x="489" y="412"/>
                  </a:lnTo>
                  <a:lnTo>
                    <a:pt x="488" y="411"/>
                  </a:lnTo>
                  <a:lnTo>
                    <a:pt x="490" y="411"/>
                  </a:lnTo>
                  <a:lnTo>
                    <a:pt x="491" y="411"/>
                  </a:lnTo>
                  <a:lnTo>
                    <a:pt x="492" y="411"/>
                  </a:lnTo>
                  <a:lnTo>
                    <a:pt x="494" y="413"/>
                  </a:lnTo>
                  <a:lnTo>
                    <a:pt x="494" y="412"/>
                  </a:lnTo>
                  <a:lnTo>
                    <a:pt x="495" y="412"/>
                  </a:lnTo>
                  <a:lnTo>
                    <a:pt x="497" y="412"/>
                  </a:lnTo>
                  <a:lnTo>
                    <a:pt x="498" y="412"/>
                  </a:lnTo>
                  <a:lnTo>
                    <a:pt x="498" y="413"/>
                  </a:lnTo>
                  <a:lnTo>
                    <a:pt x="500" y="413"/>
                  </a:lnTo>
                  <a:lnTo>
                    <a:pt x="500" y="415"/>
                  </a:lnTo>
                  <a:lnTo>
                    <a:pt x="501" y="415"/>
                  </a:lnTo>
                  <a:lnTo>
                    <a:pt x="501" y="416"/>
                  </a:lnTo>
                  <a:lnTo>
                    <a:pt x="501" y="417"/>
                  </a:lnTo>
                  <a:lnTo>
                    <a:pt x="502" y="417"/>
                  </a:lnTo>
                  <a:lnTo>
                    <a:pt x="502" y="418"/>
                  </a:lnTo>
                  <a:lnTo>
                    <a:pt x="504" y="419"/>
                  </a:lnTo>
                  <a:lnTo>
                    <a:pt x="506" y="419"/>
                  </a:lnTo>
                  <a:lnTo>
                    <a:pt x="506" y="421"/>
                  </a:lnTo>
                  <a:lnTo>
                    <a:pt x="504" y="421"/>
                  </a:lnTo>
                  <a:lnTo>
                    <a:pt x="504" y="422"/>
                  </a:lnTo>
                  <a:lnTo>
                    <a:pt x="504" y="423"/>
                  </a:lnTo>
                  <a:lnTo>
                    <a:pt x="504" y="425"/>
                  </a:lnTo>
                  <a:lnTo>
                    <a:pt x="504" y="427"/>
                  </a:lnTo>
                  <a:lnTo>
                    <a:pt x="503" y="428"/>
                  </a:lnTo>
                  <a:lnTo>
                    <a:pt x="502" y="427"/>
                  </a:lnTo>
                  <a:lnTo>
                    <a:pt x="500" y="428"/>
                  </a:lnTo>
                  <a:lnTo>
                    <a:pt x="500" y="427"/>
                  </a:lnTo>
                  <a:lnTo>
                    <a:pt x="497" y="427"/>
                  </a:lnTo>
                  <a:lnTo>
                    <a:pt x="496" y="427"/>
                  </a:lnTo>
                  <a:lnTo>
                    <a:pt x="495" y="427"/>
                  </a:lnTo>
                  <a:lnTo>
                    <a:pt x="495" y="428"/>
                  </a:lnTo>
                  <a:lnTo>
                    <a:pt x="492" y="427"/>
                  </a:lnTo>
                  <a:lnTo>
                    <a:pt x="491" y="428"/>
                  </a:lnTo>
                  <a:lnTo>
                    <a:pt x="491" y="429"/>
                  </a:lnTo>
                  <a:lnTo>
                    <a:pt x="490" y="430"/>
                  </a:lnTo>
                  <a:lnTo>
                    <a:pt x="491" y="431"/>
                  </a:lnTo>
                  <a:lnTo>
                    <a:pt x="490" y="431"/>
                  </a:lnTo>
                  <a:lnTo>
                    <a:pt x="489" y="431"/>
                  </a:lnTo>
                  <a:lnTo>
                    <a:pt x="488" y="430"/>
                  </a:lnTo>
                  <a:lnTo>
                    <a:pt x="488" y="433"/>
                  </a:lnTo>
                  <a:lnTo>
                    <a:pt x="486" y="430"/>
                  </a:lnTo>
                  <a:lnTo>
                    <a:pt x="488" y="431"/>
                  </a:lnTo>
                  <a:lnTo>
                    <a:pt x="486" y="433"/>
                  </a:lnTo>
                  <a:lnTo>
                    <a:pt x="485" y="431"/>
                  </a:lnTo>
                  <a:lnTo>
                    <a:pt x="484" y="431"/>
                  </a:lnTo>
                  <a:lnTo>
                    <a:pt x="483" y="431"/>
                  </a:lnTo>
                  <a:lnTo>
                    <a:pt x="482" y="433"/>
                  </a:lnTo>
                  <a:lnTo>
                    <a:pt x="480" y="431"/>
                  </a:lnTo>
                  <a:lnTo>
                    <a:pt x="478" y="431"/>
                  </a:lnTo>
                  <a:lnTo>
                    <a:pt x="474" y="430"/>
                  </a:lnTo>
                  <a:lnTo>
                    <a:pt x="473" y="429"/>
                  </a:lnTo>
                  <a:lnTo>
                    <a:pt x="472" y="429"/>
                  </a:lnTo>
                  <a:lnTo>
                    <a:pt x="471" y="429"/>
                  </a:lnTo>
                  <a:lnTo>
                    <a:pt x="471" y="428"/>
                  </a:lnTo>
                  <a:lnTo>
                    <a:pt x="470" y="427"/>
                  </a:lnTo>
                  <a:lnTo>
                    <a:pt x="468" y="428"/>
                  </a:lnTo>
                  <a:lnTo>
                    <a:pt x="470" y="429"/>
                  </a:lnTo>
                  <a:lnTo>
                    <a:pt x="472" y="429"/>
                  </a:lnTo>
                  <a:lnTo>
                    <a:pt x="473" y="430"/>
                  </a:lnTo>
                  <a:lnTo>
                    <a:pt x="474" y="431"/>
                  </a:lnTo>
                  <a:lnTo>
                    <a:pt x="473" y="433"/>
                  </a:lnTo>
                  <a:lnTo>
                    <a:pt x="473" y="435"/>
                  </a:lnTo>
                  <a:lnTo>
                    <a:pt x="473" y="433"/>
                  </a:lnTo>
                  <a:lnTo>
                    <a:pt x="472" y="435"/>
                  </a:lnTo>
                  <a:lnTo>
                    <a:pt x="471" y="436"/>
                  </a:lnTo>
                  <a:lnTo>
                    <a:pt x="473" y="437"/>
                  </a:lnTo>
                  <a:lnTo>
                    <a:pt x="471" y="439"/>
                  </a:lnTo>
                  <a:lnTo>
                    <a:pt x="470" y="439"/>
                  </a:lnTo>
                  <a:lnTo>
                    <a:pt x="468" y="440"/>
                  </a:lnTo>
                  <a:lnTo>
                    <a:pt x="467" y="440"/>
                  </a:lnTo>
                  <a:lnTo>
                    <a:pt x="466" y="439"/>
                  </a:lnTo>
                  <a:lnTo>
                    <a:pt x="465" y="440"/>
                  </a:lnTo>
                  <a:lnTo>
                    <a:pt x="464" y="440"/>
                  </a:lnTo>
                  <a:lnTo>
                    <a:pt x="462" y="441"/>
                  </a:lnTo>
                  <a:lnTo>
                    <a:pt x="464" y="442"/>
                  </a:lnTo>
                  <a:lnTo>
                    <a:pt x="462" y="443"/>
                  </a:lnTo>
                  <a:lnTo>
                    <a:pt x="460" y="441"/>
                  </a:lnTo>
                  <a:lnTo>
                    <a:pt x="459" y="441"/>
                  </a:lnTo>
                  <a:lnTo>
                    <a:pt x="460" y="443"/>
                  </a:lnTo>
                  <a:lnTo>
                    <a:pt x="460" y="445"/>
                  </a:lnTo>
                  <a:lnTo>
                    <a:pt x="461" y="446"/>
                  </a:lnTo>
                  <a:lnTo>
                    <a:pt x="460" y="447"/>
                  </a:lnTo>
                  <a:lnTo>
                    <a:pt x="461" y="448"/>
                  </a:lnTo>
                  <a:lnTo>
                    <a:pt x="462" y="449"/>
                  </a:lnTo>
                  <a:lnTo>
                    <a:pt x="465" y="449"/>
                  </a:lnTo>
                  <a:lnTo>
                    <a:pt x="466" y="449"/>
                  </a:lnTo>
                  <a:lnTo>
                    <a:pt x="468" y="449"/>
                  </a:lnTo>
                  <a:lnTo>
                    <a:pt x="467" y="448"/>
                  </a:lnTo>
                  <a:lnTo>
                    <a:pt x="468" y="448"/>
                  </a:lnTo>
                  <a:lnTo>
                    <a:pt x="470" y="447"/>
                  </a:lnTo>
                  <a:lnTo>
                    <a:pt x="471" y="447"/>
                  </a:lnTo>
                  <a:lnTo>
                    <a:pt x="470" y="449"/>
                  </a:lnTo>
                  <a:lnTo>
                    <a:pt x="471" y="449"/>
                  </a:lnTo>
                  <a:lnTo>
                    <a:pt x="472" y="451"/>
                  </a:lnTo>
                  <a:lnTo>
                    <a:pt x="472" y="452"/>
                  </a:lnTo>
                  <a:lnTo>
                    <a:pt x="471" y="453"/>
                  </a:lnTo>
                  <a:lnTo>
                    <a:pt x="471" y="455"/>
                  </a:lnTo>
                  <a:lnTo>
                    <a:pt x="473" y="457"/>
                  </a:lnTo>
                  <a:lnTo>
                    <a:pt x="471" y="459"/>
                  </a:lnTo>
                  <a:lnTo>
                    <a:pt x="470" y="459"/>
                  </a:lnTo>
                  <a:lnTo>
                    <a:pt x="470" y="458"/>
                  </a:lnTo>
                  <a:lnTo>
                    <a:pt x="468" y="458"/>
                  </a:lnTo>
                  <a:lnTo>
                    <a:pt x="468" y="459"/>
                  </a:lnTo>
                  <a:lnTo>
                    <a:pt x="468" y="461"/>
                  </a:lnTo>
                  <a:lnTo>
                    <a:pt x="466" y="461"/>
                  </a:lnTo>
                  <a:lnTo>
                    <a:pt x="467" y="463"/>
                  </a:lnTo>
                  <a:lnTo>
                    <a:pt x="470" y="463"/>
                  </a:lnTo>
                  <a:lnTo>
                    <a:pt x="472" y="461"/>
                  </a:lnTo>
                  <a:lnTo>
                    <a:pt x="473" y="461"/>
                  </a:lnTo>
                  <a:lnTo>
                    <a:pt x="473" y="463"/>
                  </a:lnTo>
                  <a:lnTo>
                    <a:pt x="473" y="464"/>
                  </a:lnTo>
                  <a:lnTo>
                    <a:pt x="476" y="466"/>
                  </a:lnTo>
                  <a:lnTo>
                    <a:pt x="476" y="467"/>
                  </a:lnTo>
                  <a:lnTo>
                    <a:pt x="477" y="467"/>
                  </a:lnTo>
                  <a:lnTo>
                    <a:pt x="478" y="467"/>
                  </a:lnTo>
                  <a:lnTo>
                    <a:pt x="478" y="469"/>
                  </a:lnTo>
                  <a:lnTo>
                    <a:pt x="479" y="470"/>
                  </a:lnTo>
                  <a:lnTo>
                    <a:pt x="479" y="471"/>
                  </a:lnTo>
                  <a:lnTo>
                    <a:pt x="478" y="471"/>
                  </a:lnTo>
                  <a:lnTo>
                    <a:pt x="476" y="472"/>
                  </a:lnTo>
                  <a:lnTo>
                    <a:pt x="478" y="472"/>
                  </a:lnTo>
                  <a:lnTo>
                    <a:pt x="477" y="473"/>
                  </a:lnTo>
                  <a:lnTo>
                    <a:pt x="477" y="475"/>
                  </a:lnTo>
                  <a:lnTo>
                    <a:pt x="476" y="476"/>
                  </a:lnTo>
                  <a:lnTo>
                    <a:pt x="473" y="475"/>
                  </a:lnTo>
                  <a:lnTo>
                    <a:pt x="472" y="476"/>
                  </a:lnTo>
                  <a:lnTo>
                    <a:pt x="471" y="473"/>
                  </a:lnTo>
                  <a:lnTo>
                    <a:pt x="470" y="475"/>
                  </a:lnTo>
                  <a:lnTo>
                    <a:pt x="467" y="475"/>
                  </a:lnTo>
                  <a:lnTo>
                    <a:pt x="466" y="475"/>
                  </a:lnTo>
                  <a:lnTo>
                    <a:pt x="466" y="473"/>
                  </a:lnTo>
                  <a:lnTo>
                    <a:pt x="465" y="472"/>
                  </a:lnTo>
                  <a:lnTo>
                    <a:pt x="464" y="472"/>
                  </a:lnTo>
                  <a:lnTo>
                    <a:pt x="461" y="472"/>
                  </a:lnTo>
                  <a:lnTo>
                    <a:pt x="460" y="470"/>
                  </a:lnTo>
                  <a:lnTo>
                    <a:pt x="459" y="469"/>
                  </a:lnTo>
                  <a:lnTo>
                    <a:pt x="456" y="469"/>
                  </a:lnTo>
                  <a:lnTo>
                    <a:pt x="454" y="469"/>
                  </a:lnTo>
                  <a:lnTo>
                    <a:pt x="454" y="467"/>
                  </a:lnTo>
                  <a:lnTo>
                    <a:pt x="457" y="467"/>
                  </a:lnTo>
                  <a:lnTo>
                    <a:pt x="456" y="465"/>
                  </a:lnTo>
                  <a:lnTo>
                    <a:pt x="457" y="464"/>
                  </a:lnTo>
                  <a:lnTo>
                    <a:pt x="459" y="465"/>
                  </a:lnTo>
                  <a:lnTo>
                    <a:pt x="460" y="466"/>
                  </a:lnTo>
                  <a:lnTo>
                    <a:pt x="461" y="469"/>
                  </a:lnTo>
                  <a:lnTo>
                    <a:pt x="464" y="470"/>
                  </a:lnTo>
                  <a:lnTo>
                    <a:pt x="465" y="470"/>
                  </a:lnTo>
                  <a:lnTo>
                    <a:pt x="465" y="469"/>
                  </a:lnTo>
                  <a:lnTo>
                    <a:pt x="466" y="469"/>
                  </a:lnTo>
                  <a:lnTo>
                    <a:pt x="467" y="469"/>
                  </a:lnTo>
                  <a:lnTo>
                    <a:pt x="465" y="466"/>
                  </a:lnTo>
                  <a:lnTo>
                    <a:pt x="465" y="467"/>
                  </a:lnTo>
                  <a:lnTo>
                    <a:pt x="465" y="466"/>
                  </a:lnTo>
                  <a:lnTo>
                    <a:pt x="464" y="465"/>
                  </a:lnTo>
                  <a:lnTo>
                    <a:pt x="464" y="463"/>
                  </a:lnTo>
                  <a:lnTo>
                    <a:pt x="462" y="461"/>
                  </a:lnTo>
                  <a:lnTo>
                    <a:pt x="465" y="460"/>
                  </a:lnTo>
                  <a:lnTo>
                    <a:pt x="462" y="460"/>
                  </a:lnTo>
                  <a:lnTo>
                    <a:pt x="462" y="458"/>
                  </a:lnTo>
                  <a:lnTo>
                    <a:pt x="461" y="458"/>
                  </a:lnTo>
                  <a:lnTo>
                    <a:pt x="460" y="457"/>
                  </a:lnTo>
                  <a:lnTo>
                    <a:pt x="461" y="455"/>
                  </a:lnTo>
                  <a:lnTo>
                    <a:pt x="457" y="455"/>
                  </a:lnTo>
                  <a:lnTo>
                    <a:pt x="457" y="457"/>
                  </a:lnTo>
                  <a:lnTo>
                    <a:pt x="459" y="457"/>
                  </a:lnTo>
                  <a:lnTo>
                    <a:pt x="459" y="458"/>
                  </a:lnTo>
                  <a:lnTo>
                    <a:pt x="460" y="458"/>
                  </a:lnTo>
                  <a:lnTo>
                    <a:pt x="461" y="458"/>
                  </a:lnTo>
                  <a:lnTo>
                    <a:pt x="459" y="460"/>
                  </a:lnTo>
                  <a:lnTo>
                    <a:pt x="456" y="458"/>
                  </a:lnTo>
                  <a:lnTo>
                    <a:pt x="455" y="457"/>
                  </a:lnTo>
                  <a:lnTo>
                    <a:pt x="454" y="457"/>
                  </a:lnTo>
                  <a:lnTo>
                    <a:pt x="454" y="455"/>
                  </a:lnTo>
                  <a:lnTo>
                    <a:pt x="451" y="454"/>
                  </a:lnTo>
                  <a:lnTo>
                    <a:pt x="450" y="453"/>
                  </a:lnTo>
                  <a:lnTo>
                    <a:pt x="449" y="452"/>
                  </a:lnTo>
                  <a:lnTo>
                    <a:pt x="448" y="451"/>
                  </a:lnTo>
                  <a:lnTo>
                    <a:pt x="445" y="449"/>
                  </a:lnTo>
                  <a:lnTo>
                    <a:pt x="445" y="447"/>
                  </a:lnTo>
                  <a:lnTo>
                    <a:pt x="447" y="447"/>
                  </a:lnTo>
                  <a:lnTo>
                    <a:pt x="448" y="447"/>
                  </a:lnTo>
                  <a:lnTo>
                    <a:pt x="448" y="446"/>
                  </a:lnTo>
                  <a:lnTo>
                    <a:pt x="449" y="446"/>
                  </a:lnTo>
                  <a:lnTo>
                    <a:pt x="449" y="445"/>
                  </a:lnTo>
                  <a:lnTo>
                    <a:pt x="448" y="443"/>
                  </a:lnTo>
                  <a:lnTo>
                    <a:pt x="449" y="442"/>
                  </a:lnTo>
                  <a:lnTo>
                    <a:pt x="448" y="440"/>
                  </a:lnTo>
                  <a:lnTo>
                    <a:pt x="448" y="442"/>
                  </a:lnTo>
                  <a:lnTo>
                    <a:pt x="448" y="443"/>
                  </a:lnTo>
                  <a:lnTo>
                    <a:pt x="444" y="443"/>
                  </a:lnTo>
                  <a:lnTo>
                    <a:pt x="443" y="442"/>
                  </a:lnTo>
                  <a:lnTo>
                    <a:pt x="442" y="441"/>
                  </a:lnTo>
                  <a:lnTo>
                    <a:pt x="441" y="441"/>
                  </a:lnTo>
                  <a:lnTo>
                    <a:pt x="439" y="440"/>
                  </a:lnTo>
                  <a:lnTo>
                    <a:pt x="438" y="440"/>
                  </a:lnTo>
                  <a:lnTo>
                    <a:pt x="437" y="440"/>
                  </a:lnTo>
                  <a:lnTo>
                    <a:pt x="436" y="440"/>
                  </a:lnTo>
                  <a:lnTo>
                    <a:pt x="435" y="439"/>
                  </a:lnTo>
                  <a:lnTo>
                    <a:pt x="435" y="437"/>
                  </a:lnTo>
                  <a:lnTo>
                    <a:pt x="435" y="435"/>
                  </a:lnTo>
                  <a:lnTo>
                    <a:pt x="433" y="433"/>
                  </a:lnTo>
                  <a:lnTo>
                    <a:pt x="435" y="430"/>
                  </a:lnTo>
                  <a:lnTo>
                    <a:pt x="436" y="431"/>
                  </a:lnTo>
                  <a:lnTo>
                    <a:pt x="435" y="430"/>
                  </a:lnTo>
                  <a:lnTo>
                    <a:pt x="436" y="431"/>
                  </a:lnTo>
                  <a:lnTo>
                    <a:pt x="437" y="430"/>
                  </a:lnTo>
                  <a:lnTo>
                    <a:pt x="438" y="429"/>
                  </a:lnTo>
                  <a:lnTo>
                    <a:pt x="439" y="429"/>
                  </a:lnTo>
                  <a:lnTo>
                    <a:pt x="438" y="429"/>
                  </a:lnTo>
                  <a:lnTo>
                    <a:pt x="438" y="428"/>
                  </a:lnTo>
                  <a:lnTo>
                    <a:pt x="438" y="427"/>
                  </a:lnTo>
                  <a:lnTo>
                    <a:pt x="439" y="428"/>
                  </a:lnTo>
                  <a:lnTo>
                    <a:pt x="438" y="425"/>
                  </a:lnTo>
                  <a:lnTo>
                    <a:pt x="438" y="424"/>
                  </a:lnTo>
                  <a:lnTo>
                    <a:pt x="441" y="421"/>
                  </a:lnTo>
                  <a:lnTo>
                    <a:pt x="441" y="423"/>
                  </a:lnTo>
                  <a:lnTo>
                    <a:pt x="442" y="423"/>
                  </a:lnTo>
                  <a:lnTo>
                    <a:pt x="442" y="424"/>
                  </a:lnTo>
                  <a:lnTo>
                    <a:pt x="442" y="425"/>
                  </a:lnTo>
                  <a:lnTo>
                    <a:pt x="442" y="427"/>
                  </a:lnTo>
                  <a:lnTo>
                    <a:pt x="443" y="428"/>
                  </a:lnTo>
                  <a:lnTo>
                    <a:pt x="443" y="427"/>
                  </a:lnTo>
                  <a:lnTo>
                    <a:pt x="444" y="429"/>
                  </a:lnTo>
                  <a:lnTo>
                    <a:pt x="442" y="429"/>
                  </a:lnTo>
                  <a:lnTo>
                    <a:pt x="441" y="429"/>
                  </a:lnTo>
                  <a:lnTo>
                    <a:pt x="442" y="430"/>
                  </a:lnTo>
                  <a:lnTo>
                    <a:pt x="442" y="431"/>
                  </a:lnTo>
                  <a:lnTo>
                    <a:pt x="444" y="431"/>
                  </a:lnTo>
                  <a:lnTo>
                    <a:pt x="444" y="430"/>
                  </a:lnTo>
                  <a:lnTo>
                    <a:pt x="445" y="429"/>
                  </a:lnTo>
                  <a:lnTo>
                    <a:pt x="447" y="429"/>
                  </a:lnTo>
                  <a:lnTo>
                    <a:pt x="447" y="431"/>
                  </a:lnTo>
                  <a:lnTo>
                    <a:pt x="448" y="433"/>
                  </a:lnTo>
                  <a:lnTo>
                    <a:pt x="450" y="434"/>
                  </a:lnTo>
                  <a:lnTo>
                    <a:pt x="451" y="431"/>
                  </a:lnTo>
                  <a:lnTo>
                    <a:pt x="451" y="429"/>
                  </a:lnTo>
                  <a:lnTo>
                    <a:pt x="451" y="428"/>
                  </a:lnTo>
                  <a:lnTo>
                    <a:pt x="450" y="428"/>
                  </a:lnTo>
                  <a:lnTo>
                    <a:pt x="451" y="425"/>
                  </a:lnTo>
                  <a:lnTo>
                    <a:pt x="453" y="424"/>
                  </a:lnTo>
                  <a:lnTo>
                    <a:pt x="451" y="422"/>
                  </a:lnTo>
                  <a:lnTo>
                    <a:pt x="450" y="421"/>
                  </a:lnTo>
                  <a:lnTo>
                    <a:pt x="448" y="421"/>
                  </a:lnTo>
                  <a:lnTo>
                    <a:pt x="445" y="421"/>
                  </a:lnTo>
                  <a:lnTo>
                    <a:pt x="442" y="421"/>
                  </a:lnTo>
                  <a:lnTo>
                    <a:pt x="441" y="421"/>
                  </a:lnTo>
                  <a:lnTo>
                    <a:pt x="438" y="422"/>
                  </a:lnTo>
                  <a:lnTo>
                    <a:pt x="436" y="422"/>
                  </a:lnTo>
                  <a:lnTo>
                    <a:pt x="435" y="421"/>
                  </a:lnTo>
                  <a:lnTo>
                    <a:pt x="431" y="418"/>
                  </a:lnTo>
                  <a:lnTo>
                    <a:pt x="429" y="418"/>
                  </a:lnTo>
                  <a:lnTo>
                    <a:pt x="427" y="418"/>
                  </a:lnTo>
                  <a:lnTo>
                    <a:pt x="427" y="419"/>
                  </a:lnTo>
                  <a:lnTo>
                    <a:pt x="429" y="421"/>
                  </a:lnTo>
                  <a:lnTo>
                    <a:pt x="430" y="419"/>
                  </a:lnTo>
                  <a:lnTo>
                    <a:pt x="429" y="421"/>
                  </a:lnTo>
                  <a:lnTo>
                    <a:pt x="429" y="422"/>
                  </a:lnTo>
                  <a:lnTo>
                    <a:pt x="427" y="421"/>
                  </a:lnTo>
                  <a:lnTo>
                    <a:pt x="425" y="422"/>
                  </a:lnTo>
                  <a:lnTo>
                    <a:pt x="424" y="424"/>
                  </a:lnTo>
                  <a:lnTo>
                    <a:pt x="421" y="424"/>
                  </a:lnTo>
                  <a:lnTo>
                    <a:pt x="419" y="424"/>
                  </a:lnTo>
                  <a:lnTo>
                    <a:pt x="418" y="423"/>
                  </a:lnTo>
                  <a:lnTo>
                    <a:pt x="417" y="422"/>
                  </a:lnTo>
                  <a:lnTo>
                    <a:pt x="415" y="422"/>
                  </a:lnTo>
                  <a:lnTo>
                    <a:pt x="414" y="422"/>
                  </a:lnTo>
                  <a:lnTo>
                    <a:pt x="413" y="423"/>
                  </a:lnTo>
                  <a:lnTo>
                    <a:pt x="412" y="423"/>
                  </a:lnTo>
                  <a:lnTo>
                    <a:pt x="411" y="424"/>
                  </a:lnTo>
                  <a:lnTo>
                    <a:pt x="411" y="425"/>
                  </a:lnTo>
                  <a:lnTo>
                    <a:pt x="408" y="425"/>
                  </a:lnTo>
                  <a:lnTo>
                    <a:pt x="407" y="424"/>
                  </a:lnTo>
                  <a:lnTo>
                    <a:pt x="406" y="423"/>
                  </a:lnTo>
                  <a:lnTo>
                    <a:pt x="403" y="425"/>
                  </a:lnTo>
                  <a:lnTo>
                    <a:pt x="402" y="424"/>
                  </a:lnTo>
                  <a:lnTo>
                    <a:pt x="401" y="419"/>
                  </a:lnTo>
                  <a:lnTo>
                    <a:pt x="400" y="418"/>
                  </a:lnTo>
                  <a:lnTo>
                    <a:pt x="397" y="419"/>
                  </a:lnTo>
                  <a:lnTo>
                    <a:pt x="396" y="419"/>
                  </a:lnTo>
                  <a:lnTo>
                    <a:pt x="389" y="421"/>
                  </a:lnTo>
                  <a:lnTo>
                    <a:pt x="386" y="421"/>
                  </a:lnTo>
                  <a:lnTo>
                    <a:pt x="385" y="421"/>
                  </a:lnTo>
                  <a:lnTo>
                    <a:pt x="384" y="422"/>
                  </a:lnTo>
                  <a:lnTo>
                    <a:pt x="380" y="423"/>
                  </a:lnTo>
                  <a:lnTo>
                    <a:pt x="377" y="423"/>
                  </a:lnTo>
                  <a:lnTo>
                    <a:pt x="374" y="423"/>
                  </a:lnTo>
                  <a:lnTo>
                    <a:pt x="374" y="424"/>
                  </a:lnTo>
                  <a:lnTo>
                    <a:pt x="370" y="424"/>
                  </a:lnTo>
                  <a:lnTo>
                    <a:pt x="368" y="423"/>
                  </a:lnTo>
                  <a:lnTo>
                    <a:pt x="364" y="424"/>
                  </a:lnTo>
                  <a:lnTo>
                    <a:pt x="358" y="424"/>
                  </a:lnTo>
                  <a:lnTo>
                    <a:pt x="355" y="425"/>
                  </a:lnTo>
                  <a:lnTo>
                    <a:pt x="355" y="428"/>
                  </a:lnTo>
                  <a:lnTo>
                    <a:pt x="358" y="428"/>
                  </a:lnTo>
                  <a:lnTo>
                    <a:pt x="358" y="430"/>
                  </a:lnTo>
                  <a:lnTo>
                    <a:pt x="359" y="430"/>
                  </a:lnTo>
                  <a:lnTo>
                    <a:pt x="361" y="430"/>
                  </a:lnTo>
                  <a:lnTo>
                    <a:pt x="362" y="430"/>
                  </a:lnTo>
                  <a:lnTo>
                    <a:pt x="364" y="429"/>
                  </a:lnTo>
                  <a:lnTo>
                    <a:pt x="364" y="430"/>
                  </a:lnTo>
                  <a:lnTo>
                    <a:pt x="365" y="429"/>
                  </a:lnTo>
                  <a:lnTo>
                    <a:pt x="366" y="431"/>
                  </a:lnTo>
                  <a:lnTo>
                    <a:pt x="366" y="430"/>
                  </a:lnTo>
                  <a:lnTo>
                    <a:pt x="367" y="431"/>
                  </a:lnTo>
                  <a:lnTo>
                    <a:pt x="367" y="433"/>
                  </a:lnTo>
                  <a:lnTo>
                    <a:pt x="370" y="434"/>
                  </a:lnTo>
                  <a:lnTo>
                    <a:pt x="372" y="435"/>
                  </a:lnTo>
                  <a:lnTo>
                    <a:pt x="372" y="436"/>
                  </a:lnTo>
                  <a:lnTo>
                    <a:pt x="371" y="436"/>
                  </a:lnTo>
                  <a:lnTo>
                    <a:pt x="371" y="439"/>
                  </a:lnTo>
                  <a:lnTo>
                    <a:pt x="371" y="440"/>
                  </a:lnTo>
                  <a:lnTo>
                    <a:pt x="371" y="442"/>
                  </a:lnTo>
                  <a:lnTo>
                    <a:pt x="371" y="443"/>
                  </a:lnTo>
                  <a:lnTo>
                    <a:pt x="370" y="445"/>
                  </a:lnTo>
                  <a:lnTo>
                    <a:pt x="367" y="446"/>
                  </a:lnTo>
                  <a:lnTo>
                    <a:pt x="367" y="447"/>
                  </a:lnTo>
                  <a:lnTo>
                    <a:pt x="366" y="447"/>
                  </a:lnTo>
                  <a:lnTo>
                    <a:pt x="365" y="447"/>
                  </a:lnTo>
                  <a:lnTo>
                    <a:pt x="364" y="447"/>
                  </a:lnTo>
                  <a:lnTo>
                    <a:pt x="361" y="447"/>
                  </a:lnTo>
                  <a:lnTo>
                    <a:pt x="362" y="448"/>
                  </a:lnTo>
                  <a:lnTo>
                    <a:pt x="365" y="449"/>
                  </a:lnTo>
                  <a:lnTo>
                    <a:pt x="368" y="449"/>
                  </a:lnTo>
                  <a:lnTo>
                    <a:pt x="378" y="449"/>
                  </a:lnTo>
                  <a:lnTo>
                    <a:pt x="379" y="449"/>
                  </a:lnTo>
                  <a:lnTo>
                    <a:pt x="379" y="451"/>
                  </a:lnTo>
                  <a:lnTo>
                    <a:pt x="383" y="451"/>
                  </a:lnTo>
                  <a:lnTo>
                    <a:pt x="388" y="452"/>
                  </a:lnTo>
                  <a:lnTo>
                    <a:pt x="389" y="452"/>
                  </a:lnTo>
                  <a:lnTo>
                    <a:pt x="391" y="452"/>
                  </a:lnTo>
                  <a:lnTo>
                    <a:pt x="392" y="452"/>
                  </a:lnTo>
                  <a:lnTo>
                    <a:pt x="392" y="449"/>
                  </a:lnTo>
                  <a:lnTo>
                    <a:pt x="392" y="448"/>
                  </a:lnTo>
                  <a:lnTo>
                    <a:pt x="391" y="449"/>
                  </a:lnTo>
                  <a:lnTo>
                    <a:pt x="390" y="449"/>
                  </a:lnTo>
                  <a:lnTo>
                    <a:pt x="390" y="448"/>
                  </a:lnTo>
                  <a:lnTo>
                    <a:pt x="390" y="447"/>
                  </a:lnTo>
                  <a:lnTo>
                    <a:pt x="391" y="446"/>
                  </a:lnTo>
                  <a:lnTo>
                    <a:pt x="396" y="447"/>
                  </a:lnTo>
                  <a:lnTo>
                    <a:pt x="396" y="446"/>
                  </a:lnTo>
                  <a:lnTo>
                    <a:pt x="398" y="446"/>
                  </a:lnTo>
                  <a:lnTo>
                    <a:pt x="397" y="447"/>
                  </a:lnTo>
                  <a:lnTo>
                    <a:pt x="400" y="448"/>
                  </a:lnTo>
                  <a:lnTo>
                    <a:pt x="401" y="446"/>
                  </a:lnTo>
                  <a:lnTo>
                    <a:pt x="405" y="445"/>
                  </a:lnTo>
                  <a:lnTo>
                    <a:pt x="403" y="443"/>
                  </a:lnTo>
                  <a:lnTo>
                    <a:pt x="405" y="443"/>
                  </a:lnTo>
                  <a:lnTo>
                    <a:pt x="407" y="442"/>
                  </a:lnTo>
                  <a:lnTo>
                    <a:pt x="408" y="442"/>
                  </a:lnTo>
                  <a:lnTo>
                    <a:pt x="409" y="441"/>
                  </a:lnTo>
                  <a:lnTo>
                    <a:pt x="413" y="441"/>
                  </a:lnTo>
                  <a:lnTo>
                    <a:pt x="414" y="442"/>
                  </a:lnTo>
                  <a:lnTo>
                    <a:pt x="415" y="442"/>
                  </a:lnTo>
                  <a:lnTo>
                    <a:pt x="417" y="443"/>
                  </a:lnTo>
                  <a:lnTo>
                    <a:pt x="418" y="445"/>
                  </a:lnTo>
                  <a:lnTo>
                    <a:pt x="419" y="445"/>
                  </a:lnTo>
                  <a:lnTo>
                    <a:pt x="419" y="447"/>
                  </a:lnTo>
                  <a:lnTo>
                    <a:pt x="421" y="448"/>
                  </a:lnTo>
                  <a:lnTo>
                    <a:pt x="421" y="449"/>
                  </a:lnTo>
                  <a:lnTo>
                    <a:pt x="423" y="448"/>
                  </a:lnTo>
                  <a:lnTo>
                    <a:pt x="423" y="451"/>
                  </a:lnTo>
                  <a:lnTo>
                    <a:pt x="424" y="451"/>
                  </a:lnTo>
                  <a:lnTo>
                    <a:pt x="426" y="452"/>
                  </a:lnTo>
                  <a:lnTo>
                    <a:pt x="427" y="454"/>
                  </a:lnTo>
                  <a:lnTo>
                    <a:pt x="429" y="453"/>
                  </a:lnTo>
                  <a:lnTo>
                    <a:pt x="430" y="452"/>
                  </a:lnTo>
                  <a:lnTo>
                    <a:pt x="432" y="452"/>
                  </a:lnTo>
                  <a:lnTo>
                    <a:pt x="432" y="453"/>
                  </a:lnTo>
                  <a:lnTo>
                    <a:pt x="433" y="453"/>
                  </a:lnTo>
                  <a:lnTo>
                    <a:pt x="436" y="453"/>
                  </a:lnTo>
                  <a:lnTo>
                    <a:pt x="437" y="454"/>
                  </a:lnTo>
                  <a:lnTo>
                    <a:pt x="437" y="455"/>
                  </a:lnTo>
                  <a:lnTo>
                    <a:pt x="437" y="458"/>
                  </a:lnTo>
                  <a:lnTo>
                    <a:pt x="439" y="458"/>
                  </a:lnTo>
                  <a:lnTo>
                    <a:pt x="439" y="459"/>
                  </a:lnTo>
                  <a:lnTo>
                    <a:pt x="438" y="461"/>
                  </a:lnTo>
                  <a:lnTo>
                    <a:pt x="438" y="463"/>
                  </a:lnTo>
                  <a:lnTo>
                    <a:pt x="437" y="463"/>
                  </a:lnTo>
                  <a:lnTo>
                    <a:pt x="439" y="464"/>
                  </a:lnTo>
                  <a:lnTo>
                    <a:pt x="442" y="466"/>
                  </a:lnTo>
                  <a:lnTo>
                    <a:pt x="443" y="466"/>
                  </a:lnTo>
                  <a:lnTo>
                    <a:pt x="444" y="466"/>
                  </a:lnTo>
                  <a:lnTo>
                    <a:pt x="445" y="465"/>
                  </a:lnTo>
                  <a:lnTo>
                    <a:pt x="447" y="466"/>
                  </a:lnTo>
                  <a:lnTo>
                    <a:pt x="447" y="467"/>
                  </a:lnTo>
                  <a:lnTo>
                    <a:pt x="449" y="470"/>
                  </a:lnTo>
                  <a:lnTo>
                    <a:pt x="447" y="471"/>
                  </a:lnTo>
                  <a:lnTo>
                    <a:pt x="447" y="472"/>
                  </a:lnTo>
                  <a:lnTo>
                    <a:pt x="447" y="473"/>
                  </a:lnTo>
                  <a:lnTo>
                    <a:pt x="448" y="472"/>
                  </a:lnTo>
                  <a:lnTo>
                    <a:pt x="449" y="472"/>
                  </a:lnTo>
                  <a:lnTo>
                    <a:pt x="450" y="475"/>
                  </a:lnTo>
                  <a:lnTo>
                    <a:pt x="450" y="476"/>
                  </a:lnTo>
                  <a:lnTo>
                    <a:pt x="450" y="478"/>
                  </a:lnTo>
                  <a:lnTo>
                    <a:pt x="451" y="480"/>
                  </a:lnTo>
                  <a:lnTo>
                    <a:pt x="453" y="481"/>
                  </a:lnTo>
                  <a:lnTo>
                    <a:pt x="453" y="482"/>
                  </a:lnTo>
                  <a:lnTo>
                    <a:pt x="455" y="483"/>
                  </a:lnTo>
                  <a:lnTo>
                    <a:pt x="453" y="482"/>
                  </a:lnTo>
                  <a:lnTo>
                    <a:pt x="453" y="483"/>
                  </a:lnTo>
                  <a:lnTo>
                    <a:pt x="453" y="484"/>
                  </a:lnTo>
                  <a:lnTo>
                    <a:pt x="450" y="482"/>
                  </a:lnTo>
                  <a:lnTo>
                    <a:pt x="450" y="484"/>
                  </a:lnTo>
                  <a:lnTo>
                    <a:pt x="451" y="486"/>
                  </a:lnTo>
                  <a:lnTo>
                    <a:pt x="453" y="488"/>
                  </a:lnTo>
                  <a:lnTo>
                    <a:pt x="454" y="488"/>
                  </a:lnTo>
                  <a:lnTo>
                    <a:pt x="455" y="489"/>
                  </a:lnTo>
                  <a:lnTo>
                    <a:pt x="456" y="492"/>
                  </a:lnTo>
                  <a:lnTo>
                    <a:pt x="459" y="494"/>
                  </a:lnTo>
                  <a:lnTo>
                    <a:pt x="460" y="494"/>
                  </a:lnTo>
                  <a:lnTo>
                    <a:pt x="460" y="496"/>
                  </a:lnTo>
                  <a:lnTo>
                    <a:pt x="459" y="498"/>
                  </a:lnTo>
                  <a:lnTo>
                    <a:pt x="459" y="501"/>
                  </a:lnTo>
                  <a:lnTo>
                    <a:pt x="456" y="501"/>
                  </a:lnTo>
                  <a:lnTo>
                    <a:pt x="454" y="501"/>
                  </a:lnTo>
                  <a:lnTo>
                    <a:pt x="453" y="501"/>
                  </a:lnTo>
                  <a:lnTo>
                    <a:pt x="451" y="500"/>
                  </a:lnTo>
                  <a:lnTo>
                    <a:pt x="451" y="499"/>
                  </a:lnTo>
                  <a:lnTo>
                    <a:pt x="450" y="499"/>
                  </a:lnTo>
                  <a:lnTo>
                    <a:pt x="449" y="499"/>
                  </a:lnTo>
                  <a:lnTo>
                    <a:pt x="447" y="496"/>
                  </a:lnTo>
                  <a:lnTo>
                    <a:pt x="445" y="496"/>
                  </a:lnTo>
                  <a:lnTo>
                    <a:pt x="444" y="496"/>
                  </a:lnTo>
                  <a:lnTo>
                    <a:pt x="443" y="496"/>
                  </a:lnTo>
                  <a:lnTo>
                    <a:pt x="443" y="495"/>
                  </a:lnTo>
                  <a:lnTo>
                    <a:pt x="442" y="494"/>
                  </a:lnTo>
                  <a:lnTo>
                    <a:pt x="442" y="492"/>
                  </a:lnTo>
                  <a:lnTo>
                    <a:pt x="441" y="492"/>
                  </a:lnTo>
                  <a:lnTo>
                    <a:pt x="439" y="493"/>
                  </a:lnTo>
                  <a:lnTo>
                    <a:pt x="442" y="494"/>
                  </a:lnTo>
                  <a:lnTo>
                    <a:pt x="442" y="495"/>
                  </a:lnTo>
                  <a:lnTo>
                    <a:pt x="438" y="494"/>
                  </a:lnTo>
                  <a:lnTo>
                    <a:pt x="439" y="495"/>
                  </a:lnTo>
                  <a:lnTo>
                    <a:pt x="436" y="496"/>
                  </a:lnTo>
                  <a:lnTo>
                    <a:pt x="438" y="495"/>
                  </a:lnTo>
                  <a:lnTo>
                    <a:pt x="436" y="492"/>
                  </a:lnTo>
                  <a:lnTo>
                    <a:pt x="436" y="493"/>
                  </a:lnTo>
                  <a:lnTo>
                    <a:pt x="435" y="492"/>
                  </a:lnTo>
                  <a:lnTo>
                    <a:pt x="435" y="493"/>
                  </a:lnTo>
                  <a:lnTo>
                    <a:pt x="432" y="492"/>
                  </a:lnTo>
                  <a:lnTo>
                    <a:pt x="433" y="492"/>
                  </a:lnTo>
                  <a:lnTo>
                    <a:pt x="432" y="490"/>
                  </a:lnTo>
                  <a:lnTo>
                    <a:pt x="431" y="490"/>
                  </a:lnTo>
                  <a:lnTo>
                    <a:pt x="429" y="489"/>
                  </a:lnTo>
                  <a:lnTo>
                    <a:pt x="429" y="490"/>
                  </a:lnTo>
                  <a:lnTo>
                    <a:pt x="426" y="489"/>
                  </a:lnTo>
                  <a:lnTo>
                    <a:pt x="425" y="489"/>
                  </a:lnTo>
                  <a:lnTo>
                    <a:pt x="426" y="489"/>
                  </a:lnTo>
                  <a:lnTo>
                    <a:pt x="426" y="487"/>
                  </a:lnTo>
                  <a:lnTo>
                    <a:pt x="425" y="488"/>
                  </a:lnTo>
                  <a:lnTo>
                    <a:pt x="424" y="489"/>
                  </a:lnTo>
                  <a:lnTo>
                    <a:pt x="423" y="489"/>
                  </a:lnTo>
                  <a:lnTo>
                    <a:pt x="424" y="490"/>
                  </a:lnTo>
                  <a:lnTo>
                    <a:pt x="425" y="493"/>
                  </a:lnTo>
                  <a:lnTo>
                    <a:pt x="426" y="494"/>
                  </a:lnTo>
                  <a:lnTo>
                    <a:pt x="424" y="493"/>
                  </a:lnTo>
                  <a:lnTo>
                    <a:pt x="423" y="494"/>
                  </a:lnTo>
                  <a:lnTo>
                    <a:pt x="421" y="493"/>
                  </a:lnTo>
                  <a:lnTo>
                    <a:pt x="419" y="494"/>
                  </a:lnTo>
                  <a:lnTo>
                    <a:pt x="418" y="496"/>
                  </a:lnTo>
                  <a:lnTo>
                    <a:pt x="415" y="496"/>
                  </a:lnTo>
                  <a:lnTo>
                    <a:pt x="414" y="498"/>
                  </a:lnTo>
                  <a:lnTo>
                    <a:pt x="413" y="498"/>
                  </a:lnTo>
                  <a:lnTo>
                    <a:pt x="413" y="496"/>
                  </a:lnTo>
                  <a:lnTo>
                    <a:pt x="413" y="498"/>
                  </a:lnTo>
                  <a:lnTo>
                    <a:pt x="413" y="499"/>
                  </a:lnTo>
                  <a:lnTo>
                    <a:pt x="414" y="499"/>
                  </a:lnTo>
                  <a:lnTo>
                    <a:pt x="417" y="500"/>
                  </a:lnTo>
                  <a:lnTo>
                    <a:pt x="415" y="501"/>
                  </a:lnTo>
                  <a:lnTo>
                    <a:pt x="413" y="500"/>
                  </a:lnTo>
                  <a:lnTo>
                    <a:pt x="412" y="501"/>
                  </a:lnTo>
                  <a:lnTo>
                    <a:pt x="411" y="501"/>
                  </a:lnTo>
                  <a:lnTo>
                    <a:pt x="409" y="501"/>
                  </a:lnTo>
                  <a:lnTo>
                    <a:pt x="408" y="500"/>
                  </a:lnTo>
                  <a:lnTo>
                    <a:pt x="406" y="501"/>
                  </a:lnTo>
                  <a:lnTo>
                    <a:pt x="405" y="500"/>
                  </a:lnTo>
                  <a:lnTo>
                    <a:pt x="402" y="499"/>
                  </a:lnTo>
                  <a:lnTo>
                    <a:pt x="400" y="500"/>
                  </a:lnTo>
                  <a:lnTo>
                    <a:pt x="401" y="502"/>
                  </a:lnTo>
                  <a:lnTo>
                    <a:pt x="401" y="504"/>
                  </a:lnTo>
                  <a:lnTo>
                    <a:pt x="398" y="504"/>
                  </a:lnTo>
                  <a:lnTo>
                    <a:pt x="397" y="502"/>
                  </a:lnTo>
                  <a:lnTo>
                    <a:pt x="396" y="505"/>
                  </a:lnTo>
                  <a:lnTo>
                    <a:pt x="396" y="504"/>
                  </a:lnTo>
                  <a:lnTo>
                    <a:pt x="395" y="504"/>
                  </a:lnTo>
                  <a:lnTo>
                    <a:pt x="394" y="504"/>
                  </a:lnTo>
                  <a:lnTo>
                    <a:pt x="394" y="505"/>
                  </a:lnTo>
                  <a:lnTo>
                    <a:pt x="392" y="502"/>
                  </a:lnTo>
                  <a:lnTo>
                    <a:pt x="392" y="501"/>
                  </a:lnTo>
                  <a:lnTo>
                    <a:pt x="392" y="499"/>
                  </a:lnTo>
                  <a:lnTo>
                    <a:pt x="395" y="500"/>
                  </a:lnTo>
                  <a:lnTo>
                    <a:pt x="395" y="498"/>
                  </a:lnTo>
                  <a:lnTo>
                    <a:pt x="395" y="496"/>
                  </a:lnTo>
                  <a:lnTo>
                    <a:pt x="394" y="498"/>
                  </a:lnTo>
                  <a:lnTo>
                    <a:pt x="394" y="499"/>
                  </a:lnTo>
                  <a:lnTo>
                    <a:pt x="391" y="498"/>
                  </a:lnTo>
                  <a:lnTo>
                    <a:pt x="390" y="495"/>
                  </a:lnTo>
                  <a:lnTo>
                    <a:pt x="389" y="495"/>
                  </a:lnTo>
                  <a:lnTo>
                    <a:pt x="388" y="493"/>
                  </a:lnTo>
                  <a:lnTo>
                    <a:pt x="389" y="492"/>
                  </a:lnTo>
                  <a:lnTo>
                    <a:pt x="390" y="493"/>
                  </a:lnTo>
                  <a:lnTo>
                    <a:pt x="390" y="492"/>
                  </a:lnTo>
                  <a:lnTo>
                    <a:pt x="391" y="492"/>
                  </a:lnTo>
                  <a:lnTo>
                    <a:pt x="392" y="492"/>
                  </a:lnTo>
                  <a:lnTo>
                    <a:pt x="396" y="493"/>
                  </a:lnTo>
                  <a:lnTo>
                    <a:pt x="395" y="490"/>
                  </a:lnTo>
                  <a:lnTo>
                    <a:pt x="396" y="490"/>
                  </a:lnTo>
                  <a:lnTo>
                    <a:pt x="396" y="489"/>
                  </a:lnTo>
                  <a:lnTo>
                    <a:pt x="397" y="488"/>
                  </a:lnTo>
                  <a:lnTo>
                    <a:pt x="398" y="489"/>
                  </a:lnTo>
                  <a:lnTo>
                    <a:pt x="398" y="487"/>
                  </a:lnTo>
                  <a:lnTo>
                    <a:pt x="397" y="486"/>
                  </a:lnTo>
                  <a:lnTo>
                    <a:pt x="398" y="484"/>
                  </a:lnTo>
                  <a:lnTo>
                    <a:pt x="398" y="483"/>
                  </a:lnTo>
                  <a:lnTo>
                    <a:pt x="398" y="482"/>
                  </a:lnTo>
                  <a:lnTo>
                    <a:pt x="400" y="480"/>
                  </a:lnTo>
                  <a:lnTo>
                    <a:pt x="402" y="477"/>
                  </a:lnTo>
                  <a:lnTo>
                    <a:pt x="401" y="477"/>
                  </a:lnTo>
                  <a:lnTo>
                    <a:pt x="400" y="478"/>
                  </a:lnTo>
                  <a:lnTo>
                    <a:pt x="398" y="476"/>
                  </a:lnTo>
                  <a:lnTo>
                    <a:pt x="397" y="476"/>
                  </a:lnTo>
                  <a:lnTo>
                    <a:pt x="394" y="475"/>
                  </a:lnTo>
                  <a:lnTo>
                    <a:pt x="395" y="473"/>
                  </a:lnTo>
                  <a:lnTo>
                    <a:pt x="395" y="472"/>
                  </a:lnTo>
                  <a:lnTo>
                    <a:pt x="396" y="473"/>
                  </a:lnTo>
                  <a:lnTo>
                    <a:pt x="397" y="471"/>
                  </a:lnTo>
                  <a:lnTo>
                    <a:pt x="397" y="472"/>
                  </a:lnTo>
                  <a:lnTo>
                    <a:pt x="396" y="470"/>
                  </a:lnTo>
                  <a:lnTo>
                    <a:pt x="396" y="469"/>
                  </a:lnTo>
                  <a:lnTo>
                    <a:pt x="397" y="469"/>
                  </a:lnTo>
                  <a:lnTo>
                    <a:pt x="397" y="467"/>
                  </a:lnTo>
                  <a:lnTo>
                    <a:pt x="397" y="466"/>
                  </a:lnTo>
                  <a:lnTo>
                    <a:pt x="398" y="465"/>
                  </a:lnTo>
                  <a:lnTo>
                    <a:pt x="400" y="465"/>
                  </a:lnTo>
                  <a:lnTo>
                    <a:pt x="398" y="465"/>
                  </a:lnTo>
                  <a:lnTo>
                    <a:pt x="397" y="464"/>
                  </a:lnTo>
                  <a:lnTo>
                    <a:pt x="397" y="463"/>
                  </a:lnTo>
                  <a:lnTo>
                    <a:pt x="395" y="459"/>
                  </a:lnTo>
                  <a:lnTo>
                    <a:pt x="397" y="458"/>
                  </a:lnTo>
                  <a:lnTo>
                    <a:pt x="395" y="457"/>
                  </a:lnTo>
                  <a:lnTo>
                    <a:pt x="394" y="458"/>
                  </a:lnTo>
                  <a:lnTo>
                    <a:pt x="392" y="459"/>
                  </a:lnTo>
                  <a:lnTo>
                    <a:pt x="392" y="458"/>
                  </a:lnTo>
                  <a:lnTo>
                    <a:pt x="391" y="458"/>
                  </a:lnTo>
                  <a:lnTo>
                    <a:pt x="391" y="455"/>
                  </a:lnTo>
                  <a:lnTo>
                    <a:pt x="389" y="455"/>
                  </a:lnTo>
                  <a:lnTo>
                    <a:pt x="379" y="453"/>
                  </a:lnTo>
                  <a:lnTo>
                    <a:pt x="377" y="453"/>
                  </a:lnTo>
                  <a:lnTo>
                    <a:pt x="376" y="453"/>
                  </a:lnTo>
                  <a:lnTo>
                    <a:pt x="372" y="453"/>
                  </a:lnTo>
                  <a:lnTo>
                    <a:pt x="370" y="454"/>
                  </a:lnTo>
                  <a:lnTo>
                    <a:pt x="371" y="455"/>
                  </a:lnTo>
                  <a:lnTo>
                    <a:pt x="370" y="455"/>
                  </a:lnTo>
                  <a:lnTo>
                    <a:pt x="368" y="455"/>
                  </a:lnTo>
                  <a:lnTo>
                    <a:pt x="366" y="455"/>
                  </a:lnTo>
                  <a:lnTo>
                    <a:pt x="365" y="455"/>
                  </a:lnTo>
                  <a:lnTo>
                    <a:pt x="364" y="455"/>
                  </a:lnTo>
                  <a:lnTo>
                    <a:pt x="365" y="457"/>
                  </a:lnTo>
                  <a:lnTo>
                    <a:pt x="362" y="458"/>
                  </a:lnTo>
                  <a:lnTo>
                    <a:pt x="360" y="458"/>
                  </a:lnTo>
                  <a:lnTo>
                    <a:pt x="358" y="458"/>
                  </a:lnTo>
                  <a:lnTo>
                    <a:pt x="356" y="460"/>
                  </a:lnTo>
                  <a:lnTo>
                    <a:pt x="355" y="460"/>
                  </a:lnTo>
                  <a:lnTo>
                    <a:pt x="354" y="464"/>
                  </a:lnTo>
                  <a:lnTo>
                    <a:pt x="350" y="464"/>
                  </a:lnTo>
                  <a:lnTo>
                    <a:pt x="349" y="465"/>
                  </a:lnTo>
                  <a:lnTo>
                    <a:pt x="349" y="464"/>
                  </a:lnTo>
                  <a:lnTo>
                    <a:pt x="348" y="463"/>
                  </a:lnTo>
                  <a:lnTo>
                    <a:pt x="347" y="461"/>
                  </a:lnTo>
                  <a:lnTo>
                    <a:pt x="344" y="460"/>
                  </a:lnTo>
                  <a:lnTo>
                    <a:pt x="341" y="460"/>
                  </a:lnTo>
                  <a:lnTo>
                    <a:pt x="338" y="461"/>
                  </a:lnTo>
                  <a:lnTo>
                    <a:pt x="336" y="463"/>
                  </a:lnTo>
                  <a:lnTo>
                    <a:pt x="333" y="464"/>
                  </a:lnTo>
                  <a:lnTo>
                    <a:pt x="337" y="465"/>
                  </a:lnTo>
                  <a:lnTo>
                    <a:pt x="338" y="463"/>
                  </a:lnTo>
                  <a:lnTo>
                    <a:pt x="341" y="464"/>
                  </a:lnTo>
                  <a:lnTo>
                    <a:pt x="342" y="465"/>
                  </a:lnTo>
                  <a:lnTo>
                    <a:pt x="341" y="466"/>
                  </a:lnTo>
                  <a:lnTo>
                    <a:pt x="340" y="467"/>
                  </a:lnTo>
                  <a:lnTo>
                    <a:pt x="341" y="469"/>
                  </a:lnTo>
                  <a:lnTo>
                    <a:pt x="341" y="471"/>
                  </a:lnTo>
                  <a:lnTo>
                    <a:pt x="341" y="472"/>
                  </a:lnTo>
                  <a:lnTo>
                    <a:pt x="340" y="473"/>
                  </a:lnTo>
                  <a:lnTo>
                    <a:pt x="341" y="473"/>
                  </a:lnTo>
                  <a:lnTo>
                    <a:pt x="342" y="473"/>
                  </a:lnTo>
                  <a:lnTo>
                    <a:pt x="342" y="476"/>
                  </a:lnTo>
                  <a:lnTo>
                    <a:pt x="342" y="477"/>
                  </a:lnTo>
                  <a:lnTo>
                    <a:pt x="340" y="477"/>
                  </a:lnTo>
                  <a:lnTo>
                    <a:pt x="338" y="478"/>
                  </a:lnTo>
                  <a:lnTo>
                    <a:pt x="341" y="481"/>
                  </a:lnTo>
                  <a:lnTo>
                    <a:pt x="338" y="482"/>
                  </a:lnTo>
                  <a:lnTo>
                    <a:pt x="337" y="482"/>
                  </a:lnTo>
                  <a:lnTo>
                    <a:pt x="336" y="481"/>
                  </a:lnTo>
                  <a:lnTo>
                    <a:pt x="336" y="482"/>
                  </a:lnTo>
                  <a:lnTo>
                    <a:pt x="335" y="483"/>
                  </a:lnTo>
                  <a:lnTo>
                    <a:pt x="337" y="483"/>
                  </a:lnTo>
                  <a:lnTo>
                    <a:pt x="340" y="483"/>
                  </a:lnTo>
                  <a:lnTo>
                    <a:pt x="340" y="484"/>
                  </a:lnTo>
                  <a:lnTo>
                    <a:pt x="338" y="484"/>
                  </a:lnTo>
                  <a:lnTo>
                    <a:pt x="336" y="486"/>
                  </a:lnTo>
                  <a:lnTo>
                    <a:pt x="336" y="487"/>
                  </a:lnTo>
                  <a:lnTo>
                    <a:pt x="335" y="488"/>
                  </a:lnTo>
                  <a:lnTo>
                    <a:pt x="336" y="488"/>
                  </a:lnTo>
                  <a:lnTo>
                    <a:pt x="336" y="489"/>
                  </a:lnTo>
                  <a:lnTo>
                    <a:pt x="336" y="490"/>
                  </a:lnTo>
                  <a:lnTo>
                    <a:pt x="335" y="490"/>
                  </a:lnTo>
                  <a:lnTo>
                    <a:pt x="332" y="490"/>
                  </a:lnTo>
                  <a:lnTo>
                    <a:pt x="332" y="487"/>
                  </a:lnTo>
                  <a:lnTo>
                    <a:pt x="331" y="488"/>
                  </a:lnTo>
                  <a:lnTo>
                    <a:pt x="329" y="489"/>
                  </a:lnTo>
                  <a:lnTo>
                    <a:pt x="329" y="488"/>
                  </a:lnTo>
                  <a:lnTo>
                    <a:pt x="329" y="487"/>
                  </a:lnTo>
                  <a:lnTo>
                    <a:pt x="326" y="486"/>
                  </a:lnTo>
                  <a:lnTo>
                    <a:pt x="329" y="486"/>
                  </a:lnTo>
                  <a:lnTo>
                    <a:pt x="331" y="487"/>
                  </a:lnTo>
                  <a:lnTo>
                    <a:pt x="330" y="486"/>
                  </a:lnTo>
                  <a:lnTo>
                    <a:pt x="330" y="483"/>
                  </a:lnTo>
                  <a:lnTo>
                    <a:pt x="329" y="484"/>
                  </a:lnTo>
                  <a:lnTo>
                    <a:pt x="329" y="482"/>
                  </a:lnTo>
                  <a:lnTo>
                    <a:pt x="329" y="481"/>
                  </a:lnTo>
                  <a:lnTo>
                    <a:pt x="330" y="480"/>
                  </a:lnTo>
                  <a:lnTo>
                    <a:pt x="327" y="482"/>
                  </a:lnTo>
                  <a:lnTo>
                    <a:pt x="325" y="483"/>
                  </a:lnTo>
                  <a:lnTo>
                    <a:pt x="324" y="484"/>
                  </a:lnTo>
                  <a:lnTo>
                    <a:pt x="321" y="487"/>
                  </a:lnTo>
                  <a:lnTo>
                    <a:pt x="318" y="492"/>
                  </a:lnTo>
                  <a:lnTo>
                    <a:pt x="317" y="496"/>
                  </a:lnTo>
                  <a:lnTo>
                    <a:pt x="320" y="500"/>
                  </a:lnTo>
                  <a:lnTo>
                    <a:pt x="326" y="499"/>
                  </a:lnTo>
                  <a:lnTo>
                    <a:pt x="330" y="498"/>
                  </a:lnTo>
                  <a:lnTo>
                    <a:pt x="332" y="496"/>
                  </a:lnTo>
                  <a:lnTo>
                    <a:pt x="336" y="496"/>
                  </a:lnTo>
                  <a:lnTo>
                    <a:pt x="340" y="496"/>
                  </a:lnTo>
                  <a:lnTo>
                    <a:pt x="346" y="494"/>
                  </a:lnTo>
                  <a:lnTo>
                    <a:pt x="360" y="494"/>
                  </a:lnTo>
                  <a:lnTo>
                    <a:pt x="368" y="493"/>
                  </a:lnTo>
                  <a:lnTo>
                    <a:pt x="370" y="492"/>
                  </a:lnTo>
                  <a:lnTo>
                    <a:pt x="371" y="489"/>
                  </a:lnTo>
                  <a:lnTo>
                    <a:pt x="372" y="489"/>
                  </a:lnTo>
                  <a:lnTo>
                    <a:pt x="372" y="492"/>
                  </a:lnTo>
                  <a:lnTo>
                    <a:pt x="374" y="492"/>
                  </a:lnTo>
                  <a:lnTo>
                    <a:pt x="376" y="493"/>
                  </a:lnTo>
                  <a:lnTo>
                    <a:pt x="373" y="494"/>
                  </a:lnTo>
                  <a:lnTo>
                    <a:pt x="370" y="495"/>
                  </a:lnTo>
                  <a:lnTo>
                    <a:pt x="366" y="496"/>
                  </a:lnTo>
                  <a:lnTo>
                    <a:pt x="358" y="496"/>
                  </a:lnTo>
                  <a:lnTo>
                    <a:pt x="353" y="498"/>
                  </a:lnTo>
                  <a:lnTo>
                    <a:pt x="348" y="498"/>
                  </a:lnTo>
                  <a:lnTo>
                    <a:pt x="344" y="499"/>
                  </a:lnTo>
                  <a:lnTo>
                    <a:pt x="341" y="499"/>
                  </a:lnTo>
                  <a:lnTo>
                    <a:pt x="338" y="501"/>
                  </a:lnTo>
                  <a:lnTo>
                    <a:pt x="333" y="502"/>
                  </a:lnTo>
                  <a:lnTo>
                    <a:pt x="329" y="504"/>
                  </a:lnTo>
                  <a:lnTo>
                    <a:pt x="324" y="506"/>
                  </a:lnTo>
                  <a:lnTo>
                    <a:pt x="318" y="508"/>
                  </a:lnTo>
                  <a:lnTo>
                    <a:pt x="319" y="512"/>
                  </a:lnTo>
                  <a:lnTo>
                    <a:pt x="319" y="514"/>
                  </a:lnTo>
                  <a:lnTo>
                    <a:pt x="320" y="517"/>
                  </a:lnTo>
                  <a:lnTo>
                    <a:pt x="320" y="522"/>
                  </a:lnTo>
                  <a:lnTo>
                    <a:pt x="319" y="524"/>
                  </a:lnTo>
                  <a:lnTo>
                    <a:pt x="318" y="531"/>
                  </a:lnTo>
                  <a:lnTo>
                    <a:pt x="317" y="536"/>
                  </a:lnTo>
                  <a:lnTo>
                    <a:pt x="317" y="541"/>
                  </a:lnTo>
                  <a:lnTo>
                    <a:pt x="318" y="550"/>
                  </a:lnTo>
                  <a:lnTo>
                    <a:pt x="318" y="554"/>
                  </a:lnTo>
                  <a:lnTo>
                    <a:pt x="318" y="576"/>
                  </a:lnTo>
                  <a:lnTo>
                    <a:pt x="318" y="583"/>
                  </a:lnTo>
                  <a:lnTo>
                    <a:pt x="318" y="589"/>
                  </a:lnTo>
                  <a:lnTo>
                    <a:pt x="318" y="591"/>
                  </a:lnTo>
                  <a:lnTo>
                    <a:pt x="317" y="594"/>
                  </a:lnTo>
                  <a:lnTo>
                    <a:pt x="314" y="596"/>
                  </a:lnTo>
                  <a:lnTo>
                    <a:pt x="312" y="596"/>
                  </a:lnTo>
                  <a:lnTo>
                    <a:pt x="307" y="597"/>
                  </a:lnTo>
                  <a:lnTo>
                    <a:pt x="300" y="597"/>
                  </a:lnTo>
                  <a:lnTo>
                    <a:pt x="294" y="595"/>
                  </a:lnTo>
                  <a:lnTo>
                    <a:pt x="291" y="593"/>
                  </a:lnTo>
                  <a:lnTo>
                    <a:pt x="293" y="586"/>
                  </a:lnTo>
                  <a:lnTo>
                    <a:pt x="294" y="580"/>
                  </a:lnTo>
                  <a:lnTo>
                    <a:pt x="294" y="574"/>
                  </a:lnTo>
                  <a:lnTo>
                    <a:pt x="294" y="564"/>
                  </a:lnTo>
                  <a:lnTo>
                    <a:pt x="294" y="560"/>
                  </a:lnTo>
                  <a:lnTo>
                    <a:pt x="294" y="558"/>
                  </a:lnTo>
                  <a:lnTo>
                    <a:pt x="295" y="548"/>
                  </a:lnTo>
                  <a:lnTo>
                    <a:pt x="295" y="543"/>
                  </a:lnTo>
                  <a:lnTo>
                    <a:pt x="296" y="532"/>
                  </a:lnTo>
                  <a:lnTo>
                    <a:pt x="296" y="520"/>
                  </a:lnTo>
                  <a:lnTo>
                    <a:pt x="295" y="516"/>
                  </a:lnTo>
                  <a:lnTo>
                    <a:pt x="289" y="513"/>
                  </a:lnTo>
                  <a:lnTo>
                    <a:pt x="279" y="508"/>
                  </a:lnTo>
                  <a:lnTo>
                    <a:pt x="273" y="506"/>
                  </a:lnTo>
                  <a:lnTo>
                    <a:pt x="270" y="504"/>
                  </a:lnTo>
                  <a:lnTo>
                    <a:pt x="265" y="501"/>
                  </a:lnTo>
                  <a:lnTo>
                    <a:pt x="258" y="501"/>
                  </a:lnTo>
                  <a:lnTo>
                    <a:pt x="255" y="501"/>
                  </a:lnTo>
                  <a:lnTo>
                    <a:pt x="252" y="501"/>
                  </a:lnTo>
                  <a:lnTo>
                    <a:pt x="246" y="500"/>
                  </a:lnTo>
                  <a:lnTo>
                    <a:pt x="240" y="499"/>
                  </a:lnTo>
                  <a:lnTo>
                    <a:pt x="235" y="499"/>
                  </a:lnTo>
                  <a:lnTo>
                    <a:pt x="231" y="499"/>
                  </a:lnTo>
                  <a:lnTo>
                    <a:pt x="230" y="499"/>
                  </a:lnTo>
                  <a:lnTo>
                    <a:pt x="229" y="499"/>
                  </a:lnTo>
                  <a:lnTo>
                    <a:pt x="226" y="500"/>
                  </a:lnTo>
                  <a:lnTo>
                    <a:pt x="225" y="502"/>
                  </a:lnTo>
                  <a:lnTo>
                    <a:pt x="222" y="504"/>
                  </a:lnTo>
                  <a:lnTo>
                    <a:pt x="219" y="506"/>
                  </a:lnTo>
                  <a:lnTo>
                    <a:pt x="217" y="506"/>
                  </a:lnTo>
                  <a:lnTo>
                    <a:pt x="215" y="504"/>
                  </a:lnTo>
                  <a:lnTo>
                    <a:pt x="220" y="501"/>
                  </a:lnTo>
                  <a:lnTo>
                    <a:pt x="225" y="498"/>
                  </a:lnTo>
                  <a:lnTo>
                    <a:pt x="229" y="494"/>
                  </a:lnTo>
                  <a:lnTo>
                    <a:pt x="231" y="493"/>
                  </a:lnTo>
                  <a:lnTo>
                    <a:pt x="232" y="490"/>
                  </a:lnTo>
                  <a:lnTo>
                    <a:pt x="232" y="488"/>
                  </a:lnTo>
                  <a:lnTo>
                    <a:pt x="230" y="487"/>
                  </a:lnTo>
                  <a:lnTo>
                    <a:pt x="225" y="488"/>
                  </a:lnTo>
                  <a:lnTo>
                    <a:pt x="219" y="488"/>
                  </a:lnTo>
                  <a:lnTo>
                    <a:pt x="217" y="488"/>
                  </a:lnTo>
                  <a:lnTo>
                    <a:pt x="213" y="488"/>
                  </a:lnTo>
                  <a:lnTo>
                    <a:pt x="203" y="489"/>
                  </a:lnTo>
                  <a:lnTo>
                    <a:pt x="196" y="489"/>
                  </a:lnTo>
                  <a:lnTo>
                    <a:pt x="194" y="489"/>
                  </a:lnTo>
                  <a:lnTo>
                    <a:pt x="191" y="490"/>
                  </a:lnTo>
                  <a:lnTo>
                    <a:pt x="188" y="490"/>
                  </a:lnTo>
                  <a:lnTo>
                    <a:pt x="187" y="490"/>
                  </a:lnTo>
                  <a:lnTo>
                    <a:pt x="185" y="489"/>
                  </a:lnTo>
                  <a:lnTo>
                    <a:pt x="184" y="492"/>
                  </a:lnTo>
                  <a:lnTo>
                    <a:pt x="184" y="495"/>
                  </a:lnTo>
                  <a:lnTo>
                    <a:pt x="182" y="496"/>
                  </a:lnTo>
                  <a:lnTo>
                    <a:pt x="179" y="496"/>
                  </a:lnTo>
                  <a:lnTo>
                    <a:pt x="177" y="496"/>
                  </a:lnTo>
                  <a:lnTo>
                    <a:pt x="176" y="495"/>
                  </a:lnTo>
                  <a:lnTo>
                    <a:pt x="176" y="496"/>
                  </a:lnTo>
                  <a:lnTo>
                    <a:pt x="176" y="499"/>
                  </a:lnTo>
                  <a:lnTo>
                    <a:pt x="176" y="500"/>
                  </a:lnTo>
                  <a:lnTo>
                    <a:pt x="173" y="501"/>
                  </a:lnTo>
                  <a:lnTo>
                    <a:pt x="171" y="502"/>
                  </a:lnTo>
                  <a:lnTo>
                    <a:pt x="169" y="504"/>
                  </a:lnTo>
                  <a:lnTo>
                    <a:pt x="167" y="505"/>
                  </a:lnTo>
                  <a:lnTo>
                    <a:pt x="166" y="504"/>
                  </a:lnTo>
                  <a:lnTo>
                    <a:pt x="164" y="505"/>
                  </a:lnTo>
                  <a:lnTo>
                    <a:pt x="164" y="502"/>
                  </a:lnTo>
                  <a:lnTo>
                    <a:pt x="161" y="502"/>
                  </a:lnTo>
                  <a:lnTo>
                    <a:pt x="160" y="501"/>
                  </a:lnTo>
                  <a:lnTo>
                    <a:pt x="158" y="501"/>
                  </a:lnTo>
                  <a:lnTo>
                    <a:pt x="156" y="500"/>
                  </a:lnTo>
                  <a:lnTo>
                    <a:pt x="156" y="501"/>
                  </a:lnTo>
                  <a:lnTo>
                    <a:pt x="154" y="502"/>
                  </a:lnTo>
                  <a:lnTo>
                    <a:pt x="153" y="506"/>
                  </a:lnTo>
                  <a:lnTo>
                    <a:pt x="152" y="507"/>
                  </a:lnTo>
                  <a:lnTo>
                    <a:pt x="152" y="508"/>
                  </a:lnTo>
                  <a:lnTo>
                    <a:pt x="152" y="510"/>
                  </a:lnTo>
                  <a:lnTo>
                    <a:pt x="149" y="510"/>
                  </a:lnTo>
                  <a:lnTo>
                    <a:pt x="148" y="512"/>
                  </a:lnTo>
                  <a:lnTo>
                    <a:pt x="147" y="512"/>
                  </a:lnTo>
                  <a:lnTo>
                    <a:pt x="146" y="511"/>
                  </a:lnTo>
                  <a:lnTo>
                    <a:pt x="146" y="510"/>
                  </a:lnTo>
                  <a:lnTo>
                    <a:pt x="143" y="508"/>
                  </a:lnTo>
                  <a:lnTo>
                    <a:pt x="142" y="510"/>
                  </a:lnTo>
                  <a:lnTo>
                    <a:pt x="142" y="508"/>
                  </a:lnTo>
                  <a:lnTo>
                    <a:pt x="141" y="508"/>
                  </a:lnTo>
                  <a:lnTo>
                    <a:pt x="137" y="508"/>
                  </a:lnTo>
                  <a:lnTo>
                    <a:pt x="136" y="510"/>
                  </a:lnTo>
                  <a:lnTo>
                    <a:pt x="135" y="511"/>
                  </a:lnTo>
                  <a:lnTo>
                    <a:pt x="135" y="510"/>
                  </a:lnTo>
                  <a:lnTo>
                    <a:pt x="135" y="507"/>
                  </a:lnTo>
                  <a:lnTo>
                    <a:pt x="136" y="506"/>
                  </a:lnTo>
                  <a:lnTo>
                    <a:pt x="135" y="507"/>
                  </a:lnTo>
                  <a:lnTo>
                    <a:pt x="132" y="506"/>
                  </a:lnTo>
                  <a:lnTo>
                    <a:pt x="134" y="505"/>
                  </a:lnTo>
                  <a:lnTo>
                    <a:pt x="131" y="506"/>
                  </a:lnTo>
                  <a:lnTo>
                    <a:pt x="130" y="505"/>
                  </a:lnTo>
                  <a:lnTo>
                    <a:pt x="129" y="507"/>
                  </a:lnTo>
                  <a:lnTo>
                    <a:pt x="125" y="508"/>
                  </a:lnTo>
                  <a:lnTo>
                    <a:pt x="123" y="507"/>
                  </a:lnTo>
                  <a:lnTo>
                    <a:pt x="126" y="506"/>
                  </a:lnTo>
                  <a:lnTo>
                    <a:pt x="124" y="504"/>
                  </a:lnTo>
                  <a:lnTo>
                    <a:pt x="123" y="502"/>
                  </a:lnTo>
                  <a:lnTo>
                    <a:pt x="122" y="501"/>
                  </a:lnTo>
                  <a:lnTo>
                    <a:pt x="120" y="501"/>
                  </a:lnTo>
                  <a:lnTo>
                    <a:pt x="120" y="500"/>
                  </a:lnTo>
                  <a:lnTo>
                    <a:pt x="120" y="499"/>
                  </a:lnTo>
                  <a:lnTo>
                    <a:pt x="122" y="498"/>
                  </a:lnTo>
                  <a:lnTo>
                    <a:pt x="122" y="499"/>
                  </a:lnTo>
                  <a:lnTo>
                    <a:pt x="124" y="500"/>
                  </a:lnTo>
                  <a:lnTo>
                    <a:pt x="125" y="500"/>
                  </a:lnTo>
                  <a:lnTo>
                    <a:pt x="126" y="501"/>
                  </a:lnTo>
                  <a:lnTo>
                    <a:pt x="126" y="500"/>
                  </a:lnTo>
                  <a:lnTo>
                    <a:pt x="128" y="501"/>
                  </a:lnTo>
                  <a:lnTo>
                    <a:pt x="128" y="500"/>
                  </a:lnTo>
                  <a:lnTo>
                    <a:pt x="128" y="501"/>
                  </a:lnTo>
                  <a:lnTo>
                    <a:pt x="129" y="501"/>
                  </a:lnTo>
                  <a:lnTo>
                    <a:pt x="131" y="502"/>
                  </a:lnTo>
                  <a:lnTo>
                    <a:pt x="131" y="501"/>
                  </a:lnTo>
                  <a:lnTo>
                    <a:pt x="130" y="500"/>
                  </a:lnTo>
                  <a:lnTo>
                    <a:pt x="130" y="499"/>
                  </a:lnTo>
                  <a:lnTo>
                    <a:pt x="130" y="498"/>
                  </a:lnTo>
                  <a:lnTo>
                    <a:pt x="131" y="495"/>
                  </a:lnTo>
                  <a:lnTo>
                    <a:pt x="131" y="494"/>
                  </a:lnTo>
                  <a:lnTo>
                    <a:pt x="132" y="493"/>
                  </a:lnTo>
                  <a:lnTo>
                    <a:pt x="134" y="493"/>
                  </a:lnTo>
                  <a:lnTo>
                    <a:pt x="135" y="492"/>
                  </a:lnTo>
                  <a:lnTo>
                    <a:pt x="136" y="489"/>
                  </a:lnTo>
                  <a:lnTo>
                    <a:pt x="137" y="488"/>
                  </a:lnTo>
                  <a:lnTo>
                    <a:pt x="138" y="489"/>
                  </a:lnTo>
                  <a:lnTo>
                    <a:pt x="140" y="488"/>
                  </a:lnTo>
                  <a:lnTo>
                    <a:pt x="142" y="490"/>
                  </a:lnTo>
                  <a:lnTo>
                    <a:pt x="143" y="488"/>
                  </a:lnTo>
                  <a:lnTo>
                    <a:pt x="141" y="488"/>
                  </a:lnTo>
                  <a:lnTo>
                    <a:pt x="142" y="487"/>
                  </a:lnTo>
                  <a:lnTo>
                    <a:pt x="140" y="486"/>
                  </a:lnTo>
                  <a:lnTo>
                    <a:pt x="141" y="483"/>
                  </a:lnTo>
                  <a:lnTo>
                    <a:pt x="140" y="483"/>
                  </a:lnTo>
                  <a:lnTo>
                    <a:pt x="141" y="482"/>
                  </a:lnTo>
                  <a:lnTo>
                    <a:pt x="141" y="480"/>
                  </a:lnTo>
                  <a:lnTo>
                    <a:pt x="138" y="478"/>
                  </a:lnTo>
                  <a:lnTo>
                    <a:pt x="140" y="477"/>
                  </a:lnTo>
                  <a:lnTo>
                    <a:pt x="141" y="477"/>
                  </a:lnTo>
                  <a:lnTo>
                    <a:pt x="141" y="476"/>
                  </a:lnTo>
                  <a:lnTo>
                    <a:pt x="143" y="478"/>
                  </a:lnTo>
                  <a:lnTo>
                    <a:pt x="144" y="480"/>
                  </a:lnTo>
                  <a:lnTo>
                    <a:pt x="146" y="481"/>
                  </a:lnTo>
                  <a:lnTo>
                    <a:pt x="147" y="480"/>
                  </a:lnTo>
                  <a:lnTo>
                    <a:pt x="149" y="482"/>
                  </a:lnTo>
                  <a:lnTo>
                    <a:pt x="152" y="482"/>
                  </a:lnTo>
                  <a:lnTo>
                    <a:pt x="152" y="483"/>
                  </a:lnTo>
                  <a:lnTo>
                    <a:pt x="154" y="484"/>
                  </a:lnTo>
                  <a:lnTo>
                    <a:pt x="155" y="483"/>
                  </a:lnTo>
                  <a:lnTo>
                    <a:pt x="155" y="482"/>
                  </a:lnTo>
                  <a:lnTo>
                    <a:pt x="156" y="483"/>
                  </a:lnTo>
                  <a:lnTo>
                    <a:pt x="159" y="482"/>
                  </a:lnTo>
                  <a:lnTo>
                    <a:pt x="160" y="484"/>
                  </a:lnTo>
                  <a:lnTo>
                    <a:pt x="160" y="482"/>
                  </a:lnTo>
                  <a:lnTo>
                    <a:pt x="160" y="481"/>
                  </a:lnTo>
                  <a:lnTo>
                    <a:pt x="161" y="481"/>
                  </a:lnTo>
                  <a:lnTo>
                    <a:pt x="161" y="480"/>
                  </a:lnTo>
                  <a:lnTo>
                    <a:pt x="163" y="480"/>
                  </a:lnTo>
                  <a:lnTo>
                    <a:pt x="164" y="481"/>
                  </a:lnTo>
                  <a:lnTo>
                    <a:pt x="164" y="480"/>
                  </a:lnTo>
                  <a:lnTo>
                    <a:pt x="166" y="481"/>
                  </a:lnTo>
                  <a:lnTo>
                    <a:pt x="167" y="480"/>
                  </a:lnTo>
                  <a:lnTo>
                    <a:pt x="170" y="482"/>
                  </a:lnTo>
                  <a:lnTo>
                    <a:pt x="170" y="478"/>
                  </a:lnTo>
                  <a:lnTo>
                    <a:pt x="169" y="478"/>
                  </a:lnTo>
                  <a:lnTo>
                    <a:pt x="169" y="477"/>
                  </a:lnTo>
                  <a:lnTo>
                    <a:pt x="167" y="476"/>
                  </a:lnTo>
                  <a:lnTo>
                    <a:pt x="169" y="475"/>
                  </a:lnTo>
                  <a:lnTo>
                    <a:pt x="171" y="473"/>
                  </a:lnTo>
                  <a:lnTo>
                    <a:pt x="172" y="475"/>
                  </a:lnTo>
                  <a:lnTo>
                    <a:pt x="173" y="476"/>
                  </a:lnTo>
                  <a:lnTo>
                    <a:pt x="175" y="476"/>
                  </a:lnTo>
                  <a:lnTo>
                    <a:pt x="175" y="475"/>
                  </a:lnTo>
                  <a:lnTo>
                    <a:pt x="175" y="473"/>
                  </a:lnTo>
                  <a:lnTo>
                    <a:pt x="175" y="471"/>
                  </a:lnTo>
                  <a:lnTo>
                    <a:pt x="176" y="471"/>
                  </a:lnTo>
                  <a:lnTo>
                    <a:pt x="178" y="470"/>
                  </a:lnTo>
                  <a:lnTo>
                    <a:pt x="179" y="473"/>
                  </a:lnTo>
                  <a:lnTo>
                    <a:pt x="179" y="476"/>
                  </a:lnTo>
                  <a:lnTo>
                    <a:pt x="181" y="476"/>
                  </a:lnTo>
                  <a:lnTo>
                    <a:pt x="183" y="477"/>
                  </a:lnTo>
                  <a:lnTo>
                    <a:pt x="183" y="478"/>
                  </a:lnTo>
                  <a:lnTo>
                    <a:pt x="184" y="478"/>
                  </a:lnTo>
                  <a:lnTo>
                    <a:pt x="184" y="480"/>
                  </a:lnTo>
                  <a:lnTo>
                    <a:pt x="185" y="480"/>
                  </a:lnTo>
                  <a:lnTo>
                    <a:pt x="187" y="480"/>
                  </a:lnTo>
                  <a:lnTo>
                    <a:pt x="189" y="480"/>
                  </a:lnTo>
                  <a:lnTo>
                    <a:pt x="188" y="481"/>
                  </a:lnTo>
                  <a:lnTo>
                    <a:pt x="187" y="482"/>
                  </a:lnTo>
                  <a:lnTo>
                    <a:pt x="187" y="483"/>
                  </a:lnTo>
                  <a:lnTo>
                    <a:pt x="185" y="483"/>
                  </a:lnTo>
                  <a:lnTo>
                    <a:pt x="185" y="484"/>
                  </a:lnTo>
                  <a:lnTo>
                    <a:pt x="185" y="486"/>
                  </a:lnTo>
                  <a:lnTo>
                    <a:pt x="188" y="486"/>
                  </a:lnTo>
                  <a:lnTo>
                    <a:pt x="187" y="487"/>
                  </a:lnTo>
                  <a:lnTo>
                    <a:pt x="187" y="488"/>
                  </a:lnTo>
                  <a:lnTo>
                    <a:pt x="188" y="487"/>
                  </a:lnTo>
                  <a:lnTo>
                    <a:pt x="189" y="487"/>
                  </a:lnTo>
                  <a:lnTo>
                    <a:pt x="190" y="486"/>
                  </a:lnTo>
                  <a:lnTo>
                    <a:pt x="193" y="484"/>
                  </a:lnTo>
                  <a:lnTo>
                    <a:pt x="194" y="484"/>
                  </a:lnTo>
                  <a:lnTo>
                    <a:pt x="195" y="486"/>
                  </a:lnTo>
                  <a:lnTo>
                    <a:pt x="196" y="487"/>
                  </a:lnTo>
                  <a:lnTo>
                    <a:pt x="201" y="486"/>
                  </a:lnTo>
                  <a:lnTo>
                    <a:pt x="207" y="486"/>
                  </a:lnTo>
                  <a:lnTo>
                    <a:pt x="213" y="486"/>
                  </a:lnTo>
                  <a:lnTo>
                    <a:pt x="215" y="486"/>
                  </a:lnTo>
                  <a:lnTo>
                    <a:pt x="218" y="484"/>
                  </a:lnTo>
                  <a:lnTo>
                    <a:pt x="219" y="484"/>
                  </a:lnTo>
                  <a:lnTo>
                    <a:pt x="220" y="484"/>
                  </a:lnTo>
                  <a:lnTo>
                    <a:pt x="223" y="484"/>
                  </a:lnTo>
                  <a:lnTo>
                    <a:pt x="226" y="484"/>
                  </a:lnTo>
                  <a:lnTo>
                    <a:pt x="228" y="484"/>
                  </a:lnTo>
                  <a:lnTo>
                    <a:pt x="234" y="482"/>
                  </a:lnTo>
                  <a:lnTo>
                    <a:pt x="236" y="481"/>
                  </a:lnTo>
                  <a:lnTo>
                    <a:pt x="236" y="478"/>
                  </a:lnTo>
                  <a:lnTo>
                    <a:pt x="238" y="478"/>
                  </a:lnTo>
                  <a:lnTo>
                    <a:pt x="241" y="480"/>
                  </a:lnTo>
                  <a:lnTo>
                    <a:pt x="243" y="481"/>
                  </a:lnTo>
                  <a:lnTo>
                    <a:pt x="247" y="480"/>
                  </a:lnTo>
                  <a:lnTo>
                    <a:pt x="250" y="478"/>
                  </a:lnTo>
                  <a:lnTo>
                    <a:pt x="252" y="477"/>
                  </a:lnTo>
                  <a:lnTo>
                    <a:pt x="252" y="475"/>
                  </a:lnTo>
                  <a:lnTo>
                    <a:pt x="252" y="473"/>
                  </a:lnTo>
                  <a:lnTo>
                    <a:pt x="254" y="473"/>
                  </a:lnTo>
                  <a:lnTo>
                    <a:pt x="258" y="472"/>
                  </a:lnTo>
                  <a:lnTo>
                    <a:pt x="259" y="471"/>
                  </a:lnTo>
                  <a:lnTo>
                    <a:pt x="262" y="471"/>
                  </a:lnTo>
                  <a:lnTo>
                    <a:pt x="265" y="470"/>
                  </a:lnTo>
                  <a:lnTo>
                    <a:pt x="267" y="469"/>
                  </a:lnTo>
                  <a:lnTo>
                    <a:pt x="270" y="466"/>
                  </a:lnTo>
                  <a:lnTo>
                    <a:pt x="268" y="467"/>
                  </a:lnTo>
                  <a:lnTo>
                    <a:pt x="267" y="466"/>
                  </a:lnTo>
                  <a:lnTo>
                    <a:pt x="266" y="466"/>
                  </a:lnTo>
                  <a:lnTo>
                    <a:pt x="266" y="463"/>
                  </a:lnTo>
                  <a:lnTo>
                    <a:pt x="267" y="461"/>
                  </a:lnTo>
                  <a:lnTo>
                    <a:pt x="266" y="461"/>
                  </a:lnTo>
                  <a:lnTo>
                    <a:pt x="266" y="460"/>
                  </a:lnTo>
                  <a:lnTo>
                    <a:pt x="264" y="460"/>
                  </a:lnTo>
                  <a:lnTo>
                    <a:pt x="264" y="461"/>
                  </a:lnTo>
                  <a:lnTo>
                    <a:pt x="265" y="463"/>
                  </a:lnTo>
                  <a:lnTo>
                    <a:pt x="264" y="464"/>
                  </a:lnTo>
                  <a:lnTo>
                    <a:pt x="264" y="465"/>
                  </a:lnTo>
                  <a:lnTo>
                    <a:pt x="264" y="467"/>
                  </a:lnTo>
                  <a:lnTo>
                    <a:pt x="262" y="467"/>
                  </a:lnTo>
                  <a:lnTo>
                    <a:pt x="260" y="469"/>
                  </a:lnTo>
                  <a:lnTo>
                    <a:pt x="258" y="466"/>
                  </a:lnTo>
                  <a:lnTo>
                    <a:pt x="258" y="465"/>
                  </a:lnTo>
                  <a:lnTo>
                    <a:pt x="255" y="466"/>
                  </a:lnTo>
                  <a:lnTo>
                    <a:pt x="253" y="466"/>
                  </a:lnTo>
                  <a:lnTo>
                    <a:pt x="249" y="465"/>
                  </a:lnTo>
                  <a:lnTo>
                    <a:pt x="248" y="466"/>
                  </a:lnTo>
                  <a:lnTo>
                    <a:pt x="248" y="467"/>
                  </a:lnTo>
                  <a:lnTo>
                    <a:pt x="246" y="469"/>
                  </a:lnTo>
                  <a:lnTo>
                    <a:pt x="244" y="469"/>
                  </a:lnTo>
                  <a:lnTo>
                    <a:pt x="244" y="467"/>
                  </a:lnTo>
                  <a:lnTo>
                    <a:pt x="244" y="465"/>
                  </a:lnTo>
                  <a:lnTo>
                    <a:pt x="246" y="464"/>
                  </a:lnTo>
                  <a:lnTo>
                    <a:pt x="247" y="464"/>
                  </a:lnTo>
                  <a:lnTo>
                    <a:pt x="247" y="463"/>
                  </a:lnTo>
                  <a:lnTo>
                    <a:pt x="247" y="459"/>
                  </a:lnTo>
                  <a:lnTo>
                    <a:pt x="247" y="458"/>
                  </a:lnTo>
                  <a:lnTo>
                    <a:pt x="248" y="455"/>
                  </a:lnTo>
                  <a:lnTo>
                    <a:pt x="249" y="455"/>
                  </a:lnTo>
                  <a:lnTo>
                    <a:pt x="250" y="457"/>
                  </a:lnTo>
                  <a:lnTo>
                    <a:pt x="250" y="454"/>
                  </a:lnTo>
                  <a:lnTo>
                    <a:pt x="249" y="453"/>
                  </a:lnTo>
                  <a:lnTo>
                    <a:pt x="248" y="454"/>
                  </a:lnTo>
                  <a:lnTo>
                    <a:pt x="247" y="454"/>
                  </a:lnTo>
                  <a:lnTo>
                    <a:pt x="246" y="454"/>
                  </a:lnTo>
                  <a:lnTo>
                    <a:pt x="244" y="453"/>
                  </a:lnTo>
                  <a:lnTo>
                    <a:pt x="242" y="453"/>
                  </a:lnTo>
                  <a:lnTo>
                    <a:pt x="242" y="452"/>
                  </a:lnTo>
                  <a:lnTo>
                    <a:pt x="243" y="451"/>
                  </a:lnTo>
                  <a:lnTo>
                    <a:pt x="242" y="449"/>
                  </a:lnTo>
                  <a:lnTo>
                    <a:pt x="240" y="448"/>
                  </a:lnTo>
                  <a:lnTo>
                    <a:pt x="241" y="451"/>
                  </a:lnTo>
                  <a:lnTo>
                    <a:pt x="240" y="452"/>
                  </a:lnTo>
                  <a:lnTo>
                    <a:pt x="238" y="451"/>
                  </a:lnTo>
                  <a:lnTo>
                    <a:pt x="237" y="451"/>
                  </a:lnTo>
                  <a:lnTo>
                    <a:pt x="235" y="451"/>
                  </a:lnTo>
                  <a:lnTo>
                    <a:pt x="235" y="454"/>
                  </a:lnTo>
                  <a:lnTo>
                    <a:pt x="234" y="453"/>
                  </a:lnTo>
                  <a:lnTo>
                    <a:pt x="232" y="454"/>
                  </a:lnTo>
                  <a:lnTo>
                    <a:pt x="231" y="457"/>
                  </a:lnTo>
                  <a:lnTo>
                    <a:pt x="229" y="458"/>
                  </a:lnTo>
                  <a:lnTo>
                    <a:pt x="228" y="460"/>
                  </a:lnTo>
                  <a:lnTo>
                    <a:pt x="226" y="463"/>
                  </a:lnTo>
                  <a:lnTo>
                    <a:pt x="228" y="461"/>
                  </a:lnTo>
                  <a:lnTo>
                    <a:pt x="229" y="461"/>
                  </a:lnTo>
                  <a:lnTo>
                    <a:pt x="229" y="463"/>
                  </a:lnTo>
                  <a:lnTo>
                    <a:pt x="229" y="464"/>
                  </a:lnTo>
                  <a:lnTo>
                    <a:pt x="228" y="465"/>
                  </a:lnTo>
                  <a:lnTo>
                    <a:pt x="229" y="465"/>
                  </a:lnTo>
                  <a:lnTo>
                    <a:pt x="230" y="464"/>
                  </a:lnTo>
                  <a:lnTo>
                    <a:pt x="230" y="465"/>
                  </a:lnTo>
                  <a:lnTo>
                    <a:pt x="230" y="466"/>
                  </a:lnTo>
                  <a:lnTo>
                    <a:pt x="229" y="469"/>
                  </a:lnTo>
                  <a:lnTo>
                    <a:pt x="230" y="467"/>
                  </a:lnTo>
                  <a:lnTo>
                    <a:pt x="231" y="469"/>
                  </a:lnTo>
                  <a:lnTo>
                    <a:pt x="229" y="470"/>
                  </a:lnTo>
                  <a:lnTo>
                    <a:pt x="228" y="471"/>
                  </a:lnTo>
                  <a:lnTo>
                    <a:pt x="226" y="472"/>
                  </a:lnTo>
                  <a:lnTo>
                    <a:pt x="224" y="472"/>
                  </a:lnTo>
                  <a:lnTo>
                    <a:pt x="223" y="472"/>
                  </a:lnTo>
                  <a:lnTo>
                    <a:pt x="224" y="471"/>
                  </a:lnTo>
                  <a:lnTo>
                    <a:pt x="224" y="469"/>
                  </a:lnTo>
                  <a:lnTo>
                    <a:pt x="223" y="469"/>
                  </a:lnTo>
                  <a:lnTo>
                    <a:pt x="222" y="472"/>
                  </a:lnTo>
                  <a:lnTo>
                    <a:pt x="219" y="472"/>
                  </a:lnTo>
                  <a:lnTo>
                    <a:pt x="219" y="470"/>
                  </a:lnTo>
                  <a:lnTo>
                    <a:pt x="218" y="471"/>
                  </a:lnTo>
                  <a:lnTo>
                    <a:pt x="217" y="471"/>
                  </a:lnTo>
                  <a:lnTo>
                    <a:pt x="214" y="471"/>
                  </a:lnTo>
                  <a:lnTo>
                    <a:pt x="214" y="472"/>
                  </a:lnTo>
                  <a:lnTo>
                    <a:pt x="213" y="471"/>
                  </a:lnTo>
                  <a:lnTo>
                    <a:pt x="211" y="471"/>
                  </a:lnTo>
                  <a:lnTo>
                    <a:pt x="211" y="470"/>
                  </a:lnTo>
                  <a:lnTo>
                    <a:pt x="213" y="466"/>
                  </a:lnTo>
                  <a:lnTo>
                    <a:pt x="214" y="464"/>
                  </a:lnTo>
                  <a:lnTo>
                    <a:pt x="212" y="466"/>
                  </a:lnTo>
                  <a:lnTo>
                    <a:pt x="211" y="466"/>
                  </a:lnTo>
                  <a:lnTo>
                    <a:pt x="209" y="465"/>
                  </a:lnTo>
                  <a:lnTo>
                    <a:pt x="208" y="465"/>
                  </a:lnTo>
                  <a:lnTo>
                    <a:pt x="207" y="464"/>
                  </a:lnTo>
                  <a:lnTo>
                    <a:pt x="207" y="463"/>
                  </a:lnTo>
                  <a:lnTo>
                    <a:pt x="206" y="463"/>
                  </a:lnTo>
                  <a:lnTo>
                    <a:pt x="206" y="458"/>
                  </a:lnTo>
                  <a:lnTo>
                    <a:pt x="206" y="455"/>
                  </a:lnTo>
                  <a:lnTo>
                    <a:pt x="203" y="453"/>
                  </a:lnTo>
                  <a:lnTo>
                    <a:pt x="203" y="449"/>
                  </a:lnTo>
                  <a:lnTo>
                    <a:pt x="205" y="451"/>
                  </a:lnTo>
                  <a:lnTo>
                    <a:pt x="206" y="448"/>
                  </a:lnTo>
                  <a:lnTo>
                    <a:pt x="208" y="447"/>
                  </a:lnTo>
                  <a:lnTo>
                    <a:pt x="211" y="447"/>
                  </a:lnTo>
                  <a:lnTo>
                    <a:pt x="211" y="445"/>
                  </a:lnTo>
                  <a:lnTo>
                    <a:pt x="208" y="445"/>
                  </a:lnTo>
                  <a:lnTo>
                    <a:pt x="207" y="446"/>
                  </a:lnTo>
                  <a:lnTo>
                    <a:pt x="205" y="446"/>
                  </a:lnTo>
                  <a:lnTo>
                    <a:pt x="203" y="445"/>
                  </a:lnTo>
                  <a:lnTo>
                    <a:pt x="201" y="446"/>
                  </a:lnTo>
                  <a:lnTo>
                    <a:pt x="201" y="448"/>
                  </a:lnTo>
                  <a:lnTo>
                    <a:pt x="202" y="449"/>
                  </a:lnTo>
                  <a:lnTo>
                    <a:pt x="201" y="451"/>
                  </a:lnTo>
                  <a:lnTo>
                    <a:pt x="200" y="452"/>
                  </a:lnTo>
                  <a:lnTo>
                    <a:pt x="200" y="453"/>
                  </a:lnTo>
                  <a:lnTo>
                    <a:pt x="199" y="453"/>
                  </a:lnTo>
                  <a:lnTo>
                    <a:pt x="200" y="449"/>
                  </a:lnTo>
                  <a:lnTo>
                    <a:pt x="197" y="449"/>
                  </a:lnTo>
                  <a:lnTo>
                    <a:pt x="196" y="452"/>
                  </a:lnTo>
                  <a:lnTo>
                    <a:pt x="194" y="452"/>
                  </a:lnTo>
                  <a:lnTo>
                    <a:pt x="191" y="452"/>
                  </a:lnTo>
                  <a:lnTo>
                    <a:pt x="190" y="452"/>
                  </a:lnTo>
                  <a:lnTo>
                    <a:pt x="190" y="453"/>
                  </a:lnTo>
                  <a:lnTo>
                    <a:pt x="189" y="453"/>
                  </a:lnTo>
                  <a:lnTo>
                    <a:pt x="188" y="454"/>
                  </a:lnTo>
                  <a:lnTo>
                    <a:pt x="185" y="455"/>
                  </a:lnTo>
                  <a:lnTo>
                    <a:pt x="185" y="454"/>
                  </a:lnTo>
                  <a:lnTo>
                    <a:pt x="184" y="455"/>
                  </a:lnTo>
                  <a:lnTo>
                    <a:pt x="183" y="454"/>
                  </a:lnTo>
                  <a:lnTo>
                    <a:pt x="182" y="453"/>
                  </a:lnTo>
                  <a:lnTo>
                    <a:pt x="181" y="453"/>
                  </a:lnTo>
                  <a:lnTo>
                    <a:pt x="178" y="452"/>
                  </a:lnTo>
                  <a:lnTo>
                    <a:pt x="178" y="449"/>
                  </a:lnTo>
                  <a:lnTo>
                    <a:pt x="176" y="449"/>
                  </a:lnTo>
                  <a:lnTo>
                    <a:pt x="175" y="449"/>
                  </a:lnTo>
                  <a:lnTo>
                    <a:pt x="172" y="451"/>
                  </a:lnTo>
                  <a:lnTo>
                    <a:pt x="171" y="451"/>
                  </a:lnTo>
                  <a:lnTo>
                    <a:pt x="167" y="449"/>
                  </a:lnTo>
                  <a:lnTo>
                    <a:pt x="167" y="448"/>
                  </a:lnTo>
                  <a:lnTo>
                    <a:pt x="166" y="448"/>
                  </a:lnTo>
                  <a:lnTo>
                    <a:pt x="164" y="449"/>
                  </a:lnTo>
                  <a:lnTo>
                    <a:pt x="161" y="448"/>
                  </a:lnTo>
                  <a:lnTo>
                    <a:pt x="161" y="449"/>
                  </a:lnTo>
                  <a:lnTo>
                    <a:pt x="159" y="449"/>
                  </a:lnTo>
                  <a:lnTo>
                    <a:pt x="158" y="448"/>
                  </a:lnTo>
                  <a:lnTo>
                    <a:pt x="156" y="448"/>
                  </a:lnTo>
                  <a:lnTo>
                    <a:pt x="155" y="449"/>
                  </a:lnTo>
                  <a:lnTo>
                    <a:pt x="154" y="448"/>
                  </a:lnTo>
                  <a:lnTo>
                    <a:pt x="152" y="449"/>
                  </a:lnTo>
                  <a:lnTo>
                    <a:pt x="152" y="451"/>
                  </a:lnTo>
                  <a:lnTo>
                    <a:pt x="152" y="452"/>
                  </a:lnTo>
                  <a:lnTo>
                    <a:pt x="152" y="453"/>
                  </a:lnTo>
                  <a:lnTo>
                    <a:pt x="152" y="452"/>
                  </a:lnTo>
                  <a:lnTo>
                    <a:pt x="154" y="452"/>
                  </a:lnTo>
                  <a:lnTo>
                    <a:pt x="155" y="452"/>
                  </a:lnTo>
                  <a:lnTo>
                    <a:pt x="156" y="452"/>
                  </a:lnTo>
                  <a:lnTo>
                    <a:pt x="158" y="452"/>
                  </a:lnTo>
                  <a:lnTo>
                    <a:pt x="159" y="452"/>
                  </a:lnTo>
                  <a:lnTo>
                    <a:pt x="158" y="452"/>
                  </a:lnTo>
                  <a:lnTo>
                    <a:pt x="159" y="449"/>
                  </a:lnTo>
                  <a:lnTo>
                    <a:pt x="159" y="451"/>
                  </a:lnTo>
                  <a:lnTo>
                    <a:pt x="159" y="452"/>
                  </a:lnTo>
                  <a:lnTo>
                    <a:pt x="160" y="451"/>
                  </a:lnTo>
                  <a:lnTo>
                    <a:pt x="161" y="451"/>
                  </a:lnTo>
                  <a:lnTo>
                    <a:pt x="161" y="452"/>
                  </a:lnTo>
                  <a:lnTo>
                    <a:pt x="163" y="451"/>
                  </a:lnTo>
                  <a:lnTo>
                    <a:pt x="164" y="452"/>
                  </a:lnTo>
                  <a:lnTo>
                    <a:pt x="164" y="451"/>
                  </a:lnTo>
                  <a:lnTo>
                    <a:pt x="164" y="452"/>
                  </a:lnTo>
                  <a:lnTo>
                    <a:pt x="165" y="452"/>
                  </a:lnTo>
                  <a:lnTo>
                    <a:pt x="166" y="453"/>
                  </a:lnTo>
                  <a:lnTo>
                    <a:pt x="166" y="454"/>
                  </a:lnTo>
                  <a:lnTo>
                    <a:pt x="166" y="452"/>
                  </a:lnTo>
                  <a:lnTo>
                    <a:pt x="167" y="451"/>
                  </a:lnTo>
                  <a:lnTo>
                    <a:pt x="169" y="451"/>
                  </a:lnTo>
                  <a:lnTo>
                    <a:pt x="169" y="453"/>
                  </a:lnTo>
                  <a:lnTo>
                    <a:pt x="167" y="457"/>
                  </a:lnTo>
                  <a:lnTo>
                    <a:pt x="166" y="457"/>
                  </a:lnTo>
                  <a:lnTo>
                    <a:pt x="165" y="457"/>
                  </a:lnTo>
                  <a:lnTo>
                    <a:pt x="166" y="457"/>
                  </a:lnTo>
                  <a:lnTo>
                    <a:pt x="166" y="459"/>
                  </a:lnTo>
                  <a:lnTo>
                    <a:pt x="166" y="458"/>
                  </a:lnTo>
                  <a:lnTo>
                    <a:pt x="165" y="458"/>
                  </a:lnTo>
                  <a:lnTo>
                    <a:pt x="164" y="458"/>
                  </a:lnTo>
                  <a:lnTo>
                    <a:pt x="163" y="458"/>
                  </a:lnTo>
                  <a:lnTo>
                    <a:pt x="161" y="458"/>
                  </a:lnTo>
                  <a:lnTo>
                    <a:pt x="159" y="459"/>
                  </a:lnTo>
                  <a:lnTo>
                    <a:pt x="156" y="464"/>
                  </a:lnTo>
                  <a:lnTo>
                    <a:pt x="154" y="464"/>
                  </a:lnTo>
                  <a:lnTo>
                    <a:pt x="154" y="463"/>
                  </a:lnTo>
                  <a:lnTo>
                    <a:pt x="153" y="460"/>
                  </a:lnTo>
                  <a:lnTo>
                    <a:pt x="152" y="458"/>
                  </a:lnTo>
                  <a:lnTo>
                    <a:pt x="150" y="458"/>
                  </a:lnTo>
                  <a:lnTo>
                    <a:pt x="152" y="461"/>
                  </a:lnTo>
                  <a:lnTo>
                    <a:pt x="152" y="463"/>
                  </a:lnTo>
                  <a:lnTo>
                    <a:pt x="150" y="463"/>
                  </a:lnTo>
                  <a:lnTo>
                    <a:pt x="150" y="461"/>
                  </a:lnTo>
                  <a:lnTo>
                    <a:pt x="149" y="464"/>
                  </a:lnTo>
                  <a:lnTo>
                    <a:pt x="150" y="465"/>
                  </a:lnTo>
                  <a:lnTo>
                    <a:pt x="148" y="464"/>
                  </a:lnTo>
                  <a:lnTo>
                    <a:pt x="149" y="466"/>
                  </a:lnTo>
                  <a:lnTo>
                    <a:pt x="148" y="466"/>
                  </a:lnTo>
                  <a:lnTo>
                    <a:pt x="149" y="469"/>
                  </a:lnTo>
                  <a:lnTo>
                    <a:pt x="147" y="470"/>
                  </a:lnTo>
                  <a:lnTo>
                    <a:pt x="149" y="471"/>
                  </a:lnTo>
                  <a:lnTo>
                    <a:pt x="150" y="470"/>
                  </a:lnTo>
                  <a:lnTo>
                    <a:pt x="150" y="471"/>
                  </a:lnTo>
                  <a:lnTo>
                    <a:pt x="152" y="471"/>
                  </a:lnTo>
                  <a:lnTo>
                    <a:pt x="152" y="473"/>
                  </a:lnTo>
                  <a:lnTo>
                    <a:pt x="152" y="476"/>
                  </a:lnTo>
                  <a:lnTo>
                    <a:pt x="150" y="477"/>
                  </a:lnTo>
                  <a:lnTo>
                    <a:pt x="150" y="476"/>
                  </a:lnTo>
                  <a:lnTo>
                    <a:pt x="148" y="477"/>
                  </a:lnTo>
                  <a:lnTo>
                    <a:pt x="147" y="477"/>
                  </a:lnTo>
                  <a:lnTo>
                    <a:pt x="147" y="476"/>
                  </a:lnTo>
                  <a:lnTo>
                    <a:pt x="144" y="475"/>
                  </a:lnTo>
                  <a:lnTo>
                    <a:pt x="141" y="473"/>
                  </a:lnTo>
                  <a:lnTo>
                    <a:pt x="138" y="473"/>
                  </a:lnTo>
                  <a:lnTo>
                    <a:pt x="137" y="473"/>
                  </a:lnTo>
                  <a:lnTo>
                    <a:pt x="136" y="475"/>
                  </a:lnTo>
                  <a:lnTo>
                    <a:pt x="130" y="475"/>
                  </a:lnTo>
                  <a:lnTo>
                    <a:pt x="129" y="473"/>
                  </a:lnTo>
                  <a:lnTo>
                    <a:pt x="126" y="475"/>
                  </a:lnTo>
                  <a:lnTo>
                    <a:pt x="125" y="476"/>
                  </a:lnTo>
                  <a:lnTo>
                    <a:pt x="124" y="478"/>
                  </a:lnTo>
                  <a:lnTo>
                    <a:pt x="122" y="478"/>
                  </a:lnTo>
                  <a:lnTo>
                    <a:pt x="119" y="480"/>
                  </a:lnTo>
                  <a:lnTo>
                    <a:pt x="118" y="478"/>
                  </a:lnTo>
                  <a:lnTo>
                    <a:pt x="117" y="476"/>
                  </a:lnTo>
                  <a:lnTo>
                    <a:pt x="117" y="475"/>
                  </a:lnTo>
                  <a:lnTo>
                    <a:pt x="114" y="472"/>
                  </a:lnTo>
                  <a:lnTo>
                    <a:pt x="112" y="472"/>
                  </a:lnTo>
                  <a:lnTo>
                    <a:pt x="112" y="470"/>
                  </a:lnTo>
                  <a:lnTo>
                    <a:pt x="110" y="469"/>
                  </a:lnTo>
                  <a:lnTo>
                    <a:pt x="108" y="466"/>
                  </a:lnTo>
                  <a:lnTo>
                    <a:pt x="108" y="465"/>
                  </a:lnTo>
                  <a:lnTo>
                    <a:pt x="110" y="466"/>
                  </a:lnTo>
                  <a:lnTo>
                    <a:pt x="111" y="466"/>
                  </a:lnTo>
                  <a:lnTo>
                    <a:pt x="111" y="467"/>
                  </a:lnTo>
                  <a:lnTo>
                    <a:pt x="112" y="466"/>
                  </a:lnTo>
                  <a:lnTo>
                    <a:pt x="113" y="466"/>
                  </a:lnTo>
                  <a:lnTo>
                    <a:pt x="113" y="467"/>
                  </a:lnTo>
                  <a:lnTo>
                    <a:pt x="114" y="466"/>
                  </a:lnTo>
                  <a:lnTo>
                    <a:pt x="114" y="465"/>
                  </a:lnTo>
                  <a:lnTo>
                    <a:pt x="116" y="464"/>
                  </a:lnTo>
                  <a:lnTo>
                    <a:pt x="117" y="465"/>
                  </a:lnTo>
                  <a:lnTo>
                    <a:pt x="117" y="464"/>
                  </a:lnTo>
                  <a:lnTo>
                    <a:pt x="118" y="464"/>
                  </a:lnTo>
                  <a:lnTo>
                    <a:pt x="119" y="463"/>
                  </a:lnTo>
                  <a:lnTo>
                    <a:pt x="117" y="460"/>
                  </a:lnTo>
                  <a:lnTo>
                    <a:pt x="117" y="459"/>
                  </a:lnTo>
                  <a:lnTo>
                    <a:pt x="118" y="459"/>
                  </a:lnTo>
                  <a:lnTo>
                    <a:pt x="122" y="459"/>
                  </a:lnTo>
                  <a:lnTo>
                    <a:pt x="123" y="458"/>
                  </a:lnTo>
                  <a:lnTo>
                    <a:pt x="123" y="457"/>
                  </a:lnTo>
                  <a:lnTo>
                    <a:pt x="120" y="455"/>
                  </a:lnTo>
                  <a:lnTo>
                    <a:pt x="120" y="454"/>
                  </a:lnTo>
                  <a:lnTo>
                    <a:pt x="119" y="454"/>
                  </a:lnTo>
                  <a:lnTo>
                    <a:pt x="119" y="453"/>
                  </a:lnTo>
                  <a:lnTo>
                    <a:pt x="117" y="452"/>
                  </a:lnTo>
                  <a:lnTo>
                    <a:pt x="118" y="452"/>
                  </a:lnTo>
                  <a:lnTo>
                    <a:pt x="118" y="451"/>
                  </a:lnTo>
                  <a:lnTo>
                    <a:pt x="119" y="449"/>
                  </a:lnTo>
                  <a:lnTo>
                    <a:pt x="122" y="451"/>
                  </a:lnTo>
                  <a:lnTo>
                    <a:pt x="123" y="451"/>
                  </a:lnTo>
                  <a:lnTo>
                    <a:pt x="122" y="449"/>
                  </a:lnTo>
                  <a:lnTo>
                    <a:pt x="122" y="447"/>
                  </a:lnTo>
                  <a:lnTo>
                    <a:pt x="122" y="445"/>
                  </a:lnTo>
                  <a:lnTo>
                    <a:pt x="120" y="446"/>
                  </a:lnTo>
                  <a:lnTo>
                    <a:pt x="118" y="446"/>
                  </a:lnTo>
                  <a:lnTo>
                    <a:pt x="117" y="446"/>
                  </a:lnTo>
                  <a:lnTo>
                    <a:pt x="116" y="446"/>
                  </a:lnTo>
                  <a:lnTo>
                    <a:pt x="114" y="445"/>
                  </a:lnTo>
                  <a:lnTo>
                    <a:pt x="113" y="445"/>
                  </a:lnTo>
                  <a:lnTo>
                    <a:pt x="112" y="446"/>
                  </a:lnTo>
                  <a:lnTo>
                    <a:pt x="112" y="447"/>
                  </a:lnTo>
                  <a:lnTo>
                    <a:pt x="110" y="447"/>
                  </a:lnTo>
                  <a:lnTo>
                    <a:pt x="110" y="446"/>
                  </a:lnTo>
                  <a:lnTo>
                    <a:pt x="108" y="447"/>
                  </a:lnTo>
                  <a:lnTo>
                    <a:pt x="107" y="446"/>
                  </a:lnTo>
                  <a:lnTo>
                    <a:pt x="106" y="446"/>
                  </a:lnTo>
                  <a:lnTo>
                    <a:pt x="105" y="446"/>
                  </a:lnTo>
                  <a:lnTo>
                    <a:pt x="102" y="445"/>
                  </a:lnTo>
                  <a:lnTo>
                    <a:pt x="101" y="446"/>
                  </a:lnTo>
                  <a:lnTo>
                    <a:pt x="100" y="446"/>
                  </a:lnTo>
                  <a:lnTo>
                    <a:pt x="97" y="447"/>
                  </a:lnTo>
                  <a:lnTo>
                    <a:pt x="97" y="448"/>
                  </a:lnTo>
                  <a:lnTo>
                    <a:pt x="96" y="448"/>
                  </a:lnTo>
                  <a:lnTo>
                    <a:pt x="89" y="447"/>
                  </a:lnTo>
                  <a:lnTo>
                    <a:pt x="87" y="449"/>
                  </a:lnTo>
                  <a:lnTo>
                    <a:pt x="85" y="449"/>
                  </a:lnTo>
                  <a:lnTo>
                    <a:pt x="84" y="447"/>
                  </a:lnTo>
                  <a:lnTo>
                    <a:pt x="83" y="447"/>
                  </a:lnTo>
                  <a:lnTo>
                    <a:pt x="81" y="446"/>
                  </a:lnTo>
                  <a:lnTo>
                    <a:pt x="79" y="445"/>
                  </a:lnTo>
                  <a:lnTo>
                    <a:pt x="81" y="443"/>
                  </a:lnTo>
                  <a:lnTo>
                    <a:pt x="82" y="443"/>
                  </a:lnTo>
                  <a:lnTo>
                    <a:pt x="82" y="445"/>
                  </a:lnTo>
                  <a:lnTo>
                    <a:pt x="84" y="445"/>
                  </a:lnTo>
                  <a:lnTo>
                    <a:pt x="85" y="443"/>
                  </a:lnTo>
                  <a:lnTo>
                    <a:pt x="84" y="443"/>
                  </a:lnTo>
                  <a:lnTo>
                    <a:pt x="84" y="442"/>
                  </a:lnTo>
                  <a:lnTo>
                    <a:pt x="82" y="441"/>
                  </a:lnTo>
                  <a:lnTo>
                    <a:pt x="82" y="440"/>
                  </a:lnTo>
                  <a:lnTo>
                    <a:pt x="81" y="440"/>
                  </a:lnTo>
                  <a:lnTo>
                    <a:pt x="79" y="440"/>
                  </a:lnTo>
                  <a:lnTo>
                    <a:pt x="81" y="436"/>
                  </a:lnTo>
                  <a:lnTo>
                    <a:pt x="82" y="434"/>
                  </a:lnTo>
                  <a:lnTo>
                    <a:pt x="83" y="434"/>
                  </a:lnTo>
                  <a:lnTo>
                    <a:pt x="84" y="434"/>
                  </a:lnTo>
                  <a:lnTo>
                    <a:pt x="85" y="433"/>
                  </a:lnTo>
                  <a:lnTo>
                    <a:pt x="87" y="434"/>
                  </a:lnTo>
                  <a:lnTo>
                    <a:pt x="89" y="435"/>
                  </a:lnTo>
                  <a:lnTo>
                    <a:pt x="89" y="433"/>
                  </a:lnTo>
                  <a:lnTo>
                    <a:pt x="89" y="431"/>
                  </a:lnTo>
                  <a:lnTo>
                    <a:pt x="90" y="431"/>
                  </a:lnTo>
                  <a:lnTo>
                    <a:pt x="93" y="430"/>
                  </a:lnTo>
                  <a:lnTo>
                    <a:pt x="90" y="428"/>
                  </a:lnTo>
                  <a:lnTo>
                    <a:pt x="89" y="429"/>
                  </a:lnTo>
                  <a:lnTo>
                    <a:pt x="85" y="428"/>
                  </a:lnTo>
                  <a:lnTo>
                    <a:pt x="84" y="428"/>
                  </a:lnTo>
                  <a:lnTo>
                    <a:pt x="83" y="427"/>
                  </a:lnTo>
                  <a:lnTo>
                    <a:pt x="79" y="425"/>
                  </a:lnTo>
                  <a:lnTo>
                    <a:pt x="79" y="424"/>
                  </a:lnTo>
                  <a:lnTo>
                    <a:pt x="78" y="423"/>
                  </a:lnTo>
                  <a:lnTo>
                    <a:pt x="78" y="422"/>
                  </a:lnTo>
                  <a:lnTo>
                    <a:pt x="76" y="419"/>
                  </a:lnTo>
                  <a:lnTo>
                    <a:pt x="77" y="419"/>
                  </a:lnTo>
                  <a:lnTo>
                    <a:pt x="77" y="418"/>
                  </a:lnTo>
                  <a:lnTo>
                    <a:pt x="78" y="418"/>
                  </a:lnTo>
                  <a:lnTo>
                    <a:pt x="78" y="419"/>
                  </a:lnTo>
                  <a:lnTo>
                    <a:pt x="81" y="419"/>
                  </a:lnTo>
                  <a:lnTo>
                    <a:pt x="81" y="421"/>
                  </a:lnTo>
                  <a:lnTo>
                    <a:pt x="82" y="421"/>
                  </a:lnTo>
                  <a:lnTo>
                    <a:pt x="83" y="422"/>
                  </a:lnTo>
                  <a:lnTo>
                    <a:pt x="83" y="419"/>
                  </a:lnTo>
                  <a:lnTo>
                    <a:pt x="83" y="418"/>
                  </a:lnTo>
                  <a:lnTo>
                    <a:pt x="85" y="417"/>
                  </a:lnTo>
                  <a:lnTo>
                    <a:pt x="85" y="418"/>
                  </a:lnTo>
                  <a:lnTo>
                    <a:pt x="87" y="419"/>
                  </a:lnTo>
                  <a:lnTo>
                    <a:pt x="88" y="422"/>
                  </a:lnTo>
                  <a:lnTo>
                    <a:pt x="89" y="422"/>
                  </a:lnTo>
                  <a:lnTo>
                    <a:pt x="90" y="423"/>
                  </a:lnTo>
                  <a:lnTo>
                    <a:pt x="90" y="424"/>
                  </a:lnTo>
                  <a:lnTo>
                    <a:pt x="93" y="424"/>
                  </a:lnTo>
                  <a:lnTo>
                    <a:pt x="97" y="424"/>
                  </a:lnTo>
                  <a:lnTo>
                    <a:pt x="96" y="422"/>
                  </a:lnTo>
                  <a:lnTo>
                    <a:pt x="95" y="421"/>
                  </a:lnTo>
                  <a:lnTo>
                    <a:pt x="94" y="419"/>
                  </a:lnTo>
                  <a:lnTo>
                    <a:pt x="95" y="418"/>
                  </a:lnTo>
                  <a:lnTo>
                    <a:pt x="95" y="417"/>
                  </a:lnTo>
                  <a:lnTo>
                    <a:pt x="96" y="418"/>
                  </a:lnTo>
                  <a:lnTo>
                    <a:pt x="97" y="418"/>
                  </a:lnTo>
                  <a:lnTo>
                    <a:pt x="99" y="418"/>
                  </a:lnTo>
                  <a:lnTo>
                    <a:pt x="99" y="421"/>
                  </a:lnTo>
                  <a:lnTo>
                    <a:pt x="100" y="421"/>
                  </a:lnTo>
                  <a:lnTo>
                    <a:pt x="100" y="419"/>
                  </a:lnTo>
                  <a:lnTo>
                    <a:pt x="100" y="418"/>
                  </a:lnTo>
                  <a:lnTo>
                    <a:pt x="99" y="417"/>
                  </a:lnTo>
                  <a:lnTo>
                    <a:pt x="100" y="416"/>
                  </a:lnTo>
                  <a:lnTo>
                    <a:pt x="99" y="416"/>
                  </a:lnTo>
                  <a:lnTo>
                    <a:pt x="97" y="413"/>
                  </a:lnTo>
                  <a:lnTo>
                    <a:pt x="100" y="413"/>
                  </a:lnTo>
                  <a:lnTo>
                    <a:pt x="101" y="413"/>
                  </a:lnTo>
                  <a:lnTo>
                    <a:pt x="104" y="415"/>
                  </a:lnTo>
                  <a:lnTo>
                    <a:pt x="104" y="416"/>
                  </a:lnTo>
                  <a:lnTo>
                    <a:pt x="106" y="416"/>
                  </a:lnTo>
                  <a:lnTo>
                    <a:pt x="106" y="415"/>
                  </a:lnTo>
                  <a:lnTo>
                    <a:pt x="106" y="413"/>
                  </a:lnTo>
                  <a:lnTo>
                    <a:pt x="107" y="412"/>
                  </a:lnTo>
                  <a:lnTo>
                    <a:pt x="108" y="413"/>
                  </a:lnTo>
                  <a:lnTo>
                    <a:pt x="110" y="413"/>
                  </a:lnTo>
                  <a:lnTo>
                    <a:pt x="110" y="415"/>
                  </a:lnTo>
                  <a:lnTo>
                    <a:pt x="111" y="413"/>
                  </a:lnTo>
                  <a:lnTo>
                    <a:pt x="111" y="412"/>
                  </a:lnTo>
                  <a:lnTo>
                    <a:pt x="112" y="411"/>
                  </a:lnTo>
                  <a:lnTo>
                    <a:pt x="114" y="411"/>
                  </a:lnTo>
                  <a:lnTo>
                    <a:pt x="113" y="410"/>
                  </a:lnTo>
                  <a:lnTo>
                    <a:pt x="113" y="409"/>
                  </a:lnTo>
                  <a:lnTo>
                    <a:pt x="112" y="409"/>
                  </a:lnTo>
                  <a:lnTo>
                    <a:pt x="111" y="407"/>
                  </a:lnTo>
                  <a:lnTo>
                    <a:pt x="112" y="405"/>
                  </a:lnTo>
                  <a:lnTo>
                    <a:pt x="113" y="405"/>
                  </a:lnTo>
                  <a:lnTo>
                    <a:pt x="113" y="404"/>
                  </a:lnTo>
                  <a:lnTo>
                    <a:pt x="113" y="405"/>
                  </a:lnTo>
                  <a:lnTo>
                    <a:pt x="114" y="406"/>
                  </a:lnTo>
                  <a:lnTo>
                    <a:pt x="116" y="406"/>
                  </a:lnTo>
                  <a:lnTo>
                    <a:pt x="117" y="407"/>
                  </a:lnTo>
                  <a:lnTo>
                    <a:pt x="118" y="407"/>
                  </a:lnTo>
                  <a:lnTo>
                    <a:pt x="118" y="405"/>
                  </a:lnTo>
                  <a:lnTo>
                    <a:pt x="117" y="405"/>
                  </a:lnTo>
                  <a:lnTo>
                    <a:pt x="118" y="405"/>
                  </a:lnTo>
                  <a:lnTo>
                    <a:pt x="119" y="404"/>
                  </a:lnTo>
                  <a:lnTo>
                    <a:pt x="120" y="406"/>
                  </a:lnTo>
                  <a:lnTo>
                    <a:pt x="120" y="405"/>
                  </a:lnTo>
                  <a:lnTo>
                    <a:pt x="120" y="404"/>
                  </a:lnTo>
                  <a:lnTo>
                    <a:pt x="120" y="403"/>
                  </a:lnTo>
                  <a:lnTo>
                    <a:pt x="122" y="403"/>
                  </a:lnTo>
                  <a:lnTo>
                    <a:pt x="123" y="404"/>
                  </a:lnTo>
                  <a:lnTo>
                    <a:pt x="124" y="404"/>
                  </a:lnTo>
                  <a:lnTo>
                    <a:pt x="122" y="403"/>
                  </a:lnTo>
                  <a:lnTo>
                    <a:pt x="122" y="400"/>
                  </a:lnTo>
                  <a:lnTo>
                    <a:pt x="123" y="399"/>
                  </a:lnTo>
                  <a:lnTo>
                    <a:pt x="124" y="400"/>
                  </a:lnTo>
                  <a:lnTo>
                    <a:pt x="125" y="399"/>
                  </a:lnTo>
                  <a:lnTo>
                    <a:pt x="126" y="399"/>
                  </a:lnTo>
                  <a:lnTo>
                    <a:pt x="128" y="398"/>
                  </a:lnTo>
                  <a:lnTo>
                    <a:pt x="129" y="398"/>
                  </a:lnTo>
                  <a:lnTo>
                    <a:pt x="130" y="398"/>
                  </a:lnTo>
                  <a:lnTo>
                    <a:pt x="131" y="398"/>
                  </a:lnTo>
                  <a:lnTo>
                    <a:pt x="135" y="399"/>
                  </a:lnTo>
                  <a:lnTo>
                    <a:pt x="135" y="400"/>
                  </a:lnTo>
                  <a:lnTo>
                    <a:pt x="137" y="400"/>
                  </a:lnTo>
                  <a:lnTo>
                    <a:pt x="140" y="400"/>
                  </a:lnTo>
                  <a:lnTo>
                    <a:pt x="141" y="400"/>
                  </a:lnTo>
                  <a:lnTo>
                    <a:pt x="142" y="399"/>
                  </a:lnTo>
                  <a:lnTo>
                    <a:pt x="141" y="398"/>
                  </a:lnTo>
                  <a:lnTo>
                    <a:pt x="141" y="397"/>
                  </a:lnTo>
                  <a:lnTo>
                    <a:pt x="142" y="397"/>
                  </a:lnTo>
                  <a:lnTo>
                    <a:pt x="146" y="398"/>
                  </a:lnTo>
                  <a:lnTo>
                    <a:pt x="147" y="397"/>
                  </a:lnTo>
                  <a:lnTo>
                    <a:pt x="148" y="394"/>
                  </a:lnTo>
                  <a:lnTo>
                    <a:pt x="148" y="393"/>
                  </a:lnTo>
                  <a:lnTo>
                    <a:pt x="149" y="393"/>
                  </a:lnTo>
                  <a:lnTo>
                    <a:pt x="150" y="391"/>
                  </a:lnTo>
                  <a:lnTo>
                    <a:pt x="154" y="389"/>
                  </a:lnTo>
                  <a:lnTo>
                    <a:pt x="154" y="388"/>
                  </a:lnTo>
                  <a:lnTo>
                    <a:pt x="155" y="387"/>
                  </a:lnTo>
                  <a:lnTo>
                    <a:pt x="155" y="385"/>
                  </a:lnTo>
                  <a:lnTo>
                    <a:pt x="156" y="386"/>
                  </a:lnTo>
                  <a:lnTo>
                    <a:pt x="158" y="386"/>
                  </a:lnTo>
                  <a:lnTo>
                    <a:pt x="159" y="386"/>
                  </a:lnTo>
                  <a:lnTo>
                    <a:pt x="160" y="385"/>
                  </a:lnTo>
                  <a:lnTo>
                    <a:pt x="161" y="385"/>
                  </a:lnTo>
                  <a:lnTo>
                    <a:pt x="163" y="385"/>
                  </a:lnTo>
                  <a:lnTo>
                    <a:pt x="164" y="385"/>
                  </a:lnTo>
                  <a:lnTo>
                    <a:pt x="165" y="385"/>
                  </a:lnTo>
                  <a:lnTo>
                    <a:pt x="166" y="385"/>
                  </a:lnTo>
                  <a:lnTo>
                    <a:pt x="167" y="385"/>
                  </a:lnTo>
                  <a:lnTo>
                    <a:pt x="169" y="385"/>
                  </a:lnTo>
                  <a:lnTo>
                    <a:pt x="169" y="383"/>
                  </a:lnTo>
                  <a:lnTo>
                    <a:pt x="169" y="382"/>
                  </a:lnTo>
                  <a:lnTo>
                    <a:pt x="170" y="382"/>
                  </a:lnTo>
                  <a:lnTo>
                    <a:pt x="170" y="383"/>
                  </a:lnTo>
                  <a:lnTo>
                    <a:pt x="170" y="385"/>
                  </a:lnTo>
                  <a:lnTo>
                    <a:pt x="172" y="383"/>
                  </a:lnTo>
                  <a:lnTo>
                    <a:pt x="171" y="382"/>
                  </a:lnTo>
                  <a:lnTo>
                    <a:pt x="172" y="382"/>
                  </a:lnTo>
                  <a:lnTo>
                    <a:pt x="173" y="381"/>
                  </a:lnTo>
                  <a:lnTo>
                    <a:pt x="175" y="380"/>
                  </a:lnTo>
                  <a:lnTo>
                    <a:pt x="175" y="381"/>
                  </a:lnTo>
                  <a:lnTo>
                    <a:pt x="177" y="381"/>
                  </a:lnTo>
                  <a:lnTo>
                    <a:pt x="177" y="380"/>
                  </a:lnTo>
                  <a:lnTo>
                    <a:pt x="176" y="380"/>
                  </a:lnTo>
                  <a:lnTo>
                    <a:pt x="177" y="380"/>
                  </a:lnTo>
                  <a:lnTo>
                    <a:pt x="177" y="379"/>
                  </a:lnTo>
                  <a:lnTo>
                    <a:pt x="178" y="379"/>
                  </a:lnTo>
                  <a:lnTo>
                    <a:pt x="179" y="379"/>
                  </a:lnTo>
                  <a:lnTo>
                    <a:pt x="179" y="381"/>
                  </a:lnTo>
                  <a:lnTo>
                    <a:pt x="181" y="381"/>
                  </a:lnTo>
                  <a:lnTo>
                    <a:pt x="181" y="380"/>
                  </a:lnTo>
                  <a:lnTo>
                    <a:pt x="183" y="381"/>
                  </a:lnTo>
                  <a:lnTo>
                    <a:pt x="184" y="381"/>
                  </a:lnTo>
                  <a:lnTo>
                    <a:pt x="184" y="380"/>
                  </a:lnTo>
                  <a:lnTo>
                    <a:pt x="183" y="380"/>
                  </a:lnTo>
                  <a:lnTo>
                    <a:pt x="182" y="380"/>
                  </a:lnTo>
                  <a:lnTo>
                    <a:pt x="182" y="379"/>
                  </a:lnTo>
                  <a:lnTo>
                    <a:pt x="183" y="379"/>
                  </a:lnTo>
                  <a:lnTo>
                    <a:pt x="183" y="377"/>
                  </a:lnTo>
                  <a:lnTo>
                    <a:pt x="184" y="377"/>
                  </a:lnTo>
                  <a:lnTo>
                    <a:pt x="184" y="376"/>
                  </a:lnTo>
                  <a:lnTo>
                    <a:pt x="185" y="377"/>
                  </a:lnTo>
                  <a:lnTo>
                    <a:pt x="185" y="376"/>
                  </a:lnTo>
                  <a:lnTo>
                    <a:pt x="184" y="376"/>
                  </a:lnTo>
                  <a:lnTo>
                    <a:pt x="187" y="374"/>
                  </a:lnTo>
                  <a:lnTo>
                    <a:pt x="185" y="374"/>
                  </a:lnTo>
                  <a:lnTo>
                    <a:pt x="185" y="373"/>
                  </a:lnTo>
                  <a:lnTo>
                    <a:pt x="184" y="374"/>
                  </a:lnTo>
                  <a:lnTo>
                    <a:pt x="184" y="375"/>
                  </a:lnTo>
                  <a:lnTo>
                    <a:pt x="183" y="375"/>
                  </a:lnTo>
                  <a:lnTo>
                    <a:pt x="183" y="376"/>
                  </a:lnTo>
                  <a:lnTo>
                    <a:pt x="182" y="376"/>
                  </a:lnTo>
                  <a:lnTo>
                    <a:pt x="179" y="376"/>
                  </a:lnTo>
                  <a:lnTo>
                    <a:pt x="179" y="374"/>
                  </a:lnTo>
                  <a:lnTo>
                    <a:pt x="179" y="373"/>
                  </a:lnTo>
                  <a:lnTo>
                    <a:pt x="177" y="371"/>
                  </a:lnTo>
                  <a:lnTo>
                    <a:pt x="176" y="371"/>
                  </a:lnTo>
                  <a:lnTo>
                    <a:pt x="176" y="370"/>
                  </a:lnTo>
                  <a:lnTo>
                    <a:pt x="176" y="373"/>
                  </a:lnTo>
                  <a:lnTo>
                    <a:pt x="175" y="374"/>
                  </a:lnTo>
                  <a:lnTo>
                    <a:pt x="172" y="374"/>
                  </a:lnTo>
                  <a:lnTo>
                    <a:pt x="171" y="374"/>
                  </a:lnTo>
                  <a:lnTo>
                    <a:pt x="169" y="374"/>
                  </a:lnTo>
                  <a:lnTo>
                    <a:pt x="169" y="376"/>
                  </a:lnTo>
                  <a:lnTo>
                    <a:pt x="166" y="376"/>
                  </a:lnTo>
                  <a:lnTo>
                    <a:pt x="165" y="377"/>
                  </a:lnTo>
                  <a:lnTo>
                    <a:pt x="164" y="377"/>
                  </a:lnTo>
                  <a:lnTo>
                    <a:pt x="163" y="377"/>
                  </a:lnTo>
                  <a:lnTo>
                    <a:pt x="163" y="376"/>
                  </a:lnTo>
                  <a:lnTo>
                    <a:pt x="161" y="375"/>
                  </a:lnTo>
                  <a:lnTo>
                    <a:pt x="163" y="375"/>
                  </a:lnTo>
                  <a:lnTo>
                    <a:pt x="163" y="374"/>
                  </a:lnTo>
                  <a:lnTo>
                    <a:pt x="160" y="374"/>
                  </a:lnTo>
                  <a:lnTo>
                    <a:pt x="159" y="375"/>
                  </a:lnTo>
                  <a:lnTo>
                    <a:pt x="158" y="376"/>
                  </a:lnTo>
                  <a:lnTo>
                    <a:pt x="158" y="377"/>
                  </a:lnTo>
                  <a:lnTo>
                    <a:pt x="158" y="376"/>
                  </a:lnTo>
                  <a:lnTo>
                    <a:pt x="159" y="376"/>
                  </a:lnTo>
                  <a:lnTo>
                    <a:pt x="158" y="377"/>
                  </a:lnTo>
                  <a:lnTo>
                    <a:pt x="155" y="379"/>
                  </a:lnTo>
                  <a:lnTo>
                    <a:pt x="154" y="379"/>
                  </a:lnTo>
                  <a:lnTo>
                    <a:pt x="154" y="380"/>
                  </a:lnTo>
                  <a:lnTo>
                    <a:pt x="153" y="380"/>
                  </a:lnTo>
                  <a:lnTo>
                    <a:pt x="153" y="381"/>
                  </a:lnTo>
                  <a:lnTo>
                    <a:pt x="154" y="382"/>
                  </a:lnTo>
                  <a:lnTo>
                    <a:pt x="154" y="383"/>
                  </a:lnTo>
                  <a:lnTo>
                    <a:pt x="152" y="383"/>
                  </a:lnTo>
                  <a:lnTo>
                    <a:pt x="153" y="382"/>
                  </a:lnTo>
                  <a:lnTo>
                    <a:pt x="150" y="383"/>
                  </a:lnTo>
                  <a:lnTo>
                    <a:pt x="152" y="381"/>
                  </a:lnTo>
                  <a:lnTo>
                    <a:pt x="150" y="381"/>
                  </a:lnTo>
                  <a:lnTo>
                    <a:pt x="150" y="383"/>
                  </a:lnTo>
                  <a:lnTo>
                    <a:pt x="152" y="385"/>
                  </a:lnTo>
                  <a:lnTo>
                    <a:pt x="150" y="386"/>
                  </a:lnTo>
                  <a:lnTo>
                    <a:pt x="149" y="386"/>
                  </a:lnTo>
                  <a:lnTo>
                    <a:pt x="148" y="387"/>
                  </a:lnTo>
                  <a:lnTo>
                    <a:pt x="147" y="387"/>
                  </a:lnTo>
                  <a:lnTo>
                    <a:pt x="146" y="385"/>
                  </a:lnTo>
                  <a:lnTo>
                    <a:pt x="147" y="383"/>
                  </a:lnTo>
                  <a:lnTo>
                    <a:pt x="144" y="382"/>
                  </a:lnTo>
                  <a:lnTo>
                    <a:pt x="146" y="381"/>
                  </a:lnTo>
                  <a:lnTo>
                    <a:pt x="146" y="380"/>
                  </a:lnTo>
                  <a:lnTo>
                    <a:pt x="147" y="379"/>
                  </a:lnTo>
                  <a:lnTo>
                    <a:pt x="146" y="377"/>
                  </a:lnTo>
                  <a:lnTo>
                    <a:pt x="146" y="380"/>
                  </a:lnTo>
                  <a:lnTo>
                    <a:pt x="144" y="380"/>
                  </a:lnTo>
                  <a:lnTo>
                    <a:pt x="143" y="380"/>
                  </a:lnTo>
                  <a:lnTo>
                    <a:pt x="143" y="382"/>
                  </a:lnTo>
                  <a:lnTo>
                    <a:pt x="142" y="383"/>
                  </a:lnTo>
                  <a:lnTo>
                    <a:pt x="141" y="383"/>
                  </a:lnTo>
                  <a:lnTo>
                    <a:pt x="141" y="382"/>
                  </a:lnTo>
                  <a:lnTo>
                    <a:pt x="141" y="383"/>
                  </a:lnTo>
                  <a:lnTo>
                    <a:pt x="138" y="382"/>
                  </a:lnTo>
                  <a:lnTo>
                    <a:pt x="137" y="383"/>
                  </a:lnTo>
                  <a:lnTo>
                    <a:pt x="137" y="382"/>
                  </a:lnTo>
                  <a:lnTo>
                    <a:pt x="136" y="383"/>
                  </a:lnTo>
                  <a:lnTo>
                    <a:pt x="135" y="383"/>
                  </a:lnTo>
                  <a:lnTo>
                    <a:pt x="135" y="382"/>
                  </a:lnTo>
                  <a:lnTo>
                    <a:pt x="134" y="382"/>
                  </a:lnTo>
                  <a:lnTo>
                    <a:pt x="132" y="381"/>
                  </a:lnTo>
                  <a:lnTo>
                    <a:pt x="134" y="380"/>
                  </a:lnTo>
                  <a:lnTo>
                    <a:pt x="134" y="379"/>
                  </a:lnTo>
                  <a:lnTo>
                    <a:pt x="135" y="379"/>
                  </a:lnTo>
                  <a:lnTo>
                    <a:pt x="136" y="379"/>
                  </a:lnTo>
                  <a:lnTo>
                    <a:pt x="136" y="377"/>
                  </a:lnTo>
                  <a:lnTo>
                    <a:pt x="136" y="376"/>
                  </a:lnTo>
                  <a:lnTo>
                    <a:pt x="136" y="375"/>
                  </a:lnTo>
                  <a:lnTo>
                    <a:pt x="137" y="374"/>
                  </a:lnTo>
                  <a:lnTo>
                    <a:pt x="138" y="373"/>
                  </a:lnTo>
                  <a:lnTo>
                    <a:pt x="138" y="374"/>
                  </a:lnTo>
                  <a:lnTo>
                    <a:pt x="140" y="373"/>
                  </a:lnTo>
                  <a:lnTo>
                    <a:pt x="141" y="373"/>
                  </a:lnTo>
                  <a:lnTo>
                    <a:pt x="142" y="371"/>
                  </a:lnTo>
                  <a:lnTo>
                    <a:pt x="142" y="370"/>
                  </a:lnTo>
                  <a:lnTo>
                    <a:pt x="142" y="369"/>
                  </a:lnTo>
                  <a:lnTo>
                    <a:pt x="143" y="369"/>
                  </a:lnTo>
                  <a:lnTo>
                    <a:pt x="144" y="369"/>
                  </a:lnTo>
                  <a:lnTo>
                    <a:pt x="146" y="369"/>
                  </a:lnTo>
                  <a:lnTo>
                    <a:pt x="144" y="368"/>
                  </a:lnTo>
                  <a:lnTo>
                    <a:pt x="144" y="366"/>
                  </a:lnTo>
                  <a:lnTo>
                    <a:pt x="143" y="365"/>
                  </a:lnTo>
                  <a:lnTo>
                    <a:pt x="142" y="365"/>
                  </a:lnTo>
                  <a:lnTo>
                    <a:pt x="142" y="366"/>
                  </a:lnTo>
                  <a:lnTo>
                    <a:pt x="141" y="368"/>
                  </a:lnTo>
                  <a:lnTo>
                    <a:pt x="140" y="369"/>
                  </a:lnTo>
                  <a:lnTo>
                    <a:pt x="138" y="369"/>
                  </a:lnTo>
                  <a:lnTo>
                    <a:pt x="136" y="369"/>
                  </a:lnTo>
                  <a:lnTo>
                    <a:pt x="136" y="368"/>
                  </a:lnTo>
                  <a:lnTo>
                    <a:pt x="135" y="368"/>
                  </a:lnTo>
                  <a:lnTo>
                    <a:pt x="134" y="368"/>
                  </a:lnTo>
                  <a:lnTo>
                    <a:pt x="132" y="369"/>
                  </a:lnTo>
                  <a:lnTo>
                    <a:pt x="131" y="369"/>
                  </a:lnTo>
                  <a:lnTo>
                    <a:pt x="130" y="369"/>
                  </a:lnTo>
                  <a:lnTo>
                    <a:pt x="129" y="370"/>
                  </a:lnTo>
                  <a:lnTo>
                    <a:pt x="128" y="370"/>
                  </a:lnTo>
                  <a:lnTo>
                    <a:pt x="126" y="371"/>
                  </a:lnTo>
                  <a:lnTo>
                    <a:pt x="125" y="370"/>
                  </a:lnTo>
                  <a:lnTo>
                    <a:pt x="124" y="370"/>
                  </a:lnTo>
                  <a:lnTo>
                    <a:pt x="125" y="369"/>
                  </a:lnTo>
                  <a:lnTo>
                    <a:pt x="124" y="368"/>
                  </a:lnTo>
                  <a:lnTo>
                    <a:pt x="126" y="368"/>
                  </a:lnTo>
                  <a:lnTo>
                    <a:pt x="126" y="366"/>
                  </a:lnTo>
                  <a:lnTo>
                    <a:pt x="128" y="365"/>
                  </a:lnTo>
                  <a:lnTo>
                    <a:pt x="128" y="366"/>
                  </a:lnTo>
                  <a:lnTo>
                    <a:pt x="129" y="366"/>
                  </a:lnTo>
                  <a:lnTo>
                    <a:pt x="129" y="365"/>
                  </a:lnTo>
                  <a:lnTo>
                    <a:pt x="128" y="364"/>
                  </a:lnTo>
                  <a:lnTo>
                    <a:pt x="126" y="363"/>
                  </a:lnTo>
                  <a:lnTo>
                    <a:pt x="126" y="362"/>
                  </a:lnTo>
                  <a:lnTo>
                    <a:pt x="126" y="360"/>
                  </a:lnTo>
                  <a:lnTo>
                    <a:pt x="126" y="359"/>
                  </a:lnTo>
                  <a:lnTo>
                    <a:pt x="128" y="358"/>
                  </a:lnTo>
                  <a:lnTo>
                    <a:pt x="129" y="358"/>
                  </a:lnTo>
                  <a:lnTo>
                    <a:pt x="130" y="358"/>
                  </a:lnTo>
                  <a:lnTo>
                    <a:pt x="132" y="358"/>
                  </a:lnTo>
                  <a:lnTo>
                    <a:pt x="136" y="357"/>
                  </a:lnTo>
                  <a:lnTo>
                    <a:pt x="136" y="354"/>
                  </a:lnTo>
                  <a:lnTo>
                    <a:pt x="136" y="352"/>
                  </a:lnTo>
                  <a:lnTo>
                    <a:pt x="137" y="351"/>
                  </a:lnTo>
                  <a:lnTo>
                    <a:pt x="138" y="351"/>
                  </a:lnTo>
                  <a:lnTo>
                    <a:pt x="140" y="351"/>
                  </a:lnTo>
                  <a:lnTo>
                    <a:pt x="141" y="350"/>
                  </a:lnTo>
                  <a:lnTo>
                    <a:pt x="142" y="348"/>
                  </a:lnTo>
                  <a:lnTo>
                    <a:pt x="142" y="347"/>
                  </a:lnTo>
                  <a:lnTo>
                    <a:pt x="142" y="345"/>
                  </a:lnTo>
                  <a:lnTo>
                    <a:pt x="144" y="345"/>
                  </a:lnTo>
                  <a:lnTo>
                    <a:pt x="144" y="346"/>
                  </a:lnTo>
                  <a:lnTo>
                    <a:pt x="144" y="345"/>
                  </a:lnTo>
                  <a:lnTo>
                    <a:pt x="146" y="345"/>
                  </a:lnTo>
                  <a:lnTo>
                    <a:pt x="147" y="345"/>
                  </a:lnTo>
                  <a:lnTo>
                    <a:pt x="148" y="341"/>
                  </a:lnTo>
                  <a:lnTo>
                    <a:pt x="148" y="340"/>
                  </a:lnTo>
                  <a:lnTo>
                    <a:pt x="149" y="339"/>
                  </a:lnTo>
                  <a:lnTo>
                    <a:pt x="150" y="340"/>
                  </a:lnTo>
                  <a:lnTo>
                    <a:pt x="150" y="339"/>
                  </a:lnTo>
                  <a:lnTo>
                    <a:pt x="152" y="338"/>
                  </a:lnTo>
                  <a:lnTo>
                    <a:pt x="153" y="339"/>
                  </a:lnTo>
                  <a:lnTo>
                    <a:pt x="153" y="340"/>
                  </a:lnTo>
                  <a:lnTo>
                    <a:pt x="154" y="339"/>
                  </a:lnTo>
                  <a:lnTo>
                    <a:pt x="155" y="338"/>
                  </a:lnTo>
                  <a:lnTo>
                    <a:pt x="156" y="336"/>
                  </a:lnTo>
                  <a:lnTo>
                    <a:pt x="156" y="338"/>
                  </a:lnTo>
                  <a:lnTo>
                    <a:pt x="158" y="338"/>
                  </a:lnTo>
                  <a:lnTo>
                    <a:pt x="160" y="336"/>
                  </a:lnTo>
                  <a:lnTo>
                    <a:pt x="160" y="339"/>
                  </a:lnTo>
                  <a:lnTo>
                    <a:pt x="161" y="336"/>
                  </a:lnTo>
                  <a:lnTo>
                    <a:pt x="161" y="335"/>
                  </a:lnTo>
                  <a:lnTo>
                    <a:pt x="163" y="334"/>
                  </a:lnTo>
                  <a:lnTo>
                    <a:pt x="165" y="334"/>
                  </a:lnTo>
                  <a:lnTo>
                    <a:pt x="166" y="334"/>
                  </a:lnTo>
                  <a:lnTo>
                    <a:pt x="165" y="333"/>
                  </a:lnTo>
                  <a:lnTo>
                    <a:pt x="166" y="332"/>
                  </a:lnTo>
                  <a:lnTo>
                    <a:pt x="167" y="330"/>
                  </a:lnTo>
                  <a:lnTo>
                    <a:pt x="167" y="332"/>
                  </a:lnTo>
                  <a:lnTo>
                    <a:pt x="167" y="329"/>
                  </a:lnTo>
                  <a:lnTo>
                    <a:pt x="170" y="329"/>
                  </a:lnTo>
                  <a:lnTo>
                    <a:pt x="169" y="328"/>
                  </a:lnTo>
                  <a:lnTo>
                    <a:pt x="169" y="327"/>
                  </a:lnTo>
                  <a:lnTo>
                    <a:pt x="170" y="328"/>
                  </a:lnTo>
                  <a:lnTo>
                    <a:pt x="170" y="327"/>
                  </a:lnTo>
                  <a:lnTo>
                    <a:pt x="172" y="327"/>
                  </a:lnTo>
                  <a:lnTo>
                    <a:pt x="170" y="324"/>
                  </a:lnTo>
                  <a:lnTo>
                    <a:pt x="171" y="323"/>
                  </a:lnTo>
                  <a:lnTo>
                    <a:pt x="171" y="324"/>
                  </a:lnTo>
                  <a:lnTo>
                    <a:pt x="172" y="323"/>
                  </a:lnTo>
                  <a:lnTo>
                    <a:pt x="170" y="323"/>
                  </a:lnTo>
                  <a:lnTo>
                    <a:pt x="169" y="323"/>
                  </a:lnTo>
                  <a:lnTo>
                    <a:pt x="167" y="324"/>
                  </a:lnTo>
                  <a:lnTo>
                    <a:pt x="166" y="324"/>
                  </a:lnTo>
                  <a:lnTo>
                    <a:pt x="165" y="324"/>
                  </a:lnTo>
                  <a:lnTo>
                    <a:pt x="164" y="324"/>
                  </a:lnTo>
                  <a:lnTo>
                    <a:pt x="161" y="326"/>
                  </a:lnTo>
                  <a:lnTo>
                    <a:pt x="160" y="326"/>
                  </a:lnTo>
                  <a:lnTo>
                    <a:pt x="158" y="326"/>
                  </a:lnTo>
                  <a:lnTo>
                    <a:pt x="156" y="327"/>
                  </a:lnTo>
                  <a:lnTo>
                    <a:pt x="154" y="328"/>
                  </a:lnTo>
                  <a:lnTo>
                    <a:pt x="155" y="328"/>
                  </a:lnTo>
                  <a:lnTo>
                    <a:pt x="154" y="328"/>
                  </a:lnTo>
                  <a:lnTo>
                    <a:pt x="153" y="328"/>
                  </a:lnTo>
                  <a:lnTo>
                    <a:pt x="150" y="328"/>
                  </a:lnTo>
                  <a:lnTo>
                    <a:pt x="149" y="329"/>
                  </a:lnTo>
                  <a:lnTo>
                    <a:pt x="148" y="329"/>
                  </a:lnTo>
                  <a:lnTo>
                    <a:pt x="147" y="329"/>
                  </a:lnTo>
                  <a:lnTo>
                    <a:pt x="147" y="330"/>
                  </a:lnTo>
                  <a:lnTo>
                    <a:pt x="146" y="330"/>
                  </a:lnTo>
                  <a:lnTo>
                    <a:pt x="143" y="332"/>
                  </a:lnTo>
                  <a:lnTo>
                    <a:pt x="141" y="333"/>
                  </a:lnTo>
                  <a:lnTo>
                    <a:pt x="140" y="333"/>
                  </a:lnTo>
                  <a:lnTo>
                    <a:pt x="138" y="334"/>
                  </a:lnTo>
                  <a:lnTo>
                    <a:pt x="135" y="335"/>
                  </a:lnTo>
                  <a:lnTo>
                    <a:pt x="134" y="336"/>
                  </a:lnTo>
                  <a:lnTo>
                    <a:pt x="132" y="338"/>
                  </a:lnTo>
                  <a:lnTo>
                    <a:pt x="130" y="340"/>
                  </a:lnTo>
                  <a:lnTo>
                    <a:pt x="130" y="341"/>
                  </a:lnTo>
                  <a:lnTo>
                    <a:pt x="130" y="340"/>
                  </a:lnTo>
                  <a:lnTo>
                    <a:pt x="131" y="340"/>
                  </a:lnTo>
                  <a:lnTo>
                    <a:pt x="132" y="340"/>
                  </a:lnTo>
                  <a:lnTo>
                    <a:pt x="134" y="341"/>
                  </a:lnTo>
                  <a:lnTo>
                    <a:pt x="132" y="341"/>
                  </a:lnTo>
                  <a:lnTo>
                    <a:pt x="134" y="342"/>
                  </a:lnTo>
                  <a:lnTo>
                    <a:pt x="135" y="342"/>
                  </a:lnTo>
                  <a:lnTo>
                    <a:pt x="134" y="342"/>
                  </a:lnTo>
                  <a:lnTo>
                    <a:pt x="135" y="344"/>
                  </a:lnTo>
                  <a:lnTo>
                    <a:pt x="135" y="345"/>
                  </a:lnTo>
                  <a:lnTo>
                    <a:pt x="134" y="345"/>
                  </a:lnTo>
                  <a:lnTo>
                    <a:pt x="132" y="347"/>
                  </a:lnTo>
                  <a:lnTo>
                    <a:pt x="135" y="347"/>
                  </a:lnTo>
                  <a:lnTo>
                    <a:pt x="136" y="348"/>
                  </a:lnTo>
                  <a:lnTo>
                    <a:pt x="135" y="348"/>
                  </a:lnTo>
                  <a:lnTo>
                    <a:pt x="135" y="350"/>
                  </a:lnTo>
                  <a:lnTo>
                    <a:pt x="135" y="351"/>
                  </a:lnTo>
                  <a:lnTo>
                    <a:pt x="135" y="352"/>
                  </a:lnTo>
                  <a:lnTo>
                    <a:pt x="135" y="353"/>
                  </a:lnTo>
                  <a:lnTo>
                    <a:pt x="134" y="353"/>
                  </a:lnTo>
                  <a:lnTo>
                    <a:pt x="132" y="354"/>
                  </a:lnTo>
                  <a:lnTo>
                    <a:pt x="130" y="354"/>
                  </a:lnTo>
                  <a:lnTo>
                    <a:pt x="131" y="353"/>
                  </a:lnTo>
                  <a:lnTo>
                    <a:pt x="128" y="352"/>
                  </a:lnTo>
                  <a:lnTo>
                    <a:pt x="128" y="356"/>
                  </a:lnTo>
                  <a:lnTo>
                    <a:pt x="126" y="358"/>
                  </a:lnTo>
                  <a:lnTo>
                    <a:pt x="126" y="359"/>
                  </a:lnTo>
                  <a:lnTo>
                    <a:pt x="125" y="359"/>
                  </a:lnTo>
                  <a:lnTo>
                    <a:pt x="124" y="360"/>
                  </a:lnTo>
                  <a:lnTo>
                    <a:pt x="125" y="362"/>
                  </a:lnTo>
                  <a:lnTo>
                    <a:pt x="123" y="360"/>
                  </a:lnTo>
                  <a:lnTo>
                    <a:pt x="124" y="362"/>
                  </a:lnTo>
                  <a:lnTo>
                    <a:pt x="124" y="363"/>
                  </a:lnTo>
                  <a:lnTo>
                    <a:pt x="123" y="364"/>
                  </a:lnTo>
                  <a:lnTo>
                    <a:pt x="122" y="364"/>
                  </a:lnTo>
                  <a:lnTo>
                    <a:pt x="120" y="363"/>
                  </a:lnTo>
                  <a:lnTo>
                    <a:pt x="119" y="364"/>
                  </a:lnTo>
                  <a:lnTo>
                    <a:pt x="119" y="365"/>
                  </a:lnTo>
                  <a:lnTo>
                    <a:pt x="118" y="365"/>
                  </a:lnTo>
                  <a:lnTo>
                    <a:pt x="117" y="365"/>
                  </a:lnTo>
                  <a:lnTo>
                    <a:pt x="117" y="366"/>
                  </a:lnTo>
                  <a:lnTo>
                    <a:pt x="114" y="365"/>
                  </a:lnTo>
                  <a:lnTo>
                    <a:pt x="113" y="365"/>
                  </a:lnTo>
                  <a:lnTo>
                    <a:pt x="113" y="364"/>
                  </a:lnTo>
                  <a:lnTo>
                    <a:pt x="113" y="363"/>
                  </a:lnTo>
                  <a:lnTo>
                    <a:pt x="114" y="362"/>
                  </a:lnTo>
                  <a:lnTo>
                    <a:pt x="114" y="360"/>
                  </a:lnTo>
                  <a:lnTo>
                    <a:pt x="116" y="359"/>
                  </a:lnTo>
                  <a:lnTo>
                    <a:pt x="114" y="358"/>
                  </a:lnTo>
                  <a:lnTo>
                    <a:pt x="113" y="357"/>
                  </a:lnTo>
                  <a:lnTo>
                    <a:pt x="111" y="356"/>
                  </a:lnTo>
                  <a:lnTo>
                    <a:pt x="110" y="357"/>
                  </a:lnTo>
                  <a:lnTo>
                    <a:pt x="108" y="358"/>
                  </a:lnTo>
                  <a:lnTo>
                    <a:pt x="106" y="360"/>
                  </a:lnTo>
                  <a:lnTo>
                    <a:pt x="105" y="364"/>
                  </a:lnTo>
                  <a:lnTo>
                    <a:pt x="104" y="365"/>
                  </a:lnTo>
                  <a:lnTo>
                    <a:pt x="102" y="366"/>
                  </a:lnTo>
                  <a:lnTo>
                    <a:pt x="102" y="368"/>
                  </a:lnTo>
                  <a:lnTo>
                    <a:pt x="102" y="370"/>
                  </a:lnTo>
                  <a:lnTo>
                    <a:pt x="101" y="370"/>
                  </a:lnTo>
                  <a:lnTo>
                    <a:pt x="100" y="371"/>
                  </a:lnTo>
                  <a:lnTo>
                    <a:pt x="99" y="371"/>
                  </a:lnTo>
                  <a:lnTo>
                    <a:pt x="99" y="373"/>
                  </a:lnTo>
                  <a:lnTo>
                    <a:pt x="96" y="373"/>
                  </a:lnTo>
                  <a:lnTo>
                    <a:pt x="95" y="373"/>
                  </a:lnTo>
                  <a:lnTo>
                    <a:pt x="95" y="371"/>
                  </a:lnTo>
                  <a:lnTo>
                    <a:pt x="95" y="370"/>
                  </a:lnTo>
                  <a:lnTo>
                    <a:pt x="94" y="370"/>
                  </a:lnTo>
                  <a:lnTo>
                    <a:pt x="93" y="370"/>
                  </a:lnTo>
                  <a:lnTo>
                    <a:pt x="93" y="369"/>
                  </a:lnTo>
                  <a:lnTo>
                    <a:pt x="91" y="369"/>
                  </a:lnTo>
                  <a:lnTo>
                    <a:pt x="91" y="370"/>
                  </a:lnTo>
                  <a:lnTo>
                    <a:pt x="89" y="370"/>
                  </a:lnTo>
                  <a:lnTo>
                    <a:pt x="89" y="371"/>
                  </a:lnTo>
                  <a:lnTo>
                    <a:pt x="88" y="373"/>
                  </a:lnTo>
                  <a:lnTo>
                    <a:pt x="88" y="374"/>
                  </a:lnTo>
                  <a:lnTo>
                    <a:pt x="88" y="375"/>
                  </a:lnTo>
                  <a:lnTo>
                    <a:pt x="87" y="376"/>
                  </a:lnTo>
                  <a:lnTo>
                    <a:pt x="88" y="376"/>
                  </a:lnTo>
                  <a:lnTo>
                    <a:pt x="87" y="376"/>
                  </a:lnTo>
                  <a:lnTo>
                    <a:pt x="89" y="377"/>
                  </a:lnTo>
                  <a:lnTo>
                    <a:pt x="87" y="379"/>
                  </a:lnTo>
                  <a:lnTo>
                    <a:pt x="87" y="377"/>
                  </a:lnTo>
                  <a:lnTo>
                    <a:pt x="85" y="376"/>
                  </a:lnTo>
                  <a:lnTo>
                    <a:pt x="84" y="377"/>
                  </a:lnTo>
                  <a:lnTo>
                    <a:pt x="85" y="380"/>
                  </a:lnTo>
                  <a:lnTo>
                    <a:pt x="84" y="380"/>
                  </a:lnTo>
                  <a:lnTo>
                    <a:pt x="83" y="380"/>
                  </a:lnTo>
                  <a:lnTo>
                    <a:pt x="81" y="380"/>
                  </a:lnTo>
                  <a:lnTo>
                    <a:pt x="79" y="379"/>
                  </a:lnTo>
                  <a:lnTo>
                    <a:pt x="83" y="377"/>
                  </a:lnTo>
                  <a:lnTo>
                    <a:pt x="81" y="377"/>
                  </a:lnTo>
                  <a:lnTo>
                    <a:pt x="79" y="376"/>
                  </a:lnTo>
                  <a:lnTo>
                    <a:pt x="79" y="379"/>
                  </a:lnTo>
                  <a:lnTo>
                    <a:pt x="78" y="379"/>
                  </a:lnTo>
                  <a:lnTo>
                    <a:pt x="76" y="381"/>
                  </a:lnTo>
                  <a:lnTo>
                    <a:pt x="75" y="381"/>
                  </a:lnTo>
                  <a:lnTo>
                    <a:pt x="75" y="382"/>
                  </a:lnTo>
                  <a:lnTo>
                    <a:pt x="75" y="383"/>
                  </a:lnTo>
                  <a:lnTo>
                    <a:pt x="73" y="383"/>
                  </a:lnTo>
                  <a:lnTo>
                    <a:pt x="75" y="385"/>
                  </a:lnTo>
                  <a:lnTo>
                    <a:pt x="76" y="385"/>
                  </a:lnTo>
                  <a:lnTo>
                    <a:pt x="76" y="386"/>
                  </a:lnTo>
                  <a:lnTo>
                    <a:pt x="73" y="387"/>
                  </a:lnTo>
                  <a:lnTo>
                    <a:pt x="73" y="388"/>
                  </a:lnTo>
                  <a:lnTo>
                    <a:pt x="72" y="389"/>
                  </a:lnTo>
                  <a:lnTo>
                    <a:pt x="71" y="391"/>
                  </a:lnTo>
                  <a:lnTo>
                    <a:pt x="70" y="391"/>
                  </a:lnTo>
                  <a:lnTo>
                    <a:pt x="69" y="391"/>
                  </a:lnTo>
                  <a:lnTo>
                    <a:pt x="67" y="389"/>
                  </a:lnTo>
                  <a:lnTo>
                    <a:pt x="66" y="388"/>
                  </a:lnTo>
                  <a:lnTo>
                    <a:pt x="65" y="387"/>
                  </a:lnTo>
                  <a:lnTo>
                    <a:pt x="67" y="387"/>
                  </a:lnTo>
                  <a:lnTo>
                    <a:pt x="64" y="386"/>
                  </a:lnTo>
                  <a:lnTo>
                    <a:pt x="61" y="387"/>
                  </a:lnTo>
                  <a:lnTo>
                    <a:pt x="60" y="388"/>
                  </a:lnTo>
                  <a:lnTo>
                    <a:pt x="59" y="387"/>
                  </a:lnTo>
                  <a:lnTo>
                    <a:pt x="58" y="387"/>
                  </a:lnTo>
                  <a:lnTo>
                    <a:pt x="57" y="387"/>
                  </a:lnTo>
                  <a:lnTo>
                    <a:pt x="54" y="387"/>
                  </a:lnTo>
                  <a:lnTo>
                    <a:pt x="54" y="386"/>
                  </a:lnTo>
                  <a:lnTo>
                    <a:pt x="52" y="385"/>
                  </a:lnTo>
                  <a:lnTo>
                    <a:pt x="53" y="385"/>
                  </a:lnTo>
                  <a:lnTo>
                    <a:pt x="53" y="383"/>
                  </a:lnTo>
                  <a:lnTo>
                    <a:pt x="53" y="382"/>
                  </a:lnTo>
                  <a:lnTo>
                    <a:pt x="52" y="382"/>
                  </a:lnTo>
                  <a:lnTo>
                    <a:pt x="51" y="382"/>
                  </a:lnTo>
                  <a:lnTo>
                    <a:pt x="51" y="381"/>
                  </a:lnTo>
                  <a:lnTo>
                    <a:pt x="47" y="380"/>
                  </a:lnTo>
                  <a:lnTo>
                    <a:pt x="48" y="379"/>
                  </a:lnTo>
                  <a:lnTo>
                    <a:pt x="53" y="379"/>
                  </a:lnTo>
                  <a:lnTo>
                    <a:pt x="52" y="377"/>
                  </a:lnTo>
                  <a:lnTo>
                    <a:pt x="49" y="376"/>
                  </a:lnTo>
                  <a:lnTo>
                    <a:pt x="48" y="374"/>
                  </a:lnTo>
                  <a:lnTo>
                    <a:pt x="47" y="373"/>
                  </a:lnTo>
                  <a:lnTo>
                    <a:pt x="47" y="371"/>
                  </a:lnTo>
                  <a:lnTo>
                    <a:pt x="48" y="370"/>
                  </a:lnTo>
                  <a:lnTo>
                    <a:pt x="49" y="370"/>
                  </a:lnTo>
                  <a:lnTo>
                    <a:pt x="49" y="371"/>
                  </a:lnTo>
                  <a:lnTo>
                    <a:pt x="52" y="370"/>
                  </a:lnTo>
                  <a:lnTo>
                    <a:pt x="52" y="369"/>
                  </a:lnTo>
                  <a:lnTo>
                    <a:pt x="54" y="369"/>
                  </a:lnTo>
                  <a:lnTo>
                    <a:pt x="55" y="369"/>
                  </a:lnTo>
                  <a:lnTo>
                    <a:pt x="57" y="368"/>
                  </a:lnTo>
                  <a:lnTo>
                    <a:pt x="54" y="369"/>
                  </a:lnTo>
                  <a:lnTo>
                    <a:pt x="54" y="368"/>
                  </a:lnTo>
                  <a:lnTo>
                    <a:pt x="53" y="368"/>
                  </a:lnTo>
                  <a:lnTo>
                    <a:pt x="52" y="366"/>
                  </a:lnTo>
                  <a:lnTo>
                    <a:pt x="51" y="364"/>
                  </a:lnTo>
                  <a:lnTo>
                    <a:pt x="49" y="364"/>
                  </a:lnTo>
                  <a:lnTo>
                    <a:pt x="51" y="363"/>
                  </a:lnTo>
                  <a:lnTo>
                    <a:pt x="52" y="363"/>
                  </a:lnTo>
                  <a:lnTo>
                    <a:pt x="53" y="363"/>
                  </a:lnTo>
                  <a:lnTo>
                    <a:pt x="54" y="363"/>
                  </a:lnTo>
                  <a:lnTo>
                    <a:pt x="57" y="363"/>
                  </a:lnTo>
                  <a:lnTo>
                    <a:pt x="55" y="362"/>
                  </a:lnTo>
                  <a:lnTo>
                    <a:pt x="57" y="359"/>
                  </a:lnTo>
                  <a:lnTo>
                    <a:pt x="59" y="359"/>
                  </a:lnTo>
                  <a:lnTo>
                    <a:pt x="60" y="360"/>
                  </a:lnTo>
                  <a:lnTo>
                    <a:pt x="61" y="359"/>
                  </a:lnTo>
                  <a:lnTo>
                    <a:pt x="61" y="357"/>
                  </a:lnTo>
                  <a:lnTo>
                    <a:pt x="61" y="356"/>
                  </a:lnTo>
                  <a:lnTo>
                    <a:pt x="61" y="354"/>
                  </a:lnTo>
                  <a:lnTo>
                    <a:pt x="63" y="354"/>
                  </a:lnTo>
                  <a:lnTo>
                    <a:pt x="65" y="352"/>
                  </a:lnTo>
                  <a:lnTo>
                    <a:pt x="67" y="353"/>
                  </a:lnTo>
                  <a:lnTo>
                    <a:pt x="67" y="351"/>
                  </a:lnTo>
                  <a:lnTo>
                    <a:pt x="65" y="347"/>
                  </a:lnTo>
                  <a:lnTo>
                    <a:pt x="64" y="346"/>
                  </a:lnTo>
                  <a:lnTo>
                    <a:pt x="65" y="345"/>
                  </a:lnTo>
                  <a:lnTo>
                    <a:pt x="66" y="344"/>
                  </a:lnTo>
                  <a:lnTo>
                    <a:pt x="67" y="345"/>
                  </a:lnTo>
                  <a:lnTo>
                    <a:pt x="69" y="345"/>
                  </a:lnTo>
                  <a:lnTo>
                    <a:pt x="70" y="344"/>
                  </a:lnTo>
                  <a:lnTo>
                    <a:pt x="71" y="344"/>
                  </a:lnTo>
                  <a:lnTo>
                    <a:pt x="72" y="342"/>
                  </a:lnTo>
                  <a:lnTo>
                    <a:pt x="73" y="341"/>
                  </a:lnTo>
                  <a:lnTo>
                    <a:pt x="76" y="341"/>
                  </a:lnTo>
                  <a:lnTo>
                    <a:pt x="76" y="340"/>
                  </a:lnTo>
                  <a:lnTo>
                    <a:pt x="77" y="340"/>
                  </a:lnTo>
                  <a:lnTo>
                    <a:pt x="78" y="340"/>
                  </a:lnTo>
                  <a:lnTo>
                    <a:pt x="77" y="339"/>
                  </a:lnTo>
                  <a:lnTo>
                    <a:pt x="76" y="336"/>
                  </a:lnTo>
                  <a:lnTo>
                    <a:pt x="76" y="334"/>
                  </a:lnTo>
                  <a:lnTo>
                    <a:pt x="77" y="335"/>
                  </a:lnTo>
                  <a:lnTo>
                    <a:pt x="77" y="334"/>
                  </a:lnTo>
                  <a:lnTo>
                    <a:pt x="78" y="334"/>
                  </a:lnTo>
                  <a:lnTo>
                    <a:pt x="79" y="334"/>
                  </a:lnTo>
                  <a:lnTo>
                    <a:pt x="81" y="335"/>
                  </a:lnTo>
                  <a:lnTo>
                    <a:pt x="81" y="334"/>
                  </a:lnTo>
                  <a:lnTo>
                    <a:pt x="83" y="333"/>
                  </a:lnTo>
                  <a:lnTo>
                    <a:pt x="85" y="334"/>
                  </a:lnTo>
                  <a:lnTo>
                    <a:pt x="87" y="334"/>
                  </a:lnTo>
                  <a:lnTo>
                    <a:pt x="87" y="336"/>
                  </a:lnTo>
                  <a:lnTo>
                    <a:pt x="87" y="335"/>
                  </a:lnTo>
                  <a:lnTo>
                    <a:pt x="88" y="334"/>
                  </a:lnTo>
                  <a:lnTo>
                    <a:pt x="88" y="333"/>
                  </a:lnTo>
                  <a:lnTo>
                    <a:pt x="89" y="333"/>
                  </a:lnTo>
                  <a:lnTo>
                    <a:pt x="90" y="332"/>
                  </a:lnTo>
                  <a:lnTo>
                    <a:pt x="90" y="330"/>
                  </a:lnTo>
                  <a:lnTo>
                    <a:pt x="89" y="329"/>
                  </a:lnTo>
                  <a:lnTo>
                    <a:pt x="89" y="328"/>
                  </a:lnTo>
                  <a:lnTo>
                    <a:pt x="90" y="328"/>
                  </a:lnTo>
                  <a:lnTo>
                    <a:pt x="90" y="327"/>
                  </a:lnTo>
                  <a:lnTo>
                    <a:pt x="91" y="326"/>
                  </a:lnTo>
                  <a:lnTo>
                    <a:pt x="93" y="324"/>
                  </a:lnTo>
                  <a:lnTo>
                    <a:pt x="93" y="323"/>
                  </a:lnTo>
                  <a:lnTo>
                    <a:pt x="94" y="322"/>
                  </a:lnTo>
                  <a:lnTo>
                    <a:pt x="96" y="321"/>
                  </a:lnTo>
                  <a:lnTo>
                    <a:pt x="96" y="320"/>
                  </a:lnTo>
                  <a:lnTo>
                    <a:pt x="97" y="318"/>
                  </a:lnTo>
                  <a:lnTo>
                    <a:pt x="97" y="317"/>
                  </a:lnTo>
                  <a:lnTo>
                    <a:pt x="99" y="316"/>
                  </a:lnTo>
                  <a:lnTo>
                    <a:pt x="100" y="316"/>
                  </a:lnTo>
                  <a:lnTo>
                    <a:pt x="101" y="315"/>
                  </a:lnTo>
                  <a:lnTo>
                    <a:pt x="99" y="314"/>
                  </a:lnTo>
                  <a:lnTo>
                    <a:pt x="99" y="312"/>
                  </a:lnTo>
                  <a:lnTo>
                    <a:pt x="100" y="312"/>
                  </a:lnTo>
                  <a:lnTo>
                    <a:pt x="99" y="312"/>
                  </a:lnTo>
                  <a:lnTo>
                    <a:pt x="97" y="311"/>
                  </a:lnTo>
                  <a:lnTo>
                    <a:pt x="97" y="310"/>
                  </a:lnTo>
                  <a:lnTo>
                    <a:pt x="99" y="309"/>
                  </a:lnTo>
                  <a:lnTo>
                    <a:pt x="97" y="308"/>
                  </a:lnTo>
                  <a:lnTo>
                    <a:pt x="96" y="308"/>
                  </a:lnTo>
                  <a:lnTo>
                    <a:pt x="96" y="306"/>
                  </a:lnTo>
                  <a:lnTo>
                    <a:pt x="95" y="306"/>
                  </a:lnTo>
                  <a:lnTo>
                    <a:pt x="94" y="306"/>
                  </a:lnTo>
                  <a:lnTo>
                    <a:pt x="90" y="305"/>
                  </a:lnTo>
                  <a:lnTo>
                    <a:pt x="91" y="304"/>
                  </a:lnTo>
                  <a:lnTo>
                    <a:pt x="90" y="302"/>
                  </a:lnTo>
                  <a:lnTo>
                    <a:pt x="89" y="302"/>
                  </a:lnTo>
                  <a:lnTo>
                    <a:pt x="88" y="302"/>
                  </a:lnTo>
                  <a:lnTo>
                    <a:pt x="87" y="302"/>
                  </a:lnTo>
                  <a:lnTo>
                    <a:pt x="84" y="300"/>
                  </a:lnTo>
                  <a:lnTo>
                    <a:pt x="84" y="299"/>
                  </a:lnTo>
                  <a:lnTo>
                    <a:pt x="85" y="298"/>
                  </a:lnTo>
                  <a:lnTo>
                    <a:pt x="85" y="297"/>
                  </a:lnTo>
                  <a:lnTo>
                    <a:pt x="84" y="298"/>
                  </a:lnTo>
                  <a:lnTo>
                    <a:pt x="82" y="297"/>
                  </a:lnTo>
                  <a:lnTo>
                    <a:pt x="82" y="298"/>
                  </a:lnTo>
                  <a:lnTo>
                    <a:pt x="82" y="299"/>
                  </a:lnTo>
                  <a:lnTo>
                    <a:pt x="83" y="300"/>
                  </a:lnTo>
                  <a:lnTo>
                    <a:pt x="82" y="302"/>
                  </a:lnTo>
                  <a:lnTo>
                    <a:pt x="81" y="302"/>
                  </a:lnTo>
                  <a:lnTo>
                    <a:pt x="82" y="302"/>
                  </a:lnTo>
                  <a:lnTo>
                    <a:pt x="82" y="303"/>
                  </a:lnTo>
                  <a:lnTo>
                    <a:pt x="81" y="303"/>
                  </a:lnTo>
                  <a:lnTo>
                    <a:pt x="81" y="304"/>
                  </a:lnTo>
                  <a:lnTo>
                    <a:pt x="79" y="305"/>
                  </a:lnTo>
                  <a:lnTo>
                    <a:pt x="78" y="308"/>
                  </a:lnTo>
                  <a:lnTo>
                    <a:pt x="77" y="309"/>
                  </a:lnTo>
                  <a:lnTo>
                    <a:pt x="76" y="308"/>
                  </a:lnTo>
                  <a:lnTo>
                    <a:pt x="75" y="308"/>
                  </a:lnTo>
                  <a:lnTo>
                    <a:pt x="72" y="308"/>
                  </a:lnTo>
                  <a:lnTo>
                    <a:pt x="71" y="308"/>
                  </a:lnTo>
                  <a:lnTo>
                    <a:pt x="71" y="310"/>
                  </a:lnTo>
                  <a:lnTo>
                    <a:pt x="70" y="311"/>
                  </a:lnTo>
                  <a:lnTo>
                    <a:pt x="69" y="311"/>
                  </a:lnTo>
                  <a:lnTo>
                    <a:pt x="66" y="311"/>
                  </a:lnTo>
                  <a:lnTo>
                    <a:pt x="64" y="312"/>
                  </a:lnTo>
                  <a:lnTo>
                    <a:pt x="63" y="315"/>
                  </a:lnTo>
                  <a:lnTo>
                    <a:pt x="61" y="314"/>
                  </a:lnTo>
                  <a:lnTo>
                    <a:pt x="60" y="315"/>
                  </a:lnTo>
                  <a:lnTo>
                    <a:pt x="58" y="316"/>
                  </a:lnTo>
                  <a:lnTo>
                    <a:pt x="57" y="316"/>
                  </a:lnTo>
                  <a:lnTo>
                    <a:pt x="55" y="316"/>
                  </a:lnTo>
                  <a:lnTo>
                    <a:pt x="53" y="316"/>
                  </a:lnTo>
                  <a:lnTo>
                    <a:pt x="52" y="316"/>
                  </a:lnTo>
                  <a:lnTo>
                    <a:pt x="51" y="316"/>
                  </a:lnTo>
                  <a:lnTo>
                    <a:pt x="49" y="317"/>
                  </a:lnTo>
                  <a:lnTo>
                    <a:pt x="47" y="316"/>
                  </a:lnTo>
                  <a:lnTo>
                    <a:pt x="45" y="317"/>
                  </a:lnTo>
                  <a:lnTo>
                    <a:pt x="45" y="316"/>
                  </a:lnTo>
                  <a:lnTo>
                    <a:pt x="45" y="315"/>
                  </a:lnTo>
                  <a:lnTo>
                    <a:pt x="43" y="315"/>
                  </a:lnTo>
                  <a:lnTo>
                    <a:pt x="43" y="314"/>
                  </a:lnTo>
                  <a:lnTo>
                    <a:pt x="42" y="312"/>
                  </a:lnTo>
                  <a:lnTo>
                    <a:pt x="41" y="311"/>
                  </a:lnTo>
                  <a:lnTo>
                    <a:pt x="40" y="310"/>
                  </a:lnTo>
                  <a:lnTo>
                    <a:pt x="38" y="310"/>
                  </a:lnTo>
                  <a:lnTo>
                    <a:pt x="37" y="311"/>
                  </a:lnTo>
                  <a:lnTo>
                    <a:pt x="37" y="310"/>
                  </a:lnTo>
                  <a:lnTo>
                    <a:pt x="36" y="310"/>
                  </a:lnTo>
                  <a:lnTo>
                    <a:pt x="34" y="310"/>
                  </a:lnTo>
                  <a:lnTo>
                    <a:pt x="35" y="309"/>
                  </a:lnTo>
                  <a:lnTo>
                    <a:pt x="32" y="309"/>
                  </a:lnTo>
                  <a:lnTo>
                    <a:pt x="32" y="308"/>
                  </a:lnTo>
                  <a:lnTo>
                    <a:pt x="31" y="306"/>
                  </a:lnTo>
                  <a:lnTo>
                    <a:pt x="31" y="305"/>
                  </a:lnTo>
                  <a:lnTo>
                    <a:pt x="30" y="305"/>
                  </a:lnTo>
                  <a:lnTo>
                    <a:pt x="29" y="305"/>
                  </a:lnTo>
                  <a:lnTo>
                    <a:pt x="29" y="306"/>
                  </a:lnTo>
                  <a:lnTo>
                    <a:pt x="28" y="305"/>
                  </a:lnTo>
                  <a:lnTo>
                    <a:pt x="25" y="305"/>
                  </a:lnTo>
                  <a:lnTo>
                    <a:pt x="25" y="304"/>
                  </a:lnTo>
                  <a:lnTo>
                    <a:pt x="24" y="304"/>
                  </a:lnTo>
                  <a:lnTo>
                    <a:pt x="23" y="302"/>
                  </a:lnTo>
                  <a:lnTo>
                    <a:pt x="22" y="302"/>
                  </a:lnTo>
                  <a:lnTo>
                    <a:pt x="20" y="302"/>
                  </a:lnTo>
                  <a:lnTo>
                    <a:pt x="22" y="300"/>
                  </a:lnTo>
                  <a:lnTo>
                    <a:pt x="22" y="299"/>
                  </a:lnTo>
                  <a:lnTo>
                    <a:pt x="23" y="299"/>
                  </a:lnTo>
                  <a:lnTo>
                    <a:pt x="23" y="298"/>
                  </a:lnTo>
                  <a:lnTo>
                    <a:pt x="24" y="297"/>
                  </a:lnTo>
                  <a:lnTo>
                    <a:pt x="23" y="296"/>
                  </a:lnTo>
                  <a:lnTo>
                    <a:pt x="20" y="294"/>
                  </a:lnTo>
                  <a:lnTo>
                    <a:pt x="23" y="293"/>
                  </a:lnTo>
                  <a:lnTo>
                    <a:pt x="24" y="292"/>
                  </a:lnTo>
                  <a:lnTo>
                    <a:pt x="25" y="292"/>
                  </a:lnTo>
                  <a:lnTo>
                    <a:pt x="23" y="292"/>
                  </a:lnTo>
                  <a:lnTo>
                    <a:pt x="19" y="293"/>
                  </a:lnTo>
                  <a:lnTo>
                    <a:pt x="19" y="296"/>
                  </a:lnTo>
                  <a:lnTo>
                    <a:pt x="18" y="296"/>
                  </a:lnTo>
                  <a:lnTo>
                    <a:pt x="18" y="297"/>
                  </a:lnTo>
                  <a:lnTo>
                    <a:pt x="17" y="297"/>
                  </a:lnTo>
                  <a:lnTo>
                    <a:pt x="14" y="298"/>
                  </a:lnTo>
                  <a:lnTo>
                    <a:pt x="12" y="297"/>
                  </a:lnTo>
                  <a:lnTo>
                    <a:pt x="11" y="298"/>
                  </a:lnTo>
                  <a:lnTo>
                    <a:pt x="10" y="297"/>
                  </a:lnTo>
                  <a:lnTo>
                    <a:pt x="10" y="298"/>
                  </a:lnTo>
                  <a:lnTo>
                    <a:pt x="8" y="297"/>
                  </a:lnTo>
                  <a:lnTo>
                    <a:pt x="7" y="296"/>
                  </a:lnTo>
                  <a:lnTo>
                    <a:pt x="6" y="293"/>
                  </a:lnTo>
                  <a:lnTo>
                    <a:pt x="5" y="293"/>
                  </a:lnTo>
                  <a:lnTo>
                    <a:pt x="5" y="292"/>
                  </a:lnTo>
                  <a:lnTo>
                    <a:pt x="5" y="290"/>
                  </a:lnTo>
                  <a:lnTo>
                    <a:pt x="1" y="287"/>
                  </a:lnTo>
                  <a:lnTo>
                    <a:pt x="2" y="285"/>
                  </a:lnTo>
                  <a:lnTo>
                    <a:pt x="1" y="284"/>
                  </a:lnTo>
                  <a:lnTo>
                    <a:pt x="0" y="280"/>
                  </a:lnTo>
                  <a:lnTo>
                    <a:pt x="2" y="279"/>
                  </a:lnTo>
                  <a:lnTo>
                    <a:pt x="2" y="280"/>
                  </a:lnTo>
                  <a:lnTo>
                    <a:pt x="5" y="281"/>
                  </a:lnTo>
                  <a:lnTo>
                    <a:pt x="5" y="28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0" name="Freeform 73"/>
            <p:cNvSpPr>
              <a:spLocks/>
            </p:cNvSpPr>
            <p:nvPr userDrawn="1"/>
          </p:nvSpPr>
          <p:spPr bwMode="auto">
            <a:xfrm>
              <a:off x="7435850" y="6467476"/>
              <a:ext cx="103188" cy="111125"/>
            </a:xfrm>
            <a:custGeom>
              <a:avLst/>
              <a:gdLst/>
              <a:ahLst/>
              <a:cxnLst>
                <a:cxn ang="0">
                  <a:pos x="37" y="151"/>
                </a:cxn>
                <a:cxn ang="0">
                  <a:pos x="52" y="131"/>
                </a:cxn>
                <a:cxn ang="0">
                  <a:pos x="90" y="120"/>
                </a:cxn>
                <a:cxn ang="0">
                  <a:pos x="82" y="116"/>
                </a:cxn>
                <a:cxn ang="0">
                  <a:pos x="61" y="112"/>
                </a:cxn>
                <a:cxn ang="0">
                  <a:pos x="64" y="87"/>
                </a:cxn>
                <a:cxn ang="0">
                  <a:pos x="75" y="77"/>
                </a:cxn>
                <a:cxn ang="0">
                  <a:pos x="78" y="52"/>
                </a:cxn>
                <a:cxn ang="0">
                  <a:pos x="103" y="58"/>
                </a:cxn>
                <a:cxn ang="0">
                  <a:pos x="122" y="62"/>
                </a:cxn>
                <a:cxn ang="0">
                  <a:pos x="139" y="65"/>
                </a:cxn>
                <a:cxn ang="0">
                  <a:pos x="158" y="77"/>
                </a:cxn>
                <a:cxn ang="0">
                  <a:pos x="165" y="88"/>
                </a:cxn>
                <a:cxn ang="0">
                  <a:pos x="150" y="66"/>
                </a:cxn>
                <a:cxn ang="0">
                  <a:pos x="133" y="60"/>
                </a:cxn>
                <a:cxn ang="0">
                  <a:pos x="116" y="44"/>
                </a:cxn>
                <a:cxn ang="0">
                  <a:pos x="120" y="23"/>
                </a:cxn>
                <a:cxn ang="0">
                  <a:pos x="133" y="13"/>
                </a:cxn>
                <a:cxn ang="0">
                  <a:pos x="146" y="9"/>
                </a:cxn>
                <a:cxn ang="0">
                  <a:pos x="162" y="18"/>
                </a:cxn>
                <a:cxn ang="0">
                  <a:pos x="174" y="15"/>
                </a:cxn>
                <a:cxn ang="0">
                  <a:pos x="192" y="13"/>
                </a:cxn>
                <a:cxn ang="0">
                  <a:pos x="200" y="22"/>
                </a:cxn>
                <a:cxn ang="0">
                  <a:pos x="220" y="15"/>
                </a:cxn>
                <a:cxn ang="0">
                  <a:pos x="238" y="31"/>
                </a:cxn>
                <a:cxn ang="0">
                  <a:pos x="223" y="50"/>
                </a:cxn>
                <a:cxn ang="0">
                  <a:pos x="245" y="64"/>
                </a:cxn>
                <a:cxn ang="0">
                  <a:pos x="268" y="83"/>
                </a:cxn>
                <a:cxn ang="0">
                  <a:pos x="276" y="96"/>
                </a:cxn>
                <a:cxn ang="0">
                  <a:pos x="282" y="117"/>
                </a:cxn>
                <a:cxn ang="0">
                  <a:pos x="289" y="140"/>
                </a:cxn>
                <a:cxn ang="0">
                  <a:pos x="275" y="153"/>
                </a:cxn>
                <a:cxn ang="0">
                  <a:pos x="305" y="187"/>
                </a:cxn>
                <a:cxn ang="0">
                  <a:pos x="274" y="170"/>
                </a:cxn>
                <a:cxn ang="0">
                  <a:pos x="246" y="164"/>
                </a:cxn>
                <a:cxn ang="0">
                  <a:pos x="275" y="183"/>
                </a:cxn>
                <a:cxn ang="0">
                  <a:pos x="311" y="223"/>
                </a:cxn>
                <a:cxn ang="0">
                  <a:pos x="301" y="239"/>
                </a:cxn>
                <a:cxn ang="0">
                  <a:pos x="283" y="253"/>
                </a:cxn>
                <a:cxn ang="0">
                  <a:pos x="279" y="274"/>
                </a:cxn>
                <a:cxn ang="0">
                  <a:pos x="255" y="256"/>
                </a:cxn>
                <a:cxn ang="0">
                  <a:pos x="234" y="245"/>
                </a:cxn>
                <a:cxn ang="0">
                  <a:pos x="241" y="259"/>
                </a:cxn>
                <a:cxn ang="0">
                  <a:pos x="257" y="289"/>
                </a:cxn>
                <a:cxn ang="0">
                  <a:pos x="232" y="285"/>
                </a:cxn>
                <a:cxn ang="0">
                  <a:pos x="199" y="278"/>
                </a:cxn>
                <a:cxn ang="0">
                  <a:pos x="186" y="296"/>
                </a:cxn>
                <a:cxn ang="0">
                  <a:pos x="118" y="285"/>
                </a:cxn>
                <a:cxn ang="0">
                  <a:pos x="76" y="289"/>
                </a:cxn>
                <a:cxn ang="0">
                  <a:pos x="121" y="283"/>
                </a:cxn>
                <a:cxn ang="0">
                  <a:pos x="139" y="262"/>
                </a:cxn>
                <a:cxn ang="0">
                  <a:pos x="106" y="265"/>
                </a:cxn>
                <a:cxn ang="0">
                  <a:pos x="79" y="277"/>
                </a:cxn>
                <a:cxn ang="0">
                  <a:pos x="50" y="258"/>
                </a:cxn>
                <a:cxn ang="0">
                  <a:pos x="65" y="236"/>
                </a:cxn>
                <a:cxn ang="0">
                  <a:pos x="105" y="220"/>
                </a:cxn>
                <a:cxn ang="0">
                  <a:pos x="84" y="224"/>
                </a:cxn>
                <a:cxn ang="0">
                  <a:pos x="84" y="202"/>
                </a:cxn>
                <a:cxn ang="0">
                  <a:pos x="79" y="202"/>
                </a:cxn>
                <a:cxn ang="0">
                  <a:pos x="44" y="223"/>
                </a:cxn>
                <a:cxn ang="0">
                  <a:pos x="46" y="199"/>
                </a:cxn>
                <a:cxn ang="0">
                  <a:pos x="43" y="179"/>
                </a:cxn>
                <a:cxn ang="0">
                  <a:pos x="2" y="167"/>
                </a:cxn>
              </a:cxnLst>
              <a:rect l="0" t="0" r="r" b="b"/>
              <a:pathLst>
                <a:path w="324" h="349">
                  <a:moveTo>
                    <a:pt x="3" y="165"/>
                  </a:moveTo>
                  <a:lnTo>
                    <a:pt x="3" y="164"/>
                  </a:lnTo>
                  <a:lnTo>
                    <a:pt x="4" y="165"/>
                  </a:lnTo>
                  <a:lnTo>
                    <a:pt x="5" y="164"/>
                  </a:lnTo>
                  <a:lnTo>
                    <a:pt x="5" y="165"/>
                  </a:lnTo>
                  <a:lnTo>
                    <a:pt x="5" y="164"/>
                  </a:lnTo>
                  <a:lnTo>
                    <a:pt x="8" y="164"/>
                  </a:lnTo>
                  <a:lnTo>
                    <a:pt x="8" y="165"/>
                  </a:lnTo>
                  <a:lnTo>
                    <a:pt x="9" y="165"/>
                  </a:lnTo>
                  <a:lnTo>
                    <a:pt x="8" y="165"/>
                  </a:lnTo>
                  <a:lnTo>
                    <a:pt x="8" y="164"/>
                  </a:lnTo>
                  <a:lnTo>
                    <a:pt x="8" y="163"/>
                  </a:lnTo>
                  <a:lnTo>
                    <a:pt x="9" y="163"/>
                  </a:lnTo>
                  <a:lnTo>
                    <a:pt x="10" y="163"/>
                  </a:lnTo>
                  <a:lnTo>
                    <a:pt x="10" y="164"/>
                  </a:lnTo>
                  <a:lnTo>
                    <a:pt x="10" y="165"/>
                  </a:lnTo>
                  <a:lnTo>
                    <a:pt x="13" y="165"/>
                  </a:lnTo>
                  <a:lnTo>
                    <a:pt x="13" y="166"/>
                  </a:lnTo>
                  <a:lnTo>
                    <a:pt x="14" y="166"/>
                  </a:lnTo>
                  <a:lnTo>
                    <a:pt x="14" y="164"/>
                  </a:lnTo>
                  <a:lnTo>
                    <a:pt x="15" y="164"/>
                  </a:lnTo>
                  <a:lnTo>
                    <a:pt x="16" y="164"/>
                  </a:lnTo>
                  <a:lnTo>
                    <a:pt x="17" y="165"/>
                  </a:lnTo>
                  <a:lnTo>
                    <a:pt x="16" y="163"/>
                  </a:lnTo>
                  <a:lnTo>
                    <a:pt x="16" y="161"/>
                  </a:lnTo>
                  <a:lnTo>
                    <a:pt x="15" y="160"/>
                  </a:lnTo>
                  <a:lnTo>
                    <a:pt x="15" y="158"/>
                  </a:lnTo>
                  <a:lnTo>
                    <a:pt x="16" y="159"/>
                  </a:lnTo>
                  <a:lnTo>
                    <a:pt x="17" y="159"/>
                  </a:lnTo>
                  <a:lnTo>
                    <a:pt x="17" y="160"/>
                  </a:lnTo>
                  <a:lnTo>
                    <a:pt x="19" y="161"/>
                  </a:lnTo>
                  <a:lnTo>
                    <a:pt x="20" y="163"/>
                  </a:lnTo>
                  <a:lnTo>
                    <a:pt x="20" y="161"/>
                  </a:lnTo>
                  <a:lnTo>
                    <a:pt x="20" y="160"/>
                  </a:lnTo>
                  <a:lnTo>
                    <a:pt x="21" y="160"/>
                  </a:lnTo>
                  <a:lnTo>
                    <a:pt x="22" y="160"/>
                  </a:lnTo>
                  <a:lnTo>
                    <a:pt x="21" y="159"/>
                  </a:lnTo>
                  <a:lnTo>
                    <a:pt x="23" y="157"/>
                  </a:lnTo>
                  <a:lnTo>
                    <a:pt x="23" y="158"/>
                  </a:lnTo>
                  <a:lnTo>
                    <a:pt x="26" y="157"/>
                  </a:lnTo>
                  <a:lnTo>
                    <a:pt x="25" y="155"/>
                  </a:lnTo>
                  <a:lnTo>
                    <a:pt x="25" y="154"/>
                  </a:lnTo>
                  <a:lnTo>
                    <a:pt x="26" y="154"/>
                  </a:lnTo>
                  <a:lnTo>
                    <a:pt x="27" y="154"/>
                  </a:lnTo>
                  <a:lnTo>
                    <a:pt x="27" y="155"/>
                  </a:lnTo>
                  <a:lnTo>
                    <a:pt x="28" y="155"/>
                  </a:lnTo>
                  <a:lnTo>
                    <a:pt x="29" y="157"/>
                  </a:lnTo>
                  <a:lnTo>
                    <a:pt x="29" y="155"/>
                  </a:lnTo>
                  <a:lnTo>
                    <a:pt x="28" y="154"/>
                  </a:lnTo>
                  <a:lnTo>
                    <a:pt x="28" y="153"/>
                  </a:lnTo>
                  <a:lnTo>
                    <a:pt x="28" y="152"/>
                  </a:lnTo>
                  <a:lnTo>
                    <a:pt x="29" y="153"/>
                  </a:lnTo>
                  <a:lnTo>
                    <a:pt x="31" y="154"/>
                  </a:lnTo>
                  <a:lnTo>
                    <a:pt x="32" y="154"/>
                  </a:lnTo>
                  <a:lnTo>
                    <a:pt x="33" y="153"/>
                  </a:lnTo>
                  <a:lnTo>
                    <a:pt x="34" y="154"/>
                  </a:lnTo>
                  <a:lnTo>
                    <a:pt x="35" y="154"/>
                  </a:lnTo>
                  <a:lnTo>
                    <a:pt x="37" y="154"/>
                  </a:lnTo>
                  <a:lnTo>
                    <a:pt x="37" y="153"/>
                  </a:lnTo>
                  <a:lnTo>
                    <a:pt x="37" y="152"/>
                  </a:lnTo>
                  <a:lnTo>
                    <a:pt x="37" y="151"/>
                  </a:lnTo>
                  <a:lnTo>
                    <a:pt x="38" y="151"/>
                  </a:lnTo>
                  <a:lnTo>
                    <a:pt x="39" y="152"/>
                  </a:lnTo>
                  <a:lnTo>
                    <a:pt x="39" y="153"/>
                  </a:lnTo>
                  <a:lnTo>
                    <a:pt x="40" y="154"/>
                  </a:lnTo>
                  <a:lnTo>
                    <a:pt x="41" y="154"/>
                  </a:lnTo>
                  <a:lnTo>
                    <a:pt x="41" y="153"/>
                  </a:lnTo>
                  <a:lnTo>
                    <a:pt x="40" y="152"/>
                  </a:lnTo>
                  <a:lnTo>
                    <a:pt x="40" y="149"/>
                  </a:lnTo>
                  <a:lnTo>
                    <a:pt x="39" y="148"/>
                  </a:lnTo>
                  <a:lnTo>
                    <a:pt x="40" y="148"/>
                  </a:lnTo>
                  <a:lnTo>
                    <a:pt x="40" y="147"/>
                  </a:lnTo>
                  <a:lnTo>
                    <a:pt x="41" y="148"/>
                  </a:lnTo>
                  <a:lnTo>
                    <a:pt x="43" y="148"/>
                  </a:lnTo>
                  <a:lnTo>
                    <a:pt x="44" y="149"/>
                  </a:lnTo>
                  <a:lnTo>
                    <a:pt x="44" y="148"/>
                  </a:lnTo>
                  <a:lnTo>
                    <a:pt x="45" y="149"/>
                  </a:lnTo>
                  <a:lnTo>
                    <a:pt x="46" y="149"/>
                  </a:lnTo>
                  <a:lnTo>
                    <a:pt x="47" y="149"/>
                  </a:lnTo>
                  <a:lnTo>
                    <a:pt x="49" y="149"/>
                  </a:lnTo>
                  <a:lnTo>
                    <a:pt x="47" y="148"/>
                  </a:lnTo>
                  <a:lnTo>
                    <a:pt x="47" y="147"/>
                  </a:lnTo>
                  <a:lnTo>
                    <a:pt x="45" y="146"/>
                  </a:lnTo>
                  <a:lnTo>
                    <a:pt x="46" y="146"/>
                  </a:lnTo>
                  <a:lnTo>
                    <a:pt x="46" y="144"/>
                  </a:lnTo>
                  <a:lnTo>
                    <a:pt x="45" y="144"/>
                  </a:lnTo>
                  <a:lnTo>
                    <a:pt x="45" y="146"/>
                  </a:lnTo>
                  <a:lnTo>
                    <a:pt x="45" y="144"/>
                  </a:lnTo>
                  <a:lnTo>
                    <a:pt x="44" y="143"/>
                  </a:lnTo>
                  <a:lnTo>
                    <a:pt x="43" y="143"/>
                  </a:lnTo>
                  <a:lnTo>
                    <a:pt x="41" y="143"/>
                  </a:lnTo>
                  <a:lnTo>
                    <a:pt x="40" y="142"/>
                  </a:lnTo>
                  <a:lnTo>
                    <a:pt x="39" y="141"/>
                  </a:lnTo>
                  <a:lnTo>
                    <a:pt x="40" y="141"/>
                  </a:lnTo>
                  <a:lnTo>
                    <a:pt x="39" y="141"/>
                  </a:lnTo>
                  <a:lnTo>
                    <a:pt x="39" y="140"/>
                  </a:lnTo>
                  <a:lnTo>
                    <a:pt x="39" y="138"/>
                  </a:lnTo>
                  <a:lnTo>
                    <a:pt x="38" y="136"/>
                  </a:lnTo>
                  <a:lnTo>
                    <a:pt x="39" y="136"/>
                  </a:lnTo>
                  <a:lnTo>
                    <a:pt x="40" y="136"/>
                  </a:lnTo>
                  <a:lnTo>
                    <a:pt x="40" y="137"/>
                  </a:lnTo>
                  <a:lnTo>
                    <a:pt x="41" y="136"/>
                  </a:lnTo>
                  <a:lnTo>
                    <a:pt x="41" y="135"/>
                  </a:lnTo>
                  <a:lnTo>
                    <a:pt x="43" y="135"/>
                  </a:lnTo>
                  <a:lnTo>
                    <a:pt x="43" y="136"/>
                  </a:lnTo>
                  <a:lnTo>
                    <a:pt x="44" y="136"/>
                  </a:lnTo>
                  <a:lnTo>
                    <a:pt x="44" y="137"/>
                  </a:lnTo>
                  <a:lnTo>
                    <a:pt x="46" y="137"/>
                  </a:lnTo>
                  <a:lnTo>
                    <a:pt x="45" y="136"/>
                  </a:lnTo>
                  <a:lnTo>
                    <a:pt x="45" y="135"/>
                  </a:lnTo>
                  <a:lnTo>
                    <a:pt x="46" y="134"/>
                  </a:lnTo>
                  <a:lnTo>
                    <a:pt x="46" y="135"/>
                  </a:lnTo>
                  <a:lnTo>
                    <a:pt x="49" y="135"/>
                  </a:lnTo>
                  <a:lnTo>
                    <a:pt x="49" y="136"/>
                  </a:lnTo>
                  <a:lnTo>
                    <a:pt x="50" y="136"/>
                  </a:lnTo>
                  <a:lnTo>
                    <a:pt x="50" y="135"/>
                  </a:lnTo>
                  <a:lnTo>
                    <a:pt x="51" y="134"/>
                  </a:lnTo>
                  <a:lnTo>
                    <a:pt x="52" y="134"/>
                  </a:lnTo>
                  <a:lnTo>
                    <a:pt x="52" y="135"/>
                  </a:lnTo>
                  <a:lnTo>
                    <a:pt x="53" y="135"/>
                  </a:lnTo>
                  <a:lnTo>
                    <a:pt x="52" y="132"/>
                  </a:lnTo>
                  <a:lnTo>
                    <a:pt x="52" y="131"/>
                  </a:lnTo>
                  <a:lnTo>
                    <a:pt x="52" y="130"/>
                  </a:lnTo>
                  <a:lnTo>
                    <a:pt x="53" y="130"/>
                  </a:lnTo>
                  <a:lnTo>
                    <a:pt x="55" y="130"/>
                  </a:lnTo>
                  <a:lnTo>
                    <a:pt x="55" y="131"/>
                  </a:lnTo>
                  <a:lnTo>
                    <a:pt x="55" y="130"/>
                  </a:lnTo>
                  <a:lnTo>
                    <a:pt x="55" y="131"/>
                  </a:lnTo>
                  <a:lnTo>
                    <a:pt x="55" y="132"/>
                  </a:lnTo>
                  <a:lnTo>
                    <a:pt x="56" y="131"/>
                  </a:lnTo>
                  <a:lnTo>
                    <a:pt x="56" y="132"/>
                  </a:lnTo>
                  <a:lnTo>
                    <a:pt x="56" y="134"/>
                  </a:lnTo>
                  <a:lnTo>
                    <a:pt x="56" y="132"/>
                  </a:lnTo>
                  <a:lnTo>
                    <a:pt x="57" y="132"/>
                  </a:lnTo>
                  <a:lnTo>
                    <a:pt x="58" y="134"/>
                  </a:lnTo>
                  <a:lnTo>
                    <a:pt x="59" y="134"/>
                  </a:lnTo>
                  <a:lnTo>
                    <a:pt x="61" y="135"/>
                  </a:lnTo>
                  <a:lnTo>
                    <a:pt x="61" y="136"/>
                  </a:lnTo>
                  <a:lnTo>
                    <a:pt x="62" y="135"/>
                  </a:lnTo>
                  <a:lnTo>
                    <a:pt x="62" y="134"/>
                  </a:lnTo>
                  <a:lnTo>
                    <a:pt x="61" y="134"/>
                  </a:lnTo>
                  <a:lnTo>
                    <a:pt x="61" y="131"/>
                  </a:lnTo>
                  <a:lnTo>
                    <a:pt x="62" y="130"/>
                  </a:lnTo>
                  <a:lnTo>
                    <a:pt x="62" y="131"/>
                  </a:lnTo>
                  <a:lnTo>
                    <a:pt x="63" y="131"/>
                  </a:lnTo>
                  <a:lnTo>
                    <a:pt x="62" y="131"/>
                  </a:lnTo>
                  <a:lnTo>
                    <a:pt x="63" y="130"/>
                  </a:lnTo>
                  <a:lnTo>
                    <a:pt x="64" y="130"/>
                  </a:lnTo>
                  <a:lnTo>
                    <a:pt x="65" y="130"/>
                  </a:lnTo>
                  <a:lnTo>
                    <a:pt x="67" y="129"/>
                  </a:lnTo>
                  <a:lnTo>
                    <a:pt x="68" y="129"/>
                  </a:lnTo>
                  <a:lnTo>
                    <a:pt x="68" y="130"/>
                  </a:lnTo>
                  <a:lnTo>
                    <a:pt x="69" y="130"/>
                  </a:lnTo>
                  <a:lnTo>
                    <a:pt x="69" y="131"/>
                  </a:lnTo>
                  <a:lnTo>
                    <a:pt x="70" y="131"/>
                  </a:lnTo>
                  <a:lnTo>
                    <a:pt x="70" y="130"/>
                  </a:lnTo>
                  <a:lnTo>
                    <a:pt x="72" y="129"/>
                  </a:lnTo>
                  <a:lnTo>
                    <a:pt x="73" y="129"/>
                  </a:lnTo>
                  <a:lnTo>
                    <a:pt x="74" y="129"/>
                  </a:lnTo>
                  <a:lnTo>
                    <a:pt x="74" y="128"/>
                  </a:lnTo>
                  <a:lnTo>
                    <a:pt x="74" y="129"/>
                  </a:lnTo>
                  <a:lnTo>
                    <a:pt x="75" y="129"/>
                  </a:lnTo>
                  <a:lnTo>
                    <a:pt x="75" y="128"/>
                  </a:lnTo>
                  <a:lnTo>
                    <a:pt x="75" y="126"/>
                  </a:lnTo>
                  <a:lnTo>
                    <a:pt x="74" y="125"/>
                  </a:lnTo>
                  <a:lnTo>
                    <a:pt x="75" y="124"/>
                  </a:lnTo>
                  <a:lnTo>
                    <a:pt x="75" y="123"/>
                  </a:lnTo>
                  <a:lnTo>
                    <a:pt x="75" y="124"/>
                  </a:lnTo>
                  <a:lnTo>
                    <a:pt x="76" y="124"/>
                  </a:lnTo>
                  <a:lnTo>
                    <a:pt x="78" y="124"/>
                  </a:lnTo>
                  <a:lnTo>
                    <a:pt x="81" y="123"/>
                  </a:lnTo>
                  <a:lnTo>
                    <a:pt x="80" y="122"/>
                  </a:lnTo>
                  <a:lnTo>
                    <a:pt x="81" y="122"/>
                  </a:lnTo>
                  <a:lnTo>
                    <a:pt x="82" y="122"/>
                  </a:lnTo>
                  <a:lnTo>
                    <a:pt x="82" y="120"/>
                  </a:lnTo>
                  <a:lnTo>
                    <a:pt x="82" y="119"/>
                  </a:lnTo>
                  <a:lnTo>
                    <a:pt x="84" y="120"/>
                  </a:lnTo>
                  <a:lnTo>
                    <a:pt x="84" y="122"/>
                  </a:lnTo>
                  <a:lnTo>
                    <a:pt x="85" y="120"/>
                  </a:lnTo>
                  <a:lnTo>
                    <a:pt x="86" y="120"/>
                  </a:lnTo>
                  <a:lnTo>
                    <a:pt x="87" y="120"/>
                  </a:lnTo>
                  <a:lnTo>
                    <a:pt x="88" y="120"/>
                  </a:lnTo>
                  <a:lnTo>
                    <a:pt x="90" y="120"/>
                  </a:lnTo>
                  <a:lnTo>
                    <a:pt x="90" y="119"/>
                  </a:lnTo>
                  <a:lnTo>
                    <a:pt x="91" y="119"/>
                  </a:lnTo>
                  <a:lnTo>
                    <a:pt x="91" y="120"/>
                  </a:lnTo>
                  <a:lnTo>
                    <a:pt x="91" y="119"/>
                  </a:lnTo>
                  <a:lnTo>
                    <a:pt x="91" y="118"/>
                  </a:lnTo>
                  <a:lnTo>
                    <a:pt x="92" y="118"/>
                  </a:lnTo>
                  <a:lnTo>
                    <a:pt x="93" y="118"/>
                  </a:lnTo>
                  <a:lnTo>
                    <a:pt x="93" y="117"/>
                  </a:lnTo>
                  <a:lnTo>
                    <a:pt x="94" y="117"/>
                  </a:lnTo>
                  <a:lnTo>
                    <a:pt x="94" y="116"/>
                  </a:lnTo>
                  <a:lnTo>
                    <a:pt x="96" y="116"/>
                  </a:lnTo>
                  <a:lnTo>
                    <a:pt x="94" y="116"/>
                  </a:lnTo>
                  <a:lnTo>
                    <a:pt x="94" y="114"/>
                  </a:lnTo>
                  <a:lnTo>
                    <a:pt x="94" y="113"/>
                  </a:lnTo>
                  <a:lnTo>
                    <a:pt x="96" y="113"/>
                  </a:lnTo>
                  <a:lnTo>
                    <a:pt x="94" y="113"/>
                  </a:lnTo>
                  <a:lnTo>
                    <a:pt x="96" y="113"/>
                  </a:lnTo>
                  <a:lnTo>
                    <a:pt x="97" y="113"/>
                  </a:lnTo>
                  <a:lnTo>
                    <a:pt x="96" y="112"/>
                  </a:lnTo>
                  <a:lnTo>
                    <a:pt x="97" y="112"/>
                  </a:lnTo>
                  <a:lnTo>
                    <a:pt x="97" y="111"/>
                  </a:lnTo>
                  <a:lnTo>
                    <a:pt x="98" y="110"/>
                  </a:lnTo>
                  <a:lnTo>
                    <a:pt x="99" y="108"/>
                  </a:lnTo>
                  <a:lnTo>
                    <a:pt x="98" y="108"/>
                  </a:lnTo>
                  <a:lnTo>
                    <a:pt x="98" y="107"/>
                  </a:lnTo>
                  <a:lnTo>
                    <a:pt x="97" y="107"/>
                  </a:lnTo>
                  <a:lnTo>
                    <a:pt x="96" y="107"/>
                  </a:lnTo>
                  <a:lnTo>
                    <a:pt x="96" y="106"/>
                  </a:lnTo>
                  <a:lnTo>
                    <a:pt x="96" y="107"/>
                  </a:lnTo>
                  <a:lnTo>
                    <a:pt x="94" y="107"/>
                  </a:lnTo>
                  <a:lnTo>
                    <a:pt x="93" y="107"/>
                  </a:lnTo>
                  <a:lnTo>
                    <a:pt x="92" y="107"/>
                  </a:lnTo>
                  <a:lnTo>
                    <a:pt x="91" y="107"/>
                  </a:lnTo>
                  <a:lnTo>
                    <a:pt x="91" y="108"/>
                  </a:lnTo>
                  <a:lnTo>
                    <a:pt x="91" y="110"/>
                  </a:lnTo>
                  <a:lnTo>
                    <a:pt x="91" y="111"/>
                  </a:lnTo>
                  <a:lnTo>
                    <a:pt x="92" y="111"/>
                  </a:lnTo>
                  <a:lnTo>
                    <a:pt x="91" y="112"/>
                  </a:lnTo>
                  <a:lnTo>
                    <a:pt x="91" y="113"/>
                  </a:lnTo>
                  <a:lnTo>
                    <a:pt x="90" y="113"/>
                  </a:lnTo>
                  <a:lnTo>
                    <a:pt x="88" y="114"/>
                  </a:lnTo>
                  <a:lnTo>
                    <a:pt x="88" y="116"/>
                  </a:lnTo>
                  <a:lnTo>
                    <a:pt x="88" y="114"/>
                  </a:lnTo>
                  <a:lnTo>
                    <a:pt x="90" y="114"/>
                  </a:lnTo>
                  <a:lnTo>
                    <a:pt x="91" y="116"/>
                  </a:lnTo>
                  <a:lnTo>
                    <a:pt x="92" y="116"/>
                  </a:lnTo>
                  <a:lnTo>
                    <a:pt x="91" y="116"/>
                  </a:lnTo>
                  <a:lnTo>
                    <a:pt x="91" y="117"/>
                  </a:lnTo>
                  <a:lnTo>
                    <a:pt x="90" y="117"/>
                  </a:lnTo>
                  <a:lnTo>
                    <a:pt x="90" y="118"/>
                  </a:lnTo>
                  <a:lnTo>
                    <a:pt x="88" y="118"/>
                  </a:lnTo>
                  <a:lnTo>
                    <a:pt x="87" y="118"/>
                  </a:lnTo>
                  <a:lnTo>
                    <a:pt x="86" y="118"/>
                  </a:lnTo>
                  <a:lnTo>
                    <a:pt x="85" y="118"/>
                  </a:lnTo>
                  <a:lnTo>
                    <a:pt x="84" y="118"/>
                  </a:lnTo>
                  <a:lnTo>
                    <a:pt x="84" y="117"/>
                  </a:lnTo>
                  <a:lnTo>
                    <a:pt x="82" y="117"/>
                  </a:lnTo>
                  <a:lnTo>
                    <a:pt x="82" y="118"/>
                  </a:lnTo>
                  <a:lnTo>
                    <a:pt x="82" y="117"/>
                  </a:lnTo>
                  <a:lnTo>
                    <a:pt x="81" y="117"/>
                  </a:lnTo>
                  <a:lnTo>
                    <a:pt x="82" y="116"/>
                  </a:lnTo>
                  <a:lnTo>
                    <a:pt x="82" y="114"/>
                  </a:lnTo>
                  <a:lnTo>
                    <a:pt x="84" y="114"/>
                  </a:lnTo>
                  <a:lnTo>
                    <a:pt x="84" y="113"/>
                  </a:lnTo>
                  <a:lnTo>
                    <a:pt x="82" y="112"/>
                  </a:lnTo>
                  <a:lnTo>
                    <a:pt x="84" y="112"/>
                  </a:lnTo>
                  <a:lnTo>
                    <a:pt x="84" y="111"/>
                  </a:lnTo>
                  <a:lnTo>
                    <a:pt x="85" y="111"/>
                  </a:lnTo>
                  <a:lnTo>
                    <a:pt x="85" y="110"/>
                  </a:lnTo>
                  <a:lnTo>
                    <a:pt x="84" y="110"/>
                  </a:lnTo>
                  <a:lnTo>
                    <a:pt x="82" y="110"/>
                  </a:lnTo>
                  <a:lnTo>
                    <a:pt x="82" y="111"/>
                  </a:lnTo>
                  <a:lnTo>
                    <a:pt x="81" y="111"/>
                  </a:lnTo>
                  <a:lnTo>
                    <a:pt x="80" y="111"/>
                  </a:lnTo>
                  <a:lnTo>
                    <a:pt x="80" y="112"/>
                  </a:lnTo>
                  <a:lnTo>
                    <a:pt x="80" y="111"/>
                  </a:lnTo>
                  <a:lnTo>
                    <a:pt x="79" y="111"/>
                  </a:lnTo>
                  <a:lnTo>
                    <a:pt x="79" y="112"/>
                  </a:lnTo>
                  <a:lnTo>
                    <a:pt x="79" y="111"/>
                  </a:lnTo>
                  <a:lnTo>
                    <a:pt x="78" y="111"/>
                  </a:lnTo>
                  <a:lnTo>
                    <a:pt x="78" y="112"/>
                  </a:lnTo>
                  <a:lnTo>
                    <a:pt x="76" y="112"/>
                  </a:lnTo>
                  <a:lnTo>
                    <a:pt x="76" y="113"/>
                  </a:lnTo>
                  <a:lnTo>
                    <a:pt x="78" y="113"/>
                  </a:lnTo>
                  <a:lnTo>
                    <a:pt x="76" y="113"/>
                  </a:lnTo>
                  <a:lnTo>
                    <a:pt x="75" y="113"/>
                  </a:lnTo>
                  <a:lnTo>
                    <a:pt x="74" y="113"/>
                  </a:lnTo>
                  <a:lnTo>
                    <a:pt x="73" y="113"/>
                  </a:lnTo>
                  <a:lnTo>
                    <a:pt x="73" y="112"/>
                  </a:lnTo>
                  <a:lnTo>
                    <a:pt x="72" y="112"/>
                  </a:lnTo>
                  <a:lnTo>
                    <a:pt x="70" y="112"/>
                  </a:lnTo>
                  <a:lnTo>
                    <a:pt x="70" y="113"/>
                  </a:lnTo>
                  <a:lnTo>
                    <a:pt x="69" y="113"/>
                  </a:lnTo>
                  <a:lnTo>
                    <a:pt x="69" y="114"/>
                  </a:lnTo>
                  <a:lnTo>
                    <a:pt x="69" y="113"/>
                  </a:lnTo>
                  <a:lnTo>
                    <a:pt x="68" y="113"/>
                  </a:lnTo>
                  <a:lnTo>
                    <a:pt x="68" y="114"/>
                  </a:lnTo>
                  <a:lnTo>
                    <a:pt x="67" y="114"/>
                  </a:lnTo>
                  <a:lnTo>
                    <a:pt x="67" y="116"/>
                  </a:lnTo>
                  <a:lnTo>
                    <a:pt x="67" y="114"/>
                  </a:lnTo>
                  <a:lnTo>
                    <a:pt x="65" y="114"/>
                  </a:lnTo>
                  <a:lnTo>
                    <a:pt x="64" y="114"/>
                  </a:lnTo>
                  <a:lnTo>
                    <a:pt x="64" y="113"/>
                  </a:lnTo>
                  <a:lnTo>
                    <a:pt x="64" y="112"/>
                  </a:lnTo>
                  <a:lnTo>
                    <a:pt x="65" y="112"/>
                  </a:lnTo>
                  <a:lnTo>
                    <a:pt x="65" y="113"/>
                  </a:lnTo>
                  <a:lnTo>
                    <a:pt x="67" y="113"/>
                  </a:lnTo>
                  <a:lnTo>
                    <a:pt x="67" y="112"/>
                  </a:lnTo>
                  <a:lnTo>
                    <a:pt x="67" y="111"/>
                  </a:lnTo>
                  <a:lnTo>
                    <a:pt x="68" y="111"/>
                  </a:lnTo>
                  <a:lnTo>
                    <a:pt x="67" y="110"/>
                  </a:lnTo>
                  <a:lnTo>
                    <a:pt x="67" y="111"/>
                  </a:lnTo>
                  <a:lnTo>
                    <a:pt x="65" y="111"/>
                  </a:lnTo>
                  <a:lnTo>
                    <a:pt x="64" y="111"/>
                  </a:lnTo>
                  <a:lnTo>
                    <a:pt x="64" y="112"/>
                  </a:lnTo>
                  <a:lnTo>
                    <a:pt x="64" y="111"/>
                  </a:lnTo>
                  <a:lnTo>
                    <a:pt x="63" y="111"/>
                  </a:lnTo>
                  <a:lnTo>
                    <a:pt x="63" y="112"/>
                  </a:lnTo>
                  <a:lnTo>
                    <a:pt x="63" y="113"/>
                  </a:lnTo>
                  <a:lnTo>
                    <a:pt x="63" y="112"/>
                  </a:lnTo>
                  <a:lnTo>
                    <a:pt x="62" y="112"/>
                  </a:lnTo>
                  <a:lnTo>
                    <a:pt x="61" y="112"/>
                  </a:lnTo>
                  <a:lnTo>
                    <a:pt x="61" y="111"/>
                  </a:lnTo>
                  <a:lnTo>
                    <a:pt x="59" y="111"/>
                  </a:lnTo>
                  <a:lnTo>
                    <a:pt x="58" y="111"/>
                  </a:lnTo>
                  <a:lnTo>
                    <a:pt x="58" y="110"/>
                  </a:lnTo>
                  <a:lnTo>
                    <a:pt x="57" y="110"/>
                  </a:lnTo>
                  <a:lnTo>
                    <a:pt x="57" y="108"/>
                  </a:lnTo>
                  <a:lnTo>
                    <a:pt x="56" y="107"/>
                  </a:lnTo>
                  <a:lnTo>
                    <a:pt x="57" y="107"/>
                  </a:lnTo>
                  <a:lnTo>
                    <a:pt x="57" y="106"/>
                  </a:lnTo>
                  <a:lnTo>
                    <a:pt x="57" y="107"/>
                  </a:lnTo>
                  <a:lnTo>
                    <a:pt x="56" y="106"/>
                  </a:lnTo>
                  <a:lnTo>
                    <a:pt x="56" y="105"/>
                  </a:lnTo>
                  <a:lnTo>
                    <a:pt x="55" y="105"/>
                  </a:lnTo>
                  <a:lnTo>
                    <a:pt x="55" y="104"/>
                  </a:lnTo>
                  <a:lnTo>
                    <a:pt x="55" y="102"/>
                  </a:lnTo>
                  <a:lnTo>
                    <a:pt x="55" y="101"/>
                  </a:lnTo>
                  <a:lnTo>
                    <a:pt x="56" y="101"/>
                  </a:lnTo>
                  <a:lnTo>
                    <a:pt x="56" y="102"/>
                  </a:lnTo>
                  <a:lnTo>
                    <a:pt x="57" y="102"/>
                  </a:lnTo>
                  <a:lnTo>
                    <a:pt x="58" y="102"/>
                  </a:lnTo>
                  <a:lnTo>
                    <a:pt x="58" y="101"/>
                  </a:lnTo>
                  <a:lnTo>
                    <a:pt x="59" y="101"/>
                  </a:lnTo>
                  <a:lnTo>
                    <a:pt x="61" y="101"/>
                  </a:lnTo>
                  <a:lnTo>
                    <a:pt x="61" y="100"/>
                  </a:lnTo>
                  <a:lnTo>
                    <a:pt x="61" y="101"/>
                  </a:lnTo>
                  <a:lnTo>
                    <a:pt x="62" y="101"/>
                  </a:lnTo>
                  <a:lnTo>
                    <a:pt x="62" y="100"/>
                  </a:lnTo>
                  <a:lnTo>
                    <a:pt x="61" y="100"/>
                  </a:lnTo>
                  <a:lnTo>
                    <a:pt x="61" y="99"/>
                  </a:lnTo>
                  <a:lnTo>
                    <a:pt x="59" y="99"/>
                  </a:lnTo>
                  <a:lnTo>
                    <a:pt x="59" y="98"/>
                  </a:lnTo>
                  <a:lnTo>
                    <a:pt x="61" y="98"/>
                  </a:lnTo>
                  <a:lnTo>
                    <a:pt x="59" y="98"/>
                  </a:lnTo>
                  <a:lnTo>
                    <a:pt x="59" y="96"/>
                  </a:lnTo>
                  <a:lnTo>
                    <a:pt x="58" y="96"/>
                  </a:lnTo>
                  <a:lnTo>
                    <a:pt x="58" y="95"/>
                  </a:lnTo>
                  <a:lnTo>
                    <a:pt x="58" y="94"/>
                  </a:lnTo>
                  <a:lnTo>
                    <a:pt x="58" y="93"/>
                  </a:lnTo>
                  <a:lnTo>
                    <a:pt x="57" y="93"/>
                  </a:lnTo>
                  <a:lnTo>
                    <a:pt x="57" y="92"/>
                  </a:lnTo>
                  <a:lnTo>
                    <a:pt x="57" y="90"/>
                  </a:lnTo>
                  <a:lnTo>
                    <a:pt x="57" y="89"/>
                  </a:lnTo>
                  <a:lnTo>
                    <a:pt x="57" y="88"/>
                  </a:lnTo>
                  <a:lnTo>
                    <a:pt x="57" y="87"/>
                  </a:lnTo>
                  <a:lnTo>
                    <a:pt x="56" y="87"/>
                  </a:lnTo>
                  <a:lnTo>
                    <a:pt x="57" y="87"/>
                  </a:lnTo>
                  <a:lnTo>
                    <a:pt x="57" y="86"/>
                  </a:lnTo>
                  <a:lnTo>
                    <a:pt x="58" y="86"/>
                  </a:lnTo>
                  <a:lnTo>
                    <a:pt x="58" y="87"/>
                  </a:lnTo>
                  <a:lnTo>
                    <a:pt x="59" y="87"/>
                  </a:lnTo>
                  <a:lnTo>
                    <a:pt x="59" y="88"/>
                  </a:lnTo>
                  <a:lnTo>
                    <a:pt x="61" y="88"/>
                  </a:lnTo>
                  <a:lnTo>
                    <a:pt x="61" y="89"/>
                  </a:lnTo>
                  <a:lnTo>
                    <a:pt x="61" y="88"/>
                  </a:lnTo>
                  <a:lnTo>
                    <a:pt x="61" y="87"/>
                  </a:lnTo>
                  <a:lnTo>
                    <a:pt x="62" y="87"/>
                  </a:lnTo>
                  <a:lnTo>
                    <a:pt x="62" y="86"/>
                  </a:lnTo>
                  <a:lnTo>
                    <a:pt x="63" y="87"/>
                  </a:lnTo>
                  <a:lnTo>
                    <a:pt x="63" y="88"/>
                  </a:lnTo>
                  <a:lnTo>
                    <a:pt x="63" y="87"/>
                  </a:lnTo>
                  <a:lnTo>
                    <a:pt x="64" y="87"/>
                  </a:lnTo>
                  <a:lnTo>
                    <a:pt x="65" y="87"/>
                  </a:lnTo>
                  <a:lnTo>
                    <a:pt x="65" y="88"/>
                  </a:lnTo>
                  <a:lnTo>
                    <a:pt x="67" y="88"/>
                  </a:lnTo>
                  <a:lnTo>
                    <a:pt x="67" y="89"/>
                  </a:lnTo>
                  <a:lnTo>
                    <a:pt x="68" y="90"/>
                  </a:lnTo>
                  <a:lnTo>
                    <a:pt x="69" y="90"/>
                  </a:lnTo>
                  <a:lnTo>
                    <a:pt x="69" y="89"/>
                  </a:lnTo>
                  <a:lnTo>
                    <a:pt x="68" y="89"/>
                  </a:lnTo>
                  <a:lnTo>
                    <a:pt x="68" y="88"/>
                  </a:lnTo>
                  <a:lnTo>
                    <a:pt x="67" y="88"/>
                  </a:lnTo>
                  <a:lnTo>
                    <a:pt x="67" y="87"/>
                  </a:lnTo>
                  <a:lnTo>
                    <a:pt x="67" y="86"/>
                  </a:lnTo>
                  <a:lnTo>
                    <a:pt x="68" y="86"/>
                  </a:lnTo>
                  <a:lnTo>
                    <a:pt x="69" y="86"/>
                  </a:lnTo>
                  <a:lnTo>
                    <a:pt x="70" y="86"/>
                  </a:lnTo>
                  <a:lnTo>
                    <a:pt x="70" y="87"/>
                  </a:lnTo>
                  <a:lnTo>
                    <a:pt x="72" y="87"/>
                  </a:lnTo>
                  <a:lnTo>
                    <a:pt x="73" y="87"/>
                  </a:lnTo>
                  <a:lnTo>
                    <a:pt x="74" y="87"/>
                  </a:lnTo>
                  <a:lnTo>
                    <a:pt x="75" y="87"/>
                  </a:lnTo>
                  <a:lnTo>
                    <a:pt x="75" y="86"/>
                  </a:lnTo>
                  <a:lnTo>
                    <a:pt x="74" y="86"/>
                  </a:lnTo>
                  <a:lnTo>
                    <a:pt x="74" y="84"/>
                  </a:lnTo>
                  <a:lnTo>
                    <a:pt x="73" y="84"/>
                  </a:lnTo>
                  <a:lnTo>
                    <a:pt x="72" y="84"/>
                  </a:lnTo>
                  <a:lnTo>
                    <a:pt x="72" y="83"/>
                  </a:lnTo>
                  <a:lnTo>
                    <a:pt x="70" y="83"/>
                  </a:lnTo>
                  <a:lnTo>
                    <a:pt x="69" y="83"/>
                  </a:lnTo>
                  <a:lnTo>
                    <a:pt x="68" y="83"/>
                  </a:lnTo>
                  <a:lnTo>
                    <a:pt x="67" y="83"/>
                  </a:lnTo>
                  <a:lnTo>
                    <a:pt x="67" y="82"/>
                  </a:lnTo>
                  <a:lnTo>
                    <a:pt x="67" y="81"/>
                  </a:lnTo>
                  <a:lnTo>
                    <a:pt x="65" y="81"/>
                  </a:lnTo>
                  <a:lnTo>
                    <a:pt x="64" y="81"/>
                  </a:lnTo>
                  <a:lnTo>
                    <a:pt x="64" y="80"/>
                  </a:lnTo>
                  <a:lnTo>
                    <a:pt x="64" y="78"/>
                  </a:lnTo>
                  <a:lnTo>
                    <a:pt x="64" y="77"/>
                  </a:lnTo>
                  <a:lnTo>
                    <a:pt x="63" y="77"/>
                  </a:lnTo>
                  <a:lnTo>
                    <a:pt x="62" y="77"/>
                  </a:lnTo>
                  <a:lnTo>
                    <a:pt x="63" y="76"/>
                  </a:lnTo>
                  <a:lnTo>
                    <a:pt x="64" y="76"/>
                  </a:lnTo>
                  <a:lnTo>
                    <a:pt x="65" y="76"/>
                  </a:lnTo>
                  <a:lnTo>
                    <a:pt x="67" y="76"/>
                  </a:lnTo>
                  <a:lnTo>
                    <a:pt x="67" y="77"/>
                  </a:lnTo>
                  <a:lnTo>
                    <a:pt x="67" y="76"/>
                  </a:lnTo>
                  <a:lnTo>
                    <a:pt x="67" y="75"/>
                  </a:lnTo>
                  <a:lnTo>
                    <a:pt x="67" y="74"/>
                  </a:lnTo>
                  <a:lnTo>
                    <a:pt x="68" y="74"/>
                  </a:lnTo>
                  <a:lnTo>
                    <a:pt x="68" y="75"/>
                  </a:lnTo>
                  <a:lnTo>
                    <a:pt x="68" y="76"/>
                  </a:lnTo>
                  <a:lnTo>
                    <a:pt x="69" y="76"/>
                  </a:lnTo>
                  <a:lnTo>
                    <a:pt x="69" y="75"/>
                  </a:lnTo>
                  <a:lnTo>
                    <a:pt x="70" y="76"/>
                  </a:lnTo>
                  <a:lnTo>
                    <a:pt x="69" y="76"/>
                  </a:lnTo>
                  <a:lnTo>
                    <a:pt x="69" y="77"/>
                  </a:lnTo>
                  <a:lnTo>
                    <a:pt x="70" y="77"/>
                  </a:lnTo>
                  <a:lnTo>
                    <a:pt x="70" y="78"/>
                  </a:lnTo>
                  <a:lnTo>
                    <a:pt x="72" y="77"/>
                  </a:lnTo>
                  <a:lnTo>
                    <a:pt x="73" y="77"/>
                  </a:lnTo>
                  <a:lnTo>
                    <a:pt x="74" y="77"/>
                  </a:lnTo>
                  <a:lnTo>
                    <a:pt x="75" y="77"/>
                  </a:lnTo>
                  <a:lnTo>
                    <a:pt x="75" y="78"/>
                  </a:lnTo>
                  <a:lnTo>
                    <a:pt x="76" y="78"/>
                  </a:lnTo>
                  <a:lnTo>
                    <a:pt x="76" y="80"/>
                  </a:lnTo>
                  <a:lnTo>
                    <a:pt x="76" y="78"/>
                  </a:lnTo>
                  <a:lnTo>
                    <a:pt x="76" y="77"/>
                  </a:lnTo>
                  <a:lnTo>
                    <a:pt x="75" y="77"/>
                  </a:lnTo>
                  <a:lnTo>
                    <a:pt x="75" y="76"/>
                  </a:lnTo>
                  <a:lnTo>
                    <a:pt x="75" y="75"/>
                  </a:lnTo>
                  <a:lnTo>
                    <a:pt x="76" y="75"/>
                  </a:lnTo>
                  <a:lnTo>
                    <a:pt x="76" y="76"/>
                  </a:lnTo>
                  <a:lnTo>
                    <a:pt x="78" y="76"/>
                  </a:lnTo>
                  <a:lnTo>
                    <a:pt x="78" y="75"/>
                  </a:lnTo>
                  <a:lnTo>
                    <a:pt x="78" y="74"/>
                  </a:lnTo>
                  <a:lnTo>
                    <a:pt x="76" y="74"/>
                  </a:lnTo>
                  <a:lnTo>
                    <a:pt x="76" y="72"/>
                  </a:lnTo>
                  <a:lnTo>
                    <a:pt x="78" y="72"/>
                  </a:lnTo>
                  <a:lnTo>
                    <a:pt x="79" y="72"/>
                  </a:lnTo>
                  <a:lnTo>
                    <a:pt x="80" y="72"/>
                  </a:lnTo>
                  <a:lnTo>
                    <a:pt x="80" y="74"/>
                  </a:lnTo>
                  <a:lnTo>
                    <a:pt x="81" y="74"/>
                  </a:lnTo>
                  <a:lnTo>
                    <a:pt x="81" y="72"/>
                  </a:lnTo>
                  <a:lnTo>
                    <a:pt x="81" y="71"/>
                  </a:lnTo>
                  <a:lnTo>
                    <a:pt x="82" y="71"/>
                  </a:lnTo>
                  <a:lnTo>
                    <a:pt x="81" y="71"/>
                  </a:lnTo>
                  <a:lnTo>
                    <a:pt x="81" y="70"/>
                  </a:lnTo>
                  <a:lnTo>
                    <a:pt x="81" y="69"/>
                  </a:lnTo>
                  <a:lnTo>
                    <a:pt x="82" y="69"/>
                  </a:lnTo>
                  <a:lnTo>
                    <a:pt x="82" y="70"/>
                  </a:lnTo>
                  <a:lnTo>
                    <a:pt x="84" y="70"/>
                  </a:lnTo>
                  <a:lnTo>
                    <a:pt x="84" y="69"/>
                  </a:lnTo>
                  <a:lnTo>
                    <a:pt x="85" y="69"/>
                  </a:lnTo>
                  <a:lnTo>
                    <a:pt x="85" y="68"/>
                  </a:lnTo>
                  <a:lnTo>
                    <a:pt x="85" y="69"/>
                  </a:lnTo>
                  <a:lnTo>
                    <a:pt x="85" y="68"/>
                  </a:lnTo>
                  <a:lnTo>
                    <a:pt x="85" y="66"/>
                  </a:lnTo>
                  <a:lnTo>
                    <a:pt x="84" y="65"/>
                  </a:lnTo>
                  <a:lnTo>
                    <a:pt x="84" y="64"/>
                  </a:lnTo>
                  <a:lnTo>
                    <a:pt x="82" y="64"/>
                  </a:lnTo>
                  <a:lnTo>
                    <a:pt x="84" y="64"/>
                  </a:lnTo>
                  <a:lnTo>
                    <a:pt x="82" y="63"/>
                  </a:lnTo>
                  <a:lnTo>
                    <a:pt x="82" y="64"/>
                  </a:lnTo>
                  <a:lnTo>
                    <a:pt x="81" y="64"/>
                  </a:lnTo>
                  <a:lnTo>
                    <a:pt x="81" y="63"/>
                  </a:lnTo>
                  <a:lnTo>
                    <a:pt x="80" y="63"/>
                  </a:lnTo>
                  <a:lnTo>
                    <a:pt x="80" y="62"/>
                  </a:lnTo>
                  <a:lnTo>
                    <a:pt x="79" y="62"/>
                  </a:lnTo>
                  <a:lnTo>
                    <a:pt x="80" y="62"/>
                  </a:lnTo>
                  <a:lnTo>
                    <a:pt x="80" y="60"/>
                  </a:lnTo>
                  <a:lnTo>
                    <a:pt x="81" y="60"/>
                  </a:lnTo>
                  <a:lnTo>
                    <a:pt x="81" y="59"/>
                  </a:lnTo>
                  <a:lnTo>
                    <a:pt x="80" y="59"/>
                  </a:lnTo>
                  <a:lnTo>
                    <a:pt x="79" y="59"/>
                  </a:lnTo>
                  <a:lnTo>
                    <a:pt x="79" y="58"/>
                  </a:lnTo>
                  <a:lnTo>
                    <a:pt x="78" y="58"/>
                  </a:lnTo>
                  <a:lnTo>
                    <a:pt x="78" y="57"/>
                  </a:lnTo>
                  <a:lnTo>
                    <a:pt x="76" y="57"/>
                  </a:lnTo>
                  <a:lnTo>
                    <a:pt x="78" y="57"/>
                  </a:lnTo>
                  <a:lnTo>
                    <a:pt x="78" y="56"/>
                  </a:lnTo>
                  <a:lnTo>
                    <a:pt x="78" y="54"/>
                  </a:lnTo>
                  <a:lnTo>
                    <a:pt x="78" y="53"/>
                  </a:lnTo>
                  <a:lnTo>
                    <a:pt x="78" y="52"/>
                  </a:lnTo>
                  <a:lnTo>
                    <a:pt x="79" y="52"/>
                  </a:lnTo>
                  <a:lnTo>
                    <a:pt x="79" y="53"/>
                  </a:lnTo>
                  <a:lnTo>
                    <a:pt x="80" y="53"/>
                  </a:lnTo>
                  <a:lnTo>
                    <a:pt x="80" y="52"/>
                  </a:lnTo>
                  <a:lnTo>
                    <a:pt x="81" y="52"/>
                  </a:lnTo>
                  <a:lnTo>
                    <a:pt x="82" y="52"/>
                  </a:lnTo>
                  <a:lnTo>
                    <a:pt x="82" y="53"/>
                  </a:lnTo>
                  <a:lnTo>
                    <a:pt x="84" y="54"/>
                  </a:lnTo>
                  <a:lnTo>
                    <a:pt x="84" y="56"/>
                  </a:lnTo>
                  <a:lnTo>
                    <a:pt x="85" y="56"/>
                  </a:lnTo>
                  <a:lnTo>
                    <a:pt x="86" y="56"/>
                  </a:lnTo>
                  <a:lnTo>
                    <a:pt x="85" y="54"/>
                  </a:lnTo>
                  <a:lnTo>
                    <a:pt x="86" y="54"/>
                  </a:lnTo>
                  <a:lnTo>
                    <a:pt x="86" y="56"/>
                  </a:lnTo>
                  <a:lnTo>
                    <a:pt x="87" y="56"/>
                  </a:lnTo>
                  <a:lnTo>
                    <a:pt x="88" y="56"/>
                  </a:lnTo>
                  <a:lnTo>
                    <a:pt x="88" y="54"/>
                  </a:lnTo>
                  <a:lnTo>
                    <a:pt x="87" y="53"/>
                  </a:lnTo>
                  <a:lnTo>
                    <a:pt x="87" y="52"/>
                  </a:lnTo>
                  <a:lnTo>
                    <a:pt x="87" y="51"/>
                  </a:lnTo>
                  <a:lnTo>
                    <a:pt x="87" y="50"/>
                  </a:lnTo>
                  <a:lnTo>
                    <a:pt x="88" y="50"/>
                  </a:lnTo>
                  <a:lnTo>
                    <a:pt x="88" y="48"/>
                  </a:lnTo>
                  <a:lnTo>
                    <a:pt x="88" y="47"/>
                  </a:lnTo>
                  <a:lnTo>
                    <a:pt x="90" y="47"/>
                  </a:lnTo>
                  <a:lnTo>
                    <a:pt x="90" y="48"/>
                  </a:lnTo>
                  <a:lnTo>
                    <a:pt x="91" y="48"/>
                  </a:lnTo>
                  <a:lnTo>
                    <a:pt x="91" y="50"/>
                  </a:lnTo>
                  <a:lnTo>
                    <a:pt x="91" y="48"/>
                  </a:lnTo>
                  <a:lnTo>
                    <a:pt x="91" y="47"/>
                  </a:lnTo>
                  <a:lnTo>
                    <a:pt x="92" y="47"/>
                  </a:lnTo>
                  <a:lnTo>
                    <a:pt x="92" y="48"/>
                  </a:lnTo>
                  <a:lnTo>
                    <a:pt x="93" y="48"/>
                  </a:lnTo>
                  <a:lnTo>
                    <a:pt x="93" y="50"/>
                  </a:lnTo>
                  <a:lnTo>
                    <a:pt x="93" y="51"/>
                  </a:lnTo>
                  <a:lnTo>
                    <a:pt x="93" y="52"/>
                  </a:lnTo>
                  <a:lnTo>
                    <a:pt x="93" y="53"/>
                  </a:lnTo>
                  <a:lnTo>
                    <a:pt x="93" y="54"/>
                  </a:lnTo>
                  <a:lnTo>
                    <a:pt x="94" y="54"/>
                  </a:lnTo>
                  <a:lnTo>
                    <a:pt x="96" y="54"/>
                  </a:lnTo>
                  <a:lnTo>
                    <a:pt x="97" y="54"/>
                  </a:lnTo>
                  <a:lnTo>
                    <a:pt x="96" y="53"/>
                  </a:lnTo>
                  <a:lnTo>
                    <a:pt x="96" y="52"/>
                  </a:lnTo>
                  <a:lnTo>
                    <a:pt x="96" y="51"/>
                  </a:lnTo>
                  <a:lnTo>
                    <a:pt x="96" y="50"/>
                  </a:lnTo>
                  <a:lnTo>
                    <a:pt x="97" y="50"/>
                  </a:lnTo>
                  <a:lnTo>
                    <a:pt x="97" y="51"/>
                  </a:lnTo>
                  <a:lnTo>
                    <a:pt x="98" y="51"/>
                  </a:lnTo>
                  <a:lnTo>
                    <a:pt x="99" y="51"/>
                  </a:lnTo>
                  <a:lnTo>
                    <a:pt x="99" y="52"/>
                  </a:lnTo>
                  <a:lnTo>
                    <a:pt x="100" y="52"/>
                  </a:lnTo>
                  <a:lnTo>
                    <a:pt x="102" y="52"/>
                  </a:lnTo>
                  <a:lnTo>
                    <a:pt x="102" y="53"/>
                  </a:lnTo>
                  <a:lnTo>
                    <a:pt x="102" y="54"/>
                  </a:lnTo>
                  <a:lnTo>
                    <a:pt x="102" y="56"/>
                  </a:lnTo>
                  <a:lnTo>
                    <a:pt x="102" y="57"/>
                  </a:lnTo>
                  <a:lnTo>
                    <a:pt x="102" y="58"/>
                  </a:lnTo>
                  <a:lnTo>
                    <a:pt x="103" y="59"/>
                  </a:lnTo>
                  <a:lnTo>
                    <a:pt x="104" y="59"/>
                  </a:lnTo>
                  <a:lnTo>
                    <a:pt x="104" y="58"/>
                  </a:lnTo>
                  <a:lnTo>
                    <a:pt x="103" y="58"/>
                  </a:lnTo>
                  <a:lnTo>
                    <a:pt x="103" y="57"/>
                  </a:lnTo>
                  <a:lnTo>
                    <a:pt x="104" y="57"/>
                  </a:lnTo>
                  <a:lnTo>
                    <a:pt x="104" y="56"/>
                  </a:lnTo>
                  <a:lnTo>
                    <a:pt x="104" y="54"/>
                  </a:lnTo>
                  <a:lnTo>
                    <a:pt x="103" y="54"/>
                  </a:lnTo>
                  <a:lnTo>
                    <a:pt x="103" y="53"/>
                  </a:lnTo>
                  <a:lnTo>
                    <a:pt x="104" y="53"/>
                  </a:lnTo>
                  <a:lnTo>
                    <a:pt x="105" y="53"/>
                  </a:lnTo>
                  <a:lnTo>
                    <a:pt x="105" y="52"/>
                  </a:lnTo>
                  <a:lnTo>
                    <a:pt x="106" y="52"/>
                  </a:lnTo>
                  <a:lnTo>
                    <a:pt x="105" y="51"/>
                  </a:lnTo>
                  <a:lnTo>
                    <a:pt x="106" y="51"/>
                  </a:lnTo>
                  <a:lnTo>
                    <a:pt x="108" y="51"/>
                  </a:lnTo>
                  <a:lnTo>
                    <a:pt x="109" y="51"/>
                  </a:lnTo>
                  <a:lnTo>
                    <a:pt x="110" y="51"/>
                  </a:lnTo>
                  <a:lnTo>
                    <a:pt x="110" y="52"/>
                  </a:lnTo>
                  <a:lnTo>
                    <a:pt x="110" y="53"/>
                  </a:lnTo>
                  <a:lnTo>
                    <a:pt x="110" y="52"/>
                  </a:lnTo>
                  <a:lnTo>
                    <a:pt x="111" y="52"/>
                  </a:lnTo>
                  <a:lnTo>
                    <a:pt x="111" y="53"/>
                  </a:lnTo>
                  <a:lnTo>
                    <a:pt x="112" y="53"/>
                  </a:lnTo>
                  <a:lnTo>
                    <a:pt x="112" y="54"/>
                  </a:lnTo>
                  <a:lnTo>
                    <a:pt x="114" y="54"/>
                  </a:lnTo>
                  <a:lnTo>
                    <a:pt x="114" y="56"/>
                  </a:lnTo>
                  <a:lnTo>
                    <a:pt x="115" y="56"/>
                  </a:lnTo>
                  <a:lnTo>
                    <a:pt x="114" y="57"/>
                  </a:lnTo>
                  <a:lnTo>
                    <a:pt x="112" y="57"/>
                  </a:lnTo>
                  <a:lnTo>
                    <a:pt x="112" y="58"/>
                  </a:lnTo>
                  <a:lnTo>
                    <a:pt x="112" y="59"/>
                  </a:lnTo>
                  <a:lnTo>
                    <a:pt x="112" y="60"/>
                  </a:lnTo>
                  <a:lnTo>
                    <a:pt x="114" y="60"/>
                  </a:lnTo>
                  <a:lnTo>
                    <a:pt x="114" y="62"/>
                  </a:lnTo>
                  <a:lnTo>
                    <a:pt x="115" y="62"/>
                  </a:lnTo>
                  <a:lnTo>
                    <a:pt x="114" y="62"/>
                  </a:lnTo>
                  <a:lnTo>
                    <a:pt x="114" y="60"/>
                  </a:lnTo>
                  <a:lnTo>
                    <a:pt x="115" y="60"/>
                  </a:lnTo>
                  <a:lnTo>
                    <a:pt x="115" y="59"/>
                  </a:lnTo>
                  <a:lnTo>
                    <a:pt x="116" y="59"/>
                  </a:lnTo>
                  <a:lnTo>
                    <a:pt x="116" y="58"/>
                  </a:lnTo>
                  <a:lnTo>
                    <a:pt x="117" y="58"/>
                  </a:lnTo>
                  <a:lnTo>
                    <a:pt x="117" y="57"/>
                  </a:lnTo>
                  <a:lnTo>
                    <a:pt x="118" y="57"/>
                  </a:lnTo>
                  <a:lnTo>
                    <a:pt x="120" y="57"/>
                  </a:lnTo>
                  <a:lnTo>
                    <a:pt x="120" y="58"/>
                  </a:lnTo>
                  <a:lnTo>
                    <a:pt x="120" y="59"/>
                  </a:lnTo>
                  <a:lnTo>
                    <a:pt x="121" y="59"/>
                  </a:lnTo>
                  <a:lnTo>
                    <a:pt x="121" y="58"/>
                  </a:lnTo>
                  <a:lnTo>
                    <a:pt x="120" y="58"/>
                  </a:lnTo>
                  <a:lnTo>
                    <a:pt x="121" y="58"/>
                  </a:lnTo>
                  <a:lnTo>
                    <a:pt x="122" y="58"/>
                  </a:lnTo>
                  <a:lnTo>
                    <a:pt x="122" y="59"/>
                  </a:lnTo>
                  <a:lnTo>
                    <a:pt x="122" y="60"/>
                  </a:lnTo>
                  <a:lnTo>
                    <a:pt x="121" y="60"/>
                  </a:lnTo>
                  <a:lnTo>
                    <a:pt x="122" y="60"/>
                  </a:lnTo>
                  <a:lnTo>
                    <a:pt x="121" y="60"/>
                  </a:lnTo>
                  <a:lnTo>
                    <a:pt x="121" y="62"/>
                  </a:lnTo>
                  <a:lnTo>
                    <a:pt x="121" y="63"/>
                  </a:lnTo>
                  <a:lnTo>
                    <a:pt x="122" y="63"/>
                  </a:lnTo>
                  <a:lnTo>
                    <a:pt x="122" y="64"/>
                  </a:lnTo>
                  <a:lnTo>
                    <a:pt x="122" y="63"/>
                  </a:lnTo>
                  <a:lnTo>
                    <a:pt x="122" y="62"/>
                  </a:lnTo>
                  <a:lnTo>
                    <a:pt x="123" y="62"/>
                  </a:lnTo>
                  <a:lnTo>
                    <a:pt x="123" y="63"/>
                  </a:lnTo>
                  <a:lnTo>
                    <a:pt x="123" y="64"/>
                  </a:lnTo>
                  <a:lnTo>
                    <a:pt x="124" y="64"/>
                  </a:lnTo>
                  <a:lnTo>
                    <a:pt x="124" y="63"/>
                  </a:lnTo>
                  <a:lnTo>
                    <a:pt x="124" y="62"/>
                  </a:lnTo>
                  <a:lnTo>
                    <a:pt x="126" y="62"/>
                  </a:lnTo>
                  <a:lnTo>
                    <a:pt x="126" y="63"/>
                  </a:lnTo>
                  <a:lnTo>
                    <a:pt x="126" y="64"/>
                  </a:lnTo>
                  <a:lnTo>
                    <a:pt x="127" y="63"/>
                  </a:lnTo>
                  <a:lnTo>
                    <a:pt x="127" y="62"/>
                  </a:lnTo>
                  <a:lnTo>
                    <a:pt x="127" y="63"/>
                  </a:lnTo>
                  <a:lnTo>
                    <a:pt x="128" y="63"/>
                  </a:lnTo>
                  <a:lnTo>
                    <a:pt x="128" y="64"/>
                  </a:lnTo>
                  <a:lnTo>
                    <a:pt x="127" y="64"/>
                  </a:lnTo>
                  <a:lnTo>
                    <a:pt x="127" y="65"/>
                  </a:lnTo>
                  <a:lnTo>
                    <a:pt x="126" y="65"/>
                  </a:lnTo>
                  <a:lnTo>
                    <a:pt x="126" y="64"/>
                  </a:lnTo>
                  <a:lnTo>
                    <a:pt x="124" y="64"/>
                  </a:lnTo>
                  <a:lnTo>
                    <a:pt x="124" y="65"/>
                  </a:lnTo>
                  <a:lnTo>
                    <a:pt x="126" y="65"/>
                  </a:lnTo>
                  <a:lnTo>
                    <a:pt x="127" y="65"/>
                  </a:lnTo>
                  <a:lnTo>
                    <a:pt x="127" y="66"/>
                  </a:lnTo>
                  <a:lnTo>
                    <a:pt x="128" y="66"/>
                  </a:lnTo>
                  <a:lnTo>
                    <a:pt x="128" y="65"/>
                  </a:lnTo>
                  <a:lnTo>
                    <a:pt x="129" y="65"/>
                  </a:lnTo>
                  <a:lnTo>
                    <a:pt x="129" y="64"/>
                  </a:lnTo>
                  <a:lnTo>
                    <a:pt x="129" y="63"/>
                  </a:lnTo>
                  <a:lnTo>
                    <a:pt x="128" y="63"/>
                  </a:lnTo>
                  <a:lnTo>
                    <a:pt x="128" y="62"/>
                  </a:lnTo>
                  <a:lnTo>
                    <a:pt x="128" y="60"/>
                  </a:lnTo>
                  <a:lnTo>
                    <a:pt x="127" y="60"/>
                  </a:lnTo>
                  <a:lnTo>
                    <a:pt x="127" y="59"/>
                  </a:lnTo>
                  <a:lnTo>
                    <a:pt x="128" y="59"/>
                  </a:lnTo>
                  <a:lnTo>
                    <a:pt x="128" y="60"/>
                  </a:lnTo>
                  <a:lnTo>
                    <a:pt x="129" y="59"/>
                  </a:lnTo>
                  <a:lnTo>
                    <a:pt x="131" y="59"/>
                  </a:lnTo>
                  <a:lnTo>
                    <a:pt x="131" y="60"/>
                  </a:lnTo>
                  <a:lnTo>
                    <a:pt x="131" y="59"/>
                  </a:lnTo>
                  <a:lnTo>
                    <a:pt x="132" y="59"/>
                  </a:lnTo>
                  <a:lnTo>
                    <a:pt x="132" y="60"/>
                  </a:lnTo>
                  <a:lnTo>
                    <a:pt x="131" y="60"/>
                  </a:lnTo>
                  <a:lnTo>
                    <a:pt x="131" y="62"/>
                  </a:lnTo>
                  <a:lnTo>
                    <a:pt x="131" y="63"/>
                  </a:lnTo>
                  <a:lnTo>
                    <a:pt x="129" y="63"/>
                  </a:lnTo>
                  <a:lnTo>
                    <a:pt x="129" y="64"/>
                  </a:lnTo>
                  <a:lnTo>
                    <a:pt x="129" y="65"/>
                  </a:lnTo>
                  <a:lnTo>
                    <a:pt x="129" y="66"/>
                  </a:lnTo>
                  <a:lnTo>
                    <a:pt x="131" y="66"/>
                  </a:lnTo>
                  <a:lnTo>
                    <a:pt x="131" y="65"/>
                  </a:lnTo>
                  <a:lnTo>
                    <a:pt x="132" y="65"/>
                  </a:lnTo>
                  <a:lnTo>
                    <a:pt x="133" y="65"/>
                  </a:lnTo>
                  <a:lnTo>
                    <a:pt x="134" y="65"/>
                  </a:lnTo>
                  <a:lnTo>
                    <a:pt x="135" y="65"/>
                  </a:lnTo>
                  <a:lnTo>
                    <a:pt x="137" y="66"/>
                  </a:lnTo>
                  <a:lnTo>
                    <a:pt x="137" y="65"/>
                  </a:lnTo>
                  <a:lnTo>
                    <a:pt x="138" y="66"/>
                  </a:lnTo>
                  <a:lnTo>
                    <a:pt x="138" y="65"/>
                  </a:lnTo>
                  <a:lnTo>
                    <a:pt x="139" y="65"/>
                  </a:lnTo>
                  <a:lnTo>
                    <a:pt x="139" y="66"/>
                  </a:lnTo>
                  <a:lnTo>
                    <a:pt x="139" y="65"/>
                  </a:lnTo>
                  <a:lnTo>
                    <a:pt x="139" y="66"/>
                  </a:lnTo>
                  <a:lnTo>
                    <a:pt x="139" y="65"/>
                  </a:lnTo>
                  <a:lnTo>
                    <a:pt x="140" y="65"/>
                  </a:lnTo>
                  <a:lnTo>
                    <a:pt x="140" y="66"/>
                  </a:lnTo>
                  <a:lnTo>
                    <a:pt x="140" y="68"/>
                  </a:lnTo>
                  <a:lnTo>
                    <a:pt x="139" y="68"/>
                  </a:lnTo>
                  <a:lnTo>
                    <a:pt x="139" y="69"/>
                  </a:lnTo>
                  <a:lnTo>
                    <a:pt x="138" y="69"/>
                  </a:lnTo>
                  <a:lnTo>
                    <a:pt x="138" y="70"/>
                  </a:lnTo>
                  <a:lnTo>
                    <a:pt x="139" y="70"/>
                  </a:lnTo>
                  <a:lnTo>
                    <a:pt x="138" y="71"/>
                  </a:lnTo>
                  <a:lnTo>
                    <a:pt x="138" y="72"/>
                  </a:lnTo>
                  <a:lnTo>
                    <a:pt x="138" y="71"/>
                  </a:lnTo>
                  <a:lnTo>
                    <a:pt x="139" y="70"/>
                  </a:lnTo>
                  <a:lnTo>
                    <a:pt x="139" y="71"/>
                  </a:lnTo>
                  <a:lnTo>
                    <a:pt x="140" y="70"/>
                  </a:lnTo>
                  <a:lnTo>
                    <a:pt x="139" y="70"/>
                  </a:lnTo>
                  <a:lnTo>
                    <a:pt x="140" y="70"/>
                  </a:lnTo>
                  <a:lnTo>
                    <a:pt x="140" y="71"/>
                  </a:lnTo>
                  <a:lnTo>
                    <a:pt x="140" y="72"/>
                  </a:lnTo>
                  <a:lnTo>
                    <a:pt x="141" y="72"/>
                  </a:lnTo>
                  <a:lnTo>
                    <a:pt x="141" y="71"/>
                  </a:lnTo>
                  <a:lnTo>
                    <a:pt x="143" y="70"/>
                  </a:lnTo>
                  <a:lnTo>
                    <a:pt x="143" y="71"/>
                  </a:lnTo>
                  <a:lnTo>
                    <a:pt x="144" y="71"/>
                  </a:lnTo>
                  <a:lnTo>
                    <a:pt x="145" y="71"/>
                  </a:lnTo>
                  <a:lnTo>
                    <a:pt x="145" y="72"/>
                  </a:lnTo>
                  <a:lnTo>
                    <a:pt x="146" y="71"/>
                  </a:lnTo>
                  <a:lnTo>
                    <a:pt x="147" y="71"/>
                  </a:lnTo>
                  <a:lnTo>
                    <a:pt x="147" y="72"/>
                  </a:lnTo>
                  <a:lnTo>
                    <a:pt x="147" y="74"/>
                  </a:lnTo>
                  <a:lnTo>
                    <a:pt x="149" y="74"/>
                  </a:lnTo>
                  <a:lnTo>
                    <a:pt x="150" y="74"/>
                  </a:lnTo>
                  <a:lnTo>
                    <a:pt x="151" y="74"/>
                  </a:lnTo>
                  <a:lnTo>
                    <a:pt x="151" y="75"/>
                  </a:lnTo>
                  <a:lnTo>
                    <a:pt x="152" y="75"/>
                  </a:lnTo>
                  <a:lnTo>
                    <a:pt x="151" y="75"/>
                  </a:lnTo>
                  <a:lnTo>
                    <a:pt x="151" y="74"/>
                  </a:lnTo>
                  <a:lnTo>
                    <a:pt x="152" y="74"/>
                  </a:lnTo>
                  <a:lnTo>
                    <a:pt x="152" y="75"/>
                  </a:lnTo>
                  <a:lnTo>
                    <a:pt x="152" y="74"/>
                  </a:lnTo>
                  <a:lnTo>
                    <a:pt x="153" y="75"/>
                  </a:lnTo>
                  <a:lnTo>
                    <a:pt x="152" y="75"/>
                  </a:lnTo>
                  <a:lnTo>
                    <a:pt x="151" y="75"/>
                  </a:lnTo>
                  <a:lnTo>
                    <a:pt x="152" y="75"/>
                  </a:lnTo>
                  <a:lnTo>
                    <a:pt x="152" y="76"/>
                  </a:lnTo>
                  <a:lnTo>
                    <a:pt x="153" y="76"/>
                  </a:lnTo>
                  <a:lnTo>
                    <a:pt x="153" y="75"/>
                  </a:lnTo>
                  <a:lnTo>
                    <a:pt x="153" y="74"/>
                  </a:lnTo>
                  <a:lnTo>
                    <a:pt x="153" y="75"/>
                  </a:lnTo>
                  <a:lnTo>
                    <a:pt x="155" y="75"/>
                  </a:lnTo>
                  <a:lnTo>
                    <a:pt x="153" y="76"/>
                  </a:lnTo>
                  <a:lnTo>
                    <a:pt x="155" y="76"/>
                  </a:lnTo>
                  <a:lnTo>
                    <a:pt x="155" y="77"/>
                  </a:lnTo>
                  <a:lnTo>
                    <a:pt x="155" y="76"/>
                  </a:lnTo>
                  <a:lnTo>
                    <a:pt x="156" y="76"/>
                  </a:lnTo>
                  <a:lnTo>
                    <a:pt x="157" y="76"/>
                  </a:lnTo>
                  <a:lnTo>
                    <a:pt x="158" y="76"/>
                  </a:lnTo>
                  <a:lnTo>
                    <a:pt x="158" y="77"/>
                  </a:lnTo>
                  <a:lnTo>
                    <a:pt x="158" y="78"/>
                  </a:lnTo>
                  <a:lnTo>
                    <a:pt x="158" y="77"/>
                  </a:lnTo>
                  <a:lnTo>
                    <a:pt x="159" y="77"/>
                  </a:lnTo>
                  <a:lnTo>
                    <a:pt x="159" y="78"/>
                  </a:lnTo>
                  <a:lnTo>
                    <a:pt x="159" y="80"/>
                  </a:lnTo>
                  <a:lnTo>
                    <a:pt x="161" y="80"/>
                  </a:lnTo>
                  <a:lnTo>
                    <a:pt x="159" y="80"/>
                  </a:lnTo>
                  <a:lnTo>
                    <a:pt x="161" y="80"/>
                  </a:lnTo>
                  <a:lnTo>
                    <a:pt x="159" y="81"/>
                  </a:lnTo>
                  <a:lnTo>
                    <a:pt x="159" y="82"/>
                  </a:lnTo>
                  <a:lnTo>
                    <a:pt x="158" y="82"/>
                  </a:lnTo>
                  <a:lnTo>
                    <a:pt x="157" y="82"/>
                  </a:lnTo>
                  <a:lnTo>
                    <a:pt x="157" y="83"/>
                  </a:lnTo>
                  <a:lnTo>
                    <a:pt x="156" y="83"/>
                  </a:lnTo>
                  <a:lnTo>
                    <a:pt x="156" y="82"/>
                  </a:lnTo>
                  <a:lnTo>
                    <a:pt x="157" y="82"/>
                  </a:lnTo>
                  <a:lnTo>
                    <a:pt x="157" y="81"/>
                  </a:lnTo>
                  <a:lnTo>
                    <a:pt x="157" y="82"/>
                  </a:lnTo>
                  <a:lnTo>
                    <a:pt x="156" y="82"/>
                  </a:lnTo>
                  <a:lnTo>
                    <a:pt x="156" y="83"/>
                  </a:lnTo>
                  <a:lnTo>
                    <a:pt x="156" y="82"/>
                  </a:lnTo>
                  <a:lnTo>
                    <a:pt x="156" y="81"/>
                  </a:lnTo>
                  <a:lnTo>
                    <a:pt x="155" y="81"/>
                  </a:lnTo>
                  <a:lnTo>
                    <a:pt x="153" y="81"/>
                  </a:lnTo>
                  <a:lnTo>
                    <a:pt x="155" y="82"/>
                  </a:lnTo>
                  <a:lnTo>
                    <a:pt x="155" y="81"/>
                  </a:lnTo>
                  <a:lnTo>
                    <a:pt x="155" y="82"/>
                  </a:lnTo>
                  <a:lnTo>
                    <a:pt x="156" y="82"/>
                  </a:lnTo>
                  <a:lnTo>
                    <a:pt x="155" y="82"/>
                  </a:lnTo>
                  <a:lnTo>
                    <a:pt x="156" y="82"/>
                  </a:lnTo>
                  <a:lnTo>
                    <a:pt x="155" y="83"/>
                  </a:lnTo>
                  <a:lnTo>
                    <a:pt x="157" y="83"/>
                  </a:lnTo>
                  <a:lnTo>
                    <a:pt x="158" y="83"/>
                  </a:lnTo>
                  <a:lnTo>
                    <a:pt x="158" y="84"/>
                  </a:lnTo>
                  <a:lnTo>
                    <a:pt x="157" y="86"/>
                  </a:lnTo>
                  <a:lnTo>
                    <a:pt x="158" y="86"/>
                  </a:lnTo>
                  <a:lnTo>
                    <a:pt x="158" y="87"/>
                  </a:lnTo>
                  <a:lnTo>
                    <a:pt x="157" y="87"/>
                  </a:lnTo>
                  <a:lnTo>
                    <a:pt x="158" y="87"/>
                  </a:lnTo>
                  <a:lnTo>
                    <a:pt x="158" y="86"/>
                  </a:lnTo>
                  <a:lnTo>
                    <a:pt x="159" y="86"/>
                  </a:lnTo>
                  <a:lnTo>
                    <a:pt x="159" y="84"/>
                  </a:lnTo>
                  <a:lnTo>
                    <a:pt x="158" y="84"/>
                  </a:lnTo>
                  <a:lnTo>
                    <a:pt x="158" y="83"/>
                  </a:lnTo>
                  <a:lnTo>
                    <a:pt x="159" y="83"/>
                  </a:lnTo>
                  <a:lnTo>
                    <a:pt x="159" y="84"/>
                  </a:lnTo>
                  <a:lnTo>
                    <a:pt x="159" y="83"/>
                  </a:lnTo>
                  <a:lnTo>
                    <a:pt x="161" y="83"/>
                  </a:lnTo>
                  <a:lnTo>
                    <a:pt x="161" y="84"/>
                  </a:lnTo>
                  <a:lnTo>
                    <a:pt x="162" y="84"/>
                  </a:lnTo>
                  <a:lnTo>
                    <a:pt x="163" y="84"/>
                  </a:lnTo>
                  <a:lnTo>
                    <a:pt x="163" y="86"/>
                  </a:lnTo>
                  <a:lnTo>
                    <a:pt x="163" y="87"/>
                  </a:lnTo>
                  <a:lnTo>
                    <a:pt x="164" y="87"/>
                  </a:lnTo>
                  <a:lnTo>
                    <a:pt x="164" y="88"/>
                  </a:lnTo>
                  <a:lnTo>
                    <a:pt x="163" y="87"/>
                  </a:lnTo>
                  <a:lnTo>
                    <a:pt x="163" y="88"/>
                  </a:lnTo>
                  <a:lnTo>
                    <a:pt x="163" y="89"/>
                  </a:lnTo>
                  <a:lnTo>
                    <a:pt x="164" y="89"/>
                  </a:lnTo>
                  <a:lnTo>
                    <a:pt x="165" y="89"/>
                  </a:lnTo>
                  <a:lnTo>
                    <a:pt x="165" y="90"/>
                  </a:lnTo>
                  <a:lnTo>
                    <a:pt x="165" y="89"/>
                  </a:lnTo>
                  <a:lnTo>
                    <a:pt x="165" y="88"/>
                  </a:lnTo>
                  <a:lnTo>
                    <a:pt x="164" y="88"/>
                  </a:lnTo>
                  <a:lnTo>
                    <a:pt x="165" y="88"/>
                  </a:lnTo>
                  <a:lnTo>
                    <a:pt x="165" y="87"/>
                  </a:lnTo>
                  <a:lnTo>
                    <a:pt x="164" y="87"/>
                  </a:lnTo>
                  <a:lnTo>
                    <a:pt x="164" y="86"/>
                  </a:lnTo>
                  <a:lnTo>
                    <a:pt x="163" y="86"/>
                  </a:lnTo>
                  <a:lnTo>
                    <a:pt x="163" y="84"/>
                  </a:lnTo>
                  <a:lnTo>
                    <a:pt x="164" y="84"/>
                  </a:lnTo>
                  <a:lnTo>
                    <a:pt x="164" y="83"/>
                  </a:lnTo>
                  <a:lnTo>
                    <a:pt x="163" y="83"/>
                  </a:lnTo>
                  <a:lnTo>
                    <a:pt x="163" y="82"/>
                  </a:lnTo>
                  <a:lnTo>
                    <a:pt x="163" y="81"/>
                  </a:lnTo>
                  <a:lnTo>
                    <a:pt x="163" y="80"/>
                  </a:lnTo>
                  <a:lnTo>
                    <a:pt x="162" y="80"/>
                  </a:lnTo>
                  <a:lnTo>
                    <a:pt x="162" y="78"/>
                  </a:lnTo>
                  <a:lnTo>
                    <a:pt x="162" y="77"/>
                  </a:lnTo>
                  <a:lnTo>
                    <a:pt x="162" y="76"/>
                  </a:lnTo>
                  <a:lnTo>
                    <a:pt x="162" y="75"/>
                  </a:lnTo>
                  <a:lnTo>
                    <a:pt x="161" y="75"/>
                  </a:lnTo>
                  <a:lnTo>
                    <a:pt x="162" y="75"/>
                  </a:lnTo>
                  <a:lnTo>
                    <a:pt x="161" y="75"/>
                  </a:lnTo>
                  <a:lnTo>
                    <a:pt x="161" y="74"/>
                  </a:lnTo>
                  <a:lnTo>
                    <a:pt x="161" y="75"/>
                  </a:lnTo>
                  <a:lnTo>
                    <a:pt x="159" y="75"/>
                  </a:lnTo>
                  <a:lnTo>
                    <a:pt x="159" y="74"/>
                  </a:lnTo>
                  <a:lnTo>
                    <a:pt x="159" y="72"/>
                  </a:lnTo>
                  <a:lnTo>
                    <a:pt x="161" y="72"/>
                  </a:lnTo>
                  <a:lnTo>
                    <a:pt x="159" y="72"/>
                  </a:lnTo>
                  <a:lnTo>
                    <a:pt x="159" y="71"/>
                  </a:lnTo>
                  <a:lnTo>
                    <a:pt x="159" y="72"/>
                  </a:lnTo>
                  <a:lnTo>
                    <a:pt x="158" y="71"/>
                  </a:lnTo>
                  <a:lnTo>
                    <a:pt x="157" y="72"/>
                  </a:lnTo>
                  <a:lnTo>
                    <a:pt x="156" y="72"/>
                  </a:lnTo>
                  <a:lnTo>
                    <a:pt x="156" y="71"/>
                  </a:lnTo>
                  <a:lnTo>
                    <a:pt x="155" y="71"/>
                  </a:lnTo>
                  <a:lnTo>
                    <a:pt x="155" y="70"/>
                  </a:lnTo>
                  <a:lnTo>
                    <a:pt x="156" y="70"/>
                  </a:lnTo>
                  <a:lnTo>
                    <a:pt x="156" y="69"/>
                  </a:lnTo>
                  <a:lnTo>
                    <a:pt x="157" y="69"/>
                  </a:lnTo>
                  <a:lnTo>
                    <a:pt x="158" y="69"/>
                  </a:lnTo>
                  <a:lnTo>
                    <a:pt x="157" y="69"/>
                  </a:lnTo>
                  <a:lnTo>
                    <a:pt x="157" y="68"/>
                  </a:lnTo>
                  <a:lnTo>
                    <a:pt x="156" y="68"/>
                  </a:lnTo>
                  <a:lnTo>
                    <a:pt x="156" y="69"/>
                  </a:lnTo>
                  <a:lnTo>
                    <a:pt x="155" y="69"/>
                  </a:lnTo>
                  <a:lnTo>
                    <a:pt x="153" y="69"/>
                  </a:lnTo>
                  <a:lnTo>
                    <a:pt x="152" y="69"/>
                  </a:lnTo>
                  <a:lnTo>
                    <a:pt x="152" y="68"/>
                  </a:lnTo>
                  <a:lnTo>
                    <a:pt x="152" y="69"/>
                  </a:lnTo>
                  <a:lnTo>
                    <a:pt x="151" y="69"/>
                  </a:lnTo>
                  <a:lnTo>
                    <a:pt x="150" y="69"/>
                  </a:lnTo>
                  <a:lnTo>
                    <a:pt x="150" y="68"/>
                  </a:lnTo>
                  <a:lnTo>
                    <a:pt x="149" y="68"/>
                  </a:lnTo>
                  <a:lnTo>
                    <a:pt x="147" y="68"/>
                  </a:lnTo>
                  <a:lnTo>
                    <a:pt x="146" y="68"/>
                  </a:lnTo>
                  <a:lnTo>
                    <a:pt x="147" y="68"/>
                  </a:lnTo>
                  <a:lnTo>
                    <a:pt x="147" y="66"/>
                  </a:lnTo>
                  <a:lnTo>
                    <a:pt x="147" y="65"/>
                  </a:lnTo>
                  <a:lnTo>
                    <a:pt x="149" y="65"/>
                  </a:lnTo>
                  <a:lnTo>
                    <a:pt x="149" y="66"/>
                  </a:lnTo>
                  <a:lnTo>
                    <a:pt x="150" y="66"/>
                  </a:lnTo>
                  <a:lnTo>
                    <a:pt x="150" y="65"/>
                  </a:lnTo>
                  <a:lnTo>
                    <a:pt x="149" y="65"/>
                  </a:lnTo>
                  <a:lnTo>
                    <a:pt x="147" y="65"/>
                  </a:lnTo>
                  <a:lnTo>
                    <a:pt x="146" y="65"/>
                  </a:lnTo>
                  <a:lnTo>
                    <a:pt x="146" y="66"/>
                  </a:lnTo>
                  <a:lnTo>
                    <a:pt x="145" y="66"/>
                  </a:lnTo>
                  <a:lnTo>
                    <a:pt x="146" y="65"/>
                  </a:lnTo>
                  <a:lnTo>
                    <a:pt x="147" y="65"/>
                  </a:lnTo>
                  <a:lnTo>
                    <a:pt x="146" y="65"/>
                  </a:lnTo>
                  <a:lnTo>
                    <a:pt x="146" y="64"/>
                  </a:lnTo>
                  <a:lnTo>
                    <a:pt x="146" y="63"/>
                  </a:lnTo>
                  <a:lnTo>
                    <a:pt x="146" y="62"/>
                  </a:lnTo>
                  <a:lnTo>
                    <a:pt x="145" y="62"/>
                  </a:lnTo>
                  <a:lnTo>
                    <a:pt x="144" y="62"/>
                  </a:lnTo>
                  <a:lnTo>
                    <a:pt x="144" y="63"/>
                  </a:lnTo>
                  <a:lnTo>
                    <a:pt x="145" y="63"/>
                  </a:lnTo>
                  <a:lnTo>
                    <a:pt x="144" y="63"/>
                  </a:lnTo>
                  <a:lnTo>
                    <a:pt x="145" y="63"/>
                  </a:lnTo>
                  <a:lnTo>
                    <a:pt x="145" y="64"/>
                  </a:lnTo>
                  <a:lnTo>
                    <a:pt x="144" y="64"/>
                  </a:lnTo>
                  <a:lnTo>
                    <a:pt x="143" y="64"/>
                  </a:lnTo>
                  <a:lnTo>
                    <a:pt x="143" y="65"/>
                  </a:lnTo>
                  <a:lnTo>
                    <a:pt x="141" y="65"/>
                  </a:lnTo>
                  <a:lnTo>
                    <a:pt x="141" y="66"/>
                  </a:lnTo>
                  <a:lnTo>
                    <a:pt x="141" y="65"/>
                  </a:lnTo>
                  <a:lnTo>
                    <a:pt x="140" y="65"/>
                  </a:lnTo>
                  <a:lnTo>
                    <a:pt x="141" y="65"/>
                  </a:lnTo>
                  <a:lnTo>
                    <a:pt x="141" y="64"/>
                  </a:lnTo>
                  <a:lnTo>
                    <a:pt x="140" y="64"/>
                  </a:lnTo>
                  <a:lnTo>
                    <a:pt x="140" y="63"/>
                  </a:lnTo>
                  <a:lnTo>
                    <a:pt x="141" y="63"/>
                  </a:lnTo>
                  <a:lnTo>
                    <a:pt x="141" y="64"/>
                  </a:lnTo>
                  <a:lnTo>
                    <a:pt x="143" y="64"/>
                  </a:lnTo>
                  <a:lnTo>
                    <a:pt x="141" y="64"/>
                  </a:lnTo>
                  <a:lnTo>
                    <a:pt x="141" y="63"/>
                  </a:lnTo>
                  <a:lnTo>
                    <a:pt x="141" y="62"/>
                  </a:lnTo>
                  <a:lnTo>
                    <a:pt x="140" y="62"/>
                  </a:lnTo>
                  <a:lnTo>
                    <a:pt x="140" y="60"/>
                  </a:lnTo>
                  <a:lnTo>
                    <a:pt x="140" y="62"/>
                  </a:lnTo>
                  <a:lnTo>
                    <a:pt x="139" y="62"/>
                  </a:lnTo>
                  <a:lnTo>
                    <a:pt x="138" y="62"/>
                  </a:lnTo>
                  <a:lnTo>
                    <a:pt x="138" y="60"/>
                  </a:lnTo>
                  <a:lnTo>
                    <a:pt x="137" y="60"/>
                  </a:lnTo>
                  <a:lnTo>
                    <a:pt x="137" y="62"/>
                  </a:lnTo>
                  <a:lnTo>
                    <a:pt x="135" y="62"/>
                  </a:lnTo>
                  <a:lnTo>
                    <a:pt x="137" y="60"/>
                  </a:lnTo>
                  <a:lnTo>
                    <a:pt x="135" y="62"/>
                  </a:lnTo>
                  <a:lnTo>
                    <a:pt x="137" y="62"/>
                  </a:lnTo>
                  <a:lnTo>
                    <a:pt x="135" y="62"/>
                  </a:lnTo>
                  <a:lnTo>
                    <a:pt x="135" y="63"/>
                  </a:lnTo>
                  <a:lnTo>
                    <a:pt x="135" y="64"/>
                  </a:lnTo>
                  <a:lnTo>
                    <a:pt x="135" y="63"/>
                  </a:lnTo>
                  <a:lnTo>
                    <a:pt x="134" y="64"/>
                  </a:lnTo>
                  <a:lnTo>
                    <a:pt x="133" y="64"/>
                  </a:lnTo>
                  <a:lnTo>
                    <a:pt x="133" y="63"/>
                  </a:lnTo>
                  <a:lnTo>
                    <a:pt x="134" y="62"/>
                  </a:lnTo>
                  <a:lnTo>
                    <a:pt x="133" y="62"/>
                  </a:lnTo>
                  <a:lnTo>
                    <a:pt x="133" y="63"/>
                  </a:lnTo>
                  <a:lnTo>
                    <a:pt x="133" y="62"/>
                  </a:lnTo>
                  <a:lnTo>
                    <a:pt x="134" y="60"/>
                  </a:lnTo>
                  <a:lnTo>
                    <a:pt x="133" y="60"/>
                  </a:lnTo>
                  <a:lnTo>
                    <a:pt x="134" y="60"/>
                  </a:lnTo>
                  <a:lnTo>
                    <a:pt x="134" y="59"/>
                  </a:lnTo>
                  <a:lnTo>
                    <a:pt x="134" y="58"/>
                  </a:lnTo>
                  <a:lnTo>
                    <a:pt x="133" y="58"/>
                  </a:lnTo>
                  <a:lnTo>
                    <a:pt x="133" y="59"/>
                  </a:lnTo>
                  <a:lnTo>
                    <a:pt x="132" y="59"/>
                  </a:lnTo>
                  <a:lnTo>
                    <a:pt x="132" y="58"/>
                  </a:lnTo>
                  <a:lnTo>
                    <a:pt x="131" y="58"/>
                  </a:lnTo>
                  <a:lnTo>
                    <a:pt x="129" y="58"/>
                  </a:lnTo>
                  <a:lnTo>
                    <a:pt x="128" y="58"/>
                  </a:lnTo>
                  <a:lnTo>
                    <a:pt x="128" y="59"/>
                  </a:lnTo>
                  <a:lnTo>
                    <a:pt x="127" y="58"/>
                  </a:lnTo>
                  <a:lnTo>
                    <a:pt x="128" y="58"/>
                  </a:lnTo>
                  <a:lnTo>
                    <a:pt x="127" y="58"/>
                  </a:lnTo>
                  <a:lnTo>
                    <a:pt x="126" y="58"/>
                  </a:lnTo>
                  <a:lnTo>
                    <a:pt x="124" y="58"/>
                  </a:lnTo>
                  <a:lnTo>
                    <a:pt x="124" y="59"/>
                  </a:lnTo>
                  <a:lnTo>
                    <a:pt x="126" y="59"/>
                  </a:lnTo>
                  <a:lnTo>
                    <a:pt x="124" y="59"/>
                  </a:lnTo>
                  <a:lnTo>
                    <a:pt x="124" y="60"/>
                  </a:lnTo>
                  <a:lnTo>
                    <a:pt x="123" y="60"/>
                  </a:lnTo>
                  <a:lnTo>
                    <a:pt x="123" y="59"/>
                  </a:lnTo>
                  <a:lnTo>
                    <a:pt x="124" y="59"/>
                  </a:lnTo>
                  <a:lnTo>
                    <a:pt x="123" y="59"/>
                  </a:lnTo>
                  <a:lnTo>
                    <a:pt x="124" y="58"/>
                  </a:lnTo>
                  <a:lnTo>
                    <a:pt x="124" y="57"/>
                  </a:lnTo>
                  <a:lnTo>
                    <a:pt x="123" y="57"/>
                  </a:lnTo>
                  <a:lnTo>
                    <a:pt x="123" y="58"/>
                  </a:lnTo>
                  <a:lnTo>
                    <a:pt x="123" y="57"/>
                  </a:lnTo>
                  <a:lnTo>
                    <a:pt x="122" y="57"/>
                  </a:lnTo>
                  <a:lnTo>
                    <a:pt x="122" y="56"/>
                  </a:lnTo>
                  <a:lnTo>
                    <a:pt x="121" y="56"/>
                  </a:lnTo>
                  <a:lnTo>
                    <a:pt x="120" y="54"/>
                  </a:lnTo>
                  <a:lnTo>
                    <a:pt x="118" y="54"/>
                  </a:lnTo>
                  <a:lnTo>
                    <a:pt x="118" y="53"/>
                  </a:lnTo>
                  <a:lnTo>
                    <a:pt x="117" y="53"/>
                  </a:lnTo>
                  <a:lnTo>
                    <a:pt x="118" y="53"/>
                  </a:lnTo>
                  <a:lnTo>
                    <a:pt x="117" y="53"/>
                  </a:lnTo>
                  <a:lnTo>
                    <a:pt x="116" y="52"/>
                  </a:lnTo>
                  <a:lnTo>
                    <a:pt x="115" y="51"/>
                  </a:lnTo>
                  <a:lnTo>
                    <a:pt x="114" y="51"/>
                  </a:lnTo>
                  <a:lnTo>
                    <a:pt x="115" y="50"/>
                  </a:lnTo>
                  <a:lnTo>
                    <a:pt x="115" y="48"/>
                  </a:lnTo>
                  <a:lnTo>
                    <a:pt x="114" y="48"/>
                  </a:lnTo>
                  <a:lnTo>
                    <a:pt x="114" y="47"/>
                  </a:lnTo>
                  <a:lnTo>
                    <a:pt x="114" y="48"/>
                  </a:lnTo>
                  <a:lnTo>
                    <a:pt x="114" y="47"/>
                  </a:lnTo>
                  <a:lnTo>
                    <a:pt x="112" y="47"/>
                  </a:lnTo>
                  <a:lnTo>
                    <a:pt x="112" y="48"/>
                  </a:lnTo>
                  <a:lnTo>
                    <a:pt x="112" y="47"/>
                  </a:lnTo>
                  <a:lnTo>
                    <a:pt x="111" y="47"/>
                  </a:lnTo>
                  <a:lnTo>
                    <a:pt x="111" y="46"/>
                  </a:lnTo>
                  <a:lnTo>
                    <a:pt x="110" y="46"/>
                  </a:lnTo>
                  <a:lnTo>
                    <a:pt x="111" y="46"/>
                  </a:lnTo>
                  <a:lnTo>
                    <a:pt x="111" y="45"/>
                  </a:lnTo>
                  <a:lnTo>
                    <a:pt x="112" y="45"/>
                  </a:lnTo>
                  <a:lnTo>
                    <a:pt x="112" y="44"/>
                  </a:lnTo>
                  <a:lnTo>
                    <a:pt x="114" y="44"/>
                  </a:lnTo>
                  <a:lnTo>
                    <a:pt x="115" y="44"/>
                  </a:lnTo>
                  <a:lnTo>
                    <a:pt x="116" y="45"/>
                  </a:lnTo>
                  <a:lnTo>
                    <a:pt x="116" y="44"/>
                  </a:lnTo>
                  <a:lnTo>
                    <a:pt x="115" y="44"/>
                  </a:lnTo>
                  <a:lnTo>
                    <a:pt x="114" y="42"/>
                  </a:lnTo>
                  <a:lnTo>
                    <a:pt x="114" y="44"/>
                  </a:lnTo>
                  <a:lnTo>
                    <a:pt x="114" y="42"/>
                  </a:lnTo>
                  <a:lnTo>
                    <a:pt x="112" y="42"/>
                  </a:lnTo>
                  <a:lnTo>
                    <a:pt x="112" y="41"/>
                  </a:lnTo>
                  <a:lnTo>
                    <a:pt x="112" y="40"/>
                  </a:lnTo>
                  <a:lnTo>
                    <a:pt x="111" y="40"/>
                  </a:lnTo>
                  <a:lnTo>
                    <a:pt x="111" y="39"/>
                  </a:lnTo>
                  <a:lnTo>
                    <a:pt x="111" y="37"/>
                  </a:lnTo>
                  <a:lnTo>
                    <a:pt x="112" y="37"/>
                  </a:lnTo>
                  <a:lnTo>
                    <a:pt x="112" y="39"/>
                  </a:lnTo>
                  <a:lnTo>
                    <a:pt x="114" y="39"/>
                  </a:lnTo>
                  <a:lnTo>
                    <a:pt x="115" y="39"/>
                  </a:lnTo>
                  <a:lnTo>
                    <a:pt x="116" y="39"/>
                  </a:lnTo>
                  <a:lnTo>
                    <a:pt x="117" y="39"/>
                  </a:lnTo>
                  <a:lnTo>
                    <a:pt x="117" y="37"/>
                  </a:lnTo>
                  <a:lnTo>
                    <a:pt x="116" y="37"/>
                  </a:lnTo>
                  <a:lnTo>
                    <a:pt x="115" y="37"/>
                  </a:lnTo>
                  <a:lnTo>
                    <a:pt x="115" y="36"/>
                  </a:lnTo>
                  <a:lnTo>
                    <a:pt x="115" y="37"/>
                  </a:lnTo>
                  <a:lnTo>
                    <a:pt x="115" y="36"/>
                  </a:lnTo>
                  <a:lnTo>
                    <a:pt x="114" y="36"/>
                  </a:lnTo>
                  <a:lnTo>
                    <a:pt x="114" y="35"/>
                  </a:lnTo>
                  <a:lnTo>
                    <a:pt x="114" y="34"/>
                  </a:lnTo>
                  <a:lnTo>
                    <a:pt x="112" y="34"/>
                  </a:lnTo>
                  <a:lnTo>
                    <a:pt x="112" y="33"/>
                  </a:lnTo>
                  <a:lnTo>
                    <a:pt x="114" y="33"/>
                  </a:lnTo>
                  <a:lnTo>
                    <a:pt x="115" y="33"/>
                  </a:lnTo>
                  <a:lnTo>
                    <a:pt x="115" y="34"/>
                  </a:lnTo>
                  <a:lnTo>
                    <a:pt x="116" y="34"/>
                  </a:lnTo>
                  <a:lnTo>
                    <a:pt x="116" y="33"/>
                  </a:lnTo>
                  <a:lnTo>
                    <a:pt x="115" y="33"/>
                  </a:lnTo>
                  <a:lnTo>
                    <a:pt x="116" y="33"/>
                  </a:lnTo>
                  <a:lnTo>
                    <a:pt x="116" y="31"/>
                  </a:lnTo>
                  <a:lnTo>
                    <a:pt x="115" y="31"/>
                  </a:lnTo>
                  <a:lnTo>
                    <a:pt x="115" y="30"/>
                  </a:lnTo>
                  <a:lnTo>
                    <a:pt x="115" y="29"/>
                  </a:lnTo>
                  <a:lnTo>
                    <a:pt x="116" y="29"/>
                  </a:lnTo>
                  <a:lnTo>
                    <a:pt x="116" y="28"/>
                  </a:lnTo>
                  <a:lnTo>
                    <a:pt x="115" y="28"/>
                  </a:lnTo>
                  <a:lnTo>
                    <a:pt x="115" y="27"/>
                  </a:lnTo>
                  <a:lnTo>
                    <a:pt x="116" y="27"/>
                  </a:lnTo>
                  <a:lnTo>
                    <a:pt x="117" y="27"/>
                  </a:lnTo>
                  <a:lnTo>
                    <a:pt x="117" y="28"/>
                  </a:lnTo>
                  <a:lnTo>
                    <a:pt x="117" y="29"/>
                  </a:lnTo>
                  <a:lnTo>
                    <a:pt x="117" y="30"/>
                  </a:lnTo>
                  <a:lnTo>
                    <a:pt x="117" y="29"/>
                  </a:lnTo>
                  <a:lnTo>
                    <a:pt x="118" y="29"/>
                  </a:lnTo>
                  <a:lnTo>
                    <a:pt x="118" y="28"/>
                  </a:lnTo>
                  <a:lnTo>
                    <a:pt x="118" y="27"/>
                  </a:lnTo>
                  <a:lnTo>
                    <a:pt x="117" y="27"/>
                  </a:lnTo>
                  <a:lnTo>
                    <a:pt x="117" y="25"/>
                  </a:lnTo>
                  <a:lnTo>
                    <a:pt x="118" y="25"/>
                  </a:lnTo>
                  <a:lnTo>
                    <a:pt x="118" y="24"/>
                  </a:lnTo>
                  <a:lnTo>
                    <a:pt x="118" y="25"/>
                  </a:lnTo>
                  <a:lnTo>
                    <a:pt x="120" y="25"/>
                  </a:lnTo>
                  <a:lnTo>
                    <a:pt x="121" y="25"/>
                  </a:lnTo>
                  <a:lnTo>
                    <a:pt x="120" y="25"/>
                  </a:lnTo>
                  <a:lnTo>
                    <a:pt x="120" y="24"/>
                  </a:lnTo>
                  <a:lnTo>
                    <a:pt x="120" y="23"/>
                  </a:lnTo>
                  <a:lnTo>
                    <a:pt x="121" y="23"/>
                  </a:lnTo>
                  <a:lnTo>
                    <a:pt x="120" y="22"/>
                  </a:lnTo>
                  <a:lnTo>
                    <a:pt x="121" y="22"/>
                  </a:lnTo>
                  <a:lnTo>
                    <a:pt x="120" y="22"/>
                  </a:lnTo>
                  <a:lnTo>
                    <a:pt x="118" y="21"/>
                  </a:lnTo>
                  <a:lnTo>
                    <a:pt x="118" y="19"/>
                  </a:lnTo>
                  <a:lnTo>
                    <a:pt x="120" y="19"/>
                  </a:lnTo>
                  <a:lnTo>
                    <a:pt x="120" y="18"/>
                  </a:lnTo>
                  <a:lnTo>
                    <a:pt x="120" y="17"/>
                  </a:lnTo>
                  <a:lnTo>
                    <a:pt x="118" y="17"/>
                  </a:lnTo>
                  <a:lnTo>
                    <a:pt x="120" y="17"/>
                  </a:lnTo>
                  <a:lnTo>
                    <a:pt x="120" y="16"/>
                  </a:lnTo>
                  <a:lnTo>
                    <a:pt x="120" y="17"/>
                  </a:lnTo>
                  <a:lnTo>
                    <a:pt x="120" y="16"/>
                  </a:lnTo>
                  <a:lnTo>
                    <a:pt x="121" y="16"/>
                  </a:lnTo>
                  <a:lnTo>
                    <a:pt x="121" y="17"/>
                  </a:lnTo>
                  <a:lnTo>
                    <a:pt x="121" y="18"/>
                  </a:lnTo>
                  <a:lnTo>
                    <a:pt x="122" y="18"/>
                  </a:lnTo>
                  <a:lnTo>
                    <a:pt x="123" y="18"/>
                  </a:lnTo>
                  <a:lnTo>
                    <a:pt x="123" y="19"/>
                  </a:lnTo>
                  <a:lnTo>
                    <a:pt x="123" y="21"/>
                  </a:lnTo>
                  <a:lnTo>
                    <a:pt x="124" y="21"/>
                  </a:lnTo>
                  <a:lnTo>
                    <a:pt x="126" y="21"/>
                  </a:lnTo>
                  <a:lnTo>
                    <a:pt x="126" y="19"/>
                  </a:lnTo>
                  <a:lnTo>
                    <a:pt x="126" y="21"/>
                  </a:lnTo>
                  <a:lnTo>
                    <a:pt x="126" y="19"/>
                  </a:lnTo>
                  <a:lnTo>
                    <a:pt x="124" y="19"/>
                  </a:lnTo>
                  <a:lnTo>
                    <a:pt x="126" y="19"/>
                  </a:lnTo>
                  <a:lnTo>
                    <a:pt x="124" y="19"/>
                  </a:lnTo>
                  <a:lnTo>
                    <a:pt x="124" y="18"/>
                  </a:lnTo>
                  <a:lnTo>
                    <a:pt x="124" y="17"/>
                  </a:lnTo>
                  <a:lnTo>
                    <a:pt x="124" y="16"/>
                  </a:lnTo>
                  <a:lnTo>
                    <a:pt x="124" y="15"/>
                  </a:lnTo>
                  <a:lnTo>
                    <a:pt x="123" y="15"/>
                  </a:lnTo>
                  <a:lnTo>
                    <a:pt x="123" y="13"/>
                  </a:lnTo>
                  <a:lnTo>
                    <a:pt x="123" y="12"/>
                  </a:lnTo>
                  <a:lnTo>
                    <a:pt x="123" y="11"/>
                  </a:lnTo>
                  <a:lnTo>
                    <a:pt x="124" y="11"/>
                  </a:lnTo>
                  <a:lnTo>
                    <a:pt x="123" y="11"/>
                  </a:lnTo>
                  <a:lnTo>
                    <a:pt x="124" y="11"/>
                  </a:lnTo>
                  <a:lnTo>
                    <a:pt x="124" y="10"/>
                  </a:lnTo>
                  <a:lnTo>
                    <a:pt x="124" y="9"/>
                  </a:lnTo>
                  <a:lnTo>
                    <a:pt x="124" y="7"/>
                  </a:lnTo>
                  <a:lnTo>
                    <a:pt x="124" y="9"/>
                  </a:lnTo>
                  <a:lnTo>
                    <a:pt x="126" y="9"/>
                  </a:lnTo>
                  <a:lnTo>
                    <a:pt x="126" y="10"/>
                  </a:lnTo>
                  <a:lnTo>
                    <a:pt x="127" y="10"/>
                  </a:lnTo>
                  <a:lnTo>
                    <a:pt x="127" y="11"/>
                  </a:lnTo>
                  <a:lnTo>
                    <a:pt x="127" y="12"/>
                  </a:lnTo>
                  <a:lnTo>
                    <a:pt x="127" y="11"/>
                  </a:lnTo>
                  <a:lnTo>
                    <a:pt x="128" y="11"/>
                  </a:lnTo>
                  <a:lnTo>
                    <a:pt x="129" y="11"/>
                  </a:lnTo>
                  <a:lnTo>
                    <a:pt x="129" y="12"/>
                  </a:lnTo>
                  <a:lnTo>
                    <a:pt x="129" y="11"/>
                  </a:lnTo>
                  <a:lnTo>
                    <a:pt x="131" y="11"/>
                  </a:lnTo>
                  <a:lnTo>
                    <a:pt x="131" y="10"/>
                  </a:lnTo>
                  <a:lnTo>
                    <a:pt x="132" y="10"/>
                  </a:lnTo>
                  <a:lnTo>
                    <a:pt x="132" y="11"/>
                  </a:lnTo>
                  <a:lnTo>
                    <a:pt x="132" y="12"/>
                  </a:lnTo>
                  <a:lnTo>
                    <a:pt x="132" y="13"/>
                  </a:lnTo>
                  <a:lnTo>
                    <a:pt x="133" y="13"/>
                  </a:lnTo>
                  <a:lnTo>
                    <a:pt x="132" y="15"/>
                  </a:lnTo>
                  <a:lnTo>
                    <a:pt x="131" y="16"/>
                  </a:lnTo>
                  <a:lnTo>
                    <a:pt x="131" y="17"/>
                  </a:lnTo>
                  <a:lnTo>
                    <a:pt x="131" y="18"/>
                  </a:lnTo>
                  <a:lnTo>
                    <a:pt x="132" y="18"/>
                  </a:lnTo>
                  <a:lnTo>
                    <a:pt x="133" y="18"/>
                  </a:lnTo>
                  <a:lnTo>
                    <a:pt x="133" y="19"/>
                  </a:lnTo>
                  <a:lnTo>
                    <a:pt x="134" y="19"/>
                  </a:lnTo>
                  <a:lnTo>
                    <a:pt x="133" y="19"/>
                  </a:lnTo>
                  <a:lnTo>
                    <a:pt x="134" y="19"/>
                  </a:lnTo>
                  <a:lnTo>
                    <a:pt x="134" y="18"/>
                  </a:lnTo>
                  <a:lnTo>
                    <a:pt x="134" y="17"/>
                  </a:lnTo>
                  <a:lnTo>
                    <a:pt x="134" y="16"/>
                  </a:lnTo>
                  <a:lnTo>
                    <a:pt x="135" y="16"/>
                  </a:lnTo>
                  <a:lnTo>
                    <a:pt x="135" y="15"/>
                  </a:lnTo>
                  <a:lnTo>
                    <a:pt x="135" y="13"/>
                  </a:lnTo>
                  <a:lnTo>
                    <a:pt x="135" y="12"/>
                  </a:lnTo>
                  <a:lnTo>
                    <a:pt x="137" y="12"/>
                  </a:lnTo>
                  <a:lnTo>
                    <a:pt x="138" y="12"/>
                  </a:lnTo>
                  <a:lnTo>
                    <a:pt x="138" y="13"/>
                  </a:lnTo>
                  <a:lnTo>
                    <a:pt x="138" y="15"/>
                  </a:lnTo>
                  <a:lnTo>
                    <a:pt x="139" y="15"/>
                  </a:lnTo>
                  <a:lnTo>
                    <a:pt x="139" y="16"/>
                  </a:lnTo>
                  <a:lnTo>
                    <a:pt x="140" y="17"/>
                  </a:lnTo>
                  <a:lnTo>
                    <a:pt x="140" y="16"/>
                  </a:lnTo>
                  <a:lnTo>
                    <a:pt x="141" y="16"/>
                  </a:lnTo>
                  <a:lnTo>
                    <a:pt x="141" y="17"/>
                  </a:lnTo>
                  <a:lnTo>
                    <a:pt x="143" y="17"/>
                  </a:lnTo>
                  <a:lnTo>
                    <a:pt x="141" y="16"/>
                  </a:lnTo>
                  <a:lnTo>
                    <a:pt x="141" y="15"/>
                  </a:lnTo>
                  <a:lnTo>
                    <a:pt x="143" y="15"/>
                  </a:lnTo>
                  <a:lnTo>
                    <a:pt x="143" y="13"/>
                  </a:lnTo>
                  <a:lnTo>
                    <a:pt x="143" y="12"/>
                  </a:lnTo>
                  <a:lnTo>
                    <a:pt x="143" y="11"/>
                  </a:lnTo>
                  <a:lnTo>
                    <a:pt x="143" y="12"/>
                  </a:lnTo>
                  <a:lnTo>
                    <a:pt x="144" y="11"/>
                  </a:lnTo>
                  <a:lnTo>
                    <a:pt x="143" y="11"/>
                  </a:lnTo>
                  <a:lnTo>
                    <a:pt x="141" y="10"/>
                  </a:lnTo>
                  <a:lnTo>
                    <a:pt x="141" y="11"/>
                  </a:lnTo>
                  <a:lnTo>
                    <a:pt x="141" y="10"/>
                  </a:lnTo>
                  <a:lnTo>
                    <a:pt x="141" y="9"/>
                  </a:lnTo>
                  <a:lnTo>
                    <a:pt x="140" y="9"/>
                  </a:lnTo>
                  <a:lnTo>
                    <a:pt x="140" y="7"/>
                  </a:lnTo>
                  <a:lnTo>
                    <a:pt x="139" y="7"/>
                  </a:lnTo>
                  <a:lnTo>
                    <a:pt x="140" y="6"/>
                  </a:lnTo>
                  <a:lnTo>
                    <a:pt x="141" y="6"/>
                  </a:lnTo>
                  <a:lnTo>
                    <a:pt x="141" y="7"/>
                  </a:lnTo>
                  <a:lnTo>
                    <a:pt x="141" y="6"/>
                  </a:lnTo>
                  <a:lnTo>
                    <a:pt x="141" y="5"/>
                  </a:lnTo>
                  <a:lnTo>
                    <a:pt x="143" y="4"/>
                  </a:lnTo>
                  <a:lnTo>
                    <a:pt x="144" y="4"/>
                  </a:lnTo>
                  <a:lnTo>
                    <a:pt x="144" y="5"/>
                  </a:lnTo>
                  <a:lnTo>
                    <a:pt x="145" y="5"/>
                  </a:lnTo>
                  <a:lnTo>
                    <a:pt x="145" y="6"/>
                  </a:lnTo>
                  <a:lnTo>
                    <a:pt x="145" y="7"/>
                  </a:lnTo>
                  <a:lnTo>
                    <a:pt x="145" y="9"/>
                  </a:lnTo>
                  <a:lnTo>
                    <a:pt x="144" y="9"/>
                  </a:lnTo>
                  <a:lnTo>
                    <a:pt x="144" y="10"/>
                  </a:lnTo>
                  <a:lnTo>
                    <a:pt x="145" y="10"/>
                  </a:lnTo>
                  <a:lnTo>
                    <a:pt x="146" y="10"/>
                  </a:lnTo>
                  <a:lnTo>
                    <a:pt x="146" y="9"/>
                  </a:lnTo>
                  <a:lnTo>
                    <a:pt x="147" y="9"/>
                  </a:lnTo>
                  <a:lnTo>
                    <a:pt x="147" y="10"/>
                  </a:lnTo>
                  <a:lnTo>
                    <a:pt x="147" y="11"/>
                  </a:lnTo>
                  <a:lnTo>
                    <a:pt x="149" y="11"/>
                  </a:lnTo>
                  <a:lnTo>
                    <a:pt x="149" y="12"/>
                  </a:lnTo>
                  <a:lnTo>
                    <a:pt x="149" y="11"/>
                  </a:lnTo>
                  <a:lnTo>
                    <a:pt x="150" y="11"/>
                  </a:lnTo>
                  <a:lnTo>
                    <a:pt x="149" y="10"/>
                  </a:lnTo>
                  <a:lnTo>
                    <a:pt x="150" y="10"/>
                  </a:lnTo>
                  <a:lnTo>
                    <a:pt x="149" y="9"/>
                  </a:lnTo>
                  <a:lnTo>
                    <a:pt x="149" y="7"/>
                  </a:lnTo>
                  <a:lnTo>
                    <a:pt x="150" y="7"/>
                  </a:lnTo>
                  <a:lnTo>
                    <a:pt x="150" y="6"/>
                  </a:lnTo>
                  <a:lnTo>
                    <a:pt x="151" y="6"/>
                  </a:lnTo>
                  <a:lnTo>
                    <a:pt x="151" y="7"/>
                  </a:lnTo>
                  <a:lnTo>
                    <a:pt x="151" y="6"/>
                  </a:lnTo>
                  <a:lnTo>
                    <a:pt x="152" y="6"/>
                  </a:lnTo>
                  <a:lnTo>
                    <a:pt x="152" y="5"/>
                  </a:lnTo>
                  <a:lnTo>
                    <a:pt x="152" y="4"/>
                  </a:lnTo>
                  <a:lnTo>
                    <a:pt x="152" y="3"/>
                  </a:lnTo>
                  <a:lnTo>
                    <a:pt x="153" y="3"/>
                  </a:lnTo>
                  <a:lnTo>
                    <a:pt x="153" y="4"/>
                  </a:lnTo>
                  <a:lnTo>
                    <a:pt x="155" y="5"/>
                  </a:lnTo>
                  <a:lnTo>
                    <a:pt x="155" y="4"/>
                  </a:lnTo>
                  <a:lnTo>
                    <a:pt x="155" y="3"/>
                  </a:lnTo>
                  <a:lnTo>
                    <a:pt x="156" y="3"/>
                  </a:lnTo>
                  <a:lnTo>
                    <a:pt x="156" y="1"/>
                  </a:lnTo>
                  <a:lnTo>
                    <a:pt x="156" y="0"/>
                  </a:lnTo>
                  <a:lnTo>
                    <a:pt x="157" y="0"/>
                  </a:lnTo>
                  <a:lnTo>
                    <a:pt x="158" y="0"/>
                  </a:lnTo>
                  <a:lnTo>
                    <a:pt x="158" y="1"/>
                  </a:lnTo>
                  <a:lnTo>
                    <a:pt x="158" y="3"/>
                  </a:lnTo>
                  <a:lnTo>
                    <a:pt x="157" y="3"/>
                  </a:lnTo>
                  <a:lnTo>
                    <a:pt x="157" y="4"/>
                  </a:lnTo>
                  <a:lnTo>
                    <a:pt x="158" y="4"/>
                  </a:lnTo>
                  <a:lnTo>
                    <a:pt x="158" y="5"/>
                  </a:lnTo>
                  <a:lnTo>
                    <a:pt x="158" y="6"/>
                  </a:lnTo>
                  <a:lnTo>
                    <a:pt x="157" y="6"/>
                  </a:lnTo>
                  <a:lnTo>
                    <a:pt x="158" y="7"/>
                  </a:lnTo>
                  <a:lnTo>
                    <a:pt x="159" y="7"/>
                  </a:lnTo>
                  <a:lnTo>
                    <a:pt x="159" y="9"/>
                  </a:lnTo>
                  <a:lnTo>
                    <a:pt x="158" y="9"/>
                  </a:lnTo>
                  <a:lnTo>
                    <a:pt x="158" y="10"/>
                  </a:lnTo>
                  <a:lnTo>
                    <a:pt x="158" y="11"/>
                  </a:lnTo>
                  <a:lnTo>
                    <a:pt x="157" y="11"/>
                  </a:lnTo>
                  <a:lnTo>
                    <a:pt x="158" y="11"/>
                  </a:lnTo>
                  <a:lnTo>
                    <a:pt x="158" y="12"/>
                  </a:lnTo>
                  <a:lnTo>
                    <a:pt x="158" y="13"/>
                  </a:lnTo>
                  <a:lnTo>
                    <a:pt x="157" y="13"/>
                  </a:lnTo>
                  <a:lnTo>
                    <a:pt x="157" y="15"/>
                  </a:lnTo>
                  <a:lnTo>
                    <a:pt x="157" y="16"/>
                  </a:lnTo>
                  <a:lnTo>
                    <a:pt x="157" y="17"/>
                  </a:lnTo>
                  <a:lnTo>
                    <a:pt x="157" y="16"/>
                  </a:lnTo>
                  <a:lnTo>
                    <a:pt x="158" y="16"/>
                  </a:lnTo>
                  <a:lnTo>
                    <a:pt x="159" y="16"/>
                  </a:lnTo>
                  <a:lnTo>
                    <a:pt x="161" y="16"/>
                  </a:lnTo>
                  <a:lnTo>
                    <a:pt x="161" y="15"/>
                  </a:lnTo>
                  <a:lnTo>
                    <a:pt x="162" y="15"/>
                  </a:lnTo>
                  <a:lnTo>
                    <a:pt x="162" y="16"/>
                  </a:lnTo>
                  <a:lnTo>
                    <a:pt x="162" y="17"/>
                  </a:lnTo>
                  <a:lnTo>
                    <a:pt x="162" y="18"/>
                  </a:lnTo>
                  <a:lnTo>
                    <a:pt x="162" y="19"/>
                  </a:lnTo>
                  <a:lnTo>
                    <a:pt x="162" y="21"/>
                  </a:lnTo>
                  <a:lnTo>
                    <a:pt x="163" y="21"/>
                  </a:lnTo>
                  <a:lnTo>
                    <a:pt x="163" y="19"/>
                  </a:lnTo>
                  <a:lnTo>
                    <a:pt x="163" y="18"/>
                  </a:lnTo>
                  <a:lnTo>
                    <a:pt x="163" y="17"/>
                  </a:lnTo>
                  <a:lnTo>
                    <a:pt x="164" y="17"/>
                  </a:lnTo>
                  <a:lnTo>
                    <a:pt x="164" y="18"/>
                  </a:lnTo>
                  <a:lnTo>
                    <a:pt x="165" y="18"/>
                  </a:lnTo>
                  <a:lnTo>
                    <a:pt x="165" y="19"/>
                  </a:lnTo>
                  <a:lnTo>
                    <a:pt x="167" y="19"/>
                  </a:lnTo>
                  <a:lnTo>
                    <a:pt x="167" y="18"/>
                  </a:lnTo>
                  <a:lnTo>
                    <a:pt x="168" y="18"/>
                  </a:lnTo>
                  <a:lnTo>
                    <a:pt x="168" y="17"/>
                  </a:lnTo>
                  <a:lnTo>
                    <a:pt x="167" y="17"/>
                  </a:lnTo>
                  <a:lnTo>
                    <a:pt x="167" y="16"/>
                  </a:lnTo>
                  <a:lnTo>
                    <a:pt x="167" y="15"/>
                  </a:lnTo>
                  <a:lnTo>
                    <a:pt x="168" y="15"/>
                  </a:lnTo>
                  <a:lnTo>
                    <a:pt x="168" y="16"/>
                  </a:lnTo>
                  <a:lnTo>
                    <a:pt x="169" y="16"/>
                  </a:lnTo>
                  <a:lnTo>
                    <a:pt x="170" y="16"/>
                  </a:lnTo>
                  <a:lnTo>
                    <a:pt x="170" y="15"/>
                  </a:lnTo>
                  <a:lnTo>
                    <a:pt x="170" y="13"/>
                  </a:lnTo>
                  <a:lnTo>
                    <a:pt x="171" y="12"/>
                  </a:lnTo>
                  <a:lnTo>
                    <a:pt x="173" y="12"/>
                  </a:lnTo>
                  <a:lnTo>
                    <a:pt x="173" y="11"/>
                  </a:lnTo>
                  <a:lnTo>
                    <a:pt x="171" y="11"/>
                  </a:lnTo>
                  <a:lnTo>
                    <a:pt x="173" y="11"/>
                  </a:lnTo>
                  <a:lnTo>
                    <a:pt x="171" y="11"/>
                  </a:lnTo>
                  <a:lnTo>
                    <a:pt x="170" y="10"/>
                  </a:lnTo>
                  <a:lnTo>
                    <a:pt x="171" y="10"/>
                  </a:lnTo>
                  <a:lnTo>
                    <a:pt x="171" y="9"/>
                  </a:lnTo>
                  <a:lnTo>
                    <a:pt x="171" y="10"/>
                  </a:lnTo>
                  <a:lnTo>
                    <a:pt x="173" y="10"/>
                  </a:lnTo>
                  <a:lnTo>
                    <a:pt x="173" y="9"/>
                  </a:lnTo>
                  <a:lnTo>
                    <a:pt x="173" y="7"/>
                  </a:lnTo>
                  <a:lnTo>
                    <a:pt x="173" y="6"/>
                  </a:lnTo>
                  <a:lnTo>
                    <a:pt x="173" y="5"/>
                  </a:lnTo>
                  <a:lnTo>
                    <a:pt x="174" y="5"/>
                  </a:lnTo>
                  <a:lnTo>
                    <a:pt x="175" y="5"/>
                  </a:lnTo>
                  <a:lnTo>
                    <a:pt x="175" y="4"/>
                  </a:lnTo>
                  <a:lnTo>
                    <a:pt x="176" y="4"/>
                  </a:lnTo>
                  <a:lnTo>
                    <a:pt x="176" y="5"/>
                  </a:lnTo>
                  <a:lnTo>
                    <a:pt x="176" y="6"/>
                  </a:lnTo>
                  <a:lnTo>
                    <a:pt x="176" y="7"/>
                  </a:lnTo>
                  <a:lnTo>
                    <a:pt x="176" y="9"/>
                  </a:lnTo>
                  <a:lnTo>
                    <a:pt x="176" y="10"/>
                  </a:lnTo>
                  <a:lnTo>
                    <a:pt x="176" y="9"/>
                  </a:lnTo>
                  <a:lnTo>
                    <a:pt x="177" y="10"/>
                  </a:lnTo>
                  <a:lnTo>
                    <a:pt x="177" y="9"/>
                  </a:lnTo>
                  <a:lnTo>
                    <a:pt x="179" y="10"/>
                  </a:lnTo>
                  <a:lnTo>
                    <a:pt x="177" y="10"/>
                  </a:lnTo>
                  <a:lnTo>
                    <a:pt x="177" y="11"/>
                  </a:lnTo>
                  <a:lnTo>
                    <a:pt x="176" y="11"/>
                  </a:lnTo>
                  <a:lnTo>
                    <a:pt x="176" y="12"/>
                  </a:lnTo>
                  <a:lnTo>
                    <a:pt x="175" y="12"/>
                  </a:lnTo>
                  <a:lnTo>
                    <a:pt x="175" y="13"/>
                  </a:lnTo>
                  <a:lnTo>
                    <a:pt x="174" y="13"/>
                  </a:lnTo>
                  <a:lnTo>
                    <a:pt x="175" y="13"/>
                  </a:lnTo>
                  <a:lnTo>
                    <a:pt x="175" y="15"/>
                  </a:lnTo>
                  <a:lnTo>
                    <a:pt x="174" y="15"/>
                  </a:lnTo>
                  <a:lnTo>
                    <a:pt x="175" y="15"/>
                  </a:lnTo>
                  <a:lnTo>
                    <a:pt x="175" y="16"/>
                  </a:lnTo>
                  <a:lnTo>
                    <a:pt x="174" y="16"/>
                  </a:lnTo>
                  <a:lnTo>
                    <a:pt x="174" y="17"/>
                  </a:lnTo>
                  <a:lnTo>
                    <a:pt x="175" y="17"/>
                  </a:lnTo>
                  <a:lnTo>
                    <a:pt x="175" y="16"/>
                  </a:lnTo>
                  <a:lnTo>
                    <a:pt x="176" y="16"/>
                  </a:lnTo>
                  <a:lnTo>
                    <a:pt x="177" y="16"/>
                  </a:lnTo>
                  <a:lnTo>
                    <a:pt x="177" y="17"/>
                  </a:lnTo>
                  <a:lnTo>
                    <a:pt x="179" y="17"/>
                  </a:lnTo>
                  <a:lnTo>
                    <a:pt x="179" y="16"/>
                  </a:lnTo>
                  <a:lnTo>
                    <a:pt x="179" y="15"/>
                  </a:lnTo>
                  <a:lnTo>
                    <a:pt x="180" y="15"/>
                  </a:lnTo>
                  <a:lnTo>
                    <a:pt x="180" y="13"/>
                  </a:lnTo>
                  <a:lnTo>
                    <a:pt x="180" y="12"/>
                  </a:lnTo>
                  <a:lnTo>
                    <a:pt x="179" y="11"/>
                  </a:lnTo>
                  <a:lnTo>
                    <a:pt x="180" y="11"/>
                  </a:lnTo>
                  <a:lnTo>
                    <a:pt x="180" y="10"/>
                  </a:lnTo>
                  <a:lnTo>
                    <a:pt x="181" y="9"/>
                  </a:lnTo>
                  <a:lnTo>
                    <a:pt x="182" y="9"/>
                  </a:lnTo>
                  <a:lnTo>
                    <a:pt x="182" y="10"/>
                  </a:lnTo>
                  <a:lnTo>
                    <a:pt x="181" y="10"/>
                  </a:lnTo>
                  <a:lnTo>
                    <a:pt x="182" y="10"/>
                  </a:lnTo>
                  <a:lnTo>
                    <a:pt x="182" y="11"/>
                  </a:lnTo>
                  <a:lnTo>
                    <a:pt x="182" y="10"/>
                  </a:lnTo>
                  <a:lnTo>
                    <a:pt x="183" y="10"/>
                  </a:lnTo>
                  <a:lnTo>
                    <a:pt x="183" y="9"/>
                  </a:lnTo>
                  <a:lnTo>
                    <a:pt x="183" y="7"/>
                  </a:lnTo>
                  <a:lnTo>
                    <a:pt x="185" y="6"/>
                  </a:lnTo>
                  <a:lnTo>
                    <a:pt x="185" y="7"/>
                  </a:lnTo>
                  <a:lnTo>
                    <a:pt x="185" y="6"/>
                  </a:lnTo>
                  <a:lnTo>
                    <a:pt x="186" y="6"/>
                  </a:lnTo>
                  <a:lnTo>
                    <a:pt x="186" y="5"/>
                  </a:lnTo>
                  <a:lnTo>
                    <a:pt x="187" y="6"/>
                  </a:lnTo>
                  <a:lnTo>
                    <a:pt x="187" y="7"/>
                  </a:lnTo>
                  <a:lnTo>
                    <a:pt x="187" y="9"/>
                  </a:lnTo>
                  <a:lnTo>
                    <a:pt x="187" y="10"/>
                  </a:lnTo>
                  <a:lnTo>
                    <a:pt x="187" y="11"/>
                  </a:lnTo>
                  <a:lnTo>
                    <a:pt x="187" y="10"/>
                  </a:lnTo>
                  <a:lnTo>
                    <a:pt x="187" y="11"/>
                  </a:lnTo>
                  <a:lnTo>
                    <a:pt x="186" y="11"/>
                  </a:lnTo>
                  <a:lnTo>
                    <a:pt x="186" y="12"/>
                  </a:lnTo>
                  <a:lnTo>
                    <a:pt x="185" y="12"/>
                  </a:lnTo>
                  <a:lnTo>
                    <a:pt x="185" y="13"/>
                  </a:lnTo>
                  <a:lnTo>
                    <a:pt x="183" y="13"/>
                  </a:lnTo>
                  <a:lnTo>
                    <a:pt x="183" y="15"/>
                  </a:lnTo>
                  <a:lnTo>
                    <a:pt x="185" y="15"/>
                  </a:lnTo>
                  <a:lnTo>
                    <a:pt x="186" y="15"/>
                  </a:lnTo>
                  <a:lnTo>
                    <a:pt x="186" y="13"/>
                  </a:lnTo>
                  <a:lnTo>
                    <a:pt x="186" y="15"/>
                  </a:lnTo>
                  <a:lnTo>
                    <a:pt x="187" y="15"/>
                  </a:lnTo>
                  <a:lnTo>
                    <a:pt x="187" y="16"/>
                  </a:lnTo>
                  <a:lnTo>
                    <a:pt x="187" y="17"/>
                  </a:lnTo>
                  <a:lnTo>
                    <a:pt x="188" y="16"/>
                  </a:lnTo>
                  <a:lnTo>
                    <a:pt x="188" y="15"/>
                  </a:lnTo>
                  <a:lnTo>
                    <a:pt x="188" y="13"/>
                  </a:lnTo>
                  <a:lnTo>
                    <a:pt x="189" y="13"/>
                  </a:lnTo>
                  <a:lnTo>
                    <a:pt x="189" y="15"/>
                  </a:lnTo>
                  <a:lnTo>
                    <a:pt x="191" y="15"/>
                  </a:lnTo>
                  <a:lnTo>
                    <a:pt x="191" y="13"/>
                  </a:lnTo>
                  <a:lnTo>
                    <a:pt x="192" y="13"/>
                  </a:lnTo>
                  <a:lnTo>
                    <a:pt x="192" y="12"/>
                  </a:lnTo>
                  <a:lnTo>
                    <a:pt x="193" y="12"/>
                  </a:lnTo>
                  <a:lnTo>
                    <a:pt x="193" y="13"/>
                  </a:lnTo>
                  <a:lnTo>
                    <a:pt x="193" y="15"/>
                  </a:lnTo>
                  <a:lnTo>
                    <a:pt x="192" y="16"/>
                  </a:lnTo>
                  <a:lnTo>
                    <a:pt x="192" y="17"/>
                  </a:lnTo>
                  <a:lnTo>
                    <a:pt x="192" y="18"/>
                  </a:lnTo>
                  <a:lnTo>
                    <a:pt x="191" y="18"/>
                  </a:lnTo>
                  <a:lnTo>
                    <a:pt x="191" y="22"/>
                  </a:lnTo>
                  <a:lnTo>
                    <a:pt x="191" y="23"/>
                  </a:lnTo>
                  <a:lnTo>
                    <a:pt x="191" y="24"/>
                  </a:lnTo>
                  <a:lnTo>
                    <a:pt x="191" y="23"/>
                  </a:lnTo>
                  <a:lnTo>
                    <a:pt x="192" y="23"/>
                  </a:lnTo>
                  <a:lnTo>
                    <a:pt x="192" y="24"/>
                  </a:lnTo>
                  <a:lnTo>
                    <a:pt x="191" y="24"/>
                  </a:lnTo>
                  <a:lnTo>
                    <a:pt x="191" y="25"/>
                  </a:lnTo>
                  <a:lnTo>
                    <a:pt x="191" y="27"/>
                  </a:lnTo>
                  <a:lnTo>
                    <a:pt x="191" y="28"/>
                  </a:lnTo>
                  <a:lnTo>
                    <a:pt x="192" y="28"/>
                  </a:lnTo>
                  <a:lnTo>
                    <a:pt x="193" y="28"/>
                  </a:lnTo>
                  <a:lnTo>
                    <a:pt x="193" y="27"/>
                  </a:lnTo>
                  <a:lnTo>
                    <a:pt x="193" y="25"/>
                  </a:lnTo>
                  <a:lnTo>
                    <a:pt x="194" y="25"/>
                  </a:lnTo>
                  <a:lnTo>
                    <a:pt x="194" y="24"/>
                  </a:lnTo>
                  <a:lnTo>
                    <a:pt x="194" y="23"/>
                  </a:lnTo>
                  <a:lnTo>
                    <a:pt x="194" y="22"/>
                  </a:lnTo>
                  <a:lnTo>
                    <a:pt x="194" y="21"/>
                  </a:lnTo>
                  <a:lnTo>
                    <a:pt x="196" y="21"/>
                  </a:lnTo>
                  <a:lnTo>
                    <a:pt x="196" y="19"/>
                  </a:lnTo>
                  <a:lnTo>
                    <a:pt x="196" y="18"/>
                  </a:lnTo>
                  <a:lnTo>
                    <a:pt x="197" y="18"/>
                  </a:lnTo>
                  <a:lnTo>
                    <a:pt x="198" y="18"/>
                  </a:lnTo>
                  <a:lnTo>
                    <a:pt x="198" y="19"/>
                  </a:lnTo>
                  <a:lnTo>
                    <a:pt x="198" y="21"/>
                  </a:lnTo>
                  <a:lnTo>
                    <a:pt x="197" y="21"/>
                  </a:lnTo>
                  <a:lnTo>
                    <a:pt x="197" y="22"/>
                  </a:lnTo>
                  <a:lnTo>
                    <a:pt x="197" y="23"/>
                  </a:lnTo>
                  <a:lnTo>
                    <a:pt x="198" y="23"/>
                  </a:lnTo>
                  <a:lnTo>
                    <a:pt x="198" y="22"/>
                  </a:lnTo>
                  <a:lnTo>
                    <a:pt x="199" y="22"/>
                  </a:lnTo>
                  <a:lnTo>
                    <a:pt x="199" y="23"/>
                  </a:lnTo>
                  <a:lnTo>
                    <a:pt x="198" y="24"/>
                  </a:lnTo>
                  <a:lnTo>
                    <a:pt x="197" y="24"/>
                  </a:lnTo>
                  <a:lnTo>
                    <a:pt x="197" y="25"/>
                  </a:lnTo>
                  <a:lnTo>
                    <a:pt x="196" y="25"/>
                  </a:lnTo>
                  <a:lnTo>
                    <a:pt x="196" y="27"/>
                  </a:lnTo>
                  <a:lnTo>
                    <a:pt x="197" y="27"/>
                  </a:lnTo>
                  <a:lnTo>
                    <a:pt x="196" y="27"/>
                  </a:lnTo>
                  <a:lnTo>
                    <a:pt x="197" y="27"/>
                  </a:lnTo>
                  <a:lnTo>
                    <a:pt x="197" y="28"/>
                  </a:lnTo>
                  <a:lnTo>
                    <a:pt x="198" y="28"/>
                  </a:lnTo>
                  <a:lnTo>
                    <a:pt x="199" y="27"/>
                  </a:lnTo>
                  <a:lnTo>
                    <a:pt x="199" y="24"/>
                  </a:lnTo>
                  <a:lnTo>
                    <a:pt x="200" y="24"/>
                  </a:lnTo>
                  <a:lnTo>
                    <a:pt x="202" y="24"/>
                  </a:lnTo>
                  <a:lnTo>
                    <a:pt x="203" y="24"/>
                  </a:lnTo>
                  <a:lnTo>
                    <a:pt x="202" y="24"/>
                  </a:lnTo>
                  <a:lnTo>
                    <a:pt x="200" y="24"/>
                  </a:lnTo>
                  <a:lnTo>
                    <a:pt x="202" y="23"/>
                  </a:lnTo>
                  <a:lnTo>
                    <a:pt x="200" y="23"/>
                  </a:lnTo>
                  <a:lnTo>
                    <a:pt x="200" y="22"/>
                  </a:lnTo>
                  <a:lnTo>
                    <a:pt x="200" y="21"/>
                  </a:lnTo>
                  <a:lnTo>
                    <a:pt x="200" y="19"/>
                  </a:lnTo>
                  <a:lnTo>
                    <a:pt x="202" y="18"/>
                  </a:lnTo>
                  <a:lnTo>
                    <a:pt x="203" y="18"/>
                  </a:lnTo>
                  <a:lnTo>
                    <a:pt x="203" y="19"/>
                  </a:lnTo>
                  <a:lnTo>
                    <a:pt x="203" y="18"/>
                  </a:lnTo>
                  <a:lnTo>
                    <a:pt x="204" y="18"/>
                  </a:lnTo>
                  <a:lnTo>
                    <a:pt x="204" y="17"/>
                  </a:lnTo>
                  <a:lnTo>
                    <a:pt x="203" y="17"/>
                  </a:lnTo>
                  <a:lnTo>
                    <a:pt x="204" y="17"/>
                  </a:lnTo>
                  <a:lnTo>
                    <a:pt x="204" y="16"/>
                  </a:lnTo>
                  <a:lnTo>
                    <a:pt x="205" y="16"/>
                  </a:lnTo>
                  <a:lnTo>
                    <a:pt x="205" y="15"/>
                  </a:lnTo>
                  <a:lnTo>
                    <a:pt x="205" y="13"/>
                  </a:lnTo>
                  <a:lnTo>
                    <a:pt x="206" y="13"/>
                  </a:lnTo>
                  <a:lnTo>
                    <a:pt x="206" y="15"/>
                  </a:lnTo>
                  <a:lnTo>
                    <a:pt x="208" y="15"/>
                  </a:lnTo>
                  <a:lnTo>
                    <a:pt x="208" y="16"/>
                  </a:lnTo>
                  <a:lnTo>
                    <a:pt x="208" y="17"/>
                  </a:lnTo>
                  <a:lnTo>
                    <a:pt x="208" y="18"/>
                  </a:lnTo>
                  <a:lnTo>
                    <a:pt x="208" y="19"/>
                  </a:lnTo>
                  <a:lnTo>
                    <a:pt x="208" y="21"/>
                  </a:lnTo>
                  <a:lnTo>
                    <a:pt x="206" y="21"/>
                  </a:lnTo>
                  <a:lnTo>
                    <a:pt x="208" y="21"/>
                  </a:lnTo>
                  <a:lnTo>
                    <a:pt x="208" y="22"/>
                  </a:lnTo>
                  <a:lnTo>
                    <a:pt x="209" y="22"/>
                  </a:lnTo>
                  <a:lnTo>
                    <a:pt x="209" y="23"/>
                  </a:lnTo>
                  <a:lnTo>
                    <a:pt x="209" y="24"/>
                  </a:lnTo>
                  <a:lnTo>
                    <a:pt x="209" y="25"/>
                  </a:lnTo>
                  <a:lnTo>
                    <a:pt x="208" y="25"/>
                  </a:lnTo>
                  <a:lnTo>
                    <a:pt x="206" y="25"/>
                  </a:lnTo>
                  <a:lnTo>
                    <a:pt x="208" y="27"/>
                  </a:lnTo>
                  <a:lnTo>
                    <a:pt x="209" y="27"/>
                  </a:lnTo>
                  <a:lnTo>
                    <a:pt x="209" y="25"/>
                  </a:lnTo>
                  <a:lnTo>
                    <a:pt x="209" y="24"/>
                  </a:lnTo>
                  <a:lnTo>
                    <a:pt x="210" y="24"/>
                  </a:lnTo>
                  <a:lnTo>
                    <a:pt x="209" y="24"/>
                  </a:lnTo>
                  <a:lnTo>
                    <a:pt x="210" y="23"/>
                  </a:lnTo>
                  <a:lnTo>
                    <a:pt x="211" y="23"/>
                  </a:lnTo>
                  <a:lnTo>
                    <a:pt x="211" y="22"/>
                  </a:lnTo>
                  <a:lnTo>
                    <a:pt x="211" y="23"/>
                  </a:lnTo>
                  <a:lnTo>
                    <a:pt x="211" y="22"/>
                  </a:lnTo>
                  <a:lnTo>
                    <a:pt x="211" y="21"/>
                  </a:lnTo>
                  <a:lnTo>
                    <a:pt x="211" y="19"/>
                  </a:lnTo>
                  <a:lnTo>
                    <a:pt x="210" y="19"/>
                  </a:lnTo>
                  <a:lnTo>
                    <a:pt x="211" y="19"/>
                  </a:lnTo>
                  <a:lnTo>
                    <a:pt x="211" y="18"/>
                  </a:lnTo>
                  <a:lnTo>
                    <a:pt x="211" y="17"/>
                  </a:lnTo>
                  <a:lnTo>
                    <a:pt x="212" y="17"/>
                  </a:lnTo>
                  <a:lnTo>
                    <a:pt x="214" y="17"/>
                  </a:lnTo>
                  <a:lnTo>
                    <a:pt x="215" y="17"/>
                  </a:lnTo>
                  <a:lnTo>
                    <a:pt x="215" y="16"/>
                  </a:lnTo>
                  <a:lnTo>
                    <a:pt x="216" y="16"/>
                  </a:lnTo>
                  <a:lnTo>
                    <a:pt x="216" y="15"/>
                  </a:lnTo>
                  <a:lnTo>
                    <a:pt x="217" y="15"/>
                  </a:lnTo>
                  <a:lnTo>
                    <a:pt x="217" y="13"/>
                  </a:lnTo>
                  <a:lnTo>
                    <a:pt x="218" y="13"/>
                  </a:lnTo>
                  <a:lnTo>
                    <a:pt x="218" y="12"/>
                  </a:lnTo>
                  <a:lnTo>
                    <a:pt x="218" y="13"/>
                  </a:lnTo>
                  <a:lnTo>
                    <a:pt x="220" y="13"/>
                  </a:lnTo>
                  <a:lnTo>
                    <a:pt x="220" y="15"/>
                  </a:lnTo>
                  <a:lnTo>
                    <a:pt x="220" y="16"/>
                  </a:lnTo>
                  <a:lnTo>
                    <a:pt x="220" y="17"/>
                  </a:lnTo>
                  <a:lnTo>
                    <a:pt x="221" y="17"/>
                  </a:lnTo>
                  <a:lnTo>
                    <a:pt x="222" y="18"/>
                  </a:lnTo>
                  <a:lnTo>
                    <a:pt x="221" y="18"/>
                  </a:lnTo>
                  <a:lnTo>
                    <a:pt x="221" y="19"/>
                  </a:lnTo>
                  <a:lnTo>
                    <a:pt x="222" y="19"/>
                  </a:lnTo>
                  <a:lnTo>
                    <a:pt x="222" y="21"/>
                  </a:lnTo>
                  <a:lnTo>
                    <a:pt x="222" y="19"/>
                  </a:lnTo>
                  <a:lnTo>
                    <a:pt x="223" y="19"/>
                  </a:lnTo>
                  <a:lnTo>
                    <a:pt x="224" y="19"/>
                  </a:lnTo>
                  <a:lnTo>
                    <a:pt x="224" y="18"/>
                  </a:lnTo>
                  <a:lnTo>
                    <a:pt x="226" y="18"/>
                  </a:lnTo>
                  <a:lnTo>
                    <a:pt x="226" y="19"/>
                  </a:lnTo>
                  <a:lnTo>
                    <a:pt x="226" y="21"/>
                  </a:lnTo>
                  <a:lnTo>
                    <a:pt x="227" y="21"/>
                  </a:lnTo>
                  <a:lnTo>
                    <a:pt x="227" y="22"/>
                  </a:lnTo>
                  <a:lnTo>
                    <a:pt x="227" y="23"/>
                  </a:lnTo>
                  <a:lnTo>
                    <a:pt x="226" y="23"/>
                  </a:lnTo>
                  <a:lnTo>
                    <a:pt x="226" y="24"/>
                  </a:lnTo>
                  <a:lnTo>
                    <a:pt x="224" y="25"/>
                  </a:lnTo>
                  <a:lnTo>
                    <a:pt x="224" y="27"/>
                  </a:lnTo>
                  <a:lnTo>
                    <a:pt x="223" y="27"/>
                  </a:lnTo>
                  <a:lnTo>
                    <a:pt x="222" y="27"/>
                  </a:lnTo>
                  <a:lnTo>
                    <a:pt x="222" y="28"/>
                  </a:lnTo>
                  <a:lnTo>
                    <a:pt x="221" y="28"/>
                  </a:lnTo>
                  <a:lnTo>
                    <a:pt x="220" y="27"/>
                  </a:lnTo>
                  <a:lnTo>
                    <a:pt x="220" y="28"/>
                  </a:lnTo>
                  <a:lnTo>
                    <a:pt x="220" y="29"/>
                  </a:lnTo>
                  <a:lnTo>
                    <a:pt x="218" y="29"/>
                  </a:lnTo>
                  <a:lnTo>
                    <a:pt x="218" y="30"/>
                  </a:lnTo>
                  <a:lnTo>
                    <a:pt x="220" y="31"/>
                  </a:lnTo>
                  <a:lnTo>
                    <a:pt x="220" y="30"/>
                  </a:lnTo>
                  <a:lnTo>
                    <a:pt x="221" y="30"/>
                  </a:lnTo>
                  <a:lnTo>
                    <a:pt x="222" y="30"/>
                  </a:lnTo>
                  <a:lnTo>
                    <a:pt x="223" y="30"/>
                  </a:lnTo>
                  <a:lnTo>
                    <a:pt x="224" y="30"/>
                  </a:lnTo>
                  <a:lnTo>
                    <a:pt x="224" y="29"/>
                  </a:lnTo>
                  <a:lnTo>
                    <a:pt x="224" y="28"/>
                  </a:lnTo>
                  <a:lnTo>
                    <a:pt x="226" y="28"/>
                  </a:lnTo>
                  <a:lnTo>
                    <a:pt x="227" y="28"/>
                  </a:lnTo>
                  <a:lnTo>
                    <a:pt x="227" y="27"/>
                  </a:lnTo>
                  <a:lnTo>
                    <a:pt x="228" y="27"/>
                  </a:lnTo>
                  <a:lnTo>
                    <a:pt x="228" y="25"/>
                  </a:lnTo>
                  <a:lnTo>
                    <a:pt x="229" y="25"/>
                  </a:lnTo>
                  <a:lnTo>
                    <a:pt x="230" y="25"/>
                  </a:lnTo>
                  <a:lnTo>
                    <a:pt x="232" y="25"/>
                  </a:lnTo>
                  <a:lnTo>
                    <a:pt x="233" y="25"/>
                  </a:lnTo>
                  <a:lnTo>
                    <a:pt x="233" y="27"/>
                  </a:lnTo>
                  <a:lnTo>
                    <a:pt x="234" y="28"/>
                  </a:lnTo>
                  <a:lnTo>
                    <a:pt x="234" y="29"/>
                  </a:lnTo>
                  <a:lnTo>
                    <a:pt x="235" y="29"/>
                  </a:lnTo>
                  <a:lnTo>
                    <a:pt x="235" y="28"/>
                  </a:lnTo>
                  <a:lnTo>
                    <a:pt x="236" y="28"/>
                  </a:lnTo>
                  <a:lnTo>
                    <a:pt x="236" y="27"/>
                  </a:lnTo>
                  <a:lnTo>
                    <a:pt x="238" y="27"/>
                  </a:lnTo>
                  <a:lnTo>
                    <a:pt x="238" y="28"/>
                  </a:lnTo>
                  <a:lnTo>
                    <a:pt x="238" y="29"/>
                  </a:lnTo>
                  <a:lnTo>
                    <a:pt x="238" y="30"/>
                  </a:lnTo>
                  <a:lnTo>
                    <a:pt x="236" y="31"/>
                  </a:lnTo>
                  <a:lnTo>
                    <a:pt x="238" y="31"/>
                  </a:lnTo>
                  <a:lnTo>
                    <a:pt x="238" y="33"/>
                  </a:lnTo>
                  <a:lnTo>
                    <a:pt x="239" y="33"/>
                  </a:lnTo>
                  <a:lnTo>
                    <a:pt x="239" y="34"/>
                  </a:lnTo>
                  <a:lnTo>
                    <a:pt x="238" y="34"/>
                  </a:lnTo>
                  <a:lnTo>
                    <a:pt x="238" y="35"/>
                  </a:lnTo>
                  <a:lnTo>
                    <a:pt x="236" y="35"/>
                  </a:lnTo>
                  <a:lnTo>
                    <a:pt x="236" y="36"/>
                  </a:lnTo>
                  <a:lnTo>
                    <a:pt x="235" y="36"/>
                  </a:lnTo>
                  <a:lnTo>
                    <a:pt x="236" y="36"/>
                  </a:lnTo>
                  <a:lnTo>
                    <a:pt x="236" y="37"/>
                  </a:lnTo>
                  <a:lnTo>
                    <a:pt x="236" y="39"/>
                  </a:lnTo>
                  <a:lnTo>
                    <a:pt x="235" y="39"/>
                  </a:lnTo>
                  <a:lnTo>
                    <a:pt x="235" y="40"/>
                  </a:lnTo>
                  <a:lnTo>
                    <a:pt x="234" y="40"/>
                  </a:lnTo>
                  <a:lnTo>
                    <a:pt x="233" y="40"/>
                  </a:lnTo>
                  <a:lnTo>
                    <a:pt x="233" y="41"/>
                  </a:lnTo>
                  <a:lnTo>
                    <a:pt x="232" y="40"/>
                  </a:lnTo>
                  <a:lnTo>
                    <a:pt x="232" y="41"/>
                  </a:lnTo>
                  <a:lnTo>
                    <a:pt x="232" y="42"/>
                  </a:lnTo>
                  <a:lnTo>
                    <a:pt x="232" y="41"/>
                  </a:lnTo>
                  <a:lnTo>
                    <a:pt x="233" y="41"/>
                  </a:lnTo>
                  <a:lnTo>
                    <a:pt x="234" y="41"/>
                  </a:lnTo>
                  <a:lnTo>
                    <a:pt x="235" y="41"/>
                  </a:lnTo>
                  <a:lnTo>
                    <a:pt x="235" y="42"/>
                  </a:lnTo>
                  <a:lnTo>
                    <a:pt x="235" y="44"/>
                  </a:lnTo>
                  <a:lnTo>
                    <a:pt x="234" y="44"/>
                  </a:lnTo>
                  <a:lnTo>
                    <a:pt x="234" y="45"/>
                  </a:lnTo>
                  <a:lnTo>
                    <a:pt x="233" y="45"/>
                  </a:lnTo>
                  <a:lnTo>
                    <a:pt x="232" y="45"/>
                  </a:lnTo>
                  <a:lnTo>
                    <a:pt x="230" y="45"/>
                  </a:lnTo>
                  <a:lnTo>
                    <a:pt x="229" y="45"/>
                  </a:lnTo>
                  <a:lnTo>
                    <a:pt x="228" y="45"/>
                  </a:lnTo>
                  <a:lnTo>
                    <a:pt x="228" y="44"/>
                  </a:lnTo>
                  <a:lnTo>
                    <a:pt x="227" y="44"/>
                  </a:lnTo>
                  <a:lnTo>
                    <a:pt x="228" y="44"/>
                  </a:lnTo>
                  <a:lnTo>
                    <a:pt x="228" y="45"/>
                  </a:lnTo>
                  <a:lnTo>
                    <a:pt x="227" y="46"/>
                  </a:lnTo>
                  <a:lnTo>
                    <a:pt x="226" y="46"/>
                  </a:lnTo>
                  <a:lnTo>
                    <a:pt x="224" y="46"/>
                  </a:lnTo>
                  <a:lnTo>
                    <a:pt x="224" y="45"/>
                  </a:lnTo>
                  <a:lnTo>
                    <a:pt x="224" y="44"/>
                  </a:lnTo>
                  <a:lnTo>
                    <a:pt x="223" y="42"/>
                  </a:lnTo>
                  <a:lnTo>
                    <a:pt x="223" y="44"/>
                  </a:lnTo>
                  <a:lnTo>
                    <a:pt x="222" y="45"/>
                  </a:lnTo>
                  <a:lnTo>
                    <a:pt x="221" y="45"/>
                  </a:lnTo>
                  <a:lnTo>
                    <a:pt x="221" y="46"/>
                  </a:lnTo>
                  <a:lnTo>
                    <a:pt x="222" y="47"/>
                  </a:lnTo>
                  <a:lnTo>
                    <a:pt x="221" y="46"/>
                  </a:lnTo>
                  <a:lnTo>
                    <a:pt x="221" y="47"/>
                  </a:lnTo>
                  <a:lnTo>
                    <a:pt x="222" y="47"/>
                  </a:lnTo>
                  <a:lnTo>
                    <a:pt x="222" y="48"/>
                  </a:lnTo>
                  <a:lnTo>
                    <a:pt x="223" y="48"/>
                  </a:lnTo>
                  <a:lnTo>
                    <a:pt x="224" y="48"/>
                  </a:lnTo>
                  <a:lnTo>
                    <a:pt x="226" y="48"/>
                  </a:lnTo>
                  <a:lnTo>
                    <a:pt x="227" y="50"/>
                  </a:lnTo>
                  <a:lnTo>
                    <a:pt x="226" y="51"/>
                  </a:lnTo>
                  <a:lnTo>
                    <a:pt x="224" y="51"/>
                  </a:lnTo>
                  <a:lnTo>
                    <a:pt x="224" y="52"/>
                  </a:lnTo>
                  <a:lnTo>
                    <a:pt x="224" y="51"/>
                  </a:lnTo>
                  <a:lnTo>
                    <a:pt x="223" y="51"/>
                  </a:lnTo>
                  <a:lnTo>
                    <a:pt x="223" y="50"/>
                  </a:lnTo>
                  <a:lnTo>
                    <a:pt x="222" y="50"/>
                  </a:lnTo>
                  <a:lnTo>
                    <a:pt x="222" y="48"/>
                  </a:lnTo>
                  <a:lnTo>
                    <a:pt x="221" y="48"/>
                  </a:lnTo>
                  <a:lnTo>
                    <a:pt x="221" y="47"/>
                  </a:lnTo>
                  <a:lnTo>
                    <a:pt x="221" y="48"/>
                  </a:lnTo>
                  <a:lnTo>
                    <a:pt x="222" y="48"/>
                  </a:lnTo>
                  <a:lnTo>
                    <a:pt x="222" y="50"/>
                  </a:lnTo>
                  <a:lnTo>
                    <a:pt x="221" y="50"/>
                  </a:lnTo>
                  <a:lnTo>
                    <a:pt x="221" y="51"/>
                  </a:lnTo>
                  <a:lnTo>
                    <a:pt x="220" y="51"/>
                  </a:lnTo>
                  <a:lnTo>
                    <a:pt x="221" y="52"/>
                  </a:lnTo>
                  <a:lnTo>
                    <a:pt x="222" y="52"/>
                  </a:lnTo>
                  <a:lnTo>
                    <a:pt x="222" y="51"/>
                  </a:lnTo>
                  <a:lnTo>
                    <a:pt x="223" y="51"/>
                  </a:lnTo>
                  <a:lnTo>
                    <a:pt x="223" y="52"/>
                  </a:lnTo>
                  <a:lnTo>
                    <a:pt x="223" y="53"/>
                  </a:lnTo>
                  <a:lnTo>
                    <a:pt x="223" y="54"/>
                  </a:lnTo>
                  <a:lnTo>
                    <a:pt x="224" y="54"/>
                  </a:lnTo>
                  <a:lnTo>
                    <a:pt x="226" y="54"/>
                  </a:lnTo>
                  <a:lnTo>
                    <a:pt x="226" y="53"/>
                  </a:lnTo>
                  <a:lnTo>
                    <a:pt x="227" y="53"/>
                  </a:lnTo>
                  <a:lnTo>
                    <a:pt x="228" y="54"/>
                  </a:lnTo>
                  <a:lnTo>
                    <a:pt x="229" y="54"/>
                  </a:lnTo>
                  <a:lnTo>
                    <a:pt x="229" y="56"/>
                  </a:lnTo>
                  <a:lnTo>
                    <a:pt x="230" y="56"/>
                  </a:lnTo>
                  <a:lnTo>
                    <a:pt x="232" y="56"/>
                  </a:lnTo>
                  <a:lnTo>
                    <a:pt x="233" y="56"/>
                  </a:lnTo>
                  <a:lnTo>
                    <a:pt x="234" y="56"/>
                  </a:lnTo>
                  <a:lnTo>
                    <a:pt x="234" y="57"/>
                  </a:lnTo>
                  <a:lnTo>
                    <a:pt x="235" y="57"/>
                  </a:lnTo>
                  <a:lnTo>
                    <a:pt x="236" y="57"/>
                  </a:lnTo>
                  <a:lnTo>
                    <a:pt x="236" y="58"/>
                  </a:lnTo>
                  <a:lnTo>
                    <a:pt x="236" y="60"/>
                  </a:lnTo>
                  <a:lnTo>
                    <a:pt x="236" y="62"/>
                  </a:lnTo>
                  <a:lnTo>
                    <a:pt x="238" y="62"/>
                  </a:lnTo>
                  <a:lnTo>
                    <a:pt x="239" y="62"/>
                  </a:lnTo>
                  <a:lnTo>
                    <a:pt x="238" y="60"/>
                  </a:lnTo>
                  <a:lnTo>
                    <a:pt x="239" y="60"/>
                  </a:lnTo>
                  <a:lnTo>
                    <a:pt x="239" y="59"/>
                  </a:lnTo>
                  <a:lnTo>
                    <a:pt x="239" y="58"/>
                  </a:lnTo>
                  <a:lnTo>
                    <a:pt x="240" y="58"/>
                  </a:lnTo>
                  <a:lnTo>
                    <a:pt x="240" y="59"/>
                  </a:lnTo>
                  <a:lnTo>
                    <a:pt x="241" y="59"/>
                  </a:lnTo>
                  <a:lnTo>
                    <a:pt x="241" y="60"/>
                  </a:lnTo>
                  <a:lnTo>
                    <a:pt x="242" y="60"/>
                  </a:lnTo>
                  <a:lnTo>
                    <a:pt x="242" y="59"/>
                  </a:lnTo>
                  <a:lnTo>
                    <a:pt x="242" y="58"/>
                  </a:lnTo>
                  <a:lnTo>
                    <a:pt x="244" y="57"/>
                  </a:lnTo>
                  <a:lnTo>
                    <a:pt x="244" y="58"/>
                  </a:lnTo>
                  <a:lnTo>
                    <a:pt x="245" y="58"/>
                  </a:lnTo>
                  <a:lnTo>
                    <a:pt x="246" y="58"/>
                  </a:lnTo>
                  <a:lnTo>
                    <a:pt x="246" y="57"/>
                  </a:lnTo>
                  <a:lnTo>
                    <a:pt x="247" y="57"/>
                  </a:lnTo>
                  <a:lnTo>
                    <a:pt x="247" y="58"/>
                  </a:lnTo>
                  <a:lnTo>
                    <a:pt x="247" y="59"/>
                  </a:lnTo>
                  <a:lnTo>
                    <a:pt x="247" y="60"/>
                  </a:lnTo>
                  <a:lnTo>
                    <a:pt x="247" y="62"/>
                  </a:lnTo>
                  <a:lnTo>
                    <a:pt x="246" y="62"/>
                  </a:lnTo>
                  <a:lnTo>
                    <a:pt x="246" y="63"/>
                  </a:lnTo>
                  <a:lnTo>
                    <a:pt x="245" y="63"/>
                  </a:lnTo>
                  <a:lnTo>
                    <a:pt x="245" y="64"/>
                  </a:lnTo>
                  <a:lnTo>
                    <a:pt x="245" y="65"/>
                  </a:lnTo>
                  <a:lnTo>
                    <a:pt x="246" y="65"/>
                  </a:lnTo>
                  <a:lnTo>
                    <a:pt x="246" y="66"/>
                  </a:lnTo>
                  <a:lnTo>
                    <a:pt x="246" y="65"/>
                  </a:lnTo>
                  <a:lnTo>
                    <a:pt x="247" y="64"/>
                  </a:lnTo>
                  <a:lnTo>
                    <a:pt x="247" y="63"/>
                  </a:lnTo>
                  <a:lnTo>
                    <a:pt x="248" y="63"/>
                  </a:lnTo>
                  <a:lnTo>
                    <a:pt x="248" y="64"/>
                  </a:lnTo>
                  <a:lnTo>
                    <a:pt x="248" y="65"/>
                  </a:lnTo>
                  <a:lnTo>
                    <a:pt x="248" y="66"/>
                  </a:lnTo>
                  <a:lnTo>
                    <a:pt x="248" y="68"/>
                  </a:lnTo>
                  <a:lnTo>
                    <a:pt x="247" y="68"/>
                  </a:lnTo>
                  <a:lnTo>
                    <a:pt x="247" y="69"/>
                  </a:lnTo>
                  <a:lnTo>
                    <a:pt x="247" y="70"/>
                  </a:lnTo>
                  <a:lnTo>
                    <a:pt x="246" y="70"/>
                  </a:lnTo>
                  <a:lnTo>
                    <a:pt x="245" y="70"/>
                  </a:lnTo>
                  <a:lnTo>
                    <a:pt x="245" y="71"/>
                  </a:lnTo>
                  <a:lnTo>
                    <a:pt x="245" y="70"/>
                  </a:lnTo>
                  <a:lnTo>
                    <a:pt x="246" y="71"/>
                  </a:lnTo>
                  <a:lnTo>
                    <a:pt x="247" y="71"/>
                  </a:lnTo>
                  <a:lnTo>
                    <a:pt x="248" y="71"/>
                  </a:lnTo>
                  <a:lnTo>
                    <a:pt x="250" y="71"/>
                  </a:lnTo>
                  <a:lnTo>
                    <a:pt x="250" y="72"/>
                  </a:lnTo>
                  <a:lnTo>
                    <a:pt x="250" y="74"/>
                  </a:lnTo>
                  <a:lnTo>
                    <a:pt x="251" y="72"/>
                  </a:lnTo>
                  <a:lnTo>
                    <a:pt x="252" y="72"/>
                  </a:lnTo>
                  <a:lnTo>
                    <a:pt x="253" y="72"/>
                  </a:lnTo>
                  <a:lnTo>
                    <a:pt x="253" y="74"/>
                  </a:lnTo>
                  <a:lnTo>
                    <a:pt x="255" y="74"/>
                  </a:lnTo>
                  <a:lnTo>
                    <a:pt x="255" y="75"/>
                  </a:lnTo>
                  <a:lnTo>
                    <a:pt x="255" y="76"/>
                  </a:lnTo>
                  <a:lnTo>
                    <a:pt x="255" y="75"/>
                  </a:lnTo>
                  <a:lnTo>
                    <a:pt x="256" y="75"/>
                  </a:lnTo>
                  <a:lnTo>
                    <a:pt x="257" y="75"/>
                  </a:lnTo>
                  <a:lnTo>
                    <a:pt x="258" y="75"/>
                  </a:lnTo>
                  <a:lnTo>
                    <a:pt x="258" y="76"/>
                  </a:lnTo>
                  <a:lnTo>
                    <a:pt x="257" y="77"/>
                  </a:lnTo>
                  <a:lnTo>
                    <a:pt x="257" y="78"/>
                  </a:lnTo>
                  <a:lnTo>
                    <a:pt x="258" y="78"/>
                  </a:lnTo>
                  <a:lnTo>
                    <a:pt x="259" y="78"/>
                  </a:lnTo>
                  <a:lnTo>
                    <a:pt x="259" y="77"/>
                  </a:lnTo>
                  <a:lnTo>
                    <a:pt x="261" y="77"/>
                  </a:lnTo>
                  <a:lnTo>
                    <a:pt x="262" y="77"/>
                  </a:lnTo>
                  <a:lnTo>
                    <a:pt x="263" y="77"/>
                  </a:lnTo>
                  <a:lnTo>
                    <a:pt x="263" y="78"/>
                  </a:lnTo>
                  <a:lnTo>
                    <a:pt x="264" y="78"/>
                  </a:lnTo>
                  <a:lnTo>
                    <a:pt x="265" y="78"/>
                  </a:lnTo>
                  <a:lnTo>
                    <a:pt x="267" y="78"/>
                  </a:lnTo>
                  <a:lnTo>
                    <a:pt x="267" y="80"/>
                  </a:lnTo>
                  <a:lnTo>
                    <a:pt x="267" y="78"/>
                  </a:lnTo>
                  <a:lnTo>
                    <a:pt x="268" y="78"/>
                  </a:lnTo>
                  <a:lnTo>
                    <a:pt x="269" y="78"/>
                  </a:lnTo>
                  <a:lnTo>
                    <a:pt x="269" y="80"/>
                  </a:lnTo>
                  <a:lnTo>
                    <a:pt x="268" y="80"/>
                  </a:lnTo>
                  <a:lnTo>
                    <a:pt x="268" y="81"/>
                  </a:lnTo>
                  <a:lnTo>
                    <a:pt x="268" y="82"/>
                  </a:lnTo>
                  <a:lnTo>
                    <a:pt x="267" y="82"/>
                  </a:lnTo>
                  <a:lnTo>
                    <a:pt x="265" y="83"/>
                  </a:lnTo>
                  <a:lnTo>
                    <a:pt x="267" y="84"/>
                  </a:lnTo>
                  <a:lnTo>
                    <a:pt x="267" y="83"/>
                  </a:lnTo>
                  <a:lnTo>
                    <a:pt x="268" y="83"/>
                  </a:lnTo>
                  <a:lnTo>
                    <a:pt x="269" y="83"/>
                  </a:lnTo>
                  <a:lnTo>
                    <a:pt x="269" y="82"/>
                  </a:lnTo>
                  <a:lnTo>
                    <a:pt x="270" y="82"/>
                  </a:lnTo>
                  <a:lnTo>
                    <a:pt x="270" y="81"/>
                  </a:lnTo>
                  <a:lnTo>
                    <a:pt x="270" y="82"/>
                  </a:lnTo>
                  <a:lnTo>
                    <a:pt x="271" y="82"/>
                  </a:lnTo>
                  <a:lnTo>
                    <a:pt x="271" y="81"/>
                  </a:lnTo>
                  <a:lnTo>
                    <a:pt x="273" y="81"/>
                  </a:lnTo>
                  <a:lnTo>
                    <a:pt x="273" y="80"/>
                  </a:lnTo>
                  <a:lnTo>
                    <a:pt x="273" y="81"/>
                  </a:lnTo>
                  <a:lnTo>
                    <a:pt x="274" y="81"/>
                  </a:lnTo>
                  <a:lnTo>
                    <a:pt x="273" y="81"/>
                  </a:lnTo>
                  <a:lnTo>
                    <a:pt x="273" y="83"/>
                  </a:lnTo>
                  <a:lnTo>
                    <a:pt x="274" y="83"/>
                  </a:lnTo>
                  <a:lnTo>
                    <a:pt x="275" y="83"/>
                  </a:lnTo>
                  <a:lnTo>
                    <a:pt x="275" y="82"/>
                  </a:lnTo>
                  <a:lnTo>
                    <a:pt x="275" y="83"/>
                  </a:lnTo>
                  <a:lnTo>
                    <a:pt x="275" y="84"/>
                  </a:lnTo>
                  <a:lnTo>
                    <a:pt x="275" y="86"/>
                  </a:lnTo>
                  <a:lnTo>
                    <a:pt x="274" y="86"/>
                  </a:lnTo>
                  <a:lnTo>
                    <a:pt x="273" y="86"/>
                  </a:lnTo>
                  <a:lnTo>
                    <a:pt x="273" y="87"/>
                  </a:lnTo>
                  <a:lnTo>
                    <a:pt x="271" y="86"/>
                  </a:lnTo>
                  <a:lnTo>
                    <a:pt x="271" y="87"/>
                  </a:lnTo>
                  <a:lnTo>
                    <a:pt x="273" y="87"/>
                  </a:lnTo>
                  <a:lnTo>
                    <a:pt x="271" y="87"/>
                  </a:lnTo>
                  <a:lnTo>
                    <a:pt x="271" y="88"/>
                  </a:lnTo>
                  <a:lnTo>
                    <a:pt x="270" y="88"/>
                  </a:lnTo>
                  <a:lnTo>
                    <a:pt x="269" y="88"/>
                  </a:lnTo>
                  <a:lnTo>
                    <a:pt x="268" y="88"/>
                  </a:lnTo>
                  <a:lnTo>
                    <a:pt x="267" y="88"/>
                  </a:lnTo>
                  <a:lnTo>
                    <a:pt x="267" y="89"/>
                  </a:lnTo>
                  <a:lnTo>
                    <a:pt x="267" y="90"/>
                  </a:lnTo>
                  <a:lnTo>
                    <a:pt x="265" y="90"/>
                  </a:lnTo>
                  <a:lnTo>
                    <a:pt x="264" y="90"/>
                  </a:lnTo>
                  <a:lnTo>
                    <a:pt x="264" y="92"/>
                  </a:lnTo>
                  <a:lnTo>
                    <a:pt x="263" y="92"/>
                  </a:lnTo>
                  <a:lnTo>
                    <a:pt x="263" y="93"/>
                  </a:lnTo>
                  <a:lnTo>
                    <a:pt x="262" y="93"/>
                  </a:lnTo>
                  <a:lnTo>
                    <a:pt x="262" y="94"/>
                  </a:lnTo>
                  <a:lnTo>
                    <a:pt x="261" y="94"/>
                  </a:lnTo>
                  <a:lnTo>
                    <a:pt x="262" y="94"/>
                  </a:lnTo>
                  <a:lnTo>
                    <a:pt x="263" y="94"/>
                  </a:lnTo>
                  <a:lnTo>
                    <a:pt x="264" y="94"/>
                  </a:lnTo>
                  <a:lnTo>
                    <a:pt x="265" y="94"/>
                  </a:lnTo>
                  <a:lnTo>
                    <a:pt x="265" y="95"/>
                  </a:lnTo>
                  <a:lnTo>
                    <a:pt x="267" y="95"/>
                  </a:lnTo>
                  <a:lnTo>
                    <a:pt x="268" y="95"/>
                  </a:lnTo>
                  <a:lnTo>
                    <a:pt x="268" y="94"/>
                  </a:lnTo>
                  <a:lnTo>
                    <a:pt x="268" y="95"/>
                  </a:lnTo>
                  <a:lnTo>
                    <a:pt x="268" y="96"/>
                  </a:lnTo>
                  <a:lnTo>
                    <a:pt x="269" y="95"/>
                  </a:lnTo>
                  <a:lnTo>
                    <a:pt x="270" y="95"/>
                  </a:lnTo>
                  <a:lnTo>
                    <a:pt x="270" y="94"/>
                  </a:lnTo>
                  <a:lnTo>
                    <a:pt x="271" y="94"/>
                  </a:lnTo>
                  <a:lnTo>
                    <a:pt x="273" y="94"/>
                  </a:lnTo>
                  <a:lnTo>
                    <a:pt x="273" y="95"/>
                  </a:lnTo>
                  <a:lnTo>
                    <a:pt x="273" y="96"/>
                  </a:lnTo>
                  <a:lnTo>
                    <a:pt x="274" y="96"/>
                  </a:lnTo>
                  <a:lnTo>
                    <a:pt x="275" y="96"/>
                  </a:lnTo>
                  <a:lnTo>
                    <a:pt x="276" y="96"/>
                  </a:lnTo>
                  <a:lnTo>
                    <a:pt x="277" y="96"/>
                  </a:lnTo>
                  <a:lnTo>
                    <a:pt x="279" y="96"/>
                  </a:lnTo>
                  <a:lnTo>
                    <a:pt x="280" y="95"/>
                  </a:lnTo>
                  <a:lnTo>
                    <a:pt x="280" y="96"/>
                  </a:lnTo>
                  <a:lnTo>
                    <a:pt x="281" y="96"/>
                  </a:lnTo>
                  <a:lnTo>
                    <a:pt x="281" y="98"/>
                  </a:lnTo>
                  <a:lnTo>
                    <a:pt x="281" y="96"/>
                  </a:lnTo>
                  <a:lnTo>
                    <a:pt x="281" y="95"/>
                  </a:lnTo>
                  <a:lnTo>
                    <a:pt x="282" y="95"/>
                  </a:lnTo>
                  <a:lnTo>
                    <a:pt x="282" y="96"/>
                  </a:lnTo>
                  <a:lnTo>
                    <a:pt x="282" y="95"/>
                  </a:lnTo>
                  <a:lnTo>
                    <a:pt x="283" y="96"/>
                  </a:lnTo>
                  <a:lnTo>
                    <a:pt x="282" y="96"/>
                  </a:lnTo>
                  <a:lnTo>
                    <a:pt x="282" y="98"/>
                  </a:lnTo>
                  <a:lnTo>
                    <a:pt x="282" y="99"/>
                  </a:lnTo>
                  <a:lnTo>
                    <a:pt x="283" y="99"/>
                  </a:lnTo>
                  <a:lnTo>
                    <a:pt x="283" y="100"/>
                  </a:lnTo>
                  <a:lnTo>
                    <a:pt x="285" y="100"/>
                  </a:lnTo>
                  <a:lnTo>
                    <a:pt x="285" y="101"/>
                  </a:lnTo>
                  <a:lnTo>
                    <a:pt x="283" y="101"/>
                  </a:lnTo>
                  <a:lnTo>
                    <a:pt x="282" y="101"/>
                  </a:lnTo>
                  <a:lnTo>
                    <a:pt x="282" y="102"/>
                  </a:lnTo>
                  <a:lnTo>
                    <a:pt x="281" y="104"/>
                  </a:lnTo>
                  <a:lnTo>
                    <a:pt x="281" y="105"/>
                  </a:lnTo>
                  <a:lnTo>
                    <a:pt x="282" y="105"/>
                  </a:lnTo>
                  <a:lnTo>
                    <a:pt x="281" y="105"/>
                  </a:lnTo>
                  <a:lnTo>
                    <a:pt x="282" y="106"/>
                  </a:lnTo>
                  <a:lnTo>
                    <a:pt x="283" y="106"/>
                  </a:lnTo>
                  <a:lnTo>
                    <a:pt x="285" y="105"/>
                  </a:lnTo>
                  <a:lnTo>
                    <a:pt x="286" y="105"/>
                  </a:lnTo>
                  <a:lnTo>
                    <a:pt x="286" y="104"/>
                  </a:lnTo>
                  <a:lnTo>
                    <a:pt x="286" y="105"/>
                  </a:lnTo>
                  <a:lnTo>
                    <a:pt x="286" y="104"/>
                  </a:lnTo>
                  <a:lnTo>
                    <a:pt x="287" y="104"/>
                  </a:lnTo>
                  <a:lnTo>
                    <a:pt x="287" y="102"/>
                  </a:lnTo>
                  <a:lnTo>
                    <a:pt x="288" y="102"/>
                  </a:lnTo>
                  <a:lnTo>
                    <a:pt x="289" y="102"/>
                  </a:lnTo>
                  <a:lnTo>
                    <a:pt x="289" y="101"/>
                  </a:lnTo>
                  <a:lnTo>
                    <a:pt x="291" y="101"/>
                  </a:lnTo>
                  <a:lnTo>
                    <a:pt x="291" y="102"/>
                  </a:lnTo>
                  <a:lnTo>
                    <a:pt x="291" y="104"/>
                  </a:lnTo>
                  <a:lnTo>
                    <a:pt x="291" y="105"/>
                  </a:lnTo>
                  <a:lnTo>
                    <a:pt x="289" y="106"/>
                  </a:lnTo>
                  <a:lnTo>
                    <a:pt x="288" y="106"/>
                  </a:lnTo>
                  <a:lnTo>
                    <a:pt x="287" y="106"/>
                  </a:lnTo>
                  <a:lnTo>
                    <a:pt x="286" y="107"/>
                  </a:lnTo>
                  <a:lnTo>
                    <a:pt x="287" y="108"/>
                  </a:lnTo>
                  <a:lnTo>
                    <a:pt x="286" y="108"/>
                  </a:lnTo>
                  <a:lnTo>
                    <a:pt x="285" y="108"/>
                  </a:lnTo>
                  <a:lnTo>
                    <a:pt x="283" y="110"/>
                  </a:lnTo>
                  <a:lnTo>
                    <a:pt x="283" y="111"/>
                  </a:lnTo>
                  <a:lnTo>
                    <a:pt x="282" y="112"/>
                  </a:lnTo>
                  <a:lnTo>
                    <a:pt x="281" y="112"/>
                  </a:lnTo>
                  <a:lnTo>
                    <a:pt x="280" y="111"/>
                  </a:lnTo>
                  <a:lnTo>
                    <a:pt x="279" y="112"/>
                  </a:lnTo>
                  <a:lnTo>
                    <a:pt x="277" y="112"/>
                  </a:lnTo>
                  <a:lnTo>
                    <a:pt x="279" y="113"/>
                  </a:lnTo>
                  <a:lnTo>
                    <a:pt x="280" y="113"/>
                  </a:lnTo>
                  <a:lnTo>
                    <a:pt x="280" y="114"/>
                  </a:lnTo>
                  <a:lnTo>
                    <a:pt x="281" y="116"/>
                  </a:lnTo>
                  <a:lnTo>
                    <a:pt x="282" y="117"/>
                  </a:lnTo>
                  <a:lnTo>
                    <a:pt x="283" y="117"/>
                  </a:lnTo>
                  <a:lnTo>
                    <a:pt x="285" y="117"/>
                  </a:lnTo>
                  <a:lnTo>
                    <a:pt x="286" y="117"/>
                  </a:lnTo>
                  <a:lnTo>
                    <a:pt x="286" y="118"/>
                  </a:lnTo>
                  <a:lnTo>
                    <a:pt x="285" y="118"/>
                  </a:lnTo>
                  <a:lnTo>
                    <a:pt x="285" y="119"/>
                  </a:lnTo>
                  <a:lnTo>
                    <a:pt x="286" y="118"/>
                  </a:lnTo>
                  <a:lnTo>
                    <a:pt x="286" y="119"/>
                  </a:lnTo>
                  <a:lnTo>
                    <a:pt x="286" y="120"/>
                  </a:lnTo>
                  <a:lnTo>
                    <a:pt x="283" y="123"/>
                  </a:lnTo>
                  <a:lnTo>
                    <a:pt x="285" y="123"/>
                  </a:lnTo>
                  <a:lnTo>
                    <a:pt x="285" y="125"/>
                  </a:lnTo>
                  <a:lnTo>
                    <a:pt x="285" y="126"/>
                  </a:lnTo>
                  <a:lnTo>
                    <a:pt x="285" y="128"/>
                  </a:lnTo>
                  <a:lnTo>
                    <a:pt x="286" y="126"/>
                  </a:lnTo>
                  <a:lnTo>
                    <a:pt x="287" y="128"/>
                  </a:lnTo>
                  <a:lnTo>
                    <a:pt x="287" y="129"/>
                  </a:lnTo>
                  <a:lnTo>
                    <a:pt x="288" y="129"/>
                  </a:lnTo>
                  <a:lnTo>
                    <a:pt x="289" y="129"/>
                  </a:lnTo>
                  <a:lnTo>
                    <a:pt x="291" y="129"/>
                  </a:lnTo>
                  <a:lnTo>
                    <a:pt x="292" y="129"/>
                  </a:lnTo>
                  <a:lnTo>
                    <a:pt x="293" y="129"/>
                  </a:lnTo>
                  <a:lnTo>
                    <a:pt x="294" y="129"/>
                  </a:lnTo>
                  <a:lnTo>
                    <a:pt x="294" y="130"/>
                  </a:lnTo>
                  <a:lnTo>
                    <a:pt x="295" y="130"/>
                  </a:lnTo>
                  <a:lnTo>
                    <a:pt x="297" y="130"/>
                  </a:lnTo>
                  <a:lnTo>
                    <a:pt x="299" y="130"/>
                  </a:lnTo>
                  <a:lnTo>
                    <a:pt x="299" y="129"/>
                  </a:lnTo>
                  <a:lnTo>
                    <a:pt x="299" y="130"/>
                  </a:lnTo>
                  <a:lnTo>
                    <a:pt x="299" y="131"/>
                  </a:lnTo>
                  <a:lnTo>
                    <a:pt x="298" y="132"/>
                  </a:lnTo>
                  <a:lnTo>
                    <a:pt x="298" y="134"/>
                  </a:lnTo>
                  <a:lnTo>
                    <a:pt x="299" y="134"/>
                  </a:lnTo>
                  <a:lnTo>
                    <a:pt x="300" y="134"/>
                  </a:lnTo>
                  <a:lnTo>
                    <a:pt x="301" y="134"/>
                  </a:lnTo>
                  <a:lnTo>
                    <a:pt x="301" y="135"/>
                  </a:lnTo>
                  <a:lnTo>
                    <a:pt x="303" y="134"/>
                  </a:lnTo>
                  <a:lnTo>
                    <a:pt x="304" y="135"/>
                  </a:lnTo>
                  <a:lnTo>
                    <a:pt x="304" y="134"/>
                  </a:lnTo>
                  <a:lnTo>
                    <a:pt x="306" y="135"/>
                  </a:lnTo>
                  <a:lnTo>
                    <a:pt x="306" y="136"/>
                  </a:lnTo>
                  <a:lnTo>
                    <a:pt x="305" y="136"/>
                  </a:lnTo>
                  <a:lnTo>
                    <a:pt x="304" y="138"/>
                  </a:lnTo>
                  <a:lnTo>
                    <a:pt x="303" y="138"/>
                  </a:lnTo>
                  <a:lnTo>
                    <a:pt x="301" y="138"/>
                  </a:lnTo>
                  <a:lnTo>
                    <a:pt x="300" y="140"/>
                  </a:lnTo>
                  <a:lnTo>
                    <a:pt x="299" y="141"/>
                  </a:lnTo>
                  <a:lnTo>
                    <a:pt x="298" y="141"/>
                  </a:lnTo>
                  <a:lnTo>
                    <a:pt x="297" y="141"/>
                  </a:lnTo>
                  <a:lnTo>
                    <a:pt x="295" y="141"/>
                  </a:lnTo>
                  <a:lnTo>
                    <a:pt x="294" y="141"/>
                  </a:lnTo>
                  <a:lnTo>
                    <a:pt x="293" y="141"/>
                  </a:lnTo>
                  <a:lnTo>
                    <a:pt x="292" y="141"/>
                  </a:lnTo>
                  <a:lnTo>
                    <a:pt x="292" y="140"/>
                  </a:lnTo>
                  <a:lnTo>
                    <a:pt x="291" y="140"/>
                  </a:lnTo>
                  <a:lnTo>
                    <a:pt x="289" y="140"/>
                  </a:lnTo>
                  <a:lnTo>
                    <a:pt x="289" y="138"/>
                  </a:lnTo>
                  <a:lnTo>
                    <a:pt x="289" y="137"/>
                  </a:lnTo>
                  <a:lnTo>
                    <a:pt x="287" y="137"/>
                  </a:lnTo>
                  <a:lnTo>
                    <a:pt x="288" y="138"/>
                  </a:lnTo>
                  <a:lnTo>
                    <a:pt x="289" y="140"/>
                  </a:lnTo>
                  <a:lnTo>
                    <a:pt x="289" y="141"/>
                  </a:lnTo>
                  <a:lnTo>
                    <a:pt x="288" y="141"/>
                  </a:lnTo>
                  <a:lnTo>
                    <a:pt x="288" y="142"/>
                  </a:lnTo>
                  <a:lnTo>
                    <a:pt x="287" y="142"/>
                  </a:lnTo>
                  <a:lnTo>
                    <a:pt x="286" y="142"/>
                  </a:lnTo>
                  <a:lnTo>
                    <a:pt x="286" y="141"/>
                  </a:lnTo>
                  <a:lnTo>
                    <a:pt x="285" y="141"/>
                  </a:lnTo>
                  <a:lnTo>
                    <a:pt x="285" y="140"/>
                  </a:lnTo>
                  <a:lnTo>
                    <a:pt x="283" y="140"/>
                  </a:lnTo>
                  <a:lnTo>
                    <a:pt x="283" y="138"/>
                  </a:lnTo>
                  <a:lnTo>
                    <a:pt x="282" y="138"/>
                  </a:lnTo>
                  <a:lnTo>
                    <a:pt x="282" y="140"/>
                  </a:lnTo>
                  <a:lnTo>
                    <a:pt x="281" y="138"/>
                  </a:lnTo>
                  <a:lnTo>
                    <a:pt x="279" y="137"/>
                  </a:lnTo>
                  <a:lnTo>
                    <a:pt x="277" y="137"/>
                  </a:lnTo>
                  <a:lnTo>
                    <a:pt x="277" y="138"/>
                  </a:lnTo>
                  <a:lnTo>
                    <a:pt x="276" y="138"/>
                  </a:lnTo>
                  <a:lnTo>
                    <a:pt x="275" y="138"/>
                  </a:lnTo>
                  <a:lnTo>
                    <a:pt x="273" y="138"/>
                  </a:lnTo>
                  <a:lnTo>
                    <a:pt x="273" y="137"/>
                  </a:lnTo>
                  <a:lnTo>
                    <a:pt x="273" y="138"/>
                  </a:lnTo>
                  <a:lnTo>
                    <a:pt x="271" y="138"/>
                  </a:lnTo>
                  <a:lnTo>
                    <a:pt x="270" y="138"/>
                  </a:lnTo>
                  <a:lnTo>
                    <a:pt x="269" y="140"/>
                  </a:lnTo>
                  <a:lnTo>
                    <a:pt x="268" y="141"/>
                  </a:lnTo>
                  <a:lnTo>
                    <a:pt x="267" y="140"/>
                  </a:lnTo>
                  <a:lnTo>
                    <a:pt x="267" y="138"/>
                  </a:lnTo>
                  <a:lnTo>
                    <a:pt x="267" y="137"/>
                  </a:lnTo>
                  <a:lnTo>
                    <a:pt x="265" y="137"/>
                  </a:lnTo>
                  <a:lnTo>
                    <a:pt x="264" y="137"/>
                  </a:lnTo>
                  <a:lnTo>
                    <a:pt x="264" y="138"/>
                  </a:lnTo>
                  <a:lnTo>
                    <a:pt x="263" y="137"/>
                  </a:lnTo>
                  <a:lnTo>
                    <a:pt x="263" y="138"/>
                  </a:lnTo>
                  <a:lnTo>
                    <a:pt x="263" y="140"/>
                  </a:lnTo>
                  <a:lnTo>
                    <a:pt x="263" y="141"/>
                  </a:lnTo>
                  <a:lnTo>
                    <a:pt x="263" y="140"/>
                  </a:lnTo>
                  <a:lnTo>
                    <a:pt x="264" y="140"/>
                  </a:lnTo>
                  <a:lnTo>
                    <a:pt x="264" y="141"/>
                  </a:lnTo>
                  <a:lnTo>
                    <a:pt x="264" y="142"/>
                  </a:lnTo>
                  <a:lnTo>
                    <a:pt x="264" y="141"/>
                  </a:lnTo>
                  <a:lnTo>
                    <a:pt x="264" y="142"/>
                  </a:lnTo>
                  <a:lnTo>
                    <a:pt x="264" y="143"/>
                  </a:lnTo>
                  <a:lnTo>
                    <a:pt x="265" y="143"/>
                  </a:lnTo>
                  <a:lnTo>
                    <a:pt x="264" y="144"/>
                  </a:lnTo>
                  <a:lnTo>
                    <a:pt x="265" y="144"/>
                  </a:lnTo>
                  <a:lnTo>
                    <a:pt x="265" y="143"/>
                  </a:lnTo>
                  <a:lnTo>
                    <a:pt x="267" y="144"/>
                  </a:lnTo>
                  <a:lnTo>
                    <a:pt x="264" y="144"/>
                  </a:lnTo>
                  <a:lnTo>
                    <a:pt x="265" y="146"/>
                  </a:lnTo>
                  <a:lnTo>
                    <a:pt x="265" y="144"/>
                  </a:lnTo>
                  <a:lnTo>
                    <a:pt x="267" y="146"/>
                  </a:lnTo>
                  <a:lnTo>
                    <a:pt x="268" y="146"/>
                  </a:lnTo>
                  <a:lnTo>
                    <a:pt x="269" y="146"/>
                  </a:lnTo>
                  <a:lnTo>
                    <a:pt x="270" y="147"/>
                  </a:lnTo>
                  <a:lnTo>
                    <a:pt x="270" y="148"/>
                  </a:lnTo>
                  <a:lnTo>
                    <a:pt x="271" y="148"/>
                  </a:lnTo>
                  <a:lnTo>
                    <a:pt x="271" y="149"/>
                  </a:lnTo>
                  <a:lnTo>
                    <a:pt x="273" y="151"/>
                  </a:lnTo>
                  <a:lnTo>
                    <a:pt x="274" y="152"/>
                  </a:lnTo>
                  <a:lnTo>
                    <a:pt x="275" y="152"/>
                  </a:lnTo>
                  <a:lnTo>
                    <a:pt x="275" y="153"/>
                  </a:lnTo>
                  <a:lnTo>
                    <a:pt x="276" y="153"/>
                  </a:lnTo>
                  <a:lnTo>
                    <a:pt x="276" y="154"/>
                  </a:lnTo>
                  <a:lnTo>
                    <a:pt x="277" y="154"/>
                  </a:lnTo>
                  <a:lnTo>
                    <a:pt x="277" y="153"/>
                  </a:lnTo>
                  <a:lnTo>
                    <a:pt x="279" y="154"/>
                  </a:lnTo>
                  <a:lnTo>
                    <a:pt x="280" y="154"/>
                  </a:lnTo>
                  <a:lnTo>
                    <a:pt x="280" y="155"/>
                  </a:lnTo>
                  <a:lnTo>
                    <a:pt x="281" y="155"/>
                  </a:lnTo>
                  <a:lnTo>
                    <a:pt x="282" y="155"/>
                  </a:lnTo>
                  <a:lnTo>
                    <a:pt x="283" y="155"/>
                  </a:lnTo>
                  <a:lnTo>
                    <a:pt x="283" y="157"/>
                  </a:lnTo>
                  <a:lnTo>
                    <a:pt x="285" y="158"/>
                  </a:lnTo>
                  <a:lnTo>
                    <a:pt x="286" y="158"/>
                  </a:lnTo>
                  <a:lnTo>
                    <a:pt x="285" y="159"/>
                  </a:lnTo>
                  <a:lnTo>
                    <a:pt x="285" y="160"/>
                  </a:lnTo>
                  <a:lnTo>
                    <a:pt x="286" y="160"/>
                  </a:lnTo>
                  <a:lnTo>
                    <a:pt x="286" y="161"/>
                  </a:lnTo>
                  <a:lnTo>
                    <a:pt x="287" y="161"/>
                  </a:lnTo>
                  <a:lnTo>
                    <a:pt x="289" y="161"/>
                  </a:lnTo>
                  <a:lnTo>
                    <a:pt x="291" y="161"/>
                  </a:lnTo>
                  <a:lnTo>
                    <a:pt x="291" y="163"/>
                  </a:lnTo>
                  <a:lnTo>
                    <a:pt x="292" y="163"/>
                  </a:lnTo>
                  <a:lnTo>
                    <a:pt x="293" y="163"/>
                  </a:lnTo>
                  <a:lnTo>
                    <a:pt x="294" y="163"/>
                  </a:lnTo>
                  <a:lnTo>
                    <a:pt x="295" y="163"/>
                  </a:lnTo>
                  <a:lnTo>
                    <a:pt x="295" y="164"/>
                  </a:lnTo>
                  <a:lnTo>
                    <a:pt x="297" y="164"/>
                  </a:lnTo>
                  <a:lnTo>
                    <a:pt x="298" y="164"/>
                  </a:lnTo>
                  <a:lnTo>
                    <a:pt x="297" y="166"/>
                  </a:lnTo>
                  <a:lnTo>
                    <a:pt x="295" y="166"/>
                  </a:lnTo>
                  <a:lnTo>
                    <a:pt x="297" y="167"/>
                  </a:lnTo>
                  <a:lnTo>
                    <a:pt x="298" y="167"/>
                  </a:lnTo>
                  <a:lnTo>
                    <a:pt x="298" y="169"/>
                  </a:lnTo>
                  <a:lnTo>
                    <a:pt x="299" y="169"/>
                  </a:lnTo>
                  <a:lnTo>
                    <a:pt x="300" y="169"/>
                  </a:lnTo>
                  <a:lnTo>
                    <a:pt x="299" y="170"/>
                  </a:lnTo>
                  <a:lnTo>
                    <a:pt x="300" y="171"/>
                  </a:lnTo>
                  <a:lnTo>
                    <a:pt x="301" y="171"/>
                  </a:lnTo>
                  <a:lnTo>
                    <a:pt x="303" y="171"/>
                  </a:lnTo>
                  <a:lnTo>
                    <a:pt x="304" y="171"/>
                  </a:lnTo>
                  <a:lnTo>
                    <a:pt x="305" y="171"/>
                  </a:lnTo>
                  <a:lnTo>
                    <a:pt x="306" y="171"/>
                  </a:lnTo>
                  <a:lnTo>
                    <a:pt x="305" y="173"/>
                  </a:lnTo>
                  <a:lnTo>
                    <a:pt x="305" y="175"/>
                  </a:lnTo>
                  <a:lnTo>
                    <a:pt x="304" y="176"/>
                  </a:lnTo>
                  <a:lnTo>
                    <a:pt x="303" y="176"/>
                  </a:lnTo>
                  <a:lnTo>
                    <a:pt x="301" y="176"/>
                  </a:lnTo>
                  <a:lnTo>
                    <a:pt x="303" y="177"/>
                  </a:lnTo>
                  <a:lnTo>
                    <a:pt x="304" y="176"/>
                  </a:lnTo>
                  <a:lnTo>
                    <a:pt x="305" y="177"/>
                  </a:lnTo>
                  <a:lnTo>
                    <a:pt x="306" y="179"/>
                  </a:lnTo>
                  <a:lnTo>
                    <a:pt x="305" y="179"/>
                  </a:lnTo>
                  <a:lnTo>
                    <a:pt x="305" y="181"/>
                  </a:lnTo>
                  <a:lnTo>
                    <a:pt x="304" y="182"/>
                  </a:lnTo>
                  <a:lnTo>
                    <a:pt x="304" y="183"/>
                  </a:lnTo>
                  <a:lnTo>
                    <a:pt x="305" y="183"/>
                  </a:lnTo>
                  <a:lnTo>
                    <a:pt x="305" y="184"/>
                  </a:lnTo>
                  <a:lnTo>
                    <a:pt x="305" y="185"/>
                  </a:lnTo>
                  <a:lnTo>
                    <a:pt x="306" y="185"/>
                  </a:lnTo>
                  <a:lnTo>
                    <a:pt x="306" y="187"/>
                  </a:lnTo>
                  <a:lnTo>
                    <a:pt x="305" y="187"/>
                  </a:lnTo>
                  <a:lnTo>
                    <a:pt x="304" y="187"/>
                  </a:lnTo>
                  <a:lnTo>
                    <a:pt x="303" y="188"/>
                  </a:lnTo>
                  <a:lnTo>
                    <a:pt x="304" y="189"/>
                  </a:lnTo>
                  <a:lnTo>
                    <a:pt x="305" y="190"/>
                  </a:lnTo>
                  <a:lnTo>
                    <a:pt x="305" y="191"/>
                  </a:lnTo>
                  <a:lnTo>
                    <a:pt x="305" y="190"/>
                  </a:lnTo>
                  <a:lnTo>
                    <a:pt x="306" y="190"/>
                  </a:lnTo>
                  <a:lnTo>
                    <a:pt x="306" y="191"/>
                  </a:lnTo>
                  <a:lnTo>
                    <a:pt x="307" y="191"/>
                  </a:lnTo>
                  <a:lnTo>
                    <a:pt x="306" y="193"/>
                  </a:lnTo>
                  <a:lnTo>
                    <a:pt x="305" y="193"/>
                  </a:lnTo>
                  <a:lnTo>
                    <a:pt x="304" y="193"/>
                  </a:lnTo>
                  <a:lnTo>
                    <a:pt x="303" y="193"/>
                  </a:lnTo>
                  <a:lnTo>
                    <a:pt x="301" y="193"/>
                  </a:lnTo>
                  <a:lnTo>
                    <a:pt x="301" y="191"/>
                  </a:lnTo>
                  <a:lnTo>
                    <a:pt x="298" y="191"/>
                  </a:lnTo>
                  <a:lnTo>
                    <a:pt x="298" y="190"/>
                  </a:lnTo>
                  <a:lnTo>
                    <a:pt x="297" y="189"/>
                  </a:lnTo>
                  <a:lnTo>
                    <a:pt x="295" y="188"/>
                  </a:lnTo>
                  <a:lnTo>
                    <a:pt x="295" y="187"/>
                  </a:lnTo>
                  <a:lnTo>
                    <a:pt x="294" y="185"/>
                  </a:lnTo>
                  <a:lnTo>
                    <a:pt x="294" y="184"/>
                  </a:lnTo>
                  <a:lnTo>
                    <a:pt x="293" y="183"/>
                  </a:lnTo>
                  <a:lnTo>
                    <a:pt x="293" y="182"/>
                  </a:lnTo>
                  <a:lnTo>
                    <a:pt x="292" y="182"/>
                  </a:lnTo>
                  <a:lnTo>
                    <a:pt x="292" y="183"/>
                  </a:lnTo>
                  <a:lnTo>
                    <a:pt x="291" y="183"/>
                  </a:lnTo>
                  <a:lnTo>
                    <a:pt x="289" y="182"/>
                  </a:lnTo>
                  <a:lnTo>
                    <a:pt x="288" y="182"/>
                  </a:lnTo>
                  <a:lnTo>
                    <a:pt x="288" y="183"/>
                  </a:lnTo>
                  <a:lnTo>
                    <a:pt x="287" y="183"/>
                  </a:lnTo>
                  <a:lnTo>
                    <a:pt x="285" y="182"/>
                  </a:lnTo>
                  <a:lnTo>
                    <a:pt x="285" y="181"/>
                  </a:lnTo>
                  <a:lnTo>
                    <a:pt x="286" y="181"/>
                  </a:lnTo>
                  <a:lnTo>
                    <a:pt x="286" y="179"/>
                  </a:lnTo>
                  <a:lnTo>
                    <a:pt x="287" y="179"/>
                  </a:lnTo>
                  <a:lnTo>
                    <a:pt x="288" y="179"/>
                  </a:lnTo>
                  <a:lnTo>
                    <a:pt x="287" y="178"/>
                  </a:lnTo>
                  <a:lnTo>
                    <a:pt x="288" y="178"/>
                  </a:lnTo>
                  <a:lnTo>
                    <a:pt x="289" y="178"/>
                  </a:lnTo>
                  <a:lnTo>
                    <a:pt x="289" y="177"/>
                  </a:lnTo>
                  <a:lnTo>
                    <a:pt x="288" y="177"/>
                  </a:lnTo>
                  <a:lnTo>
                    <a:pt x="288" y="176"/>
                  </a:lnTo>
                  <a:lnTo>
                    <a:pt x="287" y="176"/>
                  </a:lnTo>
                  <a:lnTo>
                    <a:pt x="286" y="176"/>
                  </a:lnTo>
                  <a:lnTo>
                    <a:pt x="285" y="176"/>
                  </a:lnTo>
                  <a:lnTo>
                    <a:pt x="283" y="175"/>
                  </a:lnTo>
                  <a:lnTo>
                    <a:pt x="282" y="175"/>
                  </a:lnTo>
                  <a:lnTo>
                    <a:pt x="283" y="175"/>
                  </a:lnTo>
                  <a:lnTo>
                    <a:pt x="282" y="173"/>
                  </a:lnTo>
                  <a:lnTo>
                    <a:pt x="281" y="173"/>
                  </a:lnTo>
                  <a:lnTo>
                    <a:pt x="282" y="172"/>
                  </a:lnTo>
                  <a:lnTo>
                    <a:pt x="281" y="172"/>
                  </a:lnTo>
                  <a:lnTo>
                    <a:pt x="280" y="173"/>
                  </a:lnTo>
                  <a:lnTo>
                    <a:pt x="279" y="173"/>
                  </a:lnTo>
                  <a:lnTo>
                    <a:pt x="277" y="172"/>
                  </a:lnTo>
                  <a:lnTo>
                    <a:pt x="277" y="171"/>
                  </a:lnTo>
                  <a:lnTo>
                    <a:pt x="276" y="171"/>
                  </a:lnTo>
                  <a:lnTo>
                    <a:pt x="275" y="171"/>
                  </a:lnTo>
                  <a:lnTo>
                    <a:pt x="275" y="170"/>
                  </a:lnTo>
                  <a:lnTo>
                    <a:pt x="274" y="170"/>
                  </a:lnTo>
                  <a:lnTo>
                    <a:pt x="273" y="170"/>
                  </a:lnTo>
                  <a:lnTo>
                    <a:pt x="271" y="169"/>
                  </a:lnTo>
                  <a:lnTo>
                    <a:pt x="270" y="169"/>
                  </a:lnTo>
                  <a:lnTo>
                    <a:pt x="270" y="167"/>
                  </a:lnTo>
                  <a:lnTo>
                    <a:pt x="269" y="167"/>
                  </a:lnTo>
                  <a:lnTo>
                    <a:pt x="270" y="166"/>
                  </a:lnTo>
                  <a:lnTo>
                    <a:pt x="270" y="165"/>
                  </a:lnTo>
                  <a:lnTo>
                    <a:pt x="269" y="165"/>
                  </a:lnTo>
                  <a:lnTo>
                    <a:pt x="269" y="164"/>
                  </a:lnTo>
                  <a:lnTo>
                    <a:pt x="268" y="163"/>
                  </a:lnTo>
                  <a:lnTo>
                    <a:pt x="267" y="163"/>
                  </a:lnTo>
                  <a:lnTo>
                    <a:pt x="267" y="164"/>
                  </a:lnTo>
                  <a:lnTo>
                    <a:pt x="267" y="165"/>
                  </a:lnTo>
                  <a:lnTo>
                    <a:pt x="265" y="165"/>
                  </a:lnTo>
                  <a:lnTo>
                    <a:pt x="265" y="166"/>
                  </a:lnTo>
                  <a:lnTo>
                    <a:pt x="267" y="166"/>
                  </a:lnTo>
                  <a:lnTo>
                    <a:pt x="268" y="166"/>
                  </a:lnTo>
                  <a:lnTo>
                    <a:pt x="268" y="167"/>
                  </a:lnTo>
                  <a:lnTo>
                    <a:pt x="269" y="167"/>
                  </a:lnTo>
                  <a:lnTo>
                    <a:pt x="269" y="169"/>
                  </a:lnTo>
                  <a:lnTo>
                    <a:pt x="269" y="170"/>
                  </a:lnTo>
                  <a:lnTo>
                    <a:pt x="270" y="171"/>
                  </a:lnTo>
                  <a:lnTo>
                    <a:pt x="269" y="171"/>
                  </a:lnTo>
                  <a:lnTo>
                    <a:pt x="268" y="171"/>
                  </a:lnTo>
                  <a:lnTo>
                    <a:pt x="267" y="170"/>
                  </a:lnTo>
                  <a:lnTo>
                    <a:pt x="265" y="170"/>
                  </a:lnTo>
                  <a:lnTo>
                    <a:pt x="265" y="169"/>
                  </a:lnTo>
                  <a:lnTo>
                    <a:pt x="263" y="169"/>
                  </a:lnTo>
                  <a:lnTo>
                    <a:pt x="262" y="169"/>
                  </a:lnTo>
                  <a:lnTo>
                    <a:pt x="261" y="169"/>
                  </a:lnTo>
                  <a:lnTo>
                    <a:pt x="261" y="167"/>
                  </a:lnTo>
                  <a:lnTo>
                    <a:pt x="259" y="167"/>
                  </a:lnTo>
                  <a:lnTo>
                    <a:pt x="258" y="167"/>
                  </a:lnTo>
                  <a:lnTo>
                    <a:pt x="257" y="167"/>
                  </a:lnTo>
                  <a:lnTo>
                    <a:pt x="255" y="167"/>
                  </a:lnTo>
                  <a:lnTo>
                    <a:pt x="255" y="166"/>
                  </a:lnTo>
                  <a:lnTo>
                    <a:pt x="253" y="166"/>
                  </a:lnTo>
                  <a:lnTo>
                    <a:pt x="255" y="166"/>
                  </a:lnTo>
                  <a:lnTo>
                    <a:pt x="252" y="165"/>
                  </a:lnTo>
                  <a:lnTo>
                    <a:pt x="250" y="163"/>
                  </a:lnTo>
                  <a:lnTo>
                    <a:pt x="250" y="161"/>
                  </a:lnTo>
                  <a:lnTo>
                    <a:pt x="251" y="160"/>
                  </a:lnTo>
                  <a:lnTo>
                    <a:pt x="251" y="159"/>
                  </a:lnTo>
                  <a:lnTo>
                    <a:pt x="251" y="160"/>
                  </a:lnTo>
                  <a:lnTo>
                    <a:pt x="250" y="160"/>
                  </a:lnTo>
                  <a:lnTo>
                    <a:pt x="250" y="161"/>
                  </a:lnTo>
                  <a:lnTo>
                    <a:pt x="248" y="161"/>
                  </a:lnTo>
                  <a:lnTo>
                    <a:pt x="247" y="161"/>
                  </a:lnTo>
                  <a:lnTo>
                    <a:pt x="247" y="160"/>
                  </a:lnTo>
                  <a:lnTo>
                    <a:pt x="246" y="161"/>
                  </a:lnTo>
                  <a:lnTo>
                    <a:pt x="245" y="163"/>
                  </a:lnTo>
                  <a:lnTo>
                    <a:pt x="244" y="163"/>
                  </a:lnTo>
                  <a:lnTo>
                    <a:pt x="242" y="163"/>
                  </a:lnTo>
                  <a:lnTo>
                    <a:pt x="241" y="163"/>
                  </a:lnTo>
                  <a:lnTo>
                    <a:pt x="241" y="164"/>
                  </a:lnTo>
                  <a:lnTo>
                    <a:pt x="241" y="165"/>
                  </a:lnTo>
                  <a:lnTo>
                    <a:pt x="242" y="165"/>
                  </a:lnTo>
                  <a:lnTo>
                    <a:pt x="244" y="165"/>
                  </a:lnTo>
                  <a:lnTo>
                    <a:pt x="245" y="165"/>
                  </a:lnTo>
                  <a:lnTo>
                    <a:pt x="245" y="164"/>
                  </a:lnTo>
                  <a:lnTo>
                    <a:pt x="246" y="164"/>
                  </a:lnTo>
                  <a:lnTo>
                    <a:pt x="247" y="164"/>
                  </a:lnTo>
                  <a:lnTo>
                    <a:pt x="247" y="165"/>
                  </a:lnTo>
                  <a:lnTo>
                    <a:pt x="246" y="165"/>
                  </a:lnTo>
                  <a:lnTo>
                    <a:pt x="246" y="166"/>
                  </a:lnTo>
                  <a:lnTo>
                    <a:pt x="246" y="167"/>
                  </a:lnTo>
                  <a:lnTo>
                    <a:pt x="246" y="169"/>
                  </a:lnTo>
                  <a:lnTo>
                    <a:pt x="246" y="167"/>
                  </a:lnTo>
                  <a:lnTo>
                    <a:pt x="245" y="167"/>
                  </a:lnTo>
                  <a:lnTo>
                    <a:pt x="244" y="167"/>
                  </a:lnTo>
                  <a:lnTo>
                    <a:pt x="244" y="166"/>
                  </a:lnTo>
                  <a:lnTo>
                    <a:pt x="244" y="167"/>
                  </a:lnTo>
                  <a:lnTo>
                    <a:pt x="244" y="169"/>
                  </a:lnTo>
                  <a:lnTo>
                    <a:pt x="245" y="169"/>
                  </a:lnTo>
                  <a:lnTo>
                    <a:pt x="246" y="169"/>
                  </a:lnTo>
                  <a:lnTo>
                    <a:pt x="246" y="170"/>
                  </a:lnTo>
                  <a:lnTo>
                    <a:pt x="247" y="170"/>
                  </a:lnTo>
                  <a:lnTo>
                    <a:pt x="248" y="170"/>
                  </a:lnTo>
                  <a:lnTo>
                    <a:pt x="250" y="169"/>
                  </a:lnTo>
                  <a:lnTo>
                    <a:pt x="251" y="169"/>
                  </a:lnTo>
                  <a:lnTo>
                    <a:pt x="252" y="169"/>
                  </a:lnTo>
                  <a:lnTo>
                    <a:pt x="251" y="170"/>
                  </a:lnTo>
                  <a:lnTo>
                    <a:pt x="252" y="170"/>
                  </a:lnTo>
                  <a:lnTo>
                    <a:pt x="251" y="171"/>
                  </a:lnTo>
                  <a:lnTo>
                    <a:pt x="252" y="172"/>
                  </a:lnTo>
                  <a:lnTo>
                    <a:pt x="253" y="172"/>
                  </a:lnTo>
                  <a:lnTo>
                    <a:pt x="253" y="173"/>
                  </a:lnTo>
                  <a:lnTo>
                    <a:pt x="252" y="173"/>
                  </a:lnTo>
                  <a:lnTo>
                    <a:pt x="252" y="175"/>
                  </a:lnTo>
                  <a:lnTo>
                    <a:pt x="253" y="175"/>
                  </a:lnTo>
                  <a:lnTo>
                    <a:pt x="255" y="175"/>
                  </a:lnTo>
                  <a:lnTo>
                    <a:pt x="255" y="176"/>
                  </a:lnTo>
                  <a:lnTo>
                    <a:pt x="256" y="176"/>
                  </a:lnTo>
                  <a:lnTo>
                    <a:pt x="258" y="176"/>
                  </a:lnTo>
                  <a:lnTo>
                    <a:pt x="258" y="177"/>
                  </a:lnTo>
                  <a:lnTo>
                    <a:pt x="259" y="177"/>
                  </a:lnTo>
                  <a:lnTo>
                    <a:pt x="262" y="178"/>
                  </a:lnTo>
                  <a:lnTo>
                    <a:pt x="263" y="177"/>
                  </a:lnTo>
                  <a:lnTo>
                    <a:pt x="264" y="177"/>
                  </a:lnTo>
                  <a:lnTo>
                    <a:pt x="265" y="177"/>
                  </a:lnTo>
                  <a:lnTo>
                    <a:pt x="267" y="178"/>
                  </a:lnTo>
                  <a:lnTo>
                    <a:pt x="268" y="178"/>
                  </a:lnTo>
                  <a:lnTo>
                    <a:pt x="268" y="177"/>
                  </a:lnTo>
                  <a:lnTo>
                    <a:pt x="267" y="177"/>
                  </a:lnTo>
                  <a:lnTo>
                    <a:pt x="268" y="176"/>
                  </a:lnTo>
                  <a:lnTo>
                    <a:pt x="268" y="177"/>
                  </a:lnTo>
                  <a:lnTo>
                    <a:pt x="270" y="177"/>
                  </a:lnTo>
                  <a:lnTo>
                    <a:pt x="269" y="177"/>
                  </a:lnTo>
                  <a:lnTo>
                    <a:pt x="270" y="178"/>
                  </a:lnTo>
                  <a:lnTo>
                    <a:pt x="273" y="178"/>
                  </a:lnTo>
                  <a:lnTo>
                    <a:pt x="273" y="179"/>
                  </a:lnTo>
                  <a:lnTo>
                    <a:pt x="274" y="179"/>
                  </a:lnTo>
                  <a:lnTo>
                    <a:pt x="275" y="179"/>
                  </a:lnTo>
                  <a:lnTo>
                    <a:pt x="275" y="181"/>
                  </a:lnTo>
                  <a:lnTo>
                    <a:pt x="274" y="181"/>
                  </a:lnTo>
                  <a:lnTo>
                    <a:pt x="274" y="182"/>
                  </a:lnTo>
                  <a:lnTo>
                    <a:pt x="274" y="184"/>
                  </a:lnTo>
                  <a:lnTo>
                    <a:pt x="273" y="184"/>
                  </a:lnTo>
                  <a:lnTo>
                    <a:pt x="274" y="185"/>
                  </a:lnTo>
                  <a:lnTo>
                    <a:pt x="274" y="184"/>
                  </a:lnTo>
                  <a:lnTo>
                    <a:pt x="275" y="184"/>
                  </a:lnTo>
                  <a:lnTo>
                    <a:pt x="275" y="183"/>
                  </a:lnTo>
                  <a:lnTo>
                    <a:pt x="276" y="183"/>
                  </a:lnTo>
                  <a:lnTo>
                    <a:pt x="277" y="183"/>
                  </a:lnTo>
                  <a:lnTo>
                    <a:pt x="277" y="184"/>
                  </a:lnTo>
                  <a:lnTo>
                    <a:pt x="277" y="183"/>
                  </a:lnTo>
                  <a:lnTo>
                    <a:pt x="277" y="184"/>
                  </a:lnTo>
                  <a:lnTo>
                    <a:pt x="279" y="184"/>
                  </a:lnTo>
                  <a:lnTo>
                    <a:pt x="280" y="185"/>
                  </a:lnTo>
                  <a:lnTo>
                    <a:pt x="279" y="187"/>
                  </a:lnTo>
                  <a:lnTo>
                    <a:pt x="280" y="187"/>
                  </a:lnTo>
                  <a:lnTo>
                    <a:pt x="281" y="187"/>
                  </a:lnTo>
                  <a:lnTo>
                    <a:pt x="282" y="188"/>
                  </a:lnTo>
                  <a:lnTo>
                    <a:pt x="282" y="189"/>
                  </a:lnTo>
                  <a:lnTo>
                    <a:pt x="283" y="189"/>
                  </a:lnTo>
                  <a:lnTo>
                    <a:pt x="285" y="188"/>
                  </a:lnTo>
                  <a:lnTo>
                    <a:pt x="285" y="189"/>
                  </a:lnTo>
                  <a:lnTo>
                    <a:pt x="286" y="189"/>
                  </a:lnTo>
                  <a:lnTo>
                    <a:pt x="287" y="189"/>
                  </a:lnTo>
                  <a:lnTo>
                    <a:pt x="287" y="190"/>
                  </a:lnTo>
                  <a:lnTo>
                    <a:pt x="287" y="191"/>
                  </a:lnTo>
                  <a:lnTo>
                    <a:pt x="287" y="193"/>
                  </a:lnTo>
                  <a:lnTo>
                    <a:pt x="287" y="194"/>
                  </a:lnTo>
                  <a:lnTo>
                    <a:pt x="287" y="195"/>
                  </a:lnTo>
                  <a:lnTo>
                    <a:pt x="287" y="196"/>
                  </a:lnTo>
                  <a:lnTo>
                    <a:pt x="287" y="197"/>
                  </a:lnTo>
                  <a:lnTo>
                    <a:pt x="287" y="199"/>
                  </a:lnTo>
                  <a:lnTo>
                    <a:pt x="288" y="199"/>
                  </a:lnTo>
                  <a:lnTo>
                    <a:pt x="289" y="199"/>
                  </a:lnTo>
                  <a:lnTo>
                    <a:pt x="291" y="199"/>
                  </a:lnTo>
                  <a:lnTo>
                    <a:pt x="293" y="199"/>
                  </a:lnTo>
                  <a:lnTo>
                    <a:pt x="293" y="200"/>
                  </a:lnTo>
                  <a:lnTo>
                    <a:pt x="294" y="201"/>
                  </a:lnTo>
                  <a:lnTo>
                    <a:pt x="295" y="201"/>
                  </a:lnTo>
                  <a:lnTo>
                    <a:pt x="297" y="201"/>
                  </a:lnTo>
                  <a:lnTo>
                    <a:pt x="298" y="202"/>
                  </a:lnTo>
                  <a:lnTo>
                    <a:pt x="298" y="203"/>
                  </a:lnTo>
                  <a:lnTo>
                    <a:pt x="297" y="205"/>
                  </a:lnTo>
                  <a:lnTo>
                    <a:pt x="298" y="205"/>
                  </a:lnTo>
                  <a:lnTo>
                    <a:pt x="298" y="206"/>
                  </a:lnTo>
                  <a:lnTo>
                    <a:pt x="299" y="206"/>
                  </a:lnTo>
                  <a:lnTo>
                    <a:pt x="299" y="207"/>
                  </a:lnTo>
                  <a:lnTo>
                    <a:pt x="301" y="207"/>
                  </a:lnTo>
                  <a:lnTo>
                    <a:pt x="301" y="208"/>
                  </a:lnTo>
                  <a:lnTo>
                    <a:pt x="303" y="209"/>
                  </a:lnTo>
                  <a:lnTo>
                    <a:pt x="304" y="209"/>
                  </a:lnTo>
                  <a:lnTo>
                    <a:pt x="304" y="211"/>
                  </a:lnTo>
                  <a:lnTo>
                    <a:pt x="304" y="212"/>
                  </a:lnTo>
                  <a:lnTo>
                    <a:pt x="304" y="213"/>
                  </a:lnTo>
                  <a:lnTo>
                    <a:pt x="305" y="213"/>
                  </a:lnTo>
                  <a:lnTo>
                    <a:pt x="304" y="214"/>
                  </a:lnTo>
                  <a:lnTo>
                    <a:pt x="305" y="214"/>
                  </a:lnTo>
                  <a:lnTo>
                    <a:pt x="305" y="215"/>
                  </a:lnTo>
                  <a:lnTo>
                    <a:pt x="306" y="217"/>
                  </a:lnTo>
                  <a:lnTo>
                    <a:pt x="306" y="218"/>
                  </a:lnTo>
                  <a:lnTo>
                    <a:pt x="305" y="219"/>
                  </a:lnTo>
                  <a:lnTo>
                    <a:pt x="305" y="220"/>
                  </a:lnTo>
                  <a:lnTo>
                    <a:pt x="306" y="220"/>
                  </a:lnTo>
                  <a:lnTo>
                    <a:pt x="307" y="220"/>
                  </a:lnTo>
                  <a:lnTo>
                    <a:pt x="309" y="221"/>
                  </a:lnTo>
                  <a:lnTo>
                    <a:pt x="309" y="223"/>
                  </a:lnTo>
                  <a:lnTo>
                    <a:pt x="310" y="223"/>
                  </a:lnTo>
                  <a:lnTo>
                    <a:pt x="311" y="223"/>
                  </a:lnTo>
                  <a:lnTo>
                    <a:pt x="312" y="224"/>
                  </a:lnTo>
                  <a:lnTo>
                    <a:pt x="311" y="224"/>
                  </a:lnTo>
                  <a:lnTo>
                    <a:pt x="311" y="225"/>
                  </a:lnTo>
                  <a:lnTo>
                    <a:pt x="310" y="226"/>
                  </a:lnTo>
                  <a:lnTo>
                    <a:pt x="311" y="226"/>
                  </a:lnTo>
                  <a:lnTo>
                    <a:pt x="312" y="226"/>
                  </a:lnTo>
                  <a:lnTo>
                    <a:pt x="312" y="227"/>
                  </a:lnTo>
                  <a:lnTo>
                    <a:pt x="314" y="229"/>
                  </a:lnTo>
                  <a:lnTo>
                    <a:pt x="315" y="229"/>
                  </a:lnTo>
                  <a:lnTo>
                    <a:pt x="316" y="230"/>
                  </a:lnTo>
                  <a:lnTo>
                    <a:pt x="315" y="231"/>
                  </a:lnTo>
                  <a:lnTo>
                    <a:pt x="316" y="232"/>
                  </a:lnTo>
                  <a:lnTo>
                    <a:pt x="317" y="232"/>
                  </a:lnTo>
                  <a:lnTo>
                    <a:pt x="317" y="233"/>
                  </a:lnTo>
                  <a:lnTo>
                    <a:pt x="317" y="232"/>
                  </a:lnTo>
                  <a:lnTo>
                    <a:pt x="317" y="233"/>
                  </a:lnTo>
                  <a:lnTo>
                    <a:pt x="318" y="233"/>
                  </a:lnTo>
                  <a:lnTo>
                    <a:pt x="320" y="232"/>
                  </a:lnTo>
                  <a:lnTo>
                    <a:pt x="321" y="233"/>
                  </a:lnTo>
                  <a:lnTo>
                    <a:pt x="321" y="232"/>
                  </a:lnTo>
                  <a:lnTo>
                    <a:pt x="323" y="232"/>
                  </a:lnTo>
                  <a:lnTo>
                    <a:pt x="324" y="232"/>
                  </a:lnTo>
                  <a:lnTo>
                    <a:pt x="323" y="233"/>
                  </a:lnTo>
                  <a:lnTo>
                    <a:pt x="322" y="235"/>
                  </a:lnTo>
                  <a:lnTo>
                    <a:pt x="322" y="236"/>
                  </a:lnTo>
                  <a:lnTo>
                    <a:pt x="321" y="236"/>
                  </a:lnTo>
                  <a:lnTo>
                    <a:pt x="320" y="236"/>
                  </a:lnTo>
                  <a:lnTo>
                    <a:pt x="318" y="236"/>
                  </a:lnTo>
                  <a:lnTo>
                    <a:pt x="317" y="237"/>
                  </a:lnTo>
                  <a:lnTo>
                    <a:pt x="318" y="238"/>
                  </a:lnTo>
                  <a:lnTo>
                    <a:pt x="317" y="239"/>
                  </a:lnTo>
                  <a:lnTo>
                    <a:pt x="317" y="241"/>
                  </a:lnTo>
                  <a:lnTo>
                    <a:pt x="316" y="241"/>
                  </a:lnTo>
                  <a:lnTo>
                    <a:pt x="317" y="241"/>
                  </a:lnTo>
                  <a:lnTo>
                    <a:pt x="317" y="242"/>
                  </a:lnTo>
                  <a:lnTo>
                    <a:pt x="316" y="243"/>
                  </a:lnTo>
                  <a:lnTo>
                    <a:pt x="318" y="243"/>
                  </a:lnTo>
                  <a:lnTo>
                    <a:pt x="318" y="244"/>
                  </a:lnTo>
                  <a:lnTo>
                    <a:pt x="320" y="244"/>
                  </a:lnTo>
                  <a:lnTo>
                    <a:pt x="320" y="245"/>
                  </a:lnTo>
                  <a:lnTo>
                    <a:pt x="318" y="245"/>
                  </a:lnTo>
                  <a:lnTo>
                    <a:pt x="317" y="247"/>
                  </a:lnTo>
                  <a:lnTo>
                    <a:pt x="317" y="245"/>
                  </a:lnTo>
                  <a:lnTo>
                    <a:pt x="316" y="245"/>
                  </a:lnTo>
                  <a:lnTo>
                    <a:pt x="315" y="244"/>
                  </a:lnTo>
                  <a:lnTo>
                    <a:pt x="314" y="243"/>
                  </a:lnTo>
                  <a:lnTo>
                    <a:pt x="312" y="243"/>
                  </a:lnTo>
                  <a:lnTo>
                    <a:pt x="312" y="242"/>
                  </a:lnTo>
                  <a:lnTo>
                    <a:pt x="311" y="242"/>
                  </a:lnTo>
                  <a:lnTo>
                    <a:pt x="311" y="241"/>
                  </a:lnTo>
                  <a:lnTo>
                    <a:pt x="311" y="239"/>
                  </a:lnTo>
                  <a:lnTo>
                    <a:pt x="310" y="241"/>
                  </a:lnTo>
                  <a:lnTo>
                    <a:pt x="309" y="241"/>
                  </a:lnTo>
                  <a:lnTo>
                    <a:pt x="307" y="239"/>
                  </a:lnTo>
                  <a:lnTo>
                    <a:pt x="305" y="239"/>
                  </a:lnTo>
                  <a:lnTo>
                    <a:pt x="305" y="238"/>
                  </a:lnTo>
                  <a:lnTo>
                    <a:pt x="305" y="237"/>
                  </a:lnTo>
                  <a:lnTo>
                    <a:pt x="305" y="238"/>
                  </a:lnTo>
                  <a:lnTo>
                    <a:pt x="304" y="238"/>
                  </a:lnTo>
                  <a:lnTo>
                    <a:pt x="303" y="239"/>
                  </a:lnTo>
                  <a:lnTo>
                    <a:pt x="301" y="239"/>
                  </a:lnTo>
                  <a:lnTo>
                    <a:pt x="301" y="241"/>
                  </a:lnTo>
                  <a:lnTo>
                    <a:pt x="301" y="242"/>
                  </a:lnTo>
                  <a:lnTo>
                    <a:pt x="301" y="241"/>
                  </a:lnTo>
                  <a:lnTo>
                    <a:pt x="301" y="243"/>
                  </a:lnTo>
                  <a:lnTo>
                    <a:pt x="301" y="244"/>
                  </a:lnTo>
                  <a:lnTo>
                    <a:pt x="300" y="244"/>
                  </a:lnTo>
                  <a:lnTo>
                    <a:pt x="299" y="244"/>
                  </a:lnTo>
                  <a:lnTo>
                    <a:pt x="298" y="244"/>
                  </a:lnTo>
                  <a:lnTo>
                    <a:pt x="298" y="245"/>
                  </a:lnTo>
                  <a:lnTo>
                    <a:pt x="298" y="244"/>
                  </a:lnTo>
                  <a:lnTo>
                    <a:pt x="298" y="243"/>
                  </a:lnTo>
                  <a:lnTo>
                    <a:pt x="297" y="242"/>
                  </a:lnTo>
                  <a:lnTo>
                    <a:pt x="297" y="241"/>
                  </a:lnTo>
                  <a:lnTo>
                    <a:pt x="295" y="239"/>
                  </a:lnTo>
                  <a:lnTo>
                    <a:pt x="295" y="241"/>
                  </a:lnTo>
                  <a:lnTo>
                    <a:pt x="294" y="239"/>
                  </a:lnTo>
                  <a:lnTo>
                    <a:pt x="294" y="241"/>
                  </a:lnTo>
                  <a:lnTo>
                    <a:pt x="293" y="239"/>
                  </a:lnTo>
                  <a:lnTo>
                    <a:pt x="293" y="238"/>
                  </a:lnTo>
                  <a:lnTo>
                    <a:pt x="292" y="238"/>
                  </a:lnTo>
                  <a:lnTo>
                    <a:pt x="291" y="237"/>
                  </a:lnTo>
                  <a:lnTo>
                    <a:pt x="291" y="236"/>
                  </a:lnTo>
                  <a:lnTo>
                    <a:pt x="289" y="235"/>
                  </a:lnTo>
                  <a:lnTo>
                    <a:pt x="288" y="235"/>
                  </a:lnTo>
                  <a:lnTo>
                    <a:pt x="288" y="237"/>
                  </a:lnTo>
                  <a:lnTo>
                    <a:pt x="287" y="237"/>
                  </a:lnTo>
                  <a:lnTo>
                    <a:pt x="286" y="237"/>
                  </a:lnTo>
                  <a:lnTo>
                    <a:pt x="285" y="236"/>
                  </a:lnTo>
                  <a:lnTo>
                    <a:pt x="283" y="237"/>
                  </a:lnTo>
                  <a:lnTo>
                    <a:pt x="282" y="238"/>
                  </a:lnTo>
                  <a:lnTo>
                    <a:pt x="283" y="239"/>
                  </a:lnTo>
                  <a:lnTo>
                    <a:pt x="285" y="241"/>
                  </a:lnTo>
                  <a:lnTo>
                    <a:pt x="285" y="239"/>
                  </a:lnTo>
                  <a:lnTo>
                    <a:pt x="286" y="241"/>
                  </a:lnTo>
                  <a:lnTo>
                    <a:pt x="286" y="239"/>
                  </a:lnTo>
                  <a:lnTo>
                    <a:pt x="287" y="239"/>
                  </a:lnTo>
                  <a:lnTo>
                    <a:pt x="287" y="241"/>
                  </a:lnTo>
                  <a:lnTo>
                    <a:pt x="288" y="241"/>
                  </a:lnTo>
                  <a:lnTo>
                    <a:pt x="289" y="241"/>
                  </a:lnTo>
                  <a:lnTo>
                    <a:pt x="291" y="242"/>
                  </a:lnTo>
                  <a:lnTo>
                    <a:pt x="292" y="242"/>
                  </a:lnTo>
                  <a:lnTo>
                    <a:pt x="292" y="243"/>
                  </a:lnTo>
                  <a:lnTo>
                    <a:pt x="293" y="243"/>
                  </a:lnTo>
                  <a:lnTo>
                    <a:pt x="293" y="244"/>
                  </a:lnTo>
                  <a:lnTo>
                    <a:pt x="294" y="244"/>
                  </a:lnTo>
                  <a:lnTo>
                    <a:pt x="294" y="245"/>
                  </a:lnTo>
                  <a:lnTo>
                    <a:pt x="293" y="247"/>
                  </a:lnTo>
                  <a:lnTo>
                    <a:pt x="294" y="247"/>
                  </a:lnTo>
                  <a:lnTo>
                    <a:pt x="293" y="247"/>
                  </a:lnTo>
                  <a:lnTo>
                    <a:pt x="294" y="247"/>
                  </a:lnTo>
                  <a:lnTo>
                    <a:pt x="294" y="248"/>
                  </a:lnTo>
                  <a:lnTo>
                    <a:pt x="293" y="249"/>
                  </a:lnTo>
                  <a:lnTo>
                    <a:pt x="292" y="249"/>
                  </a:lnTo>
                  <a:lnTo>
                    <a:pt x="291" y="249"/>
                  </a:lnTo>
                  <a:lnTo>
                    <a:pt x="289" y="249"/>
                  </a:lnTo>
                  <a:lnTo>
                    <a:pt x="288" y="249"/>
                  </a:lnTo>
                  <a:lnTo>
                    <a:pt x="287" y="249"/>
                  </a:lnTo>
                  <a:lnTo>
                    <a:pt x="286" y="250"/>
                  </a:lnTo>
                  <a:lnTo>
                    <a:pt x="286" y="251"/>
                  </a:lnTo>
                  <a:lnTo>
                    <a:pt x="285" y="251"/>
                  </a:lnTo>
                  <a:lnTo>
                    <a:pt x="283" y="253"/>
                  </a:lnTo>
                  <a:lnTo>
                    <a:pt x="283" y="251"/>
                  </a:lnTo>
                  <a:lnTo>
                    <a:pt x="283" y="253"/>
                  </a:lnTo>
                  <a:lnTo>
                    <a:pt x="282" y="251"/>
                  </a:lnTo>
                  <a:lnTo>
                    <a:pt x="281" y="251"/>
                  </a:lnTo>
                  <a:lnTo>
                    <a:pt x="280" y="253"/>
                  </a:lnTo>
                  <a:lnTo>
                    <a:pt x="280" y="251"/>
                  </a:lnTo>
                  <a:lnTo>
                    <a:pt x="279" y="253"/>
                  </a:lnTo>
                  <a:lnTo>
                    <a:pt x="276" y="251"/>
                  </a:lnTo>
                  <a:lnTo>
                    <a:pt x="276" y="250"/>
                  </a:lnTo>
                  <a:lnTo>
                    <a:pt x="275" y="250"/>
                  </a:lnTo>
                  <a:lnTo>
                    <a:pt x="274" y="250"/>
                  </a:lnTo>
                  <a:lnTo>
                    <a:pt x="274" y="249"/>
                  </a:lnTo>
                  <a:lnTo>
                    <a:pt x="273" y="250"/>
                  </a:lnTo>
                  <a:lnTo>
                    <a:pt x="274" y="250"/>
                  </a:lnTo>
                  <a:lnTo>
                    <a:pt x="275" y="250"/>
                  </a:lnTo>
                  <a:lnTo>
                    <a:pt x="276" y="251"/>
                  </a:lnTo>
                  <a:lnTo>
                    <a:pt x="276" y="253"/>
                  </a:lnTo>
                  <a:lnTo>
                    <a:pt x="275" y="254"/>
                  </a:lnTo>
                  <a:lnTo>
                    <a:pt x="275" y="253"/>
                  </a:lnTo>
                  <a:lnTo>
                    <a:pt x="275" y="254"/>
                  </a:lnTo>
                  <a:lnTo>
                    <a:pt x="274" y="255"/>
                  </a:lnTo>
                  <a:lnTo>
                    <a:pt x="275" y="255"/>
                  </a:lnTo>
                  <a:lnTo>
                    <a:pt x="274" y="256"/>
                  </a:lnTo>
                  <a:lnTo>
                    <a:pt x="273" y="256"/>
                  </a:lnTo>
                  <a:lnTo>
                    <a:pt x="271" y="256"/>
                  </a:lnTo>
                  <a:lnTo>
                    <a:pt x="270" y="256"/>
                  </a:lnTo>
                  <a:lnTo>
                    <a:pt x="269" y="258"/>
                  </a:lnTo>
                  <a:lnTo>
                    <a:pt x="269" y="259"/>
                  </a:lnTo>
                  <a:lnTo>
                    <a:pt x="268" y="258"/>
                  </a:lnTo>
                  <a:lnTo>
                    <a:pt x="268" y="259"/>
                  </a:lnTo>
                  <a:lnTo>
                    <a:pt x="268" y="260"/>
                  </a:lnTo>
                  <a:lnTo>
                    <a:pt x="269" y="260"/>
                  </a:lnTo>
                  <a:lnTo>
                    <a:pt x="268" y="261"/>
                  </a:lnTo>
                  <a:lnTo>
                    <a:pt x="269" y="261"/>
                  </a:lnTo>
                  <a:lnTo>
                    <a:pt x="269" y="262"/>
                  </a:lnTo>
                  <a:lnTo>
                    <a:pt x="270" y="262"/>
                  </a:lnTo>
                  <a:lnTo>
                    <a:pt x="271" y="262"/>
                  </a:lnTo>
                  <a:lnTo>
                    <a:pt x="273" y="262"/>
                  </a:lnTo>
                  <a:lnTo>
                    <a:pt x="273" y="261"/>
                  </a:lnTo>
                  <a:lnTo>
                    <a:pt x="274" y="261"/>
                  </a:lnTo>
                  <a:lnTo>
                    <a:pt x="274" y="262"/>
                  </a:lnTo>
                  <a:lnTo>
                    <a:pt x="275" y="262"/>
                  </a:lnTo>
                  <a:lnTo>
                    <a:pt x="275" y="264"/>
                  </a:lnTo>
                  <a:lnTo>
                    <a:pt x="274" y="265"/>
                  </a:lnTo>
                  <a:lnTo>
                    <a:pt x="274" y="266"/>
                  </a:lnTo>
                  <a:lnTo>
                    <a:pt x="275" y="267"/>
                  </a:lnTo>
                  <a:lnTo>
                    <a:pt x="274" y="268"/>
                  </a:lnTo>
                  <a:lnTo>
                    <a:pt x="274" y="267"/>
                  </a:lnTo>
                  <a:lnTo>
                    <a:pt x="273" y="267"/>
                  </a:lnTo>
                  <a:lnTo>
                    <a:pt x="273" y="268"/>
                  </a:lnTo>
                  <a:lnTo>
                    <a:pt x="273" y="270"/>
                  </a:lnTo>
                  <a:lnTo>
                    <a:pt x="271" y="270"/>
                  </a:lnTo>
                  <a:lnTo>
                    <a:pt x="273" y="271"/>
                  </a:lnTo>
                  <a:lnTo>
                    <a:pt x="274" y="270"/>
                  </a:lnTo>
                  <a:lnTo>
                    <a:pt x="275" y="270"/>
                  </a:lnTo>
                  <a:lnTo>
                    <a:pt x="276" y="270"/>
                  </a:lnTo>
                  <a:lnTo>
                    <a:pt x="275" y="271"/>
                  </a:lnTo>
                  <a:lnTo>
                    <a:pt x="276" y="272"/>
                  </a:lnTo>
                  <a:lnTo>
                    <a:pt x="277" y="273"/>
                  </a:lnTo>
                  <a:lnTo>
                    <a:pt x="279" y="273"/>
                  </a:lnTo>
                  <a:lnTo>
                    <a:pt x="279" y="274"/>
                  </a:lnTo>
                  <a:lnTo>
                    <a:pt x="277" y="276"/>
                  </a:lnTo>
                  <a:lnTo>
                    <a:pt x="279" y="276"/>
                  </a:lnTo>
                  <a:lnTo>
                    <a:pt x="277" y="277"/>
                  </a:lnTo>
                  <a:lnTo>
                    <a:pt x="276" y="278"/>
                  </a:lnTo>
                  <a:lnTo>
                    <a:pt x="276" y="277"/>
                  </a:lnTo>
                  <a:lnTo>
                    <a:pt x="275" y="278"/>
                  </a:lnTo>
                  <a:lnTo>
                    <a:pt x="274" y="277"/>
                  </a:lnTo>
                  <a:lnTo>
                    <a:pt x="273" y="277"/>
                  </a:lnTo>
                  <a:lnTo>
                    <a:pt x="271" y="277"/>
                  </a:lnTo>
                  <a:lnTo>
                    <a:pt x="270" y="276"/>
                  </a:lnTo>
                  <a:lnTo>
                    <a:pt x="269" y="276"/>
                  </a:lnTo>
                  <a:lnTo>
                    <a:pt x="268" y="274"/>
                  </a:lnTo>
                  <a:lnTo>
                    <a:pt x="267" y="273"/>
                  </a:lnTo>
                  <a:lnTo>
                    <a:pt x="267" y="274"/>
                  </a:lnTo>
                  <a:lnTo>
                    <a:pt x="264" y="273"/>
                  </a:lnTo>
                  <a:lnTo>
                    <a:pt x="267" y="273"/>
                  </a:lnTo>
                  <a:lnTo>
                    <a:pt x="267" y="271"/>
                  </a:lnTo>
                  <a:lnTo>
                    <a:pt x="268" y="271"/>
                  </a:lnTo>
                  <a:lnTo>
                    <a:pt x="268" y="272"/>
                  </a:lnTo>
                  <a:lnTo>
                    <a:pt x="268" y="273"/>
                  </a:lnTo>
                  <a:lnTo>
                    <a:pt x="269" y="273"/>
                  </a:lnTo>
                  <a:lnTo>
                    <a:pt x="270" y="274"/>
                  </a:lnTo>
                  <a:lnTo>
                    <a:pt x="271" y="273"/>
                  </a:lnTo>
                  <a:lnTo>
                    <a:pt x="273" y="273"/>
                  </a:lnTo>
                  <a:lnTo>
                    <a:pt x="271" y="272"/>
                  </a:lnTo>
                  <a:lnTo>
                    <a:pt x="270" y="273"/>
                  </a:lnTo>
                  <a:lnTo>
                    <a:pt x="270" y="272"/>
                  </a:lnTo>
                  <a:lnTo>
                    <a:pt x="270" y="271"/>
                  </a:lnTo>
                  <a:lnTo>
                    <a:pt x="270" y="270"/>
                  </a:lnTo>
                  <a:lnTo>
                    <a:pt x="269" y="270"/>
                  </a:lnTo>
                  <a:lnTo>
                    <a:pt x="270" y="268"/>
                  </a:lnTo>
                  <a:lnTo>
                    <a:pt x="269" y="268"/>
                  </a:lnTo>
                  <a:lnTo>
                    <a:pt x="269" y="267"/>
                  </a:lnTo>
                  <a:lnTo>
                    <a:pt x="268" y="266"/>
                  </a:lnTo>
                  <a:lnTo>
                    <a:pt x="269" y="266"/>
                  </a:lnTo>
                  <a:lnTo>
                    <a:pt x="267" y="266"/>
                  </a:lnTo>
                  <a:lnTo>
                    <a:pt x="267" y="267"/>
                  </a:lnTo>
                  <a:lnTo>
                    <a:pt x="268" y="267"/>
                  </a:lnTo>
                  <a:lnTo>
                    <a:pt x="269" y="267"/>
                  </a:lnTo>
                  <a:lnTo>
                    <a:pt x="267" y="268"/>
                  </a:lnTo>
                  <a:lnTo>
                    <a:pt x="267" y="267"/>
                  </a:lnTo>
                  <a:lnTo>
                    <a:pt x="265" y="267"/>
                  </a:lnTo>
                  <a:lnTo>
                    <a:pt x="264" y="266"/>
                  </a:lnTo>
                  <a:lnTo>
                    <a:pt x="263" y="265"/>
                  </a:lnTo>
                  <a:lnTo>
                    <a:pt x="262" y="264"/>
                  </a:lnTo>
                  <a:lnTo>
                    <a:pt x="261" y="264"/>
                  </a:lnTo>
                  <a:lnTo>
                    <a:pt x="261" y="262"/>
                  </a:lnTo>
                  <a:lnTo>
                    <a:pt x="259" y="262"/>
                  </a:lnTo>
                  <a:lnTo>
                    <a:pt x="259" y="261"/>
                  </a:lnTo>
                  <a:lnTo>
                    <a:pt x="261" y="261"/>
                  </a:lnTo>
                  <a:lnTo>
                    <a:pt x="262" y="261"/>
                  </a:lnTo>
                  <a:lnTo>
                    <a:pt x="262" y="260"/>
                  </a:lnTo>
                  <a:lnTo>
                    <a:pt x="261" y="259"/>
                  </a:lnTo>
                  <a:lnTo>
                    <a:pt x="262" y="258"/>
                  </a:lnTo>
                  <a:lnTo>
                    <a:pt x="261" y="258"/>
                  </a:lnTo>
                  <a:lnTo>
                    <a:pt x="261" y="259"/>
                  </a:lnTo>
                  <a:lnTo>
                    <a:pt x="258" y="259"/>
                  </a:lnTo>
                  <a:lnTo>
                    <a:pt x="258" y="258"/>
                  </a:lnTo>
                  <a:lnTo>
                    <a:pt x="257" y="258"/>
                  </a:lnTo>
                  <a:lnTo>
                    <a:pt x="256" y="256"/>
                  </a:lnTo>
                  <a:lnTo>
                    <a:pt x="255" y="256"/>
                  </a:lnTo>
                  <a:lnTo>
                    <a:pt x="253" y="256"/>
                  </a:lnTo>
                  <a:lnTo>
                    <a:pt x="253" y="255"/>
                  </a:lnTo>
                  <a:lnTo>
                    <a:pt x="253" y="254"/>
                  </a:lnTo>
                  <a:lnTo>
                    <a:pt x="252" y="253"/>
                  </a:lnTo>
                  <a:lnTo>
                    <a:pt x="253" y="251"/>
                  </a:lnTo>
                  <a:lnTo>
                    <a:pt x="255" y="251"/>
                  </a:lnTo>
                  <a:lnTo>
                    <a:pt x="255" y="250"/>
                  </a:lnTo>
                  <a:lnTo>
                    <a:pt x="256" y="250"/>
                  </a:lnTo>
                  <a:lnTo>
                    <a:pt x="255" y="249"/>
                  </a:lnTo>
                  <a:lnTo>
                    <a:pt x="256" y="249"/>
                  </a:lnTo>
                  <a:lnTo>
                    <a:pt x="256" y="248"/>
                  </a:lnTo>
                  <a:lnTo>
                    <a:pt x="257" y="245"/>
                  </a:lnTo>
                  <a:lnTo>
                    <a:pt x="257" y="247"/>
                  </a:lnTo>
                  <a:lnTo>
                    <a:pt x="257" y="248"/>
                  </a:lnTo>
                  <a:lnTo>
                    <a:pt x="257" y="249"/>
                  </a:lnTo>
                  <a:lnTo>
                    <a:pt x="258" y="249"/>
                  </a:lnTo>
                  <a:lnTo>
                    <a:pt x="258" y="250"/>
                  </a:lnTo>
                  <a:lnTo>
                    <a:pt x="257" y="250"/>
                  </a:lnTo>
                  <a:lnTo>
                    <a:pt x="257" y="251"/>
                  </a:lnTo>
                  <a:lnTo>
                    <a:pt x="258" y="251"/>
                  </a:lnTo>
                  <a:lnTo>
                    <a:pt x="259" y="251"/>
                  </a:lnTo>
                  <a:lnTo>
                    <a:pt x="259" y="250"/>
                  </a:lnTo>
                  <a:lnTo>
                    <a:pt x="261" y="250"/>
                  </a:lnTo>
                  <a:lnTo>
                    <a:pt x="261" y="251"/>
                  </a:lnTo>
                  <a:lnTo>
                    <a:pt x="261" y="253"/>
                  </a:lnTo>
                  <a:lnTo>
                    <a:pt x="262" y="253"/>
                  </a:lnTo>
                  <a:lnTo>
                    <a:pt x="263" y="253"/>
                  </a:lnTo>
                  <a:lnTo>
                    <a:pt x="263" y="250"/>
                  </a:lnTo>
                  <a:lnTo>
                    <a:pt x="263" y="249"/>
                  </a:lnTo>
                  <a:lnTo>
                    <a:pt x="263" y="248"/>
                  </a:lnTo>
                  <a:lnTo>
                    <a:pt x="263" y="247"/>
                  </a:lnTo>
                  <a:lnTo>
                    <a:pt x="262" y="245"/>
                  </a:lnTo>
                  <a:lnTo>
                    <a:pt x="261" y="245"/>
                  </a:lnTo>
                  <a:lnTo>
                    <a:pt x="259" y="245"/>
                  </a:lnTo>
                  <a:lnTo>
                    <a:pt x="258" y="245"/>
                  </a:lnTo>
                  <a:lnTo>
                    <a:pt x="257" y="245"/>
                  </a:lnTo>
                  <a:lnTo>
                    <a:pt x="256" y="245"/>
                  </a:lnTo>
                  <a:lnTo>
                    <a:pt x="255" y="247"/>
                  </a:lnTo>
                  <a:lnTo>
                    <a:pt x="253" y="245"/>
                  </a:lnTo>
                  <a:lnTo>
                    <a:pt x="251" y="244"/>
                  </a:lnTo>
                  <a:lnTo>
                    <a:pt x="250" y="244"/>
                  </a:lnTo>
                  <a:lnTo>
                    <a:pt x="250" y="245"/>
                  </a:lnTo>
                  <a:lnTo>
                    <a:pt x="251" y="244"/>
                  </a:lnTo>
                  <a:lnTo>
                    <a:pt x="250" y="245"/>
                  </a:lnTo>
                  <a:lnTo>
                    <a:pt x="248" y="245"/>
                  </a:lnTo>
                  <a:lnTo>
                    <a:pt x="247" y="247"/>
                  </a:lnTo>
                  <a:lnTo>
                    <a:pt x="247" y="248"/>
                  </a:lnTo>
                  <a:lnTo>
                    <a:pt x="245" y="247"/>
                  </a:lnTo>
                  <a:lnTo>
                    <a:pt x="244" y="248"/>
                  </a:lnTo>
                  <a:lnTo>
                    <a:pt x="244" y="247"/>
                  </a:lnTo>
                  <a:lnTo>
                    <a:pt x="242" y="247"/>
                  </a:lnTo>
                  <a:lnTo>
                    <a:pt x="241" y="247"/>
                  </a:lnTo>
                  <a:lnTo>
                    <a:pt x="240" y="247"/>
                  </a:lnTo>
                  <a:lnTo>
                    <a:pt x="239" y="248"/>
                  </a:lnTo>
                  <a:lnTo>
                    <a:pt x="239" y="249"/>
                  </a:lnTo>
                  <a:lnTo>
                    <a:pt x="238" y="249"/>
                  </a:lnTo>
                  <a:lnTo>
                    <a:pt x="238" y="248"/>
                  </a:lnTo>
                  <a:lnTo>
                    <a:pt x="236" y="247"/>
                  </a:lnTo>
                  <a:lnTo>
                    <a:pt x="235" y="248"/>
                  </a:lnTo>
                  <a:lnTo>
                    <a:pt x="234" y="248"/>
                  </a:lnTo>
                  <a:lnTo>
                    <a:pt x="234" y="245"/>
                  </a:lnTo>
                  <a:lnTo>
                    <a:pt x="233" y="244"/>
                  </a:lnTo>
                  <a:lnTo>
                    <a:pt x="232" y="244"/>
                  </a:lnTo>
                  <a:lnTo>
                    <a:pt x="230" y="244"/>
                  </a:lnTo>
                  <a:lnTo>
                    <a:pt x="227" y="245"/>
                  </a:lnTo>
                  <a:lnTo>
                    <a:pt x="224" y="245"/>
                  </a:lnTo>
                  <a:lnTo>
                    <a:pt x="223" y="247"/>
                  </a:lnTo>
                  <a:lnTo>
                    <a:pt x="222" y="247"/>
                  </a:lnTo>
                  <a:lnTo>
                    <a:pt x="220" y="247"/>
                  </a:lnTo>
                  <a:lnTo>
                    <a:pt x="218" y="247"/>
                  </a:lnTo>
                  <a:lnTo>
                    <a:pt x="218" y="248"/>
                  </a:lnTo>
                  <a:lnTo>
                    <a:pt x="216" y="248"/>
                  </a:lnTo>
                  <a:lnTo>
                    <a:pt x="215" y="247"/>
                  </a:lnTo>
                  <a:lnTo>
                    <a:pt x="212" y="248"/>
                  </a:lnTo>
                  <a:lnTo>
                    <a:pt x="208" y="248"/>
                  </a:lnTo>
                  <a:lnTo>
                    <a:pt x="208" y="250"/>
                  </a:lnTo>
                  <a:lnTo>
                    <a:pt x="209" y="251"/>
                  </a:lnTo>
                  <a:lnTo>
                    <a:pt x="210" y="250"/>
                  </a:lnTo>
                  <a:lnTo>
                    <a:pt x="211" y="250"/>
                  </a:lnTo>
                  <a:lnTo>
                    <a:pt x="212" y="250"/>
                  </a:lnTo>
                  <a:lnTo>
                    <a:pt x="212" y="251"/>
                  </a:lnTo>
                  <a:lnTo>
                    <a:pt x="212" y="250"/>
                  </a:lnTo>
                  <a:lnTo>
                    <a:pt x="214" y="251"/>
                  </a:lnTo>
                  <a:lnTo>
                    <a:pt x="215" y="253"/>
                  </a:lnTo>
                  <a:lnTo>
                    <a:pt x="215" y="254"/>
                  </a:lnTo>
                  <a:lnTo>
                    <a:pt x="216" y="254"/>
                  </a:lnTo>
                  <a:lnTo>
                    <a:pt x="216" y="255"/>
                  </a:lnTo>
                  <a:lnTo>
                    <a:pt x="216" y="256"/>
                  </a:lnTo>
                  <a:lnTo>
                    <a:pt x="216" y="258"/>
                  </a:lnTo>
                  <a:lnTo>
                    <a:pt x="216" y="259"/>
                  </a:lnTo>
                  <a:lnTo>
                    <a:pt x="216" y="260"/>
                  </a:lnTo>
                  <a:lnTo>
                    <a:pt x="215" y="260"/>
                  </a:lnTo>
                  <a:lnTo>
                    <a:pt x="214" y="261"/>
                  </a:lnTo>
                  <a:lnTo>
                    <a:pt x="212" y="261"/>
                  </a:lnTo>
                  <a:lnTo>
                    <a:pt x="210" y="261"/>
                  </a:lnTo>
                  <a:lnTo>
                    <a:pt x="211" y="262"/>
                  </a:lnTo>
                  <a:lnTo>
                    <a:pt x="212" y="262"/>
                  </a:lnTo>
                  <a:lnTo>
                    <a:pt x="215" y="262"/>
                  </a:lnTo>
                  <a:lnTo>
                    <a:pt x="220" y="262"/>
                  </a:lnTo>
                  <a:lnTo>
                    <a:pt x="221" y="262"/>
                  </a:lnTo>
                  <a:lnTo>
                    <a:pt x="223" y="264"/>
                  </a:lnTo>
                  <a:lnTo>
                    <a:pt x="226" y="264"/>
                  </a:lnTo>
                  <a:lnTo>
                    <a:pt x="227" y="264"/>
                  </a:lnTo>
                  <a:lnTo>
                    <a:pt x="228" y="264"/>
                  </a:lnTo>
                  <a:lnTo>
                    <a:pt x="229" y="264"/>
                  </a:lnTo>
                  <a:lnTo>
                    <a:pt x="228" y="262"/>
                  </a:lnTo>
                  <a:lnTo>
                    <a:pt x="227" y="262"/>
                  </a:lnTo>
                  <a:lnTo>
                    <a:pt x="227" y="261"/>
                  </a:lnTo>
                  <a:lnTo>
                    <a:pt x="228" y="260"/>
                  </a:lnTo>
                  <a:lnTo>
                    <a:pt x="230" y="261"/>
                  </a:lnTo>
                  <a:lnTo>
                    <a:pt x="230" y="260"/>
                  </a:lnTo>
                  <a:lnTo>
                    <a:pt x="232" y="260"/>
                  </a:lnTo>
                  <a:lnTo>
                    <a:pt x="232" y="261"/>
                  </a:lnTo>
                  <a:lnTo>
                    <a:pt x="233" y="261"/>
                  </a:lnTo>
                  <a:lnTo>
                    <a:pt x="233" y="260"/>
                  </a:lnTo>
                  <a:lnTo>
                    <a:pt x="235" y="260"/>
                  </a:lnTo>
                  <a:lnTo>
                    <a:pt x="235" y="259"/>
                  </a:lnTo>
                  <a:lnTo>
                    <a:pt x="236" y="259"/>
                  </a:lnTo>
                  <a:lnTo>
                    <a:pt x="238" y="258"/>
                  </a:lnTo>
                  <a:lnTo>
                    <a:pt x="239" y="258"/>
                  </a:lnTo>
                  <a:lnTo>
                    <a:pt x="240" y="258"/>
                  </a:lnTo>
                  <a:lnTo>
                    <a:pt x="241" y="259"/>
                  </a:lnTo>
                  <a:lnTo>
                    <a:pt x="242" y="259"/>
                  </a:lnTo>
                  <a:lnTo>
                    <a:pt x="244" y="259"/>
                  </a:lnTo>
                  <a:lnTo>
                    <a:pt x="244" y="260"/>
                  </a:lnTo>
                  <a:lnTo>
                    <a:pt x="245" y="261"/>
                  </a:lnTo>
                  <a:lnTo>
                    <a:pt x="246" y="262"/>
                  </a:lnTo>
                  <a:lnTo>
                    <a:pt x="246" y="264"/>
                  </a:lnTo>
                  <a:lnTo>
                    <a:pt x="247" y="264"/>
                  </a:lnTo>
                  <a:lnTo>
                    <a:pt x="248" y="264"/>
                  </a:lnTo>
                  <a:lnTo>
                    <a:pt x="248" y="265"/>
                  </a:lnTo>
                  <a:lnTo>
                    <a:pt x="250" y="265"/>
                  </a:lnTo>
                  <a:lnTo>
                    <a:pt x="251" y="264"/>
                  </a:lnTo>
                  <a:lnTo>
                    <a:pt x="252" y="264"/>
                  </a:lnTo>
                  <a:lnTo>
                    <a:pt x="252" y="265"/>
                  </a:lnTo>
                  <a:lnTo>
                    <a:pt x="255" y="265"/>
                  </a:lnTo>
                  <a:lnTo>
                    <a:pt x="255" y="266"/>
                  </a:lnTo>
                  <a:lnTo>
                    <a:pt x="256" y="267"/>
                  </a:lnTo>
                  <a:lnTo>
                    <a:pt x="256" y="268"/>
                  </a:lnTo>
                  <a:lnTo>
                    <a:pt x="256" y="270"/>
                  </a:lnTo>
                  <a:lnTo>
                    <a:pt x="255" y="270"/>
                  </a:lnTo>
                  <a:lnTo>
                    <a:pt x="256" y="271"/>
                  </a:lnTo>
                  <a:lnTo>
                    <a:pt x="257" y="272"/>
                  </a:lnTo>
                  <a:lnTo>
                    <a:pt x="258" y="272"/>
                  </a:lnTo>
                  <a:lnTo>
                    <a:pt x="259" y="272"/>
                  </a:lnTo>
                  <a:lnTo>
                    <a:pt x="261" y="273"/>
                  </a:lnTo>
                  <a:lnTo>
                    <a:pt x="262" y="274"/>
                  </a:lnTo>
                  <a:lnTo>
                    <a:pt x="261" y="276"/>
                  </a:lnTo>
                  <a:lnTo>
                    <a:pt x="259" y="277"/>
                  </a:lnTo>
                  <a:lnTo>
                    <a:pt x="261" y="276"/>
                  </a:lnTo>
                  <a:lnTo>
                    <a:pt x="262" y="276"/>
                  </a:lnTo>
                  <a:lnTo>
                    <a:pt x="262" y="277"/>
                  </a:lnTo>
                  <a:lnTo>
                    <a:pt x="263" y="278"/>
                  </a:lnTo>
                  <a:lnTo>
                    <a:pt x="263" y="279"/>
                  </a:lnTo>
                  <a:lnTo>
                    <a:pt x="263" y="280"/>
                  </a:lnTo>
                  <a:lnTo>
                    <a:pt x="264" y="280"/>
                  </a:lnTo>
                  <a:lnTo>
                    <a:pt x="265" y="282"/>
                  </a:lnTo>
                  <a:lnTo>
                    <a:pt x="264" y="282"/>
                  </a:lnTo>
                  <a:lnTo>
                    <a:pt x="263" y="283"/>
                  </a:lnTo>
                  <a:lnTo>
                    <a:pt x="262" y="282"/>
                  </a:lnTo>
                  <a:lnTo>
                    <a:pt x="262" y="283"/>
                  </a:lnTo>
                  <a:lnTo>
                    <a:pt x="263" y="283"/>
                  </a:lnTo>
                  <a:lnTo>
                    <a:pt x="264" y="285"/>
                  </a:lnTo>
                  <a:lnTo>
                    <a:pt x="264" y="284"/>
                  </a:lnTo>
                  <a:lnTo>
                    <a:pt x="264" y="285"/>
                  </a:lnTo>
                  <a:lnTo>
                    <a:pt x="265" y="285"/>
                  </a:lnTo>
                  <a:lnTo>
                    <a:pt x="265" y="286"/>
                  </a:lnTo>
                  <a:lnTo>
                    <a:pt x="267" y="288"/>
                  </a:lnTo>
                  <a:lnTo>
                    <a:pt x="268" y="289"/>
                  </a:lnTo>
                  <a:lnTo>
                    <a:pt x="268" y="290"/>
                  </a:lnTo>
                  <a:lnTo>
                    <a:pt x="268" y="292"/>
                  </a:lnTo>
                  <a:lnTo>
                    <a:pt x="265" y="292"/>
                  </a:lnTo>
                  <a:lnTo>
                    <a:pt x="264" y="292"/>
                  </a:lnTo>
                  <a:lnTo>
                    <a:pt x="263" y="292"/>
                  </a:lnTo>
                  <a:lnTo>
                    <a:pt x="263" y="291"/>
                  </a:lnTo>
                  <a:lnTo>
                    <a:pt x="262" y="291"/>
                  </a:lnTo>
                  <a:lnTo>
                    <a:pt x="261" y="290"/>
                  </a:lnTo>
                  <a:lnTo>
                    <a:pt x="259" y="290"/>
                  </a:lnTo>
                  <a:lnTo>
                    <a:pt x="258" y="289"/>
                  </a:lnTo>
                  <a:lnTo>
                    <a:pt x="257" y="288"/>
                  </a:lnTo>
                  <a:lnTo>
                    <a:pt x="257" y="286"/>
                  </a:lnTo>
                  <a:lnTo>
                    <a:pt x="256" y="288"/>
                  </a:lnTo>
                  <a:lnTo>
                    <a:pt x="257" y="289"/>
                  </a:lnTo>
                  <a:lnTo>
                    <a:pt x="256" y="288"/>
                  </a:lnTo>
                  <a:lnTo>
                    <a:pt x="256" y="289"/>
                  </a:lnTo>
                  <a:lnTo>
                    <a:pt x="255" y="290"/>
                  </a:lnTo>
                  <a:lnTo>
                    <a:pt x="256" y="289"/>
                  </a:lnTo>
                  <a:lnTo>
                    <a:pt x="255" y="288"/>
                  </a:lnTo>
                  <a:lnTo>
                    <a:pt x="253" y="286"/>
                  </a:lnTo>
                  <a:lnTo>
                    <a:pt x="253" y="288"/>
                  </a:lnTo>
                  <a:lnTo>
                    <a:pt x="252" y="288"/>
                  </a:lnTo>
                  <a:lnTo>
                    <a:pt x="251" y="286"/>
                  </a:lnTo>
                  <a:lnTo>
                    <a:pt x="250" y="285"/>
                  </a:lnTo>
                  <a:lnTo>
                    <a:pt x="250" y="286"/>
                  </a:lnTo>
                  <a:lnTo>
                    <a:pt x="248" y="285"/>
                  </a:lnTo>
                  <a:lnTo>
                    <a:pt x="247" y="285"/>
                  </a:lnTo>
                  <a:lnTo>
                    <a:pt x="248" y="285"/>
                  </a:lnTo>
                  <a:lnTo>
                    <a:pt x="248" y="284"/>
                  </a:lnTo>
                  <a:lnTo>
                    <a:pt x="247" y="285"/>
                  </a:lnTo>
                  <a:lnTo>
                    <a:pt x="246" y="285"/>
                  </a:lnTo>
                  <a:lnTo>
                    <a:pt x="246" y="286"/>
                  </a:lnTo>
                  <a:lnTo>
                    <a:pt x="247" y="288"/>
                  </a:lnTo>
                  <a:lnTo>
                    <a:pt x="248" y="289"/>
                  </a:lnTo>
                  <a:lnTo>
                    <a:pt x="247" y="288"/>
                  </a:lnTo>
                  <a:lnTo>
                    <a:pt x="246" y="288"/>
                  </a:lnTo>
                  <a:lnTo>
                    <a:pt x="245" y="289"/>
                  </a:lnTo>
                  <a:lnTo>
                    <a:pt x="244" y="290"/>
                  </a:lnTo>
                  <a:lnTo>
                    <a:pt x="242" y="290"/>
                  </a:lnTo>
                  <a:lnTo>
                    <a:pt x="241" y="290"/>
                  </a:lnTo>
                  <a:lnTo>
                    <a:pt x="240" y="290"/>
                  </a:lnTo>
                  <a:lnTo>
                    <a:pt x="241" y="291"/>
                  </a:lnTo>
                  <a:lnTo>
                    <a:pt x="242" y="291"/>
                  </a:lnTo>
                  <a:lnTo>
                    <a:pt x="240" y="292"/>
                  </a:lnTo>
                  <a:lnTo>
                    <a:pt x="239" y="292"/>
                  </a:lnTo>
                  <a:lnTo>
                    <a:pt x="238" y="291"/>
                  </a:lnTo>
                  <a:lnTo>
                    <a:pt x="236" y="292"/>
                  </a:lnTo>
                  <a:lnTo>
                    <a:pt x="235" y="291"/>
                  </a:lnTo>
                  <a:lnTo>
                    <a:pt x="234" y="291"/>
                  </a:lnTo>
                  <a:lnTo>
                    <a:pt x="233" y="291"/>
                  </a:lnTo>
                  <a:lnTo>
                    <a:pt x="233" y="292"/>
                  </a:lnTo>
                  <a:lnTo>
                    <a:pt x="234" y="294"/>
                  </a:lnTo>
                  <a:lnTo>
                    <a:pt x="233" y="294"/>
                  </a:lnTo>
                  <a:lnTo>
                    <a:pt x="232" y="294"/>
                  </a:lnTo>
                  <a:lnTo>
                    <a:pt x="230" y="295"/>
                  </a:lnTo>
                  <a:lnTo>
                    <a:pt x="230" y="294"/>
                  </a:lnTo>
                  <a:lnTo>
                    <a:pt x="229" y="294"/>
                  </a:lnTo>
                  <a:lnTo>
                    <a:pt x="229" y="295"/>
                  </a:lnTo>
                  <a:lnTo>
                    <a:pt x="228" y="294"/>
                  </a:lnTo>
                  <a:lnTo>
                    <a:pt x="228" y="292"/>
                  </a:lnTo>
                  <a:lnTo>
                    <a:pt x="229" y="291"/>
                  </a:lnTo>
                  <a:lnTo>
                    <a:pt x="230" y="291"/>
                  </a:lnTo>
                  <a:lnTo>
                    <a:pt x="230" y="290"/>
                  </a:lnTo>
                  <a:lnTo>
                    <a:pt x="229" y="291"/>
                  </a:lnTo>
                  <a:lnTo>
                    <a:pt x="228" y="290"/>
                  </a:lnTo>
                  <a:lnTo>
                    <a:pt x="227" y="289"/>
                  </a:lnTo>
                  <a:lnTo>
                    <a:pt x="226" y="288"/>
                  </a:lnTo>
                  <a:lnTo>
                    <a:pt x="227" y="288"/>
                  </a:lnTo>
                  <a:lnTo>
                    <a:pt x="227" y="286"/>
                  </a:lnTo>
                  <a:lnTo>
                    <a:pt x="228" y="286"/>
                  </a:lnTo>
                  <a:lnTo>
                    <a:pt x="228" y="288"/>
                  </a:lnTo>
                  <a:lnTo>
                    <a:pt x="230" y="288"/>
                  </a:lnTo>
                  <a:lnTo>
                    <a:pt x="230" y="286"/>
                  </a:lnTo>
                  <a:lnTo>
                    <a:pt x="230" y="285"/>
                  </a:lnTo>
                  <a:lnTo>
                    <a:pt x="232" y="285"/>
                  </a:lnTo>
                  <a:lnTo>
                    <a:pt x="233" y="285"/>
                  </a:lnTo>
                  <a:lnTo>
                    <a:pt x="232" y="284"/>
                  </a:lnTo>
                  <a:lnTo>
                    <a:pt x="232" y="283"/>
                  </a:lnTo>
                  <a:lnTo>
                    <a:pt x="232" y="282"/>
                  </a:lnTo>
                  <a:lnTo>
                    <a:pt x="233" y="282"/>
                  </a:lnTo>
                  <a:lnTo>
                    <a:pt x="233" y="280"/>
                  </a:lnTo>
                  <a:lnTo>
                    <a:pt x="234" y="279"/>
                  </a:lnTo>
                  <a:lnTo>
                    <a:pt x="233" y="279"/>
                  </a:lnTo>
                  <a:lnTo>
                    <a:pt x="233" y="278"/>
                  </a:lnTo>
                  <a:lnTo>
                    <a:pt x="232" y="278"/>
                  </a:lnTo>
                  <a:lnTo>
                    <a:pt x="229" y="277"/>
                  </a:lnTo>
                  <a:lnTo>
                    <a:pt x="230" y="276"/>
                  </a:lnTo>
                  <a:lnTo>
                    <a:pt x="232" y="276"/>
                  </a:lnTo>
                  <a:lnTo>
                    <a:pt x="232" y="274"/>
                  </a:lnTo>
                  <a:lnTo>
                    <a:pt x="232" y="273"/>
                  </a:lnTo>
                  <a:lnTo>
                    <a:pt x="232" y="272"/>
                  </a:lnTo>
                  <a:lnTo>
                    <a:pt x="233" y="272"/>
                  </a:lnTo>
                  <a:lnTo>
                    <a:pt x="232" y="271"/>
                  </a:lnTo>
                  <a:lnTo>
                    <a:pt x="232" y="270"/>
                  </a:lnTo>
                  <a:lnTo>
                    <a:pt x="230" y="268"/>
                  </a:lnTo>
                  <a:lnTo>
                    <a:pt x="232" y="267"/>
                  </a:lnTo>
                  <a:lnTo>
                    <a:pt x="229" y="267"/>
                  </a:lnTo>
                  <a:lnTo>
                    <a:pt x="229" y="268"/>
                  </a:lnTo>
                  <a:lnTo>
                    <a:pt x="228" y="267"/>
                  </a:lnTo>
                  <a:lnTo>
                    <a:pt x="228" y="266"/>
                  </a:lnTo>
                  <a:lnTo>
                    <a:pt x="227" y="266"/>
                  </a:lnTo>
                  <a:lnTo>
                    <a:pt x="221" y="265"/>
                  </a:lnTo>
                  <a:lnTo>
                    <a:pt x="220" y="265"/>
                  </a:lnTo>
                  <a:lnTo>
                    <a:pt x="218" y="265"/>
                  </a:lnTo>
                  <a:lnTo>
                    <a:pt x="217" y="265"/>
                  </a:lnTo>
                  <a:lnTo>
                    <a:pt x="215" y="265"/>
                  </a:lnTo>
                  <a:lnTo>
                    <a:pt x="216" y="266"/>
                  </a:lnTo>
                  <a:lnTo>
                    <a:pt x="215" y="266"/>
                  </a:lnTo>
                  <a:lnTo>
                    <a:pt x="214" y="266"/>
                  </a:lnTo>
                  <a:lnTo>
                    <a:pt x="212" y="266"/>
                  </a:lnTo>
                  <a:lnTo>
                    <a:pt x="212" y="267"/>
                  </a:lnTo>
                  <a:lnTo>
                    <a:pt x="211" y="267"/>
                  </a:lnTo>
                  <a:lnTo>
                    <a:pt x="210" y="267"/>
                  </a:lnTo>
                  <a:lnTo>
                    <a:pt x="208" y="267"/>
                  </a:lnTo>
                  <a:lnTo>
                    <a:pt x="208" y="268"/>
                  </a:lnTo>
                  <a:lnTo>
                    <a:pt x="206" y="268"/>
                  </a:lnTo>
                  <a:lnTo>
                    <a:pt x="206" y="271"/>
                  </a:lnTo>
                  <a:lnTo>
                    <a:pt x="204" y="271"/>
                  </a:lnTo>
                  <a:lnTo>
                    <a:pt x="204" y="272"/>
                  </a:lnTo>
                  <a:lnTo>
                    <a:pt x="204" y="271"/>
                  </a:lnTo>
                  <a:lnTo>
                    <a:pt x="203" y="271"/>
                  </a:lnTo>
                  <a:lnTo>
                    <a:pt x="202" y="270"/>
                  </a:lnTo>
                  <a:lnTo>
                    <a:pt x="200" y="268"/>
                  </a:lnTo>
                  <a:lnTo>
                    <a:pt x="199" y="268"/>
                  </a:lnTo>
                  <a:lnTo>
                    <a:pt x="197" y="270"/>
                  </a:lnTo>
                  <a:lnTo>
                    <a:pt x="194" y="271"/>
                  </a:lnTo>
                  <a:lnTo>
                    <a:pt x="197" y="270"/>
                  </a:lnTo>
                  <a:lnTo>
                    <a:pt x="199" y="271"/>
                  </a:lnTo>
                  <a:lnTo>
                    <a:pt x="199" y="272"/>
                  </a:lnTo>
                  <a:lnTo>
                    <a:pt x="198" y="272"/>
                  </a:lnTo>
                  <a:lnTo>
                    <a:pt x="198" y="273"/>
                  </a:lnTo>
                  <a:lnTo>
                    <a:pt x="199" y="276"/>
                  </a:lnTo>
                  <a:lnTo>
                    <a:pt x="198" y="276"/>
                  </a:lnTo>
                  <a:lnTo>
                    <a:pt x="198" y="277"/>
                  </a:lnTo>
                  <a:lnTo>
                    <a:pt x="199" y="277"/>
                  </a:lnTo>
                  <a:lnTo>
                    <a:pt x="199" y="278"/>
                  </a:lnTo>
                  <a:lnTo>
                    <a:pt x="198" y="279"/>
                  </a:lnTo>
                  <a:lnTo>
                    <a:pt x="199" y="280"/>
                  </a:lnTo>
                  <a:lnTo>
                    <a:pt x="198" y="282"/>
                  </a:lnTo>
                  <a:lnTo>
                    <a:pt x="197" y="280"/>
                  </a:lnTo>
                  <a:lnTo>
                    <a:pt x="196" y="280"/>
                  </a:lnTo>
                  <a:lnTo>
                    <a:pt x="196" y="282"/>
                  </a:lnTo>
                  <a:lnTo>
                    <a:pt x="198" y="282"/>
                  </a:lnTo>
                  <a:lnTo>
                    <a:pt x="198" y="283"/>
                  </a:lnTo>
                  <a:lnTo>
                    <a:pt x="197" y="283"/>
                  </a:lnTo>
                  <a:lnTo>
                    <a:pt x="196" y="284"/>
                  </a:lnTo>
                  <a:lnTo>
                    <a:pt x="196" y="283"/>
                  </a:lnTo>
                  <a:lnTo>
                    <a:pt x="196" y="284"/>
                  </a:lnTo>
                  <a:lnTo>
                    <a:pt x="194" y="284"/>
                  </a:lnTo>
                  <a:lnTo>
                    <a:pt x="196" y="285"/>
                  </a:lnTo>
                  <a:lnTo>
                    <a:pt x="196" y="286"/>
                  </a:lnTo>
                  <a:lnTo>
                    <a:pt x="194" y="286"/>
                  </a:lnTo>
                  <a:lnTo>
                    <a:pt x="193" y="284"/>
                  </a:lnTo>
                  <a:lnTo>
                    <a:pt x="193" y="285"/>
                  </a:lnTo>
                  <a:lnTo>
                    <a:pt x="192" y="285"/>
                  </a:lnTo>
                  <a:lnTo>
                    <a:pt x="192" y="284"/>
                  </a:lnTo>
                  <a:lnTo>
                    <a:pt x="191" y="283"/>
                  </a:lnTo>
                  <a:lnTo>
                    <a:pt x="192" y="283"/>
                  </a:lnTo>
                  <a:lnTo>
                    <a:pt x="193" y="284"/>
                  </a:lnTo>
                  <a:lnTo>
                    <a:pt x="192" y="283"/>
                  </a:lnTo>
                  <a:lnTo>
                    <a:pt x="192" y="282"/>
                  </a:lnTo>
                  <a:lnTo>
                    <a:pt x="191" y="283"/>
                  </a:lnTo>
                  <a:lnTo>
                    <a:pt x="192" y="282"/>
                  </a:lnTo>
                  <a:lnTo>
                    <a:pt x="192" y="280"/>
                  </a:lnTo>
                  <a:lnTo>
                    <a:pt x="191" y="282"/>
                  </a:lnTo>
                  <a:lnTo>
                    <a:pt x="189" y="282"/>
                  </a:lnTo>
                  <a:lnTo>
                    <a:pt x="188" y="283"/>
                  </a:lnTo>
                  <a:lnTo>
                    <a:pt x="187" y="284"/>
                  </a:lnTo>
                  <a:lnTo>
                    <a:pt x="186" y="288"/>
                  </a:lnTo>
                  <a:lnTo>
                    <a:pt x="185" y="290"/>
                  </a:lnTo>
                  <a:lnTo>
                    <a:pt x="187" y="291"/>
                  </a:lnTo>
                  <a:lnTo>
                    <a:pt x="191" y="291"/>
                  </a:lnTo>
                  <a:lnTo>
                    <a:pt x="192" y="290"/>
                  </a:lnTo>
                  <a:lnTo>
                    <a:pt x="194" y="290"/>
                  </a:lnTo>
                  <a:lnTo>
                    <a:pt x="196" y="290"/>
                  </a:lnTo>
                  <a:lnTo>
                    <a:pt x="198" y="289"/>
                  </a:lnTo>
                  <a:lnTo>
                    <a:pt x="202" y="289"/>
                  </a:lnTo>
                  <a:lnTo>
                    <a:pt x="210" y="288"/>
                  </a:lnTo>
                  <a:lnTo>
                    <a:pt x="215" y="288"/>
                  </a:lnTo>
                  <a:lnTo>
                    <a:pt x="216" y="286"/>
                  </a:lnTo>
                  <a:lnTo>
                    <a:pt x="216" y="285"/>
                  </a:lnTo>
                  <a:lnTo>
                    <a:pt x="216" y="286"/>
                  </a:lnTo>
                  <a:lnTo>
                    <a:pt x="218" y="286"/>
                  </a:lnTo>
                  <a:lnTo>
                    <a:pt x="218" y="288"/>
                  </a:lnTo>
                  <a:lnTo>
                    <a:pt x="217" y="289"/>
                  </a:lnTo>
                  <a:lnTo>
                    <a:pt x="215" y="289"/>
                  </a:lnTo>
                  <a:lnTo>
                    <a:pt x="214" y="290"/>
                  </a:lnTo>
                  <a:lnTo>
                    <a:pt x="209" y="290"/>
                  </a:lnTo>
                  <a:lnTo>
                    <a:pt x="205" y="290"/>
                  </a:lnTo>
                  <a:lnTo>
                    <a:pt x="203" y="290"/>
                  </a:lnTo>
                  <a:lnTo>
                    <a:pt x="200" y="291"/>
                  </a:lnTo>
                  <a:lnTo>
                    <a:pt x="199" y="291"/>
                  </a:lnTo>
                  <a:lnTo>
                    <a:pt x="197" y="292"/>
                  </a:lnTo>
                  <a:lnTo>
                    <a:pt x="194" y="294"/>
                  </a:lnTo>
                  <a:lnTo>
                    <a:pt x="191" y="294"/>
                  </a:lnTo>
                  <a:lnTo>
                    <a:pt x="188" y="295"/>
                  </a:lnTo>
                  <a:lnTo>
                    <a:pt x="186" y="296"/>
                  </a:lnTo>
                  <a:lnTo>
                    <a:pt x="186" y="298"/>
                  </a:lnTo>
                  <a:lnTo>
                    <a:pt x="186" y="300"/>
                  </a:lnTo>
                  <a:lnTo>
                    <a:pt x="187" y="301"/>
                  </a:lnTo>
                  <a:lnTo>
                    <a:pt x="187" y="304"/>
                  </a:lnTo>
                  <a:lnTo>
                    <a:pt x="186" y="306"/>
                  </a:lnTo>
                  <a:lnTo>
                    <a:pt x="185" y="309"/>
                  </a:lnTo>
                  <a:lnTo>
                    <a:pt x="185" y="313"/>
                  </a:lnTo>
                  <a:lnTo>
                    <a:pt x="185" y="315"/>
                  </a:lnTo>
                  <a:lnTo>
                    <a:pt x="185" y="321"/>
                  </a:lnTo>
                  <a:lnTo>
                    <a:pt x="185" y="324"/>
                  </a:lnTo>
                  <a:lnTo>
                    <a:pt x="186" y="336"/>
                  </a:lnTo>
                  <a:lnTo>
                    <a:pt x="186" y="340"/>
                  </a:lnTo>
                  <a:lnTo>
                    <a:pt x="185" y="343"/>
                  </a:lnTo>
                  <a:lnTo>
                    <a:pt x="185" y="345"/>
                  </a:lnTo>
                  <a:lnTo>
                    <a:pt x="185" y="346"/>
                  </a:lnTo>
                  <a:lnTo>
                    <a:pt x="183" y="348"/>
                  </a:lnTo>
                  <a:lnTo>
                    <a:pt x="182" y="348"/>
                  </a:lnTo>
                  <a:lnTo>
                    <a:pt x="179" y="349"/>
                  </a:lnTo>
                  <a:lnTo>
                    <a:pt x="175" y="348"/>
                  </a:lnTo>
                  <a:lnTo>
                    <a:pt x="171" y="348"/>
                  </a:lnTo>
                  <a:lnTo>
                    <a:pt x="170" y="345"/>
                  </a:lnTo>
                  <a:lnTo>
                    <a:pt x="170" y="342"/>
                  </a:lnTo>
                  <a:lnTo>
                    <a:pt x="171" y="338"/>
                  </a:lnTo>
                  <a:lnTo>
                    <a:pt x="171" y="336"/>
                  </a:lnTo>
                  <a:lnTo>
                    <a:pt x="171" y="328"/>
                  </a:lnTo>
                  <a:lnTo>
                    <a:pt x="171" y="327"/>
                  </a:lnTo>
                  <a:lnTo>
                    <a:pt x="171" y="325"/>
                  </a:lnTo>
                  <a:lnTo>
                    <a:pt x="171" y="320"/>
                  </a:lnTo>
                  <a:lnTo>
                    <a:pt x="173" y="318"/>
                  </a:lnTo>
                  <a:lnTo>
                    <a:pt x="173" y="310"/>
                  </a:lnTo>
                  <a:lnTo>
                    <a:pt x="173" y="304"/>
                  </a:lnTo>
                  <a:lnTo>
                    <a:pt x="171" y="301"/>
                  </a:lnTo>
                  <a:lnTo>
                    <a:pt x="168" y="300"/>
                  </a:lnTo>
                  <a:lnTo>
                    <a:pt x="163" y="297"/>
                  </a:lnTo>
                  <a:lnTo>
                    <a:pt x="159" y="295"/>
                  </a:lnTo>
                  <a:lnTo>
                    <a:pt x="157" y="294"/>
                  </a:lnTo>
                  <a:lnTo>
                    <a:pt x="155" y="292"/>
                  </a:lnTo>
                  <a:lnTo>
                    <a:pt x="151" y="292"/>
                  </a:lnTo>
                  <a:lnTo>
                    <a:pt x="149" y="292"/>
                  </a:lnTo>
                  <a:lnTo>
                    <a:pt x="147" y="292"/>
                  </a:lnTo>
                  <a:lnTo>
                    <a:pt x="144" y="291"/>
                  </a:lnTo>
                  <a:lnTo>
                    <a:pt x="140" y="291"/>
                  </a:lnTo>
                  <a:lnTo>
                    <a:pt x="137" y="291"/>
                  </a:lnTo>
                  <a:lnTo>
                    <a:pt x="135" y="291"/>
                  </a:lnTo>
                  <a:lnTo>
                    <a:pt x="134" y="291"/>
                  </a:lnTo>
                  <a:lnTo>
                    <a:pt x="133" y="291"/>
                  </a:lnTo>
                  <a:lnTo>
                    <a:pt x="132" y="292"/>
                  </a:lnTo>
                  <a:lnTo>
                    <a:pt x="131" y="292"/>
                  </a:lnTo>
                  <a:lnTo>
                    <a:pt x="129" y="294"/>
                  </a:lnTo>
                  <a:lnTo>
                    <a:pt x="128" y="295"/>
                  </a:lnTo>
                  <a:lnTo>
                    <a:pt x="126" y="294"/>
                  </a:lnTo>
                  <a:lnTo>
                    <a:pt x="128" y="292"/>
                  </a:lnTo>
                  <a:lnTo>
                    <a:pt x="132" y="290"/>
                  </a:lnTo>
                  <a:lnTo>
                    <a:pt x="133" y="288"/>
                  </a:lnTo>
                  <a:lnTo>
                    <a:pt x="135" y="286"/>
                  </a:lnTo>
                  <a:lnTo>
                    <a:pt x="134" y="284"/>
                  </a:lnTo>
                  <a:lnTo>
                    <a:pt x="132" y="285"/>
                  </a:lnTo>
                  <a:lnTo>
                    <a:pt x="128" y="285"/>
                  </a:lnTo>
                  <a:lnTo>
                    <a:pt x="126" y="285"/>
                  </a:lnTo>
                  <a:lnTo>
                    <a:pt x="124" y="285"/>
                  </a:lnTo>
                  <a:lnTo>
                    <a:pt x="118" y="285"/>
                  </a:lnTo>
                  <a:lnTo>
                    <a:pt x="115" y="285"/>
                  </a:lnTo>
                  <a:lnTo>
                    <a:pt x="112" y="285"/>
                  </a:lnTo>
                  <a:lnTo>
                    <a:pt x="111" y="286"/>
                  </a:lnTo>
                  <a:lnTo>
                    <a:pt x="110" y="286"/>
                  </a:lnTo>
                  <a:lnTo>
                    <a:pt x="109" y="286"/>
                  </a:lnTo>
                  <a:lnTo>
                    <a:pt x="108" y="285"/>
                  </a:lnTo>
                  <a:lnTo>
                    <a:pt x="108" y="288"/>
                  </a:lnTo>
                  <a:lnTo>
                    <a:pt x="108" y="289"/>
                  </a:lnTo>
                  <a:lnTo>
                    <a:pt x="106" y="289"/>
                  </a:lnTo>
                  <a:lnTo>
                    <a:pt x="104" y="290"/>
                  </a:lnTo>
                  <a:lnTo>
                    <a:pt x="103" y="289"/>
                  </a:lnTo>
                  <a:lnTo>
                    <a:pt x="103" y="291"/>
                  </a:lnTo>
                  <a:lnTo>
                    <a:pt x="103" y="292"/>
                  </a:lnTo>
                  <a:lnTo>
                    <a:pt x="102" y="292"/>
                  </a:lnTo>
                  <a:lnTo>
                    <a:pt x="100" y="294"/>
                  </a:lnTo>
                  <a:lnTo>
                    <a:pt x="98" y="294"/>
                  </a:lnTo>
                  <a:lnTo>
                    <a:pt x="98" y="295"/>
                  </a:lnTo>
                  <a:lnTo>
                    <a:pt x="97" y="294"/>
                  </a:lnTo>
                  <a:lnTo>
                    <a:pt x="96" y="295"/>
                  </a:lnTo>
                  <a:lnTo>
                    <a:pt x="96" y="292"/>
                  </a:lnTo>
                  <a:lnTo>
                    <a:pt x="94" y="294"/>
                  </a:lnTo>
                  <a:lnTo>
                    <a:pt x="93" y="292"/>
                  </a:lnTo>
                  <a:lnTo>
                    <a:pt x="92" y="292"/>
                  </a:lnTo>
                  <a:lnTo>
                    <a:pt x="91" y="292"/>
                  </a:lnTo>
                  <a:lnTo>
                    <a:pt x="90" y="294"/>
                  </a:lnTo>
                  <a:lnTo>
                    <a:pt x="90" y="295"/>
                  </a:lnTo>
                  <a:lnTo>
                    <a:pt x="88" y="296"/>
                  </a:lnTo>
                  <a:lnTo>
                    <a:pt x="88" y="297"/>
                  </a:lnTo>
                  <a:lnTo>
                    <a:pt x="87" y="297"/>
                  </a:lnTo>
                  <a:lnTo>
                    <a:pt x="86" y="298"/>
                  </a:lnTo>
                  <a:lnTo>
                    <a:pt x="85" y="298"/>
                  </a:lnTo>
                  <a:lnTo>
                    <a:pt x="84" y="297"/>
                  </a:lnTo>
                  <a:lnTo>
                    <a:pt x="82" y="297"/>
                  </a:lnTo>
                  <a:lnTo>
                    <a:pt x="82" y="296"/>
                  </a:lnTo>
                  <a:lnTo>
                    <a:pt x="82" y="297"/>
                  </a:lnTo>
                  <a:lnTo>
                    <a:pt x="80" y="297"/>
                  </a:lnTo>
                  <a:lnTo>
                    <a:pt x="79" y="297"/>
                  </a:lnTo>
                  <a:lnTo>
                    <a:pt x="79" y="296"/>
                  </a:lnTo>
                  <a:lnTo>
                    <a:pt x="79" y="295"/>
                  </a:lnTo>
                  <a:lnTo>
                    <a:pt x="79" y="296"/>
                  </a:lnTo>
                  <a:lnTo>
                    <a:pt x="78" y="295"/>
                  </a:lnTo>
                  <a:lnTo>
                    <a:pt x="76" y="295"/>
                  </a:lnTo>
                  <a:lnTo>
                    <a:pt x="75" y="296"/>
                  </a:lnTo>
                  <a:lnTo>
                    <a:pt x="74" y="296"/>
                  </a:lnTo>
                  <a:lnTo>
                    <a:pt x="72" y="296"/>
                  </a:lnTo>
                  <a:lnTo>
                    <a:pt x="74" y="295"/>
                  </a:lnTo>
                  <a:lnTo>
                    <a:pt x="73" y="294"/>
                  </a:lnTo>
                  <a:lnTo>
                    <a:pt x="72" y="294"/>
                  </a:lnTo>
                  <a:lnTo>
                    <a:pt x="72" y="292"/>
                  </a:lnTo>
                  <a:lnTo>
                    <a:pt x="70" y="291"/>
                  </a:lnTo>
                  <a:lnTo>
                    <a:pt x="72" y="290"/>
                  </a:lnTo>
                  <a:lnTo>
                    <a:pt x="72" y="291"/>
                  </a:lnTo>
                  <a:lnTo>
                    <a:pt x="73" y="292"/>
                  </a:lnTo>
                  <a:lnTo>
                    <a:pt x="74" y="292"/>
                  </a:lnTo>
                  <a:lnTo>
                    <a:pt x="75" y="292"/>
                  </a:lnTo>
                  <a:lnTo>
                    <a:pt x="76" y="294"/>
                  </a:lnTo>
                  <a:lnTo>
                    <a:pt x="78" y="292"/>
                  </a:lnTo>
                  <a:lnTo>
                    <a:pt x="76" y="292"/>
                  </a:lnTo>
                  <a:lnTo>
                    <a:pt x="76" y="291"/>
                  </a:lnTo>
                  <a:lnTo>
                    <a:pt x="76" y="290"/>
                  </a:lnTo>
                  <a:lnTo>
                    <a:pt x="76" y="289"/>
                  </a:lnTo>
                  <a:lnTo>
                    <a:pt x="76" y="288"/>
                  </a:lnTo>
                  <a:lnTo>
                    <a:pt x="76" y="289"/>
                  </a:lnTo>
                  <a:lnTo>
                    <a:pt x="78" y="288"/>
                  </a:lnTo>
                  <a:lnTo>
                    <a:pt x="79" y="288"/>
                  </a:lnTo>
                  <a:lnTo>
                    <a:pt x="80" y="285"/>
                  </a:lnTo>
                  <a:lnTo>
                    <a:pt x="81" y="285"/>
                  </a:lnTo>
                  <a:lnTo>
                    <a:pt x="84" y="286"/>
                  </a:lnTo>
                  <a:lnTo>
                    <a:pt x="84" y="285"/>
                  </a:lnTo>
                  <a:lnTo>
                    <a:pt x="82" y="284"/>
                  </a:lnTo>
                  <a:lnTo>
                    <a:pt x="82" y="282"/>
                  </a:lnTo>
                  <a:lnTo>
                    <a:pt x="81" y="282"/>
                  </a:lnTo>
                  <a:lnTo>
                    <a:pt x="82" y="282"/>
                  </a:lnTo>
                  <a:lnTo>
                    <a:pt x="82" y="280"/>
                  </a:lnTo>
                  <a:lnTo>
                    <a:pt x="81" y="279"/>
                  </a:lnTo>
                  <a:lnTo>
                    <a:pt x="82" y="278"/>
                  </a:lnTo>
                  <a:lnTo>
                    <a:pt x="84" y="279"/>
                  </a:lnTo>
                  <a:lnTo>
                    <a:pt x="85" y="279"/>
                  </a:lnTo>
                  <a:lnTo>
                    <a:pt x="85" y="280"/>
                  </a:lnTo>
                  <a:lnTo>
                    <a:pt x="86" y="280"/>
                  </a:lnTo>
                  <a:lnTo>
                    <a:pt x="87" y="280"/>
                  </a:lnTo>
                  <a:lnTo>
                    <a:pt x="88" y="282"/>
                  </a:lnTo>
                  <a:lnTo>
                    <a:pt x="90" y="283"/>
                  </a:lnTo>
                  <a:lnTo>
                    <a:pt x="91" y="282"/>
                  </a:lnTo>
                  <a:lnTo>
                    <a:pt x="92" y="282"/>
                  </a:lnTo>
                  <a:lnTo>
                    <a:pt x="93" y="283"/>
                  </a:lnTo>
                  <a:lnTo>
                    <a:pt x="93" y="282"/>
                  </a:lnTo>
                  <a:lnTo>
                    <a:pt x="93" y="280"/>
                  </a:lnTo>
                  <a:lnTo>
                    <a:pt x="94" y="280"/>
                  </a:lnTo>
                  <a:lnTo>
                    <a:pt x="96" y="280"/>
                  </a:lnTo>
                  <a:lnTo>
                    <a:pt x="97" y="280"/>
                  </a:lnTo>
                  <a:lnTo>
                    <a:pt x="98" y="279"/>
                  </a:lnTo>
                  <a:lnTo>
                    <a:pt x="99" y="280"/>
                  </a:lnTo>
                  <a:lnTo>
                    <a:pt x="99" y="279"/>
                  </a:lnTo>
                  <a:lnTo>
                    <a:pt x="98" y="279"/>
                  </a:lnTo>
                  <a:lnTo>
                    <a:pt x="98" y="278"/>
                  </a:lnTo>
                  <a:lnTo>
                    <a:pt x="98" y="277"/>
                  </a:lnTo>
                  <a:lnTo>
                    <a:pt x="99" y="277"/>
                  </a:lnTo>
                  <a:lnTo>
                    <a:pt x="100" y="277"/>
                  </a:lnTo>
                  <a:lnTo>
                    <a:pt x="102" y="278"/>
                  </a:lnTo>
                  <a:lnTo>
                    <a:pt x="102" y="277"/>
                  </a:lnTo>
                  <a:lnTo>
                    <a:pt x="102" y="276"/>
                  </a:lnTo>
                  <a:lnTo>
                    <a:pt x="103" y="276"/>
                  </a:lnTo>
                  <a:lnTo>
                    <a:pt x="104" y="274"/>
                  </a:lnTo>
                  <a:lnTo>
                    <a:pt x="105" y="277"/>
                  </a:lnTo>
                  <a:lnTo>
                    <a:pt x="105" y="278"/>
                  </a:lnTo>
                  <a:lnTo>
                    <a:pt x="106" y="278"/>
                  </a:lnTo>
                  <a:lnTo>
                    <a:pt x="106" y="279"/>
                  </a:lnTo>
                  <a:lnTo>
                    <a:pt x="108" y="279"/>
                  </a:lnTo>
                  <a:lnTo>
                    <a:pt x="108" y="280"/>
                  </a:lnTo>
                  <a:lnTo>
                    <a:pt x="109" y="279"/>
                  </a:lnTo>
                  <a:lnTo>
                    <a:pt x="110" y="280"/>
                  </a:lnTo>
                  <a:lnTo>
                    <a:pt x="109" y="282"/>
                  </a:lnTo>
                  <a:lnTo>
                    <a:pt x="109" y="283"/>
                  </a:lnTo>
                  <a:lnTo>
                    <a:pt x="109" y="284"/>
                  </a:lnTo>
                  <a:lnTo>
                    <a:pt x="110" y="284"/>
                  </a:lnTo>
                  <a:lnTo>
                    <a:pt x="111" y="284"/>
                  </a:lnTo>
                  <a:lnTo>
                    <a:pt x="112" y="283"/>
                  </a:lnTo>
                  <a:lnTo>
                    <a:pt x="114" y="283"/>
                  </a:lnTo>
                  <a:lnTo>
                    <a:pt x="115" y="284"/>
                  </a:lnTo>
                  <a:lnTo>
                    <a:pt x="117" y="283"/>
                  </a:lnTo>
                  <a:lnTo>
                    <a:pt x="121" y="283"/>
                  </a:lnTo>
                  <a:lnTo>
                    <a:pt x="124" y="283"/>
                  </a:lnTo>
                  <a:lnTo>
                    <a:pt x="126" y="283"/>
                  </a:lnTo>
                  <a:lnTo>
                    <a:pt x="127" y="283"/>
                  </a:lnTo>
                  <a:lnTo>
                    <a:pt x="128" y="283"/>
                  </a:lnTo>
                  <a:lnTo>
                    <a:pt x="129" y="283"/>
                  </a:lnTo>
                  <a:lnTo>
                    <a:pt x="132" y="283"/>
                  </a:lnTo>
                  <a:lnTo>
                    <a:pt x="133" y="283"/>
                  </a:lnTo>
                  <a:lnTo>
                    <a:pt x="137" y="282"/>
                  </a:lnTo>
                  <a:lnTo>
                    <a:pt x="138" y="280"/>
                  </a:lnTo>
                  <a:lnTo>
                    <a:pt x="138" y="279"/>
                  </a:lnTo>
                  <a:lnTo>
                    <a:pt x="140" y="279"/>
                  </a:lnTo>
                  <a:lnTo>
                    <a:pt x="143" y="280"/>
                  </a:lnTo>
                  <a:lnTo>
                    <a:pt x="144" y="279"/>
                  </a:lnTo>
                  <a:lnTo>
                    <a:pt x="147" y="277"/>
                  </a:lnTo>
                  <a:lnTo>
                    <a:pt x="147" y="276"/>
                  </a:lnTo>
                  <a:lnTo>
                    <a:pt x="149" y="277"/>
                  </a:lnTo>
                  <a:lnTo>
                    <a:pt x="150" y="276"/>
                  </a:lnTo>
                  <a:lnTo>
                    <a:pt x="151" y="276"/>
                  </a:lnTo>
                  <a:lnTo>
                    <a:pt x="152" y="274"/>
                  </a:lnTo>
                  <a:lnTo>
                    <a:pt x="155" y="274"/>
                  </a:lnTo>
                  <a:lnTo>
                    <a:pt x="156" y="273"/>
                  </a:lnTo>
                  <a:lnTo>
                    <a:pt x="157" y="272"/>
                  </a:lnTo>
                  <a:lnTo>
                    <a:pt x="156" y="273"/>
                  </a:lnTo>
                  <a:lnTo>
                    <a:pt x="156" y="272"/>
                  </a:lnTo>
                  <a:lnTo>
                    <a:pt x="155" y="272"/>
                  </a:lnTo>
                  <a:lnTo>
                    <a:pt x="156" y="271"/>
                  </a:lnTo>
                  <a:lnTo>
                    <a:pt x="156" y="270"/>
                  </a:lnTo>
                  <a:lnTo>
                    <a:pt x="155" y="270"/>
                  </a:lnTo>
                  <a:lnTo>
                    <a:pt x="155" y="268"/>
                  </a:lnTo>
                  <a:lnTo>
                    <a:pt x="153" y="268"/>
                  </a:lnTo>
                  <a:lnTo>
                    <a:pt x="153" y="270"/>
                  </a:lnTo>
                  <a:lnTo>
                    <a:pt x="155" y="271"/>
                  </a:lnTo>
                  <a:lnTo>
                    <a:pt x="153" y="271"/>
                  </a:lnTo>
                  <a:lnTo>
                    <a:pt x="153" y="273"/>
                  </a:lnTo>
                  <a:lnTo>
                    <a:pt x="151" y="273"/>
                  </a:lnTo>
                  <a:lnTo>
                    <a:pt x="150" y="272"/>
                  </a:lnTo>
                  <a:lnTo>
                    <a:pt x="150" y="271"/>
                  </a:lnTo>
                  <a:lnTo>
                    <a:pt x="149" y="272"/>
                  </a:lnTo>
                  <a:lnTo>
                    <a:pt x="147" y="272"/>
                  </a:lnTo>
                  <a:lnTo>
                    <a:pt x="146" y="272"/>
                  </a:lnTo>
                  <a:lnTo>
                    <a:pt x="145" y="272"/>
                  </a:lnTo>
                  <a:lnTo>
                    <a:pt x="144" y="273"/>
                  </a:lnTo>
                  <a:lnTo>
                    <a:pt x="143" y="273"/>
                  </a:lnTo>
                  <a:lnTo>
                    <a:pt x="143" y="272"/>
                  </a:lnTo>
                  <a:lnTo>
                    <a:pt x="143" y="271"/>
                  </a:lnTo>
                  <a:lnTo>
                    <a:pt x="144" y="271"/>
                  </a:lnTo>
                  <a:lnTo>
                    <a:pt x="144" y="270"/>
                  </a:lnTo>
                  <a:lnTo>
                    <a:pt x="144" y="268"/>
                  </a:lnTo>
                  <a:lnTo>
                    <a:pt x="144" y="267"/>
                  </a:lnTo>
                  <a:lnTo>
                    <a:pt x="145" y="266"/>
                  </a:lnTo>
                  <a:lnTo>
                    <a:pt x="146" y="266"/>
                  </a:lnTo>
                  <a:lnTo>
                    <a:pt x="146" y="265"/>
                  </a:lnTo>
                  <a:lnTo>
                    <a:pt x="145" y="265"/>
                  </a:lnTo>
                  <a:lnTo>
                    <a:pt x="144" y="265"/>
                  </a:lnTo>
                  <a:lnTo>
                    <a:pt x="143" y="265"/>
                  </a:lnTo>
                  <a:lnTo>
                    <a:pt x="141" y="265"/>
                  </a:lnTo>
                  <a:lnTo>
                    <a:pt x="141" y="264"/>
                  </a:lnTo>
                  <a:lnTo>
                    <a:pt x="141" y="262"/>
                  </a:lnTo>
                  <a:lnTo>
                    <a:pt x="140" y="262"/>
                  </a:lnTo>
                  <a:lnTo>
                    <a:pt x="140" y="264"/>
                  </a:lnTo>
                  <a:lnTo>
                    <a:pt x="139" y="262"/>
                  </a:lnTo>
                  <a:lnTo>
                    <a:pt x="138" y="264"/>
                  </a:lnTo>
                  <a:lnTo>
                    <a:pt x="137" y="264"/>
                  </a:lnTo>
                  <a:lnTo>
                    <a:pt x="137" y="265"/>
                  </a:lnTo>
                  <a:lnTo>
                    <a:pt x="135" y="265"/>
                  </a:lnTo>
                  <a:lnTo>
                    <a:pt x="133" y="267"/>
                  </a:lnTo>
                  <a:lnTo>
                    <a:pt x="133" y="268"/>
                  </a:lnTo>
                  <a:lnTo>
                    <a:pt x="132" y="270"/>
                  </a:lnTo>
                  <a:lnTo>
                    <a:pt x="133" y="270"/>
                  </a:lnTo>
                  <a:lnTo>
                    <a:pt x="133" y="271"/>
                  </a:lnTo>
                  <a:lnTo>
                    <a:pt x="134" y="271"/>
                  </a:lnTo>
                  <a:lnTo>
                    <a:pt x="134" y="272"/>
                  </a:lnTo>
                  <a:lnTo>
                    <a:pt x="133" y="273"/>
                  </a:lnTo>
                  <a:lnTo>
                    <a:pt x="134" y="273"/>
                  </a:lnTo>
                  <a:lnTo>
                    <a:pt x="134" y="274"/>
                  </a:lnTo>
                  <a:lnTo>
                    <a:pt x="133" y="274"/>
                  </a:lnTo>
                  <a:lnTo>
                    <a:pt x="131" y="276"/>
                  </a:lnTo>
                  <a:lnTo>
                    <a:pt x="129" y="276"/>
                  </a:lnTo>
                  <a:lnTo>
                    <a:pt x="131" y="274"/>
                  </a:lnTo>
                  <a:lnTo>
                    <a:pt x="131" y="273"/>
                  </a:lnTo>
                  <a:lnTo>
                    <a:pt x="129" y="273"/>
                  </a:lnTo>
                  <a:lnTo>
                    <a:pt x="129" y="276"/>
                  </a:lnTo>
                  <a:lnTo>
                    <a:pt x="128" y="276"/>
                  </a:lnTo>
                  <a:lnTo>
                    <a:pt x="127" y="274"/>
                  </a:lnTo>
                  <a:lnTo>
                    <a:pt x="127" y="276"/>
                  </a:lnTo>
                  <a:lnTo>
                    <a:pt x="126" y="276"/>
                  </a:lnTo>
                  <a:lnTo>
                    <a:pt x="124" y="276"/>
                  </a:lnTo>
                  <a:lnTo>
                    <a:pt x="123" y="274"/>
                  </a:lnTo>
                  <a:lnTo>
                    <a:pt x="124" y="272"/>
                  </a:lnTo>
                  <a:lnTo>
                    <a:pt x="126" y="271"/>
                  </a:lnTo>
                  <a:lnTo>
                    <a:pt x="123" y="272"/>
                  </a:lnTo>
                  <a:lnTo>
                    <a:pt x="122" y="272"/>
                  </a:lnTo>
                  <a:lnTo>
                    <a:pt x="121" y="272"/>
                  </a:lnTo>
                  <a:lnTo>
                    <a:pt x="121" y="271"/>
                  </a:lnTo>
                  <a:lnTo>
                    <a:pt x="120" y="270"/>
                  </a:lnTo>
                  <a:lnTo>
                    <a:pt x="120" y="267"/>
                  </a:lnTo>
                  <a:lnTo>
                    <a:pt x="120" y="266"/>
                  </a:lnTo>
                  <a:lnTo>
                    <a:pt x="118" y="265"/>
                  </a:lnTo>
                  <a:lnTo>
                    <a:pt x="118" y="262"/>
                  </a:lnTo>
                  <a:lnTo>
                    <a:pt x="120" y="262"/>
                  </a:lnTo>
                  <a:lnTo>
                    <a:pt x="120" y="261"/>
                  </a:lnTo>
                  <a:lnTo>
                    <a:pt x="121" y="261"/>
                  </a:lnTo>
                  <a:lnTo>
                    <a:pt x="123" y="261"/>
                  </a:lnTo>
                  <a:lnTo>
                    <a:pt x="122" y="260"/>
                  </a:lnTo>
                  <a:lnTo>
                    <a:pt x="121" y="260"/>
                  </a:lnTo>
                  <a:lnTo>
                    <a:pt x="118" y="260"/>
                  </a:lnTo>
                  <a:lnTo>
                    <a:pt x="117" y="261"/>
                  </a:lnTo>
                  <a:lnTo>
                    <a:pt x="118" y="262"/>
                  </a:lnTo>
                  <a:lnTo>
                    <a:pt x="117" y="264"/>
                  </a:lnTo>
                  <a:lnTo>
                    <a:pt x="116" y="264"/>
                  </a:lnTo>
                  <a:lnTo>
                    <a:pt x="116" y="265"/>
                  </a:lnTo>
                  <a:lnTo>
                    <a:pt x="116" y="262"/>
                  </a:lnTo>
                  <a:lnTo>
                    <a:pt x="115" y="262"/>
                  </a:lnTo>
                  <a:lnTo>
                    <a:pt x="115" y="264"/>
                  </a:lnTo>
                  <a:lnTo>
                    <a:pt x="112" y="264"/>
                  </a:lnTo>
                  <a:lnTo>
                    <a:pt x="111" y="264"/>
                  </a:lnTo>
                  <a:lnTo>
                    <a:pt x="110" y="265"/>
                  </a:lnTo>
                  <a:lnTo>
                    <a:pt x="109" y="265"/>
                  </a:lnTo>
                  <a:lnTo>
                    <a:pt x="109" y="266"/>
                  </a:lnTo>
                  <a:lnTo>
                    <a:pt x="109" y="265"/>
                  </a:lnTo>
                  <a:lnTo>
                    <a:pt x="108" y="266"/>
                  </a:lnTo>
                  <a:lnTo>
                    <a:pt x="106" y="265"/>
                  </a:lnTo>
                  <a:lnTo>
                    <a:pt x="105" y="265"/>
                  </a:lnTo>
                  <a:lnTo>
                    <a:pt x="104" y="262"/>
                  </a:lnTo>
                  <a:lnTo>
                    <a:pt x="103" y="262"/>
                  </a:lnTo>
                  <a:lnTo>
                    <a:pt x="102" y="262"/>
                  </a:lnTo>
                  <a:lnTo>
                    <a:pt x="100" y="262"/>
                  </a:lnTo>
                  <a:lnTo>
                    <a:pt x="99" y="264"/>
                  </a:lnTo>
                  <a:lnTo>
                    <a:pt x="98" y="262"/>
                  </a:lnTo>
                  <a:lnTo>
                    <a:pt x="97" y="261"/>
                  </a:lnTo>
                  <a:lnTo>
                    <a:pt x="96" y="262"/>
                  </a:lnTo>
                  <a:lnTo>
                    <a:pt x="94" y="262"/>
                  </a:lnTo>
                  <a:lnTo>
                    <a:pt x="93" y="262"/>
                  </a:lnTo>
                  <a:lnTo>
                    <a:pt x="92" y="262"/>
                  </a:lnTo>
                  <a:lnTo>
                    <a:pt x="91" y="262"/>
                  </a:lnTo>
                  <a:lnTo>
                    <a:pt x="90" y="262"/>
                  </a:lnTo>
                  <a:lnTo>
                    <a:pt x="88" y="262"/>
                  </a:lnTo>
                  <a:lnTo>
                    <a:pt x="88" y="264"/>
                  </a:lnTo>
                  <a:lnTo>
                    <a:pt x="90" y="264"/>
                  </a:lnTo>
                  <a:lnTo>
                    <a:pt x="91" y="264"/>
                  </a:lnTo>
                  <a:lnTo>
                    <a:pt x="92" y="264"/>
                  </a:lnTo>
                  <a:lnTo>
                    <a:pt x="92" y="262"/>
                  </a:lnTo>
                  <a:lnTo>
                    <a:pt x="93" y="262"/>
                  </a:lnTo>
                  <a:lnTo>
                    <a:pt x="93" y="264"/>
                  </a:lnTo>
                  <a:lnTo>
                    <a:pt x="94" y="264"/>
                  </a:lnTo>
                  <a:lnTo>
                    <a:pt x="96" y="264"/>
                  </a:lnTo>
                  <a:lnTo>
                    <a:pt x="97" y="265"/>
                  </a:lnTo>
                  <a:lnTo>
                    <a:pt x="98" y="264"/>
                  </a:lnTo>
                  <a:lnTo>
                    <a:pt x="99" y="264"/>
                  </a:lnTo>
                  <a:lnTo>
                    <a:pt x="98" y="265"/>
                  </a:lnTo>
                  <a:lnTo>
                    <a:pt x="98" y="266"/>
                  </a:lnTo>
                  <a:lnTo>
                    <a:pt x="97" y="266"/>
                  </a:lnTo>
                  <a:lnTo>
                    <a:pt x="97" y="267"/>
                  </a:lnTo>
                  <a:lnTo>
                    <a:pt x="96" y="267"/>
                  </a:lnTo>
                  <a:lnTo>
                    <a:pt x="94" y="267"/>
                  </a:lnTo>
                  <a:lnTo>
                    <a:pt x="93" y="268"/>
                  </a:lnTo>
                  <a:lnTo>
                    <a:pt x="92" y="271"/>
                  </a:lnTo>
                  <a:lnTo>
                    <a:pt x="90" y="271"/>
                  </a:lnTo>
                  <a:lnTo>
                    <a:pt x="90" y="270"/>
                  </a:lnTo>
                  <a:lnTo>
                    <a:pt x="88" y="268"/>
                  </a:lnTo>
                  <a:lnTo>
                    <a:pt x="88" y="267"/>
                  </a:lnTo>
                  <a:lnTo>
                    <a:pt x="87" y="267"/>
                  </a:lnTo>
                  <a:lnTo>
                    <a:pt x="88" y="270"/>
                  </a:lnTo>
                  <a:lnTo>
                    <a:pt x="87" y="270"/>
                  </a:lnTo>
                  <a:lnTo>
                    <a:pt x="88" y="270"/>
                  </a:lnTo>
                  <a:lnTo>
                    <a:pt x="87" y="271"/>
                  </a:lnTo>
                  <a:lnTo>
                    <a:pt x="88" y="271"/>
                  </a:lnTo>
                  <a:lnTo>
                    <a:pt x="87" y="271"/>
                  </a:lnTo>
                  <a:lnTo>
                    <a:pt x="87" y="272"/>
                  </a:lnTo>
                  <a:lnTo>
                    <a:pt x="86" y="272"/>
                  </a:lnTo>
                  <a:lnTo>
                    <a:pt x="87" y="273"/>
                  </a:lnTo>
                  <a:lnTo>
                    <a:pt x="86" y="274"/>
                  </a:lnTo>
                  <a:lnTo>
                    <a:pt x="87" y="274"/>
                  </a:lnTo>
                  <a:lnTo>
                    <a:pt x="88" y="274"/>
                  </a:lnTo>
                  <a:lnTo>
                    <a:pt x="88" y="277"/>
                  </a:lnTo>
                  <a:lnTo>
                    <a:pt x="88" y="278"/>
                  </a:lnTo>
                  <a:lnTo>
                    <a:pt x="87" y="278"/>
                  </a:lnTo>
                  <a:lnTo>
                    <a:pt x="86" y="278"/>
                  </a:lnTo>
                  <a:lnTo>
                    <a:pt x="85" y="277"/>
                  </a:lnTo>
                  <a:lnTo>
                    <a:pt x="82" y="277"/>
                  </a:lnTo>
                  <a:lnTo>
                    <a:pt x="81" y="277"/>
                  </a:lnTo>
                  <a:lnTo>
                    <a:pt x="80" y="277"/>
                  </a:lnTo>
                  <a:lnTo>
                    <a:pt x="79" y="277"/>
                  </a:lnTo>
                  <a:lnTo>
                    <a:pt x="76" y="277"/>
                  </a:lnTo>
                  <a:lnTo>
                    <a:pt x="75" y="277"/>
                  </a:lnTo>
                  <a:lnTo>
                    <a:pt x="74" y="277"/>
                  </a:lnTo>
                  <a:lnTo>
                    <a:pt x="73" y="278"/>
                  </a:lnTo>
                  <a:lnTo>
                    <a:pt x="72" y="279"/>
                  </a:lnTo>
                  <a:lnTo>
                    <a:pt x="70" y="279"/>
                  </a:lnTo>
                  <a:lnTo>
                    <a:pt x="69" y="279"/>
                  </a:lnTo>
                  <a:lnTo>
                    <a:pt x="68" y="278"/>
                  </a:lnTo>
                  <a:lnTo>
                    <a:pt x="68" y="277"/>
                  </a:lnTo>
                  <a:lnTo>
                    <a:pt x="67" y="276"/>
                  </a:lnTo>
                  <a:lnTo>
                    <a:pt x="65" y="276"/>
                  </a:lnTo>
                  <a:lnTo>
                    <a:pt x="65" y="274"/>
                  </a:lnTo>
                  <a:lnTo>
                    <a:pt x="64" y="273"/>
                  </a:lnTo>
                  <a:lnTo>
                    <a:pt x="63" y="272"/>
                  </a:lnTo>
                  <a:lnTo>
                    <a:pt x="64" y="272"/>
                  </a:lnTo>
                  <a:lnTo>
                    <a:pt x="65" y="272"/>
                  </a:lnTo>
                  <a:lnTo>
                    <a:pt x="67" y="273"/>
                  </a:lnTo>
                  <a:lnTo>
                    <a:pt x="67" y="272"/>
                  </a:lnTo>
                  <a:lnTo>
                    <a:pt x="68" y="271"/>
                  </a:lnTo>
                  <a:lnTo>
                    <a:pt x="69" y="271"/>
                  </a:lnTo>
                  <a:lnTo>
                    <a:pt x="68" y="268"/>
                  </a:lnTo>
                  <a:lnTo>
                    <a:pt x="69" y="268"/>
                  </a:lnTo>
                  <a:lnTo>
                    <a:pt x="70" y="268"/>
                  </a:lnTo>
                  <a:lnTo>
                    <a:pt x="72" y="267"/>
                  </a:lnTo>
                  <a:lnTo>
                    <a:pt x="70" y="266"/>
                  </a:lnTo>
                  <a:lnTo>
                    <a:pt x="70" y="265"/>
                  </a:lnTo>
                  <a:lnTo>
                    <a:pt x="69" y="265"/>
                  </a:lnTo>
                  <a:lnTo>
                    <a:pt x="68" y="264"/>
                  </a:lnTo>
                  <a:lnTo>
                    <a:pt x="69" y="264"/>
                  </a:lnTo>
                  <a:lnTo>
                    <a:pt x="70" y="262"/>
                  </a:lnTo>
                  <a:lnTo>
                    <a:pt x="72" y="264"/>
                  </a:lnTo>
                  <a:lnTo>
                    <a:pt x="72" y="262"/>
                  </a:lnTo>
                  <a:lnTo>
                    <a:pt x="70" y="262"/>
                  </a:lnTo>
                  <a:lnTo>
                    <a:pt x="72" y="261"/>
                  </a:lnTo>
                  <a:lnTo>
                    <a:pt x="70" y="260"/>
                  </a:lnTo>
                  <a:lnTo>
                    <a:pt x="69" y="260"/>
                  </a:lnTo>
                  <a:lnTo>
                    <a:pt x="68" y="260"/>
                  </a:lnTo>
                  <a:lnTo>
                    <a:pt x="67" y="260"/>
                  </a:lnTo>
                  <a:lnTo>
                    <a:pt x="65" y="260"/>
                  </a:lnTo>
                  <a:lnTo>
                    <a:pt x="65" y="261"/>
                  </a:lnTo>
                  <a:lnTo>
                    <a:pt x="64" y="261"/>
                  </a:lnTo>
                  <a:lnTo>
                    <a:pt x="64" y="260"/>
                  </a:lnTo>
                  <a:lnTo>
                    <a:pt x="63" y="261"/>
                  </a:lnTo>
                  <a:lnTo>
                    <a:pt x="63" y="260"/>
                  </a:lnTo>
                  <a:lnTo>
                    <a:pt x="62" y="261"/>
                  </a:lnTo>
                  <a:lnTo>
                    <a:pt x="61" y="260"/>
                  </a:lnTo>
                  <a:lnTo>
                    <a:pt x="59" y="260"/>
                  </a:lnTo>
                  <a:lnTo>
                    <a:pt x="58" y="260"/>
                  </a:lnTo>
                  <a:lnTo>
                    <a:pt x="57" y="261"/>
                  </a:lnTo>
                  <a:lnTo>
                    <a:pt x="57" y="262"/>
                  </a:lnTo>
                  <a:lnTo>
                    <a:pt x="56" y="261"/>
                  </a:lnTo>
                  <a:lnTo>
                    <a:pt x="52" y="261"/>
                  </a:lnTo>
                  <a:lnTo>
                    <a:pt x="51" y="262"/>
                  </a:lnTo>
                  <a:lnTo>
                    <a:pt x="50" y="262"/>
                  </a:lnTo>
                  <a:lnTo>
                    <a:pt x="50" y="261"/>
                  </a:lnTo>
                  <a:lnTo>
                    <a:pt x="49" y="261"/>
                  </a:lnTo>
                  <a:lnTo>
                    <a:pt x="47" y="260"/>
                  </a:lnTo>
                  <a:lnTo>
                    <a:pt x="46" y="260"/>
                  </a:lnTo>
                  <a:lnTo>
                    <a:pt x="47" y="259"/>
                  </a:lnTo>
                  <a:lnTo>
                    <a:pt x="50" y="259"/>
                  </a:lnTo>
                  <a:lnTo>
                    <a:pt x="50" y="258"/>
                  </a:lnTo>
                  <a:lnTo>
                    <a:pt x="49" y="258"/>
                  </a:lnTo>
                  <a:lnTo>
                    <a:pt x="47" y="258"/>
                  </a:lnTo>
                  <a:lnTo>
                    <a:pt x="47" y="256"/>
                  </a:lnTo>
                  <a:lnTo>
                    <a:pt x="46" y="256"/>
                  </a:lnTo>
                  <a:lnTo>
                    <a:pt x="47" y="255"/>
                  </a:lnTo>
                  <a:lnTo>
                    <a:pt x="49" y="253"/>
                  </a:lnTo>
                  <a:lnTo>
                    <a:pt x="49" y="254"/>
                  </a:lnTo>
                  <a:lnTo>
                    <a:pt x="50" y="253"/>
                  </a:lnTo>
                  <a:lnTo>
                    <a:pt x="51" y="254"/>
                  </a:lnTo>
                  <a:lnTo>
                    <a:pt x="52" y="254"/>
                  </a:lnTo>
                  <a:lnTo>
                    <a:pt x="52" y="253"/>
                  </a:lnTo>
                  <a:lnTo>
                    <a:pt x="52" y="251"/>
                  </a:lnTo>
                  <a:lnTo>
                    <a:pt x="55" y="251"/>
                  </a:lnTo>
                  <a:lnTo>
                    <a:pt x="53" y="250"/>
                  </a:lnTo>
                  <a:lnTo>
                    <a:pt x="52" y="250"/>
                  </a:lnTo>
                  <a:lnTo>
                    <a:pt x="50" y="250"/>
                  </a:lnTo>
                  <a:lnTo>
                    <a:pt x="50" y="249"/>
                  </a:lnTo>
                  <a:lnTo>
                    <a:pt x="49" y="249"/>
                  </a:lnTo>
                  <a:lnTo>
                    <a:pt x="46" y="248"/>
                  </a:lnTo>
                  <a:lnTo>
                    <a:pt x="46" y="247"/>
                  </a:lnTo>
                  <a:lnTo>
                    <a:pt x="45" y="244"/>
                  </a:lnTo>
                  <a:lnTo>
                    <a:pt x="46" y="244"/>
                  </a:lnTo>
                  <a:lnTo>
                    <a:pt x="47" y="245"/>
                  </a:lnTo>
                  <a:lnTo>
                    <a:pt x="49" y="245"/>
                  </a:lnTo>
                  <a:lnTo>
                    <a:pt x="49" y="244"/>
                  </a:lnTo>
                  <a:lnTo>
                    <a:pt x="50" y="243"/>
                  </a:lnTo>
                  <a:lnTo>
                    <a:pt x="50" y="244"/>
                  </a:lnTo>
                  <a:lnTo>
                    <a:pt x="51" y="245"/>
                  </a:lnTo>
                  <a:lnTo>
                    <a:pt x="52" y="245"/>
                  </a:lnTo>
                  <a:lnTo>
                    <a:pt x="52" y="247"/>
                  </a:lnTo>
                  <a:lnTo>
                    <a:pt x="53" y="248"/>
                  </a:lnTo>
                  <a:lnTo>
                    <a:pt x="57" y="248"/>
                  </a:lnTo>
                  <a:lnTo>
                    <a:pt x="56" y="247"/>
                  </a:lnTo>
                  <a:lnTo>
                    <a:pt x="56" y="245"/>
                  </a:lnTo>
                  <a:lnTo>
                    <a:pt x="56" y="244"/>
                  </a:lnTo>
                  <a:lnTo>
                    <a:pt x="56" y="243"/>
                  </a:lnTo>
                  <a:lnTo>
                    <a:pt x="56" y="244"/>
                  </a:lnTo>
                  <a:lnTo>
                    <a:pt x="57" y="244"/>
                  </a:lnTo>
                  <a:lnTo>
                    <a:pt x="58" y="245"/>
                  </a:lnTo>
                  <a:lnTo>
                    <a:pt x="58" y="244"/>
                  </a:lnTo>
                  <a:lnTo>
                    <a:pt x="58" y="243"/>
                  </a:lnTo>
                  <a:lnTo>
                    <a:pt x="58" y="242"/>
                  </a:lnTo>
                  <a:lnTo>
                    <a:pt x="57" y="241"/>
                  </a:lnTo>
                  <a:lnTo>
                    <a:pt x="58" y="241"/>
                  </a:lnTo>
                  <a:lnTo>
                    <a:pt x="59" y="241"/>
                  </a:lnTo>
                  <a:lnTo>
                    <a:pt x="61" y="242"/>
                  </a:lnTo>
                  <a:lnTo>
                    <a:pt x="61" y="243"/>
                  </a:lnTo>
                  <a:lnTo>
                    <a:pt x="62" y="243"/>
                  </a:lnTo>
                  <a:lnTo>
                    <a:pt x="62" y="242"/>
                  </a:lnTo>
                  <a:lnTo>
                    <a:pt x="62" y="241"/>
                  </a:lnTo>
                  <a:lnTo>
                    <a:pt x="63" y="241"/>
                  </a:lnTo>
                  <a:lnTo>
                    <a:pt x="64" y="242"/>
                  </a:lnTo>
                  <a:lnTo>
                    <a:pt x="65" y="242"/>
                  </a:lnTo>
                  <a:lnTo>
                    <a:pt x="64" y="241"/>
                  </a:lnTo>
                  <a:lnTo>
                    <a:pt x="65" y="241"/>
                  </a:lnTo>
                  <a:lnTo>
                    <a:pt x="67" y="241"/>
                  </a:lnTo>
                  <a:lnTo>
                    <a:pt x="67" y="239"/>
                  </a:lnTo>
                  <a:lnTo>
                    <a:pt x="65" y="239"/>
                  </a:lnTo>
                  <a:lnTo>
                    <a:pt x="65" y="238"/>
                  </a:lnTo>
                  <a:lnTo>
                    <a:pt x="65" y="237"/>
                  </a:lnTo>
                  <a:lnTo>
                    <a:pt x="65" y="236"/>
                  </a:lnTo>
                  <a:lnTo>
                    <a:pt x="67" y="236"/>
                  </a:lnTo>
                  <a:lnTo>
                    <a:pt x="65" y="237"/>
                  </a:lnTo>
                  <a:lnTo>
                    <a:pt x="67" y="237"/>
                  </a:lnTo>
                  <a:lnTo>
                    <a:pt x="68" y="237"/>
                  </a:lnTo>
                  <a:lnTo>
                    <a:pt x="68" y="238"/>
                  </a:lnTo>
                  <a:lnTo>
                    <a:pt x="69" y="237"/>
                  </a:lnTo>
                  <a:lnTo>
                    <a:pt x="68" y="236"/>
                  </a:lnTo>
                  <a:lnTo>
                    <a:pt x="69" y="236"/>
                  </a:lnTo>
                  <a:lnTo>
                    <a:pt x="70" y="237"/>
                  </a:lnTo>
                  <a:lnTo>
                    <a:pt x="70" y="236"/>
                  </a:lnTo>
                  <a:lnTo>
                    <a:pt x="70" y="235"/>
                  </a:lnTo>
                  <a:lnTo>
                    <a:pt x="72" y="236"/>
                  </a:lnTo>
                  <a:lnTo>
                    <a:pt x="73" y="236"/>
                  </a:lnTo>
                  <a:lnTo>
                    <a:pt x="72" y="235"/>
                  </a:lnTo>
                  <a:lnTo>
                    <a:pt x="70" y="233"/>
                  </a:lnTo>
                  <a:lnTo>
                    <a:pt x="72" y="232"/>
                  </a:lnTo>
                  <a:lnTo>
                    <a:pt x="73" y="233"/>
                  </a:lnTo>
                  <a:lnTo>
                    <a:pt x="73" y="232"/>
                  </a:lnTo>
                  <a:lnTo>
                    <a:pt x="74" y="232"/>
                  </a:lnTo>
                  <a:lnTo>
                    <a:pt x="75" y="232"/>
                  </a:lnTo>
                  <a:lnTo>
                    <a:pt x="76" y="232"/>
                  </a:lnTo>
                  <a:lnTo>
                    <a:pt x="79" y="232"/>
                  </a:lnTo>
                  <a:lnTo>
                    <a:pt x="79" y="233"/>
                  </a:lnTo>
                  <a:lnTo>
                    <a:pt x="80" y="233"/>
                  </a:lnTo>
                  <a:lnTo>
                    <a:pt x="81" y="233"/>
                  </a:lnTo>
                  <a:lnTo>
                    <a:pt x="82" y="233"/>
                  </a:lnTo>
                  <a:lnTo>
                    <a:pt x="82" y="232"/>
                  </a:lnTo>
                  <a:lnTo>
                    <a:pt x="82" y="231"/>
                  </a:lnTo>
                  <a:lnTo>
                    <a:pt x="84" y="232"/>
                  </a:lnTo>
                  <a:lnTo>
                    <a:pt x="85" y="232"/>
                  </a:lnTo>
                  <a:lnTo>
                    <a:pt x="86" y="231"/>
                  </a:lnTo>
                  <a:lnTo>
                    <a:pt x="86" y="230"/>
                  </a:lnTo>
                  <a:lnTo>
                    <a:pt x="87" y="229"/>
                  </a:lnTo>
                  <a:lnTo>
                    <a:pt x="88" y="229"/>
                  </a:lnTo>
                  <a:lnTo>
                    <a:pt x="90" y="227"/>
                  </a:lnTo>
                  <a:lnTo>
                    <a:pt x="90" y="226"/>
                  </a:lnTo>
                  <a:lnTo>
                    <a:pt x="91" y="226"/>
                  </a:lnTo>
                  <a:lnTo>
                    <a:pt x="91" y="225"/>
                  </a:lnTo>
                  <a:lnTo>
                    <a:pt x="92" y="225"/>
                  </a:lnTo>
                  <a:lnTo>
                    <a:pt x="93" y="225"/>
                  </a:lnTo>
                  <a:lnTo>
                    <a:pt x="93" y="224"/>
                  </a:lnTo>
                  <a:lnTo>
                    <a:pt x="94" y="225"/>
                  </a:lnTo>
                  <a:lnTo>
                    <a:pt x="96" y="225"/>
                  </a:lnTo>
                  <a:lnTo>
                    <a:pt x="96" y="224"/>
                  </a:lnTo>
                  <a:lnTo>
                    <a:pt x="96" y="225"/>
                  </a:lnTo>
                  <a:lnTo>
                    <a:pt x="97" y="224"/>
                  </a:lnTo>
                  <a:lnTo>
                    <a:pt x="97" y="225"/>
                  </a:lnTo>
                  <a:lnTo>
                    <a:pt x="98" y="225"/>
                  </a:lnTo>
                  <a:lnTo>
                    <a:pt x="98" y="224"/>
                  </a:lnTo>
                  <a:lnTo>
                    <a:pt x="99" y="223"/>
                  </a:lnTo>
                  <a:lnTo>
                    <a:pt x="99" y="224"/>
                  </a:lnTo>
                  <a:lnTo>
                    <a:pt x="100" y="224"/>
                  </a:lnTo>
                  <a:lnTo>
                    <a:pt x="100" y="223"/>
                  </a:lnTo>
                  <a:lnTo>
                    <a:pt x="102" y="223"/>
                  </a:lnTo>
                  <a:lnTo>
                    <a:pt x="102" y="221"/>
                  </a:lnTo>
                  <a:lnTo>
                    <a:pt x="102" y="223"/>
                  </a:lnTo>
                  <a:lnTo>
                    <a:pt x="103" y="223"/>
                  </a:lnTo>
                  <a:lnTo>
                    <a:pt x="104" y="221"/>
                  </a:lnTo>
                  <a:lnTo>
                    <a:pt x="103" y="221"/>
                  </a:lnTo>
                  <a:lnTo>
                    <a:pt x="104" y="221"/>
                  </a:lnTo>
                  <a:lnTo>
                    <a:pt x="105" y="220"/>
                  </a:lnTo>
                  <a:lnTo>
                    <a:pt x="105" y="221"/>
                  </a:lnTo>
                  <a:lnTo>
                    <a:pt x="104" y="223"/>
                  </a:lnTo>
                  <a:lnTo>
                    <a:pt x="105" y="223"/>
                  </a:lnTo>
                  <a:lnTo>
                    <a:pt x="105" y="221"/>
                  </a:lnTo>
                  <a:lnTo>
                    <a:pt x="105" y="223"/>
                  </a:lnTo>
                  <a:lnTo>
                    <a:pt x="106" y="223"/>
                  </a:lnTo>
                  <a:lnTo>
                    <a:pt x="108" y="223"/>
                  </a:lnTo>
                  <a:lnTo>
                    <a:pt x="108" y="221"/>
                  </a:lnTo>
                  <a:lnTo>
                    <a:pt x="106" y="221"/>
                  </a:lnTo>
                  <a:lnTo>
                    <a:pt x="106" y="220"/>
                  </a:lnTo>
                  <a:lnTo>
                    <a:pt x="108" y="220"/>
                  </a:lnTo>
                  <a:lnTo>
                    <a:pt x="108" y="219"/>
                  </a:lnTo>
                  <a:lnTo>
                    <a:pt x="109" y="219"/>
                  </a:lnTo>
                  <a:lnTo>
                    <a:pt x="109" y="218"/>
                  </a:lnTo>
                  <a:lnTo>
                    <a:pt x="108" y="218"/>
                  </a:lnTo>
                  <a:lnTo>
                    <a:pt x="108" y="219"/>
                  </a:lnTo>
                  <a:lnTo>
                    <a:pt x="106" y="219"/>
                  </a:lnTo>
                  <a:lnTo>
                    <a:pt x="105" y="219"/>
                  </a:lnTo>
                  <a:lnTo>
                    <a:pt x="105" y="220"/>
                  </a:lnTo>
                  <a:lnTo>
                    <a:pt x="104" y="218"/>
                  </a:lnTo>
                  <a:lnTo>
                    <a:pt x="103" y="217"/>
                  </a:lnTo>
                  <a:lnTo>
                    <a:pt x="103" y="218"/>
                  </a:lnTo>
                  <a:lnTo>
                    <a:pt x="102" y="218"/>
                  </a:lnTo>
                  <a:lnTo>
                    <a:pt x="100" y="218"/>
                  </a:lnTo>
                  <a:lnTo>
                    <a:pt x="98" y="219"/>
                  </a:lnTo>
                  <a:lnTo>
                    <a:pt x="99" y="219"/>
                  </a:lnTo>
                  <a:lnTo>
                    <a:pt x="98" y="220"/>
                  </a:lnTo>
                  <a:lnTo>
                    <a:pt x="98" y="219"/>
                  </a:lnTo>
                  <a:lnTo>
                    <a:pt x="97" y="219"/>
                  </a:lnTo>
                  <a:lnTo>
                    <a:pt x="96" y="220"/>
                  </a:lnTo>
                  <a:lnTo>
                    <a:pt x="97" y="220"/>
                  </a:lnTo>
                  <a:lnTo>
                    <a:pt x="96" y="220"/>
                  </a:lnTo>
                  <a:lnTo>
                    <a:pt x="94" y="220"/>
                  </a:lnTo>
                  <a:lnTo>
                    <a:pt x="94" y="219"/>
                  </a:lnTo>
                  <a:lnTo>
                    <a:pt x="93" y="219"/>
                  </a:lnTo>
                  <a:lnTo>
                    <a:pt x="92" y="219"/>
                  </a:lnTo>
                  <a:lnTo>
                    <a:pt x="92" y="220"/>
                  </a:lnTo>
                  <a:lnTo>
                    <a:pt x="91" y="220"/>
                  </a:lnTo>
                  <a:lnTo>
                    <a:pt x="91" y="221"/>
                  </a:lnTo>
                  <a:lnTo>
                    <a:pt x="90" y="221"/>
                  </a:lnTo>
                  <a:lnTo>
                    <a:pt x="90" y="223"/>
                  </a:lnTo>
                  <a:lnTo>
                    <a:pt x="90" y="224"/>
                  </a:lnTo>
                  <a:lnTo>
                    <a:pt x="88" y="224"/>
                  </a:lnTo>
                  <a:lnTo>
                    <a:pt x="90" y="224"/>
                  </a:lnTo>
                  <a:lnTo>
                    <a:pt x="88" y="224"/>
                  </a:lnTo>
                  <a:lnTo>
                    <a:pt x="88" y="223"/>
                  </a:lnTo>
                  <a:lnTo>
                    <a:pt x="88" y="224"/>
                  </a:lnTo>
                  <a:lnTo>
                    <a:pt x="88" y="225"/>
                  </a:lnTo>
                  <a:lnTo>
                    <a:pt x="87" y="225"/>
                  </a:lnTo>
                  <a:lnTo>
                    <a:pt x="87" y="226"/>
                  </a:lnTo>
                  <a:lnTo>
                    <a:pt x="86" y="225"/>
                  </a:lnTo>
                  <a:lnTo>
                    <a:pt x="85" y="225"/>
                  </a:lnTo>
                  <a:lnTo>
                    <a:pt x="86" y="224"/>
                  </a:lnTo>
                  <a:lnTo>
                    <a:pt x="85" y="223"/>
                  </a:lnTo>
                  <a:lnTo>
                    <a:pt x="85" y="221"/>
                  </a:lnTo>
                  <a:lnTo>
                    <a:pt x="86" y="221"/>
                  </a:lnTo>
                  <a:lnTo>
                    <a:pt x="85" y="220"/>
                  </a:lnTo>
                  <a:lnTo>
                    <a:pt x="85" y="221"/>
                  </a:lnTo>
                  <a:lnTo>
                    <a:pt x="84" y="221"/>
                  </a:lnTo>
                  <a:lnTo>
                    <a:pt x="84" y="223"/>
                  </a:lnTo>
                  <a:lnTo>
                    <a:pt x="84" y="224"/>
                  </a:lnTo>
                  <a:lnTo>
                    <a:pt x="82" y="224"/>
                  </a:lnTo>
                  <a:lnTo>
                    <a:pt x="81" y="224"/>
                  </a:lnTo>
                  <a:lnTo>
                    <a:pt x="80" y="224"/>
                  </a:lnTo>
                  <a:lnTo>
                    <a:pt x="80" y="223"/>
                  </a:lnTo>
                  <a:lnTo>
                    <a:pt x="80" y="224"/>
                  </a:lnTo>
                  <a:lnTo>
                    <a:pt x="79" y="224"/>
                  </a:lnTo>
                  <a:lnTo>
                    <a:pt x="79" y="223"/>
                  </a:lnTo>
                  <a:lnTo>
                    <a:pt x="78" y="223"/>
                  </a:lnTo>
                  <a:lnTo>
                    <a:pt x="78" y="221"/>
                  </a:lnTo>
                  <a:lnTo>
                    <a:pt x="79" y="221"/>
                  </a:lnTo>
                  <a:lnTo>
                    <a:pt x="80" y="221"/>
                  </a:lnTo>
                  <a:lnTo>
                    <a:pt x="80" y="220"/>
                  </a:lnTo>
                  <a:lnTo>
                    <a:pt x="79" y="220"/>
                  </a:lnTo>
                  <a:lnTo>
                    <a:pt x="80" y="220"/>
                  </a:lnTo>
                  <a:lnTo>
                    <a:pt x="80" y="219"/>
                  </a:lnTo>
                  <a:lnTo>
                    <a:pt x="80" y="218"/>
                  </a:lnTo>
                  <a:lnTo>
                    <a:pt x="81" y="218"/>
                  </a:lnTo>
                  <a:lnTo>
                    <a:pt x="82" y="218"/>
                  </a:lnTo>
                  <a:lnTo>
                    <a:pt x="82" y="217"/>
                  </a:lnTo>
                  <a:lnTo>
                    <a:pt x="82" y="215"/>
                  </a:lnTo>
                  <a:lnTo>
                    <a:pt x="84" y="215"/>
                  </a:lnTo>
                  <a:lnTo>
                    <a:pt x="85" y="215"/>
                  </a:lnTo>
                  <a:lnTo>
                    <a:pt x="85" y="214"/>
                  </a:lnTo>
                  <a:lnTo>
                    <a:pt x="84" y="213"/>
                  </a:lnTo>
                  <a:lnTo>
                    <a:pt x="82" y="213"/>
                  </a:lnTo>
                  <a:lnTo>
                    <a:pt x="82" y="214"/>
                  </a:lnTo>
                  <a:lnTo>
                    <a:pt x="82" y="215"/>
                  </a:lnTo>
                  <a:lnTo>
                    <a:pt x="81" y="215"/>
                  </a:lnTo>
                  <a:lnTo>
                    <a:pt x="80" y="215"/>
                  </a:lnTo>
                  <a:lnTo>
                    <a:pt x="79" y="214"/>
                  </a:lnTo>
                  <a:lnTo>
                    <a:pt x="79" y="215"/>
                  </a:lnTo>
                  <a:lnTo>
                    <a:pt x="78" y="214"/>
                  </a:lnTo>
                  <a:lnTo>
                    <a:pt x="78" y="215"/>
                  </a:lnTo>
                  <a:lnTo>
                    <a:pt x="76" y="215"/>
                  </a:lnTo>
                  <a:lnTo>
                    <a:pt x="75" y="215"/>
                  </a:lnTo>
                  <a:lnTo>
                    <a:pt x="75" y="217"/>
                  </a:lnTo>
                  <a:lnTo>
                    <a:pt x="74" y="217"/>
                  </a:lnTo>
                  <a:lnTo>
                    <a:pt x="73" y="217"/>
                  </a:lnTo>
                  <a:lnTo>
                    <a:pt x="73" y="215"/>
                  </a:lnTo>
                  <a:lnTo>
                    <a:pt x="74" y="215"/>
                  </a:lnTo>
                  <a:lnTo>
                    <a:pt x="74" y="214"/>
                  </a:lnTo>
                  <a:lnTo>
                    <a:pt x="74" y="213"/>
                  </a:lnTo>
                  <a:lnTo>
                    <a:pt x="74" y="214"/>
                  </a:lnTo>
                  <a:lnTo>
                    <a:pt x="75" y="214"/>
                  </a:lnTo>
                  <a:lnTo>
                    <a:pt x="75" y="213"/>
                  </a:lnTo>
                  <a:lnTo>
                    <a:pt x="74" y="212"/>
                  </a:lnTo>
                  <a:lnTo>
                    <a:pt x="74" y="211"/>
                  </a:lnTo>
                  <a:lnTo>
                    <a:pt x="74" y="209"/>
                  </a:lnTo>
                  <a:lnTo>
                    <a:pt x="75" y="209"/>
                  </a:lnTo>
                  <a:lnTo>
                    <a:pt x="76" y="209"/>
                  </a:lnTo>
                  <a:lnTo>
                    <a:pt x="78" y="209"/>
                  </a:lnTo>
                  <a:lnTo>
                    <a:pt x="80" y="208"/>
                  </a:lnTo>
                  <a:lnTo>
                    <a:pt x="79" y="207"/>
                  </a:lnTo>
                  <a:lnTo>
                    <a:pt x="79" y="206"/>
                  </a:lnTo>
                  <a:lnTo>
                    <a:pt x="80" y="206"/>
                  </a:lnTo>
                  <a:lnTo>
                    <a:pt x="81" y="206"/>
                  </a:lnTo>
                  <a:lnTo>
                    <a:pt x="81" y="205"/>
                  </a:lnTo>
                  <a:lnTo>
                    <a:pt x="82" y="205"/>
                  </a:lnTo>
                  <a:lnTo>
                    <a:pt x="82" y="203"/>
                  </a:lnTo>
                  <a:lnTo>
                    <a:pt x="84" y="203"/>
                  </a:lnTo>
                  <a:lnTo>
                    <a:pt x="84" y="202"/>
                  </a:lnTo>
                  <a:lnTo>
                    <a:pt x="84" y="201"/>
                  </a:lnTo>
                  <a:lnTo>
                    <a:pt x="85" y="202"/>
                  </a:lnTo>
                  <a:lnTo>
                    <a:pt x="85" y="201"/>
                  </a:lnTo>
                  <a:lnTo>
                    <a:pt x="86" y="201"/>
                  </a:lnTo>
                  <a:lnTo>
                    <a:pt x="87" y="200"/>
                  </a:lnTo>
                  <a:lnTo>
                    <a:pt x="86" y="199"/>
                  </a:lnTo>
                  <a:lnTo>
                    <a:pt x="87" y="197"/>
                  </a:lnTo>
                  <a:lnTo>
                    <a:pt x="87" y="199"/>
                  </a:lnTo>
                  <a:lnTo>
                    <a:pt x="88" y="197"/>
                  </a:lnTo>
                  <a:lnTo>
                    <a:pt x="90" y="199"/>
                  </a:lnTo>
                  <a:lnTo>
                    <a:pt x="91" y="197"/>
                  </a:lnTo>
                  <a:lnTo>
                    <a:pt x="91" y="196"/>
                  </a:lnTo>
                  <a:lnTo>
                    <a:pt x="92" y="197"/>
                  </a:lnTo>
                  <a:lnTo>
                    <a:pt x="93" y="196"/>
                  </a:lnTo>
                  <a:lnTo>
                    <a:pt x="93" y="197"/>
                  </a:lnTo>
                  <a:lnTo>
                    <a:pt x="94" y="197"/>
                  </a:lnTo>
                  <a:lnTo>
                    <a:pt x="94" y="196"/>
                  </a:lnTo>
                  <a:lnTo>
                    <a:pt x="94" y="195"/>
                  </a:lnTo>
                  <a:lnTo>
                    <a:pt x="96" y="195"/>
                  </a:lnTo>
                  <a:lnTo>
                    <a:pt x="97" y="195"/>
                  </a:lnTo>
                  <a:lnTo>
                    <a:pt x="97" y="194"/>
                  </a:lnTo>
                  <a:lnTo>
                    <a:pt x="97" y="193"/>
                  </a:lnTo>
                  <a:lnTo>
                    <a:pt x="97" y="194"/>
                  </a:lnTo>
                  <a:lnTo>
                    <a:pt x="98" y="194"/>
                  </a:lnTo>
                  <a:lnTo>
                    <a:pt x="98" y="193"/>
                  </a:lnTo>
                  <a:lnTo>
                    <a:pt x="99" y="193"/>
                  </a:lnTo>
                  <a:lnTo>
                    <a:pt x="98" y="191"/>
                  </a:lnTo>
                  <a:lnTo>
                    <a:pt x="99" y="191"/>
                  </a:lnTo>
                  <a:lnTo>
                    <a:pt x="100" y="191"/>
                  </a:lnTo>
                  <a:lnTo>
                    <a:pt x="99" y="190"/>
                  </a:lnTo>
                  <a:lnTo>
                    <a:pt x="99" y="189"/>
                  </a:lnTo>
                  <a:lnTo>
                    <a:pt x="100" y="189"/>
                  </a:lnTo>
                  <a:lnTo>
                    <a:pt x="99" y="189"/>
                  </a:lnTo>
                  <a:lnTo>
                    <a:pt x="98" y="189"/>
                  </a:lnTo>
                  <a:lnTo>
                    <a:pt x="97" y="190"/>
                  </a:lnTo>
                  <a:lnTo>
                    <a:pt x="96" y="190"/>
                  </a:lnTo>
                  <a:lnTo>
                    <a:pt x="94" y="190"/>
                  </a:lnTo>
                  <a:lnTo>
                    <a:pt x="93" y="190"/>
                  </a:lnTo>
                  <a:lnTo>
                    <a:pt x="92" y="190"/>
                  </a:lnTo>
                  <a:lnTo>
                    <a:pt x="91" y="191"/>
                  </a:lnTo>
                  <a:lnTo>
                    <a:pt x="90" y="191"/>
                  </a:lnTo>
                  <a:lnTo>
                    <a:pt x="88" y="191"/>
                  </a:lnTo>
                  <a:lnTo>
                    <a:pt x="87" y="193"/>
                  </a:lnTo>
                  <a:lnTo>
                    <a:pt x="86" y="193"/>
                  </a:lnTo>
                  <a:lnTo>
                    <a:pt x="85" y="193"/>
                  </a:lnTo>
                  <a:lnTo>
                    <a:pt x="84" y="194"/>
                  </a:lnTo>
                  <a:lnTo>
                    <a:pt x="82" y="194"/>
                  </a:lnTo>
                  <a:lnTo>
                    <a:pt x="81" y="195"/>
                  </a:lnTo>
                  <a:lnTo>
                    <a:pt x="80" y="195"/>
                  </a:lnTo>
                  <a:lnTo>
                    <a:pt x="79" y="196"/>
                  </a:lnTo>
                  <a:lnTo>
                    <a:pt x="78" y="197"/>
                  </a:lnTo>
                  <a:lnTo>
                    <a:pt x="75" y="199"/>
                  </a:lnTo>
                  <a:lnTo>
                    <a:pt x="76" y="199"/>
                  </a:lnTo>
                  <a:lnTo>
                    <a:pt x="78" y="199"/>
                  </a:lnTo>
                  <a:lnTo>
                    <a:pt x="78" y="200"/>
                  </a:lnTo>
                  <a:lnTo>
                    <a:pt x="79" y="200"/>
                  </a:lnTo>
                  <a:lnTo>
                    <a:pt x="79" y="201"/>
                  </a:lnTo>
                  <a:lnTo>
                    <a:pt x="78" y="201"/>
                  </a:lnTo>
                  <a:lnTo>
                    <a:pt x="79" y="201"/>
                  </a:lnTo>
                  <a:lnTo>
                    <a:pt x="78" y="202"/>
                  </a:lnTo>
                  <a:lnTo>
                    <a:pt x="79" y="202"/>
                  </a:lnTo>
                  <a:lnTo>
                    <a:pt x="79" y="203"/>
                  </a:lnTo>
                  <a:lnTo>
                    <a:pt x="79" y="205"/>
                  </a:lnTo>
                  <a:lnTo>
                    <a:pt x="79" y="206"/>
                  </a:lnTo>
                  <a:lnTo>
                    <a:pt x="78" y="207"/>
                  </a:lnTo>
                  <a:lnTo>
                    <a:pt x="76" y="207"/>
                  </a:lnTo>
                  <a:lnTo>
                    <a:pt x="76" y="206"/>
                  </a:lnTo>
                  <a:lnTo>
                    <a:pt x="75" y="206"/>
                  </a:lnTo>
                  <a:lnTo>
                    <a:pt x="74" y="208"/>
                  </a:lnTo>
                  <a:lnTo>
                    <a:pt x="74" y="209"/>
                  </a:lnTo>
                  <a:lnTo>
                    <a:pt x="73" y="211"/>
                  </a:lnTo>
                  <a:lnTo>
                    <a:pt x="72" y="211"/>
                  </a:lnTo>
                  <a:lnTo>
                    <a:pt x="73" y="211"/>
                  </a:lnTo>
                  <a:lnTo>
                    <a:pt x="72" y="212"/>
                  </a:lnTo>
                  <a:lnTo>
                    <a:pt x="72" y="213"/>
                  </a:lnTo>
                  <a:lnTo>
                    <a:pt x="70" y="212"/>
                  </a:lnTo>
                  <a:lnTo>
                    <a:pt x="69" y="213"/>
                  </a:lnTo>
                  <a:lnTo>
                    <a:pt x="68" y="213"/>
                  </a:lnTo>
                  <a:lnTo>
                    <a:pt x="68" y="214"/>
                  </a:lnTo>
                  <a:lnTo>
                    <a:pt x="67" y="213"/>
                  </a:lnTo>
                  <a:lnTo>
                    <a:pt x="65" y="212"/>
                  </a:lnTo>
                  <a:lnTo>
                    <a:pt x="67" y="212"/>
                  </a:lnTo>
                  <a:lnTo>
                    <a:pt x="67" y="211"/>
                  </a:lnTo>
                  <a:lnTo>
                    <a:pt x="67" y="212"/>
                  </a:lnTo>
                  <a:lnTo>
                    <a:pt x="67" y="211"/>
                  </a:lnTo>
                  <a:lnTo>
                    <a:pt x="67" y="209"/>
                  </a:lnTo>
                  <a:lnTo>
                    <a:pt x="65" y="208"/>
                  </a:lnTo>
                  <a:lnTo>
                    <a:pt x="64" y="208"/>
                  </a:lnTo>
                  <a:lnTo>
                    <a:pt x="63" y="209"/>
                  </a:lnTo>
                  <a:lnTo>
                    <a:pt x="62" y="211"/>
                  </a:lnTo>
                  <a:lnTo>
                    <a:pt x="62" y="213"/>
                  </a:lnTo>
                  <a:lnTo>
                    <a:pt x="61" y="213"/>
                  </a:lnTo>
                  <a:lnTo>
                    <a:pt x="59" y="214"/>
                  </a:lnTo>
                  <a:lnTo>
                    <a:pt x="59" y="215"/>
                  </a:lnTo>
                  <a:lnTo>
                    <a:pt x="59" y="217"/>
                  </a:lnTo>
                  <a:lnTo>
                    <a:pt x="58" y="217"/>
                  </a:lnTo>
                  <a:lnTo>
                    <a:pt x="57" y="218"/>
                  </a:lnTo>
                  <a:lnTo>
                    <a:pt x="56" y="218"/>
                  </a:lnTo>
                  <a:lnTo>
                    <a:pt x="56" y="217"/>
                  </a:lnTo>
                  <a:lnTo>
                    <a:pt x="55" y="217"/>
                  </a:lnTo>
                  <a:lnTo>
                    <a:pt x="55" y="215"/>
                  </a:lnTo>
                  <a:lnTo>
                    <a:pt x="53" y="215"/>
                  </a:lnTo>
                  <a:lnTo>
                    <a:pt x="53" y="217"/>
                  </a:lnTo>
                  <a:lnTo>
                    <a:pt x="52" y="217"/>
                  </a:lnTo>
                  <a:lnTo>
                    <a:pt x="51" y="218"/>
                  </a:lnTo>
                  <a:lnTo>
                    <a:pt x="51" y="219"/>
                  </a:lnTo>
                  <a:lnTo>
                    <a:pt x="52" y="220"/>
                  </a:lnTo>
                  <a:lnTo>
                    <a:pt x="51" y="220"/>
                  </a:lnTo>
                  <a:lnTo>
                    <a:pt x="52" y="220"/>
                  </a:lnTo>
                  <a:lnTo>
                    <a:pt x="51" y="220"/>
                  </a:lnTo>
                  <a:lnTo>
                    <a:pt x="50" y="220"/>
                  </a:lnTo>
                  <a:lnTo>
                    <a:pt x="50" y="221"/>
                  </a:lnTo>
                  <a:lnTo>
                    <a:pt x="49" y="221"/>
                  </a:lnTo>
                  <a:lnTo>
                    <a:pt x="47" y="221"/>
                  </a:lnTo>
                  <a:lnTo>
                    <a:pt x="46" y="221"/>
                  </a:lnTo>
                  <a:lnTo>
                    <a:pt x="49" y="220"/>
                  </a:lnTo>
                  <a:lnTo>
                    <a:pt x="47" y="220"/>
                  </a:lnTo>
                  <a:lnTo>
                    <a:pt x="46" y="220"/>
                  </a:lnTo>
                  <a:lnTo>
                    <a:pt x="46" y="221"/>
                  </a:lnTo>
                  <a:lnTo>
                    <a:pt x="45" y="221"/>
                  </a:lnTo>
                  <a:lnTo>
                    <a:pt x="45" y="223"/>
                  </a:lnTo>
                  <a:lnTo>
                    <a:pt x="44" y="223"/>
                  </a:lnTo>
                  <a:lnTo>
                    <a:pt x="44" y="224"/>
                  </a:lnTo>
                  <a:lnTo>
                    <a:pt x="43" y="224"/>
                  </a:lnTo>
                  <a:lnTo>
                    <a:pt x="44" y="224"/>
                  </a:lnTo>
                  <a:lnTo>
                    <a:pt x="45" y="225"/>
                  </a:lnTo>
                  <a:lnTo>
                    <a:pt x="43" y="226"/>
                  </a:lnTo>
                  <a:lnTo>
                    <a:pt x="43" y="227"/>
                  </a:lnTo>
                  <a:lnTo>
                    <a:pt x="41" y="229"/>
                  </a:lnTo>
                  <a:lnTo>
                    <a:pt x="41" y="227"/>
                  </a:lnTo>
                  <a:lnTo>
                    <a:pt x="40" y="227"/>
                  </a:lnTo>
                  <a:lnTo>
                    <a:pt x="39" y="227"/>
                  </a:lnTo>
                  <a:lnTo>
                    <a:pt x="38" y="226"/>
                  </a:lnTo>
                  <a:lnTo>
                    <a:pt x="39" y="226"/>
                  </a:lnTo>
                  <a:lnTo>
                    <a:pt x="38" y="225"/>
                  </a:lnTo>
                  <a:lnTo>
                    <a:pt x="35" y="226"/>
                  </a:lnTo>
                  <a:lnTo>
                    <a:pt x="35" y="227"/>
                  </a:lnTo>
                  <a:lnTo>
                    <a:pt x="35" y="226"/>
                  </a:lnTo>
                  <a:lnTo>
                    <a:pt x="34" y="226"/>
                  </a:lnTo>
                  <a:lnTo>
                    <a:pt x="33" y="226"/>
                  </a:lnTo>
                  <a:lnTo>
                    <a:pt x="32" y="225"/>
                  </a:lnTo>
                  <a:lnTo>
                    <a:pt x="31" y="225"/>
                  </a:lnTo>
                  <a:lnTo>
                    <a:pt x="31" y="224"/>
                  </a:lnTo>
                  <a:lnTo>
                    <a:pt x="29" y="223"/>
                  </a:lnTo>
                  <a:lnTo>
                    <a:pt x="28" y="221"/>
                  </a:lnTo>
                  <a:lnTo>
                    <a:pt x="31" y="221"/>
                  </a:lnTo>
                  <a:lnTo>
                    <a:pt x="31" y="220"/>
                  </a:lnTo>
                  <a:lnTo>
                    <a:pt x="29" y="219"/>
                  </a:lnTo>
                  <a:lnTo>
                    <a:pt x="27" y="217"/>
                  </a:lnTo>
                  <a:lnTo>
                    <a:pt x="28" y="217"/>
                  </a:lnTo>
                  <a:lnTo>
                    <a:pt x="29" y="217"/>
                  </a:lnTo>
                  <a:lnTo>
                    <a:pt x="31" y="217"/>
                  </a:lnTo>
                  <a:lnTo>
                    <a:pt x="31" y="215"/>
                  </a:lnTo>
                  <a:lnTo>
                    <a:pt x="32" y="215"/>
                  </a:lnTo>
                  <a:lnTo>
                    <a:pt x="33" y="215"/>
                  </a:lnTo>
                  <a:lnTo>
                    <a:pt x="33" y="214"/>
                  </a:lnTo>
                  <a:lnTo>
                    <a:pt x="32" y="215"/>
                  </a:lnTo>
                  <a:lnTo>
                    <a:pt x="32" y="214"/>
                  </a:lnTo>
                  <a:lnTo>
                    <a:pt x="31" y="214"/>
                  </a:lnTo>
                  <a:lnTo>
                    <a:pt x="29" y="213"/>
                  </a:lnTo>
                  <a:lnTo>
                    <a:pt x="29" y="212"/>
                  </a:lnTo>
                  <a:lnTo>
                    <a:pt x="31" y="212"/>
                  </a:lnTo>
                  <a:lnTo>
                    <a:pt x="32" y="212"/>
                  </a:lnTo>
                  <a:lnTo>
                    <a:pt x="33" y="212"/>
                  </a:lnTo>
                  <a:lnTo>
                    <a:pt x="33" y="211"/>
                  </a:lnTo>
                  <a:lnTo>
                    <a:pt x="33" y="209"/>
                  </a:lnTo>
                  <a:lnTo>
                    <a:pt x="34" y="211"/>
                  </a:lnTo>
                  <a:lnTo>
                    <a:pt x="35" y="211"/>
                  </a:lnTo>
                  <a:lnTo>
                    <a:pt x="35" y="208"/>
                  </a:lnTo>
                  <a:lnTo>
                    <a:pt x="37" y="207"/>
                  </a:lnTo>
                  <a:lnTo>
                    <a:pt x="38" y="206"/>
                  </a:lnTo>
                  <a:lnTo>
                    <a:pt x="39" y="207"/>
                  </a:lnTo>
                  <a:lnTo>
                    <a:pt x="39" y="205"/>
                  </a:lnTo>
                  <a:lnTo>
                    <a:pt x="38" y="203"/>
                  </a:lnTo>
                  <a:lnTo>
                    <a:pt x="38" y="202"/>
                  </a:lnTo>
                  <a:lnTo>
                    <a:pt x="38" y="201"/>
                  </a:lnTo>
                  <a:lnTo>
                    <a:pt x="39" y="201"/>
                  </a:lnTo>
                  <a:lnTo>
                    <a:pt x="40" y="201"/>
                  </a:lnTo>
                  <a:lnTo>
                    <a:pt x="41" y="201"/>
                  </a:lnTo>
                  <a:lnTo>
                    <a:pt x="43" y="200"/>
                  </a:lnTo>
                  <a:lnTo>
                    <a:pt x="44" y="200"/>
                  </a:lnTo>
                  <a:lnTo>
                    <a:pt x="45" y="199"/>
                  </a:lnTo>
                  <a:lnTo>
                    <a:pt x="46" y="199"/>
                  </a:lnTo>
                  <a:lnTo>
                    <a:pt x="45" y="199"/>
                  </a:lnTo>
                  <a:lnTo>
                    <a:pt x="45" y="197"/>
                  </a:lnTo>
                  <a:lnTo>
                    <a:pt x="44" y="196"/>
                  </a:lnTo>
                  <a:lnTo>
                    <a:pt x="44" y="195"/>
                  </a:lnTo>
                  <a:lnTo>
                    <a:pt x="45" y="195"/>
                  </a:lnTo>
                  <a:lnTo>
                    <a:pt x="46" y="195"/>
                  </a:lnTo>
                  <a:lnTo>
                    <a:pt x="47" y="196"/>
                  </a:lnTo>
                  <a:lnTo>
                    <a:pt x="47" y="195"/>
                  </a:lnTo>
                  <a:lnTo>
                    <a:pt x="49" y="195"/>
                  </a:lnTo>
                  <a:lnTo>
                    <a:pt x="50" y="195"/>
                  </a:lnTo>
                  <a:lnTo>
                    <a:pt x="51" y="196"/>
                  </a:lnTo>
                  <a:lnTo>
                    <a:pt x="51" y="195"/>
                  </a:lnTo>
                  <a:lnTo>
                    <a:pt x="52" y="194"/>
                  </a:lnTo>
                  <a:lnTo>
                    <a:pt x="52" y="193"/>
                  </a:lnTo>
                  <a:lnTo>
                    <a:pt x="52" y="191"/>
                  </a:lnTo>
                  <a:lnTo>
                    <a:pt x="53" y="191"/>
                  </a:lnTo>
                  <a:lnTo>
                    <a:pt x="53" y="190"/>
                  </a:lnTo>
                  <a:lnTo>
                    <a:pt x="55" y="190"/>
                  </a:lnTo>
                  <a:lnTo>
                    <a:pt x="55" y="189"/>
                  </a:lnTo>
                  <a:lnTo>
                    <a:pt x="55" y="188"/>
                  </a:lnTo>
                  <a:lnTo>
                    <a:pt x="56" y="188"/>
                  </a:lnTo>
                  <a:lnTo>
                    <a:pt x="56" y="187"/>
                  </a:lnTo>
                  <a:lnTo>
                    <a:pt x="57" y="185"/>
                  </a:lnTo>
                  <a:lnTo>
                    <a:pt x="57" y="184"/>
                  </a:lnTo>
                  <a:lnTo>
                    <a:pt x="58" y="184"/>
                  </a:lnTo>
                  <a:lnTo>
                    <a:pt x="59" y="184"/>
                  </a:lnTo>
                  <a:lnTo>
                    <a:pt x="58" y="184"/>
                  </a:lnTo>
                  <a:lnTo>
                    <a:pt x="58" y="183"/>
                  </a:lnTo>
                  <a:lnTo>
                    <a:pt x="58" y="182"/>
                  </a:lnTo>
                  <a:lnTo>
                    <a:pt x="57" y="183"/>
                  </a:lnTo>
                  <a:lnTo>
                    <a:pt x="57" y="182"/>
                  </a:lnTo>
                  <a:lnTo>
                    <a:pt x="57" y="181"/>
                  </a:lnTo>
                  <a:lnTo>
                    <a:pt x="58" y="181"/>
                  </a:lnTo>
                  <a:lnTo>
                    <a:pt x="57" y="181"/>
                  </a:lnTo>
                  <a:lnTo>
                    <a:pt x="56" y="179"/>
                  </a:lnTo>
                  <a:lnTo>
                    <a:pt x="55" y="178"/>
                  </a:lnTo>
                  <a:lnTo>
                    <a:pt x="55" y="179"/>
                  </a:lnTo>
                  <a:lnTo>
                    <a:pt x="53" y="178"/>
                  </a:lnTo>
                  <a:lnTo>
                    <a:pt x="52" y="177"/>
                  </a:lnTo>
                  <a:lnTo>
                    <a:pt x="52" y="176"/>
                  </a:lnTo>
                  <a:lnTo>
                    <a:pt x="51" y="176"/>
                  </a:lnTo>
                  <a:lnTo>
                    <a:pt x="50" y="176"/>
                  </a:lnTo>
                  <a:lnTo>
                    <a:pt x="50" y="175"/>
                  </a:lnTo>
                  <a:lnTo>
                    <a:pt x="49" y="175"/>
                  </a:lnTo>
                  <a:lnTo>
                    <a:pt x="50" y="175"/>
                  </a:lnTo>
                  <a:lnTo>
                    <a:pt x="50" y="173"/>
                  </a:lnTo>
                  <a:lnTo>
                    <a:pt x="49" y="175"/>
                  </a:lnTo>
                  <a:lnTo>
                    <a:pt x="47" y="173"/>
                  </a:lnTo>
                  <a:lnTo>
                    <a:pt x="47" y="175"/>
                  </a:lnTo>
                  <a:lnTo>
                    <a:pt x="49" y="176"/>
                  </a:lnTo>
                  <a:lnTo>
                    <a:pt x="47" y="176"/>
                  </a:lnTo>
                  <a:lnTo>
                    <a:pt x="47" y="177"/>
                  </a:lnTo>
                  <a:lnTo>
                    <a:pt x="47" y="176"/>
                  </a:lnTo>
                  <a:lnTo>
                    <a:pt x="47" y="177"/>
                  </a:lnTo>
                  <a:lnTo>
                    <a:pt x="47" y="178"/>
                  </a:lnTo>
                  <a:lnTo>
                    <a:pt x="46" y="178"/>
                  </a:lnTo>
                  <a:lnTo>
                    <a:pt x="46" y="179"/>
                  </a:lnTo>
                  <a:lnTo>
                    <a:pt x="45" y="181"/>
                  </a:lnTo>
                  <a:lnTo>
                    <a:pt x="45" y="179"/>
                  </a:lnTo>
                  <a:lnTo>
                    <a:pt x="44" y="179"/>
                  </a:lnTo>
                  <a:lnTo>
                    <a:pt x="43" y="179"/>
                  </a:lnTo>
                  <a:lnTo>
                    <a:pt x="41" y="181"/>
                  </a:lnTo>
                  <a:lnTo>
                    <a:pt x="40" y="182"/>
                  </a:lnTo>
                  <a:lnTo>
                    <a:pt x="39" y="182"/>
                  </a:lnTo>
                  <a:lnTo>
                    <a:pt x="38" y="183"/>
                  </a:lnTo>
                  <a:lnTo>
                    <a:pt x="37" y="184"/>
                  </a:lnTo>
                  <a:lnTo>
                    <a:pt x="37" y="183"/>
                  </a:lnTo>
                  <a:lnTo>
                    <a:pt x="34" y="184"/>
                  </a:lnTo>
                  <a:lnTo>
                    <a:pt x="33" y="185"/>
                  </a:lnTo>
                  <a:lnTo>
                    <a:pt x="32" y="184"/>
                  </a:lnTo>
                  <a:lnTo>
                    <a:pt x="32" y="185"/>
                  </a:lnTo>
                  <a:lnTo>
                    <a:pt x="31" y="185"/>
                  </a:lnTo>
                  <a:lnTo>
                    <a:pt x="29" y="184"/>
                  </a:lnTo>
                  <a:lnTo>
                    <a:pt x="29" y="185"/>
                  </a:lnTo>
                  <a:lnTo>
                    <a:pt x="28" y="185"/>
                  </a:lnTo>
                  <a:lnTo>
                    <a:pt x="27" y="185"/>
                  </a:lnTo>
                  <a:lnTo>
                    <a:pt x="27" y="184"/>
                  </a:lnTo>
                  <a:lnTo>
                    <a:pt x="26" y="184"/>
                  </a:lnTo>
                  <a:lnTo>
                    <a:pt x="26" y="183"/>
                  </a:lnTo>
                  <a:lnTo>
                    <a:pt x="25" y="183"/>
                  </a:lnTo>
                  <a:lnTo>
                    <a:pt x="23" y="182"/>
                  </a:lnTo>
                  <a:lnTo>
                    <a:pt x="23" y="181"/>
                  </a:lnTo>
                  <a:lnTo>
                    <a:pt x="22" y="181"/>
                  </a:lnTo>
                  <a:lnTo>
                    <a:pt x="22" y="182"/>
                  </a:lnTo>
                  <a:lnTo>
                    <a:pt x="22" y="181"/>
                  </a:lnTo>
                  <a:lnTo>
                    <a:pt x="21" y="181"/>
                  </a:lnTo>
                  <a:lnTo>
                    <a:pt x="20" y="181"/>
                  </a:lnTo>
                  <a:lnTo>
                    <a:pt x="21" y="181"/>
                  </a:lnTo>
                  <a:lnTo>
                    <a:pt x="20" y="181"/>
                  </a:lnTo>
                  <a:lnTo>
                    <a:pt x="20" y="179"/>
                  </a:lnTo>
                  <a:lnTo>
                    <a:pt x="19" y="178"/>
                  </a:lnTo>
                  <a:lnTo>
                    <a:pt x="17" y="178"/>
                  </a:lnTo>
                  <a:lnTo>
                    <a:pt x="17" y="179"/>
                  </a:lnTo>
                  <a:lnTo>
                    <a:pt x="16" y="178"/>
                  </a:lnTo>
                  <a:lnTo>
                    <a:pt x="15" y="178"/>
                  </a:lnTo>
                  <a:lnTo>
                    <a:pt x="14" y="177"/>
                  </a:lnTo>
                  <a:lnTo>
                    <a:pt x="13" y="176"/>
                  </a:lnTo>
                  <a:lnTo>
                    <a:pt x="11" y="176"/>
                  </a:lnTo>
                  <a:lnTo>
                    <a:pt x="13" y="176"/>
                  </a:lnTo>
                  <a:lnTo>
                    <a:pt x="13" y="175"/>
                  </a:lnTo>
                  <a:lnTo>
                    <a:pt x="14" y="175"/>
                  </a:lnTo>
                  <a:lnTo>
                    <a:pt x="14" y="173"/>
                  </a:lnTo>
                  <a:lnTo>
                    <a:pt x="14" y="172"/>
                  </a:lnTo>
                  <a:lnTo>
                    <a:pt x="13" y="172"/>
                  </a:lnTo>
                  <a:lnTo>
                    <a:pt x="14" y="171"/>
                  </a:lnTo>
                  <a:lnTo>
                    <a:pt x="15" y="171"/>
                  </a:lnTo>
                  <a:lnTo>
                    <a:pt x="14" y="171"/>
                  </a:lnTo>
                  <a:lnTo>
                    <a:pt x="11" y="171"/>
                  </a:lnTo>
                  <a:lnTo>
                    <a:pt x="11" y="172"/>
                  </a:lnTo>
                  <a:lnTo>
                    <a:pt x="11" y="173"/>
                  </a:lnTo>
                  <a:lnTo>
                    <a:pt x="10" y="173"/>
                  </a:lnTo>
                  <a:lnTo>
                    <a:pt x="9" y="173"/>
                  </a:lnTo>
                  <a:lnTo>
                    <a:pt x="8" y="173"/>
                  </a:lnTo>
                  <a:lnTo>
                    <a:pt x="6" y="175"/>
                  </a:lnTo>
                  <a:lnTo>
                    <a:pt x="6" y="173"/>
                  </a:lnTo>
                  <a:lnTo>
                    <a:pt x="5" y="175"/>
                  </a:lnTo>
                  <a:lnTo>
                    <a:pt x="5" y="173"/>
                  </a:lnTo>
                  <a:lnTo>
                    <a:pt x="4" y="173"/>
                  </a:lnTo>
                  <a:lnTo>
                    <a:pt x="4" y="171"/>
                  </a:lnTo>
                  <a:lnTo>
                    <a:pt x="3" y="171"/>
                  </a:lnTo>
                  <a:lnTo>
                    <a:pt x="3" y="170"/>
                  </a:lnTo>
                  <a:lnTo>
                    <a:pt x="2" y="167"/>
                  </a:lnTo>
                  <a:lnTo>
                    <a:pt x="2" y="166"/>
                  </a:lnTo>
                  <a:lnTo>
                    <a:pt x="0" y="165"/>
                  </a:lnTo>
                  <a:lnTo>
                    <a:pt x="0" y="164"/>
                  </a:lnTo>
                  <a:lnTo>
                    <a:pt x="2" y="164"/>
                  </a:lnTo>
                  <a:lnTo>
                    <a:pt x="3" y="165"/>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1" name="Freeform 74"/>
            <p:cNvSpPr>
              <a:spLocks/>
            </p:cNvSpPr>
            <p:nvPr userDrawn="1"/>
          </p:nvSpPr>
          <p:spPr bwMode="auto">
            <a:xfrm>
              <a:off x="6119813" y="6311901"/>
              <a:ext cx="219075" cy="266700"/>
            </a:xfrm>
            <a:custGeom>
              <a:avLst/>
              <a:gdLst/>
              <a:ahLst/>
              <a:cxnLst>
                <a:cxn ang="0">
                  <a:pos x="392" y="612"/>
                </a:cxn>
                <a:cxn ang="0">
                  <a:pos x="399" y="597"/>
                </a:cxn>
                <a:cxn ang="0">
                  <a:pos x="395" y="664"/>
                </a:cxn>
                <a:cxn ang="0">
                  <a:pos x="436" y="642"/>
                </a:cxn>
                <a:cxn ang="0">
                  <a:pos x="423" y="662"/>
                </a:cxn>
                <a:cxn ang="0">
                  <a:pos x="452" y="694"/>
                </a:cxn>
                <a:cxn ang="0">
                  <a:pos x="500" y="722"/>
                </a:cxn>
                <a:cxn ang="0">
                  <a:pos x="590" y="685"/>
                </a:cxn>
                <a:cxn ang="0">
                  <a:pos x="581" y="640"/>
                </a:cxn>
                <a:cxn ang="0">
                  <a:pos x="509" y="626"/>
                </a:cxn>
                <a:cxn ang="0">
                  <a:pos x="559" y="599"/>
                </a:cxn>
                <a:cxn ang="0">
                  <a:pos x="546" y="566"/>
                </a:cxn>
                <a:cxn ang="0">
                  <a:pos x="513" y="518"/>
                </a:cxn>
                <a:cxn ang="0">
                  <a:pos x="472" y="457"/>
                </a:cxn>
                <a:cxn ang="0">
                  <a:pos x="534" y="450"/>
                </a:cxn>
                <a:cxn ang="0">
                  <a:pos x="619" y="395"/>
                </a:cxn>
                <a:cxn ang="0">
                  <a:pos x="670" y="329"/>
                </a:cxn>
                <a:cxn ang="0">
                  <a:pos x="605" y="261"/>
                </a:cxn>
                <a:cxn ang="0">
                  <a:pos x="619" y="228"/>
                </a:cxn>
                <a:cxn ang="0">
                  <a:pos x="599" y="156"/>
                </a:cxn>
                <a:cxn ang="0">
                  <a:pos x="572" y="114"/>
                </a:cxn>
                <a:cxn ang="0">
                  <a:pos x="513" y="30"/>
                </a:cxn>
                <a:cxn ang="0">
                  <a:pos x="457" y="46"/>
                </a:cxn>
                <a:cxn ang="0">
                  <a:pos x="431" y="73"/>
                </a:cxn>
                <a:cxn ang="0">
                  <a:pos x="424" y="103"/>
                </a:cxn>
                <a:cxn ang="0">
                  <a:pos x="403" y="114"/>
                </a:cxn>
                <a:cxn ang="0">
                  <a:pos x="415" y="77"/>
                </a:cxn>
                <a:cxn ang="0">
                  <a:pos x="327" y="54"/>
                </a:cxn>
                <a:cxn ang="0">
                  <a:pos x="310" y="17"/>
                </a:cxn>
                <a:cxn ang="0">
                  <a:pos x="293" y="67"/>
                </a:cxn>
                <a:cxn ang="0">
                  <a:pos x="255" y="76"/>
                </a:cxn>
                <a:cxn ang="0">
                  <a:pos x="210" y="62"/>
                </a:cxn>
                <a:cxn ang="0">
                  <a:pos x="208" y="107"/>
                </a:cxn>
                <a:cxn ang="0">
                  <a:pos x="176" y="121"/>
                </a:cxn>
                <a:cxn ang="0">
                  <a:pos x="180" y="167"/>
                </a:cxn>
                <a:cxn ang="0">
                  <a:pos x="239" y="183"/>
                </a:cxn>
                <a:cxn ang="0">
                  <a:pos x="262" y="180"/>
                </a:cxn>
                <a:cxn ang="0">
                  <a:pos x="259" y="219"/>
                </a:cxn>
                <a:cxn ang="0">
                  <a:pos x="194" y="255"/>
                </a:cxn>
                <a:cxn ang="0">
                  <a:pos x="140" y="219"/>
                </a:cxn>
                <a:cxn ang="0">
                  <a:pos x="91" y="233"/>
                </a:cxn>
                <a:cxn ang="0">
                  <a:pos x="124" y="305"/>
                </a:cxn>
                <a:cxn ang="0">
                  <a:pos x="117" y="344"/>
                </a:cxn>
                <a:cxn ang="0">
                  <a:pos x="52" y="345"/>
                </a:cxn>
                <a:cxn ang="0">
                  <a:pos x="12" y="355"/>
                </a:cxn>
                <a:cxn ang="0">
                  <a:pos x="25" y="393"/>
                </a:cxn>
                <a:cxn ang="0">
                  <a:pos x="40" y="445"/>
                </a:cxn>
                <a:cxn ang="0">
                  <a:pos x="80" y="440"/>
                </a:cxn>
                <a:cxn ang="0">
                  <a:pos x="126" y="424"/>
                </a:cxn>
                <a:cxn ang="0">
                  <a:pos x="124" y="469"/>
                </a:cxn>
                <a:cxn ang="0">
                  <a:pos x="76" y="514"/>
                </a:cxn>
                <a:cxn ang="0">
                  <a:pos x="82" y="555"/>
                </a:cxn>
                <a:cxn ang="0">
                  <a:pos x="165" y="543"/>
                </a:cxn>
                <a:cxn ang="0">
                  <a:pos x="173" y="566"/>
                </a:cxn>
                <a:cxn ang="0">
                  <a:pos x="134" y="608"/>
                </a:cxn>
                <a:cxn ang="0">
                  <a:pos x="199" y="637"/>
                </a:cxn>
                <a:cxn ang="0">
                  <a:pos x="229" y="578"/>
                </a:cxn>
                <a:cxn ang="0">
                  <a:pos x="227" y="530"/>
                </a:cxn>
                <a:cxn ang="0">
                  <a:pos x="273" y="591"/>
                </a:cxn>
                <a:cxn ang="0">
                  <a:pos x="279" y="520"/>
                </a:cxn>
                <a:cxn ang="0">
                  <a:pos x="288" y="543"/>
                </a:cxn>
                <a:cxn ang="0">
                  <a:pos x="328" y="531"/>
                </a:cxn>
                <a:cxn ang="0">
                  <a:pos x="350" y="551"/>
                </a:cxn>
              </a:cxnLst>
              <a:rect l="0" t="0" r="r" b="b"/>
              <a:pathLst>
                <a:path w="688" h="840">
                  <a:moveTo>
                    <a:pt x="457" y="834"/>
                  </a:moveTo>
                  <a:lnTo>
                    <a:pt x="452" y="834"/>
                  </a:lnTo>
                  <a:lnTo>
                    <a:pt x="423" y="835"/>
                  </a:lnTo>
                  <a:lnTo>
                    <a:pt x="406" y="833"/>
                  </a:lnTo>
                  <a:lnTo>
                    <a:pt x="404" y="821"/>
                  </a:lnTo>
                  <a:lnTo>
                    <a:pt x="403" y="811"/>
                  </a:lnTo>
                  <a:lnTo>
                    <a:pt x="401" y="807"/>
                  </a:lnTo>
                  <a:lnTo>
                    <a:pt x="400" y="786"/>
                  </a:lnTo>
                  <a:lnTo>
                    <a:pt x="394" y="725"/>
                  </a:lnTo>
                  <a:lnTo>
                    <a:pt x="393" y="715"/>
                  </a:lnTo>
                  <a:lnTo>
                    <a:pt x="392" y="696"/>
                  </a:lnTo>
                  <a:lnTo>
                    <a:pt x="391" y="683"/>
                  </a:lnTo>
                  <a:lnTo>
                    <a:pt x="389" y="672"/>
                  </a:lnTo>
                  <a:lnTo>
                    <a:pt x="388" y="661"/>
                  </a:lnTo>
                  <a:lnTo>
                    <a:pt x="387" y="649"/>
                  </a:lnTo>
                  <a:lnTo>
                    <a:pt x="387" y="644"/>
                  </a:lnTo>
                  <a:lnTo>
                    <a:pt x="388" y="644"/>
                  </a:lnTo>
                  <a:lnTo>
                    <a:pt x="391" y="646"/>
                  </a:lnTo>
                  <a:lnTo>
                    <a:pt x="392" y="647"/>
                  </a:lnTo>
                  <a:lnTo>
                    <a:pt x="393" y="646"/>
                  </a:lnTo>
                  <a:lnTo>
                    <a:pt x="393" y="644"/>
                  </a:lnTo>
                  <a:lnTo>
                    <a:pt x="393" y="642"/>
                  </a:lnTo>
                  <a:lnTo>
                    <a:pt x="392" y="641"/>
                  </a:lnTo>
                  <a:lnTo>
                    <a:pt x="391" y="640"/>
                  </a:lnTo>
                  <a:lnTo>
                    <a:pt x="388" y="640"/>
                  </a:lnTo>
                  <a:lnTo>
                    <a:pt x="388" y="637"/>
                  </a:lnTo>
                  <a:lnTo>
                    <a:pt x="389" y="636"/>
                  </a:lnTo>
                  <a:lnTo>
                    <a:pt x="391" y="636"/>
                  </a:lnTo>
                  <a:lnTo>
                    <a:pt x="392" y="636"/>
                  </a:lnTo>
                  <a:lnTo>
                    <a:pt x="393" y="636"/>
                  </a:lnTo>
                  <a:lnTo>
                    <a:pt x="393" y="635"/>
                  </a:lnTo>
                  <a:lnTo>
                    <a:pt x="394" y="632"/>
                  </a:lnTo>
                  <a:lnTo>
                    <a:pt x="397" y="630"/>
                  </a:lnTo>
                  <a:lnTo>
                    <a:pt x="397" y="626"/>
                  </a:lnTo>
                  <a:lnTo>
                    <a:pt x="395" y="627"/>
                  </a:lnTo>
                  <a:lnTo>
                    <a:pt x="394" y="629"/>
                  </a:lnTo>
                  <a:lnTo>
                    <a:pt x="392" y="631"/>
                  </a:lnTo>
                  <a:lnTo>
                    <a:pt x="391" y="632"/>
                  </a:lnTo>
                  <a:lnTo>
                    <a:pt x="388" y="632"/>
                  </a:lnTo>
                  <a:lnTo>
                    <a:pt x="387" y="633"/>
                  </a:lnTo>
                  <a:lnTo>
                    <a:pt x="387" y="632"/>
                  </a:lnTo>
                  <a:lnTo>
                    <a:pt x="386" y="627"/>
                  </a:lnTo>
                  <a:lnTo>
                    <a:pt x="385" y="611"/>
                  </a:lnTo>
                  <a:lnTo>
                    <a:pt x="386" y="606"/>
                  </a:lnTo>
                  <a:lnTo>
                    <a:pt x="387" y="605"/>
                  </a:lnTo>
                  <a:lnTo>
                    <a:pt x="389" y="603"/>
                  </a:lnTo>
                  <a:lnTo>
                    <a:pt x="389" y="601"/>
                  </a:lnTo>
                  <a:lnTo>
                    <a:pt x="387" y="599"/>
                  </a:lnTo>
                  <a:lnTo>
                    <a:pt x="386" y="597"/>
                  </a:lnTo>
                  <a:lnTo>
                    <a:pt x="386" y="590"/>
                  </a:lnTo>
                  <a:lnTo>
                    <a:pt x="385" y="585"/>
                  </a:lnTo>
                  <a:lnTo>
                    <a:pt x="385" y="583"/>
                  </a:lnTo>
                  <a:lnTo>
                    <a:pt x="387" y="582"/>
                  </a:lnTo>
                  <a:lnTo>
                    <a:pt x="386" y="579"/>
                  </a:lnTo>
                  <a:lnTo>
                    <a:pt x="385" y="578"/>
                  </a:lnTo>
                  <a:lnTo>
                    <a:pt x="385" y="576"/>
                  </a:lnTo>
                  <a:lnTo>
                    <a:pt x="385" y="572"/>
                  </a:lnTo>
                  <a:lnTo>
                    <a:pt x="385" y="570"/>
                  </a:lnTo>
                  <a:lnTo>
                    <a:pt x="383" y="567"/>
                  </a:lnTo>
                  <a:lnTo>
                    <a:pt x="386" y="563"/>
                  </a:lnTo>
                  <a:lnTo>
                    <a:pt x="387" y="565"/>
                  </a:lnTo>
                  <a:lnTo>
                    <a:pt x="387" y="567"/>
                  </a:lnTo>
                  <a:lnTo>
                    <a:pt x="388" y="567"/>
                  </a:lnTo>
                  <a:lnTo>
                    <a:pt x="388" y="565"/>
                  </a:lnTo>
                  <a:lnTo>
                    <a:pt x="389" y="563"/>
                  </a:lnTo>
                  <a:lnTo>
                    <a:pt x="388" y="561"/>
                  </a:lnTo>
                  <a:lnTo>
                    <a:pt x="386" y="560"/>
                  </a:lnTo>
                  <a:lnTo>
                    <a:pt x="386" y="559"/>
                  </a:lnTo>
                  <a:lnTo>
                    <a:pt x="386" y="551"/>
                  </a:lnTo>
                  <a:lnTo>
                    <a:pt x="385" y="547"/>
                  </a:lnTo>
                  <a:lnTo>
                    <a:pt x="386" y="543"/>
                  </a:lnTo>
                  <a:lnTo>
                    <a:pt x="387" y="540"/>
                  </a:lnTo>
                  <a:lnTo>
                    <a:pt x="388" y="537"/>
                  </a:lnTo>
                  <a:lnTo>
                    <a:pt x="391" y="535"/>
                  </a:lnTo>
                  <a:lnTo>
                    <a:pt x="393" y="534"/>
                  </a:lnTo>
                  <a:lnTo>
                    <a:pt x="394" y="536"/>
                  </a:lnTo>
                  <a:lnTo>
                    <a:pt x="395" y="539"/>
                  </a:lnTo>
                  <a:lnTo>
                    <a:pt x="394" y="542"/>
                  </a:lnTo>
                  <a:lnTo>
                    <a:pt x="393" y="543"/>
                  </a:lnTo>
                  <a:lnTo>
                    <a:pt x="392" y="546"/>
                  </a:lnTo>
                  <a:lnTo>
                    <a:pt x="392" y="549"/>
                  </a:lnTo>
                  <a:lnTo>
                    <a:pt x="392" y="557"/>
                  </a:lnTo>
                  <a:lnTo>
                    <a:pt x="392" y="567"/>
                  </a:lnTo>
                  <a:lnTo>
                    <a:pt x="391" y="572"/>
                  </a:lnTo>
                  <a:lnTo>
                    <a:pt x="391" y="577"/>
                  </a:lnTo>
                  <a:lnTo>
                    <a:pt x="391" y="581"/>
                  </a:lnTo>
                  <a:lnTo>
                    <a:pt x="389" y="584"/>
                  </a:lnTo>
                  <a:lnTo>
                    <a:pt x="391" y="585"/>
                  </a:lnTo>
                  <a:lnTo>
                    <a:pt x="391" y="587"/>
                  </a:lnTo>
                  <a:lnTo>
                    <a:pt x="389" y="587"/>
                  </a:lnTo>
                  <a:lnTo>
                    <a:pt x="391" y="589"/>
                  </a:lnTo>
                  <a:lnTo>
                    <a:pt x="392" y="590"/>
                  </a:lnTo>
                  <a:lnTo>
                    <a:pt x="391" y="594"/>
                  </a:lnTo>
                  <a:lnTo>
                    <a:pt x="391" y="596"/>
                  </a:lnTo>
                  <a:lnTo>
                    <a:pt x="391" y="599"/>
                  </a:lnTo>
                  <a:lnTo>
                    <a:pt x="392" y="601"/>
                  </a:lnTo>
                  <a:lnTo>
                    <a:pt x="392" y="603"/>
                  </a:lnTo>
                  <a:lnTo>
                    <a:pt x="392" y="605"/>
                  </a:lnTo>
                  <a:lnTo>
                    <a:pt x="391" y="607"/>
                  </a:lnTo>
                  <a:lnTo>
                    <a:pt x="391" y="608"/>
                  </a:lnTo>
                  <a:lnTo>
                    <a:pt x="392" y="612"/>
                  </a:lnTo>
                  <a:lnTo>
                    <a:pt x="392" y="614"/>
                  </a:lnTo>
                  <a:lnTo>
                    <a:pt x="391" y="615"/>
                  </a:lnTo>
                  <a:lnTo>
                    <a:pt x="389" y="618"/>
                  </a:lnTo>
                  <a:lnTo>
                    <a:pt x="388" y="619"/>
                  </a:lnTo>
                  <a:lnTo>
                    <a:pt x="388" y="623"/>
                  </a:lnTo>
                  <a:lnTo>
                    <a:pt x="391" y="625"/>
                  </a:lnTo>
                  <a:lnTo>
                    <a:pt x="392" y="629"/>
                  </a:lnTo>
                  <a:lnTo>
                    <a:pt x="393" y="629"/>
                  </a:lnTo>
                  <a:lnTo>
                    <a:pt x="393" y="626"/>
                  </a:lnTo>
                  <a:lnTo>
                    <a:pt x="393" y="624"/>
                  </a:lnTo>
                  <a:lnTo>
                    <a:pt x="393" y="621"/>
                  </a:lnTo>
                  <a:lnTo>
                    <a:pt x="393" y="620"/>
                  </a:lnTo>
                  <a:lnTo>
                    <a:pt x="394" y="620"/>
                  </a:lnTo>
                  <a:lnTo>
                    <a:pt x="395" y="624"/>
                  </a:lnTo>
                  <a:lnTo>
                    <a:pt x="397" y="623"/>
                  </a:lnTo>
                  <a:lnTo>
                    <a:pt x="397" y="619"/>
                  </a:lnTo>
                  <a:lnTo>
                    <a:pt x="397" y="618"/>
                  </a:lnTo>
                  <a:lnTo>
                    <a:pt x="397" y="615"/>
                  </a:lnTo>
                  <a:lnTo>
                    <a:pt x="397" y="613"/>
                  </a:lnTo>
                  <a:lnTo>
                    <a:pt x="397" y="611"/>
                  </a:lnTo>
                  <a:lnTo>
                    <a:pt x="395" y="609"/>
                  </a:lnTo>
                  <a:lnTo>
                    <a:pt x="394" y="608"/>
                  </a:lnTo>
                  <a:lnTo>
                    <a:pt x="395" y="609"/>
                  </a:lnTo>
                  <a:lnTo>
                    <a:pt x="399" y="612"/>
                  </a:lnTo>
                  <a:lnTo>
                    <a:pt x="400" y="612"/>
                  </a:lnTo>
                  <a:lnTo>
                    <a:pt x="401" y="613"/>
                  </a:lnTo>
                  <a:lnTo>
                    <a:pt x="400" y="615"/>
                  </a:lnTo>
                  <a:lnTo>
                    <a:pt x="399" y="618"/>
                  </a:lnTo>
                  <a:lnTo>
                    <a:pt x="400" y="618"/>
                  </a:lnTo>
                  <a:lnTo>
                    <a:pt x="401" y="617"/>
                  </a:lnTo>
                  <a:lnTo>
                    <a:pt x="404" y="618"/>
                  </a:lnTo>
                  <a:lnTo>
                    <a:pt x="406" y="620"/>
                  </a:lnTo>
                  <a:lnTo>
                    <a:pt x="409" y="620"/>
                  </a:lnTo>
                  <a:lnTo>
                    <a:pt x="410" y="619"/>
                  </a:lnTo>
                  <a:lnTo>
                    <a:pt x="407" y="617"/>
                  </a:lnTo>
                  <a:lnTo>
                    <a:pt x="406" y="617"/>
                  </a:lnTo>
                  <a:lnTo>
                    <a:pt x="406" y="614"/>
                  </a:lnTo>
                  <a:lnTo>
                    <a:pt x="409" y="615"/>
                  </a:lnTo>
                  <a:lnTo>
                    <a:pt x="410" y="615"/>
                  </a:lnTo>
                  <a:lnTo>
                    <a:pt x="411" y="614"/>
                  </a:lnTo>
                  <a:lnTo>
                    <a:pt x="412" y="613"/>
                  </a:lnTo>
                  <a:lnTo>
                    <a:pt x="412" y="609"/>
                  </a:lnTo>
                  <a:lnTo>
                    <a:pt x="411" y="608"/>
                  </a:lnTo>
                  <a:lnTo>
                    <a:pt x="410" y="612"/>
                  </a:lnTo>
                  <a:lnTo>
                    <a:pt x="409" y="612"/>
                  </a:lnTo>
                  <a:lnTo>
                    <a:pt x="409" y="611"/>
                  </a:lnTo>
                  <a:lnTo>
                    <a:pt x="407" y="609"/>
                  </a:lnTo>
                  <a:lnTo>
                    <a:pt x="405" y="611"/>
                  </a:lnTo>
                  <a:lnTo>
                    <a:pt x="404" y="611"/>
                  </a:lnTo>
                  <a:lnTo>
                    <a:pt x="403" y="609"/>
                  </a:lnTo>
                  <a:lnTo>
                    <a:pt x="404" y="608"/>
                  </a:lnTo>
                  <a:lnTo>
                    <a:pt x="405" y="607"/>
                  </a:lnTo>
                  <a:lnTo>
                    <a:pt x="404" y="606"/>
                  </a:lnTo>
                  <a:lnTo>
                    <a:pt x="401" y="605"/>
                  </a:lnTo>
                  <a:lnTo>
                    <a:pt x="399" y="607"/>
                  </a:lnTo>
                  <a:lnTo>
                    <a:pt x="398" y="607"/>
                  </a:lnTo>
                  <a:lnTo>
                    <a:pt x="398" y="606"/>
                  </a:lnTo>
                  <a:lnTo>
                    <a:pt x="398" y="605"/>
                  </a:lnTo>
                  <a:lnTo>
                    <a:pt x="397" y="603"/>
                  </a:lnTo>
                  <a:lnTo>
                    <a:pt x="397" y="601"/>
                  </a:lnTo>
                  <a:lnTo>
                    <a:pt x="395" y="600"/>
                  </a:lnTo>
                  <a:lnTo>
                    <a:pt x="395" y="597"/>
                  </a:lnTo>
                  <a:lnTo>
                    <a:pt x="395" y="594"/>
                  </a:lnTo>
                  <a:lnTo>
                    <a:pt x="395" y="593"/>
                  </a:lnTo>
                  <a:lnTo>
                    <a:pt x="397" y="597"/>
                  </a:lnTo>
                  <a:lnTo>
                    <a:pt x="397" y="599"/>
                  </a:lnTo>
                  <a:lnTo>
                    <a:pt x="398" y="599"/>
                  </a:lnTo>
                  <a:lnTo>
                    <a:pt x="398" y="595"/>
                  </a:lnTo>
                  <a:lnTo>
                    <a:pt x="398" y="593"/>
                  </a:lnTo>
                  <a:lnTo>
                    <a:pt x="398" y="590"/>
                  </a:lnTo>
                  <a:lnTo>
                    <a:pt x="397" y="588"/>
                  </a:lnTo>
                  <a:lnTo>
                    <a:pt x="394" y="588"/>
                  </a:lnTo>
                  <a:lnTo>
                    <a:pt x="394" y="587"/>
                  </a:lnTo>
                  <a:lnTo>
                    <a:pt x="394" y="585"/>
                  </a:lnTo>
                  <a:lnTo>
                    <a:pt x="395" y="583"/>
                  </a:lnTo>
                  <a:lnTo>
                    <a:pt x="393" y="579"/>
                  </a:lnTo>
                  <a:lnTo>
                    <a:pt x="393" y="576"/>
                  </a:lnTo>
                  <a:lnTo>
                    <a:pt x="393" y="573"/>
                  </a:lnTo>
                  <a:lnTo>
                    <a:pt x="394" y="573"/>
                  </a:lnTo>
                  <a:lnTo>
                    <a:pt x="397" y="575"/>
                  </a:lnTo>
                  <a:lnTo>
                    <a:pt x="398" y="577"/>
                  </a:lnTo>
                  <a:lnTo>
                    <a:pt x="400" y="579"/>
                  </a:lnTo>
                  <a:lnTo>
                    <a:pt x="401" y="582"/>
                  </a:lnTo>
                  <a:lnTo>
                    <a:pt x="403" y="583"/>
                  </a:lnTo>
                  <a:lnTo>
                    <a:pt x="405" y="585"/>
                  </a:lnTo>
                  <a:lnTo>
                    <a:pt x="404" y="587"/>
                  </a:lnTo>
                  <a:lnTo>
                    <a:pt x="401" y="585"/>
                  </a:lnTo>
                  <a:lnTo>
                    <a:pt x="400" y="585"/>
                  </a:lnTo>
                  <a:lnTo>
                    <a:pt x="400" y="587"/>
                  </a:lnTo>
                  <a:lnTo>
                    <a:pt x="400" y="589"/>
                  </a:lnTo>
                  <a:lnTo>
                    <a:pt x="401" y="591"/>
                  </a:lnTo>
                  <a:lnTo>
                    <a:pt x="400" y="593"/>
                  </a:lnTo>
                  <a:lnTo>
                    <a:pt x="401" y="595"/>
                  </a:lnTo>
                  <a:lnTo>
                    <a:pt x="404" y="593"/>
                  </a:lnTo>
                  <a:lnTo>
                    <a:pt x="405" y="591"/>
                  </a:lnTo>
                  <a:lnTo>
                    <a:pt x="406" y="590"/>
                  </a:lnTo>
                  <a:lnTo>
                    <a:pt x="409" y="591"/>
                  </a:lnTo>
                  <a:lnTo>
                    <a:pt x="407" y="593"/>
                  </a:lnTo>
                  <a:lnTo>
                    <a:pt x="406" y="594"/>
                  </a:lnTo>
                  <a:lnTo>
                    <a:pt x="404" y="595"/>
                  </a:lnTo>
                  <a:lnTo>
                    <a:pt x="399" y="597"/>
                  </a:lnTo>
                  <a:lnTo>
                    <a:pt x="399" y="600"/>
                  </a:lnTo>
                  <a:lnTo>
                    <a:pt x="403" y="600"/>
                  </a:lnTo>
                  <a:lnTo>
                    <a:pt x="404" y="597"/>
                  </a:lnTo>
                  <a:lnTo>
                    <a:pt x="406" y="597"/>
                  </a:lnTo>
                  <a:lnTo>
                    <a:pt x="409" y="596"/>
                  </a:lnTo>
                  <a:lnTo>
                    <a:pt x="411" y="596"/>
                  </a:lnTo>
                  <a:lnTo>
                    <a:pt x="413" y="595"/>
                  </a:lnTo>
                  <a:lnTo>
                    <a:pt x="416" y="594"/>
                  </a:lnTo>
                  <a:lnTo>
                    <a:pt x="418" y="596"/>
                  </a:lnTo>
                  <a:lnTo>
                    <a:pt x="417" y="597"/>
                  </a:lnTo>
                  <a:lnTo>
                    <a:pt x="415" y="599"/>
                  </a:lnTo>
                  <a:lnTo>
                    <a:pt x="413" y="599"/>
                  </a:lnTo>
                  <a:lnTo>
                    <a:pt x="410" y="599"/>
                  </a:lnTo>
                  <a:lnTo>
                    <a:pt x="410" y="600"/>
                  </a:lnTo>
                  <a:lnTo>
                    <a:pt x="411" y="601"/>
                  </a:lnTo>
                  <a:lnTo>
                    <a:pt x="413" y="602"/>
                  </a:lnTo>
                  <a:lnTo>
                    <a:pt x="416" y="601"/>
                  </a:lnTo>
                  <a:lnTo>
                    <a:pt x="417" y="602"/>
                  </a:lnTo>
                  <a:lnTo>
                    <a:pt x="415" y="605"/>
                  </a:lnTo>
                  <a:lnTo>
                    <a:pt x="412" y="605"/>
                  </a:lnTo>
                  <a:lnTo>
                    <a:pt x="411" y="603"/>
                  </a:lnTo>
                  <a:lnTo>
                    <a:pt x="411" y="602"/>
                  </a:lnTo>
                  <a:lnTo>
                    <a:pt x="410" y="601"/>
                  </a:lnTo>
                  <a:lnTo>
                    <a:pt x="409" y="602"/>
                  </a:lnTo>
                  <a:lnTo>
                    <a:pt x="406" y="602"/>
                  </a:lnTo>
                  <a:lnTo>
                    <a:pt x="405" y="602"/>
                  </a:lnTo>
                  <a:lnTo>
                    <a:pt x="404" y="602"/>
                  </a:lnTo>
                  <a:lnTo>
                    <a:pt x="403" y="601"/>
                  </a:lnTo>
                  <a:lnTo>
                    <a:pt x="401" y="602"/>
                  </a:lnTo>
                  <a:lnTo>
                    <a:pt x="401" y="603"/>
                  </a:lnTo>
                  <a:lnTo>
                    <a:pt x="404" y="603"/>
                  </a:lnTo>
                  <a:lnTo>
                    <a:pt x="406" y="605"/>
                  </a:lnTo>
                  <a:lnTo>
                    <a:pt x="407" y="606"/>
                  </a:lnTo>
                  <a:lnTo>
                    <a:pt x="406" y="607"/>
                  </a:lnTo>
                  <a:lnTo>
                    <a:pt x="409" y="607"/>
                  </a:lnTo>
                  <a:lnTo>
                    <a:pt x="409" y="606"/>
                  </a:lnTo>
                  <a:lnTo>
                    <a:pt x="410" y="607"/>
                  </a:lnTo>
                  <a:lnTo>
                    <a:pt x="411" y="607"/>
                  </a:lnTo>
                  <a:lnTo>
                    <a:pt x="413" y="608"/>
                  </a:lnTo>
                  <a:lnTo>
                    <a:pt x="415" y="609"/>
                  </a:lnTo>
                  <a:lnTo>
                    <a:pt x="415" y="611"/>
                  </a:lnTo>
                  <a:lnTo>
                    <a:pt x="413" y="612"/>
                  </a:lnTo>
                  <a:lnTo>
                    <a:pt x="413" y="613"/>
                  </a:lnTo>
                  <a:lnTo>
                    <a:pt x="413" y="615"/>
                  </a:lnTo>
                  <a:lnTo>
                    <a:pt x="415" y="615"/>
                  </a:lnTo>
                  <a:lnTo>
                    <a:pt x="416" y="614"/>
                  </a:lnTo>
                  <a:lnTo>
                    <a:pt x="416" y="613"/>
                  </a:lnTo>
                  <a:lnTo>
                    <a:pt x="416" y="612"/>
                  </a:lnTo>
                  <a:lnTo>
                    <a:pt x="417" y="611"/>
                  </a:lnTo>
                  <a:lnTo>
                    <a:pt x="419" y="608"/>
                  </a:lnTo>
                  <a:lnTo>
                    <a:pt x="419" y="607"/>
                  </a:lnTo>
                  <a:lnTo>
                    <a:pt x="421" y="607"/>
                  </a:lnTo>
                  <a:lnTo>
                    <a:pt x="423" y="607"/>
                  </a:lnTo>
                  <a:lnTo>
                    <a:pt x="424" y="606"/>
                  </a:lnTo>
                  <a:lnTo>
                    <a:pt x="424" y="608"/>
                  </a:lnTo>
                  <a:lnTo>
                    <a:pt x="423" y="609"/>
                  </a:lnTo>
                  <a:lnTo>
                    <a:pt x="421" y="611"/>
                  </a:lnTo>
                  <a:lnTo>
                    <a:pt x="421" y="612"/>
                  </a:lnTo>
                  <a:lnTo>
                    <a:pt x="421" y="613"/>
                  </a:lnTo>
                  <a:lnTo>
                    <a:pt x="422" y="614"/>
                  </a:lnTo>
                  <a:lnTo>
                    <a:pt x="419" y="614"/>
                  </a:lnTo>
                  <a:lnTo>
                    <a:pt x="418" y="612"/>
                  </a:lnTo>
                  <a:lnTo>
                    <a:pt x="417" y="614"/>
                  </a:lnTo>
                  <a:lnTo>
                    <a:pt x="417" y="617"/>
                  </a:lnTo>
                  <a:lnTo>
                    <a:pt x="417" y="619"/>
                  </a:lnTo>
                  <a:lnTo>
                    <a:pt x="416" y="621"/>
                  </a:lnTo>
                  <a:lnTo>
                    <a:pt x="413" y="624"/>
                  </a:lnTo>
                  <a:lnTo>
                    <a:pt x="410" y="626"/>
                  </a:lnTo>
                  <a:lnTo>
                    <a:pt x="405" y="631"/>
                  </a:lnTo>
                  <a:lnTo>
                    <a:pt x="405" y="635"/>
                  </a:lnTo>
                  <a:lnTo>
                    <a:pt x="405" y="637"/>
                  </a:lnTo>
                  <a:lnTo>
                    <a:pt x="404" y="640"/>
                  </a:lnTo>
                  <a:lnTo>
                    <a:pt x="403" y="643"/>
                  </a:lnTo>
                  <a:lnTo>
                    <a:pt x="400" y="646"/>
                  </a:lnTo>
                  <a:lnTo>
                    <a:pt x="398" y="646"/>
                  </a:lnTo>
                  <a:lnTo>
                    <a:pt x="397" y="646"/>
                  </a:lnTo>
                  <a:lnTo>
                    <a:pt x="394" y="647"/>
                  </a:lnTo>
                  <a:lnTo>
                    <a:pt x="394" y="648"/>
                  </a:lnTo>
                  <a:lnTo>
                    <a:pt x="393" y="650"/>
                  </a:lnTo>
                  <a:lnTo>
                    <a:pt x="394" y="653"/>
                  </a:lnTo>
                  <a:lnTo>
                    <a:pt x="395" y="654"/>
                  </a:lnTo>
                  <a:lnTo>
                    <a:pt x="393" y="658"/>
                  </a:lnTo>
                  <a:lnTo>
                    <a:pt x="392" y="660"/>
                  </a:lnTo>
                  <a:lnTo>
                    <a:pt x="391" y="661"/>
                  </a:lnTo>
                  <a:lnTo>
                    <a:pt x="389" y="664"/>
                  </a:lnTo>
                  <a:lnTo>
                    <a:pt x="391" y="664"/>
                  </a:lnTo>
                  <a:lnTo>
                    <a:pt x="392" y="662"/>
                  </a:lnTo>
                  <a:lnTo>
                    <a:pt x="393" y="661"/>
                  </a:lnTo>
                  <a:lnTo>
                    <a:pt x="392" y="666"/>
                  </a:lnTo>
                  <a:lnTo>
                    <a:pt x="392" y="668"/>
                  </a:lnTo>
                  <a:lnTo>
                    <a:pt x="392" y="671"/>
                  </a:lnTo>
                  <a:lnTo>
                    <a:pt x="392" y="674"/>
                  </a:lnTo>
                  <a:lnTo>
                    <a:pt x="392" y="677"/>
                  </a:lnTo>
                  <a:lnTo>
                    <a:pt x="392" y="678"/>
                  </a:lnTo>
                  <a:lnTo>
                    <a:pt x="393" y="677"/>
                  </a:lnTo>
                  <a:lnTo>
                    <a:pt x="393" y="673"/>
                  </a:lnTo>
                  <a:lnTo>
                    <a:pt x="393" y="671"/>
                  </a:lnTo>
                  <a:lnTo>
                    <a:pt x="394" y="670"/>
                  </a:lnTo>
                  <a:lnTo>
                    <a:pt x="394" y="668"/>
                  </a:lnTo>
                  <a:lnTo>
                    <a:pt x="394" y="665"/>
                  </a:lnTo>
                  <a:lnTo>
                    <a:pt x="395" y="664"/>
                  </a:lnTo>
                  <a:lnTo>
                    <a:pt x="397" y="664"/>
                  </a:lnTo>
                  <a:lnTo>
                    <a:pt x="398" y="661"/>
                  </a:lnTo>
                  <a:lnTo>
                    <a:pt x="398" y="660"/>
                  </a:lnTo>
                  <a:lnTo>
                    <a:pt x="398" y="658"/>
                  </a:lnTo>
                  <a:lnTo>
                    <a:pt x="399" y="653"/>
                  </a:lnTo>
                  <a:lnTo>
                    <a:pt x="399" y="652"/>
                  </a:lnTo>
                  <a:lnTo>
                    <a:pt x="400" y="652"/>
                  </a:lnTo>
                  <a:lnTo>
                    <a:pt x="400" y="655"/>
                  </a:lnTo>
                  <a:lnTo>
                    <a:pt x="399" y="658"/>
                  </a:lnTo>
                  <a:lnTo>
                    <a:pt x="400" y="660"/>
                  </a:lnTo>
                  <a:lnTo>
                    <a:pt x="403" y="662"/>
                  </a:lnTo>
                  <a:lnTo>
                    <a:pt x="404" y="662"/>
                  </a:lnTo>
                  <a:lnTo>
                    <a:pt x="405" y="661"/>
                  </a:lnTo>
                  <a:lnTo>
                    <a:pt x="406" y="659"/>
                  </a:lnTo>
                  <a:lnTo>
                    <a:pt x="406" y="656"/>
                  </a:lnTo>
                  <a:lnTo>
                    <a:pt x="405" y="655"/>
                  </a:lnTo>
                  <a:lnTo>
                    <a:pt x="405" y="653"/>
                  </a:lnTo>
                  <a:lnTo>
                    <a:pt x="405" y="649"/>
                  </a:lnTo>
                  <a:lnTo>
                    <a:pt x="405" y="647"/>
                  </a:lnTo>
                  <a:lnTo>
                    <a:pt x="404" y="646"/>
                  </a:lnTo>
                  <a:lnTo>
                    <a:pt x="404" y="643"/>
                  </a:lnTo>
                  <a:lnTo>
                    <a:pt x="406" y="641"/>
                  </a:lnTo>
                  <a:lnTo>
                    <a:pt x="407" y="638"/>
                  </a:lnTo>
                  <a:lnTo>
                    <a:pt x="409" y="637"/>
                  </a:lnTo>
                  <a:lnTo>
                    <a:pt x="411" y="633"/>
                  </a:lnTo>
                  <a:lnTo>
                    <a:pt x="412" y="632"/>
                  </a:lnTo>
                  <a:lnTo>
                    <a:pt x="415" y="629"/>
                  </a:lnTo>
                  <a:lnTo>
                    <a:pt x="413" y="632"/>
                  </a:lnTo>
                  <a:lnTo>
                    <a:pt x="412" y="635"/>
                  </a:lnTo>
                  <a:lnTo>
                    <a:pt x="410" y="636"/>
                  </a:lnTo>
                  <a:lnTo>
                    <a:pt x="410" y="638"/>
                  </a:lnTo>
                  <a:lnTo>
                    <a:pt x="410" y="641"/>
                  </a:lnTo>
                  <a:lnTo>
                    <a:pt x="409" y="641"/>
                  </a:lnTo>
                  <a:lnTo>
                    <a:pt x="407" y="641"/>
                  </a:lnTo>
                  <a:lnTo>
                    <a:pt x="407" y="642"/>
                  </a:lnTo>
                  <a:lnTo>
                    <a:pt x="406" y="647"/>
                  </a:lnTo>
                  <a:lnTo>
                    <a:pt x="406" y="652"/>
                  </a:lnTo>
                  <a:lnTo>
                    <a:pt x="406" y="654"/>
                  </a:lnTo>
                  <a:lnTo>
                    <a:pt x="407" y="655"/>
                  </a:lnTo>
                  <a:lnTo>
                    <a:pt x="409" y="654"/>
                  </a:lnTo>
                  <a:lnTo>
                    <a:pt x="409" y="650"/>
                  </a:lnTo>
                  <a:lnTo>
                    <a:pt x="410" y="650"/>
                  </a:lnTo>
                  <a:lnTo>
                    <a:pt x="411" y="654"/>
                  </a:lnTo>
                  <a:lnTo>
                    <a:pt x="412" y="653"/>
                  </a:lnTo>
                  <a:lnTo>
                    <a:pt x="412" y="649"/>
                  </a:lnTo>
                  <a:lnTo>
                    <a:pt x="412" y="648"/>
                  </a:lnTo>
                  <a:lnTo>
                    <a:pt x="411" y="647"/>
                  </a:lnTo>
                  <a:lnTo>
                    <a:pt x="409" y="646"/>
                  </a:lnTo>
                  <a:lnTo>
                    <a:pt x="409" y="643"/>
                  </a:lnTo>
                  <a:lnTo>
                    <a:pt x="409" y="642"/>
                  </a:lnTo>
                  <a:lnTo>
                    <a:pt x="411" y="640"/>
                  </a:lnTo>
                  <a:lnTo>
                    <a:pt x="412" y="638"/>
                  </a:lnTo>
                  <a:lnTo>
                    <a:pt x="412" y="636"/>
                  </a:lnTo>
                  <a:lnTo>
                    <a:pt x="413" y="635"/>
                  </a:lnTo>
                  <a:lnTo>
                    <a:pt x="415" y="632"/>
                  </a:lnTo>
                  <a:lnTo>
                    <a:pt x="416" y="630"/>
                  </a:lnTo>
                  <a:lnTo>
                    <a:pt x="417" y="629"/>
                  </a:lnTo>
                  <a:lnTo>
                    <a:pt x="418" y="627"/>
                  </a:lnTo>
                  <a:lnTo>
                    <a:pt x="419" y="626"/>
                  </a:lnTo>
                  <a:lnTo>
                    <a:pt x="419" y="629"/>
                  </a:lnTo>
                  <a:lnTo>
                    <a:pt x="421" y="630"/>
                  </a:lnTo>
                  <a:lnTo>
                    <a:pt x="419" y="631"/>
                  </a:lnTo>
                  <a:lnTo>
                    <a:pt x="417" y="631"/>
                  </a:lnTo>
                  <a:lnTo>
                    <a:pt x="417" y="632"/>
                  </a:lnTo>
                  <a:lnTo>
                    <a:pt x="418" y="633"/>
                  </a:lnTo>
                  <a:lnTo>
                    <a:pt x="419" y="633"/>
                  </a:lnTo>
                  <a:lnTo>
                    <a:pt x="419" y="635"/>
                  </a:lnTo>
                  <a:lnTo>
                    <a:pt x="419" y="636"/>
                  </a:lnTo>
                  <a:lnTo>
                    <a:pt x="417" y="637"/>
                  </a:lnTo>
                  <a:lnTo>
                    <a:pt x="417" y="641"/>
                  </a:lnTo>
                  <a:lnTo>
                    <a:pt x="417" y="646"/>
                  </a:lnTo>
                  <a:lnTo>
                    <a:pt x="417" y="649"/>
                  </a:lnTo>
                  <a:lnTo>
                    <a:pt x="418" y="647"/>
                  </a:lnTo>
                  <a:lnTo>
                    <a:pt x="419" y="642"/>
                  </a:lnTo>
                  <a:lnTo>
                    <a:pt x="419" y="640"/>
                  </a:lnTo>
                  <a:lnTo>
                    <a:pt x="421" y="638"/>
                  </a:lnTo>
                  <a:lnTo>
                    <a:pt x="422" y="638"/>
                  </a:lnTo>
                  <a:lnTo>
                    <a:pt x="423" y="635"/>
                  </a:lnTo>
                  <a:lnTo>
                    <a:pt x="423" y="631"/>
                  </a:lnTo>
                  <a:lnTo>
                    <a:pt x="422" y="629"/>
                  </a:lnTo>
                  <a:lnTo>
                    <a:pt x="422" y="627"/>
                  </a:lnTo>
                  <a:lnTo>
                    <a:pt x="422" y="623"/>
                  </a:lnTo>
                  <a:lnTo>
                    <a:pt x="423" y="625"/>
                  </a:lnTo>
                  <a:lnTo>
                    <a:pt x="423" y="626"/>
                  </a:lnTo>
                  <a:lnTo>
                    <a:pt x="424" y="627"/>
                  </a:lnTo>
                  <a:lnTo>
                    <a:pt x="424" y="629"/>
                  </a:lnTo>
                  <a:lnTo>
                    <a:pt x="424" y="632"/>
                  </a:lnTo>
                  <a:lnTo>
                    <a:pt x="425" y="631"/>
                  </a:lnTo>
                  <a:lnTo>
                    <a:pt x="427" y="630"/>
                  </a:lnTo>
                  <a:lnTo>
                    <a:pt x="425" y="633"/>
                  </a:lnTo>
                  <a:lnTo>
                    <a:pt x="425" y="636"/>
                  </a:lnTo>
                  <a:lnTo>
                    <a:pt x="424" y="637"/>
                  </a:lnTo>
                  <a:lnTo>
                    <a:pt x="424" y="640"/>
                  </a:lnTo>
                  <a:lnTo>
                    <a:pt x="425" y="640"/>
                  </a:lnTo>
                  <a:lnTo>
                    <a:pt x="428" y="640"/>
                  </a:lnTo>
                  <a:lnTo>
                    <a:pt x="430" y="638"/>
                  </a:lnTo>
                  <a:lnTo>
                    <a:pt x="431" y="637"/>
                  </a:lnTo>
                  <a:lnTo>
                    <a:pt x="431" y="636"/>
                  </a:lnTo>
                  <a:lnTo>
                    <a:pt x="431" y="637"/>
                  </a:lnTo>
                  <a:lnTo>
                    <a:pt x="433" y="640"/>
                  </a:lnTo>
                  <a:lnTo>
                    <a:pt x="436" y="642"/>
                  </a:lnTo>
                  <a:lnTo>
                    <a:pt x="439" y="643"/>
                  </a:lnTo>
                  <a:lnTo>
                    <a:pt x="440" y="642"/>
                  </a:lnTo>
                  <a:lnTo>
                    <a:pt x="438" y="640"/>
                  </a:lnTo>
                  <a:lnTo>
                    <a:pt x="436" y="637"/>
                  </a:lnTo>
                  <a:lnTo>
                    <a:pt x="438" y="637"/>
                  </a:lnTo>
                  <a:lnTo>
                    <a:pt x="440" y="640"/>
                  </a:lnTo>
                  <a:lnTo>
                    <a:pt x="442" y="640"/>
                  </a:lnTo>
                  <a:lnTo>
                    <a:pt x="444" y="640"/>
                  </a:lnTo>
                  <a:lnTo>
                    <a:pt x="447" y="637"/>
                  </a:lnTo>
                  <a:lnTo>
                    <a:pt x="447" y="636"/>
                  </a:lnTo>
                  <a:lnTo>
                    <a:pt x="445" y="636"/>
                  </a:lnTo>
                  <a:lnTo>
                    <a:pt x="442" y="636"/>
                  </a:lnTo>
                  <a:lnTo>
                    <a:pt x="439" y="635"/>
                  </a:lnTo>
                  <a:lnTo>
                    <a:pt x="438" y="633"/>
                  </a:lnTo>
                  <a:lnTo>
                    <a:pt x="435" y="632"/>
                  </a:lnTo>
                  <a:lnTo>
                    <a:pt x="434" y="630"/>
                  </a:lnTo>
                  <a:lnTo>
                    <a:pt x="433" y="630"/>
                  </a:lnTo>
                  <a:lnTo>
                    <a:pt x="430" y="627"/>
                  </a:lnTo>
                  <a:lnTo>
                    <a:pt x="429" y="625"/>
                  </a:lnTo>
                  <a:lnTo>
                    <a:pt x="427" y="624"/>
                  </a:lnTo>
                  <a:lnTo>
                    <a:pt x="424" y="623"/>
                  </a:lnTo>
                  <a:lnTo>
                    <a:pt x="425" y="619"/>
                  </a:lnTo>
                  <a:lnTo>
                    <a:pt x="428" y="617"/>
                  </a:lnTo>
                  <a:lnTo>
                    <a:pt x="431" y="614"/>
                  </a:lnTo>
                  <a:lnTo>
                    <a:pt x="434" y="613"/>
                  </a:lnTo>
                  <a:lnTo>
                    <a:pt x="438" y="611"/>
                  </a:lnTo>
                  <a:lnTo>
                    <a:pt x="440" y="608"/>
                  </a:lnTo>
                  <a:lnTo>
                    <a:pt x="444" y="606"/>
                  </a:lnTo>
                  <a:lnTo>
                    <a:pt x="446" y="606"/>
                  </a:lnTo>
                  <a:lnTo>
                    <a:pt x="448" y="609"/>
                  </a:lnTo>
                  <a:lnTo>
                    <a:pt x="448" y="614"/>
                  </a:lnTo>
                  <a:lnTo>
                    <a:pt x="446" y="618"/>
                  </a:lnTo>
                  <a:lnTo>
                    <a:pt x="442" y="621"/>
                  </a:lnTo>
                  <a:lnTo>
                    <a:pt x="440" y="624"/>
                  </a:lnTo>
                  <a:lnTo>
                    <a:pt x="438" y="626"/>
                  </a:lnTo>
                  <a:lnTo>
                    <a:pt x="434" y="626"/>
                  </a:lnTo>
                  <a:lnTo>
                    <a:pt x="433" y="627"/>
                  </a:lnTo>
                  <a:lnTo>
                    <a:pt x="435" y="629"/>
                  </a:lnTo>
                  <a:lnTo>
                    <a:pt x="438" y="627"/>
                  </a:lnTo>
                  <a:lnTo>
                    <a:pt x="441" y="625"/>
                  </a:lnTo>
                  <a:lnTo>
                    <a:pt x="444" y="623"/>
                  </a:lnTo>
                  <a:lnTo>
                    <a:pt x="446" y="620"/>
                  </a:lnTo>
                  <a:lnTo>
                    <a:pt x="448" y="619"/>
                  </a:lnTo>
                  <a:lnTo>
                    <a:pt x="446" y="623"/>
                  </a:lnTo>
                  <a:lnTo>
                    <a:pt x="446" y="625"/>
                  </a:lnTo>
                  <a:lnTo>
                    <a:pt x="446" y="627"/>
                  </a:lnTo>
                  <a:lnTo>
                    <a:pt x="447" y="632"/>
                  </a:lnTo>
                  <a:lnTo>
                    <a:pt x="448" y="632"/>
                  </a:lnTo>
                  <a:lnTo>
                    <a:pt x="448" y="629"/>
                  </a:lnTo>
                  <a:lnTo>
                    <a:pt x="448" y="626"/>
                  </a:lnTo>
                  <a:lnTo>
                    <a:pt x="448" y="624"/>
                  </a:lnTo>
                  <a:lnTo>
                    <a:pt x="448" y="623"/>
                  </a:lnTo>
                  <a:lnTo>
                    <a:pt x="450" y="621"/>
                  </a:lnTo>
                  <a:lnTo>
                    <a:pt x="450" y="619"/>
                  </a:lnTo>
                  <a:lnTo>
                    <a:pt x="451" y="618"/>
                  </a:lnTo>
                  <a:lnTo>
                    <a:pt x="452" y="619"/>
                  </a:lnTo>
                  <a:lnTo>
                    <a:pt x="453" y="617"/>
                  </a:lnTo>
                  <a:lnTo>
                    <a:pt x="453" y="615"/>
                  </a:lnTo>
                  <a:lnTo>
                    <a:pt x="452" y="613"/>
                  </a:lnTo>
                  <a:lnTo>
                    <a:pt x="451" y="611"/>
                  </a:lnTo>
                  <a:lnTo>
                    <a:pt x="453" y="612"/>
                  </a:lnTo>
                  <a:lnTo>
                    <a:pt x="456" y="615"/>
                  </a:lnTo>
                  <a:lnTo>
                    <a:pt x="458" y="617"/>
                  </a:lnTo>
                  <a:lnTo>
                    <a:pt x="459" y="619"/>
                  </a:lnTo>
                  <a:lnTo>
                    <a:pt x="458" y="624"/>
                  </a:lnTo>
                  <a:lnTo>
                    <a:pt x="456" y="629"/>
                  </a:lnTo>
                  <a:lnTo>
                    <a:pt x="451" y="638"/>
                  </a:lnTo>
                  <a:lnTo>
                    <a:pt x="444" y="644"/>
                  </a:lnTo>
                  <a:lnTo>
                    <a:pt x="441" y="648"/>
                  </a:lnTo>
                  <a:lnTo>
                    <a:pt x="440" y="650"/>
                  </a:lnTo>
                  <a:lnTo>
                    <a:pt x="438" y="653"/>
                  </a:lnTo>
                  <a:lnTo>
                    <a:pt x="436" y="653"/>
                  </a:lnTo>
                  <a:lnTo>
                    <a:pt x="434" y="653"/>
                  </a:lnTo>
                  <a:lnTo>
                    <a:pt x="431" y="653"/>
                  </a:lnTo>
                  <a:lnTo>
                    <a:pt x="428" y="652"/>
                  </a:lnTo>
                  <a:lnTo>
                    <a:pt x="425" y="649"/>
                  </a:lnTo>
                  <a:lnTo>
                    <a:pt x="424" y="648"/>
                  </a:lnTo>
                  <a:lnTo>
                    <a:pt x="423" y="644"/>
                  </a:lnTo>
                  <a:lnTo>
                    <a:pt x="423" y="642"/>
                  </a:lnTo>
                  <a:lnTo>
                    <a:pt x="422" y="642"/>
                  </a:lnTo>
                  <a:lnTo>
                    <a:pt x="421" y="644"/>
                  </a:lnTo>
                  <a:lnTo>
                    <a:pt x="421" y="647"/>
                  </a:lnTo>
                  <a:lnTo>
                    <a:pt x="422" y="648"/>
                  </a:lnTo>
                  <a:lnTo>
                    <a:pt x="424" y="650"/>
                  </a:lnTo>
                  <a:lnTo>
                    <a:pt x="427" y="653"/>
                  </a:lnTo>
                  <a:lnTo>
                    <a:pt x="428" y="654"/>
                  </a:lnTo>
                  <a:lnTo>
                    <a:pt x="430" y="655"/>
                  </a:lnTo>
                  <a:lnTo>
                    <a:pt x="433" y="658"/>
                  </a:lnTo>
                  <a:lnTo>
                    <a:pt x="433" y="660"/>
                  </a:lnTo>
                  <a:lnTo>
                    <a:pt x="430" y="658"/>
                  </a:lnTo>
                  <a:lnTo>
                    <a:pt x="428" y="655"/>
                  </a:lnTo>
                  <a:lnTo>
                    <a:pt x="425" y="655"/>
                  </a:lnTo>
                  <a:lnTo>
                    <a:pt x="423" y="655"/>
                  </a:lnTo>
                  <a:lnTo>
                    <a:pt x="423" y="658"/>
                  </a:lnTo>
                  <a:lnTo>
                    <a:pt x="425" y="659"/>
                  </a:lnTo>
                  <a:lnTo>
                    <a:pt x="424" y="660"/>
                  </a:lnTo>
                  <a:lnTo>
                    <a:pt x="423" y="659"/>
                  </a:lnTo>
                  <a:lnTo>
                    <a:pt x="421" y="658"/>
                  </a:lnTo>
                  <a:lnTo>
                    <a:pt x="419" y="658"/>
                  </a:lnTo>
                  <a:lnTo>
                    <a:pt x="422" y="660"/>
                  </a:lnTo>
                  <a:lnTo>
                    <a:pt x="423" y="662"/>
                  </a:lnTo>
                  <a:lnTo>
                    <a:pt x="422" y="664"/>
                  </a:lnTo>
                  <a:lnTo>
                    <a:pt x="421" y="666"/>
                  </a:lnTo>
                  <a:lnTo>
                    <a:pt x="419" y="666"/>
                  </a:lnTo>
                  <a:lnTo>
                    <a:pt x="418" y="666"/>
                  </a:lnTo>
                  <a:lnTo>
                    <a:pt x="416" y="665"/>
                  </a:lnTo>
                  <a:lnTo>
                    <a:pt x="416" y="666"/>
                  </a:lnTo>
                  <a:lnTo>
                    <a:pt x="417" y="667"/>
                  </a:lnTo>
                  <a:lnTo>
                    <a:pt x="412" y="673"/>
                  </a:lnTo>
                  <a:lnTo>
                    <a:pt x="409" y="674"/>
                  </a:lnTo>
                  <a:lnTo>
                    <a:pt x="406" y="678"/>
                  </a:lnTo>
                  <a:lnTo>
                    <a:pt x="404" y="680"/>
                  </a:lnTo>
                  <a:lnTo>
                    <a:pt x="403" y="684"/>
                  </a:lnTo>
                  <a:lnTo>
                    <a:pt x="403" y="688"/>
                  </a:lnTo>
                  <a:lnTo>
                    <a:pt x="404" y="688"/>
                  </a:lnTo>
                  <a:lnTo>
                    <a:pt x="405" y="685"/>
                  </a:lnTo>
                  <a:lnTo>
                    <a:pt x="405" y="683"/>
                  </a:lnTo>
                  <a:lnTo>
                    <a:pt x="407" y="680"/>
                  </a:lnTo>
                  <a:lnTo>
                    <a:pt x="410" y="679"/>
                  </a:lnTo>
                  <a:lnTo>
                    <a:pt x="412" y="676"/>
                  </a:lnTo>
                  <a:lnTo>
                    <a:pt x="415" y="673"/>
                  </a:lnTo>
                  <a:lnTo>
                    <a:pt x="417" y="671"/>
                  </a:lnTo>
                  <a:lnTo>
                    <a:pt x="419" y="670"/>
                  </a:lnTo>
                  <a:lnTo>
                    <a:pt x="422" y="667"/>
                  </a:lnTo>
                  <a:lnTo>
                    <a:pt x="424" y="665"/>
                  </a:lnTo>
                  <a:lnTo>
                    <a:pt x="427" y="666"/>
                  </a:lnTo>
                  <a:lnTo>
                    <a:pt x="428" y="667"/>
                  </a:lnTo>
                  <a:lnTo>
                    <a:pt x="425" y="671"/>
                  </a:lnTo>
                  <a:lnTo>
                    <a:pt x="424" y="673"/>
                  </a:lnTo>
                  <a:lnTo>
                    <a:pt x="423" y="674"/>
                  </a:lnTo>
                  <a:lnTo>
                    <a:pt x="425" y="674"/>
                  </a:lnTo>
                  <a:lnTo>
                    <a:pt x="428" y="671"/>
                  </a:lnTo>
                  <a:lnTo>
                    <a:pt x="429" y="670"/>
                  </a:lnTo>
                  <a:lnTo>
                    <a:pt x="430" y="670"/>
                  </a:lnTo>
                  <a:lnTo>
                    <a:pt x="433" y="667"/>
                  </a:lnTo>
                  <a:lnTo>
                    <a:pt x="431" y="665"/>
                  </a:lnTo>
                  <a:lnTo>
                    <a:pt x="431" y="662"/>
                  </a:lnTo>
                  <a:lnTo>
                    <a:pt x="434" y="662"/>
                  </a:lnTo>
                  <a:lnTo>
                    <a:pt x="438" y="664"/>
                  </a:lnTo>
                  <a:lnTo>
                    <a:pt x="439" y="666"/>
                  </a:lnTo>
                  <a:lnTo>
                    <a:pt x="439" y="668"/>
                  </a:lnTo>
                  <a:lnTo>
                    <a:pt x="438" y="670"/>
                  </a:lnTo>
                  <a:lnTo>
                    <a:pt x="436" y="668"/>
                  </a:lnTo>
                  <a:lnTo>
                    <a:pt x="434" y="668"/>
                  </a:lnTo>
                  <a:lnTo>
                    <a:pt x="433" y="670"/>
                  </a:lnTo>
                  <a:lnTo>
                    <a:pt x="431" y="671"/>
                  </a:lnTo>
                  <a:lnTo>
                    <a:pt x="429" y="672"/>
                  </a:lnTo>
                  <a:lnTo>
                    <a:pt x="427" y="674"/>
                  </a:lnTo>
                  <a:lnTo>
                    <a:pt x="427" y="678"/>
                  </a:lnTo>
                  <a:lnTo>
                    <a:pt x="425" y="679"/>
                  </a:lnTo>
                  <a:lnTo>
                    <a:pt x="423" y="678"/>
                  </a:lnTo>
                  <a:lnTo>
                    <a:pt x="422" y="680"/>
                  </a:lnTo>
                  <a:lnTo>
                    <a:pt x="423" y="682"/>
                  </a:lnTo>
                  <a:lnTo>
                    <a:pt x="428" y="682"/>
                  </a:lnTo>
                  <a:lnTo>
                    <a:pt x="430" y="679"/>
                  </a:lnTo>
                  <a:lnTo>
                    <a:pt x="431" y="677"/>
                  </a:lnTo>
                  <a:lnTo>
                    <a:pt x="434" y="677"/>
                  </a:lnTo>
                  <a:lnTo>
                    <a:pt x="436" y="676"/>
                  </a:lnTo>
                  <a:lnTo>
                    <a:pt x="438" y="674"/>
                  </a:lnTo>
                  <a:lnTo>
                    <a:pt x="439" y="674"/>
                  </a:lnTo>
                  <a:lnTo>
                    <a:pt x="439" y="676"/>
                  </a:lnTo>
                  <a:lnTo>
                    <a:pt x="435" y="679"/>
                  </a:lnTo>
                  <a:lnTo>
                    <a:pt x="434" y="680"/>
                  </a:lnTo>
                  <a:lnTo>
                    <a:pt x="431" y="682"/>
                  </a:lnTo>
                  <a:lnTo>
                    <a:pt x="429" y="684"/>
                  </a:lnTo>
                  <a:lnTo>
                    <a:pt x="427" y="685"/>
                  </a:lnTo>
                  <a:lnTo>
                    <a:pt x="428" y="686"/>
                  </a:lnTo>
                  <a:lnTo>
                    <a:pt x="429" y="688"/>
                  </a:lnTo>
                  <a:lnTo>
                    <a:pt x="431" y="688"/>
                  </a:lnTo>
                  <a:lnTo>
                    <a:pt x="434" y="691"/>
                  </a:lnTo>
                  <a:lnTo>
                    <a:pt x="436" y="694"/>
                  </a:lnTo>
                  <a:lnTo>
                    <a:pt x="439" y="696"/>
                  </a:lnTo>
                  <a:lnTo>
                    <a:pt x="438" y="698"/>
                  </a:lnTo>
                  <a:lnTo>
                    <a:pt x="436" y="700"/>
                  </a:lnTo>
                  <a:lnTo>
                    <a:pt x="435" y="696"/>
                  </a:lnTo>
                  <a:lnTo>
                    <a:pt x="434" y="694"/>
                  </a:lnTo>
                  <a:lnTo>
                    <a:pt x="431" y="694"/>
                  </a:lnTo>
                  <a:lnTo>
                    <a:pt x="429" y="692"/>
                  </a:lnTo>
                  <a:lnTo>
                    <a:pt x="429" y="694"/>
                  </a:lnTo>
                  <a:lnTo>
                    <a:pt x="431" y="697"/>
                  </a:lnTo>
                  <a:lnTo>
                    <a:pt x="431" y="698"/>
                  </a:lnTo>
                  <a:lnTo>
                    <a:pt x="428" y="700"/>
                  </a:lnTo>
                  <a:lnTo>
                    <a:pt x="427" y="701"/>
                  </a:lnTo>
                  <a:lnTo>
                    <a:pt x="429" y="704"/>
                  </a:lnTo>
                  <a:lnTo>
                    <a:pt x="431" y="704"/>
                  </a:lnTo>
                  <a:lnTo>
                    <a:pt x="431" y="707"/>
                  </a:lnTo>
                  <a:lnTo>
                    <a:pt x="434" y="708"/>
                  </a:lnTo>
                  <a:lnTo>
                    <a:pt x="436" y="707"/>
                  </a:lnTo>
                  <a:lnTo>
                    <a:pt x="438" y="704"/>
                  </a:lnTo>
                  <a:lnTo>
                    <a:pt x="440" y="706"/>
                  </a:lnTo>
                  <a:lnTo>
                    <a:pt x="442" y="706"/>
                  </a:lnTo>
                  <a:lnTo>
                    <a:pt x="442" y="704"/>
                  </a:lnTo>
                  <a:lnTo>
                    <a:pt x="442" y="702"/>
                  </a:lnTo>
                  <a:lnTo>
                    <a:pt x="441" y="701"/>
                  </a:lnTo>
                  <a:lnTo>
                    <a:pt x="440" y="700"/>
                  </a:lnTo>
                  <a:lnTo>
                    <a:pt x="441" y="700"/>
                  </a:lnTo>
                  <a:lnTo>
                    <a:pt x="442" y="701"/>
                  </a:lnTo>
                  <a:lnTo>
                    <a:pt x="445" y="700"/>
                  </a:lnTo>
                  <a:lnTo>
                    <a:pt x="446" y="696"/>
                  </a:lnTo>
                  <a:lnTo>
                    <a:pt x="447" y="695"/>
                  </a:lnTo>
                  <a:lnTo>
                    <a:pt x="450" y="694"/>
                  </a:lnTo>
                  <a:lnTo>
                    <a:pt x="452" y="694"/>
                  </a:lnTo>
                  <a:lnTo>
                    <a:pt x="453" y="692"/>
                  </a:lnTo>
                  <a:lnTo>
                    <a:pt x="456" y="691"/>
                  </a:lnTo>
                  <a:lnTo>
                    <a:pt x="458" y="691"/>
                  </a:lnTo>
                  <a:lnTo>
                    <a:pt x="458" y="694"/>
                  </a:lnTo>
                  <a:lnTo>
                    <a:pt x="457" y="695"/>
                  </a:lnTo>
                  <a:lnTo>
                    <a:pt x="456" y="696"/>
                  </a:lnTo>
                  <a:lnTo>
                    <a:pt x="454" y="698"/>
                  </a:lnTo>
                  <a:lnTo>
                    <a:pt x="453" y="697"/>
                  </a:lnTo>
                  <a:lnTo>
                    <a:pt x="452" y="696"/>
                  </a:lnTo>
                  <a:lnTo>
                    <a:pt x="450" y="696"/>
                  </a:lnTo>
                  <a:lnTo>
                    <a:pt x="448" y="698"/>
                  </a:lnTo>
                  <a:lnTo>
                    <a:pt x="447" y="701"/>
                  </a:lnTo>
                  <a:lnTo>
                    <a:pt x="448" y="703"/>
                  </a:lnTo>
                  <a:lnTo>
                    <a:pt x="450" y="706"/>
                  </a:lnTo>
                  <a:lnTo>
                    <a:pt x="451" y="706"/>
                  </a:lnTo>
                  <a:lnTo>
                    <a:pt x="453" y="704"/>
                  </a:lnTo>
                  <a:lnTo>
                    <a:pt x="454" y="702"/>
                  </a:lnTo>
                  <a:lnTo>
                    <a:pt x="458" y="703"/>
                  </a:lnTo>
                  <a:lnTo>
                    <a:pt x="459" y="702"/>
                  </a:lnTo>
                  <a:lnTo>
                    <a:pt x="459" y="703"/>
                  </a:lnTo>
                  <a:lnTo>
                    <a:pt x="457" y="706"/>
                  </a:lnTo>
                  <a:lnTo>
                    <a:pt x="454" y="707"/>
                  </a:lnTo>
                  <a:lnTo>
                    <a:pt x="453" y="708"/>
                  </a:lnTo>
                  <a:lnTo>
                    <a:pt x="452" y="708"/>
                  </a:lnTo>
                  <a:lnTo>
                    <a:pt x="453" y="710"/>
                  </a:lnTo>
                  <a:lnTo>
                    <a:pt x="453" y="713"/>
                  </a:lnTo>
                  <a:lnTo>
                    <a:pt x="453" y="714"/>
                  </a:lnTo>
                  <a:lnTo>
                    <a:pt x="451" y="713"/>
                  </a:lnTo>
                  <a:lnTo>
                    <a:pt x="450" y="713"/>
                  </a:lnTo>
                  <a:lnTo>
                    <a:pt x="447" y="713"/>
                  </a:lnTo>
                  <a:lnTo>
                    <a:pt x="447" y="709"/>
                  </a:lnTo>
                  <a:lnTo>
                    <a:pt x="447" y="707"/>
                  </a:lnTo>
                  <a:lnTo>
                    <a:pt x="444" y="708"/>
                  </a:lnTo>
                  <a:lnTo>
                    <a:pt x="446" y="710"/>
                  </a:lnTo>
                  <a:lnTo>
                    <a:pt x="445" y="714"/>
                  </a:lnTo>
                  <a:lnTo>
                    <a:pt x="445" y="713"/>
                  </a:lnTo>
                  <a:lnTo>
                    <a:pt x="444" y="714"/>
                  </a:lnTo>
                  <a:lnTo>
                    <a:pt x="442" y="715"/>
                  </a:lnTo>
                  <a:lnTo>
                    <a:pt x="441" y="718"/>
                  </a:lnTo>
                  <a:lnTo>
                    <a:pt x="442" y="719"/>
                  </a:lnTo>
                  <a:lnTo>
                    <a:pt x="444" y="721"/>
                  </a:lnTo>
                  <a:lnTo>
                    <a:pt x="444" y="724"/>
                  </a:lnTo>
                  <a:lnTo>
                    <a:pt x="445" y="724"/>
                  </a:lnTo>
                  <a:lnTo>
                    <a:pt x="447" y="720"/>
                  </a:lnTo>
                  <a:lnTo>
                    <a:pt x="450" y="719"/>
                  </a:lnTo>
                  <a:lnTo>
                    <a:pt x="453" y="718"/>
                  </a:lnTo>
                  <a:lnTo>
                    <a:pt x="456" y="716"/>
                  </a:lnTo>
                  <a:lnTo>
                    <a:pt x="456" y="719"/>
                  </a:lnTo>
                  <a:lnTo>
                    <a:pt x="459" y="719"/>
                  </a:lnTo>
                  <a:lnTo>
                    <a:pt x="459" y="718"/>
                  </a:lnTo>
                  <a:lnTo>
                    <a:pt x="458" y="715"/>
                  </a:lnTo>
                  <a:lnTo>
                    <a:pt x="457" y="714"/>
                  </a:lnTo>
                  <a:lnTo>
                    <a:pt x="457" y="713"/>
                  </a:lnTo>
                  <a:lnTo>
                    <a:pt x="459" y="712"/>
                  </a:lnTo>
                  <a:lnTo>
                    <a:pt x="460" y="714"/>
                  </a:lnTo>
                  <a:lnTo>
                    <a:pt x="460" y="718"/>
                  </a:lnTo>
                  <a:lnTo>
                    <a:pt x="463" y="719"/>
                  </a:lnTo>
                  <a:lnTo>
                    <a:pt x="464" y="718"/>
                  </a:lnTo>
                  <a:lnTo>
                    <a:pt x="464" y="715"/>
                  </a:lnTo>
                  <a:lnTo>
                    <a:pt x="462" y="712"/>
                  </a:lnTo>
                  <a:lnTo>
                    <a:pt x="464" y="712"/>
                  </a:lnTo>
                  <a:lnTo>
                    <a:pt x="466" y="712"/>
                  </a:lnTo>
                  <a:lnTo>
                    <a:pt x="470" y="712"/>
                  </a:lnTo>
                  <a:lnTo>
                    <a:pt x="471" y="712"/>
                  </a:lnTo>
                  <a:lnTo>
                    <a:pt x="474" y="712"/>
                  </a:lnTo>
                  <a:lnTo>
                    <a:pt x="475" y="713"/>
                  </a:lnTo>
                  <a:lnTo>
                    <a:pt x="474" y="716"/>
                  </a:lnTo>
                  <a:lnTo>
                    <a:pt x="471" y="719"/>
                  </a:lnTo>
                  <a:lnTo>
                    <a:pt x="470" y="720"/>
                  </a:lnTo>
                  <a:lnTo>
                    <a:pt x="468" y="720"/>
                  </a:lnTo>
                  <a:lnTo>
                    <a:pt x="466" y="721"/>
                  </a:lnTo>
                  <a:lnTo>
                    <a:pt x="469" y="724"/>
                  </a:lnTo>
                  <a:lnTo>
                    <a:pt x="471" y="722"/>
                  </a:lnTo>
                  <a:lnTo>
                    <a:pt x="474" y="721"/>
                  </a:lnTo>
                  <a:lnTo>
                    <a:pt x="476" y="722"/>
                  </a:lnTo>
                  <a:lnTo>
                    <a:pt x="476" y="725"/>
                  </a:lnTo>
                  <a:lnTo>
                    <a:pt x="475" y="727"/>
                  </a:lnTo>
                  <a:lnTo>
                    <a:pt x="474" y="728"/>
                  </a:lnTo>
                  <a:lnTo>
                    <a:pt x="471" y="728"/>
                  </a:lnTo>
                  <a:lnTo>
                    <a:pt x="469" y="727"/>
                  </a:lnTo>
                  <a:lnTo>
                    <a:pt x="469" y="730"/>
                  </a:lnTo>
                  <a:lnTo>
                    <a:pt x="472" y="733"/>
                  </a:lnTo>
                  <a:lnTo>
                    <a:pt x="474" y="733"/>
                  </a:lnTo>
                  <a:lnTo>
                    <a:pt x="476" y="734"/>
                  </a:lnTo>
                  <a:lnTo>
                    <a:pt x="477" y="734"/>
                  </a:lnTo>
                  <a:lnTo>
                    <a:pt x="480" y="736"/>
                  </a:lnTo>
                  <a:lnTo>
                    <a:pt x="480" y="733"/>
                  </a:lnTo>
                  <a:lnTo>
                    <a:pt x="481" y="731"/>
                  </a:lnTo>
                  <a:lnTo>
                    <a:pt x="481" y="730"/>
                  </a:lnTo>
                  <a:lnTo>
                    <a:pt x="482" y="724"/>
                  </a:lnTo>
                  <a:lnTo>
                    <a:pt x="482" y="722"/>
                  </a:lnTo>
                  <a:lnTo>
                    <a:pt x="484" y="724"/>
                  </a:lnTo>
                  <a:lnTo>
                    <a:pt x="486" y="721"/>
                  </a:lnTo>
                  <a:lnTo>
                    <a:pt x="488" y="720"/>
                  </a:lnTo>
                  <a:lnTo>
                    <a:pt x="490" y="720"/>
                  </a:lnTo>
                  <a:lnTo>
                    <a:pt x="492" y="719"/>
                  </a:lnTo>
                  <a:lnTo>
                    <a:pt x="495" y="718"/>
                  </a:lnTo>
                  <a:lnTo>
                    <a:pt x="498" y="715"/>
                  </a:lnTo>
                  <a:lnTo>
                    <a:pt x="499" y="714"/>
                  </a:lnTo>
                  <a:lnTo>
                    <a:pt x="500" y="718"/>
                  </a:lnTo>
                  <a:lnTo>
                    <a:pt x="500" y="722"/>
                  </a:lnTo>
                  <a:lnTo>
                    <a:pt x="503" y="726"/>
                  </a:lnTo>
                  <a:lnTo>
                    <a:pt x="507" y="726"/>
                  </a:lnTo>
                  <a:lnTo>
                    <a:pt x="510" y="724"/>
                  </a:lnTo>
                  <a:lnTo>
                    <a:pt x="512" y="721"/>
                  </a:lnTo>
                  <a:lnTo>
                    <a:pt x="512" y="719"/>
                  </a:lnTo>
                  <a:lnTo>
                    <a:pt x="512" y="716"/>
                  </a:lnTo>
                  <a:lnTo>
                    <a:pt x="513" y="715"/>
                  </a:lnTo>
                  <a:lnTo>
                    <a:pt x="513" y="714"/>
                  </a:lnTo>
                  <a:lnTo>
                    <a:pt x="516" y="715"/>
                  </a:lnTo>
                  <a:lnTo>
                    <a:pt x="515" y="718"/>
                  </a:lnTo>
                  <a:lnTo>
                    <a:pt x="515" y="724"/>
                  </a:lnTo>
                  <a:lnTo>
                    <a:pt x="518" y="722"/>
                  </a:lnTo>
                  <a:lnTo>
                    <a:pt x="519" y="721"/>
                  </a:lnTo>
                  <a:lnTo>
                    <a:pt x="519" y="724"/>
                  </a:lnTo>
                  <a:lnTo>
                    <a:pt x="519" y="732"/>
                  </a:lnTo>
                  <a:lnTo>
                    <a:pt x="522" y="734"/>
                  </a:lnTo>
                  <a:lnTo>
                    <a:pt x="525" y="736"/>
                  </a:lnTo>
                  <a:lnTo>
                    <a:pt x="527" y="736"/>
                  </a:lnTo>
                  <a:lnTo>
                    <a:pt x="528" y="733"/>
                  </a:lnTo>
                  <a:lnTo>
                    <a:pt x="529" y="731"/>
                  </a:lnTo>
                  <a:lnTo>
                    <a:pt x="528" y="731"/>
                  </a:lnTo>
                  <a:lnTo>
                    <a:pt x="525" y="730"/>
                  </a:lnTo>
                  <a:lnTo>
                    <a:pt x="523" y="730"/>
                  </a:lnTo>
                  <a:lnTo>
                    <a:pt x="522" y="728"/>
                  </a:lnTo>
                  <a:lnTo>
                    <a:pt x="522" y="726"/>
                  </a:lnTo>
                  <a:lnTo>
                    <a:pt x="522" y="724"/>
                  </a:lnTo>
                  <a:lnTo>
                    <a:pt x="523" y="724"/>
                  </a:lnTo>
                  <a:lnTo>
                    <a:pt x="527" y="726"/>
                  </a:lnTo>
                  <a:lnTo>
                    <a:pt x="529" y="727"/>
                  </a:lnTo>
                  <a:lnTo>
                    <a:pt x="531" y="727"/>
                  </a:lnTo>
                  <a:lnTo>
                    <a:pt x="534" y="728"/>
                  </a:lnTo>
                  <a:lnTo>
                    <a:pt x="535" y="728"/>
                  </a:lnTo>
                  <a:lnTo>
                    <a:pt x="537" y="726"/>
                  </a:lnTo>
                  <a:lnTo>
                    <a:pt x="535" y="724"/>
                  </a:lnTo>
                  <a:lnTo>
                    <a:pt x="536" y="724"/>
                  </a:lnTo>
                  <a:lnTo>
                    <a:pt x="537" y="724"/>
                  </a:lnTo>
                  <a:lnTo>
                    <a:pt x="540" y="725"/>
                  </a:lnTo>
                  <a:lnTo>
                    <a:pt x="541" y="724"/>
                  </a:lnTo>
                  <a:lnTo>
                    <a:pt x="537" y="720"/>
                  </a:lnTo>
                  <a:lnTo>
                    <a:pt x="537" y="719"/>
                  </a:lnTo>
                  <a:lnTo>
                    <a:pt x="540" y="719"/>
                  </a:lnTo>
                  <a:lnTo>
                    <a:pt x="545" y="720"/>
                  </a:lnTo>
                  <a:lnTo>
                    <a:pt x="547" y="720"/>
                  </a:lnTo>
                  <a:lnTo>
                    <a:pt x="548" y="719"/>
                  </a:lnTo>
                  <a:lnTo>
                    <a:pt x="548" y="718"/>
                  </a:lnTo>
                  <a:lnTo>
                    <a:pt x="551" y="715"/>
                  </a:lnTo>
                  <a:lnTo>
                    <a:pt x="551" y="713"/>
                  </a:lnTo>
                  <a:lnTo>
                    <a:pt x="553" y="713"/>
                  </a:lnTo>
                  <a:lnTo>
                    <a:pt x="554" y="713"/>
                  </a:lnTo>
                  <a:lnTo>
                    <a:pt x="557" y="710"/>
                  </a:lnTo>
                  <a:lnTo>
                    <a:pt x="557" y="708"/>
                  </a:lnTo>
                  <a:lnTo>
                    <a:pt x="558" y="706"/>
                  </a:lnTo>
                  <a:lnTo>
                    <a:pt x="563" y="707"/>
                  </a:lnTo>
                  <a:lnTo>
                    <a:pt x="565" y="706"/>
                  </a:lnTo>
                  <a:lnTo>
                    <a:pt x="566" y="703"/>
                  </a:lnTo>
                  <a:lnTo>
                    <a:pt x="566" y="707"/>
                  </a:lnTo>
                  <a:lnTo>
                    <a:pt x="566" y="710"/>
                  </a:lnTo>
                  <a:lnTo>
                    <a:pt x="568" y="713"/>
                  </a:lnTo>
                  <a:lnTo>
                    <a:pt x="570" y="716"/>
                  </a:lnTo>
                  <a:lnTo>
                    <a:pt x="572" y="715"/>
                  </a:lnTo>
                  <a:lnTo>
                    <a:pt x="576" y="713"/>
                  </a:lnTo>
                  <a:lnTo>
                    <a:pt x="574" y="716"/>
                  </a:lnTo>
                  <a:lnTo>
                    <a:pt x="572" y="719"/>
                  </a:lnTo>
                  <a:lnTo>
                    <a:pt x="574" y="721"/>
                  </a:lnTo>
                  <a:lnTo>
                    <a:pt x="576" y="721"/>
                  </a:lnTo>
                  <a:lnTo>
                    <a:pt x="578" y="721"/>
                  </a:lnTo>
                  <a:lnTo>
                    <a:pt x="580" y="720"/>
                  </a:lnTo>
                  <a:lnTo>
                    <a:pt x="583" y="719"/>
                  </a:lnTo>
                  <a:lnTo>
                    <a:pt x="583" y="718"/>
                  </a:lnTo>
                  <a:lnTo>
                    <a:pt x="586" y="715"/>
                  </a:lnTo>
                  <a:lnTo>
                    <a:pt x="590" y="713"/>
                  </a:lnTo>
                  <a:lnTo>
                    <a:pt x="593" y="710"/>
                  </a:lnTo>
                  <a:lnTo>
                    <a:pt x="595" y="709"/>
                  </a:lnTo>
                  <a:lnTo>
                    <a:pt x="595" y="708"/>
                  </a:lnTo>
                  <a:lnTo>
                    <a:pt x="593" y="707"/>
                  </a:lnTo>
                  <a:lnTo>
                    <a:pt x="595" y="706"/>
                  </a:lnTo>
                  <a:lnTo>
                    <a:pt x="598" y="706"/>
                  </a:lnTo>
                  <a:lnTo>
                    <a:pt x="601" y="704"/>
                  </a:lnTo>
                  <a:lnTo>
                    <a:pt x="601" y="703"/>
                  </a:lnTo>
                  <a:lnTo>
                    <a:pt x="601" y="701"/>
                  </a:lnTo>
                  <a:lnTo>
                    <a:pt x="600" y="700"/>
                  </a:lnTo>
                  <a:lnTo>
                    <a:pt x="601" y="697"/>
                  </a:lnTo>
                  <a:lnTo>
                    <a:pt x="601" y="695"/>
                  </a:lnTo>
                  <a:lnTo>
                    <a:pt x="600" y="694"/>
                  </a:lnTo>
                  <a:lnTo>
                    <a:pt x="601" y="692"/>
                  </a:lnTo>
                  <a:lnTo>
                    <a:pt x="604" y="691"/>
                  </a:lnTo>
                  <a:lnTo>
                    <a:pt x="605" y="689"/>
                  </a:lnTo>
                  <a:lnTo>
                    <a:pt x="606" y="686"/>
                  </a:lnTo>
                  <a:lnTo>
                    <a:pt x="604" y="685"/>
                  </a:lnTo>
                  <a:lnTo>
                    <a:pt x="602" y="683"/>
                  </a:lnTo>
                  <a:lnTo>
                    <a:pt x="601" y="683"/>
                  </a:lnTo>
                  <a:lnTo>
                    <a:pt x="600" y="684"/>
                  </a:lnTo>
                  <a:lnTo>
                    <a:pt x="598" y="686"/>
                  </a:lnTo>
                  <a:lnTo>
                    <a:pt x="595" y="688"/>
                  </a:lnTo>
                  <a:lnTo>
                    <a:pt x="596" y="685"/>
                  </a:lnTo>
                  <a:lnTo>
                    <a:pt x="596" y="683"/>
                  </a:lnTo>
                  <a:lnTo>
                    <a:pt x="594" y="683"/>
                  </a:lnTo>
                  <a:lnTo>
                    <a:pt x="593" y="682"/>
                  </a:lnTo>
                  <a:lnTo>
                    <a:pt x="592" y="680"/>
                  </a:lnTo>
                  <a:lnTo>
                    <a:pt x="590" y="682"/>
                  </a:lnTo>
                  <a:lnTo>
                    <a:pt x="590" y="685"/>
                  </a:lnTo>
                  <a:lnTo>
                    <a:pt x="588" y="685"/>
                  </a:lnTo>
                  <a:lnTo>
                    <a:pt x="587" y="690"/>
                  </a:lnTo>
                  <a:lnTo>
                    <a:pt x="587" y="689"/>
                  </a:lnTo>
                  <a:lnTo>
                    <a:pt x="586" y="685"/>
                  </a:lnTo>
                  <a:lnTo>
                    <a:pt x="583" y="688"/>
                  </a:lnTo>
                  <a:lnTo>
                    <a:pt x="582" y="690"/>
                  </a:lnTo>
                  <a:lnTo>
                    <a:pt x="581" y="691"/>
                  </a:lnTo>
                  <a:lnTo>
                    <a:pt x="580" y="691"/>
                  </a:lnTo>
                  <a:lnTo>
                    <a:pt x="581" y="688"/>
                  </a:lnTo>
                  <a:lnTo>
                    <a:pt x="581" y="685"/>
                  </a:lnTo>
                  <a:lnTo>
                    <a:pt x="578" y="686"/>
                  </a:lnTo>
                  <a:lnTo>
                    <a:pt x="578" y="684"/>
                  </a:lnTo>
                  <a:lnTo>
                    <a:pt x="576" y="684"/>
                  </a:lnTo>
                  <a:lnTo>
                    <a:pt x="575" y="686"/>
                  </a:lnTo>
                  <a:lnTo>
                    <a:pt x="574" y="688"/>
                  </a:lnTo>
                  <a:lnTo>
                    <a:pt x="571" y="688"/>
                  </a:lnTo>
                  <a:lnTo>
                    <a:pt x="569" y="689"/>
                  </a:lnTo>
                  <a:lnTo>
                    <a:pt x="568" y="688"/>
                  </a:lnTo>
                  <a:lnTo>
                    <a:pt x="570" y="685"/>
                  </a:lnTo>
                  <a:lnTo>
                    <a:pt x="572" y="684"/>
                  </a:lnTo>
                  <a:lnTo>
                    <a:pt x="572" y="683"/>
                  </a:lnTo>
                  <a:lnTo>
                    <a:pt x="571" y="679"/>
                  </a:lnTo>
                  <a:lnTo>
                    <a:pt x="569" y="677"/>
                  </a:lnTo>
                  <a:lnTo>
                    <a:pt x="568" y="677"/>
                  </a:lnTo>
                  <a:lnTo>
                    <a:pt x="566" y="678"/>
                  </a:lnTo>
                  <a:lnTo>
                    <a:pt x="566" y="677"/>
                  </a:lnTo>
                  <a:lnTo>
                    <a:pt x="566" y="674"/>
                  </a:lnTo>
                  <a:lnTo>
                    <a:pt x="565" y="673"/>
                  </a:lnTo>
                  <a:lnTo>
                    <a:pt x="564" y="672"/>
                  </a:lnTo>
                  <a:lnTo>
                    <a:pt x="564" y="671"/>
                  </a:lnTo>
                  <a:lnTo>
                    <a:pt x="563" y="668"/>
                  </a:lnTo>
                  <a:lnTo>
                    <a:pt x="562" y="667"/>
                  </a:lnTo>
                  <a:lnTo>
                    <a:pt x="558" y="667"/>
                  </a:lnTo>
                  <a:lnTo>
                    <a:pt x="556" y="667"/>
                  </a:lnTo>
                  <a:lnTo>
                    <a:pt x="549" y="667"/>
                  </a:lnTo>
                  <a:lnTo>
                    <a:pt x="551" y="666"/>
                  </a:lnTo>
                  <a:lnTo>
                    <a:pt x="548" y="662"/>
                  </a:lnTo>
                  <a:lnTo>
                    <a:pt x="548" y="661"/>
                  </a:lnTo>
                  <a:lnTo>
                    <a:pt x="548" y="660"/>
                  </a:lnTo>
                  <a:lnTo>
                    <a:pt x="546" y="659"/>
                  </a:lnTo>
                  <a:lnTo>
                    <a:pt x="543" y="658"/>
                  </a:lnTo>
                  <a:lnTo>
                    <a:pt x="543" y="656"/>
                  </a:lnTo>
                  <a:lnTo>
                    <a:pt x="543" y="653"/>
                  </a:lnTo>
                  <a:lnTo>
                    <a:pt x="545" y="653"/>
                  </a:lnTo>
                  <a:lnTo>
                    <a:pt x="546" y="654"/>
                  </a:lnTo>
                  <a:lnTo>
                    <a:pt x="547" y="655"/>
                  </a:lnTo>
                  <a:lnTo>
                    <a:pt x="548" y="656"/>
                  </a:lnTo>
                  <a:lnTo>
                    <a:pt x="551" y="660"/>
                  </a:lnTo>
                  <a:lnTo>
                    <a:pt x="551" y="662"/>
                  </a:lnTo>
                  <a:lnTo>
                    <a:pt x="553" y="665"/>
                  </a:lnTo>
                  <a:lnTo>
                    <a:pt x="556" y="665"/>
                  </a:lnTo>
                  <a:lnTo>
                    <a:pt x="557" y="664"/>
                  </a:lnTo>
                  <a:lnTo>
                    <a:pt x="557" y="661"/>
                  </a:lnTo>
                  <a:lnTo>
                    <a:pt x="556" y="659"/>
                  </a:lnTo>
                  <a:lnTo>
                    <a:pt x="553" y="656"/>
                  </a:lnTo>
                  <a:lnTo>
                    <a:pt x="552" y="655"/>
                  </a:lnTo>
                  <a:lnTo>
                    <a:pt x="548" y="653"/>
                  </a:lnTo>
                  <a:lnTo>
                    <a:pt x="547" y="650"/>
                  </a:lnTo>
                  <a:lnTo>
                    <a:pt x="546" y="649"/>
                  </a:lnTo>
                  <a:lnTo>
                    <a:pt x="545" y="649"/>
                  </a:lnTo>
                  <a:lnTo>
                    <a:pt x="543" y="648"/>
                  </a:lnTo>
                  <a:lnTo>
                    <a:pt x="543" y="647"/>
                  </a:lnTo>
                  <a:lnTo>
                    <a:pt x="545" y="646"/>
                  </a:lnTo>
                  <a:lnTo>
                    <a:pt x="546" y="644"/>
                  </a:lnTo>
                  <a:lnTo>
                    <a:pt x="547" y="646"/>
                  </a:lnTo>
                  <a:lnTo>
                    <a:pt x="549" y="647"/>
                  </a:lnTo>
                  <a:lnTo>
                    <a:pt x="552" y="649"/>
                  </a:lnTo>
                  <a:lnTo>
                    <a:pt x="556" y="652"/>
                  </a:lnTo>
                  <a:lnTo>
                    <a:pt x="558" y="653"/>
                  </a:lnTo>
                  <a:lnTo>
                    <a:pt x="559" y="654"/>
                  </a:lnTo>
                  <a:lnTo>
                    <a:pt x="558" y="656"/>
                  </a:lnTo>
                  <a:lnTo>
                    <a:pt x="557" y="658"/>
                  </a:lnTo>
                  <a:lnTo>
                    <a:pt x="558" y="659"/>
                  </a:lnTo>
                  <a:lnTo>
                    <a:pt x="559" y="658"/>
                  </a:lnTo>
                  <a:lnTo>
                    <a:pt x="562" y="656"/>
                  </a:lnTo>
                  <a:lnTo>
                    <a:pt x="562" y="655"/>
                  </a:lnTo>
                  <a:lnTo>
                    <a:pt x="564" y="655"/>
                  </a:lnTo>
                  <a:lnTo>
                    <a:pt x="564" y="656"/>
                  </a:lnTo>
                  <a:lnTo>
                    <a:pt x="564" y="658"/>
                  </a:lnTo>
                  <a:lnTo>
                    <a:pt x="568" y="655"/>
                  </a:lnTo>
                  <a:lnTo>
                    <a:pt x="569" y="654"/>
                  </a:lnTo>
                  <a:lnTo>
                    <a:pt x="571" y="654"/>
                  </a:lnTo>
                  <a:lnTo>
                    <a:pt x="572" y="656"/>
                  </a:lnTo>
                  <a:lnTo>
                    <a:pt x="575" y="658"/>
                  </a:lnTo>
                  <a:lnTo>
                    <a:pt x="578" y="659"/>
                  </a:lnTo>
                  <a:lnTo>
                    <a:pt x="580" y="658"/>
                  </a:lnTo>
                  <a:lnTo>
                    <a:pt x="581" y="655"/>
                  </a:lnTo>
                  <a:lnTo>
                    <a:pt x="580" y="654"/>
                  </a:lnTo>
                  <a:lnTo>
                    <a:pt x="578" y="653"/>
                  </a:lnTo>
                  <a:lnTo>
                    <a:pt x="580" y="650"/>
                  </a:lnTo>
                  <a:lnTo>
                    <a:pt x="581" y="650"/>
                  </a:lnTo>
                  <a:lnTo>
                    <a:pt x="578" y="650"/>
                  </a:lnTo>
                  <a:lnTo>
                    <a:pt x="575" y="650"/>
                  </a:lnTo>
                  <a:lnTo>
                    <a:pt x="576" y="647"/>
                  </a:lnTo>
                  <a:lnTo>
                    <a:pt x="576" y="644"/>
                  </a:lnTo>
                  <a:lnTo>
                    <a:pt x="578" y="646"/>
                  </a:lnTo>
                  <a:lnTo>
                    <a:pt x="581" y="647"/>
                  </a:lnTo>
                  <a:lnTo>
                    <a:pt x="581" y="646"/>
                  </a:lnTo>
                  <a:lnTo>
                    <a:pt x="582" y="643"/>
                  </a:lnTo>
                  <a:lnTo>
                    <a:pt x="582" y="642"/>
                  </a:lnTo>
                  <a:lnTo>
                    <a:pt x="581" y="640"/>
                  </a:lnTo>
                  <a:lnTo>
                    <a:pt x="581" y="638"/>
                  </a:lnTo>
                  <a:lnTo>
                    <a:pt x="582" y="638"/>
                  </a:lnTo>
                  <a:lnTo>
                    <a:pt x="582" y="637"/>
                  </a:lnTo>
                  <a:lnTo>
                    <a:pt x="582" y="635"/>
                  </a:lnTo>
                  <a:lnTo>
                    <a:pt x="580" y="635"/>
                  </a:lnTo>
                  <a:lnTo>
                    <a:pt x="578" y="636"/>
                  </a:lnTo>
                  <a:lnTo>
                    <a:pt x="576" y="635"/>
                  </a:lnTo>
                  <a:lnTo>
                    <a:pt x="576" y="637"/>
                  </a:lnTo>
                  <a:lnTo>
                    <a:pt x="575" y="638"/>
                  </a:lnTo>
                  <a:lnTo>
                    <a:pt x="572" y="638"/>
                  </a:lnTo>
                  <a:lnTo>
                    <a:pt x="571" y="638"/>
                  </a:lnTo>
                  <a:lnTo>
                    <a:pt x="570" y="641"/>
                  </a:lnTo>
                  <a:lnTo>
                    <a:pt x="569" y="640"/>
                  </a:lnTo>
                  <a:lnTo>
                    <a:pt x="568" y="641"/>
                  </a:lnTo>
                  <a:lnTo>
                    <a:pt x="565" y="641"/>
                  </a:lnTo>
                  <a:lnTo>
                    <a:pt x="563" y="641"/>
                  </a:lnTo>
                  <a:lnTo>
                    <a:pt x="562" y="640"/>
                  </a:lnTo>
                  <a:lnTo>
                    <a:pt x="563" y="638"/>
                  </a:lnTo>
                  <a:lnTo>
                    <a:pt x="565" y="636"/>
                  </a:lnTo>
                  <a:lnTo>
                    <a:pt x="569" y="636"/>
                  </a:lnTo>
                  <a:lnTo>
                    <a:pt x="571" y="636"/>
                  </a:lnTo>
                  <a:lnTo>
                    <a:pt x="572" y="635"/>
                  </a:lnTo>
                  <a:lnTo>
                    <a:pt x="571" y="633"/>
                  </a:lnTo>
                  <a:lnTo>
                    <a:pt x="572" y="632"/>
                  </a:lnTo>
                  <a:lnTo>
                    <a:pt x="574" y="632"/>
                  </a:lnTo>
                  <a:lnTo>
                    <a:pt x="576" y="631"/>
                  </a:lnTo>
                  <a:lnTo>
                    <a:pt x="578" y="630"/>
                  </a:lnTo>
                  <a:lnTo>
                    <a:pt x="581" y="629"/>
                  </a:lnTo>
                  <a:lnTo>
                    <a:pt x="583" y="629"/>
                  </a:lnTo>
                  <a:lnTo>
                    <a:pt x="588" y="629"/>
                  </a:lnTo>
                  <a:lnTo>
                    <a:pt x="589" y="626"/>
                  </a:lnTo>
                  <a:lnTo>
                    <a:pt x="589" y="624"/>
                  </a:lnTo>
                  <a:lnTo>
                    <a:pt x="588" y="623"/>
                  </a:lnTo>
                  <a:lnTo>
                    <a:pt x="587" y="620"/>
                  </a:lnTo>
                  <a:lnTo>
                    <a:pt x="586" y="618"/>
                  </a:lnTo>
                  <a:lnTo>
                    <a:pt x="583" y="619"/>
                  </a:lnTo>
                  <a:lnTo>
                    <a:pt x="581" y="619"/>
                  </a:lnTo>
                  <a:lnTo>
                    <a:pt x="578" y="619"/>
                  </a:lnTo>
                  <a:lnTo>
                    <a:pt x="577" y="621"/>
                  </a:lnTo>
                  <a:lnTo>
                    <a:pt x="576" y="624"/>
                  </a:lnTo>
                  <a:lnTo>
                    <a:pt x="576" y="625"/>
                  </a:lnTo>
                  <a:lnTo>
                    <a:pt x="574" y="627"/>
                  </a:lnTo>
                  <a:lnTo>
                    <a:pt x="571" y="630"/>
                  </a:lnTo>
                  <a:lnTo>
                    <a:pt x="570" y="631"/>
                  </a:lnTo>
                  <a:lnTo>
                    <a:pt x="568" y="632"/>
                  </a:lnTo>
                  <a:lnTo>
                    <a:pt x="564" y="633"/>
                  </a:lnTo>
                  <a:lnTo>
                    <a:pt x="558" y="637"/>
                  </a:lnTo>
                  <a:lnTo>
                    <a:pt x="556" y="637"/>
                  </a:lnTo>
                  <a:lnTo>
                    <a:pt x="552" y="638"/>
                  </a:lnTo>
                  <a:lnTo>
                    <a:pt x="551" y="637"/>
                  </a:lnTo>
                  <a:lnTo>
                    <a:pt x="549" y="637"/>
                  </a:lnTo>
                  <a:lnTo>
                    <a:pt x="552" y="635"/>
                  </a:lnTo>
                  <a:lnTo>
                    <a:pt x="553" y="633"/>
                  </a:lnTo>
                  <a:lnTo>
                    <a:pt x="556" y="632"/>
                  </a:lnTo>
                  <a:lnTo>
                    <a:pt x="556" y="630"/>
                  </a:lnTo>
                  <a:lnTo>
                    <a:pt x="554" y="629"/>
                  </a:lnTo>
                  <a:lnTo>
                    <a:pt x="553" y="629"/>
                  </a:lnTo>
                  <a:lnTo>
                    <a:pt x="551" y="627"/>
                  </a:lnTo>
                  <a:lnTo>
                    <a:pt x="549" y="630"/>
                  </a:lnTo>
                  <a:lnTo>
                    <a:pt x="546" y="631"/>
                  </a:lnTo>
                  <a:lnTo>
                    <a:pt x="542" y="633"/>
                  </a:lnTo>
                  <a:lnTo>
                    <a:pt x="543" y="631"/>
                  </a:lnTo>
                  <a:lnTo>
                    <a:pt x="546" y="629"/>
                  </a:lnTo>
                  <a:lnTo>
                    <a:pt x="547" y="626"/>
                  </a:lnTo>
                  <a:lnTo>
                    <a:pt x="546" y="625"/>
                  </a:lnTo>
                  <a:lnTo>
                    <a:pt x="543" y="626"/>
                  </a:lnTo>
                  <a:lnTo>
                    <a:pt x="542" y="627"/>
                  </a:lnTo>
                  <a:lnTo>
                    <a:pt x="542" y="630"/>
                  </a:lnTo>
                  <a:lnTo>
                    <a:pt x="541" y="632"/>
                  </a:lnTo>
                  <a:lnTo>
                    <a:pt x="540" y="632"/>
                  </a:lnTo>
                  <a:lnTo>
                    <a:pt x="540" y="629"/>
                  </a:lnTo>
                  <a:lnTo>
                    <a:pt x="537" y="629"/>
                  </a:lnTo>
                  <a:lnTo>
                    <a:pt x="536" y="630"/>
                  </a:lnTo>
                  <a:lnTo>
                    <a:pt x="534" y="630"/>
                  </a:lnTo>
                  <a:lnTo>
                    <a:pt x="534" y="631"/>
                  </a:lnTo>
                  <a:lnTo>
                    <a:pt x="533" y="635"/>
                  </a:lnTo>
                  <a:lnTo>
                    <a:pt x="533" y="636"/>
                  </a:lnTo>
                  <a:lnTo>
                    <a:pt x="530" y="637"/>
                  </a:lnTo>
                  <a:lnTo>
                    <a:pt x="530" y="635"/>
                  </a:lnTo>
                  <a:lnTo>
                    <a:pt x="528" y="633"/>
                  </a:lnTo>
                  <a:lnTo>
                    <a:pt x="528" y="635"/>
                  </a:lnTo>
                  <a:lnTo>
                    <a:pt x="527" y="633"/>
                  </a:lnTo>
                  <a:lnTo>
                    <a:pt x="524" y="632"/>
                  </a:lnTo>
                  <a:lnTo>
                    <a:pt x="523" y="631"/>
                  </a:lnTo>
                  <a:lnTo>
                    <a:pt x="525" y="629"/>
                  </a:lnTo>
                  <a:lnTo>
                    <a:pt x="527" y="627"/>
                  </a:lnTo>
                  <a:lnTo>
                    <a:pt x="530" y="625"/>
                  </a:lnTo>
                  <a:lnTo>
                    <a:pt x="529" y="623"/>
                  </a:lnTo>
                  <a:lnTo>
                    <a:pt x="528" y="621"/>
                  </a:lnTo>
                  <a:lnTo>
                    <a:pt x="525" y="621"/>
                  </a:lnTo>
                  <a:lnTo>
                    <a:pt x="522" y="621"/>
                  </a:lnTo>
                  <a:lnTo>
                    <a:pt x="522" y="624"/>
                  </a:lnTo>
                  <a:lnTo>
                    <a:pt x="522" y="626"/>
                  </a:lnTo>
                  <a:lnTo>
                    <a:pt x="521" y="624"/>
                  </a:lnTo>
                  <a:lnTo>
                    <a:pt x="518" y="624"/>
                  </a:lnTo>
                  <a:lnTo>
                    <a:pt x="517" y="624"/>
                  </a:lnTo>
                  <a:lnTo>
                    <a:pt x="516" y="624"/>
                  </a:lnTo>
                  <a:lnTo>
                    <a:pt x="513" y="624"/>
                  </a:lnTo>
                  <a:lnTo>
                    <a:pt x="513" y="621"/>
                  </a:lnTo>
                  <a:lnTo>
                    <a:pt x="512" y="623"/>
                  </a:lnTo>
                  <a:lnTo>
                    <a:pt x="509" y="626"/>
                  </a:lnTo>
                  <a:lnTo>
                    <a:pt x="509" y="627"/>
                  </a:lnTo>
                  <a:lnTo>
                    <a:pt x="506" y="625"/>
                  </a:lnTo>
                  <a:lnTo>
                    <a:pt x="504" y="625"/>
                  </a:lnTo>
                  <a:lnTo>
                    <a:pt x="504" y="623"/>
                  </a:lnTo>
                  <a:lnTo>
                    <a:pt x="505" y="623"/>
                  </a:lnTo>
                  <a:lnTo>
                    <a:pt x="507" y="623"/>
                  </a:lnTo>
                  <a:lnTo>
                    <a:pt x="510" y="621"/>
                  </a:lnTo>
                  <a:lnTo>
                    <a:pt x="511" y="619"/>
                  </a:lnTo>
                  <a:lnTo>
                    <a:pt x="513" y="617"/>
                  </a:lnTo>
                  <a:lnTo>
                    <a:pt x="512" y="615"/>
                  </a:lnTo>
                  <a:lnTo>
                    <a:pt x="511" y="614"/>
                  </a:lnTo>
                  <a:lnTo>
                    <a:pt x="511" y="613"/>
                  </a:lnTo>
                  <a:lnTo>
                    <a:pt x="513" y="612"/>
                  </a:lnTo>
                  <a:lnTo>
                    <a:pt x="516" y="611"/>
                  </a:lnTo>
                  <a:lnTo>
                    <a:pt x="516" y="609"/>
                  </a:lnTo>
                  <a:lnTo>
                    <a:pt x="516" y="608"/>
                  </a:lnTo>
                  <a:lnTo>
                    <a:pt x="515" y="608"/>
                  </a:lnTo>
                  <a:lnTo>
                    <a:pt x="511" y="608"/>
                  </a:lnTo>
                  <a:lnTo>
                    <a:pt x="509" y="607"/>
                  </a:lnTo>
                  <a:lnTo>
                    <a:pt x="509" y="606"/>
                  </a:lnTo>
                  <a:lnTo>
                    <a:pt x="511" y="606"/>
                  </a:lnTo>
                  <a:lnTo>
                    <a:pt x="513" y="606"/>
                  </a:lnTo>
                  <a:lnTo>
                    <a:pt x="516" y="606"/>
                  </a:lnTo>
                  <a:lnTo>
                    <a:pt x="517" y="607"/>
                  </a:lnTo>
                  <a:lnTo>
                    <a:pt x="518" y="605"/>
                  </a:lnTo>
                  <a:lnTo>
                    <a:pt x="519" y="605"/>
                  </a:lnTo>
                  <a:lnTo>
                    <a:pt x="524" y="607"/>
                  </a:lnTo>
                  <a:lnTo>
                    <a:pt x="525" y="608"/>
                  </a:lnTo>
                  <a:lnTo>
                    <a:pt x="528" y="612"/>
                  </a:lnTo>
                  <a:lnTo>
                    <a:pt x="528" y="615"/>
                  </a:lnTo>
                  <a:lnTo>
                    <a:pt x="529" y="618"/>
                  </a:lnTo>
                  <a:lnTo>
                    <a:pt x="533" y="618"/>
                  </a:lnTo>
                  <a:lnTo>
                    <a:pt x="534" y="617"/>
                  </a:lnTo>
                  <a:lnTo>
                    <a:pt x="535" y="617"/>
                  </a:lnTo>
                  <a:lnTo>
                    <a:pt x="537" y="615"/>
                  </a:lnTo>
                  <a:lnTo>
                    <a:pt x="539" y="617"/>
                  </a:lnTo>
                  <a:lnTo>
                    <a:pt x="541" y="617"/>
                  </a:lnTo>
                  <a:lnTo>
                    <a:pt x="542" y="617"/>
                  </a:lnTo>
                  <a:lnTo>
                    <a:pt x="547" y="617"/>
                  </a:lnTo>
                  <a:lnTo>
                    <a:pt x="549" y="615"/>
                  </a:lnTo>
                  <a:lnTo>
                    <a:pt x="551" y="613"/>
                  </a:lnTo>
                  <a:lnTo>
                    <a:pt x="551" y="612"/>
                  </a:lnTo>
                  <a:lnTo>
                    <a:pt x="549" y="611"/>
                  </a:lnTo>
                  <a:lnTo>
                    <a:pt x="546" y="613"/>
                  </a:lnTo>
                  <a:lnTo>
                    <a:pt x="543" y="612"/>
                  </a:lnTo>
                  <a:lnTo>
                    <a:pt x="541" y="612"/>
                  </a:lnTo>
                  <a:lnTo>
                    <a:pt x="540" y="612"/>
                  </a:lnTo>
                  <a:lnTo>
                    <a:pt x="539" y="611"/>
                  </a:lnTo>
                  <a:lnTo>
                    <a:pt x="535" y="611"/>
                  </a:lnTo>
                  <a:lnTo>
                    <a:pt x="535" y="608"/>
                  </a:lnTo>
                  <a:lnTo>
                    <a:pt x="533" y="608"/>
                  </a:lnTo>
                  <a:lnTo>
                    <a:pt x="531" y="607"/>
                  </a:lnTo>
                  <a:lnTo>
                    <a:pt x="528" y="606"/>
                  </a:lnTo>
                  <a:lnTo>
                    <a:pt x="524" y="603"/>
                  </a:lnTo>
                  <a:lnTo>
                    <a:pt x="528" y="603"/>
                  </a:lnTo>
                  <a:lnTo>
                    <a:pt x="531" y="603"/>
                  </a:lnTo>
                  <a:lnTo>
                    <a:pt x="531" y="601"/>
                  </a:lnTo>
                  <a:lnTo>
                    <a:pt x="528" y="600"/>
                  </a:lnTo>
                  <a:lnTo>
                    <a:pt x="527" y="597"/>
                  </a:lnTo>
                  <a:lnTo>
                    <a:pt x="527" y="596"/>
                  </a:lnTo>
                  <a:lnTo>
                    <a:pt x="525" y="595"/>
                  </a:lnTo>
                  <a:lnTo>
                    <a:pt x="523" y="595"/>
                  </a:lnTo>
                  <a:lnTo>
                    <a:pt x="521" y="595"/>
                  </a:lnTo>
                  <a:lnTo>
                    <a:pt x="517" y="594"/>
                  </a:lnTo>
                  <a:lnTo>
                    <a:pt x="516" y="591"/>
                  </a:lnTo>
                  <a:lnTo>
                    <a:pt x="515" y="589"/>
                  </a:lnTo>
                  <a:lnTo>
                    <a:pt x="513" y="585"/>
                  </a:lnTo>
                  <a:lnTo>
                    <a:pt x="515" y="588"/>
                  </a:lnTo>
                  <a:lnTo>
                    <a:pt x="518" y="591"/>
                  </a:lnTo>
                  <a:lnTo>
                    <a:pt x="521" y="594"/>
                  </a:lnTo>
                  <a:lnTo>
                    <a:pt x="522" y="591"/>
                  </a:lnTo>
                  <a:lnTo>
                    <a:pt x="521" y="590"/>
                  </a:lnTo>
                  <a:lnTo>
                    <a:pt x="521" y="589"/>
                  </a:lnTo>
                  <a:lnTo>
                    <a:pt x="524" y="590"/>
                  </a:lnTo>
                  <a:lnTo>
                    <a:pt x="525" y="591"/>
                  </a:lnTo>
                  <a:lnTo>
                    <a:pt x="528" y="594"/>
                  </a:lnTo>
                  <a:lnTo>
                    <a:pt x="531" y="595"/>
                  </a:lnTo>
                  <a:lnTo>
                    <a:pt x="533" y="597"/>
                  </a:lnTo>
                  <a:lnTo>
                    <a:pt x="535" y="600"/>
                  </a:lnTo>
                  <a:lnTo>
                    <a:pt x="537" y="602"/>
                  </a:lnTo>
                  <a:lnTo>
                    <a:pt x="537" y="603"/>
                  </a:lnTo>
                  <a:lnTo>
                    <a:pt x="535" y="603"/>
                  </a:lnTo>
                  <a:lnTo>
                    <a:pt x="534" y="602"/>
                  </a:lnTo>
                  <a:lnTo>
                    <a:pt x="534" y="605"/>
                  </a:lnTo>
                  <a:lnTo>
                    <a:pt x="535" y="606"/>
                  </a:lnTo>
                  <a:lnTo>
                    <a:pt x="537" y="608"/>
                  </a:lnTo>
                  <a:lnTo>
                    <a:pt x="541" y="608"/>
                  </a:lnTo>
                  <a:lnTo>
                    <a:pt x="543" y="609"/>
                  </a:lnTo>
                  <a:lnTo>
                    <a:pt x="547" y="608"/>
                  </a:lnTo>
                  <a:lnTo>
                    <a:pt x="549" y="608"/>
                  </a:lnTo>
                  <a:lnTo>
                    <a:pt x="552" y="607"/>
                  </a:lnTo>
                  <a:lnTo>
                    <a:pt x="549" y="606"/>
                  </a:lnTo>
                  <a:lnTo>
                    <a:pt x="547" y="605"/>
                  </a:lnTo>
                  <a:lnTo>
                    <a:pt x="547" y="603"/>
                  </a:lnTo>
                  <a:lnTo>
                    <a:pt x="549" y="603"/>
                  </a:lnTo>
                  <a:lnTo>
                    <a:pt x="553" y="605"/>
                  </a:lnTo>
                  <a:lnTo>
                    <a:pt x="559" y="605"/>
                  </a:lnTo>
                  <a:lnTo>
                    <a:pt x="560" y="603"/>
                  </a:lnTo>
                  <a:lnTo>
                    <a:pt x="562" y="600"/>
                  </a:lnTo>
                  <a:lnTo>
                    <a:pt x="562" y="599"/>
                  </a:lnTo>
                  <a:lnTo>
                    <a:pt x="559" y="599"/>
                  </a:lnTo>
                  <a:lnTo>
                    <a:pt x="557" y="599"/>
                  </a:lnTo>
                  <a:lnTo>
                    <a:pt x="553" y="597"/>
                  </a:lnTo>
                  <a:lnTo>
                    <a:pt x="551" y="597"/>
                  </a:lnTo>
                  <a:lnTo>
                    <a:pt x="547" y="595"/>
                  </a:lnTo>
                  <a:lnTo>
                    <a:pt x="545" y="595"/>
                  </a:lnTo>
                  <a:lnTo>
                    <a:pt x="540" y="593"/>
                  </a:lnTo>
                  <a:lnTo>
                    <a:pt x="537" y="593"/>
                  </a:lnTo>
                  <a:lnTo>
                    <a:pt x="534" y="590"/>
                  </a:lnTo>
                  <a:lnTo>
                    <a:pt x="531" y="590"/>
                  </a:lnTo>
                  <a:lnTo>
                    <a:pt x="530" y="588"/>
                  </a:lnTo>
                  <a:lnTo>
                    <a:pt x="527" y="585"/>
                  </a:lnTo>
                  <a:lnTo>
                    <a:pt x="525" y="584"/>
                  </a:lnTo>
                  <a:lnTo>
                    <a:pt x="524" y="582"/>
                  </a:lnTo>
                  <a:lnTo>
                    <a:pt x="523" y="579"/>
                  </a:lnTo>
                  <a:lnTo>
                    <a:pt x="523" y="578"/>
                  </a:lnTo>
                  <a:lnTo>
                    <a:pt x="521" y="577"/>
                  </a:lnTo>
                  <a:lnTo>
                    <a:pt x="519" y="576"/>
                  </a:lnTo>
                  <a:lnTo>
                    <a:pt x="518" y="576"/>
                  </a:lnTo>
                  <a:lnTo>
                    <a:pt x="515" y="576"/>
                  </a:lnTo>
                  <a:lnTo>
                    <a:pt x="513" y="576"/>
                  </a:lnTo>
                  <a:lnTo>
                    <a:pt x="513" y="573"/>
                  </a:lnTo>
                  <a:lnTo>
                    <a:pt x="513" y="572"/>
                  </a:lnTo>
                  <a:lnTo>
                    <a:pt x="513" y="570"/>
                  </a:lnTo>
                  <a:lnTo>
                    <a:pt x="515" y="570"/>
                  </a:lnTo>
                  <a:lnTo>
                    <a:pt x="518" y="572"/>
                  </a:lnTo>
                  <a:lnTo>
                    <a:pt x="521" y="572"/>
                  </a:lnTo>
                  <a:lnTo>
                    <a:pt x="522" y="572"/>
                  </a:lnTo>
                  <a:lnTo>
                    <a:pt x="524" y="572"/>
                  </a:lnTo>
                  <a:lnTo>
                    <a:pt x="525" y="577"/>
                  </a:lnTo>
                  <a:lnTo>
                    <a:pt x="525" y="579"/>
                  </a:lnTo>
                  <a:lnTo>
                    <a:pt x="527" y="581"/>
                  </a:lnTo>
                  <a:lnTo>
                    <a:pt x="528" y="581"/>
                  </a:lnTo>
                  <a:lnTo>
                    <a:pt x="529" y="583"/>
                  </a:lnTo>
                  <a:lnTo>
                    <a:pt x="530" y="585"/>
                  </a:lnTo>
                  <a:lnTo>
                    <a:pt x="533" y="585"/>
                  </a:lnTo>
                  <a:lnTo>
                    <a:pt x="534" y="587"/>
                  </a:lnTo>
                  <a:lnTo>
                    <a:pt x="535" y="589"/>
                  </a:lnTo>
                  <a:lnTo>
                    <a:pt x="539" y="589"/>
                  </a:lnTo>
                  <a:lnTo>
                    <a:pt x="542" y="590"/>
                  </a:lnTo>
                  <a:lnTo>
                    <a:pt x="543" y="591"/>
                  </a:lnTo>
                  <a:lnTo>
                    <a:pt x="546" y="593"/>
                  </a:lnTo>
                  <a:lnTo>
                    <a:pt x="548" y="593"/>
                  </a:lnTo>
                  <a:lnTo>
                    <a:pt x="551" y="591"/>
                  </a:lnTo>
                  <a:lnTo>
                    <a:pt x="553" y="594"/>
                  </a:lnTo>
                  <a:lnTo>
                    <a:pt x="556" y="596"/>
                  </a:lnTo>
                  <a:lnTo>
                    <a:pt x="558" y="596"/>
                  </a:lnTo>
                  <a:lnTo>
                    <a:pt x="563" y="595"/>
                  </a:lnTo>
                  <a:lnTo>
                    <a:pt x="563" y="594"/>
                  </a:lnTo>
                  <a:lnTo>
                    <a:pt x="560" y="593"/>
                  </a:lnTo>
                  <a:lnTo>
                    <a:pt x="558" y="593"/>
                  </a:lnTo>
                  <a:lnTo>
                    <a:pt x="554" y="590"/>
                  </a:lnTo>
                  <a:lnTo>
                    <a:pt x="552" y="590"/>
                  </a:lnTo>
                  <a:lnTo>
                    <a:pt x="556" y="589"/>
                  </a:lnTo>
                  <a:lnTo>
                    <a:pt x="558" y="589"/>
                  </a:lnTo>
                  <a:lnTo>
                    <a:pt x="560" y="589"/>
                  </a:lnTo>
                  <a:lnTo>
                    <a:pt x="563" y="587"/>
                  </a:lnTo>
                  <a:lnTo>
                    <a:pt x="565" y="583"/>
                  </a:lnTo>
                  <a:lnTo>
                    <a:pt x="565" y="582"/>
                  </a:lnTo>
                  <a:lnTo>
                    <a:pt x="565" y="578"/>
                  </a:lnTo>
                  <a:lnTo>
                    <a:pt x="563" y="579"/>
                  </a:lnTo>
                  <a:lnTo>
                    <a:pt x="563" y="577"/>
                  </a:lnTo>
                  <a:lnTo>
                    <a:pt x="562" y="577"/>
                  </a:lnTo>
                  <a:lnTo>
                    <a:pt x="560" y="579"/>
                  </a:lnTo>
                  <a:lnTo>
                    <a:pt x="562" y="579"/>
                  </a:lnTo>
                  <a:lnTo>
                    <a:pt x="560" y="579"/>
                  </a:lnTo>
                  <a:lnTo>
                    <a:pt x="559" y="582"/>
                  </a:lnTo>
                  <a:lnTo>
                    <a:pt x="554" y="582"/>
                  </a:lnTo>
                  <a:lnTo>
                    <a:pt x="554" y="583"/>
                  </a:lnTo>
                  <a:lnTo>
                    <a:pt x="554" y="582"/>
                  </a:lnTo>
                  <a:lnTo>
                    <a:pt x="553" y="579"/>
                  </a:lnTo>
                  <a:lnTo>
                    <a:pt x="552" y="579"/>
                  </a:lnTo>
                  <a:lnTo>
                    <a:pt x="551" y="581"/>
                  </a:lnTo>
                  <a:lnTo>
                    <a:pt x="551" y="584"/>
                  </a:lnTo>
                  <a:lnTo>
                    <a:pt x="551" y="585"/>
                  </a:lnTo>
                  <a:lnTo>
                    <a:pt x="549" y="587"/>
                  </a:lnTo>
                  <a:lnTo>
                    <a:pt x="548" y="584"/>
                  </a:lnTo>
                  <a:lnTo>
                    <a:pt x="547" y="582"/>
                  </a:lnTo>
                  <a:lnTo>
                    <a:pt x="545" y="582"/>
                  </a:lnTo>
                  <a:lnTo>
                    <a:pt x="542" y="579"/>
                  </a:lnTo>
                  <a:lnTo>
                    <a:pt x="542" y="577"/>
                  </a:lnTo>
                  <a:lnTo>
                    <a:pt x="541" y="577"/>
                  </a:lnTo>
                  <a:lnTo>
                    <a:pt x="540" y="575"/>
                  </a:lnTo>
                  <a:lnTo>
                    <a:pt x="540" y="573"/>
                  </a:lnTo>
                  <a:lnTo>
                    <a:pt x="536" y="572"/>
                  </a:lnTo>
                  <a:lnTo>
                    <a:pt x="534" y="571"/>
                  </a:lnTo>
                  <a:lnTo>
                    <a:pt x="534" y="570"/>
                  </a:lnTo>
                  <a:lnTo>
                    <a:pt x="535" y="567"/>
                  </a:lnTo>
                  <a:lnTo>
                    <a:pt x="537" y="567"/>
                  </a:lnTo>
                  <a:lnTo>
                    <a:pt x="540" y="569"/>
                  </a:lnTo>
                  <a:lnTo>
                    <a:pt x="543" y="570"/>
                  </a:lnTo>
                  <a:lnTo>
                    <a:pt x="546" y="571"/>
                  </a:lnTo>
                  <a:lnTo>
                    <a:pt x="549" y="572"/>
                  </a:lnTo>
                  <a:lnTo>
                    <a:pt x="552" y="573"/>
                  </a:lnTo>
                  <a:lnTo>
                    <a:pt x="556" y="573"/>
                  </a:lnTo>
                  <a:lnTo>
                    <a:pt x="557" y="572"/>
                  </a:lnTo>
                  <a:lnTo>
                    <a:pt x="557" y="569"/>
                  </a:lnTo>
                  <a:lnTo>
                    <a:pt x="554" y="569"/>
                  </a:lnTo>
                  <a:lnTo>
                    <a:pt x="552" y="569"/>
                  </a:lnTo>
                  <a:lnTo>
                    <a:pt x="549" y="569"/>
                  </a:lnTo>
                  <a:lnTo>
                    <a:pt x="546" y="567"/>
                  </a:lnTo>
                  <a:lnTo>
                    <a:pt x="546" y="566"/>
                  </a:lnTo>
                  <a:lnTo>
                    <a:pt x="547" y="566"/>
                  </a:lnTo>
                  <a:lnTo>
                    <a:pt x="551" y="567"/>
                  </a:lnTo>
                  <a:lnTo>
                    <a:pt x="552" y="566"/>
                  </a:lnTo>
                  <a:lnTo>
                    <a:pt x="553" y="565"/>
                  </a:lnTo>
                  <a:lnTo>
                    <a:pt x="553" y="564"/>
                  </a:lnTo>
                  <a:lnTo>
                    <a:pt x="554" y="564"/>
                  </a:lnTo>
                  <a:lnTo>
                    <a:pt x="556" y="565"/>
                  </a:lnTo>
                  <a:lnTo>
                    <a:pt x="558" y="567"/>
                  </a:lnTo>
                  <a:lnTo>
                    <a:pt x="560" y="570"/>
                  </a:lnTo>
                  <a:lnTo>
                    <a:pt x="562" y="569"/>
                  </a:lnTo>
                  <a:lnTo>
                    <a:pt x="563" y="566"/>
                  </a:lnTo>
                  <a:lnTo>
                    <a:pt x="563" y="563"/>
                  </a:lnTo>
                  <a:lnTo>
                    <a:pt x="562" y="560"/>
                  </a:lnTo>
                  <a:lnTo>
                    <a:pt x="558" y="560"/>
                  </a:lnTo>
                  <a:lnTo>
                    <a:pt x="557" y="559"/>
                  </a:lnTo>
                  <a:lnTo>
                    <a:pt x="556" y="560"/>
                  </a:lnTo>
                  <a:lnTo>
                    <a:pt x="554" y="560"/>
                  </a:lnTo>
                  <a:lnTo>
                    <a:pt x="552" y="559"/>
                  </a:lnTo>
                  <a:lnTo>
                    <a:pt x="551" y="560"/>
                  </a:lnTo>
                  <a:lnTo>
                    <a:pt x="547" y="560"/>
                  </a:lnTo>
                  <a:lnTo>
                    <a:pt x="547" y="559"/>
                  </a:lnTo>
                  <a:lnTo>
                    <a:pt x="549" y="558"/>
                  </a:lnTo>
                  <a:lnTo>
                    <a:pt x="549" y="555"/>
                  </a:lnTo>
                  <a:lnTo>
                    <a:pt x="548" y="555"/>
                  </a:lnTo>
                  <a:lnTo>
                    <a:pt x="542" y="555"/>
                  </a:lnTo>
                  <a:lnTo>
                    <a:pt x="540" y="557"/>
                  </a:lnTo>
                  <a:lnTo>
                    <a:pt x="539" y="558"/>
                  </a:lnTo>
                  <a:lnTo>
                    <a:pt x="537" y="557"/>
                  </a:lnTo>
                  <a:lnTo>
                    <a:pt x="540" y="553"/>
                  </a:lnTo>
                  <a:lnTo>
                    <a:pt x="542" y="552"/>
                  </a:lnTo>
                  <a:lnTo>
                    <a:pt x="545" y="551"/>
                  </a:lnTo>
                  <a:lnTo>
                    <a:pt x="547" y="549"/>
                  </a:lnTo>
                  <a:lnTo>
                    <a:pt x="547" y="547"/>
                  </a:lnTo>
                  <a:lnTo>
                    <a:pt x="549" y="547"/>
                  </a:lnTo>
                  <a:lnTo>
                    <a:pt x="552" y="546"/>
                  </a:lnTo>
                  <a:lnTo>
                    <a:pt x="554" y="546"/>
                  </a:lnTo>
                  <a:lnTo>
                    <a:pt x="557" y="543"/>
                  </a:lnTo>
                  <a:lnTo>
                    <a:pt x="558" y="542"/>
                  </a:lnTo>
                  <a:lnTo>
                    <a:pt x="559" y="541"/>
                  </a:lnTo>
                  <a:lnTo>
                    <a:pt x="559" y="539"/>
                  </a:lnTo>
                  <a:lnTo>
                    <a:pt x="557" y="536"/>
                  </a:lnTo>
                  <a:lnTo>
                    <a:pt x="556" y="536"/>
                  </a:lnTo>
                  <a:lnTo>
                    <a:pt x="552" y="537"/>
                  </a:lnTo>
                  <a:lnTo>
                    <a:pt x="551" y="539"/>
                  </a:lnTo>
                  <a:lnTo>
                    <a:pt x="549" y="537"/>
                  </a:lnTo>
                  <a:lnTo>
                    <a:pt x="549" y="536"/>
                  </a:lnTo>
                  <a:lnTo>
                    <a:pt x="551" y="535"/>
                  </a:lnTo>
                  <a:lnTo>
                    <a:pt x="548" y="534"/>
                  </a:lnTo>
                  <a:lnTo>
                    <a:pt x="547" y="534"/>
                  </a:lnTo>
                  <a:lnTo>
                    <a:pt x="546" y="537"/>
                  </a:lnTo>
                  <a:lnTo>
                    <a:pt x="545" y="540"/>
                  </a:lnTo>
                  <a:lnTo>
                    <a:pt x="545" y="537"/>
                  </a:lnTo>
                  <a:lnTo>
                    <a:pt x="545" y="535"/>
                  </a:lnTo>
                  <a:lnTo>
                    <a:pt x="543" y="534"/>
                  </a:lnTo>
                  <a:lnTo>
                    <a:pt x="542" y="536"/>
                  </a:lnTo>
                  <a:lnTo>
                    <a:pt x="541" y="537"/>
                  </a:lnTo>
                  <a:lnTo>
                    <a:pt x="537" y="540"/>
                  </a:lnTo>
                  <a:lnTo>
                    <a:pt x="535" y="540"/>
                  </a:lnTo>
                  <a:lnTo>
                    <a:pt x="535" y="539"/>
                  </a:lnTo>
                  <a:lnTo>
                    <a:pt x="537" y="537"/>
                  </a:lnTo>
                  <a:lnTo>
                    <a:pt x="539" y="536"/>
                  </a:lnTo>
                  <a:lnTo>
                    <a:pt x="540" y="534"/>
                  </a:lnTo>
                  <a:lnTo>
                    <a:pt x="537" y="533"/>
                  </a:lnTo>
                  <a:lnTo>
                    <a:pt x="536" y="533"/>
                  </a:lnTo>
                  <a:lnTo>
                    <a:pt x="535" y="530"/>
                  </a:lnTo>
                  <a:lnTo>
                    <a:pt x="534" y="528"/>
                  </a:lnTo>
                  <a:lnTo>
                    <a:pt x="535" y="525"/>
                  </a:lnTo>
                  <a:lnTo>
                    <a:pt x="537" y="529"/>
                  </a:lnTo>
                  <a:lnTo>
                    <a:pt x="540" y="529"/>
                  </a:lnTo>
                  <a:lnTo>
                    <a:pt x="541" y="529"/>
                  </a:lnTo>
                  <a:lnTo>
                    <a:pt x="543" y="528"/>
                  </a:lnTo>
                  <a:lnTo>
                    <a:pt x="545" y="526"/>
                  </a:lnTo>
                  <a:lnTo>
                    <a:pt x="545" y="523"/>
                  </a:lnTo>
                  <a:lnTo>
                    <a:pt x="542" y="522"/>
                  </a:lnTo>
                  <a:lnTo>
                    <a:pt x="539" y="519"/>
                  </a:lnTo>
                  <a:lnTo>
                    <a:pt x="537" y="518"/>
                  </a:lnTo>
                  <a:lnTo>
                    <a:pt x="536" y="520"/>
                  </a:lnTo>
                  <a:lnTo>
                    <a:pt x="535" y="522"/>
                  </a:lnTo>
                  <a:lnTo>
                    <a:pt x="531" y="520"/>
                  </a:lnTo>
                  <a:lnTo>
                    <a:pt x="529" y="520"/>
                  </a:lnTo>
                  <a:lnTo>
                    <a:pt x="529" y="522"/>
                  </a:lnTo>
                  <a:lnTo>
                    <a:pt x="527" y="522"/>
                  </a:lnTo>
                  <a:lnTo>
                    <a:pt x="525" y="523"/>
                  </a:lnTo>
                  <a:lnTo>
                    <a:pt x="524" y="523"/>
                  </a:lnTo>
                  <a:lnTo>
                    <a:pt x="527" y="526"/>
                  </a:lnTo>
                  <a:lnTo>
                    <a:pt x="529" y="528"/>
                  </a:lnTo>
                  <a:lnTo>
                    <a:pt x="529" y="530"/>
                  </a:lnTo>
                  <a:lnTo>
                    <a:pt x="528" y="531"/>
                  </a:lnTo>
                  <a:lnTo>
                    <a:pt x="527" y="529"/>
                  </a:lnTo>
                  <a:lnTo>
                    <a:pt x="524" y="529"/>
                  </a:lnTo>
                  <a:lnTo>
                    <a:pt x="523" y="526"/>
                  </a:lnTo>
                  <a:lnTo>
                    <a:pt x="522" y="526"/>
                  </a:lnTo>
                  <a:lnTo>
                    <a:pt x="521" y="524"/>
                  </a:lnTo>
                  <a:lnTo>
                    <a:pt x="523" y="522"/>
                  </a:lnTo>
                  <a:lnTo>
                    <a:pt x="524" y="519"/>
                  </a:lnTo>
                  <a:lnTo>
                    <a:pt x="524" y="518"/>
                  </a:lnTo>
                  <a:lnTo>
                    <a:pt x="522" y="516"/>
                  </a:lnTo>
                  <a:lnTo>
                    <a:pt x="521" y="514"/>
                  </a:lnTo>
                  <a:lnTo>
                    <a:pt x="518" y="516"/>
                  </a:lnTo>
                  <a:lnTo>
                    <a:pt x="516" y="517"/>
                  </a:lnTo>
                  <a:lnTo>
                    <a:pt x="513" y="518"/>
                  </a:lnTo>
                  <a:lnTo>
                    <a:pt x="513" y="520"/>
                  </a:lnTo>
                  <a:lnTo>
                    <a:pt x="513" y="523"/>
                  </a:lnTo>
                  <a:lnTo>
                    <a:pt x="511" y="522"/>
                  </a:lnTo>
                  <a:lnTo>
                    <a:pt x="510" y="520"/>
                  </a:lnTo>
                  <a:lnTo>
                    <a:pt x="511" y="517"/>
                  </a:lnTo>
                  <a:lnTo>
                    <a:pt x="512" y="516"/>
                  </a:lnTo>
                  <a:lnTo>
                    <a:pt x="515" y="514"/>
                  </a:lnTo>
                  <a:lnTo>
                    <a:pt x="519" y="513"/>
                  </a:lnTo>
                  <a:lnTo>
                    <a:pt x="521" y="511"/>
                  </a:lnTo>
                  <a:lnTo>
                    <a:pt x="519" y="510"/>
                  </a:lnTo>
                  <a:lnTo>
                    <a:pt x="518" y="510"/>
                  </a:lnTo>
                  <a:lnTo>
                    <a:pt x="518" y="508"/>
                  </a:lnTo>
                  <a:lnTo>
                    <a:pt x="519" y="507"/>
                  </a:lnTo>
                  <a:lnTo>
                    <a:pt x="523" y="507"/>
                  </a:lnTo>
                  <a:lnTo>
                    <a:pt x="525" y="506"/>
                  </a:lnTo>
                  <a:lnTo>
                    <a:pt x="527" y="504"/>
                  </a:lnTo>
                  <a:lnTo>
                    <a:pt x="528" y="501"/>
                  </a:lnTo>
                  <a:lnTo>
                    <a:pt x="529" y="499"/>
                  </a:lnTo>
                  <a:lnTo>
                    <a:pt x="531" y="498"/>
                  </a:lnTo>
                  <a:lnTo>
                    <a:pt x="533" y="496"/>
                  </a:lnTo>
                  <a:lnTo>
                    <a:pt x="533" y="495"/>
                  </a:lnTo>
                  <a:lnTo>
                    <a:pt x="531" y="494"/>
                  </a:lnTo>
                  <a:lnTo>
                    <a:pt x="530" y="493"/>
                  </a:lnTo>
                  <a:lnTo>
                    <a:pt x="529" y="492"/>
                  </a:lnTo>
                  <a:lnTo>
                    <a:pt x="528" y="494"/>
                  </a:lnTo>
                  <a:lnTo>
                    <a:pt x="527" y="495"/>
                  </a:lnTo>
                  <a:lnTo>
                    <a:pt x="525" y="494"/>
                  </a:lnTo>
                  <a:lnTo>
                    <a:pt x="523" y="493"/>
                  </a:lnTo>
                  <a:lnTo>
                    <a:pt x="522" y="494"/>
                  </a:lnTo>
                  <a:lnTo>
                    <a:pt x="522" y="495"/>
                  </a:lnTo>
                  <a:lnTo>
                    <a:pt x="521" y="496"/>
                  </a:lnTo>
                  <a:lnTo>
                    <a:pt x="519" y="496"/>
                  </a:lnTo>
                  <a:lnTo>
                    <a:pt x="517" y="498"/>
                  </a:lnTo>
                  <a:lnTo>
                    <a:pt x="516" y="496"/>
                  </a:lnTo>
                  <a:lnTo>
                    <a:pt x="516" y="495"/>
                  </a:lnTo>
                  <a:lnTo>
                    <a:pt x="518" y="493"/>
                  </a:lnTo>
                  <a:lnTo>
                    <a:pt x="521" y="492"/>
                  </a:lnTo>
                  <a:lnTo>
                    <a:pt x="522" y="489"/>
                  </a:lnTo>
                  <a:lnTo>
                    <a:pt x="521" y="487"/>
                  </a:lnTo>
                  <a:lnTo>
                    <a:pt x="518" y="487"/>
                  </a:lnTo>
                  <a:lnTo>
                    <a:pt x="517" y="489"/>
                  </a:lnTo>
                  <a:lnTo>
                    <a:pt x="516" y="487"/>
                  </a:lnTo>
                  <a:lnTo>
                    <a:pt x="515" y="483"/>
                  </a:lnTo>
                  <a:lnTo>
                    <a:pt x="513" y="483"/>
                  </a:lnTo>
                  <a:lnTo>
                    <a:pt x="512" y="486"/>
                  </a:lnTo>
                  <a:lnTo>
                    <a:pt x="511" y="487"/>
                  </a:lnTo>
                  <a:lnTo>
                    <a:pt x="509" y="486"/>
                  </a:lnTo>
                  <a:lnTo>
                    <a:pt x="505" y="483"/>
                  </a:lnTo>
                  <a:lnTo>
                    <a:pt x="504" y="483"/>
                  </a:lnTo>
                  <a:lnTo>
                    <a:pt x="503" y="483"/>
                  </a:lnTo>
                  <a:lnTo>
                    <a:pt x="501" y="481"/>
                  </a:lnTo>
                  <a:lnTo>
                    <a:pt x="499" y="481"/>
                  </a:lnTo>
                  <a:lnTo>
                    <a:pt x="498" y="481"/>
                  </a:lnTo>
                  <a:lnTo>
                    <a:pt x="498" y="478"/>
                  </a:lnTo>
                  <a:lnTo>
                    <a:pt x="498" y="477"/>
                  </a:lnTo>
                  <a:lnTo>
                    <a:pt x="495" y="476"/>
                  </a:lnTo>
                  <a:lnTo>
                    <a:pt x="498" y="476"/>
                  </a:lnTo>
                  <a:lnTo>
                    <a:pt x="499" y="478"/>
                  </a:lnTo>
                  <a:lnTo>
                    <a:pt x="500" y="480"/>
                  </a:lnTo>
                  <a:lnTo>
                    <a:pt x="503" y="480"/>
                  </a:lnTo>
                  <a:lnTo>
                    <a:pt x="504" y="480"/>
                  </a:lnTo>
                  <a:lnTo>
                    <a:pt x="505" y="480"/>
                  </a:lnTo>
                  <a:lnTo>
                    <a:pt x="506" y="481"/>
                  </a:lnTo>
                  <a:lnTo>
                    <a:pt x="510" y="481"/>
                  </a:lnTo>
                  <a:lnTo>
                    <a:pt x="511" y="477"/>
                  </a:lnTo>
                  <a:lnTo>
                    <a:pt x="512" y="478"/>
                  </a:lnTo>
                  <a:lnTo>
                    <a:pt x="515" y="480"/>
                  </a:lnTo>
                  <a:lnTo>
                    <a:pt x="516" y="478"/>
                  </a:lnTo>
                  <a:lnTo>
                    <a:pt x="518" y="476"/>
                  </a:lnTo>
                  <a:lnTo>
                    <a:pt x="521" y="476"/>
                  </a:lnTo>
                  <a:lnTo>
                    <a:pt x="523" y="475"/>
                  </a:lnTo>
                  <a:lnTo>
                    <a:pt x="525" y="475"/>
                  </a:lnTo>
                  <a:lnTo>
                    <a:pt x="528" y="474"/>
                  </a:lnTo>
                  <a:lnTo>
                    <a:pt x="529" y="471"/>
                  </a:lnTo>
                  <a:lnTo>
                    <a:pt x="527" y="469"/>
                  </a:lnTo>
                  <a:lnTo>
                    <a:pt x="525" y="468"/>
                  </a:lnTo>
                  <a:lnTo>
                    <a:pt x="525" y="466"/>
                  </a:lnTo>
                  <a:lnTo>
                    <a:pt x="523" y="469"/>
                  </a:lnTo>
                  <a:lnTo>
                    <a:pt x="521" y="466"/>
                  </a:lnTo>
                  <a:lnTo>
                    <a:pt x="519" y="469"/>
                  </a:lnTo>
                  <a:lnTo>
                    <a:pt x="518" y="469"/>
                  </a:lnTo>
                  <a:lnTo>
                    <a:pt x="516" y="468"/>
                  </a:lnTo>
                  <a:lnTo>
                    <a:pt x="515" y="469"/>
                  </a:lnTo>
                  <a:lnTo>
                    <a:pt x="513" y="468"/>
                  </a:lnTo>
                  <a:lnTo>
                    <a:pt x="510" y="469"/>
                  </a:lnTo>
                  <a:lnTo>
                    <a:pt x="507" y="469"/>
                  </a:lnTo>
                  <a:lnTo>
                    <a:pt x="507" y="465"/>
                  </a:lnTo>
                  <a:lnTo>
                    <a:pt x="504" y="465"/>
                  </a:lnTo>
                  <a:lnTo>
                    <a:pt x="500" y="464"/>
                  </a:lnTo>
                  <a:lnTo>
                    <a:pt x="499" y="462"/>
                  </a:lnTo>
                  <a:lnTo>
                    <a:pt x="498" y="462"/>
                  </a:lnTo>
                  <a:lnTo>
                    <a:pt x="495" y="463"/>
                  </a:lnTo>
                  <a:lnTo>
                    <a:pt x="494" y="460"/>
                  </a:lnTo>
                  <a:lnTo>
                    <a:pt x="493" y="460"/>
                  </a:lnTo>
                  <a:lnTo>
                    <a:pt x="489" y="460"/>
                  </a:lnTo>
                  <a:lnTo>
                    <a:pt x="487" y="459"/>
                  </a:lnTo>
                  <a:lnTo>
                    <a:pt x="486" y="457"/>
                  </a:lnTo>
                  <a:lnTo>
                    <a:pt x="482" y="454"/>
                  </a:lnTo>
                  <a:lnTo>
                    <a:pt x="481" y="456"/>
                  </a:lnTo>
                  <a:lnTo>
                    <a:pt x="477" y="456"/>
                  </a:lnTo>
                  <a:lnTo>
                    <a:pt x="472" y="457"/>
                  </a:lnTo>
                  <a:lnTo>
                    <a:pt x="471" y="456"/>
                  </a:lnTo>
                  <a:lnTo>
                    <a:pt x="475" y="454"/>
                  </a:lnTo>
                  <a:lnTo>
                    <a:pt x="477" y="454"/>
                  </a:lnTo>
                  <a:lnTo>
                    <a:pt x="480" y="453"/>
                  </a:lnTo>
                  <a:lnTo>
                    <a:pt x="483" y="453"/>
                  </a:lnTo>
                  <a:lnTo>
                    <a:pt x="484" y="453"/>
                  </a:lnTo>
                  <a:lnTo>
                    <a:pt x="486" y="453"/>
                  </a:lnTo>
                  <a:lnTo>
                    <a:pt x="484" y="451"/>
                  </a:lnTo>
                  <a:lnTo>
                    <a:pt x="482" y="450"/>
                  </a:lnTo>
                  <a:lnTo>
                    <a:pt x="482" y="448"/>
                  </a:lnTo>
                  <a:lnTo>
                    <a:pt x="480" y="446"/>
                  </a:lnTo>
                  <a:lnTo>
                    <a:pt x="477" y="447"/>
                  </a:lnTo>
                  <a:lnTo>
                    <a:pt x="477" y="450"/>
                  </a:lnTo>
                  <a:lnTo>
                    <a:pt x="476" y="450"/>
                  </a:lnTo>
                  <a:lnTo>
                    <a:pt x="475" y="448"/>
                  </a:lnTo>
                  <a:lnTo>
                    <a:pt x="474" y="446"/>
                  </a:lnTo>
                  <a:lnTo>
                    <a:pt x="474" y="445"/>
                  </a:lnTo>
                  <a:lnTo>
                    <a:pt x="475" y="442"/>
                  </a:lnTo>
                  <a:lnTo>
                    <a:pt x="474" y="440"/>
                  </a:lnTo>
                  <a:lnTo>
                    <a:pt x="476" y="440"/>
                  </a:lnTo>
                  <a:lnTo>
                    <a:pt x="478" y="441"/>
                  </a:lnTo>
                  <a:lnTo>
                    <a:pt x="480" y="442"/>
                  </a:lnTo>
                  <a:lnTo>
                    <a:pt x="482" y="444"/>
                  </a:lnTo>
                  <a:lnTo>
                    <a:pt x="482" y="441"/>
                  </a:lnTo>
                  <a:lnTo>
                    <a:pt x="482" y="440"/>
                  </a:lnTo>
                  <a:lnTo>
                    <a:pt x="481" y="439"/>
                  </a:lnTo>
                  <a:lnTo>
                    <a:pt x="478" y="438"/>
                  </a:lnTo>
                  <a:lnTo>
                    <a:pt x="477" y="436"/>
                  </a:lnTo>
                  <a:lnTo>
                    <a:pt x="476" y="435"/>
                  </a:lnTo>
                  <a:lnTo>
                    <a:pt x="474" y="435"/>
                  </a:lnTo>
                  <a:lnTo>
                    <a:pt x="475" y="433"/>
                  </a:lnTo>
                  <a:lnTo>
                    <a:pt x="478" y="432"/>
                  </a:lnTo>
                  <a:lnTo>
                    <a:pt x="481" y="430"/>
                  </a:lnTo>
                  <a:lnTo>
                    <a:pt x="482" y="429"/>
                  </a:lnTo>
                  <a:lnTo>
                    <a:pt x="482" y="428"/>
                  </a:lnTo>
                  <a:lnTo>
                    <a:pt x="478" y="429"/>
                  </a:lnTo>
                  <a:lnTo>
                    <a:pt x="477" y="430"/>
                  </a:lnTo>
                  <a:lnTo>
                    <a:pt x="476" y="430"/>
                  </a:lnTo>
                  <a:lnTo>
                    <a:pt x="475" y="429"/>
                  </a:lnTo>
                  <a:lnTo>
                    <a:pt x="472" y="429"/>
                  </a:lnTo>
                  <a:lnTo>
                    <a:pt x="472" y="430"/>
                  </a:lnTo>
                  <a:lnTo>
                    <a:pt x="470" y="432"/>
                  </a:lnTo>
                  <a:lnTo>
                    <a:pt x="468" y="429"/>
                  </a:lnTo>
                  <a:lnTo>
                    <a:pt x="465" y="426"/>
                  </a:lnTo>
                  <a:lnTo>
                    <a:pt x="465" y="424"/>
                  </a:lnTo>
                  <a:lnTo>
                    <a:pt x="468" y="423"/>
                  </a:lnTo>
                  <a:lnTo>
                    <a:pt x="470" y="422"/>
                  </a:lnTo>
                  <a:lnTo>
                    <a:pt x="471" y="421"/>
                  </a:lnTo>
                  <a:lnTo>
                    <a:pt x="474" y="421"/>
                  </a:lnTo>
                  <a:lnTo>
                    <a:pt x="475" y="419"/>
                  </a:lnTo>
                  <a:lnTo>
                    <a:pt x="476" y="419"/>
                  </a:lnTo>
                  <a:lnTo>
                    <a:pt x="477" y="422"/>
                  </a:lnTo>
                  <a:lnTo>
                    <a:pt x="478" y="423"/>
                  </a:lnTo>
                  <a:lnTo>
                    <a:pt x="483" y="423"/>
                  </a:lnTo>
                  <a:lnTo>
                    <a:pt x="484" y="421"/>
                  </a:lnTo>
                  <a:lnTo>
                    <a:pt x="487" y="422"/>
                  </a:lnTo>
                  <a:lnTo>
                    <a:pt x="489" y="423"/>
                  </a:lnTo>
                  <a:lnTo>
                    <a:pt x="492" y="422"/>
                  </a:lnTo>
                  <a:lnTo>
                    <a:pt x="495" y="422"/>
                  </a:lnTo>
                  <a:lnTo>
                    <a:pt x="493" y="424"/>
                  </a:lnTo>
                  <a:lnTo>
                    <a:pt x="493" y="427"/>
                  </a:lnTo>
                  <a:lnTo>
                    <a:pt x="490" y="428"/>
                  </a:lnTo>
                  <a:lnTo>
                    <a:pt x="492" y="430"/>
                  </a:lnTo>
                  <a:lnTo>
                    <a:pt x="492" y="432"/>
                  </a:lnTo>
                  <a:lnTo>
                    <a:pt x="490" y="432"/>
                  </a:lnTo>
                  <a:lnTo>
                    <a:pt x="488" y="429"/>
                  </a:lnTo>
                  <a:lnTo>
                    <a:pt x="484" y="430"/>
                  </a:lnTo>
                  <a:lnTo>
                    <a:pt x="484" y="433"/>
                  </a:lnTo>
                  <a:lnTo>
                    <a:pt x="483" y="434"/>
                  </a:lnTo>
                  <a:lnTo>
                    <a:pt x="487" y="434"/>
                  </a:lnTo>
                  <a:lnTo>
                    <a:pt x="492" y="433"/>
                  </a:lnTo>
                  <a:lnTo>
                    <a:pt x="494" y="432"/>
                  </a:lnTo>
                  <a:lnTo>
                    <a:pt x="489" y="434"/>
                  </a:lnTo>
                  <a:lnTo>
                    <a:pt x="489" y="435"/>
                  </a:lnTo>
                  <a:lnTo>
                    <a:pt x="489" y="436"/>
                  </a:lnTo>
                  <a:lnTo>
                    <a:pt x="494" y="435"/>
                  </a:lnTo>
                  <a:lnTo>
                    <a:pt x="498" y="435"/>
                  </a:lnTo>
                  <a:lnTo>
                    <a:pt x="494" y="438"/>
                  </a:lnTo>
                  <a:lnTo>
                    <a:pt x="492" y="440"/>
                  </a:lnTo>
                  <a:lnTo>
                    <a:pt x="492" y="442"/>
                  </a:lnTo>
                  <a:lnTo>
                    <a:pt x="495" y="442"/>
                  </a:lnTo>
                  <a:lnTo>
                    <a:pt x="497" y="440"/>
                  </a:lnTo>
                  <a:lnTo>
                    <a:pt x="499" y="440"/>
                  </a:lnTo>
                  <a:lnTo>
                    <a:pt x="500" y="442"/>
                  </a:lnTo>
                  <a:lnTo>
                    <a:pt x="503" y="444"/>
                  </a:lnTo>
                  <a:lnTo>
                    <a:pt x="504" y="446"/>
                  </a:lnTo>
                  <a:lnTo>
                    <a:pt x="506" y="446"/>
                  </a:lnTo>
                  <a:lnTo>
                    <a:pt x="509" y="444"/>
                  </a:lnTo>
                  <a:lnTo>
                    <a:pt x="512" y="446"/>
                  </a:lnTo>
                  <a:lnTo>
                    <a:pt x="515" y="446"/>
                  </a:lnTo>
                  <a:lnTo>
                    <a:pt x="518" y="446"/>
                  </a:lnTo>
                  <a:lnTo>
                    <a:pt x="521" y="444"/>
                  </a:lnTo>
                  <a:lnTo>
                    <a:pt x="522" y="442"/>
                  </a:lnTo>
                  <a:lnTo>
                    <a:pt x="521" y="441"/>
                  </a:lnTo>
                  <a:lnTo>
                    <a:pt x="522" y="442"/>
                  </a:lnTo>
                  <a:lnTo>
                    <a:pt x="525" y="446"/>
                  </a:lnTo>
                  <a:lnTo>
                    <a:pt x="527" y="450"/>
                  </a:lnTo>
                  <a:lnTo>
                    <a:pt x="529" y="452"/>
                  </a:lnTo>
                  <a:lnTo>
                    <a:pt x="533" y="456"/>
                  </a:lnTo>
                  <a:lnTo>
                    <a:pt x="534" y="454"/>
                  </a:lnTo>
                  <a:lnTo>
                    <a:pt x="534" y="450"/>
                  </a:lnTo>
                  <a:lnTo>
                    <a:pt x="531" y="447"/>
                  </a:lnTo>
                  <a:lnTo>
                    <a:pt x="533" y="446"/>
                  </a:lnTo>
                  <a:lnTo>
                    <a:pt x="534" y="445"/>
                  </a:lnTo>
                  <a:lnTo>
                    <a:pt x="536" y="446"/>
                  </a:lnTo>
                  <a:lnTo>
                    <a:pt x="541" y="448"/>
                  </a:lnTo>
                  <a:lnTo>
                    <a:pt x="542" y="448"/>
                  </a:lnTo>
                  <a:lnTo>
                    <a:pt x="545" y="454"/>
                  </a:lnTo>
                  <a:lnTo>
                    <a:pt x="547" y="458"/>
                  </a:lnTo>
                  <a:lnTo>
                    <a:pt x="546" y="464"/>
                  </a:lnTo>
                  <a:lnTo>
                    <a:pt x="549" y="465"/>
                  </a:lnTo>
                  <a:lnTo>
                    <a:pt x="553" y="466"/>
                  </a:lnTo>
                  <a:lnTo>
                    <a:pt x="553" y="468"/>
                  </a:lnTo>
                  <a:lnTo>
                    <a:pt x="557" y="469"/>
                  </a:lnTo>
                  <a:lnTo>
                    <a:pt x="562" y="470"/>
                  </a:lnTo>
                  <a:lnTo>
                    <a:pt x="563" y="470"/>
                  </a:lnTo>
                  <a:lnTo>
                    <a:pt x="565" y="468"/>
                  </a:lnTo>
                  <a:lnTo>
                    <a:pt x="565" y="465"/>
                  </a:lnTo>
                  <a:lnTo>
                    <a:pt x="564" y="465"/>
                  </a:lnTo>
                  <a:lnTo>
                    <a:pt x="562" y="465"/>
                  </a:lnTo>
                  <a:lnTo>
                    <a:pt x="562" y="462"/>
                  </a:lnTo>
                  <a:lnTo>
                    <a:pt x="560" y="460"/>
                  </a:lnTo>
                  <a:lnTo>
                    <a:pt x="557" y="459"/>
                  </a:lnTo>
                  <a:lnTo>
                    <a:pt x="556" y="458"/>
                  </a:lnTo>
                  <a:lnTo>
                    <a:pt x="553" y="456"/>
                  </a:lnTo>
                  <a:lnTo>
                    <a:pt x="556" y="453"/>
                  </a:lnTo>
                  <a:lnTo>
                    <a:pt x="559" y="452"/>
                  </a:lnTo>
                  <a:lnTo>
                    <a:pt x="560" y="450"/>
                  </a:lnTo>
                  <a:lnTo>
                    <a:pt x="558" y="447"/>
                  </a:lnTo>
                  <a:lnTo>
                    <a:pt x="554" y="447"/>
                  </a:lnTo>
                  <a:lnTo>
                    <a:pt x="552" y="446"/>
                  </a:lnTo>
                  <a:lnTo>
                    <a:pt x="551" y="442"/>
                  </a:lnTo>
                  <a:lnTo>
                    <a:pt x="549" y="439"/>
                  </a:lnTo>
                  <a:lnTo>
                    <a:pt x="545" y="436"/>
                  </a:lnTo>
                  <a:lnTo>
                    <a:pt x="545" y="434"/>
                  </a:lnTo>
                  <a:lnTo>
                    <a:pt x="547" y="436"/>
                  </a:lnTo>
                  <a:lnTo>
                    <a:pt x="552" y="441"/>
                  </a:lnTo>
                  <a:lnTo>
                    <a:pt x="556" y="444"/>
                  </a:lnTo>
                  <a:lnTo>
                    <a:pt x="560" y="446"/>
                  </a:lnTo>
                  <a:lnTo>
                    <a:pt x="562" y="446"/>
                  </a:lnTo>
                  <a:lnTo>
                    <a:pt x="564" y="441"/>
                  </a:lnTo>
                  <a:lnTo>
                    <a:pt x="564" y="445"/>
                  </a:lnTo>
                  <a:lnTo>
                    <a:pt x="566" y="448"/>
                  </a:lnTo>
                  <a:lnTo>
                    <a:pt x="569" y="448"/>
                  </a:lnTo>
                  <a:lnTo>
                    <a:pt x="571" y="447"/>
                  </a:lnTo>
                  <a:lnTo>
                    <a:pt x="571" y="445"/>
                  </a:lnTo>
                  <a:lnTo>
                    <a:pt x="572" y="445"/>
                  </a:lnTo>
                  <a:lnTo>
                    <a:pt x="576" y="447"/>
                  </a:lnTo>
                  <a:lnTo>
                    <a:pt x="582" y="447"/>
                  </a:lnTo>
                  <a:lnTo>
                    <a:pt x="586" y="447"/>
                  </a:lnTo>
                  <a:lnTo>
                    <a:pt x="587" y="445"/>
                  </a:lnTo>
                  <a:lnTo>
                    <a:pt x="589" y="445"/>
                  </a:lnTo>
                  <a:lnTo>
                    <a:pt x="589" y="442"/>
                  </a:lnTo>
                  <a:lnTo>
                    <a:pt x="592" y="440"/>
                  </a:lnTo>
                  <a:lnTo>
                    <a:pt x="598" y="441"/>
                  </a:lnTo>
                  <a:lnTo>
                    <a:pt x="598" y="438"/>
                  </a:lnTo>
                  <a:lnTo>
                    <a:pt x="599" y="436"/>
                  </a:lnTo>
                  <a:lnTo>
                    <a:pt x="600" y="436"/>
                  </a:lnTo>
                  <a:lnTo>
                    <a:pt x="602" y="438"/>
                  </a:lnTo>
                  <a:lnTo>
                    <a:pt x="604" y="435"/>
                  </a:lnTo>
                  <a:lnTo>
                    <a:pt x="610" y="435"/>
                  </a:lnTo>
                  <a:lnTo>
                    <a:pt x="612" y="434"/>
                  </a:lnTo>
                  <a:lnTo>
                    <a:pt x="613" y="434"/>
                  </a:lnTo>
                  <a:lnTo>
                    <a:pt x="615" y="432"/>
                  </a:lnTo>
                  <a:lnTo>
                    <a:pt x="615" y="429"/>
                  </a:lnTo>
                  <a:lnTo>
                    <a:pt x="617" y="429"/>
                  </a:lnTo>
                  <a:lnTo>
                    <a:pt x="621" y="432"/>
                  </a:lnTo>
                  <a:lnTo>
                    <a:pt x="623" y="432"/>
                  </a:lnTo>
                  <a:lnTo>
                    <a:pt x="622" y="428"/>
                  </a:lnTo>
                  <a:lnTo>
                    <a:pt x="622" y="426"/>
                  </a:lnTo>
                  <a:lnTo>
                    <a:pt x="622" y="423"/>
                  </a:lnTo>
                  <a:lnTo>
                    <a:pt x="623" y="421"/>
                  </a:lnTo>
                  <a:lnTo>
                    <a:pt x="629" y="423"/>
                  </a:lnTo>
                  <a:lnTo>
                    <a:pt x="633" y="419"/>
                  </a:lnTo>
                  <a:lnTo>
                    <a:pt x="634" y="419"/>
                  </a:lnTo>
                  <a:lnTo>
                    <a:pt x="637" y="419"/>
                  </a:lnTo>
                  <a:lnTo>
                    <a:pt x="640" y="418"/>
                  </a:lnTo>
                  <a:lnTo>
                    <a:pt x="643" y="417"/>
                  </a:lnTo>
                  <a:lnTo>
                    <a:pt x="643" y="415"/>
                  </a:lnTo>
                  <a:lnTo>
                    <a:pt x="642" y="412"/>
                  </a:lnTo>
                  <a:lnTo>
                    <a:pt x="642" y="410"/>
                  </a:lnTo>
                  <a:lnTo>
                    <a:pt x="643" y="407"/>
                  </a:lnTo>
                  <a:lnTo>
                    <a:pt x="642" y="405"/>
                  </a:lnTo>
                  <a:lnTo>
                    <a:pt x="637" y="405"/>
                  </a:lnTo>
                  <a:lnTo>
                    <a:pt x="636" y="406"/>
                  </a:lnTo>
                  <a:lnTo>
                    <a:pt x="630" y="406"/>
                  </a:lnTo>
                  <a:lnTo>
                    <a:pt x="631" y="406"/>
                  </a:lnTo>
                  <a:lnTo>
                    <a:pt x="629" y="406"/>
                  </a:lnTo>
                  <a:lnTo>
                    <a:pt x="623" y="409"/>
                  </a:lnTo>
                  <a:lnTo>
                    <a:pt x="623" y="407"/>
                  </a:lnTo>
                  <a:lnTo>
                    <a:pt x="621" y="410"/>
                  </a:lnTo>
                  <a:lnTo>
                    <a:pt x="618" y="410"/>
                  </a:lnTo>
                  <a:lnTo>
                    <a:pt x="619" y="407"/>
                  </a:lnTo>
                  <a:lnTo>
                    <a:pt x="622" y="404"/>
                  </a:lnTo>
                  <a:lnTo>
                    <a:pt x="623" y="400"/>
                  </a:lnTo>
                  <a:lnTo>
                    <a:pt x="622" y="399"/>
                  </a:lnTo>
                  <a:lnTo>
                    <a:pt x="621" y="398"/>
                  </a:lnTo>
                  <a:lnTo>
                    <a:pt x="619" y="399"/>
                  </a:lnTo>
                  <a:lnTo>
                    <a:pt x="617" y="401"/>
                  </a:lnTo>
                  <a:lnTo>
                    <a:pt x="613" y="399"/>
                  </a:lnTo>
                  <a:lnTo>
                    <a:pt x="615" y="397"/>
                  </a:lnTo>
                  <a:lnTo>
                    <a:pt x="619" y="395"/>
                  </a:lnTo>
                  <a:lnTo>
                    <a:pt x="621" y="394"/>
                  </a:lnTo>
                  <a:lnTo>
                    <a:pt x="624" y="393"/>
                  </a:lnTo>
                  <a:lnTo>
                    <a:pt x="625" y="391"/>
                  </a:lnTo>
                  <a:lnTo>
                    <a:pt x="625" y="388"/>
                  </a:lnTo>
                  <a:lnTo>
                    <a:pt x="628" y="386"/>
                  </a:lnTo>
                  <a:lnTo>
                    <a:pt x="629" y="386"/>
                  </a:lnTo>
                  <a:lnTo>
                    <a:pt x="630" y="389"/>
                  </a:lnTo>
                  <a:lnTo>
                    <a:pt x="634" y="389"/>
                  </a:lnTo>
                  <a:lnTo>
                    <a:pt x="637" y="389"/>
                  </a:lnTo>
                  <a:lnTo>
                    <a:pt x="639" y="387"/>
                  </a:lnTo>
                  <a:lnTo>
                    <a:pt x="640" y="383"/>
                  </a:lnTo>
                  <a:lnTo>
                    <a:pt x="637" y="383"/>
                  </a:lnTo>
                  <a:lnTo>
                    <a:pt x="634" y="383"/>
                  </a:lnTo>
                  <a:lnTo>
                    <a:pt x="633" y="383"/>
                  </a:lnTo>
                  <a:lnTo>
                    <a:pt x="630" y="382"/>
                  </a:lnTo>
                  <a:lnTo>
                    <a:pt x="631" y="380"/>
                  </a:lnTo>
                  <a:lnTo>
                    <a:pt x="634" y="379"/>
                  </a:lnTo>
                  <a:lnTo>
                    <a:pt x="634" y="376"/>
                  </a:lnTo>
                  <a:lnTo>
                    <a:pt x="634" y="373"/>
                  </a:lnTo>
                  <a:lnTo>
                    <a:pt x="636" y="376"/>
                  </a:lnTo>
                  <a:lnTo>
                    <a:pt x="637" y="377"/>
                  </a:lnTo>
                  <a:lnTo>
                    <a:pt x="640" y="379"/>
                  </a:lnTo>
                  <a:lnTo>
                    <a:pt x="643" y="381"/>
                  </a:lnTo>
                  <a:lnTo>
                    <a:pt x="648" y="381"/>
                  </a:lnTo>
                  <a:lnTo>
                    <a:pt x="653" y="381"/>
                  </a:lnTo>
                  <a:lnTo>
                    <a:pt x="654" y="379"/>
                  </a:lnTo>
                  <a:lnTo>
                    <a:pt x="655" y="375"/>
                  </a:lnTo>
                  <a:lnTo>
                    <a:pt x="654" y="373"/>
                  </a:lnTo>
                  <a:lnTo>
                    <a:pt x="649" y="375"/>
                  </a:lnTo>
                  <a:lnTo>
                    <a:pt x="646" y="374"/>
                  </a:lnTo>
                  <a:lnTo>
                    <a:pt x="645" y="374"/>
                  </a:lnTo>
                  <a:lnTo>
                    <a:pt x="643" y="373"/>
                  </a:lnTo>
                  <a:lnTo>
                    <a:pt x="642" y="370"/>
                  </a:lnTo>
                  <a:lnTo>
                    <a:pt x="641" y="370"/>
                  </a:lnTo>
                  <a:lnTo>
                    <a:pt x="640" y="374"/>
                  </a:lnTo>
                  <a:lnTo>
                    <a:pt x="639" y="371"/>
                  </a:lnTo>
                  <a:lnTo>
                    <a:pt x="637" y="370"/>
                  </a:lnTo>
                  <a:lnTo>
                    <a:pt x="636" y="368"/>
                  </a:lnTo>
                  <a:lnTo>
                    <a:pt x="635" y="364"/>
                  </a:lnTo>
                  <a:lnTo>
                    <a:pt x="637" y="362"/>
                  </a:lnTo>
                  <a:lnTo>
                    <a:pt x="640" y="361"/>
                  </a:lnTo>
                  <a:lnTo>
                    <a:pt x="642" y="364"/>
                  </a:lnTo>
                  <a:lnTo>
                    <a:pt x="643" y="367"/>
                  </a:lnTo>
                  <a:lnTo>
                    <a:pt x="646" y="370"/>
                  </a:lnTo>
                  <a:lnTo>
                    <a:pt x="649" y="371"/>
                  </a:lnTo>
                  <a:lnTo>
                    <a:pt x="652" y="369"/>
                  </a:lnTo>
                  <a:lnTo>
                    <a:pt x="651" y="368"/>
                  </a:lnTo>
                  <a:lnTo>
                    <a:pt x="651" y="367"/>
                  </a:lnTo>
                  <a:lnTo>
                    <a:pt x="653" y="368"/>
                  </a:lnTo>
                  <a:lnTo>
                    <a:pt x="655" y="369"/>
                  </a:lnTo>
                  <a:lnTo>
                    <a:pt x="660" y="369"/>
                  </a:lnTo>
                  <a:lnTo>
                    <a:pt x="660" y="367"/>
                  </a:lnTo>
                  <a:lnTo>
                    <a:pt x="658" y="365"/>
                  </a:lnTo>
                  <a:lnTo>
                    <a:pt x="655" y="364"/>
                  </a:lnTo>
                  <a:lnTo>
                    <a:pt x="653" y="364"/>
                  </a:lnTo>
                  <a:lnTo>
                    <a:pt x="648" y="363"/>
                  </a:lnTo>
                  <a:lnTo>
                    <a:pt x="648" y="362"/>
                  </a:lnTo>
                  <a:lnTo>
                    <a:pt x="651" y="359"/>
                  </a:lnTo>
                  <a:lnTo>
                    <a:pt x="654" y="359"/>
                  </a:lnTo>
                  <a:lnTo>
                    <a:pt x="658" y="362"/>
                  </a:lnTo>
                  <a:lnTo>
                    <a:pt x="659" y="364"/>
                  </a:lnTo>
                  <a:lnTo>
                    <a:pt x="661" y="369"/>
                  </a:lnTo>
                  <a:lnTo>
                    <a:pt x="664" y="369"/>
                  </a:lnTo>
                  <a:lnTo>
                    <a:pt x="667" y="367"/>
                  </a:lnTo>
                  <a:lnTo>
                    <a:pt x="670" y="367"/>
                  </a:lnTo>
                  <a:lnTo>
                    <a:pt x="671" y="367"/>
                  </a:lnTo>
                  <a:lnTo>
                    <a:pt x="672" y="363"/>
                  </a:lnTo>
                  <a:lnTo>
                    <a:pt x="671" y="363"/>
                  </a:lnTo>
                  <a:lnTo>
                    <a:pt x="670" y="362"/>
                  </a:lnTo>
                  <a:lnTo>
                    <a:pt x="666" y="362"/>
                  </a:lnTo>
                  <a:lnTo>
                    <a:pt x="664" y="362"/>
                  </a:lnTo>
                  <a:lnTo>
                    <a:pt x="661" y="364"/>
                  </a:lnTo>
                  <a:lnTo>
                    <a:pt x="660" y="364"/>
                  </a:lnTo>
                  <a:lnTo>
                    <a:pt x="660" y="362"/>
                  </a:lnTo>
                  <a:lnTo>
                    <a:pt x="661" y="361"/>
                  </a:lnTo>
                  <a:lnTo>
                    <a:pt x="664" y="358"/>
                  </a:lnTo>
                  <a:lnTo>
                    <a:pt x="667" y="357"/>
                  </a:lnTo>
                  <a:lnTo>
                    <a:pt x="667" y="356"/>
                  </a:lnTo>
                  <a:lnTo>
                    <a:pt x="669" y="353"/>
                  </a:lnTo>
                  <a:lnTo>
                    <a:pt x="671" y="352"/>
                  </a:lnTo>
                  <a:lnTo>
                    <a:pt x="675" y="353"/>
                  </a:lnTo>
                  <a:lnTo>
                    <a:pt x="677" y="352"/>
                  </a:lnTo>
                  <a:lnTo>
                    <a:pt x="678" y="350"/>
                  </a:lnTo>
                  <a:lnTo>
                    <a:pt x="678" y="345"/>
                  </a:lnTo>
                  <a:lnTo>
                    <a:pt x="678" y="343"/>
                  </a:lnTo>
                  <a:lnTo>
                    <a:pt x="681" y="343"/>
                  </a:lnTo>
                  <a:lnTo>
                    <a:pt x="684" y="340"/>
                  </a:lnTo>
                  <a:lnTo>
                    <a:pt x="686" y="337"/>
                  </a:lnTo>
                  <a:lnTo>
                    <a:pt x="688" y="334"/>
                  </a:lnTo>
                  <a:lnTo>
                    <a:pt x="687" y="332"/>
                  </a:lnTo>
                  <a:lnTo>
                    <a:pt x="684" y="329"/>
                  </a:lnTo>
                  <a:lnTo>
                    <a:pt x="682" y="331"/>
                  </a:lnTo>
                  <a:lnTo>
                    <a:pt x="680" y="334"/>
                  </a:lnTo>
                  <a:lnTo>
                    <a:pt x="678" y="335"/>
                  </a:lnTo>
                  <a:lnTo>
                    <a:pt x="676" y="338"/>
                  </a:lnTo>
                  <a:lnTo>
                    <a:pt x="676" y="337"/>
                  </a:lnTo>
                  <a:lnTo>
                    <a:pt x="676" y="334"/>
                  </a:lnTo>
                  <a:lnTo>
                    <a:pt x="677" y="333"/>
                  </a:lnTo>
                  <a:lnTo>
                    <a:pt x="676" y="331"/>
                  </a:lnTo>
                  <a:lnTo>
                    <a:pt x="672" y="331"/>
                  </a:lnTo>
                  <a:lnTo>
                    <a:pt x="670" y="329"/>
                  </a:lnTo>
                  <a:lnTo>
                    <a:pt x="670" y="328"/>
                  </a:lnTo>
                  <a:lnTo>
                    <a:pt x="667" y="327"/>
                  </a:lnTo>
                  <a:lnTo>
                    <a:pt x="667" y="325"/>
                  </a:lnTo>
                  <a:lnTo>
                    <a:pt x="665" y="323"/>
                  </a:lnTo>
                  <a:lnTo>
                    <a:pt x="661" y="325"/>
                  </a:lnTo>
                  <a:lnTo>
                    <a:pt x="659" y="327"/>
                  </a:lnTo>
                  <a:lnTo>
                    <a:pt x="655" y="328"/>
                  </a:lnTo>
                  <a:lnTo>
                    <a:pt x="652" y="328"/>
                  </a:lnTo>
                  <a:lnTo>
                    <a:pt x="651" y="326"/>
                  </a:lnTo>
                  <a:lnTo>
                    <a:pt x="649" y="328"/>
                  </a:lnTo>
                  <a:lnTo>
                    <a:pt x="646" y="328"/>
                  </a:lnTo>
                  <a:lnTo>
                    <a:pt x="643" y="327"/>
                  </a:lnTo>
                  <a:lnTo>
                    <a:pt x="641" y="326"/>
                  </a:lnTo>
                  <a:lnTo>
                    <a:pt x="640" y="323"/>
                  </a:lnTo>
                  <a:lnTo>
                    <a:pt x="637" y="323"/>
                  </a:lnTo>
                  <a:lnTo>
                    <a:pt x="637" y="328"/>
                  </a:lnTo>
                  <a:lnTo>
                    <a:pt x="635" y="327"/>
                  </a:lnTo>
                  <a:lnTo>
                    <a:pt x="633" y="327"/>
                  </a:lnTo>
                  <a:lnTo>
                    <a:pt x="631" y="328"/>
                  </a:lnTo>
                  <a:lnTo>
                    <a:pt x="628" y="328"/>
                  </a:lnTo>
                  <a:lnTo>
                    <a:pt x="624" y="326"/>
                  </a:lnTo>
                  <a:lnTo>
                    <a:pt x="622" y="326"/>
                  </a:lnTo>
                  <a:lnTo>
                    <a:pt x="622" y="323"/>
                  </a:lnTo>
                  <a:lnTo>
                    <a:pt x="623" y="321"/>
                  </a:lnTo>
                  <a:lnTo>
                    <a:pt x="621" y="320"/>
                  </a:lnTo>
                  <a:lnTo>
                    <a:pt x="618" y="321"/>
                  </a:lnTo>
                  <a:lnTo>
                    <a:pt x="615" y="321"/>
                  </a:lnTo>
                  <a:lnTo>
                    <a:pt x="611" y="319"/>
                  </a:lnTo>
                  <a:lnTo>
                    <a:pt x="608" y="321"/>
                  </a:lnTo>
                  <a:lnTo>
                    <a:pt x="607" y="321"/>
                  </a:lnTo>
                  <a:lnTo>
                    <a:pt x="605" y="319"/>
                  </a:lnTo>
                  <a:lnTo>
                    <a:pt x="604" y="314"/>
                  </a:lnTo>
                  <a:lnTo>
                    <a:pt x="601" y="315"/>
                  </a:lnTo>
                  <a:lnTo>
                    <a:pt x="601" y="317"/>
                  </a:lnTo>
                  <a:lnTo>
                    <a:pt x="599" y="319"/>
                  </a:lnTo>
                  <a:lnTo>
                    <a:pt x="596" y="317"/>
                  </a:lnTo>
                  <a:lnTo>
                    <a:pt x="594" y="320"/>
                  </a:lnTo>
                  <a:lnTo>
                    <a:pt x="593" y="319"/>
                  </a:lnTo>
                  <a:lnTo>
                    <a:pt x="593" y="315"/>
                  </a:lnTo>
                  <a:lnTo>
                    <a:pt x="594" y="314"/>
                  </a:lnTo>
                  <a:lnTo>
                    <a:pt x="594" y="311"/>
                  </a:lnTo>
                  <a:lnTo>
                    <a:pt x="593" y="311"/>
                  </a:lnTo>
                  <a:lnTo>
                    <a:pt x="588" y="312"/>
                  </a:lnTo>
                  <a:lnTo>
                    <a:pt x="587" y="312"/>
                  </a:lnTo>
                  <a:lnTo>
                    <a:pt x="588" y="309"/>
                  </a:lnTo>
                  <a:lnTo>
                    <a:pt x="592" y="306"/>
                  </a:lnTo>
                  <a:lnTo>
                    <a:pt x="593" y="308"/>
                  </a:lnTo>
                  <a:lnTo>
                    <a:pt x="595" y="309"/>
                  </a:lnTo>
                  <a:lnTo>
                    <a:pt x="596" y="310"/>
                  </a:lnTo>
                  <a:lnTo>
                    <a:pt x="600" y="309"/>
                  </a:lnTo>
                  <a:lnTo>
                    <a:pt x="600" y="306"/>
                  </a:lnTo>
                  <a:lnTo>
                    <a:pt x="600" y="305"/>
                  </a:lnTo>
                  <a:lnTo>
                    <a:pt x="598" y="304"/>
                  </a:lnTo>
                  <a:lnTo>
                    <a:pt x="596" y="303"/>
                  </a:lnTo>
                  <a:lnTo>
                    <a:pt x="598" y="302"/>
                  </a:lnTo>
                  <a:lnTo>
                    <a:pt x="600" y="302"/>
                  </a:lnTo>
                  <a:lnTo>
                    <a:pt x="602" y="300"/>
                  </a:lnTo>
                  <a:lnTo>
                    <a:pt x="605" y="300"/>
                  </a:lnTo>
                  <a:lnTo>
                    <a:pt x="606" y="303"/>
                  </a:lnTo>
                  <a:lnTo>
                    <a:pt x="608" y="304"/>
                  </a:lnTo>
                  <a:lnTo>
                    <a:pt x="610" y="304"/>
                  </a:lnTo>
                  <a:lnTo>
                    <a:pt x="615" y="303"/>
                  </a:lnTo>
                  <a:lnTo>
                    <a:pt x="615" y="300"/>
                  </a:lnTo>
                  <a:lnTo>
                    <a:pt x="616" y="298"/>
                  </a:lnTo>
                  <a:lnTo>
                    <a:pt x="617" y="298"/>
                  </a:lnTo>
                  <a:lnTo>
                    <a:pt x="619" y="297"/>
                  </a:lnTo>
                  <a:lnTo>
                    <a:pt x="622" y="298"/>
                  </a:lnTo>
                  <a:lnTo>
                    <a:pt x="624" y="296"/>
                  </a:lnTo>
                  <a:lnTo>
                    <a:pt x="627" y="293"/>
                  </a:lnTo>
                  <a:lnTo>
                    <a:pt x="627" y="292"/>
                  </a:lnTo>
                  <a:lnTo>
                    <a:pt x="625" y="290"/>
                  </a:lnTo>
                  <a:lnTo>
                    <a:pt x="624" y="288"/>
                  </a:lnTo>
                  <a:lnTo>
                    <a:pt x="622" y="287"/>
                  </a:lnTo>
                  <a:lnTo>
                    <a:pt x="621" y="290"/>
                  </a:lnTo>
                  <a:lnTo>
                    <a:pt x="618" y="291"/>
                  </a:lnTo>
                  <a:lnTo>
                    <a:pt x="616" y="292"/>
                  </a:lnTo>
                  <a:lnTo>
                    <a:pt x="613" y="291"/>
                  </a:lnTo>
                  <a:lnTo>
                    <a:pt x="611" y="288"/>
                  </a:lnTo>
                  <a:lnTo>
                    <a:pt x="610" y="288"/>
                  </a:lnTo>
                  <a:lnTo>
                    <a:pt x="607" y="291"/>
                  </a:lnTo>
                  <a:lnTo>
                    <a:pt x="605" y="290"/>
                  </a:lnTo>
                  <a:lnTo>
                    <a:pt x="604" y="287"/>
                  </a:lnTo>
                  <a:lnTo>
                    <a:pt x="601" y="287"/>
                  </a:lnTo>
                  <a:lnTo>
                    <a:pt x="599" y="290"/>
                  </a:lnTo>
                  <a:lnTo>
                    <a:pt x="598" y="290"/>
                  </a:lnTo>
                  <a:lnTo>
                    <a:pt x="596" y="287"/>
                  </a:lnTo>
                  <a:lnTo>
                    <a:pt x="600" y="286"/>
                  </a:lnTo>
                  <a:lnTo>
                    <a:pt x="600" y="284"/>
                  </a:lnTo>
                  <a:lnTo>
                    <a:pt x="598" y="281"/>
                  </a:lnTo>
                  <a:lnTo>
                    <a:pt x="595" y="280"/>
                  </a:lnTo>
                  <a:lnTo>
                    <a:pt x="595" y="279"/>
                  </a:lnTo>
                  <a:lnTo>
                    <a:pt x="596" y="278"/>
                  </a:lnTo>
                  <a:lnTo>
                    <a:pt x="600" y="275"/>
                  </a:lnTo>
                  <a:lnTo>
                    <a:pt x="605" y="274"/>
                  </a:lnTo>
                  <a:lnTo>
                    <a:pt x="605" y="272"/>
                  </a:lnTo>
                  <a:lnTo>
                    <a:pt x="605" y="267"/>
                  </a:lnTo>
                  <a:lnTo>
                    <a:pt x="602" y="267"/>
                  </a:lnTo>
                  <a:lnTo>
                    <a:pt x="600" y="266"/>
                  </a:lnTo>
                  <a:lnTo>
                    <a:pt x="601" y="263"/>
                  </a:lnTo>
                  <a:lnTo>
                    <a:pt x="602" y="261"/>
                  </a:lnTo>
                  <a:lnTo>
                    <a:pt x="605" y="261"/>
                  </a:lnTo>
                  <a:lnTo>
                    <a:pt x="610" y="260"/>
                  </a:lnTo>
                  <a:lnTo>
                    <a:pt x="612" y="258"/>
                  </a:lnTo>
                  <a:lnTo>
                    <a:pt x="615" y="256"/>
                  </a:lnTo>
                  <a:lnTo>
                    <a:pt x="617" y="256"/>
                  </a:lnTo>
                  <a:lnTo>
                    <a:pt x="618" y="255"/>
                  </a:lnTo>
                  <a:lnTo>
                    <a:pt x="617" y="252"/>
                  </a:lnTo>
                  <a:lnTo>
                    <a:pt x="616" y="250"/>
                  </a:lnTo>
                  <a:lnTo>
                    <a:pt x="616" y="248"/>
                  </a:lnTo>
                  <a:lnTo>
                    <a:pt x="615" y="246"/>
                  </a:lnTo>
                  <a:lnTo>
                    <a:pt x="612" y="245"/>
                  </a:lnTo>
                  <a:lnTo>
                    <a:pt x="611" y="246"/>
                  </a:lnTo>
                  <a:lnTo>
                    <a:pt x="610" y="248"/>
                  </a:lnTo>
                  <a:lnTo>
                    <a:pt x="608" y="249"/>
                  </a:lnTo>
                  <a:lnTo>
                    <a:pt x="607" y="250"/>
                  </a:lnTo>
                  <a:lnTo>
                    <a:pt x="605" y="250"/>
                  </a:lnTo>
                  <a:lnTo>
                    <a:pt x="601" y="249"/>
                  </a:lnTo>
                  <a:lnTo>
                    <a:pt x="601" y="246"/>
                  </a:lnTo>
                  <a:lnTo>
                    <a:pt x="602" y="245"/>
                  </a:lnTo>
                  <a:lnTo>
                    <a:pt x="601" y="243"/>
                  </a:lnTo>
                  <a:lnTo>
                    <a:pt x="600" y="244"/>
                  </a:lnTo>
                  <a:lnTo>
                    <a:pt x="598" y="245"/>
                  </a:lnTo>
                  <a:lnTo>
                    <a:pt x="596" y="246"/>
                  </a:lnTo>
                  <a:lnTo>
                    <a:pt x="593" y="245"/>
                  </a:lnTo>
                  <a:lnTo>
                    <a:pt x="590" y="244"/>
                  </a:lnTo>
                  <a:lnTo>
                    <a:pt x="590" y="242"/>
                  </a:lnTo>
                  <a:lnTo>
                    <a:pt x="588" y="240"/>
                  </a:lnTo>
                  <a:lnTo>
                    <a:pt x="587" y="240"/>
                  </a:lnTo>
                  <a:lnTo>
                    <a:pt x="586" y="239"/>
                  </a:lnTo>
                  <a:lnTo>
                    <a:pt x="584" y="240"/>
                  </a:lnTo>
                  <a:lnTo>
                    <a:pt x="583" y="243"/>
                  </a:lnTo>
                  <a:lnTo>
                    <a:pt x="582" y="243"/>
                  </a:lnTo>
                  <a:lnTo>
                    <a:pt x="582" y="239"/>
                  </a:lnTo>
                  <a:lnTo>
                    <a:pt x="582" y="238"/>
                  </a:lnTo>
                  <a:lnTo>
                    <a:pt x="580" y="240"/>
                  </a:lnTo>
                  <a:lnTo>
                    <a:pt x="577" y="242"/>
                  </a:lnTo>
                  <a:lnTo>
                    <a:pt x="576" y="239"/>
                  </a:lnTo>
                  <a:lnTo>
                    <a:pt x="577" y="237"/>
                  </a:lnTo>
                  <a:lnTo>
                    <a:pt x="576" y="236"/>
                  </a:lnTo>
                  <a:lnTo>
                    <a:pt x="574" y="236"/>
                  </a:lnTo>
                  <a:lnTo>
                    <a:pt x="572" y="237"/>
                  </a:lnTo>
                  <a:lnTo>
                    <a:pt x="570" y="236"/>
                  </a:lnTo>
                  <a:lnTo>
                    <a:pt x="568" y="234"/>
                  </a:lnTo>
                  <a:lnTo>
                    <a:pt x="571" y="234"/>
                  </a:lnTo>
                  <a:lnTo>
                    <a:pt x="572" y="233"/>
                  </a:lnTo>
                  <a:lnTo>
                    <a:pt x="571" y="231"/>
                  </a:lnTo>
                  <a:lnTo>
                    <a:pt x="571" y="230"/>
                  </a:lnTo>
                  <a:lnTo>
                    <a:pt x="571" y="226"/>
                  </a:lnTo>
                  <a:lnTo>
                    <a:pt x="574" y="225"/>
                  </a:lnTo>
                  <a:lnTo>
                    <a:pt x="572" y="230"/>
                  </a:lnTo>
                  <a:lnTo>
                    <a:pt x="574" y="231"/>
                  </a:lnTo>
                  <a:lnTo>
                    <a:pt x="575" y="231"/>
                  </a:lnTo>
                  <a:lnTo>
                    <a:pt x="576" y="234"/>
                  </a:lnTo>
                  <a:lnTo>
                    <a:pt x="577" y="234"/>
                  </a:lnTo>
                  <a:lnTo>
                    <a:pt x="580" y="232"/>
                  </a:lnTo>
                  <a:lnTo>
                    <a:pt x="581" y="231"/>
                  </a:lnTo>
                  <a:lnTo>
                    <a:pt x="580" y="228"/>
                  </a:lnTo>
                  <a:lnTo>
                    <a:pt x="577" y="225"/>
                  </a:lnTo>
                  <a:lnTo>
                    <a:pt x="580" y="225"/>
                  </a:lnTo>
                  <a:lnTo>
                    <a:pt x="582" y="231"/>
                  </a:lnTo>
                  <a:lnTo>
                    <a:pt x="583" y="230"/>
                  </a:lnTo>
                  <a:lnTo>
                    <a:pt x="584" y="232"/>
                  </a:lnTo>
                  <a:lnTo>
                    <a:pt x="584" y="234"/>
                  </a:lnTo>
                  <a:lnTo>
                    <a:pt x="586" y="236"/>
                  </a:lnTo>
                  <a:lnTo>
                    <a:pt x="589" y="237"/>
                  </a:lnTo>
                  <a:lnTo>
                    <a:pt x="590" y="237"/>
                  </a:lnTo>
                  <a:lnTo>
                    <a:pt x="593" y="236"/>
                  </a:lnTo>
                  <a:lnTo>
                    <a:pt x="593" y="234"/>
                  </a:lnTo>
                  <a:lnTo>
                    <a:pt x="593" y="233"/>
                  </a:lnTo>
                  <a:lnTo>
                    <a:pt x="590" y="232"/>
                  </a:lnTo>
                  <a:lnTo>
                    <a:pt x="590" y="231"/>
                  </a:lnTo>
                  <a:lnTo>
                    <a:pt x="590" y="227"/>
                  </a:lnTo>
                  <a:lnTo>
                    <a:pt x="587" y="227"/>
                  </a:lnTo>
                  <a:lnTo>
                    <a:pt x="587" y="226"/>
                  </a:lnTo>
                  <a:lnTo>
                    <a:pt x="586" y="225"/>
                  </a:lnTo>
                  <a:lnTo>
                    <a:pt x="584" y="224"/>
                  </a:lnTo>
                  <a:lnTo>
                    <a:pt x="583" y="224"/>
                  </a:lnTo>
                  <a:lnTo>
                    <a:pt x="581" y="221"/>
                  </a:lnTo>
                  <a:lnTo>
                    <a:pt x="582" y="219"/>
                  </a:lnTo>
                  <a:lnTo>
                    <a:pt x="583" y="216"/>
                  </a:lnTo>
                  <a:lnTo>
                    <a:pt x="584" y="218"/>
                  </a:lnTo>
                  <a:lnTo>
                    <a:pt x="584" y="221"/>
                  </a:lnTo>
                  <a:lnTo>
                    <a:pt x="584" y="222"/>
                  </a:lnTo>
                  <a:lnTo>
                    <a:pt x="587" y="224"/>
                  </a:lnTo>
                  <a:lnTo>
                    <a:pt x="593" y="221"/>
                  </a:lnTo>
                  <a:lnTo>
                    <a:pt x="590" y="221"/>
                  </a:lnTo>
                  <a:lnTo>
                    <a:pt x="589" y="220"/>
                  </a:lnTo>
                  <a:lnTo>
                    <a:pt x="593" y="219"/>
                  </a:lnTo>
                  <a:lnTo>
                    <a:pt x="594" y="221"/>
                  </a:lnTo>
                  <a:lnTo>
                    <a:pt x="593" y="224"/>
                  </a:lnTo>
                  <a:lnTo>
                    <a:pt x="596" y="225"/>
                  </a:lnTo>
                  <a:lnTo>
                    <a:pt x="598" y="224"/>
                  </a:lnTo>
                  <a:lnTo>
                    <a:pt x="599" y="224"/>
                  </a:lnTo>
                  <a:lnTo>
                    <a:pt x="600" y="221"/>
                  </a:lnTo>
                  <a:lnTo>
                    <a:pt x="601" y="222"/>
                  </a:lnTo>
                  <a:lnTo>
                    <a:pt x="605" y="222"/>
                  </a:lnTo>
                  <a:lnTo>
                    <a:pt x="607" y="222"/>
                  </a:lnTo>
                  <a:lnTo>
                    <a:pt x="610" y="221"/>
                  </a:lnTo>
                  <a:lnTo>
                    <a:pt x="612" y="221"/>
                  </a:lnTo>
                  <a:lnTo>
                    <a:pt x="613" y="225"/>
                  </a:lnTo>
                  <a:lnTo>
                    <a:pt x="618" y="227"/>
                  </a:lnTo>
                  <a:lnTo>
                    <a:pt x="619" y="228"/>
                  </a:lnTo>
                  <a:lnTo>
                    <a:pt x="622" y="226"/>
                  </a:lnTo>
                  <a:lnTo>
                    <a:pt x="627" y="222"/>
                  </a:lnTo>
                  <a:lnTo>
                    <a:pt x="628" y="220"/>
                  </a:lnTo>
                  <a:lnTo>
                    <a:pt x="629" y="218"/>
                  </a:lnTo>
                  <a:lnTo>
                    <a:pt x="625" y="216"/>
                  </a:lnTo>
                  <a:lnTo>
                    <a:pt x="628" y="214"/>
                  </a:lnTo>
                  <a:lnTo>
                    <a:pt x="630" y="213"/>
                  </a:lnTo>
                  <a:lnTo>
                    <a:pt x="631" y="210"/>
                  </a:lnTo>
                  <a:lnTo>
                    <a:pt x="634" y="209"/>
                  </a:lnTo>
                  <a:lnTo>
                    <a:pt x="635" y="208"/>
                  </a:lnTo>
                  <a:lnTo>
                    <a:pt x="640" y="207"/>
                  </a:lnTo>
                  <a:lnTo>
                    <a:pt x="642" y="205"/>
                  </a:lnTo>
                  <a:lnTo>
                    <a:pt x="643" y="203"/>
                  </a:lnTo>
                  <a:lnTo>
                    <a:pt x="647" y="201"/>
                  </a:lnTo>
                  <a:lnTo>
                    <a:pt x="649" y="196"/>
                  </a:lnTo>
                  <a:lnTo>
                    <a:pt x="651" y="195"/>
                  </a:lnTo>
                  <a:lnTo>
                    <a:pt x="651" y="193"/>
                  </a:lnTo>
                  <a:lnTo>
                    <a:pt x="649" y="192"/>
                  </a:lnTo>
                  <a:lnTo>
                    <a:pt x="643" y="192"/>
                  </a:lnTo>
                  <a:lnTo>
                    <a:pt x="641" y="193"/>
                  </a:lnTo>
                  <a:lnTo>
                    <a:pt x="637" y="192"/>
                  </a:lnTo>
                  <a:lnTo>
                    <a:pt x="634" y="195"/>
                  </a:lnTo>
                  <a:lnTo>
                    <a:pt x="629" y="193"/>
                  </a:lnTo>
                  <a:lnTo>
                    <a:pt x="634" y="192"/>
                  </a:lnTo>
                  <a:lnTo>
                    <a:pt x="635" y="190"/>
                  </a:lnTo>
                  <a:lnTo>
                    <a:pt x="634" y="189"/>
                  </a:lnTo>
                  <a:lnTo>
                    <a:pt x="631" y="187"/>
                  </a:lnTo>
                  <a:lnTo>
                    <a:pt x="634" y="184"/>
                  </a:lnTo>
                  <a:lnTo>
                    <a:pt x="637" y="183"/>
                  </a:lnTo>
                  <a:lnTo>
                    <a:pt x="637" y="178"/>
                  </a:lnTo>
                  <a:lnTo>
                    <a:pt x="635" y="177"/>
                  </a:lnTo>
                  <a:lnTo>
                    <a:pt x="634" y="177"/>
                  </a:lnTo>
                  <a:lnTo>
                    <a:pt x="631" y="180"/>
                  </a:lnTo>
                  <a:lnTo>
                    <a:pt x="629" y="181"/>
                  </a:lnTo>
                  <a:lnTo>
                    <a:pt x="628" y="179"/>
                  </a:lnTo>
                  <a:lnTo>
                    <a:pt x="625" y="181"/>
                  </a:lnTo>
                  <a:lnTo>
                    <a:pt x="623" y="183"/>
                  </a:lnTo>
                  <a:lnTo>
                    <a:pt x="624" y="180"/>
                  </a:lnTo>
                  <a:lnTo>
                    <a:pt x="625" y="177"/>
                  </a:lnTo>
                  <a:lnTo>
                    <a:pt x="628" y="178"/>
                  </a:lnTo>
                  <a:lnTo>
                    <a:pt x="629" y="177"/>
                  </a:lnTo>
                  <a:lnTo>
                    <a:pt x="630" y="175"/>
                  </a:lnTo>
                  <a:lnTo>
                    <a:pt x="631" y="177"/>
                  </a:lnTo>
                  <a:lnTo>
                    <a:pt x="634" y="175"/>
                  </a:lnTo>
                  <a:lnTo>
                    <a:pt x="634" y="172"/>
                  </a:lnTo>
                  <a:lnTo>
                    <a:pt x="631" y="171"/>
                  </a:lnTo>
                  <a:lnTo>
                    <a:pt x="629" y="169"/>
                  </a:lnTo>
                  <a:lnTo>
                    <a:pt x="627" y="171"/>
                  </a:lnTo>
                  <a:lnTo>
                    <a:pt x="624" y="172"/>
                  </a:lnTo>
                  <a:lnTo>
                    <a:pt x="623" y="172"/>
                  </a:lnTo>
                  <a:lnTo>
                    <a:pt x="624" y="171"/>
                  </a:lnTo>
                  <a:lnTo>
                    <a:pt x="631" y="167"/>
                  </a:lnTo>
                  <a:lnTo>
                    <a:pt x="633" y="167"/>
                  </a:lnTo>
                  <a:lnTo>
                    <a:pt x="635" y="165"/>
                  </a:lnTo>
                  <a:lnTo>
                    <a:pt x="636" y="162"/>
                  </a:lnTo>
                  <a:lnTo>
                    <a:pt x="637" y="160"/>
                  </a:lnTo>
                  <a:lnTo>
                    <a:pt x="639" y="157"/>
                  </a:lnTo>
                  <a:lnTo>
                    <a:pt x="636" y="155"/>
                  </a:lnTo>
                  <a:lnTo>
                    <a:pt x="634" y="155"/>
                  </a:lnTo>
                  <a:lnTo>
                    <a:pt x="634" y="157"/>
                  </a:lnTo>
                  <a:lnTo>
                    <a:pt x="631" y="157"/>
                  </a:lnTo>
                  <a:lnTo>
                    <a:pt x="630" y="157"/>
                  </a:lnTo>
                  <a:lnTo>
                    <a:pt x="628" y="159"/>
                  </a:lnTo>
                  <a:lnTo>
                    <a:pt x="625" y="161"/>
                  </a:lnTo>
                  <a:lnTo>
                    <a:pt x="624" y="160"/>
                  </a:lnTo>
                  <a:lnTo>
                    <a:pt x="619" y="161"/>
                  </a:lnTo>
                  <a:lnTo>
                    <a:pt x="618" y="165"/>
                  </a:lnTo>
                  <a:lnTo>
                    <a:pt x="616" y="163"/>
                  </a:lnTo>
                  <a:lnTo>
                    <a:pt x="616" y="162"/>
                  </a:lnTo>
                  <a:lnTo>
                    <a:pt x="617" y="160"/>
                  </a:lnTo>
                  <a:lnTo>
                    <a:pt x="618" y="159"/>
                  </a:lnTo>
                  <a:lnTo>
                    <a:pt x="623" y="159"/>
                  </a:lnTo>
                  <a:lnTo>
                    <a:pt x="628" y="157"/>
                  </a:lnTo>
                  <a:lnTo>
                    <a:pt x="629" y="155"/>
                  </a:lnTo>
                  <a:lnTo>
                    <a:pt x="630" y="150"/>
                  </a:lnTo>
                  <a:lnTo>
                    <a:pt x="633" y="148"/>
                  </a:lnTo>
                  <a:lnTo>
                    <a:pt x="631" y="143"/>
                  </a:lnTo>
                  <a:lnTo>
                    <a:pt x="631" y="141"/>
                  </a:lnTo>
                  <a:lnTo>
                    <a:pt x="629" y="138"/>
                  </a:lnTo>
                  <a:lnTo>
                    <a:pt x="628" y="138"/>
                  </a:lnTo>
                  <a:lnTo>
                    <a:pt x="627" y="138"/>
                  </a:lnTo>
                  <a:lnTo>
                    <a:pt x="624" y="138"/>
                  </a:lnTo>
                  <a:lnTo>
                    <a:pt x="624" y="141"/>
                  </a:lnTo>
                  <a:lnTo>
                    <a:pt x="625" y="144"/>
                  </a:lnTo>
                  <a:lnTo>
                    <a:pt x="623" y="147"/>
                  </a:lnTo>
                  <a:lnTo>
                    <a:pt x="622" y="149"/>
                  </a:lnTo>
                  <a:lnTo>
                    <a:pt x="621" y="150"/>
                  </a:lnTo>
                  <a:lnTo>
                    <a:pt x="618" y="149"/>
                  </a:lnTo>
                  <a:lnTo>
                    <a:pt x="615" y="148"/>
                  </a:lnTo>
                  <a:lnTo>
                    <a:pt x="612" y="148"/>
                  </a:lnTo>
                  <a:lnTo>
                    <a:pt x="608" y="149"/>
                  </a:lnTo>
                  <a:lnTo>
                    <a:pt x="610" y="153"/>
                  </a:lnTo>
                  <a:lnTo>
                    <a:pt x="610" y="156"/>
                  </a:lnTo>
                  <a:lnTo>
                    <a:pt x="612" y="162"/>
                  </a:lnTo>
                  <a:lnTo>
                    <a:pt x="610" y="161"/>
                  </a:lnTo>
                  <a:lnTo>
                    <a:pt x="608" y="159"/>
                  </a:lnTo>
                  <a:lnTo>
                    <a:pt x="607" y="154"/>
                  </a:lnTo>
                  <a:lnTo>
                    <a:pt x="604" y="151"/>
                  </a:lnTo>
                  <a:lnTo>
                    <a:pt x="600" y="151"/>
                  </a:lnTo>
                  <a:lnTo>
                    <a:pt x="598" y="154"/>
                  </a:lnTo>
                  <a:lnTo>
                    <a:pt x="599" y="156"/>
                  </a:lnTo>
                  <a:lnTo>
                    <a:pt x="596" y="157"/>
                  </a:lnTo>
                  <a:lnTo>
                    <a:pt x="594" y="160"/>
                  </a:lnTo>
                  <a:lnTo>
                    <a:pt x="594" y="162"/>
                  </a:lnTo>
                  <a:lnTo>
                    <a:pt x="594" y="165"/>
                  </a:lnTo>
                  <a:lnTo>
                    <a:pt x="594" y="166"/>
                  </a:lnTo>
                  <a:lnTo>
                    <a:pt x="593" y="165"/>
                  </a:lnTo>
                  <a:lnTo>
                    <a:pt x="592" y="161"/>
                  </a:lnTo>
                  <a:lnTo>
                    <a:pt x="589" y="163"/>
                  </a:lnTo>
                  <a:lnTo>
                    <a:pt x="586" y="163"/>
                  </a:lnTo>
                  <a:lnTo>
                    <a:pt x="583" y="167"/>
                  </a:lnTo>
                  <a:lnTo>
                    <a:pt x="582" y="169"/>
                  </a:lnTo>
                  <a:lnTo>
                    <a:pt x="580" y="169"/>
                  </a:lnTo>
                  <a:lnTo>
                    <a:pt x="577" y="168"/>
                  </a:lnTo>
                  <a:lnTo>
                    <a:pt x="576" y="168"/>
                  </a:lnTo>
                  <a:lnTo>
                    <a:pt x="575" y="165"/>
                  </a:lnTo>
                  <a:lnTo>
                    <a:pt x="574" y="162"/>
                  </a:lnTo>
                  <a:lnTo>
                    <a:pt x="570" y="161"/>
                  </a:lnTo>
                  <a:lnTo>
                    <a:pt x="565" y="160"/>
                  </a:lnTo>
                  <a:lnTo>
                    <a:pt x="566" y="159"/>
                  </a:lnTo>
                  <a:lnTo>
                    <a:pt x="570" y="161"/>
                  </a:lnTo>
                  <a:lnTo>
                    <a:pt x="571" y="159"/>
                  </a:lnTo>
                  <a:lnTo>
                    <a:pt x="572" y="156"/>
                  </a:lnTo>
                  <a:lnTo>
                    <a:pt x="576" y="154"/>
                  </a:lnTo>
                  <a:lnTo>
                    <a:pt x="577" y="153"/>
                  </a:lnTo>
                  <a:lnTo>
                    <a:pt x="576" y="149"/>
                  </a:lnTo>
                  <a:lnTo>
                    <a:pt x="575" y="147"/>
                  </a:lnTo>
                  <a:lnTo>
                    <a:pt x="576" y="148"/>
                  </a:lnTo>
                  <a:lnTo>
                    <a:pt x="577" y="147"/>
                  </a:lnTo>
                  <a:lnTo>
                    <a:pt x="577" y="142"/>
                  </a:lnTo>
                  <a:lnTo>
                    <a:pt x="578" y="139"/>
                  </a:lnTo>
                  <a:lnTo>
                    <a:pt x="582" y="136"/>
                  </a:lnTo>
                  <a:lnTo>
                    <a:pt x="587" y="135"/>
                  </a:lnTo>
                  <a:lnTo>
                    <a:pt x="589" y="137"/>
                  </a:lnTo>
                  <a:lnTo>
                    <a:pt x="588" y="139"/>
                  </a:lnTo>
                  <a:lnTo>
                    <a:pt x="588" y="138"/>
                  </a:lnTo>
                  <a:lnTo>
                    <a:pt x="586" y="138"/>
                  </a:lnTo>
                  <a:lnTo>
                    <a:pt x="581" y="141"/>
                  </a:lnTo>
                  <a:lnTo>
                    <a:pt x="578" y="144"/>
                  </a:lnTo>
                  <a:lnTo>
                    <a:pt x="580" y="148"/>
                  </a:lnTo>
                  <a:lnTo>
                    <a:pt x="583" y="150"/>
                  </a:lnTo>
                  <a:lnTo>
                    <a:pt x="587" y="151"/>
                  </a:lnTo>
                  <a:lnTo>
                    <a:pt x="588" y="149"/>
                  </a:lnTo>
                  <a:lnTo>
                    <a:pt x="590" y="150"/>
                  </a:lnTo>
                  <a:lnTo>
                    <a:pt x="593" y="149"/>
                  </a:lnTo>
                  <a:lnTo>
                    <a:pt x="593" y="148"/>
                  </a:lnTo>
                  <a:lnTo>
                    <a:pt x="596" y="149"/>
                  </a:lnTo>
                  <a:lnTo>
                    <a:pt x="598" y="147"/>
                  </a:lnTo>
                  <a:lnTo>
                    <a:pt x="600" y="145"/>
                  </a:lnTo>
                  <a:lnTo>
                    <a:pt x="601" y="143"/>
                  </a:lnTo>
                  <a:lnTo>
                    <a:pt x="599" y="142"/>
                  </a:lnTo>
                  <a:lnTo>
                    <a:pt x="598" y="139"/>
                  </a:lnTo>
                  <a:lnTo>
                    <a:pt x="599" y="138"/>
                  </a:lnTo>
                  <a:lnTo>
                    <a:pt x="602" y="135"/>
                  </a:lnTo>
                  <a:lnTo>
                    <a:pt x="602" y="139"/>
                  </a:lnTo>
                  <a:lnTo>
                    <a:pt x="606" y="138"/>
                  </a:lnTo>
                  <a:lnTo>
                    <a:pt x="606" y="136"/>
                  </a:lnTo>
                  <a:lnTo>
                    <a:pt x="608" y="135"/>
                  </a:lnTo>
                  <a:lnTo>
                    <a:pt x="612" y="133"/>
                  </a:lnTo>
                  <a:lnTo>
                    <a:pt x="615" y="132"/>
                  </a:lnTo>
                  <a:lnTo>
                    <a:pt x="612" y="131"/>
                  </a:lnTo>
                  <a:lnTo>
                    <a:pt x="611" y="130"/>
                  </a:lnTo>
                  <a:lnTo>
                    <a:pt x="611" y="127"/>
                  </a:lnTo>
                  <a:lnTo>
                    <a:pt x="612" y="126"/>
                  </a:lnTo>
                  <a:lnTo>
                    <a:pt x="613" y="125"/>
                  </a:lnTo>
                  <a:lnTo>
                    <a:pt x="613" y="123"/>
                  </a:lnTo>
                  <a:lnTo>
                    <a:pt x="611" y="121"/>
                  </a:lnTo>
                  <a:lnTo>
                    <a:pt x="610" y="121"/>
                  </a:lnTo>
                  <a:lnTo>
                    <a:pt x="610" y="118"/>
                  </a:lnTo>
                  <a:lnTo>
                    <a:pt x="607" y="118"/>
                  </a:lnTo>
                  <a:lnTo>
                    <a:pt x="607" y="120"/>
                  </a:lnTo>
                  <a:lnTo>
                    <a:pt x="607" y="124"/>
                  </a:lnTo>
                  <a:lnTo>
                    <a:pt x="605" y="123"/>
                  </a:lnTo>
                  <a:lnTo>
                    <a:pt x="602" y="120"/>
                  </a:lnTo>
                  <a:lnTo>
                    <a:pt x="601" y="120"/>
                  </a:lnTo>
                  <a:lnTo>
                    <a:pt x="602" y="127"/>
                  </a:lnTo>
                  <a:lnTo>
                    <a:pt x="605" y="130"/>
                  </a:lnTo>
                  <a:lnTo>
                    <a:pt x="602" y="131"/>
                  </a:lnTo>
                  <a:lnTo>
                    <a:pt x="601" y="130"/>
                  </a:lnTo>
                  <a:lnTo>
                    <a:pt x="601" y="126"/>
                  </a:lnTo>
                  <a:lnTo>
                    <a:pt x="599" y="124"/>
                  </a:lnTo>
                  <a:lnTo>
                    <a:pt x="598" y="125"/>
                  </a:lnTo>
                  <a:lnTo>
                    <a:pt x="595" y="126"/>
                  </a:lnTo>
                  <a:lnTo>
                    <a:pt x="593" y="125"/>
                  </a:lnTo>
                  <a:lnTo>
                    <a:pt x="593" y="124"/>
                  </a:lnTo>
                  <a:lnTo>
                    <a:pt x="592" y="125"/>
                  </a:lnTo>
                  <a:lnTo>
                    <a:pt x="589" y="126"/>
                  </a:lnTo>
                  <a:lnTo>
                    <a:pt x="587" y="126"/>
                  </a:lnTo>
                  <a:lnTo>
                    <a:pt x="587" y="127"/>
                  </a:lnTo>
                  <a:lnTo>
                    <a:pt x="586" y="129"/>
                  </a:lnTo>
                  <a:lnTo>
                    <a:pt x="584" y="131"/>
                  </a:lnTo>
                  <a:lnTo>
                    <a:pt x="584" y="130"/>
                  </a:lnTo>
                  <a:lnTo>
                    <a:pt x="584" y="125"/>
                  </a:lnTo>
                  <a:lnTo>
                    <a:pt x="581" y="121"/>
                  </a:lnTo>
                  <a:lnTo>
                    <a:pt x="580" y="120"/>
                  </a:lnTo>
                  <a:lnTo>
                    <a:pt x="578" y="125"/>
                  </a:lnTo>
                  <a:lnTo>
                    <a:pt x="576" y="124"/>
                  </a:lnTo>
                  <a:lnTo>
                    <a:pt x="575" y="123"/>
                  </a:lnTo>
                  <a:lnTo>
                    <a:pt x="575" y="121"/>
                  </a:lnTo>
                  <a:lnTo>
                    <a:pt x="576" y="119"/>
                  </a:lnTo>
                  <a:lnTo>
                    <a:pt x="575" y="117"/>
                  </a:lnTo>
                  <a:lnTo>
                    <a:pt x="572" y="114"/>
                  </a:lnTo>
                  <a:lnTo>
                    <a:pt x="571" y="115"/>
                  </a:lnTo>
                  <a:lnTo>
                    <a:pt x="570" y="117"/>
                  </a:lnTo>
                  <a:lnTo>
                    <a:pt x="568" y="114"/>
                  </a:lnTo>
                  <a:lnTo>
                    <a:pt x="563" y="111"/>
                  </a:lnTo>
                  <a:lnTo>
                    <a:pt x="563" y="109"/>
                  </a:lnTo>
                  <a:lnTo>
                    <a:pt x="562" y="107"/>
                  </a:lnTo>
                  <a:lnTo>
                    <a:pt x="562" y="105"/>
                  </a:lnTo>
                  <a:lnTo>
                    <a:pt x="562" y="102"/>
                  </a:lnTo>
                  <a:lnTo>
                    <a:pt x="559" y="101"/>
                  </a:lnTo>
                  <a:lnTo>
                    <a:pt x="558" y="101"/>
                  </a:lnTo>
                  <a:lnTo>
                    <a:pt x="556" y="100"/>
                  </a:lnTo>
                  <a:lnTo>
                    <a:pt x="557" y="97"/>
                  </a:lnTo>
                  <a:lnTo>
                    <a:pt x="559" y="100"/>
                  </a:lnTo>
                  <a:lnTo>
                    <a:pt x="562" y="98"/>
                  </a:lnTo>
                  <a:lnTo>
                    <a:pt x="564" y="96"/>
                  </a:lnTo>
                  <a:lnTo>
                    <a:pt x="565" y="95"/>
                  </a:lnTo>
                  <a:lnTo>
                    <a:pt x="566" y="91"/>
                  </a:lnTo>
                  <a:lnTo>
                    <a:pt x="568" y="88"/>
                  </a:lnTo>
                  <a:lnTo>
                    <a:pt x="566" y="86"/>
                  </a:lnTo>
                  <a:lnTo>
                    <a:pt x="565" y="85"/>
                  </a:lnTo>
                  <a:lnTo>
                    <a:pt x="562" y="85"/>
                  </a:lnTo>
                  <a:lnTo>
                    <a:pt x="562" y="89"/>
                  </a:lnTo>
                  <a:lnTo>
                    <a:pt x="560" y="90"/>
                  </a:lnTo>
                  <a:lnTo>
                    <a:pt x="558" y="89"/>
                  </a:lnTo>
                  <a:lnTo>
                    <a:pt x="554" y="90"/>
                  </a:lnTo>
                  <a:lnTo>
                    <a:pt x="554" y="94"/>
                  </a:lnTo>
                  <a:lnTo>
                    <a:pt x="552" y="96"/>
                  </a:lnTo>
                  <a:lnTo>
                    <a:pt x="551" y="95"/>
                  </a:lnTo>
                  <a:lnTo>
                    <a:pt x="552" y="90"/>
                  </a:lnTo>
                  <a:lnTo>
                    <a:pt x="551" y="90"/>
                  </a:lnTo>
                  <a:lnTo>
                    <a:pt x="554" y="86"/>
                  </a:lnTo>
                  <a:lnTo>
                    <a:pt x="553" y="85"/>
                  </a:lnTo>
                  <a:lnTo>
                    <a:pt x="552" y="83"/>
                  </a:lnTo>
                  <a:lnTo>
                    <a:pt x="547" y="84"/>
                  </a:lnTo>
                  <a:lnTo>
                    <a:pt x="547" y="88"/>
                  </a:lnTo>
                  <a:lnTo>
                    <a:pt x="543" y="90"/>
                  </a:lnTo>
                  <a:lnTo>
                    <a:pt x="541" y="90"/>
                  </a:lnTo>
                  <a:lnTo>
                    <a:pt x="543" y="85"/>
                  </a:lnTo>
                  <a:lnTo>
                    <a:pt x="545" y="83"/>
                  </a:lnTo>
                  <a:lnTo>
                    <a:pt x="547" y="79"/>
                  </a:lnTo>
                  <a:lnTo>
                    <a:pt x="546" y="78"/>
                  </a:lnTo>
                  <a:lnTo>
                    <a:pt x="543" y="78"/>
                  </a:lnTo>
                  <a:lnTo>
                    <a:pt x="543" y="77"/>
                  </a:lnTo>
                  <a:lnTo>
                    <a:pt x="542" y="78"/>
                  </a:lnTo>
                  <a:lnTo>
                    <a:pt x="541" y="80"/>
                  </a:lnTo>
                  <a:lnTo>
                    <a:pt x="540" y="82"/>
                  </a:lnTo>
                  <a:lnTo>
                    <a:pt x="537" y="80"/>
                  </a:lnTo>
                  <a:lnTo>
                    <a:pt x="536" y="83"/>
                  </a:lnTo>
                  <a:lnTo>
                    <a:pt x="534" y="85"/>
                  </a:lnTo>
                  <a:lnTo>
                    <a:pt x="530" y="86"/>
                  </a:lnTo>
                  <a:lnTo>
                    <a:pt x="529" y="86"/>
                  </a:lnTo>
                  <a:lnTo>
                    <a:pt x="530" y="82"/>
                  </a:lnTo>
                  <a:lnTo>
                    <a:pt x="528" y="82"/>
                  </a:lnTo>
                  <a:lnTo>
                    <a:pt x="527" y="82"/>
                  </a:lnTo>
                  <a:lnTo>
                    <a:pt x="525" y="79"/>
                  </a:lnTo>
                  <a:lnTo>
                    <a:pt x="522" y="79"/>
                  </a:lnTo>
                  <a:lnTo>
                    <a:pt x="522" y="77"/>
                  </a:lnTo>
                  <a:lnTo>
                    <a:pt x="524" y="76"/>
                  </a:lnTo>
                  <a:lnTo>
                    <a:pt x="528" y="74"/>
                  </a:lnTo>
                  <a:lnTo>
                    <a:pt x="529" y="73"/>
                  </a:lnTo>
                  <a:lnTo>
                    <a:pt x="528" y="71"/>
                  </a:lnTo>
                  <a:lnTo>
                    <a:pt x="523" y="71"/>
                  </a:lnTo>
                  <a:lnTo>
                    <a:pt x="521" y="71"/>
                  </a:lnTo>
                  <a:lnTo>
                    <a:pt x="522" y="68"/>
                  </a:lnTo>
                  <a:lnTo>
                    <a:pt x="525" y="67"/>
                  </a:lnTo>
                  <a:lnTo>
                    <a:pt x="528" y="64"/>
                  </a:lnTo>
                  <a:lnTo>
                    <a:pt x="528" y="61"/>
                  </a:lnTo>
                  <a:lnTo>
                    <a:pt x="529" y="59"/>
                  </a:lnTo>
                  <a:lnTo>
                    <a:pt x="527" y="58"/>
                  </a:lnTo>
                  <a:lnTo>
                    <a:pt x="523" y="61"/>
                  </a:lnTo>
                  <a:lnTo>
                    <a:pt x="522" y="64"/>
                  </a:lnTo>
                  <a:lnTo>
                    <a:pt x="519" y="62"/>
                  </a:lnTo>
                  <a:lnTo>
                    <a:pt x="518" y="59"/>
                  </a:lnTo>
                  <a:lnTo>
                    <a:pt x="521" y="56"/>
                  </a:lnTo>
                  <a:lnTo>
                    <a:pt x="522" y="55"/>
                  </a:lnTo>
                  <a:lnTo>
                    <a:pt x="522" y="54"/>
                  </a:lnTo>
                  <a:lnTo>
                    <a:pt x="521" y="52"/>
                  </a:lnTo>
                  <a:lnTo>
                    <a:pt x="519" y="50"/>
                  </a:lnTo>
                  <a:lnTo>
                    <a:pt x="519" y="49"/>
                  </a:lnTo>
                  <a:lnTo>
                    <a:pt x="515" y="50"/>
                  </a:lnTo>
                  <a:lnTo>
                    <a:pt x="513" y="49"/>
                  </a:lnTo>
                  <a:lnTo>
                    <a:pt x="516" y="47"/>
                  </a:lnTo>
                  <a:lnTo>
                    <a:pt x="519" y="46"/>
                  </a:lnTo>
                  <a:lnTo>
                    <a:pt x="521" y="43"/>
                  </a:lnTo>
                  <a:lnTo>
                    <a:pt x="519" y="41"/>
                  </a:lnTo>
                  <a:lnTo>
                    <a:pt x="518" y="40"/>
                  </a:lnTo>
                  <a:lnTo>
                    <a:pt x="513" y="41"/>
                  </a:lnTo>
                  <a:lnTo>
                    <a:pt x="512" y="43"/>
                  </a:lnTo>
                  <a:lnTo>
                    <a:pt x="510" y="42"/>
                  </a:lnTo>
                  <a:lnTo>
                    <a:pt x="509" y="40"/>
                  </a:lnTo>
                  <a:lnTo>
                    <a:pt x="506" y="38"/>
                  </a:lnTo>
                  <a:lnTo>
                    <a:pt x="503" y="41"/>
                  </a:lnTo>
                  <a:lnTo>
                    <a:pt x="498" y="42"/>
                  </a:lnTo>
                  <a:lnTo>
                    <a:pt x="495" y="41"/>
                  </a:lnTo>
                  <a:lnTo>
                    <a:pt x="495" y="40"/>
                  </a:lnTo>
                  <a:lnTo>
                    <a:pt x="501" y="37"/>
                  </a:lnTo>
                  <a:lnTo>
                    <a:pt x="501" y="35"/>
                  </a:lnTo>
                  <a:lnTo>
                    <a:pt x="506" y="35"/>
                  </a:lnTo>
                  <a:lnTo>
                    <a:pt x="510" y="32"/>
                  </a:lnTo>
                  <a:lnTo>
                    <a:pt x="511" y="32"/>
                  </a:lnTo>
                  <a:lnTo>
                    <a:pt x="513" y="30"/>
                  </a:lnTo>
                  <a:lnTo>
                    <a:pt x="511" y="26"/>
                  </a:lnTo>
                  <a:lnTo>
                    <a:pt x="506" y="26"/>
                  </a:lnTo>
                  <a:lnTo>
                    <a:pt x="506" y="24"/>
                  </a:lnTo>
                  <a:lnTo>
                    <a:pt x="505" y="23"/>
                  </a:lnTo>
                  <a:lnTo>
                    <a:pt x="501" y="22"/>
                  </a:lnTo>
                  <a:lnTo>
                    <a:pt x="499" y="25"/>
                  </a:lnTo>
                  <a:lnTo>
                    <a:pt x="497" y="26"/>
                  </a:lnTo>
                  <a:lnTo>
                    <a:pt x="497" y="23"/>
                  </a:lnTo>
                  <a:lnTo>
                    <a:pt x="497" y="22"/>
                  </a:lnTo>
                  <a:lnTo>
                    <a:pt x="495" y="22"/>
                  </a:lnTo>
                  <a:lnTo>
                    <a:pt x="490" y="22"/>
                  </a:lnTo>
                  <a:lnTo>
                    <a:pt x="489" y="26"/>
                  </a:lnTo>
                  <a:lnTo>
                    <a:pt x="488" y="26"/>
                  </a:lnTo>
                  <a:lnTo>
                    <a:pt x="488" y="22"/>
                  </a:lnTo>
                  <a:lnTo>
                    <a:pt x="487" y="18"/>
                  </a:lnTo>
                  <a:lnTo>
                    <a:pt x="486" y="14"/>
                  </a:lnTo>
                  <a:lnTo>
                    <a:pt x="486" y="12"/>
                  </a:lnTo>
                  <a:lnTo>
                    <a:pt x="483" y="12"/>
                  </a:lnTo>
                  <a:lnTo>
                    <a:pt x="482" y="12"/>
                  </a:lnTo>
                  <a:lnTo>
                    <a:pt x="480" y="13"/>
                  </a:lnTo>
                  <a:lnTo>
                    <a:pt x="478" y="14"/>
                  </a:lnTo>
                  <a:lnTo>
                    <a:pt x="476" y="13"/>
                  </a:lnTo>
                  <a:lnTo>
                    <a:pt x="475" y="13"/>
                  </a:lnTo>
                  <a:lnTo>
                    <a:pt x="475" y="11"/>
                  </a:lnTo>
                  <a:lnTo>
                    <a:pt x="476" y="10"/>
                  </a:lnTo>
                  <a:lnTo>
                    <a:pt x="477" y="7"/>
                  </a:lnTo>
                  <a:lnTo>
                    <a:pt x="477" y="6"/>
                  </a:lnTo>
                  <a:lnTo>
                    <a:pt x="477" y="4"/>
                  </a:lnTo>
                  <a:lnTo>
                    <a:pt x="478" y="2"/>
                  </a:lnTo>
                  <a:lnTo>
                    <a:pt x="477" y="1"/>
                  </a:lnTo>
                  <a:lnTo>
                    <a:pt x="477" y="0"/>
                  </a:lnTo>
                  <a:lnTo>
                    <a:pt x="476" y="0"/>
                  </a:lnTo>
                  <a:lnTo>
                    <a:pt x="474" y="1"/>
                  </a:lnTo>
                  <a:lnTo>
                    <a:pt x="474" y="2"/>
                  </a:lnTo>
                  <a:lnTo>
                    <a:pt x="474" y="5"/>
                  </a:lnTo>
                  <a:lnTo>
                    <a:pt x="471" y="6"/>
                  </a:lnTo>
                  <a:lnTo>
                    <a:pt x="471" y="5"/>
                  </a:lnTo>
                  <a:lnTo>
                    <a:pt x="471" y="2"/>
                  </a:lnTo>
                  <a:lnTo>
                    <a:pt x="471" y="1"/>
                  </a:lnTo>
                  <a:lnTo>
                    <a:pt x="469" y="0"/>
                  </a:lnTo>
                  <a:lnTo>
                    <a:pt x="466" y="0"/>
                  </a:lnTo>
                  <a:lnTo>
                    <a:pt x="466" y="2"/>
                  </a:lnTo>
                  <a:lnTo>
                    <a:pt x="465" y="4"/>
                  </a:lnTo>
                  <a:lnTo>
                    <a:pt x="464" y="5"/>
                  </a:lnTo>
                  <a:lnTo>
                    <a:pt x="462" y="6"/>
                  </a:lnTo>
                  <a:lnTo>
                    <a:pt x="462" y="8"/>
                  </a:lnTo>
                  <a:lnTo>
                    <a:pt x="462" y="11"/>
                  </a:lnTo>
                  <a:lnTo>
                    <a:pt x="463" y="12"/>
                  </a:lnTo>
                  <a:lnTo>
                    <a:pt x="463" y="13"/>
                  </a:lnTo>
                  <a:lnTo>
                    <a:pt x="462" y="13"/>
                  </a:lnTo>
                  <a:lnTo>
                    <a:pt x="460" y="13"/>
                  </a:lnTo>
                  <a:lnTo>
                    <a:pt x="460" y="16"/>
                  </a:lnTo>
                  <a:lnTo>
                    <a:pt x="460" y="18"/>
                  </a:lnTo>
                  <a:lnTo>
                    <a:pt x="459" y="19"/>
                  </a:lnTo>
                  <a:lnTo>
                    <a:pt x="458" y="22"/>
                  </a:lnTo>
                  <a:lnTo>
                    <a:pt x="457" y="20"/>
                  </a:lnTo>
                  <a:lnTo>
                    <a:pt x="456" y="19"/>
                  </a:lnTo>
                  <a:lnTo>
                    <a:pt x="454" y="19"/>
                  </a:lnTo>
                  <a:lnTo>
                    <a:pt x="453" y="19"/>
                  </a:lnTo>
                  <a:lnTo>
                    <a:pt x="451" y="20"/>
                  </a:lnTo>
                  <a:lnTo>
                    <a:pt x="451" y="22"/>
                  </a:lnTo>
                  <a:lnTo>
                    <a:pt x="452" y="23"/>
                  </a:lnTo>
                  <a:lnTo>
                    <a:pt x="452" y="25"/>
                  </a:lnTo>
                  <a:lnTo>
                    <a:pt x="453" y="26"/>
                  </a:lnTo>
                  <a:lnTo>
                    <a:pt x="456" y="28"/>
                  </a:lnTo>
                  <a:lnTo>
                    <a:pt x="458" y="28"/>
                  </a:lnTo>
                  <a:lnTo>
                    <a:pt x="459" y="28"/>
                  </a:lnTo>
                  <a:lnTo>
                    <a:pt x="460" y="30"/>
                  </a:lnTo>
                  <a:lnTo>
                    <a:pt x="460" y="32"/>
                  </a:lnTo>
                  <a:lnTo>
                    <a:pt x="459" y="32"/>
                  </a:lnTo>
                  <a:lnTo>
                    <a:pt x="457" y="32"/>
                  </a:lnTo>
                  <a:lnTo>
                    <a:pt x="456" y="31"/>
                  </a:lnTo>
                  <a:lnTo>
                    <a:pt x="453" y="29"/>
                  </a:lnTo>
                  <a:lnTo>
                    <a:pt x="452" y="28"/>
                  </a:lnTo>
                  <a:lnTo>
                    <a:pt x="451" y="25"/>
                  </a:lnTo>
                  <a:lnTo>
                    <a:pt x="450" y="23"/>
                  </a:lnTo>
                  <a:lnTo>
                    <a:pt x="448" y="22"/>
                  </a:lnTo>
                  <a:lnTo>
                    <a:pt x="446" y="20"/>
                  </a:lnTo>
                  <a:lnTo>
                    <a:pt x="445" y="20"/>
                  </a:lnTo>
                  <a:lnTo>
                    <a:pt x="444" y="22"/>
                  </a:lnTo>
                  <a:lnTo>
                    <a:pt x="442" y="24"/>
                  </a:lnTo>
                  <a:lnTo>
                    <a:pt x="444" y="26"/>
                  </a:lnTo>
                  <a:lnTo>
                    <a:pt x="445" y="29"/>
                  </a:lnTo>
                  <a:lnTo>
                    <a:pt x="447" y="34"/>
                  </a:lnTo>
                  <a:lnTo>
                    <a:pt x="450" y="35"/>
                  </a:lnTo>
                  <a:lnTo>
                    <a:pt x="451" y="36"/>
                  </a:lnTo>
                  <a:lnTo>
                    <a:pt x="450" y="37"/>
                  </a:lnTo>
                  <a:lnTo>
                    <a:pt x="448" y="37"/>
                  </a:lnTo>
                  <a:lnTo>
                    <a:pt x="448" y="38"/>
                  </a:lnTo>
                  <a:lnTo>
                    <a:pt x="448" y="40"/>
                  </a:lnTo>
                  <a:lnTo>
                    <a:pt x="450" y="40"/>
                  </a:lnTo>
                  <a:lnTo>
                    <a:pt x="451" y="41"/>
                  </a:lnTo>
                  <a:lnTo>
                    <a:pt x="453" y="41"/>
                  </a:lnTo>
                  <a:lnTo>
                    <a:pt x="454" y="40"/>
                  </a:lnTo>
                  <a:lnTo>
                    <a:pt x="456" y="40"/>
                  </a:lnTo>
                  <a:lnTo>
                    <a:pt x="456" y="41"/>
                  </a:lnTo>
                  <a:lnTo>
                    <a:pt x="454" y="41"/>
                  </a:lnTo>
                  <a:lnTo>
                    <a:pt x="453" y="42"/>
                  </a:lnTo>
                  <a:lnTo>
                    <a:pt x="456" y="43"/>
                  </a:lnTo>
                  <a:lnTo>
                    <a:pt x="457" y="43"/>
                  </a:lnTo>
                  <a:lnTo>
                    <a:pt x="457" y="46"/>
                  </a:lnTo>
                  <a:lnTo>
                    <a:pt x="454" y="46"/>
                  </a:lnTo>
                  <a:lnTo>
                    <a:pt x="452" y="46"/>
                  </a:lnTo>
                  <a:lnTo>
                    <a:pt x="450" y="46"/>
                  </a:lnTo>
                  <a:lnTo>
                    <a:pt x="448" y="44"/>
                  </a:lnTo>
                  <a:lnTo>
                    <a:pt x="448" y="43"/>
                  </a:lnTo>
                  <a:lnTo>
                    <a:pt x="447" y="43"/>
                  </a:lnTo>
                  <a:lnTo>
                    <a:pt x="446" y="43"/>
                  </a:lnTo>
                  <a:lnTo>
                    <a:pt x="445" y="44"/>
                  </a:lnTo>
                  <a:lnTo>
                    <a:pt x="444" y="46"/>
                  </a:lnTo>
                  <a:lnTo>
                    <a:pt x="446" y="50"/>
                  </a:lnTo>
                  <a:lnTo>
                    <a:pt x="448" y="52"/>
                  </a:lnTo>
                  <a:lnTo>
                    <a:pt x="450" y="53"/>
                  </a:lnTo>
                  <a:lnTo>
                    <a:pt x="452" y="54"/>
                  </a:lnTo>
                  <a:lnTo>
                    <a:pt x="453" y="53"/>
                  </a:lnTo>
                  <a:lnTo>
                    <a:pt x="456" y="52"/>
                  </a:lnTo>
                  <a:lnTo>
                    <a:pt x="457" y="49"/>
                  </a:lnTo>
                  <a:lnTo>
                    <a:pt x="459" y="49"/>
                  </a:lnTo>
                  <a:lnTo>
                    <a:pt x="462" y="49"/>
                  </a:lnTo>
                  <a:lnTo>
                    <a:pt x="464" y="49"/>
                  </a:lnTo>
                  <a:lnTo>
                    <a:pt x="464" y="50"/>
                  </a:lnTo>
                  <a:lnTo>
                    <a:pt x="463" y="52"/>
                  </a:lnTo>
                  <a:lnTo>
                    <a:pt x="462" y="52"/>
                  </a:lnTo>
                  <a:lnTo>
                    <a:pt x="459" y="52"/>
                  </a:lnTo>
                  <a:lnTo>
                    <a:pt x="458" y="52"/>
                  </a:lnTo>
                  <a:lnTo>
                    <a:pt x="457" y="52"/>
                  </a:lnTo>
                  <a:lnTo>
                    <a:pt x="457" y="53"/>
                  </a:lnTo>
                  <a:lnTo>
                    <a:pt x="458" y="54"/>
                  </a:lnTo>
                  <a:lnTo>
                    <a:pt x="459" y="54"/>
                  </a:lnTo>
                  <a:lnTo>
                    <a:pt x="462" y="54"/>
                  </a:lnTo>
                  <a:lnTo>
                    <a:pt x="460" y="55"/>
                  </a:lnTo>
                  <a:lnTo>
                    <a:pt x="460" y="56"/>
                  </a:lnTo>
                  <a:lnTo>
                    <a:pt x="460" y="59"/>
                  </a:lnTo>
                  <a:lnTo>
                    <a:pt x="463" y="59"/>
                  </a:lnTo>
                  <a:lnTo>
                    <a:pt x="464" y="59"/>
                  </a:lnTo>
                  <a:lnTo>
                    <a:pt x="465" y="58"/>
                  </a:lnTo>
                  <a:lnTo>
                    <a:pt x="465" y="56"/>
                  </a:lnTo>
                  <a:lnTo>
                    <a:pt x="465" y="55"/>
                  </a:lnTo>
                  <a:lnTo>
                    <a:pt x="465" y="54"/>
                  </a:lnTo>
                  <a:lnTo>
                    <a:pt x="465" y="53"/>
                  </a:lnTo>
                  <a:lnTo>
                    <a:pt x="466" y="53"/>
                  </a:lnTo>
                  <a:lnTo>
                    <a:pt x="469" y="53"/>
                  </a:lnTo>
                  <a:lnTo>
                    <a:pt x="470" y="53"/>
                  </a:lnTo>
                  <a:lnTo>
                    <a:pt x="470" y="54"/>
                  </a:lnTo>
                  <a:lnTo>
                    <a:pt x="470" y="55"/>
                  </a:lnTo>
                  <a:lnTo>
                    <a:pt x="469" y="55"/>
                  </a:lnTo>
                  <a:lnTo>
                    <a:pt x="468" y="54"/>
                  </a:lnTo>
                  <a:lnTo>
                    <a:pt x="466" y="55"/>
                  </a:lnTo>
                  <a:lnTo>
                    <a:pt x="468" y="56"/>
                  </a:lnTo>
                  <a:lnTo>
                    <a:pt x="466" y="58"/>
                  </a:lnTo>
                  <a:lnTo>
                    <a:pt x="466" y="59"/>
                  </a:lnTo>
                  <a:lnTo>
                    <a:pt x="465" y="59"/>
                  </a:lnTo>
                  <a:lnTo>
                    <a:pt x="464" y="60"/>
                  </a:lnTo>
                  <a:lnTo>
                    <a:pt x="463" y="60"/>
                  </a:lnTo>
                  <a:lnTo>
                    <a:pt x="462" y="60"/>
                  </a:lnTo>
                  <a:lnTo>
                    <a:pt x="460" y="60"/>
                  </a:lnTo>
                  <a:lnTo>
                    <a:pt x="460" y="61"/>
                  </a:lnTo>
                  <a:lnTo>
                    <a:pt x="462" y="61"/>
                  </a:lnTo>
                  <a:lnTo>
                    <a:pt x="464" y="64"/>
                  </a:lnTo>
                  <a:lnTo>
                    <a:pt x="465" y="65"/>
                  </a:lnTo>
                  <a:lnTo>
                    <a:pt x="464" y="66"/>
                  </a:lnTo>
                  <a:lnTo>
                    <a:pt x="462" y="66"/>
                  </a:lnTo>
                  <a:lnTo>
                    <a:pt x="460" y="65"/>
                  </a:lnTo>
                  <a:lnTo>
                    <a:pt x="459" y="65"/>
                  </a:lnTo>
                  <a:lnTo>
                    <a:pt x="459" y="66"/>
                  </a:lnTo>
                  <a:lnTo>
                    <a:pt x="459" y="67"/>
                  </a:lnTo>
                  <a:lnTo>
                    <a:pt x="458" y="67"/>
                  </a:lnTo>
                  <a:lnTo>
                    <a:pt x="457" y="67"/>
                  </a:lnTo>
                  <a:lnTo>
                    <a:pt x="456" y="67"/>
                  </a:lnTo>
                  <a:lnTo>
                    <a:pt x="454" y="67"/>
                  </a:lnTo>
                  <a:lnTo>
                    <a:pt x="453" y="68"/>
                  </a:lnTo>
                  <a:lnTo>
                    <a:pt x="453" y="67"/>
                  </a:lnTo>
                  <a:lnTo>
                    <a:pt x="453" y="66"/>
                  </a:lnTo>
                  <a:lnTo>
                    <a:pt x="452" y="66"/>
                  </a:lnTo>
                  <a:lnTo>
                    <a:pt x="452" y="65"/>
                  </a:lnTo>
                  <a:lnTo>
                    <a:pt x="451" y="65"/>
                  </a:lnTo>
                  <a:lnTo>
                    <a:pt x="450" y="65"/>
                  </a:lnTo>
                  <a:lnTo>
                    <a:pt x="448" y="65"/>
                  </a:lnTo>
                  <a:lnTo>
                    <a:pt x="447" y="65"/>
                  </a:lnTo>
                  <a:lnTo>
                    <a:pt x="446" y="66"/>
                  </a:lnTo>
                  <a:lnTo>
                    <a:pt x="445" y="66"/>
                  </a:lnTo>
                  <a:lnTo>
                    <a:pt x="441" y="66"/>
                  </a:lnTo>
                  <a:lnTo>
                    <a:pt x="441" y="65"/>
                  </a:lnTo>
                  <a:lnTo>
                    <a:pt x="440" y="64"/>
                  </a:lnTo>
                  <a:lnTo>
                    <a:pt x="440" y="62"/>
                  </a:lnTo>
                  <a:lnTo>
                    <a:pt x="439" y="61"/>
                  </a:lnTo>
                  <a:lnTo>
                    <a:pt x="436" y="61"/>
                  </a:lnTo>
                  <a:lnTo>
                    <a:pt x="435" y="62"/>
                  </a:lnTo>
                  <a:lnTo>
                    <a:pt x="434" y="64"/>
                  </a:lnTo>
                  <a:lnTo>
                    <a:pt x="434" y="65"/>
                  </a:lnTo>
                  <a:lnTo>
                    <a:pt x="434" y="66"/>
                  </a:lnTo>
                  <a:lnTo>
                    <a:pt x="433" y="65"/>
                  </a:lnTo>
                  <a:lnTo>
                    <a:pt x="431" y="64"/>
                  </a:lnTo>
                  <a:lnTo>
                    <a:pt x="429" y="65"/>
                  </a:lnTo>
                  <a:lnTo>
                    <a:pt x="428" y="65"/>
                  </a:lnTo>
                  <a:lnTo>
                    <a:pt x="427" y="66"/>
                  </a:lnTo>
                  <a:lnTo>
                    <a:pt x="427" y="67"/>
                  </a:lnTo>
                  <a:lnTo>
                    <a:pt x="428" y="68"/>
                  </a:lnTo>
                  <a:lnTo>
                    <a:pt x="429" y="70"/>
                  </a:lnTo>
                  <a:lnTo>
                    <a:pt x="430" y="71"/>
                  </a:lnTo>
                  <a:lnTo>
                    <a:pt x="430" y="72"/>
                  </a:lnTo>
                  <a:lnTo>
                    <a:pt x="431" y="73"/>
                  </a:lnTo>
                  <a:lnTo>
                    <a:pt x="433" y="73"/>
                  </a:lnTo>
                  <a:lnTo>
                    <a:pt x="434" y="72"/>
                  </a:lnTo>
                  <a:lnTo>
                    <a:pt x="436" y="73"/>
                  </a:lnTo>
                  <a:lnTo>
                    <a:pt x="438" y="74"/>
                  </a:lnTo>
                  <a:lnTo>
                    <a:pt x="439" y="77"/>
                  </a:lnTo>
                  <a:lnTo>
                    <a:pt x="440" y="77"/>
                  </a:lnTo>
                  <a:lnTo>
                    <a:pt x="441" y="79"/>
                  </a:lnTo>
                  <a:lnTo>
                    <a:pt x="442" y="79"/>
                  </a:lnTo>
                  <a:lnTo>
                    <a:pt x="445" y="80"/>
                  </a:lnTo>
                  <a:lnTo>
                    <a:pt x="447" y="79"/>
                  </a:lnTo>
                  <a:lnTo>
                    <a:pt x="448" y="79"/>
                  </a:lnTo>
                  <a:lnTo>
                    <a:pt x="450" y="80"/>
                  </a:lnTo>
                  <a:lnTo>
                    <a:pt x="450" y="82"/>
                  </a:lnTo>
                  <a:lnTo>
                    <a:pt x="450" y="83"/>
                  </a:lnTo>
                  <a:lnTo>
                    <a:pt x="450" y="84"/>
                  </a:lnTo>
                  <a:lnTo>
                    <a:pt x="452" y="85"/>
                  </a:lnTo>
                  <a:lnTo>
                    <a:pt x="453" y="84"/>
                  </a:lnTo>
                  <a:lnTo>
                    <a:pt x="454" y="84"/>
                  </a:lnTo>
                  <a:lnTo>
                    <a:pt x="456" y="82"/>
                  </a:lnTo>
                  <a:lnTo>
                    <a:pt x="454" y="80"/>
                  </a:lnTo>
                  <a:lnTo>
                    <a:pt x="457" y="80"/>
                  </a:lnTo>
                  <a:lnTo>
                    <a:pt x="459" y="80"/>
                  </a:lnTo>
                  <a:lnTo>
                    <a:pt x="460" y="82"/>
                  </a:lnTo>
                  <a:lnTo>
                    <a:pt x="460" y="83"/>
                  </a:lnTo>
                  <a:lnTo>
                    <a:pt x="462" y="85"/>
                  </a:lnTo>
                  <a:lnTo>
                    <a:pt x="460" y="86"/>
                  </a:lnTo>
                  <a:lnTo>
                    <a:pt x="458" y="85"/>
                  </a:lnTo>
                  <a:lnTo>
                    <a:pt x="458" y="84"/>
                  </a:lnTo>
                  <a:lnTo>
                    <a:pt x="457" y="84"/>
                  </a:lnTo>
                  <a:lnTo>
                    <a:pt x="454" y="85"/>
                  </a:lnTo>
                  <a:lnTo>
                    <a:pt x="453" y="85"/>
                  </a:lnTo>
                  <a:lnTo>
                    <a:pt x="452" y="88"/>
                  </a:lnTo>
                  <a:lnTo>
                    <a:pt x="453" y="89"/>
                  </a:lnTo>
                  <a:lnTo>
                    <a:pt x="453" y="91"/>
                  </a:lnTo>
                  <a:lnTo>
                    <a:pt x="454" y="92"/>
                  </a:lnTo>
                  <a:lnTo>
                    <a:pt x="456" y="94"/>
                  </a:lnTo>
                  <a:lnTo>
                    <a:pt x="456" y="96"/>
                  </a:lnTo>
                  <a:lnTo>
                    <a:pt x="456" y="97"/>
                  </a:lnTo>
                  <a:lnTo>
                    <a:pt x="453" y="96"/>
                  </a:lnTo>
                  <a:lnTo>
                    <a:pt x="453" y="94"/>
                  </a:lnTo>
                  <a:lnTo>
                    <a:pt x="452" y="94"/>
                  </a:lnTo>
                  <a:lnTo>
                    <a:pt x="451" y="96"/>
                  </a:lnTo>
                  <a:lnTo>
                    <a:pt x="451" y="97"/>
                  </a:lnTo>
                  <a:lnTo>
                    <a:pt x="448" y="97"/>
                  </a:lnTo>
                  <a:lnTo>
                    <a:pt x="448" y="96"/>
                  </a:lnTo>
                  <a:lnTo>
                    <a:pt x="448" y="94"/>
                  </a:lnTo>
                  <a:lnTo>
                    <a:pt x="447" y="94"/>
                  </a:lnTo>
                  <a:lnTo>
                    <a:pt x="446" y="96"/>
                  </a:lnTo>
                  <a:lnTo>
                    <a:pt x="445" y="96"/>
                  </a:lnTo>
                  <a:lnTo>
                    <a:pt x="445" y="94"/>
                  </a:lnTo>
                  <a:lnTo>
                    <a:pt x="444" y="92"/>
                  </a:lnTo>
                  <a:lnTo>
                    <a:pt x="442" y="92"/>
                  </a:lnTo>
                  <a:lnTo>
                    <a:pt x="441" y="92"/>
                  </a:lnTo>
                  <a:lnTo>
                    <a:pt x="440" y="92"/>
                  </a:lnTo>
                  <a:lnTo>
                    <a:pt x="440" y="94"/>
                  </a:lnTo>
                  <a:lnTo>
                    <a:pt x="439" y="92"/>
                  </a:lnTo>
                  <a:lnTo>
                    <a:pt x="440" y="90"/>
                  </a:lnTo>
                  <a:lnTo>
                    <a:pt x="440" y="89"/>
                  </a:lnTo>
                  <a:lnTo>
                    <a:pt x="441" y="86"/>
                  </a:lnTo>
                  <a:lnTo>
                    <a:pt x="441" y="84"/>
                  </a:lnTo>
                  <a:lnTo>
                    <a:pt x="441" y="83"/>
                  </a:lnTo>
                  <a:lnTo>
                    <a:pt x="441" y="82"/>
                  </a:lnTo>
                  <a:lnTo>
                    <a:pt x="439" y="83"/>
                  </a:lnTo>
                  <a:lnTo>
                    <a:pt x="438" y="82"/>
                  </a:lnTo>
                  <a:lnTo>
                    <a:pt x="436" y="82"/>
                  </a:lnTo>
                  <a:lnTo>
                    <a:pt x="435" y="83"/>
                  </a:lnTo>
                  <a:lnTo>
                    <a:pt x="435" y="85"/>
                  </a:lnTo>
                  <a:lnTo>
                    <a:pt x="434" y="88"/>
                  </a:lnTo>
                  <a:lnTo>
                    <a:pt x="434" y="91"/>
                  </a:lnTo>
                  <a:lnTo>
                    <a:pt x="434" y="92"/>
                  </a:lnTo>
                  <a:lnTo>
                    <a:pt x="433" y="94"/>
                  </a:lnTo>
                  <a:lnTo>
                    <a:pt x="433" y="91"/>
                  </a:lnTo>
                  <a:lnTo>
                    <a:pt x="433" y="89"/>
                  </a:lnTo>
                  <a:lnTo>
                    <a:pt x="433" y="85"/>
                  </a:lnTo>
                  <a:lnTo>
                    <a:pt x="433" y="83"/>
                  </a:lnTo>
                  <a:lnTo>
                    <a:pt x="433" y="80"/>
                  </a:lnTo>
                  <a:lnTo>
                    <a:pt x="431" y="79"/>
                  </a:lnTo>
                  <a:lnTo>
                    <a:pt x="429" y="80"/>
                  </a:lnTo>
                  <a:lnTo>
                    <a:pt x="429" y="82"/>
                  </a:lnTo>
                  <a:lnTo>
                    <a:pt x="428" y="83"/>
                  </a:lnTo>
                  <a:lnTo>
                    <a:pt x="427" y="82"/>
                  </a:lnTo>
                  <a:lnTo>
                    <a:pt x="425" y="82"/>
                  </a:lnTo>
                  <a:lnTo>
                    <a:pt x="424" y="82"/>
                  </a:lnTo>
                  <a:lnTo>
                    <a:pt x="424" y="83"/>
                  </a:lnTo>
                  <a:lnTo>
                    <a:pt x="423" y="84"/>
                  </a:lnTo>
                  <a:lnTo>
                    <a:pt x="423" y="83"/>
                  </a:lnTo>
                  <a:lnTo>
                    <a:pt x="422" y="82"/>
                  </a:lnTo>
                  <a:lnTo>
                    <a:pt x="421" y="82"/>
                  </a:lnTo>
                  <a:lnTo>
                    <a:pt x="422" y="84"/>
                  </a:lnTo>
                  <a:lnTo>
                    <a:pt x="422" y="88"/>
                  </a:lnTo>
                  <a:lnTo>
                    <a:pt x="422" y="89"/>
                  </a:lnTo>
                  <a:lnTo>
                    <a:pt x="423" y="91"/>
                  </a:lnTo>
                  <a:lnTo>
                    <a:pt x="424" y="92"/>
                  </a:lnTo>
                  <a:lnTo>
                    <a:pt x="424" y="95"/>
                  </a:lnTo>
                  <a:lnTo>
                    <a:pt x="424" y="97"/>
                  </a:lnTo>
                  <a:lnTo>
                    <a:pt x="425" y="98"/>
                  </a:lnTo>
                  <a:lnTo>
                    <a:pt x="427" y="100"/>
                  </a:lnTo>
                  <a:lnTo>
                    <a:pt x="427" y="101"/>
                  </a:lnTo>
                  <a:lnTo>
                    <a:pt x="425" y="101"/>
                  </a:lnTo>
                  <a:lnTo>
                    <a:pt x="424" y="101"/>
                  </a:lnTo>
                  <a:lnTo>
                    <a:pt x="424" y="103"/>
                  </a:lnTo>
                  <a:lnTo>
                    <a:pt x="424" y="105"/>
                  </a:lnTo>
                  <a:lnTo>
                    <a:pt x="424" y="107"/>
                  </a:lnTo>
                  <a:lnTo>
                    <a:pt x="424" y="109"/>
                  </a:lnTo>
                  <a:lnTo>
                    <a:pt x="425" y="112"/>
                  </a:lnTo>
                  <a:lnTo>
                    <a:pt x="425" y="113"/>
                  </a:lnTo>
                  <a:lnTo>
                    <a:pt x="424" y="114"/>
                  </a:lnTo>
                  <a:lnTo>
                    <a:pt x="423" y="113"/>
                  </a:lnTo>
                  <a:lnTo>
                    <a:pt x="422" y="112"/>
                  </a:lnTo>
                  <a:lnTo>
                    <a:pt x="422" y="111"/>
                  </a:lnTo>
                  <a:lnTo>
                    <a:pt x="422" y="109"/>
                  </a:lnTo>
                  <a:lnTo>
                    <a:pt x="422" y="108"/>
                  </a:lnTo>
                  <a:lnTo>
                    <a:pt x="422" y="106"/>
                  </a:lnTo>
                  <a:lnTo>
                    <a:pt x="422" y="105"/>
                  </a:lnTo>
                  <a:lnTo>
                    <a:pt x="422" y="103"/>
                  </a:lnTo>
                  <a:lnTo>
                    <a:pt x="421" y="103"/>
                  </a:lnTo>
                  <a:lnTo>
                    <a:pt x="419" y="103"/>
                  </a:lnTo>
                  <a:lnTo>
                    <a:pt x="419" y="106"/>
                  </a:lnTo>
                  <a:lnTo>
                    <a:pt x="418" y="107"/>
                  </a:lnTo>
                  <a:lnTo>
                    <a:pt x="417" y="108"/>
                  </a:lnTo>
                  <a:lnTo>
                    <a:pt x="416" y="107"/>
                  </a:lnTo>
                  <a:lnTo>
                    <a:pt x="417" y="106"/>
                  </a:lnTo>
                  <a:lnTo>
                    <a:pt x="418" y="105"/>
                  </a:lnTo>
                  <a:lnTo>
                    <a:pt x="418" y="103"/>
                  </a:lnTo>
                  <a:lnTo>
                    <a:pt x="418" y="102"/>
                  </a:lnTo>
                  <a:lnTo>
                    <a:pt x="417" y="102"/>
                  </a:lnTo>
                  <a:lnTo>
                    <a:pt x="416" y="101"/>
                  </a:lnTo>
                  <a:lnTo>
                    <a:pt x="416" y="100"/>
                  </a:lnTo>
                  <a:lnTo>
                    <a:pt x="415" y="100"/>
                  </a:lnTo>
                  <a:lnTo>
                    <a:pt x="413" y="101"/>
                  </a:lnTo>
                  <a:lnTo>
                    <a:pt x="413" y="102"/>
                  </a:lnTo>
                  <a:lnTo>
                    <a:pt x="411" y="102"/>
                  </a:lnTo>
                  <a:lnTo>
                    <a:pt x="411" y="101"/>
                  </a:lnTo>
                  <a:lnTo>
                    <a:pt x="411" y="100"/>
                  </a:lnTo>
                  <a:lnTo>
                    <a:pt x="410" y="98"/>
                  </a:lnTo>
                  <a:lnTo>
                    <a:pt x="410" y="97"/>
                  </a:lnTo>
                  <a:lnTo>
                    <a:pt x="409" y="96"/>
                  </a:lnTo>
                  <a:lnTo>
                    <a:pt x="407" y="96"/>
                  </a:lnTo>
                  <a:lnTo>
                    <a:pt x="405" y="96"/>
                  </a:lnTo>
                  <a:lnTo>
                    <a:pt x="405" y="97"/>
                  </a:lnTo>
                  <a:lnTo>
                    <a:pt x="404" y="100"/>
                  </a:lnTo>
                  <a:lnTo>
                    <a:pt x="404" y="101"/>
                  </a:lnTo>
                  <a:lnTo>
                    <a:pt x="404" y="102"/>
                  </a:lnTo>
                  <a:lnTo>
                    <a:pt x="405" y="103"/>
                  </a:lnTo>
                  <a:lnTo>
                    <a:pt x="406" y="106"/>
                  </a:lnTo>
                  <a:lnTo>
                    <a:pt x="404" y="106"/>
                  </a:lnTo>
                  <a:lnTo>
                    <a:pt x="403" y="107"/>
                  </a:lnTo>
                  <a:lnTo>
                    <a:pt x="403" y="109"/>
                  </a:lnTo>
                  <a:lnTo>
                    <a:pt x="404" y="109"/>
                  </a:lnTo>
                  <a:lnTo>
                    <a:pt x="405" y="111"/>
                  </a:lnTo>
                  <a:lnTo>
                    <a:pt x="406" y="111"/>
                  </a:lnTo>
                  <a:lnTo>
                    <a:pt x="406" y="112"/>
                  </a:lnTo>
                  <a:lnTo>
                    <a:pt x="406" y="113"/>
                  </a:lnTo>
                  <a:lnTo>
                    <a:pt x="407" y="113"/>
                  </a:lnTo>
                  <a:lnTo>
                    <a:pt x="409" y="112"/>
                  </a:lnTo>
                  <a:lnTo>
                    <a:pt x="410" y="113"/>
                  </a:lnTo>
                  <a:lnTo>
                    <a:pt x="410" y="115"/>
                  </a:lnTo>
                  <a:lnTo>
                    <a:pt x="412" y="115"/>
                  </a:lnTo>
                  <a:lnTo>
                    <a:pt x="411" y="118"/>
                  </a:lnTo>
                  <a:lnTo>
                    <a:pt x="411" y="119"/>
                  </a:lnTo>
                  <a:lnTo>
                    <a:pt x="412" y="119"/>
                  </a:lnTo>
                  <a:lnTo>
                    <a:pt x="413" y="120"/>
                  </a:lnTo>
                  <a:lnTo>
                    <a:pt x="415" y="120"/>
                  </a:lnTo>
                  <a:lnTo>
                    <a:pt x="413" y="123"/>
                  </a:lnTo>
                  <a:lnTo>
                    <a:pt x="415" y="124"/>
                  </a:lnTo>
                  <a:lnTo>
                    <a:pt x="416" y="124"/>
                  </a:lnTo>
                  <a:lnTo>
                    <a:pt x="417" y="123"/>
                  </a:lnTo>
                  <a:lnTo>
                    <a:pt x="419" y="123"/>
                  </a:lnTo>
                  <a:lnTo>
                    <a:pt x="418" y="124"/>
                  </a:lnTo>
                  <a:lnTo>
                    <a:pt x="418" y="126"/>
                  </a:lnTo>
                  <a:lnTo>
                    <a:pt x="418" y="127"/>
                  </a:lnTo>
                  <a:lnTo>
                    <a:pt x="417" y="126"/>
                  </a:lnTo>
                  <a:lnTo>
                    <a:pt x="416" y="126"/>
                  </a:lnTo>
                  <a:lnTo>
                    <a:pt x="415" y="126"/>
                  </a:lnTo>
                  <a:lnTo>
                    <a:pt x="413" y="126"/>
                  </a:lnTo>
                  <a:lnTo>
                    <a:pt x="412" y="125"/>
                  </a:lnTo>
                  <a:lnTo>
                    <a:pt x="412" y="123"/>
                  </a:lnTo>
                  <a:lnTo>
                    <a:pt x="411" y="121"/>
                  </a:lnTo>
                  <a:lnTo>
                    <a:pt x="410" y="120"/>
                  </a:lnTo>
                  <a:lnTo>
                    <a:pt x="409" y="119"/>
                  </a:lnTo>
                  <a:lnTo>
                    <a:pt x="409" y="118"/>
                  </a:lnTo>
                  <a:lnTo>
                    <a:pt x="409" y="117"/>
                  </a:lnTo>
                  <a:lnTo>
                    <a:pt x="407" y="115"/>
                  </a:lnTo>
                  <a:lnTo>
                    <a:pt x="407" y="114"/>
                  </a:lnTo>
                  <a:lnTo>
                    <a:pt x="406" y="114"/>
                  </a:lnTo>
                  <a:lnTo>
                    <a:pt x="405" y="115"/>
                  </a:lnTo>
                  <a:lnTo>
                    <a:pt x="405" y="117"/>
                  </a:lnTo>
                  <a:lnTo>
                    <a:pt x="404" y="117"/>
                  </a:lnTo>
                  <a:lnTo>
                    <a:pt x="404" y="118"/>
                  </a:lnTo>
                  <a:lnTo>
                    <a:pt x="406" y="120"/>
                  </a:lnTo>
                  <a:lnTo>
                    <a:pt x="406" y="121"/>
                  </a:lnTo>
                  <a:lnTo>
                    <a:pt x="406" y="123"/>
                  </a:lnTo>
                  <a:lnTo>
                    <a:pt x="409" y="124"/>
                  </a:lnTo>
                  <a:lnTo>
                    <a:pt x="407" y="125"/>
                  </a:lnTo>
                  <a:lnTo>
                    <a:pt x="406" y="125"/>
                  </a:lnTo>
                  <a:lnTo>
                    <a:pt x="405" y="125"/>
                  </a:lnTo>
                  <a:lnTo>
                    <a:pt x="404" y="124"/>
                  </a:lnTo>
                  <a:lnTo>
                    <a:pt x="404" y="123"/>
                  </a:lnTo>
                  <a:lnTo>
                    <a:pt x="404" y="120"/>
                  </a:lnTo>
                  <a:lnTo>
                    <a:pt x="404" y="119"/>
                  </a:lnTo>
                  <a:lnTo>
                    <a:pt x="403" y="117"/>
                  </a:lnTo>
                  <a:lnTo>
                    <a:pt x="403" y="114"/>
                  </a:lnTo>
                  <a:lnTo>
                    <a:pt x="404" y="113"/>
                  </a:lnTo>
                  <a:lnTo>
                    <a:pt x="403" y="112"/>
                  </a:lnTo>
                  <a:lnTo>
                    <a:pt x="401" y="111"/>
                  </a:lnTo>
                  <a:lnTo>
                    <a:pt x="400" y="109"/>
                  </a:lnTo>
                  <a:lnTo>
                    <a:pt x="399" y="111"/>
                  </a:lnTo>
                  <a:lnTo>
                    <a:pt x="399" y="112"/>
                  </a:lnTo>
                  <a:lnTo>
                    <a:pt x="398" y="112"/>
                  </a:lnTo>
                  <a:lnTo>
                    <a:pt x="398" y="113"/>
                  </a:lnTo>
                  <a:lnTo>
                    <a:pt x="399" y="115"/>
                  </a:lnTo>
                  <a:lnTo>
                    <a:pt x="400" y="117"/>
                  </a:lnTo>
                  <a:lnTo>
                    <a:pt x="400" y="118"/>
                  </a:lnTo>
                  <a:lnTo>
                    <a:pt x="399" y="120"/>
                  </a:lnTo>
                  <a:lnTo>
                    <a:pt x="399" y="123"/>
                  </a:lnTo>
                  <a:lnTo>
                    <a:pt x="399" y="125"/>
                  </a:lnTo>
                  <a:lnTo>
                    <a:pt x="398" y="125"/>
                  </a:lnTo>
                  <a:lnTo>
                    <a:pt x="397" y="124"/>
                  </a:lnTo>
                  <a:lnTo>
                    <a:pt x="397" y="123"/>
                  </a:lnTo>
                  <a:lnTo>
                    <a:pt x="395" y="121"/>
                  </a:lnTo>
                  <a:lnTo>
                    <a:pt x="395" y="120"/>
                  </a:lnTo>
                  <a:lnTo>
                    <a:pt x="397" y="118"/>
                  </a:lnTo>
                  <a:lnTo>
                    <a:pt x="395" y="118"/>
                  </a:lnTo>
                  <a:lnTo>
                    <a:pt x="393" y="117"/>
                  </a:lnTo>
                  <a:lnTo>
                    <a:pt x="392" y="117"/>
                  </a:lnTo>
                  <a:lnTo>
                    <a:pt x="391" y="118"/>
                  </a:lnTo>
                  <a:lnTo>
                    <a:pt x="391" y="119"/>
                  </a:lnTo>
                  <a:lnTo>
                    <a:pt x="391" y="120"/>
                  </a:lnTo>
                  <a:lnTo>
                    <a:pt x="392" y="123"/>
                  </a:lnTo>
                  <a:lnTo>
                    <a:pt x="393" y="124"/>
                  </a:lnTo>
                  <a:lnTo>
                    <a:pt x="392" y="124"/>
                  </a:lnTo>
                  <a:lnTo>
                    <a:pt x="391" y="121"/>
                  </a:lnTo>
                  <a:lnTo>
                    <a:pt x="391" y="120"/>
                  </a:lnTo>
                  <a:lnTo>
                    <a:pt x="391" y="119"/>
                  </a:lnTo>
                  <a:lnTo>
                    <a:pt x="389" y="118"/>
                  </a:lnTo>
                  <a:lnTo>
                    <a:pt x="388" y="118"/>
                  </a:lnTo>
                  <a:lnTo>
                    <a:pt x="386" y="119"/>
                  </a:lnTo>
                  <a:lnTo>
                    <a:pt x="385" y="119"/>
                  </a:lnTo>
                  <a:lnTo>
                    <a:pt x="385" y="117"/>
                  </a:lnTo>
                  <a:lnTo>
                    <a:pt x="385" y="115"/>
                  </a:lnTo>
                  <a:lnTo>
                    <a:pt x="386" y="114"/>
                  </a:lnTo>
                  <a:lnTo>
                    <a:pt x="387" y="113"/>
                  </a:lnTo>
                  <a:lnTo>
                    <a:pt x="387" y="112"/>
                  </a:lnTo>
                  <a:lnTo>
                    <a:pt x="388" y="112"/>
                  </a:lnTo>
                  <a:lnTo>
                    <a:pt x="388" y="111"/>
                  </a:lnTo>
                  <a:lnTo>
                    <a:pt x="389" y="109"/>
                  </a:lnTo>
                  <a:lnTo>
                    <a:pt x="389" y="108"/>
                  </a:lnTo>
                  <a:lnTo>
                    <a:pt x="388" y="107"/>
                  </a:lnTo>
                  <a:lnTo>
                    <a:pt x="387" y="106"/>
                  </a:lnTo>
                  <a:lnTo>
                    <a:pt x="385" y="107"/>
                  </a:lnTo>
                  <a:lnTo>
                    <a:pt x="383" y="107"/>
                  </a:lnTo>
                  <a:lnTo>
                    <a:pt x="382" y="107"/>
                  </a:lnTo>
                  <a:lnTo>
                    <a:pt x="383" y="106"/>
                  </a:lnTo>
                  <a:lnTo>
                    <a:pt x="385" y="105"/>
                  </a:lnTo>
                  <a:lnTo>
                    <a:pt x="387" y="105"/>
                  </a:lnTo>
                  <a:lnTo>
                    <a:pt x="388" y="103"/>
                  </a:lnTo>
                  <a:lnTo>
                    <a:pt x="389" y="103"/>
                  </a:lnTo>
                  <a:lnTo>
                    <a:pt x="389" y="105"/>
                  </a:lnTo>
                  <a:lnTo>
                    <a:pt x="389" y="106"/>
                  </a:lnTo>
                  <a:lnTo>
                    <a:pt x="391" y="106"/>
                  </a:lnTo>
                  <a:lnTo>
                    <a:pt x="392" y="105"/>
                  </a:lnTo>
                  <a:lnTo>
                    <a:pt x="393" y="103"/>
                  </a:lnTo>
                  <a:lnTo>
                    <a:pt x="394" y="103"/>
                  </a:lnTo>
                  <a:lnTo>
                    <a:pt x="397" y="102"/>
                  </a:lnTo>
                  <a:lnTo>
                    <a:pt x="397" y="100"/>
                  </a:lnTo>
                  <a:lnTo>
                    <a:pt x="395" y="100"/>
                  </a:lnTo>
                  <a:lnTo>
                    <a:pt x="394" y="98"/>
                  </a:lnTo>
                  <a:lnTo>
                    <a:pt x="393" y="98"/>
                  </a:lnTo>
                  <a:lnTo>
                    <a:pt x="393" y="100"/>
                  </a:lnTo>
                  <a:lnTo>
                    <a:pt x="391" y="100"/>
                  </a:lnTo>
                  <a:lnTo>
                    <a:pt x="389" y="97"/>
                  </a:lnTo>
                  <a:lnTo>
                    <a:pt x="389" y="96"/>
                  </a:lnTo>
                  <a:lnTo>
                    <a:pt x="388" y="96"/>
                  </a:lnTo>
                  <a:lnTo>
                    <a:pt x="387" y="97"/>
                  </a:lnTo>
                  <a:lnTo>
                    <a:pt x="386" y="97"/>
                  </a:lnTo>
                  <a:lnTo>
                    <a:pt x="386" y="96"/>
                  </a:lnTo>
                  <a:lnTo>
                    <a:pt x="388" y="94"/>
                  </a:lnTo>
                  <a:lnTo>
                    <a:pt x="389" y="92"/>
                  </a:lnTo>
                  <a:lnTo>
                    <a:pt x="392" y="92"/>
                  </a:lnTo>
                  <a:lnTo>
                    <a:pt x="393" y="90"/>
                  </a:lnTo>
                  <a:lnTo>
                    <a:pt x="395" y="89"/>
                  </a:lnTo>
                  <a:lnTo>
                    <a:pt x="398" y="89"/>
                  </a:lnTo>
                  <a:lnTo>
                    <a:pt x="399" y="89"/>
                  </a:lnTo>
                  <a:lnTo>
                    <a:pt x="400" y="89"/>
                  </a:lnTo>
                  <a:lnTo>
                    <a:pt x="401" y="88"/>
                  </a:lnTo>
                  <a:lnTo>
                    <a:pt x="401" y="86"/>
                  </a:lnTo>
                  <a:lnTo>
                    <a:pt x="403" y="88"/>
                  </a:lnTo>
                  <a:lnTo>
                    <a:pt x="404" y="89"/>
                  </a:lnTo>
                  <a:lnTo>
                    <a:pt x="405" y="89"/>
                  </a:lnTo>
                  <a:lnTo>
                    <a:pt x="406" y="88"/>
                  </a:lnTo>
                  <a:lnTo>
                    <a:pt x="406" y="85"/>
                  </a:lnTo>
                  <a:lnTo>
                    <a:pt x="407" y="88"/>
                  </a:lnTo>
                  <a:lnTo>
                    <a:pt x="410" y="88"/>
                  </a:lnTo>
                  <a:lnTo>
                    <a:pt x="412" y="88"/>
                  </a:lnTo>
                  <a:lnTo>
                    <a:pt x="413" y="86"/>
                  </a:lnTo>
                  <a:lnTo>
                    <a:pt x="415" y="85"/>
                  </a:lnTo>
                  <a:lnTo>
                    <a:pt x="416" y="84"/>
                  </a:lnTo>
                  <a:lnTo>
                    <a:pt x="416" y="83"/>
                  </a:lnTo>
                  <a:lnTo>
                    <a:pt x="416" y="82"/>
                  </a:lnTo>
                  <a:lnTo>
                    <a:pt x="416" y="80"/>
                  </a:lnTo>
                  <a:lnTo>
                    <a:pt x="416" y="79"/>
                  </a:lnTo>
                  <a:lnTo>
                    <a:pt x="416" y="77"/>
                  </a:lnTo>
                  <a:lnTo>
                    <a:pt x="415" y="77"/>
                  </a:lnTo>
                  <a:lnTo>
                    <a:pt x="412" y="77"/>
                  </a:lnTo>
                  <a:lnTo>
                    <a:pt x="410" y="78"/>
                  </a:lnTo>
                  <a:lnTo>
                    <a:pt x="410" y="80"/>
                  </a:lnTo>
                  <a:lnTo>
                    <a:pt x="409" y="82"/>
                  </a:lnTo>
                  <a:lnTo>
                    <a:pt x="407" y="83"/>
                  </a:lnTo>
                  <a:lnTo>
                    <a:pt x="406" y="82"/>
                  </a:lnTo>
                  <a:lnTo>
                    <a:pt x="407" y="80"/>
                  </a:lnTo>
                  <a:lnTo>
                    <a:pt x="409" y="79"/>
                  </a:lnTo>
                  <a:lnTo>
                    <a:pt x="409" y="78"/>
                  </a:lnTo>
                  <a:lnTo>
                    <a:pt x="407" y="77"/>
                  </a:lnTo>
                  <a:lnTo>
                    <a:pt x="406" y="78"/>
                  </a:lnTo>
                  <a:lnTo>
                    <a:pt x="405" y="76"/>
                  </a:lnTo>
                  <a:lnTo>
                    <a:pt x="404" y="77"/>
                  </a:lnTo>
                  <a:lnTo>
                    <a:pt x="404" y="79"/>
                  </a:lnTo>
                  <a:lnTo>
                    <a:pt x="401" y="80"/>
                  </a:lnTo>
                  <a:lnTo>
                    <a:pt x="400" y="80"/>
                  </a:lnTo>
                  <a:lnTo>
                    <a:pt x="398" y="80"/>
                  </a:lnTo>
                  <a:lnTo>
                    <a:pt x="397" y="80"/>
                  </a:lnTo>
                  <a:lnTo>
                    <a:pt x="400" y="78"/>
                  </a:lnTo>
                  <a:lnTo>
                    <a:pt x="401" y="77"/>
                  </a:lnTo>
                  <a:lnTo>
                    <a:pt x="401" y="76"/>
                  </a:lnTo>
                  <a:lnTo>
                    <a:pt x="401" y="74"/>
                  </a:lnTo>
                  <a:lnTo>
                    <a:pt x="403" y="72"/>
                  </a:lnTo>
                  <a:lnTo>
                    <a:pt x="403" y="71"/>
                  </a:lnTo>
                  <a:lnTo>
                    <a:pt x="401" y="68"/>
                  </a:lnTo>
                  <a:lnTo>
                    <a:pt x="400" y="70"/>
                  </a:lnTo>
                  <a:lnTo>
                    <a:pt x="399" y="68"/>
                  </a:lnTo>
                  <a:lnTo>
                    <a:pt x="398" y="70"/>
                  </a:lnTo>
                  <a:lnTo>
                    <a:pt x="398" y="71"/>
                  </a:lnTo>
                  <a:lnTo>
                    <a:pt x="397" y="72"/>
                  </a:lnTo>
                  <a:lnTo>
                    <a:pt x="397" y="73"/>
                  </a:lnTo>
                  <a:lnTo>
                    <a:pt x="395" y="73"/>
                  </a:lnTo>
                  <a:lnTo>
                    <a:pt x="395" y="74"/>
                  </a:lnTo>
                  <a:lnTo>
                    <a:pt x="395" y="77"/>
                  </a:lnTo>
                  <a:lnTo>
                    <a:pt x="394" y="77"/>
                  </a:lnTo>
                  <a:lnTo>
                    <a:pt x="393" y="78"/>
                  </a:lnTo>
                  <a:lnTo>
                    <a:pt x="393" y="79"/>
                  </a:lnTo>
                  <a:lnTo>
                    <a:pt x="391" y="80"/>
                  </a:lnTo>
                  <a:lnTo>
                    <a:pt x="391" y="78"/>
                  </a:lnTo>
                  <a:lnTo>
                    <a:pt x="392" y="76"/>
                  </a:lnTo>
                  <a:lnTo>
                    <a:pt x="393" y="74"/>
                  </a:lnTo>
                  <a:lnTo>
                    <a:pt x="394" y="71"/>
                  </a:lnTo>
                  <a:lnTo>
                    <a:pt x="394" y="68"/>
                  </a:lnTo>
                  <a:lnTo>
                    <a:pt x="393" y="68"/>
                  </a:lnTo>
                  <a:lnTo>
                    <a:pt x="391" y="68"/>
                  </a:lnTo>
                  <a:lnTo>
                    <a:pt x="391" y="70"/>
                  </a:lnTo>
                  <a:lnTo>
                    <a:pt x="389" y="71"/>
                  </a:lnTo>
                  <a:lnTo>
                    <a:pt x="388" y="71"/>
                  </a:lnTo>
                  <a:lnTo>
                    <a:pt x="386" y="71"/>
                  </a:lnTo>
                  <a:lnTo>
                    <a:pt x="385" y="71"/>
                  </a:lnTo>
                  <a:lnTo>
                    <a:pt x="382" y="73"/>
                  </a:lnTo>
                  <a:lnTo>
                    <a:pt x="380" y="74"/>
                  </a:lnTo>
                  <a:lnTo>
                    <a:pt x="379" y="74"/>
                  </a:lnTo>
                  <a:lnTo>
                    <a:pt x="379" y="72"/>
                  </a:lnTo>
                  <a:lnTo>
                    <a:pt x="377" y="71"/>
                  </a:lnTo>
                  <a:lnTo>
                    <a:pt x="375" y="71"/>
                  </a:lnTo>
                  <a:lnTo>
                    <a:pt x="377" y="68"/>
                  </a:lnTo>
                  <a:lnTo>
                    <a:pt x="379" y="67"/>
                  </a:lnTo>
                  <a:lnTo>
                    <a:pt x="376" y="65"/>
                  </a:lnTo>
                  <a:lnTo>
                    <a:pt x="374" y="64"/>
                  </a:lnTo>
                  <a:lnTo>
                    <a:pt x="372" y="65"/>
                  </a:lnTo>
                  <a:lnTo>
                    <a:pt x="371" y="67"/>
                  </a:lnTo>
                  <a:lnTo>
                    <a:pt x="370" y="70"/>
                  </a:lnTo>
                  <a:lnTo>
                    <a:pt x="368" y="71"/>
                  </a:lnTo>
                  <a:lnTo>
                    <a:pt x="364" y="72"/>
                  </a:lnTo>
                  <a:lnTo>
                    <a:pt x="362" y="71"/>
                  </a:lnTo>
                  <a:lnTo>
                    <a:pt x="362" y="70"/>
                  </a:lnTo>
                  <a:lnTo>
                    <a:pt x="362" y="67"/>
                  </a:lnTo>
                  <a:lnTo>
                    <a:pt x="363" y="66"/>
                  </a:lnTo>
                  <a:lnTo>
                    <a:pt x="364" y="64"/>
                  </a:lnTo>
                  <a:lnTo>
                    <a:pt x="364" y="61"/>
                  </a:lnTo>
                  <a:lnTo>
                    <a:pt x="362" y="59"/>
                  </a:lnTo>
                  <a:lnTo>
                    <a:pt x="362" y="58"/>
                  </a:lnTo>
                  <a:lnTo>
                    <a:pt x="360" y="55"/>
                  </a:lnTo>
                  <a:lnTo>
                    <a:pt x="359" y="55"/>
                  </a:lnTo>
                  <a:lnTo>
                    <a:pt x="358" y="55"/>
                  </a:lnTo>
                  <a:lnTo>
                    <a:pt x="357" y="56"/>
                  </a:lnTo>
                  <a:lnTo>
                    <a:pt x="354" y="58"/>
                  </a:lnTo>
                  <a:lnTo>
                    <a:pt x="353" y="58"/>
                  </a:lnTo>
                  <a:lnTo>
                    <a:pt x="351" y="58"/>
                  </a:lnTo>
                  <a:lnTo>
                    <a:pt x="351" y="59"/>
                  </a:lnTo>
                  <a:lnTo>
                    <a:pt x="347" y="60"/>
                  </a:lnTo>
                  <a:lnTo>
                    <a:pt x="347" y="58"/>
                  </a:lnTo>
                  <a:lnTo>
                    <a:pt x="348" y="56"/>
                  </a:lnTo>
                  <a:lnTo>
                    <a:pt x="347" y="54"/>
                  </a:lnTo>
                  <a:lnTo>
                    <a:pt x="345" y="54"/>
                  </a:lnTo>
                  <a:lnTo>
                    <a:pt x="344" y="55"/>
                  </a:lnTo>
                  <a:lnTo>
                    <a:pt x="342" y="56"/>
                  </a:lnTo>
                  <a:lnTo>
                    <a:pt x="342" y="59"/>
                  </a:lnTo>
                  <a:lnTo>
                    <a:pt x="340" y="58"/>
                  </a:lnTo>
                  <a:lnTo>
                    <a:pt x="339" y="56"/>
                  </a:lnTo>
                  <a:lnTo>
                    <a:pt x="338" y="55"/>
                  </a:lnTo>
                  <a:lnTo>
                    <a:pt x="336" y="55"/>
                  </a:lnTo>
                  <a:lnTo>
                    <a:pt x="334" y="54"/>
                  </a:lnTo>
                  <a:lnTo>
                    <a:pt x="334" y="56"/>
                  </a:lnTo>
                  <a:lnTo>
                    <a:pt x="333" y="58"/>
                  </a:lnTo>
                  <a:lnTo>
                    <a:pt x="333" y="56"/>
                  </a:lnTo>
                  <a:lnTo>
                    <a:pt x="330" y="55"/>
                  </a:lnTo>
                  <a:lnTo>
                    <a:pt x="329" y="55"/>
                  </a:lnTo>
                  <a:lnTo>
                    <a:pt x="327" y="55"/>
                  </a:lnTo>
                  <a:lnTo>
                    <a:pt x="327" y="54"/>
                  </a:lnTo>
                  <a:lnTo>
                    <a:pt x="327" y="53"/>
                  </a:lnTo>
                  <a:lnTo>
                    <a:pt x="329" y="53"/>
                  </a:lnTo>
                  <a:lnTo>
                    <a:pt x="330" y="53"/>
                  </a:lnTo>
                  <a:lnTo>
                    <a:pt x="332" y="53"/>
                  </a:lnTo>
                  <a:lnTo>
                    <a:pt x="333" y="53"/>
                  </a:lnTo>
                  <a:lnTo>
                    <a:pt x="335" y="52"/>
                  </a:lnTo>
                  <a:lnTo>
                    <a:pt x="336" y="52"/>
                  </a:lnTo>
                  <a:lnTo>
                    <a:pt x="338" y="52"/>
                  </a:lnTo>
                  <a:lnTo>
                    <a:pt x="339" y="52"/>
                  </a:lnTo>
                  <a:lnTo>
                    <a:pt x="341" y="52"/>
                  </a:lnTo>
                  <a:lnTo>
                    <a:pt x="342" y="52"/>
                  </a:lnTo>
                  <a:lnTo>
                    <a:pt x="346" y="52"/>
                  </a:lnTo>
                  <a:lnTo>
                    <a:pt x="347" y="52"/>
                  </a:lnTo>
                  <a:lnTo>
                    <a:pt x="348" y="50"/>
                  </a:lnTo>
                  <a:lnTo>
                    <a:pt x="350" y="49"/>
                  </a:lnTo>
                  <a:lnTo>
                    <a:pt x="351" y="48"/>
                  </a:lnTo>
                  <a:lnTo>
                    <a:pt x="350" y="46"/>
                  </a:lnTo>
                  <a:lnTo>
                    <a:pt x="348" y="46"/>
                  </a:lnTo>
                  <a:lnTo>
                    <a:pt x="347" y="44"/>
                  </a:lnTo>
                  <a:lnTo>
                    <a:pt x="346" y="46"/>
                  </a:lnTo>
                  <a:lnTo>
                    <a:pt x="345" y="47"/>
                  </a:lnTo>
                  <a:lnTo>
                    <a:pt x="344" y="48"/>
                  </a:lnTo>
                  <a:lnTo>
                    <a:pt x="342" y="48"/>
                  </a:lnTo>
                  <a:lnTo>
                    <a:pt x="341" y="47"/>
                  </a:lnTo>
                  <a:lnTo>
                    <a:pt x="344" y="46"/>
                  </a:lnTo>
                  <a:lnTo>
                    <a:pt x="342" y="44"/>
                  </a:lnTo>
                  <a:lnTo>
                    <a:pt x="342" y="43"/>
                  </a:lnTo>
                  <a:lnTo>
                    <a:pt x="342" y="41"/>
                  </a:lnTo>
                  <a:lnTo>
                    <a:pt x="344" y="42"/>
                  </a:lnTo>
                  <a:lnTo>
                    <a:pt x="345" y="43"/>
                  </a:lnTo>
                  <a:lnTo>
                    <a:pt x="347" y="43"/>
                  </a:lnTo>
                  <a:lnTo>
                    <a:pt x="348" y="42"/>
                  </a:lnTo>
                  <a:lnTo>
                    <a:pt x="350" y="40"/>
                  </a:lnTo>
                  <a:lnTo>
                    <a:pt x="351" y="41"/>
                  </a:lnTo>
                  <a:lnTo>
                    <a:pt x="352" y="42"/>
                  </a:lnTo>
                  <a:lnTo>
                    <a:pt x="353" y="42"/>
                  </a:lnTo>
                  <a:lnTo>
                    <a:pt x="354" y="41"/>
                  </a:lnTo>
                  <a:lnTo>
                    <a:pt x="357" y="40"/>
                  </a:lnTo>
                  <a:lnTo>
                    <a:pt x="357" y="38"/>
                  </a:lnTo>
                  <a:lnTo>
                    <a:pt x="359" y="36"/>
                  </a:lnTo>
                  <a:lnTo>
                    <a:pt x="359" y="34"/>
                  </a:lnTo>
                  <a:lnTo>
                    <a:pt x="359" y="32"/>
                  </a:lnTo>
                  <a:lnTo>
                    <a:pt x="357" y="31"/>
                  </a:lnTo>
                  <a:lnTo>
                    <a:pt x="354" y="31"/>
                  </a:lnTo>
                  <a:lnTo>
                    <a:pt x="354" y="34"/>
                  </a:lnTo>
                  <a:lnTo>
                    <a:pt x="353" y="35"/>
                  </a:lnTo>
                  <a:lnTo>
                    <a:pt x="352" y="35"/>
                  </a:lnTo>
                  <a:lnTo>
                    <a:pt x="352" y="32"/>
                  </a:lnTo>
                  <a:lnTo>
                    <a:pt x="352" y="30"/>
                  </a:lnTo>
                  <a:lnTo>
                    <a:pt x="353" y="28"/>
                  </a:lnTo>
                  <a:lnTo>
                    <a:pt x="356" y="25"/>
                  </a:lnTo>
                  <a:lnTo>
                    <a:pt x="356" y="23"/>
                  </a:lnTo>
                  <a:lnTo>
                    <a:pt x="354" y="20"/>
                  </a:lnTo>
                  <a:lnTo>
                    <a:pt x="352" y="20"/>
                  </a:lnTo>
                  <a:lnTo>
                    <a:pt x="351" y="20"/>
                  </a:lnTo>
                  <a:lnTo>
                    <a:pt x="347" y="23"/>
                  </a:lnTo>
                  <a:lnTo>
                    <a:pt x="347" y="24"/>
                  </a:lnTo>
                  <a:lnTo>
                    <a:pt x="347" y="26"/>
                  </a:lnTo>
                  <a:lnTo>
                    <a:pt x="347" y="29"/>
                  </a:lnTo>
                  <a:lnTo>
                    <a:pt x="346" y="29"/>
                  </a:lnTo>
                  <a:lnTo>
                    <a:pt x="345" y="28"/>
                  </a:lnTo>
                  <a:lnTo>
                    <a:pt x="345" y="26"/>
                  </a:lnTo>
                  <a:lnTo>
                    <a:pt x="345" y="24"/>
                  </a:lnTo>
                  <a:lnTo>
                    <a:pt x="345" y="23"/>
                  </a:lnTo>
                  <a:lnTo>
                    <a:pt x="344" y="20"/>
                  </a:lnTo>
                  <a:lnTo>
                    <a:pt x="342" y="20"/>
                  </a:lnTo>
                  <a:lnTo>
                    <a:pt x="341" y="22"/>
                  </a:lnTo>
                  <a:lnTo>
                    <a:pt x="340" y="24"/>
                  </a:lnTo>
                  <a:lnTo>
                    <a:pt x="339" y="25"/>
                  </a:lnTo>
                  <a:lnTo>
                    <a:pt x="338" y="26"/>
                  </a:lnTo>
                  <a:lnTo>
                    <a:pt x="336" y="26"/>
                  </a:lnTo>
                  <a:lnTo>
                    <a:pt x="334" y="28"/>
                  </a:lnTo>
                  <a:lnTo>
                    <a:pt x="332" y="29"/>
                  </a:lnTo>
                  <a:lnTo>
                    <a:pt x="330" y="29"/>
                  </a:lnTo>
                  <a:lnTo>
                    <a:pt x="330" y="30"/>
                  </a:lnTo>
                  <a:lnTo>
                    <a:pt x="330" y="31"/>
                  </a:lnTo>
                  <a:lnTo>
                    <a:pt x="332" y="32"/>
                  </a:lnTo>
                  <a:lnTo>
                    <a:pt x="330" y="34"/>
                  </a:lnTo>
                  <a:lnTo>
                    <a:pt x="329" y="35"/>
                  </a:lnTo>
                  <a:lnTo>
                    <a:pt x="328" y="34"/>
                  </a:lnTo>
                  <a:lnTo>
                    <a:pt x="327" y="32"/>
                  </a:lnTo>
                  <a:lnTo>
                    <a:pt x="326" y="30"/>
                  </a:lnTo>
                  <a:lnTo>
                    <a:pt x="326" y="29"/>
                  </a:lnTo>
                  <a:lnTo>
                    <a:pt x="324" y="26"/>
                  </a:lnTo>
                  <a:lnTo>
                    <a:pt x="323" y="24"/>
                  </a:lnTo>
                  <a:lnTo>
                    <a:pt x="322" y="24"/>
                  </a:lnTo>
                  <a:lnTo>
                    <a:pt x="321" y="24"/>
                  </a:lnTo>
                  <a:lnTo>
                    <a:pt x="320" y="24"/>
                  </a:lnTo>
                  <a:lnTo>
                    <a:pt x="318" y="25"/>
                  </a:lnTo>
                  <a:lnTo>
                    <a:pt x="317" y="28"/>
                  </a:lnTo>
                  <a:lnTo>
                    <a:pt x="316" y="28"/>
                  </a:lnTo>
                  <a:lnTo>
                    <a:pt x="316" y="25"/>
                  </a:lnTo>
                  <a:lnTo>
                    <a:pt x="316" y="23"/>
                  </a:lnTo>
                  <a:lnTo>
                    <a:pt x="316" y="20"/>
                  </a:lnTo>
                  <a:lnTo>
                    <a:pt x="317" y="19"/>
                  </a:lnTo>
                  <a:lnTo>
                    <a:pt x="316" y="17"/>
                  </a:lnTo>
                  <a:lnTo>
                    <a:pt x="315" y="14"/>
                  </a:lnTo>
                  <a:lnTo>
                    <a:pt x="314" y="13"/>
                  </a:lnTo>
                  <a:lnTo>
                    <a:pt x="311" y="13"/>
                  </a:lnTo>
                  <a:lnTo>
                    <a:pt x="310" y="14"/>
                  </a:lnTo>
                  <a:lnTo>
                    <a:pt x="310" y="17"/>
                  </a:lnTo>
                  <a:lnTo>
                    <a:pt x="309" y="19"/>
                  </a:lnTo>
                  <a:lnTo>
                    <a:pt x="309" y="22"/>
                  </a:lnTo>
                  <a:lnTo>
                    <a:pt x="307" y="23"/>
                  </a:lnTo>
                  <a:lnTo>
                    <a:pt x="306" y="22"/>
                  </a:lnTo>
                  <a:lnTo>
                    <a:pt x="306" y="20"/>
                  </a:lnTo>
                  <a:lnTo>
                    <a:pt x="305" y="18"/>
                  </a:lnTo>
                  <a:lnTo>
                    <a:pt x="305" y="17"/>
                  </a:lnTo>
                  <a:lnTo>
                    <a:pt x="304" y="16"/>
                  </a:lnTo>
                  <a:lnTo>
                    <a:pt x="303" y="14"/>
                  </a:lnTo>
                  <a:lnTo>
                    <a:pt x="304" y="13"/>
                  </a:lnTo>
                  <a:lnTo>
                    <a:pt x="305" y="11"/>
                  </a:lnTo>
                  <a:lnTo>
                    <a:pt x="304" y="10"/>
                  </a:lnTo>
                  <a:lnTo>
                    <a:pt x="300" y="8"/>
                  </a:lnTo>
                  <a:lnTo>
                    <a:pt x="299" y="8"/>
                  </a:lnTo>
                  <a:lnTo>
                    <a:pt x="298" y="10"/>
                  </a:lnTo>
                  <a:lnTo>
                    <a:pt x="297" y="12"/>
                  </a:lnTo>
                  <a:lnTo>
                    <a:pt x="295" y="14"/>
                  </a:lnTo>
                  <a:lnTo>
                    <a:pt x="293" y="16"/>
                  </a:lnTo>
                  <a:lnTo>
                    <a:pt x="293" y="17"/>
                  </a:lnTo>
                  <a:lnTo>
                    <a:pt x="292" y="19"/>
                  </a:lnTo>
                  <a:lnTo>
                    <a:pt x="293" y="20"/>
                  </a:lnTo>
                  <a:lnTo>
                    <a:pt x="295" y="22"/>
                  </a:lnTo>
                  <a:lnTo>
                    <a:pt x="297" y="23"/>
                  </a:lnTo>
                  <a:lnTo>
                    <a:pt x="299" y="24"/>
                  </a:lnTo>
                  <a:lnTo>
                    <a:pt x="299" y="25"/>
                  </a:lnTo>
                  <a:lnTo>
                    <a:pt x="298" y="26"/>
                  </a:lnTo>
                  <a:lnTo>
                    <a:pt x="297" y="26"/>
                  </a:lnTo>
                  <a:lnTo>
                    <a:pt x="295" y="28"/>
                  </a:lnTo>
                  <a:lnTo>
                    <a:pt x="297" y="29"/>
                  </a:lnTo>
                  <a:lnTo>
                    <a:pt x="297" y="30"/>
                  </a:lnTo>
                  <a:lnTo>
                    <a:pt x="295" y="30"/>
                  </a:lnTo>
                  <a:lnTo>
                    <a:pt x="295" y="29"/>
                  </a:lnTo>
                  <a:lnTo>
                    <a:pt x="294" y="28"/>
                  </a:lnTo>
                  <a:lnTo>
                    <a:pt x="293" y="25"/>
                  </a:lnTo>
                  <a:lnTo>
                    <a:pt x="292" y="24"/>
                  </a:lnTo>
                  <a:lnTo>
                    <a:pt x="291" y="24"/>
                  </a:lnTo>
                  <a:lnTo>
                    <a:pt x="289" y="23"/>
                  </a:lnTo>
                  <a:lnTo>
                    <a:pt x="288" y="20"/>
                  </a:lnTo>
                  <a:lnTo>
                    <a:pt x="287" y="20"/>
                  </a:lnTo>
                  <a:lnTo>
                    <a:pt x="286" y="22"/>
                  </a:lnTo>
                  <a:lnTo>
                    <a:pt x="285" y="22"/>
                  </a:lnTo>
                  <a:lnTo>
                    <a:pt x="282" y="22"/>
                  </a:lnTo>
                  <a:lnTo>
                    <a:pt x="282" y="24"/>
                  </a:lnTo>
                  <a:lnTo>
                    <a:pt x="283" y="25"/>
                  </a:lnTo>
                  <a:lnTo>
                    <a:pt x="283" y="28"/>
                  </a:lnTo>
                  <a:lnTo>
                    <a:pt x="282" y="29"/>
                  </a:lnTo>
                  <a:lnTo>
                    <a:pt x="282" y="30"/>
                  </a:lnTo>
                  <a:lnTo>
                    <a:pt x="285" y="32"/>
                  </a:lnTo>
                  <a:lnTo>
                    <a:pt x="287" y="32"/>
                  </a:lnTo>
                  <a:lnTo>
                    <a:pt x="288" y="31"/>
                  </a:lnTo>
                  <a:lnTo>
                    <a:pt x="289" y="32"/>
                  </a:lnTo>
                  <a:lnTo>
                    <a:pt x="289" y="34"/>
                  </a:lnTo>
                  <a:lnTo>
                    <a:pt x="288" y="36"/>
                  </a:lnTo>
                  <a:lnTo>
                    <a:pt x="291" y="36"/>
                  </a:lnTo>
                  <a:lnTo>
                    <a:pt x="292" y="36"/>
                  </a:lnTo>
                  <a:lnTo>
                    <a:pt x="293" y="37"/>
                  </a:lnTo>
                  <a:lnTo>
                    <a:pt x="294" y="38"/>
                  </a:lnTo>
                  <a:lnTo>
                    <a:pt x="295" y="38"/>
                  </a:lnTo>
                  <a:lnTo>
                    <a:pt x="298" y="40"/>
                  </a:lnTo>
                  <a:lnTo>
                    <a:pt x="298" y="42"/>
                  </a:lnTo>
                  <a:lnTo>
                    <a:pt x="297" y="43"/>
                  </a:lnTo>
                  <a:lnTo>
                    <a:pt x="294" y="43"/>
                  </a:lnTo>
                  <a:lnTo>
                    <a:pt x="293" y="41"/>
                  </a:lnTo>
                  <a:lnTo>
                    <a:pt x="293" y="40"/>
                  </a:lnTo>
                  <a:lnTo>
                    <a:pt x="291" y="38"/>
                  </a:lnTo>
                  <a:lnTo>
                    <a:pt x="289" y="38"/>
                  </a:lnTo>
                  <a:lnTo>
                    <a:pt x="288" y="40"/>
                  </a:lnTo>
                  <a:lnTo>
                    <a:pt x="287" y="42"/>
                  </a:lnTo>
                  <a:lnTo>
                    <a:pt x="286" y="42"/>
                  </a:lnTo>
                  <a:lnTo>
                    <a:pt x="283" y="41"/>
                  </a:lnTo>
                  <a:lnTo>
                    <a:pt x="281" y="41"/>
                  </a:lnTo>
                  <a:lnTo>
                    <a:pt x="281" y="40"/>
                  </a:lnTo>
                  <a:lnTo>
                    <a:pt x="279" y="38"/>
                  </a:lnTo>
                  <a:lnTo>
                    <a:pt x="277" y="38"/>
                  </a:lnTo>
                  <a:lnTo>
                    <a:pt x="276" y="41"/>
                  </a:lnTo>
                  <a:lnTo>
                    <a:pt x="277" y="44"/>
                  </a:lnTo>
                  <a:lnTo>
                    <a:pt x="279" y="47"/>
                  </a:lnTo>
                  <a:lnTo>
                    <a:pt x="280" y="49"/>
                  </a:lnTo>
                  <a:lnTo>
                    <a:pt x="281" y="49"/>
                  </a:lnTo>
                  <a:lnTo>
                    <a:pt x="285" y="49"/>
                  </a:lnTo>
                  <a:lnTo>
                    <a:pt x="286" y="49"/>
                  </a:lnTo>
                  <a:lnTo>
                    <a:pt x="288" y="50"/>
                  </a:lnTo>
                  <a:lnTo>
                    <a:pt x="289" y="50"/>
                  </a:lnTo>
                  <a:lnTo>
                    <a:pt x="292" y="50"/>
                  </a:lnTo>
                  <a:lnTo>
                    <a:pt x="293" y="52"/>
                  </a:lnTo>
                  <a:lnTo>
                    <a:pt x="292" y="53"/>
                  </a:lnTo>
                  <a:lnTo>
                    <a:pt x="289" y="53"/>
                  </a:lnTo>
                  <a:lnTo>
                    <a:pt x="287" y="53"/>
                  </a:lnTo>
                  <a:lnTo>
                    <a:pt x="287" y="54"/>
                  </a:lnTo>
                  <a:lnTo>
                    <a:pt x="288" y="55"/>
                  </a:lnTo>
                  <a:lnTo>
                    <a:pt x="288" y="56"/>
                  </a:lnTo>
                  <a:lnTo>
                    <a:pt x="287" y="58"/>
                  </a:lnTo>
                  <a:lnTo>
                    <a:pt x="286" y="58"/>
                  </a:lnTo>
                  <a:lnTo>
                    <a:pt x="283" y="58"/>
                  </a:lnTo>
                  <a:lnTo>
                    <a:pt x="283" y="59"/>
                  </a:lnTo>
                  <a:lnTo>
                    <a:pt x="285" y="62"/>
                  </a:lnTo>
                  <a:lnTo>
                    <a:pt x="287" y="65"/>
                  </a:lnTo>
                  <a:lnTo>
                    <a:pt x="289" y="66"/>
                  </a:lnTo>
                  <a:lnTo>
                    <a:pt x="292" y="65"/>
                  </a:lnTo>
                  <a:lnTo>
                    <a:pt x="293" y="65"/>
                  </a:lnTo>
                  <a:lnTo>
                    <a:pt x="293" y="67"/>
                  </a:lnTo>
                  <a:lnTo>
                    <a:pt x="294" y="68"/>
                  </a:lnTo>
                  <a:lnTo>
                    <a:pt x="297" y="68"/>
                  </a:lnTo>
                  <a:lnTo>
                    <a:pt x="298" y="67"/>
                  </a:lnTo>
                  <a:lnTo>
                    <a:pt x="299" y="66"/>
                  </a:lnTo>
                  <a:lnTo>
                    <a:pt x="299" y="65"/>
                  </a:lnTo>
                  <a:lnTo>
                    <a:pt x="299" y="62"/>
                  </a:lnTo>
                  <a:lnTo>
                    <a:pt x="299" y="61"/>
                  </a:lnTo>
                  <a:lnTo>
                    <a:pt x="301" y="62"/>
                  </a:lnTo>
                  <a:lnTo>
                    <a:pt x="301" y="64"/>
                  </a:lnTo>
                  <a:lnTo>
                    <a:pt x="303" y="64"/>
                  </a:lnTo>
                  <a:lnTo>
                    <a:pt x="304" y="64"/>
                  </a:lnTo>
                  <a:lnTo>
                    <a:pt x="305" y="62"/>
                  </a:lnTo>
                  <a:lnTo>
                    <a:pt x="305" y="61"/>
                  </a:lnTo>
                  <a:lnTo>
                    <a:pt x="307" y="62"/>
                  </a:lnTo>
                  <a:lnTo>
                    <a:pt x="307" y="64"/>
                  </a:lnTo>
                  <a:lnTo>
                    <a:pt x="309" y="65"/>
                  </a:lnTo>
                  <a:lnTo>
                    <a:pt x="307" y="65"/>
                  </a:lnTo>
                  <a:lnTo>
                    <a:pt x="305" y="65"/>
                  </a:lnTo>
                  <a:lnTo>
                    <a:pt x="303" y="66"/>
                  </a:lnTo>
                  <a:lnTo>
                    <a:pt x="301" y="66"/>
                  </a:lnTo>
                  <a:lnTo>
                    <a:pt x="300" y="68"/>
                  </a:lnTo>
                  <a:lnTo>
                    <a:pt x="299" y="71"/>
                  </a:lnTo>
                  <a:lnTo>
                    <a:pt x="299" y="72"/>
                  </a:lnTo>
                  <a:lnTo>
                    <a:pt x="301" y="74"/>
                  </a:lnTo>
                  <a:lnTo>
                    <a:pt x="304" y="76"/>
                  </a:lnTo>
                  <a:lnTo>
                    <a:pt x="306" y="76"/>
                  </a:lnTo>
                  <a:lnTo>
                    <a:pt x="309" y="76"/>
                  </a:lnTo>
                  <a:lnTo>
                    <a:pt x="309" y="74"/>
                  </a:lnTo>
                  <a:lnTo>
                    <a:pt x="310" y="73"/>
                  </a:lnTo>
                  <a:lnTo>
                    <a:pt x="311" y="71"/>
                  </a:lnTo>
                  <a:lnTo>
                    <a:pt x="311" y="70"/>
                  </a:lnTo>
                  <a:lnTo>
                    <a:pt x="314" y="71"/>
                  </a:lnTo>
                  <a:lnTo>
                    <a:pt x="315" y="72"/>
                  </a:lnTo>
                  <a:lnTo>
                    <a:pt x="316" y="73"/>
                  </a:lnTo>
                  <a:lnTo>
                    <a:pt x="312" y="76"/>
                  </a:lnTo>
                  <a:lnTo>
                    <a:pt x="311" y="77"/>
                  </a:lnTo>
                  <a:lnTo>
                    <a:pt x="310" y="79"/>
                  </a:lnTo>
                  <a:lnTo>
                    <a:pt x="311" y="83"/>
                  </a:lnTo>
                  <a:lnTo>
                    <a:pt x="312" y="85"/>
                  </a:lnTo>
                  <a:lnTo>
                    <a:pt x="314" y="89"/>
                  </a:lnTo>
                  <a:lnTo>
                    <a:pt x="316" y="92"/>
                  </a:lnTo>
                  <a:lnTo>
                    <a:pt x="315" y="94"/>
                  </a:lnTo>
                  <a:lnTo>
                    <a:pt x="315" y="92"/>
                  </a:lnTo>
                  <a:lnTo>
                    <a:pt x="314" y="91"/>
                  </a:lnTo>
                  <a:lnTo>
                    <a:pt x="312" y="89"/>
                  </a:lnTo>
                  <a:lnTo>
                    <a:pt x="311" y="88"/>
                  </a:lnTo>
                  <a:lnTo>
                    <a:pt x="309" y="85"/>
                  </a:lnTo>
                  <a:lnTo>
                    <a:pt x="307" y="84"/>
                  </a:lnTo>
                  <a:lnTo>
                    <a:pt x="306" y="83"/>
                  </a:lnTo>
                  <a:lnTo>
                    <a:pt x="306" y="85"/>
                  </a:lnTo>
                  <a:lnTo>
                    <a:pt x="305" y="86"/>
                  </a:lnTo>
                  <a:lnTo>
                    <a:pt x="304" y="88"/>
                  </a:lnTo>
                  <a:lnTo>
                    <a:pt x="303" y="89"/>
                  </a:lnTo>
                  <a:lnTo>
                    <a:pt x="301" y="90"/>
                  </a:lnTo>
                  <a:lnTo>
                    <a:pt x="301" y="91"/>
                  </a:lnTo>
                  <a:lnTo>
                    <a:pt x="300" y="91"/>
                  </a:lnTo>
                  <a:lnTo>
                    <a:pt x="300" y="89"/>
                  </a:lnTo>
                  <a:lnTo>
                    <a:pt x="300" y="86"/>
                  </a:lnTo>
                  <a:lnTo>
                    <a:pt x="299" y="86"/>
                  </a:lnTo>
                  <a:lnTo>
                    <a:pt x="298" y="86"/>
                  </a:lnTo>
                  <a:lnTo>
                    <a:pt x="298" y="88"/>
                  </a:lnTo>
                  <a:lnTo>
                    <a:pt x="297" y="90"/>
                  </a:lnTo>
                  <a:lnTo>
                    <a:pt x="297" y="91"/>
                  </a:lnTo>
                  <a:lnTo>
                    <a:pt x="295" y="91"/>
                  </a:lnTo>
                  <a:lnTo>
                    <a:pt x="294" y="90"/>
                  </a:lnTo>
                  <a:lnTo>
                    <a:pt x="294" y="89"/>
                  </a:lnTo>
                  <a:lnTo>
                    <a:pt x="294" y="86"/>
                  </a:lnTo>
                  <a:lnTo>
                    <a:pt x="293" y="85"/>
                  </a:lnTo>
                  <a:lnTo>
                    <a:pt x="293" y="83"/>
                  </a:lnTo>
                  <a:lnTo>
                    <a:pt x="292" y="82"/>
                  </a:lnTo>
                  <a:lnTo>
                    <a:pt x="291" y="80"/>
                  </a:lnTo>
                  <a:lnTo>
                    <a:pt x="287" y="82"/>
                  </a:lnTo>
                  <a:lnTo>
                    <a:pt x="286" y="83"/>
                  </a:lnTo>
                  <a:lnTo>
                    <a:pt x="286" y="85"/>
                  </a:lnTo>
                  <a:lnTo>
                    <a:pt x="286" y="89"/>
                  </a:lnTo>
                  <a:lnTo>
                    <a:pt x="286" y="91"/>
                  </a:lnTo>
                  <a:lnTo>
                    <a:pt x="283" y="92"/>
                  </a:lnTo>
                  <a:lnTo>
                    <a:pt x="283" y="91"/>
                  </a:lnTo>
                  <a:lnTo>
                    <a:pt x="283" y="89"/>
                  </a:lnTo>
                  <a:lnTo>
                    <a:pt x="281" y="89"/>
                  </a:lnTo>
                  <a:lnTo>
                    <a:pt x="280" y="91"/>
                  </a:lnTo>
                  <a:lnTo>
                    <a:pt x="280" y="92"/>
                  </a:lnTo>
                  <a:lnTo>
                    <a:pt x="277" y="92"/>
                  </a:lnTo>
                  <a:lnTo>
                    <a:pt x="277" y="91"/>
                  </a:lnTo>
                  <a:lnTo>
                    <a:pt x="275" y="90"/>
                  </a:lnTo>
                  <a:lnTo>
                    <a:pt x="273" y="86"/>
                  </a:lnTo>
                  <a:lnTo>
                    <a:pt x="273" y="84"/>
                  </a:lnTo>
                  <a:lnTo>
                    <a:pt x="271" y="83"/>
                  </a:lnTo>
                  <a:lnTo>
                    <a:pt x="270" y="79"/>
                  </a:lnTo>
                  <a:lnTo>
                    <a:pt x="270" y="78"/>
                  </a:lnTo>
                  <a:lnTo>
                    <a:pt x="268" y="76"/>
                  </a:lnTo>
                  <a:lnTo>
                    <a:pt x="265" y="77"/>
                  </a:lnTo>
                  <a:lnTo>
                    <a:pt x="265" y="78"/>
                  </a:lnTo>
                  <a:lnTo>
                    <a:pt x="263" y="80"/>
                  </a:lnTo>
                  <a:lnTo>
                    <a:pt x="261" y="83"/>
                  </a:lnTo>
                  <a:lnTo>
                    <a:pt x="258" y="82"/>
                  </a:lnTo>
                  <a:lnTo>
                    <a:pt x="258" y="79"/>
                  </a:lnTo>
                  <a:lnTo>
                    <a:pt x="259" y="76"/>
                  </a:lnTo>
                  <a:lnTo>
                    <a:pt x="257" y="74"/>
                  </a:lnTo>
                  <a:lnTo>
                    <a:pt x="256" y="76"/>
                  </a:lnTo>
                  <a:lnTo>
                    <a:pt x="255" y="76"/>
                  </a:lnTo>
                  <a:lnTo>
                    <a:pt x="253" y="79"/>
                  </a:lnTo>
                  <a:lnTo>
                    <a:pt x="251" y="82"/>
                  </a:lnTo>
                  <a:lnTo>
                    <a:pt x="247" y="82"/>
                  </a:lnTo>
                  <a:lnTo>
                    <a:pt x="247" y="79"/>
                  </a:lnTo>
                  <a:lnTo>
                    <a:pt x="250" y="77"/>
                  </a:lnTo>
                  <a:lnTo>
                    <a:pt x="251" y="76"/>
                  </a:lnTo>
                  <a:lnTo>
                    <a:pt x="252" y="73"/>
                  </a:lnTo>
                  <a:lnTo>
                    <a:pt x="251" y="73"/>
                  </a:lnTo>
                  <a:lnTo>
                    <a:pt x="250" y="72"/>
                  </a:lnTo>
                  <a:lnTo>
                    <a:pt x="251" y="71"/>
                  </a:lnTo>
                  <a:lnTo>
                    <a:pt x="251" y="70"/>
                  </a:lnTo>
                  <a:lnTo>
                    <a:pt x="250" y="67"/>
                  </a:lnTo>
                  <a:lnTo>
                    <a:pt x="247" y="66"/>
                  </a:lnTo>
                  <a:lnTo>
                    <a:pt x="244" y="65"/>
                  </a:lnTo>
                  <a:lnTo>
                    <a:pt x="244" y="64"/>
                  </a:lnTo>
                  <a:lnTo>
                    <a:pt x="244" y="61"/>
                  </a:lnTo>
                  <a:lnTo>
                    <a:pt x="244" y="59"/>
                  </a:lnTo>
                  <a:lnTo>
                    <a:pt x="241" y="58"/>
                  </a:lnTo>
                  <a:lnTo>
                    <a:pt x="240" y="56"/>
                  </a:lnTo>
                  <a:lnTo>
                    <a:pt x="238" y="55"/>
                  </a:lnTo>
                  <a:lnTo>
                    <a:pt x="236" y="56"/>
                  </a:lnTo>
                  <a:lnTo>
                    <a:pt x="236" y="58"/>
                  </a:lnTo>
                  <a:lnTo>
                    <a:pt x="234" y="60"/>
                  </a:lnTo>
                  <a:lnTo>
                    <a:pt x="233" y="62"/>
                  </a:lnTo>
                  <a:lnTo>
                    <a:pt x="230" y="66"/>
                  </a:lnTo>
                  <a:lnTo>
                    <a:pt x="228" y="65"/>
                  </a:lnTo>
                  <a:lnTo>
                    <a:pt x="229" y="64"/>
                  </a:lnTo>
                  <a:lnTo>
                    <a:pt x="230" y="62"/>
                  </a:lnTo>
                  <a:lnTo>
                    <a:pt x="230" y="61"/>
                  </a:lnTo>
                  <a:lnTo>
                    <a:pt x="229" y="61"/>
                  </a:lnTo>
                  <a:lnTo>
                    <a:pt x="230" y="60"/>
                  </a:lnTo>
                  <a:lnTo>
                    <a:pt x="232" y="59"/>
                  </a:lnTo>
                  <a:lnTo>
                    <a:pt x="230" y="58"/>
                  </a:lnTo>
                  <a:lnTo>
                    <a:pt x="232" y="56"/>
                  </a:lnTo>
                  <a:lnTo>
                    <a:pt x="233" y="56"/>
                  </a:lnTo>
                  <a:lnTo>
                    <a:pt x="232" y="54"/>
                  </a:lnTo>
                  <a:lnTo>
                    <a:pt x="234" y="54"/>
                  </a:lnTo>
                  <a:lnTo>
                    <a:pt x="235" y="52"/>
                  </a:lnTo>
                  <a:lnTo>
                    <a:pt x="234" y="52"/>
                  </a:lnTo>
                  <a:lnTo>
                    <a:pt x="235" y="50"/>
                  </a:lnTo>
                  <a:lnTo>
                    <a:pt x="236" y="49"/>
                  </a:lnTo>
                  <a:lnTo>
                    <a:pt x="238" y="48"/>
                  </a:lnTo>
                  <a:lnTo>
                    <a:pt x="236" y="46"/>
                  </a:lnTo>
                  <a:lnTo>
                    <a:pt x="234" y="44"/>
                  </a:lnTo>
                  <a:lnTo>
                    <a:pt x="233" y="43"/>
                  </a:lnTo>
                  <a:lnTo>
                    <a:pt x="232" y="43"/>
                  </a:lnTo>
                  <a:lnTo>
                    <a:pt x="230" y="44"/>
                  </a:lnTo>
                  <a:lnTo>
                    <a:pt x="230" y="48"/>
                  </a:lnTo>
                  <a:lnTo>
                    <a:pt x="228" y="47"/>
                  </a:lnTo>
                  <a:lnTo>
                    <a:pt x="228" y="48"/>
                  </a:lnTo>
                  <a:lnTo>
                    <a:pt x="228" y="50"/>
                  </a:lnTo>
                  <a:lnTo>
                    <a:pt x="227" y="53"/>
                  </a:lnTo>
                  <a:lnTo>
                    <a:pt x="226" y="53"/>
                  </a:lnTo>
                  <a:lnTo>
                    <a:pt x="226" y="54"/>
                  </a:lnTo>
                  <a:lnTo>
                    <a:pt x="226" y="56"/>
                  </a:lnTo>
                  <a:lnTo>
                    <a:pt x="224" y="56"/>
                  </a:lnTo>
                  <a:lnTo>
                    <a:pt x="223" y="54"/>
                  </a:lnTo>
                  <a:lnTo>
                    <a:pt x="224" y="52"/>
                  </a:lnTo>
                  <a:lnTo>
                    <a:pt x="224" y="49"/>
                  </a:lnTo>
                  <a:lnTo>
                    <a:pt x="224" y="48"/>
                  </a:lnTo>
                  <a:lnTo>
                    <a:pt x="223" y="47"/>
                  </a:lnTo>
                  <a:lnTo>
                    <a:pt x="224" y="46"/>
                  </a:lnTo>
                  <a:lnTo>
                    <a:pt x="226" y="43"/>
                  </a:lnTo>
                  <a:lnTo>
                    <a:pt x="224" y="41"/>
                  </a:lnTo>
                  <a:lnTo>
                    <a:pt x="223" y="40"/>
                  </a:lnTo>
                  <a:lnTo>
                    <a:pt x="221" y="40"/>
                  </a:lnTo>
                  <a:lnTo>
                    <a:pt x="220" y="41"/>
                  </a:lnTo>
                  <a:lnTo>
                    <a:pt x="220" y="43"/>
                  </a:lnTo>
                  <a:lnTo>
                    <a:pt x="218" y="43"/>
                  </a:lnTo>
                  <a:lnTo>
                    <a:pt x="217" y="41"/>
                  </a:lnTo>
                  <a:lnTo>
                    <a:pt x="217" y="40"/>
                  </a:lnTo>
                  <a:lnTo>
                    <a:pt x="216" y="41"/>
                  </a:lnTo>
                  <a:lnTo>
                    <a:pt x="215" y="40"/>
                  </a:lnTo>
                  <a:lnTo>
                    <a:pt x="215" y="37"/>
                  </a:lnTo>
                  <a:lnTo>
                    <a:pt x="214" y="37"/>
                  </a:lnTo>
                  <a:lnTo>
                    <a:pt x="214" y="35"/>
                  </a:lnTo>
                  <a:lnTo>
                    <a:pt x="212" y="34"/>
                  </a:lnTo>
                  <a:lnTo>
                    <a:pt x="210" y="32"/>
                  </a:lnTo>
                  <a:lnTo>
                    <a:pt x="209" y="31"/>
                  </a:lnTo>
                  <a:lnTo>
                    <a:pt x="206" y="32"/>
                  </a:lnTo>
                  <a:lnTo>
                    <a:pt x="206" y="36"/>
                  </a:lnTo>
                  <a:lnTo>
                    <a:pt x="206" y="37"/>
                  </a:lnTo>
                  <a:lnTo>
                    <a:pt x="209" y="40"/>
                  </a:lnTo>
                  <a:lnTo>
                    <a:pt x="206" y="41"/>
                  </a:lnTo>
                  <a:lnTo>
                    <a:pt x="205" y="41"/>
                  </a:lnTo>
                  <a:lnTo>
                    <a:pt x="205" y="43"/>
                  </a:lnTo>
                  <a:lnTo>
                    <a:pt x="208" y="44"/>
                  </a:lnTo>
                  <a:lnTo>
                    <a:pt x="210" y="47"/>
                  </a:lnTo>
                  <a:lnTo>
                    <a:pt x="211" y="48"/>
                  </a:lnTo>
                  <a:lnTo>
                    <a:pt x="214" y="50"/>
                  </a:lnTo>
                  <a:lnTo>
                    <a:pt x="214" y="52"/>
                  </a:lnTo>
                  <a:lnTo>
                    <a:pt x="212" y="52"/>
                  </a:lnTo>
                  <a:lnTo>
                    <a:pt x="209" y="50"/>
                  </a:lnTo>
                  <a:lnTo>
                    <a:pt x="206" y="50"/>
                  </a:lnTo>
                  <a:lnTo>
                    <a:pt x="205" y="52"/>
                  </a:lnTo>
                  <a:lnTo>
                    <a:pt x="206" y="53"/>
                  </a:lnTo>
                  <a:lnTo>
                    <a:pt x="208" y="55"/>
                  </a:lnTo>
                  <a:lnTo>
                    <a:pt x="209" y="56"/>
                  </a:lnTo>
                  <a:lnTo>
                    <a:pt x="210" y="60"/>
                  </a:lnTo>
                  <a:lnTo>
                    <a:pt x="211" y="61"/>
                  </a:lnTo>
                  <a:lnTo>
                    <a:pt x="210" y="62"/>
                  </a:lnTo>
                  <a:lnTo>
                    <a:pt x="208" y="62"/>
                  </a:lnTo>
                  <a:lnTo>
                    <a:pt x="205" y="62"/>
                  </a:lnTo>
                  <a:lnTo>
                    <a:pt x="204" y="61"/>
                  </a:lnTo>
                  <a:lnTo>
                    <a:pt x="204" y="60"/>
                  </a:lnTo>
                  <a:lnTo>
                    <a:pt x="203" y="60"/>
                  </a:lnTo>
                  <a:lnTo>
                    <a:pt x="199" y="61"/>
                  </a:lnTo>
                  <a:lnTo>
                    <a:pt x="197" y="64"/>
                  </a:lnTo>
                  <a:lnTo>
                    <a:pt x="196" y="66"/>
                  </a:lnTo>
                  <a:lnTo>
                    <a:pt x="197" y="66"/>
                  </a:lnTo>
                  <a:lnTo>
                    <a:pt x="198" y="68"/>
                  </a:lnTo>
                  <a:lnTo>
                    <a:pt x="199" y="71"/>
                  </a:lnTo>
                  <a:lnTo>
                    <a:pt x="200" y="72"/>
                  </a:lnTo>
                  <a:lnTo>
                    <a:pt x="203" y="73"/>
                  </a:lnTo>
                  <a:lnTo>
                    <a:pt x="204" y="76"/>
                  </a:lnTo>
                  <a:lnTo>
                    <a:pt x="205" y="77"/>
                  </a:lnTo>
                  <a:lnTo>
                    <a:pt x="208" y="78"/>
                  </a:lnTo>
                  <a:lnTo>
                    <a:pt x="209" y="79"/>
                  </a:lnTo>
                  <a:lnTo>
                    <a:pt x="210" y="78"/>
                  </a:lnTo>
                  <a:lnTo>
                    <a:pt x="211" y="77"/>
                  </a:lnTo>
                  <a:lnTo>
                    <a:pt x="212" y="77"/>
                  </a:lnTo>
                  <a:lnTo>
                    <a:pt x="215" y="77"/>
                  </a:lnTo>
                  <a:lnTo>
                    <a:pt x="217" y="78"/>
                  </a:lnTo>
                  <a:lnTo>
                    <a:pt x="217" y="79"/>
                  </a:lnTo>
                  <a:lnTo>
                    <a:pt x="216" y="82"/>
                  </a:lnTo>
                  <a:lnTo>
                    <a:pt x="215" y="80"/>
                  </a:lnTo>
                  <a:lnTo>
                    <a:pt x="214" y="79"/>
                  </a:lnTo>
                  <a:lnTo>
                    <a:pt x="211" y="79"/>
                  </a:lnTo>
                  <a:lnTo>
                    <a:pt x="209" y="79"/>
                  </a:lnTo>
                  <a:lnTo>
                    <a:pt x="206" y="80"/>
                  </a:lnTo>
                  <a:lnTo>
                    <a:pt x="205" y="79"/>
                  </a:lnTo>
                  <a:lnTo>
                    <a:pt x="204" y="78"/>
                  </a:lnTo>
                  <a:lnTo>
                    <a:pt x="200" y="77"/>
                  </a:lnTo>
                  <a:lnTo>
                    <a:pt x="200" y="79"/>
                  </a:lnTo>
                  <a:lnTo>
                    <a:pt x="199" y="80"/>
                  </a:lnTo>
                  <a:lnTo>
                    <a:pt x="200" y="82"/>
                  </a:lnTo>
                  <a:lnTo>
                    <a:pt x="203" y="84"/>
                  </a:lnTo>
                  <a:lnTo>
                    <a:pt x="205" y="85"/>
                  </a:lnTo>
                  <a:lnTo>
                    <a:pt x="205" y="88"/>
                  </a:lnTo>
                  <a:lnTo>
                    <a:pt x="203" y="89"/>
                  </a:lnTo>
                  <a:lnTo>
                    <a:pt x="203" y="90"/>
                  </a:lnTo>
                  <a:lnTo>
                    <a:pt x="204" y="90"/>
                  </a:lnTo>
                  <a:lnTo>
                    <a:pt x="205" y="91"/>
                  </a:lnTo>
                  <a:lnTo>
                    <a:pt x="208" y="94"/>
                  </a:lnTo>
                  <a:lnTo>
                    <a:pt x="206" y="95"/>
                  </a:lnTo>
                  <a:lnTo>
                    <a:pt x="205" y="95"/>
                  </a:lnTo>
                  <a:lnTo>
                    <a:pt x="205" y="94"/>
                  </a:lnTo>
                  <a:lnTo>
                    <a:pt x="204" y="91"/>
                  </a:lnTo>
                  <a:lnTo>
                    <a:pt x="203" y="91"/>
                  </a:lnTo>
                  <a:lnTo>
                    <a:pt x="202" y="94"/>
                  </a:lnTo>
                  <a:lnTo>
                    <a:pt x="200" y="95"/>
                  </a:lnTo>
                  <a:lnTo>
                    <a:pt x="199" y="96"/>
                  </a:lnTo>
                  <a:lnTo>
                    <a:pt x="199" y="97"/>
                  </a:lnTo>
                  <a:lnTo>
                    <a:pt x="202" y="98"/>
                  </a:lnTo>
                  <a:lnTo>
                    <a:pt x="203" y="98"/>
                  </a:lnTo>
                  <a:lnTo>
                    <a:pt x="204" y="98"/>
                  </a:lnTo>
                  <a:lnTo>
                    <a:pt x="205" y="101"/>
                  </a:lnTo>
                  <a:lnTo>
                    <a:pt x="208" y="101"/>
                  </a:lnTo>
                  <a:lnTo>
                    <a:pt x="209" y="100"/>
                  </a:lnTo>
                  <a:lnTo>
                    <a:pt x="210" y="98"/>
                  </a:lnTo>
                  <a:lnTo>
                    <a:pt x="211" y="98"/>
                  </a:lnTo>
                  <a:lnTo>
                    <a:pt x="215" y="98"/>
                  </a:lnTo>
                  <a:lnTo>
                    <a:pt x="216" y="98"/>
                  </a:lnTo>
                  <a:lnTo>
                    <a:pt x="218" y="98"/>
                  </a:lnTo>
                  <a:lnTo>
                    <a:pt x="220" y="98"/>
                  </a:lnTo>
                  <a:lnTo>
                    <a:pt x="222" y="101"/>
                  </a:lnTo>
                  <a:lnTo>
                    <a:pt x="222" y="102"/>
                  </a:lnTo>
                  <a:lnTo>
                    <a:pt x="223" y="103"/>
                  </a:lnTo>
                  <a:lnTo>
                    <a:pt x="224" y="103"/>
                  </a:lnTo>
                  <a:lnTo>
                    <a:pt x="226" y="103"/>
                  </a:lnTo>
                  <a:lnTo>
                    <a:pt x="227" y="102"/>
                  </a:lnTo>
                  <a:lnTo>
                    <a:pt x="228" y="101"/>
                  </a:lnTo>
                  <a:lnTo>
                    <a:pt x="230" y="102"/>
                  </a:lnTo>
                  <a:lnTo>
                    <a:pt x="232" y="102"/>
                  </a:lnTo>
                  <a:lnTo>
                    <a:pt x="234" y="103"/>
                  </a:lnTo>
                  <a:lnTo>
                    <a:pt x="235" y="106"/>
                  </a:lnTo>
                  <a:lnTo>
                    <a:pt x="233" y="107"/>
                  </a:lnTo>
                  <a:lnTo>
                    <a:pt x="232" y="106"/>
                  </a:lnTo>
                  <a:lnTo>
                    <a:pt x="229" y="106"/>
                  </a:lnTo>
                  <a:lnTo>
                    <a:pt x="228" y="105"/>
                  </a:lnTo>
                  <a:lnTo>
                    <a:pt x="228" y="103"/>
                  </a:lnTo>
                  <a:lnTo>
                    <a:pt x="227" y="105"/>
                  </a:lnTo>
                  <a:lnTo>
                    <a:pt x="226" y="106"/>
                  </a:lnTo>
                  <a:lnTo>
                    <a:pt x="224" y="107"/>
                  </a:lnTo>
                  <a:lnTo>
                    <a:pt x="222" y="107"/>
                  </a:lnTo>
                  <a:lnTo>
                    <a:pt x="220" y="108"/>
                  </a:lnTo>
                  <a:lnTo>
                    <a:pt x="217" y="107"/>
                  </a:lnTo>
                  <a:lnTo>
                    <a:pt x="217" y="106"/>
                  </a:lnTo>
                  <a:lnTo>
                    <a:pt x="217" y="105"/>
                  </a:lnTo>
                  <a:lnTo>
                    <a:pt x="216" y="103"/>
                  </a:lnTo>
                  <a:lnTo>
                    <a:pt x="215" y="103"/>
                  </a:lnTo>
                  <a:lnTo>
                    <a:pt x="215" y="105"/>
                  </a:lnTo>
                  <a:lnTo>
                    <a:pt x="214" y="105"/>
                  </a:lnTo>
                  <a:lnTo>
                    <a:pt x="212" y="106"/>
                  </a:lnTo>
                  <a:lnTo>
                    <a:pt x="214" y="107"/>
                  </a:lnTo>
                  <a:lnTo>
                    <a:pt x="214" y="109"/>
                  </a:lnTo>
                  <a:lnTo>
                    <a:pt x="212" y="109"/>
                  </a:lnTo>
                  <a:lnTo>
                    <a:pt x="211" y="109"/>
                  </a:lnTo>
                  <a:lnTo>
                    <a:pt x="211" y="108"/>
                  </a:lnTo>
                  <a:lnTo>
                    <a:pt x="211" y="106"/>
                  </a:lnTo>
                  <a:lnTo>
                    <a:pt x="209" y="107"/>
                  </a:lnTo>
                  <a:lnTo>
                    <a:pt x="208" y="107"/>
                  </a:lnTo>
                  <a:lnTo>
                    <a:pt x="208" y="105"/>
                  </a:lnTo>
                  <a:lnTo>
                    <a:pt x="208" y="103"/>
                  </a:lnTo>
                  <a:lnTo>
                    <a:pt x="206" y="102"/>
                  </a:lnTo>
                  <a:lnTo>
                    <a:pt x="204" y="102"/>
                  </a:lnTo>
                  <a:lnTo>
                    <a:pt x="202" y="103"/>
                  </a:lnTo>
                  <a:lnTo>
                    <a:pt x="199" y="103"/>
                  </a:lnTo>
                  <a:lnTo>
                    <a:pt x="198" y="105"/>
                  </a:lnTo>
                  <a:lnTo>
                    <a:pt x="197" y="105"/>
                  </a:lnTo>
                  <a:lnTo>
                    <a:pt x="198" y="107"/>
                  </a:lnTo>
                  <a:lnTo>
                    <a:pt x="199" y="109"/>
                  </a:lnTo>
                  <a:lnTo>
                    <a:pt x="200" y="111"/>
                  </a:lnTo>
                  <a:lnTo>
                    <a:pt x="202" y="112"/>
                  </a:lnTo>
                  <a:lnTo>
                    <a:pt x="203" y="113"/>
                  </a:lnTo>
                  <a:lnTo>
                    <a:pt x="203" y="114"/>
                  </a:lnTo>
                  <a:lnTo>
                    <a:pt x="204" y="115"/>
                  </a:lnTo>
                  <a:lnTo>
                    <a:pt x="206" y="117"/>
                  </a:lnTo>
                  <a:lnTo>
                    <a:pt x="208" y="118"/>
                  </a:lnTo>
                  <a:lnTo>
                    <a:pt x="205" y="119"/>
                  </a:lnTo>
                  <a:lnTo>
                    <a:pt x="204" y="120"/>
                  </a:lnTo>
                  <a:lnTo>
                    <a:pt x="203" y="118"/>
                  </a:lnTo>
                  <a:lnTo>
                    <a:pt x="200" y="118"/>
                  </a:lnTo>
                  <a:lnTo>
                    <a:pt x="200" y="119"/>
                  </a:lnTo>
                  <a:lnTo>
                    <a:pt x="199" y="120"/>
                  </a:lnTo>
                  <a:lnTo>
                    <a:pt x="198" y="120"/>
                  </a:lnTo>
                  <a:lnTo>
                    <a:pt x="197" y="119"/>
                  </a:lnTo>
                  <a:lnTo>
                    <a:pt x="197" y="117"/>
                  </a:lnTo>
                  <a:lnTo>
                    <a:pt x="196" y="117"/>
                  </a:lnTo>
                  <a:lnTo>
                    <a:pt x="194" y="117"/>
                  </a:lnTo>
                  <a:lnTo>
                    <a:pt x="193" y="117"/>
                  </a:lnTo>
                  <a:lnTo>
                    <a:pt x="192" y="118"/>
                  </a:lnTo>
                  <a:lnTo>
                    <a:pt x="191" y="118"/>
                  </a:lnTo>
                  <a:lnTo>
                    <a:pt x="191" y="119"/>
                  </a:lnTo>
                  <a:lnTo>
                    <a:pt x="191" y="121"/>
                  </a:lnTo>
                  <a:lnTo>
                    <a:pt x="192" y="121"/>
                  </a:lnTo>
                  <a:lnTo>
                    <a:pt x="194" y="124"/>
                  </a:lnTo>
                  <a:lnTo>
                    <a:pt x="196" y="126"/>
                  </a:lnTo>
                  <a:lnTo>
                    <a:pt x="198" y="125"/>
                  </a:lnTo>
                  <a:lnTo>
                    <a:pt x="199" y="125"/>
                  </a:lnTo>
                  <a:lnTo>
                    <a:pt x="202" y="125"/>
                  </a:lnTo>
                  <a:lnTo>
                    <a:pt x="203" y="125"/>
                  </a:lnTo>
                  <a:lnTo>
                    <a:pt x="204" y="125"/>
                  </a:lnTo>
                  <a:lnTo>
                    <a:pt x="206" y="125"/>
                  </a:lnTo>
                  <a:lnTo>
                    <a:pt x="208" y="125"/>
                  </a:lnTo>
                  <a:lnTo>
                    <a:pt x="209" y="124"/>
                  </a:lnTo>
                  <a:lnTo>
                    <a:pt x="209" y="123"/>
                  </a:lnTo>
                  <a:lnTo>
                    <a:pt x="210" y="120"/>
                  </a:lnTo>
                  <a:lnTo>
                    <a:pt x="211" y="119"/>
                  </a:lnTo>
                  <a:lnTo>
                    <a:pt x="212" y="119"/>
                  </a:lnTo>
                  <a:lnTo>
                    <a:pt x="216" y="118"/>
                  </a:lnTo>
                  <a:lnTo>
                    <a:pt x="218" y="117"/>
                  </a:lnTo>
                  <a:lnTo>
                    <a:pt x="220" y="115"/>
                  </a:lnTo>
                  <a:lnTo>
                    <a:pt x="221" y="114"/>
                  </a:lnTo>
                  <a:lnTo>
                    <a:pt x="222" y="113"/>
                  </a:lnTo>
                  <a:lnTo>
                    <a:pt x="224" y="114"/>
                  </a:lnTo>
                  <a:lnTo>
                    <a:pt x="226" y="115"/>
                  </a:lnTo>
                  <a:lnTo>
                    <a:pt x="226" y="118"/>
                  </a:lnTo>
                  <a:lnTo>
                    <a:pt x="224" y="118"/>
                  </a:lnTo>
                  <a:lnTo>
                    <a:pt x="223" y="117"/>
                  </a:lnTo>
                  <a:lnTo>
                    <a:pt x="221" y="118"/>
                  </a:lnTo>
                  <a:lnTo>
                    <a:pt x="218" y="119"/>
                  </a:lnTo>
                  <a:lnTo>
                    <a:pt x="218" y="121"/>
                  </a:lnTo>
                  <a:lnTo>
                    <a:pt x="217" y="123"/>
                  </a:lnTo>
                  <a:lnTo>
                    <a:pt x="217" y="124"/>
                  </a:lnTo>
                  <a:lnTo>
                    <a:pt x="215" y="124"/>
                  </a:lnTo>
                  <a:lnTo>
                    <a:pt x="215" y="121"/>
                  </a:lnTo>
                  <a:lnTo>
                    <a:pt x="214" y="123"/>
                  </a:lnTo>
                  <a:lnTo>
                    <a:pt x="212" y="124"/>
                  </a:lnTo>
                  <a:lnTo>
                    <a:pt x="212" y="126"/>
                  </a:lnTo>
                  <a:lnTo>
                    <a:pt x="211" y="127"/>
                  </a:lnTo>
                  <a:lnTo>
                    <a:pt x="209" y="130"/>
                  </a:lnTo>
                  <a:lnTo>
                    <a:pt x="208" y="129"/>
                  </a:lnTo>
                  <a:lnTo>
                    <a:pt x="208" y="127"/>
                  </a:lnTo>
                  <a:lnTo>
                    <a:pt x="206" y="127"/>
                  </a:lnTo>
                  <a:lnTo>
                    <a:pt x="204" y="129"/>
                  </a:lnTo>
                  <a:lnTo>
                    <a:pt x="204" y="130"/>
                  </a:lnTo>
                  <a:lnTo>
                    <a:pt x="202" y="130"/>
                  </a:lnTo>
                  <a:lnTo>
                    <a:pt x="200" y="129"/>
                  </a:lnTo>
                  <a:lnTo>
                    <a:pt x="198" y="129"/>
                  </a:lnTo>
                  <a:lnTo>
                    <a:pt x="197" y="127"/>
                  </a:lnTo>
                  <a:lnTo>
                    <a:pt x="194" y="127"/>
                  </a:lnTo>
                  <a:lnTo>
                    <a:pt x="194" y="126"/>
                  </a:lnTo>
                  <a:lnTo>
                    <a:pt x="193" y="126"/>
                  </a:lnTo>
                  <a:lnTo>
                    <a:pt x="193" y="125"/>
                  </a:lnTo>
                  <a:lnTo>
                    <a:pt x="191" y="124"/>
                  </a:lnTo>
                  <a:lnTo>
                    <a:pt x="189" y="125"/>
                  </a:lnTo>
                  <a:lnTo>
                    <a:pt x="188" y="126"/>
                  </a:lnTo>
                  <a:lnTo>
                    <a:pt x="187" y="124"/>
                  </a:lnTo>
                  <a:lnTo>
                    <a:pt x="186" y="123"/>
                  </a:lnTo>
                  <a:lnTo>
                    <a:pt x="185" y="120"/>
                  </a:lnTo>
                  <a:lnTo>
                    <a:pt x="183" y="119"/>
                  </a:lnTo>
                  <a:lnTo>
                    <a:pt x="182" y="118"/>
                  </a:lnTo>
                  <a:lnTo>
                    <a:pt x="180" y="117"/>
                  </a:lnTo>
                  <a:lnTo>
                    <a:pt x="180" y="114"/>
                  </a:lnTo>
                  <a:lnTo>
                    <a:pt x="180" y="113"/>
                  </a:lnTo>
                  <a:lnTo>
                    <a:pt x="177" y="112"/>
                  </a:lnTo>
                  <a:lnTo>
                    <a:pt x="175" y="113"/>
                  </a:lnTo>
                  <a:lnTo>
                    <a:pt x="175" y="114"/>
                  </a:lnTo>
                  <a:lnTo>
                    <a:pt x="175" y="115"/>
                  </a:lnTo>
                  <a:lnTo>
                    <a:pt x="175" y="117"/>
                  </a:lnTo>
                  <a:lnTo>
                    <a:pt x="176" y="120"/>
                  </a:lnTo>
                  <a:lnTo>
                    <a:pt x="176" y="121"/>
                  </a:lnTo>
                  <a:lnTo>
                    <a:pt x="175" y="123"/>
                  </a:lnTo>
                  <a:lnTo>
                    <a:pt x="173" y="121"/>
                  </a:lnTo>
                  <a:lnTo>
                    <a:pt x="171" y="120"/>
                  </a:lnTo>
                  <a:lnTo>
                    <a:pt x="170" y="119"/>
                  </a:lnTo>
                  <a:lnTo>
                    <a:pt x="169" y="119"/>
                  </a:lnTo>
                  <a:lnTo>
                    <a:pt x="168" y="119"/>
                  </a:lnTo>
                  <a:lnTo>
                    <a:pt x="165" y="119"/>
                  </a:lnTo>
                  <a:lnTo>
                    <a:pt x="163" y="118"/>
                  </a:lnTo>
                  <a:lnTo>
                    <a:pt x="162" y="118"/>
                  </a:lnTo>
                  <a:lnTo>
                    <a:pt x="161" y="117"/>
                  </a:lnTo>
                  <a:lnTo>
                    <a:pt x="157" y="118"/>
                  </a:lnTo>
                  <a:lnTo>
                    <a:pt x="157" y="117"/>
                  </a:lnTo>
                  <a:lnTo>
                    <a:pt x="156" y="115"/>
                  </a:lnTo>
                  <a:lnTo>
                    <a:pt x="155" y="114"/>
                  </a:lnTo>
                  <a:lnTo>
                    <a:pt x="155" y="113"/>
                  </a:lnTo>
                  <a:lnTo>
                    <a:pt x="152" y="112"/>
                  </a:lnTo>
                  <a:lnTo>
                    <a:pt x="151" y="111"/>
                  </a:lnTo>
                  <a:lnTo>
                    <a:pt x="151" y="112"/>
                  </a:lnTo>
                  <a:lnTo>
                    <a:pt x="149" y="112"/>
                  </a:lnTo>
                  <a:lnTo>
                    <a:pt x="147" y="113"/>
                  </a:lnTo>
                  <a:lnTo>
                    <a:pt x="147" y="115"/>
                  </a:lnTo>
                  <a:lnTo>
                    <a:pt x="150" y="117"/>
                  </a:lnTo>
                  <a:lnTo>
                    <a:pt x="150" y="118"/>
                  </a:lnTo>
                  <a:lnTo>
                    <a:pt x="147" y="119"/>
                  </a:lnTo>
                  <a:lnTo>
                    <a:pt x="146" y="118"/>
                  </a:lnTo>
                  <a:lnTo>
                    <a:pt x="145" y="117"/>
                  </a:lnTo>
                  <a:lnTo>
                    <a:pt x="145" y="114"/>
                  </a:lnTo>
                  <a:lnTo>
                    <a:pt x="144" y="113"/>
                  </a:lnTo>
                  <a:lnTo>
                    <a:pt x="143" y="114"/>
                  </a:lnTo>
                  <a:lnTo>
                    <a:pt x="140" y="115"/>
                  </a:lnTo>
                  <a:lnTo>
                    <a:pt x="139" y="115"/>
                  </a:lnTo>
                  <a:lnTo>
                    <a:pt x="138" y="117"/>
                  </a:lnTo>
                  <a:lnTo>
                    <a:pt x="139" y="119"/>
                  </a:lnTo>
                  <a:lnTo>
                    <a:pt x="140" y="120"/>
                  </a:lnTo>
                  <a:lnTo>
                    <a:pt x="143" y="120"/>
                  </a:lnTo>
                  <a:lnTo>
                    <a:pt x="143" y="123"/>
                  </a:lnTo>
                  <a:lnTo>
                    <a:pt x="143" y="125"/>
                  </a:lnTo>
                  <a:lnTo>
                    <a:pt x="144" y="126"/>
                  </a:lnTo>
                  <a:lnTo>
                    <a:pt x="145" y="125"/>
                  </a:lnTo>
                  <a:lnTo>
                    <a:pt x="146" y="125"/>
                  </a:lnTo>
                  <a:lnTo>
                    <a:pt x="149" y="125"/>
                  </a:lnTo>
                  <a:lnTo>
                    <a:pt x="147" y="126"/>
                  </a:lnTo>
                  <a:lnTo>
                    <a:pt x="145" y="127"/>
                  </a:lnTo>
                  <a:lnTo>
                    <a:pt x="143" y="129"/>
                  </a:lnTo>
                  <a:lnTo>
                    <a:pt x="141" y="129"/>
                  </a:lnTo>
                  <a:lnTo>
                    <a:pt x="143" y="131"/>
                  </a:lnTo>
                  <a:lnTo>
                    <a:pt x="145" y="131"/>
                  </a:lnTo>
                  <a:lnTo>
                    <a:pt x="147" y="132"/>
                  </a:lnTo>
                  <a:lnTo>
                    <a:pt x="149" y="133"/>
                  </a:lnTo>
                  <a:lnTo>
                    <a:pt x="150" y="135"/>
                  </a:lnTo>
                  <a:lnTo>
                    <a:pt x="151" y="133"/>
                  </a:lnTo>
                  <a:lnTo>
                    <a:pt x="152" y="132"/>
                  </a:lnTo>
                  <a:lnTo>
                    <a:pt x="155" y="132"/>
                  </a:lnTo>
                  <a:lnTo>
                    <a:pt x="156" y="132"/>
                  </a:lnTo>
                  <a:lnTo>
                    <a:pt x="157" y="132"/>
                  </a:lnTo>
                  <a:lnTo>
                    <a:pt x="158" y="133"/>
                  </a:lnTo>
                  <a:lnTo>
                    <a:pt x="158" y="136"/>
                  </a:lnTo>
                  <a:lnTo>
                    <a:pt x="159" y="138"/>
                  </a:lnTo>
                  <a:lnTo>
                    <a:pt x="162" y="138"/>
                  </a:lnTo>
                  <a:lnTo>
                    <a:pt x="164" y="138"/>
                  </a:lnTo>
                  <a:lnTo>
                    <a:pt x="165" y="137"/>
                  </a:lnTo>
                  <a:lnTo>
                    <a:pt x="167" y="137"/>
                  </a:lnTo>
                  <a:lnTo>
                    <a:pt x="168" y="137"/>
                  </a:lnTo>
                  <a:lnTo>
                    <a:pt x="170" y="138"/>
                  </a:lnTo>
                  <a:lnTo>
                    <a:pt x="171" y="138"/>
                  </a:lnTo>
                  <a:lnTo>
                    <a:pt x="174" y="138"/>
                  </a:lnTo>
                  <a:lnTo>
                    <a:pt x="175" y="136"/>
                  </a:lnTo>
                  <a:lnTo>
                    <a:pt x="175" y="133"/>
                  </a:lnTo>
                  <a:lnTo>
                    <a:pt x="175" y="135"/>
                  </a:lnTo>
                  <a:lnTo>
                    <a:pt x="176" y="135"/>
                  </a:lnTo>
                  <a:lnTo>
                    <a:pt x="177" y="136"/>
                  </a:lnTo>
                  <a:lnTo>
                    <a:pt x="179" y="137"/>
                  </a:lnTo>
                  <a:lnTo>
                    <a:pt x="181" y="138"/>
                  </a:lnTo>
                  <a:lnTo>
                    <a:pt x="180" y="139"/>
                  </a:lnTo>
                  <a:lnTo>
                    <a:pt x="179" y="141"/>
                  </a:lnTo>
                  <a:lnTo>
                    <a:pt x="181" y="142"/>
                  </a:lnTo>
                  <a:lnTo>
                    <a:pt x="180" y="143"/>
                  </a:lnTo>
                  <a:lnTo>
                    <a:pt x="179" y="143"/>
                  </a:lnTo>
                  <a:lnTo>
                    <a:pt x="176" y="144"/>
                  </a:lnTo>
                  <a:lnTo>
                    <a:pt x="174" y="147"/>
                  </a:lnTo>
                  <a:lnTo>
                    <a:pt x="175" y="149"/>
                  </a:lnTo>
                  <a:lnTo>
                    <a:pt x="176" y="150"/>
                  </a:lnTo>
                  <a:lnTo>
                    <a:pt x="179" y="151"/>
                  </a:lnTo>
                  <a:lnTo>
                    <a:pt x="180" y="151"/>
                  </a:lnTo>
                  <a:lnTo>
                    <a:pt x="181" y="153"/>
                  </a:lnTo>
                  <a:lnTo>
                    <a:pt x="181" y="155"/>
                  </a:lnTo>
                  <a:lnTo>
                    <a:pt x="180" y="156"/>
                  </a:lnTo>
                  <a:lnTo>
                    <a:pt x="182" y="157"/>
                  </a:lnTo>
                  <a:lnTo>
                    <a:pt x="183" y="157"/>
                  </a:lnTo>
                  <a:lnTo>
                    <a:pt x="185" y="157"/>
                  </a:lnTo>
                  <a:lnTo>
                    <a:pt x="186" y="159"/>
                  </a:lnTo>
                  <a:lnTo>
                    <a:pt x="185" y="160"/>
                  </a:lnTo>
                  <a:lnTo>
                    <a:pt x="185" y="162"/>
                  </a:lnTo>
                  <a:lnTo>
                    <a:pt x="186" y="163"/>
                  </a:lnTo>
                  <a:lnTo>
                    <a:pt x="185" y="163"/>
                  </a:lnTo>
                  <a:lnTo>
                    <a:pt x="182" y="163"/>
                  </a:lnTo>
                  <a:lnTo>
                    <a:pt x="181" y="163"/>
                  </a:lnTo>
                  <a:lnTo>
                    <a:pt x="181" y="165"/>
                  </a:lnTo>
                  <a:lnTo>
                    <a:pt x="180" y="165"/>
                  </a:lnTo>
                  <a:lnTo>
                    <a:pt x="179" y="166"/>
                  </a:lnTo>
                  <a:lnTo>
                    <a:pt x="180" y="167"/>
                  </a:lnTo>
                  <a:lnTo>
                    <a:pt x="181" y="168"/>
                  </a:lnTo>
                  <a:lnTo>
                    <a:pt x="182" y="169"/>
                  </a:lnTo>
                  <a:lnTo>
                    <a:pt x="183" y="171"/>
                  </a:lnTo>
                  <a:lnTo>
                    <a:pt x="185" y="171"/>
                  </a:lnTo>
                  <a:lnTo>
                    <a:pt x="187" y="171"/>
                  </a:lnTo>
                  <a:lnTo>
                    <a:pt x="188" y="171"/>
                  </a:lnTo>
                  <a:lnTo>
                    <a:pt x="188" y="172"/>
                  </a:lnTo>
                  <a:lnTo>
                    <a:pt x="189" y="174"/>
                  </a:lnTo>
                  <a:lnTo>
                    <a:pt x="192" y="174"/>
                  </a:lnTo>
                  <a:lnTo>
                    <a:pt x="194" y="175"/>
                  </a:lnTo>
                  <a:lnTo>
                    <a:pt x="194" y="174"/>
                  </a:lnTo>
                  <a:lnTo>
                    <a:pt x="196" y="174"/>
                  </a:lnTo>
                  <a:lnTo>
                    <a:pt x="197" y="173"/>
                  </a:lnTo>
                  <a:lnTo>
                    <a:pt x="199" y="172"/>
                  </a:lnTo>
                  <a:lnTo>
                    <a:pt x="200" y="171"/>
                  </a:lnTo>
                  <a:lnTo>
                    <a:pt x="203" y="168"/>
                  </a:lnTo>
                  <a:lnTo>
                    <a:pt x="205" y="168"/>
                  </a:lnTo>
                  <a:lnTo>
                    <a:pt x="206" y="169"/>
                  </a:lnTo>
                  <a:lnTo>
                    <a:pt x="208" y="168"/>
                  </a:lnTo>
                  <a:lnTo>
                    <a:pt x="209" y="168"/>
                  </a:lnTo>
                  <a:lnTo>
                    <a:pt x="210" y="169"/>
                  </a:lnTo>
                  <a:lnTo>
                    <a:pt x="211" y="171"/>
                  </a:lnTo>
                  <a:lnTo>
                    <a:pt x="214" y="171"/>
                  </a:lnTo>
                  <a:lnTo>
                    <a:pt x="216" y="171"/>
                  </a:lnTo>
                  <a:lnTo>
                    <a:pt x="217" y="171"/>
                  </a:lnTo>
                  <a:lnTo>
                    <a:pt x="217" y="168"/>
                  </a:lnTo>
                  <a:lnTo>
                    <a:pt x="218" y="167"/>
                  </a:lnTo>
                  <a:lnTo>
                    <a:pt x="220" y="169"/>
                  </a:lnTo>
                  <a:lnTo>
                    <a:pt x="222" y="168"/>
                  </a:lnTo>
                  <a:lnTo>
                    <a:pt x="223" y="168"/>
                  </a:lnTo>
                  <a:lnTo>
                    <a:pt x="224" y="166"/>
                  </a:lnTo>
                  <a:lnTo>
                    <a:pt x="227" y="165"/>
                  </a:lnTo>
                  <a:lnTo>
                    <a:pt x="227" y="163"/>
                  </a:lnTo>
                  <a:lnTo>
                    <a:pt x="228" y="161"/>
                  </a:lnTo>
                  <a:lnTo>
                    <a:pt x="229" y="161"/>
                  </a:lnTo>
                  <a:lnTo>
                    <a:pt x="232" y="162"/>
                  </a:lnTo>
                  <a:lnTo>
                    <a:pt x="233" y="163"/>
                  </a:lnTo>
                  <a:lnTo>
                    <a:pt x="235" y="163"/>
                  </a:lnTo>
                  <a:lnTo>
                    <a:pt x="238" y="163"/>
                  </a:lnTo>
                  <a:lnTo>
                    <a:pt x="240" y="163"/>
                  </a:lnTo>
                  <a:lnTo>
                    <a:pt x="241" y="163"/>
                  </a:lnTo>
                  <a:lnTo>
                    <a:pt x="242" y="163"/>
                  </a:lnTo>
                  <a:lnTo>
                    <a:pt x="242" y="165"/>
                  </a:lnTo>
                  <a:lnTo>
                    <a:pt x="242" y="166"/>
                  </a:lnTo>
                  <a:lnTo>
                    <a:pt x="241" y="167"/>
                  </a:lnTo>
                  <a:lnTo>
                    <a:pt x="240" y="167"/>
                  </a:lnTo>
                  <a:lnTo>
                    <a:pt x="239" y="167"/>
                  </a:lnTo>
                  <a:lnTo>
                    <a:pt x="239" y="168"/>
                  </a:lnTo>
                  <a:lnTo>
                    <a:pt x="238" y="168"/>
                  </a:lnTo>
                  <a:lnTo>
                    <a:pt x="238" y="171"/>
                  </a:lnTo>
                  <a:lnTo>
                    <a:pt x="236" y="171"/>
                  </a:lnTo>
                  <a:lnTo>
                    <a:pt x="235" y="172"/>
                  </a:lnTo>
                  <a:lnTo>
                    <a:pt x="234" y="172"/>
                  </a:lnTo>
                  <a:lnTo>
                    <a:pt x="232" y="172"/>
                  </a:lnTo>
                  <a:lnTo>
                    <a:pt x="230" y="173"/>
                  </a:lnTo>
                  <a:lnTo>
                    <a:pt x="230" y="174"/>
                  </a:lnTo>
                  <a:lnTo>
                    <a:pt x="229" y="174"/>
                  </a:lnTo>
                  <a:lnTo>
                    <a:pt x="228" y="175"/>
                  </a:lnTo>
                  <a:lnTo>
                    <a:pt x="227" y="175"/>
                  </a:lnTo>
                  <a:lnTo>
                    <a:pt x="227" y="177"/>
                  </a:lnTo>
                  <a:lnTo>
                    <a:pt x="226" y="178"/>
                  </a:lnTo>
                  <a:lnTo>
                    <a:pt x="226" y="180"/>
                  </a:lnTo>
                  <a:lnTo>
                    <a:pt x="228" y="180"/>
                  </a:lnTo>
                  <a:lnTo>
                    <a:pt x="230" y="180"/>
                  </a:lnTo>
                  <a:lnTo>
                    <a:pt x="230" y="179"/>
                  </a:lnTo>
                  <a:lnTo>
                    <a:pt x="232" y="178"/>
                  </a:lnTo>
                  <a:lnTo>
                    <a:pt x="233" y="177"/>
                  </a:lnTo>
                  <a:lnTo>
                    <a:pt x="234" y="177"/>
                  </a:lnTo>
                  <a:lnTo>
                    <a:pt x="235" y="175"/>
                  </a:lnTo>
                  <a:lnTo>
                    <a:pt x="236" y="174"/>
                  </a:lnTo>
                  <a:lnTo>
                    <a:pt x="239" y="173"/>
                  </a:lnTo>
                  <a:lnTo>
                    <a:pt x="241" y="172"/>
                  </a:lnTo>
                  <a:lnTo>
                    <a:pt x="244" y="171"/>
                  </a:lnTo>
                  <a:lnTo>
                    <a:pt x="246" y="171"/>
                  </a:lnTo>
                  <a:lnTo>
                    <a:pt x="245" y="172"/>
                  </a:lnTo>
                  <a:lnTo>
                    <a:pt x="244" y="173"/>
                  </a:lnTo>
                  <a:lnTo>
                    <a:pt x="241" y="174"/>
                  </a:lnTo>
                  <a:lnTo>
                    <a:pt x="240" y="174"/>
                  </a:lnTo>
                  <a:lnTo>
                    <a:pt x="241" y="177"/>
                  </a:lnTo>
                  <a:lnTo>
                    <a:pt x="242" y="175"/>
                  </a:lnTo>
                  <a:lnTo>
                    <a:pt x="244" y="174"/>
                  </a:lnTo>
                  <a:lnTo>
                    <a:pt x="245" y="174"/>
                  </a:lnTo>
                  <a:lnTo>
                    <a:pt x="246" y="173"/>
                  </a:lnTo>
                  <a:lnTo>
                    <a:pt x="247" y="172"/>
                  </a:lnTo>
                  <a:lnTo>
                    <a:pt x="250" y="171"/>
                  </a:lnTo>
                  <a:lnTo>
                    <a:pt x="251" y="171"/>
                  </a:lnTo>
                  <a:lnTo>
                    <a:pt x="251" y="173"/>
                  </a:lnTo>
                  <a:lnTo>
                    <a:pt x="248" y="174"/>
                  </a:lnTo>
                  <a:lnTo>
                    <a:pt x="247" y="175"/>
                  </a:lnTo>
                  <a:lnTo>
                    <a:pt x="247" y="177"/>
                  </a:lnTo>
                  <a:lnTo>
                    <a:pt x="248" y="178"/>
                  </a:lnTo>
                  <a:lnTo>
                    <a:pt x="247" y="179"/>
                  </a:lnTo>
                  <a:lnTo>
                    <a:pt x="246" y="179"/>
                  </a:lnTo>
                  <a:lnTo>
                    <a:pt x="244" y="179"/>
                  </a:lnTo>
                  <a:lnTo>
                    <a:pt x="242" y="181"/>
                  </a:lnTo>
                  <a:lnTo>
                    <a:pt x="241" y="183"/>
                  </a:lnTo>
                  <a:lnTo>
                    <a:pt x="240" y="181"/>
                  </a:lnTo>
                  <a:lnTo>
                    <a:pt x="239" y="180"/>
                  </a:lnTo>
                  <a:lnTo>
                    <a:pt x="236" y="180"/>
                  </a:lnTo>
                  <a:lnTo>
                    <a:pt x="238" y="181"/>
                  </a:lnTo>
                  <a:lnTo>
                    <a:pt x="239" y="183"/>
                  </a:lnTo>
                  <a:lnTo>
                    <a:pt x="239" y="185"/>
                  </a:lnTo>
                  <a:lnTo>
                    <a:pt x="239" y="186"/>
                  </a:lnTo>
                  <a:lnTo>
                    <a:pt x="238" y="189"/>
                  </a:lnTo>
                  <a:lnTo>
                    <a:pt x="238" y="190"/>
                  </a:lnTo>
                  <a:lnTo>
                    <a:pt x="236" y="191"/>
                  </a:lnTo>
                  <a:lnTo>
                    <a:pt x="235" y="192"/>
                  </a:lnTo>
                  <a:lnTo>
                    <a:pt x="234" y="193"/>
                  </a:lnTo>
                  <a:lnTo>
                    <a:pt x="235" y="193"/>
                  </a:lnTo>
                  <a:lnTo>
                    <a:pt x="238" y="195"/>
                  </a:lnTo>
                  <a:lnTo>
                    <a:pt x="240" y="195"/>
                  </a:lnTo>
                  <a:lnTo>
                    <a:pt x="242" y="195"/>
                  </a:lnTo>
                  <a:lnTo>
                    <a:pt x="244" y="193"/>
                  </a:lnTo>
                  <a:lnTo>
                    <a:pt x="246" y="193"/>
                  </a:lnTo>
                  <a:lnTo>
                    <a:pt x="248" y="193"/>
                  </a:lnTo>
                  <a:lnTo>
                    <a:pt x="250" y="192"/>
                  </a:lnTo>
                  <a:lnTo>
                    <a:pt x="251" y="192"/>
                  </a:lnTo>
                  <a:lnTo>
                    <a:pt x="252" y="191"/>
                  </a:lnTo>
                  <a:lnTo>
                    <a:pt x="252" y="190"/>
                  </a:lnTo>
                  <a:lnTo>
                    <a:pt x="251" y="187"/>
                  </a:lnTo>
                  <a:lnTo>
                    <a:pt x="250" y="187"/>
                  </a:lnTo>
                  <a:lnTo>
                    <a:pt x="250" y="185"/>
                  </a:lnTo>
                  <a:lnTo>
                    <a:pt x="250" y="184"/>
                  </a:lnTo>
                  <a:lnTo>
                    <a:pt x="251" y="183"/>
                  </a:lnTo>
                  <a:lnTo>
                    <a:pt x="252" y="183"/>
                  </a:lnTo>
                  <a:lnTo>
                    <a:pt x="252" y="181"/>
                  </a:lnTo>
                  <a:lnTo>
                    <a:pt x="252" y="180"/>
                  </a:lnTo>
                  <a:lnTo>
                    <a:pt x="252" y="179"/>
                  </a:lnTo>
                  <a:lnTo>
                    <a:pt x="251" y="178"/>
                  </a:lnTo>
                  <a:lnTo>
                    <a:pt x="253" y="178"/>
                  </a:lnTo>
                  <a:lnTo>
                    <a:pt x="253" y="177"/>
                  </a:lnTo>
                  <a:lnTo>
                    <a:pt x="253" y="175"/>
                  </a:lnTo>
                  <a:lnTo>
                    <a:pt x="253" y="174"/>
                  </a:lnTo>
                  <a:lnTo>
                    <a:pt x="253" y="173"/>
                  </a:lnTo>
                  <a:lnTo>
                    <a:pt x="255" y="169"/>
                  </a:lnTo>
                  <a:lnTo>
                    <a:pt x="256" y="169"/>
                  </a:lnTo>
                  <a:lnTo>
                    <a:pt x="258" y="168"/>
                  </a:lnTo>
                  <a:lnTo>
                    <a:pt x="257" y="167"/>
                  </a:lnTo>
                  <a:lnTo>
                    <a:pt x="257" y="166"/>
                  </a:lnTo>
                  <a:lnTo>
                    <a:pt x="256" y="165"/>
                  </a:lnTo>
                  <a:lnTo>
                    <a:pt x="255" y="163"/>
                  </a:lnTo>
                  <a:lnTo>
                    <a:pt x="256" y="161"/>
                  </a:lnTo>
                  <a:lnTo>
                    <a:pt x="257" y="161"/>
                  </a:lnTo>
                  <a:lnTo>
                    <a:pt x="258" y="161"/>
                  </a:lnTo>
                  <a:lnTo>
                    <a:pt x="258" y="162"/>
                  </a:lnTo>
                  <a:lnTo>
                    <a:pt x="259" y="162"/>
                  </a:lnTo>
                  <a:lnTo>
                    <a:pt x="261" y="161"/>
                  </a:lnTo>
                  <a:lnTo>
                    <a:pt x="263" y="160"/>
                  </a:lnTo>
                  <a:lnTo>
                    <a:pt x="264" y="160"/>
                  </a:lnTo>
                  <a:lnTo>
                    <a:pt x="267" y="159"/>
                  </a:lnTo>
                  <a:lnTo>
                    <a:pt x="269" y="159"/>
                  </a:lnTo>
                  <a:lnTo>
                    <a:pt x="274" y="159"/>
                  </a:lnTo>
                  <a:lnTo>
                    <a:pt x="276" y="160"/>
                  </a:lnTo>
                  <a:lnTo>
                    <a:pt x="277" y="161"/>
                  </a:lnTo>
                  <a:lnTo>
                    <a:pt x="279" y="162"/>
                  </a:lnTo>
                  <a:lnTo>
                    <a:pt x="280" y="162"/>
                  </a:lnTo>
                  <a:lnTo>
                    <a:pt x="282" y="162"/>
                  </a:lnTo>
                  <a:lnTo>
                    <a:pt x="283" y="161"/>
                  </a:lnTo>
                  <a:lnTo>
                    <a:pt x="285" y="162"/>
                  </a:lnTo>
                  <a:lnTo>
                    <a:pt x="282" y="163"/>
                  </a:lnTo>
                  <a:lnTo>
                    <a:pt x="281" y="163"/>
                  </a:lnTo>
                  <a:lnTo>
                    <a:pt x="280" y="165"/>
                  </a:lnTo>
                  <a:lnTo>
                    <a:pt x="280" y="166"/>
                  </a:lnTo>
                  <a:lnTo>
                    <a:pt x="281" y="167"/>
                  </a:lnTo>
                  <a:lnTo>
                    <a:pt x="282" y="167"/>
                  </a:lnTo>
                  <a:lnTo>
                    <a:pt x="283" y="166"/>
                  </a:lnTo>
                  <a:lnTo>
                    <a:pt x="285" y="166"/>
                  </a:lnTo>
                  <a:lnTo>
                    <a:pt x="287" y="165"/>
                  </a:lnTo>
                  <a:lnTo>
                    <a:pt x="287" y="167"/>
                  </a:lnTo>
                  <a:lnTo>
                    <a:pt x="286" y="168"/>
                  </a:lnTo>
                  <a:lnTo>
                    <a:pt x="285" y="168"/>
                  </a:lnTo>
                  <a:lnTo>
                    <a:pt x="283" y="171"/>
                  </a:lnTo>
                  <a:lnTo>
                    <a:pt x="281" y="172"/>
                  </a:lnTo>
                  <a:lnTo>
                    <a:pt x="280" y="171"/>
                  </a:lnTo>
                  <a:lnTo>
                    <a:pt x="279" y="172"/>
                  </a:lnTo>
                  <a:lnTo>
                    <a:pt x="277" y="173"/>
                  </a:lnTo>
                  <a:lnTo>
                    <a:pt x="277" y="174"/>
                  </a:lnTo>
                  <a:lnTo>
                    <a:pt x="276" y="178"/>
                  </a:lnTo>
                  <a:lnTo>
                    <a:pt x="275" y="177"/>
                  </a:lnTo>
                  <a:lnTo>
                    <a:pt x="275" y="174"/>
                  </a:lnTo>
                  <a:lnTo>
                    <a:pt x="274" y="174"/>
                  </a:lnTo>
                  <a:lnTo>
                    <a:pt x="274" y="175"/>
                  </a:lnTo>
                  <a:lnTo>
                    <a:pt x="273" y="178"/>
                  </a:lnTo>
                  <a:lnTo>
                    <a:pt x="271" y="178"/>
                  </a:lnTo>
                  <a:lnTo>
                    <a:pt x="270" y="177"/>
                  </a:lnTo>
                  <a:lnTo>
                    <a:pt x="270" y="174"/>
                  </a:lnTo>
                  <a:lnTo>
                    <a:pt x="269" y="172"/>
                  </a:lnTo>
                  <a:lnTo>
                    <a:pt x="268" y="172"/>
                  </a:lnTo>
                  <a:lnTo>
                    <a:pt x="267" y="174"/>
                  </a:lnTo>
                  <a:lnTo>
                    <a:pt x="265" y="175"/>
                  </a:lnTo>
                  <a:lnTo>
                    <a:pt x="264" y="174"/>
                  </a:lnTo>
                  <a:lnTo>
                    <a:pt x="262" y="172"/>
                  </a:lnTo>
                  <a:lnTo>
                    <a:pt x="261" y="173"/>
                  </a:lnTo>
                  <a:lnTo>
                    <a:pt x="261" y="174"/>
                  </a:lnTo>
                  <a:lnTo>
                    <a:pt x="262" y="175"/>
                  </a:lnTo>
                  <a:lnTo>
                    <a:pt x="263" y="177"/>
                  </a:lnTo>
                  <a:lnTo>
                    <a:pt x="264" y="177"/>
                  </a:lnTo>
                  <a:lnTo>
                    <a:pt x="267" y="178"/>
                  </a:lnTo>
                  <a:lnTo>
                    <a:pt x="268" y="179"/>
                  </a:lnTo>
                  <a:lnTo>
                    <a:pt x="267" y="180"/>
                  </a:lnTo>
                  <a:lnTo>
                    <a:pt x="263" y="180"/>
                  </a:lnTo>
                  <a:lnTo>
                    <a:pt x="262" y="180"/>
                  </a:lnTo>
                  <a:lnTo>
                    <a:pt x="261" y="181"/>
                  </a:lnTo>
                  <a:lnTo>
                    <a:pt x="261" y="183"/>
                  </a:lnTo>
                  <a:lnTo>
                    <a:pt x="262" y="184"/>
                  </a:lnTo>
                  <a:lnTo>
                    <a:pt x="264" y="184"/>
                  </a:lnTo>
                  <a:lnTo>
                    <a:pt x="267" y="184"/>
                  </a:lnTo>
                  <a:lnTo>
                    <a:pt x="268" y="184"/>
                  </a:lnTo>
                  <a:lnTo>
                    <a:pt x="269" y="183"/>
                  </a:lnTo>
                  <a:lnTo>
                    <a:pt x="270" y="181"/>
                  </a:lnTo>
                  <a:lnTo>
                    <a:pt x="271" y="180"/>
                  </a:lnTo>
                  <a:lnTo>
                    <a:pt x="274" y="179"/>
                  </a:lnTo>
                  <a:lnTo>
                    <a:pt x="275" y="179"/>
                  </a:lnTo>
                  <a:lnTo>
                    <a:pt x="275" y="181"/>
                  </a:lnTo>
                  <a:lnTo>
                    <a:pt x="274" y="183"/>
                  </a:lnTo>
                  <a:lnTo>
                    <a:pt x="275" y="183"/>
                  </a:lnTo>
                  <a:lnTo>
                    <a:pt x="276" y="183"/>
                  </a:lnTo>
                  <a:lnTo>
                    <a:pt x="277" y="181"/>
                  </a:lnTo>
                  <a:lnTo>
                    <a:pt x="279" y="180"/>
                  </a:lnTo>
                  <a:lnTo>
                    <a:pt x="282" y="180"/>
                  </a:lnTo>
                  <a:lnTo>
                    <a:pt x="283" y="179"/>
                  </a:lnTo>
                  <a:lnTo>
                    <a:pt x="283" y="177"/>
                  </a:lnTo>
                  <a:lnTo>
                    <a:pt x="283" y="175"/>
                  </a:lnTo>
                  <a:lnTo>
                    <a:pt x="283" y="174"/>
                  </a:lnTo>
                  <a:lnTo>
                    <a:pt x="283" y="173"/>
                  </a:lnTo>
                  <a:lnTo>
                    <a:pt x="285" y="172"/>
                  </a:lnTo>
                  <a:lnTo>
                    <a:pt x="286" y="171"/>
                  </a:lnTo>
                  <a:lnTo>
                    <a:pt x="287" y="169"/>
                  </a:lnTo>
                  <a:lnTo>
                    <a:pt x="289" y="167"/>
                  </a:lnTo>
                  <a:lnTo>
                    <a:pt x="291" y="166"/>
                  </a:lnTo>
                  <a:lnTo>
                    <a:pt x="292" y="166"/>
                  </a:lnTo>
                  <a:lnTo>
                    <a:pt x="293" y="167"/>
                  </a:lnTo>
                  <a:lnTo>
                    <a:pt x="292" y="168"/>
                  </a:lnTo>
                  <a:lnTo>
                    <a:pt x="292" y="169"/>
                  </a:lnTo>
                  <a:lnTo>
                    <a:pt x="291" y="172"/>
                  </a:lnTo>
                  <a:lnTo>
                    <a:pt x="291" y="174"/>
                  </a:lnTo>
                  <a:lnTo>
                    <a:pt x="292" y="177"/>
                  </a:lnTo>
                  <a:lnTo>
                    <a:pt x="293" y="178"/>
                  </a:lnTo>
                  <a:lnTo>
                    <a:pt x="297" y="180"/>
                  </a:lnTo>
                  <a:lnTo>
                    <a:pt x="301" y="181"/>
                  </a:lnTo>
                  <a:lnTo>
                    <a:pt x="300" y="183"/>
                  </a:lnTo>
                  <a:lnTo>
                    <a:pt x="299" y="183"/>
                  </a:lnTo>
                  <a:lnTo>
                    <a:pt x="297" y="183"/>
                  </a:lnTo>
                  <a:lnTo>
                    <a:pt x="294" y="184"/>
                  </a:lnTo>
                  <a:lnTo>
                    <a:pt x="293" y="184"/>
                  </a:lnTo>
                  <a:lnTo>
                    <a:pt x="289" y="185"/>
                  </a:lnTo>
                  <a:lnTo>
                    <a:pt x="289" y="187"/>
                  </a:lnTo>
                  <a:lnTo>
                    <a:pt x="291" y="189"/>
                  </a:lnTo>
                  <a:lnTo>
                    <a:pt x="293" y="187"/>
                  </a:lnTo>
                  <a:lnTo>
                    <a:pt x="295" y="186"/>
                  </a:lnTo>
                  <a:lnTo>
                    <a:pt x="294" y="189"/>
                  </a:lnTo>
                  <a:lnTo>
                    <a:pt x="292" y="190"/>
                  </a:lnTo>
                  <a:lnTo>
                    <a:pt x="289" y="190"/>
                  </a:lnTo>
                  <a:lnTo>
                    <a:pt x="286" y="191"/>
                  </a:lnTo>
                  <a:lnTo>
                    <a:pt x="283" y="193"/>
                  </a:lnTo>
                  <a:lnTo>
                    <a:pt x="282" y="195"/>
                  </a:lnTo>
                  <a:lnTo>
                    <a:pt x="280" y="197"/>
                  </a:lnTo>
                  <a:lnTo>
                    <a:pt x="279" y="199"/>
                  </a:lnTo>
                  <a:lnTo>
                    <a:pt x="277" y="202"/>
                  </a:lnTo>
                  <a:lnTo>
                    <a:pt x="276" y="203"/>
                  </a:lnTo>
                  <a:lnTo>
                    <a:pt x="275" y="204"/>
                  </a:lnTo>
                  <a:lnTo>
                    <a:pt x="273" y="203"/>
                  </a:lnTo>
                  <a:lnTo>
                    <a:pt x="273" y="201"/>
                  </a:lnTo>
                  <a:lnTo>
                    <a:pt x="271" y="201"/>
                  </a:lnTo>
                  <a:lnTo>
                    <a:pt x="270" y="201"/>
                  </a:lnTo>
                  <a:lnTo>
                    <a:pt x="269" y="202"/>
                  </a:lnTo>
                  <a:lnTo>
                    <a:pt x="268" y="202"/>
                  </a:lnTo>
                  <a:lnTo>
                    <a:pt x="268" y="203"/>
                  </a:lnTo>
                  <a:lnTo>
                    <a:pt x="269" y="204"/>
                  </a:lnTo>
                  <a:lnTo>
                    <a:pt x="270" y="207"/>
                  </a:lnTo>
                  <a:lnTo>
                    <a:pt x="269" y="207"/>
                  </a:lnTo>
                  <a:lnTo>
                    <a:pt x="268" y="208"/>
                  </a:lnTo>
                  <a:lnTo>
                    <a:pt x="267" y="209"/>
                  </a:lnTo>
                  <a:lnTo>
                    <a:pt x="265" y="209"/>
                  </a:lnTo>
                  <a:lnTo>
                    <a:pt x="264" y="208"/>
                  </a:lnTo>
                  <a:lnTo>
                    <a:pt x="262" y="207"/>
                  </a:lnTo>
                  <a:lnTo>
                    <a:pt x="261" y="207"/>
                  </a:lnTo>
                  <a:lnTo>
                    <a:pt x="259" y="205"/>
                  </a:lnTo>
                  <a:lnTo>
                    <a:pt x="259" y="203"/>
                  </a:lnTo>
                  <a:lnTo>
                    <a:pt x="257" y="203"/>
                  </a:lnTo>
                  <a:lnTo>
                    <a:pt x="257" y="204"/>
                  </a:lnTo>
                  <a:lnTo>
                    <a:pt x="257" y="205"/>
                  </a:lnTo>
                  <a:lnTo>
                    <a:pt x="255" y="205"/>
                  </a:lnTo>
                  <a:lnTo>
                    <a:pt x="252" y="205"/>
                  </a:lnTo>
                  <a:lnTo>
                    <a:pt x="252" y="208"/>
                  </a:lnTo>
                  <a:lnTo>
                    <a:pt x="253" y="210"/>
                  </a:lnTo>
                  <a:lnTo>
                    <a:pt x="256" y="210"/>
                  </a:lnTo>
                  <a:lnTo>
                    <a:pt x="258" y="210"/>
                  </a:lnTo>
                  <a:lnTo>
                    <a:pt x="263" y="210"/>
                  </a:lnTo>
                  <a:lnTo>
                    <a:pt x="264" y="210"/>
                  </a:lnTo>
                  <a:lnTo>
                    <a:pt x="261" y="212"/>
                  </a:lnTo>
                  <a:lnTo>
                    <a:pt x="257" y="213"/>
                  </a:lnTo>
                  <a:lnTo>
                    <a:pt x="256" y="213"/>
                  </a:lnTo>
                  <a:lnTo>
                    <a:pt x="253" y="215"/>
                  </a:lnTo>
                  <a:lnTo>
                    <a:pt x="253" y="216"/>
                  </a:lnTo>
                  <a:lnTo>
                    <a:pt x="255" y="218"/>
                  </a:lnTo>
                  <a:lnTo>
                    <a:pt x="256" y="218"/>
                  </a:lnTo>
                  <a:lnTo>
                    <a:pt x="258" y="218"/>
                  </a:lnTo>
                  <a:lnTo>
                    <a:pt x="261" y="216"/>
                  </a:lnTo>
                  <a:lnTo>
                    <a:pt x="262" y="216"/>
                  </a:lnTo>
                  <a:lnTo>
                    <a:pt x="263" y="219"/>
                  </a:lnTo>
                  <a:lnTo>
                    <a:pt x="261" y="219"/>
                  </a:lnTo>
                  <a:lnTo>
                    <a:pt x="259" y="219"/>
                  </a:lnTo>
                  <a:lnTo>
                    <a:pt x="256" y="219"/>
                  </a:lnTo>
                  <a:lnTo>
                    <a:pt x="253" y="219"/>
                  </a:lnTo>
                  <a:lnTo>
                    <a:pt x="252" y="219"/>
                  </a:lnTo>
                  <a:lnTo>
                    <a:pt x="251" y="220"/>
                  </a:lnTo>
                  <a:lnTo>
                    <a:pt x="251" y="222"/>
                  </a:lnTo>
                  <a:lnTo>
                    <a:pt x="253" y="222"/>
                  </a:lnTo>
                  <a:lnTo>
                    <a:pt x="255" y="224"/>
                  </a:lnTo>
                  <a:lnTo>
                    <a:pt x="253" y="225"/>
                  </a:lnTo>
                  <a:lnTo>
                    <a:pt x="256" y="226"/>
                  </a:lnTo>
                  <a:lnTo>
                    <a:pt x="256" y="225"/>
                  </a:lnTo>
                  <a:lnTo>
                    <a:pt x="253" y="227"/>
                  </a:lnTo>
                  <a:lnTo>
                    <a:pt x="253" y="228"/>
                  </a:lnTo>
                  <a:lnTo>
                    <a:pt x="255" y="228"/>
                  </a:lnTo>
                  <a:lnTo>
                    <a:pt x="256" y="231"/>
                  </a:lnTo>
                  <a:lnTo>
                    <a:pt x="255" y="231"/>
                  </a:lnTo>
                  <a:lnTo>
                    <a:pt x="253" y="231"/>
                  </a:lnTo>
                  <a:lnTo>
                    <a:pt x="252" y="232"/>
                  </a:lnTo>
                  <a:lnTo>
                    <a:pt x="252" y="234"/>
                  </a:lnTo>
                  <a:lnTo>
                    <a:pt x="251" y="233"/>
                  </a:lnTo>
                  <a:lnTo>
                    <a:pt x="250" y="233"/>
                  </a:lnTo>
                  <a:lnTo>
                    <a:pt x="250" y="236"/>
                  </a:lnTo>
                  <a:lnTo>
                    <a:pt x="248" y="237"/>
                  </a:lnTo>
                  <a:lnTo>
                    <a:pt x="247" y="237"/>
                  </a:lnTo>
                  <a:lnTo>
                    <a:pt x="245" y="236"/>
                  </a:lnTo>
                  <a:lnTo>
                    <a:pt x="245" y="234"/>
                  </a:lnTo>
                  <a:lnTo>
                    <a:pt x="244" y="233"/>
                  </a:lnTo>
                  <a:lnTo>
                    <a:pt x="242" y="233"/>
                  </a:lnTo>
                  <a:lnTo>
                    <a:pt x="241" y="233"/>
                  </a:lnTo>
                  <a:lnTo>
                    <a:pt x="241" y="234"/>
                  </a:lnTo>
                  <a:lnTo>
                    <a:pt x="240" y="237"/>
                  </a:lnTo>
                  <a:lnTo>
                    <a:pt x="239" y="237"/>
                  </a:lnTo>
                  <a:lnTo>
                    <a:pt x="239" y="236"/>
                  </a:lnTo>
                  <a:lnTo>
                    <a:pt x="238" y="234"/>
                  </a:lnTo>
                  <a:lnTo>
                    <a:pt x="236" y="236"/>
                  </a:lnTo>
                  <a:lnTo>
                    <a:pt x="235" y="237"/>
                  </a:lnTo>
                  <a:lnTo>
                    <a:pt x="236" y="238"/>
                  </a:lnTo>
                  <a:lnTo>
                    <a:pt x="235" y="238"/>
                  </a:lnTo>
                  <a:lnTo>
                    <a:pt x="234" y="237"/>
                  </a:lnTo>
                  <a:lnTo>
                    <a:pt x="233" y="236"/>
                  </a:lnTo>
                  <a:lnTo>
                    <a:pt x="230" y="236"/>
                  </a:lnTo>
                  <a:lnTo>
                    <a:pt x="230" y="239"/>
                  </a:lnTo>
                  <a:lnTo>
                    <a:pt x="230" y="240"/>
                  </a:lnTo>
                  <a:lnTo>
                    <a:pt x="228" y="239"/>
                  </a:lnTo>
                  <a:lnTo>
                    <a:pt x="227" y="238"/>
                  </a:lnTo>
                  <a:lnTo>
                    <a:pt x="224" y="239"/>
                  </a:lnTo>
                  <a:lnTo>
                    <a:pt x="224" y="240"/>
                  </a:lnTo>
                  <a:lnTo>
                    <a:pt x="224" y="242"/>
                  </a:lnTo>
                  <a:lnTo>
                    <a:pt x="223" y="240"/>
                  </a:lnTo>
                  <a:lnTo>
                    <a:pt x="221" y="240"/>
                  </a:lnTo>
                  <a:lnTo>
                    <a:pt x="220" y="240"/>
                  </a:lnTo>
                  <a:lnTo>
                    <a:pt x="217" y="239"/>
                  </a:lnTo>
                  <a:lnTo>
                    <a:pt x="217" y="240"/>
                  </a:lnTo>
                  <a:lnTo>
                    <a:pt x="215" y="240"/>
                  </a:lnTo>
                  <a:lnTo>
                    <a:pt x="214" y="240"/>
                  </a:lnTo>
                  <a:lnTo>
                    <a:pt x="210" y="239"/>
                  </a:lnTo>
                  <a:lnTo>
                    <a:pt x="210" y="240"/>
                  </a:lnTo>
                  <a:lnTo>
                    <a:pt x="209" y="243"/>
                  </a:lnTo>
                  <a:lnTo>
                    <a:pt x="210" y="243"/>
                  </a:lnTo>
                  <a:lnTo>
                    <a:pt x="212" y="245"/>
                  </a:lnTo>
                  <a:lnTo>
                    <a:pt x="212" y="246"/>
                  </a:lnTo>
                  <a:lnTo>
                    <a:pt x="211" y="248"/>
                  </a:lnTo>
                  <a:lnTo>
                    <a:pt x="212" y="249"/>
                  </a:lnTo>
                  <a:lnTo>
                    <a:pt x="214" y="250"/>
                  </a:lnTo>
                  <a:lnTo>
                    <a:pt x="215" y="252"/>
                  </a:lnTo>
                  <a:lnTo>
                    <a:pt x="217" y="254"/>
                  </a:lnTo>
                  <a:lnTo>
                    <a:pt x="217" y="255"/>
                  </a:lnTo>
                  <a:lnTo>
                    <a:pt x="215" y="255"/>
                  </a:lnTo>
                  <a:lnTo>
                    <a:pt x="212" y="255"/>
                  </a:lnTo>
                  <a:lnTo>
                    <a:pt x="210" y="255"/>
                  </a:lnTo>
                  <a:lnTo>
                    <a:pt x="209" y="254"/>
                  </a:lnTo>
                  <a:lnTo>
                    <a:pt x="211" y="254"/>
                  </a:lnTo>
                  <a:lnTo>
                    <a:pt x="211" y="251"/>
                  </a:lnTo>
                  <a:lnTo>
                    <a:pt x="212" y="250"/>
                  </a:lnTo>
                  <a:lnTo>
                    <a:pt x="211" y="250"/>
                  </a:lnTo>
                  <a:lnTo>
                    <a:pt x="210" y="250"/>
                  </a:lnTo>
                  <a:lnTo>
                    <a:pt x="209" y="251"/>
                  </a:lnTo>
                  <a:lnTo>
                    <a:pt x="208" y="251"/>
                  </a:lnTo>
                  <a:lnTo>
                    <a:pt x="209" y="250"/>
                  </a:lnTo>
                  <a:lnTo>
                    <a:pt x="209" y="249"/>
                  </a:lnTo>
                  <a:lnTo>
                    <a:pt x="209" y="246"/>
                  </a:lnTo>
                  <a:lnTo>
                    <a:pt x="209" y="245"/>
                  </a:lnTo>
                  <a:lnTo>
                    <a:pt x="208" y="244"/>
                  </a:lnTo>
                  <a:lnTo>
                    <a:pt x="206" y="244"/>
                  </a:lnTo>
                  <a:lnTo>
                    <a:pt x="206" y="246"/>
                  </a:lnTo>
                  <a:lnTo>
                    <a:pt x="206" y="249"/>
                  </a:lnTo>
                  <a:lnTo>
                    <a:pt x="204" y="249"/>
                  </a:lnTo>
                  <a:lnTo>
                    <a:pt x="204" y="248"/>
                  </a:lnTo>
                  <a:lnTo>
                    <a:pt x="203" y="246"/>
                  </a:lnTo>
                  <a:lnTo>
                    <a:pt x="202" y="248"/>
                  </a:lnTo>
                  <a:lnTo>
                    <a:pt x="202" y="249"/>
                  </a:lnTo>
                  <a:lnTo>
                    <a:pt x="199" y="250"/>
                  </a:lnTo>
                  <a:lnTo>
                    <a:pt x="198" y="249"/>
                  </a:lnTo>
                  <a:lnTo>
                    <a:pt x="198" y="248"/>
                  </a:lnTo>
                  <a:lnTo>
                    <a:pt x="197" y="246"/>
                  </a:lnTo>
                  <a:lnTo>
                    <a:pt x="196" y="246"/>
                  </a:lnTo>
                  <a:lnTo>
                    <a:pt x="194" y="248"/>
                  </a:lnTo>
                  <a:lnTo>
                    <a:pt x="193" y="250"/>
                  </a:lnTo>
                  <a:lnTo>
                    <a:pt x="192" y="251"/>
                  </a:lnTo>
                  <a:lnTo>
                    <a:pt x="192" y="254"/>
                  </a:lnTo>
                  <a:lnTo>
                    <a:pt x="193" y="255"/>
                  </a:lnTo>
                  <a:lnTo>
                    <a:pt x="194" y="255"/>
                  </a:lnTo>
                  <a:lnTo>
                    <a:pt x="197" y="257"/>
                  </a:lnTo>
                  <a:lnTo>
                    <a:pt x="198" y="260"/>
                  </a:lnTo>
                  <a:lnTo>
                    <a:pt x="196" y="260"/>
                  </a:lnTo>
                  <a:lnTo>
                    <a:pt x="194" y="258"/>
                  </a:lnTo>
                  <a:lnTo>
                    <a:pt x="193" y="256"/>
                  </a:lnTo>
                  <a:lnTo>
                    <a:pt x="192" y="255"/>
                  </a:lnTo>
                  <a:lnTo>
                    <a:pt x="189" y="256"/>
                  </a:lnTo>
                  <a:lnTo>
                    <a:pt x="189" y="255"/>
                  </a:lnTo>
                  <a:lnTo>
                    <a:pt x="188" y="254"/>
                  </a:lnTo>
                  <a:lnTo>
                    <a:pt x="189" y="251"/>
                  </a:lnTo>
                  <a:lnTo>
                    <a:pt x="189" y="250"/>
                  </a:lnTo>
                  <a:lnTo>
                    <a:pt x="191" y="250"/>
                  </a:lnTo>
                  <a:lnTo>
                    <a:pt x="192" y="248"/>
                  </a:lnTo>
                  <a:lnTo>
                    <a:pt x="192" y="245"/>
                  </a:lnTo>
                  <a:lnTo>
                    <a:pt x="192" y="244"/>
                  </a:lnTo>
                  <a:lnTo>
                    <a:pt x="192" y="243"/>
                  </a:lnTo>
                  <a:lnTo>
                    <a:pt x="189" y="242"/>
                  </a:lnTo>
                  <a:lnTo>
                    <a:pt x="189" y="240"/>
                  </a:lnTo>
                  <a:lnTo>
                    <a:pt x="191" y="238"/>
                  </a:lnTo>
                  <a:lnTo>
                    <a:pt x="189" y="236"/>
                  </a:lnTo>
                  <a:lnTo>
                    <a:pt x="189" y="234"/>
                  </a:lnTo>
                  <a:lnTo>
                    <a:pt x="185" y="238"/>
                  </a:lnTo>
                  <a:lnTo>
                    <a:pt x="183" y="239"/>
                  </a:lnTo>
                  <a:lnTo>
                    <a:pt x="182" y="239"/>
                  </a:lnTo>
                  <a:lnTo>
                    <a:pt x="181" y="239"/>
                  </a:lnTo>
                  <a:lnTo>
                    <a:pt x="181" y="237"/>
                  </a:lnTo>
                  <a:lnTo>
                    <a:pt x="180" y="237"/>
                  </a:lnTo>
                  <a:lnTo>
                    <a:pt x="179" y="233"/>
                  </a:lnTo>
                  <a:lnTo>
                    <a:pt x="177" y="233"/>
                  </a:lnTo>
                  <a:lnTo>
                    <a:pt x="176" y="234"/>
                  </a:lnTo>
                  <a:lnTo>
                    <a:pt x="175" y="234"/>
                  </a:lnTo>
                  <a:lnTo>
                    <a:pt x="174" y="233"/>
                  </a:lnTo>
                  <a:lnTo>
                    <a:pt x="174" y="232"/>
                  </a:lnTo>
                  <a:lnTo>
                    <a:pt x="175" y="230"/>
                  </a:lnTo>
                  <a:lnTo>
                    <a:pt x="176" y="227"/>
                  </a:lnTo>
                  <a:lnTo>
                    <a:pt x="176" y="225"/>
                  </a:lnTo>
                  <a:lnTo>
                    <a:pt x="174" y="222"/>
                  </a:lnTo>
                  <a:lnTo>
                    <a:pt x="174" y="221"/>
                  </a:lnTo>
                  <a:lnTo>
                    <a:pt x="171" y="222"/>
                  </a:lnTo>
                  <a:lnTo>
                    <a:pt x="170" y="222"/>
                  </a:lnTo>
                  <a:lnTo>
                    <a:pt x="168" y="222"/>
                  </a:lnTo>
                  <a:lnTo>
                    <a:pt x="167" y="222"/>
                  </a:lnTo>
                  <a:lnTo>
                    <a:pt x="167" y="225"/>
                  </a:lnTo>
                  <a:lnTo>
                    <a:pt x="165" y="226"/>
                  </a:lnTo>
                  <a:lnTo>
                    <a:pt x="167" y="227"/>
                  </a:lnTo>
                  <a:lnTo>
                    <a:pt x="168" y="228"/>
                  </a:lnTo>
                  <a:lnTo>
                    <a:pt x="165" y="230"/>
                  </a:lnTo>
                  <a:lnTo>
                    <a:pt x="165" y="231"/>
                  </a:lnTo>
                  <a:lnTo>
                    <a:pt x="167" y="233"/>
                  </a:lnTo>
                  <a:lnTo>
                    <a:pt x="168" y="233"/>
                  </a:lnTo>
                  <a:lnTo>
                    <a:pt x="168" y="236"/>
                  </a:lnTo>
                  <a:lnTo>
                    <a:pt x="168" y="237"/>
                  </a:lnTo>
                  <a:lnTo>
                    <a:pt x="168" y="239"/>
                  </a:lnTo>
                  <a:lnTo>
                    <a:pt x="168" y="242"/>
                  </a:lnTo>
                  <a:lnTo>
                    <a:pt x="171" y="242"/>
                  </a:lnTo>
                  <a:lnTo>
                    <a:pt x="170" y="243"/>
                  </a:lnTo>
                  <a:lnTo>
                    <a:pt x="169" y="244"/>
                  </a:lnTo>
                  <a:lnTo>
                    <a:pt x="170" y="246"/>
                  </a:lnTo>
                  <a:lnTo>
                    <a:pt x="170" y="249"/>
                  </a:lnTo>
                  <a:lnTo>
                    <a:pt x="169" y="248"/>
                  </a:lnTo>
                  <a:lnTo>
                    <a:pt x="168" y="245"/>
                  </a:lnTo>
                  <a:lnTo>
                    <a:pt x="168" y="243"/>
                  </a:lnTo>
                  <a:lnTo>
                    <a:pt x="165" y="242"/>
                  </a:lnTo>
                  <a:lnTo>
                    <a:pt x="165" y="239"/>
                  </a:lnTo>
                  <a:lnTo>
                    <a:pt x="163" y="238"/>
                  </a:lnTo>
                  <a:lnTo>
                    <a:pt x="163" y="236"/>
                  </a:lnTo>
                  <a:lnTo>
                    <a:pt x="162" y="234"/>
                  </a:lnTo>
                  <a:lnTo>
                    <a:pt x="161" y="232"/>
                  </a:lnTo>
                  <a:lnTo>
                    <a:pt x="159" y="233"/>
                  </a:lnTo>
                  <a:lnTo>
                    <a:pt x="158" y="233"/>
                  </a:lnTo>
                  <a:lnTo>
                    <a:pt x="158" y="234"/>
                  </a:lnTo>
                  <a:lnTo>
                    <a:pt x="158" y="236"/>
                  </a:lnTo>
                  <a:lnTo>
                    <a:pt x="158" y="239"/>
                  </a:lnTo>
                  <a:lnTo>
                    <a:pt x="159" y="240"/>
                  </a:lnTo>
                  <a:lnTo>
                    <a:pt x="162" y="242"/>
                  </a:lnTo>
                  <a:lnTo>
                    <a:pt x="163" y="243"/>
                  </a:lnTo>
                  <a:lnTo>
                    <a:pt x="162" y="244"/>
                  </a:lnTo>
                  <a:lnTo>
                    <a:pt x="161" y="244"/>
                  </a:lnTo>
                  <a:lnTo>
                    <a:pt x="158" y="243"/>
                  </a:lnTo>
                  <a:lnTo>
                    <a:pt x="157" y="242"/>
                  </a:lnTo>
                  <a:lnTo>
                    <a:pt x="157" y="240"/>
                  </a:lnTo>
                  <a:lnTo>
                    <a:pt x="156" y="239"/>
                  </a:lnTo>
                  <a:lnTo>
                    <a:pt x="155" y="238"/>
                  </a:lnTo>
                  <a:lnTo>
                    <a:pt x="155" y="237"/>
                  </a:lnTo>
                  <a:lnTo>
                    <a:pt x="153" y="236"/>
                  </a:lnTo>
                  <a:lnTo>
                    <a:pt x="152" y="234"/>
                  </a:lnTo>
                  <a:lnTo>
                    <a:pt x="152" y="233"/>
                  </a:lnTo>
                  <a:lnTo>
                    <a:pt x="153" y="232"/>
                  </a:lnTo>
                  <a:lnTo>
                    <a:pt x="155" y="231"/>
                  </a:lnTo>
                  <a:lnTo>
                    <a:pt x="155" y="228"/>
                  </a:lnTo>
                  <a:lnTo>
                    <a:pt x="153" y="227"/>
                  </a:lnTo>
                  <a:lnTo>
                    <a:pt x="151" y="227"/>
                  </a:lnTo>
                  <a:lnTo>
                    <a:pt x="150" y="227"/>
                  </a:lnTo>
                  <a:lnTo>
                    <a:pt x="149" y="228"/>
                  </a:lnTo>
                  <a:lnTo>
                    <a:pt x="147" y="228"/>
                  </a:lnTo>
                  <a:lnTo>
                    <a:pt x="145" y="227"/>
                  </a:lnTo>
                  <a:lnTo>
                    <a:pt x="145" y="225"/>
                  </a:lnTo>
                  <a:lnTo>
                    <a:pt x="144" y="224"/>
                  </a:lnTo>
                  <a:lnTo>
                    <a:pt x="141" y="222"/>
                  </a:lnTo>
                  <a:lnTo>
                    <a:pt x="141" y="221"/>
                  </a:lnTo>
                  <a:lnTo>
                    <a:pt x="140" y="219"/>
                  </a:lnTo>
                  <a:lnTo>
                    <a:pt x="139" y="218"/>
                  </a:lnTo>
                  <a:lnTo>
                    <a:pt x="137" y="216"/>
                  </a:lnTo>
                  <a:lnTo>
                    <a:pt x="134" y="216"/>
                  </a:lnTo>
                  <a:lnTo>
                    <a:pt x="134" y="219"/>
                  </a:lnTo>
                  <a:lnTo>
                    <a:pt x="134" y="220"/>
                  </a:lnTo>
                  <a:lnTo>
                    <a:pt x="133" y="221"/>
                  </a:lnTo>
                  <a:lnTo>
                    <a:pt x="133" y="224"/>
                  </a:lnTo>
                  <a:lnTo>
                    <a:pt x="135" y="225"/>
                  </a:lnTo>
                  <a:lnTo>
                    <a:pt x="137" y="227"/>
                  </a:lnTo>
                  <a:lnTo>
                    <a:pt x="139" y="228"/>
                  </a:lnTo>
                  <a:lnTo>
                    <a:pt x="140" y="230"/>
                  </a:lnTo>
                  <a:lnTo>
                    <a:pt x="141" y="230"/>
                  </a:lnTo>
                  <a:lnTo>
                    <a:pt x="144" y="231"/>
                  </a:lnTo>
                  <a:lnTo>
                    <a:pt x="144" y="232"/>
                  </a:lnTo>
                  <a:lnTo>
                    <a:pt x="143" y="233"/>
                  </a:lnTo>
                  <a:lnTo>
                    <a:pt x="141" y="233"/>
                  </a:lnTo>
                  <a:lnTo>
                    <a:pt x="139" y="231"/>
                  </a:lnTo>
                  <a:lnTo>
                    <a:pt x="138" y="228"/>
                  </a:lnTo>
                  <a:lnTo>
                    <a:pt x="137" y="231"/>
                  </a:lnTo>
                  <a:lnTo>
                    <a:pt x="135" y="232"/>
                  </a:lnTo>
                  <a:lnTo>
                    <a:pt x="134" y="228"/>
                  </a:lnTo>
                  <a:lnTo>
                    <a:pt x="133" y="226"/>
                  </a:lnTo>
                  <a:lnTo>
                    <a:pt x="130" y="227"/>
                  </a:lnTo>
                  <a:lnTo>
                    <a:pt x="130" y="228"/>
                  </a:lnTo>
                  <a:lnTo>
                    <a:pt x="129" y="227"/>
                  </a:lnTo>
                  <a:lnTo>
                    <a:pt x="127" y="225"/>
                  </a:lnTo>
                  <a:lnTo>
                    <a:pt x="127" y="222"/>
                  </a:lnTo>
                  <a:lnTo>
                    <a:pt x="124" y="222"/>
                  </a:lnTo>
                  <a:lnTo>
                    <a:pt x="123" y="225"/>
                  </a:lnTo>
                  <a:lnTo>
                    <a:pt x="122" y="224"/>
                  </a:lnTo>
                  <a:lnTo>
                    <a:pt x="121" y="222"/>
                  </a:lnTo>
                  <a:lnTo>
                    <a:pt x="122" y="219"/>
                  </a:lnTo>
                  <a:lnTo>
                    <a:pt x="122" y="218"/>
                  </a:lnTo>
                  <a:lnTo>
                    <a:pt x="120" y="215"/>
                  </a:lnTo>
                  <a:lnTo>
                    <a:pt x="117" y="216"/>
                  </a:lnTo>
                  <a:lnTo>
                    <a:pt x="115" y="218"/>
                  </a:lnTo>
                  <a:lnTo>
                    <a:pt x="111" y="218"/>
                  </a:lnTo>
                  <a:lnTo>
                    <a:pt x="110" y="216"/>
                  </a:lnTo>
                  <a:lnTo>
                    <a:pt x="109" y="215"/>
                  </a:lnTo>
                  <a:lnTo>
                    <a:pt x="108" y="214"/>
                  </a:lnTo>
                  <a:lnTo>
                    <a:pt x="105" y="213"/>
                  </a:lnTo>
                  <a:lnTo>
                    <a:pt x="103" y="213"/>
                  </a:lnTo>
                  <a:lnTo>
                    <a:pt x="102" y="214"/>
                  </a:lnTo>
                  <a:lnTo>
                    <a:pt x="103" y="215"/>
                  </a:lnTo>
                  <a:lnTo>
                    <a:pt x="102" y="216"/>
                  </a:lnTo>
                  <a:lnTo>
                    <a:pt x="99" y="216"/>
                  </a:lnTo>
                  <a:lnTo>
                    <a:pt x="98" y="215"/>
                  </a:lnTo>
                  <a:lnTo>
                    <a:pt x="98" y="214"/>
                  </a:lnTo>
                  <a:lnTo>
                    <a:pt x="98" y="213"/>
                  </a:lnTo>
                  <a:lnTo>
                    <a:pt x="98" y="212"/>
                  </a:lnTo>
                  <a:lnTo>
                    <a:pt x="97" y="209"/>
                  </a:lnTo>
                  <a:lnTo>
                    <a:pt x="94" y="209"/>
                  </a:lnTo>
                  <a:lnTo>
                    <a:pt x="92" y="207"/>
                  </a:lnTo>
                  <a:lnTo>
                    <a:pt x="92" y="205"/>
                  </a:lnTo>
                  <a:lnTo>
                    <a:pt x="92" y="204"/>
                  </a:lnTo>
                  <a:lnTo>
                    <a:pt x="91" y="202"/>
                  </a:lnTo>
                  <a:lnTo>
                    <a:pt x="88" y="202"/>
                  </a:lnTo>
                  <a:lnTo>
                    <a:pt x="88" y="203"/>
                  </a:lnTo>
                  <a:lnTo>
                    <a:pt x="88" y="205"/>
                  </a:lnTo>
                  <a:lnTo>
                    <a:pt x="87" y="204"/>
                  </a:lnTo>
                  <a:lnTo>
                    <a:pt x="86" y="203"/>
                  </a:lnTo>
                  <a:lnTo>
                    <a:pt x="85" y="202"/>
                  </a:lnTo>
                  <a:lnTo>
                    <a:pt x="84" y="202"/>
                  </a:lnTo>
                  <a:lnTo>
                    <a:pt x="81" y="201"/>
                  </a:lnTo>
                  <a:lnTo>
                    <a:pt x="80" y="201"/>
                  </a:lnTo>
                  <a:lnTo>
                    <a:pt x="79" y="201"/>
                  </a:lnTo>
                  <a:lnTo>
                    <a:pt x="78" y="201"/>
                  </a:lnTo>
                  <a:lnTo>
                    <a:pt x="76" y="201"/>
                  </a:lnTo>
                  <a:lnTo>
                    <a:pt x="75" y="201"/>
                  </a:lnTo>
                  <a:lnTo>
                    <a:pt x="75" y="204"/>
                  </a:lnTo>
                  <a:lnTo>
                    <a:pt x="78" y="207"/>
                  </a:lnTo>
                  <a:lnTo>
                    <a:pt x="80" y="209"/>
                  </a:lnTo>
                  <a:lnTo>
                    <a:pt x="80" y="212"/>
                  </a:lnTo>
                  <a:lnTo>
                    <a:pt x="79" y="212"/>
                  </a:lnTo>
                  <a:lnTo>
                    <a:pt x="79" y="213"/>
                  </a:lnTo>
                  <a:lnTo>
                    <a:pt x="79" y="215"/>
                  </a:lnTo>
                  <a:lnTo>
                    <a:pt x="80" y="216"/>
                  </a:lnTo>
                  <a:lnTo>
                    <a:pt x="81" y="216"/>
                  </a:lnTo>
                  <a:lnTo>
                    <a:pt x="82" y="219"/>
                  </a:lnTo>
                  <a:lnTo>
                    <a:pt x="84" y="219"/>
                  </a:lnTo>
                  <a:lnTo>
                    <a:pt x="87" y="219"/>
                  </a:lnTo>
                  <a:lnTo>
                    <a:pt x="88" y="220"/>
                  </a:lnTo>
                  <a:lnTo>
                    <a:pt x="88" y="221"/>
                  </a:lnTo>
                  <a:lnTo>
                    <a:pt x="87" y="221"/>
                  </a:lnTo>
                  <a:lnTo>
                    <a:pt x="86" y="221"/>
                  </a:lnTo>
                  <a:lnTo>
                    <a:pt x="84" y="222"/>
                  </a:lnTo>
                  <a:lnTo>
                    <a:pt x="82" y="224"/>
                  </a:lnTo>
                  <a:lnTo>
                    <a:pt x="84" y="226"/>
                  </a:lnTo>
                  <a:lnTo>
                    <a:pt x="86" y="226"/>
                  </a:lnTo>
                  <a:lnTo>
                    <a:pt x="87" y="227"/>
                  </a:lnTo>
                  <a:lnTo>
                    <a:pt x="86" y="228"/>
                  </a:lnTo>
                  <a:lnTo>
                    <a:pt x="88" y="230"/>
                  </a:lnTo>
                  <a:lnTo>
                    <a:pt x="90" y="230"/>
                  </a:lnTo>
                  <a:lnTo>
                    <a:pt x="91" y="231"/>
                  </a:lnTo>
                  <a:lnTo>
                    <a:pt x="93" y="231"/>
                  </a:lnTo>
                  <a:lnTo>
                    <a:pt x="94" y="232"/>
                  </a:lnTo>
                  <a:lnTo>
                    <a:pt x="96" y="232"/>
                  </a:lnTo>
                  <a:lnTo>
                    <a:pt x="96" y="233"/>
                  </a:lnTo>
                  <a:lnTo>
                    <a:pt x="94" y="234"/>
                  </a:lnTo>
                  <a:lnTo>
                    <a:pt x="93" y="234"/>
                  </a:lnTo>
                  <a:lnTo>
                    <a:pt x="91" y="233"/>
                  </a:lnTo>
                  <a:lnTo>
                    <a:pt x="90" y="232"/>
                  </a:lnTo>
                  <a:lnTo>
                    <a:pt x="87" y="232"/>
                  </a:lnTo>
                  <a:lnTo>
                    <a:pt x="86" y="231"/>
                  </a:lnTo>
                  <a:lnTo>
                    <a:pt x="86" y="230"/>
                  </a:lnTo>
                  <a:lnTo>
                    <a:pt x="84" y="230"/>
                  </a:lnTo>
                  <a:lnTo>
                    <a:pt x="84" y="231"/>
                  </a:lnTo>
                  <a:lnTo>
                    <a:pt x="82" y="230"/>
                  </a:lnTo>
                  <a:lnTo>
                    <a:pt x="80" y="228"/>
                  </a:lnTo>
                  <a:lnTo>
                    <a:pt x="80" y="230"/>
                  </a:lnTo>
                  <a:lnTo>
                    <a:pt x="79" y="230"/>
                  </a:lnTo>
                  <a:lnTo>
                    <a:pt x="76" y="230"/>
                  </a:lnTo>
                  <a:lnTo>
                    <a:pt x="76" y="231"/>
                  </a:lnTo>
                  <a:lnTo>
                    <a:pt x="74" y="233"/>
                  </a:lnTo>
                  <a:lnTo>
                    <a:pt x="73" y="234"/>
                  </a:lnTo>
                  <a:lnTo>
                    <a:pt x="75" y="237"/>
                  </a:lnTo>
                  <a:lnTo>
                    <a:pt x="78" y="237"/>
                  </a:lnTo>
                  <a:lnTo>
                    <a:pt x="78" y="239"/>
                  </a:lnTo>
                  <a:lnTo>
                    <a:pt x="81" y="240"/>
                  </a:lnTo>
                  <a:lnTo>
                    <a:pt x="84" y="240"/>
                  </a:lnTo>
                  <a:lnTo>
                    <a:pt x="87" y="240"/>
                  </a:lnTo>
                  <a:lnTo>
                    <a:pt x="90" y="242"/>
                  </a:lnTo>
                  <a:lnTo>
                    <a:pt x="91" y="243"/>
                  </a:lnTo>
                  <a:lnTo>
                    <a:pt x="91" y="245"/>
                  </a:lnTo>
                  <a:lnTo>
                    <a:pt x="92" y="248"/>
                  </a:lnTo>
                  <a:lnTo>
                    <a:pt x="94" y="249"/>
                  </a:lnTo>
                  <a:lnTo>
                    <a:pt x="97" y="249"/>
                  </a:lnTo>
                  <a:lnTo>
                    <a:pt x="98" y="248"/>
                  </a:lnTo>
                  <a:lnTo>
                    <a:pt x="100" y="248"/>
                  </a:lnTo>
                  <a:lnTo>
                    <a:pt x="102" y="248"/>
                  </a:lnTo>
                  <a:lnTo>
                    <a:pt x="104" y="250"/>
                  </a:lnTo>
                  <a:lnTo>
                    <a:pt x="106" y="251"/>
                  </a:lnTo>
                  <a:lnTo>
                    <a:pt x="108" y="251"/>
                  </a:lnTo>
                  <a:lnTo>
                    <a:pt x="109" y="250"/>
                  </a:lnTo>
                  <a:lnTo>
                    <a:pt x="110" y="250"/>
                  </a:lnTo>
                  <a:lnTo>
                    <a:pt x="111" y="251"/>
                  </a:lnTo>
                  <a:lnTo>
                    <a:pt x="111" y="255"/>
                  </a:lnTo>
                  <a:lnTo>
                    <a:pt x="109" y="256"/>
                  </a:lnTo>
                  <a:lnTo>
                    <a:pt x="106" y="256"/>
                  </a:lnTo>
                  <a:lnTo>
                    <a:pt x="104" y="256"/>
                  </a:lnTo>
                  <a:lnTo>
                    <a:pt x="103" y="258"/>
                  </a:lnTo>
                  <a:lnTo>
                    <a:pt x="103" y="260"/>
                  </a:lnTo>
                  <a:lnTo>
                    <a:pt x="105" y="261"/>
                  </a:lnTo>
                  <a:lnTo>
                    <a:pt x="108" y="261"/>
                  </a:lnTo>
                  <a:lnTo>
                    <a:pt x="110" y="263"/>
                  </a:lnTo>
                  <a:lnTo>
                    <a:pt x="111" y="262"/>
                  </a:lnTo>
                  <a:lnTo>
                    <a:pt x="112" y="261"/>
                  </a:lnTo>
                  <a:lnTo>
                    <a:pt x="114" y="260"/>
                  </a:lnTo>
                  <a:lnTo>
                    <a:pt x="115" y="260"/>
                  </a:lnTo>
                  <a:lnTo>
                    <a:pt x="116" y="260"/>
                  </a:lnTo>
                  <a:lnTo>
                    <a:pt x="118" y="260"/>
                  </a:lnTo>
                  <a:lnTo>
                    <a:pt x="122" y="260"/>
                  </a:lnTo>
                  <a:lnTo>
                    <a:pt x="124" y="262"/>
                  </a:lnTo>
                  <a:lnTo>
                    <a:pt x="124" y="263"/>
                  </a:lnTo>
                  <a:lnTo>
                    <a:pt x="124" y="266"/>
                  </a:lnTo>
                  <a:lnTo>
                    <a:pt x="122" y="266"/>
                  </a:lnTo>
                  <a:lnTo>
                    <a:pt x="121" y="264"/>
                  </a:lnTo>
                  <a:lnTo>
                    <a:pt x="120" y="264"/>
                  </a:lnTo>
                  <a:lnTo>
                    <a:pt x="118" y="264"/>
                  </a:lnTo>
                  <a:lnTo>
                    <a:pt x="117" y="264"/>
                  </a:lnTo>
                  <a:lnTo>
                    <a:pt x="116" y="266"/>
                  </a:lnTo>
                  <a:lnTo>
                    <a:pt x="115" y="267"/>
                  </a:lnTo>
                  <a:lnTo>
                    <a:pt x="112" y="267"/>
                  </a:lnTo>
                  <a:lnTo>
                    <a:pt x="111" y="267"/>
                  </a:lnTo>
                  <a:lnTo>
                    <a:pt x="109" y="267"/>
                  </a:lnTo>
                  <a:lnTo>
                    <a:pt x="106" y="269"/>
                  </a:lnTo>
                  <a:lnTo>
                    <a:pt x="106" y="274"/>
                  </a:lnTo>
                  <a:lnTo>
                    <a:pt x="108" y="274"/>
                  </a:lnTo>
                  <a:lnTo>
                    <a:pt x="109" y="274"/>
                  </a:lnTo>
                  <a:lnTo>
                    <a:pt x="111" y="275"/>
                  </a:lnTo>
                  <a:lnTo>
                    <a:pt x="114" y="275"/>
                  </a:lnTo>
                  <a:lnTo>
                    <a:pt x="116" y="275"/>
                  </a:lnTo>
                  <a:lnTo>
                    <a:pt x="117" y="275"/>
                  </a:lnTo>
                  <a:lnTo>
                    <a:pt x="118" y="274"/>
                  </a:lnTo>
                  <a:lnTo>
                    <a:pt x="120" y="272"/>
                  </a:lnTo>
                  <a:lnTo>
                    <a:pt x="122" y="272"/>
                  </a:lnTo>
                  <a:lnTo>
                    <a:pt x="123" y="273"/>
                  </a:lnTo>
                  <a:lnTo>
                    <a:pt x="122" y="275"/>
                  </a:lnTo>
                  <a:lnTo>
                    <a:pt x="121" y="275"/>
                  </a:lnTo>
                  <a:lnTo>
                    <a:pt x="120" y="275"/>
                  </a:lnTo>
                  <a:lnTo>
                    <a:pt x="118" y="278"/>
                  </a:lnTo>
                  <a:lnTo>
                    <a:pt x="118" y="279"/>
                  </a:lnTo>
                  <a:lnTo>
                    <a:pt x="121" y="280"/>
                  </a:lnTo>
                  <a:lnTo>
                    <a:pt x="123" y="280"/>
                  </a:lnTo>
                  <a:lnTo>
                    <a:pt x="124" y="282"/>
                  </a:lnTo>
                  <a:lnTo>
                    <a:pt x="126" y="284"/>
                  </a:lnTo>
                  <a:lnTo>
                    <a:pt x="127" y="284"/>
                  </a:lnTo>
                  <a:lnTo>
                    <a:pt x="128" y="285"/>
                  </a:lnTo>
                  <a:lnTo>
                    <a:pt x="128" y="287"/>
                  </a:lnTo>
                  <a:lnTo>
                    <a:pt x="126" y="287"/>
                  </a:lnTo>
                  <a:lnTo>
                    <a:pt x="123" y="286"/>
                  </a:lnTo>
                  <a:lnTo>
                    <a:pt x="120" y="287"/>
                  </a:lnTo>
                  <a:lnTo>
                    <a:pt x="121" y="291"/>
                  </a:lnTo>
                  <a:lnTo>
                    <a:pt x="121" y="292"/>
                  </a:lnTo>
                  <a:lnTo>
                    <a:pt x="122" y="294"/>
                  </a:lnTo>
                  <a:lnTo>
                    <a:pt x="120" y="296"/>
                  </a:lnTo>
                  <a:lnTo>
                    <a:pt x="118" y="297"/>
                  </a:lnTo>
                  <a:lnTo>
                    <a:pt x="120" y="299"/>
                  </a:lnTo>
                  <a:lnTo>
                    <a:pt x="122" y="299"/>
                  </a:lnTo>
                  <a:lnTo>
                    <a:pt x="124" y="300"/>
                  </a:lnTo>
                  <a:lnTo>
                    <a:pt x="126" y="303"/>
                  </a:lnTo>
                  <a:lnTo>
                    <a:pt x="124" y="305"/>
                  </a:lnTo>
                  <a:lnTo>
                    <a:pt x="122" y="308"/>
                  </a:lnTo>
                  <a:lnTo>
                    <a:pt x="121" y="309"/>
                  </a:lnTo>
                  <a:lnTo>
                    <a:pt x="122" y="310"/>
                  </a:lnTo>
                  <a:lnTo>
                    <a:pt x="124" y="310"/>
                  </a:lnTo>
                  <a:lnTo>
                    <a:pt x="126" y="309"/>
                  </a:lnTo>
                  <a:lnTo>
                    <a:pt x="128" y="311"/>
                  </a:lnTo>
                  <a:lnTo>
                    <a:pt x="129" y="312"/>
                  </a:lnTo>
                  <a:lnTo>
                    <a:pt x="133" y="315"/>
                  </a:lnTo>
                  <a:lnTo>
                    <a:pt x="132" y="317"/>
                  </a:lnTo>
                  <a:lnTo>
                    <a:pt x="129" y="317"/>
                  </a:lnTo>
                  <a:lnTo>
                    <a:pt x="128" y="319"/>
                  </a:lnTo>
                  <a:lnTo>
                    <a:pt x="126" y="320"/>
                  </a:lnTo>
                  <a:lnTo>
                    <a:pt x="123" y="322"/>
                  </a:lnTo>
                  <a:lnTo>
                    <a:pt x="122" y="323"/>
                  </a:lnTo>
                  <a:lnTo>
                    <a:pt x="121" y="322"/>
                  </a:lnTo>
                  <a:lnTo>
                    <a:pt x="120" y="321"/>
                  </a:lnTo>
                  <a:lnTo>
                    <a:pt x="118" y="321"/>
                  </a:lnTo>
                  <a:lnTo>
                    <a:pt x="118" y="323"/>
                  </a:lnTo>
                  <a:lnTo>
                    <a:pt x="118" y="326"/>
                  </a:lnTo>
                  <a:lnTo>
                    <a:pt x="121" y="327"/>
                  </a:lnTo>
                  <a:lnTo>
                    <a:pt x="118" y="328"/>
                  </a:lnTo>
                  <a:lnTo>
                    <a:pt x="117" y="329"/>
                  </a:lnTo>
                  <a:lnTo>
                    <a:pt x="115" y="331"/>
                  </a:lnTo>
                  <a:lnTo>
                    <a:pt x="115" y="328"/>
                  </a:lnTo>
                  <a:lnTo>
                    <a:pt x="112" y="328"/>
                  </a:lnTo>
                  <a:lnTo>
                    <a:pt x="111" y="328"/>
                  </a:lnTo>
                  <a:lnTo>
                    <a:pt x="111" y="331"/>
                  </a:lnTo>
                  <a:lnTo>
                    <a:pt x="111" y="333"/>
                  </a:lnTo>
                  <a:lnTo>
                    <a:pt x="109" y="333"/>
                  </a:lnTo>
                  <a:lnTo>
                    <a:pt x="108" y="331"/>
                  </a:lnTo>
                  <a:lnTo>
                    <a:pt x="106" y="331"/>
                  </a:lnTo>
                  <a:lnTo>
                    <a:pt x="104" y="331"/>
                  </a:lnTo>
                  <a:lnTo>
                    <a:pt x="103" y="332"/>
                  </a:lnTo>
                  <a:lnTo>
                    <a:pt x="103" y="334"/>
                  </a:lnTo>
                  <a:lnTo>
                    <a:pt x="100" y="334"/>
                  </a:lnTo>
                  <a:lnTo>
                    <a:pt x="100" y="335"/>
                  </a:lnTo>
                  <a:lnTo>
                    <a:pt x="99" y="338"/>
                  </a:lnTo>
                  <a:lnTo>
                    <a:pt x="96" y="338"/>
                  </a:lnTo>
                  <a:lnTo>
                    <a:pt x="94" y="337"/>
                  </a:lnTo>
                  <a:lnTo>
                    <a:pt x="93" y="337"/>
                  </a:lnTo>
                  <a:lnTo>
                    <a:pt x="90" y="337"/>
                  </a:lnTo>
                  <a:lnTo>
                    <a:pt x="88" y="334"/>
                  </a:lnTo>
                  <a:lnTo>
                    <a:pt x="87" y="334"/>
                  </a:lnTo>
                  <a:lnTo>
                    <a:pt x="86" y="333"/>
                  </a:lnTo>
                  <a:lnTo>
                    <a:pt x="84" y="333"/>
                  </a:lnTo>
                  <a:lnTo>
                    <a:pt x="84" y="334"/>
                  </a:lnTo>
                  <a:lnTo>
                    <a:pt x="82" y="335"/>
                  </a:lnTo>
                  <a:lnTo>
                    <a:pt x="86" y="338"/>
                  </a:lnTo>
                  <a:lnTo>
                    <a:pt x="86" y="340"/>
                  </a:lnTo>
                  <a:lnTo>
                    <a:pt x="86" y="343"/>
                  </a:lnTo>
                  <a:lnTo>
                    <a:pt x="88" y="344"/>
                  </a:lnTo>
                  <a:lnTo>
                    <a:pt x="90" y="344"/>
                  </a:lnTo>
                  <a:lnTo>
                    <a:pt x="91" y="344"/>
                  </a:lnTo>
                  <a:lnTo>
                    <a:pt x="91" y="346"/>
                  </a:lnTo>
                  <a:lnTo>
                    <a:pt x="88" y="346"/>
                  </a:lnTo>
                  <a:lnTo>
                    <a:pt x="87" y="347"/>
                  </a:lnTo>
                  <a:lnTo>
                    <a:pt x="87" y="349"/>
                  </a:lnTo>
                  <a:lnTo>
                    <a:pt x="87" y="350"/>
                  </a:lnTo>
                  <a:lnTo>
                    <a:pt x="90" y="349"/>
                  </a:lnTo>
                  <a:lnTo>
                    <a:pt x="91" y="350"/>
                  </a:lnTo>
                  <a:lnTo>
                    <a:pt x="92" y="351"/>
                  </a:lnTo>
                  <a:lnTo>
                    <a:pt x="93" y="351"/>
                  </a:lnTo>
                  <a:lnTo>
                    <a:pt x="96" y="351"/>
                  </a:lnTo>
                  <a:lnTo>
                    <a:pt x="97" y="350"/>
                  </a:lnTo>
                  <a:lnTo>
                    <a:pt x="98" y="350"/>
                  </a:lnTo>
                  <a:lnTo>
                    <a:pt x="99" y="349"/>
                  </a:lnTo>
                  <a:lnTo>
                    <a:pt x="99" y="347"/>
                  </a:lnTo>
                  <a:lnTo>
                    <a:pt x="99" y="346"/>
                  </a:lnTo>
                  <a:lnTo>
                    <a:pt x="97" y="345"/>
                  </a:lnTo>
                  <a:lnTo>
                    <a:pt x="94" y="345"/>
                  </a:lnTo>
                  <a:lnTo>
                    <a:pt x="94" y="344"/>
                  </a:lnTo>
                  <a:lnTo>
                    <a:pt x="97" y="343"/>
                  </a:lnTo>
                  <a:lnTo>
                    <a:pt x="98" y="343"/>
                  </a:lnTo>
                  <a:lnTo>
                    <a:pt x="99" y="344"/>
                  </a:lnTo>
                  <a:lnTo>
                    <a:pt x="100" y="343"/>
                  </a:lnTo>
                  <a:lnTo>
                    <a:pt x="102" y="341"/>
                  </a:lnTo>
                  <a:lnTo>
                    <a:pt x="102" y="340"/>
                  </a:lnTo>
                  <a:lnTo>
                    <a:pt x="104" y="339"/>
                  </a:lnTo>
                  <a:lnTo>
                    <a:pt x="105" y="337"/>
                  </a:lnTo>
                  <a:lnTo>
                    <a:pt x="108" y="338"/>
                  </a:lnTo>
                  <a:lnTo>
                    <a:pt x="110" y="338"/>
                  </a:lnTo>
                  <a:lnTo>
                    <a:pt x="111" y="338"/>
                  </a:lnTo>
                  <a:lnTo>
                    <a:pt x="112" y="338"/>
                  </a:lnTo>
                  <a:lnTo>
                    <a:pt x="115" y="338"/>
                  </a:lnTo>
                  <a:lnTo>
                    <a:pt x="116" y="338"/>
                  </a:lnTo>
                  <a:lnTo>
                    <a:pt x="117" y="338"/>
                  </a:lnTo>
                  <a:lnTo>
                    <a:pt x="118" y="337"/>
                  </a:lnTo>
                  <a:lnTo>
                    <a:pt x="120" y="335"/>
                  </a:lnTo>
                  <a:lnTo>
                    <a:pt x="122" y="335"/>
                  </a:lnTo>
                  <a:lnTo>
                    <a:pt x="122" y="337"/>
                  </a:lnTo>
                  <a:lnTo>
                    <a:pt x="126" y="338"/>
                  </a:lnTo>
                  <a:lnTo>
                    <a:pt x="127" y="340"/>
                  </a:lnTo>
                  <a:lnTo>
                    <a:pt x="130" y="340"/>
                  </a:lnTo>
                  <a:lnTo>
                    <a:pt x="132" y="341"/>
                  </a:lnTo>
                  <a:lnTo>
                    <a:pt x="129" y="341"/>
                  </a:lnTo>
                  <a:lnTo>
                    <a:pt x="126" y="341"/>
                  </a:lnTo>
                  <a:lnTo>
                    <a:pt x="124" y="343"/>
                  </a:lnTo>
                  <a:lnTo>
                    <a:pt x="123" y="344"/>
                  </a:lnTo>
                  <a:lnTo>
                    <a:pt x="122" y="344"/>
                  </a:lnTo>
                  <a:lnTo>
                    <a:pt x="120" y="344"/>
                  </a:lnTo>
                  <a:lnTo>
                    <a:pt x="117" y="344"/>
                  </a:lnTo>
                  <a:lnTo>
                    <a:pt x="116" y="344"/>
                  </a:lnTo>
                  <a:lnTo>
                    <a:pt x="115" y="341"/>
                  </a:lnTo>
                  <a:lnTo>
                    <a:pt x="112" y="341"/>
                  </a:lnTo>
                  <a:lnTo>
                    <a:pt x="111" y="341"/>
                  </a:lnTo>
                  <a:lnTo>
                    <a:pt x="109" y="341"/>
                  </a:lnTo>
                  <a:lnTo>
                    <a:pt x="106" y="341"/>
                  </a:lnTo>
                  <a:lnTo>
                    <a:pt x="105" y="341"/>
                  </a:lnTo>
                  <a:lnTo>
                    <a:pt x="103" y="344"/>
                  </a:lnTo>
                  <a:lnTo>
                    <a:pt x="102" y="345"/>
                  </a:lnTo>
                  <a:lnTo>
                    <a:pt x="102" y="346"/>
                  </a:lnTo>
                  <a:lnTo>
                    <a:pt x="102" y="347"/>
                  </a:lnTo>
                  <a:lnTo>
                    <a:pt x="104" y="347"/>
                  </a:lnTo>
                  <a:lnTo>
                    <a:pt x="105" y="347"/>
                  </a:lnTo>
                  <a:lnTo>
                    <a:pt x="106" y="347"/>
                  </a:lnTo>
                  <a:lnTo>
                    <a:pt x="108" y="347"/>
                  </a:lnTo>
                  <a:lnTo>
                    <a:pt x="109" y="345"/>
                  </a:lnTo>
                  <a:lnTo>
                    <a:pt x="110" y="345"/>
                  </a:lnTo>
                  <a:lnTo>
                    <a:pt x="110" y="347"/>
                  </a:lnTo>
                  <a:lnTo>
                    <a:pt x="112" y="347"/>
                  </a:lnTo>
                  <a:lnTo>
                    <a:pt x="111" y="349"/>
                  </a:lnTo>
                  <a:lnTo>
                    <a:pt x="110" y="349"/>
                  </a:lnTo>
                  <a:lnTo>
                    <a:pt x="109" y="349"/>
                  </a:lnTo>
                  <a:lnTo>
                    <a:pt x="109" y="352"/>
                  </a:lnTo>
                  <a:lnTo>
                    <a:pt x="108" y="352"/>
                  </a:lnTo>
                  <a:lnTo>
                    <a:pt x="108" y="351"/>
                  </a:lnTo>
                  <a:lnTo>
                    <a:pt x="106" y="350"/>
                  </a:lnTo>
                  <a:lnTo>
                    <a:pt x="104" y="349"/>
                  </a:lnTo>
                  <a:lnTo>
                    <a:pt x="104" y="350"/>
                  </a:lnTo>
                  <a:lnTo>
                    <a:pt x="103" y="351"/>
                  </a:lnTo>
                  <a:lnTo>
                    <a:pt x="104" y="352"/>
                  </a:lnTo>
                  <a:lnTo>
                    <a:pt x="104" y="353"/>
                  </a:lnTo>
                  <a:lnTo>
                    <a:pt x="102" y="355"/>
                  </a:lnTo>
                  <a:lnTo>
                    <a:pt x="103" y="356"/>
                  </a:lnTo>
                  <a:lnTo>
                    <a:pt x="104" y="356"/>
                  </a:lnTo>
                  <a:lnTo>
                    <a:pt x="104" y="357"/>
                  </a:lnTo>
                  <a:lnTo>
                    <a:pt x="102" y="358"/>
                  </a:lnTo>
                  <a:lnTo>
                    <a:pt x="99" y="362"/>
                  </a:lnTo>
                  <a:lnTo>
                    <a:pt x="98" y="361"/>
                  </a:lnTo>
                  <a:lnTo>
                    <a:pt x="97" y="359"/>
                  </a:lnTo>
                  <a:lnTo>
                    <a:pt x="96" y="357"/>
                  </a:lnTo>
                  <a:lnTo>
                    <a:pt x="96" y="356"/>
                  </a:lnTo>
                  <a:lnTo>
                    <a:pt x="93" y="356"/>
                  </a:lnTo>
                  <a:lnTo>
                    <a:pt x="93" y="359"/>
                  </a:lnTo>
                  <a:lnTo>
                    <a:pt x="92" y="361"/>
                  </a:lnTo>
                  <a:lnTo>
                    <a:pt x="91" y="359"/>
                  </a:lnTo>
                  <a:lnTo>
                    <a:pt x="91" y="358"/>
                  </a:lnTo>
                  <a:lnTo>
                    <a:pt x="90" y="356"/>
                  </a:lnTo>
                  <a:lnTo>
                    <a:pt x="88" y="355"/>
                  </a:lnTo>
                  <a:lnTo>
                    <a:pt x="87" y="355"/>
                  </a:lnTo>
                  <a:lnTo>
                    <a:pt x="86" y="355"/>
                  </a:lnTo>
                  <a:lnTo>
                    <a:pt x="84" y="356"/>
                  </a:lnTo>
                  <a:lnTo>
                    <a:pt x="82" y="357"/>
                  </a:lnTo>
                  <a:lnTo>
                    <a:pt x="81" y="357"/>
                  </a:lnTo>
                  <a:lnTo>
                    <a:pt x="80" y="358"/>
                  </a:lnTo>
                  <a:lnTo>
                    <a:pt x="79" y="358"/>
                  </a:lnTo>
                  <a:lnTo>
                    <a:pt x="78" y="357"/>
                  </a:lnTo>
                  <a:lnTo>
                    <a:pt x="78" y="356"/>
                  </a:lnTo>
                  <a:lnTo>
                    <a:pt x="79" y="356"/>
                  </a:lnTo>
                  <a:lnTo>
                    <a:pt x="80" y="355"/>
                  </a:lnTo>
                  <a:lnTo>
                    <a:pt x="81" y="355"/>
                  </a:lnTo>
                  <a:lnTo>
                    <a:pt x="82" y="355"/>
                  </a:lnTo>
                  <a:lnTo>
                    <a:pt x="84" y="353"/>
                  </a:lnTo>
                  <a:lnTo>
                    <a:pt x="84" y="352"/>
                  </a:lnTo>
                  <a:lnTo>
                    <a:pt x="82" y="351"/>
                  </a:lnTo>
                  <a:lnTo>
                    <a:pt x="80" y="351"/>
                  </a:lnTo>
                  <a:lnTo>
                    <a:pt x="79" y="350"/>
                  </a:lnTo>
                  <a:lnTo>
                    <a:pt x="76" y="349"/>
                  </a:lnTo>
                  <a:lnTo>
                    <a:pt x="75" y="347"/>
                  </a:lnTo>
                  <a:lnTo>
                    <a:pt x="75" y="346"/>
                  </a:lnTo>
                  <a:lnTo>
                    <a:pt x="74" y="346"/>
                  </a:lnTo>
                  <a:lnTo>
                    <a:pt x="74" y="347"/>
                  </a:lnTo>
                  <a:lnTo>
                    <a:pt x="71" y="347"/>
                  </a:lnTo>
                  <a:lnTo>
                    <a:pt x="71" y="349"/>
                  </a:lnTo>
                  <a:lnTo>
                    <a:pt x="71" y="351"/>
                  </a:lnTo>
                  <a:lnTo>
                    <a:pt x="73" y="352"/>
                  </a:lnTo>
                  <a:lnTo>
                    <a:pt x="71" y="353"/>
                  </a:lnTo>
                  <a:lnTo>
                    <a:pt x="70" y="355"/>
                  </a:lnTo>
                  <a:lnTo>
                    <a:pt x="68" y="356"/>
                  </a:lnTo>
                  <a:lnTo>
                    <a:pt x="68" y="355"/>
                  </a:lnTo>
                  <a:lnTo>
                    <a:pt x="68" y="353"/>
                  </a:lnTo>
                  <a:lnTo>
                    <a:pt x="68" y="352"/>
                  </a:lnTo>
                  <a:lnTo>
                    <a:pt x="65" y="352"/>
                  </a:lnTo>
                  <a:lnTo>
                    <a:pt x="65" y="351"/>
                  </a:lnTo>
                  <a:lnTo>
                    <a:pt x="65" y="350"/>
                  </a:lnTo>
                  <a:lnTo>
                    <a:pt x="67" y="347"/>
                  </a:lnTo>
                  <a:lnTo>
                    <a:pt x="67" y="346"/>
                  </a:lnTo>
                  <a:lnTo>
                    <a:pt x="65" y="344"/>
                  </a:lnTo>
                  <a:lnTo>
                    <a:pt x="64" y="344"/>
                  </a:lnTo>
                  <a:lnTo>
                    <a:pt x="62" y="344"/>
                  </a:lnTo>
                  <a:lnTo>
                    <a:pt x="61" y="341"/>
                  </a:lnTo>
                  <a:lnTo>
                    <a:pt x="61" y="340"/>
                  </a:lnTo>
                  <a:lnTo>
                    <a:pt x="61" y="339"/>
                  </a:lnTo>
                  <a:lnTo>
                    <a:pt x="59" y="338"/>
                  </a:lnTo>
                  <a:lnTo>
                    <a:pt x="57" y="338"/>
                  </a:lnTo>
                  <a:lnTo>
                    <a:pt x="56" y="338"/>
                  </a:lnTo>
                  <a:lnTo>
                    <a:pt x="56" y="339"/>
                  </a:lnTo>
                  <a:lnTo>
                    <a:pt x="56" y="341"/>
                  </a:lnTo>
                  <a:lnTo>
                    <a:pt x="56" y="343"/>
                  </a:lnTo>
                  <a:lnTo>
                    <a:pt x="55" y="344"/>
                  </a:lnTo>
                  <a:lnTo>
                    <a:pt x="55" y="345"/>
                  </a:lnTo>
                  <a:lnTo>
                    <a:pt x="52" y="345"/>
                  </a:lnTo>
                  <a:lnTo>
                    <a:pt x="52" y="346"/>
                  </a:lnTo>
                  <a:lnTo>
                    <a:pt x="53" y="346"/>
                  </a:lnTo>
                  <a:lnTo>
                    <a:pt x="55" y="347"/>
                  </a:lnTo>
                  <a:lnTo>
                    <a:pt x="56" y="349"/>
                  </a:lnTo>
                  <a:lnTo>
                    <a:pt x="56" y="350"/>
                  </a:lnTo>
                  <a:lnTo>
                    <a:pt x="56" y="351"/>
                  </a:lnTo>
                  <a:lnTo>
                    <a:pt x="59" y="352"/>
                  </a:lnTo>
                  <a:lnTo>
                    <a:pt x="61" y="352"/>
                  </a:lnTo>
                  <a:lnTo>
                    <a:pt x="61" y="355"/>
                  </a:lnTo>
                  <a:lnTo>
                    <a:pt x="59" y="355"/>
                  </a:lnTo>
                  <a:lnTo>
                    <a:pt x="59" y="356"/>
                  </a:lnTo>
                  <a:lnTo>
                    <a:pt x="61" y="357"/>
                  </a:lnTo>
                  <a:lnTo>
                    <a:pt x="63" y="358"/>
                  </a:lnTo>
                  <a:lnTo>
                    <a:pt x="62" y="359"/>
                  </a:lnTo>
                  <a:lnTo>
                    <a:pt x="61" y="359"/>
                  </a:lnTo>
                  <a:lnTo>
                    <a:pt x="59" y="358"/>
                  </a:lnTo>
                  <a:lnTo>
                    <a:pt x="58" y="356"/>
                  </a:lnTo>
                  <a:lnTo>
                    <a:pt x="57" y="356"/>
                  </a:lnTo>
                  <a:lnTo>
                    <a:pt x="57" y="357"/>
                  </a:lnTo>
                  <a:lnTo>
                    <a:pt x="57" y="358"/>
                  </a:lnTo>
                  <a:lnTo>
                    <a:pt x="58" y="361"/>
                  </a:lnTo>
                  <a:lnTo>
                    <a:pt x="59" y="362"/>
                  </a:lnTo>
                  <a:lnTo>
                    <a:pt x="61" y="364"/>
                  </a:lnTo>
                  <a:lnTo>
                    <a:pt x="61" y="365"/>
                  </a:lnTo>
                  <a:lnTo>
                    <a:pt x="59" y="365"/>
                  </a:lnTo>
                  <a:lnTo>
                    <a:pt x="58" y="365"/>
                  </a:lnTo>
                  <a:lnTo>
                    <a:pt x="57" y="363"/>
                  </a:lnTo>
                  <a:lnTo>
                    <a:pt x="56" y="361"/>
                  </a:lnTo>
                  <a:lnTo>
                    <a:pt x="55" y="362"/>
                  </a:lnTo>
                  <a:lnTo>
                    <a:pt x="55" y="363"/>
                  </a:lnTo>
                  <a:lnTo>
                    <a:pt x="53" y="364"/>
                  </a:lnTo>
                  <a:lnTo>
                    <a:pt x="52" y="364"/>
                  </a:lnTo>
                  <a:lnTo>
                    <a:pt x="52" y="361"/>
                  </a:lnTo>
                  <a:lnTo>
                    <a:pt x="55" y="359"/>
                  </a:lnTo>
                  <a:lnTo>
                    <a:pt x="55" y="358"/>
                  </a:lnTo>
                  <a:lnTo>
                    <a:pt x="52" y="357"/>
                  </a:lnTo>
                  <a:lnTo>
                    <a:pt x="51" y="356"/>
                  </a:lnTo>
                  <a:lnTo>
                    <a:pt x="50" y="355"/>
                  </a:lnTo>
                  <a:lnTo>
                    <a:pt x="50" y="353"/>
                  </a:lnTo>
                  <a:lnTo>
                    <a:pt x="47" y="353"/>
                  </a:lnTo>
                  <a:lnTo>
                    <a:pt x="47" y="355"/>
                  </a:lnTo>
                  <a:lnTo>
                    <a:pt x="47" y="357"/>
                  </a:lnTo>
                  <a:lnTo>
                    <a:pt x="45" y="357"/>
                  </a:lnTo>
                  <a:lnTo>
                    <a:pt x="45" y="356"/>
                  </a:lnTo>
                  <a:lnTo>
                    <a:pt x="44" y="357"/>
                  </a:lnTo>
                  <a:lnTo>
                    <a:pt x="44" y="358"/>
                  </a:lnTo>
                  <a:lnTo>
                    <a:pt x="46" y="359"/>
                  </a:lnTo>
                  <a:lnTo>
                    <a:pt x="45" y="361"/>
                  </a:lnTo>
                  <a:lnTo>
                    <a:pt x="44" y="359"/>
                  </a:lnTo>
                  <a:lnTo>
                    <a:pt x="43" y="359"/>
                  </a:lnTo>
                  <a:lnTo>
                    <a:pt x="41" y="358"/>
                  </a:lnTo>
                  <a:lnTo>
                    <a:pt x="39" y="358"/>
                  </a:lnTo>
                  <a:lnTo>
                    <a:pt x="38" y="358"/>
                  </a:lnTo>
                  <a:lnTo>
                    <a:pt x="38" y="357"/>
                  </a:lnTo>
                  <a:lnTo>
                    <a:pt x="38" y="356"/>
                  </a:lnTo>
                  <a:lnTo>
                    <a:pt x="39" y="355"/>
                  </a:lnTo>
                  <a:lnTo>
                    <a:pt x="38" y="355"/>
                  </a:lnTo>
                  <a:lnTo>
                    <a:pt x="38" y="352"/>
                  </a:lnTo>
                  <a:lnTo>
                    <a:pt x="35" y="351"/>
                  </a:lnTo>
                  <a:lnTo>
                    <a:pt x="34" y="352"/>
                  </a:lnTo>
                  <a:lnTo>
                    <a:pt x="34" y="355"/>
                  </a:lnTo>
                  <a:lnTo>
                    <a:pt x="34" y="357"/>
                  </a:lnTo>
                  <a:lnTo>
                    <a:pt x="33" y="356"/>
                  </a:lnTo>
                  <a:lnTo>
                    <a:pt x="32" y="353"/>
                  </a:lnTo>
                  <a:lnTo>
                    <a:pt x="32" y="352"/>
                  </a:lnTo>
                  <a:lnTo>
                    <a:pt x="31" y="352"/>
                  </a:lnTo>
                  <a:lnTo>
                    <a:pt x="29" y="351"/>
                  </a:lnTo>
                  <a:lnTo>
                    <a:pt x="27" y="349"/>
                  </a:lnTo>
                  <a:lnTo>
                    <a:pt x="26" y="350"/>
                  </a:lnTo>
                  <a:lnTo>
                    <a:pt x="25" y="352"/>
                  </a:lnTo>
                  <a:lnTo>
                    <a:pt x="23" y="351"/>
                  </a:lnTo>
                  <a:lnTo>
                    <a:pt x="23" y="353"/>
                  </a:lnTo>
                  <a:lnTo>
                    <a:pt x="25" y="355"/>
                  </a:lnTo>
                  <a:lnTo>
                    <a:pt x="27" y="356"/>
                  </a:lnTo>
                  <a:lnTo>
                    <a:pt x="28" y="358"/>
                  </a:lnTo>
                  <a:lnTo>
                    <a:pt x="28" y="359"/>
                  </a:lnTo>
                  <a:lnTo>
                    <a:pt x="28" y="362"/>
                  </a:lnTo>
                  <a:lnTo>
                    <a:pt x="27" y="362"/>
                  </a:lnTo>
                  <a:lnTo>
                    <a:pt x="26" y="362"/>
                  </a:lnTo>
                  <a:lnTo>
                    <a:pt x="26" y="359"/>
                  </a:lnTo>
                  <a:lnTo>
                    <a:pt x="26" y="357"/>
                  </a:lnTo>
                  <a:lnTo>
                    <a:pt x="25" y="356"/>
                  </a:lnTo>
                  <a:lnTo>
                    <a:pt x="23" y="355"/>
                  </a:lnTo>
                  <a:lnTo>
                    <a:pt x="22" y="355"/>
                  </a:lnTo>
                  <a:lnTo>
                    <a:pt x="21" y="353"/>
                  </a:lnTo>
                  <a:lnTo>
                    <a:pt x="21" y="352"/>
                  </a:lnTo>
                  <a:lnTo>
                    <a:pt x="20" y="352"/>
                  </a:lnTo>
                  <a:lnTo>
                    <a:pt x="19" y="355"/>
                  </a:lnTo>
                  <a:lnTo>
                    <a:pt x="19" y="356"/>
                  </a:lnTo>
                  <a:lnTo>
                    <a:pt x="17" y="355"/>
                  </a:lnTo>
                  <a:lnTo>
                    <a:pt x="19" y="352"/>
                  </a:lnTo>
                  <a:lnTo>
                    <a:pt x="20" y="351"/>
                  </a:lnTo>
                  <a:lnTo>
                    <a:pt x="20" y="350"/>
                  </a:lnTo>
                  <a:lnTo>
                    <a:pt x="19" y="349"/>
                  </a:lnTo>
                  <a:lnTo>
                    <a:pt x="19" y="347"/>
                  </a:lnTo>
                  <a:lnTo>
                    <a:pt x="15" y="347"/>
                  </a:lnTo>
                  <a:lnTo>
                    <a:pt x="14" y="347"/>
                  </a:lnTo>
                  <a:lnTo>
                    <a:pt x="14" y="349"/>
                  </a:lnTo>
                  <a:lnTo>
                    <a:pt x="14" y="351"/>
                  </a:lnTo>
                  <a:lnTo>
                    <a:pt x="14" y="352"/>
                  </a:lnTo>
                  <a:lnTo>
                    <a:pt x="12" y="355"/>
                  </a:lnTo>
                  <a:lnTo>
                    <a:pt x="12" y="352"/>
                  </a:lnTo>
                  <a:lnTo>
                    <a:pt x="12" y="351"/>
                  </a:lnTo>
                  <a:lnTo>
                    <a:pt x="12" y="350"/>
                  </a:lnTo>
                  <a:lnTo>
                    <a:pt x="10" y="349"/>
                  </a:lnTo>
                  <a:lnTo>
                    <a:pt x="8" y="349"/>
                  </a:lnTo>
                  <a:lnTo>
                    <a:pt x="8" y="347"/>
                  </a:lnTo>
                  <a:lnTo>
                    <a:pt x="6" y="347"/>
                  </a:lnTo>
                  <a:lnTo>
                    <a:pt x="5" y="346"/>
                  </a:lnTo>
                  <a:lnTo>
                    <a:pt x="5" y="347"/>
                  </a:lnTo>
                  <a:lnTo>
                    <a:pt x="2" y="349"/>
                  </a:lnTo>
                  <a:lnTo>
                    <a:pt x="0" y="349"/>
                  </a:lnTo>
                  <a:lnTo>
                    <a:pt x="0" y="350"/>
                  </a:lnTo>
                  <a:lnTo>
                    <a:pt x="0" y="351"/>
                  </a:lnTo>
                  <a:lnTo>
                    <a:pt x="3" y="353"/>
                  </a:lnTo>
                  <a:lnTo>
                    <a:pt x="4" y="353"/>
                  </a:lnTo>
                  <a:lnTo>
                    <a:pt x="3" y="355"/>
                  </a:lnTo>
                  <a:lnTo>
                    <a:pt x="3" y="356"/>
                  </a:lnTo>
                  <a:lnTo>
                    <a:pt x="5" y="358"/>
                  </a:lnTo>
                  <a:lnTo>
                    <a:pt x="6" y="358"/>
                  </a:lnTo>
                  <a:lnTo>
                    <a:pt x="8" y="357"/>
                  </a:lnTo>
                  <a:lnTo>
                    <a:pt x="8" y="359"/>
                  </a:lnTo>
                  <a:lnTo>
                    <a:pt x="9" y="361"/>
                  </a:lnTo>
                  <a:lnTo>
                    <a:pt x="10" y="361"/>
                  </a:lnTo>
                  <a:lnTo>
                    <a:pt x="12" y="362"/>
                  </a:lnTo>
                  <a:lnTo>
                    <a:pt x="11" y="363"/>
                  </a:lnTo>
                  <a:lnTo>
                    <a:pt x="10" y="364"/>
                  </a:lnTo>
                  <a:lnTo>
                    <a:pt x="11" y="367"/>
                  </a:lnTo>
                  <a:lnTo>
                    <a:pt x="10" y="368"/>
                  </a:lnTo>
                  <a:lnTo>
                    <a:pt x="9" y="369"/>
                  </a:lnTo>
                  <a:lnTo>
                    <a:pt x="11" y="371"/>
                  </a:lnTo>
                  <a:lnTo>
                    <a:pt x="11" y="374"/>
                  </a:lnTo>
                  <a:lnTo>
                    <a:pt x="12" y="375"/>
                  </a:lnTo>
                  <a:lnTo>
                    <a:pt x="14" y="376"/>
                  </a:lnTo>
                  <a:lnTo>
                    <a:pt x="16" y="377"/>
                  </a:lnTo>
                  <a:lnTo>
                    <a:pt x="17" y="377"/>
                  </a:lnTo>
                  <a:lnTo>
                    <a:pt x="20" y="377"/>
                  </a:lnTo>
                  <a:lnTo>
                    <a:pt x="21" y="377"/>
                  </a:lnTo>
                  <a:lnTo>
                    <a:pt x="22" y="377"/>
                  </a:lnTo>
                  <a:lnTo>
                    <a:pt x="25" y="377"/>
                  </a:lnTo>
                  <a:lnTo>
                    <a:pt x="26" y="376"/>
                  </a:lnTo>
                  <a:lnTo>
                    <a:pt x="28" y="375"/>
                  </a:lnTo>
                  <a:lnTo>
                    <a:pt x="29" y="376"/>
                  </a:lnTo>
                  <a:lnTo>
                    <a:pt x="28" y="377"/>
                  </a:lnTo>
                  <a:lnTo>
                    <a:pt x="29" y="379"/>
                  </a:lnTo>
                  <a:lnTo>
                    <a:pt x="32" y="379"/>
                  </a:lnTo>
                  <a:lnTo>
                    <a:pt x="34" y="377"/>
                  </a:lnTo>
                  <a:lnTo>
                    <a:pt x="35" y="379"/>
                  </a:lnTo>
                  <a:lnTo>
                    <a:pt x="37" y="379"/>
                  </a:lnTo>
                  <a:lnTo>
                    <a:pt x="38" y="377"/>
                  </a:lnTo>
                  <a:lnTo>
                    <a:pt x="39" y="377"/>
                  </a:lnTo>
                  <a:lnTo>
                    <a:pt x="37" y="380"/>
                  </a:lnTo>
                  <a:lnTo>
                    <a:pt x="34" y="380"/>
                  </a:lnTo>
                  <a:lnTo>
                    <a:pt x="33" y="380"/>
                  </a:lnTo>
                  <a:lnTo>
                    <a:pt x="32" y="381"/>
                  </a:lnTo>
                  <a:lnTo>
                    <a:pt x="31" y="381"/>
                  </a:lnTo>
                  <a:lnTo>
                    <a:pt x="29" y="380"/>
                  </a:lnTo>
                  <a:lnTo>
                    <a:pt x="28" y="379"/>
                  </a:lnTo>
                  <a:lnTo>
                    <a:pt x="27" y="379"/>
                  </a:lnTo>
                  <a:lnTo>
                    <a:pt x="26" y="379"/>
                  </a:lnTo>
                  <a:lnTo>
                    <a:pt x="25" y="380"/>
                  </a:lnTo>
                  <a:lnTo>
                    <a:pt x="23" y="380"/>
                  </a:lnTo>
                  <a:lnTo>
                    <a:pt x="21" y="380"/>
                  </a:lnTo>
                  <a:lnTo>
                    <a:pt x="17" y="380"/>
                  </a:lnTo>
                  <a:lnTo>
                    <a:pt x="16" y="380"/>
                  </a:lnTo>
                  <a:lnTo>
                    <a:pt x="15" y="381"/>
                  </a:lnTo>
                  <a:lnTo>
                    <a:pt x="14" y="383"/>
                  </a:lnTo>
                  <a:lnTo>
                    <a:pt x="15" y="385"/>
                  </a:lnTo>
                  <a:lnTo>
                    <a:pt x="16" y="385"/>
                  </a:lnTo>
                  <a:lnTo>
                    <a:pt x="17" y="386"/>
                  </a:lnTo>
                  <a:lnTo>
                    <a:pt x="19" y="386"/>
                  </a:lnTo>
                  <a:lnTo>
                    <a:pt x="20" y="388"/>
                  </a:lnTo>
                  <a:lnTo>
                    <a:pt x="21" y="386"/>
                  </a:lnTo>
                  <a:lnTo>
                    <a:pt x="22" y="385"/>
                  </a:lnTo>
                  <a:lnTo>
                    <a:pt x="23" y="386"/>
                  </a:lnTo>
                  <a:lnTo>
                    <a:pt x="25" y="387"/>
                  </a:lnTo>
                  <a:lnTo>
                    <a:pt x="26" y="387"/>
                  </a:lnTo>
                  <a:lnTo>
                    <a:pt x="27" y="387"/>
                  </a:lnTo>
                  <a:lnTo>
                    <a:pt x="28" y="387"/>
                  </a:lnTo>
                  <a:lnTo>
                    <a:pt x="31" y="387"/>
                  </a:lnTo>
                  <a:lnTo>
                    <a:pt x="32" y="387"/>
                  </a:lnTo>
                  <a:lnTo>
                    <a:pt x="33" y="387"/>
                  </a:lnTo>
                  <a:lnTo>
                    <a:pt x="34" y="386"/>
                  </a:lnTo>
                  <a:lnTo>
                    <a:pt x="35" y="386"/>
                  </a:lnTo>
                  <a:lnTo>
                    <a:pt x="38" y="387"/>
                  </a:lnTo>
                  <a:lnTo>
                    <a:pt x="38" y="389"/>
                  </a:lnTo>
                  <a:lnTo>
                    <a:pt x="37" y="388"/>
                  </a:lnTo>
                  <a:lnTo>
                    <a:pt x="34" y="387"/>
                  </a:lnTo>
                  <a:lnTo>
                    <a:pt x="32" y="388"/>
                  </a:lnTo>
                  <a:lnTo>
                    <a:pt x="31" y="388"/>
                  </a:lnTo>
                  <a:lnTo>
                    <a:pt x="31" y="389"/>
                  </a:lnTo>
                  <a:lnTo>
                    <a:pt x="33" y="391"/>
                  </a:lnTo>
                  <a:lnTo>
                    <a:pt x="34" y="392"/>
                  </a:lnTo>
                  <a:lnTo>
                    <a:pt x="34" y="393"/>
                  </a:lnTo>
                  <a:lnTo>
                    <a:pt x="33" y="394"/>
                  </a:lnTo>
                  <a:lnTo>
                    <a:pt x="32" y="394"/>
                  </a:lnTo>
                  <a:lnTo>
                    <a:pt x="29" y="393"/>
                  </a:lnTo>
                  <a:lnTo>
                    <a:pt x="29" y="392"/>
                  </a:lnTo>
                  <a:lnTo>
                    <a:pt x="27" y="391"/>
                  </a:lnTo>
                  <a:lnTo>
                    <a:pt x="27" y="392"/>
                  </a:lnTo>
                  <a:lnTo>
                    <a:pt x="26" y="394"/>
                  </a:lnTo>
                  <a:lnTo>
                    <a:pt x="25" y="393"/>
                  </a:lnTo>
                  <a:lnTo>
                    <a:pt x="23" y="392"/>
                  </a:lnTo>
                  <a:lnTo>
                    <a:pt x="22" y="393"/>
                  </a:lnTo>
                  <a:lnTo>
                    <a:pt x="22" y="394"/>
                  </a:lnTo>
                  <a:lnTo>
                    <a:pt x="20" y="394"/>
                  </a:lnTo>
                  <a:lnTo>
                    <a:pt x="20" y="395"/>
                  </a:lnTo>
                  <a:lnTo>
                    <a:pt x="22" y="398"/>
                  </a:lnTo>
                  <a:lnTo>
                    <a:pt x="25" y="399"/>
                  </a:lnTo>
                  <a:lnTo>
                    <a:pt x="26" y="401"/>
                  </a:lnTo>
                  <a:lnTo>
                    <a:pt x="27" y="401"/>
                  </a:lnTo>
                  <a:lnTo>
                    <a:pt x="26" y="403"/>
                  </a:lnTo>
                  <a:lnTo>
                    <a:pt x="23" y="401"/>
                  </a:lnTo>
                  <a:lnTo>
                    <a:pt x="22" y="401"/>
                  </a:lnTo>
                  <a:lnTo>
                    <a:pt x="21" y="401"/>
                  </a:lnTo>
                  <a:lnTo>
                    <a:pt x="20" y="401"/>
                  </a:lnTo>
                  <a:lnTo>
                    <a:pt x="20" y="404"/>
                  </a:lnTo>
                  <a:lnTo>
                    <a:pt x="21" y="406"/>
                  </a:lnTo>
                  <a:lnTo>
                    <a:pt x="22" y="407"/>
                  </a:lnTo>
                  <a:lnTo>
                    <a:pt x="20" y="407"/>
                  </a:lnTo>
                  <a:lnTo>
                    <a:pt x="17" y="406"/>
                  </a:lnTo>
                  <a:lnTo>
                    <a:pt x="19" y="410"/>
                  </a:lnTo>
                  <a:lnTo>
                    <a:pt x="19" y="411"/>
                  </a:lnTo>
                  <a:lnTo>
                    <a:pt x="20" y="412"/>
                  </a:lnTo>
                  <a:lnTo>
                    <a:pt x="19" y="412"/>
                  </a:lnTo>
                  <a:lnTo>
                    <a:pt x="17" y="411"/>
                  </a:lnTo>
                  <a:lnTo>
                    <a:pt x="17" y="410"/>
                  </a:lnTo>
                  <a:lnTo>
                    <a:pt x="16" y="407"/>
                  </a:lnTo>
                  <a:lnTo>
                    <a:pt x="15" y="407"/>
                  </a:lnTo>
                  <a:lnTo>
                    <a:pt x="14" y="407"/>
                  </a:lnTo>
                  <a:lnTo>
                    <a:pt x="12" y="409"/>
                  </a:lnTo>
                  <a:lnTo>
                    <a:pt x="12" y="411"/>
                  </a:lnTo>
                  <a:lnTo>
                    <a:pt x="11" y="412"/>
                  </a:lnTo>
                  <a:lnTo>
                    <a:pt x="10" y="411"/>
                  </a:lnTo>
                  <a:lnTo>
                    <a:pt x="10" y="410"/>
                  </a:lnTo>
                  <a:lnTo>
                    <a:pt x="10" y="409"/>
                  </a:lnTo>
                  <a:lnTo>
                    <a:pt x="9" y="409"/>
                  </a:lnTo>
                  <a:lnTo>
                    <a:pt x="6" y="409"/>
                  </a:lnTo>
                  <a:lnTo>
                    <a:pt x="5" y="410"/>
                  </a:lnTo>
                  <a:lnTo>
                    <a:pt x="4" y="411"/>
                  </a:lnTo>
                  <a:lnTo>
                    <a:pt x="2" y="412"/>
                  </a:lnTo>
                  <a:lnTo>
                    <a:pt x="2" y="413"/>
                  </a:lnTo>
                  <a:lnTo>
                    <a:pt x="3" y="416"/>
                  </a:lnTo>
                  <a:lnTo>
                    <a:pt x="3" y="417"/>
                  </a:lnTo>
                  <a:lnTo>
                    <a:pt x="5" y="418"/>
                  </a:lnTo>
                  <a:lnTo>
                    <a:pt x="9" y="422"/>
                  </a:lnTo>
                  <a:lnTo>
                    <a:pt x="10" y="422"/>
                  </a:lnTo>
                  <a:lnTo>
                    <a:pt x="11" y="423"/>
                  </a:lnTo>
                  <a:lnTo>
                    <a:pt x="12" y="424"/>
                  </a:lnTo>
                  <a:lnTo>
                    <a:pt x="16" y="424"/>
                  </a:lnTo>
                  <a:lnTo>
                    <a:pt x="15" y="426"/>
                  </a:lnTo>
                  <a:lnTo>
                    <a:pt x="12" y="426"/>
                  </a:lnTo>
                  <a:lnTo>
                    <a:pt x="11" y="426"/>
                  </a:lnTo>
                  <a:lnTo>
                    <a:pt x="9" y="426"/>
                  </a:lnTo>
                  <a:lnTo>
                    <a:pt x="9" y="428"/>
                  </a:lnTo>
                  <a:lnTo>
                    <a:pt x="10" y="429"/>
                  </a:lnTo>
                  <a:lnTo>
                    <a:pt x="8" y="430"/>
                  </a:lnTo>
                  <a:lnTo>
                    <a:pt x="6" y="430"/>
                  </a:lnTo>
                  <a:lnTo>
                    <a:pt x="10" y="434"/>
                  </a:lnTo>
                  <a:lnTo>
                    <a:pt x="11" y="434"/>
                  </a:lnTo>
                  <a:lnTo>
                    <a:pt x="12" y="433"/>
                  </a:lnTo>
                  <a:lnTo>
                    <a:pt x="14" y="434"/>
                  </a:lnTo>
                  <a:lnTo>
                    <a:pt x="14" y="435"/>
                  </a:lnTo>
                  <a:lnTo>
                    <a:pt x="15" y="435"/>
                  </a:lnTo>
                  <a:lnTo>
                    <a:pt x="17" y="435"/>
                  </a:lnTo>
                  <a:lnTo>
                    <a:pt x="19" y="434"/>
                  </a:lnTo>
                  <a:lnTo>
                    <a:pt x="21" y="434"/>
                  </a:lnTo>
                  <a:lnTo>
                    <a:pt x="22" y="433"/>
                  </a:lnTo>
                  <a:lnTo>
                    <a:pt x="23" y="432"/>
                  </a:lnTo>
                  <a:lnTo>
                    <a:pt x="26" y="429"/>
                  </a:lnTo>
                  <a:lnTo>
                    <a:pt x="28" y="429"/>
                  </a:lnTo>
                  <a:lnTo>
                    <a:pt x="31" y="429"/>
                  </a:lnTo>
                  <a:lnTo>
                    <a:pt x="32" y="429"/>
                  </a:lnTo>
                  <a:lnTo>
                    <a:pt x="32" y="430"/>
                  </a:lnTo>
                  <a:lnTo>
                    <a:pt x="32" y="432"/>
                  </a:lnTo>
                  <a:lnTo>
                    <a:pt x="31" y="432"/>
                  </a:lnTo>
                  <a:lnTo>
                    <a:pt x="28" y="433"/>
                  </a:lnTo>
                  <a:lnTo>
                    <a:pt x="27" y="432"/>
                  </a:lnTo>
                  <a:lnTo>
                    <a:pt x="26" y="432"/>
                  </a:lnTo>
                  <a:lnTo>
                    <a:pt x="25" y="433"/>
                  </a:lnTo>
                  <a:lnTo>
                    <a:pt x="23" y="435"/>
                  </a:lnTo>
                  <a:lnTo>
                    <a:pt x="25" y="436"/>
                  </a:lnTo>
                  <a:lnTo>
                    <a:pt x="27" y="439"/>
                  </a:lnTo>
                  <a:lnTo>
                    <a:pt x="31" y="439"/>
                  </a:lnTo>
                  <a:lnTo>
                    <a:pt x="32" y="438"/>
                  </a:lnTo>
                  <a:lnTo>
                    <a:pt x="32" y="436"/>
                  </a:lnTo>
                  <a:lnTo>
                    <a:pt x="33" y="436"/>
                  </a:lnTo>
                  <a:lnTo>
                    <a:pt x="34" y="435"/>
                  </a:lnTo>
                  <a:lnTo>
                    <a:pt x="35" y="438"/>
                  </a:lnTo>
                  <a:lnTo>
                    <a:pt x="37" y="438"/>
                  </a:lnTo>
                  <a:lnTo>
                    <a:pt x="39" y="438"/>
                  </a:lnTo>
                  <a:lnTo>
                    <a:pt x="39" y="436"/>
                  </a:lnTo>
                  <a:lnTo>
                    <a:pt x="41" y="435"/>
                  </a:lnTo>
                  <a:lnTo>
                    <a:pt x="43" y="435"/>
                  </a:lnTo>
                  <a:lnTo>
                    <a:pt x="44" y="433"/>
                  </a:lnTo>
                  <a:lnTo>
                    <a:pt x="45" y="434"/>
                  </a:lnTo>
                  <a:lnTo>
                    <a:pt x="47" y="435"/>
                  </a:lnTo>
                  <a:lnTo>
                    <a:pt x="49" y="438"/>
                  </a:lnTo>
                  <a:lnTo>
                    <a:pt x="47" y="440"/>
                  </a:lnTo>
                  <a:lnTo>
                    <a:pt x="45" y="442"/>
                  </a:lnTo>
                  <a:lnTo>
                    <a:pt x="44" y="444"/>
                  </a:lnTo>
                  <a:lnTo>
                    <a:pt x="41" y="445"/>
                  </a:lnTo>
                  <a:lnTo>
                    <a:pt x="40" y="445"/>
                  </a:lnTo>
                  <a:lnTo>
                    <a:pt x="39" y="445"/>
                  </a:lnTo>
                  <a:lnTo>
                    <a:pt x="38" y="445"/>
                  </a:lnTo>
                  <a:lnTo>
                    <a:pt x="37" y="444"/>
                  </a:lnTo>
                  <a:lnTo>
                    <a:pt x="37" y="446"/>
                  </a:lnTo>
                  <a:lnTo>
                    <a:pt x="37" y="447"/>
                  </a:lnTo>
                  <a:lnTo>
                    <a:pt x="35" y="448"/>
                  </a:lnTo>
                  <a:lnTo>
                    <a:pt x="34" y="450"/>
                  </a:lnTo>
                  <a:lnTo>
                    <a:pt x="33" y="451"/>
                  </a:lnTo>
                  <a:lnTo>
                    <a:pt x="33" y="450"/>
                  </a:lnTo>
                  <a:lnTo>
                    <a:pt x="32" y="450"/>
                  </a:lnTo>
                  <a:lnTo>
                    <a:pt x="31" y="450"/>
                  </a:lnTo>
                  <a:lnTo>
                    <a:pt x="29" y="450"/>
                  </a:lnTo>
                  <a:lnTo>
                    <a:pt x="28" y="452"/>
                  </a:lnTo>
                  <a:lnTo>
                    <a:pt x="27" y="452"/>
                  </a:lnTo>
                  <a:lnTo>
                    <a:pt x="27" y="456"/>
                  </a:lnTo>
                  <a:lnTo>
                    <a:pt x="29" y="456"/>
                  </a:lnTo>
                  <a:lnTo>
                    <a:pt x="31" y="456"/>
                  </a:lnTo>
                  <a:lnTo>
                    <a:pt x="32" y="456"/>
                  </a:lnTo>
                  <a:lnTo>
                    <a:pt x="33" y="456"/>
                  </a:lnTo>
                  <a:lnTo>
                    <a:pt x="34" y="457"/>
                  </a:lnTo>
                  <a:lnTo>
                    <a:pt x="35" y="457"/>
                  </a:lnTo>
                  <a:lnTo>
                    <a:pt x="39" y="457"/>
                  </a:lnTo>
                  <a:lnTo>
                    <a:pt x="39" y="456"/>
                  </a:lnTo>
                  <a:lnTo>
                    <a:pt x="40" y="454"/>
                  </a:lnTo>
                  <a:lnTo>
                    <a:pt x="41" y="453"/>
                  </a:lnTo>
                  <a:lnTo>
                    <a:pt x="43" y="453"/>
                  </a:lnTo>
                  <a:lnTo>
                    <a:pt x="44" y="453"/>
                  </a:lnTo>
                  <a:lnTo>
                    <a:pt x="45" y="451"/>
                  </a:lnTo>
                  <a:lnTo>
                    <a:pt x="46" y="450"/>
                  </a:lnTo>
                  <a:lnTo>
                    <a:pt x="47" y="448"/>
                  </a:lnTo>
                  <a:lnTo>
                    <a:pt x="47" y="446"/>
                  </a:lnTo>
                  <a:lnTo>
                    <a:pt x="47" y="445"/>
                  </a:lnTo>
                  <a:lnTo>
                    <a:pt x="49" y="444"/>
                  </a:lnTo>
                  <a:lnTo>
                    <a:pt x="50" y="441"/>
                  </a:lnTo>
                  <a:lnTo>
                    <a:pt x="50" y="440"/>
                  </a:lnTo>
                  <a:lnTo>
                    <a:pt x="51" y="441"/>
                  </a:lnTo>
                  <a:lnTo>
                    <a:pt x="51" y="442"/>
                  </a:lnTo>
                  <a:lnTo>
                    <a:pt x="50" y="445"/>
                  </a:lnTo>
                  <a:lnTo>
                    <a:pt x="50" y="446"/>
                  </a:lnTo>
                  <a:lnTo>
                    <a:pt x="51" y="446"/>
                  </a:lnTo>
                  <a:lnTo>
                    <a:pt x="53" y="446"/>
                  </a:lnTo>
                  <a:lnTo>
                    <a:pt x="55" y="446"/>
                  </a:lnTo>
                  <a:lnTo>
                    <a:pt x="56" y="445"/>
                  </a:lnTo>
                  <a:lnTo>
                    <a:pt x="56" y="442"/>
                  </a:lnTo>
                  <a:lnTo>
                    <a:pt x="55" y="442"/>
                  </a:lnTo>
                  <a:lnTo>
                    <a:pt x="55" y="441"/>
                  </a:lnTo>
                  <a:lnTo>
                    <a:pt x="56" y="440"/>
                  </a:lnTo>
                  <a:lnTo>
                    <a:pt x="57" y="440"/>
                  </a:lnTo>
                  <a:lnTo>
                    <a:pt x="58" y="439"/>
                  </a:lnTo>
                  <a:lnTo>
                    <a:pt x="59" y="438"/>
                  </a:lnTo>
                  <a:lnTo>
                    <a:pt x="59" y="436"/>
                  </a:lnTo>
                  <a:lnTo>
                    <a:pt x="61" y="435"/>
                  </a:lnTo>
                  <a:lnTo>
                    <a:pt x="61" y="434"/>
                  </a:lnTo>
                  <a:lnTo>
                    <a:pt x="62" y="432"/>
                  </a:lnTo>
                  <a:lnTo>
                    <a:pt x="63" y="432"/>
                  </a:lnTo>
                  <a:lnTo>
                    <a:pt x="64" y="433"/>
                  </a:lnTo>
                  <a:lnTo>
                    <a:pt x="65" y="433"/>
                  </a:lnTo>
                  <a:lnTo>
                    <a:pt x="65" y="434"/>
                  </a:lnTo>
                  <a:lnTo>
                    <a:pt x="67" y="434"/>
                  </a:lnTo>
                  <a:lnTo>
                    <a:pt x="68" y="433"/>
                  </a:lnTo>
                  <a:lnTo>
                    <a:pt x="69" y="433"/>
                  </a:lnTo>
                  <a:lnTo>
                    <a:pt x="70" y="433"/>
                  </a:lnTo>
                  <a:lnTo>
                    <a:pt x="71" y="433"/>
                  </a:lnTo>
                  <a:lnTo>
                    <a:pt x="71" y="434"/>
                  </a:lnTo>
                  <a:lnTo>
                    <a:pt x="69" y="435"/>
                  </a:lnTo>
                  <a:lnTo>
                    <a:pt x="69" y="436"/>
                  </a:lnTo>
                  <a:lnTo>
                    <a:pt x="68" y="436"/>
                  </a:lnTo>
                  <a:lnTo>
                    <a:pt x="65" y="439"/>
                  </a:lnTo>
                  <a:lnTo>
                    <a:pt x="64" y="439"/>
                  </a:lnTo>
                  <a:lnTo>
                    <a:pt x="64" y="438"/>
                  </a:lnTo>
                  <a:lnTo>
                    <a:pt x="64" y="436"/>
                  </a:lnTo>
                  <a:lnTo>
                    <a:pt x="63" y="435"/>
                  </a:lnTo>
                  <a:lnTo>
                    <a:pt x="61" y="438"/>
                  </a:lnTo>
                  <a:lnTo>
                    <a:pt x="58" y="440"/>
                  </a:lnTo>
                  <a:lnTo>
                    <a:pt x="61" y="442"/>
                  </a:lnTo>
                  <a:lnTo>
                    <a:pt x="63" y="442"/>
                  </a:lnTo>
                  <a:lnTo>
                    <a:pt x="64" y="444"/>
                  </a:lnTo>
                  <a:lnTo>
                    <a:pt x="65" y="445"/>
                  </a:lnTo>
                  <a:lnTo>
                    <a:pt x="68" y="446"/>
                  </a:lnTo>
                  <a:lnTo>
                    <a:pt x="70" y="446"/>
                  </a:lnTo>
                  <a:lnTo>
                    <a:pt x="71" y="446"/>
                  </a:lnTo>
                  <a:lnTo>
                    <a:pt x="74" y="444"/>
                  </a:lnTo>
                  <a:lnTo>
                    <a:pt x="75" y="442"/>
                  </a:lnTo>
                  <a:lnTo>
                    <a:pt x="76" y="441"/>
                  </a:lnTo>
                  <a:lnTo>
                    <a:pt x="78" y="440"/>
                  </a:lnTo>
                  <a:lnTo>
                    <a:pt x="79" y="439"/>
                  </a:lnTo>
                  <a:lnTo>
                    <a:pt x="81" y="438"/>
                  </a:lnTo>
                  <a:lnTo>
                    <a:pt x="82" y="436"/>
                  </a:lnTo>
                  <a:lnTo>
                    <a:pt x="82" y="434"/>
                  </a:lnTo>
                  <a:lnTo>
                    <a:pt x="84" y="433"/>
                  </a:lnTo>
                  <a:lnTo>
                    <a:pt x="85" y="434"/>
                  </a:lnTo>
                  <a:lnTo>
                    <a:pt x="86" y="433"/>
                  </a:lnTo>
                  <a:lnTo>
                    <a:pt x="87" y="433"/>
                  </a:lnTo>
                  <a:lnTo>
                    <a:pt x="87" y="434"/>
                  </a:lnTo>
                  <a:lnTo>
                    <a:pt x="85" y="435"/>
                  </a:lnTo>
                  <a:lnTo>
                    <a:pt x="84" y="436"/>
                  </a:lnTo>
                  <a:lnTo>
                    <a:pt x="85" y="438"/>
                  </a:lnTo>
                  <a:lnTo>
                    <a:pt x="84" y="438"/>
                  </a:lnTo>
                  <a:lnTo>
                    <a:pt x="82" y="439"/>
                  </a:lnTo>
                  <a:lnTo>
                    <a:pt x="81" y="439"/>
                  </a:lnTo>
                  <a:lnTo>
                    <a:pt x="80" y="440"/>
                  </a:lnTo>
                  <a:lnTo>
                    <a:pt x="79" y="441"/>
                  </a:lnTo>
                  <a:lnTo>
                    <a:pt x="79" y="442"/>
                  </a:lnTo>
                  <a:lnTo>
                    <a:pt x="82" y="444"/>
                  </a:lnTo>
                  <a:lnTo>
                    <a:pt x="86" y="445"/>
                  </a:lnTo>
                  <a:lnTo>
                    <a:pt x="88" y="445"/>
                  </a:lnTo>
                  <a:lnTo>
                    <a:pt x="88" y="446"/>
                  </a:lnTo>
                  <a:lnTo>
                    <a:pt x="91" y="447"/>
                  </a:lnTo>
                  <a:lnTo>
                    <a:pt x="92" y="448"/>
                  </a:lnTo>
                  <a:lnTo>
                    <a:pt x="93" y="450"/>
                  </a:lnTo>
                  <a:lnTo>
                    <a:pt x="92" y="450"/>
                  </a:lnTo>
                  <a:lnTo>
                    <a:pt x="88" y="452"/>
                  </a:lnTo>
                  <a:lnTo>
                    <a:pt x="87" y="452"/>
                  </a:lnTo>
                  <a:lnTo>
                    <a:pt x="85" y="453"/>
                  </a:lnTo>
                  <a:lnTo>
                    <a:pt x="82" y="453"/>
                  </a:lnTo>
                  <a:lnTo>
                    <a:pt x="80" y="454"/>
                  </a:lnTo>
                  <a:lnTo>
                    <a:pt x="81" y="457"/>
                  </a:lnTo>
                  <a:lnTo>
                    <a:pt x="82" y="458"/>
                  </a:lnTo>
                  <a:lnTo>
                    <a:pt x="81" y="459"/>
                  </a:lnTo>
                  <a:lnTo>
                    <a:pt x="80" y="459"/>
                  </a:lnTo>
                  <a:lnTo>
                    <a:pt x="81" y="460"/>
                  </a:lnTo>
                  <a:lnTo>
                    <a:pt x="82" y="460"/>
                  </a:lnTo>
                  <a:lnTo>
                    <a:pt x="84" y="460"/>
                  </a:lnTo>
                  <a:lnTo>
                    <a:pt x="86" y="460"/>
                  </a:lnTo>
                  <a:lnTo>
                    <a:pt x="88" y="460"/>
                  </a:lnTo>
                  <a:lnTo>
                    <a:pt x="90" y="459"/>
                  </a:lnTo>
                  <a:lnTo>
                    <a:pt x="91" y="458"/>
                  </a:lnTo>
                  <a:lnTo>
                    <a:pt x="91" y="457"/>
                  </a:lnTo>
                  <a:lnTo>
                    <a:pt x="92" y="456"/>
                  </a:lnTo>
                  <a:lnTo>
                    <a:pt x="93" y="457"/>
                  </a:lnTo>
                  <a:lnTo>
                    <a:pt x="94" y="457"/>
                  </a:lnTo>
                  <a:lnTo>
                    <a:pt x="94" y="454"/>
                  </a:lnTo>
                  <a:lnTo>
                    <a:pt x="94" y="453"/>
                  </a:lnTo>
                  <a:lnTo>
                    <a:pt x="94" y="452"/>
                  </a:lnTo>
                  <a:lnTo>
                    <a:pt x="97" y="450"/>
                  </a:lnTo>
                  <a:lnTo>
                    <a:pt x="98" y="447"/>
                  </a:lnTo>
                  <a:lnTo>
                    <a:pt x="98" y="445"/>
                  </a:lnTo>
                  <a:lnTo>
                    <a:pt x="99" y="444"/>
                  </a:lnTo>
                  <a:lnTo>
                    <a:pt x="99" y="442"/>
                  </a:lnTo>
                  <a:lnTo>
                    <a:pt x="102" y="442"/>
                  </a:lnTo>
                  <a:lnTo>
                    <a:pt x="102" y="444"/>
                  </a:lnTo>
                  <a:lnTo>
                    <a:pt x="102" y="446"/>
                  </a:lnTo>
                  <a:lnTo>
                    <a:pt x="105" y="446"/>
                  </a:lnTo>
                  <a:lnTo>
                    <a:pt x="106" y="445"/>
                  </a:lnTo>
                  <a:lnTo>
                    <a:pt x="108" y="444"/>
                  </a:lnTo>
                  <a:lnTo>
                    <a:pt x="109" y="442"/>
                  </a:lnTo>
                  <a:lnTo>
                    <a:pt x="111" y="441"/>
                  </a:lnTo>
                  <a:lnTo>
                    <a:pt x="112" y="440"/>
                  </a:lnTo>
                  <a:lnTo>
                    <a:pt x="112" y="441"/>
                  </a:lnTo>
                  <a:lnTo>
                    <a:pt x="111" y="442"/>
                  </a:lnTo>
                  <a:lnTo>
                    <a:pt x="109" y="444"/>
                  </a:lnTo>
                  <a:lnTo>
                    <a:pt x="106" y="446"/>
                  </a:lnTo>
                  <a:lnTo>
                    <a:pt x="105" y="447"/>
                  </a:lnTo>
                  <a:lnTo>
                    <a:pt x="103" y="448"/>
                  </a:lnTo>
                  <a:lnTo>
                    <a:pt x="102" y="450"/>
                  </a:lnTo>
                  <a:lnTo>
                    <a:pt x="103" y="452"/>
                  </a:lnTo>
                  <a:lnTo>
                    <a:pt x="105" y="451"/>
                  </a:lnTo>
                  <a:lnTo>
                    <a:pt x="109" y="448"/>
                  </a:lnTo>
                  <a:lnTo>
                    <a:pt x="110" y="447"/>
                  </a:lnTo>
                  <a:lnTo>
                    <a:pt x="112" y="446"/>
                  </a:lnTo>
                  <a:lnTo>
                    <a:pt x="115" y="445"/>
                  </a:lnTo>
                  <a:lnTo>
                    <a:pt x="116" y="446"/>
                  </a:lnTo>
                  <a:lnTo>
                    <a:pt x="116" y="448"/>
                  </a:lnTo>
                  <a:lnTo>
                    <a:pt x="117" y="450"/>
                  </a:lnTo>
                  <a:lnTo>
                    <a:pt x="118" y="448"/>
                  </a:lnTo>
                  <a:lnTo>
                    <a:pt x="120" y="447"/>
                  </a:lnTo>
                  <a:lnTo>
                    <a:pt x="120" y="445"/>
                  </a:lnTo>
                  <a:lnTo>
                    <a:pt x="120" y="444"/>
                  </a:lnTo>
                  <a:lnTo>
                    <a:pt x="120" y="442"/>
                  </a:lnTo>
                  <a:lnTo>
                    <a:pt x="121" y="442"/>
                  </a:lnTo>
                  <a:lnTo>
                    <a:pt x="122" y="442"/>
                  </a:lnTo>
                  <a:lnTo>
                    <a:pt x="124" y="444"/>
                  </a:lnTo>
                  <a:lnTo>
                    <a:pt x="126" y="445"/>
                  </a:lnTo>
                  <a:lnTo>
                    <a:pt x="128" y="445"/>
                  </a:lnTo>
                  <a:lnTo>
                    <a:pt x="129" y="445"/>
                  </a:lnTo>
                  <a:lnTo>
                    <a:pt x="132" y="444"/>
                  </a:lnTo>
                  <a:lnTo>
                    <a:pt x="133" y="442"/>
                  </a:lnTo>
                  <a:lnTo>
                    <a:pt x="133" y="440"/>
                  </a:lnTo>
                  <a:lnTo>
                    <a:pt x="132" y="439"/>
                  </a:lnTo>
                  <a:lnTo>
                    <a:pt x="132" y="438"/>
                  </a:lnTo>
                  <a:lnTo>
                    <a:pt x="130" y="438"/>
                  </a:lnTo>
                  <a:lnTo>
                    <a:pt x="128" y="439"/>
                  </a:lnTo>
                  <a:lnTo>
                    <a:pt x="126" y="439"/>
                  </a:lnTo>
                  <a:lnTo>
                    <a:pt x="124" y="438"/>
                  </a:lnTo>
                  <a:lnTo>
                    <a:pt x="124" y="436"/>
                  </a:lnTo>
                  <a:lnTo>
                    <a:pt x="123" y="436"/>
                  </a:lnTo>
                  <a:lnTo>
                    <a:pt x="121" y="435"/>
                  </a:lnTo>
                  <a:lnTo>
                    <a:pt x="120" y="435"/>
                  </a:lnTo>
                  <a:lnTo>
                    <a:pt x="122" y="434"/>
                  </a:lnTo>
                  <a:lnTo>
                    <a:pt x="124" y="434"/>
                  </a:lnTo>
                  <a:lnTo>
                    <a:pt x="124" y="435"/>
                  </a:lnTo>
                  <a:lnTo>
                    <a:pt x="126" y="436"/>
                  </a:lnTo>
                  <a:lnTo>
                    <a:pt x="128" y="436"/>
                  </a:lnTo>
                  <a:lnTo>
                    <a:pt x="129" y="434"/>
                  </a:lnTo>
                  <a:lnTo>
                    <a:pt x="129" y="433"/>
                  </a:lnTo>
                  <a:lnTo>
                    <a:pt x="129" y="432"/>
                  </a:lnTo>
                  <a:lnTo>
                    <a:pt x="128" y="430"/>
                  </a:lnTo>
                  <a:lnTo>
                    <a:pt x="124" y="429"/>
                  </a:lnTo>
                  <a:lnTo>
                    <a:pt x="123" y="429"/>
                  </a:lnTo>
                  <a:lnTo>
                    <a:pt x="123" y="427"/>
                  </a:lnTo>
                  <a:lnTo>
                    <a:pt x="124" y="426"/>
                  </a:lnTo>
                  <a:lnTo>
                    <a:pt x="126" y="424"/>
                  </a:lnTo>
                  <a:lnTo>
                    <a:pt x="127" y="424"/>
                  </a:lnTo>
                  <a:lnTo>
                    <a:pt x="128" y="426"/>
                  </a:lnTo>
                  <a:lnTo>
                    <a:pt x="128" y="428"/>
                  </a:lnTo>
                  <a:lnTo>
                    <a:pt x="129" y="429"/>
                  </a:lnTo>
                  <a:lnTo>
                    <a:pt x="132" y="430"/>
                  </a:lnTo>
                  <a:lnTo>
                    <a:pt x="133" y="432"/>
                  </a:lnTo>
                  <a:lnTo>
                    <a:pt x="135" y="433"/>
                  </a:lnTo>
                  <a:lnTo>
                    <a:pt x="138" y="433"/>
                  </a:lnTo>
                  <a:lnTo>
                    <a:pt x="139" y="433"/>
                  </a:lnTo>
                  <a:lnTo>
                    <a:pt x="140" y="435"/>
                  </a:lnTo>
                  <a:lnTo>
                    <a:pt x="139" y="435"/>
                  </a:lnTo>
                  <a:lnTo>
                    <a:pt x="137" y="434"/>
                  </a:lnTo>
                  <a:lnTo>
                    <a:pt x="137" y="436"/>
                  </a:lnTo>
                  <a:lnTo>
                    <a:pt x="137" y="438"/>
                  </a:lnTo>
                  <a:lnTo>
                    <a:pt x="139" y="438"/>
                  </a:lnTo>
                  <a:lnTo>
                    <a:pt x="141" y="440"/>
                  </a:lnTo>
                  <a:lnTo>
                    <a:pt x="143" y="444"/>
                  </a:lnTo>
                  <a:lnTo>
                    <a:pt x="144" y="446"/>
                  </a:lnTo>
                  <a:lnTo>
                    <a:pt x="144" y="448"/>
                  </a:lnTo>
                  <a:lnTo>
                    <a:pt x="141" y="448"/>
                  </a:lnTo>
                  <a:lnTo>
                    <a:pt x="141" y="446"/>
                  </a:lnTo>
                  <a:lnTo>
                    <a:pt x="139" y="442"/>
                  </a:lnTo>
                  <a:lnTo>
                    <a:pt x="138" y="442"/>
                  </a:lnTo>
                  <a:lnTo>
                    <a:pt x="139" y="445"/>
                  </a:lnTo>
                  <a:lnTo>
                    <a:pt x="139" y="446"/>
                  </a:lnTo>
                  <a:lnTo>
                    <a:pt x="139" y="448"/>
                  </a:lnTo>
                  <a:lnTo>
                    <a:pt x="138" y="448"/>
                  </a:lnTo>
                  <a:lnTo>
                    <a:pt x="137" y="451"/>
                  </a:lnTo>
                  <a:lnTo>
                    <a:pt x="137" y="452"/>
                  </a:lnTo>
                  <a:lnTo>
                    <a:pt x="139" y="453"/>
                  </a:lnTo>
                  <a:lnTo>
                    <a:pt x="140" y="452"/>
                  </a:lnTo>
                  <a:lnTo>
                    <a:pt x="143" y="452"/>
                  </a:lnTo>
                  <a:lnTo>
                    <a:pt x="141" y="453"/>
                  </a:lnTo>
                  <a:lnTo>
                    <a:pt x="140" y="454"/>
                  </a:lnTo>
                  <a:lnTo>
                    <a:pt x="139" y="454"/>
                  </a:lnTo>
                  <a:lnTo>
                    <a:pt x="138" y="456"/>
                  </a:lnTo>
                  <a:lnTo>
                    <a:pt x="137" y="456"/>
                  </a:lnTo>
                  <a:lnTo>
                    <a:pt x="135" y="458"/>
                  </a:lnTo>
                  <a:lnTo>
                    <a:pt x="135" y="460"/>
                  </a:lnTo>
                  <a:lnTo>
                    <a:pt x="137" y="460"/>
                  </a:lnTo>
                  <a:lnTo>
                    <a:pt x="134" y="462"/>
                  </a:lnTo>
                  <a:lnTo>
                    <a:pt x="133" y="462"/>
                  </a:lnTo>
                  <a:lnTo>
                    <a:pt x="132" y="459"/>
                  </a:lnTo>
                  <a:lnTo>
                    <a:pt x="129" y="459"/>
                  </a:lnTo>
                  <a:lnTo>
                    <a:pt x="128" y="460"/>
                  </a:lnTo>
                  <a:lnTo>
                    <a:pt x="128" y="463"/>
                  </a:lnTo>
                  <a:lnTo>
                    <a:pt x="128" y="464"/>
                  </a:lnTo>
                  <a:lnTo>
                    <a:pt x="128" y="466"/>
                  </a:lnTo>
                  <a:lnTo>
                    <a:pt x="129" y="466"/>
                  </a:lnTo>
                  <a:lnTo>
                    <a:pt x="132" y="466"/>
                  </a:lnTo>
                  <a:lnTo>
                    <a:pt x="133" y="466"/>
                  </a:lnTo>
                  <a:lnTo>
                    <a:pt x="134" y="466"/>
                  </a:lnTo>
                  <a:lnTo>
                    <a:pt x="135" y="465"/>
                  </a:lnTo>
                  <a:lnTo>
                    <a:pt x="135" y="464"/>
                  </a:lnTo>
                  <a:lnTo>
                    <a:pt x="137" y="465"/>
                  </a:lnTo>
                  <a:lnTo>
                    <a:pt x="138" y="466"/>
                  </a:lnTo>
                  <a:lnTo>
                    <a:pt x="141" y="466"/>
                  </a:lnTo>
                  <a:lnTo>
                    <a:pt x="143" y="465"/>
                  </a:lnTo>
                  <a:lnTo>
                    <a:pt x="144" y="466"/>
                  </a:lnTo>
                  <a:lnTo>
                    <a:pt x="144" y="468"/>
                  </a:lnTo>
                  <a:lnTo>
                    <a:pt x="145" y="469"/>
                  </a:lnTo>
                  <a:lnTo>
                    <a:pt x="147" y="468"/>
                  </a:lnTo>
                  <a:lnTo>
                    <a:pt x="147" y="466"/>
                  </a:lnTo>
                  <a:lnTo>
                    <a:pt x="150" y="465"/>
                  </a:lnTo>
                  <a:lnTo>
                    <a:pt x="152" y="464"/>
                  </a:lnTo>
                  <a:lnTo>
                    <a:pt x="152" y="463"/>
                  </a:lnTo>
                  <a:lnTo>
                    <a:pt x="151" y="463"/>
                  </a:lnTo>
                  <a:lnTo>
                    <a:pt x="149" y="463"/>
                  </a:lnTo>
                  <a:lnTo>
                    <a:pt x="146" y="463"/>
                  </a:lnTo>
                  <a:lnTo>
                    <a:pt x="149" y="460"/>
                  </a:lnTo>
                  <a:lnTo>
                    <a:pt x="150" y="459"/>
                  </a:lnTo>
                  <a:lnTo>
                    <a:pt x="151" y="458"/>
                  </a:lnTo>
                  <a:lnTo>
                    <a:pt x="152" y="458"/>
                  </a:lnTo>
                  <a:lnTo>
                    <a:pt x="153" y="458"/>
                  </a:lnTo>
                  <a:lnTo>
                    <a:pt x="155" y="460"/>
                  </a:lnTo>
                  <a:lnTo>
                    <a:pt x="155" y="462"/>
                  </a:lnTo>
                  <a:lnTo>
                    <a:pt x="155" y="463"/>
                  </a:lnTo>
                  <a:lnTo>
                    <a:pt x="156" y="462"/>
                  </a:lnTo>
                  <a:lnTo>
                    <a:pt x="157" y="464"/>
                  </a:lnTo>
                  <a:lnTo>
                    <a:pt x="158" y="465"/>
                  </a:lnTo>
                  <a:lnTo>
                    <a:pt x="156" y="465"/>
                  </a:lnTo>
                  <a:lnTo>
                    <a:pt x="153" y="465"/>
                  </a:lnTo>
                  <a:lnTo>
                    <a:pt x="151" y="466"/>
                  </a:lnTo>
                  <a:lnTo>
                    <a:pt x="150" y="468"/>
                  </a:lnTo>
                  <a:lnTo>
                    <a:pt x="149" y="469"/>
                  </a:lnTo>
                  <a:lnTo>
                    <a:pt x="147" y="470"/>
                  </a:lnTo>
                  <a:lnTo>
                    <a:pt x="144" y="472"/>
                  </a:lnTo>
                  <a:lnTo>
                    <a:pt x="143" y="470"/>
                  </a:lnTo>
                  <a:lnTo>
                    <a:pt x="141" y="469"/>
                  </a:lnTo>
                  <a:lnTo>
                    <a:pt x="140" y="469"/>
                  </a:lnTo>
                  <a:lnTo>
                    <a:pt x="138" y="468"/>
                  </a:lnTo>
                  <a:lnTo>
                    <a:pt x="137" y="468"/>
                  </a:lnTo>
                  <a:lnTo>
                    <a:pt x="137" y="470"/>
                  </a:lnTo>
                  <a:lnTo>
                    <a:pt x="135" y="470"/>
                  </a:lnTo>
                  <a:lnTo>
                    <a:pt x="133" y="470"/>
                  </a:lnTo>
                  <a:lnTo>
                    <a:pt x="133" y="469"/>
                  </a:lnTo>
                  <a:lnTo>
                    <a:pt x="132" y="469"/>
                  </a:lnTo>
                  <a:lnTo>
                    <a:pt x="130" y="470"/>
                  </a:lnTo>
                  <a:lnTo>
                    <a:pt x="128" y="471"/>
                  </a:lnTo>
                  <a:lnTo>
                    <a:pt x="126" y="471"/>
                  </a:lnTo>
                  <a:lnTo>
                    <a:pt x="124" y="469"/>
                  </a:lnTo>
                  <a:lnTo>
                    <a:pt x="122" y="468"/>
                  </a:lnTo>
                  <a:lnTo>
                    <a:pt x="121" y="469"/>
                  </a:lnTo>
                  <a:lnTo>
                    <a:pt x="121" y="471"/>
                  </a:lnTo>
                  <a:lnTo>
                    <a:pt x="120" y="471"/>
                  </a:lnTo>
                  <a:lnTo>
                    <a:pt x="118" y="472"/>
                  </a:lnTo>
                  <a:lnTo>
                    <a:pt x="117" y="475"/>
                  </a:lnTo>
                  <a:lnTo>
                    <a:pt x="115" y="472"/>
                  </a:lnTo>
                  <a:lnTo>
                    <a:pt x="114" y="472"/>
                  </a:lnTo>
                  <a:lnTo>
                    <a:pt x="112" y="474"/>
                  </a:lnTo>
                  <a:lnTo>
                    <a:pt x="114" y="476"/>
                  </a:lnTo>
                  <a:lnTo>
                    <a:pt x="110" y="476"/>
                  </a:lnTo>
                  <a:lnTo>
                    <a:pt x="110" y="477"/>
                  </a:lnTo>
                  <a:lnTo>
                    <a:pt x="112" y="478"/>
                  </a:lnTo>
                  <a:lnTo>
                    <a:pt x="114" y="480"/>
                  </a:lnTo>
                  <a:lnTo>
                    <a:pt x="115" y="480"/>
                  </a:lnTo>
                  <a:lnTo>
                    <a:pt x="115" y="481"/>
                  </a:lnTo>
                  <a:lnTo>
                    <a:pt x="117" y="481"/>
                  </a:lnTo>
                  <a:lnTo>
                    <a:pt x="118" y="481"/>
                  </a:lnTo>
                  <a:lnTo>
                    <a:pt x="121" y="480"/>
                  </a:lnTo>
                  <a:lnTo>
                    <a:pt x="123" y="480"/>
                  </a:lnTo>
                  <a:lnTo>
                    <a:pt x="123" y="478"/>
                  </a:lnTo>
                  <a:lnTo>
                    <a:pt x="124" y="477"/>
                  </a:lnTo>
                  <a:lnTo>
                    <a:pt x="126" y="478"/>
                  </a:lnTo>
                  <a:lnTo>
                    <a:pt x="127" y="478"/>
                  </a:lnTo>
                  <a:lnTo>
                    <a:pt x="128" y="477"/>
                  </a:lnTo>
                  <a:lnTo>
                    <a:pt x="128" y="476"/>
                  </a:lnTo>
                  <a:lnTo>
                    <a:pt x="128" y="478"/>
                  </a:lnTo>
                  <a:lnTo>
                    <a:pt x="127" y="480"/>
                  </a:lnTo>
                  <a:lnTo>
                    <a:pt x="124" y="482"/>
                  </a:lnTo>
                  <a:lnTo>
                    <a:pt x="123" y="483"/>
                  </a:lnTo>
                  <a:lnTo>
                    <a:pt x="122" y="483"/>
                  </a:lnTo>
                  <a:lnTo>
                    <a:pt x="120" y="483"/>
                  </a:lnTo>
                  <a:lnTo>
                    <a:pt x="118" y="484"/>
                  </a:lnTo>
                  <a:lnTo>
                    <a:pt x="116" y="486"/>
                  </a:lnTo>
                  <a:lnTo>
                    <a:pt x="115" y="487"/>
                  </a:lnTo>
                  <a:lnTo>
                    <a:pt x="114" y="488"/>
                  </a:lnTo>
                  <a:lnTo>
                    <a:pt x="112" y="486"/>
                  </a:lnTo>
                  <a:lnTo>
                    <a:pt x="112" y="484"/>
                  </a:lnTo>
                  <a:lnTo>
                    <a:pt x="111" y="486"/>
                  </a:lnTo>
                  <a:lnTo>
                    <a:pt x="109" y="486"/>
                  </a:lnTo>
                  <a:lnTo>
                    <a:pt x="106" y="488"/>
                  </a:lnTo>
                  <a:lnTo>
                    <a:pt x="105" y="488"/>
                  </a:lnTo>
                  <a:lnTo>
                    <a:pt x="103" y="489"/>
                  </a:lnTo>
                  <a:lnTo>
                    <a:pt x="102" y="489"/>
                  </a:lnTo>
                  <a:lnTo>
                    <a:pt x="100" y="489"/>
                  </a:lnTo>
                  <a:lnTo>
                    <a:pt x="96" y="492"/>
                  </a:lnTo>
                  <a:lnTo>
                    <a:pt x="96" y="493"/>
                  </a:lnTo>
                  <a:lnTo>
                    <a:pt x="94" y="494"/>
                  </a:lnTo>
                  <a:lnTo>
                    <a:pt x="94" y="495"/>
                  </a:lnTo>
                  <a:lnTo>
                    <a:pt x="93" y="496"/>
                  </a:lnTo>
                  <a:lnTo>
                    <a:pt x="91" y="496"/>
                  </a:lnTo>
                  <a:lnTo>
                    <a:pt x="88" y="498"/>
                  </a:lnTo>
                  <a:lnTo>
                    <a:pt x="87" y="498"/>
                  </a:lnTo>
                  <a:lnTo>
                    <a:pt x="85" y="498"/>
                  </a:lnTo>
                  <a:lnTo>
                    <a:pt x="81" y="498"/>
                  </a:lnTo>
                  <a:lnTo>
                    <a:pt x="81" y="499"/>
                  </a:lnTo>
                  <a:lnTo>
                    <a:pt x="80" y="500"/>
                  </a:lnTo>
                  <a:lnTo>
                    <a:pt x="79" y="498"/>
                  </a:lnTo>
                  <a:lnTo>
                    <a:pt x="76" y="499"/>
                  </a:lnTo>
                  <a:lnTo>
                    <a:pt x="76" y="500"/>
                  </a:lnTo>
                  <a:lnTo>
                    <a:pt x="73" y="500"/>
                  </a:lnTo>
                  <a:lnTo>
                    <a:pt x="73" y="502"/>
                  </a:lnTo>
                  <a:lnTo>
                    <a:pt x="71" y="502"/>
                  </a:lnTo>
                  <a:lnTo>
                    <a:pt x="71" y="501"/>
                  </a:lnTo>
                  <a:lnTo>
                    <a:pt x="70" y="499"/>
                  </a:lnTo>
                  <a:lnTo>
                    <a:pt x="67" y="499"/>
                  </a:lnTo>
                  <a:lnTo>
                    <a:pt x="67" y="498"/>
                  </a:lnTo>
                  <a:lnTo>
                    <a:pt x="65" y="495"/>
                  </a:lnTo>
                  <a:lnTo>
                    <a:pt x="64" y="495"/>
                  </a:lnTo>
                  <a:lnTo>
                    <a:pt x="63" y="496"/>
                  </a:lnTo>
                  <a:lnTo>
                    <a:pt x="62" y="498"/>
                  </a:lnTo>
                  <a:lnTo>
                    <a:pt x="61" y="498"/>
                  </a:lnTo>
                  <a:lnTo>
                    <a:pt x="61" y="499"/>
                  </a:lnTo>
                  <a:lnTo>
                    <a:pt x="61" y="501"/>
                  </a:lnTo>
                  <a:lnTo>
                    <a:pt x="62" y="502"/>
                  </a:lnTo>
                  <a:lnTo>
                    <a:pt x="62" y="504"/>
                  </a:lnTo>
                  <a:lnTo>
                    <a:pt x="62" y="505"/>
                  </a:lnTo>
                  <a:lnTo>
                    <a:pt x="63" y="506"/>
                  </a:lnTo>
                  <a:lnTo>
                    <a:pt x="64" y="506"/>
                  </a:lnTo>
                  <a:lnTo>
                    <a:pt x="63" y="508"/>
                  </a:lnTo>
                  <a:lnTo>
                    <a:pt x="62" y="510"/>
                  </a:lnTo>
                  <a:lnTo>
                    <a:pt x="62" y="511"/>
                  </a:lnTo>
                  <a:lnTo>
                    <a:pt x="64" y="511"/>
                  </a:lnTo>
                  <a:lnTo>
                    <a:pt x="67" y="511"/>
                  </a:lnTo>
                  <a:lnTo>
                    <a:pt x="68" y="512"/>
                  </a:lnTo>
                  <a:lnTo>
                    <a:pt x="69" y="513"/>
                  </a:lnTo>
                  <a:lnTo>
                    <a:pt x="70" y="512"/>
                  </a:lnTo>
                  <a:lnTo>
                    <a:pt x="73" y="512"/>
                  </a:lnTo>
                  <a:lnTo>
                    <a:pt x="75" y="511"/>
                  </a:lnTo>
                  <a:lnTo>
                    <a:pt x="76" y="511"/>
                  </a:lnTo>
                  <a:lnTo>
                    <a:pt x="79" y="511"/>
                  </a:lnTo>
                  <a:lnTo>
                    <a:pt x="80" y="511"/>
                  </a:lnTo>
                  <a:lnTo>
                    <a:pt x="82" y="513"/>
                  </a:lnTo>
                  <a:lnTo>
                    <a:pt x="85" y="517"/>
                  </a:lnTo>
                  <a:lnTo>
                    <a:pt x="84" y="517"/>
                  </a:lnTo>
                  <a:lnTo>
                    <a:pt x="82" y="516"/>
                  </a:lnTo>
                  <a:lnTo>
                    <a:pt x="81" y="516"/>
                  </a:lnTo>
                  <a:lnTo>
                    <a:pt x="80" y="517"/>
                  </a:lnTo>
                  <a:lnTo>
                    <a:pt x="79" y="517"/>
                  </a:lnTo>
                  <a:lnTo>
                    <a:pt x="78" y="516"/>
                  </a:lnTo>
                  <a:lnTo>
                    <a:pt x="76" y="514"/>
                  </a:lnTo>
                  <a:lnTo>
                    <a:pt x="74" y="514"/>
                  </a:lnTo>
                  <a:lnTo>
                    <a:pt x="71" y="514"/>
                  </a:lnTo>
                  <a:lnTo>
                    <a:pt x="70" y="514"/>
                  </a:lnTo>
                  <a:lnTo>
                    <a:pt x="69" y="516"/>
                  </a:lnTo>
                  <a:lnTo>
                    <a:pt x="71" y="517"/>
                  </a:lnTo>
                  <a:lnTo>
                    <a:pt x="73" y="518"/>
                  </a:lnTo>
                  <a:lnTo>
                    <a:pt x="71" y="520"/>
                  </a:lnTo>
                  <a:lnTo>
                    <a:pt x="74" y="522"/>
                  </a:lnTo>
                  <a:lnTo>
                    <a:pt x="75" y="522"/>
                  </a:lnTo>
                  <a:lnTo>
                    <a:pt x="78" y="523"/>
                  </a:lnTo>
                  <a:lnTo>
                    <a:pt x="78" y="525"/>
                  </a:lnTo>
                  <a:lnTo>
                    <a:pt x="76" y="525"/>
                  </a:lnTo>
                  <a:lnTo>
                    <a:pt x="75" y="526"/>
                  </a:lnTo>
                  <a:lnTo>
                    <a:pt x="76" y="526"/>
                  </a:lnTo>
                  <a:lnTo>
                    <a:pt x="80" y="526"/>
                  </a:lnTo>
                  <a:lnTo>
                    <a:pt x="81" y="525"/>
                  </a:lnTo>
                  <a:lnTo>
                    <a:pt x="81" y="524"/>
                  </a:lnTo>
                  <a:lnTo>
                    <a:pt x="84" y="523"/>
                  </a:lnTo>
                  <a:lnTo>
                    <a:pt x="84" y="524"/>
                  </a:lnTo>
                  <a:lnTo>
                    <a:pt x="82" y="526"/>
                  </a:lnTo>
                  <a:lnTo>
                    <a:pt x="81" y="529"/>
                  </a:lnTo>
                  <a:lnTo>
                    <a:pt x="79" y="530"/>
                  </a:lnTo>
                  <a:lnTo>
                    <a:pt x="76" y="530"/>
                  </a:lnTo>
                  <a:lnTo>
                    <a:pt x="75" y="530"/>
                  </a:lnTo>
                  <a:lnTo>
                    <a:pt x="73" y="529"/>
                  </a:lnTo>
                  <a:lnTo>
                    <a:pt x="73" y="526"/>
                  </a:lnTo>
                  <a:lnTo>
                    <a:pt x="74" y="524"/>
                  </a:lnTo>
                  <a:lnTo>
                    <a:pt x="73" y="523"/>
                  </a:lnTo>
                  <a:lnTo>
                    <a:pt x="70" y="522"/>
                  </a:lnTo>
                  <a:lnTo>
                    <a:pt x="70" y="520"/>
                  </a:lnTo>
                  <a:lnTo>
                    <a:pt x="70" y="519"/>
                  </a:lnTo>
                  <a:lnTo>
                    <a:pt x="69" y="518"/>
                  </a:lnTo>
                  <a:lnTo>
                    <a:pt x="67" y="517"/>
                  </a:lnTo>
                  <a:lnTo>
                    <a:pt x="65" y="517"/>
                  </a:lnTo>
                  <a:lnTo>
                    <a:pt x="64" y="518"/>
                  </a:lnTo>
                  <a:lnTo>
                    <a:pt x="63" y="518"/>
                  </a:lnTo>
                  <a:lnTo>
                    <a:pt x="62" y="519"/>
                  </a:lnTo>
                  <a:lnTo>
                    <a:pt x="59" y="520"/>
                  </a:lnTo>
                  <a:lnTo>
                    <a:pt x="57" y="522"/>
                  </a:lnTo>
                  <a:lnTo>
                    <a:pt x="56" y="522"/>
                  </a:lnTo>
                  <a:lnTo>
                    <a:pt x="55" y="524"/>
                  </a:lnTo>
                  <a:lnTo>
                    <a:pt x="55" y="526"/>
                  </a:lnTo>
                  <a:lnTo>
                    <a:pt x="57" y="526"/>
                  </a:lnTo>
                  <a:lnTo>
                    <a:pt x="59" y="528"/>
                  </a:lnTo>
                  <a:lnTo>
                    <a:pt x="61" y="529"/>
                  </a:lnTo>
                  <a:lnTo>
                    <a:pt x="62" y="530"/>
                  </a:lnTo>
                  <a:lnTo>
                    <a:pt x="61" y="531"/>
                  </a:lnTo>
                  <a:lnTo>
                    <a:pt x="59" y="534"/>
                  </a:lnTo>
                  <a:lnTo>
                    <a:pt x="61" y="534"/>
                  </a:lnTo>
                  <a:lnTo>
                    <a:pt x="62" y="536"/>
                  </a:lnTo>
                  <a:lnTo>
                    <a:pt x="63" y="537"/>
                  </a:lnTo>
                  <a:lnTo>
                    <a:pt x="67" y="541"/>
                  </a:lnTo>
                  <a:lnTo>
                    <a:pt x="68" y="541"/>
                  </a:lnTo>
                  <a:lnTo>
                    <a:pt x="70" y="542"/>
                  </a:lnTo>
                  <a:lnTo>
                    <a:pt x="71" y="542"/>
                  </a:lnTo>
                  <a:lnTo>
                    <a:pt x="75" y="541"/>
                  </a:lnTo>
                  <a:lnTo>
                    <a:pt x="76" y="541"/>
                  </a:lnTo>
                  <a:lnTo>
                    <a:pt x="79" y="540"/>
                  </a:lnTo>
                  <a:lnTo>
                    <a:pt x="81" y="540"/>
                  </a:lnTo>
                  <a:lnTo>
                    <a:pt x="82" y="539"/>
                  </a:lnTo>
                  <a:lnTo>
                    <a:pt x="84" y="536"/>
                  </a:lnTo>
                  <a:lnTo>
                    <a:pt x="86" y="535"/>
                  </a:lnTo>
                  <a:lnTo>
                    <a:pt x="87" y="535"/>
                  </a:lnTo>
                  <a:lnTo>
                    <a:pt x="88" y="534"/>
                  </a:lnTo>
                  <a:lnTo>
                    <a:pt x="91" y="535"/>
                  </a:lnTo>
                  <a:lnTo>
                    <a:pt x="92" y="536"/>
                  </a:lnTo>
                  <a:lnTo>
                    <a:pt x="90" y="536"/>
                  </a:lnTo>
                  <a:lnTo>
                    <a:pt x="87" y="537"/>
                  </a:lnTo>
                  <a:lnTo>
                    <a:pt x="85" y="539"/>
                  </a:lnTo>
                  <a:lnTo>
                    <a:pt x="84" y="540"/>
                  </a:lnTo>
                  <a:lnTo>
                    <a:pt x="84" y="541"/>
                  </a:lnTo>
                  <a:lnTo>
                    <a:pt x="85" y="543"/>
                  </a:lnTo>
                  <a:lnTo>
                    <a:pt x="86" y="545"/>
                  </a:lnTo>
                  <a:lnTo>
                    <a:pt x="81" y="545"/>
                  </a:lnTo>
                  <a:lnTo>
                    <a:pt x="80" y="545"/>
                  </a:lnTo>
                  <a:lnTo>
                    <a:pt x="79" y="546"/>
                  </a:lnTo>
                  <a:lnTo>
                    <a:pt x="78" y="546"/>
                  </a:lnTo>
                  <a:lnTo>
                    <a:pt x="76" y="548"/>
                  </a:lnTo>
                  <a:lnTo>
                    <a:pt x="78" y="549"/>
                  </a:lnTo>
                  <a:lnTo>
                    <a:pt x="80" y="549"/>
                  </a:lnTo>
                  <a:lnTo>
                    <a:pt x="81" y="551"/>
                  </a:lnTo>
                  <a:lnTo>
                    <a:pt x="79" y="551"/>
                  </a:lnTo>
                  <a:lnTo>
                    <a:pt x="76" y="552"/>
                  </a:lnTo>
                  <a:lnTo>
                    <a:pt x="75" y="551"/>
                  </a:lnTo>
                  <a:lnTo>
                    <a:pt x="74" y="548"/>
                  </a:lnTo>
                  <a:lnTo>
                    <a:pt x="74" y="547"/>
                  </a:lnTo>
                  <a:lnTo>
                    <a:pt x="73" y="548"/>
                  </a:lnTo>
                  <a:lnTo>
                    <a:pt x="71" y="551"/>
                  </a:lnTo>
                  <a:lnTo>
                    <a:pt x="69" y="553"/>
                  </a:lnTo>
                  <a:lnTo>
                    <a:pt x="67" y="554"/>
                  </a:lnTo>
                  <a:lnTo>
                    <a:pt x="68" y="555"/>
                  </a:lnTo>
                  <a:lnTo>
                    <a:pt x="69" y="558"/>
                  </a:lnTo>
                  <a:lnTo>
                    <a:pt x="70" y="557"/>
                  </a:lnTo>
                  <a:lnTo>
                    <a:pt x="73" y="558"/>
                  </a:lnTo>
                  <a:lnTo>
                    <a:pt x="74" y="557"/>
                  </a:lnTo>
                  <a:lnTo>
                    <a:pt x="75" y="555"/>
                  </a:lnTo>
                  <a:lnTo>
                    <a:pt x="75" y="557"/>
                  </a:lnTo>
                  <a:lnTo>
                    <a:pt x="78" y="558"/>
                  </a:lnTo>
                  <a:lnTo>
                    <a:pt x="79" y="558"/>
                  </a:lnTo>
                  <a:lnTo>
                    <a:pt x="81" y="557"/>
                  </a:lnTo>
                  <a:lnTo>
                    <a:pt x="82" y="555"/>
                  </a:lnTo>
                  <a:lnTo>
                    <a:pt x="84" y="554"/>
                  </a:lnTo>
                  <a:lnTo>
                    <a:pt x="85" y="553"/>
                  </a:lnTo>
                  <a:lnTo>
                    <a:pt x="87" y="553"/>
                  </a:lnTo>
                  <a:lnTo>
                    <a:pt x="88" y="552"/>
                  </a:lnTo>
                  <a:lnTo>
                    <a:pt x="90" y="551"/>
                  </a:lnTo>
                  <a:lnTo>
                    <a:pt x="90" y="552"/>
                  </a:lnTo>
                  <a:lnTo>
                    <a:pt x="91" y="557"/>
                  </a:lnTo>
                  <a:lnTo>
                    <a:pt x="91" y="559"/>
                  </a:lnTo>
                  <a:lnTo>
                    <a:pt x="94" y="560"/>
                  </a:lnTo>
                  <a:lnTo>
                    <a:pt x="96" y="559"/>
                  </a:lnTo>
                  <a:lnTo>
                    <a:pt x="99" y="558"/>
                  </a:lnTo>
                  <a:lnTo>
                    <a:pt x="100" y="557"/>
                  </a:lnTo>
                  <a:lnTo>
                    <a:pt x="100" y="554"/>
                  </a:lnTo>
                  <a:lnTo>
                    <a:pt x="102" y="554"/>
                  </a:lnTo>
                  <a:lnTo>
                    <a:pt x="100" y="554"/>
                  </a:lnTo>
                  <a:lnTo>
                    <a:pt x="98" y="557"/>
                  </a:lnTo>
                  <a:lnTo>
                    <a:pt x="96" y="557"/>
                  </a:lnTo>
                  <a:lnTo>
                    <a:pt x="97" y="554"/>
                  </a:lnTo>
                  <a:lnTo>
                    <a:pt x="98" y="553"/>
                  </a:lnTo>
                  <a:lnTo>
                    <a:pt x="99" y="553"/>
                  </a:lnTo>
                  <a:lnTo>
                    <a:pt x="102" y="552"/>
                  </a:lnTo>
                  <a:lnTo>
                    <a:pt x="103" y="551"/>
                  </a:lnTo>
                  <a:lnTo>
                    <a:pt x="103" y="549"/>
                  </a:lnTo>
                  <a:lnTo>
                    <a:pt x="99" y="548"/>
                  </a:lnTo>
                  <a:lnTo>
                    <a:pt x="98" y="548"/>
                  </a:lnTo>
                  <a:lnTo>
                    <a:pt x="99" y="547"/>
                  </a:lnTo>
                  <a:lnTo>
                    <a:pt x="103" y="548"/>
                  </a:lnTo>
                  <a:lnTo>
                    <a:pt x="104" y="547"/>
                  </a:lnTo>
                  <a:lnTo>
                    <a:pt x="105" y="546"/>
                  </a:lnTo>
                  <a:lnTo>
                    <a:pt x="105" y="543"/>
                  </a:lnTo>
                  <a:lnTo>
                    <a:pt x="105" y="542"/>
                  </a:lnTo>
                  <a:lnTo>
                    <a:pt x="104" y="541"/>
                  </a:lnTo>
                  <a:lnTo>
                    <a:pt x="103" y="540"/>
                  </a:lnTo>
                  <a:lnTo>
                    <a:pt x="104" y="539"/>
                  </a:lnTo>
                  <a:lnTo>
                    <a:pt x="103" y="536"/>
                  </a:lnTo>
                  <a:lnTo>
                    <a:pt x="102" y="535"/>
                  </a:lnTo>
                  <a:lnTo>
                    <a:pt x="104" y="534"/>
                  </a:lnTo>
                  <a:lnTo>
                    <a:pt x="105" y="533"/>
                  </a:lnTo>
                  <a:lnTo>
                    <a:pt x="105" y="534"/>
                  </a:lnTo>
                  <a:lnTo>
                    <a:pt x="105" y="535"/>
                  </a:lnTo>
                  <a:lnTo>
                    <a:pt x="105" y="536"/>
                  </a:lnTo>
                  <a:lnTo>
                    <a:pt x="106" y="537"/>
                  </a:lnTo>
                  <a:lnTo>
                    <a:pt x="108" y="537"/>
                  </a:lnTo>
                  <a:lnTo>
                    <a:pt x="109" y="539"/>
                  </a:lnTo>
                  <a:lnTo>
                    <a:pt x="110" y="540"/>
                  </a:lnTo>
                  <a:lnTo>
                    <a:pt x="112" y="539"/>
                  </a:lnTo>
                  <a:lnTo>
                    <a:pt x="112" y="540"/>
                  </a:lnTo>
                  <a:lnTo>
                    <a:pt x="114" y="542"/>
                  </a:lnTo>
                  <a:lnTo>
                    <a:pt x="116" y="542"/>
                  </a:lnTo>
                  <a:lnTo>
                    <a:pt x="117" y="541"/>
                  </a:lnTo>
                  <a:lnTo>
                    <a:pt x="118" y="540"/>
                  </a:lnTo>
                  <a:lnTo>
                    <a:pt x="120" y="539"/>
                  </a:lnTo>
                  <a:lnTo>
                    <a:pt x="121" y="535"/>
                  </a:lnTo>
                  <a:lnTo>
                    <a:pt x="121" y="534"/>
                  </a:lnTo>
                  <a:lnTo>
                    <a:pt x="120" y="533"/>
                  </a:lnTo>
                  <a:lnTo>
                    <a:pt x="121" y="531"/>
                  </a:lnTo>
                  <a:lnTo>
                    <a:pt x="122" y="528"/>
                  </a:lnTo>
                  <a:lnTo>
                    <a:pt x="123" y="529"/>
                  </a:lnTo>
                  <a:lnTo>
                    <a:pt x="122" y="531"/>
                  </a:lnTo>
                  <a:lnTo>
                    <a:pt x="122" y="533"/>
                  </a:lnTo>
                  <a:lnTo>
                    <a:pt x="122" y="534"/>
                  </a:lnTo>
                  <a:lnTo>
                    <a:pt x="123" y="535"/>
                  </a:lnTo>
                  <a:lnTo>
                    <a:pt x="124" y="536"/>
                  </a:lnTo>
                  <a:lnTo>
                    <a:pt x="124" y="540"/>
                  </a:lnTo>
                  <a:lnTo>
                    <a:pt x="126" y="542"/>
                  </a:lnTo>
                  <a:lnTo>
                    <a:pt x="127" y="542"/>
                  </a:lnTo>
                  <a:lnTo>
                    <a:pt x="128" y="537"/>
                  </a:lnTo>
                  <a:lnTo>
                    <a:pt x="129" y="536"/>
                  </a:lnTo>
                  <a:lnTo>
                    <a:pt x="129" y="539"/>
                  </a:lnTo>
                  <a:lnTo>
                    <a:pt x="129" y="542"/>
                  </a:lnTo>
                  <a:lnTo>
                    <a:pt x="129" y="546"/>
                  </a:lnTo>
                  <a:lnTo>
                    <a:pt x="130" y="546"/>
                  </a:lnTo>
                  <a:lnTo>
                    <a:pt x="133" y="545"/>
                  </a:lnTo>
                  <a:lnTo>
                    <a:pt x="134" y="542"/>
                  </a:lnTo>
                  <a:lnTo>
                    <a:pt x="135" y="541"/>
                  </a:lnTo>
                  <a:lnTo>
                    <a:pt x="137" y="540"/>
                  </a:lnTo>
                  <a:lnTo>
                    <a:pt x="138" y="541"/>
                  </a:lnTo>
                  <a:lnTo>
                    <a:pt x="138" y="542"/>
                  </a:lnTo>
                  <a:lnTo>
                    <a:pt x="140" y="542"/>
                  </a:lnTo>
                  <a:lnTo>
                    <a:pt x="144" y="542"/>
                  </a:lnTo>
                  <a:lnTo>
                    <a:pt x="144" y="541"/>
                  </a:lnTo>
                  <a:lnTo>
                    <a:pt x="145" y="540"/>
                  </a:lnTo>
                  <a:lnTo>
                    <a:pt x="145" y="539"/>
                  </a:lnTo>
                  <a:lnTo>
                    <a:pt x="146" y="539"/>
                  </a:lnTo>
                  <a:lnTo>
                    <a:pt x="149" y="539"/>
                  </a:lnTo>
                  <a:lnTo>
                    <a:pt x="151" y="540"/>
                  </a:lnTo>
                  <a:lnTo>
                    <a:pt x="152" y="539"/>
                  </a:lnTo>
                  <a:lnTo>
                    <a:pt x="152" y="537"/>
                  </a:lnTo>
                  <a:lnTo>
                    <a:pt x="155" y="539"/>
                  </a:lnTo>
                  <a:lnTo>
                    <a:pt x="156" y="539"/>
                  </a:lnTo>
                  <a:lnTo>
                    <a:pt x="157" y="537"/>
                  </a:lnTo>
                  <a:lnTo>
                    <a:pt x="157" y="536"/>
                  </a:lnTo>
                  <a:lnTo>
                    <a:pt x="157" y="535"/>
                  </a:lnTo>
                  <a:lnTo>
                    <a:pt x="157" y="534"/>
                  </a:lnTo>
                  <a:lnTo>
                    <a:pt x="159" y="534"/>
                  </a:lnTo>
                  <a:lnTo>
                    <a:pt x="159" y="536"/>
                  </a:lnTo>
                  <a:lnTo>
                    <a:pt x="162" y="536"/>
                  </a:lnTo>
                  <a:lnTo>
                    <a:pt x="163" y="537"/>
                  </a:lnTo>
                  <a:lnTo>
                    <a:pt x="164" y="539"/>
                  </a:lnTo>
                  <a:lnTo>
                    <a:pt x="164" y="541"/>
                  </a:lnTo>
                  <a:lnTo>
                    <a:pt x="165" y="543"/>
                  </a:lnTo>
                  <a:lnTo>
                    <a:pt x="164" y="546"/>
                  </a:lnTo>
                  <a:lnTo>
                    <a:pt x="163" y="547"/>
                  </a:lnTo>
                  <a:lnTo>
                    <a:pt x="162" y="546"/>
                  </a:lnTo>
                  <a:lnTo>
                    <a:pt x="161" y="545"/>
                  </a:lnTo>
                  <a:lnTo>
                    <a:pt x="159" y="543"/>
                  </a:lnTo>
                  <a:lnTo>
                    <a:pt x="157" y="543"/>
                  </a:lnTo>
                  <a:lnTo>
                    <a:pt x="156" y="545"/>
                  </a:lnTo>
                  <a:lnTo>
                    <a:pt x="157" y="546"/>
                  </a:lnTo>
                  <a:lnTo>
                    <a:pt x="157" y="548"/>
                  </a:lnTo>
                  <a:lnTo>
                    <a:pt x="158" y="549"/>
                  </a:lnTo>
                  <a:lnTo>
                    <a:pt x="157" y="549"/>
                  </a:lnTo>
                  <a:lnTo>
                    <a:pt x="156" y="548"/>
                  </a:lnTo>
                  <a:lnTo>
                    <a:pt x="156" y="547"/>
                  </a:lnTo>
                  <a:lnTo>
                    <a:pt x="155" y="546"/>
                  </a:lnTo>
                  <a:lnTo>
                    <a:pt x="153" y="546"/>
                  </a:lnTo>
                  <a:lnTo>
                    <a:pt x="152" y="546"/>
                  </a:lnTo>
                  <a:lnTo>
                    <a:pt x="152" y="547"/>
                  </a:lnTo>
                  <a:lnTo>
                    <a:pt x="152" y="548"/>
                  </a:lnTo>
                  <a:lnTo>
                    <a:pt x="152" y="549"/>
                  </a:lnTo>
                  <a:lnTo>
                    <a:pt x="152" y="551"/>
                  </a:lnTo>
                  <a:lnTo>
                    <a:pt x="152" y="553"/>
                  </a:lnTo>
                  <a:lnTo>
                    <a:pt x="151" y="553"/>
                  </a:lnTo>
                  <a:lnTo>
                    <a:pt x="150" y="552"/>
                  </a:lnTo>
                  <a:lnTo>
                    <a:pt x="149" y="551"/>
                  </a:lnTo>
                  <a:lnTo>
                    <a:pt x="149" y="553"/>
                  </a:lnTo>
                  <a:lnTo>
                    <a:pt x="150" y="555"/>
                  </a:lnTo>
                  <a:lnTo>
                    <a:pt x="153" y="557"/>
                  </a:lnTo>
                  <a:lnTo>
                    <a:pt x="155" y="557"/>
                  </a:lnTo>
                  <a:lnTo>
                    <a:pt x="157" y="554"/>
                  </a:lnTo>
                  <a:lnTo>
                    <a:pt x="158" y="553"/>
                  </a:lnTo>
                  <a:lnTo>
                    <a:pt x="159" y="553"/>
                  </a:lnTo>
                  <a:lnTo>
                    <a:pt x="162" y="552"/>
                  </a:lnTo>
                  <a:lnTo>
                    <a:pt x="162" y="553"/>
                  </a:lnTo>
                  <a:lnTo>
                    <a:pt x="165" y="553"/>
                  </a:lnTo>
                  <a:lnTo>
                    <a:pt x="168" y="553"/>
                  </a:lnTo>
                  <a:lnTo>
                    <a:pt x="169" y="552"/>
                  </a:lnTo>
                  <a:lnTo>
                    <a:pt x="170" y="551"/>
                  </a:lnTo>
                  <a:lnTo>
                    <a:pt x="171" y="549"/>
                  </a:lnTo>
                  <a:lnTo>
                    <a:pt x="170" y="548"/>
                  </a:lnTo>
                  <a:lnTo>
                    <a:pt x="170" y="547"/>
                  </a:lnTo>
                  <a:lnTo>
                    <a:pt x="171" y="545"/>
                  </a:lnTo>
                  <a:lnTo>
                    <a:pt x="174" y="543"/>
                  </a:lnTo>
                  <a:lnTo>
                    <a:pt x="177" y="543"/>
                  </a:lnTo>
                  <a:lnTo>
                    <a:pt x="180" y="543"/>
                  </a:lnTo>
                  <a:lnTo>
                    <a:pt x="182" y="545"/>
                  </a:lnTo>
                  <a:lnTo>
                    <a:pt x="183" y="545"/>
                  </a:lnTo>
                  <a:lnTo>
                    <a:pt x="186" y="545"/>
                  </a:lnTo>
                  <a:lnTo>
                    <a:pt x="185" y="547"/>
                  </a:lnTo>
                  <a:lnTo>
                    <a:pt x="183" y="547"/>
                  </a:lnTo>
                  <a:lnTo>
                    <a:pt x="181" y="548"/>
                  </a:lnTo>
                  <a:lnTo>
                    <a:pt x="180" y="547"/>
                  </a:lnTo>
                  <a:lnTo>
                    <a:pt x="179" y="548"/>
                  </a:lnTo>
                  <a:lnTo>
                    <a:pt x="177" y="549"/>
                  </a:lnTo>
                  <a:lnTo>
                    <a:pt x="177" y="551"/>
                  </a:lnTo>
                  <a:lnTo>
                    <a:pt x="176" y="551"/>
                  </a:lnTo>
                  <a:lnTo>
                    <a:pt x="174" y="551"/>
                  </a:lnTo>
                  <a:lnTo>
                    <a:pt x="174" y="552"/>
                  </a:lnTo>
                  <a:lnTo>
                    <a:pt x="175" y="555"/>
                  </a:lnTo>
                  <a:lnTo>
                    <a:pt x="177" y="557"/>
                  </a:lnTo>
                  <a:lnTo>
                    <a:pt x="179" y="557"/>
                  </a:lnTo>
                  <a:lnTo>
                    <a:pt x="181" y="557"/>
                  </a:lnTo>
                  <a:lnTo>
                    <a:pt x="182" y="554"/>
                  </a:lnTo>
                  <a:lnTo>
                    <a:pt x="183" y="553"/>
                  </a:lnTo>
                  <a:lnTo>
                    <a:pt x="183" y="552"/>
                  </a:lnTo>
                  <a:lnTo>
                    <a:pt x="183" y="551"/>
                  </a:lnTo>
                  <a:lnTo>
                    <a:pt x="186" y="549"/>
                  </a:lnTo>
                  <a:lnTo>
                    <a:pt x="187" y="548"/>
                  </a:lnTo>
                  <a:lnTo>
                    <a:pt x="189" y="546"/>
                  </a:lnTo>
                  <a:lnTo>
                    <a:pt x="191" y="546"/>
                  </a:lnTo>
                  <a:lnTo>
                    <a:pt x="193" y="546"/>
                  </a:lnTo>
                  <a:lnTo>
                    <a:pt x="193" y="547"/>
                  </a:lnTo>
                  <a:lnTo>
                    <a:pt x="189" y="549"/>
                  </a:lnTo>
                  <a:lnTo>
                    <a:pt x="189" y="551"/>
                  </a:lnTo>
                  <a:lnTo>
                    <a:pt x="189" y="552"/>
                  </a:lnTo>
                  <a:lnTo>
                    <a:pt x="191" y="553"/>
                  </a:lnTo>
                  <a:lnTo>
                    <a:pt x="193" y="551"/>
                  </a:lnTo>
                  <a:lnTo>
                    <a:pt x="196" y="549"/>
                  </a:lnTo>
                  <a:lnTo>
                    <a:pt x="193" y="553"/>
                  </a:lnTo>
                  <a:lnTo>
                    <a:pt x="192" y="553"/>
                  </a:lnTo>
                  <a:lnTo>
                    <a:pt x="189" y="555"/>
                  </a:lnTo>
                  <a:lnTo>
                    <a:pt x="188" y="557"/>
                  </a:lnTo>
                  <a:lnTo>
                    <a:pt x="186" y="558"/>
                  </a:lnTo>
                  <a:lnTo>
                    <a:pt x="185" y="558"/>
                  </a:lnTo>
                  <a:lnTo>
                    <a:pt x="182" y="558"/>
                  </a:lnTo>
                  <a:lnTo>
                    <a:pt x="182" y="559"/>
                  </a:lnTo>
                  <a:lnTo>
                    <a:pt x="182" y="560"/>
                  </a:lnTo>
                  <a:lnTo>
                    <a:pt x="181" y="561"/>
                  </a:lnTo>
                  <a:lnTo>
                    <a:pt x="180" y="563"/>
                  </a:lnTo>
                  <a:lnTo>
                    <a:pt x="177" y="564"/>
                  </a:lnTo>
                  <a:lnTo>
                    <a:pt x="176" y="564"/>
                  </a:lnTo>
                  <a:lnTo>
                    <a:pt x="175" y="563"/>
                  </a:lnTo>
                  <a:lnTo>
                    <a:pt x="174" y="563"/>
                  </a:lnTo>
                  <a:lnTo>
                    <a:pt x="173" y="561"/>
                  </a:lnTo>
                  <a:lnTo>
                    <a:pt x="170" y="560"/>
                  </a:lnTo>
                  <a:lnTo>
                    <a:pt x="170" y="559"/>
                  </a:lnTo>
                  <a:lnTo>
                    <a:pt x="168" y="559"/>
                  </a:lnTo>
                  <a:lnTo>
                    <a:pt x="168" y="561"/>
                  </a:lnTo>
                  <a:lnTo>
                    <a:pt x="169" y="563"/>
                  </a:lnTo>
                  <a:lnTo>
                    <a:pt x="170" y="564"/>
                  </a:lnTo>
                  <a:lnTo>
                    <a:pt x="170" y="565"/>
                  </a:lnTo>
                  <a:lnTo>
                    <a:pt x="173" y="566"/>
                  </a:lnTo>
                  <a:lnTo>
                    <a:pt x="174" y="567"/>
                  </a:lnTo>
                  <a:lnTo>
                    <a:pt x="173" y="570"/>
                  </a:lnTo>
                  <a:lnTo>
                    <a:pt x="171" y="569"/>
                  </a:lnTo>
                  <a:lnTo>
                    <a:pt x="171" y="566"/>
                  </a:lnTo>
                  <a:lnTo>
                    <a:pt x="170" y="565"/>
                  </a:lnTo>
                  <a:lnTo>
                    <a:pt x="165" y="565"/>
                  </a:lnTo>
                  <a:lnTo>
                    <a:pt x="164" y="566"/>
                  </a:lnTo>
                  <a:lnTo>
                    <a:pt x="162" y="569"/>
                  </a:lnTo>
                  <a:lnTo>
                    <a:pt x="161" y="569"/>
                  </a:lnTo>
                  <a:lnTo>
                    <a:pt x="159" y="567"/>
                  </a:lnTo>
                  <a:lnTo>
                    <a:pt x="159" y="566"/>
                  </a:lnTo>
                  <a:lnTo>
                    <a:pt x="158" y="566"/>
                  </a:lnTo>
                  <a:lnTo>
                    <a:pt x="158" y="567"/>
                  </a:lnTo>
                  <a:lnTo>
                    <a:pt x="157" y="567"/>
                  </a:lnTo>
                  <a:lnTo>
                    <a:pt x="156" y="566"/>
                  </a:lnTo>
                  <a:lnTo>
                    <a:pt x="155" y="567"/>
                  </a:lnTo>
                  <a:lnTo>
                    <a:pt x="155" y="570"/>
                  </a:lnTo>
                  <a:lnTo>
                    <a:pt x="155" y="572"/>
                  </a:lnTo>
                  <a:lnTo>
                    <a:pt x="152" y="575"/>
                  </a:lnTo>
                  <a:lnTo>
                    <a:pt x="151" y="576"/>
                  </a:lnTo>
                  <a:lnTo>
                    <a:pt x="151" y="573"/>
                  </a:lnTo>
                  <a:lnTo>
                    <a:pt x="152" y="572"/>
                  </a:lnTo>
                  <a:lnTo>
                    <a:pt x="151" y="571"/>
                  </a:lnTo>
                  <a:lnTo>
                    <a:pt x="149" y="571"/>
                  </a:lnTo>
                  <a:lnTo>
                    <a:pt x="147" y="572"/>
                  </a:lnTo>
                  <a:lnTo>
                    <a:pt x="146" y="570"/>
                  </a:lnTo>
                  <a:lnTo>
                    <a:pt x="145" y="570"/>
                  </a:lnTo>
                  <a:lnTo>
                    <a:pt x="144" y="569"/>
                  </a:lnTo>
                  <a:lnTo>
                    <a:pt x="141" y="570"/>
                  </a:lnTo>
                  <a:lnTo>
                    <a:pt x="140" y="571"/>
                  </a:lnTo>
                  <a:lnTo>
                    <a:pt x="138" y="572"/>
                  </a:lnTo>
                  <a:lnTo>
                    <a:pt x="134" y="572"/>
                  </a:lnTo>
                  <a:lnTo>
                    <a:pt x="132" y="573"/>
                  </a:lnTo>
                  <a:lnTo>
                    <a:pt x="130" y="572"/>
                  </a:lnTo>
                  <a:lnTo>
                    <a:pt x="129" y="571"/>
                  </a:lnTo>
                  <a:lnTo>
                    <a:pt x="128" y="572"/>
                  </a:lnTo>
                  <a:lnTo>
                    <a:pt x="127" y="571"/>
                  </a:lnTo>
                  <a:lnTo>
                    <a:pt x="126" y="572"/>
                  </a:lnTo>
                  <a:lnTo>
                    <a:pt x="124" y="575"/>
                  </a:lnTo>
                  <a:lnTo>
                    <a:pt x="123" y="575"/>
                  </a:lnTo>
                  <a:lnTo>
                    <a:pt x="124" y="578"/>
                  </a:lnTo>
                  <a:lnTo>
                    <a:pt x="127" y="578"/>
                  </a:lnTo>
                  <a:lnTo>
                    <a:pt x="128" y="578"/>
                  </a:lnTo>
                  <a:lnTo>
                    <a:pt x="128" y="579"/>
                  </a:lnTo>
                  <a:lnTo>
                    <a:pt x="130" y="579"/>
                  </a:lnTo>
                  <a:lnTo>
                    <a:pt x="130" y="578"/>
                  </a:lnTo>
                  <a:lnTo>
                    <a:pt x="132" y="581"/>
                  </a:lnTo>
                  <a:lnTo>
                    <a:pt x="133" y="582"/>
                  </a:lnTo>
                  <a:lnTo>
                    <a:pt x="133" y="583"/>
                  </a:lnTo>
                  <a:lnTo>
                    <a:pt x="132" y="584"/>
                  </a:lnTo>
                  <a:lnTo>
                    <a:pt x="134" y="585"/>
                  </a:lnTo>
                  <a:lnTo>
                    <a:pt x="137" y="585"/>
                  </a:lnTo>
                  <a:lnTo>
                    <a:pt x="137" y="587"/>
                  </a:lnTo>
                  <a:lnTo>
                    <a:pt x="138" y="585"/>
                  </a:lnTo>
                  <a:lnTo>
                    <a:pt x="138" y="584"/>
                  </a:lnTo>
                  <a:lnTo>
                    <a:pt x="137" y="583"/>
                  </a:lnTo>
                  <a:lnTo>
                    <a:pt x="137" y="581"/>
                  </a:lnTo>
                  <a:lnTo>
                    <a:pt x="138" y="579"/>
                  </a:lnTo>
                  <a:lnTo>
                    <a:pt x="139" y="581"/>
                  </a:lnTo>
                  <a:lnTo>
                    <a:pt x="140" y="583"/>
                  </a:lnTo>
                  <a:lnTo>
                    <a:pt x="141" y="583"/>
                  </a:lnTo>
                  <a:lnTo>
                    <a:pt x="144" y="583"/>
                  </a:lnTo>
                  <a:lnTo>
                    <a:pt x="146" y="582"/>
                  </a:lnTo>
                  <a:lnTo>
                    <a:pt x="149" y="582"/>
                  </a:lnTo>
                  <a:lnTo>
                    <a:pt x="146" y="584"/>
                  </a:lnTo>
                  <a:lnTo>
                    <a:pt x="145" y="585"/>
                  </a:lnTo>
                  <a:lnTo>
                    <a:pt x="143" y="585"/>
                  </a:lnTo>
                  <a:lnTo>
                    <a:pt x="141" y="587"/>
                  </a:lnTo>
                  <a:lnTo>
                    <a:pt x="141" y="588"/>
                  </a:lnTo>
                  <a:lnTo>
                    <a:pt x="144" y="589"/>
                  </a:lnTo>
                  <a:lnTo>
                    <a:pt x="145" y="589"/>
                  </a:lnTo>
                  <a:lnTo>
                    <a:pt x="146" y="589"/>
                  </a:lnTo>
                  <a:lnTo>
                    <a:pt x="149" y="589"/>
                  </a:lnTo>
                  <a:lnTo>
                    <a:pt x="150" y="587"/>
                  </a:lnTo>
                  <a:lnTo>
                    <a:pt x="152" y="585"/>
                  </a:lnTo>
                  <a:lnTo>
                    <a:pt x="153" y="584"/>
                  </a:lnTo>
                  <a:lnTo>
                    <a:pt x="155" y="584"/>
                  </a:lnTo>
                  <a:lnTo>
                    <a:pt x="157" y="584"/>
                  </a:lnTo>
                  <a:lnTo>
                    <a:pt x="156" y="585"/>
                  </a:lnTo>
                  <a:lnTo>
                    <a:pt x="156" y="588"/>
                  </a:lnTo>
                  <a:lnTo>
                    <a:pt x="153" y="589"/>
                  </a:lnTo>
                  <a:lnTo>
                    <a:pt x="152" y="591"/>
                  </a:lnTo>
                  <a:lnTo>
                    <a:pt x="151" y="591"/>
                  </a:lnTo>
                  <a:lnTo>
                    <a:pt x="149" y="593"/>
                  </a:lnTo>
                  <a:lnTo>
                    <a:pt x="149" y="595"/>
                  </a:lnTo>
                  <a:lnTo>
                    <a:pt x="150" y="596"/>
                  </a:lnTo>
                  <a:lnTo>
                    <a:pt x="149" y="600"/>
                  </a:lnTo>
                  <a:lnTo>
                    <a:pt x="147" y="599"/>
                  </a:lnTo>
                  <a:lnTo>
                    <a:pt x="146" y="597"/>
                  </a:lnTo>
                  <a:lnTo>
                    <a:pt x="144" y="597"/>
                  </a:lnTo>
                  <a:lnTo>
                    <a:pt x="144" y="599"/>
                  </a:lnTo>
                  <a:lnTo>
                    <a:pt x="143" y="601"/>
                  </a:lnTo>
                  <a:lnTo>
                    <a:pt x="145" y="603"/>
                  </a:lnTo>
                  <a:lnTo>
                    <a:pt x="143" y="603"/>
                  </a:lnTo>
                  <a:lnTo>
                    <a:pt x="140" y="603"/>
                  </a:lnTo>
                  <a:lnTo>
                    <a:pt x="140" y="606"/>
                  </a:lnTo>
                  <a:lnTo>
                    <a:pt x="139" y="607"/>
                  </a:lnTo>
                  <a:lnTo>
                    <a:pt x="138" y="608"/>
                  </a:lnTo>
                  <a:lnTo>
                    <a:pt x="137" y="608"/>
                  </a:lnTo>
                  <a:lnTo>
                    <a:pt x="134" y="607"/>
                  </a:lnTo>
                  <a:lnTo>
                    <a:pt x="134" y="608"/>
                  </a:lnTo>
                  <a:lnTo>
                    <a:pt x="134" y="609"/>
                  </a:lnTo>
                  <a:lnTo>
                    <a:pt x="133" y="612"/>
                  </a:lnTo>
                  <a:lnTo>
                    <a:pt x="135" y="615"/>
                  </a:lnTo>
                  <a:lnTo>
                    <a:pt x="138" y="617"/>
                  </a:lnTo>
                  <a:lnTo>
                    <a:pt x="138" y="618"/>
                  </a:lnTo>
                  <a:lnTo>
                    <a:pt x="134" y="618"/>
                  </a:lnTo>
                  <a:lnTo>
                    <a:pt x="133" y="615"/>
                  </a:lnTo>
                  <a:lnTo>
                    <a:pt x="132" y="615"/>
                  </a:lnTo>
                  <a:lnTo>
                    <a:pt x="130" y="615"/>
                  </a:lnTo>
                  <a:lnTo>
                    <a:pt x="129" y="615"/>
                  </a:lnTo>
                  <a:lnTo>
                    <a:pt x="127" y="614"/>
                  </a:lnTo>
                  <a:lnTo>
                    <a:pt x="126" y="614"/>
                  </a:lnTo>
                  <a:lnTo>
                    <a:pt x="126" y="617"/>
                  </a:lnTo>
                  <a:lnTo>
                    <a:pt x="124" y="618"/>
                  </a:lnTo>
                  <a:lnTo>
                    <a:pt x="124" y="620"/>
                  </a:lnTo>
                  <a:lnTo>
                    <a:pt x="127" y="620"/>
                  </a:lnTo>
                  <a:lnTo>
                    <a:pt x="128" y="620"/>
                  </a:lnTo>
                  <a:lnTo>
                    <a:pt x="129" y="621"/>
                  </a:lnTo>
                  <a:lnTo>
                    <a:pt x="129" y="623"/>
                  </a:lnTo>
                  <a:lnTo>
                    <a:pt x="132" y="624"/>
                  </a:lnTo>
                  <a:lnTo>
                    <a:pt x="133" y="624"/>
                  </a:lnTo>
                  <a:lnTo>
                    <a:pt x="134" y="623"/>
                  </a:lnTo>
                  <a:lnTo>
                    <a:pt x="135" y="623"/>
                  </a:lnTo>
                  <a:lnTo>
                    <a:pt x="139" y="623"/>
                  </a:lnTo>
                  <a:lnTo>
                    <a:pt x="140" y="623"/>
                  </a:lnTo>
                  <a:lnTo>
                    <a:pt x="143" y="623"/>
                  </a:lnTo>
                  <a:lnTo>
                    <a:pt x="146" y="623"/>
                  </a:lnTo>
                  <a:lnTo>
                    <a:pt x="147" y="624"/>
                  </a:lnTo>
                  <a:lnTo>
                    <a:pt x="149" y="625"/>
                  </a:lnTo>
                  <a:lnTo>
                    <a:pt x="152" y="626"/>
                  </a:lnTo>
                  <a:lnTo>
                    <a:pt x="153" y="625"/>
                  </a:lnTo>
                  <a:lnTo>
                    <a:pt x="155" y="625"/>
                  </a:lnTo>
                  <a:lnTo>
                    <a:pt x="156" y="625"/>
                  </a:lnTo>
                  <a:lnTo>
                    <a:pt x="157" y="625"/>
                  </a:lnTo>
                  <a:lnTo>
                    <a:pt x="158" y="624"/>
                  </a:lnTo>
                  <a:lnTo>
                    <a:pt x="158" y="623"/>
                  </a:lnTo>
                  <a:lnTo>
                    <a:pt x="159" y="623"/>
                  </a:lnTo>
                  <a:lnTo>
                    <a:pt x="162" y="623"/>
                  </a:lnTo>
                  <a:lnTo>
                    <a:pt x="162" y="625"/>
                  </a:lnTo>
                  <a:lnTo>
                    <a:pt x="159" y="626"/>
                  </a:lnTo>
                  <a:lnTo>
                    <a:pt x="158" y="627"/>
                  </a:lnTo>
                  <a:lnTo>
                    <a:pt x="158" y="629"/>
                  </a:lnTo>
                  <a:lnTo>
                    <a:pt x="159" y="630"/>
                  </a:lnTo>
                  <a:lnTo>
                    <a:pt x="163" y="630"/>
                  </a:lnTo>
                  <a:lnTo>
                    <a:pt x="163" y="631"/>
                  </a:lnTo>
                  <a:lnTo>
                    <a:pt x="162" y="632"/>
                  </a:lnTo>
                  <a:lnTo>
                    <a:pt x="159" y="633"/>
                  </a:lnTo>
                  <a:lnTo>
                    <a:pt x="158" y="633"/>
                  </a:lnTo>
                  <a:lnTo>
                    <a:pt x="157" y="633"/>
                  </a:lnTo>
                  <a:lnTo>
                    <a:pt x="156" y="632"/>
                  </a:lnTo>
                  <a:lnTo>
                    <a:pt x="155" y="631"/>
                  </a:lnTo>
                  <a:lnTo>
                    <a:pt x="153" y="632"/>
                  </a:lnTo>
                  <a:lnTo>
                    <a:pt x="153" y="635"/>
                  </a:lnTo>
                  <a:lnTo>
                    <a:pt x="151" y="636"/>
                  </a:lnTo>
                  <a:lnTo>
                    <a:pt x="151" y="637"/>
                  </a:lnTo>
                  <a:lnTo>
                    <a:pt x="152" y="638"/>
                  </a:lnTo>
                  <a:lnTo>
                    <a:pt x="155" y="640"/>
                  </a:lnTo>
                  <a:lnTo>
                    <a:pt x="155" y="641"/>
                  </a:lnTo>
                  <a:lnTo>
                    <a:pt x="157" y="642"/>
                  </a:lnTo>
                  <a:lnTo>
                    <a:pt x="158" y="642"/>
                  </a:lnTo>
                  <a:lnTo>
                    <a:pt x="159" y="643"/>
                  </a:lnTo>
                  <a:lnTo>
                    <a:pt x="162" y="642"/>
                  </a:lnTo>
                  <a:lnTo>
                    <a:pt x="163" y="642"/>
                  </a:lnTo>
                  <a:lnTo>
                    <a:pt x="165" y="641"/>
                  </a:lnTo>
                  <a:lnTo>
                    <a:pt x="168" y="638"/>
                  </a:lnTo>
                  <a:lnTo>
                    <a:pt x="168" y="637"/>
                  </a:lnTo>
                  <a:lnTo>
                    <a:pt x="169" y="635"/>
                  </a:lnTo>
                  <a:lnTo>
                    <a:pt x="171" y="632"/>
                  </a:lnTo>
                  <a:lnTo>
                    <a:pt x="173" y="630"/>
                  </a:lnTo>
                  <a:lnTo>
                    <a:pt x="174" y="627"/>
                  </a:lnTo>
                  <a:lnTo>
                    <a:pt x="175" y="624"/>
                  </a:lnTo>
                  <a:lnTo>
                    <a:pt x="176" y="621"/>
                  </a:lnTo>
                  <a:lnTo>
                    <a:pt x="177" y="620"/>
                  </a:lnTo>
                  <a:lnTo>
                    <a:pt x="180" y="623"/>
                  </a:lnTo>
                  <a:lnTo>
                    <a:pt x="179" y="625"/>
                  </a:lnTo>
                  <a:lnTo>
                    <a:pt x="177" y="626"/>
                  </a:lnTo>
                  <a:lnTo>
                    <a:pt x="177" y="629"/>
                  </a:lnTo>
                  <a:lnTo>
                    <a:pt x="176" y="630"/>
                  </a:lnTo>
                  <a:lnTo>
                    <a:pt x="176" y="631"/>
                  </a:lnTo>
                  <a:lnTo>
                    <a:pt x="177" y="633"/>
                  </a:lnTo>
                  <a:lnTo>
                    <a:pt x="180" y="633"/>
                  </a:lnTo>
                  <a:lnTo>
                    <a:pt x="181" y="633"/>
                  </a:lnTo>
                  <a:lnTo>
                    <a:pt x="181" y="635"/>
                  </a:lnTo>
                  <a:lnTo>
                    <a:pt x="183" y="635"/>
                  </a:lnTo>
                  <a:lnTo>
                    <a:pt x="185" y="635"/>
                  </a:lnTo>
                  <a:lnTo>
                    <a:pt x="186" y="633"/>
                  </a:lnTo>
                  <a:lnTo>
                    <a:pt x="187" y="632"/>
                  </a:lnTo>
                  <a:lnTo>
                    <a:pt x="187" y="631"/>
                  </a:lnTo>
                  <a:lnTo>
                    <a:pt x="186" y="629"/>
                  </a:lnTo>
                  <a:lnTo>
                    <a:pt x="187" y="629"/>
                  </a:lnTo>
                  <a:lnTo>
                    <a:pt x="188" y="630"/>
                  </a:lnTo>
                  <a:lnTo>
                    <a:pt x="189" y="631"/>
                  </a:lnTo>
                  <a:lnTo>
                    <a:pt x="192" y="631"/>
                  </a:lnTo>
                  <a:lnTo>
                    <a:pt x="193" y="632"/>
                  </a:lnTo>
                  <a:lnTo>
                    <a:pt x="193" y="635"/>
                  </a:lnTo>
                  <a:lnTo>
                    <a:pt x="193" y="637"/>
                  </a:lnTo>
                  <a:lnTo>
                    <a:pt x="193" y="640"/>
                  </a:lnTo>
                  <a:lnTo>
                    <a:pt x="196" y="640"/>
                  </a:lnTo>
                  <a:lnTo>
                    <a:pt x="197" y="638"/>
                  </a:lnTo>
                  <a:lnTo>
                    <a:pt x="198" y="638"/>
                  </a:lnTo>
                  <a:lnTo>
                    <a:pt x="199" y="637"/>
                  </a:lnTo>
                  <a:lnTo>
                    <a:pt x="200" y="636"/>
                  </a:lnTo>
                  <a:lnTo>
                    <a:pt x="203" y="636"/>
                  </a:lnTo>
                  <a:lnTo>
                    <a:pt x="204" y="635"/>
                  </a:lnTo>
                  <a:lnTo>
                    <a:pt x="205" y="632"/>
                  </a:lnTo>
                  <a:lnTo>
                    <a:pt x="206" y="631"/>
                  </a:lnTo>
                  <a:lnTo>
                    <a:pt x="206" y="629"/>
                  </a:lnTo>
                  <a:lnTo>
                    <a:pt x="205" y="629"/>
                  </a:lnTo>
                  <a:lnTo>
                    <a:pt x="204" y="630"/>
                  </a:lnTo>
                  <a:lnTo>
                    <a:pt x="200" y="631"/>
                  </a:lnTo>
                  <a:lnTo>
                    <a:pt x="202" y="629"/>
                  </a:lnTo>
                  <a:lnTo>
                    <a:pt x="203" y="627"/>
                  </a:lnTo>
                  <a:lnTo>
                    <a:pt x="205" y="626"/>
                  </a:lnTo>
                  <a:lnTo>
                    <a:pt x="208" y="626"/>
                  </a:lnTo>
                  <a:lnTo>
                    <a:pt x="209" y="626"/>
                  </a:lnTo>
                  <a:lnTo>
                    <a:pt x="209" y="624"/>
                  </a:lnTo>
                  <a:lnTo>
                    <a:pt x="209" y="621"/>
                  </a:lnTo>
                  <a:lnTo>
                    <a:pt x="208" y="620"/>
                  </a:lnTo>
                  <a:lnTo>
                    <a:pt x="209" y="619"/>
                  </a:lnTo>
                  <a:lnTo>
                    <a:pt x="210" y="618"/>
                  </a:lnTo>
                  <a:lnTo>
                    <a:pt x="210" y="617"/>
                  </a:lnTo>
                  <a:lnTo>
                    <a:pt x="210" y="615"/>
                  </a:lnTo>
                  <a:lnTo>
                    <a:pt x="210" y="613"/>
                  </a:lnTo>
                  <a:lnTo>
                    <a:pt x="210" y="612"/>
                  </a:lnTo>
                  <a:lnTo>
                    <a:pt x="211" y="613"/>
                  </a:lnTo>
                  <a:lnTo>
                    <a:pt x="212" y="613"/>
                  </a:lnTo>
                  <a:lnTo>
                    <a:pt x="214" y="611"/>
                  </a:lnTo>
                  <a:lnTo>
                    <a:pt x="215" y="609"/>
                  </a:lnTo>
                  <a:lnTo>
                    <a:pt x="215" y="608"/>
                  </a:lnTo>
                  <a:lnTo>
                    <a:pt x="215" y="607"/>
                  </a:lnTo>
                  <a:lnTo>
                    <a:pt x="214" y="606"/>
                  </a:lnTo>
                  <a:lnTo>
                    <a:pt x="212" y="606"/>
                  </a:lnTo>
                  <a:lnTo>
                    <a:pt x="212" y="605"/>
                  </a:lnTo>
                  <a:lnTo>
                    <a:pt x="214" y="603"/>
                  </a:lnTo>
                  <a:lnTo>
                    <a:pt x="215" y="603"/>
                  </a:lnTo>
                  <a:lnTo>
                    <a:pt x="216" y="605"/>
                  </a:lnTo>
                  <a:lnTo>
                    <a:pt x="217" y="606"/>
                  </a:lnTo>
                  <a:lnTo>
                    <a:pt x="217" y="607"/>
                  </a:lnTo>
                  <a:lnTo>
                    <a:pt x="217" y="609"/>
                  </a:lnTo>
                  <a:lnTo>
                    <a:pt x="218" y="612"/>
                  </a:lnTo>
                  <a:lnTo>
                    <a:pt x="221" y="614"/>
                  </a:lnTo>
                  <a:lnTo>
                    <a:pt x="222" y="615"/>
                  </a:lnTo>
                  <a:lnTo>
                    <a:pt x="226" y="617"/>
                  </a:lnTo>
                  <a:lnTo>
                    <a:pt x="227" y="617"/>
                  </a:lnTo>
                  <a:lnTo>
                    <a:pt x="229" y="615"/>
                  </a:lnTo>
                  <a:lnTo>
                    <a:pt x="230" y="614"/>
                  </a:lnTo>
                  <a:lnTo>
                    <a:pt x="230" y="612"/>
                  </a:lnTo>
                  <a:lnTo>
                    <a:pt x="229" y="611"/>
                  </a:lnTo>
                  <a:lnTo>
                    <a:pt x="228" y="611"/>
                  </a:lnTo>
                  <a:lnTo>
                    <a:pt x="226" y="608"/>
                  </a:lnTo>
                  <a:lnTo>
                    <a:pt x="223" y="607"/>
                  </a:lnTo>
                  <a:lnTo>
                    <a:pt x="221" y="605"/>
                  </a:lnTo>
                  <a:lnTo>
                    <a:pt x="220" y="603"/>
                  </a:lnTo>
                  <a:lnTo>
                    <a:pt x="218" y="602"/>
                  </a:lnTo>
                  <a:lnTo>
                    <a:pt x="217" y="600"/>
                  </a:lnTo>
                  <a:lnTo>
                    <a:pt x="218" y="600"/>
                  </a:lnTo>
                  <a:lnTo>
                    <a:pt x="220" y="599"/>
                  </a:lnTo>
                  <a:lnTo>
                    <a:pt x="222" y="597"/>
                  </a:lnTo>
                  <a:lnTo>
                    <a:pt x="224" y="595"/>
                  </a:lnTo>
                  <a:lnTo>
                    <a:pt x="226" y="595"/>
                  </a:lnTo>
                  <a:lnTo>
                    <a:pt x="228" y="594"/>
                  </a:lnTo>
                  <a:lnTo>
                    <a:pt x="229" y="593"/>
                  </a:lnTo>
                  <a:lnTo>
                    <a:pt x="229" y="591"/>
                  </a:lnTo>
                  <a:lnTo>
                    <a:pt x="227" y="593"/>
                  </a:lnTo>
                  <a:lnTo>
                    <a:pt x="226" y="593"/>
                  </a:lnTo>
                  <a:lnTo>
                    <a:pt x="223" y="594"/>
                  </a:lnTo>
                  <a:lnTo>
                    <a:pt x="223" y="593"/>
                  </a:lnTo>
                  <a:lnTo>
                    <a:pt x="223" y="591"/>
                  </a:lnTo>
                  <a:lnTo>
                    <a:pt x="226" y="591"/>
                  </a:lnTo>
                  <a:lnTo>
                    <a:pt x="228" y="590"/>
                  </a:lnTo>
                  <a:lnTo>
                    <a:pt x="230" y="590"/>
                  </a:lnTo>
                  <a:lnTo>
                    <a:pt x="232" y="590"/>
                  </a:lnTo>
                  <a:lnTo>
                    <a:pt x="233" y="591"/>
                  </a:lnTo>
                  <a:lnTo>
                    <a:pt x="234" y="593"/>
                  </a:lnTo>
                  <a:lnTo>
                    <a:pt x="235" y="593"/>
                  </a:lnTo>
                  <a:lnTo>
                    <a:pt x="236" y="591"/>
                  </a:lnTo>
                  <a:lnTo>
                    <a:pt x="236" y="590"/>
                  </a:lnTo>
                  <a:lnTo>
                    <a:pt x="236" y="589"/>
                  </a:lnTo>
                  <a:lnTo>
                    <a:pt x="234" y="589"/>
                  </a:lnTo>
                  <a:lnTo>
                    <a:pt x="233" y="589"/>
                  </a:lnTo>
                  <a:lnTo>
                    <a:pt x="233" y="588"/>
                  </a:lnTo>
                  <a:lnTo>
                    <a:pt x="234" y="587"/>
                  </a:lnTo>
                  <a:lnTo>
                    <a:pt x="235" y="587"/>
                  </a:lnTo>
                  <a:lnTo>
                    <a:pt x="236" y="587"/>
                  </a:lnTo>
                  <a:lnTo>
                    <a:pt x="238" y="589"/>
                  </a:lnTo>
                  <a:lnTo>
                    <a:pt x="240" y="590"/>
                  </a:lnTo>
                  <a:lnTo>
                    <a:pt x="242" y="590"/>
                  </a:lnTo>
                  <a:lnTo>
                    <a:pt x="245" y="589"/>
                  </a:lnTo>
                  <a:lnTo>
                    <a:pt x="246" y="587"/>
                  </a:lnTo>
                  <a:lnTo>
                    <a:pt x="245" y="585"/>
                  </a:lnTo>
                  <a:lnTo>
                    <a:pt x="244" y="584"/>
                  </a:lnTo>
                  <a:lnTo>
                    <a:pt x="242" y="583"/>
                  </a:lnTo>
                  <a:lnTo>
                    <a:pt x="240" y="582"/>
                  </a:lnTo>
                  <a:lnTo>
                    <a:pt x="239" y="583"/>
                  </a:lnTo>
                  <a:lnTo>
                    <a:pt x="238" y="583"/>
                  </a:lnTo>
                  <a:lnTo>
                    <a:pt x="236" y="582"/>
                  </a:lnTo>
                  <a:lnTo>
                    <a:pt x="235" y="581"/>
                  </a:lnTo>
                  <a:lnTo>
                    <a:pt x="234" y="581"/>
                  </a:lnTo>
                  <a:lnTo>
                    <a:pt x="232" y="582"/>
                  </a:lnTo>
                  <a:lnTo>
                    <a:pt x="229" y="581"/>
                  </a:lnTo>
                  <a:lnTo>
                    <a:pt x="229" y="579"/>
                  </a:lnTo>
                  <a:lnTo>
                    <a:pt x="229" y="578"/>
                  </a:lnTo>
                  <a:lnTo>
                    <a:pt x="230" y="578"/>
                  </a:lnTo>
                  <a:lnTo>
                    <a:pt x="234" y="581"/>
                  </a:lnTo>
                  <a:lnTo>
                    <a:pt x="235" y="579"/>
                  </a:lnTo>
                  <a:lnTo>
                    <a:pt x="238" y="578"/>
                  </a:lnTo>
                  <a:lnTo>
                    <a:pt x="240" y="578"/>
                  </a:lnTo>
                  <a:lnTo>
                    <a:pt x="240" y="577"/>
                  </a:lnTo>
                  <a:lnTo>
                    <a:pt x="240" y="575"/>
                  </a:lnTo>
                  <a:lnTo>
                    <a:pt x="240" y="572"/>
                  </a:lnTo>
                  <a:lnTo>
                    <a:pt x="240" y="571"/>
                  </a:lnTo>
                  <a:lnTo>
                    <a:pt x="239" y="572"/>
                  </a:lnTo>
                  <a:lnTo>
                    <a:pt x="238" y="573"/>
                  </a:lnTo>
                  <a:lnTo>
                    <a:pt x="236" y="572"/>
                  </a:lnTo>
                  <a:lnTo>
                    <a:pt x="235" y="572"/>
                  </a:lnTo>
                  <a:lnTo>
                    <a:pt x="234" y="573"/>
                  </a:lnTo>
                  <a:lnTo>
                    <a:pt x="233" y="573"/>
                  </a:lnTo>
                  <a:lnTo>
                    <a:pt x="230" y="575"/>
                  </a:lnTo>
                  <a:lnTo>
                    <a:pt x="228" y="576"/>
                  </a:lnTo>
                  <a:lnTo>
                    <a:pt x="227" y="577"/>
                  </a:lnTo>
                  <a:lnTo>
                    <a:pt x="227" y="578"/>
                  </a:lnTo>
                  <a:lnTo>
                    <a:pt x="226" y="581"/>
                  </a:lnTo>
                  <a:lnTo>
                    <a:pt x="224" y="579"/>
                  </a:lnTo>
                  <a:lnTo>
                    <a:pt x="226" y="577"/>
                  </a:lnTo>
                  <a:lnTo>
                    <a:pt x="227" y="576"/>
                  </a:lnTo>
                  <a:lnTo>
                    <a:pt x="228" y="573"/>
                  </a:lnTo>
                  <a:lnTo>
                    <a:pt x="230" y="572"/>
                  </a:lnTo>
                  <a:lnTo>
                    <a:pt x="232" y="572"/>
                  </a:lnTo>
                  <a:lnTo>
                    <a:pt x="232" y="570"/>
                  </a:lnTo>
                  <a:lnTo>
                    <a:pt x="230" y="569"/>
                  </a:lnTo>
                  <a:lnTo>
                    <a:pt x="229" y="567"/>
                  </a:lnTo>
                  <a:lnTo>
                    <a:pt x="227" y="571"/>
                  </a:lnTo>
                  <a:lnTo>
                    <a:pt x="227" y="572"/>
                  </a:lnTo>
                  <a:lnTo>
                    <a:pt x="226" y="570"/>
                  </a:lnTo>
                  <a:lnTo>
                    <a:pt x="227" y="569"/>
                  </a:lnTo>
                  <a:lnTo>
                    <a:pt x="227" y="567"/>
                  </a:lnTo>
                  <a:lnTo>
                    <a:pt x="226" y="567"/>
                  </a:lnTo>
                  <a:lnTo>
                    <a:pt x="224" y="566"/>
                  </a:lnTo>
                  <a:lnTo>
                    <a:pt x="223" y="567"/>
                  </a:lnTo>
                  <a:lnTo>
                    <a:pt x="223" y="569"/>
                  </a:lnTo>
                  <a:lnTo>
                    <a:pt x="223" y="570"/>
                  </a:lnTo>
                  <a:lnTo>
                    <a:pt x="222" y="570"/>
                  </a:lnTo>
                  <a:lnTo>
                    <a:pt x="221" y="566"/>
                  </a:lnTo>
                  <a:lnTo>
                    <a:pt x="218" y="565"/>
                  </a:lnTo>
                  <a:lnTo>
                    <a:pt x="218" y="564"/>
                  </a:lnTo>
                  <a:lnTo>
                    <a:pt x="217" y="563"/>
                  </a:lnTo>
                  <a:lnTo>
                    <a:pt x="216" y="561"/>
                  </a:lnTo>
                  <a:lnTo>
                    <a:pt x="215" y="560"/>
                  </a:lnTo>
                  <a:lnTo>
                    <a:pt x="215" y="559"/>
                  </a:lnTo>
                  <a:lnTo>
                    <a:pt x="216" y="557"/>
                  </a:lnTo>
                  <a:lnTo>
                    <a:pt x="217" y="555"/>
                  </a:lnTo>
                  <a:lnTo>
                    <a:pt x="218" y="555"/>
                  </a:lnTo>
                  <a:lnTo>
                    <a:pt x="220" y="557"/>
                  </a:lnTo>
                  <a:lnTo>
                    <a:pt x="221" y="557"/>
                  </a:lnTo>
                  <a:lnTo>
                    <a:pt x="223" y="558"/>
                  </a:lnTo>
                  <a:lnTo>
                    <a:pt x="224" y="559"/>
                  </a:lnTo>
                  <a:lnTo>
                    <a:pt x="228" y="560"/>
                  </a:lnTo>
                  <a:lnTo>
                    <a:pt x="229" y="559"/>
                  </a:lnTo>
                  <a:lnTo>
                    <a:pt x="229" y="558"/>
                  </a:lnTo>
                  <a:lnTo>
                    <a:pt x="230" y="557"/>
                  </a:lnTo>
                  <a:lnTo>
                    <a:pt x="230" y="554"/>
                  </a:lnTo>
                  <a:lnTo>
                    <a:pt x="229" y="553"/>
                  </a:lnTo>
                  <a:lnTo>
                    <a:pt x="227" y="554"/>
                  </a:lnTo>
                  <a:lnTo>
                    <a:pt x="223" y="554"/>
                  </a:lnTo>
                  <a:lnTo>
                    <a:pt x="221" y="553"/>
                  </a:lnTo>
                  <a:lnTo>
                    <a:pt x="218" y="552"/>
                  </a:lnTo>
                  <a:lnTo>
                    <a:pt x="217" y="551"/>
                  </a:lnTo>
                  <a:lnTo>
                    <a:pt x="216" y="551"/>
                  </a:lnTo>
                  <a:lnTo>
                    <a:pt x="216" y="548"/>
                  </a:lnTo>
                  <a:lnTo>
                    <a:pt x="216" y="547"/>
                  </a:lnTo>
                  <a:lnTo>
                    <a:pt x="216" y="545"/>
                  </a:lnTo>
                  <a:lnTo>
                    <a:pt x="212" y="543"/>
                  </a:lnTo>
                  <a:lnTo>
                    <a:pt x="211" y="543"/>
                  </a:lnTo>
                  <a:lnTo>
                    <a:pt x="210" y="541"/>
                  </a:lnTo>
                  <a:lnTo>
                    <a:pt x="209" y="541"/>
                  </a:lnTo>
                  <a:lnTo>
                    <a:pt x="209" y="539"/>
                  </a:lnTo>
                  <a:lnTo>
                    <a:pt x="209" y="536"/>
                  </a:lnTo>
                  <a:lnTo>
                    <a:pt x="210" y="534"/>
                  </a:lnTo>
                  <a:lnTo>
                    <a:pt x="210" y="533"/>
                  </a:lnTo>
                  <a:lnTo>
                    <a:pt x="210" y="529"/>
                  </a:lnTo>
                  <a:lnTo>
                    <a:pt x="211" y="526"/>
                  </a:lnTo>
                  <a:lnTo>
                    <a:pt x="212" y="525"/>
                  </a:lnTo>
                  <a:lnTo>
                    <a:pt x="214" y="523"/>
                  </a:lnTo>
                  <a:lnTo>
                    <a:pt x="215" y="522"/>
                  </a:lnTo>
                  <a:lnTo>
                    <a:pt x="217" y="524"/>
                  </a:lnTo>
                  <a:lnTo>
                    <a:pt x="220" y="525"/>
                  </a:lnTo>
                  <a:lnTo>
                    <a:pt x="222" y="526"/>
                  </a:lnTo>
                  <a:lnTo>
                    <a:pt x="220" y="528"/>
                  </a:lnTo>
                  <a:lnTo>
                    <a:pt x="218" y="528"/>
                  </a:lnTo>
                  <a:lnTo>
                    <a:pt x="217" y="526"/>
                  </a:lnTo>
                  <a:lnTo>
                    <a:pt x="216" y="526"/>
                  </a:lnTo>
                  <a:lnTo>
                    <a:pt x="216" y="529"/>
                  </a:lnTo>
                  <a:lnTo>
                    <a:pt x="214" y="529"/>
                  </a:lnTo>
                  <a:lnTo>
                    <a:pt x="214" y="530"/>
                  </a:lnTo>
                  <a:lnTo>
                    <a:pt x="215" y="530"/>
                  </a:lnTo>
                  <a:lnTo>
                    <a:pt x="214" y="534"/>
                  </a:lnTo>
                  <a:lnTo>
                    <a:pt x="215" y="535"/>
                  </a:lnTo>
                  <a:lnTo>
                    <a:pt x="216" y="535"/>
                  </a:lnTo>
                  <a:lnTo>
                    <a:pt x="218" y="534"/>
                  </a:lnTo>
                  <a:lnTo>
                    <a:pt x="220" y="533"/>
                  </a:lnTo>
                  <a:lnTo>
                    <a:pt x="221" y="530"/>
                  </a:lnTo>
                  <a:lnTo>
                    <a:pt x="222" y="530"/>
                  </a:lnTo>
                  <a:lnTo>
                    <a:pt x="227" y="530"/>
                  </a:lnTo>
                  <a:lnTo>
                    <a:pt x="229" y="530"/>
                  </a:lnTo>
                  <a:lnTo>
                    <a:pt x="232" y="530"/>
                  </a:lnTo>
                  <a:lnTo>
                    <a:pt x="233" y="531"/>
                  </a:lnTo>
                  <a:lnTo>
                    <a:pt x="233" y="534"/>
                  </a:lnTo>
                  <a:lnTo>
                    <a:pt x="232" y="536"/>
                  </a:lnTo>
                  <a:lnTo>
                    <a:pt x="229" y="536"/>
                  </a:lnTo>
                  <a:lnTo>
                    <a:pt x="228" y="535"/>
                  </a:lnTo>
                  <a:lnTo>
                    <a:pt x="226" y="535"/>
                  </a:lnTo>
                  <a:lnTo>
                    <a:pt x="224" y="535"/>
                  </a:lnTo>
                  <a:lnTo>
                    <a:pt x="224" y="537"/>
                  </a:lnTo>
                  <a:lnTo>
                    <a:pt x="226" y="540"/>
                  </a:lnTo>
                  <a:lnTo>
                    <a:pt x="227" y="541"/>
                  </a:lnTo>
                  <a:lnTo>
                    <a:pt x="230" y="543"/>
                  </a:lnTo>
                  <a:lnTo>
                    <a:pt x="232" y="543"/>
                  </a:lnTo>
                  <a:lnTo>
                    <a:pt x="234" y="543"/>
                  </a:lnTo>
                  <a:lnTo>
                    <a:pt x="233" y="541"/>
                  </a:lnTo>
                  <a:lnTo>
                    <a:pt x="234" y="540"/>
                  </a:lnTo>
                  <a:lnTo>
                    <a:pt x="235" y="537"/>
                  </a:lnTo>
                  <a:lnTo>
                    <a:pt x="235" y="534"/>
                  </a:lnTo>
                  <a:lnTo>
                    <a:pt x="238" y="533"/>
                  </a:lnTo>
                  <a:lnTo>
                    <a:pt x="239" y="534"/>
                  </a:lnTo>
                  <a:lnTo>
                    <a:pt x="240" y="536"/>
                  </a:lnTo>
                  <a:lnTo>
                    <a:pt x="244" y="536"/>
                  </a:lnTo>
                  <a:lnTo>
                    <a:pt x="247" y="535"/>
                  </a:lnTo>
                  <a:lnTo>
                    <a:pt x="248" y="534"/>
                  </a:lnTo>
                  <a:lnTo>
                    <a:pt x="250" y="533"/>
                  </a:lnTo>
                  <a:lnTo>
                    <a:pt x="250" y="531"/>
                  </a:lnTo>
                  <a:lnTo>
                    <a:pt x="248" y="530"/>
                  </a:lnTo>
                  <a:lnTo>
                    <a:pt x="246" y="530"/>
                  </a:lnTo>
                  <a:lnTo>
                    <a:pt x="244" y="529"/>
                  </a:lnTo>
                  <a:lnTo>
                    <a:pt x="247" y="529"/>
                  </a:lnTo>
                  <a:lnTo>
                    <a:pt x="250" y="529"/>
                  </a:lnTo>
                  <a:lnTo>
                    <a:pt x="252" y="528"/>
                  </a:lnTo>
                  <a:lnTo>
                    <a:pt x="253" y="528"/>
                  </a:lnTo>
                  <a:lnTo>
                    <a:pt x="257" y="528"/>
                  </a:lnTo>
                  <a:lnTo>
                    <a:pt x="258" y="528"/>
                  </a:lnTo>
                  <a:lnTo>
                    <a:pt x="259" y="528"/>
                  </a:lnTo>
                  <a:lnTo>
                    <a:pt x="259" y="526"/>
                  </a:lnTo>
                  <a:lnTo>
                    <a:pt x="257" y="525"/>
                  </a:lnTo>
                  <a:lnTo>
                    <a:pt x="258" y="524"/>
                  </a:lnTo>
                  <a:lnTo>
                    <a:pt x="261" y="524"/>
                  </a:lnTo>
                  <a:lnTo>
                    <a:pt x="262" y="524"/>
                  </a:lnTo>
                  <a:lnTo>
                    <a:pt x="264" y="524"/>
                  </a:lnTo>
                  <a:lnTo>
                    <a:pt x="262" y="526"/>
                  </a:lnTo>
                  <a:lnTo>
                    <a:pt x="261" y="528"/>
                  </a:lnTo>
                  <a:lnTo>
                    <a:pt x="263" y="529"/>
                  </a:lnTo>
                  <a:lnTo>
                    <a:pt x="264" y="528"/>
                  </a:lnTo>
                  <a:lnTo>
                    <a:pt x="265" y="525"/>
                  </a:lnTo>
                  <a:lnTo>
                    <a:pt x="265" y="524"/>
                  </a:lnTo>
                  <a:lnTo>
                    <a:pt x="264" y="522"/>
                  </a:lnTo>
                  <a:lnTo>
                    <a:pt x="264" y="520"/>
                  </a:lnTo>
                  <a:lnTo>
                    <a:pt x="265" y="520"/>
                  </a:lnTo>
                  <a:lnTo>
                    <a:pt x="267" y="522"/>
                  </a:lnTo>
                  <a:lnTo>
                    <a:pt x="267" y="523"/>
                  </a:lnTo>
                  <a:lnTo>
                    <a:pt x="268" y="524"/>
                  </a:lnTo>
                  <a:lnTo>
                    <a:pt x="267" y="526"/>
                  </a:lnTo>
                  <a:lnTo>
                    <a:pt x="265" y="530"/>
                  </a:lnTo>
                  <a:lnTo>
                    <a:pt x="264" y="530"/>
                  </a:lnTo>
                  <a:lnTo>
                    <a:pt x="262" y="533"/>
                  </a:lnTo>
                  <a:lnTo>
                    <a:pt x="261" y="534"/>
                  </a:lnTo>
                  <a:lnTo>
                    <a:pt x="264" y="534"/>
                  </a:lnTo>
                  <a:lnTo>
                    <a:pt x="265" y="533"/>
                  </a:lnTo>
                  <a:lnTo>
                    <a:pt x="265" y="534"/>
                  </a:lnTo>
                  <a:lnTo>
                    <a:pt x="264" y="535"/>
                  </a:lnTo>
                  <a:lnTo>
                    <a:pt x="263" y="536"/>
                  </a:lnTo>
                  <a:lnTo>
                    <a:pt x="264" y="537"/>
                  </a:lnTo>
                  <a:lnTo>
                    <a:pt x="267" y="536"/>
                  </a:lnTo>
                  <a:lnTo>
                    <a:pt x="267" y="540"/>
                  </a:lnTo>
                  <a:lnTo>
                    <a:pt x="265" y="541"/>
                  </a:lnTo>
                  <a:lnTo>
                    <a:pt x="263" y="552"/>
                  </a:lnTo>
                  <a:lnTo>
                    <a:pt x="263" y="554"/>
                  </a:lnTo>
                  <a:lnTo>
                    <a:pt x="263" y="555"/>
                  </a:lnTo>
                  <a:lnTo>
                    <a:pt x="263" y="557"/>
                  </a:lnTo>
                  <a:lnTo>
                    <a:pt x="263" y="559"/>
                  </a:lnTo>
                  <a:lnTo>
                    <a:pt x="262" y="563"/>
                  </a:lnTo>
                  <a:lnTo>
                    <a:pt x="264" y="564"/>
                  </a:lnTo>
                  <a:lnTo>
                    <a:pt x="264" y="566"/>
                  </a:lnTo>
                  <a:lnTo>
                    <a:pt x="263" y="566"/>
                  </a:lnTo>
                  <a:lnTo>
                    <a:pt x="265" y="569"/>
                  </a:lnTo>
                  <a:lnTo>
                    <a:pt x="267" y="569"/>
                  </a:lnTo>
                  <a:lnTo>
                    <a:pt x="268" y="571"/>
                  </a:lnTo>
                  <a:lnTo>
                    <a:pt x="270" y="573"/>
                  </a:lnTo>
                  <a:lnTo>
                    <a:pt x="271" y="576"/>
                  </a:lnTo>
                  <a:lnTo>
                    <a:pt x="271" y="579"/>
                  </a:lnTo>
                  <a:lnTo>
                    <a:pt x="273" y="582"/>
                  </a:lnTo>
                  <a:lnTo>
                    <a:pt x="273" y="583"/>
                  </a:lnTo>
                  <a:lnTo>
                    <a:pt x="271" y="588"/>
                  </a:lnTo>
                  <a:lnTo>
                    <a:pt x="271" y="593"/>
                  </a:lnTo>
                  <a:lnTo>
                    <a:pt x="269" y="595"/>
                  </a:lnTo>
                  <a:lnTo>
                    <a:pt x="269" y="596"/>
                  </a:lnTo>
                  <a:lnTo>
                    <a:pt x="269" y="600"/>
                  </a:lnTo>
                  <a:lnTo>
                    <a:pt x="269" y="602"/>
                  </a:lnTo>
                  <a:lnTo>
                    <a:pt x="271" y="602"/>
                  </a:lnTo>
                  <a:lnTo>
                    <a:pt x="273" y="601"/>
                  </a:lnTo>
                  <a:lnTo>
                    <a:pt x="273" y="600"/>
                  </a:lnTo>
                  <a:lnTo>
                    <a:pt x="270" y="600"/>
                  </a:lnTo>
                  <a:lnTo>
                    <a:pt x="270" y="599"/>
                  </a:lnTo>
                  <a:lnTo>
                    <a:pt x="270" y="596"/>
                  </a:lnTo>
                  <a:lnTo>
                    <a:pt x="271" y="595"/>
                  </a:lnTo>
                  <a:lnTo>
                    <a:pt x="273" y="594"/>
                  </a:lnTo>
                  <a:lnTo>
                    <a:pt x="273" y="591"/>
                  </a:lnTo>
                  <a:lnTo>
                    <a:pt x="274" y="591"/>
                  </a:lnTo>
                  <a:lnTo>
                    <a:pt x="275" y="593"/>
                  </a:lnTo>
                  <a:lnTo>
                    <a:pt x="276" y="595"/>
                  </a:lnTo>
                  <a:lnTo>
                    <a:pt x="277" y="597"/>
                  </a:lnTo>
                  <a:lnTo>
                    <a:pt x="279" y="600"/>
                  </a:lnTo>
                  <a:lnTo>
                    <a:pt x="279" y="601"/>
                  </a:lnTo>
                  <a:lnTo>
                    <a:pt x="281" y="603"/>
                  </a:lnTo>
                  <a:lnTo>
                    <a:pt x="281" y="606"/>
                  </a:lnTo>
                  <a:lnTo>
                    <a:pt x="282" y="608"/>
                  </a:lnTo>
                  <a:lnTo>
                    <a:pt x="283" y="611"/>
                  </a:lnTo>
                  <a:lnTo>
                    <a:pt x="285" y="612"/>
                  </a:lnTo>
                  <a:lnTo>
                    <a:pt x="286" y="614"/>
                  </a:lnTo>
                  <a:lnTo>
                    <a:pt x="287" y="617"/>
                  </a:lnTo>
                  <a:lnTo>
                    <a:pt x="288" y="618"/>
                  </a:lnTo>
                  <a:lnTo>
                    <a:pt x="289" y="621"/>
                  </a:lnTo>
                  <a:lnTo>
                    <a:pt x="291" y="621"/>
                  </a:lnTo>
                  <a:lnTo>
                    <a:pt x="291" y="620"/>
                  </a:lnTo>
                  <a:lnTo>
                    <a:pt x="291" y="617"/>
                  </a:lnTo>
                  <a:lnTo>
                    <a:pt x="289" y="614"/>
                  </a:lnTo>
                  <a:lnTo>
                    <a:pt x="285" y="607"/>
                  </a:lnTo>
                  <a:lnTo>
                    <a:pt x="282" y="603"/>
                  </a:lnTo>
                  <a:lnTo>
                    <a:pt x="281" y="600"/>
                  </a:lnTo>
                  <a:lnTo>
                    <a:pt x="279" y="596"/>
                  </a:lnTo>
                  <a:lnTo>
                    <a:pt x="277" y="593"/>
                  </a:lnTo>
                  <a:lnTo>
                    <a:pt x="276" y="590"/>
                  </a:lnTo>
                  <a:lnTo>
                    <a:pt x="275" y="585"/>
                  </a:lnTo>
                  <a:lnTo>
                    <a:pt x="275" y="583"/>
                  </a:lnTo>
                  <a:lnTo>
                    <a:pt x="274" y="576"/>
                  </a:lnTo>
                  <a:lnTo>
                    <a:pt x="270" y="569"/>
                  </a:lnTo>
                  <a:lnTo>
                    <a:pt x="268" y="564"/>
                  </a:lnTo>
                  <a:lnTo>
                    <a:pt x="265" y="559"/>
                  </a:lnTo>
                  <a:lnTo>
                    <a:pt x="265" y="555"/>
                  </a:lnTo>
                  <a:lnTo>
                    <a:pt x="267" y="551"/>
                  </a:lnTo>
                  <a:lnTo>
                    <a:pt x="268" y="545"/>
                  </a:lnTo>
                  <a:lnTo>
                    <a:pt x="270" y="539"/>
                  </a:lnTo>
                  <a:lnTo>
                    <a:pt x="270" y="533"/>
                  </a:lnTo>
                  <a:lnTo>
                    <a:pt x="270" y="524"/>
                  </a:lnTo>
                  <a:lnTo>
                    <a:pt x="271" y="522"/>
                  </a:lnTo>
                  <a:lnTo>
                    <a:pt x="273" y="519"/>
                  </a:lnTo>
                  <a:lnTo>
                    <a:pt x="274" y="510"/>
                  </a:lnTo>
                  <a:lnTo>
                    <a:pt x="275" y="508"/>
                  </a:lnTo>
                  <a:lnTo>
                    <a:pt x="277" y="507"/>
                  </a:lnTo>
                  <a:lnTo>
                    <a:pt x="277" y="511"/>
                  </a:lnTo>
                  <a:lnTo>
                    <a:pt x="277" y="512"/>
                  </a:lnTo>
                  <a:lnTo>
                    <a:pt x="277" y="513"/>
                  </a:lnTo>
                  <a:lnTo>
                    <a:pt x="276" y="514"/>
                  </a:lnTo>
                  <a:lnTo>
                    <a:pt x="276" y="516"/>
                  </a:lnTo>
                  <a:lnTo>
                    <a:pt x="275" y="517"/>
                  </a:lnTo>
                  <a:lnTo>
                    <a:pt x="275" y="518"/>
                  </a:lnTo>
                  <a:lnTo>
                    <a:pt x="274" y="520"/>
                  </a:lnTo>
                  <a:lnTo>
                    <a:pt x="273" y="524"/>
                  </a:lnTo>
                  <a:lnTo>
                    <a:pt x="273" y="525"/>
                  </a:lnTo>
                  <a:lnTo>
                    <a:pt x="271" y="528"/>
                  </a:lnTo>
                  <a:lnTo>
                    <a:pt x="271" y="531"/>
                  </a:lnTo>
                  <a:lnTo>
                    <a:pt x="271" y="534"/>
                  </a:lnTo>
                  <a:lnTo>
                    <a:pt x="271" y="536"/>
                  </a:lnTo>
                  <a:lnTo>
                    <a:pt x="271" y="539"/>
                  </a:lnTo>
                  <a:lnTo>
                    <a:pt x="271" y="541"/>
                  </a:lnTo>
                  <a:lnTo>
                    <a:pt x="270" y="545"/>
                  </a:lnTo>
                  <a:lnTo>
                    <a:pt x="271" y="547"/>
                  </a:lnTo>
                  <a:lnTo>
                    <a:pt x="270" y="548"/>
                  </a:lnTo>
                  <a:lnTo>
                    <a:pt x="269" y="551"/>
                  </a:lnTo>
                  <a:lnTo>
                    <a:pt x="269" y="552"/>
                  </a:lnTo>
                  <a:lnTo>
                    <a:pt x="270" y="555"/>
                  </a:lnTo>
                  <a:lnTo>
                    <a:pt x="269" y="557"/>
                  </a:lnTo>
                  <a:lnTo>
                    <a:pt x="268" y="558"/>
                  </a:lnTo>
                  <a:lnTo>
                    <a:pt x="270" y="559"/>
                  </a:lnTo>
                  <a:lnTo>
                    <a:pt x="270" y="560"/>
                  </a:lnTo>
                  <a:lnTo>
                    <a:pt x="269" y="561"/>
                  </a:lnTo>
                  <a:lnTo>
                    <a:pt x="269" y="563"/>
                  </a:lnTo>
                  <a:lnTo>
                    <a:pt x="271" y="564"/>
                  </a:lnTo>
                  <a:lnTo>
                    <a:pt x="273" y="564"/>
                  </a:lnTo>
                  <a:lnTo>
                    <a:pt x="274" y="564"/>
                  </a:lnTo>
                  <a:lnTo>
                    <a:pt x="275" y="563"/>
                  </a:lnTo>
                  <a:lnTo>
                    <a:pt x="274" y="561"/>
                  </a:lnTo>
                  <a:lnTo>
                    <a:pt x="273" y="561"/>
                  </a:lnTo>
                  <a:lnTo>
                    <a:pt x="274" y="559"/>
                  </a:lnTo>
                  <a:lnTo>
                    <a:pt x="275" y="559"/>
                  </a:lnTo>
                  <a:lnTo>
                    <a:pt x="276" y="559"/>
                  </a:lnTo>
                  <a:lnTo>
                    <a:pt x="280" y="558"/>
                  </a:lnTo>
                  <a:lnTo>
                    <a:pt x="279" y="557"/>
                  </a:lnTo>
                  <a:lnTo>
                    <a:pt x="276" y="557"/>
                  </a:lnTo>
                  <a:lnTo>
                    <a:pt x="275" y="555"/>
                  </a:lnTo>
                  <a:lnTo>
                    <a:pt x="276" y="555"/>
                  </a:lnTo>
                  <a:lnTo>
                    <a:pt x="277" y="554"/>
                  </a:lnTo>
                  <a:lnTo>
                    <a:pt x="277" y="553"/>
                  </a:lnTo>
                  <a:lnTo>
                    <a:pt x="276" y="552"/>
                  </a:lnTo>
                  <a:lnTo>
                    <a:pt x="275" y="551"/>
                  </a:lnTo>
                  <a:lnTo>
                    <a:pt x="275" y="549"/>
                  </a:lnTo>
                  <a:lnTo>
                    <a:pt x="274" y="547"/>
                  </a:lnTo>
                  <a:lnTo>
                    <a:pt x="274" y="546"/>
                  </a:lnTo>
                  <a:lnTo>
                    <a:pt x="273" y="543"/>
                  </a:lnTo>
                  <a:lnTo>
                    <a:pt x="273" y="540"/>
                  </a:lnTo>
                  <a:lnTo>
                    <a:pt x="273" y="536"/>
                  </a:lnTo>
                  <a:lnTo>
                    <a:pt x="273" y="531"/>
                  </a:lnTo>
                  <a:lnTo>
                    <a:pt x="274" y="526"/>
                  </a:lnTo>
                  <a:lnTo>
                    <a:pt x="275" y="522"/>
                  </a:lnTo>
                  <a:lnTo>
                    <a:pt x="276" y="519"/>
                  </a:lnTo>
                  <a:lnTo>
                    <a:pt x="277" y="518"/>
                  </a:lnTo>
                  <a:lnTo>
                    <a:pt x="277" y="519"/>
                  </a:lnTo>
                  <a:lnTo>
                    <a:pt x="279" y="520"/>
                  </a:lnTo>
                  <a:lnTo>
                    <a:pt x="280" y="522"/>
                  </a:lnTo>
                  <a:lnTo>
                    <a:pt x="280" y="523"/>
                  </a:lnTo>
                  <a:lnTo>
                    <a:pt x="279" y="525"/>
                  </a:lnTo>
                  <a:lnTo>
                    <a:pt x="279" y="529"/>
                  </a:lnTo>
                  <a:lnTo>
                    <a:pt x="279" y="530"/>
                  </a:lnTo>
                  <a:lnTo>
                    <a:pt x="280" y="528"/>
                  </a:lnTo>
                  <a:lnTo>
                    <a:pt x="280" y="525"/>
                  </a:lnTo>
                  <a:lnTo>
                    <a:pt x="280" y="524"/>
                  </a:lnTo>
                  <a:lnTo>
                    <a:pt x="281" y="524"/>
                  </a:lnTo>
                  <a:lnTo>
                    <a:pt x="281" y="528"/>
                  </a:lnTo>
                  <a:lnTo>
                    <a:pt x="281" y="531"/>
                  </a:lnTo>
                  <a:lnTo>
                    <a:pt x="281" y="534"/>
                  </a:lnTo>
                  <a:lnTo>
                    <a:pt x="280" y="537"/>
                  </a:lnTo>
                  <a:lnTo>
                    <a:pt x="279" y="539"/>
                  </a:lnTo>
                  <a:lnTo>
                    <a:pt x="277" y="539"/>
                  </a:lnTo>
                  <a:lnTo>
                    <a:pt x="281" y="540"/>
                  </a:lnTo>
                  <a:lnTo>
                    <a:pt x="282" y="539"/>
                  </a:lnTo>
                  <a:lnTo>
                    <a:pt x="282" y="537"/>
                  </a:lnTo>
                  <a:lnTo>
                    <a:pt x="283" y="535"/>
                  </a:lnTo>
                  <a:lnTo>
                    <a:pt x="285" y="536"/>
                  </a:lnTo>
                  <a:lnTo>
                    <a:pt x="285" y="539"/>
                  </a:lnTo>
                  <a:lnTo>
                    <a:pt x="285" y="541"/>
                  </a:lnTo>
                  <a:lnTo>
                    <a:pt x="286" y="542"/>
                  </a:lnTo>
                  <a:lnTo>
                    <a:pt x="287" y="542"/>
                  </a:lnTo>
                  <a:lnTo>
                    <a:pt x="287" y="539"/>
                  </a:lnTo>
                  <a:lnTo>
                    <a:pt x="288" y="537"/>
                  </a:lnTo>
                  <a:lnTo>
                    <a:pt x="287" y="536"/>
                  </a:lnTo>
                  <a:lnTo>
                    <a:pt x="286" y="534"/>
                  </a:lnTo>
                  <a:lnTo>
                    <a:pt x="283" y="533"/>
                  </a:lnTo>
                  <a:lnTo>
                    <a:pt x="282" y="530"/>
                  </a:lnTo>
                  <a:lnTo>
                    <a:pt x="282" y="528"/>
                  </a:lnTo>
                  <a:lnTo>
                    <a:pt x="282" y="524"/>
                  </a:lnTo>
                  <a:lnTo>
                    <a:pt x="282" y="522"/>
                  </a:lnTo>
                  <a:lnTo>
                    <a:pt x="282" y="519"/>
                  </a:lnTo>
                  <a:lnTo>
                    <a:pt x="280" y="518"/>
                  </a:lnTo>
                  <a:lnTo>
                    <a:pt x="279" y="517"/>
                  </a:lnTo>
                  <a:lnTo>
                    <a:pt x="279" y="516"/>
                  </a:lnTo>
                  <a:lnTo>
                    <a:pt x="279" y="513"/>
                  </a:lnTo>
                  <a:lnTo>
                    <a:pt x="279" y="511"/>
                  </a:lnTo>
                  <a:lnTo>
                    <a:pt x="279" y="508"/>
                  </a:lnTo>
                  <a:lnTo>
                    <a:pt x="281" y="511"/>
                  </a:lnTo>
                  <a:lnTo>
                    <a:pt x="282" y="513"/>
                  </a:lnTo>
                  <a:lnTo>
                    <a:pt x="283" y="513"/>
                  </a:lnTo>
                  <a:lnTo>
                    <a:pt x="283" y="514"/>
                  </a:lnTo>
                  <a:lnTo>
                    <a:pt x="282" y="514"/>
                  </a:lnTo>
                  <a:lnTo>
                    <a:pt x="281" y="516"/>
                  </a:lnTo>
                  <a:lnTo>
                    <a:pt x="281" y="517"/>
                  </a:lnTo>
                  <a:lnTo>
                    <a:pt x="283" y="518"/>
                  </a:lnTo>
                  <a:lnTo>
                    <a:pt x="286" y="518"/>
                  </a:lnTo>
                  <a:lnTo>
                    <a:pt x="287" y="517"/>
                  </a:lnTo>
                  <a:lnTo>
                    <a:pt x="287" y="516"/>
                  </a:lnTo>
                  <a:lnTo>
                    <a:pt x="286" y="514"/>
                  </a:lnTo>
                  <a:lnTo>
                    <a:pt x="287" y="513"/>
                  </a:lnTo>
                  <a:lnTo>
                    <a:pt x="288" y="514"/>
                  </a:lnTo>
                  <a:lnTo>
                    <a:pt x="289" y="517"/>
                  </a:lnTo>
                  <a:lnTo>
                    <a:pt x="289" y="519"/>
                  </a:lnTo>
                  <a:lnTo>
                    <a:pt x="287" y="518"/>
                  </a:lnTo>
                  <a:lnTo>
                    <a:pt x="287" y="519"/>
                  </a:lnTo>
                  <a:lnTo>
                    <a:pt x="286" y="520"/>
                  </a:lnTo>
                  <a:lnTo>
                    <a:pt x="287" y="523"/>
                  </a:lnTo>
                  <a:lnTo>
                    <a:pt x="289" y="523"/>
                  </a:lnTo>
                  <a:lnTo>
                    <a:pt x="292" y="523"/>
                  </a:lnTo>
                  <a:lnTo>
                    <a:pt x="293" y="522"/>
                  </a:lnTo>
                  <a:lnTo>
                    <a:pt x="298" y="520"/>
                  </a:lnTo>
                  <a:lnTo>
                    <a:pt x="298" y="522"/>
                  </a:lnTo>
                  <a:lnTo>
                    <a:pt x="299" y="519"/>
                  </a:lnTo>
                  <a:lnTo>
                    <a:pt x="300" y="518"/>
                  </a:lnTo>
                  <a:lnTo>
                    <a:pt x="300" y="517"/>
                  </a:lnTo>
                  <a:lnTo>
                    <a:pt x="301" y="520"/>
                  </a:lnTo>
                  <a:lnTo>
                    <a:pt x="304" y="520"/>
                  </a:lnTo>
                  <a:lnTo>
                    <a:pt x="305" y="522"/>
                  </a:lnTo>
                  <a:lnTo>
                    <a:pt x="303" y="522"/>
                  </a:lnTo>
                  <a:lnTo>
                    <a:pt x="301" y="523"/>
                  </a:lnTo>
                  <a:lnTo>
                    <a:pt x="299" y="523"/>
                  </a:lnTo>
                  <a:lnTo>
                    <a:pt x="298" y="523"/>
                  </a:lnTo>
                  <a:lnTo>
                    <a:pt x="298" y="524"/>
                  </a:lnTo>
                  <a:lnTo>
                    <a:pt x="300" y="525"/>
                  </a:lnTo>
                  <a:lnTo>
                    <a:pt x="299" y="528"/>
                  </a:lnTo>
                  <a:lnTo>
                    <a:pt x="298" y="528"/>
                  </a:lnTo>
                  <a:lnTo>
                    <a:pt x="298" y="530"/>
                  </a:lnTo>
                  <a:lnTo>
                    <a:pt x="297" y="533"/>
                  </a:lnTo>
                  <a:lnTo>
                    <a:pt x="295" y="531"/>
                  </a:lnTo>
                  <a:lnTo>
                    <a:pt x="295" y="529"/>
                  </a:lnTo>
                  <a:lnTo>
                    <a:pt x="293" y="530"/>
                  </a:lnTo>
                  <a:lnTo>
                    <a:pt x="292" y="531"/>
                  </a:lnTo>
                  <a:lnTo>
                    <a:pt x="292" y="534"/>
                  </a:lnTo>
                  <a:lnTo>
                    <a:pt x="291" y="535"/>
                  </a:lnTo>
                  <a:lnTo>
                    <a:pt x="291" y="536"/>
                  </a:lnTo>
                  <a:lnTo>
                    <a:pt x="293" y="536"/>
                  </a:lnTo>
                  <a:lnTo>
                    <a:pt x="294" y="536"/>
                  </a:lnTo>
                  <a:lnTo>
                    <a:pt x="295" y="539"/>
                  </a:lnTo>
                  <a:lnTo>
                    <a:pt x="298" y="539"/>
                  </a:lnTo>
                  <a:lnTo>
                    <a:pt x="297" y="540"/>
                  </a:lnTo>
                  <a:lnTo>
                    <a:pt x="295" y="540"/>
                  </a:lnTo>
                  <a:lnTo>
                    <a:pt x="294" y="540"/>
                  </a:lnTo>
                  <a:lnTo>
                    <a:pt x="293" y="540"/>
                  </a:lnTo>
                  <a:lnTo>
                    <a:pt x="292" y="540"/>
                  </a:lnTo>
                  <a:lnTo>
                    <a:pt x="291" y="540"/>
                  </a:lnTo>
                  <a:lnTo>
                    <a:pt x="289" y="541"/>
                  </a:lnTo>
                  <a:lnTo>
                    <a:pt x="288" y="542"/>
                  </a:lnTo>
                  <a:lnTo>
                    <a:pt x="288" y="543"/>
                  </a:lnTo>
                  <a:lnTo>
                    <a:pt x="287" y="545"/>
                  </a:lnTo>
                  <a:lnTo>
                    <a:pt x="286" y="545"/>
                  </a:lnTo>
                  <a:lnTo>
                    <a:pt x="285" y="543"/>
                  </a:lnTo>
                  <a:lnTo>
                    <a:pt x="282" y="543"/>
                  </a:lnTo>
                  <a:lnTo>
                    <a:pt x="282" y="545"/>
                  </a:lnTo>
                  <a:lnTo>
                    <a:pt x="282" y="547"/>
                  </a:lnTo>
                  <a:lnTo>
                    <a:pt x="283" y="548"/>
                  </a:lnTo>
                  <a:lnTo>
                    <a:pt x="285" y="548"/>
                  </a:lnTo>
                  <a:lnTo>
                    <a:pt x="287" y="548"/>
                  </a:lnTo>
                  <a:lnTo>
                    <a:pt x="286" y="549"/>
                  </a:lnTo>
                  <a:lnTo>
                    <a:pt x="286" y="552"/>
                  </a:lnTo>
                  <a:lnTo>
                    <a:pt x="287" y="554"/>
                  </a:lnTo>
                  <a:lnTo>
                    <a:pt x="288" y="554"/>
                  </a:lnTo>
                  <a:lnTo>
                    <a:pt x="289" y="553"/>
                  </a:lnTo>
                  <a:lnTo>
                    <a:pt x="289" y="551"/>
                  </a:lnTo>
                  <a:lnTo>
                    <a:pt x="291" y="549"/>
                  </a:lnTo>
                  <a:lnTo>
                    <a:pt x="292" y="548"/>
                  </a:lnTo>
                  <a:lnTo>
                    <a:pt x="294" y="548"/>
                  </a:lnTo>
                  <a:lnTo>
                    <a:pt x="295" y="546"/>
                  </a:lnTo>
                  <a:lnTo>
                    <a:pt x="297" y="545"/>
                  </a:lnTo>
                  <a:lnTo>
                    <a:pt x="299" y="545"/>
                  </a:lnTo>
                  <a:lnTo>
                    <a:pt x="300" y="545"/>
                  </a:lnTo>
                  <a:lnTo>
                    <a:pt x="300" y="542"/>
                  </a:lnTo>
                  <a:lnTo>
                    <a:pt x="300" y="541"/>
                  </a:lnTo>
                  <a:lnTo>
                    <a:pt x="300" y="540"/>
                  </a:lnTo>
                  <a:lnTo>
                    <a:pt x="303" y="537"/>
                  </a:lnTo>
                  <a:lnTo>
                    <a:pt x="304" y="534"/>
                  </a:lnTo>
                  <a:lnTo>
                    <a:pt x="305" y="533"/>
                  </a:lnTo>
                  <a:lnTo>
                    <a:pt x="304" y="530"/>
                  </a:lnTo>
                  <a:lnTo>
                    <a:pt x="304" y="529"/>
                  </a:lnTo>
                  <a:lnTo>
                    <a:pt x="304" y="526"/>
                  </a:lnTo>
                  <a:lnTo>
                    <a:pt x="305" y="525"/>
                  </a:lnTo>
                  <a:lnTo>
                    <a:pt x="307" y="525"/>
                  </a:lnTo>
                  <a:lnTo>
                    <a:pt x="310" y="525"/>
                  </a:lnTo>
                  <a:lnTo>
                    <a:pt x="311" y="525"/>
                  </a:lnTo>
                  <a:lnTo>
                    <a:pt x="312" y="528"/>
                  </a:lnTo>
                  <a:lnTo>
                    <a:pt x="310" y="529"/>
                  </a:lnTo>
                  <a:lnTo>
                    <a:pt x="309" y="528"/>
                  </a:lnTo>
                  <a:lnTo>
                    <a:pt x="306" y="528"/>
                  </a:lnTo>
                  <a:lnTo>
                    <a:pt x="305" y="529"/>
                  </a:lnTo>
                  <a:lnTo>
                    <a:pt x="306" y="530"/>
                  </a:lnTo>
                  <a:lnTo>
                    <a:pt x="305" y="533"/>
                  </a:lnTo>
                  <a:lnTo>
                    <a:pt x="305" y="535"/>
                  </a:lnTo>
                  <a:lnTo>
                    <a:pt x="304" y="537"/>
                  </a:lnTo>
                  <a:lnTo>
                    <a:pt x="304" y="540"/>
                  </a:lnTo>
                  <a:lnTo>
                    <a:pt x="303" y="540"/>
                  </a:lnTo>
                  <a:lnTo>
                    <a:pt x="301" y="542"/>
                  </a:lnTo>
                  <a:lnTo>
                    <a:pt x="300" y="546"/>
                  </a:lnTo>
                  <a:lnTo>
                    <a:pt x="300" y="548"/>
                  </a:lnTo>
                  <a:lnTo>
                    <a:pt x="299" y="551"/>
                  </a:lnTo>
                  <a:lnTo>
                    <a:pt x="301" y="552"/>
                  </a:lnTo>
                  <a:lnTo>
                    <a:pt x="304" y="551"/>
                  </a:lnTo>
                  <a:lnTo>
                    <a:pt x="305" y="551"/>
                  </a:lnTo>
                  <a:lnTo>
                    <a:pt x="306" y="549"/>
                  </a:lnTo>
                  <a:lnTo>
                    <a:pt x="307" y="548"/>
                  </a:lnTo>
                  <a:lnTo>
                    <a:pt x="310" y="548"/>
                  </a:lnTo>
                  <a:lnTo>
                    <a:pt x="310" y="549"/>
                  </a:lnTo>
                  <a:lnTo>
                    <a:pt x="309" y="551"/>
                  </a:lnTo>
                  <a:lnTo>
                    <a:pt x="310" y="551"/>
                  </a:lnTo>
                  <a:lnTo>
                    <a:pt x="311" y="549"/>
                  </a:lnTo>
                  <a:lnTo>
                    <a:pt x="312" y="549"/>
                  </a:lnTo>
                  <a:lnTo>
                    <a:pt x="314" y="547"/>
                  </a:lnTo>
                  <a:lnTo>
                    <a:pt x="315" y="547"/>
                  </a:lnTo>
                  <a:lnTo>
                    <a:pt x="315" y="546"/>
                  </a:lnTo>
                  <a:lnTo>
                    <a:pt x="316" y="543"/>
                  </a:lnTo>
                  <a:lnTo>
                    <a:pt x="317" y="542"/>
                  </a:lnTo>
                  <a:lnTo>
                    <a:pt x="320" y="543"/>
                  </a:lnTo>
                  <a:lnTo>
                    <a:pt x="321" y="541"/>
                  </a:lnTo>
                  <a:lnTo>
                    <a:pt x="321" y="540"/>
                  </a:lnTo>
                  <a:lnTo>
                    <a:pt x="321" y="537"/>
                  </a:lnTo>
                  <a:lnTo>
                    <a:pt x="322" y="536"/>
                  </a:lnTo>
                  <a:lnTo>
                    <a:pt x="323" y="537"/>
                  </a:lnTo>
                  <a:lnTo>
                    <a:pt x="322" y="540"/>
                  </a:lnTo>
                  <a:lnTo>
                    <a:pt x="322" y="541"/>
                  </a:lnTo>
                  <a:lnTo>
                    <a:pt x="321" y="546"/>
                  </a:lnTo>
                  <a:lnTo>
                    <a:pt x="323" y="546"/>
                  </a:lnTo>
                  <a:lnTo>
                    <a:pt x="326" y="546"/>
                  </a:lnTo>
                  <a:lnTo>
                    <a:pt x="328" y="546"/>
                  </a:lnTo>
                  <a:lnTo>
                    <a:pt x="328" y="543"/>
                  </a:lnTo>
                  <a:lnTo>
                    <a:pt x="326" y="541"/>
                  </a:lnTo>
                  <a:lnTo>
                    <a:pt x="326" y="540"/>
                  </a:lnTo>
                  <a:lnTo>
                    <a:pt x="328" y="540"/>
                  </a:lnTo>
                  <a:lnTo>
                    <a:pt x="329" y="542"/>
                  </a:lnTo>
                  <a:lnTo>
                    <a:pt x="329" y="545"/>
                  </a:lnTo>
                  <a:lnTo>
                    <a:pt x="330" y="543"/>
                  </a:lnTo>
                  <a:lnTo>
                    <a:pt x="330" y="541"/>
                  </a:lnTo>
                  <a:lnTo>
                    <a:pt x="332" y="540"/>
                  </a:lnTo>
                  <a:lnTo>
                    <a:pt x="335" y="540"/>
                  </a:lnTo>
                  <a:lnTo>
                    <a:pt x="338" y="537"/>
                  </a:lnTo>
                  <a:lnTo>
                    <a:pt x="339" y="535"/>
                  </a:lnTo>
                  <a:lnTo>
                    <a:pt x="339" y="534"/>
                  </a:lnTo>
                  <a:lnTo>
                    <a:pt x="338" y="533"/>
                  </a:lnTo>
                  <a:lnTo>
                    <a:pt x="336" y="533"/>
                  </a:lnTo>
                  <a:lnTo>
                    <a:pt x="334" y="534"/>
                  </a:lnTo>
                  <a:lnTo>
                    <a:pt x="333" y="533"/>
                  </a:lnTo>
                  <a:lnTo>
                    <a:pt x="333" y="531"/>
                  </a:lnTo>
                  <a:lnTo>
                    <a:pt x="333" y="533"/>
                  </a:lnTo>
                  <a:lnTo>
                    <a:pt x="332" y="535"/>
                  </a:lnTo>
                  <a:lnTo>
                    <a:pt x="330" y="535"/>
                  </a:lnTo>
                  <a:lnTo>
                    <a:pt x="327" y="534"/>
                  </a:lnTo>
                  <a:lnTo>
                    <a:pt x="328" y="531"/>
                  </a:lnTo>
                  <a:lnTo>
                    <a:pt x="329" y="529"/>
                  </a:lnTo>
                  <a:lnTo>
                    <a:pt x="330" y="530"/>
                  </a:lnTo>
                  <a:lnTo>
                    <a:pt x="332" y="530"/>
                  </a:lnTo>
                  <a:lnTo>
                    <a:pt x="334" y="530"/>
                  </a:lnTo>
                  <a:lnTo>
                    <a:pt x="334" y="528"/>
                  </a:lnTo>
                  <a:lnTo>
                    <a:pt x="334" y="525"/>
                  </a:lnTo>
                  <a:lnTo>
                    <a:pt x="334" y="522"/>
                  </a:lnTo>
                  <a:lnTo>
                    <a:pt x="333" y="522"/>
                  </a:lnTo>
                  <a:lnTo>
                    <a:pt x="330" y="522"/>
                  </a:lnTo>
                  <a:lnTo>
                    <a:pt x="330" y="524"/>
                  </a:lnTo>
                  <a:lnTo>
                    <a:pt x="329" y="525"/>
                  </a:lnTo>
                  <a:lnTo>
                    <a:pt x="328" y="525"/>
                  </a:lnTo>
                  <a:lnTo>
                    <a:pt x="327" y="526"/>
                  </a:lnTo>
                  <a:lnTo>
                    <a:pt x="327" y="529"/>
                  </a:lnTo>
                  <a:lnTo>
                    <a:pt x="324" y="529"/>
                  </a:lnTo>
                  <a:lnTo>
                    <a:pt x="324" y="528"/>
                  </a:lnTo>
                  <a:lnTo>
                    <a:pt x="327" y="525"/>
                  </a:lnTo>
                  <a:lnTo>
                    <a:pt x="327" y="524"/>
                  </a:lnTo>
                  <a:lnTo>
                    <a:pt x="329" y="522"/>
                  </a:lnTo>
                  <a:lnTo>
                    <a:pt x="332" y="520"/>
                  </a:lnTo>
                  <a:lnTo>
                    <a:pt x="333" y="520"/>
                  </a:lnTo>
                  <a:lnTo>
                    <a:pt x="335" y="518"/>
                  </a:lnTo>
                  <a:lnTo>
                    <a:pt x="336" y="517"/>
                  </a:lnTo>
                  <a:lnTo>
                    <a:pt x="338" y="517"/>
                  </a:lnTo>
                  <a:lnTo>
                    <a:pt x="339" y="518"/>
                  </a:lnTo>
                  <a:lnTo>
                    <a:pt x="339" y="522"/>
                  </a:lnTo>
                  <a:lnTo>
                    <a:pt x="336" y="523"/>
                  </a:lnTo>
                  <a:lnTo>
                    <a:pt x="336" y="525"/>
                  </a:lnTo>
                  <a:lnTo>
                    <a:pt x="335" y="528"/>
                  </a:lnTo>
                  <a:lnTo>
                    <a:pt x="335" y="529"/>
                  </a:lnTo>
                  <a:lnTo>
                    <a:pt x="338" y="526"/>
                  </a:lnTo>
                  <a:lnTo>
                    <a:pt x="339" y="524"/>
                  </a:lnTo>
                  <a:lnTo>
                    <a:pt x="341" y="520"/>
                  </a:lnTo>
                  <a:lnTo>
                    <a:pt x="341" y="518"/>
                  </a:lnTo>
                  <a:lnTo>
                    <a:pt x="342" y="517"/>
                  </a:lnTo>
                  <a:lnTo>
                    <a:pt x="345" y="517"/>
                  </a:lnTo>
                  <a:lnTo>
                    <a:pt x="346" y="516"/>
                  </a:lnTo>
                  <a:lnTo>
                    <a:pt x="347" y="514"/>
                  </a:lnTo>
                  <a:lnTo>
                    <a:pt x="350" y="513"/>
                  </a:lnTo>
                  <a:lnTo>
                    <a:pt x="351" y="513"/>
                  </a:lnTo>
                  <a:lnTo>
                    <a:pt x="353" y="511"/>
                  </a:lnTo>
                  <a:lnTo>
                    <a:pt x="353" y="510"/>
                  </a:lnTo>
                  <a:lnTo>
                    <a:pt x="354" y="510"/>
                  </a:lnTo>
                  <a:lnTo>
                    <a:pt x="356" y="514"/>
                  </a:lnTo>
                  <a:lnTo>
                    <a:pt x="356" y="516"/>
                  </a:lnTo>
                  <a:lnTo>
                    <a:pt x="356" y="517"/>
                  </a:lnTo>
                  <a:lnTo>
                    <a:pt x="354" y="518"/>
                  </a:lnTo>
                  <a:lnTo>
                    <a:pt x="352" y="519"/>
                  </a:lnTo>
                  <a:lnTo>
                    <a:pt x="351" y="517"/>
                  </a:lnTo>
                  <a:lnTo>
                    <a:pt x="351" y="516"/>
                  </a:lnTo>
                  <a:lnTo>
                    <a:pt x="348" y="516"/>
                  </a:lnTo>
                  <a:lnTo>
                    <a:pt x="348" y="517"/>
                  </a:lnTo>
                  <a:lnTo>
                    <a:pt x="348" y="519"/>
                  </a:lnTo>
                  <a:lnTo>
                    <a:pt x="351" y="520"/>
                  </a:lnTo>
                  <a:lnTo>
                    <a:pt x="352" y="522"/>
                  </a:lnTo>
                  <a:lnTo>
                    <a:pt x="354" y="523"/>
                  </a:lnTo>
                  <a:lnTo>
                    <a:pt x="354" y="522"/>
                  </a:lnTo>
                  <a:lnTo>
                    <a:pt x="354" y="523"/>
                  </a:lnTo>
                  <a:lnTo>
                    <a:pt x="353" y="525"/>
                  </a:lnTo>
                  <a:lnTo>
                    <a:pt x="350" y="528"/>
                  </a:lnTo>
                  <a:lnTo>
                    <a:pt x="348" y="529"/>
                  </a:lnTo>
                  <a:lnTo>
                    <a:pt x="347" y="531"/>
                  </a:lnTo>
                  <a:lnTo>
                    <a:pt x="346" y="534"/>
                  </a:lnTo>
                  <a:lnTo>
                    <a:pt x="345" y="536"/>
                  </a:lnTo>
                  <a:lnTo>
                    <a:pt x="344" y="537"/>
                  </a:lnTo>
                  <a:lnTo>
                    <a:pt x="342" y="541"/>
                  </a:lnTo>
                  <a:lnTo>
                    <a:pt x="340" y="545"/>
                  </a:lnTo>
                  <a:lnTo>
                    <a:pt x="339" y="545"/>
                  </a:lnTo>
                  <a:lnTo>
                    <a:pt x="336" y="546"/>
                  </a:lnTo>
                  <a:lnTo>
                    <a:pt x="335" y="546"/>
                  </a:lnTo>
                  <a:lnTo>
                    <a:pt x="334" y="545"/>
                  </a:lnTo>
                  <a:lnTo>
                    <a:pt x="333" y="545"/>
                  </a:lnTo>
                  <a:lnTo>
                    <a:pt x="333" y="546"/>
                  </a:lnTo>
                  <a:lnTo>
                    <a:pt x="330" y="547"/>
                  </a:lnTo>
                  <a:lnTo>
                    <a:pt x="330" y="549"/>
                  </a:lnTo>
                  <a:lnTo>
                    <a:pt x="333" y="551"/>
                  </a:lnTo>
                  <a:lnTo>
                    <a:pt x="334" y="551"/>
                  </a:lnTo>
                  <a:lnTo>
                    <a:pt x="334" y="548"/>
                  </a:lnTo>
                  <a:lnTo>
                    <a:pt x="335" y="547"/>
                  </a:lnTo>
                  <a:lnTo>
                    <a:pt x="339" y="547"/>
                  </a:lnTo>
                  <a:lnTo>
                    <a:pt x="341" y="546"/>
                  </a:lnTo>
                  <a:lnTo>
                    <a:pt x="345" y="543"/>
                  </a:lnTo>
                  <a:lnTo>
                    <a:pt x="345" y="541"/>
                  </a:lnTo>
                  <a:lnTo>
                    <a:pt x="345" y="545"/>
                  </a:lnTo>
                  <a:lnTo>
                    <a:pt x="344" y="547"/>
                  </a:lnTo>
                  <a:lnTo>
                    <a:pt x="342" y="549"/>
                  </a:lnTo>
                  <a:lnTo>
                    <a:pt x="340" y="553"/>
                  </a:lnTo>
                  <a:lnTo>
                    <a:pt x="339" y="557"/>
                  </a:lnTo>
                  <a:lnTo>
                    <a:pt x="336" y="558"/>
                  </a:lnTo>
                  <a:lnTo>
                    <a:pt x="338" y="560"/>
                  </a:lnTo>
                  <a:lnTo>
                    <a:pt x="340" y="557"/>
                  </a:lnTo>
                  <a:lnTo>
                    <a:pt x="341" y="554"/>
                  </a:lnTo>
                  <a:lnTo>
                    <a:pt x="344" y="552"/>
                  </a:lnTo>
                  <a:lnTo>
                    <a:pt x="345" y="549"/>
                  </a:lnTo>
                  <a:lnTo>
                    <a:pt x="346" y="547"/>
                  </a:lnTo>
                  <a:lnTo>
                    <a:pt x="347" y="545"/>
                  </a:lnTo>
                  <a:lnTo>
                    <a:pt x="347" y="551"/>
                  </a:lnTo>
                  <a:lnTo>
                    <a:pt x="348" y="552"/>
                  </a:lnTo>
                  <a:lnTo>
                    <a:pt x="350" y="553"/>
                  </a:lnTo>
                  <a:lnTo>
                    <a:pt x="351" y="553"/>
                  </a:lnTo>
                  <a:lnTo>
                    <a:pt x="350" y="551"/>
                  </a:lnTo>
                  <a:lnTo>
                    <a:pt x="350" y="549"/>
                  </a:lnTo>
                  <a:lnTo>
                    <a:pt x="350" y="548"/>
                  </a:lnTo>
                  <a:lnTo>
                    <a:pt x="348" y="546"/>
                  </a:lnTo>
                  <a:lnTo>
                    <a:pt x="348" y="543"/>
                  </a:lnTo>
                  <a:lnTo>
                    <a:pt x="348" y="541"/>
                  </a:lnTo>
                  <a:lnTo>
                    <a:pt x="347" y="539"/>
                  </a:lnTo>
                  <a:lnTo>
                    <a:pt x="347" y="537"/>
                  </a:lnTo>
                  <a:lnTo>
                    <a:pt x="351" y="539"/>
                  </a:lnTo>
                  <a:lnTo>
                    <a:pt x="352" y="542"/>
                  </a:lnTo>
                  <a:lnTo>
                    <a:pt x="354" y="545"/>
                  </a:lnTo>
                  <a:lnTo>
                    <a:pt x="354" y="542"/>
                  </a:lnTo>
                  <a:lnTo>
                    <a:pt x="353" y="541"/>
                  </a:lnTo>
                  <a:lnTo>
                    <a:pt x="352" y="539"/>
                  </a:lnTo>
                  <a:lnTo>
                    <a:pt x="351" y="537"/>
                  </a:lnTo>
                  <a:lnTo>
                    <a:pt x="348" y="536"/>
                  </a:lnTo>
                  <a:lnTo>
                    <a:pt x="348" y="534"/>
                  </a:lnTo>
                  <a:lnTo>
                    <a:pt x="350" y="531"/>
                  </a:lnTo>
                  <a:lnTo>
                    <a:pt x="351" y="529"/>
                  </a:lnTo>
                  <a:lnTo>
                    <a:pt x="352" y="528"/>
                  </a:lnTo>
                  <a:lnTo>
                    <a:pt x="353" y="526"/>
                  </a:lnTo>
                  <a:lnTo>
                    <a:pt x="356" y="525"/>
                  </a:lnTo>
                  <a:lnTo>
                    <a:pt x="357" y="528"/>
                  </a:lnTo>
                  <a:lnTo>
                    <a:pt x="357" y="536"/>
                  </a:lnTo>
                  <a:lnTo>
                    <a:pt x="357" y="552"/>
                  </a:lnTo>
                  <a:lnTo>
                    <a:pt x="358" y="566"/>
                  </a:lnTo>
                  <a:lnTo>
                    <a:pt x="358" y="583"/>
                  </a:lnTo>
                  <a:lnTo>
                    <a:pt x="359" y="593"/>
                  </a:lnTo>
                  <a:lnTo>
                    <a:pt x="357" y="593"/>
                  </a:lnTo>
                  <a:lnTo>
                    <a:pt x="356" y="591"/>
                  </a:lnTo>
                  <a:lnTo>
                    <a:pt x="354" y="590"/>
                  </a:lnTo>
                  <a:lnTo>
                    <a:pt x="353" y="588"/>
                  </a:lnTo>
                  <a:lnTo>
                    <a:pt x="353" y="587"/>
                  </a:lnTo>
                  <a:lnTo>
                    <a:pt x="352" y="587"/>
                  </a:lnTo>
                  <a:lnTo>
                    <a:pt x="351" y="587"/>
                  </a:lnTo>
                  <a:lnTo>
                    <a:pt x="351" y="588"/>
                  </a:lnTo>
                  <a:lnTo>
                    <a:pt x="350" y="591"/>
                  </a:lnTo>
                  <a:lnTo>
                    <a:pt x="348" y="590"/>
                  </a:lnTo>
                  <a:lnTo>
                    <a:pt x="348" y="588"/>
                  </a:lnTo>
                  <a:lnTo>
                    <a:pt x="347" y="588"/>
                  </a:lnTo>
                  <a:lnTo>
                    <a:pt x="347" y="589"/>
                  </a:lnTo>
                  <a:lnTo>
                    <a:pt x="346" y="590"/>
                  </a:lnTo>
                  <a:lnTo>
                    <a:pt x="345" y="589"/>
                  </a:lnTo>
                  <a:lnTo>
                    <a:pt x="344" y="589"/>
                  </a:lnTo>
                  <a:lnTo>
                    <a:pt x="344" y="590"/>
                  </a:lnTo>
                  <a:lnTo>
                    <a:pt x="342" y="590"/>
                  </a:lnTo>
                  <a:lnTo>
                    <a:pt x="341" y="591"/>
                  </a:lnTo>
                  <a:lnTo>
                    <a:pt x="341" y="594"/>
                  </a:lnTo>
                  <a:lnTo>
                    <a:pt x="339" y="595"/>
                  </a:lnTo>
                  <a:lnTo>
                    <a:pt x="339" y="596"/>
                  </a:lnTo>
                  <a:lnTo>
                    <a:pt x="340" y="597"/>
                  </a:lnTo>
                  <a:lnTo>
                    <a:pt x="342" y="597"/>
                  </a:lnTo>
                  <a:lnTo>
                    <a:pt x="345" y="599"/>
                  </a:lnTo>
                  <a:lnTo>
                    <a:pt x="346" y="600"/>
                  </a:lnTo>
                  <a:lnTo>
                    <a:pt x="347" y="600"/>
                  </a:lnTo>
                  <a:lnTo>
                    <a:pt x="350" y="597"/>
                  </a:lnTo>
                  <a:lnTo>
                    <a:pt x="352" y="596"/>
                  </a:lnTo>
                  <a:lnTo>
                    <a:pt x="353" y="599"/>
                  </a:lnTo>
                  <a:lnTo>
                    <a:pt x="356" y="602"/>
                  </a:lnTo>
                  <a:lnTo>
                    <a:pt x="358" y="605"/>
                  </a:lnTo>
                  <a:lnTo>
                    <a:pt x="358" y="612"/>
                  </a:lnTo>
                  <a:lnTo>
                    <a:pt x="358" y="624"/>
                  </a:lnTo>
                  <a:lnTo>
                    <a:pt x="358" y="640"/>
                  </a:lnTo>
                  <a:lnTo>
                    <a:pt x="358" y="656"/>
                  </a:lnTo>
                  <a:lnTo>
                    <a:pt x="359" y="674"/>
                  </a:lnTo>
                  <a:lnTo>
                    <a:pt x="360" y="694"/>
                  </a:lnTo>
                  <a:lnTo>
                    <a:pt x="362" y="713"/>
                  </a:lnTo>
                  <a:lnTo>
                    <a:pt x="362" y="734"/>
                  </a:lnTo>
                  <a:lnTo>
                    <a:pt x="363" y="781"/>
                  </a:lnTo>
                  <a:lnTo>
                    <a:pt x="364" y="805"/>
                  </a:lnTo>
                  <a:lnTo>
                    <a:pt x="365" y="831"/>
                  </a:lnTo>
                  <a:lnTo>
                    <a:pt x="360" y="834"/>
                  </a:lnTo>
                  <a:lnTo>
                    <a:pt x="353" y="838"/>
                  </a:lnTo>
                  <a:lnTo>
                    <a:pt x="345" y="839"/>
                  </a:lnTo>
                  <a:lnTo>
                    <a:pt x="328" y="840"/>
                  </a:lnTo>
                  <a:lnTo>
                    <a:pt x="326" y="840"/>
                  </a:lnTo>
                  <a:lnTo>
                    <a:pt x="354" y="840"/>
                  </a:lnTo>
                  <a:lnTo>
                    <a:pt x="374" y="838"/>
                  </a:lnTo>
                  <a:lnTo>
                    <a:pt x="383" y="839"/>
                  </a:lnTo>
                  <a:lnTo>
                    <a:pt x="388" y="839"/>
                  </a:lnTo>
                  <a:lnTo>
                    <a:pt x="401" y="837"/>
                  </a:lnTo>
                  <a:lnTo>
                    <a:pt x="412" y="839"/>
                  </a:lnTo>
                  <a:lnTo>
                    <a:pt x="425" y="840"/>
                  </a:lnTo>
                  <a:lnTo>
                    <a:pt x="439" y="839"/>
                  </a:lnTo>
                  <a:lnTo>
                    <a:pt x="453" y="838"/>
                  </a:lnTo>
                  <a:lnTo>
                    <a:pt x="458" y="837"/>
                  </a:lnTo>
                  <a:lnTo>
                    <a:pt x="457" y="834"/>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2" name="Freeform 75"/>
            <p:cNvSpPr>
              <a:spLocks/>
            </p:cNvSpPr>
            <p:nvPr userDrawn="1"/>
          </p:nvSpPr>
          <p:spPr bwMode="auto">
            <a:xfrm>
              <a:off x="6286500" y="6189663"/>
              <a:ext cx="244475" cy="395288"/>
            </a:xfrm>
            <a:custGeom>
              <a:avLst/>
              <a:gdLst/>
              <a:ahLst/>
              <a:cxnLst>
                <a:cxn ang="0">
                  <a:pos x="365" y="103"/>
                </a:cxn>
                <a:cxn ang="0">
                  <a:pos x="307" y="192"/>
                </a:cxn>
                <a:cxn ang="0">
                  <a:pos x="259" y="239"/>
                </a:cxn>
                <a:cxn ang="0">
                  <a:pos x="283" y="292"/>
                </a:cxn>
                <a:cxn ang="0">
                  <a:pos x="239" y="317"/>
                </a:cxn>
                <a:cxn ang="0">
                  <a:pos x="204" y="418"/>
                </a:cxn>
                <a:cxn ang="0">
                  <a:pos x="211" y="442"/>
                </a:cxn>
                <a:cxn ang="0">
                  <a:pos x="147" y="505"/>
                </a:cxn>
                <a:cxn ang="0">
                  <a:pos x="174" y="535"/>
                </a:cxn>
                <a:cxn ang="0">
                  <a:pos x="126" y="561"/>
                </a:cxn>
                <a:cxn ang="0">
                  <a:pos x="156" y="571"/>
                </a:cxn>
                <a:cxn ang="0">
                  <a:pos x="194" y="583"/>
                </a:cxn>
                <a:cxn ang="0">
                  <a:pos x="117" y="610"/>
                </a:cxn>
                <a:cxn ang="0">
                  <a:pos x="88" y="635"/>
                </a:cxn>
                <a:cxn ang="0">
                  <a:pos x="88" y="670"/>
                </a:cxn>
                <a:cxn ang="0">
                  <a:pos x="77" y="697"/>
                </a:cxn>
                <a:cxn ang="0">
                  <a:pos x="111" y="730"/>
                </a:cxn>
                <a:cxn ang="0">
                  <a:pos x="146" y="754"/>
                </a:cxn>
                <a:cxn ang="0">
                  <a:pos x="183" y="760"/>
                </a:cxn>
                <a:cxn ang="0">
                  <a:pos x="216" y="753"/>
                </a:cxn>
                <a:cxn ang="0">
                  <a:pos x="159" y="804"/>
                </a:cxn>
                <a:cxn ang="0">
                  <a:pos x="100" y="826"/>
                </a:cxn>
                <a:cxn ang="0">
                  <a:pos x="99" y="869"/>
                </a:cxn>
                <a:cxn ang="0">
                  <a:pos x="45" y="902"/>
                </a:cxn>
                <a:cxn ang="0">
                  <a:pos x="82" y="920"/>
                </a:cxn>
                <a:cxn ang="0">
                  <a:pos x="15" y="931"/>
                </a:cxn>
                <a:cxn ang="0">
                  <a:pos x="49" y="983"/>
                </a:cxn>
                <a:cxn ang="0">
                  <a:pos x="81" y="1003"/>
                </a:cxn>
                <a:cxn ang="0">
                  <a:pos x="90" y="1066"/>
                </a:cxn>
                <a:cxn ang="0">
                  <a:pos x="163" y="1129"/>
                </a:cxn>
                <a:cxn ang="0">
                  <a:pos x="264" y="1119"/>
                </a:cxn>
                <a:cxn ang="0">
                  <a:pos x="357" y="1247"/>
                </a:cxn>
                <a:cxn ang="0">
                  <a:pos x="493" y="1140"/>
                </a:cxn>
                <a:cxn ang="0">
                  <a:pos x="586" y="1184"/>
                </a:cxn>
                <a:cxn ang="0">
                  <a:pos x="669" y="1155"/>
                </a:cxn>
                <a:cxn ang="0">
                  <a:pos x="753" y="1066"/>
                </a:cxn>
                <a:cxn ang="0">
                  <a:pos x="689" y="1009"/>
                </a:cxn>
                <a:cxn ang="0">
                  <a:pos x="673" y="963"/>
                </a:cxn>
                <a:cxn ang="0">
                  <a:pos x="654" y="949"/>
                </a:cxn>
                <a:cxn ang="0">
                  <a:pos x="673" y="908"/>
                </a:cxn>
                <a:cxn ang="0">
                  <a:pos x="699" y="857"/>
                </a:cxn>
                <a:cxn ang="0">
                  <a:pos x="700" y="805"/>
                </a:cxn>
                <a:cxn ang="0">
                  <a:pos x="553" y="761"/>
                </a:cxn>
                <a:cxn ang="0">
                  <a:pos x="618" y="761"/>
                </a:cxn>
                <a:cxn ang="0">
                  <a:pos x="666" y="724"/>
                </a:cxn>
                <a:cxn ang="0">
                  <a:pos x="694" y="686"/>
                </a:cxn>
                <a:cxn ang="0">
                  <a:pos x="671" y="638"/>
                </a:cxn>
                <a:cxn ang="0">
                  <a:pos x="652" y="581"/>
                </a:cxn>
                <a:cxn ang="0">
                  <a:pos x="569" y="510"/>
                </a:cxn>
                <a:cxn ang="0">
                  <a:pos x="620" y="494"/>
                </a:cxn>
                <a:cxn ang="0">
                  <a:pos x="547" y="423"/>
                </a:cxn>
                <a:cxn ang="0">
                  <a:pos x="589" y="424"/>
                </a:cxn>
                <a:cxn ang="0">
                  <a:pos x="427" y="353"/>
                </a:cxn>
                <a:cxn ang="0">
                  <a:pos x="506" y="311"/>
                </a:cxn>
                <a:cxn ang="0">
                  <a:pos x="523" y="254"/>
                </a:cxn>
                <a:cxn ang="0">
                  <a:pos x="472" y="224"/>
                </a:cxn>
                <a:cxn ang="0">
                  <a:pos x="498" y="192"/>
                </a:cxn>
                <a:cxn ang="0">
                  <a:pos x="446" y="145"/>
                </a:cxn>
                <a:cxn ang="0">
                  <a:pos x="451" y="126"/>
                </a:cxn>
                <a:cxn ang="0">
                  <a:pos x="441" y="107"/>
                </a:cxn>
                <a:cxn ang="0">
                  <a:pos x="425" y="101"/>
                </a:cxn>
                <a:cxn ang="0">
                  <a:pos x="425" y="38"/>
                </a:cxn>
                <a:cxn ang="0">
                  <a:pos x="399" y="28"/>
                </a:cxn>
              </a:cxnLst>
              <a:rect l="0" t="0" r="r" b="b"/>
              <a:pathLst>
                <a:path w="766" h="1247">
                  <a:moveTo>
                    <a:pt x="384" y="20"/>
                  </a:moveTo>
                  <a:lnTo>
                    <a:pt x="381" y="13"/>
                  </a:lnTo>
                  <a:lnTo>
                    <a:pt x="377" y="0"/>
                  </a:lnTo>
                  <a:lnTo>
                    <a:pt x="376" y="0"/>
                  </a:lnTo>
                  <a:lnTo>
                    <a:pt x="377" y="6"/>
                  </a:lnTo>
                  <a:lnTo>
                    <a:pt x="380" y="14"/>
                  </a:lnTo>
                  <a:lnTo>
                    <a:pt x="383" y="20"/>
                  </a:lnTo>
                  <a:lnTo>
                    <a:pt x="383" y="24"/>
                  </a:lnTo>
                  <a:lnTo>
                    <a:pt x="380" y="17"/>
                  </a:lnTo>
                  <a:lnTo>
                    <a:pt x="378" y="17"/>
                  </a:lnTo>
                  <a:lnTo>
                    <a:pt x="382" y="24"/>
                  </a:lnTo>
                  <a:lnTo>
                    <a:pt x="381" y="25"/>
                  </a:lnTo>
                  <a:lnTo>
                    <a:pt x="371" y="19"/>
                  </a:lnTo>
                  <a:lnTo>
                    <a:pt x="370" y="20"/>
                  </a:lnTo>
                  <a:lnTo>
                    <a:pt x="383" y="29"/>
                  </a:lnTo>
                  <a:lnTo>
                    <a:pt x="383" y="31"/>
                  </a:lnTo>
                  <a:lnTo>
                    <a:pt x="382" y="31"/>
                  </a:lnTo>
                  <a:lnTo>
                    <a:pt x="378" y="28"/>
                  </a:lnTo>
                  <a:lnTo>
                    <a:pt x="377" y="29"/>
                  </a:lnTo>
                  <a:lnTo>
                    <a:pt x="381" y="34"/>
                  </a:lnTo>
                  <a:lnTo>
                    <a:pt x="381" y="35"/>
                  </a:lnTo>
                  <a:lnTo>
                    <a:pt x="374" y="35"/>
                  </a:lnTo>
                  <a:lnTo>
                    <a:pt x="381" y="36"/>
                  </a:lnTo>
                  <a:lnTo>
                    <a:pt x="382" y="37"/>
                  </a:lnTo>
                  <a:lnTo>
                    <a:pt x="382" y="41"/>
                  </a:lnTo>
                  <a:lnTo>
                    <a:pt x="376" y="41"/>
                  </a:lnTo>
                  <a:lnTo>
                    <a:pt x="376" y="42"/>
                  </a:lnTo>
                  <a:lnTo>
                    <a:pt x="382" y="43"/>
                  </a:lnTo>
                  <a:lnTo>
                    <a:pt x="378" y="44"/>
                  </a:lnTo>
                  <a:lnTo>
                    <a:pt x="382" y="44"/>
                  </a:lnTo>
                  <a:lnTo>
                    <a:pt x="382" y="47"/>
                  </a:lnTo>
                  <a:lnTo>
                    <a:pt x="380" y="47"/>
                  </a:lnTo>
                  <a:lnTo>
                    <a:pt x="380" y="44"/>
                  </a:lnTo>
                  <a:lnTo>
                    <a:pt x="378" y="47"/>
                  </a:lnTo>
                  <a:lnTo>
                    <a:pt x="377" y="46"/>
                  </a:lnTo>
                  <a:lnTo>
                    <a:pt x="374" y="40"/>
                  </a:lnTo>
                  <a:lnTo>
                    <a:pt x="376" y="47"/>
                  </a:lnTo>
                  <a:lnTo>
                    <a:pt x="374" y="47"/>
                  </a:lnTo>
                  <a:lnTo>
                    <a:pt x="371" y="46"/>
                  </a:lnTo>
                  <a:lnTo>
                    <a:pt x="370" y="46"/>
                  </a:lnTo>
                  <a:lnTo>
                    <a:pt x="372" y="47"/>
                  </a:lnTo>
                  <a:lnTo>
                    <a:pt x="375" y="48"/>
                  </a:lnTo>
                  <a:lnTo>
                    <a:pt x="375" y="49"/>
                  </a:lnTo>
                  <a:lnTo>
                    <a:pt x="371" y="48"/>
                  </a:lnTo>
                  <a:lnTo>
                    <a:pt x="371" y="49"/>
                  </a:lnTo>
                  <a:lnTo>
                    <a:pt x="376" y="50"/>
                  </a:lnTo>
                  <a:lnTo>
                    <a:pt x="376" y="52"/>
                  </a:lnTo>
                  <a:lnTo>
                    <a:pt x="375" y="54"/>
                  </a:lnTo>
                  <a:lnTo>
                    <a:pt x="374" y="54"/>
                  </a:lnTo>
                  <a:lnTo>
                    <a:pt x="371" y="52"/>
                  </a:lnTo>
                  <a:lnTo>
                    <a:pt x="364" y="47"/>
                  </a:lnTo>
                  <a:lnTo>
                    <a:pt x="366" y="50"/>
                  </a:lnTo>
                  <a:lnTo>
                    <a:pt x="363" y="50"/>
                  </a:lnTo>
                  <a:lnTo>
                    <a:pt x="359" y="50"/>
                  </a:lnTo>
                  <a:lnTo>
                    <a:pt x="362" y="52"/>
                  </a:lnTo>
                  <a:lnTo>
                    <a:pt x="369" y="53"/>
                  </a:lnTo>
                  <a:lnTo>
                    <a:pt x="369" y="54"/>
                  </a:lnTo>
                  <a:lnTo>
                    <a:pt x="363" y="59"/>
                  </a:lnTo>
                  <a:lnTo>
                    <a:pt x="370" y="54"/>
                  </a:lnTo>
                  <a:lnTo>
                    <a:pt x="371" y="55"/>
                  </a:lnTo>
                  <a:lnTo>
                    <a:pt x="369" y="57"/>
                  </a:lnTo>
                  <a:lnTo>
                    <a:pt x="372" y="55"/>
                  </a:lnTo>
                  <a:lnTo>
                    <a:pt x="374" y="57"/>
                  </a:lnTo>
                  <a:lnTo>
                    <a:pt x="375" y="58"/>
                  </a:lnTo>
                  <a:lnTo>
                    <a:pt x="374" y="60"/>
                  </a:lnTo>
                  <a:lnTo>
                    <a:pt x="377" y="57"/>
                  </a:lnTo>
                  <a:lnTo>
                    <a:pt x="384" y="61"/>
                  </a:lnTo>
                  <a:lnTo>
                    <a:pt x="384" y="66"/>
                  </a:lnTo>
                  <a:lnTo>
                    <a:pt x="382" y="67"/>
                  </a:lnTo>
                  <a:lnTo>
                    <a:pt x="380" y="66"/>
                  </a:lnTo>
                  <a:lnTo>
                    <a:pt x="377" y="64"/>
                  </a:lnTo>
                  <a:lnTo>
                    <a:pt x="377" y="66"/>
                  </a:lnTo>
                  <a:lnTo>
                    <a:pt x="374" y="66"/>
                  </a:lnTo>
                  <a:lnTo>
                    <a:pt x="372" y="65"/>
                  </a:lnTo>
                  <a:lnTo>
                    <a:pt x="370" y="63"/>
                  </a:lnTo>
                  <a:lnTo>
                    <a:pt x="372" y="67"/>
                  </a:lnTo>
                  <a:lnTo>
                    <a:pt x="366" y="67"/>
                  </a:lnTo>
                  <a:lnTo>
                    <a:pt x="368" y="69"/>
                  </a:lnTo>
                  <a:lnTo>
                    <a:pt x="372" y="69"/>
                  </a:lnTo>
                  <a:lnTo>
                    <a:pt x="372" y="70"/>
                  </a:lnTo>
                  <a:lnTo>
                    <a:pt x="370" y="73"/>
                  </a:lnTo>
                  <a:lnTo>
                    <a:pt x="375" y="70"/>
                  </a:lnTo>
                  <a:lnTo>
                    <a:pt x="377" y="70"/>
                  </a:lnTo>
                  <a:lnTo>
                    <a:pt x="378" y="69"/>
                  </a:lnTo>
                  <a:lnTo>
                    <a:pt x="381" y="69"/>
                  </a:lnTo>
                  <a:lnTo>
                    <a:pt x="380" y="71"/>
                  </a:lnTo>
                  <a:lnTo>
                    <a:pt x="375" y="71"/>
                  </a:lnTo>
                  <a:lnTo>
                    <a:pt x="376" y="71"/>
                  </a:lnTo>
                  <a:lnTo>
                    <a:pt x="378" y="72"/>
                  </a:lnTo>
                  <a:lnTo>
                    <a:pt x="377" y="73"/>
                  </a:lnTo>
                  <a:lnTo>
                    <a:pt x="372" y="76"/>
                  </a:lnTo>
                  <a:lnTo>
                    <a:pt x="374" y="76"/>
                  </a:lnTo>
                  <a:lnTo>
                    <a:pt x="378" y="77"/>
                  </a:lnTo>
                  <a:lnTo>
                    <a:pt x="377" y="78"/>
                  </a:lnTo>
                  <a:lnTo>
                    <a:pt x="372" y="83"/>
                  </a:lnTo>
                  <a:lnTo>
                    <a:pt x="372" y="84"/>
                  </a:lnTo>
                  <a:lnTo>
                    <a:pt x="375" y="85"/>
                  </a:lnTo>
                  <a:lnTo>
                    <a:pt x="376" y="87"/>
                  </a:lnTo>
                  <a:lnTo>
                    <a:pt x="375" y="87"/>
                  </a:lnTo>
                  <a:lnTo>
                    <a:pt x="375" y="88"/>
                  </a:lnTo>
                  <a:lnTo>
                    <a:pt x="376" y="89"/>
                  </a:lnTo>
                  <a:lnTo>
                    <a:pt x="377" y="89"/>
                  </a:lnTo>
                  <a:lnTo>
                    <a:pt x="377" y="90"/>
                  </a:lnTo>
                  <a:lnTo>
                    <a:pt x="374" y="90"/>
                  </a:lnTo>
                  <a:lnTo>
                    <a:pt x="371" y="89"/>
                  </a:lnTo>
                  <a:lnTo>
                    <a:pt x="372" y="91"/>
                  </a:lnTo>
                  <a:lnTo>
                    <a:pt x="370" y="96"/>
                  </a:lnTo>
                  <a:lnTo>
                    <a:pt x="371" y="96"/>
                  </a:lnTo>
                  <a:lnTo>
                    <a:pt x="374" y="91"/>
                  </a:lnTo>
                  <a:lnTo>
                    <a:pt x="377" y="93"/>
                  </a:lnTo>
                  <a:lnTo>
                    <a:pt x="375" y="95"/>
                  </a:lnTo>
                  <a:lnTo>
                    <a:pt x="371" y="99"/>
                  </a:lnTo>
                  <a:lnTo>
                    <a:pt x="365" y="103"/>
                  </a:lnTo>
                  <a:lnTo>
                    <a:pt x="356" y="108"/>
                  </a:lnTo>
                  <a:lnTo>
                    <a:pt x="352" y="108"/>
                  </a:lnTo>
                  <a:lnTo>
                    <a:pt x="354" y="109"/>
                  </a:lnTo>
                  <a:lnTo>
                    <a:pt x="353" y="111"/>
                  </a:lnTo>
                  <a:lnTo>
                    <a:pt x="348" y="108"/>
                  </a:lnTo>
                  <a:lnTo>
                    <a:pt x="352" y="111"/>
                  </a:lnTo>
                  <a:lnTo>
                    <a:pt x="346" y="113"/>
                  </a:lnTo>
                  <a:lnTo>
                    <a:pt x="346" y="114"/>
                  </a:lnTo>
                  <a:lnTo>
                    <a:pt x="353" y="113"/>
                  </a:lnTo>
                  <a:lnTo>
                    <a:pt x="352" y="115"/>
                  </a:lnTo>
                  <a:lnTo>
                    <a:pt x="353" y="119"/>
                  </a:lnTo>
                  <a:lnTo>
                    <a:pt x="354" y="119"/>
                  </a:lnTo>
                  <a:lnTo>
                    <a:pt x="354" y="115"/>
                  </a:lnTo>
                  <a:lnTo>
                    <a:pt x="356" y="114"/>
                  </a:lnTo>
                  <a:lnTo>
                    <a:pt x="356" y="112"/>
                  </a:lnTo>
                  <a:lnTo>
                    <a:pt x="357" y="112"/>
                  </a:lnTo>
                  <a:lnTo>
                    <a:pt x="358" y="115"/>
                  </a:lnTo>
                  <a:lnTo>
                    <a:pt x="358" y="111"/>
                  </a:lnTo>
                  <a:lnTo>
                    <a:pt x="363" y="108"/>
                  </a:lnTo>
                  <a:lnTo>
                    <a:pt x="363" y="111"/>
                  </a:lnTo>
                  <a:lnTo>
                    <a:pt x="360" y="114"/>
                  </a:lnTo>
                  <a:lnTo>
                    <a:pt x="360" y="115"/>
                  </a:lnTo>
                  <a:lnTo>
                    <a:pt x="362" y="118"/>
                  </a:lnTo>
                  <a:lnTo>
                    <a:pt x="363" y="120"/>
                  </a:lnTo>
                  <a:lnTo>
                    <a:pt x="364" y="121"/>
                  </a:lnTo>
                  <a:lnTo>
                    <a:pt x="360" y="124"/>
                  </a:lnTo>
                  <a:lnTo>
                    <a:pt x="358" y="123"/>
                  </a:lnTo>
                  <a:lnTo>
                    <a:pt x="357" y="123"/>
                  </a:lnTo>
                  <a:lnTo>
                    <a:pt x="358" y="124"/>
                  </a:lnTo>
                  <a:lnTo>
                    <a:pt x="356" y="124"/>
                  </a:lnTo>
                  <a:lnTo>
                    <a:pt x="353" y="125"/>
                  </a:lnTo>
                  <a:lnTo>
                    <a:pt x="357" y="126"/>
                  </a:lnTo>
                  <a:lnTo>
                    <a:pt x="358" y="125"/>
                  </a:lnTo>
                  <a:lnTo>
                    <a:pt x="359" y="126"/>
                  </a:lnTo>
                  <a:lnTo>
                    <a:pt x="357" y="127"/>
                  </a:lnTo>
                  <a:lnTo>
                    <a:pt x="353" y="130"/>
                  </a:lnTo>
                  <a:lnTo>
                    <a:pt x="352" y="132"/>
                  </a:lnTo>
                  <a:lnTo>
                    <a:pt x="353" y="132"/>
                  </a:lnTo>
                  <a:lnTo>
                    <a:pt x="354" y="132"/>
                  </a:lnTo>
                  <a:lnTo>
                    <a:pt x="356" y="132"/>
                  </a:lnTo>
                  <a:lnTo>
                    <a:pt x="356" y="133"/>
                  </a:lnTo>
                  <a:lnTo>
                    <a:pt x="356" y="135"/>
                  </a:lnTo>
                  <a:lnTo>
                    <a:pt x="353" y="135"/>
                  </a:lnTo>
                  <a:lnTo>
                    <a:pt x="352" y="133"/>
                  </a:lnTo>
                  <a:lnTo>
                    <a:pt x="347" y="133"/>
                  </a:lnTo>
                  <a:lnTo>
                    <a:pt x="346" y="135"/>
                  </a:lnTo>
                  <a:lnTo>
                    <a:pt x="345" y="137"/>
                  </a:lnTo>
                  <a:lnTo>
                    <a:pt x="344" y="139"/>
                  </a:lnTo>
                  <a:lnTo>
                    <a:pt x="339" y="139"/>
                  </a:lnTo>
                  <a:lnTo>
                    <a:pt x="333" y="142"/>
                  </a:lnTo>
                  <a:lnTo>
                    <a:pt x="329" y="144"/>
                  </a:lnTo>
                  <a:lnTo>
                    <a:pt x="329" y="147"/>
                  </a:lnTo>
                  <a:lnTo>
                    <a:pt x="325" y="147"/>
                  </a:lnTo>
                  <a:lnTo>
                    <a:pt x="327" y="145"/>
                  </a:lnTo>
                  <a:lnTo>
                    <a:pt x="324" y="145"/>
                  </a:lnTo>
                  <a:lnTo>
                    <a:pt x="321" y="147"/>
                  </a:lnTo>
                  <a:lnTo>
                    <a:pt x="319" y="149"/>
                  </a:lnTo>
                  <a:lnTo>
                    <a:pt x="311" y="155"/>
                  </a:lnTo>
                  <a:lnTo>
                    <a:pt x="307" y="156"/>
                  </a:lnTo>
                  <a:lnTo>
                    <a:pt x="305" y="156"/>
                  </a:lnTo>
                  <a:lnTo>
                    <a:pt x="306" y="157"/>
                  </a:lnTo>
                  <a:lnTo>
                    <a:pt x="305" y="159"/>
                  </a:lnTo>
                  <a:lnTo>
                    <a:pt x="303" y="160"/>
                  </a:lnTo>
                  <a:lnTo>
                    <a:pt x="301" y="160"/>
                  </a:lnTo>
                  <a:lnTo>
                    <a:pt x="300" y="162"/>
                  </a:lnTo>
                  <a:lnTo>
                    <a:pt x="298" y="164"/>
                  </a:lnTo>
                  <a:lnTo>
                    <a:pt x="299" y="164"/>
                  </a:lnTo>
                  <a:lnTo>
                    <a:pt x="298" y="165"/>
                  </a:lnTo>
                  <a:lnTo>
                    <a:pt x="295" y="165"/>
                  </a:lnTo>
                  <a:lnTo>
                    <a:pt x="295" y="166"/>
                  </a:lnTo>
                  <a:lnTo>
                    <a:pt x="297" y="166"/>
                  </a:lnTo>
                  <a:lnTo>
                    <a:pt x="293" y="170"/>
                  </a:lnTo>
                  <a:lnTo>
                    <a:pt x="298" y="167"/>
                  </a:lnTo>
                  <a:lnTo>
                    <a:pt x="299" y="171"/>
                  </a:lnTo>
                  <a:lnTo>
                    <a:pt x="299" y="166"/>
                  </a:lnTo>
                  <a:lnTo>
                    <a:pt x="300" y="166"/>
                  </a:lnTo>
                  <a:lnTo>
                    <a:pt x="301" y="167"/>
                  </a:lnTo>
                  <a:lnTo>
                    <a:pt x="301" y="166"/>
                  </a:lnTo>
                  <a:lnTo>
                    <a:pt x="303" y="164"/>
                  </a:lnTo>
                  <a:lnTo>
                    <a:pt x="307" y="159"/>
                  </a:lnTo>
                  <a:lnTo>
                    <a:pt x="307" y="165"/>
                  </a:lnTo>
                  <a:lnTo>
                    <a:pt x="309" y="166"/>
                  </a:lnTo>
                  <a:lnTo>
                    <a:pt x="309" y="168"/>
                  </a:lnTo>
                  <a:lnTo>
                    <a:pt x="310" y="170"/>
                  </a:lnTo>
                  <a:lnTo>
                    <a:pt x="311" y="166"/>
                  </a:lnTo>
                  <a:lnTo>
                    <a:pt x="310" y="159"/>
                  </a:lnTo>
                  <a:lnTo>
                    <a:pt x="310" y="157"/>
                  </a:lnTo>
                  <a:lnTo>
                    <a:pt x="311" y="161"/>
                  </a:lnTo>
                  <a:lnTo>
                    <a:pt x="311" y="168"/>
                  </a:lnTo>
                  <a:lnTo>
                    <a:pt x="312" y="168"/>
                  </a:lnTo>
                  <a:lnTo>
                    <a:pt x="312" y="170"/>
                  </a:lnTo>
                  <a:lnTo>
                    <a:pt x="313" y="171"/>
                  </a:lnTo>
                  <a:lnTo>
                    <a:pt x="315" y="171"/>
                  </a:lnTo>
                  <a:lnTo>
                    <a:pt x="313" y="172"/>
                  </a:lnTo>
                  <a:lnTo>
                    <a:pt x="310" y="173"/>
                  </a:lnTo>
                  <a:lnTo>
                    <a:pt x="311" y="174"/>
                  </a:lnTo>
                  <a:lnTo>
                    <a:pt x="311" y="176"/>
                  </a:lnTo>
                  <a:lnTo>
                    <a:pt x="309" y="176"/>
                  </a:lnTo>
                  <a:lnTo>
                    <a:pt x="309" y="178"/>
                  </a:lnTo>
                  <a:lnTo>
                    <a:pt x="311" y="178"/>
                  </a:lnTo>
                  <a:lnTo>
                    <a:pt x="310" y="179"/>
                  </a:lnTo>
                  <a:lnTo>
                    <a:pt x="309" y="180"/>
                  </a:lnTo>
                  <a:lnTo>
                    <a:pt x="309" y="182"/>
                  </a:lnTo>
                  <a:lnTo>
                    <a:pt x="309" y="183"/>
                  </a:lnTo>
                  <a:lnTo>
                    <a:pt x="309" y="186"/>
                  </a:lnTo>
                  <a:lnTo>
                    <a:pt x="309" y="188"/>
                  </a:lnTo>
                  <a:lnTo>
                    <a:pt x="309" y="189"/>
                  </a:lnTo>
                  <a:lnTo>
                    <a:pt x="310" y="190"/>
                  </a:lnTo>
                  <a:lnTo>
                    <a:pt x="313" y="190"/>
                  </a:lnTo>
                  <a:lnTo>
                    <a:pt x="313" y="191"/>
                  </a:lnTo>
                  <a:lnTo>
                    <a:pt x="312" y="191"/>
                  </a:lnTo>
                  <a:lnTo>
                    <a:pt x="309" y="192"/>
                  </a:lnTo>
                  <a:lnTo>
                    <a:pt x="307" y="192"/>
                  </a:lnTo>
                  <a:lnTo>
                    <a:pt x="307" y="194"/>
                  </a:lnTo>
                  <a:lnTo>
                    <a:pt x="307" y="195"/>
                  </a:lnTo>
                  <a:lnTo>
                    <a:pt x="305" y="195"/>
                  </a:lnTo>
                  <a:lnTo>
                    <a:pt x="303" y="194"/>
                  </a:lnTo>
                  <a:lnTo>
                    <a:pt x="301" y="194"/>
                  </a:lnTo>
                  <a:lnTo>
                    <a:pt x="301" y="195"/>
                  </a:lnTo>
                  <a:lnTo>
                    <a:pt x="304" y="196"/>
                  </a:lnTo>
                  <a:lnTo>
                    <a:pt x="301" y="197"/>
                  </a:lnTo>
                  <a:lnTo>
                    <a:pt x="300" y="197"/>
                  </a:lnTo>
                  <a:lnTo>
                    <a:pt x="300" y="196"/>
                  </a:lnTo>
                  <a:lnTo>
                    <a:pt x="298" y="196"/>
                  </a:lnTo>
                  <a:lnTo>
                    <a:pt x="298" y="197"/>
                  </a:lnTo>
                  <a:lnTo>
                    <a:pt x="294" y="197"/>
                  </a:lnTo>
                  <a:lnTo>
                    <a:pt x="294" y="198"/>
                  </a:lnTo>
                  <a:lnTo>
                    <a:pt x="289" y="201"/>
                  </a:lnTo>
                  <a:lnTo>
                    <a:pt x="291" y="201"/>
                  </a:lnTo>
                  <a:lnTo>
                    <a:pt x="294" y="200"/>
                  </a:lnTo>
                  <a:lnTo>
                    <a:pt x="295" y="201"/>
                  </a:lnTo>
                  <a:lnTo>
                    <a:pt x="294" y="207"/>
                  </a:lnTo>
                  <a:lnTo>
                    <a:pt x="297" y="201"/>
                  </a:lnTo>
                  <a:lnTo>
                    <a:pt x="298" y="200"/>
                  </a:lnTo>
                  <a:lnTo>
                    <a:pt x="298" y="201"/>
                  </a:lnTo>
                  <a:lnTo>
                    <a:pt x="298" y="204"/>
                  </a:lnTo>
                  <a:lnTo>
                    <a:pt x="299" y="204"/>
                  </a:lnTo>
                  <a:lnTo>
                    <a:pt x="301" y="202"/>
                  </a:lnTo>
                  <a:lnTo>
                    <a:pt x="303" y="198"/>
                  </a:lnTo>
                  <a:lnTo>
                    <a:pt x="304" y="198"/>
                  </a:lnTo>
                  <a:lnTo>
                    <a:pt x="304" y="201"/>
                  </a:lnTo>
                  <a:lnTo>
                    <a:pt x="304" y="202"/>
                  </a:lnTo>
                  <a:lnTo>
                    <a:pt x="305" y="203"/>
                  </a:lnTo>
                  <a:lnTo>
                    <a:pt x="307" y="210"/>
                  </a:lnTo>
                  <a:lnTo>
                    <a:pt x="309" y="212"/>
                  </a:lnTo>
                  <a:lnTo>
                    <a:pt x="310" y="209"/>
                  </a:lnTo>
                  <a:lnTo>
                    <a:pt x="310" y="210"/>
                  </a:lnTo>
                  <a:lnTo>
                    <a:pt x="311" y="212"/>
                  </a:lnTo>
                  <a:lnTo>
                    <a:pt x="312" y="213"/>
                  </a:lnTo>
                  <a:lnTo>
                    <a:pt x="311" y="209"/>
                  </a:lnTo>
                  <a:lnTo>
                    <a:pt x="312" y="209"/>
                  </a:lnTo>
                  <a:lnTo>
                    <a:pt x="313" y="210"/>
                  </a:lnTo>
                  <a:lnTo>
                    <a:pt x="315" y="208"/>
                  </a:lnTo>
                  <a:lnTo>
                    <a:pt x="316" y="208"/>
                  </a:lnTo>
                  <a:lnTo>
                    <a:pt x="316" y="212"/>
                  </a:lnTo>
                  <a:lnTo>
                    <a:pt x="317" y="212"/>
                  </a:lnTo>
                  <a:lnTo>
                    <a:pt x="317" y="213"/>
                  </a:lnTo>
                  <a:lnTo>
                    <a:pt x="317" y="208"/>
                  </a:lnTo>
                  <a:lnTo>
                    <a:pt x="317" y="207"/>
                  </a:lnTo>
                  <a:lnTo>
                    <a:pt x="318" y="206"/>
                  </a:lnTo>
                  <a:lnTo>
                    <a:pt x="318" y="208"/>
                  </a:lnTo>
                  <a:lnTo>
                    <a:pt x="319" y="208"/>
                  </a:lnTo>
                  <a:lnTo>
                    <a:pt x="319" y="209"/>
                  </a:lnTo>
                  <a:lnTo>
                    <a:pt x="321" y="209"/>
                  </a:lnTo>
                  <a:lnTo>
                    <a:pt x="321" y="204"/>
                  </a:lnTo>
                  <a:lnTo>
                    <a:pt x="322" y="206"/>
                  </a:lnTo>
                  <a:lnTo>
                    <a:pt x="322" y="207"/>
                  </a:lnTo>
                  <a:lnTo>
                    <a:pt x="323" y="209"/>
                  </a:lnTo>
                  <a:lnTo>
                    <a:pt x="324" y="210"/>
                  </a:lnTo>
                  <a:lnTo>
                    <a:pt x="324" y="214"/>
                  </a:lnTo>
                  <a:lnTo>
                    <a:pt x="323" y="216"/>
                  </a:lnTo>
                  <a:lnTo>
                    <a:pt x="321" y="216"/>
                  </a:lnTo>
                  <a:lnTo>
                    <a:pt x="317" y="219"/>
                  </a:lnTo>
                  <a:lnTo>
                    <a:pt x="315" y="222"/>
                  </a:lnTo>
                  <a:lnTo>
                    <a:pt x="309" y="222"/>
                  </a:lnTo>
                  <a:lnTo>
                    <a:pt x="306" y="224"/>
                  </a:lnTo>
                  <a:lnTo>
                    <a:pt x="299" y="225"/>
                  </a:lnTo>
                  <a:lnTo>
                    <a:pt x="298" y="226"/>
                  </a:lnTo>
                  <a:lnTo>
                    <a:pt x="294" y="226"/>
                  </a:lnTo>
                  <a:lnTo>
                    <a:pt x="292" y="225"/>
                  </a:lnTo>
                  <a:lnTo>
                    <a:pt x="292" y="226"/>
                  </a:lnTo>
                  <a:lnTo>
                    <a:pt x="289" y="226"/>
                  </a:lnTo>
                  <a:lnTo>
                    <a:pt x="286" y="222"/>
                  </a:lnTo>
                  <a:lnTo>
                    <a:pt x="286" y="224"/>
                  </a:lnTo>
                  <a:lnTo>
                    <a:pt x="288" y="225"/>
                  </a:lnTo>
                  <a:lnTo>
                    <a:pt x="288" y="226"/>
                  </a:lnTo>
                  <a:lnTo>
                    <a:pt x="286" y="226"/>
                  </a:lnTo>
                  <a:lnTo>
                    <a:pt x="286" y="225"/>
                  </a:lnTo>
                  <a:lnTo>
                    <a:pt x="283" y="225"/>
                  </a:lnTo>
                  <a:lnTo>
                    <a:pt x="277" y="221"/>
                  </a:lnTo>
                  <a:lnTo>
                    <a:pt x="276" y="221"/>
                  </a:lnTo>
                  <a:lnTo>
                    <a:pt x="281" y="226"/>
                  </a:lnTo>
                  <a:lnTo>
                    <a:pt x="270" y="226"/>
                  </a:lnTo>
                  <a:lnTo>
                    <a:pt x="270" y="227"/>
                  </a:lnTo>
                  <a:lnTo>
                    <a:pt x="280" y="228"/>
                  </a:lnTo>
                  <a:lnTo>
                    <a:pt x="281" y="227"/>
                  </a:lnTo>
                  <a:lnTo>
                    <a:pt x="280" y="230"/>
                  </a:lnTo>
                  <a:lnTo>
                    <a:pt x="286" y="227"/>
                  </a:lnTo>
                  <a:lnTo>
                    <a:pt x="287" y="227"/>
                  </a:lnTo>
                  <a:lnTo>
                    <a:pt x="288" y="228"/>
                  </a:lnTo>
                  <a:lnTo>
                    <a:pt x="287" y="231"/>
                  </a:lnTo>
                  <a:lnTo>
                    <a:pt x="287" y="232"/>
                  </a:lnTo>
                  <a:lnTo>
                    <a:pt x="287" y="234"/>
                  </a:lnTo>
                  <a:lnTo>
                    <a:pt x="289" y="238"/>
                  </a:lnTo>
                  <a:lnTo>
                    <a:pt x="291" y="239"/>
                  </a:lnTo>
                  <a:lnTo>
                    <a:pt x="287" y="240"/>
                  </a:lnTo>
                  <a:lnTo>
                    <a:pt x="287" y="242"/>
                  </a:lnTo>
                  <a:lnTo>
                    <a:pt x="288" y="242"/>
                  </a:lnTo>
                  <a:lnTo>
                    <a:pt x="288" y="243"/>
                  </a:lnTo>
                  <a:lnTo>
                    <a:pt x="286" y="244"/>
                  </a:lnTo>
                  <a:lnTo>
                    <a:pt x="285" y="246"/>
                  </a:lnTo>
                  <a:lnTo>
                    <a:pt x="285" y="249"/>
                  </a:lnTo>
                  <a:lnTo>
                    <a:pt x="283" y="249"/>
                  </a:lnTo>
                  <a:lnTo>
                    <a:pt x="282" y="246"/>
                  </a:lnTo>
                  <a:lnTo>
                    <a:pt x="282" y="245"/>
                  </a:lnTo>
                  <a:lnTo>
                    <a:pt x="281" y="243"/>
                  </a:lnTo>
                  <a:lnTo>
                    <a:pt x="280" y="243"/>
                  </a:lnTo>
                  <a:lnTo>
                    <a:pt x="280" y="245"/>
                  </a:lnTo>
                  <a:lnTo>
                    <a:pt x="279" y="248"/>
                  </a:lnTo>
                  <a:lnTo>
                    <a:pt x="271" y="242"/>
                  </a:lnTo>
                  <a:lnTo>
                    <a:pt x="269" y="240"/>
                  </a:lnTo>
                  <a:lnTo>
                    <a:pt x="262" y="236"/>
                  </a:lnTo>
                  <a:lnTo>
                    <a:pt x="260" y="236"/>
                  </a:lnTo>
                  <a:lnTo>
                    <a:pt x="265" y="240"/>
                  </a:lnTo>
                  <a:lnTo>
                    <a:pt x="264" y="240"/>
                  </a:lnTo>
                  <a:lnTo>
                    <a:pt x="259" y="239"/>
                  </a:lnTo>
                  <a:lnTo>
                    <a:pt x="262" y="240"/>
                  </a:lnTo>
                  <a:lnTo>
                    <a:pt x="262" y="242"/>
                  </a:lnTo>
                  <a:lnTo>
                    <a:pt x="264" y="243"/>
                  </a:lnTo>
                  <a:lnTo>
                    <a:pt x="265" y="244"/>
                  </a:lnTo>
                  <a:lnTo>
                    <a:pt x="264" y="245"/>
                  </a:lnTo>
                  <a:lnTo>
                    <a:pt x="264" y="246"/>
                  </a:lnTo>
                  <a:lnTo>
                    <a:pt x="266" y="245"/>
                  </a:lnTo>
                  <a:lnTo>
                    <a:pt x="268" y="245"/>
                  </a:lnTo>
                  <a:lnTo>
                    <a:pt x="269" y="244"/>
                  </a:lnTo>
                  <a:lnTo>
                    <a:pt x="269" y="245"/>
                  </a:lnTo>
                  <a:lnTo>
                    <a:pt x="266" y="248"/>
                  </a:lnTo>
                  <a:lnTo>
                    <a:pt x="269" y="248"/>
                  </a:lnTo>
                  <a:lnTo>
                    <a:pt x="271" y="245"/>
                  </a:lnTo>
                  <a:lnTo>
                    <a:pt x="275" y="248"/>
                  </a:lnTo>
                  <a:lnTo>
                    <a:pt x="271" y="248"/>
                  </a:lnTo>
                  <a:lnTo>
                    <a:pt x="269" y="249"/>
                  </a:lnTo>
                  <a:lnTo>
                    <a:pt x="268" y="251"/>
                  </a:lnTo>
                  <a:lnTo>
                    <a:pt x="268" y="252"/>
                  </a:lnTo>
                  <a:lnTo>
                    <a:pt x="269" y="251"/>
                  </a:lnTo>
                  <a:lnTo>
                    <a:pt x="270" y="250"/>
                  </a:lnTo>
                  <a:lnTo>
                    <a:pt x="271" y="250"/>
                  </a:lnTo>
                  <a:lnTo>
                    <a:pt x="274" y="250"/>
                  </a:lnTo>
                  <a:lnTo>
                    <a:pt x="275" y="250"/>
                  </a:lnTo>
                  <a:lnTo>
                    <a:pt x="275" y="254"/>
                  </a:lnTo>
                  <a:lnTo>
                    <a:pt x="277" y="252"/>
                  </a:lnTo>
                  <a:lnTo>
                    <a:pt x="280" y="252"/>
                  </a:lnTo>
                  <a:lnTo>
                    <a:pt x="281" y="254"/>
                  </a:lnTo>
                  <a:lnTo>
                    <a:pt x="280" y="254"/>
                  </a:lnTo>
                  <a:lnTo>
                    <a:pt x="277" y="255"/>
                  </a:lnTo>
                  <a:lnTo>
                    <a:pt x="273" y="258"/>
                  </a:lnTo>
                  <a:lnTo>
                    <a:pt x="268" y="261"/>
                  </a:lnTo>
                  <a:lnTo>
                    <a:pt x="262" y="261"/>
                  </a:lnTo>
                  <a:lnTo>
                    <a:pt x="262" y="262"/>
                  </a:lnTo>
                  <a:lnTo>
                    <a:pt x="266" y="263"/>
                  </a:lnTo>
                  <a:lnTo>
                    <a:pt x="266" y="264"/>
                  </a:lnTo>
                  <a:lnTo>
                    <a:pt x="259" y="268"/>
                  </a:lnTo>
                  <a:lnTo>
                    <a:pt x="260" y="268"/>
                  </a:lnTo>
                  <a:lnTo>
                    <a:pt x="268" y="266"/>
                  </a:lnTo>
                  <a:lnTo>
                    <a:pt x="269" y="266"/>
                  </a:lnTo>
                  <a:lnTo>
                    <a:pt x="268" y="267"/>
                  </a:lnTo>
                  <a:lnTo>
                    <a:pt x="268" y="269"/>
                  </a:lnTo>
                  <a:lnTo>
                    <a:pt x="269" y="269"/>
                  </a:lnTo>
                  <a:lnTo>
                    <a:pt x="269" y="268"/>
                  </a:lnTo>
                  <a:lnTo>
                    <a:pt x="270" y="264"/>
                  </a:lnTo>
                  <a:lnTo>
                    <a:pt x="271" y="264"/>
                  </a:lnTo>
                  <a:lnTo>
                    <a:pt x="276" y="271"/>
                  </a:lnTo>
                  <a:lnTo>
                    <a:pt x="276" y="268"/>
                  </a:lnTo>
                  <a:lnTo>
                    <a:pt x="277" y="268"/>
                  </a:lnTo>
                  <a:lnTo>
                    <a:pt x="279" y="269"/>
                  </a:lnTo>
                  <a:lnTo>
                    <a:pt x="279" y="271"/>
                  </a:lnTo>
                  <a:lnTo>
                    <a:pt x="277" y="272"/>
                  </a:lnTo>
                  <a:lnTo>
                    <a:pt x="277" y="273"/>
                  </a:lnTo>
                  <a:lnTo>
                    <a:pt x="275" y="273"/>
                  </a:lnTo>
                  <a:lnTo>
                    <a:pt x="273" y="274"/>
                  </a:lnTo>
                  <a:lnTo>
                    <a:pt x="271" y="278"/>
                  </a:lnTo>
                  <a:lnTo>
                    <a:pt x="273" y="279"/>
                  </a:lnTo>
                  <a:lnTo>
                    <a:pt x="269" y="281"/>
                  </a:lnTo>
                  <a:lnTo>
                    <a:pt x="269" y="284"/>
                  </a:lnTo>
                  <a:lnTo>
                    <a:pt x="266" y="285"/>
                  </a:lnTo>
                  <a:lnTo>
                    <a:pt x="265" y="285"/>
                  </a:lnTo>
                  <a:lnTo>
                    <a:pt x="264" y="284"/>
                  </a:lnTo>
                  <a:lnTo>
                    <a:pt x="264" y="285"/>
                  </a:lnTo>
                  <a:lnTo>
                    <a:pt x="264" y="286"/>
                  </a:lnTo>
                  <a:lnTo>
                    <a:pt x="264" y="287"/>
                  </a:lnTo>
                  <a:lnTo>
                    <a:pt x="260" y="289"/>
                  </a:lnTo>
                  <a:lnTo>
                    <a:pt x="259" y="287"/>
                  </a:lnTo>
                  <a:lnTo>
                    <a:pt x="258" y="289"/>
                  </a:lnTo>
                  <a:lnTo>
                    <a:pt x="256" y="289"/>
                  </a:lnTo>
                  <a:lnTo>
                    <a:pt x="254" y="290"/>
                  </a:lnTo>
                  <a:lnTo>
                    <a:pt x="252" y="290"/>
                  </a:lnTo>
                  <a:lnTo>
                    <a:pt x="252" y="291"/>
                  </a:lnTo>
                  <a:lnTo>
                    <a:pt x="256" y="291"/>
                  </a:lnTo>
                  <a:lnTo>
                    <a:pt x="256" y="292"/>
                  </a:lnTo>
                  <a:lnTo>
                    <a:pt x="253" y="293"/>
                  </a:lnTo>
                  <a:lnTo>
                    <a:pt x="253" y="296"/>
                  </a:lnTo>
                  <a:lnTo>
                    <a:pt x="254" y="297"/>
                  </a:lnTo>
                  <a:lnTo>
                    <a:pt x="256" y="297"/>
                  </a:lnTo>
                  <a:lnTo>
                    <a:pt x="257" y="295"/>
                  </a:lnTo>
                  <a:lnTo>
                    <a:pt x="257" y="297"/>
                  </a:lnTo>
                  <a:lnTo>
                    <a:pt x="258" y="292"/>
                  </a:lnTo>
                  <a:lnTo>
                    <a:pt x="260" y="291"/>
                  </a:lnTo>
                  <a:lnTo>
                    <a:pt x="259" y="293"/>
                  </a:lnTo>
                  <a:lnTo>
                    <a:pt x="260" y="293"/>
                  </a:lnTo>
                  <a:lnTo>
                    <a:pt x="260" y="291"/>
                  </a:lnTo>
                  <a:lnTo>
                    <a:pt x="263" y="291"/>
                  </a:lnTo>
                  <a:lnTo>
                    <a:pt x="264" y="290"/>
                  </a:lnTo>
                  <a:lnTo>
                    <a:pt x="264" y="291"/>
                  </a:lnTo>
                  <a:lnTo>
                    <a:pt x="264" y="292"/>
                  </a:lnTo>
                  <a:lnTo>
                    <a:pt x="264" y="293"/>
                  </a:lnTo>
                  <a:lnTo>
                    <a:pt x="264" y="296"/>
                  </a:lnTo>
                  <a:lnTo>
                    <a:pt x="264" y="298"/>
                  </a:lnTo>
                  <a:lnTo>
                    <a:pt x="265" y="301"/>
                  </a:lnTo>
                  <a:lnTo>
                    <a:pt x="266" y="302"/>
                  </a:lnTo>
                  <a:lnTo>
                    <a:pt x="268" y="298"/>
                  </a:lnTo>
                  <a:lnTo>
                    <a:pt x="266" y="295"/>
                  </a:lnTo>
                  <a:lnTo>
                    <a:pt x="268" y="295"/>
                  </a:lnTo>
                  <a:lnTo>
                    <a:pt x="269" y="295"/>
                  </a:lnTo>
                  <a:lnTo>
                    <a:pt x="269" y="301"/>
                  </a:lnTo>
                  <a:lnTo>
                    <a:pt x="270" y="301"/>
                  </a:lnTo>
                  <a:lnTo>
                    <a:pt x="273" y="297"/>
                  </a:lnTo>
                  <a:lnTo>
                    <a:pt x="273" y="295"/>
                  </a:lnTo>
                  <a:lnTo>
                    <a:pt x="275" y="293"/>
                  </a:lnTo>
                  <a:lnTo>
                    <a:pt x="275" y="295"/>
                  </a:lnTo>
                  <a:lnTo>
                    <a:pt x="276" y="295"/>
                  </a:lnTo>
                  <a:lnTo>
                    <a:pt x="277" y="293"/>
                  </a:lnTo>
                  <a:lnTo>
                    <a:pt x="279" y="295"/>
                  </a:lnTo>
                  <a:lnTo>
                    <a:pt x="280" y="293"/>
                  </a:lnTo>
                  <a:lnTo>
                    <a:pt x="279" y="292"/>
                  </a:lnTo>
                  <a:lnTo>
                    <a:pt x="279" y="289"/>
                  </a:lnTo>
                  <a:lnTo>
                    <a:pt x="279" y="287"/>
                  </a:lnTo>
                  <a:lnTo>
                    <a:pt x="280" y="287"/>
                  </a:lnTo>
                  <a:lnTo>
                    <a:pt x="282" y="291"/>
                  </a:lnTo>
                  <a:lnTo>
                    <a:pt x="283" y="292"/>
                  </a:lnTo>
                  <a:lnTo>
                    <a:pt x="285" y="292"/>
                  </a:lnTo>
                  <a:lnTo>
                    <a:pt x="285" y="290"/>
                  </a:lnTo>
                  <a:lnTo>
                    <a:pt x="285" y="289"/>
                  </a:lnTo>
                  <a:lnTo>
                    <a:pt x="285" y="285"/>
                  </a:lnTo>
                  <a:lnTo>
                    <a:pt x="285" y="284"/>
                  </a:lnTo>
                  <a:lnTo>
                    <a:pt x="286" y="284"/>
                  </a:lnTo>
                  <a:lnTo>
                    <a:pt x="287" y="285"/>
                  </a:lnTo>
                  <a:lnTo>
                    <a:pt x="287" y="286"/>
                  </a:lnTo>
                  <a:lnTo>
                    <a:pt x="287" y="287"/>
                  </a:lnTo>
                  <a:lnTo>
                    <a:pt x="287" y="289"/>
                  </a:lnTo>
                  <a:lnTo>
                    <a:pt x="288" y="291"/>
                  </a:lnTo>
                  <a:lnTo>
                    <a:pt x="289" y="289"/>
                  </a:lnTo>
                  <a:lnTo>
                    <a:pt x="289" y="285"/>
                  </a:lnTo>
                  <a:lnTo>
                    <a:pt x="289" y="284"/>
                  </a:lnTo>
                  <a:lnTo>
                    <a:pt x="289" y="283"/>
                  </a:lnTo>
                  <a:lnTo>
                    <a:pt x="289" y="281"/>
                  </a:lnTo>
                  <a:lnTo>
                    <a:pt x="288" y="280"/>
                  </a:lnTo>
                  <a:lnTo>
                    <a:pt x="288" y="279"/>
                  </a:lnTo>
                  <a:lnTo>
                    <a:pt x="291" y="279"/>
                  </a:lnTo>
                  <a:lnTo>
                    <a:pt x="292" y="279"/>
                  </a:lnTo>
                  <a:lnTo>
                    <a:pt x="292" y="280"/>
                  </a:lnTo>
                  <a:lnTo>
                    <a:pt x="291" y="283"/>
                  </a:lnTo>
                  <a:lnTo>
                    <a:pt x="291" y="285"/>
                  </a:lnTo>
                  <a:lnTo>
                    <a:pt x="292" y="286"/>
                  </a:lnTo>
                  <a:lnTo>
                    <a:pt x="292" y="287"/>
                  </a:lnTo>
                  <a:lnTo>
                    <a:pt x="292" y="289"/>
                  </a:lnTo>
                  <a:lnTo>
                    <a:pt x="289" y="290"/>
                  </a:lnTo>
                  <a:lnTo>
                    <a:pt x="288" y="291"/>
                  </a:lnTo>
                  <a:lnTo>
                    <a:pt x="286" y="293"/>
                  </a:lnTo>
                  <a:lnTo>
                    <a:pt x="283" y="296"/>
                  </a:lnTo>
                  <a:lnTo>
                    <a:pt x="281" y="297"/>
                  </a:lnTo>
                  <a:lnTo>
                    <a:pt x="280" y="299"/>
                  </a:lnTo>
                  <a:lnTo>
                    <a:pt x="279" y="299"/>
                  </a:lnTo>
                  <a:lnTo>
                    <a:pt x="277" y="297"/>
                  </a:lnTo>
                  <a:lnTo>
                    <a:pt x="276" y="299"/>
                  </a:lnTo>
                  <a:lnTo>
                    <a:pt x="277" y="299"/>
                  </a:lnTo>
                  <a:lnTo>
                    <a:pt x="274" y="302"/>
                  </a:lnTo>
                  <a:lnTo>
                    <a:pt x="271" y="304"/>
                  </a:lnTo>
                  <a:lnTo>
                    <a:pt x="269" y="304"/>
                  </a:lnTo>
                  <a:lnTo>
                    <a:pt x="266" y="303"/>
                  </a:lnTo>
                  <a:lnTo>
                    <a:pt x="265" y="303"/>
                  </a:lnTo>
                  <a:lnTo>
                    <a:pt x="263" y="302"/>
                  </a:lnTo>
                  <a:lnTo>
                    <a:pt x="262" y="303"/>
                  </a:lnTo>
                  <a:lnTo>
                    <a:pt x="260" y="303"/>
                  </a:lnTo>
                  <a:lnTo>
                    <a:pt x="256" y="301"/>
                  </a:lnTo>
                  <a:lnTo>
                    <a:pt x="254" y="299"/>
                  </a:lnTo>
                  <a:lnTo>
                    <a:pt x="252" y="297"/>
                  </a:lnTo>
                  <a:lnTo>
                    <a:pt x="251" y="296"/>
                  </a:lnTo>
                  <a:lnTo>
                    <a:pt x="247" y="293"/>
                  </a:lnTo>
                  <a:lnTo>
                    <a:pt x="246" y="290"/>
                  </a:lnTo>
                  <a:lnTo>
                    <a:pt x="247" y="289"/>
                  </a:lnTo>
                  <a:lnTo>
                    <a:pt x="247" y="287"/>
                  </a:lnTo>
                  <a:lnTo>
                    <a:pt x="245" y="290"/>
                  </a:lnTo>
                  <a:lnTo>
                    <a:pt x="244" y="289"/>
                  </a:lnTo>
                  <a:lnTo>
                    <a:pt x="248" y="284"/>
                  </a:lnTo>
                  <a:lnTo>
                    <a:pt x="247" y="283"/>
                  </a:lnTo>
                  <a:lnTo>
                    <a:pt x="245" y="284"/>
                  </a:lnTo>
                  <a:lnTo>
                    <a:pt x="242" y="283"/>
                  </a:lnTo>
                  <a:lnTo>
                    <a:pt x="244" y="285"/>
                  </a:lnTo>
                  <a:lnTo>
                    <a:pt x="242" y="286"/>
                  </a:lnTo>
                  <a:lnTo>
                    <a:pt x="233" y="277"/>
                  </a:lnTo>
                  <a:lnTo>
                    <a:pt x="232" y="277"/>
                  </a:lnTo>
                  <a:lnTo>
                    <a:pt x="234" y="280"/>
                  </a:lnTo>
                  <a:lnTo>
                    <a:pt x="233" y="280"/>
                  </a:lnTo>
                  <a:lnTo>
                    <a:pt x="227" y="279"/>
                  </a:lnTo>
                  <a:lnTo>
                    <a:pt x="227" y="280"/>
                  </a:lnTo>
                  <a:lnTo>
                    <a:pt x="232" y="283"/>
                  </a:lnTo>
                  <a:lnTo>
                    <a:pt x="230" y="283"/>
                  </a:lnTo>
                  <a:lnTo>
                    <a:pt x="234" y="284"/>
                  </a:lnTo>
                  <a:lnTo>
                    <a:pt x="232" y="286"/>
                  </a:lnTo>
                  <a:lnTo>
                    <a:pt x="234" y="285"/>
                  </a:lnTo>
                  <a:lnTo>
                    <a:pt x="235" y="285"/>
                  </a:lnTo>
                  <a:lnTo>
                    <a:pt x="239" y="286"/>
                  </a:lnTo>
                  <a:lnTo>
                    <a:pt x="239" y="287"/>
                  </a:lnTo>
                  <a:lnTo>
                    <a:pt x="233" y="291"/>
                  </a:lnTo>
                  <a:lnTo>
                    <a:pt x="234" y="291"/>
                  </a:lnTo>
                  <a:lnTo>
                    <a:pt x="239" y="290"/>
                  </a:lnTo>
                  <a:lnTo>
                    <a:pt x="239" y="291"/>
                  </a:lnTo>
                  <a:lnTo>
                    <a:pt x="239" y="292"/>
                  </a:lnTo>
                  <a:lnTo>
                    <a:pt x="241" y="292"/>
                  </a:lnTo>
                  <a:lnTo>
                    <a:pt x="244" y="292"/>
                  </a:lnTo>
                  <a:lnTo>
                    <a:pt x="242" y="295"/>
                  </a:lnTo>
                  <a:lnTo>
                    <a:pt x="245" y="295"/>
                  </a:lnTo>
                  <a:lnTo>
                    <a:pt x="239" y="301"/>
                  </a:lnTo>
                  <a:lnTo>
                    <a:pt x="245" y="297"/>
                  </a:lnTo>
                  <a:lnTo>
                    <a:pt x="247" y="296"/>
                  </a:lnTo>
                  <a:lnTo>
                    <a:pt x="247" y="297"/>
                  </a:lnTo>
                  <a:lnTo>
                    <a:pt x="244" y="299"/>
                  </a:lnTo>
                  <a:lnTo>
                    <a:pt x="241" y="301"/>
                  </a:lnTo>
                  <a:lnTo>
                    <a:pt x="239" y="302"/>
                  </a:lnTo>
                  <a:lnTo>
                    <a:pt x="242" y="305"/>
                  </a:lnTo>
                  <a:lnTo>
                    <a:pt x="239" y="307"/>
                  </a:lnTo>
                  <a:lnTo>
                    <a:pt x="239" y="309"/>
                  </a:lnTo>
                  <a:lnTo>
                    <a:pt x="241" y="310"/>
                  </a:lnTo>
                  <a:lnTo>
                    <a:pt x="239" y="314"/>
                  </a:lnTo>
                  <a:lnTo>
                    <a:pt x="242" y="316"/>
                  </a:lnTo>
                  <a:lnTo>
                    <a:pt x="245" y="315"/>
                  </a:lnTo>
                  <a:lnTo>
                    <a:pt x="245" y="314"/>
                  </a:lnTo>
                  <a:lnTo>
                    <a:pt x="246" y="311"/>
                  </a:lnTo>
                  <a:lnTo>
                    <a:pt x="246" y="309"/>
                  </a:lnTo>
                  <a:lnTo>
                    <a:pt x="246" y="308"/>
                  </a:lnTo>
                  <a:lnTo>
                    <a:pt x="247" y="308"/>
                  </a:lnTo>
                  <a:lnTo>
                    <a:pt x="247" y="309"/>
                  </a:lnTo>
                  <a:lnTo>
                    <a:pt x="247" y="311"/>
                  </a:lnTo>
                  <a:lnTo>
                    <a:pt x="248" y="314"/>
                  </a:lnTo>
                  <a:lnTo>
                    <a:pt x="251" y="315"/>
                  </a:lnTo>
                  <a:lnTo>
                    <a:pt x="250" y="317"/>
                  </a:lnTo>
                  <a:lnTo>
                    <a:pt x="248" y="317"/>
                  </a:lnTo>
                  <a:lnTo>
                    <a:pt x="247" y="315"/>
                  </a:lnTo>
                  <a:lnTo>
                    <a:pt x="246" y="317"/>
                  </a:lnTo>
                  <a:lnTo>
                    <a:pt x="245" y="320"/>
                  </a:lnTo>
                  <a:lnTo>
                    <a:pt x="244" y="320"/>
                  </a:lnTo>
                  <a:lnTo>
                    <a:pt x="239" y="317"/>
                  </a:lnTo>
                  <a:lnTo>
                    <a:pt x="239" y="319"/>
                  </a:lnTo>
                  <a:lnTo>
                    <a:pt x="234" y="322"/>
                  </a:lnTo>
                  <a:lnTo>
                    <a:pt x="236" y="322"/>
                  </a:lnTo>
                  <a:lnTo>
                    <a:pt x="239" y="322"/>
                  </a:lnTo>
                  <a:lnTo>
                    <a:pt x="242" y="321"/>
                  </a:lnTo>
                  <a:lnTo>
                    <a:pt x="242" y="323"/>
                  </a:lnTo>
                  <a:lnTo>
                    <a:pt x="239" y="325"/>
                  </a:lnTo>
                  <a:lnTo>
                    <a:pt x="239" y="326"/>
                  </a:lnTo>
                  <a:lnTo>
                    <a:pt x="242" y="326"/>
                  </a:lnTo>
                  <a:lnTo>
                    <a:pt x="244" y="327"/>
                  </a:lnTo>
                  <a:lnTo>
                    <a:pt x="245" y="325"/>
                  </a:lnTo>
                  <a:lnTo>
                    <a:pt x="247" y="325"/>
                  </a:lnTo>
                  <a:lnTo>
                    <a:pt x="245" y="329"/>
                  </a:lnTo>
                  <a:lnTo>
                    <a:pt x="246" y="331"/>
                  </a:lnTo>
                  <a:lnTo>
                    <a:pt x="248" y="328"/>
                  </a:lnTo>
                  <a:lnTo>
                    <a:pt x="250" y="328"/>
                  </a:lnTo>
                  <a:lnTo>
                    <a:pt x="251" y="327"/>
                  </a:lnTo>
                  <a:lnTo>
                    <a:pt x="252" y="327"/>
                  </a:lnTo>
                  <a:lnTo>
                    <a:pt x="252" y="329"/>
                  </a:lnTo>
                  <a:lnTo>
                    <a:pt x="253" y="329"/>
                  </a:lnTo>
                  <a:lnTo>
                    <a:pt x="253" y="326"/>
                  </a:lnTo>
                  <a:lnTo>
                    <a:pt x="254" y="326"/>
                  </a:lnTo>
                  <a:lnTo>
                    <a:pt x="254" y="329"/>
                  </a:lnTo>
                  <a:lnTo>
                    <a:pt x="256" y="329"/>
                  </a:lnTo>
                  <a:lnTo>
                    <a:pt x="257" y="332"/>
                  </a:lnTo>
                  <a:lnTo>
                    <a:pt x="257" y="334"/>
                  </a:lnTo>
                  <a:lnTo>
                    <a:pt x="253" y="334"/>
                  </a:lnTo>
                  <a:lnTo>
                    <a:pt x="253" y="337"/>
                  </a:lnTo>
                  <a:lnTo>
                    <a:pt x="256" y="337"/>
                  </a:lnTo>
                  <a:lnTo>
                    <a:pt x="256" y="338"/>
                  </a:lnTo>
                  <a:lnTo>
                    <a:pt x="248" y="338"/>
                  </a:lnTo>
                  <a:lnTo>
                    <a:pt x="250" y="340"/>
                  </a:lnTo>
                  <a:lnTo>
                    <a:pt x="248" y="341"/>
                  </a:lnTo>
                  <a:lnTo>
                    <a:pt x="247" y="341"/>
                  </a:lnTo>
                  <a:lnTo>
                    <a:pt x="246" y="340"/>
                  </a:lnTo>
                  <a:lnTo>
                    <a:pt x="245" y="340"/>
                  </a:lnTo>
                  <a:lnTo>
                    <a:pt x="245" y="345"/>
                  </a:lnTo>
                  <a:lnTo>
                    <a:pt x="239" y="350"/>
                  </a:lnTo>
                  <a:lnTo>
                    <a:pt x="239" y="347"/>
                  </a:lnTo>
                  <a:lnTo>
                    <a:pt x="235" y="347"/>
                  </a:lnTo>
                  <a:lnTo>
                    <a:pt x="236" y="350"/>
                  </a:lnTo>
                  <a:lnTo>
                    <a:pt x="234" y="349"/>
                  </a:lnTo>
                  <a:lnTo>
                    <a:pt x="232" y="347"/>
                  </a:lnTo>
                  <a:lnTo>
                    <a:pt x="230" y="347"/>
                  </a:lnTo>
                  <a:lnTo>
                    <a:pt x="228" y="350"/>
                  </a:lnTo>
                  <a:lnTo>
                    <a:pt x="232" y="350"/>
                  </a:lnTo>
                  <a:lnTo>
                    <a:pt x="232" y="353"/>
                  </a:lnTo>
                  <a:lnTo>
                    <a:pt x="230" y="355"/>
                  </a:lnTo>
                  <a:lnTo>
                    <a:pt x="232" y="355"/>
                  </a:lnTo>
                  <a:lnTo>
                    <a:pt x="233" y="352"/>
                  </a:lnTo>
                  <a:lnTo>
                    <a:pt x="234" y="351"/>
                  </a:lnTo>
                  <a:lnTo>
                    <a:pt x="235" y="351"/>
                  </a:lnTo>
                  <a:lnTo>
                    <a:pt x="233" y="355"/>
                  </a:lnTo>
                  <a:lnTo>
                    <a:pt x="234" y="355"/>
                  </a:lnTo>
                  <a:lnTo>
                    <a:pt x="235" y="353"/>
                  </a:lnTo>
                  <a:lnTo>
                    <a:pt x="239" y="355"/>
                  </a:lnTo>
                  <a:lnTo>
                    <a:pt x="235" y="356"/>
                  </a:lnTo>
                  <a:lnTo>
                    <a:pt x="234" y="358"/>
                  </a:lnTo>
                  <a:lnTo>
                    <a:pt x="235" y="359"/>
                  </a:lnTo>
                  <a:lnTo>
                    <a:pt x="235" y="362"/>
                  </a:lnTo>
                  <a:lnTo>
                    <a:pt x="235" y="364"/>
                  </a:lnTo>
                  <a:lnTo>
                    <a:pt x="233" y="367"/>
                  </a:lnTo>
                  <a:lnTo>
                    <a:pt x="233" y="368"/>
                  </a:lnTo>
                  <a:lnTo>
                    <a:pt x="232" y="368"/>
                  </a:lnTo>
                  <a:lnTo>
                    <a:pt x="229" y="368"/>
                  </a:lnTo>
                  <a:lnTo>
                    <a:pt x="228" y="370"/>
                  </a:lnTo>
                  <a:lnTo>
                    <a:pt x="226" y="373"/>
                  </a:lnTo>
                  <a:lnTo>
                    <a:pt x="222" y="370"/>
                  </a:lnTo>
                  <a:lnTo>
                    <a:pt x="224" y="374"/>
                  </a:lnTo>
                  <a:lnTo>
                    <a:pt x="217" y="381"/>
                  </a:lnTo>
                  <a:lnTo>
                    <a:pt x="217" y="384"/>
                  </a:lnTo>
                  <a:lnTo>
                    <a:pt x="216" y="384"/>
                  </a:lnTo>
                  <a:lnTo>
                    <a:pt x="211" y="388"/>
                  </a:lnTo>
                  <a:lnTo>
                    <a:pt x="209" y="390"/>
                  </a:lnTo>
                  <a:lnTo>
                    <a:pt x="205" y="391"/>
                  </a:lnTo>
                  <a:lnTo>
                    <a:pt x="206" y="392"/>
                  </a:lnTo>
                  <a:lnTo>
                    <a:pt x="205" y="393"/>
                  </a:lnTo>
                  <a:lnTo>
                    <a:pt x="206" y="393"/>
                  </a:lnTo>
                  <a:lnTo>
                    <a:pt x="200" y="397"/>
                  </a:lnTo>
                  <a:lnTo>
                    <a:pt x="201" y="398"/>
                  </a:lnTo>
                  <a:lnTo>
                    <a:pt x="209" y="396"/>
                  </a:lnTo>
                  <a:lnTo>
                    <a:pt x="210" y="396"/>
                  </a:lnTo>
                  <a:lnTo>
                    <a:pt x="201" y="403"/>
                  </a:lnTo>
                  <a:lnTo>
                    <a:pt x="199" y="402"/>
                  </a:lnTo>
                  <a:lnTo>
                    <a:pt x="199" y="405"/>
                  </a:lnTo>
                  <a:lnTo>
                    <a:pt x="194" y="406"/>
                  </a:lnTo>
                  <a:lnTo>
                    <a:pt x="198" y="408"/>
                  </a:lnTo>
                  <a:lnTo>
                    <a:pt x="197" y="409"/>
                  </a:lnTo>
                  <a:lnTo>
                    <a:pt x="191" y="409"/>
                  </a:lnTo>
                  <a:lnTo>
                    <a:pt x="187" y="414"/>
                  </a:lnTo>
                  <a:lnTo>
                    <a:pt x="185" y="415"/>
                  </a:lnTo>
                  <a:lnTo>
                    <a:pt x="187" y="415"/>
                  </a:lnTo>
                  <a:lnTo>
                    <a:pt x="182" y="421"/>
                  </a:lnTo>
                  <a:lnTo>
                    <a:pt x="182" y="422"/>
                  </a:lnTo>
                  <a:lnTo>
                    <a:pt x="187" y="417"/>
                  </a:lnTo>
                  <a:lnTo>
                    <a:pt x="188" y="418"/>
                  </a:lnTo>
                  <a:lnTo>
                    <a:pt x="191" y="420"/>
                  </a:lnTo>
                  <a:lnTo>
                    <a:pt x="191" y="418"/>
                  </a:lnTo>
                  <a:lnTo>
                    <a:pt x="191" y="421"/>
                  </a:lnTo>
                  <a:lnTo>
                    <a:pt x="193" y="421"/>
                  </a:lnTo>
                  <a:lnTo>
                    <a:pt x="193" y="417"/>
                  </a:lnTo>
                  <a:lnTo>
                    <a:pt x="192" y="416"/>
                  </a:lnTo>
                  <a:lnTo>
                    <a:pt x="193" y="416"/>
                  </a:lnTo>
                  <a:lnTo>
                    <a:pt x="194" y="415"/>
                  </a:lnTo>
                  <a:lnTo>
                    <a:pt x="194" y="412"/>
                  </a:lnTo>
                  <a:lnTo>
                    <a:pt x="197" y="412"/>
                  </a:lnTo>
                  <a:lnTo>
                    <a:pt x="197" y="415"/>
                  </a:lnTo>
                  <a:lnTo>
                    <a:pt x="198" y="410"/>
                  </a:lnTo>
                  <a:lnTo>
                    <a:pt x="199" y="410"/>
                  </a:lnTo>
                  <a:lnTo>
                    <a:pt x="199" y="421"/>
                  </a:lnTo>
                  <a:lnTo>
                    <a:pt x="200" y="422"/>
                  </a:lnTo>
                  <a:lnTo>
                    <a:pt x="201" y="418"/>
                  </a:lnTo>
                  <a:lnTo>
                    <a:pt x="204" y="418"/>
                  </a:lnTo>
                  <a:lnTo>
                    <a:pt x="204" y="422"/>
                  </a:lnTo>
                  <a:lnTo>
                    <a:pt x="205" y="421"/>
                  </a:lnTo>
                  <a:lnTo>
                    <a:pt x="207" y="421"/>
                  </a:lnTo>
                  <a:lnTo>
                    <a:pt x="207" y="417"/>
                  </a:lnTo>
                  <a:lnTo>
                    <a:pt x="207" y="415"/>
                  </a:lnTo>
                  <a:lnTo>
                    <a:pt x="207" y="412"/>
                  </a:lnTo>
                  <a:lnTo>
                    <a:pt x="209" y="412"/>
                  </a:lnTo>
                  <a:lnTo>
                    <a:pt x="210" y="412"/>
                  </a:lnTo>
                  <a:lnTo>
                    <a:pt x="211" y="406"/>
                  </a:lnTo>
                  <a:lnTo>
                    <a:pt x="214" y="406"/>
                  </a:lnTo>
                  <a:lnTo>
                    <a:pt x="215" y="406"/>
                  </a:lnTo>
                  <a:lnTo>
                    <a:pt x="216" y="409"/>
                  </a:lnTo>
                  <a:lnTo>
                    <a:pt x="217" y="411"/>
                  </a:lnTo>
                  <a:lnTo>
                    <a:pt x="218" y="410"/>
                  </a:lnTo>
                  <a:lnTo>
                    <a:pt x="218" y="408"/>
                  </a:lnTo>
                  <a:lnTo>
                    <a:pt x="218" y="404"/>
                  </a:lnTo>
                  <a:lnTo>
                    <a:pt x="220" y="403"/>
                  </a:lnTo>
                  <a:lnTo>
                    <a:pt x="221" y="405"/>
                  </a:lnTo>
                  <a:lnTo>
                    <a:pt x="222" y="405"/>
                  </a:lnTo>
                  <a:lnTo>
                    <a:pt x="222" y="404"/>
                  </a:lnTo>
                  <a:lnTo>
                    <a:pt x="224" y="404"/>
                  </a:lnTo>
                  <a:lnTo>
                    <a:pt x="224" y="405"/>
                  </a:lnTo>
                  <a:lnTo>
                    <a:pt x="223" y="409"/>
                  </a:lnTo>
                  <a:lnTo>
                    <a:pt x="220" y="412"/>
                  </a:lnTo>
                  <a:lnTo>
                    <a:pt x="215" y="414"/>
                  </a:lnTo>
                  <a:lnTo>
                    <a:pt x="218" y="415"/>
                  </a:lnTo>
                  <a:lnTo>
                    <a:pt x="215" y="420"/>
                  </a:lnTo>
                  <a:lnTo>
                    <a:pt x="212" y="421"/>
                  </a:lnTo>
                  <a:lnTo>
                    <a:pt x="210" y="426"/>
                  </a:lnTo>
                  <a:lnTo>
                    <a:pt x="204" y="429"/>
                  </a:lnTo>
                  <a:lnTo>
                    <a:pt x="204" y="430"/>
                  </a:lnTo>
                  <a:lnTo>
                    <a:pt x="199" y="435"/>
                  </a:lnTo>
                  <a:lnTo>
                    <a:pt x="199" y="436"/>
                  </a:lnTo>
                  <a:lnTo>
                    <a:pt x="203" y="434"/>
                  </a:lnTo>
                  <a:lnTo>
                    <a:pt x="203" y="435"/>
                  </a:lnTo>
                  <a:lnTo>
                    <a:pt x="198" y="440"/>
                  </a:lnTo>
                  <a:lnTo>
                    <a:pt x="204" y="436"/>
                  </a:lnTo>
                  <a:lnTo>
                    <a:pt x="205" y="436"/>
                  </a:lnTo>
                  <a:lnTo>
                    <a:pt x="206" y="440"/>
                  </a:lnTo>
                  <a:lnTo>
                    <a:pt x="205" y="434"/>
                  </a:lnTo>
                  <a:lnTo>
                    <a:pt x="206" y="433"/>
                  </a:lnTo>
                  <a:lnTo>
                    <a:pt x="210" y="436"/>
                  </a:lnTo>
                  <a:lnTo>
                    <a:pt x="209" y="432"/>
                  </a:lnTo>
                  <a:lnTo>
                    <a:pt x="210" y="430"/>
                  </a:lnTo>
                  <a:lnTo>
                    <a:pt x="211" y="433"/>
                  </a:lnTo>
                  <a:lnTo>
                    <a:pt x="212" y="436"/>
                  </a:lnTo>
                  <a:lnTo>
                    <a:pt x="214" y="427"/>
                  </a:lnTo>
                  <a:lnTo>
                    <a:pt x="215" y="436"/>
                  </a:lnTo>
                  <a:lnTo>
                    <a:pt x="215" y="439"/>
                  </a:lnTo>
                  <a:lnTo>
                    <a:pt x="216" y="439"/>
                  </a:lnTo>
                  <a:lnTo>
                    <a:pt x="217" y="436"/>
                  </a:lnTo>
                  <a:lnTo>
                    <a:pt x="216" y="429"/>
                  </a:lnTo>
                  <a:lnTo>
                    <a:pt x="218" y="432"/>
                  </a:lnTo>
                  <a:lnTo>
                    <a:pt x="220" y="430"/>
                  </a:lnTo>
                  <a:lnTo>
                    <a:pt x="217" y="421"/>
                  </a:lnTo>
                  <a:lnTo>
                    <a:pt x="218" y="418"/>
                  </a:lnTo>
                  <a:lnTo>
                    <a:pt x="218" y="423"/>
                  </a:lnTo>
                  <a:lnTo>
                    <a:pt x="220" y="428"/>
                  </a:lnTo>
                  <a:lnTo>
                    <a:pt x="222" y="428"/>
                  </a:lnTo>
                  <a:lnTo>
                    <a:pt x="220" y="418"/>
                  </a:lnTo>
                  <a:lnTo>
                    <a:pt x="221" y="417"/>
                  </a:lnTo>
                  <a:lnTo>
                    <a:pt x="222" y="422"/>
                  </a:lnTo>
                  <a:lnTo>
                    <a:pt x="222" y="424"/>
                  </a:lnTo>
                  <a:lnTo>
                    <a:pt x="223" y="424"/>
                  </a:lnTo>
                  <a:lnTo>
                    <a:pt x="222" y="414"/>
                  </a:lnTo>
                  <a:lnTo>
                    <a:pt x="223" y="412"/>
                  </a:lnTo>
                  <a:lnTo>
                    <a:pt x="223" y="422"/>
                  </a:lnTo>
                  <a:lnTo>
                    <a:pt x="223" y="424"/>
                  </a:lnTo>
                  <a:lnTo>
                    <a:pt x="224" y="426"/>
                  </a:lnTo>
                  <a:lnTo>
                    <a:pt x="227" y="427"/>
                  </a:lnTo>
                  <a:lnTo>
                    <a:pt x="229" y="426"/>
                  </a:lnTo>
                  <a:lnTo>
                    <a:pt x="229" y="418"/>
                  </a:lnTo>
                  <a:lnTo>
                    <a:pt x="229" y="417"/>
                  </a:lnTo>
                  <a:lnTo>
                    <a:pt x="232" y="416"/>
                  </a:lnTo>
                  <a:lnTo>
                    <a:pt x="234" y="417"/>
                  </a:lnTo>
                  <a:lnTo>
                    <a:pt x="234" y="414"/>
                  </a:lnTo>
                  <a:lnTo>
                    <a:pt x="233" y="410"/>
                  </a:lnTo>
                  <a:lnTo>
                    <a:pt x="234" y="409"/>
                  </a:lnTo>
                  <a:lnTo>
                    <a:pt x="234" y="410"/>
                  </a:lnTo>
                  <a:lnTo>
                    <a:pt x="235" y="412"/>
                  </a:lnTo>
                  <a:lnTo>
                    <a:pt x="236" y="416"/>
                  </a:lnTo>
                  <a:lnTo>
                    <a:pt x="239" y="416"/>
                  </a:lnTo>
                  <a:lnTo>
                    <a:pt x="239" y="412"/>
                  </a:lnTo>
                  <a:lnTo>
                    <a:pt x="242" y="412"/>
                  </a:lnTo>
                  <a:lnTo>
                    <a:pt x="244" y="414"/>
                  </a:lnTo>
                  <a:lnTo>
                    <a:pt x="244" y="416"/>
                  </a:lnTo>
                  <a:lnTo>
                    <a:pt x="241" y="418"/>
                  </a:lnTo>
                  <a:lnTo>
                    <a:pt x="239" y="422"/>
                  </a:lnTo>
                  <a:lnTo>
                    <a:pt x="241" y="421"/>
                  </a:lnTo>
                  <a:lnTo>
                    <a:pt x="239" y="423"/>
                  </a:lnTo>
                  <a:lnTo>
                    <a:pt x="239" y="426"/>
                  </a:lnTo>
                  <a:lnTo>
                    <a:pt x="234" y="430"/>
                  </a:lnTo>
                  <a:lnTo>
                    <a:pt x="232" y="433"/>
                  </a:lnTo>
                  <a:lnTo>
                    <a:pt x="228" y="433"/>
                  </a:lnTo>
                  <a:lnTo>
                    <a:pt x="230" y="434"/>
                  </a:lnTo>
                  <a:lnTo>
                    <a:pt x="230" y="435"/>
                  </a:lnTo>
                  <a:lnTo>
                    <a:pt x="224" y="436"/>
                  </a:lnTo>
                  <a:lnTo>
                    <a:pt x="223" y="438"/>
                  </a:lnTo>
                  <a:lnTo>
                    <a:pt x="224" y="438"/>
                  </a:lnTo>
                  <a:lnTo>
                    <a:pt x="226" y="438"/>
                  </a:lnTo>
                  <a:lnTo>
                    <a:pt x="226" y="439"/>
                  </a:lnTo>
                  <a:lnTo>
                    <a:pt x="224" y="439"/>
                  </a:lnTo>
                  <a:lnTo>
                    <a:pt x="224" y="440"/>
                  </a:lnTo>
                  <a:lnTo>
                    <a:pt x="222" y="442"/>
                  </a:lnTo>
                  <a:lnTo>
                    <a:pt x="222" y="444"/>
                  </a:lnTo>
                  <a:lnTo>
                    <a:pt x="221" y="444"/>
                  </a:lnTo>
                  <a:lnTo>
                    <a:pt x="220" y="444"/>
                  </a:lnTo>
                  <a:lnTo>
                    <a:pt x="218" y="441"/>
                  </a:lnTo>
                  <a:lnTo>
                    <a:pt x="217" y="440"/>
                  </a:lnTo>
                  <a:lnTo>
                    <a:pt x="217" y="441"/>
                  </a:lnTo>
                  <a:lnTo>
                    <a:pt x="217" y="444"/>
                  </a:lnTo>
                  <a:lnTo>
                    <a:pt x="212" y="442"/>
                  </a:lnTo>
                  <a:lnTo>
                    <a:pt x="211" y="442"/>
                  </a:lnTo>
                  <a:lnTo>
                    <a:pt x="211" y="444"/>
                  </a:lnTo>
                  <a:lnTo>
                    <a:pt x="215" y="445"/>
                  </a:lnTo>
                  <a:lnTo>
                    <a:pt x="216" y="445"/>
                  </a:lnTo>
                  <a:lnTo>
                    <a:pt x="215" y="446"/>
                  </a:lnTo>
                  <a:lnTo>
                    <a:pt x="211" y="448"/>
                  </a:lnTo>
                  <a:lnTo>
                    <a:pt x="215" y="450"/>
                  </a:lnTo>
                  <a:lnTo>
                    <a:pt x="214" y="451"/>
                  </a:lnTo>
                  <a:lnTo>
                    <a:pt x="212" y="452"/>
                  </a:lnTo>
                  <a:lnTo>
                    <a:pt x="211" y="452"/>
                  </a:lnTo>
                  <a:lnTo>
                    <a:pt x="210" y="452"/>
                  </a:lnTo>
                  <a:lnTo>
                    <a:pt x="209" y="451"/>
                  </a:lnTo>
                  <a:lnTo>
                    <a:pt x="209" y="452"/>
                  </a:lnTo>
                  <a:lnTo>
                    <a:pt x="209" y="453"/>
                  </a:lnTo>
                  <a:lnTo>
                    <a:pt x="210" y="453"/>
                  </a:lnTo>
                  <a:lnTo>
                    <a:pt x="209" y="454"/>
                  </a:lnTo>
                  <a:lnTo>
                    <a:pt x="207" y="454"/>
                  </a:lnTo>
                  <a:lnTo>
                    <a:pt x="204" y="453"/>
                  </a:lnTo>
                  <a:lnTo>
                    <a:pt x="203" y="453"/>
                  </a:lnTo>
                  <a:lnTo>
                    <a:pt x="203" y="454"/>
                  </a:lnTo>
                  <a:lnTo>
                    <a:pt x="206" y="456"/>
                  </a:lnTo>
                  <a:lnTo>
                    <a:pt x="207" y="456"/>
                  </a:lnTo>
                  <a:lnTo>
                    <a:pt x="206" y="457"/>
                  </a:lnTo>
                  <a:lnTo>
                    <a:pt x="203" y="460"/>
                  </a:lnTo>
                  <a:lnTo>
                    <a:pt x="209" y="457"/>
                  </a:lnTo>
                  <a:lnTo>
                    <a:pt x="210" y="457"/>
                  </a:lnTo>
                  <a:lnTo>
                    <a:pt x="210" y="458"/>
                  </a:lnTo>
                  <a:lnTo>
                    <a:pt x="210" y="462"/>
                  </a:lnTo>
                  <a:lnTo>
                    <a:pt x="209" y="463"/>
                  </a:lnTo>
                  <a:lnTo>
                    <a:pt x="205" y="463"/>
                  </a:lnTo>
                  <a:lnTo>
                    <a:pt x="203" y="463"/>
                  </a:lnTo>
                  <a:lnTo>
                    <a:pt x="199" y="464"/>
                  </a:lnTo>
                  <a:lnTo>
                    <a:pt x="197" y="464"/>
                  </a:lnTo>
                  <a:lnTo>
                    <a:pt x="194" y="464"/>
                  </a:lnTo>
                  <a:lnTo>
                    <a:pt x="193" y="465"/>
                  </a:lnTo>
                  <a:lnTo>
                    <a:pt x="199" y="465"/>
                  </a:lnTo>
                  <a:lnTo>
                    <a:pt x="199" y="466"/>
                  </a:lnTo>
                  <a:lnTo>
                    <a:pt x="195" y="468"/>
                  </a:lnTo>
                  <a:lnTo>
                    <a:pt x="194" y="468"/>
                  </a:lnTo>
                  <a:lnTo>
                    <a:pt x="199" y="469"/>
                  </a:lnTo>
                  <a:lnTo>
                    <a:pt x="200" y="469"/>
                  </a:lnTo>
                  <a:lnTo>
                    <a:pt x="201" y="470"/>
                  </a:lnTo>
                  <a:lnTo>
                    <a:pt x="201" y="472"/>
                  </a:lnTo>
                  <a:lnTo>
                    <a:pt x="201" y="474"/>
                  </a:lnTo>
                  <a:lnTo>
                    <a:pt x="203" y="474"/>
                  </a:lnTo>
                  <a:lnTo>
                    <a:pt x="203" y="472"/>
                  </a:lnTo>
                  <a:lnTo>
                    <a:pt x="203" y="468"/>
                  </a:lnTo>
                  <a:lnTo>
                    <a:pt x="201" y="468"/>
                  </a:lnTo>
                  <a:lnTo>
                    <a:pt x="203" y="466"/>
                  </a:lnTo>
                  <a:lnTo>
                    <a:pt x="204" y="466"/>
                  </a:lnTo>
                  <a:lnTo>
                    <a:pt x="204" y="471"/>
                  </a:lnTo>
                  <a:lnTo>
                    <a:pt x="205" y="469"/>
                  </a:lnTo>
                  <a:lnTo>
                    <a:pt x="206" y="468"/>
                  </a:lnTo>
                  <a:lnTo>
                    <a:pt x="206" y="466"/>
                  </a:lnTo>
                  <a:lnTo>
                    <a:pt x="207" y="465"/>
                  </a:lnTo>
                  <a:lnTo>
                    <a:pt x="207" y="470"/>
                  </a:lnTo>
                  <a:lnTo>
                    <a:pt x="209" y="470"/>
                  </a:lnTo>
                  <a:lnTo>
                    <a:pt x="209" y="471"/>
                  </a:lnTo>
                  <a:lnTo>
                    <a:pt x="206" y="471"/>
                  </a:lnTo>
                  <a:lnTo>
                    <a:pt x="205" y="474"/>
                  </a:lnTo>
                  <a:lnTo>
                    <a:pt x="205" y="475"/>
                  </a:lnTo>
                  <a:lnTo>
                    <a:pt x="206" y="476"/>
                  </a:lnTo>
                  <a:lnTo>
                    <a:pt x="203" y="476"/>
                  </a:lnTo>
                  <a:lnTo>
                    <a:pt x="201" y="476"/>
                  </a:lnTo>
                  <a:lnTo>
                    <a:pt x="199" y="475"/>
                  </a:lnTo>
                  <a:lnTo>
                    <a:pt x="198" y="475"/>
                  </a:lnTo>
                  <a:lnTo>
                    <a:pt x="197" y="476"/>
                  </a:lnTo>
                  <a:lnTo>
                    <a:pt x="193" y="471"/>
                  </a:lnTo>
                  <a:lnTo>
                    <a:pt x="192" y="472"/>
                  </a:lnTo>
                  <a:lnTo>
                    <a:pt x="194" y="476"/>
                  </a:lnTo>
                  <a:lnTo>
                    <a:pt x="192" y="476"/>
                  </a:lnTo>
                  <a:lnTo>
                    <a:pt x="191" y="474"/>
                  </a:lnTo>
                  <a:lnTo>
                    <a:pt x="189" y="474"/>
                  </a:lnTo>
                  <a:lnTo>
                    <a:pt x="188" y="475"/>
                  </a:lnTo>
                  <a:lnTo>
                    <a:pt x="188" y="476"/>
                  </a:lnTo>
                  <a:lnTo>
                    <a:pt x="187" y="478"/>
                  </a:lnTo>
                  <a:lnTo>
                    <a:pt x="186" y="478"/>
                  </a:lnTo>
                  <a:lnTo>
                    <a:pt x="188" y="480"/>
                  </a:lnTo>
                  <a:lnTo>
                    <a:pt x="189" y="478"/>
                  </a:lnTo>
                  <a:lnTo>
                    <a:pt x="191" y="478"/>
                  </a:lnTo>
                  <a:lnTo>
                    <a:pt x="192" y="477"/>
                  </a:lnTo>
                  <a:lnTo>
                    <a:pt x="193" y="478"/>
                  </a:lnTo>
                  <a:lnTo>
                    <a:pt x="193" y="480"/>
                  </a:lnTo>
                  <a:lnTo>
                    <a:pt x="191" y="483"/>
                  </a:lnTo>
                  <a:lnTo>
                    <a:pt x="186" y="484"/>
                  </a:lnTo>
                  <a:lnTo>
                    <a:pt x="182" y="482"/>
                  </a:lnTo>
                  <a:lnTo>
                    <a:pt x="176" y="482"/>
                  </a:lnTo>
                  <a:lnTo>
                    <a:pt x="173" y="486"/>
                  </a:lnTo>
                  <a:lnTo>
                    <a:pt x="171" y="487"/>
                  </a:lnTo>
                  <a:lnTo>
                    <a:pt x="169" y="487"/>
                  </a:lnTo>
                  <a:lnTo>
                    <a:pt x="168" y="488"/>
                  </a:lnTo>
                  <a:lnTo>
                    <a:pt x="167" y="487"/>
                  </a:lnTo>
                  <a:lnTo>
                    <a:pt x="165" y="489"/>
                  </a:lnTo>
                  <a:lnTo>
                    <a:pt x="163" y="492"/>
                  </a:lnTo>
                  <a:lnTo>
                    <a:pt x="163" y="493"/>
                  </a:lnTo>
                  <a:lnTo>
                    <a:pt x="161" y="493"/>
                  </a:lnTo>
                  <a:lnTo>
                    <a:pt x="158" y="493"/>
                  </a:lnTo>
                  <a:lnTo>
                    <a:pt x="158" y="492"/>
                  </a:lnTo>
                  <a:lnTo>
                    <a:pt x="158" y="489"/>
                  </a:lnTo>
                  <a:lnTo>
                    <a:pt x="156" y="488"/>
                  </a:lnTo>
                  <a:lnTo>
                    <a:pt x="156" y="489"/>
                  </a:lnTo>
                  <a:lnTo>
                    <a:pt x="156" y="491"/>
                  </a:lnTo>
                  <a:lnTo>
                    <a:pt x="157" y="493"/>
                  </a:lnTo>
                  <a:lnTo>
                    <a:pt x="158" y="495"/>
                  </a:lnTo>
                  <a:lnTo>
                    <a:pt x="157" y="497"/>
                  </a:lnTo>
                  <a:lnTo>
                    <a:pt x="156" y="498"/>
                  </a:lnTo>
                  <a:lnTo>
                    <a:pt x="153" y="498"/>
                  </a:lnTo>
                  <a:lnTo>
                    <a:pt x="152" y="497"/>
                  </a:lnTo>
                  <a:lnTo>
                    <a:pt x="150" y="497"/>
                  </a:lnTo>
                  <a:lnTo>
                    <a:pt x="147" y="499"/>
                  </a:lnTo>
                  <a:lnTo>
                    <a:pt x="150" y="499"/>
                  </a:lnTo>
                  <a:lnTo>
                    <a:pt x="153" y="499"/>
                  </a:lnTo>
                  <a:lnTo>
                    <a:pt x="152" y="500"/>
                  </a:lnTo>
                  <a:lnTo>
                    <a:pt x="147" y="505"/>
                  </a:lnTo>
                  <a:lnTo>
                    <a:pt x="146" y="504"/>
                  </a:lnTo>
                  <a:lnTo>
                    <a:pt x="145" y="505"/>
                  </a:lnTo>
                  <a:lnTo>
                    <a:pt x="144" y="506"/>
                  </a:lnTo>
                  <a:lnTo>
                    <a:pt x="138" y="506"/>
                  </a:lnTo>
                  <a:lnTo>
                    <a:pt x="134" y="506"/>
                  </a:lnTo>
                  <a:lnTo>
                    <a:pt x="133" y="506"/>
                  </a:lnTo>
                  <a:lnTo>
                    <a:pt x="130" y="506"/>
                  </a:lnTo>
                  <a:lnTo>
                    <a:pt x="130" y="507"/>
                  </a:lnTo>
                  <a:lnTo>
                    <a:pt x="133" y="507"/>
                  </a:lnTo>
                  <a:lnTo>
                    <a:pt x="135" y="509"/>
                  </a:lnTo>
                  <a:lnTo>
                    <a:pt x="132" y="512"/>
                  </a:lnTo>
                  <a:lnTo>
                    <a:pt x="132" y="513"/>
                  </a:lnTo>
                  <a:lnTo>
                    <a:pt x="133" y="513"/>
                  </a:lnTo>
                  <a:lnTo>
                    <a:pt x="136" y="510"/>
                  </a:lnTo>
                  <a:lnTo>
                    <a:pt x="138" y="510"/>
                  </a:lnTo>
                  <a:lnTo>
                    <a:pt x="139" y="510"/>
                  </a:lnTo>
                  <a:lnTo>
                    <a:pt x="139" y="511"/>
                  </a:lnTo>
                  <a:lnTo>
                    <a:pt x="138" y="512"/>
                  </a:lnTo>
                  <a:lnTo>
                    <a:pt x="138" y="513"/>
                  </a:lnTo>
                  <a:lnTo>
                    <a:pt x="139" y="513"/>
                  </a:lnTo>
                  <a:lnTo>
                    <a:pt x="140" y="511"/>
                  </a:lnTo>
                  <a:lnTo>
                    <a:pt x="140" y="510"/>
                  </a:lnTo>
                  <a:lnTo>
                    <a:pt x="142" y="507"/>
                  </a:lnTo>
                  <a:lnTo>
                    <a:pt x="146" y="507"/>
                  </a:lnTo>
                  <a:lnTo>
                    <a:pt x="146" y="510"/>
                  </a:lnTo>
                  <a:lnTo>
                    <a:pt x="141" y="513"/>
                  </a:lnTo>
                  <a:lnTo>
                    <a:pt x="140" y="516"/>
                  </a:lnTo>
                  <a:lnTo>
                    <a:pt x="133" y="521"/>
                  </a:lnTo>
                  <a:lnTo>
                    <a:pt x="133" y="522"/>
                  </a:lnTo>
                  <a:lnTo>
                    <a:pt x="138" y="519"/>
                  </a:lnTo>
                  <a:lnTo>
                    <a:pt x="139" y="519"/>
                  </a:lnTo>
                  <a:lnTo>
                    <a:pt x="139" y="522"/>
                  </a:lnTo>
                  <a:lnTo>
                    <a:pt x="140" y="522"/>
                  </a:lnTo>
                  <a:lnTo>
                    <a:pt x="140" y="518"/>
                  </a:lnTo>
                  <a:lnTo>
                    <a:pt x="141" y="517"/>
                  </a:lnTo>
                  <a:lnTo>
                    <a:pt x="142" y="517"/>
                  </a:lnTo>
                  <a:lnTo>
                    <a:pt x="144" y="522"/>
                  </a:lnTo>
                  <a:lnTo>
                    <a:pt x="145" y="525"/>
                  </a:lnTo>
                  <a:lnTo>
                    <a:pt x="146" y="527"/>
                  </a:lnTo>
                  <a:lnTo>
                    <a:pt x="147" y="527"/>
                  </a:lnTo>
                  <a:lnTo>
                    <a:pt x="149" y="528"/>
                  </a:lnTo>
                  <a:lnTo>
                    <a:pt x="149" y="523"/>
                  </a:lnTo>
                  <a:lnTo>
                    <a:pt x="152" y="522"/>
                  </a:lnTo>
                  <a:lnTo>
                    <a:pt x="153" y="521"/>
                  </a:lnTo>
                  <a:lnTo>
                    <a:pt x="153" y="518"/>
                  </a:lnTo>
                  <a:lnTo>
                    <a:pt x="155" y="517"/>
                  </a:lnTo>
                  <a:lnTo>
                    <a:pt x="155" y="518"/>
                  </a:lnTo>
                  <a:lnTo>
                    <a:pt x="157" y="519"/>
                  </a:lnTo>
                  <a:lnTo>
                    <a:pt x="158" y="522"/>
                  </a:lnTo>
                  <a:lnTo>
                    <a:pt x="159" y="523"/>
                  </a:lnTo>
                  <a:lnTo>
                    <a:pt x="159" y="528"/>
                  </a:lnTo>
                  <a:lnTo>
                    <a:pt x="161" y="528"/>
                  </a:lnTo>
                  <a:lnTo>
                    <a:pt x="162" y="528"/>
                  </a:lnTo>
                  <a:lnTo>
                    <a:pt x="162" y="527"/>
                  </a:lnTo>
                  <a:lnTo>
                    <a:pt x="162" y="519"/>
                  </a:lnTo>
                  <a:lnTo>
                    <a:pt x="163" y="518"/>
                  </a:lnTo>
                  <a:lnTo>
                    <a:pt x="163" y="524"/>
                  </a:lnTo>
                  <a:lnTo>
                    <a:pt x="164" y="524"/>
                  </a:lnTo>
                  <a:lnTo>
                    <a:pt x="164" y="523"/>
                  </a:lnTo>
                  <a:lnTo>
                    <a:pt x="165" y="521"/>
                  </a:lnTo>
                  <a:lnTo>
                    <a:pt x="165" y="519"/>
                  </a:lnTo>
                  <a:lnTo>
                    <a:pt x="167" y="519"/>
                  </a:lnTo>
                  <a:lnTo>
                    <a:pt x="168" y="521"/>
                  </a:lnTo>
                  <a:lnTo>
                    <a:pt x="168" y="522"/>
                  </a:lnTo>
                  <a:lnTo>
                    <a:pt x="169" y="521"/>
                  </a:lnTo>
                  <a:lnTo>
                    <a:pt x="170" y="519"/>
                  </a:lnTo>
                  <a:lnTo>
                    <a:pt x="169" y="518"/>
                  </a:lnTo>
                  <a:lnTo>
                    <a:pt x="168" y="516"/>
                  </a:lnTo>
                  <a:lnTo>
                    <a:pt x="169" y="515"/>
                  </a:lnTo>
                  <a:lnTo>
                    <a:pt x="169" y="512"/>
                  </a:lnTo>
                  <a:lnTo>
                    <a:pt x="169" y="511"/>
                  </a:lnTo>
                  <a:lnTo>
                    <a:pt x="170" y="511"/>
                  </a:lnTo>
                  <a:lnTo>
                    <a:pt x="171" y="511"/>
                  </a:lnTo>
                  <a:lnTo>
                    <a:pt x="170" y="512"/>
                  </a:lnTo>
                  <a:lnTo>
                    <a:pt x="170" y="513"/>
                  </a:lnTo>
                  <a:lnTo>
                    <a:pt x="170" y="515"/>
                  </a:lnTo>
                  <a:lnTo>
                    <a:pt x="169" y="516"/>
                  </a:lnTo>
                  <a:lnTo>
                    <a:pt x="170" y="518"/>
                  </a:lnTo>
                  <a:lnTo>
                    <a:pt x="170" y="519"/>
                  </a:lnTo>
                  <a:lnTo>
                    <a:pt x="171" y="519"/>
                  </a:lnTo>
                  <a:lnTo>
                    <a:pt x="171" y="521"/>
                  </a:lnTo>
                  <a:lnTo>
                    <a:pt x="170" y="524"/>
                  </a:lnTo>
                  <a:lnTo>
                    <a:pt x="170" y="528"/>
                  </a:lnTo>
                  <a:lnTo>
                    <a:pt x="171" y="528"/>
                  </a:lnTo>
                  <a:lnTo>
                    <a:pt x="173" y="525"/>
                  </a:lnTo>
                  <a:lnTo>
                    <a:pt x="173" y="524"/>
                  </a:lnTo>
                  <a:lnTo>
                    <a:pt x="174" y="523"/>
                  </a:lnTo>
                  <a:lnTo>
                    <a:pt x="175" y="522"/>
                  </a:lnTo>
                  <a:lnTo>
                    <a:pt x="175" y="517"/>
                  </a:lnTo>
                  <a:lnTo>
                    <a:pt x="175" y="516"/>
                  </a:lnTo>
                  <a:lnTo>
                    <a:pt x="176" y="516"/>
                  </a:lnTo>
                  <a:lnTo>
                    <a:pt x="176" y="517"/>
                  </a:lnTo>
                  <a:lnTo>
                    <a:pt x="179" y="519"/>
                  </a:lnTo>
                  <a:lnTo>
                    <a:pt x="179" y="521"/>
                  </a:lnTo>
                  <a:lnTo>
                    <a:pt x="180" y="522"/>
                  </a:lnTo>
                  <a:lnTo>
                    <a:pt x="181" y="523"/>
                  </a:lnTo>
                  <a:lnTo>
                    <a:pt x="181" y="524"/>
                  </a:lnTo>
                  <a:lnTo>
                    <a:pt x="180" y="527"/>
                  </a:lnTo>
                  <a:lnTo>
                    <a:pt x="179" y="527"/>
                  </a:lnTo>
                  <a:lnTo>
                    <a:pt x="176" y="528"/>
                  </a:lnTo>
                  <a:lnTo>
                    <a:pt x="175" y="528"/>
                  </a:lnTo>
                  <a:lnTo>
                    <a:pt x="173" y="530"/>
                  </a:lnTo>
                  <a:lnTo>
                    <a:pt x="171" y="531"/>
                  </a:lnTo>
                  <a:lnTo>
                    <a:pt x="173" y="531"/>
                  </a:lnTo>
                  <a:lnTo>
                    <a:pt x="174" y="531"/>
                  </a:lnTo>
                  <a:lnTo>
                    <a:pt x="176" y="531"/>
                  </a:lnTo>
                  <a:lnTo>
                    <a:pt x="176" y="530"/>
                  </a:lnTo>
                  <a:lnTo>
                    <a:pt x="177" y="530"/>
                  </a:lnTo>
                  <a:lnTo>
                    <a:pt x="177" y="531"/>
                  </a:lnTo>
                  <a:lnTo>
                    <a:pt x="177" y="533"/>
                  </a:lnTo>
                  <a:lnTo>
                    <a:pt x="176" y="534"/>
                  </a:lnTo>
                  <a:lnTo>
                    <a:pt x="175" y="535"/>
                  </a:lnTo>
                  <a:lnTo>
                    <a:pt x="174" y="535"/>
                  </a:lnTo>
                  <a:lnTo>
                    <a:pt x="173" y="535"/>
                  </a:lnTo>
                  <a:lnTo>
                    <a:pt x="171" y="533"/>
                  </a:lnTo>
                  <a:lnTo>
                    <a:pt x="170" y="533"/>
                  </a:lnTo>
                  <a:lnTo>
                    <a:pt x="170" y="534"/>
                  </a:lnTo>
                  <a:lnTo>
                    <a:pt x="170" y="535"/>
                  </a:lnTo>
                  <a:lnTo>
                    <a:pt x="165" y="535"/>
                  </a:lnTo>
                  <a:lnTo>
                    <a:pt x="164" y="534"/>
                  </a:lnTo>
                  <a:lnTo>
                    <a:pt x="162" y="534"/>
                  </a:lnTo>
                  <a:lnTo>
                    <a:pt x="162" y="533"/>
                  </a:lnTo>
                  <a:lnTo>
                    <a:pt x="161" y="533"/>
                  </a:lnTo>
                  <a:lnTo>
                    <a:pt x="159" y="534"/>
                  </a:lnTo>
                  <a:lnTo>
                    <a:pt x="151" y="535"/>
                  </a:lnTo>
                  <a:lnTo>
                    <a:pt x="150" y="534"/>
                  </a:lnTo>
                  <a:lnTo>
                    <a:pt x="149" y="534"/>
                  </a:lnTo>
                  <a:lnTo>
                    <a:pt x="146" y="535"/>
                  </a:lnTo>
                  <a:lnTo>
                    <a:pt x="145" y="535"/>
                  </a:lnTo>
                  <a:lnTo>
                    <a:pt x="144" y="534"/>
                  </a:lnTo>
                  <a:lnTo>
                    <a:pt x="142" y="534"/>
                  </a:lnTo>
                  <a:lnTo>
                    <a:pt x="141" y="534"/>
                  </a:lnTo>
                  <a:lnTo>
                    <a:pt x="138" y="534"/>
                  </a:lnTo>
                  <a:lnTo>
                    <a:pt x="136" y="535"/>
                  </a:lnTo>
                  <a:lnTo>
                    <a:pt x="133" y="536"/>
                  </a:lnTo>
                  <a:lnTo>
                    <a:pt x="132" y="535"/>
                  </a:lnTo>
                  <a:lnTo>
                    <a:pt x="129" y="535"/>
                  </a:lnTo>
                  <a:lnTo>
                    <a:pt x="127" y="536"/>
                  </a:lnTo>
                  <a:lnTo>
                    <a:pt x="124" y="537"/>
                  </a:lnTo>
                  <a:lnTo>
                    <a:pt x="123" y="537"/>
                  </a:lnTo>
                  <a:lnTo>
                    <a:pt x="122" y="539"/>
                  </a:lnTo>
                  <a:lnTo>
                    <a:pt x="118" y="539"/>
                  </a:lnTo>
                  <a:lnTo>
                    <a:pt x="117" y="540"/>
                  </a:lnTo>
                  <a:lnTo>
                    <a:pt x="116" y="541"/>
                  </a:lnTo>
                  <a:lnTo>
                    <a:pt x="112" y="541"/>
                  </a:lnTo>
                  <a:lnTo>
                    <a:pt x="111" y="542"/>
                  </a:lnTo>
                  <a:lnTo>
                    <a:pt x="110" y="542"/>
                  </a:lnTo>
                  <a:lnTo>
                    <a:pt x="109" y="543"/>
                  </a:lnTo>
                  <a:lnTo>
                    <a:pt x="108" y="545"/>
                  </a:lnTo>
                  <a:lnTo>
                    <a:pt x="106" y="546"/>
                  </a:lnTo>
                  <a:lnTo>
                    <a:pt x="105" y="547"/>
                  </a:lnTo>
                  <a:lnTo>
                    <a:pt x="103" y="547"/>
                  </a:lnTo>
                  <a:lnTo>
                    <a:pt x="100" y="546"/>
                  </a:lnTo>
                  <a:lnTo>
                    <a:pt x="99" y="546"/>
                  </a:lnTo>
                  <a:lnTo>
                    <a:pt x="98" y="547"/>
                  </a:lnTo>
                  <a:lnTo>
                    <a:pt x="97" y="547"/>
                  </a:lnTo>
                  <a:lnTo>
                    <a:pt x="94" y="546"/>
                  </a:lnTo>
                  <a:lnTo>
                    <a:pt x="93" y="546"/>
                  </a:lnTo>
                  <a:lnTo>
                    <a:pt x="97" y="548"/>
                  </a:lnTo>
                  <a:lnTo>
                    <a:pt x="96" y="549"/>
                  </a:lnTo>
                  <a:lnTo>
                    <a:pt x="90" y="553"/>
                  </a:lnTo>
                  <a:lnTo>
                    <a:pt x="96" y="552"/>
                  </a:lnTo>
                  <a:lnTo>
                    <a:pt x="97" y="552"/>
                  </a:lnTo>
                  <a:lnTo>
                    <a:pt x="98" y="553"/>
                  </a:lnTo>
                  <a:lnTo>
                    <a:pt x="97" y="555"/>
                  </a:lnTo>
                  <a:lnTo>
                    <a:pt x="99" y="554"/>
                  </a:lnTo>
                  <a:lnTo>
                    <a:pt x="99" y="553"/>
                  </a:lnTo>
                  <a:lnTo>
                    <a:pt x="99" y="551"/>
                  </a:lnTo>
                  <a:lnTo>
                    <a:pt x="100" y="551"/>
                  </a:lnTo>
                  <a:lnTo>
                    <a:pt x="100" y="552"/>
                  </a:lnTo>
                  <a:lnTo>
                    <a:pt x="102" y="553"/>
                  </a:lnTo>
                  <a:lnTo>
                    <a:pt x="103" y="549"/>
                  </a:lnTo>
                  <a:lnTo>
                    <a:pt x="104" y="549"/>
                  </a:lnTo>
                  <a:lnTo>
                    <a:pt x="104" y="553"/>
                  </a:lnTo>
                  <a:lnTo>
                    <a:pt x="105" y="554"/>
                  </a:lnTo>
                  <a:lnTo>
                    <a:pt x="106" y="555"/>
                  </a:lnTo>
                  <a:lnTo>
                    <a:pt x="106" y="558"/>
                  </a:lnTo>
                  <a:lnTo>
                    <a:pt x="108" y="558"/>
                  </a:lnTo>
                  <a:lnTo>
                    <a:pt x="109" y="559"/>
                  </a:lnTo>
                  <a:lnTo>
                    <a:pt x="110" y="560"/>
                  </a:lnTo>
                  <a:lnTo>
                    <a:pt x="110" y="563"/>
                  </a:lnTo>
                  <a:lnTo>
                    <a:pt x="111" y="564"/>
                  </a:lnTo>
                  <a:lnTo>
                    <a:pt x="112" y="563"/>
                  </a:lnTo>
                  <a:lnTo>
                    <a:pt x="114" y="561"/>
                  </a:lnTo>
                  <a:lnTo>
                    <a:pt x="114" y="559"/>
                  </a:lnTo>
                  <a:lnTo>
                    <a:pt x="111" y="558"/>
                  </a:lnTo>
                  <a:lnTo>
                    <a:pt x="114" y="557"/>
                  </a:lnTo>
                  <a:lnTo>
                    <a:pt x="114" y="555"/>
                  </a:lnTo>
                  <a:lnTo>
                    <a:pt x="112" y="553"/>
                  </a:lnTo>
                  <a:lnTo>
                    <a:pt x="112" y="551"/>
                  </a:lnTo>
                  <a:lnTo>
                    <a:pt x="114" y="549"/>
                  </a:lnTo>
                  <a:lnTo>
                    <a:pt x="112" y="547"/>
                  </a:lnTo>
                  <a:lnTo>
                    <a:pt x="114" y="546"/>
                  </a:lnTo>
                  <a:lnTo>
                    <a:pt x="115" y="545"/>
                  </a:lnTo>
                  <a:lnTo>
                    <a:pt x="116" y="545"/>
                  </a:lnTo>
                  <a:lnTo>
                    <a:pt x="116" y="546"/>
                  </a:lnTo>
                  <a:lnTo>
                    <a:pt x="115" y="547"/>
                  </a:lnTo>
                  <a:lnTo>
                    <a:pt x="115" y="549"/>
                  </a:lnTo>
                  <a:lnTo>
                    <a:pt x="116" y="549"/>
                  </a:lnTo>
                  <a:lnTo>
                    <a:pt x="117" y="549"/>
                  </a:lnTo>
                  <a:lnTo>
                    <a:pt x="117" y="551"/>
                  </a:lnTo>
                  <a:lnTo>
                    <a:pt x="117" y="552"/>
                  </a:lnTo>
                  <a:lnTo>
                    <a:pt x="116" y="553"/>
                  </a:lnTo>
                  <a:lnTo>
                    <a:pt x="116" y="555"/>
                  </a:lnTo>
                  <a:lnTo>
                    <a:pt x="116" y="558"/>
                  </a:lnTo>
                  <a:lnTo>
                    <a:pt x="117" y="558"/>
                  </a:lnTo>
                  <a:lnTo>
                    <a:pt x="117" y="555"/>
                  </a:lnTo>
                  <a:lnTo>
                    <a:pt x="118" y="553"/>
                  </a:lnTo>
                  <a:lnTo>
                    <a:pt x="120" y="553"/>
                  </a:lnTo>
                  <a:lnTo>
                    <a:pt x="120" y="555"/>
                  </a:lnTo>
                  <a:lnTo>
                    <a:pt x="121" y="557"/>
                  </a:lnTo>
                  <a:lnTo>
                    <a:pt x="122" y="555"/>
                  </a:lnTo>
                  <a:lnTo>
                    <a:pt x="121" y="554"/>
                  </a:lnTo>
                  <a:lnTo>
                    <a:pt x="122" y="553"/>
                  </a:lnTo>
                  <a:lnTo>
                    <a:pt x="122" y="552"/>
                  </a:lnTo>
                  <a:lnTo>
                    <a:pt x="123" y="551"/>
                  </a:lnTo>
                  <a:lnTo>
                    <a:pt x="124" y="552"/>
                  </a:lnTo>
                  <a:lnTo>
                    <a:pt x="124" y="553"/>
                  </a:lnTo>
                  <a:lnTo>
                    <a:pt x="124" y="554"/>
                  </a:lnTo>
                  <a:lnTo>
                    <a:pt x="124" y="557"/>
                  </a:lnTo>
                  <a:lnTo>
                    <a:pt x="123" y="558"/>
                  </a:lnTo>
                  <a:lnTo>
                    <a:pt x="123" y="563"/>
                  </a:lnTo>
                  <a:lnTo>
                    <a:pt x="123" y="565"/>
                  </a:lnTo>
                  <a:lnTo>
                    <a:pt x="124" y="564"/>
                  </a:lnTo>
                  <a:lnTo>
                    <a:pt x="126" y="564"/>
                  </a:lnTo>
                  <a:lnTo>
                    <a:pt x="126" y="561"/>
                  </a:lnTo>
                  <a:lnTo>
                    <a:pt x="126" y="560"/>
                  </a:lnTo>
                  <a:lnTo>
                    <a:pt x="127" y="559"/>
                  </a:lnTo>
                  <a:lnTo>
                    <a:pt x="127" y="558"/>
                  </a:lnTo>
                  <a:lnTo>
                    <a:pt x="128" y="557"/>
                  </a:lnTo>
                  <a:lnTo>
                    <a:pt x="128" y="552"/>
                  </a:lnTo>
                  <a:lnTo>
                    <a:pt x="129" y="553"/>
                  </a:lnTo>
                  <a:lnTo>
                    <a:pt x="130" y="553"/>
                  </a:lnTo>
                  <a:lnTo>
                    <a:pt x="130" y="552"/>
                  </a:lnTo>
                  <a:lnTo>
                    <a:pt x="132" y="552"/>
                  </a:lnTo>
                  <a:lnTo>
                    <a:pt x="132" y="549"/>
                  </a:lnTo>
                  <a:lnTo>
                    <a:pt x="132" y="547"/>
                  </a:lnTo>
                  <a:lnTo>
                    <a:pt x="133" y="549"/>
                  </a:lnTo>
                  <a:lnTo>
                    <a:pt x="133" y="552"/>
                  </a:lnTo>
                  <a:lnTo>
                    <a:pt x="133" y="554"/>
                  </a:lnTo>
                  <a:lnTo>
                    <a:pt x="132" y="554"/>
                  </a:lnTo>
                  <a:lnTo>
                    <a:pt x="132" y="557"/>
                  </a:lnTo>
                  <a:lnTo>
                    <a:pt x="132" y="558"/>
                  </a:lnTo>
                  <a:lnTo>
                    <a:pt x="133" y="557"/>
                  </a:lnTo>
                  <a:lnTo>
                    <a:pt x="134" y="557"/>
                  </a:lnTo>
                  <a:lnTo>
                    <a:pt x="135" y="557"/>
                  </a:lnTo>
                  <a:lnTo>
                    <a:pt x="135" y="555"/>
                  </a:lnTo>
                  <a:lnTo>
                    <a:pt x="136" y="560"/>
                  </a:lnTo>
                  <a:lnTo>
                    <a:pt x="136" y="561"/>
                  </a:lnTo>
                  <a:lnTo>
                    <a:pt x="138" y="561"/>
                  </a:lnTo>
                  <a:lnTo>
                    <a:pt x="138" y="555"/>
                  </a:lnTo>
                  <a:lnTo>
                    <a:pt x="139" y="555"/>
                  </a:lnTo>
                  <a:lnTo>
                    <a:pt x="139" y="558"/>
                  </a:lnTo>
                  <a:lnTo>
                    <a:pt x="139" y="559"/>
                  </a:lnTo>
                  <a:lnTo>
                    <a:pt x="140" y="559"/>
                  </a:lnTo>
                  <a:lnTo>
                    <a:pt x="140" y="560"/>
                  </a:lnTo>
                  <a:lnTo>
                    <a:pt x="141" y="561"/>
                  </a:lnTo>
                  <a:lnTo>
                    <a:pt x="141" y="563"/>
                  </a:lnTo>
                  <a:lnTo>
                    <a:pt x="141" y="565"/>
                  </a:lnTo>
                  <a:lnTo>
                    <a:pt x="142" y="565"/>
                  </a:lnTo>
                  <a:lnTo>
                    <a:pt x="142" y="566"/>
                  </a:lnTo>
                  <a:lnTo>
                    <a:pt x="144" y="567"/>
                  </a:lnTo>
                  <a:lnTo>
                    <a:pt x="145" y="567"/>
                  </a:lnTo>
                  <a:lnTo>
                    <a:pt x="145" y="566"/>
                  </a:lnTo>
                  <a:lnTo>
                    <a:pt x="146" y="566"/>
                  </a:lnTo>
                  <a:lnTo>
                    <a:pt x="146" y="565"/>
                  </a:lnTo>
                  <a:lnTo>
                    <a:pt x="146" y="564"/>
                  </a:lnTo>
                  <a:lnTo>
                    <a:pt x="146" y="563"/>
                  </a:lnTo>
                  <a:lnTo>
                    <a:pt x="147" y="561"/>
                  </a:lnTo>
                  <a:lnTo>
                    <a:pt x="147" y="560"/>
                  </a:lnTo>
                  <a:lnTo>
                    <a:pt x="149" y="561"/>
                  </a:lnTo>
                  <a:lnTo>
                    <a:pt x="149" y="560"/>
                  </a:lnTo>
                  <a:lnTo>
                    <a:pt x="149" y="559"/>
                  </a:lnTo>
                  <a:lnTo>
                    <a:pt x="149" y="558"/>
                  </a:lnTo>
                  <a:lnTo>
                    <a:pt x="149" y="557"/>
                  </a:lnTo>
                  <a:lnTo>
                    <a:pt x="150" y="557"/>
                  </a:lnTo>
                  <a:lnTo>
                    <a:pt x="151" y="557"/>
                  </a:lnTo>
                  <a:lnTo>
                    <a:pt x="151" y="558"/>
                  </a:lnTo>
                  <a:lnTo>
                    <a:pt x="152" y="559"/>
                  </a:lnTo>
                  <a:lnTo>
                    <a:pt x="152" y="558"/>
                  </a:lnTo>
                  <a:lnTo>
                    <a:pt x="153" y="559"/>
                  </a:lnTo>
                  <a:lnTo>
                    <a:pt x="153" y="560"/>
                  </a:lnTo>
                  <a:lnTo>
                    <a:pt x="153" y="561"/>
                  </a:lnTo>
                  <a:lnTo>
                    <a:pt x="152" y="563"/>
                  </a:lnTo>
                  <a:lnTo>
                    <a:pt x="153" y="564"/>
                  </a:lnTo>
                  <a:lnTo>
                    <a:pt x="152" y="565"/>
                  </a:lnTo>
                  <a:lnTo>
                    <a:pt x="152" y="566"/>
                  </a:lnTo>
                  <a:lnTo>
                    <a:pt x="152" y="567"/>
                  </a:lnTo>
                  <a:lnTo>
                    <a:pt x="153" y="567"/>
                  </a:lnTo>
                  <a:lnTo>
                    <a:pt x="153" y="566"/>
                  </a:lnTo>
                  <a:lnTo>
                    <a:pt x="155" y="566"/>
                  </a:lnTo>
                  <a:lnTo>
                    <a:pt x="156" y="565"/>
                  </a:lnTo>
                  <a:lnTo>
                    <a:pt x="157" y="565"/>
                  </a:lnTo>
                  <a:lnTo>
                    <a:pt x="158" y="565"/>
                  </a:lnTo>
                  <a:lnTo>
                    <a:pt x="159" y="565"/>
                  </a:lnTo>
                  <a:lnTo>
                    <a:pt x="159" y="566"/>
                  </a:lnTo>
                  <a:lnTo>
                    <a:pt x="161" y="566"/>
                  </a:lnTo>
                  <a:lnTo>
                    <a:pt x="162" y="565"/>
                  </a:lnTo>
                  <a:lnTo>
                    <a:pt x="162" y="563"/>
                  </a:lnTo>
                  <a:lnTo>
                    <a:pt x="162" y="561"/>
                  </a:lnTo>
                  <a:lnTo>
                    <a:pt x="163" y="563"/>
                  </a:lnTo>
                  <a:lnTo>
                    <a:pt x="164" y="563"/>
                  </a:lnTo>
                  <a:lnTo>
                    <a:pt x="163" y="564"/>
                  </a:lnTo>
                  <a:lnTo>
                    <a:pt x="163" y="565"/>
                  </a:lnTo>
                  <a:lnTo>
                    <a:pt x="163" y="566"/>
                  </a:lnTo>
                  <a:lnTo>
                    <a:pt x="164" y="566"/>
                  </a:lnTo>
                  <a:lnTo>
                    <a:pt x="165" y="566"/>
                  </a:lnTo>
                  <a:lnTo>
                    <a:pt x="167" y="566"/>
                  </a:lnTo>
                  <a:lnTo>
                    <a:pt x="168" y="565"/>
                  </a:lnTo>
                  <a:lnTo>
                    <a:pt x="168" y="564"/>
                  </a:lnTo>
                  <a:lnTo>
                    <a:pt x="169" y="564"/>
                  </a:lnTo>
                  <a:lnTo>
                    <a:pt x="170" y="563"/>
                  </a:lnTo>
                  <a:lnTo>
                    <a:pt x="171" y="564"/>
                  </a:lnTo>
                  <a:lnTo>
                    <a:pt x="171" y="565"/>
                  </a:lnTo>
                  <a:lnTo>
                    <a:pt x="173" y="565"/>
                  </a:lnTo>
                  <a:lnTo>
                    <a:pt x="173" y="566"/>
                  </a:lnTo>
                  <a:lnTo>
                    <a:pt x="174" y="567"/>
                  </a:lnTo>
                  <a:lnTo>
                    <a:pt x="173" y="567"/>
                  </a:lnTo>
                  <a:lnTo>
                    <a:pt x="170" y="567"/>
                  </a:lnTo>
                  <a:lnTo>
                    <a:pt x="170" y="569"/>
                  </a:lnTo>
                  <a:lnTo>
                    <a:pt x="169" y="569"/>
                  </a:lnTo>
                  <a:lnTo>
                    <a:pt x="168" y="569"/>
                  </a:lnTo>
                  <a:lnTo>
                    <a:pt x="167" y="569"/>
                  </a:lnTo>
                  <a:lnTo>
                    <a:pt x="167" y="566"/>
                  </a:lnTo>
                  <a:lnTo>
                    <a:pt x="165" y="567"/>
                  </a:lnTo>
                  <a:lnTo>
                    <a:pt x="164" y="567"/>
                  </a:lnTo>
                  <a:lnTo>
                    <a:pt x="163" y="567"/>
                  </a:lnTo>
                  <a:lnTo>
                    <a:pt x="162" y="567"/>
                  </a:lnTo>
                  <a:lnTo>
                    <a:pt x="161" y="569"/>
                  </a:lnTo>
                  <a:lnTo>
                    <a:pt x="159" y="569"/>
                  </a:lnTo>
                  <a:lnTo>
                    <a:pt x="158" y="569"/>
                  </a:lnTo>
                  <a:lnTo>
                    <a:pt x="157" y="569"/>
                  </a:lnTo>
                  <a:lnTo>
                    <a:pt x="151" y="569"/>
                  </a:lnTo>
                  <a:lnTo>
                    <a:pt x="150" y="570"/>
                  </a:lnTo>
                  <a:lnTo>
                    <a:pt x="151" y="570"/>
                  </a:lnTo>
                  <a:lnTo>
                    <a:pt x="153" y="570"/>
                  </a:lnTo>
                  <a:lnTo>
                    <a:pt x="153" y="571"/>
                  </a:lnTo>
                  <a:lnTo>
                    <a:pt x="155" y="571"/>
                  </a:lnTo>
                  <a:lnTo>
                    <a:pt x="156" y="571"/>
                  </a:lnTo>
                  <a:lnTo>
                    <a:pt x="156" y="572"/>
                  </a:lnTo>
                  <a:lnTo>
                    <a:pt x="155" y="573"/>
                  </a:lnTo>
                  <a:lnTo>
                    <a:pt x="153" y="575"/>
                  </a:lnTo>
                  <a:lnTo>
                    <a:pt x="153" y="576"/>
                  </a:lnTo>
                  <a:lnTo>
                    <a:pt x="155" y="576"/>
                  </a:lnTo>
                  <a:lnTo>
                    <a:pt x="156" y="575"/>
                  </a:lnTo>
                  <a:lnTo>
                    <a:pt x="157" y="573"/>
                  </a:lnTo>
                  <a:lnTo>
                    <a:pt x="157" y="572"/>
                  </a:lnTo>
                  <a:lnTo>
                    <a:pt x="158" y="571"/>
                  </a:lnTo>
                  <a:lnTo>
                    <a:pt x="159" y="571"/>
                  </a:lnTo>
                  <a:lnTo>
                    <a:pt x="159" y="572"/>
                  </a:lnTo>
                  <a:lnTo>
                    <a:pt x="159" y="573"/>
                  </a:lnTo>
                  <a:lnTo>
                    <a:pt x="158" y="575"/>
                  </a:lnTo>
                  <a:lnTo>
                    <a:pt x="159" y="575"/>
                  </a:lnTo>
                  <a:lnTo>
                    <a:pt x="161" y="575"/>
                  </a:lnTo>
                  <a:lnTo>
                    <a:pt x="161" y="572"/>
                  </a:lnTo>
                  <a:lnTo>
                    <a:pt x="162" y="571"/>
                  </a:lnTo>
                  <a:lnTo>
                    <a:pt x="162" y="572"/>
                  </a:lnTo>
                  <a:lnTo>
                    <a:pt x="163" y="572"/>
                  </a:lnTo>
                  <a:lnTo>
                    <a:pt x="163" y="571"/>
                  </a:lnTo>
                  <a:lnTo>
                    <a:pt x="164" y="571"/>
                  </a:lnTo>
                  <a:lnTo>
                    <a:pt x="164" y="570"/>
                  </a:lnTo>
                  <a:lnTo>
                    <a:pt x="165" y="570"/>
                  </a:lnTo>
                  <a:lnTo>
                    <a:pt x="165" y="571"/>
                  </a:lnTo>
                  <a:lnTo>
                    <a:pt x="164" y="572"/>
                  </a:lnTo>
                  <a:lnTo>
                    <a:pt x="164" y="573"/>
                  </a:lnTo>
                  <a:lnTo>
                    <a:pt x="164" y="575"/>
                  </a:lnTo>
                  <a:lnTo>
                    <a:pt x="164" y="576"/>
                  </a:lnTo>
                  <a:lnTo>
                    <a:pt x="163" y="577"/>
                  </a:lnTo>
                  <a:lnTo>
                    <a:pt x="163" y="578"/>
                  </a:lnTo>
                  <a:lnTo>
                    <a:pt x="163" y="579"/>
                  </a:lnTo>
                  <a:lnTo>
                    <a:pt x="164" y="579"/>
                  </a:lnTo>
                  <a:lnTo>
                    <a:pt x="165" y="578"/>
                  </a:lnTo>
                  <a:lnTo>
                    <a:pt x="167" y="577"/>
                  </a:lnTo>
                  <a:lnTo>
                    <a:pt x="167" y="576"/>
                  </a:lnTo>
                  <a:lnTo>
                    <a:pt x="167" y="575"/>
                  </a:lnTo>
                  <a:lnTo>
                    <a:pt x="168" y="573"/>
                  </a:lnTo>
                  <a:lnTo>
                    <a:pt x="168" y="572"/>
                  </a:lnTo>
                  <a:lnTo>
                    <a:pt x="169" y="572"/>
                  </a:lnTo>
                  <a:lnTo>
                    <a:pt x="169" y="571"/>
                  </a:lnTo>
                  <a:lnTo>
                    <a:pt x="170" y="571"/>
                  </a:lnTo>
                  <a:lnTo>
                    <a:pt x="171" y="572"/>
                  </a:lnTo>
                  <a:lnTo>
                    <a:pt x="170" y="575"/>
                  </a:lnTo>
                  <a:lnTo>
                    <a:pt x="170" y="576"/>
                  </a:lnTo>
                  <a:lnTo>
                    <a:pt x="170" y="577"/>
                  </a:lnTo>
                  <a:lnTo>
                    <a:pt x="171" y="576"/>
                  </a:lnTo>
                  <a:lnTo>
                    <a:pt x="171" y="575"/>
                  </a:lnTo>
                  <a:lnTo>
                    <a:pt x="173" y="573"/>
                  </a:lnTo>
                  <a:lnTo>
                    <a:pt x="174" y="572"/>
                  </a:lnTo>
                  <a:lnTo>
                    <a:pt x="175" y="572"/>
                  </a:lnTo>
                  <a:lnTo>
                    <a:pt x="175" y="573"/>
                  </a:lnTo>
                  <a:lnTo>
                    <a:pt x="174" y="575"/>
                  </a:lnTo>
                  <a:lnTo>
                    <a:pt x="174" y="576"/>
                  </a:lnTo>
                  <a:lnTo>
                    <a:pt x="174" y="577"/>
                  </a:lnTo>
                  <a:lnTo>
                    <a:pt x="174" y="578"/>
                  </a:lnTo>
                  <a:lnTo>
                    <a:pt x="175" y="578"/>
                  </a:lnTo>
                  <a:lnTo>
                    <a:pt x="175" y="579"/>
                  </a:lnTo>
                  <a:lnTo>
                    <a:pt x="174" y="581"/>
                  </a:lnTo>
                  <a:lnTo>
                    <a:pt x="175" y="582"/>
                  </a:lnTo>
                  <a:lnTo>
                    <a:pt x="176" y="581"/>
                  </a:lnTo>
                  <a:lnTo>
                    <a:pt x="176" y="579"/>
                  </a:lnTo>
                  <a:lnTo>
                    <a:pt x="177" y="578"/>
                  </a:lnTo>
                  <a:lnTo>
                    <a:pt x="177" y="577"/>
                  </a:lnTo>
                  <a:lnTo>
                    <a:pt x="177" y="576"/>
                  </a:lnTo>
                  <a:lnTo>
                    <a:pt x="179" y="577"/>
                  </a:lnTo>
                  <a:lnTo>
                    <a:pt x="179" y="578"/>
                  </a:lnTo>
                  <a:lnTo>
                    <a:pt x="180" y="578"/>
                  </a:lnTo>
                  <a:lnTo>
                    <a:pt x="180" y="577"/>
                  </a:lnTo>
                  <a:lnTo>
                    <a:pt x="180" y="576"/>
                  </a:lnTo>
                  <a:lnTo>
                    <a:pt x="180" y="575"/>
                  </a:lnTo>
                  <a:lnTo>
                    <a:pt x="180" y="573"/>
                  </a:lnTo>
                  <a:lnTo>
                    <a:pt x="181" y="572"/>
                  </a:lnTo>
                  <a:lnTo>
                    <a:pt x="181" y="570"/>
                  </a:lnTo>
                  <a:lnTo>
                    <a:pt x="181" y="569"/>
                  </a:lnTo>
                  <a:lnTo>
                    <a:pt x="181" y="565"/>
                  </a:lnTo>
                  <a:lnTo>
                    <a:pt x="180" y="564"/>
                  </a:lnTo>
                  <a:lnTo>
                    <a:pt x="179" y="561"/>
                  </a:lnTo>
                  <a:lnTo>
                    <a:pt x="180" y="561"/>
                  </a:lnTo>
                  <a:lnTo>
                    <a:pt x="180" y="563"/>
                  </a:lnTo>
                  <a:lnTo>
                    <a:pt x="181" y="565"/>
                  </a:lnTo>
                  <a:lnTo>
                    <a:pt x="181" y="566"/>
                  </a:lnTo>
                  <a:lnTo>
                    <a:pt x="182" y="567"/>
                  </a:lnTo>
                  <a:lnTo>
                    <a:pt x="182" y="569"/>
                  </a:lnTo>
                  <a:lnTo>
                    <a:pt x="183" y="570"/>
                  </a:lnTo>
                  <a:lnTo>
                    <a:pt x="182" y="572"/>
                  </a:lnTo>
                  <a:lnTo>
                    <a:pt x="182" y="573"/>
                  </a:lnTo>
                  <a:lnTo>
                    <a:pt x="182" y="576"/>
                  </a:lnTo>
                  <a:lnTo>
                    <a:pt x="182" y="577"/>
                  </a:lnTo>
                  <a:lnTo>
                    <a:pt x="181" y="578"/>
                  </a:lnTo>
                  <a:lnTo>
                    <a:pt x="181" y="579"/>
                  </a:lnTo>
                  <a:lnTo>
                    <a:pt x="181" y="581"/>
                  </a:lnTo>
                  <a:lnTo>
                    <a:pt x="181" y="582"/>
                  </a:lnTo>
                  <a:lnTo>
                    <a:pt x="182" y="583"/>
                  </a:lnTo>
                  <a:lnTo>
                    <a:pt x="183" y="583"/>
                  </a:lnTo>
                  <a:lnTo>
                    <a:pt x="185" y="582"/>
                  </a:lnTo>
                  <a:lnTo>
                    <a:pt x="185" y="581"/>
                  </a:lnTo>
                  <a:lnTo>
                    <a:pt x="185" y="579"/>
                  </a:lnTo>
                  <a:lnTo>
                    <a:pt x="185" y="578"/>
                  </a:lnTo>
                  <a:lnTo>
                    <a:pt x="186" y="578"/>
                  </a:lnTo>
                  <a:lnTo>
                    <a:pt x="186" y="579"/>
                  </a:lnTo>
                  <a:lnTo>
                    <a:pt x="186" y="581"/>
                  </a:lnTo>
                  <a:lnTo>
                    <a:pt x="186" y="582"/>
                  </a:lnTo>
                  <a:lnTo>
                    <a:pt x="187" y="582"/>
                  </a:lnTo>
                  <a:lnTo>
                    <a:pt x="188" y="582"/>
                  </a:lnTo>
                  <a:lnTo>
                    <a:pt x="188" y="581"/>
                  </a:lnTo>
                  <a:lnTo>
                    <a:pt x="189" y="581"/>
                  </a:lnTo>
                  <a:lnTo>
                    <a:pt x="189" y="579"/>
                  </a:lnTo>
                  <a:lnTo>
                    <a:pt x="191" y="581"/>
                  </a:lnTo>
                  <a:lnTo>
                    <a:pt x="192" y="581"/>
                  </a:lnTo>
                  <a:lnTo>
                    <a:pt x="192" y="582"/>
                  </a:lnTo>
                  <a:lnTo>
                    <a:pt x="192" y="583"/>
                  </a:lnTo>
                  <a:lnTo>
                    <a:pt x="193" y="583"/>
                  </a:lnTo>
                  <a:lnTo>
                    <a:pt x="194" y="583"/>
                  </a:lnTo>
                  <a:lnTo>
                    <a:pt x="194" y="584"/>
                  </a:lnTo>
                  <a:lnTo>
                    <a:pt x="193" y="585"/>
                  </a:lnTo>
                  <a:lnTo>
                    <a:pt x="193" y="587"/>
                  </a:lnTo>
                  <a:lnTo>
                    <a:pt x="191" y="588"/>
                  </a:lnTo>
                  <a:lnTo>
                    <a:pt x="191" y="589"/>
                  </a:lnTo>
                  <a:lnTo>
                    <a:pt x="191" y="590"/>
                  </a:lnTo>
                  <a:lnTo>
                    <a:pt x="192" y="590"/>
                  </a:lnTo>
                  <a:lnTo>
                    <a:pt x="193" y="590"/>
                  </a:lnTo>
                  <a:lnTo>
                    <a:pt x="194" y="589"/>
                  </a:lnTo>
                  <a:lnTo>
                    <a:pt x="195" y="588"/>
                  </a:lnTo>
                  <a:lnTo>
                    <a:pt x="197" y="588"/>
                  </a:lnTo>
                  <a:lnTo>
                    <a:pt x="197" y="587"/>
                  </a:lnTo>
                  <a:lnTo>
                    <a:pt x="198" y="585"/>
                  </a:lnTo>
                  <a:lnTo>
                    <a:pt x="199" y="585"/>
                  </a:lnTo>
                  <a:lnTo>
                    <a:pt x="199" y="587"/>
                  </a:lnTo>
                  <a:lnTo>
                    <a:pt x="200" y="588"/>
                  </a:lnTo>
                  <a:lnTo>
                    <a:pt x="200" y="589"/>
                  </a:lnTo>
                  <a:lnTo>
                    <a:pt x="200" y="590"/>
                  </a:lnTo>
                  <a:lnTo>
                    <a:pt x="199" y="591"/>
                  </a:lnTo>
                  <a:lnTo>
                    <a:pt x="199" y="593"/>
                  </a:lnTo>
                  <a:lnTo>
                    <a:pt x="199" y="594"/>
                  </a:lnTo>
                  <a:lnTo>
                    <a:pt x="197" y="594"/>
                  </a:lnTo>
                  <a:lnTo>
                    <a:pt x="195" y="594"/>
                  </a:lnTo>
                  <a:lnTo>
                    <a:pt x="193" y="594"/>
                  </a:lnTo>
                  <a:lnTo>
                    <a:pt x="192" y="594"/>
                  </a:lnTo>
                  <a:lnTo>
                    <a:pt x="191" y="594"/>
                  </a:lnTo>
                  <a:lnTo>
                    <a:pt x="191" y="595"/>
                  </a:lnTo>
                  <a:lnTo>
                    <a:pt x="189" y="595"/>
                  </a:lnTo>
                  <a:lnTo>
                    <a:pt x="188" y="595"/>
                  </a:lnTo>
                  <a:lnTo>
                    <a:pt x="186" y="595"/>
                  </a:lnTo>
                  <a:lnTo>
                    <a:pt x="183" y="595"/>
                  </a:lnTo>
                  <a:lnTo>
                    <a:pt x="182" y="595"/>
                  </a:lnTo>
                  <a:lnTo>
                    <a:pt x="182" y="596"/>
                  </a:lnTo>
                  <a:lnTo>
                    <a:pt x="181" y="596"/>
                  </a:lnTo>
                  <a:lnTo>
                    <a:pt x="180" y="598"/>
                  </a:lnTo>
                  <a:lnTo>
                    <a:pt x="179" y="598"/>
                  </a:lnTo>
                  <a:lnTo>
                    <a:pt x="177" y="598"/>
                  </a:lnTo>
                  <a:lnTo>
                    <a:pt x="176" y="598"/>
                  </a:lnTo>
                  <a:lnTo>
                    <a:pt x="175" y="598"/>
                  </a:lnTo>
                  <a:lnTo>
                    <a:pt x="174" y="598"/>
                  </a:lnTo>
                  <a:lnTo>
                    <a:pt x="173" y="599"/>
                  </a:lnTo>
                  <a:lnTo>
                    <a:pt x="171" y="599"/>
                  </a:lnTo>
                  <a:lnTo>
                    <a:pt x="171" y="600"/>
                  </a:lnTo>
                  <a:lnTo>
                    <a:pt x="170" y="599"/>
                  </a:lnTo>
                  <a:lnTo>
                    <a:pt x="169" y="599"/>
                  </a:lnTo>
                  <a:lnTo>
                    <a:pt x="168" y="599"/>
                  </a:lnTo>
                  <a:lnTo>
                    <a:pt x="161" y="600"/>
                  </a:lnTo>
                  <a:lnTo>
                    <a:pt x="159" y="599"/>
                  </a:lnTo>
                  <a:lnTo>
                    <a:pt x="158" y="599"/>
                  </a:lnTo>
                  <a:lnTo>
                    <a:pt x="157" y="600"/>
                  </a:lnTo>
                  <a:lnTo>
                    <a:pt x="155" y="600"/>
                  </a:lnTo>
                  <a:lnTo>
                    <a:pt x="153" y="600"/>
                  </a:lnTo>
                  <a:lnTo>
                    <a:pt x="151" y="600"/>
                  </a:lnTo>
                  <a:lnTo>
                    <a:pt x="150" y="600"/>
                  </a:lnTo>
                  <a:lnTo>
                    <a:pt x="149" y="600"/>
                  </a:lnTo>
                  <a:lnTo>
                    <a:pt x="147" y="600"/>
                  </a:lnTo>
                  <a:lnTo>
                    <a:pt x="145" y="600"/>
                  </a:lnTo>
                  <a:lnTo>
                    <a:pt x="145" y="601"/>
                  </a:lnTo>
                  <a:lnTo>
                    <a:pt x="142" y="600"/>
                  </a:lnTo>
                  <a:lnTo>
                    <a:pt x="141" y="600"/>
                  </a:lnTo>
                  <a:lnTo>
                    <a:pt x="141" y="599"/>
                  </a:lnTo>
                  <a:lnTo>
                    <a:pt x="142" y="599"/>
                  </a:lnTo>
                  <a:lnTo>
                    <a:pt x="142" y="598"/>
                  </a:lnTo>
                  <a:lnTo>
                    <a:pt x="141" y="598"/>
                  </a:lnTo>
                  <a:lnTo>
                    <a:pt x="140" y="598"/>
                  </a:lnTo>
                  <a:lnTo>
                    <a:pt x="140" y="599"/>
                  </a:lnTo>
                  <a:lnTo>
                    <a:pt x="139" y="600"/>
                  </a:lnTo>
                  <a:lnTo>
                    <a:pt x="136" y="600"/>
                  </a:lnTo>
                  <a:lnTo>
                    <a:pt x="138" y="600"/>
                  </a:lnTo>
                  <a:lnTo>
                    <a:pt x="138" y="601"/>
                  </a:lnTo>
                  <a:lnTo>
                    <a:pt x="136" y="602"/>
                  </a:lnTo>
                  <a:lnTo>
                    <a:pt x="135" y="602"/>
                  </a:lnTo>
                  <a:lnTo>
                    <a:pt x="134" y="604"/>
                  </a:lnTo>
                  <a:lnTo>
                    <a:pt x="133" y="604"/>
                  </a:lnTo>
                  <a:lnTo>
                    <a:pt x="133" y="602"/>
                  </a:lnTo>
                  <a:lnTo>
                    <a:pt x="130" y="602"/>
                  </a:lnTo>
                  <a:lnTo>
                    <a:pt x="129" y="604"/>
                  </a:lnTo>
                  <a:lnTo>
                    <a:pt x="129" y="602"/>
                  </a:lnTo>
                  <a:lnTo>
                    <a:pt x="128" y="601"/>
                  </a:lnTo>
                  <a:lnTo>
                    <a:pt x="127" y="601"/>
                  </a:lnTo>
                  <a:lnTo>
                    <a:pt x="127" y="602"/>
                  </a:lnTo>
                  <a:lnTo>
                    <a:pt x="128" y="602"/>
                  </a:lnTo>
                  <a:lnTo>
                    <a:pt x="128" y="604"/>
                  </a:lnTo>
                  <a:lnTo>
                    <a:pt x="127" y="605"/>
                  </a:lnTo>
                  <a:lnTo>
                    <a:pt x="126" y="605"/>
                  </a:lnTo>
                  <a:lnTo>
                    <a:pt x="126" y="606"/>
                  </a:lnTo>
                  <a:lnTo>
                    <a:pt x="124" y="606"/>
                  </a:lnTo>
                  <a:lnTo>
                    <a:pt x="123" y="606"/>
                  </a:lnTo>
                  <a:lnTo>
                    <a:pt x="123" y="605"/>
                  </a:lnTo>
                  <a:lnTo>
                    <a:pt x="122" y="605"/>
                  </a:lnTo>
                  <a:lnTo>
                    <a:pt x="121" y="606"/>
                  </a:lnTo>
                  <a:lnTo>
                    <a:pt x="120" y="606"/>
                  </a:lnTo>
                  <a:lnTo>
                    <a:pt x="117" y="605"/>
                  </a:lnTo>
                  <a:lnTo>
                    <a:pt x="115" y="606"/>
                  </a:lnTo>
                  <a:lnTo>
                    <a:pt x="112" y="606"/>
                  </a:lnTo>
                  <a:lnTo>
                    <a:pt x="111" y="606"/>
                  </a:lnTo>
                  <a:lnTo>
                    <a:pt x="106" y="605"/>
                  </a:lnTo>
                  <a:lnTo>
                    <a:pt x="105" y="606"/>
                  </a:lnTo>
                  <a:lnTo>
                    <a:pt x="106" y="606"/>
                  </a:lnTo>
                  <a:lnTo>
                    <a:pt x="106" y="607"/>
                  </a:lnTo>
                  <a:lnTo>
                    <a:pt x="108" y="607"/>
                  </a:lnTo>
                  <a:lnTo>
                    <a:pt x="111" y="607"/>
                  </a:lnTo>
                  <a:lnTo>
                    <a:pt x="114" y="607"/>
                  </a:lnTo>
                  <a:lnTo>
                    <a:pt x="115" y="607"/>
                  </a:lnTo>
                  <a:lnTo>
                    <a:pt x="116" y="607"/>
                  </a:lnTo>
                  <a:lnTo>
                    <a:pt x="116" y="608"/>
                  </a:lnTo>
                  <a:lnTo>
                    <a:pt x="115" y="610"/>
                  </a:lnTo>
                  <a:lnTo>
                    <a:pt x="115" y="611"/>
                  </a:lnTo>
                  <a:lnTo>
                    <a:pt x="115" y="613"/>
                  </a:lnTo>
                  <a:lnTo>
                    <a:pt x="116" y="612"/>
                  </a:lnTo>
                  <a:lnTo>
                    <a:pt x="116" y="611"/>
                  </a:lnTo>
                  <a:lnTo>
                    <a:pt x="117" y="611"/>
                  </a:lnTo>
                  <a:lnTo>
                    <a:pt x="117" y="610"/>
                  </a:lnTo>
                  <a:lnTo>
                    <a:pt x="118" y="608"/>
                  </a:lnTo>
                  <a:lnTo>
                    <a:pt x="120" y="607"/>
                  </a:lnTo>
                  <a:lnTo>
                    <a:pt x="121" y="608"/>
                  </a:lnTo>
                  <a:lnTo>
                    <a:pt x="122" y="608"/>
                  </a:lnTo>
                  <a:lnTo>
                    <a:pt x="121" y="610"/>
                  </a:lnTo>
                  <a:lnTo>
                    <a:pt x="121" y="611"/>
                  </a:lnTo>
                  <a:lnTo>
                    <a:pt x="121" y="612"/>
                  </a:lnTo>
                  <a:lnTo>
                    <a:pt x="122" y="613"/>
                  </a:lnTo>
                  <a:lnTo>
                    <a:pt x="122" y="612"/>
                  </a:lnTo>
                  <a:lnTo>
                    <a:pt x="123" y="611"/>
                  </a:lnTo>
                  <a:lnTo>
                    <a:pt x="123" y="610"/>
                  </a:lnTo>
                  <a:lnTo>
                    <a:pt x="124" y="608"/>
                  </a:lnTo>
                  <a:lnTo>
                    <a:pt x="126" y="607"/>
                  </a:lnTo>
                  <a:lnTo>
                    <a:pt x="127" y="607"/>
                  </a:lnTo>
                  <a:lnTo>
                    <a:pt x="127" y="608"/>
                  </a:lnTo>
                  <a:lnTo>
                    <a:pt x="127" y="610"/>
                  </a:lnTo>
                  <a:lnTo>
                    <a:pt x="127" y="612"/>
                  </a:lnTo>
                  <a:lnTo>
                    <a:pt x="127" y="613"/>
                  </a:lnTo>
                  <a:lnTo>
                    <a:pt x="126" y="614"/>
                  </a:lnTo>
                  <a:lnTo>
                    <a:pt x="127" y="616"/>
                  </a:lnTo>
                  <a:lnTo>
                    <a:pt x="127" y="617"/>
                  </a:lnTo>
                  <a:lnTo>
                    <a:pt x="127" y="618"/>
                  </a:lnTo>
                  <a:lnTo>
                    <a:pt x="127" y="619"/>
                  </a:lnTo>
                  <a:lnTo>
                    <a:pt x="127" y="620"/>
                  </a:lnTo>
                  <a:lnTo>
                    <a:pt x="126" y="622"/>
                  </a:lnTo>
                  <a:lnTo>
                    <a:pt x="127" y="622"/>
                  </a:lnTo>
                  <a:lnTo>
                    <a:pt x="128" y="622"/>
                  </a:lnTo>
                  <a:lnTo>
                    <a:pt x="127" y="623"/>
                  </a:lnTo>
                  <a:lnTo>
                    <a:pt x="127" y="624"/>
                  </a:lnTo>
                  <a:lnTo>
                    <a:pt x="126" y="624"/>
                  </a:lnTo>
                  <a:lnTo>
                    <a:pt x="124" y="623"/>
                  </a:lnTo>
                  <a:lnTo>
                    <a:pt x="123" y="623"/>
                  </a:lnTo>
                  <a:lnTo>
                    <a:pt x="122" y="624"/>
                  </a:lnTo>
                  <a:lnTo>
                    <a:pt x="121" y="624"/>
                  </a:lnTo>
                  <a:lnTo>
                    <a:pt x="120" y="623"/>
                  </a:lnTo>
                  <a:lnTo>
                    <a:pt x="117" y="623"/>
                  </a:lnTo>
                  <a:lnTo>
                    <a:pt x="116" y="623"/>
                  </a:lnTo>
                  <a:lnTo>
                    <a:pt x="115" y="622"/>
                  </a:lnTo>
                  <a:lnTo>
                    <a:pt x="114" y="622"/>
                  </a:lnTo>
                  <a:lnTo>
                    <a:pt x="112" y="620"/>
                  </a:lnTo>
                  <a:lnTo>
                    <a:pt x="111" y="620"/>
                  </a:lnTo>
                  <a:lnTo>
                    <a:pt x="110" y="620"/>
                  </a:lnTo>
                  <a:lnTo>
                    <a:pt x="108" y="620"/>
                  </a:lnTo>
                  <a:lnTo>
                    <a:pt x="106" y="620"/>
                  </a:lnTo>
                  <a:lnTo>
                    <a:pt x="105" y="620"/>
                  </a:lnTo>
                  <a:lnTo>
                    <a:pt x="104" y="619"/>
                  </a:lnTo>
                  <a:lnTo>
                    <a:pt x="103" y="619"/>
                  </a:lnTo>
                  <a:lnTo>
                    <a:pt x="102" y="619"/>
                  </a:lnTo>
                  <a:lnTo>
                    <a:pt x="102" y="620"/>
                  </a:lnTo>
                  <a:lnTo>
                    <a:pt x="99" y="620"/>
                  </a:lnTo>
                  <a:lnTo>
                    <a:pt x="97" y="620"/>
                  </a:lnTo>
                  <a:lnTo>
                    <a:pt x="96" y="620"/>
                  </a:lnTo>
                  <a:lnTo>
                    <a:pt x="94" y="620"/>
                  </a:lnTo>
                  <a:lnTo>
                    <a:pt x="93" y="619"/>
                  </a:lnTo>
                  <a:lnTo>
                    <a:pt x="92" y="618"/>
                  </a:lnTo>
                  <a:lnTo>
                    <a:pt x="90" y="617"/>
                  </a:lnTo>
                  <a:lnTo>
                    <a:pt x="88" y="617"/>
                  </a:lnTo>
                  <a:lnTo>
                    <a:pt x="87" y="617"/>
                  </a:lnTo>
                  <a:lnTo>
                    <a:pt x="88" y="618"/>
                  </a:lnTo>
                  <a:lnTo>
                    <a:pt x="90" y="619"/>
                  </a:lnTo>
                  <a:lnTo>
                    <a:pt x="91" y="619"/>
                  </a:lnTo>
                  <a:lnTo>
                    <a:pt x="92" y="620"/>
                  </a:lnTo>
                  <a:lnTo>
                    <a:pt x="93" y="620"/>
                  </a:lnTo>
                  <a:lnTo>
                    <a:pt x="93" y="622"/>
                  </a:lnTo>
                  <a:lnTo>
                    <a:pt x="92" y="623"/>
                  </a:lnTo>
                  <a:lnTo>
                    <a:pt x="91" y="623"/>
                  </a:lnTo>
                  <a:lnTo>
                    <a:pt x="90" y="623"/>
                  </a:lnTo>
                  <a:lnTo>
                    <a:pt x="87" y="623"/>
                  </a:lnTo>
                  <a:lnTo>
                    <a:pt x="86" y="623"/>
                  </a:lnTo>
                  <a:lnTo>
                    <a:pt x="85" y="624"/>
                  </a:lnTo>
                  <a:lnTo>
                    <a:pt x="83" y="624"/>
                  </a:lnTo>
                  <a:lnTo>
                    <a:pt x="83" y="625"/>
                  </a:lnTo>
                  <a:lnTo>
                    <a:pt x="86" y="625"/>
                  </a:lnTo>
                  <a:lnTo>
                    <a:pt x="88" y="625"/>
                  </a:lnTo>
                  <a:lnTo>
                    <a:pt x="87" y="626"/>
                  </a:lnTo>
                  <a:lnTo>
                    <a:pt x="86" y="626"/>
                  </a:lnTo>
                  <a:lnTo>
                    <a:pt x="85" y="628"/>
                  </a:lnTo>
                  <a:lnTo>
                    <a:pt x="83" y="628"/>
                  </a:lnTo>
                  <a:lnTo>
                    <a:pt x="82" y="629"/>
                  </a:lnTo>
                  <a:lnTo>
                    <a:pt x="81" y="629"/>
                  </a:lnTo>
                  <a:lnTo>
                    <a:pt x="80" y="628"/>
                  </a:lnTo>
                  <a:lnTo>
                    <a:pt x="79" y="628"/>
                  </a:lnTo>
                  <a:lnTo>
                    <a:pt x="77" y="628"/>
                  </a:lnTo>
                  <a:lnTo>
                    <a:pt x="76" y="628"/>
                  </a:lnTo>
                  <a:lnTo>
                    <a:pt x="76" y="629"/>
                  </a:lnTo>
                  <a:lnTo>
                    <a:pt x="77" y="629"/>
                  </a:lnTo>
                  <a:lnTo>
                    <a:pt x="79" y="629"/>
                  </a:lnTo>
                  <a:lnTo>
                    <a:pt x="79" y="630"/>
                  </a:lnTo>
                  <a:lnTo>
                    <a:pt x="73" y="630"/>
                  </a:lnTo>
                  <a:lnTo>
                    <a:pt x="73" y="631"/>
                  </a:lnTo>
                  <a:lnTo>
                    <a:pt x="74" y="631"/>
                  </a:lnTo>
                  <a:lnTo>
                    <a:pt x="76" y="631"/>
                  </a:lnTo>
                  <a:lnTo>
                    <a:pt x="77" y="631"/>
                  </a:lnTo>
                  <a:lnTo>
                    <a:pt x="79" y="631"/>
                  </a:lnTo>
                  <a:lnTo>
                    <a:pt x="79" y="632"/>
                  </a:lnTo>
                  <a:lnTo>
                    <a:pt x="80" y="632"/>
                  </a:lnTo>
                  <a:lnTo>
                    <a:pt x="81" y="631"/>
                  </a:lnTo>
                  <a:lnTo>
                    <a:pt x="82" y="631"/>
                  </a:lnTo>
                  <a:lnTo>
                    <a:pt x="82" y="630"/>
                  </a:lnTo>
                  <a:lnTo>
                    <a:pt x="83" y="631"/>
                  </a:lnTo>
                  <a:lnTo>
                    <a:pt x="83" y="632"/>
                  </a:lnTo>
                  <a:lnTo>
                    <a:pt x="82" y="636"/>
                  </a:lnTo>
                  <a:lnTo>
                    <a:pt x="82" y="640"/>
                  </a:lnTo>
                  <a:lnTo>
                    <a:pt x="83" y="641"/>
                  </a:lnTo>
                  <a:lnTo>
                    <a:pt x="85" y="641"/>
                  </a:lnTo>
                  <a:lnTo>
                    <a:pt x="86" y="640"/>
                  </a:lnTo>
                  <a:lnTo>
                    <a:pt x="86" y="637"/>
                  </a:lnTo>
                  <a:lnTo>
                    <a:pt x="87" y="640"/>
                  </a:lnTo>
                  <a:lnTo>
                    <a:pt x="86" y="641"/>
                  </a:lnTo>
                  <a:lnTo>
                    <a:pt x="87" y="642"/>
                  </a:lnTo>
                  <a:lnTo>
                    <a:pt x="88" y="641"/>
                  </a:lnTo>
                  <a:lnTo>
                    <a:pt x="88" y="638"/>
                  </a:lnTo>
                  <a:lnTo>
                    <a:pt x="88" y="635"/>
                  </a:lnTo>
                  <a:lnTo>
                    <a:pt x="88" y="632"/>
                  </a:lnTo>
                  <a:lnTo>
                    <a:pt x="88" y="630"/>
                  </a:lnTo>
                  <a:lnTo>
                    <a:pt x="90" y="629"/>
                  </a:lnTo>
                  <a:lnTo>
                    <a:pt x="91" y="628"/>
                  </a:lnTo>
                  <a:lnTo>
                    <a:pt x="92" y="628"/>
                  </a:lnTo>
                  <a:lnTo>
                    <a:pt x="93" y="628"/>
                  </a:lnTo>
                  <a:lnTo>
                    <a:pt x="92" y="629"/>
                  </a:lnTo>
                  <a:lnTo>
                    <a:pt x="92" y="630"/>
                  </a:lnTo>
                  <a:lnTo>
                    <a:pt x="91" y="631"/>
                  </a:lnTo>
                  <a:lnTo>
                    <a:pt x="90" y="632"/>
                  </a:lnTo>
                  <a:lnTo>
                    <a:pt x="90" y="634"/>
                  </a:lnTo>
                  <a:lnTo>
                    <a:pt x="90" y="636"/>
                  </a:lnTo>
                  <a:lnTo>
                    <a:pt x="90" y="637"/>
                  </a:lnTo>
                  <a:lnTo>
                    <a:pt x="90" y="640"/>
                  </a:lnTo>
                  <a:lnTo>
                    <a:pt x="90" y="641"/>
                  </a:lnTo>
                  <a:lnTo>
                    <a:pt x="90" y="642"/>
                  </a:lnTo>
                  <a:lnTo>
                    <a:pt x="91" y="647"/>
                  </a:lnTo>
                  <a:lnTo>
                    <a:pt x="91" y="648"/>
                  </a:lnTo>
                  <a:lnTo>
                    <a:pt x="92" y="647"/>
                  </a:lnTo>
                  <a:lnTo>
                    <a:pt x="92" y="646"/>
                  </a:lnTo>
                  <a:lnTo>
                    <a:pt x="92" y="635"/>
                  </a:lnTo>
                  <a:lnTo>
                    <a:pt x="93" y="635"/>
                  </a:lnTo>
                  <a:lnTo>
                    <a:pt x="93" y="636"/>
                  </a:lnTo>
                  <a:lnTo>
                    <a:pt x="93" y="637"/>
                  </a:lnTo>
                  <a:lnTo>
                    <a:pt x="93" y="638"/>
                  </a:lnTo>
                  <a:lnTo>
                    <a:pt x="94" y="638"/>
                  </a:lnTo>
                  <a:lnTo>
                    <a:pt x="94" y="640"/>
                  </a:lnTo>
                  <a:lnTo>
                    <a:pt x="93" y="640"/>
                  </a:lnTo>
                  <a:lnTo>
                    <a:pt x="93" y="641"/>
                  </a:lnTo>
                  <a:lnTo>
                    <a:pt x="93" y="642"/>
                  </a:lnTo>
                  <a:lnTo>
                    <a:pt x="94" y="642"/>
                  </a:lnTo>
                  <a:lnTo>
                    <a:pt x="93" y="643"/>
                  </a:lnTo>
                  <a:lnTo>
                    <a:pt x="93" y="644"/>
                  </a:lnTo>
                  <a:lnTo>
                    <a:pt x="94" y="646"/>
                  </a:lnTo>
                  <a:lnTo>
                    <a:pt x="94" y="650"/>
                  </a:lnTo>
                  <a:lnTo>
                    <a:pt x="94" y="652"/>
                  </a:lnTo>
                  <a:lnTo>
                    <a:pt x="96" y="652"/>
                  </a:lnTo>
                  <a:lnTo>
                    <a:pt x="96" y="653"/>
                  </a:lnTo>
                  <a:lnTo>
                    <a:pt x="96" y="652"/>
                  </a:lnTo>
                  <a:lnTo>
                    <a:pt x="96" y="650"/>
                  </a:lnTo>
                  <a:lnTo>
                    <a:pt x="96" y="640"/>
                  </a:lnTo>
                  <a:lnTo>
                    <a:pt x="97" y="640"/>
                  </a:lnTo>
                  <a:lnTo>
                    <a:pt x="97" y="638"/>
                  </a:lnTo>
                  <a:lnTo>
                    <a:pt x="98" y="638"/>
                  </a:lnTo>
                  <a:lnTo>
                    <a:pt x="98" y="641"/>
                  </a:lnTo>
                  <a:lnTo>
                    <a:pt x="98" y="642"/>
                  </a:lnTo>
                  <a:lnTo>
                    <a:pt x="99" y="642"/>
                  </a:lnTo>
                  <a:lnTo>
                    <a:pt x="100" y="642"/>
                  </a:lnTo>
                  <a:lnTo>
                    <a:pt x="100" y="641"/>
                  </a:lnTo>
                  <a:lnTo>
                    <a:pt x="100" y="640"/>
                  </a:lnTo>
                  <a:lnTo>
                    <a:pt x="102" y="638"/>
                  </a:lnTo>
                  <a:lnTo>
                    <a:pt x="103" y="638"/>
                  </a:lnTo>
                  <a:lnTo>
                    <a:pt x="104" y="638"/>
                  </a:lnTo>
                  <a:lnTo>
                    <a:pt x="104" y="640"/>
                  </a:lnTo>
                  <a:lnTo>
                    <a:pt x="106" y="640"/>
                  </a:lnTo>
                  <a:lnTo>
                    <a:pt x="105" y="638"/>
                  </a:lnTo>
                  <a:lnTo>
                    <a:pt x="105" y="637"/>
                  </a:lnTo>
                  <a:lnTo>
                    <a:pt x="105" y="636"/>
                  </a:lnTo>
                  <a:lnTo>
                    <a:pt x="105" y="635"/>
                  </a:lnTo>
                  <a:lnTo>
                    <a:pt x="105" y="634"/>
                  </a:lnTo>
                  <a:lnTo>
                    <a:pt x="105" y="632"/>
                  </a:lnTo>
                  <a:lnTo>
                    <a:pt x="106" y="632"/>
                  </a:lnTo>
                  <a:lnTo>
                    <a:pt x="106" y="634"/>
                  </a:lnTo>
                  <a:lnTo>
                    <a:pt x="108" y="634"/>
                  </a:lnTo>
                  <a:lnTo>
                    <a:pt x="109" y="634"/>
                  </a:lnTo>
                  <a:lnTo>
                    <a:pt x="109" y="635"/>
                  </a:lnTo>
                  <a:lnTo>
                    <a:pt x="109" y="636"/>
                  </a:lnTo>
                  <a:lnTo>
                    <a:pt x="108" y="637"/>
                  </a:lnTo>
                  <a:lnTo>
                    <a:pt x="108" y="638"/>
                  </a:lnTo>
                  <a:lnTo>
                    <a:pt x="108" y="640"/>
                  </a:lnTo>
                  <a:lnTo>
                    <a:pt x="108" y="641"/>
                  </a:lnTo>
                  <a:lnTo>
                    <a:pt x="105" y="642"/>
                  </a:lnTo>
                  <a:lnTo>
                    <a:pt x="105" y="643"/>
                  </a:lnTo>
                  <a:lnTo>
                    <a:pt x="106" y="643"/>
                  </a:lnTo>
                  <a:lnTo>
                    <a:pt x="108" y="642"/>
                  </a:lnTo>
                  <a:lnTo>
                    <a:pt x="108" y="643"/>
                  </a:lnTo>
                  <a:lnTo>
                    <a:pt x="108" y="644"/>
                  </a:lnTo>
                  <a:lnTo>
                    <a:pt x="109" y="646"/>
                  </a:lnTo>
                  <a:lnTo>
                    <a:pt x="108" y="647"/>
                  </a:lnTo>
                  <a:lnTo>
                    <a:pt x="108" y="648"/>
                  </a:lnTo>
                  <a:lnTo>
                    <a:pt x="109" y="648"/>
                  </a:lnTo>
                  <a:lnTo>
                    <a:pt x="110" y="647"/>
                  </a:lnTo>
                  <a:lnTo>
                    <a:pt x="110" y="646"/>
                  </a:lnTo>
                  <a:lnTo>
                    <a:pt x="110" y="644"/>
                  </a:lnTo>
                  <a:lnTo>
                    <a:pt x="111" y="644"/>
                  </a:lnTo>
                  <a:lnTo>
                    <a:pt x="112" y="644"/>
                  </a:lnTo>
                  <a:lnTo>
                    <a:pt x="112" y="647"/>
                  </a:lnTo>
                  <a:lnTo>
                    <a:pt x="112" y="648"/>
                  </a:lnTo>
                  <a:lnTo>
                    <a:pt x="111" y="649"/>
                  </a:lnTo>
                  <a:lnTo>
                    <a:pt x="110" y="650"/>
                  </a:lnTo>
                  <a:lnTo>
                    <a:pt x="110" y="652"/>
                  </a:lnTo>
                  <a:lnTo>
                    <a:pt x="110" y="653"/>
                  </a:lnTo>
                  <a:lnTo>
                    <a:pt x="109" y="654"/>
                  </a:lnTo>
                  <a:lnTo>
                    <a:pt x="110" y="656"/>
                  </a:lnTo>
                  <a:lnTo>
                    <a:pt x="111" y="658"/>
                  </a:lnTo>
                  <a:lnTo>
                    <a:pt x="110" y="658"/>
                  </a:lnTo>
                  <a:lnTo>
                    <a:pt x="109" y="658"/>
                  </a:lnTo>
                  <a:lnTo>
                    <a:pt x="108" y="659"/>
                  </a:lnTo>
                  <a:lnTo>
                    <a:pt x="106" y="660"/>
                  </a:lnTo>
                  <a:lnTo>
                    <a:pt x="105" y="661"/>
                  </a:lnTo>
                  <a:lnTo>
                    <a:pt x="104" y="662"/>
                  </a:lnTo>
                  <a:lnTo>
                    <a:pt x="103" y="664"/>
                  </a:lnTo>
                  <a:lnTo>
                    <a:pt x="102" y="664"/>
                  </a:lnTo>
                  <a:lnTo>
                    <a:pt x="102" y="665"/>
                  </a:lnTo>
                  <a:lnTo>
                    <a:pt x="100" y="666"/>
                  </a:lnTo>
                  <a:lnTo>
                    <a:pt x="100" y="667"/>
                  </a:lnTo>
                  <a:lnTo>
                    <a:pt x="99" y="667"/>
                  </a:lnTo>
                  <a:lnTo>
                    <a:pt x="96" y="667"/>
                  </a:lnTo>
                  <a:lnTo>
                    <a:pt x="94" y="667"/>
                  </a:lnTo>
                  <a:lnTo>
                    <a:pt x="93" y="668"/>
                  </a:lnTo>
                  <a:lnTo>
                    <a:pt x="92" y="670"/>
                  </a:lnTo>
                  <a:lnTo>
                    <a:pt x="90" y="671"/>
                  </a:lnTo>
                  <a:lnTo>
                    <a:pt x="88" y="670"/>
                  </a:lnTo>
                  <a:lnTo>
                    <a:pt x="87" y="670"/>
                  </a:lnTo>
                  <a:lnTo>
                    <a:pt x="86" y="668"/>
                  </a:lnTo>
                  <a:lnTo>
                    <a:pt x="85" y="668"/>
                  </a:lnTo>
                  <a:lnTo>
                    <a:pt x="82" y="668"/>
                  </a:lnTo>
                  <a:lnTo>
                    <a:pt x="83" y="668"/>
                  </a:lnTo>
                  <a:lnTo>
                    <a:pt x="85" y="670"/>
                  </a:lnTo>
                  <a:lnTo>
                    <a:pt x="85" y="671"/>
                  </a:lnTo>
                  <a:lnTo>
                    <a:pt x="83" y="671"/>
                  </a:lnTo>
                  <a:lnTo>
                    <a:pt x="82" y="671"/>
                  </a:lnTo>
                  <a:lnTo>
                    <a:pt x="81" y="672"/>
                  </a:lnTo>
                  <a:lnTo>
                    <a:pt x="80" y="672"/>
                  </a:lnTo>
                  <a:lnTo>
                    <a:pt x="81" y="673"/>
                  </a:lnTo>
                  <a:lnTo>
                    <a:pt x="82" y="673"/>
                  </a:lnTo>
                  <a:lnTo>
                    <a:pt x="83" y="672"/>
                  </a:lnTo>
                  <a:lnTo>
                    <a:pt x="85" y="672"/>
                  </a:lnTo>
                  <a:lnTo>
                    <a:pt x="86" y="672"/>
                  </a:lnTo>
                  <a:lnTo>
                    <a:pt x="86" y="673"/>
                  </a:lnTo>
                  <a:lnTo>
                    <a:pt x="86" y="674"/>
                  </a:lnTo>
                  <a:lnTo>
                    <a:pt x="85" y="676"/>
                  </a:lnTo>
                  <a:lnTo>
                    <a:pt x="85" y="677"/>
                  </a:lnTo>
                  <a:lnTo>
                    <a:pt x="86" y="676"/>
                  </a:lnTo>
                  <a:lnTo>
                    <a:pt x="87" y="674"/>
                  </a:lnTo>
                  <a:lnTo>
                    <a:pt x="87" y="673"/>
                  </a:lnTo>
                  <a:lnTo>
                    <a:pt x="88" y="673"/>
                  </a:lnTo>
                  <a:lnTo>
                    <a:pt x="90" y="673"/>
                  </a:lnTo>
                  <a:lnTo>
                    <a:pt x="90" y="676"/>
                  </a:lnTo>
                  <a:lnTo>
                    <a:pt x="90" y="677"/>
                  </a:lnTo>
                  <a:lnTo>
                    <a:pt x="91" y="676"/>
                  </a:lnTo>
                  <a:lnTo>
                    <a:pt x="91" y="674"/>
                  </a:lnTo>
                  <a:lnTo>
                    <a:pt x="91" y="673"/>
                  </a:lnTo>
                  <a:lnTo>
                    <a:pt x="91" y="671"/>
                  </a:lnTo>
                  <a:lnTo>
                    <a:pt x="92" y="671"/>
                  </a:lnTo>
                  <a:lnTo>
                    <a:pt x="92" y="672"/>
                  </a:lnTo>
                  <a:lnTo>
                    <a:pt x="92" y="673"/>
                  </a:lnTo>
                  <a:lnTo>
                    <a:pt x="92" y="676"/>
                  </a:lnTo>
                  <a:lnTo>
                    <a:pt x="92" y="677"/>
                  </a:lnTo>
                  <a:lnTo>
                    <a:pt x="93" y="678"/>
                  </a:lnTo>
                  <a:lnTo>
                    <a:pt x="92" y="680"/>
                  </a:lnTo>
                  <a:lnTo>
                    <a:pt x="91" y="682"/>
                  </a:lnTo>
                  <a:lnTo>
                    <a:pt x="88" y="682"/>
                  </a:lnTo>
                  <a:lnTo>
                    <a:pt x="85" y="682"/>
                  </a:lnTo>
                  <a:lnTo>
                    <a:pt x="83" y="680"/>
                  </a:lnTo>
                  <a:lnTo>
                    <a:pt x="82" y="679"/>
                  </a:lnTo>
                  <a:lnTo>
                    <a:pt x="81" y="679"/>
                  </a:lnTo>
                  <a:lnTo>
                    <a:pt x="81" y="680"/>
                  </a:lnTo>
                  <a:lnTo>
                    <a:pt x="80" y="680"/>
                  </a:lnTo>
                  <a:lnTo>
                    <a:pt x="79" y="679"/>
                  </a:lnTo>
                  <a:lnTo>
                    <a:pt x="79" y="678"/>
                  </a:lnTo>
                  <a:lnTo>
                    <a:pt x="79" y="679"/>
                  </a:lnTo>
                  <a:lnTo>
                    <a:pt x="79" y="680"/>
                  </a:lnTo>
                  <a:lnTo>
                    <a:pt x="77" y="679"/>
                  </a:lnTo>
                  <a:lnTo>
                    <a:pt x="76" y="678"/>
                  </a:lnTo>
                  <a:lnTo>
                    <a:pt x="76" y="677"/>
                  </a:lnTo>
                  <a:lnTo>
                    <a:pt x="75" y="678"/>
                  </a:lnTo>
                  <a:lnTo>
                    <a:pt x="75" y="679"/>
                  </a:lnTo>
                  <a:lnTo>
                    <a:pt x="73" y="679"/>
                  </a:lnTo>
                  <a:lnTo>
                    <a:pt x="70" y="678"/>
                  </a:lnTo>
                  <a:lnTo>
                    <a:pt x="69" y="678"/>
                  </a:lnTo>
                  <a:lnTo>
                    <a:pt x="69" y="679"/>
                  </a:lnTo>
                  <a:lnTo>
                    <a:pt x="70" y="679"/>
                  </a:lnTo>
                  <a:lnTo>
                    <a:pt x="71" y="679"/>
                  </a:lnTo>
                  <a:lnTo>
                    <a:pt x="73" y="680"/>
                  </a:lnTo>
                  <a:lnTo>
                    <a:pt x="73" y="682"/>
                  </a:lnTo>
                  <a:lnTo>
                    <a:pt x="73" y="683"/>
                  </a:lnTo>
                  <a:lnTo>
                    <a:pt x="74" y="683"/>
                  </a:lnTo>
                  <a:lnTo>
                    <a:pt x="75" y="683"/>
                  </a:lnTo>
                  <a:lnTo>
                    <a:pt x="76" y="684"/>
                  </a:lnTo>
                  <a:lnTo>
                    <a:pt x="76" y="683"/>
                  </a:lnTo>
                  <a:lnTo>
                    <a:pt x="77" y="682"/>
                  </a:lnTo>
                  <a:lnTo>
                    <a:pt x="79" y="682"/>
                  </a:lnTo>
                  <a:lnTo>
                    <a:pt x="79" y="683"/>
                  </a:lnTo>
                  <a:lnTo>
                    <a:pt x="77" y="683"/>
                  </a:lnTo>
                  <a:lnTo>
                    <a:pt x="77" y="684"/>
                  </a:lnTo>
                  <a:lnTo>
                    <a:pt x="77" y="685"/>
                  </a:lnTo>
                  <a:lnTo>
                    <a:pt x="79" y="684"/>
                  </a:lnTo>
                  <a:lnTo>
                    <a:pt x="80" y="685"/>
                  </a:lnTo>
                  <a:lnTo>
                    <a:pt x="79" y="685"/>
                  </a:lnTo>
                  <a:lnTo>
                    <a:pt x="79" y="688"/>
                  </a:lnTo>
                  <a:lnTo>
                    <a:pt x="80" y="688"/>
                  </a:lnTo>
                  <a:lnTo>
                    <a:pt x="80" y="686"/>
                  </a:lnTo>
                  <a:lnTo>
                    <a:pt x="80" y="685"/>
                  </a:lnTo>
                  <a:lnTo>
                    <a:pt x="80" y="684"/>
                  </a:lnTo>
                  <a:lnTo>
                    <a:pt x="80" y="683"/>
                  </a:lnTo>
                  <a:lnTo>
                    <a:pt x="82" y="683"/>
                  </a:lnTo>
                  <a:lnTo>
                    <a:pt x="83" y="683"/>
                  </a:lnTo>
                  <a:lnTo>
                    <a:pt x="82" y="685"/>
                  </a:lnTo>
                  <a:lnTo>
                    <a:pt x="81" y="685"/>
                  </a:lnTo>
                  <a:lnTo>
                    <a:pt x="81" y="686"/>
                  </a:lnTo>
                  <a:lnTo>
                    <a:pt x="81" y="688"/>
                  </a:lnTo>
                  <a:lnTo>
                    <a:pt x="82" y="688"/>
                  </a:lnTo>
                  <a:lnTo>
                    <a:pt x="82" y="686"/>
                  </a:lnTo>
                  <a:lnTo>
                    <a:pt x="83" y="686"/>
                  </a:lnTo>
                  <a:lnTo>
                    <a:pt x="83" y="685"/>
                  </a:lnTo>
                  <a:lnTo>
                    <a:pt x="85" y="684"/>
                  </a:lnTo>
                  <a:lnTo>
                    <a:pt x="87" y="684"/>
                  </a:lnTo>
                  <a:lnTo>
                    <a:pt x="87" y="685"/>
                  </a:lnTo>
                  <a:lnTo>
                    <a:pt x="86" y="685"/>
                  </a:lnTo>
                  <a:lnTo>
                    <a:pt x="86" y="688"/>
                  </a:lnTo>
                  <a:lnTo>
                    <a:pt x="85" y="689"/>
                  </a:lnTo>
                  <a:lnTo>
                    <a:pt x="85" y="690"/>
                  </a:lnTo>
                  <a:lnTo>
                    <a:pt x="85" y="691"/>
                  </a:lnTo>
                  <a:lnTo>
                    <a:pt x="85" y="692"/>
                  </a:lnTo>
                  <a:lnTo>
                    <a:pt x="85" y="694"/>
                  </a:lnTo>
                  <a:lnTo>
                    <a:pt x="83" y="694"/>
                  </a:lnTo>
                  <a:lnTo>
                    <a:pt x="81" y="692"/>
                  </a:lnTo>
                  <a:lnTo>
                    <a:pt x="80" y="691"/>
                  </a:lnTo>
                  <a:lnTo>
                    <a:pt x="80" y="692"/>
                  </a:lnTo>
                  <a:lnTo>
                    <a:pt x="81" y="692"/>
                  </a:lnTo>
                  <a:lnTo>
                    <a:pt x="81" y="694"/>
                  </a:lnTo>
                  <a:lnTo>
                    <a:pt x="82" y="695"/>
                  </a:lnTo>
                  <a:lnTo>
                    <a:pt x="81" y="695"/>
                  </a:lnTo>
                  <a:lnTo>
                    <a:pt x="80" y="696"/>
                  </a:lnTo>
                  <a:lnTo>
                    <a:pt x="77" y="697"/>
                  </a:lnTo>
                  <a:lnTo>
                    <a:pt x="75" y="697"/>
                  </a:lnTo>
                  <a:lnTo>
                    <a:pt x="74" y="698"/>
                  </a:lnTo>
                  <a:lnTo>
                    <a:pt x="75" y="698"/>
                  </a:lnTo>
                  <a:lnTo>
                    <a:pt x="76" y="698"/>
                  </a:lnTo>
                  <a:lnTo>
                    <a:pt x="77" y="698"/>
                  </a:lnTo>
                  <a:lnTo>
                    <a:pt x="79" y="698"/>
                  </a:lnTo>
                  <a:lnTo>
                    <a:pt x="80" y="698"/>
                  </a:lnTo>
                  <a:lnTo>
                    <a:pt x="80" y="697"/>
                  </a:lnTo>
                  <a:lnTo>
                    <a:pt x="81" y="697"/>
                  </a:lnTo>
                  <a:lnTo>
                    <a:pt x="82" y="698"/>
                  </a:lnTo>
                  <a:lnTo>
                    <a:pt x="81" y="698"/>
                  </a:lnTo>
                  <a:lnTo>
                    <a:pt x="80" y="700"/>
                  </a:lnTo>
                  <a:lnTo>
                    <a:pt x="79" y="701"/>
                  </a:lnTo>
                  <a:lnTo>
                    <a:pt x="79" y="702"/>
                  </a:lnTo>
                  <a:lnTo>
                    <a:pt x="77" y="702"/>
                  </a:lnTo>
                  <a:lnTo>
                    <a:pt x="77" y="703"/>
                  </a:lnTo>
                  <a:lnTo>
                    <a:pt x="79" y="703"/>
                  </a:lnTo>
                  <a:lnTo>
                    <a:pt x="80" y="702"/>
                  </a:lnTo>
                  <a:lnTo>
                    <a:pt x="81" y="702"/>
                  </a:lnTo>
                  <a:lnTo>
                    <a:pt x="81" y="705"/>
                  </a:lnTo>
                  <a:lnTo>
                    <a:pt x="81" y="706"/>
                  </a:lnTo>
                  <a:lnTo>
                    <a:pt x="81" y="707"/>
                  </a:lnTo>
                  <a:lnTo>
                    <a:pt x="82" y="706"/>
                  </a:lnTo>
                  <a:lnTo>
                    <a:pt x="82" y="703"/>
                  </a:lnTo>
                  <a:lnTo>
                    <a:pt x="83" y="702"/>
                  </a:lnTo>
                  <a:lnTo>
                    <a:pt x="83" y="701"/>
                  </a:lnTo>
                  <a:lnTo>
                    <a:pt x="85" y="700"/>
                  </a:lnTo>
                  <a:lnTo>
                    <a:pt x="86" y="701"/>
                  </a:lnTo>
                  <a:lnTo>
                    <a:pt x="86" y="702"/>
                  </a:lnTo>
                  <a:lnTo>
                    <a:pt x="85" y="703"/>
                  </a:lnTo>
                  <a:lnTo>
                    <a:pt x="85" y="705"/>
                  </a:lnTo>
                  <a:lnTo>
                    <a:pt x="86" y="705"/>
                  </a:lnTo>
                  <a:lnTo>
                    <a:pt x="87" y="705"/>
                  </a:lnTo>
                  <a:lnTo>
                    <a:pt x="87" y="714"/>
                  </a:lnTo>
                  <a:lnTo>
                    <a:pt x="87" y="715"/>
                  </a:lnTo>
                  <a:lnTo>
                    <a:pt x="88" y="717"/>
                  </a:lnTo>
                  <a:lnTo>
                    <a:pt x="90" y="717"/>
                  </a:lnTo>
                  <a:lnTo>
                    <a:pt x="90" y="715"/>
                  </a:lnTo>
                  <a:lnTo>
                    <a:pt x="90" y="714"/>
                  </a:lnTo>
                  <a:lnTo>
                    <a:pt x="91" y="711"/>
                  </a:lnTo>
                  <a:lnTo>
                    <a:pt x="91" y="713"/>
                  </a:lnTo>
                  <a:lnTo>
                    <a:pt x="92" y="714"/>
                  </a:lnTo>
                  <a:lnTo>
                    <a:pt x="92" y="712"/>
                  </a:lnTo>
                  <a:lnTo>
                    <a:pt x="93" y="711"/>
                  </a:lnTo>
                  <a:lnTo>
                    <a:pt x="93" y="709"/>
                  </a:lnTo>
                  <a:lnTo>
                    <a:pt x="94" y="708"/>
                  </a:lnTo>
                  <a:lnTo>
                    <a:pt x="96" y="707"/>
                  </a:lnTo>
                  <a:lnTo>
                    <a:pt x="97" y="708"/>
                  </a:lnTo>
                  <a:lnTo>
                    <a:pt x="98" y="709"/>
                  </a:lnTo>
                  <a:lnTo>
                    <a:pt x="99" y="708"/>
                  </a:lnTo>
                  <a:lnTo>
                    <a:pt x="100" y="708"/>
                  </a:lnTo>
                  <a:lnTo>
                    <a:pt x="100" y="711"/>
                  </a:lnTo>
                  <a:lnTo>
                    <a:pt x="102" y="712"/>
                  </a:lnTo>
                  <a:lnTo>
                    <a:pt x="103" y="713"/>
                  </a:lnTo>
                  <a:lnTo>
                    <a:pt x="102" y="714"/>
                  </a:lnTo>
                  <a:lnTo>
                    <a:pt x="100" y="715"/>
                  </a:lnTo>
                  <a:lnTo>
                    <a:pt x="100" y="717"/>
                  </a:lnTo>
                  <a:lnTo>
                    <a:pt x="100" y="718"/>
                  </a:lnTo>
                  <a:lnTo>
                    <a:pt x="99" y="718"/>
                  </a:lnTo>
                  <a:lnTo>
                    <a:pt x="99" y="719"/>
                  </a:lnTo>
                  <a:lnTo>
                    <a:pt x="99" y="720"/>
                  </a:lnTo>
                  <a:lnTo>
                    <a:pt x="100" y="720"/>
                  </a:lnTo>
                  <a:lnTo>
                    <a:pt x="100" y="719"/>
                  </a:lnTo>
                  <a:lnTo>
                    <a:pt x="102" y="719"/>
                  </a:lnTo>
                  <a:lnTo>
                    <a:pt x="102" y="718"/>
                  </a:lnTo>
                  <a:lnTo>
                    <a:pt x="102" y="717"/>
                  </a:lnTo>
                  <a:lnTo>
                    <a:pt x="103" y="717"/>
                  </a:lnTo>
                  <a:lnTo>
                    <a:pt x="103" y="719"/>
                  </a:lnTo>
                  <a:lnTo>
                    <a:pt x="103" y="720"/>
                  </a:lnTo>
                  <a:lnTo>
                    <a:pt x="104" y="720"/>
                  </a:lnTo>
                  <a:lnTo>
                    <a:pt x="105" y="718"/>
                  </a:lnTo>
                  <a:lnTo>
                    <a:pt x="105" y="717"/>
                  </a:lnTo>
                  <a:lnTo>
                    <a:pt x="106" y="715"/>
                  </a:lnTo>
                  <a:lnTo>
                    <a:pt x="106" y="717"/>
                  </a:lnTo>
                  <a:lnTo>
                    <a:pt x="108" y="715"/>
                  </a:lnTo>
                  <a:lnTo>
                    <a:pt x="108" y="713"/>
                  </a:lnTo>
                  <a:lnTo>
                    <a:pt x="109" y="713"/>
                  </a:lnTo>
                  <a:lnTo>
                    <a:pt x="109" y="714"/>
                  </a:lnTo>
                  <a:lnTo>
                    <a:pt x="110" y="714"/>
                  </a:lnTo>
                  <a:lnTo>
                    <a:pt x="111" y="714"/>
                  </a:lnTo>
                  <a:lnTo>
                    <a:pt x="111" y="715"/>
                  </a:lnTo>
                  <a:lnTo>
                    <a:pt x="112" y="717"/>
                  </a:lnTo>
                  <a:lnTo>
                    <a:pt x="114" y="717"/>
                  </a:lnTo>
                  <a:lnTo>
                    <a:pt x="114" y="718"/>
                  </a:lnTo>
                  <a:lnTo>
                    <a:pt x="114" y="719"/>
                  </a:lnTo>
                  <a:lnTo>
                    <a:pt x="116" y="719"/>
                  </a:lnTo>
                  <a:lnTo>
                    <a:pt x="115" y="718"/>
                  </a:lnTo>
                  <a:lnTo>
                    <a:pt x="116" y="714"/>
                  </a:lnTo>
                  <a:lnTo>
                    <a:pt x="117" y="715"/>
                  </a:lnTo>
                  <a:lnTo>
                    <a:pt x="118" y="717"/>
                  </a:lnTo>
                  <a:lnTo>
                    <a:pt x="120" y="717"/>
                  </a:lnTo>
                  <a:lnTo>
                    <a:pt x="118" y="718"/>
                  </a:lnTo>
                  <a:lnTo>
                    <a:pt x="118" y="720"/>
                  </a:lnTo>
                  <a:lnTo>
                    <a:pt x="117" y="721"/>
                  </a:lnTo>
                  <a:lnTo>
                    <a:pt x="117" y="723"/>
                  </a:lnTo>
                  <a:lnTo>
                    <a:pt x="118" y="723"/>
                  </a:lnTo>
                  <a:lnTo>
                    <a:pt x="120" y="721"/>
                  </a:lnTo>
                  <a:lnTo>
                    <a:pt x="121" y="721"/>
                  </a:lnTo>
                  <a:lnTo>
                    <a:pt x="122" y="723"/>
                  </a:lnTo>
                  <a:lnTo>
                    <a:pt x="124" y="725"/>
                  </a:lnTo>
                  <a:lnTo>
                    <a:pt x="124" y="726"/>
                  </a:lnTo>
                  <a:lnTo>
                    <a:pt x="126" y="727"/>
                  </a:lnTo>
                  <a:lnTo>
                    <a:pt x="126" y="730"/>
                  </a:lnTo>
                  <a:lnTo>
                    <a:pt x="124" y="731"/>
                  </a:lnTo>
                  <a:lnTo>
                    <a:pt x="123" y="731"/>
                  </a:lnTo>
                  <a:lnTo>
                    <a:pt x="121" y="732"/>
                  </a:lnTo>
                  <a:lnTo>
                    <a:pt x="120" y="731"/>
                  </a:lnTo>
                  <a:lnTo>
                    <a:pt x="118" y="731"/>
                  </a:lnTo>
                  <a:lnTo>
                    <a:pt x="117" y="732"/>
                  </a:lnTo>
                  <a:lnTo>
                    <a:pt x="116" y="732"/>
                  </a:lnTo>
                  <a:lnTo>
                    <a:pt x="114" y="732"/>
                  </a:lnTo>
                  <a:lnTo>
                    <a:pt x="112" y="731"/>
                  </a:lnTo>
                  <a:lnTo>
                    <a:pt x="111" y="730"/>
                  </a:lnTo>
                  <a:lnTo>
                    <a:pt x="109" y="730"/>
                  </a:lnTo>
                  <a:lnTo>
                    <a:pt x="108" y="730"/>
                  </a:lnTo>
                  <a:lnTo>
                    <a:pt x="104" y="730"/>
                  </a:lnTo>
                  <a:lnTo>
                    <a:pt x="103" y="729"/>
                  </a:lnTo>
                  <a:lnTo>
                    <a:pt x="100" y="729"/>
                  </a:lnTo>
                  <a:lnTo>
                    <a:pt x="100" y="730"/>
                  </a:lnTo>
                  <a:lnTo>
                    <a:pt x="102" y="730"/>
                  </a:lnTo>
                  <a:lnTo>
                    <a:pt x="103" y="730"/>
                  </a:lnTo>
                  <a:lnTo>
                    <a:pt x="104" y="731"/>
                  </a:lnTo>
                  <a:lnTo>
                    <a:pt x="105" y="732"/>
                  </a:lnTo>
                  <a:lnTo>
                    <a:pt x="104" y="733"/>
                  </a:lnTo>
                  <a:lnTo>
                    <a:pt x="104" y="735"/>
                  </a:lnTo>
                  <a:lnTo>
                    <a:pt x="105" y="735"/>
                  </a:lnTo>
                  <a:lnTo>
                    <a:pt x="106" y="735"/>
                  </a:lnTo>
                  <a:lnTo>
                    <a:pt x="108" y="733"/>
                  </a:lnTo>
                  <a:lnTo>
                    <a:pt x="109" y="732"/>
                  </a:lnTo>
                  <a:lnTo>
                    <a:pt x="110" y="732"/>
                  </a:lnTo>
                  <a:lnTo>
                    <a:pt x="112" y="733"/>
                  </a:lnTo>
                  <a:lnTo>
                    <a:pt x="111" y="735"/>
                  </a:lnTo>
                  <a:lnTo>
                    <a:pt x="111" y="736"/>
                  </a:lnTo>
                  <a:lnTo>
                    <a:pt x="110" y="738"/>
                  </a:lnTo>
                  <a:lnTo>
                    <a:pt x="111" y="738"/>
                  </a:lnTo>
                  <a:lnTo>
                    <a:pt x="112" y="738"/>
                  </a:lnTo>
                  <a:lnTo>
                    <a:pt x="114" y="736"/>
                  </a:lnTo>
                  <a:lnTo>
                    <a:pt x="114" y="735"/>
                  </a:lnTo>
                  <a:lnTo>
                    <a:pt x="114" y="733"/>
                  </a:lnTo>
                  <a:lnTo>
                    <a:pt x="115" y="733"/>
                  </a:lnTo>
                  <a:lnTo>
                    <a:pt x="117" y="733"/>
                  </a:lnTo>
                  <a:lnTo>
                    <a:pt x="118" y="733"/>
                  </a:lnTo>
                  <a:lnTo>
                    <a:pt x="117" y="736"/>
                  </a:lnTo>
                  <a:lnTo>
                    <a:pt x="116" y="737"/>
                  </a:lnTo>
                  <a:lnTo>
                    <a:pt x="116" y="739"/>
                  </a:lnTo>
                  <a:lnTo>
                    <a:pt x="116" y="742"/>
                  </a:lnTo>
                  <a:lnTo>
                    <a:pt x="116" y="743"/>
                  </a:lnTo>
                  <a:lnTo>
                    <a:pt x="116" y="744"/>
                  </a:lnTo>
                  <a:lnTo>
                    <a:pt x="116" y="747"/>
                  </a:lnTo>
                  <a:lnTo>
                    <a:pt x="116" y="749"/>
                  </a:lnTo>
                  <a:lnTo>
                    <a:pt x="117" y="750"/>
                  </a:lnTo>
                  <a:lnTo>
                    <a:pt x="118" y="750"/>
                  </a:lnTo>
                  <a:lnTo>
                    <a:pt x="120" y="750"/>
                  </a:lnTo>
                  <a:lnTo>
                    <a:pt x="120" y="749"/>
                  </a:lnTo>
                  <a:lnTo>
                    <a:pt x="120" y="745"/>
                  </a:lnTo>
                  <a:lnTo>
                    <a:pt x="120" y="743"/>
                  </a:lnTo>
                  <a:lnTo>
                    <a:pt x="120" y="741"/>
                  </a:lnTo>
                  <a:lnTo>
                    <a:pt x="120" y="738"/>
                  </a:lnTo>
                  <a:lnTo>
                    <a:pt x="121" y="737"/>
                  </a:lnTo>
                  <a:lnTo>
                    <a:pt x="122" y="736"/>
                  </a:lnTo>
                  <a:lnTo>
                    <a:pt x="122" y="735"/>
                  </a:lnTo>
                  <a:lnTo>
                    <a:pt x="123" y="732"/>
                  </a:lnTo>
                  <a:lnTo>
                    <a:pt x="123" y="735"/>
                  </a:lnTo>
                  <a:lnTo>
                    <a:pt x="122" y="737"/>
                  </a:lnTo>
                  <a:lnTo>
                    <a:pt x="123" y="736"/>
                  </a:lnTo>
                  <a:lnTo>
                    <a:pt x="124" y="735"/>
                  </a:lnTo>
                  <a:lnTo>
                    <a:pt x="124" y="736"/>
                  </a:lnTo>
                  <a:lnTo>
                    <a:pt x="124" y="739"/>
                  </a:lnTo>
                  <a:lnTo>
                    <a:pt x="124" y="742"/>
                  </a:lnTo>
                  <a:lnTo>
                    <a:pt x="123" y="743"/>
                  </a:lnTo>
                  <a:lnTo>
                    <a:pt x="123" y="744"/>
                  </a:lnTo>
                  <a:lnTo>
                    <a:pt x="123" y="747"/>
                  </a:lnTo>
                  <a:lnTo>
                    <a:pt x="124" y="748"/>
                  </a:lnTo>
                  <a:lnTo>
                    <a:pt x="124" y="749"/>
                  </a:lnTo>
                  <a:lnTo>
                    <a:pt x="126" y="749"/>
                  </a:lnTo>
                  <a:lnTo>
                    <a:pt x="126" y="748"/>
                  </a:lnTo>
                  <a:lnTo>
                    <a:pt x="127" y="744"/>
                  </a:lnTo>
                  <a:lnTo>
                    <a:pt x="127" y="741"/>
                  </a:lnTo>
                  <a:lnTo>
                    <a:pt x="127" y="738"/>
                  </a:lnTo>
                  <a:lnTo>
                    <a:pt x="127" y="736"/>
                  </a:lnTo>
                  <a:lnTo>
                    <a:pt x="127" y="733"/>
                  </a:lnTo>
                  <a:lnTo>
                    <a:pt x="128" y="732"/>
                  </a:lnTo>
                  <a:lnTo>
                    <a:pt x="129" y="732"/>
                  </a:lnTo>
                  <a:lnTo>
                    <a:pt x="128" y="735"/>
                  </a:lnTo>
                  <a:lnTo>
                    <a:pt x="127" y="738"/>
                  </a:lnTo>
                  <a:lnTo>
                    <a:pt x="127" y="739"/>
                  </a:lnTo>
                  <a:lnTo>
                    <a:pt x="127" y="742"/>
                  </a:lnTo>
                  <a:lnTo>
                    <a:pt x="128" y="744"/>
                  </a:lnTo>
                  <a:lnTo>
                    <a:pt x="129" y="743"/>
                  </a:lnTo>
                  <a:lnTo>
                    <a:pt x="130" y="743"/>
                  </a:lnTo>
                  <a:lnTo>
                    <a:pt x="129" y="745"/>
                  </a:lnTo>
                  <a:lnTo>
                    <a:pt x="129" y="748"/>
                  </a:lnTo>
                  <a:lnTo>
                    <a:pt x="129" y="750"/>
                  </a:lnTo>
                  <a:lnTo>
                    <a:pt x="129" y="751"/>
                  </a:lnTo>
                  <a:lnTo>
                    <a:pt x="129" y="753"/>
                  </a:lnTo>
                  <a:lnTo>
                    <a:pt x="130" y="753"/>
                  </a:lnTo>
                  <a:lnTo>
                    <a:pt x="130" y="751"/>
                  </a:lnTo>
                  <a:lnTo>
                    <a:pt x="132" y="749"/>
                  </a:lnTo>
                  <a:lnTo>
                    <a:pt x="132" y="748"/>
                  </a:lnTo>
                  <a:lnTo>
                    <a:pt x="133" y="748"/>
                  </a:lnTo>
                  <a:lnTo>
                    <a:pt x="133" y="747"/>
                  </a:lnTo>
                  <a:lnTo>
                    <a:pt x="134" y="747"/>
                  </a:lnTo>
                  <a:lnTo>
                    <a:pt x="134" y="748"/>
                  </a:lnTo>
                  <a:lnTo>
                    <a:pt x="134" y="749"/>
                  </a:lnTo>
                  <a:lnTo>
                    <a:pt x="134" y="750"/>
                  </a:lnTo>
                  <a:lnTo>
                    <a:pt x="134" y="751"/>
                  </a:lnTo>
                  <a:lnTo>
                    <a:pt x="134" y="753"/>
                  </a:lnTo>
                  <a:lnTo>
                    <a:pt x="135" y="754"/>
                  </a:lnTo>
                  <a:lnTo>
                    <a:pt x="135" y="753"/>
                  </a:lnTo>
                  <a:lnTo>
                    <a:pt x="136" y="750"/>
                  </a:lnTo>
                  <a:lnTo>
                    <a:pt x="136" y="748"/>
                  </a:lnTo>
                  <a:lnTo>
                    <a:pt x="136" y="747"/>
                  </a:lnTo>
                  <a:lnTo>
                    <a:pt x="138" y="747"/>
                  </a:lnTo>
                  <a:lnTo>
                    <a:pt x="139" y="745"/>
                  </a:lnTo>
                  <a:lnTo>
                    <a:pt x="140" y="745"/>
                  </a:lnTo>
                  <a:lnTo>
                    <a:pt x="140" y="749"/>
                  </a:lnTo>
                  <a:lnTo>
                    <a:pt x="140" y="751"/>
                  </a:lnTo>
                  <a:lnTo>
                    <a:pt x="141" y="753"/>
                  </a:lnTo>
                  <a:lnTo>
                    <a:pt x="142" y="751"/>
                  </a:lnTo>
                  <a:lnTo>
                    <a:pt x="142" y="749"/>
                  </a:lnTo>
                  <a:lnTo>
                    <a:pt x="144" y="748"/>
                  </a:lnTo>
                  <a:lnTo>
                    <a:pt x="144" y="749"/>
                  </a:lnTo>
                  <a:lnTo>
                    <a:pt x="145" y="751"/>
                  </a:lnTo>
                  <a:lnTo>
                    <a:pt x="146" y="751"/>
                  </a:lnTo>
                  <a:lnTo>
                    <a:pt x="146" y="753"/>
                  </a:lnTo>
                  <a:lnTo>
                    <a:pt x="146" y="754"/>
                  </a:lnTo>
                  <a:lnTo>
                    <a:pt x="146" y="755"/>
                  </a:lnTo>
                  <a:lnTo>
                    <a:pt x="145" y="756"/>
                  </a:lnTo>
                  <a:lnTo>
                    <a:pt x="144" y="757"/>
                  </a:lnTo>
                  <a:lnTo>
                    <a:pt x="144" y="760"/>
                  </a:lnTo>
                  <a:lnTo>
                    <a:pt x="144" y="761"/>
                  </a:lnTo>
                  <a:lnTo>
                    <a:pt x="144" y="762"/>
                  </a:lnTo>
                  <a:lnTo>
                    <a:pt x="145" y="763"/>
                  </a:lnTo>
                  <a:lnTo>
                    <a:pt x="145" y="765"/>
                  </a:lnTo>
                  <a:lnTo>
                    <a:pt x="146" y="765"/>
                  </a:lnTo>
                  <a:lnTo>
                    <a:pt x="146" y="763"/>
                  </a:lnTo>
                  <a:lnTo>
                    <a:pt x="146" y="761"/>
                  </a:lnTo>
                  <a:lnTo>
                    <a:pt x="147" y="759"/>
                  </a:lnTo>
                  <a:lnTo>
                    <a:pt x="149" y="756"/>
                  </a:lnTo>
                  <a:lnTo>
                    <a:pt x="149" y="755"/>
                  </a:lnTo>
                  <a:lnTo>
                    <a:pt x="151" y="755"/>
                  </a:lnTo>
                  <a:lnTo>
                    <a:pt x="152" y="756"/>
                  </a:lnTo>
                  <a:lnTo>
                    <a:pt x="152" y="757"/>
                  </a:lnTo>
                  <a:lnTo>
                    <a:pt x="151" y="760"/>
                  </a:lnTo>
                  <a:lnTo>
                    <a:pt x="151" y="762"/>
                  </a:lnTo>
                  <a:lnTo>
                    <a:pt x="152" y="763"/>
                  </a:lnTo>
                  <a:lnTo>
                    <a:pt x="153" y="765"/>
                  </a:lnTo>
                  <a:lnTo>
                    <a:pt x="155" y="763"/>
                  </a:lnTo>
                  <a:lnTo>
                    <a:pt x="153" y="762"/>
                  </a:lnTo>
                  <a:lnTo>
                    <a:pt x="153" y="760"/>
                  </a:lnTo>
                  <a:lnTo>
                    <a:pt x="155" y="759"/>
                  </a:lnTo>
                  <a:lnTo>
                    <a:pt x="156" y="760"/>
                  </a:lnTo>
                  <a:lnTo>
                    <a:pt x="157" y="760"/>
                  </a:lnTo>
                  <a:lnTo>
                    <a:pt x="157" y="759"/>
                  </a:lnTo>
                  <a:lnTo>
                    <a:pt x="157" y="757"/>
                  </a:lnTo>
                  <a:lnTo>
                    <a:pt x="157" y="756"/>
                  </a:lnTo>
                  <a:lnTo>
                    <a:pt x="158" y="756"/>
                  </a:lnTo>
                  <a:lnTo>
                    <a:pt x="158" y="755"/>
                  </a:lnTo>
                  <a:lnTo>
                    <a:pt x="159" y="753"/>
                  </a:lnTo>
                  <a:lnTo>
                    <a:pt x="159" y="751"/>
                  </a:lnTo>
                  <a:lnTo>
                    <a:pt x="161" y="748"/>
                  </a:lnTo>
                  <a:lnTo>
                    <a:pt x="161" y="747"/>
                  </a:lnTo>
                  <a:lnTo>
                    <a:pt x="161" y="748"/>
                  </a:lnTo>
                  <a:lnTo>
                    <a:pt x="161" y="750"/>
                  </a:lnTo>
                  <a:lnTo>
                    <a:pt x="159" y="754"/>
                  </a:lnTo>
                  <a:lnTo>
                    <a:pt x="159" y="756"/>
                  </a:lnTo>
                  <a:lnTo>
                    <a:pt x="159" y="757"/>
                  </a:lnTo>
                  <a:lnTo>
                    <a:pt x="161" y="755"/>
                  </a:lnTo>
                  <a:lnTo>
                    <a:pt x="161" y="754"/>
                  </a:lnTo>
                  <a:lnTo>
                    <a:pt x="161" y="757"/>
                  </a:lnTo>
                  <a:lnTo>
                    <a:pt x="161" y="759"/>
                  </a:lnTo>
                  <a:lnTo>
                    <a:pt x="161" y="761"/>
                  </a:lnTo>
                  <a:lnTo>
                    <a:pt x="161" y="762"/>
                  </a:lnTo>
                  <a:lnTo>
                    <a:pt x="159" y="765"/>
                  </a:lnTo>
                  <a:lnTo>
                    <a:pt x="159" y="766"/>
                  </a:lnTo>
                  <a:lnTo>
                    <a:pt x="159" y="767"/>
                  </a:lnTo>
                  <a:lnTo>
                    <a:pt x="159" y="768"/>
                  </a:lnTo>
                  <a:lnTo>
                    <a:pt x="161" y="769"/>
                  </a:lnTo>
                  <a:lnTo>
                    <a:pt x="162" y="767"/>
                  </a:lnTo>
                  <a:lnTo>
                    <a:pt x="162" y="766"/>
                  </a:lnTo>
                  <a:lnTo>
                    <a:pt x="162" y="765"/>
                  </a:lnTo>
                  <a:lnTo>
                    <a:pt x="163" y="765"/>
                  </a:lnTo>
                  <a:lnTo>
                    <a:pt x="163" y="766"/>
                  </a:lnTo>
                  <a:lnTo>
                    <a:pt x="164" y="767"/>
                  </a:lnTo>
                  <a:lnTo>
                    <a:pt x="165" y="768"/>
                  </a:lnTo>
                  <a:lnTo>
                    <a:pt x="165" y="769"/>
                  </a:lnTo>
                  <a:lnTo>
                    <a:pt x="167" y="769"/>
                  </a:lnTo>
                  <a:lnTo>
                    <a:pt x="167" y="768"/>
                  </a:lnTo>
                  <a:lnTo>
                    <a:pt x="168" y="767"/>
                  </a:lnTo>
                  <a:lnTo>
                    <a:pt x="168" y="766"/>
                  </a:lnTo>
                  <a:lnTo>
                    <a:pt x="168" y="765"/>
                  </a:lnTo>
                  <a:lnTo>
                    <a:pt x="169" y="763"/>
                  </a:lnTo>
                  <a:lnTo>
                    <a:pt x="170" y="765"/>
                  </a:lnTo>
                  <a:lnTo>
                    <a:pt x="170" y="767"/>
                  </a:lnTo>
                  <a:lnTo>
                    <a:pt x="170" y="772"/>
                  </a:lnTo>
                  <a:lnTo>
                    <a:pt x="171" y="771"/>
                  </a:lnTo>
                  <a:lnTo>
                    <a:pt x="171" y="769"/>
                  </a:lnTo>
                  <a:lnTo>
                    <a:pt x="171" y="766"/>
                  </a:lnTo>
                  <a:lnTo>
                    <a:pt x="173" y="766"/>
                  </a:lnTo>
                  <a:lnTo>
                    <a:pt x="173" y="763"/>
                  </a:lnTo>
                  <a:lnTo>
                    <a:pt x="173" y="762"/>
                  </a:lnTo>
                  <a:lnTo>
                    <a:pt x="174" y="763"/>
                  </a:lnTo>
                  <a:lnTo>
                    <a:pt x="175" y="763"/>
                  </a:lnTo>
                  <a:lnTo>
                    <a:pt x="175" y="762"/>
                  </a:lnTo>
                  <a:lnTo>
                    <a:pt x="175" y="761"/>
                  </a:lnTo>
                  <a:lnTo>
                    <a:pt x="175" y="759"/>
                  </a:lnTo>
                  <a:lnTo>
                    <a:pt x="176" y="757"/>
                  </a:lnTo>
                  <a:lnTo>
                    <a:pt x="176" y="760"/>
                  </a:lnTo>
                  <a:lnTo>
                    <a:pt x="177" y="760"/>
                  </a:lnTo>
                  <a:lnTo>
                    <a:pt x="179" y="761"/>
                  </a:lnTo>
                  <a:lnTo>
                    <a:pt x="179" y="762"/>
                  </a:lnTo>
                  <a:lnTo>
                    <a:pt x="177" y="763"/>
                  </a:lnTo>
                  <a:lnTo>
                    <a:pt x="176" y="765"/>
                  </a:lnTo>
                  <a:lnTo>
                    <a:pt x="177" y="765"/>
                  </a:lnTo>
                  <a:lnTo>
                    <a:pt x="179" y="763"/>
                  </a:lnTo>
                  <a:lnTo>
                    <a:pt x="179" y="766"/>
                  </a:lnTo>
                  <a:lnTo>
                    <a:pt x="179" y="767"/>
                  </a:lnTo>
                  <a:lnTo>
                    <a:pt x="180" y="767"/>
                  </a:lnTo>
                  <a:lnTo>
                    <a:pt x="180" y="765"/>
                  </a:lnTo>
                  <a:lnTo>
                    <a:pt x="180" y="762"/>
                  </a:lnTo>
                  <a:lnTo>
                    <a:pt x="181" y="762"/>
                  </a:lnTo>
                  <a:lnTo>
                    <a:pt x="181" y="761"/>
                  </a:lnTo>
                  <a:lnTo>
                    <a:pt x="181" y="759"/>
                  </a:lnTo>
                  <a:lnTo>
                    <a:pt x="181" y="757"/>
                  </a:lnTo>
                  <a:lnTo>
                    <a:pt x="181" y="756"/>
                  </a:lnTo>
                  <a:lnTo>
                    <a:pt x="182" y="755"/>
                  </a:lnTo>
                  <a:lnTo>
                    <a:pt x="181" y="757"/>
                  </a:lnTo>
                  <a:lnTo>
                    <a:pt x="181" y="759"/>
                  </a:lnTo>
                  <a:lnTo>
                    <a:pt x="182" y="760"/>
                  </a:lnTo>
                  <a:lnTo>
                    <a:pt x="182" y="759"/>
                  </a:lnTo>
                  <a:lnTo>
                    <a:pt x="182" y="760"/>
                  </a:lnTo>
                  <a:lnTo>
                    <a:pt x="182" y="762"/>
                  </a:lnTo>
                  <a:lnTo>
                    <a:pt x="182" y="763"/>
                  </a:lnTo>
                  <a:lnTo>
                    <a:pt x="182" y="765"/>
                  </a:lnTo>
                  <a:lnTo>
                    <a:pt x="183" y="765"/>
                  </a:lnTo>
                  <a:lnTo>
                    <a:pt x="185" y="763"/>
                  </a:lnTo>
                  <a:lnTo>
                    <a:pt x="183" y="762"/>
                  </a:lnTo>
                  <a:lnTo>
                    <a:pt x="183" y="761"/>
                  </a:lnTo>
                  <a:lnTo>
                    <a:pt x="183" y="760"/>
                  </a:lnTo>
                  <a:lnTo>
                    <a:pt x="183" y="759"/>
                  </a:lnTo>
                  <a:lnTo>
                    <a:pt x="185" y="757"/>
                  </a:lnTo>
                  <a:lnTo>
                    <a:pt x="186" y="756"/>
                  </a:lnTo>
                  <a:lnTo>
                    <a:pt x="186" y="755"/>
                  </a:lnTo>
                  <a:lnTo>
                    <a:pt x="186" y="753"/>
                  </a:lnTo>
                  <a:lnTo>
                    <a:pt x="185" y="753"/>
                  </a:lnTo>
                  <a:lnTo>
                    <a:pt x="186" y="751"/>
                  </a:lnTo>
                  <a:lnTo>
                    <a:pt x="187" y="750"/>
                  </a:lnTo>
                  <a:lnTo>
                    <a:pt x="187" y="749"/>
                  </a:lnTo>
                  <a:lnTo>
                    <a:pt x="188" y="748"/>
                  </a:lnTo>
                  <a:lnTo>
                    <a:pt x="188" y="747"/>
                  </a:lnTo>
                  <a:lnTo>
                    <a:pt x="189" y="747"/>
                  </a:lnTo>
                  <a:lnTo>
                    <a:pt x="188" y="748"/>
                  </a:lnTo>
                  <a:lnTo>
                    <a:pt x="188" y="750"/>
                  </a:lnTo>
                  <a:lnTo>
                    <a:pt x="187" y="751"/>
                  </a:lnTo>
                  <a:lnTo>
                    <a:pt x="187" y="753"/>
                  </a:lnTo>
                  <a:lnTo>
                    <a:pt x="188" y="753"/>
                  </a:lnTo>
                  <a:lnTo>
                    <a:pt x="187" y="754"/>
                  </a:lnTo>
                  <a:lnTo>
                    <a:pt x="186" y="755"/>
                  </a:lnTo>
                  <a:lnTo>
                    <a:pt x="187" y="755"/>
                  </a:lnTo>
                  <a:lnTo>
                    <a:pt x="188" y="755"/>
                  </a:lnTo>
                  <a:lnTo>
                    <a:pt x="188" y="756"/>
                  </a:lnTo>
                  <a:lnTo>
                    <a:pt x="187" y="756"/>
                  </a:lnTo>
                  <a:lnTo>
                    <a:pt x="186" y="757"/>
                  </a:lnTo>
                  <a:lnTo>
                    <a:pt x="185" y="759"/>
                  </a:lnTo>
                  <a:lnTo>
                    <a:pt x="186" y="760"/>
                  </a:lnTo>
                  <a:lnTo>
                    <a:pt x="185" y="760"/>
                  </a:lnTo>
                  <a:lnTo>
                    <a:pt x="183" y="760"/>
                  </a:lnTo>
                  <a:lnTo>
                    <a:pt x="185" y="761"/>
                  </a:lnTo>
                  <a:lnTo>
                    <a:pt x="185" y="762"/>
                  </a:lnTo>
                  <a:lnTo>
                    <a:pt x="186" y="762"/>
                  </a:lnTo>
                  <a:lnTo>
                    <a:pt x="187" y="761"/>
                  </a:lnTo>
                  <a:lnTo>
                    <a:pt x="186" y="760"/>
                  </a:lnTo>
                  <a:lnTo>
                    <a:pt x="187" y="759"/>
                  </a:lnTo>
                  <a:lnTo>
                    <a:pt x="188" y="757"/>
                  </a:lnTo>
                  <a:lnTo>
                    <a:pt x="189" y="759"/>
                  </a:lnTo>
                  <a:lnTo>
                    <a:pt x="189" y="760"/>
                  </a:lnTo>
                  <a:lnTo>
                    <a:pt x="189" y="761"/>
                  </a:lnTo>
                  <a:lnTo>
                    <a:pt x="188" y="761"/>
                  </a:lnTo>
                  <a:lnTo>
                    <a:pt x="188" y="762"/>
                  </a:lnTo>
                  <a:lnTo>
                    <a:pt x="188" y="763"/>
                  </a:lnTo>
                  <a:lnTo>
                    <a:pt x="189" y="762"/>
                  </a:lnTo>
                  <a:lnTo>
                    <a:pt x="191" y="762"/>
                  </a:lnTo>
                  <a:lnTo>
                    <a:pt x="191" y="763"/>
                  </a:lnTo>
                  <a:lnTo>
                    <a:pt x="189" y="767"/>
                  </a:lnTo>
                  <a:lnTo>
                    <a:pt x="188" y="768"/>
                  </a:lnTo>
                  <a:lnTo>
                    <a:pt x="189" y="768"/>
                  </a:lnTo>
                  <a:lnTo>
                    <a:pt x="191" y="767"/>
                  </a:lnTo>
                  <a:lnTo>
                    <a:pt x="192" y="768"/>
                  </a:lnTo>
                  <a:lnTo>
                    <a:pt x="191" y="771"/>
                  </a:lnTo>
                  <a:lnTo>
                    <a:pt x="191" y="772"/>
                  </a:lnTo>
                  <a:lnTo>
                    <a:pt x="189" y="775"/>
                  </a:lnTo>
                  <a:lnTo>
                    <a:pt x="191" y="779"/>
                  </a:lnTo>
                  <a:lnTo>
                    <a:pt x="191" y="778"/>
                  </a:lnTo>
                  <a:lnTo>
                    <a:pt x="191" y="777"/>
                  </a:lnTo>
                  <a:lnTo>
                    <a:pt x="192" y="773"/>
                  </a:lnTo>
                  <a:lnTo>
                    <a:pt x="193" y="771"/>
                  </a:lnTo>
                  <a:lnTo>
                    <a:pt x="193" y="772"/>
                  </a:lnTo>
                  <a:lnTo>
                    <a:pt x="194" y="773"/>
                  </a:lnTo>
                  <a:lnTo>
                    <a:pt x="195" y="773"/>
                  </a:lnTo>
                  <a:lnTo>
                    <a:pt x="194" y="774"/>
                  </a:lnTo>
                  <a:lnTo>
                    <a:pt x="193" y="777"/>
                  </a:lnTo>
                  <a:lnTo>
                    <a:pt x="194" y="775"/>
                  </a:lnTo>
                  <a:lnTo>
                    <a:pt x="195" y="775"/>
                  </a:lnTo>
                  <a:lnTo>
                    <a:pt x="195" y="778"/>
                  </a:lnTo>
                  <a:lnTo>
                    <a:pt x="195" y="780"/>
                  </a:lnTo>
                  <a:lnTo>
                    <a:pt x="197" y="780"/>
                  </a:lnTo>
                  <a:lnTo>
                    <a:pt x="197" y="777"/>
                  </a:lnTo>
                  <a:lnTo>
                    <a:pt x="197" y="774"/>
                  </a:lnTo>
                  <a:lnTo>
                    <a:pt x="198" y="773"/>
                  </a:lnTo>
                  <a:lnTo>
                    <a:pt x="199" y="771"/>
                  </a:lnTo>
                  <a:lnTo>
                    <a:pt x="199" y="768"/>
                  </a:lnTo>
                  <a:lnTo>
                    <a:pt x="199" y="765"/>
                  </a:lnTo>
                  <a:lnTo>
                    <a:pt x="199" y="762"/>
                  </a:lnTo>
                  <a:lnTo>
                    <a:pt x="200" y="759"/>
                  </a:lnTo>
                  <a:lnTo>
                    <a:pt x="201" y="759"/>
                  </a:lnTo>
                  <a:lnTo>
                    <a:pt x="203" y="760"/>
                  </a:lnTo>
                  <a:lnTo>
                    <a:pt x="204" y="762"/>
                  </a:lnTo>
                  <a:lnTo>
                    <a:pt x="204" y="767"/>
                  </a:lnTo>
                  <a:lnTo>
                    <a:pt x="204" y="771"/>
                  </a:lnTo>
                  <a:lnTo>
                    <a:pt x="204" y="773"/>
                  </a:lnTo>
                  <a:lnTo>
                    <a:pt x="203" y="777"/>
                  </a:lnTo>
                  <a:lnTo>
                    <a:pt x="201" y="778"/>
                  </a:lnTo>
                  <a:lnTo>
                    <a:pt x="203" y="780"/>
                  </a:lnTo>
                  <a:lnTo>
                    <a:pt x="204" y="778"/>
                  </a:lnTo>
                  <a:lnTo>
                    <a:pt x="205" y="775"/>
                  </a:lnTo>
                  <a:lnTo>
                    <a:pt x="205" y="773"/>
                  </a:lnTo>
                  <a:lnTo>
                    <a:pt x="206" y="769"/>
                  </a:lnTo>
                  <a:lnTo>
                    <a:pt x="206" y="767"/>
                  </a:lnTo>
                  <a:lnTo>
                    <a:pt x="207" y="766"/>
                  </a:lnTo>
                  <a:lnTo>
                    <a:pt x="207" y="769"/>
                  </a:lnTo>
                  <a:lnTo>
                    <a:pt x="209" y="768"/>
                  </a:lnTo>
                  <a:lnTo>
                    <a:pt x="210" y="768"/>
                  </a:lnTo>
                  <a:lnTo>
                    <a:pt x="210" y="772"/>
                  </a:lnTo>
                  <a:lnTo>
                    <a:pt x="210" y="773"/>
                  </a:lnTo>
                  <a:lnTo>
                    <a:pt x="207" y="779"/>
                  </a:lnTo>
                  <a:lnTo>
                    <a:pt x="207" y="781"/>
                  </a:lnTo>
                  <a:lnTo>
                    <a:pt x="209" y="784"/>
                  </a:lnTo>
                  <a:lnTo>
                    <a:pt x="210" y="784"/>
                  </a:lnTo>
                  <a:lnTo>
                    <a:pt x="210" y="781"/>
                  </a:lnTo>
                  <a:lnTo>
                    <a:pt x="211" y="780"/>
                  </a:lnTo>
                  <a:lnTo>
                    <a:pt x="211" y="783"/>
                  </a:lnTo>
                  <a:lnTo>
                    <a:pt x="212" y="784"/>
                  </a:lnTo>
                  <a:lnTo>
                    <a:pt x="214" y="780"/>
                  </a:lnTo>
                  <a:lnTo>
                    <a:pt x="214" y="778"/>
                  </a:lnTo>
                  <a:lnTo>
                    <a:pt x="214" y="775"/>
                  </a:lnTo>
                  <a:lnTo>
                    <a:pt x="212" y="769"/>
                  </a:lnTo>
                  <a:lnTo>
                    <a:pt x="211" y="767"/>
                  </a:lnTo>
                  <a:lnTo>
                    <a:pt x="212" y="765"/>
                  </a:lnTo>
                  <a:lnTo>
                    <a:pt x="212" y="762"/>
                  </a:lnTo>
                  <a:lnTo>
                    <a:pt x="212" y="759"/>
                  </a:lnTo>
                  <a:lnTo>
                    <a:pt x="214" y="755"/>
                  </a:lnTo>
                  <a:lnTo>
                    <a:pt x="216" y="753"/>
                  </a:lnTo>
                  <a:lnTo>
                    <a:pt x="217" y="749"/>
                  </a:lnTo>
                  <a:lnTo>
                    <a:pt x="217" y="753"/>
                  </a:lnTo>
                  <a:lnTo>
                    <a:pt x="218" y="756"/>
                  </a:lnTo>
                  <a:lnTo>
                    <a:pt x="220" y="755"/>
                  </a:lnTo>
                  <a:lnTo>
                    <a:pt x="221" y="755"/>
                  </a:lnTo>
                  <a:lnTo>
                    <a:pt x="222" y="759"/>
                  </a:lnTo>
                  <a:lnTo>
                    <a:pt x="223" y="762"/>
                  </a:lnTo>
                  <a:lnTo>
                    <a:pt x="223" y="761"/>
                  </a:lnTo>
                  <a:lnTo>
                    <a:pt x="223" y="756"/>
                  </a:lnTo>
                  <a:lnTo>
                    <a:pt x="224" y="750"/>
                  </a:lnTo>
                  <a:lnTo>
                    <a:pt x="224" y="744"/>
                  </a:lnTo>
                  <a:lnTo>
                    <a:pt x="226" y="743"/>
                  </a:lnTo>
                  <a:lnTo>
                    <a:pt x="226" y="751"/>
                  </a:lnTo>
                  <a:lnTo>
                    <a:pt x="227" y="753"/>
                  </a:lnTo>
                  <a:lnTo>
                    <a:pt x="228" y="749"/>
                  </a:lnTo>
                  <a:lnTo>
                    <a:pt x="229" y="748"/>
                  </a:lnTo>
                  <a:lnTo>
                    <a:pt x="229" y="744"/>
                  </a:lnTo>
                  <a:lnTo>
                    <a:pt x="229" y="741"/>
                  </a:lnTo>
                  <a:lnTo>
                    <a:pt x="230" y="741"/>
                  </a:lnTo>
                  <a:lnTo>
                    <a:pt x="232" y="744"/>
                  </a:lnTo>
                  <a:lnTo>
                    <a:pt x="232" y="748"/>
                  </a:lnTo>
                  <a:lnTo>
                    <a:pt x="232" y="743"/>
                  </a:lnTo>
                  <a:lnTo>
                    <a:pt x="234" y="739"/>
                  </a:lnTo>
                  <a:lnTo>
                    <a:pt x="234" y="736"/>
                  </a:lnTo>
                  <a:lnTo>
                    <a:pt x="234" y="733"/>
                  </a:lnTo>
                  <a:lnTo>
                    <a:pt x="235" y="730"/>
                  </a:lnTo>
                  <a:lnTo>
                    <a:pt x="239" y="731"/>
                  </a:lnTo>
                  <a:lnTo>
                    <a:pt x="240" y="732"/>
                  </a:lnTo>
                  <a:lnTo>
                    <a:pt x="239" y="735"/>
                  </a:lnTo>
                  <a:lnTo>
                    <a:pt x="235" y="738"/>
                  </a:lnTo>
                  <a:lnTo>
                    <a:pt x="234" y="741"/>
                  </a:lnTo>
                  <a:lnTo>
                    <a:pt x="234" y="743"/>
                  </a:lnTo>
                  <a:lnTo>
                    <a:pt x="234" y="745"/>
                  </a:lnTo>
                  <a:lnTo>
                    <a:pt x="234" y="748"/>
                  </a:lnTo>
                  <a:lnTo>
                    <a:pt x="235" y="749"/>
                  </a:lnTo>
                  <a:lnTo>
                    <a:pt x="239" y="749"/>
                  </a:lnTo>
                  <a:lnTo>
                    <a:pt x="239" y="750"/>
                  </a:lnTo>
                  <a:lnTo>
                    <a:pt x="239" y="754"/>
                  </a:lnTo>
                  <a:lnTo>
                    <a:pt x="239" y="755"/>
                  </a:lnTo>
                  <a:lnTo>
                    <a:pt x="235" y="755"/>
                  </a:lnTo>
                  <a:lnTo>
                    <a:pt x="234" y="756"/>
                  </a:lnTo>
                  <a:lnTo>
                    <a:pt x="233" y="753"/>
                  </a:lnTo>
                  <a:lnTo>
                    <a:pt x="232" y="754"/>
                  </a:lnTo>
                  <a:lnTo>
                    <a:pt x="232" y="756"/>
                  </a:lnTo>
                  <a:lnTo>
                    <a:pt x="229" y="756"/>
                  </a:lnTo>
                  <a:lnTo>
                    <a:pt x="227" y="757"/>
                  </a:lnTo>
                  <a:lnTo>
                    <a:pt x="226" y="761"/>
                  </a:lnTo>
                  <a:lnTo>
                    <a:pt x="228" y="761"/>
                  </a:lnTo>
                  <a:lnTo>
                    <a:pt x="230" y="760"/>
                  </a:lnTo>
                  <a:lnTo>
                    <a:pt x="230" y="761"/>
                  </a:lnTo>
                  <a:lnTo>
                    <a:pt x="233" y="761"/>
                  </a:lnTo>
                  <a:lnTo>
                    <a:pt x="233" y="762"/>
                  </a:lnTo>
                  <a:lnTo>
                    <a:pt x="233" y="767"/>
                  </a:lnTo>
                  <a:lnTo>
                    <a:pt x="232" y="771"/>
                  </a:lnTo>
                  <a:lnTo>
                    <a:pt x="232" y="774"/>
                  </a:lnTo>
                  <a:lnTo>
                    <a:pt x="230" y="777"/>
                  </a:lnTo>
                  <a:lnTo>
                    <a:pt x="229" y="779"/>
                  </a:lnTo>
                  <a:lnTo>
                    <a:pt x="226" y="781"/>
                  </a:lnTo>
                  <a:lnTo>
                    <a:pt x="224" y="784"/>
                  </a:lnTo>
                  <a:lnTo>
                    <a:pt x="221" y="783"/>
                  </a:lnTo>
                  <a:lnTo>
                    <a:pt x="218" y="784"/>
                  </a:lnTo>
                  <a:lnTo>
                    <a:pt x="217" y="785"/>
                  </a:lnTo>
                  <a:lnTo>
                    <a:pt x="214" y="785"/>
                  </a:lnTo>
                  <a:lnTo>
                    <a:pt x="207" y="786"/>
                  </a:lnTo>
                  <a:lnTo>
                    <a:pt x="201" y="787"/>
                  </a:lnTo>
                  <a:lnTo>
                    <a:pt x="199" y="789"/>
                  </a:lnTo>
                  <a:lnTo>
                    <a:pt x="194" y="789"/>
                  </a:lnTo>
                  <a:lnTo>
                    <a:pt x="187" y="792"/>
                  </a:lnTo>
                  <a:lnTo>
                    <a:pt x="183" y="792"/>
                  </a:lnTo>
                  <a:lnTo>
                    <a:pt x="182" y="793"/>
                  </a:lnTo>
                  <a:lnTo>
                    <a:pt x="182" y="795"/>
                  </a:lnTo>
                  <a:lnTo>
                    <a:pt x="186" y="793"/>
                  </a:lnTo>
                  <a:lnTo>
                    <a:pt x="189" y="792"/>
                  </a:lnTo>
                  <a:lnTo>
                    <a:pt x="188" y="795"/>
                  </a:lnTo>
                  <a:lnTo>
                    <a:pt x="188" y="796"/>
                  </a:lnTo>
                  <a:lnTo>
                    <a:pt x="188" y="797"/>
                  </a:lnTo>
                  <a:lnTo>
                    <a:pt x="189" y="796"/>
                  </a:lnTo>
                  <a:lnTo>
                    <a:pt x="192" y="793"/>
                  </a:lnTo>
                  <a:lnTo>
                    <a:pt x="193" y="792"/>
                  </a:lnTo>
                  <a:lnTo>
                    <a:pt x="194" y="792"/>
                  </a:lnTo>
                  <a:lnTo>
                    <a:pt x="193" y="796"/>
                  </a:lnTo>
                  <a:lnTo>
                    <a:pt x="191" y="797"/>
                  </a:lnTo>
                  <a:lnTo>
                    <a:pt x="193" y="797"/>
                  </a:lnTo>
                  <a:lnTo>
                    <a:pt x="195" y="797"/>
                  </a:lnTo>
                  <a:lnTo>
                    <a:pt x="197" y="796"/>
                  </a:lnTo>
                  <a:lnTo>
                    <a:pt x="198" y="795"/>
                  </a:lnTo>
                  <a:lnTo>
                    <a:pt x="198" y="797"/>
                  </a:lnTo>
                  <a:lnTo>
                    <a:pt x="199" y="797"/>
                  </a:lnTo>
                  <a:lnTo>
                    <a:pt x="201" y="797"/>
                  </a:lnTo>
                  <a:lnTo>
                    <a:pt x="203" y="797"/>
                  </a:lnTo>
                  <a:lnTo>
                    <a:pt x="205" y="797"/>
                  </a:lnTo>
                  <a:lnTo>
                    <a:pt x="204" y="798"/>
                  </a:lnTo>
                  <a:lnTo>
                    <a:pt x="201" y="798"/>
                  </a:lnTo>
                  <a:lnTo>
                    <a:pt x="199" y="798"/>
                  </a:lnTo>
                  <a:lnTo>
                    <a:pt x="194" y="798"/>
                  </a:lnTo>
                  <a:lnTo>
                    <a:pt x="192" y="799"/>
                  </a:lnTo>
                  <a:lnTo>
                    <a:pt x="188" y="801"/>
                  </a:lnTo>
                  <a:lnTo>
                    <a:pt x="187" y="803"/>
                  </a:lnTo>
                  <a:lnTo>
                    <a:pt x="185" y="803"/>
                  </a:lnTo>
                  <a:lnTo>
                    <a:pt x="180" y="801"/>
                  </a:lnTo>
                  <a:lnTo>
                    <a:pt x="179" y="801"/>
                  </a:lnTo>
                  <a:lnTo>
                    <a:pt x="179" y="802"/>
                  </a:lnTo>
                  <a:lnTo>
                    <a:pt x="177" y="802"/>
                  </a:lnTo>
                  <a:lnTo>
                    <a:pt x="177" y="804"/>
                  </a:lnTo>
                  <a:lnTo>
                    <a:pt x="181" y="804"/>
                  </a:lnTo>
                  <a:lnTo>
                    <a:pt x="179" y="805"/>
                  </a:lnTo>
                  <a:lnTo>
                    <a:pt x="176" y="807"/>
                  </a:lnTo>
                  <a:lnTo>
                    <a:pt x="174" y="807"/>
                  </a:lnTo>
                  <a:lnTo>
                    <a:pt x="170" y="805"/>
                  </a:lnTo>
                  <a:lnTo>
                    <a:pt x="167" y="803"/>
                  </a:lnTo>
                  <a:lnTo>
                    <a:pt x="163" y="803"/>
                  </a:lnTo>
                  <a:lnTo>
                    <a:pt x="159" y="803"/>
                  </a:lnTo>
                  <a:lnTo>
                    <a:pt x="159" y="804"/>
                  </a:lnTo>
                  <a:lnTo>
                    <a:pt x="158" y="804"/>
                  </a:lnTo>
                  <a:lnTo>
                    <a:pt x="156" y="803"/>
                  </a:lnTo>
                  <a:lnTo>
                    <a:pt x="152" y="801"/>
                  </a:lnTo>
                  <a:lnTo>
                    <a:pt x="147" y="799"/>
                  </a:lnTo>
                  <a:lnTo>
                    <a:pt x="146" y="798"/>
                  </a:lnTo>
                  <a:lnTo>
                    <a:pt x="145" y="797"/>
                  </a:lnTo>
                  <a:lnTo>
                    <a:pt x="146" y="798"/>
                  </a:lnTo>
                  <a:lnTo>
                    <a:pt x="146" y="799"/>
                  </a:lnTo>
                  <a:lnTo>
                    <a:pt x="144" y="799"/>
                  </a:lnTo>
                  <a:lnTo>
                    <a:pt x="142" y="798"/>
                  </a:lnTo>
                  <a:lnTo>
                    <a:pt x="142" y="797"/>
                  </a:lnTo>
                  <a:lnTo>
                    <a:pt x="140" y="797"/>
                  </a:lnTo>
                  <a:lnTo>
                    <a:pt x="138" y="797"/>
                  </a:lnTo>
                  <a:lnTo>
                    <a:pt x="136" y="797"/>
                  </a:lnTo>
                  <a:lnTo>
                    <a:pt x="135" y="796"/>
                  </a:lnTo>
                  <a:lnTo>
                    <a:pt x="132" y="795"/>
                  </a:lnTo>
                  <a:lnTo>
                    <a:pt x="130" y="796"/>
                  </a:lnTo>
                  <a:lnTo>
                    <a:pt x="129" y="795"/>
                  </a:lnTo>
                  <a:lnTo>
                    <a:pt x="130" y="792"/>
                  </a:lnTo>
                  <a:lnTo>
                    <a:pt x="128" y="792"/>
                  </a:lnTo>
                  <a:lnTo>
                    <a:pt x="127" y="793"/>
                  </a:lnTo>
                  <a:lnTo>
                    <a:pt x="126" y="793"/>
                  </a:lnTo>
                  <a:lnTo>
                    <a:pt x="124" y="793"/>
                  </a:lnTo>
                  <a:lnTo>
                    <a:pt x="124" y="791"/>
                  </a:lnTo>
                  <a:lnTo>
                    <a:pt x="123" y="789"/>
                  </a:lnTo>
                  <a:lnTo>
                    <a:pt x="122" y="791"/>
                  </a:lnTo>
                  <a:lnTo>
                    <a:pt x="121" y="792"/>
                  </a:lnTo>
                  <a:lnTo>
                    <a:pt x="118" y="792"/>
                  </a:lnTo>
                  <a:lnTo>
                    <a:pt x="117" y="791"/>
                  </a:lnTo>
                  <a:lnTo>
                    <a:pt x="116" y="791"/>
                  </a:lnTo>
                  <a:lnTo>
                    <a:pt x="114" y="791"/>
                  </a:lnTo>
                  <a:lnTo>
                    <a:pt x="112" y="791"/>
                  </a:lnTo>
                  <a:lnTo>
                    <a:pt x="112" y="790"/>
                  </a:lnTo>
                  <a:lnTo>
                    <a:pt x="110" y="789"/>
                  </a:lnTo>
                  <a:lnTo>
                    <a:pt x="108" y="789"/>
                  </a:lnTo>
                  <a:lnTo>
                    <a:pt x="103" y="785"/>
                  </a:lnTo>
                  <a:lnTo>
                    <a:pt x="104" y="787"/>
                  </a:lnTo>
                  <a:lnTo>
                    <a:pt x="104" y="790"/>
                  </a:lnTo>
                  <a:lnTo>
                    <a:pt x="102" y="789"/>
                  </a:lnTo>
                  <a:lnTo>
                    <a:pt x="100" y="787"/>
                  </a:lnTo>
                  <a:lnTo>
                    <a:pt x="102" y="790"/>
                  </a:lnTo>
                  <a:lnTo>
                    <a:pt x="103" y="790"/>
                  </a:lnTo>
                  <a:lnTo>
                    <a:pt x="99" y="791"/>
                  </a:lnTo>
                  <a:lnTo>
                    <a:pt x="97" y="792"/>
                  </a:lnTo>
                  <a:lnTo>
                    <a:pt x="100" y="792"/>
                  </a:lnTo>
                  <a:lnTo>
                    <a:pt x="103" y="792"/>
                  </a:lnTo>
                  <a:lnTo>
                    <a:pt x="106" y="791"/>
                  </a:lnTo>
                  <a:lnTo>
                    <a:pt x="105" y="796"/>
                  </a:lnTo>
                  <a:lnTo>
                    <a:pt x="105" y="797"/>
                  </a:lnTo>
                  <a:lnTo>
                    <a:pt x="106" y="796"/>
                  </a:lnTo>
                  <a:lnTo>
                    <a:pt x="109" y="793"/>
                  </a:lnTo>
                  <a:lnTo>
                    <a:pt x="109" y="792"/>
                  </a:lnTo>
                  <a:lnTo>
                    <a:pt x="111" y="792"/>
                  </a:lnTo>
                  <a:lnTo>
                    <a:pt x="111" y="795"/>
                  </a:lnTo>
                  <a:lnTo>
                    <a:pt x="111" y="793"/>
                  </a:lnTo>
                  <a:lnTo>
                    <a:pt x="112" y="793"/>
                  </a:lnTo>
                  <a:lnTo>
                    <a:pt x="115" y="793"/>
                  </a:lnTo>
                  <a:lnTo>
                    <a:pt x="115" y="795"/>
                  </a:lnTo>
                  <a:lnTo>
                    <a:pt x="112" y="797"/>
                  </a:lnTo>
                  <a:lnTo>
                    <a:pt x="111" y="799"/>
                  </a:lnTo>
                  <a:lnTo>
                    <a:pt x="111" y="803"/>
                  </a:lnTo>
                  <a:lnTo>
                    <a:pt x="111" y="807"/>
                  </a:lnTo>
                  <a:lnTo>
                    <a:pt x="114" y="810"/>
                  </a:lnTo>
                  <a:lnTo>
                    <a:pt x="115" y="812"/>
                  </a:lnTo>
                  <a:lnTo>
                    <a:pt x="115" y="809"/>
                  </a:lnTo>
                  <a:lnTo>
                    <a:pt x="115" y="805"/>
                  </a:lnTo>
                  <a:lnTo>
                    <a:pt x="116" y="804"/>
                  </a:lnTo>
                  <a:lnTo>
                    <a:pt x="116" y="807"/>
                  </a:lnTo>
                  <a:lnTo>
                    <a:pt x="117" y="808"/>
                  </a:lnTo>
                  <a:lnTo>
                    <a:pt x="117" y="810"/>
                  </a:lnTo>
                  <a:lnTo>
                    <a:pt x="116" y="813"/>
                  </a:lnTo>
                  <a:lnTo>
                    <a:pt x="117" y="813"/>
                  </a:lnTo>
                  <a:lnTo>
                    <a:pt x="118" y="813"/>
                  </a:lnTo>
                  <a:lnTo>
                    <a:pt x="121" y="814"/>
                  </a:lnTo>
                  <a:lnTo>
                    <a:pt x="121" y="818"/>
                  </a:lnTo>
                  <a:lnTo>
                    <a:pt x="123" y="820"/>
                  </a:lnTo>
                  <a:lnTo>
                    <a:pt x="123" y="821"/>
                  </a:lnTo>
                  <a:lnTo>
                    <a:pt x="122" y="821"/>
                  </a:lnTo>
                  <a:lnTo>
                    <a:pt x="120" y="819"/>
                  </a:lnTo>
                  <a:lnTo>
                    <a:pt x="117" y="819"/>
                  </a:lnTo>
                  <a:lnTo>
                    <a:pt x="115" y="819"/>
                  </a:lnTo>
                  <a:lnTo>
                    <a:pt x="114" y="820"/>
                  </a:lnTo>
                  <a:lnTo>
                    <a:pt x="111" y="819"/>
                  </a:lnTo>
                  <a:lnTo>
                    <a:pt x="109" y="819"/>
                  </a:lnTo>
                  <a:lnTo>
                    <a:pt x="106" y="819"/>
                  </a:lnTo>
                  <a:lnTo>
                    <a:pt x="104" y="821"/>
                  </a:lnTo>
                  <a:lnTo>
                    <a:pt x="105" y="821"/>
                  </a:lnTo>
                  <a:lnTo>
                    <a:pt x="108" y="821"/>
                  </a:lnTo>
                  <a:lnTo>
                    <a:pt x="109" y="822"/>
                  </a:lnTo>
                  <a:lnTo>
                    <a:pt x="110" y="821"/>
                  </a:lnTo>
                  <a:lnTo>
                    <a:pt x="111" y="821"/>
                  </a:lnTo>
                  <a:lnTo>
                    <a:pt x="112" y="821"/>
                  </a:lnTo>
                  <a:lnTo>
                    <a:pt x="115" y="820"/>
                  </a:lnTo>
                  <a:lnTo>
                    <a:pt x="115" y="822"/>
                  </a:lnTo>
                  <a:lnTo>
                    <a:pt x="114" y="824"/>
                  </a:lnTo>
                  <a:lnTo>
                    <a:pt x="112" y="825"/>
                  </a:lnTo>
                  <a:lnTo>
                    <a:pt x="114" y="825"/>
                  </a:lnTo>
                  <a:lnTo>
                    <a:pt x="116" y="825"/>
                  </a:lnTo>
                  <a:lnTo>
                    <a:pt x="116" y="824"/>
                  </a:lnTo>
                  <a:lnTo>
                    <a:pt x="117" y="824"/>
                  </a:lnTo>
                  <a:lnTo>
                    <a:pt x="118" y="822"/>
                  </a:lnTo>
                  <a:lnTo>
                    <a:pt x="120" y="824"/>
                  </a:lnTo>
                  <a:lnTo>
                    <a:pt x="118" y="825"/>
                  </a:lnTo>
                  <a:lnTo>
                    <a:pt x="117" y="826"/>
                  </a:lnTo>
                  <a:lnTo>
                    <a:pt x="118" y="827"/>
                  </a:lnTo>
                  <a:lnTo>
                    <a:pt x="117" y="828"/>
                  </a:lnTo>
                  <a:lnTo>
                    <a:pt x="116" y="827"/>
                  </a:lnTo>
                  <a:lnTo>
                    <a:pt x="114" y="826"/>
                  </a:lnTo>
                  <a:lnTo>
                    <a:pt x="112" y="826"/>
                  </a:lnTo>
                  <a:lnTo>
                    <a:pt x="109" y="826"/>
                  </a:lnTo>
                  <a:lnTo>
                    <a:pt x="106" y="826"/>
                  </a:lnTo>
                  <a:lnTo>
                    <a:pt x="102" y="825"/>
                  </a:lnTo>
                  <a:lnTo>
                    <a:pt x="100" y="826"/>
                  </a:lnTo>
                  <a:lnTo>
                    <a:pt x="102" y="826"/>
                  </a:lnTo>
                  <a:lnTo>
                    <a:pt x="103" y="827"/>
                  </a:lnTo>
                  <a:lnTo>
                    <a:pt x="103" y="828"/>
                  </a:lnTo>
                  <a:lnTo>
                    <a:pt x="99" y="827"/>
                  </a:lnTo>
                  <a:lnTo>
                    <a:pt x="99" y="830"/>
                  </a:lnTo>
                  <a:lnTo>
                    <a:pt x="100" y="830"/>
                  </a:lnTo>
                  <a:lnTo>
                    <a:pt x="103" y="828"/>
                  </a:lnTo>
                  <a:lnTo>
                    <a:pt x="104" y="828"/>
                  </a:lnTo>
                  <a:lnTo>
                    <a:pt x="105" y="831"/>
                  </a:lnTo>
                  <a:lnTo>
                    <a:pt x="104" y="832"/>
                  </a:lnTo>
                  <a:lnTo>
                    <a:pt x="102" y="832"/>
                  </a:lnTo>
                  <a:lnTo>
                    <a:pt x="98" y="832"/>
                  </a:lnTo>
                  <a:lnTo>
                    <a:pt x="96" y="831"/>
                  </a:lnTo>
                  <a:lnTo>
                    <a:pt x="90" y="827"/>
                  </a:lnTo>
                  <a:lnTo>
                    <a:pt x="88" y="826"/>
                  </a:lnTo>
                  <a:lnTo>
                    <a:pt x="88" y="827"/>
                  </a:lnTo>
                  <a:lnTo>
                    <a:pt x="88" y="830"/>
                  </a:lnTo>
                  <a:lnTo>
                    <a:pt x="87" y="828"/>
                  </a:lnTo>
                  <a:lnTo>
                    <a:pt x="85" y="828"/>
                  </a:lnTo>
                  <a:lnTo>
                    <a:pt x="83" y="827"/>
                  </a:lnTo>
                  <a:lnTo>
                    <a:pt x="81" y="826"/>
                  </a:lnTo>
                  <a:lnTo>
                    <a:pt x="79" y="824"/>
                  </a:lnTo>
                  <a:lnTo>
                    <a:pt x="77" y="825"/>
                  </a:lnTo>
                  <a:lnTo>
                    <a:pt x="76" y="826"/>
                  </a:lnTo>
                  <a:lnTo>
                    <a:pt x="74" y="824"/>
                  </a:lnTo>
                  <a:lnTo>
                    <a:pt x="71" y="824"/>
                  </a:lnTo>
                  <a:lnTo>
                    <a:pt x="70" y="824"/>
                  </a:lnTo>
                  <a:lnTo>
                    <a:pt x="73" y="826"/>
                  </a:lnTo>
                  <a:lnTo>
                    <a:pt x="75" y="827"/>
                  </a:lnTo>
                  <a:lnTo>
                    <a:pt x="75" y="828"/>
                  </a:lnTo>
                  <a:lnTo>
                    <a:pt x="73" y="830"/>
                  </a:lnTo>
                  <a:lnTo>
                    <a:pt x="71" y="831"/>
                  </a:lnTo>
                  <a:lnTo>
                    <a:pt x="71" y="832"/>
                  </a:lnTo>
                  <a:lnTo>
                    <a:pt x="74" y="831"/>
                  </a:lnTo>
                  <a:lnTo>
                    <a:pt x="75" y="830"/>
                  </a:lnTo>
                  <a:lnTo>
                    <a:pt x="77" y="828"/>
                  </a:lnTo>
                  <a:lnTo>
                    <a:pt x="81" y="828"/>
                  </a:lnTo>
                  <a:lnTo>
                    <a:pt x="79" y="832"/>
                  </a:lnTo>
                  <a:lnTo>
                    <a:pt x="77" y="834"/>
                  </a:lnTo>
                  <a:lnTo>
                    <a:pt x="79" y="833"/>
                  </a:lnTo>
                  <a:lnTo>
                    <a:pt x="80" y="832"/>
                  </a:lnTo>
                  <a:lnTo>
                    <a:pt x="81" y="831"/>
                  </a:lnTo>
                  <a:lnTo>
                    <a:pt x="82" y="830"/>
                  </a:lnTo>
                  <a:lnTo>
                    <a:pt x="83" y="830"/>
                  </a:lnTo>
                  <a:lnTo>
                    <a:pt x="85" y="831"/>
                  </a:lnTo>
                  <a:lnTo>
                    <a:pt x="83" y="834"/>
                  </a:lnTo>
                  <a:lnTo>
                    <a:pt x="82" y="837"/>
                  </a:lnTo>
                  <a:lnTo>
                    <a:pt x="81" y="838"/>
                  </a:lnTo>
                  <a:lnTo>
                    <a:pt x="82" y="839"/>
                  </a:lnTo>
                  <a:lnTo>
                    <a:pt x="83" y="839"/>
                  </a:lnTo>
                  <a:lnTo>
                    <a:pt x="82" y="840"/>
                  </a:lnTo>
                  <a:lnTo>
                    <a:pt x="81" y="842"/>
                  </a:lnTo>
                  <a:lnTo>
                    <a:pt x="79" y="842"/>
                  </a:lnTo>
                  <a:lnTo>
                    <a:pt x="76" y="840"/>
                  </a:lnTo>
                  <a:lnTo>
                    <a:pt x="74" y="838"/>
                  </a:lnTo>
                  <a:lnTo>
                    <a:pt x="73" y="838"/>
                  </a:lnTo>
                  <a:lnTo>
                    <a:pt x="73" y="839"/>
                  </a:lnTo>
                  <a:lnTo>
                    <a:pt x="69" y="839"/>
                  </a:lnTo>
                  <a:lnTo>
                    <a:pt x="68" y="838"/>
                  </a:lnTo>
                  <a:lnTo>
                    <a:pt x="65" y="839"/>
                  </a:lnTo>
                  <a:lnTo>
                    <a:pt x="70" y="840"/>
                  </a:lnTo>
                  <a:lnTo>
                    <a:pt x="73" y="840"/>
                  </a:lnTo>
                  <a:lnTo>
                    <a:pt x="71" y="843"/>
                  </a:lnTo>
                  <a:lnTo>
                    <a:pt x="71" y="844"/>
                  </a:lnTo>
                  <a:lnTo>
                    <a:pt x="73" y="845"/>
                  </a:lnTo>
                  <a:lnTo>
                    <a:pt x="74" y="844"/>
                  </a:lnTo>
                  <a:lnTo>
                    <a:pt x="75" y="843"/>
                  </a:lnTo>
                  <a:lnTo>
                    <a:pt x="77" y="842"/>
                  </a:lnTo>
                  <a:lnTo>
                    <a:pt x="77" y="843"/>
                  </a:lnTo>
                  <a:lnTo>
                    <a:pt x="77" y="845"/>
                  </a:lnTo>
                  <a:lnTo>
                    <a:pt x="77" y="846"/>
                  </a:lnTo>
                  <a:lnTo>
                    <a:pt x="79" y="845"/>
                  </a:lnTo>
                  <a:lnTo>
                    <a:pt x="80" y="844"/>
                  </a:lnTo>
                  <a:lnTo>
                    <a:pt x="81" y="844"/>
                  </a:lnTo>
                  <a:lnTo>
                    <a:pt x="81" y="845"/>
                  </a:lnTo>
                  <a:lnTo>
                    <a:pt x="80" y="848"/>
                  </a:lnTo>
                  <a:lnTo>
                    <a:pt x="81" y="848"/>
                  </a:lnTo>
                  <a:lnTo>
                    <a:pt x="81" y="845"/>
                  </a:lnTo>
                  <a:lnTo>
                    <a:pt x="83" y="844"/>
                  </a:lnTo>
                  <a:lnTo>
                    <a:pt x="85" y="844"/>
                  </a:lnTo>
                  <a:lnTo>
                    <a:pt x="86" y="845"/>
                  </a:lnTo>
                  <a:lnTo>
                    <a:pt x="82" y="849"/>
                  </a:lnTo>
                  <a:lnTo>
                    <a:pt x="83" y="850"/>
                  </a:lnTo>
                  <a:lnTo>
                    <a:pt x="86" y="848"/>
                  </a:lnTo>
                  <a:lnTo>
                    <a:pt x="87" y="846"/>
                  </a:lnTo>
                  <a:lnTo>
                    <a:pt x="88" y="846"/>
                  </a:lnTo>
                  <a:lnTo>
                    <a:pt x="88" y="849"/>
                  </a:lnTo>
                  <a:lnTo>
                    <a:pt x="88" y="850"/>
                  </a:lnTo>
                  <a:lnTo>
                    <a:pt x="88" y="854"/>
                  </a:lnTo>
                  <a:lnTo>
                    <a:pt x="90" y="852"/>
                  </a:lnTo>
                  <a:lnTo>
                    <a:pt x="91" y="852"/>
                  </a:lnTo>
                  <a:lnTo>
                    <a:pt x="91" y="854"/>
                  </a:lnTo>
                  <a:lnTo>
                    <a:pt x="92" y="857"/>
                  </a:lnTo>
                  <a:lnTo>
                    <a:pt x="91" y="861"/>
                  </a:lnTo>
                  <a:lnTo>
                    <a:pt x="91" y="860"/>
                  </a:lnTo>
                  <a:lnTo>
                    <a:pt x="94" y="860"/>
                  </a:lnTo>
                  <a:lnTo>
                    <a:pt x="96" y="858"/>
                  </a:lnTo>
                  <a:lnTo>
                    <a:pt x="96" y="861"/>
                  </a:lnTo>
                  <a:lnTo>
                    <a:pt x="93" y="862"/>
                  </a:lnTo>
                  <a:lnTo>
                    <a:pt x="90" y="862"/>
                  </a:lnTo>
                  <a:lnTo>
                    <a:pt x="91" y="863"/>
                  </a:lnTo>
                  <a:lnTo>
                    <a:pt x="93" y="864"/>
                  </a:lnTo>
                  <a:lnTo>
                    <a:pt x="94" y="866"/>
                  </a:lnTo>
                  <a:lnTo>
                    <a:pt x="91" y="868"/>
                  </a:lnTo>
                  <a:lnTo>
                    <a:pt x="88" y="869"/>
                  </a:lnTo>
                  <a:lnTo>
                    <a:pt x="90" y="872"/>
                  </a:lnTo>
                  <a:lnTo>
                    <a:pt x="91" y="870"/>
                  </a:lnTo>
                  <a:lnTo>
                    <a:pt x="93" y="869"/>
                  </a:lnTo>
                  <a:lnTo>
                    <a:pt x="94" y="868"/>
                  </a:lnTo>
                  <a:lnTo>
                    <a:pt x="96" y="869"/>
                  </a:lnTo>
                  <a:lnTo>
                    <a:pt x="98" y="868"/>
                  </a:lnTo>
                  <a:lnTo>
                    <a:pt x="99" y="867"/>
                  </a:lnTo>
                  <a:lnTo>
                    <a:pt x="99" y="869"/>
                  </a:lnTo>
                  <a:lnTo>
                    <a:pt x="99" y="870"/>
                  </a:lnTo>
                  <a:lnTo>
                    <a:pt x="99" y="872"/>
                  </a:lnTo>
                  <a:lnTo>
                    <a:pt x="97" y="872"/>
                  </a:lnTo>
                  <a:lnTo>
                    <a:pt x="93" y="872"/>
                  </a:lnTo>
                  <a:lnTo>
                    <a:pt x="91" y="872"/>
                  </a:lnTo>
                  <a:lnTo>
                    <a:pt x="87" y="872"/>
                  </a:lnTo>
                  <a:lnTo>
                    <a:pt x="83" y="872"/>
                  </a:lnTo>
                  <a:lnTo>
                    <a:pt x="82" y="872"/>
                  </a:lnTo>
                  <a:lnTo>
                    <a:pt x="79" y="870"/>
                  </a:lnTo>
                  <a:lnTo>
                    <a:pt x="76" y="870"/>
                  </a:lnTo>
                  <a:lnTo>
                    <a:pt x="74" y="872"/>
                  </a:lnTo>
                  <a:lnTo>
                    <a:pt x="71" y="870"/>
                  </a:lnTo>
                  <a:lnTo>
                    <a:pt x="71" y="873"/>
                  </a:lnTo>
                  <a:lnTo>
                    <a:pt x="74" y="875"/>
                  </a:lnTo>
                  <a:lnTo>
                    <a:pt x="75" y="876"/>
                  </a:lnTo>
                  <a:lnTo>
                    <a:pt x="76" y="875"/>
                  </a:lnTo>
                  <a:lnTo>
                    <a:pt x="77" y="875"/>
                  </a:lnTo>
                  <a:lnTo>
                    <a:pt x="77" y="879"/>
                  </a:lnTo>
                  <a:lnTo>
                    <a:pt x="79" y="881"/>
                  </a:lnTo>
                  <a:lnTo>
                    <a:pt x="79" y="879"/>
                  </a:lnTo>
                  <a:lnTo>
                    <a:pt x="80" y="878"/>
                  </a:lnTo>
                  <a:lnTo>
                    <a:pt x="80" y="875"/>
                  </a:lnTo>
                  <a:lnTo>
                    <a:pt x="81" y="875"/>
                  </a:lnTo>
                  <a:lnTo>
                    <a:pt x="81" y="879"/>
                  </a:lnTo>
                  <a:lnTo>
                    <a:pt x="80" y="881"/>
                  </a:lnTo>
                  <a:lnTo>
                    <a:pt x="80" y="885"/>
                  </a:lnTo>
                  <a:lnTo>
                    <a:pt x="80" y="890"/>
                  </a:lnTo>
                  <a:lnTo>
                    <a:pt x="81" y="891"/>
                  </a:lnTo>
                  <a:lnTo>
                    <a:pt x="82" y="888"/>
                  </a:lnTo>
                  <a:lnTo>
                    <a:pt x="82" y="887"/>
                  </a:lnTo>
                  <a:lnTo>
                    <a:pt x="83" y="882"/>
                  </a:lnTo>
                  <a:lnTo>
                    <a:pt x="83" y="881"/>
                  </a:lnTo>
                  <a:lnTo>
                    <a:pt x="85" y="879"/>
                  </a:lnTo>
                  <a:lnTo>
                    <a:pt x="86" y="879"/>
                  </a:lnTo>
                  <a:lnTo>
                    <a:pt x="86" y="880"/>
                  </a:lnTo>
                  <a:lnTo>
                    <a:pt x="86" y="881"/>
                  </a:lnTo>
                  <a:lnTo>
                    <a:pt x="86" y="884"/>
                  </a:lnTo>
                  <a:lnTo>
                    <a:pt x="86" y="886"/>
                  </a:lnTo>
                  <a:lnTo>
                    <a:pt x="87" y="886"/>
                  </a:lnTo>
                  <a:lnTo>
                    <a:pt x="88" y="884"/>
                  </a:lnTo>
                  <a:lnTo>
                    <a:pt x="90" y="882"/>
                  </a:lnTo>
                  <a:lnTo>
                    <a:pt x="91" y="881"/>
                  </a:lnTo>
                  <a:lnTo>
                    <a:pt x="92" y="880"/>
                  </a:lnTo>
                  <a:lnTo>
                    <a:pt x="92" y="882"/>
                  </a:lnTo>
                  <a:lnTo>
                    <a:pt x="92" y="884"/>
                  </a:lnTo>
                  <a:lnTo>
                    <a:pt x="91" y="886"/>
                  </a:lnTo>
                  <a:lnTo>
                    <a:pt x="91" y="887"/>
                  </a:lnTo>
                  <a:lnTo>
                    <a:pt x="90" y="888"/>
                  </a:lnTo>
                  <a:lnTo>
                    <a:pt x="88" y="891"/>
                  </a:lnTo>
                  <a:lnTo>
                    <a:pt x="87" y="893"/>
                  </a:lnTo>
                  <a:lnTo>
                    <a:pt x="87" y="894"/>
                  </a:lnTo>
                  <a:lnTo>
                    <a:pt x="88" y="893"/>
                  </a:lnTo>
                  <a:lnTo>
                    <a:pt x="90" y="893"/>
                  </a:lnTo>
                  <a:lnTo>
                    <a:pt x="92" y="893"/>
                  </a:lnTo>
                  <a:lnTo>
                    <a:pt x="93" y="893"/>
                  </a:lnTo>
                  <a:lnTo>
                    <a:pt x="92" y="894"/>
                  </a:lnTo>
                  <a:lnTo>
                    <a:pt x="91" y="896"/>
                  </a:lnTo>
                  <a:lnTo>
                    <a:pt x="90" y="896"/>
                  </a:lnTo>
                  <a:lnTo>
                    <a:pt x="87" y="894"/>
                  </a:lnTo>
                  <a:lnTo>
                    <a:pt x="86" y="894"/>
                  </a:lnTo>
                  <a:lnTo>
                    <a:pt x="83" y="894"/>
                  </a:lnTo>
                  <a:lnTo>
                    <a:pt x="81" y="893"/>
                  </a:lnTo>
                  <a:lnTo>
                    <a:pt x="79" y="892"/>
                  </a:lnTo>
                  <a:lnTo>
                    <a:pt x="76" y="891"/>
                  </a:lnTo>
                  <a:lnTo>
                    <a:pt x="74" y="891"/>
                  </a:lnTo>
                  <a:lnTo>
                    <a:pt x="70" y="891"/>
                  </a:lnTo>
                  <a:lnTo>
                    <a:pt x="65" y="888"/>
                  </a:lnTo>
                  <a:lnTo>
                    <a:pt x="63" y="888"/>
                  </a:lnTo>
                  <a:lnTo>
                    <a:pt x="62" y="890"/>
                  </a:lnTo>
                  <a:lnTo>
                    <a:pt x="59" y="888"/>
                  </a:lnTo>
                  <a:lnTo>
                    <a:pt x="57" y="887"/>
                  </a:lnTo>
                  <a:lnTo>
                    <a:pt x="55" y="886"/>
                  </a:lnTo>
                  <a:lnTo>
                    <a:pt x="51" y="886"/>
                  </a:lnTo>
                  <a:lnTo>
                    <a:pt x="50" y="886"/>
                  </a:lnTo>
                  <a:lnTo>
                    <a:pt x="47" y="885"/>
                  </a:lnTo>
                  <a:lnTo>
                    <a:pt x="46" y="885"/>
                  </a:lnTo>
                  <a:lnTo>
                    <a:pt x="46" y="886"/>
                  </a:lnTo>
                  <a:lnTo>
                    <a:pt x="47" y="887"/>
                  </a:lnTo>
                  <a:lnTo>
                    <a:pt x="45" y="887"/>
                  </a:lnTo>
                  <a:lnTo>
                    <a:pt x="44" y="886"/>
                  </a:lnTo>
                  <a:lnTo>
                    <a:pt x="43" y="885"/>
                  </a:lnTo>
                  <a:lnTo>
                    <a:pt x="43" y="886"/>
                  </a:lnTo>
                  <a:lnTo>
                    <a:pt x="41" y="885"/>
                  </a:lnTo>
                  <a:lnTo>
                    <a:pt x="40" y="884"/>
                  </a:lnTo>
                  <a:lnTo>
                    <a:pt x="37" y="881"/>
                  </a:lnTo>
                  <a:lnTo>
                    <a:pt x="35" y="884"/>
                  </a:lnTo>
                  <a:lnTo>
                    <a:pt x="37" y="885"/>
                  </a:lnTo>
                  <a:lnTo>
                    <a:pt x="31" y="884"/>
                  </a:lnTo>
                  <a:lnTo>
                    <a:pt x="32" y="885"/>
                  </a:lnTo>
                  <a:lnTo>
                    <a:pt x="34" y="886"/>
                  </a:lnTo>
                  <a:lnTo>
                    <a:pt x="37" y="886"/>
                  </a:lnTo>
                  <a:lnTo>
                    <a:pt x="37" y="887"/>
                  </a:lnTo>
                  <a:lnTo>
                    <a:pt x="34" y="890"/>
                  </a:lnTo>
                  <a:lnTo>
                    <a:pt x="32" y="891"/>
                  </a:lnTo>
                  <a:lnTo>
                    <a:pt x="33" y="891"/>
                  </a:lnTo>
                  <a:lnTo>
                    <a:pt x="34" y="891"/>
                  </a:lnTo>
                  <a:lnTo>
                    <a:pt x="38" y="888"/>
                  </a:lnTo>
                  <a:lnTo>
                    <a:pt x="40" y="888"/>
                  </a:lnTo>
                  <a:lnTo>
                    <a:pt x="41" y="888"/>
                  </a:lnTo>
                  <a:lnTo>
                    <a:pt x="41" y="890"/>
                  </a:lnTo>
                  <a:lnTo>
                    <a:pt x="40" y="892"/>
                  </a:lnTo>
                  <a:lnTo>
                    <a:pt x="40" y="893"/>
                  </a:lnTo>
                  <a:lnTo>
                    <a:pt x="41" y="893"/>
                  </a:lnTo>
                  <a:lnTo>
                    <a:pt x="43" y="892"/>
                  </a:lnTo>
                  <a:lnTo>
                    <a:pt x="43" y="890"/>
                  </a:lnTo>
                  <a:lnTo>
                    <a:pt x="44" y="888"/>
                  </a:lnTo>
                  <a:lnTo>
                    <a:pt x="47" y="888"/>
                  </a:lnTo>
                  <a:lnTo>
                    <a:pt x="49" y="890"/>
                  </a:lnTo>
                  <a:lnTo>
                    <a:pt x="47" y="892"/>
                  </a:lnTo>
                  <a:lnTo>
                    <a:pt x="46" y="893"/>
                  </a:lnTo>
                  <a:lnTo>
                    <a:pt x="45" y="894"/>
                  </a:lnTo>
                  <a:lnTo>
                    <a:pt x="44" y="897"/>
                  </a:lnTo>
                  <a:lnTo>
                    <a:pt x="45" y="902"/>
                  </a:lnTo>
                  <a:lnTo>
                    <a:pt x="45" y="904"/>
                  </a:lnTo>
                  <a:lnTo>
                    <a:pt x="46" y="906"/>
                  </a:lnTo>
                  <a:lnTo>
                    <a:pt x="46" y="909"/>
                  </a:lnTo>
                  <a:lnTo>
                    <a:pt x="47" y="909"/>
                  </a:lnTo>
                  <a:lnTo>
                    <a:pt x="47" y="906"/>
                  </a:lnTo>
                  <a:lnTo>
                    <a:pt x="49" y="905"/>
                  </a:lnTo>
                  <a:lnTo>
                    <a:pt x="50" y="903"/>
                  </a:lnTo>
                  <a:lnTo>
                    <a:pt x="50" y="902"/>
                  </a:lnTo>
                  <a:lnTo>
                    <a:pt x="50" y="898"/>
                  </a:lnTo>
                  <a:lnTo>
                    <a:pt x="51" y="900"/>
                  </a:lnTo>
                  <a:lnTo>
                    <a:pt x="51" y="902"/>
                  </a:lnTo>
                  <a:lnTo>
                    <a:pt x="51" y="900"/>
                  </a:lnTo>
                  <a:lnTo>
                    <a:pt x="52" y="898"/>
                  </a:lnTo>
                  <a:lnTo>
                    <a:pt x="52" y="896"/>
                  </a:lnTo>
                  <a:lnTo>
                    <a:pt x="55" y="893"/>
                  </a:lnTo>
                  <a:lnTo>
                    <a:pt x="55" y="892"/>
                  </a:lnTo>
                  <a:lnTo>
                    <a:pt x="55" y="894"/>
                  </a:lnTo>
                  <a:lnTo>
                    <a:pt x="53" y="896"/>
                  </a:lnTo>
                  <a:lnTo>
                    <a:pt x="55" y="896"/>
                  </a:lnTo>
                  <a:lnTo>
                    <a:pt x="56" y="896"/>
                  </a:lnTo>
                  <a:lnTo>
                    <a:pt x="57" y="894"/>
                  </a:lnTo>
                  <a:lnTo>
                    <a:pt x="58" y="893"/>
                  </a:lnTo>
                  <a:lnTo>
                    <a:pt x="58" y="892"/>
                  </a:lnTo>
                  <a:lnTo>
                    <a:pt x="58" y="894"/>
                  </a:lnTo>
                  <a:lnTo>
                    <a:pt x="57" y="897"/>
                  </a:lnTo>
                  <a:lnTo>
                    <a:pt x="56" y="899"/>
                  </a:lnTo>
                  <a:lnTo>
                    <a:pt x="57" y="900"/>
                  </a:lnTo>
                  <a:lnTo>
                    <a:pt x="58" y="900"/>
                  </a:lnTo>
                  <a:lnTo>
                    <a:pt x="59" y="898"/>
                  </a:lnTo>
                  <a:lnTo>
                    <a:pt x="61" y="897"/>
                  </a:lnTo>
                  <a:lnTo>
                    <a:pt x="62" y="899"/>
                  </a:lnTo>
                  <a:lnTo>
                    <a:pt x="59" y="902"/>
                  </a:lnTo>
                  <a:lnTo>
                    <a:pt x="59" y="903"/>
                  </a:lnTo>
                  <a:lnTo>
                    <a:pt x="57" y="905"/>
                  </a:lnTo>
                  <a:lnTo>
                    <a:pt x="58" y="909"/>
                  </a:lnTo>
                  <a:lnTo>
                    <a:pt x="58" y="910"/>
                  </a:lnTo>
                  <a:lnTo>
                    <a:pt x="59" y="908"/>
                  </a:lnTo>
                  <a:lnTo>
                    <a:pt x="61" y="905"/>
                  </a:lnTo>
                  <a:lnTo>
                    <a:pt x="62" y="903"/>
                  </a:lnTo>
                  <a:lnTo>
                    <a:pt x="63" y="900"/>
                  </a:lnTo>
                  <a:lnTo>
                    <a:pt x="64" y="900"/>
                  </a:lnTo>
                  <a:lnTo>
                    <a:pt x="64" y="903"/>
                  </a:lnTo>
                  <a:lnTo>
                    <a:pt x="65" y="903"/>
                  </a:lnTo>
                  <a:lnTo>
                    <a:pt x="65" y="904"/>
                  </a:lnTo>
                  <a:lnTo>
                    <a:pt x="65" y="906"/>
                  </a:lnTo>
                  <a:lnTo>
                    <a:pt x="65" y="908"/>
                  </a:lnTo>
                  <a:lnTo>
                    <a:pt x="67" y="908"/>
                  </a:lnTo>
                  <a:lnTo>
                    <a:pt x="68" y="904"/>
                  </a:lnTo>
                  <a:lnTo>
                    <a:pt x="68" y="903"/>
                  </a:lnTo>
                  <a:lnTo>
                    <a:pt x="69" y="902"/>
                  </a:lnTo>
                  <a:lnTo>
                    <a:pt x="70" y="902"/>
                  </a:lnTo>
                  <a:lnTo>
                    <a:pt x="71" y="903"/>
                  </a:lnTo>
                  <a:lnTo>
                    <a:pt x="70" y="904"/>
                  </a:lnTo>
                  <a:lnTo>
                    <a:pt x="69" y="905"/>
                  </a:lnTo>
                  <a:lnTo>
                    <a:pt x="68" y="908"/>
                  </a:lnTo>
                  <a:lnTo>
                    <a:pt x="67" y="910"/>
                  </a:lnTo>
                  <a:lnTo>
                    <a:pt x="68" y="910"/>
                  </a:lnTo>
                  <a:lnTo>
                    <a:pt x="70" y="908"/>
                  </a:lnTo>
                  <a:lnTo>
                    <a:pt x="69" y="911"/>
                  </a:lnTo>
                  <a:lnTo>
                    <a:pt x="68" y="914"/>
                  </a:lnTo>
                  <a:lnTo>
                    <a:pt x="67" y="915"/>
                  </a:lnTo>
                  <a:lnTo>
                    <a:pt x="65" y="916"/>
                  </a:lnTo>
                  <a:lnTo>
                    <a:pt x="58" y="920"/>
                  </a:lnTo>
                  <a:lnTo>
                    <a:pt x="58" y="921"/>
                  </a:lnTo>
                  <a:lnTo>
                    <a:pt x="61" y="921"/>
                  </a:lnTo>
                  <a:lnTo>
                    <a:pt x="62" y="920"/>
                  </a:lnTo>
                  <a:lnTo>
                    <a:pt x="62" y="922"/>
                  </a:lnTo>
                  <a:lnTo>
                    <a:pt x="62" y="923"/>
                  </a:lnTo>
                  <a:lnTo>
                    <a:pt x="63" y="923"/>
                  </a:lnTo>
                  <a:lnTo>
                    <a:pt x="63" y="922"/>
                  </a:lnTo>
                  <a:lnTo>
                    <a:pt x="64" y="921"/>
                  </a:lnTo>
                  <a:lnTo>
                    <a:pt x="65" y="919"/>
                  </a:lnTo>
                  <a:lnTo>
                    <a:pt x="67" y="919"/>
                  </a:lnTo>
                  <a:lnTo>
                    <a:pt x="67" y="920"/>
                  </a:lnTo>
                  <a:lnTo>
                    <a:pt x="67" y="922"/>
                  </a:lnTo>
                  <a:lnTo>
                    <a:pt x="67" y="925"/>
                  </a:lnTo>
                  <a:lnTo>
                    <a:pt x="68" y="926"/>
                  </a:lnTo>
                  <a:lnTo>
                    <a:pt x="68" y="925"/>
                  </a:lnTo>
                  <a:lnTo>
                    <a:pt x="69" y="925"/>
                  </a:lnTo>
                  <a:lnTo>
                    <a:pt x="69" y="923"/>
                  </a:lnTo>
                  <a:lnTo>
                    <a:pt x="70" y="923"/>
                  </a:lnTo>
                  <a:lnTo>
                    <a:pt x="71" y="925"/>
                  </a:lnTo>
                  <a:lnTo>
                    <a:pt x="74" y="923"/>
                  </a:lnTo>
                  <a:lnTo>
                    <a:pt x="73" y="921"/>
                  </a:lnTo>
                  <a:lnTo>
                    <a:pt x="71" y="920"/>
                  </a:lnTo>
                  <a:lnTo>
                    <a:pt x="71" y="917"/>
                  </a:lnTo>
                  <a:lnTo>
                    <a:pt x="73" y="915"/>
                  </a:lnTo>
                  <a:lnTo>
                    <a:pt x="74" y="916"/>
                  </a:lnTo>
                  <a:lnTo>
                    <a:pt x="74" y="917"/>
                  </a:lnTo>
                  <a:lnTo>
                    <a:pt x="75" y="916"/>
                  </a:lnTo>
                  <a:lnTo>
                    <a:pt x="76" y="916"/>
                  </a:lnTo>
                  <a:lnTo>
                    <a:pt x="76" y="920"/>
                  </a:lnTo>
                  <a:lnTo>
                    <a:pt x="77" y="920"/>
                  </a:lnTo>
                  <a:lnTo>
                    <a:pt x="79" y="921"/>
                  </a:lnTo>
                  <a:lnTo>
                    <a:pt x="79" y="920"/>
                  </a:lnTo>
                  <a:lnTo>
                    <a:pt x="79" y="916"/>
                  </a:lnTo>
                  <a:lnTo>
                    <a:pt x="79" y="914"/>
                  </a:lnTo>
                  <a:lnTo>
                    <a:pt x="80" y="911"/>
                  </a:lnTo>
                  <a:lnTo>
                    <a:pt x="80" y="909"/>
                  </a:lnTo>
                  <a:lnTo>
                    <a:pt x="80" y="908"/>
                  </a:lnTo>
                  <a:lnTo>
                    <a:pt x="81" y="910"/>
                  </a:lnTo>
                  <a:lnTo>
                    <a:pt x="81" y="911"/>
                  </a:lnTo>
                  <a:lnTo>
                    <a:pt x="82" y="910"/>
                  </a:lnTo>
                  <a:lnTo>
                    <a:pt x="82" y="909"/>
                  </a:lnTo>
                  <a:lnTo>
                    <a:pt x="82" y="910"/>
                  </a:lnTo>
                  <a:lnTo>
                    <a:pt x="82" y="911"/>
                  </a:lnTo>
                  <a:lnTo>
                    <a:pt x="82" y="914"/>
                  </a:lnTo>
                  <a:lnTo>
                    <a:pt x="83" y="914"/>
                  </a:lnTo>
                  <a:lnTo>
                    <a:pt x="83" y="915"/>
                  </a:lnTo>
                  <a:lnTo>
                    <a:pt x="83" y="917"/>
                  </a:lnTo>
                  <a:lnTo>
                    <a:pt x="85" y="919"/>
                  </a:lnTo>
                  <a:lnTo>
                    <a:pt x="83" y="920"/>
                  </a:lnTo>
                  <a:lnTo>
                    <a:pt x="82" y="920"/>
                  </a:lnTo>
                  <a:lnTo>
                    <a:pt x="80" y="921"/>
                  </a:lnTo>
                  <a:lnTo>
                    <a:pt x="80" y="922"/>
                  </a:lnTo>
                  <a:lnTo>
                    <a:pt x="81" y="922"/>
                  </a:lnTo>
                  <a:lnTo>
                    <a:pt x="79" y="923"/>
                  </a:lnTo>
                  <a:lnTo>
                    <a:pt x="79" y="926"/>
                  </a:lnTo>
                  <a:lnTo>
                    <a:pt x="76" y="926"/>
                  </a:lnTo>
                  <a:lnTo>
                    <a:pt x="73" y="928"/>
                  </a:lnTo>
                  <a:lnTo>
                    <a:pt x="71" y="928"/>
                  </a:lnTo>
                  <a:lnTo>
                    <a:pt x="69" y="928"/>
                  </a:lnTo>
                  <a:lnTo>
                    <a:pt x="67" y="928"/>
                  </a:lnTo>
                  <a:lnTo>
                    <a:pt x="64" y="928"/>
                  </a:lnTo>
                  <a:lnTo>
                    <a:pt x="62" y="928"/>
                  </a:lnTo>
                  <a:lnTo>
                    <a:pt x="62" y="929"/>
                  </a:lnTo>
                  <a:lnTo>
                    <a:pt x="62" y="931"/>
                  </a:lnTo>
                  <a:lnTo>
                    <a:pt x="61" y="931"/>
                  </a:lnTo>
                  <a:lnTo>
                    <a:pt x="59" y="932"/>
                  </a:lnTo>
                  <a:lnTo>
                    <a:pt x="62" y="932"/>
                  </a:lnTo>
                  <a:lnTo>
                    <a:pt x="64" y="932"/>
                  </a:lnTo>
                  <a:lnTo>
                    <a:pt x="65" y="933"/>
                  </a:lnTo>
                  <a:lnTo>
                    <a:pt x="65" y="935"/>
                  </a:lnTo>
                  <a:lnTo>
                    <a:pt x="65" y="934"/>
                  </a:lnTo>
                  <a:lnTo>
                    <a:pt x="67" y="933"/>
                  </a:lnTo>
                  <a:lnTo>
                    <a:pt x="67" y="931"/>
                  </a:lnTo>
                  <a:lnTo>
                    <a:pt x="69" y="931"/>
                  </a:lnTo>
                  <a:lnTo>
                    <a:pt x="70" y="931"/>
                  </a:lnTo>
                  <a:lnTo>
                    <a:pt x="69" y="933"/>
                  </a:lnTo>
                  <a:lnTo>
                    <a:pt x="68" y="934"/>
                  </a:lnTo>
                  <a:lnTo>
                    <a:pt x="67" y="938"/>
                  </a:lnTo>
                  <a:lnTo>
                    <a:pt x="68" y="939"/>
                  </a:lnTo>
                  <a:lnTo>
                    <a:pt x="69" y="938"/>
                  </a:lnTo>
                  <a:lnTo>
                    <a:pt x="70" y="937"/>
                  </a:lnTo>
                  <a:lnTo>
                    <a:pt x="73" y="934"/>
                  </a:lnTo>
                  <a:lnTo>
                    <a:pt x="73" y="933"/>
                  </a:lnTo>
                  <a:lnTo>
                    <a:pt x="75" y="931"/>
                  </a:lnTo>
                  <a:lnTo>
                    <a:pt x="75" y="929"/>
                  </a:lnTo>
                  <a:lnTo>
                    <a:pt x="77" y="929"/>
                  </a:lnTo>
                  <a:lnTo>
                    <a:pt x="77" y="931"/>
                  </a:lnTo>
                  <a:lnTo>
                    <a:pt x="77" y="933"/>
                  </a:lnTo>
                  <a:lnTo>
                    <a:pt x="76" y="934"/>
                  </a:lnTo>
                  <a:lnTo>
                    <a:pt x="76" y="937"/>
                  </a:lnTo>
                  <a:lnTo>
                    <a:pt x="76" y="939"/>
                  </a:lnTo>
                  <a:lnTo>
                    <a:pt x="76" y="941"/>
                  </a:lnTo>
                  <a:lnTo>
                    <a:pt x="77" y="941"/>
                  </a:lnTo>
                  <a:lnTo>
                    <a:pt x="77" y="940"/>
                  </a:lnTo>
                  <a:lnTo>
                    <a:pt x="79" y="938"/>
                  </a:lnTo>
                  <a:lnTo>
                    <a:pt x="79" y="935"/>
                  </a:lnTo>
                  <a:lnTo>
                    <a:pt x="80" y="934"/>
                  </a:lnTo>
                  <a:lnTo>
                    <a:pt x="80" y="937"/>
                  </a:lnTo>
                  <a:lnTo>
                    <a:pt x="80" y="938"/>
                  </a:lnTo>
                  <a:lnTo>
                    <a:pt x="80" y="937"/>
                  </a:lnTo>
                  <a:lnTo>
                    <a:pt x="81" y="935"/>
                  </a:lnTo>
                  <a:lnTo>
                    <a:pt x="81" y="934"/>
                  </a:lnTo>
                  <a:lnTo>
                    <a:pt x="82" y="932"/>
                  </a:lnTo>
                  <a:lnTo>
                    <a:pt x="83" y="931"/>
                  </a:lnTo>
                  <a:lnTo>
                    <a:pt x="83" y="932"/>
                  </a:lnTo>
                  <a:lnTo>
                    <a:pt x="83" y="935"/>
                  </a:lnTo>
                  <a:lnTo>
                    <a:pt x="83" y="937"/>
                  </a:lnTo>
                  <a:lnTo>
                    <a:pt x="85" y="935"/>
                  </a:lnTo>
                  <a:lnTo>
                    <a:pt x="86" y="933"/>
                  </a:lnTo>
                  <a:lnTo>
                    <a:pt x="87" y="931"/>
                  </a:lnTo>
                  <a:lnTo>
                    <a:pt x="87" y="932"/>
                  </a:lnTo>
                  <a:lnTo>
                    <a:pt x="86" y="935"/>
                  </a:lnTo>
                  <a:lnTo>
                    <a:pt x="86" y="938"/>
                  </a:lnTo>
                  <a:lnTo>
                    <a:pt x="86" y="939"/>
                  </a:lnTo>
                  <a:lnTo>
                    <a:pt x="87" y="941"/>
                  </a:lnTo>
                  <a:lnTo>
                    <a:pt x="86" y="944"/>
                  </a:lnTo>
                  <a:lnTo>
                    <a:pt x="85" y="947"/>
                  </a:lnTo>
                  <a:lnTo>
                    <a:pt x="85" y="950"/>
                  </a:lnTo>
                  <a:lnTo>
                    <a:pt x="83" y="953"/>
                  </a:lnTo>
                  <a:lnTo>
                    <a:pt x="86" y="952"/>
                  </a:lnTo>
                  <a:lnTo>
                    <a:pt x="86" y="953"/>
                  </a:lnTo>
                  <a:lnTo>
                    <a:pt x="85" y="955"/>
                  </a:lnTo>
                  <a:lnTo>
                    <a:pt x="82" y="955"/>
                  </a:lnTo>
                  <a:lnTo>
                    <a:pt x="81" y="955"/>
                  </a:lnTo>
                  <a:lnTo>
                    <a:pt x="79" y="955"/>
                  </a:lnTo>
                  <a:lnTo>
                    <a:pt x="77" y="953"/>
                  </a:lnTo>
                  <a:lnTo>
                    <a:pt x="74" y="953"/>
                  </a:lnTo>
                  <a:lnTo>
                    <a:pt x="71" y="953"/>
                  </a:lnTo>
                  <a:lnTo>
                    <a:pt x="69" y="950"/>
                  </a:lnTo>
                  <a:lnTo>
                    <a:pt x="67" y="949"/>
                  </a:lnTo>
                  <a:lnTo>
                    <a:pt x="64" y="946"/>
                  </a:lnTo>
                  <a:lnTo>
                    <a:pt x="63" y="945"/>
                  </a:lnTo>
                  <a:lnTo>
                    <a:pt x="62" y="945"/>
                  </a:lnTo>
                  <a:lnTo>
                    <a:pt x="62" y="943"/>
                  </a:lnTo>
                  <a:lnTo>
                    <a:pt x="59" y="944"/>
                  </a:lnTo>
                  <a:lnTo>
                    <a:pt x="58" y="943"/>
                  </a:lnTo>
                  <a:lnTo>
                    <a:pt x="58" y="940"/>
                  </a:lnTo>
                  <a:lnTo>
                    <a:pt x="57" y="941"/>
                  </a:lnTo>
                  <a:lnTo>
                    <a:pt x="56" y="940"/>
                  </a:lnTo>
                  <a:lnTo>
                    <a:pt x="55" y="943"/>
                  </a:lnTo>
                  <a:lnTo>
                    <a:pt x="53" y="944"/>
                  </a:lnTo>
                  <a:lnTo>
                    <a:pt x="51" y="945"/>
                  </a:lnTo>
                  <a:lnTo>
                    <a:pt x="52" y="946"/>
                  </a:lnTo>
                  <a:lnTo>
                    <a:pt x="55" y="947"/>
                  </a:lnTo>
                  <a:lnTo>
                    <a:pt x="56" y="949"/>
                  </a:lnTo>
                  <a:lnTo>
                    <a:pt x="59" y="951"/>
                  </a:lnTo>
                  <a:lnTo>
                    <a:pt x="61" y="950"/>
                  </a:lnTo>
                  <a:lnTo>
                    <a:pt x="59" y="952"/>
                  </a:lnTo>
                  <a:lnTo>
                    <a:pt x="58" y="953"/>
                  </a:lnTo>
                  <a:lnTo>
                    <a:pt x="56" y="953"/>
                  </a:lnTo>
                  <a:lnTo>
                    <a:pt x="53" y="952"/>
                  </a:lnTo>
                  <a:lnTo>
                    <a:pt x="51" y="951"/>
                  </a:lnTo>
                  <a:lnTo>
                    <a:pt x="47" y="951"/>
                  </a:lnTo>
                  <a:lnTo>
                    <a:pt x="45" y="949"/>
                  </a:lnTo>
                  <a:lnTo>
                    <a:pt x="41" y="947"/>
                  </a:lnTo>
                  <a:lnTo>
                    <a:pt x="38" y="945"/>
                  </a:lnTo>
                  <a:lnTo>
                    <a:pt x="34" y="941"/>
                  </a:lnTo>
                  <a:lnTo>
                    <a:pt x="27" y="937"/>
                  </a:lnTo>
                  <a:lnTo>
                    <a:pt x="21" y="934"/>
                  </a:lnTo>
                  <a:lnTo>
                    <a:pt x="18" y="932"/>
                  </a:lnTo>
                  <a:lnTo>
                    <a:pt x="17" y="932"/>
                  </a:lnTo>
                  <a:lnTo>
                    <a:pt x="16" y="932"/>
                  </a:lnTo>
                  <a:lnTo>
                    <a:pt x="15" y="931"/>
                  </a:lnTo>
                  <a:lnTo>
                    <a:pt x="12" y="928"/>
                  </a:lnTo>
                  <a:lnTo>
                    <a:pt x="10" y="928"/>
                  </a:lnTo>
                  <a:lnTo>
                    <a:pt x="8" y="927"/>
                  </a:lnTo>
                  <a:lnTo>
                    <a:pt x="0" y="925"/>
                  </a:lnTo>
                  <a:lnTo>
                    <a:pt x="0" y="927"/>
                  </a:lnTo>
                  <a:lnTo>
                    <a:pt x="2" y="927"/>
                  </a:lnTo>
                  <a:lnTo>
                    <a:pt x="5" y="929"/>
                  </a:lnTo>
                  <a:lnTo>
                    <a:pt x="5" y="931"/>
                  </a:lnTo>
                  <a:lnTo>
                    <a:pt x="5" y="932"/>
                  </a:lnTo>
                  <a:lnTo>
                    <a:pt x="6" y="933"/>
                  </a:lnTo>
                  <a:lnTo>
                    <a:pt x="9" y="931"/>
                  </a:lnTo>
                  <a:lnTo>
                    <a:pt x="11" y="932"/>
                  </a:lnTo>
                  <a:lnTo>
                    <a:pt x="9" y="933"/>
                  </a:lnTo>
                  <a:lnTo>
                    <a:pt x="8" y="934"/>
                  </a:lnTo>
                  <a:lnTo>
                    <a:pt x="10" y="935"/>
                  </a:lnTo>
                  <a:lnTo>
                    <a:pt x="12" y="935"/>
                  </a:lnTo>
                  <a:lnTo>
                    <a:pt x="15" y="935"/>
                  </a:lnTo>
                  <a:lnTo>
                    <a:pt x="12" y="938"/>
                  </a:lnTo>
                  <a:lnTo>
                    <a:pt x="14" y="940"/>
                  </a:lnTo>
                  <a:lnTo>
                    <a:pt x="15" y="938"/>
                  </a:lnTo>
                  <a:lnTo>
                    <a:pt x="17" y="937"/>
                  </a:lnTo>
                  <a:lnTo>
                    <a:pt x="17" y="938"/>
                  </a:lnTo>
                  <a:lnTo>
                    <a:pt x="15" y="941"/>
                  </a:lnTo>
                  <a:lnTo>
                    <a:pt x="16" y="943"/>
                  </a:lnTo>
                  <a:lnTo>
                    <a:pt x="17" y="941"/>
                  </a:lnTo>
                  <a:lnTo>
                    <a:pt x="20" y="939"/>
                  </a:lnTo>
                  <a:lnTo>
                    <a:pt x="21" y="938"/>
                  </a:lnTo>
                  <a:lnTo>
                    <a:pt x="22" y="939"/>
                  </a:lnTo>
                  <a:lnTo>
                    <a:pt x="21" y="943"/>
                  </a:lnTo>
                  <a:lnTo>
                    <a:pt x="20" y="943"/>
                  </a:lnTo>
                  <a:lnTo>
                    <a:pt x="18" y="944"/>
                  </a:lnTo>
                  <a:lnTo>
                    <a:pt x="20" y="944"/>
                  </a:lnTo>
                  <a:lnTo>
                    <a:pt x="18" y="946"/>
                  </a:lnTo>
                  <a:lnTo>
                    <a:pt x="17" y="946"/>
                  </a:lnTo>
                  <a:lnTo>
                    <a:pt x="17" y="949"/>
                  </a:lnTo>
                  <a:lnTo>
                    <a:pt x="22" y="947"/>
                  </a:lnTo>
                  <a:lnTo>
                    <a:pt x="23" y="945"/>
                  </a:lnTo>
                  <a:lnTo>
                    <a:pt x="26" y="944"/>
                  </a:lnTo>
                  <a:lnTo>
                    <a:pt x="24" y="946"/>
                  </a:lnTo>
                  <a:lnTo>
                    <a:pt x="24" y="950"/>
                  </a:lnTo>
                  <a:lnTo>
                    <a:pt x="26" y="949"/>
                  </a:lnTo>
                  <a:lnTo>
                    <a:pt x="28" y="945"/>
                  </a:lnTo>
                  <a:lnTo>
                    <a:pt x="28" y="946"/>
                  </a:lnTo>
                  <a:lnTo>
                    <a:pt x="27" y="950"/>
                  </a:lnTo>
                  <a:lnTo>
                    <a:pt x="24" y="953"/>
                  </a:lnTo>
                  <a:lnTo>
                    <a:pt x="23" y="958"/>
                  </a:lnTo>
                  <a:lnTo>
                    <a:pt x="23" y="961"/>
                  </a:lnTo>
                  <a:lnTo>
                    <a:pt x="23" y="964"/>
                  </a:lnTo>
                  <a:lnTo>
                    <a:pt x="26" y="962"/>
                  </a:lnTo>
                  <a:lnTo>
                    <a:pt x="27" y="961"/>
                  </a:lnTo>
                  <a:lnTo>
                    <a:pt x="28" y="959"/>
                  </a:lnTo>
                  <a:lnTo>
                    <a:pt x="28" y="957"/>
                  </a:lnTo>
                  <a:lnTo>
                    <a:pt x="29" y="956"/>
                  </a:lnTo>
                  <a:lnTo>
                    <a:pt x="31" y="956"/>
                  </a:lnTo>
                  <a:lnTo>
                    <a:pt x="32" y="956"/>
                  </a:lnTo>
                  <a:lnTo>
                    <a:pt x="31" y="958"/>
                  </a:lnTo>
                  <a:lnTo>
                    <a:pt x="29" y="961"/>
                  </a:lnTo>
                  <a:lnTo>
                    <a:pt x="28" y="962"/>
                  </a:lnTo>
                  <a:lnTo>
                    <a:pt x="28" y="963"/>
                  </a:lnTo>
                  <a:lnTo>
                    <a:pt x="29" y="963"/>
                  </a:lnTo>
                  <a:lnTo>
                    <a:pt x="29" y="964"/>
                  </a:lnTo>
                  <a:lnTo>
                    <a:pt x="29" y="965"/>
                  </a:lnTo>
                  <a:lnTo>
                    <a:pt x="29" y="967"/>
                  </a:lnTo>
                  <a:lnTo>
                    <a:pt x="29" y="968"/>
                  </a:lnTo>
                  <a:lnTo>
                    <a:pt x="31" y="968"/>
                  </a:lnTo>
                  <a:lnTo>
                    <a:pt x="31" y="967"/>
                  </a:lnTo>
                  <a:lnTo>
                    <a:pt x="32" y="965"/>
                  </a:lnTo>
                  <a:lnTo>
                    <a:pt x="33" y="964"/>
                  </a:lnTo>
                  <a:lnTo>
                    <a:pt x="34" y="964"/>
                  </a:lnTo>
                  <a:lnTo>
                    <a:pt x="33" y="968"/>
                  </a:lnTo>
                  <a:lnTo>
                    <a:pt x="33" y="971"/>
                  </a:lnTo>
                  <a:lnTo>
                    <a:pt x="35" y="971"/>
                  </a:lnTo>
                  <a:lnTo>
                    <a:pt x="37" y="971"/>
                  </a:lnTo>
                  <a:lnTo>
                    <a:pt x="37" y="969"/>
                  </a:lnTo>
                  <a:lnTo>
                    <a:pt x="37" y="967"/>
                  </a:lnTo>
                  <a:lnTo>
                    <a:pt x="37" y="964"/>
                  </a:lnTo>
                  <a:lnTo>
                    <a:pt x="38" y="963"/>
                  </a:lnTo>
                  <a:lnTo>
                    <a:pt x="38" y="965"/>
                  </a:lnTo>
                  <a:lnTo>
                    <a:pt x="39" y="969"/>
                  </a:lnTo>
                  <a:lnTo>
                    <a:pt x="40" y="969"/>
                  </a:lnTo>
                  <a:lnTo>
                    <a:pt x="40" y="965"/>
                  </a:lnTo>
                  <a:lnTo>
                    <a:pt x="41" y="964"/>
                  </a:lnTo>
                  <a:lnTo>
                    <a:pt x="41" y="963"/>
                  </a:lnTo>
                  <a:lnTo>
                    <a:pt x="43" y="964"/>
                  </a:lnTo>
                  <a:lnTo>
                    <a:pt x="43" y="967"/>
                  </a:lnTo>
                  <a:lnTo>
                    <a:pt x="43" y="968"/>
                  </a:lnTo>
                  <a:lnTo>
                    <a:pt x="44" y="969"/>
                  </a:lnTo>
                  <a:lnTo>
                    <a:pt x="44" y="971"/>
                  </a:lnTo>
                  <a:lnTo>
                    <a:pt x="43" y="974"/>
                  </a:lnTo>
                  <a:lnTo>
                    <a:pt x="43" y="976"/>
                  </a:lnTo>
                  <a:lnTo>
                    <a:pt x="44" y="977"/>
                  </a:lnTo>
                  <a:lnTo>
                    <a:pt x="44" y="980"/>
                  </a:lnTo>
                  <a:lnTo>
                    <a:pt x="43" y="982"/>
                  </a:lnTo>
                  <a:lnTo>
                    <a:pt x="44" y="983"/>
                  </a:lnTo>
                  <a:lnTo>
                    <a:pt x="45" y="982"/>
                  </a:lnTo>
                  <a:lnTo>
                    <a:pt x="46" y="981"/>
                  </a:lnTo>
                  <a:lnTo>
                    <a:pt x="46" y="979"/>
                  </a:lnTo>
                  <a:lnTo>
                    <a:pt x="46" y="977"/>
                  </a:lnTo>
                  <a:lnTo>
                    <a:pt x="46" y="975"/>
                  </a:lnTo>
                  <a:lnTo>
                    <a:pt x="49" y="976"/>
                  </a:lnTo>
                  <a:lnTo>
                    <a:pt x="49" y="975"/>
                  </a:lnTo>
                  <a:lnTo>
                    <a:pt x="50" y="975"/>
                  </a:lnTo>
                  <a:lnTo>
                    <a:pt x="51" y="975"/>
                  </a:lnTo>
                  <a:lnTo>
                    <a:pt x="51" y="976"/>
                  </a:lnTo>
                  <a:lnTo>
                    <a:pt x="50" y="979"/>
                  </a:lnTo>
                  <a:lnTo>
                    <a:pt x="51" y="977"/>
                  </a:lnTo>
                  <a:lnTo>
                    <a:pt x="53" y="976"/>
                  </a:lnTo>
                  <a:lnTo>
                    <a:pt x="53" y="975"/>
                  </a:lnTo>
                  <a:lnTo>
                    <a:pt x="55" y="974"/>
                  </a:lnTo>
                  <a:lnTo>
                    <a:pt x="53" y="977"/>
                  </a:lnTo>
                  <a:lnTo>
                    <a:pt x="53" y="979"/>
                  </a:lnTo>
                  <a:lnTo>
                    <a:pt x="51" y="981"/>
                  </a:lnTo>
                  <a:lnTo>
                    <a:pt x="49" y="983"/>
                  </a:lnTo>
                  <a:lnTo>
                    <a:pt x="44" y="985"/>
                  </a:lnTo>
                  <a:lnTo>
                    <a:pt x="43" y="986"/>
                  </a:lnTo>
                  <a:lnTo>
                    <a:pt x="40" y="988"/>
                  </a:lnTo>
                  <a:lnTo>
                    <a:pt x="38" y="988"/>
                  </a:lnTo>
                  <a:lnTo>
                    <a:pt x="31" y="985"/>
                  </a:lnTo>
                  <a:lnTo>
                    <a:pt x="29" y="986"/>
                  </a:lnTo>
                  <a:lnTo>
                    <a:pt x="35" y="988"/>
                  </a:lnTo>
                  <a:lnTo>
                    <a:pt x="37" y="989"/>
                  </a:lnTo>
                  <a:lnTo>
                    <a:pt x="32" y="993"/>
                  </a:lnTo>
                  <a:lnTo>
                    <a:pt x="32" y="994"/>
                  </a:lnTo>
                  <a:lnTo>
                    <a:pt x="32" y="995"/>
                  </a:lnTo>
                  <a:lnTo>
                    <a:pt x="34" y="993"/>
                  </a:lnTo>
                  <a:lnTo>
                    <a:pt x="35" y="993"/>
                  </a:lnTo>
                  <a:lnTo>
                    <a:pt x="35" y="998"/>
                  </a:lnTo>
                  <a:lnTo>
                    <a:pt x="37" y="997"/>
                  </a:lnTo>
                  <a:lnTo>
                    <a:pt x="37" y="994"/>
                  </a:lnTo>
                  <a:lnTo>
                    <a:pt x="38" y="993"/>
                  </a:lnTo>
                  <a:lnTo>
                    <a:pt x="39" y="991"/>
                  </a:lnTo>
                  <a:lnTo>
                    <a:pt x="40" y="991"/>
                  </a:lnTo>
                  <a:lnTo>
                    <a:pt x="40" y="993"/>
                  </a:lnTo>
                  <a:lnTo>
                    <a:pt x="40" y="997"/>
                  </a:lnTo>
                  <a:lnTo>
                    <a:pt x="41" y="997"/>
                  </a:lnTo>
                  <a:lnTo>
                    <a:pt x="43" y="997"/>
                  </a:lnTo>
                  <a:lnTo>
                    <a:pt x="43" y="994"/>
                  </a:lnTo>
                  <a:lnTo>
                    <a:pt x="41" y="994"/>
                  </a:lnTo>
                  <a:lnTo>
                    <a:pt x="43" y="992"/>
                  </a:lnTo>
                  <a:lnTo>
                    <a:pt x="44" y="992"/>
                  </a:lnTo>
                  <a:lnTo>
                    <a:pt x="45" y="992"/>
                  </a:lnTo>
                  <a:lnTo>
                    <a:pt x="47" y="992"/>
                  </a:lnTo>
                  <a:lnTo>
                    <a:pt x="45" y="994"/>
                  </a:lnTo>
                  <a:lnTo>
                    <a:pt x="43" y="997"/>
                  </a:lnTo>
                  <a:lnTo>
                    <a:pt x="41" y="999"/>
                  </a:lnTo>
                  <a:lnTo>
                    <a:pt x="43" y="1000"/>
                  </a:lnTo>
                  <a:lnTo>
                    <a:pt x="45" y="998"/>
                  </a:lnTo>
                  <a:lnTo>
                    <a:pt x="45" y="999"/>
                  </a:lnTo>
                  <a:lnTo>
                    <a:pt x="43" y="1003"/>
                  </a:lnTo>
                  <a:lnTo>
                    <a:pt x="44" y="1005"/>
                  </a:lnTo>
                  <a:lnTo>
                    <a:pt x="45" y="1004"/>
                  </a:lnTo>
                  <a:lnTo>
                    <a:pt x="46" y="1001"/>
                  </a:lnTo>
                  <a:lnTo>
                    <a:pt x="49" y="999"/>
                  </a:lnTo>
                  <a:lnTo>
                    <a:pt x="50" y="997"/>
                  </a:lnTo>
                  <a:lnTo>
                    <a:pt x="53" y="993"/>
                  </a:lnTo>
                  <a:lnTo>
                    <a:pt x="56" y="994"/>
                  </a:lnTo>
                  <a:lnTo>
                    <a:pt x="59" y="994"/>
                  </a:lnTo>
                  <a:lnTo>
                    <a:pt x="58" y="998"/>
                  </a:lnTo>
                  <a:lnTo>
                    <a:pt x="55" y="1001"/>
                  </a:lnTo>
                  <a:lnTo>
                    <a:pt x="55" y="1004"/>
                  </a:lnTo>
                  <a:lnTo>
                    <a:pt x="52" y="1005"/>
                  </a:lnTo>
                  <a:lnTo>
                    <a:pt x="49" y="1006"/>
                  </a:lnTo>
                  <a:lnTo>
                    <a:pt x="45" y="1010"/>
                  </a:lnTo>
                  <a:lnTo>
                    <a:pt x="44" y="1012"/>
                  </a:lnTo>
                  <a:lnTo>
                    <a:pt x="45" y="1012"/>
                  </a:lnTo>
                  <a:lnTo>
                    <a:pt x="47" y="1012"/>
                  </a:lnTo>
                  <a:lnTo>
                    <a:pt x="49" y="1012"/>
                  </a:lnTo>
                  <a:lnTo>
                    <a:pt x="50" y="1011"/>
                  </a:lnTo>
                  <a:lnTo>
                    <a:pt x="51" y="1009"/>
                  </a:lnTo>
                  <a:lnTo>
                    <a:pt x="53" y="1006"/>
                  </a:lnTo>
                  <a:lnTo>
                    <a:pt x="56" y="1005"/>
                  </a:lnTo>
                  <a:lnTo>
                    <a:pt x="55" y="1007"/>
                  </a:lnTo>
                  <a:lnTo>
                    <a:pt x="53" y="1012"/>
                  </a:lnTo>
                  <a:lnTo>
                    <a:pt x="56" y="1012"/>
                  </a:lnTo>
                  <a:lnTo>
                    <a:pt x="58" y="1011"/>
                  </a:lnTo>
                  <a:lnTo>
                    <a:pt x="57" y="1013"/>
                  </a:lnTo>
                  <a:lnTo>
                    <a:pt x="58" y="1015"/>
                  </a:lnTo>
                  <a:lnTo>
                    <a:pt x="59" y="1012"/>
                  </a:lnTo>
                  <a:lnTo>
                    <a:pt x="61" y="1011"/>
                  </a:lnTo>
                  <a:lnTo>
                    <a:pt x="61" y="1009"/>
                  </a:lnTo>
                  <a:lnTo>
                    <a:pt x="62" y="1005"/>
                  </a:lnTo>
                  <a:lnTo>
                    <a:pt x="63" y="1003"/>
                  </a:lnTo>
                  <a:lnTo>
                    <a:pt x="63" y="1005"/>
                  </a:lnTo>
                  <a:lnTo>
                    <a:pt x="63" y="1006"/>
                  </a:lnTo>
                  <a:lnTo>
                    <a:pt x="63" y="1005"/>
                  </a:lnTo>
                  <a:lnTo>
                    <a:pt x="63" y="1000"/>
                  </a:lnTo>
                  <a:lnTo>
                    <a:pt x="64" y="999"/>
                  </a:lnTo>
                  <a:lnTo>
                    <a:pt x="65" y="998"/>
                  </a:lnTo>
                  <a:lnTo>
                    <a:pt x="65" y="1000"/>
                  </a:lnTo>
                  <a:lnTo>
                    <a:pt x="67" y="997"/>
                  </a:lnTo>
                  <a:lnTo>
                    <a:pt x="67" y="995"/>
                  </a:lnTo>
                  <a:lnTo>
                    <a:pt x="69" y="995"/>
                  </a:lnTo>
                  <a:lnTo>
                    <a:pt x="68" y="998"/>
                  </a:lnTo>
                  <a:lnTo>
                    <a:pt x="68" y="1000"/>
                  </a:lnTo>
                  <a:lnTo>
                    <a:pt x="67" y="1004"/>
                  </a:lnTo>
                  <a:lnTo>
                    <a:pt x="67" y="1007"/>
                  </a:lnTo>
                  <a:lnTo>
                    <a:pt x="67" y="1009"/>
                  </a:lnTo>
                  <a:lnTo>
                    <a:pt x="65" y="1011"/>
                  </a:lnTo>
                  <a:lnTo>
                    <a:pt x="65" y="1013"/>
                  </a:lnTo>
                  <a:lnTo>
                    <a:pt x="65" y="1015"/>
                  </a:lnTo>
                  <a:lnTo>
                    <a:pt x="67" y="1019"/>
                  </a:lnTo>
                  <a:lnTo>
                    <a:pt x="67" y="1018"/>
                  </a:lnTo>
                  <a:lnTo>
                    <a:pt x="69" y="1017"/>
                  </a:lnTo>
                  <a:lnTo>
                    <a:pt x="70" y="1016"/>
                  </a:lnTo>
                  <a:lnTo>
                    <a:pt x="71" y="1015"/>
                  </a:lnTo>
                  <a:lnTo>
                    <a:pt x="71" y="1010"/>
                  </a:lnTo>
                  <a:lnTo>
                    <a:pt x="71" y="1009"/>
                  </a:lnTo>
                  <a:lnTo>
                    <a:pt x="73" y="1009"/>
                  </a:lnTo>
                  <a:lnTo>
                    <a:pt x="73" y="1011"/>
                  </a:lnTo>
                  <a:lnTo>
                    <a:pt x="73" y="1013"/>
                  </a:lnTo>
                  <a:lnTo>
                    <a:pt x="73" y="1016"/>
                  </a:lnTo>
                  <a:lnTo>
                    <a:pt x="73" y="1019"/>
                  </a:lnTo>
                  <a:lnTo>
                    <a:pt x="74" y="1022"/>
                  </a:lnTo>
                  <a:lnTo>
                    <a:pt x="74" y="1021"/>
                  </a:lnTo>
                  <a:lnTo>
                    <a:pt x="75" y="1022"/>
                  </a:lnTo>
                  <a:lnTo>
                    <a:pt x="76" y="1024"/>
                  </a:lnTo>
                  <a:lnTo>
                    <a:pt x="77" y="1024"/>
                  </a:lnTo>
                  <a:lnTo>
                    <a:pt x="77" y="1019"/>
                  </a:lnTo>
                  <a:lnTo>
                    <a:pt x="76" y="1015"/>
                  </a:lnTo>
                  <a:lnTo>
                    <a:pt x="77" y="1011"/>
                  </a:lnTo>
                  <a:lnTo>
                    <a:pt x="77" y="1006"/>
                  </a:lnTo>
                  <a:lnTo>
                    <a:pt x="79" y="1013"/>
                  </a:lnTo>
                  <a:lnTo>
                    <a:pt x="80" y="1013"/>
                  </a:lnTo>
                  <a:lnTo>
                    <a:pt x="80" y="1010"/>
                  </a:lnTo>
                  <a:lnTo>
                    <a:pt x="80" y="1005"/>
                  </a:lnTo>
                  <a:lnTo>
                    <a:pt x="81" y="1003"/>
                  </a:lnTo>
                  <a:lnTo>
                    <a:pt x="81" y="998"/>
                  </a:lnTo>
                  <a:lnTo>
                    <a:pt x="83" y="997"/>
                  </a:lnTo>
                  <a:lnTo>
                    <a:pt x="83" y="1000"/>
                  </a:lnTo>
                  <a:lnTo>
                    <a:pt x="83" y="1006"/>
                  </a:lnTo>
                  <a:lnTo>
                    <a:pt x="81" y="1010"/>
                  </a:lnTo>
                  <a:lnTo>
                    <a:pt x="81" y="1013"/>
                  </a:lnTo>
                  <a:lnTo>
                    <a:pt x="80" y="1017"/>
                  </a:lnTo>
                  <a:lnTo>
                    <a:pt x="79" y="1019"/>
                  </a:lnTo>
                  <a:lnTo>
                    <a:pt x="80" y="1021"/>
                  </a:lnTo>
                  <a:lnTo>
                    <a:pt x="81" y="1022"/>
                  </a:lnTo>
                  <a:lnTo>
                    <a:pt x="82" y="1021"/>
                  </a:lnTo>
                  <a:lnTo>
                    <a:pt x="82" y="1019"/>
                  </a:lnTo>
                  <a:lnTo>
                    <a:pt x="83" y="1017"/>
                  </a:lnTo>
                  <a:lnTo>
                    <a:pt x="83" y="1015"/>
                  </a:lnTo>
                  <a:lnTo>
                    <a:pt x="85" y="1013"/>
                  </a:lnTo>
                  <a:lnTo>
                    <a:pt x="83" y="1012"/>
                  </a:lnTo>
                  <a:lnTo>
                    <a:pt x="85" y="1009"/>
                  </a:lnTo>
                  <a:lnTo>
                    <a:pt x="86" y="1009"/>
                  </a:lnTo>
                  <a:lnTo>
                    <a:pt x="86" y="1013"/>
                  </a:lnTo>
                  <a:lnTo>
                    <a:pt x="86" y="1015"/>
                  </a:lnTo>
                  <a:lnTo>
                    <a:pt x="87" y="1016"/>
                  </a:lnTo>
                  <a:lnTo>
                    <a:pt x="88" y="1012"/>
                  </a:lnTo>
                  <a:lnTo>
                    <a:pt x="90" y="1010"/>
                  </a:lnTo>
                  <a:lnTo>
                    <a:pt x="90" y="1009"/>
                  </a:lnTo>
                  <a:lnTo>
                    <a:pt x="92" y="1004"/>
                  </a:lnTo>
                  <a:lnTo>
                    <a:pt x="92" y="1006"/>
                  </a:lnTo>
                  <a:lnTo>
                    <a:pt x="92" y="1009"/>
                  </a:lnTo>
                  <a:lnTo>
                    <a:pt x="91" y="1012"/>
                  </a:lnTo>
                  <a:lnTo>
                    <a:pt x="91" y="1016"/>
                  </a:lnTo>
                  <a:lnTo>
                    <a:pt x="92" y="1016"/>
                  </a:lnTo>
                  <a:lnTo>
                    <a:pt x="91" y="1018"/>
                  </a:lnTo>
                  <a:lnTo>
                    <a:pt x="93" y="1019"/>
                  </a:lnTo>
                  <a:lnTo>
                    <a:pt x="93" y="1018"/>
                  </a:lnTo>
                  <a:lnTo>
                    <a:pt x="93" y="1021"/>
                  </a:lnTo>
                  <a:lnTo>
                    <a:pt x="92" y="1023"/>
                  </a:lnTo>
                  <a:lnTo>
                    <a:pt x="91" y="1024"/>
                  </a:lnTo>
                  <a:lnTo>
                    <a:pt x="88" y="1027"/>
                  </a:lnTo>
                  <a:lnTo>
                    <a:pt x="90" y="1027"/>
                  </a:lnTo>
                  <a:lnTo>
                    <a:pt x="92" y="1026"/>
                  </a:lnTo>
                  <a:lnTo>
                    <a:pt x="91" y="1028"/>
                  </a:lnTo>
                  <a:lnTo>
                    <a:pt x="91" y="1029"/>
                  </a:lnTo>
                  <a:lnTo>
                    <a:pt x="91" y="1030"/>
                  </a:lnTo>
                  <a:lnTo>
                    <a:pt x="92" y="1032"/>
                  </a:lnTo>
                  <a:lnTo>
                    <a:pt x="94" y="1032"/>
                  </a:lnTo>
                  <a:lnTo>
                    <a:pt x="98" y="1024"/>
                  </a:lnTo>
                  <a:lnTo>
                    <a:pt x="98" y="1022"/>
                  </a:lnTo>
                  <a:lnTo>
                    <a:pt x="99" y="1021"/>
                  </a:lnTo>
                  <a:lnTo>
                    <a:pt x="99" y="1013"/>
                  </a:lnTo>
                  <a:lnTo>
                    <a:pt x="99" y="1010"/>
                  </a:lnTo>
                  <a:lnTo>
                    <a:pt x="99" y="1005"/>
                  </a:lnTo>
                  <a:lnTo>
                    <a:pt x="99" y="1004"/>
                  </a:lnTo>
                  <a:lnTo>
                    <a:pt x="100" y="1005"/>
                  </a:lnTo>
                  <a:lnTo>
                    <a:pt x="100" y="1006"/>
                  </a:lnTo>
                  <a:lnTo>
                    <a:pt x="100" y="1009"/>
                  </a:lnTo>
                  <a:lnTo>
                    <a:pt x="103" y="1010"/>
                  </a:lnTo>
                  <a:lnTo>
                    <a:pt x="103" y="1012"/>
                  </a:lnTo>
                  <a:lnTo>
                    <a:pt x="102" y="1016"/>
                  </a:lnTo>
                  <a:lnTo>
                    <a:pt x="102" y="1019"/>
                  </a:lnTo>
                  <a:lnTo>
                    <a:pt x="102" y="1021"/>
                  </a:lnTo>
                  <a:lnTo>
                    <a:pt x="102" y="1022"/>
                  </a:lnTo>
                  <a:lnTo>
                    <a:pt x="100" y="1024"/>
                  </a:lnTo>
                  <a:lnTo>
                    <a:pt x="99" y="1026"/>
                  </a:lnTo>
                  <a:lnTo>
                    <a:pt x="98" y="1028"/>
                  </a:lnTo>
                  <a:lnTo>
                    <a:pt x="97" y="1030"/>
                  </a:lnTo>
                  <a:lnTo>
                    <a:pt x="97" y="1034"/>
                  </a:lnTo>
                  <a:lnTo>
                    <a:pt x="98" y="1035"/>
                  </a:lnTo>
                  <a:lnTo>
                    <a:pt x="98" y="1038"/>
                  </a:lnTo>
                  <a:lnTo>
                    <a:pt x="98" y="1040"/>
                  </a:lnTo>
                  <a:lnTo>
                    <a:pt x="97" y="1042"/>
                  </a:lnTo>
                  <a:lnTo>
                    <a:pt x="97" y="1045"/>
                  </a:lnTo>
                  <a:lnTo>
                    <a:pt x="96" y="1047"/>
                  </a:lnTo>
                  <a:lnTo>
                    <a:pt x="92" y="1047"/>
                  </a:lnTo>
                  <a:lnTo>
                    <a:pt x="88" y="1046"/>
                  </a:lnTo>
                  <a:lnTo>
                    <a:pt x="85" y="1044"/>
                  </a:lnTo>
                  <a:lnTo>
                    <a:pt x="80" y="1042"/>
                  </a:lnTo>
                  <a:lnTo>
                    <a:pt x="79" y="1041"/>
                  </a:lnTo>
                  <a:lnTo>
                    <a:pt x="77" y="1041"/>
                  </a:lnTo>
                  <a:lnTo>
                    <a:pt x="74" y="1040"/>
                  </a:lnTo>
                  <a:lnTo>
                    <a:pt x="71" y="1040"/>
                  </a:lnTo>
                  <a:lnTo>
                    <a:pt x="69" y="1039"/>
                  </a:lnTo>
                  <a:lnTo>
                    <a:pt x="68" y="1041"/>
                  </a:lnTo>
                  <a:lnTo>
                    <a:pt x="70" y="1042"/>
                  </a:lnTo>
                  <a:lnTo>
                    <a:pt x="70" y="1045"/>
                  </a:lnTo>
                  <a:lnTo>
                    <a:pt x="73" y="1044"/>
                  </a:lnTo>
                  <a:lnTo>
                    <a:pt x="71" y="1046"/>
                  </a:lnTo>
                  <a:lnTo>
                    <a:pt x="73" y="1047"/>
                  </a:lnTo>
                  <a:lnTo>
                    <a:pt x="74" y="1046"/>
                  </a:lnTo>
                  <a:lnTo>
                    <a:pt x="75" y="1046"/>
                  </a:lnTo>
                  <a:lnTo>
                    <a:pt x="76" y="1045"/>
                  </a:lnTo>
                  <a:lnTo>
                    <a:pt x="77" y="1046"/>
                  </a:lnTo>
                  <a:lnTo>
                    <a:pt x="74" y="1048"/>
                  </a:lnTo>
                  <a:lnTo>
                    <a:pt x="74" y="1050"/>
                  </a:lnTo>
                  <a:lnTo>
                    <a:pt x="75" y="1051"/>
                  </a:lnTo>
                  <a:lnTo>
                    <a:pt x="76" y="1052"/>
                  </a:lnTo>
                  <a:lnTo>
                    <a:pt x="79" y="1051"/>
                  </a:lnTo>
                  <a:lnTo>
                    <a:pt x="80" y="1050"/>
                  </a:lnTo>
                  <a:lnTo>
                    <a:pt x="79" y="1052"/>
                  </a:lnTo>
                  <a:lnTo>
                    <a:pt x="79" y="1054"/>
                  </a:lnTo>
                  <a:lnTo>
                    <a:pt x="79" y="1056"/>
                  </a:lnTo>
                  <a:lnTo>
                    <a:pt x="80" y="1056"/>
                  </a:lnTo>
                  <a:lnTo>
                    <a:pt x="80" y="1057"/>
                  </a:lnTo>
                  <a:lnTo>
                    <a:pt x="80" y="1058"/>
                  </a:lnTo>
                  <a:lnTo>
                    <a:pt x="81" y="1060"/>
                  </a:lnTo>
                  <a:lnTo>
                    <a:pt x="82" y="1060"/>
                  </a:lnTo>
                  <a:lnTo>
                    <a:pt x="85" y="1060"/>
                  </a:lnTo>
                  <a:lnTo>
                    <a:pt x="85" y="1062"/>
                  </a:lnTo>
                  <a:lnTo>
                    <a:pt x="87" y="1064"/>
                  </a:lnTo>
                  <a:lnTo>
                    <a:pt x="85" y="1065"/>
                  </a:lnTo>
                  <a:lnTo>
                    <a:pt x="85" y="1066"/>
                  </a:lnTo>
                  <a:lnTo>
                    <a:pt x="86" y="1066"/>
                  </a:lnTo>
                  <a:lnTo>
                    <a:pt x="87" y="1069"/>
                  </a:lnTo>
                  <a:lnTo>
                    <a:pt x="88" y="1068"/>
                  </a:lnTo>
                  <a:lnTo>
                    <a:pt x="90" y="1066"/>
                  </a:lnTo>
                  <a:lnTo>
                    <a:pt x="91" y="1068"/>
                  </a:lnTo>
                  <a:lnTo>
                    <a:pt x="92" y="1066"/>
                  </a:lnTo>
                  <a:lnTo>
                    <a:pt x="93" y="1064"/>
                  </a:lnTo>
                  <a:lnTo>
                    <a:pt x="93" y="1062"/>
                  </a:lnTo>
                  <a:lnTo>
                    <a:pt x="94" y="1063"/>
                  </a:lnTo>
                  <a:lnTo>
                    <a:pt x="93" y="1066"/>
                  </a:lnTo>
                  <a:lnTo>
                    <a:pt x="92" y="1068"/>
                  </a:lnTo>
                  <a:lnTo>
                    <a:pt x="92" y="1070"/>
                  </a:lnTo>
                  <a:lnTo>
                    <a:pt x="93" y="1070"/>
                  </a:lnTo>
                  <a:lnTo>
                    <a:pt x="93" y="1071"/>
                  </a:lnTo>
                  <a:lnTo>
                    <a:pt x="93" y="1074"/>
                  </a:lnTo>
                  <a:lnTo>
                    <a:pt x="96" y="1074"/>
                  </a:lnTo>
                  <a:lnTo>
                    <a:pt x="98" y="1074"/>
                  </a:lnTo>
                  <a:lnTo>
                    <a:pt x="100" y="1074"/>
                  </a:lnTo>
                  <a:lnTo>
                    <a:pt x="102" y="1075"/>
                  </a:lnTo>
                  <a:lnTo>
                    <a:pt x="104" y="1074"/>
                  </a:lnTo>
                  <a:lnTo>
                    <a:pt x="105" y="1072"/>
                  </a:lnTo>
                  <a:lnTo>
                    <a:pt x="106" y="1075"/>
                  </a:lnTo>
                  <a:lnTo>
                    <a:pt x="108" y="1075"/>
                  </a:lnTo>
                  <a:lnTo>
                    <a:pt x="109" y="1074"/>
                  </a:lnTo>
                  <a:lnTo>
                    <a:pt x="110" y="1072"/>
                  </a:lnTo>
                  <a:lnTo>
                    <a:pt x="112" y="1072"/>
                  </a:lnTo>
                  <a:lnTo>
                    <a:pt x="114" y="1071"/>
                  </a:lnTo>
                  <a:lnTo>
                    <a:pt x="115" y="1071"/>
                  </a:lnTo>
                  <a:lnTo>
                    <a:pt x="116" y="1074"/>
                  </a:lnTo>
                  <a:lnTo>
                    <a:pt x="117" y="1074"/>
                  </a:lnTo>
                  <a:lnTo>
                    <a:pt x="120" y="1072"/>
                  </a:lnTo>
                  <a:lnTo>
                    <a:pt x="121" y="1072"/>
                  </a:lnTo>
                  <a:lnTo>
                    <a:pt x="122" y="1072"/>
                  </a:lnTo>
                  <a:lnTo>
                    <a:pt x="122" y="1074"/>
                  </a:lnTo>
                  <a:lnTo>
                    <a:pt x="124" y="1074"/>
                  </a:lnTo>
                  <a:lnTo>
                    <a:pt x="126" y="1074"/>
                  </a:lnTo>
                  <a:lnTo>
                    <a:pt x="128" y="1074"/>
                  </a:lnTo>
                  <a:lnTo>
                    <a:pt x="128" y="1075"/>
                  </a:lnTo>
                  <a:lnTo>
                    <a:pt x="129" y="1074"/>
                  </a:lnTo>
                  <a:lnTo>
                    <a:pt x="130" y="1072"/>
                  </a:lnTo>
                  <a:lnTo>
                    <a:pt x="132" y="1072"/>
                  </a:lnTo>
                  <a:lnTo>
                    <a:pt x="133" y="1075"/>
                  </a:lnTo>
                  <a:lnTo>
                    <a:pt x="134" y="1075"/>
                  </a:lnTo>
                  <a:lnTo>
                    <a:pt x="135" y="1075"/>
                  </a:lnTo>
                  <a:lnTo>
                    <a:pt x="136" y="1074"/>
                  </a:lnTo>
                  <a:lnTo>
                    <a:pt x="136" y="1075"/>
                  </a:lnTo>
                  <a:lnTo>
                    <a:pt x="138" y="1075"/>
                  </a:lnTo>
                  <a:lnTo>
                    <a:pt x="140" y="1076"/>
                  </a:lnTo>
                  <a:lnTo>
                    <a:pt x="141" y="1077"/>
                  </a:lnTo>
                  <a:lnTo>
                    <a:pt x="142" y="1080"/>
                  </a:lnTo>
                  <a:lnTo>
                    <a:pt x="142" y="1081"/>
                  </a:lnTo>
                  <a:lnTo>
                    <a:pt x="144" y="1082"/>
                  </a:lnTo>
                  <a:lnTo>
                    <a:pt x="146" y="1083"/>
                  </a:lnTo>
                  <a:lnTo>
                    <a:pt x="149" y="1083"/>
                  </a:lnTo>
                  <a:lnTo>
                    <a:pt x="150" y="1082"/>
                  </a:lnTo>
                  <a:lnTo>
                    <a:pt x="147" y="1084"/>
                  </a:lnTo>
                  <a:lnTo>
                    <a:pt x="146" y="1086"/>
                  </a:lnTo>
                  <a:lnTo>
                    <a:pt x="146" y="1087"/>
                  </a:lnTo>
                  <a:lnTo>
                    <a:pt x="147" y="1086"/>
                  </a:lnTo>
                  <a:lnTo>
                    <a:pt x="150" y="1086"/>
                  </a:lnTo>
                  <a:lnTo>
                    <a:pt x="151" y="1086"/>
                  </a:lnTo>
                  <a:lnTo>
                    <a:pt x="151" y="1087"/>
                  </a:lnTo>
                  <a:lnTo>
                    <a:pt x="149" y="1087"/>
                  </a:lnTo>
                  <a:lnTo>
                    <a:pt x="149" y="1089"/>
                  </a:lnTo>
                  <a:lnTo>
                    <a:pt x="150" y="1089"/>
                  </a:lnTo>
                  <a:lnTo>
                    <a:pt x="149" y="1092"/>
                  </a:lnTo>
                  <a:lnTo>
                    <a:pt x="150" y="1092"/>
                  </a:lnTo>
                  <a:lnTo>
                    <a:pt x="151" y="1090"/>
                  </a:lnTo>
                  <a:lnTo>
                    <a:pt x="152" y="1090"/>
                  </a:lnTo>
                  <a:lnTo>
                    <a:pt x="152" y="1092"/>
                  </a:lnTo>
                  <a:lnTo>
                    <a:pt x="152" y="1093"/>
                  </a:lnTo>
                  <a:lnTo>
                    <a:pt x="153" y="1094"/>
                  </a:lnTo>
                  <a:lnTo>
                    <a:pt x="153" y="1093"/>
                  </a:lnTo>
                  <a:lnTo>
                    <a:pt x="155" y="1093"/>
                  </a:lnTo>
                  <a:lnTo>
                    <a:pt x="155" y="1095"/>
                  </a:lnTo>
                  <a:lnTo>
                    <a:pt x="156" y="1096"/>
                  </a:lnTo>
                  <a:lnTo>
                    <a:pt x="157" y="1094"/>
                  </a:lnTo>
                  <a:lnTo>
                    <a:pt x="158" y="1094"/>
                  </a:lnTo>
                  <a:lnTo>
                    <a:pt x="157" y="1096"/>
                  </a:lnTo>
                  <a:lnTo>
                    <a:pt x="156" y="1098"/>
                  </a:lnTo>
                  <a:lnTo>
                    <a:pt x="155" y="1100"/>
                  </a:lnTo>
                  <a:lnTo>
                    <a:pt x="156" y="1101"/>
                  </a:lnTo>
                  <a:lnTo>
                    <a:pt x="157" y="1100"/>
                  </a:lnTo>
                  <a:lnTo>
                    <a:pt x="158" y="1098"/>
                  </a:lnTo>
                  <a:lnTo>
                    <a:pt x="159" y="1095"/>
                  </a:lnTo>
                  <a:lnTo>
                    <a:pt x="159" y="1096"/>
                  </a:lnTo>
                  <a:lnTo>
                    <a:pt x="159" y="1100"/>
                  </a:lnTo>
                  <a:lnTo>
                    <a:pt x="159" y="1101"/>
                  </a:lnTo>
                  <a:lnTo>
                    <a:pt x="159" y="1102"/>
                  </a:lnTo>
                  <a:lnTo>
                    <a:pt x="158" y="1105"/>
                  </a:lnTo>
                  <a:lnTo>
                    <a:pt x="158" y="1108"/>
                  </a:lnTo>
                  <a:lnTo>
                    <a:pt x="157" y="1110"/>
                  </a:lnTo>
                  <a:lnTo>
                    <a:pt x="156" y="1112"/>
                  </a:lnTo>
                  <a:lnTo>
                    <a:pt x="155" y="1114"/>
                  </a:lnTo>
                  <a:lnTo>
                    <a:pt x="153" y="1118"/>
                  </a:lnTo>
                  <a:lnTo>
                    <a:pt x="151" y="1122"/>
                  </a:lnTo>
                  <a:lnTo>
                    <a:pt x="149" y="1124"/>
                  </a:lnTo>
                  <a:lnTo>
                    <a:pt x="147" y="1125"/>
                  </a:lnTo>
                  <a:lnTo>
                    <a:pt x="149" y="1128"/>
                  </a:lnTo>
                  <a:lnTo>
                    <a:pt x="150" y="1129"/>
                  </a:lnTo>
                  <a:lnTo>
                    <a:pt x="150" y="1130"/>
                  </a:lnTo>
                  <a:lnTo>
                    <a:pt x="150" y="1133"/>
                  </a:lnTo>
                  <a:lnTo>
                    <a:pt x="151" y="1134"/>
                  </a:lnTo>
                  <a:lnTo>
                    <a:pt x="152" y="1133"/>
                  </a:lnTo>
                  <a:lnTo>
                    <a:pt x="153" y="1134"/>
                  </a:lnTo>
                  <a:lnTo>
                    <a:pt x="153" y="1135"/>
                  </a:lnTo>
                  <a:lnTo>
                    <a:pt x="156" y="1135"/>
                  </a:lnTo>
                  <a:lnTo>
                    <a:pt x="153" y="1137"/>
                  </a:lnTo>
                  <a:lnTo>
                    <a:pt x="152" y="1140"/>
                  </a:lnTo>
                  <a:lnTo>
                    <a:pt x="153" y="1139"/>
                  </a:lnTo>
                  <a:lnTo>
                    <a:pt x="155" y="1137"/>
                  </a:lnTo>
                  <a:lnTo>
                    <a:pt x="156" y="1135"/>
                  </a:lnTo>
                  <a:lnTo>
                    <a:pt x="158" y="1133"/>
                  </a:lnTo>
                  <a:lnTo>
                    <a:pt x="159" y="1131"/>
                  </a:lnTo>
                  <a:lnTo>
                    <a:pt x="161" y="1130"/>
                  </a:lnTo>
                  <a:lnTo>
                    <a:pt x="163" y="1128"/>
                  </a:lnTo>
                  <a:lnTo>
                    <a:pt x="163" y="1129"/>
                  </a:lnTo>
                  <a:lnTo>
                    <a:pt x="164" y="1130"/>
                  </a:lnTo>
                  <a:lnTo>
                    <a:pt x="165" y="1131"/>
                  </a:lnTo>
                  <a:lnTo>
                    <a:pt x="168" y="1133"/>
                  </a:lnTo>
                  <a:lnTo>
                    <a:pt x="170" y="1133"/>
                  </a:lnTo>
                  <a:lnTo>
                    <a:pt x="170" y="1135"/>
                  </a:lnTo>
                  <a:lnTo>
                    <a:pt x="171" y="1136"/>
                  </a:lnTo>
                  <a:lnTo>
                    <a:pt x="171" y="1137"/>
                  </a:lnTo>
                  <a:lnTo>
                    <a:pt x="173" y="1136"/>
                  </a:lnTo>
                  <a:lnTo>
                    <a:pt x="174" y="1136"/>
                  </a:lnTo>
                  <a:lnTo>
                    <a:pt x="175" y="1139"/>
                  </a:lnTo>
                  <a:lnTo>
                    <a:pt x="174" y="1140"/>
                  </a:lnTo>
                  <a:lnTo>
                    <a:pt x="175" y="1141"/>
                  </a:lnTo>
                  <a:lnTo>
                    <a:pt x="176" y="1141"/>
                  </a:lnTo>
                  <a:lnTo>
                    <a:pt x="177" y="1141"/>
                  </a:lnTo>
                  <a:lnTo>
                    <a:pt x="177" y="1142"/>
                  </a:lnTo>
                  <a:lnTo>
                    <a:pt x="177" y="1145"/>
                  </a:lnTo>
                  <a:lnTo>
                    <a:pt x="179" y="1143"/>
                  </a:lnTo>
                  <a:lnTo>
                    <a:pt x="180" y="1143"/>
                  </a:lnTo>
                  <a:lnTo>
                    <a:pt x="181" y="1145"/>
                  </a:lnTo>
                  <a:lnTo>
                    <a:pt x="182" y="1145"/>
                  </a:lnTo>
                  <a:lnTo>
                    <a:pt x="183" y="1145"/>
                  </a:lnTo>
                  <a:lnTo>
                    <a:pt x="186" y="1145"/>
                  </a:lnTo>
                  <a:lnTo>
                    <a:pt x="186" y="1143"/>
                  </a:lnTo>
                  <a:lnTo>
                    <a:pt x="186" y="1140"/>
                  </a:lnTo>
                  <a:lnTo>
                    <a:pt x="187" y="1137"/>
                  </a:lnTo>
                  <a:lnTo>
                    <a:pt x="187" y="1135"/>
                  </a:lnTo>
                  <a:lnTo>
                    <a:pt x="187" y="1134"/>
                  </a:lnTo>
                  <a:lnTo>
                    <a:pt x="187" y="1131"/>
                  </a:lnTo>
                  <a:lnTo>
                    <a:pt x="187" y="1129"/>
                  </a:lnTo>
                  <a:lnTo>
                    <a:pt x="186" y="1126"/>
                  </a:lnTo>
                  <a:lnTo>
                    <a:pt x="185" y="1125"/>
                  </a:lnTo>
                  <a:lnTo>
                    <a:pt x="183" y="1125"/>
                  </a:lnTo>
                  <a:lnTo>
                    <a:pt x="182" y="1124"/>
                  </a:lnTo>
                  <a:lnTo>
                    <a:pt x="183" y="1122"/>
                  </a:lnTo>
                  <a:lnTo>
                    <a:pt x="186" y="1118"/>
                  </a:lnTo>
                  <a:lnTo>
                    <a:pt x="187" y="1117"/>
                  </a:lnTo>
                  <a:lnTo>
                    <a:pt x="191" y="1117"/>
                  </a:lnTo>
                  <a:lnTo>
                    <a:pt x="192" y="1116"/>
                  </a:lnTo>
                  <a:lnTo>
                    <a:pt x="193" y="1113"/>
                  </a:lnTo>
                  <a:lnTo>
                    <a:pt x="194" y="1114"/>
                  </a:lnTo>
                  <a:lnTo>
                    <a:pt x="197" y="1114"/>
                  </a:lnTo>
                  <a:lnTo>
                    <a:pt x="199" y="1114"/>
                  </a:lnTo>
                  <a:lnTo>
                    <a:pt x="200" y="1114"/>
                  </a:lnTo>
                  <a:lnTo>
                    <a:pt x="201" y="1116"/>
                  </a:lnTo>
                  <a:lnTo>
                    <a:pt x="203" y="1116"/>
                  </a:lnTo>
                  <a:lnTo>
                    <a:pt x="205" y="1117"/>
                  </a:lnTo>
                  <a:lnTo>
                    <a:pt x="206" y="1116"/>
                  </a:lnTo>
                  <a:lnTo>
                    <a:pt x="207" y="1114"/>
                  </a:lnTo>
                  <a:lnTo>
                    <a:pt x="207" y="1116"/>
                  </a:lnTo>
                  <a:lnTo>
                    <a:pt x="209" y="1114"/>
                  </a:lnTo>
                  <a:lnTo>
                    <a:pt x="209" y="1113"/>
                  </a:lnTo>
                  <a:lnTo>
                    <a:pt x="210" y="1112"/>
                  </a:lnTo>
                  <a:lnTo>
                    <a:pt x="211" y="1112"/>
                  </a:lnTo>
                  <a:lnTo>
                    <a:pt x="214" y="1111"/>
                  </a:lnTo>
                  <a:lnTo>
                    <a:pt x="214" y="1110"/>
                  </a:lnTo>
                  <a:lnTo>
                    <a:pt x="215" y="1107"/>
                  </a:lnTo>
                  <a:lnTo>
                    <a:pt x="218" y="1107"/>
                  </a:lnTo>
                  <a:lnTo>
                    <a:pt x="220" y="1106"/>
                  </a:lnTo>
                  <a:lnTo>
                    <a:pt x="220" y="1108"/>
                  </a:lnTo>
                  <a:lnTo>
                    <a:pt x="221" y="1111"/>
                  </a:lnTo>
                  <a:lnTo>
                    <a:pt x="223" y="1110"/>
                  </a:lnTo>
                  <a:lnTo>
                    <a:pt x="223" y="1108"/>
                  </a:lnTo>
                  <a:lnTo>
                    <a:pt x="223" y="1107"/>
                  </a:lnTo>
                  <a:lnTo>
                    <a:pt x="223" y="1105"/>
                  </a:lnTo>
                  <a:lnTo>
                    <a:pt x="223" y="1102"/>
                  </a:lnTo>
                  <a:lnTo>
                    <a:pt x="224" y="1105"/>
                  </a:lnTo>
                  <a:lnTo>
                    <a:pt x="224" y="1107"/>
                  </a:lnTo>
                  <a:lnTo>
                    <a:pt x="224" y="1108"/>
                  </a:lnTo>
                  <a:lnTo>
                    <a:pt x="226" y="1108"/>
                  </a:lnTo>
                  <a:lnTo>
                    <a:pt x="226" y="1111"/>
                  </a:lnTo>
                  <a:lnTo>
                    <a:pt x="224" y="1112"/>
                  </a:lnTo>
                  <a:lnTo>
                    <a:pt x="226" y="1113"/>
                  </a:lnTo>
                  <a:lnTo>
                    <a:pt x="227" y="1112"/>
                  </a:lnTo>
                  <a:lnTo>
                    <a:pt x="228" y="1112"/>
                  </a:lnTo>
                  <a:lnTo>
                    <a:pt x="229" y="1112"/>
                  </a:lnTo>
                  <a:lnTo>
                    <a:pt x="229" y="1113"/>
                  </a:lnTo>
                  <a:lnTo>
                    <a:pt x="230" y="1113"/>
                  </a:lnTo>
                  <a:lnTo>
                    <a:pt x="230" y="1112"/>
                  </a:lnTo>
                  <a:lnTo>
                    <a:pt x="230" y="1110"/>
                  </a:lnTo>
                  <a:lnTo>
                    <a:pt x="232" y="1110"/>
                  </a:lnTo>
                  <a:lnTo>
                    <a:pt x="233" y="1112"/>
                  </a:lnTo>
                  <a:lnTo>
                    <a:pt x="233" y="1114"/>
                  </a:lnTo>
                  <a:lnTo>
                    <a:pt x="233" y="1116"/>
                  </a:lnTo>
                  <a:lnTo>
                    <a:pt x="234" y="1116"/>
                  </a:lnTo>
                  <a:lnTo>
                    <a:pt x="235" y="1117"/>
                  </a:lnTo>
                  <a:lnTo>
                    <a:pt x="239" y="1114"/>
                  </a:lnTo>
                  <a:lnTo>
                    <a:pt x="239" y="1119"/>
                  </a:lnTo>
                  <a:lnTo>
                    <a:pt x="240" y="1116"/>
                  </a:lnTo>
                  <a:lnTo>
                    <a:pt x="239" y="1113"/>
                  </a:lnTo>
                  <a:lnTo>
                    <a:pt x="242" y="1116"/>
                  </a:lnTo>
                  <a:lnTo>
                    <a:pt x="242" y="1117"/>
                  </a:lnTo>
                  <a:lnTo>
                    <a:pt x="242" y="1118"/>
                  </a:lnTo>
                  <a:lnTo>
                    <a:pt x="242" y="1119"/>
                  </a:lnTo>
                  <a:lnTo>
                    <a:pt x="242" y="1122"/>
                  </a:lnTo>
                  <a:lnTo>
                    <a:pt x="244" y="1120"/>
                  </a:lnTo>
                  <a:lnTo>
                    <a:pt x="245" y="1119"/>
                  </a:lnTo>
                  <a:lnTo>
                    <a:pt x="247" y="1118"/>
                  </a:lnTo>
                  <a:lnTo>
                    <a:pt x="248" y="1117"/>
                  </a:lnTo>
                  <a:lnTo>
                    <a:pt x="248" y="1119"/>
                  </a:lnTo>
                  <a:lnTo>
                    <a:pt x="250" y="1120"/>
                  </a:lnTo>
                  <a:lnTo>
                    <a:pt x="251" y="1122"/>
                  </a:lnTo>
                  <a:lnTo>
                    <a:pt x="252" y="1122"/>
                  </a:lnTo>
                  <a:lnTo>
                    <a:pt x="253" y="1120"/>
                  </a:lnTo>
                  <a:lnTo>
                    <a:pt x="256" y="1119"/>
                  </a:lnTo>
                  <a:lnTo>
                    <a:pt x="257" y="1118"/>
                  </a:lnTo>
                  <a:lnTo>
                    <a:pt x="259" y="1117"/>
                  </a:lnTo>
                  <a:lnTo>
                    <a:pt x="260" y="1116"/>
                  </a:lnTo>
                  <a:lnTo>
                    <a:pt x="260" y="1114"/>
                  </a:lnTo>
                  <a:lnTo>
                    <a:pt x="262" y="1113"/>
                  </a:lnTo>
                  <a:lnTo>
                    <a:pt x="262" y="1116"/>
                  </a:lnTo>
                  <a:lnTo>
                    <a:pt x="262" y="1118"/>
                  </a:lnTo>
                  <a:lnTo>
                    <a:pt x="263" y="1118"/>
                  </a:lnTo>
                  <a:lnTo>
                    <a:pt x="264" y="1119"/>
                  </a:lnTo>
                  <a:lnTo>
                    <a:pt x="266" y="1120"/>
                  </a:lnTo>
                  <a:lnTo>
                    <a:pt x="268" y="1122"/>
                  </a:lnTo>
                  <a:lnTo>
                    <a:pt x="269" y="1123"/>
                  </a:lnTo>
                  <a:lnTo>
                    <a:pt x="269" y="1124"/>
                  </a:lnTo>
                  <a:lnTo>
                    <a:pt x="270" y="1125"/>
                  </a:lnTo>
                  <a:lnTo>
                    <a:pt x="273" y="1125"/>
                  </a:lnTo>
                  <a:lnTo>
                    <a:pt x="271" y="1128"/>
                  </a:lnTo>
                  <a:lnTo>
                    <a:pt x="271" y="1129"/>
                  </a:lnTo>
                  <a:lnTo>
                    <a:pt x="273" y="1128"/>
                  </a:lnTo>
                  <a:lnTo>
                    <a:pt x="274" y="1128"/>
                  </a:lnTo>
                  <a:lnTo>
                    <a:pt x="274" y="1130"/>
                  </a:lnTo>
                  <a:lnTo>
                    <a:pt x="274" y="1133"/>
                  </a:lnTo>
                  <a:lnTo>
                    <a:pt x="275" y="1133"/>
                  </a:lnTo>
                  <a:lnTo>
                    <a:pt x="276" y="1133"/>
                  </a:lnTo>
                  <a:lnTo>
                    <a:pt x="279" y="1131"/>
                  </a:lnTo>
                  <a:lnTo>
                    <a:pt x="279" y="1133"/>
                  </a:lnTo>
                  <a:lnTo>
                    <a:pt x="276" y="1134"/>
                  </a:lnTo>
                  <a:lnTo>
                    <a:pt x="275" y="1136"/>
                  </a:lnTo>
                  <a:lnTo>
                    <a:pt x="276" y="1136"/>
                  </a:lnTo>
                  <a:lnTo>
                    <a:pt x="277" y="1136"/>
                  </a:lnTo>
                  <a:lnTo>
                    <a:pt x="280" y="1135"/>
                  </a:lnTo>
                  <a:lnTo>
                    <a:pt x="282" y="1133"/>
                  </a:lnTo>
                  <a:lnTo>
                    <a:pt x="285" y="1131"/>
                  </a:lnTo>
                  <a:lnTo>
                    <a:pt x="286" y="1131"/>
                  </a:lnTo>
                  <a:lnTo>
                    <a:pt x="287" y="1130"/>
                  </a:lnTo>
                  <a:lnTo>
                    <a:pt x="289" y="1130"/>
                  </a:lnTo>
                  <a:lnTo>
                    <a:pt x="291" y="1130"/>
                  </a:lnTo>
                  <a:lnTo>
                    <a:pt x="292" y="1129"/>
                  </a:lnTo>
                  <a:lnTo>
                    <a:pt x="293" y="1128"/>
                  </a:lnTo>
                  <a:lnTo>
                    <a:pt x="294" y="1129"/>
                  </a:lnTo>
                  <a:lnTo>
                    <a:pt x="295" y="1129"/>
                  </a:lnTo>
                  <a:lnTo>
                    <a:pt x="297" y="1128"/>
                  </a:lnTo>
                  <a:lnTo>
                    <a:pt x="298" y="1128"/>
                  </a:lnTo>
                  <a:lnTo>
                    <a:pt x="300" y="1128"/>
                  </a:lnTo>
                  <a:lnTo>
                    <a:pt x="301" y="1128"/>
                  </a:lnTo>
                  <a:lnTo>
                    <a:pt x="303" y="1129"/>
                  </a:lnTo>
                  <a:lnTo>
                    <a:pt x="303" y="1130"/>
                  </a:lnTo>
                  <a:lnTo>
                    <a:pt x="304" y="1130"/>
                  </a:lnTo>
                  <a:lnTo>
                    <a:pt x="305" y="1130"/>
                  </a:lnTo>
                  <a:lnTo>
                    <a:pt x="305" y="1129"/>
                  </a:lnTo>
                  <a:lnTo>
                    <a:pt x="306" y="1129"/>
                  </a:lnTo>
                  <a:lnTo>
                    <a:pt x="307" y="1126"/>
                  </a:lnTo>
                  <a:lnTo>
                    <a:pt x="307" y="1124"/>
                  </a:lnTo>
                  <a:lnTo>
                    <a:pt x="307" y="1122"/>
                  </a:lnTo>
                  <a:lnTo>
                    <a:pt x="309" y="1123"/>
                  </a:lnTo>
                  <a:lnTo>
                    <a:pt x="309" y="1125"/>
                  </a:lnTo>
                  <a:lnTo>
                    <a:pt x="309" y="1126"/>
                  </a:lnTo>
                  <a:lnTo>
                    <a:pt x="309" y="1130"/>
                  </a:lnTo>
                  <a:lnTo>
                    <a:pt x="310" y="1130"/>
                  </a:lnTo>
                  <a:lnTo>
                    <a:pt x="310" y="1131"/>
                  </a:lnTo>
                  <a:lnTo>
                    <a:pt x="310" y="1133"/>
                  </a:lnTo>
                  <a:lnTo>
                    <a:pt x="311" y="1135"/>
                  </a:lnTo>
                  <a:lnTo>
                    <a:pt x="311" y="1136"/>
                  </a:lnTo>
                  <a:lnTo>
                    <a:pt x="311" y="1139"/>
                  </a:lnTo>
                  <a:lnTo>
                    <a:pt x="312" y="1140"/>
                  </a:lnTo>
                  <a:lnTo>
                    <a:pt x="313" y="1141"/>
                  </a:lnTo>
                  <a:lnTo>
                    <a:pt x="312" y="1145"/>
                  </a:lnTo>
                  <a:lnTo>
                    <a:pt x="313" y="1146"/>
                  </a:lnTo>
                  <a:lnTo>
                    <a:pt x="313" y="1147"/>
                  </a:lnTo>
                  <a:lnTo>
                    <a:pt x="313" y="1149"/>
                  </a:lnTo>
                  <a:lnTo>
                    <a:pt x="315" y="1151"/>
                  </a:lnTo>
                  <a:lnTo>
                    <a:pt x="316" y="1152"/>
                  </a:lnTo>
                  <a:lnTo>
                    <a:pt x="317" y="1155"/>
                  </a:lnTo>
                  <a:lnTo>
                    <a:pt x="317" y="1157"/>
                  </a:lnTo>
                  <a:lnTo>
                    <a:pt x="318" y="1159"/>
                  </a:lnTo>
                  <a:lnTo>
                    <a:pt x="319" y="1161"/>
                  </a:lnTo>
                  <a:lnTo>
                    <a:pt x="322" y="1163"/>
                  </a:lnTo>
                  <a:lnTo>
                    <a:pt x="325" y="1164"/>
                  </a:lnTo>
                  <a:lnTo>
                    <a:pt x="327" y="1163"/>
                  </a:lnTo>
                  <a:lnTo>
                    <a:pt x="328" y="1163"/>
                  </a:lnTo>
                  <a:lnTo>
                    <a:pt x="329" y="1163"/>
                  </a:lnTo>
                  <a:lnTo>
                    <a:pt x="330" y="1161"/>
                  </a:lnTo>
                  <a:lnTo>
                    <a:pt x="333" y="1161"/>
                  </a:lnTo>
                  <a:lnTo>
                    <a:pt x="333" y="1159"/>
                  </a:lnTo>
                  <a:lnTo>
                    <a:pt x="334" y="1159"/>
                  </a:lnTo>
                  <a:lnTo>
                    <a:pt x="336" y="1159"/>
                  </a:lnTo>
                  <a:lnTo>
                    <a:pt x="338" y="1158"/>
                  </a:lnTo>
                  <a:lnTo>
                    <a:pt x="338" y="1157"/>
                  </a:lnTo>
                  <a:lnTo>
                    <a:pt x="339" y="1157"/>
                  </a:lnTo>
                  <a:lnTo>
                    <a:pt x="340" y="1157"/>
                  </a:lnTo>
                  <a:lnTo>
                    <a:pt x="341" y="1157"/>
                  </a:lnTo>
                  <a:lnTo>
                    <a:pt x="342" y="1158"/>
                  </a:lnTo>
                  <a:lnTo>
                    <a:pt x="342" y="1160"/>
                  </a:lnTo>
                  <a:lnTo>
                    <a:pt x="342" y="1161"/>
                  </a:lnTo>
                  <a:lnTo>
                    <a:pt x="344" y="1160"/>
                  </a:lnTo>
                  <a:lnTo>
                    <a:pt x="344" y="1161"/>
                  </a:lnTo>
                  <a:lnTo>
                    <a:pt x="344" y="1163"/>
                  </a:lnTo>
                  <a:lnTo>
                    <a:pt x="345" y="1164"/>
                  </a:lnTo>
                  <a:lnTo>
                    <a:pt x="345" y="1163"/>
                  </a:lnTo>
                  <a:lnTo>
                    <a:pt x="346" y="1163"/>
                  </a:lnTo>
                  <a:lnTo>
                    <a:pt x="346" y="1164"/>
                  </a:lnTo>
                  <a:lnTo>
                    <a:pt x="346" y="1166"/>
                  </a:lnTo>
                  <a:lnTo>
                    <a:pt x="347" y="1165"/>
                  </a:lnTo>
                  <a:lnTo>
                    <a:pt x="347" y="1166"/>
                  </a:lnTo>
                  <a:lnTo>
                    <a:pt x="347" y="1169"/>
                  </a:lnTo>
                  <a:lnTo>
                    <a:pt x="347" y="1170"/>
                  </a:lnTo>
                  <a:lnTo>
                    <a:pt x="347" y="1171"/>
                  </a:lnTo>
                  <a:lnTo>
                    <a:pt x="348" y="1172"/>
                  </a:lnTo>
                  <a:lnTo>
                    <a:pt x="350" y="1172"/>
                  </a:lnTo>
                  <a:lnTo>
                    <a:pt x="348" y="1173"/>
                  </a:lnTo>
                  <a:lnTo>
                    <a:pt x="350" y="1176"/>
                  </a:lnTo>
                  <a:lnTo>
                    <a:pt x="350" y="1177"/>
                  </a:lnTo>
                  <a:lnTo>
                    <a:pt x="350" y="1179"/>
                  </a:lnTo>
                  <a:lnTo>
                    <a:pt x="350" y="1181"/>
                  </a:lnTo>
                  <a:lnTo>
                    <a:pt x="351" y="1182"/>
                  </a:lnTo>
                  <a:lnTo>
                    <a:pt x="351" y="1194"/>
                  </a:lnTo>
                  <a:lnTo>
                    <a:pt x="351" y="1207"/>
                  </a:lnTo>
                  <a:lnTo>
                    <a:pt x="351" y="1220"/>
                  </a:lnTo>
                  <a:lnTo>
                    <a:pt x="351" y="1237"/>
                  </a:lnTo>
                  <a:lnTo>
                    <a:pt x="351" y="1241"/>
                  </a:lnTo>
                  <a:lnTo>
                    <a:pt x="351" y="1244"/>
                  </a:lnTo>
                  <a:lnTo>
                    <a:pt x="353" y="1247"/>
                  </a:lnTo>
                  <a:lnTo>
                    <a:pt x="357" y="1247"/>
                  </a:lnTo>
                  <a:lnTo>
                    <a:pt x="386" y="1247"/>
                  </a:lnTo>
                  <a:lnTo>
                    <a:pt x="387" y="1221"/>
                  </a:lnTo>
                  <a:lnTo>
                    <a:pt x="387" y="1199"/>
                  </a:lnTo>
                  <a:lnTo>
                    <a:pt x="388" y="1175"/>
                  </a:lnTo>
                  <a:lnTo>
                    <a:pt x="388" y="1169"/>
                  </a:lnTo>
                  <a:lnTo>
                    <a:pt x="391" y="1167"/>
                  </a:lnTo>
                  <a:lnTo>
                    <a:pt x="392" y="1166"/>
                  </a:lnTo>
                  <a:lnTo>
                    <a:pt x="394" y="1166"/>
                  </a:lnTo>
                  <a:lnTo>
                    <a:pt x="395" y="1165"/>
                  </a:lnTo>
                  <a:lnTo>
                    <a:pt x="397" y="1164"/>
                  </a:lnTo>
                  <a:lnTo>
                    <a:pt x="398" y="1163"/>
                  </a:lnTo>
                  <a:lnTo>
                    <a:pt x="399" y="1161"/>
                  </a:lnTo>
                  <a:lnTo>
                    <a:pt x="400" y="1160"/>
                  </a:lnTo>
                  <a:lnTo>
                    <a:pt x="401" y="1159"/>
                  </a:lnTo>
                  <a:lnTo>
                    <a:pt x="403" y="1158"/>
                  </a:lnTo>
                  <a:lnTo>
                    <a:pt x="401" y="1158"/>
                  </a:lnTo>
                  <a:lnTo>
                    <a:pt x="401" y="1157"/>
                  </a:lnTo>
                  <a:lnTo>
                    <a:pt x="400" y="1154"/>
                  </a:lnTo>
                  <a:lnTo>
                    <a:pt x="400" y="1153"/>
                  </a:lnTo>
                  <a:lnTo>
                    <a:pt x="400" y="1152"/>
                  </a:lnTo>
                  <a:lnTo>
                    <a:pt x="400" y="1151"/>
                  </a:lnTo>
                  <a:lnTo>
                    <a:pt x="399" y="1148"/>
                  </a:lnTo>
                  <a:lnTo>
                    <a:pt x="398" y="1149"/>
                  </a:lnTo>
                  <a:lnTo>
                    <a:pt x="398" y="1148"/>
                  </a:lnTo>
                  <a:lnTo>
                    <a:pt x="397" y="1147"/>
                  </a:lnTo>
                  <a:lnTo>
                    <a:pt x="398" y="1146"/>
                  </a:lnTo>
                  <a:lnTo>
                    <a:pt x="398" y="1145"/>
                  </a:lnTo>
                  <a:lnTo>
                    <a:pt x="398" y="1142"/>
                  </a:lnTo>
                  <a:lnTo>
                    <a:pt x="399" y="1141"/>
                  </a:lnTo>
                  <a:lnTo>
                    <a:pt x="400" y="1139"/>
                  </a:lnTo>
                  <a:lnTo>
                    <a:pt x="401" y="1137"/>
                  </a:lnTo>
                  <a:lnTo>
                    <a:pt x="404" y="1137"/>
                  </a:lnTo>
                  <a:lnTo>
                    <a:pt x="405" y="1137"/>
                  </a:lnTo>
                  <a:lnTo>
                    <a:pt x="406" y="1137"/>
                  </a:lnTo>
                  <a:lnTo>
                    <a:pt x="410" y="1140"/>
                  </a:lnTo>
                  <a:lnTo>
                    <a:pt x="412" y="1140"/>
                  </a:lnTo>
                  <a:lnTo>
                    <a:pt x="415" y="1141"/>
                  </a:lnTo>
                  <a:lnTo>
                    <a:pt x="417" y="1141"/>
                  </a:lnTo>
                  <a:lnTo>
                    <a:pt x="417" y="1140"/>
                  </a:lnTo>
                  <a:lnTo>
                    <a:pt x="418" y="1140"/>
                  </a:lnTo>
                  <a:lnTo>
                    <a:pt x="418" y="1141"/>
                  </a:lnTo>
                  <a:lnTo>
                    <a:pt x="419" y="1142"/>
                  </a:lnTo>
                  <a:lnTo>
                    <a:pt x="421" y="1141"/>
                  </a:lnTo>
                  <a:lnTo>
                    <a:pt x="422" y="1142"/>
                  </a:lnTo>
                  <a:lnTo>
                    <a:pt x="423" y="1145"/>
                  </a:lnTo>
                  <a:lnTo>
                    <a:pt x="425" y="1146"/>
                  </a:lnTo>
                  <a:lnTo>
                    <a:pt x="427" y="1148"/>
                  </a:lnTo>
                  <a:lnTo>
                    <a:pt x="429" y="1149"/>
                  </a:lnTo>
                  <a:lnTo>
                    <a:pt x="430" y="1149"/>
                  </a:lnTo>
                  <a:lnTo>
                    <a:pt x="430" y="1152"/>
                  </a:lnTo>
                  <a:lnTo>
                    <a:pt x="430" y="1153"/>
                  </a:lnTo>
                  <a:lnTo>
                    <a:pt x="430" y="1154"/>
                  </a:lnTo>
                  <a:lnTo>
                    <a:pt x="431" y="1153"/>
                  </a:lnTo>
                  <a:lnTo>
                    <a:pt x="433" y="1154"/>
                  </a:lnTo>
                  <a:lnTo>
                    <a:pt x="434" y="1154"/>
                  </a:lnTo>
                  <a:lnTo>
                    <a:pt x="434" y="1155"/>
                  </a:lnTo>
                  <a:lnTo>
                    <a:pt x="435" y="1158"/>
                  </a:lnTo>
                  <a:lnTo>
                    <a:pt x="436" y="1155"/>
                  </a:lnTo>
                  <a:lnTo>
                    <a:pt x="436" y="1158"/>
                  </a:lnTo>
                  <a:lnTo>
                    <a:pt x="436" y="1159"/>
                  </a:lnTo>
                  <a:lnTo>
                    <a:pt x="436" y="1160"/>
                  </a:lnTo>
                  <a:lnTo>
                    <a:pt x="439" y="1160"/>
                  </a:lnTo>
                  <a:lnTo>
                    <a:pt x="439" y="1159"/>
                  </a:lnTo>
                  <a:lnTo>
                    <a:pt x="440" y="1159"/>
                  </a:lnTo>
                  <a:lnTo>
                    <a:pt x="441" y="1160"/>
                  </a:lnTo>
                  <a:lnTo>
                    <a:pt x="442" y="1160"/>
                  </a:lnTo>
                  <a:lnTo>
                    <a:pt x="442" y="1159"/>
                  </a:lnTo>
                  <a:lnTo>
                    <a:pt x="443" y="1159"/>
                  </a:lnTo>
                  <a:lnTo>
                    <a:pt x="443" y="1160"/>
                  </a:lnTo>
                  <a:lnTo>
                    <a:pt x="446" y="1160"/>
                  </a:lnTo>
                  <a:lnTo>
                    <a:pt x="450" y="1159"/>
                  </a:lnTo>
                  <a:lnTo>
                    <a:pt x="452" y="1157"/>
                  </a:lnTo>
                  <a:lnTo>
                    <a:pt x="454" y="1155"/>
                  </a:lnTo>
                  <a:lnTo>
                    <a:pt x="456" y="1152"/>
                  </a:lnTo>
                  <a:lnTo>
                    <a:pt x="457" y="1153"/>
                  </a:lnTo>
                  <a:lnTo>
                    <a:pt x="457" y="1155"/>
                  </a:lnTo>
                  <a:lnTo>
                    <a:pt x="457" y="1157"/>
                  </a:lnTo>
                  <a:lnTo>
                    <a:pt x="459" y="1155"/>
                  </a:lnTo>
                  <a:lnTo>
                    <a:pt x="459" y="1154"/>
                  </a:lnTo>
                  <a:lnTo>
                    <a:pt x="460" y="1155"/>
                  </a:lnTo>
                  <a:lnTo>
                    <a:pt x="462" y="1157"/>
                  </a:lnTo>
                  <a:lnTo>
                    <a:pt x="463" y="1157"/>
                  </a:lnTo>
                  <a:lnTo>
                    <a:pt x="463" y="1154"/>
                  </a:lnTo>
                  <a:lnTo>
                    <a:pt x="464" y="1154"/>
                  </a:lnTo>
                  <a:lnTo>
                    <a:pt x="465" y="1155"/>
                  </a:lnTo>
                  <a:lnTo>
                    <a:pt x="466" y="1155"/>
                  </a:lnTo>
                  <a:lnTo>
                    <a:pt x="466" y="1154"/>
                  </a:lnTo>
                  <a:lnTo>
                    <a:pt x="468" y="1153"/>
                  </a:lnTo>
                  <a:lnTo>
                    <a:pt x="469" y="1153"/>
                  </a:lnTo>
                  <a:lnTo>
                    <a:pt x="470" y="1151"/>
                  </a:lnTo>
                  <a:lnTo>
                    <a:pt x="471" y="1149"/>
                  </a:lnTo>
                  <a:lnTo>
                    <a:pt x="472" y="1148"/>
                  </a:lnTo>
                  <a:lnTo>
                    <a:pt x="472" y="1146"/>
                  </a:lnTo>
                  <a:lnTo>
                    <a:pt x="474" y="1145"/>
                  </a:lnTo>
                  <a:lnTo>
                    <a:pt x="474" y="1143"/>
                  </a:lnTo>
                  <a:lnTo>
                    <a:pt x="475" y="1141"/>
                  </a:lnTo>
                  <a:lnTo>
                    <a:pt x="477" y="1141"/>
                  </a:lnTo>
                  <a:lnTo>
                    <a:pt x="480" y="1140"/>
                  </a:lnTo>
                  <a:lnTo>
                    <a:pt x="481" y="1139"/>
                  </a:lnTo>
                  <a:lnTo>
                    <a:pt x="481" y="1136"/>
                  </a:lnTo>
                  <a:lnTo>
                    <a:pt x="482" y="1135"/>
                  </a:lnTo>
                  <a:lnTo>
                    <a:pt x="482" y="1137"/>
                  </a:lnTo>
                  <a:lnTo>
                    <a:pt x="483" y="1139"/>
                  </a:lnTo>
                  <a:lnTo>
                    <a:pt x="484" y="1137"/>
                  </a:lnTo>
                  <a:lnTo>
                    <a:pt x="486" y="1137"/>
                  </a:lnTo>
                  <a:lnTo>
                    <a:pt x="487" y="1137"/>
                  </a:lnTo>
                  <a:lnTo>
                    <a:pt x="488" y="1137"/>
                  </a:lnTo>
                  <a:lnTo>
                    <a:pt x="488" y="1136"/>
                  </a:lnTo>
                  <a:lnTo>
                    <a:pt x="489" y="1137"/>
                  </a:lnTo>
                  <a:lnTo>
                    <a:pt x="490" y="1137"/>
                  </a:lnTo>
                  <a:lnTo>
                    <a:pt x="492" y="1139"/>
                  </a:lnTo>
                  <a:lnTo>
                    <a:pt x="492" y="1140"/>
                  </a:lnTo>
                  <a:lnTo>
                    <a:pt x="493" y="1140"/>
                  </a:lnTo>
                  <a:lnTo>
                    <a:pt x="494" y="1139"/>
                  </a:lnTo>
                  <a:lnTo>
                    <a:pt x="495" y="1137"/>
                  </a:lnTo>
                  <a:lnTo>
                    <a:pt x="496" y="1139"/>
                  </a:lnTo>
                  <a:lnTo>
                    <a:pt x="496" y="1137"/>
                  </a:lnTo>
                  <a:lnTo>
                    <a:pt x="498" y="1137"/>
                  </a:lnTo>
                  <a:lnTo>
                    <a:pt x="499" y="1137"/>
                  </a:lnTo>
                  <a:lnTo>
                    <a:pt x="501" y="1137"/>
                  </a:lnTo>
                  <a:lnTo>
                    <a:pt x="502" y="1139"/>
                  </a:lnTo>
                  <a:lnTo>
                    <a:pt x="507" y="1142"/>
                  </a:lnTo>
                  <a:lnTo>
                    <a:pt x="509" y="1146"/>
                  </a:lnTo>
                  <a:lnTo>
                    <a:pt x="510" y="1147"/>
                  </a:lnTo>
                  <a:lnTo>
                    <a:pt x="511" y="1149"/>
                  </a:lnTo>
                  <a:lnTo>
                    <a:pt x="512" y="1151"/>
                  </a:lnTo>
                  <a:lnTo>
                    <a:pt x="516" y="1152"/>
                  </a:lnTo>
                  <a:lnTo>
                    <a:pt x="518" y="1153"/>
                  </a:lnTo>
                  <a:lnTo>
                    <a:pt x="521" y="1152"/>
                  </a:lnTo>
                  <a:lnTo>
                    <a:pt x="523" y="1151"/>
                  </a:lnTo>
                  <a:lnTo>
                    <a:pt x="523" y="1149"/>
                  </a:lnTo>
                  <a:lnTo>
                    <a:pt x="524" y="1147"/>
                  </a:lnTo>
                  <a:lnTo>
                    <a:pt x="524" y="1146"/>
                  </a:lnTo>
                  <a:lnTo>
                    <a:pt x="523" y="1141"/>
                  </a:lnTo>
                  <a:lnTo>
                    <a:pt x="523" y="1139"/>
                  </a:lnTo>
                  <a:lnTo>
                    <a:pt x="524" y="1139"/>
                  </a:lnTo>
                  <a:lnTo>
                    <a:pt x="524" y="1140"/>
                  </a:lnTo>
                  <a:lnTo>
                    <a:pt x="524" y="1145"/>
                  </a:lnTo>
                  <a:lnTo>
                    <a:pt x="524" y="1147"/>
                  </a:lnTo>
                  <a:lnTo>
                    <a:pt x="525" y="1148"/>
                  </a:lnTo>
                  <a:lnTo>
                    <a:pt x="527" y="1148"/>
                  </a:lnTo>
                  <a:lnTo>
                    <a:pt x="528" y="1148"/>
                  </a:lnTo>
                  <a:lnTo>
                    <a:pt x="529" y="1147"/>
                  </a:lnTo>
                  <a:lnTo>
                    <a:pt x="529" y="1146"/>
                  </a:lnTo>
                  <a:lnTo>
                    <a:pt x="529" y="1142"/>
                  </a:lnTo>
                  <a:lnTo>
                    <a:pt x="529" y="1139"/>
                  </a:lnTo>
                  <a:lnTo>
                    <a:pt x="530" y="1141"/>
                  </a:lnTo>
                  <a:lnTo>
                    <a:pt x="530" y="1142"/>
                  </a:lnTo>
                  <a:lnTo>
                    <a:pt x="530" y="1145"/>
                  </a:lnTo>
                  <a:lnTo>
                    <a:pt x="530" y="1147"/>
                  </a:lnTo>
                  <a:lnTo>
                    <a:pt x="531" y="1148"/>
                  </a:lnTo>
                  <a:lnTo>
                    <a:pt x="533" y="1149"/>
                  </a:lnTo>
                  <a:lnTo>
                    <a:pt x="533" y="1147"/>
                  </a:lnTo>
                  <a:lnTo>
                    <a:pt x="533" y="1146"/>
                  </a:lnTo>
                  <a:lnTo>
                    <a:pt x="534" y="1145"/>
                  </a:lnTo>
                  <a:lnTo>
                    <a:pt x="535" y="1145"/>
                  </a:lnTo>
                  <a:lnTo>
                    <a:pt x="535" y="1148"/>
                  </a:lnTo>
                  <a:lnTo>
                    <a:pt x="535" y="1149"/>
                  </a:lnTo>
                  <a:lnTo>
                    <a:pt x="536" y="1149"/>
                  </a:lnTo>
                  <a:lnTo>
                    <a:pt x="537" y="1149"/>
                  </a:lnTo>
                  <a:lnTo>
                    <a:pt x="537" y="1148"/>
                  </a:lnTo>
                  <a:lnTo>
                    <a:pt x="537" y="1147"/>
                  </a:lnTo>
                  <a:lnTo>
                    <a:pt x="539" y="1146"/>
                  </a:lnTo>
                  <a:lnTo>
                    <a:pt x="539" y="1143"/>
                  </a:lnTo>
                  <a:lnTo>
                    <a:pt x="539" y="1142"/>
                  </a:lnTo>
                  <a:lnTo>
                    <a:pt x="540" y="1142"/>
                  </a:lnTo>
                  <a:lnTo>
                    <a:pt x="540" y="1143"/>
                  </a:lnTo>
                  <a:lnTo>
                    <a:pt x="542" y="1147"/>
                  </a:lnTo>
                  <a:lnTo>
                    <a:pt x="545" y="1148"/>
                  </a:lnTo>
                  <a:lnTo>
                    <a:pt x="547" y="1147"/>
                  </a:lnTo>
                  <a:lnTo>
                    <a:pt x="547" y="1145"/>
                  </a:lnTo>
                  <a:lnTo>
                    <a:pt x="548" y="1146"/>
                  </a:lnTo>
                  <a:lnTo>
                    <a:pt x="548" y="1147"/>
                  </a:lnTo>
                  <a:lnTo>
                    <a:pt x="548" y="1148"/>
                  </a:lnTo>
                  <a:lnTo>
                    <a:pt x="549" y="1151"/>
                  </a:lnTo>
                  <a:lnTo>
                    <a:pt x="549" y="1149"/>
                  </a:lnTo>
                  <a:lnTo>
                    <a:pt x="551" y="1148"/>
                  </a:lnTo>
                  <a:lnTo>
                    <a:pt x="552" y="1148"/>
                  </a:lnTo>
                  <a:lnTo>
                    <a:pt x="551" y="1151"/>
                  </a:lnTo>
                  <a:lnTo>
                    <a:pt x="552" y="1151"/>
                  </a:lnTo>
                  <a:lnTo>
                    <a:pt x="552" y="1152"/>
                  </a:lnTo>
                  <a:lnTo>
                    <a:pt x="552" y="1154"/>
                  </a:lnTo>
                  <a:lnTo>
                    <a:pt x="552" y="1155"/>
                  </a:lnTo>
                  <a:lnTo>
                    <a:pt x="553" y="1154"/>
                  </a:lnTo>
                  <a:lnTo>
                    <a:pt x="554" y="1155"/>
                  </a:lnTo>
                  <a:lnTo>
                    <a:pt x="553" y="1157"/>
                  </a:lnTo>
                  <a:lnTo>
                    <a:pt x="554" y="1159"/>
                  </a:lnTo>
                  <a:lnTo>
                    <a:pt x="555" y="1159"/>
                  </a:lnTo>
                  <a:lnTo>
                    <a:pt x="557" y="1160"/>
                  </a:lnTo>
                  <a:lnTo>
                    <a:pt x="558" y="1160"/>
                  </a:lnTo>
                  <a:lnTo>
                    <a:pt x="559" y="1161"/>
                  </a:lnTo>
                  <a:lnTo>
                    <a:pt x="559" y="1163"/>
                  </a:lnTo>
                  <a:lnTo>
                    <a:pt x="560" y="1164"/>
                  </a:lnTo>
                  <a:lnTo>
                    <a:pt x="560" y="1166"/>
                  </a:lnTo>
                  <a:lnTo>
                    <a:pt x="561" y="1166"/>
                  </a:lnTo>
                  <a:lnTo>
                    <a:pt x="561" y="1169"/>
                  </a:lnTo>
                  <a:lnTo>
                    <a:pt x="564" y="1171"/>
                  </a:lnTo>
                  <a:lnTo>
                    <a:pt x="564" y="1172"/>
                  </a:lnTo>
                  <a:lnTo>
                    <a:pt x="564" y="1173"/>
                  </a:lnTo>
                  <a:lnTo>
                    <a:pt x="564" y="1175"/>
                  </a:lnTo>
                  <a:lnTo>
                    <a:pt x="566" y="1177"/>
                  </a:lnTo>
                  <a:lnTo>
                    <a:pt x="567" y="1178"/>
                  </a:lnTo>
                  <a:lnTo>
                    <a:pt x="570" y="1181"/>
                  </a:lnTo>
                  <a:lnTo>
                    <a:pt x="572" y="1182"/>
                  </a:lnTo>
                  <a:lnTo>
                    <a:pt x="574" y="1182"/>
                  </a:lnTo>
                  <a:lnTo>
                    <a:pt x="575" y="1181"/>
                  </a:lnTo>
                  <a:lnTo>
                    <a:pt x="575" y="1179"/>
                  </a:lnTo>
                  <a:lnTo>
                    <a:pt x="575" y="1177"/>
                  </a:lnTo>
                  <a:lnTo>
                    <a:pt x="575" y="1175"/>
                  </a:lnTo>
                  <a:lnTo>
                    <a:pt x="575" y="1173"/>
                  </a:lnTo>
                  <a:lnTo>
                    <a:pt x="575" y="1172"/>
                  </a:lnTo>
                  <a:lnTo>
                    <a:pt x="575" y="1175"/>
                  </a:lnTo>
                  <a:lnTo>
                    <a:pt x="576" y="1177"/>
                  </a:lnTo>
                  <a:lnTo>
                    <a:pt x="576" y="1178"/>
                  </a:lnTo>
                  <a:lnTo>
                    <a:pt x="576" y="1179"/>
                  </a:lnTo>
                  <a:lnTo>
                    <a:pt x="576" y="1183"/>
                  </a:lnTo>
                  <a:lnTo>
                    <a:pt x="576" y="1184"/>
                  </a:lnTo>
                  <a:lnTo>
                    <a:pt x="577" y="1185"/>
                  </a:lnTo>
                  <a:lnTo>
                    <a:pt x="577" y="1187"/>
                  </a:lnTo>
                  <a:lnTo>
                    <a:pt x="580" y="1187"/>
                  </a:lnTo>
                  <a:lnTo>
                    <a:pt x="581" y="1187"/>
                  </a:lnTo>
                  <a:lnTo>
                    <a:pt x="582" y="1188"/>
                  </a:lnTo>
                  <a:lnTo>
                    <a:pt x="583" y="1188"/>
                  </a:lnTo>
                  <a:lnTo>
                    <a:pt x="584" y="1187"/>
                  </a:lnTo>
                  <a:lnTo>
                    <a:pt x="584" y="1185"/>
                  </a:lnTo>
                  <a:lnTo>
                    <a:pt x="586" y="1184"/>
                  </a:lnTo>
                  <a:lnTo>
                    <a:pt x="587" y="1185"/>
                  </a:lnTo>
                  <a:lnTo>
                    <a:pt x="587" y="1184"/>
                  </a:lnTo>
                  <a:lnTo>
                    <a:pt x="587" y="1183"/>
                  </a:lnTo>
                  <a:lnTo>
                    <a:pt x="588" y="1183"/>
                  </a:lnTo>
                  <a:lnTo>
                    <a:pt x="588" y="1182"/>
                  </a:lnTo>
                  <a:lnTo>
                    <a:pt x="589" y="1181"/>
                  </a:lnTo>
                  <a:lnTo>
                    <a:pt x="590" y="1178"/>
                  </a:lnTo>
                  <a:lnTo>
                    <a:pt x="592" y="1177"/>
                  </a:lnTo>
                  <a:lnTo>
                    <a:pt x="593" y="1178"/>
                  </a:lnTo>
                  <a:lnTo>
                    <a:pt x="592" y="1179"/>
                  </a:lnTo>
                  <a:lnTo>
                    <a:pt x="593" y="1181"/>
                  </a:lnTo>
                  <a:lnTo>
                    <a:pt x="594" y="1181"/>
                  </a:lnTo>
                  <a:lnTo>
                    <a:pt x="594" y="1182"/>
                  </a:lnTo>
                  <a:lnTo>
                    <a:pt x="594" y="1183"/>
                  </a:lnTo>
                  <a:lnTo>
                    <a:pt x="593" y="1183"/>
                  </a:lnTo>
                  <a:lnTo>
                    <a:pt x="592" y="1185"/>
                  </a:lnTo>
                  <a:lnTo>
                    <a:pt x="593" y="1185"/>
                  </a:lnTo>
                  <a:lnTo>
                    <a:pt x="594" y="1185"/>
                  </a:lnTo>
                  <a:lnTo>
                    <a:pt x="593" y="1187"/>
                  </a:lnTo>
                  <a:lnTo>
                    <a:pt x="592" y="1187"/>
                  </a:lnTo>
                  <a:lnTo>
                    <a:pt x="592" y="1189"/>
                  </a:lnTo>
                  <a:lnTo>
                    <a:pt x="593" y="1190"/>
                  </a:lnTo>
                  <a:lnTo>
                    <a:pt x="593" y="1193"/>
                  </a:lnTo>
                  <a:lnTo>
                    <a:pt x="593" y="1195"/>
                  </a:lnTo>
                  <a:lnTo>
                    <a:pt x="594" y="1195"/>
                  </a:lnTo>
                  <a:lnTo>
                    <a:pt x="594" y="1196"/>
                  </a:lnTo>
                  <a:lnTo>
                    <a:pt x="593" y="1197"/>
                  </a:lnTo>
                  <a:lnTo>
                    <a:pt x="593" y="1199"/>
                  </a:lnTo>
                  <a:lnTo>
                    <a:pt x="595" y="1199"/>
                  </a:lnTo>
                  <a:lnTo>
                    <a:pt x="595" y="1197"/>
                  </a:lnTo>
                  <a:lnTo>
                    <a:pt x="595" y="1199"/>
                  </a:lnTo>
                  <a:lnTo>
                    <a:pt x="595" y="1200"/>
                  </a:lnTo>
                  <a:lnTo>
                    <a:pt x="598" y="1201"/>
                  </a:lnTo>
                  <a:lnTo>
                    <a:pt x="599" y="1201"/>
                  </a:lnTo>
                  <a:lnTo>
                    <a:pt x="599" y="1202"/>
                  </a:lnTo>
                  <a:lnTo>
                    <a:pt x="601" y="1203"/>
                  </a:lnTo>
                  <a:lnTo>
                    <a:pt x="601" y="1202"/>
                  </a:lnTo>
                  <a:lnTo>
                    <a:pt x="601" y="1205"/>
                  </a:lnTo>
                  <a:lnTo>
                    <a:pt x="604" y="1205"/>
                  </a:lnTo>
                  <a:lnTo>
                    <a:pt x="604" y="1206"/>
                  </a:lnTo>
                  <a:lnTo>
                    <a:pt x="605" y="1207"/>
                  </a:lnTo>
                  <a:lnTo>
                    <a:pt x="606" y="1207"/>
                  </a:lnTo>
                  <a:lnTo>
                    <a:pt x="608" y="1207"/>
                  </a:lnTo>
                  <a:lnTo>
                    <a:pt x="608" y="1205"/>
                  </a:lnTo>
                  <a:lnTo>
                    <a:pt x="607" y="1202"/>
                  </a:lnTo>
                  <a:lnTo>
                    <a:pt x="607" y="1201"/>
                  </a:lnTo>
                  <a:lnTo>
                    <a:pt x="608" y="1201"/>
                  </a:lnTo>
                  <a:lnTo>
                    <a:pt x="610" y="1200"/>
                  </a:lnTo>
                  <a:lnTo>
                    <a:pt x="611" y="1199"/>
                  </a:lnTo>
                  <a:lnTo>
                    <a:pt x="612" y="1197"/>
                  </a:lnTo>
                  <a:lnTo>
                    <a:pt x="614" y="1196"/>
                  </a:lnTo>
                  <a:lnTo>
                    <a:pt x="616" y="1197"/>
                  </a:lnTo>
                  <a:lnTo>
                    <a:pt x="616" y="1195"/>
                  </a:lnTo>
                  <a:lnTo>
                    <a:pt x="617" y="1194"/>
                  </a:lnTo>
                  <a:lnTo>
                    <a:pt x="617" y="1193"/>
                  </a:lnTo>
                  <a:lnTo>
                    <a:pt x="618" y="1191"/>
                  </a:lnTo>
                  <a:lnTo>
                    <a:pt x="619" y="1190"/>
                  </a:lnTo>
                  <a:lnTo>
                    <a:pt x="620" y="1190"/>
                  </a:lnTo>
                  <a:lnTo>
                    <a:pt x="622" y="1189"/>
                  </a:lnTo>
                  <a:lnTo>
                    <a:pt x="623" y="1190"/>
                  </a:lnTo>
                  <a:lnTo>
                    <a:pt x="623" y="1189"/>
                  </a:lnTo>
                  <a:lnTo>
                    <a:pt x="624" y="1189"/>
                  </a:lnTo>
                  <a:lnTo>
                    <a:pt x="625" y="1189"/>
                  </a:lnTo>
                  <a:lnTo>
                    <a:pt x="631" y="1189"/>
                  </a:lnTo>
                  <a:lnTo>
                    <a:pt x="634" y="1187"/>
                  </a:lnTo>
                  <a:lnTo>
                    <a:pt x="634" y="1185"/>
                  </a:lnTo>
                  <a:lnTo>
                    <a:pt x="635" y="1185"/>
                  </a:lnTo>
                  <a:lnTo>
                    <a:pt x="635" y="1187"/>
                  </a:lnTo>
                  <a:lnTo>
                    <a:pt x="637" y="1187"/>
                  </a:lnTo>
                  <a:lnTo>
                    <a:pt x="637" y="1188"/>
                  </a:lnTo>
                  <a:lnTo>
                    <a:pt x="639" y="1188"/>
                  </a:lnTo>
                  <a:lnTo>
                    <a:pt x="640" y="1188"/>
                  </a:lnTo>
                  <a:lnTo>
                    <a:pt x="641" y="1188"/>
                  </a:lnTo>
                  <a:lnTo>
                    <a:pt x="643" y="1188"/>
                  </a:lnTo>
                  <a:lnTo>
                    <a:pt x="645" y="1188"/>
                  </a:lnTo>
                  <a:lnTo>
                    <a:pt x="645" y="1185"/>
                  </a:lnTo>
                  <a:lnTo>
                    <a:pt x="645" y="1184"/>
                  </a:lnTo>
                  <a:lnTo>
                    <a:pt x="646" y="1184"/>
                  </a:lnTo>
                  <a:lnTo>
                    <a:pt x="648" y="1184"/>
                  </a:lnTo>
                  <a:lnTo>
                    <a:pt x="649" y="1183"/>
                  </a:lnTo>
                  <a:lnTo>
                    <a:pt x="651" y="1183"/>
                  </a:lnTo>
                  <a:lnTo>
                    <a:pt x="651" y="1181"/>
                  </a:lnTo>
                  <a:lnTo>
                    <a:pt x="652" y="1178"/>
                  </a:lnTo>
                  <a:lnTo>
                    <a:pt x="652" y="1181"/>
                  </a:lnTo>
                  <a:lnTo>
                    <a:pt x="653" y="1181"/>
                  </a:lnTo>
                  <a:lnTo>
                    <a:pt x="653" y="1179"/>
                  </a:lnTo>
                  <a:lnTo>
                    <a:pt x="657" y="1177"/>
                  </a:lnTo>
                  <a:lnTo>
                    <a:pt x="657" y="1175"/>
                  </a:lnTo>
                  <a:lnTo>
                    <a:pt x="658" y="1173"/>
                  </a:lnTo>
                  <a:lnTo>
                    <a:pt x="659" y="1171"/>
                  </a:lnTo>
                  <a:lnTo>
                    <a:pt x="659" y="1170"/>
                  </a:lnTo>
                  <a:lnTo>
                    <a:pt x="659" y="1167"/>
                  </a:lnTo>
                  <a:lnTo>
                    <a:pt x="658" y="1169"/>
                  </a:lnTo>
                  <a:lnTo>
                    <a:pt x="658" y="1166"/>
                  </a:lnTo>
                  <a:lnTo>
                    <a:pt x="658" y="1164"/>
                  </a:lnTo>
                  <a:lnTo>
                    <a:pt x="658" y="1163"/>
                  </a:lnTo>
                  <a:lnTo>
                    <a:pt x="658" y="1165"/>
                  </a:lnTo>
                  <a:lnTo>
                    <a:pt x="659" y="1165"/>
                  </a:lnTo>
                  <a:lnTo>
                    <a:pt x="660" y="1166"/>
                  </a:lnTo>
                  <a:lnTo>
                    <a:pt x="661" y="1167"/>
                  </a:lnTo>
                  <a:lnTo>
                    <a:pt x="661" y="1166"/>
                  </a:lnTo>
                  <a:lnTo>
                    <a:pt x="663" y="1165"/>
                  </a:lnTo>
                  <a:lnTo>
                    <a:pt x="663" y="1164"/>
                  </a:lnTo>
                  <a:lnTo>
                    <a:pt x="663" y="1161"/>
                  </a:lnTo>
                  <a:lnTo>
                    <a:pt x="664" y="1161"/>
                  </a:lnTo>
                  <a:lnTo>
                    <a:pt x="665" y="1161"/>
                  </a:lnTo>
                  <a:lnTo>
                    <a:pt x="666" y="1161"/>
                  </a:lnTo>
                  <a:lnTo>
                    <a:pt x="667" y="1161"/>
                  </a:lnTo>
                  <a:lnTo>
                    <a:pt x="667" y="1160"/>
                  </a:lnTo>
                  <a:lnTo>
                    <a:pt x="669" y="1159"/>
                  </a:lnTo>
                  <a:lnTo>
                    <a:pt x="669" y="1158"/>
                  </a:lnTo>
                  <a:lnTo>
                    <a:pt x="669" y="1157"/>
                  </a:lnTo>
                  <a:lnTo>
                    <a:pt x="669" y="1155"/>
                  </a:lnTo>
                  <a:lnTo>
                    <a:pt x="669" y="1154"/>
                  </a:lnTo>
                  <a:lnTo>
                    <a:pt x="670" y="1154"/>
                  </a:lnTo>
                  <a:lnTo>
                    <a:pt x="671" y="1153"/>
                  </a:lnTo>
                  <a:lnTo>
                    <a:pt x="673" y="1153"/>
                  </a:lnTo>
                  <a:lnTo>
                    <a:pt x="673" y="1152"/>
                  </a:lnTo>
                  <a:lnTo>
                    <a:pt x="673" y="1151"/>
                  </a:lnTo>
                  <a:lnTo>
                    <a:pt x="675" y="1148"/>
                  </a:lnTo>
                  <a:lnTo>
                    <a:pt x="675" y="1146"/>
                  </a:lnTo>
                  <a:lnTo>
                    <a:pt x="673" y="1146"/>
                  </a:lnTo>
                  <a:lnTo>
                    <a:pt x="672" y="1145"/>
                  </a:lnTo>
                  <a:lnTo>
                    <a:pt x="672" y="1143"/>
                  </a:lnTo>
                  <a:lnTo>
                    <a:pt x="673" y="1142"/>
                  </a:lnTo>
                  <a:lnTo>
                    <a:pt x="673" y="1141"/>
                  </a:lnTo>
                  <a:lnTo>
                    <a:pt x="675" y="1141"/>
                  </a:lnTo>
                  <a:lnTo>
                    <a:pt x="676" y="1140"/>
                  </a:lnTo>
                  <a:lnTo>
                    <a:pt x="677" y="1141"/>
                  </a:lnTo>
                  <a:lnTo>
                    <a:pt x="678" y="1141"/>
                  </a:lnTo>
                  <a:lnTo>
                    <a:pt x="681" y="1137"/>
                  </a:lnTo>
                  <a:lnTo>
                    <a:pt x="682" y="1136"/>
                  </a:lnTo>
                  <a:lnTo>
                    <a:pt x="682" y="1135"/>
                  </a:lnTo>
                  <a:lnTo>
                    <a:pt x="683" y="1135"/>
                  </a:lnTo>
                  <a:lnTo>
                    <a:pt x="683" y="1136"/>
                  </a:lnTo>
                  <a:lnTo>
                    <a:pt x="684" y="1136"/>
                  </a:lnTo>
                  <a:lnTo>
                    <a:pt x="685" y="1136"/>
                  </a:lnTo>
                  <a:lnTo>
                    <a:pt x="685" y="1137"/>
                  </a:lnTo>
                  <a:lnTo>
                    <a:pt x="687" y="1137"/>
                  </a:lnTo>
                  <a:lnTo>
                    <a:pt x="688" y="1136"/>
                  </a:lnTo>
                  <a:lnTo>
                    <a:pt x="689" y="1136"/>
                  </a:lnTo>
                  <a:lnTo>
                    <a:pt x="690" y="1135"/>
                  </a:lnTo>
                  <a:lnTo>
                    <a:pt x="692" y="1135"/>
                  </a:lnTo>
                  <a:lnTo>
                    <a:pt x="694" y="1134"/>
                  </a:lnTo>
                  <a:lnTo>
                    <a:pt x="695" y="1135"/>
                  </a:lnTo>
                  <a:lnTo>
                    <a:pt x="696" y="1135"/>
                  </a:lnTo>
                  <a:lnTo>
                    <a:pt x="698" y="1135"/>
                  </a:lnTo>
                  <a:lnTo>
                    <a:pt x="699" y="1134"/>
                  </a:lnTo>
                  <a:lnTo>
                    <a:pt x="700" y="1134"/>
                  </a:lnTo>
                  <a:lnTo>
                    <a:pt x="701" y="1134"/>
                  </a:lnTo>
                  <a:lnTo>
                    <a:pt x="702" y="1134"/>
                  </a:lnTo>
                  <a:lnTo>
                    <a:pt x="702" y="1133"/>
                  </a:lnTo>
                  <a:lnTo>
                    <a:pt x="702" y="1130"/>
                  </a:lnTo>
                  <a:lnTo>
                    <a:pt x="701" y="1129"/>
                  </a:lnTo>
                  <a:lnTo>
                    <a:pt x="702" y="1129"/>
                  </a:lnTo>
                  <a:lnTo>
                    <a:pt x="702" y="1126"/>
                  </a:lnTo>
                  <a:lnTo>
                    <a:pt x="702" y="1125"/>
                  </a:lnTo>
                  <a:lnTo>
                    <a:pt x="704" y="1124"/>
                  </a:lnTo>
                  <a:lnTo>
                    <a:pt x="705" y="1123"/>
                  </a:lnTo>
                  <a:lnTo>
                    <a:pt x="705" y="1122"/>
                  </a:lnTo>
                  <a:lnTo>
                    <a:pt x="706" y="1119"/>
                  </a:lnTo>
                  <a:lnTo>
                    <a:pt x="707" y="1120"/>
                  </a:lnTo>
                  <a:lnTo>
                    <a:pt x="707" y="1122"/>
                  </a:lnTo>
                  <a:lnTo>
                    <a:pt x="708" y="1119"/>
                  </a:lnTo>
                  <a:lnTo>
                    <a:pt x="708" y="1118"/>
                  </a:lnTo>
                  <a:lnTo>
                    <a:pt x="710" y="1118"/>
                  </a:lnTo>
                  <a:lnTo>
                    <a:pt x="710" y="1119"/>
                  </a:lnTo>
                  <a:lnTo>
                    <a:pt x="711" y="1119"/>
                  </a:lnTo>
                  <a:lnTo>
                    <a:pt x="712" y="1119"/>
                  </a:lnTo>
                  <a:lnTo>
                    <a:pt x="713" y="1119"/>
                  </a:lnTo>
                  <a:lnTo>
                    <a:pt x="714" y="1119"/>
                  </a:lnTo>
                  <a:lnTo>
                    <a:pt x="716" y="1119"/>
                  </a:lnTo>
                  <a:lnTo>
                    <a:pt x="717" y="1119"/>
                  </a:lnTo>
                  <a:lnTo>
                    <a:pt x="718" y="1119"/>
                  </a:lnTo>
                  <a:lnTo>
                    <a:pt x="719" y="1120"/>
                  </a:lnTo>
                  <a:lnTo>
                    <a:pt x="719" y="1119"/>
                  </a:lnTo>
                  <a:lnTo>
                    <a:pt x="720" y="1120"/>
                  </a:lnTo>
                  <a:lnTo>
                    <a:pt x="722" y="1120"/>
                  </a:lnTo>
                  <a:lnTo>
                    <a:pt x="723" y="1119"/>
                  </a:lnTo>
                  <a:lnTo>
                    <a:pt x="724" y="1118"/>
                  </a:lnTo>
                  <a:lnTo>
                    <a:pt x="725" y="1118"/>
                  </a:lnTo>
                  <a:lnTo>
                    <a:pt x="725" y="1117"/>
                  </a:lnTo>
                  <a:lnTo>
                    <a:pt x="726" y="1116"/>
                  </a:lnTo>
                  <a:lnTo>
                    <a:pt x="726" y="1114"/>
                  </a:lnTo>
                  <a:lnTo>
                    <a:pt x="726" y="1113"/>
                  </a:lnTo>
                  <a:lnTo>
                    <a:pt x="726" y="1112"/>
                  </a:lnTo>
                  <a:lnTo>
                    <a:pt x="728" y="1111"/>
                  </a:lnTo>
                  <a:lnTo>
                    <a:pt x="728" y="1113"/>
                  </a:lnTo>
                  <a:lnTo>
                    <a:pt x="729" y="1113"/>
                  </a:lnTo>
                  <a:lnTo>
                    <a:pt x="729" y="1111"/>
                  </a:lnTo>
                  <a:lnTo>
                    <a:pt x="729" y="1110"/>
                  </a:lnTo>
                  <a:lnTo>
                    <a:pt x="730" y="1108"/>
                  </a:lnTo>
                  <a:lnTo>
                    <a:pt x="731" y="1108"/>
                  </a:lnTo>
                  <a:lnTo>
                    <a:pt x="732" y="1107"/>
                  </a:lnTo>
                  <a:lnTo>
                    <a:pt x="734" y="1106"/>
                  </a:lnTo>
                  <a:lnTo>
                    <a:pt x="735" y="1106"/>
                  </a:lnTo>
                  <a:lnTo>
                    <a:pt x="736" y="1105"/>
                  </a:lnTo>
                  <a:lnTo>
                    <a:pt x="738" y="1105"/>
                  </a:lnTo>
                  <a:lnTo>
                    <a:pt x="740" y="1104"/>
                  </a:lnTo>
                  <a:lnTo>
                    <a:pt x="743" y="1104"/>
                  </a:lnTo>
                  <a:lnTo>
                    <a:pt x="746" y="1102"/>
                  </a:lnTo>
                  <a:lnTo>
                    <a:pt x="748" y="1101"/>
                  </a:lnTo>
                  <a:lnTo>
                    <a:pt x="751" y="1100"/>
                  </a:lnTo>
                  <a:lnTo>
                    <a:pt x="749" y="1099"/>
                  </a:lnTo>
                  <a:lnTo>
                    <a:pt x="748" y="1098"/>
                  </a:lnTo>
                  <a:lnTo>
                    <a:pt x="747" y="1096"/>
                  </a:lnTo>
                  <a:lnTo>
                    <a:pt x="749" y="1098"/>
                  </a:lnTo>
                  <a:lnTo>
                    <a:pt x="751" y="1098"/>
                  </a:lnTo>
                  <a:lnTo>
                    <a:pt x="751" y="1095"/>
                  </a:lnTo>
                  <a:lnTo>
                    <a:pt x="752" y="1094"/>
                  </a:lnTo>
                  <a:lnTo>
                    <a:pt x="752" y="1093"/>
                  </a:lnTo>
                  <a:lnTo>
                    <a:pt x="751" y="1089"/>
                  </a:lnTo>
                  <a:lnTo>
                    <a:pt x="751" y="1088"/>
                  </a:lnTo>
                  <a:lnTo>
                    <a:pt x="749" y="1087"/>
                  </a:lnTo>
                  <a:lnTo>
                    <a:pt x="751" y="1087"/>
                  </a:lnTo>
                  <a:lnTo>
                    <a:pt x="751" y="1086"/>
                  </a:lnTo>
                  <a:lnTo>
                    <a:pt x="751" y="1084"/>
                  </a:lnTo>
                  <a:lnTo>
                    <a:pt x="751" y="1082"/>
                  </a:lnTo>
                  <a:lnTo>
                    <a:pt x="752" y="1081"/>
                  </a:lnTo>
                  <a:lnTo>
                    <a:pt x="753" y="1080"/>
                  </a:lnTo>
                  <a:lnTo>
                    <a:pt x="753" y="1078"/>
                  </a:lnTo>
                  <a:lnTo>
                    <a:pt x="752" y="1077"/>
                  </a:lnTo>
                  <a:lnTo>
                    <a:pt x="753" y="1070"/>
                  </a:lnTo>
                  <a:lnTo>
                    <a:pt x="753" y="1068"/>
                  </a:lnTo>
                  <a:lnTo>
                    <a:pt x="754" y="1068"/>
                  </a:lnTo>
                  <a:lnTo>
                    <a:pt x="753" y="1066"/>
                  </a:lnTo>
                  <a:lnTo>
                    <a:pt x="754" y="1066"/>
                  </a:lnTo>
                  <a:lnTo>
                    <a:pt x="754" y="1065"/>
                  </a:lnTo>
                  <a:lnTo>
                    <a:pt x="755" y="1066"/>
                  </a:lnTo>
                  <a:lnTo>
                    <a:pt x="755" y="1065"/>
                  </a:lnTo>
                  <a:lnTo>
                    <a:pt x="757" y="1065"/>
                  </a:lnTo>
                  <a:lnTo>
                    <a:pt x="758" y="1064"/>
                  </a:lnTo>
                  <a:lnTo>
                    <a:pt x="759" y="1064"/>
                  </a:lnTo>
                  <a:lnTo>
                    <a:pt x="760" y="1063"/>
                  </a:lnTo>
                  <a:lnTo>
                    <a:pt x="760" y="1062"/>
                  </a:lnTo>
                  <a:lnTo>
                    <a:pt x="761" y="1062"/>
                  </a:lnTo>
                  <a:lnTo>
                    <a:pt x="764" y="1059"/>
                  </a:lnTo>
                  <a:lnTo>
                    <a:pt x="765" y="1058"/>
                  </a:lnTo>
                  <a:lnTo>
                    <a:pt x="766" y="1058"/>
                  </a:lnTo>
                  <a:lnTo>
                    <a:pt x="766" y="1056"/>
                  </a:lnTo>
                  <a:lnTo>
                    <a:pt x="765" y="1054"/>
                  </a:lnTo>
                  <a:lnTo>
                    <a:pt x="763" y="1056"/>
                  </a:lnTo>
                  <a:lnTo>
                    <a:pt x="760" y="1056"/>
                  </a:lnTo>
                  <a:lnTo>
                    <a:pt x="757" y="1057"/>
                  </a:lnTo>
                  <a:lnTo>
                    <a:pt x="752" y="1058"/>
                  </a:lnTo>
                  <a:lnTo>
                    <a:pt x="748" y="1060"/>
                  </a:lnTo>
                  <a:lnTo>
                    <a:pt x="743" y="1062"/>
                  </a:lnTo>
                  <a:lnTo>
                    <a:pt x="741" y="1064"/>
                  </a:lnTo>
                  <a:lnTo>
                    <a:pt x="735" y="1065"/>
                  </a:lnTo>
                  <a:lnTo>
                    <a:pt x="730" y="1066"/>
                  </a:lnTo>
                  <a:lnTo>
                    <a:pt x="726" y="1068"/>
                  </a:lnTo>
                  <a:lnTo>
                    <a:pt x="722" y="1069"/>
                  </a:lnTo>
                  <a:lnTo>
                    <a:pt x="719" y="1069"/>
                  </a:lnTo>
                  <a:lnTo>
                    <a:pt x="712" y="1070"/>
                  </a:lnTo>
                  <a:lnTo>
                    <a:pt x="706" y="1069"/>
                  </a:lnTo>
                  <a:lnTo>
                    <a:pt x="701" y="1069"/>
                  </a:lnTo>
                  <a:lnTo>
                    <a:pt x="695" y="1068"/>
                  </a:lnTo>
                  <a:lnTo>
                    <a:pt x="692" y="1068"/>
                  </a:lnTo>
                  <a:lnTo>
                    <a:pt x="688" y="1066"/>
                  </a:lnTo>
                  <a:lnTo>
                    <a:pt x="677" y="1066"/>
                  </a:lnTo>
                  <a:lnTo>
                    <a:pt x="676" y="1065"/>
                  </a:lnTo>
                  <a:lnTo>
                    <a:pt x="672" y="1064"/>
                  </a:lnTo>
                  <a:lnTo>
                    <a:pt x="670" y="1062"/>
                  </a:lnTo>
                  <a:lnTo>
                    <a:pt x="670" y="1059"/>
                  </a:lnTo>
                  <a:lnTo>
                    <a:pt x="669" y="1057"/>
                  </a:lnTo>
                  <a:lnTo>
                    <a:pt x="669" y="1056"/>
                  </a:lnTo>
                  <a:lnTo>
                    <a:pt x="667" y="1054"/>
                  </a:lnTo>
                  <a:lnTo>
                    <a:pt x="667" y="1052"/>
                  </a:lnTo>
                  <a:lnTo>
                    <a:pt x="669" y="1052"/>
                  </a:lnTo>
                  <a:lnTo>
                    <a:pt x="670" y="1054"/>
                  </a:lnTo>
                  <a:lnTo>
                    <a:pt x="671" y="1053"/>
                  </a:lnTo>
                  <a:lnTo>
                    <a:pt x="672" y="1053"/>
                  </a:lnTo>
                  <a:lnTo>
                    <a:pt x="673" y="1052"/>
                  </a:lnTo>
                  <a:lnTo>
                    <a:pt x="675" y="1052"/>
                  </a:lnTo>
                  <a:lnTo>
                    <a:pt x="676" y="1051"/>
                  </a:lnTo>
                  <a:lnTo>
                    <a:pt x="676" y="1050"/>
                  </a:lnTo>
                  <a:lnTo>
                    <a:pt x="677" y="1048"/>
                  </a:lnTo>
                  <a:lnTo>
                    <a:pt x="678" y="1048"/>
                  </a:lnTo>
                  <a:lnTo>
                    <a:pt x="679" y="1048"/>
                  </a:lnTo>
                  <a:lnTo>
                    <a:pt x="681" y="1047"/>
                  </a:lnTo>
                  <a:lnTo>
                    <a:pt x="681" y="1048"/>
                  </a:lnTo>
                  <a:lnTo>
                    <a:pt x="682" y="1048"/>
                  </a:lnTo>
                  <a:lnTo>
                    <a:pt x="684" y="1048"/>
                  </a:lnTo>
                  <a:lnTo>
                    <a:pt x="685" y="1048"/>
                  </a:lnTo>
                  <a:lnTo>
                    <a:pt x="688" y="1047"/>
                  </a:lnTo>
                  <a:lnTo>
                    <a:pt x="689" y="1047"/>
                  </a:lnTo>
                  <a:lnTo>
                    <a:pt x="690" y="1046"/>
                  </a:lnTo>
                  <a:lnTo>
                    <a:pt x="690" y="1044"/>
                  </a:lnTo>
                  <a:lnTo>
                    <a:pt x="692" y="1042"/>
                  </a:lnTo>
                  <a:lnTo>
                    <a:pt x="692" y="1044"/>
                  </a:lnTo>
                  <a:lnTo>
                    <a:pt x="692" y="1045"/>
                  </a:lnTo>
                  <a:lnTo>
                    <a:pt x="692" y="1046"/>
                  </a:lnTo>
                  <a:lnTo>
                    <a:pt x="693" y="1045"/>
                  </a:lnTo>
                  <a:lnTo>
                    <a:pt x="694" y="1044"/>
                  </a:lnTo>
                  <a:lnTo>
                    <a:pt x="694" y="1042"/>
                  </a:lnTo>
                  <a:lnTo>
                    <a:pt x="695" y="1041"/>
                  </a:lnTo>
                  <a:lnTo>
                    <a:pt x="695" y="1044"/>
                  </a:lnTo>
                  <a:lnTo>
                    <a:pt x="696" y="1044"/>
                  </a:lnTo>
                  <a:lnTo>
                    <a:pt x="696" y="1042"/>
                  </a:lnTo>
                  <a:lnTo>
                    <a:pt x="698" y="1042"/>
                  </a:lnTo>
                  <a:lnTo>
                    <a:pt x="700" y="1041"/>
                  </a:lnTo>
                  <a:lnTo>
                    <a:pt x="701" y="1040"/>
                  </a:lnTo>
                  <a:lnTo>
                    <a:pt x="701" y="1038"/>
                  </a:lnTo>
                  <a:lnTo>
                    <a:pt x="702" y="1038"/>
                  </a:lnTo>
                  <a:lnTo>
                    <a:pt x="702" y="1035"/>
                  </a:lnTo>
                  <a:lnTo>
                    <a:pt x="704" y="1034"/>
                  </a:lnTo>
                  <a:lnTo>
                    <a:pt x="705" y="1034"/>
                  </a:lnTo>
                  <a:lnTo>
                    <a:pt x="706" y="1033"/>
                  </a:lnTo>
                  <a:lnTo>
                    <a:pt x="706" y="1030"/>
                  </a:lnTo>
                  <a:lnTo>
                    <a:pt x="707" y="1029"/>
                  </a:lnTo>
                  <a:lnTo>
                    <a:pt x="708" y="1029"/>
                  </a:lnTo>
                  <a:lnTo>
                    <a:pt x="710" y="1028"/>
                  </a:lnTo>
                  <a:lnTo>
                    <a:pt x="710" y="1027"/>
                  </a:lnTo>
                  <a:lnTo>
                    <a:pt x="710" y="1026"/>
                  </a:lnTo>
                  <a:lnTo>
                    <a:pt x="710" y="1027"/>
                  </a:lnTo>
                  <a:lnTo>
                    <a:pt x="711" y="1026"/>
                  </a:lnTo>
                  <a:lnTo>
                    <a:pt x="711" y="1024"/>
                  </a:lnTo>
                  <a:lnTo>
                    <a:pt x="711" y="1023"/>
                  </a:lnTo>
                  <a:lnTo>
                    <a:pt x="712" y="1022"/>
                  </a:lnTo>
                  <a:lnTo>
                    <a:pt x="712" y="1021"/>
                  </a:lnTo>
                  <a:lnTo>
                    <a:pt x="711" y="1019"/>
                  </a:lnTo>
                  <a:lnTo>
                    <a:pt x="708" y="1021"/>
                  </a:lnTo>
                  <a:lnTo>
                    <a:pt x="706" y="1021"/>
                  </a:lnTo>
                  <a:lnTo>
                    <a:pt x="699" y="1021"/>
                  </a:lnTo>
                  <a:lnTo>
                    <a:pt x="693" y="1022"/>
                  </a:lnTo>
                  <a:lnTo>
                    <a:pt x="690" y="1022"/>
                  </a:lnTo>
                  <a:lnTo>
                    <a:pt x="687" y="1022"/>
                  </a:lnTo>
                  <a:lnTo>
                    <a:pt x="684" y="1022"/>
                  </a:lnTo>
                  <a:lnTo>
                    <a:pt x="682" y="1019"/>
                  </a:lnTo>
                  <a:lnTo>
                    <a:pt x="682" y="1018"/>
                  </a:lnTo>
                  <a:lnTo>
                    <a:pt x="681" y="1017"/>
                  </a:lnTo>
                  <a:lnTo>
                    <a:pt x="682" y="1016"/>
                  </a:lnTo>
                  <a:lnTo>
                    <a:pt x="682" y="1013"/>
                  </a:lnTo>
                  <a:lnTo>
                    <a:pt x="683" y="1012"/>
                  </a:lnTo>
                  <a:lnTo>
                    <a:pt x="684" y="1011"/>
                  </a:lnTo>
                  <a:lnTo>
                    <a:pt x="685" y="1010"/>
                  </a:lnTo>
                  <a:lnTo>
                    <a:pt x="687" y="1009"/>
                  </a:lnTo>
                  <a:lnTo>
                    <a:pt x="688" y="1010"/>
                  </a:lnTo>
                  <a:lnTo>
                    <a:pt x="689" y="1009"/>
                  </a:lnTo>
                  <a:lnTo>
                    <a:pt x="689" y="1007"/>
                  </a:lnTo>
                  <a:lnTo>
                    <a:pt x="690" y="1007"/>
                  </a:lnTo>
                  <a:lnTo>
                    <a:pt x="690" y="1006"/>
                  </a:lnTo>
                  <a:lnTo>
                    <a:pt x="692" y="1006"/>
                  </a:lnTo>
                  <a:lnTo>
                    <a:pt x="693" y="1006"/>
                  </a:lnTo>
                  <a:lnTo>
                    <a:pt x="694" y="1006"/>
                  </a:lnTo>
                  <a:lnTo>
                    <a:pt x="695" y="1006"/>
                  </a:lnTo>
                  <a:lnTo>
                    <a:pt x="695" y="1005"/>
                  </a:lnTo>
                  <a:lnTo>
                    <a:pt x="696" y="1005"/>
                  </a:lnTo>
                  <a:lnTo>
                    <a:pt x="699" y="1004"/>
                  </a:lnTo>
                  <a:lnTo>
                    <a:pt x="699" y="1003"/>
                  </a:lnTo>
                  <a:lnTo>
                    <a:pt x="700" y="1003"/>
                  </a:lnTo>
                  <a:lnTo>
                    <a:pt x="701" y="1001"/>
                  </a:lnTo>
                  <a:lnTo>
                    <a:pt x="701" y="1000"/>
                  </a:lnTo>
                  <a:lnTo>
                    <a:pt x="704" y="1000"/>
                  </a:lnTo>
                  <a:lnTo>
                    <a:pt x="704" y="999"/>
                  </a:lnTo>
                  <a:lnTo>
                    <a:pt x="706" y="998"/>
                  </a:lnTo>
                  <a:lnTo>
                    <a:pt x="707" y="997"/>
                  </a:lnTo>
                  <a:lnTo>
                    <a:pt x="708" y="997"/>
                  </a:lnTo>
                  <a:lnTo>
                    <a:pt x="711" y="995"/>
                  </a:lnTo>
                  <a:lnTo>
                    <a:pt x="711" y="994"/>
                  </a:lnTo>
                  <a:lnTo>
                    <a:pt x="711" y="993"/>
                  </a:lnTo>
                  <a:lnTo>
                    <a:pt x="713" y="991"/>
                  </a:lnTo>
                  <a:lnTo>
                    <a:pt x="714" y="989"/>
                  </a:lnTo>
                  <a:lnTo>
                    <a:pt x="716" y="988"/>
                  </a:lnTo>
                  <a:lnTo>
                    <a:pt x="716" y="987"/>
                  </a:lnTo>
                  <a:lnTo>
                    <a:pt x="716" y="985"/>
                  </a:lnTo>
                  <a:lnTo>
                    <a:pt x="716" y="982"/>
                  </a:lnTo>
                  <a:lnTo>
                    <a:pt x="717" y="981"/>
                  </a:lnTo>
                  <a:lnTo>
                    <a:pt x="718" y="979"/>
                  </a:lnTo>
                  <a:lnTo>
                    <a:pt x="719" y="977"/>
                  </a:lnTo>
                  <a:lnTo>
                    <a:pt x="719" y="976"/>
                  </a:lnTo>
                  <a:lnTo>
                    <a:pt x="719" y="975"/>
                  </a:lnTo>
                  <a:lnTo>
                    <a:pt x="719" y="974"/>
                  </a:lnTo>
                  <a:lnTo>
                    <a:pt x="718" y="974"/>
                  </a:lnTo>
                  <a:lnTo>
                    <a:pt x="716" y="976"/>
                  </a:lnTo>
                  <a:lnTo>
                    <a:pt x="713" y="977"/>
                  </a:lnTo>
                  <a:lnTo>
                    <a:pt x="712" y="977"/>
                  </a:lnTo>
                  <a:lnTo>
                    <a:pt x="711" y="977"/>
                  </a:lnTo>
                  <a:lnTo>
                    <a:pt x="712" y="976"/>
                  </a:lnTo>
                  <a:lnTo>
                    <a:pt x="713" y="976"/>
                  </a:lnTo>
                  <a:lnTo>
                    <a:pt x="714" y="975"/>
                  </a:lnTo>
                  <a:lnTo>
                    <a:pt x="716" y="975"/>
                  </a:lnTo>
                  <a:lnTo>
                    <a:pt x="717" y="974"/>
                  </a:lnTo>
                  <a:lnTo>
                    <a:pt x="718" y="973"/>
                  </a:lnTo>
                  <a:lnTo>
                    <a:pt x="717" y="973"/>
                  </a:lnTo>
                  <a:lnTo>
                    <a:pt x="714" y="971"/>
                  </a:lnTo>
                  <a:lnTo>
                    <a:pt x="714" y="970"/>
                  </a:lnTo>
                  <a:lnTo>
                    <a:pt x="713" y="970"/>
                  </a:lnTo>
                  <a:lnTo>
                    <a:pt x="711" y="969"/>
                  </a:lnTo>
                  <a:lnTo>
                    <a:pt x="710" y="968"/>
                  </a:lnTo>
                  <a:lnTo>
                    <a:pt x="710" y="967"/>
                  </a:lnTo>
                  <a:lnTo>
                    <a:pt x="711" y="968"/>
                  </a:lnTo>
                  <a:lnTo>
                    <a:pt x="713" y="968"/>
                  </a:lnTo>
                  <a:lnTo>
                    <a:pt x="714" y="967"/>
                  </a:lnTo>
                  <a:lnTo>
                    <a:pt x="716" y="965"/>
                  </a:lnTo>
                  <a:lnTo>
                    <a:pt x="717" y="964"/>
                  </a:lnTo>
                  <a:lnTo>
                    <a:pt x="714" y="965"/>
                  </a:lnTo>
                  <a:lnTo>
                    <a:pt x="713" y="965"/>
                  </a:lnTo>
                  <a:lnTo>
                    <a:pt x="713" y="964"/>
                  </a:lnTo>
                  <a:lnTo>
                    <a:pt x="714" y="963"/>
                  </a:lnTo>
                  <a:lnTo>
                    <a:pt x="716" y="963"/>
                  </a:lnTo>
                  <a:lnTo>
                    <a:pt x="717" y="962"/>
                  </a:lnTo>
                  <a:lnTo>
                    <a:pt x="714" y="962"/>
                  </a:lnTo>
                  <a:lnTo>
                    <a:pt x="714" y="961"/>
                  </a:lnTo>
                  <a:lnTo>
                    <a:pt x="714" y="959"/>
                  </a:lnTo>
                  <a:lnTo>
                    <a:pt x="713" y="958"/>
                  </a:lnTo>
                  <a:lnTo>
                    <a:pt x="712" y="959"/>
                  </a:lnTo>
                  <a:lnTo>
                    <a:pt x="711" y="959"/>
                  </a:lnTo>
                  <a:lnTo>
                    <a:pt x="710" y="958"/>
                  </a:lnTo>
                  <a:lnTo>
                    <a:pt x="708" y="958"/>
                  </a:lnTo>
                  <a:lnTo>
                    <a:pt x="708" y="961"/>
                  </a:lnTo>
                  <a:lnTo>
                    <a:pt x="708" y="964"/>
                  </a:lnTo>
                  <a:lnTo>
                    <a:pt x="707" y="965"/>
                  </a:lnTo>
                  <a:lnTo>
                    <a:pt x="705" y="967"/>
                  </a:lnTo>
                  <a:lnTo>
                    <a:pt x="704" y="969"/>
                  </a:lnTo>
                  <a:lnTo>
                    <a:pt x="704" y="970"/>
                  </a:lnTo>
                  <a:lnTo>
                    <a:pt x="701" y="971"/>
                  </a:lnTo>
                  <a:lnTo>
                    <a:pt x="699" y="971"/>
                  </a:lnTo>
                  <a:lnTo>
                    <a:pt x="698" y="973"/>
                  </a:lnTo>
                  <a:lnTo>
                    <a:pt x="696" y="974"/>
                  </a:lnTo>
                  <a:lnTo>
                    <a:pt x="695" y="974"/>
                  </a:lnTo>
                  <a:lnTo>
                    <a:pt x="693" y="975"/>
                  </a:lnTo>
                  <a:lnTo>
                    <a:pt x="690" y="976"/>
                  </a:lnTo>
                  <a:lnTo>
                    <a:pt x="689" y="976"/>
                  </a:lnTo>
                  <a:lnTo>
                    <a:pt x="685" y="977"/>
                  </a:lnTo>
                  <a:lnTo>
                    <a:pt x="684" y="977"/>
                  </a:lnTo>
                  <a:lnTo>
                    <a:pt x="682" y="979"/>
                  </a:lnTo>
                  <a:lnTo>
                    <a:pt x="681" y="977"/>
                  </a:lnTo>
                  <a:lnTo>
                    <a:pt x="682" y="977"/>
                  </a:lnTo>
                  <a:lnTo>
                    <a:pt x="683" y="975"/>
                  </a:lnTo>
                  <a:lnTo>
                    <a:pt x="683" y="974"/>
                  </a:lnTo>
                  <a:lnTo>
                    <a:pt x="682" y="973"/>
                  </a:lnTo>
                  <a:lnTo>
                    <a:pt x="682" y="971"/>
                  </a:lnTo>
                  <a:lnTo>
                    <a:pt x="681" y="970"/>
                  </a:lnTo>
                  <a:lnTo>
                    <a:pt x="679" y="969"/>
                  </a:lnTo>
                  <a:lnTo>
                    <a:pt x="681" y="969"/>
                  </a:lnTo>
                  <a:lnTo>
                    <a:pt x="682" y="969"/>
                  </a:lnTo>
                  <a:lnTo>
                    <a:pt x="682" y="968"/>
                  </a:lnTo>
                  <a:lnTo>
                    <a:pt x="683" y="968"/>
                  </a:lnTo>
                  <a:lnTo>
                    <a:pt x="684" y="968"/>
                  </a:lnTo>
                  <a:lnTo>
                    <a:pt x="684" y="967"/>
                  </a:lnTo>
                  <a:lnTo>
                    <a:pt x="682" y="965"/>
                  </a:lnTo>
                  <a:lnTo>
                    <a:pt x="683" y="964"/>
                  </a:lnTo>
                  <a:lnTo>
                    <a:pt x="683" y="962"/>
                  </a:lnTo>
                  <a:lnTo>
                    <a:pt x="683" y="961"/>
                  </a:lnTo>
                  <a:lnTo>
                    <a:pt x="682" y="962"/>
                  </a:lnTo>
                  <a:lnTo>
                    <a:pt x="681" y="962"/>
                  </a:lnTo>
                  <a:lnTo>
                    <a:pt x="679" y="962"/>
                  </a:lnTo>
                  <a:lnTo>
                    <a:pt x="678" y="962"/>
                  </a:lnTo>
                  <a:lnTo>
                    <a:pt x="677" y="962"/>
                  </a:lnTo>
                  <a:lnTo>
                    <a:pt x="675" y="963"/>
                  </a:lnTo>
                  <a:lnTo>
                    <a:pt x="673" y="963"/>
                  </a:lnTo>
                  <a:lnTo>
                    <a:pt x="672" y="963"/>
                  </a:lnTo>
                  <a:lnTo>
                    <a:pt x="673" y="962"/>
                  </a:lnTo>
                  <a:lnTo>
                    <a:pt x="675" y="962"/>
                  </a:lnTo>
                  <a:lnTo>
                    <a:pt x="675" y="961"/>
                  </a:lnTo>
                  <a:lnTo>
                    <a:pt x="675" y="959"/>
                  </a:lnTo>
                  <a:lnTo>
                    <a:pt x="673" y="958"/>
                  </a:lnTo>
                  <a:lnTo>
                    <a:pt x="673" y="956"/>
                  </a:lnTo>
                  <a:lnTo>
                    <a:pt x="672" y="953"/>
                  </a:lnTo>
                  <a:lnTo>
                    <a:pt x="671" y="952"/>
                  </a:lnTo>
                  <a:lnTo>
                    <a:pt x="670" y="952"/>
                  </a:lnTo>
                  <a:lnTo>
                    <a:pt x="670" y="951"/>
                  </a:lnTo>
                  <a:lnTo>
                    <a:pt x="669" y="952"/>
                  </a:lnTo>
                  <a:lnTo>
                    <a:pt x="669" y="953"/>
                  </a:lnTo>
                  <a:lnTo>
                    <a:pt x="669" y="955"/>
                  </a:lnTo>
                  <a:lnTo>
                    <a:pt x="667" y="956"/>
                  </a:lnTo>
                  <a:lnTo>
                    <a:pt x="667" y="957"/>
                  </a:lnTo>
                  <a:lnTo>
                    <a:pt x="666" y="958"/>
                  </a:lnTo>
                  <a:lnTo>
                    <a:pt x="665" y="958"/>
                  </a:lnTo>
                  <a:lnTo>
                    <a:pt x="665" y="957"/>
                  </a:lnTo>
                  <a:lnTo>
                    <a:pt x="664" y="959"/>
                  </a:lnTo>
                  <a:lnTo>
                    <a:pt x="663" y="959"/>
                  </a:lnTo>
                  <a:lnTo>
                    <a:pt x="661" y="962"/>
                  </a:lnTo>
                  <a:lnTo>
                    <a:pt x="663" y="962"/>
                  </a:lnTo>
                  <a:lnTo>
                    <a:pt x="665" y="961"/>
                  </a:lnTo>
                  <a:lnTo>
                    <a:pt x="665" y="962"/>
                  </a:lnTo>
                  <a:lnTo>
                    <a:pt x="664" y="962"/>
                  </a:lnTo>
                  <a:lnTo>
                    <a:pt x="663" y="963"/>
                  </a:lnTo>
                  <a:lnTo>
                    <a:pt x="663" y="965"/>
                  </a:lnTo>
                  <a:lnTo>
                    <a:pt x="664" y="965"/>
                  </a:lnTo>
                  <a:lnTo>
                    <a:pt x="664" y="967"/>
                  </a:lnTo>
                  <a:lnTo>
                    <a:pt x="663" y="967"/>
                  </a:lnTo>
                  <a:lnTo>
                    <a:pt x="663" y="969"/>
                  </a:lnTo>
                  <a:lnTo>
                    <a:pt x="661" y="970"/>
                  </a:lnTo>
                  <a:lnTo>
                    <a:pt x="659" y="970"/>
                  </a:lnTo>
                  <a:lnTo>
                    <a:pt x="659" y="971"/>
                  </a:lnTo>
                  <a:lnTo>
                    <a:pt x="660" y="971"/>
                  </a:lnTo>
                  <a:lnTo>
                    <a:pt x="661" y="973"/>
                  </a:lnTo>
                  <a:lnTo>
                    <a:pt x="663" y="973"/>
                  </a:lnTo>
                  <a:lnTo>
                    <a:pt x="663" y="974"/>
                  </a:lnTo>
                  <a:lnTo>
                    <a:pt x="663" y="975"/>
                  </a:lnTo>
                  <a:lnTo>
                    <a:pt x="661" y="975"/>
                  </a:lnTo>
                  <a:lnTo>
                    <a:pt x="660" y="974"/>
                  </a:lnTo>
                  <a:lnTo>
                    <a:pt x="660" y="976"/>
                  </a:lnTo>
                  <a:lnTo>
                    <a:pt x="659" y="976"/>
                  </a:lnTo>
                  <a:lnTo>
                    <a:pt x="655" y="977"/>
                  </a:lnTo>
                  <a:lnTo>
                    <a:pt x="654" y="979"/>
                  </a:lnTo>
                  <a:lnTo>
                    <a:pt x="651" y="979"/>
                  </a:lnTo>
                  <a:lnTo>
                    <a:pt x="649" y="979"/>
                  </a:lnTo>
                  <a:lnTo>
                    <a:pt x="646" y="980"/>
                  </a:lnTo>
                  <a:lnTo>
                    <a:pt x="642" y="980"/>
                  </a:lnTo>
                  <a:lnTo>
                    <a:pt x="639" y="979"/>
                  </a:lnTo>
                  <a:lnTo>
                    <a:pt x="636" y="979"/>
                  </a:lnTo>
                  <a:lnTo>
                    <a:pt x="634" y="977"/>
                  </a:lnTo>
                  <a:lnTo>
                    <a:pt x="631" y="977"/>
                  </a:lnTo>
                  <a:lnTo>
                    <a:pt x="628" y="976"/>
                  </a:lnTo>
                  <a:lnTo>
                    <a:pt x="626" y="975"/>
                  </a:lnTo>
                  <a:lnTo>
                    <a:pt x="625" y="973"/>
                  </a:lnTo>
                  <a:lnTo>
                    <a:pt x="625" y="971"/>
                  </a:lnTo>
                  <a:lnTo>
                    <a:pt x="628" y="973"/>
                  </a:lnTo>
                  <a:lnTo>
                    <a:pt x="628" y="971"/>
                  </a:lnTo>
                  <a:lnTo>
                    <a:pt x="629" y="969"/>
                  </a:lnTo>
                  <a:lnTo>
                    <a:pt x="630" y="971"/>
                  </a:lnTo>
                  <a:lnTo>
                    <a:pt x="631" y="973"/>
                  </a:lnTo>
                  <a:lnTo>
                    <a:pt x="633" y="975"/>
                  </a:lnTo>
                  <a:lnTo>
                    <a:pt x="634" y="976"/>
                  </a:lnTo>
                  <a:lnTo>
                    <a:pt x="635" y="976"/>
                  </a:lnTo>
                  <a:lnTo>
                    <a:pt x="635" y="975"/>
                  </a:lnTo>
                  <a:lnTo>
                    <a:pt x="633" y="971"/>
                  </a:lnTo>
                  <a:lnTo>
                    <a:pt x="631" y="969"/>
                  </a:lnTo>
                  <a:lnTo>
                    <a:pt x="630" y="968"/>
                  </a:lnTo>
                  <a:lnTo>
                    <a:pt x="630" y="965"/>
                  </a:lnTo>
                  <a:lnTo>
                    <a:pt x="630" y="964"/>
                  </a:lnTo>
                  <a:lnTo>
                    <a:pt x="631" y="967"/>
                  </a:lnTo>
                  <a:lnTo>
                    <a:pt x="631" y="968"/>
                  </a:lnTo>
                  <a:lnTo>
                    <a:pt x="633" y="968"/>
                  </a:lnTo>
                  <a:lnTo>
                    <a:pt x="633" y="965"/>
                  </a:lnTo>
                  <a:lnTo>
                    <a:pt x="634" y="965"/>
                  </a:lnTo>
                  <a:lnTo>
                    <a:pt x="635" y="965"/>
                  </a:lnTo>
                  <a:lnTo>
                    <a:pt x="636" y="968"/>
                  </a:lnTo>
                  <a:lnTo>
                    <a:pt x="636" y="967"/>
                  </a:lnTo>
                  <a:lnTo>
                    <a:pt x="637" y="965"/>
                  </a:lnTo>
                  <a:lnTo>
                    <a:pt x="637" y="964"/>
                  </a:lnTo>
                  <a:lnTo>
                    <a:pt x="636" y="962"/>
                  </a:lnTo>
                  <a:lnTo>
                    <a:pt x="634" y="959"/>
                  </a:lnTo>
                  <a:lnTo>
                    <a:pt x="633" y="958"/>
                  </a:lnTo>
                  <a:lnTo>
                    <a:pt x="634" y="956"/>
                  </a:lnTo>
                  <a:lnTo>
                    <a:pt x="635" y="957"/>
                  </a:lnTo>
                  <a:lnTo>
                    <a:pt x="635" y="958"/>
                  </a:lnTo>
                  <a:lnTo>
                    <a:pt x="636" y="959"/>
                  </a:lnTo>
                  <a:lnTo>
                    <a:pt x="637" y="959"/>
                  </a:lnTo>
                  <a:lnTo>
                    <a:pt x="639" y="959"/>
                  </a:lnTo>
                  <a:lnTo>
                    <a:pt x="639" y="958"/>
                  </a:lnTo>
                  <a:lnTo>
                    <a:pt x="640" y="958"/>
                  </a:lnTo>
                  <a:lnTo>
                    <a:pt x="641" y="959"/>
                  </a:lnTo>
                  <a:lnTo>
                    <a:pt x="642" y="961"/>
                  </a:lnTo>
                  <a:lnTo>
                    <a:pt x="643" y="959"/>
                  </a:lnTo>
                  <a:lnTo>
                    <a:pt x="643" y="958"/>
                  </a:lnTo>
                  <a:lnTo>
                    <a:pt x="645" y="957"/>
                  </a:lnTo>
                  <a:lnTo>
                    <a:pt x="645" y="956"/>
                  </a:lnTo>
                  <a:lnTo>
                    <a:pt x="645" y="955"/>
                  </a:lnTo>
                  <a:lnTo>
                    <a:pt x="643" y="952"/>
                  </a:lnTo>
                  <a:lnTo>
                    <a:pt x="642" y="951"/>
                  </a:lnTo>
                  <a:lnTo>
                    <a:pt x="642" y="950"/>
                  </a:lnTo>
                  <a:lnTo>
                    <a:pt x="642" y="949"/>
                  </a:lnTo>
                  <a:lnTo>
                    <a:pt x="643" y="949"/>
                  </a:lnTo>
                  <a:lnTo>
                    <a:pt x="645" y="950"/>
                  </a:lnTo>
                  <a:lnTo>
                    <a:pt x="647" y="949"/>
                  </a:lnTo>
                  <a:lnTo>
                    <a:pt x="649" y="950"/>
                  </a:lnTo>
                  <a:lnTo>
                    <a:pt x="651" y="951"/>
                  </a:lnTo>
                  <a:lnTo>
                    <a:pt x="652" y="951"/>
                  </a:lnTo>
                  <a:lnTo>
                    <a:pt x="652" y="950"/>
                  </a:lnTo>
                  <a:lnTo>
                    <a:pt x="653" y="949"/>
                  </a:lnTo>
                  <a:lnTo>
                    <a:pt x="654" y="949"/>
                  </a:lnTo>
                  <a:lnTo>
                    <a:pt x="654" y="947"/>
                  </a:lnTo>
                  <a:lnTo>
                    <a:pt x="652" y="946"/>
                  </a:lnTo>
                  <a:lnTo>
                    <a:pt x="649" y="946"/>
                  </a:lnTo>
                  <a:lnTo>
                    <a:pt x="648" y="946"/>
                  </a:lnTo>
                  <a:lnTo>
                    <a:pt x="646" y="944"/>
                  </a:lnTo>
                  <a:lnTo>
                    <a:pt x="645" y="941"/>
                  </a:lnTo>
                  <a:lnTo>
                    <a:pt x="643" y="940"/>
                  </a:lnTo>
                  <a:lnTo>
                    <a:pt x="643" y="939"/>
                  </a:lnTo>
                  <a:lnTo>
                    <a:pt x="645" y="939"/>
                  </a:lnTo>
                  <a:lnTo>
                    <a:pt x="646" y="940"/>
                  </a:lnTo>
                  <a:lnTo>
                    <a:pt x="647" y="941"/>
                  </a:lnTo>
                  <a:lnTo>
                    <a:pt x="649" y="943"/>
                  </a:lnTo>
                  <a:lnTo>
                    <a:pt x="651" y="944"/>
                  </a:lnTo>
                  <a:lnTo>
                    <a:pt x="652" y="944"/>
                  </a:lnTo>
                  <a:lnTo>
                    <a:pt x="653" y="943"/>
                  </a:lnTo>
                  <a:lnTo>
                    <a:pt x="652" y="941"/>
                  </a:lnTo>
                  <a:lnTo>
                    <a:pt x="649" y="940"/>
                  </a:lnTo>
                  <a:lnTo>
                    <a:pt x="647" y="939"/>
                  </a:lnTo>
                  <a:lnTo>
                    <a:pt x="646" y="938"/>
                  </a:lnTo>
                  <a:lnTo>
                    <a:pt x="643" y="937"/>
                  </a:lnTo>
                  <a:lnTo>
                    <a:pt x="642" y="935"/>
                  </a:lnTo>
                  <a:lnTo>
                    <a:pt x="641" y="934"/>
                  </a:lnTo>
                  <a:lnTo>
                    <a:pt x="641" y="933"/>
                  </a:lnTo>
                  <a:lnTo>
                    <a:pt x="642" y="934"/>
                  </a:lnTo>
                  <a:lnTo>
                    <a:pt x="643" y="935"/>
                  </a:lnTo>
                  <a:lnTo>
                    <a:pt x="645" y="937"/>
                  </a:lnTo>
                  <a:lnTo>
                    <a:pt x="646" y="937"/>
                  </a:lnTo>
                  <a:lnTo>
                    <a:pt x="647" y="937"/>
                  </a:lnTo>
                  <a:lnTo>
                    <a:pt x="649" y="935"/>
                  </a:lnTo>
                  <a:lnTo>
                    <a:pt x="651" y="935"/>
                  </a:lnTo>
                  <a:lnTo>
                    <a:pt x="652" y="935"/>
                  </a:lnTo>
                  <a:lnTo>
                    <a:pt x="651" y="934"/>
                  </a:lnTo>
                  <a:lnTo>
                    <a:pt x="649" y="933"/>
                  </a:lnTo>
                  <a:lnTo>
                    <a:pt x="651" y="931"/>
                  </a:lnTo>
                  <a:lnTo>
                    <a:pt x="653" y="932"/>
                  </a:lnTo>
                  <a:lnTo>
                    <a:pt x="651" y="929"/>
                  </a:lnTo>
                  <a:lnTo>
                    <a:pt x="651" y="928"/>
                  </a:lnTo>
                  <a:lnTo>
                    <a:pt x="653" y="927"/>
                  </a:lnTo>
                  <a:lnTo>
                    <a:pt x="654" y="926"/>
                  </a:lnTo>
                  <a:lnTo>
                    <a:pt x="653" y="923"/>
                  </a:lnTo>
                  <a:lnTo>
                    <a:pt x="651" y="925"/>
                  </a:lnTo>
                  <a:lnTo>
                    <a:pt x="649" y="925"/>
                  </a:lnTo>
                  <a:lnTo>
                    <a:pt x="646" y="923"/>
                  </a:lnTo>
                  <a:lnTo>
                    <a:pt x="642" y="919"/>
                  </a:lnTo>
                  <a:lnTo>
                    <a:pt x="639" y="916"/>
                  </a:lnTo>
                  <a:lnTo>
                    <a:pt x="637" y="915"/>
                  </a:lnTo>
                  <a:lnTo>
                    <a:pt x="639" y="909"/>
                  </a:lnTo>
                  <a:lnTo>
                    <a:pt x="639" y="905"/>
                  </a:lnTo>
                  <a:lnTo>
                    <a:pt x="640" y="906"/>
                  </a:lnTo>
                  <a:lnTo>
                    <a:pt x="641" y="910"/>
                  </a:lnTo>
                  <a:lnTo>
                    <a:pt x="641" y="915"/>
                  </a:lnTo>
                  <a:lnTo>
                    <a:pt x="642" y="914"/>
                  </a:lnTo>
                  <a:lnTo>
                    <a:pt x="642" y="912"/>
                  </a:lnTo>
                  <a:lnTo>
                    <a:pt x="643" y="914"/>
                  </a:lnTo>
                  <a:lnTo>
                    <a:pt x="645" y="911"/>
                  </a:lnTo>
                  <a:lnTo>
                    <a:pt x="643" y="908"/>
                  </a:lnTo>
                  <a:lnTo>
                    <a:pt x="645" y="908"/>
                  </a:lnTo>
                  <a:lnTo>
                    <a:pt x="646" y="908"/>
                  </a:lnTo>
                  <a:lnTo>
                    <a:pt x="646" y="914"/>
                  </a:lnTo>
                  <a:lnTo>
                    <a:pt x="646" y="915"/>
                  </a:lnTo>
                  <a:lnTo>
                    <a:pt x="648" y="917"/>
                  </a:lnTo>
                  <a:lnTo>
                    <a:pt x="651" y="919"/>
                  </a:lnTo>
                  <a:lnTo>
                    <a:pt x="651" y="916"/>
                  </a:lnTo>
                  <a:lnTo>
                    <a:pt x="649" y="912"/>
                  </a:lnTo>
                  <a:lnTo>
                    <a:pt x="648" y="911"/>
                  </a:lnTo>
                  <a:lnTo>
                    <a:pt x="648" y="910"/>
                  </a:lnTo>
                  <a:lnTo>
                    <a:pt x="647" y="908"/>
                  </a:lnTo>
                  <a:lnTo>
                    <a:pt x="645" y="905"/>
                  </a:lnTo>
                  <a:lnTo>
                    <a:pt x="643" y="903"/>
                  </a:lnTo>
                  <a:lnTo>
                    <a:pt x="643" y="900"/>
                  </a:lnTo>
                  <a:lnTo>
                    <a:pt x="645" y="903"/>
                  </a:lnTo>
                  <a:lnTo>
                    <a:pt x="646" y="903"/>
                  </a:lnTo>
                  <a:lnTo>
                    <a:pt x="646" y="900"/>
                  </a:lnTo>
                  <a:lnTo>
                    <a:pt x="646" y="899"/>
                  </a:lnTo>
                  <a:lnTo>
                    <a:pt x="647" y="899"/>
                  </a:lnTo>
                  <a:lnTo>
                    <a:pt x="647" y="902"/>
                  </a:lnTo>
                  <a:lnTo>
                    <a:pt x="648" y="904"/>
                  </a:lnTo>
                  <a:lnTo>
                    <a:pt x="648" y="906"/>
                  </a:lnTo>
                  <a:lnTo>
                    <a:pt x="649" y="908"/>
                  </a:lnTo>
                  <a:lnTo>
                    <a:pt x="651" y="909"/>
                  </a:lnTo>
                  <a:lnTo>
                    <a:pt x="652" y="910"/>
                  </a:lnTo>
                  <a:lnTo>
                    <a:pt x="652" y="906"/>
                  </a:lnTo>
                  <a:lnTo>
                    <a:pt x="652" y="904"/>
                  </a:lnTo>
                  <a:lnTo>
                    <a:pt x="654" y="903"/>
                  </a:lnTo>
                  <a:lnTo>
                    <a:pt x="653" y="900"/>
                  </a:lnTo>
                  <a:lnTo>
                    <a:pt x="652" y="899"/>
                  </a:lnTo>
                  <a:lnTo>
                    <a:pt x="651" y="898"/>
                  </a:lnTo>
                  <a:lnTo>
                    <a:pt x="651" y="896"/>
                  </a:lnTo>
                  <a:lnTo>
                    <a:pt x="652" y="896"/>
                  </a:lnTo>
                  <a:lnTo>
                    <a:pt x="653" y="899"/>
                  </a:lnTo>
                  <a:lnTo>
                    <a:pt x="654" y="900"/>
                  </a:lnTo>
                  <a:lnTo>
                    <a:pt x="655" y="900"/>
                  </a:lnTo>
                  <a:lnTo>
                    <a:pt x="657" y="902"/>
                  </a:lnTo>
                  <a:lnTo>
                    <a:pt x="658" y="905"/>
                  </a:lnTo>
                  <a:lnTo>
                    <a:pt x="659" y="905"/>
                  </a:lnTo>
                  <a:lnTo>
                    <a:pt x="660" y="905"/>
                  </a:lnTo>
                  <a:lnTo>
                    <a:pt x="661" y="905"/>
                  </a:lnTo>
                  <a:lnTo>
                    <a:pt x="661" y="908"/>
                  </a:lnTo>
                  <a:lnTo>
                    <a:pt x="663" y="908"/>
                  </a:lnTo>
                  <a:lnTo>
                    <a:pt x="664" y="906"/>
                  </a:lnTo>
                  <a:lnTo>
                    <a:pt x="664" y="905"/>
                  </a:lnTo>
                  <a:lnTo>
                    <a:pt x="664" y="902"/>
                  </a:lnTo>
                  <a:lnTo>
                    <a:pt x="665" y="902"/>
                  </a:lnTo>
                  <a:lnTo>
                    <a:pt x="666" y="909"/>
                  </a:lnTo>
                  <a:lnTo>
                    <a:pt x="666" y="911"/>
                  </a:lnTo>
                  <a:lnTo>
                    <a:pt x="667" y="912"/>
                  </a:lnTo>
                  <a:lnTo>
                    <a:pt x="669" y="911"/>
                  </a:lnTo>
                  <a:lnTo>
                    <a:pt x="669" y="908"/>
                  </a:lnTo>
                  <a:lnTo>
                    <a:pt x="669" y="905"/>
                  </a:lnTo>
                  <a:lnTo>
                    <a:pt x="670" y="902"/>
                  </a:lnTo>
                  <a:lnTo>
                    <a:pt x="671" y="903"/>
                  </a:lnTo>
                  <a:lnTo>
                    <a:pt x="672" y="908"/>
                  </a:lnTo>
                  <a:lnTo>
                    <a:pt x="673" y="908"/>
                  </a:lnTo>
                  <a:lnTo>
                    <a:pt x="675" y="905"/>
                  </a:lnTo>
                  <a:lnTo>
                    <a:pt x="675" y="909"/>
                  </a:lnTo>
                  <a:lnTo>
                    <a:pt x="676" y="910"/>
                  </a:lnTo>
                  <a:lnTo>
                    <a:pt x="677" y="910"/>
                  </a:lnTo>
                  <a:lnTo>
                    <a:pt x="677" y="908"/>
                  </a:lnTo>
                  <a:lnTo>
                    <a:pt x="677" y="903"/>
                  </a:lnTo>
                  <a:lnTo>
                    <a:pt x="678" y="902"/>
                  </a:lnTo>
                  <a:lnTo>
                    <a:pt x="679" y="900"/>
                  </a:lnTo>
                  <a:lnTo>
                    <a:pt x="679" y="899"/>
                  </a:lnTo>
                  <a:lnTo>
                    <a:pt x="678" y="897"/>
                  </a:lnTo>
                  <a:lnTo>
                    <a:pt x="676" y="894"/>
                  </a:lnTo>
                  <a:lnTo>
                    <a:pt x="677" y="893"/>
                  </a:lnTo>
                  <a:lnTo>
                    <a:pt x="681" y="893"/>
                  </a:lnTo>
                  <a:lnTo>
                    <a:pt x="681" y="892"/>
                  </a:lnTo>
                  <a:lnTo>
                    <a:pt x="683" y="892"/>
                  </a:lnTo>
                  <a:lnTo>
                    <a:pt x="683" y="896"/>
                  </a:lnTo>
                  <a:lnTo>
                    <a:pt x="685" y="898"/>
                  </a:lnTo>
                  <a:lnTo>
                    <a:pt x="685" y="896"/>
                  </a:lnTo>
                  <a:lnTo>
                    <a:pt x="687" y="894"/>
                  </a:lnTo>
                  <a:lnTo>
                    <a:pt x="689" y="896"/>
                  </a:lnTo>
                  <a:lnTo>
                    <a:pt x="694" y="899"/>
                  </a:lnTo>
                  <a:lnTo>
                    <a:pt x="696" y="899"/>
                  </a:lnTo>
                  <a:lnTo>
                    <a:pt x="694" y="897"/>
                  </a:lnTo>
                  <a:lnTo>
                    <a:pt x="693" y="894"/>
                  </a:lnTo>
                  <a:lnTo>
                    <a:pt x="690" y="893"/>
                  </a:lnTo>
                  <a:lnTo>
                    <a:pt x="684" y="891"/>
                  </a:lnTo>
                  <a:lnTo>
                    <a:pt x="683" y="888"/>
                  </a:lnTo>
                  <a:lnTo>
                    <a:pt x="681" y="886"/>
                  </a:lnTo>
                  <a:lnTo>
                    <a:pt x="678" y="884"/>
                  </a:lnTo>
                  <a:lnTo>
                    <a:pt x="678" y="881"/>
                  </a:lnTo>
                  <a:lnTo>
                    <a:pt x="678" y="880"/>
                  </a:lnTo>
                  <a:lnTo>
                    <a:pt x="679" y="880"/>
                  </a:lnTo>
                  <a:lnTo>
                    <a:pt x="681" y="884"/>
                  </a:lnTo>
                  <a:lnTo>
                    <a:pt x="682" y="885"/>
                  </a:lnTo>
                  <a:lnTo>
                    <a:pt x="683" y="886"/>
                  </a:lnTo>
                  <a:lnTo>
                    <a:pt x="685" y="886"/>
                  </a:lnTo>
                  <a:lnTo>
                    <a:pt x="687" y="886"/>
                  </a:lnTo>
                  <a:lnTo>
                    <a:pt x="687" y="887"/>
                  </a:lnTo>
                  <a:lnTo>
                    <a:pt x="688" y="885"/>
                  </a:lnTo>
                  <a:lnTo>
                    <a:pt x="688" y="881"/>
                  </a:lnTo>
                  <a:lnTo>
                    <a:pt x="688" y="879"/>
                  </a:lnTo>
                  <a:lnTo>
                    <a:pt x="689" y="881"/>
                  </a:lnTo>
                  <a:lnTo>
                    <a:pt x="689" y="884"/>
                  </a:lnTo>
                  <a:lnTo>
                    <a:pt x="689" y="887"/>
                  </a:lnTo>
                  <a:lnTo>
                    <a:pt x="690" y="887"/>
                  </a:lnTo>
                  <a:lnTo>
                    <a:pt x="690" y="890"/>
                  </a:lnTo>
                  <a:lnTo>
                    <a:pt x="690" y="891"/>
                  </a:lnTo>
                  <a:lnTo>
                    <a:pt x="692" y="892"/>
                  </a:lnTo>
                  <a:lnTo>
                    <a:pt x="692" y="891"/>
                  </a:lnTo>
                  <a:lnTo>
                    <a:pt x="693" y="890"/>
                  </a:lnTo>
                  <a:lnTo>
                    <a:pt x="693" y="888"/>
                  </a:lnTo>
                  <a:lnTo>
                    <a:pt x="692" y="886"/>
                  </a:lnTo>
                  <a:lnTo>
                    <a:pt x="693" y="884"/>
                  </a:lnTo>
                  <a:lnTo>
                    <a:pt x="694" y="882"/>
                  </a:lnTo>
                  <a:lnTo>
                    <a:pt x="694" y="886"/>
                  </a:lnTo>
                  <a:lnTo>
                    <a:pt x="694" y="887"/>
                  </a:lnTo>
                  <a:lnTo>
                    <a:pt x="695" y="888"/>
                  </a:lnTo>
                  <a:lnTo>
                    <a:pt x="695" y="892"/>
                  </a:lnTo>
                  <a:lnTo>
                    <a:pt x="696" y="891"/>
                  </a:lnTo>
                  <a:lnTo>
                    <a:pt x="696" y="888"/>
                  </a:lnTo>
                  <a:lnTo>
                    <a:pt x="696" y="886"/>
                  </a:lnTo>
                  <a:lnTo>
                    <a:pt x="696" y="882"/>
                  </a:lnTo>
                  <a:lnTo>
                    <a:pt x="696" y="880"/>
                  </a:lnTo>
                  <a:lnTo>
                    <a:pt x="698" y="884"/>
                  </a:lnTo>
                  <a:lnTo>
                    <a:pt x="700" y="884"/>
                  </a:lnTo>
                  <a:lnTo>
                    <a:pt x="701" y="886"/>
                  </a:lnTo>
                  <a:lnTo>
                    <a:pt x="701" y="891"/>
                  </a:lnTo>
                  <a:lnTo>
                    <a:pt x="702" y="891"/>
                  </a:lnTo>
                  <a:lnTo>
                    <a:pt x="704" y="888"/>
                  </a:lnTo>
                  <a:lnTo>
                    <a:pt x="705" y="886"/>
                  </a:lnTo>
                  <a:lnTo>
                    <a:pt x="705" y="882"/>
                  </a:lnTo>
                  <a:lnTo>
                    <a:pt x="704" y="880"/>
                  </a:lnTo>
                  <a:lnTo>
                    <a:pt x="705" y="876"/>
                  </a:lnTo>
                  <a:lnTo>
                    <a:pt x="704" y="875"/>
                  </a:lnTo>
                  <a:lnTo>
                    <a:pt x="704" y="873"/>
                  </a:lnTo>
                  <a:lnTo>
                    <a:pt x="705" y="873"/>
                  </a:lnTo>
                  <a:lnTo>
                    <a:pt x="706" y="876"/>
                  </a:lnTo>
                  <a:lnTo>
                    <a:pt x="706" y="878"/>
                  </a:lnTo>
                  <a:lnTo>
                    <a:pt x="707" y="881"/>
                  </a:lnTo>
                  <a:lnTo>
                    <a:pt x="708" y="882"/>
                  </a:lnTo>
                  <a:lnTo>
                    <a:pt x="711" y="880"/>
                  </a:lnTo>
                  <a:lnTo>
                    <a:pt x="710" y="876"/>
                  </a:lnTo>
                  <a:lnTo>
                    <a:pt x="710" y="874"/>
                  </a:lnTo>
                  <a:lnTo>
                    <a:pt x="711" y="872"/>
                  </a:lnTo>
                  <a:lnTo>
                    <a:pt x="712" y="869"/>
                  </a:lnTo>
                  <a:lnTo>
                    <a:pt x="713" y="872"/>
                  </a:lnTo>
                  <a:lnTo>
                    <a:pt x="716" y="878"/>
                  </a:lnTo>
                  <a:lnTo>
                    <a:pt x="716" y="880"/>
                  </a:lnTo>
                  <a:lnTo>
                    <a:pt x="719" y="879"/>
                  </a:lnTo>
                  <a:lnTo>
                    <a:pt x="719" y="875"/>
                  </a:lnTo>
                  <a:lnTo>
                    <a:pt x="720" y="875"/>
                  </a:lnTo>
                  <a:lnTo>
                    <a:pt x="720" y="878"/>
                  </a:lnTo>
                  <a:lnTo>
                    <a:pt x="720" y="881"/>
                  </a:lnTo>
                  <a:lnTo>
                    <a:pt x="720" y="886"/>
                  </a:lnTo>
                  <a:lnTo>
                    <a:pt x="722" y="887"/>
                  </a:lnTo>
                  <a:lnTo>
                    <a:pt x="723" y="885"/>
                  </a:lnTo>
                  <a:lnTo>
                    <a:pt x="723" y="882"/>
                  </a:lnTo>
                  <a:lnTo>
                    <a:pt x="724" y="884"/>
                  </a:lnTo>
                  <a:lnTo>
                    <a:pt x="725" y="884"/>
                  </a:lnTo>
                  <a:lnTo>
                    <a:pt x="728" y="882"/>
                  </a:lnTo>
                  <a:lnTo>
                    <a:pt x="728" y="879"/>
                  </a:lnTo>
                  <a:lnTo>
                    <a:pt x="729" y="875"/>
                  </a:lnTo>
                  <a:lnTo>
                    <a:pt x="731" y="875"/>
                  </a:lnTo>
                  <a:lnTo>
                    <a:pt x="732" y="876"/>
                  </a:lnTo>
                  <a:lnTo>
                    <a:pt x="735" y="876"/>
                  </a:lnTo>
                  <a:lnTo>
                    <a:pt x="732" y="874"/>
                  </a:lnTo>
                  <a:lnTo>
                    <a:pt x="731" y="872"/>
                  </a:lnTo>
                  <a:lnTo>
                    <a:pt x="729" y="869"/>
                  </a:lnTo>
                  <a:lnTo>
                    <a:pt x="725" y="866"/>
                  </a:lnTo>
                  <a:lnTo>
                    <a:pt x="717" y="862"/>
                  </a:lnTo>
                  <a:lnTo>
                    <a:pt x="712" y="858"/>
                  </a:lnTo>
                  <a:lnTo>
                    <a:pt x="704" y="857"/>
                  </a:lnTo>
                  <a:lnTo>
                    <a:pt x="699" y="857"/>
                  </a:lnTo>
                  <a:lnTo>
                    <a:pt x="695" y="858"/>
                  </a:lnTo>
                  <a:lnTo>
                    <a:pt x="694" y="858"/>
                  </a:lnTo>
                  <a:lnTo>
                    <a:pt x="692" y="858"/>
                  </a:lnTo>
                  <a:lnTo>
                    <a:pt x="690" y="857"/>
                  </a:lnTo>
                  <a:lnTo>
                    <a:pt x="688" y="858"/>
                  </a:lnTo>
                  <a:lnTo>
                    <a:pt x="683" y="856"/>
                  </a:lnTo>
                  <a:lnTo>
                    <a:pt x="679" y="855"/>
                  </a:lnTo>
                  <a:lnTo>
                    <a:pt x="676" y="852"/>
                  </a:lnTo>
                  <a:lnTo>
                    <a:pt x="676" y="851"/>
                  </a:lnTo>
                  <a:lnTo>
                    <a:pt x="678" y="850"/>
                  </a:lnTo>
                  <a:lnTo>
                    <a:pt x="679" y="850"/>
                  </a:lnTo>
                  <a:lnTo>
                    <a:pt x="684" y="852"/>
                  </a:lnTo>
                  <a:lnTo>
                    <a:pt x="685" y="851"/>
                  </a:lnTo>
                  <a:lnTo>
                    <a:pt x="683" y="850"/>
                  </a:lnTo>
                  <a:lnTo>
                    <a:pt x="681" y="849"/>
                  </a:lnTo>
                  <a:lnTo>
                    <a:pt x="684" y="846"/>
                  </a:lnTo>
                  <a:lnTo>
                    <a:pt x="684" y="845"/>
                  </a:lnTo>
                  <a:lnTo>
                    <a:pt x="679" y="846"/>
                  </a:lnTo>
                  <a:lnTo>
                    <a:pt x="678" y="846"/>
                  </a:lnTo>
                  <a:lnTo>
                    <a:pt x="677" y="848"/>
                  </a:lnTo>
                  <a:lnTo>
                    <a:pt x="676" y="848"/>
                  </a:lnTo>
                  <a:lnTo>
                    <a:pt x="675" y="849"/>
                  </a:lnTo>
                  <a:lnTo>
                    <a:pt x="672" y="851"/>
                  </a:lnTo>
                  <a:lnTo>
                    <a:pt x="670" y="850"/>
                  </a:lnTo>
                  <a:lnTo>
                    <a:pt x="667" y="852"/>
                  </a:lnTo>
                  <a:lnTo>
                    <a:pt x="666" y="855"/>
                  </a:lnTo>
                  <a:lnTo>
                    <a:pt x="661" y="852"/>
                  </a:lnTo>
                  <a:lnTo>
                    <a:pt x="655" y="849"/>
                  </a:lnTo>
                  <a:lnTo>
                    <a:pt x="648" y="846"/>
                  </a:lnTo>
                  <a:lnTo>
                    <a:pt x="646" y="848"/>
                  </a:lnTo>
                  <a:lnTo>
                    <a:pt x="645" y="846"/>
                  </a:lnTo>
                  <a:lnTo>
                    <a:pt x="643" y="845"/>
                  </a:lnTo>
                  <a:lnTo>
                    <a:pt x="646" y="844"/>
                  </a:lnTo>
                  <a:lnTo>
                    <a:pt x="646" y="842"/>
                  </a:lnTo>
                  <a:lnTo>
                    <a:pt x="645" y="839"/>
                  </a:lnTo>
                  <a:lnTo>
                    <a:pt x="646" y="836"/>
                  </a:lnTo>
                  <a:lnTo>
                    <a:pt x="647" y="837"/>
                  </a:lnTo>
                  <a:lnTo>
                    <a:pt x="648" y="840"/>
                  </a:lnTo>
                  <a:lnTo>
                    <a:pt x="649" y="840"/>
                  </a:lnTo>
                  <a:lnTo>
                    <a:pt x="651" y="837"/>
                  </a:lnTo>
                  <a:lnTo>
                    <a:pt x="651" y="836"/>
                  </a:lnTo>
                  <a:lnTo>
                    <a:pt x="651" y="834"/>
                  </a:lnTo>
                  <a:lnTo>
                    <a:pt x="653" y="836"/>
                  </a:lnTo>
                  <a:lnTo>
                    <a:pt x="654" y="837"/>
                  </a:lnTo>
                  <a:lnTo>
                    <a:pt x="655" y="836"/>
                  </a:lnTo>
                  <a:lnTo>
                    <a:pt x="657" y="834"/>
                  </a:lnTo>
                  <a:lnTo>
                    <a:pt x="657" y="836"/>
                  </a:lnTo>
                  <a:lnTo>
                    <a:pt x="658" y="836"/>
                  </a:lnTo>
                  <a:lnTo>
                    <a:pt x="659" y="833"/>
                  </a:lnTo>
                  <a:lnTo>
                    <a:pt x="661" y="832"/>
                  </a:lnTo>
                  <a:lnTo>
                    <a:pt x="664" y="831"/>
                  </a:lnTo>
                  <a:lnTo>
                    <a:pt x="669" y="828"/>
                  </a:lnTo>
                  <a:lnTo>
                    <a:pt x="669" y="825"/>
                  </a:lnTo>
                  <a:lnTo>
                    <a:pt x="670" y="824"/>
                  </a:lnTo>
                  <a:lnTo>
                    <a:pt x="671" y="824"/>
                  </a:lnTo>
                  <a:lnTo>
                    <a:pt x="673" y="824"/>
                  </a:lnTo>
                  <a:lnTo>
                    <a:pt x="675" y="822"/>
                  </a:lnTo>
                  <a:lnTo>
                    <a:pt x="673" y="820"/>
                  </a:lnTo>
                  <a:lnTo>
                    <a:pt x="672" y="816"/>
                  </a:lnTo>
                  <a:lnTo>
                    <a:pt x="675" y="816"/>
                  </a:lnTo>
                  <a:lnTo>
                    <a:pt x="676" y="816"/>
                  </a:lnTo>
                  <a:lnTo>
                    <a:pt x="676" y="821"/>
                  </a:lnTo>
                  <a:lnTo>
                    <a:pt x="677" y="824"/>
                  </a:lnTo>
                  <a:lnTo>
                    <a:pt x="678" y="825"/>
                  </a:lnTo>
                  <a:lnTo>
                    <a:pt x="678" y="822"/>
                  </a:lnTo>
                  <a:lnTo>
                    <a:pt x="678" y="819"/>
                  </a:lnTo>
                  <a:lnTo>
                    <a:pt x="679" y="816"/>
                  </a:lnTo>
                  <a:lnTo>
                    <a:pt x="681" y="816"/>
                  </a:lnTo>
                  <a:lnTo>
                    <a:pt x="681" y="818"/>
                  </a:lnTo>
                  <a:lnTo>
                    <a:pt x="682" y="822"/>
                  </a:lnTo>
                  <a:lnTo>
                    <a:pt x="681" y="826"/>
                  </a:lnTo>
                  <a:lnTo>
                    <a:pt x="682" y="830"/>
                  </a:lnTo>
                  <a:lnTo>
                    <a:pt x="682" y="826"/>
                  </a:lnTo>
                  <a:lnTo>
                    <a:pt x="683" y="822"/>
                  </a:lnTo>
                  <a:lnTo>
                    <a:pt x="684" y="821"/>
                  </a:lnTo>
                  <a:lnTo>
                    <a:pt x="684" y="819"/>
                  </a:lnTo>
                  <a:lnTo>
                    <a:pt x="683" y="816"/>
                  </a:lnTo>
                  <a:lnTo>
                    <a:pt x="682" y="814"/>
                  </a:lnTo>
                  <a:lnTo>
                    <a:pt x="684" y="812"/>
                  </a:lnTo>
                  <a:lnTo>
                    <a:pt x="684" y="809"/>
                  </a:lnTo>
                  <a:lnTo>
                    <a:pt x="685" y="808"/>
                  </a:lnTo>
                  <a:lnTo>
                    <a:pt x="687" y="810"/>
                  </a:lnTo>
                  <a:lnTo>
                    <a:pt x="689" y="812"/>
                  </a:lnTo>
                  <a:lnTo>
                    <a:pt x="689" y="809"/>
                  </a:lnTo>
                  <a:lnTo>
                    <a:pt x="689" y="807"/>
                  </a:lnTo>
                  <a:lnTo>
                    <a:pt x="690" y="805"/>
                  </a:lnTo>
                  <a:lnTo>
                    <a:pt x="690" y="803"/>
                  </a:lnTo>
                  <a:lnTo>
                    <a:pt x="689" y="799"/>
                  </a:lnTo>
                  <a:lnTo>
                    <a:pt x="688" y="797"/>
                  </a:lnTo>
                  <a:lnTo>
                    <a:pt x="688" y="796"/>
                  </a:lnTo>
                  <a:lnTo>
                    <a:pt x="690" y="796"/>
                  </a:lnTo>
                  <a:lnTo>
                    <a:pt x="693" y="797"/>
                  </a:lnTo>
                  <a:lnTo>
                    <a:pt x="693" y="799"/>
                  </a:lnTo>
                  <a:lnTo>
                    <a:pt x="692" y="803"/>
                  </a:lnTo>
                  <a:lnTo>
                    <a:pt x="692" y="807"/>
                  </a:lnTo>
                  <a:lnTo>
                    <a:pt x="692" y="810"/>
                  </a:lnTo>
                  <a:lnTo>
                    <a:pt x="693" y="813"/>
                  </a:lnTo>
                  <a:lnTo>
                    <a:pt x="694" y="809"/>
                  </a:lnTo>
                  <a:lnTo>
                    <a:pt x="694" y="804"/>
                  </a:lnTo>
                  <a:lnTo>
                    <a:pt x="694" y="807"/>
                  </a:lnTo>
                  <a:lnTo>
                    <a:pt x="694" y="809"/>
                  </a:lnTo>
                  <a:lnTo>
                    <a:pt x="695" y="809"/>
                  </a:lnTo>
                  <a:lnTo>
                    <a:pt x="696" y="808"/>
                  </a:lnTo>
                  <a:lnTo>
                    <a:pt x="696" y="804"/>
                  </a:lnTo>
                  <a:lnTo>
                    <a:pt x="696" y="801"/>
                  </a:lnTo>
                  <a:lnTo>
                    <a:pt x="696" y="798"/>
                  </a:lnTo>
                  <a:lnTo>
                    <a:pt x="698" y="798"/>
                  </a:lnTo>
                  <a:lnTo>
                    <a:pt x="698" y="802"/>
                  </a:lnTo>
                  <a:lnTo>
                    <a:pt x="698" y="810"/>
                  </a:lnTo>
                  <a:lnTo>
                    <a:pt x="699" y="812"/>
                  </a:lnTo>
                  <a:lnTo>
                    <a:pt x="700" y="814"/>
                  </a:lnTo>
                  <a:lnTo>
                    <a:pt x="700" y="812"/>
                  </a:lnTo>
                  <a:lnTo>
                    <a:pt x="700" y="805"/>
                  </a:lnTo>
                  <a:lnTo>
                    <a:pt x="700" y="803"/>
                  </a:lnTo>
                  <a:lnTo>
                    <a:pt x="701" y="805"/>
                  </a:lnTo>
                  <a:lnTo>
                    <a:pt x="701" y="809"/>
                  </a:lnTo>
                  <a:lnTo>
                    <a:pt x="701" y="814"/>
                  </a:lnTo>
                  <a:lnTo>
                    <a:pt x="702" y="815"/>
                  </a:lnTo>
                  <a:lnTo>
                    <a:pt x="704" y="813"/>
                  </a:lnTo>
                  <a:lnTo>
                    <a:pt x="704" y="809"/>
                  </a:lnTo>
                  <a:lnTo>
                    <a:pt x="705" y="805"/>
                  </a:lnTo>
                  <a:lnTo>
                    <a:pt x="705" y="804"/>
                  </a:lnTo>
                  <a:lnTo>
                    <a:pt x="706" y="805"/>
                  </a:lnTo>
                  <a:lnTo>
                    <a:pt x="707" y="804"/>
                  </a:lnTo>
                  <a:lnTo>
                    <a:pt x="708" y="804"/>
                  </a:lnTo>
                  <a:lnTo>
                    <a:pt x="710" y="807"/>
                  </a:lnTo>
                  <a:lnTo>
                    <a:pt x="711" y="808"/>
                  </a:lnTo>
                  <a:lnTo>
                    <a:pt x="711" y="809"/>
                  </a:lnTo>
                  <a:lnTo>
                    <a:pt x="713" y="812"/>
                  </a:lnTo>
                  <a:lnTo>
                    <a:pt x="713" y="808"/>
                  </a:lnTo>
                  <a:lnTo>
                    <a:pt x="712" y="805"/>
                  </a:lnTo>
                  <a:lnTo>
                    <a:pt x="714" y="807"/>
                  </a:lnTo>
                  <a:lnTo>
                    <a:pt x="718" y="807"/>
                  </a:lnTo>
                  <a:lnTo>
                    <a:pt x="717" y="805"/>
                  </a:lnTo>
                  <a:lnTo>
                    <a:pt x="713" y="803"/>
                  </a:lnTo>
                  <a:lnTo>
                    <a:pt x="713" y="802"/>
                  </a:lnTo>
                  <a:lnTo>
                    <a:pt x="711" y="802"/>
                  </a:lnTo>
                  <a:lnTo>
                    <a:pt x="710" y="802"/>
                  </a:lnTo>
                  <a:lnTo>
                    <a:pt x="708" y="801"/>
                  </a:lnTo>
                  <a:lnTo>
                    <a:pt x="706" y="802"/>
                  </a:lnTo>
                  <a:lnTo>
                    <a:pt x="705" y="799"/>
                  </a:lnTo>
                  <a:lnTo>
                    <a:pt x="701" y="797"/>
                  </a:lnTo>
                  <a:lnTo>
                    <a:pt x="696" y="795"/>
                  </a:lnTo>
                  <a:lnTo>
                    <a:pt x="694" y="793"/>
                  </a:lnTo>
                  <a:lnTo>
                    <a:pt x="693" y="795"/>
                  </a:lnTo>
                  <a:lnTo>
                    <a:pt x="688" y="793"/>
                  </a:lnTo>
                  <a:lnTo>
                    <a:pt x="687" y="793"/>
                  </a:lnTo>
                  <a:lnTo>
                    <a:pt x="684" y="793"/>
                  </a:lnTo>
                  <a:lnTo>
                    <a:pt x="679" y="793"/>
                  </a:lnTo>
                  <a:lnTo>
                    <a:pt x="676" y="793"/>
                  </a:lnTo>
                  <a:lnTo>
                    <a:pt x="675" y="795"/>
                  </a:lnTo>
                  <a:lnTo>
                    <a:pt x="671" y="795"/>
                  </a:lnTo>
                  <a:lnTo>
                    <a:pt x="669" y="796"/>
                  </a:lnTo>
                  <a:lnTo>
                    <a:pt x="667" y="796"/>
                  </a:lnTo>
                  <a:lnTo>
                    <a:pt x="664" y="797"/>
                  </a:lnTo>
                  <a:lnTo>
                    <a:pt x="661" y="798"/>
                  </a:lnTo>
                  <a:lnTo>
                    <a:pt x="657" y="798"/>
                  </a:lnTo>
                  <a:lnTo>
                    <a:pt x="651" y="798"/>
                  </a:lnTo>
                  <a:lnTo>
                    <a:pt x="651" y="799"/>
                  </a:lnTo>
                  <a:lnTo>
                    <a:pt x="649" y="799"/>
                  </a:lnTo>
                  <a:lnTo>
                    <a:pt x="648" y="798"/>
                  </a:lnTo>
                  <a:lnTo>
                    <a:pt x="646" y="798"/>
                  </a:lnTo>
                  <a:lnTo>
                    <a:pt x="645" y="799"/>
                  </a:lnTo>
                  <a:lnTo>
                    <a:pt x="641" y="799"/>
                  </a:lnTo>
                  <a:lnTo>
                    <a:pt x="641" y="801"/>
                  </a:lnTo>
                  <a:lnTo>
                    <a:pt x="640" y="801"/>
                  </a:lnTo>
                  <a:lnTo>
                    <a:pt x="637" y="799"/>
                  </a:lnTo>
                  <a:lnTo>
                    <a:pt x="631" y="799"/>
                  </a:lnTo>
                  <a:lnTo>
                    <a:pt x="626" y="799"/>
                  </a:lnTo>
                  <a:lnTo>
                    <a:pt x="624" y="798"/>
                  </a:lnTo>
                  <a:lnTo>
                    <a:pt x="623" y="799"/>
                  </a:lnTo>
                  <a:lnTo>
                    <a:pt x="622" y="799"/>
                  </a:lnTo>
                  <a:lnTo>
                    <a:pt x="620" y="802"/>
                  </a:lnTo>
                  <a:lnTo>
                    <a:pt x="619" y="801"/>
                  </a:lnTo>
                  <a:lnTo>
                    <a:pt x="618" y="801"/>
                  </a:lnTo>
                  <a:lnTo>
                    <a:pt x="617" y="801"/>
                  </a:lnTo>
                  <a:lnTo>
                    <a:pt x="616" y="799"/>
                  </a:lnTo>
                  <a:lnTo>
                    <a:pt x="614" y="797"/>
                  </a:lnTo>
                  <a:lnTo>
                    <a:pt x="611" y="796"/>
                  </a:lnTo>
                  <a:lnTo>
                    <a:pt x="608" y="796"/>
                  </a:lnTo>
                  <a:lnTo>
                    <a:pt x="604" y="795"/>
                  </a:lnTo>
                  <a:lnTo>
                    <a:pt x="599" y="792"/>
                  </a:lnTo>
                  <a:lnTo>
                    <a:pt x="595" y="790"/>
                  </a:lnTo>
                  <a:lnTo>
                    <a:pt x="595" y="789"/>
                  </a:lnTo>
                  <a:lnTo>
                    <a:pt x="598" y="790"/>
                  </a:lnTo>
                  <a:lnTo>
                    <a:pt x="601" y="792"/>
                  </a:lnTo>
                  <a:lnTo>
                    <a:pt x="601" y="791"/>
                  </a:lnTo>
                  <a:lnTo>
                    <a:pt x="596" y="787"/>
                  </a:lnTo>
                  <a:lnTo>
                    <a:pt x="598" y="786"/>
                  </a:lnTo>
                  <a:lnTo>
                    <a:pt x="602" y="786"/>
                  </a:lnTo>
                  <a:lnTo>
                    <a:pt x="604" y="786"/>
                  </a:lnTo>
                  <a:lnTo>
                    <a:pt x="598" y="785"/>
                  </a:lnTo>
                  <a:lnTo>
                    <a:pt x="595" y="784"/>
                  </a:lnTo>
                  <a:lnTo>
                    <a:pt x="595" y="783"/>
                  </a:lnTo>
                  <a:lnTo>
                    <a:pt x="594" y="781"/>
                  </a:lnTo>
                  <a:lnTo>
                    <a:pt x="593" y="781"/>
                  </a:lnTo>
                  <a:lnTo>
                    <a:pt x="590" y="781"/>
                  </a:lnTo>
                  <a:lnTo>
                    <a:pt x="592" y="783"/>
                  </a:lnTo>
                  <a:lnTo>
                    <a:pt x="592" y="784"/>
                  </a:lnTo>
                  <a:lnTo>
                    <a:pt x="592" y="785"/>
                  </a:lnTo>
                  <a:lnTo>
                    <a:pt x="588" y="787"/>
                  </a:lnTo>
                  <a:lnTo>
                    <a:pt x="587" y="789"/>
                  </a:lnTo>
                  <a:lnTo>
                    <a:pt x="583" y="789"/>
                  </a:lnTo>
                  <a:lnTo>
                    <a:pt x="580" y="786"/>
                  </a:lnTo>
                  <a:lnTo>
                    <a:pt x="572" y="784"/>
                  </a:lnTo>
                  <a:lnTo>
                    <a:pt x="571" y="784"/>
                  </a:lnTo>
                  <a:lnTo>
                    <a:pt x="570" y="785"/>
                  </a:lnTo>
                  <a:lnTo>
                    <a:pt x="569" y="785"/>
                  </a:lnTo>
                  <a:lnTo>
                    <a:pt x="565" y="786"/>
                  </a:lnTo>
                  <a:lnTo>
                    <a:pt x="563" y="785"/>
                  </a:lnTo>
                  <a:lnTo>
                    <a:pt x="560" y="784"/>
                  </a:lnTo>
                  <a:lnTo>
                    <a:pt x="560" y="781"/>
                  </a:lnTo>
                  <a:lnTo>
                    <a:pt x="558" y="781"/>
                  </a:lnTo>
                  <a:lnTo>
                    <a:pt x="554" y="781"/>
                  </a:lnTo>
                  <a:lnTo>
                    <a:pt x="553" y="780"/>
                  </a:lnTo>
                  <a:lnTo>
                    <a:pt x="551" y="780"/>
                  </a:lnTo>
                  <a:lnTo>
                    <a:pt x="548" y="779"/>
                  </a:lnTo>
                  <a:lnTo>
                    <a:pt x="546" y="769"/>
                  </a:lnTo>
                  <a:lnTo>
                    <a:pt x="543" y="767"/>
                  </a:lnTo>
                  <a:lnTo>
                    <a:pt x="543" y="765"/>
                  </a:lnTo>
                  <a:lnTo>
                    <a:pt x="545" y="761"/>
                  </a:lnTo>
                  <a:lnTo>
                    <a:pt x="545" y="756"/>
                  </a:lnTo>
                  <a:lnTo>
                    <a:pt x="546" y="756"/>
                  </a:lnTo>
                  <a:lnTo>
                    <a:pt x="549" y="759"/>
                  </a:lnTo>
                  <a:lnTo>
                    <a:pt x="552" y="759"/>
                  </a:lnTo>
                  <a:lnTo>
                    <a:pt x="553" y="761"/>
                  </a:lnTo>
                  <a:lnTo>
                    <a:pt x="554" y="762"/>
                  </a:lnTo>
                  <a:lnTo>
                    <a:pt x="555" y="765"/>
                  </a:lnTo>
                  <a:lnTo>
                    <a:pt x="555" y="768"/>
                  </a:lnTo>
                  <a:lnTo>
                    <a:pt x="557" y="772"/>
                  </a:lnTo>
                  <a:lnTo>
                    <a:pt x="558" y="772"/>
                  </a:lnTo>
                  <a:lnTo>
                    <a:pt x="559" y="769"/>
                  </a:lnTo>
                  <a:lnTo>
                    <a:pt x="559" y="767"/>
                  </a:lnTo>
                  <a:lnTo>
                    <a:pt x="558" y="765"/>
                  </a:lnTo>
                  <a:lnTo>
                    <a:pt x="560" y="762"/>
                  </a:lnTo>
                  <a:lnTo>
                    <a:pt x="561" y="765"/>
                  </a:lnTo>
                  <a:lnTo>
                    <a:pt x="561" y="767"/>
                  </a:lnTo>
                  <a:lnTo>
                    <a:pt x="563" y="769"/>
                  </a:lnTo>
                  <a:lnTo>
                    <a:pt x="563" y="771"/>
                  </a:lnTo>
                  <a:lnTo>
                    <a:pt x="564" y="769"/>
                  </a:lnTo>
                  <a:lnTo>
                    <a:pt x="565" y="767"/>
                  </a:lnTo>
                  <a:lnTo>
                    <a:pt x="564" y="765"/>
                  </a:lnTo>
                  <a:lnTo>
                    <a:pt x="565" y="763"/>
                  </a:lnTo>
                  <a:lnTo>
                    <a:pt x="565" y="762"/>
                  </a:lnTo>
                  <a:lnTo>
                    <a:pt x="564" y="761"/>
                  </a:lnTo>
                  <a:lnTo>
                    <a:pt x="565" y="759"/>
                  </a:lnTo>
                  <a:lnTo>
                    <a:pt x="566" y="761"/>
                  </a:lnTo>
                  <a:lnTo>
                    <a:pt x="566" y="759"/>
                  </a:lnTo>
                  <a:lnTo>
                    <a:pt x="567" y="759"/>
                  </a:lnTo>
                  <a:lnTo>
                    <a:pt x="569" y="760"/>
                  </a:lnTo>
                  <a:lnTo>
                    <a:pt x="571" y="759"/>
                  </a:lnTo>
                  <a:lnTo>
                    <a:pt x="570" y="757"/>
                  </a:lnTo>
                  <a:lnTo>
                    <a:pt x="571" y="756"/>
                  </a:lnTo>
                  <a:lnTo>
                    <a:pt x="571" y="759"/>
                  </a:lnTo>
                  <a:lnTo>
                    <a:pt x="572" y="761"/>
                  </a:lnTo>
                  <a:lnTo>
                    <a:pt x="571" y="765"/>
                  </a:lnTo>
                  <a:lnTo>
                    <a:pt x="572" y="767"/>
                  </a:lnTo>
                  <a:lnTo>
                    <a:pt x="572" y="765"/>
                  </a:lnTo>
                  <a:lnTo>
                    <a:pt x="574" y="762"/>
                  </a:lnTo>
                  <a:lnTo>
                    <a:pt x="575" y="761"/>
                  </a:lnTo>
                  <a:lnTo>
                    <a:pt x="574" y="759"/>
                  </a:lnTo>
                  <a:lnTo>
                    <a:pt x="574" y="755"/>
                  </a:lnTo>
                  <a:lnTo>
                    <a:pt x="575" y="753"/>
                  </a:lnTo>
                  <a:lnTo>
                    <a:pt x="575" y="755"/>
                  </a:lnTo>
                  <a:lnTo>
                    <a:pt x="576" y="756"/>
                  </a:lnTo>
                  <a:lnTo>
                    <a:pt x="578" y="756"/>
                  </a:lnTo>
                  <a:lnTo>
                    <a:pt x="578" y="759"/>
                  </a:lnTo>
                  <a:lnTo>
                    <a:pt x="578" y="765"/>
                  </a:lnTo>
                  <a:lnTo>
                    <a:pt x="578" y="769"/>
                  </a:lnTo>
                  <a:lnTo>
                    <a:pt x="580" y="765"/>
                  </a:lnTo>
                  <a:lnTo>
                    <a:pt x="580" y="761"/>
                  </a:lnTo>
                  <a:lnTo>
                    <a:pt x="580" y="756"/>
                  </a:lnTo>
                  <a:lnTo>
                    <a:pt x="580" y="753"/>
                  </a:lnTo>
                  <a:lnTo>
                    <a:pt x="581" y="753"/>
                  </a:lnTo>
                  <a:lnTo>
                    <a:pt x="582" y="759"/>
                  </a:lnTo>
                  <a:lnTo>
                    <a:pt x="583" y="760"/>
                  </a:lnTo>
                  <a:lnTo>
                    <a:pt x="583" y="757"/>
                  </a:lnTo>
                  <a:lnTo>
                    <a:pt x="584" y="757"/>
                  </a:lnTo>
                  <a:lnTo>
                    <a:pt x="584" y="760"/>
                  </a:lnTo>
                  <a:lnTo>
                    <a:pt x="586" y="766"/>
                  </a:lnTo>
                  <a:lnTo>
                    <a:pt x="587" y="762"/>
                  </a:lnTo>
                  <a:lnTo>
                    <a:pt x="587" y="760"/>
                  </a:lnTo>
                  <a:lnTo>
                    <a:pt x="587" y="756"/>
                  </a:lnTo>
                  <a:lnTo>
                    <a:pt x="587" y="747"/>
                  </a:lnTo>
                  <a:lnTo>
                    <a:pt x="588" y="747"/>
                  </a:lnTo>
                  <a:lnTo>
                    <a:pt x="590" y="750"/>
                  </a:lnTo>
                  <a:lnTo>
                    <a:pt x="590" y="754"/>
                  </a:lnTo>
                  <a:lnTo>
                    <a:pt x="589" y="757"/>
                  </a:lnTo>
                  <a:lnTo>
                    <a:pt x="588" y="763"/>
                  </a:lnTo>
                  <a:lnTo>
                    <a:pt x="589" y="767"/>
                  </a:lnTo>
                  <a:lnTo>
                    <a:pt x="590" y="766"/>
                  </a:lnTo>
                  <a:lnTo>
                    <a:pt x="592" y="762"/>
                  </a:lnTo>
                  <a:lnTo>
                    <a:pt x="593" y="762"/>
                  </a:lnTo>
                  <a:lnTo>
                    <a:pt x="593" y="763"/>
                  </a:lnTo>
                  <a:lnTo>
                    <a:pt x="594" y="763"/>
                  </a:lnTo>
                  <a:lnTo>
                    <a:pt x="595" y="761"/>
                  </a:lnTo>
                  <a:lnTo>
                    <a:pt x="594" y="757"/>
                  </a:lnTo>
                  <a:lnTo>
                    <a:pt x="594" y="754"/>
                  </a:lnTo>
                  <a:lnTo>
                    <a:pt x="594" y="750"/>
                  </a:lnTo>
                  <a:lnTo>
                    <a:pt x="595" y="750"/>
                  </a:lnTo>
                  <a:lnTo>
                    <a:pt x="595" y="754"/>
                  </a:lnTo>
                  <a:lnTo>
                    <a:pt x="595" y="760"/>
                  </a:lnTo>
                  <a:lnTo>
                    <a:pt x="596" y="762"/>
                  </a:lnTo>
                  <a:lnTo>
                    <a:pt x="598" y="763"/>
                  </a:lnTo>
                  <a:lnTo>
                    <a:pt x="598" y="760"/>
                  </a:lnTo>
                  <a:lnTo>
                    <a:pt x="599" y="759"/>
                  </a:lnTo>
                  <a:lnTo>
                    <a:pt x="600" y="762"/>
                  </a:lnTo>
                  <a:lnTo>
                    <a:pt x="600" y="765"/>
                  </a:lnTo>
                  <a:lnTo>
                    <a:pt x="599" y="767"/>
                  </a:lnTo>
                  <a:lnTo>
                    <a:pt x="600" y="771"/>
                  </a:lnTo>
                  <a:lnTo>
                    <a:pt x="601" y="767"/>
                  </a:lnTo>
                  <a:lnTo>
                    <a:pt x="601" y="769"/>
                  </a:lnTo>
                  <a:lnTo>
                    <a:pt x="601" y="771"/>
                  </a:lnTo>
                  <a:lnTo>
                    <a:pt x="602" y="772"/>
                  </a:lnTo>
                  <a:lnTo>
                    <a:pt x="605" y="773"/>
                  </a:lnTo>
                  <a:lnTo>
                    <a:pt x="604" y="767"/>
                  </a:lnTo>
                  <a:lnTo>
                    <a:pt x="604" y="765"/>
                  </a:lnTo>
                  <a:lnTo>
                    <a:pt x="604" y="761"/>
                  </a:lnTo>
                  <a:lnTo>
                    <a:pt x="606" y="759"/>
                  </a:lnTo>
                  <a:lnTo>
                    <a:pt x="606" y="760"/>
                  </a:lnTo>
                  <a:lnTo>
                    <a:pt x="606" y="762"/>
                  </a:lnTo>
                  <a:lnTo>
                    <a:pt x="606" y="765"/>
                  </a:lnTo>
                  <a:lnTo>
                    <a:pt x="606" y="768"/>
                  </a:lnTo>
                  <a:lnTo>
                    <a:pt x="606" y="772"/>
                  </a:lnTo>
                  <a:lnTo>
                    <a:pt x="606" y="773"/>
                  </a:lnTo>
                  <a:lnTo>
                    <a:pt x="607" y="773"/>
                  </a:lnTo>
                  <a:lnTo>
                    <a:pt x="607" y="771"/>
                  </a:lnTo>
                  <a:lnTo>
                    <a:pt x="607" y="768"/>
                  </a:lnTo>
                  <a:lnTo>
                    <a:pt x="610" y="766"/>
                  </a:lnTo>
                  <a:lnTo>
                    <a:pt x="610" y="762"/>
                  </a:lnTo>
                  <a:lnTo>
                    <a:pt x="611" y="762"/>
                  </a:lnTo>
                  <a:lnTo>
                    <a:pt x="613" y="765"/>
                  </a:lnTo>
                  <a:lnTo>
                    <a:pt x="614" y="768"/>
                  </a:lnTo>
                  <a:lnTo>
                    <a:pt x="614" y="771"/>
                  </a:lnTo>
                  <a:lnTo>
                    <a:pt x="617" y="766"/>
                  </a:lnTo>
                  <a:lnTo>
                    <a:pt x="624" y="768"/>
                  </a:lnTo>
                  <a:lnTo>
                    <a:pt x="622" y="766"/>
                  </a:lnTo>
                  <a:lnTo>
                    <a:pt x="618" y="763"/>
                  </a:lnTo>
                  <a:lnTo>
                    <a:pt x="618" y="761"/>
                  </a:lnTo>
                  <a:lnTo>
                    <a:pt x="616" y="761"/>
                  </a:lnTo>
                  <a:lnTo>
                    <a:pt x="614" y="760"/>
                  </a:lnTo>
                  <a:lnTo>
                    <a:pt x="610" y="759"/>
                  </a:lnTo>
                  <a:lnTo>
                    <a:pt x="607" y="755"/>
                  </a:lnTo>
                  <a:lnTo>
                    <a:pt x="605" y="754"/>
                  </a:lnTo>
                  <a:lnTo>
                    <a:pt x="602" y="750"/>
                  </a:lnTo>
                  <a:lnTo>
                    <a:pt x="599" y="749"/>
                  </a:lnTo>
                  <a:lnTo>
                    <a:pt x="587" y="743"/>
                  </a:lnTo>
                  <a:lnTo>
                    <a:pt x="586" y="742"/>
                  </a:lnTo>
                  <a:lnTo>
                    <a:pt x="588" y="741"/>
                  </a:lnTo>
                  <a:lnTo>
                    <a:pt x="589" y="741"/>
                  </a:lnTo>
                  <a:lnTo>
                    <a:pt x="592" y="743"/>
                  </a:lnTo>
                  <a:lnTo>
                    <a:pt x="592" y="742"/>
                  </a:lnTo>
                  <a:lnTo>
                    <a:pt x="593" y="742"/>
                  </a:lnTo>
                  <a:lnTo>
                    <a:pt x="596" y="744"/>
                  </a:lnTo>
                  <a:lnTo>
                    <a:pt x="598" y="745"/>
                  </a:lnTo>
                  <a:lnTo>
                    <a:pt x="598" y="743"/>
                  </a:lnTo>
                  <a:lnTo>
                    <a:pt x="599" y="741"/>
                  </a:lnTo>
                  <a:lnTo>
                    <a:pt x="599" y="738"/>
                  </a:lnTo>
                  <a:lnTo>
                    <a:pt x="600" y="738"/>
                  </a:lnTo>
                  <a:lnTo>
                    <a:pt x="599" y="736"/>
                  </a:lnTo>
                  <a:lnTo>
                    <a:pt x="598" y="732"/>
                  </a:lnTo>
                  <a:lnTo>
                    <a:pt x="595" y="731"/>
                  </a:lnTo>
                  <a:lnTo>
                    <a:pt x="595" y="730"/>
                  </a:lnTo>
                  <a:lnTo>
                    <a:pt x="596" y="726"/>
                  </a:lnTo>
                  <a:lnTo>
                    <a:pt x="598" y="723"/>
                  </a:lnTo>
                  <a:lnTo>
                    <a:pt x="599" y="723"/>
                  </a:lnTo>
                  <a:lnTo>
                    <a:pt x="599" y="727"/>
                  </a:lnTo>
                  <a:lnTo>
                    <a:pt x="599" y="731"/>
                  </a:lnTo>
                  <a:lnTo>
                    <a:pt x="601" y="731"/>
                  </a:lnTo>
                  <a:lnTo>
                    <a:pt x="601" y="729"/>
                  </a:lnTo>
                  <a:lnTo>
                    <a:pt x="604" y="729"/>
                  </a:lnTo>
                  <a:lnTo>
                    <a:pt x="605" y="730"/>
                  </a:lnTo>
                  <a:lnTo>
                    <a:pt x="606" y="730"/>
                  </a:lnTo>
                  <a:lnTo>
                    <a:pt x="607" y="731"/>
                  </a:lnTo>
                  <a:lnTo>
                    <a:pt x="608" y="731"/>
                  </a:lnTo>
                  <a:lnTo>
                    <a:pt x="611" y="730"/>
                  </a:lnTo>
                  <a:lnTo>
                    <a:pt x="610" y="729"/>
                  </a:lnTo>
                  <a:lnTo>
                    <a:pt x="607" y="726"/>
                  </a:lnTo>
                  <a:lnTo>
                    <a:pt x="606" y="724"/>
                  </a:lnTo>
                  <a:lnTo>
                    <a:pt x="606" y="721"/>
                  </a:lnTo>
                  <a:lnTo>
                    <a:pt x="607" y="718"/>
                  </a:lnTo>
                  <a:lnTo>
                    <a:pt x="608" y="719"/>
                  </a:lnTo>
                  <a:lnTo>
                    <a:pt x="610" y="721"/>
                  </a:lnTo>
                  <a:lnTo>
                    <a:pt x="611" y="725"/>
                  </a:lnTo>
                  <a:lnTo>
                    <a:pt x="611" y="726"/>
                  </a:lnTo>
                  <a:lnTo>
                    <a:pt x="614" y="725"/>
                  </a:lnTo>
                  <a:lnTo>
                    <a:pt x="614" y="724"/>
                  </a:lnTo>
                  <a:lnTo>
                    <a:pt x="616" y="727"/>
                  </a:lnTo>
                  <a:lnTo>
                    <a:pt x="616" y="732"/>
                  </a:lnTo>
                  <a:lnTo>
                    <a:pt x="617" y="735"/>
                  </a:lnTo>
                  <a:lnTo>
                    <a:pt x="618" y="732"/>
                  </a:lnTo>
                  <a:lnTo>
                    <a:pt x="618" y="729"/>
                  </a:lnTo>
                  <a:lnTo>
                    <a:pt x="619" y="726"/>
                  </a:lnTo>
                  <a:lnTo>
                    <a:pt x="619" y="721"/>
                  </a:lnTo>
                  <a:lnTo>
                    <a:pt x="622" y="718"/>
                  </a:lnTo>
                  <a:lnTo>
                    <a:pt x="623" y="718"/>
                  </a:lnTo>
                  <a:lnTo>
                    <a:pt x="626" y="719"/>
                  </a:lnTo>
                  <a:lnTo>
                    <a:pt x="626" y="725"/>
                  </a:lnTo>
                  <a:lnTo>
                    <a:pt x="626" y="732"/>
                  </a:lnTo>
                  <a:lnTo>
                    <a:pt x="628" y="731"/>
                  </a:lnTo>
                  <a:lnTo>
                    <a:pt x="629" y="725"/>
                  </a:lnTo>
                  <a:lnTo>
                    <a:pt x="629" y="719"/>
                  </a:lnTo>
                  <a:lnTo>
                    <a:pt x="629" y="718"/>
                  </a:lnTo>
                  <a:lnTo>
                    <a:pt x="630" y="718"/>
                  </a:lnTo>
                  <a:lnTo>
                    <a:pt x="630" y="719"/>
                  </a:lnTo>
                  <a:lnTo>
                    <a:pt x="630" y="724"/>
                  </a:lnTo>
                  <a:lnTo>
                    <a:pt x="631" y="724"/>
                  </a:lnTo>
                  <a:lnTo>
                    <a:pt x="631" y="726"/>
                  </a:lnTo>
                  <a:lnTo>
                    <a:pt x="633" y="726"/>
                  </a:lnTo>
                  <a:lnTo>
                    <a:pt x="634" y="724"/>
                  </a:lnTo>
                  <a:lnTo>
                    <a:pt x="635" y="719"/>
                  </a:lnTo>
                  <a:lnTo>
                    <a:pt x="636" y="721"/>
                  </a:lnTo>
                  <a:lnTo>
                    <a:pt x="637" y="725"/>
                  </a:lnTo>
                  <a:lnTo>
                    <a:pt x="640" y="724"/>
                  </a:lnTo>
                  <a:lnTo>
                    <a:pt x="641" y="723"/>
                  </a:lnTo>
                  <a:lnTo>
                    <a:pt x="641" y="720"/>
                  </a:lnTo>
                  <a:lnTo>
                    <a:pt x="642" y="719"/>
                  </a:lnTo>
                  <a:lnTo>
                    <a:pt x="646" y="721"/>
                  </a:lnTo>
                  <a:lnTo>
                    <a:pt x="648" y="721"/>
                  </a:lnTo>
                  <a:lnTo>
                    <a:pt x="651" y="721"/>
                  </a:lnTo>
                  <a:lnTo>
                    <a:pt x="649" y="724"/>
                  </a:lnTo>
                  <a:lnTo>
                    <a:pt x="652" y="720"/>
                  </a:lnTo>
                  <a:lnTo>
                    <a:pt x="654" y="721"/>
                  </a:lnTo>
                  <a:lnTo>
                    <a:pt x="655" y="718"/>
                  </a:lnTo>
                  <a:lnTo>
                    <a:pt x="654" y="714"/>
                  </a:lnTo>
                  <a:lnTo>
                    <a:pt x="655" y="713"/>
                  </a:lnTo>
                  <a:lnTo>
                    <a:pt x="654" y="711"/>
                  </a:lnTo>
                  <a:lnTo>
                    <a:pt x="655" y="711"/>
                  </a:lnTo>
                  <a:lnTo>
                    <a:pt x="657" y="713"/>
                  </a:lnTo>
                  <a:lnTo>
                    <a:pt x="655" y="715"/>
                  </a:lnTo>
                  <a:lnTo>
                    <a:pt x="657" y="718"/>
                  </a:lnTo>
                  <a:lnTo>
                    <a:pt x="655" y="721"/>
                  </a:lnTo>
                  <a:lnTo>
                    <a:pt x="657" y="726"/>
                  </a:lnTo>
                  <a:lnTo>
                    <a:pt x="659" y="727"/>
                  </a:lnTo>
                  <a:lnTo>
                    <a:pt x="659" y="726"/>
                  </a:lnTo>
                  <a:lnTo>
                    <a:pt x="659" y="720"/>
                  </a:lnTo>
                  <a:lnTo>
                    <a:pt x="659" y="718"/>
                  </a:lnTo>
                  <a:lnTo>
                    <a:pt x="660" y="715"/>
                  </a:lnTo>
                  <a:lnTo>
                    <a:pt x="661" y="718"/>
                  </a:lnTo>
                  <a:lnTo>
                    <a:pt x="661" y="723"/>
                  </a:lnTo>
                  <a:lnTo>
                    <a:pt x="661" y="725"/>
                  </a:lnTo>
                  <a:lnTo>
                    <a:pt x="661" y="727"/>
                  </a:lnTo>
                  <a:lnTo>
                    <a:pt x="663" y="730"/>
                  </a:lnTo>
                  <a:lnTo>
                    <a:pt x="664" y="729"/>
                  </a:lnTo>
                  <a:lnTo>
                    <a:pt x="664" y="727"/>
                  </a:lnTo>
                  <a:lnTo>
                    <a:pt x="664" y="724"/>
                  </a:lnTo>
                  <a:lnTo>
                    <a:pt x="664" y="719"/>
                  </a:lnTo>
                  <a:lnTo>
                    <a:pt x="664" y="718"/>
                  </a:lnTo>
                  <a:lnTo>
                    <a:pt x="664" y="717"/>
                  </a:lnTo>
                  <a:lnTo>
                    <a:pt x="665" y="718"/>
                  </a:lnTo>
                  <a:lnTo>
                    <a:pt x="666" y="723"/>
                  </a:lnTo>
                  <a:lnTo>
                    <a:pt x="666" y="724"/>
                  </a:lnTo>
                  <a:lnTo>
                    <a:pt x="666" y="726"/>
                  </a:lnTo>
                  <a:lnTo>
                    <a:pt x="669" y="725"/>
                  </a:lnTo>
                  <a:lnTo>
                    <a:pt x="667" y="726"/>
                  </a:lnTo>
                  <a:lnTo>
                    <a:pt x="667" y="732"/>
                  </a:lnTo>
                  <a:lnTo>
                    <a:pt x="667" y="736"/>
                  </a:lnTo>
                  <a:lnTo>
                    <a:pt x="669" y="735"/>
                  </a:lnTo>
                  <a:lnTo>
                    <a:pt x="669" y="733"/>
                  </a:lnTo>
                  <a:lnTo>
                    <a:pt x="670" y="733"/>
                  </a:lnTo>
                  <a:lnTo>
                    <a:pt x="671" y="735"/>
                  </a:lnTo>
                  <a:lnTo>
                    <a:pt x="672" y="731"/>
                  </a:lnTo>
                  <a:lnTo>
                    <a:pt x="672" y="729"/>
                  </a:lnTo>
                  <a:lnTo>
                    <a:pt x="676" y="730"/>
                  </a:lnTo>
                  <a:lnTo>
                    <a:pt x="677" y="729"/>
                  </a:lnTo>
                  <a:lnTo>
                    <a:pt x="677" y="727"/>
                  </a:lnTo>
                  <a:lnTo>
                    <a:pt x="675" y="726"/>
                  </a:lnTo>
                  <a:lnTo>
                    <a:pt x="676" y="724"/>
                  </a:lnTo>
                  <a:lnTo>
                    <a:pt x="677" y="723"/>
                  </a:lnTo>
                  <a:lnTo>
                    <a:pt x="676" y="723"/>
                  </a:lnTo>
                  <a:lnTo>
                    <a:pt x="673" y="723"/>
                  </a:lnTo>
                  <a:lnTo>
                    <a:pt x="669" y="721"/>
                  </a:lnTo>
                  <a:lnTo>
                    <a:pt x="667" y="717"/>
                  </a:lnTo>
                  <a:lnTo>
                    <a:pt x="671" y="717"/>
                  </a:lnTo>
                  <a:lnTo>
                    <a:pt x="669" y="715"/>
                  </a:lnTo>
                  <a:lnTo>
                    <a:pt x="665" y="713"/>
                  </a:lnTo>
                  <a:lnTo>
                    <a:pt x="664" y="712"/>
                  </a:lnTo>
                  <a:lnTo>
                    <a:pt x="658" y="709"/>
                  </a:lnTo>
                  <a:lnTo>
                    <a:pt x="655" y="705"/>
                  </a:lnTo>
                  <a:lnTo>
                    <a:pt x="652" y="703"/>
                  </a:lnTo>
                  <a:lnTo>
                    <a:pt x="647" y="703"/>
                  </a:lnTo>
                  <a:lnTo>
                    <a:pt x="641" y="702"/>
                  </a:lnTo>
                  <a:lnTo>
                    <a:pt x="637" y="702"/>
                  </a:lnTo>
                  <a:lnTo>
                    <a:pt x="637" y="700"/>
                  </a:lnTo>
                  <a:lnTo>
                    <a:pt x="639" y="698"/>
                  </a:lnTo>
                  <a:lnTo>
                    <a:pt x="636" y="697"/>
                  </a:lnTo>
                  <a:lnTo>
                    <a:pt x="635" y="697"/>
                  </a:lnTo>
                  <a:lnTo>
                    <a:pt x="634" y="697"/>
                  </a:lnTo>
                  <a:lnTo>
                    <a:pt x="630" y="697"/>
                  </a:lnTo>
                  <a:lnTo>
                    <a:pt x="629" y="697"/>
                  </a:lnTo>
                  <a:lnTo>
                    <a:pt x="629" y="692"/>
                  </a:lnTo>
                  <a:lnTo>
                    <a:pt x="630" y="690"/>
                  </a:lnTo>
                  <a:lnTo>
                    <a:pt x="634" y="689"/>
                  </a:lnTo>
                  <a:lnTo>
                    <a:pt x="635" y="689"/>
                  </a:lnTo>
                  <a:lnTo>
                    <a:pt x="634" y="692"/>
                  </a:lnTo>
                  <a:lnTo>
                    <a:pt x="635" y="692"/>
                  </a:lnTo>
                  <a:lnTo>
                    <a:pt x="637" y="689"/>
                  </a:lnTo>
                  <a:lnTo>
                    <a:pt x="637" y="690"/>
                  </a:lnTo>
                  <a:lnTo>
                    <a:pt x="639" y="692"/>
                  </a:lnTo>
                  <a:lnTo>
                    <a:pt x="640" y="692"/>
                  </a:lnTo>
                  <a:lnTo>
                    <a:pt x="640" y="691"/>
                  </a:lnTo>
                  <a:lnTo>
                    <a:pt x="641" y="690"/>
                  </a:lnTo>
                  <a:lnTo>
                    <a:pt x="641" y="694"/>
                  </a:lnTo>
                  <a:lnTo>
                    <a:pt x="642" y="695"/>
                  </a:lnTo>
                  <a:lnTo>
                    <a:pt x="642" y="698"/>
                  </a:lnTo>
                  <a:lnTo>
                    <a:pt x="645" y="700"/>
                  </a:lnTo>
                  <a:lnTo>
                    <a:pt x="645" y="701"/>
                  </a:lnTo>
                  <a:lnTo>
                    <a:pt x="646" y="701"/>
                  </a:lnTo>
                  <a:lnTo>
                    <a:pt x="646" y="697"/>
                  </a:lnTo>
                  <a:lnTo>
                    <a:pt x="646" y="695"/>
                  </a:lnTo>
                  <a:lnTo>
                    <a:pt x="647" y="692"/>
                  </a:lnTo>
                  <a:lnTo>
                    <a:pt x="648" y="691"/>
                  </a:lnTo>
                  <a:lnTo>
                    <a:pt x="649" y="690"/>
                  </a:lnTo>
                  <a:lnTo>
                    <a:pt x="652" y="692"/>
                  </a:lnTo>
                  <a:lnTo>
                    <a:pt x="653" y="694"/>
                  </a:lnTo>
                  <a:lnTo>
                    <a:pt x="655" y="697"/>
                  </a:lnTo>
                  <a:lnTo>
                    <a:pt x="657" y="697"/>
                  </a:lnTo>
                  <a:lnTo>
                    <a:pt x="658" y="698"/>
                  </a:lnTo>
                  <a:lnTo>
                    <a:pt x="659" y="696"/>
                  </a:lnTo>
                  <a:lnTo>
                    <a:pt x="659" y="695"/>
                  </a:lnTo>
                  <a:lnTo>
                    <a:pt x="659" y="697"/>
                  </a:lnTo>
                  <a:lnTo>
                    <a:pt x="661" y="698"/>
                  </a:lnTo>
                  <a:lnTo>
                    <a:pt x="661" y="700"/>
                  </a:lnTo>
                  <a:lnTo>
                    <a:pt x="663" y="700"/>
                  </a:lnTo>
                  <a:lnTo>
                    <a:pt x="664" y="696"/>
                  </a:lnTo>
                  <a:lnTo>
                    <a:pt x="664" y="692"/>
                  </a:lnTo>
                  <a:lnTo>
                    <a:pt x="664" y="694"/>
                  </a:lnTo>
                  <a:lnTo>
                    <a:pt x="665" y="692"/>
                  </a:lnTo>
                  <a:lnTo>
                    <a:pt x="666" y="691"/>
                  </a:lnTo>
                  <a:lnTo>
                    <a:pt x="667" y="691"/>
                  </a:lnTo>
                  <a:lnTo>
                    <a:pt x="669" y="695"/>
                  </a:lnTo>
                  <a:lnTo>
                    <a:pt x="670" y="697"/>
                  </a:lnTo>
                  <a:lnTo>
                    <a:pt x="670" y="702"/>
                  </a:lnTo>
                  <a:lnTo>
                    <a:pt x="672" y="705"/>
                  </a:lnTo>
                  <a:lnTo>
                    <a:pt x="673" y="703"/>
                  </a:lnTo>
                  <a:lnTo>
                    <a:pt x="673" y="700"/>
                  </a:lnTo>
                  <a:lnTo>
                    <a:pt x="673" y="695"/>
                  </a:lnTo>
                  <a:lnTo>
                    <a:pt x="675" y="691"/>
                  </a:lnTo>
                  <a:lnTo>
                    <a:pt x="676" y="692"/>
                  </a:lnTo>
                  <a:lnTo>
                    <a:pt x="676" y="696"/>
                  </a:lnTo>
                  <a:lnTo>
                    <a:pt x="676" y="700"/>
                  </a:lnTo>
                  <a:lnTo>
                    <a:pt x="676" y="702"/>
                  </a:lnTo>
                  <a:lnTo>
                    <a:pt x="677" y="701"/>
                  </a:lnTo>
                  <a:lnTo>
                    <a:pt x="678" y="698"/>
                  </a:lnTo>
                  <a:lnTo>
                    <a:pt x="679" y="695"/>
                  </a:lnTo>
                  <a:lnTo>
                    <a:pt x="681" y="692"/>
                  </a:lnTo>
                  <a:lnTo>
                    <a:pt x="683" y="695"/>
                  </a:lnTo>
                  <a:lnTo>
                    <a:pt x="685" y="696"/>
                  </a:lnTo>
                  <a:lnTo>
                    <a:pt x="687" y="696"/>
                  </a:lnTo>
                  <a:lnTo>
                    <a:pt x="688" y="696"/>
                  </a:lnTo>
                  <a:lnTo>
                    <a:pt x="690" y="697"/>
                  </a:lnTo>
                  <a:lnTo>
                    <a:pt x="692" y="701"/>
                  </a:lnTo>
                  <a:lnTo>
                    <a:pt x="693" y="705"/>
                  </a:lnTo>
                  <a:lnTo>
                    <a:pt x="694" y="707"/>
                  </a:lnTo>
                  <a:lnTo>
                    <a:pt x="695" y="706"/>
                  </a:lnTo>
                  <a:lnTo>
                    <a:pt x="696" y="706"/>
                  </a:lnTo>
                  <a:lnTo>
                    <a:pt x="696" y="703"/>
                  </a:lnTo>
                  <a:lnTo>
                    <a:pt x="698" y="700"/>
                  </a:lnTo>
                  <a:lnTo>
                    <a:pt x="700" y="701"/>
                  </a:lnTo>
                  <a:lnTo>
                    <a:pt x="701" y="702"/>
                  </a:lnTo>
                  <a:lnTo>
                    <a:pt x="702" y="701"/>
                  </a:lnTo>
                  <a:lnTo>
                    <a:pt x="700" y="697"/>
                  </a:lnTo>
                  <a:lnTo>
                    <a:pt x="698" y="692"/>
                  </a:lnTo>
                  <a:lnTo>
                    <a:pt x="695" y="690"/>
                  </a:lnTo>
                  <a:lnTo>
                    <a:pt x="694" y="686"/>
                  </a:lnTo>
                  <a:lnTo>
                    <a:pt x="693" y="683"/>
                  </a:lnTo>
                  <a:lnTo>
                    <a:pt x="693" y="679"/>
                  </a:lnTo>
                  <a:lnTo>
                    <a:pt x="694" y="680"/>
                  </a:lnTo>
                  <a:lnTo>
                    <a:pt x="695" y="686"/>
                  </a:lnTo>
                  <a:lnTo>
                    <a:pt x="696" y="684"/>
                  </a:lnTo>
                  <a:lnTo>
                    <a:pt x="696" y="680"/>
                  </a:lnTo>
                  <a:lnTo>
                    <a:pt x="698" y="679"/>
                  </a:lnTo>
                  <a:lnTo>
                    <a:pt x="699" y="676"/>
                  </a:lnTo>
                  <a:lnTo>
                    <a:pt x="698" y="673"/>
                  </a:lnTo>
                  <a:lnTo>
                    <a:pt x="695" y="670"/>
                  </a:lnTo>
                  <a:lnTo>
                    <a:pt x="694" y="667"/>
                  </a:lnTo>
                  <a:lnTo>
                    <a:pt x="695" y="666"/>
                  </a:lnTo>
                  <a:lnTo>
                    <a:pt x="699" y="667"/>
                  </a:lnTo>
                  <a:lnTo>
                    <a:pt x="700" y="667"/>
                  </a:lnTo>
                  <a:lnTo>
                    <a:pt x="700" y="676"/>
                  </a:lnTo>
                  <a:lnTo>
                    <a:pt x="701" y="682"/>
                  </a:lnTo>
                  <a:lnTo>
                    <a:pt x="702" y="683"/>
                  </a:lnTo>
                  <a:lnTo>
                    <a:pt x="702" y="680"/>
                  </a:lnTo>
                  <a:lnTo>
                    <a:pt x="702" y="677"/>
                  </a:lnTo>
                  <a:lnTo>
                    <a:pt x="704" y="672"/>
                  </a:lnTo>
                  <a:lnTo>
                    <a:pt x="704" y="668"/>
                  </a:lnTo>
                  <a:lnTo>
                    <a:pt x="705" y="672"/>
                  </a:lnTo>
                  <a:lnTo>
                    <a:pt x="705" y="676"/>
                  </a:lnTo>
                  <a:lnTo>
                    <a:pt x="706" y="678"/>
                  </a:lnTo>
                  <a:lnTo>
                    <a:pt x="706" y="680"/>
                  </a:lnTo>
                  <a:lnTo>
                    <a:pt x="706" y="685"/>
                  </a:lnTo>
                  <a:lnTo>
                    <a:pt x="706" y="686"/>
                  </a:lnTo>
                  <a:lnTo>
                    <a:pt x="708" y="686"/>
                  </a:lnTo>
                  <a:lnTo>
                    <a:pt x="710" y="683"/>
                  </a:lnTo>
                  <a:lnTo>
                    <a:pt x="710" y="678"/>
                  </a:lnTo>
                  <a:lnTo>
                    <a:pt x="710" y="676"/>
                  </a:lnTo>
                  <a:lnTo>
                    <a:pt x="711" y="674"/>
                  </a:lnTo>
                  <a:lnTo>
                    <a:pt x="712" y="673"/>
                  </a:lnTo>
                  <a:lnTo>
                    <a:pt x="713" y="677"/>
                  </a:lnTo>
                  <a:lnTo>
                    <a:pt x="716" y="677"/>
                  </a:lnTo>
                  <a:lnTo>
                    <a:pt x="716" y="674"/>
                  </a:lnTo>
                  <a:lnTo>
                    <a:pt x="716" y="673"/>
                  </a:lnTo>
                  <a:lnTo>
                    <a:pt x="718" y="673"/>
                  </a:lnTo>
                  <a:lnTo>
                    <a:pt x="719" y="676"/>
                  </a:lnTo>
                  <a:lnTo>
                    <a:pt x="720" y="674"/>
                  </a:lnTo>
                  <a:lnTo>
                    <a:pt x="720" y="672"/>
                  </a:lnTo>
                  <a:lnTo>
                    <a:pt x="719" y="670"/>
                  </a:lnTo>
                  <a:lnTo>
                    <a:pt x="716" y="671"/>
                  </a:lnTo>
                  <a:lnTo>
                    <a:pt x="713" y="670"/>
                  </a:lnTo>
                  <a:lnTo>
                    <a:pt x="711" y="667"/>
                  </a:lnTo>
                  <a:lnTo>
                    <a:pt x="707" y="665"/>
                  </a:lnTo>
                  <a:lnTo>
                    <a:pt x="706" y="665"/>
                  </a:lnTo>
                  <a:lnTo>
                    <a:pt x="702" y="665"/>
                  </a:lnTo>
                  <a:lnTo>
                    <a:pt x="700" y="664"/>
                  </a:lnTo>
                  <a:lnTo>
                    <a:pt x="695" y="662"/>
                  </a:lnTo>
                  <a:lnTo>
                    <a:pt x="692" y="662"/>
                  </a:lnTo>
                  <a:lnTo>
                    <a:pt x="690" y="661"/>
                  </a:lnTo>
                  <a:lnTo>
                    <a:pt x="689" y="661"/>
                  </a:lnTo>
                  <a:lnTo>
                    <a:pt x="685" y="660"/>
                  </a:lnTo>
                  <a:lnTo>
                    <a:pt x="679" y="659"/>
                  </a:lnTo>
                  <a:lnTo>
                    <a:pt x="681" y="658"/>
                  </a:lnTo>
                  <a:lnTo>
                    <a:pt x="679" y="658"/>
                  </a:lnTo>
                  <a:lnTo>
                    <a:pt x="677" y="659"/>
                  </a:lnTo>
                  <a:lnTo>
                    <a:pt x="676" y="659"/>
                  </a:lnTo>
                  <a:lnTo>
                    <a:pt x="672" y="658"/>
                  </a:lnTo>
                  <a:lnTo>
                    <a:pt x="673" y="655"/>
                  </a:lnTo>
                  <a:lnTo>
                    <a:pt x="671" y="656"/>
                  </a:lnTo>
                  <a:lnTo>
                    <a:pt x="669" y="658"/>
                  </a:lnTo>
                  <a:lnTo>
                    <a:pt x="665" y="656"/>
                  </a:lnTo>
                  <a:lnTo>
                    <a:pt x="657" y="655"/>
                  </a:lnTo>
                  <a:lnTo>
                    <a:pt x="651" y="654"/>
                  </a:lnTo>
                  <a:lnTo>
                    <a:pt x="646" y="654"/>
                  </a:lnTo>
                  <a:lnTo>
                    <a:pt x="641" y="654"/>
                  </a:lnTo>
                  <a:lnTo>
                    <a:pt x="639" y="653"/>
                  </a:lnTo>
                  <a:lnTo>
                    <a:pt x="640" y="652"/>
                  </a:lnTo>
                  <a:lnTo>
                    <a:pt x="642" y="650"/>
                  </a:lnTo>
                  <a:lnTo>
                    <a:pt x="641" y="649"/>
                  </a:lnTo>
                  <a:lnTo>
                    <a:pt x="641" y="647"/>
                  </a:lnTo>
                  <a:lnTo>
                    <a:pt x="639" y="644"/>
                  </a:lnTo>
                  <a:lnTo>
                    <a:pt x="637" y="642"/>
                  </a:lnTo>
                  <a:lnTo>
                    <a:pt x="640" y="640"/>
                  </a:lnTo>
                  <a:lnTo>
                    <a:pt x="641" y="636"/>
                  </a:lnTo>
                  <a:lnTo>
                    <a:pt x="641" y="635"/>
                  </a:lnTo>
                  <a:lnTo>
                    <a:pt x="642" y="635"/>
                  </a:lnTo>
                  <a:lnTo>
                    <a:pt x="642" y="637"/>
                  </a:lnTo>
                  <a:lnTo>
                    <a:pt x="646" y="638"/>
                  </a:lnTo>
                  <a:lnTo>
                    <a:pt x="646" y="642"/>
                  </a:lnTo>
                  <a:lnTo>
                    <a:pt x="647" y="647"/>
                  </a:lnTo>
                  <a:lnTo>
                    <a:pt x="648" y="649"/>
                  </a:lnTo>
                  <a:lnTo>
                    <a:pt x="649" y="648"/>
                  </a:lnTo>
                  <a:lnTo>
                    <a:pt x="651" y="648"/>
                  </a:lnTo>
                  <a:lnTo>
                    <a:pt x="653" y="647"/>
                  </a:lnTo>
                  <a:lnTo>
                    <a:pt x="653" y="646"/>
                  </a:lnTo>
                  <a:lnTo>
                    <a:pt x="654" y="642"/>
                  </a:lnTo>
                  <a:lnTo>
                    <a:pt x="654" y="646"/>
                  </a:lnTo>
                  <a:lnTo>
                    <a:pt x="655" y="647"/>
                  </a:lnTo>
                  <a:lnTo>
                    <a:pt x="655" y="644"/>
                  </a:lnTo>
                  <a:lnTo>
                    <a:pt x="657" y="643"/>
                  </a:lnTo>
                  <a:lnTo>
                    <a:pt x="659" y="643"/>
                  </a:lnTo>
                  <a:lnTo>
                    <a:pt x="663" y="646"/>
                  </a:lnTo>
                  <a:lnTo>
                    <a:pt x="663" y="644"/>
                  </a:lnTo>
                  <a:lnTo>
                    <a:pt x="661" y="642"/>
                  </a:lnTo>
                  <a:lnTo>
                    <a:pt x="658" y="640"/>
                  </a:lnTo>
                  <a:lnTo>
                    <a:pt x="657" y="637"/>
                  </a:lnTo>
                  <a:lnTo>
                    <a:pt x="657" y="635"/>
                  </a:lnTo>
                  <a:lnTo>
                    <a:pt x="658" y="631"/>
                  </a:lnTo>
                  <a:lnTo>
                    <a:pt x="659" y="629"/>
                  </a:lnTo>
                  <a:lnTo>
                    <a:pt x="661" y="629"/>
                  </a:lnTo>
                  <a:lnTo>
                    <a:pt x="663" y="629"/>
                  </a:lnTo>
                  <a:lnTo>
                    <a:pt x="663" y="630"/>
                  </a:lnTo>
                  <a:lnTo>
                    <a:pt x="664" y="630"/>
                  </a:lnTo>
                  <a:lnTo>
                    <a:pt x="667" y="628"/>
                  </a:lnTo>
                  <a:lnTo>
                    <a:pt x="670" y="624"/>
                  </a:lnTo>
                  <a:lnTo>
                    <a:pt x="669" y="628"/>
                  </a:lnTo>
                  <a:lnTo>
                    <a:pt x="667" y="631"/>
                  </a:lnTo>
                  <a:lnTo>
                    <a:pt x="667" y="632"/>
                  </a:lnTo>
                  <a:lnTo>
                    <a:pt x="669" y="637"/>
                  </a:lnTo>
                  <a:lnTo>
                    <a:pt x="671" y="638"/>
                  </a:lnTo>
                  <a:lnTo>
                    <a:pt x="670" y="641"/>
                  </a:lnTo>
                  <a:lnTo>
                    <a:pt x="670" y="643"/>
                  </a:lnTo>
                  <a:lnTo>
                    <a:pt x="671" y="642"/>
                  </a:lnTo>
                  <a:lnTo>
                    <a:pt x="672" y="644"/>
                  </a:lnTo>
                  <a:lnTo>
                    <a:pt x="675" y="644"/>
                  </a:lnTo>
                  <a:lnTo>
                    <a:pt x="676" y="643"/>
                  </a:lnTo>
                  <a:lnTo>
                    <a:pt x="677" y="643"/>
                  </a:lnTo>
                  <a:lnTo>
                    <a:pt x="679" y="644"/>
                  </a:lnTo>
                  <a:lnTo>
                    <a:pt x="682" y="643"/>
                  </a:lnTo>
                  <a:lnTo>
                    <a:pt x="682" y="641"/>
                  </a:lnTo>
                  <a:lnTo>
                    <a:pt x="682" y="638"/>
                  </a:lnTo>
                  <a:lnTo>
                    <a:pt x="684" y="640"/>
                  </a:lnTo>
                  <a:lnTo>
                    <a:pt x="688" y="637"/>
                  </a:lnTo>
                  <a:lnTo>
                    <a:pt x="685" y="636"/>
                  </a:lnTo>
                  <a:lnTo>
                    <a:pt x="682" y="634"/>
                  </a:lnTo>
                  <a:lnTo>
                    <a:pt x="678" y="630"/>
                  </a:lnTo>
                  <a:lnTo>
                    <a:pt x="677" y="628"/>
                  </a:lnTo>
                  <a:lnTo>
                    <a:pt x="676" y="624"/>
                  </a:lnTo>
                  <a:lnTo>
                    <a:pt x="673" y="620"/>
                  </a:lnTo>
                  <a:lnTo>
                    <a:pt x="675" y="619"/>
                  </a:lnTo>
                  <a:lnTo>
                    <a:pt x="672" y="618"/>
                  </a:lnTo>
                  <a:lnTo>
                    <a:pt x="671" y="618"/>
                  </a:lnTo>
                  <a:lnTo>
                    <a:pt x="669" y="616"/>
                  </a:lnTo>
                  <a:lnTo>
                    <a:pt x="666" y="614"/>
                  </a:lnTo>
                  <a:lnTo>
                    <a:pt x="664" y="613"/>
                  </a:lnTo>
                  <a:lnTo>
                    <a:pt x="660" y="612"/>
                  </a:lnTo>
                  <a:lnTo>
                    <a:pt x="655" y="611"/>
                  </a:lnTo>
                  <a:lnTo>
                    <a:pt x="649" y="610"/>
                  </a:lnTo>
                  <a:lnTo>
                    <a:pt x="647" y="610"/>
                  </a:lnTo>
                  <a:lnTo>
                    <a:pt x="646" y="606"/>
                  </a:lnTo>
                  <a:lnTo>
                    <a:pt x="647" y="605"/>
                  </a:lnTo>
                  <a:lnTo>
                    <a:pt x="649" y="604"/>
                  </a:lnTo>
                  <a:lnTo>
                    <a:pt x="648" y="602"/>
                  </a:lnTo>
                  <a:lnTo>
                    <a:pt x="649" y="599"/>
                  </a:lnTo>
                  <a:lnTo>
                    <a:pt x="651" y="599"/>
                  </a:lnTo>
                  <a:lnTo>
                    <a:pt x="653" y="600"/>
                  </a:lnTo>
                  <a:lnTo>
                    <a:pt x="654" y="605"/>
                  </a:lnTo>
                  <a:lnTo>
                    <a:pt x="655" y="605"/>
                  </a:lnTo>
                  <a:lnTo>
                    <a:pt x="657" y="605"/>
                  </a:lnTo>
                  <a:lnTo>
                    <a:pt x="654" y="601"/>
                  </a:lnTo>
                  <a:lnTo>
                    <a:pt x="655" y="599"/>
                  </a:lnTo>
                  <a:lnTo>
                    <a:pt x="658" y="599"/>
                  </a:lnTo>
                  <a:lnTo>
                    <a:pt x="660" y="599"/>
                  </a:lnTo>
                  <a:lnTo>
                    <a:pt x="658" y="598"/>
                  </a:lnTo>
                  <a:lnTo>
                    <a:pt x="657" y="596"/>
                  </a:lnTo>
                  <a:lnTo>
                    <a:pt x="654" y="594"/>
                  </a:lnTo>
                  <a:lnTo>
                    <a:pt x="652" y="595"/>
                  </a:lnTo>
                  <a:lnTo>
                    <a:pt x="649" y="594"/>
                  </a:lnTo>
                  <a:lnTo>
                    <a:pt x="648" y="595"/>
                  </a:lnTo>
                  <a:lnTo>
                    <a:pt x="646" y="595"/>
                  </a:lnTo>
                  <a:lnTo>
                    <a:pt x="643" y="594"/>
                  </a:lnTo>
                  <a:lnTo>
                    <a:pt x="641" y="593"/>
                  </a:lnTo>
                  <a:lnTo>
                    <a:pt x="640" y="593"/>
                  </a:lnTo>
                  <a:lnTo>
                    <a:pt x="637" y="591"/>
                  </a:lnTo>
                  <a:lnTo>
                    <a:pt x="636" y="590"/>
                  </a:lnTo>
                  <a:lnTo>
                    <a:pt x="635" y="588"/>
                  </a:lnTo>
                  <a:lnTo>
                    <a:pt x="634" y="585"/>
                  </a:lnTo>
                  <a:lnTo>
                    <a:pt x="633" y="584"/>
                  </a:lnTo>
                  <a:lnTo>
                    <a:pt x="631" y="587"/>
                  </a:lnTo>
                  <a:lnTo>
                    <a:pt x="630" y="585"/>
                  </a:lnTo>
                  <a:lnTo>
                    <a:pt x="630" y="581"/>
                  </a:lnTo>
                  <a:lnTo>
                    <a:pt x="631" y="581"/>
                  </a:lnTo>
                  <a:lnTo>
                    <a:pt x="633" y="581"/>
                  </a:lnTo>
                  <a:lnTo>
                    <a:pt x="630" y="578"/>
                  </a:lnTo>
                  <a:lnTo>
                    <a:pt x="628" y="576"/>
                  </a:lnTo>
                  <a:lnTo>
                    <a:pt x="623" y="569"/>
                  </a:lnTo>
                  <a:lnTo>
                    <a:pt x="620" y="567"/>
                  </a:lnTo>
                  <a:lnTo>
                    <a:pt x="618" y="565"/>
                  </a:lnTo>
                  <a:lnTo>
                    <a:pt x="618" y="563"/>
                  </a:lnTo>
                  <a:lnTo>
                    <a:pt x="620" y="560"/>
                  </a:lnTo>
                  <a:lnTo>
                    <a:pt x="623" y="559"/>
                  </a:lnTo>
                  <a:lnTo>
                    <a:pt x="623" y="561"/>
                  </a:lnTo>
                  <a:lnTo>
                    <a:pt x="623" y="564"/>
                  </a:lnTo>
                  <a:lnTo>
                    <a:pt x="625" y="564"/>
                  </a:lnTo>
                  <a:lnTo>
                    <a:pt x="625" y="565"/>
                  </a:lnTo>
                  <a:lnTo>
                    <a:pt x="625" y="569"/>
                  </a:lnTo>
                  <a:lnTo>
                    <a:pt x="626" y="570"/>
                  </a:lnTo>
                  <a:lnTo>
                    <a:pt x="626" y="572"/>
                  </a:lnTo>
                  <a:lnTo>
                    <a:pt x="628" y="572"/>
                  </a:lnTo>
                  <a:lnTo>
                    <a:pt x="629" y="571"/>
                  </a:lnTo>
                  <a:lnTo>
                    <a:pt x="630" y="567"/>
                  </a:lnTo>
                  <a:lnTo>
                    <a:pt x="630" y="566"/>
                  </a:lnTo>
                  <a:lnTo>
                    <a:pt x="629" y="564"/>
                  </a:lnTo>
                  <a:lnTo>
                    <a:pt x="630" y="561"/>
                  </a:lnTo>
                  <a:lnTo>
                    <a:pt x="631" y="561"/>
                  </a:lnTo>
                  <a:lnTo>
                    <a:pt x="633" y="564"/>
                  </a:lnTo>
                  <a:lnTo>
                    <a:pt x="634" y="565"/>
                  </a:lnTo>
                  <a:lnTo>
                    <a:pt x="634" y="570"/>
                  </a:lnTo>
                  <a:lnTo>
                    <a:pt x="635" y="573"/>
                  </a:lnTo>
                  <a:lnTo>
                    <a:pt x="636" y="571"/>
                  </a:lnTo>
                  <a:lnTo>
                    <a:pt x="636" y="570"/>
                  </a:lnTo>
                  <a:lnTo>
                    <a:pt x="636" y="565"/>
                  </a:lnTo>
                  <a:lnTo>
                    <a:pt x="637" y="566"/>
                  </a:lnTo>
                  <a:lnTo>
                    <a:pt x="639" y="567"/>
                  </a:lnTo>
                  <a:lnTo>
                    <a:pt x="639" y="565"/>
                  </a:lnTo>
                  <a:lnTo>
                    <a:pt x="641" y="567"/>
                  </a:lnTo>
                  <a:lnTo>
                    <a:pt x="641" y="570"/>
                  </a:lnTo>
                  <a:lnTo>
                    <a:pt x="642" y="571"/>
                  </a:lnTo>
                  <a:lnTo>
                    <a:pt x="643" y="570"/>
                  </a:lnTo>
                  <a:lnTo>
                    <a:pt x="643" y="565"/>
                  </a:lnTo>
                  <a:lnTo>
                    <a:pt x="643" y="561"/>
                  </a:lnTo>
                  <a:lnTo>
                    <a:pt x="645" y="561"/>
                  </a:lnTo>
                  <a:lnTo>
                    <a:pt x="647" y="563"/>
                  </a:lnTo>
                  <a:lnTo>
                    <a:pt x="646" y="567"/>
                  </a:lnTo>
                  <a:lnTo>
                    <a:pt x="645" y="570"/>
                  </a:lnTo>
                  <a:lnTo>
                    <a:pt x="646" y="571"/>
                  </a:lnTo>
                  <a:lnTo>
                    <a:pt x="646" y="576"/>
                  </a:lnTo>
                  <a:lnTo>
                    <a:pt x="646" y="577"/>
                  </a:lnTo>
                  <a:lnTo>
                    <a:pt x="647" y="578"/>
                  </a:lnTo>
                  <a:lnTo>
                    <a:pt x="648" y="579"/>
                  </a:lnTo>
                  <a:lnTo>
                    <a:pt x="649" y="577"/>
                  </a:lnTo>
                  <a:lnTo>
                    <a:pt x="649" y="581"/>
                  </a:lnTo>
                  <a:lnTo>
                    <a:pt x="652" y="581"/>
                  </a:lnTo>
                  <a:lnTo>
                    <a:pt x="653" y="582"/>
                  </a:lnTo>
                  <a:lnTo>
                    <a:pt x="653" y="577"/>
                  </a:lnTo>
                  <a:lnTo>
                    <a:pt x="653" y="573"/>
                  </a:lnTo>
                  <a:lnTo>
                    <a:pt x="653" y="571"/>
                  </a:lnTo>
                  <a:lnTo>
                    <a:pt x="651" y="567"/>
                  </a:lnTo>
                  <a:lnTo>
                    <a:pt x="651" y="566"/>
                  </a:lnTo>
                  <a:lnTo>
                    <a:pt x="649" y="561"/>
                  </a:lnTo>
                  <a:lnTo>
                    <a:pt x="649" y="557"/>
                  </a:lnTo>
                  <a:lnTo>
                    <a:pt x="649" y="551"/>
                  </a:lnTo>
                  <a:lnTo>
                    <a:pt x="651" y="551"/>
                  </a:lnTo>
                  <a:lnTo>
                    <a:pt x="653" y="551"/>
                  </a:lnTo>
                  <a:lnTo>
                    <a:pt x="653" y="554"/>
                  </a:lnTo>
                  <a:lnTo>
                    <a:pt x="653" y="557"/>
                  </a:lnTo>
                  <a:lnTo>
                    <a:pt x="655" y="557"/>
                  </a:lnTo>
                  <a:lnTo>
                    <a:pt x="657" y="555"/>
                  </a:lnTo>
                  <a:lnTo>
                    <a:pt x="657" y="552"/>
                  </a:lnTo>
                  <a:lnTo>
                    <a:pt x="659" y="548"/>
                  </a:lnTo>
                  <a:lnTo>
                    <a:pt x="660" y="547"/>
                  </a:lnTo>
                  <a:lnTo>
                    <a:pt x="659" y="554"/>
                  </a:lnTo>
                  <a:lnTo>
                    <a:pt x="660" y="557"/>
                  </a:lnTo>
                  <a:lnTo>
                    <a:pt x="663" y="555"/>
                  </a:lnTo>
                  <a:lnTo>
                    <a:pt x="664" y="552"/>
                  </a:lnTo>
                  <a:lnTo>
                    <a:pt x="664" y="548"/>
                  </a:lnTo>
                  <a:lnTo>
                    <a:pt x="665" y="546"/>
                  </a:lnTo>
                  <a:lnTo>
                    <a:pt x="665" y="549"/>
                  </a:lnTo>
                  <a:lnTo>
                    <a:pt x="665" y="555"/>
                  </a:lnTo>
                  <a:lnTo>
                    <a:pt x="666" y="558"/>
                  </a:lnTo>
                  <a:lnTo>
                    <a:pt x="667" y="557"/>
                  </a:lnTo>
                  <a:lnTo>
                    <a:pt x="669" y="552"/>
                  </a:lnTo>
                  <a:lnTo>
                    <a:pt x="669" y="548"/>
                  </a:lnTo>
                  <a:lnTo>
                    <a:pt x="669" y="545"/>
                  </a:lnTo>
                  <a:lnTo>
                    <a:pt x="669" y="541"/>
                  </a:lnTo>
                  <a:lnTo>
                    <a:pt x="667" y="536"/>
                  </a:lnTo>
                  <a:lnTo>
                    <a:pt x="669" y="536"/>
                  </a:lnTo>
                  <a:lnTo>
                    <a:pt x="671" y="536"/>
                  </a:lnTo>
                  <a:lnTo>
                    <a:pt x="673" y="537"/>
                  </a:lnTo>
                  <a:lnTo>
                    <a:pt x="672" y="535"/>
                  </a:lnTo>
                  <a:lnTo>
                    <a:pt x="672" y="533"/>
                  </a:lnTo>
                  <a:lnTo>
                    <a:pt x="675" y="533"/>
                  </a:lnTo>
                  <a:lnTo>
                    <a:pt x="676" y="533"/>
                  </a:lnTo>
                  <a:lnTo>
                    <a:pt x="677" y="531"/>
                  </a:lnTo>
                  <a:lnTo>
                    <a:pt x="675" y="531"/>
                  </a:lnTo>
                  <a:lnTo>
                    <a:pt x="673" y="529"/>
                  </a:lnTo>
                  <a:lnTo>
                    <a:pt x="672" y="528"/>
                  </a:lnTo>
                  <a:lnTo>
                    <a:pt x="671" y="528"/>
                  </a:lnTo>
                  <a:lnTo>
                    <a:pt x="671" y="530"/>
                  </a:lnTo>
                  <a:lnTo>
                    <a:pt x="669" y="531"/>
                  </a:lnTo>
                  <a:lnTo>
                    <a:pt x="669" y="530"/>
                  </a:lnTo>
                  <a:lnTo>
                    <a:pt x="667" y="530"/>
                  </a:lnTo>
                  <a:lnTo>
                    <a:pt x="666" y="531"/>
                  </a:lnTo>
                  <a:lnTo>
                    <a:pt x="665" y="531"/>
                  </a:lnTo>
                  <a:lnTo>
                    <a:pt x="663" y="531"/>
                  </a:lnTo>
                  <a:lnTo>
                    <a:pt x="663" y="530"/>
                  </a:lnTo>
                  <a:lnTo>
                    <a:pt x="661" y="530"/>
                  </a:lnTo>
                  <a:lnTo>
                    <a:pt x="661" y="534"/>
                  </a:lnTo>
                  <a:lnTo>
                    <a:pt x="659" y="534"/>
                  </a:lnTo>
                  <a:lnTo>
                    <a:pt x="658" y="533"/>
                  </a:lnTo>
                  <a:lnTo>
                    <a:pt x="657" y="534"/>
                  </a:lnTo>
                  <a:lnTo>
                    <a:pt x="655" y="535"/>
                  </a:lnTo>
                  <a:lnTo>
                    <a:pt x="653" y="537"/>
                  </a:lnTo>
                  <a:lnTo>
                    <a:pt x="652" y="539"/>
                  </a:lnTo>
                  <a:lnTo>
                    <a:pt x="645" y="539"/>
                  </a:lnTo>
                  <a:lnTo>
                    <a:pt x="641" y="539"/>
                  </a:lnTo>
                  <a:lnTo>
                    <a:pt x="637" y="540"/>
                  </a:lnTo>
                  <a:lnTo>
                    <a:pt x="633" y="541"/>
                  </a:lnTo>
                  <a:lnTo>
                    <a:pt x="626" y="541"/>
                  </a:lnTo>
                  <a:lnTo>
                    <a:pt x="623" y="541"/>
                  </a:lnTo>
                  <a:lnTo>
                    <a:pt x="618" y="542"/>
                  </a:lnTo>
                  <a:lnTo>
                    <a:pt x="614" y="541"/>
                  </a:lnTo>
                  <a:lnTo>
                    <a:pt x="612" y="542"/>
                  </a:lnTo>
                  <a:lnTo>
                    <a:pt x="607" y="545"/>
                  </a:lnTo>
                  <a:lnTo>
                    <a:pt x="601" y="543"/>
                  </a:lnTo>
                  <a:lnTo>
                    <a:pt x="599" y="543"/>
                  </a:lnTo>
                  <a:lnTo>
                    <a:pt x="595" y="541"/>
                  </a:lnTo>
                  <a:lnTo>
                    <a:pt x="593" y="541"/>
                  </a:lnTo>
                  <a:lnTo>
                    <a:pt x="590" y="537"/>
                  </a:lnTo>
                  <a:lnTo>
                    <a:pt x="589" y="535"/>
                  </a:lnTo>
                  <a:lnTo>
                    <a:pt x="588" y="534"/>
                  </a:lnTo>
                  <a:lnTo>
                    <a:pt x="584" y="534"/>
                  </a:lnTo>
                  <a:lnTo>
                    <a:pt x="581" y="536"/>
                  </a:lnTo>
                  <a:lnTo>
                    <a:pt x="580" y="537"/>
                  </a:lnTo>
                  <a:lnTo>
                    <a:pt x="577" y="537"/>
                  </a:lnTo>
                  <a:lnTo>
                    <a:pt x="575" y="537"/>
                  </a:lnTo>
                  <a:lnTo>
                    <a:pt x="571" y="535"/>
                  </a:lnTo>
                  <a:lnTo>
                    <a:pt x="567" y="531"/>
                  </a:lnTo>
                  <a:lnTo>
                    <a:pt x="563" y="527"/>
                  </a:lnTo>
                  <a:lnTo>
                    <a:pt x="559" y="524"/>
                  </a:lnTo>
                  <a:lnTo>
                    <a:pt x="555" y="521"/>
                  </a:lnTo>
                  <a:lnTo>
                    <a:pt x="552" y="516"/>
                  </a:lnTo>
                  <a:lnTo>
                    <a:pt x="552" y="515"/>
                  </a:lnTo>
                  <a:lnTo>
                    <a:pt x="555" y="515"/>
                  </a:lnTo>
                  <a:lnTo>
                    <a:pt x="555" y="513"/>
                  </a:lnTo>
                  <a:lnTo>
                    <a:pt x="553" y="512"/>
                  </a:lnTo>
                  <a:lnTo>
                    <a:pt x="552" y="510"/>
                  </a:lnTo>
                  <a:lnTo>
                    <a:pt x="551" y="505"/>
                  </a:lnTo>
                  <a:lnTo>
                    <a:pt x="552" y="505"/>
                  </a:lnTo>
                  <a:lnTo>
                    <a:pt x="553" y="507"/>
                  </a:lnTo>
                  <a:lnTo>
                    <a:pt x="554" y="510"/>
                  </a:lnTo>
                  <a:lnTo>
                    <a:pt x="557" y="511"/>
                  </a:lnTo>
                  <a:lnTo>
                    <a:pt x="557" y="510"/>
                  </a:lnTo>
                  <a:lnTo>
                    <a:pt x="559" y="507"/>
                  </a:lnTo>
                  <a:lnTo>
                    <a:pt x="560" y="507"/>
                  </a:lnTo>
                  <a:lnTo>
                    <a:pt x="559" y="510"/>
                  </a:lnTo>
                  <a:lnTo>
                    <a:pt x="560" y="512"/>
                  </a:lnTo>
                  <a:lnTo>
                    <a:pt x="559" y="518"/>
                  </a:lnTo>
                  <a:lnTo>
                    <a:pt x="561" y="521"/>
                  </a:lnTo>
                  <a:lnTo>
                    <a:pt x="561" y="518"/>
                  </a:lnTo>
                  <a:lnTo>
                    <a:pt x="563" y="515"/>
                  </a:lnTo>
                  <a:lnTo>
                    <a:pt x="564" y="513"/>
                  </a:lnTo>
                  <a:lnTo>
                    <a:pt x="565" y="515"/>
                  </a:lnTo>
                  <a:lnTo>
                    <a:pt x="565" y="513"/>
                  </a:lnTo>
                  <a:lnTo>
                    <a:pt x="566" y="511"/>
                  </a:lnTo>
                  <a:lnTo>
                    <a:pt x="569" y="510"/>
                  </a:lnTo>
                  <a:lnTo>
                    <a:pt x="569" y="511"/>
                  </a:lnTo>
                  <a:lnTo>
                    <a:pt x="570" y="516"/>
                  </a:lnTo>
                  <a:lnTo>
                    <a:pt x="570" y="517"/>
                  </a:lnTo>
                  <a:lnTo>
                    <a:pt x="571" y="518"/>
                  </a:lnTo>
                  <a:lnTo>
                    <a:pt x="572" y="517"/>
                  </a:lnTo>
                  <a:lnTo>
                    <a:pt x="572" y="512"/>
                  </a:lnTo>
                  <a:lnTo>
                    <a:pt x="574" y="510"/>
                  </a:lnTo>
                  <a:lnTo>
                    <a:pt x="575" y="511"/>
                  </a:lnTo>
                  <a:lnTo>
                    <a:pt x="575" y="513"/>
                  </a:lnTo>
                  <a:lnTo>
                    <a:pt x="576" y="509"/>
                  </a:lnTo>
                  <a:lnTo>
                    <a:pt x="577" y="507"/>
                  </a:lnTo>
                  <a:lnTo>
                    <a:pt x="577" y="515"/>
                  </a:lnTo>
                  <a:lnTo>
                    <a:pt x="577" y="518"/>
                  </a:lnTo>
                  <a:lnTo>
                    <a:pt x="580" y="517"/>
                  </a:lnTo>
                  <a:lnTo>
                    <a:pt x="582" y="512"/>
                  </a:lnTo>
                  <a:lnTo>
                    <a:pt x="584" y="510"/>
                  </a:lnTo>
                  <a:lnTo>
                    <a:pt x="584" y="516"/>
                  </a:lnTo>
                  <a:lnTo>
                    <a:pt x="583" y="519"/>
                  </a:lnTo>
                  <a:lnTo>
                    <a:pt x="586" y="517"/>
                  </a:lnTo>
                  <a:lnTo>
                    <a:pt x="587" y="513"/>
                  </a:lnTo>
                  <a:lnTo>
                    <a:pt x="588" y="510"/>
                  </a:lnTo>
                  <a:lnTo>
                    <a:pt x="590" y="506"/>
                  </a:lnTo>
                  <a:lnTo>
                    <a:pt x="589" y="515"/>
                  </a:lnTo>
                  <a:lnTo>
                    <a:pt x="588" y="518"/>
                  </a:lnTo>
                  <a:lnTo>
                    <a:pt x="592" y="516"/>
                  </a:lnTo>
                  <a:lnTo>
                    <a:pt x="593" y="512"/>
                  </a:lnTo>
                  <a:lnTo>
                    <a:pt x="592" y="518"/>
                  </a:lnTo>
                  <a:lnTo>
                    <a:pt x="592" y="521"/>
                  </a:lnTo>
                  <a:lnTo>
                    <a:pt x="594" y="521"/>
                  </a:lnTo>
                  <a:lnTo>
                    <a:pt x="594" y="517"/>
                  </a:lnTo>
                  <a:lnTo>
                    <a:pt x="595" y="516"/>
                  </a:lnTo>
                  <a:lnTo>
                    <a:pt x="599" y="516"/>
                  </a:lnTo>
                  <a:lnTo>
                    <a:pt x="600" y="513"/>
                  </a:lnTo>
                  <a:lnTo>
                    <a:pt x="600" y="516"/>
                  </a:lnTo>
                  <a:lnTo>
                    <a:pt x="598" y="519"/>
                  </a:lnTo>
                  <a:lnTo>
                    <a:pt x="598" y="522"/>
                  </a:lnTo>
                  <a:lnTo>
                    <a:pt x="601" y="518"/>
                  </a:lnTo>
                  <a:lnTo>
                    <a:pt x="602" y="517"/>
                  </a:lnTo>
                  <a:lnTo>
                    <a:pt x="604" y="523"/>
                  </a:lnTo>
                  <a:lnTo>
                    <a:pt x="606" y="525"/>
                  </a:lnTo>
                  <a:lnTo>
                    <a:pt x="607" y="527"/>
                  </a:lnTo>
                  <a:lnTo>
                    <a:pt x="611" y="525"/>
                  </a:lnTo>
                  <a:lnTo>
                    <a:pt x="611" y="524"/>
                  </a:lnTo>
                  <a:lnTo>
                    <a:pt x="612" y="525"/>
                  </a:lnTo>
                  <a:lnTo>
                    <a:pt x="611" y="528"/>
                  </a:lnTo>
                  <a:lnTo>
                    <a:pt x="611" y="531"/>
                  </a:lnTo>
                  <a:lnTo>
                    <a:pt x="612" y="535"/>
                  </a:lnTo>
                  <a:lnTo>
                    <a:pt x="613" y="535"/>
                  </a:lnTo>
                  <a:lnTo>
                    <a:pt x="613" y="531"/>
                  </a:lnTo>
                  <a:lnTo>
                    <a:pt x="614" y="529"/>
                  </a:lnTo>
                  <a:lnTo>
                    <a:pt x="616" y="525"/>
                  </a:lnTo>
                  <a:lnTo>
                    <a:pt x="616" y="528"/>
                  </a:lnTo>
                  <a:lnTo>
                    <a:pt x="617" y="529"/>
                  </a:lnTo>
                  <a:lnTo>
                    <a:pt x="618" y="527"/>
                  </a:lnTo>
                  <a:lnTo>
                    <a:pt x="619" y="523"/>
                  </a:lnTo>
                  <a:lnTo>
                    <a:pt x="620" y="518"/>
                  </a:lnTo>
                  <a:lnTo>
                    <a:pt x="619" y="525"/>
                  </a:lnTo>
                  <a:lnTo>
                    <a:pt x="620" y="530"/>
                  </a:lnTo>
                  <a:lnTo>
                    <a:pt x="620" y="533"/>
                  </a:lnTo>
                  <a:lnTo>
                    <a:pt x="623" y="535"/>
                  </a:lnTo>
                  <a:lnTo>
                    <a:pt x="624" y="536"/>
                  </a:lnTo>
                  <a:lnTo>
                    <a:pt x="626" y="535"/>
                  </a:lnTo>
                  <a:lnTo>
                    <a:pt x="628" y="533"/>
                  </a:lnTo>
                  <a:lnTo>
                    <a:pt x="628" y="529"/>
                  </a:lnTo>
                  <a:lnTo>
                    <a:pt x="628" y="525"/>
                  </a:lnTo>
                  <a:lnTo>
                    <a:pt x="629" y="529"/>
                  </a:lnTo>
                  <a:lnTo>
                    <a:pt x="629" y="531"/>
                  </a:lnTo>
                  <a:lnTo>
                    <a:pt x="630" y="529"/>
                  </a:lnTo>
                  <a:lnTo>
                    <a:pt x="633" y="529"/>
                  </a:lnTo>
                  <a:lnTo>
                    <a:pt x="633" y="533"/>
                  </a:lnTo>
                  <a:lnTo>
                    <a:pt x="634" y="535"/>
                  </a:lnTo>
                  <a:lnTo>
                    <a:pt x="635" y="533"/>
                  </a:lnTo>
                  <a:lnTo>
                    <a:pt x="635" y="530"/>
                  </a:lnTo>
                  <a:lnTo>
                    <a:pt x="641" y="534"/>
                  </a:lnTo>
                  <a:lnTo>
                    <a:pt x="640" y="531"/>
                  </a:lnTo>
                  <a:lnTo>
                    <a:pt x="637" y="530"/>
                  </a:lnTo>
                  <a:lnTo>
                    <a:pt x="640" y="528"/>
                  </a:lnTo>
                  <a:lnTo>
                    <a:pt x="637" y="528"/>
                  </a:lnTo>
                  <a:lnTo>
                    <a:pt x="634" y="528"/>
                  </a:lnTo>
                  <a:lnTo>
                    <a:pt x="631" y="527"/>
                  </a:lnTo>
                  <a:lnTo>
                    <a:pt x="636" y="525"/>
                  </a:lnTo>
                  <a:lnTo>
                    <a:pt x="635" y="524"/>
                  </a:lnTo>
                  <a:lnTo>
                    <a:pt x="631" y="524"/>
                  </a:lnTo>
                  <a:lnTo>
                    <a:pt x="629" y="524"/>
                  </a:lnTo>
                  <a:lnTo>
                    <a:pt x="628" y="522"/>
                  </a:lnTo>
                  <a:lnTo>
                    <a:pt x="629" y="521"/>
                  </a:lnTo>
                  <a:lnTo>
                    <a:pt x="628" y="519"/>
                  </a:lnTo>
                  <a:lnTo>
                    <a:pt x="626" y="518"/>
                  </a:lnTo>
                  <a:lnTo>
                    <a:pt x="624" y="517"/>
                  </a:lnTo>
                  <a:lnTo>
                    <a:pt x="620" y="515"/>
                  </a:lnTo>
                  <a:lnTo>
                    <a:pt x="620" y="513"/>
                  </a:lnTo>
                  <a:lnTo>
                    <a:pt x="620" y="512"/>
                  </a:lnTo>
                  <a:lnTo>
                    <a:pt x="618" y="510"/>
                  </a:lnTo>
                  <a:lnTo>
                    <a:pt x="617" y="507"/>
                  </a:lnTo>
                  <a:lnTo>
                    <a:pt x="614" y="506"/>
                  </a:lnTo>
                  <a:lnTo>
                    <a:pt x="612" y="504"/>
                  </a:lnTo>
                  <a:lnTo>
                    <a:pt x="612" y="501"/>
                  </a:lnTo>
                  <a:lnTo>
                    <a:pt x="613" y="500"/>
                  </a:lnTo>
                  <a:lnTo>
                    <a:pt x="614" y="498"/>
                  </a:lnTo>
                  <a:lnTo>
                    <a:pt x="616" y="500"/>
                  </a:lnTo>
                  <a:lnTo>
                    <a:pt x="617" y="504"/>
                  </a:lnTo>
                  <a:lnTo>
                    <a:pt x="618" y="505"/>
                  </a:lnTo>
                  <a:lnTo>
                    <a:pt x="619" y="507"/>
                  </a:lnTo>
                  <a:lnTo>
                    <a:pt x="620" y="506"/>
                  </a:lnTo>
                  <a:lnTo>
                    <a:pt x="620" y="504"/>
                  </a:lnTo>
                  <a:lnTo>
                    <a:pt x="622" y="504"/>
                  </a:lnTo>
                  <a:lnTo>
                    <a:pt x="623" y="503"/>
                  </a:lnTo>
                  <a:lnTo>
                    <a:pt x="623" y="501"/>
                  </a:lnTo>
                  <a:lnTo>
                    <a:pt x="624" y="500"/>
                  </a:lnTo>
                  <a:lnTo>
                    <a:pt x="622" y="499"/>
                  </a:lnTo>
                  <a:lnTo>
                    <a:pt x="619" y="498"/>
                  </a:lnTo>
                  <a:lnTo>
                    <a:pt x="616" y="494"/>
                  </a:lnTo>
                  <a:lnTo>
                    <a:pt x="620" y="494"/>
                  </a:lnTo>
                  <a:lnTo>
                    <a:pt x="622" y="493"/>
                  </a:lnTo>
                  <a:lnTo>
                    <a:pt x="618" y="492"/>
                  </a:lnTo>
                  <a:lnTo>
                    <a:pt x="616" y="492"/>
                  </a:lnTo>
                  <a:lnTo>
                    <a:pt x="611" y="492"/>
                  </a:lnTo>
                  <a:lnTo>
                    <a:pt x="606" y="489"/>
                  </a:lnTo>
                  <a:lnTo>
                    <a:pt x="600" y="487"/>
                  </a:lnTo>
                  <a:lnTo>
                    <a:pt x="596" y="484"/>
                  </a:lnTo>
                  <a:lnTo>
                    <a:pt x="589" y="481"/>
                  </a:lnTo>
                  <a:lnTo>
                    <a:pt x="586" y="480"/>
                  </a:lnTo>
                  <a:lnTo>
                    <a:pt x="581" y="477"/>
                  </a:lnTo>
                  <a:lnTo>
                    <a:pt x="577" y="477"/>
                  </a:lnTo>
                  <a:lnTo>
                    <a:pt x="572" y="475"/>
                  </a:lnTo>
                  <a:lnTo>
                    <a:pt x="569" y="475"/>
                  </a:lnTo>
                  <a:lnTo>
                    <a:pt x="569" y="474"/>
                  </a:lnTo>
                  <a:lnTo>
                    <a:pt x="570" y="472"/>
                  </a:lnTo>
                  <a:lnTo>
                    <a:pt x="572" y="471"/>
                  </a:lnTo>
                  <a:lnTo>
                    <a:pt x="567" y="470"/>
                  </a:lnTo>
                  <a:lnTo>
                    <a:pt x="564" y="469"/>
                  </a:lnTo>
                  <a:lnTo>
                    <a:pt x="561" y="468"/>
                  </a:lnTo>
                  <a:lnTo>
                    <a:pt x="558" y="468"/>
                  </a:lnTo>
                  <a:lnTo>
                    <a:pt x="558" y="464"/>
                  </a:lnTo>
                  <a:lnTo>
                    <a:pt x="558" y="460"/>
                  </a:lnTo>
                  <a:lnTo>
                    <a:pt x="558" y="457"/>
                  </a:lnTo>
                  <a:lnTo>
                    <a:pt x="560" y="453"/>
                  </a:lnTo>
                  <a:lnTo>
                    <a:pt x="563" y="450"/>
                  </a:lnTo>
                  <a:lnTo>
                    <a:pt x="563" y="453"/>
                  </a:lnTo>
                  <a:lnTo>
                    <a:pt x="563" y="454"/>
                  </a:lnTo>
                  <a:lnTo>
                    <a:pt x="565" y="456"/>
                  </a:lnTo>
                  <a:lnTo>
                    <a:pt x="567" y="456"/>
                  </a:lnTo>
                  <a:lnTo>
                    <a:pt x="567" y="457"/>
                  </a:lnTo>
                  <a:lnTo>
                    <a:pt x="570" y="458"/>
                  </a:lnTo>
                  <a:lnTo>
                    <a:pt x="571" y="458"/>
                  </a:lnTo>
                  <a:lnTo>
                    <a:pt x="572" y="454"/>
                  </a:lnTo>
                  <a:lnTo>
                    <a:pt x="574" y="452"/>
                  </a:lnTo>
                  <a:lnTo>
                    <a:pt x="572" y="458"/>
                  </a:lnTo>
                  <a:lnTo>
                    <a:pt x="575" y="460"/>
                  </a:lnTo>
                  <a:lnTo>
                    <a:pt x="576" y="459"/>
                  </a:lnTo>
                  <a:lnTo>
                    <a:pt x="576" y="456"/>
                  </a:lnTo>
                  <a:lnTo>
                    <a:pt x="578" y="452"/>
                  </a:lnTo>
                  <a:lnTo>
                    <a:pt x="578" y="456"/>
                  </a:lnTo>
                  <a:lnTo>
                    <a:pt x="581" y="458"/>
                  </a:lnTo>
                  <a:lnTo>
                    <a:pt x="581" y="454"/>
                  </a:lnTo>
                  <a:lnTo>
                    <a:pt x="583" y="453"/>
                  </a:lnTo>
                  <a:lnTo>
                    <a:pt x="582" y="458"/>
                  </a:lnTo>
                  <a:lnTo>
                    <a:pt x="582" y="463"/>
                  </a:lnTo>
                  <a:lnTo>
                    <a:pt x="584" y="464"/>
                  </a:lnTo>
                  <a:lnTo>
                    <a:pt x="587" y="464"/>
                  </a:lnTo>
                  <a:lnTo>
                    <a:pt x="587" y="460"/>
                  </a:lnTo>
                  <a:lnTo>
                    <a:pt x="587" y="458"/>
                  </a:lnTo>
                  <a:lnTo>
                    <a:pt x="588" y="456"/>
                  </a:lnTo>
                  <a:lnTo>
                    <a:pt x="589" y="457"/>
                  </a:lnTo>
                  <a:lnTo>
                    <a:pt x="588" y="462"/>
                  </a:lnTo>
                  <a:lnTo>
                    <a:pt x="592" y="460"/>
                  </a:lnTo>
                  <a:lnTo>
                    <a:pt x="592" y="458"/>
                  </a:lnTo>
                  <a:lnTo>
                    <a:pt x="593" y="459"/>
                  </a:lnTo>
                  <a:lnTo>
                    <a:pt x="594" y="457"/>
                  </a:lnTo>
                  <a:lnTo>
                    <a:pt x="595" y="456"/>
                  </a:lnTo>
                  <a:lnTo>
                    <a:pt x="595" y="460"/>
                  </a:lnTo>
                  <a:lnTo>
                    <a:pt x="596" y="460"/>
                  </a:lnTo>
                  <a:lnTo>
                    <a:pt x="599" y="463"/>
                  </a:lnTo>
                  <a:lnTo>
                    <a:pt x="600" y="460"/>
                  </a:lnTo>
                  <a:lnTo>
                    <a:pt x="600" y="466"/>
                  </a:lnTo>
                  <a:lnTo>
                    <a:pt x="600" y="470"/>
                  </a:lnTo>
                  <a:lnTo>
                    <a:pt x="602" y="469"/>
                  </a:lnTo>
                  <a:lnTo>
                    <a:pt x="604" y="466"/>
                  </a:lnTo>
                  <a:lnTo>
                    <a:pt x="605" y="465"/>
                  </a:lnTo>
                  <a:lnTo>
                    <a:pt x="606" y="460"/>
                  </a:lnTo>
                  <a:lnTo>
                    <a:pt x="607" y="459"/>
                  </a:lnTo>
                  <a:lnTo>
                    <a:pt x="610" y="462"/>
                  </a:lnTo>
                  <a:lnTo>
                    <a:pt x="611" y="459"/>
                  </a:lnTo>
                  <a:lnTo>
                    <a:pt x="612" y="458"/>
                  </a:lnTo>
                  <a:lnTo>
                    <a:pt x="614" y="459"/>
                  </a:lnTo>
                  <a:lnTo>
                    <a:pt x="614" y="463"/>
                  </a:lnTo>
                  <a:lnTo>
                    <a:pt x="616" y="462"/>
                  </a:lnTo>
                  <a:lnTo>
                    <a:pt x="619" y="462"/>
                  </a:lnTo>
                  <a:lnTo>
                    <a:pt x="623" y="462"/>
                  </a:lnTo>
                  <a:lnTo>
                    <a:pt x="623" y="460"/>
                  </a:lnTo>
                  <a:lnTo>
                    <a:pt x="618" y="458"/>
                  </a:lnTo>
                  <a:lnTo>
                    <a:pt x="612" y="454"/>
                  </a:lnTo>
                  <a:lnTo>
                    <a:pt x="612" y="452"/>
                  </a:lnTo>
                  <a:lnTo>
                    <a:pt x="610" y="453"/>
                  </a:lnTo>
                  <a:lnTo>
                    <a:pt x="605" y="452"/>
                  </a:lnTo>
                  <a:lnTo>
                    <a:pt x="602" y="451"/>
                  </a:lnTo>
                  <a:lnTo>
                    <a:pt x="601" y="448"/>
                  </a:lnTo>
                  <a:lnTo>
                    <a:pt x="606" y="448"/>
                  </a:lnTo>
                  <a:lnTo>
                    <a:pt x="610" y="450"/>
                  </a:lnTo>
                  <a:lnTo>
                    <a:pt x="607" y="448"/>
                  </a:lnTo>
                  <a:lnTo>
                    <a:pt x="601" y="445"/>
                  </a:lnTo>
                  <a:lnTo>
                    <a:pt x="600" y="445"/>
                  </a:lnTo>
                  <a:lnTo>
                    <a:pt x="605" y="444"/>
                  </a:lnTo>
                  <a:lnTo>
                    <a:pt x="605" y="442"/>
                  </a:lnTo>
                  <a:lnTo>
                    <a:pt x="600" y="442"/>
                  </a:lnTo>
                  <a:lnTo>
                    <a:pt x="594" y="441"/>
                  </a:lnTo>
                  <a:lnTo>
                    <a:pt x="594" y="439"/>
                  </a:lnTo>
                  <a:lnTo>
                    <a:pt x="592" y="439"/>
                  </a:lnTo>
                  <a:lnTo>
                    <a:pt x="589" y="438"/>
                  </a:lnTo>
                  <a:lnTo>
                    <a:pt x="590" y="436"/>
                  </a:lnTo>
                  <a:lnTo>
                    <a:pt x="588" y="436"/>
                  </a:lnTo>
                  <a:lnTo>
                    <a:pt x="582" y="436"/>
                  </a:lnTo>
                  <a:lnTo>
                    <a:pt x="582" y="433"/>
                  </a:lnTo>
                  <a:lnTo>
                    <a:pt x="581" y="432"/>
                  </a:lnTo>
                  <a:lnTo>
                    <a:pt x="578" y="434"/>
                  </a:lnTo>
                  <a:lnTo>
                    <a:pt x="575" y="433"/>
                  </a:lnTo>
                  <a:lnTo>
                    <a:pt x="574" y="432"/>
                  </a:lnTo>
                  <a:lnTo>
                    <a:pt x="574" y="429"/>
                  </a:lnTo>
                  <a:lnTo>
                    <a:pt x="571" y="430"/>
                  </a:lnTo>
                  <a:lnTo>
                    <a:pt x="570" y="428"/>
                  </a:lnTo>
                  <a:lnTo>
                    <a:pt x="566" y="428"/>
                  </a:lnTo>
                  <a:lnTo>
                    <a:pt x="563" y="429"/>
                  </a:lnTo>
                  <a:lnTo>
                    <a:pt x="560" y="429"/>
                  </a:lnTo>
                  <a:lnTo>
                    <a:pt x="559" y="428"/>
                  </a:lnTo>
                  <a:lnTo>
                    <a:pt x="552" y="424"/>
                  </a:lnTo>
                  <a:lnTo>
                    <a:pt x="547" y="423"/>
                  </a:lnTo>
                  <a:lnTo>
                    <a:pt x="543" y="421"/>
                  </a:lnTo>
                  <a:lnTo>
                    <a:pt x="541" y="421"/>
                  </a:lnTo>
                  <a:lnTo>
                    <a:pt x="539" y="421"/>
                  </a:lnTo>
                  <a:lnTo>
                    <a:pt x="534" y="420"/>
                  </a:lnTo>
                  <a:lnTo>
                    <a:pt x="530" y="418"/>
                  </a:lnTo>
                  <a:lnTo>
                    <a:pt x="528" y="418"/>
                  </a:lnTo>
                  <a:lnTo>
                    <a:pt x="525" y="418"/>
                  </a:lnTo>
                  <a:lnTo>
                    <a:pt x="523" y="416"/>
                  </a:lnTo>
                  <a:lnTo>
                    <a:pt x="521" y="418"/>
                  </a:lnTo>
                  <a:lnTo>
                    <a:pt x="519" y="415"/>
                  </a:lnTo>
                  <a:lnTo>
                    <a:pt x="517" y="415"/>
                  </a:lnTo>
                  <a:lnTo>
                    <a:pt x="515" y="415"/>
                  </a:lnTo>
                  <a:lnTo>
                    <a:pt x="511" y="417"/>
                  </a:lnTo>
                  <a:lnTo>
                    <a:pt x="510" y="416"/>
                  </a:lnTo>
                  <a:lnTo>
                    <a:pt x="507" y="416"/>
                  </a:lnTo>
                  <a:lnTo>
                    <a:pt x="505" y="415"/>
                  </a:lnTo>
                  <a:lnTo>
                    <a:pt x="502" y="415"/>
                  </a:lnTo>
                  <a:lnTo>
                    <a:pt x="501" y="414"/>
                  </a:lnTo>
                  <a:lnTo>
                    <a:pt x="496" y="411"/>
                  </a:lnTo>
                  <a:lnTo>
                    <a:pt x="494" y="410"/>
                  </a:lnTo>
                  <a:lnTo>
                    <a:pt x="493" y="411"/>
                  </a:lnTo>
                  <a:lnTo>
                    <a:pt x="493" y="409"/>
                  </a:lnTo>
                  <a:lnTo>
                    <a:pt x="495" y="409"/>
                  </a:lnTo>
                  <a:lnTo>
                    <a:pt x="498" y="410"/>
                  </a:lnTo>
                  <a:lnTo>
                    <a:pt x="501" y="412"/>
                  </a:lnTo>
                  <a:lnTo>
                    <a:pt x="504" y="414"/>
                  </a:lnTo>
                  <a:lnTo>
                    <a:pt x="506" y="414"/>
                  </a:lnTo>
                  <a:lnTo>
                    <a:pt x="507" y="412"/>
                  </a:lnTo>
                  <a:lnTo>
                    <a:pt x="509" y="412"/>
                  </a:lnTo>
                  <a:lnTo>
                    <a:pt x="510" y="415"/>
                  </a:lnTo>
                  <a:lnTo>
                    <a:pt x="511" y="415"/>
                  </a:lnTo>
                  <a:lnTo>
                    <a:pt x="512" y="415"/>
                  </a:lnTo>
                  <a:lnTo>
                    <a:pt x="515" y="411"/>
                  </a:lnTo>
                  <a:lnTo>
                    <a:pt x="515" y="410"/>
                  </a:lnTo>
                  <a:lnTo>
                    <a:pt x="516" y="410"/>
                  </a:lnTo>
                  <a:lnTo>
                    <a:pt x="516" y="411"/>
                  </a:lnTo>
                  <a:lnTo>
                    <a:pt x="517" y="414"/>
                  </a:lnTo>
                  <a:lnTo>
                    <a:pt x="518" y="414"/>
                  </a:lnTo>
                  <a:lnTo>
                    <a:pt x="519" y="414"/>
                  </a:lnTo>
                  <a:lnTo>
                    <a:pt x="521" y="412"/>
                  </a:lnTo>
                  <a:lnTo>
                    <a:pt x="521" y="415"/>
                  </a:lnTo>
                  <a:lnTo>
                    <a:pt x="523" y="415"/>
                  </a:lnTo>
                  <a:lnTo>
                    <a:pt x="525" y="415"/>
                  </a:lnTo>
                  <a:lnTo>
                    <a:pt x="527" y="415"/>
                  </a:lnTo>
                  <a:lnTo>
                    <a:pt x="529" y="416"/>
                  </a:lnTo>
                  <a:lnTo>
                    <a:pt x="530" y="417"/>
                  </a:lnTo>
                  <a:lnTo>
                    <a:pt x="533" y="416"/>
                  </a:lnTo>
                  <a:lnTo>
                    <a:pt x="533" y="415"/>
                  </a:lnTo>
                  <a:lnTo>
                    <a:pt x="534" y="414"/>
                  </a:lnTo>
                  <a:lnTo>
                    <a:pt x="533" y="411"/>
                  </a:lnTo>
                  <a:lnTo>
                    <a:pt x="535" y="414"/>
                  </a:lnTo>
                  <a:lnTo>
                    <a:pt x="537" y="416"/>
                  </a:lnTo>
                  <a:lnTo>
                    <a:pt x="537" y="415"/>
                  </a:lnTo>
                  <a:lnTo>
                    <a:pt x="539" y="418"/>
                  </a:lnTo>
                  <a:lnTo>
                    <a:pt x="540" y="418"/>
                  </a:lnTo>
                  <a:lnTo>
                    <a:pt x="540" y="417"/>
                  </a:lnTo>
                  <a:lnTo>
                    <a:pt x="541" y="416"/>
                  </a:lnTo>
                  <a:lnTo>
                    <a:pt x="543" y="418"/>
                  </a:lnTo>
                  <a:lnTo>
                    <a:pt x="543" y="420"/>
                  </a:lnTo>
                  <a:lnTo>
                    <a:pt x="546" y="418"/>
                  </a:lnTo>
                  <a:lnTo>
                    <a:pt x="547" y="416"/>
                  </a:lnTo>
                  <a:lnTo>
                    <a:pt x="546" y="420"/>
                  </a:lnTo>
                  <a:lnTo>
                    <a:pt x="547" y="421"/>
                  </a:lnTo>
                  <a:lnTo>
                    <a:pt x="549" y="421"/>
                  </a:lnTo>
                  <a:lnTo>
                    <a:pt x="553" y="420"/>
                  </a:lnTo>
                  <a:lnTo>
                    <a:pt x="553" y="418"/>
                  </a:lnTo>
                  <a:lnTo>
                    <a:pt x="557" y="423"/>
                  </a:lnTo>
                  <a:lnTo>
                    <a:pt x="557" y="422"/>
                  </a:lnTo>
                  <a:lnTo>
                    <a:pt x="557" y="420"/>
                  </a:lnTo>
                  <a:lnTo>
                    <a:pt x="554" y="417"/>
                  </a:lnTo>
                  <a:lnTo>
                    <a:pt x="555" y="416"/>
                  </a:lnTo>
                  <a:lnTo>
                    <a:pt x="555" y="417"/>
                  </a:lnTo>
                  <a:lnTo>
                    <a:pt x="557" y="417"/>
                  </a:lnTo>
                  <a:lnTo>
                    <a:pt x="557" y="415"/>
                  </a:lnTo>
                  <a:lnTo>
                    <a:pt x="558" y="415"/>
                  </a:lnTo>
                  <a:lnTo>
                    <a:pt x="559" y="416"/>
                  </a:lnTo>
                  <a:lnTo>
                    <a:pt x="559" y="420"/>
                  </a:lnTo>
                  <a:lnTo>
                    <a:pt x="559" y="421"/>
                  </a:lnTo>
                  <a:lnTo>
                    <a:pt x="560" y="421"/>
                  </a:lnTo>
                  <a:lnTo>
                    <a:pt x="561" y="423"/>
                  </a:lnTo>
                  <a:lnTo>
                    <a:pt x="561" y="426"/>
                  </a:lnTo>
                  <a:lnTo>
                    <a:pt x="563" y="427"/>
                  </a:lnTo>
                  <a:lnTo>
                    <a:pt x="564" y="424"/>
                  </a:lnTo>
                  <a:lnTo>
                    <a:pt x="564" y="421"/>
                  </a:lnTo>
                  <a:lnTo>
                    <a:pt x="564" y="417"/>
                  </a:lnTo>
                  <a:lnTo>
                    <a:pt x="565" y="418"/>
                  </a:lnTo>
                  <a:lnTo>
                    <a:pt x="566" y="426"/>
                  </a:lnTo>
                  <a:lnTo>
                    <a:pt x="567" y="424"/>
                  </a:lnTo>
                  <a:lnTo>
                    <a:pt x="567" y="422"/>
                  </a:lnTo>
                  <a:lnTo>
                    <a:pt x="569" y="420"/>
                  </a:lnTo>
                  <a:lnTo>
                    <a:pt x="570" y="420"/>
                  </a:lnTo>
                  <a:lnTo>
                    <a:pt x="570" y="416"/>
                  </a:lnTo>
                  <a:lnTo>
                    <a:pt x="570" y="415"/>
                  </a:lnTo>
                  <a:lnTo>
                    <a:pt x="571" y="420"/>
                  </a:lnTo>
                  <a:lnTo>
                    <a:pt x="571" y="423"/>
                  </a:lnTo>
                  <a:lnTo>
                    <a:pt x="574" y="424"/>
                  </a:lnTo>
                  <a:lnTo>
                    <a:pt x="576" y="424"/>
                  </a:lnTo>
                  <a:lnTo>
                    <a:pt x="577" y="420"/>
                  </a:lnTo>
                  <a:lnTo>
                    <a:pt x="577" y="424"/>
                  </a:lnTo>
                  <a:lnTo>
                    <a:pt x="578" y="428"/>
                  </a:lnTo>
                  <a:lnTo>
                    <a:pt x="577" y="429"/>
                  </a:lnTo>
                  <a:lnTo>
                    <a:pt x="580" y="430"/>
                  </a:lnTo>
                  <a:lnTo>
                    <a:pt x="581" y="429"/>
                  </a:lnTo>
                  <a:lnTo>
                    <a:pt x="581" y="428"/>
                  </a:lnTo>
                  <a:lnTo>
                    <a:pt x="582" y="427"/>
                  </a:lnTo>
                  <a:lnTo>
                    <a:pt x="583" y="424"/>
                  </a:lnTo>
                  <a:lnTo>
                    <a:pt x="584" y="423"/>
                  </a:lnTo>
                  <a:lnTo>
                    <a:pt x="584" y="420"/>
                  </a:lnTo>
                  <a:lnTo>
                    <a:pt x="584" y="418"/>
                  </a:lnTo>
                  <a:lnTo>
                    <a:pt x="587" y="420"/>
                  </a:lnTo>
                  <a:lnTo>
                    <a:pt x="587" y="422"/>
                  </a:lnTo>
                  <a:lnTo>
                    <a:pt x="588" y="426"/>
                  </a:lnTo>
                  <a:lnTo>
                    <a:pt x="589" y="424"/>
                  </a:lnTo>
                  <a:lnTo>
                    <a:pt x="590" y="422"/>
                  </a:lnTo>
                  <a:lnTo>
                    <a:pt x="592" y="424"/>
                  </a:lnTo>
                  <a:lnTo>
                    <a:pt x="592" y="427"/>
                  </a:lnTo>
                  <a:lnTo>
                    <a:pt x="593" y="429"/>
                  </a:lnTo>
                  <a:lnTo>
                    <a:pt x="595" y="426"/>
                  </a:lnTo>
                  <a:lnTo>
                    <a:pt x="598" y="426"/>
                  </a:lnTo>
                  <a:lnTo>
                    <a:pt x="598" y="427"/>
                  </a:lnTo>
                  <a:lnTo>
                    <a:pt x="599" y="427"/>
                  </a:lnTo>
                  <a:lnTo>
                    <a:pt x="599" y="424"/>
                  </a:lnTo>
                  <a:lnTo>
                    <a:pt x="601" y="420"/>
                  </a:lnTo>
                  <a:lnTo>
                    <a:pt x="602" y="418"/>
                  </a:lnTo>
                  <a:lnTo>
                    <a:pt x="604" y="420"/>
                  </a:lnTo>
                  <a:lnTo>
                    <a:pt x="606" y="420"/>
                  </a:lnTo>
                  <a:lnTo>
                    <a:pt x="606" y="422"/>
                  </a:lnTo>
                  <a:lnTo>
                    <a:pt x="607" y="426"/>
                  </a:lnTo>
                  <a:lnTo>
                    <a:pt x="610" y="424"/>
                  </a:lnTo>
                  <a:lnTo>
                    <a:pt x="610" y="422"/>
                  </a:lnTo>
                  <a:lnTo>
                    <a:pt x="616" y="424"/>
                  </a:lnTo>
                  <a:lnTo>
                    <a:pt x="616" y="423"/>
                  </a:lnTo>
                  <a:lnTo>
                    <a:pt x="612" y="421"/>
                  </a:lnTo>
                  <a:lnTo>
                    <a:pt x="610" y="421"/>
                  </a:lnTo>
                  <a:lnTo>
                    <a:pt x="612" y="418"/>
                  </a:lnTo>
                  <a:lnTo>
                    <a:pt x="612" y="417"/>
                  </a:lnTo>
                  <a:lnTo>
                    <a:pt x="608" y="417"/>
                  </a:lnTo>
                  <a:lnTo>
                    <a:pt x="610" y="417"/>
                  </a:lnTo>
                  <a:lnTo>
                    <a:pt x="608" y="415"/>
                  </a:lnTo>
                  <a:lnTo>
                    <a:pt x="606" y="415"/>
                  </a:lnTo>
                  <a:lnTo>
                    <a:pt x="602" y="414"/>
                  </a:lnTo>
                  <a:lnTo>
                    <a:pt x="600" y="412"/>
                  </a:lnTo>
                  <a:lnTo>
                    <a:pt x="598" y="411"/>
                  </a:lnTo>
                  <a:lnTo>
                    <a:pt x="595" y="410"/>
                  </a:lnTo>
                  <a:lnTo>
                    <a:pt x="593" y="406"/>
                  </a:lnTo>
                  <a:lnTo>
                    <a:pt x="592" y="405"/>
                  </a:lnTo>
                  <a:lnTo>
                    <a:pt x="590" y="402"/>
                  </a:lnTo>
                  <a:lnTo>
                    <a:pt x="592" y="402"/>
                  </a:lnTo>
                  <a:lnTo>
                    <a:pt x="596" y="403"/>
                  </a:lnTo>
                  <a:lnTo>
                    <a:pt x="595" y="400"/>
                  </a:lnTo>
                  <a:lnTo>
                    <a:pt x="593" y="399"/>
                  </a:lnTo>
                  <a:lnTo>
                    <a:pt x="592" y="396"/>
                  </a:lnTo>
                  <a:lnTo>
                    <a:pt x="590" y="397"/>
                  </a:lnTo>
                  <a:lnTo>
                    <a:pt x="589" y="398"/>
                  </a:lnTo>
                  <a:lnTo>
                    <a:pt x="587" y="398"/>
                  </a:lnTo>
                  <a:lnTo>
                    <a:pt x="583" y="398"/>
                  </a:lnTo>
                  <a:lnTo>
                    <a:pt x="575" y="396"/>
                  </a:lnTo>
                  <a:lnTo>
                    <a:pt x="570" y="394"/>
                  </a:lnTo>
                  <a:lnTo>
                    <a:pt x="570" y="392"/>
                  </a:lnTo>
                  <a:lnTo>
                    <a:pt x="569" y="393"/>
                  </a:lnTo>
                  <a:lnTo>
                    <a:pt x="565" y="393"/>
                  </a:lnTo>
                  <a:lnTo>
                    <a:pt x="564" y="392"/>
                  </a:lnTo>
                  <a:lnTo>
                    <a:pt x="563" y="391"/>
                  </a:lnTo>
                  <a:lnTo>
                    <a:pt x="560" y="390"/>
                  </a:lnTo>
                  <a:lnTo>
                    <a:pt x="553" y="390"/>
                  </a:lnTo>
                  <a:lnTo>
                    <a:pt x="548" y="390"/>
                  </a:lnTo>
                  <a:lnTo>
                    <a:pt x="546" y="388"/>
                  </a:lnTo>
                  <a:lnTo>
                    <a:pt x="545" y="387"/>
                  </a:lnTo>
                  <a:lnTo>
                    <a:pt x="542" y="387"/>
                  </a:lnTo>
                  <a:lnTo>
                    <a:pt x="537" y="386"/>
                  </a:lnTo>
                  <a:lnTo>
                    <a:pt x="535" y="385"/>
                  </a:lnTo>
                  <a:lnTo>
                    <a:pt x="534" y="381"/>
                  </a:lnTo>
                  <a:lnTo>
                    <a:pt x="530" y="380"/>
                  </a:lnTo>
                  <a:lnTo>
                    <a:pt x="528" y="380"/>
                  </a:lnTo>
                  <a:lnTo>
                    <a:pt x="523" y="378"/>
                  </a:lnTo>
                  <a:lnTo>
                    <a:pt x="521" y="378"/>
                  </a:lnTo>
                  <a:lnTo>
                    <a:pt x="518" y="378"/>
                  </a:lnTo>
                  <a:lnTo>
                    <a:pt x="513" y="378"/>
                  </a:lnTo>
                  <a:lnTo>
                    <a:pt x="515" y="375"/>
                  </a:lnTo>
                  <a:lnTo>
                    <a:pt x="511" y="376"/>
                  </a:lnTo>
                  <a:lnTo>
                    <a:pt x="509" y="378"/>
                  </a:lnTo>
                  <a:lnTo>
                    <a:pt x="502" y="378"/>
                  </a:lnTo>
                  <a:lnTo>
                    <a:pt x="501" y="376"/>
                  </a:lnTo>
                  <a:lnTo>
                    <a:pt x="495" y="375"/>
                  </a:lnTo>
                  <a:lnTo>
                    <a:pt x="492" y="374"/>
                  </a:lnTo>
                  <a:lnTo>
                    <a:pt x="487" y="374"/>
                  </a:lnTo>
                  <a:lnTo>
                    <a:pt x="482" y="371"/>
                  </a:lnTo>
                  <a:lnTo>
                    <a:pt x="476" y="371"/>
                  </a:lnTo>
                  <a:lnTo>
                    <a:pt x="472" y="369"/>
                  </a:lnTo>
                  <a:lnTo>
                    <a:pt x="469" y="368"/>
                  </a:lnTo>
                  <a:lnTo>
                    <a:pt x="470" y="369"/>
                  </a:lnTo>
                  <a:lnTo>
                    <a:pt x="468" y="371"/>
                  </a:lnTo>
                  <a:lnTo>
                    <a:pt x="465" y="371"/>
                  </a:lnTo>
                  <a:lnTo>
                    <a:pt x="463" y="370"/>
                  </a:lnTo>
                  <a:lnTo>
                    <a:pt x="459" y="369"/>
                  </a:lnTo>
                  <a:lnTo>
                    <a:pt x="457" y="368"/>
                  </a:lnTo>
                  <a:lnTo>
                    <a:pt x="453" y="369"/>
                  </a:lnTo>
                  <a:lnTo>
                    <a:pt x="452" y="370"/>
                  </a:lnTo>
                  <a:lnTo>
                    <a:pt x="448" y="368"/>
                  </a:lnTo>
                  <a:lnTo>
                    <a:pt x="446" y="367"/>
                  </a:lnTo>
                  <a:lnTo>
                    <a:pt x="442" y="365"/>
                  </a:lnTo>
                  <a:lnTo>
                    <a:pt x="437" y="367"/>
                  </a:lnTo>
                  <a:lnTo>
                    <a:pt x="437" y="364"/>
                  </a:lnTo>
                  <a:lnTo>
                    <a:pt x="436" y="362"/>
                  </a:lnTo>
                  <a:lnTo>
                    <a:pt x="433" y="361"/>
                  </a:lnTo>
                  <a:lnTo>
                    <a:pt x="430" y="359"/>
                  </a:lnTo>
                  <a:lnTo>
                    <a:pt x="428" y="357"/>
                  </a:lnTo>
                  <a:lnTo>
                    <a:pt x="424" y="355"/>
                  </a:lnTo>
                  <a:lnTo>
                    <a:pt x="419" y="351"/>
                  </a:lnTo>
                  <a:lnTo>
                    <a:pt x="417" y="349"/>
                  </a:lnTo>
                  <a:lnTo>
                    <a:pt x="417" y="339"/>
                  </a:lnTo>
                  <a:lnTo>
                    <a:pt x="418" y="337"/>
                  </a:lnTo>
                  <a:lnTo>
                    <a:pt x="418" y="335"/>
                  </a:lnTo>
                  <a:lnTo>
                    <a:pt x="419" y="340"/>
                  </a:lnTo>
                  <a:lnTo>
                    <a:pt x="421" y="340"/>
                  </a:lnTo>
                  <a:lnTo>
                    <a:pt x="423" y="339"/>
                  </a:lnTo>
                  <a:lnTo>
                    <a:pt x="422" y="335"/>
                  </a:lnTo>
                  <a:lnTo>
                    <a:pt x="423" y="334"/>
                  </a:lnTo>
                  <a:lnTo>
                    <a:pt x="424" y="337"/>
                  </a:lnTo>
                  <a:lnTo>
                    <a:pt x="423" y="340"/>
                  </a:lnTo>
                  <a:lnTo>
                    <a:pt x="423" y="344"/>
                  </a:lnTo>
                  <a:lnTo>
                    <a:pt x="422" y="346"/>
                  </a:lnTo>
                  <a:lnTo>
                    <a:pt x="422" y="349"/>
                  </a:lnTo>
                  <a:lnTo>
                    <a:pt x="423" y="350"/>
                  </a:lnTo>
                  <a:lnTo>
                    <a:pt x="424" y="351"/>
                  </a:lnTo>
                  <a:lnTo>
                    <a:pt x="427" y="353"/>
                  </a:lnTo>
                  <a:lnTo>
                    <a:pt x="428" y="355"/>
                  </a:lnTo>
                  <a:lnTo>
                    <a:pt x="430" y="357"/>
                  </a:lnTo>
                  <a:lnTo>
                    <a:pt x="431" y="356"/>
                  </a:lnTo>
                  <a:lnTo>
                    <a:pt x="433" y="358"/>
                  </a:lnTo>
                  <a:lnTo>
                    <a:pt x="434" y="358"/>
                  </a:lnTo>
                  <a:lnTo>
                    <a:pt x="436" y="358"/>
                  </a:lnTo>
                  <a:lnTo>
                    <a:pt x="437" y="361"/>
                  </a:lnTo>
                  <a:lnTo>
                    <a:pt x="439" y="359"/>
                  </a:lnTo>
                  <a:lnTo>
                    <a:pt x="439" y="357"/>
                  </a:lnTo>
                  <a:lnTo>
                    <a:pt x="436" y="355"/>
                  </a:lnTo>
                  <a:lnTo>
                    <a:pt x="436" y="353"/>
                  </a:lnTo>
                  <a:lnTo>
                    <a:pt x="436" y="349"/>
                  </a:lnTo>
                  <a:lnTo>
                    <a:pt x="435" y="345"/>
                  </a:lnTo>
                  <a:lnTo>
                    <a:pt x="436" y="341"/>
                  </a:lnTo>
                  <a:lnTo>
                    <a:pt x="436" y="338"/>
                  </a:lnTo>
                  <a:lnTo>
                    <a:pt x="437" y="338"/>
                  </a:lnTo>
                  <a:lnTo>
                    <a:pt x="437" y="339"/>
                  </a:lnTo>
                  <a:lnTo>
                    <a:pt x="436" y="343"/>
                  </a:lnTo>
                  <a:lnTo>
                    <a:pt x="439" y="343"/>
                  </a:lnTo>
                  <a:lnTo>
                    <a:pt x="440" y="344"/>
                  </a:lnTo>
                  <a:lnTo>
                    <a:pt x="437" y="346"/>
                  </a:lnTo>
                  <a:lnTo>
                    <a:pt x="439" y="347"/>
                  </a:lnTo>
                  <a:lnTo>
                    <a:pt x="440" y="347"/>
                  </a:lnTo>
                  <a:lnTo>
                    <a:pt x="441" y="345"/>
                  </a:lnTo>
                  <a:lnTo>
                    <a:pt x="441" y="343"/>
                  </a:lnTo>
                  <a:lnTo>
                    <a:pt x="441" y="340"/>
                  </a:lnTo>
                  <a:lnTo>
                    <a:pt x="443" y="340"/>
                  </a:lnTo>
                  <a:lnTo>
                    <a:pt x="443" y="345"/>
                  </a:lnTo>
                  <a:lnTo>
                    <a:pt x="443" y="347"/>
                  </a:lnTo>
                  <a:lnTo>
                    <a:pt x="445" y="349"/>
                  </a:lnTo>
                  <a:lnTo>
                    <a:pt x="446" y="349"/>
                  </a:lnTo>
                  <a:lnTo>
                    <a:pt x="448" y="347"/>
                  </a:lnTo>
                  <a:lnTo>
                    <a:pt x="448" y="349"/>
                  </a:lnTo>
                  <a:lnTo>
                    <a:pt x="448" y="351"/>
                  </a:lnTo>
                  <a:lnTo>
                    <a:pt x="450" y="352"/>
                  </a:lnTo>
                  <a:lnTo>
                    <a:pt x="451" y="351"/>
                  </a:lnTo>
                  <a:lnTo>
                    <a:pt x="451" y="353"/>
                  </a:lnTo>
                  <a:lnTo>
                    <a:pt x="452" y="353"/>
                  </a:lnTo>
                  <a:lnTo>
                    <a:pt x="453" y="352"/>
                  </a:lnTo>
                  <a:lnTo>
                    <a:pt x="454" y="350"/>
                  </a:lnTo>
                  <a:lnTo>
                    <a:pt x="456" y="349"/>
                  </a:lnTo>
                  <a:lnTo>
                    <a:pt x="454" y="353"/>
                  </a:lnTo>
                  <a:lnTo>
                    <a:pt x="454" y="358"/>
                  </a:lnTo>
                  <a:lnTo>
                    <a:pt x="456" y="358"/>
                  </a:lnTo>
                  <a:lnTo>
                    <a:pt x="457" y="356"/>
                  </a:lnTo>
                  <a:lnTo>
                    <a:pt x="457" y="353"/>
                  </a:lnTo>
                  <a:lnTo>
                    <a:pt x="457" y="350"/>
                  </a:lnTo>
                  <a:lnTo>
                    <a:pt x="459" y="349"/>
                  </a:lnTo>
                  <a:lnTo>
                    <a:pt x="458" y="353"/>
                  </a:lnTo>
                  <a:lnTo>
                    <a:pt x="458" y="358"/>
                  </a:lnTo>
                  <a:lnTo>
                    <a:pt x="458" y="359"/>
                  </a:lnTo>
                  <a:lnTo>
                    <a:pt x="459" y="359"/>
                  </a:lnTo>
                  <a:lnTo>
                    <a:pt x="459" y="358"/>
                  </a:lnTo>
                  <a:lnTo>
                    <a:pt x="460" y="359"/>
                  </a:lnTo>
                  <a:lnTo>
                    <a:pt x="460" y="362"/>
                  </a:lnTo>
                  <a:lnTo>
                    <a:pt x="462" y="364"/>
                  </a:lnTo>
                  <a:lnTo>
                    <a:pt x="463" y="364"/>
                  </a:lnTo>
                  <a:lnTo>
                    <a:pt x="463" y="359"/>
                  </a:lnTo>
                  <a:lnTo>
                    <a:pt x="463" y="358"/>
                  </a:lnTo>
                  <a:lnTo>
                    <a:pt x="465" y="357"/>
                  </a:lnTo>
                  <a:lnTo>
                    <a:pt x="468" y="356"/>
                  </a:lnTo>
                  <a:lnTo>
                    <a:pt x="469" y="355"/>
                  </a:lnTo>
                  <a:lnTo>
                    <a:pt x="465" y="351"/>
                  </a:lnTo>
                  <a:lnTo>
                    <a:pt x="464" y="347"/>
                  </a:lnTo>
                  <a:lnTo>
                    <a:pt x="464" y="346"/>
                  </a:lnTo>
                  <a:lnTo>
                    <a:pt x="466" y="346"/>
                  </a:lnTo>
                  <a:lnTo>
                    <a:pt x="465" y="347"/>
                  </a:lnTo>
                  <a:lnTo>
                    <a:pt x="466" y="349"/>
                  </a:lnTo>
                  <a:lnTo>
                    <a:pt x="470" y="347"/>
                  </a:lnTo>
                  <a:lnTo>
                    <a:pt x="471" y="346"/>
                  </a:lnTo>
                  <a:lnTo>
                    <a:pt x="471" y="343"/>
                  </a:lnTo>
                  <a:lnTo>
                    <a:pt x="471" y="341"/>
                  </a:lnTo>
                  <a:lnTo>
                    <a:pt x="472" y="343"/>
                  </a:lnTo>
                  <a:lnTo>
                    <a:pt x="474" y="345"/>
                  </a:lnTo>
                  <a:lnTo>
                    <a:pt x="475" y="344"/>
                  </a:lnTo>
                  <a:lnTo>
                    <a:pt x="475" y="341"/>
                  </a:lnTo>
                  <a:lnTo>
                    <a:pt x="477" y="340"/>
                  </a:lnTo>
                  <a:lnTo>
                    <a:pt x="477" y="339"/>
                  </a:lnTo>
                  <a:lnTo>
                    <a:pt x="476" y="335"/>
                  </a:lnTo>
                  <a:lnTo>
                    <a:pt x="480" y="337"/>
                  </a:lnTo>
                  <a:lnTo>
                    <a:pt x="481" y="334"/>
                  </a:lnTo>
                  <a:lnTo>
                    <a:pt x="480" y="326"/>
                  </a:lnTo>
                  <a:lnTo>
                    <a:pt x="481" y="321"/>
                  </a:lnTo>
                  <a:lnTo>
                    <a:pt x="481" y="320"/>
                  </a:lnTo>
                  <a:lnTo>
                    <a:pt x="482" y="323"/>
                  </a:lnTo>
                  <a:lnTo>
                    <a:pt x="483" y="323"/>
                  </a:lnTo>
                  <a:lnTo>
                    <a:pt x="483" y="320"/>
                  </a:lnTo>
                  <a:lnTo>
                    <a:pt x="483" y="317"/>
                  </a:lnTo>
                  <a:lnTo>
                    <a:pt x="484" y="319"/>
                  </a:lnTo>
                  <a:lnTo>
                    <a:pt x="486" y="317"/>
                  </a:lnTo>
                  <a:lnTo>
                    <a:pt x="488" y="317"/>
                  </a:lnTo>
                  <a:lnTo>
                    <a:pt x="489" y="319"/>
                  </a:lnTo>
                  <a:lnTo>
                    <a:pt x="490" y="321"/>
                  </a:lnTo>
                  <a:lnTo>
                    <a:pt x="490" y="325"/>
                  </a:lnTo>
                  <a:lnTo>
                    <a:pt x="490" y="326"/>
                  </a:lnTo>
                  <a:lnTo>
                    <a:pt x="492" y="326"/>
                  </a:lnTo>
                  <a:lnTo>
                    <a:pt x="492" y="328"/>
                  </a:lnTo>
                  <a:lnTo>
                    <a:pt x="493" y="326"/>
                  </a:lnTo>
                  <a:lnTo>
                    <a:pt x="493" y="320"/>
                  </a:lnTo>
                  <a:lnTo>
                    <a:pt x="492" y="317"/>
                  </a:lnTo>
                  <a:lnTo>
                    <a:pt x="493" y="315"/>
                  </a:lnTo>
                  <a:lnTo>
                    <a:pt x="495" y="313"/>
                  </a:lnTo>
                  <a:lnTo>
                    <a:pt x="495" y="310"/>
                  </a:lnTo>
                  <a:lnTo>
                    <a:pt x="494" y="307"/>
                  </a:lnTo>
                  <a:lnTo>
                    <a:pt x="495" y="303"/>
                  </a:lnTo>
                  <a:lnTo>
                    <a:pt x="496" y="301"/>
                  </a:lnTo>
                  <a:lnTo>
                    <a:pt x="498" y="304"/>
                  </a:lnTo>
                  <a:lnTo>
                    <a:pt x="501" y="303"/>
                  </a:lnTo>
                  <a:lnTo>
                    <a:pt x="502" y="305"/>
                  </a:lnTo>
                  <a:lnTo>
                    <a:pt x="504" y="304"/>
                  </a:lnTo>
                  <a:lnTo>
                    <a:pt x="505" y="303"/>
                  </a:lnTo>
                  <a:lnTo>
                    <a:pt x="505" y="310"/>
                  </a:lnTo>
                  <a:lnTo>
                    <a:pt x="506" y="311"/>
                  </a:lnTo>
                  <a:lnTo>
                    <a:pt x="509" y="311"/>
                  </a:lnTo>
                  <a:lnTo>
                    <a:pt x="509" y="309"/>
                  </a:lnTo>
                  <a:lnTo>
                    <a:pt x="507" y="304"/>
                  </a:lnTo>
                  <a:lnTo>
                    <a:pt x="507" y="299"/>
                  </a:lnTo>
                  <a:lnTo>
                    <a:pt x="509" y="298"/>
                  </a:lnTo>
                  <a:lnTo>
                    <a:pt x="510" y="297"/>
                  </a:lnTo>
                  <a:lnTo>
                    <a:pt x="510" y="293"/>
                  </a:lnTo>
                  <a:lnTo>
                    <a:pt x="512" y="295"/>
                  </a:lnTo>
                  <a:lnTo>
                    <a:pt x="512" y="292"/>
                  </a:lnTo>
                  <a:lnTo>
                    <a:pt x="512" y="289"/>
                  </a:lnTo>
                  <a:lnTo>
                    <a:pt x="513" y="289"/>
                  </a:lnTo>
                  <a:lnTo>
                    <a:pt x="515" y="291"/>
                  </a:lnTo>
                  <a:lnTo>
                    <a:pt x="518" y="291"/>
                  </a:lnTo>
                  <a:lnTo>
                    <a:pt x="519" y="289"/>
                  </a:lnTo>
                  <a:lnTo>
                    <a:pt x="521" y="286"/>
                  </a:lnTo>
                  <a:lnTo>
                    <a:pt x="519" y="284"/>
                  </a:lnTo>
                  <a:lnTo>
                    <a:pt x="519" y="280"/>
                  </a:lnTo>
                  <a:lnTo>
                    <a:pt x="519" y="279"/>
                  </a:lnTo>
                  <a:lnTo>
                    <a:pt x="521" y="279"/>
                  </a:lnTo>
                  <a:lnTo>
                    <a:pt x="523" y="280"/>
                  </a:lnTo>
                  <a:lnTo>
                    <a:pt x="523" y="279"/>
                  </a:lnTo>
                  <a:lnTo>
                    <a:pt x="521" y="278"/>
                  </a:lnTo>
                  <a:lnTo>
                    <a:pt x="521" y="275"/>
                  </a:lnTo>
                  <a:lnTo>
                    <a:pt x="518" y="274"/>
                  </a:lnTo>
                  <a:lnTo>
                    <a:pt x="516" y="274"/>
                  </a:lnTo>
                  <a:lnTo>
                    <a:pt x="515" y="273"/>
                  </a:lnTo>
                  <a:lnTo>
                    <a:pt x="516" y="272"/>
                  </a:lnTo>
                  <a:lnTo>
                    <a:pt x="518" y="272"/>
                  </a:lnTo>
                  <a:lnTo>
                    <a:pt x="521" y="272"/>
                  </a:lnTo>
                  <a:lnTo>
                    <a:pt x="522" y="274"/>
                  </a:lnTo>
                  <a:lnTo>
                    <a:pt x="523" y="277"/>
                  </a:lnTo>
                  <a:lnTo>
                    <a:pt x="523" y="278"/>
                  </a:lnTo>
                  <a:lnTo>
                    <a:pt x="523" y="277"/>
                  </a:lnTo>
                  <a:lnTo>
                    <a:pt x="524" y="275"/>
                  </a:lnTo>
                  <a:lnTo>
                    <a:pt x="525" y="278"/>
                  </a:lnTo>
                  <a:lnTo>
                    <a:pt x="525" y="277"/>
                  </a:lnTo>
                  <a:lnTo>
                    <a:pt x="525" y="275"/>
                  </a:lnTo>
                  <a:lnTo>
                    <a:pt x="524" y="273"/>
                  </a:lnTo>
                  <a:lnTo>
                    <a:pt x="527" y="272"/>
                  </a:lnTo>
                  <a:lnTo>
                    <a:pt x="528" y="272"/>
                  </a:lnTo>
                  <a:lnTo>
                    <a:pt x="529" y="271"/>
                  </a:lnTo>
                  <a:lnTo>
                    <a:pt x="530" y="269"/>
                  </a:lnTo>
                  <a:lnTo>
                    <a:pt x="528" y="269"/>
                  </a:lnTo>
                  <a:lnTo>
                    <a:pt x="527" y="269"/>
                  </a:lnTo>
                  <a:lnTo>
                    <a:pt x="525" y="269"/>
                  </a:lnTo>
                  <a:lnTo>
                    <a:pt x="524" y="269"/>
                  </a:lnTo>
                  <a:lnTo>
                    <a:pt x="523" y="268"/>
                  </a:lnTo>
                  <a:lnTo>
                    <a:pt x="522" y="267"/>
                  </a:lnTo>
                  <a:lnTo>
                    <a:pt x="525" y="266"/>
                  </a:lnTo>
                  <a:lnTo>
                    <a:pt x="527" y="264"/>
                  </a:lnTo>
                  <a:lnTo>
                    <a:pt x="523" y="263"/>
                  </a:lnTo>
                  <a:lnTo>
                    <a:pt x="527" y="262"/>
                  </a:lnTo>
                  <a:lnTo>
                    <a:pt x="528" y="261"/>
                  </a:lnTo>
                  <a:lnTo>
                    <a:pt x="530" y="262"/>
                  </a:lnTo>
                  <a:lnTo>
                    <a:pt x="530" y="260"/>
                  </a:lnTo>
                  <a:lnTo>
                    <a:pt x="531" y="260"/>
                  </a:lnTo>
                  <a:lnTo>
                    <a:pt x="533" y="261"/>
                  </a:lnTo>
                  <a:lnTo>
                    <a:pt x="534" y="261"/>
                  </a:lnTo>
                  <a:lnTo>
                    <a:pt x="535" y="261"/>
                  </a:lnTo>
                  <a:lnTo>
                    <a:pt x="534" y="260"/>
                  </a:lnTo>
                  <a:lnTo>
                    <a:pt x="533" y="258"/>
                  </a:lnTo>
                  <a:lnTo>
                    <a:pt x="535" y="257"/>
                  </a:lnTo>
                  <a:lnTo>
                    <a:pt x="536" y="258"/>
                  </a:lnTo>
                  <a:lnTo>
                    <a:pt x="539" y="260"/>
                  </a:lnTo>
                  <a:lnTo>
                    <a:pt x="540" y="258"/>
                  </a:lnTo>
                  <a:lnTo>
                    <a:pt x="536" y="256"/>
                  </a:lnTo>
                  <a:lnTo>
                    <a:pt x="535" y="255"/>
                  </a:lnTo>
                  <a:lnTo>
                    <a:pt x="540" y="255"/>
                  </a:lnTo>
                  <a:lnTo>
                    <a:pt x="541" y="254"/>
                  </a:lnTo>
                  <a:lnTo>
                    <a:pt x="535" y="254"/>
                  </a:lnTo>
                  <a:lnTo>
                    <a:pt x="534" y="254"/>
                  </a:lnTo>
                  <a:lnTo>
                    <a:pt x="533" y="252"/>
                  </a:lnTo>
                  <a:lnTo>
                    <a:pt x="533" y="251"/>
                  </a:lnTo>
                  <a:lnTo>
                    <a:pt x="531" y="250"/>
                  </a:lnTo>
                  <a:lnTo>
                    <a:pt x="530" y="255"/>
                  </a:lnTo>
                  <a:lnTo>
                    <a:pt x="529" y="255"/>
                  </a:lnTo>
                  <a:lnTo>
                    <a:pt x="528" y="256"/>
                  </a:lnTo>
                  <a:lnTo>
                    <a:pt x="528" y="257"/>
                  </a:lnTo>
                  <a:lnTo>
                    <a:pt x="527" y="257"/>
                  </a:lnTo>
                  <a:lnTo>
                    <a:pt x="525" y="258"/>
                  </a:lnTo>
                  <a:lnTo>
                    <a:pt x="524" y="258"/>
                  </a:lnTo>
                  <a:lnTo>
                    <a:pt x="523" y="257"/>
                  </a:lnTo>
                  <a:lnTo>
                    <a:pt x="523" y="255"/>
                  </a:lnTo>
                  <a:lnTo>
                    <a:pt x="522" y="255"/>
                  </a:lnTo>
                  <a:lnTo>
                    <a:pt x="522" y="256"/>
                  </a:lnTo>
                  <a:lnTo>
                    <a:pt x="522" y="257"/>
                  </a:lnTo>
                  <a:lnTo>
                    <a:pt x="519" y="258"/>
                  </a:lnTo>
                  <a:lnTo>
                    <a:pt x="519" y="260"/>
                  </a:lnTo>
                  <a:lnTo>
                    <a:pt x="521" y="262"/>
                  </a:lnTo>
                  <a:lnTo>
                    <a:pt x="519" y="262"/>
                  </a:lnTo>
                  <a:lnTo>
                    <a:pt x="518" y="263"/>
                  </a:lnTo>
                  <a:lnTo>
                    <a:pt x="518" y="262"/>
                  </a:lnTo>
                  <a:lnTo>
                    <a:pt x="517" y="260"/>
                  </a:lnTo>
                  <a:lnTo>
                    <a:pt x="516" y="260"/>
                  </a:lnTo>
                  <a:lnTo>
                    <a:pt x="515" y="260"/>
                  </a:lnTo>
                  <a:lnTo>
                    <a:pt x="513" y="260"/>
                  </a:lnTo>
                  <a:lnTo>
                    <a:pt x="511" y="260"/>
                  </a:lnTo>
                  <a:lnTo>
                    <a:pt x="511" y="258"/>
                  </a:lnTo>
                  <a:lnTo>
                    <a:pt x="512" y="257"/>
                  </a:lnTo>
                  <a:lnTo>
                    <a:pt x="513" y="257"/>
                  </a:lnTo>
                  <a:lnTo>
                    <a:pt x="515" y="256"/>
                  </a:lnTo>
                  <a:lnTo>
                    <a:pt x="516" y="255"/>
                  </a:lnTo>
                  <a:lnTo>
                    <a:pt x="516" y="254"/>
                  </a:lnTo>
                  <a:lnTo>
                    <a:pt x="518" y="252"/>
                  </a:lnTo>
                  <a:lnTo>
                    <a:pt x="519" y="252"/>
                  </a:lnTo>
                  <a:lnTo>
                    <a:pt x="521" y="252"/>
                  </a:lnTo>
                  <a:lnTo>
                    <a:pt x="519" y="251"/>
                  </a:lnTo>
                  <a:lnTo>
                    <a:pt x="521" y="250"/>
                  </a:lnTo>
                  <a:lnTo>
                    <a:pt x="522" y="251"/>
                  </a:lnTo>
                  <a:lnTo>
                    <a:pt x="523" y="251"/>
                  </a:lnTo>
                  <a:lnTo>
                    <a:pt x="522" y="252"/>
                  </a:lnTo>
                  <a:lnTo>
                    <a:pt x="522" y="254"/>
                  </a:lnTo>
                  <a:lnTo>
                    <a:pt x="523" y="254"/>
                  </a:lnTo>
                  <a:lnTo>
                    <a:pt x="524" y="252"/>
                  </a:lnTo>
                  <a:lnTo>
                    <a:pt x="524" y="251"/>
                  </a:lnTo>
                  <a:lnTo>
                    <a:pt x="525" y="251"/>
                  </a:lnTo>
                  <a:lnTo>
                    <a:pt x="527" y="252"/>
                  </a:lnTo>
                  <a:lnTo>
                    <a:pt x="527" y="251"/>
                  </a:lnTo>
                  <a:lnTo>
                    <a:pt x="524" y="250"/>
                  </a:lnTo>
                  <a:lnTo>
                    <a:pt x="523" y="249"/>
                  </a:lnTo>
                  <a:lnTo>
                    <a:pt x="525" y="248"/>
                  </a:lnTo>
                  <a:lnTo>
                    <a:pt x="528" y="248"/>
                  </a:lnTo>
                  <a:lnTo>
                    <a:pt x="528" y="246"/>
                  </a:lnTo>
                  <a:lnTo>
                    <a:pt x="530" y="246"/>
                  </a:lnTo>
                  <a:lnTo>
                    <a:pt x="524" y="246"/>
                  </a:lnTo>
                  <a:lnTo>
                    <a:pt x="522" y="248"/>
                  </a:lnTo>
                  <a:lnTo>
                    <a:pt x="517" y="249"/>
                  </a:lnTo>
                  <a:lnTo>
                    <a:pt x="515" y="251"/>
                  </a:lnTo>
                  <a:lnTo>
                    <a:pt x="515" y="254"/>
                  </a:lnTo>
                  <a:lnTo>
                    <a:pt x="513" y="255"/>
                  </a:lnTo>
                  <a:lnTo>
                    <a:pt x="511" y="255"/>
                  </a:lnTo>
                  <a:lnTo>
                    <a:pt x="510" y="252"/>
                  </a:lnTo>
                  <a:lnTo>
                    <a:pt x="510" y="251"/>
                  </a:lnTo>
                  <a:lnTo>
                    <a:pt x="513" y="251"/>
                  </a:lnTo>
                  <a:lnTo>
                    <a:pt x="509" y="251"/>
                  </a:lnTo>
                  <a:lnTo>
                    <a:pt x="509" y="248"/>
                  </a:lnTo>
                  <a:lnTo>
                    <a:pt x="507" y="249"/>
                  </a:lnTo>
                  <a:lnTo>
                    <a:pt x="507" y="251"/>
                  </a:lnTo>
                  <a:lnTo>
                    <a:pt x="507" y="252"/>
                  </a:lnTo>
                  <a:lnTo>
                    <a:pt x="507" y="256"/>
                  </a:lnTo>
                  <a:lnTo>
                    <a:pt x="505" y="258"/>
                  </a:lnTo>
                  <a:lnTo>
                    <a:pt x="502" y="260"/>
                  </a:lnTo>
                  <a:lnTo>
                    <a:pt x="500" y="260"/>
                  </a:lnTo>
                  <a:lnTo>
                    <a:pt x="500" y="261"/>
                  </a:lnTo>
                  <a:lnTo>
                    <a:pt x="498" y="261"/>
                  </a:lnTo>
                  <a:lnTo>
                    <a:pt x="498" y="260"/>
                  </a:lnTo>
                  <a:lnTo>
                    <a:pt x="498" y="257"/>
                  </a:lnTo>
                  <a:lnTo>
                    <a:pt x="496" y="257"/>
                  </a:lnTo>
                  <a:lnTo>
                    <a:pt x="495" y="258"/>
                  </a:lnTo>
                  <a:lnTo>
                    <a:pt x="494" y="258"/>
                  </a:lnTo>
                  <a:lnTo>
                    <a:pt x="494" y="256"/>
                  </a:lnTo>
                  <a:lnTo>
                    <a:pt x="494" y="255"/>
                  </a:lnTo>
                  <a:lnTo>
                    <a:pt x="493" y="257"/>
                  </a:lnTo>
                  <a:lnTo>
                    <a:pt x="492" y="256"/>
                  </a:lnTo>
                  <a:lnTo>
                    <a:pt x="489" y="255"/>
                  </a:lnTo>
                  <a:lnTo>
                    <a:pt x="488" y="252"/>
                  </a:lnTo>
                  <a:lnTo>
                    <a:pt x="489" y="251"/>
                  </a:lnTo>
                  <a:lnTo>
                    <a:pt x="490" y="251"/>
                  </a:lnTo>
                  <a:lnTo>
                    <a:pt x="492" y="251"/>
                  </a:lnTo>
                  <a:lnTo>
                    <a:pt x="493" y="250"/>
                  </a:lnTo>
                  <a:lnTo>
                    <a:pt x="493" y="249"/>
                  </a:lnTo>
                  <a:lnTo>
                    <a:pt x="494" y="248"/>
                  </a:lnTo>
                  <a:lnTo>
                    <a:pt x="495" y="246"/>
                  </a:lnTo>
                  <a:lnTo>
                    <a:pt x="498" y="245"/>
                  </a:lnTo>
                  <a:lnTo>
                    <a:pt x="499" y="245"/>
                  </a:lnTo>
                  <a:lnTo>
                    <a:pt x="500" y="245"/>
                  </a:lnTo>
                  <a:lnTo>
                    <a:pt x="500" y="243"/>
                  </a:lnTo>
                  <a:lnTo>
                    <a:pt x="501" y="243"/>
                  </a:lnTo>
                  <a:lnTo>
                    <a:pt x="504" y="244"/>
                  </a:lnTo>
                  <a:lnTo>
                    <a:pt x="506" y="244"/>
                  </a:lnTo>
                  <a:lnTo>
                    <a:pt x="506" y="243"/>
                  </a:lnTo>
                  <a:lnTo>
                    <a:pt x="502" y="242"/>
                  </a:lnTo>
                  <a:lnTo>
                    <a:pt x="502" y="240"/>
                  </a:lnTo>
                  <a:lnTo>
                    <a:pt x="501" y="240"/>
                  </a:lnTo>
                  <a:lnTo>
                    <a:pt x="504" y="239"/>
                  </a:lnTo>
                  <a:lnTo>
                    <a:pt x="501" y="239"/>
                  </a:lnTo>
                  <a:lnTo>
                    <a:pt x="500" y="238"/>
                  </a:lnTo>
                  <a:lnTo>
                    <a:pt x="501" y="237"/>
                  </a:lnTo>
                  <a:lnTo>
                    <a:pt x="502" y="234"/>
                  </a:lnTo>
                  <a:lnTo>
                    <a:pt x="502" y="233"/>
                  </a:lnTo>
                  <a:lnTo>
                    <a:pt x="499" y="238"/>
                  </a:lnTo>
                  <a:lnTo>
                    <a:pt x="498" y="238"/>
                  </a:lnTo>
                  <a:lnTo>
                    <a:pt x="498" y="237"/>
                  </a:lnTo>
                  <a:lnTo>
                    <a:pt x="496" y="238"/>
                  </a:lnTo>
                  <a:lnTo>
                    <a:pt x="495" y="239"/>
                  </a:lnTo>
                  <a:lnTo>
                    <a:pt x="494" y="239"/>
                  </a:lnTo>
                  <a:lnTo>
                    <a:pt x="493" y="242"/>
                  </a:lnTo>
                  <a:lnTo>
                    <a:pt x="492" y="243"/>
                  </a:lnTo>
                  <a:lnTo>
                    <a:pt x="490" y="243"/>
                  </a:lnTo>
                  <a:lnTo>
                    <a:pt x="489" y="242"/>
                  </a:lnTo>
                  <a:lnTo>
                    <a:pt x="488" y="240"/>
                  </a:lnTo>
                  <a:lnTo>
                    <a:pt x="487" y="242"/>
                  </a:lnTo>
                  <a:lnTo>
                    <a:pt x="486" y="244"/>
                  </a:lnTo>
                  <a:lnTo>
                    <a:pt x="484" y="244"/>
                  </a:lnTo>
                  <a:lnTo>
                    <a:pt x="483" y="243"/>
                  </a:lnTo>
                  <a:lnTo>
                    <a:pt x="482" y="243"/>
                  </a:lnTo>
                  <a:lnTo>
                    <a:pt x="482" y="245"/>
                  </a:lnTo>
                  <a:lnTo>
                    <a:pt x="481" y="248"/>
                  </a:lnTo>
                  <a:lnTo>
                    <a:pt x="478" y="248"/>
                  </a:lnTo>
                  <a:lnTo>
                    <a:pt x="474" y="245"/>
                  </a:lnTo>
                  <a:lnTo>
                    <a:pt x="472" y="244"/>
                  </a:lnTo>
                  <a:lnTo>
                    <a:pt x="470" y="242"/>
                  </a:lnTo>
                  <a:lnTo>
                    <a:pt x="469" y="239"/>
                  </a:lnTo>
                  <a:lnTo>
                    <a:pt x="468" y="237"/>
                  </a:lnTo>
                  <a:lnTo>
                    <a:pt x="469" y="237"/>
                  </a:lnTo>
                  <a:lnTo>
                    <a:pt x="470" y="236"/>
                  </a:lnTo>
                  <a:lnTo>
                    <a:pt x="468" y="234"/>
                  </a:lnTo>
                  <a:lnTo>
                    <a:pt x="466" y="234"/>
                  </a:lnTo>
                  <a:lnTo>
                    <a:pt x="466" y="233"/>
                  </a:lnTo>
                  <a:lnTo>
                    <a:pt x="470" y="233"/>
                  </a:lnTo>
                  <a:lnTo>
                    <a:pt x="471" y="233"/>
                  </a:lnTo>
                  <a:lnTo>
                    <a:pt x="471" y="232"/>
                  </a:lnTo>
                  <a:lnTo>
                    <a:pt x="470" y="231"/>
                  </a:lnTo>
                  <a:lnTo>
                    <a:pt x="466" y="231"/>
                  </a:lnTo>
                  <a:lnTo>
                    <a:pt x="465" y="230"/>
                  </a:lnTo>
                  <a:lnTo>
                    <a:pt x="465" y="226"/>
                  </a:lnTo>
                  <a:lnTo>
                    <a:pt x="466" y="226"/>
                  </a:lnTo>
                  <a:lnTo>
                    <a:pt x="468" y="226"/>
                  </a:lnTo>
                  <a:lnTo>
                    <a:pt x="469" y="226"/>
                  </a:lnTo>
                  <a:lnTo>
                    <a:pt x="469" y="230"/>
                  </a:lnTo>
                  <a:lnTo>
                    <a:pt x="470" y="228"/>
                  </a:lnTo>
                  <a:lnTo>
                    <a:pt x="470" y="226"/>
                  </a:lnTo>
                  <a:lnTo>
                    <a:pt x="471" y="226"/>
                  </a:lnTo>
                  <a:lnTo>
                    <a:pt x="472" y="226"/>
                  </a:lnTo>
                  <a:lnTo>
                    <a:pt x="474" y="225"/>
                  </a:lnTo>
                  <a:lnTo>
                    <a:pt x="472" y="224"/>
                  </a:lnTo>
                  <a:lnTo>
                    <a:pt x="474" y="224"/>
                  </a:lnTo>
                  <a:lnTo>
                    <a:pt x="475" y="225"/>
                  </a:lnTo>
                  <a:lnTo>
                    <a:pt x="474" y="226"/>
                  </a:lnTo>
                  <a:lnTo>
                    <a:pt x="475" y="227"/>
                  </a:lnTo>
                  <a:lnTo>
                    <a:pt x="476" y="225"/>
                  </a:lnTo>
                  <a:lnTo>
                    <a:pt x="477" y="225"/>
                  </a:lnTo>
                  <a:lnTo>
                    <a:pt x="477" y="226"/>
                  </a:lnTo>
                  <a:lnTo>
                    <a:pt x="478" y="226"/>
                  </a:lnTo>
                  <a:lnTo>
                    <a:pt x="480" y="224"/>
                  </a:lnTo>
                  <a:lnTo>
                    <a:pt x="481" y="224"/>
                  </a:lnTo>
                  <a:lnTo>
                    <a:pt x="481" y="219"/>
                  </a:lnTo>
                  <a:lnTo>
                    <a:pt x="482" y="219"/>
                  </a:lnTo>
                  <a:lnTo>
                    <a:pt x="482" y="220"/>
                  </a:lnTo>
                  <a:lnTo>
                    <a:pt x="482" y="221"/>
                  </a:lnTo>
                  <a:lnTo>
                    <a:pt x="483" y="221"/>
                  </a:lnTo>
                  <a:lnTo>
                    <a:pt x="484" y="221"/>
                  </a:lnTo>
                  <a:lnTo>
                    <a:pt x="484" y="220"/>
                  </a:lnTo>
                  <a:lnTo>
                    <a:pt x="486" y="220"/>
                  </a:lnTo>
                  <a:lnTo>
                    <a:pt x="487" y="220"/>
                  </a:lnTo>
                  <a:lnTo>
                    <a:pt x="488" y="219"/>
                  </a:lnTo>
                  <a:lnTo>
                    <a:pt x="488" y="216"/>
                  </a:lnTo>
                  <a:lnTo>
                    <a:pt x="489" y="214"/>
                  </a:lnTo>
                  <a:lnTo>
                    <a:pt x="490" y="213"/>
                  </a:lnTo>
                  <a:lnTo>
                    <a:pt x="492" y="213"/>
                  </a:lnTo>
                  <a:lnTo>
                    <a:pt x="490" y="212"/>
                  </a:lnTo>
                  <a:lnTo>
                    <a:pt x="490" y="210"/>
                  </a:lnTo>
                  <a:lnTo>
                    <a:pt x="492" y="209"/>
                  </a:lnTo>
                  <a:lnTo>
                    <a:pt x="493" y="210"/>
                  </a:lnTo>
                  <a:lnTo>
                    <a:pt x="494" y="210"/>
                  </a:lnTo>
                  <a:lnTo>
                    <a:pt x="493" y="209"/>
                  </a:lnTo>
                  <a:lnTo>
                    <a:pt x="490" y="208"/>
                  </a:lnTo>
                  <a:lnTo>
                    <a:pt x="490" y="206"/>
                  </a:lnTo>
                  <a:lnTo>
                    <a:pt x="492" y="206"/>
                  </a:lnTo>
                  <a:lnTo>
                    <a:pt x="492" y="208"/>
                  </a:lnTo>
                  <a:lnTo>
                    <a:pt x="493" y="208"/>
                  </a:lnTo>
                  <a:lnTo>
                    <a:pt x="494" y="207"/>
                  </a:lnTo>
                  <a:lnTo>
                    <a:pt x="495" y="208"/>
                  </a:lnTo>
                  <a:lnTo>
                    <a:pt x="496" y="208"/>
                  </a:lnTo>
                  <a:lnTo>
                    <a:pt x="498" y="208"/>
                  </a:lnTo>
                  <a:lnTo>
                    <a:pt x="496" y="207"/>
                  </a:lnTo>
                  <a:lnTo>
                    <a:pt x="498" y="207"/>
                  </a:lnTo>
                  <a:lnTo>
                    <a:pt x="499" y="208"/>
                  </a:lnTo>
                  <a:lnTo>
                    <a:pt x="499" y="207"/>
                  </a:lnTo>
                  <a:lnTo>
                    <a:pt x="500" y="207"/>
                  </a:lnTo>
                  <a:lnTo>
                    <a:pt x="499" y="206"/>
                  </a:lnTo>
                  <a:lnTo>
                    <a:pt x="496" y="203"/>
                  </a:lnTo>
                  <a:lnTo>
                    <a:pt x="495" y="202"/>
                  </a:lnTo>
                  <a:lnTo>
                    <a:pt x="494" y="202"/>
                  </a:lnTo>
                  <a:lnTo>
                    <a:pt x="492" y="201"/>
                  </a:lnTo>
                  <a:lnTo>
                    <a:pt x="495" y="201"/>
                  </a:lnTo>
                  <a:lnTo>
                    <a:pt x="495" y="200"/>
                  </a:lnTo>
                  <a:lnTo>
                    <a:pt x="498" y="200"/>
                  </a:lnTo>
                  <a:lnTo>
                    <a:pt x="500" y="202"/>
                  </a:lnTo>
                  <a:lnTo>
                    <a:pt x="501" y="202"/>
                  </a:lnTo>
                  <a:lnTo>
                    <a:pt x="501" y="201"/>
                  </a:lnTo>
                  <a:lnTo>
                    <a:pt x="498" y="198"/>
                  </a:lnTo>
                  <a:lnTo>
                    <a:pt x="499" y="197"/>
                  </a:lnTo>
                  <a:lnTo>
                    <a:pt x="500" y="196"/>
                  </a:lnTo>
                  <a:lnTo>
                    <a:pt x="501" y="196"/>
                  </a:lnTo>
                  <a:lnTo>
                    <a:pt x="505" y="200"/>
                  </a:lnTo>
                  <a:lnTo>
                    <a:pt x="507" y="200"/>
                  </a:lnTo>
                  <a:lnTo>
                    <a:pt x="507" y="198"/>
                  </a:lnTo>
                  <a:lnTo>
                    <a:pt x="504" y="196"/>
                  </a:lnTo>
                  <a:lnTo>
                    <a:pt x="502" y="195"/>
                  </a:lnTo>
                  <a:lnTo>
                    <a:pt x="505" y="195"/>
                  </a:lnTo>
                  <a:lnTo>
                    <a:pt x="510" y="195"/>
                  </a:lnTo>
                  <a:lnTo>
                    <a:pt x="510" y="196"/>
                  </a:lnTo>
                  <a:lnTo>
                    <a:pt x="511" y="196"/>
                  </a:lnTo>
                  <a:lnTo>
                    <a:pt x="511" y="195"/>
                  </a:lnTo>
                  <a:lnTo>
                    <a:pt x="510" y="194"/>
                  </a:lnTo>
                  <a:lnTo>
                    <a:pt x="511" y="194"/>
                  </a:lnTo>
                  <a:lnTo>
                    <a:pt x="511" y="190"/>
                  </a:lnTo>
                  <a:lnTo>
                    <a:pt x="515" y="190"/>
                  </a:lnTo>
                  <a:lnTo>
                    <a:pt x="515" y="191"/>
                  </a:lnTo>
                  <a:lnTo>
                    <a:pt x="517" y="191"/>
                  </a:lnTo>
                  <a:lnTo>
                    <a:pt x="517" y="190"/>
                  </a:lnTo>
                  <a:lnTo>
                    <a:pt x="516" y="190"/>
                  </a:lnTo>
                  <a:lnTo>
                    <a:pt x="515" y="189"/>
                  </a:lnTo>
                  <a:lnTo>
                    <a:pt x="515" y="188"/>
                  </a:lnTo>
                  <a:lnTo>
                    <a:pt x="516" y="186"/>
                  </a:lnTo>
                  <a:lnTo>
                    <a:pt x="521" y="188"/>
                  </a:lnTo>
                  <a:lnTo>
                    <a:pt x="522" y="188"/>
                  </a:lnTo>
                  <a:lnTo>
                    <a:pt x="523" y="188"/>
                  </a:lnTo>
                  <a:lnTo>
                    <a:pt x="523" y="186"/>
                  </a:lnTo>
                  <a:lnTo>
                    <a:pt x="519" y="185"/>
                  </a:lnTo>
                  <a:lnTo>
                    <a:pt x="519" y="184"/>
                  </a:lnTo>
                  <a:lnTo>
                    <a:pt x="521" y="182"/>
                  </a:lnTo>
                  <a:lnTo>
                    <a:pt x="523" y="180"/>
                  </a:lnTo>
                  <a:lnTo>
                    <a:pt x="522" y="179"/>
                  </a:lnTo>
                  <a:lnTo>
                    <a:pt x="521" y="180"/>
                  </a:lnTo>
                  <a:lnTo>
                    <a:pt x="518" y="182"/>
                  </a:lnTo>
                  <a:lnTo>
                    <a:pt x="513" y="184"/>
                  </a:lnTo>
                  <a:lnTo>
                    <a:pt x="512" y="185"/>
                  </a:lnTo>
                  <a:lnTo>
                    <a:pt x="512" y="188"/>
                  </a:lnTo>
                  <a:lnTo>
                    <a:pt x="511" y="188"/>
                  </a:lnTo>
                  <a:lnTo>
                    <a:pt x="510" y="188"/>
                  </a:lnTo>
                  <a:lnTo>
                    <a:pt x="511" y="185"/>
                  </a:lnTo>
                  <a:lnTo>
                    <a:pt x="511" y="184"/>
                  </a:lnTo>
                  <a:lnTo>
                    <a:pt x="510" y="186"/>
                  </a:lnTo>
                  <a:lnTo>
                    <a:pt x="509" y="188"/>
                  </a:lnTo>
                  <a:lnTo>
                    <a:pt x="507" y="189"/>
                  </a:lnTo>
                  <a:lnTo>
                    <a:pt x="506" y="189"/>
                  </a:lnTo>
                  <a:lnTo>
                    <a:pt x="505" y="190"/>
                  </a:lnTo>
                  <a:lnTo>
                    <a:pt x="504" y="189"/>
                  </a:lnTo>
                  <a:lnTo>
                    <a:pt x="504" y="188"/>
                  </a:lnTo>
                  <a:lnTo>
                    <a:pt x="504" y="186"/>
                  </a:lnTo>
                  <a:lnTo>
                    <a:pt x="502" y="185"/>
                  </a:lnTo>
                  <a:lnTo>
                    <a:pt x="501" y="186"/>
                  </a:lnTo>
                  <a:lnTo>
                    <a:pt x="501" y="190"/>
                  </a:lnTo>
                  <a:lnTo>
                    <a:pt x="501" y="194"/>
                  </a:lnTo>
                  <a:lnTo>
                    <a:pt x="499" y="195"/>
                  </a:lnTo>
                  <a:lnTo>
                    <a:pt x="498" y="191"/>
                  </a:lnTo>
                  <a:lnTo>
                    <a:pt x="498" y="192"/>
                  </a:lnTo>
                  <a:lnTo>
                    <a:pt x="496" y="194"/>
                  </a:lnTo>
                  <a:lnTo>
                    <a:pt x="495" y="194"/>
                  </a:lnTo>
                  <a:lnTo>
                    <a:pt x="494" y="195"/>
                  </a:lnTo>
                  <a:lnTo>
                    <a:pt x="494" y="196"/>
                  </a:lnTo>
                  <a:lnTo>
                    <a:pt x="490" y="197"/>
                  </a:lnTo>
                  <a:lnTo>
                    <a:pt x="488" y="195"/>
                  </a:lnTo>
                  <a:lnTo>
                    <a:pt x="488" y="196"/>
                  </a:lnTo>
                  <a:lnTo>
                    <a:pt x="488" y="197"/>
                  </a:lnTo>
                  <a:lnTo>
                    <a:pt x="478" y="204"/>
                  </a:lnTo>
                  <a:lnTo>
                    <a:pt x="476" y="206"/>
                  </a:lnTo>
                  <a:lnTo>
                    <a:pt x="474" y="206"/>
                  </a:lnTo>
                  <a:lnTo>
                    <a:pt x="472" y="207"/>
                  </a:lnTo>
                  <a:lnTo>
                    <a:pt x="471" y="208"/>
                  </a:lnTo>
                  <a:lnTo>
                    <a:pt x="470" y="209"/>
                  </a:lnTo>
                  <a:lnTo>
                    <a:pt x="468" y="209"/>
                  </a:lnTo>
                  <a:lnTo>
                    <a:pt x="466" y="208"/>
                  </a:lnTo>
                  <a:lnTo>
                    <a:pt x="465" y="208"/>
                  </a:lnTo>
                  <a:lnTo>
                    <a:pt x="464" y="209"/>
                  </a:lnTo>
                  <a:lnTo>
                    <a:pt x="462" y="209"/>
                  </a:lnTo>
                  <a:lnTo>
                    <a:pt x="460" y="208"/>
                  </a:lnTo>
                  <a:lnTo>
                    <a:pt x="457" y="207"/>
                  </a:lnTo>
                  <a:lnTo>
                    <a:pt x="453" y="204"/>
                  </a:lnTo>
                  <a:lnTo>
                    <a:pt x="452" y="204"/>
                  </a:lnTo>
                  <a:lnTo>
                    <a:pt x="451" y="204"/>
                  </a:lnTo>
                  <a:lnTo>
                    <a:pt x="446" y="206"/>
                  </a:lnTo>
                  <a:lnTo>
                    <a:pt x="443" y="204"/>
                  </a:lnTo>
                  <a:lnTo>
                    <a:pt x="443" y="202"/>
                  </a:lnTo>
                  <a:lnTo>
                    <a:pt x="443" y="200"/>
                  </a:lnTo>
                  <a:lnTo>
                    <a:pt x="442" y="197"/>
                  </a:lnTo>
                  <a:lnTo>
                    <a:pt x="443" y="197"/>
                  </a:lnTo>
                  <a:lnTo>
                    <a:pt x="445" y="198"/>
                  </a:lnTo>
                  <a:lnTo>
                    <a:pt x="448" y="201"/>
                  </a:lnTo>
                  <a:lnTo>
                    <a:pt x="450" y="201"/>
                  </a:lnTo>
                  <a:lnTo>
                    <a:pt x="451" y="200"/>
                  </a:lnTo>
                  <a:lnTo>
                    <a:pt x="448" y="200"/>
                  </a:lnTo>
                  <a:lnTo>
                    <a:pt x="447" y="197"/>
                  </a:lnTo>
                  <a:lnTo>
                    <a:pt x="445" y="196"/>
                  </a:lnTo>
                  <a:lnTo>
                    <a:pt x="442" y="195"/>
                  </a:lnTo>
                  <a:lnTo>
                    <a:pt x="443" y="194"/>
                  </a:lnTo>
                  <a:lnTo>
                    <a:pt x="445" y="194"/>
                  </a:lnTo>
                  <a:lnTo>
                    <a:pt x="446" y="192"/>
                  </a:lnTo>
                  <a:lnTo>
                    <a:pt x="443" y="192"/>
                  </a:lnTo>
                  <a:lnTo>
                    <a:pt x="442" y="190"/>
                  </a:lnTo>
                  <a:lnTo>
                    <a:pt x="443" y="189"/>
                  </a:lnTo>
                  <a:lnTo>
                    <a:pt x="446" y="189"/>
                  </a:lnTo>
                  <a:lnTo>
                    <a:pt x="448" y="188"/>
                  </a:lnTo>
                  <a:lnTo>
                    <a:pt x="450" y="186"/>
                  </a:lnTo>
                  <a:lnTo>
                    <a:pt x="448" y="186"/>
                  </a:lnTo>
                  <a:lnTo>
                    <a:pt x="445" y="186"/>
                  </a:lnTo>
                  <a:lnTo>
                    <a:pt x="441" y="188"/>
                  </a:lnTo>
                  <a:lnTo>
                    <a:pt x="439" y="189"/>
                  </a:lnTo>
                  <a:lnTo>
                    <a:pt x="433" y="183"/>
                  </a:lnTo>
                  <a:lnTo>
                    <a:pt x="431" y="183"/>
                  </a:lnTo>
                  <a:lnTo>
                    <a:pt x="429" y="180"/>
                  </a:lnTo>
                  <a:lnTo>
                    <a:pt x="429" y="179"/>
                  </a:lnTo>
                  <a:lnTo>
                    <a:pt x="428" y="178"/>
                  </a:lnTo>
                  <a:lnTo>
                    <a:pt x="427" y="178"/>
                  </a:lnTo>
                  <a:lnTo>
                    <a:pt x="425" y="176"/>
                  </a:lnTo>
                  <a:lnTo>
                    <a:pt x="424" y="176"/>
                  </a:lnTo>
                  <a:lnTo>
                    <a:pt x="423" y="174"/>
                  </a:lnTo>
                  <a:lnTo>
                    <a:pt x="422" y="172"/>
                  </a:lnTo>
                  <a:lnTo>
                    <a:pt x="422" y="168"/>
                  </a:lnTo>
                  <a:lnTo>
                    <a:pt x="423" y="167"/>
                  </a:lnTo>
                  <a:lnTo>
                    <a:pt x="424" y="167"/>
                  </a:lnTo>
                  <a:lnTo>
                    <a:pt x="423" y="166"/>
                  </a:lnTo>
                  <a:lnTo>
                    <a:pt x="423" y="165"/>
                  </a:lnTo>
                  <a:lnTo>
                    <a:pt x="424" y="162"/>
                  </a:lnTo>
                  <a:lnTo>
                    <a:pt x="425" y="161"/>
                  </a:lnTo>
                  <a:lnTo>
                    <a:pt x="427" y="162"/>
                  </a:lnTo>
                  <a:lnTo>
                    <a:pt x="428" y="164"/>
                  </a:lnTo>
                  <a:lnTo>
                    <a:pt x="429" y="164"/>
                  </a:lnTo>
                  <a:lnTo>
                    <a:pt x="429" y="166"/>
                  </a:lnTo>
                  <a:lnTo>
                    <a:pt x="430" y="166"/>
                  </a:lnTo>
                  <a:lnTo>
                    <a:pt x="431" y="165"/>
                  </a:lnTo>
                  <a:lnTo>
                    <a:pt x="431" y="168"/>
                  </a:lnTo>
                  <a:lnTo>
                    <a:pt x="433" y="168"/>
                  </a:lnTo>
                  <a:lnTo>
                    <a:pt x="433" y="167"/>
                  </a:lnTo>
                  <a:lnTo>
                    <a:pt x="433" y="165"/>
                  </a:lnTo>
                  <a:lnTo>
                    <a:pt x="433" y="164"/>
                  </a:lnTo>
                  <a:lnTo>
                    <a:pt x="434" y="165"/>
                  </a:lnTo>
                  <a:lnTo>
                    <a:pt x="437" y="168"/>
                  </a:lnTo>
                  <a:lnTo>
                    <a:pt x="440" y="168"/>
                  </a:lnTo>
                  <a:lnTo>
                    <a:pt x="439" y="167"/>
                  </a:lnTo>
                  <a:lnTo>
                    <a:pt x="435" y="164"/>
                  </a:lnTo>
                  <a:lnTo>
                    <a:pt x="435" y="161"/>
                  </a:lnTo>
                  <a:lnTo>
                    <a:pt x="436" y="161"/>
                  </a:lnTo>
                  <a:lnTo>
                    <a:pt x="437" y="162"/>
                  </a:lnTo>
                  <a:lnTo>
                    <a:pt x="439" y="162"/>
                  </a:lnTo>
                  <a:lnTo>
                    <a:pt x="440" y="164"/>
                  </a:lnTo>
                  <a:lnTo>
                    <a:pt x="441" y="164"/>
                  </a:lnTo>
                  <a:lnTo>
                    <a:pt x="442" y="162"/>
                  </a:lnTo>
                  <a:lnTo>
                    <a:pt x="442" y="160"/>
                  </a:lnTo>
                  <a:lnTo>
                    <a:pt x="442" y="159"/>
                  </a:lnTo>
                  <a:lnTo>
                    <a:pt x="442" y="157"/>
                  </a:lnTo>
                  <a:lnTo>
                    <a:pt x="443" y="157"/>
                  </a:lnTo>
                  <a:lnTo>
                    <a:pt x="442" y="156"/>
                  </a:lnTo>
                  <a:lnTo>
                    <a:pt x="442" y="155"/>
                  </a:lnTo>
                  <a:lnTo>
                    <a:pt x="445" y="154"/>
                  </a:lnTo>
                  <a:lnTo>
                    <a:pt x="445" y="153"/>
                  </a:lnTo>
                  <a:lnTo>
                    <a:pt x="443" y="151"/>
                  </a:lnTo>
                  <a:lnTo>
                    <a:pt x="442" y="151"/>
                  </a:lnTo>
                  <a:lnTo>
                    <a:pt x="442" y="150"/>
                  </a:lnTo>
                  <a:lnTo>
                    <a:pt x="441" y="154"/>
                  </a:lnTo>
                  <a:lnTo>
                    <a:pt x="441" y="153"/>
                  </a:lnTo>
                  <a:lnTo>
                    <a:pt x="441" y="151"/>
                  </a:lnTo>
                  <a:lnTo>
                    <a:pt x="442" y="149"/>
                  </a:lnTo>
                  <a:lnTo>
                    <a:pt x="442" y="147"/>
                  </a:lnTo>
                  <a:lnTo>
                    <a:pt x="445" y="145"/>
                  </a:lnTo>
                  <a:lnTo>
                    <a:pt x="446" y="148"/>
                  </a:lnTo>
                  <a:lnTo>
                    <a:pt x="448" y="149"/>
                  </a:lnTo>
                  <a:lnTo>
                    <a:pt x="448" y="148"/>
                  </a:lnTo>
                  <a:lnTo>
                    <a:pt x="447" y="147"/>
                  </a:lnTo>
                  <a:lnTo>
                    <a:pt x="446" y="145"/>
                  </a:lnTo>
                  <a:lnTo>
                    <a:pt x="446" y="144"/>
                  </a:lnTo>
                  <a:lnTo>
                    <a:pt x="447" y="144"/>
                  </a:lnTo>
                  <a:lnTo>
                    <a:pt x="448" y="144"/>
                  </a:lnTo>
                  <a:lnTo>
                    <a:pt x="448" y="138"/>
                  </a:lnTo>
                  <a:lnTo>
                    <a:pt x="450" y="138"/>
                  </a:lnTo>
                  <a:lnTo>
                    <a:pt x="450" y="139"/>
                  </a:lnTo>
                  <a:lnTo>
                    <a:pt x="451" y="141"/>
                  </a:lnTo>
                  <a:lnTo>
                    <a:pt x="452" y="142"/>
                  </a:lnTo>
                  <a:lnTo>
                    <a:pt x="452" y="144"/>
                  </a:lnTo>
                  <a:lnTo>
                    <a:pt x="453" y="144"/>
                  </a:lnTo>
                  <a:lnTo>
                    <a:pt x="454" y="143"/>
                  </a:lnTo>
                  <a:lnTo>
                    <a:pt x="454" y="142"/>
                  </a:lnTo>
                  <a:lnTo>
                    <a:pt x="454" y="141"/>
                  </a:lnTo>
                  <a:lnTo>
                    <a:pt x="456" y="139"/>
                  </a:lnTo>
                  <a:lnTo>
                    <a:pt x="454" y="138"/>
                  </a:lnTo>
                  <a:lnTo>
                    <a:pt x="453" y="139"/>
                  </a:lnTo>
                  <a:lnTo>
                    <a:pt x="452" y="138"/>
                  </a:lnTo>
                  <a:lnTo>
                    <a:pt x="451" y="137"/>
                  </a:lnTo>
                  <a:lnTo>
                    <a:pt x="453" y="137"/>
                  </a:lnTo>
                  <a:lnTo>
                    <a:pt x="454" y="137"/>
                  </a:lnTo>
                  <a:lnTo>
                    <a:pt x="456" y="136"/>
                  </a:lnTo>
                  <a:lnTo>
                    <a:pt x="451" y="136"/>
                  </a:lnTo>
                  <a:lnTo>
                    <a:pt x="448" y="135"/>
                  </a:lnTo>
                  <a:lnTo>
                    <a:pt x="448" y="133"/>
                  </a:lnTo>
                  <a:lnTo>
                    <a:pt x="451" y="132"/>
                  </a:lnTo>
                  <a:lnTo>
                    <a:pt x="453" y="133"/>
                  </a:lnTo>
                  <a:lnTo>
                    <a:pt x="456" y="133"/>
                  </a:lnTo>
                  <a:lnTo>
                    <a:pt x="452" y="131"/>
                  </a:lnTo>
                  <a:lnTo>
                    <a:pt x="454" y="130"/>
                  </a:lnTo>
                  <a:lnTo>
                    <a:pt x="458" y="132"/>
                  </a:lnTo>
                  <a:lnTo>
                    <a:pt x="459" y="132"/>
                  </a:lnTo>
                  <a:lnTo>
                    <a:pt x="459" y="131"/>
                  </a:lnTo>
                  <a:lnTo>
                    <a:pt x="457" y="129"/>
                  </a:lnTo>
                  <a:lnTo>
                    <a:pt x="457" y="127"/>
                  </a:lnTo>
                  <a:lnTo>
                    <a:pt x="458" y="127"/>
                  </a:lnTo>
                  <a:lnTo>
                    <a:pt x="459" y="127"/>
                  </a:lnTo>
                  <a:lnTo>
                    <a:pt x="459" y="126"/>
                  </a:lnTo>
                  <a:lnTo>
                    <a:pt x="460" y="126"/>
                  </a:lnTo>
                  <a:lnTo>
                    <a:pt x="462" y="126"/>
                  </a:lnTo>
                  <a:lnTo>
                    <a:pt x="465" y="127"/>
                  </a:lnTo>
                  <a:lnTo>
                    <a:pt x="466" y="127"/>
                  </a:lnTo>
                  <a:lnTo>
                    <a:pt x="468" y="129"/>
                  </a:lnTo>
                  <a:lnTo>
                    <a:pt x="469" y="127"/>
                  </a:lnTo>
                  <a:lnTo>
                    <a:pt x="469" y="125"/>
                  </a:lnTo>
                  <a:lnTo>
                    <a:pt x="468" y="124"/>
                  </a:lnTo>
                  <a:lnTo>
                    <a:pt x="466" y="124"/>
                  </a:lnTo>
                  <a:lnTo>
                    <a:pt x="466" y="123"/>
                  </a:lnTo>
                  <a:lnTo>
                    <a:pt x="465" y="124"/>
                  </a:lnTo>
                  <a:lnTo>
                    <a:pt x="463" y="124"/>
                  </a:lnTo>
                  <a:lnTo>
                    <a:pt x="463" y="123"/>
                  </a:lnTo>
                  <a:lnTo>
                    <a:pt x="466" y="120"/>
                  </a:lnTo>
                  <a:lnTo>
                    <a:pt x="468" y="121"/>
                  </a:lnTo>
                  <a:lnTo>
                    <a:pt x="469" y="123"/>
                  </a:lnTo>
                  <a:lnTo>
                    <a:pt x="470" y="123"/>
                  </a:lnTo>
                  <a:lnTo>
                    <a:pt x="471" y="123"/>
                  </a:lnTo>
                  <a:lnTo>
                    <a:pt x="471" y="121"/>
                  </a:lnTo>
                  <a:lnTo>
                    <a:pt x="470" y="120"/>
                  </a:lnTo>
                  <a:lnTo>
                    <a:pt x="469" y="120"/>
                  </a:lnTo>
                  <a:lnTo>
                    <a:pt x="470" y="119"/>
                  </a:lnTo>
                  <a:lnTo>
                    <a:pt x="471" y="119"/>
                  </a:lnTo>
                  <a:lnTo>
                    <a:pt x="474" y="120"/>
                  </a:lnTo>
                  <a:lnTo>
                    <a:pt x="475" y="121"/>
                  </a:lnTo>
                  <a:lnTo>
                    <a:pt x="476" y="120"/>
                  </a:lnTo>
                  <a:lnTo>
                    <a:pt x="475" y="120"/>
                  </a:lnTo>
                  <a:lnTo>
                    <a:pt x="474" y="119"/>
                  </a:lnTo>
                  <a:lnTo>
                    <a:pt x="475" y="118"/>
                  </a:lnTo>
                  <a:lnTo>
                    <a:pt x="476" y="118"/>
                  </a:lnTo>
                  <a:lnTo>
                    <a:pt x="478" y="119"/>
                  </a:lnTo>
                  <a:lnTo>
                    <a:pt x="480" y="118"/>
                  </a:lnTo>
                  <a:lnTo>
                    <a:pt x="481" y="119"/>
                  </a:lnTo>
                  <a:lnTo>
                    <a:pt x="482" y="119"/>
                  </a:lnTo>
                  <a:lnTo>
                    <a:pt x="483" y="119"/>
                  </a:lnTo>
                  <a:lnTo>
                    <a:pt x="481" y="117"/>
                  </a:lnTo>
                  <a:lnTo>
                    <a:pt x="478" y="115"/>
                  </a:lnTo>
                  <a:lnTo>
                    <a:pt x="488" y="109"/>
                  </a:lnTo>
                  <a:lnTo>
                    <a:pt x="489" y="108"/>
                  </a:lnTo>
                  <a:lnTo>
                    <a:pt x="486" y="109"/>
                  </a:lnTo>
                  <a:lnTo>
                    <a:pt x="480" y="113"/>
                  </a:lnTo>
                  <a:lnTo>
                    <a:pt x="478" y="114"/>
                  </a:lnTo>
                  <a:lnTo>
                    <a:pt x="477" y="114"/>
                  </a:lnTo>
                  <a:lnTo>
                    <a:pt x="478" y="111"/>
                  </a:lnTo>
                  <a:lnTo>
                    <a:pt x="480" y="109"/>
                  </a:lnTo>
                  <a:lnTo>
                    <a:pt x="478" y="109"/>
                  </a:lnTo>
                  <a:lnTo>
                    <a:pt x="475" y="112"/>
                  </a:lnTo>
                  <a:lnTo>
                    <a:pt x="474" y="114"/>
                  </a:lnTo>
                  <a:lnTo>
                    <a:pt x="472" y="114"/>
                  </a:lnTo>
                  <a:lnTo>
                    <a:pt x="471" y="113"/>
                  </a:lnTo>
                  <a:lnTo>
                    <a:pt x="471" y="114"/>
                  </a:lnTo>
                  <a:lnTo>
                    <a:pt x="470" y="115"/>
                  </a:lnTo>
                  <a:lnTo>
                    <a:pt x="469" y="117"/>
                  </a:lnTo>
                  <a:lnTo>
                    <a:pt x="468" y="115"/>
                  </a:lnTo>
                  <a:lnTo>
                    <a:pt x="466" y="118"/>
                  </a:lnTo>
                  <a:lnTo>
                    <a:pt x="465" y="119"/>
                  </a:lnTo>
                  <a:lnTo>
                    <a:pt x="464" y="120"/>
                  </a:lnTo>
                  <a:lnTo>
                    <a:pt x="463" y="120"/>
                  </a:lnTo>
                  <a:lnTo>
                    <a:pt x="462" y="120"/>
                  </a:lnTo>
                  <a:lnTo>
                    <a:pt x="463" y="119"/>
                  </a:lnTo>
                  <a:lnTo>
                    <a:pt x="464" y="118"/>
                  </a:lnTo>
                  <a:lnTo>
                    <a:pt x="463" y="117"/>
                  </a:lnTo>
                  <a:lnTo>
                    <a:pt x="463" y="115"/>
                  </a:lnTo>
                  <a:lnTo>
                    <a:pt x="462" y="115"/>
                  </a:lnTo>
                  <a:lnTo>
                    <a:pt x="460" y="117"/>
                  </a:lnTo>
                  <a:lnTo>
                    <a:pt x="459" y="118"/>
                  </a:lnTo>
                  <a:lnTo>
                    <a:pt x="458" y="119"/>
                  </a:lnTo>
                  <a:lnTo>
                    <a:pt x="457" y="120"/>
                  </a:lnTo>
                  <a:lnTo>
                    <a:pt x="457" y="121"/>
                  </a:lnTo>
                  <a:lnTo>
                    <a:pt x="456" y="123"/>
                  </a:lnTo>
                  <a:lnTo>
                    <a:pt x="456" y="125"/>
                  </a:lnTo>
                  <a:lnTo>
                    <a:pt x="453" y="127"/>
                  </a:lnTo>
                  <a:lnTo>
                    <a:pt x="453" y="123"/>
                  </a:lnTo>
                  <a:lnTo>
                    <a:pt x="452" y="123"/>
                  </a:lnTo>
                  <a:lnTo>
                    <a:pt x="451" y="124"/>
                  </a:lnTo>
                  <a:lnTo>
                    <a:pt x="451" y="126"/>
                  </a:lnTo>
                  <a:lnTo>
                    <a:pt x="452" y="127"/>
                  </a:lnTo>
                  <a:lnTo>
                    <a:pt x="451" y="129"/>
                  </a:lnTo>
                  <a:lnTo>
                    <a:pt x="450" y="129"/>
                  </a:lnTo>
                  <a:lnTo>
                    <a:pt x="450" y="131"/>
                  </a:lnTo>
                  <a:lnTo>
                    <a:pt x="447" y="132"/>
                  </a:lnTo>
                  <a:lnTo>
                    <a:pt x="446" y="132"/>
                  </a:lnTo>
                  <a:lnTo>
                    <a:pt x="445" y="132"/>
                  </a:lnTo>
                  <a:lnTo>
                    <a:pt x="443" y="131"/>
                  </a:lnTo>
                  <a:lnTo>
                    <a:pt x="443" y="130"/>
                  </a:lnTo>
                  <a:lnTo>
                    <a:pt x="445" y="131"/>
                  </a:lnTo>
                  <a:lnTo>
                    <a:pt x="446" y="131"/>
                  </a:lnTo>
                  <a:lnTo>
                    <a:pt x="447" y="130"/>
                  </a:lnTo>
                  <a:lnTo>
                    <a:pt x="446" y="129"/>
                  </a:lnTo>
                  <a:lnTo>
                    <a:pt x="445" y="129"/>
                  </a:lnTo>
                  <a:lnTo>
                    <a:pt x="445" y="127"/>
                  </a:lnTo>
                  <a:lnTo>
                    <a:pt x="446" y="126"/>
                  </a:lnTo>
                  <a:lnTo>
                    <a:pt x="445" y="125"/>
                  </a:lnTo>
                  <a:lnTo>
                    <a:pt x="443" y="126"/>
                  </a:lnTo>
                  <a:lnTo>
                    <a:pt x="442" y="129"/>
                  </a:lnTo>
                  <a:lnTo>
                    <a:pt x="442" y="127"/>
                  </a:lnTo>
                  <a:lnTo>
                    <a:pt x="441" y="125"/>
                  </a:lnTo>
                  <a:lnTo>
                    <a:pt x="440" y="125"/>
                  </a:lnTo>
                  <a:lnTo>
                    <a:pt x="439" y="125"/>
                  </a:lnTo>
                  <a:lnTo>
                    <a:pt x="440" y="126"/>
                  </a:lnTo>
                  <a:lnTo>
                    <a:pt x="440" y="127"/>
                  </a:lnTo>
                  <a:lnTo>
                    <a:pt x="441" y="129"/>
                  </a:lnTo>
                  <a:lnTo>
                    <a:pt x="440" y="129"/>
                  </a:lnTo>
                  <a:lnTo>
                    <a:pt x="439" y="130"/>
                  </a:lnTo>
                  <a:lnTo>
                    <a:pt x="439" y="131"/>
                  </a:lnTo>
                  <a:lnTo>
                    <a:pt x="440" y="130"/>
                  </a:lnTo>
                  <a:lnTo>
                    <a:pt x="441" y="131"/>
                  </a:lnTo>
                  <a:lnTo>
                    <a:pt x="442" y="132"/>
                  </a:lnTo>
                  <a:lnTo>
                    <a:pt x="442" y="133"/>
                  </a:lnTo>
                  <a:lnTo>
                    <a:pt x="442" y="136"/>
                  </a:lnTo>
                  <a:lnTo>
                    <a:pt x="441" y="136"/>
                  </a:lnTo>
                  <a:lnTo>
                    <a:pt x="440" y="137"/>
                  </a:lnTo>
                  <a:lnTo>
                    <a:pt x="437" y="138"/>
                  </a:lnTo>
                  <a:lnTo>
                    <a:pt x="436" y="139"/>
                  </a:lnTo>
                  <a:lnTo>
                    <a:pt x="435" y="141"/>
                  </a:lnTo>
                  <a:lnTo>
                    <a:pt x="434" y="142"/>
                  </a:lnTo>
                  <a:lnTo>
                    <a:pt x="430" y="144"/>
                  </a:lnTo>
                  <a:lnTo>
                    <a:pt x="429" y="147"/>
                  </a:lnTo>
                  <a:lnTo>
                    <a:pt x="427" y="147"/>
                  </a:lnTo>
                  <a:lnTo>
                    <a:pt x="424" y="147"/>
                  </a:lnTo>
                  <a:lnTo>
                    <a:pt x="424" y="144"/>
                  </a:lnTo>
                  <a:lnTo>
                    <a:pt x="422" y="142"/>
                  </a:lnTo>
                  <a:lnTo>
                    <a:pt x="421" y="139"/>
                  </a:lnTo>
                  <a:lnTo>
                    <a:pt x="421" y="138"/>
                  </a:lnTo>
                  <a:lnTo>
                    <a:pt x="422" y="138"/>
                  </a:lnTo>
                  <a:lnTo>
                    <a:pt x="423" y="139"/>
                  </a:lnTo>
                  <a:lnTo>
                    <a:pt x="427" y="138"/>
                  </a:lnTo>
                  <a:lnTo>
                    <a:pt x="427" y="137"/>
                  </a:lnTo>
                  <a:lnTo>
                    <a:pt x="424" y="137"/>
                  </a:lnTo>
                  <a:lnTo>
                    <a:pt x="422" y="137"/>
                  </a:lnTo>
                  <a:lnTo>
                    <a:pt x="421" y="137"/>
                  </a:lnTo>
                  <a:lnTo>
                    <a:pt x="419" y="135"/>
                  </a:lnTo>
                  <a:lnTo>
                    <a:pt x="421" y="135"/>
                  </a:lnTo>
                  <a:lnTo>
                    <a:pt x="424" y="133"/>
                  </a:lnTo>
                  <a:lnTo>
                    <a:pt x="425" y="132"/>
                  </a:lnTo>
                  <a:lnTo>
                    <a:pt x="425" y="131"/>
                  </a:lnTo>
                  <a:lnTo>
                    <a:pt x="427" y="129"/>
                  </a:lnTo>
                  <a:lnTo>
                    <a:pt x="428" y="129"/>
                  </a:lnTo>
                  <a:lnTo>
                    <a:pt x="425" y="127"/>
                  </a:lnTo>
                  <a:lnTo>
                    <a:pt x="423" y="127"/>
                  </a:lnTo>
                  <a:lnTo>
                    <a:pt x="421" y="127"/>
                  </a:lnTo>
                  <a:lnTo>
                    <a:pt x="418" y="126"/>
                  </a:lnTo>
                  <a:lnTo>
                    <a:pt x="418" y="125"/>
                  </a:lnTo>
                  <a:lnTo>
                    <a:pt x="419" y="124"/>
                  </a:lnTo>
                  <a:lnTo>
                    <a:pt x="421" y="124"/>
                  </a:lnTo>
                  <a:lnTo>
                    <a:pt x="422" y="124"/>
                  </a:lnTo>
                  <a:lnTo>
                    <a:pt x="423" y="124"/>
                  </a:lnTo>
                  <a:lnTo>
                    <a:pt x="423" y="121"/>
                  </a:lnTo>
                  <a:lnTo>
                    <a:pt x="424" y="121"/>
                  </a:lnTo>
                  <a:lnTo>
                    <a:pt x="427" y="121"/>
                  </a:lnTo>
                  <a:lnTo>
                    <a:pt x="427" y="120"/>
                  </a:lnTo>
                  <a:lnTo>
                    <a:pt x="425" y="120"/>
                  </a:lnTo>
                  <a:lnTo>
                    <a:pt x="423" y="119"/>
                  </a:lnTo>
                  <a:lnTo>
                    <a:pt x="423" y="118"/>
                  </a:lnTo>
                  <a:lnTo>
                    <a:pt x="424" y="118"/>
                  </a:lnTo>
                  <a:lnTo>
                    <a:pt x="425" y="118"/>
                  </a:lnTo>
                  <a:lnTo>
                    <a:pt x="428" y="119"/>
                  </a:lnTo>
                  <a:lnTo>
                    <a:pt x="429" y="118"/>
                  </a:lnTo>
                  <a:lnTo>
                    <a:pt x="431" y="119"/>
                  </a:lnTo>
                  <a:lnTo>
                    <a:pt x="433" y="120"/>
                  </a:lnTo>
                  <a:lnTo>
                    <a:pt x="434" y="121"/>
                  </a:lnTo>
                  <a:lnTo>
                    <a:pt x="435" y="120"/>
                  </a:lnTo>
                  <a:lnTo>
                    <a:pt x="435" y="119"/>
                  </a:lnTo>
                  <a:lnTo>
                    <a:pt x="434" y="119"/>
                  </a:lnTo>
                  <a:lnTo>
                    <a:pt x="431" y="115"/>
                  </a:lnTo>
                  <a:lnTo>
                    <a:pt x="433" y="115"/>
                  </a:lnTo>
                  <a:lnTo>
                    <a:pt x="434" y="117"/>
                  </a:lnTo>
                  <a:lnTo>
                    <a:pt x="435" y="115"/>
                  </a:lnTo>
                  <a:lnTo>
                    <a:pt x="433" y="113"/>
                  </a:lnTo>
                  <a:lnTo>
                    <a:pt x="433" y="112"/>
                  </a:lnTo>
                  <a:lnTo>
                    <a:pt x="434" y="111"/>
                  </a:lnTo>
                  <a:lnTo>
                    <a:pt x="435" y="111"/>
                  </a:lnTo>
                  <a:lnTo>
                    <a:pt x="435" y="112"/>
                  </a:lnTo>
                  <a:lnTo>
                    <a:pt x="436" y="112"/>
                  </a:lnTo>
                  <a:lnTo>
                    <a:pt x="436" y="115"/>
                  </a:lnTo>
                  <a:lnTo>
                    <a:pt x="436" y="117"/>
                  </a:lnTo>
                  <a:lnTo>
                    <a:pt x="437" y="117"/>
                  </a:lnTo>
                  <a:lnTo>
                    <a:pt x="439" y="114"/>
                  </a:lnTo>
                  <a:lnTo>
                    <a:pt x="439" y="113"/>
                  </a:lnTo>
                  <a:lnTo>
                    <a:pt x="440" y="113"/>
                  </a:lnTo>
                  <a:lnTo>
                    <a:pt x="442" y="112"/>
                  </a:lnTo>
                  <a:lnTo>
                    <a:pt x="441" y="111"/>
                  </a:lnTo>
                  <a:lnTo>
                    <a:pt x="440" y="111"/>
                  </a:lnTo>
                  <a:lnTo>
                    <a:pt x="437" y="111"/>
                  </a:lnTo>
                  <a:lnTo>
                    <a:pt x="439" y="109"/>
                  </a:lnTo>
                  <a:lnTo>
                    <a:pt x="440" y="109"/>
                  </a:lnTo>
                  <a:lnTo>
                    <a:pt x="440" y="108"/>
                  </a:lnTo>
                  <a:lnTo>
                    <a:pt x="441" y="108"/>
                  </a:lnTo>
                  <a:lnTo>
                    <a:pt x="441" y="107"/>
                  </a:lnTo>
                  <a:lnTo>
                    <a:pt x="442" y="106"/>
                  </a:lnTo>
                  <a:lnTo>
                    <a:pt x="445" y="105"/>
                  </a:lnTo>
                  <a:lnTo>
                    <a:pt x="446" y="105"/>
                  </a:lnTo>
                  <a:lnTo>
                    <a:pt x="446" y="103"/>
                  </a:lnTo>
                  <a:lnTo>
                    <a:pt x="448" y="103"/>
                  </a:lnTo>
                  <a:lnTo>
                    <a:pt x="450" y="103"/>
                  </a:lnTo>
                  <a:lnTo>
                    <a:pt x="447" y="102"/>
                  </a:lnTo>
                  <a:lnTo>
                    <a:pt x="447" y="101"/>
                  </a:lnTo>
                  <a:lnTo>
                    <a:pt x="446" y="100"/>
                  </a:lnTo>
                  <a:lnTo>
                    <a:pt x="446" y="99"/>
                  </a:lnTo>
                  <a:lnTo>
                    <a:pt x="447" y="99"/>
                  </a:lnTo>
                  <a:lnTo>
                    <a:pt x="448" y="97"/>
                  </a:lnTo>
                  <a:lnTo>
                    <a:pt x="448" y="99"/>
                  </a:lnTo>
                  <a:lnTo>
                    <a:pt x="450" y="99"/>
                  </a:lnTo>
                  <a:lnTo>
                    <a:pt x="453" y="99"/>
                  </a:lnTo>
                  <a:lnTo>
                    <a:pt x="454" y="99"/>
                  </a:lnTo>
                  <a:lnTo>
                    <a:pt x="458" y="99"/>
                  </a:lnTo>
                  <a:lnTo>
                    <a:pt x="459" y="100"/>
                  </a:lnTo>
                  <a:lnTo>
                    <a:pt x="460" y="99"/>
                  </a:lnTo>
                  <a:lnTo>
                    <a:pt x="460" y="97"/>
                  </a:lnTo>
                  <a:lnTo>
                    <a:pt x="459" y="96"/>
                  </a:lnTo>
                  <a:lnTo>
                    <a:pt x="458" y="96"/>
                  </a:lnTo>
                  <a:lnTo>
                    <a:pt x="457" y="95"/>
                  </a:lnTo>
                  <a:lnTo>
                    <a:pt x="457" y="96"/>
                  </a:lnTo>
                  <a:lnTo>
                    <a:pt x="456" y="96"/>
                  </a:lnTo>
                  <a:lnTo>
                    <a:pt x="456" y="95"/>
                  </a:lnTo>
                  <a:lnTo>
                    <a:pt x="457" y="94"/>
                  </a:lnTo>
                  <a:lnTo>
                    <a:pt x="458" y="94"/>
                  </a:lnTo>
                  <a:lnTo>
                    <a:pt x="458" y="95"/>
                  </a:lnTo>
                  <a:lnTo>
                    <a:pt x="462" y="97"/>
                  </a:lnTo>
                  <a:lnTo>
                    <a:pt x="462" y="96"/>
                  </a:lnTo>
                  <a:lnTo>
                    <a:pt x="462" y="95"/>
                  </a:lnTo>
                  <a:lnTo>
                    <a:pt x="460" y="95"/>
                  </a:lnTo>
                  <a:lnTo>
                    <a:pt x="459" y="95"/>
                  </a:lnTo>
                  <a:lnTo>
                    <a:pt x="459" y="94"/>
                  </a:lnTo>
                  <a:lnTo>
                    <a:pt x="459" y="93"/>
                  </a:lnTo>
                  <a:lnTo>
                    <a:pt x="459" y="91"/>
                  </a:lnTo>
                  <a:lnTo>
                    <a:pt x="460" y="91"/>
                  </a:lnTo>
                  <a:lnTo>
                    <a:pt x="462" y="91"/>
                  </a:lnTo>
                  <a:lnTo>
                    <a:pt x="463" y="93"/>
                  </a:lnTo>
                  <a:lnTo>
                    <a:pt x="464" y="95"/>
                  </a:lnTo>
                  <a:lnTo>
                    <a:pt x="465" y="95"/>
                  </a:lnTo>
                  <a:lnTo>
                    <a:pt x="465" y="93"/>
                  </a:lnTo>
                  <a:lnTo>
                    <a:pt x="464" y="93"/>
                  </a:lnTo>
                  <a:lnTo>
                    <a:pt x="464" y="91"/>
                  </a:lnTo>
                  <a:lnTo>
                    <a:pt x="464" y="90"/>
                  </a:lnTo>
                  <a:lnTo>
                    <a:pt x="464" y="89"/>
                  </a:lnTo>
                  <a:lnTo>
                    <a:pt x="465" y="90"/>
                  </a:lnTo>
                  <a:lnTo>
                    <a:pt x="466" y="90"/>
                  </a:lnTo>
                  <a:lnTo>
                    <a:pt x="469" y="91"/>
                  </a:lnTo>
                  <a:lnTo>
                    <a:pt x="471" y="91"/>
                  </a:lnTo>
                  <a:lnTo>
                    <a:pt x="471" y="90"/>
                  </a:lnTo>
                  <a:lnTo>
                    <a:pt x="470" y="90"/>
                  </a:lnTo>
                  <a:lnTo>
                    <a:pt x="470" y="89"/>
                  </a:lnTo>
                  <a:lnTo>
                    <a:pt x="469" y="88"/>
                  </a:lnTo>
                  <a:lnTo>
                    <a:pt x="468" y="88"/>
                  </a:lnTo>
                  <a:lnTo>
                    <a:pt x="468" y="87"/>
                  </a:lnTo>
                  <a:lnTo>
                    <a:pt x="469" y="87"/>
                  </a:lnTo>
                  <a:lnTo>
                    <a:pt x="475" y="83"/>
                  </a:lnTo>
                  <a:lnTo>
                    <a:pt x="476" y="82"/>
                  </a:lnTo>
                  <a:lnTo>
                    <a:pt x="475" y="82"/>
                  </a:lnTo>
                  <a:lnTo>
                    <a:pt x="472" y="84"/>
                  </a:lnTo>
                  <a:lnTo>
                    <a:pt x="468" y="85"/>
                  </a:lnTo>
                  <a:lnTo>
                    <a:pt x="469" y="84"/>
                  </a:lnTo>
                  <a:lnTo>
                    <a:pt x="469" y="83"/>
                  </a:lnTo>
                  <a:lnTo>
                    <a:pt x="469" y="82"/>
                  </a:lnTo>
                  <a:lnTo>
                    <a:pt x="468" y="82"/>
                  </a:lnTo>
                  <a:lnTo>
                    <a:pt x="465" y="84"/>
                  </a:lnTo>
                  <a:lnTo>
                    <a:pt x="464" y="85"/>
                  </a:lnTo>
                  <a:lnTo>
                    <a:pt x="462" y="87"/>
                  </a:lnTo>
                  <a:lnTo>
                    <a:pt x="460" y="88"/>
                  </a:lnTo>
                  <a:lnTo>
                    <a:pt x="459" y="88"/>
                  </a:lnTo>
                  <a:lnTo>
                    <a:pt x="458" y="88"/>
                  </a:lnTo>
                  <a:lnTo>
                    <a:pt x="458" y="87"/>
                  </a:lnTo>
                  <a:lnTo>
                    <a:pt x="457" y="85"/>
                  </a:lnTo>
                  <a:lnTo>
                    <a:pt x="456" y="87"/>
                  </a:lnTo>
                  <a:lnTo>
                    <a:pt x="456" y="88"/>
                  </a:lnTo>
                  <a:lnTo>
                    <a:pt x="454" y="89"/>
                  </a:lnTo>
                  <a:lnTo>
                    <a:pt x="452" y="90"/>
                  </a:lnTo>
                  <a:lnTo>
                    <a:pt x="451" y="91"/>
                  </a:lnTo>
                  <a:lnTo>
                    <a:pt x="451" y="90"/>
                  </a:lnTo>
                  <a:lnTo>
                    <a:pt x="452" y="89"/>
                  </a:lnTo>
                  <a:lnTo>
                    <a:pt x="453" y="88"/>
                  </a:lnTo>
                  <a:lnTo>
                    <a:pt x="452" y="88"/>
                  </a:lnTo>
                  <a:lnTo>
                    <a:pt x="451" y="87"/>
                  </a:lnTo>
                  <a:lnTo>
                    <a:pt x="450" y="87"/>
                  </a:lnTo>
                  <a:lnTo>
                    <a:pt x="448" y="88"/>
                  </a:lnTo>
                  <a:lnTo>
                    <a:pt x="447" y="89"/>
                  </a:lnTo>
                  <a:lnTo>
                    <a:pt x="447" y="90"/>
                  </a:lnTo>
                  <a:lnTo>
                    <a:pt x="447" y="91"/>
                  </a:lnTo>
                  <a:lnTo>
                    <a:pt x="448" y="90"/>
                  </a:lnTo>
                  <a:lnTo>
                    <a:pt x="448" y="91"/>
                  </a:lnTo>
                  <a:lnTo>
                    <a:pt x="447" y="93"/>
                  </a:lnTo>
                  <a:lnTo>
                    <a:pt x="446" y="91"/>
                  </a:lnTo>
                  <a:lnTo>
                    <a:pt x="446" y="93"/>
                  </a:lnTo>
                  <a:lnTo>
                    <a:pt x="445" y="93"/>
                  </a:lnTo>
                  <a:lnTo>
                    <a:pt x="442" y="94"/>
                  </a:lnTo>
                  <a:lnTo>
                    <a:pt x="442" y="95"/>
                  </a:lnTo>
                  <a:lnTo>
                    <a:pt x="441" y="95"/>
                  </a:lnTo>
                  <a:lnTo>
                    <a:pt x="440" y="96"/>
                  </a:lnTo>
                  <a:lnTo>
                    <a:pt x="439" y="96"/>
                  </a:lnTo>
                  <a:lnTo>
                    <a:pt x="437" y="96"/>
                  </a:lnTo>
                  <a:lnTo>
                    <a:pt x="435" y="96"/>
                  </a:lnTo>
                  <a:lnTo>
                    <a:pt x="434" y="97"/>
                  </a:lnTo>
                  <a:lnTo>
                    <a:pt x="433" y="100"/>
                  </a:lnTo>
                  <a:lnTo>
                    <a:pt x="431" y="101"/>
                  </a:lnTo>
                  <a:lnTo>
                    <a:pt x="429" y="102"/>
                  </a:lnTo>
                  <a:lnTo>
                    <a:pt x="428" y="103"/>
                  </a:lnTo>
                  <a:lnTo>
                    <a:pt x="427" y="105"/>
                  </a:lnTo>
                  <a:lnTo>
                    <a:pt x="425" y="105"/>
                  </a:lnTo>
                  <a:lnTo>
                    <a:pt x="427" y="103"/>
                  </a:lnTo>
                  <a:lnTo>
                    <a:pt x="425" y="102"/>
                  </a:lnTo>
                  <a:lnTo>
                    <a:pt x="425" y="101"/>
                  </a:lnTo>
                  <a:lnTo>
                    <a:pt x="427" y="100"/>
                  </a:lnTo>
                  <a:lnTo>
                    <a:pt x="425" y="99"/>
                  </a:lnTo>
                  <a:lnTo>
                    <a:pt x="425" y="97"/>
                  </a:lnTo>
                  <a:lnTo>
                    <a:pt x="427" y="97"/>
                  </a:lnTo>
                  <a:lnTo>
                    <a:pt x="431" y="97"/>
                  </a:lnTo>
                  <a:lnTo>
                    <a:pt x="431" y="96"/>
                  </a:lnTo>
                  <a:lnTo>
                    <a:pt x="430" y="96"/>
                  </a:lnTo>
                  <a:lnTo>
                    <a:pt x="433" y="95"/>
                  </a:lnTo>
                  <a:lnTo>
                    <a:pt x="431" y="94"/>
                  </a:lnTo>
                  <a:lnTo>
                    <a:pt x="430" y="95"/>
                  </a:lnTo>
                  <a:lnTo>
                    <a:pt x="427" y="95"/>
                  </a:lnTo>
                  <a:lnTo>
                    <a:pt x="425" y="94"/>
                  </a:lnTo>
                  <a:lnTo>
                    <a:pt x="425" y="93"/>
                  </a:lnTo>
                  <a:lnTo>
                    <a:pt x="424" y="91"/>
                  </a:lnTo>
                  <a:lnTo>
                    <a:pt x="423" y="91"/>
                  </a:lnTo>
                  <a:lnTo>
                    <a:pt x="423" y="93"/>
                  </a:lnTo>
                  <a:lnTo>
                    <a:pt x="421" y="93"/>
                  </a:lnTo>
                  <a:lnTo>
                    <a:pt x="419" y="93"/>
                  </a:lnTo>
                  <a:lnTo>
                    <a:pt x="417" y="94"/>
                  </a:lnTo>
                  <a:lnTo>
                    <a:pt x="416" y="94"/>
                  </a:lnTo>
                  <a:lnTo>
                    <a:pt x="413" y="94"/>
                  </a:lnTo>
                  <a:lnTo>
                    <a:pt x="411" y="93"/>
                  </a:lnTo>
                  <a:lnTo>
                    <a:pt x="410" y="91"/>
                  </a:lnTo>
                  <a:lnTo>
                    <a:pt x="411" y="90"/>
                  </a:lnTo>
                  <a:lnTo>
                    <a:pt x="411" y="89"/>
                  </a:lnTo>
                  <a:lnTo>
                    <a:pt x="411" y="87"/>
                  </a:lnTo>
                  <a:lnTo>
                    <a:pt x="410" y="85"/>
                  </a:lnTo>
                  <a:lnTo>
                    <a:pt x="410" y="84"/>
                  </a:lnTo>
                  <a:lnTo>
                    <a:pt x="412" y="85"/>
                  </a:lnTo>
                  <a:lnTo>
                    <a:pt x="413" y="87"/>
                  </a:lnTo>
                  <a:lnTo>
                    <a:pt x="413" y="88"/>
                  </a:lnTo>
                  <a:lnTo>
                    <a:pt x="415" y="89"/>
                  </a:lnTo>
                  <a:lnTo>
                    <a:pt x="416" y="88"/>
                  </a:lnTo>
                  <a:lnTo>
                    <a:pt x="416" y="90"/>
                  </a:lnTo>
                  <a:lnTo>
                    <a:pt x="417" y="91"/>
                  </a:lnTo>
                  <a:lnTo>
                    <a:pt x="418" y="91"/>
                  </a:lnTo>
                  <a:lnTo>
                    <a:pt x="418" y="90"/>
                  </a:lnTo>
                  <a:lnTo>
                    <a:pt x="419" y="89"/>
                  </a:lnTo>
                  <a:lnTo>
                    <a:pt x="421" y="90"/>
                  </a:lnTo>
                  <a:lnTo>
                    <a:pt x="423" y="90"/>
                  </a:lnTo>
                  <a:lnTo>
                    <a:pt x="422" y="89"/>
                  </a:lnTo>
                  <a:lnTo>
                    <a:pt x="421" y="88"/>
                  </a:lnTo>
                  <a:lnTo>
                    <a:pt x="422" y="88"/>
                  </a:lnTo>
                  <a:lnTo>
                    <a:pt x="424" y="87"/>
                  </a:lnTo>
                  <a:lnTo>
                    <a:pt x="423" y="85"/>
                  </a:lnTo>
                  <a:lnTo>
                    <a:pt x="421" y="85"/>
                  </a:lnTo>
                  <a:lnTo>
                    <a:pt x="418" y="87"/>
                  </a:lnTo>
                  <a:lnTo>
                    <a:pt x="417" y="85"/>
                  </a:lnTo>
                  <a:lnTo>
                    <a:pt x="415" y="83"/>
                  </a:lnTo>
                  <a:lnTo>
                    <a:pt x="413" y="83"/>
                  </a:lnTo>
                  <a:lnTo>
                    <a:pt x="411" y="82"/>
                  </a:lnTo>
                  <a:lnTo>
                    <a:pt x="407" y="79"/>
                  </a:lnTo>
                  <a:lnTo>
                    <a:pt x="405" y="78"/>
                  </a:lnTo>
                  <a:lnTo>
                    <a:pt x="406" y="77"/>
                  </a:lnTo>
                  <a:lnTo>
                    <a:pt x="405" y="75"/>
                  </a:lnTo>
                  <a:lnTo>
                    <a:pt x="406" y="75"/>
                  </a:lnTo>
                  <a:lnTo>
                    <a:pt x="406" y="72"/>
                  </a:lnTo>
                  <a:lnTo>
                    <a:pt x="409" y="71"/>
                  </a:lnTo>
                  <a:lnTo>
                    <a:pt x="410" y="66"/>
                  </a:lnTo>
                  <a:lnTo>
                    <a:pt x="410" y="64"/>
                  </a:lnTo>
                  <a:lnTo>
                    <a:pt x="411" y="61"/>
                  </a:lnTo>
                  <a:lnTo>
                    <a:pt x="411" y="60"/>
                  </a:lnTo>
                  <a:lnTo>
                    <a:pt x="412" y="59"/>
                  </a:lnTo>
                  <a:lnTo>
                    <a:pt x="413" y="59"/>
                  </a:lnTo>
                  <a:lnTo>
                    <a:pt x="412" y="58"/>
                  </a:lnTo>
                  <a:lnTo>
                    <a:pt x="410" y="58"/>
                  </a:lnTo>
                  <a:lnTo>
                    <a:pt x="407" y="58"/>
                  </a:lnTo>
                  <a:lnTo>
                    <a:pt x="407" y="57"/>
                  </a:lnTo>
                  <a:lnTo>
                    <a:pt x="409" y="55"/>
                  </a:lnTo>
                  <a:lnTo>
                    <a:pt x="410" y="55"/>
                  </a:lnTo>
                  <a:lnTo>
                    <a:pt x="411" y="54"/>
                  </a:lnTo>
                  <a:lnTo>
                    <a:pt x="412" y="54"/>
                  </a:lnTo>
                  <a:lnTo>
                    <a:pt x="412" y="55"/>
                  </a:lnTo>
                  <a:lnTo>
                    <a:pt x="415" y="55"/>
                  </a:lnTo>
                  <a:lnTo>
                    <a:pt x="416" y="54"/>
                  </a:lnTo>
                  <a:lnTo>
                    <a:pt x="415" y="53"/>
                  </a:lnTo>
                  <a:lnTo>
                    <a:pt x="413" y="52"/>
                  </a:lnTo>
                  <a:lnTo>
                    <a:pt x="415" y="50"/>
                  </a:lnTo>
                  <a:lnTo>
                    <a:pt x="413" y="49"/>
                  </a:lnTo>
                  <a:lnTo>
                    <a:pt x="412" y="49"/>
                  </a:lnTo>
                  <a:lnTo>
                    <a:pt x="410" y="49"/>
                  </a:lnTo>
                  <a:lnTo>
                    <a:pt x="409" y="50"/>
                  </a:lnTo>
                  <a:lnTo>
                    <a:pt x="407" y="50"/>
                  </a:lnTo>
                  <a:lnTo>
                    <a:pt x="406" y="49"/>
                  </a:lnTo>
                  <a:lnTo>
                    <a:pt x="405" y="49"/>
                  </a:lnTo>
                  <a:lnTo>
                    <a:pt x="406" y="47"/>
                  </a:lnTo>
                  <a:lnTo>
                    <a:pt x="409" y="46"/>
                  </a:lnTo>
                  <a:lnTo>
                    <a:pt x="411" y="46"/>
                  </a:lnTo>
                  <a:lnTo>
                    <a:pt x="413" y="44"/>
                  </a:lnTo>
                  <a:lnTo>
                    <a:pt x="415" y="47"/>
                  </a:lnTo>
                  <a:lnTo>
                    <a:pt x="416" y="46"/>
                  </a:lnTo>
                  <a:lnTo>
                    <a:pt x="415" y="44"/>
                  </a:lnTo>
                  <a:lnTo>
                    <a:pt x="415" y="43"/>
                  </a:lnTo>
                  <a:lnTo>
                    <a:pt x="416" y="44"/>
                  </a:lnTo>
                  <a:lnTo>
                    <a:pt x="417" y="46"/>
                  </a:lnTo>
                  <a:lnTo>
                    <a:pt x="418" y="46"/>
                  </a:lnTo>
                  <a:lnTo>
                    <a:pt x="418" y="43"/>
                  </a:lnTo>
                  <a:lnTo>
                    <a:pt x="417" y="42"/>
                  </a:lnTo>
                  <a:lnTo>
                    <a:pt x="419" y="42"/>
                  </a:lnTo>
                  <a:lnTo>
                    <a:pt x="421" y="42"/>
                  </a:lnTo>
                  <a:lnTo>
                    <a:pt x="422" y="43"/>
                  </a:lnTo>
                  <a:lnTo>
                    <a:pt x="423" y="46"/>
                  </a:lnTo>
                  <a:lnTo>
                    <a:pt x="424" y="46"/>
                  </a:lnTo>
                  <a:lnTo>
                    <a:pt x="424" y="44"/>
                  </a:lnTo>
                  <a:lnTo>
                    <a:pt x="423" y="43"/>
                  </a:lnTo>
                  <a:lnTo>
                    <a:pt x="423" y="42"/>
                  </a:lnTo>
                  <a:lnTo>
                    <a:pt x="424" y="41"/>
                  </a:lnTo>
                  <a:lnTo>
                    <a:pt x="427" y="41"/>
                  </a:lnTo>
                  <a:lnTo>
                    <a:pt x="429" y="40"/>
                  </a:lnTo>
                  <a:lnTo>
                    <a:pt x="430" y="40"/>
                  </a:lnTo>
                  <a:lnTo>
                    <a:pt x="429" y="38"/>
                  </a:lnTo>
                  <a:lnTo>
                    <a:pt x="428" y="38"/>
                  </a:lnTo>
                  <a:lnTo>
                    <a:pt x="425" y="38"/>
                  </a:lnTo>
                  <a:lnTo>
                    <a:pt x="427" y="37"/>
                  </a:lnTo>
                  <a:lnTo>
                    <a:pt x="425" y="37"/>
                  </a:lnTo>
                  <a:lnTo>
                    <a:pt x="424" y="37"/>
                  </a:lnTo>
                  <a:lnTo>
                    <a:pt x="421" y="38"/>
                  </a:lnTo>
                  <a:lnTo>
                    <a:pt x="419" y="40"/>
                  </a:lnTo>
                  <a:lnTo>
                    <a:pt x="419" y="38"/>
                  </a:lnTo>
                  <a:lnTo>
                    <a:pt x="419" y="37"/>
                  </a:lnTo>
                  <a:lnTo>
                    <a:pt x="421" y="36"/>
                  </a:lnTo>
                  <a:lnTo>
                    <a:pt x="419" y="35"/>
                  </a:lnTo>
                  <a:lnTo>
                    <a:pt x="418" y="36"/>
                  </a:lnTo>
                  <a:lnTo>
                    <a:pt x="418" y="37"/>
                  </a:lnTo>
                  <a:lnTo>
                    <a:pt x="417" y="38"/>
                  </a:lnTo>
                  <a:lnTo>
                    <a:pt x="416" y="40"/>
                  </a:lnTo>
                  <a:lnTo>
                    <a:pt x="413" y="40"/>
                  </a:lnTo>
                  <a:lnTo>
                    <a:pt x="412" y="42"/>
                  </a:lnTo>
                  <a:lnTo>
                    <a:pt x="412" y="43"/>
                  </a:lnTo>
                  <a:lnTo>
                    <a:pt x="410" y="43"/>
                  </a:lnTo>
                  <a:lnTo>
                    <a:pt x="409" y="42"/>
                  </a:lnTo>
                  <a:lnTo>
                    <a:pt x="410" y="40"/>
                  </a:lnTo>
                  <a:lnTo>
                    <a:pt x="411" y="41"/>
                  </a:lnTo>
                  <a:lnTo>
                    <a:pt x="412" y="41"/>
                  </a:lnTo>
                  <a:lnTo>
                    <a:pt x="412" y="40"/>
                  </a:lnTo>
                  <a:lnTo>
                    <a:pt x="412" y="38"/>
                  </a:lnTo>
                  <a:lnTo>
                    <a:pt x="413" y="38"/>
                  </a:lnTo>
                  <a:lnTo>
                    <a:pt x="413" y="37"/>
                  </a:lnTo>
                  <a:lnTo>
                    <a:pt x="412" y="37"/>
                  </a:lnTo>
                  <a:lnTo>
                    <a:pt x="413" y="36"/>
                  </a:lnTo>
                  <a:lnTo>
                    <a:pt x="413" y="35"/>
                  </a:lnTo>
                  <a:lnTo>
                    <a:pt x="412" y="35"/>
                  </a:lnTo>
                  <a:lnTo>
                    <a:pt x="411" y="35"/>
                  </a:lnTo>
                  <a:lnTo>
                    <a:pt x="412" y="34"/>
                  </a:lnTo>
                  <a:lnTo>
                    <a:pt x="412" y="32"/>
                  </a:lnTo>
                  <a:lnTo>
                    <a:pt x="413" y="34"/>
                  </a:lnTo>
                  <a:lnTo>
                    <a:pt x="415" y="34"/>
                  </a:lnTo>
                  <a:lnTo>
                    <a:pt x="419" y="34"/>
                  </a:lnTo>
                  <a:lnTo>
                    <a:pt x="421" y="32"/>
                  </a:lnTo>
                  <a:lnTo>
                    <a:pt x="419" y="31"/>
                  </a:lnTo>
                  <a:lnTo>
                    <a:pt x="413" y="31"/>
                  </a:lnTo>
                  <a:lnTo>
                    <a:pt x="416" y="30"/>
                  </a:lnTo>
                  <a:lnTo>
                    <a:pt x="417" y="30"/>
                  </a:lnTo>
                  <a:lnTo>
                    <a:pt x="418" y="29"/>
                  </a:lnTo>
                  <a:lnTo>
                    <a:pt x="421" y="28"/>
                  </a:lnTo>
                  <a:lnTo>
                    <a:pt x="419" y="26"/>
                  </a:lnTo>
                  <a:lnTo>
                    <a:pt x="418" y="26"/>
                  </a:lnTo>
                  <a:lnTo>
                    <a:pt x="417" y="28"/>
                  </a:lnTo>
                  <a:lnTo>
                    <a:pt x="416" y="29"/>
                  </a:lnTo>
                  <a:lnTo>
                    <a:pt x="415" y="28"/>
                  </a:lnTo>
                  <a:lnTo>
                    <a:pt x="421" y="22"/>
                  </a:lnTo>
                  <a:lnTo>
                    <a:pt x="423" y="19"/>
                  </a:lnTo>
                  <a:lnTo>
                    <a:pt x="427" y="16"/>
                  </a:lnTo>
                  <a:lnTo>
                    <a:pt x="429" y="13"/>
                  </a:lnTo>
                  <a:lnTo>
                    <a:pt x="429" y="11"/>
                  </a:lnTo>
                  <a:lnTo>
                    <a:pt x="427" y="12"/>
                  </a:lnTo>
                  <a:lnTo>
                    <a:pt x="424" y="13"/>
                  </a:lnTo>
                  <a:lnTo>
                    <a:pt x="422" y="17"/>
                  </a:lnTo>
                  <a:lnTo>
                    <a:pt x="418" y="20"/>
                  </a:lnTo>
                  <a:lnTo>
                    <a:pt x="416" y="24"/>
                  </a:lnTo>
                  <a:lnTo>
                    <a:pt x="413" y="26"/>
                  </a:lnTo>
                  <a:lnTo>
                    <a:pt x="412" y="29"/>
                  </a:lnTo>
                  <a:lnTo>
                    <a:pt x="411" y="30"/>
                  </a:lnTo>
                  <a:lnTo>
                    <a:pt x="410" y="30"/>
                  </a:lnTo>
                  <a:lnTo>
                    <a:pt x="409" y="29"/>
                  </a:lnTo>
                  <a:lnTo>
                    <a:pt x="407" y="26"/>
                  </a:lnTo>
                  <a:lnTo>
                    <a:pt x="405" y="24"/>
                  </a:lnTo>
                  <a:lnTo>
                    <a:pt x="404" y="23"/>
                  </a:lnTo>
                  <a:lnTo>
                    <a:pt x="403" y="23"/>
                  </a:lnTo>
                  <a:lnTo>
                    <a:pt x="401" y="23"/>
                  </a:lnTo>
                  <a:lnTo>
                    <a:pt x="403" y="25"/>
                  </a:lnTo>
                  <a:lnTo>
                    <a:pt x="404" y="25"/>
                  </a:lnTo>
                  <a:lnTo>
                    <a:pt x="405" y="25"/>
                  </a:lnTo>
                  <a:lnTo>
                    <a:pt x="406" y="26"/>
                  </a:lnTo>
                  <a:lnTo>
                    <a:pt x="407" y="28"/>
                  </a:lnTo>
                  <a:lnTo>
                    <a:pt x="409" y="30"/>
                  </a:lnTo>
                  <a:lnTo>
                    <a:pt x="410" y="31"/>
                  </a:lnTo>
                  <a:lnTo>
                    <a:pt x="410" y="34"/>
                  </a:lnTo>
                  <a:lnTo>
                    <a:pt x="410" y="35"/>
                  </a:lnTo>
                  <a:lnTo>
                    <a:pt x="407" y="34"/>
                  </a:lnTo>
                  <a:lnTo>
                    <a:pt x="406" y="32"/>
                  </a:lnTo>
                  <a:lnTo>
                    <a:pt x="405" y="31"/>
                  </a:lnTo>
                  <a:lnTo>
                    <a:pt x="404" y="32"/>
                  </a:lnTo>
                  <a:lnTo>
                    <a:pt x="405" y="34"/>
                  </a:lnTo>
                  <a:lnTo>
                    <a:pt x="406" y="35"/>
                  </a:lnTo>
                  <a:lnTo>
                    <a:pt x="407" y="35"/>
                  </a:lnTo>
                  <a:lnTo>
                    <a:pt x="407" y="37"/>
                  </a:lnTo>
                  <a:lnTo>
                    <a:pt x="406" y="37"/>
                  </a:lnTo>
                  <a:lnTo>
                    <a:pt x="404" y="36"/>
                  </a:lnTo>
                  <a:lnTo>
                    <a:pt x="403" y="36"/>
                  </a:lnTo>
                  <a:lnTo>
                    <a:pt x="404" y="37"/>
                  </a:lnTo>
                  <a:lnTo>
                    <a:pt x="405" y="40"/>
                  </a:lnTo>
                  <a:lnTo>
                    <a:pt x="406" y="41"/>
                  </a:lnTo>
                  <a:lnTo>
                    <a:pt x="406" y="42"/>
                  </a:lnTo>
                  <a:lnTo>
                    <a:pt x="406" y="43"/>
                  </a:lnTo>
                  <a:lnTo>
                    <a:pt x="405" y="43"/>
                  </a:lnTo>
                  <a:lnTo>
                    <a:pt x="404" y="42"/>
                  </a:lnTo>
                  <a:lnTo>
                    <a:pt x="403" y="41"/>
                  </a:lnTo>
                  <a:lnTo>
                    <a:pt x="401" y="40"/>
                  </a:lnTo>
                  <a:lnTo>
                    <a:pt x="400" y="38"/>
                  </a:lnTo>
                  <a:lnTo>
                    <a:pt x="400" y="37"/>
                  </a:lnTo>
                  <a:lnTo>
                    <a:pt x="400" y="36"/>
                  </a:lnTo>
                  <a:lnTo>
                    <a:pt x="401" y="35"/>
                  </a:lnTo>
                  <a:lnTo>
                    <a:pt x="401" y="34"/>
                  </a:lnTo>
                  <a:lnTo>
                    <a:pt x="400" y="34"/>
                  </a:lnTo>
                  <a:lnTo>
                    <a:pt x="399" y="34"/>
                  </a:lnTo>
                  <a:lnTo>
                    <a:pt x="399" y="31"/>
                  </a:lnTo>
                  <a:lnTo>
                    <a:pt x="399" y="30"/>
                  </a:lnTo>
                  <a:lnTo>
                    <a:pt x="400" y="30"/>
                  </a:lnTo>
                  <a:lnTo>
                    <a:pt x="403" y="30"/>
                  </a:lnTo>
                  <a:lnTo>
                    <a:pt x="405" y="29"/>
                  </a:lnTo>
                  <a:lnTo>
                    <a:pt x="406" y="29"/>
                  </a:lnTo>
                  <a:lnTo>
                    <a:pt x="405" y="28"/>
                  </a:lnTo>
                  <a:lnTo>
                    <a:pt x="404" y="28"/>
                  </a:lnTo>
                  <a:lnTo>
                    <a:pt x="400" y="28"/>
                  </a:lnTo>
                  <a:lnTo>
                    <a:pt x="399" y="28"/>
                  </a:lnTo>
                  <a:lnTo>
                    <a:pt x="399" y="25"/>
                  </a:lnTo>
                  <a:lnTo>
                    <a:pt x="398" y="24"/>
                  </a:lnTo>
                  <a:lnTo>
                    <a:pt x="398" y="22"/>
                  </a:lnTo>
                  <a:lnTo>
                    <a:pt x="397" y="18"/>
                  </a:lnTo>
                  <a:lnTo>
                    <a:pt x="397" y="14"/>
                  </a:lnTo>
                  <a:lnTo>
                    <a:pt x="397" y="13"/>
                  </a:lnTo>
                  <a:lnTo>
                    <a:pt x="397" y="14"/>
                  </a:lnTo>
                  <a:lnTo>
                    <a:pt x="397" y="22"/>
                  </a:lnTo>
                  <a:lnTo>
                    <a:pt x="397" y="26"/>
                  </a:lnTo>
                  <a:lnTo>
                    <a:pt x="395" y="30"/>
                  </a:lnTo>
                  <a:lnTo>
                    <a:pt x="397" y="31"/>
                  </a:lnTo>
                  <a:lnTo>
                    <a:pt x="398" y="34"/>
                  </a:lnTo>
                  <a:lnTo>
                    <a:pt x="398" y="36"/>
                  </a:lnTo>
                  <a:lnTo>
                    <a:pt x="397" y="36"/>
                  </a:lnTo>
                  <a:lnTo>
                    <a:pt x="395" y="34"/>
                  </a:lnTo>
                  <a:lnTo>
                    <a:pt x="394" y="34"/>
                  </a:lnTo>
                  <a:lnTo>
                    <a:pt x="394" y="35"/>
                  </a:lnTo>
                  <a:lnTo>
                    <a:pt x="393" y="37"/>
                  </a:lnTo>
                  <a:lnTo>
                    <a:pt x="393" y="38"/>
                  </a:lnTo>
                  <a:lnTo>
                    <a:pt x="391" y="38"/>
                  </a:lnTo>
                  <a:lnTo>
                    <a:pt x="391" y="37"/>
                  </a:lnTo>
                  <a:lnTo>
                    <a:pt x="388" y="36"/>
                  </a:lnTo>
                  <a:lnTo>
                    <a:pt x="388" y="35"/>
                  </a:lnTo>
                  <a:lnTo>
                    <a:pt x="389" y="34"/>
                  </a:lnTo>
                  <a:lnTo>
                    <a:pt x="392" y="32"/>
                  </a:lnTo>
                  <a:lnTo>
                    <a:pt x="392" y="31"/>
                  </a:lnTo>
                  <a:lnTo>
                    <a:pt x="391" y="30"/>
                  </a:lnTo>
                  <a:lnTo>
                    <a:pt x="389" y="31"/>
                  </a:lnTo>
                  <a:lnTo>
                    <a:pt x="387" y="32"/>
                  </a:lnTo>
                  <a:lnTo>
                    <a:pt x="388" y="31"/>
                  </a:lnTo>
                  <a:lnTo>
                    <a:pt x="388" y="30"/>
                  </a:lnTo>
                  <a:lnTo>
                    <a:pt x="387" y="30"/>
                  </a:lnTo>
                  <a:lnTo>
                    <a:pt x="386" y="30"/>
                  </a:lnTo>
                  <a:lnTo>
                    <a:pt x="387" y="29"/>
                  </a:lnTo>
                  <a:lnTo>
                    <a:pt x="388" y="26"/>
                  </a:lnTo>
                  <a:lnTo>
                    <a:pt x="387" y="25"/>
                  </a:lnTo>
                  <a:lnTo>
                    <a:pt x="386" y="26"/>
                  </a:lnTo>
                  <a:lnTo>
                    <a:pt x="386" y="25"/>
                  </a:lnTo>
                  <a:lnTo>
                    <a:pt x="386" y="24"/>
                  </a:lnTo>
                  <a:lnTo>
                    <a:pt x="388" y="23"/>
                  </a:lnTo>
                  <a:lnTo>
                    <a:pt x="391" y="20"/>
                  </a:lnTo>
                  <a:lnTo>
                    <a:pt x="394" y="16"/>
                  </a:lnTo>
                  <a:lnTo>
                    <a:pt x="394" y="14"/>
                  </a:lnTo>
                  <a:lnTo>
                    <a:pt x="393" y="16"/>
                  </a:lnTo>
                  <a:lnTo>
                    <a:pt x="392" y="17"/>
                  </a:lnTo>
                  <a:lnTo>
                    <a:pt x="387" y="22"/>
                  </a:lnTo>
                  <a:lnTo>
                    <a:pt x="386" y="20"/>
                  </a:lnTo>
                  <a:lnTo>
                    <a:pt x="387" y="19"/>
                  </a:lnTo>
                  <a:lnTo>
                    <a:pt x="387" y="17"/>
                  </a:lnTo>
                  <a:lnTo>
                    <a:pt x="388" y="16"/>
                  </a:lnTo>
                  <a:lnTo>
                    <a:pt x="388" y="14"/>
                  </a:lnTo>
                  <a:lnTo>
                    <a:pt x="387" y="13"/>
                  </a:lnTo>
                  <a:lnTo>
                    <a:pt x="387" y="14"/>
                  </a:lnTo>
                  <a:lnTo>
                    <a:pt x="386" y="16"/>
                  </a:lnTo>
                  <a:lnTo>
                    <a:pt x="386" y="17"/>
                  </a:lnTo>
                  <a:lnTo>
                    <a:pt x="386" y="13"/>
                  </a:lnTo>
                  <a:lnTo>
                    <a:pt x="386" y="11"/>
                  </a:lnTo>
                  <a:lnTo>
                    <a:pt x="386" y="8"/>
                  </a:lnTo>
                  <a:lnTo>
                    <a:pt x="384" y="7"/>
                  </a:lnTo>
                  <a:lnTo>
                    <a:pt x="384" y="8"/>
                  </a:lnTo>
                  <a:lnTo>
                    <a:pt x="384" y="10"/>
                  </a:lnTo>
                  <a:lnTo>
                    <a:pt x="384" y="12"/>
                  </a:lnTo>
                  <a:lnTo>
                    <a:pt x="384" y="16"/>
                  </a:lnTo>
                  <a:lnTo>
                    <a:pt x="384" y="18"/>
                  </a:lnTo>
                  <a:lnTo>
                    <a:pt x="384" y="19"/>
                  </a:lnTo>
                  <a:lnTo>
                    <a:pt x="384" y="2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3" name="Freeform 76"/>
            <p:cNvSpPr>
              <a:spLocks/>
            </p:cNvSpPr>
            <p:nvPr userDrawn="1"/>
          </p:nvSpPr>
          <p:spPr bwMode="auto">
            <a:xfrm>
              <a:off x="8283575" y="6400801"/>
              <a:ext cx="142875" cy="174625"/>
            </a:xfrm>
            <a:custGeom>
              <a:avLst/>
              <a:gdLst/>
              <a:ahLst/>
              <a:cxnLst>
                <a:cxn ang="0">
                  <a:pos x="210" y="353"/>
                </a:cxn>
                <a:cxn ang="0">
                  <a:pos x="201" y="337"/>
                </a:cxn>
                <a:cxn ang="0">
                  <a:pos x="196" y="313"/>
                </a:cxn>
                <a:cxn ang="0">
                  <a:pos x="213" y="303"/>
                </a:cxn>
                <a:cxn ang="0">
                  <a:pos x="177" y="328"/>
                </a:cxn>
                <a:cxn ang="0">
                  <a:pos x="195" y="364"/>
                </a:cxn>
                <a:cxn ang="0">
                  <a:pos x="178" y="356"/>
                </a:cxn>
                <a:cxn ang="0">
                  <a:pos x="157" y="344"/>
                </a:cxn>
                <a:cxn ang="0">
                  <a:pos x="137" y="349"/>
                </a:cxn>
                <a:cxn ang="0">
                  <a:pos x="115" y="335"/>
                </a:cxn>
                <a:cxn ang="0">
                  <a:pos x="102" y="349"/>
                </a:cxn>
                <a:cxn ang="0">
                  <a:pos x="86" y="361"/>
                </a:cxn>
                <a:cxn ang="0">
                  <a:pos x="67" y="345"/>
                </a:cxn>
                <a:cxn ang="0">
                  <a:pos x="9" y="361"/>
                </a:cxn>
                <a:cxn ang="0">
                  <a:pos x="29" y="323"/>
                </a:cxn>
                <a:cxn ang="0">
                  <a:pos x="17" y="307"/>
                </a:cxn>
                <a:cxn ang="0">
                  <a:pos x="14" y="286"/>
                </a:cxn>
                <a:cxn ang="0">
                  <a:pos x="5" y="249"/>
                </a:cxn>
                <a:cxn ang="0">
                  <a:pos x="48" y="244"/>
                </a:cxn>
                <a:cxn ang="0">
                  <a:pos x="54" y="224"/>
                </a:cxn>
                <a:cxn ang="0">
                  <a:pos x="83" y="192"/>
                </a:cxn>
                <a:cxn ang="0">
                  <a:pos x="49" y="184"/>
                </a:cxn>
                <a:cxn ang="0">
                  <a:pos x="30" y="180"/>
                </a:cxn>
                <a:cxn ang="0">
                  <a:pos x="26" y="166"/>
                </a:cxn>
                <a:cxn ang="0">
                  <a:pos x="32" y="136"/>
                </a:cxn>
                <a:cxn ang="0">
                  <a:pos x="65" y="108"/>
                </a:cxn>
                <a:cxn ang="0">
                  <a:pos x="85" y="83"/>
                </a:cxn>
                <a:cxn ang="0">
                  <a:pos x="101" y="76"/>
                </a:cxn>
                <a:cxn ang="0">
                  <a:pos x="126" y="88"/>
                </a:cxn>
                <a:cxn ang="0">
                  <a:pos x="162" y="87"/>
                </a:cxn>
                <a:cxn ang="0">
                  <a:pos x="171" y="51"/>
                </a:cxn>
                <a:cxn ang="0">
                  <a:pos x="171" y="43"/>
                </a:cxn>
                <a:cxn ang="0">
                  <a:pos x="190" y="76"/>
                </a:cxn>
                <a:cxn ang="0">
                  <a:pos x="225" y="65"/>
                </a:cxn>
                <a:cxn ang="0">
                  <a:pos x="251" y="78"/>
                </a:cxn>
                <a:cxn ang="0">
                  <a:pos x="278" y="99"/>
                </a:cxn>
                <a:cxn ang="0">
                  <a:pos x="263" y="73"/>
                </a:cxn>
                <a:cxn ang="0">
                  <a:pos x="247" y="47"/>
                </a:cxn>
                <a:cxn ang="0">
                  <a:pos x="243" y="2"/>
                </a:cxn>
                <a:cxn ang="0">
                  <a:pos x="278" y="26"/>
                </a:cxn>
                <a:cxn ang="0">
                  <a:pos x="319" y="43"/>
                </a:cxn>
                <a:cxn ang="0">
                  <a:pos x="318" y="69"/>
                </a:cxn>
                <a:cxn ang="0">
                  <a:pos x="333" y="90"/>
                </a:cxn>
                <a:cxn ang="0">
                  <a:pos x="363" y="83"/>
                </a:cxn>
                <a:cxn ang="0">
                  <a:pos x="386" y="65"/>
                </a:cxn>
                <a:cxn ang="0">
                  <a:pos x="392" y="87"/>
                </a:cxn>
                <a:cxn ang="0">
                  <a:pos x="387" y="113"/>
                </a:cxn>
                <a:cxn ang="0">
                  <a:pos x="371" y="124"/>
                </a:cxn>
                <a:cxn ang="0">
                  <a:pos x="396" y="133"/>
                </a:cxn>
                <a:cxn ang="0">
                  <a:pos x="424" y="147"/>
                </a:cxn>
                <a:cxn ang="0">
                  <a:pos x="446" y="174"/>
                </a:cxn>
                <a:cxn ang="0">
                  <a:pos x="419" y="198"/>
                </a:cxn>
                <a:cxn ang="0">
                  <a:pos x="413" y="209"/>
                </a:cxn>
                <a:cxn ang="0">
                  <a:pos x="377" y="234"/>
                </a:cxn>
                <a:cxn ang="0">
                  <a:pos x="415" y="266"/>
                </a:cxn>
                <a:cxn ang="0">
                  <a:pos x="385" y="273"/>
                </a:cxn>
                <a:cxn ang="0">
                  <a:pos x="384" y="304"/>
                </a:cxn>
                <a:cxn ang="0">
                  <a:pos x="389" y="339"/>
                </a:cxn>
                <a:cxn ang="0">
                  <a:pos x="375" y="364"/>
                </a:cxn>
                <a:cxn ang="0">
                  <a:pos x="348" y="384"/>
                </a:cxn>
                <a:cxn ang="0">
                  <a:pos x="308" y="372"/>
                </a:cxn>
                <a:cxn ang="0">
                  <a:pos x="277" y="387"/>
                </a:cxn>
                <a:cxn ang="0">
                  <a:pos x="242" y="363"/>
                </a:cxn>
              </a:cxnLst>
              <a:rect l="0" t="0" r="r" b="b"/>
              <a:pathLst>
                <a:path w="448" h="547">
                  <a:moveTo>
                    <a:pt x="233" y="547"/>
                  </a:moveTo>
                  <a:lnTo>
                    <a:pt x="219" y="547"/>
                  </a:lnTo>
                  <a:lnTo>
                    <a:pt x="218" y="533"/>
                  </a:lnTo>
                  <a:lnTo>
                    <a:pt x="216" y="524"/>
                  </a:lnTo>
                  <a:lnTo>
                    <a:pt x="216" y="506"/>
                  </a:lnTo>
                  <a:lnTo>
                    <a:pt x="216" y="503"/>
                  </a:lnTo>
                  <a:lnTo>
                    <a:pt x="216" y="499"/>
                  </a:lnTo>
                  <a:lnTo>
                    <a:pt x="220" y="474"/>
                  </a:lnTo>
                  <a:lnTo>
                    <a:pt x="221" y="462"/>
                  </a:lnTo>
                  <a:lnTo>
                    <a:pt x="224" y="448"/>
                  </a:lnTo>
                  <a:lnTo>
                    <a:pt x="226" y="438"/>
                  </a:lnTo>
                  <a:lnTo>
                    <a:pt x="229" y="429"/>
                  </a:lnTo>
                  <a:lnTo>
                    <a:pt x="233" y="420"/>
                  </a:lnTo>
                  <a:lnTo>
                    <a:pt x="236" y="417"/>
                  </a:lnTo>
                  <a:lnTo>
                    <a:pt x="236" y="415"/>
                  </a:lnTo>
                  <a:lnTo>
                    <a:pt x="231" y="402"/>
                  </a:lnTo>
                  <a:lnTo>
                    <a:pt x="229" y="398"/>
                  </a:lnTo>
                  <a:lnTo>
                    <a:pt x="227" y="394"/>
                  </a:lnTo>
                  <a:lnTo>
                    <a:pt x="229" y="386"/>
                  </a:lnTo>
                  <a:lnTo>
                    <a:pt x="229" y="380"/>
                  </a:lnTo>
                  <a:lnTo>
                    <a:pt x="227" y="374"/>
                  </a:lnTo>
                  <a:lnTo>
                    <a:pt x="225" y="367"/>
                  </a:lnTo>
                  <a:lnTo>
                    <a:pt x="224" y="361"/>
                  </a:lnTo>
                  <a:lnTo>
                    <a:pt x="221" y="353"/>
                  </a:lnTo>
                  <a:lnTo>
                    <a:pt x="220" y="351"/>
                  </a:lnTo>
                  <a:lnTo>
                    <a:pt x="219" y="351"/>
                  </a:lnTo>
                  <a:lnTo>
                    <a:pt x="220" y="355"/>
                  </a:lnTo>
                  <a:lnTo>
                    <a:pt x="220" y="356"/>
                  </a:lnTo>
                  <a:lnTo>
                    <a:pt x="219" y="358"/>
                  </a:lnTo>
                  <a:lnTo>
                    <a:pt x="219" y="361"/>
                  </a:lnTo>
                  <a:lnTo>
                    <a:pt x="218" y="360"/>
                  </a:lnTo>
                  <a:lnTo>
                    <a:pt x="218" y="361"/>
                  </a:lnTo>
                  <a:lnTo>
                    <a:pt x="216" y="361"/>
                  </a:lnTo>
                  <a:lnTo>
                    <a:pt x="215" y="360"/>
                  </a:lnTo>
                  <a:lnTo>
                    <a:pt x="214" y="361"/>
                  </a:lnTo>
                  <a:lnTo>
                    <a:pt x="212" y="362"/>
                  </a:lnTo>
                  <a:lnTo>
                    <a:pt x="212" y="363"/>
                  </a:lnTo>
                  <a:lnTo>
                    <a:pt x="210" y="361"/>
                  </a:lnTo>
                  <a:lnTo>
                    <a:pt x="210" y="360"/>
                  </a:lnTo>
                  <a:lnTo>
                    <a:pt x="209" y="360"/>
                  </a:lnTo>
                  <a:lnTo>
                    <a:pt x="208" y="361"/>
                  </a:lnTo>
                  <a:lnTo>
                    <a:pt x="207" y="362"/>
                  </a:lnTo>
                  <a:lnTo>
                    <a:pt x="202" y="364"/>
                  </a:lnTo>
                  <a:lnTo>
                    <a:pt x="201" y="364"/>
                  </a:lnTo>
                  <a:lnTo>
                    <a:pt x="202" y="362"/>
                  </a:lnTo>
                  <a:lnTo>
                    <a:pt x="204" y="361"/>
                  </a:lnTo>
                  <a:lnTo>
                    <a:pt x="204" y="358"/>
                  </a:lnTo>
                  <a:lnTo>
                    <a:pt x="206" y="358"/>
                  </a:lnTo>
                  <a:lnTo>
                    <a:pt x="206" y="357"/>
                  </a:lnTo>
                  <a:lnTo>
                    <a:pt x="203" y="358"/>
                  </a:lnTo>
                  <a:lnTo>
                    <a:pt x="203" y="357"/>
                  </a:lnTo>
                  <a:lnTo>
                    <a:pt x="206" y="356"/>
                  </a:lnTo>
                  <a:lnTo>
                    <a:pt x="207" y="355"/>
                  </a:lnTo>
                  <a:lnTo>
                    <a:pt x="206" y="355"/>
                  </a:lnTo>
                  <a:lnTo>
                    <a:pt x="207" y="353"/>
                  </a:lnTo>
                  <a:lnTo>
                    <a:pt x="208" y="356"/>
                  </a:lnTo>
                  <a:lnTo>
                    <a:pt x="207" y="357"/>
                  </a:lnTo>
                  <a:lnTo>
                    <a:pt x="208" y="358"/>
                  </a:lnTo>
                  <a:lnTo>
                    <a:pt x="209" y="356"/>
                  </a:lnTo>
                  <a:lnTo>
                    <a:pt x="210" y="356"/>
                  </a:lnTo>
                  <a:lnTo>
                    <a:pt x="210" y="353"/>
                  </a:lnTo>
                  <a:lnTo>
                    <a:pt x="209" y="353"/>
                  </a:lnTo>
                  <a:lnTo>
                    <a:pt x="209" y="351"/>
                  </a:lnTo>
                  <a:lnTo>
                    <a:pt x="209" y="350"/>
                  </a:lnTo>
                  <a:lnTo>
                    <a:pt x="208" y="350"/>
                  </a:lnTo>
                  <a:lnTo>
                    <a:pt x="209" y="349"/>
                  </a:lnTo>
                  <a:lnTo>
                    <a:pt x="212" y="347"/>
                  </a:lnTo>
                  <a:lnTo>
                    <a:pt x="214" y="347"/>
                  </a:lnTo>
                  <a:lnTo>
                    <a:pt x="215" y="347"/>
                  </a:lnTo>
                  <a:lnTo>
                    <a:pt x="218" y="344"/>
                  </a:lnTo>
                  <a:lnTo>
                    <a:pt x="220" y="340"/>
                  </a:lnTo>
                  <a:lnTo>
                    <a:pt x="223" y="338"/>
                  </a:lnTo>
                  <a:lnTo>
                    <a:pt x="223" y="337"/>
                  </a:lnTo>
                  <a:lnTo>
                    <a:pt x="223" y="335"/>
                  </a:lnTo>
                  <a:lnTo>
                    <a:pt x="221" y="337"/>
                  </a:lnTo>
                  <a:lnTo>
                    <a:pt x="221" y="335"/>
                  </a:lnTo>
                  <a:lnTo>
                    <a:pt x="220" y="337"/>
                  </a:lnTo>
                  <a:lnTo>
                    <a:pt x="219" y="338"/>
                  </a:lnTo>
                  <a:lnTo>
                    <a:pt x="216" y="338"/>
                  </a:lnTo>
                  <a:lnTo>
                    <a:pt x="216" y="337"/>
                  </a:lnTo>
                  <a:lnTo>
                    <a:pt x="215" y="338"/>
                  </a:lnTo>
                  <a:lnTo>
                    <a:pt x="215" y="335"/>
                  </a:lnTo>
                  <a:lnTo>
                    <a:pt x="215" y="334"/>
                  </a:lnTo>
                  <a:lnTo>
                    <a:pt x="216" y="333"/>
                  </a:lnTo>
                  <a:lnTo>
                    <a:pt x="219" y="332"/>
                  </a:lnTo>
                  <a:lnTo>
                    <a:pt x="215" y="334"/>
                  </a:lnTo>
                  <a:lnTo>
                    <a:pt x="215" y="332"/>
                  </a:lnTo>
                  <a:lnTo>
                    <a:pt x="215" y="331"/>
                  </a:lnTo>
                  <a:lnTo>
                    <a:pt x="215" y="329"/>
                  </a:lnTo>
                  <a:lnTo>
                    <a:pt x="214" y="329"/>
                  </a:lnTo>
                  <a:lnTo>
                    <a:pt x="213" y="332"/>
                  </a:lnTo>
                  <a:lnTo>
                    <a:pt x="213" y="329"/>
                  </a:lnTo>
                  <a:lnTo>
                    <a:pt x="212" y="328"/>
                  </a:lnTo>
                  <a:lnTo>
                    <a:pt x="212" y="327"/>
                  </a:lnTo>
                  <a:lnTo>
                    <a:pt x="210" y="329"/>
                  </a:lnTo>
                  <a:lnTo>
                    <a:pt x="209" y="329"/>
                  </a:lnTo>
                  <a:lnTo>
                    <a:pt x="209" y="331"/>
                  </a:lnTo>
                  <a:lnTo>
                    <a:pt x="209" y="333"/>
                  </a:lnTo>
                  <a:lnTo>
                    <a:pt x="208" y="333"/>
                  </a:lnTo>
                  <a:lnTo>
                    <a:pt x="208" y="334"/>
                  </a:lnTo>
                  <a:lnTo>
                    <a:pt x="210" y="334"/>
                  </a:lnTo>
                  <a:lnTo>
                    <a:pt x="210" y="335"/>
                  </a:lnTo>
                  <a:lnTo>
                    <a:pt x="212" y="337"/>
                  </a:lnTo>
                  <a:lnTo>
                    <a:pt x="210" y="339"/>
                  </a:lnTo>
                  <a:lnTo>
                    <a:pt x="209" y="338"/>
                  </a:lnTo>
                  <a:lnTo>
                    <a:pt x="209" y="337"/>
                  </a:lnTo>
                  <a:lnTo>
                    <a:pt x="208" y="338"/>
                  </a:lnTo>
                  <a:lnTo>
                    <a:pt x="208" y="339"/>
                  </a:lnTo>
                  <a:lnTo>
                    <a:pt x="207" y="337"/>
                  </a:lnTo>
                  <a:lnTo>
                    <a:pt x="206" y="335"/>
                  </a:lnTo>
                  <a:lnTo>
                    <a:pt x="204" y="335"/>
                  </a:lnTo>
                  <a:lnTo>
                    <a:pt x="204" y="337"/>
                  </a:lnTo>
                  <a:lnTo>
                    <a:pt x="203" y="337"/>
                  </a:lnTo>
                  <a:lnTo>
                    <a:pt x="202" y="338"/>
                  </a:lnTo>
                  <a:lnTo>
                    <a:pt x="201" y="339"/>
                  </a:lnTo>
                  <a:lnTo>
                    <a:pt x="200" y="340"/>
                  </a:lnTo>
                  <a:lnTo>
                    <a:pt x="197" y="341"/>
                  </a:lnTo>
                  <a:lnTo>
                    <a:pt x="197" y="340"/>
                  </a:lnTo>
                  <a:lnTo>
                    <a:pt x="200" y="339"/>
                  </a:lnTo>
                  <a:lnTo>
                    <a:pt x="200" y="338"/>
                  </a:lnTo>
                  <a:lnTo>
                    <a:pt x="200" y="337"/>
                  </a:lnTo>
                  <a:lnTo>
                    <a:pt x="201" y="337"/>
                  </a:lnTo>
                  <a:lnTo>
                    <a:pt x="200" y="335"/>
                  </a:lnTo>
                  <a:lnTo>
                    <a:pt x="197" y="335"/>
                  </a:lnTo>
                  <a:lnTo>
                    <a:pt x="198" y="334"/>
                  </a:lnTo>
                  <a:lnTo>
                    <a:pt x="200" y="331"/>
                  </a:lnTo>
                  <a:lnTo>
                    <a:pt x="203" y="331"/>
                  </a:lnTo>
                  <a:lnTo>
                    <a:pt x="204" y="332"/>
                  </a:lnTo>
                  <a:lnTo>
                    <a:pt x="203" y="329"/>
                  </a:lnTo>
                  <a:lnTo>
                    <a:pt x="204" y="329"/>
                  </a:lnTo>
                  <a:lnTo>
                    <a:pt x="207" y="329"/>
                  </a:lnTo>
                  <a:lnTo>
                    <a:pt x="207" y="331"/>
                  </a:lnTo>
                  <a:lnTo>
                    <a:pt x="208" y="329"/>
                  </a:lnTo>
                  <a:lnTo>
                    <a:pt x="210" y="328"/>
                  </a:lnTo>
                  <a:lnTo>
                    <a:pt x="212" y="326"/>
                  </a:lnTo>
                  <a:lnTo>
                    <a:pt x="212" y="325"/>
                  </a:lnTo>
                  <a:lnTo>
                    <a:pt x="210" y="325"/>
                  </a:lnTo>
                  <a:lnTo>
                    <a:pt x="209" y="325"/>
                  </a:lnTo>
                  <a:lnTo>
                    <a:pt x="207" y="325"/>
                  </a:lnTo>
                  <a:lnTo>
                    <a:pt x="209" y="323"/>
                  </a:lnTo>
                  <a:lnTo>
                    <a:pt x="208" y="322"/>
                  </a:lnTo>
                  <a:lnTo>
                    <a:pt x="209" y="320"/>
                  </a:lnTo>
                  <a:lnTo>
                    <a:pt x="209" y="317"/>
                  </a:lnTo>
                  <a:lnTo>
                    <a:pt x="209" y="319"/>
                  </a:lnTo>
                  <a:lnTo>
                    <a:pt x="207" y="319"/>
                  </a:lnTo>
                  <a:lnTo>
                    <a:pt x="204" y="320"/>
                  </a:lnTo>
                  <a:lnTo>
                    <a:pt x="203" y="321"/>
                  </a:lnTo>
                  <a:lnTo>
                    <a:pt x="202" y="322"/>
                  </a:lnTo>
                  <a:lnTo>
                    <a:pt x="201" y="325"/>
                  </a:lnTo>
                  <a:lnTo>
                    <a:pt x="201" y="323"/>
                  </a:lnTo>
                  <a:lnTo>
                    <a:pt x="200" y="321"/>
                  </a:lnTo>
                  <a:lnTo>
                    <a:pt x="202" y="321"/>
                  </a:lnTo>
                  <a:lnTo>
                    <a:pt x="203" y="320"/>
                  </a:lnTo>
                  <a:lnTo>
                    <a:pt x="207" y="317"/>
                  </a:lnTo>
                  <a:lnTo>
                    <a:pt x="207" y="316"/>
                  </a:lnTo>
                  <a:lnTo>
                    <a:pt x="206" y="316"/>
                  </a:lnTo>
                  <a:lnTo>
                    <a:pt x="204" y="319"/>
                  </a:lnTo>
                  <a:lnTo>
                    <a:pt x="203" y="319"/>
                  </a:lnTo>
                  <a:lnTo>
                    <a:pt x="204" y="315"/>
                  </a:lnTo>
                  <a:lnTo>
                    <a:pt x="206" y="313"/>
                  </a:lnTo>
                  <a:lnTo>
                    <a:pt x="207" y="311"/>
                  </a:lnTo>
                  <a:lnTo>
                    <a:pt x="208" y="310"/>
                  </a:lnTo>
                  <a:lnTo>
                    <a:pt x="207" y="310"/>
                  </a:lnTo>
                  <a:lnTo>
                    <a:pt x="206" y="311"/>
                  </a:lnTo>
                  <a:lnTo>
                    <a:pt x="204" y="313"/>
                  </a:lnTo>
                  <a:lnTo>
                    <a:pt x="204" y="310"/>
                  </a:lnTo>
                  <a:lnTo>
                    <a:pt x="203" y="309"/>
                  </a:lnTo>
                  <a:lnTo>
                    <a:pt x="202" y="308"/>
                  </a:lnTo>
                  <a:lnTo>
                    <a:pt x="201" y="309"/>
                  </a:lnTo>
                  <a:lnTo>
                    <a:pt x="203" y="310"/>
                  </a:lnTo>
                  <a:lnTo>
                    <a:pt x="202" y="311"/>
                  </a:lnTo>
                  <a:lnTo>
                    <a:pt x="202" y="313"/>
                  </a:lnTo>
                  <a:lnTo>
                    <a:pt x="201" y="311"/>
                  </a:lnTo>
                  <a:lnTo>
                    <a:pt x="201" y="313"/>
                  </a:lnTo>
                  <a:lnTo>
                    <a:pt x="201" y="315"/>
                  </a:lnTo>
                  <a:lnTo>
                    <a:pt x="198" y="317"/>
                  </a:lnTo>
                  <a:lnTo>
                    <a:pt x="197" y="319"/>
                  </a:lnTo>
                  <a:lnTo>
                    <a:pt x="197" y="316"/>
                  </a:lnTo>
                  <a:lnTo>
                    <a:pt x="197" y="314"/>
                  </a:lnTo>
                  <a:lnTo>
                    <a:pt x="196" y="315"/>
                  </a:lnTo>
                  <a:lnTo>
                    <a:pt x="197" y="313"/>
                  </a:lnTo>
                  <a:lnTo>
                    <a:pt x="197" y="311"/>
                  </a:lnTo>
                  <a:lnTo>
                    <a:pt x="196" y="313"/>
                  </a:lnTo>
                  <a:lnTo>
                    <a:pt x="196" y="310"/>
                  </a:lnTo>
                  <a:lnTo>
                    <a:pt x="196" y="313"/>
                  </a:lnTo>
                  <a:lnTo>
                    <a:pt x="194" y="313"/>
                  </a:lnTo>
                  <a:lnTo>
                    <a:pt x="192" y="314"/>
                  </a:lnTo>
                  <a:lnTo>
                    <a:pt x="194" y="311"/>
                  </a:lnTo>
                  <a:lnTo>
                    <a:pt x="195" y="310"/>
                  </a:lnTo>
                  <a:lnTo>
                    <a:pt x="195" y="309"/>
                  </a:lnTo>
                  <a:lnTo>
                    <a:pt x="192" y="309"/>
                  </a:lnTo>
                  <a:lnTo>
                    <a:pt x="192" y="308"/>
                  </a:lnTo>
                  <a:lnTo>
                    <a:pt x="192" y="307"/>
                  </a:lnTo>
                  <a:lnTo>
                    <a:pt x="192" y="304"/>
                  </a:lnTo>
                  <a:lnTo>
                    <a:pt x="194" y="302"/>
                  </a:lnTo>
                  <a:lnTo>
                    <a:pt x="195" y="303"/>
                  </a:lnTo>
                  <a:lnTo>
                    <a:pt x="195" y="305"/>
                  </a:lnTo>
                  <a:lnTo>
                    <a:pt x="195" y="307"/>
                  </a:lnTo>
                  <a:lnTo>
                    <a:pt x="196" y="308"/>
                  </a:lnTo>
                  <a:lnTo>
                    <a:pt x="197" y="307"/>
                  </a:lnTo>
                  <a:lnTo>
                    <a:pt x="198" y="305"/>
                  </a:lnTo>
                  <a:lnTo>
                    <a:pt x="200" y="305"/>
                  </a:lnTo>
                  <a:lnTo>
                    <a:pt x="201" y="305"/>
                  </a:lnTo>
                  <a:lnTo>
                    <a:pt x="202" y="307"/>
                  </a:lnTo>
                  <a:lnTo>
                    <a:pt x="203" y="308"/>
                  </a:lnTo>
                  <a:lnTo>
                    <a:pt x="204" y="308"/>
                  </a:lnTo>
                  <a:lnTo>
                    <a:pt x="206" y="308"/>
                  </a:lnTo>
                  <a:lnTo>
                    <a:pt x="206" y="307"/>
                  </a:lnTo>
                  <a:lnTo>
                    <a:pt x="207" y="305"/>
                  </a:lnTo>
                  <a:lnTo>
                    <a:pt x="208" y="305"/>
                  </a:lnTo>
                  <a:lnTo>
                    <a:pt x="209" y="305"/>
                  </a:lnTo>
                  <a:lnTo>
                    <a:pt x="209" y="307"/>
                  </a:lnTo>
                  <a:lnTo>
                    <a:pt x="210" y="307"/>
                  </a:lnTo>
                  <a:lnTo>
                    <a:pt x="212" y="307"/>
                  </a:lnTo>
                  <a:lnTo>
                    <a:pt x="212" y="305"/>
                  </a:lnTo>
                  <a:lnTo>
                    <a:pt x="210" y="304"/>
                  </a:lnTo>
                  <a:lnTo>
                    <a:pt x="209" y="304"/>
                  </a:lnTo>
                  <a:lnTo>
                    <a:pt x="208" y="304"/>
                  </a:lnTo>
                  <a:lnTo>
                    <a:pt x="207" y="304"/>
                  </a:lnTo>
                  <a:lnTo>
                    <a:pt x="207" y="305"/>
                  </a:lnTo>
                  <a:lnTo>
                    <a:pt x="206" y="305"/>
                  </a:lnTo>
                  <a:lnTo>
                    <a:pt x="204" y="307"/>
                  </a:lnTo>
                  <a:lnTo>
                    <a:pt x="203" y="307"/>
                  </a:lnTo>
                  <a:lnTo>
                    <a:pt x="202" y="305"/>
                  </a:lnTo>
                  <a:lnTo>
                    <a:pt x="202" y="304"/>
                  </a:lnTo>
                  <a:lnTo>
                    <a:pt x="203" y="303"/>
                  </a:lnTo>
                  <a:lnTo>
                    <a:pt x="206" y="303"/>
                  </a:lnTo>
                  <a:lnTo>
                    <a:pt x="207" y="303"/>
                  </a:lnTo>
                  <a:lnTo>
                    <a:pt x="207" y="302"/>
                  </a:lnTo>
                  <a:lnTo>
                    <a:pt x="207" y="301"/>
                  </a:lnTo>
                  <a:lnTo>
                    <a:pt x="208" y="301"/>
                  </a:lnTo>
                  <a:lnTo>
                    <a:pt x="209" y="301"/>
                  </a:lnTo>
                  <a:lnTo>
                    <a:pt x="207" y="301"/>
                  </a:lnTo>
                  <a:lnTo>
                    <a:pt x="206" y="302"/>
                  </a:lnTo>
                  <a:lnTo>
                    <a:pt x="201" y="302"/>
                  </a:lnTo>
                  <a:lnTo>
                    <a:pt x="202" y="301"/>
                  </a:lnTo>
                  <a:lnTo>
                    <a:pt x="204" y="298"/>
                  </a:lnTo>
                  <a:lnTo>
                    <a:pt x="207" y="298"/>
                  </a:lnTo>
                  <a:lnTo>
                    <a:pt x="209" y="298"/>
                  </a:lnTo>
                  <a:lnTo>
                    <a:pt x="210" y="299"/>
                  </a:lnTo>
                  <a:lnTo>
                    <a:pt x="210" y="301"/>
                  </a:lnTo>
                  <a:lnTo>
                    <a:pt x="212" y="302"/>
                  </a:lnTo>
                  <a:lnTo>
                    <a:pt x="212" y="303"/>
                  </a:lnTo>
                  <a:lnTo>
                    <a:pt x="213" y="303"/>
                  </a:lnTo>
                  <a:lnTo>
                    <a:pt x="214" y="302"/>
                  </a:lnTo>
                  <a:lnTo>
                    <a:pt x="213" y="301"/>
                  </a:lnTo>
                  <a:lnTo>
                    <a:pt x="212" y="301"/>
                  </a:lnTo>
                  <a:lnTo>
                    <a:pt x="213" y="298"/>
                  </a:lnTo>
                  <a:lnTo>
                    <a:pt x="213" y="297"/>
                  </a:lnTo>
                  <a:lnTo>
                    <a:pt x="213" y="296"/>
                  </a:lnTo>
                  <a:lnTo>
                    <a:pt x="212" y="295"/>
                  </a:lnTo>
                  <a:lnTo>
                    <a:pt x="213" y="293"/>
                  </a:lnTo>
                  <a:lnTo>
                    <a:pt x="210" y="293"/>
                  </a:lnTo>
                  <a:lnTo>
                    <a:pt x="201" y="293"/>
                  </a:lnTo>
                  <a:lnTo>
                    <a:pt x="182" y="296"/>
                  </a:lnTo>
                  <a:lnTo>
                    <a:pt x="172" y="298"/>
                  </a:lnTo>
                  <a:lnTo>
                    <a:pt x="164" y="302"/>
                  </a:lnTo>
                  <a:lnTo>
                    <a:pt x="161" y="303"/>
                  </a:lnTo>
                  <a:lnTo>
                    <a:pt x="165" y="305"/>
                  </a:lnTo>
                  <a:lnTo>
                    <a:pt x="170" y="308"/>
                  </a:lnTo>
                  <a:lnTo>
                    <a:pt x="171" y="310"/>
                  </a:lnTo>
                  <a:lnTo>
                    <a:pt x="173" y="313"/>
                  </a:lnTo>
                  <a:lnTo>
                    <a:pt x="176" y="314"/>
                  </a:lnTo>
                  <a:lnTo>
                    <a:pt x="173" y="313"/>
                  </a:lnTo>
                  <a:lnTo>
                    <a:pt x="172" y="315"/>
                  </a:lnTo>
                  <a:lnTo>
                    <a:pt x="171" y="317"/>
                  </a:lnTo>
                  <a:lnTo>
                    <a:pt x="173" y="321"/>
                  </a:lnTo>
                  <a:lnTo>
                    <a:pt x="174" y="322"/>
                  </a:lnTo>
                  <a:lnTo>
                    <a:pt x="176" y="325"/>
                  </a:lnTo>
                  <a:lnTo>
                    <a:pt x="177" y="325"/>
                  </a:lnTo>
                  <a:lnTo>
                    <a:pt x="177" y="326"/>
                  </a:lnTo>
                  <a:lnTo>
                    <a:pt x="178" y="327"/>
                  </a:lnTo>
                  <a:lnTo>
                    <a:pt x="179" y="328"/>
                  </a:lnTo>
                  <a:lnTo>
                    <a:pt x="180" y="327"/>
                  </a:lnTo>
                  <a:lnTo>
                    <a:pt x="179" y="327"/>
                  </a:lnTo>
                  <a:lnTo>
                    <a:pt x="179" y="325"/>
                  </a:lnTo>
                  <a:lnTo>
                    <a:pt x="182" y="326"/>
                  </a:lnTo>
                  <a:lnTo>
                    <a:pt x="183" y="328"/>
                  </a:lnTo>
                  <a:lnTo>
                    <a:pt x="182" y="328"/>
                  </a:lnTo>
                  <a:lnTo>
                    <a:pt x="180" y="328"/>
                  </a:lnTo>
                  <a:lnTo>
                    <a:pt x="182" y="331"/>
                  </a:lnTo>
                  <a:lnTo>
                    <a:pt x="183" y="332"/>
                  </a:lnTo>
                  <a:lnTo>
                    <a:pt x="183" y="334"/>
                  </a:lnTo>
                  <a:lnTo>
                    <a:pt x="182" y="332"/>
                  </a:lnTo>
                  <a:lnTo>
                    <a:pt x="180" y="331"/>
                  </a:lnTo>
                  <a:lnTo>
                    <a:pt x="180" y="332"/>
                  </a:lnTo>
                  <a:lnTo>
                    <a:pt x="180" y="334"/>
                  </a:lnTo>
                  <a:lnTo>
                    <a:pt x="180" y="337"/>
                  </a:lnTo>
                  <a:lnTo>
                    <a:pt x="180" y="333"/>
                  </a:lnTo>
                  <a:lnTo>
                    <a:pt x="179" y="334"/>
                  </a:lnTo>
                  <a:lnTo>
                    <a:pt x="179" y="335"/>
                  </a:lnTo>
                  <a:lnTo>
                    <a:pt x="179" y="333"/>
                  </a:lnTo>
                  <a:lnTo>
                    <a:pt x="178" y="334"/>
                  </a:lnTo>
                  <a:lnTo>
                    <a:pt x="179" y="332"/>
                  </a:lnTo>
                  <a:lnTo>
                    <a:pt x="179" y="331"/>
                  </a:lnTo>
                  <a:lnTo>
                    <a:pt x="180" y="329"/>
                  </a:lnTo>
                  <a:lnTo>
                    <a:pt x="178" y="328"/>
                  </a:lnTo>
                  <a:lnTo>
                    <a:pt x="176" y="326"/>
                  </a:lnTo>
                  <a:lnTo>
                    <a:pt x="174" y="322"/>
                  </a:lnTo>
                  <a:lnTo>
                    <a:pt x="173" y="322"/>
                  </a:lnTo>
                  <a:lnTo>
                    <a:pt x="173" y="326"/>
                  </a:lnTo>
                  <a:lnTo>
                    <a:pt x="174" y="328"/>
                  </a:lnTo>
                  <a:lnTo>
                    <a:pt x="174" y="329"/>
                  </a:lnTo>
                  <a:lnTo>
                    <a:pt x="174" y="328"/>
                  </a:lnTo>
                  <a:lnTo>
                    <a:pt x="177" y="328"/>
                  </a:lnTo>
                  <a:lnTo>
                    <a:pt x="176" y="329"/>
                  </a:lnTo>
                  <a:lnTo>
                    <a:pt x="176" y="331"/>
                  </a:lnTo>
                  <a:lnTo>
                    <a:pt x="177" y="331"/>
                  </a:lnTo>
                  <a:lnTo>
                    <a:pt x="177" y="332"/>
                  </a:lnTo>
                  <a:lnTo>
                    <a:pt x="177" y="333"/>
                  </a:lnTo>
                  <a:lnTo>
                    <a:pt x="177" y="334"/>
                  </a:lnTo>
                  <a:lnTo>
                    <a:pt x="179" y="338"/>
                  </a:lnTo>
                  <a:lnTo>
                    <a:pt x="182" y="339"/>
                  </a:lnTo>
                  <a:lnTo>
                    <a:pt x="180" y="338"/>
                  </a:lnTo>
                  <a:lnTo>
                    <a:pt x="183" y="339"/>
                  </a:lnTo>
                  <a:lnTo>
                    <a:pt x="183" y="341"/>
                  </a:lnTo>
                  <a:lnTo>
                    <a:pt x="184" y="341"/>
                  </a:lnTo>
                  <a:lnTo>
                    <a:pt x="185" y="341"/>
                  </a:lnTo>
                  <a:lnTo>
                    <a:pt x="186" y="340"/>
                  </a:lnTo>
                  <a:lnTo>
                    <a:pt x="186" y="339"/>
                  </a:lnTo>
                  <a:lnTo>
                    <a:pt x="186" y="337"/>
                  </a:lnTo>
                  <a:lnTo>
                    <a:pt x="189" y="337"/>
                  </a:lnTo>
                  <a:lnTo>
                    <a:pt x="190" y="337"/>
                  </a:lnTo>
                  <a:lnTo>
                    <a:pt x="190" y="338"/>
                  </a:lnTo>
                  <a:lnTo>
                    <a:pt x="189" y="340"/>
                  </a:lnTo>
                  <a:lnTo>
                    <a:pt x="189" y="341"/>
                  </a:lnTo>
                  <a:lnTo>
                    <a:pt x="189" y="343"/>
                  </a:lnTo>
                  <a:lnTo>
                    <a:pt x="190" y="343"/>
                  </a:lnTo>
                  <a:lnTo>
                    <a:pt x="191" y="343"/>
                  </a:lnTo>
                  <a:lnTo>
                    <a:pt x="192" y="340"/>
                  </a:lnTo>
                  <a:lnTo>
                    <a:pt x="192" y="338"/>
                  </a:lnTo>
                  <a:lnTo>
                    <a:pt x="194" y="339"/>
                  </a:lnTo>
                  <a:lnTo>
                    <a:pt x="194" y="340"/>
                  </a:lnTo>
                  <a:lnTo>
                    <a:pt x="192" y="343"/>
                  </a:lnTo>
                  <a:lnTo>
                    <a:pt x="191" y="343"/>
                  </a:lnTo>
                  <a:lnTo>
                    <a:pt x="192" y="344"/>
                  </a:lnTo>
                  <a:lnTo>
                    <a:pt x="194" y="345"/>
                  </a:lnTo>
                  <a:lnTo>
                    <a:pt x="196" y="346"/>
                  </a:lnTo>
                  <a:lnTo>
                    <a:pt x="196" y="347"/>
                  </a:lnTo>
                  <a:lnTo>
                    <a:pt x="195" y="347"/>
                  </a:lnTo>
                  <a:lnTo>
                    <a:pt x="194" y="347"/>
                  </a:lnTo>
                  <a:lnTo>
                    <a:pt x="195" y="351"/>
                  </a:lnTo>
                  <a:lnTo>
                    <a:pt x="192" y="350"/>
                  </a:lnTo>
                  <a:lnTo>
                    <a:pt x="192" y="347"/>
                  </a:lnTo>
                  <a:lnTo>
                    <a:pt x="194" y="346"/>
                  </a:lnTo>
                  <a:lnTo>
                    <a:pt x="192" y="346"/>
                  </a:lnTo>
                  <a:lnTo>
                    <a:pt x="191" y="345"/>
                  </a:lnTo>
                  <a:lnTo>
                    <a:pt x="190" y="344"/>
                  </a:lnTo>
                  <a:lnTo>
                    <a:pt x="189" y="343"/>
                  </a:lnTo>
                  <a:lnTo>
                    <a:pt x="188" y="344"/>
                  </a:lnTo>
                  <a:lnTo>
                    <a:pt x="190" y="345"/>
                  </a:lnTo>
                  <a:lnTo>
                    <a:pt x="190" y="349"/>
                  </a:lnTo>
                  <a:lnTo>
                    <a:pt x="192" y="350"/>
                  </a:lnTo>
                  <a:lnTo>
                    <a:pt x="192" y="352"/>
                  </a:lnTo>
                  <a:lnTo>
                    <a:pt x="192" y="357"/>
                  </a:lnTo>
                  <a:lnTo>
                    <a:pt x="195" y="358"/>
                  </a:lnTo>
                  <a:lnTo>
                    <a:pt x="195" y="360"/>
                  </a:lnTo>
                  <a:lnTo>
                    <a:pt x="197" y="361"/>
                  </a:lnTo>
                  <a:lnTo>
                    <a:pt x="198" y="361"/>
                  </a:lnTo>
                  <a:lnTo>
                    <a:pt x="200" y="363"/>
                  </a:lnTo>
                  <a:lnTo>
                    <a:pt x="197" y="362"/>
                  </a:lnTo>
                  <a:lnTo>
                    <a:pt x="198" y="363"/>
                  </a:lnTo>
                  <a:lnTo>
                    <a:pt x="197" y="366"/>
                  </a:lnTo>
                  <a:lnTo>
                    <a:pt x="196" y="364"/>
                  </a:lnTo>
                  <a:lnTo>
                    <a:pt x="196" y="366"/>
                  </a:lnTo>
                  <a:lnTo>
                    <a:pt x="195" y="364"/>
                  </a:lnTo>
                  <a:lnTo>
                    <a:pt x="195" y="366"/>
                  </a:lnTo>
                  <a:lnTo>
                    <a:pt x="192" y="368"/>
                  </a:lnTo>
                  <a:lnTo>
                    <a:pt x="192" y="366"/>
                  </a:lnTo>
                  <a:lnTo>
                    <a:pt x="191" y="366"/>
                  </a:lnTo>
                  <a:lnTo>
                    <a:pt x="192" y="362"/>
                  </a:lnTo>
                  <a:lnTo>
                    <a:pt x="191" y="361"/>
                  </a:lnTo>
                  <a:lnTo>
                    <a:pt x="192" y="358"/>
                  </a:lnTo>
                  <a:lnTo>
                    <a:pt x="191" y="352"/>
                  </a:lnTo>
                  <a:lnTo>
                    <a:pt x="191" y="353"/>
                  </a:lnTo>
                  <a:lnTo>
                    <a:pt x="190" y="353"/>
                  </a:lnTo>
                  <a:lnTo>
                    <a:pt x="191" y="356"/>
                  </a:lnTo>
                  <a:lnTo>
                    <a:pt x="189" y="355"/>
                  </a:lnTo>
                  <a:lnTo>
                    <a:pt x="186" y="353"/>
                  </a:lnTo>
                  <a:lnTo>
                    <a:pt x="185" y="353"/>
                  </a:lnTo>
                  <a:lnTo>
                    <a:pt x="186" y="355"/>
                  </a:lnTo>
                  <a:lnTo>
                    <a:pt x="185" y="357"/>
                  </a:lnTo>
                  <a:lnTo>
                    <a:pt x="185" y="358"/>
                  </a:lnTo>
                  <a:lnTo>
                    <a:pt x="184" y="356"/>
                  </a:lnTo>
                  <a:lnTo>
                    <a:pt x="184" y="355"/>
                  </a:lnTo>
                  <a:lnTo>
                    <a:pt x="185" y="353"/>
                  </a:lnTo>
                  <a:lnTo>
                    <a:pt x="185" y="352"/>
                  </a:lnTo>
                  <a:lnTo>
                    <a:pt x="186" y="351"/>
                  </a:lnTo>
                  <a:lnTo>
                    <a:pt x="188" y="350"/>
                  </a:lnTo>
                  <a:lnTo>
                    <a:pt x="188" y="349"/>
                  </a:lnTo>
                  <a:lnTo>
                    <a:pt x="186" y="349"/>
                  </a:lnTo>
                  <a:lnTo>
                    <a:pt x="185" y="350"/>
                  </a:lnTo>
                  <a:lnTo>
                    <a:pt x="185" y="349"/>
                  </a:lnTo>
                  <a:lnTo>
                    <a:pt x="185" y="347"/>
                  </a:lnTo>
                  <a:lnTo>
                    <a:pt x="183" y="351"/>
                  </a:lnTo>
                  <a:lnTo>
                    <a:pt x="182" y="353"/>
                  </a:lnTo>
                  <a:lnTo>
                    <a:pt x="179" y="357"/>
                  </a:lnTo>
                  <a:lnTo>
                    <a:pt x="182" y="360"/>
                  </a:lnTo>
                  <a:lnTo>
                    <a:pt x="183" y="361"/>
                  </a:lnTo>
                  <a:lnTo>
                    <a:pt x="182" y="361"/>
                  </a:lnTo>
                  <a:lnTo>
                    <a:pt x="182" y="363"/>
                  </a:lnTo>
                  <a:lnTo>
                    <a:pt x="182" y="364"/>
                  </a:lnTo>
                  <a:lnTo>
                    <a:pt x="183" y="364"/>
                  </a:lnTo>
                  <a:lnTo>
                    <a:pt x="183" y="366"/>
                  </a:lnTo>
                  <a:lnTo>
                    <a:pt x="182" y="366"/>
                  </a:lnTo>
                  <a:lnTo>
                    <a:pt x="183" y="369"/>
                  </a:lnTo>
                  <a:lnTo>
                    <a:pt x="182" y="370"/>
                  </a:lnTo>
                  <a:lnTo>
                    <a:pt x="180" y="368"/>
                  </a:lnTo>
                  <a:lnTo>
                    <a:pt x="179" y="366"/>
                  </a:lnTo>
                  <a:lnTo>
                    <a:pt x="178" y="368"/>
                  </a:lnTo>
                  <a:lnTo>
                    <a:pt x="177" y="370"/>
                  </a:lnTo>
                  <a:lnTo>
                    <a:pt x="176" y="369"/>
                  </a:lnTo>
                  <a:lnTo>
                    <a:pt x="176" y="367"/>
                  </a:lnTo>
                  <a:lnTo>
                    <a:pt x="174" y="368"/>
                  </a:lnTo>
                  <a:lnTo>
                    <a:pt x="174" y="366"/>
                  </a:lnTo>
                  <a:lnTo>
                    <a:pt x="174" y="363"/>
                  </a:lnTo>
                  <a:lnTo>
                    <a:pt x="173" y="364"/>
                  </a:lnTo>
                  <a:lnTo>
                    <a:pt x="173" y="362"/>
                  </a:lnTo>
                  <a:lnTo>
                    <a:pt x="176" y="360"/>
                  </a:lnTo>
                  <a:lnTo>
                    <a:pt x="176" y="358"/>
                  </a:lnTo>
                  <a:lnTo>
                    <a:pt x="173" y="358"/>
                  </a:lnTo>
                  <a:lnTo>
                    <a:pt x="172" y="361"/>
                  </a:lnTo>
                  <a:lnTo>
                    <a:pt x="171" y="361"/>
                  </a:lnTo>
                  <a:lnTo>
                    <a:pt x="172" y="357"/>
                  </a:lnTo>
                  <a:lnTo>
                    <a:pt x="174" y="356"/>
                  </a:lnTo>
                  <a:lnTo>
                    <a:pt x="176" y="357"/>
                  </a:lnTo>
                  <a:lnTo>
                    <a:pt x="178" y="356"/>
                  </a:lnTo>
                  <a:lnTo>
                    <a:pt x="182" y="353"/>
                  </a:lnTo>
                  <a:lnTo>
                    <a:pt x="184" y="349"/>
                  </a:lnTo>
                  <a:lnTo>
                    <a:pt x="185" y="346"/>
                  </a:lnTo>
                  <a:lnTo>
                    <a:pt x="184" y="346"/>
                  </a:lnTo>
                  <a:lnTo>
                    <a:pt x="184" y="345"/>
                  </a:lnTo>
                  <a:lnTo>
                    <a:pt x="183" y="344"/>
                  </a:lnTo>
                  <a:lnTo>
                    <a:pt x="183" y="345"/>
                  </a:lnTo>
                  <a:lnTo>
                    <a:pt x="180" y="346"/>
                  </a:lnTo>
                  <a:lnTo>
                    <a:pt x="179" y="346"/>
                  </a:lnTo>
                  <a:lnTo>
                    <a:pt x="178" y="347"/>
                  </a:lnTo>
                  <a:lnTo>
                    <a:pt x="174" y="347"/>
                  </a:lnTo>
                  <a:lnTo>
                    <a:pt x="177" y="346"/>
                  </a:lnTo>
                  <a:lnTo>
                    <a:pt x="178" y="345"/>
                  </a:lnTo>
                  <a:lnTo>
                    <a:pt x="178" y="343"/>
                  </a:lnTo>
                  <a:lnTo>
                    <a:pt x="180" y="343"/>
                  </a:lnTo>
                  <a:lnTo>
                    <a:pt x="182" y="344"/>
                  </a:lnTo>
                  <a:lnTo>
                    <a:pt x="182" y="343"/>
                  </a:lnTo>
                  <a:lnTo>
                    <a:pt x="183" y="343"/>
                  </a:lnTo>
                  <a:lnTo>
                    <a:pt x="183" y="341"/>
                  </a:lnTo>
                  <a:lnTo>
                    <a:pt x="182" y="341"/>
                  </a:lnTo>
                  <a:lnTo>
                    <a:pt x="180" y="340"/>
                  </a:lnTo>
                  <a:lnTo>
                    <a:pt x="180" y="339"/>
                  </a:lnTo>
                  <a:lnTo>
                    <a:pt x="180" y="340"/>
                  </a:lnTo>
                  <a:lnTo>
                    <a:pt x="178" y="340"/>
                  </a:lnTo>
                  <a:lnTo>
                    <a:pt x="177" y="340"/>
                  </a:lnTo>
                  <a:lnTo>
                    <a:pt x="176" y="340"/>
                  </a:lnTo>
                  <a:lnTo>
                    <a:pt x="173" y="339"/>
                  </a:lnTo>
                  <a:lnTo>
                    <a:pt x="173" y="337"/>
                  </a:lnTo>
                  <a:lnTo>
                    <a:pt x="172" y="338"/>
                  </a:lnTo>
                  <a:lnTo>
                    <a:pt x="173" y="340"/>
                  </a:lnTo>
                  <a:lnTo>
                    <a:pt x="174" y="341"/>
                  </a:lnTo>
                  <a:lnTo>
                    <a:pt x="173" y="341"/>
                  </a:lnTo>
                  <a:lnTo>
                    <a:pt x="173" y="344"/>
                  </a:lnTo>
                  <a:lnTo>
                    <a:pt x="173" y="346"/>
                  </a:lnTo>
                  <a:lnTo>
                    <a:pt x="172" y="345"/>
                  </a:lnTo>
                  <a:lnTo>
                    <a:pt x="172" y="346"/>
                  </a:lnTo>
                  <a:lnTo>
                    <a:pt x="172" y="349"/>
                  </a:lnTo>
                  <a:lnTo>
                    <a:pt x="171" y="346"/>
                  </a:lnTo>
                  <a:lnTo>
                    <a:pt x="170" y="346"/>
                  </a:lnTo>
                  <a:lnTo>
                    <a:pt x="168" y="345"/>
                  </a:lnTo>
                  <a:lnTo>
                    <a:pt x="168" y="347"/>
                  </a:lnTo>
                  <a:lnTo>
                    <a:pt x="168" y="350"/>
                  </a:lnTo>
                  <a:lnTo>
                    <a:pt x="167" y="347"/>
                  </a:lnTo>
                  <a:lnTo>
                    <a:pt x="166" y="347"/>
                  </a:lnTo>
                  <a:lnTo>
                    <a:pt x="165" y="349"/>
                  </a:lnTo>
                  <a:lnTo>
                    <a:pt x="165" y="346"/>
                  </a:lnTo>
                  <a:lnTo>
                    <a:pt x="165" y="344"/>
                  </a:lnTo>
                  <a:lnTo>
                    <a:pt x="166" y="341"/>
                  </a:lnTo>
                  <a:lnTo>
                    <a:pt x="166" y="340"/>
                  </a:lnTo>
                  <a:lnTo>
                    <a:pt x="165" y="339"/>
                  </a:lnTo>
                  <a:lnTo>
                    <a:pt x="164" y="340"/>
                  </a:lnTo>
                  <a:lnTo>
                    <a:pt x="162" y="339"/>
                  </a:lnTo>
                  <a:lnTo>
                    <a:pt x="161" y="339"/>
                  </a:lnTo>
                  <a:lnTo>
                    <a:pt x="161" y="340"/>
                  </a:lnTo>
                  <a:lnTo>
                    <a:pt x="162" y="341"/>
                  </a:lnTo>
                  <a:lnTo>
                    <a:pt x="162" y="344"/>
                  </a:lnTo>
                  <a:lnTo>
                    <a:pt x="161" y="345"/>
                  </a:lnTo>
                  <a:lnTo>
                    <a:pt x="160" y="343"/>
                  </a:lnTo>
                  <a:lnTo>
                    <a:pt x="159" y="341"/>
                  </a:lnTo>
                  <a:lnTo>
                    <a:pt x="157" y="341"/>
                  </a:lnTo>
                  <a:lnTo>
                    <a:pt x="157" y="344"/>
                  </a:lnTo>
                  <a:lnTo>
                    <a:pt x="159" y="345"/>
                  </a:lnTo>
                  <a:lnTo>
                    <a:pt x="160" y="347"/>
                  </a:lnTo>
                  <a:lnTo>
                    <a:pt x="160" y="351"/>
                  </a:lnTo>
                  <a:lnTo>
                    <a:pt x="159" y="349"/>
                  </a:lnTo>
                  <a:lnTo>
                    <a:pt x="157" y="346"/>
                  </a:lnTo>
                  <a:lnTo>
                    <a:pt x="156" y="346"/>
                  </a:lnTo>
                  <a:lnTo>
                    <a:pt x="155" y="347"/>
                  </a:lnTo>
                  <a:lnTo>
                    <a:pt x="155" y="346"/>
                  </a:lnTo>
                  <a:lnTo>
                    <a:pt x="154" y="347"/>
                  </a:lnTo>
                  <a:lnTo>
                    <a:pt x="153" y="350"/>
                  </a:lnTo>
                  <a:lnTo>
                    <a:pt x="154" y="351"/>
                  </a:lnTo>
                  <a:lnTo>
                    <a:pt x="155" y="351"/>
                  </a:lnTo>
                  <a:lnTo>
                    <a:pt x="156" y="351"/>
                  </a:lnTo>
                  <a:lnTo>
                    <a:pt x="157" y="352"/>
                  </a:lnTo>
                  <a:lnTo>
                    <a:pt x="156" y="352"/>
                  </a:lnTo>
                  <a:lnTo>
                    <a:pt x="155" y="352"/>
                  </a:lnTo>
                  <a:lnTo>
                    <a:pt x="154" y="352"/>
                  </a:lnTo>
                  <a:lnTo>
                    <a:pt x="154" y="353"/>
                  </a:lnTo>
                  <a:lnTo>
                    <a:pt x="154" y="355"/>
                  </a:lnTo>
                  <a:lnTo>
                    <a:pt x="154" y="356"/>
                  </a:lnTo>
                  <a:lnTo>
                    <a:pt x="153" y="356"/>
                  </a:lnTo>
                  <a:lnTo>
                    <a:pt x="153" y="355"/>
                  </a:lnTo>
                  <a:lnTo>
                    <a:pt x="153" y="352"/>
                  </a:lnTo>
                  <a:lnTo>
                    <a:pt x="153" y="351"/>
                  </a:lnTo>
                  <a:lnTo>
                    <a:pt x="151" y="352"/>
                  </a:lnTo>
                  <a:lnTo>
                    <a:pt x="151" y="355"/>
                  </a:lnTo>
                  <a:lnTo>
                    <a:pt x="151" y="352"/>
                  </a:lnTo>
                  <a:lnTo>
                    <a:pt x="150" y="353"/>
                  </a:lnTo>
                  <a:lnTo>
                    <a:pt x="149" y="352"/>
                  </a:lnTo>
                  <a:lnTo>
                    <a:pt x="149" y="351"/>
                  </a:lnTo>
                  <a:lnTo>
                    <a:pt x="149" y="350"/>
                  </a:lnTo>
                  <a:lnTo>
                    <a:pt x="149" y="351"/>
                  </a:lnTo>
                  <a:lnTo>
                    <a:pt x="148" y="351"/>
                  </a:lnTo>
                  <a:lnTo>
                    <a:pt x="148" y="352"/>
                  </a:lnTo>
                  <a:lnTo>
                    <a:pt x="148" y="355"/>
                  </a:lnTo>
                  <a:lnTo>
                    <a:pt x="145" y="357"/>
                  </a:lnTo>
                  <a:lnTo>
                    <a:pt x="147" y="355"/>
                  </a:lnTo>
                  <a:lnTo>
                    <a:pt x="148" y="352"/>
                  </a:lnTo>
                  <a:lnTo>
                    <a:pt x="147" y="351"/>
                  </a:lnTo>
                  <a:lnTo>
                    <a:pt x="145" y="352"/>
                  </a:lnTo>
                  <a:lnTo>
                    <a:pt x="144" y="352"/>
                  </a:lnTo>
                  <a:lnTo>
                    <a:pt x="142" y="352"/>
                  </a:lnTo>
                  <a:lnTo>
                    <a:pt x="142" y="353"/>
                  </a:lnTo>
                  <a:lnTo>
                    <a:pt x="144" y="356"/>
                  </a:lnTo>
                  <a:lnTo>
                    <a:pt x="143" y="357"/>
                  </a:lnTo>
                  <a:lnTo>
                    <a:pt x="142" y="358"/>
                  </a:lnTo>
                  <a:lnTo>
                    <a:pt x="141" y="357"/>
                  </a:lnTo>
                  <a:lnTo>
                    <a:pt x="141" y="358"/>
                  </a:lnTo>
                  <a:lnTo>
                    <a:pt x="139" y="360"/>
                  </a:lnTo>
                  <a:lnTo>
                    <a:pt x="139" y="361"/>
                  </a:lnTo>
                  <a:lnTo>
                    <a:pt x="138" y="361"/>
                  </a:lnTo>
                  <a:lnTo>
                    <a:pt x="137" y="358"/>
                  </a:lnTo>
                  <a:lnTo>
                    <a:pt x="135" y="358"/>
                  </a:lnTo>
                  <a:lnTo>
                    <a:pt x="136" y="356"/>
                  </a:lnTo>
                  <a:lnTo>
                    <a:pt x="136" y="353"/>
                  </a:lnTo>
                  <a:lnTo>
                    <a:pt x="137" y="353"/>
                  </a:lnTo>
                  <a:lnTo>
                    <a:pt x="136" y="352"/>
                  </a:lnTo>
                  <a:lnTo>
                    <a:pt x="135" y="352"/>
                  </a:lnTo>
                  <a:lnTo>
                    <a:pt x="136" y="351"/>
                  </a:lnTo>
                  <a:lnTo>
                    <a:pt x="137" y="350"/>
                  </a:lnTo>
                  <a:lnTo>
                    <a:pt x="137" y="349"/>
                  </a:lnTo>
                  <a:lnTo>
                    <a:pt x="136" y="349"/>
                  </a:lnTo>
                  <a:lnTo>
                    <a:pt x="136" y="350"/>
                  </a:lnTo>
                  <a:lnTo>
                    <a:pt x="135" y="351"/>
                  </a:lnTo>
                  <a:lnTo>
                    <a:pt x="133" y="352"/>
                  </a:lnTo>
                  <a:lnTo>
                    <a:pt x="132" y="351"/>
                  </a:lnTo>
                  <a:lnTo>
                    <a:pt x="131" y="350"/>
                  </a:lnTo>
                  <a:lnTo>
                    <a:pt x="132" y="349"/>
                  </a:lnTo>
                  <a:lnTo>
                    <a:pt x="132" y="346"/>
                  </a:lnTo>
                  <a:lnTo>
                    <a:pt x="131" y="347"/>
                  </a:lnTo>
                  <a:lnTo>
                    <a:pt x="130" y="346"/>
                  </a:lnTo>
                  <a:lnTo>
                    <a:pt x="130" y="345"/>
                  </a:lnTo>
                  <a:lnTo>
                    <a:pt x="130" y="346"/>
                  </a:lnTo>
                  <a:lnTo>
                    <a:pt x="129" y="346"/>
                  </a:lnTo>
                  <a:lnTo>
                    <a:pt x="127" y="346"/>
                  </a:lnTo>
                  <a:lnTo>
                    <a:pt x="129" y="347"/>
                  </a:lnTo>
                  <a:lnTo>
                    <a:pt x="130" y="347"/>
                  </a:lnTo>
                  <a:lnTo>
                    <a:pt x="131" y="349"/>
                  </a:lnTo>
                  <a:lnTo>
                    <a:pt x="130" y="349"/>
                  </a:lnTo>
                  <a:lnTo>
                    <a:pt x="129" y="350"/>
                  </a:lnTo>
                  <a:lnTo>
                    <a:pt x="129" y="351"/>
                  </a:lnTo>
                  <a:lnTo>
                    <a:pt x="127" y="349"/>
                  </a:lnTo>
                  <a:lnTo>
                    <a:pt x="126" y="349"/>
                  </a:lnTo>
                  <a:lnTo>
                    <a:pt x="127" y="347"/>
                  </a:lnTo>
                  <a:lnTo>
                    <a:pt x="126" y="347"/>
                  </a:lnTo>
                  <a:lnTo>
                    <a:pt x="125" y="349"/>
                  </a:lnTo>
                  <a:lnTo>
                    <a:pt x="125" y="347"/>
                  </a:lnTo>
                  <a:lnTo>
                    <a:pt x="125" y="346"/>
                  </a:lnTo>
                  <a:lnTo>
                    <a:pt x="127" y="345"/>
                  </a:lnTo>
                  <a:lnTo>
                    <a:pt x="126" y="345"/>
                  </a:lnTo>
                  <a:lnTo>
                    <a:pt x="127" y="344"/>
                  </a:lnTo>
                  <a:lnTo>
                    <a:pt x="129" y="344"/>
                  </a:lnTo>
                  <a:lnTo>
                    <a:pt x="129" y="343"/>
                  </a:lnTo>
                  <a:lnTo>
                    <a:pt x="131" y="343"/>
                  </a:lnTo>
                  <a:lnTo>
                    <a:pt x="132" y="341"/>
                  </a:lnTo>
                  <a:lnTo>
                    <a:pt x="132" y="340"/>
                  </a:lnTo>
                  <a:lnTo>
                    <a:pt x="132" y="341"/>
                  </a:lnTo>
                  <a:lnTo>
                    <a:pt x="131" y="341"/>
                  </a:lnTo>
                  <a:lnTo>
                    <a:pt x="130" y="341"/>
                  </a:lnTo>
                  <a:lnTo>
                    <a:pt x="129" y="341"/>
                  </a:lnTo>
                  <a:lnTo>
                    <a:pt x="130" y="340"/>
                  </a:lnTo>
                  <a:lnTo>
                    <a:pt x="131" y="339"/>
                  </a:lnTo>
                  <a:lnTo>
                    <a:pt x="130" y="338"/>
                  </a:lnTo>
                  <a:lnTo>
                    <a:pt x="127" y="340"/>
                  </a:lnTo>
                  <a:lnTo>
                    <a:pt x="127" y="339"/>
                  </a:lnTo>
                  <a:lnTo>
                    <a:pt x="129" y="338"/>
                  </a:lnTo>
                  <a:lnTo>
                    <a:pt x="129" y="337"/>
                  </a:lnTo>
                  <a:lnTo>
                    <a:pt x="127" y="338"/>
                  </a:lnTo>
                  <a:lnTo>
                    <a:pt x="126" y="339"/>
                  </a:lnTo>
                  <a:lnTo>
                    <a:pt x="124" y="339"/>
                  </a:lnTo>
                  <a:lnTo>
                    <a:pt x="124" y="338"/>
                  </a:lnTo>
                  <a:lnTo>
                    <a:pt x="123" y="338"/>
                  </a:lnTo>
                  <a:lnTo>
                    <a:pt x="123" y="340"/>
                  </a:lnTo>
                  <a:lnTo>
                    <a:pt x="121" y="338"/>
                  </a:lnTo>
                  <a:lnTo>
                    <a:pt x="120" y="338"/>
                  </a:lnTo>
                  <a:lnTo>
                    <a:pt x="119" y="339"/>
                  </a:lnTo>
                  <a:lnTo>
                    <a:pt x="118" y="338"/>
                  </a:lnTo>
                  <a:lnTo>
                    <a:pt x="117" y="337"/>
                  </a:lnTo>
                  <a:lnTo>
                    <a:pt x="117" y="335"/>
                  </a:lnTo>
                  <a:lnTo>
                    <a:pt x="118" y="334"/>
                  </a:lnTo>
                  <a:lnTo>
                    <a:pt x="117" y="334"/>
                  </a:lnTo>
                  <a:lnTo>
                    <a:pt x="115" y="335"/>
                  </a:lnTo>
                  <a:lnTo>
                    <a:pt x="114" y="337"/>
                  </a:lnTo>
                  <a:lnTo>
                    <a:pt x="114" y="339"/>
                  </a:lnTo>
                  <a:lnTo>
                    <a:pt x="115" y="340"/>
                  </a:lnTo>
                  <a:lnTo>
                    <a:pt x="117" y="341"/>
                  </a:lnTo>
                  <a:lnTo>
                    <a:pt x="118" y="343"/>
                  </a:lnTo>
                  <a:lnTo>
                    <a:pt x="119" y="343"/>
                  </a:lnTo>
                  <a:lnTo>
                    <a:pt x="119" y="344"/>
                  </a:lnTo>
                  <a:lnTo>
                    <a:pt x="118" y="344"/>
                  </a:lnTo>
                  <a:lnTo>
                    <a:pt x="117" y="345"/>
                  </a:lnTo>
                  <a:lnTo>
                    <a:pt x="119" y="345"/>
                  </a:lnTo>
                  <a:lnTo>
                    <a:pt x="121" y="347"/>
                  </a:lnTo>
                  <a:lnTo>
                    <a:pt x="119" y="347"/>
                  </a:lnTo>
                  <a:lnTo>
                    <a:pt x="118" y="346"/>
                  </a:lnTo>
                  <a:lnTo>
                    <a:pt x="118" y="347"/>
                  </a:lnTo>
                  <a:lnTo>
                    <a:pt x="117" y="347"/>
                  </a:lnTo>
                  <a:lnTo>
                    <a:pt x="113" y="346"/>
                  </a:lnTo>
                  <a:lnTo>
                    <a:pt x="112" y="347"/>
                  </a:lnTo>
                  <a:lnTo>
                    <a:pt x="112" y="350"/>
                  </a:lnTo>
                  <a:lnTo>
                    <a:pt x="111" y="349"/>
                  </a:lnTo>
                  <a:lnTo>
                    <a:pt x="109" y="346"/>
                  </a:lnTo>
                  <a:lnTo>
                    <a:pt x="109" y="345"/>
                  </a:lnTo>
                  <a:lnTo>
                    <a:pt x="108" y="346"/>
                  </a:lnTo>
                  <a:lnTo>
                    <a:pt x="108" y="347"/>
                  </a:lnTo>
                  <a:lnTo>
                    <a:pt x="109" y="349"/>
                  </a:lnTo>
                  <a:lnTo>
                    <a:pt x="107" y="347"/>
                  </a:lnTo>
                  <a:lnTo>
                    <a:pt x="106" y="347"/>
                  </a:lnTo>
                  <a:lnTo>
                    <a:pt x="107" y="349"/>
                  </a:lnTo>
                  <a:lnTo>
                    <a:pt x="107" y="350"/>
                  </a:lnTo>
                  <a:lnTo>
                    <a:pt x="107" y="351"/>
                  </a:lnTo>
                  <a:lnTo>
                    <a:pt x="108" y="352"/>
                  </a:lnTo>
                  <a:lnTo>
                    <a:pt x="109" y="352"/>
                  </a:lnTo>
                  <a:lnTo>
                    <a:pt x="109" y="355"/>
                  </a:lnTo>
                  <a:lnTo>
                    <a:pt x="109" y="356"/>
                  </a:lnTo>
                  <a:lnTo>
                    <a:pt x="111" y="355"/>
                  </a:lnTo>
                  <a:lnTo>
                    <a:pt x="111" y="352"/>
                  </a:lnTo>
                  <a:lnTo>
                    <a:pt x="112" y="352"/>
                  </a:lnTo>
                  <a:lnTo>
                    <a:pt x="112" y="355"/>
                  </a:lnTo>
                  <a:lnTo>
                    <a:pt x="113" y="357"/>
                  </a:lnTo>
                  <a:lnTo>
                    <a:pt x="112" y="360"/>
                  </a:lnTo>
                  <a:lnTo>
                    <a:pt x="111" y="357"/>
                  </a:lnTo>
                  <a:lnTo>
                    <a:pt x="111" y="356"/>
                  </a:lnTo>
                  <a:lnTo>
                    <a:pt x="111" y="358"/>
                  </a:lnTo>
                  <a:lnTo>
                    <a:pt x="109" y="360"/>
                  </a:lnTo>
                  <a:lnTo>
                    <a:pt x="108" y="358"/>
                  </a:lnTo>
                  <a:lnTo>
                    <a:pt x="107" y="357"/>
                  </a:lnTo>
                  <a:lnTo>
                    <a:pt x="108" y="357"/>
                  </a:lnTo>
                  <a:lnTo>
                    <a:pt x="109" y="356"/>
                  </a:lnTo>
                  <a:lnTo>
                    <a:pt x="107" y="356"/>
                  </a:lnTo>
                  <a:lnTo>
                    <a:pt x="106" y="355"/>
                  </a:lnTo>
                  <a:lnTo>
                    <a:pt x="105" y="353"/>
                  </a:lnTo>
                  <a:lnTo>
                    <a:pt x="102" y="355"/>
                  </a:lnTo>
                  <a:lnTo>
                    <a:pt x="103" y="353"/>
                  </a:lnTo>
                  <a:lnTo>
                    <a:pt x="105" y="352"/>
                  </a:lnTo>
                  <a:lnTo>
                    <a:pt x="106" y="351"/>
                  </a:lnTo>
                  <a:lnTo>
                    <a:pt x="105" y="351"/>
                  </a:lnTo>
                  <a:lnTo>
                    <a:pt x="105" y="350"/>
                  </a:lnTo>
                  <a:lnTo>
                    <a:pt x="105" y="349"/>
                  </a:lnTo>
                  <a:lnTo>
                    <a:pt x="105" y="347"/>
                  </a:lnTo>
                  <a:lnTo>
                    <a:pt x="103" y="346"/>
                  </a:lnTo>
                  <a:lnTo>
                    <a:pt x="103" y="347"/>
                  </a:lnTo>
                  <a:lnTo>
                    <a:pt x="102" y="349"/>
                  </a:lnTo>
                  <a:lnTo>
                    <a:pt x="102" y="350"/>
                  </a:lnTo>
                  <a:lnTo>
                    <a:pt x="102" y="351"/>
                  </a:lnTo>
                  <a:lnTo>
                    <a:pt x="100" y="350"/>
                  </a:lnTo>
                  <a:lnTo>
                    <a:pt x="100" y="347"/>
                  </a:lnTo>
                  <a:lnTo>
                    <a:pt x="98" y="346"/>
                  </a:lnTo>
                  <a:lnTo>
                    <a:pt x="98" y="345"/>
                  </a:lnTo>
                  <a:lnTo>
                    <a:pt x="100" y="344"/>
                  </a:lnTo>
                  <a:lnTo>
                    <a:pt x="98" y="343"/>
                  </a:lnTo>
                  <a:lnTo>
                    <a:pt x="98" y="344"/>
                  </a:lnTo>
                  <a:lnTo>
                    <a:pt x="98" y="343"/>
                  </a:lnTo>
                  <a:lnTo>
                    <a:pt x="97" y="343"/>
                  </a:lnTo>
                  <a:lnTo>
                    <a:pt x="96" y="341"/>
                  </a:lnTo>
                  <a:lnTo>
                    <a:pt x="95" y="341"/>
                  </a:lnTo>
                  <a:lnTo>
                    <a:pt x="95" y="339"/>
                  </a:lnTo>
                  <a:lnTo>
                    <a:pt x="95" y="341"/>
                  </a:lnTo>
                  <a:lnTo>
                    <a:pt x="95" y="343"/>
                  </a:lnTo>
                  <a:lnTo>
                    <a:pt x="97" y="343"/>
                  </a:lnTo>
                  <a:lnTo>
                    <a:pt x="96" y="344"/>
                  </a:lnTo>
                  <a:lnTo>
                    <a:pt x="96" y="345"/>
                  </a:lnTo>
                  <a:lnTo>
                    <a:pt x="95" y="345"/>
                  </a:lnTo>
                  <a:lnTo>
                    <a:pt x="95" y="347"/>
                  </a:lnTo>
                  <a:lnTo>
                    <a:pt x="96" y="346"/>
                  </a:lnTo>
                  <a:lnTo>
                    <a:pt x="97" y="346"/>
                  </a:lnTo>
                  <a:lnTo>
                    <a:pt x="97" y="349"/>
                  </a:lnTo>
                  <a:lnTo>
                    <a:pt x="97" y="350"/>
                  </a:lnTo>
                  <a:lnTo>
                    <a:pt x="96" y="350"/>
                  </a:lnTo>
                  <a:lnTo>
                    <a:pt x="95" y="351"/>
                  </a:lnTo>
                  <a:lnTo>
                    <a:pt x="94" y="351"/>
                  </a:lnTo>
                  <a:lnTo>
                    <a:pt x="94" y="349"/>
                  </a:lnTo>
                  <a:lnTo>
                    <a:pt x="92" y="347"/>
                  </a:lnTo>
                  <a:lnTo>
                    <a:pt x="92" y="350"/>
                  </a:lnTo>
                  <a:lnTo>
                    <a:pt x="92" y="352"/>
                  </a:lnTo>
                  <a:lnTo>
                    <a:pt x="92" y="350"/>
                  </a:lnTo>
                  <a:lnTo>
                    <a:pt x="91" y="351"/>
                  </a:lnTo>
                  <a:lnTo>
                    <a:pt x="90" y="352"/>
                  </a:lnTo>
                  <a:lnTo>
                    <a:pt x="90" y="350"/>
                  </a:lnTo>
                  <a:lnTo>
                    <a:pt x="89" y="349"/>
                  </a:lnTo>
                  <a:lnTo>
                    <a:pt x="89" y="350"/>
                  </a:lnTo>
                  <a:lnTo>
                    <a:pt x="89" y="351"/>
                  </a:lnTo>
                  <a:lnTo>
                    <a:pt x="88" y="353"/>
                  </a:lnTo>
                  <a:lnTo>
                    <a:pt x="86" y="355"/>
                  </a:lnTo>
                  <a:lnTo>
                    <a:pt x="86" y="352"/>
                  </a:lnTo>
                  <a:lnTo>
                    <a:pt x="85" y="352"/>
                  </a:lnTo>
                  <a:lnTo>
                    <a:pt x="84" y="353"/>
                  </a:lnTo>
                  <a:lnTo>
                    <a:pt x="85" y="356"/>
                  </a:lnTo>
                  <a:lnTo>
                    <a:pt x="88" y="356"/>
                  </a:lnTo>
                  <a:lnTo>
                    <a:pt x="88" y="357"/>
                  </a:lnTo>
                  <a:lnTo>
                    <a:pt x="89" y="357"/>
                  </a:lnTo>
                  <a:lnTo>
                    <a:pt x="89" y="355"/>
                  </a:lnTo>
                  <a:lnTo>
                    <a:pt x="90" y="352"/>
                  </a:lnTo>
                  <a:lnTo>
                    <a:pt x="90" y="353"/>
                  </a:lnTo>
                  <a:lnTo>
                    <a:pt x="92" y="355"/>
                  </a:lnTo>
                  <a:lnTo>
                    <a:pt x="91" y="356"/>
                  </a:lnTo>
                  <a:lnTo>
                    <a:pt x="90" y="357"/>
                  </a:lnTo>
                  <a:lnTo>
                    <a:pt x="91" y="358"/>
                  </a:lnTo>
                  <a:lnTo>
                    <a:pt x="90" y="358"/>
                  </a:lnTo>
                  <a:lnTo>
                    <a:pt x="89" y="357"/>
                  </a:lnTo>
                  <a:lnTo>
                    <a:pt x="86" y="357"/>
                  </a:lnTo>
                  <a:lnTo>
                    <a:pt x="88" y="358"/>
                  </a:lnTo>
                  <a:lnTo>
                    <a:pt x="86" y="360"/>
                  </a:lnTo>
                  <a:lnTo>
                    <a:pt x="86" y="361"/>
                  </a:lnTo>
                  <a:lnTo>
                    <a:pt x="85" y="360"/>
                  </a:lnTo>
                  <a:lnTo>
                    <a:pt x="84" y="357"/>
                  </a:lnTo>
                  <a:lnTo>
                    <a:pt x="83" y="357"/>
                  </a:lnTo>
                  <a:lnTo>
                    <a:pt x="82" y="358"/>
                  </a:lnTo>
                  <a:lnTo>
                    <a:pt x="82" y="356"/>
                  </a:lnTo>
                  <a:lnTo>
                    <a:pt x="80" y="358"/>
                  </a:lnTo>
                  <a:lnTo>
                    <a:pt x="80" y="360"/>
                  </a:lnTo>
                  <a:lnTo>
                    <a:pt x="79" y="358"/>
                  </a:lnTo>
                  <a:lnTo>
                    <a:pt x="77" y="361"/>
                  </a:lnTo>
                  <a:lnTo>
                    <a:pt x="77" y="362"/>
                  </a:lnTo>
                  <a:lnTo>
                    <a:pt x="76" y="361"/>
                  </a:lnTo>
                  <a:lnTo>
                    <a:pt x="74" y="360"/>
                  </a:lnTo>
                  <a:lnTo>
                    <a:pt x="72" y="362"/>
                  </a:lnTo>
                  <a:lnTo>
                    <a:pt x="72" y="363"/>
                  </a:lnTo>
                  <a:lnTo>
                    <a:pt x="71" y="361"/>
                  </a:lnTo>
                  <a:lnTo>
                    <a:pt x="70" y="360"/>
                  </a:lnTo>
                  <a:lnTo>
                    <a:pt x="70" y="358"/>
                  </a:lnTo>
                  <a:lnTo>
                    <a:pt x="68" y="360"/>
                  </a:lnTo>
                  <a:lnTo>
                    <a:pt x="68" y="357"/>
                  </a:lnTo>
                  <a:lnTo>
                    <a:pt x="71" y="355"/>
                  </a:lnTo>
                  <a:lnTo>
                    <a:pt x="72" y="355"/>
                  </a:lnTo>
                  <a:lnTo>
                    <a:pt x="74" y="355"/>
                  </a:lnTo>
                  <a:lnTo>
                    <a:pt x="74" y="353"/>
                  </a:lnTo>
                  <a:lnTo>
                    <a:pt x="73" y="353"/>
                  </a:lnTo>
                  <a:lnTo>
                    <a:pt x="71" y="353"/>
                  </a:lnTo>
                  <a:lnTo>
                    <a:pt x="68" y="352"/>
                  </a:lnTo>
                  <a:lnTo>
                    <a:pt x="67" y="353"/>
                  </a:lnTo>
                  <a:lnTo>
                    <a:pt x="65" y="355"/>
                  </a:lnTo>
                  <a:lnTo>
                    <a:pt x="64" y="357"/>
                  </a:lnTo>
                  <a:lnTo>
                    <a:pt x="62" y="355"/>
                  </a:lnTo>
                  <a:lnTo>
                    <a:pt x="64" y="353"/>
                  </a:lnTo>
                  <a:lnTo>
                    <a:pt x="65" y="351"/>
                  </a:lnTo>
                  <a:lnTo>
                    <a:pt x="67" y="351"/>
                  </a:lnTo>
                  <a:lnTo>
                    <a:pt x="68" y="351"/>
                  </a:lnTo>
                  <a:lnTo>
                    <a:pt x="70" y="350"/>
                  </a:lnTo>
                  <a:lnTo>
                    <a:pt x="67" y="349"/>
                  </a:lnTo>
                  <a:lnTo>
                    <a:pt x="65" y="350"/>
                  </a:lnTo>
                  <a:lnTo>
                    <a:pt x="64" y="350"/>
                  </a:lnTo>
                  <a:lnTo>
                    <a:pt x="62" y="351"/>
                  </a:lnTo>
                  <a:lnTo>
                    <a:pt x="61" y="351"/>
                  </a:lnTo>
                  <a:lnTo>
                    <a:pt x="62" y="350"/>
                  </a:lnTo>
                  <a:lnTo>
                    <a:pt x="61" y="351"/>
                  </a:lnTo>
                  <a:lnTo>
                    <a:pt x="60" y="351"/>
                  </a:lnTo>
                  <a:lnTo>
                    <a:pt x="60" y="350"/>
                  </a:lnTo>
                  <a:lnTo>
                    <a:pt x="62" y="347"/>
                  </a:lnTo>
                  <a:lnTo>
                    <a:pt x="66" y="347"/>
                  </a:lnTo>
                  <a:lnTo>
                    <a:pt x="67" y="349"/>
                  </a:lnTo>
                  <a:lnTo>
                    <a:pt x="70" y="350"/>
                  </a:lnTo>
                  <a:lnTo>
                    <a:pt x="71" y="350"/>
                  </a:lnTo>
                  <a:lnTo>
                    <a:pt x="73" y="349"/>
                  </a:lnTo>
                  <a:lnTo>
                    <a:pt x="76" y="347"/>
                  </a:lnTo>
                  <a:lnTo>
                    <a:pt x="77" y="347"/>
                  </a:lnTo>
                  <a:lnTo>
                    <a:pt x="76" y="347"/>
                  </a:lnTo>
                  <a:lnTo>
                    <a:pt x="74" y="346"/>
                  </a:lnTo>
                  <a:lnTo>
                    <a:pt x="72" y="347"/>
                  </a:lnTo>
                  <a:lnTo>
                    <a:pt x="71" y="349"/>
                  </a:lnTo>
                  <a:lnTo>
                    <a:pt x="68" y="347"/>
                  </a:lnTo>
                  <a:lnTo>
                    <a:pt x="68" y="346"/>
                  </a:lnTo>
                  <a:lnTo>
                    <a:pt x="67" y="346"/>
                  </a:lnTo>
                  <a:lnTo>
                    <a:pt x="68" y="345"/>
                  </a:lnTo>
                  <a:lnTo>
                    <a:pt x="67" y="345"/>
                  </a:lnTo>
                  <a:lnTo>
                    <a:pt x="65" y="346"/>
                  </a:lnTo>
                  <a:lnTo>
                    <a:pt x="62" y="345"/>
                  </a:lnTo>
                  <a:lnTo>
                    <a:pt x="60" y="346"/>
                  </a:lnTo>
                  <a:lnTo>
                    <a:pt x="60" y="345"/>
                  </a:lnTo>
                  <a:lnTo>
                    <a:pt x="61" y="344"/>
                  </a:lnTo>
                  <a:lnTo>
                    <a:pt x="60" y="343"/>
                  </a:lnTo>
                  <a:lnTo>
                    <a:pt x="59" y="343"/>
                  </a:lnTo>
                  <a:lnTo>
                    <a:pt x="59" y="340"/>
                  </a:lnTo>
                  <a:lnTo>
                    <a:pt x="58" y="340"/>
                  </a:lnTo>
                  <a:lnTo>
                    <a:pt x="56" y="340"/>
                  </a:lnTo>
                  <a:lnTo>
                    <a:pt x="55" y="341"/>
                  </a:lnTo>
                  <a:lnTo>
                    <a:pt x="55" y="340"/>
                  </a:lnTo>
                  <a:lnTo>
                    <a:pt x="54" y="341"/>
                  </a:lnTo>
                  <a:lnTo>
                    <a:pt x="52" y="344"/>
                  </a:lnTo>
                  <a:lnTo>
                    <a:pt x="50" y="347"/>
                  </a:lnTo>
                  <a:lnTo>
                    <a:pt x="49" y="350"/>
                  </a:lnTo>
                  <a:lnTo>
                    <a:pt x="48" y="346"/>
                  </a:lnTo>
                  <a:lnTo>
                    <a:pt x="47" y="346"/>
                  </a:lnTo>
                  <a:lnTo>
                    <a:pt x="46" y="346"/>
                  </a:lnTo>
                  <a:lnTo>
                    <a:pt x="47" y="347"/>
                  </a:lnTo>
                  <a:lnTo>
                    <a:pt x="46" y="349"/>
                  </a:lnTo>
                  <a:lnTo>
                    <a:pt x="46" y="350"/>
                  </a:lnTo>
                  <a:lnTo>
                    <a:pt x="44" y="351"/>
                  </a:lnTo>
                  <a:lnTo>
                    <a:pt x="47" y="350"/>
                  </a:lnTo>
                  <a:lnTo>
                    <a:pt x="48" y="352"/>
                  </a:lnTo>
                  <a:lnTo>
                    <a:pt x="47" y="355"/>
                  </a:lnTo>
                  <a:lnTo>
                    <a:pt x="46" y="353"/>
                  </a:lnTo>
                  <a:lnTo>
                    <a:pt x="43" y="353"/>
                  </a:lnTo>
                  <a:lnTo>
                    <a:pt x="43" y="352"/>
                  </a:lnTo>
                  <a:lnTo>
                    <a:pt x="42" y="352"/>
                  </a:lnTo>
                  <a:lnTo>
                    <a:pt x="42" y="355"/>
                  </a:lnTo>
                  <a:lnTo>
                    <a:pt x="41" y="353"/>
                  </a:lnTo>
                  <a:lnTo>
                    <a:pt x="41" y="352"/>
                  </a:lnTo>
                  <a:lnTo>
                    <a:pt x="39" y="353"/>
                  </a:lnTo>
                  <a:lnTo>
                    <a:pt x="39" y="355"/>
                  </a:lnTo>
                  <a:lnTo>
                    <a:pt x="37" y="355"/>
                  </a:lnTo>
                  <a:lnTo>
                    <a:pt x="36" y="355"/>
                  </a:lnTo>
                  <a:lnTo>
                    <a:pt x="35" y="357"/>
                  </a:lnTo>
                  <a:lnTo>
                    <a:pt x="33" y="358"/>
                  </a:lnTo>
                  <a:lnTo>
                    <a:pt x="32" y="357"/>
                  </a:lnTo>
                  <a:lnTo>
                    <a:pt x="31" y="357"/>
                  </a:lnTo>
                  <a:lnTo>
                    <a:pt x="30" y="356"/>
                  </a:lnTo>
                  <a:lnTo>
                    <a:pt x="26" y="357"/>
                  </a:lnTo>
                  <a:lnTo>
                    <a:pt x="25" y="358"/>
                  </a:lnTo>
                  <a:lnTo>
                    <a:pt x="24" y="360"/>
                  </a:lnTo>
                  <a:lnTo>
                    <a:pt x="23" y="361"/>
                  </a:lnTo>
                  <a:lnTo>
                    <a:pt x="23" y="363"/>
                  </a:lnTo>
                  <a:lnTo>
                    <a:pt x="21" y="362"/>
                  </a:lnTo>
                  <a:lnTo>
                    <a:pt x="21" y="361"/>
                  </a:lnTo>
                  <a:lnTo>
                    <a:pt x="21" y="360"/>
                  </a:lnTo>
                  <a:lnTo>
                    <a:pt x="19" y="361"/>
                  </a:lnTo>
                  <a:lnTo>
                    <a:pt x="19" y="360"/>
                  </a:lnTo>
                  <a:lnTo>
                    <a:pt x="20" y="358"/>
                  </a:lnTo>
                  <a:lnTo>
                    <a:pt x="19" y="360"/>
                  </a:lnTo>
                  <a:lnTo>
                    <a:pt x="19" y="357"/>
                  </a:lnTo>
                  <a:lnTo>
                    <a:pt x="18" y="358"/>
                  </a:lnTo>
                  <a:lnTo>
                    <a:pt x="15" y="358"/>
                  </a:lnTo>
                  <a:lnTo>
                    <a:pt x="13" y="360"/>
                  </a:lnTo>
                  <a:lnTo>
                    <a:pt x="13" y="358"/>
                  </a:lnTo>
                  <a:lnTo>
                    <a:pt x="12" y="360"/>
                  </a:lnTo>
                  <a:lnTo>
                    <a:pt x="9" y="361"/>
                  </a:lnTo>
                  <a:lnTo>
                    <a:pt x="12" y="358"/>
                  </a:lnTo>
                  <a:lnTo>
                    <a:pt x="12" y="357"/>
                  </a:lnTo>
                  <a:lnTo>
                    <a:pt x="11" y="358"/>
                  </a:lnTo>
                  <a:lnTo>
                    <a:pt x="12" y="355"/>
                  </a:lnTo>
                  <a:lnTo>
                    <a:pt x="14" y="352"/>
                  </a:lnTo>
                  <a:lnTo>
                    <a:pt x="15" y="351"/>
                  </a:lnTo>
                  <a:lnTo>
                    <a:pt x="14" y="351"/>
                  </a:lnTo>
                  <a:lnTo>
                    <a:pt x="12" y="353"/>
                  </a:lnTo>
                  <a:lnTo>
                    <a:pt x="9" y="356"/>
                  </a:lnTo>
                  <a:lnTo>
                    <a:pt x="12" y="351"/>
                  </a:lnTo>
                  <a:lnTo>
                    <a:pt x="12" y="350"/>
                  </a:lnTo>
                  <a:lnTo>
                    <a:pt x="11" y="349"/>
                  </a:lnTo>
                  <a:lnTo>
                    <a:pt x="13" y="346"/>
                  </a:lnTo>
                  <a:lnTo>
                    <a:pt x="12" y="345"/>
                  </a:lnTo>
                  <a:lnTo>
                    <a:pt x="11" y="347"/>
                  </a:lnTo>
                  <a:lnTo>
                    <a:pt x="8" y="349"/>
                  </a:lnTo>
                  <a:lnTo>
                    <a:pt x="8" y="346"/>
                  </a:lnTo>
                  <a:lnTo>
                    <a:pt x="7" y="344"/>
                  </a:lnTo>
                  <a:lnTo>
                    <a:pt x="9" y="341"/>
                  </a:lnTo>
                  <a:lnTo>
                    <a:pt x="11" y="341"/>
                  </a:lnTo>
                  <a:lnTo>
                    <a:pt x="13" y="341"/>
                  </a:lnTo>
                  <a:lnTo>
                    <a:pt x="15" y="340"/>
                  </a:lnTo>
                  <a:lnTo>
                    <a:pt x="17" y="339"/>
                  </a:lnTo>
                  <a:lnTo>
                    <a:pt x="18" y="338"/>
                  </a:lnTo>
                  <a:lnTo>
                    <a:pt x="18" y="339"/>
                  </a:lnTo>
                  <a:lnTo>
                    <a:pt x="19" y="341"/>
                  </a:lnTo>
                  <a:lnTo>
                    <a:pt x="20" y="340"/>
                  </a:lnTo>
                  <a:lnTo>
                    <a:pt x="21" y="340"/>
                  </a:lnTo>
                  <a:lnTo>
                    <a:pt x="23" y="339"/>
                  </a:lnTo>
                  <a:lnTo>
                    <a:pt x="26" y="338"/>
                  </a:lnTo>
                  <a:lnTo>
                    <a:pt x="29" y="338"/>
                  </a:lnTo>
                  <a:lnTo>
                    <a:pt x="27" y="339"/>
                  </a:lnTo>
                  <a:lnTo>
                    <a:pt x="26" y="339"/>
                  </a:lnTo>
                  <a:lnTo>
                    <a:pt x="24" y="340"/>
                  </a:lnTo>
                  <a:lnTo>
                    <a:pt x="24" y="341"/>
                  </a:lnTo>
                  <a:lnTo>
                    <a:pt x="24" y="343"/>
                  </a:lnTo>
                  <a:lnTo>
                    <a:pt x="26" y="341"/>
                  </a:lnTo>
                  <a:lnTo>
                    <a:pt x="27" y="341"/>
                  </a:lnTo>
                  <a:lnTo>
                    <a:pt x="27" y="340"/>
                  </a:lnTo>
                  <a:lnTo>
                    <a:pt x="29" y="339"/>
                  </a:lnTo>
                  <a:lnTo>
                    <a:pt x="31" y="339"/>
                  </a:lnTo>
                  <a:lnTo>
                    <a:pt x="32" y="338"/>
                  </a:lnTo>
                  <a:lnTo>
                    <a:pt x="31" y="338"/>
                  </a:lnTo>
                  <a:lnTo>
                    <a:pt x="30" y="339"/>
                  </a:lnTo>
                  <a:lnTo>
                    <a:pt x="30" y="338"/>
                  </a:lnTo>
                  <a:lnTo>
                    <a:pt x="31" y="334"/>
                  </a:lnTo>
                  <a:lnTo>
                    <a:pt x="33" y="333"/>
                  </a:lnTo>
                  <a:lnTo>
                    <a:pt x="33" y="332"/>
                  </a:lnTo>
                  <a:lnTo>
                    <a:pt x="35" y="331"/>
                  </a:lnTo>
                  <a:lnTo>
                    <a:pt x="32" y="332"/>
                  </a:lnTo>
                  <a:lnTo>
                    <a:pt x="31" y="333"/>
                  </a:lnTo>
                  <a:lnTo>
                    <a:pt x="32" y="332"/>
                  </a:lnTo>
                  <a:lnTo>
                    <a:pt x="31" y="332"/>
                  </a:lnTo>
                  <a:lnTo>
                    <a:pt x="27" y="334"/>
                  </a:lnTo>
                  <a:lnTo>
                    <a:pt x="30" y="329"/>
                  </a:lnTo>
                  <a:lnTo>
                    <a:pt x="31" y="328"/>
                  </a:lnTo>
                  <a:lnTo>
                    <a:pt x="33" y="327"/>
                  </a:lnTo>
                  <a:lnTo>
                    <a:pt x="33" y="325"/>
                  </a:lnTo>
                  <a:lnTo>
                    <a:pt x="33" y="323"/>
                  </a:lnTo>
                  <a:lnTo>
                    <a:pt x="32" y="323"/>
                  </a:lnTo>
                  <a:lnTo>
                    <a:pt x="29" y="323"/>
                  </a:lnTo>
                  <a:lnTo>
                    <a:pt x="31" y="321"/>
                  </a:lnTo>
                  <a:lnTo>
                    <a:pt x="33" y="320"/>
                  </a:lnTo>
                  <a:lnTo>
                    <a:pt x="36" y="320"/>
                  </a:lnTo>
                  <a:lnTo>
                    <a:pt x="37" y="321"/>
                  </a:lnTo>
                  <a:lnTo>
                    <a:pt x="39" y="321"/>
                  </a:lnTo>
                  <a:lnTo>
                    <a:pt x="41" y="321"/>
                  </a:lnTo>
                  <a:lnTo>
                    <a:pt x="43" y="321"/>
                  </a:lnTo>
                  <a:lnTo>
                    <a:pt x="42" y="321"/>
                  </a:lnTo>
                  <a:lnTo>
                    <a:pt x="39" y="320"/>
                  </a:lnTo>
                  <a:lnTo>
                    <a:pt x="38" y="319"/>
                  </a:lnTo>
                  <a:lnTo>
                    <a:pt x="39" y="319"/>
                  </a:lnTo>
                  <a:lnTo>
                    <a:pt x="41" y="317"/>
                  </a:lnTo>
                  <a:lnTo>
                    <a:pt x="39" y="316"/>
                  </a:lnTo>
                  <a:lnTo>
                    <a:pt x="38" y="317"/>
                  </a:lnTo>
                  <a:lnTo>
                    <a:pt x="38" y="316"/>
                  </a:lnTo>
                  <a:lnTo>
                    <a:pt x="37" y="315"/>
                  </a:lnTo>
                  <a:lnTo>
                    <a:pt x="38" y="314"/>
                  </a:lnTo>
                  <a:lnTo>
                    <a:pt x="37" y="314"/>
                  </a:lnTo>
                  <a:lnTo>
                    <a:pt x="37" y="313"/>
                  </a:lnTo>
                  <a:lnTo>
                    <a:pt x="36" y="314"/>
                  </a:lnTo>
                  <a:lnTo>
                    <a:pt x="35" y="315"/>
                  </a:lnTo>
                  <a:lnTo>
                    <a:pt x="35" y="316"/>
                  </a:lnTo>
                  <a:lnTo>
                    <a:pt x="35" y="314"/>
                  </a:lnTo>
                  <a:lnTo>
                    <a:pt x="35" y="313"/>
                  </a:lnTo>
                  <a:lnTo>
                    <a:pt x="33" y="314"/>
                  </a:lnTo>
                  <a:lnTo>
                    <a:pt x="35" y="311"/>
                  </a:lnTo>
                  <a:lnTo>
                    <a:pt x="36" y="310"/>
                  </a:lnTo>
                  <a:lnTo>
                    <a:pt x="37" y="309"/>
                  </a:lnTo>
                  <a:lnTo>
                    <a:pt x="39" y="307"/>
                  </a:lnTo>
                  <a:lnTo>
                    <a:pt x="41" y="304"/>
                  </a:lnTo>
                  <a:lnTo>
                    <a:pt x="39" y="304"/>
                  </a:lnTo>
                  <a:lnTo>
                    <a:pt x="38" y="305"/>
                  </a:lnTo>
                  <a:lnTo>
                    <a:pt x="38" y="304"/>
                  </a:lnTo>
                  <a:lnTo>
                    <a:pt x="38" y="305"/>
                  </a:lnTo>
                  <a:lnTo>
                    <a:pt x="37" y="307"/>
                  </a:lnTo>
                  <a:lnTo>
                    <a:pt x="37" y="305"/>
                  </a:lnTo>
                  <a:lnTo>
                    <a:pt x="37" y="307"/>
                  </a:lnTo>
                  <a:lnTo>
                    <a:pt x="36" y="307"/>
                  </a:lnTo>
                  <a:lnTo>
                    <a:pt x="35" y="307"/>
                  </a:lnTo>
                  <a:lnTo>
                    <a:pt x="33" y="309"/>
                  </a:lnTo>
                  <a:lnTo>
                    <a:pt x="33" y="307"/>
                  </a:lnTo>
                  <a:lnTo>
                    <a:pt x="35" y="304"/>
                  </a:lnTo>
                  <a:lnTo>
                    <a:pt x="33" y="304"/>
                  </a:lnTo>
                  <a:lnTo>
                    <a:pt x="32" y="303"/>
                  </a:lnTo>
                  <a:lnTo>
                    <a:pt x="31" y="302"/>
                  </a:lnTo>
                  <a:lnTo>
                    <a:pt x="32" y="301"/>
                  </a:lnTo>
                  <a:lnTo>
                    <a:pt x="31" y="299"/>
                  </a:lnTo>
                  <a:lnTo>
                    <a:pt x="30" y="298"/>
                  </a:lnTo>
                  <a:lnTo>
                    <a:pt x="26" y="301"/>
                  </a:lnTo>
                  <a:lnTo>
                    <a:pt x="25" y="305"/>
                  </a:lnTo>
                  <a:lnTo>
                    <a:pt x="23" y="309"/>
                  </a:lnTo>
                  <a:lnTo>
                    <a:pt x="21" y="311"/>
                  </a:lnTo>
                  <a:lnTo>
                    <a:pt x="24" y="307"/>
                  </a:lnTo>
                  <a:lnTo>
                    <a:pt x="25" y="304"/>
                  </a:lnTo>
                  <a:lnTo>
                    <a:pt x="23" y="305"/>
                  </a:lnTo>
                  <a:lnTo>
                    <a:pt x="20" y="305"/>
                  </a:lnTo>
                  <a:lnTo>
                    <a:pt x="23" y="304"/>
                  </a:lnTo>
                  <a:lnTo>
                    <a:pt x="25" y="302"/>
                  </a:lnTo>
                  <a:lnTo>
                    <a:pt x="25" y="301"/>
                  </a:lnTo>
                  <a:lnTo>
                    <a:pt x="20" y="303"/>
                  </a:lnTo>
                  <a:lnTo>
                    <a:pt x="17" y="307"/>
                  </a:lnTo>
                  <a:lnTo>
                    <a:pt x="19" y="303"/>
                  </a:lnTo>
                  <a:lnTo>
                    <a:pt x="17" y="304"/>
                  </a:lnTo>
                  <a:lnTo>
                    <a:pt x="15" y="304"/>
                  </a:lnTo>
                  <a:lnTo>
                    <a:pt x="18" y="303"/>
                  </a:lnTo>
                  <a:lnTo>
                    <a:pt x="15" y="303"/>
                  </a:lnTo>
                  <a:lnTo>
                    <a:pt x="14" y="303"/>
                  </a:lnTo>
                  <a:lnTo>
                    <a:pt x="13" y="304"/>
                  </a:lnTo>
                  <a:lnTo>
                    <a:pt x="13" y="302"/>
                  </a:lnTo>
                  <a:lnTo>
                    <a:pt x="12" y="302"/>
                  </a:lnTo>
                  <a:lnTo>
                    <a:pt x="11" y="303"/>
                  </a:lnTo>
                  <a:lnTo>
                    <a:pt x="11" y="301"/>
                  </a:lnTo>
                  <a:lnTo>
                    <a:pt x="12" y="299"/>
                  </a:lnTo>
                  <a:lnTo>
                    <a:pt x="11" y="299"/>
                  </a:lnTo>
                  <a:lnTo>
                    <a:pt x="12" y="298"/>
                  </a:lnTo>
                  <a:lnTo>
                    <a:pt x="11" y="298"/>
                  </a:lnTo>
                  <a:lnTo>
                    <a:pt x="12" y="297"/>
                  </a:lnTo>
                  <a:lnTo>
                    <a:pt x="12" y="296"/>
                  </a:lnTo>
                  <a:lnTo>
                    <a:pt x="14" y="295"/>
                  </a:lnTo>
                  <a:lnTo>
                    <a:pt x="17" y="295"/>
                  </a:lnTo>
                  <a:lnTo>
                    <a:pt x="17" y="293"/>
                  </a:lnTo>
                  <a:lnTo>
                    <a:pt x="17" y="292"/>
                  </a:lnTo>
                  <a:lnTo>
                    <a:pt x="18" y="291"/>
                  </a:lnTo>
                  <a:lnTo>
                    <a:pt x="15" y="291"/>
                  </a:lnTo>
                  <a:lnTo>
                    <a:pt x="14" y="291"/>
                  </a:lnTo>
                  <a:lnTo>
                    <a:pt x="12" y="290"/>
                  </a:lnTo>
                  <a:lnTo>
                    <a:pt x="13" y="289"/>
                  </a:lnTo>
                  <a:lnTo>
                    <a:pt x="14" y="289"/>
                  </a:lnTo>
                  <a:lnTo>
                    <a:pt x="17" y="287"/>
                  </a:lnTo>
                  <a:lnTo>
                    <a:pt x="19" y="287"/>
                  </a:lnTo>
                  <a:lnTo>
                    <a:pt x="20" y="290"/>
                  </a:lnTo>
                  <a:lnTo>
                    <a:pt x="21" y="291"/>
                  </a:lnTo>
                  <a:lnTo>
                    <a:pt x="24" y="291"/>
                  </a:lnTo>
                  <a:lnTo>
                    <a:pt x="24" y="290"/>
                  </a:lnTo>
                  <a:lnTo>
                    <a:pt x="25" y="290"/>
                  </a:lnTo>
                  <a:lnTo>
                    <a:pt x="26" y="290"/>
                  </a:lnTo>
                  <a:lnTo>
                    <a:pt x="27" y="289"/>
                  </a:lnTo>
                  <a:lnTo>
                    <a:pt x="29" y="289"/>
                  </a:lnTo>
                  <a:lnTo>
                    <a:pt x="30" y="289"/>
                  </a:lnTo>
                  <a:lnTo>
                    <a:pt x="31" y="287"/>
                  </a:lnTo>
                  <a:lnTo>
                    <a:pt x="31" y="286"/>
                  </a:lnTo>
                  <a:lnTo>
                    <a:pt x="32" y="286"/>
                  </a:lnTo>
                  <a:lnTo>
                    <a:pt x="32" y="285"/>
                  </a:lnTo>
                  <a:lnTo>
                    <a:pt x="33" y="283"/>
                  </a:lnTo>
                  <a:lnTo>
                    <a:pt x="31" y="284"/>
                  </a:lnTo>
                  <a:lnTo>
                    <a:pt x="29" y="286"/>
                  </a:lnTo>
                  <a:lnTo>
                    <a:pt x="27" y="287"/>
                  </a:lnTo>
                  <a:lnTo>
                    <a:pt x="27" y="284"/>
                  </a:lnTo>
                  <a:lnTo>
                    <a:pt x="26" y="281"/>
                  </a:lnTo>
                  <a:lnTo>
                    <a:pt x="26" y="280"/>
                  </a:lnTo>
                  <a:lnTo>
                    <a:pt x="24" y="280"/>
                  </a:lnTo>
                  <a:lnTo>
                    <a:pt x="21" y="281"/>
                  </a:lnTo>
                  <a:lnTo>
                    <a:pt x="21" y="283"/>
                  </a:lnTo>
                  <a:lnTo>
                    <a:pt x="20" y="280"/>
                  </a:lnTo>
                  <a:lnTo>
                    <a:pt x="19" y="280"/>
                  </a:lnTo>
                  <a:lnTo>
                    <a:pt x="17" y="279"/>
                  </a:lnTo>
                  <a:lnTo>
                    <a:pt x="15" y="279"/>
                  </a:lnTo>
                  <a:lnTo>
                    <a:pt x="15" y="275"/>
                  </a:lnTo>
                  <a:lnTo>
                    <a:pt x="14" y="277"/>
                  </a:lnTo>
                  <a:lnTo>
                    <a:pt x="14" y="280"/>
                  </a:lnTo>
                  <a:lnTo>
                    <a:pt x="14" y="284"/>
                  </a:lnTo>
                  <a:lnTo>
                    <a:pt x="14" y="286"/>
                  </a:lnTo>
                  <a:lnTo>
                    <a:pt x="11" y="281"/>
                  </a:lnTo>
                  <a:lnTo>
                    <a:pt x="9" y="280"/>
                  </a:lnTo>
                  <a:lnTo>
                    <a:pt x="8" y="281"/>
                  </a:lnTo>
                  <a:lnTo>
                    <a:pt x="7" y="283"/>
                  </a:lnTo>
                  <a:lnTo>
                    <a:pt x="7" y="280"/>
                  </a:lnTo>
                  <a:lnTo>
                    <a:pt x="7" y="279"/>
                  </a:lnTo>
                  <a:lnTo>
                    <a:pt x="6" y="279"/>
                  </a:lnTo>
                  <a:lnTo>
                    <a:pt x="5" y="279"/>
                  </a:lnTo>
                  <a:lnTo>
                    <a:pt x="5" y="278"/>
                  </a:lnTo>
                  <a:lnTo>
                    <a:pt x="5" y="275"/>
                  </a:lnTo>
                  <a:lnTo>
                    <a:pt x="7" y="273"/>
                  </a:lnTo>
                  <a:lnTo>
                    <a:pt x="7" y="271"/>
                  </a:lnTo>
                  <a:lnTo>
                    <a:pt x="8" y="269"/>
                  </a:lnTo>
                  <a:lnTo>
                    <a:pt x="9" y="268"/>
                  </a:lnTo>
                  <a:lnTo>
                    <a:pt x="11" y="268"/>
                  </a:lnTo>
                  <a:lnTo>
                    <a:pt x="11" y="267"/>
                  </a:lnTo>
                  <a:lnTo>
                    <a:pt x="12" y="266"/>
                  </a:lnTo>
                  <a:lnTo>
                    <a:pt x="14" y="263"/>
                  </a:lnTo>
                  <a:lnTo>
                    <a:pt x="15" y="263"/>
                  </a:lnTo>
                  <a:lnTo>
                    <a:pt x="17" y="262"/>
                  </a:lnTo>
                  <a:lnTo>
                    <a:pt x="18" y="261"/>
                  </a:lnTo>
                  <a:lnTo>
                    <a:pt x="20" y="261"/>
                  </a:lnTo>
                  <a:lnTo>
                    <a:pt x="14" y="259"/>
                  </a:lnTo>
                  <a:lnTo>
                    <a:pt x="11" y="256"/>
                  </a:lnTo>
                  <a:lnTo>
                    <a:pt x="11" y="257"/>
                  </a:lnTo>
                  <a:lnTo>
                    <a:pt x="9" y="260"/>
                  </a:lnTo>
                  <a:lnTo>
                    <a:pt x="8" y="260"/>
                  </a:lnTo>
                  <a:lnTo>
                    <a:pt x="8" y="262"/>
                  </a:lnTo>
                  <a:lnTo>
                    <a:pt x="6" y="263"/>
                  </a:lnTo>
                  <a:lnTo>
                    <a:pt x="6" y="261"/>
                  </a:lnTo>
                  <a:lnTo>
                    <a:pt x="6" y="260"/>
                  </a:lnTo>
                  <a:lnTo>
                    <a:pt x="7" y="260"/>
                  </a:lnTo>
                  <a:lnTo>
                    <a:pt x="7" y="257"/>
                  </a:lnTo>
                  <a:lnTo>
                    <a:pt x="7" y="256"/>
                  </a:lnTo>
                  <a:lnTo>
                    <a:pt x="8" y="256"/>
                  </a:lnTo>
                  <a:lnTo>
                    <a:pt x="9" y="256"/>
                  </a:lnTo>
                  <a:lnTo>
                    <a:pt x="8" y="255"/>
                  </a:lnTo>
                  <a:lnTo>
                    <a:pt x="6" y="255"/>
                  </a:lnTo>
                  <a:lnTo>
                    <a:pt x="6" y="254"/>
                  </a:lnTo>
                  <a:lnTo>
                    <a:pt x="7" y="254"/>
                  </a:lnTo>
                  <a:lnTo>
                    <a:pt x="9" y="255"/>
                  </a:lnTo>
                  <a:lnTo>
                    <a:pt x="13" y="257"/>
                  </a:lnTo>
                  <a:lnTo>
                    <a:pt x="21" y="260"/>
                  </a:lnTo>
                  <a:lnTo>
                    <a:pt x="18" y="256"/>
                  </a:lnTo>
                  <a:lnTo>
                    <a:pt x="17" y="256"/>
                  </a:lnTo>
                  <a:lnTo>
                    <a:pt x="17" y="257"/>
                  </a:lnTo>
                  <a:lnTo>
                    <a:pt x="14" y="256"/>
                  </a:lnTo>
                  <a:lnTo>
                    <a:pt x="14" y="254"/>
                  </a:lnTo>
                  <a:lnTo>
                    <a:pt x="11" y="251"/>
                  </a:lnTo>
                  <a:lnTo>
                    <a:pt x="8" y="249"/>
                  </a:lnTo>
                  <a:lnTo>
                    <a:pt x="8" y="250"/>
                  </a:lnTo>
                  <a:lnTo>
                    <a:pt x="8" y="253"/>
                  </a:lnTo>
                  <a:lnTo>
                    <a:pt x="7" y="251"/>
                  </a:lnTo>
                  <a:lnTo>
                    <a:pt x="7" y="250"/>
                  </a:lnTo>
                  <a:lnTo>
                    <a:pt x="6" y="250"/>
                  </a:lnTo>
                  <a:lnTo>
                    <a:pt x="6" y="251"/>
                  </a:lnTo>
                  <a:lnTo>
                    <a:pt x="2" y="251"/>
                  </a:lnTo>
                  <a:lnTo>
                    <a:pt x="1" y="251"/>
                  </a:lnTo>
                  <a:lnTo>
                    <a:pt x="2" y="250"/>
                  </a:lnTo>
                  <a:lnTo>
                    <a:pt x="2" y="249"/>
                  </a:lnTo>
                  <a:lnTo>
                    <a:pt x="5" y="249"/>
                  </a:lnTo>
                  <a:lnTo>
                    <a:pt x="7" y="249"/>
                  </a:lnTo>
                  <a:lnTo>
                    <a:pt x="8" y="249"/>
                  </a:lnTo>
                  <a:lnTo>
                    <a:pt x="5" y="244"/>
                  </a:lnTo>
                  <a:lnTo>
                    <a:pt x="3" y="244"/>
                  </a:lnTo>
                  <a:lnTo>
                    <a:pt x="1" y="243"/>
                  </a:lnTo>
                  <a:lnTo>
                    <a:pt x="0" y="242"/>
                  </a:lnTo>
                  <a:lnTo>
                    <a:pt x="2" y="242"/>
                  </a:lnTo>
                  <a:lnTo>
                    <a:pt x="3" y="243"/>
                  </a:lnTo>
                  <a:lnTo>
                    <a:pt x="5" y="243"/>
                  </a:lnTo>
                  <a:lnTo>
                    <a:pt x="6" y="243"/>
                  </a:lnTo>
                  <a:lnTo>
                    <a:pt x="8" y="244"/>
                  </a:lnTo>
                  <a:lnTo>
                    <a:pt x="9" y="246"/>
                  </a:lnTo>
                  <a:lnTo>
                    <a:pt x="8" y="245"/>
                  </a:lnTo>
                  <a:lnTo>
                    <a:pt x="8" y="246"/>
                  </a:lnTo>
                  <a:lnTo>
                    <a:pt x="6" y="245"/>
                  </a:lnTo>
                  <a:lnTo>
                    <a:pt x="5" y="244"/>
                  </a:lnTo>
                  <a:lnTo>
                    <a:pt x="8" y="248"/>
                  </a:lnTo>
                  <a:lnTo>
                    <a:pt x="14" y="254"/>
                  </a:lnTo>
                  <a:lnTo>
                    <a:pt x="15" y="254"/>
                  </a:lnTo>
                  <a:lnTo>
                    <a:pt x="17" y="253"/>
                  </a:lnTo>
                  <a:lnTo>
                    <a:pt x="18" y="253"/>
                  </a:lnTo>
                  <a:lnTo>
                    <a:pt x="17" y="254"/>
                  </a:lnTo>
                  <a:lnTo>
                    <a:pt x="17" y="255"/>
                  </a:lnTo>
                  <a:lnTo>
                    <a:pt x="21" y="260"/>
                  </a:lnTo>
                  <a:lnTo>
                    <a:pt x="23" y="260"/>
                  </a:lnTo>
                  <a:lnTo>
                    <a:pt x="24" y="257"/>
                  </a:lnTo>
                  <a:lnTo>
                    <a:pt x="25" y="256"/>
                  </a:lnTo>
                  <a:lnTo>
                    <a:pt x="25" y="255"/>
                  </a:lnTo>
                  <a:lnTo>
                    <a:pt x="26" y="255"/>
                  </a:lnTo>
                  <a:lnTo>
                    <a:pt x="29" y="256"/>
                  </a:lnTo>
                  <a:lnTo>
                    <a:pt x="29" y="257"/>
                  </a:lnTo>
                  <a:lnTo>
                    <a:pt x="31" y="257"/>
                  </a:lnTo>
                  <a:lnTo>
                    <a:pt x="31" y="255"/>
                  </a:lnTo>
                  <a:lnTo>
                    <a:pt x="32" y="253"/>
                  </a:lnTo>
                  <a:lnTo>
                    <a:pt x="35" y="250"/>
                  </a:lnTo>
                  <a:lnTo>
                    <a:pt x="37" y="249"/>
                  </a:lnTo>
                  <a:lnTo>
                    <a:pt x="39" y="249"/>
                  </a:lnTo>
                  <a:lnTo>
                    <a:pt x="41" y="250"/>
                  </a:lnTo>
                  <a:lnTo>
                    <a:pt x="43" y="250"/>
                  </a:lnTo>
                  <a:lnTo>
                    <a:pt x="44" y="251"/>
                  </a:lnTo>
                  <a:lnTo>
                    <a:pt x="42" y="251"/>
                  </a:lnTo>
                  <a:lnTo>
                    <a:pt x="43" y="253"/>
                  </a:lnTo>
                  <a:lnTo>
                    <a:pt x="44" y="253"/>
                  </a:lnTo>
                  <a:lnTo>
                    <a:pt x="46" y="254"/>
                  </a:lnTo>
                  <a:lnTo>
                    <a:pt x="47" y="254"/>
                  </a:lnTo>
                  <a:lnTo>
                    <a:pt x="47" y="253"/>
                  </a:lnTo>
                  <a:lnTo>
                    <a:pt x="47" y="251"/>
                  </a:lnTo>
                  <a:lnTo>
                    <a:pt x="46" y="253"/>
                  </a:lnTo>
                  <a:lnTo>
                    <a:pt x="44" y="251"/>
                  </a:lnTo>
                  <a:lnTo>
                    <a:pt x="46" y="251"/>
                  </a:lnTo>
                  <a:lnTo>
                    <a:pt x="46" y="250"/>
                  </a:lnTo>
                  <a:lnTo>
                    <a:pt x="44" y="250"/>
                  </a:lnTo>
                  <a:lnTo>
                    <a:pt x="44" y="249"/>
                  </a:lnTo>
                  <a:lnTo>
                    <a:pt x="46" y="248"/>
                  </a:lnTo>
                  <a:lnTo>
                    <a:pt x="47" y="246"/>
                  </a:lnTo>
                  <a:lnTo>
                    <a:pt x="44" y="246"/>
                  </a:lnTo>
                  <a:lnTo>
                    <a:pt x="42" y="245"/>
                  </a:lnTo>
                  <a:lnTo>
                    <a:pt x="44" y="245"/>
                  </a:lnTo>
                  <a:lnTo>
                    <a:pt x="44" y="244"/>
                  </a:lnTo>
                  <a:lnTo>
                    <a:pt x="46" y="245"/>
                  </a:lnTo>
                  <a:lnTo>
                    <a:pt x="48" y="244"/>
                  </a:lnTo>
                  <a:lnTo>
                    <a:pt x="47" y="244"/>
                  </a:lnTo>
                  <a:lnTo>
                    <a:pt x="49" y="244"/>
                  </a:lnTo>
                  <a:lnTo>
                    <a:pt x="50" y="245"/>
                  </a:lnTo>
                  <a:lnTo>
                    <a:pt x="53" y="244"/>
                  </a:lnTo>
                  <a:lnTo>
                    <a:pt x="53" y="242"/>
                  </a:lnTo>
                  <a:lnTo>
                    <a:pt x="54" y="243"/>
                  </a:lnTo>
                  <a:lnTo>
                    <a:pt x="55" y="244"/>
                  </a:lnTo>
                  <a:lnTo>
                    <a:pt x="55" y="246"/>
                  </a:lnTo>
                  <a:lnTo>
                    <a:pt x="56" y="245"/>
                  </a:lnTo>
                  <a:lnTo>
                    <a:pt x="58" y="243"/>
                  </a:lnTo>
                  <a:lnTo>
                    <a:pt x="59" y="240"/>
                  </a:lnTo>
                  <a:lnTo>
                    <a:pt x="58" y="240"/>
                  </a:lnTo>
                  <a:lnTo>
                    <a:pt x="59" y="240"/>
                  </a:lnTo>
                  <a:lnTo>
                    <a:pt x="59" y="239"/>
                  </a:lnTo>
                  <a:lnTo>
                    <a:pt x="60" y="239"/>
                  </a:lnTo>
                  <a:lnTo>
                    <a:pt x="62" y="238"/>
                  </a:lnTo>
                  <a:lnTo>
                    <a:pt x="61" y="239"/>
                  </a:lnTo>
                  <a:lnTo>
                    <a:pt x="61" y="240"/>
                  </a:lnTo>
                  <a:lnTo>
                    <a:pt x="64" y="240"/>
                  </a:lnTo>
                  <a:lnTo>
                    <a:pt x="64" y="239"/>
                  </a:lnTo>
                  <a:lnTo>
                    <a:pt x="66" y="237"/>
                  </a:lnTo>
                  <a:lnTo>
                    <a:pt x="67" y="236"/>
                  </a:lnTo>
                  <a:lnTo>
                    <a:pt x="66" y="234"/>
                  </a:lnTo>
                  <a:lnTo>
                    <a:pt x="64" y="234"/>
                  </a:lnTo>
                  <a:lnTo>
                    <a:pt x="62" y="236"/>
                  </a:lnTo>
                  <a:lnTo>
                    <a:pt x="60" y="236"/>
                  </a:lnTo>
                  <a:lnTo>
                    <a:pt x="61" y="234"/>
                  </a:lnTo>
                  <a:lnTo>
                    <a:pt x="62" y="233"/>
                  </a:lnTo>
                  <a:lnTo>
                    <a:pt x="62" y="232"/>
                  </a:lnTo>
                  <a:lnTo>
                    <a:pt x="62" y="230"/>
                  </a:lnTo>
                  <a:lnTo>
                    <a:pt x="59" y="227"/>
                  </a:lnTo>
                  <a:lnTo>
                    <a:pt x="56" y="228"/>
                  </a:lnTo>
                  <a:lnTo>
                    <a:pt x="56" y="230"/>
                  </a:lnTo>
                  <a:lnTo>
                    <a:pt x="56" y="227"/>
                  </a:lnTo>
                  <a:lnTo>
                    <a:pt x="58" y="227"/>
                  </a:lnTo>
                  <a:lnTo>
                    <a:pt x="56" y="226"/>
                  </a:lnTo>
                  <a:lnTo>
                    <a:pt x="55" y="226"/>
                  </a:lnTo>
                  <a:lnTo>
                    <a:pt x="54" y="227"/>
                  </a:lnTo>
                  <a:lnTo>
                    <a:pt x="53" y="227"/>
                  </a:lnTo>
                  <a:lnTo>
                    <a:pt x="53" y="226"/>
                  </a:lnTo>
                  <a:lnTo>
                    <a:pt x="54" y="226"/>
                  </a:lnTo>
                  <a:lnTo>
                    <a:pt x="54" y="225"/>
                  </a:lnTo>
                  <a:lnTo>
                    <a:pt x="54" y="224"/>
                  </a:lnTo>
                  <a:lnTo>
                    <a:pt x="52" y="225"/>
                  </a:lnTo>
                  <a:lnTo>
                    <a:pt x="50" y="227"/>
                  </a:lnTo>
                  <a:lnTo>
                    <a:pt x="50" y="226"/>
                  </a:lnTo>
                  <a:lnTo>
                    <a:pt x="49" y="226"/>
                  </a:lnTo>
                  <a:lnTo>
                    <a:pt x="47" y="226"/>
                  </a:lnTo>
                  <a:lnTo>
                    <a:pt x="49" y="225"/>
                  </a:lnTo>
                  <a:lnTo>
                    <a:pt x="49" y="224"/>
                  </a:lnTo>
                  <a:lnTo>
                    <a:pt x="52" y="224"/>
                  </a:lnTo>
                  <a:lnTo>
                    <a:pt x="53" y="224"/>
                  </a:lnTo>
                  <a:lnTo>
                    <a:pt x="52" y="220"/>
                  </a:lnTo>
                  <a:lnTo>
                    <a:pt x="52" y="219"/>
                  </a:lnTo>
                  <a:lnTo>
                    <a:pt x="53" y="219"/>
                  </a:lnTo>
                  <a:lnTo>
                    <a:pt x="54" y="218"/>
                  </a:lnTo>
                  <a:lnTo>
                    <a:pt x="56" y="219"/>
                  </a:lnTo>
                  <a:lnTo>
                    <a:pt x="54" y="220"/>
                  </a:lnTo>
                  <a:lnTo>
                    <a:pt x="53" y="221"/>
                  </a:lnTo>
                  <a:lnTo>
                    <a:pt x="52" y="220"/>
                  </a:lnTo>
                  <a:lnTo>
                    <a:pt x="54" y="224"/>
                  </a:lnTo>
                  <a:lnTo>
                    <a:pt x="55" y="224"/>
                  </a:lnTo>
                  <a:lnTo>
                    <a:pt x="56" y="222"/>
                  </a:lnTo>
                  <a:lnTo>
                    <a:pt x="56" y="225"/>
                  </a:lnTo>
                  <a:lnTo>
                    <a:pt x="59" y="227"/>
                  </a:lnTo>
                  <a:lnTo>
                    <a:pt x="62" y="230"/>
                  </a:lnTo>
                  <a:lnTo>
                    <a:pt x="64" y="231"/>
                  </a:lnTo>
                  <a:lnTo>
                    <a:pt x="65" y="230"/>
                  </a:lnTo>
                  <a:lnTo>
                    <a:pt x="64" y="228"/>
                  </a:lnTo>
                  <a:lnTo>
                    <a:pt x="64" y="227"/>
                  </a:lnTo>
                  <a:lnTo>
                    <a:pt x="62" y="225"/>
                  </a:lnTo>
                  <a:lnTo>
                    <a:pt x="62" y="224"/>
                  </a:lnTo>
                  <a:lnTo>
                    <a:pt x="66" y="224"/>
                  </a:lnTo>
                  <a:lnTo>
                    <a:pt x="64" y="222"/>
                  </a:lnTo>
                  <a:lnTo>
                    <a:pt x="61" y="224"/>
                  </a:lnTo>
                  <a:lnTo>
                    <a:pt x="60" y="226"/>
                  </a:lnTo>
                  <a:lnTo>
                    <a:pt x="60" y="225"/>
                  </a:lnTo>
                  <a:lnTo>
                    <a:pt x="60" y="224"/>
                  </a:lnTo>
                  <a:lnTo>
                    <a:pt x="60" y="221"/>
                  </a:lnTo>
                  <a:lnTo>
                    <a:pt x="61" y="220"/>
                  </a:lnTo>
                  <a:lnTo>
                    <a:pt x="61" y="218"/>
                  </a:lnTo>
                  <a:lnTo>
                    <a:pt x="64" y="216"/>
                  </a:lnTo>
                  <a:lnTo>
                    <a:pt x="62" y="216"/>
                  </a:lnTo>
                  <a:lnTo>
                    <a:pt x="64" y="215"/>
                  </a:lnTo>
                  <a:lnTo>
                    <a:pt x="66" y="214"/>
                  </a:lnTo>
                  <a:lnTo>
                    <a:pt x="65" y="213"/>
                  </a:lnTo>
                  <a:lnTo>
                    <a:pt x="64" y="213"/>
                  </a:lnTo>
                  <a:lnTo>
                    <a:pt x="64" y="212"/>
                  </a:lnTo>
                  <a:lnTo>
                    <a:pt x="65" y="210"/>
                  </a:lnTo>
                  <a:lnTo>
                    <a:pt x="65" y="209"/>
                  </a:lnTo>
                  <a:lnTo>
                    <a:pt x="66" y="208"/>
                  </a:lnTo>
                  <a:lnTo>
                    <a:pt x="66" y="206"/>
                  </a:lnTo>
                  <a:lnTo>
                    <a:pt x="65" y="208"/>
                  </a:lnTo>
                  <a:lnTo>
                    <a:pt x="62" y="209"/>
                  </a:lnTo>
                  <a:lnTo>
                    <a:pt x="62" y="206"/>
                  </a:lnTo>
                  <a:lnTo>
                    <a:pt x="64" y="204"/>
                  </a:lnTo>
                  <a:lnTo>
                    <a:pt x="64" y="203"/>
                  </a:lnTo>
                  <a:lnTo>
                    <a:pt x="65" y="202"/>
                  </a:lnTo>
                  <a:lnTo>
                    <a:pt x="67" y="202"/>
                  </a:lnTo>
                  <a:lnTo>
                    <a:pt x="65" y="201"/>
                  </a:lnTo>
                  <a:lnTo>
                    <a:pt x="62" y="201"/>
                  </a:lnTo>
                  <a:lnTo>
                    <a:pt x="64" y="200"/>
                  </a:lnTo>
                  <a:lnTo>
                    <a:pt x="66" y="198"/>
                  </a:lnTo>
                  <a:lnTo>
                    <a:pt x="66" y="197"/>
                  </a:lnTo>
                  <a:lnTo>
                    <a:pt x="67" y="197"/>
                  </a:lnTo>
                  <a:lnTo>
                    <a:pt x="68" y="197"/>
                  </a:lnTo>
                  <a:lnTo>
                    <a:pt x="71" y="196"/>
                  </a:lnTo>
                  <a:lnTo>
                    <a:pt x="72" y="196"/>
                  </a:lnTo>
                  <a:lnTo>
                    <a:pt x="74" y="195"/>
                  </a:lnTo>
                  <a:lnTo>
                    <a:pt x="74" y="197"/>
                  </a:lnTo>
                  <a:lnTo>
                    <a:pt x="76" y="197"/>
                  </a:lnTo>
                  <a:lnTo>
                    <a:pt x="77" y="196"/>
                  </a:lnTo>
                  <a:lnTo>
                    <a:pt x="78" y="196"/>
                  </a:lnTo>
                  <a:lnTo>
                    <a:pt x="78" y="195"/>
                  </a:lnTo>
                  <a:lnTo>
                    <a:pt x="78" y="194"/>
                  </a:lnTo>
                  <a:lnTo>
                    <a:pt x="79" y="191"/>
                  </a:lnTo>
                  <a:lnTo>
                    <a:pt x="80" y="190"/>
                  </a:lnTo>
                  <a:lnTo>
                    <a:pt x="80" y="191"/>
                  </a:lnTo>
                  <a:lnTo>
                    <a:pt x="80" y="192"/>
                  </a:lnTo>
                  <a:lnTo>
                    <a:pt x="82" y="194"/>
                  </a:lnTo>
                  <a:lnTo>
                    <a:pt x="83" y="191"/>
                  </a:lnTo>
                  <a:lnTo>
                    <a:pt x="83" y="192"/>
                  </a:lnTo>
                  <a:lnTo>
                    <a:pt x="83" y="191"/>
                  </a:lnTo>
                  <a:lnTo>
                    <a:pt x="82" y="189"/>
                  </a:lnTo>
                  <a:lnTo>
                    <a:pt x="79" y="189"/>
                  </a:lnTo>
                  <a:lnTo>
                    <a:pt x="77" y="191"/>
                  </a:lnTo>
                  <a:lnTo>
                    <a:pt x="77" y="190"/>
                  </a:lnTo>
                  <a:lnTo>
                    <a:pt x="77" y="189"/>
                  </a:lnTo>
                  <a:lnTo>
                    <a:pt x="77" y="188"/>
                  </a:lnTo>
                  <a:lnTo>
                    <a:pt x="76" y="188"/>
                  </a:lnTo>
                  <a:lnTo>
                    <a:pt x="74" y="188"/>
                  </a:lnTo>
                  <a:lnTo>
                    <a:pt x="74" y="190"/>
                  </a:lnTo>
                  <a:lnTo>
                    <a:pt x="72" y="191"/>
                  </a:lnTo>
                  <a:lnTo>
                    <a:pt x="71" y="192"/>
                  </a:lnTo>
                  <a:lnTo>
                    <a:pt x="71" y="190"/>
                  </a:lnTo>
                  <a:lnTo>
                    <a:pt x="70" y="189"/>
                  </a:lnTo>
                  <a:lnTo>
                    <a:pt x="71" y="189"/>
                  </a:lnTo>
                  <a:lnTo>
                    <a:pt x="71" y="188"/>
                  </a:lnTo>
                  <a:lnTo>
                    <a:pt x="71" y="186"/>
                  </a:lnTo>
                  <a:lnTo>
                    <a:pt x="71" y="185"/>
                  </a:lnTo>
                  <a:lnTo>
                    <a:pt x="70" y="185"/>
                  </a:lnTo>
                  <a:lnTo>
                    <a:pt x="70" y="184"/>
                  </a:lnTo>
                  <a:lnTo>
                    <a:pt x="67" y="183"/>
                  </a:lnTo>
                  <a:lnTo>
                    <a:pt x="65" y="186"/>
                  </a:lnTo>
                  <a:lnTo>
                    <a:pt x="64" y="188"/>
                  </a:lnTo>
                  <a:lnTo>
                    <a:pt x="64" y="185"/>
                  </a:lnTo>
                  <a:lnTo>
                    <a:pt x="64" y="183"/>
                  </a:lnTo>
                  <a:lnTo>
                    <a:pt x="62" y="185"/>
                  </a:lnTo>
                  <a:lnTo>
                    <a:pt x="61" y="184"/>
                  </a:lnTo>
                  <a:lnTo>
                    <a:pt x="60" y="185"/>
                  </a:lnTo>
                  <a:lnTo>
                    <a:pt x="59" y="184"/>
                  </a:lnTo>
                  <a:lnTo>
                    <a:pt x="59" y="185"/>
                  </a:lnTo>
                  <a:lnTo>
                    <a:pt x="58" y="188"/>
                  </a:lnTo>
                  <a:lnTo>
                    <a:pt x="56" y="189"/>
                  </a:lnTo>
                  <a:lnTo>
                    <a:pt x="55" y="191"/>
                  </a:lnTo>
                  <a:lnTo>
                    <a:pt x="54" y="190"/>
                  </a:lnTo>
                  <a:lnTo>
                    <a:pt x="53" y="190"/>
                  </a:lnTo>
                  <a:lnTo>
                    <a:pt x="53" y="191"/>
                  </a:lnTo>
                  <a:lnTo>
                    <a:pt x="52" y="195"/>
                  </a:lnTo>
                  <a:lnTo>
                    <a:pt x="52" y="192"/>
                  </a:lnTo>
                  <a:lnTo>
                    <a:pt x="50" y="191"/>
                  </a:lnTo>
                  <a:lnTo>
                    <a:pt x="50" y="192"/>
                  </a:lnTo>
                  <a:lnTo>
                    <a:pt x="49" y="194"/>
                  </a:lnTo>
                  <a:lnTo>
                    <a:pt x="47" y="194"/>
                  </a:lnTo>
                  <a:lnTo>
                    <a:pt x="47" y="195"/>
                  </a:lnTo>
                  <a:lnTo>
                    <a:pt x="46" y="196"/>
                  </a:lnTo>
                  <a:lnTo>
                    <a:pt x="44" y="197"/>
                  </a:lnTo>
                  <a:lnTo>
                    <a:pt x="44" y="195"/>
                  </a:lnTo>
                  <a:lnTo>
                    <a:pt x="46" y="192"/>
                  </a:lnTo>
                  <a:lnTo>
                    <a:pt x="44" y="192"/>
                  </a:lnTo>
                  <a:lnTo>
                    <a:pt x="43" y="192"/>
                  </a:lnTo>
                  <a:lnTo>
                    <a:pt x="44" y="191"/>
                  </a:lnTo>
                  <a:lnTo>
                    <a:pt x="46" y="190"/>
                  </a:lnTo>
                  <a:lnTo>
                    <a:pt x="47" y="188"/>
                  </a:lnTo>
                  <a:lnTo>
                    <a:pt x="49" y="188"/>
                  </a:lnTo>
                  <a:lnTo>
                    <a:pt x="50" y="188"/>
                  </a:lnTo>
                  <a:lnTo>
                    <a:pt x="53" y="188"/>
                  </a:lnTo>
                  <a:lnTo>
                    <a:pt x="53" y="186"/>
                  </a:lnTo>
                  <a:lnTo>
                    <a:pt x="52" y="185"/>
                  </a:lnTo>
                  <a:lnTo>
                    <a:pt x="50" y="185"/>
                  </a:lnTo>
                  <a:lnTo>
                    <a:pt x="48" y="186"/>
                  </a:lnTo>
                  <a:lnTo>
                    <a:pt x="49" y="185"/>
                  </a:lnTo>
                  <a:lnTo>
                    <a:pt x="49" y="184"/>
                  </a:lnTo>
                  <a:lnTo>
                    <a:pt x="48" y="183"/>
                  </a:lnTo>
                  <a:lnTo>
                    <a:pt x="47" y="183"/>
                  </a:lnTo>
                  <a:lnTo>
                    <a:pt x="46" y="183"/>
                  </a:lnTo>
                  <a:lnTo>
                    <a:pt x="44" y="184"/>
                  </a:lnTo>
                  <a:lnTo>
                    <a:pt x="44" y="185"/>
                  </a:lnTo>
                  <a:lnTo>
                    <a:pt x="47" y="185"/>
                  </a:lnTo>
                  <a:lnTo>
                    <a:pt x="47" y="186"/>
                  </a:lnTo>
                  <a:lnTo>
                    <a:pt x="46" y="188"/>
                  </a:lnTo>
                  <a:lnTo>
                    <a:pt x="44" y="189"/>
                  </a:lnTo>
                  <a:lnTo>
                    <a:pt x="43" y="189"/>
                  </a:lnTo>
                  <a:lnTo>
                    <a:pt x="39" y="191"/>
                  </a:lnTo>
                  <a:lnTo>
                    <a:pt x="41" y="189"/>
                  </a:lnTo>
                  <a:lnTo>
                    <a:pt x="41" y="186"/>
                  </a:lnTo>
                  <a:lnTo>
                    <a:pt x="39" y="185"/>
                  </a:lnTo>
                  <a:lnTo>
                    <a:pt x="41" y="184"/>
                  </a:lnTo>
                  <a:lnTo>
                    <a:pt x="39" y="184"/>
                  </a:lnTo>
                  <a:lnTo>
                    <a:pt x="41" y="182"/>
                  </a:lnTo>
                  <a:lnTo>
                    <a:pt x="42" y="182"/>
                  </a:lnTo>
                  <a:lnTo>
                    <a:pt x="43" y="182"/>
                  </a:lnTo>
                  <a:lnTo>
                    <a:pt x="44" y="180"/>
                  </a:lnTo>
                  <a:lnTo>
                    <a:pt x="41" y="179"/>
                  </a:lnTo>
                  <a:lnTo>
                    <a:pt x="39" y="180"/>
                  </a:lnTo>
                  <a:lnTo>
                    <a:pt x="37" y="180"/>
                  </a:lnTo>
                  <a:lnTo>
                    <a:pt x="38" y="179"/>
                  </a:lnTo>
                  <a:lnTo>
                    <a:pt x="41" y="178"/>
                  </a:lnTo>
                  <a:lnTo>
                    <a:pt x="41" y="179"/>
                  </a:lnTo>
                  <a:lnTo>
                    <a:pt x="43" y="179"/>
                  </a:lnTo>
                  <a:lnTo>
                    <a:pt x="46" y="180"/>
                  </a:lnTo>
                  <a:lnTo>
                    <a:pt x="47" y="180"/>
                  </a:lnTo>
                  <a:lnTo>
                    <a:pt x="49" y="179"/>
                  </a:lnTo>
                  <a:lnTo>
                    <a:pt x="49" y="177"/>
                  </a:lnTo>
                  <a:lnTo>
                    <a:pt x="48" y="176"/>
                  </a:lnTo>
                  <a:lnTo>
                    <a:pt x="46" y="178"/>
                  </a:lnTo>
                  <a:lnTo>
                    <a:pt x="44" y="178"/>
                  </a:lnTo>
                  <a:lnTo>
                    <a:pt x="43" y="178"/>
                  </a:lnTo>
                  <a:lnTo>
                    <a:pt x="43" y="177"/>
                  </a:lnTo>
                  <a:lnTo>
                    <a:pt x="44" y="174"/>
                  </a:lnTo>
                  <a:lnTo>
                    <a:pt x="44" y="173"/>
                  </a:lnTo>
                  <a:lnTo>
                    <a:pt x="43" y="172"/>
                  </a:lnTo>
                  <a:lnTo>
                    <a:pt x="42" y="171"/>
                  </a:lnTo>
                  <a:lnTo>
                    <a:pt x="42" y="170"/>
                  </a:lnTo>
                  <a:lnTo>
                    <a:pt x="41" y="168"/>
                  </a:lnTo>
                  <a:lnTo>
                    <a:pt x="39" y="167"/>
                  </a:lnTo>
                  <a:lnTo>
                    <a:pt x="39" y="170"/>
                  </a:lnTo>
                  <a:lnTo>
                    <a:pt x="39" y="171"/>
                  </a:lnTo>
                  <a:lnTo>
                    <a:pt x="37" y="168"/>
                  </a:lnTo>
                  <a:lnTo>
                    <a:pt x="36" y="168"/>
                  </a:lnTo>
                  <a:lnTo>
                    <a:pt x="37" y="170"/>
                  </a:lnTo>
                  <a:lnTo>
                    <a:pt x="36" y="171"/>
                  </a:lnTo>
                  <a:lnTo>
                    <a:pt x="37" y="173"/>
                  </a:lnTo>
                  <a:lnTo>
                    <a:pt x="36" y="176"/>
                  </a:lnTo>
                  <a:lnTo>
                    <a:pt x="37" y="178"/>
                  </a:lnTo>
                  <a:lnTo>
                    <a:pt x="36" y="177"/>
                  </a:lnTo>
                  <a:lnTo>
                    <a:pt x="36" y="178"/>
                  </a:lnTo>
                  <a:lnTo>
                    <a:pt x="35" y="177"/>
                  </a:lnTo>
                  <a:lnTo>
                    <a:pt x="33" y="174"/>
                  </a:lnTo>
                  <a:lnTo>
                    <a:pt x="31" y="174"/>
                  </a:lnTo>
                  <a:lnTo>
                    <a:pt x="32" y="178"/>
                  </a:lnTo>
                  <a:lnTo>
                    <a:pt x="30" y="178"/>
                  </a:lnTo>
                  <a:lnTo>
                    <a:pt x="29" y="178"/>
                  </a:lnTo>
                  <a:lnTo>
                    <a:pt x="30" y="180"/>
                  </a:lnTo>
                  <a:lnTo>
                    <a:pt x="27" y="183"/>
                  </a:lnTo>
                  <a:lnTo>
                    <a:pt x="26" y="185"/>
                  </a:lnTo>
                  <a:lnTo>
                    <a:pt x="26" y="184"/>
                  </a:lnTo>
                  <a:lnTo>
                    <a:pt x="27" y="182"/>
                  </a:lnTo>
                  <a:lnTo>
                    <a:pt x="29" y="180"/>
                  </a:lnTo>
                  <a:lnTo>
                    <a:pt x="27" y="179"/>
                  </a:lnTo>
                  <a:lnTo>
                    <a:pt x="26" y="179"/>
                  </a:lnTo>
                  <a:lnTo>
                    <a:pt x="25" y="178"/>
                  </a:lnTo>
                  <a:lnTo>
                    <a:pt x="24" y="177"/>
                  </a:lnTo>
                  <a:lnTo>
                    <a:pt x="21" y="179"/>
                  </a:lnTo>
                  <a:lnTo>
                    <a:pt x="23" y="177"/>
                  </a:lnTo>
                  <a:lnTo>
                    <a:pt x="20" y="179"/>
                  </a:lnTo>
                  <a:lnTo>
                    <a:pt x="19" y="179"/>
                  </a:lnTo>
                  <a:lnTo>
                    <a:pt x="20" y="178"/>
                  </a:lnTo>
                  <a:lnTo>
                    <a:pt x="19" y="177"/>
                  </a:lnTo>
                  <a:lnTo>
                    <a:pt x="18" y="176"/>
                  </a:lnTo>
                  <a:lnTo>
                    <a:pt x="20" y="174"/>
                  </a:lnTo>
                  <a:lnTo>
                    <a:pt x="23" y="174"/>
                  </a:lnTo>
                  <a:lnTo>
                    <a:pt x="23" y="173"/>
                  </a:lnTo>
                  <a:lnTo>
                    <a:pt x="25" y="172"/>
                  </a:lnTo>
                  <a:lnTo>
                    <a:pt x="25" y="171"/>
                  </a:lnTo>
                  <a:lnTo>
                    <a:pt x="23" y="171"/>
                  </a:lnTo>
                  <a:lnTo>
                    <a:pt x="20" y="170"/>
                  </a:lnTo>
                  <a:lnTo>
                    <a:pt x="20" y="172"/>
                  </a:lnTo>
                  <a:lnTo>
                    <a:pt x="18" y="170"/>
                  </a:lnTo>
                  <a:lnTo>
                    <a:pt x="17" y="171"/>
                  </a:lnTo>
                  <a:lnTo>
                    <a:pt x="18" y="172"/>
                  </a:lnTo>
                  <a:lnTo>
                    <a:pt x="17" y="174"/>
                  </a:lnTo>
                  <a:lnTo>
                    <a:pt x="13" y="177"/>
                  </a:lnTo>
                  <a:lnTo>
                    <a:pt x="13" y="174"/>
                  </a:lnTo>
                  <a:lnTo>
                    <a:pt x="13" y="171"/>
                  </a:lnTo>
                  <a:lnTo>
                    <a:pt x="14" y="171"/>
                  </a:lnTo>
                  <a:lnTo>
                    <a:pt x="15" y="171"/>
                  </a:lnTo>
                  <a:lnTo>
                    <a:pt x="18" y="170"/>
                  </a:lnTo>
                  <a:lnTo>
                    <a:pt x="19" y="168"/>
                  </a:lnTo>
                  <a:lnTo>
                    <a:pt x="18" y="168"/>
                  </a:lnTo>
                  <a:lnTo>
                    <a:pt x="15" y="168"/>
                  </a:lnTo>
                  <a:lnTo>
                    <a:pt x="15" y="167"/>
                  </a:lnTo>
                  <a:lnTo>
                    <a:pt x="14" y="167"/>
                  </a:lnTo>
                  <a:lnTo>
                    <a:pt x="13" y="167"/>
                  </a:lnTo>
                  <a:lnTo>
                    <a:pt x="11" y="168"/>
                  </a:lnTo>
                  <a:lnTo>
                    <a:pt x="12" y="167"/>
                  </a:lnTo>
                  <a:lnTo>
                    <a:pt x="13" y="166"/>
                  </a:lnTo>
                  <a:lnTo>
                    <a:pt x="12" y="166"/>
                  </a:lnTo>
                  <a:lnTo>
                    <a:pt x="12" y="165"/>
                  </a:lnTo>
                  <a:lnTo>
                    <a:pt x="13" y="164"/>
                  </a:lnTo>
                  <a:lnTo>
                    <a:pt x="14" y="166"/>
                  </a:lnTo>
                  <a:lnTo>
                    <a:pt x="15" y="167"/>
                  </a:lnTo>
                  <a:lnTo>
                    <a:pt x="17" y="167"/>
                  </a:lnTo>
                  <a:lnTo>
                    <a:pt x="17" y="165"/>
                  </a:lnTo>
                  <a:lnTo>
                    <a:pt x="15" y="164"/>
                  </a:lnTo>
                  <a:lnTo>
                    <a:pt x="15" y="161"/>
                  </a:lnTo>
                  <a:lnTo>
                    <a:pt x="17" y="162"/>
                  </a:lnTo>
                  <a:lnTo>
                    <a:pt x="17" y="166"/>
                  </a:lnTo>
                  <a:lnTo>
                    <a:pt x="18" y="166"/>
                  </a:lnTo>
                  <a:lnTo>
                    <a:pt x="18" y="165"/>
                  </a:lnTo>
                  <a:lnTo>
                    <a:pt x="19" y="164"/>
                  </a:lnTo>
                  <a:lnTo>
                    <a:pt x="21" y="165"/>
                  </a:lnTo>
                  <a:lnTo>
                    <a:pt x="24" y="164"/>
                  </a:lnTo>
                  <a:lnTo>
                    <a:pt x="24" y="165"/>
                  </a:lnTo>
                  <a:lnTo>
                    <a:pt x="26" y="166"/>
                  </a:lnTo>
                  <a:lnTo>
                    <a:pt x="29" y="167"/>
                  </a:lnTo>
                  <a:lnTo>
                    <a:pt x="29" y="166"/>
                  </a:lnTo>
                  <a:lnTo>
                    <a:pt x="27" y="166"/>
                  </a:lnTo>
                  <a:lnTo>
                    <a:pt x="29" y="164"/>
                  </a:lnTo>
                  <a:lnTo>
                    <a:pt x="31" y="162"/>
                  </a:lnTo>
                  <a:lnTo>
                    <a:pt x="32" y="161"/>
                  </a:lnTo>
                  <a:lnTo>
                    <a:pt x="32" y="160"/>
                  </a:lnTo>
                  <a:lnTo>
                    <a:pt x="31" y="161"/>
                  </a:lnTo>
                  <a:lnTo>
                    <a:pt x="29" y="164"/>
                  </a:lnTo>
                  <a:lnTo>
                    <a:pt x="26" y="164"/>
                  </a:lnTo>
                  <a:lnTo>
                    <a:pt x="26" y="162"/>
                  </a:lnTo>
                  <a:lnTo>
                    <a:pt x="27" y="160"/>
                  </a:lnTo>
                  <a:lnTo>
                    <a:pt x="29" y="159"/>
                  </a:lnTo>
                  <a:lnTo>
                    <a:pt x="30" y="158"/>
                  </a:lnTo>
                  <a:lnTo>
                    <a:pt x="30" y="159"/>
                  </a:lnTo>
                  <a:lnTo>
                    <a:pt x="31" y="158"/>
                  </a:lnTo>
                  <a:lnTo>
                    <a:pt x="33" y="158"/>
                  </a:lnTo>
                  <a:lnTo>
                    <a:pt x="31" y="155"/>
                  </a:lnTo>
                  <a:lnTo>
                    <a:pt x="29" y="156"/>
                  </a:lnTo>
                  <a:lnTo>
                    <a:pt x="26" y="158"/>
                  </a:lnTo>
                  <a:lnTo>
                    <a:pt x="26" y="155"/>
                  </a:lnTo>
                  <a:lnTo>
                    <a:pt x="23" y="153"/>
                  </a:lnTo>
                  <a:lnTo>
                    <a:pt x="26" y="153"/>
                  </a:lnTo>
                  <a:lnTo>
                    <a:pt x="27" y="149"/>
                  </a:lnTo>
                  <a:lnTo>
                    <a:pt x="25" y="150"/>
                  </a:lnTo>
                  <a:lnTo>
                    <a:pt x="25" y="149"/>
                  </a:lnTo>
                  <a:lnTo>
                    <a:pt x="27" y="146"/>
                  </a:lnTo>
                  <a:lnTo>
                    <a:pt x="30" y="144"/>
                  </a:lnTo>
                  <a:lnTo>
                    <a:pt x="27" y="143"/>
                  </a:lnTo>
                  <a:lnTo>
                    <a:pt x="23" y="146"/>
                  </a:lnTo>
                  <a:lnTo>
                    <a:pt x="18" y="150"/>
                  </a:lnTo>
                  <a:lnTo>
                    <a:pt x="15" y="154"/>
                  </a:lnTo>
                  <a:lnTo>
                    <a:pt x="15" y="152"/>
                  </a:lnTo>
                  <a:lnTo>
                    <a:pt x="15" y="150"/>
                  </a:lnTo>
                  <a:lnTo>
                    <a:pt x="17" y="148"/>
                  </a:lnTo>
                  <a:lnTo>
                    <a:pt x="14" y="149"/>
                  </a:lnTo>
                  <a:lnTo>
                    <a:pt x="17" y="144"/>
                  </a:lnTo>
                  <a:lnTo>
                    <a:pt x="18" y="142"/>
                  </a:lnTo>
                  <a:lnTo>
                    <a:pt x="20" y="143"/>
                  </a:lnTo>
                  <a:lnTo>
                    <a:pt x="19" y="142"/>
                  </a:lnTo>
                  <a:lnTo>
                    <a:pt x="20" y="141"/>
                  </a:lnTo>
                  <a:lnTo>
                    <a:pt x="21" y="139"/>
                  </a:lnTo>
                  <a:lnTo>
                    <a:pt x="23" y="137"/>
                  </a:lnTo>
                  <a:lnTo>
                    <a:pt x="17" y="137"/>
                  </a:lnTo>
                  <a:lnTo>
                    <a:pt x="12" y="136"/>
                  </a:lnTo>
                  <a:lnTo>
                    <a:pt x="15" y="136"/>
                  </a:lnTo>
                  <a:lnTo>
                    <a:pt x="17" y="136"/>
                  </a:lnTo>
                  <a:lnTo>
                    <a:pt x="17" y="135"/>
                  </a:lnTo>
                  <a:lnTo>
                    <a:pt x="18" y="135"/>
                  </a:lnTo>
                  <a:lnTo>
                    <a:pt x="19" y="135"/>
                  </a:lnTo>
                  <a:lnTo>
                    <a:pt x="19" y="133"/>
                  </a:lnTo>
                  <a:lnTo>
                    <a:pt x="20" y="133"/>
                  </a:lnTo>
                  <a:lnTo>
                    <a:pt x="21" y="133"/>
                  </a:lnTo>
                  <a:lnTo>
                    <a:pt x="23" y="135"/>
                  </a:lnTo>
                  <a:lnTo>
                    <a:pt x="24" y="136"/>
                  </a:lnTo>
                  <a:lnTo>
                    <a:pt x="25" y="137"/>
                  </a:lnTo>
                  <a:lnTo>
                    <a:pt x="25" y="138"/>
                  </a:lnTo>
                  <a:lnTo>
                    <a:pt x="26" y="138"/>
                  </a:lnTo>
                  <a:lnTo>
                    <a:pt x="27" y="137"/>
                  </a:lnTo>
                  <a:lnTo>
                    <a:pt x="29" y="136"/>
                  </a:lnTo>
                  <a:lnTo>
                    <a:pt x="32" y="136"/>
                  </a:lnTo>
                  <a:lnTo>
                    <a:pt x="33" y="137"/>
                  </a:lnTo>
                  <a:lnTo>
                    <a:pt x="36" y="137"/>
                  </a:lnTo>
                  <a:lnTo>
                    <a:pt x="37" y="137"/>
                  </a:lnTo>
                  <a:lnTo>
                    <a:pt x="39" y="136"/>
                  </a:lnTo>
                  <a:lnTo>
                    <a:pt x="42" y="137"/>
                  </a:lnTo>
                  <a:lnTo>
                    <a:pt x="44" y="137"/>
                  </a:lnTo>
                  <a:lnTo>
                    <a:pt x="44" y="135"/>
                  </a:lnTo>
                  <a:lnTo>
                    <a:pt x="46" y="135"/>
                  </a:lnTo>
                  <a:lnTo>
                    <a:pt x="46" y="137"/>
                  </a:lnTo>
                  <a:lnTo>
                    <a:pt x="47" y="136"/>
                  </a:lnTo>
                  <a:lnTo>
                    <a:pt x="50" y="137"/>
                  </a:lnTo>
                  <a:lnTo>
                    <a:pt x="53" y="137"/>
                  </a:lnTo>
                  <a:lnTo>
                    <a:pt x="54" y="138"/>
                  </a:lnTo>
                  <a:lnTo>
                    <a:pt x="56" y="139"/>
                  </a:lnTo>
                  <a:lnTo>
                    <a:pt x="58" y="138"/>
                  </a:lnTo>
                  <a:lnTo>
                    <a:pt x="58" y="137"/>
                  </a:lnTo>
                  <a:lnTo>
                    <a:pt x="59" y="133"/>
                  </a:lnTo>
                  <a:lnTo>
                    <a:pt x="56" y="135"/>
                  </a:lnTo>
                  <a:lnTo>
                    <a:pt x="56" y="133"/>
                  </a:lnTo>
                  <a:lnTo>
                    <a:pt x="55" y="135"/>
                  </a:lnTo>
                  <a:lnTo>
                    <a:pt x="55" y="133"/>
                  </a:lnTo>
                  <a:lnTo>
                    <a:pt x="53" y="133"/>
                  </a:lnTo>
                  <a:lnTo>
                    <a:pt x="52" y="132"/>
                  </a:lnTo>
                  <a:lnTo>
                    <a:pt x="50" y="132"/>
                  </a:lnTo>
                  <a:lnTo>
                    <a:pt x="50" y="133"/>
                  </a:lnTo>
                  <a:lnTo>
                    <a:pt x="50" y="131"/>
                  </a:lnTo>
                  <a:lnTo>
                    <a:pt x="50" y="129"/>
                  </a:lnTo>
                  <a:lnTo>
                    <a:pt x="48" y="130"/>
                  </a:lnTo>
                  <a:lnTo>
                    <a:pt x="47" y="131"/>
                  </a:lnTo>
                  <a:lnTo>
                    <a:pt x="46" y="130"/>
                  </a:lnTo>
                  <a:lnTo>
                    <a:pt x="44" y="129"/>
                  </a:lnTo>
                  <a:lnTo>
                    <a:pt x="43" y="131"/>
                  </a:lnTo>
                  <a:lnTo>
                    <a:pt x="43" y="129"/>
                  </a:lnTo>
                  <a:lnTo>
                    <a:pt x="43" y="127"/>
                  </a:lnTo>
                  <a:lnTo>
                    <a:pt x="43" y="126"/>
                  </a:lnTo>
                  <a:lnTo>
                    <a:pt x="44" y="126"/>
                  </a:lnTo>
                  <a:lnTo>
                    <a:pt x="47" y="126"/>
                  </a:lnTo>
                  <a:lnTo>
                    <a:pt x="48" y="126"/>
                  </a:lnTo>
                  <a:lnTo>
                    <a:pt x="48" y="125"/>
                  </a:lnTo>
                  <a:lnTo>
                    <a:pt x="48" y="124"/>
                  </a:lnTo>
                  <a:lnTo>
                    <a:pt x="47" y="123"/>
                  </a:lnTo>
                  <a:lnTo>
                    <a:pt x="47" y="121"/>
                  </a:lnTo>
                  <a:lnTo>
                    <a:pt x="44" y="123"/>
                  </a:lnTo>
                  <a:lnTo>
                    <a:pt x="46" y="121"/>
                  </a:lnTo>
                  <a:lnTo>
                    <a:pt x="47" y="119"/>
                  </a:lnTo>
                  <a:lnTo>
                    <a:pt x="49" y="119"/>
                  </a:lnTo>
                  <a:lnTo>
                    <a:pt x="50" y="120"/>
                  </a:lnTo>
                  <a:lnTo>
                    <a:pt x="52" y="119"/>
                  </a:lnTo>
                  <a:lnTo>
                    <a:pt x="53" y="118"/>
                  </a:lnTo>
                  <a:lnTo>
                    <a:pt x="54" y="117"/>
                  </a:lnTo>
                  <a:lnTo>
                    <a:pt x="56" y="117"/>
                  </a:lnTo>
                  <a:lnTo>
                    <a:pt x="56" y="114"/>
                  </a:lnTo>
                  <a:lnTo>
                    <a:pt x="54" y="113"/>
                  </a:lnTo>
                  <a:lnTo>
                    <a:pt x="54" y="112"/>
                  </a:lnTo>
                  <a:lnTo>
                    <a:pt x="56" y="113"/>
                  </a:lnTo>
                  <a:lnTo>
                    <a:pt x="58" y="112"/>
                  </a:lnTo>
                  <a:lnTo>
                    <a:pt x="58" y="111"/>
                  </a:lnTo>
                  <a:lnTo>
                    <a:pt x="60" y="111"/>
                  </a:lnTo>
                  <a:lnTo>
                    <a:pt x="62" y="109"/>
                  </a:lnTo>
                  <a:lnTo>
                    <a:pt x="64" y="109"/>
                  </a:lnTo>
                  <a:lnTo>
                    <a:pt x="65" y="108"/>
                  </a:lnTo>
                  <a:lnTo>
                    <a:pt x="64" y="106"/>
                  </a:lnTo>
                  <a:lnTo>
                    <a:pt x="64" y="105"/>
                  </a:lnTo>
                  <a:lnTo>
                    <a:pt x="61" y="107"/>
                  </a:lnTo>
                  <a:lnTo>
                    <a:pt x="59" y="108"/>
                  </a:lnTo>
                  <a:lnTo>
                    <a:pt x="60" y="107"/>
                  </a:lnTo>
                  <a:lnTo>
                    <a:pt x="62" y="103"/>
                  </a:lnTo>
                  <a:lnTo>
                    <a:pt x="64" y="103"/>
                  </a:lnTo>
                  <a:lnTo>
                    <a:pt x="62" y="102"/>
                  </a:lnTo>
                  <a:lnTo>
                    <a:pt x="62" y="101"/>
                  </a:lnTo>
                  <a:lnTo>
                    <a:pt x="62" y="100"/>
                  </a:lnTo>
                  <a:lnTo>
                    <a:pt x="60" y="101"/>
                  </a:lnTo>
                  <a:lnTo>
                    <a:pt x="58" y="102"/>
                  </a:lnTo>
                  <a:lnTo>
                    <a:pt x="54" y="103"/>
                  </a:lnTo>
                  <a:lnTo>
                    <a:pt x="55" y="101"/>
                  </a:lnTo>
                  <a:lnTo>
                    <a:pt x="56" y="99"/>
                  </a:lnTo>
                  <a:lnTo>
                    <a:pt x="58" y="97"/>
                  </a:lnTo>
                  <a:lnTo>
                    <a:pt x="60" y="96"/>
                  </a:lnTo>
                  <a:lnTo>
                    <a:pt x="62" y="97"/>
                  </a:lnTo>
                  <a:lnTo>
                    <a:pt x="62" y="96"/>
                  </a:lnTo>
                  <a:lnTo>
                    <a:pt x="55" y="95"/>
                  </a:lnTo>
                  <a:lnTo>
                    <a:pt x="54" y="94"/>
                  </a:lnTo>
                  <a:lnTo>
                    <a:pt x="56" y="94"/>
                  </a:lnTo>
                  <a:lnTo>
                    <a:pt x="58" y="93"/>
                  </a:lnTo>
                  <a:lnTo>
                    <a:pt x="60" y="93"/>
                  </a:lnTo>
                  <a:lnTo>
                    <a:pt x="62" y="93"/>
                  </a:lnTo>
                  <a:lnTo>
                    <a:pt x="65" y="94"/>
                  </a:lnTo>
                  <a:lnTo>
                    <a:pt x="65" y="93"/>
                  </a:lnTo>
                  <a:lnTo>
                    <a:pt x="66" y="93"/>
                  </a:lnTo>
                  <a:lnTo>
                    <a:pt x="67" y="91"/>
                  </a:lnTo>
                  <a:lnTo>
                    <a:pt x="64" y="90"/>
                  </a:lnTo>
                  <a:lnTo>
                    <a:pt x="64" y="88"/>
                  </a:lnTo>
                  <a:lnTo>
                    <a:pt x="62" y="87"/>
                  </a:lnTo>
                  <a:lnTo>
                    <a:pt x="62" y="85"/>
                  </a:lnTo>
                  <a:lnTo>
                    <a:pt x="62" y="84"/>
                  </a:lnTo>
                  <a:lnTo>
                    <a:pt x="62" y="83"/>
                  </a:lnTo>
                  <a:lnTo>
                    <a:pt x="64" y="83"/>
                  </a:lnTo>
                  <a:lnTo>
                    <a:pt x="65" y="83"/>
                  </a:lnTo>
                  <a:lnTo>
                    <a:pt x="66" y="85"/>
                  </a:lnTo>
                  <a:lnTo>
                    <a:pt x="67" y="85"/>
                  </a:lnTo>
                  <a:lnTo>
                    <a:pt x="67" y="88"/>
                  </a:lnTo>
                  <a:lnTo>
                    <a:pt x="67" y="90"/>
                  </a:lnTo>
                  <a:lnTo>
                    <a:pt x="68" y="93"/>
                  </a:lnTo>
                  <a:lnTo>
                    <a:pt x="70" y="94"/>
                  </a:lnTo>
                  <a:lnTo>
                    <a:pt x="72" y="95"/>
                  </a:lnTo>
                  <a:lnTo>
                    <a:pt x="73" y="95"/>
                  </a:lnTo>
                  <a:lnTo>
                    <a:pt x="76" y="94"/>
                  </a:lnTo>
                  <a:lnTo>
                    <a:pt x="77" y="93"/>
                  </a:lnTo>
                  <a:lnTo>
                    <a:pt x="78" y="93"/>
                  </a:lnTo>
                  <a:lnTo>
                    <a:pt x="79" y="93"/>
                  </a:lnTo>
                  <a:lnTo>
                    <a:pt x="80" y="91"/>
                  </a:lnTo>
                  <a:lnTo>
                    <a:pt x="82" y="90"/>
                  </a:lnTo>
                  <a:lnTo>
                    <a:pt x="83" y="89"/>
                  </a:lnTo>
                  <a:lnTo>
                    <a:pt x="83" y="88"/>
                  </a:lnTo>
                  <a:lnTo>
                    <a:pt x="83" y="87"/>
                  </a:lnTo>
                  <a:lnTo>
                    <a:pt x="83" y="85"/>
                  </a:lnTo>
                  <a:lnTo>
                    <a:pt x="82" y="84"/>
                  </a:lnTo>
                  <a:lnTo>
                    <a:pt x="82" y="83"/>
                  </a:lnTo>
                  <a:lnTo>
                    <a:pt x="83" y="84"/>
                  </a:lnTo>
                  <a:lnTo>
                    <a:pt x="84" y="84"/>
                  </a:lnTo>
                  <a:lnTo>
                    <a:pt x="84" y="83"/>
                  </a:lnTo>
                  <a:lnTo>
                    <a:pt x="85" y="83"/>
                  </a:lnTo>
                  <a:lnTo>
                    <a:pt x="86" y="81"/>
                  </a:lnTo>
                  <a:lnTo>
                    <a:pt x="85" y="77"/>
                  </a:lnTo>
                  <a:lnTo>
                    <a:pt x="85" y="78"/>
                  </a:lnTo>
                  <a:lnTo>
                    <a:pt x="84" y="77"/>
                  </a:lnTo>
                  <a:lnTo>
                    <a:pt x="83" y="78"/>
                  </a:lnTo>
                  <a:lnTo>
                    <a:pt x="82" y="77"/>
                  </a:lnTo>
                  <a:lnTo>
                    <a:pt x="82" y="76"/>
                  </a:lnTo>
                  <a:lnTo>
                    <a:pt x="83" y="76"/>
                  </a:lnTo>
                  <a:lnTo>
                    <a:pt x="84" y="77"/>
                  </a:lnTo>
                  <a:lnTo>
                    <a:pt x="84" y="75"/>
                  </a:lnTo>
                  <a:lnTo>
                    <a:pt x="84" y="73"/>
                  </a:lnTo>
                  <a:lnTo>
                    <a:pt x="84" y="72"/>
                  </a:lnTo>
                  <a:lnTo>
                    <a:pt x="85" y="71"/>
                  </a:lnTo>
                  <a:lnTo>
                    <a:pt x="86" y="71"/>
                  </a:lnTo>
                  <a:lnTo>
                    <a:pt x="86" y="73"/>
                  </a:lnTo>
                  <a:lnTo>
                    <a:pt x="88" y="73"/>
                  </a:lnTo>
                  <a:lnTo>
                    <a:pt x="89" y="75"/>
                  </a:lnTo>
                  <a:lnTo>
                    <a:pt x="86" y="75"/>
                  </a:lnTo>
                  <a:lnTo>
                    <a:pt x="86" y="76"/>
                  </a:lnTo>
                  <a:lnTo>
                    <a:pt x="86" y="78"/>
                  </a:lnTo>
                  <a:lnTo>
                    <a:pt x="86" y="79"/>
                  </a:lnTo>
                  <a:lnTo>
                    <a:pt x="88" y="79"/>
                  </a:lnTo>
                  <a:lnTo>
                    <a:pt x="88" y="78"/>
                  </a:lnTo>
                  <a:lnTo>
                    <a:pt x="88" y="77"/>
                  </a:lnTo>
                  <a:lnTo>
                    <a:pt x="88" y="76"/>
                  </a:lnTo>
                  <a:lnTo>
                    <a:pt x="89" y="76"/>
                  </a:lnTo>
                  <a:lnTo>
                    <a:pt x="90" y="76"/>
                  </a:lnTo>
                  <a:lnTo>
                    <a:pt x="89" y="78"/>
                  </a:lnTo>
                  <a:lnTo>
                    <a:pt x="90" y="79"/>
                  </a:lnTo>
                  <a:lnTo>
                    <a:pt x="91" y="82"/>
                  </a:lnTo>
                  <a:lnTo>
                    <a:pt x="89" y="83"/>
                  </a:lnTo>
                  <a:lnTo>
                    <a:pt x="90" y="83"/>
                  </a:lnTo>
                  <a:lnTo>
                    <a:pt x="91" y="83"/>
                  </a:lnTo>
                  <a:lnTo>
                    <a:pt x="92" y="82"/>
                  </a:lnTo>
                  <a:lnTo>
                    <a:pt x="94" y="82"/>
                  </a:lnTo>
                  <a:lnTo>
                    <a:pt x="95" y="81"/>
                  </a:lnTo>
                  <a:lnTo>
                    <a:pt x="94" y="79"/>
                  </a:lnTo>
                  <a:lnTo>
                    <a:pt x="91" y="79"/>
                  </a:lnTo>
                  <a:lnTo>
                    <a:pt x="91" y="77"/>
                  </a:lnTo>
                  <a:lnTo>
                    <a:pt x="90" y="75"/>
                  </a:lnTo>
                  <a:lnTo>
                    <a:pt x="91" y="75"/>
                  </a:lnTo>
                  <a:lnTo>
                    <a:pt x="92" y="75"/>
                  </a:lnTo>
                  <a:lnTo>
                    <a:pt x="94" y="75"/>
                  </a:lnTo>
                  <a:lnTo>
                    <a:pt x="94" y="76"/>
                  </a:lnTo>
                  <a:lnTo>
                    <a:pt x="95" y="75"/>
                  </a:lnTo>
                  <a:lnTo>
                    <a:pt x="96" y="75"/>
                  </a:lnTo>
                  <a:lnTo>
                    <a:pt x="97" y="75"/>
                  </a:lnTo>
                  <a:lnTo>
                    <a:pt x="97" y="76"/>
                  </a:lnTo>
                  <a:lnTo>
                    <a:pt x="97" y="78"/>
                  </a:lnTo>
                  <a:lnTo>
                    <a:pt x="98" y="78"/>
                  </a:lnTo>
                  <a:lnTo>
                    <a:pt x="100" y="77"/>
                  </a:lnTo>
                  <a:lnTo>
                    <a:pt x="98" y="79"/>
                  </a:lnTo>
                  <a:lnTo>
                    <a:pt x="100" y="81"/>
                  </a:lnTo>
                  <a:lnTo>
                    <a:pt x="101" y="78"/>
                  </a:lnTo>
                  <a:lnTo>
                    <a:pt x="101" y="79"/>
                  </a:lnTo>
                  <a:lnTo>
                    <a:pt x="102" y="79"/>
                  </a:lnTo>
                  <a:lnTo>
                    <a:pt x="103" y="77"/>
                  </a:lnTo>
                  <a:lnTo>
                    <a:pt x="102" y="78"/>
                  </a:lnTo>
                  <a:lnTo>
                    <a:pt x="102" y="77"/>
                  </a:lnTo>
                  <a:lnTo>
                    <a:pt x="101" y="77"/>
                  </a:lnTo>
                  <a:lnTo>
                    <a:pt x="101" y="76"/>
                  </a:lnTo>
                  <a:lnTo>
                    <a:pt x="102" y="76"/>
                  </a:lnTo>
                  <a:lnTo>
                    <a:pt x="102" y="75"/>
                  </a:lnTo>
                  <a:lnTo>
                    <a:pt x="103" y="75"/>
                  </a:lnTo>
                  <a:lnTo>
                    <a:pt x="105" y="75"/>
                  </a:lnTo>
                  <a:lnTo>
                    <a:pt x="105" y="76"/>
                  </a:lnTo>
                  <a:lnTo>
                    <a:pt x="106" y="75"/>
                  </a:lnTo>
                  <a:lnTo>
                    <a:pt x="106" y="73"/>
                  </a:lnTo>
                  <a:lnTo>
                    <a:pt x="107" y="69"/>
                  </a:lnTo>
                  <a:lnTo>
                    <a:pt x="107" y="71"/>
                  </a:lnTo>
                  <a:lnTo>
                    <a:pt x="107" y="72"/>
                  </a:lnTo>
                  <a:lnTo>
                    <a:pt x="109" y="72"/>
                  </a:lnTo>
                  <a:lnTo>
                    <a:pt x="109" y="73"/>
                  </a:lnTo>
                  <a:lnTo>
                    <a:pt x="108" y="75"/>
                  </a:lnTo>
                  <a:lnTo>
                    <a:pt x="108" y="77"/>
                  </a:lnTo>
                  <a:lnTo>
                    <a:pt x="109" y="78"/>
                  </a:lnTo>
                  <a:lnTo>
                    <a:pt x="109" y="77"/>
                  </a:lnTo>
                  <a:lnTo>
                    <a:pt x="112" y="78"/>
                  </a:lnTo>
                  <a:lnTo>
                    <a:pt x="112" y="81"/>
                  </a:lnTo>
                  <a:lnTo>
                    <a:pt x="114" y="79"/>
                  </a:lnTo>
                  <a:lnTo>
                    <a:pt x="114" y="81"/>
                  </a:lnTo>
                  <a:lnTo>
                    <a:pt x="115" y="81"/>
                  </a:lnTo>
                  <a:lnTo>
                    <a:pt x="117" y="82"/>
                  </a:lnTo>
                  <a:lnTo>
                    <a:pt x="118" y="83"/>
                  </a:lnTo>
                  <a:lnTo>
                    <a:pt x="119" y="85"/>
                  </a:lnTo>
                  <a:lnTo>
                    <a:pt x="119" y="87"/>
                  </a:lnTo>
                  <a:lnTo>
                    <a:pt x="115" y="84"/>
                  </a:lnTo>
                  <a:lnTo>
                    <a:pt x="112" y="82"/>
                  </a:lnTo>
                  <a:lnTo>
                    <a:pt x="111" y="81"/>
                  </a:lnTo>
                  <a:lnTo>
                    <a:pt x="111" y="82"/>
                  </a:lnTo>
                  <a:lnTo>
                    <a:pt x="112" y="83"/>
                  </a:lnTo>
                  <a:lnTo>
                    <a:pt x="113" y="85"/>
                  </a:lnTo>
                  <a:lnTo>
                    <a:pt x="114" y="87"/>
                  </a:lnTo>
                  <a:lnTo>
                    <a:pt x="115" y="88"/>
                  </a:lnTo>
                  <a:lnTo>
                    <a:pt x="114" y="88"/>
                  </a:lnTo>
                  <a:lnTo>
                    <a:pt x="115" y="93"/>
                  </a:lnTo>
                  <a:lnTo>
                    <a:pt x="117" y="95"/>
                  </a:lnTo>
                  <a:lnTo>
                    <a:pt x="118" y="95"/>
                  </a:lnTo>
                  <a:lnTo>
                    <a:pt x="118" y="96"/>
                  </a:lnTo>
                  <a:lnTo>
                    <a:pt x="119" y="96"/>
                  </a:lnTo>
                  <a:lnTo>
                    <a:pt x="119" y="97"/>
                  </a:lnTo>
                  <a:lnTo>
                    <a:pt x="120" y="96"/>
                  </a:lnTo>
                  <a:lnTo>
                    <a:pt x="120" y="100"/>
                  </a:lnTo>
                  <a:lnTo>
                    <a:pt x="120" y="101"/>
                  </a:lnTo>
                  <a:lnTo>
                    <a:pt x="121" y="101"/>
                  </a:lnTo>
                  <a:lnTo>
                    <a:pt x="123" y="101"/>
                  </a:lnTo>
                  <a:lnTo>
                    <a:pt x="123" y="100"/>
                  </a:lnTo>
                  <a:lnTo>
                    <a:pt x="124" y="99"/>
                  </a:lnTo>
                  <a:lnTo>
                    <a:pt x="125" y="97"/>
                  </a:lnTo>
                  <a:lnTo>
                    <a:pt x="127" y="96"/>
                  </a:lnTo>
                  <a:lnTo>
                    <a:pt x="125" y="96"/>
                  </a:lnTo>
                  <a:lnTo>
                    <a:pt x="123" y="97"/>
                  </a:lnTo>
                  <a:lnTo>
                    <a:pt x="121" y="96"/>
                  </a:lnTo>
                  <a:lnTo>
                    <a:pt x="121" y="95"/>
                  </a:lnTo>
                  <a:lnTo>
                    <a:pt x="123" y="94"/>
                  </a:lnTo>
                  <a:lnTo>
                    <a:pt x="123" y="93"/>
                  </a:lnTo>
                  <a:lnTo>
                    <a:pt x="124" y="93"/>
                  </a:lnTo>
                  <a:lnTo>
                    <a:pt x="125" y="91"/>
                  </a:lnTo>
                  <a:lnTo>
                    <a:pt x="126" y="91"/>
                  </a:lnTo>
                  <a:lnTo>
                    <a:pt x="127" y="90"/>
                  </a:lnTo>
                  <a:lnTo>
                    <a:pt x="126" y="89"/>
                  </a:lnTo>
                  <a:lnTo>
                    <a:pt x="126" y="88"/>
                  </a:lnTo>
                  <a:lnTo>
                    <a:pt x="123" y="90"/>
                  </a:lnTo>
                  <a:lnTo>
                    <a:pt x="121" y="90"/>
                  </a:lnTo>
                  <a:lnTo>
                    <a:pt x="123" y="89"/>
                  </a:lnTo>
                  <a:lnTo>
                    <a:pt x="121" y="89"/>
                  </a:lnTo>
                  <a:lnTo>
                    <a:pt x="121" y="88"/>
                  </a:lnTo>
                  <a:lnTo>
                    <a:pt x="121" y="85"/>
                  </a:lnTo>
                  <a:lnTo>
                    <a:pt x="121" y="84"/>
                  </a:lnTo>
                  <a:lnTo>
                    <a:pt x="119" y="81"/>
                  </a:lnTo>
                  <a:lnTo>
                    <a:pt x="121" y="82"/>
                  </a:lnTo>
                  <a:lnTo>
                    <a:pt x="123" y="82"/>
                  </a:lnTo>
                  <a:lnTo>
                    <a:pt x="125" y="82"/>
                  </a:lnTo>
                  <a:lnTo>
                    <a:pt x="126" y="82"/>
                  </a:lnTo>
                  <a:lnTo>
                    <a:pt x="127" y="79"/>
                  </a:lnTo>
                  <a:lnTo>
                    <a:pt x="126" y="78"/>
                  </a:lnTo>
                  <a:lnTo>
                    <a:pt x="125" y="79"/>
                  </a:lnTo>
                  <a:lnTo>
                    <a:pt x="124" y="79"/>
                  </a:lnTo>
                  <a:lnTo>
                    <a:pt x="123" y="77"/>
                  </a:lnTo>
                  <a:lnTo>
                    <a:pt x="123" y="76"/>
                  </a:lnTo>
                  <a:lnTo>
                    <a:pt x="125" y="76"/>
                  </a:lnTo>
                  <a:lnTo>
                    <a:pt x="127" y="77"/>
                  </a:lnTo>
                  <a:lnTo>
                    <a:pt x="127" y="76"/>
                  </a:lnTo>
                  <a:lnTo>
                    <a:pt x="129" y="76"/>
                  </a:lnTo>
                  <a:lnTo>
                    <a:pt x="130" y="75"/>
                  </a:lnTo>
                  <a:lnTo>
                    <a:pt x="130" y="73"/>
                  </a:lnTo>
                  <a:lnTo>
                    <a:pt x="131" y="76"/>
                  </a:lnTo>
                  <a:lnTo>
                    <a:pt x="131" y="78"/>
                  </a:lnTo>
                  <a:lnTo>
                    <a:pt x="132" y="77"/>
                  </a:lnTo>
                  <a:lnTo>
                    <a:pt x="132" y="78"/>
                  </a:lnTo>
                  <a:lnTo>
                    <a:pt x="133" y="79"/>
                  </a:lnTo>
                  <a:lnTo>
                    <a:pt x="135" y="81"/>
                  </a:lnTo>
                  <a:lnTo>
                    <a:pt x="136" y="82"/>
                  </a:lnTo>
                  <a:lnTo>
                    <a:pt x="137" y="85"/>
                  </a:lnTo>
                  <a:lnTo>
                    <a:pt x="137" y="87"/>
                  </a:lnTo>
                  <a:lnTo>
                    <a:pt x="138" y="88"/>
                  </a:lnTo>
                  <a:lnTo>
                    <a:pt x="138" y="87"/>
                  </a:lnTo>
                  <a:lnTo>
                    <a:pt x="139" y="88"/>
                  </a:lnTo>
                  <a:lnTo>
                    <a:pt x="141" y="87"/>
                  </a:lnTo>
                  <a:lnTo>
                    <a:pt x="142" y="87"/>
                  </a:lnTo>
                  <a:lnTo>
                    <a:pt x="142" y="84"/>
                  </a:lnTo>
                  <a:lnTo>
                    <a:pt x="144" y="85"/>
                  </a:lnTo>
                  <a:lnTo>
                    <a:pt x="145" y="87"/>
                  </a:lnTo>
                  <a:lnTo>
                    <a:pt x="147" y="89"/>
                  </a:lnTo>
                  <a:lnTo>
                    <a:pt x="148" y="89"/>
                  </a:lnTo>
                  <a:lnTo>
                    <a:pt x="149" y="91"/>
                  </a:lnTo>
                  <a:lnTo>
                    <a:pt x="150" y="91"/>
                  </a:lnTo>
                  <a:lnTo>
                    <a:pt x="153" y="90"/>
                  </a:lnTo>
                  <a:lnTo>
                    <a:pt x="150" y="90"/>
                  </a:lnTo>
                  <a:lnTo>
                    <a:pt x="151" y="89"/>
                  </a:lnTo>
                  <a:lnTo>
                    <a:pt x="151" y="88"/>
                  </a:lnTo>
                  <a:lnTo>
                    <a:pt x="153" y="88"/>
                  </a:lnTo>
                  <a:lnTo>
                    <a:pt x="154" y="87"/>
                  </a:lnTo>
                  <a:lnTo>
                    <a:pt x="154" y="85"/>
                  </a:lnTo>
                  <a:lnTo>
                    <a:pt x="156" y="85"/>
                  </a:lnTo>
                  <a:lnTo>
                    <a:pt x="156" y="87"/>
                  </a:lnTo>
                  <a:lnTo>
                    <a:pt x="159" y="87"/>
                  </a:lnTo>
                  <a:lnTo>
                    <a:pt x="160" y="88"/>
                  </a:lnTo>
                  <a:lnTo>
                    <a:pt x="160" y="89"/>
                  </a:lnTo>
                  <a:lnTo>
                    <a:pt x="160" y="88"/>
                  </a:lnTo>
                  <a:lnTo>
                    <a:pt x="161" y="88"/>
                  </a:lnTo>
                  <a:lnTo>
                    <a:pt x="161" y="87"/>
                  </a:lnTo>
                  <a:lnTo>
                    <a:pt x="162" y="87"/>
                  </a:lnTo>
                  <a:lnTo>
                    <a:pt x="164" y="88"/>
                  </a:lnTo>
                  <a:lnTo>
                    <a:pt x="165" y="87"/>
                  </a:lnTo>
                  <a:lnTo>
                    <a:pt x="162" y="87"/>
                  </a:lnTo>
                  <a:lnTo>
                    <a:pt x="161" y="85"/>
                  </a:lnTo>
                  <a:lnTo>
                    <a:pt x="161" y="83"/>
                  </a:lnTo>
                  <a:lnTo>
                    <a:pt x="162" y="84"/>
                  </a:lnTo>
                  <a:lnTo>
                    <a:pt x="164" y="83"/>
                  </a:lnTo>
                  <a:lnTo>
                    <a:pt x="165" y="82"/>
                  </a:lnTo>
                  <a:lnTo>
                    <a:pt x="165" y="81"/>
                  </a:lnTo>
                  <a:lnTo>
                    <a:pt x="166" y="82"/>
                  </a:lnTo>
                  <a:lnTo>
                    <a:pt x="167" y="82"/>
                  </a:lnTo>
                  <a:lnTo>
                    <a:pt x="168" y="83"/>
                  </a:lnTo>
                  <a:lnTo>
                    <a:pt x="170" y="83"/>
                  </a:lnTo>
                  <a:lnTo>
                    <a:pt x="171" y="82"/>
                  </a:lnTo>
                  <a:lnTo>
                    <a:pt x="170" y="81"/>
                  </a:lnTo>
                  <a:lnTo>
                    <a:pt x="170" y="79"/>
                  </a:lnTo>
                  <a:lnTo>
                    <a:pt x="172" y="78"/>
                  </a:lnTo>
                  <a:lnTo>
                    <a:pt x="172" y="77"/>
                  </a:lnTo>
                  <a:lnTo>
                    <a:pt x="173" y="77"/>
                  </a:lnTo>
                  <a:lnTo>
                    <a:pt x="171" y="77"/>
                  </a:lnTo>
                  <a:lnTo>
                    <a:pt x="168" y="78"/>
                  </a:lnTo>
                  <a:lnTo>
                    <a:pt x="168" y="77"/>
                  </a:lnTo>
                  <a:lnTo>
                    <a:pt x="170" y="75"/>
                  </a:lnTo>
                  <a:lnTo>
                    <a:pt x="171" y="73"/>
                  </a:lnTo>
                  <a:lnTo>
                    <a:pt x="172" y="73"/>
                  </a:lnTo>
                  <a:lnTo>
                    <a:pt x="172" y="71"/>
                  </a:lnTo>
                  <a:lnTo>
                    <a:pt x="173" y="71"/>
                  </a:lnTo>
                  <a:lnTo>
                    <a:pt x="174" y="70"/>
                  </a:lnTo>
                  <a:lnTo>
                    <a:pt x="178" y="71"/>
                  </a:lnTo>
                  <a:lnTo>
                    <a:pt x="179" y="70"/>
                  </a:lnTo>
                  <a:lnTo>
                    <a:pt x="180" y="70"/>
                  </a:lnTo>
                  <a:lnTo>
                    <a:pt x="179" y="66"/>
                  </a:lnTo>
                  <a:lnTo>
                    <a:pt x="178" y="67"/>
                  </a:lnTo>
                  <a:lnTo>
                    <a:pt x="178" y="69"/>
                  </a:lnTo>
                  <a:lnTo>
                    <a:pt x="178" y="66"/>
                  </a:lnTo>
                  <a:lnTo>
                    <a:pt x="178" y="65"/>
                  </a:lnTo>
                  <a:lnTo>
                    <a:pt x="176" y="65"/>
                  </a:lnTo>
                  <a:lnTo>
                    <a:pt x="172" y="65"/>
                  </a:lnTo>
                  <a:lnTo>
                    <a:pt x="170" y="65"/>
                  </a:lnTo>
                  <a:lnTo>
                    <a:pt x="171" y="64"/>
                  </a:lnTo>
                  <a:lnTo>
                    <a:pt x="172" y="64"/>
                  </a:lnTo>
                  <a:lnTo>
                    <a:pt x="174" y="63"/>
                  </a:lnTo>
                  <a:lnTo>
                    <a:pt x="176" y="64"/>
                  </a:lnTo>
                  <a:lnTo>
                    <a:pt x="178" y="65"/>
                  </a:lnTo>
                  <a:lnTo>
                    <a:pt x="179" y="65"/>
                  </a:lnTo>
                  <a:lnTo>
                    <a:pt x="177" y="59"/>
                  </a:lnTo>
                  <a:lnTo>
                    <a:pt x="174" y="55"/>
                  </a:lnTo>
                  <a:lnTo>
                    <a:pt x="174" y="57"/>
                  </a:lnTo>
                  <a:lnTo>
                    <a:pt x="172" y="57"/>
                  </a:lnTo>
                  <a:lnTo>
                    <a:pt x="172" y="58"/>
                  </a:lnTo>
                  <a:lnTo>
                    <a:pt x="172" y="55"/>
                  </a:lnTo>
                  <a:lnTo>
                    <a:pt x="172" y="54"/>
                  </a:lnTo>
                  <a:lnTo>
                    <a:pt x="173" y="54"/>
                  </a:lnTo>
                  <a:lnTo>
                    <a:pt x="173" y="53"/>
                  </a:lnTo>
                  <a:lnTo>
                    <a:pt x="171" y="53"/>
                  </a:lnTo>
                  <a:lnTo>
                    <a:pt x="170" y="54"/>
                  </a:lnTo>
                  <a:lnTo>
                    <a:pt x="168" y="55"/>
                  </a:lnTo>
                  <a:lnTo>
                    <a:pt x="168" y="53"/>
                  </a:lnTo>
                  <a:lnTo>
                    <a:pt x="168" y="52"/>
                  </a:lnTo>
                  <a:lnTo>
                    <a:pt x="170" y="51"/>
                  </a:lnTo>
                  <a:lnTo>
                    <a:pt x="171" y="51"/>
                  </a:lnTo>
                  <a:lnTo>
                    <a:pt x="173" y="52"/>
                  </a:lnTo>
                  <a:lnTo>
                    <a:pt x="171" y="48"/>
                  </a:lnTo>
                  <a:lnTo>
                    <a:pt x="168" y="48"/>
                  </a:lnTo>
                  <a:lnTo>
                    <a:pt x="165" y="51"/>
                  </a:lnTo>
                  <a:lnTo>
                    <a:pt x="165" y="52"/>
                  </a:lnTo>
                  <a:lnTo>
                    <a:pt x="164" y="53"/>
                  </a:lnTo>
                  <a:lnTo>
                    <a:pt x="164" y="52"/>
                  </a:lnTo>
                  <a:lnTo>
                    <a:pt x="162" y="51"/>
                  </a:lnTo>
                  <a:lnTo>
                    <a:pt x="162" y="48"/>
                  </a:lnTo>
                  <a:lnTo>
                    <a:pt x="164" y="47"/>
                  </a:lnTo>
                  <a:lnTo>
                    <a:pt x="165" y="48"/>
                  </a:lnTo>
                  <a:lnTo>
                    <a:pt x="168" y="48"/>
                  </a:lnTo>
                  <a:lnTo>
                    <a:pt x="170" y="47"/>
                  </a:lnTo>
                  <a:lnTo>
                    <a:pt x="167" y="47"/>
                  </a:lnTo>
                  <a:lnTo>
                    <a:pt x="166" y="47"/>
                  </a:lnTo>
                  <a:lnTo>
                    <a:pt x="166" y="46"/>
                  </a:lnTo>
                  <a:lnTo>
                    <a:pt x="167" y="46"/>
                  </a:lnTo>
                  <a:lnTo>
                    <a:pt x="168" y="45"/>
                  </a:lnTo>
                  <a:lnTo>
                    <a:pt x="166" y="45"/>
                  </a:lnTo>
                  <a:lnTo>
                    <a:pt x="165" y="46"/>
                  </a:lnTo>
                  <a:lnTo>
                    <a:pt x="164" y="46"/>
                  </a:lnTo>
                  <a:lnTo>
                    <a:pt x="164" y="45"/>
                  </a:lnTo>
                  <a:lnTo>
                    <a:pt x="165" y="45"/>
                  </a:lnTo>
                  <a:lnTo>
                    <a:pt x="167" y="45"/>
                  </a:lnTo>
                  <a:lnTo>
                    <a:pt x="166" y="43"/>
                  </a:lnTo>
                  <a:lnTo>
                    <a:pt x="165" y="43"/>
                  </a:lnTo>
                  <a:lnTo>
                    <a:pt x="162" y="45"/>
                  </a:lnTo>
                  <a:lnTo>
                    <a:pt x="161" y="42"/>
                  </a:lnTo>
                  <a:lnTo>
                    <a:pt x="164" y="41"/>
                  </a:lnTo>
                  <a:lnTo>
                    <a:pt x="165" y="43"/>
                  </a:lnTo>
                  <a:lnTo>
                    <a:pt x="166" y="42"/>
                  </a:lnTo>
                  <a:lnTo>
                    <a:pt x="164" y="41"/>
                  </a:lnTo>
                  <a:lnTo>
                    <a:pt x="162" y="41"/>
                  </a:lnTo>
                  <a:lnTo>
                    <a:pt x="161" y="40"/>
                  </a:lnTo>
                  <a:lnTo>
                    <a:pt x="157" y="39"/>
                  </a:lnTo>
                  <a:lnTo>
                    <a:pt x="160" y="39"/>
                  </a:lnTo>
                  <a:lnTo>
                    <a:pt x="162" y="40"/>
                  </a:lnTo>
                  <a:lnTo>
                    <a:pt x="165" y="40"/>
                  </a:lnTo>
                  <a:lnTo>
                    <a:pt x="167" y="42"/>
                  </a:lnTo>
                  <a:lnTo>
                    <a:pt x="168" y="41"/>
                  </a:lnTo>
                  <a:lnTo>
                    <a:pt x="167" y="39"/>
                  </a:lnTo>
                  <a:lnTo>
                    <a:pt x="166" y="39"/>
                  </a:lnTo>
                  <a:lnTo>
                    <a:pt x="162" y="37"/>
                  </a:lnTo>
                  <a:lnTo>
                    <a:pt x="161" y="36"/>
                  </a:lnTo>
                  <a:lnTo>
                    <a:pt x="167" y="37"/>
                  </a:lnTo>
                  <a:lnTo>
                    <a:pt x="167" y="39"/>
                  </a:lnTo>
                  <a:lnTo>
                    <a:pt x="168" y="40"/>
                  </a:lnTo>
                  <a:lnTo>
                    <a:pt x="170" y="39"/>
                  </a:lnTo>
                  <a:lnTo>
                    <a:pt x="171" y="37"/>
                  </a:lnTo>
                  <a:lnTo>
                    <a:pt x="171" y="36"/>
                  </a:lnTo>
                  <a:lnTo>
                    <a:pt x="172" y="35"/>
                  </a:lnTo>
                  <a:lnTo>
                    <a:pt x="174" y="35"/>
                  </a:lnTo>
                  <a:lnTo>
                    <a:pt x="176" y="35"/>
                  </a:lnTo>
                  <a:lnTo>
                    <a:pt x="177" y="35"/>
                  </a:lnTo>
                  <a:lnTo>
                    <a:pt x="176" y="37"/>
                  </a:lnTo>
                  <a:lnTo>
                    <a:pt x="172" y="37"/>
                  </a:lnTo>
                  <a:lnTo>
                    <a:pt x="171" y="39"/>
                  </a:lnTo>
                  <a:lnTo>
                    <a:pt x="171" y="41"/>
                  </a:lnTo>
                  <a:lnTo>
                    <a:pt x="170" y="41"/>
                  </a:lnTo>
                  <a:lnTo>
                    <a:pt x="172" y="42"/>
                  </a:lnTo>
                  <a:lnTo>
                    <a:pt x="171" y="43"/>
                  </a:lnTo>
                  <a:lnTo>
                    <a:pt x="171" y="46"/>
                  </a:lnTo>
                  <a:lnTo>
                    <a:pt x="172" y="46"/>
                  </a:lnTo>
                  <a:lnTo>
                    <a:pt x="172" y="47"/>
                  </a:lnTo>
                  <a:lnTo>
                    <a:pt x="172" y="49"/>
                  </a:lnTo>
                  <a:lnTo>
                    <a:pt x="174" y="54"/>
                  </a:lnTo>
                  <a:lnTo>
                    <a:pt x="179" y="64"/>
                  </a:lnTo>
                  <a:lnTo>
                    <a:pt x="180" y="64"/>
                  </a:lnTo>
                  <a:lnTo>
                    <a:pt x="182" y="63"/>
                  </a:lnTo>
                  <a:lnTo>
                    <a:pt x="182" y="60"/>
                  </a:lnTo>
                  <a:lnTo>
                    <a:pt x="182" y="59"/>
                  </a:lnTo>
                  <a:lnTo>
                    <a:pt x="183" y="59"/>
                  </a:lnTo>
                  <a:lnTo>
                    <a:pt x="184" y="60"/>
                  </a:lnTo>
                  <a:lnTo>
                    <a:pt x="185" y="60"/>
                  </a:lnTo>
                  <a:lnTo>
                    <a:pt x="184" y="58"/>
                  </a:lnTo>
                  <a:lnTo>
                    <a:pt x="185" y="58"/>
                  </a:lnTo>
                  <a:lnTo>
                    <a:pt x="188" y="58"/>
                  </a:lnTo>
                  <a:lnTo>
                    <a:pt x="189" y="57"/>
                  </a:lnTo>
                  <a:lnTo>
                    <a:pt x="190" y="55"/>
                  </a:lnTo>
                  <a:lnTo>
                    <a:pt x="191" y="57"/>
                  </a:lnTo>
                  <a:lnTo>
                    <a:pt x="192" y="58"/>
                  </a:lnTo>
                  <a:lnTo>
                    <a:pt x="191" y="58"/>
                  </a:lnTo>
                  <a:lnTo>
                    <a:pt x="191" y="59"/>
                  </a:lnTo>
                  <a:lnTo>
                    <a:pt x="194" y="59"/>
                  </a:lnTo>
                  <a:lnTo>
                    <a:pt x="194" y="60"/>
                  </a:lnTo>
                  <a:lnTo>
                    <a:pt x="194" y="61"/>
                  </a:lnTo>
                  <a:lnTo>
                    <a:pt x="195" y="61"/>
                  </a:lnTo>
                  <a:lnTo>
                    <a:pt x="195" y="63"/>
                  </a:lnTo>
                  <a:lnTo>
                    <a:pt x="196" y="63"/>
                  </a:lnTo>
                  <a:lnTo>
                    <a:pt x="191" y="61"/>
                  </a:lnTo>
                  <a:lnTo>
                    <a:pt x="188" y="61"/>
                  </a:lnTo>
                  <a:lnTo>
                    <a:pt x="188" y="63"/>
                  </a:lnTo>
                  <a:lnTo>
                    <a:pt x="188" y="64"/>
                  </a:lnTo>
                  <a:lnTo>
                    <a:pt x="188" y="65"/>
                  </a:lnTo>
                  <a:lnTo>
                    <a:pt x="188" y="67"/>
                  </a:lnTo>
                  <a:lnTo>
                    <a:pt x="190" y="66"/>
                  </a:lnTo>
                  <a:lnTo>
                    <a:pt x="191" y="66"/>
                  </a:lnTo>
                  <a:lnTo>
                    <a:pt x="191" y="67"/>
                  </a:lnTo>
                  <a:lnTo>
                    <a:pt x="192" y="67"/>
                  </a:lnTo>
                  <a:lnTo>
                    <a:pt x="194" y="66"/>
                  </a:lnTo>
                  <a:lnTo>
                    <a:pt x="194" y="67"/>
                  </a:lnTo>
                  <a:lnTo>
                    <a:pt x="195" y="67"/>
                  </a:lnTo>
                  <a:lnTo>
                    <a:pt x="195" y="69"/>
                  </a:lnTo>
                  <a:lnTo>
                    <a:pt x="198" y="69"/>
                  </a:lnTo>
                  <a:lnTo>
                    <a:pt x="196" y="69"/>
                  </a:lnTo>
                  <a:lnTo>
                    <a:pt x="195" y="70"/>
                  </a:lnTo>
                  <a:lnTo>
                    <a:pt x="195" y="71"/>
                  </a:lnTo>
                  <a:lnTo>
                    <a:pt x="195" y="73"/>
                  </a:lnTo>
                  <a:lnTo>
                    <a:pt x="195" y="76"/>
                  </a:lnTo>
                  <a:lnTo>
                    <a:pt x="194" y="75"/>
                  </a:lnTo>
                  <a:lnTo>
                    <a:pt x="194" y="73"/>
                  </a:lnTo>
                  <a:lnTo>
                    <a:pt x="192" y="73"/>
                  </a:lnTo>
                  <a:lnTo>
                    <a:pt x="191" y="73"/>
                  </a:lnTo>
                  <a:lnTo>
                    <a:pt x="189" y="73"/>
                  </a:lnTo>
                  <a:lnTo>
                    <a:pt x="188" y="72"/>
                  </a:lnTo>
                  <a:lnTo>
                    <a:pt x="186" y="72"/>
                  </a:lnTo>
                  <a:lnTo>
                    <a:pt x="183" y="73"/>
                  </a:lnTo>
                  <a:lnTo>
                    <a:pt x="184" y="77"/>
                  </a:lnTo>
                  <a:lnTo>
                    <a:pt x="185" y="77"/>
                  </a:lnTo>
                  <a:lnTo>
                    <a:pt x="186" y="76"/>
                  </a:lnTo>
                  <a:lnTo>
                    <a:pt x="188" y="76"/>
                  </a:lnTo>
                  <a:lnTo>
                    <a:pt x="190" y="76"/>
                  </a:lnTo>
                  <a:lnTo>
                    <a:pt x="190" y="77"/>
                  </a:lnTo>
                  <a:lnTo>
                    <a:pt x="191" y="77"/>
                  </a:lnTo>
                  <a:lnTo>
                    <a:pt x="192" y="77"/>
                  </a:lnTo>
                  <a:lnTo>
                    <a:pt x="192" y="78"/>
                  </a:lnTo>
                  <a:lnTo>
                    <a:pt x="194" y="78"/>
                  </a:lnTo>
                  <a:lnTo>
                    <a:pt x="196" y="78"/>
                  </a:lnTo>
                  <a:lnTo>
                    <a:pt x="197" y="79"/>
                  </a:lnTo>
                  <a:lnTo>
                    <a:pt x="197" y="81"/>
                  </a:lnTo>
                  <a:lnTo>
                    <a:pt x="200" y="79"/>
                  </a:lnTo>
                  <a:lnTo>
                    <a:pt x="201" y="78"/>
                  </a:lnTo>
                  <a:lnTo>
                    <a:pt x="201" y="79"/>
                  </a:lnTo>
                  <a:lnTo>
                    <a:pt x="202" y="79"/>
                  </a:lnTo>
                  <a:lnTo>
                    <a:pt x="203" y="81"/>
                  </a:lnTo>
                  <a:lnTo>
                    <a:pt x="204" y="79"/>
                  </a:lnTo>
                  <a:lnTo>
                    <a:pt x="206" y="79"/>
                  </a:lnTo>
                  <a:lnTo>
                    <a:pt x="206" y="78"/>
                  </a:lnTo>
                  <a:lnTo>
                    <a:pt x="206" y="77"/>
                  </a:lnTo>
                  <a:lnTo>
                    <a:pt x="208" y="76"/>
                  </a:lnTo>
                  <a:lnTo>
                    <a:pt x="208" y="75"/>
                  </a:lnTo>
                  <a:lnTo>
                    <a:pt x="209" y="73"/>
                  </a:lnTo>
                  <a:lnTo>
                    <a:pt x="210" y="72"/>
                  </a:lnTo>
                  <a:lnTo>
                    <a:pt x="212" y="71"/>
                  </a:lnTo>
                  <a:lnTo>
                    <a:pt x="209" y="70"/>
                  </a:lnTo>
                  <a:lnTo>
                    <a:pt x="208" y="65"/>
                  </a:lnTo>
                  <a:lnTo>
                    <a:pt x="209" y="67"/>
                  </a:lnTo>
                  <a:lnTo>
                    <a:pt x="210" y="66"/>
                  </a:lnTo>
                  <a:lnTo>
                    <a:pt x="210" y="65"/>
                  </a:lnTo>
                  <a:lnTo>
                    <a:pt x="212" y="65"/>
                  </a:lnTo>
                  <a:lnTo>
                    <a:pt x="213" y="65"/>
                  </a:lnTo>
                  <a:lnTo>
                    <a:pt x="213" y="66"/>
                  </a:lnTo>
                  <a:lnTo>
                    <a:pt x="212" y="66"/>
                  </a:lnTo>
                  <a:lnTo>
                    <a:pt x="210" y="69"/>
                  </a:lnTo>
                  <a:lnTo>
                    <a:pt x="210" y="70"/>
                  </a:lnTo>
                  <a:lnTo>
                    <a:pt x="212" y="69"/>
                  </a:lnTo>
                  <a:lnTo>
                    <a:pt x="212" y="67"/>
                  </a:lnTo>
                  <a:lnTo>
                    <a:pt x="213" y="67"/>
                  </a:lnTo>
                  <a:lnTo>
                    <a:pt x="213" y="70"/>
                  </a:lnTo>
                  <a:lnTo>
                    <a:pt x="212" y="70"/>
                  </a:lnTo>
                  <a:lnTo>
                    <a:pt x="213" y="71"/>
                  </a:lnTo>
                  <a:lnTo>
                    <a:pt x="215" y="72"/>
                  </a:lnTo>
                  <a:lnTo>
                    <a:pt x="216" y="72"/>
                  </a:lnTo>
                  <a:lnTo>
                    <a:pt x="215" y="71"/>
                  </a:lnTo>
                  <a:lnTo>
                    <a:pt x="215" y="70"/>
                  </a:lnTo>
                  <a:lnTo>
                    <a:pt x="218" y="70"/>
                  </a:lnTo>
                  <a:lnTo>
                    <a:pt x="218" y="71"/>
                  </a:lnTo>
                  <a:lnTo>
                    <a:pt x="219" y="73"/>
                  </a:lnTo>
                  <a:lnTo>
                    <a:pt x="220" y="72"/>
                  </a:lnTo>
                  <a:lnTo>
                    <a:pt x="220" y="70"/>
                  </a:lnTo>
                  <a:lnTo>
                    <a:pt x="219" y="70"/>
                  </a:lnTo>
                  <a:lnTo>
                    <a:pt x="218" y="67"/>
                  </a:lnTo>
                  <a:lnTo>
                    <a:pt x="219" y="69"/>
                  </a:lnTo>
                  <a:lnTo>
                    <a:pt x="219" y="67"/>
                  </a:lnTo>
                  <a:lnTo>
                    <a:pt x="219" y="66"/>
                  </a:lnTo>
                  <a:lnTo>
                    <a:pt x="220" y="66"/>
                  </a:lnTo>
                  <a:lnTo>
                    <a:pt x="221" y="65"/>
                  </a:lnTo>
                  <a:lnTo>
                    <a:pt x="221" y="64"/>
                  </a:lnTo>
                  <a:lnTo>
                    <a:pt x="221" y="63"/>
                  </a:lnTo>
                  <a:lnTo>
                    <a:pt x="223" y="63"/>
                  </a:lnTo>
                  <a:lnTo>
                    <a:pt x="224" y="63"/>
                  </a:lnTo>
                  <a:lnTo>
                    <a:pt x="224" y="65"/>
                  </a:lnTo>
                  <a:lnTo>
                    <a:pt x="225" y="65"/>
                  </a:lnTo>
                  <a:lnTo>
                    <a:pt x="226" y="65"/>
                  </a:lnTo>
                  <a:lnTo>
                    <a:pt x="225" y="63"/>
                  </a:lnTo>
                  <a:lnTo>
                    <a:pt x="226" y="63"/>
                  </a:lnTo>
                  <a:lnTo>
                    <a:pt x="226" y="61"/>
                  </a:lnTo>
                  <a:lnTo>
                    <a:pt x="226" y="66"/>
                  </a:lnTo>
                  <a:lnTo>
                    <a:pt x="227" y="66"/>
                  </a:lnTo>
                  <a:lnTo>
                    <a:pt x="230" y="67"/>
                  </a:lnTo>
                  <a:lnTo>
                    <a:pt x="230" y="66"/>
                  </a:lnTo>
                  <a:lnTo>
                    <a:pt x="229" y="65"/>
                  </a:lnTo>
                  <a:lnTo>
                    <a:pt x="229" y="64"/>
                  </a:lnTo>
                  <a:lnTo>
                    <a:pt x="229" y="63"/>
                  </a:lnTo>
                  <a:lnTo>
                    <a:pt x="229" y="61"/>
                  </a:lnTo>
                  <a:lnTo>
                    <a:pt x="230" y="60"/>
                  </a:lnTo>
                  <a:lnTo>
                    <a:pt x="229" y="59"/>
                  </a:lnTo>
                  <a:lnTo>
                    <a:pt x="230" y="59"/>
                  </a:lnTo>
                  <a:lnTo>
                    <a:pt x="231" y="58"/>
                  </a:lnTo>
                  <a:lnTo>
                    <a:pt x="232" y="57"/>
                  </a:lnTo>
                  <a:lnTo>
                    <a:pt x="233" y="58"/>
                  </a:lnTo>
                  <a:lnTo>
                    <a:pt x="233" y="60"/>
                  </a:lnTo>
                  <a:lnTo>
                    <a:pt x="235" y="61"/>
                  </a:lnTo>
                  <a:lnTo>
                    <a:pt x="233" y="63"/>
                  </a:lnTo>
                  <a:lnTo>
                    <a:pt x="235" y="66"/>
                  </a:lnTo>
                  <a:lnTo>
                    <a:pt x="233" y="67"/>
                  </a:lnTo>
                  <a:lnTo>
                    <a:pt x="232" y="66"/>
                  </a:lnTo>
                  <a:lnTo>
                    <a:pt x="232" y="67"/>
                  </a:lnTo>
                  <a:lnTo>
                    <a:pt x="233" y="69"/>
                  </a:lnTo>
                  <a:lnTo>
                    <a:pt x="235" y="69"/>
                  </a:lnTo>
                  <a:lnTo>
                    <a:pt x="236" y="70"/>
                  </a:lnTo>
                  <a:lnTo>
                    <a:pt x="236" y="71"/>
                  </a:lnTo>
                  <a:lnTo>
                    <a:pt x="238" y="71"/>
                  </a:lnTo>
                  <a:lnTo>
                    <a:pt x="239" y="71"/>
                  </a:lnTo>
                  <a:lnTo>
                    <a:pt x="239" y="72"/>
                  </a:lnTo>
                  <a:lnTo>
                    <a:pt x="241" y="73"/>
                  </a:lnTo>
                  <a:lnTo>
                    <a:pt x="242" y="75"/>
                  </a:lnTo>
                  <a:lnTo>
                    <a:pt x="243" y="75"/>
                  </a:lnTo>
                  <a:lnTo>
                    <a:pt x="242" y="77"/>
                  </a:lnTo>
                  <a:lnTo>
                    <a:pt x="243" y="78"/>
                  </a:lnTo>
                  <a:lnTo>
                    <a:pt x="244" y="77"/>
                  </a:lnTo>
                  <a:lnTo>
                    <a:pt x="245" y="78"/>
                  </a:lnTo>
                  <a:lnTo>
                    <a:pt x="247" y="77"/>
                  </a:lnTo>
                  <a:lnTo>
                    <a:pt x="247" y="75"/>
                  </a:lnTo>
                  <a:lnTo>
                    <a:pt x="247" y="72"/>
                  </a:lnTo>
                  <a:lnTo>
                    <a:pt x="247" y="71"/>
                  </a:lnTo>
                  <a:lnTo>
                    <a:pt x="247" y="70"/>
                  </a:lnTo>
                  <a:lnTo>
                    <a:pt x="248" y="70"/>
                  </a:lnTo>
                  <a:lnTo>
                    <a:pt x="247" y="69"/>
                  </a:lnTo>
                  <a:lnTo>
                    <a:pt x="247" y="66"/>
                  </a:lnTo>
                  <a:lnTo>
                    <a:pt x="247" y="65"/>
                  </a:lnTo>
                  <a:lnTo>
                    <a:pt x="248" y="66"/>
                  </a:lnTo>
                  <a:lnTo>
                    <a:pt x="249" y="66"/>
                  </a:lnTo>
                  <a:lnTo>
                    <a:pt x="249" y="67"/>
                  </a:lnTo>
                  <a:lnTo>
                    <a:pt x="248" y="70"/>
                  </a:lnTo>
                  <a:lnTo>
                    <a:pt x="249" y="70"/>
                  </a:lnTo>
                  <a:lnTo>
                    <a:pt x="249" y="71"/>
                  </a:lnTo>
                  <a:lnTo>
                    <a:pt x="248" y="73"/>
                  </a:lnTo>
                  <a:lnTo>
                    <a:pt x="247" y="78"/>
                  </a:lnTo>
                  <a:lnTo>
                    <a:pt x="247" y="79"/>
                  </a:lnTo>
                  <a:lnTo>
                    <a:pt x="248" y="78"/>
                  </a:lnTo>
                  <a:lnTo>
                    <a:pt x="250" y="77"/>
                  </a:lnTo>
                  <a:lnTo>
                    <a:pt x="250" y="78"/>
                  </a:lnTo>
                  <a:lnTo>
                    <a:pt x="251" y="78"/>
                  </a:lnTo>
                  <a:lnTo>
                    <a:pt x="254" y="76"/>
                  </a:lnTo>
                  <a:lnTo>
                    <a:pt x="254" y="75"/>
                  </a:lnTo>
                  <a:lnTo>
                    <a:pt x="255" y="76"/>
                  </a:lnTo>
                  <a:lnTo>
                    <a:pt x="256" y="77"/>
                  </a:lnTo>
                  <a:lnTo>
                    <a:pt x="257" y="76"/>
                  </a:lnTo>
                  <a:lnTo>
                    <a:pt x="259" y="76"/>
                  </a:lnTo>
                  <a:lnTo>
                    <a:pt x="260" y="76"/>
                  </a:lnTo>
                  <a:lnTo>
                    <a:pt x="256" y="78"/>
                  </a:lnTo>
                  <a:lnTo>
                    <a:pt x="254" y="78"/>
                  </a:lnTo>
                  <a:lnTo>
                    <a:pt x="251" y="81"/>
                  </a:lnTo>
                  <a:lnTo>
                    <a:pt x="249" y="82"/>
                  </a:lnTo>
                  <a:lnTo>
                    <a:pt x="247" y="83"/>
                  </a:lnTo>
                  <a:lnTo>
                    <a:pt x="245" y="85"/>
                  </a:lnTo>
                  <a:lnTo>
                    <a:pt x="245" y="87"/>
                  </a:lnTo>
                  <a:lnTo>
                    <a:pt x="247" y="85"/>
                  </a:lnTo>
                  <a:lnTo>
                    <a:pt x="248" y="84"/>
                  </a:lnTo>
                  <a:lnTo>
                    <a:pt x="251" y="83"/>
                  </a:lnTo>
                  <a:lnTo>
                    <a:pt x="249" y="87"/>
                  </a:lnTo>
                  <a:lnTo>
                    <a:pt x="248" y="87"/>
                  </a:lnTo>
                  <a:lnTo>
                    <a:pt x="250" y="88"/>
                  </a:lnTo>
                  <a:lnTo>
                    <a:pt x="251" y="90"/>
                  </a:lnTo>
                  <a:lnTo>
                    <a:pt x="253" y="89"/>
                  </a:lnTo>
                  <a:lnTo>
                    <a:pt x="256" y="89"/>
                  </a:lnTo>
                  <a:lnTo>
                    <a:pt x="257" y="89"/>
                  </a:lnTo>
                  <a:lnTo>
                    <a:pt x="257" y="90"/>
                  </a:lnTo>
                  <a:lnTo>
                    <a:pt x="257" y="91"/>
                  </a:lnTo>
                  <a:lnTo>
                    <a:pt x="257" y="94"/>
                  </a:lnTo>
                  <a:lnTo>
                    <a:pt x="259" y="94"/>
                  </a:lnTo>
                  <a:lnTo>
                    <a:pt x="259" y="96"/>
                  </a:lnTo>
                  <a:lnTo>
                    <a:pt x="259" y="97"/>
                  </a:lnTo>
                  <a:lnTo>
                    <a:pt x="260" y="97"/>
                  </a:lnTo>
                  <a:lnTo>
                    <a:pt x="260" y="96"/>
                  </a:lnTo>
                  <a:lnTo>
                    <a:pt x="261" y="95"/>
                  </a:lnTo>
                  <a:lnTo>
                    <a:pt x="262" y="93"/>
                  </a:lnTo>
                  <a:lnTo>
                    <a:pt x="262" y="96"/>
                  </a:lnTo>
                  <a:lnTo>
                    <a:pt x="262" y="97"/>
                  </a:lnTo>
                  <a:lnTo>
                    <a:pt x="265" y="96"/>
                  </a:lnTo>
                  <a:lnTo>
                    <a:pt x="265" y="97"/>
                  </a:lnTo>
                  <a:lnTo>
                    <a:pt x="265" y="99"/>
                  </a:lnTo>
                  <a:lnTo>
                    <a:pt x="266" y="99"/>
                  </a:lnTo>
                  <a:lnTo>
                    <a:pt x="267" y="99"/>
                  </a:lnTo>
                  <a:lnTo>
                    <a:pt x="267" y="100"/>
                  </a:lnTo>
                  <a:lnTo>
                    <a:pt x="268" y="99"/>
                  </a:lnTo>
                  <a:lnTo>
                    <a:pt x="268" y="100"/>
                  </a:lnTo>
                  <a:lnTo>
                    <a:pt x="269" y="99"/>
                  </a:lnTo>
                  <a:lnTo>
                    <a:pt x="272" y="100"/>
                  </a:lnTo>
                  <a:lnTo>
                    <a:pt x="268" y="101"/>
                  </a:lnTo>
                  <a:lnTo>
                    <a:pt x="263" y="100"/>
                  </a:lnTo>
                  <a:lnTo>
                    <a:pt x="265" y="102"/>
                  </a:lnTo>
                  <a:lnTo>
                    <a:pt x="266" y="102"/>
                  </a:lnTo>
                  <a:lnTo>
                    <a:pt x="267" y="102"/>
                  </a:lnTo>
                  <a:lnTo>
                    <a:pt x="268" y="102"/>
                  </a:lnTo>
                  <a:lnTo>
                    <a:pt x="269" y="102"/>
                  </a:lnTo>
                  <a:lnTo>
                    <a:pt x="271" y="102"/>
                  </a:lnTo>
                  <a:lnTo>
                    <a:pt x="273" y="103"/>
                  </a:lnTo>
                  <a:lnTo>
                    <a:pt x="274" y="103"/>
                  </a:lnTo>
                  <a:lnTo>
                    <a:pt x="275" y="105"/>
                  </a:lnTo>
                  <a:lnTo>
                    <a:pt x="275" y="102"/>
                  </a:lnTo>
                  <a:lnTo>
                    <a:pt x="277" y="101"/>
                  </a:lnTo>
                  <a:lnTo>
                    <a:pt x="277" y="100"/>
                  </a:lnTo>
                  <a:lnTo>
                    <a:pt x="278" y="99"/>
                  </a:lnTo>
                  <a:lnTo>
                    <a:pt x="279" y="99"/>
                  </a:lnTo>
                  <a:lnTo>
                    <a:pt x="278" y="100"/>
                  </a:lnTo>
                  <a:lnTo>
                    <a:pt x="278" y="101"/>
                  </a:lnTo>
                  <a:lnTo>
                    <a:pt x="279" y="101"/>
                  </a:lnTo>
                  <a:lnTo>
                    <a:pt x="280" y="100"/>
                  </a:lnTo>
                  <a:lnTo>
                    <a:pt x="280" y="99"/>
                  </a:lnTo>
                  <a:lnTo>
                    <a:pt x="280" y="97"/>
                  </a:lnTo>
                  <a:lnTo>
                    <a:pt x="279" y="96"/>
                  </a:lnTo>
                  <a:lnTo>
                    <a:pt x="277" y="96"/>
                  </a:lnTo>
                  <a:lnTo>
                    <a:pt x="274" y="97"/>
                  </a:lnTo>
                  <a:lnTo>
                    <a:pt x="274" y="95"/>
                  </a:lnTo>
                  <a:lnTo>
                    <a:pt x="277" y="94"/>
                  </a:lnTo>
                  <a:lnTo>
                    <a:pt x="278" y="94"/>
                  </a:lnTo>
                  <a:lnTo>
                    <a:pt x="279" y="94"/>
                  </a:lnTo>
                  <a:lnTo>
                    <a:pt x="280" y="95"/>
                  </a:lnTo>
                  <a:lnTo>
                    <a:pt x="282" y="95"/>
                  </a:lnTo>
                  <a:lnTo>
                    <a:pt x="283" y="94"/>
                  </a:lnTo>
                  <a:lnTo>
                    <a:pt x="284" y="94"/>
                  </a:lnTo>
                  <a:lnTo>
                    <a:pt x="285" y="93"/>
                  </a:lnTo>
                  <a:lnTo>
                    <a:pt x="285" y="91"/>
                  </a:lnTo>
                  <a:lnTo>
                    <a:pt x="286" y="91"/>
                  </a:lnTo>
                  <a:lnTo>
                    <a:pt x="288" y="91"/>
                  </a:lnTo>
                  <a:lnTo>
                    <a:pt x="289" y="91"/>
                  </a:lnTo>
                  <a:lnTo>
                    <a:pt x="289" y="90"/>
                  </a:lnTo>
                  <a:lnTo>
                    <a:pt x="288" y="90"/>
                  </a:lnTo>
                  <a:lnTo>
                    <a:pt x="285" y="91"/>
                  </a:lnTo>
                  <a:lnTo>
                    <a:pt x="285" y="90"/>
                  </a:lnTo>
                  <a:lnTo>
                    <a:pt x="286" y="89"/>
                  </a:lnTo>
                  <a:lnTo>
                    <a:pt x="285" y="90"/>
                  </a:lnTo>
                  <a:lnTo>
                    <a:pt x="284" y="93"/>
                  </a:lnTo>
                  <a:lnTo>
                    <a:pt x="283" y="93"/>
                  </a:lnTo>
                  <a:lnTo>
                    <a:pt x="282" y="93"/>
                  </a:lnTo>
                  <a:lnTo>
                    <a:pt x="282" y="90"/>
                  </a:lnTo>
                  <a:lnTo>
                    <a:pt x="282" y="89"/>
                  </a:lnTo>
                  <a:lnTo>
                    <a:pt x="284" y="88"/>
                  </a:lnTo>
                  <a:lnTo>
                    <a:pt x="284" y="87"/>
                  </a:lnTo>
                  <a:lnTo>
                    <a:pt x="285" y="85"/>
                  </a:lnTo>
                  <a:lnTo>
                    <a:pt x="286" y="84"/>
                  </a:lnTo>
                  <a:lnTo>
                    <a:pt x="285" y="83"/>
                  </a:lnTo>
                  <a:lnTo>
                    <a:pt x="278" y="76"/>
                  </a:lnTo>
                  <a:lnTo>
                    <a:pt x="273" y="65"/>
                  </a:lnTo>
                  <a:lnTo>
                    <a:pt x="272" y="65"/>
                  </a:lnTo>
                  <a:lnTo>
                    <a:pt x="273" y="69"/>
                  </a:lnTo>
                  <a:lnTo>
                    <a:pt x="273" y="72"/>
                  </a:lnTo>
                  <a:lnTo>
                    <a:pt x="273" y="71"/>
                  </a:lnTo>
                  <a:lnTo>
                    <a:pt x="272" y="70"/>
                  </a:lnTo>
                  <a:lnTo>
                    <a:pt x="272" y="72"/>
                  </a:lnTo>
                  <a:lnTo>
                    <a:pt x="273" y="72"/>
                  </a:lnTo>
                  <a:lnTo>
                    <a:pt x="273" y="75"/>
                  </a:lnTo>
                  <a:lnTo>
                    <a:pt x="272" y="77"/>
                  </a:lnTo>
                  <a:lnTo>
                    <a:pt x="272" y="78"/>
                  </a:lnTo>
                  <a:lnTo>
                    <a:pt x="271" y="76"/>
                  </a:lnTo>
                  <a:lnTo>
                    <a:pt x="271" y="73"/>
                  </a:lnTo>
                  <a:lnTo>
                    <a:pt x="269" y="73"/>
                  </a:lnTo>
                  <a:lnTo>
                    <a:pt x="269" y="75"/>
                  </a:lnTo>
                  <a:lnTo>
                    <a:pt x="268" y="73"/>
                  </a:lnTo>
                  <a:lnTo>
                    <a:pt x="268" y="72"/>
                  </a:lnTo>
                  <a:lnTo>
                    <a:pt x="267" y="70"/>
                  </a:lnTo>
                  <a:lnTo>
                    <a:pt x="266" y="71"/>
                  </a:lnTo>
                  <a:lnTo>
                    <a:pt x="265" y="71"/>
                  </a:lnTo>
                  <a:lnTo>
                    <a:pt x="263" y="73"/>
                  </a:lnTo>
                  <a:lnTo>
                    <a:pt x="262" y="73"/>
                  </a:lnTo>
                  <a:lnTo>
                    <a:pt x="262" y="71"/>
                  </a:lnTo>
                  <a:lnTo>
                    <a:pt x="263" y="69"/>
                  </a:lnTo>
                  <a:lnTo>
                    <a:pt x="261" y="71"/>
                  </a:lnTo>
                  <a:lnTo>
                    <a:pt x="260" y="72"/>
                  </a:lnTo>
                  <a:lnTo>
                    <a:pt x="260" y="69"/>
                  </a:lnTo>
                  <a:lnTo>
                    <a:pt x="260" y="67"/>
                  </a:lnTo>
                  <a:lnTo>
                    <a:pt x="260" y="66"/>
                  </a:lnTo>
                  <a:lnTo>
                    <a:pt x="260" y="65"/>
                  </a:lnTo>
                  <a:lnTo>
                    <a:pt x="261" y="64"/>
                  </a:lnTo>
                  <a:lnTo>
                    <a:pt x="263" y="64"/>
                  </a:lnTo>
                  <a:lnTo>
                    <a:pt x="263" y="63"/>
                  </a:lnTo>
                  <a:lnTo>
                    <a:pt x="266" y="60"/>
                  </a:lnTo>
                  <a:lnTo>
                    <a:pt x="266" y="59"/>
                  </a:lnTo>
                  <a:lnTo>
                    <a:pt x="265" y="60"/>
                  </a:lnTo>
                  <a:lnTo>
                    <a:pt x="263" y="61"/>
                  </a:lnTo>
                  <a:lnTo>
                    <a:pt x="263" y="59"/>
                  </a:lnTo>
                  <a:lnTo>
                    <a:pt x="262" y="59"/>
                  </a:lnTo>
                  <a:lnTo>
                    <a:pt x="261" y="59"/>
                  </a:lnTo>
                  <a:lnTo>
                    <a:pt x="260" y="59"/>
                  </a:lnTo>
                  <a:lnTo>
                    <a:pt x="259" y="59"/>
                  </a:lnTo>
                  <a:lnTo>
                    <a:pt x="257" y="59"/>
                  </a:lnTo>
                  <a:lnTo>
                    <a:pt x="259" y="58"/>
                  </a:lnTo>
                  <a:lnTo>
                    <a:pt x="257" y="58"/>
                  </a:lnTo>
                  <a:lnTo>
                    <a:pt x="255" y="57"/>
                  </a:lnTo>
                  <a:lnTo>
                    <a:pt x="255" y="55"/>
                  </a:lnTo>
                  <a:lnTo>
                    <a:pt x="256" y="55"/>
                  </a:lnTo>
                  <a:lnTo>
                    <a:pt x="257" y="54"/>
                  </a:lnTo>
                  <a:lnTo>
                    <a:pt x="257" y="53"/>
                  </a:lnTo>
                  <a:lnTo>
                    <a:pt x="259" y="52"/>
                  </a:lnTo>
                  <a:lnTo>
                    <a:pt x="260" y="53"/>
                  </a:lnTo>
                  <a:lnTo>
                    <a:pt x="261" y="53"/>
                  </a:lnTo>
                  <a:lnTo>
                    <a:pt x="260" y="52"/>
                  </a:lnTo>
                  <a:lnTo>
                    <a:pt x="260" y="51"/>
                  </a:lnTo>
                  <a:lnTo>
                    <a:pt x="260" y="49"/>
                  </a:lnTo>
                  <a:lnTo>
                    <a:pt x="260" y="52"/>
                  </a:lnTo>
                  <a:lnTo>
                    <a:pt x="257" y="49"/>
                  </a:lnTo>
                  <a:lnTo>
                    <a:pt x="257" y="47"/>
                  </a:lnTo>
                  <a:lnTo>
                    <a:pt x="255" y="47"/>
                  </a:lnTo>
                  <a:lnTo>
                    <a:pt x="255" y="45"/>
                  </a:lnTo>
                  <a:lnTo>
                    <a:pt x="255" y="42"/>
                  </a:lnTo>
                  <a:lnTo>
                    <a:pt x="256" y="42"/>
                  </a:lnTo>
                  <a:lnTo>
                    <a:pt x="255" y="41"/>
                  </a:lnTo>
                  <a:lnTo>
                    <a:pt x="256" y="39"/>
                  </a:lnTo>
                  <a:lnTo>
                    <a:pt x="255" y="41"/>
                  </a:lnTo>
                  <a:lnTo>
                    <a:pt x="254" y="42"/>
                  </a:lnTo>
                  <a:lnTo>
                    <a:pt x="254" y="45"/>
                  </a:lnTo>
                  <a:lnTo>
                    <a:pt x="253" y="43"/>
                  </a:lnTo>
                  <a:lnTo>
                    <a:pt x="253" y="42"/>
                  </a:lnTo>
                  <a:lnTo>
                    <a:pt x="253" y="41"/>
                  </a:lnTo>
                  <a:lnTo>
                    <a:pt x="251" y="40"/>
                  </a:lnTo>
                  <a:lnTo>
                    <a:pt x="250" y="40"/>
                  </a:lnTo>
                  <a:lnTo>
                    <a:pt x="250" y="42"/>
                  </a:lnTo>
                  <a:lnTo>
                    <a:pt x="250" y="45"/>
                  </a:lnTo>
                  <a:lnTo>
                    <a:pt x="249" y="45"/>
                  </a:lnTo>
                  <a:lnTo>
                    <a:pt x="249" y="46"/>
                  </a:lnTo>
                  <a:lnTo>
                    <a:pt x="249" y="47"/>
                  </a:lnTo>
                  <a:lnTo>
                    <a:pt x="248" y="47"/>
                  </a:lnTo>
                  <a:lnTo>
                    <a:pt x="248" y="48"/>
                  </a:lnTo>
                  <a:lnTo>
                    <a:pt x="247" y="48"/>
                  </a:lnTo>
                  <a:lnTo>
                    <a:pt x="247" y="47"/>
                  </a:lnTo>
                  <a:lnTo>
                    <a:pt x="247" y="45"/>
                  </a:lnTo>
                  <a:lnTo>
                    <a:pt x="245" y="45"/>
                  </a:lnTo>
                  <a:lnTo>
                    <a:pt x="244" y="45"/>
                  </a:lnTo>
                  <a:lnTo>
                    <a:pt x="242" y="46"/>
                  </a:lnTo>
                  <a:lnTo>
                    <a:pt x="242" y="48"/>
                  </a:lnTo>
                  <a:lnTo>
                    <a:pt x="241" y="48"/>
                  </a:lnTo>
                  <a:lnTo>
                    <a:pt x="241" y="46"/>
                  </a:lnTo>
                  <a:lnTo>
                    <a:pt x="242" y="43"/>
                  </a:lnTo>
                  <a:lnTo>
                    <a:pt x="242" y="42"/>
                  </a:lnTo>
                  <a:lnTo>
                    <a:pt x="242" y="41"/>
                  </a:lnTo>
                  <a:lnTo>
                    <a:pt x="241" y="41"/>
                  </a:lnTo>
                  <a:lnTo>
                    <a:pt x="241" y="40"/>
                  </a:lnTo>
                  <a:lnTo>
                    <a:pt x="242" y="37"/>
                  </a:lnTo>
                  <a:lnTo>
                    <a:pt x="242" y="36"/>
                  </a:lnTo>
                  <a:lnTo>
                    <a:pt x="243" y="35"/>
                  </a:lnTo>
                  <a:lnTo>
                    <a:pt x="244" y="34"/>
                  </a:lnTo>
                  <a:lnTo>
                    <a:pt x="244" y="32"/>
                  </a:lnTo>
                  <a:lnTo>
                    <a:pt x="244" y="30"/>
                  </a:lnTo>
                  <a:lnTo>
                    <a:pt x="243" y="32"/>
                  </a:lnTo>
                  <a:lnTo>
                    <a:pt x="243" y="31"/>
                  </a:lnTo>
                  <a:lnTo>
                    <a:pt x="241" y="32"/>
                  </a:lnTo>
                  <a:lnTo>
                    <a:pt x="239" y="32"/>
                  </a:lnTo>
                  <a:lnTo>
                    <a:pt x="236" y="32"/>
                  </a:lnTo>
                  <a:lnTo>
                    <a:pt x="235" y="34"/>
                  </a:lnTo>
                  <a:lnTo>
                    <a:pt x="233" y="39"/>
                  </a:lnTo>
                  <a:lnTo>
                    <a:pt x="231" y="40"/>
                  </a:lnTo>
                  <a:lnTo>
                    <a:pt x="230" y="41"/>
                  </a:lnTo>
                  <a:lnTo>
                    <a:pt x="229" y="40"/>
                  </a:lnTo>
                  <a:lnTo>
                    <a:pt x="230" y="36"/>
                  </a:lnTo>
                  <a:lnTo>
                    <a:pt x="231" y="34"/>
                  </a:lnTo>
                  <a:lnTo>
                    <a:pt x="230" y="32"/>
                  </a:lnTo>
                  <a:lnTo>
                    <a:pt x="231" y="31"/>
                  </a:lnTo>
                  <a:lnTo>
                    <a:pt x="232" y="30"/>
                  </a:lnTo>
                  <a:lnTo>
                    <a:pt x="235" y="31"/>
                  </a:lnTo>
                  <a:lnTo>
                    <a:pt x="237" y="30"/>
                  </a:lnTo>
                  <a:lnTo>
                    <a:pt x="239" y="29"/>
                  </a:lnTo>
                  <a:lnTo>
                    <a:pt x="242" y="28"/>
                  </a:lnTo>
                  <a:lnTo>
                    <a:pt x="242" y="26"/>
                  </a:lnTo>
                  <a:lnTo>
                    <a:pt x="241" y="25"/>
                  </a:lnTo>
                  <a:lnTo>
                    <a:pt x="241" y="23"/>
                  </a:lnTo>
                  <a:lnTo>
                    <a:pt x="239" y="23"/>
                  </a:lnTo>
                  <a:lnTo>
                    <a:pt x="241" y="20"/>
                  </a:lnTo>
                  <a:lnTo>
                    <a:pt x="239" y="20"/>
                  </a:lnTo>
                  <a:lnTo>
                    <a:pt x="237" y="24"/>
                  </a:lnTo>
                  <a:lnTo>
                    <a:pt x="236" y="25"/>
                  </a:lnTo>
                  <a:lnTo>
                    <a:pt x="236" y="23"/>
                  </a:lnTo>
                  <a:lnTo>
                    <a:pt x="235" y="18"/>
                  </a:lnTo>
                  <a:lnTo>
                    <a:pt x="236" y="17"/>
                  </a:lnTo>
                  <a:lnTo>
                    <a:pt x="235" y="18"/>
                  </a:lnTo>
                  <a:lnTo>
                    <a:pt x="236" y="14"/>
                  </a:lnTo>
                  <a:lnTo>
                    <a:pt x="238" y="13"/>
                  </a:lnTo>
                  <a:lnTo>
                    <a:pt x="239" y="12"/>
                  </a:lnTo>
                  <a:lnTo>
                    <a:pt x="241" y="11"/>
                  </a:lnTo>
                  <a:lnTo>
                    <a:pt x="243" y="10"/>
                  </a:lnTo>
                  <a:lnTo>
                    <a:pt x="243" y="7"/>
                  </a:lnTo>
                  <a:lnTo>
                    <a:pt x="239" y="6"/>
                  </a:lnTo>
                  <a:lnTo>
                    <a:pt x="237" y="6"/>
                  </a:lnTo>
                  <a:lnTo>
                    <a:pt x="239" y="6"/>
                  </a:lnTo>
                  <a:lnTo>
                    <a:pt x="241" y="5"/>
                  </a:lnTo>
                  <a:lnTo>
                    <a:pt x="243" y="4"/>
                  </a:lnTo>
                  <a:lnTo>
                    <a:pt x="243" y="2"/>
                  </a:lnTo>
                  <a:lnTo>
                    <a:pt x="243" y="1"/>
                  </a:lnTo>
                  <a:lnTo>
                    <a:pt x="244" y="0"/>
                  </a:lnTo>
                  <a:lnTo>
                    <a:pt x="247" y="0"/>
                  </a:lnTo>
                  <a:lnTo>
                    <a:pt x="248" y="0"/>
                  </a:lnTo>
                  <a:lnTo>
                    <a:pt x="248" y="1"/>
                  </a:lnTo>
                  <a:lnTo>
                    <a:pt x="249" y="1"/>
                  </a:lnTo>
                  <a:lnTo>
                    <a:pt x="249" y="2"/>
                  </a:lnTo>
                  <a:lnTo>
                    <a:pt x="250" y="1"/>
                  </a:lnTo>
                  <a:lnTo>
                    <a:pt x="251" y="1"/>
                  </a:lnTo>
                  <a:lnTo>
                    <a:pt x="253" y="1"/>
                  </a:lnTo>
                  <a:lnTo>
                    <a:pt x="254" y="0"/>
                  </a:lnTo>
                  <a:lnTo>
                    <a:pt x="253" y="4"/>
                  </a:lnTo>
                  <a:lnTo>
                    <a:pt x="251" y="8"/>
                  </a:lnTo>
                  <a:lnTo>
                    <a:pt x="251" y="10"/>
                  </a:lnTo>
                  <a:lnTo>
                    <a:pt x="253" y="7"/>
                  </a:lnTo>
                  <a:lnTo>
                    <a:pt x="254" y="11"/>
                  </a:lnTo>
                  <a:lnTo>
                    <a:pt x="254" y="13"/>
                  </a:lnTo>
                  <a:lnTo>
                    <a:pt x="255" y="16"/>
                  </a:lnTo>
                  <a:lnTo>
                    <a:pt x="255" y="14"/>
                  </a:lnTo>
                  <a:lnTo>
                    <a:pt x="256" y="16"/>
                  </a:lnTo>
                  <a:lnTo>
                    <a:pt x="256" y="14"/>
                  </a:lnTo>
                  <a:lnTo>
                    <a:pt x="256" y="12"/>
                  </a:lnTo>
                  <a:lnTo>
                    <a:pt x="259" y="11"/>
                  </a:lnTo>
                  <a:lnTo>
                    <a:pt x="261" y="12"/>
                  </a:lnTo>
                  <a:lnTo>
                    <a:pt x="262" y="14"/>
                  </a:lnTo>
                  <a:lnTo>
                    <a:pt x="262" y="16"/>
                  </a:lnTo>
                  <a:lnTo>
                    <a:pt x="262" y="17"/>
                  </a:lnTo>
                  <a:lnTo>
                    <a:pt x="261" y="17"/>
                  </a:lnTo>
                  <a:lnTo>
                    <a:pt x="260" y="17"/>
                  </a:lnTo>
                  <a:lnTo>
                    <a:pt x="259" y="17"/>
                  </a:lnTo>
                  <a:lnTo>
                    <a:pt x="259" y="16"/>
                  </a:lnTo>
                  <a:lnTo>
                    <a:pt x="259" y="17"/>
                  </a:lnTo>
                  <a:lnTo>
                    <a:pt x="259" y="19"/>
                  </a:lnTo>
                  <a:lnTo>
                    <a:pt x="260" y="20"/>
                  </a:lnTo>
                  <a:lnTo>
                    <a:pt x="261" y="22"/>
                  </a:lnTo>
                  <a:lnTo>
                    <a:pt x="262" y="23"/>
                  </a:lnTo>
                  <a:lnTo>
                    <a:pt x="262" y="25"/>
                  </a:lnTo>
                  <a:lnTo>
                    <a:pt x="265" y="25"/>
                  </a:lnTo>
                  <a:lnTo>
                    <a:pt x="266" y="26"/>
                  </a:lnTo>
                  <a:lnTo>
                    <a:pt x="266" y="25"/>
                  </a:lnTo>
                  <a:lnTo>
                    <a:pt x="267" y="24"/>
                  </a:lnTo>
                  <a:lnTo>
                    <a:pt x="267" y="25"/>
                  </a:lnTo>
                  <a:lnTo>
                    <a:pt x="269" y="25"/>
                  </a:lnTo>
                  <a:lnTo>
                    <a:pt x="271" y="25"/>
                  </a:lnTo>
                  <a:lnTo>
                    <a:pt x="269" y="23"/>
                  </a:lnTo>
                  <a:lnTo>
                    <a:pt x="269" y="20"/>
                  </a:lnTo>
                  <a:lnTo>
                    <a:pt x="271" y="19"/>
                  </a:lnTo>
                  <a:lnTo>
                    <a:pt x="272" y="19"/>
                  </a:lnTo>
                  <a:lnTo>
                    <a:pt x="272" y="18"/>
                  </a:lnTo>
                  <a:lnTo>
                    <a:pt x="274" y="18"/>
                  </a:lnTo>
                  <a:lnTo>
                    <a:pt x="275" y="19"/>
                  </a:lnTo>
                  <a:lnTo>
                    <a:pt x="277" y="20"/>
                  </a:lnTo>
                  <a:lnTo>
                    <a:pt x="278" y="20"/>
                  </a:lnTo>
                  <a:lnTo>
                    <a:pt x="280" y="19"/>
                  </a:lnTo>
                  <a:lnTo>
                    <a:pt x="279" y="20"/>
                  </a:lnTo>
                  <a:lnTo>
                    <a:pt x="278" y="23"/>
                  </a:lnTo>
                  <a:lnTo>
                    <a:pt x="277" y="22"/>
                  </a:lnTo>
                  <a:lnTo>
                    <a:pt x="275" y="22"/>
                  </a:lnTo>
                  <a:lnTo>
                    <a:pt x="273" y="25"/>
                  </a:lnTo>
                  <a:lnTo>
                    <a:pt x="275" y="25"/>
                  </a:lnTo>
                  <a:lnTo>
                    <a:pt x="278" y="26"/>
                  </a:lnTo>
                  <a:lnTo>
                    <a:pt x="280" y="28"/>
                  </a:lnTo>
                  <a:lnTo>
                    <a:pt x="279" y="29"/>
                  </a:lnTo>
                  <a:lnTo>
                    <a:pt x="279" y="31"/>
                  </a:lnTo>
                  <a:lnTo>
                    <a:pt x="278" y="30"/>
                  </a:lnTo>
                  <a:lnTo>
                    <a:pt x="277" y="26"/>
                  </a:lnTo>
                  <a:lnTo>
                    <a:pt x="274" y="26"/>
                  </a:lnTo>
                  <a:lnTo>
                    <a:pt x="272" y="26"/>
                  </a:lnTo>
                  <a:lnTo>
                    <a:pt x="272" y="29"/>
                  </a:lnTo>
                  <a:lnTo>
                    <a:pt x="271" y="30"/>
                  </a:lnTo>
                  <a:lnTo>
                    <a:pt x="272" y="34"/>
                  </a:lnTo>
                  <a:lnTo>
                    <a:pt x="273" y="34"/>
                  </a:lnTo>
                  <a:lnTo>
                    <a:pt x="275" y="35"/>
                  </a:lnTo>
                  <a:lnTo>
                    <a:pt x="277" y="36"/>
                  </a:lnTo>
                  <a:lnTo>
                    <a:pt x="277" y="37"/>
                  </a:lnTo>
                  <a:lnTo>
                    <a:pt x="278" y="39"/>
                  </a:lnTo>
                  <a:lnTo>
                    <a:pt x="278" y="42"/>
                  </a:lnTo>
                  <a:lnTo>
                    <a:pt x="278" y="43"/>
                  </a:lnTo>
                  <a:lnTo>
                    <a:pt x="279" y="45"/>
                  </a:lnTo>
                  <a:lnTo>
                    <a:pt x="278" y="47"/>
                  </a:lnTo>
                  <a:lnTo>
                    <a:pt x="278" y="48"/>
                  </a:lnTo>
                  <a:lnTo>
                    <a:pt x="279" y="51"/>
                  </a:lnTo>
                  <a:lnTo>
                    <a:pt x="280" y="49"/>
                  </a:lnTo>
                  <a:lnTo>
                    <a:pt x="282" y="48"/>
                  </a:lnTo>
                  <a:lnTo>
                    <a:pt x="284" y="48"/>
                  </a:lnTo>
                  <a:lnTo>
                    <a:pt x="284" y="47"/>
                  </a:lnTo>
                  <a:lnTo>
                    <a:pt x="286" y="47"/>
                  </a:lnTo>
                  <a:lnTo>
                    <a:pt x="286" y="46"/>
                  </a:lnTo>
                  <a:lnTo>
                    <a:pt x="288" y="46"/>
                  </a:lnTo>
                  <a:lnTo>
                    <a:pt x="289" y="46"/>
                  </a:lnTo>
                  <a:lnTo>
                    <a:pt x="290" y="46"/>
                  </a:lnTo>
                  <a:lnTo>
                    <a:pt x="289" y="47"/>
                  </a:lnTo>
                  <a:lnTo>
                    <a:pt x="290" y="47"/>
                  </a:lnTo>
                  <a:lnTo>
                    <a:pt x="291" y="47"/>
                  </a:lnTo>
                  <a:lnTo>
                    <a:pt x="292" y="47"/>
                  </a:lnTo>
                  <a:lnTo>
                    <a:pt x="294" y="47"/>
                  </a:lnTo>
                  <a:lnTo>
                    <a:pt x="295" y="47"/>
                  </a:lnTo>
                  <a:lnTo>
                    <a:pt x="296" y="45"/>
                  </a:lnTo>
                  <a:lnTo>
                    <a:pt x="297" y="46"/>
                  </a:lnTo>
                  <a:lnTo>
                    <a:pt x="297" y="47"/>
                  </a:lnTo>
                  <a:lnTo>
                    <a:pt x="298" y="47"/>
                  </a:lnTo>
                  <a:lnTo>
                    <a:pt x="301" y="47"/>
                  </a:lnTo>
                  <a:lnTo>
                    <a:pt x="300" y="48"/>
                  </a:lnTo>
                  <a:lnTo>
                    <a:pt x="302" y="48"/>
                  </a:lnTo>
                  <a:lnTo>
                    <a:pt x="303" y="49"/>
                  </a:lnTo>
                  <a:lnTo>
                    <a:pt x="304" y="48"/>
                  </a:lnTo>
                  <a:lnTo>
                    <a:pt x="306" y="48"/>
                  </a:lnTo>
                  <a:lnTo>
                    <a:pt x="307" y="47"/>
                  </a:lnTo>
                  <a:lnTo>
                    <a:pt x="308" y="46"/>
                  </a:lnTo>
                  <a:lnTo>
                    <a:pt x="309" y="47"/>
                  </a:lnTo>
                  <a:lnTo>
                    <a:pt x="310" y="47"/>
                  </a:lnTo>
                  <a:lnTo>
                    <a:pt x="310" y="49"/>
                  </a:lnTo>
                  <a:lnTo>
                    <a:pt x="312" y="48"/>
                  </a:lnTo>
                  <a:lnTo>
                    <a:pt x="312" y="46"/>
                  </a:lnTo>
                  <a:lnTo>
                    <a:pt x="312" y="45"/>
                  </a:lnTo>
                  <a:lnTo>
                    <a:pt x="313" y="43"/>
                  </a:lnTo>
                  <a:lnTo>
                    <a:pt x="313" y="42"/>
                  </a:lnTo>
                  <a:lnTo>
                    <a:pt x="315" y="41"/>
                  </a:lnTo>
                  <a:lnTo>
                    <a:pt x="316" y="42"/>
                  </a:lnTo>
                  <a:lnTo>
                    <a:pt x="318" y="42"/>
                  </a:lnTo>
                  <a:lnTo>
                    <a:pt x="319" y="42"/>
                  </a:lnTo>
                  <a:lnTo>
                    <a:pt x="319" y="43"/>
                  </a:lnTo>
                  <a:lnTo>
                    <a:pt x="319" y="39"/>
                  </a:lnTo>
                  <a:lnTo>
                    <a:pt x="318" y="37"/>
                  </a:lnTo>
                  <a:lnTo>
                    <a:pt x="316" y="36"/>
                  </a:lnTo>
                  <a:lnTo>
                    <a:pt x="316" y="35"/>
                  </a:lnTo>
                  <a:lnTo>
                    <a:pt x="316" y="34"/>
                  </a:lnTo>
                  <a:lnTo>
                    <a:pt x="318" y="34"/>
                  </a:lnTo>
                  <a:lnTo>
                    <a:pt x="319" y="32"/>
                  </a:lnTo>
                  <a:lnTo>
                    <a:pt x="320" y="32"/>
                  </a:lnTo>
                  <a:lnTo>
                    <a:pt x="321" y="32"/>
                  </a:lnTo>
                  <a:lnTo>
                    <a:pt x="322" y="32"/>
                  </a:lnTo>
                  <a:lnTo>
                    <a:pt x="321" y="35"/>
                  </a:lnTo>
                  <a:lnTo>
                    <a:pt x="322" y="35"/>
                  </a:lnTo>
                  <a:lnTo>
                    <a:pt x="325" y="35"/>
                  </a:lnTo>
                  <a:lnTo>
                    <a:pt x="327" y="35"/>
                  </a:lnTo>
                  <a:lnTo>
                    <a:pt x="326" y="36"/>
                  </a:lnTo>
                  <a:lnTo>
                    <a:pt x="324" y="39"/>
                  </a:lnTo>
                  <a:lnTo>
                    <a:pt x="322" y="39"/>
                  </a:lnTo>
                  <a:lnTo>
                    <a:pt x="322" y="40"/>
                  </a:lnTo>
                  <a:lnTo>
                    <a:pt x="324" y="39"/>
                  </a:lnTo>
                  <a:lnTo>
                    <a:pt x="325" y="39"/>
                  </a:lnTo>
                  <a:lnTo>
                    <a:pt x="324" y="40"/>
                  </a:lnTo>
                  <a:lnTo>
                    <a:pt x="325" y="41"/>
                  </a:lnTo>
                  <a:lnTo>
                    <a:pt x="324" y="42"/>
                  </a:lnTo>
                  <a:lnTo>
                    <a:pt x="322" y="42"/>
                  </a:lnTo>
                  <a:lnTo>
                    <a:pt x="324" y="43"/>
                  </a:lnTo>
                  <a:lnTo>
                    <a:pt x="326" y="42"/>
                  </a:lnTo>
                  <a:lnTo>
                    <a:pt x="328" y="42"/>
                  </a:lnTo>
                  <a:lnTo>
                    <a:pt x="330" y="42"/>
                  </a:lnTo>
                  <a:lnTo>
                    <a:pt x="327" y="45"/>
                  </a:lnTo>
                  <a:lnTo>
                    <a:pt x="325" y="46"/>
                  </a:lnTo>
                  <a:lnTo>
                    <a:pt x="324" y="47"/>
                  </a:lnTo>
                  <a:lnTo>
                    <a:pt x="322" y="49"/>
                  </a:lnTo>
                  <a:lnTo>
                    <a:pt x="325" y="49"/>
                  </a:lnTo>
                  <a:lnTo>
                    <a:pt x="326" y="49"/>
                  </a:lnTo>
                  <a:lnTo>
                    <a:pt x="327" y="48"/>
                  </a:lnTo>
                  <a:lnTo>
                    <a:pt x="328" y="48"/>
                  </a:lnTo>
                  <a:lnTo>
                    <a:pt x="331" y="48"/>
                  </a:lnTo>
                  <a:lnTo>
                    <a:pt x="330" y="49"/>
                  </a:lnTo>
                  <a:lnTo>
                    <a:pt x="330" y="52"/>
                  </a:lnTo>
                  <a:lnTo>
                    <a:pt x="331" y="53"/>
                  </a:lnTo>
                  <a:lnTo>
                    <a:pt x="332" y="54"/>
                  </a:lnTo>
                  <a:lnTo>
                    <a:pt x="330" y="55"/>
                  </a:lnTo>
                  <a:lnTo>
                    <a:pt x="330" y="57"/>
                  </a:lnTo>
                  <a:lnTo>
                    <a:pt x="330" y="59"/>
                  </a:lnTo>
                  <a:lnTo>
                    <a:pt x="330" y="60"/>
                  </a:lnTo>
                  <a:lnTo>
                    <a:pt x="328" y="59"/>
                  </a:lnTo>
                  <a:lnTo>
                    <a:pt x="328" y="60"/>
                  </a:lnTo>
                  <a:lnTo>
                    <a:pt x="328" y="63"/>
                  </a:lnTo>
                  <a:lnTo>
                    <a:pt x="327" y="64"/>
                  </a:lnTo>
                  <a:lnTo>
                    <a:pt x="327" y="66"/>
                  </a:lnTo>
                  <a:lnTo>
                    <a:pt x="326" y="66"/>
                  </a:lnTo>
                  <a:lnTo>
                    <a:pt x="325" y="69"/>
                  </a:lnTo>
                  <a:lnTo>
                    <a:pt x="324" y="69"/>
                  </a:lnTo>
                  <a:lnTo>
                    <a:pt x="322" y="70"/>
                  </a:lnTo>
                  <a:lnTo>
                    <a:pt x="321" y="71"/>
                  </a:lnTo>
                  <a:lnTo>
                    <a:pt x="320" y="70"/>
                  </a:lnTo>
                  <a:lnTo>
                    <a:pt x="320" y="69"/>
                  </a:lnTo>
                  <a:lnTo>
                    <a:pt x="319" y="67"/>
                  </a:lnTo>
                  <a:lnTo>
                    <a:pt x="319" y="70"/>
                  </a:lnTo>
                  <a:lnTo>
                    <a:pt x="318" y="72"/>
                  </a:lnTo>
                  <a:lnTo>
                    <a:pt x="318" y="69"/>
                  </a:lnTo>
                  <a:lnTo>
                    <a:pt x="316" y="71"/>
                  </a:lnTo>
                  <a:lnTo>
                    <a:pt x="316" y="69"/>
                  </a:lnTo>
                  <a:lnTo>
                    <a:pt x="315" y="70"/>
                  </a:lnTo>
                  <a:lnTo>
                    <a:pt x="315" y="72"/>
                  </a:lnTo>
                  <a:lnTo>
                    <a:pt x="316" y="72"/>
                  </a:lnTo>
                  <a:lnTo>
                    <a:pt x="314" y="73"/>
                  </a:lnTo>
                  <a:lnTo>
                    <a:pt x="312" y="73"/>
                  </a:lnTo>
                  <a:lnTo>
                    <a:pt x="310" y="76"/>
                  </a:lnTo>
                  <a:lnTo>
                    <a:pt x="313" y="77"/>
                  </a:lnTo>
                  <a:lnTo>
                    <a:pt x="314" y="77"/>
                  </a:lnTo>
                  <a:lnTo>
                    <a:pt x="314" y="78"/>
                  </a:lnTo>
                  <a:lnTo>
                    <a:pt x="313" y="79"/>
                  </a:lnTo>
                  <a:lnTo>
                    <a:pt x="312" y="78"/>
                  </a:lnTo>
                  <a:lnTo>
                    <a:pt x="312" y="77"/>
                  </a:lnTo>
                  <a:lnTo>
                    <a:pt x="310" y="77"/>
                  </a:lnTo>
                  <a:lnTo>
                    <a:pt x="310" y="79"/>
                  </a:lnTo>
                  <a:lnTo>
                    <a:pt x="313" y="81"/>
                  </a:lnTo>
                  <a:lnTo>
                    <a:pt x="314" y="83"/>
                  </a:lnTo>
                  <a:lnTo>
                    <a:pt x="316" y="82"/>
                  </a:lnTo>
                  <a:lnTo>
                    <a:pt x="320" y="79"/>
                  </a:lnTo>
                  <a:lnTo>
                    <a:pt x="319" y="78"/>
                  </a:lnTo>
                  <a:lnTo>
                    <a:pt x="319" y="76"/>
                  </a:lnTo>
                  <a:lnTo>
                    <a:pt x="320" y="75"/>
                  </a:lnTo>
                  <a:lnTo>
                    <a:pt x="322" y="73"/>
                  </a:lnTo>
                  <a:lnTo>
                    <a:pt x="322" y="75"/>
                  </a:lnTo>
                  <a:lnTo>
                    <a:pt x="324" y="75"/>
                  </a:lnTo>
                  <a:lnTo>
                    <a:pt x="325" y="73"/>
                  </a:lnTo>
                  <a:lnTo>
                    <a:pt x="326" y="73"/>
                  </a:lnTo>
                  <a:lnTo>
                    <a:pt x="327" y="73"/>
                  </a:lnTo>
                  <a:lnTo>
                    <a:pt x="327" y="75"/>
                  </a:lnTo>
                  <a:lnTo>
                    <a:pt x="326" y="76"/>
                  </a:lnTo>
                  <a:lnTo>
                    <a:pt x="327" y="76"/>
                  </a:lnTo>
                  <a:lnTo>
                    <a:pt x="326" y="77"/>
                  </a:lnTo>
                  <a:lnTo>
                    <a:pt x="327" y="77"/>
                  </a:lnTo>
                  <a:lnTo>
                    <a:pt x="327" y="78"/>
                  </a:lnTo>
                  <a:lnTo>
                    <a:pt x="328" y="78"/>
                  </a:lnTo>
                  <a:lnTo>
                    <a:pt x="328" y="77"/>
                  </a:lnTo>
                  <a:lnTo>
                    <a:pt x="327" y="76"/>
                  </a:lnTo>
                  <a:lnTo>
                    <a:pt x="328" y="73"/>
                  </a:lnTo>
                  <a:lnTo>
                    <a:pt x="330" y="75"/>
                  </a:lnTo>
                  <a:lnTo>
                    <a:pt x="331" y="73"/>
                  </a:lnTo>
                  <a:lnTo>
                    <a:pt x="332" y="73"/>
                  </a:lnTo>
                  <a:lnTo>
                    <a:pt x="333" y="75"/>
                  </a:lnTo>
                  <a:lnTo>
                    <a:pt x="334" y="76"/>
                  </a:lnTo>
                  <a:lnTo>
                    <a:pt x="334" y="77"/>
                  </a:lnTo>
                  <a:lnTo>
                    <a:pt x="332" y="78"/>
                  </a:lnTo>
                  <a:lnTo>
                    <a:pt x="332" y="77"/>
                  </a:lnTo>
                  <a:lnTo>
                    <a:pt x="331" y="77"/>
                  </a:lnTo>
                  <a:lnTo>
                    <a:pt x="326" y="81"/>
                  </a:lnTo>
                  <a:lnTo>
                    <a:pt x="327" y="82"/>
                  </a:lnTo>
                  <a:lnTo>
                    <a:pt x="328" y="82"/>
                  </a:lnTo>
                  <a:lnTo>
                    <a:pt x="328" y="83"/>
                  </a:lnTo>
                  <a:lnTo>
                    <a:pt x="331" y="84"/>
                  </a:lnTo>
                  <a:lnTo>
                    <a:pt x="332" y="85"/>
                  </a:lnTo>
                  <a:lnTo>
                    <a:pt x="332" y="87"/>
                  </a:lnTo>
                  <a:lnTo>
                    <a:pt x="333" y="85"/>
                  </a:lnTo>
                  <a:lnTo>
                    <a:pt x="334" y="87"/>
                  </a:lnTo>
                  <a:lnTo>
                    <a:pt x="336" y="85"/>
                  </a:lnTo>
                  <a:lnTo>
                    <a:pt x="334" y="88"/>
                  </a:lnTo>
                  <a:lnTo>
                    <a:pt x="333" y="89"/>
                  </a:lnTo>
                  <a:lnTo>
                    <a:pt x="333" y="90"/>
                  </a:lnTo>
                  <a:lnTo>
                    <a:pt x="334" y="91"/>
                  </a:lnTo>
                  <a:lnTo>
                    <a:pt x="336" y="91"/>
                  </a:lnTo>
                  <a:lnTo>
                    <a:pt x="337" y="91"/>
                  </a:lnTo>
                  <a:lnTo>
                    <a:pt x="338" y="90"/>
                  </a:lnTo>
                  <a:lnTo>
                    <a:pt x="338" y="88"/>
                  </a:lnTo>
                  <a:lnTo>
                    <a:pt x="339" y="87"/>
                  </a:lnTo>
                  <a:lnTo>
                    <a:pt x="338" y="87"/>
                  </a:lnTo>
                  <a:lnTo>
                    <a:pt x="338" y="84"/>
                  </a:lnTo>
                  <a:lnTo>
                    <a:pt x="339" y="83"/>
                  </a:lnTo>
                  <a:lnTo>
                    <a:pt x="341" y="82"/>
                  </a:lnTo>
                  <a:lnTo>
                    <a:pt x="342" y="82"/>
                  </a:lnTo>
                  <a:lnTo>
                    <a:pt x="343" y="82"/>
                  </a:lnTo>
                  <a:lnTo>
                    <a:pt x="344" y="82"/>
                  </a:lnTo>
                  <a:lnTo>
                    <a:pt x="345" y="82"/>
                  </a:lnTo>
                  <a:lnTo>
                    <a:pt x="345" y="83"/>
                  </a:lnTo>
                  <a:lnTo>
                    <a:pt x="345" y="84"/>
                  </a:lnTo>
                  <a:lnTo>
                    <a:pt x="345" y="87"/>
                  </a:lnTo>
                  <a:lnTo>
                    <a:pt x="343" y="87"/>
                  </a:lnTo>
                  <a:lnTo>
                    <a:pt x="344" y="88"/>
                  </a:lnTo>
                  <a:lnTo>
                    <a:pt x="343" y="89"/>
                  </a:lnTo>
                  <a:lnTo>
                    <a:pt x="343" y="90"/>
                  </a:lnTo>
                  <a:lnTo>
                    <a:pt x="344" y="91"/>
                  </a:lnTo>
                  <a:lnTo>
                    <a:pt x="344" y="90"/>
                  </a:lnTo>
                  <a:lnTo>
                    <a:pt x="345" y="90"/>
                  </a:lnTo>
                  <a:lnTo>
                    <a:pt x="345" y="89"/>
                  </a:lnTo>
                  <a:lnTo>
                    <a:pt x="347" y="89"/>
                  </a:lnTo>
                  <a:lnTo>
                    <a:pt x="347" y="90"/>
                  </a:lnTo>
                  <a:lnTo>
                    <a:pt x="348" y="90"/>
                  </a:lnTo>
                  <a:lnTo>
                    <a:pt x="349" y="89"/>
                  </a:lnTo>
                  <a:lnTo>
                    <a:pt x="350" y="88"/>
                  </a:lnTo>
                  <a:lnTo>
                    <a:pt x="351" y="87"/>
                  </a:lnTo>
                  <a:lnTo>
                    <a:pt x="353" y="87"/>
                  </a:lnTo>
                  <a:lnTo>
                    <a:pt x="351" y="85"/>
                  </a:lnTo>
                  <a:lnTo>
                    <a:pt x="353" y="84"/>
                  </a:lnTo>
                  <a:lnTo>
                    <a:pt x="354" y="84"/>
                  </a:lnTo>
                  <a:lnTo>
                    <a:pt x="353" y="85"/>
                  </a:lnTo>
                  <a:lnTo>
                    <a:pt x="355" y="85"/>
                  </a:lnTo>
                  <a:lnTo>
                    <a:pt x="354" y="84"/>
                  </a:lnTo>
                  <a:lnTo>
                    <a:pt x="351" y="82"/>
                  </a:lnTo>
                  <a:lnTo>
                    <a:pt x="349" y="82"/>
                  </a:lnTo>
                  <a:lnTo>
                    <a:pt x="347" y="82"/>
                  </a:lnTo>
                  <a:lnTo>
                    <a:pt x="347" y="81"/>
                  </a:lnTo>
                  <a:lnTo>
                    <a:pt x="348" y="81"/>
                  </a:lnTo>
                  <a:lnTo>
                    <a:pt x="349" y="81"/>
                  </a:lnTo>
                  <a:lnTo>
                    <a:pt x="349" y="79"/>
                  </a:lnTo>
                  <a:lnTo>
                    <a:pt x="349" y="81"/>
                  </a:lnTo>
                  <a:lnTo>
                    <a:pt x="350" y="79"/>
                  </a:lnTo>
                  <a:lnTo>
                    <a:pt x="351" y="79"/>
                  </a:lnTo>
                  <a:lnTo>
                    <a:pt x="351" y="81"/>
                  </a:lnTo>
                  <a:lnTo>
                    <a:pt x="353" y="82"/>
                  </a:lnTo>
                  <a:lnTo>
                    <a:pt x="355" y="84"/>
                  </a:lnTo>
                  <a:lnTo>
                    <a:pt x="356" y="84"/>
                  </a:lnTo>
                  <a:lnTo>
                    <a:pt x="357" y="83"/>
                  </a:lnTo>
                  <a:lnTo>
                    <a:pt x="357" y="82"/>
                  </a:lnTo>
                  <a:lnTo>
                    <a:pt x="359" y="82"/>
                  </a:lnTo>
                  <a:lnTo>
                    <a:pt x="360" y="83"/>
                  </a:lnTo>
                  <a:lnTo>
                    <a:pt x="360" y="84"/>
                  </a:lnTo>
                  <a:lnTo>
                    <a:pt x="361" y="85"/>
                  </a:lnTo>
                  <a:lnTo>
                    <a:pt x="361" y="84"/>
                  </a:lnTo>
                  <a:lnTo>
                    <a:pt x="362" y="83"/>
                  </a:lnTo>
                  <a:lnTo>
                    <a:pt x="363" y="83"/>
                  </a:lnTo>
                  <a:lnTo>
                    <a:pt x="365" y="83"/>
                  </a:lnTo>
                  <a:lnTo>
                    <a:pt x="365" y="81"/>
                  </a:lnTo>
                  <a:lnTo>
                    <a:pt x="361" y="79"/>
                  </a:lnTo>
                  <a:lnTo>
                    <a:pt x="356" y="78"/>
                  </a:lnTo>
                  <a:lnTo>
                    <a:pt x="357" y="77"/>
                  </a:lnTo>
                  <a:lnTo>
                    <a:pt x="359" y="76"/>
                  </a:lnTo>
                  <a:lnTo>
                    <a:pt x="360" y="76"/>
                  </a:lnTo>
                  <a:lnTo>
                    <a:pt x="361" y="76"/>
                  </a:lnTo>
                  <a:lnTo>
                    <a:pt x="362" y="76"/>
                  </a:lnTo>
                  <a:lnTo>
                    <a:pt x="363" y="75"/>
                  </a:lnTo>
                  <a:lnTo>
                    <a:pt x="365" y="76"/>
                  </a:lnTo>
                  <a:lnTo>
                    <a:pt x="365" y="77"/>
                  </a:lnTo>
                  <a:lnTo>
                    <a:pt x="366" y="81"/>
                  </a:lnTo>
                  <a:lnTo>
                    <a:pt x="367" y="82"/>
                  </a:lnTo>
                  <a:lnTo>
                    <a:pt x="368" y="81"/>
                  </a:lnTo>
                  <a:lnTo>
                    <a:pt x="369" y="79"/>
                  </a:lnTo>
                  <a:lnTo>
                    <a:pt x="371" y="77"/>
                  </a:lnTo>
                  <a:lnTo>
                    <a:pt x="371" y="76"/>
                  </a:lnTo>
                  <a:lnTo>
                    <a:pt x="372" y="75"/>
                  </a:lnTo>
                  <a:lnTo>
                    <a:pt x="373" y="76"/>
                  </a:lnTo>
                  <a:lnTo>
                    <a:pt x="373" y="77"/>
                  </a:lnTo>
                  <a:lnTo>
                    <a:pt x="374" y="78"/>
                  </a:lnTo>
                  <a:lnTo>
                    <a:pt x="375" y="77"/>
                  </a:lnTo>
                  <a:lnTo>
                    <a:pt x="377" y="77"/>
                  </a:lnTo>
                  <a:lnTo>
                    <a:pt x="378" y="78"/>
                  </a:lnTo>
                  <a:lnTo>
                    <a:pt x="379" y="79"/>
                  </a:lnTo>
                  <a:lnTo>
                    <a:pt x="377" y="81"/>
                  </a:lnTo>
                  <a:lnTo>
                    <a:pt x="375" y="81"/>
                  </a:lnTo>
                  <a:lnTo>
                    <a:pt x="374" y="81"/>
                  </a:lnTo>
                  <a:lnTo>
                    <a:pt x="373" y="81"/>
                  </a:lnTo>
                  <a:lnTo>
                    <a:pt x="373" y="82"/>
                  </a:lnTo>
                  <a:lnTo>
                    <a:pt x="372" y="82"/>
                  </a:lnTo>
                  <a:lnTo>
                    <a:pt x="373" y="83"/>
                  </a:lnTo>
                  <a:lnTo>
                    <a:pt x="374" y="85"/>
                  </a:lnTo>
                  <a:lnTo>
                    <a:pt x="375" y="84"/>
                  </a:lnTo>
                  <a:lnTo>
                    <a:pt x="377" y="85"/>
                  </a:lnTo>
                  <a:lnTo>
                    <a:pt x="377" y="84"/>
                  </a:lnTo>
                  <a:lnTo>
                    <a:pt x="379" y="84"/>
                  </a:lnTo>
                  <a:lnTo>
                    <a:pt x="378" y="83"/>
                  </a:lnTo>
                  <a:lnTo>
                    <a:pt x="377" y="82"/>
                  </a:lnTo>
                  <a:lnTo>
                    <a:pt x="378" y="82"/>
                  </a:lnTo>
                  <a:lnTo>
                    <a:pt x="380" y="79"/>
                  </a:lnTo>
                  <a:lnTo>
                    <a:pt x="381" y="78"/>
                  </a:lnTo>
                  <a:lnTo>
                    <a:pt x="381" y="76"/>
                  </a:lnTo>
                  <a:lnTo>
                    <a:pt x="384" y="77"/>
                  </a:lnTo>
                  <a:lnTo>
                    <a:pt x="384" y="76"/>
                  </a:lnTo>
                  <a:lnTo>
                    <a:pt x="384" y="75"/>
                  </a:lnTo>
                  <a:lnTo>
                    <a:pt x="384" y="73"/>
                  </a:lnTo>
                  <a:lnTo>
                    <a:pt x="384" y="72"/>
                  </a:lnTo>
                  <a:lnTo>
                    <a:pt x="385" y="71"/>
                  </a:lnTo>
                  <a:lnTo>
                    <a:pt x="384" y="71"/>
                  </a:lnTo>
                  <a:lnTo>
                    <a:pt x="385" y="70"/>
                  </a:lnTo>
                  <a:lnTo>
                    <a:pt x="386" y="70"/>
                  </a:lnTo>
                  <a:lnTo>
                    <a:pt x="385" y="69"/>
                  </a:lnTo>
                  <a:lnTo>
                    <a:pt x="386" y="67"/>
                  </a:lnTo>
                  <a:lnTo>
                    <a:pt x="387" y="66"/>
                  </a:lnTo>
                  <a:lnTo>
                    <a:pt x="389" y="66"/>
                  </a:lnTo>
                  <a:lnTo>
                    <a:pt x="391" y="66"/>
                  </a:lnTo>
                  <a:lnTo>
                    <a:pt x="390" y="65"/>
                  </a:lnTo>
                  <a:lnTo>
                    <a:pt x="389" y="64"/>
                  </a:lnTo>
                  <a:lnTo>
                    <a:pt x="386" y="65"/>
                  </a:lnTo>
                  <a:lnTo>
                    <a:pt x="387" y="64"/>
                  </a:lnTo>
                  <a:lnTo>
                    <a:pt x="389" y="63"/>
                  </a:lnTo>
                  <a:lnTo>
                    <a:pt x="391" y="64"/>
                  </a:lnTo>
                  <a:lnTo>
                    <a:pt x="392" y="64"/>
                  </a:lnTo>
                  <a:lnTo>
                    <a:pt x="392" y="65"/>
                  </a:lnTo>
                  <a:lnTo>
                    <a:pt x="395" y="65"/>
                  </a:lnTo>
                  <a:lnTo>
                    <a:pt x="395" y="66"/>
                  </a:lnTo>
                  <a:lnTo>
                    <a:pt x="397" y="64"/>
                  </a:lnTo>
                  <a:lnTo>
                    <a:pt x="397" y="61"/>
                  </a:lnTo>
                  <a:lnTo>
                    <a:pt x="398" y="60"/>
                  </a:lnTo>
                  <a:lnTo>
                    <a:pt x="399" y="60"/>
                  </a:lnTo>
                  <a:lnTo>
                    <a:pt x="399" y="63"/>
                  </a:lnTo>
                  <a:lnTo>
                    <a:pt x="401" y="61"/>
                  </a:lnTo>
                  <a:lnTo>
                    <a:pt x="402" y="60"/>
                  </a:lnTo>
                  <a:lnTo>
                    <a:pt x="403" y="60"/>
                  </a:lnTo>
                  <a:lnTo>
                    <a:pt x="404" y="61"/>
                  </a:lnTo>
                  <a:lnTo>
                    <a:pt x="406" y="61"/>
                  </a:lnTo>
                  <a:lnTo>
                    <a:pt x="407" y="61"/>
                  </a:lnTo>
                  <a:lnTo>
                    <a:pt x="404" y="63"/>
                  </a:lnTo>
                  <a:lnTo>
                    <a:pt x="401" y="64"/>
                  </a:lnTo>
                  <a:lnTo>
                    <a:pt x="402" y="66"/>
                  </a:lnTo>
                  <a:lnTo>
                    <a:pt x="403" y="65"/>
                  </a:lnTo>
                  <a:lnTo>
                    <a:pt x="407" y="63"/>
                  </a:lnTo>
                  <a:lnTo>
                    <a:pt x="404" y="65"/>
                  </a:lnTo>
                  <a:lnTo>
                    <a:pt x="406" y="67"/>
                  </a:lnTo>
                  <a:lnTo>
                    <a:pt x="404" y="67"/>
                  </a:lnTo>
                  <a:lnTo>
                    <a:pt x="403" y="69"/>
                  </a:lnTo>
                  <a:lnTo>
                    <a:pt x="404" y="69"/>
                  </a:lnTo>
                  <a:lnTo>
                    <a:pt x="406" y="70"/>
                  </a:lnTo>
                  <a:lnTo>
                    <a:pt x="408" y="70"/>
                  </a:lnTo>
                  <a:lnTo>
                    <a:pt x="408" y="71"/>
                  </a:lnTo>
                  <a:lnTo>
                    <a:pt x="410" y="71"/>
                  </a:lnTo>
                  <a:lnTo>
                    <a:pt x="412" y="72"/>
                  </a:lnTo>
                  <a:lnTo>
                    <a:pt x="410" y="72"/>
                  </a:lnTo>
                  <a:lnTo>
                    <a:pt x="412" y="72"/>
                  </a:lnTo>
                  <a:lnTo>
                    <a:pt x="412" y="75"/>
                  </a:lnTo>
                  <a:lnTo>
                    <a:pt x="409" y="75"/>
                  </a:lnTo>
                  <a:lnTo>
                    <a:pt x="410" y="76"/>
                  </a:lnTo>
                  <a:lnTo>
                    <a:pt x="412" y="77"/>
                  </a:lnTo>
                  <a:lnTo>
                    <a:pt x="413" y="76"/>
                  </a:lnTo>
                  <a:lnTo>
                    <a:pt x="414" y="77"/>
                  </a:lnTo>
                  <a:lnTo>
                    <a:pt x="414" y="79"/>
                  </a:lnTo>
                  <a:lnTo>
                    <a:pt x="415" y="81"/>
                  </a:lnTo>
                  <a:lnTo>
                    <a:pt x="414" y="82"/>
                  </a:lnTo>
                  <a:lnTo>
                    <a:pt x="414" y="84"/>
                  </a:lnTo>
                  <a:lnTo>
                    <a:pt x="413" y="85"/>
                  </a:lnTo>
                  <a:lnTo>
                    <a:pt x="413" y="82"/>
                  </a:lnTo>
                  <a:lnTo>
                    <a:pt x="412" y="78"/>
                  </a:lnTo>
                  <a:lnTo>
                    <a:pt x="409" y="78"/>
                  </a:lnTo>
                  <a:lnTo>
                    <a:pt x="407" y="76"/>
                  </a:lnTo>
                  <a:lnTo>
                    <a:pt x="407" y="77"/>
                  </a:lnTo>
                  <a:lnTo>
                    <a:pt x="407" y="79"/>
                  </a:lnTo>
                  <a:lnTo>
                    <a:pt x="407" y="82"/>
                  </a:lnTo>
                  <a:lnTo>
                    <a:pt x="406" y="83"/>
                  </a:lnTo>
                  <a:lnTo>
                    <a:pt x="404" y="84"/>
                  </a:lnTo>
                  <a:lnTo>
                    <a:pt x="402" y="84"/>
                  </a:lnTo>
                  <a:lnTo>
                    <a:pt x="402" y="83"/>
                  </a:lnTo>
                  <a:lnTo>
                    <a:pt x="399" y="84"/>
                  </a:lnTo>
                  <a:lnTo>
                    <a:pt x="395" y="85"/>
                  </a:lnTo>
                  <a:lnTo>
                    <a:pt x="392" y="85"/>
                  </a:lnTo>
                  <a:lnTo>
                    <a:pt x="392" y="87"/>
                  </a:lnTo>
                  <a:lnTo>
                    <a:pt x="392" y="88"/>
                  </a:lnTo>
                  <a:lnTo>
                    <a:pt x="395" y="87"/>
                  </a:lnTo>
                  <a:lnTo>
                    <a:pt x="393" y="88"/>
                  </a:lnTo>
                  <a:lnTo>
                    <a:pt x="396" y="87"/>
                  </a:lnTo>
                  <a:lnTo>
                    <a:pt x="398" y="85"/>
                  </a:lnTo>
                  <a:lnTo>
                    <a:pt x="402" y="85"/>
                  </a:lnTo>
                  <a:lnTo>
                    <a:pt x="404" y="85"/>
                  </a:lnTo>
                  <a:lnTo>
                    <a:pt x="407" y="85"/>
                  </a:lnTo>
                  <a:lnTo>
                    <a:pt x="407" y="88"/>
                  </a:lnTo>
                  <a:lnTo>
                    <a:pt x="406" y="88"/>
                  </a:lnTo>
                  <a:lnTo>
                    <a:pt x="404" y="88"/>
                  </a:lnTo>
                  <a:lnTo>
                    <a:pt x="406" y="89"/>
                  </a:lnTo>
                  <a:lnTo>
                    <a:pt x="403" y="89"/>
                  </a:lnTo>
                  <a:lnTo>
                    <a:pt x="403" y="90"/>
                  </a:lnTo>
                  <a:lnTo>
                    <a:pt x="403" y="91"/>
                  </a:lnTo>
                  <a:lnTo>
                    <a:pt x="401" y="91"/>
                  </a:lnTo>
                  <a:lnTo>
                    <a:pt x="402" y="93"/>
                  </a:lnTo>
                  <a:lnTo>
                    <a:pt x="404" y="94"/>
                  </a:lnTo>
                  <a:lnTo>
                    <a:pt x="404" y="95"/>
                  </a:lnTo>
                  <a:lnTo>
                    <a:pt x="403" y="96"/>
                  </a:lnTo>
                  <a:lnTo>
                    <a:pt x="403" y="97"/>
                  </a:lnTo>
                  <a:lnTo>
                    <a:pt x="402" y="96"/>
                  </a:lnTo>
                  <a:lnTo>
                    <a:pt x="401" y="96"/>
                  </a:lnTo>
                  <a:lnTo>
                    <a:pt x="399" y="95"/>
                  </a:lnTo>
                  <a:lnTo>
                    <a:pt x="398" y="91"/>
                  </a:lnTo>
                  <a:lnTo>
                    <a:pt x="398" y="90"/>
                  </a:lnTo>
                  <a:lnTo>
                    <a:pt x="397" y="89"/>
                  </a:lnTo>
                  <a:lnTo>
                    <a:pt x="396" y="89"/>
                  </a:lnTo>
                  <a:lnTo>
                    <a:pt x="395" y="90"/>
                  </a:lnTo>
                  <a:lnTo>
                    <a:pt x="395" y="93"/>
                  </a:lnTo>
                  <a:lnTo>
                    <a:pt x="393" y="94"/>
                  </a:lnTo>
                  <a:lnTo>
                    <a:pt x="390" y="97"/>
                  </a:lnTo>
                  <a:lnTo>
                    <a:pt x="390" y="95"/>
                  </a:lnTo>
                  <a:lnTo>
                    <a:pt x="391" y="94"/>
                  </a:lnTo>
                  <a:lnTo>
                    <a:pt x="389" y="95"/>
                  </a:lnTo>
                  <a:lnTo>
                    <a:pt x="385" y="100"/>
                  </a:lnTo>
                  <a:lnTo>
                    <a:pt x="386" y="96"/>
                  </a:lnTo>
                  <a:lnTo>
                    <a:pt x="386" y="95"/>
                  </a:lnTo>
                  <a:lnTo>
                    <a:pt x="386" y="94"/>
                  </a:lnTo>
                  <a:lnTo>
                    <a:pt x="385" y="94"/>
                  </a:lnTo>
                  <a:lnTo>
                    <a:pt x="384" y="96"/>
                  </a:lnTo>
                  <a:lnTo>
                    <a:pt x="383" y="97"/>
                  </a:lnTo>
                  <a:lnTo>
                    <a:pt x="383" y="100"/>
                  </a:lnTo>
                  <a:lnTo>
                    <a:pt x="381" y="101"/>
                  </a:lnTo>
                  <a:lnTo>
                    <a:pt x="381" y="102"/>
                  </a:lnTo>
                  <a:lnTo>
                    <a:pt x="380" y="103"/>
                  </a:lnTo>
                  <a:lnTo>
                    <a:pt x="381" y="102"/>
                  </a:lnTo>
                  <a:lnTo>
                    <a:pt x="383" y="103"/>
                  </a:lnTo>
                  <a:lnTo>
                    <a:pt x="383" y="102"/>
                  </a:lnTo>
                  <a:lnTo>
                    <a:pt x="383" y="105"/>
                  </a:lnTo>
                  <a:lnTo>
                    <a:pt x="381" y="107"/>
                  </a:lnTo>
                  <a:lnTo>
                    <a:pt x="381" y="108"/>
                  </a:lnTo>
                  <a:lnTo>
                    <a:pt x="380" y="109"/>
                  </a:lnTo>
                  <a:lnTo>
                    <a:pt x="381" y="112"/>
                  </a:lnTo>
                  <a:lnTo>
                    <a:pt x="383" y="111"/>
                  </a:lnTo>
                  <a:lnTo>
                    <a:pt x="384" y="111"/>
                  </a:lnTo>
                  <a:lnTo>
                    <a:pt x="386" y="111"/>
                  </a:lnTo>
                  <a:lnTo>
                    <a:pt x="387" y="111"/>
                  </a:lnTo>
                  <a:lnTo>
                    <a:pt x="389" y="112"/>
                  </a:lnTo>
                  <a:lnTo>
                    <a:pt x="389" y="113"/>
                  </a:lnTo>
                  <a:lnTo>
                    <a:pt x="387" y="113"/>
                  </a:lnTo>
                  <a:lnTo>
                    <a:pt x="387" y="114"/>
                  </a:lnTo>
                  <a:lnTo>
                    <a:pt x="387" y="115"/>
                  </a:lnTo>
                  <a:lnTo>
                    <a:pt x="387" y="118"/>
                  </a:lnTo>
                  <a:lnTo>
                    <a:pt x="385" y="115"/>
                  </a:lnTo>
                  <a:lnTo>
                    <a:pt x="384" y="115"/>
                  </a:lnTo>
                  <a:lnTo>
                    <a:pt x="383" y="114"/>
                  </a:lnTo>
                  <a:lnTo>
                    <a:pt x="381" y="113"/>
                  </a:lnTo>
                  <a:lnTo>
                    <a:pt x="381" y="114"/>
                  </a:lnTo>
                  <a:lnTo>
                    <a:pt x="379" y="115"/>
                  </a:lnTo>
                  <a:lnTo>
                    <a:pt x="381" y="115"/>
                  </a:lnTo>
                  <a:lnTo>
                    <a:pt x="379" y="115"/>
                  </a:lnTo>
                  <a:lnTo>
                    <a:pt x="380" y="117"/>
                  </a:lnTo>
                  <a:lnTo>
                    <a:pt x="381" y="118"/>
                  </a:lnTo>
                  <a:lnTo>
                    <a:pt x="384" y="118"/>
                  </a:lnTo>
                  <a:lnTo>
                    <a:pt x="385" y="117"/>
                  </a:lnTo>
                  <a:lnTo>
                    <a:pt x="386" y="118"/>
                  </a:lnTo>
                  <a:lnTo>
                    <a:pt x="386" y="119"/>
                  </a:lnTo>
                  <a:lnTo>
                    <a:pt x="387" y="120"/>
                  </a:lnTo>
                  <a:lnTo>
                    <a:pt x="386" y="120"/>
                  </a:lnTo>
                  <a:lnTo>
                    <a:pt x="387" y="121"/>
                  </a:lnTo>
                  <a:lnTo>
                    <a:pt x="386" y="123"/>
                  </a:lnTo>
                  <a:lnTo>
                    <a:pt x="385" y="120"/>
                  </a:lnTo>
                  <a:lnTo>
                    <a:pt x="383" y="118"/>
                  </a:lnTo>
                  <a:lnTo>
                    <a:pt x="383" y="119"/>
                  </a:lnTo>
                  <a:lnTo>
                    <a:pt x="383" y="120"/>
                  </a:lnTo>
                  <a:lnTo>
                    <a:pt x="383" y="123"/>
                  </a:lnTo>
                  <a:lnTo>
                    <a:pt x="383" y="126"/>
                  </a:lnTo>
                  <a:lnTo>
                    <a:pt x="381" y="123"/>
                  </a:lnTo>
                  <a:lnTo>
                    <a:pt x="380" y="124"/>
                  </a:lnTo>
                  <a:lnTo>
                    <a:pt x="380" y="123"/>
                  </a:lnTo>
                  <a:lnTo>
                    <a:pt x="380" y="120"/>
                  </a:lnTo>
                  <a:lnTo>
                    <a:pt x="379" y="120"/>
                  </a:lnTo>
                  <a:lnTo>
                    <a:pt x="378" y="119"/>
                  </a:lnTo>
                  <a:lnTo>
                    <a:pt x="379" y="120"/>
                  </a:lnTo>
                  <a:lnTo>
                    <a:pt x="378" y="125"/>
                  </a:lnTo>
                  <a:lnTo>
                    <a:pt x="375" y="123"/>
                  </a:lnTo>
                  <a:lnTo>
                    <a:pt x="375" y="120"/>
                  </a:lnTo>
                  <a:lnTo>
                    <a:pt x="375" y="121"/>
                  </a:lnTo>
                  <a:lnTo>
                    <a:pt x="375" y="125"/>
                  </a:lnTo>
                  <a:lnTo>
                    <a:pt x="377" y="127"/>
                  </a:lnTo>
                  <a:lnTo>
                    <a:pt x="377" y="130"/>
                  </a:lnTo>
                  <a:lnTo>
                    <a:pt x="377" y="131"/>
                  </a:lnTo>
                  <a:lnTo>
                    <a:pt x="375" y="131"/>
                  </a:lnTo>
                  <a:lnTo>
                    <a:pt x="375" y="132"/>
                  </a:lnTo>
                  <a:lnTo>
                    <a:pt x="375" y="133"/>
                  </a:lnTo>
                  <a:lnTo>
                    <a:pt x="374" y="136"/>
                  </a:lnTo>
                  <a:lnTo>
                    <a:pt x="374" y="133"/>
                  </a:lnTo>
                  <a:lnTo>
                    <a:pt x="373" y="133"/>
                  </a:lnTo>
                  <a:lnTo>
                    <a:pt x="373" y="132"/>
                  </a:lnTo>
                  <a:lnTo>
                    <a:pt x="372" y="131"/>
                  </a:lnTo>
                  <a:lnTo>
                    <a:pt x="372" y="130"/>
                  </a:lnTo>
                  <a:lnTo>
                    <a:pt x="371" y="130"/>
                  </a:lnTo>
                  <a:lnTo>
                    <a:pt x="372" y="129"/>
                  </a:lnTo>
                  <a:lnTo>
                    <a:pt x="372" y="126"/>
                  </a:lnTo>
                  <a:lnTo>
                    <a:pt x="374" y="125"/>
                  </a:lnTo>
                  <a:lnTo>
                    <a:pt x="374" y="123"/>
                  </a:lnTo>
                  <a:lnTo>
                    <a:pt x="373" y="124"/>
                  </a:lnTo>
                  <a:lnTo>
                    <a:pt x="372" y="125"/>
                  </a:lnTo>
                  <a:lnTo>
                    <a:pt x="373" y="123"/>
                  </a:lnTo>
                  <a:lnTo>
                    <a:pt x="372" y="124"/>
                  </a:lnTo>
                  <a:lnTo>
                    <a:pt x="371" y="124"/>
                  </a:lnTo>
                  <a:lnTo>
                    <a:pt x="369" y="125"/>
                  </a:lnTo>
                  <a:lnTo>
                    <a:pt x="369" y="124"/>
                  </a:lnTo>
                  <a:lnTo>
                    <a:pt x="368" y="124"/>
                  </a:lnTo>
                  <a:lnTo>
                    <a:pt x="366" y="124"/>
                  </a:lnTo>
                  <a:lnTo>
                    <a:pt x="365" y="124"/>
                  </a:lnTo>
                  <a:lnTo>
                    <a:pt x="367" y="125"/>
                  </a:lnTo>
                  <a:lnTo>
                    <a:pt x="365" y="126"/>
                  </a:lnTo>
                  <a:lnTo>
                    <a:pt x="363" y="129"/>
                  </a:lnTo>
                  <a:lnTo>
                    <a:pt x="362" y="131"/>
                  </a:lnTo>
                  <a:lnTo>
                    <a:pt x="363" y="131"/>
                  </a:lnTo>
                  <a:lnTo>
                    <a:pt x="366" y="132"/>
                  </a:lnTo>
                  <a:lnTo>
                    <a:pt x="365" y="133"/>
                  </a:lnTo>
                  <a:lnTo>
                    <a:pt x="366" y="133"/>
                  </a:lnTo>
                  <a:lnTo>
                    <a:pt x="366" y="135"/>
                  </a:lnTo>
                  <a:lnTo>
                    <a:pt x="366" y="136"/>
                  </a:lnTo>
                  <a:lnTo>
                    <a:pt x="368" y="137"/>
                  </a:lnTo>
                  <a:lnTo>
                    <a:pt x="369" y="136"/>
                  </a:lnTo>
                  <a:lnTo>
                    <a:pt x="368" y="136"/>
                  </a:lnTo>
                  <a:lnTo>
                    <a:pt x="367" y="135"/>
                  </a:lnTo>
                  <a:lnTo>
                    <a:pt x="369" y="133"/>
                  </a:lnTo>
                  <a:lnTo>
                    <a:pt x="372" y="135"/>
                  </a:lnTo>
                  <a:lnTo>
                    <a:pt x="372" y="136"/>
                  </a:lnTo>
                  <a:lnTo>
                    <a:pt x="373" y="136"/>
                  </a:lnTo>
                  <a:lnTo>
                    <a:pt x="374" y="137"/>
                  </a:lnTo>
                  <a:lnTo>
                    <a:pt x="377" y="136"/>
                  </a:lnTo>
                  <a:lnTo>
                    <a:pt x="378" y="135"/>
                  </a:lnTo>
                  <a:lnTo>
                    <a:pt x="380" y="133"/>
                  </a:lnTo>
                  <a:lnTo>
                    <a:pt x="380" y="135"/>
                  </a:lnTo>
                  <a:lnTo>
                    <a:pt x="380" y="137"/>
                  </a:lnTo>
                  <a:lnTo>
                    <a:pt x="383" y="137"/>
                  </a:lnTo>
                  <a:lnTo>
                    <a:pt x="381" y="136"/>
                  </a:lnTo>
                  <a:lnTo>
                    <a:pt x="381" y="135"/>
                  </a:lnTo>
                  <a:lnTo>
                    <a:pt x="383" y="135"/>
                  </a:lnTo>
                  <a:lnTo>
                    <a:pt x="384" y="135"/>
                  </a:lnTo>
                  <a:lnTo>
                    <a:pt x="385" y="135"/>
                  </a:lnTo>
                  <a:lnTo>
                    <a:pt x="386" y="135"/>
                  </a:lnTo>
                  <a:lnTo>
                    <a:pt x="385" y="136"/>
                  </a:lnTo>
                  <a:lnTo>
                    <a:pt x="386" y="135"/>
                  </a:lnTo>
                  <a:lnTo>
                    <a:pt x="385" y="131"/>
                  </a:lnTo>
                  <a:lnTo>
                    <a:pt x="383" y="132"/>
                  </a:lnTo>
                  <a:lnTo>
                    <a:pt x="381" y="133"/>
                  </a:lnTo>
                  <a:lnTo>
                    <a:pt x="380" y="132"/>
                  </a:lnTo>
                  <a:lnTo>
                    <a:pt x="380" y="131"/>
                  </a:lnTo>
                  <a:lnTo>
                    <a:pt x="379" y="130"/>
                  </a:lnTo>
                  <a:lnTo>
                    <a:pt x="381" y="130"/>
                  </a:lnTo>
                  <a:lnTo>
                    <a:pt x="385" y="130"/>
                  </a:lnTo>
                  <a:lnTo>
                    <a:pt x="387" y="130"/>
                  </a:lnTo>
                  <a:lnTo>
                    <a:pt x="386" y="131"/>
                  </a:lnTo>
                  <a:lnTo>
                    <a:pt x="387" y="133"/>
                  </a:lnTo>
                  <a:lnTo>
                    <a:pt x="389" y="133"/>
                  </a:lnTo>
                  <a:lnTo>
                    <a:pt x="389" y="132"/>
                  </a:lnTo>
                  <a:lnTo>
                    <a:pt x="390" y="132"/>
                  </a:lnTo>
                  <a:lnTo>
                    <a:pt x="391" y="131"/>
                  </a:lnTo>
                  <a:lnTo>
                    <a:pt x="391" y="130"/>
                  </a:lnTo>
                  <a:lnTo>
                    <a:pt x="392" y="131"/>
                  </a:lnTo>
                  <a:lnTo>
                    <a:pt x="392" y="132"/>
                  </a:lnTo>
                  <a:lnTo>
                    <a:pt x="393" y="132"/>
                  </a:lnTo>
                  <a:lnTo>
                    <a:pt x="392" y="135"/>
                  </a:lnTo>
                  <a:lnTo>
                    <a:pt x="392" y="136"/>
                  </a:lnTo>
                  <a:lnTo>
                    <a:pt x="395" y="135"/>
                  </a:lnTo>
                  <a:lnTo>
                    <a:pt x="396" y="133"/>
                  </a:lnTo>
                  <a:lnTo>
                    <a:pt x="397" y="132"/>
                  </a:lnTo>
                  <a:lnTo>
                    <a:pt x="399" y="132"/>
                  </a:lnTo>
                  <a:lnTo>
                    <a:pt x="396" y="136"/>
                  </a:lnTo>
                  <a:lnTo>
                    <a:pt x="395" y="138"/>
                  </a:lnTo>
                  <a:lnTo>
                    <a:pt x="393" y="142"/>
                  </a:lnTo>
                  <a:lnTo>
                    <a:pt x="395" y="143"/>
                  </a:lnTo>
                  <a:lnTo>
                    <a:pt x="396" y="141"/>
                  </a:lnTo>
                  <a:lnTo>
                    <a:pt x="397" y="138"/>
                  </a:lnTo>
                  <a:lnTo>
                    <a:pt x="397" y="137"/>
                  </a:lnTo>
                  <a:lnTo>
                    <a:pt x="398" y="136"/>
                  </a:lnTo>
                  <a:lnTo>
                    <a:pt x="399" y="137"/>
                  </a:lnTo>
                  <a:lnTo>
                    <a:pt x="401" y="137"/>
                  </a:lnTo>
                  <a:lnTo>
                    <a:pt x="401" y="138"/>
                  </a:lnTo>
                  <a:lnTo>
                    <a:pt x="401" y="139"/>
                  </a:lnTo>
                  <a:lnTo>
                    <a:pt x="401" y="141"/>
                  </a:lnTo>
                  <a:lnTo>
                    <a:pt x="399" y="142"/>
                  </a:lnTo>
                  <a:lnTo>
                    <a:pt x="399" y="144"/>
                  </a:lnTo>
                  <a:lnTo>
                    <a:pt x="401" y="143"/>
                  </a:lnTo>
                  <a:lnTo>
                    <a:pt x="403" y="142"/>
                  </a:lnTo>
                  <a:lnTo>
                    <a:pt x="406" y="142"/>
                  </a:lnTo>
                  <a:lnTo>
                    <a:pt x="407" y="143"/>
                  </a:lnTo>
                  <a:lnTo>
                    <a:pt x="408" y="142"/>
                  </a:lnTo>
                  <a:lnTo>
                    <a:pt x="408" y="143"/>
                  </a:lnTo>
                  <a:lnTo>
                    <a:pt x="409" y="143"/>
                  </a:lnTo>
                  <a:lnTo>
                    <a:pt x="408" y="144"/>
                  </a:lnTo>
                  <a:lnTo>
                    <a:pt x="404" y="146"/>
                  </a:lnTo>
                  <a:lnTo>
                    <a:pt x="403" y="146"/>
                  </a:lnTo>
                  <a:lnTo>
                    <a:pt x="399" y="146"/>
                  </a:lnTo>
                  <a:lnTo>
                    <a:pt x="401" y="147"/>
                  </a:lnTo>
                  <a:lnTo>
                    <a:pt x="402" y="147"/>
                  </a:lnTo>
                  <a:lnTo>
                    <a:pt x="403" y="146"/>
                  </a:lnTo>
                  <a:lnTo>
                    <a:pt x="404" y="147"/>
                  </a:lnTo>
                  <a:lnTo>
                    <a:pt x="406" y="147"/>
                  </a:lnTo>
                  <a:lnTo>
                    <a:pt x="407" y="147"/>
                  </a:lnTo>
                  <a:lnTo>
                    <a:pt x="408" y="148"/>
                  </a:lnTo>
                  <a:lnTo>
                    <a:pt x="409" y="147"/>
                  </a:lnTo>
                  <a:lnTo>
                    <a:pt x="410" y="148"/>
                  </a:lnTo>
                  <a:lnTo>
                    <a:pt x="410" y="147"/>
                  </a:lnTo>
                  <a:lnTo>
                    <a:pt x="410" y="143"/>
                  </a:lnTo>
                  <a:lnTo>
                    <a:pt x="412" y="142"/>
                  </a:lnTo>
                  <a:lnTo>
                    <a:pt x="413" y="141"/>
                  </a:lnTo>
                  <a:lnTo>
                    <a:pt x="410" y="141"/>
                  </a:lnTo>
                  <a:lnTo>
                    <a:pt x="410" y="139"/>
                  </a:lnTo>
                  <a:lnTo>
                    <a:pt x="412" y="137"/>
                  </a:lnTo>
                  <a:lnTo>
                    <a:pt x="414" y="137"/>
                  </a:lnTo>
                  <a:lnTo>
                    <a:pt x="415" y="135"/>
                  </a:lnTo>
                  <a:lnTo>
                    <a:pt x="415" y="136"/>
                  </a:lnTo>
                  <a:lnTo>
                    <a:pt x="415" y="138"/>
                  </a:lnTo>
                  <a:lnTo>
                    <a:pt x="415" y="139"/>
                  </a:lnTo>
                  <a:lnTo>
                    <a:pt x="416" y="141"/>
                  </a:lnTo>
                  <a:lnTo>
                    <a:pt x="416" y="143"/>
                  </a:lnTo>
                  <a:lnTo>
                    <a:pt x="418" y="143"/>
                  </a:lnTo>
                  <a:lnTo>
                    <a:pt x="419" y="144"/>
                  </a:lnTo>
                  <a:lnTo>
                    <a:pt x="418" y="144"/>
                  </a:lnTo>
                  <a:lnTo>
                    <a:pt x="419" y="146"/>
                  </a:lnTo>
                  <a:lnTo>
                    <a:pt x="421" y="147"/>
                  </a:lnTo>
                  <a:lnTo>
                    <a:pt x="422" y="147"/>
                  </a:lnTo>
                  <a:lnTo>
                    <a:pt x="421" y="146"/>
                  </a:lnTo>
                  <a:lnTo>
                    <a:pt x="422" y="146"/>
                  </a:lnTo>
                  <a:lnTo>
                    <a:pt x="426" y="146"/>
                  </a:lnTo>
                  <a:lnTo>
                    <a:pt x="424" y="147"/>
                  </a:lnTo>
                  <a:lnTo>
                    <a:pt x="422" y="148"/>
                  </a:lnTo>
                  <a:lnTo>
                    <a:pt x="424" y="147"/>
                  </a:lnTo>
                  <a:lnTo>
                    <a:pt x="426" y="148"/>
                  </a:lnTo>
                  <a:lnTo>
                    <a:pt x="427" y="149"/>
                  </a:lnTo>
                  <a:lnTo>
                    <a:pt x="426" y="150"/>
                  </a:lnTo>
                  <a:lnTo>
                    <a:pt x="425" y="152"/>
                  </a:lnTo>
                  <a:lnTo>
                    <a:pt x="425" y="153"/>
                  </a:lnTo>
                  <a:lnTo>
                    <a:pt x="422" y="152"/>
                  </a:lnTo>
                  <a:lnTo>
                    <a:pt x="421" y="153"/>
                  </a:lnTo>
                  <a:lnTo>
                    <a:pt x="420" y="154"/>
                  </a:lnTo>
                  <a:lnTo>
                    <a:pt x="421" y="154"/>
                  </a:lnTo>
                  <a:lnTo>
                    <a:pt x="420" y="155"/>
                  </a:lnTo>
                  <a:lnTo>
                    <a:pt x="419" y="158"/>
                  </a:lnTo>
                  <a:lnTo>
                    <a:pt x="419" y="159"/>
                  </a:lnTo>
                  <a:lnTo>
                    <a:pt x="418" y="159"/>
                  </a:lnTo>
                  <a:lnTo>
                    <a:pt x="418" y="161"/>
                  </a:lnTo>
                  <a:lnTo>
                    <a:pt x="419" y="162"/>
                  </a:lnTo>
                  <a:lnTo>
                    <a:pt x="420" y="162"/>
                  </a:lnTo>
                  <a:lnTo>
                    <a:pt x="422" y="161"/>
                  </a:lnTo>
                  <a:lnTo>
                    <a:pt x="425" y="160"/>
                  </a:lnTo>
                  <a:lnTo>
                    <a:pt x="427" y="160"/>
                  </a:lnTo>
                  <a:lnTo>
                    <a:pt x="425" y="161"/>
                  </a:lnTo>
                  <a:lnTo>
                    <a:pt x="422" y="164"/>
                  </a:lnTo>
                  <a:lnTo>
                    <a:pt x="424" y="164"/>
                  </a:lnTo>
                  <a:lnTo>
                    <a:pt x="424" y="165"/>
                  </a:lnTo>
                  <a:lnTo>
                    <a:pt x="427" y="165"/>
                  </a:lnTo>
                  <a:lnTo>
                    <a:pt x="430" y="165"/>
                  </a:lnTo>
                  <a:lnTo>
                    <a:pt x="431" y="164"/>
                  </a:lnTo>
                  <a:lnTo>
                    <a:pt x="432" y="162"/>
                  </a:lnTo>
                  <a:lnTo>
                    <a:pt x="432" y="161"/>
                  </a:lnTo>
                  <a:lnTo>
                    <a:pt x="434" y="159"/>
                  </a:lnTo>
                  <a:lnTo>
                    <a:pt x="437" y="159"/>
                  </a:lnTo>
                  <a:lnTo>
                    <a:pt x="437" y="160"/>
                  </a:lnTo>
                  <a:lnTo>
                    <a:pt x="438" y="160"/>
                  </a:lnTo>
                  <a:lnTo>
                    <a:pt x="437" y="161"/>
                  </a:lnTo>
                  <a:lnTo>
                    <a:pt x="434" y="162"/>
                  </a:lnTo>
                  <a:lnTo>
                    <a:pt x="434" y="165"/>
                  </a:lnTo>
                  <a:lnTo>
                    <a:pt x="436" y="166"/>
                  </a:lnTo>
                  <a:lnTo>
                    <a:pt x="438" y="167"/>
                  </a:lnTo>
                  <a:lnTo>
                    <a:pt x="437" y="168"/>
                  </a:lnTo>
                  <a:lnTo>
                    <a:pt x="438" y="170"/>
                  </a:lnTo>
                  <a:lnTo>
                    <a:pt x="438" y="172"/>
                  </a:lnTo>
                  <a:lnTo>
                    <a:pt x="437" y="172"/>
                  </a:lnTo>
                  <a:lnTo>
                    <a:pt x="437" y="174"/>
                  </a:lnTo>
                  <a:lnTo>
                    <a:pt x="437" y="176"/>
                  </a:lnTo>
                  <a:lnTo>
                    <a:pt x="438" y="177"/>
                  </a:lnTo>
                  <a:lnTo>
                    <a:pt x="439" y="174"/>
                  </a:lnTo>
                  <a:lnTo>
                    <a:pt x="442" y="173"/>
                  </a:lnTo>
                  <a:lnTo>
                    <a:pt x="439" y="173"/>
                  </a:lnTo>
                  <a:lnTo>
                    <a:pt x="439" y="172"/>
                  </a:lnTo>
                  <a:lnTo>
                    <a:pt x="442" y="171"/>
                  </a:lnTo>
                  <a:lnTo>
                    <a:pt x="444" y="171"/>
                  </a:lnTo>
                  <a:lnTo>
                    <a:pt x="444" y="170"/>
                  </a:lnTo>
                  <a:lnTo>
                    <a:pt x="444" y="167"/>
                  </a:lnTo>
                  <a:lnTo>
                    <a:pt x="446" y="165"/>
                  </a:lnTo>
                  <a:lnTo>
                    <a:pt x="445" y="168"/>
                  </a:lnTo>
                  <a:lnTo>
                    <a:pt x="446" y="170"/>
                  </a:lnTo>
                  <a:lnTo>
                    <a:pt x="448" y="170"/>
                  </a:lnTo>
                  <a:lnTo>
                    <a:pt x="446" y="171"/>
                  </a:lnTo>
                  <a:lnTo>
                    <a:pt x="445" y="173"/>
                  </a:lnTo>
                  <a:lnTo>
                    <a:pt x="446" y="174"/>
                  </a:lnTo>
                  <a:lnTo>
                    <a:pt x="446" y="177"/>
                  </a:lnTo>
                  <a:lnTo>
                    <a:pt x="448" y="179"/>
                  </a:lnTo>
                  <a:lnTo>
                    <a:pt x="446" y="182"/>
                  </a:lnTo>
                  <a:lnTo>
                    <a:pt x="444" y="182"/>
                  </a:lnTo>
                  <a:lnTo>
                    <a:pt x="440" y="180"/>
                  </a:lnTo>
                  <a:lnTo>
                    <a:pt x="438" y="180"/>
                  </a:lnTo>
                  <a:lnTo>
                    <a:pt x="436" y="182"/>
                  </a:lnTo>
                  <a:lnTo>
                    <a:pt x="434" y="184"/>
                  </a:lnTo>
                  <a:lnTo>
                    <a:pt x="436" y="183"/>
                  </a:lnTo>
                  <a:lnTo>
                    <a:pt x="438" y="184"/>
                  </a:lnTo>
                  <a:lnTo>
                    <a:pt x="438" y="185"/>
                  </a:lnTo>
                  <a:lnTo>
                    <a:pt x="440" y="185"/>
                  </a:lnTo>
                  <a:lnTo>
                    <a:pt x="440" y="186"/>
                  </a:lnTo>
                  <a:lnTo>
                    <a:pt x="443" y="186"/>
                  </a:lnTo>
                  <a:lnTo>
                    <a:pt x="445" y="188"/>
                  </a:lnTo>
                  <a:lnTo>
                    <a:pt x="446" y="188"/>
                  </a:lnTo>
                  <a:lnTo>
                    <a:pt x="448" y="186"/>
                  </a:lnTo>
                  <a:lnTo>
                    <a:pt x="448" y="188"/>
                  </a:lnTo>
                  <a:lnTo>
                    <a:pt x="448" y="189"/>
                  </a:lnTo>
                  <a:lnTo>
                    <a:pt x="448" y="190"/>
                  </a:lnTo>
                  <a:lnTo>
                    <a:pt x="446" y="190"/>
                  </a:lnTo>
                  <a:lnTo>
                    <a:pt x="448" y="192"/>
                  </a:lnTo>
                  <a:lnTo>
                    <a:pt x="446" y="192"/>
                  </a:lnTo>
                  <a:lnTo>
                    <a:pt x="445" y="194"/>
                  </a:lnTo>
                  <a:lnTo>
                    <a:pt x="445" y="195"/>
                  </a:lnTo>
                  <a:lnTo>
                    <a:pt x="444" y="195"/>
                  </a:lnTo>
                  <a:lnTo>
                    <a:pt x="444" y="196"/>
                  </a:lnTo>
                  <a:lnTo>
                    <a:pt x="443" y="196"/>
                  </a:lnTo>
                  <a:lnTo>
                    <a:pt x="442" y="197"/>
                  </a:lnTo>
                  <a:lnTo>
                    <a:pt x="440" y="198"/>
                  </a:lnTo>
                  <a:lnTo>
                    <a:pt x="439" y="198"/>
                  </a:lnTo>
                  <a:lnTo>
                    <a:pt x="438" y="197"/>
                  </a:lnTo>
                  <a:lnTo>
                    <a:pt x="437" y="198"/>
                  </a:lnTo>
                  <a:lnTo>
                    <a:pt x="436" y="197"/>
                  </a:lnTo>
                  <a:lnTo>
                    <a:pt x="436" y="198"/>
                  </a:lnTo>
                  <a:lnTo>
                    <a:pt x="438" y="200"/>
                  </a:lnTo>
                  <a:lnTo>
                    <a:pt x="439" y="201"/>
                  </a:lnTo>
                  <a:lnTo>
                    <a:pt x="440" y="204"/>
                  </a:lnTo>
                  <a:lnTo>
                    <a:pt x="440" y="206"/>
                  </a:lnTo>
                  <a:lnTo>
                    <a:pt x="439" y="203"/>
                  </a:lnTo>
                  <a:lnTo>
                    <a:pt x="438" y="202"/>
                  </a:lnTo>
                  <a:lnTo>
                    <a:pt x="437" y="202"/>
                  </a:lnTo>
                  <a:lnTo>
                    <a:pt x="436" y="203"/>
                  </a:lnTo>
                  <a:lnTo>
                    <a:pt x="436" y="202"/>
                  </a:lnTo>
                  <a:lnTo>
                    <a:pt x="434" y="202"/>
                  </a:lnTo>
                  <a:lnTo>
                    <a:pt x="434" y="201"/>
                  </a:lnTo>
                  <a:lnTo>
                    <a:pt x="434" y="200"/>
                  </a:lnTo>
                  <a:lnTo>
                    <a:pt x="433" y="201"/>
                  </a:lnTo>
                  <a:lnTo>
                    <a:pt x="432" y="202"/>
                  </a:lnTo>
                  <a:lnTo>
                    <a:pt x="431" y="201"/>
                  </a:lnTo>
                  <a:lnTo>
                    <a:pt x="431" y="202"/>
                  </a:lnTo>
                  <a:lnTo>
                    <a:pt x="430" y="203"/>
                  </a:lnTo>
                  <a:lnTo>
                    <a:pt x="428" y="201"/>
                  </a:lnTo>
                  <a:lnTo>
                    <a:pt x="428" y="198"/>
                  </a:lnTo>
                  <a:lnTo>
                    <a:pt x="427" y="198"/>
                  </a:lnTo>
                  <a:lnTo>
                    <a:pt x="426" y="198"/>
                  </a:lnTo>
                  <a:lnTo>
                    <a:pt x="427" y="195"/>
                  </a:lnTo>
                  <a:lnTo>
                    <a:pt x="427" y="192"/>
                  </a:lnTo>
                  <a:lnTo>
                    <a:pt x="425" y="194"/>
                  </a:lnTo>
                  <a:lnTo>
                    <a:pt x="422" y="196"/>
                  </a:lnTo>
                  <a:lnTo>
                    <a:pt x="419" y="198"/>
                  </a:lnTo>
                  <a:lnTo>
                    <a:pt x="419" y="200"/>
                  </a:lnTo>
                  <a:lnTo>
                    <a:pt x="420" y="200"/>
                  </a:lnTo>
                  <a:lnTo>
                    <a:pt x="420" y="201"/>
                  </a:lnTo>
                  <a:lnTo>
                    <a:pt x="419" y="202"/>
                  </a:lnTo>
                  <a:lnTo>
                    <a:pt x="421" y="204"/>
                  </a:lnTo>
                  <a:lnTo>
                    <a:pt x="422" y="206"/>
                  </a:lnTo>
                  <a:lnTo>
                    <a:pt x="426" y="209"/>
                  </a:lnTo>
                  <a:lnTo>
                    <a:pt x="427" y="208"/>
                  </a:lnTo>
                  <a:lnTo>
                    <a:pt x="428" y="207"/>
                  </a:lnTo>
                  <a:lnTo>
                    <a:pt x="430" y="206"/>
                  </a:lnTo>
                  <a:lnTo>
                    <a:pt x="431" y="207"/>
                  </a:lnTo>
                  <a:lnTo>
                    <a:pt x="431" y="208"/>
                  </a:lnTo>
                  <a:lnTo>
                    <a:pt x="433" y="209"/>
                  </a:lnTo>
                  <a:lnTo>
                    <a:pt x="433" y="212"/>
                  </a:lnTo>
                  <a:lnTo>
                    <a:pt x="434" y="214"/>
                  </a:lnTo>
                  <a:lnTo>
                    <a:pt x="438" y="214"/>
                  </a:lnTo>
                  <a:lnTo>
                    <a:pt x="438" y="213"/>
                  </a:lnTo>
                  <a:lnTo>
                    <a:pt x="437" y="213"/>
                  </a:lnTo>
                  <a:lnTo>
                    <a:pt x="439" y="210"/>
                  </a:lnTo>
                  <a:lnTo>
                    <a:pt x="442" y="209"/>
                  </a:lnTo>
                  <a:lnTo>
                    <a:pt x="443" y="208"/>
                  </a:lnTo>
                  <a:lnTo>
                    <a:pt x="444" y="208"/>
                  </a:lnTo>
                  <a:lnTo>
                    <a:pt x="444" y="210"/>
                  </a:lnTo>
                  <a:lnTo>
                    <a:pt x="442" y="213"/>
                  </a:lnTo>
                  <a:lnTo>
                    <a:pt x="440" y="214"/>
                  </a:lnTo>
                  <a:lnTo>
                    <a:pt x="439" y="215"/>
                  </a:lnTo>
                  <a:lnTo>
                    <a:pt x="434" y="215"/>
                  </a:lnTo>
                  <a:lnTo>
                    <a:pt x="434" y="216"/>
                  </a:lnTo>
                  <a:lnTo>
                    <a:pt x="433" y="216"/>
                  </a:lnTo>
                  <a:lnTo>
                    <a:pt x="433" y="219"/>
                  </a:lnTo>
                  <a:lnTo>
                    <a:pt x="434" y="219"/>
                  </a:lnTo>
                  <a:lnTo>
                    <a:pt x="433" y="221"/>
                  </a:lnTo>
                  <a:lnTo>
                    <a:pt x="433" y="222"/>
                  </a:lnTo>
                  <a:lnTo>
                    <a:pt x="432" y="220"/>
                  </a:lnTo>
                  <a:lnTo>
                    <a:pt x="431" y="218"/>
                  </a:lnTo>
                  <a:lnTo>
                    <a:pt x="431" y="216"/>
                  </a:lnTo>
                  <a:lnTo>
                    <a:pt x="430" y="218"/>
                  </a:lnTo>
                  <a:lnTo>
                    <a:pt x="430" y="219"/>
                  </a:lnTo>
                  <a:lnTo>
                    <a:pt x="427" y="220"/>
                  </a:lnTo>
                  <a:lnTo>
                    <a:pt x="426" y="219"/>
                  </a:lnTo>
                  <a:lnTo>
                    <a:pt x="426" y="216"/>
                  </a:lnTo>
                  <a:lnTo>
                    <a:pt x="425" y="218"/>
                  </a:lnTo>
                  <a:lnTo>
                    <a:pt x="424" y="220"/>
                  </a:lnTo>
                  <a:lnTo>
                    <a:pt x="422" y="221"/>
                  </a:lnTo>
                  <a:lnTo>
                    <a:pt x="422" y="220"/>
                  </a:lnTo>
                  <a:lnTo>
                    <a:pt x="421" y="218"/>
                  </a:lnTo>
                  <a:lnTo>
                    <a:pt x="422" y="215"/>
                  </a:lnTo>
                  <a:lnTo>
                    <a:pt x="421" y="215"/>
                  </a:lnTo>
                  <a:lnTo>
                    <a:pt x="420" y="215"/>
                  </a:lnTo>
                  <a:lnTo>
                    <a:pt x="418" y="216"/>
                  </a:lnTo>
                  <a:lnTo>
                    <a:pt x="418" y="214"/>
                  </a:lnTo>
                  <a:lnTo>
                    <a:pt x="418" y="212"/>
                  </a:lnTo>
                  <a:lnTo>
                    <a:pt x="416" y="212"/>
                  </a:lnTo>
                  <a:lnTo>
                    <a:pt x="418" y="210"/>
                  </a:lnTo>
                  <a:lnTo>
                    <a:pt x="416" y="208"/>
                  </a:lnTo>
                  <a:lnTo>
                    <a:pt x="415" y="208"/>
                  </a:lnTo>
                  <a:lnTo>
                    <a:pt x="415" y="210"/>
                  </a:lnTo>
                  <a:lnTo>
                    <a:pt x="414" y="209"/>
                  </a:lnTo>
                  <a:lnTo>
                    <a:pt x="415" y="207"/>
                  </a:lnTo>
                  <a:lnTo>
                    <a:pt x="413" y="207"/>
                  </a:lnTo>
                  <a:lnTo>
                    <a:pt x="413" y="209"/>
                  </a:lnTo>
                  <a:lnTo>
                    <a:pt x="413" y="210"/>
                  </a:lnTo>
                  <a:lnTo>
                    <a:pt x="413" y="212"/>
                  </a:lnTo>
                  <a:lnTo>
                    <a:pt x="413" y="214"/>
                  </a:lnTo>
                  <a:lnTo>
                    <a:pt x="414" y="215"/>
                  </a:lnTo>
                  <a:lnTo>
                    <a:pt x="414" y="219"/>
                  </a:lnTo>
                  <a:lnTo>
                    <a:pt x="413" y="220"/>
                  </a:lnTo>
                  <a:lnTo>
                    <a:pt x="414" y="221"/>
                  </a:lnTo>
                  <a:lnTo>
                    <a:pt x="416" y="224"/>
                  </a:lnTo>
                  <a:lnTo>
                    <a:pt x="418" y="224"/>
                  </a:lnTo>
                  <a:lnTo>
                    <a:pt x="418" y="221"/>
                  </a:lnTo>
                  <a:lnTo>
                    <a:pt x="420" y="221"/>
                  </a:lnTo>
                  <a:lnTo>
                    <a:pt x="421" y="224"/>
                  </a:lnTo>
                  <a:lnTo>
                    <a:pt x="424" y="224"/>
                  </a:lnTo>
                  <a:lnTo>
                    <a:pt x="421" y="225"/>
                  </a:lnTo>
                  <a:lnTo>
                    <a:pt x="424" y="226"/>
                  </a:lnTo>
                  <a:lnTo>
                    <a:pt x="421" y="227"/>
                  </a:lnTo>
                  <a:lnTo>
                    <a:pt x="418" y="226"/>
                  </a:lnTo>
                  <a:lnTo>
                    <a:pt x="416" y="226"/>
                  </a:lnTo>
                  <a:lnTo>
                    <a:pt x="415" y="226"/>
                  </a:lnTo>
                  <a:lnTo>
                    <a:pt x="413" y="225"/>
                  </a:lnTo>
                  <a:lnTo>
                    <a:pt x="410" y="226"/>
                  </a:lnTo>
                  <a:lnTo>
                    <a:pt x="408" y="228"/>
                  </a:lnTo>
                  <a:lnTo>
                    <a:pt x="407" y="226"/>
                  </a:lnTo>
                  <a:lnTo>
                    <a:pt x="406" y="228"/>
                  </a:lnTo>
                  <a:lnTo>
                    <a:pt x="406" y="226"/>
                  </a:lnTo>
                  <a:lnTo>
                    <a:pt x="403" y="225"/>
                  </a:lnTo>
                  <a:lnTo>
                    <a:pt x="403" y="226"/>
                  </a:lnTo>
                  <a:lnTo>
                    <a:pt x="403" y="227"/>
                  </a:lnTo>
                  <a:lnTo>
                    <a:pt x="402" y="227"/>
                  </a:lnTo>
                  <a:lnTo>
                    <a:pt x="402" y="230"/>
                  </a:lnTo>
                  <a:lnTo>
                    <a:pt x="403" y="231"/>
                  </a:lnTo>
                  <a:lnTo>
                    <a:pt x="402" y="231"/>
                  </a:lnTo>
                  <a:lnTo>
                    <a:pt x="401" y="232"/>
                  </a:lnTo>
                  <a:lnTo>
                    <a:pt x="401" y="231"/>
                  </a:lnTo>
                  <a:lnTo>
                    <a:pt x="399" y="228"/>
                  </a:lnTo>
                  <a:lnTo>
                    <a:pt x="399" y="230"/>
                  </a:lnTo>
                  <a:lnTo>
                    <a:pt x="399" y="227"/>
                  </a:lnTo>
                  <a:lnTo>
                    <a:pt x="398" y="228"/>
                  </a:lnTo>
                  <a:lnTo>
                    <a:pt x="397" y="230"/>
                  </a:lnTo>
                  <a:lnTo>
                    <a:pt x="397" y="228"/>
                  </a:lnTo>
                  <a:lnTo>
                    <a:pt x="396" y="228"/>
                  </a:lnTo>
                  <a:lnTo>
                    <a:pt x="395" y="227"/>
                  </a:lnTo>
                  <a:lnTo>
                    <a:pt x="393" y="227"/>
                  </a:lnTo>
                  <a:lnTo>
                    <a:pt x="393" y="226"/>
                  </a:lnTo>
                  <a:lnTo>
                    <a:pt x="392" y="226"/>
                  </a:lnTo>
                  <a:lnTo>
                    <a:pt x="391" y="227"/>
                  </a:lnTo>
                  <a:lnTo>
                    <a:pt x="390" y="230"/>
                  </a:lnTo>
                  <a:lnTo>
                    <a:pt x="389" y="231"/>
                  </a:lnTo>
                  <a:lnTo>
                    <a:pt x="389" y="232"/>
                  </a:lnTo>
                  <a:lnTo>
                    <a:pt x="387" y="230"/>
                  </a:lnTo>
                  <a:lnTo>
                    <a:pt x="386" y="230"/>
                  </a:lnTo>
                  <a:lnTo>
                    <a:pt x="384" y="230"/>
                  </a:lnTo>
                  <a:lnTo>
                    <a:pt x="383" y="230"/>
                  </a:lnTo>
                  <a:lnTo>
                    <a:pt x="380" y="230"/>
                  </a:lnTo>
                  <a:lnTo>
                    <a:pt x="379" y="231"/>
                  </a:lnTo>
                  <a:lnTo>
                    <a:pt x="379" y="233"/>
                  </a:lnTo>
                  <a:lnTo>
                    <a:pt x="378" y="233"/>
                  </a:lnTo>
                  <a:lnTo>
                    <a:pt x="377" y="231"/>
                  </a:lnTo>
                  <a:lnTo>
                    <a:pt x="377" y="232"/>
                  </a:lnTo>
                  <a:lnTo>
                    <a:pt x="375" y="233"/>
                  </a:lnTo>
                  <a:lnTo>
                    <a:pt x="377" y="234"/>
                  </a:lnTo>
                  <a:lnTo>
                    <a:pt x="377" y="237"/>
                  </a:lnTo>
                  <a:lnTo>
                    <a:pt x="378" y="238"/>
                  </a:lnTo>
                  <a:lnTo>
                    <a:pt x="379" y="238"/>
                  </a:lnTo>
                  <a:lnTo>
                    <a:pt x="380" y="237"/>
                  </a:lnTo>
                  <a:lnTo>
                    <a:pt x="381" y="238"/>
                  </a:lnTo>
                  <a:lnTo>
                    <a:pt x="381" y="236"/>
                  </a:lnTo>
                  <a:lnTo>
                    <a:pt x="381" y="234"/>
                  </a:lnTo>
                  <a:lnTo>
                    <a:pt x="384" y="236"/>
                  </a:lnTo>
                  <a:lnTo>
                    <a:pt x="384" y="237"/>
                  </a:lnTo>
                  <a:lnTo>
                    <a:pt x="386" y="237"/>
                  </a:lnTo>
                  <a:lnTo>
                    <a:pt x="386" y="239"/>
                  </a:lnTo>
                  <a:lnTo>
                    <a:pt x="386" y="238"/>
                  </a:lnTo>
                  <a:lnTo>
                    <a:pt x="385" y="239"/>
                  </a:lnTo>
                  <a:lnTo>
                    <a:pt x="386" y="240"/>
                  </a:lnTo>
                  <a:lnTo>
                    <a:pt x="385" y="240"/>
                  </a:lnTo>
                  <a:lnTo>
                    <a:pt x="384" y="242"/>
                  </a:lnTo>
                  <a:lnTo>
                    <a:pt x="385" y="243"/>
                  </a:lnTo>
                  <a:lnTo>
                    <a:pt x="386" y="242"/>
                  </a:lnTo>
                  <a:lnTo>
                    <a:pt x="387" y="240"/>
                  </a:lnTo>
                  <a:lnTo>
                    <a:pt x="387" y="243"/>
                  </a:lnTo>
                  <a:lnTo>
                    <a:pt x="387" y="245"/>
                  </a:lnTo>
                  <a:lnTo>
                    <a:pt x="386" y="245"/>
                  </a:lnTo>
                  <a:lnTo>
                    <a:pt x="385" y="246"/>
                  </a:lnTo>
                  <a:lnTo>
                    <a:pt x="387" y="246"/>
                  </a:lnTo>
                  <a:lnTo>
                    <a:pt x="389" y="246"/>
                  </a:lnTo>
                  <a:lnTo>
                    <a:pt x="390" y="246"/>
                  </a:lnTo>
                  <a:lnTo>
                    <a:pt x="391" y="249"/>
                  </a:lnTo>
                  <a:lnTo>
                    <a:pt x="391" y="250"/>
                  </a:lnTo>
                  <a:lnTo>
                    <a:pt x="392" y="251"/>
                  </a:lnTo>
                  <a:lnTo>
                    <a:pt x="393" y="251"/>
                  </a:lnTo>
                  <a:lnTo>
                    <a:pt x="395" y="251"/>
                  </a:lnTo>
                  <a:lnTo>
                    <a:pt x="396" y="253"/>
                  </a:lnTo>
                  <a:lnTo>
                    <a:pt x="396" y="251"/>
                  </a:lnTo>
                  <a:lnTo>
                    <a:pt x="396" y="250"/>
                  </a:lnTo>
                  <a:lnTo>
                    <a:pt x="397" y="249"/>
                  </a:lnTo>
                  <a:lnTo>
                    <a:pt x="398" y="248"/>
                  </a:lnTo>
                  <a:lnTo>
                    <a:pt x="401" y="248"/>
                  </a:lnTo>
                  <a:lnTo>
                    <a:pt x="399" y="250"/>
                  </a:lnTo>
                  <a:lnTo>
                    <a:pt x="399" y="253"/>
                  </a:lnTo>
                  <a:lnTo>
                    <a:pt x="401" y="255"/>
                  </a:lnTo>
                  <a:lnTo>
                    <a:pt x="401" y="256"/>
                  </a:lnTo>
                  <a:lnTo>
                    <a:pt x="401" y="257"/>
                  </a:lnTo>
                  <a:lnTo>
                    <a:pt x="402" y="256"/>
                  </a:lnTo>
                  <a:lnTo>
                    <a:pt x="403" y="257"/>
                  </a:lnTo>
                  <a:lnTo>
                    <a:pt x="402" y="260"/>
                  </a:lnTo>
                  <a:lnTo>
                    <a:pt x="402" y="262"/>
                  </a:lnTo>
                  <a:lnTo>
                    <a:pt x="404" y="262"/>
                  </a:lnTo>
                  <a:lnTo>
                    <a:pt x="406" y="261"/>
                  </a:lnTo>
                  <a:lnTo>
                    <a:pt x="407" y="261"/>
                  </a:lnTo>
                  <a:lnTo>
                    <a:pt x="408" y="262"/>
                  </a:lnTo>
                  <a:lnTo>
                    <a:pt x="409" y="262"/>
                  </a:lnTo>
                  <a:lnTo>
                    <a:pt x="408" y="262"/>
                  </a:lnTo>
                  <a:lnTo>
                    <a:pt x="409" y="262"/>
                  </a:lnTo>
                  <a:lnTo>
                    <a:pt x="410" y="261"/>
                  </a:lnTo>
                  <a:lnTo>
                    <a:pt x="410" y="260"/>
                  </a:lnTo>
                  <a:lnTo>
                    <a:pt x="412" y="261"/>
                  </a:lnTo>
                  <a:lnTo>
                    <a:pt x="413" y="262"/>
                  </a:lnTo>
                  <a:lnTo>
                    <a:pt x="412" y="263"/>
                  </a:lnTo>
                  <a:lnTo>
                    <a:pt x="413" y="263"/>
                  </a:lnTo>
                  <a:lnTo>
                    <a:pt x="416" y="266"/>
                  </a:lnTo>
                  <a:lnTo>
                    <a:pt x="415" y="266"/>
                  </a:lnTo>
                  <a:lnTo>
                    <a:pt x="414" y="267"/>
                  </a:lnTo>
                  <a:lnTo>
                    <a:pt x="416" y="268"/>
                  </a:lnTo>
                  <a:lnTo>
                    <a:pt x="416" y="273"/>
                  </a:lnTo>
                  <a:lnTo>
                    <a:pt x="415" y="275"/>
                  </a:lnTo>
                  <a:lnTo>
                    <a:pt x="414" y="274"/>
                  </a:lnTo>
                  <a:lnTo>
                    <a:pt x="414" y="275"/>
                  </a:lnTo>
                  <a:lnTo>
                    <a:pt x="410" y="279"/>
                  </a:lnTo>
                  <a:lnTo>
                    <a:pt x="408" y="279"/>
                  </a:lnTo>
                  <a:lnTo>
                    <a:pt x="408" y="281"/>
                  </a:lnTo>
                  <a:lnTo>
                    <a:pt x="407" y="281"/>
                  </a:lnTo>
                  <a:lnTo>
                    <a:pt x="406" y="281"/>
                  </a:lnTo>
                  <a:lnTo>
                    <a:pt x="407" y="284"/>
                  </a:lnTo>
                  <a:lnTo>
                    <a:pt x="413" y="285"/>
                  </a:lnTo>
                  <a:lnTo>
                    <a:pt x="416" y="285"/>
                  </a:lnTo>
                  <a:lnTo>
                    <a:pt x="418" y="286"/>
                  </a:lnTo>
                  <a:lnTo>
                    <a:pt x="419" y="287"/>
                  </a:lnTo>
                  <a:lnTo>
                    <a:pt x="419" y="290"/>
                  </a:lnTo>
                  <a:lnTo>
                    <a:pt x="418" y="289"/>
                  </a:lnTo>
                  <a:lnTo>
                    <a:pt x="416" y="289"/>
                  </a:lnTo>
                  <a:lnTo>
                    <a:pt x="414" y="287"/>
                  </a:lnTo>
                  <a:lnTo>
                    <a:pt x="413" y="287"/>
                  </a:lnTo>
                  <a:lnTo>
                    <a:pt x="413" y="285"/>
                  </a:lnTo>
                  <a:lnTo>
                    <a:pt x="410" y="285"/>
                  </a:lnTo>
                  <a:lnTo>
                    <a:pt x="407" y="284"/>
                  </a:lnTo>
                  <a:lnTo>
                    <a:pt x="406" y="285"/>
                  </a:lnTo>
                  <a:lnTo>
                    <a:pt x="406" y="286"/>
                  </a:lnTo>
                  <a:lnTo>
                    <a:pt x="404" y="287"/>
                  </a:lnTo>
                  <a:lnTo>
                    <a:pt x="404" y="289"/>
                  </a:lnTo>
                  <a:lnTo>
                    <a:pt x="403" y="290"/>
                  </a:lnTo>
                  <a:lnTo>
                    <a:pt x="402" y="290"/>
                  </a:lnTo>
                  <a:lnTo>
                    <a:pt x="401" y="291"/>
                  </a:lnTo>
                  <a:lnTo>
                    <a:pt x="401" y="292"/>
                  </a:lnTo>
                  <a:lnTo>
                    <a:pt x="401" y="289"/>
                  </a:lnTo>
                  <a:lnTo>
                    <a:pt x="401" y="286"/>
                  </a:lnTo>
                  <a:lnTo>
                    <a:pt x="402" y="284"/>
                  </a:lnTo>
                  <a:lnTo>
                    <a:pt x="404" y="284"/>
                  </a:lnTo>
                  <a:lnTo>
                    <a:pt x="404" y="281"/>
                  </a:lnTo>
                  <a:lnTo>
                    <a:pt x="402" y="281"/>
                  </a:lnTo>
                  <a:lnTo>
                    <a:pt x="402" y="283"/>
                  </a:lnTo>
                  <a:lnTo>
                    <a:pt x="401" y="284"/>
                  </a:lnTo>
                  <a:lnTo>
                    <a:pt x="401" y="285"/>
                  </a:lnTo>
                  <a:lnTo>
                    <a:pt x="399" y="286"/>
                  </a:lnTo>
                  <a:lnTo>
                    <a:pt x="399" y="284"/>
                  </a:lnTo>
                  <a:lnTo>
                    <a:pt x="401" y="281"/>
                  </a:lnTo>
                  <a:lnTo>
                    <a:pt x="399" y="281"/>
                  </a:lnTo>
                  <a:lnTo>
                    <a:pt x="398" y="281"/>
                  </a:lnTo>
                  <a:lnTo>
                    <a:pt x="398" y="283"/>
                  </a:lnTo>
                  <a:lnTo>
                    <a:pt x="397" y="284"/>
                  </a:lnTo>
                  <a:lnTo>
                    <a:pt x="396" y="281"/>
                  </a:lnTo>
                  <a:lnTo>
                    <a:pt x="395" y="280"/>
                  </a:lnTo>
                  <a:lnTo>
                    <a:pt x="393" y="280"/>
                  </a:lnTo>
                  <a:lnTo>
                    <a:pt x="391" y="279"/>
                  </a:lnTo>
                  <a:lnTo>
                    <a:pt x="392" y="277"/>
                  </a:lnTo>
                  <a:lnTo>
                    <a:pt x="390" y="278"/>
                  </a:lnTo>
                  <a:lnTo>
                    <a:pt x="389" y="279"/>
                  </a:lnTo>
                  <a:lnTo>
                    <a:pt x="389" y="278"/>
                  </a:lnTo>
                  <a:lnTo>
                    <a:pt x="390" y="275"/>
                  </a:lnTo>
                  <a:lnTo>
                    <a:pt x="389" y="275"/>
                  </a:lnTo>
                  <a:lnTo>
                    <a:pt x="386" y="274"/>
                  </a:lnTo>
                  <a:lnTo>
                    <a:pt x="386" y="273"/>
                  </a:lnTo>
                  <a:lnTo>
                    <a:pt x="385" y="273"/>
                  </a:lnTo>
                  <a:lnTo>
                    <a:pt x="384" y="273"/>
                  </a:lnTo>
                  <a:lnTo>
                    <a:pt x="383" y="272"/>
                  </a:lnTo>
                  <a:lnTo>
                    <a:pt x="385" y="272"/>
                  </a:lnTo>
                  <a:lnTo>
                    <a:pt x="385" y="271"/>
                  </a:lnTo>
                  <a:lnTo>
                    <a:pt x="384" y="269"/>
                  </a:lnTo>
                  <a:lnTo>
                    <a:pt x="385" y="268"/>
                  </a:lnTo>
                  <a:lnTo>
                    <a:pt x="384" y="269"/>
                  </a:lnTo>
                  <a:lnTo>
                    <a:pt x="383" y="268"/>
                  </a:lnTo>
                  <a:lnTo>
                    <a:pt x="381" y="267"/>
                  </a:lnTo>
                  <a:lnTo>
                    <a:pt x="380" y="267"/>
                  </a:lnTo>
                  <a:lnTo>
                    <a:pt x="380" y="271"/>
                  </a:lnTo>
                  <a:lnTo>
                    <a:pt x="380" y="277"/>
                  </a:lnTo>
                  <a:lnTo>
                    <a:pt x="381" y="278"/>
                  </a:lnTo>
                  <a:lnTo>
                    <a:pt x="381" y="279"/>
                  </a:lnTo>
                  <a:lnTo>
                    <a:pt x="381" y="281"/>
                  </a:lnTo>
                  <a:lnTo>
                    <a:pt x="380" y="280"/>
                  </a:lnTo>
                  <a:lnTo>
                    <a:pt x="380" y="278"/>
                  </a:lnTo>
                  <a:lnTo>
                    <a:pt x="379" y="274"/>
                  </a:lnTo>
                  <a:lnTo>
                    <a:pt x="378" y="275"/>
                  </a:lnTo>
                  <a:lnTo>
                    <a:pt x="377" y="278"/>
                  </a:lnTo>
                  <a:lnTo>
                    <a:pt x="377" y="280"/>
                  </a:lnTo>
                  <a:lnTo>
                    <a:pt x="377" y="283"/>
                  </a:lnTo>
                  <a:lnTo>
                    <a:pt x="375" y="285"/>
                  </a:lnTo>
                  <a:lnTo>
                    <a:pt x="373" y="287"/>
                  </a:lnTo>
                  <a:lnTo>
                    <a:pt x="372" y="290"/>
                  </a:lnTo>
                  <a:lnTo>
                    <a:pt x="375" y="293"/>
                  </a:lnTo>
                  <a:lnTo>
                    <a:pt x="378" y="295"/>
                  </a:lnTo>
                  <a:lnTo>
                    <a:pt x="378" y="293"/>
                  </a:lnTo>
                  <a:lnTo>
                    <a:pt x="380" y="295"/>
                  </a:lnTo>
                  <a:lnTo>
                    <a:pt x="381" y="296"/>
                  </a:lnTo>
                  <a:lnTo>
                    <a:pt x="380" y="296"/>
                  </a:lnTo>
                  <a:lnTo>
                    <a:pt x="381" y="297"/>
                  </a:lnTo>
                  <a:lnTo>
                    <a:pt x="383" y="296"/>
                  </a:lnTo>
                  <a:lnTo>
                    <a:pt x="384" y="296"/>
                  </a:lnTo>
                  <a:lnTo>
                    <a:pt x="385" y="295"/>
                  </a:lnTo>
                  <a:lnTo>
                    <a:pt x="385" y="292"/>
                  </a:lnTo>
                  <a:lnTo>
                    <a:pt x="386" y="291"/>
                  </a:lnTo>
                  <a:lnTo>
                    <a:pt x="389" y="293"/>
                  </a:lnTo>
                  <a:lnTo>
                    <a:pt x="386" y="296"/>
                  </a:lnTo>
                  <a:lnTo>
                    <a:pt x="386" y="298"/>
                  </a:lnTo>
                  <a:lnTo>
                    <a:pt x="387" y="297"/>
                  </a:lnTo>
                  <a:lnTo>
                    <a:pt x="389" y="296"/>
                  </a:lnTo>
                  <a:lnTo>
                    <a:pt x="389" y="298"/>
                  </a:lnTo>
                  <a:lnTo>
                    <a:pt x="390" y="297"/>
                  </a:lnTo>
                  <a:lnTo>
                    <a:pt x="391" y="297"/>
                  </a:lnTo>
                  <a:lnTo>
                    <a:pt x="391" y="299"/>
                  </a:lnTo>
                  <a:lnTo>
                    <a:pt x="387" y="299"/>
                  </a:lnTo>
                  <a:lnTo>
                    <a:pt x="387" y="301"/>
                  </a:lnTo>
                  <a:lnTo>
                    <a:pt x="389" y="302"/>
                  </a:lnTo>
                  <a:lnTo>
                    <a:pt x="390" y="302"/>
                  </a:lnTo>
                  <a:lnTo>
                    <a:pt x="391" y="305"/>
                  </a:lnTo>
                  <a:lnTo>
                    <a:pt x="390" y="307"/>
                  </a:lnTo>
                  <a:lnTo>
                    <a:pt x="389" y="305"/>
                  </a:lnTo>
                  <a:lnTo>
                    <a:pt x="389" y="307"/>
                  </a:lnTo>
                  <a:lnTo>
                    <a:pt x="387" y="309"/>
                  </a:lnTo>
                  <a:lnTo>
                    <a:pt x="386" y="308"/>
                  </a:lnTo>
                  <a:lnTo>
                    <a:pt x="385" y="307"/>
                  </a:lnTo>
                  <a:lnTo>
                    <a:pt x="386" y="304"/>
                  </a:lnTo>
                  <a:lnTo>
                    <a:pt x="386" y="302"/>
                  </a:lnTo>
                  <a:lnTo>
                    <a:pt x="385" y="302"/>
                  </a:lnTo>
                  <a:lnTo>
                    <a:pt x="384" y="304"/>
                  </a:lnTo>
                  <a:lnTo>
                    <a:pt x="383" y="303"/>
                  </a:lnTo>
                  <a:lnTo>
                    <a:pt x="383" y="299"/>
                  </a:lnTo>
                  <a:lnTo>
                    <a:pt x="383" y="301"/>
                  </a:lnTo>
                  <a:lnTo>
                    <a:pt x="380" y="301"/>
                  </a:lnTo>
                  <a:lnTo>
                    <a:pt x="380" y="297"/>
                  </a:lnTo>
                  <a:lnTo>
                    <a:pt x="379" y="297"/>
                  </a:lnTo>
                  <a:lnTo>
                    <a:pt x="379" y="298"/>
                  </a:lnTo>
                  <a:lnTo>
                    <a:pt x="377" y="298"/>
                  </a:lnTo>
                  <a:lnTo>
                    <a:pt x="377" y="297"/>
                  </a:lnTo>
                  <a:lnTo>
                    <a:pt x="378" y="296"/>
                  </a:lnTo>
                  <a:lnTo>
                    <a:pt x="378" y="295"/>
                  </a:lnTo>
                  <a:lnTo>
                    <a:pt x="375" y="293"/>
                  </a:lnTo>
                  <a:lnTo>
                    <a:pt x="372" y="291"/>
                  </a:lnTo>
                  <a:lnTo>
                    <a:pt x="372" y="293"/>
                  </a:lnTo>
                  <a:lnTo>
                    <a:pt x="373" y="295"/>
                  </a:lnTo>
                  <a:lnTo>
                    <a:pt x="373" y="297"/>
                  </a:lnTo>
                  <a:lnTo>
                    <a:pt x="374" y="299"/>
                  </a:lnTo>
                  <a:lnTo>
                    <a:pt x="373" y="303"/>
                  </a:lnTo>
                  <a:lnTo>
                    <a:pt x="372" y="305"/>
                  </a:lnTo>
                  <a:lnTo>
                    <a:pt x="371" y="307"/>
                  </a:lnTo>
                  <a:lnTo>
                    <a:pt x="369" y="309"/>
                  </a:lnTo>
                  <a:lnTo>
                    <a:pt x="371" y="310"/>
                  </a:lnTo>
                  <a:lnTo>
                    <a:pt x="371" y="311"/>
                  </a:lnTo>
                  <a:lnTo>
                    <a:pt x="373" y="313"/>
                  </a:lnTo>
                  <a:lnTo>
                    <a:pt x="373" y="310"/>
                  </a:lnTo>
                  <a:lnTo>
                    <a:pt x="375" y="309"/>
                  </a:lnTo>
                  <a:lnTo>
                    <a:pt x="377" y="310"/>
                  </a:lnTo>
                  <a:lnTo>
                    <a:pt x="377" y="311"/>
                  </a:lnTo>
                  <a:lnTo>
                    <a:pt x="378" y="311"/>
                  </a:lnTo>
                  <a:lnTo>
                    <a:pt x="379" y="311"/>
                  </a:lnTo>
                  <a:lnTo>
                    <a:pt x="381" y="313"/>
                  </a:lnTo>
                  <a:lnTo>
                    <a:pt x="381" y="314"/>
                  </a:lnTo>
                  <a:lnTo>
                    <a:pt x="383" y="313"/>
                  </a:lnTo>
                  <a:lnTo>
                    <a:pt x="384" y="311"/>
                  </a:lnTo>
                  <a:lnTo>
                    <a:pt x="386" y="311"/>
                  </a:lnTo>
                  <a:lnTo>
                    <a:pt x="387" y="311"/>
                  </a:lnTo>
                  <a:lnTo>
                    <a:pt x="385" y="313"/>
                  </a:lnTo>
                  <a:lnTo>
                    <a:pt x="384" y="314"/>
                  </a:lnTo>
                  <a:lnTo>
                    <a:pt x="384" y="315"/>
                  </a:lnTo>
                  <a:lnTo>
                    <a:pt x="385" y="315"/>
                  </a:lnTo>
                  <a:lnTo>
                    <a:pt x="387" y="315"/>
                  </a:lnTo>
                  <a:lnTo>
                    <a:pt x="389" y="315"/>
                  </a:lnTo>
                  <a:lnTo>
                    <a:pt x="390" y="314"/>
                  </a:lnTo>
                  <a:lnTo>
                    <a:pt x="391" y="314"/>
                  </a:lnTo>
                  <a:lnTo>
                    <a:pt x="393" y="314"/>
                  </a:lnTo>
                  <a:lnTo>
                    <a:pt x="393" y="313"/>
                  </a:lnTo>
                  <a:lnTo>
                    <a:pt x="393" y="314"/>
                  </a:lnTo>
                  <a:lnTo>
                    <a:pt x="395" y="316"/>
                  </a:lnTo>
                  <a:lnTo>
                    <a:pt x="392" y="319"/>
                  </a:lnTo>
                  <a:lnTo>
                    <a:pt x="393" y="320"/>
                  </a:lnTo>
                  <a:lnTo>
                    <a:pt x="395" y="321"/>
                  </a:lnTo>
                  <a:lnTo>
                    <a:pt x="393" y="326"/>
                  </a:lnTo>
                  <a:lnTo>
                    <a:pt x="392" y="328"/>
                  </a:lnTo>
                  <a:lnTo>
                    <a:pt x="391" y="329"/>
                  </a:lnTo>
                  <a:lnTo>
                    <a:pt x="391" y="332"/>
                  </a:lnTo>
                  <a:lnTo>
                    <a:pt x="390" y="332"/>
                  </a:lnTo>
                  <a:lnTo>
                    <a:pt x="392" y="333"/>
                  </a:lnTo>
                  <a:lnTo>
                    <a:pt x="391" y="337"/>
                  </a:lnTo>
                  <a:lnTo>
                    <a:pt x="391" y="339"/>
                  </a:lnTo>
                  <a:lnTo>
                    <a:pt x="390" y="338"/>
                  </a:lnTo>
                  <a:lnTo>
                    <a:pt x="389" y="339"/>
                  </a:lnTo>
                  <a:lnTo>
                    <a:pt x="389" y="341"/>
                  </a:lnTo>
                  <a:lnTo>
                    <a:pt x="387" y="341"/>
                  </a:lnTo>
                  <a:lnTo>
                    <a:pt x="387" y="343"/>
                  </a:lnTo>
                  <a:lnTo>
                    <a:pt x="389" y="344"/>
                  </a:lnTo>
                  <a:lnTo>
                    <a:pt x="390" y="344"/>
                  </a:lnTo>
                  <a:lnTo>
                    <a:pt x="390" y="341"/>
                  </a:lnTo>
                  <a:lnTo>
                    <a:pt x="390" y="340"/>
                  </a:lnTo>
                  <a:lnTo>
                    <a:pt x="391" y="340"/>
                  </a:lnTo>
                  <a:lnTo>
                    <a:pt x="392" y="344"/>
                  </a:lnTo>
                  <a:lnTo>
                    <a:pt x="392" y="345"/>
                  </a:lnTo>
                  <a:lnTo>
                    <a:pt x="393" y="346"/>
                  </a:lnTo>
                  <a:lnTo>
                    <a:pt x="395" y="347"/>
                  </a:lnTo>
                  <a:lnTo>
                    <a:pt x="395" y="349"/>
                  </a:lnTo>
                  <a:lnTo>
                    <a:pt x="395" y="350"/>
                  </a:lnTo>
                  <a:lnTo>
                    <a:pt x="396" y="351"/>
                  </a:lnTo>
                  <a:lnTo>
                    <a:pt x="397" y="352"/>
                  </a:lnTo>
                  <a:lnTo>
                    <a:pt x="397" y="351"/>
                  </a:lnTo>
                  <a:lnTo>
                    <a:pt x="398" y="352"/>
                  </a:lnTo>
                  <a:lnTo>
                    <a:pt x="399" y="352"/>
                  </a:lnTo>
                  <a:lnTo>
                    <a:pt x="402" y="355"/>
                  </a:lnTo>
                  <a:lnTo>
                    <a:pt x="399" y="355"/>
                  </a:lnTo>
                  <a:lnTo>
                    <a:pt x="398" y="355"/>
                  </a:lnTo>
                  <a:lnTo>
                    <a:pt x="397" y="355"/>
                  </a:lnTo>
                  <a:lnTo>
                    <a:pt x="399" y="357"/>
                  </a:lnTo>
                  <a:lnTo>
                    <a:pt x="402" y="358"/>
                  </a:lnTo>
                  <a:lnTo>
                    <a:pt x="401" y="361"/>
                  </a:lnTo>
                  <a:lnTo>
                    <a:pt x="398" y="358"/>
                  </a:lnTo>
                  <a:lnTo>
                    <a:pt x="397" y="357"/>
                  </a:lnTo>
                  <a:lnTo>
                    <a:pt x="397" y="358"/>
                  </a:lnTo>
                  <a:lnTo>
                    <a:pt x="396" y="358"/>
                  </a:lnTo>
                  <a:lnTo>
                    <a:pt x="395" y="358"/>
                  </a:lnTo>
                  <a:lnTo>
                    <a:pt x="393" y="361"/>
                  </a:lnTo>
                  <a:lnTo>
                    <a:pt x="391" y="362"/>
                  </a:lnTo>
                  <a:lnTo>
                    <a:pt x="390" y="363"/>
                  </a:lnTo>
                  <a:lnTo>
                    <a:pt x="390" y="360"/>
                  </a:lnTo>
                  <a:lnTo>
                    <a:pt x="391" y="357"/>
                  </a:lnTo>
                  <a:lnTo>
                    <a:pt x="391" y="356"/>
                  </a:lnTo>
                  <a:lnTo>
                    <a:pt x="391" y="355"/>
                  </a:lnTo>
                  <a:lnTo>
                    <a:pt x="390" y="356"/>
                  </a:lnTo>
                  <a:lnTo>
                    <a:pt x="389" y="356"/>
                  </a:lnTo>
                  <a:lnTo>
                    <a:pt x="389" y="352"/>
                  </a:lnTo>
                  <a:lnTo>
                    <a:pt x="386" y="351"/>
                  </a:lnTo>
                  <a:lnTo>
                    <a:pt x="387" y="355"/>
                  </a:lnTo>
                  <a:lnTo>
                    <a:pt x="385" y="356"/>
                  </a:lnTo>
                  <a:lnTo>
                    <a:pt x="385" y="357"/>
                  </a:lnTo>
                  <a:lnTo>
                    <a:pt x="385" y="360"/>
                  </a:lnTo>
                  <a:lnTo>
                    <a:pt x="384" y="357"/>
                  </a:lnTo>
                  <a:lnTo>
                    <a:pt x="385" y="360"/>
                  </a:lnTo>
                  <a:lnTo>
                    <a:pt x="386" y="361"/>
                  </a:lnTo>
                  <a:lnTo>
                    <a:pt x="384" y="360"/>
                  </a:lnTo>
                  <a:lnTo>
                    <a:pt x="384" y="361"/>
                  </a:lnTo>
                  <a:lnTo>
                    <a:pt x="383" y="361"/>
                  </a:lnTo>
                  <a:lnTo>
                    <a:pt x="381" y="363"/>
                  </a:lnTo>
                  <a:lnTo>
                    <a:pt x="380" y="364"/>
                  </a:lnTo>
                  <a:lnTo>
                    <a:pt x="379" y="367"/>
                  </a:lnTo>
                  <a:lnTo>
                    <a:pt x="379" y="364"/>
                  </a:lnTo>
                  <a:lnTo>
                    <a:pt x="378" y="363"/>
                  </a:lnTo>
                  <a:lnTo>
                    <a:pt x="378" y="366"/>
                  </a:lnTo>
                  <a:lnTo>
                    <a:pt x="377" y="367"/>
                  </a:lnTo>
                  <a:lnTo>
                    <a:pt x="377" y="364"/>
                  </a:lnTo>
                  <a:lnTo>
                    <a:pt x="375" y="364"/>
                  </a:lnTo>
                  <a:lnTo>
                    <a:pt x="375" y="367"/>
                  </a:lnTo>
                  <a:lnTo>
                    <a:pt x="375" y="368"/>
                  </a:lnTo>
                  <a:lnTo>
                    <a:pt x="374" y="367"/>
                  </a:lnTo>
                  <a:lnTo>
                    <a:pt x="373" y="369"/>
                  </a:lnTo>
                  <a:lnTo>
                    <a:pt x="373" y="370"/>
                  </a:lnTo>
                  <a:lnTo>
                    <a:pt x="372" y="369"/>
                  </a:lnTo>
                  <a:lnTo>
                    <a:pt x="371" y="369"/>
                  </a:lnTo>
                  <a:lnTo>
                    <a:pt x="371" y="370"/>
                  </a:lnTo>
                  <a:lnTo>
                    <a:pt x="369" y="369"/>
                  </a:lnTo>
                  <a:lnTo>
                    <a:pt x="369" y="370"/>
                  </a:lnTo>
                  <a:lnTo>
                    <a:pt x="368" y="370"/>
                  </a:lnTo>
                  <a:lnTo>
                    <a:pt x="368" y="368"/>
                  </a:lnTo>
                  <a:lnTo>
                    <a:pt x="367" y="367"/>
                  </a:lnTo>
                  <a:lnTo>
                    <a:pt x="367" y="364"/>
                  </a:lnTo>
                  <a:lnTo>
                    <a:pt x="366" y="364"/>
                  </a:lnTo>
                  <a:lnTo>
                    <a:pt x="366" y="366"/>
                  </a:lnTo>
                  <a:lnTo>
                    <a:pt x="366" y="368"/>
                  </a:lnTo>
                  <a:lnTo>
                    <a:pt x="366" y="370"/>
                  </a:lnTo>
                  <a:lnTo>
                    <a:pt x="367" y="373"/>
                  </a:lnTo>
                  <a:lnTo>
                    <a:pt x="367" y="375"/>
                  </a:lnTo>
                  <a:lnTo>
                    <a:pt x="368" y="376"/>
                  </a:lnTo>
                  <a:lnTo>
                    <a:pt x="367" y="376"/>
                  </a:lnTo>
                  <a:lnTo>
                    <a:pt x="366" y="375"/>
                  </a:lnTo>
                  <a:lnTo>
                    <a:pt x="365" y="375"/>
                  </a:lnTo>
                  <a:lnTo>
                    <a:pt x="363" y="375"/>
                  </a:lnTo>
                  <a:lnTo>
                    <a:pt x="363" y="378"/>
                  </a:lnTo>
                  <a:lnTo>
                    <a:pt x="363" y="380"/>
                  </a:lnTo>
                  <a:lnTo>
                    <a:pt x="362" y="381"/>
                  </a:lnTo>
                  <a:lnTo>
                    <a:pt x="362" y="380"/>
                  </a:lnTo>
                  <a:lnTo>
                    <a:pt x="361" y="381"/>
                  </a:lnTo>
                  <a:lnTo>
                    <a:pt x="360" y="384"/>
                  </a:lnTo>
                  <a:lnTo>
                    <a:pt x="360" y="386"/>
                  </a:lnTo>
                  <a:lnTo>
                    <a:pt x="360" y="390"/>
                  </a:lnTo>
                  <a:lnTo>
                    <a:pt x="362" y="392"/>
                  </a:lnTo>
                  <a:lnTo>
                    <a:pt x="361" y="393"/>
                  </a:lnTo>
                  <a:lnTo>
                    <a:pt x="360" y="394"/>
                  </a:lnTo>
                  <a:lnTo>
                    <a:pt x="359" y="396"/>
                  </a:lnTo>
                  <a:lnTo>
                    <a:pt x="357" y="399"/>
                  </a:lnTo>
                  <a:lnTo>
                    <a:pt x="356" y="402"/>
                  </a:lnTo>
                  <a:lnTo>
                    <a:pt x="355" y="403"/>
                  </a:lnTo>
                  <a:lnTo>
                    <a:pt x="355" y="400"/>
                  </a:lnTo>
                  <a:lnTo>
                    <a:pt x="354" y="398"/>
                  </a:lnTo>
                  <a:lnTo>
                    <a:pt x="353" y="397"/>
                  </a:lnTo>
                  <a:lnTo>
                    <a:pt x="353" y="396"/>
                  </a:lnTo>
                  <a:lnTo>
                    <a:pt x="350" y="397"/>
                  </a:lnTo>
                  <a:lnTo>
                    <a:pt x="350" y="396"/>
                  </a:lnTo>
                  <a:lnTo>
                    <a:pt x="349" y="396"/>
                  </a:lnTo>
                  <a:lnTo>
                    <a:pt x="348" y="397"/>
                  </a:lnTo>
                  <a:lnTo>
                    <a:pt x="348" y="399"/>
                  </a:lnTo>
                  <a:lnTo>
                    <a:pt x="348" y="396"/>
                  </a:lnTo>
                  <a:lnTo>
                    <a:pt x="347" y="394"/>
                  </a:lnTo>
                  <a:lnTo>
                    <a:pt x="348" y="392"/>
                  </a:lnTo>
                  <a:lnTo>
                    <a:pt x="349" y="392"/>
                  </a:lnTo>
                  <a:lnTo>
                    <a:pt x="351" y="392"/>
                  </a:lnTo>
                  <a:lnTo>
                    <a:pt x="351" y="388"/>
                  </a:lnTo>
                  <a:lnTo>
                    <a:pt x="353" y="386"/>
                  </a:lnTo>
                  <a:lnTo>
                    <a:pt x="353" y="384"/>
                  </a:lnTo>
                  <a:lnTo>
                    <a:pt x="351" y="384"/>
                  </a:lnTo>
                  <a:lnTo>
                    <a:pt x="349" y="382"/>
                  </a:lnTo>
                  <a:lnTo>
                    <a:pt x="348" y="385"/>
                  </a:lnTo>
                  <a:lnTo>
                    <a:pt x="348" y="384"/>
                  </a:lnTo>
                  <a:lnTo>
                    <a:pt x="349" y="382"/>
                  </a:lnTo>
                  <a:lnTo>
                    <a:pt x="347" y="384"/>
                  </a:lnTo>
                  <a:lnTo>
                    <a:pt x="345" y="385"/>
                  </a:lnTo>
                  <a:lnTo>
                    <a:pt x="343" y="388"/>
                  </a:lnTo>
                  <a:lnTo>
                    <a:pt x="342" y="390"/>
                  </a:lnTo>
                  <a:lnTo>
                    <a:pt x="339" y="390"/>
                  </a:lnTo>
                  <a:lnTo>
                    <a:pt x="339" y="388"/>
                  </a:lnTo>
                  <a:lnTo>
                    <a:pt x="339" y="387"/>
                  </a:lnTo>
                  <a:lnTo>
                    <a:pt x="338" y="388"/>
                  </a:lnTo>
                  <a:lnTo>
                    <a:pt x="338" y="391"/>
                  </a:lnTo>
                  <a:lnTo>
                    <a:pt x="337" y="392"/>
                  </a:lnTo>
                  <a:lnTo>
                    <a:pt x="337" y="393"/>
                  </a:lnTo>
                  <a:lnTo>
                    <a:pt x="336" y="394"/>
                  </a:lnTo>
                  <a:lnTo>
                    <a:pt x="334" y="397"/>
                  </a:lnTo>
                  <a:lnTo>
                    <a:pt x="333" y="398"/>
                  </a:lnTo>
                  <a:lnTo>
                    <a:pt x="333" y="399"/>
                  </a:lnTo>
                  <a:lnTo>
                    <a:pt x="332" y="402"/>
                  </a:lnTo>
                  <a:lnTo>
                    <a:pt x="331" y="402"/>
                  </a:lnTo>
                  <a:lnTo>
                    <a:pt x="330" y="404"/>
                  </a:lnTo>
                  <a:lnTo>
                    <a:pt x="330" y="405"/>
                  </a:lnTo>
                  <a:lnTo>
                    <a:pt x="330" y="403"/>
                  </a:lnTo>
                  <a:lnTo>
                    <a:pt x="328" y="404"/>
                  </a:lnTo>
                  <a:lnTo>
                    <a:pt x="327" y="404"/>
                  </a:lnTo>
                  <a:lnTo>
                    <a:pt x="326" y="404"/>
                  </a:lnTo>
                  <a:lnTo>
                    <a:pt x="326" y="403"/>
                  </a:lnTo>
                  <a:lnTo>
                    <a:pt x="326" y="400"/>
                  </a:lnTo>
                  <a:lnTo>
                    <a:pt x="326" y="399"/>
                  </a:lnTo>
                  <a:lnTo>
                    <a:pt x="325" y="399"/>
                  </a:lnTo>
                  <a:lnTo>
                    <a:pt x="327" y="398"/>
                  </a:lnTo>
                  <a:lnTo>
                    <a:pt x="326" y="398"/>
                  </a:lnTo>
                  <a:lnTo>
                    <a:pt x="327" y="397"/>
                  </a:lnTo>
                  <a:lnTo>
                    <a:pt x="327" y="396"/>
                  </a:lnTo>
                  <a:lnTo>
                    <a:pt x="327" y="393"/>
                  </a:lnTo>
                  <a:lnTo>
                    <a:pt x="328" y="392"/>
                  </a:lnTo>
                  <a:lnTo>
                    <a:pt x="327" y="390"/>
                  </a:lnTo>
                  <a:lnTo>
                    <a:pt x="327" y="384"/>
                  </a:lnTo>
                  <a:lnTo>
                    <a:pt x="328" y="375"/>
                  </a:lnTo>
                  <a:lnTo>
                    <a:pt x="327" y="367"/>
                  </a:lnTo>
                  <a:lnTo>
                    <a:pt x="325" y="370"/>
                  </a:lnTo>
                  <a:lnTo>
                    <a:pt x="324" y="374"/>
                  </a:lnTo>
                  <a:lnTo>
                    <a:pt x="325" y="375"/>
                  </a:lnTo>
                  <a:lnTo>
                    <a:pt x="324" y="374"/>
                  </a:lnTo>
                  <a:lnTo>
                    <a:pt x="318" y="375"/>
                  </a:lnTo>
                  <a:lnTo>
                    <a:pt x="322" y="374"/>
                  </a:lnTo>
                  <a:lnTo>
                    <a:pt x="326" y="367"/>
                  </a:lnTo>
                  <a:lnTo>
                    <a:pt x="324" y="368"/>
                  </a:lnTo>
                  <a:lnTo>
                    <a:pt x="321" y="368"/>
                  </a:lnTo>
                  <a:lnTo>
                    <a:pt x="319" y="367"/>
                  </a:lnTo>
                  <a:lnTo>
                    <a:pt x="318" y="368"/>
                  </a:lnTo>
                  <a:lnTo>
                    <a:pt x="316" y="368"/>
                  </a:lnTo>
                  <a:lnTo>
                    <a:pt x="315" y="368"/>
                  </a:lnTo>
                  <a:lnTo>
                    <a:pt x="314" y="366"/>
                  </a:lnTo>
                  <a:lnTo>
                    <a:pt x="315" y="363"/>
                  </a:lnTo>
                  <a:lnTo>
                    <a:pt x="314" y="363"/>
                  </a:lnTo>
                  <a:lnTo>
                    <a:pt x="313" y="364"/>
                  </a:lnTo>
                  <a:lnTo>
                    <a:pt x="310" y="364"/>
                  </a:lnTo>
                  <a:lnTo>
                    <a:pt x="309" y="364"/>
                  </a:lnTo>
                  <a:lnTo>
                    <a:pt x="307" y="366"/>
                  </a:lnTo>
                  <a:lnTo>
                    <a:pt x="308" y="368"/>
                  </a:lnTo>
                  <a:lnTo>
                    <a:pt x="308" y="370"/>
                  </a:lnTo>
                  <a:lnTo>
                    <a:pt x="308" y="372"/>
                  </a:lnTo>
                  <a:lnTo>
                    <a:pt x="309" y="373"/>
                  </a:lnTo>
                  <a:lnTo>
                    <a:pt x="308" y="373"/>
                  </a:lnTo>
                  <a:lnTo>
                    <a:pt x="308" y="375"/>
                  </a:lnTo>
                  <a:lnTo>
                    <a:pt x="309" y="378"/>
                  </a:lnTo>
                  <a:lnTo>
                    <a:pt x="309" y="381"/>
                  </a:lnTo>
                  <a:lnTo>
                    <a:pt x="308" y="376"/>
                  </a:lnTo>
                  <a:lnTo>
                    <a:pt x="307" y="378"/>
                  </a:lnTo>
                  <a:lnTo>
                    <a:pt x="306" y="379"/>
                  </a:lnTo>
                  <a:lnTo>
                    <a:pt x="307" y="382"/>
                  </a:lnTo>
                  <a:lnTo>
                    <a:pt x="304" y="386"/>
                  </a:lnTo>
                  <a:lnTo>
                    <a:pt x="302" y="388"/>
                  </a:lnTo>
                  <a:lnTo>
                    <a:pt x="304" y="384"/>
                  </a:lnTo>
                  <a:lnTo>
                    <a:pt x="304" y="381"/>
                  </a:lnTo>
                  <a:lnTo>
                    <a:pt x="304" y="380"/>
                  </a:lnTo>
                  <a:lnTo>
                    <a:pt x="303" y="380"/>
                  </a:lnTo>
                  <a:lnTo>
                    <a:pt x="303" y="382"/>
                  </a:lnTo>
                  <a:lnTo>
                    <a:pt x="303" y="384"/>
                  </a:lnTo>
                  <a:lnTo>
                    <a:pt x="302" y="385"/>
                  </a:lnTo>
                  <a:lnTo>
                    <a:pt x="301" y="384"/>
                  </a:lnTo>
                  <a:lnTo>
                    <a:pt x="300" y="382"/>
                  </a:lnTo>
                  <a:lnTo>
                    <a:pt x="300" y="385"/>
                  </a:lnTo>
                  <a:lnTo>
                    <a:pt x="301" y="388"/>
                  </a:lnTo>
                  <a:lnTo>
                    <a:pt x="301" y="390"/>
                  </a:lnTo>
                  <a:lnTo>
                    <a:pt x="300" y="393"/>
                  </a:lnTo>
                  <a:lnTo>
                    <a:pt x="297" y="394"/>
                  </a:lnTo>
                  <a:lnTo>
                    <a:pt x="300" y="391"/>
                  </a:lnTo>
                  <a:lnTo>
                    <a:pt x="300" y="388"/>
                  </a:lnTo>
                  <a:lnTo>
                    <a:pt x="300" y="384"/>
                  </a:lnTo>
                  <a:lnTo>
                    <a:pt x="298" y="385"/>
                  </a:lnTo>
                  <a:lnTo>
                    <a:pt x="298" y="387"/>
                  </a:lnTo>
                  <a:lnTo>
                    <a:pt x="297" y="391"/>
                  </a:lnTo>
                  <a:lnTo>
                    <a:pt x="296" y="391"/>
                  </a:lnTo>
                  <a:lnTo>
                    <a:pt x="295" y="392"/>
                  </a:lnTo>
                  <a:lnTo>
                    <a:pt x="294" y="393"/>
                  </a:lnTo>
                  <a:lnTo>
                    <a:pt x="292" y="392"/>
                  </a:lnTo>
                  <a:lnTo>
                    <a:pt x="292" y="391"/>
                  </a:lnTo>
                  <a:lnTo>
                    <a:pt x="292" y="392"/>
                  </a:lnTo>
                  <a:lnTo>
                    <a:pt x="290" y="393"/>
                  </a:lnTo>
                  <a:lnTo>
                    <a:pt x="289" y="396"/>
                  </a:lnTo>
                  <a:lnTo>
                    <a:pt x="286" y="394"/>
                  </a:lnTo>
                  <a:lnTo>
                    <a:pt x="286" y="391"/>
                  </a:lnTo>
                  <a:lnTo>
                    <a:pt x="286" y="388"/>
                  </a:lnTo>
                  <a:lnTo>
                    <a:pt x="288" y="388"/>
                  </a:lnTo>
                  <a:lnTo>
                    <a:pt x="289" y="388"/>
                  </a:lnTo>
                  <a:lnTo>
                    <a:pt x="289" y="386"/>
                  </a:lnTo>
                  <a:lnTo>
                    <a:pt x="289" y="385"/>
                  </a:lnTo>
                  <a:lnTo>
                    <a:pt x="289" y="384"/>
                  </a:lnTo>
                  <a:lnTo>
                    <a:pt x="290" y="381"/>
                  </a:lnTo>
                  <a:lnTo>
                    <a:pt x="289" y="382"/>
                  </a:lnTo>
                  <a:lnTo>
                    <a:pt x="288" y="384"/>
                  </a:lnTo>
                  <a:lnTo>
                    <a:pt x="286" y="387"/>
                  </a:lnTo>
                  <a:lnTo>
                    <a:pt x="285" y="388"/>
                  </a:lnTo>
                  <a:lnTo>
                    <a:pt x="285" y="392"/>
                  </a:lnTo>
                  <a:lnTo>
                    <a:pt x="284" y="392"/>
                  </a:lnTo>
                  <a:lnTo>
                    <a:pt x="283" y="393"/>
                  </a:lnTo>
                  <a:lnTo>
                    <a:pt x="282" y="393"/>
                  </a:lnTo>
                  <a:lnTo>
                    <a:pt x="282" y="391"/>
                  </a:lnTo>
                  <a:lnTo>
                    <a:pt x="280" y="388"/>
                  </a:lnTo>
                  <a:lnTo>
                    <a:pt x="279" y="386"/>
                  </a:lnTo>
                  <a:lnTo>
                    <a:pt x="278" y="386"/>
                  </a:lnTo>
                  <a:lnTo>
                    <a:pt x="277" y="387"/>
                  </a:lnTo>
                  <a:lnTo>
                    <a:pt x="274" y="390"/>
                  </a:lnTo>
                  <a:lnTo>
                    <a:pt x="273" y="391"/>
                  </a:lnTo>
                  <a:lnTo>
                    <a:pt x="273" y="388"/>
                  </a:lnTo>
                  <a:lnTo>
                    <a:pt x="273" y="386"/>
                  </a:lnTo>
                  <a:lnTo>
                    <a:pt x="272" y="386"/>
                  </a:lnTo>
                  <a:lnTo>
                    <a:pt x="272" y="387"/>
                  </a:lnTo>
                  <a:lnTo>
                    <a:pt x="271" y="390"/>
                  </a:lnTo>
                  <a:lnTo>
                    <a:pt x="268" y="391"/>
                  </a:lnTo>
                  <a:lnTo>
                    <a:pt x="267" y="392"/>
                  </a:lnTo>
                  <a:lnTo>
                    <a:pt x="268" y="390"/>
                  </a:lnTo>
                  <a:lnTo>
                    <a:pt x="269" y="387"/>
                  </a:lnTo>
                  <a:lnTo>
                    <a:pt x="269" y="385"/>
                  </a:lnTo>
                  <a:lnTo>
                    <a:pt x="272" y="382"/>
                  </a:lnTo>
                  <a:lnTo>
                    <a:pt x="271" y="382"/>
                  </a:lnTo>
                  <a:lnTo>
                    <a:pt x="269" y="384"/>
                  </a:lnTo>
                  <a:lnTo>
                    <a:pt x="269" y="381"/>
                  </a:lnTo>
                  <a:lnTo>
                    <a:pt x="267" y="381"/>
                  </a:lnTo>
                  <a:lnTo>
                    <a:pt x="267" y="379"/>
                  </a:lnTo>
                  <a:lnTo>
                    <a:pt x="266" y="380"/>
                  </a:lnTo>
                  <a:lnTo>
                    <a:pt x="263" y="380"/>
                  </a:lnTo>
                  <a:lnTo>
                    <a:pt x="265" y="379"/>
                  </a:lnTo>
                  <a:lnTo>
                    <a:pt x="263" y="379"/>
                  </a:lnTo>
                  <a:lnTo>
                    <a:pt x="262" y="380"/>
                  </a:lnTo>
                  <a:lnTo>
                    <a:pt x="262" y="378"/>
                  </a:lnTo>
                  <a:lnTo>
                    <a:pt x="261" y="378"/>
                  </a:lnTo>
                  <a:lnTo>
                    <a:pt x="261" y="375"/>
                  </a:lnTo>
                  <a:lnTo>
                    <a:pt x="261" y="374"/>
                  </a:lnTo>
                  <a:lnTo>
                    <a:pt x="259" y="375"/>
                  </a:lnTo>
                  <a:lnTo>
                    <a:pt x="255" y="376"/>
                  </a:lnTo>
                  <a:lnTo>
                    <a:pt x="257" y="374"/>
                  </a:lnTo>
                  <a:lnTo>
                    <a:pt x="260" y="373"/>
                  </a:lnTo>
                  <a:lnTo>
                    <a:pt x="261" y="372"/>
                  </a:lnTo>
                  <a:lnTo>
                    <a:pt x="262" y="372"/>
                  </a:lnTo>
                  <a:lnTo>
                    <a:pt x="261" y="372"/>
                  </a:lnTo>
                  <a:lnTo>
                    <a:pt x="260" y="372"/>
                  </a:lnTo>
                  <a:lnTo>
                    <a:pt x="259" y="370"/>
                  </a:lnTo>
                  <a:lnTo>
                    <a:pt x="257" y="372"/>
                  </a:lnTo>
                  <a:lnTo>
                    <a:pt x="255" y="372"/>
                  </a:lnTo>
                  <a:lnTo>
                    <a:pt x="255" y="373"/>
                  </a:lnTo>
                  <a:lnTo>
                    <a:pt x="253" y="372"/>
                  </a:lnTo>
                  <a:lnTo>
                    <a:pt x="253" y="368"/>
                  </a:lnTo>
                  <a:lnTo>
                    <a:pt x="253" y="367"/>
                  </a:lnTo>
                  <a:lnTo>
                    <a:pt x="253" y="364"/>
                  </a:lnTo>
                  <a:lnTo>
                    <a:pt x="254" y="363"/>
                  </a:lnTo>
                  <a:lnTo>
                    <a:pt x="255" y="363"/>
                  </a:lnTo>
                  <a:lnTo>
                    <a:pt x="256" y="362"/>
                  </a:lnTo>
                  <a:lnTo>
                    <a:pt x="255" y="361"/>
                  </a:lnTo>
                  <a:lnTo>
                    <a:pt x="255" y="358"/>
                  </a:lnTo>
                  <a:lnTo>
                    <a:pt x="253" y="360"/>
                  </a:lnTo>
                  <a:lnTo>
                    <a:pt x="251" y="358"/>
                  </a:lnTo>
                  <a:lnTo>
                    <a:pt x="250" y="360"/>
                  </a:lnTo>
                  <a:lnTo>
                    <a:pt x="249" y="362"/>
                  </a:lnTo>
                  <a:lnTo>
                    <a:pt x="249" y="361"/>
                  </a:lnTo>
                  <a:lnTo>
                    <a:pt x="249" y="363"/>
                  </a:lnTo>
                  <a:lnTo>
                    <a:pt x="247" y="364"/>
                  </a:lnTo>
                  <a:lnTo>
                    <a:pt x="245" y="366"/>
                  </a:lnTo>
                  <a:lnTo>
                    <a:pt x="245" y="364"/>
                  </a:lnTo>
                  <a:lnTo>
                    <a:pt x="245" y="363"/>
                  </a:lnTo>
                  <a:lnTo>
                    <a:pt x="244" y="364"/>
                  </a:lnTo>
                  <a:lnTo>
                    <a:pt x="244" y="363"/>
                  </a:lnTo>
                  <a:lnTo>
                    <a:pt x="242" y="363"/>
                  </a:lnTo>
                  <a:lnTo>
                    <a:pt x="242" y="362"/>
                  </a:lnTo>
                  <a:lnTo>
                    <a:pt x="241" y="362"/>
                  </a:lnTo>
                  <a:lnTo>
                    <a:pt x="238" y="363"/>
                  </a:lnTo>
                  <a:lnTo>
                    <a:pt x="238" y="362"/>
                  </a:lnTo>
                  <a:lnTo>
                    <a:pt x="239" y="361"/>
                  </a:lnTo>
                  <a:lnTo>
                    <a:pt x="241" y="360"/>
                  </a:lnTo>
                  <a:lnTo>
                    <a:pt x="242" y="361"/>
                  </a:lnTo>
                  <a:lnTo>
                    <a:pt x="243" y="360"/>
                  </a:lnTo>
                  <a:lnTo>
                    <a:pt x="242" y="358"/>
                  </a:lnTo>
                  <a:lnTo>
                    <a:pt x="239" y="358"/>
                  </a:lnTo>
                  <a:lnTo>
                    <a:pt x="239" y="357"/>
                  </a:lnTo>
                  <a:lnTo>
                    <a:pt x="238" y="358"/>
                  </a:lnTo>
                  <a:lnTo>
                    <a:pt x="236" y="358"/>
                  </a:lnTo>
                  <a:lnTo>
                    <a:pt x="236" y="357"/>
                  </a:lnTo>
                  <a:lnTo>
                    <a:pt x="236" y="356"/>
                  </a:lnTo>
                  <a:lnTo>
                    <a:pt x="237" y="355"/>
                  </a:lnTo>
                  <a:lnTo>
                    <a:pt x="238" y="355"/>
                  </a:lnTo>
                  <a:lnTo>
                    <a:pt x="241" y="352"/>
                  </a:lnTo>
                  <a:lnTo>
                    <a:pt x="239" y="352"/>
                  </a:lnTo>
                  <a:lnTo>
                    <a:pt x="238" y="352"/>
                  </a:lnTo>
                  <a:lnTo>
                    <a:pt x="237" y="353"/>
                  </a:lnTo>
                  <a:lnTo>
                    <a:pt x="235" y="355"/>
                  </a:lnTo>
                  <a:lnTo>
                    <a:pt x="233" y="356"/>
                  </a:lnTo>
                  <a:lnTo>
                    <a:pt x="236" y="364"/>
                  </a:lnTo>
                  <a:lnTo>
                    <a:pt x="239" y="375"/>
                  </a:lnTo>
                  <a:lnTo>
                    <a:pt x="239" y="391"/>
                  </a:lnTo>
                  <a:lnTo>
                    <a:pt x="247" y="405"/>
                  </a:lnTo>
                  <a:lnTo>
                    <a:pt x="250" y="412"/>
                  </a:lnTo>
                  <a:lnTo>
                    <a:pt x="250" y="420"/>
                  </a:lnTo>
                  <a:lnTo>
                    <a:pt x="247" y="426"/>
                  </a:lnTo>
                  <a:lnTo>
                    <a:pt x="241" y="438"/>
                  </a:lnTo>
                  <a:lnTo>
                    <a:pt x="235" y="474"/>
                  </a:lnTo>
                  <a:lnTo>
                    <a:pt x="232" y="491"/>
                  </a:lnTo>
                  <a:lnTo>
                    <a:pt x="232" y="516"/>
                  </a:lnTo>
                  <a:lnTo>
                    <a:pt x="232" y="539"/>
                  </a:lnTo>
                  <a:lnTo>
                    <a:pt x="233" y="54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4" name="Freeform 77"/>
            <p:cNvSpPr>
              <a:spLocks/>
            </p:cNvSpPr>
            <p:nvPr userDrawn="1"/>
          </p:nvSpPr>
          <p:spPr bwMode="auto">
            <a:xfrm>
              <a:off x="6143625" y="6537326"/>
              <a:ext cx="3001963" cy="128588"/>
            </a:xfrm>
            <a:custGeom>
              <a:avLst/>
              <a:gdLst/>
              <a:ahLst/>
              <a:cxnLst>
                <a:cxn ang="0">
                  <a:pos x="24" y="383"/>
                </a:cxn>
                <a:cxn ang="0">
                  <a:pos x="140" y="342"/>
                </a:cxn>
                <a:cxn ang="0">
                  <a:pos x="462" y="200"/>
                </a:cxn>
                <a:cxn ang="0">
                  <a:pos x="618" y="142"/>
                </a:cxn>
                <a:cxn ang="0">
                  <a:pos x="699" y="122"/>
                </a:cxn>
                <a:cxn ang="0">
                  <a:pos x="875" y="120"/>
                </a:cxn>
                <a:cxn ang="0">
                  <a:pos x="1256" y="110"/>
                </a:cxn>
                <a:cxn ang="0">
                  <a:pos x="1527" y="108"/>
                </a:cxn>
                <a:cxn ang="0">
                  <a:pos x="1830" y="122"/>
                </a:cxn>
                <a:cxn ang="0">
                  <a:pos x="2033" y="126"/>
                </a:cxn>
                <a:cxn ang="0">
                  <a:pos x="2168" y="120"/>
                </a:cxn>
                <a:cxn ang="0">
                  <a:pos x="2344" y="98"/>
                </a:cxn>
                <a:cxn ang="0">
                  <a:pos x="2545" y="80"/>
                </a:cxn>
                <a:cxn ang="0">
                  <a:pos x="2615" y="81"/>
                </a:cxn>
                <a:cxn ang="0">
                  <a:pos x="2696" y="100"/>
                </a:cxn>
                <a:cxn ang="0">
                  <a:pos x="2875" y="164"/>
                </a:cxn>
                <a:cxn ang="0">
                  <a:pos x="3028" y="208"/>
                </a:cxn>
                <a:cxn ang="0">
                  <a:pos x="3157" y="231"/>
                </a:cxn>
                <a:cxn ang="0">
                  <a:pos x="3234" y="233"/>
                </a:cxn>
                <a:cxn ang="0">
                  <a:pos x="3331" y="224"/>
                </a:cxn>
                <a:cxn ang="0">
                  <a:pos x="3436" y="195"/>
                </a:cxn>
                <a:cxn ang="0">
                  <a:pos x="3519" y="170"/>
                </a:cxn>
                <a:cxn ang="0">
                  <a:pos x="3595" y="165"/>
                </a:cxn>
                <a:cxn ang="0">
                  <a:pos x="3718" y="149"/>
                </a:cxn>
                <a:cxn ang="0">
                  <a:pos x="3817" y="138"/>
                </a:cxn>
                <a:cxn ang="0">
                  <a:pos x="3842" y="138"/>
                </a:cxn>
                <a:cxn ang="0">
                  <a:pos x="3854" y="126"/>
                </a:cxn>
                <a:cxn ang="0">
                  <a:pos x="3865" y="104"/>
                </a:cxn>
                <a:cxn ang="0">
                  <a:pos x="3879" y="86"/>
                </a:cxn>
                <a:cxn ang="0">
                  <a:pos x="3903" y="70"/>
                </a:cxn>
                <a:cxn ang="0">
                  <a:pos x="3944" y="58"/>
                </a:cxn>
                <a:cxn ang="0">
                  <a:pos x="4042" y="54"/>
                </a:cxn>
                <a:cxn ang="0">
                  <a:pos x="4545" y="94"/>
                </a:cxn>
                <a:cxn ang="0">
                  <a:pos x="4907" y="123"/>
                </a:cxn>
                <a:cxn ang="0">
                  <a:pos x="5298" y="142"/>
                </a:cxn>
                <a:cxn ang="0">
                  <a:pos x="5485" y="146"/>
                </a:cxn>
                <a:cxn ang="0">
                  <a:pos x="5541" y="137"/>
                </a:cxn>
                <a:cxn ang="0">
                  <a:pos x="5607" y="117"/>
                </a:cxn>
                <a:cxn ang="0">
                  <a:pos x="5679" y="86"/>
                </a:cxn>
                <a:cxn ang="0">
                  <a:pos x="5736" y="70"/>
                </a:cxn>
                <a:cxn ang="0">
                  <a:pos x="5782" y="68"/>
                </a:cxn>
                <a:cxn ang="0">
                  <a:pos x="5914" y="81"/>
                </a:cxn>
                <a:cxn ang="0">
                  <a:pos x="6110" y="88"/>
                </a:cxn>
                <a:cxn ang="0">
                  <a:pos x="6288" y="82"/>
                </a:cxn>
                <a:cxn ang="0">
                  <a:pos x="6449" y="66"/>
                </a:cxn>
                <a:cxn ang="0">
                  <a:pos x="6659" y="35"/>
                </a:cxn>
                <a:cxn ang="0">
                  <a:pos x="6841" y="9"/>
                </a:cxn>
                <a:cxn ang="0">
                  <a:pos x="6949" y="0"/>
                </a:cxn>
                <a:cxn ang="0">
                  <a:pos x="7613" y="101"/>
                </a:cxn>
                <a:cxn ang="0">
                  <a:pos x="8840" y="302"/>
                </a:cxn>
                <a:cxn ang="0">
                  <a:pos x="8858" y="402"/>
                </a:cxn>
                <a:cxn ang="0">
                  <a:pos x="7666" y="399"/>
                </a:cxn>
                <a:cxn ang="0">
                  <a:pos x="6474" y="398"/>
                </a:cxn>
                <a:cxn ang="0">
                  <a:pos x="5282" y="397"/>
                </a:cxn>
                <a:cxn ang="0">
                  <a:pos x="3872" y="396"/>
                </a:cxn>
                <a:cxn ang="0">
                  <a:pos x="2244" y="393"/>
                </a:cxn>
                <a:cxn ang="0">
                  <a:pos x="902" y="391"/>
                </a:cxn>
                <a:cxn ang="0">
                  <a:pos x="88" y="389"/>
                </a:cxn>
              </a:cxnLst>
              <a:rect l="0" t="0" r="r" b="b"/>
              <a:pathLst>
                <a:path w="9454" h="403">
                  <a:moveTo>
                    <a:pt x="0" y="387"/>
                  </a:moveTo>
                  <a:lnTo>
                    <a:pt x="24" y="383"/>
                  </a:lnTo>
                  <a:lnTo>
                    <a:pt x="56" y="374"/>
                  </a:lnTo>
                  <a:lnTo>
                    <a:pt x="140" y="342"/>
                  </a:lnTo>
                  <a:lnTo>
                    <a:pt x="350" y="249"/>
                  </a:lnTo>
                  <a:lnTo>
                    <a:pt x="462" y="200"/>
                  </a:lnTo>
                  <a:lnTo>
                    <a:pt x="569" y="158"/>
                  </a:lnTo>
                  <a:lnTo>
                    <a:pt x="618" y="142"/>
                  </a:lnTo>
                  <a:lnTo>
                    <a:pt x="661" y="129"/>
                  </a:lnTo>
                  <a:lnTo>
                    <a:pt x="699" y="122"/>
                  </a:lnTo>
                  <a:lnTo>
                    <a:pt x="732" y="120"/>
                  </a:lnTo>
                  <a:lnTo>
                    <a:pt x="875" y="120"/>
                  </a:lnTo>
                  <a:lnTo>
                    <a:pt x="1059" y="116"/>
                  </a:lnTo>
                  <a:lnTo>
                    <a:pt x="1256" y="110"/>
                  </a:lnTo>
                  <a:lnTo>
                    <a:pt x="1439" y="107"/>
                  </a:lnTo>
                  <a:lnTo>
                    <a:pt x="1527" y="108"/>
                  </a:lnTo>
                  <a:lnTo>
                    <a:pt x="1624" y="112"/>
                  </a:lnTo>
                  <a:lnTo>
                    <a:pt x="1830" y="122"/>
                  </a:lnTo>
                  <a:lnTo>
                    <a:pt x="1934" y="125"/>
                  </a:lnTo>
                  <a:lnTo>
                    <a:pt x="2033" y="126"/>
                  </a:lnTo>
                  <a:lnTo>
                    <a:pt x="2125" y="123"/>
                  </a:lnTo>
                  <a:lnTo>
                    <a:pt x="2168" y="120"/>
                  </a:lnTo>
                  <a:lnTo>
                    <a:pt x="2207" y="116"/>
                  </a:lnTo>
                  <a:lnTo>
                    <a:pt x="2344" y="98"/>
                  </a:lnTo>
                  <a:lnTo>
                    <a:pt x="2455" y="86"/>
                  </a:lnTo>
                  <a:lnTo>
                    <a:pt x="2545" y="80"/>
                  </a:lnTo>
                  <a:lnTo>
                    <a:pt x="2583" y="80"/>
                  </a:lnTo>
                  <a:lnTo>
                    <a:pt x="2615" y="81"/>
                  </a:lnTo>
                  <a:lnTo>
                    <a:pt x="2651" y="87"/>
                  </a:lnTo>
                  <a:lnTo>
                    <a:pt x="2696" y="100"/>
                  </a:lnTo>
                  <a:lnTo>
                    <a:pt x="2808" y="141"/>
                  </a:lnTo>
                  <a:lnTo>
                    <a:pt x="2875" y="164"/>
                  </a:lnTo>
                  <a:lnTo>
                    <a:pt x="2949" y="187"/>
                  </a:lnTo>
                  <a:lnTo>
                    <a:pt x="3028" y="208"/>
                  </a:lnTo>
                  <a:lnTo>
                    <a:pt x="3113" y="225"/>
                  </a:lnTo>
                  <a:lnTo>
                    <a:pt x="3157" y="231"/>
                  </a:lnTo>
                  <a:lnTo>
                    <a:pt x="3197" y="233"/>
                  </a:lnTo>
                  <a:lnTo>
                    <a:pt x="3234" y="233"/>
                  </a:lnTo>
                  <a:lnTo>
                    <a:pt x="3269" y="232"/>
                  </a:lnTo>
                  <a:lnTo>
                    <a:pt x="3331" y="224"/>
                  </a:lnTo>
                  <a:lnTo>
                    <a:pt x="3387" y="211"/>
                  </a:lnTo>
                  <a:lnTo>
                    <a:pt x="3436" y="195"/>
                  </a:lnTo>
                  <a:lnTo>
                    <a:pt x="3480" y="181"/>
                  </a:lnTo>
                  <a:lnTo>
                    <a:pt x="3519" y="170"/>
                  </a:lnTo>
                  <a:lnTo>
                    <a:pt x="3557" y="166"/>
                  </a:lnTo>
                  <a:lnTo>
                    <a:pt x="3595" y="165"/>
                  </a:lnTo>
                  <a:lnTo>
                    <a:pt x="3636" y="160"/>
                  </a:lnTo>
                  <a:lnTo>
                    <a:pt x="3718" y="149"/>
                  </a:lnTo>
                  <a:lnTo>
                    <a:pt x="3789" y="140"/>
                  </a:lnTo>
                  <a:lnTo>
                    <a:pt x="3817" y="138"/>
                  </a:lnTo>
                  <a:lnTo>
                    <a:pt x="3836" y="138"/>
                  </a:lnTo>
                  <a:lnTo>
                    <a:pt x="3842" y="138"/>
                  </a:lnTo>
                  <a:lnTo>
                    <a:pt x="3847" y="137"/>
                  </a:lnTo>
                  <a:lnTo>
                    <a:pt x="3854" y="126"/>
                  </a:lnTo>
                  <a:lnTo>
                    <a:pt x="3860" y="112"/>
                  </a:lnTo>
                  <a:lnTo>
                    <a:pt x="3865" y="104"/>
                  </a:lnTo>
                  <a:lnTo>
                    <a:pt x="3871" y="94"/>
                  </a:lnTo>
                  <a:lnTo>
                    <a:pt x="3879" y="86"/>
                  </a:lnTo>
                  <a:lnTo>
                    <a:pt x="3890" y="77"/>
                  </a:lnTo>
                  <a:lnTo>
                    <a:pt x="3903" y="70"/>
                  </a:lnTo>
                  <a:lnTo>
                    <a:pt x="3921" y="63"/>
                  </a:lnTo>
                  <a:lnTo>
                    <a:pt x="3944" y="58"/>
                  </a:lnTo>
                  <a:lnTo>
                    <a:pt x="3971" y="54"/>
                  </a:lnTo>
                  <a:lnTo>
                    <a:pt x="4042" y="54"/>
                  </a:lnTo>
                  <a:lnTo>
                    <a:pt x="4266" y="71"/>
                  </a:lnTo>
                  <a:lnTo>
                    <a:pt x="4545" y="94"/>
                  </a:lnTo>
                  <a:lnTo>
                    <a:pt x="4789" y="114"/>
                  </a:lnTo>
                  <a:lnTo>
                    <a:pt x="4907" y="123"/>
                  </a:lnTo>
                  <a:lnTo>
                    <a:pt x="5127" y="135"/>
                  </a:lnTo>
                  <a:lnTo>
                    <a:pt x="5298" y="142"/>
                  </a:lnTo>
                  <a:lnTo>
                    <a:pt x="5454" y="146"/>
                  </a:lnTo>
                  <a:lnTo>
                    <a:pt x="5485" y="146"/>
                  </a:lnTo>
                  <a:lnTo>
                    <a:pt x="5514" y="142"/>
                  </a:lnTo>
                  <a:lnTo>
                    <a:pt x="5541" y="137"/>
                  </a:lnTo>
                  <a:lnTo>
                    <a:pt x="5565" y="131"/>
                  </a:lnTo>
                  <a:lnTo>
                    <a:pt x="5607" y="117"/>
                  </a:lnTo>
                  <a:lnTo>
                    <a:pt x="5643" y="101"/>
                  </a:lnTo>
                  <a:lnTo>
                    <a:pt x="5679" y="86"/>
                  </a:lnTo>
                  <a:lnTo>
                    <a:pt x="5717" y="74"/>
                  </a:lnTo>
                  <a:lnTo>
                    <a:pt x="5736" y="70"/>
                  </a:lnTo>
                  <a:lnTo>
                    <a:pt x="5757" y="68"/>
                  </a:lnTo>
                  <a:lnTo>
                    <a:pt x="5782" y="68"/>
                  </a:lnTo>
                  <a:lnTo>
                    <a:pt x="5807" y="70"/>
                  </a:lnTo>
                  <a:lnTo>
                    <a:pt x="5914" y="81"/>
                  </a:lnTo>
                  <a:lnTo>
                    <a:pt x="6014" y="87"/>
                  </a:lnTo>
                  <a:lnTo>
                    <a:pt x="6110" y="88"/>
                  </a:lnTo>
                  <a:lnTo>
                    <a:pt x="6202" y="87"/>
                  </a:lnTo>
                  <a:lnTo>
                    <a:pt x="6288" y="82"/>
                  </a:lnTo>
                  <a:lnTo>
                    <a:pt x="6370" y="75"/>
                  </a:lnTo>
                  <a:lnTo>
                    <a:pt x="6449" y="66"/>
                  </a:lnTo>
                  <a:lnTo>
                    <a:pt x="6522" y="57"/>
                  </a:lnTo>
                  <a:lnTo>
                    <a:pt x="6659" y="35"/>
                  </a:lnTo>
                  <a:lnTo>
                    <a:pt x="6783" y="16"/>
                  </a:lnTo>
                  <a:lnTo>
                    <a:pt x="6841" y="9"/>
                  </a:lnTo>
                  <a:lnTo>
                    <a:pt x="6896" y="3"/>
                  </a:lnTo>
                  <a:lnTo>
                    <a:pt x="6949" y="0"/>
                  </a:lnTo>
                  <a:lnTo>
                    <a:pt x="7000" y="1"/>
                  </a:lnTo>
                  <a:lnTo>
                    <a:pt x="7613" y="101"/>
                  </a:lnTo>
                  <a:lnTo>
                    <a:pt x="8227" y="202"/>
                  </a:lnTo>
                  <a:lnTo>
                    <a:pt x="8840" y="302"/>
                  </a:lnTo>
                  <a:lnTo>
                    <a:pt x="9454" y="403"/>
                  </a:lnTo>
                  <a:lnTo>
                    <a:pt x="8858" y="402"/>
                  </a:lnTo>
                  <a:lnTo>
                    <a:pt x="8262" y="401"/>
                  </a:lnTo>
                  <a:lnTo>
                    <a:pt x="7666" y="399"/>
                  </a:lnTo>
                  <a:lnTo>
                    <a:pt x="7070" y="399"/>
                  </a:lnTo>
                  <a:lnTo>
                    <a:pt x="6474" y="398"/>
                  </a:lnTo>
                  <a:lnTo>
                    <a:pt x="5878" y="398"/>
                  </a:lnTo>
                  <a:lnTo>
                    <a:pt x="5282" y="397"/>
                  </a:lnTo>
                  <a:lnTo>
                    <a:pt x="4686" y="397"/>
                  </a:lnTo>
                  <a:lnTo>
                    <a:pt x="3872" y="396"/>
                  </a:lnTo>
                  <a:lnTo>
                    <a:pt x="3058" y="395"/>
                  </a:lnTo>
                  <a:lnTo>
                    <a:pt x="2244" y="393"/>
                  </a:lnTo>
                  <a:lnTo>
                    <a:pt x="1430" y="392"/>
                  </a:lnTo>
                  <a:lnTo>
                    <a:pt x="902" y="391"/>
                  </a:lnTo>
                  <a:lnTo>
                    <a:pt x="374" y="390"/>
                  </a:lnTo>
                  <a:lnTo>
                    <a:pt x="88" y="389"/>
                  </a:lnTo>
                  <a:lnTo>
                    <a:pt x="0" y="38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5" name="Freeform 78"/>
            <p:cNvSpPr>
              <a:spLocks/>
            </p:cNvSpPr>
            <p:nvPr userDrawn="1"/>
          </p:nvSpPr>
          <p:spPr bwMode="auto">
            <a:xfrm>
              <a:off x="6657975" y="6373813"/>
              <a:ext cx="317500" cy="269875"/>
            </a:xfrm>
            <a:custGeom>
              <a:avLst/>
              <a:gdLst/>
              <a:ahLst/>
              <a:cxnLst>
                <a:cxn ang="0">
                  <a:pos x="331" y="740"/>
                </a:cxn>
                <a:cxn ang="0">
                  <a:pos x="278" y="752"/>
                </a:cxn>
                <a:cxn ang="0">
                  <a:pos x="265" y="723"/>
                </a:cxn>
                <a:cxn ang="0">
                  <a:pos x="223" y="735"/>
                </a:cxn>
                <a:cxn ang="0">
                  <a:pos x="230" y="709"/>
                </a:cxn>
                <a:cxn ang="0">
                  <a:pos x="101" y="748"/>
                </a:cxn>
                <a:cxn ang="0">
                  <a:pos x="141" y="711"/>
                </a:cxn>
                <a:cxn ang="0">
                  <a:pos x="93" y="687"/>
                </a:cxn>
                <a:cxn ang="0">
                  <a:pos x="47" y="626"/>
                </a:cxn>
                <a:cxn ang="0">
                  <a:pos x="31" y="588"/>
                </a:cxn>
                <a:cxn ang="0">
                  <a:pos x="88" y="582"/>
                </a:cxn>
                <a:cxn ang="0">
                  <a:pos x="120" y="543"/>
                </a:cxn>
                <a:cxn ang="0">
                  <a:pos x="208" y="499"/>
                </a:cxn>
                <a:cxn ang="0">
                  <a:pos x="142" y="511"/>
                </a:cxn>
                <a:cxn ang="0">
                  <a:pos x="72" y="484"/>
                </a:cxn>
                <a:cxn ang="0">
                  <a:pos x="100" y="410"/>
                </a:cxn>
                <a:cxn ang="0">
                  <a:pos x="140" y="354"/>
                </a:cxn>
                <a:cxn ang="0">
                  <a:pos x="168" y="335"/>
                </a:cxn>
                <a:cxn ang="0">
                  <a:pos x="187" y="291"/>
                </a:cxn>
                <a:cxn ang="0">
                  <a:pos x="233" y="248"/>
                </a:cxn>
                <a:cxn ang="0">
                  <a:pos x="242" y="230"/>
                </a:cxn>
                <a:cxn ang="0">
                  <a:pos x="136" y="216"/>
                </a:cxn>
                <a:cxn ang="0">
                  <a:pos x="154" y="169"/>
                </a:cxn>
                <a:cxn ang="0">
                  <a:pos x="166" y="118"/>
                </a:cxn>
                <a:cxn ang="0">
                  <a:pos x="208" y="100"/>
                </a:cxn>
                <a:cxn ang="0">
                  <a:pos x="254" y="37"/>
                </a:cxn>
                <a:cxn ang="0">
                  <a:pos x="327" y="15"/>
                </a:cxn>
                <a:cxn ang="0">
                  <a:pos x="412" y="11"/>
                </a:cxn>
                <a:cxn ang="0">
                  <a:pos x="436" y="81"/>
                </a:cxn>
                <a:cxn ang="0">
                  <a:pos x="491" y="67"/>
                </a:cxn>
                <a:cxn ang="0">
                  <a:pos x="495" y="115"/>
                </a:cxn>
                <a:cxn ang="0">
                  <a:pos x="574" y="105"/>
                </a:cxn>
                <a:cxn ang="0">
                  <a:pos x="662" y="112"/>
                </a:cxn>
                <a:cxn ang="0">
                  <a:pos x="737" y="133"/>
                </a:cxn>
                <a:cxn ang="0">
                  <a:pos x="804" y="150"/>
                </a:cxn>
                <a:cxn ang="0">
                  <a:pos x="778" y="183"/>
                </a:cxn>
                <a:cxn ang="0">
                  <a:pos x="813" y="231"/>
                </a:cxn>
                <a:cxn ang="0">
                  <a:pos x="755" y="234"/>
                </a:cxn>
                <a:cxn ang="0">
                  <a:pos x="754" y="264"/>
                </a:cxn>
                <a:cxn ang="0">
                  <a:pos x="822" y="320"/>
                </a:cxn>
                <a:cxn ang="0">
                  <a:pos x="888" y="326"/>
                </a:cxn>
                <a:cxn ang="0">
                  <a:pos x="878" y="380"/>
                </a:cxn>
                <a:cxn ang="0">
                  <a:pos x="916" y="407"/>
                </a:cxn>
                <a:cxn ang="0">
                  <a:pos x="966" y="414"/>
                </a:cxn>
                <a:cxn ang="0">
                  <a:pos x="988" y="468"/>
                </a:cxn>
                <a:cxn ang="0">
                  <a:pos x="966" y="478"/>
                </a:cxn>
                <a:cxn ang="0">
                  <a:pos x="998" y="531"/>
                </a:cxn>
                <a:cxn ang="0">
                  <a:pos x="996" y="573"/>
                </a:cxn>
                <a:cxn ang="0">
                  <a:pos x="899" y="591"/>
                </a:cxn>
                <a:cxn ang="0">
                  <a:pos x="858" y="616"/>
                </a:cxn>
                <a:cxn ang="0">
                  <a:pos x="848" y="644"/>
                </a:cxn>
                <a:cxn ang="0">
                  <a:pos x="874" y="694"/>
                </a:cxn>
                <a:cxn ang="0">
                  <a:pos x="823" y="718"/>
                </a:cxn>
                <a:cxn ang="0">
                  <a:pos x="784" y="706"/>
                </a:cxn>
                <a:cxn ang="0">
                  <a:pos x="715" y="701"/>
                </a:cxn>
                <a:cxn ang="0">
                  <a:pos x="692" y="712"/>
                </a:cxn>
                <a:cxn ang="0">
                  <a:pos x="678" y="724"/>
                </a:cxn>
                <a:cxn ang="0">
                  <a:pos x="687" y="751"/>
                </a:cxn>
                <a:cxn ang="0">
                  <a:pos x="640" y="755"/>
                </a:cxn>
                <a:cxn ang="0">
                  <a:pos x="598" y="763"/>
                </a:cxn>
                <a:cxn ang="0">
                  <a:pos x="578" y="774"/>
                </a:cxn>
                <a:cxn ang="0">
                  <a:pos x="494" y="777"/>
                </a:cxn>
                <a:cxn ang="0">
                  <a:pos x="480" y="734"/>
                </a:cxn>
              </a:cxnLst>
              <a:rect l="0" t="0" r="r" b="b"/>
              <a:pathLst>
                <a:path w="1003" h="849">
                  <a:moveTo>
                    <a:pt x="472" y="849"/>
                  </a:moveTo>
                  <a:lnTo>
                    <a:pt x="326" y="849"/>
                  </a:lnTo>
                  <a:lnTo>
                    <a:pt x="330" y="843"/>
                  </a:lnTo>
                  <a:lnTo>
                    <a:pt x="333" y="831"/>
                  </a:lnTo>
                  <a:lnTo>
                    <a:pt x="335" y="822"/>
                  </a:lnTo>
                  <a:lnTo>
                    <a:pt x="339" y="813"/>
                  </a:lnTo>
                  <a:lnTo>
                    <a:pt x="344" y="807"/>
                  </a:lnTo>
                  <a:lnTo>
                    <a:pt x="345" y="799"/>
                  </a:lnTo>
                  <a:lnTo>
                    <a:pt x="344" y="786"/>
                  </a:lnTo>
                  <a:lnTo>
                    <a:pt x="345" y="775"/>
                  </a:lnTo>
                  <a:lnTo>
                    <a:pt x="350" y="770"/>
                  </a:lnTo>
                  <a:lnTo>
                    <a:pt x="351" y="764"/>
                  </a:lnTo>
                  <a:lnTo>
                    <a:pt x="355" y="747"/>
                  </a:lnTo>
                  <a:lnTo>
                    <a:pt x="353" y="745"/>
                  </a:lnTo>
                  <a:lnTo>
                    <a:pt x="350" y="745"/>
                  </a:lnTo>
                  <a:lnTo>
                    <a:pt x="347" y="752"/>
                  </a:lnTo>
                  <a:lnTo>
                    <a:pt x="341" y="752"/>
                  </a:lnTo>
                  <a:lnTo>
                    <a:pt x="339" y="751"/>
                  </a:lnTo>
                  <a:lnTo>
                    <a:pt x="336" y="751"/>
                  </a:lnTo>
                  <a:lnTo>
                    <a:pt x="330" y="752"/>
                  </a:lnTo>
                  <a:lnTo>
                    <a:pt x="329" y="748"/>
                  </a:lnTo>
                  <a:lnTo>
                    <a:pt x="332" y="742"/>
                  </a:lnTo>
                  <a:lnTo>
                    <a:pt x="331" y="740"/>
                  </a:lnTo>
                  <a:lnTo>
                    <a:pt x="326" y="740"/>
                  </a:lnTo>
                  <a:lnTo>
                    <a:pt x="324" y="739"/>
                  </a:lnTo>
                  <a:lnTo>
                    <a:pt x="323" y="736"/>
                  </a:lnTo>
                  <a:lnTo>
                    <a:pt x="321" y="731"/>
                  </a:lnTo>
                  <a:lnTo>
                    <a:pt x="320" y="730"/>
                  </a:lnTo>
                  <a:lnTo>
                    <a:pt x="320" y="733"/>
                  </a:lnTo>
                  <a:lnTo>
                    <a:pt x="321" y="739"/>
                  </a:lnTo>
                  <a:lnTo>
                    <a:pt x="320" y="740"/>
                  </a:lnTo>
                  <a:lnTo>
                    <a:pt x="319" y="739"/>
                  </a:lnTo>
                  <a:lnTo>
                    <a:pt x="317" y="740"/>
                  </a:lnTo>
                  <a:lnTo>
                    <a:pt x="311" y="740"/>
                  </a:lnTo>
                  <a:lnTo>
                    <a:pt x="307" y="740"/>
                  </a:lnTo>
                  <a:lnTo>
                    <a:pt x="305" y="743"/>
                  </a:lnTo>
                  <a:lnTo>
                    <a:pt x="306" y="746"/>
                  </a:lnTo>
                  <a:lnTo>
                    <a:pt x="306" y="748"/>
                  </a:lnTo>
                  <a:lnTo>
                    <a:pt x="301" y="748"/>
                  </a:lnTo>
                  <a:lnTo>
                    <a:pt x="298" y="751"/>
                  </a:lnTo>
                  <a:lnTo>
                    <a:pt x="295" y="749"/>
                  </a:lnTo>
                  <a:lnTo>
                    <a:pt x="292" y="749"/>
                  </a:lnTo>
                  <a:lnTo>
                    <a:pt x="289" y="751"/>
                  </a:lnTo>
                  <a:lnTo>
                    <a:pt x="290" y="752"/>
                  </a:lnTo>
                  <a:lnTo>
                    <a:pt x="286" y="753"/>
                  </a:lnTo>
                  <a:lnTo>
                    <a:pt x="278" y="752"/>
                  </a:lnTo>
                  <a:lnTo>
                    <a:pt x="274" y="751"/>
                  </a:lnTo>
                  <a:lnTo>
                    <a:pt x="271" y="749"/>
                  </a:lnTo>
                  <a:lnTo>
                    <a:pt x="270" y="745"/>
                  </a:lnTo>
                  <a:lnTo>
                    <a:pt x="267" y="741"/>
                  </a:lnTo>
                  <a:lnTo>
                    <a:pt x="266" y="739"/>
                  </a:lnTo>
                  <a:lnTo>
                    <a:pt x="266" y="736"/>
                  </a:lnTo>
                  <a:lnTo>
                    <a:pt x="270" y="735"/>
                  </a:lnTo>
                  <a:lnTo>
                    <a:pt x="274" y="734"/>
                  </a:lnTo>
                  <a:lnTo>
                    <a:pt x="276" y="731"/>
                  </a:lnTo>
                  <a:lnTo>
                    <a:pt x="274" y="728"/>
                  </a:lnTo>
                  <a:lnTo>
                    <a:pt x="276" y="725"/>
                  </a:lnTo>
                  <a:lnTo>
                    <a:pt x="279" y="725"/>
                  </a:lnTo>
                  <a:lnTo>
                    <a:pt x="282" y="724"/>
                  </a:lnTo>
                  <a:lnTo>
                    <a:pt x="284" y="722"/>
                  </a:lnTo>
                  <a:lnTo>
                    <a:pt x="284" y="719"/>
                  </a:lnTo>
                  <a:lnTo>
                    <a:pt x="283" y="716"/>
                  </a:lnTo>
                  <a:lnTo>
                    <a:pt x="279" y="713"/>
                  </a:lnTo>
                  <a:lnTo>
                    <a:pt x="277" y="712"/>
                  </a:lnTo>
                  <a:lnTo>
                    <a:pt x="274" y="715"/>
                  </a:lnTo>
                  <a:lnTo>
                    <a:pt x="270" y="718"/>
                  </a:lnTo>
                  <a:lnTo>
                    <a:pt x="267" y="721"/>
                  </a:lnTo>
                  <a:lnTo>
                    <a:pt x="266" y="721"/>
                  </a:lnTo>
                  <a:lnTo>
                    <a:pt x="265" y="723"/>
                  </a:lnTo>
                  <a:lnTo>
                    <a:pt x="261" y="727"/>
                  </a:lnTo>
                  <a:lnTo>
                    <a:pt x="259" y="727"/>
                  </a:lnTo>
                  <a:lnTo>
                    <a:pt x="255" y="724"/>
                  </a:lnTo>
                  <a:lnTo>
                    <a:pt x="254" y="724"/>
                  </a:lnTo>
                  <a:lnTo>
                    <a:pt x="253" y="728"/>
                  </a:lnTo>
                  <a:lnTo>
                    <a:pt x="252" y="736"/>
                  </a:lnTo>
                  <a:lnTo>
                    <a:pt x="249" y="739"/>
                  </a:lnTo>
                  <a:lnTo>
                    <a:pt x="243" y="739"/>
                  </a:lnTo>
                  <a:lnTo>
                    <a:pt x="243" y="741"/>
                  </a:lnTo>
                  <a:lnTo>
                    <a:pt x="242" y="742"/>
                  </a:lnTo>
                  <a:lnTo>
                    <a:pt x="241" y="743"/>
                  </a:lnTo>
                  <a:lnTo>
                    <a:pt x="236" y="745"/>
                  </a:lnTo>
                  <a:lnTo>
                    <a:pt x="233" y="746"/>
                  </a:lnTo>
                  <a:lnTo>
                    <a:pt x="232" y="742"/>
                  </a:lnTo>
                  <a:lnTo>
                    <a:pt x="230" y="741"/>
                  </a:lnTo>
                  <a:lnTo>
                    <a:pt x="229" y="741"/>
                  </a:lnTo>
                  <a:lnTo>
                    <a:pt x="230" y="737"/>
                  </a:lnTo>
                  <a:lnTo>
                    <a:pt x="235" y="729"/>
                  </a:lnTo>
                  <a:lnTo>
                    <a:pt x="233" y="727"/>
                  </a:lnTo>
                  <a:lnTo>
                    <a:pt x="231" y="727"/>
                  </a:lnTo>
                  <a:lnTo>
                    <a:pt x="225" y="733"/>
                  </a:lnTo>
                  <a:lnTo>
                    <a:pt x="220" y="734"/>
                  </a:lnTo>
                  <a:lnTo>
                    <a:pt x="223" y="735"/>
                  </a:lnTo>
                  <a:lnTo>
                    <a:pt x="217" y="735"/>
                  </a:lnTo>
                  <a:lnTo>
                    <a:pt x="209" y="735"/>
                  </a:lnTo>
                  <a:lnTo>
                    <a:pt x="203" y="731"/>
                  </a:lnTo>
                  <a:lnTo>
                    <a:pt x="194" y="725"/>
                  </a:lnTo>
                  <a:lnTo>
                    <a:pt x="190" y="723"/>
                  </a:lnTo>
                  <a:lnTo>
                    <a:pt x="193" y="722"/>
                  </a:lnTo>
                  <a:lnTo>
                    <a:pt x="195" y="722"/>
                  </a:lnTo>
                  <a:lnTo>
                    <a:pt x="196" y="719"/>
                  </a:lnTo>
                  <a:lnTo>
                    <a:pt x="196" y="715"/>
                  </a:lnTo>
                  <a:lnTo>
                    <a:pt x="199" y="712"/>
                  </a:lnTo>
                  <a:lnTo>
                    <a:pt x="199" y="711"/>
                  </a:lnTo>
                  <a:lnTo>
                    <a:pt x="201" y="711"/>
                  </a:lnTo>
                  <a:lnTo>
                    <a:pt x="205" y="715"/>
                  </a:lnTo>
                  <a:lnTo>
                    <a:pt x="207" y="716"/>
                  </a:lnTo>
                  <a:lnTo>
                    <a:pt x="208" y="713"/>
                  </a:lnTo>
                  <a:lnTo>
                    <a:pt x="209" y="713"/>
                  </a:lnTo>
                  <a:lnTo>
                    <a:pt x="213" y="713"/>
                  </a:lnTo>
                  <a:lnTo>
                    <a:pt x="217" y="713"/>
                  </a:lnTo>
                  <a:lnTo>
                    <a:pt x="220" y="713"/>
                  </a:lnTo>
                  <a:lnTo>
                    <a:pt x="223" y="711"/>
                  </a:lnTo>
                  <a:lnTo>
                    <a:pt x="225" y="711"/>
                  </a:lnTo>
                  <a:lnTo>
                    <a:pt x="230" y="711"/>
                  </a:lnTo>
                  <a:lnTo>
                    <a:pt x="230" y="709"/>
                  </a:lnTo>
                  <a:lnTo>
                    <a:pt x="227" y="703"/>
                  </a:lnTo>
                  <a:lnTo>
                    <a:pt x="224" y="701"/>
                  </a:lnTo>
                  <a:lnTo>
                    <a:pt x="218" y="705"/>
                  </a:lnTo>
                  <a:lnTo>
                    <a:pt x="209" y="709"/>
                  </a:lnTo>
                  <a:lnTo>
                    <a:pt x="193" y="709"/>
                  </a:lnTo>
                  <a:lnTo>
                    <a:pt x="179" y="709"/>
                  </a:lnTo>
                  <a:lnTo>
                    <a:pt x="173" y="707"/>
                  </a:lnTo>
                  <a:lnTo>
                    <a:pt x="170" y="707"/>
                  </a:lnTo>
                  <a:lnTo>
                    <a:pt x="170" y="710"/>
                  </a:lnTo>
                  <a:lnTo>
                    <a:pt x="173" y="716"/>
                  </a:lnTo>
                  <a:lnTo>
                    <a:pt x="172" y="722"/>
                  </a:lnTo>
                  <a:lnTo>
                    <a:pt x="162" y="725"/>
                  </a:lnTo>
                  <a:lnTo>
                    <a:pt x="162" y="724"/>
                  </a:lnTo>
                  <a:lnTo>
                    <a:pt x="158" y="723"/>
                  </a:lnTo>
                  <a:lnTo>
                    <a:pt x="152" y="724"/>
                  </a:lnTo>
                  <a:lnTo>
                    <a:pt x="148" y="723"/>
                  </a:lnTo>
                  <a:lnTo>
                    <a:pt x="144" y="718"/>
                  </a:lnTo>
                  <a:lnTo>
                    <a:pt x="132" y="727"/>
                  </a:lnTo>
                  <a:lnTo>
                    <a:pt x="124" y="735"/>
                  </a:lnTo>
                  <a:lnTo>
                    <a:pt x="111" y="745"/>
                  </a:lnTo>
                  <a:lnTo>
                    <a:pt x="99" y="749"/>
                  </a:lnTo>
                  <a:lnTo>
                    <a:pt x="94" y="749"/>
                  </a:lnTo>
                  <a:lnTo>
                    <a:pt x="101" y="748"/>
                  </a:lnTo>
                  <a:lnTo>
                    <a:pt x="108" y="745"/>
                  </a:lnTo>
                  <a:lnTo>
                    <a:pt x="115" y="740"/>
                  </a:lnTo>
                  <a:lnTo>
                    <a:pt x="129" y="727"/>
                  </a:lnTo>
                  <a:lnTo>
                    <a:pt x="105" y="739"/>
                  </a:lnTo>
                  <a:lnTo>
                    <a:pt x="89" y="746"/>
                  </a:lnTo>
                  <a:lnTo>
                    <a:pt x="114" y="731"/>
                  </a:lnTo>
                  <a:lnTo>
                    <a:pt x="132" y="721"/>
                  </a:lnTo>
                  <a:lnTo>
                    <a:pt x="132" y="719"/>
                  </a:lnTo>
                  <a:lnTo>
                    <a:pt x="129" y="716"/>
                  </a:lnTo>
                  <a:lnTo>
                    <a:pt x="123" y="711"/>
                  </a:lnTo>
                  <a:lnTo>
                    <a:pt x="120" y="712"/>
                  </a:lnTo>
                  <a:lnTo>
                    <a:pt x="115" y="717"/>
                  </a:lnTo>
                  <a:lnTo>
                    <a:pt x="106" y="725"/>
                  </a:lnTo>
                  <a:lnTo>
                    <a:pt x="102" y="727"/>
                  </a:lnTo>
                  <a:lnTo>
                    <a:pt x="113" y="718"/>
                  </a:lnTo>
                  <a:lnTo>
                    <a:pt x="119" y="710"/>
                  </a:lnTo>
                  <a:lnTo>
                    <a:pt x="123" y="710"/>
                  </a:lnTo>
                  <a:lnTo>
                    <a:pt x="129" y="713"/>
                  </a:lnTo>
                  <a:lnTo>
                    <a:pt x="136" y="718"/>
                  </a:lnTo>
                  <a:lnTo>
                    <a:pt x="138" y="718"/>
                  </a:lnTo>
                  <a:lnTo>
                    <a:pt x="141" y="716"/>
                  </a:lnTo>
                  <a:lnTo>
                    <a:pt x="143" y="713"/>
                  </a:lnTo>
                  <a:lnTo>
                    <a:pt x="141" y="711"/>
                  </a:lnTo>
                  <a:lnTo>
                    <a:pt x="138" y="707"/>
                  </a:lnTo>
                  <a:lnTo>
                    <a:pt x="136" y="705"/>
                  </a:lnTo>
                  <a:lnTo>
                    <a:pt x="130" y="705"/>
                  </a:lnTo>
                  <a:lnTo>
                    <a:pt x="124" y="704"/>
                  </a:lnTo>
                  <a:lnTo>
                    <a:pt x="117" y="705"/>
                  </a:lnTo>
                  <a:lnTo>
                    <a:pt x="112" y="707"/>
                  </a:lnTo>
                  <a:lnTo>
                    <a:pt x="109" y="711"/>
                  </a:lnTo>
                  <a:lnTo>
                    <a:pt x="108" y="715"/>
                  </a:lnTo>
                  <a:lnTo>
                    <a:pt x="106" y="716"/>
                  </a:lnTo>
                  <a:lnTo>
                    <a:pt x="103" y="717"/>
                  </a:lnTo>
                  <a:lnTo>
                    <a:pt x="101" y="716"/>
                  </a:lnTo>
                  <a:lnTo>
                    <a:pt x="100" y="710"/>
                  </a:lnTo>
                  <a:lnTo>
                    <a:pt x="102" y="706"/>
                  </a:lnTo>
                  <a:lnTo>
                    <a:pt x="101" y="705"/>
                  </a:lnTo>
                  <a:lnTo>
                    <a:pt x="99" y="705"/>
                  </a:lnTo>
                  <a:lnTo>
                    <a:pt x="91" y="709"/>
                  </a:lnTo>
                  <a:lnTo>
                    <a:pt x="90" y="709"/>
                  </a:lnTo>
                  <a:lnTo>
                    <a:pt x="89" y="706"/>
                  </a:lnTo>
                  <a:lnTo>
                    <a:pt x="88" y="701"/>
                  </a:lnTo>
                  <a:lnTo>
                    <a:pt x="89" y="695"/>
                  </a:lnTo>
                  <a:lnTo>
                    <a:pt x="90" y="693"/>
                  </a:lnTo>
                  <a:lnTo>
                    <a:pt x="93" y="691"/>
                  </a:lnTo>
                  <a:lnTo>
                    <a:pt x="93" y="687"/>
                  </a:lnTo>
                  <a:lnTo>
                    <a:pt x="89" y="682"/>
                  </a:lnTo>
                  <a:lnTo>
                    <a:pt x="88" y="679"/>
                  </a:lnTo>
                  <a:lnTo>
                    <a:pt x="84" y="676"/>
                  </a:lnTo>
                  <a:lnTo>
                    <a:pt x="84" y="671"/>
                  </a:lnTo>
                  <a:lnTo>
                    <a:pt x="91" y="665"/>
                  </a:lnTo>
                  <a:lnTo>
                    <a:pt x="94" y="663"/>
                  </a:lnTo>
                  <a:lnTo>
                    <a:pt x="94" y="662"/>
                  </a:lnTo>
                  <a:lnTo>
                    <a:pt x="89" y="659"/>
                  </a:lnTo>
                  <a:lnTo>
                    <a:pt x="88" y="657"/>
                  </a:lnTo>
                  <a:lnTo>
                    <a:pt x="90" y="654"/>
                  </a:lnTo>
                  <a:lnTo>
                    <a:pt x="96" y="650"/>
                  </a:lnTo>
                  <a:lnTo>
                    <a:pt x="100" y="646"/>
                  </a:lnTo>
                  <a:lnTo>
                    <a:pt x="101" y="639"/>
                  </a:lnTo>
                  <a:lnTo>
                    <a:pt x="102" y="634"/>
                  </a:lnTo>
                  <a:lnTo>
                    <a:pt x="103" y="629"/>
                  </a:lnTo>
                  <a:lnTo>
                    <a:pt x="84" y="629"/>
                  </a:lnTo>
                  <a:lnTo>
                    <a:pt x="77" y="630"/>
                  </a:lnTo>
                  <a:lnTo>
                    <a:pt x="72" y="629"/>
                  </a:lnTo>
                  <a:lnTo>
                    <a:pt x="69" y="626"/>
                  </a:lnTo>
                  <a:lnTo>
                    <a:pt x="65" y="627"/>
                  </a:lnTo>
                  <a:lnTo>
                    <a:pt x="61" y="630"/>
                  </a:lnTo>
                  <a:lnTo>
                    <a:pt x="55" y="629"/>
                  </a:lnTo>
                  <a:lnTo>
                    <a:pt x="47" y="626"/>
                  </a:lnTo>
                  <a:lnTo>
                    <a:pt x="41" y="627"/>
                  </a:lnTo>
                  <a:lnTo>
                    <a:pt x="35" y="628"/>
                  </a:lnTo>
                  <a:lnTo>
                    <a:pt x="30" y="624"/>
                  </a:lnTo>
                  <a:lnTo>
                    <a:pt x="23" y="618"/>
                  </a:lnTo>
                  <a:lnTo>
                    <a:pt x="19" y="611"/>
                  </a:lnTo>
                  <a:lnTo>
                    <a:pt x="14" y="608"/>
                  </a:lnTo>
                  <a:lnTo>
                    <a:pt x="12" y="605"/>
                  </a:lnTo>
                  <a:lnTo>
                    <a:pt x="13" y="603"/>
                  </a:lnTo>
                  <a:lnTo>
                    <a:pt x="16" y="596"/>
                  </a:lnTo>
                  <a:lnTo>
                    <a:pt x="14" y="597"/>
                  </a:lnTo>
                  <a:lnTo>
                    <a:pt x="10" y="591"/>
                  </a:lnTo>
                  <a:lnTo>
                    <a:pt x="4" y="578"/>
                  </a:lnTo>
                  <a:lnTo>
                    <a:pt x="0" y="570"/>
                  </a:lnTo>
                  <a:lnTo>
                    <a:pt x="0" y="569"/>
                  </a:lnTo>
                  <a:lnTo>
                    <a:pt x="2" y="569"/>
                  </a:lnTo>
                  <a:lnTo>
                    <a:pt x="10" y="566"/>
                  </a:lnTo>
                  <a:lnTo>
                    <a:pt x="12" y="564"/>
                  </a:lnTo>
                  <a:lnTo>
                    <a:pt x="14" y="567"/>
                  </a:lnTo>
                  <a:lnTo>
                    <a:pt x="18" y="573"/>
                  </a:lnTo>
                  <a:lnTo>
                    <a:pt x="23" y="575"/>
                  </a:lnTo>
                  <a:lnTo>
                    <a:pt x="28" y="576"/>
                  </a:lnTo>
                  <a:lnTo>
                    <a:pt x="29" y="580"/>
                  </a:lnTo>
                  <a:lnTo>
                    <a:pt x="31" y="588"/>
                  </a:lnTo>
                  <a:lnTo>
                    <a:pt x="32" y="591"/>
                  </a:lnTo>
                  <a:lnTo>
                    <a:pt x="34" y="590"/>
                  </a:lnTo>
                  <a:lnTo>
                    <a:pt x="36" y="586"/>
                  </a:lnTo>
                  <a:lnTo>
                    <a:pt x="38" y="582"/>
                  </a:lnTo>
                  <a:lnTo>
                    <a:pt x="42" y="581"/>
                  </a:lnTo>
                  <a:lnTo>
                    <a:pt x="46" y="582"/>
                  </a:lnTo>
                  <a:lnTo>
                    <a:pt x="50" y="581"/>
                  </a:lnTo>
                  <a:lnTo>
                    <a:pt x="56" y="580"/>
                  </a:lnTo>
                  <a:lnTo>
                    <a:pt x="52" y="575"/>
                  </a:lnTo>
                  <a:lnTo>
                    <a:pt x="49" y="572"/>
                  </a:lnTo>
                  <a:lnTo>
                    <a:pt x="49" y="568"/>
                  </a:lnTo>
                  <a:lnTo>
                    <a:pt x="52" y="566"/>
                  </a:lnTo>
                  <a:lnTo>
                    <a:pt x="55" y="566"/>
                  </a:lnTo>
                  <a:lnTo>
                    <a:pt x="61" y="566"/>
                  </a:lnTo>
                  <a:lnTo>
                    <a:pt x="63" y="566"/>
                  </a:lnTo>
                  <a:lnTo>
                    <a:pt x="64" y="568"/>
                  </a:lnTo>
                  <a:lnTo>
                    <a:pt x="64" y="574"/>
                  </a:lnTo>
                  <a:lnTo>
                    <a:pt x="72" y="578"/>
                  </a:lnTo>
                  <a:lnTo>
                    <a:pt x="70" y="579"/>
                  </a:lnTo>
                  <a:lnTo>
                    <a:pt x="75" y="580"/>
                  </a:lnTo>
                  <a:lnTo>
                    <a:pt x="84" y="582"/>
                  </a:lnTo>
                  <a:lnTo>
                    <a:pt x="85" y="584"/>
                  </a:lnTo>
                  <a:lnTo>
                    <a:pt x="88" y="582"/>
                  </a:lnTo>
                  <a:lnTo>
                    <a:pt x="89" y="578"/>
                  </a:lnTo>
                  <a:lnTo>
                    <a:pt x="94" y="579"/>
                  </a:lnTo>
                  <a:lnTo>
                    <a:pt x="106" y="587"/>
                  </a:lnTo>
                  <a:lnTo>
                    <a:pt x="108" y="587"/>
                  </a:lnTo>
                  <a:lnTo>
                    <a:pt x="112" y="586"/>
                  </a:lnTo>
                  <a:lnTo>
                    <a:pt x="113" y="581"/>
                  </a:lnTo>
                  <a:lnTo>
                    <a:pt x="115" y="579"/>
                  </a:lnTo>
                  <a:lnTo>
                    <a:pt x="117" y="581"/>
                  </a:lnTo>
                  <a:lnTo>
                    <a:pt x="121" y="581"/>
                  </a:lnTo>
                  <a:lnTo>
                    <a:pt x="129" y="579"/>
                  </a:lnTo>
                  <a:lnTo>
                    <a:pt x="136" y="578"/>
                  </a:lnTo>
                  <a:lnTo>
                    <a:pt x="137" y="578"/>
                  </a:lnTo>
                  <a:lnTo>
                    <a:pt x="134" y="575"/>
                  </a:lnTo>
                  <a:lnTo>
                    <a:pt x="125" y="568"/>
                  </a:lnTo>
                  <a:lnTo>
                    <a:pt x="124" y="564"/>
                  </a:lnTo>
                  <a:lnTo>
                    <a:pt x="121" y="562"/>
                  </a:lnTo>
                  <a:lnTo>
                    <a:pt x="118" y="562"/>
                  </a:lnTo>
                  <a:lnTo>
                    <a:pt x="117" y="560"/>
                  </a:lnTo>
                  <a:lnTo>
                    <a:pt x="114" y="557"/>
                  </a:lnTo>
                  <a:lnTo>
                    <a:pt x="112" y="554"/>
                  </a:lnTo>
                  <a:lnTo>
                    <a:pt x="113" y="550"/>
                  </a:lnTo>
                  <a:lnTo>
                    <a:pt x="118" y="546"/>
                  </a:lnTo>
                  <a:lnTo>
                    <a:pt x="120" y="543"/>
                  </a:lnTo>
                  <a:lnTo>
                    <a:pt x="120" y="541"/>
                  </a:lnTo>
                  <a:lnTo>
                    <a:pt x="123" y="540"/>
                  </a:lnTo>
                  <a:lnTo>
                    <a:pt x="128" y="539"/>
                  </a:lnTo>
                  <a:lnTo>
                    <a:pt x="134" y="535"/>
                  </a:lnTo>
                  <a:lnTo>
                    <a:pt x="140" y="529"/>
                  </a:lnTo>
                  <a:lnTo>
                    <a:pt x="144" y="526"/>
                  </a:lnTo>
                  <a:lnTo>
                    <a:pt x="147" y="521"/>
                  </a:lnTo>
                  <a:lnTo>
                    <a:pt x="149" y="520"/>
                  </a:lnTo>
                  <a:lnTo>
                    <a:pt x="160" y="525"/>
                  </a:lnTo>
                  <a:lnTo>
                    <a:pt x="168" y="522"/>
                  </a:lnTo>
                  <a:lnTo>
                    <a:pt x="173" y="521"/>
                  </a:lnTo>
                  <a:lnTo>
                    <a:pt x="177" y="519"/>
                  </a:lnTo>
                  <a:lnTo>
                    <a:pt x="182" y="514"/>
                  </a:lnTo>
                  <a:lnTo>
                    <a:pt x="187" y="509"/>
                  </a:lnTo>
                  <a:lnTo>
                    <a:pt x="188" y="507"/>
                  </a:lnTo>
                  <a:lnTo>
                    <a:pt x="189" y="507"/>
                  </a:lnTo>
                  <a:lnTo>
                    <a:pt x="190" y="509"/>
                  </a:lnTo>
                  <a:lnTo>
                    <a:pt x="194" y="516"/>
                  </a:lnTo>
                  <a:lnTo>
                    <a:pt x="199" y="516"/>
                  </a:lnTo>
                  <a:lnTo>
                    <a:pt x="201" y="516"/>
                  </a:lnTo>
                  <a:lnTo>
                    <a:pt x="203" y="513"/>
                  </a:lnTo>
                  <a:lnTo>
                    <a:pt x="208" y="507"/>
                  </a:lnTo>
                  <a:lnTo>
                    <a:pt x="208" y="499"/>
                  </a:lnTo>
                  <a:lnTo>
                    <a:pt x="206" y="498"/>
                  </a:lnTo>
                  <a:lnTo>
                    <a:pt x="202" y="498"/>
                  </a:lnTo>
                  <a:lnTo>
                    <a:pt x="199" y="503"/>
                  </a:lnTo>
                  <a:lnTo>
                    <a:pt x="197" y="503"/>
                  </a:lnTo>
                  <a:lnTo>
                    <a:pt x="195" y="501"/>
                  </a:lnTo>
                  <a:lnTo>
                    <a:pt x="193" y="495"/>
                  </a:lnTo>
                  <a:lnTo>
                    <a:pt x="190" y="493"/>
                  </a:lnTo>
                  <a:lnTo>
                    <a:pt x="185" y="496"/>
                  </a:lnTo>
                  <a:lnTo>
                    <a:pt x="184" y="498"/>
                  </a:lnTo>
                  <a:lnTo>
                    <a:pt x="183" y="502"/>
                  </a:lnTo>
                  <a:lnTo>
                    <a:pt x="182" y="503"/>
                  </a:lnTo>
                  <a:lnTo>
                    <a:pt x="178" y="501"/>
                  </a:lnTo>
                  <a:lnTo>
                    <a:pt x="165" y="496"/>
                  </a:lnTo>
                  <a:lnTo>
                    <a:pt x="160" y="493"/>
                  </a:lnTo>
                  <a:lnTo>
                    <a:pt x="158" y="493"/>
                  </a:lnTo>
                  <a:lnTo>
                    <a:pt x="158" y="496"/>
                  </a:lnTo>
                  <a:lnTo>
                    <a:pt x="160" y="499"/>
                  </a:lnTo>
                  <a:lnTo>
                    <a:pt x="165" y="504"/>
                  </a:lnTo>
                  <a:lnTo>
                    <a:pt x="162" y="505"/>
                  </a:lnTo>
                  <a:lnTo>
                    <a:pt x="153" y="503"/>
                  </a:lnTo>
                  <a:lnTo>
                    <a:pt x="148" y="503"/>
                  </a:lnTo>
                  <a:lnTo>
                    <a:pt x="144" y="509"/>
                  </a:lnTo>
                  <a:lnTo>
                    <a:pt x="142" y="511"/>
                  </a:lnTo>
                  <a:lnTo>
                    <a:pt x="138" y="509"/>
                  </a:lnTo>
                  <a:lnTo>
                    <a:pt x="135" y="508"/>
                  </a:lnTo>
                  <a:lnTo>
                    <a:pt x="132" y="503"/>
                  </a:lnTo>
                  <a:lnTo>
                    <a:pt x="135" y="497"/>
                  </a:lnTo>
                  <a:lnTo>
                    <a:pt x="132" y="497"/>
                  </a:lnTo>
                  <a:lnTo>
                    <a:pt x="120" y="497"/>
                  </a:lnTo>
                  <a:lnTo>
                    <a:pt x="120" y="498"/>
                  </a:lnTo>
                  <a:lnTo>
                    <a:pt x="119" y="501"/>
                  </a:lnTo>
                  <a:lnTo>
                    <a:pt x="114" y="503"/>
                  </a:lnTo>
                  <a:lnTo>
                    <a:pt x="111" y="503"/>
                  </a:lnTo>
                  <a:lnTo>
                    <a:pt x="108" y="499"/>
                  </a:lnTo>
                  <a:lnTo>
                    <a:pt x="106" y="499"/>
                  </a:lnTo>
                  <a:lnTo>
                    <a:pt x="99" y="504"/>
                  </a:lnTo>
                  <a:lnTo>
                    <a:pt x="95" y="507"/>
                  </a:lnTo>
                  <a:lnTo>
                    <a:pt x="93" y="507"/>
                  </a:lnTo>
                  <a:lnTo>
                    <a:pt x="89" y="504"/>
                  </a:lnTo>
                  <a:lnTo>
                    <a:pt x="83" y="499"/>
                  </a:lnTo>
                  <a:lnTo>
                    <a:pt x="81" y="497"/>
                  </a:lnTo>
                  <a:lnTo>
                    <a:pt x="81" y="495"/>
                  </a:lnTo>
                  <a:lnTo>
                    <a:pt x="83" y="492"/>
                  </a:lnTo>
                  <a:lnTo>
                    <a:pt x="81" y="490"/>
                  </a:lnTo>
                  <a:lnTo>
                    <a:pt x="76" y="487"/>
                  </a:lnTo>
                  <a:lnTo>
                    <a:pt x="72" y="484"/>
                  </a:lnTo>
                  <a:lnTo>
                    <a:pt x="70" y="477"/>
                  </a:lnTo>
                  <a:lnTo>
                    <a:pt x="72" y="474"/>
                  </a:lnTo>
                  <a:lnTo>
                    <a:pt x="76" y="474"/>
                  </a:lnTo>
                  <a:lnTo>
                    <a:pt x="83" y="475"/>
                  </a:lnTo>
                  <a:lnTo>
                    <a:pt x="88" y="479"/>
                  </a:lnTo>
                  <a:lnTo>
                    <a:pt x="93" y="484"/>
                  </a:lnTo>
                  <a:lnTo>
                    <a:pt x="94" y="481"/>
                  </a:lnTo>
                  <a:lnTo>
                    <a:pt x="93" y="478"/>
                  </a:lnTo>
                  <a:lnTo>
                    <a:pt x="93" y="477"/>
                  </a:lnTo>
                  <a:lnTo>
                    <a:pt x="94" y="474"/>
                  </a:lnTo>
                  <a:lnTo>
                    <a:pt x="97" y="469"/>
                  </a:lnTo>
                  <a:lnTo>
                    <a:pt x="101" y="465"/>
                  </a:lnTo>
                  <a:lnTo>
                    <a:pt x="107" y="460"/>
                  </a:lnTo>
                  <a:lnTo>
                    <a:pt x="112" y="456"/>
                  </a:lnTo>
                  <a:lnTo>
                    <a:pt x="113" y="453"/>
                  </a:lnTo>
                  <a:lnTo>
                    <a:pt x="114" y="450"/>
                  </a:lnTo>
                  <a:lnTo>
                    <a:pt x="113" y="449"/>
                  </a:lnTo>
                  <a:lnTo>
                    <a:pt x="103" y="444"/>
                  </a:lnTo>
                  <a:lnTo>
                    <a:pt x="100" y="440"/>
                  </a:lnTo>
                  <a:lnTo>
                    <a:pt x="99" y="433"/>
                  </a:lnTo>
                  <a:lnTo>
                    <a:pt x="99" y="419"/>
                  </a:lnTo>
                  <a:lnTo>
                    <a:pt x="99" y="414"/>
                  </a:lnTo>
                  <a:lnTo>
                    <a:pt x="100" y="410"/>
                  </a:lnTo>
                  <a:lnTo>
                    <a:pt x="95" y="407"/>
                  </a:lnTo>
                  <a:lnTo>
                    <a:pt x="91" y="406"/>
                  </a:lnTo>
                  <a:lnTo>
                    <a:pt x="89" y="401"/>
                  </a:lnTo>
                  <a:lnTo>
                    <a:pt x="87" y="394"/>
                  </a:lnTo>
                  <a:lnTo>
                    <a:pt x="89" y="386"/>
                  </a:lnTo>
                  <a:lnTo>
                    <a:pt x="95" y="382"/>
                  </a:lnTo>
                  <a:lnTo>
                    <a:pt x="97" y="377"/>
                  </a:lnTo>
                  <a:lnTo>
                    <a:pt x="95" y="372"/>
                  </a:lnTo>
                  <a:lnTo>
                    <a:pt x="95" y="366"/>
                  </a:lnTo>
                  <a:lnTo>
                    <a:pt x="99" y="361"/>
                  </a:lnTo>
                  <a:lnTo>
                    <a:pt x="102" y="356"/>
                  </a:lnTo>
                  <a:lnTo>
                    <a:pt x="102" y="350"/>
                  </a:lnTo>
                  <a:lnTo>
                    <a:pt x="102" y="349"/>
                  </a:lnTo>
                  <a:lnTo>
                    <a:pt x="105" y="348"/>
                  </a:lnTo>
                  <a:lnTo>
                    <a:pt x="109" y="349"/>
                  </a:lnTo>
                  <a:lnTo>
                    <a:pt x="114" y="352"/>
                  </a:lnTo>
                  <a:lnTo>
                    <a:pt x="121" y="350"/>
                  </a:lnTo>
                  <a:lnTo>
                    <a:pt x="124" y="349"/>
                  </a:lnTo>
                  <a:lnTo>
                    <a:pt x="126" y="350"/>
                  </a:lnTo>
                  <a:lnTo>
                    <a:pt x="130" y="355"/>
                  </a:lnTo>
                  <a:lnTo>
                    <a:pt x="134" y="356"/>
                  </a:lnTo>
                  <a:lnTo>
                    <a:pt x="138" y="354"/>
                  </a:lnTo>
                  <a:lnTo>
                    <a:pt x="140" y="354"/>
                  </a:lnTo>
                  <a:lnTo>
                    <a:pt x="141" y="356"/>
                  </a:lnTo>
                  <a:lnTo>
                    <a:pt x="142" y="364"/>
                  </a:lnTo>
                  <a:lnTo>
                    <a:pt x="143" y="367"/>
                  </a:lnTo>
                  <a:lnTo>
                    <a:pt x="146" y="368"/>
                  </a:lnTo>
                  <a:lnTo>
                    <a:pt x="152" y="370"/>
                  </a:lnTo>
                  <a:lnTo>
                    <a:pt x="153" y="367"/>
                  </a:lnTo>
                  <a:lnTo>
                    <a:pt x="155" y="361"/>
                  </a:lnTo>
                  <a:lnTo>
                    <a:pt x="154" y="359"/>
                  </a:lnTo>
                  <a:lnTo>
                    <a:pt x="150" y="355"/>
                  </a:lnTo>
                  <a:lnTo>
                    <a:pt x="140" y="352"/>
                  </a:lnTo>
                  <a:lnTo>
                    <a:pt x="137" y="349"/>
                  </a:lnTo>
                  <a:lnTo>
                    <a:pt x="136" y="346"/>
                  </a:lnTo>
                  <a:lnTo>
                    <a:pt x="138" y="338"/>
                  </a:lnTo>
                  <a:lnTo>
                    <a:pt x="141" y="333"/>
                  </a:lnTo>
                  <a:lnTo>
                    <a:pt x="140" y="329"/>
                  </a:lnTo>
                  <a:lnTo>
                    <a:pt x="143" y="329"/>
                  </a:lnTo>
                  <a:lnTo>
                    <a:pt x="149" y="330"/>
                  </a:lnTo>
                  <a:lnTo>
                    <a:pt x="155" y="331"/>
                  </a:lnTo>
                  <a:lnTo>
                    <a:pt x="162" y="337"/>
                  </a:lnTo>
                  <a:lnTo>
                    <a:pt x="166" y="340"/>
                  </a:lnTo>
                  <a:lnTo>
                    <a:pt x="171" y="338"/>
                  </a:lnTo>
                  <a:lnTo>
                    <a:pt x="171" y="337"/>
                  </a:lnTo>
                  <a:lnTo>
                    <a:pt x="168" y="335"/>
                  </a:lnTo>
                  <a:lnTo>
                    <a:pt x="165" y="330"/>
                  </a:lnTo>
                  <a:lnTo>
                    <a:pt x="160" y="326"/>
                  </a:lnTo>
                  <a:lnTo>
                    <a:pt x="154" y="323"/>
                  </a:lnTo>
                  <a:lnTo>
                    <a:pt x="153" y="318"/>
                  </a:lnTo>
                  <a:lnTo>
                    <a:pt x="158" y="307"/>
                  </a:lnTo>
                  <a:lnTo>
                    <a:pt x="166" y="306"/>
                  </a:lnTo>
                  <a:lnTo>
                    <a:pt x="170" y="305"/>
                  </a:lnTo>
                  <a:lnTo>
                    <a:pt x="173" y="306"/>
                  </a:lnTo>
                  <a:lnTo>
                    <a:pt x="178" y="307"/>
                  </a:lnTo>
                  <a:lnTo>
                    <a:pt x="180" y="308"/>
                  </a:lnTo>
                  <a:lnTo>
                    <a:pt x="180" y="312"/>
                  </a:lnTo>
                  <a:lnTo>
                    <a:pt x="180" y="320"/>
                  </a:lnTo>
                  <a:lnTo>
                    <a:pt x="182" y="321"/>
                  </a:lnTo>
                  <a:lnTo>
                    <a:pt x="184" y="320"/>
                  </a:lnTo>
                  <a:lnTo>
                    <a:pt x="189" y="317"/>
                  </a:lnTo>
                  <a:lnTo>
                    <a:pt x="193" y="314"/>
                  </a:lnTo>
                  <a:lnTo>
                    <a:pt x="194" y="311"/>
                  </a:lnTo>
                  <a:lnTo>
                    <a:pt x="193" y="308"/>
                  </a:lnTo>
                  <a:lnTo>
                    <a:pt x="190" y="307"/>
                  </a:lnTo>
                  <a:lnTo>
                    <a:pt x="189" y="306"/>
                  </a:lnTo>
                  <a:lnTo>
                    <a:pt x="188" y="302"/>
                  </a:lnTo>
                  <a:lnTo>
                    <a:pt x="188" y="294"/>
                  </a:lnTo>
                  <a:lnTo>
                    <a:pt x="187" y="291"/>
                  </a:lnTo>
                  <a:lnTo>
                    <a:pt x="184" y="290"/>
                  </a:lnTo>
                  <a:lnTo>
                    <a:pt x="174" y="290"/>
                  </a:lnTo>
                  <a:lnTo>
                    <a:pt x="167" y="287"/>
                  </a:lnTo>
                  <a:lnTo>
                    <a:pt x="165" y="283"/>
                  </a:lnTo>
                  <a:lnTo>
                    <a:pt x="167" y="276"/>
                  </a:lnTo>
                  <a:lnTo>
                    <a:pt x="173" y="270"/>
                  </a:lnTo>
                  <a:lnTo>
                    <a:pt x="178" y="267"/>
                  </a:lnTo>
                  <a:lnTo>
                    <a:pt x="180" y="265"/>
                  </a:lnTo>
                  <a:lnTo>
                    <a:pt x="184" y="266"/>
                  </a:lnTo>
                  <a:lnTo>
                    <a:pt x="194" y="270"/>
                  </a:lnTo>
                  <a:lnTo>
                    <a:pt x="201" y="270"/>
                  </a:lnTo>
                  <a:lnTo>
                    <a:pt x="208" y="270"/>
                  </a:lnTo>
                  <a:lnTo>
                    <a:pt x="214" y="269"/>
                  </a:lnTo>
                  <a:lnTo>
                    <a:pt x="220" y="269"/>
                  </a:lnTo>
                  <a:lnTo>
                    <a:pt x="224" y="270"/>
                  </a:lnTo>
                  <a:lnTo>
                    <a:pt x="227" y="270"/>
                  </a:lnTo>
                  <a:lnTo>
                    <a:pt x="230" y="267"/>
                  </a:lnTo>
                  <a:lnTo>
                    <a:pt x="231" y="263"/>
                  </a:lnTo>
                  <a:lnTo>
                    <a:pt x="233" y="259"/>
                  </a:lnTo>
                  <a:lnTo>
                    <a:pt x="237" y="257"/>
                  </a:lnTo>
                  <a:lnTo>
                    <a:pt x="242" y="252"/>
                  </a:lnTo>
                  <a:lnTo>
                    <a:pt x="242" y="249"/>
                  </a:lnTo>
                  <a:lnTo>
                    <a:pt x="233" y="248"/>
                  </a:lnTo>
                  <a:lnTo>
                    <a:pt x="229" y="252"/>
                  </a:lnTo>
                  <a:lnTo>
                    <a:pt x="226" y="246"/>
                  </a:lnTo>
                  <a:lnTo>
                    <a:pt x="223" y="245"/>
                  </a:lnTo>
                  <a:lnTo>
                    <a:pt x="219" y="243"/>
                  </a:lnTo>
                  <a:lnTo>
                    <a:pt x="220" y="242"/>
                  </a:lnTo>
                  <a:lnTo>
                    <a:pt x="218" y="239"/>
                  </a:lnTo>
                  <a:lnTo>
                    <a:pt x="208" y="234"/>
                  </a:lnTo>
                  <a:lnTo>
                    <a:pt x="206" y="231"/>
                  </a:lnTo>
                  <a:lnTo>
                    <a:pt x="206" y="230"/>
                  </a:lnTo>
                  <a:lnTo>
                    <a:pt x="212" y="229"/>
                  </a:lnTo>
                  <a:lnTo>
                    <a:pt x="218" y="230"/>
                  </a:lnTo>
                  <a:lnTo>
                    <a:pt x="219" y="233"/>
                  </a:lnTo>
                  <a:lnTo>
                    <a:pt x="223" y="233"/>
                  </a:lnTo>
                  <a:lnTo>
                    <a:pt x="227" y="231"/>
                  </a:lnTo>
                  <a:lnTo>
                    <a:pt x="227" y="230"/>
                  </a:lnTo>
                  <a:lnTo>
                    <a:pt x="229" y="229"/>
                  </a:lnTo>
                  <a:lnTo>
                    <a:pt x="231" y="226"/>
                  </a:lnTo>
                  <a:lnTo>
                    <a:pt x="233" y="219"/>
                  </a:lnTo>
                  <a:lnTo>
                    <a:pt x="233" y="220"/>
                  </a:lnTo>
                  <a:lnTo>
                    <a:pt x="236" y="222"/>
                  </a:lnTo>
                  <a:lnTo>
                    <a:pt x="238" y="222"/>
                  </a:lnTo>
                  <a:lnTo>
                    <a:pt x="239" y="224"/>
                  </a:lnTo>
                  <a:lnTo>
                    <a:pt x="242" y="230"/>
                  </a:lnTo>
                  <a:lnTo>
                    <a:pt x="246" y="234"/>
                  </a:lnTo>
                  <a:lnTo>
                    <a:pt x="250" y="230"/>
                  </a:lnTo>
                  <a:lnTo>
                    <a:pt x="254" y="225"/>
                  </a:lnTo>
                  <a:lnTo>
                    <a:pt x="258" y="220"/>
                  </a:lnTo>
                  <a:lnTo>
                    <a:pt x="262" y="217"/>
                  </a:lnTo>
                  <a:lnTo>
                    <a:pt x="262" y="214"/>
                  </a:lnTo>
                  <a:lnTo>
                    <a:pt x="255" y="210"/>
                  </a:lnTo>
                  <a:lnTo>
                    <a:pt x="252" y="208"/>
                  </a:lnTo>
                  <a:lnTo>
                    <a:pt x="244" y="208"/>
                  </a:lnTo>
                  <a:lnTo>
                    <a:pt x="236" y="211"/>
                  </a:lnTo>
                  <a:lnTo>
                    <a:pt x="231" y="210"/>
                  </a:lnTo>
                  <a:lnTo>
                    <a:pt x="225" y="208"/>
                  </a:lnTo>
                  <a:lnTo>
                    <a:pt x="221" y="208"/>
                  </a:lnTo>
                  <a:lnTo>
                    <a:pt x="217" y="207"/>
                  </a:lnTo>
                  <a:lnTo>
                    <a:pt x="206" y="205"/>
                  </a:lnTo>
                  <a:lnTo>
                    <a:pt x="200" y="202"/>
                  </a:lnTo>
                  <a:lnTo>
                    <a:pt x="199" y="200"/>
                  </a:lnTo>
                  <a:lnTo>
                    <a:pt x="190" y="200"/>
                  </a:lnTo>
                  <a:lnTo>
                    <a:pt x="179" y="206"/>
                  </a:lnTo>
                  <a:lnTo>
                    <a:pt x="171" y="210"/>
                  </a:lnTo>
                  <a:lnTo>
                    <a:pt x="160" y="212"/>
                  </a:lnTo>
                  <a:lnTo>
                    <a:pt x="153" y="214"/>
                  </a:lnTo>
                  <a:lnTo>
                    <a:pt x="136" y="216"/>
                  </a:lnTo>
                  <a:lnTo>
                    <a:pt x="129" y="220"/>
                  </a:lnTo>
                  <a:lnTo>
                    <a:pt x="123" y="220"/>
                  </a:lnTo>
                  <a:lnTo>
                    <a:pt x="119" y="219"/>
                  </a:lnTo>
                  <a:lnTo>
                    <a:pt x="108" y="216"/>
                  </a:lnTo>
                  <a:lnTo>
                    <a:pt x="102" y="213"/>
                  </a:lnTo>
                  <a:lnTo>
                    <a:pt x="100" y="208"/>
                  </a:lnTo>
                  <a:lnTo>
                    <a:pt x="101" y="202"/>
                  </a:lnTo>
                  <a:lnTo>
                    <a:pt x="106" y="200"/>
                  </a:lnTo>
                  <a:lnTo>
                    <a:pt x="109" y="198"/>
                  </a:lnTo>
                  <a:lnTo>
                    <a:pt x="111" y="194"/>
                  </a:lnTo>
                  <a:lnTo>
                    <a:pt x="108" y="188"/>
                  </a:lnTo>
                  <a:lnTo>
                    <a:pt x="113" y="188"/>
                  </a:lnTo>
                  <a:lnTo>
                    <a:pt x="121" y="188"/>
                  </a:lnTo>
                  <a:lnTo>
                    <a:pt x="126" y="187"/>
                  </a:lnTo>
                  <a:lnTo>
                    <a:pt x="131" y="188"/>
                  </a:lnTo>
                  <a:lnTo>
                    <a:pt x="135" y="186"/>
                  </a:lnTo>
                  <a:lnTo>
                    <a:pt x="136" y="181"/>
                  </a:lnTo>
                  <a:lnTo>
                    <a:pt x="138" y="178"/>
                  </a:lnTo>
                  <a:lnTo>
                    <a:pt x="142" y="175"/>
                  </a:lnTo>
                  <a:lnTo>
                    <a:pt x="142" y="172"/>
                  </a:lnTo>
                  <a:lnTo>
                    <a:pt x="144" y="171"/>
                  </a:lnTo>
                  <a:lnTo>
                    <a:pt x="153" y="170"/>
                  </a:lnTo>
                  <a:lnTo>
                    <a:pt x="154" y="169"/>
                  </a:lnTo>
                  <a:lnTo>
                    <a:pt x="155" y="166"/>
                  </a:lnTo>
                  <a:lnTo>
                    <a:pt x="150" y="160"/>
                  </a:lnTo>
                  <a:lnTo>
                    <a:pt x="143" y="158"/>
                  </a:lnTo>
                  <a:lnTo>
                    <a:pt x="143" y="160"/>
                  </a:lnTo>
                  <a:lnTo>
                    <a:pt x="142" y="162"/>
                  </a:lnTo>
                  <a:lnTo>
                    <a:pt x="137" y="160"/>
                  </a:lnTo>
                  <a:lnTo>
                    <a:pt x="128" y="160"/>
                  </a:lnTo>
                  <a:lnTo>
                    <a:pt x="125" y="159"/>
                  </a:lnTo>
                  <a:lnTo>
                    <a:pt x="125" y="156"/>
                  </a:lnTo>
                  <a:lnTo>
                    <a:pt x="128" y="151"/>
                  </a:lnTo>
                  <a:lnTo>
                    <a:pt x="131" y="148"/>
                  </a:lnTo>
                  <a:lnTo>
                    <a:pt x="132" y="144"/>
                  </a:lnTo>
                  <a:lnTo>
                    <a:pt x="132" y="140"/>
                  </a:lnTo>
                  <a:lnTo>
                    <a:pt x="131" y="134"/>
                  </a:lnTo>
                  <a:lnTo>
                    <a:pt x="132" y="130"/>
                  </a:lnTo>
                  <a:lnTo>
                    <a:pt x="134" y="127"/>
                  </a:lnTo>
                  <a:lnTo>
                    <a:pt x="137" y="127"/>
                  </a:lnTo>
                  <a:lnTo>
                    <a:pt x="143" y="129"/>
                  </a:lnTo>
                  <a:lnTo>
                    <a:pt x="152" y="128"/>
                  </a:lnTo>
                  <a:lnTo>
                    <a:pt x="156" y="127"/>
                  </a:lnTo>
                  <a:lnTo>
                    <a:pt x="160" y="124"/>
                  </a:lnTo>
                  <a:lnTo>
                    <a:pt x="162" y="118"/>
                  </a:lnTo>
                  <a:lnTo>
                    <a:pt x="166" y="118"/>
                  </a:lnTo>
                  <a:lnTo>
                    <a:pt x="171" y="121"/>
                  </a:lnTo>
                  <a:lnTo>
                    <a:pt x="176" y="121"/>
                  </a:lnTo>
                  <a:lnTo>
                    <a:pt x="182" y="119"/>
                  </a:lnTo>
                  <a:lnTo>
                    <a:pt x="188" y="116"/>
                  </a:lnTo>
                  <a:lnTo>
                    <a:pt x="189" y="113"/>
                  </a:lnTo>
                  <a:lnTo>
                    <a:pt x="184" y="113"/>
                  </a:lnTo>
                  <a:lnTo>
                    <a:pt x="176" y="116"/>
                  </a:lnTo>
                  <a:lnTo>
                    <a:pt x="173" y="112"/>
                  </a:lnTo>
                  <a:lnTo>
                    <a:pt x="173" y="105"/>
                  </a:lnTo>
                  <a:lnTo>
                    <a:pt x="170" y="105"/>
                  </a:lnTo>
                  <a:lnTo>
                    <a:pt x="168" y="104"/>
                  </a:lnTo>
                  <a:lnTo>
                    <a:pt x="171" y="100"/>
                  </a:lnTo>
                  <a:lnTo>
                    <a:pt x="177" y="93"/>
                  </a:lnTo>
                  <a:lnTo>
                    <a:pt x="178" y="91"/>
                  </a:lnTo>
                  <a:lnTo>
                    <a:pt x="180" y="89"/>
                  </a:lnTo>
                  <a:lnTo>
                    <a:pt x="187" y="91"/>
                  </a:lnTo>
                  <a:lnTo>
                    <a:pt x="195" y="92"/>
                  </a:lnTo>
                  <a:lnTo>
                    <a:pt x="197" y="92"/>
                  </a:lnTo>
                  <a:lnTo>
                    <a:pt x="197" y="94"/>
                  </a:lnTo>
                  <a:lnTo>
                    <a:pt x="199" y="99"/>
                  </a:lnTo>
                  <a:lnTo>
                    <a:pt x="202" y="100"/>
                  </a:lnTo>
                  <a:lnTo>
                    <a:pt x="207" y="99"/>
                  </a:lnTo>
                  <a:lnTo>
                    <a:pt x="208" y="100"/>
                  </a:lnTo>
                  <a:lnTo>
                    <a:pt x="209" y="103"/>
                  </a:lnTo>
                  <a:lnTo>
                    <a:pt x="211" y="100"/>
                  </a:lnTo>
                  <a:lnTo>
                    <a:pt x="213" y="94"/>
                  </a:lnTo>
                  <a:lnTo>
                    <a:pt x="214" y="91"/>
                  </a:lnTo>
                  <a:lnTo>
                    <a:pt x="221" y="83"/>
                  </a:lnTo>
                  <a:lnTo>
                    <a:pt x="227" y="80"/>
                  </a:lnTo>
                  <a:lnTo>
                    <a:pt x="230" y="80"/>
                  </a:lnTo>
                  <a:lnTo>
                    <a:pt x="232" y="80"/>
                  </a:lnTo>
                  <a:lnTo>
                    <a:pt x="236" y="79"/>
                  </a:lnTo>
                  <a:lnTo>
                    <a:pt x="242" y="74"/>
                  </a:lnTo>
                  <a:lnTo>
                    <a:pt x="246" y="73"/>
                  </a:lnTo>
                  <a:lnTo>
                    <a:pt x="254" y="68"/>
                  </a:lnTo>
                  <a:lnTo>
                    <a:pt x="258" y="67"/>
                  </a:lnTo>
                  <a:lnTo>
                    <a:pt x="259" y="65"/>
                  </a:lnTo>
                  <a:lnTo>
                    <a:pt x="255" y="61"/>
                  </a:lnTo>
                  <a:lnTo>
                    <a:pt x="253" y="57"/>
                  </a:lnTo>
                  <a:lnTo>
                    <a:pt x="250" y="56"/>
                  </a:lnTo>
                  <a:lnTo>
                    <a:pt x="252" y="53"/>
                  </a:lnTo>
                  <a:lnTo>
                    <a:pt x="254" y="46"/>
                  </a:lnTo>
                  <a:lnTo>
                    <a:pt x="256" y="43"/>
                  </a:lnTo>
                  <a:lnTo>
                    <a:pt x="259" y="41"/>
                  </a:lnTo>
                  <a:lnTo>
                    <a:pt x="259" y="39"/>
                  </a:lnTo>
                  <a:lnTo>
                    <a:pt x="254" y="37"/>
                  </a:lnTo>
                  <a:lnTo>
                    <a:pt x="254" y="33"/>
                  </a:lnTo>
                  <a:lnTo>
                    <a:pt x="259" y="28"/>
                  </a:lnTo>
                  <a:lnTo>
                    <a:pt x="261" y="27"/>
                  </a:lnTo>
                  <a:lnTo>
                    <a:pt x="266" y="28"/>
                  </a:lnTo>
                  <a:lnTo>
                    <a:pt x="272" y="26"/>
                  </a:lnTo>
                  <a:lnTo>
                    <a:pt x="274" y="23"/>
                  </a:lnTo>
                  <a:lnTo>
                    <a:pt x="271" y="20"/>
                  </a:lnTo>
                  <a:lnTo>
                    <a:pt x="271" y="19"/>
                  </a:lnTo>
                  <a:lnTo>
                    <a:pt x="273" y="17"/>
                  </a:lnTo>
                  <a:lnTo>
                    <a:pt x="280" y="17"/>
                  </a:lnTo>
                  <a:lnTo>
                    <a:pt x="288" y="19"/>
                  </a:lnTo>
                  <a:lnTo>
                    <a:pt x="292" y="17"/>
                  </a:lnTo>
                  <a:lnTo>
                    <a:pt x="296" y="19"/>
                  </a:lnTo>
                  <a:lnTo>
                    <a:pt x="300" y="19"/>
                  </a:lnTo>
                  <a:lnTo>
                    <a:pt x="302" y="16"/>
                  </a:lnTo>
                  <a:lnTo>
                    <a:pt x="306" y="12"/>
                  </a:lnTo>
                  <a:lnTo>
                    <a:pt x="307" y="9"/>
                  </a:lnTo>
                  <a:lnTo>
                    <a:pt x="309" y="8"/>
                  </a:lnTo>
                  <a:lnTo>
                    <a:pt x="309" y="6"/>
                  </a:lnTo>
                  <a:lnTo>
                    <a:pt x="313" y="6"/>
                  </a:lnTo>
                  <a:lnTo>
                    <a:pt x="319" y="6"/>
                  </a:lnTo>
                  <a:lnTo>
                    <a:pt x="324" y="10"/>
                  </a:lnTo>
                  <a:lnTo>
                    <a:pt x="327" y="15"/>
                  </a:lnTo>
                  <a:lnTo>
                    <a:pt x="331" y="15"/>
                  </a:lnTo>
                  <a:lnTo>
                    <a:pt x="333" y="15"/>
                  </a:lnTo>
                  <a:lnTo>
                    <a:pt x="337" y="11"/>
                  </a:lnTo>
                  <a:lnTo>
                    <a:pt x="342" y="6"/>
                  </a:lnTo>
                  <a:lnTo>
                    <a:pt x="347" y="4"/>
                  </a:lnTo>
                  <a:lnTo>
                    <a:pt x="359" y="0"/>
                  </a:lnTo>
                  <a:lnTo>
                    <a:pt x="360" y="0"/>
                  </a:lnTo>
                  <a:lnTo>
                    <a:pt x="362" y="3"/>
                  </a:lnTo>
                  <a:lnTo>
                    <a:pt x="371" y="8"/>
                  </a:lnTo>
                  <a:lnTo>
                    <a:pt x="374" y="14"/>
                  </a:lnTo>
                  <a:lnTo>
                    <a:pt x="377" y="15"/>
                  </a:lnTo>
                  <a:lnTo>
                    <a:pt x="382" y="11"/>
                  </a:lnTo>
                  <a:lnTo>
                    <a:pt x="384" y="11"/>
                  </a:lnTo>
                  <a:lnTo>
                    <a:pt x="388" y="14"/>
                  </a:lnTo>
                  <a:lnTo>
                    <a:pt x="390" y="19"/>
                  </a:lnTo>
                  <a:lnTo>
                    <a:pt x="392" y="20"/>
                  </a:lnTo>
                  <a:lnTo>
                    <a:pt x="396" y="21"/>
                  </a:lnTo>
                  <a:lnTo>
                    <a:pt x="395" y="23"/>
                  </a:lnTo>
                  <a:lnTo>
                    <a:pt x="396" y="22"/>
                  </a:lnTo>
                  <a:lnTo>
                    <a:pt x="404" y="15"/>
                  </a:lnTo>
                  <a:lnTo>
                    <a:pt x="406" y="10"/>
                  </a:lnTo>
                  <a:lnTo>
                    <a:pt x="408" y="9"/>
                  </a:lnTo>
                  <a:lnTo>
                    <a:pt x="412" y="11"/>
                  </a:lnTo>
                  <a:lnTo>
                    <a:pt x="423" y="21"/>
                  </a:lnTo>
                  <a:lnTo>
                    <a:pt x="425" y="23"/>
                  </a:lnTo>
                  <a:lnTo>
                    <a:pt x="426" y="27"/>
                  </a:lnTo>
                  <a:lnTo>
                    <a:pt x="427" y="33"/>
                  </a:lnTo>
                  <a:lnTo>
                    <a:pt x="429" y="39"/>
                  </a:lnTo>
                  <a:lnTo>
                    <a:pt x="429" y="43"/>
                  </a:lnTo>
                  <a:lnTo>
                    <a:pt x="426" y="47"/>
                  </a:lnTo>
                  <a:lnTo>
                    <a:pt x="423" y="51"/>
                  </a:lnTo>
                  <a:lnTo>
                    <a:pt x="421" y="55"/>
                  </a:lnTo>
                  <a:lnTo>
                    <a:pt x="421" y="57"/>
                  </a:lnTo>
                  <a:lnTo>
                    <a:pt x="423" y="62"/>
                  </a:lnTo>
                  <a:lnTo>
                    <a:pt x="427" y="67"/>
                  </a:lnTo>
                  <a:lnTo>
                    <a:pt x="430" y="65"/>
                  </a:lnTo>
                  <a:lnTo>
                    <a:pt x="432" y="63"/>
                  </a:lnTo>
                  <a:lnTo>
                    <a:pt x="436" y="61"/>
                  </a:lnTo>
                  <a:lnTo>
                    <a:pt x="437" y="64"/>
                  </a:lnTo>
                  <a:lnTo>
                    <a:pt x="437" y="70"/>
                  </a:lnTo>
                  <a:lnTo>
                    <a:pt x="433" y="74"/>
                  </a:lnTo>
                  <a:lnTo>
                    <a:pt x="431" y="76"/>
                  </a:lnTo>
                  <a:lnTo>
                    <a:pt x="430" y="77"/>
                  </a:lnTo>
                  <a:lnTo>
                    <a:pt x="429" y="80"/>
                  </a:lnTo>
                  <a:lnTo>
                    <a:pt x="430" y="81"/>
                  </a:lnTo>
                  <a:lnTo>
                    <a:pt x="436" y="81"/>
                  </a:lnTo>
                  <a:lnTo>
                    <a:pt x="436" y="83"/>
                  </a:lnTo>
                  <a:lnTo>
                    <a:pt x="439" y="85"/>
                  </a:lnTo>
                  <a:lnTo>
                    <a:pt x="445" y="87"/>
                  </a:lnTo>
                  <a:lnTo>
                    <a:pt x="450" y="85"/>
                  </a:lnTo>
                  <a:lnTo>
                    <a:pt x="456" y="82"/>
                  </a:lnTo>
                  <a:lnTo>
                    <a:pt x="459" y="80"/>
                  </a:lnTo>
                  <a:lnTo>
                    <a:pt x="459" y="77"/>
                  </a:lnTo>
                  <a:lnTo>
                    <a:pt x="460" y="76"/>
                  </a:lnTo>
                  <a:lnTo>
                    <a:pt x="456" y="75"/>
                  </a:lnTo>
                  <a:lnTo>
                    <a:pt x="451" y="71"/>
                  </a:lnTo>
                  <a:lnTo>
                    <a:pt x="449" y="67"/>
                  </a:lnTo>
                  <a:lnTo>
                    <a:pt x="450" y="63"/>
                  </a:lnTo>
                  <a:lnTo>
                    <a:pt x="453" y="62"/>
                  </a:lnTo>
                  <a:lnTo>
                    <a:pt x="460" y="64"/>
                  </a:lnTo>
                  <a:lnTo>
                    <a:pt x="465" y="68"/>
                  </a:lnTo>
                  <a:lnTo>
                    <a:pt x="465" y="70"/>
                  </a:lnTo>
                  <a:lnTo>
                    <a:pt x="466" y="74"/>
                  </a:lnTo>
                  <a:lnTo>
                    <a:pt x="468" y="74"/>
                  </a:lnTo>
                  <a:lnTo>
                    <a:pt x="473" y="70"/>
                  </a:lnTo>
                  <a:lnTo>
                    <a:pt x="478" y="68"/>
                  </a:lnTo>
                  <a:lnTo>
                    <a:pt x="485" y="64"/>
                  </a:lnTo>
                  <a:lnTo>
                    <a:pt x="489" y="64"/>
                  </a:lnTo>
                  <a:lnTo>
                    <a:pt x="491" y="67"/>
                  </a:lnTo>
                  <a:lnTo>
                    <a:pt x="494" y="76"/>
                  </a:lnTo>
                  <a:lnTo>
                    <a:pt x="495" y="80"/>
                  </a:lnTo>
                  <a:lnTo>
                    <a:pt x="497" y="80"/>
                  </a:lnTo>
                  <a:lnTo>
                    <a:pt x="500" y="77"/>
                  </a:lnTo>
                  <a:lnTo>
                    <a:pt x="504" y="76"/>
                  </a:lnTo>
                  <a:lnTo>
                    <a:pt x="513" y="76"/>
                  </a:lnTo>
                  <a:lnTo>
                    <a:pt x="513" y="80"/>
                  </a:lnTo>
                  <a:lnTo>
                    <a:pt x="513" y="83"/>
                  </a:lnTo>
                  <a:lnTo>
                    <a:pt x="514" y="85"/>
                  </a:lnTo>
                  <a:lnTo>
                    <a:pt x="516" y="87"/>
                  </a:lnTo>
                  <a:lnTo>
                    <a:pt x="515" y="91"/>
                  </a:lnTo>
                  <a:lnTo>
                    <a:pt x="515" y="93"/>
                  </a:lnTo>
                  <a:lnTo>
                    <a:pt x="514" y="95"/>
                  </a:lnTo>
                  <a:lnTo>
                    <a:pt x="512" y="95"/>
                  </a:lnTo>
                  <a:lnTo>
                    <a:pt x="512" y="99"/>
                  </a:lnTo>
                  <a:lnTo>
                    <a:pt x="510" y="107"/>
                  </a:lnTo>
                  <a:lnTo>
                    <a:pt x="502" y="107"/>
                  </a:lnTo>
                  <a:lnTo>
                    <a:pt x="501" y="106"/>
                  </a:lnTo>
                  <a:lnTo>
                    <a:pt x="498" y="107"/>
                  </a:lnTo>
                  <a:lnTo>
                    <a:pt x="496" y="110"/>
                  </a:lnTo>
                  <a:lnTo>
                    <a:pt x="494" y="112"/>
                  </a:lnTo>
                  <a:lnTo>
                    <a:pt x="495" y="117"/>
                  </a:lnTo>
                  <a:lnTo>
                    <a:pt x="495" y="115"/>
                  </a:lnTo>
                  <a:lnTo>
                    <a:pt x="498" y="113"/>
                  </a:lnTo>
                  <a:lnTo>
                    <a:pt x="506" y="113"/>
                  </a:lnTo>
                  <a:lnTo>
                    <a:pt x="510" y="112"/>
                  </a:lnTo>
                  <a:lnTo>
                    <a:pt x="513" y="115"/>
                  </a:lnTo>
                  <a:lnTo>
                    <a:pt x="514" y="118"/>
                  </a:lnTo>
                  <a:lnTo>
                    <a:pt x="515" y="117"/>
                  </a:lnTo>
                  <a:lnTo>
                    <a:pt x="518" y="111"/>
                  </a:lnTo>
                  <a:lnTo>
                    <a:pt x="519" y="109"/>
                  </a:lnTo>
                  <a:lnTo>
                    <a:pt x="524" y="107"/>
                  </a:lnTo>
                  <a:lnTo>
                    <a:pt x="527" y="106"/>
                  </a:lnTo>
                  <a:lnTo>
                    <a:pt x="532" y="107"/>
                  </a:lnTo>
                  <a:lnTo>
                    <a:pt x="537" y="110"/>
                  </a:lnTo>
                  <a:lnTo>
                    <a:pt x="543" y="113"/>
                  </a:lnTo>
                  <a:lnTo>
                    <a:pt x="553" y="113"/>
                  </a:lnTo>
                  <a:lnTo>
                    <a:pt x="557" y="115"/>
                  </a:lnTo>
                  <a:lnTo>
                    <a:pt x="557" y="117"/>
                  </a:lnTo>
                  <a:lnTo>
                    <a:pt x="556" y="119"/>
                  </a:lnTo>
                  <a:lnTo>
                    <a:pt x="559" y="121"/>
                  </a:lnTo>
                  <a:lnTo>
                    <a:pt x="563" y="121"/>
                  </a:lnTo>
                  <a:lnTo>
                    <a:pt x="565" y="119"/>
                  </a:lnTo>
                  <a:lnTo>
                    <a:pt x="567" y="111"/>
                  </a:lnTo>
                  <a:lnTo>
                    <a:pt x="571" y="107"/>
                  </a:lnTo>
                  <a:lnTo>
                    <a:pt x="574" y="105"/>
                  </a:lnTo>
                  <a:lnTo>
                    <a:pt x="578" y="105"/>
                  </a:lnTo>
                  <a:lnTo>
                    <a:pt x="585" y="105"/>
                  </a:lnTo>
                  <a:lnTo>
                    <a:pt x="589" y="103"/>
                  </a:lnTo>
                  <a:lnTo>
                    <a:pt x="592" y="100"/>
                  </a:lnTo>
                  <a:lnTo>
                    <a:pt x="597" y="101"/>
                  </a:lnTo>
                  <a:lnTo>
                    <a:pt x="603" y="103"/>
                  </a:lnTo>
                  <a:lnTo>
                    <a:pt x="607" y="101"/>
                  </a:lnTo>
                  <a:lnTo>
                    <a:pt x="609" y="105"/>
                  </a:lnTo>
                  <a:lnTo>
                    <a:pt x="613" y="105"/>
                  </a:lnTo>
                  <a:lnTo>
                    <a:pt x="615" y="103"/>
                  </a:lnTo>
                  <a:lnTo>
                    <a:pt x="619" y="103"/>
                  </a:lnTo>
                  <a:lnTo>
                    <a:pt x="622" y="106"/>
                  </a:lnTo>
                  <a:lnTo>
                    <a:pt x="628" y="106"/>
                  </a:lnTo>
                  <a:lnTo>
                    <a:pt x="638" y="100"/>
                  </a:lnTo>
                  <a:lnTo>
                    <a:pt x="643" y="97"/>
                  </a:lnTo>
                  <a:lnTo>
                    <a:pt x="648" y="97"/>
                  </a:lnTo>
                  <a:lnTo>
                    <a:pt x="654" y="95"/>
                  </a:lnTo>
                  <a:lnTo>
                    <a:pt x="655" y="99"/>
                  </a:lnTo>
                  <a:lnTo>
                    <a:pt x="654" y="105"/>
                  </a:lnTo>
                  <a:lnTo>
                    <a:pt x="652" y="106"/>
                  </a:lnTo>
                  <a:lnTo>
                    <a:pt x="655" y="109"/>
                  </a:lnTo>
                  <a:lnTo>
                    <a:pt x="661" y="111"/>
                  </a:lnTo>
                  <a:lnTo>
                    <a:pt x="662" y="112"/>
                  </a:lnTo>
                  <a:lnTo>
                    <a:pt x="661" y="115"/>
                  </a:lnTo>
                  <a:lnTo>
                    <a:pt x="662" y="116"/>
                  </a:lnTo>
                  <a:lnTo>
                    <a:pt x="665" y="117"/>
                  </a:lnTo>
                  <a:lnTo>
                    <a:pt x="667" y="116"/>
                  </a:lnTo>
                  <a:lnTo>
                    <a:pt x="668" y="112"/>
                  </a:lnTo>
                  <a:lnTo>
                    <a:pt x="672" y="113"/>
                  </a:lnTo>
                  <a:lnTo>
                    <a:pt x="675" y="119"/>
                  </a:lnTo>
                  <a:lnTo>
                    <a:pt x="680" y="126"/>
                  </a:lnTo>
                  <a:lnTo>
                    <a:pt x="680" y="129"/>
                  </a:lnTo>
                  <a:lnTo>
                    <a:pt x="684" y="130"/>
                  </a:lnTo>
                  <a:lnTo>
                    <a:pt x="686" y="129"/>
                  </a:lnTo>
                  <a:lnTo>
                    <a:pt x="690" y="128"/>
                  </a:lnTo>
                  <a:lnTo>
                    <a:pt x="697" y="130"/>
                  </a:lnTo>
                  <a:lnTo>
                    <a:pt x="702" y="133"/>
                  </a:lnTo>
                  <a:lnTo>
                    <a:pt x="704" y="128"/>
                  </a:lnTo>
                  <a:lnTo>
                    <a:pt x="705" y="127"/>
                  </a:lnTo>
                  <a:lnTo>
                    <a:pt x="708" y="128"/>
                  </a:lnTo>
                  <a:lnTo>
                    <a:pt x="714" y="134"/>
                  </a:lnTo>
                  <a:lnTo>
                    <a:pt x="717" y="135"/>
                  </a:lnTo>
                  <a:lnTo>
                    <a:pt x="724" y="136"/>
                  </a:lnTo>
                  <a:lnTo>
                    <a:pt x="731" y="138"/>
                  </a:lnTo>
                  <a:lnTo>
                    <a:pt x="736" y="136"/>
                  </a:lnTo>
                  <a:lnTo>
                    <a:pt x="737" y="133"/>
                  </a:lnTo>
                  <a:lnTo>
                    <a:pt x="742" y="133"/>
                  </a:lnTo>
                  <a:lnTo>
                    <a:pt x="748" y="138"/>
                  </a:lnTo>
                  <a:lnTo>
                    <a:pt x="754" y="138"/>
                  </a:lnTo>
                  <a:lnTo>
                    <a:pt x="763" y="136"/>
                  </a:lnTo>
                  <a:lnTo>
                    <a:pt x="773" y="136"/>
                  </a:lnTo>
                  <a:lnTo>
                    <a:pt x="780" y="139"/>
                  </a:lnTo>
                  <a:lnTo>
                    <a:pt x="785" y="138"/>
                  </a:lnTo>
                  <a:lnTo>
                    <a:pt x="789" y="134"/>
                  </a:lnTo>
                  <a:lnTo>
                    <a:pt x="790" y="134"/>
                  </a:lnTo>
                  <a:lnTo>
                    <a:pt x="790" y="138"/>
                  </a:lnTo>
                  <a:lnTo>
                    <a:pt x="789" y="145"/>
                  </a:lnTo>
                  <a:lnTo>
                    <a:pt x="787" y="150"/>
                  </a:lnTo>
                  <a:lnTo>
                    <a:pt x="786" y="153"/>
                  </a:lnTo>
                  <a:lnTo>
                    <a:pt x="789" y="154"/>
                  </a:lnTo>
                  <a:lnTo>
                    <a:pt x="791" y="154"/>
                  </a:lnTo>
                  <a:lnTo>
                    <a:pt x="793" y="156"/>
                  </a:lnTo>
                  <a:lnTo>
                    <a:pt x="798" y="157"/>
                  </a:lnTo>
                  <a:lnTo>
                    <a:pt x="802" y="157"/>
                  </a:lnTo>
                  <a:lnTo>
                    <a:pt x="804" y="157"/>
                  </a:lnTo>
                  <a:lnTo>
                    <a:pt x="804" y="156"/>
                  </a:lnTo>
                  <a:lnTo>
                    <a:pt x="801" y="152"/>
                  </a:lnTo>
                  <a:lnTo>
                    <a:pt x="801" y="151"/>
                  </a:lnTo>
                  <a:lnTo>
                    <a:pt x="804" y="150"/>
                  </a:lnTo>
                  <a:lnTo>
                    <a:pt x="813" y="146"/>
                  </a:lnTo>
                  <a:lnTo>
                    <a:pt x="817" y="147"/>
                  </a:lnTo>
                  <a:lnTo>
                    <a:pt x="820" y="152"/>
                  </a:lnTo>
                  <a:lnTo>
                    <a:pt x="821" y="153"/>
                  </a:lnTo>
                  <a:lnTo>
                    <a:pt x="823" y="151"/>
                  </a:lnTo>
                  <a:lnTo>
                    <a:pt x="823" y="153"/>
                  </a:lnTo>
                  <a:lnTo>
                    <a:pt x="823" y="164"/>
                  </a:lnTo>
                  <a:lnTo>
                    <a:pt x="821" y="170"/>
                  </a:lnTo>
                  <a:lnTo>
                    <a:pt x="821" y="171"/>
                  </a:lnTo>
                  <a:lnTo>
                    <a:pt x="819" y="172"/>
                  </a:lnTo>
                  <a:lnTo>
                    <a:pt x="813" y="171"/>
                  </a:lnTo>
                  <a:lnTo>
                    <a:pt x="811" y="176"/>
                  </a:lnTo>
                  <a:lnTo>
                    <a:pt x="813" y="177"/>
                  </a:lnTo>
                  <a:lnTo>
                    <a:pt x="809" y="177"/>
                  </a:lnTo>
                  <a:lnTo>
                    <a:pt x="801" y="175"/>
                  </a:lnTo>
                  <a:lnTo>
                    <a:pt x="801" y="180"/>
                  </a:lnTo>
                  <a:lnTo>
                    <a:pt x="801" y="183"/>
                  </a:lnTo>
                  <a:lnTo>
                    <a:pt x="797" y="183"/>
                  </a:lnTo>
                  <a:lnTo>
                    <a:pt x="792" y="180"/>
                  </a:lnTo>
                  <a:lnTo>
                    <a:pt x="790" y="180"/>
                  </a:lnTo>
                  <a:lnTo>
                    <a:pt x="786" y="181"/>
                  </a:lnTo>
                  <a:lnTo>
                    <a:pt x="780" y="183"/>
                  </a:lnTo>
                  <a:lnTo>
                    <a:pt x="778" y="183"/>
                  </a:lnTo>
                  <a:lnTo>
                    <a:pt x="778" y="184"/>
                  </a:lnTo>
                  <a:lnTo>
                    <a:pt x="780" y="188"/>
                  </a:lnTo>
                  <a:lnTo>
                    <a:pt x="784" y="186"/>
                  </a:lnTo>
                  <a:lnTo>
                    <a:pt x="790" y="183"/>
                  </a:lnTo>
                  <a:lnTo>
                    <a:pt x="791" y="183"/>
                  </a:lnTo>
                  <a:lnTo>
                    <a:pt x="795" y="184"/>
                  </a:lnTo>
                  <a:lnTo>
                    <a:pt x="802" y="188"/>
                  </a:lnTo>
                  <a:lnTo>
                    <a:pt x="804" y="190"/>
                  </a:lnTo>
                  <a:lnTo>
                    <a:pt x="810" y="192"/>
                  </a:lnTo>
                  <a:lnTo>
                    <a:pt x="811" y="194"/>
                  </a:lnTo>
                  <a:lnTo>
                    <a:pt x="811" y="196"/>
                  </a:lnTo>
                  <a:lnTo>
                    <a:pt x="815" y="204"/>
                  </a:lnTo>
                  <a:lnTo>
                    <a:pt x="826" y="206"/>
                  </a:lnTo>
                  <a:lnTo>
                    <a:pt x="833" y="213"/>
                  </a:lnTo>
                  <a:lnTo>
                    <a:pt x="839" y="214"/>
                  </a:lnTo>
                  <a:lnTo>
                    <a:pt x="838" y="218"/>
                  </a:lnTo>
                  <a:lnTo>
                    <a:pt x="832" y="230"/>
                  </a:lnTo>
                  <a:lnTo>
                    <a:pt x="826" y="231"/>
                  </a:lnTo>
                  <a:lnTo>
                    <a:pt x="823" y="231"/>
                  </a:lnTo>
                  <a:lnTo>
                    <a:pt x="821" y="230"/>
                  </a:lnTo>
                  <a:lnTo>
                    <a:pt x="820" y="229"/>
                  </a:lnTo>
                  <a:lnTo>
                    <a:pt x="815" y="229"/>
                  </a:lnTo>
                  <a:lnTo>
                    <a:pt x="813" y="231"/>
                  </a:lnTo>
                  <a:lnTo>
                    <a:pt x="811" y="231"/>
                  </a:lnTo>
                  <a:lnTo>
                    <a:pt x="803" y="230"/>
                  </a:lnTo>
                  <a:lnTo>
                    <a:pt x="805" y="233"/>
                  </a:lnTo>
                  <a:lnTo>
                    <a:pt x="810" y="234"/>
                  </a:lnTo>
                  <a:lnTo>
                    <a:pt x="815" y="237"/>
                  </a:lnTo>
                  <a:lnTo>
                    <a:pt x="816" y="243"/>
                  </a:lnTo>
                  <a:lnTo>
                    <a:pt x="816" y="248"/>
                  </a:lnTo>
                  <a:lnTo>
                    <a:pt x="816" y="251"/>
                  </a:lnTo>
                  <a:lnTo>
                    <a:pt x="814" y="251"/>
                  </a:lnTo>
                  <a:lnTo>
                    <a:pt x="805" y="247"/>
                  </a:lnTo>
                  <a:lnTo>
                    <a:pt x="797" y="245"/>
                  </a:lnTo>
                  <a:lnTo>
                    <a:pt x="791" y="243"/>
                  </a:lnTo>
                  <a:lnTo>
                    <a:pt x="790" y="241"/>
                  </a:lnTo>
                  <a:lnTo>
                    <a:pt x="790" y="245"/>
                  </a:lnTo>
                  <a:lnTo>
                    <a:pt x="787" y="246"/>
                  </a:lnTo>
                  <a:lnTo>
                    <a:pt x="785" y="242"/>
                  </a:lnTo>
                  <a:lnTo>
                    <a:pt x="775" y="231"/>
                  </a:lnTo>
                  <a:lnTo>
                    <a:pt x="773" y="230"/>
                  </a:lnTo>
                  <a:lnTo>
                    <a:pt x="769" y="230"/>
                  </a:lnTo>
                  <a:lnTo>
                    <a:pt x="768" y="231"/>
                  </a:lnTo>
                  <a:lnTo>
                    <a:pt x="766" y="234"/>
                  </a:lnTo>
                  <a:lnTo>
                    <a:pt x="758" y="233"/>
                  </a:lnTo>
                  <a:lnTo>
                    <a:pt x="755" y="234"/>
                  </a:lnTo>
                  <a:lnTo>
                    <a:pt x="756" y="239"/>
                  </a:lnTo>
                  <a:lnTo>
                    <a:pt x="760" y="243"/>
                  </a:lnTo>
                  <a:lnTo>
                    <a:pt x="766" y="245"/>
                  </a:lnTo>
                  <a:lnTo>
                    <a:pt x="774" y="251"/>
                  </a:lnTo>
                  <a:lnTo>
                    <a:pt x="774" y="252"/>
                  </a:lnTo>
                  <a:lnTo>
                    <a:pt x="775" y="254"/>
                  </a:lnTo>
                  <a:lnTo>
                    <a:pt x="781" y="261"/>
                  </a:lnTo>
                  <a:lnTo>
                    <a:pt x="783" y="263"/>
                  </a:lnTo>
                  <a:lnTo>
                    <a:pt x="781" y="265"/>
                  </a:lnTo>
                  <a:lnTo>
                    <a:pt x="776" y="265"/>
                  </a:lnTo>
                  <a:lnTo>
                    <a:pt x="767" y="263"/>
                  </a:lnTo>
                  <a:lnTo>
                    <a:pt x="762" y="263"/>
                  </a:lnTo>
                  <a:lnTo>
                    <a:pt x="760" y="259"/>
                  </a:lnTo>
                  <a:lnTo>
                    <a:pt x="760" y="253"/>
                  </a:lnTo>
                  <a:lnTo>
                    <a:pt x="754" y="248"/>
                  </a:lnTo>
                  <a:lnTo>
                    <a:pt x="740" y="245"/>
                  </a:lnTo>
                  <a:lnTo>
                    <a:pt x="739" y="245"/>
                  </a:lnTo>
                  <a:lnTo>
                    <a:pt x="740" y="247"/>
                  </a:lnTo>
                  <a:lnTo>
                    <a:pt x="745" y="252"/>
                  </a:lnTo>
                  <a:lnTo>
                    <a:pt x="746" y="257"/>
                  </a:lnTo>
                  <a:lnTo>
                    <a:pt x="746" y="263"/>
                  </a:lnTo>
                  <a:lnTo>
                    <a:pt x="749" y="261"/>
                  </a:lnTo>
                  <a:lnTo>
                    <a:pt x="754" y="264"/>
                  </a:lnTo>
                  <a:lnTo>
                    <a:pt x="761" y="269"/>
                  </a:lnTo>
                  <a:lnTo>
                    <a:pt x="766" y="272"/>
                  </a:lnTo>
                  <a:lnTo>
                    <a:pt x="768" y="272"/>
                  </a:lnTo>
                  <a:lnTo>
                    <a:pt x="773" y="276"/>
                  </a:lnTo>
                  <a:lnTo>
                    <a:pt x="779" y="282"/>
                  </a:lnTo>
                  <a:lnTo>
                    <a:pt x="781" y="285"/>
                  </a:lnTo>
                  <a:lnTo>
                    <a:pt x="783" y="290"/>
                  </a:lnTo>
                  <a:lnTo>
                    <a:pt x="786" y="295"/>
                  </a:lnTo>
                  <a:lnTo>
                    <a:pt x="789" y="300"/>
                  </a:lnTo>
                  <a:lnTo>
                    <a:pt x="793" y="301"/>
                  </a:lnTo>
                  <a:lnTo>
                    <a:pt x="801" y="300"/>
                  </a:lnTo>
                  <a:lnTo>
                    <a:pt x="804" y="300"/>
                  </a:lnTo>
                  <a:lnTo>
                    <a:pt x="804" y="302"/>
                  </a:lnTo>
                  <a:lnTo>
                    <a:pt x="805" y="308"/>
                  </a:lnTo>
                  <a:lnTo>
                    <a:pt x="807" y="311"/>
                  </a:lnTo>
                  <a:lnTo>
                    <a:pt x="809" y="312"/>
                  </a:lnTo>
                  <a:lnTo>
                    <a:pt x="813" y="309"/>
                  </a:lnTo>
                  <a:lnTo>
                    <a:pt x="815" y="308"/>
                  </a:lnTo>
                  <a:lnTo>
                    <a:pt x="816" y="311"/>
                  </a:lnTo>
                  <a:lnTo>
                    <a:pt x="819" y="314"/>
                  </a:lnTo>
                  <a:lnTo>
                    <a:pt x="820" y="317"/>
                  </a:lnTo>
                  <a:lnTo>
                    <a:pt x="822" y="317"/>
                  </a:lnTo>
                  <a:lnTo>
                    <a:pt x="822" y="320"/>
                  </a:lnTo>
                  <a:lnTo>
                    <a:pt x="822" y="329"/>
                  </a:lnTo>
                  <a:lnTo>
                    <a:pt x="822" y="330"/>
                  </a:lnTo>
                  <a:lnTo>
                    <a:pt x="826" y="331"/>
                  </a:lnTo>
                  <a:lnTo>
                    <a:pt x="829" y="331"/>
                  </a:lnTo>
                  <a:lnTo>
                    <a:pt x="833" y="329"/>
                  </a:lnTo>
                  <a:lnTo>
                    <a:pt x="834" y="325"/>
                  </a:lnTo>
                  <a:lnTo>
                    <a:pt x="838" y="324"/>
                  </a:lnTo>
                  <a:lnTo>
                    <a:pt x="844" y="324"/>
                  </a:lnTo>
                  <a:lnTo>
                    <a:pt x="848" y="323"/>
                  </a:lnTo>
                  <a:lnTo>
                    <a:pt x="849" y="319"/>
                  </a:lnTo>
                  <a:lnTo>
                    <a:pt x="852" y="319"/>
                  </a:lnTo>
                  <a:lnTo>
                    <a:pt x="862" y="319"/>
                  </a:lnTo>
                  <a:lnTo>
                    <a:pt x="864" y="319"/>
                  </a:lnTo>
                  <a:lnTo>
                    <a:pt x="866" y="321"/>
                  </a:lnTo>
                  <a:lnTo>
                    <a:pt x="863" y="331"/>
                  </a:lnTo>
                  <a:lnTo>
                    <a:pt x="866" y="333"/>
                  </a:lnTo>
                  <a:lnTo>
                    <a:pt x="868" y="332"/>
                  </a:lnTo>
                  <a:lnTo>
                    <a:pt x="872" y="331"/>
                  </a:lnTo>
                  <a:lnTo>
                    <a:pt x="879" y="331"/>
                  </a:lnTo>
                  <a:lnTo>
                    <a:pt x="880" y="332"/>
                  </a:lnTo>
                  <a:lnTo>
                    <a:pt x="882" y="329"/>
                  </a:lnTo>
                  <a:lnTo>
                    <a:pt x="886" y="326"/>
                  </a:lnTo>
                  <a:lnTo>
                    <a:pt x="888" y="326"/>
                  </a:lnTo>
                  <a:lnTo>
                    <a:pt x="890" y="327"/>
                  </a:lnTo>
                  <a:lnTo>
                    <a:pt x="890" y="333"/>
                  </a:lnTo>
                  <a:lnTo>
                    <a:pt x="888" y="341"/>
                  </a:lnTo>
                  <a:lnTo>
                    <a:pt x="890" y="343"/>
                  </a:lnTo>
                  <a:lnTo>
                    <a:pt x="892" y="347"/>
                  </a:lnTo>
                  <a:lnTo>
                    <a:pt x="899" y="344"/>
                  </a:lnTo>
                  <a:lnTo>
                    <a:pt x="904" y="340"/>
                  </a:lnTo>
                  <a:lnTo>
                    <a:pt x="909" y="338"/>
                  </a:lnTo>
                  <a:lnTo>
                    <a:pt x="910" y="343"/>
                  </a:lnTo>
                  <a:lnTo>
                    <a:pt x="911" y="347"/>
                  </a:lnTo>
                  <a:lnTo>
                    <a:pt x="917" y="352"/>
                  </a:lnTo>
                  <a:lnTo>
                    <a:pt x="920" y="358"/>
                  </a:lnTo>
                  <a:lnTo>
                    <a:pt x="920" y="360"/>
                  </a:lnTo>
                  <a:lnTo>
                    <a:pt x="916" y="362"/>
                  </a:lnTo>
                  <a:lnTo>
                    <a:pt x="907" y="362"/>
                  </a:lnTo>
                  <a:lnTo>
                    <a:pt x="903" y="362"/>
                  </a:lnTo>
                  <a:lnTo>
                    <a:pt x="900" y="364"/>
                  </a:lnTo>
                  <a:lnTo>
                    <a:pt x="898" y="367"/>
                  </a:lnTo>
                  <a:lnTo>
                    <a:pt x="894" y="371"/>
                  </a:lnTo>
                  <a:lnTo>
                    <a:pt x="893" y="371"/>
                  </a:lnTo>
                  <a:lnTo>
                    <a:pt x="890" y="374"/>
                  </a:lnTo>
                  <a:lnTo>
                    <a:pt x="884" y="378"/>
                  </a:lnTo>
                  <a:lnTo>
                    <a:pt x="878" y="380"/>
                  </a:lnTo>
                  <a:lnTo>
                    <a:pt x="873" y="380"/>
                  </a:lnTo>
                  <a:lnTo>
                    <a:pt x="872" y="383"/>
                  </a:lnTo>
                  <a:lnTo>
                    <a:pt x="869" y="388"/>
                  </a:lnTo>
                  <a:lnTo>
                    <a:pt x="870" y="394"/>
                  </a:lnTo>
                  <a:lnTo>
                    <a:pt x="875" y="397"/>
                  </a:lnTo>
                  <a:lnTo>
                    <a:pt x="874" y="400"/>
                  </a:lnTo>
                  <a:lnTo>
                    <a:pt x="862" y="400"/>
                  </a:lnTo>
                  <a:lnTo>
                    <a:pt x="857" y="400"/>
                  </a:lnTo>
                  <a:lnTo>
                    <a:pt x="855" y="403"/>
                  </a:lnTo>
                  <a:lnTo>
                    <a:pt x="855" y="408"/>
                  </a:lnTo>
                  <a:lnTo>
                    <a:pt x="858" y="409"/>
                  </a:lnTo>
                  <a:lnTo>
                    <a:pt x="870" y="409"/>
                  </a:lnTo>
                  <a:lnTo>
                    <a:pt x="870" y="407"/>
                  </a:lnTo>
                  <a:lnTo>
                    <a:pt x="873" y="407"/>
                  </a:lnTo>
                  <a:lnTo>
                    <a:pt x="879" y="409"/>
                  </a:lnTo>
                  <a:lnTo>
                    <a:pt x="888" y="414"/>
                  </a:lnTo>
                  <a:lnTo>
                    <a:pt x="892" y="413"/>
                  </a:lnTo>
                  <a:lnTo>
                    <a:pt x="893" y="409"/>
                  </a:lnTo>
                  <a:lnTo>
                    <a:pt x="893" y="408"/>
                  </a:lnTo>
                  <a:lnTo>
                    <a:pt x="898" y="409"/>
                  </a:lnTo>
                  <a:lnTo>
                    <a:pt x="907" y="413"/>
                  </a:lnTo>
                  <a:lnTo>
                    <a:pt x="910" y="412"/>
                  </a:lnTo>
                  <a:lnTo>
                    <a:pt x="916" y="407"/>
                  </a:lnTo>
                  <a:lnTo>
                    <a:pt x="920" y="401"/>
                  </a:lnTo>
                  <a:lnTo>
                    <a:pt x="923" y="402"/>
                  </a:lnTo>
                  <a:lnTo>
                    <a:pt x="928" y="407"/>
                  </a:lnTo>
                  <a:lnTo>
                    <a:pt x="926" y="410"/>
                  </a:lnTo>
                  <a:lnTo>
                    <a:pt x="920" y="414"/>
                  </a:lnTo>
                  <a:lnTo>
                    <a:pt x="919" y="415"/>
                  </a:lnTo>
                  <a:lnTo>
                    <a:pt x="921" y="416"/>
                  </a:lnTo>
                  <a:lnTo>
                    <a:pt x="933" y="421"/>
                  </a:lnTo>
                  <a:lnTo>
                    <a:pt x="937" y="421"/>
                  </a:lnTo>
                  <a:lnTo>
                    <a:pt x="939" y="424"/>
                  </a:lnTo>
                  <a:lnTo>
                    <a:pt x="941" y="426"/>
                  </a:lnTo>
                  <a:lnTo>
                    <a:pt x="944" y="427"/>
                  </a:lnTo>
                  <a:lnTo>
                    <a:pt x="945" y="425"/>
                  </a:lnTo>
                  <a:lnTo>
                    <a:pt x="947" y="427"/>
                  </a:lnTo>
                  <a:lnTo>
                    <a:pt x="952" y="434"/>
                  </a:lnTo>
                  <a:lnTo>
                    <a:pt x="953" y="436"/>
                  </a:lnTo>
                  <a:lnTo>
                    <a:pt x="957" y="434"/>
                  </a:lnTo>
                  <a:lnTo>
                    <a:pt x="962" y="432"/>
                  </a:lnTo>
                  <a:lnTo>
                    <a:pt x="963" y="430"/>
                  </a:lnTo>
                  <a:lnTo>
                    <a:pt x="962" y="424"/>
                  </a:lnTo>
                  <a:lnTo>
                    <a:pt x="963" y="418"/>
                  </a:lnTo>
                  <a:lnTo>
                    <a:pt x="962" y="415"/>
                  </a:lnTo>
                  <a:lnTo>
                    <a:pt x="966" y="414"/>
                  </a:lnTo>
                  <a:lnTo>
                    <a:pt x="973" y="413"/>
                  </a:lnTo>
                  <a:lnTo>
                    <a:pt x="974" y="415"/>
                  </a:lnTo>
                  <a:lnTo>
                    <a:pt x="975" y="419"/>
                  </a:lnTo>
                  <a:lnTo>
                    <a:pt x="978" y="420"/>
                  </a:lnTo>
                  <a:lnTo>
                    <a:pt x="982" y="419"/>
                  </a:lnTo>
                  <a:lnTo>
                    <a:pt x="985" y="420"/>
                  </a:lnTo>
                  <a:lnTo>
                    <a:pt x="988" y="422"/>
                  </a:lnTo>
                  <a:lnTo>
                    <a:pt x="990" y="425"/>
                  </a:lnTo>
                  <a:lnTo>
                    <a:pt x="993" y="431"/>
                  </a:lnTo>
                  <a:lnTo>
                    <a:pt x="997" y="438"/>
                  </a:lnTo>
                  <a:lnTo>
                    <a:pt x="992" y="439"/>
                  </a:lnTo>
                  <a:lnTo>
                    <a:pt x="992" y="440"/>
                  </a:lnTo>
                  <a:lnTo>
                    <a:pt x="988" y="442"/>
                  </a:lnTo>
                  <a:lnTo>
                    <a:pt x="980" y="443"/>
                  </a:lnTo>
                  <a:lnTo>
                    <a:pt x="980" y="447"/>
                  </a:lnTo>
                  <a:lnTo>
                    <a:pt x="981" y="445"/>
                  </a:lnTo>
                  <a:lnTo>
                    <a:pt x="984" y="448"/>
                  </a:lnTo>
                  <a:lnTo>
                    <a:pt x="994" y="455"/>
                  </a:lnTo>
                  <a:lnTo>
                    <a:pt x="997" y="455"/>
                  </a:lnTo>
                  <a:lnTo>
                    <a:pt x="997" y="456"/>
                  </a:lnTo>
                  <a:lnTo>
                    <a:pt x="994" y="460"/>
                  </a:lnTo>
                  <a:lnTo>
                    <a:pt x="988" y="465"/>
                  </a:lnTo>
                  <a:lnTo>
                    <a:pt x="988" y="468"/>
                  </a:lnTo>
                  <a:lnTo>
                    <a:pt x="992" y="477"/>
                  </a:lnTo>
                  <a:lnTo>
                    <a:pt x="994" y="481"/>
                  </a:lnTo>
                  <a:lnTo>
                    <a:pt x="993" y="481"/>
                  </a:lnTo>
                  <a:lnTo>
                    <a:pt x="988" y="481"/>
                  </a:lnTo>
                  <a:lnTo>
                    <a:pt x="985" y="480"/>
                  </a:lnTo>
                  <a:lnTo>
                    <a:pt x="984" y="475"/>
                  </a:lnTo>
                  <a:lnTo>
                    <a:pt x="980" y="474"/>
                  </a:lnTo>
                  <a:lnTo>
                    <a:pt x="975" y="474"/>
                  </a:lnTo>
                  <a:lnTo>
                    <a:pt x="973" y="473"/>
                  </a:lnTo>
                  <a:lnTo>
                    <a:pt x="974" y="472"/>
                  </a:lnTo>
                  <a:lnTo>
                    <a:pt x="975" y="471"/>
                  </a:lnTo>
                  <a:lnTo>
                    <a:pt x="970" y="469"/>
                  </a:lnTo>
                  <a:lnTo>
                    <a:pt x="955" y="471"/>
                  </a:lnTo>
                  <a:lnTo>
                    <a:pt x="950" y="474"/>
                  </a:lnTo>
                  <a:lnTo>
                    <a:pt x="951" y="475"/>
                  </a:lnTo>
                  <a:lnTo>
                    <a:pt x="950" y="480"/>
                  </a:lnTo>
                  <a:lnTo>
                    <a:pt x="945" y="483"/>
                  </a:lnTo>
                  <a:lnTo>
                    <a:pt x="946" y="484"/>
                  </a:lnTo>
                  <a:lnTo>
                    <a:pt x="952" y="486"/>
                  </a:lnTo>
                  <a:lnTo>
                    <a:pt x="956" y="491"/>
                  </a:lnTo>
                  <a:lnTo>
                    <a:pt x="957" y="491"/>
                  </a:lnTo>
                  <a:lnTo>
                    <a:pt x="958" y="489"/>
                  </a:lnTo>
                  <a:lnTo>
                    <a:pt x="966" y="478"/>
                  </a:lnTo>
                  <a:lnTo>
                    <a:pt x="970" y="480"/>
                  </a:lnTo>
                  <a:lnTo>
                    <a:pt x="978" y="483"/>
                  </a:lnTo>
                  <a:lnTo>
                    <a:pt x="984" y="486"/>
                  </a:lnTo>
                  <a:lnTo>
                    <a:pt x="987" y="486"/>
                  </a:lnTo>
                  <a:lnTo>
                    <a:pt x="996" y="485"/>
                  </a:lnTo>
                  <a:lnTo>
                    <a:pt x="999" y="485"/>
                  </a:lnTo>
                  <a:lnTo>
                    <a:pt x="1002" y="486"/>
                  </a:lnTo>
                  <a:lnTo>
                    <a:pt x="1003" y="492"/>
                  </a:lnTo>
                  <a:lnTo>
                    <a:pt x="1002" y="497"/>
                  </a:lnTo>
                  <a:lnTo>
                    <a:pt x="997" y="503"/>
                  </a:lnTo>
                  <a:lnTo>
                    <a:pt x="994" y="505"/>
                  </a:lnTo>
                  <a:lnTo>
                    <a:pt x="992" y="505"/>
                  </a:lnTo>
                  <a:lnTo>
                    <a:pt x="990" y="502"/>
                  </a:lnTo>
                  <a:lnTo>
                    <a:pt x="987" y="501"/>
                  </a:lnTo>
                  <a:lnTo>
                    <a:pt x="986" y="502"/>
                  </a:lnTo>
                  <a:lnTo>
                    <a:pt x="982" y="507"/>
                  </a:lnTo>
                  <a:lnTo>
                    <a:pt x="980" y="508"/>
                  </a:lnTo>
                  <a:lnTo>
                    <a:pt x="976" y="508"/>
                  </a:lnTo>
                  <a:lnTo>
                    <a:pt x="975" y="509"/>
                  </a:lnTo>
                  <a:lnTo>
                    <a:pt x="976" y="511"/>
                  </a:lnTo>
                  <a:lnTo>
                    <a:pt x="987" y="517"/>
                  </a:lnTo>
                  <a:lnTo>
                    <a:pt x="994" y="526"/>
                  </a:lnTo>
                  <a:lnTo>
                    <a:pt x="998" y="531"/>
                  </a:lnTo>
                  <a:lnTo>
                    <a:pt x="998" y="535"/>
                  </a:lnTo>
                  <a:lnTo>
                    <a:pt x="990" y="544"/>
                  </a:lnTo>
                  <a:lnTo>
                    <a:pt x="988" y="547"/>
                  </a:lnTo>
                  <a:lnTo>
                    <a:pt x="985" y="554"/>
                  </a:lnTo>
                  <a:lnTo>
                    <a:pt x="980" y="554"/>
                  </a:lnTo>
                  <a:lnTo>
                    <a:pt x="974" y="552"/>
                  </a:lnTo>
                  <a:lnTo>
                    <a:pt x="969" y="551"/>
                  </a:lnTo>
                  <a:lnTo>
                    <a:pt x="966" y="551"/>
                  </a:lnTo>
                  <a:lnTo>
                    <a:pt x="962" y="552"/>
                  </a:lnTo>
                  <a:lnTo>
                    <a:pt x="962" y="554"/>
                  </a:lnTo>
                  <a:lnTo>
                    <a:pt x="964" y="555"/>
                  </a:lnTo>
                  <a:lnTo>
                    <a:pt x="969" y="557"/>
                  </a:lnTo>
                  <a:lnTo>
                    <a:pt x="969" y="561"/>
                  </a:lnTo>
                  <a:lnTo>
                    <a:pt x="967" y="567"/>
                  </a:lnTo>
                  <a:lnTo>
                    <a:pt x="967" y="569"/>
                  </a:lnTo>
                  <a:lnTo>
                    <a:pt x="968" y="570"/>
                  </a:lnTo>
                  <a:lnTo>
                    <a:pt x="972" y="572"/>
                  </a:lnTo>
                  <a:lnTo>
                    <a:pt x="978" y="573"/>
                  </a:lnTo>
                  <a:lnTo>
                    <a:pt x="984" y="573"/>
                  </a:lnTo>
                  <a:lnTo>
                    <a:pt x="986" y="574"/>
                  </a:lnTo>
                  <a:lnTo>
                    <a:pt x="988" y="574"/>
                  </a:lnTo>
                  <a:lnTo>
                    <a:pt x="993" y="572"/>
                  </a:lnTo>
                  <a:lnTo>
                    <a:pt x="996" y="573"/>
                  </a:lnTo>
                  <a:lnTo>
                    <a:pt x="992" y="582"/>
                  </a:lnTo>
                  <a:lnTo>
                    <a:pt x="985" y="590"/>
                  </a:lnTo>
                  <a:lnTo>
                    <a:pt x="968" y="596"/>
                  </a:lnTo>
                  <a:lnTo>
                    <a:pt x="964" y="603"/>
                  </a:lnTo>
                  <a:lnTo>
                    <a:pt x="963" y="603"/>
                  </a:lnTo>
                  <a:lnTo>
                    <a:pt x="957" y="598"/>
                  </a:lnTo>
                  <a:lnTo>
                    <a:pt x="955" y="594"/>
                  </a:lnTo>
                  <a:lnTo>
                    <a:pt x="951" y="602"/>
                  </a:lnTo>
                  <a:lnTo>
                    <a:pt x="952" y="603"/>
                  </a:lnTo>
                  <a:lnTo>
                    <a:pt x="949" y="603"/>
                  </a:lnTo>
                  <a:lnTo>
                    <a:pt x="944" y="600"/>
                  </a:lnTo>
                  <a:lnTo>
                    <a:pt x="938" y="597"/>
                  </a:lnTo>
                  <a:lnTo>
                    <a:pt x="935" y="591"/>
                  </a:lnTo>
                  <a:lnTo>
                    <a:pt x="933" y="586"/>
                  </a:lnTo>
                  <a:lnTo>
                    <a:pt x="927" y="582"/>
                  </a:lnTo>
                  <a:lnTo>
                    <a:pt x="926" y="579"/>
                  </a:lnTo>
                  <a:lnTo>
                    <a:pt x="922" y="579"/>
                  </a:lnTo>
                  <a:lnTo>
                    <a:pt x="914" y="580"/>
                  </a:lnTo>
                  <a:lnTo>
                    <a:pt x="904" y="581"/>
                  </a:lnTo>
                  <a:lnTo>
                    <a:pt x="900" y="580"/>
                  </a:lnTo>
                  <a:lnTo>
                    <a:pt x="898" y="581"/>
                  </a:lnTo>
                  <a:lnTo>
                    <a:pt x="899" y="588"/>
                  </a:lnTo>
                  <a:lnTo>
                    <a:pt x="899" y="591"/>
                  </a:lnTo>
                  <a:lnTo>
                    <a:pt x="896" y="592"/>
                  </a:lnTo>
                  <a:lnTo>
                    <a:pt x="891" y="593"/>
                  </a:lnTo>
                  <a:lnTo>
                    <a:pt x="887" y="591"/>
                  </a:lnTo>
                  <a:lnTo>
                    <a:pt x="884" y="586"/>
                  </a:lnTo>
                  <a:lnTo>
                    <a:pt x="880" y="584"/>
                  </a:lnTo>
                  <a:lnTo>
                    <a:pt x="875" y="582"/>
                  </a:lnTo>
                  <a:lnTo>
                    <a:pt x="866" y="588"/>
                  </a:lnTo>
                  <a:lnTo>
                    <a:pt x="855" y="594"/>
                  </a:lnTo>
                  <a:lnTo>
                    <a:pt x="851" y="598"/>
                  </a:lnTo>
                  <a:lnTo>
                    <a:pt x="848" y="602"/>
                  </a:lnTo>
                  <a:lnTo>
                    <a:pt x="854" y="606"/>
                  </a:lnTo>
                  <a:lnTo>
                    <a:pt x="861" y="610"/>
                  </a:lnTo>
                  <a:lnTo>
                    <a:pt x="863" y="612"/>
                  </a:lnTo>
                  <a:lnTo>
                    <a:pt x="867" y="617"/>
                  </a:lnTo>
                  <a:lnTo>
                    <a:pt x="875" y="621"/>
                  </a:lnTo>
                  <a:lnTo>
                    <a:pt x="890" y="627"/>
                  </a:lnTo>
                  <a:lnTo>
                    <a:pt x="875" y="624"/>
                  </a:lnTo>
                  <a:lnTo>
                    <a:pt x="868" y="623"/>
                  </a:lnTo>
                  <a:lnTo>
                    <a:pt x="866" y="622"/>
                  </a:lnTo>
                  <a:lnTo>
                    <a:pt x="869" y="630"/>
                  </a:lnTo>
                  <a:lnTo>
                    <a:pt x="860" y="622"/>
                  </a:lnTo>
                  <a:lnTo>
                    <a:pt x="860" y="617"/>
                  </a:lnTo>
                  <a:lnTo>
                    <a:pt x="858" y="616"/>
                  </a:lnTo>
                  <a:lnTo>
                    <a:pt x="855" y="614"/>
                  </a:lnTo>
                  <a:lnTo>
                    <a:pt x="845" y="609"/>
                  </a:lnTo>
                  <a:lnTo>
                    <a:pt x="834" y="603"/>
                  </a:lnTo>
                  <a:lnTo>
                    <a:pt x="820" y="592"/>
                  </a:lnTo>
                  <a:lnTo>
                    <a:pt x="821" y="593"/>
                  </a:lnTo>
                  <a:lnTo>
                    <a:pt x="821" y="596"/>
                  </a:lnTo>
                  <a:lnTo>
                    <a:pt x="819" y="597"/>
                  </a:lnTo>
                  <a:lnTo>
                    <a:pt x="815" y="598"/>
                  </a:lnTo>
                  <a:lnTo>
                    <a:pt x="814" y="600"/>
                  </a:lnTo>
                  <a:lnTo>
                    <a:pt x="811" y="602"/>
                  </a:lnTo>
                  <a:lnTo>
                    <a:pt x="810" y="605"/>
                  </a:lnTo>
                  <a:lnTo>
                    <a:pt x="813" y="611"/>
                  </a:lnTo>
                  <a:lnTo>
                    <a:pt x="816" y="617"/>
                  </a:lnTo>
                  <a:lnTo>
                    <a:pt x="823" y="626"/>
                  </a:lnTo>
                  <a:lnTo>
                    <a:pt x="826" y="630"/>
                  </a:lnTo>
                  <a:lnTo>
                    <a:pt x="829" y="632"/>
                  </a:lnTo>
                  <a:lnTo>
                    <a:pt x="833" y="634"/>
                  </a:lnTo>
                  <a:lnTo>
                    <a:pt x="837" y="636"/>
                  </a:lnTo>
                  <a:lnTo>
                    <a:pt x="839" y="633"/>
                  </a:lnTo>
                  <a:lnTo>
                    <a:pt x="839" y="630"/>
                  </a:lnTo>
                  <a:lnTo>
                    <a:pt x="841" y="632"/>
                  </a:lnTo>
                  <a:lnTo>
                    <a:pt x="844" y="641"/>
                  </a:lnTo>
                  <a:lnTo>
                    <a:pt x="848" y="644"/>
                  </a:lnTo>
                  <a:lnTo>
                    <a:pt x="848" y="645"/>
                  </a:lnTo>
                  <a:lnTo>
                    <a:pt x="846" y="650"/>
                  </a:lnTo>
                  <a:lnTo>
                    <a:pt x="848" y="651"/>
                  </a:lnTo>
                  <a:lnTo>
                    <a:pt x="852" y="648"/>
                  </a:lnTo>
                  <a:lnTo>
                    <a:pt x="855" y="647"/>
                  </a:lnTo>
                  <a:lnTo>
                    <a:pt x="856" y="650"/>
                  </a:lnTo>
                  <a:lnTo>
                    <a:pt x="862" y="653"/>
                  </a:lnTo>
                  <a:lnTo>
                    <a:pt x="862" y="651"/>
                  </a:lnTo>
                  <a:lnTo>
                    <a:pt x="867" y="652"/>
                  </a:lnTo>
                  <a:lnTo>
                    <a:pt x="870" y="654"/>
                  </a:lnTo>
                  <a:lnTo>
                    <a:pt x="872" y="657"/>
                  </a:lnTo>
                  <a:lnTo>
                    <a:pt x="872" y="662"/>
                  </a:lnTo>
                  <a:lnTo>
                    <a:pt x="874" y="663"/>
                  </a:lnTo>
                  <a:lnTo>
                    <a:pt x="879" y="660"/>
                  </a:lnTo>
                  <a:lnTo>
                    <a:pt x="880" y="662"/>
                  </a:lnTo>
                  <a:lnTo>
                    <a:pt x="881" y="670"/>
                  </a:lnTo>
                  <a:lnTo>
                    <a:pt x="881" y="679"/>
                  </a:lnTo>
                  <a:lnTo>
                    <a:pt x="876" y="679"/>
                  </a:lnTo>
                  <a:lnTo>
                    <a:pt x="884" y="687"/>
                  </a:lnTo>
                  <a:lnTo>
                    <a:pt x="879" y="689"/>
                  </a:lnTo>
                  <a:lnTo>
                    <a:pt x="876" y="691"/>
                  </a:lnTo>
                  <a:lnTo>
                    <a:pt x="878" y="692"/>
                  </a:lnTo>
                  <a:lnTo>
                    <a:pt x="874" y="694"/>
                  </a:lnTo>
                  <a:lnTo>
                    <a:pt x="867" y="695"/>
                  </a:lnTo>
                  <a:lnTo>
                    <a:pt x="866" y="695"/>
                  </a:lnTo>
                  <a:lnTo>
                    <a:pt x="862" y="700"/>
                  </a:lnTo>
                  <a:lnTo>
                    <a:pt x="860" y="700"/>
                  </a:lnTo>
                  <a:lnTo>
                    <a:pt x="857" y="701"/>
                  </a:lnTo>
                  <a:lnTo>
                    <a:pt x="857" y="704"/>
                  </a:lnTo>
                  <a:lnTo>
                    <a:pt x="858" y="705"/>
                  </a:lnTo>
                  <a:lnTo>
                    <a:pt x="861" y="709"/>
                  </a:lnTo>
                  <a:lnTo>
                    <a:pt x="861" y="713"/>
                  </a:lnTo>
                  <a:lnTo>
                    <a:pt x="856" y="717"/>
                  </a:lnTo>
                  <a:lnTo>
                    <a:pt x="854" y="716"/>
                  </a:lnTo>
                  <a:lnTo>
                    <a:pt x="852" y="715"/>
                  </a:lnTo>
                  <a:lnTo>
                    <a:pt x="851" y="712"/>
                  </a:lnTo>
                  <a:lnTo>
                    <a:pt x="850" y="712"/>
                  </a:lnTo>
                  <a:lnTo>
                    <a:pt x="846" y="713"/>
                  </a:lnTo>
                  <a:lnTo>
                    <a:pt x="844" y="713"/>
                  </a:lnTo>
                  <a:lnTo>
                    <a:pt x="841" y="712"/>
                  </a:lnTo>
                  <a:lnTo>
                    <a:pt x="841" y="713"/>
                  </a:lnTo>
                  <a:lnTo>
                    <a:pt x="841" y="718"/>
                  </a:lnTo>
                  <a:lnTo>
                    <a:pt x="839" y="723"/>
                  </a:lnTo>
                  <a:lnTo>
                    <a:pt x="833" y="723"/>
                  </a:lnTo>
                  <a:lnTo>
                    <a:pt x="829" y="721"/>
                  </a:lnTo>
                  <a:lnTo>
                    <a:pt x="823" y="718"/>
                  </a:lnTo>
                  <a:lnTo>
                    <a:pt x="825" y="718"/>
                  </a:lnTo>
                  <a:lnTo>
                    <a:pt x="822" y="717"/>
                  </a:lnTo>
                  <a:lnTo>
                    <a:pt x="817" y="712"/>
                  </a:lnTo>
                  <a:lnTo>
                    <a:pt x="816" y="711"/>
                  </a:lnTo>
                  <a:lnTo>
                    <a:pt x="815" y="711"/>
                  </a:lnTo>
                  <a:lnTo>
                    <a:pt x="815" y="707"/>
                  </a:lnTo>
                  <a:lnTo>
                    <a:pt x="819" y="704"/>
                  </a:lnTo>
                  <a:lnTo>
                    <a:pt x="820" y="701"/>
                  </a:lnTo>
                  <a:lnTo>
                    <a:pt x="819" y="699"/>
                  </a:lnTo>
                  <a:lnTo>
                    <a:pt x="816" y="694"/>
                  </a:lnTo>
                  <a:lnTo>
                    <a:pt x="815" y="691"/>
                  </a:lnTo>
                  <a:lnTo>
                    <a:pt x="814" y="689"/>
                  </a:lnTo>
                  <a:lnTo>
                    <a:pt x="813" y="691"/>
                  </a:lnTo>
                  <a:lnTo>
                    <a:pt x="809" y="695"/>
                  </a:lnTo>
                  <a:lnTo>
                    <a:pt x="808" y="699"/>
                  </a:lnTo>
                  <a:lnTo>
                    <a:pt x="805" y="700"/>
                  </a:lnTo>
                  <a:lnTo>
                    <a:pt x="802" y="701"/>
                  </a:lnTo>
                  <a:lnTo>
                    <a:pt x="797" y="703"/>
                  </a:lnTo>
                  <a:lnTo>
                    <a:pt x="795" y="700"/>
                  </a:lnTo>
                  <a:lnTo>
                    <a:pt x="793" y="700"/>
                  </a:lnTo>
                  <a:lnTo>
                    <a:pt x="791" y="700"/>
                  </a:lnTo>
                  <a:lnTo>
                    <a:pt x="785" y="705"/>
                  </a:lnTo>
                  <a:lnTo>
                    <a:pt x="784" y="706"/>
                  </a:lnTo>
                  <a:lnTo>
                    <a:pt x="781" y="705"/>
                  </a:lnTo>
                  <a:lnTo>
                    <a:pt x="778" y="705"/>
                  </a:lnTo>
                  <a:lnTo>
                    <a:pt x="776" y="704"/>
                  </a:lnTo>
                  <a:lnTo>
                    <a:pt x="775" y="697"/>
                  </a:lnTo>
                  <a:lnTo>
                    <a:pt x="772" y="695"/>
                  </a:lnTo>
                  <a:lnTo>
                    <a:pt x="769" y="699"/>
                  </a:lnTo>
                  <a:lnTo>
                    <a:pt x="767" y="700"/>
                  </a:lnTo>
                  <a:lnTo>
                    <a:pt x="762" y="700"/>
                  </a:lnTo>
                  <a:lnTo>
                    <a:pt x="760" y="698"/>
                  </a:lnTo>
                  <a:lnTo>
                    <a:pt x="756" y="697"/>
                  </a:lnTo>
                  <a:lnTo>
                    <a:pt x="742" y="703"/>
                  </a:lnTo>
                  <a:lnTo>
                    <a:pt x="743" y="706"/>
                  </a:lnTo>
                  <a:lnTo>
                    <a:pt x="743" y="707"/>
                  </a:lnTo>
                  <a:lnTo>
                    <a:pt x="740" y="707"/>
                  </a:lnTo>
                  <a:lnTo>
                    <a:pt x="734" y="704"/>
                  </a:lnTo>
                  <a:lnTo>
                    <a:pt x="731" y="699"/>
                  </a:lnTo>
                  <a:lnTo>
                    <a:pt x="728" y="698"/>
                  </a:lnTo>
                  <a:lnTo>
                    <a:pt x="728" y="700"/>
                  </a:lnTo>
                  <a:lnTo>
                    <a:pt x="728" y="705"/>
                  </a:lnTo>
                  <a:lnTo>
                    <a:pt x="726" y="705"/>
                  </a:lnTo>
                  <a:lnTo>
                    <a:pt x="721" y="701"/>
                  </a:lnTo>
                  <a:lnTo>
                    <a:pt x="719" y="701"/>
                  </a:lnTo>
                  <a:lnTo>
                    <a:pt x="715" y="701"/>
                  </a:lnTo>
                  <a:lnTo>
                    <a:pt x="714" y="699"/>
                  </a:lnTo>
                  <a:lnTo>
                    <a:pt x="711" y="699"/>
                  </a:lnTo>
                  <a:lnTo>
                    <a:pt x="709" y="700"/>
                  </a:lnTo>
                  <a:lnTo>
                    <a:pt x="707" y="704"/>
                  </a:lnTo>
                  <a:lnTo>
                    <a:pt x="711" y="706"/>
                  </a:lnTo>
                  <a:lnTo>
                    <a:pt x="715" y="707"/>
                  </a:lnTo>
                  <a:lnTo>
                    <a:pt x="720" y="709"/>
                  </a:lnTo>
                  <a:lnTo>
                    <a:pt x="724" y="710"/>
                  </a:lnTo>
                  <a:lnTo>
                    <a:pt x="727" y="713"/>
                  </a:lnTo>
                  <a:lnTo>
                    <a:pt x="730" y="718"/>
                  </a:lnTo>
                  <a:lnTo>
                    <a:pt x="727" y="719"/>
                  </a:lnTo>
                  <a:lnTo>
                    <a:pt x="724" y="717"/>
                  </a:lnTo>
                  <a:lnTo>
                    <a:pt x="721" y="718"/>
                  </a:lnTo>
                  <a:lnTo>
                    <a:pt x="717" y="721"/>
                  </a:lnTo>
                  <a:lnTo>
                    <a:pt x="715" y="721"/>
                  </a:lnTo>
                  <a:lnTo>
                    <a:pt x="713" y="719"/>
                  </a:lnTo>
                  <a:lnTo>
                    <a:pt x="710" y="719"/>
                  </a:lnTo>
                  <a:lnTo>
                    <a:pt x="709" y="723"/>
                  </a:lnTo>
                  <a:lnTo>
                    <a:pt x="707" y="724"/>
                  </a:lnTo>
                  <a:lnTo>
                    <a:pt x="703" y="722"/>
                  </a:lnTo>
                  <a:lnTo>
                    <a:pt x="698" y="719"/>
                  </a:lnTo>
                  <a:lnTo>
                    <a:pt x="695" y="716"/>
                  </a:lnTo>
                  <a:lnTo>
                    <a:pt x="692" y="712"/>
                  </a:lnTo>
                  <a:lnTo>
                    <a:pt x="690" y="711"/>
                  </a:lnTo>
                  <a:lnTo>
                    <a:pt x="684" y="712"/>
                  </a:lnTo>
                  <a:lnTo>
                    <a:pt x="677" y="711"/>
                  </a:lnTo>
                  <a:lnTo>
                    <a:pt x="669" y="711"/>
                  </a:lnTo>
                  <a:lnTo>
                    <a:pt x="666" y="711"/>
                  </a:lnTo>
                  <a:lnTo>
                    <a:pt x="658" y="706"/>
                  </a:lnTo>
                  <a:lnTo>
                    <a:pt x="650" y="704"/>
                  </a:lnTo>
                  <a:lnTo>
                    <a:pt x="645" y="704"/>
                  </a:lnTo>
                  <a:lnTo>
                    <a:pt x="643" y="701"/>
                  </a:lnTo>
                  <a:lnTo>
                    <a:pt x="640" y="700"/>
                  </a:lnTo>
                  <a:lnTo>
                    <a:pt x="638" y="700"/>
                  </a:lnTo>
                  <a:lnTo>
                    <a:pt x="642" y="707"/>
                  </a:lnTo>
                  <a:lnTo>
                    <a:pt x="645" y="715"/>
                  </a:lnTo>
                  <a:lnTo>
                    <a:pt x="648" y="718"/>
                  </a:lnTo>
                  <a:lnTo>
                    <a:pt x="650" y="718"/>
                  </a:lnTo>
                  <a:lnTo>
                    <a:pt x="652" y="719"/>
                  </a:lnTo>
                  <a:lnTo>
                    <a:pt x="654" y="721"/>
                  </a:lnTo>
                  <a:lnTo>
                    <a:pt x="657" y="721"/>
                  </a:lnTo>
                  <a:lnTo>
                    <a:pt x="660" y="723"/>
                  </a:lnTo>
                  <a:lnTo>
                    <a:pt x="663" y="722"/>
                  </a:lnTo>
                  <a:lnTo>
                    <a:pt x="668" y="722"/>
                  </a:lnTo>
                  <a:lnTo>
                    <a:pt x="673" y="721"/>
                  </a:lnTo>
                  <a:lnTo>
                    <a:pt x="678" y="724"/>
                  </a:lnTo>
                  <a:lnTo>
                    <a:pt x="687" y="727"/>
                  </a:lnTo>
                  <a:lnTo>
                    <a:pt x="690" y="728"/>
                  </a:lnTo>
                  <a:lnTo>
                    <a:pt x="692" y="730"/>
                  </a:lnTo>
                  <a:lnTo>
                    <a:pt x="695" y="734"/>
                  </a:lnTo>
                  <a:lnTo>
                    <a:pt x="696" y="736"/>
                  </a:lnTo>
                  <a:lnTo>
                    <a:pt x="693" y="741"/>
                  </a:lnTo>
                  <a:lnTo>
                    <a:pt x="697" y="742"/>
                  </a:lnTo>
                  <a:lnTo>
                    <a:pt x="702" y="741"/>
                  </a:lnTo>
                  <a:lnTo>
                    <a:pt x="704" y="737"/>
                  </a:lnTo>
                  <a:lnTo>
                    <a:pt x="704" y="733"/>
                  </a:lnTo>
                  <a:lnTo>
                    <a:pt x="708" y="733"/>
                  </a:lnTo>
                  <a:lnTo>
                    <a:pt x="715" y="733"/>
                  </a:lnTo>
                  <a:lnTo>
                    <a:pt x="715" y="736"/>
                  </a:lnTo>
                  <a:lnTo>
                    <a:pt x="713" y="742"/>
                  </a:lnTo>
                  <a:lnTo>
                    <a:pt x="714" y="749"/>
                  </a:lnTo>
                  <a:lnTo>
                    <a:pt x="714" y="755"/>
                  </a:lnTo>
                  <a:lnTo>
                    <a:pt x="711" y="757"/>
                  </a:lnTo>
                  <a:lnTo>
                    <a:pt x="707" y="757"/>
                  </a:lnTo>
                  <a:lnTo>
                    <a:pt x="702" y="753"/>
                  </a:lnTo>
                  <a:lnTo>
                    <a:pt x="701" y="754"/>
                  </a:lnTo>
                  <a:lnTo>
                    <a:pt x="698" y="752"/>
                  </a:lnTo>
                  <a:lnTo>
                    <a:pt x="691" y="749"/>
                  </a:lnTo>
                  <a:lnTo>
                    <a:pt x="687" y="751"/>
                  </a:lnTo>
                  <a:lnTo>
                    <a:pt x="687" y="753"/>
                  </a:lnTo>
                  <a:lnTo>
                    <a:pt x="686" y="754"/>
                  </a:lnTo>
                  <a:lnTo>
                    <a:pt x="686" y="759"/>
                  </a:lnTo>
                  <a:lnTo>
                    <a:pt x="689" y="765"/>
                  </a:lnTo>
                  <a:lnTo>
                    <a:pt x="690" y="767"/>
                  </a:lnTo>
                  <a:lnTo>
                    <a:pt x="687" y="774"/>
                  </a:lnTo>
                  <a:lnTo>
                    <a:pt x="687" y="780"/>
                  </a:lnTo>
                  <a:lnTo>
                    <a:pt x="687" y="782"/>
                  </a:lnTo>
                  <a:lnTo>
                    <a:pt x="685" y="782"/>
                  </a:lnTo>
                  <a:lnTo>
                    <a:pt x="677" y="777"/>
                  </a:lnTo>
                  <a:lnTo>
                    <a:pt x="672" y="775"/>
                  </a:lnTo>
                  <a:lnTo>
                    <a:pt x="673" y="777"/>
                  </a:lnTo>
                  <a:lnTo>
                    <a:pt x="672" y="780"/>
                  </a:lnTo>
                  <a:lnTo>
                    <a:pt x="669" y="781"/>
                  </a:lnTo>
                  <a:lnTo>
                    <a:pt x="667" y="782"/>
                  </a:lnTo>
                  <a:lnTo>
                    <a:pt x="662" y="783"/>
                  </a:lnTo>
                  <a:lnTo>
                    <a:pt x="658" y="782"/>
                  </a:lnTo>
                  <a:lnTo>
                    <a:pt x="652" y="777"/>
                  </a:lnTo>
                  <a:lnTo>
                    <a:pt x="649" y="772"/>
                  </a:lnTo>
                  <a:lnTo>
                    <a:pt x="645" y="769"/>
                  </a:lnTo>
                  <a:lnTo>
                    <a:pt x="645" y="767"/>
                  </a:lnTo>
                  <a:lnTo>
                    <a:pt x="646" y="761"/>
                  </a:lnTo>
                  <a:lnTo>
                    <a:pt x="640" y="755"/>
                  </a:lnTo>
                  <a:lnTo>
                    <a:pt x="640" y="758"/>
                  </a:lnTo>
                  <a:lnTo>
                    <a:pt x="643" y="763"/>
                  </a:lnTo>
                  <a:lnTo>
                    <a:pt x="639" y="764"/>
                  </a:lnTo>
                  <a:lnTo>
                    <a:pt x="628" y="764"/>
                  </a:lnTo>
                  <a:lnTo>
                    <a:pt x="625" y="766"/>
                  </a:lnTo>
                  <a:lnTo>
                    <a:pt x="621" y="767"/>
                  </a:lnTo>
                  <a:lnTo>
                    <a:pt x="628" y="770"/>
                  </a:lnTo>
                  <a:lnTo>
                    <a:pt x="633" y="769"/>
                  </a:lnTo>
                  <a:lnTo>
                    <a:pt x="637" y="771"/>
                  </a:lnTo>
                  <a:lnTo>
                    <a:pt x="638" y="776"/>
                  </a:lnTo>
                  <a:lnTo>
                    <a:pt x="639" y="780"/>
                  </a:lnTo>
                  <a:lnTo>
                    <a:pt x="642" y="782"/>
                  </a:lnTo>
                  <a:lnTo>
                    <a:pt x="640" y="783"/>
                  </a:lnTo>
                  <a:lnTo>
                    <a:pt x="630" y="786"/>
                  </a:lnTo>
                  <a:lnTo>
                    <a:pt x="624" y="784"/>
                  </a:lnTo>
                  <a:lnTo>
                    <a:pt x="618" y="782"/>
                  </a:lnTo>
                  <a:lnTo>
                    <a:pt x="608" y="780"/>
                  </a:lnTo>
                  <a:lnTo>
                    <a:pt x="604" y="778"/>
                  </a:lnTo>
                  <a:lnTo>
                    <a:pt x="601" y="776"/>
                  </a:lnTo>
                  <a:lnTo>
                    <a:pt x="598" y="775"/>
                  </a:lnTo>
                  <a:lnTo>
                    <a:pt x="597" y="771"/>
                  </a:lnTo>
                  <a:lnTo>
                    <a:pt x="599" y="764"/>
                  </a:lnTo>
                  <a:lnTo>
                    <a:pt x="598" y="763"/>
                  </a:lnTo>
                  <a:lnTo>
                    <a:pt x="593" y="761"/>
                  </a:lnTo>
                  <a:lnTo>
                    <a:pt x="592" y="765"/>
                  </a:lnTo>
                  <a:lnTo>
                    <a:pt x="591" y="766"/>
                  </a:lnTo>
                  <a:lnTo>
                    <a:pt x="589" y="766"/>
                  </a:lnTo>
                  <a:lnTo>
                    <a:pt x="584" y="765"/>
                  </a:lnTo>
                  <a:lnTo>
                    <a:pt x="583" y="761"/>
                  </a:lnTo>
                  <a:lnTo>
                    <a:pt x="583" y="753"/>
                  </a:lnTo>
                  <a:lnTo>
                    <a:pt x="579" y="749"/>
                  </a:lnTo>
                  <a:lnTo>
                    <a:pt x="578" y="748"/>
                  </a:lnTo>
                  <a:lnTo>
                    <a:pt x="574" y="741"/>
                  </a:lnTo>
                  <a:lnTo>
                    <a:pt x="574" y="737"/>
                  </a:lnTo>
                  <a:lnTo>
                    <a:pt x="572" y="736"/>
                  </a:lnTo>
                  <a:lnTo>
                    <a:pt x="567" y="736"/>
                  </a:lnTo>
                  <a:lnTo>
                    <a:pt x="563" y="735"/>
                  </a:lnTo>
                  <a:lnTo>
                    <a:pt x="565" y="737"/>
                  </a:lnTo>
                  <a:lnTo>
                    <a:pt x="568" y="741"/>
                  </a:lnTo>
                  <a:lnTo>
                    <a:pt x="571" y="745"/>
                  </a:lnTo>
                  <a:lnTo>
                    <a:pt x="574" y="753"/>
                  </a:lnTo>
                  <a:lnTo>
                    <a:pt x="578" y="757"/>
                  </a:lnTo>
                  <a:lnTo>
                    <a:pt x="578" y="761"/>
                  </a:lnTo>
                  <a:lnTo>
                    <a:pt x="575" y="765"/>
                  </a:lnTo>
                  <a:lnTo>
                    <a:pt x="575" y="769"/>
                  </a:lnTo>
                  <a:lnTo>
                    <a:pt x="578" y="774"/>
                  </a:lnTo>
                  <a:lnTo>
                    <a:pt x="578" y="777"/>
                  </a:lnTo>
                  <a:lnTo>
                    <a:pt x="575" y="783"/>
                  </a:lnTo>
                  <a:lnTo>
                    <a:pt x="569" y="784"/>
                  </a:lnTo>
                  <a:lnTo>
                    <a:pt x="563" y="788"/>
                  </a:lnTo>
                  <a:lnTo>
                    <a:pt x="559" y="789"/>
                  </a:lnTo>
                  <a:lnTo>
                    <a:pt x="551" y="790"/>
                  </a:lnTo>
                  <a:lnTo>
                    <a:pt x="544" y="793"/>
                  </a:lnTo>
                  <a:lnTo>
                    <a:pt x="539" y="793"/>
                  </a:lnTo>
                  <a:lnTo>
                    <a:pt x="537" y="793"/>
                  </a:lnTo>
                  <a:lnTo>
                    <a:pt x="533" y="792"/>
                  </a:lnTo>
                  <a:lnTo>
                    <a:pt x="531" y="787"/>
                  </a:lnTo>
                  <a:lnTo>
                    <a:pt x="531" y="782"/>
                  </a:lnTo>
                  <a:lnTo>
                    <a:pt x="531" y="776"/>
                  </a:lnTo>
                  <a:lnTo>
                    <a:pt x="526" y="772"/>
                  </a:lnTo>
                  <a:lnTo>
                    <a:pt x="522" y="771"/>
                  </a:lnTo>
                  <a:lnTo>
                    <a:pt x="519" y="772"/>
                  </a:lnTo>
                  <a:lnTo>
                    <a:pt x="518" y="776"/>
                  </a:lnTo>
                  <a:lnTo>
                    <a:pt x="515" y="777"/>
                  </a:lnTo>
                  <a:lnTo>
                    <a:pt x="509" y="777"/>
                  </a:lnTo>
                  <a:lnTo>
                    <a:pt x="506" y="777"/>
                  </a:lnTo>
                  <a:lnTo>
                    <a:pt x="504" y="781"/>
                  </a:lnTo>
                  <a:lnTo>
                    <a:pt x="502" y="781"/>
                  </a:lnTo>
                  <a:lnTo>
                    <a:pt x="494" y="777"/>
                  </a:lnTo>
                  <a:lnTo>
                    <a:pt x="494" y="771"/>
                  </a:lnTo>
                  <a:lnTo>
                    <a:pt x="496" y="767"/>
                  </a:lnTo>
                  <a:lnTo>
                    <a:pt x="495" y="765"/>
                  </a:lnTo>
                  <a:lnTo>
                    <a:pt x="492" y="763"/>
                  </a:lnTo>
                  <a:lnTo>
                    <a:pt x="490" y="761"/>
                  </a:lnTo>
                  <a:lnTo>
                    <a:pt x="484" y="761"/>
                  </a:lnTo>
                  <a:lnTo>
                    <a:pt x="481" y="759"/>
                  </a:lnTo>
                  <a:lnTo>
                    <a:pt x="479" y="757"/>
                  </a:lnTo>
                  <a:lnTo>
                    <a:pt x="479" y="753"/>
                  </a:lnTo>
                  <a:lnTo>
                    <a:pt x="477" y="748"/>
                  </a:lnTo>
                  <a:lnTo>
                    <a:pt x="479" y="747"/>
                  </a:lnTo>
                  <a:lnTo>
                    <a:pt x="488" y="747"/>
                  </a:lnTo>
                  <a:lnTo>
                    <a:pt x="490" y="745"/>
                  </a:lnTo>
                  <a:lnTo>
                    <a:pt x="492" y="742"/>
                  </a:lnTo>
                  <a:lnTo>
                    <a:pt x="495" y="742"/>
                  </a:lnTo>
                  <a:lnTo>
                    <a:pt x="497" y="740"/>
                  </a:lnTo>
                  <a:lnTo>
                    <a:pt x="502" y="731"/>
                  </a:lnTo>
                  <a:lnTo>
                    <a:pt x="501" y="728"/>
                  </a:lnTo>
                  <a:lnTo>
                    <a:pt x="497" y="727"/>
                  </a:lnTo>
                  <a:lnTo>
                    <a:pt x="488" y="731"/>
                  </a:lnTo>
                  <a:lnTo>
                    <a:pt x="485" y="733"/>
                  </a:lnTo>
                  <a:lnTo>
                    <a:pt x="483" y="733"/>
                  </a:lnTo>
                  <a:lnTo>
                    <a:pt x="480" y="734"/>
                  </a:lnTo>
                  <a:lnTo>
                    <a:pt x="479" y="733"/>
                  </a:lnTo>
                  <a:lnTo>
                    <a:pt x="473" y="729"/>
                  </a:lnTo>
                  <a:lnTo>
                    <a:pt x="471" y="733"/>
                  </a:lnTo>
                  <a:lnTo>
                    <a:pt x="466" y="739"/>
                  </a:lnTo>
                  <a:lnTo>
                    <a:pt x="459" y="745"/>
                  </a:lnTo>
                  <a:lnTo>
                    <a:pt x="454" y="751"/>
                  </a:lnTo>
                  <a:lnTo>
                    <a:pt x="453" y="758"/>
                  </a:lnTo>
                  <a:lnTo>
                    <a:pt x="453" y="774"/>
                  </a:lnTo>
                  <a:lnTo>
                    <a:pt x="455" y="799"/>
                  </a:lnTo>
                  <a:lnTo>
                    <a:pt x="455" y="813"/>
                  </a:lnTo>
                  <a:lnTo>
                    <a:pt x="456" y="818"/>
                  </a:lnTo>
                  <a:lnTo>
                    <a:pt x="461" y="824"/>
                  </a:lnTo>
                  <a:lnTo>
                    <a:pt x="466" y="832"/>
                  </a:lnTo>
                  <a:lnTo>
                    <a:pt x="469" y="840"/>
                  </a:lnTo>
                  <a:lnTo>
                    <a:pt x="472" y="84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6" name="Freeform 79"/>
            <p:cNvSpPr>
              <a:spLocks/>
            </p:cNvSpPr>
            <p:nvPr userDrawn="1"/>
          </p:nvSpPr>
          <p:spPr bwMode="auto">
            <a:xfrm>
              <a:off x="8535988" y="6245226"/>
              <a:ext cx="250825" cy="409575"/>
            </a:xfrm>
            <a:custGeom>
              <a:avLst/>
              <a:gdLst/>
              <a:ahLst/>
              <a:cxnLst>
                <a:cxn ang="0">
                  <a:pos x="387" y="95"/>
                </a:cxn>
                <a:cxn ang="0">
                  <a:pos x="319" y="196"/>
                </a:cxn>
                <a:cxn ang="0">
                  <a:pos x="281" y="250"/>
                </a:cxn>
                <a:cxn ang="0">
                  <a:pos x="289" y="298"/>
                </a:cxn>
                <a:cxn ang="0">
                  <a:pos x="247" y="331"/>
                </a:cxn>
                <a:cxn ang="0">
                  <a:pos x="211" y="438"/>
                </a:cxn>
                <a:cxn ang="0">
                  <a:pos x="222" y="463"/>
                </a:cxn>
                <a:cxn ang="0">
                  <a:pos x="151" y="523"/>
                </a:cxn>
                <a:cxn ang="0">
                  <a:pos x="171" y="555"/>
                </a:cxn>
                <a:cxn ang="0">
                  <a:pos x="128" y="586"/>
                </a:cxn>
                <a:cxn ang="0">
                  <a:pos x="158" y="592"/>
                </a:cxn>
                <a:cxn ang="0">
                  <a:pos x="200" y="604"/>
                </a:cxn>
                <a:cxn ang="0">
                  <a:pos x="119" y="635"/>
                </a:cxn>
                <a:cxn ang="0">
                  <a:pos x="89" y="665"/>
                </a:cxn>
                <a:cxn ang="0">
                  <a:pos x="89" y="694"/>
                </a:cxn>
                <a:cxn ang="0">
                  <a:pos x="77" y="725"/>
                </a:cxn>
                <a:cxn ang="0">
                  <a:pos x="118" y="759"/>
                </a:cxn>
                <a:cxn ang="0">
                  <a:pos x="145" y="779"/>
                </a:cxn>
                <a:cxn ang="0">
                  <a:pos x="188" y="788"/>
                </a:cxn>
                <a:cxn ang="0">
                  <a:pos x="219" y="799"/>
                </a:cxn>
                <a:cxn ang="0">
                  <a:pos x="176" y="836"/>
                </a:cxn>
                <a:cxn ang="0">
                  <a:pos x="119" y="858"/>
                </a:cxn>
                <a:cxn ang="0">
                  <a:pos x="98" y="902"/>
                </a:cxn>
                <a:cxn ang="0">
                  <a:pos x="45" y="921"/>
                </a:cxn>
                <a:cxn ang="0">
                  <a:pos x="84" y="943"/>
                </a:cxn>
                <a:cxn ang="0">
                  <a:pos x="39" y="980"/>
                </a:cxn>
                <a:cxn ang="0">
                  <a:pos x="56" y="1013"/>
                </a:cxn>
                <a:cxn ang="0">
                  <a:pos x="81" y="1051"/>
                </a:cxn>
                <a:cxn ang="0">
                  <a:pos x="88" y="1106"/>
                </a:cxn>
                <a:cxn ang="0">
                  <a:pos x="165" y="1172"/>
                </a:cxn>
                <a:cxn ang="0">
                  <a:pos x="269" y="1158"/>
                </a:cxn>
                <a:cxn ang="0">
                  <a:pos x="361" y="1224"/>
                </a:cxn>
                <a:cxn ang="0">
                  <a:pos x="502" y="1180"/>
                </a:cxn>
                <a:cxn ang="0">
                  <a:pos x="596" y="1228"/>
                </a:cxn>
                <a:cxn ang="0">
                  <a:pos x="686" y="1204"/>
                </a:cxn>
                <a:cxn ang="0">
                  <a:pos x="779" y="1117"/>
                </a:cxn>
                <a:cxn ang="0">
                  <a:pos x="708" y="1050"/>
                </a:cxn>
                <a:cxn ang="0">
                  <a:pos x="703" y="997"/>
                </a:cxn>
                <a:cxn ang="0">
                  <a:pos x="677" y="984"/>
                </a:cxn>
                <a:cxn ang="0">
                  <a:pos x="699" y="939"/>
                </a:cxn>
                <a:cxn ang="0">
                  <a:pos x="718" y="890"/>
                </a:cxn>
                <a:cxn ang="0">
                  <a:pos x="725" y="833"/>
                </a:cxn>
                <a:cxn ang="0">
                  <a:pos x="575" y="793"/>
                </a:cxn>
                <a:cxn ang="0">
                  <a:pos x="631" y="787"/>
                </a:cxn>
                <a:cxn ang="0">
                  <a:pos x="691" y="752"/>
                </a:cxn>
                <a:cxn ang="0">
                  <a:pos x="720" y="710"/>
                </a:cxn>
                <a:cxn ang="0">
                  <a:pos x="702" y="668"/>
                </a:cxn>
                <a:cxn ang="0">
                  <a:pos x="672" y="577"/>
                </a:cxn>
                <a:cxn ang="0">
                  <a:pos x="595" y="533"/>
                </a:cxn>
                <a:cxn ang="0">
                  <a:pos x="618" y="503"/>
                </a:cxn>
                <a:cxn ang="0">
                  <a:pos x="540" y="434"/>
                </a:cxn>
                <a:cxn ang="0">
                  <a:pos x="620" y="443"/>
                </a:cxn>
                <a:cxn ang="0">
                  <a:pos x="454" y="371"/>
                </a:cxn>
                <a:cxn ang="0">
                  <a:pos x="530" y="300"/>
                </a:cxn>
                <a:cxn ang="0">
                  <a:pos x="544" y="258"/>
                </a:cxn>
                <a:cxn ang="0">
                  <a:pos x="495" y="235"/>
                </a:cxn>
                <a:cxn ang="0">
                  <a:pos x="484" y="217"/>
                </a:cxn>
                <a:cxn ang="0">
                  <a:pos x="472" y="145"/>
                </a:cxn>
                <a:cxn ang="0">
                  <a:pos x="461" y="135"/>
                </a:cxn>
                <a:cxn ang="0">
                  <a:pos x="461" y="104"/>
                </a:cxn>
                <a:cxn ang="0">
                  <a:pos x="444" y="99"/>
                </a:cxn>
                <a:cxn ang="0">
                  <a:pos x="432" y="41"/>
                </a:cxn>
                <a:cxn ang="0">
                  <a:pos x="410" y="28"/>
                </a:cxn>
              </a:cxnLst>
              <a:rect l="0" t="0" r="r" b="b"/>
              <a:pathLst>
                <a:path w="794" h="1293">
                  <a:moveTo>
                    <a:pt x="398" y="22"/>
                  </a:moveTo>
                  <a:lnTo>
                    <a:pt x="394" y="15"/>
                  </a:lnTo>
                  <a:lnTo>
                    <a:pt x="390" y="0"/>
                  </a:lnTo>
                  <a:lnTo>
                    <a:pt x="389" y="0"/>
                  </a:lnTo>
                  <a:lnTo>
                    <a:pt x="390" y="6"/>
                  </a:lnTo>
                  <a:lnTo>
                    <a:pt x="393" y="15"/>
                  </a:lnTo>
                  <a:lnTo>
                    <a:pt x="398" y="22"/>
                  </a:lnTo>
                  <a:lnTo>
                    <a:pt x="396" y="26"/>
                  </a:lnTo>
                  <a:lnTo>
                    <a:pt x="393" y="17"/>
                  </a:lnTo>
                  <a:lnTo>
                    <a:pt x="392" y="18"/>
                  </a:lnTo>
                  <a:lnTo>
                    <a:pt x="395" y="26"/>
                  </a:lnTo>
                  <a:lnTo>
                    <a:pt x="395" y="27"/>
                  </a:lnTo>
                  <a:lnTo>
                    <a:pt x="384" y="21"/>
                  </a:lnTo>
                  <a:lnTo>
                    <a:pt x="383" y="22"/>
                  </a:lnTo>
                  <a:lnTo>
                    <a:pt x="398" y="30"/>
                  </a:lnTo>
                  <a:lnTo>
                    <a:pt x="396" y="33"/>
                  </a:lnTo>
                  <a:lnTo>
                    <a:pt x="395" y="34"/>
                  </a:lnTo>
                  <a:lnTo>
                    <a:pt x="392" y="29"/>
                  </a:lnTo>
                  <a:lnTo>
                    <a:pt x="390" y="30"/>
                  </a:lnTo>
                  <a:lnTo>
                    <a:pt x="395" y="35"/>
                  </a:lnTo>
                  <a:lnTo>
                    <a:pt x="394" y="36"/>
                  </a:lnTo>
                  <a:lnTo>
                    <a:pt x="387" y="36"/>
                  </a:lnTo>
                  <a:lnTo>
                    <a:pt x="387" y="38"/>
                  </a:lnTo>
                  <a:lnTo>
                    <a:pt x="394" y="38"/>
                  </a:lnTo>
                  <a:lnTo>
                    <a:pt x="395" y="40"/>
                  </a:lnTo>
                  <a:lnTo>
                    <a:pt x="396" y="44"/>
                  </a:lnTo>
                  <a:lnTo>
                    <a:pt x="389" y="44"/>
                  </a:lnTo>
                  <a:lnTo>
                    <a:pt x="389" y="45"/>
                  </a:lnTo>
                  <a:lnTo>
                    <a:pt x="395" y="45"/>
                  </a:lnTo>
                  <a:lnTo>
                    <a:pt x="393" y="46"/>
                  </a:lnTo>
                  <a:lnTo>
                    <a:pt x="396" y="46"/>
                  </a:lnTo>
                  <a:lnTo>
                    <a:pt x="395" y="50"/>
                  </a:lnTo>
                  <a:lnTo>
                    <a:pt x="393" y="50"/>
                  </a:lnTo>
                  <a:lnTo>
                    <a:pt x="393" y="47"/>
                  </a:lnTo>
                  <a:lnTo>
                    <a:pt x="392" y="50"/>
                  </a:lnTo>
                  <a:lnTo>
                    <a:pt x="390" y="48"/>
                  </a:lnTo>
                  <a:lnTo>
                    <a:pt x="387" y="42"/>
                  </a:lnTo>
                  <a:lnTo>
                    <a:pt x="389" y="48"/>
                  </a:lnTo>
                  <a:lnTo>
                    <a:pt x="388" y="48"/>
                  </a:lnTo>
                  <a:lnTo>
                    <a:pt x="384" y="47"/>
                  </a:lnTo>
                  <a:lnTo>
                    <a:pt x="383" y="48"/>
                  </a:lnTo>
                  <a:lnTo>
                    <a:pt x="385" y="50"/>
                  </a:lnTo>
                  <a:lnTo>
                    <a:pt x="388" y="50"/>
                  </a:lnTo>
                  <a:lnTo>
                    <a:pt x="389" y="51"/>
                  </a:lnTo>
                  <a:lnTo>
                    <a:pt x="388" y="52"/>
                  </a:lnTo>
                  <a:lnTo>
                    <a:pt x="384" y="51"/>
                  </a:lnTo>
                  <a:lnTo>
                    <a:pt x="384" y="52"/>
                  </a:lnTo>
                  <a:lnTo>
                    <a:pt x="389" y="53"/>
                  </a:lnTo>
                  <a:lnTo>
                    <a:pt x="389" y="54"/>
                  </a:lnTo>
                  <a:lnTo>
                    <a:pt x="388" y="57"/>
                  </a:lnTo>
                  <a:lnTo>
                    <a:pt x="387" y="57"/>
                  </a:lnTo>
                  <a:lnTo>
                    <a:pt x="384" y="54"/>
                  </a:lnTo>
                  <a:lnTo>
                    <a:pt x="377" y="48"/>
                  </a:lnTo>
                  <a:lnTo>
                    <a:pt x="377" y="50"/>
                  </a:lnTo>
                  <a:lnTo>
                    <a:pt x="379" y="52"/>
                  </a:lnTo>
                  <a:lnTo>
                    <a:pt x="379" y="53"/>
                  </a:lnTo>
                  <a:lnTo>
                    <a:pt x="376" y="53"/>
                  </a:lnTo>
                  <a:lnTo>
                    <a:pt x="372" y="52"/>
                  </a:lnTo>
                  <a:lnTo>
                    <a:pt x="375" y="54"/>
                  </a:lnTo>
                  <a:lnTo>
                    <a:pt x="381" y="56"/>
                  </a:lnTo>
                  <a:lnTo>
                    <a:pt x="382" y="57"/>
                  </a:lnTo>
                  <a:lnTo>
                    <a:pt x="376" y="62"/>
                  </a:lnTo>
                  <a:lnTo>
                    <a:pt x="383" y="57"/>
                  </a:lnTo>
                  <a:lnTo>
                    <a:pt x="384" y="58"/>
                  </a:lnTo>
                  <a:lnTo>
                    <a:pt x="382" y="59"/>
                  </a:lnTo>
                  <a:lnTo>
                    <a:pt x="385" y="58"/>
                  </a:lnTo>
                  <a:lnTo>
                    <a:pt x="387" y="59"/>
                  </a:lnTo>
                  <a:lnTo>
                    <a:pt x="388" y="60"/>
                  </a:lnTo>
                  <a:lnTo>
                    <a:pt x="388" y="64"/>
                  </a:lnTo>
                  <a:lnTo>
                    <a:pt x="390" y="59"/>
                  </a:lnTo>
                  <a:lnTo>
                    <a:pt x="398" y="65"/>
                  </a:lnTo>
                  <a:lnTo>
                    <a:pt x="399" y="69"/>
                  </a:lnTo>
                  <a:lnTo>
                    <a:pt x="395" y="70"/>
                  </a:lnTo>
                  <a:lnTo>
                    <a:pt x="393" y="70"/>
                  </a:lnTo>
                  <a:lnTo>
                    <a:pt x="392" y="68"/>
                  </a:lnTo>
                  <a:lnTo>
                    <a:pt x="392" y="69"/>
                  </a:lnTo>
                  <a:lnTo>
                    <a:pt x="388" y="69"/>
                  </a:lnTo>
                  <a:lnTo>
                    <a:pt x="387" y="69"/>
                  </a:lnTo>
                  <a:lnTo>
                    <a:pt x="383" y="65"/>
                  </a:lnTo>
                  <a:lnTo>
                    <a:pt x="383" y="66"/>
                  </a:lnTo>
                  <a:lnTo>
                    <a:pt x="385" y="70"/>
                  </a:lnTo>
                  <a:lnTo>
                    <a:pt x="379" y="70"/>
                  </a:lnTo>
                  <a:lnTo>
                    <a:pt x="379" y="71"/>
                  </a:lnTo>
                  <a:lnTo>
                    <a:pt x="385" y="71"/>
                  </a:lnTo>
                  <a:lnTo>
                    <a:pt x="385" y="72"/>
                  </a:lnTo>
                  <a:lnTo>
                    <a:pt x="383" y="76"/>
                  </a:lnTo>
                  <a:lnTo>
                    <a:pt x="388" y="72"/>
                  </a:lnTo>
                  <a:lnTo>
                    <a:pt x="390" y="72"/>
                  </a:lnTo>
                  <a:lnTo>
                    <a:pt x="392" y="71"/>
                  </a:lnTo>
                  <a:lnTo>
                    <a:pt x="394" y="72"/>
                  </a:lnTo>
                  <a:lnTo>
                    <a:pt x="393" y="74"/>
                  </a:lnTo>
                  <a:lnTo>
                    <a:pt x="389" y="74"/>
                  </a:lnTo>
                  <a:lnTo>
                    <a:pt x="389" y="75"/>
                  </a:lnTo>
                  <a:lnTo>
                    <a:pt x="392" y="76"/>
                  </a:lnTo>
                  <a:lnTo>
                    <a:pt x="390" y="76"/>
                  </a:lnTo>
                  <a:lnTo>
                    <a:pt x="387" y="78"/>
                  </a:lnTo>
                  <a:lnTo>
                    <a:pt x="387" y="80"/>
                  </a:lnTo>
                  <a:lnTo>
                    <a:pt x="392" y="80"/>
                  </a:lnTo>
                  <a:lnTo>
                    <a:pt x="392" y="82"/>
                  </a:lnTo>
                  <a:lnTo>
                    <a:pt x="385" y="87"/>
                  </a:lnTo>
                  <a:lnTo>
                    <a:pt x="385" y="88"/>
                  </a:lnTo>
                  <a:lnTo>
                    <a:pt x="388" y="88"/>
                  </a:lnTo>
                  <a:lnTo>
                    <a:pt x="389" y="90"/>
                  </a:lnTo>
                  <a:lnTo>
                    <a:pt x="388" y="90"/>
                  </a:lnTo>
                  <a:lnTo>
                    <a:pt x="388" y="92"/>
                  </a:lnTo>
                  <a:lnTo>
                    <a:pt x="389" y="93"/>
                  </a:lnTo>
                  <a:lnTo>
                    <a:pt x="390" y="93"/>
                  </a:lnTo>
                  <a:lnTo>
                    <a:pt x="390" y="94"/>
                  </a:lnTo>
                  <a:lnTo>
                    <a:pt x="387" y="94"/>
                  </a:lnTo>
                  <a:lnTo>
                    <a:pt x="384" y="93"/>
                  </a:lnTo>
                  <a:lnTo>
                    <a:pt x="385" y="95"/>
                  </a:lnTo>
                  <a:lnTo>
                    <a:pt x="383" y="100"/>
                  </a:lnTo>
                  <a:lnTo>
                    <a:pt x="384" y="100"/>
                  </a:lnTo>
                  <a:lnTo>
                    <a:pt x="387" y="95"/>
                  </a:lnTo>
                  <a:lnTo>
                    <a:pt x="390" y="97"/>
                  </a:lnTo>
                  <a:lnTo>
                    <a:pt x="388" y="99"/>
                  </a:lnTo>
                  <a:lnTo>
                    <a:pt x="384" y="103"/>
                  </a:lnTo>
                  <a:lnTo>
                    <a:pt x="378" y="107"/>
                  </a:lnTo>
                  <a:lnTo>
                    <a:pt x="369" y="112"/>
                  </a:lnTo>
                  <a:lnTo>
                    <a:pt x="365" y="112"/>
                  </a:lnTo>
                  <a:lnTo>
                    <a:pt x="366" y="113"/>
                  </a:lnTo>
                  <a:lnTo>
                    <a:pt x="366" y="115"/>
                  </a:lnTo>
                  <a:lnTo>
                    <a:pt x="360" y="112"/>
                  </a:lnTo>
                  <a:lnTo>
                    <a:pt x="364" y="115"/>
                  </a:lnTo>
                  <a:lnTo>
                    <a:pt x="358" y="117"/>
                  </a:lnTo>
                  <a:lnTo>
                    <a:pt x="358" y="119"/>
                  </a:lnTo>
                  <a:lnTo>
                    <a:pt x="366" y="117"/>
                  </a:lnTo>
                  <a:lnTo>
                    <a:pt x="365" y="121"/>
                  </a:lnTo>
                  <a:lnTo>
                    <a:pt x="365" y="124"/>
                  </a:lnTo>
                  <a:lnTo>
                    <a:pt x="366" y="124"/>
                  </a:lnTo>
                  <a:lnTo>
                    <a:pt x="366" y="119"/>
                  </a:lnTo>
                  <a:lnTo>
                    <a:pt x="367" y="119"/>
                  </a:lnTo>
                  <a:lnTo>
                    <a:pt x="367" y="117"/>
                  </a:lnTo>
                  <a:lnTo>
                    <a:pt x="370" y="117"/>
                  </a:lnTo>
                  <a:lnTo>
                    <a:pt x="370" y="121"/>
                  </a:lnTo>
                  <a:lnTo>
                    <a:pt x="371" y="121"/>
                  </a:lnTo>
                  <a:lnTo>
                    <a:pt x="371" y="115"/>
                  </a:lnTo>
                  <a:lnTo>
                    <a:pt x="376" y="113"/>
                  </a:lnTo>
                  <a:lnTo>
                    <a:pt x="376" y="116"/>
                  </a:lnTo>
                  <a:lnTo>
                    <a:pt x="373" y="119"/>
                  </a:lnTo>
                  <a:lnTo>
                    <a:pt x="373" y="121"/>
                  </a:lnTo>
                  <a:lnTo>
                    <a:pt x="375" y="123"/>
                  </a:lnTo>
                  <a:lnTo>
                    <a:pt x="375" y="124"/>
                  </a:lnTo>
                  <a:lnTo>
                    <a:pt x="377" y="127"/>
                  </a:lnTo>
                  <a:lnTo>
                    <a:pt x="372" y="129"/>
                  </a:lnTo>
                  <a:lnTo>
                    <a:pt x="371" y="128"/>
                  </a:lnTo>
                  <a:lnTo>
                    <a:pt x="370" y="128"/>
                  </a:lnTo>
                  <a:lnTo>
                    <a:pt x="371" y="129"/>
                  </a:lnTo>
                  <a:lnTo>
                    <a:pt x="369" y="129"/>
                  </a:lnTo>
                  <a:lnTo>
                    <a:pt x="366" y="130"/>
                  </a:lnTo>
                  <a:lnTo>
                    <a:pt x="370" y="131"/>
                  </a:lnTo>
                  <a:lnTo>
                    <a:pt x="371" y="130"/>
                  </a:lnTo>
                  <a:lnTo>
                    <a:pt x="372" y="131"/>
                  </a:lnTo>
                  <a:lnTo>
                    <a:pt x="369" y="133"/>
                  </a:lnTo>
                  <a:lnTo>
                    <a:pt x="366" y="135"/>
                  </a:lnTo>
                  <a:lnTo>
                    <a:pt x="364" y="137"/>
                  </a:lnTo>
                  <a:lnTo>
                    <a:pt x="365" y="139"/>
                  </a:lnTo>
                  <a:lnTo>
                    <a:pt x="366" y="137"/>
                  </a:lnTo>
                  <a:lnTo>
                    <a:pt x="369" y="137"/>
                  </a:lnTo>
                  <a:lnTo>
                    <a:pt x="369" y="140"/>
                  </a:lnTo>
                  <a:lnTo>
                    <a:pt x="367" y="141"/>
                  </a:lnTo>
                  <a:lnTo>
                    <a:pt x="365" y="141"/>
                  </a:lnTo>
                  <a:lnTo>
                    <a:pt x="364" y="139"/>
                  </a:lnTo>
                  <a:lnTo>
                    <a:pt x="359" y="139"/>
                  </a:lnTo>
                  <a:lnTo>
                    <a:pt x="358" y="140"/>
                  </a:lnTo>
                  <a:lnTo>
                    <a:pt x="357" y="142"/>
                  </a:lnTo>
                  <a:lnTo>
                    <a:pt x="355" y="145"/>
                  </a:lnTo>
                  <a:lnTo>
                    <a:pt x="351" y="145"/>
                  </a:lnTo>
                  <a:lnTo>
                    <a:pt x="345" y="148"/>
                  </a:lnTo>
                  <a:lnTo>
                    <a:pt x="341" y="149"/>
                  </a:lnTo>
                  <a:lnTo>
                    <a:pt x="340" y="153"/>
                  </a:lnTo>
                  <a:lnTo>
                    <a:pt x="336" y="153"/>
                  </a:lnTo>
                  <a:lnTo>
                    <a:pt x="337" y="152"/>
                  </a:lnTo>
                  <a:lnTo>
                    <a:pt x="336" y="152"/>
                  </a:lnTo>
                  <a:lnTo>
                    <a:pt x="331" y="152"/>
                  </a:lnTo>
                  <a:lnTo>
                    <a:pt x="331" y="154"/>
                  </a:lnTo>
                  <a:lnTo>
                    <a:pt x="330" y="155"/>
                  </a:lnTo>
                  <a:lnTo>
                    <a:pt x="322" y="161"/>
                  </a:lnTo>
                  <a:lnTo>
                    <a:pt x="318" y="163"/>
                  </a:lnTo>
                  <a:lnTo>
                    <a:pt x="316" y="163"/>
                  </a:lnTo>
                  <a:lnTo>
                    <a:pt x="317" y="164"/>
                  </a:lnTo>
                  <a:lnTo>
                    <a:pt x="316" y="165"/>
                  </a:lnTo>
                  <a:lnTo>
                    <a:pt x="313" y="166"/>
                  </a:lnTo>
                  <a:lnTo>
                    <a:pt x="312" y="167"/>
                  </a:lnTo>
                  <a:lnTo>
                    <a:pt x="311" y="169"/>
                  </a:lnTo>
                  <a:lnTo>
                    <a:pt x="307" y="170"/>
                  </a:lnTo>
                  <a:lnTo>
                    <a:pt x="308" y="170"/>
                  </a:lnTo>
                  <a:lnTo>
                    <a:pt x="308" y="171"/>
                  </a:lnTo>
                  <a:lnTo>
                    <a:pt x="305" y="171"/>
                  </a:lnTo>
                  <a:lnTo>
                    <a:pt x="305" y="172"/>
                  </a:lnTo>
                  <a:lnTo>
                    <a:pt x="307" y="172"/>
                  </a:lnTo>
                  <a:lnTo>
                    <a:pt x="304" y="177"/>
                  </a:lnTo>
                  <a:lnTo>
                    <a:pt x="307" y="173"/>
                  </a:lnTo>
                  <a:lnTo>
                    <a:pt x="308" y="173"/>
                  </a:lnTo>
                  <a:lnTo>
                    <a:pt x="308" y="177"/>
                  </a:lnTo>
                  <a:lnTo>
                    <a:pt x="310" y="172"/>
                  </a:lnTo>
                  <a:lnTo>
                    <a:pt x="311" y="172"/>
                  </a:lnTo>
                  <a:lnTo>
                    <a:pt x="311" y="173"/>
                  </a:lnTo>
                  <a:lnTo>
                    <a:pt x="312" y="172"/>
                  </a:lnTo>
                  <a:lnTo>
                    <a:pt x="313" y="170"/>
                  </a:lnTo>
                  <a:lnTo>
                    <a:pt x="319" y="165"/>
                  </a:lnTo>
                  <a:lnTo>
                    <a:pt x="318" y="171"/>
                  </a:lnTo>
                  <a:lnTo>
                    <a:pt x="319" y="172"/>
                  </a:lnTo>
                  <a:lnTo>
                    <a:pt x="319" y="176"/>
                  </a:lnTo>
                  <a:lnTo>
                    <a:pt x="320" y="176"/>
                  </a:lnTo>
                  <a:lnTo>
                    <a:pt x="322" y="172"/>
                  </a:lnTo>
                  <a:lnTo>
                    <a:pt x="320" y="165"/>
                  </a:lnTo>
                  <a:lnTo>
                    <a:pt x="322" y="169"/>
                  </a:lnTo>
                  <a:lnTo>
                    <a:pt x="322" y="175"/>
                  </a:lnTo>
                  <a:lnTo>
                    <a:pt x="323" y="175"/>
                  </a:lnTo>
                  <a:lnTo>
                    <a:pt x="323" y="176"/>
                  </a:lnTo>
                  <a:lnTo>
                    <a:pt x="324" y="177"/>
                  </a:lnTo>
                  <a:lnTo>
                    <a:pt x="325" y="178"/>
                  </a:lnTo>
                  <a:lnTo>
                    <a:pt x="324" y="179"/>
                  </a:lnTo>
                  <a:lnTo>
                    <a:pt x="320" y="181"/>
                  </a:lnTo>
                  <a:lnTo>
                    <a:pt x="322" y="182"/>
                  </a:lnTo>
                  <a:lnTo>
                    <a:pt x="322" y="183"/>
                  </a:lnTo>
                  <a:lnTo>
                    <a:pt x="319" y="183"/>
                  </a:lnTo>
                  <a:lnTo>
                    <a:pt x="320" y="184"/>
                  </a:lnTo>
                  <a:lnTo>
                    <a:pt x="322" y="184"/>
                  </a:lnTo>
                  <a:lnTo>
                    <a:pt x="323" y="185"/>
                  </a:lnTo>
                  <a:lnTo>
                    <a:pt x="320" y="187"/>
                  </a:lnTo>
                  <a:lnTo>
                    <a:pt x="319" y="188"/>
                  </a:lnTo>
                  <a:lnTo>
                    <a:pt x="319" y="189"/>
                  </a:lnTo>
                  <a:lnTo>
                    <a:pt x="319" y="190"/>
                  </a:lnTo>
                  <a:lnTo>
                    <a:pt x="320" y="194"/>
                  </a:lnTo>
                  <a:lnTo>
                    <a:pt x="319" y="195"/>
                  </a:lnTo>
                  <a:lnTo>
                    <a:pt x="319" y="196"/>
                  </a:lnTo>
                  <a:lnTo>
                    <a:pt x="320" y="197"/>
                  </a:lnTo>
                  <a:lnTo>
                    <a:pt x="324" y="197"/>
                  </a:lnTo>
                  <a:lnTo>
                    <a:pt x="325" y="199"/>
                  </a:lnTo>
                  <a:lnTo>
                    <a:pt x="324" y="199"/>
                  </a:lnTo>
                  <a:lnTo>
                    <a:pt x="319" y="200"/>
                  </a:lnTo>
                  <a:lnTo>
                    <a:pt x="319" y="201"/>
                  </a:lnTo>
                  <a:lnTo>
                    <a:pt x="318" y="201"/>
                  </a:lnTo>
                  <a:lnTo>
                    <a:pt x="318" y="202"/>
                  </a:lnTo>
                  <a:lnTo>
                    <a:pt x="316" y="202"/>
                  </a:lnTo>
                  <a:lnTo>
                    <a:pt x="313" y="201"/>
                  </a:lnTo>
                  <a:lnTo>
                    <a:pt x="312" y="201"/>
                  </a:lnTo>
                  <a:lnTo>
                    <a:pt x="312" y="202"/>
                  </a:lnTo>
                  <a:lnTo>
                    <a:pt x="314" y="204"/>
                  </a:lnTo>
                  <a:lnTo>
                    <a:pt x="312" y="205"/>
                  </a:lnTo>
                  <a:lnTo>
                    <a:pt x="311" y="205"/>
                  </a:lnTo>
                  <a:lnTo>
                    <a:pt x="310" y="204"/>
                  </a:lnTo>
                  <a:lnTo>
                    <a:pt x="307" y="204"/>
                  </a:lnTo>
                  <a:lnTo>
                    <a:pt x="308" y="205"/>
                  </a:lnTo>
                  <a:lnTo>
                    <a:pt x="305" y="206"/>
                  </a:lnTo>
                  <a:lnTo>
                    <a:pt x="300" y="208"/>
                  </a:lnTo>
                  <a:lnTo>
                    <a:pt x="300" y="210"/>
                  </a:lnTo>
                  <a:lnTo>
                    <a:pt x="305" y="207"/>
                  </a:lnTo>
                  <a:lnTo>
                    <a:pt x="306" y="208"/>
                  </a:lnTo>
                  <a:lnTo>
                    <a:pt x="304" y="216"/>
                  </a:lnTo>
                  <a:lnTo>
                    <a:pt x="305" y="216"/>
                  </a:lnTo>
                  <a:lnTo>
                    <a:pt x="307" y="208"/>
                  </a:lnTo>
                  <a:lnTo>
                    <a:pt x="308" y="208"/>
                  </a:lnTo>
                  <a:lnTo>
                    <a:pt x="308" y="212"/>
                  </a:lnTo>
                  <a:lnTo>
                    <a:pt x="310" y="212"/>
                  </a:lnTo>
                  <a:lnTo>
                    <a:pt x="311" y="210"/>
                  </a:lnTo>
                  <a:lnTo>
                    <a:pt x="312" y="211"/>
                  </a:lnTo>
                  <a:lnTo>
                    <a:pt x="313" y="206"/>
                  </a:lnTo>
                  <a:lnTo>
                    <a:pt x="314" y="206"/>
                  </a:lnTo>
                  <a:lnTo>
                    <a:pt x="314" y="207"/>
                  </a:lnTo>
                  <a:lnTo>
                    <a:pt x="314" y="208"/>
                  </a:lnTo>
                  <a:lnTo>
                    <a:pt x="314" y="210"/>
                  </a:lnTo>
                  <a:lnTo>
                    <a:pt x="316" y="211"/>
                  </a:lnTo>
                  <a:lnTo>
                    <a:pt x="318" y="219"/>
                  </a:lnTo>
                  <a:lnTo>
                    <a:pt x="319" y="219"/>
                  </a:lnTo>
                  <a:lnTo>
                    <a:pt x="320" y="218"/>
                  </a:lnTo>
                  <a:lnTo>
                    <a:pt x="322" y="220"/>
                  </a:lnTo>
                  <a:lnTo>
                    <a:pt x="323" y="222"/>
                  </a:lnTo>
                  <a:lnTo>
                    <a:pt x="323" y="220"/>
                  </a:lnTo>
                  <a:lnTo>
                    <a:pt x="322" y="218"/>
                  </a:lnTo>
                  <a:lnTo>
                    <a:pt x="323" y="218"/>
                  </a:lnTo>
                  <a:lnTo>
                    <a:pt x="324" y="219"/>
                  </a:lnTo>
                  <a:lnTo>
                    <a:pt x="325" y="219"/>
                  </a:lnTo>
                  <a:lnTo>
                    <a:pt x="325" y="217"/>
                  </a:lnTo>
                  <a:lnTo>
                    <a:pt x="326" y="216"/>
                  </a:lnTo>
                  <a:lnTo>
                    <a:pt x="328" y="219"/>
                  </a:lnTo>
                  <a:lnTo>
                    <a:pt x="328" y="220"/>
                  </a:lnTo>
                  <a:lnTo>
                    <a:pt x="329" y="222"/>
                  </a:lnTo>
                  <a:lnTo>
                    <a:pt x="329" y="216"/>
                  </a:lnTo>
                  <a:lnTo>
                    <a:pt x="329" y="214"/>
                  </a:lnTo>
                  <a:lnTo>
                    <a:pt x="330" y="216"/>
                  </a:lnTo>
                  <a:lnTo>
                    <a:pt x="331" y="218"/>
                  </a:lnTo>
                  <a:lnTo>
                    <a:pt x="331" y="213"/>
                  </a:lnTo>
                  <a:lnTo>
                    <a:pt x="333" y="212"/>
                  </a:lnTo>
                  <a:lnTo>
                    <a:pt x="333" y="213"/>
                  </a:lnTo>
                  <a:lnTo>
                    <a:pt x="334" y="214"/>
                  </a:lnTo>
                  <a:lnTo>
                    <a:pt x="335" y="218"/>
                  </a:lnTo>
                  <a:lnTo>
                    <a:pt x="335" y="219"/>
                  </a:lnTo>
                  <a:lnTo>
                    <a:pt x="336" y="223"/>
                  </a:lnTo>
                  <a:lnTo>
                    <a:pt x="335" y="224"/>
                  </a:lnTo>
                  <a:lnTo>
                    <a:pt x="331" y="225"/>
                  </a:lnTo>
                  <a:lnTo>
                    <a:pt x="329" y="228"/>
                  </a:lnTo>
                  <a:lnTo>
                    <a:pt x="326" y="231"/>
                  </a:lnTo>
                  <a:lnTo>
                    <a:pt x="319" y="231"/>
                  </a:lnTo>
                  <a:lnTo>
                    <a:pt x="317" y="232"/>
                  </a:lnTo>
                  <a:lnTo>
                    <a:pt x="310" y="234"/>
                  </a:lnTo>
                  <a:lnTo>
                    <a:pt x="308" y="235"/>
                  </a:lnTo>
                  <a:lnTo>
                    <a:pt x="304" y="235"/>
                  </a:lnTo>
                  <a:lnTo>
                    <a:pt x="301" y="234"/>
                  </a:lnTo>
                  <a:lnTo>
                    <a:pt x="301" y="235"/>
                  </a:lnTo>
                  <a:lnTo>
                    <a:pt x="300" y="235"/>
                  </a:lnTo>
                  <a:lnTo>
                    <a:pt x="296" y="231"/>
                  </a:lnTo>
                  <a:lnTo>
                    <a:pt x="296" y="232"/>
                  </a:lnTo>
                  <a:lnTo>
                    <a:pt x="298" y="234"/>
                  </a:lnTo>
                  <a:lnTo>
                    <a:pt x="299" y="235"/>
                  </a:lnTo>
                  <a:lnTo>
                    <a:pt x="296" y="235"/>
                  </a:lnTo>
                  <a:lnTo>
                    <a:pt x="295" y="234"/>
                  </a:lnTo>
                  <a:lnTo>
                    <a:pt x="293" y="234"/>
                  </a:lnTo>
                  <a:lnTo>
                    <a:pt x="287" y="230"/>
                  </a:lnTo>
                  <a:lnTo>
                    <a:pt x="286" y="230"/>
                  </a:lnTo>
                  <a:lnTo>
                    <a:pt x="292" y="235"/>
                  </a:lnTo>
                  <a:lnTo>
                    <a:pt x="278" y="235"/>
                  </a:lnTo>
                  <a:lnTo>
                    <a:pt x="280" y="236"/>
                  </a:lnTo>
                  <a:lnTo>
                    <a:pt x="289" y="237"/>
                  </a:lnTo>
                  <a:lnTo>
                    <a:pt x="292" y="237"/>
                  </a:lnTo>
                  <a:lnTo>
                    <a:pt x="289" y="238"/>
                  </a:lnTo>
                  <a:lnTo>
                    <a:pt x="289" y="240"/>
                  </a:lnTo>
                  <a:lnTo>
                    <a:pt x="295" y="236"/>
                  </a:lnTo>
                  <a:lnTo>
                    <a:pt x="296" y="236"/>
                  </a:lnTo>
                  <a:lnTo>
                    <a:pt x="298" y="238"/>
                  </a:lnTo>
                  <a:lnTo>
                    <a:pt x="298" y="240"/>
                  </a:lnTo>
                  <a:lnTo>
                    <a:pt x="296" y="242"/>
                  </a:lnTo>
                  <a:lnTo>
                    <a:pt x="298" y="244"/>
                  </a:lnTo>
                  <a:lnTo>
                    <a:pt x="299" y="247"/>
                  </a:lnTo>
                  <a:lnTo>
                    <a:pt x="300" y="248"/>
                  </a:lnTo>
                  <a:lnTo>
                    <a:pt x="298" y="249"/>
                  </a:lnTo>
                  <a:lnTo>
                    <a:pt x="296" y="252"/>
                  </a:lnTo>
                  <a:lnTo>
                    <a:pt x="299" y="252"/>
                  </a:lnTo>
                  <a:lnTo>
                    <a:pt x="299" y="253"/>
                  </a:lnTo>
                  <a:lnTo>
                    <a:pt x="296" y="254"/>
                  </a:lnTo>
                  <a:lnTo>
                    <a:pt x="294" y="256"/>
                  </a:lnTo>
                  <a:lnTo>
                    <a:pt x="294" y="258"/>
                  </a:lnTo>
                  <a:lnTo>
                    <a:pt x="293" y="258"/>
                  </a:lnTo>
                  <a:lnTo>
                    <a:pt x="292" y="256"/>
                  </a:lnTo>
                  <a:lnTo>
                    <a:pt x="292" y="254"/>
                  </a:lnTo>
                  <a:lnTo>
                    <a:pt x="290" y="252"/>
                  </a:lnTo>
                  <a:lnTo>
                    <a:pt x="290" y="253"/>
                  </a:lnTo>
                  <a:lnTo>
                    <a:pt x="290" y="254"/>
                  </a:lnTo>
                  <a:lnTo>
                    <a:pt x="288" y="256"/>
                  </a:lnTo>
                  <a:lnTo>
                    <a:pt x="281" y="250"/>
                  </a:lnTo>
                  <a:lnTo>
                    <a:pt x="278" y="250"/>
                  </a:lnTo>
                  <a:lnTo>
                    <a:pt x="271" y="244"/>
                  </a:lnTo>
                  <a:lnTo>
                    <a:pt x="270" y="246"/>
                  </a:lnTo>
                  <a:lnTo>
                    <a:pt x="275" y="250"/>
                  </a:lnTo>
                  <a:lnTo>
                    <a:pt x="272" y="250"/>
                  </a:lnTo>
                  <a:lnTo>
                    <a:pt x="269" y="248"/>
                  </a:lnTo>
                  <a:lnTo>
                    <a:pt x="268" y="249"/>
                  </a:lnTo>
                  <a:lnTo>
                    <a:pt x="271" y="250"/>
                  </a:lnTo>
                  <a:lnTo>
                    <a:pt x="270" y="252"/>
                  </a:lnTo>
                  <a:lnTo>
                    <a:pt x="274" y="253"/>
                  </a:lnTo>
                  <a:lnTo>
                    <a:pt x="275" y="254"/>
                  </a:lnTo>
                  <a:lnTo>
                    <a:pt x="272" y="255"/>
                  </a:lnTo>
                  <a:lnTo>
                    <a:pt x="276" y="255"/>
                  </a:lnTo>
                  <a:lnTo>
                    <a:pt x="277" y="254"/>
                  </a:lnTo>
                  <a:lnTo>
                    <a:pt x="278" y="254"/>
                  </a:lnTo>
                  <a:lnTo>
                    <a:pt x="278" y="255"/>
                  </a:lnTo>
                  <a:lnTo>
                    <a:pt x="276" y="258"/>
                  </a:lnTo>
                  <a:lnTo>
                    <a:pt x="277" y="258"/>
                  </a:lnTo>
                  <a:lnTo>
                    <a:pt x="281" y="255"/>
                  </a:lnTo>
                  <a:lnTo>
                    <a:pt x="284" y="256"/>
                  </a:lnTo>
                  <a:lnTo>
                    <a:pt x="281" y="258"/>
                  </a:lnTo>
                  <a:lnTo>
                    <a:pt x="278" y="259"/>
                  </a:lnTo>
                  <a:lnTo>
                    <a:pt x="276" y="261"/>
                  </a:lnTo>
                  <a:lnTo>
                    <a:pt x="277" y="262"/>
                  </a:lnTo>
                  <a:lnTo>
                    <a:pt x="278" y="261"/>
                  </a:lnTo>
                  <a:lnTo>
                    <a:pt x="280" y="260"/>
                  </a:lnTo>
                  <a:lnTo>
                    <a:pt x="281" y="260"/>
                  </a:lnTo>
                  <a:lnTo>
                    <a:pt x="283" y="260"/>
                  </a:lnTo>
                  <a:lnTo>
                    <a:pt x="284" y="260"/>
                  </a:lnTo>
                  <a:lnTo>
                    <a:pt x="284" y="262"/>
                  </a:lnTo>
                  <a:lnTo>
                    <a:pt x="287" y="262"/>
                  </a:lnTo>
                  <a:lnTo>
                    <a:pt x="289" y="262"/>
                  </a:lnTo>
                  <a:lnTo>
                    <a:pt x="290" y="262"/>
                  </a:lnTo>
                  <a:lnTo>
                    <a:pt x="289" y="264"/>
                  </a:lnTo>
                  <a:lnTo>
                    <a:pt x="287" y="265"/>
                  </a:lnTo>
                  <a:lnTo>
                    <a:pt x="282" y="270"/>
                  </a:lnTo>
                  <a:lnTo>
                    <a:pt x="277" y="271"/>
                  </a:lnTo>
                  <a:lnTo>
                    <a:pt x="271" y="272"/>
                  </a:lnTo>
                  <a:lnTo>
                    <a:pt x="276" y="273"/>
                  </a:lnTo>
                  <a:lnTo>
                    <a:pt x="276" y="274"/>
                  </a:lnTo>
                  <a:lnTo>
                    <a:pt x="268" y="279"/>
                  </a:lnTo>
                  <a:lnTo>
                    <a:pt x="269" y="279"/>
                  </a:lnTo>
                  <a:lnTo>
                    <a:pt x="277" y="276"/>
                  </a:lnTo>
                  <a:lnTo>
                    <a:pt x="278" y="276"/>
                  </a:lnTo>
                  <a:lnTo>
                    <a:pt x="277" y="277"/>
                  </a:lnTo>
                  <a:lnTo>
                    <a:pt x="277" y="280"/>
                  </a:lnTo>
                  <a:lnTo>
                    <a:pt x="278" y="279"/>
                  </a:lnTo>
                  <a:lnTo>
                    <a:pt x="278" y="274"/>
                  </a:lnTo>
                  <a:lnTo>
                    <a:pt x="281" y="274"/>
                  </a:lnTo>
                  <a:lnTo>
                    <a:pt x="286" y="282"/>
                  </a:lnTo>
                  <a:lnTo>
                    <a:pt x="287" y="280"/>
                  </a:lnTo>
                  <a:lnTo>
                    <a:pt x="286" y="278"/>
                  </a:lnTo>
                  <a:lnTo>
                    <a:pt x="288" y="278"/>
                  </a:lnTo>
                  <a:lnTo>
                    <a:pt x="289" y="279"/>
                  </a:lnTo>
                  <a:lnTo>
                    <a:pt x="289" y="280"/>
                  </a:lnTo>
                  <a:lnTo>
                    <a:pt x="287" y="283"/>
                  </a:lnTo>
                  <a:lnTo>
                    <a:pt x="287" y="284"/>
                  </a:lnTo>
                  <a:lnTo>
                    <a:pt x="284" y="284"/>
                  </a:lnTo>
                  <a:lnTo>
                    <a:pt x="282" y="285"/>
                  </a:lnTo>
                  <a:lnTo>
                    <a:pt x="281" y="288"/>
                  </a:lnTo>
                  <a:lnTo>
                    <a:pt x="282" y="290"/>
                  </a:lnTo>
                  <a:lnTo>
                    <a:pt x="278" y="291"/>
                  </a:lnTo>
                  <a:lnTo>
                    <a:pt x="278" y="295"/>
                  </a:lnTo>
                  <a:lnTo>
                    <a:pt x="276" y="296"/>
                  </a:lnTo>
                  <a:lnTo>
                    <a:pt x="274" y="296"/>
                  </a:lnTo>
                  <a:lnTo>
                    <a:pt x="272" y="295"/>
                  </a:lnTo>
                  <a:lnTo>
                    <a:pt x="272" y="296"/>
                  </a:lnTo>
                  <a:lnTo>
                    <a:pt x="274" y="297"/>
                  </a:lnTo>
                  <a:lnTo>
                    <a:pt x="272" y="298"/>
                  </a:lnTo>
                  <a:lnTo>
                    <a:pt x="269" y="300"/>
                  </a:lnTo>
                  <a:lnTo>
                    <a:pt x="269" y="298"/>
                  </a:lnTo>
                  <a:lnTo>
                    <a:pt x="268" y="300"/>
                  </a:lnTo>
                  <a:lnTo>
                    <a:pt x="266" y="300"/>
                  </a:lnTo>
                  <a:lnTo>
                    <a:pt x="264" y="300"/>
                  </a:lnTo>
                  <a:lnTo>
                    <a:pt x="263" y="301"/>
                  </a:lnTo>
                  <a:lnTo>
                    <a:pt x="261" y="301"/>
                  </a:lnTo>
                  <a:lnTo>
                    <a:pt x="260" y="302"/>
                  </a:lnTo>
                  <a:lnTo>
                    <a:pt x="264" y="302"/>
                  </a:lnTo>
                  <a:lnTo>
                    <a:pt x="264" y="303"/>
                  </a:lnTo>
                  <a:lnTo>
                    <a:pt x="263" y="304"/>
                  </a:lnTo>
                  <a:lnTo>
                    <a:pt x="261" y="308"/>
                  </a:lnTo>
                  <a:lnTo>
                    <a:pt x="263" y="308"/>
                  </a:lnTo>
                  <a:lnTo>
                    <a:pt x="264" y="308"/>
                  </a:lnTo>
                  <a:lnTo>
                    <a:pt x="266" y="306"/>
                  </a:lnTo>
                  <a:lnTo>
                    <a:pt x="266" y="309"/>
                  </a:lnTo>
                  <a:lnTo>
                    <a:pt x="268" y="303"/>
                  </a:lnTo>
                  <a:lnTo>
                    <a:pt x="269" y="302"/>
                  </a:lnTo>
                  <a:lnTo>
                    <a:pt x="269" y="304"/>
                  </a:lnTo>
                  <a:lnTo>
                    <a:pt x="270" y="302"/>
                  </a:lnTo>
                  <a:lnTo>
                    <a:pt x="271" y="302"/>
                  </a:lnTo>
                  <a:lnTo>
                    <a:pt x="274" y="301"/>
                  </a:lnTo>
                  <a:lnTo>
                    <a:pt x="274" y="302"/>
                  </a:lnTo>
                  <a:lnTo>
                    <a:pt x="274" y="303"/>
                  </a:lnTo>
                  <a:lnTo>
                    <a:pt x="272" y="304"/>
                  </a:lnTo>
                  <a:lnTo>
                    <a:pt x="274" y="307"/>
                  </a:lnTo>
                  <a:lnTo>
                    <a:pt x="274" y="310"/>
                  </a:lnTo>
                  <a:lnTo>
                    <a:pt x="275" y="312"/>
                  </a:lnTo>
                  <a:lnTo>
                    <a:pt x="276" y="313"/>
                  </a:lnTo>
                  <a:lnTo>
                    <a:pt x="276" y="309"/>
                  </a:lnTo>
                  <a:lnTo>
                    <a:pt x="276" y="306"/>
                  </a:lnTo>
                  <a:lnTo>
                    <a:pt x="277" y="306"/>
                  </a:lnTo>
                  <a:lnTo>
                    <a:pt x="278" y="307"/>
                  </a:lnTo>
                  <a:lnTo>
                    <a:pt x="278" y="312"/>
                  </a:lnTo>
                  <a:lnTo>
                    <a:pt x="280" y="312"/>
                  </a:lnTo>
                  <a:lnTo>
                    <a:pt x="282" y="308"/>
                  </a:lnTo>
                  <a:lnTo>
                    <a:pt x="283" y="306"/>
                  </a:lnTo>
                  <a:lnTo>
                    <a:pt x="284" y="304"/>
                  </a:lnTo>
                  <a:lnTo>
                    <a:pt x="284" y="306"/>
                  </a:lnTo>
                  <a:lnTo>
                    <a:pt x="287" y="306"/>
                  </a:lnTo>
                  <a:lnTo>
                    <a:pt x="288" y="306"/>
                  </a:lnTo>
                  <a:lnTo>
                    <a:pt x="289" y="304"/>
                  </a:lnTo>
                  <a:lnTo>
                    <a:pt x="288" y="303"/>
                  </a:lnTo>
                  <a:lnTo>
                    <a:pt x="288" y="300"/>
                  </a:lnTo>
                  <a:lnTo>
                    <a:pt x="289" y="298"/>
                  </a:lnTo>
                  <a:lnTo>
                    <a:pt x="292" y="302"/>
                  </a:lnTo>
                  <a:lnTo>
                    <a:pt x="293" y="303"/>
                  </a:lnTo>
                  <a:lnTo>
                    <a:pt x="295" y="303"/>
                  </a:lnTo>
                  <a:lnTo>
                    <a:pt x="295" y="301"/>
                  </a:lnTo>
                  <a:lnTo>
                    <a:pt x="294" y="300"/>
                  </a:lnTo>
                  <a:lnTo>
                    <a:pt x="294" y="295"/>
                  </a:lnTo>
                  <a:lnTo>
                    <a:pt x="295" y="294"/>
                  </a:lnTo>
                  <a:lnTo>
                    <a:pt x="298" y="296"/>
                  </a:lnTo>
                  <a:lnTo>
                    <a:pt x="298" y="297"/>
                  </a:lnTo>
                  <a:lnTo>
                    <a:pt x="296" y="298"/>
                  </a:lnTo>
                  <a:lnTo>
                    <a:pt x="296" y="300"/>
                  </a:lnTo>
                  <a:lnTo>
                    <a:pt x="298" y="302"/>
                  </a:lnTo>
                  <a:lnTo>
                    <a:pt x="299" y="300"/>
                  </a:lnTo>
                  <a:lnTo>
                    <a:pt x="299" y="296"/>
                  </a:lnTo>
                  <a:lnTo>
                    <a:pt x="299" y="294"/>
                  </a:lnTo>
                  <a:lnTo>
                    <a:pt x="300" y="292"/>
                  </a:lnTo>
                  <a:lnTo>
                    <a:pt x="300" y="291"/>
                  </a:lnTo>
                  <a:lnTo>
                    <a:pt x="299" y="290"/>
                  </a:lnTo>
                  <a:lnTo>
                    <a:pt x="299" y="289"/>
                  </a:lnTo>
                  <a:lnTo>
                    <a:pt x="300" y="290"/>
                  </a:lnTo>
                  <a:lnTo>
                    <a:pt x="302" y="289"/>
                  </a:lnTo>
                  <a:lnTo>
                    <a:pt x="302" y="291"/>
                  </a:lnTo>
                  <a:lnTo>
                    <a:pt x="301" y="294"/>
                  </a:lnTo>
                  <a:lnTo>
                    <a:pt x="301" y="296"/>
                  </a:lnTo>
                  <a:lnTo>
                    <a:pt x="301" y="297"/>
                  </a:lnTo>
                  <a:lnTo>
                    <a:pt x="301" y="298"/>
                  </a:lnTo>
                  <a:lnTo>
                    <a:pt x="301" y="300"/>
                  </a:lnTo>
                  <a:lnTo>
                    <a:pt x="300" y="301"/>
                  </a:lnTo>
                  <a:lnTo>
                    <a:pt x="299" y="302"/>
                  </a:lnTo>
                  <a:lnTo>
                    <a:pt x="296" y="304"/>
                  </a:lnTo>
                  <a:lnTo>
                    <a:pt x="293" y="307"/>
                  </a:lnTo>
                  <a:lnTo>
                    <a:pt x="290" y="309"/>
                  </a:lnTo>
                  <a:lnTo>
                    <a:pt x="289" y="310"/>
                  </a:lnTo>
                  <a:lnTo>
                    <a:pt x="288" y="310"/>
                  </a:lnTo>
                  <a:lnTo>
                    <a:pt x="287" y="308"/>
                  </a:lnTo>
                  <a:lnTo>
                    <a:pt x="287" y="310"/>
                  </a:lnTo>
                  <a:lnTo>
                    <a:pt x="283" y="314"/>
                  </a:lnTo>
                  <a:lnTo>
                    <a:pt x="281" y="315"/>
                  </a:lnTo>
                  <a:lnTo>
                    <a:pt x="278" y="315"/>
                  </a:lnTo>
                  <a:lnTo>
                    <a:pt x="276" y="315"/>
                  </a:lnTo>
                  <a:lnTo>
                    <a:pt x="275" y="314"/>
                  </a:lnTo>
                  <a:lnTo>
                    <a:pt x="272" y="314"/>
                  </a:lnTo>
                  <a:lnTo>
                    <a:pt x="271" y="314"/>
                  </a:lnTo>
                  <a:lnTo>
                    <a:pt x="269" y="314"/>
                  </a:lnTo>
                  <a:lnTo>
                    <a:pt x="265" y="313"/>
                  </a:lnTo>
                  <a:lnTo>
                    <a:pt x="263" y="310"/>
                  </a:lnTo>
                  <a:lnTo>
                    <a:pt x="260" y="308"/>
                  </a:lnTo>
                  <a:lnTo>
                    <a:pt x="259" y="307"/>
                  </a:lnTo>
                  <a:lnTo>
                    <a:pt x="255" y="304"/>
                  </a:lnTo>
                  <a:lnTo>
                    <a:pt x="254" y="301"/>
                  </a:lnTo>
                  <a:lnTo>
                    <a:pt x="257" y="300"/>
                  </a:lnTo>
                  <a:lnTo>
                    <a:pt x="255" y="298"/>
                  </a:lnTo>
                  <a:lnTo>
                    <a:pt x="253" y="301"/>
                  </a:lnTo>
                  <a:lnTo>
                    <a:pt x="252" y="300"/>
                  </a:lnTo>
                  <a:lnTo>
                    <a:pt x="257" y="294"/>
                  </a:lnTo>
                  <a:lnTo>
                    <a:pt x="255" y="294"/>
                  </a:lnTo>
                  <a:lnTo>
                    <a:pt x="253" y="294"/>
                  </a:lnTo>
                  <a:lnTo>
                    <a:pt x="251" y="294"/>
                  </a:lnTo>
                  <a:lnTo>
                    <a:pt x="252" y="296"/>
                  </a:lnTo>
                  <a:lnTo>
                    <a:pt x="251" y="297"/>
                  </a:lnTo>
                  <a:lnTo>
                    <a:pt x="241" y="288"/>
                  </a:lnTo>
                  <a:lnTo>
                    <a:pt x="240" y="288"/>
                  </a:lnTo>
                  <a:lnTo>
                    <a:pt x="242" y="291"/>
                  </a:lnTo>
                  <a:lnTo>
                    <a:pt x="241" y="291"/>
                  </a:lnTo>
                  <a:lnTo>
                    <a:pt x="234" y="290"/>
                  </a:lnTo>
                  <a:lnTo>
                    <a:pt x="234" y="291"/>
                  </a:lnTo>
                  <a:lnTo>
                    <a:pt x="240" y="292"/>
                  </a:lnTo>
                  <a:lnTo>
                    <a:pt x="239" y="294"/>
                  </a:lnTo>
                  <a:lnTo>
                    <a:pt x="241" y="295"/>
                  </a:lnTo>
                  <a:lnTo>
                    <a:pt x="240" y="297"/>
                  </a:lnTo>
                  <a:lnTo>
                    <a:pt x="242" y="296"/>
                  </a:lnTo>
                  <a:lnTo>
                    <a:pt x="243" y="296"/>
                  </a:lnTo>
                  <a:lnTo>
                    <a:pt x="247" y="297"/>
                  </a:lnTo>
                  <a:lnTo>
                    <a:pt x="247" y="298"/>
                  </a:lnTo>
                  <a:lnTo>
                    <a:pt x="241" y="302"/>
                  </a:lnTo>
                  <a:lnTo>
                    <a:pt x="242" y="302"/>
                  </a:lnTo>
                  <a:lnTo>
                    <a:pt x="247" y="301"/>
                  </a:lnTo>
                  <a:lnTo>
                    <a:pt x="247" y="302"/>
                  </a:lnTo>
                  <a:lnTo>
                    <a:pt x="247" y="304"/>
                  </a:lnTo>
                  <a:lnTo>
                    <a:pt x="249" y="303"/>
                  </a:lnTo>
                  <a:lnTo>
                    <a:pt x="252" y="303"/>
                  </a:lnTo>
                  <a:lnTo>
                    <a:pt x="252" y="306"/>
                  </a:lnTo>
                  <a:lnTo>
                    <a:pt x="253" y="306"/>
                  </a:lnTo>
                  <a:lnTo>
                    <a:pt x="247" y="312"/>
                  </a:lnTo>
                  <a:lnTo>
                    <a:pt x="253" y="308"/>
                  </a:lnTo>
                  <a:lnTo>
                    <a:pt x="255" y="307"/>
                  </a:lnTo>
                  <a:lnTo>
                    <a:pt x="257" y="308"/>
                  </a:lnTo>
                  <a:lnTo>
                    <a:pt x="252" y="310"/>
                  </a:lnTo>
                  <a:lnTo>
                    <a:pt x="249" y="313"/>
                  </a:lnTo>
                  <a:lnTo>
                    <a:pt x="247" y="313"/>
                  </a:lnTo>
                  <a:lnTo>
                    <a:pt x="251" y="317"/>
                  </a:lnTo>
                  <a:lnTo>
                    <a:pt x="247" y="319"/>
                  </a:lnTo>
                  <a:lnTo>
                    <a:pt x="247" y="320"/>
                  </a:lnTo>
                  <a:lnTo>
                    <a:pt x="249" y="323"/>
                  </a:lnTo>
                  <a:lnTo>
                    <a:pt x="247" y="326"/>
                  </a:lnTo>
                  <a:lnTo>
                    <a:pt x="251" y="329"/>
                  </a:lnTo>
                  <a:lnTo>
                    <a:pt x="253" y="326"/>
                  </a:lnTo>
                  <a:lnTo>
                    <a:pt x="253" y="325"/>
                  </a:lnTo>
                  <a:lnTo>
                    <a:pt x="254" y="324"/>
                  </a:lnTo>
                  <a:lnTo>
                    <a:pt x="254" y="320"/>
                  </a:lnTo>
                  <a:lnTo>
                    <a:pt x="255" y="319"/>
                  </a:lnTo>
                  <a:lnTo>
                    <a:pt x="257" y="319"/>
                  </a:lnTo>
                  <a:lnTo>
                    <a:pt x="257" y="321"/>
                  </a:lnTo>
                  <a:lnTo>
                    <a:pt x="257" y="324"/>
                  </a:lnTo>
                  <a:lnTo>
                    <a:pt x="257" y="326"/>
                  </a:lnTo>
                  <a:lnTo>
                    <a:pt x="259" y="327"/>
                  </a:lnTo>
                  <a:lnTo>
                    <a:pt x="259" y="330"/>
                  </a:lnTo>
                  <a:lnTo>
                    <a:pt x="257" y="330"/>
                  </a:lnTo>
                  <a:lnTo>
                    <a:pt x="257" y="327"/>
                  </a:lnTo>
                  <a:lnTo>
                    <a:pt x="254" y="330"/>
                  </a:lnTo>
                  <a:lnTo>
                    <a:pt x="253" y="331"/>
                  </a:lnTo>
                  <a:lnTo>
                    <a:pt x="252" y="331"/>
                  </a:lnTo>
                  <a:lnTo>
                    <a:pt x="247" y="330"/>
                  </a:lnTo>
                  <a:lnTo>
                    <a:pt x="247" y="331"/>
                  </a:lnTo>
                  <a:lnTo>
                    <a:pt x="242" y="335"/>
                  </a:lnTo>
                  <a:lnTo>
                    <a:pt x="243" y="335"/>
                  </a:lnTo>
                  <a:lnTo>
                    <a:pt x="247" y="335"/>
                  </a:lnTo>
                  <a:lnTo>
                    <a:pt x="251" y="333"/>
                  </a:lnTo>
                  <a:lnTo>
                    <a:pt x="251" y="336"/>
                  </a:lnTo>
                  <a:lnTo>
                    <a:pt x="247" y="337"/>
                  </a:lnTo>
                  <a:lnTo>
                    <a:pt x="247" y="338"/>
                  </a:lnTo>
                  <a:lnTo>
                    <a:pt x="251" y="338"/>
                  </a:lnTo>
                  <a:lnTo>
                    <a:pt x="252" y="339"/>
                  </a:lnTo>
                  <a:lnTo>
                    <a:pt x="253" y="339"/>
                  </a:lnTo>
                  <a:lnTo>
                    <a:pt x="253" y="337"/>
                  </a:lnTo>
                  <a:lnTo>
                    <a:pt x="255" y="337"/>
                  </a:lnTo>
                  <a:lnTo>
                    <a:pt x="253" y="343"/>
                  </a:lnTo>
                  <a:lnTo>
                    <a:pt x="254" y="343"/>
                  </a:lnTo>
                  <a:lnTo>
                    <a:pt x="257" y="341"/>
                  </a:lnTo>
                  <a:lnTo>
                    <a:pt x="258" y="342"/>
                  </a:lnTo>
                  <a:lnTo>
                    <a:pt x="259" y="342"/>
                  </a:lnTo>
                  <a:lnTo>
                    <a:pt x="259" y="339"/>
                  </a:lnTo>
                  <a:lnTo>
                    <a:pt x="260" y="339"/>
                  </a:lnTo>
                  <a:lnTo>
                    <a:pt x="260" y="342"/>
                  </a:lnTo>
                  <a:lnTo>
                    <a:pt x="261" y="342"/>
                  </a:lnTo>
                  <a:lnTo>
                    <a:pt x="263" y="338"/>
                  </a:lnTo>
                  <a:lnTo>
                    <a:pt x="264" y="342"/>
                  </a:lnTo>
                  <a:lnTo>
                    <a:pt x="265" y="342"/>
                  </a:lnTo>
                  <a:lnTo>
                    <a:pt x="266" y="344"/>
                  </a:lnTo>
                  <a:lnTo>
                    <a:pt x="266" y="348"/>
                  </a:lnTo>
                  <a:lnTo>
                    <a:pt x="261" y="348"/>
                  </a:lnTo>
                  <a:lnTo>
                    <a:pt x="261" y="349"/>
                  </a:lnTo>
                  <a:lnTo>
                    <a:pt x="264" y="349"/>
                  </a:lnTo>
                  <a:lnTo>
                    <a:pt x="264" y="351"/>
                  </a:lnTo>
                  <a:lnTo>
                    <a:pt x="257" y="351"/>
                  </a:lnTo>
                  <a:lnTo>
                    <a:pt x="258" y="353"/>
                  </a:lnTo>
                  <a:lnTo>
                    <a:pt x="257" y="354"/>
                  </a:lnTo>
                  <a:lnTo>
                    <a:pt x="255" y="354"/>
                  </a:lnTo>
                  <a:lnTo>
                    <a:pt x="254" y="353"/>
                  </a:lnTo>
                  <a:lnTo>
                    <a:pt x="253" y="359"/>
                  </a:lnTo>
                  <a:lnTo>
                    <a:pt x="247" y="363"/>
                  </a:lnTo>
                  <a:lnTo>
                    <a:pt x="247" y="361"/>
                  </a:lnTo>
                  <a:lnTo>
                    <a:pt x="243" y="361"/>
                  </a:lnTo>
                  <a:lnTo>
                    <a:pt x="245" y="363"/>
                  </a:lnTo>
                  <a:lnTo>
                    <a:pt x="242" y="362"/>
                  </a:lnTo>
                  <a:lnTo>
                    <a:pt x="240" y="361"/>
                  </a:lnTo>
                  <a:lnTo>
                    <a:pt x="237" y="361"/>
                  </a:lnTo>
                  <a:lnTo>
                    <a:pt x="235" y="362"/>
                  </a:lnTo>
                  <a:lnTo>
                    <a:pt x="240" y="363"/>
                  </a:lnTo>
                  <a:lnTo>
                    <a:pt x="240" y="366"/>
                  </a:lnTo>
                  <a:lnTo>
                    <a:pt x="239" y="368"/>
                  </a:lnTo>
                  <a:lnTo>
                    <a:pt x="240" y="368"/>
                  </a:lnTo>
                  <a:lnTo>
                    <a:pt x="241" y="366"/>
                  </a:lnTo>
                  <a:lnTo>
                    <a:pt x="242" y="365"/>
                  </a:lnTo>
                  <a:lnTo>
                    <a:pt x="243" y="365"/>
                  </a:lnTo>
                  <a:lnTo>
                    <a:pt x="241" y="367"/>
                  </a:lnTo>
                  <a:lnTo>
                    <a:pt x="241" y="368"/>
                  </a:lnTo>
                  <a:lnTo>
                    <a:pt x="242" y="368"/>
                  </a:lnTo>
                  <a:lnTo>
                    <a:pt x="243" y="367"/>
                  </a:lnTo>
                  <a:lnTo>
                    <a:pt x="247" y="368"/>
                  </a:lnTo>
                  <a:lnTo>
                    <a:pt x="243" y="369"/>
                  </a:lnTo>
                  <a:lnTo>
                    <a:pt x="242" y="372"/>
                  </a:lnTo>
                  <a:lnTo>
                    <a:pt x="243" y="373"/>
                  </a:lnTo>
                  <a:lnTo>
                    <a:pt x="243" y="375"/>
                  </a:lnTo>
                  <a:lnTo>
                    <a:pt x="243" y="378"/>
                  </a:lnTo>
                  <a:lnTo>
                    <a:pt x="241" y="381"/>
                  </a:lnTo>
                  <a:lnTo>
                    <a:pt x="241" y="383"/>
                  </a:lnTo>
                  <a:lnTo>
                    <a:pt x="240" y="383"/>
                  </a:lnTo>
                  <a:lnTo>
                    <a:pt x="237" y="381"/>
                  </a:lnTo>
                  <a:lnTo>
                    <a:pt x="236" y="384"/>
                  </a:lnTo>
                  <a:lnTo>
                    <a:pt x="233" y="387"/>
                  </a:lnTo>
                  <a:lnTo>
                    <a:pt x="229" y="385"/>
                  </a:lnTo>
                  <a:lnTo>
                    <a:pt x="231" y="389"/>
                  </a:lnTo>
                  <a:lnTo>
                    <a:pt x="225" y="396"/>
                  </a:lnTo>
                  <a:lnTo>
                    <a:pt x="225" y="397"/>
                  </a:lnTo>
                  <a:lnTo>
                    <a:pt x="223" y="398"/>
                  </a:lnTo>
                  <a:lnTo>
                    <a:pt x="218" y="403"/>
                  </a:lnTo>
                  <a:lnTo>
                    <a:pt x="216" y="404"/>
                  </a:lnTo>
                  <a:lnTo>
                    <a:pt x="212" y="405"/>
                  </a:lnTo>
                  <a:lnTo>
                    <a:pt x="213" y="407"/>
                  </a:lnTo>
                  <a:lnTo>
                    <a:pt x="212" y="408"/>
                  </a:lnTo>
                  <a:lnTo>
                    <a:pt x="213" y="409"/>
                  </a:lnTo>
                  <a:lnTo>
                    <a:pt x="207" y="411"/>
                  </a:lnTo>
                  <a:lnTo>
                    <a:pt x="207" y="413"/>
                  </a:lnTo>
                  <a:lnTo>
                    <a:pt x="216" y="410"/>
                  </a:lnTo>
                  <a:lnTo>
                    <a:pt x="217" y="410"/>
                  </a:lnTo>
                  <a:lnTo>
                    <a:pt x="207" y="417"/>
                  </a:lnTo>
                  <a:lnTo>
                    <a:pt x="206" y="416"/>
                  </a:lnTo>
                  <a:lnTo>
                    <a:pt x="206" y="420"/>
                  </a:lnTo>
                  <a:lnTo>
                    <a:pt x="200" y="421"/>
                  </a:lnTo>
                  <a:lnTo>
                    <a:pt x="204" y="422"/>
                  </a:lnTo>
                  <a:lnTo>
                    <a:pt x="202" y="425"/>
                  </a:lnTo>
                  <a:lnTo>
                    <a:pt x="198" y="425"/>
                  </a:lnTo>
                  <a:lnTo>
                    <a:pt x="193" y="428"/>
                  </a:lnTo>
                  <a:lnTo>
                    <a:pt x="190" y="430"/>
                  </a:lnTo>
                  <a:lnTo>
                    <a:pt x="194" y="431"/>
                  </a:lnTo>
                  <a:lnTo>
                    <a:pt x="188" y="437"/>
                  </a:lnTo>
                  <a:lnTo>
                    <a:pt x="188" y="438"/>
                  </a:lnTo>
                  <a:lnTo>
                    <a:pt x="194" y="433"/>
                  </a:lnTo>
                  <a:lnTo>
                    <a:pt x="195" y="434"/>
                  </a:lnTo>
                  <a:lnTo>
                    <a:pt x="196" y="434"/>
                  </a:lnTo>
                  <a:lnTo>
                    <a:pt x="198" y="433"/>
                  </a:lnTo>
                  <a:lnTo>
                    <a:pt x="198" y="437"/>
                  </a:lnTo>
                  <a:lnTo>
                    <a:pt x="199" y="437"/>
                  </a:lnTo>
                  <a:lnTo>
                    <a:pt x="199" y="433"/>
                  </a:lnTo>
                  <a:lnTo>
                    <a:pt x="199" y="432"/>
                  </a:lnTo>
                  <a:lnTo>
                    <a:pt x="200" y="431"/>
                  </a:lnTo>
                  <a:lnTo>
                    <a:pt x="201" y="430"/>
                  </a:lnTo>
                  <a:lnTo>
                    <a:pt x="201" y="427"/>
                  </a:lnTo>
                  <a:lnTo>
                    <a:pt x="202" y="428"/>
                  </a:lnTo>
                  <a:lnTo>
                    <a:pt x="204" y="431"/>
                  </a:lnTo>
                  <a:lnTo>
                    <a:pt x="205" y="425"/>
                  </a:lnTo>
                  <a:lnTo>
                    <a:pt x="206" y="425"/>
                  </a:lnTo>
                  <a:lnTo>
                    <a:pt x="206" y="437"/>
                  </a:lnTo>
                  <a:lnTo>
                    <a:pt x="207" y="438"/>
                  </a:lnTo>
                  <a:lnTo>
                    <a:pt x="209" y="434"/>
                  </a:lnTo>
                  <a:lnTo>
                    <a:pt x="211" y="434"/>
                  </a:lnTo>
                  <a:lnTo>
                    <a:pt x="211" y="438"/>
                  </a:lnTo>
                  <a:lnTo>
                    <a:pt x="212" y="437"/>
                  </a:lnTo>
                  <a:lnTo>
                    <a:pt x="215" y="437"/>
                  </a:lnTo>
                  <a:lnTo>
                    <a:pt x="215" y="433"/>
                  </a:lnTo>
                  <a:lnTo>
                    <a:pt x="215" y="431"/>
                  </a:lnTo>
                  <a:lnTo>
                    <a:pt x="215" y="427"/>
                  </a:lnTo>
                  <a:lnTo>
                    <a:pt x="216" y="428"/>
                  </a:lnTo>
                  <a:lnTo>
                    <a:pt x="217" y="428"/>
                  </a:lnTo>
                  <a:lnTo>
                    <a:pt x="218" y="422"/>
                  </a:lnTo>
                  <a:lnTo>
                    <a:pt x="221" y="422"/>
                  </a:lnTo>
                  <a:lnTo>
                    <a:pt x="222" y="422"/>
                  </a:lnTo>
                  <a:lnTo>
                    <a:pt x="223" y="425"/>
                  </a:lnTo>
                  <a:lnTo>
                    <a:pt x="224" y="426"/>
                  </a:lnTo>
                  <a:lnTo>
                    <a:pt x="225" y="426"/>
                  </a:lnTo>
                  <a:lnTo>
                    <a:pt x="227" y="422"/>
                  </a:lnTo>
                  <a:lnTo>
                    <a:pt x="227" y="420"/>
                  </a:lnTo>
                  <a:lnTo>
                    <a:pt x="228" y="417"/>
                  </a:lnTo>
                  <a:lnTo>
                    <a:pt x="228" y="420"/>
                  </a:lnTo>
                  <a:lnTo>
                    <a:pt x="229" y="421"/>
                  </a:lnTo>
                  <a:lnTo>
                    <a:pt x="230" y="420"/>
                  </a:lnTo>
                  <a:lnTo>
                    <a:pt x="231" y="420"/>
                  </a:lnTo>
                  <a:lnTo>
                    <a:pt x="231" y="421"/>
                  </a:lnTo>
                  <a:lnTo>
                    <a:pt x="231" y="424"/>
                  </a:lnTo>
                  <a:lnTo>
                    <a:pt x="227" y="428"/>
                  </a:lnTo>
                  <a:lnTo>
                    <a:pt x="222" y="430"/>
                  </a:lnTo>
                  <a:lnTo>
                    <a:pt x="225" y="431"/>
                  </a:lnTo>
                  <a:lnTo>
                    <a:pt x="222" y="436"/>
                  </a:lnTo>
                  <a:lnTo>
                    <a:pt x="219" y="437"/>
                  </a:lnTo>
                  <a:lnTo>
                    <a:pt x="217" y="442"/>
                  </a:lnTo>
                  <a:lnTo>
                    <a:pt x="211" y="446"/>
                  </a:lnTo>
                  <a:lnTo>
                    <a:pt x="211" y="448"/>
                  </a:lnTo>
                  <a:lnTo>
                    <a:pt x="205" y="451"/>
                  </a:lnTo>
                  <a:lnTo>
                    <a:pt x="206" y="452"/>
                  </a:lnTo>
                  <a:lnTo>
                    <a:pt x="210" y="450"/>
                  </a:lnTo>
                  <a:lnTo>
                    <a:pt x="210" y="452"/>
                  </a:lnTo>
                  <a:lnTo>
                    <a:pt x="205" y="457"/>
                  </a:lnTo>
                  <a:lnTo>
                    <a:pt x="211" y="452"/>
                  </a:lnTo>
                  <a:lnTo>
                    <a:pt x="212" y="452"/>
                  </a:lnTo>
                  <a:lnTo>
                    <a:pt x="213" y="457"/>
                  </a:lnTo>
                  <a:lnTo>
                    <a:pt x="212" y="451"/>
                  </a:lnTo>
                  <a:lnTo>
                    <a:pt x="213" y="449"/>
                  </a:lnTo>
                  <a:lnTo>
                    <a:pt x="217" y="452"/>
                  </a:lnTo>
                  <a:lnTo>
                    <a:pt x="216" y="448"/>
                  </a:lnTo>
                  <a:lnTo>
                    <a:pt x="217" y="446"/>
                  </a:lnTo>
                  <a:lnTo>
                    <a:pt x="218" y="450"/>
                  </a:lnTo>
                  <a:lnTo>
                    <a:pt x="219" y="452"/>
                  </a:lnTo>
                  <a:lnTo>
                    <a:pt x="221" y="444"/>
                  </a:lnTo>
                  <a:lnTo>
                    <a:pt x="222" y="452"/>
                  </a:lnTo>
                  <a:lnTo>
                    <a:pt x="222" y="455"/>
                  </a:lnTo>
                  <a:lnTo>
                    <a:pt x="224" y="455"/>
                  </a:lnTo>
                  <a:lnTo>
                    <a:pt x="224" y="452"/>
                  </a:lnTo>
                  <a:lnTo>
                    <a:pt x="223" y="445"/>
                  </a:lnTo>
                  <a:lnTo>
                    <a:pt x="224" y="445"/>
                  </a:lnTo>
                  <a:lnTo>
                    <a:pt x="225" y="448"/>
                  </a:lnTo>
                  <a:lnTo>
                    <a:pt x="227" y="446"/>
                  </a:lnTo>
                  <a:lnTo>
                    <a:pt x="224" y="437"/>
                  </a:lnTo>
                  <a:lnTo>
                    <a:pt x="225" y="434"/>
                  </a:lnTo>
                  <a:lnTo>
                    <a:pt x="227" y="439"/>
                  </a:lnTo>
                  <a:lnTo>
                    <a:pt x="228" y="444"/>
                  </a:lnTo>
                  <a:lnTo>
                    <a:pt x="229" y="444"/>
                  </a:lnTo>
                  <a:lnTo>
                    <a:pt x="228" y="434"/>
                  </a:lnTo>
                  <a:lnTo>
                    <a:pt x="228" y="433"/>
                  </a:lnTo>
                  <a:lnTo>
                    <a:pt x="229" y="438"/>
                  </a:lnTo>
                  <a:lnTo>
                    <a:pt x="229" y="440"/>
                  </a:lnTo>
                  <a:lnTo>
                    <a:pt x="230" y="440"/>
                  </a:lnTo>
                  <a:lnTo>
                    <a:pt x="229" y="430"/>
                  </a:lnTo>
                  <a:lnTo>
                    <a:pt x="230" y="428"/>
                  </a:lnTo>
                  <a:lnTo>
                    <a:pt x="231" y="438"/>
                  </a:lnTo>
                  <a:lnTo>
                    <a:pt x="231" y="440"/>
                  </a:lnTo>
                  <a:lnTo>
                    <a:pt x="233" y="442"/>
                  </a:lnTo>
                  <a:lnTo>
                    <a:pt x="235" y="443"/>
                  </a:lnTo>
                  <a:lnTo>
                    <a:pt x="236" y="442"/>
                  </a:lnTo>
                  <a:lnTo>
                    <a:pt x="237" y="434"/>
                  </a:lnTo>
                  <a:lnTo>
                    <a:pt x="237" y="432"/>
                  </a:lnTo>
                  <a:lnTo>
                    <a:pt x="239" y="432"/>
                  </a:lnTo>
                  <a:lnTo>
                    <a:pt x="242" y="432"/>
                  </a:lnTo>
                  <a:lnTo>
                    <a:pt x="242" y="430"/>
                  </a:lnTo>
                  <a:lnTo>
                    <a:pt x="241" y="426"/>
                  </a:lnTo>
                  <a:lnTo>
                    <a:pt x="242" y="424"/>
                  </a:lnTo>
                  <a:lnTo>
                    <a:pt x="242" y="426"/>
                  </a:lnTo>
                  <a:lnTo>
                    <a:pt x="243" y="428"/>
                  </a:lnTo>
                  <a:lnTo>
                    <a:pt x="243" y="432"/>
                  </a:lnTo>
                  <a:lnTo>
                    <a:pt x="247" y="432"/>
                  </a:lnTo>
                  <a:lnTo>
                    <a:pt x="247" y="428"/>
                  </a:lnTo>
                  <a:lnTo>
                    <a:pt x="251" y="427"/>
                  </a:lnTo>
                  <a:lnTo>
                    <a:pt x="252" y="430"/>
                  </a:lnTo>
                  <a:lnTo>
                    <a:pt x="252" y="431"/>
                  </a:lnTo>
                  <a:lnTo>
                    <a:pt x="249" y="434"/>
                  </a:lnTo>
                  <a:lnTo>
                    <a:pt x="247" y="438"/>
                  </a:lnTo>
                  <a:lnTo>
                    <a:pt x="249" y="437"/>
                  </a:lnTo>
                  <a:lnTo>
                    <a:pt x="247" y="439"/>
                  </a:lnTo>
                  <a:lnTo>
                    <a:pt x="247" y="443"/>
                  </a:lnTo>
                  <a:lnTo>
                    <a:pt x="241" y="446"/>
                  </a:lnTo>
                  <a:lnTo>
                    <a:pt x="240" y="449"/>
                  </a:lnTo>
                  <a:lnTo>
                    <a:pt x="235" y="449"/>
                  </a:lnTo>
                  <a:lnTo>
                    <a:pt x="239" y="450"/>
                  </a:lnTo>
                  <a:lnTo>
                    <a:pt x="239" y="451"/>
                  </a:lnTo>
                  <a:lnTo>
                    <a:pt x="233" y="452"/>
                  </a:lnTo>
                  <a:lnTo>
                    <a:pt x="230" y="454"/>
                  </a:lnTo>
                  <a:lnTo>
                    <a:pt x="231" y="455"/>
                  </a:lnTo>
                  <a:lnTo>
                    <a:pt x="233" y="454"/>
                  </a:lnTo>
                  <a:lnTo>
                    <a:pt x="234" y="455"/>
                  </a:lnTo>
                  <a:lnTo>
                    <a:pt x="231" y="456"/>
                  </a:lnTo>
                  <a:lnTo>
                    <a:pt x="229" y="458"/>
                  </a:lnTo>
                  <a:lnTo>
                    <a:pt x="230" y="460"/>
                  </a:lnTo>
                  <a:lnTo>
                    <a:pt x="229" y="461"/>
                  </a:lnTo>
                  <a:lnTo>
                    <a:pt x="228" y="461"/>
                  </a:lnTo>
                  <a:lnTo>
                    <a:pt x="227" y="457"/>
                  </a:lnTo>
                  <a:lnTo>
                    <a:pt x="225" y="457"/>
                  </a:lnTo>
                  <a:lnTo>
                    <a:pt x="224" y="457"/>
                  </a:lnTo>
                  <a:lnTo>
                    <a:pt x="224" y="461"/>
                  </a:lnTo>
                  <a:lnTo>
                    <a:pt x="221" y="460"/>
                  </a:lnTo>
                  <a:lnTo>
                    <a:pt x="219" y="460"/>
                  </a:lnTo>
                  <a:lnTo>
                    <a:pt x="223" y="462"/>
                  </a:lnTo>
                  <a:lnTo>
                    <a:pt x="222" y="463"/>
                  </a:lnTo>
                  <a:lnTo>
                    <a:pt x="218" y="466"/>
                  </a:lnTo>
                  <a:lnTo>
                    <a:pt x="222" y="467"/>
                  </a:lnTo>
                  <a:lnTo>
                    <a:pt x="221" y="468"/>
                  </a:lnTo>
                  <a:lnTo>
                    <a:pt x="221" y="469"/>
                  </a:lnTo>
                  <a:lnTo>
                    <a:pt x="218" y="469"/>
                  </a:lnTo>
                  <a:lnTo>
                    <a:pt x="217" y="469"/>
                  </a:lnTo>
                  <a:lnTo>
                    <a:pt x="216" y="468"/>
                  </a:lnTo>
                  <a:lnTo>
                    <a:pt x="216" y="469"/>
                  </a:lnTo>
                  <a:lnTo>
                    <a:pt x="216" y="470"/>
                  </a:lnTo>
                  <a:lnTo>
                    <a:pt x="217" y="470"/>
                  </a:lnTo>
                  <a:lnTo>
                    <a:pt x="216" y="472"/>
                  </a:lnTo>
                  <a:lnTo>
                    <a:pt x="215" y="472"/>
                  </a:lnTo>
                  <a:lnTo>
                    <a:pt x="211" y="470"/>
                  </a:lnTo>
                  <a:lnTo>
                    <a:pt x="210" y="470"/>
                  </a:lnTo>
                  <a:lnTo>
                    <a:pt x="210" y="472"/>
                  </a:lnTo>
                  <a:lnTo>
                    <a:pt x="213" y="473"/>
                  </a:lnTo>
                  <a:lnTo>
                    <a:pt x="215" y="473"/>
                  </a:lnTo>
                  <a:lnTo>
                    <a:pt x="213" y="474"/>
                  </a:lnTo>
                  <a:lnTo>
                    <a:pt x="210" y="478"/>
                  </a:lnTo>
                  <a:lnTo>
                    <a:pt x="216" y="474"/>
                  </a:lnTo>
                  <a:lnTo>
                    <a:pt x="217" y="474"/>
                  </a:lnTo>
                  <a:lnTo>
                    <a:pt x="217" y="475"/>
                  </a:lnTo>
                  <a:lnTo>
                    <a:pt x="217" y="479"/>
                  </a:lnTo>
                  <a:lnTo>
                    <a:pt x="216" y="480"/>
                  </a:lnTo>
                  <a:lnTo>
                    <a:pt x="212" y="480"/>
                  </a:lnTo>
                  <a:lnTo>
                    <a:pt x="210" y="481"/>
                  </a:lnTo>
                  <a:lnTo>
                    <a:pt x="206" y="481"/>
                  </a:lnTo>
                  <a:lnTo>
                    <a:pt x="204" y="481"/>
                  </a:lnTo>
                  <a:lnTo>
                    <a:pt x="200" y="481"/>
                  </a:lnTo>
                  <a:lnTo>
                    <a:pt x="200" y="482"/>
                  </a:lnTo>
                  <a:lnTo>
                    <a:pt x="205" y="482"/>
                  </a:lnTo>
                  <a:lnTo>
                    <a:pt x="205" y="484"/>
                  </a:lnTo>
                  <a:lnTo>
                    <a:pt x="201" y="485"/>
                  </a:lnTo>
                  <a:lnTo>
                    <a:pt x="201" y="486"/>
                  </a:lnTo>
                  <a:lnTo>
                    <a:pt x="206" y="486"/>
                  </a:lnTo>
                  <a:lnTo>
                    <a:pt x="207" y="487"/>
                  </a:lnTo>
                  <a:lnTo>
                    <a:pt x="209" y="490"/>
                  </a:lnTo>
                  <a:lnTo>
                    <a:pt x="209" y="491"/>
                  </a:lnTo>
                  <a:lnTo>
                    <a:pt x="210" y="491"/>
                  </a:lnTo>
                  <a:lnTo>
                    <a:pt x="210" y="490"/>
                  </a:lnTo>
                  <a:lnTo>
                    <a:pt x="210" y="486"/>
                  </a:lnTo>
                  <a:lnTo>
                    <a:pt x="209" y="485"/>
                  </a:lnTo>
                  <a:lnTo>
                    <a:pt x="210" y="484"/>
                  </a:lnTo>
                  <a:lnTo>
                    <a:pt x="211" y="484"/>
                  </a:lnTo>
                  <a:lnTo>
                    <a:pt x="211" y="488"/>
                  </a:lnTo>
                  <a:lnTo>
                    <a:pt x="212" y="487"/>
                  </a:lnTo>
                  <a:lnTo>
                    <a:pt x="213" y="486"/>
                  </a:lnTo>
                  <a:lnTo>
                    <a:pt x="213" y="484"/>
                  </a:lnTo>
                  <a:lnTo>
                    <a:pt x="215" y="482"/>
                  </a:lnTo>
                  <a:lnTo>
                    <a:pt x="215" y="487"/>
                  </a:lnTo>
                  <a:lnTo>
                    <a:pt x="216" y="488"/>
                  </a:lnTo>
                  <a:lnTo>
                    <a:pt x="216" y="490"/>
                  </a:lnTo>
                  <a:lnTo>
                    <a:pt x="213" y="490"/>
                  </a:lnTo>
                  <a:lnTo>
                    <a:pt x="212" y="491"/>
                  </a:lnTo>
                  <a:lnTo>
                    <a:pt x="212" y="492"/>
                  </a:lnTo>
                  <a:lnTo>
                    <a:pt x="213" y="493"/>
                  </a:lnTo>
                  <a:lnTo>
                    <a:pt x="213" y="494"/>
                  </a:lnTo>
                  <a:lnTo>
                    <a:pt x="210" y="494"/>
                  </a:lnTo>
                  <a:lnTo>
                    <a:pt x="209" y="493"/>
                  </a:lnTo>
                  <a:lnTo>
                    <a:pt x="206" y="493"/>
                  </a:lnTo>
                  <a:lnTo>
                    <a:pt x="205" y="493"/>
                  </a:lnTo>
                  <a:lnTo>
                    <a:pt x="204" y="494"/>
                  </a:lnTo>
                  <a:lnTo>
                    <a:pt x="199" y="490"/>
                  </a:lnTo>
                  <a:lnTo>
                    <a:pt x="199" y="491"/>
                  </a:lnTo>
                  <a:lnTo>
                    <a:pt x="201" y="493"/>
                  </a:lnTo>
                  <a:lnTo>
                    <a:pt x="201" y="494"/>
                  </a:lnTo>
                  <a:lnTo>
                    <a:pt x="199" y="494"/>
                  </a:lnTo>
                  <a:lnTo>
                    <a:pt x="198" y="492"/>
                  </a:lnTo>
                  <a:lnTo>
                    <a:pt x="195" y="491"/>
                  </a:lnTo>
                  <a:lnTo>
                    <a:pt x="195" y="492"/>
                  </a:lnTo>
                  <a:lnTo>
                    <a:pt x="194" y="493"/>
                  </a:lnTo>
                  <a:lnTo>
                    <a:pt x="193" y="497"/>
                  </a:lnTo>
                  <a:lnTo>
                    <a:pt x="194" y="498"/>
                  </a:lnTo>
                  <a:lnTo>
                    <a:pt x="195" y="497"/>
                  </a:lnTo>
                  <a:lnTo>
                    <a:pt x="198" y="496"/>
                  </a:lnTo>
                  <a:lnTo>
                    <a:pt x="199" y="497"/>
                  </a:lnTo>
                  <a:lnTo>
                    <a:pt x="200" y="497"/>
                  </a:lnTo>
                  <a:lnTo>
                    <a:pt x="200" y="498"/>
                  </a:lnTo>
                  <a:lnTo>
                    <a:pt x="196" y="502"/>
                  </a:lnTo>
                  <a:lnTo>
                    <a:pt x="192" y="503"/>
                  </a:lnTo>
                  <a:lnTo>
                    <a:pt x="189" y="500"/>
                  </a:lnTo>
                  <a:lnTo>
                    <a:pt x="182" y="500"/>
                  </a:lnTo>
                  <a:lnTo>
                    <a:pt x="178" y="504"/>
                  </a:lnTo>
                  <a:lnTo>
                    <a:pt x="176" y="504"/>
                  </a:lnTo>
                  <a:lnTo>
                    <a:pt x="175" y="505"/>
                  </a:lnTo>
                  <a:lnTo>
                    <a:pt x="174" y="506"/>
                  </a:lnTo>
                  <a:lnTo>
                    <a:pt x="172" y="505"/>
                  </a:lnTo>
                  <a:lnTo>
                    <a:pt x="171" y="505"/>
                  </a:lnTo>
                  <a:lnTo>
                    <a:pt x="171" y="508"/>
                  </a:lnTo>
                  <a:lnTo>
                    <a:pt x="169" y="510"/>
                  </a:lnTo>
                  <a:lnTo>
                    <a:pt x="169" y="511"/>
                  </a:lnTo>
                  <a:lnTo>
                    <a:pt x="166" y="512"/>
                  </a:lnTo>
                  <a:lnTo>
                    <a:pt x="164" y="511"/>
                  </a:lnTo>
                  <a:lnTo>
                    <a:pt x="163" y="510"/>
                  </a:lnTo>
                  <a:lnTo>
                    <a:pt x="163" y="508"/>
                  </a:lnTo>
                  <a:lnTo>
                    <a:pt x="162" y="506"/>
                  </a:lnTo>
                  <a:lnTo>
                    <a:pt x="160" y="508"/>
                  </a:lnTo>
                  <a:lnTo>
                    <a:pt x="162" y="509"/>
                  </a:lnTo>
                  <a:lnTo>
                    <a:pt x="163" y="511"/>
                  </a:lnTo>
                  <a:lnTo>
                    <a:pt x="163" y="514"/>
                  </a:lnTo>
                  <a:lnTo>
                    <a:pt x="163" y="515"/>
                  </a:lnTo>
                  <a:lnTo>
                    <a:pt x="162" y="516"/>
                  </a:lnTo>
                  <a:lnTo>
                    <a:pt x="158" y="516"/>
                  </a:lnTo>
                  <a:lnTo>
                    <a:pt x="157" y="516"/>
                  </a:lnTo>
                  <a:lnTo>
                    <a:pt x="156" y="516"/>
                  </a:lnTo>
                  <a:lnTo>
                    <a:pt x="152" y="517"/>
                  </a:lnTo>
                  <a:lnTo>
                    <a:pt x="152" y="518"/>
                  </a:lnTo>
                  <a:lnTo>
                    <a:pt x="154" y="518"/>
                  </a:lnTo>
                  <a:lnTo>
                    <a:pt x="156" y="517"/>
                  </a:lnTo>
                  <a:lnTo>
                    <a:pt x="158" y="517"/>
                  </a:lnTo>
                  <a:lnTo>
                    <a:pt x="158" y="518"/>
                  </a:lnTo>
                  <a:lnTo>
                    <a:pt x="153" y="523"/>
                  </a:lnTo>
                  <a:lnTo>
                    <a:pt x="152" y="523"/>
                  </a:lnTo>
                  <a:lnTo>
                    <a:pt x="151" y="523"/>
                  </a:lnTo>
                  <a:lnTo>
                    <a:pt x="150" y="523"/>
                  </a:lnTo>
                  <a:lnTo>
                    <a:pt x="148" y="524"/>
                  </a:lnTo>
                  <a:lnTo>
                    <a:pt x="142" y="524"/>
                  </a:lnTo>
                  <a:lnTo>
                    <a:pt x="139" y="526"/>
                  </a:lnTo>
                  <a:lnTo>
                    <a:pt x="137" y="524"/>
                  </a:lnTo>
                  <a:lnTo>
                    <a:pt x="134" y="524"/>
                  </a:lnTo>
                  <a:lnTo>
                    <a:pt x="134" y="527"/>
                  </a:lnTo>
                  <a:lnTo>
                    <a:pt x="137" y="527"/>
                  </a:lnTo>
                  <a:lnTo>
                    <a:pt x="139" y="528"/>
                  </a:lnTo>
                  <a:lnTo>
                    <a:pt x="136" y="532"/>
                  </a:lnTo>
                  <a:lnTo>
                    <a:pt x="137" y="533"/>
                  </a:lnTo>
                  <a:lnTo>
                    <a:pt x="141" y="528"/>
                  </a:lnTo>
                  <a:lnTo>
                    <a:pt x="142" y="528"/>
                  </a:lnTo>
                  <a:lnTo>
                    <a:pt x="143" y="528"/>
                  </a:lnTo>
                  <a:lnTo>
                    <a:pt x="143" y="531"/>
                  </a:lnTo>
                  <a:lnTo>
                    <a:pt x="142" y="532"/>
                  </a:lnTo>
                  <a:lnTo>
                    <a:pt x="142" y="533"/>
                  </a:lnTo>
                  <a:lnTo>
                    <a:pt x="143" y="532"/>
                  </a:lnTo>
                  <a:lnTo>
                    <a:pt x="145" y="531"/>
                  </a:lnTo>
                  <a:lnTo>
                    <a:pt x="145" y="529"/>
                  </a:lnTo>
                  <a:lnTo>
                    <a:pt x="148" y="527"/>
                  </a:lnTo>
                  <a:lnTo>
                    <a:pt x="151" y="527"/>
                  </a:lnTo>
                  <a:lnTo>
                    <a:pt x="151" y="529"/>
                  </a:lnTo>
                  <a:lnTo>
                    <a:pt x="146" y="533"/>
                  </a:lnTo>
                  <a:lnTo>
                    <a:pt x="145" y="535"/>
                  </a:lnTo>
                  <a:lnTo>
                    <a:pt x="137" y="540"/>
                  </a:lnTo>
                  <a:lnTo>
                    <a:pt x="137" y="541"/>
                  </a:lnTo>
                  <a:lnTo>
                    <a:pt x="142" y="539"/>
                  </a:lnTo>
                  <a:lnTo>
                    <a:pt x="143" y="539"/>
                  </a:lnTo>
                  <a:lnTo>
                    <a:pt x="143" y="541"/>
                  </a:lnTo>
                  <a:lnTo>
                    <a:pt x="145" y="541"/>
                  </a:lnTo>
                  <a:lnTo>
                    <a:pt x="146" y="537"/>
                  </a:lnTo>
                  <a:lnTo>
                    <a:pt x="148" y="537"/>
                  </a:lnTo>
                  <a:lnTo>
                    <a:pt x="148" y="541"/>
                  </a:lnTo>
                  <a:lnTo>
                    <a:pt x="150" y="545"/>
                  </a:lnTo>
                  <a:lnTo>
                    <a:pt x="151" y="546"/>
                  </a:lnTo>
                  <a:lnTo>
                    <a:pt x="152" y="546"/>
                  </a:lnTo>
                  <a:lnTo>
                    <a:pt x="153" y="547"/>
                  </a:lnTo>
                  <a:lnTo>
                    <a:pt x="154" y="547"/>
                  </a:lnTo>
                  <a:lnTo>
                    <a:pt x="154" y="543"/>
                  </a:lnTo>
                  <a:lnTo>
                    <a:pt x="157" y="541"/>
                  </a:lnTo>
                  <a:lnTo>
                    <a:pt x="158" y="540"/>
                  </a:lnTo>
                  <a:lnTo>
                    <a:pt x="158" y="538"/>
                  </a:lnTo>
                  <a:lnTo>
                    <a:pt x="159" y="537"/>
                  </a:lnTo>
                  <a:lnTo>
                    <a:pt x="160" y="538"/>
                  </a:lnTo>
                  <a:lnTo>
                    <a:pt x="162" y="539"/>
                  </a:lnTo>
                  <a:lnTo>
                    <a:pt x="164" y="541"/>
                  </a:lnTo>
                  <a:lnTo>
                    <a:pt x="165" y="543"/>
                  </a:lnTo>
                  <a:lnTo>
                    <a:pt x="165" y="547"/>
                  </a:lnTo>
                  <a:lnTo>
                    <a:pt x="166" y="549"/>
                  </a:lnTo>
                  <a:lnTo>
                    <a:pt x="166" y="547"/>
                  </a:lnTo>
                  <a:lnTo>
                    <a:pt x="168" y="546"/>
                  </a:lnTo>
                  <a:lnTo>
                    <a:pt x="168" y="539"/>
                  </a:lnTo>
                  <a:lnTo>
                    <a:pt x="169" y="538"/>
                  </a:lnTo>
                  <a:lnTo>
                    <a:pt x="169" y="544"/>
                  </a:lnTo>
                  <a:lnTo>
                    <a:pt x="170" y="544"/>
                  </a:lnTo>
                  <a:lnTo>
                    <a:pt x="170" y="543"/>
                  </a:lnTo>
                  <a:lnTo>
                    <a:pt x="171" y="540"/>
                  </a:lnTo>
                  <a:lnTo>
                    <a:pt x="171" y="539"/>
                  </a:lnTo>
                  <a:lnTo>
                    <a:pt x="172" y="539"/>
                  </a:lnTo>
                  <a:lnTo>
                    <a:pt x="174" y="540"/>
                  </a:lnTo>
                  <a:lnTo>
                    <a:pt x="174" y="541"/>
                  </a:lnTo>
                  <a:lnTo>
                    <a:pt x="174" y="540"/>
                  </a:lnTo>
                  <a:lnTo>
                    <a:pt x="176" y="539"/>
                  </a:lnTo>
                  <a:lnTo>
                    <a:pt x="175" y="538"/>
                  </a:lnTo>
                  <a:lnTo>
                    <a:pt x="174" y="535"/>
                  </a:lnTo>
                  <a:lnTo>
                    <a:pt x="174" y="534"/>
                  </a:lnTo>
                  <a:lnTo>
                    <a:pt x="175" y="532"/>
                  </a:lnTo>
                  <a:lnTo>
                    <a:pt x="175" y="531"/>
                  </a:lnTo>
                  <a:lnTo>
                    <a:pt x="176" y="531"/>
                  </a:lnTo>
                  <a:lnTo>
                    <a:pt x="177" y="531"/>
                  </a:lnTo>
                  <a:lnTo>
                    <a:pt x="176" y="532"/>
                  </a:lnTo>
                  <a:lnTo>
                    <a:pt x="176" y="534"/>
                  </a:lnTo>
                  <a:lnTo>
                    <a:pt x="175" y="535"/>
                  </a:lnTo>
                  <a:lnTo>
                    <a:pt x="176" y="537"/>
                  </a:lnTo>
                  <a:lnTo>
                    <a:pt x="176" y="539"/>
                  </a:lnTo>
                  <a:lnTo>
                    <a:pt x="177" y="539"/>
                  </a:lnTo>
                  <a:lnTo>
                    <a:pt x="177" y="540"/>
                  </a:lnTo>
                  <a:lnTo>
                    <a:pt x="176" y="544"/>
                  </a:lnTo>
                  <a:lnTo>
                    <a:pt x="176" y="547"/>
                  </a:lnTo>
                  <a:lnTo>
                    <a:pt x="177" y="547"/>
                  </a:lnTo>
                  <a:lnTo>
                    <a:pt x="178" y="545"/>
                  </a:lnTo>
                  <a:lnTo>
                    <a:pt x="178" y="544"/>
                  </a:lnTo>
                  <a:lnTo>
                    <a:pt x="180" y="543"/>
                  </a:lnTo>
                  <a:lnTo>
                    <a:pt x="181" y="541"/>
                  </a:lnTo>
                  <a:lnTo>
                    <a:pt x="181" y="537"/>
                  </a:lnTo>
                  <a:lnTo>
                    <a:pt x="181" y="535"/>
                  </a:lnTo>
                  <a:lnTo>
                    <a:pt x="182" y="535"/>
                  </a:lnTo>
                  <a:lnTo>
                    <a:pt x="183" y="537"/>
                  </a:lnTo>
                  <a:lnTo>
                    <a:pt x="184" y="538"/>
                  </a:lnTo>
                  <a:lnTo>
                    <a:pt x="186" y="540"/>
                  </a:lnTo>
                  <a:lnTo>
                    <a:pt x="186" y="541"/>
                  </a:lnTo>
                  <a:lnTo>
                    <a:pt x="187" y="543"/>
                  </a:lnTo>
                  <a:lnTo>
                    <a:pt x="187" y="544"/>
                  </a:lnTo>
                  <a:lnTo>
                    <a:pt x="187" y="546"/>
                  </a:lnTo>
                  <a:lnTo>
                    <a:pt x="186" y="546"/>
                  </a:lnTo>
                  <a:lnTo>
                    <a:pt x="182" y="547"/>
                  </a:lnTo>
                  <a:lnTo>
                    <a:pt x="178" y="551"/>
                  </a:lnTo>
                  <a:lnTo>
                    <a:pt x="177" y="551"/>
                  </a:lnTo>
                  <a:lnTo>
                    <a:pt x="178" y="552"/>
                  </a:lnTo>
                  <a:lnTo>
                    <a:pt x="180" y="551"/>
                  </a:lnTo>
                  <a:lnTo>
                    <a:pt x="181" y="551"/>
                  </a:lnTo>
                  <a:lnTo>
                    <a:pt x="182" y="551"/>
                  </a:lnTo>
                  <a:lnTo>
                    <a:pt x="183" y="550"/>
                  </a:lnTo>
                  <a:lnTo>
                    <a:pt x="184" y="552"/>
                  </a:lnTo>
                  <a:lnTo>
                    <a:pt x="183" y="552"/>
                  </a:lnTo>
                  <a:lnTo>
                    <a:pt x="183" y="553"/>
                  </a:lnTo>
                  <a:lnTo>
                    <a:pt x="182" y="555"/>
                  </a:lnTo>
                  <a:lnTo>
                    <a:pt x="180" y="556"/>
                  </a:lnTo>
                  <a:lnTo>
                    <a:pt x="178" y="555"/>
                  </a:lnTo>
                  <a:lnTo>
                    <a:pt x="177" y="553"/>
                  </a:lnTo>
                  <a:lnTo>
                    <a:pt x="176" y="552"/>
                  </a:lnTo>
                  <a:lnTo>
                    <a:pt x="176" y="555"/>
                  </a:lnTo>
                  <a:lnTo>
                    <a:pt x="171" y="555"/>
                  </a:lnTo>
                  <a:lnTo>
                    <a:pt x="169" y="553"/>
                  </a:lnTo>
                  <a:lnTo>
                    <a:pt x="168" y="553"/>
                  </a:lnTo>
                  <a:lnTo>
                    <a:pt x="166" y="552"/>
                  </a:lnTo>
                  <a:lnTo>
                    <a:pt x="165" y="553"/>
                  </a:lnTo>
                  <a:lnTo>
                    <a:pt x="164" y="555"/>
                  </a:lnTo>
                  <a:lnTo>
                    <a:pt x="156" y="555"/>
                  </a:lnTo>
                  <a:lnTo>
                    <a:pt x="156" y="553"/>
                  </a:lnTo>
                  <a:lnTo>
                    <a:pt x="153" y="553"/>
                  </a:lnTo>
                  <a:lnTo>
                    <a:pt x="152" y="555"/>
                  </a:lnTo>
                  <a:lnTo>
                    <a:pt x="151" y="555"/>
                  </a:lnTo>
                  <a:lnTo>
                    <a:pt x="150" y="555"/>
                  </a:lnTo>
                  <a:lnTo>
                    <a:pt x="150" y="553"/>
                  </a:lnTo>
                  <a:lnTo>
                    <a:pt x="147" y="553"/>
                  </a:lnTo>
                  <a:lnTo>
                    <a:pt x="146" y="555"/>
                  </a:lnTo>
                  <a:lnTo>
                    <a:pt x="142" y="555"/>
                  </a:lnTo>
                  <a:lnTo>
                    <a:pt x="141" y="555"/>
                  </a:lnTo>
                  <a:lnTo>
                    <a:pt x="140" y="556"/>
                  </a:lnTo>
                  <a:lnTo>
                    <a:pt x="137" y="556"/>
                  </a:lnTo>
                  <a:lnTo>
                    <a:pt x="136" y="556"/>
                  </a:lnTo>
                  <a:lnTo>
                    <a:pt x="134" y="556"/>
                  </a:lnTo>
                  <a:lnTo>
                    <a:pt x="131" y="557"/>
                  </a:lnTo>
                  <a:lnTo>
                    <a:pt x="129" y="557"/>
                  </a:lnTo>
                  <a:lnTo>
                    <a:pt x="127" y="558"/>
                  </a:lnTo>
                  <a:lnTo>
                    <a:pt x="123" y="559"/>
                  </a:lnTo>
                  <a:lnTo>
                    <a:pt x="122" y="561"/>
                  </a:lnTo>
                  <a:lnTo>
                    <a:pt x="121" y="561"/>
                  </a:lnTo>
                  <a:lnTo>
                    <a:pt x="116" y="561"/>
                  </a:lnTo>
                  <a:lnTo>
                    <a:pt x="116" y="562"/>
                  </a:lnTo>
                  <a:lnTo>
                    <a:pt x="115" y="563"/>
                  </a:lnTo>
                  <a:lnTo>
                    <a:pt x="113" y="563"/>
                  </a:lnTo>
                  <a:lnTo>
                    <a:pt x="112" y="564"/>
                  </a:lnTo>
                  <a:lnTo>
                    <a:pt x="111" y="564"/>
                  </a:lnTo>
                  <a:lnTo>
                    <a:pt x="111" y="567"/>
                  </a:lnTo>
                  <a:lnTo>
                    <a:pt x="110" y="567"/>
                  </a:lnTo>
                  <a:lnTo>
                    <a:pt x="109" y="568"/>
                  </a:lnTo>
                  <a:lnTo>
                    <a:pt x="106" y="568"/>
                  </a:lnTo>
                  <a:lnTo>
                    <a:pt x="104" y="567"/>
                  </a:lnTo>
                  <a:lnTo>
                    <a:pt x="103" y="567"/>
                  </a:lnTo>
                  <a:lnTo>
                    <a:pt x="101" y="567"/>
                  </a:lnTo>
                  <a:lnTo>
                    <a:pt x="101" y="568"/>
                  </a:lnTo>
                  <a:lnTo>
                    <a:pt x="100" y="568"/>
                  </a:lnTo>
                  <a:lnTo>
                    <a:pt x="97" y="567"/>
                  </a:lnTo>
                  <a:lnTo>
                    <a:pt x="99" y="569"/>
                  </a:lnTo>
                  <a:lnTo>
                    <a:pt x="100" y="569"/>
                  </a:lnTo>
                  <a:lnTo>
                    <a:pt x="99" y="570"/>
                  </a:lnTo>
                  <a:lnTo>
                    <a:pt x="92" y="573"/>
                  </a:lnTo>
                  <a:lnTo>
                    <a:pt x="92" y="574"/>
                  </a:lnTo>
                  <a:lnTo>
                    <a:pt x="99" y="573"/>
                  </a:lnTo>
                  <a:lnTo>
                    <a:pt x="100" y="573"/>
                  </a:lnTo>
                  <a:lnTo>
                    <a:pt x="100" y="574"/>
                  </a:lnTo>
                  <a:lnTo>
                    <a:pt x="100" y="576"/>
                  </a:lnTo>
                  <a:lnTo>
                    <a:pt x="101" y="575"/>
                  </a:lnTo>
                  <a:lnTo>
                    <a:pt x="103" y="574"/>
                  </a:lnTo>
                  <a:lnTo>
                    <a:pt x="103" y="571"/>
                  </a:lnTo>
                  <a:lnTo>
                    <a:pt x="104" y="571"/>
                  </a:lnTo>
                  <a:lnTo>
                    <a:pt x="104" y="573"/>
                  </a:lnTo>
                  <a:lnTo>
                    <a:pt x="105" y="573"/>
                  </a:lnTo>
                  <a:lnTo>
                    <a:pt x="106" y="570"/>
                  </a:lnTo>
                  <a:lnTo>
                    <a:pt x="107" y="570"/>
                  </a:lnTo>
                  <a:lnTo>
                    <a:pt x="107" y="574"/>
                  </a:lnTo>
                  <a:lnTo>
                    <a:pt x="109" y="575"/>
                  </a:lnTo>
                  <a:lnTo>
                    <a:pt x="110" y="577"/>
                  </a:lnTo>
                  <a:lnTo>
                    <a:pt x="110" y="579"/>
                  </a:lnTo>
                  <a:lnTo>
                    <a:pt x="111" y="580"/>
                  </a:lnTo>
                  <a:lnTo>
                    <a:pt x="112" y="581"/>
                  </a:lnTo>
                  <a:lnTo>
                    <a:pt x="113" y="581"/>
                  </a:lnTo>
                  <a:lnTo>
                    <a:pt x="113" y="583"/>
                  </a:lnTo>
                  <a:lnTo>
                    <a:pt x="115" y="585"/>
                  </a:lnTo>
                  <a:lnTo>
                    <a:pt x="116" y="585"/>
                  </a:lnTo>
                  <a:lnTo>
                    <a:pt x="116" y="583"/>
                  </a:lnTo>
                  <a:lnTo>
                    <a:pt x="117" y="582"/>
                  </a:lnTo>
                  <a:lnTo>
                    <a:pt x="117" y="580"/>
                  </a:lnTo>
                  <a:lnTo>
                    <a:pt x="116" y="579"/>
                  </a:lnTo>
                  <a:lnTo>
                    <a:pt x="117" y="577"/>
                  </a:lnTo>
                  <a:lnTo>
                    <a:pt x="117" y="576"/>
                  </a:lnTo>
                  <a:lnTo>
                    <a:pt x="116" y="574"/>
                  </a:lnTo>
                  <a:lnTo>
                    <a:pt x="116" y="571"/>
                  </a:lnTo>
                  <a:lnTo>
                    <a:pt x="117" y="570"/>
                  </a:lnTo>
                  <a:lnTo>
                    <a:pt x="117" y="568"/>
                  </a:lnTo>
                  <a:lnTo>
                    <a:pt x="117" y="567"/>
                  </a:lnTo>
                  <a:lnTo>
                    <a:pt x="118" y="565"/>
                  </a:lnTo>
                  <a:lnTo>
                    <a:pt x="119" y="564"/>
                  </a:lnTo>
                  <a:lnTo>
                    <a:pt x="121" y="565"/>
                  </a:lnTo>
                  <a:lnTo>
                    <a:pt x="121" y="567"/>
                  </a:lnTo>
                  <a:lnTo>
                    <a:pt x="118" y="568"/>
                  </a:lnTo>
                  <a:lnTo>
                    <a:pt x="118" y="570"/>
                  </a:lnTo>
                  <a:lnTo>
                    <a:pt x="119" y="569"/>
                  </a:lnTo>
                  <a:lnTo>
                    <a:pt x="121" y="569"/>
                  </a:lnTo>
                  <a:lnTo>
                    <a:pt x="121" y="571"/>
                  </a:lnTo>
                  <a:lnTo>
                    <a:pt x="121" y="573"/>
                  </a:lnTo>
                  <a:lnTo>
                    <a:pt x="119" y="574"/>
                  </a:lnTo>
                  <a:lnTo>
                    <a:pt x="119" y="576"/>
                  </a:lnTo>
                  <a:lnTo>
                    <a:pt x="119" y="579"/>
                  </a:lnTo>
                  <a:lnTo>
                    <a:pt x="121" y="580"/>
                  </a:lnTo>
                  <a:lnTo>
                    <a:pt x="121" y="579"/>
                  </a:lnTo>
                  <a:lnTo>
                    <a:pt x="122" y="576"/>
                  </a:lnTo>
                  <a:lnTo>
                    <a:pt x="122" y="574"/>
                  </a:lnTo>
                  <a:lnTo>
                    <a:pt x="123" y="574"/>
                  </a:lnTo>
                  <a:lnTo>
                    <a:pt x="123" y="576"/>
                  </a:lnTo>
                  <a:lnTo>
                    <a:pt x="124" y="577"/>
                  </a:lnTo>
                  <a:lnTo>
                    <a:pt x="125" y="577"/>
                  </a:lnTo>
                  <a:lnTo>
                    <a:pt x="125" y="576"/>
                  </a:lnTo>
                  <a:lnTo>
                    <a:pt x="125" y="575"/>
                  </a:lnTo>
                  <a:lnTo>
                    <a:pt x="125" y="574"/>
                  </a:lnTo>
                  <a:lnTo>
                    <a:pt x="127" y="573"/>
                  </a:lnTo>
                  <a:lnTo>
                    <a:pt x="127" y="571"/>
                  </a:lnTo>
                  <a:lnTo>
                    <a:pt x="128" y="571"/>
                  </a:lnTo>
                  <a:lnTo>
                    <a:pt x="128" y="573"/>
                  </a:lnTo>
                  <a:lnTo>
                    <a:pt x="128" y="574"/>
                  </a:lnTo>
                  <a:lnTo>
                    <a:pt x="128" y="575"/>
                  </a:lnTo>
                  <a:lnTo>
                    <a:pt x="128" y="577"/>
                  </a:lnTo>
                  <a:lnTo>
                    <a:pt x="128" y="579"/>
                  </a:lnTo>
                  <a:lnTo>
                    <a:pt x="128" y="583"/>
                  </a:lnTo>
                  <a:lnTo>
                    <a:pt x="128" y="586"/>
                  </a:lnTo>
                  <a:lnTo>
                    <a:pt x="129" y="585"/>
                  </a:lnTo>
                  <a:lnTo>
                    <a:pt x="129" y="583"/>
                  </a:lnTo>
                  <a:lnTo>
                    <a:pt x="129" y="581"/>
                  </a:lnTo>
                  <a:lnTo>
                    <a:pt x="130" y="581"/>
                  </a:lnTo>
                  <a:lnTo>
                    <a:pt x="130" y="580"/>
                  </a:lnTo>
                  <a:lnTo>
                    <a:pt x="131" y="580"/>
                  </a:lnTo>
                  <a:lnTo>
                    <a:pt x="131" y="579"/>
                  </a:lnTo>
                  <a:lnTo>
                    <a:pt x="131" y="577"/>
                  </a:lnTo>
                  <a:lnTo>
                    <a:pt x="131" y="573"/>
                  </a:lnTo>
                  <a:lnTo>
                    <a:pt x="133" y="573"/>
                  </a:lnTo>
                  <a:lnTo>
                    <a:pt x="134" y="574"/>
                  </a:lnTo>
                  <a:lnTo>
                    <a:pt x="135" y="573"/>
                  </a:lnTo>
                  <a:lnTo>
                    <a:pt x="135" y="569"/>
                  </a:lnTo>
                  <a:lnTo>
                    <a:pt x="136" y="568"/>
                  </a:lnTo>
                  <a:lnTo>
                    <a:pt x="136" y="569"/>
                  </a:lnTo>
                  <a:lnTo>
                    <a:pt x="136" y="573"/>
                  </a:lnTo>
                  <a:lnTo>
                    <a:pt x="136" y="575"/>
                  </a:lnTo>
                  <a:lnTo>
                    <a:pt x="136" y="577"/>
                  </a:lnTo>
                  <a:lnTo>
                    <a:pt x="136" y="579"/>
                  </a:lnTo>
                  <a:lnTo>
                    <a:pt x="137" y="577"/>
                  </a:lnTo>
                  <a:lnTo>
                    <a:pt x="139" y="577"/>
                  </a:lnTo>
                  <a:lnTo>
                    <a:pt x="140" y="577"/>
                  </a:lnTo>
                  <a:lnTo>
                    <a:pt x="140" y="576"/>
                  </a:lnTo>
                  <a:lnTo>
                    <a:pt x="140" y="581"/>
                  </a:lnTo>
                  <a:lnTo>
                    <a:pt x="141" y="582"/>
                  </a:lnTo>
                  <a:lnTo>
                    <a:pt x="142" y="582"/>
                  </a:lnTo>
                  <a:lnTo>
                    <a:pt x="142" y="576"/>
                  </a:lnTo>
                  <a:lnTo>
                    <a:pt x="143" y="576"/>
                  </a:lnTo>
                  <a:lnTo>
                    <a:pt x="143" y="579"/>
                  </a:lnTo>
                  <a:lnTo>
                    <a:pt x="143" y="580"/>
                  </a:lnTo>
                  <a:lnTo>
                    <a:pt x="145" y="580"/>
                  </a:lnTo>
                  <a:lnTo>
                    <a:pt x="145" y="581"/>
                  </a:lnTo>
                  <a:lnTo>
                    <a:pt x="146" y="583"/>
                  </a:lnTo>
                  <a:lnTo>
                    <a:pt x="146" y="585"/>
                  </a:lnTo>
                  <a:lnTo>
                    <a:pt x="146" y="586"/>
                  </a:lnTo>
                  <a:lnTo>
                    <a:pt x="147" y="586"/>
                  </a:lnTo>
                  <a:lnTo>
                    <a:pt x="147" y="587"/>
                  </a:lnTo>
                  <a:lnTo>
                    <a:pt x="148" y="589"/>
                  </a:lnTo>
                  <a:lnTo>
                    <a:pt x="150" y="589"/>
                  </a:lnTo>
                  <a:lnTo>
                    <a:pt x="150" y="588"/>
                  </a:lnTo>
                  <a:lnTo>
                    <a:pt x="151" y="587"/>
                  </a:lnTo>
                  <a:lnTo>
                    <a:pt x="151" y="585"/>
                  </a:lnTo>
                  <a:lnTo>
                    <a:pt x="152" y="583"/>
                  </a:lnTo>
                  <a:lnTo>
                    <a:pt x="152" y="582"/>
                  </a:lnTo>
                  <a:lnTo>
                    <a:pt x="153" y="581"/>
                  </a:lnTo>
                  <a:lnTo>
                    <a:pt x="153" y="582"/>
                  </a:lnTo>
                  <a:lnTo>
                    <a:pt x="154" y="581"/>
                  </a:lnTo>
                  <a:lnTo>
                    <a:pt x="154" y="579"/>
                  </a:lnTo>
                  <a:lnTo>
                    <a:pt x="154" y="577"/>
                  </a:lnTo>
                  <a:lnTo>
                    <a:pt x="156" y="577"/>
                  </a:lnTo>
                  <a:lnTo>
                    <a:pt x="157" y="579"/>
                  </a:lnTo>
                  <a:lnTo>
                    <a:pt x="157" y="580"/>
                  </a:lnTo>
                  <a:lnTo>
                    <a:pt x="158" y="579"/>
                  </a:lnTo>
                  <a:lnTo>
                    <a:pt x="158" y="580"/>
                  </a:lnTo>
                  <a:lnTo>
                    <a:pt x="158" y="581"/>
                  </a:lnTo>
                  <a:lnTo>
                    <a:pt x="158" y="582"/>
                  </a:lnTo>
                  <a:lnTo>
                    <a:pt x="157" y="583"/>
                  </a:lnTo>
                  <a:lnTo>
                    <a:pt x="157" y="585"/>
                  </a:lnTo>
                  <a:lnTo>
                    <a:pt x="158" y="585"/>
                  </a:lnTo>
                  <a:lnTo>
                    <a:pt x="157" y="586"/>
                  </a:lnTo>
                  <a:lnTo>
                    <a:pt x="157" y="587"/>
                  </a:lnTo>
                  <a:lnTo>
                    <a:pt x="157" y="588"/>
                  </a:lnTo>
                  <a:lnTo>
                    <a:pt x="158" y="588"/>
                  </a:lnTo>
                  <a:lnTo>
                    <a:pt x="159" y="588"/>
                  </a:lnTo>
                  <a:lnTo>
                    <a:pt x="159" y="587"/>
                  </a:lnTo>
                  <a:lnTo>
                    <a:pt x="162" y="586"/>
                  </a:lnTo>
                  <a:lnTo>
                    <a:pt x="163" y="586"/>
                  </a:lnTo>
                  <a:lnTo>
                    <a:pt x="164" y="587"/>
                  </a:lnTo>
                  <a:lnTo>
                    <a:pt x="165" y="588"/>
                  </a:lnTo>
                  <a:lnTo>
                    <a:pt x="166" y="587"/>
                  </a:lnTo>
                  <a:lnTo>
                    <a:pt x="166" y="586"/>
                  </a:lnTo>
                  <a:lnTo>
                    <a:pt x="166" y="583"/>
                  </a:lnTo>
                  <a:lnTo>
                    <a:pt x="168" y="582"/>
                  </a:lnTo>
                  <a:lnTo>
                    <a:pt x="168" y="583"/>
                  </a:lnTo>
                  <a:lnTo>
                    <a:pt x="170" y="585"/>
                  </a:lnTo>
                  <a:lnTo>
                    <a:pt x="169" y="586"/>
                  </a:lnTo>
                  <a:lnTo>
                    <a:pt x="168" y="587"/>
                  </a:lnTo>
                  <a:lnTo>
                    <a:pt x="168" y="588"/>
                  </a:lnTo>
                  <a:lnTo>
                    <a:pt x="169" y="588"/>
                  </a:lnTo>
                  <a:lnTo>
                    <a:pt x="170" y="587"/>
                  </a:lnTo>
                  <a:lnTo>
                    <a:pt x="171" y="587"/>
                  </a:lnTo>
                  <a:lnTo>
                    <a:pt x="172" y="587"/>
                  </a:lnTo>
                  <a:lnTo>
                    <a:pt x="174" y="587"/>
                  </a:lnTo>
                  <a:lnTo>
                    <a:pt x="174" y="586"/>
                  </a:lnTo>
                  <a:lnTo>
                    <a:pt x="174" y="585"/>
                  </a:lnTo>
                  <a:lnTo>
                    <a:pt x="175" y="585"/>
                  </a:lnTo>
                  <a:lnTo>
                    <a:pt x="176" y="585"/>
                  </a:lnTo>
                  <a:lnTo>
                    <a:pt x="177" y="585"/>
                  </a:lnTo>
                  <a:lnTo>
                    <a:pt x="177" y="586"/>
                  </a:lnTo>
                  <a:lnTo>
                    <a:pt x="178" y="587"/>
                  </a:lnTo>
                  <a:lnTo>
                    <a:pt x="180" y="588"/>
                  </a:lnTo>
                  <a:lnTo>
                    <a:pt x="178" y="589"/>
                  </a:lnTo>
                  <a:lnTo>
                    <a:pt x="176" y="589"/>
                  </a:lnTo>
                  <a:lnTo>
                    <a:pt x="175" y="589"/>
                  </a:lnTo>
                  <a:lnTo>
                    <a:pt x="174" y="589"/>
                  </a:lnTo>
                  <a:lnTo>
                    <a:pt x="172" y="589"/>
                  </a:lnTo>
                  <a:lnTo>
                    <a:pt x="172" y="588"/>
                  </a:lnTo>
                  <a:lnTo>
                    <a:pt x="171" y="588"/>
                  </a:lnTo>
                  <a:lnTo>
                    <a:pt x="171" y="589"/>
                  </a:lnTo>
                  <a:lnTo>
                    <a:pt x="170" y="589"/>
                  </a:lnTo>
                  <a:lnTo>
                    <a:pt x="169" y="588"/>
                  </a:lnTo>
                  <a:lnTo>
                    <a:pt x="168" y="588"/>
                  </a:lnTo>
                  <a:lnTo>
                    <a:pt x="168" y="589"/>
                  </a:lnTo>
                  <a:lnTo>
                    <a:pt x="166" y="589"/>
                  </a:lnTo>
                  <a:lnTo>
                    <a:pt x="165" y="589"/>
                  </a:lnTo>
                  <a:lnTo>
                    <a:pt x="164" y="591"/>
                  </a:lnTo>
                  <a:lnTo>
                    <a:pt x="163" y="591"/>
                  </a:lnTo>
                  <a:lnTo>
                    <a:pt x="162" y="589"/>
                  </a:lnTo>
                  <a:lnTo>
                    <a:pt x="156" y="589"/>
                  </a:lnTo>
                  <a:lnTo>
                    <a:pt x="156" y="591"/>
                  </a:lnTo>
                  <a:lnTo>
                    <a:pt x="154" y="591"/>
                  </a:lnTo>
                  <a:lnTo>
                    <a:pt x="154" y="592"/>
                  </a:lnTo>
                  <a:lnTo>
                    <a:pt x="156" y="592"/>
                  </a:lnTo>
                  <a:lnTo>
                    <a:pt x="158" y="592"/>
                  </a:lnTo>
                  <a:lnTo>
                    <a:pt x="159" y="592"/>
                  </a:lnTo>
                  <a:lnTo>
                    <a:pt x="159" y="593"/>
                  </a:lnTo>
                  <a:lnTo>
                    <a:pt x="160" y="593"/>
                  </a:lnTo>
                  <a:lnTo>
                    <a:pt x="160" y="594"/>
                  </a:lnTo>
                  <a:lnTo>
                    <a:pt x="160" y="595"/>
                  </a:lnTo>
                  <a:lnTo>
                    <a:pt x="159" y="595"/>
                  </a:lnTo>
                  <a:lnTo>
                    <a:pt x="159" y="597"/>
                  </a:lnTo>
                  <a:lnTo>
                    <a:pt x="159" y="598"/>
                  </a:lnTo>
                  <a:lnTo>
                    <a:pt x="160" y="597"/>
                  </a:lnTo>
                  <a:lnTo>
                    <a:pt x="162" y="594"/>
                  </a:lnTo>
                  <a:lnTo>
                    <a:pt x="163" y="593"/>
                  </a:lnTo>
                  <a:lnTo>
                    <a:pt x="164" y="592"/>
                  </a:lnTo>
                  <a:lnTo>
                    <a:pt x="165" y="593"/>
                  </a:lnTo>
                  <a:lnTo>
                    <a:pt x="165" y="594"/>
                  </a:lnTo>
                  <a:lnTo>
                    <a:pt x="164" y="595"/>
                  </a:lnTo>
                  <a:lnTo>
                    <a:pt x="165" y="595"/>
                  </a:lnTo>
                  <a:lnTo>
                    <a:pt x="165" y="594"/>
                  </a:lnTo>
                  <a:lnTo>
                    <a:pt x="166" y="593"/>
                  </a:lnTo>
                  <a:lnTo>
                    <a:pt x="168" y="593"/>
                  </a:lnTo>
                  <a:lnTo>
                    <a:pt x="169" y="593"/>
                  </a:lnTo>
                  <a:lnTo>
                    <a:pt x="169" y="594"/>
                  </a:lnTo>
                  <a:lnTo>
                    <a:pt x="169" y="593"/>
                  </a:lnTo>
                  <a:lnTo>
                    <a:pt x="170" y="592"/>
                  </a:lnTo>
                  <a:lnTo>
                    <a:pt x="171" y="592"/>
                  </a:lnTo>
                  <a:lnTo>
                    <a:pt x="171" y="593"/>
                  </a:lnTo>
                  <a:lnTo>
                    <a:pt x="170" y="594"/>
                  </a:lnTo>
                  <a:lnTo>
                    <a:pt x="170" y="595"/>
                  </a:lnTo>
                  <a:lnTo>
                    <a:pt x="170" y="597"/>
                  </a:lnTo>
                  <a:lnTo>
                    <a:pt x="170" y="598"/>
                  </a:lnTo>
                  <a:lnTo>
                    <a:pt x="168" y="598"/>
                  </a:lnTo>
                  <a:lnTo>
                    <a:pt x="168" y="599"/>
                  </a:lnTo>
                  <a:lnTo>
                    <a:pt x="168" y="600"/>
                  </a:lnTo>
                  <a:lnTo>
                    <a:pt x="169" y="600"/>
                  </a:lnTo>
                  <a:lnTo>
                    <a:pt x="170" y="601"/>
                  </a:lnTo>
                  <a:lnTo>
                    <a:pt x="171" y="600"/>
                  </a:lnTo>
                  <a:lnTo>
                    <a:pt x="171" y="599"/>
                  </a:lnTo>
                  <a:lnTo>
                    <a:pt x="172" y="598"/>
                  </a:lnTo>
                  <a:lnTo>
                    <a:pt x="172" y="597"/>
                  </a:lnTo>
                  <a:lnTo>
                    <a:pt x="172" y="595"/>
                  </a:lnTo>
                  <a:lnTo>
                    <a:pt x="174" y="594"/>
                  </a:lnTo>
                  <a:lnTo>
                    <a:pt x="174" y="593"/>
                  </a:lnTo>
                  <a:lnTo>
                    <a:pt x="175" y="593"/>
                  </a:lnTo>
                  <a:lnTo>
                    <a:pt x="176" y="593"/>
                  </a:lnTo>
                  <a:lnTo>
                    <a:pt x="177" y="593"/>
                  </a:lnTo>
                  <a:lnTo>
                    <a:pt x="177" y="594"/>
                  </a:lnTo>
                  <a:lnTo>
                    <a:pt x="176" y="595"/>
                  </a:lnTo>
                  <a:lnTo>
                    <a:pt x="176" y="597"/>
                  </a:lnTo>
                  <a:lnTo>
                    <a:pt x="176" y="599"/>
                  </a:lnTo>
                  <a:lnTo>
                    <a:pt x="177" y="598"/>
                  </a:lnTo>
                  <a:lnTo>
                    <a:pt x="177" y="597"/>
                  </a:lnTo>
                  <a:lnTo>
                    <a:pt x="177" y="595"/>
                  </a:lnTo>
                  <a:lnTo>
                    <a:pt x="178" y="595"/>
                  </a:lnTo>
                  <a:lnTo>
                    <a:pt x="178" y="594"/>
                  </a:lnTo>
                  <a:lnTo>
                    <a:pt x="180" y="593"/>
                  </a:lnTo>
                  <a:lnTo>
                    <a:pt x="180" y="594"/>
                  </a:lnTo>
                  <a:lnTo>
                    <a:pt x="181" y="594"/>
                  </a:lnTo>
                  <a:lnTo>
                    <a:pt x="181" y="595"/>
                  </a:lnTo>
                  <a:lnTo>
                    <a:pt x="180" y="597"/>
                  </a:lnTo>
                  <a:lnTo>
                    <a:pt x="180" y="598"/>
                  </a:lnTo>
                  <a:lnTo>
                    <a:pt x="180" y="599"/>
                  </a:lnTo>
                  <a:lnTo>
                    <a:pt x="181" y="600"/>
                  </a:lnTo>
                  <a:lnTo>
                    <a:pt x="181" y="601"/>
                  </a:lnTo>
                  <a:lnTo>
                    <a:pt x="181" y="603"/>
                  </a:lnTo>
                  <a:lnTo>
                    <a:pt x="181" y="604"/>
                  </a:lnTo>
                  <a:lnTo>
                    <a:pt x="182" y="603"/>
                  </a:lnTo>
                  <a:lnTo>
                    <a:pt x="182" y="600"/>
                  </a:lnTo>
                  <a:lnTo>
                    <a:pt x="183" y="600"/>
                  </a:lnTo>
                  <a:lnTo>
                    <a:pt x="183" y="599"/>
                  </a:lnTo>
                  <a:lnTo>
                    <a:pt x="184" y="598"/>
                  </a:lnTo>
                  <a:lnTo>
                    <a:pt x="184" y="599"/>
                  </a:lnTo>
                  <a:lnTo>
                    <a:pt x="186" y="600"/>
                  </a:lnTo>
                  <a:lnTo>
                    <a:pt x="186" y="599"/>
                  </a:lnTo>
                  <a:lnTo>
                    <a:pt x="186" y="598"/>
                  </a:lnTo>
                  <a:lnTo>
                    <a:pt x="186" y="597"/>
                  </a:lnTo>
                  <a:lnTo>
                    <a:pt x="186" y="595"/>
                  </a:lnTo>
                  <a:lnTo>
                    <a:pt x="187" y="595"/>
                  </a:lnTo>
                  <a:lnTo>
                    <a:pt x="187" y="593"/>
                  </a:lnTo>
                  <a:lnTo>
                    <a:pt x="187" y="591"/>
                  </a:lnTo>
                  <a:lnTo>
                    <a:pt x="187" y="589"/>
                  </a:lnTo>
                  <a:lnTo>
                    <a:pt x="187" y="587"/>
                  </a:lnTo>
                  <a:lnTo>
                    <a:pt x="187" y="586"/>
                  </a:lnTo>
                  <a:lnTo>
                    <a:pt x="186" y="585"/>
                  </a:lnTo>
                  <a:lnTo>
                    <a:pt x="186" y="582"/>
                  </a:lnTo>
                  <a:lnTo>
                    <a:pt x="187" y="583"/>
                  </a:lnTo>
                  <a:lnTo>
                    <a:pt x="187" y="586"/>
                  </a:lnTo>
                  <a:lnTo>
                    <a:pt x="188" y="587"/>
                  </a:lnTo>
                  <a:lnTo>
                    <a:pt x="188" y="588"/>
                  </a:lnTo>
                  <a:lnTo>
                    <a:pt x="189" y="589"/>
                  </a:lnTo>
                  <a:lnTo>
                    <a:pt x="189" y="592"/>
                  </a:lnTo>
                  <a:lnTo>
                    <a:pt x="189" y="593"/>
                  </a:lnTo>
                  <a:lnTo>
                    <a:pt x="188" y="594"/>
                  </a:lnTo>
                  <a:lnTo>
                    <a:pt x="188" y="598"/>
                  </a:lnTo>
                  <a:lnTo>
                    <a:pt x="188" y="599"/>
                  </a:lnTo>
                  <a:lnTo>
                    <a:pt x="188" y="600"/>
                  </a:lnTo>
                  <a:lnTo>
                    <a:pt x="187" y="601"/>
                  </a:lnTo>
                  <a:lnTo>
                    <a:pt x="187" y="603"/>
                  </a:lnTo>
                  <a:lnTo>
                    <a:pt x="187" y="604"/>
                  </a:lnTo>
                  <a:lnTo>
                    <a:pt x="188" y="605"/>
                  </a:lnTo>
                  <a:lnTo>
                    <a:pt x="190" y="605"/>
                  </a:lnTo>
                  <a:lnTo>
                    <a:pt x="192" y="604"/>
                  </a:lnTo>
                  <a:lnTo>
                    <a:pt x="192" y="603"/>
                  </a:lnTo>
                  <a:lnTo>
                    <a:pt x="190" y="601"/>
                  </a:lnTo>
                  <a:lnTo>
                    <a:pt x="190" y="600"/>
                  </a:lnTo>
                  <a:lnTo>
                    <a:pt x="192" y="600"/>
                  </a:lnTo>
                  <a:lnTo>
                    <a:pt x="193" y="600"/>
                  </a:lnTo>
                  <a:lnTo>
                    <a:pt x="193" y="603"/>
                  </a:lnTo>
                  <a:lnTo>
                    <a:pt x="193" y="604"/>
                  </a:lnTo>
                  <a:lnTo>
                    <a:pt x="194" y="603"/>
                  </a:lnTo>
                  <a:lnTo>
                    <a:pt x="195" y="603"/>
                  </a:lnTo>
                  <a:lnTo>
                    <a:pt x="196" y="601"/>
                  </a:lnTo>
                  <a:lnTo>
                    <a:pt x="198" y="603"/>
                  </a:lnTo>
                  <a:lnTo>
                    <a:pt x="199" y="604"/>
                  </a:lnTo>
                  <a:lnTo>
                    <a:pt x="199" y="605"/>
                  </a:lnTo>
                  <a:lnTo>
                    <a:pt x="200" y="604"/>
                  </a:lnTo>
                  <a:lnTo>
                    <a:pt x="200" y="605"/>
                  </a:lnTo>
                  <a:lnTo>
                    <a:pt x="200" y="606"/>
                  </a:lnTo>
                  <a:lnTo>
                    <a:pt x="200" y="607"/>
                  </a:lnTo>
                  <a:lnTo>
                    <a:pt x="199" y="609"/>
                  </a:lnTo>
                  <a:lnTo>
                    <a:pt x="198" y="610"/>
                  </a:lnTo>
                  <a:lnTo>
                    <a:pt x="196" y="611"/>
                  </a:lnTo>
                  <a:lnTo>
                    <a:pt x="196" y="612"/>
                  </a:lnTo>
                  <a:lnTo>
                    <a:pt x="199" y="612"/>
                  </a:lnTo>
                  <a:lnTo>
                    <a:pt x="200" y="612"/>
                  </a:lnTo>
                  <a:lnTo>
                    <a:pt x="200" y="611"/>
                  </a:lnTo>
                  <a:lnTo>
                    <a:pt x="202" y="610"/>
                  </a:lnTo>
                  <a:lnTo>
                    <a:pt x="204" y="610"/>
                  </a:lnTo>
                  <a:lnTo>
                    <a:pt x="204" y="609"/>
                  </a:lnTo>
                  <a:lnTo>
                    <a:pt x="205" y="607"/>
                  </a:lnTo>
                  <a:lnTo>
                    <a:pt x="206" y="607"/>
                  </a:lnTo>
                  <a:lnTo>
                    <a:pt x="206" y="609"/>
                  </a:lnTo>
                  <a:lnTo>
                    <a:pt x="207" y="610"/>
                  </a:lnTo>
                  <a:lnTo>
                    <a:pt x="207" y="611"/>
                  </a:lnTo>
                  <a:lnTo>
                    <a:pt x="207" y="612"/>
                  </a:lnTo>
                  <a:lnTo>
                    <a:pt x="206" y="613"/>
                  </a:lnTo>
                  <a:lnTo>
                    <a:pt x="206" y="615"/>
                  </a:lnTo>
                  <a:lnTo>
                    <a:pt x="205" y="616"/>
                  </a:lnTo>
                  <a:lnTo>
                    <a:pt x="202" y="616"/>
                  </a:lnTo>
                  <a:lnTo>
                    <a:pt x="201" y="616"/>
                  </a:lnTo>
                  <a:lnTo>
                    <a:pt x="200" y="616"/>
                  </a:lnTo>
                  <a:lnTo>
                    <a:pt x="199" y="616"/>
                  </a:lnTo>
                  <a:lnTo>
                    <a:pt x="198" y="616"/>
                  </a:lnTo>
                  <a:lnTo>
                    <a:pt x="198" y="617"/>
                  </a:lnTo>
                  <a:lnTo>
                    <a:pt x="196" y="617"/>
                  </a:lnTo>
                  <a:lnTo>
                    <a:pt x="195" y="617"/>
                  </a:lnTo>
                  <a:lnTo>
                    <a:pt x="193" y="617"/>
                  </a:lnTo>
                  <a:lnTo>
                    <a:pt x="190" y="618"/>
                  </a:lnTo>
                  <a:lnTo>
                    <a:pt x="188" y="618"/>
                  </a:lnTo>
                  <a:lnTo>
                    <a:pt x="187" y="618"/>
                  </a:lnTo>
                  <a:lnTo>
                    <a:pt x="186" y="619"/>
                  </a:lnTo>
                  <a:lnTo>
                    <a:pt x="184" y="619"/>
                  </a:lnTo>
                  <a:lnTo>
                    <a:pt x="183" y="619"/>
                  </a:lnTo>
                  <a:lnTo>
                    <a:pt x="182" y="619"/>
                  </a:lnTo>
                  <a:lnTo>
                    <a:pt x="181" y="619"/>
                  </a:lnTo>
                  <a:lnTo>
                    <a:pt x="180" y="619"/>
                  </a:lnTo>
                  <a:lnTo>
                    <a:pt x="180" y="621"/>
                  </a:lnTo>
                  <a:lnTo>
                    <a:pt x="178" y="621"/>
                  </a:lnTo>
                  <a:lnTo>
                    <a:pt x="177" y="622"/>
                  </a:lnTo>
                  <a:lnTo>
                    <a:pt x="176" y="622"/>
                  </a:lnTo>
                  <a:lnTo>
                    <a:pt x="175" y="621"/>
                  </a:lnTo>
                  <a:lnTo>
                    <a:pt x="175" y="622"/>
                  </a:lnTo>
                  <a:lnTo>
                    <a:pt x="174" y="622"/>
                  </a:lnTo>
                  <a:lnTo>
                    <a:pt x="166" y="622"/>
                  </a:lnTo>
                  <a:lnTo>
                    <a:pt x="165" y="622"/>
                  </a:lnTo>
                  <a:lnTo>
                    <a:pt x="164" y="621"/>
                  </a:lnTo>
                  <a:lnTo>
                    <a:pt x="163" y="622"/>
                  </a:lnTo>
                  <a:lnTo>
                    <a:pt x="162" y="622"/>
                  </a:lnTo>
                  <a:lnTo>
                    <a:pt x="160" y="622"/>
                  </a:lnTo>
                  <a:lnTo>
                    <a:pt x="158" y="622"/>
                  </a:lnTo>
                  <a:lnTo>
                    <a:pt x="156" y="622"/>
                  </a:lnTo>
                  <a:lnTo>
                    <a:pt x="156" y="623"/>
                  </a:lnTo>
                  <a:lnTo>
                    <a:pt x="154" y="623"/>
                  </a:lnTo>
                  <a:lnTo>
                    <a:pt x="153" y="623"/>
                  </a:lnTo>
                  <a:lnTo>
                    <a:pt x="152" y="622"/>
                  </a:lnTo>
                  <a:lnTo>
                    <a:pt x="150" y="622"/>
                  </a:lnTo>
                  <a:lnTo>
                    <a:pt x="150" y="623"/>
                  </a:lnTo>
                  <a:lnTo>
                    <a:pt x="147" y="623"/>
                  </a:lnTo>
                  <a:lnTo>
                    <a:pt x="146" y="622"/>
                  </a:lnTo>
                  <a:lnTo>
                    <a:pt x="147" y="621"/>
                  </a:lnTo>
                  <a:lnTo>
                    <a:pt x="146" y="619"/>
                  </a:lnTo>
                  <a:lnTo>
                    <a:pt x="145" y="621"/>
                  </a:lnTo>
                  <a:lnTo>
                    <a:pt x="145" y="622"/>
                  </a:lnTo>
                  <a:lnTo>
                    <a:pt x="142" y="622"/>
                  </a:lnTo>
                  <a:lnTo>
                    <a:pt x="141" y="622"/>
                  </a:lnTo>
                  <a:lnTo>
                    <a:pt x="141" y="623"/>
                  </a:lnTo>
                  <a:lnTo>
                    <a:pt x="142" y="623"/>
                  </a:lnTo>
                  <a:lnTo>
                    <a:pt x="142" y="624"/>
                  </a:lnTo>
                  <a:lnTo>
                    <a:pt x="141" y="624"/>
                  </a:lnTo>
                  <a:lnTo>
                    <a:pt x="140" y="624"/>
                  </a:lnTo>
                  <a:lnTo>
                    <a:pt x="139" y="625"/>
                  </a:lnTo>
                  <a:lnTo>
                    <a:pt x="137" y="625"/>
                  </a:lnTo>
                  <a:lnTo>
                    <a:pt x="135" y="625"/>
                  </a:lnTo>
                  <a:lnTo>
                    <a:pt x="134" y="625"/>
                  </a:lnTo>
                  <a:lnTo>
                    <a:pt x="133" y="625"/>
                  </a:lnTo>
                  <a:lnTo>
                    <a:pt x="133" y="624"/>
                  </a:lnTo>
                  <a:lnTo>
                    <a:pt x="131" y="623"/>
                  </a:lnTo>
                  <a:lnTo>
                    <a:pt x="130" y="624"/>
                  </a:lnTo>
                  <a:lnTo>
                    <a:pt x="131" y="624"/>
                  </a:lnTo>
                  <a:lnTo>
                    <a:pt x="131" y="625"/>
                  </a:lnTo>
                  <a:lnTo>
                    <a:pt x="133" y="625"/>
                  </a:lnTo>
                  <a:lnTo>
                    <a:pt x="131" y="627"/>
                  </a:lnTo>
                  <a:lnTo>
                    <a:pt x="130" y="627"/>
                  </a:lnTo>
                  <a:lnTo>
                    <a:pt x="129" y="628"/>
                  </a:lnTo>
                  <a:lnTo>
                    <a:pt x="129" y="629"/>
                  </a:lnTo>
                  <a:lnTo>
                    <a:pt x="128" y="628"/>
                  </a:lnTo>
                  <a:lnTo>
                    <a:pt x="127" y="628"/>
                  </a:lnTo>
                  <a:lnTo>
                    <a:pt x="127" y="627"/>
                  </a:lnTo>
                  <a:lnTo>
                    <a:pt x="125" y="628"/>
                  </a:lnTo>
                  <a:lnTo>
                    <a:pt x="124" y="629"/>
                  </a:lnTo>
                  <a:lnTo>
                    <a:pt x="123" y="628"/>
                  </a:lnTo>
                  <a:lnTo>
                    <a:pt x="121" y="628"/>
                  </a:lnTo>
                  <a:lnTo>
                    <a:pt x="118" y="628"/>
                  </a:lnTo>
                  <a:lnTo>
                    <a:pt x="117" y="628"/>
                  </a:lnTo>
                  <a:lnTo>
                    <a:pt x="115" y="628"/>
                  </a:lnTo>
                  <a:lnTo>
                    <a:pt x="110" y="628"/>
                  </a:lnTo>
                  <a:lnTo>
                    <a:pt x="109" y="628"/>
                  </a:lnTo>
                  <a:lnTo>
                    <a:pt x="110" y="629"/>
                  </a:lnTo>
                  <a:lnTo>
                    <a:pt x="110" y="630"/>
                  </a:lnTo>
                  <a:lnTo>
                    <a:pt x="112" y="629"/>
                  </a:lnTo>
                  <a:lnTo>
                    <a:pt x="115" y="629"/>
                  </a:lnTo>
                  <a:lnTo>
                    <a:pt x="115" y="630"/>
                  </a:lnTo>
                  <a:lnTo>
                    <a:pt x="117" y="630"/>
                  </a:lnTo>
                  <a:lnTo>
                    <a:pt x="118" y="630"/>
                  </a:lnTo>
                  <a:lnTo>
                    <a:pt x="119" y="630"/>
                  </a:lnTo>
                  <a:lnTo>
                    <a:pt x="119" y="631"/>
                  </a:lnTo>
                  <a:lnTo>
                    <a:pt x="119" y="633"/>
                  </a:lnTo>
                  <a:lnTo>
                    <a:pt x="118" y="634"/>
                  </a:lnTo>
                  <a:lnTo>
                    <a:pt x="118" y="636"/>
                  </a:lnTo>
                  <a:lnTo>
                    <a:pt x="119" y="635"/>
                  </a:lnTo>
                  <a:lnTo>
                    <a:pt x="121" y="634"/>
                  </a:lnTo>
                  <a:lnTo>
                    <a:pt x="121" y="633"/>
                  </a:lnTo>
                  <a:lnTo>
                    <a:pt x="123" y="631"/>
                  </a:lnTo>
                  <a:lnTo>
                    <a:pt x="124" y="630"/>
                  </a:lnTo>
                  <a:lnTo>
                    <a:pt x="125" y="630"/>
                  </a:lnTo>
                  <a:lnTo>
                    <a:pt x="125" y="633"/>
                  </a:lnTo>
                  <a:lnTo>
                    <a:pt x="125" y="634"/>
                  </a:lnTo>
                  <a:lnTo>
                    <a:pt x="125" y="635"/>
                  </a:lnTo>
                  <a:lnTo>
                    <a:pt x="127" y="634"/>
                  </a:lnTo>
                  <a:lnTo>
                    <a:pt x="128" y="633"/>
                  </a:lnTo>
                  <a:lnTo>
                    <a:pt x="128" y="631"/>
                  </a:lnTo>
                  <a:lnTo>
                    <a:pt x="129" y="630"/>
                  </a:lnTo>
                  <a:lnTo>
                    <a:pt x="130" y="629"/>
                  </a:lnTo>
                  <a:lnTo>
                    <a:pt x="131" y="629"/>
                  </a:lnTo>
                  <a:lnTo>
                    <a:pt x="131" y="630"/>
                  </a:lnTo>
                  <a:lnTo>
                    <a:pt x="131" y="633"/>
                  </a:lnTo>
                  <a:lnTo>
                    <a:pt x="130" y="634"/>
                  </a:lnTo>
                  <a:lnTo>
                    <a:pt x="131" y="636"/>
                  </a:lnTo>
                  <a:lnTo>
                    <a:pt x="130" y="636"/>
                  </a:lnTo>
                  <a:lnTo>
                    <a:pt x="130" y="638"/>
                  </a:lnTo>
                  <a:lnTo>
                    <a:pt x="130" y="639"/>
                  </a:lnTo>
                  <a:lnTo>
                    <a:pt x="131" y="640"/>
                  </a:lnTo>
                  <a:lnTo>
                    <a:pt x="131" y="641"/>
                  </a:lnTo>
                  <a:lnTo>
                    <a:pt x="131" y="642"/>
                  </a:lnTo>
                  <a:lnTo>
                    <a:pt x="131" y="644"/>
                  </a:lnTo>
                  <a:lnTo>
                    <a:pt x="130" y="645"/>
                  </a:lnTo>
                  <a:lnTo>
                    <a:pt x="129" y="645"/>
                  </a:lnTo>
                  <a:lnTo>
                    <a:pt x="130" y="645"/>
                  </a:lnTo>
                  <a:lnTo>
                    <a:pt x="131" y="645"/>
                  </a:lnTo>
                  <a:lnTo>
                    <a:pt x="131" y="646"/>
                  </a:lnTo>
                  <a:lnTo>
                    <a:pt x="130" y="647"/>
                  </a:lnTo>
                  <a:lnTo>
                    <a:pt x="129" y="647"/>
                  </a:lnTo>
                  <a:lnTo>
                    <a:pt x="129" y="646"/>
                  </a:lnTo>
                  <a:lnTo>
                    <a:pt x="127" y="646"/>
                  </a:lnTo>
                  <a:lnTo>
                    <a:pt x="127" y="647"/>
                  </a:lnTo>
                  <a:lnTo>
                    <a:pt x="124" y="647"/>
                  </a:lnTo>
                  <a:lnTo>
                    <a:pt x="123" y="646"/>
                  </a:lnTo>
                  <a:lnTo>
                    <a:pt x="122" y="646"/>
                  </a:lnTo>
                  <a:lnTo>
                    <a:pt x="119" y="646"/>
                  </a:lnTo>
                  <a:lnTo>
                    <a:pt x="119" y="645"/>
                  </a:lnTo>
                  <a:lnTo>
                    <a:pt x="118" y="645"/>
                  </a:lnTo>
                  <a:lnTo>
                    <a:pt x="117" y="645"/>
                  </a:lnTo>
                  <a:lnTo>
                    <a:pt x="116" y="644"/>
                  </a:lnTo>
                  <a:lnTo>
                    <a:pt x="115" y="644"/>
                  </a:lnTo>
                  <a:lnTo>
                    <a:pt x="113" y="644"/>
                  </a:lnTo>
                  <a:lnTo>
                    <a:pt x="111" y="644"/>
                  </a:lnTo>
                  <a:lnTo>
                    <a:pt x="110" y="644"/>
                  </a:lnTo>
                  <a:lnTo>
                    <a:pt x="109" y="644"/>
                  </a:lnTo>
                  <a:lnTo>
                    <a:pt x="107" y="642"/>
                  </a:lnTo>
                  <a:lnTo>
                    <a:pt x="106" y="642"/>
                  </a:lnTo>
                  <a:lnTo>
                    <a:pt x="105" y="642"/>
                  </a:lnTo>
                  <a:lnTo>
                    <a:pt x="104" y="644"/>
                  </a:lnTo>
                  <a:lnTo>
                    <a:pt x="103" y="644"/>
                  </a:lnTo>
                  <a:lnTo>
                    <a:pt x="100" y="644"/>
                  </a:lnTo>
                  <a:lnTo>
                    <a:pt x="99" y="644"/>
                  </a:lnTo>
                  <a:lnTo>
                    <a:pt x="98" y="644"/>
                  </a:lnTo>
                  <a:lnTo>
                    <a:pt x="95" y="642"/>
                  </a:lnTo>
                  <a:lnTo>
                    <a:pt x="94" y="641"/>
                  </a:lnTo>
                  <a:lnTo>
                    <a:pt x="93" y="640"/>
                  </a:lnTo>
                  <a:lnTo>
                    <a:pt x="92" y="640"/>
                  </a:lnTo>
                  <a:lnTo>
                    <a:pt x="89" y="640"/>
                  </a:lnTo>
                  <a:lnTo>
                    <a:pt x="91" y="641"/>
                  </a:lnTo>
                  <a:lnTo>
                    <a:pt x="92" y="641"/>
                  </a:lnTo>
                  <a:lnTo>
                    <a:pt x="93" y="642"/>
                  </a:lnTo>
                  <a:lnTo>
                    <a:pt x="94" y="642"/>
                  </a:lnTo>
                  <a:lnTo>
                    <a:pt x="95" y="644"/>
                  </a:lnTo>
                  <a:lnTo>
                    <a:pt x="95" y="645"/>
                  </a:lnTo>
                  <a:lnTo>
                    <a:pt x="95" y="646"/>
                  </a:lnTo>
                  <a:lnTo>
                    <a:pt x="94" y="646"/>
                  </a:lnTo>
                  <a:lnTo>
                    <a:pt x="92" y="646"/>
                  </a:lnTo>
                  <a:lnTo>
                    <a:pt x="89" y="646"/>
                  </a:lnTo>
                  <a:lnTo>
                    <a:pt x="88" y="646"/>
                  </a:lnTo>
                  <a:lnTo>
                    <a:pt x="87" y="647"/>
                  </a:lnTo>
                  <a:lnTo>
                    <a:pt x="86" y="647"/>
                  </a:lnTo>
                  <a:lnTo>
                    <a:pt x="86" y="648"/>
                  </a:lnTo>
                  <a:lnTo>
                    <a:pt x="88" y="648"/>
                  </a:lnTo>
                  <a:lnTo>
                    <a:pt x="91" y="648"/>
                  </a:lnTo>
                  <a:lnTo>
                    <a:pt x="91" y="650"/>
                  </a:lnTo>
                  <a:lnTo>
                    <a:pt x="89" y="650"/>
                  </a:lnTo>
                  <a:lnTo>
                    <a:pt x="87" y="651"/>
                  </a:lnTo>
                  <a:lnTo>
                    <a:pt x="86" y="652"/>
                  </a:lnTo>
                  <a:lnTo>
                    <a:pt x="84" y="652"/>
                  </a:lnTo>
                  <a:lnTo>
                    <a:pt x="83" y="652"/>
                  </a:lnTo>
                  <a:lnTo>
                    <a:pt x="83" y="651"/>
                  </a:lnTo>
                  <a:lnTo>
                    <a:pt x="81" y="651"/>
                  </a:lnTo>
                  <a:lnTo>
                    <a:pt x="80" y="651"/>
                  </a:lnTo>
                  <a:lnTo>
                    <a:pt x="78" y="651"/>
                  </a:lnTo>
                  <a:lnTo>
                    <a:pt x="78" y="652"/>
                  </a:lnTo>
                  <a:lnTo>
                    <a:pt x="80" y="652"/>
                  </a:lnTo>
                  <a:lnTo>
                    <a:pt x="81" y="652"/>
                  </a:lnTo>
                  <a:lnTo>
                    <a:pt x="81" y="653"/>
                  </a:lnTo>
                  <a:lnTo>
                    <a:pt x="75" y="653"/>
                  </a:lnTo>
                  <a:lnTo>
                    <a:pt x="75" y="654"/>
                  </a:lnTo>
                  <a:lnTo>
                    <a:pt x="76" y="654"/>
                  </a:lnTo>
                  <a:lnTo>
                    <a:pt x="78" y="654"/>
                  </a:lnTo>
                  <a:lnTo>
                    <a:pt x="80" y="654"/>
                  </a:lnTo>
                  <a:lnTo>
                    <a:pt x="81" y="654"/>
                  </a:lnTo>
                  <a:lnTo>
                    <a:pt x="81" y="656"/>
                  </a:lnTo>
                  <a:lnTo>
                    <a:pt x="81" y="657"/>
                  </a:lnTo>
                  <a:lnTo>
                    <a:pt x="82" y="657"/>
                  </a:lnTo>
                  <a:lnTo>
                    <a:pt x="82" y="656"/>
                  </a:lnTo>
                  <a:lnTo>
                    <a:pt x="83" y="656"/>
                  </a:lnTo>
                  <a:lnTo>
                    <a:pt x="84" y="654"/>
                  </a:lnTo>
                  <a:lnTo>
                    <a:pt x="86" y="654"/>
                  </a:lnTo>
                  <a:lnTo>
                    <a:pt x="86" y="656"/>
                  </a:lnTo>
                  <a:lnTo>
                    <a:pt x="86" y="659"/>
                  </a:lnTo>
                  <a:lnTo>
                    <a:pt x="86" y="663"/>
                  </a:lnTo>
                  <a:lnTo>
                    <a:pt x="86" y="665"/>
                  </a:lnTo>
                  <a:lnTo>
                    <a:pt x="87" y="665"/>
                  </a:lnTo>
                  <a:lnTo>
                    <a:pt x="88" y="663"/>
                  </a:lnTo>
                  <a:lnTo>
                    <a:pt x="88" y="660"/>
                  </a:lnTo>
                  <a:lnTo>
                    <a:pt x="89" y="662"/>
                  </a:lnTo>
                  <a:lnTo>
                    <a:pt x="89" y="663"/>
                  </a:lnTo>
                  <a:lnTo>
                    <a:pt x="89" y="665"/>
                  </a:lnTo>
                  <a:lnTo>
                    <a:pt x="91" y="665"/>
                  </a:lnTo>
                  <a:lnTo>
                    <a:pt x="92" y="664"/>
                  </a:lnTo>
                  <a:lnTo>
                    <a:pt x="92" y="663"/>
                  </a:lnTo>
                  <a:lnTo>
                    <a:pt x="92" y="659"/>
                  </a:lnTo>
                  <a:lnTo>
                    <a:pt x="91" y="656"/>
                  </a:lnTo>
                  <a:lnTo>
                    <a:pt x="91" y="654"/>
                  </a:lnTo>
                  <a:lnTo>
                    <a:pt x="92" y="653"/>
                  </a:lnTo>
                  <a:lnTo>
                    <a:pt x="93" y="652"/>
                  </a:lnTo>
                  <a:lnTo>
                    <a:pt x="95" y="651"/>
                  </a:lnTo>
                  <a:lnTo>
                    <a:pt x="95" y="652"/>
                  </a:lnTo>
                  <a:lnTo>
                    <a:pt x="94" y="653"/>
                  </a:lnTo>
                  <a:lnTo>
                    <a:pt x="94" y="654"/>
                  </a:lnTo>
                  <a:lnTo>
                    <a:pt x="93" y="654"/>
                  </a:lnTo>
                  <a:lnTo>
                    <a:pt x="92" y="656"/>
                  </a:lnTo>
                  <a:lnTo>
                    <a:pt x="92" y="657"/>
                  </a:lnTo>
                  <a:lnTo>
                    <a:pt x="93" y="658"/>
                  </a:lnTo>
                  <a:lnTo>
                    <a:pt x="93" y="659"/>
                  </a:lnTo>
                  <a:lnTo>
                    <a:pt x="93" y="662"/>
                  </a:lnTo>
                  <a:lnTo>
                    <a:pt x="92" y="663"/>
                  </a:lnTo>
                  <a:lnTo>
                    <a:pt x="93" y="665"/>
                  </a:lnTo>
                  <a:lnTo>
                    <a:pt x="93" y="666"/>
                  </a:lnTo>
                  <a:lnTo>
                    <a:pt x="93" y="670"/>
                  </a:lnTo>
                  <a:lnTo>
                    <a:pt x="93" y="671"/>
                  </a:lnTo>
                  <a:lnTo>
                    <a:pt x="94" y="671"/>
                  </a:lnTo>
                  <a:lnTo>
                    <a:pt x="94" y="670"/>
                  </a:lnTo>
                  <a:lnTo>
                    <a:pt x="94" y="658"/>
                  </a:lnTo>
                  <a:lnTo>
                    <a:pt x="95" y="658"/>
                  </a:lnTo>
                  <a:lnTo>
                    <a:pt x="97" y="659"/>
                  </a:lnTo>
                  <a:lnTo>
                    <a:pt x="97" y="662"/>
                  </a:lnTo>
                  <a:lnTo>
                    <a:pt x="97" y="663"/>
                  </a:lnTo>
                  <a:lnTo>
                    <a:pt x="97" y="664"/>
                  </a:lnTo>
                  <a:lnTo>
                    <a:pt x="97" y="665"/>
                  </a:lnTo>
                  <a:lnTo>
                    <a:pt x="97" y="666"/>
                  </a:lnTo>
                  <a:lnTo>
                    <a:pt x="97" y="668"/>
                  </a:lnTo>
                  <a:lnTo>
                    <a:pt x="97" y="669"/>
                  </a:lnTo>
                  <a:lnTo>
                    <a:pt x="97" y="670"/>
                  </a:lnTo>
                  <a:lnTo>
                    <a:pt x="97" y="675"/>
                  </a:lnTo>
                  <a:lnTo>
                    <a:pt x="98" y="676"/>
                  </a:lnTo>
                  <a:lnTo>
                    <a:pt x="99" y="677"/>
                  </a:lnTo>
                  <a:lnTo>
                    <a:pt x="99" y="676"/>
                  </a:lnTo>
                  <a:lnTo>
                    <a:pt x="99" y="675"/>
                  </a:lnTo>
                  <a:lnTo>
                    <a:pt x="99" y="664"/>
                  </a:lnTo>
                  <a:lnTo>
                    <a:pt x="99" y="663"/>
                  </a:lnTo>
                  <a:lnTo>
                    <a:pt x="100" y="663"/>
                  </a:lnTo>
                  <a:lnTo>
                    <a:pt x="101" y="663"/>
                  </a:lnTo>
                  <a:lnTo>
                    <a:pt x="101" y="664"/>
                  </a:lnTo>
                  <a:lnTo>
                    <a:pt x="101" y="666"/>
                  </a:lnTo>
                  <a:lnTo>
                    <a:pt x="103" y="665"/>
                  </a:lnTo>
                  <a:lnTo>
                    <a:pt x="104" y="664"/>
                  </a:lnTo>
                  <a:lnTo>
                    <a:pt x="104" y="663"/>
                  </a:lnTo>
                  <a:lnTo>
                    <a:pt x="105" y="663"/>
                  </a:lnTo>
                  <a:lnTo>
                    <a:pt x="105" y="662"/>
                  </a:lnTo>
                  <a:lnTo>
                    <a:pt x="106" y="662"/>
                  </a:lnTo>
                  <a:lnTo>
                    <a:pt x="107" y="663"/>
                  </a:lnTo>
                  <a:lnTo>
                    <a:pt x="110" y="663"/>
                  </a:lnTo>
                  <a:lnTo>
                    <a:pt x="109" y="663"/>
                  </a:lnTo>
                  <a:lnTo>
                    <a:pt x="109" y="662"/>
                  </a:lnTo>
                  <a:lnTo>
                    <a:pt x="109" y="660"/>
                  </a:lnTo>
                  <a:lnTo>
                    <a:pt x="109" y="659"/>
                  </a:lnTo>
                  <a:lnTo>
                    <a:pt x="109" y="658"/>
                  </a:lnTo>
                  <a:lnTo>
                    <a:pt x="109" y="656"/>
                  </a:lnTo>
                  <a:lnTo>
                    <a:pt x="110" y="656"/>
                  </a:lnTo>
                  <a:lnTo>
                    <a:pt x="110" y="657"/>
                  </a:lnTo>
                  <a:lnTo>
                    <a:pt x="111" y="657"/>
                  </a:lnTo>
                  <a:lnTo>
                    <a:pt x="112" y="657"/>
                  </a:lnTo>
                  <a:lnTo>
                    <a:pt x="112" y="658"/>
                  </a:lnTo>
                  <a:lnTo>
                    <a:pt x="112" y="659"/>
                  </a:lnTo>
                  <a:lnTo>
                    <a:pt x="111" y="662"/>
                  </a:lnTo>
                  <a:lnTo>
                    <a:pt x="111" y="664"/>
                  </a:lnTo>
                  <a:lnTo>
                    <a:pt x="111" y="665"/>
                  </a:lnTo>
                  <a:lnTo>
                    <a:pt x="109" y="665"/>
                  </a:lnTo>
                  <a:lnTo>
                    <a:pt x="109" y="666"/>
                  </a:lnTo>
                  <a:lnTo>
                    <a:pt x="110" y="666"/>
                  </a:lnTo>
                  <a:lnTo>
                    <a:pt x="111" y="666"/>
                  </a:lnTo>
                  <a:lnTo>
                    <a:pt x="111" y="668"/>
                  </a:lnTo>
                  <a:lnTo>
                    <a:pt x="111" y="669"/>
                  </a:lnTo>
                  <a:lnTo>
                    <a:pt x="112" y="669"/>
                  </a:lnTo>
                  <a:lnTo>
                    <a:pt x="112" y="670"/>
                  </a:lnTo>
                  <a:lnTo>
                    <a:pt x="111" y="671"/>
                  </a:lnTo>
                  <a:lnTo>
                    <a:pt x="112" y="671"/>
                  </a:lnTo>
                  <a:lnTo>
                    <a:pt x="112" y="672"/>
                  </a:lnTo>
                  <a:lnTo>
                    <a:pt x="113" y="672"/>
                  </a:lnTo>
                  <a:lnTo>
                    <a:pt x="113" y="671"/>
                  </a:lnTo>
                  <a:lnTo>
                    <a:pt x="113" y="669"/>
                  </a:lnTo>
                  <a:lnTo>
                    <a:pt x="115" y="669"/>
                  </a:lnTo>
                  <a:lnTo>
                    <a:pt x="116" y="669"/>
                  </a:lnTo>
                  <a:lnTo>
                    <a:pt x="116" y="671"/>
                  </a:lnTo>
                  <a:lnTo>
                    <a:pt x="116" y="672"/>
                  </a:lnTo>
                  <a:lnTo>
                    <a:pt x="115" y="674"/>
                  </a:lnTo>
                  <a:lnTo>
                    <a:pt x="113" y="675"/>
                  </a:lnTo>
                  <a:lnTo>
                    <a:pt x="113" y="676"/>
                  </a:lnTo>
                  <a:lnTo>
                    <a:pt x="113" y="677"/>
                  </a:lnTo>
                  <a:lnTo>
                    <a:pt x="113" y="678"/>
                  </a:lnTo>
                  <a:lnTo>
                    <a:pt x="113" y="681"/>
                  </a:lnTo>
                  <a:lnTo>
                    <a:pt x="115" y="682"/>
                  </a:lnTo>
                  <a:lnTo>
                    <a:pt x="113" y="682"/>
                  </a:lnTo>
                  <a:lnTo>
                    <a:pt x="112" y="682"/>
                  </a:lnTo>
                  <a:lnTo>
                    <a:pt x="111" y="683"/>
                  </a:lnTo>
                  <a:lnTo>
                    <a:pt x="110" y="684"/>
                  </a:lnTo>
                  <a:lnTo>
                    <a:pt x="109" y="686"/>
                  </a:lnTo>
                  <a:lnTo>
                    <a:pt x="107" y="687"/>
                  </a:lnTo>
                  <a:lnTo>
                    <a:pt x="106" y="688"/>
                  </a:lnTo>
                  <a:lnTo>
                    <a:pt x="105" y="688"/>
                  </a:lnTo>
                  <a:lnTo>
                    <a:pt x="105" y="689"/>
                  </a:lnTo>
                  <a:lnTo>
                    <a:pt x="104" y="690"/>
                  </a:lnTo>
                  <a:lnTo>
                    <a:pt x="104" y="692"/>
                  </a:lnTo>
                  <a:lnTo>
                    <a:pt x="101" y="693"/>
                  </a:lnTo>
                  <a:lnTo>
                    <a:pt x="99" y="693"/>
                  </a:lnTo>
                  <a:lnTo>
                    <a:pt x="97" y="693"/>
                  </a:lnTo>
                  <a:lnTo>
                    <a:pt x="95" y="693"/>
                  </a:lnTo>
                  <a:lnTo>
                    <a:pt x="94" y="695"/>
                  </a:lnTo>
                  <a:lnTo>
                    <a:pt x="93" y="695"/>
                  </a:lnTo>
                  <a:lnTo>
                    <a:pt x="92" y="695"/>
                  </a:lnTo>
                  <a:lnTo>
                    <a:pt x="89" y="694"/>
                  </a:lnTo>
                  <a:lnTo>
                    <a:pt x="88" y="694"/>
                  </a:lnTo>
                  <a:lnTo>
                    <a:pt x="87" y="693"/>
                  </a:lnTo>
                  <a:lnTo>
                    <a:pt x="84" y="693"/>
                  </a:lnTo>
                  <a:lnTo>
                    <a:pt x="84" y="694"/>
                  </a:lnTo>
                  <a:lnTo>
                    <a:pt x="87" y="694"/>
                  </a:lnTo>
                  <a:lnTo>
                    <a:pt x="88" y="694"/>
                  </a:lnTo>
                  <a:lnTo>
                    <a:pt x="87" y="695"/>
                  </a:lnTo>
                  <a:lnTo>
                    <a:pt x="86" y="695"/>
                  </a:lnTo>
                  <a:lnTo>
                    <a:pt x="84" y="696"/>
                  </a:lnTo>
                  <a:lnTo>
                    <a:pt x="83" y="698"/>
                  </a:lnTo>
                  <a:lnTo>
                    <a:pt x="82" y="698"/>
                  </a:lnTo>
                  <a:lnTo>
                    <a:pt x="83" y="698"/>
                  </a:lnTo>
                  <a:lnTo>
                    <a:pt x="86" y="698"/>
                  </a:lnTo>
                  <a:lnTo>
                    <a:pt x="88" y="698"/>
                  </a:lnTo>
                  <a:lnTo>
                    <a:pt x="88" y="699"/>
                  </a:lnTo>
                  <a:lnTo>
                    <a:pt x="87" y="700"/>
                  </a:lnTo>
                  <a:lnTo>
                    <a:pt x="87" y="701"/>
                  </a:lnTo>
                  <a:lnTo>
                    <a:pt x="88" y="701"/>
                  </a:lnTo>
                  <a:lnTo>
                    <a:pt x="89" y="700"/>
                  </a:lnTo>
                  <a:lnTo>
                    <a:pt x="89" y="699"/>
                  </a:lnTo>
                  <a:lnTo>
                    <a:pt x="92" y="699"/>
                  </a:lnTo>
                  <a:lnTo>
                    <a:pt x="92" y="700"/>
                  </a:lnTo>
                  <a:lnTo>
                    <a:pt x="92" y="702"/>
                  </a:lnTo>
                  <a:lnTo>
                    <a:pt x="93" y="702"/>
                  </a:lnTo>
                  <a:lnTo>
                    <a:pt x="93" y="701"/>
                  </a:lnTo>
                  <a:lnTo>
                    <a:pt x="93" y="700"/>
                  </a:lnTo>
                  <a:lnTo>
                    <a:pt x="94" y="699"/>
                  </a:lnTo>
                  <a:lnTo>
                    <a:pt x="94" y="696"/>
                  </a:lnTo>
                  <a:lnTo>
                    <a:pt x="95" y="696"/>
                  </a:lnTo>
                  <a:lnTo>
                    <a:pt x="95" y="698"/>
                  </a:lnTo>
                  <a:lnTo>
                    <a:pt x="95" y="699"/>
                  </a:lnTo>
                  <a:lnTo>
                    <a:pt x="95" y="700"/>
                  </a:lnTo>
                  <a:lnTo>
                    <a:pt x="95" y="702"/>
                  </a:lnTo>
                  <a:lnTo>
                    <a:pt x="95" y="704"/>
                  </a:lnTo>
                  <a:lnTo>
                    <a:pt x="95" y="706"/>
                  </a:lnTo>
                  <a:lnTo>
                    <a:pt x="94" y="707"/>
                  </a:lnTo>
                  <a:lnTo>
                    <a:pt x="92" y="707"/>
                  </a:lnTo>
                  <a:lnTo>
                    <a:pt x="88" y="707"/>
                  </a:lnTo>
                  <a:lnTo>
                    <a:pt x="86" y="706"/>
                  </a:lnTo>
                  <a:lnTo>
                    <a:pt x="84" y="705"/>
                  </a:lnTo>
                  <a:lnTo>
                    <a:pt x="83" y="706"/>
                  </a:lnTo>
                  <a:lnTo>
                    <a:pt x="82" y="705"/>
                  </a:lnTo>
                  <a:lnTo>
                    <a:pt x="82" y="704"/>
                  </a:lnTo>
                  <a:lnTo>
                    <a:pt x="81" y="704"/>
                  </a:lnTo>
                  <a:lnTo>
                    <a:pt x="81" y="705"/>
                  </a:lnTo>
                  <a:lnTo>
                    <a:pt x="80" y="705"/>
                  </a:lnTo>
                  <a:lnTo>
                    <a:pt x="80" y="704"/>
                  </a:lnTo>
                  <a:lnTo>
                    <a:pt x="78" y="702"/>
                  </a:lnTo>
                  <a:lnTo>
                    <a:pt x="77" y="702"/>
                  </a:lnTo>
                  <a:lnTo>
                    <a:pt x="77" y="704"/>
                  </a:lnTo>
                  <a:lnTo>
                    <a:pt x="77" y="705"/>
                  </a:lnTo>
                  <a:lnTo>
                    <a:pt x="75" y="704"/>
                  </a:lnTo>
                  <a:lnTo>
                    <a:pt x="72" y="704"/>
                  </a:lnTo>
                  <a:lnTo>
                    <a:pt x="71" y="704"/>
                  </a:lnTo>
                  <a:lnTo>
                    <a:pt x="72" y="705"/>
                  </a:lnTo>
                  <a:lnTo>
                    <a:pt x="74" y="705"/>
                  </a:lnTo>
                  <a:lnTo>
                    <a:pt x="75" y="706"/>
                  </a:lnTo>
                  <a:lnTo>
                    <a:pt x="75" y="707"/>
                  </a:lnTo>
                  <a:lnTo>
                    <a:pt x="75" y="708"/>
                  </a:lnTo>
                  <a:lnTo>
                    <a:pt x="76" y="708"/>
                  </a:lnTo>
                  <a:lnTo>
                    <a:pt x="77" y="708"/>
                  </a:lnTo>
                  <a:lnTo>
                    <a:pt x="78" y="708"/>
                  </a:lnTo>
                  <a:lnTo>
                    <a:pt x="78" y="707"/>
                  </a:lnTo>
                  <a:lnTo>
                    <a:pt x="80" y="707"/>
                  </a:lnTo>
                  <a:lnTo>
                    <a:pt x="81" y="707"/>
                  </a:lnTo>
                  <a:lnTo>
                    <a:pt x="81" y="708"/>
                  </a:lnTo>
                  <a:lnTo>
                    <a:pt x="80" y="708"/>
                  </a:lnTo>
                  <a:lnTo>
                    <a:pt x="80" y="710"/>
                  </a:lnTo>
                  <a:lnTo>
                    <a:pt x="81" y="710"/>
                  </a:lnTo>
                  <a:lnTo>
                    <a:pt x="82" y="710"/>
                  </a:lnTo>
                  <a:lnTo>
                    <a:pt x="81" y="711"/>
                  </a:lnTo>
                  <a:lnTo>
                    <a:pt x="81" y="713"/>
                  </a:lnTo>
                  <a:lnTo>
                    <a:pt x="82" y="713"/>
                  </a:lnTo>
                  <a:lnTo>
                    <a:pt x="82" y="712"/>
                  </a:lnTo>
                  <a:lnTo>
                    <a:pt x="82" y="711"/>
                  </a:lnTo>
                  <a:lnTo>
                    <a:pt x="83" y="711"/>
                  </a:lnTo>
                  <a:lnTo>
                    <a:pt x="82" y="710"/>
                  </a:lnTo>
                  <a:lnTo>
                    <a:pt x="83" y="708"/>
                  </a:lnTo>
                  <a:lnTo>
                    <a:pt x="84" y="708"/>
                  </a:lnTo>
                  <a:lnTo>
                    <a:pt x="87" y="708"/>
                  </a:lnTo>
                  <a:lnTo>
                    <a:pt x="84" y="710"/>
                  </a:lnTo>
                  <a:lnTo>
                    <a:pt x="84" y="711"/>
                  </a:lnTo>
                  <a:lnTo>
                    <a:pt x="83" y="712"/>
                  </a:lnTo>
                  <a:lnTo>
                    <a:pt x="84" y="713"/>
                  </a:lnTo>
                  <a:lnTo>
                    <a:pt x="86" y="713"/>
                  </a:lnTo>
                  <a:lnTo>
                    <a:pt x="86" y="712"/>
                  </a:lnTo>
                  <a:lnTo>
                    <a:pt x="86" y="711"/>
                  </a:lnTo>
                  <a:lnTo>
                    <a:pt x="87" y="711"/>
                  </a:lnTo>
                  <a:lnTo>
                    <a:pt x="87" y="710"/>
                  </a:lnTo>
                  <a:lnTo>
                    <a:pt x="88" y="710"/>
                  </a:lnTo>
                  <a:lnTo>
                    <a:pt x="89" y="708"/>
                  </a:lnTo>
                  <a:lnTo>
                    <a:pt x="91" y="710"/>
                  </a:lnTo>
                  <a:lnTo>
                    <a:pt x="89" y="710"/>
                  </a:lnTo>
                  <a:lnTo>
                    <a:pt x="89" y="711"/>
                  </a:lnTo>
                  <a:lnTo>
                    <a:pt x="88" y="713"/>
                  </a:lnTo>
                  <a:lnTo>
                    <a:pt x="88" y="714"/>
                  </a:lnTo>
                  <a:lnTo>
                    <a:pt x="88" y="716"/>
                  </a:lnTo>
                  <a:lnTo>
                    <a:pt x="87" y="717"/>
                  </a:lnTo>
                  <a:lnTo>
                    <a:pt x="87" y="718"/>
                  </a:lnTo>
                  <a:lnTo>
                    <a:pt x="87" y="719"/>
                  </a:lnTo>
                  <a:lnTo>
                    <a:pt x="86" y="719"/>
                  </a:lnTo>
                  <a:lnTo>
                    <a:pt x="84" y="718"/>
                  </a:lnTo>
                  <a:lnTo>
                    <a:pt x="83" y="717"/>
                  </a:lnTo>
                  <a:lnTo>
                    <a:pt x="83" y="718"/>
                  </a:lnTo>
                  <a:lnTo>
                    <a:pt x="83" y="719"/>
                  </a:lnTo>
                  <a:lnTo>
                    <a:pt x="84" y="719"/>
                  </a:lnTo>
                  <a:lnTo>
                    <a:pt x="86" y="720"/>
                  </a:lnTo>
                  <a:lnTo>
                    <a:pt x="84" y="720"/>
                  </a:lnTo>
                  <a:lnTo>
                    <a:pt x="84" y="722"/>
                  </a:lnTo>
                  <a:lnTo>
                    <a:pt x="82" y="722"/>
                  </a:lnTo>
                  <a:lnTo>
                    <a:pt x="80" y="723"/>
                  </a:lnTo>
                  <a:lnTo>
                    <a:pt x="77" y="723"/>
                  </a:lnTo>
                  <a:lnTo>
                    <a:pt x="76" y="724"/>
                  </a:lnTo>
                  <a:lnTo>
                    <a:pt x="77" y="725"/>
                  </a:lnTo>
                  <a:lnTo>
                    <a:pt x="78" y="725"/>
                  </a:lnTo>
                  <a:lnTo>
                    <a:pt x="80" y="725"/>
                  </a:lnTo>
                  <a:lnTo>
                    <a:pt x="81" y="725"/>
                  </a:lnTo>
                  <a:lnTo>
                    <a:pt x="82" y="724"/>
                  </a:lnTo>
                  <a:lnTo>
                    <a:pt x="84" y="724"/>
                  </a:lnTo>
                  <a:lnTo>
                    <a:pt x="84" y="725"/>
                  </a:lnTo>
                  <a:lnTo>
                    <a:pt x="83" y="725"/>
                  </a:lnTo>
                  <a:lnTo>
                    <a:pt x="82" y="725"/>
                  </a:lnTo>
                  <a:lnTo>
                    <a:pt x="81" y="728"/>
                  </a:lnTo>
                  <a:lnTo>
                    <a:pt x="80" y="729"/>
                  </a:lnTo>
                  <a:lnTo>
                    <a:pt x="81" y="729"/>
                  </a:lnTo>
                  <a:lnTo>
                    <a:pt x="82" y="729"/>
                  </a:lnTo>
                  <a:lnTo>
                    <a:pt x="83" y="728"/>
                  </a:lnTo>
                  <a:lnTo>
                    <a:pt x="83" y="729"/>
                  </a:lnTo>
                  <a:lnTo>
                    <a:pt x="83" y="731"/>
                  </a:lnTo>
                  <a:lnTo>
                    <a:pt x="83" y="734"/>
                  </a:lnTo>
                  <a:lnTo>
                    <a:pt x="84" y="732"/>
                  </a:lnTo>
                  <a:lnTo>
                    <a:pt x="86" y="731"/>
                  </a:lnTo>
                  <a:lnTo>
                    <a:pt x="86" y="730"/>
                  </a:lnTo>
                  <a:lnTo>
                    <a:pt x="86" y="729"/>
                  </a:lnTo>
                  <a:lnTo>
                    <a:pt x="87" y="728"/>
                  </a:lnTo>
                  <a:lnTo>
                    <a:pt x="87" y="726"/>
                  </a:lnTo>
                  <a:lnTo>
                    <a:pt x="88" y="726"/>
                  </a:lnTo>
                  <a:lnTo>
                    <a:pt x="88" y="728"/>
                  </a:lnTo>
                  <a:lnTo>
                    <a:pt x="88" y="729"/>
                  </a:lnTo>
                  <a:lnTo>
                    <a:pt x="88" y="731"/>
                  </a:lnTo>
                  <a:lnTo>
                    <a:pt x="88" y="730"/>
                  </a:lnTo>
                  <a:lnTo>
                    <a:pt x="89" y="730"/>
                  </a:lnTo>
                  <a:lnTo>
                    <a:pt x="91" y="730"/>
                  </a:lnTo>
                  <a:lnTo>
                    <a:pt x="91" y="731"/>
                  </a:lnTo>
                  <a:lnTo>
                    <a:pt x="91" y="741"/>
                  </a:lnTo>
                  <a:lnTo>
                    <a:pt x="91" y="742"/>
                  </a:lnTo>
                  <a:lnTo>
                    <a:pt x="92" y="743"/>
                  </a:lnTo>
                  <a:lnTo>
                    <a:pt x="93" y="742"/>
                  </a:lnTo>
                  <a:lnTo>
                    <a:pt x="93" y="740"/>
                  </a:lnTo>
                  <a:lnTo>
                    <a:pt x="93" y="737"/>
                  </a:lnTo>
                  <a:lnTo>
                    <a:pt x="94" y="737"/>
                  </a:lnTo>
                  <a:lnTo>
                    <a:pt x="94" y="740"/>
                  </a:lnTo>
                  <a:lnTo>
                    <a:pt x="94" y="741"/>
                  </a:lnTo>
                  <a:lnTo>
                    <a:pt x="95" y="740"/>
                  </a:lnTo>
                  <a:lnTo>
                    <a:pt x="95" y="738"/>
                  </a:lnTo>
                  <a:lnTo>
                    <a:pt x="97" y="737"/>
                  </a:lnTo>
                  <a:lnTo>
                    <a:pt x="97" y="736"/>
                  </a:lnTo>
                  <a:lnTo>
                    <a:pt x="98" y="735"/>
                  </a:lnTo>
                  <a:lnTo>
                    <a:pt x="98" y="734"/>
                  </a:lnTo>
                  <a:lnTo>
                    <a:pt x="99" y="734"/>
                  </a:lnTo>
                  <a:lnTo>
                    <a:pt x="100" y="735"/>
                  </a:lnTo>
                  <a:lnTo>
                    <a:pt x="101" y="735"/>
                  </a:lnTo>
                  <a:lnTo>
                    <a:pt x="103" y="734"/>
                  </a:lnTo>
                  <a:lnTo>
                    <a:pt x="104" y="734"/>
                  </a:lnTo>
                  <a:lnTo>
                    <a:pt x="104" y="737"/>
                  </a:lnTo>
                  <a:lnTo>
                    <a:pt x="105" y="738"/>
                  </a:lnTo>
                  <a:lnTo>
                    <a:pt x="105" y="740"/>
                  </a:lnTo>
                  <a:lnTo>
                    <a:pt x="104" y="741"/>
                  </a:lnTo>
                  <a:lnTo>
                    <a:pt x="104" y="742"/>
                  </a:lnTo>
                  <a:lnTo>
                    <a:pt x="104" y="743"/>
                  </a:lnTo>
                  <a:lnTo>
                    <a:pt x="103" y="745"/>
                  </a:lnTo>
                  <a:lnTo>
                    <a:pt x="103" y="746"/>
                  </a:lnTo>
                  <a:lnTo>
                    <a:pt x="103" y="747"/>
                  </a:lnTo>
                  <a:lnTo>
                    <a:pt x="104" y="747"/>
                  </a:lnTo>
                  <a:lnTo>
                    <a:pt x="104" y="746"/>
                  </a:lnTo>
                  <a:lnTo>
                    <a:pt x="105" y="746"/>
                  </a:lnTo>
                  <a:lnTo>
                    <a:pt x="105" y="745"/>
                  </a:lnTo>
                  <a:lnTo>
                    <a:pt x="105" y="743"/>
                  </a:lnTo>
                  <a:lnTo>
                    <a:pt x="106" y="743"/>
                  </a:lnTo>
                  <a:lnTo>
                    <a:pt x="106" y="746"/>
                  </a:lnTo>
                  <a:lnTo>
                    <a:pt x="106" y="747"/>
                  </a:lnTo>
                  <a:lnTo>
                    <a:pt x="107" y="747"/>
                  </a:lnTo>
                  <a:lnTo>
                    <a:pt x="109" y="745"/>
                  </a:lnTo>
                  <a:lnTo>
                    <a:pt x="109" y="743"/>
                  </a:lnTo>
                  <a:lnTo>
                    <a:pt x="110" y="742"/>
                  </a:lnTo>
                  <a:lnTo>
                    <a:pt x="110" y="743"/>
                  </a:lnTo>
                  <a:lnTo>
                    <a:pt x="111" y="742"/>
                  </a:lnTo>
                  <a:lnTo>
                    <a:pt x="111" y="740"/>
                  </a:lnTo>
                  <a:lnTo>
                    <a:pt x="112" y="738"/>
                  </a:lnTo>
                  <a:lnTo>
                    <a:pt x="112" y="740"/>
                  </a:lnTo>
                  <a:lnTo>
                    <a:pt x="112" y="741"/>
                  </a:lnTo>
                  <a:lnTo>
                    <a:pt x="113" y="741"/>
                  </a:lnTo>
                  <a:lnTo>
                    <a:pt x="115" y="740"/>
                  </a:lnTo>
                  <a:lnTo>
                    <a:pt x="115" y="741"/>
                  </a:lnTo>
                  <a:lnTo>
                    <a:pt x="115" y="742"/>
                  </a:lnTo>
                  <a:lnTo>
                    <a:pt x="116" y="743"/>
                  </a:lnTo>
                  <a:lnTo>
                    <a:pt x="117" y="743"/>
                  </a:lnTo>
                  <a:lnTo>
                    <a:pt x="117" y="745"/>
                  </a:lnTo>
                  <a:lnTo>
                    <a:pt x="117" y="746"/>
                  </a:lnTo>
                  <a:lnTo>
                    <a:pt x="119" y="746"/>
                  </a:lnTo>
                  <a:lnTo>
                    <a:pt x="119" y="745"/>
                  </a:lnTo>
                  <a:lnTo>
                    <a:pt x="119" y="741"/>
                  </a:lnTo>
                  <a:lnTo>
                    <a:pt x="121" y="741"/>
                  </a:lnTo>
                  <a:lnTo>
                    <a:pt x="122" y="742"/>
                  </a:lnTo>
                  <a:lnTo>
                    <a:pt x="123" y="742"/>
                  </a:lnTo>
                  <a:lnTo>
                    <a:pt x="123" y="743"/>
                  </a:lnTo>
                  <a:lnTo>
                    <a:pt x="123" y="745"/>
                  </a:lnTo>
                  <a:lnTo>
                    <a:pt x="122" y="747"/>
                  </a:lnTo>
                  <a:lnTo>
                    <a:pt x="121" y="748"/>
                  </a:lnTo>
                  <a:lnTo>
                    <a:pt x="121" y="749"/>
                  </a:lnTo>
                  <a:lnTo>
                    <a:pt x="121" y="751"/>
                  </a:lnTo>
                  <a:lnTo>
                    <a:pt x="122" y="749"/>
                  </a:lnTo>
                  <a:lnTo>
                    <a:pt x="123" y="748"/>
                  </a:lnTo>
                  <a:lnTo>
                    <a:pt x="124" y="748"/>
                  </a:lnTo>
                  <a:lnTo>
                    <a:pt x="125" y="748"/>
                  </a:lnTo>
                  <a:lnTo>
                    <a:pt x="127" y="749"/>
                  </a:lnTo>
                  <a:lnTo>
                    <a:pt x="128" y="752"/>
                  </a:lnTo>
                  <a:lnTo>
                    <a:pt x="129" y="753"/>
                  </a:lnTo>
                  <a:lnTo>
                    <a:pt x="130" y="754"/>
                  </a:lnTo>
                  <a:lnTo>
                    <a:pt x="129" y="757"/>
                  </a:lnTo>
                  <a:lnTo>
                    <a:pt x="128" y="758"/>
                  </a:lnTo>
                  <a:lnTo>
                    <a:pt x="127" y="758"/>
                  </a:lnTo>
                  <a:lnTo>
                    <a:pt x="125" y="759"/>
                  </a:lnTo>
                  <a:lnTo>
                    <a:pt x="124" y="759"/>
                  </a:lnTo>
                  <a:lnTo>
                    <a:pt x="123" y="758"/>
                  </a:lnTo>
                  <a:lnTo>
                    <a:pt x="122" y="759"/>
                  </a:lnTo>
                  <a:lnTo>
                    <a:pt x="119" y="759"/>
                  </a:lnTo>
                  <a:lnTo>
                    <a:pt x="118" y="759"/>
                  </a:lnTo>
                  <a:lnTo>
                    <a:pt x="116" y="758"/>
                  </a:lnTo>
                  <a:lnTo>
                    <a:pt x="116" y="757"/>
                  </a:lnTo>
                  <a:lnTo>
                    <a:pt x="115" y="757"/>
                  </a:lnTo>
                  <a:lnTo>
                    <a:pt x="113" y="757"/>
                  </a:lnTo>
                  <a:lnTo>
                    <a:pt x="112" y="757"/>
                  </a:lnTo>
                  <a:lnTo>
                    <a:pt x="111" y="757"/>
                  </a:lnTo>
                  <a:lnTo>
                    <a:pt x="107" y="757"/>
                  </a:lnTo>
                  <a:lnTo>
                    <a:pt x="105" y="755"/>
                  </a:lnTo>
                  <a:lnTo>
                    <a:pt x="104" y="755"/>
                  </a:lnTo>
                  <a:lnTo>
                    <a:pt x="104" y="757"/>
                  </a:lnTo>
                  <a:lnTo>
                    <a:pt x="105" y="757"/>
                  </a:lnTo>
                  <a:lnTo>
                    <a:pt x="106" y="758"/>
                  </a:lnTo>
                  <a:lnTo>
                    <a:pt x="107" y="758"/>
                  </a:lnTo>
                  <a:lnTo>
                    <a:pt x="109" y="759"/>
                  </a:lnTo>
                  <a:lnTo>
                    <a:pt x="107" y="761"/>
                  </a:lnTo>
                  <a:lnTo>
                    <a:pt x="107" y="763"/>
                  </a:lnTo>
                  <a:lnTo>
                    <a:pt x="109" y="763"/>
                  </a:lnTo>
                  <a:lnTo>
                    <a:pt x="109" y="761"/>
                  </a:lnTo>
                  <a:lnTo>
                    <a:pt x="110" y="761"/>
                  </a:lnTo>
                  <a:lnTo>
                    <a:pt x="111" y="760"/>
                  </a:lnTo>
                  <a:lnTo>
                    <a:pt x="112" y="760"/>
                  </a:lnTo>
                  <a:lnTo>
                    <a:pt x="113" y="760"/>
                  </a:lnTo>
                  <a:lnTo>
                    <a:pt x="116" y="760"/>
                  </a:lnTo>
                  <a:lnTo>
                    <a:pt x="116" y="761"/>
                  </a:lnTo>
                  <a:lnTo>
                    <a:pt x="115" y="763"/>
                  </a:lnTo>
                  <a:lnTo>
                    <a:pt x="115" y="764"/>
                  </a:lnTo>
                  <a:lnTo>
                    <a:pt x="115" y="765"/>
                  </a:lnTo>
                  <a:lnTo>
                    <a:pt x="115" y="766"/>
                  </a:lnTo>
                  <a:lnTo>
                    <a:pt x="116" y="765"/>
                  </a:lnTo>
                  <a:lnTo>
                    <a:pt x="117" y="764"/>
                  </a:lnTo>
                  <a:lnTo>
                    <a:pt x="117" y="761"/>
                  </a:lnTo>
                  <a:lnTo>
                    <a:pt x="118" y="761"/>
                  </a:lnTo>
                  <a:lnTo>
                    <a:pt x="118" y="760"/>
                  </a:lnTo>
                  <a:lnTo>
                    <a:pt x="121" y="760"/>
                  </a:lnTo>
                  <a:lnTo>
                    <a:pt x="122" y="760"/>
                  </a:lnTo>
                  <a:lnTo>
                    <a:pt x="121" y="763"/>
                  </a:lnTo>
                  <a:lnTo>
                    <a:pt x="119" y="765"/>
                  </a:lnTo>
                  <a:lnTo>
                    <a:pt x="119" y="767"/>
                  </a:lnTo>
                  <a:lnTo>
                    <a:pt x="119" y="770"/>
                  </a:lnTo>
                  <a:lnTo>
                    <a:pt x="121" y="771"/>
                  </a:lnTo>
                  <a:lnTo>
                    <a:pt x="119" y="772"/>
                  </a:lnTo>
                  <a:lnTo>
                    <a:pt x="119" y="773"/>
                  </a:lnTo>
                  <a:lnTo>
                    <a:pt x="119" y="775"/>
                  </a:lnTo>
                  <a:lnTo>
                    <a:pt x="121" y="776"/>
                  </a:lnTo>
                  <a:lnTo>
                    <a:pt x="121" y="777"/>
                  </a:lnTo>
                  <a:lnTo>
                    <a:pt x="122" y="778"/>
                  </a:lnTo>
                  <a:lnTo>
                    <a:pt x="123" y="777"/>
                  </a:lnTo>
                  <a:lnTo>
                    <a:pt x="124" y="776"/>
                  </a:lnTo>
                  <a:lnTo>
                    <a:pt x="124" y="773"/>
                  </a:lnTo>
                  <a:lnTo>
                    <a:pt x="124" y="771"/>
                  </a:lnTo>
                  <a:lnTo>
                    <a:pt x="124" y="767"/>
                  </a:lnTo>
                  <a:lnTo>
                    <a:pt x="124" y="766"/>
                  </a:lnTo>
                  <a:lnTo>
                    <a:pt x="125" y="765"/>
                  </a:lnTo>
                  <a:lnTo>
                    <a:pt x="125" y="764"/>
                  </a:lnTo>
                  <a:lnTo>
                    <a:pt x="127" y="761"/>
                  </a:lnTo>
                  <a:lnTo>
                    <a:pt x="127" y="760"/>
                  </a:lnTo>
                  <a:lnTo>
                    <a:pt x="127" y="761"/>
                  </a:lnTo>
                  <a:lnTo>
                    <a:pt x="127" y="764"/>
                  </a:lnTo>
                  <a:lnTo>
                    <a:pt x="125" y="765"/>
                  </a:lnTo>
                  <a:lnTo>
                    <a:pt x="128" y="764"/>
                  </a:lnTo>
                  <a:lnTo>
                    <a:pt x="128" y="763"/>
                  </a:lnTo>
                  <a:lnTo>
                    <a:pt x="128" y="764"/>
                  </a:lnTo>
                  <a:lnTo>
                    <a:pt x="129" y="766"/>
                  </a:lnTo>
                  <a:lnTo>
                    <a:pt x="128" y="769"/>
                  </a:lnTo>
                  <a:lnTo>
                    <a:pt x="128" y="771"/>
                  </a:lnTo>
                  <a:lnTo>
                    <a:pt x="128" y="772"/>
                  </a:lnTo>
                  <a:lnTo>
                    <a:pt x="128" y="773"/>
                  </a:lnTo>
                  <a:lnTo>
                    <a:pt x="128" y="776"/>
                  </a:lnTo>
                  <a:lnTo>
                    <a:pt x="129" y="777"/>
                  </a:lnTo>
                  <a:lnTo>
                    <a:pt x="130" y="777"/>
                  </a:lnTo>
                  <a:lnTo>
                    <a:pt x="130" y="775"/>
                  </a:lnTo>
                  <a:lnTo>
                    <a:pt x="130" y="771"/>
                  </a:lnTo>
                  <a:lnTo>
                    <a:pt x="130" y="767"/>
                  </a:lnTo>
                  <a:lnTo>
                    <a:pt x="130" y="765"/>
                  </a:lnTo>
                  <a:lnTo>
                    <a:pt x="130" y="763"/>
                  </a:lnTo>
                  <a:lnTo>
                    <a:pt x="131" y="761"/>
                  </a:lnTo>
                  <a:lnTo>
                    <a:pt x="133" y="760"/>
                  </a:lnTo>
                  <a:lnTo>
                    <a:pt x="131" y="763"/>
                  </a:lnTo>
                  <a:lnTo>
                    <a:pt x="131" y="765"/>
                  </a:lnTo>
                  <a:lnTo>
                    <a:pt x="131" y="767"/>
                  </a:lnTo>
                  <a:lnTo>
                    <a:pt x="131" y="770"/>
                  </a:lnTo>
                  <a:lnTo>
                    <a:pt x="131" y="771"/>
                  </a:lnTo>
                  <a:lnTo>
                    <a:pt x="133" y="772"/>
                  </a:lnTo>
                  <a:lnTo>
                    <a:pt x="134" y="771"/>
                  </a:lnTo>
                  <a:lnTo>
                    <a:pt x="134" y="773"/>
                  </a:lnTo>
                  <a:lnTo>
                    <a:pt x="134" y="775"/>
                  </a:lnTo>
                  <a:lnTo>
                    <a:pt x="134" y="777"/>
                  </a:lnTo>
                  <a:lnTo>
                    <a:pt x="134" y="779"/>
                  </a:lnTo>
                  <a:lnTo>
                    <a:pt x="134" y="781"/>
                  </a:lnTo>
                  <a:lnTo>
                    <a:pt x="135" y="781"/>
                  </a:lnTo>
                  <a:lnTo>
                    <a:pt x="135" y="779"/>
                  </a:lnTo>
                  <a:lnTo>
                    <a:pt x="136" y="777"/>
                  </a:lnTo>
                  <a:lnTo>
                    <a:pt x="136" y="776"/>
                  </a:lnTo>
                  <a:lnTo>
                    <a:pt x="137" y="776"/>
                  </a:lnTo>
                  <a:lnTo>
                    <a:pt x="137" y="775"/>
                  </a:lnTo>
                  <a:lnTo>
                    <a:pt x="139" y="775"/>
                  </a:lnTo>
                  <a:lnTo>
                    <a:pt x="139" y="776"/>
                  </a:lnTo>
                  <a:lnTo>
                    <a:pt x="139" y="777"/>
                  </a:lnTo>
                  <a:lnTo>
                    <a:pt x="137" y="778"/>
                  </a:lnTo>
                  <a:lnTo>
                    <a:pt x="139" y="779"/>
                  </a:lnTo>
                  <a:lnTo>
                    <a:pt x="139" y="781"/>
                  </a:lnTo>
                  <a:lnTo>
                    <a:pt x="140" y="782"/>
                  </a:lnTo>
                  <a:lnTo>
                    <a:pt x="140" y="781"/>
                  </a:lnTo>
                  <a:lnTo>
                    <a:pt x="141" y="778"/>
                  </a:lnTo>
                  <a:lnTo>
                    <a:pt x="141" y="776"/>
                  </a:lnTo>
                  <a:lnTo>
                    <a:pt x="141" y="775"/>
                  </a:lnTo>
                  <a:lnTo>
                    <a:pt x="142" y="775"/>
                  </a:lnTo>
                  <a:lnTo>
                    <a:pt x="142" y="773"/>
                  </a:lnTo>
                  <a:lnTo>
                    <a:pt x="143" y="773"/>
                  </a:lnTo>
                  <a:lnTo>
                    <a:pt x="145" y="773"/>
                  </a:lnTo>
                  <a:lnTo>
                    <a:pt x="145" y="772"/>
                  </a:lnTo>
                  <a:lnTo>
                    <a:pt x="146" y="773"/>
                  </a:lnTo>
                  <a:lnTo>
                    <a:pt x="145" y="777"/>
                  </a:lnTo>
                  <a:lnTo>
                    <a:pt x="145" y="779"/>
                  </a:lnTo>
                  <a:lnTo>
                    <a:pt x="146" y="781"/>
                  </a:lnTo>
                  <a:lnTo>
                    <a:pt x="147" y="781"/>
                  </a:lnTo>
                  <a:lnTo>
                    <a:pt x="147" y="779"/>
                  </a:lnTo>
                  <a:lnTo>
                    <a:pt x="147" y="777"/>
                  </a:lnTo>
                  <a:lnTo>
                    <a:pt x="148" y="776"/>
                  </a:lnTo>
                  <a:lnTo>
                    <a:pt x="148" y="777"/>
                  </a:lnTo>
                  <a:lnTo>
                    <a:pt x="150" y="778"/>
                  </a:lnTo>
                  <a:lnTo>
                    <a:pt x="151" y="779"/>
                  </a:lnTo>
                  <a:lnTo>
                    <a:pt x="151" y="781"/>
                  </a:lnTo>
                  <a:lnTo>
                    <a:pt x="151" y="782"/>
                  </a:lnTo>
                  <a:lnTo>
                    <a:pt x="151" y="783"/>
                  </a:lnTo>
                  <a:lnTo>
                    <a:pt x="150" y="784"/>
                  </a:lnTo>
                  <a:lnTo>
                    <a:pt x="148" y="787"/>
                  </a:lnTo>
                  <a:lnTo>
                    <a:pt x="148" y="788"/>
                  </a:lnTo>
                  <a:lnTo>
                    <a:pt x="148" y="789"/>
                  </a:lnTo>
                  <a:lnTo>
                    <a:pt x="148" y="790"/>
                  </a:lnTo>
                  <a:lnTo>
                    <a:pt x="148" y="791"/>
                  </a:lnTo>
                  <a:lnTo>
                    <a:pt x="150" y="793"/>
                  </a:lnTo>
                  <a:lnTo>
                    <a:pt x="150" y="794"/>
                  </a:lnTo>
                  <a:lnTo>
                    <a:pt x="152" y="794"/>
                  </a:lnTo>
                  <a:lnTo>
                    <a:pt x="151" y="791"/>
                  </a:lnTo>
                  <a:lnTo>
                    <a:pt x="152" y="789"/>
                  </a:lnTo>
                  <a:lnTo>
                    <a:pt x="152" y="787"/>
                  </a:lnTo>
                  <a:lnTo>
                    <a:pt x="153" y="784"/>
                  </a:lnTo>
                  <a:lnTo>
                    <a:pt x="154" y="783"/>
                  </a:lnTo>
                  <a:lnTo>
                    <a:pt x="157" y="783"/>
                  </a:lnTo>
                  <a:lnTo>
                    <a:pt x="157" y="784"/>
                  </a:lnTo>
                  <a:lnTo>
                    <a:pt x="157" y="787"/>
                  </a:lnTo>
                  <a:lnTo>
                    <a:pt x="157" y="788"/>
                  </a:lnTo>
                  <a:lnTo>
                    <a:pt x="157" y="790"/>
                  </a:lnTo>
                  <a:lnTo>
                    <a:pt x="158" y="793"/>
                  </a:lnTo>
                  <a:lnTo>
                    <a:pt x="159" y="794"/>
                  </a:lnTo>
                  <a:lnTo>
                    <a:pt x="159" y="793"/>
                  </a:lnTo>
                  <a:lnTo>
                    <a:pt x="159" y="790"/>
                  </a:lnTo>
                  <a:lnTo>
                    <a:pt x="159" y="788"/>
                  </a:lnTo>
                  <a:lnTo>
                    <a:pt x="159" y="787"/>
                  </a:lnTo>
                  <a:lnTo>
                    <a:pt x="162" y="788"/>
                  </a:lnTo>
                  <a:lnTo>
                    <a:pt x="162" y="785"/>
                  </a:lnTo>
                  <a:lnTo>
                    <a:pt x="163" y="784"/>
                  </a:lnTo>
                  <a:lnTo>
                    <a:pt x="164" y="783"/>
                  </a:lnTo>
                  <a:lnTo>
                    <a:pt x="164" y="781"/>
                  </a:lnTo>
                  <a:lnTo>
                    <a:pt x="164" y="778"/>
                  </a:lnTo>
                  <a:lnTo>
                    <a:pt x="165" y="775"/>
                  </a:lnTo>
                  <a:lnTo>
                    <a:pt x="166" y="775"/>
                  </a:lnTo>
                  <a:lnTo>
                    <a:pt x="166" y="776"/>
                  </a:lnTo>
                  <a:lnTo>
                    <a:pt x="166" y="778"/>
                  </a:lnTo>
                  <a:lnTo>
                    <a:pt x="165" y="782"/>
                  </a:lnTo>
                  <a:lnTo>
                    <a:pt x="164" y="784"/>
                  </a:lnTo>
                  <a:lnTo>
                    <a:pt x="164" y="785"/>
                  </a:lnTo>
                  <a:lnTo>
                    <a:pt x="165" y="785"/>
                  </a:lnTo>
                  <a:lnTo>
                    <a:pt x="166" y="783"/>
                  </a:lnTo>
                  <a:lnTo>
                    <a:pt x="166" y="782"/>
                  </a:lnTo>
                  <a:lnTo>
                    <a:pt x="166" y="785"/>
                  </a:lnTo>
                  <a:lnTo>
                    <a:pt x="166" y="787"/>
                  </a:lnTo>
                  <a:lnTo>
                    <a:pt x="166" y="789"/>
                  </a:lnTo>
                  <a:lnTo>
                    <a:pt x="166" y="791"/>
                  </a:lnTo>
                  <a:lnTo>
                    <a:pt x="165" y="793"/>
                  </a:lnTo>
                  <a:lnTo>
                    <a:pt x="165" y="794"/>
                  </a:lnTo>
                  <a:lnTo>
                    <a:pt x="165" y="795"/>
                  </a:lnTo>
                  <a:lnTo>
                    <a:pt x="165" y="796"/>
                  </a:lnTo>
                  <a:lnTo>
                    <a:pt x="166" y="797"/>
                  </a:lnTo>
                  <a:lnTo>
                    <a:pt x="166" y="796"/>
                  </a:lnTo>
                  <a:lnTo>
                    <a:pt x="166" y="795"/>
                  </a:lnTo>
                  <a:lnTo>
                    <a:pt x="168" y="794"/>
                  </a:lnTo>
                  <a:lnTo>
                    <a:pt x="169" y="794"/>
                  </a:lnTo>
                  <a:lnTo>
                    <a:pt x="169" y="795"/>
                  </a:lnTo>
                  <a:lnTo>
                    <a:pt x="170" y="796"/>
                  </a:lnTo>
                  <a:lnTo>
                    <a:pt x="170" y="797"/>
                  </a:lnTo>
                  <a:lnTo>
                    <a:pt x="171" y="799"/>
                  </a:lnTo>
                  <a:lnTo>
                    <a:pt x="172" y="799"/>
                  </a:lnTo>
                  <a:lnTo>
                    <a:pt x="172" y="796"/>
                  </a:lnTo>
                  <a:lnTo>
                    <a:pt x="174" y="795"/>
                  </a:lnTo>
                  <a:lnTo>
                    <a:pt x="174" y="794"/>
                  </a:lnTo>
                  <a:lnTo>
                    <a:pt x="174" y="793"/>
                  </a:lnTo>
                  <a:lnTo>
                    <a:pt x="175" y="791"/>
                  </a:lnTo>
                  <a:lnTo>
                    <a:pt x="176" y="793"/>
                  </a:lnTo>
                  <a:lnTo>
                    <a:pt x="176" y="795"/>
                  </a:lnTo>
                  <a:lnTo>
                    <a:pt x="176" y="801"/>
                  </a:lnTo>
                  <a:lnTo>
                    <a:pt x="177" y="800"/>
                  </a:lnTo>
                  <a:lnTo>
                    <a:pt x="177" y="799"/>
                  </a:lnTo>
                  <a:lnTo>
                    <a:pt x="177" y="795"/>
                  </a:lnTo>
                  <a:lnTo>
                    <a:pt x="178" y="794"/>
                  </a:lnTo>
                  <a:lnTo>
                    <a:pt x="178" y="793"/>
                  </a:lnTo>
                  <a:lnTo>
                    <a:pt x="178" y="790"/>
                  </a:lnTo>
                  <a:lnTo>
                    <a:pt x="180" y="791"/>
                  </a:lnTo>
                  <a:lnTo>
                    <a:pt x="180" y="793"/>
                  </a:lnTo>
                  <a:lnTo>
                    <a:pt x="181" y="793"/>
                  </a:lnTo>
                  <a:lnTo>
                    <a:pt x="181" y="790"/>
                  </a:lnTo>
                  <a:lnTo>
                    <a:pt x="182" y="789"/>
                  </a:lnTo>
                  <a:lnTo>
                    <a:pt x="181" y="787"/>
                  </a:lnTo>
                  <a:lnTo>
                    <a:pt x="182" y="785"/>
                  </a:lnTo>
                  <a:lnTo>
                    <a:pt x="183" y="788"/>
                  </a:lnTo>
                  <a:lnTo>
                    <a:pt x="184" y="788"/>
                  </a:lnTo>
                  <a:lnTo>
                    <a:pt x="184" y="789"/>
                  </a:lnTo>
                  <a:lnTo>
                    <a:pt x="184" y="790"/>
                  </a:lnTo>
                  <a:lnTo>
                    <a:pt x="183" y="791"/>
                  </a:lnTo>
                  <a:lnTo>
                    <a:pt x="182" y="794"/>
                  </a:lnTo>
                  <a:lnTo>
                    <a:pt x="183" y="794"/>
                  </a:lnTo>
                  <a:lnTo>
                    <a:pt x="184" y="793"/>
                  </a:lnTo>
                  <a:lnTo>
                    <a:pt x="184" y="791"/>
                  </a:lnTo>
                  <a:lnTo>
                    <a:pt x="184" y="794"/>
                  </a:lnTo>
                  <a:lnTo>
                    <a:pt x="184" y="796"/>
                  </a:lnTo>
                  <a:lnTo>
                    <a:pt x="186" y="796"/>
                  </a:lnTo>
                  <a:lnTo>
                    <a:pt x="186" y="793"/>
                  </a:lnTo>
                  <a:lnTo>
                    <a:pt x="187" y="790"/>
                  </a:lnTo>
                  <a:lnTo>
                    <a:pt x="188" y="790"/>
                  </a:lnTo>
                  <a:lnTo>
                    <a:pt x="188" y="789"/>
                  </a:lnTo>
                  <a:lnTo>
                    <a:pt x="187" y="788"/>
                  </a:lnTo>
                  <a:lnTo>
                    <a:pt x="187" y="785"/>
                  </a:lnTo>
                  <a:lnTo>
                    <a:pt x="187" y="784"/>
                  </a:lnTo>
                  <a:lnTo>
                    <a:pt x="189" y="783"/>
                  </a:lnTo>
                  <a:lnTo>
                    <a:pt x="188" y="785"/>
                  </a:lnTo>
                  <a:lnTo>
                    <a:pt x="187" y="787"/>
                  </a:lnTo>
                  <a:lnTo>
                    <a:pt x="188" y="788"/>
                  </a:lnTo>
                  <a:lnTo>
                    <a:pt x="188" y="787"/>
                  </a:lnTo>
                  <a:lnTo>
                    <a:pt x="188" y="788"/>
                  </a:lnTo>
                  <a:lnTo>
                    <a:pt x="188" y="790"/>
                  </a:lnTo>
                  <a:lnTo>
                    <a:pt x="188" y="791"/>
                  </a:lnTo>
                  <a:lnTo>
                    <a:pt x="188" y="793"/>
                  </a:lnTo>
                  <a:lnTo>
                    <a:pt x="189" y="794"/>
                  </a:lnTo>
                  <a:lnTo>
                    <a:pt x="190" y="794"/>
                  </a:lnTo>
                  <a:lnTo>
                    <a:pt x="190" y="791"/>
                  </a:lnTo>
                  <a:lnTo>
                    <a:pt x="190" y="790"/>
                  </a:lnTo>
                  <a:lnTo>
                    <a:pt x="189" y="789"/>
                  </a:lnTo>
                  <a:lnTo>
                    <a:pt x="189" y="788"/>
                  </a:lnTo>
                  <a:lnTo>
                    <a:pt x="190" y="787"/>
                  </a:lnTo>
                  <a:lnTo>
                    <a:pt x="190" y="785"/>
                  </a:lnTo>
                  <a:lnTo>
                    <a:pt x="192" y="784"/>
                  </a:lnTo>
                  <a:lnTo>
                    <a:pt x="192" y="783"/>
                  </a:lnTo>
                  <a:lnTo>
                    <a:pt x="192" y="781"/>
                  </a:lnTo>
                  <a:lnTo>
                    <a:pt x="192" y="779"/>
                  </a:lnTo>
                  <a:lnTo>
                    <a:pt x="193" y="778"/>
                  </a:lnTo>
                  <a:lnTo>
                    <a:pt x="193" y="777"/>
                  </a:lnTo>
                  <a:lnTo>
                    <a:pt x="194" y="776"/>
                  </a:lnTo>
                  <a:lnTo>
                    <a:pt x="194" y="775"/>
                  </a:lnTo>
                  <a:lnTo>
                    <a:pt x="195" y="775"/>
                  </a:lnTo>
                  <a:lnTo>
                    <a:pt x="195" y="776"/>
                  </a:lnTo>
                  <a:lnTo>
                    <a:pt x="194" y="778"/>
                  </a:lnTo>
                  <a:lnTo>
                    <a:pt x="193" y="779"/>
                  </a:lnTo>
                  <a:lnTo>
                    <a:pt x="193" y="781"/>
                  </a:lnTo>
                  <a:lnTo>
                    <a:pt x="194" y="781"/>
                  </a:lnTo>
                  <a:lnTo>
                    <a:pt x="193" y="782"/>
                  </a:lnTo>
                  <a:lnTo>
                    <a:pt x="193" y="783"/>
                  </a:lnTo>
                  <a:lnTo>
                    <a:pt x="194" y="783"/>
                  </a:lnTo>
                  <a:lnTo>
                    <a:pt x="194" y="784"/>
                  </a:lnTo>
                  <a:lnTo>
                    <a:pt x="193" y="785"/>
                  </a:lnTo>
                  <a:lnTo>
                    <a:pt x="192" y="785"/>
                  </a:lnTo>
                  <a:lnTo>
                    <a:pt x="192" y="787"/>
                  </a:lnTo>
                  <a:lnTo>
                    <a:pt x="192" y="788"/>
                  </a:lnTo>
                  <a:lnTo>
                    <a:pt x="190" y="788"/>
                  </a:lnTo>
                  <a:lnTo>
                    <a:pt x="189" y="789"/>
                  </a:lnTo>
                  <a:lnTo>
                    <a:pt x="190" y="789"/>
                  </a:lnTo>
                  <a:lnTo>
                    <a:pt x="190" y="790"/>
                  </a:lnTo>
                  <a:lnTo>
                    <a:pt x="193" y="790"/>
                  </a:lnTo>
                  <a:lnTo>
                    <a:pt x="193" y="788"/>
                  </a:lnTo>
                  <a:lnTo>
                    <a:pt x="194" y="787"/>
                  </a:lnTo>
                  <a:lnTo>
                    <a:pt x="194" y="785"/>
                  </a:lnTo>
                  <a:lnTo>
                    <a:pt x="195" y="787"/>
                  </a:lnTo>
                  <a:lnTo>
                    <a:pt x="196" y="788"/>
                  </a:lnTo>
                  <a:lnTo>
                    <a:pt x="195" y="789"/>
                  </a:lnTo>
                  <a:lnTo>
                    <a:pt x="194" y="790"/>
                  </a:lnTo>
                  <a:lnTo>
                    <a:pt x="194" y="791"/>
                  </a:lnTo>
                  <a:lnTo>
                    <a:pt x="195" y="791"/>
                  </a:lnTo>
                  <a:lnTo>
                    <a:pt x="196" y="790"/>
                  </a:lnTo>
                  <a:lnTo>
                    <a:pt x="196" y="791"/>
                  </a:lnTo>
                  <a:lnTo>
                    <a:pt x="196" y="793"/>
                  </a:lnTo>
                  <a:lnTo>
                    <a:pt x="195" y="795"/>
                  </a:lnTo>
                  <a:lnTo>
                    <a:pt x="195" y="796"/>
                  </a:lnTo>
                  <a:lnTo>
                    <a:pt x="196" y="796"/>
                  </a:lnTo>
                  <a:lnTo>
                    <a:pt x="198" y="795"/>
                  </a:lnTo>
                  <a:lnTo>
                    <a:pt x="198" y="796"/>
                  </a:lnTo>
                  <a:lnTo>
                    <a:pt x="198" y="799"/>
                  </a:lnTo>
                  <a:lnTo>
                    <a:pt x="196" y="801"/>
                  </a:lnTo>
                  <a:lnTo>
                    <a:pt x="196" y="805"/>
                  </a:lnTo>
                  <a:lnTo>
                    <a:pt x="196" y="808"/>
                  </a:lnTo>
                  <a:lnTo>
                    <a:pt x="196" y="807"/>
                  </a:lnTo>
                  <a:lnTo>
                    <a:pt x="198" y="805"/>
                  </a:lnTo>
                  <a:lnTo>
                    <a:pt x="198" y="802"/>
                  </a:lnTo>
                  <a:lnTo>
                    <a:pt x="199" y="800"/>
                  </a:lnTo>
                  <a:lnTo>
                    <a:pt x="200" y="800"/>
                  </a:lnTo>
                  <a:lnTo>
                    <a:pt x="201" y="801"/>
                  </a:lnTo>
                  <a:lnTo>
                    <a:pt x="201" y="802"/>
                  </a:lnTo>
                  <a:lnTo>
                    <a:pt x="200" y="803"/>
                  </a:lnTo>
                  <a:lnTo>
                    <a:pt x="200" y="806"/>
                  </a:lnTo>
                  <a:lnTo>
                    <a:pt x="201" y="805"/>
                  </a:lnTo>
                  <a:lnTo>
                    <a:pt x="201" y="807"/>
                  </a:lnTo>
                  <a:lnTo>
                    <a:pt x="202" y="809"/>
                  </a:lnTo>
                  <a:lnTo>
                    <a:pt x="204" y="809"/>
                  </a:lnTo>
                  <a:lnTo>
                    <a:pt x="202" y="806"/>
                  </a:lnTo>
                  <a:lnTo>
                    <a:pt x="204" y="803"/>
                  </a:lnTo>
                  <a:lnTo>
                    <a:pt x="205" y="801"/>
                  </a:lnTo>
                  <a:lnTo>
                    <a:pt x="205" y="799"/>
                  </a:lnTo>
                  <a:lnTo>
                    <a:pt x="206" y="796"/>
                  </a:lnTo>
                  <a:lnTo>
                    <a:pt x="206" y="793"/>
                  </a:lnTo>
                  <a:lnTo>
                    <a:pt x="206" y="790"/>
                  </a:lnTo>
                  <a:lnTo>
                    <a:pt x="207" y="787"/>
                  </a:lnTo>
                  <a:lnTo>
                    <a:pt x="209" y="787"/>
                  </a:lnTo>
                  <a:lnTo>
                    <a:pt x="210" y="788"/>
                  </a:lnTo>
                  <a:lnTo>
                    <a:pt x="211" y="790"/>
                  </a:lnTo>
                  <a:lnTo>
                    <a:pt x="211" y="795"/>
                  </a:lnTo>
                  <a:lnTo>
                    <a:pt x="211" y="799"/>
                  </a:lnTo>
                  <a:lnTo>
                    <a:pt x="211" y="802"/>
                  </a:lnTo>
                  <a:lnTo>
                    <a:pt x="210" y="805"/>
                  </a:lnTo>
                  <a:lnTo>
                    <a:pt x="209" y="807"/>
                  </a:lnTo>
                  <a:lnTo>
                    <a:pt x="210" y="808"/>
                  </a:lnTo>
                  <a:lnTo>
                    <a:pt x="211" y="807"/>
                  </a:lnTo>
                  <a:lnTo>
                    <a:pt x="212" y="805"/>
                  </a:lnTo>
                  <a:lnTo>
                    <a:pt x="212" y="801"/>
                  </a:lnTo>
                  <a:lnTo>
                    <a:pt x="213" y="799"/>
                  </a:lnTo>
                  <a:lnTo>
                    <a:pt x="213" y="795"/>
                  </a:lnTo>
                  <a:lnTo>
                    <a:pt x="215" y="795"/>
                  </a:lnTo>
                  <a:lnTo>
                    <a:pt x="215" y="797"/>
                  </a:lnTo>
                  <a:lnTo>
                    <a:pt x="216" y="797"/>
                  </a:lnTo>
                  <a:lnTo>
                    <a:pt x="217" y="797"/>
                  </a:lnTo>
                  <a:lnTo>
                    <a:pt x="217" y="800"/>
                  </a:lnTo>
                  <a:lnTo>
                    <a:pt x="217" y="802"/>
                  </a:lnTo>
                  <a:lnTo>
                    <a:pt x="215" y="808"/>
                  </a:lnTo>
                  <a:lnTo>
                    <a:pt x="215" y="811"/>
                  </a:lnTo>
                  <a:lnTo>
                    <a:pt x="216" y="813"/>
                  </a:lnTo>
                  <a:lnTo>
                    <a:pt x="217" y="812"/>
                  </a:lnTo>
                  <a:lnTo>
                    <a:pt x="217" y="811"/>
                  </a:lnTo>
                  <a:lnTo>
                    <a:pt x="218" y="809"/>
                  </a:lnTo>
                  <a:lnTo>
                    <a:pt x="218" y="812"/>
                  </a:lnTo>
                  <a:lnTo>
                    <a:pt x="219" y="812"/>
                  </a:lnTo>
                  <a:lnTo>
                    <a:pt x="221" y="809"/>
                  </a:lnTo>
                  <a:lnTo>
                    <a:pt x="221" y="807"/>
                  </a:lnTo>
                  <a:lnTo>
                    <a:pt x="221" y="805"/>
                  </a:lnTo>
                  <a:lnTo>
                    <a:pt x="219" y="799"/>
                  </a:lnTo>
                  <a:lnTo>
                    <a:pt x="219" y="795"/>
                  </a:lnTo>
                  <a:lnTo>
                    <a:pt x="221" y="794"/>
                  </a:lnTo>
                  <a:lnTo>
                    <a:pt x="219" y="790"/>
                  </a:lnTo>
                  <a:lnTo>
                    <a:pt x="219" y="787"/>
                  </a:lnTo>
                  <a:lnTo>
                    <a:pt x="221" y="783"/>
                  </a:lnTo>
                  <a:lnTo>
                    <a:pt x="223" y="781"/>
                  </a:lnTo>
                  <a:lnTo>
                    <a:pt x="224" y="777"/>
                  </a:lnTo>
                  <a:lnTo>
                    <a:pt x="224" y="781"/>
                  </a:lnTo>
                  <a:lnTo>
                    <a:pt x="225" y="784"/>
                  </a:lnTo>
                  <a:lnTo>
                    <a:pt x="228" y="783"/>
                  </a:lnTo>
                  <a:lnTo>
                    <a:pt x="229" y="787"/>
                  </a:lnTo>
                  <a:lnTo>
                    <a:pt x="230" y="791"/>
                  </a:lnTo>
                  <a:lnTo>
                    <a:pt x="231" y="789"/>
                  </a:lnTo>
                  <a:lnTo>
                    <a:pt x="231" y="784"/>
                  </a:lnTo>
                  <a:lnTo>
                    <a:pt x="233" y="778"/>
                  </a:lnTo>
                  <a:lnTo>
                    <a:pt x="231" y="772"/>
                  </a:lnTo>
                  <a:lnTo>
                    <a:pt x="233" y="770"/>
                  </a:lnTo>
                  <a:lnTo>
                    <a:pt x="233" y="779"/>
                  </a:lnTo>
                  <a:lnTo>
                    <a:pt x="235" y="781"/>
                  </a:lnTo>
                  <a:lnTo>
                    <a:pt x="236" y="776"/>
                  </a:lnTo>
                  <a:lnTo>
                    <a:pt x="237" y="776"/>
                  </a:lnTo>
                  <a:lnTo>
                    <a:pt x="237" y="772"/>
                  </a:lnTo>
                  <a:lnTo>
                    <a:pt x="237" y="769"/>
                  </a:lnTo>
                  <a:lnTo>
                    <a:pt x="239" y="767"/>
                  </a:lnTo>
                  <a:lnTo>
                    <a:pt x="240" y="772"/>
                  </a:lnTo>
                  <a:lnTo>
                    <a:pt x="240" y="776"/>
                  </a:lnTo>
                  <a:lnTo>
                    <a:pt x="240" y="771"/>
                  </a:lnTo>
                  <a:lnTo>
                    <a:pt x="241" y="767"/>
                  </a:lnTo>
                  <a:lnTo>
                    <a:pt x="242" y="763"/>
                  </a:lnTo>
                  <a:lnTo>
                    <a:pt x="242" y="760"/>
                  </a:lnTo>
                  <a:lnTo>
                    <a:pt x="243" y="758"/>
                  </a:lnTo>
                  <a:lnTo>
                    <a:pt x="247" y="758"/>
                  </a:lnTo>
                  <a:lnTo>
                    <a:pt x="248" y="760"/>
                  </a:lnTo>
                  <a:lnTo>
                    <a:pt x="247" y="761"/>
                  </a:lnTo>
                  <a:lnTo>
                    <a:pt x="242" y="766"/>
                  </a:lnTo>
                  <a:lnTo>
                    <a:pt x="242" y="767"/>
                  </a:lnTo>
                  <a:lnTo>
                    <a:pt x="242" y="771"/>
                  </a:lnTo>
                  <a:lnTo>
                    <a:pt x="242" y="773"/>
                  </a:lnTo>
                  <a:lnTo>
                    <a:pt x="242" y="776"/>
                  </a:lnTo>
                  <a:lnTo>
                    <a:pt x="243" y="777"/>
                  </a:lnTo>
                  <a:lnTo>
                    <a:pt x="247" y="777"/>
                  </a:lnTo>
                  <a:lnTo>
                    <a:pt x="247" y="778"/>
                  </a:lnTo>
                  <a:lnTo>
                    <a:pt x="247" y="782"/>
                  </a:lnTo>
                  <a:lnTo>
                    <a:pt x="247" y="783"/>
                  </a:lnTo>
                  <a:lnTo>
                    <a:pt x="243" y="783"/>
                  </a:lnTo>
                  <a:lnTo>
                    <a:pt x="242" y="784"/>
                  </a:lnTo>
                  <a:lnTo>
                    <a:pt x="241" y="781"/>
                  </a:lnTo>
                  <a:lnTo>
                    <a:pt x="240" y="782"/>
                  </a:lnTo>
                  <a:lnTo>
                    <a:pt x="239" y="784"/>
                  </a:lnTo>
                  <a:lnTo>
                    <a:pt x="237" y="785"/>
                  </a:lnTo>
                  <a:lnTo>
                    <a:pt x="235" y="787"/>
                  </a:lnTo>
                  <a:lnTo>
                    <a:pt x="234" y="789"/>
                  </a:lnTo>
                  <a:lnTo>
                    <a:pt x="235" y="789"/>
                  </a:lnTo>
                  <a:lnTo>
                    <a:pt x="236" y="789"/>
                  </a:lnTo>
                  <a:lnTo>
                    <a:pt x="239" y="789"/>
                  </a:lnTo>
                  <a:lnTo>
                    <a:pt x="241" y="789"/>
                  </a:lnTo>
                  <a:lnTo>
                    <a:pt x="241" y="790"/>
                  </a:lnTo>
                  <a:lnTo>
                    <a:pt x="240" y="795"/>
                  </a:lnTo>
                  <a:lnTo>
                    <a:pt x="240" y="800"/>
                  </a:lnTo>
                  <a:lnTo>
                    <a:pt x="240" y="802"/>
                  </a:lnTo>
                  <a:lnTo>
                    <a:pt x="239" y="806"/>
                  </a:lnTo>
                  <a:lnTo>
                    <a:pt x="237" y="808"/>
                  </a:lnTo>
                  <a:lnTo>
                    <a:pt x="234" y="811"/>
                  </a:lnTo>
                  <a:lnTo>
                    <a:pt x="231" y="813"/>
                  </a:lnTo>
                  <a:lnTo>
                    <a:pt x="229" y="812"/>
                  </a:lnTo>
                  <a:lnTo>
                    <a:pt x="225" y="813"/>
                  </a:lnTo>
                  <a:lnTo>
                    <a:pt x="224" y="814"/>
                  </a:lnTo>
                  <a:lnTo>
                    <a:pt x="221" y="814"/>
                  </a:lnTo>
                  <a:lnTo>
                    <a:pt x="215" y="815"/>
                  </a:lnTo>
                  <a:lnTo>
                    <a:pt x="209" y="817"/>
                  </a:lnTo>
                  <a:lnTo>
                    <a:pt x="205" y="818"/>
                  </a:lnTo>
                  <a:lnTo>
                    <a:pt x="201" y="819"/>
                  </a:lnTo>
                  <a:lnTo>
                    <a:pt x="194" y="821"/>
                  </a:lnTo>
                  <a:lnTo>
                    <a:pt x="189" y="821"/>
                  </a:lnTo>
                  <a:lnTo>
                    <a:pt x="188" y="823"/>
                  </a:lnTo>
                  <a:lnTo>
                    <a:pt x="189" y="824"/>
                  </a:lnTo>
                  <a:lnTo>
                    <a:pt x="192" y="823"/>
                  </a:lnTo>
                  <a:lnTo>
                    <a:pt x="195" y="823"/>
                  </a:lnTo>
                  <a:lnTo>
                    <a:pt x="195" y="824"/>
                  </a:lnTo>
                  <a:lnTo>
                    <a:pt x="194" y="825"/>
                  </a:lnTo>
                  <a:lnTo>
                    <a:pt x="195" y="826"/>
                  </a:lnTo>
                  <a:lnTo>
                    <a:pt x="195" y="825"/>
                  </a:lnTo>
                  <a:lnTo>
                    <a:pt x="198" y="823"/>
                  </a:lnTo>
                  <a:lnTo>
                    <a:pt x="200" y="821"/>
                  </a:lnTo>
                  <a:lnTo>
                    <a:pt x="201" y="821"/>
                  </a:lnTo>
                  <a:lnTo>
                    <a:pt x="200" y="825"/>
                  </a:lnTo>
                  <a:lnTo>
                    <a:pt x="198" y="826"/>
                  </a:lnTo>
                  <a:lnTo>
                    <a:pt x="199" y="826"/>
                  </a:lnTo>
                  <a:lnTo>
                    <a:pt x="201" y="826"/>
                  </a:lnTo>
                  <a:lnTo>
                    <a:pt x="204" y="825"/>
                  </a:lnTo>
                  <a:lnTo>
                    <a:pt x="205" y="824"/>
                  </a:lnTo>
                  <a:lnTo>
                    <a:pt x="205" y="827"/>
                  </a:lnTo>
                  <a:lnTo>
                    <a:pt x="206" y="827"/>
                  </a:lnTo>
                  <a:lnTo>
                    <a:pt x="209" y="826"/>
                  </a:lnTo>
                  <a:lnTo>
                    <a:pt x="210" y="826"/>
                  </a:lnTo>
                  <a:lnTo>
                    <a:pt x="212" y="826"/>
                  </a:lnTo>
                  <a:lnTo>
                    <a:pt x="211" y="827"/>
                  </a:lnTo>
                  <a:lnTo>
                    <a:pt x="209" y="829"/>
                  </a:lnTo>
                  <a:lnTo>
                    <a:pt x="205" y="829"/>
                  </a:lnTo>
                  <a:lnTo>
                    <a:pt x="201" y="829"/>
                  </a:lnTo>
                  <a:lnTo>
                    <a:pt x="199" y="830"/>
                  </a:lnTo>
                  <a:lnTo>
                    <a:pt x="194" y="831"/>
                  </a:lnTo>
                  <a:lnTo>
                    <a:pt x="193" y="832"/>
                  </a:lnTo>
                  <a:lnTo>
                    <a:pt x="190" y="832"/>
                  </a:lnTo>
                  <a:lnTo>
                    <a:pt x="187" y="830"/>
                  </a:lnTo>
                  <a:lnTo>
                    <a:pt x="184" y="830"/>
                  </a:lnTo>
                  <a:lnTo>
                    <a:pt x="184" y="832"/>
                  </a:lnTo>
                  <a:lnTo>
                    <a:pt x="183" y="832"/>
                  </a:lnTo>
                  <a:lnTo>
                    <a:pt x="183" y="833"/>
                  </a:lnTo>
                  <a:lnTo>
                    <a:pt x="188" y="835"/>
                  </a:lnTo>
                  <a:lnTo>
                    <a:pt x="184" y="836"/>
                  </a:lnTo>
                  <a:lnTo>
                    <a:pt x="182" y="837"/>
                  </a:lnTo>
                  <a:lnTo>
                    <a:pt x="180" y="836"/>
                  </a:lnTo>
                  <a:lnTo>
                    <a:pt x="176" y="836"/>
                  </a:lnTo>
                  <a:lnTo>
                    <a:pt x="172" y="833"/>
                  </a:lnTo>
                  <a:lnTo>
                    <a:pt x="169" y="832"/>
                  </a:lnTo>
                  <a:lnTo>
                    <a:pt x="164" y="833"/>
                  </a:lnTo>
                  <a:lnTo>
                    <a:pt x="165" y="835"/>
                  </a:lnTo>
                  <a:lnTo>
                    <a:pt x="163" y="833"/>
                  </a:lnTo>
                  <a:lnTo>
                    <a:pt x="160" y="832"/>
                  </a:lnTo>
                  <a:lnTo>
                    <a:pt x="157" y="831"/>
                  </a:lnTo>
                  <a:lnTo>
                    <a:pt x="153" y="830"/>
                  </a:lnTo>
                  <a:lnTo>
                    <a:pt x="151" y="827"/>
                  </a:lnTo>
                  <a:lnTo>
                    <a:pt x="150" y="827"/>
                  </a:lnTo>
                  <a:lnTo>
                    <a:pt x="151" y="829"/>
                  </a:lnTo>
                  <a:lnTo>
                    <a:pt x="152" y="830"/>
                  </a:lnTo>
                  <a:lnTo>
                    <a:pt x="150" y="830"/>
                  </a:lnTo>
                  <a:lnTo>
                    <a:pt x="148" y="829"/>
                  </a:lnTo>
                  <a:lnTo>
                    <a:pt x="147" y="827"/>
                  </a:lnTo>
                  <a:lnTo>
                    <a:pt x="145" y="826"/>
                  </a:lnTo>
                  <a:lnTo>
                    <a:pt x="142" y="826"/>
                  </a:lnTo>
                  <a:lnTo>
                    <a:pt x="141" y="826"/>
                  </a:lnTo>
                  <a:lnTo>
                    <a:pt x="139" y="825"/>
                  </a:lnTo>
                  <a:lnTo>
                    <a:pt x="136" y="824"/>
                  </a:lnTo>
                  <a:lnTo>
                    <a:pt x="135" y="825"/>
                  </a:lnTo>
                  <a:lnTo>
                    <a:pt x="134" y="824"/>
                  </a:lnTo>
                  <a:lnTo>
                    <a:pt x="135" y="821"/>
                  </a:lnTo>
                  <a:lnTo>
                    <a:pt x="133" y="821"/>
                  </a:lnTo>
                  <a:lnTo>
                    <a:pt x="131" y="823"/>
                  </a:lnTo>
                  <a:lnTo>
                    <a:pt x="130" y="823"/>
                  </a:lnTo>
                  <a:lnTo>
                    <a:pt x="128" y="823"/>
                  </a:lnTo>
                  <a:lnTo>
                    <a:pt x="128" y="820"/>
                  </a:lnTo>
                  <a:lnTo>
                    <a:pt x="127" y="818"/>
                  </a:lnTo>
                  <a:lnTo>
                    <a:pt x="127" y="820"/>
                  </a:lnTo>
                  <a:lnTo>
                    <a:pt x="125" y="821"/>
                  </a:lnTo>
                  <a:lnTo>
                    <a:pt x="124" y="821"/>
                  </a:lnTo>
                  <a:lnTo>
                    <a:pt x="122" y="821"/>
                  </a:lnTo>
                  <a:lnTo>
                    <a:pt x="121" y="820"/>
                  </a:lnTo>
                  <a:lnTo>
                    <a:pt x="119" y="820"/>
                  </a:lnTo>
                  <a:lnTo>
                    <a:pt x="117" y="820"/>
                  </a:lnTo>
                  <a:lnTo>
                    <a:pt x="116" y="820"/>
                  </a:lnTo>
                  <a:lnTo>
                    <a:pt x="116" y="819"/>
                  </a:lnTo>
                  <a:lnTo>
                    <a:pt x="113" y="818"/>
                  </a:lnTo>
                  <a:lnTo>
                    <a:pt x="111" y="818"/>
                  </a:lnTo>
                  <a:lnTo>
                    <a:pt x="106" y="814"/>
                  </a:lnTo>
                  <a:lnTo>
                    <a:pt x="107" y="817"/>
                  </a:lnTo>
                  <a:lnTo>
                    <a:pt x="107" y="819"/>
                  </a:lnTo>
                  <a:lnTo>
                    <a:pt x="105" y="818"/>
                  </a:lnTo>
                  <a:lnTo>
                    <a:pt x="104" y="817"/>
                  </a:lnTo>
                  <a:lnTo>
                    <a:pt x="105" y="819"/>
                  </a:lnTo>
                  <a:lnTo>
                    <a:pt x="106" y="820"/>
                  </a:lnTo>
                  <a:lnTo>
                    <a:pt x="103" y="820"/>
                  </a:lnTo>
                  <a:lnTo>
                    <a:pt x="100" y="821"/>
                  </a:lnTo>
                  <a:lnTo>
                    <a:pt x="104" y="821"/>
                  </a:lnTo>
                  <a:lnTo>
                    <a:pt x="106" y="821"/>
                  </a:lnTo>
                  <a:lnTo>
                    <a:pt x="110" y="821"/>
                  </a:lnTo>
                  <a:lnTo>
                    <a:pt x="109" y="825"/>
                  </a:lnTo>
                  <a:lnTo>
                    <a:pt x="109" y="826"/>
                  </a:lnTo>
                  <a:lnTo>
                    <a:pt x="110" y="825"/>
                  </a:lnTo>
                  <a:lnTo>
                    <a:pt x="112" y="823"/>
                  </a:lnTo>
                  <a:lnTo>
                    <a:pt x="113" y="821"/>
                  </a:lnTo>
                  <a:lnTo>
                    <a:pt x="115" y="821"/>
                  </a:lnTo>
                  <a:lnTo>
                    <a:pt x="115" y="825"/>
                  </a:lnTo>
                  <a:lnTo>
                    <a:pt x="115" y="823"/>
                  </a:lnTo>
                  <a:lnTo>
                    <a:pt x="116" y="823"/>
                  </a:lnTo>
                  <a:lnTo>
                    <a:pt x="118" y="823"/>
                  </a:lnTo>
                  <a:lnTo>
                    <a:pt x="118" y="824"/>
                  </a:lnTo>
                  <a:lnTo>
                    <a:pt x="116" y="826"/>
                  </a:lnTo>
                  <a:lnTo>
                    <a:pt x="116" y="829"/>
                  </a:lnTo>
                  <a:lnTo>
                    <a:pt x="115" y="832"/>
                  </a:lnTo>
                  <a:lnTo>
                    <a:pt x="115" y="836"/>
                  </a:lnTo>
                  <a:lnTo>
                    <a:pt x="117" y="841"/>
                  </a:lnTo>
                  <a:lnTo>
                    <a:pt x="119" y="842"/>
                  </a:lnTo>
                  <a:lnTo>
                    <a:pt x="119" y="839"/>
                  </a:lnTo>
                  <a:lnTo>
                    <a:pt x="119" y="835"/>
                  </a:lnTo>
                  <a:lnTo>
                    <a:pt x="119" y="833"/>
                  </a:lnTo>
                  <a:lnTo>
                    <a:pt x="119" y="836"/>
                  </a:lnTo>
                  <a:lnTo>
                    <a:pt x="121" y="838"/>
                  </a:lnTo>
                  <a:lnTo>
                    <a:pt x="121" y="841"/>
                  </a:lnTo>
                  <a:lnTo>
                    <a:pt x="119" y="843"/>
                  </a:lnTo>
                  <a:lnTo>
                    <a:pt x="121" y="843"/>
                  </a:lnTo>
                  <a:lnTo>
                    <a:pt x="122" y="843"/>
                  </a:lnTo>
                  <a:lnTo>
                    <a:pt x="124" y="844"/>
                  </a:lnTo>
                  <a:lnTo>
                    <a:pt x="124" y="848"/>
                  </a:lnTo>
                  <a:lnTo>
                    <a:pt x="128" y="850"/>
                  </a:lnTo>
                  <a:lnTo>
                    <a:pt x="127" y="852"/>
                  </a:lnTo>
                  <a:lnTo>
                    <a:pt x="125" y="852"/>
                  </a:lnTo>
                  <a:lnTo>
                    <a:pt x="124" y="849"/>
                  </a:lnTo>
                  <a:lnTo>
                    <a:pt x="122" y="849"/>
                  </a:lnTo>
                  <a:lnTo>
                    <a:pt x="118" y="849"/>
                  </a:lnTo>
                  <a:lnTo>
                    <a:pt x="117" y="850"/>
                  </a:lnTo>
                  <a:lnTo>
                    <a:pt x="115" y="849"/>
                  </a:lnTo>
                  <a:lnTo>
                    <a:pt x="113" y="849"/>
                  </a:lnTo>
                  <a:lnTo>
                    <a:pt x="110" y="849"/>
                  </a:lnTo>
                  <a:lnTo>
                    <a:pt x="107" y="852"/>
                  </a:lnTo>
                  <a:lnTo>
                    <a:pt x="109" y="853"/>
                  </a:lnTo>
                  <a:lnTo>
                    <a:pt x="111" y="852"/>
                  </a:lnTo>
                  <a:lnTo>
                    <a:pt x="112" y="853"/>
                  </a:lnTo>
                  <a:lnTo>
                    <a:pt x="113" y="852"/>
                  </a:lnTo>
                  <a:lnTo>
                    <a:pt x="115" y="852"/>
                  </a:lnTo>
                  <a:lnTo>
                    <a:pt x="116" y="852"/>
                  </a:lnTo>
                  <a:lnTo>
                    <a:pt x="118" y="850"/>
                  </a:lnTo>
                  <a:lnTo>
                    <a:pt x="119" y="850"/>
                  </a:lnTo>
                  <a:lnTo>
                    <a:pt x="118" y="853"/>
                  </a:lnTo>
                  <a:lnTo>
                    <a:pt x="117" y="854"/>
                  </a:lnTo>
                  <a:lnTo>
                    <a:pt x="116" y="855"/>
                  </a:lnTo>
                  <a:lnTo>
                    <a:pt x="116" y="856"/>
                  </a:lnTo>
                  <a:lnTo>
                    <a:pt x="118" y="855"/>
                  </a:lnTo>
                  <a:lnTo>
                    <a:pt x="119" y="855"/>
                  </a:lnTo>
                  <a:lnTo>
                    <a:pt x="121" y="854"/>
                  </a:lnTo>
                  <a:lnTo>
                    <a:pt x="122" y="853"/>
                  </a:lnTo>
                  <a:lnTo>
                    <a:pt x="123" y="853"/>
                  </a:lnTo>
                  <a:lnTo>
                    <a:pt x="123" y="854"/>
                  </a:lnTo>
                  <a:lnTo>
                    <a:pt x="122" y="855"/>
                  </a:lnTo>
                  <a:lnTo>
                    <a:pt x="122" y="856"/>
                  </a:lnTo>
                  <a:lnTo>
                    <a:pt x="122" y="858"/>
                  </a:lnTo>
                  <a:lnTo>
                    <a:pt x="121" y="859"/>
                  </a:lnTo>
                  <a:lnTo>
                    <a:pt x="119" y="858"/>
                  </a:lnTo>
                  <a:lnTo>
                    <a:pt x="117" y="856"/>
                  </a:lnTo>
                  <a:lnTo>
                    <a:pt x="116" y="856"/>
                  </a:lnTo>
                  <a:lnTo>
                    <a:pt x="112" y="856"/>
                  </a:lnTo>
                  <a:lnTo>
                    <a:pt x="110" y="856"/>
                  </a:lnTo>
                  <a:lnTo>
                    <a:pt x="105" y="856"/>
                  </a:lnTo>
                  <a:lnTo>
                    <a:pt x="104" y="856"/>
                  </a:lnTo>
                  <a:lnTo>
                    <a:pt x="106" y="858"/>
                  </a:lnTo>
                  <a:lnTo>
                    <a:pt x="106" y="859"/>
                  </a:lnTo>
                  <a:lnTo>
                    <a:pt x="103" y="858"/>
                  </a:lnTo>
                  <a:lnTo>
                    <a:pt x="101" y="860"/>
                  </a:lnTo>
                  <a:lnTo>
                    <a:pt x="104" y="860"/>
                  </a:lnTo>
                  <a:lnTo>
                    <a:pt x="105" y="860"/>
                  </a:lnTo>
                  <a:lnTo>
                    <a:pt x="107" y="860"/>
                  </a:lnTo>
                  <a:lnTo>
                    <a:pt x="109" y="861"/>
                  </a:lnTo>
                  <a:lnTo>
                    <a:pt x="107" y="864"/>
                  </a:lnTo>
                  <a:lnTo>
                    <a:pt x="105" y="864"/>
                  </a:lnTo>
                  <a:lnTo>
                    <a:pt x="101" y="864"/>
                  </a:lnTo>
                  <a:lnTo>
                    <a:pt x="99" y="861"/>
                  </a:lnTo>
                  <a:lnTo>
                    <a:pt x="93" y="858"/>
                  </a:lnTo>
                  <a:lnTo>
                    <a:pt x="91" y="856"/>
                  </a:lnTo>
                  <a:lnTo>
                    <a:pt x="91" y="859"/>
                  </a:lnTo>
                  <a:lnTo>
                    <a:pt x="92" y="860"/>
                  </a:lnTo>
                  <a:lnTo>
                    <a:pt x="91" y="860"/>
                  </a:lnTo>
                  <a:lnTo>
                    <a:pt x="88" y="859"/>
                  </a:lnTo>
                  <a:lnTo>
                    <a:pt x="86" y="859"/>
                  </a:lnTo>
                  <a:lnTo>
                    <a:pt x="83" y="856"/>
                  </a:lnTo>
                  <a:lnTo>
                    <a:pt x="81" y="854"/>
                  </a:lnTo>
                  <a:lnTo>
                    <a:pt x="80" y="855"/>
                  </a:lnTo>
                  <a:lnTo>
                    <a:pt x="78" y="856"/>
                  </a:lnTo>
                  <a:lnTo>
                    <a:pt x="76" y="854"/>
                  </a:lnTo>
                  <a:lnTo>
                    <a:pt x="74" y="854"/>
                  </a:lnTo>
                  <a:lnTo>
                    <a:pt x="72" y="854"/>
                  </a:lnTo>
                  <a:lnTo>
                    <a:pt x="75" y="856"/>
                  </a:lnTo>
                  <a:lnTo>
                    <a:pt x="77" y="858"/>
                  </a:lnTo>
                  <a:lnTo>
                    <a:pt x="77" y="859"/>
                  </a:lnTo>
                  <a:lnTo>
                    <a:pt x="75" y="861"/>
                  </a:lnTo>
                  <a:lnTo>
                    <a:pt x="74" y="861"/>
                  </a:lnTo>
                  <a:lnTo>
                    <a:pt x="74" y="862"/>
                  </a:lnTo>
                  <a:lnTo>
                    <a:pt x="76" y="861"/>
                  </a:lnTo>
                  <a:lnTo>
                    <a:pt x="77" y="860"/>
                  </a:lnTo>
                  <a:lnTo>
                    <a:pt x="80" y="859"/>
                  </a:lnTo>
                  <a:lnTo>
                    <a:pt x="83" y="859"/>
                  </a:lnTo>
                  <a:lnTo>
                    <a:pt x="81" y="862"/>
                  </a:lnTo>
                  <a:lnTo>
                    <a:pt x="80" y="866"/>
                  </a:lnTo>
                  <a:lnTo>
                    <a:pt x="81" y="864"/>
                  </a:lnTo>
                  <a:lnTo>
                    <a:pt x="82" y="862"/>
                  </a:lnTo>
                  <a:lnTo>
                    <a:pt x="83" y="861"/>
                  </a:lnTo>
                  <a:lnTo>
                    <a:pt x="84" y="860"/>
                  </a:lnTo>
                  <a:lnTo>
                    <a:pt x="87" y="860"/>
                  </a:lnTo>
                  <a:lnTo>
                    <a:pt x="88" y="862"/>
                  </a:lnTo>
                  <a:lnTo>
                    <a:pt x="87" y="865"/>
                  </a:lnTo>
                  <a:lnTo>
                    <a:pt x="84" y="867"/>
                  </a:lnTo>
                  <a:lnTo>
                    <a:pt x="84" y="870"/>
                  </a:lnTo>
                  <a:lnTo>
                    <a:pt x="86" y="870"/>
                  </a:lnTo>
                  <a:lnTo>
                    <a:pt x="86" y="871"/>
                  </a:lnTo>
                  <a:lnTo>
                    <a:pt x="84" y="872"/>
                  </a:lnTo>
                  <a:lnTo>
                    <a:pt x="83" y="872"/>
                  </a:lnTo>
                  <a:lnTo>
                    <a:pt x="81" y="872"/>
                  </a:lnTo>
                  <a:lnTo>
                    <a:pt x="78" y="871"/>
                  </a:lnTo>
                  <a:lnTo>
                    <a:pt x="76" y="868"/>
                  </a:lnTo>
                  <a:lnTo>
                    <a:pt x="75" y="868"/>
                  </a:lnTo>
                  <a:lnTo>
                    <a:pt x="75" y="871"/>
                  </a:lnTo>
                  <a:lnTo>
                    <a:pt x="71" y="870"/>
                  </a:lnTo>
                  <a:lnTo>
                    <a:pt x="70" y="868"/>
                  </a:lnTo>
                  <a:lnTo>
                    <a:pt x="68" y="870"/>
                  </a:lnTo>
                  <a:lnTo>
                    <a:pt x="71" y="872"/>
                  </a:lnTo>
                  <a:lnTo>
                    <a:pt x="75" y="872"/>
                  </a:lnTo>
                  <a:lnTo>
                    <a:pt x="74" y="874"/>
                  </a:lnTo>
                  <a:lnTo>
                    <a:pt x="74" y="876"/>
                  </a:lnTo>
                  <a:lnTo>
                    <a:pt x="75" y="877"/>
                  </a:lnTo>
                  <a:lnTo>
                    <a:pt x="76" y="876"/>
                  </a:lnTo>
                  <a:lnTo>
                    <a:pt x="77" y="873"/>
                  </a:lnTo>
                  <a:lnTo>
                    <a:pt x="80" y="873"/>
                  </a:lnTo>
                  <a:lnTo>
                    <a:pt x="80" y="874"/>
                  </a:lnTo>
                  <a:lnTo>
                    <a:pt x="80" y="877"/>
                  </a:lnTo>
                  <a:lnTo>
                    <a:pt x="80" y="878"/>
                  </a:lnTo>
                  <a:lnTo>
                    <a:pt x="81" y="877"/>
                  </a:lnTo>
                  <a:lnTo>
                    <a:pt x="82" y="876"/>
                  </a:lnTo>
                  <a:lnTo>
                    <a:pt x="83" y="876"/>
                  </a:lnTo>
                  <a:lnTo>
                    <a:pt x="82" y="878"/>
                  </a:lnTo>
                  <a:lnTo>
                    <a:pt x="83" y="878"/>
                  </a:lnTo>
                  <a:lnTo>
                    <a:pt x="83" y="877"/>
                  </a:lnTo>
                  <a:lnTo>
                    <a:pt x="86" y="876"/>
                  </a:lnTo>
                  <a:lnTo>
                    <a:pt x="88" y="876"/>
                  </a:lnTo>
                  <a:lnTo>
                    <a:pt x="86" y="880"/>
                  </a:lnTo>
                  <a:lnTo>
                    <a:pt x="86" y="882"/>
                  </a:lnTo>
                  <a:lnTo>
                    <a:pt x="87" y="882"/>
                  </a:lnTo>
                  <a:lnTo>
                    <a:pt x="88" y="879"/>
                  </a:lnTo>
                  <a:lnTo>
                    <a:pt x="89" y="878"/>
                  </a:lnTo>
                  <a:lnTo>
                    <a:pt x="91" y="878"/>
                  </a:lnTo>
                  <a:lnTo>
                    <a:pt x="91" y="879"/>
                  </a:lnTo>
                  <a:lnTo>
                    <a:pt x="91" y="882"/>
                  </a:lnTo>
                  <a:lnTo>
                    <a:pt x="91" y="885"/>
                  </a:lnTo>
                  <a:lnTo>
                    <a:pt x="92" y="884"/>
                  </a:lnTo>
                  <a:lnTo>
                    <a:pt x="94" y="884"/>
                  </a:lnTo>
                  <a:lnTo>
                    <a:pt x="94" y="885"/>
                  </a:lnTo>
                  <a:lnTo>
                    <a:pt x="94" y="889"/>
                  </a:lnTo>
                  <a:lnTo>
                    <a:pt x="93" y="892"/>
                  </a:lnTo>
                  <a:lnTo>
                    <a:pt x="94" y="892"/>
                  </a:lnTo>
                  <a:lnTo>
                    <a:pt x="97" y="891"/>
                  </a:lnTo>
                  <a:lnTo>
                    <a:pt x="99" y="891"/>
                  </a:lnTo>
                  <a:lnTo>
                    <a:pt x="99" y="892"/>
                  </a:lnTo>
                  <a:lnTo>
                    <a:pt x="97" y="894"/>
                  </a:lnTo>
                  <a:lnTo>
                    <a:pt x="93" y="894"/>
                  </a:lnTo>
                  <a:lnTo>
                    <a:pt x="94" y="896"/>
                  </a:lnTo>
                  <a:lnTo>
                    <a:pt x="97" y="896"/>
                  </a:lnTo>
                  <a:lnTo>
                    <a:pt x="97" y="897"/>
                  </a:lnTo>
                  <a:lnTo>
                    <a:pt x="94" y="900"/>
                  </a:lnTo>
                  <a:lnTo>
                    <a:pt x="92" y="901"/>
                  </a:lnTo>
                  <a:lnTo>
                    <a:pt x="92" y="903"/>
                  </a:lnTo>
                  <a:lnTo>
                    <a:pt x="94" y="902"/>
                  </a:lnTo>
                  <a:lnTo>
                    <a:pt x="97" y="901"/>
                  </a:lnTo>
                  <a:lnTo>
                    <a:pt x="98" y="900"/>
                  </a:lnTo>
                  <a:lnTo>
                    <a:pt x="98" y="902"/>
                  </a:lnTo>
                  <a:lnTo>
                    <a:pt x="99" y="901"/>
                  </a:lnTo>
                  <a:lnTo>
                    <a:pt x="101" y="900"/>
                  </a:lnTo>
                  <a:lnTo>
                    <a:pt x="103" y="898"/>
                  </a:lnTo>
                  <a:lnTo>
                    <a:pt x="103" y="901"/>
                  </a:lnTo>
                  <a:lnTo>
                    <a:pt x="103" y="903"/>
                  </a:lnTo>
                  <a:lnTo>
                    <a:pt x="101" y="904"/>
                  </a:lnTo>
                  <a:lnTo>
                    <a:pt x="100" y="904"/>
                  </a:lnTo>
                  <a:lnTo>
                    <a:pt x="97" y="904"/>
                  </a:lnTo>
                  <a:lnTo>
                    <a:pt x="94" y="904"/>
                  </a:lnTo>
                  <a:lnTo>
                    <a:pt x="89" y="904"/>
                  </a:lnTo>
                  <a:lnTo>
                    <a:pt x="87" y="904"/>
                  </a:lnTo>
                  <a:lnTo>
                    <a:pt x="84" y="904"/>
                  </a:lnTo>
                  <a:lnTo>
                    <a:pt x="81" y="903"/>
                  </a:lnTo>
                  <a:lnTo>
                    <a:pt x="80" y="903"/>
                  </a:lnTo>
                  <a:lnTo>
                    <a:pt x="76" y="903"/>
                  </a:lnTo>
                  <a:lnTo>
                    <a:pt x="74" y="903"/>
                  </a:lnTo>
                  <a:lnTo>
                    <a:pt x="74" y="906"/>
                  </a:lnTo>
                  <a:lnTo>
                    <a:pt x="76" y="907"/>
                  </a:lnTo>
                  <a:lnTo>
                    <a:pt x="77" y="909"/>
                  </a:lnTo>
                  <a:lnTo>
                    <a:pt x="78" y="907"/>
                  </a:lnTo>
                  <a:lnTo>
                    <a:pt x="80" y="907"/>
                  </a:lnTo>
                  <a:lnTo>
                    <a:pt x="80" y="912"/>
                  </a:lnTo>
                  <a:lnTo>
                    <a:pt x="81" y="913"/>
                  </a:lnTo>
                  <a:lnTo>
                    <a:pt x="81" y="912"/>
                  </a:lnTo>
                  <a:lnTo>
                    <a:pt x="82" y="910"/>
                  </a:lnTo>
                  <a:lnTo>
                    <a:pt x="83" y="908"/>
                  </a:lnTo>
                  <a:lnTo>
                    <a:pt x="84" y="908"/>
                  </a:lnTo>
                  <a:lnTo>
                    <a:pt x="83" y="912"/>
                  </a:lnTo>
                  <a:lnTo>
                    <a:pt x="82" y="914"/>
                  </a:lnTo>
                  <a:lnTo>
                    <a:pt x="82" y="918"/>
                  </a:lnTo>
                  <a:lnTo>
                    <a:pt x="82" y="922"/>
                  </a:lnTo>
                  <a:lnTo>
                    <a:pt x="83" y="925"/>
                  </a:lnTo>
                  <a:lnTo>
                    <a:pt x="84" y="925"/>
                  </a:lnTo>
                  <a:lnTo>
                    <a:pt x="84" y="921"/>
                  </a:lnTo>
                  <a:lnTo>
                    <a:pt x="86" y="920"/>
                  </a:lnTo>
                  <a:lnTo>
                    <a:pt x="86" y="915"/>
                  </a:lnTo>
                  <a:lnTo>
                    <a:pt x="86" y="914"/>
                  </a:lnTo>
                  <a:lnTo>
                    <a:pt x="87" y="912"/>
                  </a:lnTo>
                  <a:lnTo>
                    <a:pt x="88" y="912"/>
                  </a:lnTo>
                  <a:lnTo>
                    <a:pt x="89" y="913"/>
                  </a:lnTo>
                  <a:lnTo>
                    <a:pt x="88" y="914"/>
                  </a:lnTo>
                  <a:lnTo>
                    <a:pt x="88" y="916"/>
                  </a:lnTo>
                  <a:lnTo>
                    <a:pt x="88" y="919"/>
                  </a:lnTo>
                  <a:lnTo>
                    <a:pt x="89" y="919"/>
                  </a:lnTo>
                  <a:lnTo>
                    <a:pt x="91" y="919"/>
                  </a:lnTo>
                  <a:lnTo>
                    <a:pt x="92" y="916"/>
                  </a:lnTo>
                  <a:lnTo>
                    <a:pt x="93" y="915"/>
                  </a:lnTo>
                  <a:lnTo>
                    <a:pt x="94" y="914"/>
                  </a:lnTo>
                  <a:lnTo>
                    <a:pt x="94" y="913"/>
                  </a:lnTo>
                  <a:lnTo>
                    <a:pt x="95" y="913"/>
                  </a:lnTo>
                  <a:lnTo>
                    <a:pt x="95" y="915"/>
                  </a:lnTo>
                  <a:lnTo>
                    <a:pt x="95" y="916"/>
                  </a:lnTo>
                  <a:lnTo>
                    <a:pt x="94" y="919"/>
                  </a:lnTo>
                  <a:lnTo>
                    <a:pt x="94" y="920"/>
                  </a:lnTo>
                  <a:lnTo>
                    <a:pt x="93" y="921"/>
                  </a:lnTo>
                  <a:lnTo>
                    <a:pt x="91" y="924"/>
                  </a:lnTo>
                  <a:lnTo>
                    <a:pt x="89" y="926"/>
                  </a:lnTo>
                  <a:lnTo>
                    <a:pt x="89" y="927"/>
                  </a:lnTo>
                  <a:lnTo>
                    <a:pt x="91" y="927"/>
                  </a:lnTo>
                  <a:lnTo>
                    <a:pt x="92" y="926"/>
                  </a:lnTo>
                  <a:lnTo>
                    <a:pt x="93" y="926"/>
                  </a:lnTo>
                  <a:lnTo>
                    <a:pt x="95" y="926"/>
                  </a:lnTo>
                  <a:lnTo>
                    <a:pt x="95" y="927"/>
                  </a:lnTo>
                  <a:lnTo>
                    <a:pt x="94" y="928"/>
                  </a:lnTo>
                  <a:lnTo>
                    <a:pt x="93" y="928"/>
                  </a:lnTo>
                  <a:lnTo>
                    <a:pt x="92" y="928"/>
                  </a:lnTo>
                  <a:lnTo>
                    <a:pt x="91" y="928"/>
                  </a:lnTo>
                  <a:lnTo>
                    <a:pt x="88" y="928"/>
                  </a:lnTo>
                  <a:lnTo>
                    <a:pt x="86" y="927"/>
                  </a:lnTo>
                  <a:lnTo>
                    <a:pt x="83" y="926"/>
                  </a:lnTo>
                  <a:lnTo>
                    <a:pt x="82" y="925"/>
                  </a:lnTo>
                  <a:lnTo>
                    <a:pt x="78" y="924"/>
                  </a:lnTo>
                  <a:lnTo>
                    <a:pt x="76" y="924"/>
                  </a:lnTo>
                  <a:lnTo>
                    <a:pt x="72" y="924"/>
                  </a:lnTo>
                  <a:lnTo>
                    <a:pt x="68" y="921"/>
                  </a:lnTo>
                  <a:lnTo>
                    <a:pt x="65" y="921"/>
                  </a:lnTo>
                  <a:lnTo>
                    <a:pt x="63" y="922"/>
                  </a:lnTo>
                  <a:lnTo>
                    <a:pt x="62" y="921"/>
                  </a:lnTo>
                  <a:lnTo>
                    <a:pt x="59" y="920"/>
                  </a:lnTo>
                  <a:lnTo>
                    <a:pt x="56" y="919"/>
                  </a:lnTo>
                  <a:lnTo>
                    <a:pt x="53" y="919"/>
                  </a:lnTo>
                  <a:lnTo>
                    <a:pt x="51" y="919"/>
                  </a:lnTo>
                  <a:lnTo>
                    <a:pt x="48" y="918"/>
                  </a:lnTo>
                  <a:lnTo>
                    <a:pt x="47" y="918"/>
                  </a:lnTo>
                  <a:lnTo>
                    <a:pt x="48" y="919"/>
                  </a:lnTo>
                  <a:lnTo>
                    <a:pt x="48" y="920"/>
                  </a:lnTo>
                  <a:lnTo>
                    <a:pt x="46" y="920"/>
                  </a:lnTo>
                  <a:lnTo>
                    <a:pt x="45" y="919"/>
                  </a:lnTo>
                  <a:lnTo>
                    <a:pt x="44" y="918"/>
                  </a:lnTo>
                  <a:lnTo>
                    <a:pt x="44" y="919"/>
                  </a:lnTo>
                  <a:lnTo>
                    <a:pt x="42" y="918"/>
                  </a:lnTo>
                  <a:lnTo>
                    <a:pt x="41" y="916"/>
                  </a:lnTo>
                  <a:lnTo>
                    <a:pt x="38" y="914"/>
                  </a:lnTo>
                  <a:lnTo>
                    <a:pt x="36" y="916"/>
                  </a:lnTo>
                  <a:lnTo>
                    <a:pt x="38" y="918"/>
                  </a:lnTo>
                  <a:lnTo>
                    <a:pt x="32" y="916"/>
                  </a:lnTo>
                  <a:lnTo>
                    <a:pt x="33" y="918"/>
                  </a:lnTo>
                  <a:lnTo>
                    <a:pt x="35" y="919"/>
                  </a:lnTo>
                  <a:lnTo>
                    <a:pt x="38" y="919"/>
                  </a:lnTo>
                  <a:lnTo>
                    <a:pt x="38" y="920"/>
                  </a:lnTo>
                  <a:lnTo>
                    <a:pt x="34" y="922"/>
                  </a:lnTo>
                  <a:lnTo>
                    <a:pt x="33" y="924"/>
                  </a:lnTo>
                  <a:lnTo>
                    <a:pt x="34" y="925"/>
                  </a:lnTo>
                  <a:lnTo>
                    <a:pt x="34" y="924"/>
                  </a:lnTo>
                  <a:lnTo>
                    <a:pt x="39" y="921"/>
                  </a:lnTo>
                  <a:lnTo>
                    <a:pt x="41" y="921"/>
                  </a:lnTo>
                  <a:lnTo>
                    <a:pt x="42" y="921"/>
                  </a:lnTo>
                  <a:lnTo>
                    <a:pt x="42" y="922"/>
                  </a:lnTo>
                  <a:lnTo>
                    <a:pt x="41" y="925"/>
                  </a:lnTo>
                  <a:lnTo>
                    <a:pt x="41" y="926"/>
                  </a:lnTo>
                  <a:lnTo>
                    <a:pt x="42" y="926"/>
                  </a:lnTo>
                  <a:lnTo>
                    <a:pt x="44" y="925"/>
                  </a:lnTo>
                  <a:lnTo>
                    <a:pt x="44" y="922"/>
                  </a:lnTo>
                  <a:lnTo>
                    <a:pt x="45" y="921"/>
                  </a:lnTo>
                  <a:lnTo>
                    <a:pt x="48" y="922"/>
                  </a:lnTo>
                  <a:lnTo>
                    <a:pt x="50" y="922"/>
                  </a:lnTo>
                  <a:lnTo>
                    <a:pt x="48" y="925"/>
                  </a:lnTo>
                  <a:lnTo>
                    <a:pt x="47" y="926"/>
                  </a:lnTo>
                  <a:lnTo>
                    <a:pt x="46" y="928"/>
                  </a:lnTo>
                  <a:lnTo>
                    <a:pt x="46" y="931"/>
                  </a:lnTo>
                  <a:lnTo>
                    <a:pt x="46" y="934"/>
                  </a:lnTo>
                  <a:lnTo>
                    <a:pt x="47" y="936"/>
                  </a:lnTo>
                  <a:lnTo>
                    <a:pt x="47" y="938"/>
                  </a:lnTo>
                  <a:lnTo>
                    <a:pt x="47" y="939"/>
                  </a:lnTo>
                  <a:lnTo>
                    <a:pt x="47" y="942"/>
                  </a:lnTo>
                  <a:lnTo>
                    <a:pt x="48" y="942"/>
                  </a:lnTo>
                  <a:lnTo>
                    <a:pt x="50" y="940"/>
                  </a:lnTo>
                  <a:lnTo>
                    <a:pt x="50" y="939"/>
                  </a:lnTo>
                  <a:lnTo>
                    <a:pt x="51" y="937"/>
                  </a:lnTo>
                  <a:lnTo>
                    <a:pt x="51" y="936"/>
                  </a:lnTo>
                  <a:lnTo>
                    <a:pt x="51" y="931"/>
                  </a:lnTo>
                  <a:lnTo>
                    <a:pt x="52" y="934"/>
                  </a:lnTo>
                  <a:lnTo>
                    <a:pt x="52" y="936"/>
                  </a:lnTo>
                  <a:lnTo>
                    <a:pt x="53" y="934"/>
                  </a:lnTo>
                  <a:lnTo>
                    <a:pt x="53" y="931"/>
                  </a:lnTo>
                  <a:lnTo>
                    <a:pt x="53" y="928"/>
                  </a:lnTo>
                  <a:lnTo>
                    <a:pt x="56" y="926"/>
                  </a:lnTo>
                  <a:lnTo>
                    <a:pt x="56" y="925"/>
                  </a:lnTo>
                  <a:lnTo>
                    <a:pt x="56" y="927"/>
                  </a:lnTo>
                  <a:lnTo>
                    <a:pt x="56" y="928"/>
                  </a:lnTo>
                  <a:lnTo>
                    <a:pt x="56" y="930"/>
                  </a:lnTo>
                  <a:lnTo>
                    <a:pt x="58" y="930"/>
                  </a:lnTo>
                  <a:lnTo>
                    <a:pt x="59" y="927"/>
                  </a:lnTo>
                  <a:lnTo>
                    <a:pt x="59" y="926"/>
                  </a:lnTo>
                  <a:lnTo>
                    <a:pt x="60" y="926"/>
                  </a:lnTo>
                  <a:lnTo>
                    <a:pt x="60" y="927"/>
                  </a:lnTo>
                  <a:lnTo>
                    <a:pt x="59" y="930"/>
                  </a:lnTo>
                  <a:lnTo>
                    <a:pt x="58" y="933"/>
                  </a:lnTo>
                  <a:lnTo>
                    <a:pt x="58" y="934"/>
                  </a:lnTo>
                  <a:lnTo>
                    <a:pt x="59" y="933"/>
                  </a:lnTo>
                  <a:lnTo>
                    <a:pt x="62" y="932"/>
                  </a:lnTo>
                  <a:lnTo>
                    <a:pt x="63" y="930"/>
                  </a:lnTo>
                  <a:lnTo>
                    <a:pt x="63" y="932"/>
                  </a:lnTo>
                  <a:lnTo>
                    <a:pt x="62" y="934"/>
                  </a:lnTo>
                  <a:lnTo>
                    <a:pt x="60" y="937"/>
                  </a:lnTo>
                  <a:lnTo>
                    <a:pt x="59" y="939"/>
                  </a:lnTo>
                  <a:lnTo>
                    <a:pt x="59" y="943"/>
                  </a:lnTo>
                  <a:lnTo>
                    <a:pt x="60" y="943"/>
                  </a:lnTo>
                  <a:lnTo>
                    <a:pt x="62" y="942"/>
                  </a:lnTo>
                  <a:lnTo>
                    <a:pt x="63" y="939"/>
                  </a:lnTo>
                  <a:lnTo>
                    <a:pt x="63" y="937"/>
                  </a:lnTo>
                  <a:lnTo>
                    <a:pt x="64" y="934"/>
                  </a:lnTo>
                  <a:lnTo>
                    <a:pt x="65" y="934"/>
                  </a:lnTo>
                  <a:lnTo>
                    <a:pt x="66" y="936"/>
                  </a:lnTo>
                  <a:lnTo>
                    <a:pt x="68" y="937"/>
                  </a:lnTo>
                  <a:lnTo>
                    <a:pt x="66" y="940"/>
                  </a:lnTo>
                  <a:lnTo>
                    <a:pt x="68" y="942"/>
                  </a:lnTo>
                  <a:lnTo>
                    <a:pt x="69" y="940"/>
                  </a:lnTo>
                  <a:lnTo>
                    <a:pt x="69" y="938"/>
                  </a:lnTo>
                  <a:lnTo>
                    <a:pt x="70" y="937"/>
                  </a:lnTo>
                  <a:lnTo>
                    <a:pt x="71" y="934"/>
                  </a:lnTo>
                  <a:lnTo>
                    <a:pt x="72" y="934"/>
                  </a:lnTo>
                  <a:lnTo>
                    <a:pt x="74" y="936"/>
                  </a:lnTo>
                  <a:lnTo>
                    <a:pt x="72" y="937"/>
                  </a:lnTo>
                  <a:lnTo>
                    <a:pt x="71" y="939"/>
                  </a:lnTo>
                  <a:lnTo>
                    <a:pt x="70" y="942"/>
                  </a:lnTo>
                  <a:lnTo>
                    <a:pt x="69" y="944"/>
                  </a:lnTo>
                  <a:lnTo>
                    <a:pt x="70" y="943"/>
                  </a:lnTo>
                  <a:lnTo>
                    <a:pt x="71" y="942"/>
                  </a:lnTo>
                  <a:lnTo>
                    <a:pt x="72" y="942"/>
                  </a:lnTo>
                  <a:lnTo>
                    <a:pt x="71" y="945"/>
                  </a:lnTo>
                  <a:lnTo>
                    <a:pt x="70" y="948"/>
                  </a:lnTo>
                  <a:lnTo>
                    <a:pt x="69" y="949"/>
                  </a:lnTo>
                  <a:lnTo>
                    <a:pt x="68" y="950"/>
                  </a:lnTo>
                  <a:lnTo>
                    <a:pt x="60" y="952"/>
                  </a:lnTo>
                  <a:lnTo>
                    <a:pt x="59" y="954"/>
                  </a:lnTo>
                  <a:lnTo>
                    <a:pt x="60" y="955"/>
                  </a:lnTo>
                  <a:lnTo>
                    <a:pt x="62" y="955"/>
                  </a:lnTo>
                  <a:lnTo>
                    <a:pt x="63" y="954"/>
                  </a:lnTo>
                  <a:lnTo>
                    <a:pt x="64" y="954"/>
                  </a:lnTo>
                  <a:lnTo>
                    <a:pt x="64" y="956"/>
                  </a:lnTo>
                  <a:lnTo>
                    <a:pt x="64" y="957"/>
                  </a:lnTo>
                  <a:lnTo>
                    <a:pt x="65" y="957"/>
                  </a:lnTo>
                  <a:lnTo>
                    <a:pt x="65" y="956"/>
                  </a:lnTo>
                  <a:lnTo>
                    <a:pt x="66" y="955"/>
                  </a:lnTo>
                  <a:lnTo>
                    <a:pt x="68" y="952"/>
                  </a:lnTo>
                  <a:lnTo>
                    <a:pt x="69" y="952"/>
                  </a:lnTo>
                  <a:lnTo>
                    <a:pt x="69" y="954"/>
                  </a:lnTo>
                  <a:lnTo>
                    <a:pt x="69" y="956"/>
                  </a:lnTo>
                  <a:lnTo>
                    <a:pt x="69" y="959"/>
                  </a:lnTo>
                  <a:lnTo>
                    <a:pt x="69" y="960"/>
                  </a:lnTo>
                  <a:lnTo>
                    <a:pt x="70" y="960"/>
                  </a:lnTo>
                  <a:lnTo>
                    <a:pt x="71" y="959"/>
                  </a:lnTo>
                  <a:lnTo>
                    <a:pt x="71" y="957"/>
                  </a:lnTo>
                  <a:lnTo>
                    <a:pt x="72" y="957"/>
                  </a:lnTo>
                  <a:lnTo>
                    <a:pt x="74" y="960"/>
                  </a:lnTo>
                  <a:lnTo>
                    <a:pt x="74" y="959"/>
                  </a:lnTo>
                  <a:lnTo>
                    <a:pt x="76" y="957"/>
                  </a:lnTo>
                  <a:lnTo>
                    <a:pt x="75" y="956"/>
                  </a:lnTo>
                  <a:lnTo>
                    <a:pt x="75" y="955"/>
                  </a:lnTo>
                  <a:lnTo>
                    <a:pt x="74" y="954"/>
                  </a:lnTo>
                  <a:lnTo>
                    <a:pt x="74" y="951"/>
                  </a:lnTo>
                  <a:lnTo>
                    <a:pt x="75" y="949"/>
                  </a:lnTo>
                  <a:lnTo>
                    <a:pt x="76" y="950"/>
                  </a:lnTo>
                  <a:lnTo>
                    <a:pt x="77" y="951"/>
                  </a:lnTo>
                  <a:lnTo>
                    <a:pt x="77" y="950"/>
                  </a:lnTo>
                  <a:lnTo>
                    <a:pt x="78" y="949"/>
                  </a:lnTo>
                  <a:lnTo>
                    <a:pt x="80" y="954"/>
                  </a:lnTo>
                  <a:lnTo>
                    <a:pt x="81" y="955"/>
                  </a:lnTo>
                  <a:lnTo>
                    <a:pt x="81" y="954"/>
                  </a:lnTo>
                  <a:lnTo>
                    <a:pt x="81" y="950"/>
                  </a:lnTo>
                  <a:lnTo>
                    <a:pt x="82" y="948"/>
                  </a:lnTo>
                  <a:lnTo>
                    <a:pt x="82" y="945"/>
                  </a:lnTo>
                  <a:lnTo>
                    <a:pt x="82" y="943"/>
                  </a:lnTo>
                  <a:lnTo>
                    <a:pt x="83" y="942"/>
                  </a:lnTo>
                  <a:lnTo>
                    <a:pt x="83" y="944"/>
                  </a:lnTo>
                  <a:lnTo>
                    <a:pt x="84" y="944"/>
                  </a:lnTo>
                  <a:lnTo>
                    <a:pt x="84" y="943"/>
                  </a:lnTo>
                  <a:lnTo>
                    <a:pt x="86" y="943"/>
                  </a:lnTo>
                  <a:lnTo>
                    <a:pt x="84" y="945"/>
                  </a:lnTo>
                  <a:lnTo>
                    <a:pt x="84" y="946"/>
                  </a:lnTo>
                  <a:lnTo>
                    <a:pt x="86" y="948"/>
                  </a:lnTo>
                  <a:lnTo>
                    <a:pt x="87" y="949"/>
                  </a:lnTo>
                  <a:lnTo>
                    <a:pt x="87" y="951"/>
                  </a:lnTo>
                  <a:lnTo>
                    <a:pt x="87" y="952"/>
                  </a:lnTo>
                  <a:lnTo>
                    <a:pt x="86" y="954"/>
                  </a:lnTo>
                  <a:lnTo>
                    <a:pt x="84" y="954"/>
                  </a:lnTo>
                  <a:lnTo>
                    <a:pt x="82" y="955"/>
                  </a:lnTo>
                  <a:lnTo>
                    <a:pt x="82" y="956"/>
                  </a:lnTo>
                  <a:lnTo>
                    <a:pt x="83" y="956"/>
                  </a:lnTo>
                  <a:lnTo>
                    <a:pt x="82" y="957"/>
                  </a:lnTo>
                  <a:lnTo>
                    <a:pt x="81" y="960"/>
                  </a:lnTo>
                  <a:lnTo>
                    <a:pt x="80" y="960"/>
                  </a:lnTo>
                  <a:lnTo>
                    <a:pt x="75" y="962"/>
                  </a:lnTo>
                  <a:lnTo>
                    <a:pt x="74" y="962"/>
                  </a:lnTo>
                  <a:lnTo>
                    <a:pt x="71" y="963"/>
                  </a:lnTo>
                  <a:lnTo>
                    <a:pt x="69" y="962"/>
                  </a:lnTo>
                  <a:lnTo>
                    <a:pt x="66" y="962"/>
                  </a:lnTo>
                  <a:lnTo>
                    <a:pt x="64" y="962"/>
                  </a:lnTo>
                  <a:lnTo>
                    <a:pt x="64" y="963"/>
                  </a:lnTo>
                  <a:lnTo>
                    <a:pt x="64" y="965"/>
                  </a:lnTo>
                  <a:lnTo>
                    <a:pt x="62" y="966"/>
                  </a:lnTo>
                  <a:lnTo>
                    <a:pt x="64" y="966"/>
                  </a:lnTo>
                  <a:lnTo>
                    <a:pt x="65" y="966"/>
                  </a:lnTo>
                  <a:lnTo>
                    <a:pt x="66" y="966"/>
                  </a:lnTo>
                  <a:lnTo>
                    <a:pt x="68" y="968"/>
                  </a:lnTo>
                  <a:lnTo>
                    <a:pt x="66" y="969"/>
                  </a:lnTo>
                  <a:lnTo>
                    <a:pt x="68" y="969"/>
                  </a:lnTo>
                  <a:lnTo>
                    <a:pt x="69" y="967"/>
                  </a:lnTo>
                  <a:lnTo>
                    <a:pt x="69" y="966"/>
                  </a:lnTo>
                  <a:lnTo>
                    <a:pt x="71" y="965"/>
                  </a:lnTo>
                  <a:lnTo>
                    <a:pt x="72" y="966"/>
                  </a:lnTo>
                  <a:lnTo>
                    <a:pt x="71" y="967"/>
                  </a:lnTo>
                  <a:lnTo>
                    <a:pt x="70" y="969"/>
                  </a:lnTo>
                  <a:lnTo>
                    <a:pt x="69" y="972"/>
                  </a:lnTo>
                  <a:lnTo>
                    <a:pt x="70" y="974"/>
                  </a:lnTo>
                  <a:lnTo>
                    <a:pt x="71" y="973"/>
                  </a:lnTo>
                  <a:lnTo>
                    <a:pt x="72" y="971"/>
                  </a:lnTo>
                  <a:lnTo>
                    <a:pt x="75" y="968"/>
                  </a:lnTo>
                  <a:lnTo>
                    <a:pt x="75" y="967"/>
                  </a:lnTo>
                  <a:lnTo>
                    <a:pt x="77" y="966"/>
                  </a:lnTo>
                  <a:lnTo>
                    <a:pt x="78" y="963"/>
                  </a:lnTo>
                  <a:lnTo>
                    <a:pt x="80" y="963"/>
                  </a:lnTo>
                  <a:lnTo>
                    <a:pt x="80" y="965"/>
                  </a:lnTo>
                  <a:lnTo>
                    <a:pt x="80" y="967"/>
                  </a:lnTo>
                  <a:lnTo>
                    <a:pt x="80" y="968"/>
                  </a:lnTo>
                  <a:lnTo>
                    <a:pt x="80" y="971"/>
                  </a:lnTo>
                  <a:lnTo>
                    <a:pt x="78" y="974"/>
                  </a:lnTo>
                  <a:lnTo>
                    <a:pt x="78" y="977"/>
                  </a:lnTo>
                  <a:lnTo>
                    <a:pt x="80" y="977"/>
                  </a:lnTo>
                  <a:lnTo>
                    <a:pt x="81" y="974"/>
                  </a:lnTo>
                  <a:lnTo>
                    <a:pt x="81" y="973"/>
                  </a:lnTo>
                  <a:lnTo>
                    <a:pt x="81" y="971"/>
                  </a:lnTo>
                  <a:lnTo>
                    <a:pt x="82" y="968"/>
                  </a:lnTo>
                  <a:lnTo>
                    <a:pt x="82" y="972"/>
                  </a:lnTo>
                  <a:lnTo>
                    <a:pt x="83" y="972"/>
                  </a:lnTo>
                  <a:lnTo>
                    <a:pt x="83" y="969"/>
                  </a:lnTo>
                  <a:lnTo>
                    <a:pt x="83" y="968"/>
                  </a:lnTo>
                  <a:lnTo>
                    <a:pt x="86" y="966"/>
                  </a:lnTo>
                  <a:lnTo>
                    <a:pt x="86" y="965"/>
                  </a:lnTo>
                  <a:lnTo>
                    <a:pt x="86" y="967"/>
                  </a:lnTo>
                  <a:lnTo>
                    <a:pt x="86" y="969"/>
                  </a:lnTo>
                  <a:lnTo>
                    <a:pt x="86" y="972"/>
                  </a:lnTo>
                  <a:lnTo>
                    <a:pt x="88" y="969"/>
                  </a:lnTo>
                  <a:lnTo>
                    <a:pt x="88" y="967"/>
                  </a:lnTo>
                  <a:lnTo>
                    <a:pt x="89" y="965"/>
                  </a:lnTo>
                  <a:lnTo>
                    <a:pt x="91" y="967"/>
                  </a:lnTo>
                  <a:lnTo>
                    <a:pt x="88" y="969"/>
                  </a:lnTo>
                  <a:lnTo>
                    <a:pt x="88" y="972"/>
                  </a:lnTo>
                  <a:lnTo>
                    <a:pt x="88" y="974"/>
                  </a:lnTo>
                  <a:lnTo>
                    <a:pt x="89" y="977"/>
                  </a:lnTo>
                  <a:lnTo>
                    <a:pt x="89" y="979"/>
                  </a:lnTo>
                  <a:lnTo>
                    <a:pt x="88" y="983"/>
                  </a:lnTo>
                  <a:lnTo>
                    <a:pt x="88" y="985"/>
                  </a:lnTo>
                  <a:lnTo>
                    <a:pt x="87" y="989"/>
                  </a:lnTo>
                  <a:lnTo>
                    <a:pt x="88" y="987"/>
                  </a:lnTo>
                  <a:lnTo>
                    <a:pt x="89" y="989"/>
                  </a:lnTo>
                  <a:lnTo>
                    <a:pt x="88" y="990"/>
                  </a:lnTo>
                  <a:lnTo>
                    <a:pt x="86" y="990"/>
                  </a:lnTo>
                  <a:lnTo>
                    <a:pt x="83" y="990"/>
                  </a:lnTo>
                  <a:lnTo>
                    <a:pt x="81" y="990"/>
                  </a:lnTo>
                  <a:lnTo>
                    <a:pt x="80" y="990"/>
                  </a:lnTo>
                  <a:lnTo>
                    <a:pt x="76" y="989"/>
                  </a:lnTo>
                  <a:lnTo>
                    <a:pt x="74" y="989"/>
                  </a:lnTo>
                  <a:lnTo>
                    <a:pt x="71" y="985"/>
                  </a:lnTo>
                  <a:lnTo>
                    <a:pt x="68" y="984"/>
                  </a:lnTo>
                  <a:lnTo>
                    <a:pt x="66" y="981"/>
                  </a:lnTo>
                  <a:lnTo>
                    <a:pt x="65" y="980"/>
                  </a:lnTo>
                  <a:lnTo>
                    <a:pt x="63" y="980"/>
                  </a:lnTo>
                  <a:lnTo>
                    <a:pt x="63" y="977"/>
                  </a:lnTo>
                  <a:lnTo>
                    <a:pt x="62" y="978"/>
                  </a:lnTo>
                  <a:lnTo>
                    <a:pt x="60" y="977"/>
                  </a:lnTo>
                  <a:lnTo>
                    <a:pt x="60" y="975"/>
                  </a:lnTo>
                  <a:lnTo>
                    <a:pt x="59" y="975"/>
                  </a:lnTo>
                  <a:lnTo>
                    <a:pt x="57" y="974"/>
                  </a:lnTo>
                  <a:lnTo>
                    <a:pt x="56" y="977"/>
                  </a:lnTo>
                  <a:lnTo>
                    <a:pt x="54" y="979"/>
                  </a:lnTo>
                  <a:lnTo>
                    <a:pt x="53" y="980"/>
                  </a:lnTo>
                  <a:lnTo>
                    <a:pt x="53" y="981"/>
                  </a:lnTo>
                  <a:lnTo>
                    <a:pt x="56" y="981"/>
                  </a:lnTo>
                  <a:lnTo>
                    <a:pt x="58" y="984"/>
                  </a:lnTo>
                  <a:lnTo>
                    <a:pt x="60" y="986"/>
                  </a:lnTo>
                  <a:lnTo>
                    <a:pt x="63" y="985"/>
                  </a:lnTo>
                  <a:lnTo>
                    <a:pt x="62" y="987"/>
                  </a:lnTo>
                  <a:lnTo>
                    <a:pt x="60" y="989"/>
                  </a:lnTo>
                  <a:lnTo>
                    <a:pt x="58" y="989"/>
                  </a:lnTo>
                  <a:lnTo>
                    <a:pt x="56" y="987"/>
                  </a:lnTo>
                  <a:lnTo>
                    <a:pt x="52" y="986"/>
                  </a:lnTo>
                  <a:lnTo>
                    <a:pt x="50" y="986"/>
                  </a:lnTo>
                  <a:lnTo>
                    <a:pt x="46" y="984"/>
                  </a:lnTo>
                  <a:lnTo>
                    <a:pt x="42" y="983"/>
                  </a:lnTo>
                  <a:lnTo>
                    <a:pt x="39" y="980"/>
                  </a:lnTo>
                  <a:lnTo>
                    <a:pt x="34" y="977"/>
                  </a:lnTo>
                  <a:lnTo>
                    <a:pt x="28" y="972"/>
                  </a:lnTo>
                  <a:lnTo>
                    <a:pt x="22" y="969"/>
                  </a:lnTo>
                  <a:lnTo>
                    <a:pt x="19" y="966"/>
                  </a:lnTo>
                  <a:lnTo>
                    <a:pt x="17" y="966"/>
                  </a:lnTo>
                  <a:lnTo>
                    <a:pt x="16" y="966"/>
                  </a:lnTo>
                  <a:lnTo>
                    <a:pt x="15" y="965"/>
                  </a:lnTo>
                  <a:lnTo>
                    <a:pt x="12" y="963"/>
                  </a:lnTo>
                  <a:lnTo>
                    <a:pt x="10" y="962"/>
                  </a:lnTo>
                  <a:lnTo>
                    <a:pt x="7" y="962"/>
                  </a:lnTo>
                  <a:lnTo>
                    <a:pt x="0" y="960"/>
                  </a:lnTo>
                  <a:lnTo>
                    <a:pt x="0" y="961"/>
                  </a:lnTo>
                  <a:lnTo>
                    <a:pt x="1" y="961"/>
                  </a:lnTo>
                  <a:lnTo>
                    <a:pt x="5" y="963"/>
                  </a:lnTo>
                  <a:lnTo>
                    <a:pt x="5" y="966"/>
                  </a:lnTo>
                  <a:lnTo>
                    <a:pt x="5" y="967"/>
                  </a:lnTo>
                  <a:lnTo>
                    <a:pt x="6" y="967"/>
                  </a:lnTo>
                  <a:lnTo>
                    <a:pt x="9" y="966"/>
                  </a:lnTo>
                  <a:lnTo>
                    <a:pt x="11" y="966"/>
                  </a:lnTo>
                  <a:lnTo>
                    <a:pt x="9" y="967"/>
                  </a:lnTo>
                  <a:lnTo>
                    <a:pt x="7" y="968"/>
                  </a:lnTo>
                  <a:lnTo>
                    <a:pt x="10" y="969"/>
                  </a:lnTo>
                  <a:lnTo>
                    <a:pt x="12" y="969"/>
                  </a:lnTo>
                  <a:lnTo>
                    <a:pt x="15" y="971"/>
                  </a:lnTo>
                  <a:lnTo>
                    <a:pt x="12" y="973"/>
                  </a:lnTo>
                  <a:lnTo>
                    <a:pt x="13" y="974"/>
                  </a:lnTo>
                  <a:lnTo>
                    <a:pt x="16" y="973"/>
                  </a:lnTo>
                  <a:lnTo>
                    <a:pt x="17" y="972"/>
                  </a:lnTo>
                  <a:lnTo>
                    <a:pt x="17" y="973"/>
                  </a:lnTo>
                  <a:lnTo>
                    <a:pt x="16" y="977"/>
                  </a:lnTo>
                  <a:lnTo>
                    <a:pt x="17" y="978"/>
                  </a:lnTo>
                  <a:lnTo>
                    <a:pt x="18" y="975"/>
                  </a:lnTo>
                  <a:lnTo>
                    <a:pt x="19" y="974"/>
                  </a:lnTo>
                  <a:lnTo>
                    <a:pt x="21" y="973"/>
                  </a:lnTo>
                  <a:lnTo>
                    <a:pt x="23" y="974"/>
                  </a:lnTo>
                  <a:lnTo>
                    <a:pt x="21" y="977"/>
                  </a:lnTo>
                  <a:lnTo>
                    <a:pt x="19" y="978"/>
                  </a:lnTo>
                  <a:lnTo>
                    <a:pt x="19" y="979"/>
                  </a:lnTo>
                  <a:lnTo>
                    <a:pt x="21" y="979"/>
                  </a:lnTo>
                  <a:lnTo>
                    <a:pt x="18" y="980"/>
                  </a:lnTo>
                  <a:lnTo>
                    <a:pt x="17" y="981"/>
                  </a:lnTo>
                  <a:lnTo>
                    <a:pt x="17" y="983"/>
                  </a:lnTo>
                  <a:lnTo>
                    <a:pt x="22" y="981"/>
                  </a:lnTo>
                  <a:lnTo>
                    <a:pt x="24" y="979"/>
                  </a:lnTo>
                  <a:lnTo>
                    <a:pt x="27" y="978"/>
                  </a:lnTo>
                  <a:lnTo>
                    <a:pt x="24" y="981"/>
                  </a:lnTo>
                  <a:lnTo>
                    <a:pt x="24" y="985"/>
                  </a:lnTo>
                  <a:lnTo>
                    <a:pt x="25" y="984"/>
                  </a:lnTo>
                  <a:lnTo>
                    <a:pt x="28" y="980"/>
                  </a:lnTo>
                  <a:lnTo>
                    <a:pt x="28" y="981"/>
                  </a:lnTo>
                  <a:lnTo>
                    <a:pt x="27" y="985"/>
                  </a:lnTo>
                  <a:lnTo>
                    <a:pt x="25" y="989"/>
                  </a:lnTo>
                  <a:lnTo>
                    <a:pt x="23" y="993"/>
                  </a:lnTo>
                  <a:lnTo>
                    <a:pt x="24" y="997"/>
                  </a:lnTo>
                  <a:lnTo>
                    <a:pt x="24" y="999"/>
                  </a:lnTo>
                  <a:lnTo>
                    <a:pt x="25" y="997"/>
                  </a:lnTo>
                  <a:lnTo>
                    <a:pt x="27" y="996"/>
                  </a:lnTo>
                  <a:lnTo>
                    <a:pt x="29" y="995"/>
                  </a:lnTo>
                  <a:lnTo>
                    <a:pt x="29" y="992"/>
                  </a:lnTo>
                  <a:lnTo>
                    <a:pt x="30" y="991"/>
                  </a:lnTo>
                  <a:lnTo>
                    <a:pt x="32" y="991"/>
                  </a:lnTo>
                  <a:lnTo>
                    <a:pt x="32" y="993"/>
                  </a:lnTo>
                  <a:lnTo>
                    <a:pt x="30" y="996"/>
                  </a:lnTo>
                  <a:lnTo>
                    <a:pt x="28" y="998"/>
                  </a:lnTo>
                  <a:lnTo>
                    <a:pt x="29" y="999"/>
                  </a:lnTo>
                  <a:lnTo>
                    <a:pt x="30" y="998"/>
                  </a:lnTo>
                  <a:lnTo>
                    <a:pt x="29" y="999"/>
                  </a:lnTo>
                  <a:lnTo>
                    <a:pt x="30" y="1002"/>
                  </a:lnTo>
                  <a:lnTo>
                    <a:pt x="30" y="1003"/>
                  </a:lnTo>
                  <a:lnTo>
                    <a:pt x="32" y="1003"/>
                  </a:lnTo>
                  <a:lnTo>
                    <a:pt x="32" y="1002"/>
                  </a:lnTo>
                  <a:lnTo>
                    <a:pt x="33" y="1001"/>
                  </a:lnTo>
                  <a:lnTo>
                    <a:pt x="34" y="1001"/>
                  </a:lnTo>
                  <a:lnTo>
                    <a:pt x="35" y="999"/>
                  </a:lnTo>
                  <a:lnTo>
                    <a:pt x="34" y="1003"/>
                  </a:lnTo>
                  <a:lnTo>
                    <a:pt x="34" y="1008"/>
                  </a:lnTo>
                  <a:lnTo>
                    <a:pt x="35" y="1007"/>
                  </a:lnTo>
                  <a:lnTo>
                    <a:pt x="36" y="1008"/>
                  </a:lnTo>
                  <a:lnTo>
                    <a:pt x="38" y="1008"/>
                  </a:lnTo>
                  <a:lnTo>
                    <a:pt x="38" y="1005"/>
                  </a:lnTo>
                  <a:lnTo>
                    <a:pt x="38" y="1002"/>
                  </a:lnTo>
                  <a:lnTo>
                    <a:pt x="38" y="999"/>
                  </a:lnTo>
                  <a:lnTo>
                    <a:pt x="39" y="999"/>
                  </a:lnTo>
                  <a:lnTo>
                    <a:pt x="39" y="1002"/>
                  </a:lnTo>
                  <a:lnTo>
                    <a:pt x="40" y="1004"/>
                  </a:lnTo>
                  <a:lnTo>
                    <a:pt x="41" y="1005"/>
                  </a:lnTo>
                  <a:lnTo>
                    <a:pt x="41" y="1002"/>
                  </a:lnTo>
                  <a:lnTo>
                    <a:pt x="42" y="999"/>
                  </a:lnTo>
                  <a:lnTo>
                    <a:pt x="44" y="999"/>
                  </a:lnTo>
                  <a:lnTo>
                    <a:pt x="44" y="1003"/>
                  </a:lnTo>
                  <a:lnTo>
                    <a:pt x="45" y="1003"/>
                  </a:lnTo>
                  <a:lnTo>
                    <a:pt x="45" y="1005"/>
                  </a:lnTo>
                  <a:lnTo>
                    <a:pt x="45" y="1008"/>
                  </a:lnTo>
                  <a:lnTo>
                    <a:pt x="44" y="1010"/>
                  </a:lnTo>
                  <a:lnTo>
                    <a:pt x="44" y="1011"/>
                  </a:lnTo>
                  <a:lnTo>
                    <a:pt x="45" y="1013"/>
                  </a:lnTo>
                  <a:lnTo>
                    <a:pt x="45" y="1014"/>
                  </a:lnTo>
                  <a:lnTo>
                    <a:pt x="45" y="1016"/>
                  </a:lnTo>
                  <a:lnTo>
                    <a:pt x="44" y="1019"/>
                  </a:lnTo>
                  <a:lnTo>
                    <a:pt x="45" y="1020"/>
                  </a:lnTo>
                  <a:lnTo>
                    <a:pt x="46" y="1019"/>
                  </a:lnTo>
                  <a:lnTo>
                    <a:pt x="47" y="1017"/>
                  </a:lnTo>
                  <a:lnTo>
                    <a:pt x="47" y="1015"/>
                  </a:lnTo>
                  <a:lnTo>
                    <a:pt x="48" y="1013"/>
                  </a:lnTo>
                  <a:lnTo>
                    <a:pt x="48" y="1010"/>
                  </a:lnTo>
                  <a:lnTo>
                    <a:pt x="50" y="1011"/>
                  </a:lnTo>
                  <a:lnTo>
                    <a:pt x="52" y="1010"/>
                  </a:lnTo>
                  <a:lnTo>
                    <a:pt x="52" y="1013"/>
                  </a:lnTo>
                  <a:lnTo>
                    <a:pt x="52" y="1015"/>
                  </a:lnTo>
                  <a:lnTo>
                    <a:pt x="53" y="1014"/>
                  </a:lnTo>
                  <a:lnTo>
                    <a:pt x="54" y="1013"/>
                  </a:lnTo>
                  <a:lnTo>
                    <a:pt x="54" y="1010"/>
                  </a:lnTo>
                  <a:lnTo>
                    <a:pt x="56" y="1010"/>
                  </a:lnTo>
                  <a:lnTo>
                    <a:pt x="56" y="1013"/>
                  </a:lnTo>
                  <a:lnTo>
                    <a:pt x="54" y="1015"/>
                  </a:lnTo>
                  <a:lnTo>
                    <a:pt x="52" y="1017"/>
                  </a:lnTo>
                  <a:lnTo>
                    <a:pt x="50" y="1019"/>
                  </a:lnTo>
                  <a:lnTo>
                    <a:pt x="45" y="1021"/>
                  </a:lnTo>
                  <a:lnTo>
                    <a:pt x="44" y="1022"/>
                  </a:lnTo>
                  <a:lnTo>
                    <a:pt x="41" y="1025"/>
                  </a:lnTo>
                  <a:lnTo>
                    <a:pt x="39" y="1025"/>
                  </a:lnTo>
                  <a:lnTo>
                    <a:pt x="30" y="1021"/>
                  </a:lnTo>
                  <a:lnTo>
                    <a:pt x="30" y="1022"/>
                  </a:lnTo>
                  <a:lnTo>
                    <a:pt x="36" y="1025"/>
                  </a:lnTo>
                  <a:lnTo>
                    <a:pt x="38" y="1027"/>
                  </a:lnTo>
                  <a:lnTo>
                    <a:pt x="33" y="1029"/>
                  </a:lnTo>
                  <a:lnTo>
                    <a:pt x="32" y="1031"/>
                  </a:lnTo>
                  <a:lnTo>
                    <a:pt x="33" y="1032"/>
                  </a:lnTo>
                  <a:lnTo>
                    <a:pt x="35" y="1029"/>
                  </a:lnTo>
                  <a:lnTo>
                    <a:pt x="36" y="1029"/>
                  </a:lnTo>
                  <a:lnTo>
                    <a:pt x="36" y="1034"/>
                  </a:lnTo>
                  <a:lnTo>
                    <a:pt x="38" y="1034"/>
                  </a:lnTo>
                  <a:lnTo>
                    <a:pt x="38" y="1031"/>
                  </a:lnTo>
                  <a:lnTo>
                    <a:pt x="39" y="1029"/>
                  </a:lnTo>
                  <a:lnTo>
                    <a:pt x="40" y="1027"/>
                  </a:lnTo>
                  <a:lnTo>
                    <a:pt x="41" y="1027"/>
                  </a:lnTo>
                  <a:lnTo>
                    <a:pt x="41" y="1029"/>
                  </a:lnTo>
                  <a:lnTo>
                    <a:pt x="41" y="1033"/>
                  </a:lnTo>
                  <a:lnTo>
                    <a:pt x="42" y="1033"/>
                  </a:lnTo>
                  <a:lnTo>
                    <a:pt x="44" y="1033"/>
                  </a:lnTo>
                  <a:lnTo>
                    <a:pt x="44" y="1032"/>
                  </a:lnTo>
                  <a:lnTo>
                    <a:pt x="42" y="1031"/>
                  </a:lnTo>
                  <a:lnTo>
                    <a:pt x="44" y="1028"/>
                  </a:lnTo>
                  <a:lnTo>
                    <a:pt x="45" y="1028"/>
                  </a:lnTo>
                  <a:lnTo>
                    <a:pt x="47" y="1028"/>
                  </a:lnTo>
                  <a:lnTo>
                    <a:pt x="48" y="1028"/>
                  </a:lnTo>
                  <a:lnTo>
                    <a:pt x="47" y="1032"/>
                  </a:lnTo>
                  <a:lnTo>
                    <a:pt x="45" y="1034"/>
                  </a:lnTo>
                  <a:lnTo>
                    <a:pt x="42" y="1037"/>
                  </a:lnTo>
                  <a:lnTo>
                    <a:pt x="44" y="1037"/>
                  </a:lnTo>
                  <a:lnTo>
                    <a:pt x="46" y="1034"/>
                  </a:lnTo>
                  <a:lnTo>
                    <a:pt x="46" y="1035"/>
                  </a:lnTo>
                  <a:lnTo>
                    <a:pt x="44" y="1039"/>
                  </a:lnTo>
                  <a:lnTo>
                    <a:pt x="45" y="1041"/>
                  </a:lnTo>
                  <a:lnTo>
                    <a:pt x="46" y="1041"/>
                  </a:lnTo>
                  <a:lnTo>
                    <a:pt x="48" y="1039"/>
                  </a:lnTo>
                  <a:lnTo>
                    <a:pt x="50" y="1037"/>
                  </a:lnTo>
                  <a:lnTo>
                    <a:pt x="52" y="1033"/>
                  </a:lnTo>
                  <a:lnTo>
                    <a:pt x="54" y="1029"/>
                  </a:lnTo>
                  <a:lnTo>
                    <a:pt x="56" y="1029"/>
                  </a:lnTo>
                  <a:lnTo>
                    <a:pt x="58" y="1031"/>
                  </a:lnTo>
                  <a:lnTo>
                    <a:pt x="62" y="1031"/>
                  </a:lnTo>
                  <a:lnTo>
                    <a:pt x="59" y="1035"/>
                  </a:lnTo>
                  <a:lnTo>
                    <a:pt x="56" y="1038"/>
                  </a:lnTo>
                  <a:lnTo>
                    <a:pt x="57" y="1040"/>
                  </a:lnTo>
                  <a:lnTo>
                    <a:pt x="53" y="1041"/>
                  </a:lnTo>
                  <a:lnTo>
                    <a:pt x="50" y="1043"/>
                  </a:lnTo>
                  <a:lnTo>
                    <a:pt x="46" y="1047"/>
                  </a:lnTo>
                  <a:lnTo>
                    <a:pt x="45" y="1050"/>
                  </a:lnTo>
                  <a:lnTo>
                    <a:pt x="47" y="1050"/>
                  </a:lnTo>
                  <a:lnTo>
                    <a:pt x="50" y="1049"/>
                  </a:lnTo>
                  <a:lnTo>
                    <a:pt x="50" y="1050"/>
                  </a:lnTo>
                  <a:lnTo>
                    <a:pt x="51" y="1049"/>
                  </a:lnTo>
                  <a:lnTo>
                    <a:pt x="52" y="1046"/>
                  </a:lnTo>
                  <a:lnTo>
                    <a:pt x="54" y="1044"/>
                  </a:lnTo>
                  <a:lnTo>
                    <a:pt x="57" y="1043"/>
                  </a:lnTo>
                  <a:lnTo>
                    <a:pt x="58" y="1041"/>
                  </a:lnTo>
                  <a:lnTo>
                    <a:pt x="57" y="1045"/>
                  </a:lnTo>
                  <a:lnTo>
                    <a:pt x="54" y="1050"/>
                  </a:lnTo>
                  <a:lnTo>
                    <a:pt x="58" y="1050"/>
                  </a:lnTo>
                  <a:lnTo>
                    <a:pt x="59" y="1049"/>
                  </a:lnTo>
                  <a:lnTo>
                    <a:pt x="59" y="1051"/>
                  </a:lnTo>
                  <a:lnTo>
                    <a:pt x="60" y="1051"/>
                  </a:lnTo>
                  <a:lnTo>
                    <a:pt x="62" y="1050"/>
                  </a:lnTo>
                  <a:lnTo>
                    <a:pt x="63" y="1049"/>
                  </a:lnTo>
                  <a:lnTo>
                    <a:pt x="63" y="1046"/>
                  </a:lnTo>
                  <a:lnTo>
                    <a:pt x="63" y="1043"/>
                  </a:lnTo>
                  <a:lnTo>
                    <a:pt x="64" y="1039"/>
                  </a:lnTo>
                  <a:lnTo>
                    <a:pt x="65" y="1043"/>
                  </a:lnTo>
                  <a:lnTo>
                    <a:pt x="65" y="1044"/>
                  </a:lnTo>
                  <a:lnTo>
                    <a:pt x="65" y="1043"/>
                  </a:lnTo>
                  <a:lnTo>
                    <a:pt x="64" y="1038"/>
                  </a:lnTo>
                  <a:lnTo>
                    <a:pt x="66" y="1035"/>
                  </a:lnTo>
                  <a:lnTo>
                    <a:pt x="68" y="1035"/>
                  </a:lnTo>
                  <a:lnTo>
                    <a:pt x="68" y="1037"/>
                  </a:lnTo>
                  <a:lnTo>
                    <a:pt x="69" y="1033"/>
                  </a:lnTo>
                  <a:lnTo>
                    <a:pt x="69" y="1032"/>
                  </a:lnTo>
                  <a:lnTo>
                    <a:pt x="70" y="1032"/>
                  </a:lnTo>
                  <a:lnTo>
                    <a:pt x="70" y="1034"/>
                  </a:lnTo>
                  <a:lnTo>
                    <a:pt x="70" y="1038"/>
                  </a:lnTo>
                  <a:lnTo>
                    <a:pt x="69" y="1041"/>
                  </a:lnTo>
                  <a:lnTo>
                    <a:pt x="68" y="1044"/>
                  </a:lnTo>
                  <a:lnTo>
                    <a:pt x="69" y="1046"/>
                  </a:lnTo>
                  <a:lnTo>
                    <a:pt x="66" y="1049"/>
                  </a:lnTo>
                  <a:lnTo>
                    <a:pt x="68" y="1051"/>
                  </a:lnTo>
                  <a:lnTo>
                    <a:pt x="68" y="1052"/>
                  </a:lnTo>
                  <a:lnTo>
                    <a:pt x="68" y="1057"/>
                  </a:lnTo>
                  <a:lnTo>
                    <a:pt x="69" y="1056"/>
                  </a:lnTo>
                  <a:lnTo>
                    <a:pt x="71" y="1055"/>
                  </a:lnTo>
                  <a:lnTo>
                    <a:pt x="72" y="1053"/>
                  </a:lnTo>
                  <a:lnTo>
                    <a:pt x="74" y="1052"/>
                  </a:lnTo>
                  <a:lnTo>
                    <a:pt x="74" y="1047"/>
                  </a:lnTo>
                  <a:lnTo>
                    <a:pt x="74" y="1045"/>
                  </a:lnTo>
                  <a:lnTo>
                    <a:pt x="75" y="1046"/>
                  </a:lnTo>
                  <a:lnTo>
                    <a:pt x="75" y="1047"/>
                  </a:lnTo>
                  <a:lnTo>
                    <a:pt x="75" y="1051"/>
                  </a:lnTo>
                  <a:lnTo>
                    <a:pt x="75" y="1053"/>
                  </a:lnTo>
                  <a:lnTo>
                    <a:pt x="75" y="1057"/>
                  </a:lnTo>
                  <a:lnTo>
                    <a:pt x="76" y="1059"/>
                  </a:lnTo>
                  <a:lnTo>
                    <a:pt x="76" y="1058"/>
                  </a:lnTo>
                  <a:lnTo>
                    <a:pt x="77" y="1059"/>
                  </a:lnTo>
                  <a:lnTo>
                    <a:pt x="78" y="1062"/>
                  </a:lnTo>
                  <a:lnTo>
                    <a:pt x="80" y="1062"/>
                  </a:lnTo>
                  <a:lnTo>
                    <a:pt x="80" y="1057"/>
                  </a:lnTo>
                  <a:lnTo>
                    <a:pt x="78" y="1052"/>
                  </a:lnTo>
                  <a:lnTo>
                    <a:pt x="80" y="1049"/>
                  </a:lnTo>
                  <a:lnTo>
                    <a:pt x="80" y="1044"/>
                  </a:lnTo>
                  <a:lnTo>
                    <a:pt x="81" y="1051"/>
                  </a:lnTo>
                  <a:lnTo>
                    <a:pt x="83" y="1050"/>
                  </a:lnTo>
                  <a:lnTo>
                    <a:pt x="83" y="1046"/>
                  </a:lnTo>
                  <a:lnTo>
                    <a:pt x="83" y="1043"/>
                  </a:lnTo>
                  <a:lnTo>
                    <a:pt x="84" y="1040"/>
                  </a:lnTo>
                  <a:lnTo>
                    <a:pt x="84" y="1034"/>
                  </a:lnTo>
                  <a:lnTo>
                    <a:pt x="86" y="1033"/>
                  </a:lnTo>
                  <a:lnTo>
                    <a:pt x="86" y="1038"/>
                  </a:lnTo>
                  <a:lnTo>
                    <a:pt x="86" y="1044"/>
                  </a:lnTo>
                  <a:lnTo>
                    <a:pt x="83" y="1047"/>
                  </a:lnTo>
                  <a:lnTo>
                    <a:pt x="83" y="1051"/>
                  </a:lnTo>
                  <a:lnTo>
                    <a:pt x="82" y="1055"/>
                  </a:lnTo>
                  <a:lnTo>
                    <a:pt x="81" y="1057"/>
                  </a:lnTo>
                  <a:lnTo>
                    <a:pt x="82" y="1058"/>
                  </a:lnTo>
                  <a:lnTo>
                    <a:pt x="83" y="1059"/>
                  </a:lnTo>
                  <a:lnTo>
                    <a:pt x="84" y="1058"/>
                  </a:lnTo>
                  <a:lnTo>
                    <a:pt x="84" y="1057"/>
                  </a:lnTo>
                  <a:lnTo>
                    <a:pt x="86" y="1055"/>
                  </a:lnTo>
                  <a:lnTo>
                    <a:pt x="87" y="1052"/>
                  </a:lnTo>
                  <a:lnTo>
                    <a:pt x="88" y="1051"/>
                  </a:lnTo>
                  <a:lnTo>
                    <a:pt x="87" y="1050"/>
                  </a:lnTo>
                  <a:lnTo>
                    <a:pt x="88" y="1045"/>
                  </a:lnTo>
                  <a:lnTo>
                    <a:pt x="88" y="1046"/>
                  </a:lnTo>
                  <a:lnTo>
                    <a:pt x="88" y="1050"/>
                  </a:lnTo>
                  <a:lnTo>
                    <a:pt x="89" y="1052"/>
                  </a:lnTo>
                  <a:lnTo>
                    <a:pt x="89" y="1053"/>
                  </a:lnTo>
                  <a:lnTo>
                    <a:pt x="92" y="1050"/>
                  </a:lnTo>
                  <a:lnTo>
                    <a:pt x="92" y="1047"/>
                  </a:lnTo>
                  <a:lnTo>
                    <a:pt x="93" y="1046"/>
                  </a:lnTo>
                  <a:lnTo>
                    <a:pt x="94" y="1041"/>
                  </a:lnTo>
                  <a:lnTo>
                    <a:pt x="95" y="1043"/>
                  </a:lnTo>
                  <a:lnTo>
                    <a:pt x="95" y="1046"/>
                  </a:lnTo>
                  <a:lnTo>
                    <a:pt x="93" y="1050"/>
                  </a:lnTo>
                  <a:lnTo>
                    <a:pt x="94" y="1053"/>
                  </a:lnTo>
                  <a:lnTo>
                    <a:pt x="94" y="1056"/>
                  </a:lnTo>
                  <a:lnTo>
                    <a:pt x="95" y="1057"/>
                  </a:lnTo>
                  <a:lnTo>
                    <a:pt x="97" y="1056"/>
                  </a:lnTo>
                  <a:lnTo>
                    <a:pt x="97" y="1058"/>
                  </a:lnTo>
                  <a:lnTo>
                    <a:pt x="95" y="1061"/>
                  </a:lnTo>
                  <a:lnTo>
                    <a:pt x="94" y="1062"/>
                  </a:lnTo>
                  <a:lnTo>
                    <a:pt x="91" y="1064"/>
                  </a:lnTo>
                  <a:lnTo>
                    <a:pt x="92" y="1065"/>
                  </a:lnTo>
                  <a:lnTo>
                    <a:pt x="94" y="1063"/>
                  </a:lnTo>
                  <a:lnTo>
                    <a:pt x="94" y="1065"/>
                  </a:lnTo>
                  <a:lnTo>
                    <a:pt x="93" y="1068"/>
                  </a:lnTo>
                  <a:lnTo>
                    <a:pt x="94" y="1068"/>
                  </a:lnTo>
                  <a:lnTo>
                    <a:pt x="95" y="1069"/>
                  </a:lnTo>
                  <a:lnTo>
                    <a:pt x="97" y="1069"/>
                  </a:lnTo>
                  <a:lnTo>
                    <a:pt x="101" y="1062"/>
                  </a:lnTo>
                  <a:lnTo>
                    <a:pt x="101" y="1059"/>
                  </a:lnTo>
                  <a:lnTo>
                    <a:pt x="101" y="1058"/>
                  </a:lnTo>
                  <a:lnTo>
                    <a:pt x="101" y="1051"/>
                  </a:lnTo>
                  <a:lnTo>
                    <a:pt x="103" y="1047"/>
                  </a:lnTo>
                  <a:lnTo>
                    <a:pt x="103" y="1043"/>
                  </a:lnTo>
                  <a:lnTo>
                    <a:pt x="103" y="1041"/>
                  </a:lnTo>
                  <a:lnTo>
                    <a:pt x="104" y="1041"/>
                  </a:lnTo>
                  <a:lnTo>
                    <a:pt x="104" y="1044"/>
                  </a:lnTo>
                  <a:lnTo>
                    <a:pt x="104" y="1045"/>
                  </a:lnTo>
                  <a:lnTo>
                    <a:pt x="106" y="1046"/>
                  </a:lnTo>
                  <a:lnTo>
                    <a:pt x="105" y="1050"/>
                  </a:lnTo>
                  <a:lnTo>
                    <a:pt x="105" y="1053"/>
                  </a:lnTo>
                  <a:lnTo>
                    <a:pt x="105" y="1057"/>
                  </a:lnTo>
                  <a:lnTo>
                    <a:pt x="105" y="1058"/>
                  </a:lnTo>
                  <a:lnTo>
                    <a:pt x="105" y="1059"/>
                  </a:lnTo>
                  <a:lnTo>
                    <a:pt x="104" y="1062"/>
                  </a:lnTo>
                  <a:lnTo>
                    <a:pt x="103" y="1063"/>
                  </a:lnTo>
                  <a:lnTo>
                    <a:pt x="101" y="1065"/>
                  </a:lnTo>
                  <a:lnTo>
                    <a:pt x="100" y="1068"/>
                  </a:lnTo>
                  <a:lnTo>
                    <a:pt x="100" y="1072"/>
                  </a:lnTo>
                  <a:lnTo>
                    <a:pt x="100" y="1074"/>
                  </a:lnTo>
                  <a:lnTo>
                    <a:pt x="100" y="1076"/>
                  </a:lnTo>
                  <a:lnTo>
                    <a:pt x="101" y="1078"/>
                  </a:lnTo>
                  <a:lnTo>
                    <a:pt x="100" y="1081"/>
                  </a:lnTo>
                  <a:lnTo>
                    <a:pt x="100" y="1084"/>
                  </a:lnTo>
                  <a:lnTo>
                    <a:pt x="98" y="1085"/>
                  </a:lnTo>
                  <a:lnTo>
                    <a:pt x="94" y="1086"/>
                  </a:lnTo>
                  <a:lnTo>
                    <a:pt x="92" y="1085"/>
                  </a:lnTo>
                  <a:lnTo>
                    <a:pt x="87" y="1082"/>
                  </a:lnTo>
                  <a:lnTo>
                    <a:pt x="83" y="1080"/>
                  </a:lnTo>
                  <a:lnTo>
                    <a:pt x="82" y="1080"/>
                  </a:lnTo>
                  <a:lnTo>
                    <a:pt x="80" y="1080"/>
                  </a:lnTo>
                  <a:lnTo>
                    <a:pt x="77" y="1079"/>
                  </a:lnTo>
                  <a:lnTo>
                    <a:pt x="74" y="1078"/>
                  </a:lnTo>
                  <a:lnTo>
                    <a:pt x="71" y="1076"/>
                  </a:lnTo>
                  <a:lnTo>
                    <a:pt x="70" y="1080"/>
                  </a:lnTo>
                  <a:lnTo>
                    <a:pt x="72" y="1080"/>
                  </a:lnTo>
                  <a:lnTo>
                    <a:pt x="71" y="1082"/>
                  </a:lnTo>
                  <a:lnTo>
                    <a:pt x="72" y="1082"/>
                  </a:lnTo>
                  <a:lnTo>
                    <a:pt x="75" y="1082"/>
                  </a:lnTo>
                  <a:lnTo>
                    <a:pt x="74" y="1085"/>
                  </a:lnTo>
                  <a:lnTo>
                    <a:pt x="74" y="1086"/>
                  </a:lnTo>
                  <a:lnTo>
                    <a:pt x="76" y="1085"/>
                  </a:lnTo>
                  <a:lnTo>
                    <a:pt x="77" y="1084"/>
                  </a:lnTo>
                  <a:lnTo>
                    <a:pt x="78" y="1084"/>
                  </a:lnTo>
                  <a:lnTo>
                    <a:pt x="80" y="1085"/>
                  </a:lnTo>
                  <a:lnTo>
                    <a:pt x="76" y="1087"/>
                  </a:lnTo>
                  <a:lnTo>
                    <a:pt x="76" y="1088"/>
                  </a:lnTo>
                  <a:lnTo>
                    <a:pt x="77" y="1090"/>
                  </a:lnTo>
                  <a:lnTo>
                    <a:pt x="80" y="1091"/>
                  </a:lnTo>
                  <a:lnTo>
                    <a:pt x="81" y="1090"/>
                  </a:lnTo>
                  <a:lnTo>
                    <a:pt x="82" y="1088"/>
                  </a:lnTo>
                  <a:lnTo>
                    <a:pt x="81" y="1091"/>
                  </a:lnTo>
                  <a:lnTo>
                    <a:pt x="81" y="1093"/>
                  </a:lnTo>
                  <a:lnTo>
                    <a:pt x="81" y="1094"/>
                  </a:lnTo>
                  <a:lnTo>
                    <a:pt x="82" y="1094"/>
                  </a:lnTo>
                  <a:lnTo>
                    <a:pt x="82" y="1096"/>
                  </a:lnTo>
                  <a:lnTo>
                    <a:pt x="83" y="1098"/>
                  </a:lnTo>
                  <a:lnTo>
                    <a:pt x="84" y="1099"/>
                  </a:lnTo>
                  <a:lnTo>
                    <a:pt x="86" y="1099"/>
                  </a:lnTo>
                  <a:lnTo>
                    <a:pt x="87" y="1099"/>
                  </a:lnTo>
                  <a:lnTo>
                    <a:pt x="87" y="1102"/>
                  </a:lnTo>
                  <a:lnTo>
                    <a:pt x="89" y="1104"/>
                  </a:lnTo>
                  <a:lnTo>
                    <a:pt x="87" y="1104"/>
                  </a:lnTo>
                  <a:lnTo>
                    <a:pt x="87" y="1106"/>
                  </a:lnTo>
                  <a:lnTo>
                    <a:pt x="88" y="1106"/>
                  </a:lnTo>
                  <a:lnTo>
                    <a:pt x="89" y="1108"/>
                  </a:lnTo>
                  <a:lnTo>
                    <a:pt x="91" y="1108"/>
                  </a:lnTo>
                  <a:lnTo>
                    <a:pt x="92" y="1105"/>
                  </a:lnTo>
                  <a:lnTo>
                    <a:pt x="93" y="1106"/>
                  </a:lnTo>
                  <a:lnTo>
                    <a:pt x="94" y="1106"/>
                  </a:lnTo>
                  <a:lnTo>
                    <a:pt x="95" y="1103"/>
                  </a:lnTo>
                  <a:lnTo>
                    <a:pt x="97" y="1102"/>
                  </a:lnTo>
                  <a:lnTo>
                    <a:pt x="98" y="1103"/>
                  </a:lnTo>
                  <a:lnTo>
                    <a:pt x="97" y="1105"/>
                  </a:lnTo>
                  <a:lnTo>
                    <a:pt x="94" y="1108"/>
                  </a:lnTo>
                  <a:lnTo>
                    <a:pt x="94" y="1109"/>
                  </a:lnTo>
                  <a:lnTo>
                    <a:pt x="97" y="1109"/>
                  </a:lnTo>
                  <a:lnTo>
                    <a:pt x="97" y="1111"/>
                  </a:lnTo>
                  <a:lnTo>
                    <a:pt x="97" y="1112"/>
                  </a:lnTo>
                  <a:lnTo>
                    <a:pt x="99" y="1112"/>
                  </a:lnTo>
                  <a:lnTo>
                    <a:pt x="101" y="1114"/>
                  </a:lnTo>
                  <a:lnTo>
                    <a:pt x="104" y="1112"/>
                  </a:lnTo>
                  <a:lnTo>
                    <a:pt x="105" y="1114"/>
                  </a:lnTo>
                  <a:lnTo>
                    <a:pt x="106" y="1114"/>
                  </a:lnTo>
                  <a:lnTo>
                    <a:pt x="109" y="1112"/>
                  </a:lnTo>
                  <a:lnTo>
                    <a:pt x="110" y="1114"/>
                  </a:lnTo>
                  <a:lnTo>
                    <a:pt x="111" y="1115"/>
                  </a:lnTo>
                  <a:lnTo>
                    <a:pt x="113" y="1114"/>
                  </a:lnTo>
                  <a:lnTo>
                    <a:pt x="113" y="1112"/>
                  </a:lnTo>
                  <a:lnTo>
                    <a:pt x="115" y="1112"/>
                  </a:lnTo>
                  <a:lnTo>
                    <a:pt x="116" y="1111"/>
                  </a:lnTo>
                  <a:lnTo>
                    <a:pt x="118" y="1111"/>
                  </a:lnTo>
                  <a:lnTo>
                    <a:pt x="118" y="1110"/>
                  </a:lnTo>
                  <a:lnTo>
                    <a:pt x="121" y="1112"/>
                  </a:lnTo>
                  <a:lnTo>
                    <a:pt x="122" y="1112"/>
                  </a:lnTo>
                  <a:lnTo>
                    <a:pt x="123" y="1112"/>
                  </a:lnTo>
                  <a:lnTo>
                    <a:pt x="124" y="1111"/>
                  </a:lnTo>
                  <a:lnTo>
                    <a:pt x="125" y="1111"/>
                  </a:lnTo>
                  <a:lnTo>
                    <a:pt x="127" y="1114"/>
                  </a:lnTo>
                  <a:lnTo>
                    <a:pt x="128" y="1114"/>
                  </a:lnTo>
                  <a:lnTo>
                    <a:pt x="129" y="1114"/>
                  </a:lnTo>
                  <a:lnTo>
                    <a:pt x="130" y="1114"/>
                  </a:lnTo>
                  <a:lnTo>
                    <a:pt x="131" y="1114"/>
                  </a:lnTo>
                  <a:lnTo>
                    <a:pt x="133" y="1115"/>
                  </a:lnTo>
                  <a:lnTo>
                    <a:pt x="134" y="1114"/>
                  </a:lnTo>
                  <a:lnTo>
                    <a:pt x="134" y="1112"/>
                  </a:lnTo>
                  <a:lnTo>
                    <a:pt x="136" y="1112"/>
                  </a:lnTo>
                  <a:lnTo>
                    <a:pt x="136" y="1114"/>
                  </a:lnTo>
                  <a:lnTo>
                    <a:pt x="137" y="1114"/>
                  </a:lnTo>
                  <a:lnTo>
                    <a:pt x="140" y="1114"/>
                  </a:lnTo>
                  <a:lnTo>
                    <a:pt x="141" y="1114"/>
                  </a:lnTo>
                  <a:lnTo>
                    <a:pt x="142" y="1115"/>
                  </a:lnTo>
                  <a:lnTo>
                    <a:pt x="145" y="1116"/>
                  </a:lnTo>
                  <a:lnTo>
                    <a:pt x="146" y="1117"/>
                  </a:lnTo>
                  <a:lnTo>
                    <a:pt x="147" y="1120"/>
                  </a:lnTo>
                  <a:lnTo>
                    <a:pt x="148" y="1121"/>
                  </a:lnTo>
                  <a:lnTo>
                    <a:pt x="148" y="1122"/>
                  </a:lnTo>
                  <a:lnTo>
                    <a:pt x="151" y="1123"/>
                  </a:lnTo>
                  <a:lnTo>
                    <a:pt x="153" y="1123"/>
                  </a:lnTo>
                  <a:lnTo>
                    <a:pt x="154" y="1122"/>
                  </a:lnTo>
                  <a:lnTo>
                    <a:pt x="152" y="1124"/>
                  </a:lnTo>
                  <a:lnTo>
                    <a:pt x="151" y="1126"/>
                  </a:lnTo>
                  <a:lnTo>
                    <a:pt x="152" y="1127"/>
                  </a:lnTo>
                  <a:lnTo>
                    <a:pt x="152" y="1126"/>
                  </a:lnTo>
                  <a:lnTo>
                    <a:pt x="154" y="1126"/>
                  </a:lnTo>
                  <a:lnTo>
                    <a:pt x="156" y="1126"/>
                  </a:lnTo>
                  <a:lnTo>
                    <a:pt x="156" y="1127"/>
                  </a:lnTo>
                  <a:lnTo>
                    <a:pt x="154" y="1127"/>
                  </a:lnTo>
                  <a:lnTo>
                    <a:pt x="153" y="1129"/>
                  </a:lnTo>
                  <a:lnTo>
                    <a:pt x="154" y="1129"/>
                  </a:lnTo>
                  <a:lnTo>
                    <a:pt x="154" y="1132"/>
                  </a:lnTo>
                  <a:lnTo>
                    <a:pt x="156" y="1130"/>
                  </a:lnTo>
                  <a:lnTo>
                    <a:pt x="157" y="1130"/>
                  </a:lnTo>
                  <a:lnTo>
                    <a:pt x="158" y="1132"/>
                  </a:lnTo>
                  <a:lnTo>
                    <a:pt x="157" y="1133"/>
                  </a:lnTo>
                  <a:lnTo>
                    <a:pt x="158" y="1134"/>
                  </a:lnTo>
                  <a:lnTo>
                    <a:pt x="159" y="1134"/>
                  </a:lnTo>
                  <a:lnTo>
                    <a:pt x="159" y="1135"/>
                  </a:lnTo>
                  <a:lnTo>
                    <a:pt x="160" y="1136"/>
                  </a:lnTo>
                  <a:lnTo>
                    <a:pt x="162" y="1134"/>
                  </a:lnTo>
                  <a:lnTo>
                    <a:pt x="163" y="1134"/>
                  </a:lnTo>
                  <a:lnTo>
                    <a:pt x="163" y="1136"/>
                  </a:lnTo>
                  <a:lnTo>
                    <a:pt x="160" y="1139"/>
                  </a:lnTo>
                  <a:lnTo>
                    <a:pt x="160" y="1141"/>
                  </a:lnTo>
                  <a:lnTo>
                    <a:pt x="162" y="1141"/>
                  </a:lnTo>
                  <a:lnTo>
                    <a:pt x="163" y="1140"/>
                  </a:lnTo>
                  <a:lnTo>
                    <a:pt x="164" y="1138"/>
                  </a:lnTo>
                  <a:lnTo>
                    <a:pt x="165" y="1135"/>
                  </a:lnTo>
                  <a:lnTo>
                    <a:pt x="165" y="1138"/>
                  </a:lnTo>
                  <a:lnTo>
                    <a:pt x="164" y="1140"/>
                  </a:lnTo>
                  <a:lnTo>
                    <a:pt x="165" y="1141"/>
                  </a:lnTo>
                  <a:lnTo>
                    <a:pt x="165" y="1142"/>
                  </a:lnTo>
                  <a:lnTo>
                    <a:pt x="164" y="1144"/>
                  </a:lnTo>
                  <a:lnTo>
                    <a:pt x="164" y="1146"/>
                  </a:lnTo>
                  <a:lnTo>
                    <a:pt x="164" y="1150"/>
                  </a:lnTo>
                  <a:lnTo>
                    <a:pt x="163" y="1151"/>
                  </a:lnTo>
                  <a:lnTo>
                    <a:pt x="162" y="1153"/>
                  </a:lnTo>
                  <a:lnTo>
                    <a:pt x="160" y="1156"/>
                  </a:lnTo>
                  <a:lnTo>
                    <a:pt x="159" y="1159"/>
                  </a:lnTo>
                  <a:lnTo>
                    <a:pt x="156" y="1163"/>
                  </a:lnTo>
                  <a:lnTo>
                    <a:pt x="154" y="1165"/>
                  </a:lnTo>
                  <a:lnTo>
                    <a:pt x="152" y="1166"/>
                  </a:lnTo>
                  <a:lnTo>
                    <a:pt x="154" y="1169"/>
                  </a:lnTo>
                  <a:lnTo>
                    <a:pt x="154" y="1170"/>
                  </a:lnTo>
                  <a:lnTo>
                    <a:pt x="154" y="1171"/>
                  </a:lnTo>
                  <a:lnTo>
                    <a:pt x="156" y="1172"/>
                  </a:lnTo>
                  <a:lnTo>
                    <a:pt x="156" y="1174"/>
                  </a:lnTo>
                  <a:lnTo>
                    <a:pt x="157" y="1176"/>
                  </a:lnTo>
                  <a:lnTo>
                    <a:pt x="157" y="1175"/>
                  </a:lnTo>
                  <a:lnTo>
                    <a:pt x="158" y="1175"/>
                  </a:lnTo>
                  <a:lnTo>
                    <a:pt x="159" y="1176"/>
                  </a:lnTo>
                  <a:lnTo>
                    <a:pt x="160" y="1176"/>
                  </a:lnTo>
                  <a:lnTo>
                    <a:pt x="158" y="1180"/>
                  </a:lnTo>
                  <a:lnTo>
                    <a:pt x="157" y="1181"/>
                  </a:lnTo>
                  <a:lnTo>
                    <a:pt x="158" y="1181"/>
                  </a:lnTo>
                  <a:lnTo>
                    <a:pt x="159" y="1180"/>
                  </a:lnTo>
                  <a:lnTo>
                    <a:pt x="162" y="1177"/>
                  </a:lnTo>
                  <a:lnTo>
                    <a:pt x="163" y="1175"/>
                  </a:lnTo>
                  <a:lnTo>
                    <a:pt x="165" y="1172"/>
                  </a:lnTo>
                  <a:lnTo>
                    <a:pt x="166" y="1171"/>
                  </a:lnTo>
                  <a:lnTo>
                    <a:pt x="169" y="1170"/>
                  </a:lnTo>
                  <a:lnTo>
                    <a:pt x="170" y="1172"/>
                  </a:lnTo>
                  <a:lnTo>
                    <a:pt x="171" y="1172"/>
                  </a:lnTo>
                  <a:lnTo>
                    <a:pt x="174" y="1174"/>
                  </a:lnTo>
                  <a:lnTo>
                    <a:pt x="176" y="1175"/>
                  </a:lnTo>
                  <a:lnTo>
                    <a:pt x="176" y="1176"/>
                  </a:lnTo>
                  <a:lnTo>
                    <a:pt x="177" y="1177"/>
                  </a:lnTo>
                  <a:lnTo>
                    <a:pt x="177" y="1179"/>
                  </a:lnTo>
                  <a:lnTo>
                    <a:pt x="178" y="1179"/>
                  </a:lnTo>
                  <a:lnTo>
                    <a:pt x="180" y="1179"/>
                  </a:lnTo>
                  <a:lnTo>
                    <a:pt x="181" y="1180"/>
                  </a:lnTo>
                  <a:lnTo>
                    <a:pt x="180" y="1181"/>
                  </a:lnTo>
                  <a:lnTo>
                    <a:pt x="181" y="1182"/>
                  </a:lnTo>
                  <a:lnTo>
                    <a:pt x="182" y="1183"/>
                  </a:lnTo>
                  <a:lnTo>
                    <a:pt x="183" y="1182"/>
                  </a:lnTo>
                  <a:lnTo>
                    <a:pt x="184" y="1183"/>
                  </a:lnTo>
                  <a:lnTo>
                    <a:pt x="183" y="1185"/>
                  </a:lnTo>
                  <a:lnTo>
                    <a:pt x="183" y="1187"/>
                  </a:lnTo>
                  <a:lnTo>
                    <a:pt x="186" y="1186"/>
                  </a:lnTo>
                  <a:lnTo>
                    <a:pt x="186" y="1185"/>
                  </a:lnTo>
                  <a:lnTo>
                    <a:pt x="187" y="1187"/>
                  </a:lnTo>
                  <a:lnTo>
                    <a:pt x="188" y="1187"/>
                  </a:lnTo>
                  <a:lnTo>
                    <a:pt x="190" y="1187"/>
                  </a:lnTo>
                  <a:lnTo>
                    <a:pt x="192" y="1187"/>
                  </a:lnTo>
                  <a:lnTo>
                    <a:pt x="192" y="1186"/>
                  </a:lnTo>
                  <a:lnTo>
                    <a:pt x="192" y="1182"/>
                  </a:lnTo>
                  <a:lnTo>
                    <a:pt x="194" y="1179"/>
                  </a:lnTo>
                  <a:lnTo>
                    <a:pt x="194" y="1177"/>
                  </a:lnTo>
                  <a:lnTo>
                    <a:pt x="193" y="1175"/>
                  </a:lnTo>
                  <a:lnTo>
                    <a:pt x="193" y="1172"/>
                  </a:lnTo>
                  <a:lnTo>
                    <a:pt x="193" y="1171"/>
                  </a:lnTo>
                  <a:lnTo>
                    <a:pt x="193" y="1168"/>
                  </a:lnTo>
                  <a:lnTo>
                    <a:pt x="190" y="1166"/>
                  </a:lnTo>
                  <a:lnTo>
                    <a:pt x="189" y="1166"/>
                  </a:lnTo>
                  <a:lnTo>
                    <a:pt x="189" y="1165"/>
                  </a:lnTo>
                  <a:lnTo>
                    <a:pt x="190" y="1163"/>
                  </a:lnTo>
                  <a:lnTo>
                    <a:pt x="192" y="1159"/>
                  </a:lnTo>
                  <a:lnTo>
                    <a:pt x="193" y="1158"/>
                  </a:lnTo>
                  <a:lnTo>
                    <a:pt x="196" y="1157"/>
                  </a:lnTo>
                  <a:lnTo>
                    <a:pt x="198" y="1158"/>
                  </a:lnTo>
                  <a:lnTo>
                    <a:pt x="199" y="1157"/>
                  </a:lnTo>
                  <a:lnTo>
                    <a:pt x="200" y="1154"/>
                  </a:lnTo>
                  <a:lnTo>
                    <a:pt x="201" y="1154"/>
                  </a:lnTo>
                  <a:lnTo>
                    <a:pt x="204" y="1156"/>
                  </a:lnTo>
                  <a:lnTo>
                    <a:pt x="205" y="1156"/>
                  </a:lnTo>
                  <a:lnTo>
                    <a:pt x="207" y="1156"/>
                  </a:lnTo>
                  <a:lnTo>
                    <a:pt x="209" y="1157"/>
                  </a:lnTo>
                  <a:lnTo>
                    <a:pt x="210" y="1157"/>
                  </a:lnTo>
                  <a:lnTo>
                    <a:pt x="212" y="1158"/>
                  </a:lnTo>
                  <a:lnTo>
                    <a:pt x="213" y="1157"/>
                  </a:lnTo>
                  <a:lnTo>
                    <a:pt x="215" y="1156"/>
                  </a:lnTo>
                  <a:lnTo>
                    <a:pt x="215" y="1157"/>
                  </a:lnTo>
                  <a:lnTo>
                    <a:pt x="216" y="1156"/>
                  </a:lnTo>
                  <a:lnTo>
                    <a:pt x="216" y="1154"/>
                  </a:lnTo>
                  <a:lnTo>
                    <a:pt x="217" y="1153"/>
                  </a:lnTo>
                  <a:lnTo>
                    <a:pt x="218" y="1153"/>
                  </a:lnTo>
                  <a:lnTo>
                    <a:pt x="221" y="1152"/>
                  </a:lnTo>
                  <a:lnTo>
                    <a:pt x="221" y="1151"/>
                  </a:lnTo>
                  <a:lnTo>
                    <a:pt x="222" y="1148"/>
                  </a:lnTo>
                  <a:lnTo>
                    <a:pt x="223" y="1147"/>
                  </a:lnTo>
                  <a:lnTo>
                    <a:pt x="227" y="1148"/>
                  </a:lnTo>
                  <a:lnTo>
                    <a:pt x="227" y="1147"/>
                  </a:lnTo>
                  <a:lnTo>
                    <a:pt x="228" y="1147"/>
                  </a:lnTo>
                  <a:lnTo>
                    <a:pt x="227" y="1150"/>
                  </a:lnTo>
                  <a:lnTo>
                    <a:pt x="228" y="1151"/>
                  </a:lnTo>
                  <a:lnTo>
                    <a:pt x="230" y="1151"/>
                  </a:lnTo>
                  <a:lnTo>
                    <a:pt x="231" y="1150"/>
                  </a:lnTo>
                  <a:lnTo>
                    <a:pt x="231" y="1147"/>
                  </a:lnTo>
                  <a:lnTo>
                    <a:pt x="231" y="1145"/>
                  </a:lnTo>
                  <a:lnTo>
                    <a:pt x="231" y="1144"/>
                  </a:lnTo>
                  <a:lnTo>
                    <a:pt x="231" y="1146"/>
                  </a:lnTo>
                  <a:lnTo>
                    <a:pt x="231" y="1148"/>
                  </a:lnTo>
                  <a:lnTo>
                    <a:pt x="233" y="1150"/>
                  </a:lnTo>
                  <a:lnTo>
                    <a:pt x="234" y="1148"/>
                  </a:lnTo>
                  <a:lnTo>
                    <a:pt x="234" y="1150"/>
                  </a:lnTo>
                  <a:lnTo>
                    <a:pt x="233" y="1151"/>
                  </a:lnTo>
                  <a:lnTo>
                    <a:pt x="233" y="1153"/>
                  </a:lnTo>
                  <a:lnTo>
                    <a:pt x="234" y="1154"/>
                  </a:lnTo>
                  <a:lnTo>
                    <a:pt x="235" y="1153"/>
                  </a:lnTo>
                  <a:lnTo>
                    <a:pt x="236" y="1153"/>
                  </a:lnTo>
                  <a:lnTo>
                    <a:pt x="237" y="1152"/>
                  </a:lnTo>
                  <a:lnTo>
                    <a:pt x="237" y="1154"/>
                  </a:lnTo>
                  <a:lnTo>
                    <a:pt x="239" y="1153"/>
                  </a:lnTo>
                  <a:lnTo>
                    <a:pt x="239" y="1152"/>
                  </a:lnTo>
                  <a:lnTo>
                    <a:pt x="239" y="1151"/>
                  </a:lnTo>
                  <a:lnTo>
                    <a:pt x="240" y="1150"/>
                  </a:lnTo>
                  <a:lnTo>
                    <a:pt x="240" y="1153"/>
                  </a:lnTo>
                  <a:lnTo>
                    <a:pt x="241" y="1153"/>
                  </a:lnTo>
                  <a:lnTo>
                    <a:pt x="241" y="1156"/>
                  </a:lnTo>
                  <a:lnTo>
                    <a:pt x="241" y="1157"/>
                  </a:lnTo>
                  <a:lnTo>
                    <a:pt x="242" y="1157"/>
                  </a:lnTo>
                  <a:lnTo>
                    <a:pt x="243" y="1158"/>
                  </a:lnTo>
                  <a:lnTo>
                    <a:pt x="247" y="1156"/>
                  </a:lnTo>
                  <a:lnTo>
                    <a:pt x="247" y="1160"/>
                  </a:lnTo>
                  <a:lnTo>
                    <a:pt x="248" y="1157"/>
                  </a:lnTo>
                  <a:lnTo>
                    <a:pt x="247" y="1154"/>
                  </a:lnTo>
                  <a:lnTo>
                    <a:pt x="251" y="1157"/>
                  </a:lnTo>
                  <a:lnTo>
                    <a:pt x="252" y="1158"/>
                  </a:lnTo>
                  <a:lnTo>
                    <a:pt x="251" y="1159"/>
                  </a:lnTo>
                  <a:lnTo>
                    <a:pt x="251" y="1160"/>
                  </a:lnTo>
                  <a:lnTo>
                    <a:pt x="251" y="1163"/>
                  </a:lnTo>
                  <a:lnTo>
                    <a:pt x="252" y="1162"/>
                  </a:lnTo>
                  <a:lnTo>
                    <a:pt x="253" y="1160"/>
                  </a:lnTo>
                  <a:lnTo>
                    <a:pt x="255" y="1159"/>
                  </a:lnTo>
                  <a:lnTo>
                    <a:pt x="257" y="1159"/>
                  </a:lnTo>
                  <a:lnTo>
                    <a:pt x="257" y="1158"/>
                  </a:lnTo>
                  <a:lnTo>
                    <a:pt x="258" y="1160"/>
                  </a:lnTo>
                  <a:lnTo>
                    <a:pt x="258" y="1162"/>
                  </a:lnTo>
                  <a:lnTo>
                    <a:pt x="260" y="1163"/>
                  </a:lnTo>
                  <a:lnTo>
                    <a:pt x="263" y="1162"/>
                  </a:lnTo>
                  <a:lnTo>
                    <a:pt x="264" y="1160"/>
                  </a:lnTo>
                  <a:lnTo>
                    <a:pt x="266" y="1159"/>
                  </a:lnTo>
                  <a:lnTo>
                    <a:pt x="269" y="1158"/>
                  </a:lnTo>
                  <a:lnTo>
                    <a:pt x="270" y="1157"/>
                  </a:lnTo>
                  <a:lnTo>
                    <a:pt x="270" y="1156"/>
                  </a:lnTo>
                  <a:lnTo>
                    <a:pt x="271" y="1154"/>
                  </a:lnTo>
                  <a:lnTo>
                    <a:pt x="271" y="1157"/>
                  </a:lnTo>
                  <a:lnTo>
                    <a:pt x="271" y="1159"/>
                  </a:lnTo>
                  <a:lnTo>
                    <a:pt x="272" y="1159"/>
                  </a:lnTo>
                  <a:lnTo>
                    <a:pt x="274" y="1160"/>
                  </a:lnTo>
                  <a:lnTo>
                    <a:pt x="276" y="1162"/>
                  </a:lnTo>
                  <a:lnTo>
                    <a:pt x="277" y="1163"/>
                  </a:lnTo>
                  <a:lnTo>
                    <a:pt x="278" y="1164"/>
                  </a:lnTo>
                  <a:lnTo>
                    <a:pt x="278" y="1165"/>
                  </a:lnTo>
                  <a:lnTo>
                    <a:pt x="280" y="1166"/>
                  </a:lnTo>
                  <a:lnTo>
                    <a:pt x="282" y="1168"/>
                  </a:lnTo>
                  <a:lnTo>
                    <a:pt x="281" y="1169"/>
                  </a:lnTo>
                  <a:lnTo>
                    <a:pt x="281" y="1170"/>
                  </a:lnTo>
                  <a:lnTo>
                    <a:pt x="282" y="1169"/>
                  </a:lnTo>
                  <a:lnTo>
                    <a:pt x="283" y="1169"/>
                  </a:lnTo>
                  <a:lnTo>
                    <a:pt x="283" y="1172"/>
                  </a:lnTo>
                  <a:lnTo>
                    <a:pt x="283" y="1174"/>
                  </a:lnTo>
                  <a:lnTo>
                    <a:pt x="284" y="1175"/>
                  </a:lnTo>
                  <a:lnTo>
                    <a:pt x="286" y="1174"/>
                  </a:lnTo>
                  <a:lnTo>
                    <a:pt x="288" y="1174"/>
                  </a:lnTo>
                  <a:lnTo>
                    <a:pt x="287" y="1176"/>
                  </a:lnTo>
                  <a:lnTo>
                    <a:pt x="284" y="1179"/>
                  </a:lnTo>
                  <a:lnTo>
                    <a:pt x="286" y="1179"/>
                  </a:lnTo>
                  <a:lnTo>
                    <a:pt x="287" y="1177"/>
                  </a:lnTo>
                  <a:lnTo>
                    <a:pt x="289" y="1176"/>
                  </a:lnTo>
                  <a:lnTo>
                    <a:pt x="292" y="1175"/>
                  </a:lnTo>
                  <a:lnTo>
                    <a:pt x="294" y="1174"/>
                  </a:lnTo>
                  <a:lnTo>
                    <a:pt x="296" y="1172"/>
                  </a:lnTo>
                  <a:lnTo>
                    <a:pt x="298" y="1171"/>
                  </a:lnTo>
                  <a:lnTo>
                    <a:pt x="300" y="1172"/>
                  </a:lnTo>
                  <a:lnTo>
                    <a:pt x="300" y="1171"/>
                  </a:lnTo>
                  <a:lnTo>
                    <a:pt x="301" y="1170"/>
                  </a:lnTo>
                  <a:lnTo>
                    <a:pt x="304" y="1169"/>
                  </a:lnTo>
                  <a:lnTo>
                    <a:pt x="304" y="1170"/>
                  </a:lnTo>
                  <a:lnTo>
                    <a:pt x="305" y="1170"/>
                  </a:lnTo>
                  <a:lnTo>
                    <a:pt x="307" y="1169"/>
                  </a:lnTo>
                  <a:lnTo>
                    <a:pt x="308" y="1169"/>
                  </a:lnTo>
                  <a:lnTo>
                    <a:pt x="311" y="1170"/>
                  </a:lnTo>
                  <a:lnTo>
                    <a:pt x="312" y="1169"/>
                  </a:lnTo>
                  <a:lnTo>
                    <a:pt x="313" y="1170"/>
                  </a:lnTo>
                  <a:lnTo>
                    <a:pt x="312" y="1171"/>
                  </a:lnTo>
                  <a:lnTo>
                    <a:pt x="314" y="1172"/>
                  </a:lnTo>
                  <a:lnTo>
                    <a:pt x="316" y="1171"/>
                  </a:lnTo>
                  <a:lnTo>
                    <a:pt x="316" y="1170"/>
                  </a:lnTo>
                  <a:lnTo>
                    <a:pt x="317" y="1170"/>
                  </a:lnTo>
                  <a:lnTo>
                    <a:pt x="318" y="1168"/>
                  </a:lnTo>
                  <a:lnTo>
                    <a:pt x="318" y="1165"/>
                  </a:lnTo>
                  <a:lnTo>
                    <a:pt x="318" y="1163"/>
                  </a:lnTo>
                  <a:lnTo>
                    <a:pt x="319" y="1164"/>
                  </a:lnTo>
                  <a:lnTo>
                    <a:pt x="319" y="1166"/>
                  </a:lnTo>
                  <a:lnTo>
                    <a:pt x="319" y="1169"/>
                  </a:lnTo>
                  <a:lnTo>
                    <a:pt x="319" y="1172"/>
                  </a:lnTo>
                  <a:lnTo>
                    <a:pt x="320" y="1172"/>
                  </a:lnTo>
                  <a:lnTo>
                    <a:pt x="320" y="1175"/>
                  </a:lnTo>
                  <a:lnTo>
                    <a:pt x="322" y="1177"/>
                  </a:lnTo>
                  <a:lnTo>
                    <a:pt x="323" y="1179"/>
                  </a:lnTo>
                  <a:lnTo>
                    <a:pt x="322" y="1179"/>
                  </a:lnTo>
                  <a:lnTo>
                    <a:pt x="322" y="1181"/>
                  </a:lnTo>
                  <a:lnTo>
                    <a:pt x="324" y="1181"/>
                  </a:lnTo>
                  <a:lnTo>
                    <a:pt x="324" y="1183"/>
                  </a:lnTo>
                  <a:lnTo>
                    <a:pt x="324" y="1187"/>
                  </a:lnTo>
                  <a:lnTo>
                    <a:pt x="324" y="1188"/>
                  </a:lnTo>
                  <a:lnTo>
                    <a:pt x="325" y="1189"/>
                  </a:lnTo>
                  <a:lnTo>
                    <a:pt x="325" y="1192"/>
                  </a:lnTo>
                  <a:lnTo>
                    <a:pt x="326" y="1193"/>
                  </a:lnTo>
                  <a:lnTo>
                    <a:pt x="326" y="1194"/>
                  </a:lnTo>
                  <a:lnTo>
                    <a:pt x="328" y="1198"/>
                  </a:lnTo>
                  <a:lnTo>
                    <a:pt x="328" y="1199"/>
                  </a:lnTo>
                  <a:lnTo>
                    <a:pt x="329" y="1201"/>
                  </a:lnTo>
                  <a:lnTo>
                    <a:pt x="331" y="1204"/>
                  </a:lnTo>
                  <a:lnTo>
                    <a:pt x="334" y="1205"/>
                  </a:lnTo>
                  <a:lnTo>
                    <a:pt x="336" y="1206"/>
                  </a:lnTo>
                  <a:lnTo>
                    <a:pt x="337" y="1206"/>
                  </a:lnTo>
                  <a:lnTo>
                    <a:pt x="339" y="1205"/>
                  </a:lnTo>
                  <a:lnTo>
                    <a:pt x="340" y="1206"/>
                  </a:lnTo>
                  <a:lnTo>
                    <a:pt x="340" y="1205"/>
                  </a:lnTo>
                  <a:lnTo>
                    <a:pt x="341" y="1205"/>
                  </a:lnTo>
                  <a:lnTo>
                    <a:pt x="342" y="1204"/>
                  </a:lnTo>
                  <a:lnTo>
                    <a:pt x="343" y="1204"/>
                  </a:lnTo>
                  <a:lnTo>
                    <a:pt x="345" y="1203"/>
                  </a:lnTo>
                  <a:lnTo>
                    <a:pt x="345" y="1201"/>
                  </a:lnTo>
                  <a:lnTo>
                    <a:pt x="346" y="1201"/>
                  </a:lnTo>
                  <a:lnTo>
                    <a:pt x="348" y="1203"/>
                  </a:lnTo>
                  <a:lnTo>
                    <a:pt x="348" y="1201"/>
                  </a:lnTo>
                  <a:lnTo>
                    <a:pt x="349" y="1200"/>
                  </a:lnTo>
                  <a:lnTo>
                    <a:pt x="349" y="1199"/>
                  </a:lnTo>
                  <a:lnTo>
                    <a:pt x="351" y="1200"/>
                  </a:lnTo>
                  <a:lnTo>
                    <a:pt x="352" y="1199"/>
                  </a:lnTo>
                  <a:lnTo>
                    <a:pt x="353" y="1199"/>
                  </a:lnTo>
                  <a:lnTo>
                    <a:pt x="354" y="1200"/>
                  </a:lnTo>
                  <a:lnTo>
                    <a:pt x="354" y="1203"/>
                  </a:lnTo>
                  <a:lnTo>
                    <a:pt x="354" y="1204"/>
                  </a:lnTo>
                  <a:lnTo>
                    <a:pt x="355" y="1203"/>
                  </a:lnTo>
                  <a:lnTo>
                    <a:pt x="355" y="1204"/>
                  </a:lnTo>
                  <a:lnTo>
                    <a:pt x="355" y="1206"/>
                  </a:lnTo>
                  <a:lnTo>
                    <a:pt x="357" y="1206"/>
                  </a:lnTo>
                  <a:lnTo>
                    <a:pt x="358" y="1206"/>
                  </a:lnTo>
                  <a:lnTo>
                    <a:pt x="358" y="1207"/>
                  </a:lnTo>
                  <a:lnTo>
                    <a:pt x="358" y="1210"/>
                  </a:lnTo>
                  <a:lnTo>
                    <a:pt x="359" y="1207"/>
                  </a:lnTo>
                  <a:lnTo>
                    <a:pt x="359" y="1209"/>
                  </a:lnTo>
                  <a:lnTo>
                    <a:pt x="359" y="1210"/>
                  </a:lnTo>
                  <a:lnTo>
                    <a:pt x="359" y="1211"/>
                  </a:lnTo>
                  <a:lnTo>
                    <a:pt x="359" y="1212"/>
                  </a:lnTo>
                  <a:lnTo>
                    <a:pt x="359" y="1215"/>
                  </a:lnTo>
                  <a:lnTo>
                    <a:pt x="360" y="1215"/>
                  </a:lnTo>
                  <a:lnTo>
                    <a:pt x="361" y="1216"/>
                  </a:lnTo>
                  <a:lnTo>
                    <a:pt x="361" y="1217"/>
                  </a:lnTo>
                  <a:lnTo>
                    <a:pt x="361" y="1219"/>
                  </a:lnTo>
                  <a:lnTo>
                    <a:pt x="361" y="1221"/>
                  </a:lnTo>
                  <a:lnTo>
                    <a:pt x="361" y="1223"/>
                  </a:lnTo>
                  <a:lnTo>
                    <a:pt x="361" y="1224"/>
                  </a:lnTo>
                  <a:lnTo>
                    <a:pt x="363" y="1225"/>
                  </a:lnTo>
                  <a:lnTo>
                    <a:pt x="363" y="1237"/>
                  </a:lnTo>
                  <a:lnTo>
                    <a:pt x="363" y="1252"/>
                  </a:lnTo>
                  <a:lnTo>
                    <a:pt x="363" y="1265"/>
                  </a:lnTo>
                  <a:lnTo>
                    <a:pt x="363" y="1282"/>
                  </a:lnTo>
                  <a:lnTo>
                    <a:pt x="363" y="1287"/>
                  </a:lnTo>
                  <a:lnTo>
                    <a:pt x="364" y="1290"/>
                  </a:lnTo>
                  <a:lnTo>
                    <a:pt x="366" y="1293"/>
                  </a:lnTo>
                  <a:lnTo>
                    <a:pt x="370" y="1293"/>
                  </a:lnTo>
                  <a:lnTo>
                    <a:pt x="400" y="1293"/>
                  </a:lnTo>
                  <a:lnTo>
                    <a:pt x="400" y="1266"/>
                  </a:lnTo>
                  <a:lnTo>
                    <a:pt x="400" y="1242"/>
                  </a:lnTo>
                  <a:lnTo>
                    <a:pt x="401" y="1218"/>
                  </a:lnTo>
                  <a:lnTo>
                    <a:pt x="402" y="1212"/>
                  </a:lnTo>
                  <a:lnTo>
                    <a:pt x="405" y="1210"/>
                  </a:lnTo>
                  <a:lnTo>
                    <a:pt x="406" y="1209"/>
                  </a:lnTo>
                  <a:lnTo>
                    <a:pt x="408" y="1209"/>
                  </a:lnTo>
                  <a:lnTo>
                    <a:pt x="410" y="1209"/>
                  </a:lnTo>
                  <a:lnTo>
                    <a:pt x="411" y="1206"/>
                  </a:lnTo>
                  <a:lnTo>
                    <a:pt x="412" y="1205"/>
                  </a:lnTo>
                  <a:lnTo>
                    <a:pt x="413" y="1205"/>
                  </a:lnTo>
                  <a:lnTo>
                    <a:pt x="414" y="1203"/>
                  </a:lnTo>
                  <a:lnTo>
                    <a:pt x="416" y="1201"/>
                  </a:lnTo>
                  <a:lnTo>
                    <a:pt x="416" y="1200"/>
                  </a:lnTo>
                  <a:lnTo>
                    <a:pt x="416" y="1199"/>
                  </a:lnTo>
                  <a:lnTo>
                    <a:pt x="414" y="1197"/>
                  </a:lnTo>
                  <a:lnTo>
                    <a:pt x="414" y="1195"/>
                  </a:lnTo>
                  <a:lnTo>
                    <a:pt x="414" y="1194"/>
                  </a:lnTo>
                  <a:lnTo>
                    <a:pt x="414" y="1193"/>
                  </a:lnTo>
                  <a:lnTo>
                    <a:pt x="413" y="1191"/>
                  </a:lnTo>
                  <a:lnTo>
                    <a:pt x="412" y="1191"/>
                  </a:lnTo>
                  <a:lnTo>
                    <a:pt x="412" y="1192"/>
                  </a:lnTo>
                  <a:lnTo>
                    <a:pt x="411" y="1191"/>
                  </a:lnTo>
                  <a:lnTo>
                    <a:pt x="411" y="1189"/>
                  </a:lnTo>
                  <a:lnTo>
                    <a:pt x="411" y="1188"/>
                  </a:lnTo>
                  <a:lnTo>
                    <a:pt x="412" y="1186"/>
                  </a:lnTo>
                  <a:lnTo>
                    <a:pt x="412" y="1185"/>
                  </a:lnTo>
                  <a:lnTo>
                    <a:pt x="412" y="1183"/>
                  </a:lnTo>
                  <a:lnTo>
                    <a:pt x="413" y="1181"/>
                  </a:lnTo>
                  <a:lnTo>
                    <a:pt x="416" y="1180"/>
                  </a:lnTo>
                  <a:lnTo>
                    <a:pt x="416" y="1179"/>
                  </a:lnTo>
                  <a:lnTo>
                    <a:pt x="418" y="1179"/>
                  </a:lnTo>
                  <a:lnTo>
                    <a:pt x="419" y="1179"/>
                  </a:lnTo>
                  <a:lnTo>
                    <a:pt x="420" y="1180"/>
                  </a:lnTo>
                  <a:lnTo>
                    <a:pt x="424" y="1181"/>
                  </a:lnTo>
                  <a:lnTo>
                    <a:pt x="426" y="1182"/>
                  </a:lnTo>
                  <a:lnTo>
                    <a:pt x="429" y="1183"/>
                  </a:lnTo>
                  <a:lnTo>
                    <a:pt x="429" y="1182"/>
                  </a:lnTo>
                  <a:lnTo>
                    <a:pt x="432" y="1182"/>
                  </a:lnTo>
                  <a:lnTo>
                    <a:pt x="434" y="1182"/>
                  </a:lnTo>
                  <a:lnTo>
                    <a:pt x="432" y="1182"/>
                  </a:lnTo>
                  <a:lnTo>
                    <a:pt x="434" y="1183"/>
                  </a:lnTo>
                  <a:lnTo>
                    <a:pt x="435" y="1183"/>
                  </a:lnTo>
                  <a:lnTo>
                    <a:pt x="436" y="1183"/>
                  </a:lnTo>
                  <a:lnTo>
                    <a:pt x="437" y="1185"/>
                  </a:lnTo>
                  <a:lnTo>
                    <a:pt x="438" y="1187"/>
                  </a:lnTo>
                  <a:lnTo>
                    <a:pt x="441" y="1188"/>
                  </a:lnTo>
                  <a:lnTo>
                    <a:pt x="442" y="1191"/>
                  </a:lnTo>
                  <a:lnTo>
                    <a:pt x="444" y="1192"/>
                  </a:lnTo>
                  <a:lnTo>
                    <a:pt x="446" y="1192"/>
                  </a:lnTo>
                  <a:lnTo>
                    <a:pt x="446" y="1194"/>
                  </a:lnTo>
                  <a:lnTo>
                    <a:pt x="444" y="1195"/>
                  </a:lnTo>
                  <a:lnTo>
                    <a:pt x="446" y="1197"/>
                  </a:lnTo>
                  <a:lnTo>
                    <a:pt x="447" y="1197"/>
                  </a:lnTo>
                  <a:lnTo>
                    <a:pt x="448" y="1197"/>
                  </a:lnTo>
                  <a:lnTo>
                    <a:pt x="449" y="1197"/>
                  </a:lnTo>
                  <a:lnTo>
                    <a:pt x="449" y="1198"/>
                  </a:lnTo>
                  <a:lnTo>
                    <a:pt x="451" y="1200"/>
                  </a:lnTo>
                  <a:lnTo>
                    <a:pt x="452" y="1198"/>
                  </a:lnTo>
                  <a:lnTo>
                    <a:pt x="452" y="1200"/>
                  </a:lnTo>
                  <a:lnTo>
                    <a:pt x="452" y="1201"/>
                  </a:lnTo>
                  <a:lnTo>
                    <a:pt x="452" y="1203"/>
                  </a:lnTo>
                  <a:lnTo>
                    <a:pt x="454" y="1203"/>
                  </a:lnTo>
                  <a:lnTo>
                    <a:pt x="455" y="1201"/>
                  </a:lnTo>
                  <a:lnTo>
                    <a:pt x="457" y="1203"/>
                  </a:lnTo>
                  <a:lnTo>
                    <a:pt x="458" y="1203"/>
                  </a:lnTo>
                  <a:lnTo>
                    <a:pt x="458" y="1201"/>
                  </a:lnTo>
                  <a:lnTo>
                    <a:pt x="459" y="1201"/>
                  </a:lnTo>
                  <a:lnTo>
                    <a:pt x="459" y="1203"/>
                  </a:lnTo>
                  <a:lnTo>
                    <a:pt x="461" y="1203"/>
                  </a:lnTo>
                  <a:lnTo>
                    <a:pt x="465" y="1201"/>
                  </a:lnTo>
                  <a:lnTo>
                    <a:pt x="469" y="1200"/>
                  </a:lnTo>
                  <a:lnTo>
                    <a:pt x="471" y="1198"/>
                  </a:lnTo>
                  <a:lnTo>
                    <a:pt x="472" y="1194"/>
                  </a:lnTo>
                  <a:lnTo>
                    <a:pt x="472" y="1195"/>
                  </a:lnTo>
                  <a:lnTo>
                    <a:pt x="472" y="1198"/>
                  </a:lnTo>
                  <a:lnTo>
                    <a:pt x="473" y="1199"/>
                  </a:lnTo>
                  <a:lnTo>
                    <a:pt x="476" y="1198"/>
                  </a:lnTo>
                  <a:lnTo>
                    <a:pt x="477" y="1198"/>
                  </a:lnTo>
                  <a:lnTo>
                    <a:pt x="477" y="1199"/>
                  </a:lnTo>
                  <a:lnTo>
                    <a:pt x="479" y="1199"/>
                  </a:lnTo>
                  <a:lnTo>
                    <a:pt x="479" y="1198"/>
                  </a:lnTo>
                  <a:lnTo>
                    <a:pt x="479" y="1197"/>
                  </a:lnTo>
                  <a:lnTo>
                    <a:pt x="481" y="1197"/>
                  </a:lnTo>
                  <a:lnTo>
                    <a:pt x="482" y="1199"/>
                  </a:lnTo>
                  <a:lnTo>
                    <a:pt x="483" y="1198"/>
                  </a:lnTo>
                  <a:lnTo>
                    <a:pt x="484" y="1195"/>
                  </a:lnTo>
                  <a:lnTo>
                    <a:pt x="485" y="1195"/>
                  </a:lnTo>
                  <a:lnTo>
                    <a:pt x="487" y="1193"/>
                  </a:lnTo>
                  <a:lnTo>
                    <a:pt x="488" y="1192"/>
                  </a:lnTo>
                  <a:lnTo>
                    <a:pt x="489" y="1191"/>
                  </a:lnTo>
                  <a:lnTo>
                    <a:pt x="489" y="1188"/>
                  </a:lnTo>
                  <a:lnTo>
                    <a:pt x="490" y="1187"/>
                  </a:lnTo>
                  <a:lnTo>
                    <a:pt x="490" y="1185"/>
                  </a:lnTo>
                  <a:lnTo>
                    <a:pt x="491" y="1183"/>
                  </a:lnTo>
                  <a:lnTo>
                    <a:pt x="494" y="1182"/>
                  </a:lnTo>
                  <a:lnTo>
                    <a:pt x="496" y="1182"/>
                  </a:lnTo>
                  <a:lnTo>
                    <a:pt x="497" y="1180"/>
                  </a:lnTo>
                  <a:lnTo>
                    <a:pt x="499" y="1177"/>
                  </a:lnTo>
                  <a:lnTo>
                    <a:pt x="500" y="1177"/>
                  </a:lnTo>
                  <a:lnTo>
                    <a:pt x="500" y="1179"/>
                  </a:lnTo>
                  <a:lnTo>
                    <a:pt x="500" y="1180"/>
                  </a:lnTo>
                  <a:lnTo>
                    <a:pt x="501" y="1180"/>
                  </a:lnTo>
                  <a:lnTo>
                    <a:pt x="502" y="1180"/>
                  </a:lnTo>
                  <a:lnTo>
                    <a:pt x="503" y="1180"/>
                  </a:lnTo>
                  <a:lnTo>
                    <a:pt x="505" y="1179"/>
                  </a:lnTo>
                  <a:lnTo>
                    <a:pt x="505" y="1177"/>
                  </a:lnTo>
                  <a:lnTo>
                    <a:pt x="506" y="1179"/>
                  </a:lnTo>
                  <a:lnTo>
                    <a:pt x="507" y="1179"/>
                  </a:lnTo>
                  <a:lnTo>
                    <a:pt x="508" y="1181"/>
                  </a:lnTo>
                  <a:lnTo>
                    <a:pt x="510" y="1181"/>
                  </a:lnTo>
                  <a:lnTo>
                    <a:pt x="511" y="1181"/>
                  </a:lnTo>
                  <a:lnTo>
                    <a:pt x="512" y="1180"/>
                  </a:lnTo>
                  <a:lnTo>
                    <a:pt x="513" y="1180"/>
                  </a:lnTo>
                  <a:lnTo>
                    <a:pt x="514" y="1180"/>
                  </a:lnTo>
                  <a:lnTo>
                    <a:pt x="516" y="1180"/>
                  </a:lnTo>
                  <a:lnTo>
                    <a:pt x="517" y="1179"/>
                  </a:lnTo>
                  <a:lnTo>
                    <a:pt x="519" y="1179"/>
                  </a:lnTo>
                  <a:lnTo>
                    <a:pt x="520" y="1180"/>
                  </a:lnTo>
                  <a:lnTo>
                    <a:pt x="525" y="1185"/>
                  </a:lnTo>
                  <a:lnTo>
                    <a:pt x="528" y="1188"/>
                  </a:lnTo>
                  <a:lnTo>
                    <a:pt x="528" y="1189"/>
                  </a:lnTo>
                  <a:lnTo>
                    <a:pt x="529" y="1192"/>
                  </a:lnTo>
                  <a:lnTo>
                    <a:pt x="531" y="1193"/>
                  </a:lnTo>
                  <a:lnTo>
                    <a:pt x="534" y="1194"/>
                  </a:lnTo>
                  <a:lnTo>
                    <a:pt x="537" y="1195"/>
                  </a:lnTo>
                  <a:lnTo>
                    <a:pt x="540" y="1194"/>
                  </a:lnTo>
                  <a:lnTo>
                    <a:pt x="541" y="1193"/>
                  </a:lnTo>
                  <a:lnTo>
                    <a:pt x="542" y="1192"/>
                  </a:lnTo>
                  <a:lnTo>
                    <a:pt x="542" y="1189"/>
                  </a:lnTo>
                  <a:lnTo>
                    <a:pt x="542" y="1188"/>
                  </a:lnTo>
                  <a:lnTo>
                    <a:pt x="542" y="1183"/>
                  </a:lnTo>
                  <a:lnTo>
                    <a:pt x="541" y="1181"/>
                  </a:lnTo>
                  <a:lnTo>
                    <a:pt x="542" y="1181"/>
                  </a:lnTo>
                  <a:lnTo>
                    <a:pt x="542" y="1182"/>
                  </a:lnTo>
                  <a:lnTo>
                    <a:pt x="543" y="1186"/>
                  </a:lnTo>
                  <a:lnTo>
                    <a:pt x="543" y="1189"/>
                  </a:lnTo>
                  <a:lnTo>
                    <a:pt x="544" y="1191"/>
                  </a:lnTo>
                  <a:lnTo>
                    <a:pt x="546" y="1191"/>
                  </a:lnTo>
                  <a:lnTo>
                    <a:pt x="547" y="1191"/>
                  </a:lnTo>
                  <a:lnTo>
                    <a:pt x="548" y="1189"/>
                  </a:lnTo>
                  <a:lnTo>
                    <a:pt x="548" y="1188"/>
                  </a:lnTo>
                  <a:lnTo>
                    <a:pt x="548" y="1185"/>
                  </a:lnTo>
                  <a:lnTo>
                    <a:pt x="548" y="1183"/>
                  </a:lnTo>
                  <a:lnTo>
                    <a:pt x="548" y="1181"/>
                  </a:lnTo>
                  <a:lnTo>
                    <a:pt x="548" y="1180"/>
                  </a:lnTo>
                  <a:lnTo>
                    <a:pt x="548" y="1182"/>
                  </a:lnTo>
                  <a:lnTo>
                    <a:pt x="549" y="1185"/>
                  </a:lnTo>
                  <a:lnTo>
                    <a:pt x="549" y="1187"/>
                  </a:lnTo>
                  <a:lnTo>
                    <a:pt x="548" y="1189"/>
                  </a:lnTo>
                  <a:lnTo>
                    <a:pt x="550" y="1191"/>
                  </a:lnTo>
                  <a:lnTo>
                    <a:pt x="552" y="1192"/>
                  </a:lnTo>
                  <a:lnTo>
                    <a:pt x="552" y="1191"/>
                  </a:lnTo>
                  <a:lnTo>
                    <a:pt x="552" y="1189"/>
                  </a:lnTo>
                  <a:lnTo>
                    <a:pt x="552" y="1188"/>
                  </a:lnTo>
                  <a:lnTo>
                    <a:pt x="553" y="1187"/>
                  </a:lnTo>
                  <a:lnTo>
                    <a:pt x="553" y="1186"/>
                  </a:lnTo>
                  <a:lnTo>
                    <a:pt x="554" y="1187"/>
                  </a:lnTo>
                  <a:lnTo>
                    <a:pt x="554" y="1191"/>
                  </a:lnTo>
                  <a:lnTo>
                    <a:pt x="554" y="1192"/>
                  </a:lnTo>
                  <a:lnTo>
                    <a:pt x="555" y="1192"/>
                  </a:lnTo>
                  <a:lnTo>
                    <a:pt x="556" y="1192"/>
                  </a:lnTo>
                  <a:lnTo>
                    <a:pt x="556" y="1191"/>
                  </a:lnTo>
                  <a:lnTo>
                    <a:pt x="556" y="1189"/>
                  </a:lnTo>
                  <a:lnTo>
                    <a:pt x="558" y="1187"/>
                  </a:lnTo>
                  <a:lnTo>
                    <a:pt x="558" y="1186"/>
                  </a:lnTo>
                  <a:lnTo>
                    <a:pt x="558" y="1185"/>
                  </a:lnTo>
                  <a:lnTo>
                    <a:pt x="559" y="1185"/>
                  </a:lnTo>
                  <a:lnTo>
                    <a:pt x="559" y="1186"/>
                  </a:lnTo>
                  <a:lnTo>
                    <a:pt x="561" y="1189"/>
                  </a:lnTo>
                  <a:lnTo>
                    <a:pt x="564" y="1189"/>
                  </a:lnTo>
                  <a:lnTo>
                    <a:pt x="564" y="1191"/>
                  </a:lnTo>
                  <a:lnTo>
                    <a:pt x="566" y="1189"/>
                  </a:lnTo>
                  <a:lnTo>
                    <a:pt x="567" y="1187"/>
                  </a:lnTo>
                  <a:lnTo>
                    <a:pt x="567" y="1188"/>
                  </a:lnTo>
                  <a:lnTo>
                    <a:pt x="569" y="1189"/>
                  </a:lnTo>
                  <a:lnTo>
                    <a:pt x="569" y="1191"/>
                  </a:lnTo>
                  <a:lnTo>
                    <a:pt x="569" y="1193"/>
                  </a:lnTo>
                  <a:lnTo>
                    <a:pt x="569" y="1192"/>
                  </a:lnTo>
                  <a:lnTo>
                    <a:pt x="570" y="1191"/>
                  </a:lnTo>
                  <a:lnTo>
                    <a:pt x="571" y="1191"/>
                  </a:lnTo>
                  <a:lnTo>
                    <a:pt x="571" y="1193"/>
                  </a:lnTo>
                  <a:lnTo>
                    <a:pt x="571" y="1194"/>
                  </a:lnTo>
                  <a:lnTo>
                    <a:pt x="571" y="1197"/>
                  </a:lnTo>
                  <a:lnTo>
                    <a:pt x="572" y="1198"/>
                  </a:lnTo>
                  <a:lnTo>
                    <a:pt x="573" y="1197"/>
                  </a:lnTo>
                  <a:lnTo>
                    <a:pt x="573" y="1198"/>
                  </a:lnTo>
                  <a:lnTo>
                    <a:pt x="573" y="1199"/>
                  </a:lnTo>
                  <a:lnTo>
                    <a:pt x="573" y="1201"/>
                  </a:lnTo>
                  <a:lnTo>
                    <a:pt x="575" y="1201"/>
                  </a:lnTo>
                  <a:lnTo>
                    <a:pt x="576" y="1203"/>
                  </a:lnTo>
                  <a:lnTo>
                    <a:pt x="577" y="1203"/>
                  </a:lnTo>
                  <a:lnTo>
                    <a:pt x="578" y="1204"/>
                  </a:lnTo>
                  <a:lnTo>
                    <a:pt x="579" y="1205"/>
                  </a:lnTo>
                  <a:lnTo>
                    <a:pt x="579" y="1206"/>
                  </a:lnTo>
                  <a:lnTo>
                    <a:pt x="581" y="1209"/>
                  </a:lnTo>
                  <a:lnTo>
                    <a:pt x="582" y="1210"/>
                  </a:lnTo>
                  <a:lnTo>
                    <a:pt x="582" y="1211"/>
                  </a:lnTo>
                  <a:lnTo>
                    <a:pt x="584" y="1213"/>
                  </a:lnTo>
                  <a:lnTo>
                    <a:pt x="583" y="1216"/>
                  </a:lnTo>
                  <a:lnTo>
                    <a:pt x="583" y="1217"/>
                  </a:lnTo>
                  <a:lnTo>
                    <a:pt x="584" y="1218"/>
                  </a:lnTo>
                  <a:lnTo>
                    <a:pt x="587" y="1219"/>
                  </a:lnTo>
                  <a:lnTo>
                    <a:pt x="588" y="1222"/>
                  </a:lnTo>
                  <a:lnTo>
                    <a:pt x="590" y="1224"/>
                  </a:lnTo>
                  <a:lnTo>
                    <a:pt x="593" y="1225"/>
                  </a:lnTo>
                  <a:lnTo>
                    <a:pt x="594" y="1225"/>
                  </a:lnTo>
                  <a:lnTo>
                    <a:pt x="595" y="1224"/>
                  </a:lnTo>
                  <a:lnTo>
                    <a:pt x="595" y="1223"/>
                  </a:lnTo>
                  <a:lnTo>
                    <a:pt x="595" y="1221"/>
                  </a:lnTo>
                  <a:lnTo>
                    <a:pt x="595" y="1218"/>
                  </a:lnTo>
                  <a:lnTo>
                    <a:pt x="595" y="1216"/>
                  </a:lnTo>
                  <a:lnTo>
                    <a:pt x="595" y="1217"/>
                  </a:lnTo>
                  <a:lnTo>
                    <a:pt x="596" y="1221"/>
                  </a:lnTo>
                  <a:lnTo>
                    <a:pt x="596" y="1222"/>
                  </a:lnTo>
                  <a:lnTo>
                    <a:pt x="596" y="1223"/>
                  </a:lnTo>
                  <a:lnTo>
                    <a:pt x="596" y="1227"/>
                  </a:lnTo>
                  <a:lnTo>
                    <a:pt x="596" y="1228"/>
                  </a:lnTo>
                  <a:lnTo>
                    <a:pt x="597" y="1229"/>
                  </a:lnTo>
                  <a:lnTo>
                    <a:pt x="599" y="1230"/>
                  </a:lnTo>
                  <a:lnTo>
                    <a:pt x="600" y="1230"/>
                  </a:lnTo>
                  <a:lnTo>
                    <a:pt x="601" y="1230"/>
                  </a:lnTo>
                  <a:lnTo>
                    <a:pt x="602" y="1231"/>
                  </a:lnTo>
                  <a:lnTo>
                    <a:pt x="603" y="1231"/>
                  </a:lnTo>
                  <a:lnTo>
                    <a:pt x="605" y="1231"/>
                  </a:lnTo>
                  <a:lnTo>
                    <a:pt x="606" y="1230"/>
                  </a:lnTo>
                  <a:lnTo>
                    <a:pt x="606" y="1229"/>
                  </a:lnTo>
                  <a:lnTo>
                    <a:pt x="607" y="1228"/>
                  </a:lnTo>
                  <a:lnTo>
                    <a:pt x="607" y="1229"/>
                  </a:lnTo>
                  <a:lnTo>
                    <a:pt x="608" y="1228"/>
                  </a:lnTo>
                  <a:lnTo>
                    <a:pt x="608" y="1227"/>
                  </a:lnTo>
                  <a:lnTo>
                    <a:pt x="608" y="1225"/>
                  </a:lnTo>
                  <a:lnTo>
                    <a:pt x="608" y="1224"/>
                  </a:lnTo>
                  <a:lnTo>
                    <a:pt x="609" y="1223"/>
                  </a:lnTo>
                  <a:lnTo>
                    <a:pt x="612" y="1221"/>
                  </a:lnTo>
                  <a:lnTo>
                    <a:pt x="613" y="1222"/>
                  </a:lnTo>
                  <a:lnTo>
                    <a:pt x="613" y="1223"/>
                  </a:lnTo>
                  <a:lnTo>
                    <a:pt x="615" y="1224"/>
                  </a:lnTo>
                  <a:lnTo>
                    <a:pt x="615" y="1227"/>
                  </a:lnTo>
                  <a:lnTo>
                    <a:pt x="614" y="1227"/>
                  </a:lnTo>
                  <a:lnTo>
                    <a:pt x="613" y="1229"/>
                  </a:lnTo>
                  <a:lnTo>
                    <a:pt x="614" y="1229"/>
                  </a:lnTo>
                  <a:lnTo>
                    <a:pt x="614" y="1230"/>
                  </a:lnTo>
                  <a:lnTo>
                    <a:pt x="613" y="1230"/>
                  </a:lnTo>
                  <a:lnTo>
                    <a:pt x="613" y="1233"/>
                  </a:lnTo>
                  <a:lnTo>
                    <a:pt x="614" y="1234"/>
                  </a:lnTo>
                  <a:lnTo>
                    <a:pt x="614" y="1236"/>
                  </a:lnTo>
                  <a:lnTo>
                    <a:pt x="614" y="1239"/>
                  </a:lnTo>
                  <a:lnTo>
                    <a:pt x="615" y="1239"/>
                  </a:lnTo>
                  <a:lnTo>
                    <a:pt x="615" y="1240"/>
                  </a:lnTo>
                  <a:lnTo>
                    <a:pt x="614" y="1241"/>
                  </a:lnTo>
                  <a:lnTo>
                    <a:pt x="614" y="1242"/>
                  </a:lnTo>
                  <a:lnTo>
                    <a:pt x="615" y="1242"/>
                  </a:lnTo>
                  <a:lnTo>
                    <a:pt x="617" y="1242"/>
                  </a:lnTo>
                  <a:lnTo>
                    <a:pt x="617" y="1243"/>
                  </a:lnTo>
                  <a:lnTo>
                    <a:pt x="617" y="1245"/>
                  </a:lnTo>
                  <a:lnTo>
                    <a:pt x="618" y="1245"/>
                  </a:lnTo>
                  <a:lnTo>
                    <a:pt x="619" y="1245"/>
                  </a:lnTo>
                  <a:lnTo>
                    <a:pt x="620" y="1246"/>
                  </a:lnTo>
                  <a:lnTo>
                    <a:pt x="623" y="1247"/>
                  </a:lnTo>
                  <a:lnTo>
                    <a:pt x="623" y="1248"/>
                  </a:lnTo>
                  <a:lnTo>
                    <a:pt x="625" y="1248"/>
                  </a:lnTo>
                  <a:lnTo>
                    <a:pt x="625" y="1251"/>
                  </a:lnTo>
                  <a:lnTo>
                    <a:pt x="626" y="1252"/>
                  </a:lnTo>
                  <a:lnTo>
                    <a:pt x="629" y="1252"/>
                  </a:lnTo>
                  <a:lnTo>
                    <a:pt x="630" y="1251"/>
                  </a:lnTo>
                  <a:lnTo>
                    <a:pt x="630" y="1249"/>
                  </a:lnTo>
                  <a:lnTo>
                    <a:pt x="629" y="1247"/>
                  </a:lnTo>
                  <a:lnTo>
                    <a:pt x="629" y="1245"/>
                  </a:lnTo>
                  <a:lnTo>
                    <a:pt x="630" y="1245"/>
                  </a:lnTo>
                  <a:lnTo>
                    <a:pt x="632" y="1243"/>
                  </a:lnTo>
                  <a:lnTo>
                    <a:pt x="632" y="1242"/>
                  </a:lnTo>
                  <a:lnTo>
                    <a:pt x="634" y="1241"/>
                  </a:lnTo>
                  <a:lnTo>
                    <a:pt x="636" y="1241"/>
                  </a:lnTo>
                  <a:lnTo>
                    <a:pt x="637" y="1241"/>
                  </a:lnTo>
                  <a:lnTo>
                    <a:pt x="638" y="1242"/>
                  </a:lnTo>
                  <a:lnTo>
                    <a:pt x="638" y="1240"/>
                  </a:lnTo>
                  <a:lnTo>
                    <a:pt x="638" y="1239"/>
                  </a:lnTo>
                  <a:lnTo>
                    <a:pt x="640" y="1236"/>
                  </a:lnTo>
                  <a:lnTo>
                    <a:pt x="641" y="1235"/>
                  </a:lnTo>
                  <a:lnTo>
                    <a:pt x="642" y="1234"/>
                  </a:lnTo>
                  <a:lnTo>
                    <a:pt x="643" y="1234"/>
                  </a:lnTo>
                  <a:lnTo>
                    <a:pt x="644" y="1233"/>
                  </a:lnTo>
                  <a:lnTo>
                    <a:pt x="644" y="1234"/>
                  </a:lnTo>
                  <a:lnTo>
                    <a:pt x="646" y="1234"/>
                  </a:lnTo>
                  <a:lnTo>
                    <a:pt x="647" y="1233"/>
                  </a:lnTo>
                  <a:lnTo>
                    <a:pt x="654" y="1233"/>
                  </a:lnTo>
                  <a:lnTo>
                    <a:pt x="656" y="1230"/>
                  </a:lnTo>
                  <a:lnTo>
                    <a:pt x="656" y="1229"/>
                  </a:lnTo>
                  <a:lnTo>
                    <a:pt x="658" y="1229"/>
                  </a:lnTo>
                  <a:lnTo>
                    <a:pt x="658" y="1230"/>
                  </a:lnTo>
                  <a:lnTo>
                    <a:pt x="660" y="1230"/>
                  </a:lnTo>
                  <a:lnTo>
                    <a:pt x="660" y="1231"/>
                  </a:lnTo>
                  <a:lnTo>
                    <a:pt x="661" y="1231"/>
                  </a:lnTo>
                  <a:lnTo>
                    <a:pt x="662" y="1231"/>
                  </a:lnTo>
                  <a:lnTo>
                    <a:pt x="664" y="1231"/>
                  </a:lnTo>
                  <a:lnTo>
                    <a:pt x="665" y="1231"/>
                  </a:lnTo>
                  <a:lnTo>
                    <a:pt x="666" y="1231"/>
                  </a:lnTo>
                  <a:lnTo>
                    <a:pt x="667" y="1231"/>
                  </a:lnTo>
                  <a:lnTo>
                    <a:pt x="667" y="1229"/>
                  </a:lnTo>
                  <a:lnTo>
                    <a:pt x="667" y="1228"/>
                  </a:lnTo>
                  <a:lnTo>
                    <a:pt x="668" y="1228"/>
                  </a:lnTo>
                  <a:lnTo>
                    <a:pt x="671" y="1228"/>
                  </a:lnTo>
                  <a:lnTo>
                    <a:pt x="672" y="1227"/>
                  </a:lnTo>
                  <a:lnTo>
                    <a:pt x="673" y="1227"/>
                  </a:lnTo>
                  <a:lnTo>
                    <a:pt x="673" y="1224"/>
                  </a:lnTo>
                  <a:lnTo>
                    <a:pt x="674" y="1222"/>
                  </a:lnTo>
                  <a:lnTo>
                    <a:pt x="674" y="1223"/>
                  </a:lnTo>
                  <a:lnTo>
                    <a:pt x="676" y="1223"/>
                  </a:lnTo>
                  <a:lnTo>
                    <a:pt x="677" y="1222"/>
                  </a:lnTo>
                  <a:lnTo>
                    <a:pt x="679" y="1221"/>
                  </a:lnTo>
                  <a:lnTo>
                    <a:pt x="679" y="1218"/>
                  </a:lnTo>
                  <a:lnTo>
                    <a:pt x="680" y="1217"/>
                  </a:lnTo>
                  <a:lnTo>
                    <a:pt x="682" y="1216"/>
                  </a:lnTo>
                  <a:lnTo>
                    <a:pt x="682" y="1215"/>
                  </a:lnTo>
                  <a:lnTo>
                    <a:pt x="683" y="1213"/>
                  </a:lnTo>
                  <a:lnTo>
                    <a:pt x="683" y="1210"/>
                  </a:lnTo>
                  <a:lnTo>
                    <a:pt x="682" y="1210"/>
                  </a:lnTo>
                  <a:lnTo>
                    <a:pt x="682" y="1211"/>
                  </a:lnTo>
                  <a:lnTo>
                    <a:pt x="680" y="1211"/>
                  </a:lnTo>
                  <a:lnTo>
                    <a:pt x="680" y="1209"/>
                  </a:lnTo>
                  <a:lnTo>
                    <a:pt x="680" y="1206"/>
                  </a:lnTo>
                  <a:lnTo>
                    <a:pt x="682" y="1206"/>
                  </a:lnTo>
                  <a:lnTo>
                    <a:pt x="682" y="1207"/>
                  </a:lnTo>
                  <a:lnTo>
                    <a:pt x="683" y="1209"/>
                  </a:lnTo>
                  <a:lnTo>
                    <a:pt x="684" y="1210"/>
                  </a:lnTo>
                  <a:lnTo>
                    <a:pt x="685" y="1210"/>
                  </a:lnTo>
                  <a:lnTo>
                    <a:pt x="685" y="1209"/>
                  </a:lnTo>
                  <a:lnTo>
                    <a:pt x="686" y="1207"/>
                  </a:lnTo>
                  <a:lnTo>
                    <a:pt x="686" y="1206"/>
                  </a:lnTo>
                  <a:lnTo>
                    <a:pt x="686" y="1205"/>
                  </a:lnTo>
                  <a:lnTo>
                    <a:pt x="686" y="1204"/>
                  </a:lnTo>
                  <a:lnTo>
                    <a:pt x="688" y="1204"/>
                  </a:lnTo>
                  <a:lnTo>
                    <a:pt x="689" y="1205"/>
                  </a:lnTo>
                  <a:lnTo>
                    <a:pt x="690" y="1205"/>
                  </a:lnTo>
                  <a:lnTo>
                    <a:pt x="690" y="1204"/>
                  </a:lnTo>
                  <a:lnTo>
                    <a:pt x="691" y="1203"/>
                  </a:lnTo>
                  <a:lnTo>
                    <a:pt x="693" y="1201"/>
                  </a:lnTo>
                  <a:lnTo>
                    <a:pt x="691" y="1201"/>
                  </a:lnTo>
                  <a:lnTo>
                    <a:pt x="691" y="1200"/>
                  </a:lnTo>
                  <a:lnTo>
                    <a:pt x="693" y="1199"/>
                  </a:lnTo>
                  <a:lnTo>
                    <a:pt x="693" y="1197"/>
                  </a:lnTo>
                  <a:lnTo>
                    <a:pt x="694" y="1197"/>
                  </a:lnTo>
                  <a:lnTo>
                    <a:pt x="695" y="1197"/>
                  </a:lnTo>
                  <a:lnTo>
                    <a:pt x="697" y="1195"/>
                  </a:lnTo>
                  <a:lnTo>
                    <a:pt x="697" y="1194"/>
                  </a:lnTo>
                  <a:lnTo>
                    <a:pt x="699" y="1193"/>
                  </a:lnTo>
                  <a:lnTo>
                    <a:pt x="699" y="1191"/>
                  </a:lnTo>
                  <a:lnTo>
                    <a:pt x="699" y="1188"/>
                  </a:lnTo>
                  <a:lnTo>
                    <a:pt x="697" y="1187"/>
                  </a:lnTo>
                  <a:lnTo>
                    <a:pt x="696" y="1186"/>
                  </a:lnTo>
                  <a:lnTo>
                    <a:pt x="696" y="1185"/>
                  </a:lnTo>
                  <a:lnTo>
                    <a:pt x="697" y="1185"/>
                  </a:lnTo>
                  <a:lnTo>
                    <a:pt x="697" y="1183"/>
                  </a:lnTo>
                  <a:lnTo>
                    <a:pt x="699" y="1183"/>
                  </a:lnTo>
                  <a:lnTo>
                    <a:pt x="701" y="1181"/>
                  </a:lnTo>
                  <a:lnTo>
                    <a:pt x="701" y="1182"/>
                  </a:lnTo>
                  <a:lnTo>
                    <a:pt x="701" y="1183"/>
                  </a:lnTo>
                  <a:lnTo>
                    <a:pt x="702" y="1182"/>
                  </a:lnTo>
                  <a:lnTo>
                    <a:pt x="706" y="1180"/>
                  </a:lnTo>
                  <a:lnTo>
                    <a:pt x="706" y="1177"/>
                  </a:lnTo>
                  <a:lnTo>
                    <a:pt x="707" y="1177"/>
                  </a:lnTo>
                  <a:lnTo>
                    <a:pt x="708" y="1177"/>
                  </a:lnTo>
                  <a:lnTo>
                    <a:pt x="709" y="1177"/>
                  </a:lnTo>
                  <a:lnTo>
                    <a:pt x="711" y="1179"/>
                  </a:lnTo>
                  <a:lnTo>
                    <a:pt x="712" y="1180"/>
                  </a:lnTo>
                  <a:lnTo>
                    <a:pt x="713" y="1179"/>
                  </a:lnTo>
                  <a:lnTo>
                    <a:pt x="713" y="1177"/>
                  </a:lnTo>
                  <a:lnTo>
                    <a:pt x="714" y="1177"/>
                  </a:lnTo>
                  <a:lnTo>
                    <a:pt x="715" y="1176"/>
                  </a:lnTo>
                  <a:lnTo>
                    <a:pt x="718" y="1176"/>
                  </a:lnTo>
                  <a:lnTo>
                    <a:pt x="720" y="1177"/>
                  </a:lnTo>
                  <a:lnTo>
                    <a:pt x="721" y="1177"/>
                  </a:lnTo>
                  <a:lnTo>
                    <a:pt x="723" y="1176"/>
                  </a:lnTo>
                  <a:lnTo>
                    <a:pt x="724" y="1176"/>
                  </a:lnTo>
                  <a:lnTo>
                    <a:pt x="725" y="1175"/>
                  </a:lnTo>
                  <a:lnTo>
                    <a:pt x="726" y="1176"/>
                  </a:lnTo>
                  <a:lnTo>
                    <a:pt x="727" y="1175"/>
                  </a:lnTo>
                  <a:lnTo>
                    <a:pt x="727" y="1174"/>
                  </a:lnTo>
                  <a:lnTo>
                    <a:pt x="727" y="1172"/>
                  </a:lnTo>
                  <a:lnTo>
                    <a:pt x="726" y="1171"/>
                  </a:lnTo>
                  <a:lnTo>
                    <a:pt x="727" y="1170"/>
                  </a:lnTo>
                  <a:lnTo>
                    <a:pt x="727" y="1168"/>
                  </a:lnTo>
                  <a:lnTo>
                    <a:pt x="727" y="1166"/>
                  </a:lnTo>
                  <a:lnTo>
                    <a:pt x="729" y="1165"/>
                  </a:lnTo>
                  <a:lnTo>
                    <a:pt x="730" y="1164"/>
                  </a:lnTo>
                  <a:lnTo>
                    <a:pt x="730" y="1163"/>
                  </a:lnTo>
                  <a:lnTo>
                    <a:pt x="731" y="1160"/>
                  </a:lnTo>
                  <a:lnTo>
                    <a:pt x="732" y="1162"/>
                  </a:lnTo>
                  <a:lnTo>
                    <a:pt x="732" y="1163"/>
                  </a:lnTo>
                  <a:lnTo>
                    <a:pt x="735" y="1160"/>
                  </a:lnTo>
                  <a:lnTo>
                    <a:pt x="735" y="1159"/>
                  </a:lnTo>
                  <a:lnTo>
                    <a:pt x="735" y="1160"/>
                  </a:lnTo>
                  <a:lnTo>
                    <a:pt x="736" y="1160"/>
                  </a:lnTo>
                  <a:lnTo>
                    <a:pt x="737" y="1160"/>
                  </a:lnTo>
                  <a:lnTo>
                    <a:pt x="738" y="1160"/>
                  </a:lnTo>
                  <a:lnTo>
                    <a:pt x="741" y="1160"/>
                  </a:lnTo>
                  <a:lnTo>
                    <a:pt x="742" y="1160"/>
                  </a:lnTo>
                  <a:lnTo>
                    <a:pt x="743" y="1160"/>
                  </a:lnTo>
                  <a:lnTo>
                    <a:pt x="744" y="1162"/>
                  </a:lnTo>
                  <a:lnTo>
                    <a:pt x="745" y="1160"/>
                  </a:lnTo>
                  <a:lnTo>
                    <a:pt x="745" y="1162"/>
                  </a:lnTo>
                  <a:lnTo>
                    <a:pt x="747" y="1163"/>
                  </a:lnTo>
                  <a:lnTo>
                    <a:pt x="748" y="1162"/>
                  </a:lnTo>
                  <a:lnTo>
                    <a:pt x="748" y="1160"/>
                  </a:lnTo>
                  <a:lnTo>
                    <a:pt x="750" y="1159"/>
                  </a:lnTo>
                  <a:lnTo>
                    <a:pt x="750" y="1158"/>
                  </a:lnTo>
                  <a:lnTo>
                    <a:pt x="752" y="1157"/>
                  </a:lnTo>
                  <a:lnTo>
                    <a:pt x="753" y="1156"/>
                  </a:lnTo>
                  <a:lnTo>
                    <a:pt x="752" y="1154"/>
                  </a:lnTo>
                  <a:lnTo>
                    <a:pt x="752" y="1153"/>
                  </a:lnTo>
                  <a:lnTo>
                    <a:pt x="754" y="1152"/>
                  </a:lnTo>
                  <a:lnTo>
                    <a:pt x="753" y="1154"/>
                  </a:lnTo>
                  <a:lnTo>
                    <a:pt x="755" y="1154"/>
                  </a:lnTo>
                  <a:lnTo>
                    <a:pt x="755" y="1152"/>
                  </a:lnTo>
                  <a:lnTo>
                    <a:pt x="755" y="1151"/>
                  </a:lnTo>
                  <a:lnTo>
                    <a:pt x="755" y="1150"/>
                  </a:lnTo>
                  <a:lnTo>
                    <a:pt x="756" y="1148"/>
                  </a:lnTo>
                  <a:lnTo>
                    <a:pt x="756" y="1150"/>
                  </a:lnTo>
                  <a:lnTo>
                    <a:pt x="759" y="1148"/>
                  </a:lnTo>
                  <a:lnTo>
                    <a:pt x="759" y="1147"/>
                  </a:lnTo>
                  <a:lnTo>
                    <a:pt x="761" y="1146"/>
                  </a:lnTo>
                  <a:lnTo>
                    <a:pt x="762" y="1146"/>
                  </a:lnTo>
                  <a:lnTo>
                    <a:pt x="765" y="1145"/>
                  </a:lnTo>
                  <a:lnTo>
                    <a:pt x="766" y="1145"/>
                  </a:lnTo>
                  <a:lnTo>
                    <a:pt x="770" y="1145"/>
                  </a:lnTo>
                  <a:lnTo>
                    <a:pt x="772" y="1144"/>
                  </a:lnTo>
                  <a:lnTo>
                    <a:pt x="776" y="1142"/>
                  </a:lnTo>
                  <a:lnTo>
                    <a:pt x="777" y="1141"/>
                  </a:lnTo>
                  <a:lnTo>
                    <a:pt x="776" y="1140"/>
                  </a:lnTo>
                  <a:lnTo>
                    <a:pt x="774" y="1138"/>
                  </a:lnTo>
                  <a:lnTo>
                    <a:pt x="774" y="1136"/>
                  </a:lnTo>
                  <a:lnTo>
                    <a:pt x="777" y="1139"/>
                  </a:lnTo>
                  <a:lnTo>
                    <a:pt x="778" y="1138"/>
                  </a:lnTo>
                  <a:lnTo>
                    <a:pt x="778" y="1135"/>
                  </a:lnTo>
                  <a:lnTo>
                    <a:pt x="778" y="1134"/>
                  </a:lnTo>
                  <a:lnTo>
                    <a:pt x="778" y="1133"/>
                  </a:lnTo>
                  <a:lnTo>
                    <a:pt x="778" y="1130"/>
                  </a:lnTo>
                  <a:lnTo>
                    <a:pt x="777" y="1128"/>
                  </a:lnTo>
                  <a:lnTo>
                    <a:pt x="777" y="1127"/>
                  </a:lnTo>
                  <a:lnTo>
                    <a:pt x="777" y="1126"/>
                  </a:lnTo>
                  <a:lnTo>
                    <a:pt x="777" y="1124"/>
                  </a:lnTo>
                  <a:lnTo>
                    <a:pt x="777" y="1122"/>
                  </a:lnTo>
                  <a:lnTo>
                    <a:pt x="778" y="1121"/>
                  </a:lnTo>
                  <a:lnTo>
                    <a:pt x="779" y="1120"/>
                  </a:lnTo>
                  <a:lnTo>
                    <a:pt x="779" y="1117"/>
                  </a:lnTo>
                  <a:lnTo>
                    <a:pt x="779" y="1109"/>
                  </a:lnTo>
                  <a:lnTo>
                    <a:pt x="780" y="1108"/>
                  </a:lnTo>
                  <a:lnTo>
                    <a:pt x="780" y="1106"/>
                  </a:lnTo>
                  <a:lnTo>
                    <a:pt x="782" y="1105"/>
                  </a:lnTo>
                  <a:lnTo>
                    <a:pt x="783" y="1105"/>
                  </a:lnTo>
                  <a:lnTo>
                    <a:pt x="783" y="1104"/>
                  </a:lnTo>
                  <a:lnTo>
                    <a:pt x="784" y="1105"/>
                  </a:lnTo>
                  <a:lnTo>
                    <a:pt x="784" y="1104"/>
                  </a:lnTo>
                  <a:lnTo>
                    <a:pt x="785" y="1103"/>
                  </a:lnTo>
                  <a:lnTo>
                    <a:pt x="786" y="1103"/>
                  </a:lnTo>
                  <a:lnTo>
                    <a:pt x="786" y="1102"/>
                  </a:lnTo>
                  <a:lnTo>
                    <a:pt x="788" y="1102"/>
                  </a:lnTo>
                  <a:lnTo>
                    <a:pt x="789" y="1100"/>
                  </a:lnTo>
                  <a:lnTo>
                    <a:pt x="791" y="1099"/>
                  </a:lnTo>
                  <a:lnTo>
                    <a:pt x="792" y="1097"/>
                  </a:lnTo>
                  <a:lnTo>
                    <a:pt x="794" y="1097"/>
                  </a:lnTo>
                  <a:lnTo>
                    <a:pt x="794" y="1094"/>
                  </a:lnTo>
                  <a:lnTo>
                    <a:pt x="792" y="1094"/>
                  </a:lnTo>
                  <a:lnTo>
                    <a:pt x="790" y="1094"/>
                  </a:lnTo>
                  <a:lnTo>
                    <a:pt x="788" y="1094"/>
                  </a:lnTo>
                  <a:lnTo>
                    <a:pt x="783" y="1096"/>
                  </a:lnTo>
                  <a:lnTo>
                    <a:pt x="779" y="1098"/>
                  </a:lnTo>
                  <a:lnTo>
                    <a:pt x="774" y="1099"/>
                  </a:lnTo>
                  <a:lnTo>
                    <a:pt x="771" y="1102"/>
                  </a:lnTo>
                  <a:lnTo>
                    <a:pt x="767" y="1103"/>
                  </a:lnTo>
                  <a:lnTo>
                    <a:pt x="761" y="1104"/>
                  </a:lnTo>
                  <a:lnTo>
                    <a:pt x="756" y="1106"/>
                  </a:lnTo>
                  <a:lnTo>
                    <a:pt x="752" y="1108"/>
                  </a:lnTo>
                  <a:lnTo>
                    <a:pt x="748" y="1109"/>
                  </a:lnTo>
                  <a:lnTo>
                    <a:pt x="744" y="1108"/>
                  </a:lnTo>
                  <a:lnTo>
                    <a:pt x="737" y="1109"/>
                  </a:lnTo>
                  <a:lnTo>
                    <a:pt x="731" y="1109"/>
                  </a:lnTo>
                  <a:lnTo>
                    <a:pt x="725" y="1109"/>
                  </a:lnTo>
                  <a:lnTo>
                    <a:pt x="720" y="1108"/>
                  </a:lnTo>
                  <a:lnTo>
                    <a:pt x="717" y="1106"/>
                  </a:lnTo>
                  <a:lnTo>
                    <a:pt x="712" y="1105"/>
                  </a:lnTo>
                  <a:lnTo>
                    <a:pt x="701" y="1105"/>
                  </a:lnTo>
                  <a:lnTo>
                    <a:pt x="700" y="1104"/>
                  </a:lnTo>
                  <a:lnTo>
                    <a:pt x="696" y="1103"/>
                  </a:lnTo>
                  <a:lnTo>
                    <a:pt x="694" y="1100"/>
                  </a:lnTo>
                  <a:lnTo>
                    <a:pt x="694" y="1098"/>
                  </a:lnTo>
                  <a:lnTo>
                    <a:pt x="693" y="1097"/>
                  </a:lnTo>
                  <a:lnTo>
                    <a:pt x="693" y="1094"/>
                  </a:lnTo>
                  <a:lnTo>
                    <a:pt x="691" y="1093"/>
                  </a:lnTo>
                  <a:lnTo>
                    <a:pt x="691" y="1091"/>
                  </a:lnTo>
                  <a:lnTo>
                    <a:pt x="693" y="1091"/>
                  </a:lnTo>
                  <a:lnTo>
                    <a:pt x="694" y="1093"/>
                  </a:lnTo>
                  <a:lnTo>
                    <a:pt x="695" y="1092"/>
                  </a:lnTo>
                  <a:lnTo>
                    <a:pt x="696" y="1092"/>
                  </a:lnTo>
                  <a:lnTo>
                    <a:pt x="697" y="1091"/>
                  </a:lnTo>
                  <a:lnTo>
                    <a:pt x="699" y="1091"/>
                  </a:lnTo>
                  <a:lnTo>
                    <a:pt x="700" y="1090"/>
                  </a:lnTo>
                  <a:lnTo>
                    <a:pt x="700" y="1088"/>
                  </a:lnTo>
                  <a:lnTo>
                    <a:pt x="702" y="1087"/>
                  </a:lnTo>
                  <a:lnTo>
                    <a:pt x="703" y="1087"/>
                  </a:lnTo>
                  <a:lnTo>
                    <a:pt x="705" y="1086"/>
                  </a:lnTo>
                  <a:lnTo>
                    <a:pt x="705" y="1087"/>
                  </a:lnTo>
                  <a:lnTo>
                    <a:pt x="706" y="1087"/>
                  </a:lnTo>
                  <a:lnTo>
                    <a:pt x="707" y="1087"/>
                  </a:lnTo>
                  <a:lnTo>
                    <a:pt x="708" y="1087"/>
                  </a:lnTo>
                  <a:lnTo>
                    <a:pt x="709" y="1087"/>
                  </a:lnTo>
                  <a:lnTo>
                    <a:pt x="711" y="1087"/>
                  </a:lnTo>
                  <a:lnTo>
                    <a:pt x="713" y="1086"/>
                  </a:lnTo>
                  <a:lnTo>
                    <a:pt x="714" y="1086"/>
                  </a:lnTo>
                  <a:lnTo>
                    <a:pt x="714" y="1085"/>
                  </a:lnTo>
                  <a:lnTo>
                    <a:pt x="714" y="1082"/>
                  </a:lnTo>
                  <a:lnTo>
                    <a:pt x="715" y="1081"/>
                  </a:lnTo>
                  <a:lnTo>
                    <a:pt x="717" y="1082"/>
                  </a:lnTo>
                  <a:lnTo>
                    <a:pt x="715" y="1084"/>
                  </a:lnTo>
                  <a:lnTo>
                    <a:pt x="717" y="1085"/>
                  </a:lnTo>
                  <a:lnTo>
                    <a:pt x="718" y="1084"/>
                  </a:lnTo>
                  <a:lnTo>
                    <a:pt x="719" y="1082"/>
                  </a:lnTo>
                  <a:lnTo>
                    <a:pt x="719" y="1081"/>
                  </a:lnTo>
                  <a:lnTo>
                    <a:pt x="719" y="1080"/>
                  </a:lnTo>
                  <a:lnTo>
                    <a:pt x="720" y="1082"/>
                  </a:lnTo>
                  <a:lnTo>
                    <a:pt x="720" y="1081"/>
                  </a:lnTo>
                  <a:lnTo>
                    <a:pt x="721" y="1081"/>
                  </a:lnTo>
                  <a:lnTo>
                    <a:pt x="723" y="1081"/>
                  </a:lnTo>
                  <a:lnTo>
                    <a:pt x="725" y="1080"/>
                  </a:lnTo>
                  <a:lnTo>
                    <a:pt x="726" y="1078"/>
                  </a:lnTo>
                  <a:lnTo>
                    <a:pt x="726" y="1076"/>
                  </a:lnTo>
                  <a:lnTo>
                    <a:pt x="727" y="1075"/>
                  </a:lnTo>
                  <a:lnTo>
                    <a:pt x="727" y="1073"/>
                  </a:lnTo>
                  <a:lnTo>
                    <a:pt x="729" y="1072"/>
                  </a:lnTo>
                  <a:lnTo>
                    <a:pt x="730" y="1072"/>
                  </a:lnTo>
                  <a:lnTo>
                    <a:pt x="731" y="1070"/>
                  </a:lnTo>
                  <a:lnTo>
                    <a:pt x="731" y="1069"/>
                  </a:lnTo>
                  <a:lnTo>
                    <a:pt x="732" y="1068"/>
                  </a:lnTo>
                  <a:lnTo>
                    <a:pt x="732" y="1067"/>
                  </a:lnTo>
                  <a:lnTo>
                    <a:pt x="733" y="1067"/>
                  </a:lnTo>
                  <a:lnTo>
                    <a:pt x="735" y="1065"/>
                  </a:lnTo>
                  <a:lnTo>
                    <a:pt x="735" y="1064"/>
                  </a:lnTo>
                  <a:lnTo>
                    <a:pt x="735" y="1063"/>
                  </a:lnTo>
                  <a:lnTo>
                    <a:pt x="735" y="1064"/>
                  </a:lnTo>
                  <a:lnTo>
                    <a:pt x="736" y="1064"/>
                  </a:lnTo>
                  <a:lnTo>
                    <a:pt x="736" y="1063"/>
                  </a:lnTo>
                  <a:lnTo>
                    <a:pt x="737" y="1061"/>
                  </a:lnTo>
                  <a:lnTo>
                    <a:pt x="737" y="1059"/>
                  </a:lnTo>
                  <a:lnTo>
                    <a:pt x="738" y="1058"/>
                  </a:lnTo>
                  <a:lnTo>
                    <a:pt x="737" y="1058"/>
                  </a:lnTo>
                  <a:lnTo>
                    <a:pt x="736" y="1057"/>
                  </a:lnTo>
                  <a:lnTo>
                    <a:pt x="733" y="1058"/>
                  </a:lnTo>
                  <a:lnTo>
                    <a:pt x="731" y="1058"/>
                  </a:lnTo>
                  <a:lnTo>
                    <a:pt x="723" y="1058"/>
                  </a:lnTo>
                  <a:lnTo>
                    <a:pt x="718" y="1059"/>
                  </a:lnTo>
                  <a:lnTo>
                    <a:pt x="714" y="1061"/>
                  </a:lnTo>
                  <a:lnTo>
                    <a:pt x="711" y="1059"/>
                  </a:lnTo>
                  <a:lnTo>
                    <a:pt x="708" y="1059"/>
                  </a:lnTo>
                  <a:lnTo>
                    <a:pt x="706" y="1057"/>
                  </a:lnTo>
                  <a:lnTo>
                    <a:pt x="706" y="1056"/>
                  </a:lnTo>
                  <a:lnTo>
                    <a:pt x="705" y="1055"/>
                  </a:lnTo>
                  <a:lnTo>
                    <a:pt x="706" y="1053"/>
                  </a:lnTo>
                  <a:lnTo>
                    <a:pt x="707" y="1051"/>
                  </a:lnTo>
                  <a:lnTo>
                    <a:pt x="708" y="1050"/>
                  </a:lnTo>
                  <a:lnTo>
                    <a:pt x="709" y="1049"/>
                  </a:lnTo>
                  <a:lnTo>
                    <a:pt x="709" y="1046"/>
                  </a:lnTo>
                  <a:lnTo>
                    <a:pt x="711" y="1046"/>
                  </a:lnTo>
                  <a:lnTo>
                    <a:pt x="712" y="1046"/>
                  </a:lnTo>
                  <a:lnTo>
                    <a:pt x="713" y="1045"/>
                  </a:lnTo>
                  <a:lnTo>
                    <a:pt x="714" y="1045"/>
                  </a:lnTo>
                  <a:lnTo>
                    <a:pt x="714" y="1044"/>
                  </a:lnTo>
                  <a:lnTo>
                    <a:pt x="715" y="1043"/>
                  </a:lnTo>
                  <a:lnTo>
                    <a:pt x="717" y="1043"/>
                  </a:lnTo>
                  <a:lnTo>
                    <a:pt x="717" y="1044"/>
                  </a:lnTo>
                  <a:lnTo>
                    <a:pt x="718" y="1044"/>
                  </a:lnTo>
                  <a:lnTo>
                    <a:pt x="719" y="1044"/>
                  </a:lnTo>
                  <a:lnTo>
                    <a:pt x="720" y="1043"/>
                  </a:lnTo>
                  <a:lnTo>
                    <a:pt x="721" y="1041"/>
                  </a:lnTo>
                  <a:lnTo>
                    <a:pt x="724" y="1041"/>
                  </a:lnTo>
                  <a:lnTo>
                    <a:pt x="724" y="1040"/>
                  </a:lnTo>
                  <a:lnTo>
                    <a:pt x="725" y="1040"/>
                  </a:lnTo>
                  <a:lnTo>
                    <a:pt x="726" y="1039"/>
                  </a:lnTo>
                  <a:lnTo>
                    <a:pt x="726" y="1038"/>
                  </a:lnTo>
                  <a:lnTo>
                    <a:pt x="727" y="1037"/>
                  </a:lnTo>
                  <a:lnTo>
                    <a:pt x="729" y="1035"/>
                  </a:lnTo>
                  <a:lnTo>
                    <a:pt x="731" y="1034"/>
                  </a:lnTo>
                  <a:lnTo>
                    <a:pt x="732" y="1033"/>
                  </a:lnTo>
                  <a:lnTo>
                    <a:pt x="733" y="1033"/>
                  </a:lnTo>
                  <a:lnTo>
                    <a:pt x="736" y="1032"/>
                  </a:lnTo>
                  <a:lnTo>
                    <a:pt x="736" y="1031"/>
                  </a:lnTo>
                  <a:lnTo>
                    <a:pt x="736" y="1029"/>
                  </a:lnTo>
                  <a:lnTo>
                    <a:pt x="737" y="1029"/>
                  </a:lnTo>
                  <a:lnTo>
                    <a:pt x="738" y="1027"/>
                  </a:lnTo>
                  <a:lnTo>
                    <a:pt x="739" y="1027"/>
                  </a:lnTo>
                  <a:lnTo>
                    <a:pt x="741" y="1025"/>
                  </a:lnTo>
                  <a:lnTo>
                    <a:pt x="741" y="1023"/>
                  </a:lnTo>
                  <a:lnTo>
                    <a:pt x="741" y="1020"/>
                  </a:lnTo>
                  <a:lnTo>
                    <a:pt x="742" y="1019"/>
                  </a:lnTo>
                  <a:lnTo>
                    <a:pt x="742" y="1017"/>
                  </a:lnTo>
                  <a:lnTo>
                    <a:pt x="743" y="1015"/>
                  </a:lnTo>
                  <a:lnTo>
                    <a:pt x="744" y="1014"/>
                  </a:lnTo>
                  <a:lnTo>
                    <a:pt x="745" y="1013"/>
                  </a:lnTo>
                  <a:lnTo>
                    <a:pt x="745" y="1010"/>
                  </a:lnTo>
                  <a:lnTo>
                    <a:pt x="744" y="1010"/>
                  </a:lnTo>
                  <a:lnTo>
                    <a:pt x="743" y="1010"/>
                  </a:lnTo>
                  <a:lnTo>
                    <a:pt x="741" y="1013"/>
                  </a:lnTo>
                  <a:lnTo>
                    <a:pt x="739" y="1014"/>
                  </a:lnTo>
                  <a:lnTo>
                    <a:pt x="738" y="1014"/>
                  </a:lnTo>
                  <a:lnTo>
                    <a:pt x="737" y="1014"/>
                  </a:lnTo>
                  <a:lnTo>
                    <a:pt x="737" y="1013"/>
                  </a:lnTo>
                  <a:lnTo>
                    <a:pt x="738" y="1011"/>
                  </a:lnTo>
                  <a:lnTo>
                    <a:pt x="739" y="1011"/>
                  </a:lnTo>
                  <a:lnTo>
                    <a:pt x="741" y="1010"/>
                  </a:lnTo>
                  <a:lnTo>
                    <a:pt x="742" y="1010"/>
                  </a:lnTo>
                  <a:lnTo>
                    <a:pt x="743" y="1009"/>
                  </a:lnTo>
                  <a:lnTo>
                    <a:pt x="742" y="1009"/>
                  </a:lnTo>
                  <a:lnTo>
                    <a:pt x="739" y="1007"/>
                  </a:lnTo>
                  <a:lnTo>
                    <a:pt x="738" y="1005"/>
                  </a:lnTo>
                  <a:lnTo>
                    <a:pt x="736" y="1005"/>
                  </a:lnTo>
                  <a:lnTo>
                    <a:pt x="735" y="1003"/>
                  </a:lnTo>
                  <a:lnTo>
                    <a:pt x="736" y="1004"/>
                  </a:lnTo>
                  <a:lnTo>
                    <a:pt x="739" y="1003"/>
                  </a:lnTo>
                  <a:lnTo>
                    <a:pt x="739" y="1002"/>
                  </a:lnTo>
                  <a:lnTo>
                    <a:pt x="741" y="1002"/>
                  </a:lnTo>
                  <a:lnTo>
                    <a:pt x="742" y="1001"/>
                  </a:lnTo>
                  <a:lnTo>
                    <a:pt x="741" y="1001"/>
                  </a:lnTo>
                  <a:lnTo>
                    <a:pt x="738" y="1001"/>
                  </a:lnTo>
                  <a:lnTo>
                    <a:pt x="738" y="999"/>
                  </a:lnTo>
                  <a:lnTo>
                    <a:pt x="739" y="999"/>
                  </a:lnTo>
                  <a:lnTo>
                    <a:pt x="741" y="998"/>
                  </a:lnTo>
                  <a:lnTo>
                    <a:pt x="742" y="998"/>
                  </a:lnTo>
                  <a:lnTo>
                    <a:pt x="742" y="997"/>
                  </a:lnTo>
                  <a:lnTo>
                    <a:pt x="741" y="997"/>
                  </a:lnTo>
                  <a:lnTo>
                    <a:pt x="739" y="997"/>
                  </a:lnTo>
                  <a:lnTo>
                    <a:pt x="739" y="995"/>
                  </a:lnTo>
                  <a:lnTo>
                    <a:pt x="739" y="993"/>
                  </a:lnTo>
                  <a:lnTo>
                    <a:pt x="738" y="993"/>
                  </a:lnTo>
                  <a:lnTo>
                    <a:pt x="737" y="996"/>
                  </a:lnTo>
                  <a:lnTo>
                    <a:pt x="736" y="995"/>
                  </a:lnTo>
                  <a:lnTo>
                    <a:pt x="735" y="993"/>
                  </a:lnTo>
                  <a:lnTo>
                    <a:pt x="733" y="993"/>
                  </a:lnTo>
                  <a:lnTo>
                    <a:pt x="733" y="996"/>
                  </a:lnTo>
                  <a:lnTo>
                    <a:pt x="733" y="999"/>
                  </a:lnTo>
                  <a:lnTo>
                    <a:pt x="732" y="1002"/>
                  </a:lnTo>
                  <a:lnTo>
                    <a:pt x="730" y="1002"/>
                  </a:lnTo>
                  <a:lnTo>
                    <a:pt x="729" y="1005"/>
                  </a:lnTo>
                  <a:lnTo>
                    <a:pt x="726" y="1007"/>
                  </a:lnTo>
                  <a:lnTo>
                    <a:pt x="724" y="1007"/>
                  </a:lnTo>
                  <a:lnTo>
                    <a:pt x="723" y="1008"/>
                  </a:lnTo>
                  <a:lnTo>
                    <a:pt x="721" y="1009"/>
                  </a:lnTo>
                  <a:lnTo>
                    <a:pt x="719" y="1010"/>
                  </a:lnTo>
                  <a:lnTo>
                    <a:pt x="718" y="1010"/>
                  </a:lnTo>
                  <a:lnTo>
                    <a:pt x="715" y="1011"/>
                  </a:lnTo>
                  <a:lnTo>
                    <a:pt x="713" y="1013"/>
                  </a:lnTo>
                  <a:lnTo>
                    <a:pt x="709" y="1013"/>
                  </a:lnTo>
                  <a:lnTo>
                    <a:pt x="708" y="1014"/>
                  </a:lnTo>
                  <a:lnTo>
                    <a:pt x="706" y="1015"/>
                  </a:lnTo>
                  <a:lnTo>
                    <a:pt x="705" y="1014"/>
                  </a:lnTo>
                  <a:lnTo>
                    <a:pt x="706" y="1014"/>
                  </a:lnTo>
                  <a:lnTo>
                    <a:pt x="706" y="1013"/>
                  </a:lnTo>
                  <a:lnTo>
                    <a:pt x="707" y="1011"/>
                  </a:lnTo>
                  <a:lnTo>
                    <a:pt x="707" y="1010"/>
                  </a:lnTo>
                  <a:lnTo>
                    <a:pt x="706" y="1009"/>
                  </a:lnTo>
                  <a:lnTo>
                    <a:pt x="706" y="1007"/>
                  </a:lnTo>
                  <a:lnTo>
                    <a:pt x="705" y="1005"/>
                  </a:lnTo>
                  <a:lnTo>
                    <a:pt x="705" y="1004"/>
                  </a:lnTo>
                  <a:lnTo>
                    <a:pt x="706" y="1005"/>
                  </a:lnTo>
                  <a:lnTo>
                    <a:pt x="707" y="1003"/>
                  </a:lnTo>
                  <a:lnTo>
                    <a:pt x="707" y="1004"/>
                  </a:lnTo>
                  <a:lnTo>
                    <a:pt x="708" y="1003"/>
                  </a:lnTo>
                  <a:lnTo>
                    <a:pt x="708" y="1002"/>
                  </a:lnTo>
                  <a:lnTo>
                    <a:pt x="707" y="1002"/>
                  </a:lnTo>
                  <a:lnTo>
                    <a:pt x="707" y="1001"/>
                  </a:lnTo>
                  <a:lnTo>
                    <a:pt x="707" y="999"/>
                  </a:lnTo>
                  <a:lnTo>
                    <a:pt x="708" y="998"/>
                  </a:lnTo>
                  <a:lnTo>
                    <a:pt x="707" y="997"/>
                  </a:lnTo>
                  <a:lnTo>
                    <a:pt x="705" y="997"/>
                  </a:lnTo>
                  <a:lnTo>
                    <a:pt x="703" y="997"/>
                  </a:lnTo>
                  <a:lnTo>
                    <a:pt x="702" y="997"/>
                  </a:lnTo>
                  <a:lnTo>
                    <a:pt x="701" y="998"/>
                  </a:lnTo>
                  <a:lnTo>
                    <a:pt x="700" y="998"/>
                  </a:lnTo>
                  <a:lnTo>
                    <a:pt x="697" y="999"/>
                  </a:lnTo>
                  <a:lnTo>
                    <a:pt x="696" y="999"/>
                  </a:lnTo>
                  <a:lnTo>
                    <a:pt x="696" y="998"/>
                  </a:lnTo>
                  <a:lnTo>
                    <a:pt x="699" y="997"/>
                  </a:lnTo>
                  <a:lnTo>
                    <a:pt x="699" y="996"/>
                  </a:lnTo>
                  <a:lnTo>
                    <a:pt x="699" y="995"/>
                  </a:lnTo>
                  <a:lnTo>
                    <a:pt x="697" y="993"/>
                  </a:lnTo>
                  <a:lnTo>
                    <a:pt x="697" y="991"/>
                  </a:lnTo>
                  <a:lnTo>
                    <a:pt x="696" y="989"/>
                  </a:lnTo>
                  <a:lnTo>
                    <a:pt x="695" y="987"/>
                  </a:lnTo>
                  <a:lnTo>
                    <a:pt x="694" y="987"/>
                  </a:lnTo>
                  <a:lnTo>
                    <a:pt x="694" y="986"/>
                  </a:lnTo>
                  <a:lnTo>
                    <a:pt x="693" y="987"/>
                  </a:lnTo>
                  <a:lnTo>
                    <a:pt x="693" y="989"/>
                  </a:lnTo>
                  <a:lnTo>
                    <a:pt x="693" y="990"/>
                  </a:lnTo>
                  <a:lnTo>
                    <a:pt x="691" y="992"/>
                  </a:lnTo>
                  <a:lnTo>
                    <a:pt x="690" y="993"/>
                  </a:lnTo>
                  <a:lnTo>
                    <a:pt x="689" y="993"/>
                  </a:lnTo>
                  <a:lnTo>
                    <a:pt x="688" y="993"/>
                  </a:lnTo>
                  <a:lnTo>
                    <a:pt x="688" y="995"/>
                  </a:lnTo>
                  <a:lnTo>
                    <a:pt x="685" y="996"/>
                  </a:lnTo>
                  <a:lnTo>
                    <a:pt x="685" y="997"/>
                  </a:lnTo>
                  <a:lnTo>
                    <a:pt x="686" y="997"/>
                  </a:lnTo>
                  <a:lnTo>
                    <a:pt x="688" y="996"/>
                  </a:lnTo>
                  <a:lnTo>
                    <a:pt x="688" y="997"/>
                  </a:lnTo>
                  <a:lnTo>
                    <a:pt x="688" y="998"/>
                  </a:lnTo>
                  <a:lnTo>
                    <a:pt x="686" y="998"/>
                  </a:lnTo>
                  <a:lnTo>
                    <a:pt x="686" y="999"/>
                  </a:lnTo>
                  <a:lnTo>
                    <a:pt x="686" y="1001"/>
                  </a:lnTo>
                  <a:lnTo>
                    <a:pt x="688" y="1001"/>
                  </a:lnTo>
                  <a:lnTo>
                    <a:pt x="688" y="1002"/>
                  </a:lnTo>
                  <a:lnTo>
                    <a:pt x="686" y="1002"/>
                  </a:lnTo>
                  <a:lnTo>
                    <a:pt x="685" y="1002"/>
                  </a:lnTo>
                  <a:lnTo>
                    <a:pt x="685" y="1003"/>
                  </a:lnTo>
                  <a:lnTo>
                    <a:pt x="685" y="1004"/>
                  </a:lnTo>
                  <a:lnTo>
                    <a:pt x="686" y="1005"/>
                  </a:lnTo>
                  <a:lnTo>
                    <a:pt x="685" y="1007"/>
                  </a:lnTo>
                  <a:lnTo>
                    <a:pt x="683" y="1007"/>
                  </a:lnTo>
                  <a:lnTo>
                    <a:pt x="682" y="1007"/>
                  </a:lnTo>
                  <a:lnTo>
                    <a:pt x="684" y="1008"/>
                  </a:lnTo>
                  <a:lnTo>
                    <a:pt x="685" y="1008"/>
                  </a:lnTo>
                  <a:lnTo>
                    <a:pt x="686" y="1009"/>
                  </a:lnTo>
                  <a:lnTo>
                    <a:pt x="685" y="1011"/>
                  </a:lnTo>
                  <a:lnTo>
                    <a:pt x="684" y="1011"/>
                  </a:lnTo>
                  <a:lnTo>
                    <a:pt x="683" y="1010"/>
                  </a:lnTo>
                  <a:lnTo>
                    <a:pt x="683" y="1011"/>
                  </a:lnTo>
                  <a:lnTo>
                    <a:pt x="682" y="1013"/>
                  </a:lnTo>
                  <a:lnTo>
                    <a:pt x="679" y="1014"/>
                  </a:lnTo>
                  <a:lnTo>
                    <a:pt x="677" y="1014"/>
                  </a:lnTo>
                  <a:lnTo>
                    <a:pt x="674" y="1015"/>
                  </a:lnTo>
                  <a:lnTo>
                    <a:pt x="672" y="1015"/>
                  </a:lnTo>
                  <a:lnTo>
                    <a:pt x="670" y="1015"/>
                  </a:lnTo>
                  <a:lnTo>
                    <a:pt x="665" y="1016"/>
                  </a:lnTo>
                  <a:lnTo>
                    <a:pt x="661" y="1015"/>
                  </a:lnTo>
                  <a:lnTo>
                    <a:pt x="659" y="1014"/>
                  </a:lnTo>
                  <a:lnTo>
                    <a:pt x="656" y="1014"/>
                  </a:lnTo>
                  <a:lnTo>
                    <a:pt x="653" y="1014"/>
                  </a:lnTo>
                  <a:lnTo>
                    <a:pt x="650" y="1013"/>
                  </a:lnTo>
                  <a:lnTo>
                    <a:pt x="648" y="1010"/>
                  </a:lnTo>
                  <a:lnTo>
                    <a:pt x="648" y="1009"/>
                  </a:lnTo>
                  <a:lnTo>
                    <a:pt x="648" y="1008"/>
                  </a:lnTo>
                  <a:lnTo>
                    <a:pt x="650" y="1008"/>
                  </a:lnTo>
                  <a:lnTo>
                    <a:pt x="650" y="1004"/>
                  </a:lnTo>
                  <a:lnTo>
                    <a:pt x="652" y="1005"/>
                  </a:lnTo>
                  <a:lnTo>
                    <a:pt x="652" y="1008"/>
                  </a:lnTo>
                  <a:lnTo>
                    <a:pt x="653" y="1009"/>
                  </a:lnTo>
                  <a:lnTo>
                    <a:pt x="655" y="1011"/>
                  </a:lnTo>
                  <a:lnTo>
                    <a:pt x="656" y="1013"/>
                  </a:lnTo>
                  <a:lnTo>
                    <a:pt x="658" y="1013"/>
                  </a:lnTo>
                  <a:lnTo>
                    <a:pt x="658" y="1010"/>
                  </a:lnTo>
                  <a:lnTo>
                    <a:pt x="655" y="1008"/>
                  </a:lnTo>
                  <a:lnTo>
                    <a:pt x="653" y="1005"/>
                  </a:lnTo>
                  <a:lnTo>
                    <a:pt x="653" y="1003"/>
                  </a:lnTo>
                  <a:lnTo>
                    <a:pt x="652" y="1001"/>
                  </a:lnTo>
                  <a:lnTo>
                    <a:pt x="653" y="1001"/>
                  </a:lnTo>
                  <a:lnTo>
                    <a:pt x="654" y="1002"/>
                  </a:lnTo>
                  <a:lnTo>
                    <a:pt x="654" y="1003"/>
                  </a:lnTo>
                  <a:lnTo>
                    <a:pt x="655" y="1003"/>
                  </a:lnTo>
                  <a:lnTo>
                    <a:pt x="655" y="1002"/>
                  </a:lnTo>
                  <a:lnTo>
                    <a:pt x="656" y="1001"/>
                  </a:lnTo>
                  <a:lnTo>
                    <a:pt x="658" y="1002"/>
                  </a:lnTo>
                  <a:lnTo>
                    <a:pt x="659" y="1003"/>
                  </a:lnTo>
                  <a:lnTo>
                    <a:pt x="660" y="1001"/>
                  </a:lnTo>
                  <a:lnTo>
                    <a:pt x="660" y="999"/>
                  </a:lnTo>
                  <a:lnTo>
                    <a:pt x="659" y="997"/>
                  </a:lnTo>
                  <a:lnTo>
                    <a:pt x="656" y="995"/>
                  </a:lnTo>
                  <a:lnTo>
                    <a:pt x="655" y="993"/>
                  </a:lnTo>
                  <a:lnTo>
                    <a:pt x="656" y="991"/>
                  </a:lnTo>
                  <a:lnTo>
                    <a:pt x="656" y="992"/>
                  </a:lnTo>
                  <a:lnTo>
                    <a:pt x="658" y="993"/>
                  </a:lnTo>
                  <a:lnTo>
                    <a:pt x="659" y="995"/>
                  </a:lnTo>
                  <a:lnTo>
                    <a:pt x="660" y="996"/>
                  </a:lnTo>
                  <a:lnTo>
                    <a:pt x="661" y="995"/>
                  </a:lnTo>
                  <a:lnTo>
                    <a:pt x="661" y="993"/>
                  </a:lnTo>
                  <a:lnTo>
                    <a:pt x="662" y="993"/>
                  </a:lnTo>
                  <a:lnTo>
                    <a:pt x="664" y="995"/>
                  </a:lnTo>
                  <a:lnTo>
                    <a:pt x="665" y="996"/>
                  </a:lnTo>
                  <a:lnTo>
                    <a:pt x="666" y="995"/>
                  </a:lnTo>
                  <a:lnTo>
                    <a:pt x="666" y="993"/>
                  </a:lnTo>
                  <a:lnTo>
                    <a:pt x="667" y="992"/>
                  </a:lnTo>
                  <a:lnTo>
                    <a:pt x="667" y="990"/>
                  </a:lnTo>
                  <a:lnTo>
                    <a:pt x="666" y="987"/>
                  </a:lnTo>
                  <a:lnTo>
                    <a:pt x="665" y="986"/>
                  </a:lnTo>
                  <a:lnTo>
                    <a:pt x="665" y="984"/>
                  </a:lnTo>
                  <a:lnTo>
                    <a:pt x="666" y="984"/>
                  </a:lnTo>
                  <a:lnTo>
                    <a:pt x="667" y="985"/>
                  </a:lnTo>
                  <a:lnTo>
                    <a:pt x="670" y="984"/>
                  </a:lnTo>
                  <a:lnTo>
                    <a:pt x="672" y="985"/>
                  </a:lnTo>
                  <a:lnTo>
                    <a:pt x="674" y="986"/>
                  </a:lnTo>
                  <a:lnTo>
                    <a:pt x="676" y="985"/>
                  </a:lnTo>
                  <a:lnTo>
                    <a:pt x="677" y="984"/>
                  </a:lnTo>
                  <a:lnTo>
                    <a:pt x="678" y="984"/>
                  </a:lnTo>
                  <a:lnTo>
                    <a:pt x="678" y="983"/>
                  </a:lnTo>
                  <a:lnTo>
                    <a:pt x="676" y="981"/>
                  </a:lnTo>
                  <a:lnTo>
                    <a:pt x="673" y="981"/>
                  </a:lnTo>
                  <a:lnTo>
                    <a:pt x="671" y="980"/>
                  </a:lnTo>
                  <a:lnTo>
                    <a:pt x="668" y="979"/>
                  </a:lnTo>
                  <a:lnTo>
                    <a:pt x="667" y="977"/>
                  </a:lnTo>
                  <a:lnTo>
                    <a:pt x="667" y="975"/>
                  </a:lnTo>
                  <a:lnTo>
                    <a:pt x="666" y="975"/>
                  </a:lnTo>
                  <a:lnTo>
                    <a:pt x="666" y="974"/>
                  </a:lnTo>
                  <a:lnTo>
                    <a:pt x="667" y="974"/>
                  </a:lnTo>
                  <a:lnTo>
                    <a:pt x="668" y="975"/>
                  </a:lnTo>
                  <a:lnTo>
                    <a:pt x="671" y="977"/>
                  </a:lnTo>
                  <a:lnTo>
                    <a:pt x="672" y="977"/>
                  </a:lnTo>
                  <a:lnTo>
                    <a:pt x="673" y="979"/>
                  </a:lnTo>
                  <a:lnTo>
                    <a:pt x="674" y="979"/>
                  </a:lnTo>
                  <a:lnTo>
                    <a:pt x="676" y="978"/>
                  </a:lnTo>
                  <a:lnTo>
                    <a:pt x="676" y="977"/>
                  </a:lnTo>
                  <a:lnTo>
                    <a:pt x="674" y="975"/>
                  </a:lnTo>
                  <a:lnTo>
                    <a:pt x="673" y="974"/>
                  </a:lnTo>
                  <a:lnTo>
                    <a:pt x="670" y="973"/>
                  </a:lnTo>
                  <a:lnTo>
                    <a:pt x="668" y="972"/>
                  </a:lnTo>
                  <a:lnTo>
                    <a:pt x="667" y="972"/>
                  </a:lnTo>
                  <a:lnTo>
                    <a:pt x="665" y="971"/>
                  </a:lnTo>
                  <a:lnTo>
                    <a:pt x="664" y="969"/>
                  </a:lnTo>
                  <a:lnTo>
                    <a:pt x="664" y="968"/>
                  </a:lnTo>
                  <a:lnTo>
                    <a:pt x="665" y="969"/>
                  </a:lnTo>
                  <a:lnTo>
                    <a:pt x="666" y="969"/>
                  </a:lnTo>
                  <a:lnTo>
                    <a:pt x="667" y="971"/>
                  </a:lnTo>
                  <a:lnTo>
                    <a:pt x="668" y="972"/>
                  </a:lnTo>
                  <a:lnTo>
                    <a:pt x="670" y="971"/>
                  </a:lnTo>
                  <a:lnTo>
                    <a:pt x="672" y="971"/>
                  </a:lnTo>
                  <a:lnTo>
                    <a:pt x="674" y="971"/>
                  </a:lnTo>
                  <a:lnTo>
                    <a:pt x="673" y="968"/>
                  </a:lnTo>
                  <a:lnTo>
                    <a:pt x="672" y="967"/>
                  </a:lnTo>
                  <a:lnTo>
                    <a:pt x="673" y="965"/>
                  </a:lnTo>
                  <a:lnTo>
                    <a:pt x="676" y="966"/>
                  </a:lnTo>
                  <a:lnTo>
                    <a:pt x="674" y="965"/>
                  </a:lnTo>
                  <a:lnTo>
                    <a:pt x="673" y="962"/>
                  </a:lnTo>
                  <a:lnTo>
                    <a:pt x="676" y="961"/>
                  </a:lnTo>
                  <a:lnTo>
                    <a:pt x="677" y="960"/>
                  </a:lnTo>
                  <a:lnTo>
                    <a:pt x="677" y="959"/>
                  </a:lnTo>
                  <a:lnTo>
                    <a:pt x="673" y="959"/>
                  </a:lnTo>
                  <a:lnTo>
                    <a:pt x="672" y="959"/>
                  </a:lnTo>
                  <a:lnTo>
                    <a:pt x="670" y="957"/>
                  </a:lnTo>
                  <a:lnTo>
                    <a:pt x="665" y="952"/>
                  </a:lnTo>
                  <a:lnTo>
                    <a:pt x="661" y="950"/>
                  </a:lnTo>
                  <a:lnTo>
                    <a:pt x="660" y="948"/>
                  </a:lnTo>
                  <a:lnTo>
                    <a:pt x="661" y="943"/>
                  </a:lnTo>
                  <a:lnTo>
                    <a:pt x="661" y="939"/>
                  </a:lnTo>
                  <a:lnTo>
                    <a:pt x="662" y="939"/>
                  </a:lnTo>
                  <a:lnTo>
                    <a:pt x="664" y="944"/>
                  </a:lnTo>
                  <a:lnTo>
                    <a:pt x="664" y="949"/>
                  </a:lnTo>
                  <a:lnTo>
                    <a:pt x="665" y="948"/>
                  </a:lnTo>
                  <a:lnTo>
                    <a:pt x="665" y="946"/>
                  </a:lnTo>
                  <a:lnTo>
                    <a:pt x="666" y="948"/>
                  </a:lnTo>
                  <a:lnTo>
                    <a:pt x="667" y="945"/>
                  </a:lnTo>
                  <a:lnTo>
                    <a:pt x="667" y="942"/>
                  </a:lnTo>
                  <a:lnTo>
                    <a:pt x="668" y="940"/>
                  </a:lnTo>
                  <a:lnTo>
                    <a:pt x="670" y="942"/>
                  </a:lnTo>
                  <a:lnTo>
                    <a:pt x="668" y="948"/>
                  </a:lnTo>
                  <a:lnTo>
                    <a:pt x="670" y="949"/>
                  </a:lnTo>
                  <a:lnTo>
                    <a:pt x="671" y="951"/>
                  </a:lnTo>
                  <a:lnTo>
                    <a:pt x="674" y="952"/>
                  </a:lnTo>
                  <a:lnTo>
                    <a:pt x="674" y="950"/>
                  </a:lnTo>
                  <a:lnTo>
                    <a:pt x="673" y="946"/>
                  </a:lnTo>
                  <a:lnTo>
                    <a:pt x="672" y="944"/>
                  </a:lnTo>
                  <a:lnTo>
                    <a:pt x="671" y="940"/>
                  </a:lnTo>
                  <a:lnTo>
                    <a:pt x="667" y="938"/>
                  </a:lnTo>
                  <a:lnTo>
                    <a:pt x="666" y="936"/>
                  </a:lnTo>
                  <a:lnTo>
                    <a:pt x="666" y="934"/>
                  </a:lnTo>
                  <a:lnTo>
                    <a:pt x="668" y="937"/>
                  </a:lnTo>
                  <a:lnTo>
                    <a:pt x="668" y="933"/>
                  </a:lnTo>
                  <a:lnTo>
                    <a:pt x="668" y="932"/>
                  </a:lnTo>
                  <a:lnTo>
                    <a:pt x="670" y="932"/>
                  </a:lnTo>
                  <a:lnTo>
                    <a:pt x="671" y="936"/>
                  </a:lnTo>
                  <a:lnTo>
                    <a:pt x="671" y="938"/>
                  </a:lnTo>
                  <a:lnTo>
                    <a:pt x="672" y="940"/>
                  </a:lnTo>
                  <a:lnTo>
                    <a:pt x="672" y="942"/>
                  </a:lnTo>
                  <a:lnTo>
                    <a:pt x="673" y="943"/>
                  </a:lnTo>
                  <a:lnTo>
                    <a:pt x="674" y="944"/>
                  </a:lnTo>
                  <a:lnTo>
                    <a:pt x="676" y="940"/>
                  </a:lnTo>
                  <a:lnTo>
                    <a:pt x="676" y="937"/>
                  </a:lnTo>
                  <a:lnTo>
                    <a:pt x="677" y="936"/>
                  </a:lnTo>
                  <a:lnTo>
                    <a:pt x="677" y="934"/>
                  </a:lnTo>
                  <a:lnTo>
                    <a:pt x="674" y="933"/>
                  </a:lnTo>
                  <a:lnTo>
                    <a:pt x="674" y="932"/>
                  </a:lnTo>
                  <a:lnTo>
                    <a:pt x="674" y="928"/>
                  </a:lnTo>
                  <a:lnTo>
                    <a:pt x="674" y="930"/>
                  </a:lnTo>
                  <a:lnTo>
                    <a:pt x="676" y="932"/>
                  </a:lnTo>
                  <a:lnTo>
                    <a:pt x="677" y="933"/>
                  </a:lnTo>
                  <a:lnTo>
                    <a:pt x="679" y="934"/>
                  </a:lnTo>
                  <a:lnTo>
                    <a:pt x="680" y="936"/>
                  </a:lnTo>
                  <a:lnTo>
                    <a:pt x="682" y="938"/>
                  </a:lnTo>
                  <a:lnTo>
                    <a:pt x="683" y="939"/>
                  </a:lnTo>
                  <a:lnTo>
                    <a:pt x="684" y="938"/>
                  </a:lnTo>
                  <a:lnTo>
                    <a:pt x="684" y="942"/>
                  </a:lnTo>
                  <a:lnTo>
                    <a:pt x="685" y="942"/>
                  </a:lnTo>
                  <a:lnTo>
                    <a:pt x="686" y="939"/>
                  </a:lnTo>
                  <a:lnTo>
                    <a:pt x="688" y="938"/>
                  </a:lnTo>
                  <a:lnTo>
                    <a:pt x="688" y="936"/>
                  </a:lnTo>
                  <a:lnTo>
                    <a:pt x="688" y="934"/>
                  </a:lnTo>
                  <a:lnTo>
                    <a:pt x="689" y="936"/>
                  </a:lnTo>
                  <a:lnTo>
                    <a:pt x="690" y="943"/>
                  </a:lnTo>
                  <a:lnTo>
                    <a:pt x="690" y="945"/>
                  </a:lnTo>
                  <a:lnTo>
                    <a:pt x="691" y="945"/>
                  </a:lnTo>
                  <a:lnTo>
                    <a:pt x="691" y="944"/>
                  </a:lnTo>
                  <a:lnTo>
                    <a:pt x="691" y="940"/>
                  </a:lnTo>
                  <a:lnTo>
                    <a:pt x="693" y="939"/>
                  </a:lnTo>
                  <a:lnTo>
                    <a:pt x="694" y="936"/>
                  </a:lnTo>
                  <a:lnTo>
                    <a:pt x="695" y="936"/>
                  </a:lnTo>
                  <a:lnTo>
                    <a:pt x="696" y="942"/>
                  </a:lnTo>
                  <a:lnTo>
                    <a:pt x="697" y="940"/>
                  </a:lnTo>
                  <a:lnTo>
                    <a:pt x="699" y="939"/>
                  </a:lnTo>
                  <a:lnTo>
                    <a:pt x="699" y="942"/>
                  </a:lnTo>
                  <a:lnTo>
                    <a:pt x="701" y="943"/>
                  </a:lnTo>
                  <a:lnTo>
                    <a:pt x="701" y="940"/>
                  </a:lnTo>
                  <a:lnTo>
                    <a:pt x="701" y="937"/>
                  </a:lnTo>
                  <a:lnTo>
                    <a:pt x="702" y="934"/>
                  </a:lnTo>
                  <a:lnTo>
                    <a:pt x="705" y="933"/>
                  </a:lnTo>
                  <a:lnTo>
                    <a:pt x="703" y="932"/>
                  </a:lnTo>
                  <a:lnTo>
                    <a:pt x="702" y="930"/>
                  </a:lnTo>
                  <a:lnTo>
                    <a:pt x="700" y="927"/>
                  </a:lnTo>
                  <a:lnTo>
                    <a:pt x="701" y="926"/>
                  </a:lnTo>
                  <a:lnTo>
                    <a:pt x="705" y="926"/>
                  </a:lnTo>
                  <a:lnTo>
                    <a:pt x="706" y="925"/>
                  </a:lnTo>
                  <a:lnTo>
                    <a:pt x="707" y="926"/>
                  </a:lnTo>
                  <a:lnTo>
                    <a:pt x="707" y="930"/>
                  </a:lnTo>
                  <a:lnTo>
                    <a:pt x="709" y="931"/>
                  </a:lnTo>
                  <a:lnTo>
                    <a:pt x="711" y="928"/>
                  </a:lnTo>
                  <a:lnTo>
                    <a:pt x="711" y="927"/>
                  </a:lnTo>
                  <a:lnTo>
                    <a:pt x="713" y="930"/>
                  </a:lnTo>
                  <a:lnTo>
                    <a:pt x="719" y="933"/>
                  </a:lnTo>
                  <a:lnTo>
                    <a:pt x="720" y="932"/>
                  </a:lnTo>
                  <a:lnTo>
                    <a:pt x="719" y="930"/>
                  </a:lnTo>
                  <a:lnTo>
                    <a:pt x="717" y="927"/>
                  </a:lnTo>
                  <a:lnTo>
                    <a:pt x="715" y="926"/>
                  </a:lnTo>
                  <a:lnTo>
                    <a:pt x="709" y="924"/>
                  </a:lnTo>
                  <a:lnTo>
                    <a:pt x="707" y="921"/>
                  </a:lnTo>
                  <a:lnTo>
                    <a:pt x="705" y="919"/>
                  </a:lnTo>
                  <a:lnTo>
                    <a:pt x="702" y="916"/>
                  </a:lnTo>
                  <a:lnTo>
                    <a:pt x="702" y="914"/>
                  </a:lnTo>
                  <a:lnTo>
                    <a:pt x="702" y="913"/>
                  </a:lnTo>
                  <a:lnTo>
                    <a:pt x="703" y="913"/>
                  </a:lnTo>
                  <a:lnTo>
                    <a:pt x="705" y="915"/>
                  </a:lnTo>
                  <a:lnTo>
                    <a:pt x="706" y="918"/>
                  </a:lnTo>
                  <a:lnTo>
                    <a:pt x="708" y="919"/>
                  </a:lnTo>
                  <a:lnTo>
                    <a:pt x="709" y="919"/>
                  </a:lnTo>
                  <a:lnTo>
                    <a:pt x="711" y="919"/>
                  </a:lnTo>
                  <a:lnTo>
                    <a:pt x="712" y="920"/>
                  </a:lnTo>
                  <a:lnTo>
                    <a:pt x="712" y="918"/>
                  </a:lnTo>
                  <a:lnTo>
                    <a:pt x="712" y="914"/>
                  </a:lnTo>
                  <a:lnTo>
                    <a:pt x="712" y="912"/>
                  </a:lnTo>
                  <a:lnTo>
                    <a:pt x="713" y="914"/>
                  </a:lnTo>
                  <a:lnTo>
                    <a:pt x="713" y="916"/>
                  </a:lnTo>
                  <a:lnTo>
                    <a:pt x="713" y="920"/>
                  </a:lnTo>
                  <a:lnTo>
                    <a:pt x="714" y="920"/>
                  </a:lnTo>
                  <a:lnTo>
                    <a:pt x="714" y="922"/>
                  </a:lnTo>
                  <a:lnTo>
                    <a:pt x="715" y="925"/>
                  </a:lnTo>
                  <a:lnTo>
                    <a:pt x="717" y="925"/>
                  </a:lnTo>
                  <a:lnTo>
                    <a:pt x="717" y="924"/>
                  </a:lnTo>
                  <a:lnTo>
                    <a:pt x="718" y="922"/>
                  </a:lnTo>
                  <a:lnTo>
                    <a:pt x="717" y="921"/>
                  </a:lnTo>
                  <a:lnTo>
                    <a:pt x="717" y="919"/>
                  </a:lnTo>
                  <a:lnTo>
                    <a:pt x="717" y="916"/>
                  </a:lnTo>
                  <a:lnTo>
                    <a:pt x="718" y="915"/>
                  </a:lnTo>
                  <a:lnTo>
                    <a:pt x="718" y="919"/>
                  </a:lnTo>
                  <a:lnTo>
                    <a:pt x="719" y="920"/>
                  </a:lnTo>
                  <a:lnTo>
                    <a:pt x="719" y="921"/>
                  </a:lnTo>
                  <a:lnTo>
                    <a:pt x="720" y="925"/>
                  </a:lnTo>
                  <a:lnTo>
                    <a:pt x="721" y="924"/>
                  </a:lnTo>
                  <a:lnTo>
                    <a:pt x="721" y="921"/>
                  </a:lnTo>
                  <a:lnTo>
                    <a:pt x="721" y="919"/>
                  </a:lnTo>
                  <a:lnTo>
                    <a:pt x="721" y="915"/>
                  </a:lnTo>
                  <a:lnTo>
                    <a:pt x="721" y="912"/>
                  </a:lnTo>
                  <a:lnTo>
                    <a:pt x="723" y="915"/>
                  </a:lnTo>
                  <a:lnTo>
                    <a:pt x="725" y="916"/>
                  </a:lnTo>
                  <a:lnTo>
                    <a:pt x="726" y="919"/>
                  </a:lnTo>
                  <a:lnTo>
                    <a:pt x="726" y="924"/>
                  </a:lnTo>
                  <a:lnTo>
                    <a:pt x="726" y="925"/>
                  </a:lnTo>
                  <a:lnTo>
                    <a:pt x="727" y="924"/>
                  </a:lnTo>
                  <a:lnTo>
                    <a:pt x="729" y="921"/>
                  </a:lnTo>
                  <a:lnTo>
                    <a:pt x="730" y="919"/>
                  </a:lnTo>
                  <a:lnTo>
                    <a:pt x="730" y="915"/>
                  </a:lnTo>
                  <a:lnTo>
                    <a:pt x="729" y="913"/>
                  </a:lnTo>
                  <a:lnTo>
                    <a:pt x="730" y="908"/>
                  </a:lnTo>
                  <a:lnTo>
                    <a:pt x="729" y="908"/>
                  </a:lnTo>
                  <a:lnTo>
                    <a:pt x="729" y="906"/>
                  </a:lnTo>
                  <a:lnTo>
                    <a:pt x="730" y="906"/>
                  </a:lnTo>
                  <a:lnTo>
                    <a:pt x="731" y="908"/>
                  </a:lnTo>
                  <a:lnTo>
                    <a:pt x="731" y="910"/>
                  </a:lnTo>
                  <a:lnTo>
                    <a:pt x="732" y="914"/>
                  </a:lnTo>
                  <a:lnTo>
                    <a:pt x="733" y="914"/>
                  </a:lnTo>
                  <a:lnTo>
                    <a:pt x="736" y="913"/>
                  </a:lnTo>
                  <a:lnTo>
                    <a:pt x="736" y="909"/>
                  </a:lnTo>
                  <a:lnTo>
                    <a:pt x="736" y="906"/>
                  </a:lnTo>
                  <a:lnTo>
                    <a:pt x="736" y="903"/>
                  </a:lnTo>
                  <a:lnTo>
                    <a:pt x="738" y="901"/>
                  </a:lnTo>
                  <a:lnTo>
                    <a:pt x="738" y="904"/>
                  </a:lnTo>
                  <a:lnTo>
                    <a:pt x="741" y="910"/>
                  </a:lnTo>
                  <a:lnTo>
                    <a:pt x="742" y="913"/>
                  </a:lnTo>
                  <a:lnTo>
                    <a:pt x="744" y="910"/>
                  </a:lnTo>
                  <a:lnTo>
                    <a:pt x="745" y="908"/>
                  </a:lnTo>
                  <a:lnTo>
                    <a:pt x="747" y="908"/>
                  </a:lnTo>
                  <a:lnTo>
                    <a:pt x="747" y="910"/>
                  </a:lnTo>
                  <a:lnTo>
                    <a:pt x="745" y="914"/>
                  </a:lnTo>
                  <a:lnTo>
                    <a:pt x="747" y="919"/>
                  </a:lnTo>
                  <a:lnTo>
                    <a:pt x="748" y="920"/>
                  </a:lnTo>
                  <a:lnTo>
                    <a:pt x="748" y="918"/>
                  </a:lnTo>
                  <a:lnTo>
                    <a:pt x="749" y="914"/>
                  </a:lnTo>
                  <a:lnTo>
                    <a:pt x="750" y="916"/>
                  </a:lnTo>
                  <a:lnTo>
                    <a:pt x="752" y="916"/>
                  </a:lnTo>
                  <a:lnTo>
                    <a:pt x="754" y="915"/>
                  </a:lnTo>
                  <a:lnTo>
                    <a:pt x="753" y="910"/>
                  </a:lnTo>
                  <a:lnTo>
                    <a:pt x="755" y="908"/>
                  </a:lnTo>
                  <a:lnTo>
                    <a:pt x="758" y="908"/>
                  </a:lnTo>
                  <a:lnTo>
                    <a:pt x="759" y="909"/>
                  </a:lnTo>
                  <a:lnTo>
                    <a:pt x="761" y="908"/>
                  </a:lnTo>
                  <a:lnTo>
                    <a:pt x="759" y="906"/>
                  </a:lnTo>
                  <a:lnTo>
                    <a:pt x="756" y="903"/>
                  </a:lnTo>
                  <a:lnTo>
                    <a:pt x="755" y="902"/>
                  </a:lnTo>
                  <a:lnTo>
                    <a:pt x="750" y="898"/>
                  </a:lnTo>
                  <a:lnTo>
                    <a:pt x="743" y="894"/>
                  </a:lnTo>
                  <a:lnTo>
                    <a:pt x="737" y="890"/>
                  </a:lnTo>
                  <a:lnTo>
                    <a:pt x="729" y="889"/>
                  </a:lnTo>
                  <a:lnTo>
                    <a:pt x="724" y="889"/>
                  </a:lnTo>
                  <a:lnTo>
                    <a:pt x="720" y="890"/>
                  </a:lnTo>
                  <a:lnTo>
                    <a:pt x="718" y="890"/>
                  </a:lnTo>
                  <a:lnTo>
                    <a:pt x="717" y="890"/>
                  </a:lnTo>
                  <a:lnTo>
                    <a:pt x="714" y="890"/>
                  </a:lnTo>
                  <a:lnTo>
                    <a:pt x="713" y="890"/>
                  </a:lnTo>
                  <a:lnTo>
                    <a:pt x="708" y="888"/>
                  </a:lnTo>
                  <a:lnTo>
                    <a:pt x="705" y="886"/>
                  </a:lnTo>
                  <a:lnTo>
                    <a:pt x="700" y="884"/>
                  </a:lnTo>
                  <a:lnTo>
                    <a:pt x="700" y="883"/>
                  </a:lnTo>
                  <a:lnTo>
                    <a:pt x="702" y="882"/>
                  </a:lnTo>
                  <a:lnTo>
                    <a:pt x="703" y="882"/>
                  </a:lnTo>
                  <a:lnTo>
                    <a:pt x="709" y="884"/>
                  </a:lnTo>
                  <a:lnTo>
                    <a:pt x="711" y="883"/>
                  </a:lnTo>
                  <a:lnTo>
                    <a:pt x="707" y="882"/>
                  </a:lnTo>
                  <a:lnTo>
                    <a:pt x="705" y="880"/>
                  </a:lnTo>
                  <a:lnTo>
                    <a:pt x="709" y="877"/>
                  </a:lnTo>
                  <a:lnTo>
                    <a:pt x="708" y="877"/>
                  </a:lnTo>
                  <a:lnTo>
                    <a:pt x="703" y="878"/>
                  </a:lnTo>
                  <a:lnTo>
                    <a:pt x="702" y="877"/>
                  </a:lnTo>
                  <a:lnTo>
                    <a:pt x="701" y="878"/>
                  </a:lnTo>
                  <a:lnTo>
                    <a:pt x="701" y="879"/>
                  </a:lnTo>
                  <a:lnTo>
                    <a:pt x="699" y="880"/>
                  </a:lnTo>
                  <a:lnTo>
                    <a:pt x="696" y="883"/>
                  </a:lnTo>
                  <a:lnTo>
                    <a:pt x="694" y="882"/>
                  </a:lnTo>
                  <a:lnTo>
                    <a:pt x="691" y="884"/>
                  </a:lnTo>
                  <a:lnTo>
                    <a:pt x="690" y="886"/>
                  </a:lnTo>
                  <a:lnTo>
                    <a:pt x="685" y="884"/>
                  </a:lnTo>
                  <a:lnTo>
                    <a:pt x="678" y="880"/>
                  </a:lnTo>
                  <a:lnTo>
                    <a:pt x="671" y="877"/>
                  </a:lnTo>
                  <a:lnTo>
                    <a:pt x="670" y="878"/>
                  </a:lnTo>
                  <a:lnTo>
                    <a:pt x="667" y="878"/>
                  </a:lnTo>
                  <a:lnTo>
                    <a:pt x="666" y="876"/>
                  </a:lnTo>
                  <a:lnTo>
                    <a:pt x="668" y="874"/>
                  </a:lnTo>
                  <a:lnTo>
                    <a:pt x="668" y="873"/>
                  </a:lnTo>
                  <a:lnTo>
                    <a:pt x="668" y="870"/>
                  </a:lnTo>
                  <a:lnTo>
                    <a:pt x="668" y="867"/>
                  </a:lnTo>
                  <a:lnTo>
                    <a:pt x="670" y="866"/>
                  </a:lnTo>
                  <a:lnTo>
                    <a:pt x="670" y="867"/>
                  </a:lnTo>
                  <a:lnTo>
                    <a:pt x="671" y="871"/>
                  </a:lnTo>
                  <a:lnTo>
                    <a:pt x="673" y="872"/>
                  </a:lnTo>
                  <a:lnTo>
                    <a:pt x="673" y="868"/>
                  </a:lnTo>
                  <a:lnTo>
                    <a:pt x="673" y="866"/>
                  </a:lnTo>
                  <a:lnTo>
                    <a:pt x="674" y="866"/>
                  </a:lnTo>
                  <a:lnTo>
                    <a:pt x="676" y="867"/>
                  </a:lnTo>
                  <a:lnTo>
                    <a:pt x="678" y="867"/>
                  </a:lnTo>
                  <a:lnTo>
                    <a:pt x="679" y="867"/>
                  </a:lnTo>
                  <a:lnTo>
                    <a:pt x="679" y="866"/>
                  </a:lnTo>
                  <a:lnTo>
                    <a:pt x="680" y="866"/>
                  </a:lnTo>
                  <a:lnTo>
                    <a:pt x="682" y="866"/>
                  </a:lnTo>
                  <a:lnTo>
                    <a:pt x="683" y="864"/>
                  </a:lnTo>
                  <a:lnTo>
                    <a:pt x="684" y="862"/>
                  </a:lnTo>
                  <a:lnTo>
                    <a:pt x="688" y="861"/>
                  </a:lnTo>
                  <a:lnTo>
                    <a:pt x="693" y="859"/>
                  </a:lnTo>
                  <a:lnTo>
                    <a:pt x="693" y="856"/>
                  </a:lnTo>
                  <a:lnTo>
                    <a:pt x="694" y="854"/>
                  </a:lnTo>
                  <a:lnTo>
                    <a:pt x="695" y="854"/>
                  </a:lnTo>
                  <a:lnTo>
                    <a:pt x="697" y="855"/>
                  </a:lnTo>
                  <a:lnTo>
                    <a:pt x="699" y="853"/>
                  </a:lnTo>
                  <a:lnTo>
                    <a:pt x="697" y="850"/>
                  </a:lnTo>
                  <a:lnTo>
                    <a:pt x="696" y="847"/>
                  </a:lnTo>
                  <a:lnTo>
                    <a:pt x="699" y="847"/>
                  </a:lnTo>
                  <a:lnTo>
                    <a:pt x="700" y="847"/>
                  </a:lnTo>
                  <a:lnTo>
                    <a:pt x="701" y="852"/>
                  </a:lnTo>
                  <a:lnTo>
                    <a:pt x="701" y="854"/>
                  </a:lnTo>
                  <a:lnTo>
                    <a:pt x="702" y="855"/>
                  </a:lnTo>
                  <a:lnTo>
                    <a:pt x="703" y="854"/>
                  </a:lnTo>
                  <a:lnTo>
                    <a:pt x="703" y="849"/>
                  </a:lnTo>
                  <a:lnTo>
                    <a:pt x="703" y="847"/>
                  </a:lnTo>
                  <a:lnTo>
                    <a:pt x="705" y="847"/>
                  </a:lnTo>
                  <a:lnTo>
                    <a:pt x="706" y="848"/>
                  </a:lnTo>
                  <a:lnTo>
                    <a:pt x="706" y="853"/>
                  </a:lnTo>
                  <a:lnTo>
                    <a:pt x="705" y="856"/>
                  </a:lnTo>
                  <a:lnTo>
                    <a:pt x="706" y="860"/>
                  </a:lnTo>
                  <a:lnTo>
                    <a:pt x="707" y="856"/>
                  </a:lnTo>
                  <a:lnTo>
                    <a:pt x="707" y="854"/>
                  </a:lnTo>
                  <a:lnTo>
                    <a:pt x="708" y="852"/>
                  </a:lnTo>
                  <a:lnTo>
                    <a:pt x="709" y="849"/>
                  </a:lnTo>
                  <a:lnTo>
                    <a:pt x="708" y="847"/>
                  </a:lnTo>
                  <a:lnTo>
                    <a:pt x="706" y="844"/>
                  </a:lnTo>
                  <a:lnTo>
                    <a:pt x="708" y="842"/>
                  </a:lnTo>
                  <a:lnTo>
                    <a:pt x="708" y="839"/>
                  </a:lnTo>
                  <a:lnTo>
                    <a:pt x="709" y="837"/>
                  </a:lnTo>
                  <a:lnTo>
                    <a:pt x="712" y="839"/>
                  </a:lnTo>
                  <a:lnTo>
                    <a:pt x="713" y="841"/>
                  </a:lnTo>
                  <a:lnTo>
                    <a:pt x="713" y="838"/>
                  </a:lnTo>
                  <a:lnTo>
                    <a:pt x="713" y="837"/>
                  </a:lnTo>
                  <a:lnTo>
                    <a:pt x="714" y="835"/>
                  </a:lnTo>
                  <a:lnTo>
                    <a:pt x="714" y="832"/>
                  </a:lnTo>
                  <a:lnTo>
                    <a:pt x="714" y="830"/>
                  </a:lnTo>
                  <a:lnTo>
                    <a:pt x="712" y="826"/>
                  </a:lnTo>
                  <a:lnTo>
                    <a:pt x="713" y="825"/>
                  </a:lnTo>
                  <a:lnTo>
                    <a:pt x="714" y="825"/>
                  </a:lnTo>
                  <a:lnTo>
                    <a:pt x="718" y="826"/>
                  </a:lnTo>
                  <a:lnTo>
                    <a:pt x="718" y="830"/>
                  </a:lnTo>
                  <a:lnTo>
                    <a:pt x="717" y="832"/>
                  </a:lnTo>
                  <a:lnTo>
                    <a:pt x="717" y="836"/>
                  </a:lnTo>
                  <a:lnTo>
                    <a:pt x="717" y="841"/>
                  </a:lnTo>
                  <a:lnTo>
                    <a:pt x="717" y="843"/>
                  </a:lnTo>
                  <a:lnTo>
                    <a:pt x="718" y="843"/>
                  </a:lnTo>
                  <a:lnTo>
                    <a:pt x="718" y="839"/>
                  </a:lnTo>
                  <a:lnTo>
                    <a:pt x="718" y="833"/>
                  </a:lnTo>
                  <a:lnTo>
                    <a:pt x="719" y="837"/>
                  </a:lnTo>
                  <a:lnTo>
                    <a:pt x="719" y="839"/>
                  </a:lnTo>
                  <a:lnTo>
                    <a:pt x="720" y="839"/>
                  </a:lnTo>
                  <a:lnTo>
                    <a:pt x="721" y="838"/>
                  </a:lnTo>
                  <a:lnTo>
                    <a:pt x="721" y="835"/>
                  </a:lnTo>
                  <a:lnTo>
                    <a:pt x="721" y="831"/>
                  </a:lnTo>
                  <a:lnTo>
                    <a:pt x="721" y="827"/>
                  </a:lnTo>
                  <a:lnTo>
                    <a:pt x="723" y="829"/>
                  </a:lnTo>
                  <a:lnTo>
                    <a:pt x="723" y="832"/>
                  </a:lnTo>
                  <a:lnTo>
                    <a:pt x="723" y="839"/>
                  </a:lnTo>
                  <a:lnTo>
                    <a:pt x="724" y="842"/>
                  </a:lnTo>
                  <a:lnTo>
                    <a:pt x="725" y="844"/>
                  </a:lnTo>
                  <a:lnTo>
                    <a:pt x="725" y="841"/>
                  </a:lnTo>
                  <a:lnTo>
                    <a:pt x="725" y="835"/>
                  </a:lnTo>
                  <a:lnTo>
                    <a:pt x="725" y="833"/>
                  </a:lnTo>
                  <a:lnTo>
                    <a:pt x="726" y="835"/>
                  </a:lnTo>
                  <a:lnTo>
                    <a:pt x="726" y="839"/>
                  </a:lnTo>
                  <a:lnTo>
                    <a:pt x="726" y="844"/>
                  </a:lnTo>
                  <a:lnTo>
                    <a:pt x="727" y="844"/>
                  </a:lnTo>
                  <a:lnTo>
                    <a:pt x="729" y="842"/>
                  </a:lnTo>
                  <a:lnTo>
                    <a:pt x="729" y="838"/>
                  </a:lnTo>
                  <a:lnTo>
                    <a:pt x="730" y="835"/>
                  </a:lnTo>
                  <a:lnTo>
                    <a:pt x="730" y="833"/>
                  </a:lnTo>
                  <a:lnTo>
                    <a:pt x="731" y="836"/>
                  </a:lnTo>
                  <a:lnTo>
                    <a:pt x="732" y="833"/>
                  </a:lnTo>
                  <a:lnTo>
                    <a:pt x="733" y="833"/>
                  </a:lnTo>
                  <a:lnTo>
                    <a:pt x="735" y="836"/>
                  </a:lnTo>
                  <a:lnTo>
                    <a:pt x="736" y="838"/>
                  </a:lnTo>
                  <a:lnTo>
                    <a:pt x="737" y="839"/>
                  </a:lnTo>
                  <a:lnTo>
                    <a:pt x="738" y="841"/>
                  </a:lnTo>
                  <a:lnTo>
                    <a:pt x="738" y="838"/>
                  </a:lnTo>
                  <a:lnTo>
                    <a:pt x="738" y="836"/>
                  </a:lnTo>
                  <a:lnTo>
                    <a:pt x="741" y="837"/>
                  </a:lnTo>
                  <a:lnTo>
                    <a:pt x="743" y="837"/>
                  </a:lnTo>
                  <a:lnTo>
                    <a:pt x="742" y="835"/>
                  </a:lnTo>
                  <a:lnTo>
                    <a:pt x="739" y="833"/>
                  </a:lnTo>
                  <a:lnTo>
                    <a:pt x="739" y="831"/>
                  </a:lnTo>
                  <a:lnTo>
                    <a:pt x="737" y="831"/>
                  </a:lnTo>
                  <a:lnTo>
                    <a:pt x="735" y="832"/>
                  </a:lnTo>
                  <a:lnTo>
                    <a:pt x="733" y="830"/>
                  </a:lnTo>
                  <a:lnTo>
                    <a:pt x="731" y="831"/>
                  </a:lnTo>
                  <a:lnTo>
                    <a:pt x="730" y="829"/>
                  </a:lnTo>
                  <a:lnTo>
                    <a:pt x="725" y="827"/>
                  </a:lnTo>
                  <a:lnTo>
                    <a:pt x="721" y="825"/>
                  </a:lnTo>
                  <a:lnTo>
                    <a:pt x="719" y="823"/>
                  </a:lnTo>
                  <a:lnTo>
                    <a:pt x="718" y="824"/>
                  </a:lnTo>
                  <a:lnTo>
                    <a:pt x="713" y="823"/>
                  </a:lnTo>
                  <a:lnTo>
                    <a:pt x="712" y="823"/>
                  </a:lnTo>
                  <a:lnTo>
                    <a:pt x="708" y="823"/>
                  </a:lnTo>
                  <a:lnTo>
                    <a:pt x="703" y="823"/>
                  </a:lnTo>
                  <a:lnTo>
                    <a:pt x="700" y="823"/>
                  </a:lnTo>
                  <a:lnTo>
                    <a:pt x="699" y="824"/>
                  </a:lnTo>
                  <a:lnTo>
                    <a:pt x="695" y="825"/>
                  </a:lnTo>
                  <a:lnTo>
                    <a:pt x="693" y="825"/>
                  </a:lnTo>
                  <a:lnTo>
                    <a:pt x="691" y="826"/>
                  </a:lnTo>
                  <a:lnTo>
                    <a:pt x="688" y="827"/>
                  </a:lnTo>
                  <a:lnTo>
                    <a:pt x="684" y="827"/>
                  </a:lnTo>
                  <a:lnTo>
                    <a:pt x="679" y="827"/>
                  </a:lnTo>
                  <a:lnTo>
                    <a:pt x="673" y="827"/>
                  </a:lnTo>
                  <a:lnTo>
                    <a:pt x="674" y="830"/>
                  </a:lnTo>
                  <a:lnTo>
                    <a:pt x="672" y="829"/>
                  </a:lnTo>
                  <a:lnTo>
                    <a:pt x="671" y="827"/>
                  </a:lnTo>
                  <a:lnTo>
                    <a:pt x="670" y="829"/>
                  </a:lnTo>
                  <a:lnTo>
                    <a:pt x="667" y="830"/>
                  </a:lnTo>
                  <a:lnTo>
                    <a:pt x="665" y="830"/>
                  </a:lnTo>
                  <a:lnTo>
                    <a:pt x="664" y="831"/>
                  </a:lnTo>
                  <a:lnTo>
                    <a:pt x="662" y="830"/>
                  </a:lnTo>
                  <a:lnTo>
                    <a:pt x="660" y="830"/>
                  </a:lnTo>
                  <a:lnTo>
                    <a:pt x="654" y="830"/>
                  </a:lnTo>
                  <a:lnTo>
                    <a:pt x="649" y="829"/>
                  </a:lnTo>
                  <a:lnTo>
                    <a:pt x="647" y="829"/>
                  </a:lnTo>
                  <a:lnTo>
                    <a:pt x="646" y="829"/>
                  </a:lnTo>
                  <a:lnTo>
                    <a:pt x="643" y="829"/>
                  </a:lnTo>
                  <a:lnTo>
                    <a:pt x="643" y="831"/>
                  </a:lnTo>
                  <a:lnTo>
                    <a:pt x="642" y="831"/>
                  </a:lnTo>
                  <a:lnTo>
                    <a:pt x="640" y="830"/>
                  </a:lnTo>
                  <a:lnTo>
                    <a:pt x="638" y="830"/>
                  </a:lnTo>
                  <a:lnTo>
                    <a:pt x="637" y="829"/>
                  </a:lnTo>
                  <a:lnTo>
                    <a:pt x="636" y="827"/>
                  </a:lnTo>
                  <a:lnTo>
                    <a:pt x="632" y="826"/>
                  </a:lnTo>
                  <a:lnTo>
                    <a:pt x="630" y="825"/>
                  </a:lnTo>
                  <a:lnTo>
                    <a:pt x="625" y="825"/>
                  </a:lnTo>
                  <a:lnTo>
                    <a:pt x="620" y="821"/>
                  </a:lnTo>
                  <a:lnTo>
                    <a:pt x="615" y="819"/>
                  </a:lnTo>
                  <a:lnTo>
                    <a:pt x="615" y="818"/>
                  </a:lnTo>
                  <a:lnTo>
                    <a:pt x="619" y="819"/>
                  </a:lnTo>
                  <a:lnTo>
                    <a:pt x="623" y="821"/>
                  </a:lnTo>
                  <a:lnTo>
                    <a:pt x="623" y="820"/>
                  </a:lnTo>
                  <a:lnTo>
                    <a:pt x="618" y="817"/>
                  </a:lnTo>
                  <a:lnTo>
                    <a:pt x="619" y="815"/>
                  </a:lnTo>
                  <a:lnTo>
                    <a:pt x="623" y="815"/>
                  </a:lnTo>
                  <a:lnTo>
                    <a:pt x="625" y="815"/>
                  </a:lnTo>
                  <a:lnTo>
                    <a:pt x="619" y="813"/>
                  </a:lnTo>
                  <a:lnTo>
                    <a:pt x="617" y="813"/>
                  </a:lnTo>
                  <a:lnTo>
                    <a:pt x="617" y="812"/>
                  </a:lnTo>
                  <a:lnTo>
                    <a:pt x="615" y="811"/>
                  </a:lnTo>
                  <a:lnTo>
                    <a:pt x="613" y="811"/>
                  </a:lnTo>
                  <a:lnTo>
                    <a:pt x="612" y="811"/>
                  </a:lnTo>
                  <a:lnTo>
                    <a:pt x="612" y="812"/>
                  </a:lnTo>
                  <a:lnTo>
                    <a:pt x="613" y="813"/>
                  </a:lnTo>
                  <a:lnTo>
                    <a:pt x="612" y="814"/>
                  </a:lnTo>
                  <a:lnTo>
                    <a:pt x="608" y="817"/>
                  </a:lnTo>
                  <a:lnTo>
                    <a:pt x="607" y="818"/>
                  </a:lnTo>
                  <a:lnTo>
                    <a:pt x="603" y="818"/>
                  </a:lnTo>
                  <a:lnTo>
                    <a:pt x="600" y="815"/>
                  </a:lnTo>
                  <a:lnTo>
                    <a:pt x="593" y="813"/>
                  </a:lnTo>
                  <a:lnTo>
                    <a:pt x="591" y="813"/>
                  </a:lnTo>
                  <a:lnTo>
                    <a:pt x="590" y="814"/>
                  </a:lnTo>
                  <a:lnTo>
                    <a:pt x="589" y="814"/>
                  </a:lnTo>
                  <a:lnTo>
                    <a:pt x="585" y="815"/>
                  </a:lnTo>
                  <a:lnTo>
                    <a:pt x="583" y="814"/>
                  </a:lnTo>
                  <a:lnTo>
                    <a:pt x="581" y="813"/>
                  </a:lnTo>
                  <a:lnTo>
                    <a:pt x="579" y="811"/>
                  </a:lnTo>
                  <a:lnTo>
                    <a:pt x="577" y="811"/>
                  </a:lnTo>
                  <a:lnTo>
                    <a:pt x="573" y="811"/>
                  </a:lnTo>
                  <a:lnTo>
                    <a:pt x="573" y="809"/>
                  </a:lnTo>
                  <a:lnTo>
                    <a:pt x="570" y="809"/>
                  </a:lnTo>
                  <a:lnTo>
                    <a:pt x="569" y="808"/>
                  </a:lnTo>
                  <a:lnTo>
                    <a:pt x="565" y="799"/>
                  </a:lnTo>
                  <a:lnTo>
                    <a:pt x="562" y="795"/>
                  </a:lnTo>
                  <a:lnTo>
                    <a:pt x="562" y="793"/>
                  </a:lnTo>
                  <a:lnTo>
                    <a:pt x="564" y="789"/>
                  </a:lnTo>
                  <a:lnTo>
                    <a:pt x="565" y="784"/>
                  </a:lnTo>
                  <a:lnTo>
                    <a:pt x="566" y="784"/>
                  </a:lnTo>
                  <a:lnTo>
                    <a:pt x="569" y="787"/>
                  </a:lnTo>
                  <a:lnTo>
                    <a:pt x="571" y="787"/>
                  </a:lnTo>
                  <a:lnTo>
                    <a:pt x="573" y="789"/>
                  </a:lnTo>
                  <a:lnTo>
                    <a:pt x="575" y="790"/>
                  </a:lnTo>
                  <a:lnTo>
                    <a:pt x="575" y="793"/>
                  </a:lnTo>
                  <a:lnTo>
                    <a:pt x="575" y="796"/>
                  </a:lnTo>
                  <a:lnTo>
                    <a:pt x="576" y="800"/>
                  </a:lnTo>
                  <a:lnTo>
                    <a:pt x="578" y="800"/>
                  </a:lnTo>
                  <a:lnTo>
                    <a:pt x="579" y="797"/>
                  </a:lnTo>
                  <a:lnTo>
                    <a:pt x="578" y="795"/>
                  </a:lnTo>
                  <a:lnTo>
                    <a:pt x="578" y="793"/>
                  </a:lnTo>
                  <a:lnTo>
                    <a:pt x="581" y="790"/>
                  </a:lnTo>
                  <a:lnTo>
                    <a:pt x="582" y="793"/>
                  </a:lnTo>
                  <a:lnTo>
                    <a:pt x="582" y="796"/>
                  </a:lnTo>
                  <a:lnTo>
                    <a:pt x="583" y="799"/>
                  </a:lnTo>
                  <a:lnTo>
                    <a:pt x="584" y="797"/>
                  </a:lnTo>
                  <a:lnTo>
                    <a:pt x="585" y="796"/>
                  </a:lnTo>
                  <a:lnTo>
                    <a:pt x="584" y="794"/>
                  </a:lnTo>
                  <a:lnTo>
                    <a:pt x="585" y="791"/>
                  </a:lnTo>
                  <a:lnTo>
                    <a:pt x="585" y="790"/>
                  </a:lnTo>
                  <a:lnTo>
                    <a:pt x="584" y="789"/>
                  </a:lnTo>
                  <a:lnTo>
                    <a:pt x="585" y="787"/>
                  </a:lnTo>
                  <a:lnTo>
                    <a:pt x="587" y="789"/>
                  </a:lnTo>
                  <a:lnTo>
                    <a:pt x="587" y="787"/>
                  </a:lnTo>
                  <a:lnTo>
                    <a:pt x="588" y="787"/>
                  </a:lnTo>
                  <a:lnTo>
                    <a:pt x="589" y="788"/>
                  </a:lnTo>
                  <a:lnTo>
                    <a:pt x="589" y="789"/>
                  </a:lnTo>
                  <a:lnTo>
                    <a:pt x="591" y="787"/>
                  </a:lnTo>
                  <a:lnTo>
                    <a:pt x="590" y="785"/>
                  </a:lnTo>
                  <a:lnTo>
                    <a:pt x="591" y="784"/>
                  </a:lnTo>
                  <a:lnTo>
                    <a:pt x="591" y="788"/>
                  </a:lnTo>
                  <a:lnTo>
                    <a:pt x="593" y="789"/>
                  </a:lnTo>
                  <a:lnTo>
                    <a:pt x="591" y="794"/>
                  </a:lnTo>
                  <a:lnTo>
                    <a:pt x="593" y="795"/>
                  </a:lnTo>
                  <a:lnTo>
                    <a:pt x="593" y="793"/>
                  </a:lnTo>
                  <a:lnTo>
                    <a:pt x="594" y="791"/>
                  </a:lnTo>
                  <a:lnTo>
                    <a:pt x="595" y="789"/>
                  </a:lnTo>
                  <a:lnTo>
                    <a:pt x="594" y="787"/>
                  </a:lnTo>
                  <a:lnTo>
                    <a:pt x="594" y="783"/>
                  </a:lnTo>
                  <a:lnTo>
                    <a:pt x="595" y="781"/>
                  </a:lnTo>
                  <a:lnTo>
                    <a:pt x="595" y="783"/>
                  </a:lnTo>
                  <a:lnTo>
                    <a:pt x="596" y="784"/>
                  </a:lnTo>
                  <a:lnTo>
                    <a:pt x="599" y="784"/>
                  </a:lnTo>
                  <a:lnTo>
                    <a:pt x="599" y="787"/>
                  </a:lnTo>
                  <a:lnTo>
                    <a:pt x="599" y="793"/>
                  </a:lnTo>
                  <a:lnTo>
                    <a:pt x="599" y="797"/>
                  </a:lnTo>
                  <a:lnTo>
                    <a:pt x="601" y="793"/>
                  </a:lnTo>
                  <a:lnTo>
                    <a:pt x="601" y="789"/>
                  </a:lnTo>
                  <a:lnTo>
                    <a:pt x="601" y="784"/>
                  </a:lnTo>
                  <a:lnTo>
                    <a:pt x="600" y="781"/>
                  </a:lnTo>
                  <a:lnTo>
                    <a:pt x="601" y="781"/>
                  </a:lnTo>
                  <a:lnTo>
                    <a:pt x="602" y="787"/>
                  </a:lnTo>
                  <a:lnTo>
                    <a:pt x="603" y="788"/>
                  </a:lnTo>
                  <a:lnTo>
                    <a:pt x="603" y="785"/>
                  </a:lnTo>
                  <a:lnTo>
                    <a:pt x="605" y="785"/>
                  </a:lnTo>
                  <a:lnTo>
                    <a:pt x="605" y="788"/>
                  </a:lnTo>
                  <a:lnTo>
                    <a:pt x="607" y="794"/>
                  </a:lnTo>
                  <a:lnTo>
                    <a:pt x="607" y="791"/>
                  </a:lnTo>
                  <a:lnTo>
                    <a:pt x="607" y="788"/>
                  </a:lnTo>
                  <a:lnTo>
                    <a:pt x="607" y="784"/>
                  </a:lnTo>
                  <a:lnTo>
                    <a:pt x="608" y="775"/>
                  </a:lnTo>
                  <a:lnTo>
                    <a:pt x="609" y="775"/>
                  </a:lnTo>
                  <a:lnTo>
                    <a:pt x="611" y="778"/>
                  </a:lnTo>
                  <a:lnTo>
                    <a:pt x="611" y="782"/>
                  </a:lnTo>
                  <a:lnTo>
                    <a:pt x="611" y="785"/>
                  </a:lnTo>
                  <a:lnTo>
                    <a:pt x="609" y="791"/>
                  </a:lnTo>
                  <a:lnTo>
                    <a:pt x="611" y="796"/>
                  </a:lnTo>
                  <a:lnTo>
                    <a:pt x="612" y="794"/>
                  </a:lnTo>
                  <a:lnTo>
                    <a:pt x="612" y="791"/>
                  </a:lnTo>
                  <a:lnTo>
                    <a:pt x="613" y="790"/>
                  </a:lnTo>
                  <a:lnTo>
                    <a:pt x="614" y="791"/>
                  </a:lnTo>
                  <a:lnTo>
                    <a:pt x="615" y="789"/>
                  </a:lnTo>
                  <a:lnTo>
                    <a:pt x="615" y="785"/>
                  </a:lnTo>
                  <a:lnTo>
                    <a:pt x="615" y="782"/>
                  </a:lnTo>
                  <a:lnTo>
                    <a:pt x="614" y="778"/>
                  </a:lnTo>
                  <a:lnTo>
                    <a:pt x="615" y="778"/>
                  </a:lnTo>
                  <a:lnTo>
                    <a:pt x="617" y="782"/>
                  </a:lnTo>
                  <a:lnTo>
                    <a:pt x="617" y="788"/>
                  </a:lnTo>
                  <a:lnTo>
                    <a:pt x="618" y="790"/>
                  </a:lnTo>
                  <a:lnTo>
                    <a:pt x="619" y="791"/>
                  </a:lnTo>
                  <a:lnTo>
                    <a:pt x="619" y="788"/>
                  </a:lnTo>
                  <a:lnTo>
                    <a:pt x="619" y="787"/>
                  </a:lnTo>
                  <a:lnTo>
                    <a:pt x="620" y="790"/>
                  </a:lnTo>
                  <a:lnTo>
                    <a:pt x="621" y="794"/>
                  </a:lnTo>
                  <a:lnTo>
                    <a:pt x="620" y="796"/>
                  </a:lnTo>
                  <a:lnTo>
                    <a:pt x="621" y="799"/>
                  </a:lnTo>
                  <a:lnTo>
                    <a:pt x="623" y="795"/>
                  </a:lnTo>
                  <a:lnTo>
                    <a:pt x="623" y="797"/>
                  </a:lnTo>
                  <a:lnTo>
                    <a:pt x="623" y="800"/>
                  </a:lnTo>
                  <a:lnTo>
                    <a:pt x="624" y="801"/>
                  </a:lnTo>
                  <a:lnTo>
                    <a:pt x="626" y="802"/>
                  </a:lnTo>
                  <a:lnTo>
                    <a:pt x="625" y="796"/>
                  </a:lnTo>
                  <a:lnTo>
                    <a:pt x="625" y="793"/>
                  </a:lnTo>
                  <a:lnTo>
                    <a:pt x="625" y="789"/>
                  </a:lnTo>
                  <a:lnTo>
                    <a:pt x="628" y="787"/>
                  </a:lnTo>
                  <a:lnTo>
                    <a:pt x="629" y="788"/>
                  </a:lnTo>
                  <a:lnTo>
                    <a:pt x="629" y="790"/>
                  </a:lnTo>
                  <a:lnTo>
                    <a:pt x="628" y="794"/>
                  </a:lnTo>
                  <a:lnTo>
                    <a:pt x="628" y="797"/>
                  </a:lnTo>
                  <a:lnTo>
                    <a:pt x="628" y="800"/>
                  </a:lnTo>
                  <a:lnTo>
                    <a:pt x="628" y="801"/>
                  </a:lnTo>
                  <a:lnTo>
                    <a:pt x="629" y="801"/>
                  </a:lnTo>
                  <a:lnTo>
                    <a:pt x="629" y="799"/>
                  </a:lnTo>
                  <a:lnTo>
                    <a:pt x="630" y="797"/>
                  </a:lnTo>
                  <a:lnTo>
                    <a:pt x="631" y="794"/>
                  </a:lnTo>
                  <a:lnTo>
                    <a:pt x="631" y="791"/>
                  </a:lnTo>
                  <a:lnTo>
                    <a:pt x="632" y="790"/>
                  </a:lnTo>
                  <a:lnTo>
                    <a:pt x="636" y="793"/>
                  </a:lnTo>
                  <a:lnTo>
                    <a:pt x="636" y="796"/>
                  </a:lnTo>
                  <a:lnTo>
                    <a:pt x="636" y="800"/>
                  </a:lnTo>
                  <a:lnTo>
                    <a:pt x="637" y="799"/>
                  </a:lnTo>
                  <a:lnTo>
                    <a:pt x="638" y="794"/>
                  </a:lnTo>
                  <a:lnTo>
                    <a:pt x="646" y="796"/>
                  </a:lnTo>
                  <a:lnTo>
                    <a:pt x="644" y="794"/>
                  </a:lnTo>
                  <a:lnTo>
                    <a:pt x="641" y="793"/>
                  </a:lnTo>
                  <a:lnTo>
                    <a:pt x="640" y="790"/>
                  </a:lnTo>
                  <a:lnTo>
                    <a:pt x="638" y="789"/>
                  </a:lnTo>
                  <a:lnTo>
                    <a:pt x="636" y="788"/>
                  </a:lnTo>
                  <a:lnTo>
                    <a:pt x="631" y="787"/>
                  </a:lnTo>
                  <a:lnTo>
                    <a:pt x="629" y="783"/>
                  </a:lnTo>
                  <a:lnTo>
                    <a:pt x="626" y="782"/>
                  </a:lnTo>
                  <a:lnTo>
                    <a:pt x="624" y="778"/>
                  </a:lnTo>
                  <a:lnTo>
                    <a:pt x="620" y="777"/>
                  </a:lnTo>
                  <a:lnTo>
                    <a:pt x="607" y="771"/>
                  </a:lnTo>
                  <a:lnTo>
                    <a:pt x="606" y="769"/>
                  </a:lnTo>
                  <a:lnTo>
                    <a:pt x="608" y="767"/>
                  </a:lnTo>
                  <a:lnTo>
                    <a:pt x="609" y="769"/>
                  </a:lnTo>
                  <a:lnTo>
                    <a:pt x="612" y="771"/>
                  </a:lnTo>
                  <a:lnTo>
                    <a:pt x="612" y="770"/>
                  </a:lnTo>
                  <a:lnTo>
                    <a:pt x="614" y="770"/>
                  </a:lnTo>
                  <a:lnTo>
                    <a:pt x="617" y="772"/>
                  </a:lnTo>
                  <a:lnTo>
                    <a:pt x="619" y="773"/>
                  </a:lnTo>
                  <a:lnTo>
                    <a:pt x="619" y="770"/>
                  </a:lnTo>
                  <a:lnTo>
                    <a:pt x="620" y="767"/>
                  </a:lnTo>
                  <a:lnTo>
                    <a:pt x="620" y="766"/>
                  </a:lnTo>
                  <a:lnTo>
                    <a:pt x="621" y="766"/>
                  </a:lnTo>
                  <a:lnTo>
                    <a:pt x="619" y="763"/>
                  </a:lnTo>
                  <a:lnTo>
                    <a:pt x="618" y="760"/>
                  </a:lnTo>
                  <a:lnTo>
                    <a:pt x="617" y="758"/>
                  </a:lnTo>
                  <a:lnTo>
                    <a:pt x="617" y="757"/>
                  </a:lnTo>
                  <a:lnTo>
                    <a:pt x="618" y="753"/>
                  </a:lnTo>
                  <a:lnTo>
                    <a:pt x="619" y="751"/>
                  </a:lnTo>
                  <a:lnTo>
                    <a:pt x="620" y="751"/>
                  </a:lnTo>
                  <a:lnTo>
                    <a:pt x="620" y="754"/>
                  </a:lnTo>
                  <a:lnTo>
                    <a:pt x="620" y="758"/>
                  </a:lnTo>
                  <a:lnTo>
                    <a:pt x="623" y="759"/>
                  </a:lnTo>
                  <a:lnTo>
                    <a:pt x="623" y="758"/>
                  </a:lnTo>
                  <a:lnTo>
                    <a:pt x="623" y="757"/>
                  </a:lnTo>
                  <a:lnTo>
                    <a:pt x="625" y="757"/>
                  </a:lnTo>
                  <a:lnTo>
                    <a:pt x="626" y="758"/>
                  </a:lnTo>
                  <a:lnTo>
                    <a:pt x="629" y="757"/>
                  </a:lnTo>
                  <a:lnTo>
                    <a:pt x="629" y="758"/>
                  </a:lnTo>
                  <a:lnTo>
                    <a:pt x="630" y="758"/>
                  </a:lnTo>
                  <a:lnTo>
                    <a:pt x="632" y="758"/>
                  </a:lnTo>
                  <a:lnTo>
                    <a:pt x="631" y="755"/>
                  </a:lnTo>
                  <a:lnTo>
                    <a:pt x="629" y="753"/>
                  </a:lnTo>
                  <a:lnTo>
                    <a:pt x="628" y="751"/>
                  </a:lnTo>
                  <a:lnTo>
                    <a:pt x="628" y="748"/>
                  </a:lnTo>
                  <a:lnTo>
                    <a:pt x="629" y="745"/>
                  </a:lnTo>
                  <a:lnTo>
                    <a:pt x="630" y="746"/>
                  </a:lnTo>
                  <a:lnTo>
                    <a:pt x="631" y="748"/>
                  </a:lnTo>
                  <a:lnTo>
                    <a:pt x="632" y="752"/>
                  </a:lnTo>
                  <a:lnTo>
                    <a:pt x="632" y="753"/>
                  </a:lnTo>
                  <a:lnTo>
                    <a:pt x="636" y="752"/>
                  </a:lnTo>
                  <a:lnTo>
                    <a:pt x="637" y="751"/>
                  </a:lnTo>
                  <a:lnTo>
                    <a:pt x="637" y="754"/>
                  </a:lnTo>
                  <a:lnTo>
                    <a:pt x="638" y="760"/>
                  </a:lnTo>
                  <a:lnTo>
                    <a:pt x="640" y="763"/>
                  </a:lnTo>
                  <a:lnTo>
                    <a:pt x="640" y="759"/>
                  </a:lnTo>
                  <a:lnTo>
                    <a:pt x="641" y="755"/>
                  </a:lnTo>
                  <a:lnTo>
                    <a:pt x="642" y="753"/>
                  </a:lnTo>
                  <a:lnTo>
                    <a:pt x="642" y="748"/>
                  </a:lnTo>
                  <a:lnTo>
                    <a:pt x="643" y="745"/>
                  </a:lnTo>
                  <a:lnTo>
                    <a:pt x="646" y="745"/>
                  </a:lnTo>
                  <a:lnTo>
                    <a:pt x="649" y="746"/>
                  </a:lnTo>
                  <a:lnTo>
                    <a:pt x="649" y="752"/>
                  </a:lnTo>
                  <a:lnTo>
                    <a:pt x="649" y="759"/>
                  </a:lnTo>
                  <a:lnTo>
                    <a:pt x="650" y="758"/>
                  </a:lnTo>
                  <a:lnTo>
                    <a:pt x="652" y="752"/>
                  </a:lnTo>
                  <a:lnTo>
                    <a:pt x="652" y="746"/>
                  </a:lnTo>
                  <a:lnTo>
                    <a:pt x="652" y="745"/>
                  </a:lnTo>
                  <a:lnTo>
                    <a:pt x="653" y="746"/>
                  </a:lnTo>
                  <a:lnTo>
                    <a:pt x="653" y="751"/>
                  </a:lnTo>
                  <a:lnTo>
                    <a:pt x="654" y="751"/>
                  </a:lnTo>
                  <a:lnTo>
                    <a:pt x="654" y="754"/>
                  </a:lnTo>
                  <a:lnTo>
                    <a:pt x="655" y="753"/>
                  </a:lnTo>
                  <a:lnTo>
                    <a:pt x="656" y="751"/>
                  </a:lnTo>
                  <a:lnTo>
                    <a:pt x="658" y="746"/>
                  </a:lnTo>
                  <a:lnTo>
                    <a:pt x="659" y="748"/>
                  </a:lnTo>
                  <a:lnTo>
                    <a:pt x="660" y="752"/>
                  </a:lnTo>
                  <a:lnTo>
                    <a:pt x="662" y="751"/>
                  </a:lnTo>
                  <a:lnTo>
                    <a:pt x="664" y="749"/>
                  </a:lnTo>
                  <a:lnTo>
                    <a:pt x="665" y="747"/>
                  </a:lnTo>
                  <a:lnTo>
                    <a:pt x="665" y="746"/>
                  </a:lnTo>
                  <a:lnTo>
                    <a:pt x="668" y="749"/>
                  </a:lnTo>
                  <a:lnTo>
                    <a:pt x="668" y="748"/>
                  </a:lnTo>
                  <a:lnTo>
                    <a:pt x="670" y="748"/>
                  </a:lnTo>
                  <a:lnTo>
                    <a:pt x="672" y="749"/>
                  </a:lnTo>
                  <a:lnTo>
                    <a:pt x="673" y="748"/>
                  </a:lnTo>
                  <a:lnTo>
                    <a:pt x="673" y="751"/>
                  </a:lnTo>
                  <a:lnTo>
                    <a:pt x="676" y="747"/>
                  </a:lnTo>
                  <a:lnTo>
                    <a:pt x="677" y="748"/>
                  </a:lnTo>
                  <a:lnTo>
                    <a:pt x="678" y="745"/>
                  </a:lnTo>
                  <a:lnTo>
                    <a:pt x="677" y="741"/>
                  </a:lnTo>
                  <a:lnTo>
                    <a:pt x="678" y="740"/>
                  </a:lnTo>
                  <a:lnTo>
                    <a:pt x="678" y="737"/>
                  </a:lnTo>
                  <a:lnTo>
                    <a:pt x="679" y="737"/>
                  </a:lnTo>
                  <a:lnTo>
                    <a:pt x="680" y="740"/>
                  </a:lnTo>
                  <a:lnTo>
                    <a:pt x="679" y="742"/>
                  </a:lnTo>
                  <a:lnTo>
                    <a:pt x="680" y="745"/>
                  </a:lnTo>
                  <a:lnTo>
                    <a:pt x="679" y="748"/>
                  </a:lnTo>
                  <a:lnTo>
                    <a:pt x="679" y="753"/>
                  </a:lnTo>
                  <a:lnTo>
                    <a:pt x="682" y="754"/>
                  </a:lnTo>
                  <a:lnTo>
                    <a:pt x="682" y="753"/>
                  </a:lnTo>
                  <a:lnTo>
                    <a:pt x="683" y="747"/>
                  </a:lnTo>
                  <a:lnTo>
                    <a:pt x="683" y="745"/>
                  </a:lnTo>
                  <a:lnTo>
                    <a:pt x="684" y="742"/>
                  </a:lnTo>
                  <a:lnTo>
                    <a:pt x="685" y="745"/>
                  </a:lnTo>
                  <a:lnTo>
                    <a:pt x="684" y="749"/>
                  </a:lnTo>
                  <a:lnTo>
                    <a:pt x="684" y="753"/>
                  </a:lnTo>
                  <a:lnTo>
                    <a:pt x="685" y="754"/>
                  </a:lnTo>
                  <a:lnTo>
                    <a:pt x="685" y="757"/>
                  </a:lnTo>
                  <a:lnTo>
                    <a:pt x="686" y="755"/>
                  </a:lnTo>
                  <a:lnTo>
                    <a:pt x="688" y="754"/>
                  </a:lnTo>
                  <a:lnTo>
                    <a:pt x="688" y="751"/>
                  </a:lnTo>
                  <a:lnTo>
                    <a:pt x="688" y="746"/>
                  </a:lnTo>
                  <a:lnTo>
                    <a:pt x="688" y="745"/>
                  </a:lnTo>
                  <a:lnTo>
                    <a:pt x="688" y="743"/>
                  </a:lnTo>
                  <a:lnTo>
                    <a:pt x="688" y="745"/>
                  </a:lnTo>
                  <a:lnTo>
                    <a:pt x="690" y="749"/>
                  </a:lnTo>
                  <a:lnTo>
                    <a:pt x="690" y="751"/>
                  </a:lnTo>
                  <a:lnTo>
                    <a:pt x="690" y="753"/>
                  </a:lnTo>
                  <a:lnTo>
                    <a:pt x="691" y="752"/>
                  </a:lnTo>
                  <a:lnTo>
                    <a:pt x="691" y="753"/>
                  </a:lnTo>
                  <a:lnTo>
                    <a:pt x="691" y="759"/>
                  </a:lnTo>
                  <a:lnTo>
                    <a:pt x="691" y="763"/>
                  </a:lnTo>
                  <a:lnTo>
                    <a:pt x="693" y="761"/>
                  </a:lnTo>
                  <a:lnTo>
                    <a:pt x="693" y="760"/>
                  </a:lnTo>
                  <a:lnTo>
                    <a:pt x="694" y="760"/>
                  </a:lnTo>
                  <a:lnTo>
                    <a:pt x="695" y="761"/>
                  </a:lnTo>
                  <a:lnTo>
                    <a:pt x="696" y="759"/>
                  </a:lnTo>
                  <a:lnTo>
                    <a:pt x="696" y="755"/>
                  </a:lnTo>
                  <a:lnTo>
                    <a:pt x="700" y="757"/>
                  </a:lnTo>
                  <a:lnTo>
                    <a:pt x="702" y="757"/>
                  </a:lnTo>
                  <a:lnTo>
                    <a:pt x="701" y="755"/>
                  </a:lnTo>
                  <a:lnTo>
                    <a:pt x="699" y="753"/>
                  </a:lnTo>
                  <a:lnTo>
                    <a:pt x="700" y="751"/>
                  </a:lnTo>
                  <a:lnTo>
                    <a:pt x="701" y="749"/>
                  </a:lnTo>
                  <a:lnTo>
                    <a:pt x="700" y="749"/>
                  </a:lnTo>
                  <a:lnTo>
                    <a:pt x="697" y="749"/>
                  </a:lnTo>
                  <a:lnTo>
                    <a:pt x="693" y="748"/>
                  </a:lnTo>
                  <a:lnTo>
                    <a:pt x="691" y="743"/>
                  </a:lnTo>
                  <a:lnTo>
                    <a:pt x="695" y="743"/>
                  </a:lnTo>
                  <a:lnTo>
                    <a:pt x="693" y="742"/>
                  </a:lnTo>
                  <a:lnTo>
                    <a:pt x="689" y="740"/>
                  </a:lnTo>
                  <a:lnTo>
                    <a:pt x="688" y="737"/>
                  </a:lnTo>
                  <a:lnTo>
                    <a:pt x="682" y="735"/>
                  </a:lnTo>
                  <a:lnTo>
                    <a:pt x="679" y="731"/>
                  </a:lnTo>
                  <a:lnTo>
                    <a:pt x="676" y="730"/>
                  </a:lnTo>
                  <a:lnTo>
                    <a:pt x="670" y="729"/>
                  </a:lnTo>
                  <a:lnTo>
                    <a:pt x="664" y="728"/>
                  </a:lnTo>
                  <a:lnTo>
                    <a:pt x="660" y="728"/>
                  </a:lnTo>
                  <a:lnTo>
                    <a:pt x="660" y="726"/>
                  </a:lnTo>
                  <a:lnTo>
                    <a:pt x="661" y="724"/>
                  </a:lnTo>
                  <a:lnTo>
                    <a:pt x="659" y="723"/>
                  </a:lnTo>
                  <a:lnTo>
                    <a:pt x="658" y="723"/>
                  </a:lnTo>
                  <a:lnTo>
                    <a:pt x="656" y="723"/>
                  </a:lnTo>
                  <a:lnTo>
                    <a:pt x="653" y="724"/>
                  </a:lnTo>
                  <a:lnTo>
                    <a:pt x="650" y="723"/>
                  </a:lnTo>
                  <a:lnTo>
                    <a:pt x="650" y="718"/>
                  </a:lnTo>
                  <a:lnTo>
                    <a:pt x="653" y="716"/>
                  </a:lnTo>
                  <a:lnTo>
                    <a:pt x="656" y="714"/>
                  </a:lnTo>
                  <a:lnTo>
                    <a:pt x="658" y="714"/>
                  </a:lnTo>
                  <a:lnTo>
                    <a:pt x="656" y="718"/>
                  </a:lnTo>
                  <a:lnTo>
                    <a:pt x="658" y="718"/>
                  </a:lnTo>
                  <a:lnTo>
                    <a:pt x="660" y="714"/>
                  </a:lnTo>
                  <a:lnTo>
                    <a:pt x="660" y="716"/>
                  </a:lnTo>
                  <a:lnTo>
                    <a:pt x="661" y="719"/>
                  </a:lnTo>
                  <a:lnTo>
                    <a:pt x="662" y="719"/>
                  </a:lnTo>
                  <a:lnTo>
                    <a:pt x="662" y="717"/>
                  </a:lnTo>
                  <a:lnTo>
                    <a:pt x="664" y="716"/>
                  </a:lnTo>
                  <a:lnTo>
                    <a:pt x="664" y="719"/>
                  </a:lnTo>
                  <a:lnTo>
                    <a:pt x="665" y="720"/>
                  </a:lnTo>
                  <a:lnTo>
                    <a:pt x="665" y="724"/>
                  </a:lnTo>
                  <a:lnTo>
                    <a:pt x="667" y="726"/>
                  </a:lnTo>
                  <a:lnTo>
                    <a:pt x="668" y="726"/>
                  </a:lnTo>
                  <a:lnTo>
                    <a:pt x="668" y="723"/>
                  </a:lnTo>
                  <a:lnTo>
                    <a:pt x="668" y="720"/>
                  </a:lnTo>
                  <a:lnTo>
                    <a:pt x="671" y="718"/>
                  </a:lnTo>
                  <a:lnTo>
                    <a:pt x="671" y="717"/>
                  </a:lnTo>
                  <a:lnTo>
                    <a:pt x="673" y="716"/>
                  </a:lnTo>
                  <a:lnTo>
                    <a:pt x="676" y="718"/>
                  </a:lnTo>
                  <a:lnTo>
                    <a:pt x="676" y="720"/>
                  </a:lnTo>
                  <a:lnTo>
                    <a:pt x="678" y="723"/>
                  </a:lnTo>
                  <a:lnTo>
                    <a:pt x="680" y="723"/>
                  </a:lnTo>
                  <a:lnTo>
                    <a:pt x="682" y="725"/>
                  </a:lnTo>
                  <a:lnTo>
                    <a:pt x="683" y="722"/>
                  </a:lnTo>
                  <a:lnTo>
                    <a:pt x="683" y="724"/>
                  </a:lnTo>
                  <a:lnTo>
                    <a:pt x="684" y="725"/>
                  </a:lnTo>
                  <a:lnTo>
                    <a:pt x="685" y="726"/>
                  </a:lnTo>
                  <a:lnTo>
                    <a:pt x="686" y="726"/>
                  </a:lnTo>
                  <a:lnTo>
                    <a:pt x="688" y="722"/>
                  </a:lnTo>
                  <a:lnTo>
                    <a:pt x="688" y="718"/>
                  </a:lnTo>
                  <a:lnTo>
                    <a:pt x="688" y="720"/>
                  </a:lnTo>
                  <a:lnTo>
                    <a:pt x="689" y="719"/>
                  </a:lnTo>
                  <a:lnTo>
                    <a:pt x="690" y="717"/>
                  </a:lnTo>
                  <a:lnTo>
                    <a:pt x="691" y="717"/>
                  </a:lnTo>
                  <a:lnTo>
                    <a:pt x="693" y="722"/>
                  </a:lnTo>
                  <a:lnTo>
                    <a:pt x="694" y="723"/>
                  </a:lnTo>
                  <a:lnTo>
                    <a:pt x="694" y="729"/>
                  </a:lnTo>
                  <a:lnTo>
                    <a:pt x="696" y="730"/>
                  </a:lnTo>
                  <a:lnTo>
                    <a:pt x="697" y="729"/>
                  </a:lnTo>
                  <a:lnTo>
                    <a:pt x="697" y="725"/>
                  </a:lnTo>
                  <a:lnTo>
                    <a:pt x="697" y="720"/>
                  </a:lnTo>
                  <a:lnTo>
                    <a:pt x="699" y="717"/>
                  </a:lnTo>
                  <a:lnTo>
                    <a:pt x="700" y="718"/>
                  </a:lnTo>
                  <a:lnTo>
                    <a:pt x="700" y="722"/>
                  </a:lnTo>
                  <a:lnTo>
                    <a:pt x="700" y="726"/>
                  </a:lnTo>
                  <a:lnTo>
                    <a:pt x="700" y="728"/>
                  </a:lnTo>
                  <a:lnTo>
                    <a:pt x="702" y="726"/>
                  </a:lnTo>
                  <a:lnTo>
                    <a:pt x="703" y="724"/>
                  </a:lnTo>
                  <a:lnTo>
                    <a:pt x="703" y="722"/>
                  </a:lnTo>
                  <a:lnTo>
                    <a:pt x="706" y="718"/>
                  </a:lnTo>
                  <a:lnTo>
                    <a:pt x="707" y="720"/>
                  </a:lnTo>
                  <a:lnTo>
                    <a:pt x="709" y="722"/>
                  </a:lnTo>
                  <a:lnTo>
                    <a:pt x="711" y="722"/>
                  </a:lnTo>
                  <a:lnTo>
                    <a:pt x="713" y="722"/>
                  </a:lnTo>
                  <a:lnTo>
                    <a:pt x="714" y="724"/>
                  </a:lnTo>
                  <a:lnTo>
                    <a:pt x="715" y="726"/>
                  </a:lnTo>
                  <a:lnTo>
                    <a:pt x="718" y="730"/>
                  </a:lnTo>
                  <a:lnTo>
                    <a:pt x="719" y="734"/>
                  </a:lnTo>
                  <a:lnTo>
                    <a:pt x="719" y="732"/>
                  </a:lnTo>
                  <a:lnTo>
                    <a:pt x="721" y="731"/>
                  </a:lnTo>
                  <a:lnTo>
                    <a:pt x="721" y="729"/>
                  </a:lnTo>
                  <a:lnTo>
                    <a:pt x="723" y="725"/>
                  </a:lnTo>
                  <a:lnTo>
                    <a:pt x="725" y="726"/>
                  </a:lnTo>
                  <a:lnTo>
                    <a:pt x="726" y="728"/>
                  </a:lnTo>
                  <a:lnTo>
                    <a:pt x="727" y="728"/>
                  </a:lnTo>
                  <a:lnTo>
                    <a:pt x="725" y="723"/>
                  </a:lnTo>
                  <a:lnTo>
                    <a:pt x="723" y="718"/>
                  </a:lnTo>
                  <a:lnTo>
                    <a:pt x="719" y="716"/>
                  </a:lnTo>
                  <a:lnTo>
                    <a:pt x="719" y="712"/>
                  </a:lnTo>
                  <a:lnTo>
                    <a:pt x="718" y="708"/>
                  </a:lnTo>
                  <a:lnTo>
                    <a:pt x="718" y="704"/>
                  </a:lnTo>
                  <a:lnTo>
                    <a:pt x="719" y="706"/>
                  </a:lnTo>
                  <a:lnTo>
                    <a:pt x="720" y="712"/>
                  </a:lnTo>
                  <a:lnTo>
                    <a:pt x="720" y="710"/>
                  </a:lnTo>
                  <a:lnTo>
                    <a:pt x="721" y="706"/>
                  </a:lnTo>
                  <a:lnTo>
                    <a:pt x="723" y="704"/>
                  </a:lnTo>
                  <a:lnTo>
                    <a:pt x="724" y="701"/>
                  </a:lnTo>
                  <a:lnTo>
                    <a:pt x="723" y="699"/>
                  </a:lnTo>
                  <a:lnTo>
                    <a:pt x="720" y="694"/>
                  </a:lnTo>
                  <a:lnTo>
                    <a:pt x="719" y="692"/>
                  </a:lnTo>
                  <a:lnTo>
                    <a:pt x="720" y="692"/>
                  </a:lnTo>
                  <a:lnTo>
                    <a:pt x="724" y="693"/>
                  </a:lnTo>
                  <a:lnTo>
                    <a:pt x="725" y="693"/>
                  </a:lnTo>
                  <a:lnTo>
                    <a:pt x="725" y="700"/>
                  </a:lnTo>
                  <a:lnTo>
                    <a:pt x="725" y="707"/>
                  </a:lnTo>
                  <a:lnTo>
                    <a:pt x="726" y="708"/>
                  </a:lnTo>
                  <a:lnTo>
                    <a:pt x="727" y="706"/>
                  </a:lnTo>
                  <a:lnTo>
                    <a:pt x="727" y="702"/>
                  </a:lnTo>
                  <a:lnTo>
                    <a:pt x="727" y="698"/>
                  </a:lnTo>
                  <a:lnTo>
                    <a:pt x="729" y="694"/>
                  </a:lnTo>
                  <a:lnTo>
                    <a:pt x="730" y="698"/>
                  </a:lnTo>
                  <a:lnTo>
                    <a:pt x="730" y="700"/>
                  </a:lnTo>
                  <a:lnTo>
                    <a:pt x="731" y="702"/>
                  </a:lnTo>
                  <a:lnTo>
                    <a:pt x="731" y="705"/>
                  </a:lnTo>
                  <a:lnTo>
                    <a:pt x="731" y="710"/>
                  </a:lnTo>
                  <a:lnTo>
                    <a:pt x="732" y="712"/>
                  </a:lnTo>
                  <a:lnTo>
                    <a:pt x="733" y="712"/>
                  </a:lnTo>
                  <a:lnTo>
                    <a:pt x="735" y="708"/>
                  </a:lnTo>
                  <a:lnTo>
                    <a:pt x="735" y="704"/>
                  </a:lnTo>
                  <a:lnTo>
                    <a:pt x="735" y="701"/>
                  </a:lnTo>
                  <a:lnTo>
                    <a:pt x="737" y="700"/>
                  </a:lnTo>
                  <a:lnTo>
                    <a:pt x="738" y="699"/>
                  </a:lnTo>
                  <a:lnTo>
                    <a:pt x="738" y="701"/>
                  </a:lnTo>
                  <a:lnTo>
                    <a:pt x="741" y="702"/>
                  </a:lnTo>
                  <a:lnTo>
                    <a:pt x="741" y="700"/>
                  </a:lnTo>
                  <a:lnTo>
                    <a:pt x="742" y="698"/>
                  </a:lnTo>
                  <a:lnTo>
                    <a:pt x="743" y="698"/>
                  </a:lnTo>
                  <a:lnTo>
                    <a:pt x="745" y="700"/>
                  </a:lnTo>
                  <a:lnTo>
                    <a:pt x="747" y="699"/>
                  </a:lnTo>
                  <a:lnTo>
                    <a:pt x="747" y="696"/>
                  </a:lnTo>
                  <a:lnTo>
                    <a:pt x="745" y="695"/>
                  </a:lnTo>
                  <a:lnTo>
                    <a:pt x="741" y="695"/>
                  </a:lnTo>
                  <a:lnTo>
                    <a:pt x="738" y="694"/>
                  </a:lnTo>
                  <a:lnTo>
                    <a:pt x="736" y="693"/>
                  </a:lnTo>
                  <a:lnTo>
                    <a:pt x="732" y="689"/>
                  </a:lnTo>
                  <a:lnTo>
                    <a:pt x="731" y="689"/>
                  </a:lnTo>
                  <a:lnTo>
                    <a:pt x="727" y="689"/>
                  </a:lnTo>
                  <a:lnTo>
                    <a:pt x="725" y="689"/>
                  </a:lnTo>
                  <a:lnTo>
                    <a:pt x="720" y="687"/>
                  </a:lnTo>
                  <a:lnTo>
                    <a:pt x="717" y="688"/>
                  </a:lnTo>
                  <a:lnTo>
                    <a:pt x="714" y="687"/>
                  </a:lnTo>
                  <a:lnTo>
                    <a:pt x="713" y="686"/>
                  </a:lnTo>
                  <a:lnTo>
                    <a:pt x="711" y="684"/>
                  </a:lnTo>
                  <a:lnTo>
                    <a:pt x="703" y="683"/>
                  </a:lnTo>
                  <a:lnTo>
                    <a:pt x="706" y="682"/>
                  </a:lnTo>
                  <a:lnTo>
                    <a:pt x="703" y="682"/>
                  </a:lnTo>
                  <a:lnTo>
                    <a:pt x="701" y="683"/>
                  </a:lnTo>
                  <a:lnTo>
                    <a:pt x="700" y="683"/>
                  </a:lnTo>
                  <a:lnTo>
                    <a:pt x="696" y="682"/>
                  </a:lnTo>
                  <a:lnTo>
                    <a:pt x="697" y="680"/>
                  </a:lnTo>
                  <a:lnTo>
                    <a:pt x="695" y="681"/>
                  </a:lnTo>
                  <a:lnTo>
                    <a:pt x="693" y="682"/>
                  </a:lnTo>
                  <a:lnTo>
                    <a:pt x="689" y="681"/>
                  </a:lnTo>
                  <a:lnTo>
                    <a:pt x="679" y="680"/>
                  </a:lnTo>
                  <a:lnTo>
                    <a:pt x="673" y="678"/>
                  </a:lnTo>
                  <a:lnTo>
                    <a:pt x="668" y="678"/>
                  </a:lnTo>
                  <a:lnTo>
                    <a:pt x="664" y="678"/>
                  </a:lnTo>
                  <a:lnTo>
                    <a:pt x="661" y="677"/>
                  </a:lnTo>
                  <a:lnTo>
                    <a:pt x="662" y="676"/>
                  </a:lnTo>
                  <a:lnTo>
                    <a:pt x="665" y="675"/>
                  </a:lnTo>
                  <a:lnTo>
                    <a:pt x="664" y="674"/>
                  </a:lnTo>
                  <a:lnTo>
                    <a:pt x="664" y="671"/>
                  </a:lnTo>
                  <a:lnTo>
                    <a:pt x="661" y="669"/>
                  </a:lnTo>
                  <a:lnTo>
                    <a:pt x="660" y="666"/>
                  </a:lnTo>
                  <a:lnTo>
                    <a:pt x="662" y="664"/>
                  </a:lnTo>
                  <a:lnTo>
                    <a:pt x="664" y="660"/>
                  </a:lnTo>
                  <a:lnTo>
                    <a:pt x="665" y="658"/>
                  </a:lnTo>
                  <a:lnTo>
                    <a:pt x="666" y="662"/>
                  </a:lnTo>
                  <a:lnTo>
                    <a:pt x="668" y="663"/>
                  </a:lnTo>
                  <a:lnTo>
                    <a:pt x="668" y="665"/>
                  </a:lnTo>
                  <a:lnTo>
                    <a:pt x="670" y="671"/>
                  </a:lnTo>
                  <a:lnTo>
                    <a:pt x="671" y="672"/>
                  </a:lnTo>
                  <a:lnTo>
                    <a:pt x="672" y="671"/>
                  </a:lnTo>
                  <a:lnTo>
                    <a:pt x="674" y="672"/>
                  </a:lnTo>
                  <a:lnTo>
                    <a:pt x="676" y="671"/>
                  </a:lnTo>
                  <a:lnTo>
                    <a:pt x="677" y="670"/>
                  </a:lnTo>
                  <a:lnTo>
                    <a:pt x="677" y="666"/>
                  </a:lnTo>
                  <a:lnTo>
                    <a:pt x="678" y="669"/>
                  </a:lnTo>
                  <a:lnTo>
                    <a:pt x="678" y="671"/>
                  </a:lnTo>
                  <a:lnTo>
                    <a:pt x="679" y="669"/>
                  </a:lnTo>
                  <a:lnTo>
                    <a:pt x="680" y="668"/>
                  </a:lnTo>
                  <a:lnTo>
                    <a:pt x="682" y="668"/>
                  </a:lnTo>
                  <a:lnTo>
                    <a:pt x="685" y="670"/>
                  </a:lnTo>
                  <a:lnTo>
                    <a:pt x="686" y="669"/>
                  </a:lnTo>
                  <a:lnTo>
                    <a:pt x="684" y="666"/>
                  </a:lnTo>
                  <a:lnTo>
                    <a:pt x="682" y="664"/>
                  </a:lnTo>
                  <a:lnTo>
                    <a:pt x="679" y="662"/>
                  </a:lnTo>
                  <a:lnTo>
                    <a:pt x="680" y="658"/>
                  </a:lnTo>
                  <a:lnTo>
                    <a:pt x="680" y="656"/>
                  </a:lnTo>
                  <a:lnTo>
                    <a:pt x="683" y="652"/>
                  </a:lnTo>
                  <a:lnTo>
                    <a:pt x="684" y="652"/>
                  </a:lnTo>
                  <a:lnTo>
                    <a:pt x="686" y="652"/>
                  </a:lnTo>
                  <a:lnTo>
                    <a:pt x="686" y="653"/>
                  </a:lnTo>
                  <a:lnTo>
                    <a:pt x="688" y="653"/>
                  </a:lnTo>
                  <a:lnTo>
                    <a:pt x="691" y="651"/>
                  </a:lnTo>
                  <a:lnTo>
                    <a:pt x="694" y="647"/>
                  </a:lnTo>
                  <a:lnTo>
                    <a:pt x="693" y="651"/>
                  </a:lnTo>
                  <a:lnTo>
                    <a:pt x="691" y="654"/>
                  </a:lnTo>
                  <a:lnTo>
                    <a:pt x="691" y="656"/>
                  </a:lnTo>
                  <a:lnTo>
                    <a:pt x="691" y="660"/>
                  </a:lnTo>
                  <a:lnTo>
                    <a:pt x="695" y="662"/>
                  </a:lnTo>
                  <a:lnTo>
                    <a:pt x="694" y="665"/>
                  </a:lnTo>
                  <a:lnTo>
                    <a:pt x="694" y="666"/>
                  </a:lnTo>
                  <a:lnTo>
                    <a:pt x="695" y="666"/>
                  </a:lnTo>
                  <a:lnTo>
                    <a:pt x="696" y="669"/>
                  </a:lnTo>
                  <a:lnTo>
                    <a:pt x="699" y="669"/>
                  </a:lnTo>
                  <a:lnTo>
                    <a:pt x="700" y="666"/>
                  </a:lnTo>
                  <a:lnTo>
                    <a:pt x="702" y="668"/>
                  </a:lnTo>
                  <a:lnTo>
                    <a:pt x="703" y="669"/>
                  </a:lnTo>
                  <a:lnTo>
                    <a:pt x="706" y="666"/>
                  </a:lnTo>
                  <a:lnTo>
                    <a:pt x="706" y="664"/>
                  </a:lnTo>
                  <a:lnTo>
                    <a:pt x="707" y="663"/>
                  </a:lnTo>
                  <a:lnTo>
                    <a:pt x="709" y="663"/>
                  </a:lnTo>
                  <a:lnTo>
                    <a:pt x="712" y="662"/>
                  </a:lnTo>
                  <a:lnTo>
                    <a:pt x="711" y="659"/>
                  </a:lnTo>
                  <a:lnTo>
                    <a:pt x="706" y="658"/>
                  </a:lnTo>
                  <a:lnTo>
                    <a:pt x="702" y="654"/>
                  </a:lnTo>
                  <a:lnTo>
                    <a:pt x="701" y="651"/>
                  </a:lnTo>
                  <a:lnTo>
                    <a:pt x="700" y="647"/>
                  </a:lnTo>
                  <a:lnTo>
                    <a:pt x="697" y="644"/>
                  </a:lnTo>
                  <a:lnTo>
                    <a:pt x="699" y="642"/>
                  </a:lnTo>
                  <a:lnTo>
                    <a:pt x="696" y="641"/>
                  </a:lnTo>
                  <a:lnTo>
                    <a:pt x="695" y="640"/>
                  </a:lnTo>
                  <a:lnTo>
                    <a:pt x="693" y="639"/>
                  </a:lnTo>
                  <a:lnTo>
                    <a:pt x="690" y="638"/>
                  </a:lnTo>
                  <a:lnTo>
                    <a:pt x="688" y="635"/>
                  </a:lnTo>
                  <a:lnTo>
                    <a:pt x="683" y="634"/>
                  </a:lnTo>
                  <a:lnTo>
                    <a:pt x="679" y="634"/>
                  </a:lnTo>
                  <a:lnTo>
                    <a:pt x="673" y="633"/>
                  </a:lnTo>
                  <a:lnTo>
                    <a:pt x="670" y="633"/>
                  </a:lnTo>
                  <a:lnTo>
                    <a:pt x="670" y="628"/>
                  </a:lnTo>
                  <a:lnTo>
                    <a:pt x="670" y="627"/>
                  </a:lnTo>
                  <a:lnTo>
                    <a:pt x="672" y="627"/>
                  </a:lnTo>
                  <a:lnTo>
                    <a:pt x="672" y="624"/>
                  </a:lnTo>
                  <a:lnTo>
                    <a:pt x="672" y="621"/>
                  </a:lnTo>
                  <a:lnTo>
                    <a:pt x="674" y="621"/>
                  </a:lnTo>
                  <a:lnTo>
                    <a:pt x="676" y="623"/>
                  </a:lnTo>
                  <a:lnTo>
                    <a:pt x="678" y="627"/>
                  </a:lnTo>
                  <a:lnTo>
                    <a:pt x="679" y="628"/>
                  </a:lnTo>
                  <a:lnTo>
                    <a:pt x="680" y="627"/>
                  </a:lnTo>
                  <a:lnTo>
                    <a:pt x="678" y="623"/>
                  </a:lnTo>
                  <a:lnTo>
                    <a:pt x="678" y="621"/>
                  </a:lnTo>
                  <a:lnTo>
                    <a:pt x="682" y="622"/>
                  </a:lnTo>
                  <a:lnTo>
                    <a:pt x="684" y="621"/>
                  </a:lnTo>
                  <a:lnTo>
                    <a:pt x="682" y="619"/>
                  </a:lnTo>
                  <a:lnTo>
                    <a:pt x="679" y="618"/>
                  </a:lnTo>
                  <a:lnTo>
                    <a:pt x="677" y="617"/>
                  </a:lnTo>
                  <a:lnTo>
                    <a:pt x="676" y="617"/>
                  </a:lnTo>
                  <a:lnTo>
                    <a:pt x="673" y="617"/>
                  </a:lnTo>
                  <a:lnTo>
                    <a:pt x="671" y="617"/>
                  </a:lnTo>
                  <a:lnTo>
                    <a:pt x="668" y="617"/>
                  </a:lnTo>
                  <a:lnTo>
                    <a:pt x="666" y="616"/>
                  </a:lnTo>
                  <a:lnTo>
                    <a:pt x="665" y="616"/>
                  </a:lnTo>
                  <a:lnTo>
                    <a:pt x="662" y="615"/>
                  </a:lnTo>
                  <a:lnTo>
                    <a:pt x="660" y="613"/>
                  </a:lnTo>
                  <a:lnTo>
                    <a:pt x="659" y="612"/>
                  </a:lnTo>
                  <a:lnTo>
                    <a:pt x="658" y="610"/>
                  </a:lnTo>
                  <a:lnTo>
                    <a:pt x="656" y="607"/>
                  </a:lnTo>
                  <a:lnTo>
                    <a:pt x="655" y="606"/>
                  </a:lnTo>
                  <a:lnTo>
                    <a:pt x="654" y="609"/>
                  </a:lnTo>
                  <a:lnTo>
                    <a:pt x="653" y="607"/>
                  </a:lnTo>
                  <a:lnTo>
                    <a:pt x="653" y="603"/>
                  </a:lnTo>
                  <a:lnTo>
                    <a:pt x="654" y="603"/>
                  </a:lnTo>
                  <a:lnTo>
                    <a:pt x="655" y="603"/>
                  </a:lnTo>
                  <a:lnTo>
                    <a:pt x="653" y="600"/>
                  </a:lnTo>
                  <a:lnTo>
                    <a:pt x="650" y="597"/>
                  </a:lnTo>
                  <a:lnTo>
                    <a:pt x="644" y="591"/>
                  </a:lnTo>
                  <a:lnTo>
                    <a:pt x="643" y="588"/>
                  </a:lnTo>
                  <a:lnTo>
                    <a:pt x="640" y="586"/>
                  </a:lnTo>
                  <a:lnTo>
                    <a:pt x="640" y="583"/>
                  </a:lnTo>
                  <a:lnTo>
                    <a:pt x="643" y="581"/>
                  </a:lnTo>
                  <a:lnTo>
                    <a:pt x="644" y="580"/>
                  </a:lnTo>
                  <a:lnTo>
                    <a:pt x="644" y="582"/>
                  </a:lnTo>
                  <a:lnTo>
                    <a:pt x="644" y="585"/>
                  </a:lnTo>
                  <a:lnTo>
                    <a:pt x="648" y="585"/>
                  </a:lnTo>
                  <a:lnTo>
                    <a:pt x="648" y="586"/>
                  </a:lnTo>
                  <a:lnTo>
                    <a:pt x="648" y="589"/>
                  </a:lnTo>
                  <a:lnTo>
                    <a:pt x="649" y="591"/>
                  </a:lnTo>
                  <a:lnTo>
                    <a:pt x="649" y="593"/>
                  </a:lnTo>
                  <a:lnTo>
                    <a:pt x="650" y="594"/>
                  </a:lnTo>
                  <a:lnTo>
                    <a:pt x="650" y="592"/>
                  </a:lnTo>
                  <a:lnTo>
                    <a:pt x="652" y="588"/>
                  </a:lnTo>
                  <a:lnTo>
                    <a:pt x="653" y="587"/>
                  </a:lnTo>
                  <a:lnTo>
                    <a:pt x="652" y="585"/>
                  </a:lnTo>
                  <a:lnTo>
                    <a:pt x="652" y="583"/>
                  </a:lnTo>
                  <a:lnTo>
                    <a:pt x="654" y="583"/>
                  </a:lnTo>
                  <a:lnTo>
                    <a:pt x="655" y="586"/>
                  </a:lnTo>
                  <a:lnTo>
                    <a:pt x="656" y="587"/>
                  </a:lnTo>
                  <a:lnTo>
                    <a:pt x="656" y="592"/>
                  </a:lnTo>
                  <a:lnTo>
                    <a:pt x="658" y="594"/>
                  </a:lnTo>
                  <a:lnTo>
                    <a:pt x="659" y="593"/>
                  </a:lnTo>
                  <a:lnTo>
                    <a:pt x="659" y="591"/>
                  </a:lnTo>
                  <a:lnTo>
                    <a:pt x="659" y="587"/>
                  </a:lnTo>
                  <a:lnTo>
                    <a:pt x="660" y="587"/>
                  </a:lnTo>
                  <a:lnTo>
                    <a:pt x="661" y="588"/>
                  </a:lnTo>
                  <a:lnTo>
                    <a:pt x="661" y="586"/>
                  </a:lnTo>
                  <a:lnTo>
                    <a:pt x="664" y="588"/>
                  </a:lnTo>
                  <a:lnTo>
                    <a:pt x="664" y="591"/>
                  </a:lnTo>
                  <a:lnTo>
                    <a:pt x="665" y="592"/>
                  </a:lnTo>
                  <a:lnTo>
                    <a:pt x="666" y="591"/>
                  </a:lnTo>
                  <a:lnTo>
                    <a:pt x="666" y="587"/>
                  </a:lnTo>
                  <a:lnTo>
                    <a:pt x="666" y="583"/>
                  </a:lnTo>
                  <a:lnTo>
                    <a:pt x="668" y="582"/>
                  </a:lnTo>
                  <a:lnTo>
                    <a:pt x="670" y="585"/>
                  </a:lnTo>
                  <a:lnTo>
                    <a:pt x="668" y="588"/>
                  </a:lnTo>
                  <a:lnTo>
                    <a:pt x="667" y="591"/>
                  </a:lnTo>
                  <a:lnTo>
                    <a:pt x="668" y="592"/>
                  </a:lnTo>
                  <a:lnTo>
                    <a:pt x="668" y="598"/>
                  </a:lnTo>
                  <a:lnTo>
                    <a:pt x="670" y="599"/>
                  </a:lnTo>
                  <a:lnTo>
                    <a:pt x="670" y="600"/>
                  </a:lnTo>
                  <a:lnTo>
                    <a:pt x="671" y="600"/>
                  </a:lnTo>
                  <a:lnTo>
                    <a:pt x="673" y="599"/>
                  </a:lnTo>
                  <a:lnTo>
                    <a:pt x="673" y="603"/>
                  </a:lnTo>
                  <a:lnTo>
                    <a:pt x="674" y="603"/>
                  </a:lnTo>
                  <a:lnTo>
                    <a:pt x="676" y="604"/>
                  </a:lnTo>
                  <a:lnTo>
                    <a:pt x="676" y="598"/>
                  </a:lnTo>
                  <a:lnTo>
                    <a:pt x="676" y="594"/>
                  </a:lnTo>
                  <a:lnTo>
                    <a:pt x="676" y="593"/>
                  </a:lnTo>
                  <a:lnTo>
                    <a:pt x="673" y="588"/>
                  </a:lnTo>
                  <a:lnTo>
                    <a:pt x="673" y="587"/>
                  </a:lnTo>
                  <a:lnTo>
                    <a:pt x="673" y="582"/>
                  </a:lnTo>
                  <a:lnTo>
                    <a:pt x="672" y="577"/>
                  </a:lnTo>
                  <a:lnTo>
                    <a:pt x="672" y="571"/>
                  </a:lnTo>
                  <a:lnTo>
                    <a:pt x="674" y="571"/>
                  </a:lnTo>
                  <a:lnTo>
                    <a:pt x="677" y="571"/>
                  </a:lnTo>
                  <a:lnTo>
                    <a:pt x="677" y="575"/>
                  </a:lnTo>
                  <a:lnTo>
                    <a:pt x="677" y="577"/>
                  </a:lnTo>
                  <a:lnTo>
                    <a:pt x="678" y="577"/>
                  </a:lnTo>
                  <a:lnTo>
                    <a:pt x="680" y="576"/>
                  </a:lnTo>
                  <a:lnTo>
                    <a:pt x="680" y="573"/>
                  </a:lnTo>
                  <a:lnTo>
                    <a:pt x="683" y="569"/>
                  </a:lnTo>
                  <a:lnTo>
                    <a:pt x="683" y="568"/>
                  </a:lnTo>
                  <a:lnTo>
                    <a:pt x="683" y="575"/>
                  </a:lnTo>
                  <a:lnTo>
                    <a:pt x="684" y="577"/>
                  </a:lnTo>
                  <a:lnTo>
                    <a:pt x="686" y="576"/>
                  </a:lnTo>
                  <a:lnTo>
                    <a:pt x="686" y="573"/>
                  </a:lnTo>
                  <a:lnTo>
                    <a:pt x="688" y="569"/>
                  </a:lnTo>
                  <a:lnTo>
                    <a:pt x="689" y="567"/>
                  </a:lnTo>
                  <a:lnTo>
                    <a:pt x="689" y="570"/>
                  </a:lnTo>
                  <a:lnTo>
                    <a:pt x="689" y="576"/>
                  </a:lnTo>
                  <a:lnTo>
                    <a:pt x="690" y="579"/>
                  </a:lnTo>
                  <a:lnTo>
                    <a:pt x="691" y="577"/>
                  </a:lnTo>
                  <a:lnTo>
                    <a:pt x="693" y="573"/>
                  </a:lnTo>
                  <a:lnTo>
                    <a:pt x="693" y="569"/>
                  </a:lnTo>
                  <a:lnTo>
                    <a:pt x="693" y="564"/>
                  </a:lnTo>
                  <a:lnTo>
                    <a:pt x="693" y="561"/>
                  </a:lnTo>
                  <a:lnTo>
                    <a:pt x="691" y="557"/>
                  </a:lnTo>
                  <a:lnTo>
                    <a:pt x="693" y="556"/>
                  </a:lnTo>
                  <a:lnTo>
                    <a:pt x="695" y="556"/>
                  </a:lnTo>
                  <a:lnTo>
                    <a:pt x="697" y="557"/>
                  </a:lnTo>
                  <a:lnTo>
                    <a:pt x="696" y="555"/>
                  </a:lnTo>
                  <a:lnTo>
                    <a:pt x="696" y="553"/>
                  </a:lnTo>
                  <a:lnTo>
                    <a:pt x="699" y="553"/>
                  </a:lnTo>
                  <a:lnTo>
                    <a:pt x="700" y="553"/>
                  </a:lnTo>
                  <a:lnTo>
                    <a:pt x="701" y="551"/>
                  </a:lnTo>
                  <a:lnTo>
                    <a:pt x="699" y="551"/>
                  </a:lnTo>
                  <a:lnTo>
                    <a:pt x="697" y="550"/>
                  </a:lnTo>
                  <a:lnTo>
                    <a:pt x="696" y="547"/>
                  </a:lnTo>
                  <a:lnTo>
                    <a:pt x="695" y="549"/>
                  </a:lnTo>
                  <a:lnTo>
                    <a:pt x="695" y="550"/>
                  </a:lnTo>
                  <a:lnTo>
                    <a:pt x="693" y="552"/>
                  </a:lnTo>
                  <a:lnTo>
                    <a:pt x="693" y="551"/>
                  </a:lnTo>
                  <a:lnTo>
                    <a:pt x="690" y="550"/>
                  </a:lnTo>
                  <a:lnTo>
                    <a:pt x="690" y="551"/>
                  </a:lnTo>
                  <a:lnTo>
                    <a:pt x="689" y="551"/>
                  </a:lnTo>
                  <a:lnTo>
                    <a:pt x="686" y="551"/>
                  </a:lnTo>
                  <a:lnTo>
                    <a:pt x="686" y="550"/>
                  </a:lnTo>
                  <a:lnTo>
                    <a:pt x="685" y="550"/>
                  </a:lnTo>
                  <a:lnTo>
                    <a:pt x="684" y="553"/>
                  </a:lnTo>
                  <a:lnTo>
                    <a:pt x="683" y="553"/>
                  </a:lnTo>
                  <a:lnTo>
                    <a:pt x="682" y="552"/>
                  </a:lnTo>
                  <a:lnTo>
                    <a:pt x="680" y="553"/>
                  </a:lnTo>
                  <a:lnTo>
                    <a:pt x="678" y="556"/>
                  </a:lnTo>
                  <a:lnTo>
                    <a:pt x="676" y="557"/>
                  </a:lnTo>
                  <a:lnTo>
                    <a:pt x="674" y="559"/>
                  </a:lnTo>
                  <a:lnTo>
                    <a:pt x="668" y="558"/>
                  </a:lnTo>
                  <a:lnTo>
                    <a:pt x="664" y="558"/>
                  </a:lnTo>
                  <a:lnTo>
                    <a:pt x="660" y="559"/>
                  </a:lnTo>
                  <a:lnTo>
                    <a:pt x="655" y="561"/>
                  </a:lnTo>
                  <a:lnTo>
                    <a:pt x="649" y="561"/>
                  </a:lnTo>
                  <a:lnTo>
                    <a:pt x="644" y="562"/>
                  </a:lnTo>
                  <a:lnTo>
                    <a:pt x="640" y="562"/>
                  </a:lnTo>
                  <a:lnTo>
                    <a:pt x="636" y="562"/>
                  </a:lnTo>
                  <a:lnTo>
                    <a:pt x="634" y="563"/>
                  </a:lnTo>
                  <a:lnTo>
                    <a:pt x="630" y="564"/>
                  </a:lnTo>
                  <a:lnTo>
                    <a:pt x="623" y="564"/>
                  </a:lnTo>
                  <a:lnTo>
                    <a:pt x="619" y="563"/>
                  </a:lnTo>
                  <a:lnTo>
                    <a:pt x="617" y="562"/>
                  </a:lnTo>
                  <a:lnTo>
                    <a:pt x="614" y="561"/>
                  </a:lnTo>
                  <a:lnTo>
                    <a:pt x="612" y="557"/>
                  </a:lnTo>
                  <a:lnTo>
                    <a:pt x="611" y="555"/>
                  </a:lnTo>
                  <a:lnTo>
                    <a:pt x="609" y="555"/>
                  </a:lnTo>
                  <a:lnTo>
                    <a:pt x="606" y="555"/>
                  </a:lnTo>
                  <a:lnTo>
                    <a:pt x="601" y="556"/>
                  </a:lnTo>
                  <a:lnTo>
                    <a:pt x="600" y="557"/>
                  </a:lnTo>
                  <a:lnTo>
                    <a:pt x="597" y="557"/>
                  </a:lnTo>
                  <a:lnTo>
                    <a:pt x="596" y="557"/>
                  </a:lnTo>
                  <a:lnTo>
                    <a:pt x="591" y="555"/>
                  </a:lnTo>
                  <a:lnTo>
                    <a:pt x="587" y="551"/>
                  </a:lnTo>
                  <a:lnTo>
                    <a:pt x="583" y="547"/>
                  </a:lnTo>
                  <a:lnTo>
                    <a:pt x="579" y="544"/>
                  </a:lnTo>
                  <a:lnTo>
                    <a:pt x="575" y="540"/>
                  </a:lnTo>
                  <a:lnTo>
                    <a:pt x="572" y="535"/>
                  </a:lnTo>
                  <a:lnTo>
                    <a:pt x="572" y="533"/>
                  </a:lnTo>
                  <a:lnTo>
                    <a:pt x="576" y="534"/>
                  </a:lnTo>
                  <a:lnTo>
                    <a:pt x="576" y="533"/>
                  </a:lnTo>
                  <a:lnTo>
                    <a:pt x="572" y="531"/>
                  </a:lnTo>
                  <a:lnTo>
                    <a:pt x="571" y="529"/>
                  </a:lnTo>
                  <a:lnTo>
                    <a:pt x="570" y="524"/>
                  </a:lnTo>
                  <a:lnTo>
                    <a:pt x="571" y="524"/>
                  </a:lnTo>
                  <a:lnTo>
                    <a:pt x="573" y="527"/>
                  </a:lnTo>
                  <a:lnTo>
                    <a:pt x="575" y="529"/>
                  </a:lnTo>
                  <a:lnTo>
                    <a:pt x="576" y="531"/>
                  </a:lnTo>
                  <a:lnTo>
                    <a:pt x="577" y="528"/>
                  </a:lnTo>
                  <a:lnTo>
                    <a:pt x="578" y="527"/>
                  </a:lnTo>
                  <a:lnTo>
                    <a:pt x="579" y="527"/>
                  </a:lnTo>
                  <a:lnTo>
                    <a:pt x="579" y="529"/>
                  </a:lnTo>
                  <a:lnTo>
                    <a:pt x="581" y="532"/>
                  </a:lnTo>
                  <a:lnTo>
                    <a:pt x="578" y="538"/>
                  </a:lnTo>
                  <a:lnTo>
                    <a:pt x="581" y="540"/>
                  </a:lnTo>
                  <a:lnTo>
                    <a:pt x="582" y="538"/>
                  </a:lnTo>
                  <a:lnTo>
                    <a:pt x="583" y="534"/>
                  </a:lnTo>
                  <a:lnTo>
                    <a:pt x="584" y="533"/>
                  </a:lnTo>
                  <a:lnTo>
                    <a:pt x="585" y="534"/>
                  </a:lnTo>
                  <a:lnTo>
                    <a:pt x="585" y="533"/>
                  </a:lnTo>
                  <a:lnTo>
                    <a:pt x="587" y="531"/>
                  </a:lnTo>
                  <a:lnTo>
                    <a:pt x="588" y="528"/>
                  </a:lnTo>
                  <a:lnTo>
                    <a:pt x="589" y="531"/>
                  </a:lnTo>
                  <a:lnTo>
                    <a:pt x="590" y="534"/>
                  </a:lnTo>
                  <a:lnTo>
                    <a:pt x="590" y="537"/>
                  </a:lnTo>
                  <a:lnTo>
                    <a:pt x="591" y="538"/>
                  </a:lnTo>
                  <a:lnTo>
                    <a:pt x="593" y="535"/>
                  </a:lnTo>
                  <a:lnTo>
                    <a:pt x="593" y="532"/>
                  </a:lnTo>
                  <a:lnTo>
                    <a:pt x="594" y="528"/>
                  </a:lnTo>
                  <a:lnTo>
                    <a:pt x="595" y="531"/>
                  </a:lnTo>
                  <a:lnTo>
                    <a:pt x="595" y="533"/>
                  </a:lnTo>
                  <a:lnTo>
                    <a:pt x="596" y="528"/>
                  </a:lnTo>
                  <a:lnTo>
                    <a:pt x="597" y="527"/>
                  </a:lnTo>
                  <a:lnTo>
                    <a:pt x="597" y="534"/>
                  </a:lnTo>
                  <a:lnTo>
                    <a:pt x="597" y="538"/>
                  </a:lnTo>
                  <a:lnTo>
                    <a:pt x="600" y="537"/>
                  </a:lnTo>
                  <a:lnTo>
                    <a:pt x="603" y="531"/>
                  </a:lnTo>
                  <a:lnTo>
                    <a:pt x="606" y="528"/>
                  </a:lnTo>
                  <a:lnTo>
                    <a:pt x="606" y="534"/>
                  </a:lnTo>
                  <a:lnTo>
                    <a:pt x="605" y="539"/>
                  </a:lnTo>
                  <a:lnTo>
                    <a:pt x="606" y="537"/>
                  </a:lnTo>
                  <a:lnTo>
                    <a:pt x="608" y="533"/>
                  </a:lnTo>
                  <a:lnTo>
                    <a:pt x="608" y="529"/>
                  </a:lnTo>
                  <a:lnTo>
                    <a:pt x="612" y="526"/>
                  </a:lnTo>
                  <a:lnTo>
                    <a:pt x="611" y="534"/>
                  </a:lnTo>
                  <a:lnTo>
                    <a:pt x="609" y="538"/>
                  </a:lnTo>
                  <a:lnTo>
                    <a:pt x="612" y="535"/>
                  </a:lnTo>
                  <a:lnTo>
                    <a:pt x="614" y="532"/>
                  </a:lnTo>
                  <a:lnTo>
                    <a:pt x="613" y="538"/>
                  </a:lnTo>
                  <a:lnTo>
                    <a:pt x="613" y="540"/>
                  </a:lnTo>
                  <a:lnTo>
                    <a:pt x="615" y="540"/>
                  </a:lnTo>
                  <a:lnTo>
                    <a:pt x="615" y="537"/>
                  </a:lnTo>
                  <a:lnTo>
                    <a:pt x="617" y="535"/>
                  </a:lnTo>
                  <a:lnTo>
                    <a:pt x="620" y="534"/>
                  </a:lnTo>
                  <a:lnTo>
                    <a:pt x="621" y="532"/>
                  </a:lnTo>
                  <a:lnTo>
                    <a:pt x="621" y="535"/>
                  </a:lnTo>
                  <a:lnTo>
                    <a:pt x="619" y="539"/>
                  </a:lnTo>
                  <a:lnTo>
                    <a:pt x="619" y="541"/>
                  </a:lnTo>
                  <a:lnTo>
                    <a:pt x="623" y="538"/>
                  </a:lnTo>
                  <a:lnTo>
                    <a:pt x="624" y="537"/>
                  </a:lnTo>
                  <a:lnTo>
                    <a:pt x="624" y="535"/>
                  </a:lnTo>
                  <a:lnTo>
                    <a:pt x="625" y="543"/>
                  </a:lnTo>
                  <a:lnTo>
                    <a:pt x="628" y="545"/>
                  </a:lnTo>
                  <a:lnTo>
                    <a:pt x="629" y="547"/>
                  </a:lnTo>
                  <a:lnTo>
                    <a:pt x="632" y="545"/>
                  </a:lnTo>
                  <a:lnTo>
                    <a:pt x="634" y="544"/>
                  </a:lnTo>
                  <a:lnTo>
                    <a:pt x="634" y="545"/>
                  </a:lnTo>
                  <a:lnTo>
                    <a:pt x="634" y="549"/>
                  </a:lnTo>
                  <a:lnTo>
                    <a:pt x="634" y="552"/>
                  </a:lnTo>
                  <a:lnTo>
                    <a:pt x="635" y="556"/>
                  </a:lnTo>
                  <a:lnTo>
                    <a:pt x="635" y="555"/>
                  </a:lnTo>
                  <a:lnTo>
                    <a:pt x="636" y="551"/>
                  </a:lnTo>
                  <a:lnTo>
                    <a:pt x="636" y="549"/>
                  </a:lnTo>
                  <a:lnTo>
                    <a:pt x="637" y="545"/>
                  </a:lnTo>
                  <a:lnTo>
                    <a:pt x="638" y="547"/>
                  </a:lnTo>
                  <a:lnTo>
                    <a:pt x="638" y="549"/>
                  </a:lnTo>
                  <a:lnTo>
                    <a:pt x="641" y="546"/>
                  </a:lnTo>
                  <a:lnTo>
                    <a:pt x="641" y="543"/>
                  </a:lnTo>
                  <a:lnTo>
                    <a:pt x="642" y="538"/>
                  </a:lnTo>
                  <a:lnTo>
                    <a:pt x="642" y="545"/>
                  </a:lnTo>
                  <a:lnTo>
                    <a:pt x="642" y="550"/>
                  </a:lnTo>
                  <a:lnTo>
                    <a:pt x="642" y="553"/>
                  </a:lnTo>
                  <a:lnTo>
                    <a:pt x="644" y="556"/>
                  </a:lnTo>
                  <a:lnTo>
                    <a:pt x="646" y="556"/>
                  </a:lnTo>
                  <a:lnTo>
                    <a:pt x="647" y="556"/>
                  </a:lnTo>
                  <a:lnTo>
                    <a:pt x="649" y="556"/>
                  </a:lnTo>
                  <a:lnTo>
                    <a:pt x="650" y="552"/>
                  </a:lnTo>
                  <a:lnTo>
                    <a:pt x="650" y="549"/>
                  </a:lnTo>
                  <a:lnTo>
                    <a:pt x="650" y="545"/>
                  </a:lnTo>
                  <a:lnTo>
                    <a:pt x="652" y="549"/>
                  </a:lnTo>
                  <a:lnTo>
                    <a:pt x="652" y="551"/>
                  </a:lnTo>
                  <a:lnTo>
                    <a:pt x="653" y="549"/>
                  </a:lnTo>
                  <a:lnTo>
                    <a:pt x="654" y="549"/>
                  </a:lnTo>
                  <a:lnTo>
                    <a:pt x="655" y="553"/>
                  </a:lnTo>
                  <a:lnTo>
                    <a:pt x="655" y="555"/>
                  </a:lnTo>
                  <a:lnTo>
                    <a:pt x="656" y="556"/>
                  </a:lnTo>
                  <a:lnTo>
                    <a:pt x="658" y="552"/>
                  </a:lnTo>
                  <a:lnTo>
                    <a:pt x="658" y="550"/>
                  </a:lnTo>
                  <a:lnTo>
                    <a:pt x="664" y="553"/>
                  </a:lnTo>
                  <a:lnTo>
                    <a:pt x="662" y="551"/>
                  </a:lnTo>
                  <a:lnTo>
                    <a:pt x="660" y="550"/>
                  </a:lnTo>
                  <a:lnTo>
                    <a:pt x="662" y="547"/>
                  </a:lnTo>
                  <a:lnTo>
                    <a:pt x="660" y="547"/>
                  </a:lnTo>
                  <a:lnTo>
                    <a:pt x="656" y="547"/>
                  </a:lnTo>
                  <a:lnTo>
                    <a:pt x="654" y="546"/>
                  </a:lnTo>
                  <a:lnTo>
                    <a:pt x="659" y="545"/>
                  </a:lnTo>
                  <a:lnTo>
                    <a:pt x="658" y="544"/>
                  </a:lnTo>
                  <a:lnTo>
                    <a:pt x="654" y="544"/>
                  </a:lnTo>
                  <a:lnTo>
                    <a:pt x="650" y="544"/>
                  </a:lnTo>
                  <a:lnTo>
                    <a:pt x="649" y="541"/>
                  </a:lnTo>
                  <a:lnTo>
                    <a:pt x="652" y="540"/>
                  </a:lnTo>
                  <a:lnTo>
                    <a:pt x="650" y="539"/>
                  </a:lnTo>
                  <a:lnTo>
                    <a:pt x="649" y="538"/>
                  </a:lnTo>
                  <a:lnTo>
                    <a:pt x="647" y="537"/>
                  </a:lnTo>
                  <a:lnTo>
                    <a:pt x="642" y="534"/>
                  </a:lnTo>
                  <a:lnTo>
                    <a:pt x="643" y="533"/>
                  </a:lnTo>
                  <a:lnTo>
                    <a:pt x="642" y="531"/>
                  </a:lnTo>
                  <a:lnTo>
                    <a:pt x="640" y="529"/>
                  </a:lnTo>
                  <a:lnTo>
                    <a:pt x="638" y="527"/>
                  </a:lnTo>
                  <a:lnTo>
                    <a:pt x="636" y="526"/>
                  </a:lnTo>
                  <a:lnTo>
                    <a:pt x="634" y="522"/>
                  </a:lnTo>
                  <a:lnTo>
                    <a:pt x="634" y="520"/>
                  </a:lnTo>
                  <a:lnTo>
                    <a:pt x="636" y="518"/>
                  </a:lnTo>
                  <a:lnTo>
                    <a:pt x="637" y="516"/>
                  </a:lnTo>
                  <a:lnTo>
                    <a:pt x="638" y="518"/>
                  </a:lnTo>
                  <a:lnTo>
                    <a:pt x="638" y="522"/>
                  </a:lnTo>
                  <a:lnTo>
                    <a:pt x="640" y="524"/>
                  </a:lnTo>
                  <a:lnTo>
                    <a:pt x="641" y="527"/>
                  </a:lnTo>
                  <a:lnTo>
                    <a:pt x="642" y="526"/>
                  </a:lnTo>
                  <a:lnTo>
                    <a:pt x="643" y="522"/>
                  </a:lnTo>
                  <a:lnTo>
                    <a:pt x="644" y="523"/>
                  </a:lnTo>
                  <a:lnTo>
                    <a:pt x="646" y="522"/>
                  </a:lnTo>
                  <a:lnTo>
                    <a:pt x="646" y="521"/>
                  </a:lnTo>
                  <a:lnTo>
                    <a:pt x="646" y="518"/>
                  </a:lnTo>
                  <a:lnTo>
                    <a:pt x="644" y="517"/>
                  </a:lnTo>
                  <a:lnTo>
                    <a:pt x="642" y="516"/>
                  </a:lnTo>
                  <a:lnTo>
                    <a:pt x="638" y="514"/>
                  </a:lnTo>
                  <a:lnTo>
                    <a:pt x="642" y="512"/>
                  </a:lnTo>
                  <a:lnTo>
                    <a:pt x="643" y="511"/>
                  </a:lnTo>
                  <a:lnTo>
                    <a:pt x="641" y="511"/>
                  </a:lnTo>
                  <a:lnTo>
                    <a:pt x="637" y="511"/>
                  </a:lnTo>
                  <a:lnTo>
                    <a:pt x="632" y="511"/>
                  </a:lnTo>
                  <a:lnTo>
                    <a:pt x="628" y="508"/>
                  </a:lnTo>
                  <a:lnTo>
                    <a:pt x="621" y="505"/>
                  </a:lnTo>
                  <a:lnTo>
                    <a:pt x="618" y="503"/>
                  </a:lnTo>
                  <a:lnTo>
                    <a:pt x="611" y="499"/>
                  </a:lnTo>
                  <a:lnTo>
                    <a:pt x="606" y="497"/>
                  </a:lnTo>
                  <a:lnTo>
                    <a:pt x="601" y="496"/>
                  </a:lnTo>
                  <a:lnTo>
                    <a:pt x="597" y="496"/>
                  </a:lnTo>
                  <a:lnTo>
                    <a:pt x="593" y="493"/>
                  </a:lnTo>
                  <a:lnTo>
                    <a:pt x="589" y="493"/>
                  </a:lnTo>
                  <a:lnTo>
                    <a:pt x="589" y="491"/>
                  </a:lnTo>
                  <a:lnTo>
                    <a:pt x="590" y="490"/>
                  </a:lnTo>
                  <a:lnTo>
                    <a:pt x="593" y="488"/>
                  </a:lnTo>
                  <a:lnTo>
                    <a:pt x="588" y="487"/>
                  </a:lnTo>
                  <a:lnTo>
                    <a:pt x="584" y="487"/>
                  </a:lnTo>
                  <a:lnTo>
                    <a:pt x="581" y="486"/>
                  </a:lnTo>
                  <a:lnTo>
                    <a:pt x="578" y="485"/>
                  </a:lnTo>
                  <a:lnTo>
                    <a:pt x="577" y="482"/>
                  </a:lnTo>
                  <a:lnTo>
                    <a:pt x="577" y="478"/>
                  </a:lnTo>
                  <a:lnTo>
                    <a:pt x="578" y="474"/>
                  </a:lnTo>
                  <a:lnTo>
                    <a:pt x="581" y="470"/>
                  </a:lnTo>
                  <a:lnTo>
                    <a:pt x="583" y="467"/>
                  </a:lnTo>
                  <a:lnTo>
                    <a:pt x="583" y="469"/>
                  </a:lnTo>
                  <a:lnTo>
                    <a:pt x="583" y="472"/>
                  </a:lnTo>
                  <a:lnTo>
                    <a:pt x="585" y="473"/>
                  </a:lnTo>
                  <a:lnTo>
                    <a:pt x="588" y="473"/>
                  </a:lnTo>
                  <a:lnTo>
                    <a:pt x="588" y="474"/>
                  </a:lnTo>
                  <a:lnTo>
                    <a:pt x="590" y="475"/>
                  </a:lnTo>
                  <a:lnTo>
                    <a:pt x="591" y="475"/>
                  </a:lnTo>
                  <a:lnTo>
                    <a:pt x="593" y="472"/>
                  </a:lnTo>
                  <a:lnTo>
                    <a:pt x="594" y="469"/>
                  </a:lnTo>
                  <a:lnTo>
                    <a:pt x="593" y="475"/>
                  </a:lnTo>
                  <a:lnTo>
                    <a:pt x="595" y="478"/>
                  </a:lnTo>
                  <a:lnTo>
                    <a:pt x="596" y="476"/>
                  </a:lnTo>
                  <a:lnTo>
                    <a:pt x="596" y="473"/>
                  </a:lnTo>
                  <a:lnTo>
                    <a:pt x="599" y="469"/>
                  </a:lnTo>
                  <a:lnTo>
                    <a:pt x="599" y="473"/>
                  </a:lnTo>
                  <a:lnTo>
                    <a:pt x="601" y="475"/>
                  </a:lnTo>
                  <a:lnTo>
                    <a:pt x="602" y="472"/>
                  </a:lnTo>
                  <a:lnTo>
                    <a:pt x="603" y="470"/>
                  </a:lnTo>
                  <a:lnTo>
                    <a:pt x="602" y="475"/>
                  </a:lnTo>
                  <a:lnTo>
                    <a:pt x="602" y="480"/>
                  </a:lnTo>
                  <a:lnTo>
                    <a:pt x="605" y="481"/>
                  </a:lnTo>
                  <a:lnTo>
                    <a:pt x="607" y="482"/>
                  </a:lnTo>
                  <a:lnTo>
                    <a:pt x="607" y="478"/>
                  </a:lnTo>
                  <a:lnTo>
                    <a:pt x="607" y="475"/>
                  </a:lnTo>
                  <a:lnTo>
                    <a:pt x="608" y="473"/>
                  </a:lnTo>
                  <a:lnTo>
                    <a:pt x="609" y="474"/>
                  </a:lnTo>
                  <a:lnTo>
                    <a:pt x="609" y="479"/>
                  </a:lnTo>
                  <a:lnTo>
                    <a:pt x="612" y="478"/>
                  </a:lnTo>
                  <a:lnTo>
                    <a:pt x="613" y="475"/>
                  </a:lnTo>
                  <a:lnTo>
                    <a:pt x="614" y="478"/>
                  </a:lnTo>
                  <a:lnTo>
                    <a:pt x="615" y="474"/>
                  </a:lnTo>
                  <a:lnTo>
                    <a:pt x="617" y="473"/>
                  </a:lnTo>
                  <a:lnTo>
                    <a:pt x="615" y="479"/>
                  </a:lnTo>
                  <a:lnTo>
                    <a:pt x="618" y="478"/>
                  </a:lnTo>
                  <a:lnTo>
                    <a:pt x="620" y="480"/>
                  </a:lnTo>
                  <a:lnTo>
                    <a:pt x="621" y="478"/>
                  </a:lnTo>
                  <a:lnTo>
                    <a:pt x="621" y="484"/>
                  </a:lnTo>
                  <a:lnTo>
                    <a:pt x="620" y="487"/>
                  </a:lnTo>
                  <a:lnTo>
                    <a:pt x="624" y="486"/>
                  </a:lnTo>
                  <a:lnTo>
                    <a:pt x="625" y="485"/>
                  </a:lnTo>
                  <a:lnTo>
                    <a:pt x="626" y="484"/>
                  </a:lnTo>
                  <a:lnTo>
                    <a:pt x="628" y="478"/>
                  </a:lnTo>
                  <a:lnTo>
                    <a:pt x="629" y="476"/>
                  </a:lnTo>
                  <a:lnTo>
                    <a:pt x="632" y="479"/>
                  </a:lnTo>
                  <a:lnTo>
                    <a:pt x="634" y="478"/>
                  </a:lnTo>
                  <a:lnTo>
                    <a:pt x="634" y="475"/>
                  </a:lnTo>
                  <a:lnTo>
                    <a:pt x="637" y="478"/>
                  </a:lnTo>
                  <a:lnTo>
                    <a:pt x="636" y="480"/>
                  </a:lnTo>
                  <a:lnTo>
                    <a:pt x="637" y="479"/>
                  </a:lnTo>
                  <a:lnTo>
                    <a:pt x="641" y="479"/>
                  </a:lnTo>
                  <a:lnTo>
                    <a:pt x="646" y="479"/>
                  </a:lnTo>
                  <a:lnTo>
                    <a:pt x="644" y="478"/>
                  </a:lnTo>
                  <a:lnTo>
                    <a:pt x="640" y="475"/>
                  </a:lnTo>
                  <a:lnTo>
                    <a:pt x="634" y="472"/>
                  </a:lnTo>
                  <a:lnTo>
                    <a:pt x="634" y="469"/>
                  </a:lnTo>
                  <a:lnTo>
                    <a:pt x="631" y="469"/>
                  </a:lnTo>
                  <a:lnTo>
                    <a:pt x="626" y="469"/>
                  </a:lnTo>
                  <a:lnTo>
                    <a:pt x="624" y="468"/>
                  </a:lnTo>
                  <a:lnTo>
                    <a:pt x="623" y="466"/>
                  </a:lnTo>
                  <a:lnTo>
                    <a:pt x="628" y="466"/>
                  </a:lnTo>
                  <a:lnTo>
                    <a:pt x="631" y="467"/>
                  </a:lnTo>
                  <a:lnTo>
                    <a:pt x="629" y="464"/>
                  </a:lnTo>
                  <a:lnTo>
                    <a:pt x="623" y="462"/>
                  </a:lnTo>
                  <a:lnTo>
                    <a:pt x="621" y="461"/>
                  </a:lnTo>
                  <a:lnTo>
                    <a:pt x="626" y="460"/>
                  </a:lnTo>
                  <a:lnTo>
                    <a:pt x="621" y="460"/>
                  </a:lnTo>
                  <a:lnTo>
                    <a:pt x="615" y="458"/>
                  </a:lnTo>
                  <a:lnTo>
                    <a:pt x="615" y="456"/>
                  </a:lnTo>
                  <a:lnTo>
                    <a:pt x="613" y="456"/>
                  </a:lnTo>
                  <a:lnTo>
                    <a:pt x="609" y="455"/>
                  </a:lnTo>
                  <a:lnTo>
                    <a:pt x="612" y="452"/>
                  </a:lnTo>
                  <a:lnTo>
                    <a:pt x="609" y="452"/>
                  </a:lnTo>
                  <a:lnTo>
                    <a:pt x="603" y="452"/>
                  </a:lnTo>
                  <a:lnTo>
                    <a:pt x="602" y="450"/>
                  </a:lnTo>
                  <a:lnTo>
                    <a:pt x="601" y="449"/>
                  </a:lnTo>
                  <a:lnTo>
                    <a:pt x="599" y="450"/>
                  </a:lnTo>
                  <a:lnTo>
                    <a:pt x="595" y="450"/>
                  </a:lnTo>
                  <a:lnTo>
                    <a:pt x="594" y="449"/>
                  </a:lnTo>
                  <a:lnTo>
                    <a:pt x="594" y="445"/>
                  </a:lnTo>
                  <a:lnTo>
                    <a:pt x="591" y="446"/>
                  </a:lnTo>
                  <a:lnTo>
                    <a:pt x="590" y="444"/>
                  </a:lnTo>
                  <a:lnTo>
                    <a:pt x="587" y="444"/>
                  </a:lnTo>
                  <a:lnTo>
                    <a:pt x="583" y="445"/>
                  </a:lnTo>
                  <a:lnTo>
                    <a:pt x="581" y="445"/>
                  </a:lnTo>
                  <a:lnTo>
                    <a:pt x="579" y="444"/>
                  </a:lnTo>
                  <a:lnTo>
                    <a:pt x="571" y="440"/>
                  </a:lnTo>
                  <a:lnTo>
                    <a:pt x="566" y="439"/>
                  </a:lnTo>
                  <a:lnTo>
                    <a:pt x="562" y="437"/>
                  </a:lnTo>
                  <a:lnTo>
                    <a:pt x="560" y="437"/>
                  </a:lnTo>
                  <a:lnTo>
                    <a:pt x="558" y="437"/>
                  </a:lnTo>
                  <a:lnTo>
                    <a:pt x="553" y="436"/>
                  </a:lnTo>
                  <a:lnTo>
                    <a:pt x="549" y="434"/>
                  </a:lnTo>
                  <a:lnTo>
                    <a:pt x="547" y="433"/>
                  </a:lnTo>
                  <a:lnTo>
                    <a:pt x="543" y="433"/>
                  </a:lnTo>
                  <a:lnTo>
                    <a:pt x="541" y="432"/>
                  </a:lnTo>
                  <a:lnTo>
                    <a:pt x="540" y="434"/>
                  </a:lnTo>
                  <a:lnTo>
                    <a:pt x="537" y="431"/>
                  </a:lnTo>
                  <a:lnTo>
                    <a:pt x="536" y="431"/>
                  </a:lnTo>
                  <a:lnTo>
                    <a:pt x="534" y="431"/>
                  </a:lnTo>
                  <a:lnTo>
                    <a:pt x="529" y="433"/>
                  </a:lnTo>
                  <a:lnTo>
                    <a:pt x="529" y="432"/>
                  </a:lnTo>
                  <a:lnTo>
                    <a:pt x="525" y="431"/>
                  </a:lnTo>
                  <a:lnTo>
                    <a:pt x="523" y="430"/>
                  </a:lnTo>
                  <a:lnTo>
                    <a:pt x="520" y="431"/>
                  </a:lnTo>
                  <a:lnTo>
                    <a:pt x="519" y="428"/>
                  </a:lnTo>
                  <a:lnTo>
                    <a:pt x="514" y="427"/>
                  </a:lnTo>
                  <a:lnTo>
                    <a:pt x="512" y="426"/>
                  </a:lnTo>
                  <a:lnTo>
                    <a:pt x="511" y="426"/>
                  </a:lnTo>
                  <a:lnTo>
                    <a:pt x="510" y="425"/>
                  </a:lnTo>
                  <a:lnTo>
                    <a:pt x="511" y="424"/>
                  </a:lnTo>
                  <a:lnTo>
                    <a:pt x="513" y="425"/>
                  </a:lnTo>
                  <a:lnTo>
                    <a:pt x="516" y="426"/>
                  </a:lnTo>
                  <a:lnTo>
                    <a:pt x="518" y="428"/>
                  </a:lnTo>
                  <a:lnTo>
                    <a:pt x="522" y="430"/>
                  </a:lnTo>
                  <a:lnTo>
                    <a:pt x="525" y="430"/>
                  </a:lnTo>
                  <a:lnTo>
                    <a:pt x="525" y="427"/>
                  </a:lnTo>
                  <a:lnTo>
                    <a:pt x="528" y="428"/>
                  </a:lnTo>
                  <a:lnTo>
                    <a:pt x="528" y="431"/>
                  </a:lnTo>
                  <a:lnTo>
                    <a:pt x="529" y="431"/>
                  </a:lnTo>
                  <a:lnTo>
                    <a:pt x="530" y="431"/>
                  </a:lnTo>
                  <a:lnTo>
                    <a:pt x="532" y="427"/>
                  </a:lnTo>
                  <a:lnTo>
                    <a:pt x="534" y="426"/>
                  </a:lnTo>
                  <a:lnTo>
                    <a:pt x="535" y="430"/>
                  </a:lnTo>
                  <a:lnTo>
                    <a:pt x="536" y="430"/>
                  </a:lnTo>
                  <a:lnTo>
                    <a:pt x="538" y="430"/>
                  </a:lnTo>
                  <a:lnTo>
                    <a:pt x="538" y="428"/>
                  </a:lnTo>
                  <a:lnTo>
                    <a:pt x="540" y="431"/>
                  </a:lnTo>
                  <a:lnTo>
                    <a:pt x="541" y="431"/>
                  </a:lnTo>
                  <a:lnTo>
                    <a:pt x="542" y="430"/>
                  </a:lnTo>
                  <a:lnTo>
                    <a:pt x="543" y="431"/>
                  </a:lnTo>
                  <a:lnTo>
                    <a:pt x="544" y="431"/>
                  </a:lnTo>
                  <a:lnTo>
                    <a:pt x="548" y="432"/>
                  </a:lnTo>
                  <a:lnTo>
                    <a:pt x="549" y="433"/>
                  </a:lnTo>
                  <a:lnTo>
                    <a:pt x="550" y="432"/>
                  </a:lnTo>
                  <a:lnTo>
                    <a:pt x="552" y="431"/>
                  </a:lnTo>
                  <a:lnTo>
                    <a:pt x="553" y="430"/>
                  </a:lnTo>
                  <a:lnTo>
                    <a:pt x="552" y="426"/>
                  </a:lnTo>
                  <a:lnTo>
                    <a:pt x="554" y="428"/>
                  </a:lnTo>
                  <a:lnTo>
                    <a:pt x="556" y="431"/>
                  </a:lnTo>
                  <a:lnTo>
                    <a:pt x="558" y="434"/>
                  </a:lnTo>
                  <a:lnTo>
                    <a:pt x="559" y="434"/>
                  </a:lnTo>
                  <a:lnTo>
                    <a:pt x="559" y="433"/>
                  </a:lnTo>
                  <a:lnTo>
                    <a:pt x="561" y="432"/>
                  </a:lnTo>
                  <a:lnTo>
                    <a:pt x="562" y="434"/>
                  </a:lnTo>
                  <a:lnTo>
                    <a:pt x="562" y="436"/>
                  </a:lnTo>
                  <a:lnTo>
                    <a:pt x="565" y="434"/>
                  </a:lnTo>
                  <a:lnTo>
                    <a:pt x="566" y="432"/>
                  </a:lnTo>
                  <a:lnTo>
                    <a:pt x="565" y="436"/>
                  </a:lnTo>
                  <a:lnTo>
                    <a:pt x="566" y="437"/>
                  </a:lnTo>
                  <a:lnTo>
                    <a:pt x="570" y="437"/>
                  </a:lnTo>
                  <a:lnTo>
                    <a:pt x="572" y="436"/>
                  </a:lnTo>
                  <a:lnTo>
                    <a:pt x="572" y="434"/>
                  </a:lnTo>
                  <a:lnTo>
                    <a:pt x="573" y="434"/>
                  </a:lnTo>
                  <a:lnTo>
                    <a:pt x="577" y="439"/>
                  </a:lnTo>
                  <a:lnTo>
                    <a:pt x="577" y="438"/>
                  </a:lnTo>
                  <a:lnTo>
                    <a:pt x="576" y="436"/>
                  </a:lnTo>
                  <a:lnTo>
                    <a:pt x="575" y="433"/>
                  </a:lnTo>
                  <a:lnTo>
                    <a:pt x="575" y="432"/>
                  </a:lnTo>
                  <a:lnTo>
                    <a:pt x="575" y="433"/>
                  </a:lnTo>
                  <a:lnTo>
                    <a:pt x="577" y="433"/>
                  </a:lnTo>
                  <a:lnTo>
                    <a:pt x="577" y="431"/>
                  </a:lnTo>
                  <a:lnTo>
                    <a:pt x="578" y="430"/>
                  </a:lnTo>
                  <a:lnTo>
                    <a:pt x="579" y="431"/>
                  </a:lnTo>
                  <a:lnTo>
                    <a:pt x="578" y="436"/>
                  </a:lnTo>
                  <a:lnTo>
                    <a:pt x="579" y="437"/>
                  </a:lnTo>
                  <a:lnTo>
                    <a:pt x="581" y="437"/>
                  </a:lnTo>
                  <a:lnTo>
                    <a:pt x="581" y="439"/>
                  </a:lnTo>
                  <a:lnTo>
                    <a:pt x="582" y="442"/>
                  </a:lnTo>
                  <a:lnTo>
                    <a:pt x="583" y="443"/>
                  </a:lnTo>
                  <a:lnTo>
                    <a:pt x="584" y="440"/>
                  </a:lnTo>
                  <a:lnTo>
                    <a:pt x="584" y="437"/>
                  </a:lnTo>
                  <a:lnTo>
                    <a:pt x="584" y="433"/>
                  </a:lnTo>
                  <a:lnTo>
                    <a:pt x="585" y="433"/>
                  </a:lnTo>
                  <a:lnTo>
                    <a:pt x="587" y="442"/>
                  </a:lnTo>
                  <a:lnTo>
                    <a:pt x="588" y="440"/>
                  </a:lnTo>
                  <a:lnTo>
                    <a:pt x="588" y="438"/>
                  </a:lnTo>
                  <a:lnTo>
                    <a:pt x="588" y="436"/>
                  </a:lnTo>
                  <a:lnTo>
                    <a:pt x="590" y="434"/>
                  </a:lnTo>
                  <a:lnTo>
                    <a:pt x="590" y="432"/>
                  </a:lnTo>
                  <a:lnTo>
                    <a:pt x="590" y="431"/>
                  </a:lnTo>
                  <a:lnTo>
                    <a:pt x="591" y="436"/>
                  </a:lnTo>
                  <a:lnTo>
                    <a:pt x="591" y="439"/>
                  </a:lnTo>
                  <a:lnTo>
                    <a:pt x="594" y="440"/>
                  </a:lnTo>
                  <a:lnTo>
                    <a:pt x="596" y="440"/>
                  </a:lnTo>
                  <a:lnTo>
                    <a:pt x="597" y="436"/>
                  </a:lnTo>
                  <a:lnTo>
                    <a:pt x="599" y="440"/>
                  </a:lnTo>
                  <a:lnTo>
                    <a:pt x="599" y="444"/>
                  </a:lnTo>
                  <a:lnTo>
                    <a:pt x="597" y="445"/>
                  </a:lnTo>
                  <a:lnTo>
                    <a:pt x="600" y="446"/>
                  </a:lnTo>
                  <a:lnTo>
                    <a:pt x="601" y="446"/>
                  </a:lnTo>
                  <a:lnTo>
                    <a:pt x="601" y="444"/>
                  </a:lnTo>
                  <a:lnTo>
                    <a:pt x="602" y="443"/>
                  </a:lnTo>
                  <a:lnTo>
                    <a:pt x="605" y="440"/>
                  </a:lnTo>
                  <a:lnTo>
                    <a:pt x="605" y="439"/>
                  </a:lnTo>
                  <a:lnTo>
                    <a:pt x="605" y="436"/>
                  </a:lnTo>
                  <a:lnTo>
                    <a:pt x="606" y="433"/>
                  </a:lnTo>
                  <a:lnTo>
                    <a:pt x="607" y="436"/>
                  </a:lnTo>
                  <a:lnTo>
                    <a:pt x="608" y="438"/>
                  </a:lnTo>
                  <a:lnTo>
                    <a:pt x="609" y="442"/>
                  </a:lnTo>
                  <a:lnTo>
                    <a:pt x="609" y="440"/>
                  </a:lnTo>
                  <a:lnTo>
                    <a:pt x="611" y="438"/>
                  </a:lnTo>
                  <a:lnTo>
                    <a:pt x="612" y="438"/>
                  </a:lnTo>
                  <a:lnTo>
                    <a:pt x="613" y="440"/>
                  </a:lnTo>
                  <a:lnTo>
                    <a:pt x="613" y="443"/>
                  </a:lnTo>
                  <a:lnTo>
                    <a:pt x="613" y="445"/>
                  </a:lnTo>
                  <a:lnTo>
                    <a:pt x="614" y="446"/>
                  </a:lnTo>
                  <a:lnTo>
                    <a:pt x="617" y="443"/>
                  </a:lnTo>
                  <a:lnTo>
                    <a:pt x="618" y="442"/>
                  </a:lnTo>
                  <a:lnTo>
                    <a:pt x="619" y="443"/>
                  </a:lnTo>
                  <a:lnTo>
                    <a:pt x="620" y="443"/>
                  </a:lnTo>
                  <a:lnTo>
                    <a:pt x="620" y="440"/>
                  </a:lnTo>
                  <a:lnTo>
                    <a:pt x="621" y="436"/>
                  </a:lnTo>
                  <a:lnTo>
                    <a:pt x="624" y="434"/>
                  </a:lnTo>
                  <a:lnTo>
                    <a:pt x="625" y="436"/>
                  </a:lnTo>
                  <a:lnTo>
                    <a:pt x="628" y="436"/>
                  </a:lnTo>
                  <a:lnTo>
                    <a:pt x="628" y="438"/>
                  </a:lnTo>
                  <a:lnTo>
                    <a:pt x="629" y="442"/>
                  </a:lnTo>
                  <a:lnTo>
                    <a:pt x="631" y="440"/>
                  </a:lnTo>
                  <a:lnTo>
                    <a:pt x="631" y="438"/>
                  </a:lnTo>
                  <a:lnTo>
                    <a:pt x="638" y="440"/>
                  </a:lnTo>
                  <a:lnTo>
                    <a:pt x="637" y="439"/>
                  </a:lnTo>
                  <a:lnTo>
                    <a:pt x="634" y="437"/>
                  </a:lnTo>
                  <a:lnTo>
                    <a:pt x="631" y="437"/>
                  </a:lnTo>
                  <a:lnTo>
                    <a:pt x="635" y="434"/>
                  </a:lnTo>
                  <a:lnTo>
                    <a:pt x="634" y="433"/>
                  </a:lnTo>
                  <a:lnTo>
                    <a:pt x="630" y="433"/>
                  </a:lnTo>
                  <a:lnTo>
                    <a:pt x="631" y="432"/>
                  </a:lnTo>
                  <a:lnTo>
                    <a:pt x="631" y="431"/>
                  </a:lnTo>
                  <a:lnTo>
                    <a:pt x="628" y="431"/>
                  </a:lnTo>
                  <a:lnTo>
                    <a:pt x="624" y="430"/>
                  </a:lnTo>
                  <a:lnTo>
                    <a:pt x="621" y="428"/>
                  </a:lnTo>
                  <a:lnTo>
                    <a:pt x="619" y="426"/>
                  </a:lnTo>
                  <a:lnTo>
                    <a:pt x="617" y="425"/>
                  </a:lnTo>
                  <a:lnTo>
                    <a:pt x="614" y="422"/>
                  </a:lnTo>
                  <a:lnTo>
                    <a:pt x="613" y="421"/>
                  </a:lnTo>
                  <a:lnTo>
                    <a:pt x="611" y="417"/>
                  </a:lnTo>
                  <a:lnTo>
                    <a:pt x="613" y="416"/>
                  </a:lnTo>
                  <a:lnTo>
                    <a:pt x="617" y="417"/>
                  </a:lnTo>
                  <a:lnTo>
                    <a:pt x="615" y="415"/>
                  </a:lnTo>
                  <a:lnTo>
                    <a:pt x="614" y="414"/>
                  </a:lnTo>
                  <a:lnTo>
                    <a:pt x="613" y="410"/>
                  </a:lnTo>
                  <a:lnTo>
                    <a:pt x="611" y="411"/>
                  </a:lnTo>
                  <a:lnTo>
                    <a:pt x="611" y="414"/>
                  </a:lnTo>
                  <a:lnTo>
                    <a:pt x="607" y="413"/>
                  </a:lnTo>
                  <a:lnTo>
                    <a:pt x="603" y="414"/>
                  </a:lnTo>
                  <a:lnTo>
                    <a:pt x="595" y="410"/>
                  </a:lnTo>
                  <a:lnTo>
                    <a:pt x="590" y="409"/>
                  </a:lnTo>
                  <a:lnTo>
                    <a:pt x="590" y="407"/>
                  </a:lnTo>
                  <a:lnTo>
                    <a:pt x="588" y="408"/>
                  </a:lnTo>
                  <a:lnTo>
                    <a:pt x="585" y="408"/>
                  </a:lnTo>
                  <a:lnTo>
                    <a:pt x="584" y="407"/>
                  </a:lnTo>
                  <a:lnTo>
                    <a:pt x="582" y="405"/>
                  </a:lnTo>
                  <a:lnTo>
                    <a:pt x="581" y="404"/>
                  </a:lnTo>
                  <a:lnTo>
                    <a:pt x="572" y="404"/>
                  </a:lnTo>
                  <a:lnTo>
                    <a:pt x="567" y="404"/>
                  </a:lnTo>
                  <a:lnTo>
                    <a:pt x="566" y="403"/>
                  </a:lnTo>
                  <a:lnTo>
                    <a:pt x="564" y="402"/>
                  </a:lnTo>
                  <a:lnTo>
                    <a:pt x="561" y="402"/>
                  </a:lnTo>
                  <a:lnTo>
                    <a:pt x="556" y="401"/>
                  </a:lnTo>
                  <a:lnTo>
                    <a:pt x="554" y="399"/>
                  </a:lnTo>
                  <a:lnTo>
                    <a:pt x="553" y="395"/>
                  </a:lnTo>
                  <a:lnTo>
                    <a:pt x="549" y="395"/>
                  </a:lnTo>
                  <a:lnTo>
                    <a:pt x="547" y="393"/>
                  </a:lnTo>
                  <a:lnTo>
                    <a:pt x="541" y="392"/>
                  </a:lnTo>
                  <a:lnTo>
                    <a:pt x="540" y="392"/>
                  </a:lnTo>
                  <a:lnTo>
                    <a:pt x="536" y="392"/>
                  </a:lnTo>
                  <a:lnTo>
                    <a:pt x="532" y="392"/>
                  </a:lnTo>
                  <a:lnTo>
                    <a:pt x="532" y="390"/>
                  </a:lnTo>
                  <a:lnTo>
                    <a:pt x="529" y="390"/>
                  </a:lnTo>
                  <a:lnTo>
                    <a:pt x="528" y="391"/>
                  </a:lnTo>
                  <a:lnTo>
                    <a:pt x="520" y="392"/>
                  </a:lnTo>
                  <a:lnTo>
                    <a:pt x="518" y="391"/>
                  </a:lnTo>
                  <a:lnTo>
                    <a:pt x="513" y="389"/>
                  </a:lnTo>
                  <a:lnTo>
                    <a:pt x="510" y="389"/>
                  </a:lnTo>
                  <a:lnTo>
                    <a:pt x="503" y="387"/>
                  </a:lnTo>
                  <a:lnTo>
                    <a:pt x="499" y="386"/>
                  </a:lnTo>
                  <a:lnTo>
                    <a:pt x="493" y="386"/>
                  </a:lnTo>
                  <a:lnTo>
                    <a:pt x="489" y="383"/>
                  </a:lnTo>
                  <a:lnTo>
                    <a:pt x="485" y="381"/>
                  </a:lnTo>
                  <a:lnTo>
                    <a:pt x="485" y="384"/>
                  </a:lnTo>
                  <a:lnTo>
                    <a:pt x="484" y="385"/>
                  </a:lnTo>
                  <a:lnTo>
                    <a:pt x="482" y="385"/>
                  </a:lnTo>
                  <a:lnTo>
                    <a:pt x="479" y="385"/>
                  </a:lnTo>
                  <a:lnTo>
                    <a:pt x="476" y="383"/>
                  </a:lnTo>
                  <a:lnTo>
                    <a:pt x="473" y="381"/>
                  </a:lnTo>
                  <a:lnTo>
                    <a:pt x="469" y="383"/>
                  </a:lnTo>
                  <a:lnTo>
                    <a:pt x="467" y="384"/>
                  </a:lnTo>
                  <a:lnTo>
                    <a:pt x="464" y="381"/>
                  </a:lnTo>
                  <a:lnTo>
                    <a:pt x="463" y="380"/>
                  </a:lnTo>
                  <a:lnTo>
                    <a:pt x="458" y="380"/>
                  </a:lnTo>
                  <a:lnTo>
                    <a:pt x="453" y="380"/>
                  </a:lnTo>
                  <a:lnTo>
                    <a:pt x="453" y="378"/>
                  </a:lnTo>
                  <a:lnTo>
                    <a:pt x="451" y="375"/>
                  </a:lnTo>
                  <a:lnTo>
                    <a:pt x="448" y="374"/>
                  </a:lnTo>
                  <a:lnTo>
                    <a:pt x="444" y="373"/>
                  </a:lnTo>
                  <a:lnTo>
                    <a:pt x="443" y="371"/>
                  </a:lnTo>
                  <a:lnTo>
                    <a:pt x="440" y="368"/>
                  </a:lnTo>
                  <a:lnTo>
                    <a:pt x="435" y="365"/>
                  </a:lnTo>
                  <a:lnTo>
                    <a:pt x="432" y="361"/>
                  </a:lnTo>
                  <a:lnTo>
                    <a:pt x="432" y="353"/>
                  </a:lnTo>
                  <a:lnTo>
                    <a:pt x="432" y="349"/>
                  </a:lnTo>
                  <a:lnTo>
                    <a:pt x="434" y="349"/>
                  </a:lnTo>
                  <a:lnTo>
                    <a:pt x="435" y="353"/>
                  </a:lnTo>
                  <a:lnTo>
                    <a:pt x="436" y="354"/>
                  </a:lnTo>
                  <a:lnTo>
                    <a:pt x="437" y="351"/>
                  </a:lnTo>
                  <a:lnTo>
                    <a:pt x="437" y="348"/>
                  </a:lnTo>
                  <a:lnTo>
                    <a:pt x="437" y="347"/>
                  </a:lnTo>
                  <a:lnTo>
                    <a:pt x="438" y="349"/>
                  </a:lnTo>
                  <a:lnTo>
                    <a:pt x="438" y="353"/>
                  </a:lnTo>
                  <a:lnTo>
                    <a:pt x="437" y="356"/>
                  </a:lnTo>
                  <a:lnTo>
                    <a:pt x="437" y="360"/>
                  </a:lnTo>
                  <a:lnTo>
                    <a:pt x="436" y="362"/>
                  </a:lnTo>
                  <a:lnTo>
                    <a:pt x="437" y="363"/>
                  </a:lnTo>
                  <a:lnTo>
                    <a:pt x="440" y="365"/>
                  </a:lnTo>
                  <a:lnTo>
                    <a:pt x="441" y="367"/>
                  </a:lnTo>
                  <a:lnTo>
                    <a:pt x="442" y="368"/>
                  </a:lnTo>
                  <a:lnTo>
                    <a:pt x="446" y="371"/>
                  </a:lnTo>
                  <a:lnTo>
                    <a:pt x="447" y="369"/>
                  </a:lnTo>
                  <a:lnTo>
                    <a:pt x="448" y="372"/>
                  </a:lnTo>
                  <a:lnTo>
                    <a:pt x="449" y="372"/>
                  </a:lnTo>
                  <a:lnTo>
                    <a:pt x="452" y="372"/>
                  </a:lnTo>
                  <a:lnTo>
                    <a:pt x="453" y="374"/>
                  </a:lnTo>
                  <a:lnTo>
                    <a:pt x="454" y="373"/>
                  </a:lnTo>
                  <a:lnTo>
                    <a:pt x="454" y="371"/>
                  </a:lnTo>
                  <a:lnTo>
                    <a:pt x="452" y="368"/>
                  </a:lnTo>
                  <a:lnTo>
                    <a:pt x="451" y="366"/>
                  </a:lnTo>
                  <a:lnTo>
                    <a:pt x="452" y="362"/>
                  </a:lnTo>
                  <a:lnTo>
                    <a:pt x="451" y="359"/>
                  </a:lnTo>
                  <a:lnTo>
                    <a:pt x="451" y="355"/>
                  </a:lnTo>
                  <a:lnTo>
                    <a:pt x="452" y="351"/>
                  </a:lnTo>
                  <a:lnTo>
                    <a:pt x="453" y="351"/>
                  </a:lnTo>
                  <a:lnTo>
                    <a:pt x="453" y="353"/>
                  </a:lnTo>
                  <a:lnTo>
                    <a:pt x="452" y="356"/>
                  </a:lnTo>
                  <a:lnTo>
                    <a:pt x="454" y="355"/>
                  </a:lnTo>
                  <a:lnTo>
                    <a:pt x="455" y="356"/>
                  </a:lnTo>
                  <a:lnTo>
                    <a:pt x="453" y="360"/>
                  </a:lnTo>
                  <a:lnTo>
                    <a:pt x="454" y="361"/>
                  </a:lnTo>
                  <a:lnTo>
                    <a:pt x="455" y="361"/>
                  </a:lnTo>
                  <a:lnTo>
                    <a:pt x="457" y="359"/>
                  </a:lnTo>
                  <a:lnTo>
                    <a:pt x="457" y="355"/>
                  </a:lnTo>
                  <a:lnTo>
                    <a:pt x="457" y="353"/>
                  </a:lnTo>
                  <a:lnTo>
                    <a:pt x="459" y="353"/>
                  </a:lnTo>
                  <a:lnTo>
                    <a:pt x="459" y="357"/>
                  </a:lnTo>
                  <a:lnTo>
                    <a:pt x="460" y="361"/>
                  </a:lnTo>
                  <a:lnTo>
                    <a:pt x="460" y="362"/>
                  </a:lnTo>
                  <a:lnTo>
                    <a:pt x="461" y="361"/>
                  </a:lnTo>
                  <a:lnTo>
                    <a:pt x="464" y="360"/>
                  </a:lnTo>
                  <a:lnTo>
                    <a:pt x="464" y="362"/>
                  </a:lnTo>
                  <a:lnTo>
                    <a:pt x="465" y="363"/>
                  </a:lnTo>
                  <a:lnTo>
                    <a:pt x="465" y="365"/>
                  </a:lnTo>
                  <a:lnTo>
                    <a:pt x="466" y="365"/>
                  </a:lnTo>
                  <a:lnTo>
                    <a:pt x="466" y="366"/>
                  </a:lnTo>
                  <a:lnTo>
                    <a:pt x="469" y="367"/>
                  </a:lnTo>
                  <a:lnTo>
                    <a:pt x="470" y="365"/>
                  </a:lnTo>
                  <a:lnTo>
                    <a:pt x="470" y="363"/>
                  </a:lnTo>
                  <a:lnTo>
                    <a:pt x="471" y="362"/>
                  </a:lnTo>
                  <a:lnTo>
                    <a:pt x="471" y="367"/>
                  </a:lnTo>
                  <a:lnTo>
                    <a:pt x="471" y="372"/>
                  </a:lnTo>
                  <a:lnTo>
                    <a:pt x="471" y="373"/>
                  </a:lnTo>
                  <a:lnTo>
                    <a:pt x="472" y="369"/>
                  </a:lnTo>
                  <a:lnTo>
                    <a:pt x="473" y="367"/>
                  </a:lnTo>
                  <a:lnTo>
                    <a:pt x="473" y="363"/>
                  </a:lnTo>
                  <a:lnTo>
                    <a:pt x="475" y="362"/>
                  </a:lnTo>
                  <a:lnTo>
                    <a:pt x="475" y="367"/>
                  </a:lnTo>
                  <a:lnTo>
                    <a:pt x="473" y="372"/>
                  </a:lnTo>
                  <a:lnTo>
                    <a:pt x="473" y="373"/>
                  </a:lnTo>
                  <a:lnTo>
                    <a:pt x="475" y="373"/>
                  </a:lnTo>
                  <a:lnTo>
                    <a:pt x="476" y="372"/>
                  </a:lnTo>
                  <a:lnTo>
                    <a:pt x="476" y="373"/>
                  </a:lnTo>
                  <a:lnTo>
                    <a:pt x="477" y="375"/>
                  </a:lnTo>
                  <a:lnTo>
                    <a:pt x="478" y="379"/>
                  </a:lnTo>
                  <a:lnTo>
                    <a:pt x="479" y="378"/>
                  </a:lnTo>
                  <a:lnTo>
                    <a:pt x="479" y="373"/>
                  </a:lnTo>
                  <a:lnTo>
                    <a:pt x="479" y="372"/>
                  </a:lnTo>
                  <a:lnTo>
                    <a:pt x="482" y="371"/>
                  </a:lnTo>
                  <a:lnTo>
                    <a:pt x="484" y="369"/>
                  </a:lnTo>
                  <a:lnTo>
                    <a:pt x="485" y="368"/>
                  </a:lnTo>
                  <a:lnTo>
                    <a:pt x="482" y="365"/>
                  </a:lnTo>
                  <a:lnTo>
                    <a:pt x="481" y="360"/>
                  </a:lnTo>
                  <a:lnTo>
                    <a:pt x="482" y="360"/>
                  </a:lnTo>
                  <a:lnTo>
                    <a:pt x="482" y="361"/>
                  </a:lnTo>
                  <a:lnTo>
                    <a:pt x="483" y="361"/>
                  </a:lnTo>
                  <a:lnTo>
                    <a:pt x="485" y="360"/>
                  </a:lnTo>
                  <a:lnTo>
                    <a:pt x="488" y="360"/>
                  </a:lnTo>
                  <a:lnTo>
                    <a:pt x="488" y="356"/>
                  </a:lnTo>
                  <a:lnTo>
                    <a:pt x="488" y="355"/>
                  </a:lnTo>
                  <a:lnTo>
                    <a:pt x="489" y="356"/>
                  </a:lnTo>
                  <a:lnTo>
                    <a:pt x="490" y="359"/>
                  </a:lnTo>
                  <a:lnTo>
                    <a:pt x="493" y="356"/>
                  </a:lnTo>
                  <a:lnTo>
                    <a:pt x="491" y="354"/>
                  </a:lnTo>
                  <a:lnTo>
                    <a:pt x="494" y="353"/>
                  </a:lnTo>
                  <a:lnTo>
                    <a:pt x="494" y="351"/>
                  </a:lnTo>
                  <a:lnTo>
                    <a:pt x="493" y="349"/>
                  </a:lnTo>
                  <a:lnTo>
                    <a:pt x="496" y="349"/>
                  </a:lnTo>
                  <a:lnTo>
                    <a:pt x="499" y="348"/>
                  </a:lnTo>
                  <a:lnTo>
                    <a:pt x="496" y="338"/>
                  </a:lnTo>
                  <a:lnTo>
                    <a:pt x="497" y="333"/>
                  </a:lnTo>
                  <a:lnTo>
                    <a:pt x="499" y="332"/>
                  </a:lnTo>
                  <a:lnTo>
                    <a:pt x="499" y="336"/>
                  </a:lnTo>
                  <a:lnTo>
                    <a:pt x="500" y="336"/>
                  </a:lnTo>
                  <a:lnTo>
                    <a:pt x="500" y="332"/>
                  </a:lnTo>
                  <a:lnTo>
                    <a:pt x="500" y="330"/>
                  </a:lnTo>
                  <a:lnTo>
                    <a:pt x="501" y="331"/>
                  </a:lnTo>
                  <a:lnTo>
                    <a:pt x="502" y="329"/>
                  </a:lnTo>
                  <a:lnTo>
                    <a:pt x="505" y="329"/>
                  </a:lnTo>
                  <a:lnTo>
                    <a:pt x="507" y="330"/>
                  </a:lnTo>
                  <a:lnTo>
                    <a:pt x="507" y="333"/>
                  </a:lnTo>
                  <a:lnTo>
                    <a:pt x="507" y="337"/>
                  </a:lnTo>
                  <a:lnTo>
                    <a:pt x="507" y="338"/>
                  </a:lnTo>
                  <a:lnTo>
                    <a:pt x="508" y="338"/>
                  </a:lnTo>
                  <a:lnTo>
                    <a:pt x="510" y="341"/>
                  </a:lnTo>
                  <a:lnTo>
                    <a:pt x="511" y="338"/>
                  </a:lnTo>
                  <a:lnTo>
                    <a:pt x="511" y="332"/>
                  </a:lnTo>
                  <a:lnTo>
                    <a:pt x="510" y="330"/>
                  </a:lnTo>
                  <a:lnTo>
                    <a:pt x="511" y="327"/>
                  </a:lnTo>
                  <a:lnTo>
                    <a:pt x="513" y="325"/>
                  </a:lnTo>
                  <a:lnTo>
                    <a:pt x="513" y="323"/>
                  </a:lnTo>
                  <a:lnTo>
                    <a:pt x="512" y="319"/>
                  </a:lnTo>
                  <a:lnTo>
                    <a:pt x="512" y="315"/>
                  </a:lnTo>
                  <a:lnTo>
                    <a:pt x="514" y="313"/>
                  </a:lnTo>
                  <a:lnTo>
                    <a:pt x="514" y="317"/>
                  </a:lnTo>
                  <a:lnTo>
                    <a:pt x="519" y="315"/>
                  </a:lnTo>
                  <a:lnTo>
                    <a:pt x="520" y="318"/>
                  </a:lnTo>
                  <a:lnTo>
                    <a:pt x="522" y="315"/>
                  </a:lnTo>
                  <a:lnTo>
                    <a:pt x="523" y="314"/>
                  </a:lnTo>
                  <a:lnTo>
                    <a:pt x="524" y="314"/>
                  </a:lnTo>
                  <a:lnTo>
                    <a:pt x="523" y="323"/>
                  </a:lnTo>
                  <a:lnTo>
                    <a:pt x="524" y="324"/>
                  </a:lnTo>
                  <a:lnTo>
                    <a:pt x="526" y="324"/>
                  </a:lnTo>
                  <a:lnTo>
                    <a:pt x="526" y="321"/>
                  </a:lnTo>
                  <a:lnTo>
                    <a:pt x="525" y="315"/>
                  </a:lnTo>
                  <a:lnTo>
                    <a:pt x="525" y="312"/>
                  </a:lnTo>
                  <a:lnTo>
                    <a:pt x="526" y="309"/>
                  </a:lnTo>
                  <a:lnTo>
                    <a:pt x="529" y="308"/>
                  </a:lnTo>
                  <a:lnTo>
                    <a:pt x="528" y="304"/>
                  </a:lnTo>
                  <a:lnTo>
                    <a:pt x="531" y="306"/>
                  </a:lnTo>
                  <a:lnTo>
                    <a:pt x="530" y="303"/>
                  </a:lnTo>
                  <a:lnTo>
                    <a:pt x="530" y="300"/>
                  </a:lnTo>
                  <a:lnTo>
                    <a:pt x="531" y="298"/>
                  </a:lnTo>
                  <a:lnTo>
                    <a:pt x="534" y="302"/>
                  </a:lnTo>
                  <a:lnTo>
                    <a:pt x="536" y="302"/>
                  </a:lnTo>
                  <a:lnTo>
                    <a:pt x="537" y="300"/>
                  </a:lnTo>
                  <a:lnTo>
                    <a:pt x="538" y="298"/>
                  </a:lnTo>
                  <a:lnTo>
                    <a:pt x="538" y="297"/>
                  </a:lnTo>
                  <a:lnTo>
                    <a:pt x="538" y="295"/>
                  </a:lnTo>
                  <a:lnTo>
                    <a:pt x="538" y="291"/>
                  </a:lnTo>
                  <a:lnTo>
                    <a:pt x="538" y="290"/>
                  </a:lnTo>
                  <a:lnTo>
                    <a:pt x="540" y="290"/>
                  </a:lnTo>
                  <a:lnTo>
                    <a:pt x="541" y="291"/>
                  </a:lnTo>
                  <a:lnTo>
                    <a:pt x="542" y="290"/>
                  </a:lnTo>
                  <a:lnTo>
                    <a:pt x="538" y="288"/>
                  </a:lnTo>
                  <a:lnTo>
                    <a:pt x="538" y="285"/>
                  </a:lnTo>
                  <a:lnTo>
                    <a:pt x="537" y="284"/>
                  </a:lnTo>
                  <a:lnTo>
                    <a:pt x="534" y="284"/>
                  </a:lnTo>
                  <a:lnTo>
                    <a:pt x="534" y="283"/>
                  </a:lnTo>
                  <a:lnTo>
                    <a:pt x="535" y="282"/>
                  </a:lnTo>
                  <a:lnTo>
                    <a:pt x="537" y="282"/>
                  </a:lnTo>
                  <a:lnTo>
                    <a:pt x="538" y="282"/>
                  </a:lnTo>
                  <a:lnTo>
                    <a:pt x="540" y="283"/>
                  </a:lnTo>
                  <a:lnTo>
                    <a:pt x="541" y="285"/>
                  </a:lnTo>
                  <a:lnTo>
                    <a:pt x="541" y="288"/>
                  </a:lnTo>
                  <a:lnTo>
                    <a:pt x="542" y="288"/>
                  </a:lnTo>
                  <a:lnTo>
                    <a:pt x="542" y="286"/>
                  </a:lnTo>
                  <a:lnTo>
                    <a:pt x="544" y="289"/>
                  </a:lnTo>
                  <a:lnTo>
                    <a:pt x="544" y="286"/>
                  </a:lnTo>
                  <a:lnTo>
                    <a:pt x="543" y="285"/>
                  </a:lnTo>
                  <a:lnTo>
                    <a:pt x="543" y="283"/>
                  </a:lnTo>
                  <a:lnTo>
                    <a:pt x="544" y="282"/>
                  </a:lnTo>
                  <a:lnTo>
                    <a:pt x="546" y="283"/>
                  </a:lnTo>
                  <a:lnTo>
                    <a:pt x="547" y="283"/>
                  </a:lnTo>
                  <a:lnTo>
                    <a:pt x="548" y="280"/>
                  </a:lnTo>
                  <a:lnTo>
                    <a:pt x="547" y="279"/>
                  </a:lnTo>
                  <a:lnTo>
                    <a:pt x="544" y="279"/>
                  </a:lnTo>
                  <a:lnTo>
                    <a:pt x="543" y="279"/>
                  </a:lnTo>
                  <a:lnTo>
                    <a:pt x="542" y="278"/>
                  </a:lnTo>
                  <a:lnTo>
                    <a:pt x="540" y="277"/>
                  </a:lnTo>
                  <a:lnTo>
                    <a:pt x="544" y="276"/>
                  </a:lnTo>
                  <a:lnTo>
                    <a:pt x="546" y="274"/>
                  </a:lnTo>
                  <a:lnTo>
                    <a:pt x="541" y="274"/>
                  </a:lnTo>
                  <a:lnTo>
                    <a:pt x="541" y="273"/>
                  </a:lnTo>
                  <a:lnTo>
                    <a:pt x="544" y="272"/>
                  </a:lnTo>
                  <a:lnTo>
                    <a:pt x="547" y="272"/>
                  </a:lnTo>
                  <a:lnTo>
                    <a:pt x="549" y="272"/>
                  </a:lnTo>
                  <a:lnTo>
                    <a:pt x="549" y="270"/>
                  </a:lnTo>
                  <a:lnTo>
                    <a:pt x="550" y="270"/>
                  </a:lnTo>
                  <a:lnTo>
                    <a:pt x="550" y="271"/>
                  </a:lnTo>
                  <a:lnTo>
                    <a:pt x="552" y="271"/>
                  </a:lnTo>
                  <a:lnTo>
                    <a:pt x="554" y="271"/>
                  </a:lnTo>
                  <a:lnTo>
                    <a:pt x="553" y="270"/>
                  </a:lnTo>
                  <a:lnTo>
                    <a:pt x="552" y="268"/>
                  </a:lnTo>
                  <a:lnTo>
                    <a:pt x="554" y="267"/>
                  </a:lnTo>
                  <a:lnTo>
                    <a:pt x="554" y="268"/>
                  </a:lnTo>
                  <a:lnTo>
                    <a:pt x="558" y="270"/>
                  </a:lnTo>
                  <a:lnTo>
                    <a:pt x="559" y="270"/>
                  </a:lnTo>
                  <a:lnTo>
                    <a:pt x="559" y="268"/>
                  </a:lnTo>
                  <a:lnTo>
                    <a:pt x="555" y="266"/>
                  </a:lnTo>
                  <a:lnTo>
                    <a:pt x="554" y="265"/>
                  </a:lnTo>
                  <a:lnTo>
                    <a:pt x="559" y="265"/>
                  </a:lnTo>
                  <a:lnTo>
                    <a:pt x="560" y="264"/>
                  </a:lnTo>
                  <a:lnTo>
                    <a:pt x="554" y="262"/>
                  </a:lnTo>
                  <a:lnTo>
                    <a:pt x="553" y="264"/>
                  </a:lnTo>
                  <a:lnTo>
                    <a:pt x="552" y="262"/>
                  </a:lnTo>
                  <a:lnTo>
                    <a:pt x="550" y="261"/>
                  </a:lnTo>
                  <a:lnTo>
                    <a:pt x="549" y="260"/>
                  </a:lnTo>
                  <a:lnTo>
                    <a:pt x="549" y="265"/>
                  </a:lnTo>
                  <a:lnTo>
                    <a:pt x="548" y="265"/>
                  </a:lnTo>
                  <a:lnTo>
                    <a:pt x="547" y="266"/>
                  </a:lnTo>
                  <a:lnTo>
                    <a:pt x="546" y="267"/>
                  </a:lnTo>
                  <a:lnTo>
                    <a:pt x="546" y="268"/>
                  </a:lnTo>
                  <a:lnTo>
                    <a:pt x="544" y="268"/>
                  </a:lnTo>
                  <a:lnTo>
                    <a:pt x="543" y="268"/>
                  </a:lnTo>
                  <a:lnTo>
                    <a:pt x="542" y="267"/>
                  </a:lnTo>
                  <a:lnTo>
                    <a:pt x="542" y="265"/>
                  </a:lnTo>
                  <a:lnTo>
                    <a:pt x="541" y="265"/>
                  </a:lnTo>
                  <a:lnTo>
                    <a:pt x="540" y="265"/>
                  </a:lnTo>
                  <a:lnTo>
                    <a:pt x="540" y="266"/>
                  </a:lnTo>
                  <a:lnTo>
                    <a:pt x="540" y="267"/>
                  </a:lnTo>
                  <a:lnTo>
                    <a:pt x="538" y="268"/>
                  </a:lnTo>
                  <a:lnTo>
                    <a:pt x="538" y="270"/>
                  </a:lnTo>
                  <a:lnTo>
                    <a:pt x="538" y="272"/>
                  </a:lnTo>
                  <a:lnTo>
                    <a:pt x="538" y="273"/>
                  </a:lnTo>
                  <a:lnTo>
                    <a:pt x="537" y="273"/>
                  </a:lnTo>
                  <a:lnTo>
                    <a:pt x="536" y="272"/>
                  </a:lnTo>
                  <a:lnTo>
                    <a:pt x="535" y="271"/>
                  </a:lnTo>
                  <a:lnTo>
                    <a:pt x="534" y="270"/>
                  </a:lnTo>
                  <a:lnTo>
                    <a:pt x="532" y="270"/>
                  </a:lnTo>
                  <a:lnTo>
                    <a:pt x="531" y="270"/>
                  </a:lnTo>
                  <a:lnTo>
                    <a:pt x="530" y="270"/>
                  </a:lnTo>
                  <a:lnTo>
                    <a:pt x="529" y="268"/>
                  </a:lnTo>
                  <a:lnTo>
                    <a:pt x="530" y="267"/>
                  </a:lnTo>
                  <a:lnTo>
                    <a:pt x="531" y="267"/>
                  </a:lnTo>
                  <a:lnTo>
                    <a:pt x="534" y="266"/>
                  </a:lnTo>
                  <a:lnTo>
                    <a:pt x="535" y="265"/>
                  </a:lnTo>
                  <a:lnTo>
                    <a:pt x="535" y="264"/>
                  </a:lnTo>
                  <a:lnTo>
                    <a:pt x="536" y="262"/>
                  </a:lnTo>
                  <a:lnTo>
                    <a:pt x="537" y="262"/>
                  </a:lnTo>
                  <a:lnTo>
                    <a:pt x="538" y="262"/>
                  </a:lnTo>
                  <a:lnTo>
                    <a:pt x="538" y="261"/>
                  </a:lnTo>
                  <a:lnTo>
                    <a:pt x="538" y="260"/>
                  </a:lnTo>
                  <a:lnTo>
                    <a:pt x="540" y="260"/>
                  </a:lnTo>
                  <a:lnTo>
                    <a:pt x="541" y="261"/>
                  </a:lnTo>
                  <a:lnTo>
                    <a:pt x="542" y="261"/>
                  </a:lnTo>
                  <a:lnTo>
                    <a:pt x="541" y="262"/>
                  </a:lnTo>
                  <a:lnTo>
                    <a:pt x="541" y="264"/>
                  </a:lnTo>
                  <a:lnTo>
                    <a:pt x="542" y="262"/>
                  </a:lnTo>
                  <a:lnTo>
                    <a:pt x="543" y="261"/>
                  </a:lnTo>
                  <a:lnTo>
                    <a:pt x="544" y="261"/>
                  </a:lnTo>
                  <a:lnTo>
                    <a:pt x="544" y="262"/>
                  </a:lnTo>
                  <a:lnTo>
                    <a:pt x="546" y="262"/>
                  </a:lnTo>
                  <a:lnTo>
                    <a:pt x="546" y="261"/>
                  </a:lnTo>
                  <a:lnTo>
                    <a:pt x="542" y="259"/>
                  </a:lnTo>
                  <a:lnTo>
                    <a:pt x="544" y="258"/>
                  </a:lnTo>
                  <a:lnTo>
                    <a:pt x="546" y="256"/>
                  </a:lnTo>
                  <a:lnTo>
                    <a:pt x="547" y="256"/>
                  </a:lnTo>
                  <a:lnTo>
                    <a:pt x="549" y="256"/>
                  </a:lnTo>
                  <a:lnTo>
                    <a:pt x="548" y="255"/>
                  </a:lnTo>
                  <a:lnTo>
                    <a:pt x="543" y="256"/>
                  </a:lnTo>
                  <a:lnTo>
                    <a:pt x="540" y="258"/>
                  </a:lnTo>
                  <a:lnTo>
                    <a:pt x="535" y="258"/>
                  </a:lnTo>
                  <a:lnTo>
                    <a:pt x="532" y="261"/>
                  </a:lnTo>
                  <a:lnTo>
                    <a:pt x="534" y="264"/>
                  </a:lnTo>
                  <a:lnTo>
                    <a:pt x="531" y="265"/>
                  </a:lnTo>
                  <a:lnTo>
                    <a:pt x="530" y="265"/>
                  </a:lnTo>
                  <a:lnTo>
                    <a:pt x="528" y="262"/>
                  </a:lnTo>
                  <a:lnTo>
                    <a:pt x="528" y="261"/>
                  </a:lnTo>
                  <a:lnTo>
                    <a:pt x="531" y="261"/>
                  </a:lnTo>
                  <a:lnTo>
                    <a:pt x="526" y="260"/>
                  </a:lnTo>
                  <a:lnTo>
                    <a:pt x="526" y="258"/>
                  </a:lnTo>
                  <a:lnTo>
                    <a:pt x="525" y="258"/>
                  </a:lnTo>
                  <a:lnTo>
                    <a:pt x="525" y="260"/>
                  </a:lnTo>
                  <a:lnTo>
                    <a:pt x="525" y="261"/>
                  </a:lnTo>
                  <a:lnTo>
                    <a:pt x="525" y="262"/>
                  </a:lnTo>
                  <a:lnTo>
                    <a:pt x="525" y="266"/>
                  </a:lnTo>
                  <a:lnTo>
                    <a:pt x="522" y="268"/>
                  </a:lnTo>
                  <a:lnTo>
                    <a:pt x="520" y="270"/>
                  </a:lnTo>
                  <a:lnTo>
                    <a:pt x="518" y="271"/>
                  </a:lnTo>
                  <a:lnTo>
                    <a:pt x="516" y="271"/>
                  </a:lnTo>
                  <a:lnTo>
                    <a:pt x="516" y="270"/>
                  </a:lnTo>
                  <a:lnTo>
                    <a:pt x="516" y="267"/>
                  </a:lnTo>
                  <a:lnTo>
                    <a:pt x="514" y="267"/>
                  </a:lnTo>
                  <a:lnTo>
                    <a:pt x="513" y="268"/>
                  </a:lnTo>
                  <a:lnTo>
                    <a:pt x="512" y="268"/>
                  </a:lnTo>
                  <a:lnTo>
                    <a:pt x="512" y="266"/>
                  </a:lnTo>
                  <a:lnTo>
                    <a:pt x="512" y="265"/>
                  </a:lnTo>
                  <a:lnTo>
                    <a:pt x="510" y="267"/>
                  </a:lnTo>
                  <a:lnTo>
                    <a:pt x="508" y="266"/>
                  </a:lnTo>
                  <a:lnTo>
                    <a:pt x="507" y="265"/>
                  </a:lnTo>
                  <a:lnTo>
                    <a:pt x="506" y="262"/>
                  </a:lnTo>
                  <a:lnTo>
                    <a:pt x="507" y="261"/>
                  </a:lnTo>
                  <a:lnTo>
                    <a:pt x="508" y="261"/>
                  </a:lnTo>
                  <a:lnTo>
                    <a:pt x="510" y="261"/>
                  </a:lnTo>
                  <a:lnTo>
                    <a:pt x="511" y="260"/>
                  </a:lnTo>
                  <a:lnTo>
                    <a:pt x="511" y="259"/>
                  </a:lnTo>
                  <a:lnTo>
                    <a:pt x="512" y="256"/>
                  </a:lnTo>
                  <a:lnTo>
                    <a:pt x="513" y="256"/>
                  </a:lnTo>
                  <a:lnTo>
                    <a:pt x="514" y="255"/>
                  </a:lnTo>
                  <a:lnTo>
                    <a:pt x="517" y="255"/>
                  </a:lnTo>
                  <a:lnTo>
                    <a:pt x="518" y="255"/>
                  </a:lnTo>
                  <a:lnTo>
                    <a:pt x="518" y="254"/>
                  </a:lnTo>
                  <a:lnTo>
                    <a:pt x="518" y="253"/>
                  </a:lnTo>
                  <a:lnTo>
                    <a:pt x="519" y="252"/>
                  </a:lnTo>
                  <a:lnTo>
                    <a:pt x="522" y="254"/>
                  </a:lnTo>
                  <a:lnTo>
                    <a:pt x="524" y="254"/>
                  </a:lnTo>
                  <a:lnTo>
                    <a:pt x="524" y="253"/>
                  </a:lnTo>
                  <a:lnTo>
                    <a:pt x="520" y="252"/>
                  </a:lnTo>
                  <a:lnTo>
                    <a:pt x="519" y="250"/>
                  </a:lnTo>
                  <a:lnTo>
                    <a:pt x="519" y="249"/>
                  </a:lnTo>
                  <a:lnTo>
                    <a:pt x="522" y="248"/>
                  </a:lnTo>
                  <a:lnTo>
                    <a:pt x="519" y="248"/>
                  </a:lnTo>
                  <a:lnTo>
                    <a:pt x="518" y="248"/>
                  </a:lnTo>
                  <a:lnTo>
                    <a:pt x="519" y="246"/>
                  </a:lnTo>
                  <a:lnTo>
                    <a:pt x="520" y="243"/>
                  </a:lnTo>
                  <a:lnTo>
                    <a:pt x="519" y="243"/>
                  </a:lnTo>
                  <a:lnTo>
                    <a:pt x="517" y="247"/>
                  </a:lnTo>
                  <a:lnTo>
                    <a:pt x="516" y="248"/>
                  </a:lnTo>
                  <a:lnTo>
                    <a:pt x="516" y="247"/>
                  </a:lnTo>
                  <a:lnTo>
                    <a:pt x="513" y="247"/>
                  </a:lnTo>
                  <a:lnTo>
                    <a:pt x="512" y="248"/>
                  </a:lnTo>
                  <a:lnTo>
                    <a:pt x="511" y="249"/>
                  </a:lnTo>
                  <a:lnTo>
                    <a:pt x="511" y="250"/>
                  </a:lnTo>
                  <a:lnTo>
                    <a:pt x="510" y="252"/>
                  </a:lnTo>
                  <a:lnTo>
                    <a:pt x="507" y="253"/>
                  </a:lnTo>
                  <a:lnTo>
                    <a:pt x="507" y="252"/>
                  </a:lnTo>
                  <a:lnTo>
                    <a:pt x="506" y="250"/>
                  </a:lnTo>
                  <a:lnTo>
                    <a:pt x="505" y="252"/>
                  </a:lnTo>
                  <a:lnTo>
                    <a:pt x="503" y="254"/>
                  </a:lnTo>
                  <a:lnTo>
                    <a:pt x="501" y="254"/>
                  </a:lnTo>
                  <a:lnTo>
                    <a:pt x="500" y="252"/>
                  </a:lnTo>
                  <a:lnTo>
                    <a:pt x="499" y="253"/>
                  </a:lnTo>
                  <a:lnTo>
                    <a:pt x="499" y="255"/>
                  </a:lnTo>
                  <a:lnTo>
                    <a:pt x="497" y="256"/>
                  </a:lnTo>
                  <a:lnTo>
                    <a:pt x="495" y="256"/>
                  </a:lnTo>
                  <a:lnTo>
                    <a:pt x="490" y="255"/>
                  </a:lnTo>
                  <a:lnTo>
                    <a:pt x="489" y="254"/>
                  </a:lnTo>
                  <a:lnTo>
                    <a:pt x="487" y="252"/>
                  </a:lnTo>
                  <a:lnTo>
                    <a:pt x="485" y="249"/>
                  </a:lnTo>
                  <a:lnTo>
                    <a:pt x="484" y="247"/>
                  </a:lnTo>
                  <a:lnTo>
                    <a:pt x="485" y="246"/>
                  </a:lnTo>
                  <a:lnTo>
                    <a:pt x="487" y="246"/>
                  </a:lnTo>
                  <a:lnTo>
                    <a:pt x="484" y="244"/>
                  </a:lnTo>
                  <a:lnTo>
                    <a:pt x="483" y="243"/>
                  </a:lnTo>
                  <a:lnTo>
                    <a:pt x="483" y="242"/>
                  </a:lnTo>
                  <a:lnTo>
                    <a:pt x="487" y="242"/>
                  </a:lnTo>
                  <a:lnTo>
                    <a:pt x="488" y="242"/>
                  </a:lnTo>
                  <a:lnTo>
                    <a:pt x="488" y="241"/>
                  </a:lnTo>
                  <a:lnTo>
                    <a:pt x="487" y="241"/>
                  </a:lnTo>
                  <a:lnTo>
                    <a:pt x="483" y="241"/>
                  </a:lnTo>
                  <a:lnTo>
                    <a:pt x="482" y="238"/>
                  </a:lnTo>
                  <a:lnTo>
                    <a:pt x="482" y="235"/>
                  </a:lnTo>
                  <a:lnTo>
                    <a:pt x="483" y="235"/>
                  </a:lnTo>
                  <a:lnTo>
                    <a:pt x="484" y="235"/>
                  </a:lnTo>
                  <a:lnTo>
                    <a:pt x="485" y="235"/>
                  </a:lnTo>
                  <a:lnTo>
                    <a:pt x="485" y="238"/>
                  </a:lnTo>
                  <a:lnTo>
                    <a:pt x="487" y="237"/>
                  </a:lnTo>
                  <a:lnTo>
                    <a:pt x="487" y="236"/>
                  </a:lnTo>
                  <a:lnTo>
                    <a:pt x="488" y="235"/>
                  </a:lnTo>
                  <a:lnTo>
                    <a:pt x="489" y="235"/>
                  </a:lnTo>
                  <a:lnTo>
                    <a:pt x="490" y="234"/>
                  </a:lnTo>
                  <a:lnTo>
                    <a:pt x="489" y="232"/>
                  </a:lnTo>
                  <a:lnTo>
                    <a:pt x="490" y="232"/>
                  </a:lnTo>
                  <a:lnTo>
                    <a:pt x="491" y="234"/>
                  </a:lnTo>
                  <a:lnTo>
                    <a:pt x="490" y="235"/>
                  </a:lnTo>
                  <a:lnTo>
                    <a:pt x="491" y="236"/>
                  </a:lnTo>
                  <a:lnTo>
                    <a:pt x="493" y="234"/>
                  </a:lnTo>
                  <a:lnTo>
                    <a:pt x="494" y="234"/>
                  </a:lnTo>
                  <a:lnTo>
                    <a:pt x="495" y="235"/>
                  </a:lnTo>
                  <a:lnTo>
                    <a:pt x="496" y="235"/>
                  </a:lnTo>
                  <a:lnTo>
                    <a:pt x="496" y="232"/>
                  </a:lnTo>
                  <a:lnTo>
                    <a:pt x="497" y="232"/>
                  </a:lnTo>
                  <a:lnTo>
                    <a:pt x="499" y="228"/>
                  </a:lnTo>
                  <a:lnTo>
                    <a:pt x="500" y="229"/>
                  </a:lnTo>
                  <a:lnTo>
                    <a:pt x="500" y="230"/>
                  </a:lnTo>
                  <a:lnTo>
                    <a:pt x="501" y="230"/>
                  </a:lnTo>
                  <a:lnTo>
                    <a:pt x="501" y="229"/>
                  </a:lnTo>
                  <a:lnTo>
                    <a:pt x="502" y="229"/>
                  </a:lnTo>
                  <a:lnTo>
                    <a:pt x="503" y="229"/>
                  </a:lnTo>
                  <a:lnTo>
                    <a:pt x="505" y="228"/>
                  </a:lnTo>
                  <a:lnTo>
                    <a:pt x="506" y="225"/>
                  </a:lnTo>
                  <a:lnTo>
                    <a:pt x="507" y="223"/>
                  </a:lnTo>
                  <a:lnTo>
                    <a:pt x="508" y="222"/>
                  </a:lnTo>
                  <a:lnTo>
                    <a:pt x="510" y="222"/>
                  </a:lnTo>
                  <a:lnTo>
                    <a:pt x="508" y="219"/>
                  </a:lnTo>
                  <a:lnTo>
                    <a:pt x="508" y="218"/>
                  </a:lnTo>
                  <a:lnTo>
                    <a:pt x="511" y="219"/>
                  </a:lnTo>
                  <a:lnTo>
                    <a:pt x="512" y="219"/>
                  </a:lnTo>
                  <a:lnTo>
                    <a:pt x="511" y="218"/>
                  </a:lnTo>
                  <a:lnTo>
                    <a:pt x="508" y="216"/>
                  </a:lnTo>
                  <a:lnTo>
                    <a:pt x="508" y="214"/>
                  </a:lnTo>
                  <a:lnTo>
                    <a:pt x="510" y="213"/>
                  </a:lnTo>
                  <a:lnTo>
                    <a:pt x="510" y="216"/>
                  </a:lnTo>
                  <a:lnTo>
                    <a:pt x="511" y="216"/>
                  </a:lnTo>
                  <a:lnTo>
                    <a:pt x="512" y="216"/>
                  </a:lnTo>
                  <a:lnTo>
                    <a:pt x="513" y="216"/>
                  </a:lnTo>
                  <a:lnTo>
                    <a:pt x="513" y="217"/>
                  </a:lnTo>
                  <a:lnTo>
                    <a:pt x="514" y="217"/>
                  </a:lnTo>
                  <a:lnTo>
                    <a:pt x="514" y="216"/>
                  </a:lnTo>
                  <a:lnTo>
                    <a:pt x="514" y="214"/>
                  </a:lnTo>
                  <a:lnTo>
                    <a:pt x="516" y="216"/>
                  </a:lnTo>
                  <a:lnTo>
                    <a:pt x="517" y="216"/>
                  </a:lnTo>
                  <a:lnTo>
                    <a:pt x="517" y="214"/>
                  </a:lnTo>
                  <a:lnTo>
                    <a:pt x="513" y="212"/>
                  </a:lnTo>
                  <a:lnTo>
                    <a:pt x="513" y="211"/>
                  </a:lnTo>
                  <a:lnTo>
                    <a:pt x="512" y="211"/>
                  </a:lnTo>
                  <a:lnTo>
                    <a:pt x="508" y="208"/>
                  </a:lnTo>
                  <a:lnTo>
                    <a:pt x="513" y="208"/>
                  </a:lnTo>
                  <a:lnTo>
                    <a:pt x="513" y="207"/>
                  </a:lnTo>
                  <a:lnTo>
                    <a:pt x="516" y="207"/>
                  </a:lnTo>
                  <a:lnTo>
                    <a:pt x="518" y="210"/>
                  </a:lnTo>
                  <a:lnTo>
                    <a:pt x="519" y="210"/>
                  </a:lnTo>
                  <a:lnTo>
                    <a:pt x="516" y="206"/>
                  </a:lnTo>
                  <a:lnTo>
                    <a:pt x="517" y="205"/>
                  </a:lnTo>
                  <a:lnTo>
                    <a:pt x="519" y="205"/>
                  </a:lnTo>
                  <a:lnTo>
                    <a:pt x="523" y="208"/>
                  </a:lnTo>
                  <a:lnTo>
                    <a:pt x="525" y="207"/>
                  </a:lnTo>
                  <a:lnTo>
                    <a:pt x="522" y="204"/>
                  </a:lnTo>
                  <a:lnTo>
                    <a:pt x="520" y="204"/>
                  </a:lnTo>
                  <a:lnTo>
                    <a:pt x="523" y="202"/>
                  </a:lnTo>
                  <a:lnTo>
                    <a:pt x="528" y="202"/>
                  </a:lnTo>
                  <a:lnTo>
                    <a:pt x="528" y="205"/>
                  </a:lnTo>
                  <a:lnTo>
                    <a:pt x="529" y="204"/>
                  </a:lnTo>
                  <a:lnTo>
                    <a:pt x="529" y="202"/>
                  </a:lnTo>
                  <a:lnTo>
                    <a:pt x="529" y="201"/>
                  </a:lnTo>
                  <a:lnTo>
                    <a:pt x="529" y="197"/>
                  </a:lnTo>
                  <a:lnTo>
                    <a:pt x="532" y="197"/>
                  </a:lnTo>
                  <a:lnTo>
                    <a:pt x="532" y="199"/>
                  </a:lnTo>
                  <a:lnTo>
                    <a:pt x="535" y="199"/>
                  </a:lnTo>
                  <a:lnTo>
                    <a:pt x="535" y="197"/>
                  </a:lnTo>
                  <a:lnTo>
                    <a:pt x="534" y="197"/>
                  </a:lnTo>
                  <a:lnTo>
                    <a:pt x="532" y="196"/>
                  </a:lnTo>
                  <a:lnTo>
                    <a:pt x="532" y="195"/>
                  </a:lnTo>
                  <a:lnTo>
                    <a:pt x="534" y="194"/>
                  </a:lnTo>
                  <a:lnTo>
                    <a:pt x="535" y="194"/>
                  </a:lnTo>
                  <a:lnTo>
                    <a:pt x="538" y="194"/>
                  </a:lnTo>
                  <a:lnTo>
                    <a:pt x="540" y="195"/>
                  </a:lnTo>
                  <a:lnTo>
                    <a:pt x="542" y="195"/>
                  </a:lnTo>
                  <a:lnTo>
                    <a:pt x="542" y="193"/>
                  </a:lnTo>
                  <a:lnTo>
                    <a:pt x="538" y="193"/>
                  </a:lnTo>
                  <a:lnTo>
                    <a:pt x="538" y="191"/>
                  </a:lnTo>
                  <a:lnTo>
                    <a:pt x="540" y="189"/>
                  </a:lnTo>
                  <a:lnTo>
                    <a:pt x="541" y="188"/>
                  </a:lnTo>
                  <a:lnTo>
                    <a:pt x="541" y="187"/>
                  </a:lnTo>
                  <a:lnTo>
                    <a:pt x="538" y="187"/>
                  </a:lnTo>
                  <a:lnTo>
                    <a:pt x="536" y="189"/>
                  </a:lnTo>
                  <a:lnTo>
                    <a:pt x="531" y="190"/>
                  </a:lnTo>
                  <a:lnTo>
                    <a:pt x="530" y="193"/>
                  </a:lnTo>
                  <a:lnTo>
                    <a:pt x="530" y="194"/>
                  </a:lnTo>
                  <a:lnTo>
                    <a:pt x="529" y="195"/>
                  </a:lnTo>
                  <a:lnTo>
                    <a:pt x="529" y="194"/>
                  </a:lnTo>
                  <a:lnTo>
                    <a:pt x="529" y="193"/>
                  </a:lnTo>
                  <a:lnTo>
                    <a:pt x="529" y="191"/>
                  </a:lnTo>
                  <a:lnTo>
                    <a:pt x="528" y="194"/>
                  </a:lnTo>
                  <a:lnTo>
                    <a:pt x="526" y="195"/>
                  </a:lnTo>
                  <a:lnTo>
                    <a:pt x="526" y="196"/>
                  </a:lnTo>
                  <a:lnTo>
                    <a:pt x="524" y="196"/>
                  </a:lnTo>
                  <a:lnTo>
                    <a:pt x="523" y="197"/>
                  </a:lnTo>
                  <a:lnTo>
                    <a:pt x="522" y="196"/>
                  </a:lnTo>
                  <a:lnTo>
                    <a:pt x="522" y="195"/>
                  </a:lnTo>
                  <a:lnTo>
                    <a:pt x="522" y="193"/>
                  </a:lnTo>
                  <a:lnTo>
                    <a:pt x="520" y="193"/>
                  </a:lnTo>
                  <a:lnTo>
                    <a:pt x="519" y="194"/>
                  </a:lnTo>
                  <a:lnTo>
                    <a:pt x="519" y="196"/>
                  </a:lnTo>
                  <a:lnTo>
                    <a:pt x="519" y="201"/>
                  </a:lnTo>
                  <a:lnTo>
                    <a:pt x="517" y="202"/>
                  </a:lnTo>
                  <a:lnTo>
                    <a:pt x="516" y="199"/>
                  </a:lnTo>
                  <a:lnTo>
                    <a:pt x="516" y="200"/>
                  </a:lnTo>
                  <a:lnTo>
                    <a:pt x="514" y="201"/>
                  </a:lnTo>
                  <a:lnTo>
                    <a:pt x="513" y="201"/>
                  </a:lnTo>
                  <a:lnTo>
                    <a:pt x="512" y="202"/>
                  </a:lnTo>
                  <a:lnTo>
                    <a:pt x="511" y="205"/>
                  </a:lnTo>
                  <a:lnTo>
                    <a:pt x="507" y="205"/>
                  </a:lnTo>
                  <a:lnTo>
                    <a:pt x="505" y="202"/>
                  </a:lnTo>
                  <a:lnTo>
                    <a:pt x="505" y="204"/>
                  </a:lnTo>
                  <a:lnTo>
                    <a:pt x="506" y="205"/>
                  </a:lnTo>
                  <a:lnTo>
                    <a:pt x="495" y="212"/>
                  </a:lnTo>
                  <a:lnTo>
                    <a:pt x="493" y="213"/>
                  </a:lnTo>
                  <a:lnTo>
                    <a:pt x="490" y="214"/>
                  </a:lnTo>
                  <a:lnTo>
                    <a:pt x="489" y="214"/>
                  </a:lnTo>
                  <a:lnTo>
                    <a:pt x="488" y="217"/>
                  </a:lnTo>
                  <a:lnTo>
                    <a:pt x="487" y="218"/>
                  </a:lnTo>
                  <a:lnTo>
                    <a:pt x="484" y="217"/>
                  </a:lnTo>
                  <a:lnTo>
                    <a:pt x="483" y="217"/>
                  </a:lnTo>
                  <a:lnTo>
                    <a:pt x="481" y="216"/>
                  </a:lnTo>
                  <a:lnTo>
                    <a:pt x="481" y="217"/>
                  </a:lnTo>
                  <a:lnTo>
                    <a:pt x="478" y="217"/>
                  </a:lnTo>
                  <a:lnTo>
                    <a:pt x="476" y="217"/>
                  </a:lnTo>
                  <a:lnTo>
                    <a:pt x="472" y="214"/>
                  </a:lnTo>
                  <a:lnTo>
                    <a:pt x="470" y="212"/>
                  </a:lnTo>
                  <a:lnTo>
                    <a:pt x="467" y="212"/>
                  </a:lnTo>
                  <a:lnTo>
                    <a:pt x="466" y="212"/>
                  </a:lnTo>
                  <a:lnTo>
                    <a:pt x="463" y="213"/>
                  </a:lnTo>
                  <a:lnTo>
                    <a:pt x="460" y="213"/>
                  </a:lnTo>
                  <a:lnTo>
                    <a:pt x="459" y="211"/>
                  </a:lnTo>
                  <a:lnTo>
                    <a:pt x="459" y="207"/>
                  </a:lnTo>
                  <a:lnTo>
                    <a:pt x="458" y="205"/>
                  </a:lnTo>
                  <a:lnTo>
                    <a:pt x="459" y="205"/>
                  </a:lnTo>
                  <a:lnTo>
                    <a:pt x="460" y="207"/>
                  </a:lnTo>
                  <a:lnTo>
                    <a:pt x="464" y="208"/>
                  </a:lnTo>
                  <a:lnTo>
                    <a:pt x="466" y="208"/>
                  </a:lnTo>
                  <a:lnTo>
                    <a:pt x="467" y="208"/>
                  </a:lnTo>
                  <a:lnTo>
                    <a:pt x="465" y="207"/>
                  </a:lnTo>
                  <a:lnTo>
                    <a:pt x="463" y="206"/>
                  </a:lnTo>
                  <a:lnTo>
                    <a:pt x="460" y="204"/>
                  </a:lnTo>
                  <a:lnTo>
                    <a:pt x="459" y="202"/>
                  </a:lnTo>
                  <a:lnTo>
                    <a:pt x="459" y="201"/>
                  </a:lnTo>
                  <a:lnTo>
                    <a:pt x="461" y="201"/>
                  </a:lnTo>
                  <a:lnTo>
                    <a:pt x="461" y="200"/>
                  </a:lnTo>
                  <a:lnTo>
                    <a:pt x="460" y="200"/>
                  </a:lnTo>
                  <a:lnTo>
                    <a:pt x="459" y="197"/>
                  </a:lnTo>
                  <a:lnTo>
                    <a:pt x="460" y="196"/>
                  </a:lnTo>
                  <a:lnTo>
                    <a:pt x="463" y="196"/>
                  </a:lnTo>
                  <a:lnTo>
                    <a:pt x="464" y="195"/>
                  </a:lnTo>
                  <a:lnTo>
                    <a:pt x="465" y="194"/>
                  </a:lnTo>
                  <a:lnTo>
                    <a:pt x="464" y="194"/>
                  </a:lnTo>
                  <a:lnTo>
                    <a:pt x="460" y="194"/>
                  </a:lnTo>
                  <a:lnTo>
                    <a:pt x="457" y="195"/>
                  </a:lnTo>
                  <a:lnTo>
                    <a:pt x="454" y="196"/>
                  </a:lnTo>
                  <a:lnTo>
                    <a:pt x="448" y="189"/>
                  </a:lnTo>
                  <a:lnTo>
                    <a:pt x="446" y="189"/>
                  </a:lnTo>
                  <a:lnTo>
                    <a:pt x="444" y="188"/>
                  </a:lnTo>
                  <a:lnTo>
                    <a:pt x="444" y="187"/>
                  </a:lnTo>
                  <a:lnTo>
                    <a:pt x="443" y="185"/>
                  </a:lnTo>
                  <a:lnTo>
                    <a:pt x="441" y="184"/>
                  </a:lnTo>
                  <a:lnTo>
                    <a:pt x="440" y="183"/>
                  </a:lnTo>
                  <a:lnTo>
                    <a:pt x="438" y="183"/>
                  </a:lnTo>
                  <a:lnTo>
                    <a:pt x="438" y="181"/>
                  </a:lnTo>
                  <a:lnTo>
                    <a:pt x="437" y="179"/>
                  </a:lnTo>
                  <a:lnTo>
                    <a:pt x="437" y="176"/>
                  </a:lnTo>
                  <a:lnTo>
                    <a:pt x="438" y="175"/>
                  </a:lnTo>
                  <a:lnTo>
                    <a:pt x="440" y="173"/>
                  </a:lnTo>
                  <a:lnTo>
                    <a:pt x="438" y="172"/>
                  </a:lnTo>
                  <a:lnTo>
                    <a:pt x="438" y="171"/>
                  </a:lnTo>
                  <a:lnTo>
                    <a:pt x="440" y="169"/>
                  </a:lnTo>
                  <a:lnTo>
                    <a:pt x="441" y="167"/>
                  </a:lnTo>
                  <a:lnTo>
                    <a:pt x="441" y="170"/>
                  </a:lnTo>
                  <a:lnTo>
                    <a:pt x="442" y="170"/>
                  </a:lnTo>
                  <a:lnTo>
                    <a:pt x="443" y="171"/>
                  </a:lnTo>
                  <a:lnTo>
                    <a:pt x="444" y="172"/>
                  </a:lnTo>
                  <a:lnTo>
                    <a:pt x="446" y="173"/>
                  </a:lnTo>
                  <a:lnTo>
                    <a:pt x="447" y="172"/>
                  </a:lnTo>
                  <a:lnTo>
                    <a:pt x="447" y="171"/>
                  </a:lnTo>
                  <a:lnTo>
                    <a:pt x="447" y="176"/>
                  </a:lnTo>
                  <a:lnTo>
                    <a:pt x="448" y="175"/>
                  </a:lnTo>
                  <a:lnTo>
                    <a:pt x="448" y="173"/>
                  </a:lnTo>
                  <a:lnTo>
                    <a:pt x="448" y="171"/>
                  </a:lnTo>
                  <a:lnTo>
                    <a:pt x="448" y="170"/>
                  </a:lnTo>
                  <a:lnTo>
                    <a:pt x="449" y="171"/>
                  </a:lnTo>
                  <a:lnTo>
                    <a:pt x="453" y="175"/>
                  </a:lnTo>
                  <a:lnTo>
                    <a:pt x="455" y="175"/>
                  </a:lnTo>
                  <a:lnTo>
                    <a:pt x="454" y="173"/>
                  </a:lnTo>
                  <a:lnTo>
                    <a:pt x="451" y="170"/>
                  </a:lnTo>
                  <a:lnTo>
                    <a:pt x="451" y="167"/>
                  </a:lnTo>
                  <a:lnTo>
                    <a:pt x="452" y="169"/>
                  </a:lnTo>
                  <a:lnTo>
                    <a:pt x="453" y="169"/>
                  </a:lnTo>
                  <a:lnTo>
                    <a:pt x="454" y="169"/>
                  </a:lnTo>
                  <a:lnTo>
                    <a:pt x="455" y="170"/>
                  </a:lnTo>
                  <a:lnTo>
                    <a:pt x="457" y="170"/>
                  </a:lnTo>
                  <a:lnTo>
                    <a:pt x="458" y="169"/>
                  </a:lnTo>
                  <a:lnTo>
                    <a:pt x="458" y="166"/>
                  </a:lnTo>
                  <a:lnTo>
                    <a:pt x="458" y="165"/>
                  </a:lnTo>
                  <a:lnTo>
                    <a:pt x="458" y="164"/>
                  </a:lnTo>
                  <a:lnTo>
                    <a:pt x="460" y="164"/>
                  </a:lnTo>
                  <a:lnTo>
                    <a:pt x="459" y="163"/>
                  </a:lnTo>
                  <a:lnTo>
                    <a:pt x="458" y="161"/>
                  </a:lnTo>
                  <a:lnTo>
                    <a:pt x="460" y="160"/>
                  </a:lnTo>
                  <a:lnTo>
                    <a:pt x="461" y="160"/>
                  </a:lnTo>
                  <a:lnTo>
                    <a:pt x="460" y="159"/>
                  </a:lnTo>
                  <a:lnTo>
                    <a:pt x="459" y="158"/>
                  </a:lnTo>
                  <a:lnTo>
                    <a:pt x="458" y="157"/>
                  </a:lnTo>
                  <a:lnTo>
                    <a:pt x="457" y="159"/>
                  </a:lnTo>
                  <a:lnTo>
                    <a:pt x="457" y="158"/>
                  </a:lnTo>
                  <a:lnTo>
                    <a:pt x="458" y="155"/>
                  </a:lnTo>
                  <a:lnTo>
                    <a:pt x="459" y="153"/>
                  </a:lnTo>
                  <a:lnTo>
                    <a:pt x="460" y="152"/>
                  </a:lnTo>
                  <a:lnTo>
                    <a:pt x="463" y="154"/>
                  </a:lnTo>
                  <a:lnTo>
                    <a:pt x="464" y="154"/>
                  </a:lnTo>
                  <a:lnTo>
                    <a:pt x="464" y="153"/>
                  </a:lnTo>
                  <a:lnTo>
                    <a:pt x="463" y="152"/>
                  </a:lnTo>
                  <a:lnTo>
                    <a:pt x="461" y="149"/>
                  </a:lnTo>
                  <a:lnTo>
                    <a:pt x="463" y="149"/>
                  </a:lnTo>
                  <a:lnTo>
                    <a:pt x="464" y="151"/>
                  </a:lnTo>
                  <a:lnTo>
                    <a:pt x="464" y="149"/>
                  </a:lnTo>
                  <a:lnTo>
                    <a:pt x="464" y="143"/>
                  </a:lnTo>
                  <a:lnTo>
                    <a:pt x="465" y="143"/>
                  </a:lnTo>
                  <a:lnTo>
                    <a:pt x="465" y="146"/>
                  </a:lnTo>
                  <a:lnTo>
                    <a:pt x="466" y="147"/>
                  </a:lnTo>
                  <a:lnTo>
                    <a:pt x="467" y="147"/>
                  </a:lnTo>
                  <a:lnTo>
                    <a:pt x="467" y="149"/>
                  </a:lnTo>
                  <a:lnTo>
                    <a:pt x="467" y="151"/>
                  </a:lnTo>
                  <a:lnTo>
                    <a:pt x="469" y="151"/>
                  </a:lnTo>
                  <a:lnTo>
                    <a:pt x="471" y="149"/>
                  </a:lnTo>
                  <a:lnTo>
                    <a:pt x="470" y="148"/>
                  </a:lnTo>
                  <a:lnTo>
                    <a:pt x="470" y="147"/>
                  </a:lnTo>
                  <a:lnTo>
                    <a:pt x="471" y="146"/>
                  </a:lnTo>
                  <a:lnTo>
                    <a:pt x="472" y="145"/>
                  </a:lnTo>
                  <a:lnTo>
                    <a:pt x="470" y="145"/>
                  </a:lnTo>
                  <a:lnTo>
                    <a:pt x="469" y="146"/>
                  </a:lnTo>
                  <a:lnTo>
                    <a:pt x="467" y="145"/>
                  </a:lnTo>
                  <a:lnTo>
                    <a:pt x="467" y="143"/>
                  </a:lnTo>
                  <a:lnTo>
                    <a:pt x="469" y="143"/>
                  </a:lnTo>
                  <a:lnTo>
                    <a:pt x="470" y="142"/>
                  </a:lnTo>
                  <a:lnTo>
                    <a:pt x="471" y="142"/>
                  </a:lnTo>
                  <a:lnTo>
                    <a:pt x="466" y="141"/>
                  </a:lnTo>
                  <a:lnTo>
                    <a:pt x="465" y="141"/>
                  </a:lnTo>
                  <a:lnTo>
                    <a:pt x="464" y="140"/>
                  </a:lnTo>
                  <a:lnTo>
                    <a:pt x="466" y="137"/>
                  </a:lnTo>
                  <a:lnTo>
                    <a:pt x="470" y="139"/>
                  </a:lnTo>
                  <a:lnTo>
                    <a:pt x="471" y="139"/>
                  </a:lnTo>
                  <a:lnTo>
                    <a:pt x="469" y="136"/>
                  </a:lnTo>
                  <a:lnTo>
                    <a:pt x="470" y="135"/>
                  </a:lnTo>
                  <a:lnTo>
                    <a:pt x="475" y="137"/>
                  </a:lnTo>
                  <a:lnTo>
                    <a:pt x="476" y="137"/>
                  </a:lnTo>
                  <a:lnTo>
                    <a:pt x="472" y="134"/>
                  </a:lnTo>
                  <a:lnTo>
                    <a:pt x="473" y="133"/>
                  </a:lnTo>
                  <a:lnTo>
                    <a:pt x="475" y="133"/>
                  </a:lnTo>
                  <a:lnTo>
                    <a:pt x="476" y="133"/>
                  </a:lnTo>
                  <a:lnTo>
                    <a:pt x="475" y="131"/>
                  </a:lnTo>
                  <a:lnTo>
                    <a:pt x="477" y="131"/>
                  </a:lnTo>
                  <a:lnTo>
                    <a:pt x="478" y="131"/>
                  </a:lnTo>
                  <a:lnTo>
                    <a:pt x="482" y="133"/>
                  </a:lnTo>
                  <a:lnTo>
                    <a:pt x="483" y="133"/>
                  </a:lnTo>
                  <a:lnTo>
                    <a:pt x="484" y="134"/>
                  </a:lnTo>
                  <a:lnTo>
                    <a:pt x="485" y="133"/>
                  </a:lnTo>
                  <a:lnTo>
                    <a:pt x="485" y="130"/>
                  </a:lnTo>
                  <a:lnTo>
                    <a:pt x="484" y="129"/>
                  </a:lnTo>
                  <a:lnTo>
                    <a:pt x="483" y="129"/>
                  </a:lnTo>
                  <a:lnTo>
                    <a:pt x="483" y="128"/>
                  </a:lnTo>
                  <a:lnTo>
                    <a:pt x="482" y="128"/>
                  </a:lnTo>
                  <a:lnTo>
                    <a:pt x="482" y="129"/>
                  </a:lnTo>
                  <a:lnTo>
                    <a:pt x="479" y="129"/>
                  </a:lnTo>
                  <a:lnTo>
                    <a:pt x="479" y="128"/>
                  </a:lnTo>
                  <a:lnTo>
                    <a:pt x="483" y="125"/>
                  </a:lnTo>
                  <a:lnTo>
                    <a:pt x="483" y="127"/>
                  </a:lnTo>
                  <a:lnTo>
                    <a:pt x="485" y="128"/>
                  </a:lnTo>
                  <a:lnTo>
                    <a:pt x="487" y="128"/>
                  </a:lnTo>
                  <a:lnTo>
                    <a:pt x="488" y="128"/>
                  </a:lnTo>
                  <a:lnTo>
                    <a:pt x="488" y="127"/>
                  </a:lnTo>
                  <a:lnTo>
                    <a:pt x="487" y="125"/>
                  </a:lnTo>
                  <a:lnTo>
                    <a:pt x="485" y="125"/>
                  </a:lnTo>
                  <a:lnTo>
                    <a:pt x="487" y="124"/>
                  </a:lnTo>
                  <a:lnTo>
                    <a:pt x="488" y="124"/>
                  </a:lnTo>
                  <a:lnTo>
                    <a:pt x="490" y="125"/>
                  </a:lnTo>
                  <a:lnTo>
                    <a:pt x="491" y="127"/>
                  </a:lnTo>
                  <a:lnTo>
                    <a:pt x="493" y="125"/>
                  </a:lnTo>
                  <a:lnTo>
                    <a:pt x="491" y="125"/>
                  </a:lnTo>
                  <a:lnTo>
                    <a:pt x="490" y="123"/>
                  </a:lnTo>
                  <a:lnTo>
                    <a:pt x="491" y="122"/>
                  </a:lnTo>
                  <a:lnTo>
                    <a:pt x="493" y="123"/>
                  </a:lnTo>
                  <a:lnTo>
                    <a:pt x="495" y="123"/>
                  </a:lnTo>
                  <a:lnTo>
                    <a:pt x="496" y="123"/>
                  </a:lnTo>
                  <a:lnTo>
                    <a:pt x="497" y="124"/>
                  </a:lnTo>
                  <a:lnTo>
                    <a:pt x="499" y="124"/>
                  </a:lnTo>
                  <a:lnTo>
                    <a:pt x="500" y="124"/>
                  </a:lnTo>
                  <a:lnTo>
                    <a:pt x="497" y="122"/>
                  </a:lnTo>
                  <a:lnTo>
                    <a:pt x="495" y="121"/>
                  </a:lnTo>
                  <a:lnTo>
                    <a:pt x="506" y="115"/>
                  </a:lnTo>
                  <a:lnTo>
                    <a:pt x="506" y="113"/>
                  </a:lnTo>
                  <a:lnTo>
                    <a:pt x="502" y="113"/>
                  </a:lnTo>
                  <a:lnTo>
                    <a:pt x="496" y="117"/>
                  </a:lnTo>
                  <a:lnTo>
                    <a:pt x="495" y="118"/>
                  </a:lnTo>
                  <a:lnTo>
                    <a:pt x="494" y="118"/>
                  </a:lnTo>
                  <a:lnTo>
                    <a:pt x="495" y="116"/>
                  </a:lnTo>
                  <a:lnTo>
                    <a:pt x="496" y="115"/>
                  </a:lnTo>
                  <a:lnTo>
                    <a:pt x="495" y="113"/>
                  </a:lnTo>
                  <a:lnTo>
                    <a:pt x="491" y="117"/>
                  </a:lnTo>
                  <a:lnTo>
                    <a:pt x="491" y="119"/>
                  </a:lnTo>
                  <a:lnTo>
                    <a:pt x="490" y="119"/>
                  </a:lnTo>
                  <a:lnTo>
                    <a:pt x="489" y="119"/>
                  </a:lnTo>
                  <a:lnTo>
                    <a:pt x="488" y="118"/>
                  </a:lnTo>
                  <a:lnTo>
                    <a:pt x="488" y="119"/>
                  </a:lnTo>
                  <a:lnTo>
                    <a:pt x="487" y="121"/>
                  </a:lnTo>
                  <a:lnTo>
                    <a:pt x="485" y="122"/>
                  </a:lnTo>
                  <a:lnTo>
                    <a:pt x="484" y="121"/>
                  </a:lnTo>
                  <a:lnTo>
                    <a:pt x="483" y="121"/>
                  </a:lnTo>
                  <a:lnTo>
                    <a:pt x="483" y="122"/>
                  </a:lnTo>
                  <a:lnTo>
                    <a:pt x="483" y="123"/>
                  </a:lnTo>
                  <a:lnTo>
                    <a:pt x="482" y="124"/>
                  </a:lnTo>
                  <a:lnTo>
                    <a:pt x="481" y="125"/>
                  </a:lnTo>
                  <a:lnTo>
                    <a:pt x="478" y="125"/>
                  </a:lnTo>
                  <a:lnTo>
                    <a:pt x="479" y="124"/>
                  </a:lnTo>
                  <a:lnTo>
                    <a:pt x="481" y="123"/>
                  </a:lnTo>
                  <a:lnTo>
                    <a:pt x="479" y="122"/>
                  </a:lnTo>
                  <a:lnTo>
                    <a:pt x="479" y="121"/>
                  </a:lnTo>
                  <a:lnTo>
                    <a:pt x="478" y="119"/>
                  </a:lnTo>
                  <a:lnTo>
                    <a:pt x="477" y="121"/>
                  </a:lnTo>
                  <a:lnTo>
                    <a:pt x="476" y="122"/>
                  </a:lnTo>
                  <a:lnTo>
                    <a:pt x="476" y="123"/>
                  </a:lnTo>
                  <a:lnTo>
                    <a:pt x="475" y="124"/>
                  </a:lnTo>
                  <a:lnTo>
                    <a:pt x="473" y="125"/>
                  </a:lnTo>
                  <a:lnTo>
                    <a:pt x="472" y="127"/>
                  </a:lnTo>
                  <a:lnTo>
                    <a:pt x="472" y="128"/>
                  </a:lnTo>
                  <a:lnTo>
                    <a:pt x="471" y="130"/>
                  </a:lnTo>
                  <a:lnTo>
                    <a:pt x="470" y="133"/>
                  </a:lnTo>
                  <a:lnTo>
                    <a:pt x="469" y="128"/>
                  </a:lnTo>
                  <a:lnTo>
                    <a:pt x="467" y="128"/>
                  </a:lnTo>
                  <a:lnTo>
                    <a:pt x="466" y="129"/>
                  </a:lnTo>
                  <a:lnTo>
                    <a:pt x="466" y="131"/>
                  </a:lnTo>
                  <a:lnTo>
                    <a:pt x="467" y="133"/>
                  </a:lnTo>
                  <a:lnTo>
                    <a:pt x="466" y="134"/>
                  </a:lnTo>
                  <a:lnTo>
                    <a:pt x="465" y="136"/>
                  </a:lnTo>
                  <a:lnTo>
                    <a:pt x="464" y="137"/>
                  </a:lnTo>
                  <a:lnTo>
                    <a:pt x="461" y="139"/>
                  </a:lnTo>
                  <a:lnTo>
                    <a:pt x="460" y="139"/>
                  </a:lnTo>
                  <a:lnTo>
                    <a:pt x="459" y="137"/>
                  </a:lnTo>
                  <a:lnTo>
                    <a:pt x="459" y="135"/>
                  </a:lnTo>
                  <a:lnTo>
                    <a:pt x="460" y="136"/>
                  </a:lnTo>
                  <a:lnTo>
                    <a:pt x="461" y="136"/>
                  </a:lnTo>
                  <a:lnTo>
                    <a:pt x="463" y="136"/>
                  </a:lnTo>
                  <a:lnTo>
                    <a:pt x="461" y="135"/>
                  </a:lnTo>
                  <a:lnTo>
                    <a:pt x="461" y="134"/>
                  </a:lnTo>
                  <a:lnTo>
                    <a:pt x="461" y="133"/>
                  </a:lnTo>
                  <a:lnTo>
                    <a:pt x="461" y="131"/>
                  </a:lnTo>
                  <a:lnTo>
                    <a:pt x="460" y="130"/>
                  </a:lnTo>
                  <a:lnTo>
                    <a:pt x="460" y="131"/>
                  </a:lnTo>
                  <a:lnTo>
                    <a:pt x="459" y="133"/>
                  </a:lnTo>
                  <a:lnTo>
                    <a:pt x="458" y="134"/>
                  </a:lnTo>
                  <a:lnTo>
                    <a:pt x="458" y="133"/>
                  </a:lnTo>
                  <a:lnTo>
                    <a:pt x="457" y="131"/>
                  </a:lnTo>
                  <a:lnTo>
                    <a:pt x="455" y="130"/>
                  </a:lnTo>
                  <a:lnTo>
                    <a:pt x="454" y="130"/>
                  </a:lnTo>
                  <a:lnTo>
                    <a:pt x="455" y="131"/>
                  </a:lnTo>
                  <a:lnTo>
                    <a:pt x="455" y="133"/>
                  </a:lnTo>
                  <a:lnTo>
                    <a:pt x="457" y="134"/>
                  </a:lnTo>
                  <a:lnTo>
                    <a:pt x="455" y="134"/>
                  </a:lnTo>
                  <a:lnTo>
                    <a:pt x="454" y="135"/>
                  </a:lnTo>
                  <a:lnTo>
                    <a:pt x="454" y="137"/>
                  </a:lnTo>
                  <a:lnTo>
                    <a:pt x="454" y="136"/>
                  </a:lnTo>
                  <a:lnTo>
                    <a:pt x="455" y="136"/>
                  </a:lnTo>
                  <a:lnTo>
                    <a:pt x="457" y="136"/>
                  </a:lnTo>
                  <a:lnTo>
                    <a:pt x="458" y="137"/>
                  </a:lnTo>
                  <a:lnTo>
                    <a:pt x="458" y="140"/>
                  </a:lnTo>
                  <a:lnTo>
                    <a:pt x="458" y="141"/>
                  </a:lnTo>
                  <a:lnTo>
                    <a:pt x="457" y="142"/>
                  </a:lnTo>
                  <a:lnTo>
                    <a:pt x="455" y="143"/>
                  </a:lnTo>
                  <a:lnTo>
                    <a:pt x="453" y="145"/>
                  </a:lnTo>
                  <a:lnTo>
                    <a:pt x="452" y="146"/>
                  </a:lnTo>
                  <a:lnTo>
                    <a:pt x="451" y="147"/>
                  </a:lnTo>
                  <a:lnTo>
                    <a:pt x="448" y="148"/>
                  </a:lnTo>
                  <a:lnTo>
                    <a:pt x="446" y="151"/>
                  </a:lnTo>
                  <a:lnTo>
                    <a:pt x="444" y="153"/>
                  </a:lnTo>
                  <a:lnTo>
                    <a:pt x="442" y="152"/>
                  </a:lnTo>
                  <a:lnTo>
                    <a:pt x="440" y="152"/>
                  </a:lnTo>
                  <a:lnTo>
                    <a:pt x="438" y="151"/>
                  </a:lnTo>
                  <a:lnTo>
                    <a:pt x="437" y="148"/>
                  </a:lnTo>
                  <a:lnTo>
                    <a:pt x="436" y="146"/>
                  </a:lnTo>
                  <a:lnTo>
                    <a:pt x="436" y="143"/>
                  </a:lnTo>
                  <a:lnTo>
                    <a:pt x="437" y="143"/>
                  </a:lnTo>
                  <a:lnTo>
                    <a:pt x="438" y="145"/>
                  </a:lnTo>
                  <a:lnTo>
                    <a:pt x="441" y="145"/>
                  </a:lnTo>
                  <a:lnTo>
                    <a:pt x="441" y="143"/>
                  </a:lnTo>
                  <a:lnTo>
                    <a:pt x="440" y="142"/>
                  </a:lnTo>
                  <a:lnTo>
                    <a:pt x="436" y="142"/>
                  </a:lnTo>
                  <a:lnTo>
                    <a:pt x="435" y="142"/>
                  </a:lnTo>
                  <a:lnTo>
                    <a:pt x="435" y="141"/>
                  </a:lnTo>
                  <a:lnTo>
                    <a:pt x="435" y="140"/>
                  </a:lnTo>
                  <a:lnTo>
                    <a:pt x="436" y="140"/>
                  </a:lnTo>
                  <a:lnTo>
                    <a:pt x="440" y="140"/>
                  </a:lnTo>
                  <a:lnTo>
                    <a:pt x="440" y="139"/>
                  </a:lnTo>
                  <a:lnTo>
                    <a:pt x="440" y="136"/>
                  </a:lnTo>
                  <a:lnTo>
                    <a:pt x="441" y="134"/>
                  </a:lnTo>
                  <a:lnTo>
                    <a:pt x="442" y="134"/>
                  </a:lnTo>
                  <a:lnTo>
                    <a:pt x="441" y="133"/>
                  </a:lnTo>
                  <a:lnTo>
                    <a:pt x="438" y="133"/>
                  </a:lnTo>
                  <a:lnTo>
                    <a:pt x="436" y="133"/>
                  </a:lnTo>
                  <a:lnTo>
                    <a:pt x="432" y="131"/>
                  </a:lnTo>
                  <a:lnTo>
                    <a:pt x="432" y="130"/>
                  </a:lnTo>
                  <a:lnTo>
                    <a:pt x="434" y="129"/>
                  </a:lnTo>
                  <a:lnTo>
                    <a:pt x="436" y="129"/>
                  </a:lnTo>
                  <a:lnTo>
                    <a:pt x="437" y="129"/>
                  </a:lnTo>
                  <a:lnTo>
                    <a:pt x="438" y="129"/>
                  </a:lnTo>
                  <a:lnTo>
                    <a:pt x="437" y="127"/>
                  </a:lnTo>
                  <a:lnTo>
                    <a:pt x="437" y="125"/>
                  </a:lnTo>
                  <a:lnTo>
                    <a:pt x="438" y="125"/>
                  </a:lnTo>
                  <a:lnTo>
                    <a:pt x="438" y="127"/>
                  </a:lnTo>
                  <a:lnTo>
                    <a:pt x="441" y="127"/>
                  </a:lnTo>
                  <a:lnTo>
                    <a:pt x="441" y="125"/>
                  </a:lnTo>
                  <a:lnTo>
                    <a:pt x="437" y="124"/>
                  </a:lnTo>
                  <a:lnTo>
                    <a:pt x="438" y="123"/>
                  </a:lnTo>
                  <a:lnTo>
                    <a:pt x="440" y="122"/>
                  </a:lnTo>
                  <a:lnTo>
                    <a:pt x="441" y="123"/>
                  </a:lnTo>
                  <a:lnTo>
                    <a:pt x="443" y="123"/>
                  </a:lnTo>
                  <a:lnTo>
                    <a:pt x="444" y="123"/>
                  </a:lnTo>
                  <a:lnTo>
                    <a:pt x="446" y="124"/>
                  </a:lnTo>
                  <a:lnTo>
                    <a:pt x="448" y="125"/>
                  </a:lnTo>
                  <a:lnTo>
                    <a:pt x="449" y="127"/>
                  </a:lnTo>
                  <a:lnTo>
                    <a:pt x="451" y="125"/>
                  </a:lnTo>
                  <a:lnTo>
                    <a:pt x="451" y="124"/>
                  </a:lnTo>
                  <a:lnTo>
                    <a:pt x="449" y="124"/>
                  </a:lnTo>
                  <a:lnTo>
                    <a:pt x="447" y="121"/>
                  </a:lnTo>
                  <a:lnTo>
                    <a:pt x="448" y="121"/>
                  </a:lnTo>
                  <a:lnTo>
                    <a:pt x="449" y="121"/>
                  </a:lnTo>
                  <a:lnTo>
                    <a:pt x="449" y="122"/>
                  </a:lnTo>
                  <a:lnTo>
                    <a:pt x="449" y="121"/>
                  </a:lnTo>
                  <a:lnTo>
                    <a:pt x="448" y="118"/>
                  </a:lnTo>
                  <a:lnTo>
                    <a:pt x="448" y="117"/>
                  </a:lnTo>
                  <a:lnTo>
                    <a:pt x="449" y="116"/>
                  </a:lnTo>
                  <a:lnTo>
                    <a:pt x="451" y="116"/>
                  </a:lnTo>
                  <a:lnTo>
                    <a:pt x="452" y="117"/>
                  </a:lnTo>
                  <a:lnTo>
                    <a:pt x="452" y="121"/>
                  </a:lnTo>
                  <a:lnTo>
                    <a:pt x="452" y="122"/>
                  </a:lnTo>
                  <a:lnTo>
                    <a:pt x="453" y="122"/>
                  </a:lnTo>
                  <a:lnTo>
                    <a:pt x="454" y="119"/>
                  </a:lnTo>
                  <a:lnTo>
                    <a:pt x="454" y="118"/>
                  </a:lnTo>
                  <a:lnTo>
                    <a:pt x="455" y="117"/>
                  </a:lnTo>
                  <a:lnTo>
                    <a:pt x="458" y="117"/>
                  </a:lnTo>
                  <a:lnTo>
                    <a:pt x="457" y="116"/>
                  </a:lnTo>
                  <a:lnTo>
                    <a:pt x="455" y="116"/>
                  </a:lnTo>
                  <a:lnTo>
                    <a:pt x="453" y="115"/>
                  </a:lnTo>
                  <a:lnTo>
                    <a:pt x="454" y="115"/>
                  </a:lnTo>
                  <a:lnTo>
                    <a:pt x="455" y="115"/>
                  </a:lnTo>
                  <a:lnTo>
                    <a:pt x="455" y="113"/>
                  </a:lnTo>
                  <a:lnTo>
                    <a:pt x="457" y="112"/>
                  </a:lnTo>
                  <a:lnTo>
                    <a:pt x="457" y="111"/>
                  </a:lnTo>
                  <a:lnTo>
                    <a:pt x="458" y="110"/>
                  </a:lnTo>
                  <a:lnTo>
                    <a:pt x="460" y="109"/>
                  </a:lnTo>
                  <a:lnTo>
                    <a:pt x="461" y="110"/>
                  </a:lnTo>
                  <a:lnTo>
                    <a:pt x="461" y="109"/>
                  </a:lnTo>
                  <a:lnTo>
                    <a:pt x="464" y="107"/>
                  </a:lnTo>
                  <a:lnTo>
                    <a:pt x="465" y="109"/>
                  </a:lnTo>
                  <a:lnTo>
                    <a:pt x="464" y="106"/>
                  </a:lnTo>
                  <a:lnTo>
                    <a:pt x="463" y="105"/>
                  </a:lnTo>
                  <a:lnTo>
                    <a:pt x="461" y="105"/>
                  </a:lnTo>
                  <a:lnTo>
                    <a:pt x="461" y="104"/>
                  </a:lnTo>
                  <a:lnTo>
                    <a:pt x="463" y="103"/>
                  </a:lnTo>
                  <a:lnTo>
                    <a:pt x="464" y="103"/>
                  </a:lnTo>
                  <a:lnTo>
                    <a:pt x="465" y="103"/>
                  </a:lnTo>
                  <a:lnTo>
                    <a:pt x="466" y="103"/>
                  </a:lnTo>
                  <a:lnTo>
                    <a:pt x="469" y="103"/>
                  </a:lnTo>
                  <a:lnTo>
                    <a:pt x="471" y="103"/>
                  </a:lnTo>
                  <a:lnTo>
                    <a:pt x="473" y="103"/>
                  </a:lnTo>
                  <a:lnTo>
                    <a:pt x="475" y="104"/>
                  </a:lnTo>
                  <a:lnTo>
                    <a:pt x="476" y="104"/>
                  </a:lnTo>
                  <a:lnTo>
                    <a:pt x="477" y="103"/>
                  </a:lnTo>
                  <a:lnTo>
                    <a:pt x="477" y="101"/>
                  </a:lnTo>
                  <a:lnTo>
                    <a:pt x="476" y="100"/>
                  </a:lnTo>
                  <a:lnTo>
                    <a:pt x="475" y="100"/>
                  </a:lnTo>
                  <a:lnTo>
                    <a:pt x="473" y="99"/>
                  </a:lnTo>
                  <a:lnTo>
                    <a:pt x="473" y="100"/>
                  </a:lnTo>
                  <a:lnTo>
                    <a:pt x="472" y="100"/>
                  </a:lnTo>
                  <a:lnTo>
                    <a:pt x="472" y="99"/>
                  </a:lnTo>
                  <a:lnTo>
                    <a:pt x="472" y="98"/>
                  </a:lnTo>
                  <a:lnTo>
                    <a:pt x="473" y="98"/>
                  </a:lnTo>
                  <a:lnTo>
                    <a:pt x="475" y="99"/>
                  </a:lnTo>
                  <a:lnTo>
                    <a:pt x="478" y="101"/>
                  </a:lnTo>
                  <a:lnTo>
                    <a:pt x="478" y="100"/>
                  </a:lnTo>
                  <a:lnTo>
                    <a:pt x="478" y="99"/>
                  </a:lnTo>
                  <a:lnTo>
                    <a:pt x="477" y="99"/>
                  </a:lnTo>
                  <a:lnTo>
                    <a:pt x="476" y="99"/>
                  </a:lnTo>
                  <a:lnTo>
                    <a:pt x="476" y="98"/>
                  </a:lnTo>
                  <a:lnTo>
                    <a:pt x="475" y="97"/>
                  </a:lnTo>
                  <a:lnTo>
                    <a:pt x="475" y="95"/>
                  </a:lnTo>
                  <a:lnTo>
                    <a:pt x="477" y="95"/>
                  </a:lnTo>
                  <a:lnTo>
                    <a:pt x="478" y="95"/>
                  </a:lnTo>
                  <a:lnTo>
                    <a:pt x="479" y="97"/>
                  </a:lnTo>
                  <a:lnTo>
                    <a:pt x="481" y="99"/>
                  </a:lnTo>
                  <a:lnTo>
                    <a:pt x="482" y="99"/>
                  </a:lnTo>
                  <a:lnTo>
                    <a:pt x="482" y="97"/>
                  </a:lnTo>
                  <a:lnTo>
                    <a:pt x="481" y="97"/>
                  </a:lnTo>
                  <a:lnTo>
                    <a:pt x="481" y="95"/>
                  </a:lnTo>
                  <a:lnTo>
                    <a:pt x="481" y="94"/>
                  </a:lnTo>
                  <a:lnTo>
                    <a:pt x="481" y="93"/>
                  </a:lnTo>
                  <a:lnTo>
                    <a:pt x="482" y="93"/>
                  </a:lnTo>
                  <a:lnTo>
                    <a:pt x="482" y="94"/>
                  </a:lnTo>
                  <a:lnTo>
                    <a:pt x="483" y="94"/>
                  </a:lnTo>
                  <a:lnTo>
                    <a:pt x="485" y="95"/>
                  </a:lnTo>
                  <a:lnTo>
                    <a:pt x="488" y="95"/>
                  </a:lnTo>
                  <a:lnTo>
                    <a:pt x="488" y="94"/>
                  </a:lnTo>
                  <a:lnTo>
                    <a:pt x="487" y="94"/>
                  </a:lnTo>
                  <a:lnTo>
                    <a:pt x="487" y="93"/>
                  </a:lnTo>
                  <a:lnTo>
                    <a:pt x="485" y="92"/>
                  </a:lnTo>
                  <a:lnTo>
                    <a:pt x="484" y="92"/>
                  </a:lnTo>
                  <a:lnTo>
                    <a:pt x="484" y="90"/>
                  </a:lnTo>
                  <a:lnTo>
                    <a:pt x="485" y="90"/>
                  </a:lnTo>
                  <a:lnTo>
                    <a:pt x="491" y="87"/>
                  </a:lnTo>
                  <a:lnTo>
                    <a:pt x="493" y="86"/>
                  </a:lnTo>
                  <a:lnTo>
                    <a:pt x="493" y="84"/>
                  </a:lnTo>
                  <a:lnTo>
                    <a:pt x="491" y="86"/>
                  </a:lnTo>
                  <a:lnTo>
                    <a:pt x="489" y="87"/>
                  </a:lnTo>
                  <a:lnTo>
                    <a:pt x="484" y="89"/>
                  </a:lnTo>
                  <a:lnTo>
                    <a:pt x="485" y="88"/>
                  </a:lnTo>
                  <a:lnTo>
                    <a:pt x="485" y="86"/>
                  </a:lnTo>
                  <a:lnTo>
                    <a:pt x="483" y="86"/>
                  </a:lnTo>
                  <a:lnTo>
                    <a:pt x="482" y="87"/>
                  </a:lnTo>
                  <a:lnTo>
                    <a:pt x="479" y="89"/>
                  </a:lnTo>
                  <a:lnTo>
                    <a:pt x="478" y="89"/>
                  </a:lnTo>
                  <a:lnTo>
                    <a:pt x="477" y="90"/>
                  </a:lnTo>
                  <a:lnTo>
                    <a:pt x="476" y="92"/>
                  </a:lnTo>
                  <a:lnTo>
                    <a:pt x="475" y="92"/>
                  </a:lnTo>
                  <a:lnTo>
                    <a:pt x="475" y="90"/>
                  </a:lnTo>
                  <a:lnTo>
                    <a:pt x="473" y="89"/>
                  </a:lnTo>
                  <a:lnTo>
                    <a:pt x="472" y="90"/>
                  </a:lnTo>
                  <a:lnTo>
                    <a:pt x="472" y="92"/>
                  </a:lnTo>
                  <a:lnTo>
                    <a:pt x="470" y="93"/>
                  </a:lnTo>
                  <a:lnTo>
                    <a:pt x="469" y="94"/>
                  </a:lnTo>
                  <a:lnTo>
                    <a:pt x="467" y="95"/>
                  </a:lnTo>
                  <a:lnTo>
                    <a:pt x="466" y="94"/>
                  </a:lnTo>
                  <a:lnTo>
                    <a:pt x="469" y="93"/>
                  </a:lnTo>
                  <a:lnTo>
                    <a:pt x="469" y="92"/>
                  </a:lnTo>
                  <a:lnTo>
                    <a:pt x="467" y="92"/>
                  </a:lnTo>
                  <a:lnTo>
                    <a:pt x="466" y="90"/>
                  </a:lnTo>
                  <a:lnTo>
                    <a:pt x="466" y="89"/>
                  </a:lnTo>
                  <a:lnTo>
                    <a:pt x="465" y="90"/>
                  </a:lnTo>
                  <a:lnTo>
                    <a:pt x="464" y="92"/>
                  </a:lnTo>
                  <a:lnTo>
                    <a:pt x="463" y="93"/>
                  </a:lnTo>
                  <a:lnTo>
                    <a:pt x="463" y="94"/>
                  </a:lnTo>
                  <a:lnTo>
                    <a:pt x="463" y="95"/>
                  </a:lnTo>
                  <a:lnTo>
                    <a:pt x="464" y="94"/>
                  </a:lnTo>
                  <a:lnTo>
                    <a:pt x="464" y="95"/>
                  </a:lnTo>
                  <a:lnTo>
                    <a:pt x="463" y="97"/>
                  </a:lnTo>
                  <a:lnTo>
                    <a:pt x="461" y="95"/>
                  </a:lnTo>
                  <a:lnTo>
                    <a:pt x="461" y="97"/>
                  </a:lnTo>
                  <a:lnTo>
                    <a:pt x="460" y="97"/>
                  </a:lnTo>
                  <a:lnTo>
                    <a:pt x="459" y="98"/>
                  </a:lnTo>
                  <a:lnTo>
                    <a:pt x="458" y="99"/>
                  </a:lnTo>
                  <a:lnTo>
                    <a:pt x="457" y="99"/>
                  </a:lnTo>
                  <a:lnTo>
                    <a:pt x="455" y="100"/>
                  </a:lnTo>
                  <a:lnTo>
                    <a:pt x="454" y="101"/>
                  </a:lnTo>
                  <a:lnTo>
                    <a:pt x="453" y="100"/>
                  </a:lnTo>
                  <a:lnTo>
                    <a:pt x="451" y="100"/>
                  </a:lnTo>
                  <a:lnTo>
                    <a:pt x="449" y="100"/>
                  </a:lnTo>
                  <a:lnTo>
                    <a:pt x="449" y="101"/>
                  </a:lnTo>
                  <a:lnTo>
                    <a:pt x="448" y="104"/>
                  </a:lnTo>
                  <a:lnTo>
                    <a:pt x="447" y="105"/>
                  </a:lnTo>
                  <a:lnTo>
                    <a:pt x="444" y="106"/>
                  </a:lnTo>
                  <a:lnTo>
                    <a:pt x="443" y="109"/>
                  </a:lnTo>
                  <a:lnTo>
                    <a:pt x="441" y="110"/>
                  </a:lnTo>
                  <a:lnTo>
                    <a:pt x="441" y="109"/>
                  </a:lnTo>
                  <a:lnTo>
                    <a:pt x="441" y="107"/>
                  </a:lnTo>
                  <a:lnTo>
                    <a:pt x="440" y="106"/>
                  </a:lnTo>
                  <a:lnTo>
                    <a:pt x="441" y="105"/>
                  </a:lnTo>
                  <a:lnTo>
                    <a:pt x="441" y="104"/>
                  </a:lnTo>
                  <a:lnTo>
                    <a:pt x="441" y="101"/>
                  </a:lnTo>
                  <a:lnTo>
                    <a:pt x="447" y="101"/>
                  </a:lnTo>
                  <a:lnTo>
                    <a:pt x="446" y="100"/>
                  </a:lnTo>
                  <a:lnTo>
                    <a:pt x="448" y="99"/>
                  </a:lnTo>
                  <a:lnTo>
                    <a:pt x="447" y="98"/>
                  </a:lnTo>
                  <a:lnTo>
                    <a:pt x="444" y="99"/>
                  </a:lnTo>
                  <a:lnTo>
                    <a:pt x="441" y="99"/>
                  </a:lnTo>
                  <a:lnTo>
                    <a:pt x="440" y="98"/>
                  </a:lnTo>
                  <a:lnTo>
                    <a:pt x="441" y="97"/>
                  </a:lnTo>
                  <a:lnTo>
                    <a:pt x="438" y="95"/>
                  </a:lnTo>
                  <a:lnTo>
                    <a:pt x="437" y="95"/>
                  </a:lnTo>
                  <a:lnTo>
                    <a:pt x="437" y="97"/>
                  </a:lnTo>
                  <a:lnTo>
                    <a:pt x="436" y="97"/>
                  </a:lnTo>
                  <a:lnTo>
                    <a:pt x="434" y="97"/>
                  </a:lnTo>
                  <a:lnTo>
                    <a:pt x="432" y="98"/>
                  </a:lnTo>
                  <a:lnTo>
                    <a:pt x="430" y="98"/>
                  </a:lnTo>
                  <a:lnTo>
                    <a:pt x="428" y="98"/>
                  </a:lnTo>
                  <a:lnTo>
                    <a:pt x="425" y="97"/>
                  </a:lnTo>
                  <a:lnTo>
                    <a:pt x="424" y="95"/>
                  </a:lnTo>
                  <a:lnTo>
                    <a:pt x="426" y="94"/>
                  </a:lnTo>
                  <a:lnTo>
                    <a:pt x="425" y="93"/>
                  </a:lnTo>
                  <a:lnTo>
                    <a:pt x="425" y="89"/>
                  </a:lnTo>
                  <a:lnTo>
                    <a:pt x="424" y="88"/>
                  </a:lnTo>
                  <a:lnTo>
                    <a:pt x="425" y="88"/>
                  </a:lnTo>
                  <a:lnTo>
                    <a:pt x="426" y="89"/>
                  </a:lnTo>
                  <a:lnTo>
                    <a:pt x="429" y="90"/>
                  </a:lnTo>
                  <a:lnTo>
                    <a:pt x="429" y="92"/>
                  </a:lnTo>
                  <a:lnTo>
                    <a:pt x="430" y="93"/>
                  </a:lnTo>
                  <a:lnTo>
                    <a:pt x="430" y="92"/>
                  </a:lnTo>
                  <a:lnTo>
                    <a:pt x="430" y="94"/>
                  </a:lnTo>
                  <a:lnTo>
                    <a:pt x="431" y="95"/>
                  </a:lnTo>
                  <a:lnTo>
                    <a:pt x="432" y="95"/>
                  </a:lnTo>
                  <a:lnTo>
                    <a:pt x="432" y="94"/>
                  </a:lnTo>
                  <a:lnTo>
                    <a:pt x="434" y="93"/>
                  </a:lnTo>
                  <a:lnTo>
                    <a:pt x="436" y="94"/>
                  </a:lnTo>
                  <a:lnTo>
                    <a:pt x="437" y="94"/>
                  </a:lnTo>
                  <a:lnTo>
                    <a:pt x="438" y="94"/>
                  </a:lnTo>
                  <a:lnTo>
                    <a:pt x="437" y="94"/>
                  </a:lnTo>
                  <a:lnTo>
                    <a:pt x="436" y="93"/>
                  </a:lnTo>
                  <a:lnTo>
                    <a:pt x="436" y="92"/>
                  </a:lnTo>
                  <a:lnTo>
                    <a:pt x="437" y="92"/>
                  </a:lnTo>
                  <a:lnTo>
                    <a:pt x="438" y="90"/>
                  </a:lnTo>
                  <a:lnTo>
                    <a:pt x="437" y="89"/>
                  </a:lnTo>
                  <a:lnTo>
                    <a:pt x="435" y="89"/>
                  </a:lnTo>
                  <a:lnTo>
                    <a:pt x="432" y="90"/>
                  </a:lnTo>
                  <a:lnTo>
                    <a:pt x="431" y="88"/>
                  </a:lnTo>
                  <a:lnTo>
                    <a:pt x="430" y="87"/>
                  </a:lnTo>
                  <a:lnTo>
                    <a:pt x="428" y="87"/>
                  </a:lnTo>
                  <a:lnTo>
                    <a:pt x="425" y="86"/>
                  </a:lnTo>
                  <a:lnTo>
                    <a:pt x="422" y="83"/>
                  </a:lnTo>
                  <a:lnTo>
                    <a:pt x="419" y="81"/>
                  </a:lnTo>
                  <a:lnTo>
                    <a:pt x="420" y="81"/>
                  </a:lnTo>
                  <a:lnTo>
                    <a:pt x="420" y="80"/>
                  </a:lnTo>
                  <a:lnTo>
                    <a:pt x="419" y="78"/>
                  </a:lnTo>
                  <a:lnTo>
                    <a:pt x="420" y="77"/>
                  </a:lnTo>
                  <a:lnTo>
                    <a:pt x="420" y="75"/>
                  </a:lnTo>
                  <a:lnTo>
                    <a:pt x="423" y="74"/>
                  </a:lnTo>
                  <a:lnTo>
                    <a:pt x="424" y="69"/>
                  </a:lnTo>
                  <a:lnTo>
                    <a:pt x="424" y="66"/>
                  </a:lnTo>
                  <a:lnTo>
                    <a:pt x="425" y="64"/>
                  </a:lnTo>
                  <a:lnTo>
                    <a:pt x="426" y="63"/>
                  </a:lnTo>
                  <a:lnTo>
                    <a:pt x="426" y="62"/>
                  </a:lnTo>
                  <a:lnTo>
                    <a:pt x="428" y="62"/>
                  </a:lnTo>
                  <a:lnTo>
                    <a:pt x="426" y="60"/>
                  </a:lnTo>
                  <a:lnTo>
                    <a:pt x="424" y="60"/>
                  </a:lnTo>
                  <a:lnTo>
                    <a:pt x="422" y="60"/>
                  </a:lnTo>
                  <a:lnTo>
                    <a:pt x="422" y="59"/>
                  </a:lnTo>
                  <a:lnTo>
                    <a:pt x="423" y="58"/>
                  </a:lnTo>
                  <a:lnTo>
                    <a:pt x="425" y="58"/>
                  </a:lnTo>
                  <a:lnTo>
                    <a:pt x="426" y="57"/>
                  </a:lnTo>
                  <a:lnTo>
                    <a:pt x="428" y="58"/>
                  </a:lnTo>
                  <a:lnTo>
                    <a:pt x="429" y="58"/>
                  </a:lnTo>
                  <a:lnTo>
                    <a:pt x="430" y="57"/>
                  </a:lnTo>
                  <a:lnTo>
                    <a:pt x="430" y="56"/>
                  </a:lnTo>
                  <a:lnTo>
                    <a:pt x="428" y="54"/>
                  </a:lnTo>
                  <a:lnTo>
                    <a:pt x="430" y="53"/>
                  </a:lnTo>
                  <a:lnTo>
                    <a:pt x="428" y="52"/>
                  </a:lnTo>
                  <a:lnTo>
                    <a:pt x="426" y="52"/>
                  </a:lnTo>
                  <a:lnTo>
                    <a:pt x="424" y="52"/>
                  </a:lnTo>
                  <a:lnTo>
                    <a:pt x="423" y="53"/>
                  </a:lnTo>
                  <a:lnTo>
                    <a:pt x="422" y="53"/>
                  </a:lnTo>
                  <a:lnTo>
                    <a:pt x="420" y="52"/>
                  </a:lnTo>
                  <a:lnTo>
                    <a:pt x="419" y="51"/>
                  </a:lnTo>
                  <a:lnTo>
                    <a:pt x="420" y="50"/>
                  </a:lnTo>
                  <a:lnTo>
                    <a:pt x="423" y="48"/>
                  </a:lnTo>
                  <a:lnTo>
                    <a:pt x="425" y="47"/>
                  </a:lnTo>
                  <a:lnTo>
                    <a:pt x="428" y="47"/>
                  </a:lnTo>
                  <a:lnTo>
                    <a:pt x="429" y="50"/>
                  </a:lnTo>
                  <a:lnTo>
                    <a:pt x="430" y="48"/>
                  </a:lnTo>
                  <a:lnTo>
                    <a:pt x="430" y="47"/>
                  </a:lnTo>
                  <a:lnTo>
                    <a:pt x="429" y="46"/>
                  </a:lnTo>
                  <a:lnTo>
                    <a:pt x="431" y="47"/>
                  </a:lnTo>
                  <a:lnTo>
                    <a:pt x="434" y="47"/>
                  </a:lnTo>
                  <a:lnTo>
                    <a:pt x="432" y="46"/>
                  </a:lnTo>
                  <a:lnTo>
                    <a:pt x="432" y="45"/>
                  </a:lnTo>
                  <a:lnTo>
                    <a:pt x="434" y="45"/>
                  </a:lnTo>
                  <a:lnTo>
                    <a:pt x="436" y="45"/>
                  </a:lnTo>
                  <a:lnTo>
                    <a:pt x="436" y="46"/>
                  </a:lnTo>
                  <a:lnTo>
                    <a:pt x="438" y="47"/>
                  </a:lnTo>
                  <a:lnTo>
                    <a:pt x="440" y="47"/>
                  </a:lnTo>
                  <a:lnTo>
                    <a:pt x="440" y="46"/>
                  </a:lnTo>
                  <a:lnTo>
                    <a:pt x="438" y="45"/>
                  </a:lnTo>
                  <a:lnTo>
                    <a:pt x="438" y="44"/>
                  </a:lnTo>
                  <a:lnTo>
                    <a:pt x="442" y="42"/>
                  </a:lnTo>
                  <a:lnTo>
                    <a:pt x="444" y="42"/>
                  </a:lnTo>
                  <a:lnTo>
                    <a:pt x="446" y="41"/>
                  </a:lnTo>
                  <a:lnTo>
                    <a:pt x="444" y="40"/>
                  </a:lnTo>
                  <a:lnTo>
                    <a:pt x="442" y="41"/>
                  </a:lnTo>
                  <a:lnTo>
                    <a:pt x="441" y="41"/>
                  </a:lnTo>
                  <a:lnTo>
                    <a:pt x="441" y="39"/>
                  </a:lnTo>
                  <a:lnTo>
                    <a:pt x="440" y="39"/>
                  </a:lnTo>
                  <a:lnTo>
                    <a:pt x="436" y="41"/>
                  </a:lnTo>
                  <a:lnTo>
                    <a:pt x="434" y="42"/>
                  </a:lnTo>
                  <a:lnTo>
                    <a:pt x="434" y="41"/>
                  </a:lnTo>
                  <a:lnTo>
                    <a:pt x="435" y="40"/>
                  </a:lnTo>
                  <a:lnTo>
                    <a:pt x="435" y="38"/>
                  </a:lnTo>
                  <a:lnTo>
                    <a:pt x="434" y="36"/>
                  </a:lnTo>
                  <a:lnTo>
                    <a:pt x="434" y="38"/>
                  </a:lnTo>
                  <a:lnTo>
                    <a:pt x="432" y="40"/>
                  </a:lnTo>
                  <a:lnTo>
                    <a:pt x="432" y="41"/>
                  </a:lnTo>
                  <a:lnTo>
                    <a:pt x="431" y="42"/>
                  </a:lnTo>
                  <a:lnTo>
                    <a:pt x="430" y="42"/>
                  </a:lnTo>
                  <a:lnTo>
                    <a:pt x="429" y="42"/>
                  </a:lnTo>
                  <a:lnTo>
                    <a:pt x="426" y="44"/>
                  </a:lnTo>
                  <a:lnTo>
                    <a:pt x="426" y="45"/>
                  </a:lnTo>
                  <a:lnTo>
                    <a:pt x="424" y="45"/>
                  </a:lnTo>
                  <a:lnTo>
                    <a:pt x="423" y="45"/>
                  </a:lnTo>
                  <a:lnTo>
                    <a:pt x="423" y="44"/>
                  </a:lnTo>
                  <a:lnTo>
                    <a:pt x="424" y="42"/>
                  </a:lnTo>
                  <a:lnTo>
                    <a:pt x="424" y="41"/>
                  </a:lnTo>
                  <a:lnTo>
                    <a:pt x="425" y="42"/>
                  </a:lnTo>
                  <a:lnTo>
                    <a:pt x="426" y="42"/>
                  </a:lnTo>
                  <a:lnTo>
                    <a:pt x="426" y="41"/>
                  </a:lnTo>
                  <a:lnTo>
                    <a:pt x="426" y="40"/>
                  </a:lnTo>
                  <a:lnTo>
                    <a:pt x="428" y="41"/>
                  </a:lnTo>
                  <a:lnTo>
                    <a:pt x="429" y="41"/>
                  </a:lnTo>
                  <a:lnTo>
                    <a:pt x="429" y="40"/>
                  </a:lnTo>
                  <a:lnTo>
                    <a:pt x="428" y="40"/>
                  </a:lnTo>
                  <a:lnTo>
                    <a:pt x="428" y="39"/>
                  </a:lnTo>
                  <a:lnTo>
                    <a:pt x="428" y="38"/>
                  </a:lnTo>
                  <a:lnTo>
                    <a:pt x="426" y="38"/>
                  </a:lnTo>
                  <a:lnTo>
                    <a:pt x="425" y="36"/>
                  </a:lnTo>
                  <a:lnTo>
                    <a:pt x="426" y="35"/>
                  </a:lnTo>
                  <a:lnTo>
                    <a:pt x="428" y="34"/>
                  </a:lnTo>
                  <a:lnTo>
                    <a:pt x="428" y="35"/>
                  </a:lnTo>
                  <a:lnTo>
                    <a:pt x="430" y="35"/>
                  </a:lnTo>
                  <a:lnTo>
                    <a:pt x="434" y="35"/>
                  </a:lnTo>
                  <a:lnTo>
                    <a:pt x="435" y="34"/>
                  </a:lnTo>
                  <a:lnTo>
                    <a:pt x="434" y="34"/>
                  </a:lnTo>
                  <a:lnTo>
                    <a:pt x="429" y="34"/>
                  </a:lnTo>
                  <a:lnTo>
                    <a:pt x="430" y="32"/>
                  </a:lnTo>
                  <a:lnTo>
                    <a:pt x="431" y="32"/>
                  </a:lnTo>
                  <a:lnTo>
                    <a:pt x="434" y="30"/>
                  </a:lnTo>
                  <a:lnTo>
                    <a:pt x="435" y="30"/>
                  </a:lnTo>
                  <a:lnTo>
                    <a:pt x="435" y="29"/>
                  </a:lnTo>
                  <a:lnTo>
                    <a:pt x="432" y="29"/>
                  </a:lnTo>
                  <a:lnTo>
                    <a:pt x="431" y="29"/>
                  </a:lnTo>
                  <a:lnTo>
                    <a:pt x="430" y="30"/>
                  </a:lnTo>
                  <a:lnTo>
                    <a:pt x="430" y="29"/>
                  </a:lnTo>
                  <a:lnTo>
                    <a:pt x="435" y="23"/>
                  </a:lnTo>
                  <a:lnTo>
                    <a:pt x="437" y="21"/>
                  </a:lnTo>
                  <a:lnTo>
                    <a:pt x="441" y="16"/>
                  </a:lnTo>
                  <a:lnTo>
                    <a:pt x="444" y="14"/>
                  </a:lnTo>
                  <a:lnTo>
                    <a:pt x="443" y="12"/>
                  </a:lnTo>
                  <a:lnTo>
                    <a:pt x="441" y="14"/>
                  </a:lnTo>
                  <a:lnTo>
                    <a:pt x="440" y="15"/>
                  </a:lnTo>
                  <a:lnTo>
                    <a:pt x="437" y="18"/>
                  </a:lnTo>
                  <a:lnTo>
                    <a:pt x="432" y="22"/>
                  </a:lnTo>
                  <a:lnTo>
                    <a:pt x="430" y="26"/>
                  </a:lnTo>
                  <a:lnTo>
                    <a:pt x="428" y="29"/>
                  </a:lnTo>
                  <a:lnTo>
                    <a:pt x="426" y="32"/>
                  </a:lnTo>
                  <a:lnTo>
                    <a:pt x="425" y="32"/>
                  </a:lnTo>
                  <a:lnTo>
                    <a:pt x="423" y="30"/>
                  </a:lnTo>
                  <a:lnTo>
                    <a:pt x="422" y="28"/>
                  </a:lnTo>
                  <a:lnTo>
                    <a:pt x="419" y="26"/>
                  </a:lnTo>
                  <a:lnTo>
                    <a:pt x="418" y="24"/>
                  </a:lnTo>
                  <a:lnTo>
                    <a:pt x="417" y="24"/>
                  </a:lnTo>
                  <a:lnTo>
                    <a:pt x="416" y="24"/>
                  </a:lnTo>
                  <a:lnTo>
                    <a:pt x="417" y="27"/>
                  </a:lnTo>
                  <a:lnTo>
                    <a:pt x="418" y="27"/>
                  </a:lnTo>
                  <a:lnTo>
                    <a:pt x="419" y="27"/>
                  </a:lnTo>
                  <a:lnTo>
                    <a:pt x="420" y="28"/>
                  </a:lnTo>
                  <a:lnTo>
                    <a:pt x="422" y="29"/>
                  </a:lnTo>
                  <a:lnTo>
                    <a:pt x="423" y="32"/>
                  </a:lnTo>
                  <a:lnTo>
                    <a:pt x="424" y="33"/>
                  </a:lnTo>
                  <a:lnTo>
                    <a:pt x="424" y="35"/>
                  </a:lnTo>
                  <a:lnTo>
                    <a:pt x="424" y="36"/>
                  </a:lnTo>
                  <a:lnTo>
                    <a:pt x="422" y="35"/>
                  </a:lnTo>
                  <a:lnTo>
                    <a:pt x="420" y="34"/>
                  </a:lnTo>
                  <a:lnTo>
                    <a:pt x="419" y="33"/>
                  </a:lnTo>
                  <a:lnTo>
                    <a:pt x="418" y="34"/>
                  </a:lnTo>
                  <a:lnTo>
                    <a:pt x="419" y="35"/>
                  </a:lnTo>
                  <a:lnTo>
                    <a:pt x="420" y="36"/>
                  </a:lnTo>
                  <a:lnTo>
                    <a:pt x="422" y="38"/>
                  </a:lnTo>
                  <a:lnTo>
                    <a:pt x="422" y="39"/>
                  </a:lnTo>
                  <a:lnTo>
                    <a:pt x="420" y="40"/>
                  </a:lnTo>
                  <a:lnTo>
                    <a:pt x="418" y="38"/>
                  </a:lnTo>
                  <a:lnTo>
                    <a:pt x="417" y="38"/>
                  </a:lnTo>
                  <a:lnTo>
                    <a:pt x="418" y="40"/>
                  </a:lnTo>
                  <a:lnTo>
                    <a:pt x="419" y="41"/>
                  </a:lnTo>
                  <a:lnTo>
                    <a:pt x="420" y="42"/>
                  </a:lnTo>
                  <a:lnTo>
                    <a:pt x="420" y="44"/>
                  </a:lnTo>
                  <a:lnTo>
                    <a:pt x="420" y="45"/>
                  </a:lnTo>
                  <a:lnTo>
                    <a:pt x="419" y="45"/>
                  </a:lnTo>
                  <a:lnTo>
                    <a:pt x="418" y="44"/>
                  </a:lnTo>
                  <a:lnTo>
                    <a:pt x="417" y="44"/>
                  </a:lnTo>
                  <a:lnTo>
                    <a:pt x="417" y="42"/>
                  </a:lnTo>
                  <a:lnTo>
                    <a:pt x="416" y="41"/>
                  </a:lnTo>
                  <a:lnTo>
                    <a:pt x="414" y="41"/>
                  </a:lnTo>
                  <a:lnTo>
                    <a:pt x="413" y="40"/>
                  </a:lnTo>
                  <a:lnTo>
                    <a:pt x="414" y="39"/>
                  </a:lnTo>
                  <a:lnTo>
                    <a:pt x="416" y="38"/>
                  </a:lnTo>
                  <a:lnTo>
                    <a:pt x="416" y="36"/>
                  </a:lnTo>
                  <a:lnTo>
                    <a:pt x="416" y="35"/>
                  </a:lnTo>
                  <a:lnTo>
                    <a:pt x="413" y="35"/>
                  </a:lnTo>
                  <a:lnTo>
                    <a:pt x="413" y="36"/>
                  </a:lnTo>
                  <a:lnTo>
                    <a:pt x="413" y="33"/>
                  </a:lnTo>
                  <a:lnTo>
                    <a:pt x="413" y="32"/>
                  </a:lnTo>
                  <a:lnTo>
                    <a:pt x="414" y="32"/>
                  </a:lnTo>
                  <a:lnTo>
                    <a:pt x="417" y="32"/>
                  </a:lnTo>
                  <a:lnTo>
                    <a:pt x="419" y="30"/>
                  </a:lnTo>
                  <a:lnTo>
                    <a:pt x="420" y="30"/>
                  </a:lnTo>
                  <a:lnTo>
                    <a:pt x="420" y="29"/>
                  </a:lnTo>
                  <a:lnTo>
                    <a:pt x="418" y="29"/>
                  </a:lnTo>
                  <a:lnTo>
                    <a:pt x="414" y="29"/>
                  </a:lnTo>
                  <a:lnTo>
                    <a:pt x="412" y="29"/>
                  </a:lnTo>
                  <a:lnTo>
                    <a:pt x="412" y="27"/>
                  </a:lnTo>
                  <a:lnTo>
                    <a:pt x="412" y="26"/>
                  </a:lnTo>
                  <a:lnTo>
                    <a:pt x="411" y="23"/>
                  </a:lnTo>
                  <a:lnTo>
                    <a:pt x="411" y="18"/>
                  </a:lnTo>
                  <a:lnTo>
                    <a:pt x="411" y="15"/>
                  </a:lnTo>
                  <a:lnTo>
                    <a:pt x="410" y="16"/>
                  </a:lnTo>
                  <a:lnTo>
                    <a:pt x="410" y="23"/>
                  </a:lnTo>
                  <a:lnTo>
                    <a:pt x="410" y="28"/>
                  </a:lnTo>
                  <a:lnTo>
                    <a:pt x="410" y="32"/>
                  </a:lnTo>
                  <a:lnTo>
                    <a:pt x="411" y="34"/>
                  </a:lnTo>
                  <a:lnTo>
                    <a:pt x="412" y="36"/>
                  </a:lnTo>
                  <a:lnTo>
                    <a:pt x="411" y="39"/>
                  </a:lnTo>
                  <a:lnTo>
                    <a:pt x="410" y="38"/>
                  </a:lnTo>
                  <a:lnTo>
                    <a:pt x="408" y="35"/>
                  </a:lnTo>
                  <a:lnTo>
                    <a:pt x="408" y="36"/>
                  </a:lnTo>
                  <a:lnTo>
                    <a:pt x="407" y="38"/>
                  </a:lnTo>
                  <a:lnTo>
                    <a:pt x="407" y="39"/>
                  </a:lnTo>
                  <a:lnTo>
                    <a:pt x="406" y="41"/>
                  </a:lnTo>
                  <a:lnTo>
                    <a:pt x="405" y="41"/>
                  </a:lnTo>
                  <a:lnTo>
                    <a:pt x="404" y="40"/>
                  </a:lnTo>
                  <a:lnTo>
                    <a:pt x="402" y="38"/>
                  </a:lnTo>
                  <a:lnTo>
                    <a:pt x="402" y="36"/>
                  </a:lnTo>
                  <a:lnTo>
                    <a:pt x="404" y="35"/>
                  </a:lnTo>
                  <a:lnTo>
                    <a:pt x="405" y="34"/>
                  </a:lnTo>
                  <a:lnTo>
                    <a:pt x="406" y="33"/>
                  </a:lnTo>
                  <a:lnTo>
                    <a:pt x="405" y="32"/>
                  </a:lnTo>
                  <a:lnTo>
                    <a:pt x="402" y="33"/>
                  </a:lnTo>
                  <a:lnTo>
                    <a:pt x="401" y="34"/>
                  </a:lnTo>
                  <a:lnTo>
                    <a:pt x="400" y="34"/>
                  </a:lnTo>
                  <a:lnTo>
                    <a:pt x="402" y="33"/>
                  </a:lnTo>
                  <a:lnTo>
                    <a:pt x="402" y="32"/>
                  </a:lnTo>
                  <a:lnTo>
                    <a:pt x="400" y="33"/>
                  </a:lnTo>
                  <a:lnTo>
                    <a:pt x="400" y="32"/>
                  </a:lnTo>
                  <a:lnTo>
                    <a:pt x="401" y="30"/>
                  </a:lnTo>
                  <a:lnTo>
                    <a:pt x="402" y="28"/>
                  </a:lnTo>
                  <a:lnTo>
                    <a:pt x="401" y="27"/>
                  </a:lnTo>
                  <a:lnTo>
                    <a:pt x="400" y="28"/>
                  </a:lnTo>
                  <a:lnTo>
                    <a:pt x="399" y="27"/>
                  </a:lnTo>
                  <a:lnTo>
                    <a:pt x="400" y="26"/>
                  </a:lnTo>
                  <a:lnTo>
                    <a:pt x="402" y="24"/>
                  </a:lnTo>
                  <a:lnTo>
                    <a:pt x="405" y="22"/>
                  </a:lnTo>
                  <a:lnTo>
                    <a:pt x="408" y="17"/>
                  </a:lnTo>
                  <a:lnTo>
                    <a:pt x="408" y="16"/>
                  </a:lnTo>
                  <a:lnTo>
                    <a:pt x="407" y="17"/>
                  </a:lnTo>
                  <a:lnTo>
                    <a:pt x="406" y="17"/>
                  </a:lnTo>
                  <a:lnTo>
                    <a:pt x="400" y="23"/>
                  </a:lnTo>
                  <a:lnTo>
                    <a:pt x="400" y="22"/>
                  </a:lnTo>
                  <a:lnTo>
                    <a:pt x="400" y="21"/>
                  </a:lnTo>
                  <a:lnTo>
                    <a:pt x="401" y="20"/>
                  </a:lnTo>
                  <a:lnTo>
                    <a:pt x="401" y="18"/>
                  </a:lnTo>
                  <a:lnTo>
                    <a:pt x="402" y="17"/>
                  </a:lnTo>
                  <a:lnTo>
                    <a:pt x="401" y="15"/>
                  </a:lnTo>
                  <a:lnTo>
                    <a:pt x="400" y="15"/>
                  </a:lnTo>
                  <a:lnTo>
                    <a:pt x="400" y="16"/>
                  </a:lnTo>
                  <a:lnTo>
                    <a:pt x="400" y="17"/>
                  </a:lnTo>
                  <a:lnTo>
                    <a:pt x="399" y="17"/>
                  </a:lnTo>
                  <a:lnTo>
                    <a:pt x="399" y="15"/>
                  </a:lnTo>
                  <a:lnTo>
                    <a:pt x="399" y="12"/>
                  </a:lnTo>
                  <a:lnTo>
                    <a:pt x="399" y="9"/>
                  </a:lnTo>
                  <a:lnTo>
                    <a:pt x="398" y="9"/>
                  </a:lnTo>
                  <a:lnTo>
                    <a:pt x="398" y="10"/>
                  </a:lnTo>
                  <a:lnTo>
                    <a:pt x="398" y="14"/>
                  </a:lnTo>
                  <a:lnTo>
                    <a:pt x="398" y="17"/>
                  </a:lnTo>
                  <a:lnTo>
                    <a:pt x="398" y="20"/>
                  </a:lnTo>
                  <a:lnTo>
                    <a:pt x="398" y="21"/>
                  </a:lnTo>
                  <a:lnTo>
                    <a:pt x="398" y="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7" name="Freeform 80"/>
            <p:cNvSpPr>
              <a:spLocks/>
            </p:cNvSpPr>
            <p:nvPr userDrawn="1"/>
          </p:nvSpPr>
          <p:spPr bwMode="auto">
            <a:xfrm>
              <a:off x="7605713" y="6399213"/>
              <a:ext cx="211138" cy="236538"/>
            </a:xfrm>
            <a:custGeom>
              <a:avLst/>
              <a:gdLst/>
              <a:ahLst/>
              <a:cxnLst>
                <a:cxn ang="0">
                  <a:pos x="230" y="546"/>
                </a:cxn>
                <a:cxn ang="0">
                  <a:pos x="191" y="515"/>
                </a:cxn>
                <a:cxn ang="0">
                  <a:pos x="202" y="469"/>
                </a:cxn>
                <a:cxn ang="0">
                  <a:pos x="149" y="474"/>
                </a:cxn>
                <a:cxn ang="0">
                  <a:pos x="93" y="499"/>
                </a:cxn>
                <a:cxn ang="0">
                  <a:pos x="67" y="467"/>
                </a:cxn>
                <a:cxn ang="0">
                  <a:pos x="40" y="440"/>
                </a:cxn>
                <a:cxn ang="0">
                  <a:pos x="23" y="395"/>
                </a:cxn>
                <a:cxn ang="0">
                  <a:pos x="14" y="350"/>
                </a:cxn>
                <a:cxn ang="0">
                  <a:pos x="53" y="333"/>
                </a:cxn>
                <a:cxn ang="0">
                  <a:pos x="90" y="323"/>
                </a:cxn>
                <a:cxn ang="0">
                  <a:pos x="103" y="294"/>
                </a:cxn>
                <a:cxn ang="0">
                  <a:pos x="115" y="255"/>
                </a:cxn>
                <a:cxn ang="0">
                  <a:pos x="150" y="238"/>
                </a:cxn>
                <a:cxn ang="0">
                  <a:pos x="155" y="222"/>
                </a:cxn>
                <a:cxn ang="0">
                  <a:pos x="165" y="204"/>
                </a:cxn>
                <a:cxn ang="0">
                  <a:pos x="147" y="195"/>
                </a:cxn>
                <a:cxn ang="0">
                  <a:pos x="162" y="178"/>
                </a:cxn>
                <a:cxn ang="0">
                  <a:pos x="135" y="166"/>
                </a:cxn>
                <a:cxn ang="0">
                  <a:pos x="143" y="143"/>
                </a:cxn>
                <a:cxn ang="0">
                  <a:pos x="127" y="116"/>
                </a:cxn>
                <a:cxn ang="0">
                  <a:pos x="158" y="123"/>
                </a:cxn>
                <a:cxn ang="0">
                  <a:pos x="169" y="93"/>
                </a:cxn>
                <a:cxn ang="0">
                  <a:pos x="196" y="89"/>
                </a:cxn>
                <a:cxn ang="0">
                  <a:pos x="197" y="68"/>
                </a:cxn>
                <a:cxn ang="0">
                  <a:pos x="222" y="61"/>
                </a:cxn>
                <a:cxn ang="0">
                  <a:pos x="224" y="53"/>
                </a:cxn>
                <a:cxn ang="0">
                  <a:pos x="250" y="55"/>
                </a:cxn>
                <a:cxn ang="0">
                  <a:pos x="275" y="82"/>
                </a:cxn>
                <a:cxn ang="0">
                  <a:pos x="294" y="57"/>
                </a:cxn>
                <a:cxn ang="0">
                  <a:pos x="315" y="40"/>
                </a:cxn>
                <a:cxn ang="0">
                  <a:pos x="340" y="6"/>
                </a:cxn>
                <a:cxn ang="0">
                  <a:pos x="362" y="26"/>
                </a:cxn>
                <a:cxn ang="0">
                  <a:pos x="392" y="38"/>
                </a:cxn>
                <a:cxn ang="0">
                  <a:pos x="406" y="59"/>
                </a:cxn>
                <a:cxn ang="0">
                  <a:pos x="428" y="59"/>
                </a:cxn>
                <a:cxn ang="0">
                  <a:pos x="475" y="61"/>
                </a:cxn>
                <a:cxn ang="0">
                  <a:pos x="510" y="80"/>
                </a:cxn>
                <a:cxn ang="0">
                  <a:pos x="530" y="105"/>
                </a:cxn>
                <a:cxn ang="0">
                  <a:pos x="529" y="145"/>
                </a:cxn>
                <a:cxn ang="0">
                  <a:pos x="551" y="162"/>
                </a:cxn>
                <a:cxn ang="0">
                  <a:pos x="547" y="187"/>
                </a:cxn>
                <a:cxn ang="0">
                  <a:pos x="554" y="219"/>
                </a:cxn>
                <a:cxn ang="0">
                  <a:pos x="575" y="235"/>
                </a:cxn>
                <a:cxn ang="0">
                  <a:pos x="583" y="277"/>
                </a:cxn>
                <a:cxn ang="0">
                  <a:pos x="596" y="291"/>
                </a:cxn>
                <a:cxn ang="0">
                  <a:pos x="641" y="301"/>
                </a:cxn>
                <a:cxn ang="0">
                  <a:pos x="635" y="344"/>
                </a:cxn>
                <a:cxn ang="0">
                  <a:pos x="655" y="371"/>
                </a:cxn>
                <a:cxn ang="0">
                  <a:pos x="629" y="377"/>
                </a:cxn>
                <a:cxn ang="0">
                  <a:pos x="640" y="414"/>
                </a:cxn>
                <a:cxn ang="0">
                  <a:pos x="628" y="452"/>
                </a:cxn>
                <a:cxn ang="0">
                  <a:pos x="610" y="474"/>
                </a:cxn>
                <a:cxn ang="0">
                  <a:pos x="589" y="486"/>
                </a:cxn>
                <a:cxn ang="0">
                  <a:pos x="546" y="485"/>
                </a:cxn>
                <a:cxn ang="0">
                  <a:pos x="533" y="462"/>
                </a:cxn>
                <a:cxn ang="0">
                  <a:pos x="505" y="466"/>
                </a:cxn>
                <a:cxn ang="0">
                  <a:pos x="462" y="439"/>
                </a:cxn>
                <a:cxn ang="0">
                  <a:pos x="430" y="471"/>
                </a:cxn>
                <a:cxn ang="0">
                  <a:pos x="421" y="497"/>
                </a:cxn>
                <a:cxn ang="0">
                  <a:pos x="398" y="514"/>
                </a:cxn>
                <a:cxn ang="0">
                  <a:pos x="401" y="543"/>
                </a:cxn>
                <a:cxn ang="0">
                  <a:pos x="330" y="557"/>
                </a:cxn>
              </a:cxnLst>
              <a:rect l="0" t="0" r="r" b="b"/>
              <a:pathLst>
                <a:path w="663" h="742">
                  <a:moveTo>
                    <a:pt x="293" y="737"/>
                  </a:moveTo>
                  <a:lnTo>
                    <a:pt x="291" y="742"/>
                  </a:lnTo>
                  <a:lnTo>
                    <a:pt x="288" y="741"/>
                  </a:lnTo>
                  <a:lnTo>
                    <a:pt x="285" y="741"/>
                  </a:lnTo>
                  <a:lnTo>
                    <a:pt x="283" y="740"/>
                  </a:lnTo>
                  <a:lnTo>
                    <a:pt x="282" y="740"/>
                  </a:lnTo>
                  <a:lnTo>
                    <a:pt x="279" y="741"/>
                  </a:lnTo>
                  <a:lnTo>
                    <a:pt x="275" y="742"/>
                  </a:lnTo>
                  <a:lnTo>
                    <a:pt x="270" y="741"/>
                  </a:lnTo>
                  <a:lnTo>
                    <a:pt x="267" y="741"/>
                  </a:lnTo>
                  <a:lnTo>
                    <a:pt x="257" y="741"/>
                  </a:lnTo>
                  <a:lnTo>
                    <a:pt x="251" y="741"/>
                  </a:lnTo>
                  <a:lnTo>
                    <a:pt x="250" y="739"/>
                  </a:lnTo>
                  <a:lnTo>
                    <a:pt x="253" y="722"/>
                  </a:lnTo>
                  <a:lnTo>
                    <a:pt x="253" y="700"/>
                  </a:lnTo>
                  <a:lnTo>
                    <a:pt x="253" y="693"/>
                  </a:lnTo>
                  <a:lnTo>
                    <a:pt x="255" y="684"/>
                  </a:lnTo>
                  <a:lnTo>
                    <a:pt x="258" y="656"/>
                  </a:lnTo>
                  <a:lnTo>
                    <a:pt x="257" y="651"/>
                  </a:lnTo>
                  <a:lnTo>
                    <a:pt x="256" y="647"/>
                  </a:lnTo>
                  <a:lnTo>
                    <a:pt x="257" y="642"/>
                  </a:lnTo>
                  <a:lnTo>
                    <a:pt x="261" y="638"/>
                  </a:lnTo>
                  <a:lnTo>
                    <a:pt x="262" y="611"/>
                  </a:lnTo>
                  <a:lnTo>
                    <a:pt x="265" y="602"/>
                  </a:lnTo>
                  <a:lnTo>
                    <a:pt x="267" y="597"/>
                  </a:lnTo>
                  <a:lnTo>
                    <a:pt x="267" y="593"/>
                  </a:lnTo>
                  <a:lnTo>
                    <a:pt x="264" y="590"/>
                  </a:lnTo>
                  <a:lnTo>
                    <a:pt x="264" y="585"/>
                  </a:lnTo>
                  <a:lnTo>
                    <a:pt x="267" y="577"/>
                  </a:lnTo>
                  <a:lnTo>
                    <a:pt x="271" y="563"/>
                  </a:lnTo>
                  <a:lnTo>
                    <a:pt x="273" y="552"/>
                  </a:lnTo>
                  <a:lnTo>
                    <a:pt x="273" y="539"/>
                  </a:lnTo>
                  <a:lnTo>
                    <a:pt x="270" y="534"/>
                  </a:lnTo>
                  <a:lnTo>
                    <a:pt x="269" y="533"/>
                  </a:lnTo>
                  <a:lnTo>
                    <a:pt x="267" y="538"/>
                  </a:lnTo>
                  <a:lnTo>
                    <a:pt x="265" y="537"/>
                  </a:lnTo>
                  <a:lnTo>
                    <a:pt x="264" y="538"/>
                  </a:lnTo>
                  <a:lnTo>
                    <a:pt x="263" y="537"/>
                  </a:lnTo>
                  <a:lnTo>
                    <a:pt x="262" y="540"/>
                  </a:lnTo>
                  <a:lnTo>
                    <a:pt x="261" y="541"/>
                  </a:lnTo>
                  <a:lnTo>
                    <a:pt x="259" y="543"/>
                  </a:lnTo>
                  <a:lnTo>
                    <a:pt x="256" y="544"/>
                  </a:lnTo>
                  <a:lnTo>
                    <a:pt x="255" y="544"/>
                  </a:lnTo>
                  <a:lnTo>
                    <a:pt x="253" y="544"/>
                  </a:lnTo>
                  <a:lnTo>
                    <a:pt x="248" y="543"/>
                  </a:lnTo>
                  <a:lnTo>
                    <a:pt x="248" y="541"/>
                  </a:lnTo>
                  <a:lnTo>
                    <a:pt x="247" y="540"/>
                  </a:lnTo>
                  <a:lnTo>
                    <a:pt x="246" y="540"/>
                  </a:lnTo>
                  <a:lnTo>
                    <a:pt x="244" y="540"/>
                  </a:lnTo>
                  <a:lnTo>
                    <a:pt x="242" y="539"/>
                  </a:lnTo>
                  <a:lnTo>
                    <a:pt x="241" y="539"/>
                  </a:lnTo>
                  <a:lnTo>
                    <a:pt x="240" y="539"/>
                  </a:lnTo>
                  <a:lnTo>
                    <a:pt x="239" y="540"/>
                  </a:lnTo>
                  <a:lnTo>
                    <a:pt x="238" y="540"/>
                  </a:lnTo>
                  <a:lnTo>
                    <a:pt x="234" y="544"/>
                  </a:lnTo>
                  <a:lnTo>
                    <a:pt x="232" y="545"/>
                  </a:lnTo>
                  <a:lnTo>
                    <a:pt x="230" y="547"/>
                  </a:lnTo>
                  <a:lnTo>
                    <a:pt x="230" y="546"/>
                  </a:lnTo>
                  <a:lnTo>
                    <a:pt x="228" y="545"/>
                  </a:lnTo>
                  <a:lnTo>
                    <a:pt x="227" y="545"/>
                  </a:lnTo>
                  <a:lnTo>
                    <a:pt x="226" y="545"/>
                  </a:lnTo>
                  <a:lnTo>
                    <a:pt x="226" y="544"/>
                  </a:lnTo>
                  <a:lnTo>
                    <a:pt x="224" y="543"/>
                  </a:lnTo>
                  <a:lnTo>
                    <a:pt x="222" y="544"/>
                  </a:lnTo>
                  <a:lnTo>
                    <a:pt x="222" y="545"/>
                  </a:lnTo>
                  <a:lnTo>
                    <a:pt x="221" y="544"/>
                  </a:lnTo>
                  <a:lnTo>
                    <a:pt x="218" y="544"/>
                  </a:lnTo>
                  <a:lnTo>
                    <a:pt x="217" y="543"/>
                  </a:lnTo>
                  <a:lnTo>
                    <a:pt x="215" y="543"/>
                  </a:lnTo>
                  <a:lnTo>
                    <a:pt x="214" y="541"/>
                  </a:lnTo>
                  <a:lnTo>
                    <a:pt x="214" y="540"/>
                  </a:lnTo>
                  <a:lnTo>
                    <a:pt x="212" y="540"/>
                  </a:lnTo>
                  <a:lnTo>
                    <a:pt x="212" y="539"/>
                  </a:lnTo>
                  <a:lnTo>
                    <a:pt x="211" y="538"/>
                  </a:lnTo>
                  <a:lnTo>
                    <a:pt x="212" y="537"/>
                  </a:lnTo>
                  <a:lnTo>
                    <a:pt x="211" y="535"/>
                  </a:lnTo>
                  <a:lnTo>
                    <a:pt x="212" y="534"/>
                  </a:lnTo>
                  <a:lnTo>
                    <a:pt x="212" y="533"/>
                  </a:lnTo>
                  <a:lnTo>
                    <a:pt x="214" y="531"/>
                  </a:lnTo>
                  <a:lnTo>
                    <a:pt x="214" y="528"/>
                  </a:lnTo>
                  <a:lnTo>
                    <a:pt x="212" y="529"/>
                  </a:lnTo>
                  <a:lnTo>
                    <a:pt x="211" y="529"/>
                  </a:lnTo>
                  <a:lnTo>
                    <a:pt x="211" y="532"/>
                  </a:lnTo>
                  <a:lnTo>
                    <a:pt x="210" y="534"/>
                  </a:lnTo>
                  <a:lnTo>
                    <a:pt x="209" y="533"/>
                  </a:lnTo>
                  <a:lnTo>
                    <a:pt x="209" y="532"/>
                  </a:lnTo>
                  <a:lnTo>
                    <a:pt x="208" y="532"/>
                  </a:lnTo>
                  <a:lnTo>
                    <a:pt x="205" y="532"/>
                  </a:lnTo>
                  <a:lnTo>
                    <a:pt x="205" y="531"/>
                  </a:lnTo>
                  <a:lnTo>
                    <a:pt x="205" y="529"/>
                  </a:lnTo>
                  <a:lnTo>
                    <a:pt x="206" y="526"/>
                  </a:lnTo>
                  <a:lnTo>
                    <a:pt x="208" y="525"/>
                  </a:lnTo>
                  <a:lnTo>
                    <a:pt x="208" y="521"/>
                  </a:lnTo>
                  <a:lnTo>
                    <a:pt x="205" y="520"/>
                  </a:lnTo>
                  <a:lnTo>
                    <a:pt x="204" y="519"/>
                  </a:lnTo>
                  <a:lnTo>
                    <a:pt x="204" y="516"/>
                  </a:lnTo>
                  <a:lnTo>
                    <a:pt x="204" y="515"/>
                  </a:lnTo>
                  <a:lnTo>
                    <a:pt x="204" y="513"/>
                  </a:lnTo>
                  <a:lnTo>
                    <a:pt x="204" y="510"/>
                  </a:lnTo>
                  <a:lnTo>
                    <a:pt x="204" y="509"/>
                  </a:lnTo>
                  <a:lnTo>
                    <a:pt x="203" y="508"/>
                  </a:lnTo>
                  <a:lnTo>
                    <a:pt x="202" y="507"/>
                  </a:lnTo>
                  <a:lnTo>
                    <a:pt x="200" y="509"/>
                  </a:lnTo>
                  <a:lnTo>
                    <a:pt x="199" y="509"/>
                  </a:lnTo>
                  <a:lnTo>
                    <a:pt x="197" y="509"/>
                  </a:lnTo>
                  <a:lnTo>
                    <a:pt x="198" y="513"/>
                  </a:lnTo>
                  <a:lnTo>
                    <a:pt x="197" y="514"/>
                  </a:lnTo>
                  <a:lnTo>
                    <a:pt x="197" y="515"/>
                  </a:lnTo>
                  <a:lnTo>
                    <a:pt x="196" y="515"/>
                  </a:lnTo>
                  <a:lnTo>
                    <a:pt x="196" y="516"/>
                  </a:lnTo>
                  <a:lnTo>
                    <a:pt x="194" y="517"/>
                  </a:lnTo>
                  <a:lnTo>
                    <a:pt x="193" y="516"/>
                  </a:lnTo>
                  <a:lnTo>
                    <a:pt x="193" y="517"/>
                  </a:lnTo>
                  <a:lnTo>
                    <a:pt x="192" y="517"/>
                  </a:lnTo>
                  <a:lnTo>
                    <a:pt x="191" y="516"/>
                  </a:lnTo>
                  <a:lnTo>
                    <a:pt x="191" y="515"/>
                  </a:lnTo>
                  <a:lnTo>
                    <a:pt x="188" y="516"/>
                  </a:lnTo>
                  <a:lnTo>
                    <a:pt x="187" y="516"/>
                  </a:lnTo>
                  <a:lnTo>
                    <a:pt x="185" y="515"/>
                  </a:lnTo>
                  <a:lnTo>
                    <a:pt x="183" y="515"/>
                  </a:lnTo>
                  <a:lnTo>
                    <a:pt x="183" y="514"/>
                  </a:lnTo>
                  <a:lnTo>
                    <a:pt x="182" y="513"/>
                  </a:lnTo>
                  <a:lnTo>
                    <a:pt x="182" y="511"/>
                  </a:lnTo>
                  <a:lnTo>
                    <a:pt x="185" y="510"/>
                  </a:lnTo>
                  <a:lnTo>
                    <a:pt x="185" y="508"/>
                  </a:lnTo>
                  <a:lnTo>
                    <a:pt x="186" y="508"/>
                  </a:lnTo>
                  <a:lnTo>
                    <a:pt x="188" y="507"/>
                  </a:lnTo>
                  <a:lnTo>
                    <a:pt x="189" y="505"/>
                  </a:lnTo>
                  <a:lnTo>
                    <a:pt x="193" y="503"/>
                  </a:lnTo>
                  <a:lnTo>
                    <a:pt x="194" y="501"/>
                  </a:lnTo>
                  <a:lnTo>
                    <a:pt x="196" y="501"/>
                  </a:lnTo>
                  <a:lnTo>
                    <a:pt x="198" y="502"/>
                  </a:lnTo>
                  <a:lnTo>
                    <a:pt x="199" y="501"/>
                  </a:lnTo>
                  <a:lnTo>
                    <a:pt x="202" y="499"/>
                  </a:lnTo>
                  <a:lnTo>
                    <a:pt x="203" y="501"/>
                  </a:lnTo>
                  <a:lnTo>
                    <a:pt x="204" y="501"/>
                  </a:lnTo>
                  <a:lnTo>
                    <a:pt x="206" y="502"/>
                  </a:lnTo>
                  <a:lnTo>
                    <a:pt x="208" y="502"/>
                  </a:lnTo>
                  <a:lnTo>
                    <a:pt x="209" y="501"/>
                  </a:lnTo>
                  <a:lnTo>
                    <a:pt x="212" y="502"/>
                  </a:lnTo>
                  <a:lnTo>
                    <a:pt x="214" y="503"/>
                  </a:lnTo>
                  <a:lnTo>
                    <a:pt x="215" y="503"/>
                  </a:lnTo>
                  <a:lnTo>
                    <a:pt x="218" y="503"/>
                  </a:lnTo>
                  <a:lnTo>
                    <a:pt x="222" y="501"/>
                  </a:lnTo>
                  <a:lnTo>
                    <a:pt x="223" y="498"/>
                  </a:lnTo>
                  <a:lnTo>
                    <a:pt x="223" y="492"/>
                  </a:lnTo>
                  <a:lnTo>
                    <a:pt x="224" y="490"/>
                  </a:lnTo>
                  <a:lnTo>
                    <a:pt x="223" y="490"/>
                  </a:lnTo>
                  <a:lnTo>
                    <a:pt x="221" y="493"/>
                  </a:lnTo>
                  <a:lnTo>
                    <a:pt x="221" y="495"/>
                  </a:lnTo>
                  <a:lnTo>
                    <a:pt x="220" y="495"/>
                  </a:lnTo>
                  <a:lnTo>
                    <a:pt x="220" y="492"/>
                  </a:lnTo>
                  <a:lnTo>
                    <a:pt x="217" y="492"/>
                  </a:lnTo>
                  <a:lnTo>
                    <a:pt x="217" y="491"/>
                  </a:lnTo>
                  <a:lnTo>
                    <a:pt x="217" y="490"/>
                  </a:lnTo>
                  <a:lnTo>
                    <a:pt x="216" y="487"/>
                  </a:lnTo>
                  <a:lnTo>
                    <a:pt x="217" y="486"/>
                  </a:lnTo>
                  <a:lnTo>
                    <a:pt x="216" y="485"/>
                  </a:lnTo>
                  <a:lnTo>
                    <a:pt x="216" y="483"/>
                  </a:lnTo>
                  <a:lnTo>
                    <a:pt x="214" y="481"/>
                  </a:lnTo>
                  <a:lnTo>
                    <a:pt x="212" y="480"/>
                  </a:lnTo>
                  <a:lnTo>
                    <a:pt x="211" y="479"/>
                  </a:lnTo>
                  <a:lnTo>
                    <a:pt x="210" y="477"/>
                  </a:lnTo>
                  <a:lnTo>
                    <a:pt x="210" y="475"/>
                  </a:lnTo>
                  <a:lnTo>
                    <a:pt x="210" y="474"/>
                  </a:lnTo>
                  <a:lnTo>
                    <a:pt x="209" y="474"/>
                  </a:lnTo>
                  <a:lnTo>
                    <a:pt x="209" y="472"/>
                  </a:lnTo>
                  <a:lnTo>
                    <a:pt x="210" y="468"/>
                  </a:lnTo>
                  <a:lnTo>
                    <a:pt x="209" y="467"/>
                  </a:lnTo>
                  <a:lnTo>
                    <a:pt x="208" y="467"/>
                  </a:lnTo>
                  <a:lnTo>
                    <a:pt x="205" y="467"/>
                  </a:lnTo>
                  <a:lnTo>
                    <a:pt x="204" y="471"/>
                  </a:lnTo>
                  <a:lnTo>
                    <a:pt x="203" y="471"/>
                  </a:lnTo>
                  <a:lnTo>
                    <a:pt x="202" y="469"/>
                  </a:lnTo>
                  <a:lnTo>
                    <a:pt x="199" y="469"/>
                  </a:lnTo>
                  <a:lnTo>
                    <a:pt x="198" y="469"/>
                  </a:lnTo>
                  <a:lnTo>
                    <a:pt x="196" y="467"/>
                  </a:lnTo>
                  <a:lnTo>
                    <a:pt x="196" y="464"/>
                  </a:lnTo>
                  <a:lnTo>
                    <a:pt x="197" y="463"/>
                  </a:lnTo>
                  <a:lnTo>
                    <a:pt x="185" y="464"/>
                  </a:lnTo>
                  <a:lnTo>
                    <a:pt x="175" y="464"/>
                  </a:lnTo>
                  <a:lnTo>
                    <a:pt x="174" y="468"/>
                  </a:lnTo>
                  <a:lnTo>
                    <a:pt x="174" y="469"/>
                  </a:lnTo>
                  <a:lnTo>
                    <a:pt x="173" y="471"/>
                  </a:lnTo>
                  <a:lnTo>
                    <a:pt x="174" y="472"/>
                  </a:lnTo>
                  <a:lnTo>
                    <a:pt x="175" y="473"/>
                  </a:lnTo>
                  <a:lnTo>
                    <a:pt x="174" y="474"/>
                  </a:lnTo>
                  <a:lnTo>
                    <a:pt x="176" y="475"/>
                  </a:lnTo>
                  <a:lnTo>
                    <a:pt x="175" y="478"/>
                  </a:lnTo>
                  <a:lnTo>
                    <a:pt x="174" y="479"/>
                  </a:lnTo>
                  <a:lnTo>
                    <a:pt x="175" y="483"/>
                  </a:lnTo>
                  <a:lnTo>
                    <a:pt x="176" y="486"/>
                  </a:lnTo>
                  <a:lnTo>
                    <a:pt x="175" y="485"/>
                  </a:lnTo>
                  <a:lnTo>
                    <a:pt x="174" y="485"/>
                  </a:lnTo>
                  <a:lnTo>
                    <a:pt x="174" y="486"/>
                  </a:lnTo>
                  <a:lnTo>
                    <a:pt x="174" y="490"/>
                  </a:lnTo>
                  <a:lnTo>
                    <a:pt x="173" y="490"/>
                  </a:lnTo>
                  <a:lnTo>
                    <a:pt x="170" y="491"/>
                  </a:lnTo>
                  <a:lnTo>
                    <a:pt x="170" y="490"/>
                  </a:lnTo>
                  <a:lnTo>
                    <a:pt x="169" y="489"/>
                  </a:lnTo>
                  <a:lnTo>
                    <a:pt x="168" y="490"/>
                  </a:lnTo>
                  <a:lnTo>
                    <a:pt x="167" y="489"/>
                  </a:lnTo>
                  <a:lnTo>
                    <a:pt x="168" y="485"/>
                  </a:lnTo>
                  <a:lnTo>
                    <a:pt x="168" y="483"/>
                  </a:lnTo>
                  <a:lnTo>
                    <a:pt x="169" y="481"/>
                  </a:lnTo>
                  <a:lnTo>
                    <a:pt x="169" y="478"/>
                  </a:lnTo>
                  <a:lnTo>
                    <a:pt x="167" y="478"/>
                  </a:lnTo>
                  <a:lnTo>
                    <a:pt x="165" y="477"/>
                  </a:lnTo>
                  <a:lnTo>
                    <a:pt x="165" y="473"/>
                  </a:lnTo>
                  <a:lnTo>
                    <a:pt x="165" y="472"/>
                  </a:lnTo>
                  <a:lnTo>
                    <a:pt x="164" y="472"/>
                  </a:lnTo>
                  <a:lnTo>
                    <a:pt x="164" y="477"/>
                  </a:lnTo>
                  <a:lnTo>
                    <a:pt x="164" y="480"/>
                  </a:lnTo>
                  <a:lnTo>
                    <a:pt x="164" y="484"/>
                  </a:lnTo>
                  <a:lnTo>
                    <a:pt x="165" y="486"/>
                  </a:lnTo>
                  <a:lnTo>
                    <a:pt x="163" y="487"/>
                  </a:lnTo>
                  <a:lnTo>
                    <a:pt x="162" y="487"/>
                  </a:lnTo>
                  <a:lnTo>
                    <a:pt x="159" y="490"/>
                  </a:lnTo>
                  <a:lnTo>
                    <a:pt x="157" y="491"/>
                  </a:lnTo>
                  <a:lnTo>
                    <a:pt x="155" y="493"/>
                  </a:lnTo>
                  <a:lnTo>
                    <a:pt x="152" y="492"/>
                  </a:lnTo>
                  <a:lnTo>
                    <a:pt x="151" y="491"/>
                  </a:lnTo>
                  <a:lnTo>
                    <a:pt x="151" y="490"/>
                  </a:lnTo>
                  <a:lnTo>
                    <a:pt x="150" y="490"/>
                  </a:lnTo>
                  <a:lnTo>
                    <a:pt x="150" y="486"/>
                  </a:lnTo>
                  <a:lnTo>
                    <a:pt x="152" y="480"/>
                  </a:lnTo>
                  <a:lnTo>
                    <a:pt x="153" y="478"/>
                  </a:lnTo>
                  <a:lnTo>
                    <a:pt x="155" y="478"/>
                  </a:lnTo>
                  <a:lnTo>
                    <a:pt x="156" y="474"/>
                  </a:lnTo>
                  <a:lnTo>
                    <a:pt x="153" y="474"/>
                  </a:lnTo>
                  <a:lnTo>
                    <a:pt x="152" y="474"/>
                  </a:lnTo>
                  <a:lnTo>
                    <a:pt x="149" y="474"/>
                  </a:lnTo>
                  <a:lnTo>
                    <a:pt x="147" y="471"/>
                  </a:lnTo>
                  <a:lnTo>
                    <a:pt x="147" y="469"/>
                  </a:lnTo>
                  <a:lnTo>
                    <a:pt x="147" y="467"/>
                  </a:lnTo>
                  <a:lnTo>
                    <a:pt x="146" y="467"/>
                  </a:lnTo>
                  <a:lnTo>
                    <a:pt x="146" y="471"/>
                  </a:lnTo>
                  <a:lnTo>
                    <a:pt x="146" y="473"/>
                  </a:lnTo>
                  <a:lnTo>
                    <a:pt x="147" y="475"/>
                  </a:lnTo>
                  <a:lnTo>
                    <a:pt x="147" y="478"/>
                  </a:lnTo>
                  <a:lnTo>
                    <a:pt x="146" y="479"/>
                  </a:lnTo>
                  <a:lnTo>
                    <a:pt x="145" y="480"/>
                  </a:lnTo>
                  <a:lnTo>
                    <a:pt x="144" y="481"/>
                  </a:lnTo>
                  <a:lnTo>
                    <a:pt x="141" y="484"/>
                  </a:lnTo>
                  <a:lnTo>
                    <a:pt x="140" y="483"/>
                  </a:lnTo>
                  <a:lnTo>
                    <a:pt x="139" y="484"/>
                  </a:lnTo>
                  <a:lnTo>
                    <a:pt x="137" y="484"/>
                  </a:lnTo>
                  <a:lnTo>
                    <a:pt x="135" y="484"/>
                  </a:lnTo>
                  <a:lnTo>
                    <a:pt x="130" y="483"/>
                  </a:lnTo>
                  <a:lnTo>
                    <a:pt x="128" y="483"/>
                  </a:lnTo>
                  <a:lnTo>
                    <a:pt x="127" y="481"/>
                  </a:lnTo>
                  <a:lnTo>
                    <a:pt x="124" y="480"/>
                  </a:lnTo>
                  <a:lnTo>
                    <a:pt x="123" y="480"/>
                  </a:lnTo>
                  <a:lnTo>
                    <a:pt x="123" y="481"/>
                  </a:lnTo>
                  <a:lnTo>
                    <a:pt x="124" y="484"/>
                  </a:lnTo>
                  <a:lnTo>
                    <a:pt x="126" y="485"/>
                  </a:lnTo>
                  <a:lnTo>
                    <a:pt x="130" y="489"/>
                  </a:lnTo>
                  <a:lnTo>
                    <a:pt x="132" y="492"/>
                  </a:lnTo>
                  <a:lnTo>
                    <a:pt x="130" y="493"/>
                  </a:lnTo>
                  <a:lnTo>
                    <a:pt x="127" y="493"/>
                  </a:lnTo>
                  <a:lnTo>
                    <a:pt x="124" y="495"/>
                  </a:lnTo>
                  <a:lnTo>
                    <a:pt x="122" y="492"/>
                  </a:lnTo>
                  <a:lnTo>
                    <a:pt x="121" y="492"/>
                  </a:lnTo>
                  <a:lnTo>
                    <a:pt x="120" y="495"/>
                  </a:lnTo>
                  <a:lnTo>
                    <a:pt x="117" y="495"/>
                  </a:lnTo>
                  <a:lnTo>
                    <a:pt x="116" y="495"/>
                  </a:lnTo>
                  <a:lnTo>
                    <a:pt x="115" y="496"/>
                  </a:lnTo>
                  <a:lnTo>
                    <a:pt x="112" y="495"/>
                  </a:lnTo>
                  <a:lnTo>
                    <a:pt x="110" y="493"/>
                  </a:lnTo>
                  <a:lnTo>
                    <a:pt x="109" y="492"/>
                  </a:lnTo>
                  <a:lnTo>
                    <a:pt x="109" y="495"/>
                  </a:lnTo>
                  <a:lnTo>
                    <a:pt x="109" y="497"/>
                  </a:lnTo>
                  <a:lnTo>
                    <a:pt x="106" y="497"/>
                  </a:lnTo>
                  <a:lnTo>
                    <a:pt x="105" y="499"/>
                  </a:lnTo>
                  <a:lnTo>
                    <a:pt x="104" y="499"/>
                  </a:lnTo>
                  <a:lnTo>
                    <a:pt x="100" y="499"/>
                  </a:lnTo>
                  <a:lnTo>
                    <a:pt x="98" y="499"/>
                  </a:lnTo>
                  <a:lnTo>
                    <a:pt x="98" y="497"/>
                  </a:lnTo>
                  <a:lnTo>
                    <a:pt x="100" y="495"/>
                  </a:lnTo>
                  <a:lnTo>
                    <a:pt x="102" y="489"/>
                  </a:lnTo>
                  <a:lnTo>
                    <a:pt x="100" y="485"/>
                  </a:lnTo>
                  <a:lnTo>
                    <a:pt x="99" y="483"/>
                  </a:lnTo>
                  <a:lnTo>
                    <a:pt x="97" y="485"/>
                  </a:lnTo>
                  <a:lnTo>
                    <a:pt x="97" y="487"/>
                  </a:lnTo>
                  <a:lnTo>
                    <a:pt x="97" y="491"/>
                  </a:lnTo>
                  <a:lnTo>
                    <a:pt x="96" y="493"/>
                  </a:lnTo>
                  <a:lnTo>
                    <a:pt x="96" y="496"/>
                  </a:lnTo>
                  <a:lnTo>
                    <a:pt x="97" y="498"/>
                  </a:lnTo>
                  <a:lnTo>
                    <a:pt x="96" y="499"/>
                  </a:lnTo>
                  <a:lnTo>
                    <a:pt x="93" y="499"/>
                  </a:lnTo>
                  <a:lnTo>
                    <a:pt x="92" y="501"/>
                  </a:lnTo>
                  <a:lnTo>
                    <a:pt x="91" y="502"/>
                  </a:lnTo>
                  <a:lnTo>
                    <a:pt x="90" y="501"/>
                  </a:lnTo>
                  <a:lnTo>
                    <a:pt x="88" y="501"/>
                  </a:lnTo>
                  <a:lnTo>
                    <a:pt x="87" y="502"/>
                  </a:lnTo>
                  <a:lnTo>
                    <a:pt x="86" y="503"/>
                  </a:lnTo>
                  <a:lnTo>
                    <a:pt x="85" y="503"/>
                  </a:lnTo>
                  <a:lnTo>
                    <a:pt x="85" y="505"/>
                  </a:lnTo>
                  <a:lnTo>
                    <a:pt x="84" y="505"/>
                  </a:lnTo>
                  <a:lnTo>
                    <a:pt x="82" y="504"/>
                  </a:lnTo>
                  <a:lnTo>
                    <a:pt x="81" y="503"/>
                  </a:lnTo>
                  <a:lnTo>
                    <a:pt x="79" y="505"/>
                  </a:lnTo>
                  <a:lnTo>
                    <a:pt x="78" y="505"/>
                  </a:lnTo>
                  <a:lnTo>
                    <a:pt x="75" y="508"/>
                  </a:lnTo>
                  <a:lnTo>
                    <a:pt x="73" y="507"/>
                  </a:lnTo>
                  <a:lnTo>
                    <a:pt x="75" y="505"/>
                  </a:lnTo>
                  <a:lnTo>
                    <a:pt x="71" y="504"/>
                  </a:lnTo>
                  <a:lnTo>
                    <a:pt x="69" y="503"/>
                  </a:lnTo>
                  <a:lnTo>
                    <a:pt x="70" y="501"/>
                  </a:lnTo>
                  <a:lnTo>
                    <a:pt x="68" y="499"/>
                  </a:lnTo>
                  <a:lnTo>
                    <a:pt x="68" y="498"/>
                  </a:lnTo>
                  <a:lnTo>
                    <a:pt x="68" y="497"/>
                  </a:lnTo>
                  <a:lnTo>
                    <a:pt x="69" y="496"/>
                  </a:lnTo>
                  <a:lnTo>
                    <a:pt x="70" y="495"/>
                  </a:lnTo>
                  <a:lnTo>
                    <a:pt x="71" y="493"/>
                  </a:lnTo>
                  <a:lnTo>
                    <a:pt x="73" y="491"/>
                  </a:lnTo>
                  <a:lnTo>
                    <a:pt x="73" y="490"/>
                  </a:lnTo>
                  <a:lnTo>
                    <a:pt x="75" y="489"/>
                  </a:lnTo>
                  <a:lnTo>
                    <a:pt x="75" y="487"/>
                  </a:lnTo>
                  <a:lnTo>
                    <a:pt x="75" y="485"/>
                  </a:lnTo>
                  <a:lnTo>
                    <a:pt x="76" y="483"/>
                  </a:lnTo>
                  <a:lnTo>
                    <a:pt x="79" y="481"/>
                  </a:lnTo>
                  <a:lnTo>
                    <a:pt x="80" y="481"/>
                  </a:lnTo>
                  <a:lnTo>
                    <a:pt x="81" y="481"/>
                  </a:lnTo>
                  <a:lnTo>
                    <a:pt x="82" y="479"/>
                  </a:lnTo>
                  <a:lnTo>
                    <a:pt x="84" y="479"/>
                  </a:lnTo>
                  <a:lnTo>
                    <a:pt x="85" y="479"/>
                  </a:lnTo>
                  <a:lnTo>
                    <a:pt x="81" y="477"/>
                  </a:lnTo>
                  <a:lnTo>
                    <a:pt x="82" y="475"/>
                  </a:lnTo>
                  <a:lnTo>
                    <a:pt x="82" y="474"/>
                  </a:lnTo>
                  <a:lnTo>
                    <a:pt x="84" y="472"/>
                  </a:lnTo>
                  <a:lnTo>
                    <a:pt x="82" y="472"/>
                  </a:lnTo>
                  <a:lnTo>
                    <a:pt x="82" y="469"/>
                  </a:lnTo>
                  <a:lnTo>
                    <a:pt x="82" y="472"/>
                  </a:lnTo>
                  <a:lnTo>
                    <a:pt x="81" y="473"/>
                  </a:lnTo>
                  <a:lnTo>
                    <a:pt x="80" y="474"/>
                  </a:lnTo>
                  <a:lnTo>
                    <a:pt x="79" y="474"/>
                  </a:lnTo>
                  <a:lnTo>
                    <a:pt x="78" y="473"/>
                  </a:lnTo>
                  <a:lnTo>
                    <a:pt x="76" y="474"/>
                  </a:lnTo>
                  <a:lnTo>
                    <a:pt x="75" y="474"/>
                  </a:lnTo>
                  <a:lnTo>
                    <a:pt x="74" y="474"/>
                  </a:lnTo>
                  <a:lnTo>
                    <a:pt x="70" y="474"/>
                  </a:lnTo>
                  <a:lnTo>
                    <a:pt x="69" y="475"/>
                  </a:lnTo>
                  <a:lnTo>
                    <a:pt x="68" y="474"/>
                  </a:lnTo>
                  <a:lnTo>
                    <a:pt x="67" y="473"/>
                  </a:lnTo>
                  <a:lnTo>
                    <a:pt x="68" y="472"/>
                  </a:lnTo>
                  <a:lnTo>
                    <a:pt x="68" y="469"/>
                  </a:lnTo>
                  <a:lnTo>
                    <a:pt x="67" y="467"/>
                  </a:lnTo>
                  <a:lnTo>
                    <a:pt x="65" y="467"/>
                  </a:lnTo>
                  <a:lnTo>
                    <a:pt x="65" y="466"/>
                  </a:lnTo>
                  <a:lnTo>
                    <a:pt x="65" y="464"/>
                  </a:lnTo>
                  <a:lnTo>
                    <a:pt x="64" y="462"/>
                  </a:lnTo>
                  <a:lnTo>
                    <a:pt x="65" y="461"/>
                  </a:lnTo>
                  <a:lnTo>
                    <a:pt x="67" y="460"/>
                  </a:lnTo>
                  <a:lnTo>
                    <a:pt x="65" y="460"/>
                  </a:lnTo>
                  <a:lnTo>
                    <a:pt x="63" y="461"/>
                  </a:lnTo>
                  <a:lnTo>
                    <a:pt x="61" y="461"/>
                  </a:lnTo>
                  <a:lnTo>
                    <a:pt x="59" y="461"/>
                  </a:lnTo>
                  <a:lnTo>
                    <a:pt x="58" y="458"/>
                  </a:lnTo>
                  <a:lnTo>
                    <a:pt x="57" y="458"/>
                  </a:lnTo>
                  <a:lnTo>
                    <a:pt x="57" y="456"/>
                  </a:lnTo>
                  <a:lnTo>
                    <a:pt x="55" y="456"/>
                  </a:lnTo>
                  <a:lnTo>
                    <a:pt x="53" y="457"/>
                  </a:lnTo>
                  <a:lnTo>
                    <a:pt x="52" y="457"/>
                  </a:lnTo>
                  <a:lnTo>
                    <a:pt x="52" y="458"/>
                  </a:lnTo>
                  <a:lnTo>
                    <a:pt x="51" y="458"/>
                  </a:lnTo>
                  <a:lnTo>
                    <a:pt x="50" y="460"/>
                  </a:lnTo>
                  <a:lnTo>
                    <a:pt x="49" y="460"/>
                  </a:lnTo>
                  <a:lnTo>
                    <a:pt x="45" y="461"/>
                  </a:lnTo>
                  <a:lnTo>
                    <a:pt x="44" y="463"/>
                  </a:lnTo>
                  <a:lnTo>
                    <a:pt x="43" y="463"/>
                  </a:lnTo>
                  <a:lnTo>
                    <a:pt x="40" y="463"/>
                  </a:lnTo>
                  <a:lnTo>
                    <a:pt x="39" y="463"/>
                  </a:lnTo>
                  <a:lnTo>
                    <a:pt x="37" y="466"/>
                  </a:lnTo>
                  <a:lnTo>
                    <a:pt x="35" y="466"/>
                  </a:lnTo>
                  <a:lnTo>
                    <a:pt x="33" y="467"/>
                  </a:lnTo>
                  <a:lnTo>
                    <a:pt x="34" y="467"/>
                  </a:lnTo>
                  <a:lnTo>
                    <a:pt x="33" y="466"/>
                  </a:lnTo>
                  <a:lnTo>
                    <a:pt x="28" y="464"/>
                  </a:lnTo>
                  <a:lnTo>
                    <a:pt x="27" y="464"/>
                  </a:lnTo>
                  <a:lnTo>
                    <a:pt x="26" y="463"/>
                  </a:lnTo>
                  <a:lnTo>
                    <a:pt x="27" y="462"/>
                  </a:lnTo>
                  <a:lnTo>
                    <a:pt x="27" y="460"/>
                  </a:lnTo>
                  <a:lnTo>
                    <a:pt x="29" y="460"/>
                  </a:lnTo>
                  <a:lnTo>
                    <a:pt x="32" y="460"/>
                  </a:lnTo>
                  <a:lnTo>
                    <a:pt x="33" y="458"/>
                  </a:lnTo>
                  <a:lnTo>
                    <a:pt x="34" y="456"/>
                  </a:lnTo>
                  <a:lnTo>
                    <a:pt x="34" y="455"/>
                  </a:lnTo>
                  <a:lnTo>
                    <a:pt x="34" y="452"/>
                  </a:lnTo>
                  <a:lnTo>
                    <a:pt x="35" y="451"/>
                  </a:lnTo>
                  <a:lnTo>
                    <a:pt x="35" y="449"/>
                  </a:lnTo>
                  <a:lnTo>
                    <a:pt x="38" y="449"/>
                  </a:lnTo>
                  <a:lnTo>
                    <a:pt x="39" y="448"/>
                  </a:lnTo>
                  <a:lnTo>
                    <a:pt x="39" y="444"/>
                  </a:lnTo>
                  <a:lnTo>
                    <a:pt x="38" y="445"/>
                  </a:lnTo>
                  <a:lnTo>
                    <a:pt x="37" y="445"/>
                  </a:lnTo>
                  <a:lnTo>
                    <a:pt x="34" y="445"/>
                  </a:lnTo>
                  <a:lnTo>
                    <a:pt x="33" y="444"/>
                  </a:lnTo>
                  <a:lnTo>
                    <a:pt x="35" y="443"/>
                  </a:lnTo>
                  <a:lnTo>
                    <a:pt x="35" y="442"/>
                  </a:lnTo>
                  <a:lnTo>
                    <a:pt x="35" y="440"/>
                  </a:lnTo>
                  <a:lnTo>
                    <a:pt x="35" y="439"/>
                  </a:lnTo>
                  <a:lnTo>
                    <a:pt x="35" y="438"/>
                  </a:lnTo>
                  <a:lnTo>
                    <a:pt x="37" y="438"/>
                  </a:lnTo>
                  <a:lnTo>
                    <a:pt x="39" y="439"/>
                  </a:lnTo>
                  <a:lnTo>
                    <a:pt x="40" y="440"/>
                  </a:lnTo>
                  <a:lnTo>
                    <a:pt x="41" y="438"/>
                  </a:lnTo>
                  <a:lnTo>
                    <a:pt x="43" y="438"/>
                  </a:lnTo>
                  <a:lnTo>
                    <a:pt x="44" y="439"/>
                  </a:lnTo>
                  <a:lnTo>
                    <a:pt x="46" y="439"/>
                  </a:lnTo>
                  <a:lnTo>
                    <a:pt x="49" y="439"/>
                  </a:lnTo>
                  <a:lnTo>
                    <a:pt x="49" y="433"/>
                  </a:lnTo>
                  <a:lnTo>
                    <a:pt x="47" y="431"/>
                  </a:lnTo>
                  <a:lnTo>
                    <a:pt x="45" y="431"/>
                  </a:lnTo>
                  <a:lnTo>
                    <a:pt x="44" y="430"/>
                  </a:lnTo>
                  <a:lnTo>
                    <a:pt x="43" y="428"/>
                  </a:lnTo>
                  <a:lnTo>
                    <a:pt x="44" y="427"/>
                  </a:lnTo>
                  <a:lnTo>
                    <a:pt x="44" y="426"/>
                  </a:lnTo>
                  <a:lnTo>
                    <a:pt x="43" y="425"/>
                  </a:lnTo>
                  <a:lnTo>
                    <a:pt x="44" y="422"/>
                  </a:lnTo>
                  <a:lnTo>
                    <a:pt x="43" y="420"/>
                  </a:lnTo>
                  <a:lnTo>
                    <a:pt x="44" y="419"/>
                  </a:lnTo>
                  <a:lnTo>
                    <a:pt x="44" y="416"/>
                  </a:lnTo>
                  <a:lnTo>
                    <a:pt x="44" y="414"/>
                  </a:lnTo>
                  <a:lnTo>
                    <a:pt x="41" y="413"/>
                  </a:lnTo>
                  <a:lnTo>
                    <a:pt x="39" y="413"/>
                  </a:lnTo>
                  <a:lnTo>
                    <a:pt x="38" y="412"/>
                  </a:lnTo>
                  <a:lnTo>
                    <a:pt x="37" y="412"/>
                  </a:lnTo>
                  <a:lnTo>
                    <a:pt x="34" y="410"/>
                  </a:lnTo>
                  <a:lnTo>
                    <a:pt x="33" y="410"/>
                  </a:lnTo>
                  <a:lnTo>
                    <a:pt x="31" y="408"/>
                  </a:lnTo>
                  <a:lnTo>
                    <a:pt x="29" y="407"/>
                  </a:lnTo>
                  <a:lnTo>
                    <a:pt x="27" y="406"/>
                  </a:lnTo>
                  <a:lnTo>
                    <a:pt x="25" y="404"/>
                  </a:lnTo>
                  <a:lnTo>
                    <a:pt x="23" y="403"/>
                  </a:lnTo>
                  <a:lnTo>
                    <a:pt x="27" y="401"/>
                  </a:lnTo>
                  <a:lnTo>
                    <a:pt x="29" y="400"/>
                  </a:lnTo>
                  <a:lnTo>
                    <a:pt x="32" y="397"/>
                  </a:lnTo>
                  <a:lnTo>
                    <a:pt x="34" y="395"/>
                  </a:lnTo>
                  <a:lnTo>
                    <a:pt x="37" y="395"/>
                  </a:lnTo>
                  <a:lnTo>
                    <a:pt x="38" y="395"/>
                  </a:lnTo>
                  <a:lnTo>
                    <a:pt x="39" y="392"/>
                  </a:lnTo>
                  <a:lnTo>
                    <a:pt x="39" y="391"/>
                  </a:lnTo>
                  <a:lnTo>
                    <a:pt x="40" y="390"/>
                  </a:lnTo>
                  <a:lnTo>
                    <a:pt x="40" y="389"/>
                  </a:lnTo>
                  <a:lnTo>
                    <a:pt x="41" y="386"/>
                  </a:lnTo>
                  <a:lnTo>
                    <a:pt x="41" y="385"/>
                  </a:lnTo>
                  <a:lnTo>
                    <a:pt x="43" y="383"/>
                  </a:lnTo>
                  <a:lnTo>
                    <a:pt x="43" y="379"/>
                  </a:lnTo>
                  <a:lnTo>
                    <a:pt x="41" y="379"/>
                  </a:lnTo>
                  <a:lnTo>
                    <a:pt x="40" y="383"/>
                  </a:lnTo>
                  <a:lnTo>
                    <a:pt x="39" y="384"/>
                  </a:lnTo>
                  <a:lnTo>
                    <a:pt x="39" y="385"/>
                  </a:lnTo>
                  <a:lnTo>
                    <a:pt x="37" y="385"/>
                  </a:lnTo>
                  <a:lnTo>
                    <a:pt x="34" y="386"/>
                  </a:lnTo>
                  <a:lnTo>
                    <a:pt x="34" y="388"/>
                  </a:lnTo>
                  <a:lnTo>
                    <a:pt x="31" y="386"/>
                  </a:lnTo>
                  <a:lnTo>
                    <a:pt x="29" y="388"/>
                  </a:lnTo>
                  <a:lnTo>
                    <a:pt x="28" y="391"/>
                  </a:lnTo>
                  <a:lnTo>
                    <a:pt x="28" y="392"/>
                  </a:lnTo>
                  <a:lnTo>
                    <a:pt x="27" y="395"/>
                  </a:lnTo>
                  <a:lnTo>
                    <a:pt x="26" y="395"/>
                  </a:lnTo>
                  <a:lnTo>
                    <a:pt x="25" y="395"/>
                  </a:lnTo>
                  <a:lnTo>
                    <a:pt x="23" y="395"/>
                  </a:lnTo>
                  <a:lnTo>
                    <a:pt x="22" y="394"/>
                  </a:lnTo>
                  <a:lnTo>
                    <a:pt x="21" y="392"/>
                  </a:lnTo>
                  <a:lnTo>
                    <a:pt x="21" y="391"/>
                  </a:lnTo>
                  <a:lnTo>
                    <a:pt x="22" y="390"/>
                  </a:lnTo>
                  <a:lnTo>
                    <a:pt x="22" y="388"/>
                  </a:lnTo>
                  <a:lnTo>
                    <a:pt x="23" y="388"/>
                  </a:lnTo>
                  <a:lnTo>
                    <a:pt x="25" y="388"/>
                  </a:lnTo>
                  <a:lnTo>
                    <a:pt x="26" y="388"/>
                  </a:lnTo>
                  <a:lnTo>
                    <a:pt x="28" y="388"/>
                  </a:lnTo>
                  <a:lnTo>
                    <a:pt x="29" y="386"/>
                  </a:lnTo>
                  <a:lnTo>
                    <a:pt x="28" y="386"/>
                  </a:lnTo>
                  <a:lnTo>
                    <a:pt x="27" y="385"/>
                  </a:lnTo>
                  <a:lnTo>
                    <a:pt x="26" y="385"/>
                  </a:lnTo>
                  <a:lnTo>
                    <a:pt x="26" y="384"/>
                  </a:lnTo>
                  <a:lnTo>
                    <a:pt x="25" y="382"/>
                  </a:lnTo>
                  <a:lnTo>
                    <a:pt x="25" y="380"/>
                  </a:lnTo>
                  <a:lnTo>
                    <a:pt x="23" y="379"/>
                  </a:lnTo>
                  <a:lnTo>
                    <a:pt x="22" y="379"/>
                  </a:lnTo>
                  <a:lnTo>
                    <a:pt x="22" y="382"/>
                  </a:lnTo>
                  <a:lnTo>
                    <a:pt x="22" y="383"/>
                  </a:lnTo>
                  <a:lnTo>
                    <a:pt x="21" y="384"/>
                  </a:lnTo>
                  <a:lnTo>
                    <a:pt x="20" y="383"/>
                  </a:lnTo>
                  <a:lnTo>
                    <a:pt x="19" y="382"/>
                  </a:lnTo>
                  <a:lnTo>
                    <a:pt x="16" y="383"/>
                  </a:lnTo>
                  <a:lnTo>
                    <a:pt x="15" y="382"/>
                  </a:lnTo>
                  <a:lnTo>
                    <a:pt x="16" y="380"/>
                  </a:lnTo>
                  <a:lnTo>
                    <a:pt x="15" y="379"/>
                  </a:lnTo>
                  <a:lnTo>
                    <a:pt x="14" y="378"/>
                  </a:lnTo>
                  <a:lnTo>
                    <a:pt x="14" y="377"/>
                  </a:lnTo>
                  <a:lnTo>
                    <a:pt x="14" y="376"/>
                  </a:lnTo>
                  <a:lnTo>
                    <a:pt x="14" y="373"/>
                  </a:lnTo>
                  <a:lnTo>
                    <a:pt x="14" y="372"/>
                  </a:lnTo>
                  <a:lnTo>
                    <a:pt x="11" y="372"/>
                  </a:lnTo>
                  <a:lnTo>
                    <a:pt x="9" y="372"/>
                  </a:lnTo>
                  <a:lnTo>
                    <a:pt x="6" y="372"/>
                  </a:lnTo>
                  <a:lnTo>
                    <a:pt x="8" y="368"/>
                  </a:lnTo>
                  <a:lnTo>
                    <a:pt x="6" y="367"/>
                  </a:lnTo>
                  <a:lnTo>
                    <a:pt x="4" y="367"/>
                  </a:lnTo>
                  <a:lnTo>
                    <a:pt x="6" y="366"/>
                  </a:lnTo>
                  <a:lnTo>
                    <a:pt x="8" y="362"/>
                  </a:lnTo>
                  <a:lnTo>
                    <a:pt x="6" y="362"/>
                  </a:lnTo>
                  <a:lnTo>
                    <a:pt x="4" y="362"/>
                  </a:lnTo>
                  <a:lnTo>
                    <a:pt x="4" y="361"/>
                  </a:lnTo>
                  <a:lnTo>
                    <a:pt x="5" y="360"/>
                  </a:lnTo>
                  <a:lnTo>
                    <a:pt x="3" y="357"/>
                  </a:lnTo>
                  <a:lnTo>
                    <a:pt x="0" y="356"/>
                  </a:lnTo>
                  <a:lnTo>
                    <a:pt x="0" y="355"/>
                  </a:lnTo>
                  <a:lnTo>
                    <a:pt x="2" y="354"/>
                  </a:lnTo>
                  <a:lnTo>
                    <a:pt x="2" y="353"/>
                  </a:lnTo>
                  <a:lnTo>
                    <a:pt x="2" y="350"/>
                  </a:lnTo>
                  <a:lnTo>
                    <a:pt x="3" y="349"/>
                  </a:lnTo>
                  <a:lnTo>
                    <a:pt x="4" y="351"/>
                  </a:lnTo>
                  <a:lnTo>
                    <a:pt x="5" y="353"/>
                  </a:lnTo>
                  <a:lnTo>
                    <a:pt x="8" y="353"/>
                  </a:lnTo>
                  <a:lnTo>
                    <a:pt x="9" y="354"/>
                  </a:lnTo>
                  <a:lnTo>
                    <a:pt x="10" y="353"/>
                  </a:lnTo>
                  <a:lnTo>
                    <a:pt x="12" y="351"/>
                  </a:lnTo>
                  <a:lnTo>
                    <a:pt x="14" y="350"/>
                  </a:lnTo>
                  <a:lnTo>
                    <a:pt x="14" y="349"/>
                  </a:lnTo>
                  <a:lnTo>
                    <a:pt x="14" y="347"/>
                  </a:lnTo>
                  <a:lnTo>
                    <a:pt x="15" y="345"/>
                  </a:lnTo>
                  <a:lnTo>
                    <a:pt x="16" y="347"/>
                  </a:lnTo>
                  <a:lnTo>
                    <a:pt x="16" y="349"/>
                  </a:lnTo>
                  <a:lnTo>
                    <a:pt x="19" y="348"/>
                  </a:lnTo>
                  <a:lnTo>
                    <a:pt x="20" y="348"/>
                  </a:lnTo>
                  <a:lnTo>
                    <a:pt x="21" y="344"/>
                  </a:lnTo>
                  <a:lnTo>
                    <a:pt x="22" y="343"/>
                  </a:lnTo>
                  <a:lnTo>
                    <a:pt x="26" y="342"/>
                  </a:lnTo>
                  <a:lnTo>
                    <a:pt x="27" y="342"/>
                  </a:lnTo>
                  <a:lnTo>
                    <a:pt x="27" y="339"/>
                  </a:lnTo>
                  <a:lnTo>
                    <a:pt x="26" y="337"/>
                  </a:lnTo>
                  <a:lnTo>
                    <a:pt x="25" y="336"/>
                  </a:lnTo>
                  <a:lnTo>
                    <a:pt x="23" y="332"/>
                  </a:lnTo>
                  <a:lnTo>
                    <a:pt x="23" y="330"/>
                  </a:lnTo>
                  <a:lnTo>
                    <a:pt x="22" y="329"/>
                  </a:lnTo>
                  <a:lnTo>
                    <a:pt x="23" y="327"/>
                  </a:lnTo>
                  <a:lnTo>
                    <a:pt x="23" y="326"/>
                  </a:lnTo>
                  <a:lnTo>
                    <a:pt x="25" y="327"/>
                  </a:lnTo>
                  <a:lnTo>
                    <a:pt x="26" y="327"/>
                  </a:lnTo>
                  <a:lnTo>
                    <a:pt x="29" y="327"/>
                  </a:lnTo>
                  <a:lnTo>
                    <a:pt x="29" y="325"/>
                  </a:lnTo>
                  <a:lnTo>
                    <a:pt x="28" y="323"/>
                  </a:lnTo>
                  <a:lnTo>
                    <a:pt x="29" y="323"/>
                  </a:lnTo>
                  <a:lnTo>
                    <a:pt x="32" y="321"/>
                  </a:lnTo>
                  <a:lnTo>
                    <a:pt x="33" y="321"/>
                  </a:lnTo>
                  <a:lnTo>
                    <a:pt x="35" y="324"/>
                  </a:lnTo>
                  <a:lnTo>
                    <a:pt x="35" y="325"/>
                  </a:lnTo>
                  <a:lnTo>
                    <a:pt x="35" y="326"/>
                  </a:lnTo>
                  <a:lnTo>
                    <a:pt x="35" y="329"/>
                  </a:lnTo>
                  <a:lnTo>
                    <a:pt x="34" y="331"/>
                  </a:lnTo>
                  <a:lnTo>
                    <a:pt x="35" y="331"/>
                  </a:lnTo>
                  <a:lnTo>
                    <a:pt x="38" y="330"/>
                  </a:lnTo>
                  <a:lnTo>
                    <a:pt x="39" y="330"/>
                  </a:lnTo>
                  <a:lnTo>
                    <a:pt x="39" y="327"/>
                  </a:lnTo>
                  <a:lnTo>
                    <a:pt x="39" y="330"/>
                  </a:lnTo>
                  <a:lnTo>
                    <a:pt x="40" y="329"/>
                  </a:lnTo>
                  <a:lnTo>
                    <a:pt x="41" y="329"/>
                  </a:lnTo>
                  <a:lnTo>
                    <a:pt x="43" y="327"/>
                  </a:lnTo>
                  <a:lnTo>
                    <a:pt x="44" y="327"/>
                  </a:lnTo>
                  <a:lnTo>
                    <a:pt x="46" y="327"/>
                  </a:lnTo>
                  <a:lnTo>
                    <a:pt x="49" y="326"/>
                  </a:lnTo>
                  <a:lnTo>
                    <a:pt x="49" y="327"/>
                  </a:lnTo>
                  <a:lnTo>
                    <a:pt x="47" y="327"/>
                  </a:lnTo>
                  <a:lnTo>
                    <a:pt x="46" y="329"/>
                  </a:lnTo>
                  <a:lnTo>
                    <a:pt x="45" y="329"/>
                  </a:lnTo>
                  <a:lnTo>
                    <a:pt x="49" y="327"/>
                  </a:lnTo>
                  <a:lnTo>
                    <a:pt x="46" y="329"/>
                  </a:lnTo>
                  <a:lnTo>
                    <a:pt x="45" y="330"/>
                  </a:lnTo>
                  <a:lnTo>
                    <a:pt x="45" y="331"/>
                  </a:lnTo>
                  <a:lnTo>
                    <a:pt x="46" y="331"/>
                  </a:lnTo>
                  <a:lnTo>
                    <a:pt x="49" y="331"/>
                  </a:lnTo>
                  <a:lnTo>
                    <a:pt x="47" y="330"/>
                  </a:lnTo>
                  <a:lnTo>
                    <a:pt x="50" y="330"/>
                  </a:lnTo>
                  <a:lnTo>
                    <a:pt x="51" y="331"/>
                  </a:lnTo>
                  <a:lnTo>
                    <a:pt x="52" y="332"/>
                  </a:lnTo>
                  <a:lnTo>
                    <a:pt x="53" y="333"/>
                  </a:lnTo>
                  <a:lnTo>
                    <a:pt x="52" y="333"/>
                  </a:lnTo>
                  <a:lnTo>
                    <a:pt x="49" y="332"/>
                  </a:lnTo>
                  <a:lnTo>
                    <a:pt x="49" y="335"/>
                  </a:lnTo>
                  <a:lnTo>
                    <a:pt x="51" y="335"/>
                  </a:lnTo>
                  <a:lnTo>
                    <a:pt x="52" y="335"/>
                  </a:lnTo>
                  <a:lnTo>
                    <a:pt x="53" y="337"/>
                  </a:lnTo>
                  <a:lnTo>
                    <a:pt x="56" y="339"/>
                  </a:lnTo>
                  <a:lnTo>
                    <a:pt x="57" y="339"/>
                  </a:lnTo>
                  <a:lnTo>
                    <a:pt x="58" y="339"/>
                  </a:lnTo>
                  <a:lnTo>
                    <a:pt x="61" y="339"/>
                  </a:lnTo>
                  <a:lnTo>
                    <a:pt x="62" y="338"/>
                  </a:lnTo>
                  <a:lnTo>
                    <a:pt x="63" y="338"/>
                  </a:lnTo>
                  <a:lnTo>
                    <a:pt x="64" y="337"/>
                  </a:lnTo>
                  <a:lnTo>
                    <a:pt x="65" y="335"/>
                  </a:lnTo>
                  <a:lnTo>
                    <a:pt x="67" y="335"/>
                  </a:lnTo>
                  <a:lnTo>
                    <a:pt x="68" y="333"/>
                  </a:lnTo>
                  <a:lnTo>
                    <a:pt x="68" y="331"/>
                  </a:lnTo>
                  <a:lnTo>
                    <a:pt x="68" y="329"/>
                  </a:lnTo>
                  <a:lnTo>
                    <a:pt x="68" y="326"/>
                  </a:lnTo>
                  <a:lnTo>
                    <a:pt x="65" y="327"/>
                  </a:lnTo>
                  <a:lnTo>
                    <a:pt x="65" y="325"/>
                  </a:lnTo>
                  <a:lnTo>
                    <a:pt x="64" y="325"/>
                  </a:lnTo>
                  <a:lnTo>
                    <a:pt x="63" y="324"/>
                  </a:lnTo>
                  <a:lnTo>
                    <a:pt x="64" y="323"/>
                  </a:lnTo>
                  <a:lnTo>
                    <a:pt x="65" y="323"/>
                  </a:lnTo>
                  <a:lnTo>
                    <a:pt x="64" y="321"/>
                  </a:lnTo>
                  <a:lnTo>
                    <a:pt x="63" y="321"/>
                  </a:lnTo>
                  <a:lnTo>
                    <a:pt x="65" y="319"/>
                  </a:lnTo>
                  <a:lnTo>
                    <a:pt x="67" y="320"/>
                  </a:lnTo>
                  <a:lnTo>
                    <a:pt x="68" y="320"/>
                  </a:lnTo>
                  <a:lnTo>
                    <a:pt x="69" y="320"/>
                  </a:lnTo>
                  <a:lnTo>
                    <a:pt x="69" y="318"/>
                  </a:lnTo>
                  <a:lnTo>
                    <a:pt x="70" y="318"/>
                  </a:lnTo>
                  <a:lnTo>
                    <a:pt x="70" y="320"/>
                  </a:lnTo>
                  <a:lnTo>
                    <a:pt x="71" y="320"/>
                  </a:lnTo>
                  <a:lnTo>
                    <a:pt x="73" y="321"/>
                  </a:lnTo>
                  <a:lnTo>
                    <a:pt x="74" y="321"/>
                  </a:lnTo>
                  <a:lnTo>
                    <a:pt x="73" y="324"/>
                  </a:lnTo>
                  <a:lnTo>
                    <a:pt x="73" y="325"/>
                  </a:lnTo>
                  <a:lnTo>
                    <a:pt x="73" y="326"/>
                  </a:lnTo>
                  <a:lnTo>
                    <a:pt x="74" y="325"/>
                  </a:lnTo>
                  <a:lnTo>
                    <a:pt x="73" y="324"/>
                  </a:lnTo>
                  <a:lnTo>
                    <a:pt x="74" y="323"/>
                  </a:lnTo>
                  <a:lnTo>
                    <a:pt x="78" y="323"/>
                  </a:lnTo>
                  <a:lnTo>
                    <a:pt x="76" y="324"/>
                  </a:lnTo>
                  <a:lnTo>
                    <a:pt x="78" y="325"/>
                  </a:lnTo>
                  <a:lnTo>
                    <a:pt x="78" y="326"/>
                  </a:lnTo>
                  <a:lnTo>
                    <a:pt x="81" y="326"/>
                  </a:lnTo>
                  <a:lnTo>
                    <a:pt x="81" y="325"/>
                  </a:lnTo>
                  <a:lnTo>
                    <a:pt x="79" y="324"/>
                  </a:lnTo>
                  <a:lnTo>
                    <a:pt x="81" y="324"/>
                  </a:lnTo>
                  <a:lnTo>
                    <a:pt x="81" y="321"/>
                  </a:lnTo>
                  <a:lnTo>
                    <a:pt x="81" y="320"/>
                  </a:lnTo>
                  <a:lnTo>
                    <a:pt x="82" y="320"/>
                  </a:lnTo>
                  <a:lnTo>
                    <a:pt x="84" y="319"/>
                  </a:lnTo>
                  <a:lnTo>
                    <a:pt x="86" y="320"/>
                  </a:lnTo>
                  <a:lnTo>
                    <a:pt x="87" y="320"/>
                  </a:lnTo>
                  <a:lnTo>
                    <a:pt x="90" y="323"/>
                  </a:lnTo>
                  <a:lnTo>
                    <a:pt x="90" y="321"/>
                  </a:lnTo>
                  <a:lnTo>
                    <a:pt x="90" y="320"/>
                  </a:lnTo>
                  <a:lnTo>
                    <a:pt x="91" y="319"/>
                  </a:lnTo>
                  <a:lnTo>
                    <a:pt x="92" y="320"/>
                  </a:lnTo>
                  <a:lnTo>
                    <a:pt x="92" y="321"/>
                  </a:lnTo>
                  <a:lnTo>
                    <a:pt x="94" y="320"/>
                  </a:lnTo>
                  <a:lnTo>
                    <a:pt x="96" y="319"/>
                  </a:lnTo>
                  <a:lnTo>
                    <a:pt x="97" y="318"/>
                  </a:lnTo>
                  <a:lnTo>
                    <a:pt x="98" y="318"/>
                  </a:lnTo>
                  <a:lnTo>
                    <a:pt x="100" y="319"/>
                  </a:lnTo>
                  <a:lnTo>
                    <a:pt x="99" y="317"/>
                  </a:lnTo>
                  <a:lnTo>
                    <a:pt x="102" y="319"/>
                  </a:lnTo>
                  <a:lnTo>
                    <a:pt x="102" y="318"/>
                  </a:lnTo>
                  <a:lnTo>
                    <a:pt x="103" y="317"/>
                  </a:lnTo>
                  <a:lnTo>
                    <a:pt x="104" y="315"/>
                  </a:lnTo>
                  <a:lnTo>
                    <a:pt x="105" y="315"/>
                  </a:lnTo>
                  <a:lnTo>
                    <a:pt x="105" y="314"/>
                  </a:lnTo>
                  <a:lnTo>
                    <a:pt x="105" y="313"/>
                  </a:lnTo>
                  <a:lnTo>
                    <a:pt x="105" y="312"/>
                  </a:lnTo>
                  <a:lnTo>
                    <a:pt x="104" y="311"/>
                  </a:lnTo>
                  <a:lnTo>
                    <a:pt x="106" y="311"/>
                  </a:lnTo>
                  <a:lnTo>
                    <a:pt x="106" y="309"/>
                  </a:lnTo>
                  <a:lnTo>
                    <a:pt x="109" y="311"/>
                  </a:lnTo>
                  <a:lnTo>
                    <a:pt x="111" y="311"/>
                  </a:lnTo>
                  <a:lnTo>
                    <a:pt x="112" y="309"/>
                  </a:lnTo>
                  <a:lnTo>
                    <a:pt x="111" y="308"/>
                  </a:lnTo>
                  <a:lnTo>
                    <a:pt x="110" y="307"/>
                  </a:lnTo>
                  <a:lnTo>
                    <a:pt x="112" y="307"/>
                  </a:lnTo>
                  <a:lnTo>
                    <a:pt x="112" y="306"/>
                  </a:lnTo>
                  <a:lnTo>
                    <a:pt x="112" y="305"/>
                  </a:lnTo>
                  <a:lnTo>
                    <a:pt x="111" y="303"/>
                  </a:lnTo>
                  <a:lnTo>
                    <a:pt x="112" y="302"/>
                  </a:lnTo>
                  <a:lnTo>
                    <a:pt x="111" y="300"/>
                  </a:lnTo>
                  <a:lnTo>
                    <a:pt x="110" y="300"/>
                  </a:lnTo>
                  <a:lnTo>
                    <a:pt x="109" y="301"/>
                  </a:lnTo>
                  <a:lnTo>
                    <a:pt x="106" y="301"/>
                  </a:lnTo>
                  <a:lnTo>
                    <a:pt x="106" y="300"/>
                  </a:lnTo>
                  <a:lnTo>
                    <a:pt x="108" y="297"/>
                  </a:lnTo>
                  <a:lnTo>
                    <a:pt x="105" y="297"/>
                  </a:lnTo>
                  <a:lnTo>
                    <a:pt x="104" y="299"/>
                  </a:lnTo>
                  <a:lnTo>
                    <a:pt x="104" y="300"/>
                  </a:lnTo>
                  <a:lnTo>
                    <a:pt x="103" y="300"/>
                  </a:lnTo>
                  <a:lnTo>
                    <a:pt x="102" y="300"/>
                  </a:lnTo>
                  <a:lnTo>
                    <a:pt x="100" y="300"/>
                  </a:lnTo>
                  <a:lnTo>
                    <a:pt x="99" y="302"/>
                  </a:lnTo>
                  <a:lnTo>
                    <a:pt x="99" y="301"/>
                  </a:lnTo>
                  <a:lnTo>
                    <a:pt x="97" y="300"/>
                  </a:lnTo>
                  <a:lnTo>
                    <a:pt x="98" y="299"/>
                  </a:lnTo>
                  <a:lnTo>
                    <a:pt x="97" y="297"/>
                  </a:lnTo>
                  <a:lnTo>
                    <a:pt x="94" y="297"/>
                  </a:lnTo>
                  <a:lnTo>
                    <a:pt x="94" y="296"/>
                  </a:lnTo>
                  <a:lnTo>
                    <a:pt x="96" y="295"/>
                  </a:lnTo>
                  <a:lnTo>
                    <a:pt x="98" y="294"/>
                  </a:lnTo>
                  <a:lnTo>
                    <a:pt x="100" y="296"/>
                  </a:lnTo>
                  <a:lnTo>
                    <a:pt x="100" y="295"/>
                  </a:lnTo>
                  <a:lnTo>
                    <a:pt x="102" y="294"/>
                  </a:lnTo>
                  <a:lnTo>
                    <a:pt x="103" y="291"/>
                  </a:lnTo>
                  <a:lnTo>
                    <a:pt x="103" y="294"/>
                  </a:lnTo>
                  <a:lnTo>
                    <a:pt x="104" y="293"/>
                  </a:lnTo>
                  <a:lnTo>
                    <a:pt x="106" y="293"/>
                  </a:lnTo>
                  <a:lnTo>
                    <a:pt x="106" y="291"/>
                  </a:lnTo>
                  <a:lnTo>
                    <a:pt x="110" y="290"/>
                  </a:lnTo>
                  <a:lnTo>
                    <a:pt x="110" y="289"/>
                  </a:lnTo>
                  <a:lnTo>
                    <a:pt x="108" y="289"/>
                  </a:lnTo>
                  <a:lnTo>
                    <a:pt x="106" y="289"/>
                  </a:lnTo>
                  <a:lnTo>
                    <a:pt x="105" y="289"/>
                  </a:lnTo>
                  <a:lnTo>
                    <a:pt x="106" y="288"/>
                  </a:lnTo>
                  <a:lnTo>
                    <a:pt x="105" y="288"/>
                  </a:lnTo>
                  <a:lnTo>
                    <a:pt x="106" y="287"/>
                  </a:lnTo>
                  <a:lnTo>
                    <a:pt x="108" y="285"/>
                  </a:lnTo>
                  <a:lnTo>
                    <a:pt x="109" y="283"/>
                  </a:lnTo>
                  <a:lnTo>
                    <a:pt x="108" y="283"/>
                  </a:lnTo>
                  <a:lnTo>
                    <a:pt x="105" y="283"/>
                  </a:lnTo>
                  <a:lnTo>
                    <a:pt x="104" y="282"/>
                  </a:lnTo>
                  <a:lnTo>
                    <a:pt x="100" y="282"/>
                  </a:lnTo>
                  <a:lnTo>
                    <a:pt x="102" y="282"/>
                  </a:lnTo>
                  <a:lnTo>
                    <a:pt x="104" y="282"/>
                  </a:lnTo>
                  <a:lnTo>
                    <a:pt x="104" y="279"/>
                  </a:lnTo>
                  <a:lnTo>
                    <a:pt x="103" y="279"/>
                  </a:lnTo>
                  <a:lnTo>
                    <a:pt x="103" y="278"/>
                  </a:lnTo>
                  <a:lnTo>
                    <a:pt x="104" y="278"/>
                  </a:lnTo>
                  <a:lnTo>
                    <a:pt x="103" y="277"/>
                  </a:lnTo>
                  <a:lnTo>
                    <a:pt x="100" y="276"/>
                  </a:lnTo>
                  <a:lnTo>
                    <a:pt x="102" y="275"/>
                  </a:lnTo>
                  <a:lnTo>
                    <a:pt x="100" y="273"/>
                  </a:lnTo>
                  <a:lnTo>
                    <a:pt x="102" y="271"/>
                  </a:lnTo>
                  <a:lnTo>
                    <a:pt x="102" y="270"/>
                  </a:lnTo>
                  <a:lnTo>
                    <a:pt x="102" y="269"/>
                  </a:lnTo>
                  <a:lnTo>
                    <a:pt x="104" y="269"/>
                  </a:lnTo>
                  <a:lnTo>
                    <a:pt x="105" y="269"/>
                  </a:lnTo>
                  <a:lnTo>
                    <a:pt x="105" y="267"/>
                  </a:lnTo>
                  <a:lnTo>
                    <a:pt x="105" y="265"/>
                  </a:lnTo>
                  <a:lnTo>
                    <a:pt x="106" y="265"/>
                  </a:lnTo>
                  <a:lnTo>
                    <a:pt x="106" y="266"/>
                  </a:lnTo>
                  <a:lnTo>
                    <a:pt x="108" y="267"/>
                  </a:lnTo>
                  <a:lnTo>
                    <a:pt x="109" y="267"/>
                  </a:lnTo>
                  <a:lnTo>
                    <a:pt x="108" y="265"/>
                  </a:lnTo>
                  <a:lnTo>
                    <a:pt x="109" y="264"/>
                  </a:lnTo>
                  <a:lnTo>
                    <a:pt x="110" y="265"/>
                  </a:lnTo>
                  <a:lnTo>
                    <a:pt x="111" y="264"/>
                  </a:lnTo>
                  <a:lnTo>
                    <a:pt x="111" y="265"/>
                  </a:lnTo>
                  <a:lnTo>
                    <a:pt x="112" y="266"/>
                  </a:lnTo>
                  <a:lnTo>
                    <a:pt x="114" y="264"/>
                  </a:lnTo>
                  <a:lnTo>
                    <a:pt x="114" y="266"/>
                  </a:lnTo>
                  <a:lnTo>
                    <a:pt x="115" y="265"/>
                  </a:lnTo>
                  <a:lnTo>
                    <a:pt x="115" y="264"/>
                  </a:lnTo>
                  <a:lnTo>
                    <a:pt x="117" y="263"/>
                  </a:lnTo>
                  <a:lnTo>
                    <a:pt x="116" y="261"/>
                  </a:lnTo>
                  <a:lnTo>
                    <a:pt x="115" y="260"/>
                  </a:lnTo>
                  <a:lnTo>
                    <a:pt x="116" y="260"/>
                  </a:lnTo>
                  <a:lnTo>
                    <a:pt x="116" y="259"/>
                  </a:lnTo>
                  <a:lnTo>
                    <a:pt x="114" y="258"/>
                  </a:lnTo>
                  <a:lnTo>
                    <a:pt x="115" y="257"/>
                  </a:lnTo>
                  <a:lnTo>
                    <a:pt x="116" y="257"/>
                  </a:lnTo>
                  <a:lnTo>
                    <a:pt x="116" y="255"/>
                  </a:lnTo>
                  <a:lnTo>
                    <a:pt x="115" y="255"/>
                  </a:lnTo>
                  <a:lnTo>
                    <a:pt x="114" y="254"/>
                  </a:lnTo>
                  <a:lnTo>
                    <a:pt x="115" y="254"/>
                  </a:lnTo>
                  <a:lnTo>
                    <a:pt x="116" y="254"/>
                  </a:lnTo>
                  <a:lnTo>
                    <a:pt x="116" y="252"/>
                  </a:lnTo>
                  <a:lnTo>
                    <a:pt x="117" y="252"/>
                  </a:lnTo>
                  <a:lnTo>
                    <a:pt x="117" y="250"/>
                  </a:lnTo>
                  <a:lnTo>
                    <a:pt x="116" y="249"/>
                  </a:lnTo>
                  <a:lnTo>
                    <a:pt x="118" y="249"/>
                  </a:lnTo>
                  <a:lnTo>
                    <a:pt x="120" y="249"/>
                  </a:lnTo>
                  <a:lnTo>
                    <a:pt x="120" y="248"/>
                  </a:lnTo>
                  <a:lnTo>
                    <a:pt x="121" y="248"/>
                  </a:lnTo>
                  <a:lnTo>
                    <a:pt x="122" y="247"/>
                  </a:lnTo>
                  <a:lnTo>
                    <a:pt x="123" y="246"/>
                  </a:lnTo>
                  <a:lnTo>
                    <a:pt x="123" y="244"/>
                  </a:lnTo>
                  <a:lnTo>
                    <a:pt x="124" y="244"/>
                  </a:lnTo>
                  <a:lnTo>
                    <a:pt x="124" y="243"/>
                  </a:lnTo>
                  <a:lnTo>
                    <a:pt x="126" y="242"/>
                  </a:lnTo>
                  <a:lnTo>
                    <a:pt x="128" y="242"/>
                  </a:lnTo>
                  <a:lnTo>
                    <a:pt x="129" y="242"/>
                  </a:lnTo>
                  <a:lnTo>
                    <a:pt x="130" y="242"/>
                  </a:lnTo>
                  <a:lnTo>
                    <a:pt x="128" y="241"/>
                  </a:lnTo>
                  <a:lnTo>
                    <a:pt x="128" y="240"/>
                  </a:lnTo>
                  <a:lnTo>
                    <a:pt x="128" y="238"/>
                  </a:lnTo>
                  <a:lnTo>
                    <a:pt x="127" y="236"/>
                  </a:lnTo>
                  <a:lnTo>
                    <a:pt x="127" y="235"/>
                  </a:lnTo>
                  <a:lnTo>
                    <a:pt x="127" y="234"/>
                  </a:lnTo>
                  <a:lnTo>
                    <a:pt x="129" y="235"/>
                  </a:lnTo>
                  <a:lnTo>
                    <a:pt x="130" y="235"/>
                  </a:lnTo>
                  <a:lnTo>
                    <a:pt x="135" y="234"/>
                  </a:lnTo>
                  <a:lnTo>
                    <a:pt x="133" y="232"/>
                  </a:lnTo>
                  <a:lnTo>
                    <a:pt x="134" y="232"/>
                  </a:lnTo>
                  <a:lnTo>
                    <a:pt x="135" y="234"/>
                  </a:lnTo>
                  <a:lnTo>
                    <a:pt x="135" y="235"/>
                  </a:lnTo>
                  <a:lnTo>
                    <a:pt x="135" y="236"/>
                  </a:lnTo>
                  <a:lnTo>
                    <a:pt x="137" y="236"/>
                  </a:lnTo>
                  <a:lnTo>
                    <a:pt x="137" y="235"/>
                  </a:lnTo>
                  <a:lnTo>
                    <a:pt x="138" y="234"/>
                  </a:lnTo>
                  <a:lnTo>
                    <a:pt x="139" y="232"/>
                  </a:lnTo>
                  <a:lnTo>
                    <a:pt x="139" y="231"/>
                  </a:lnTo>
                  <a:lnTo>
                    <a:pt x="140" y="232"/>
                  </a:lnTo>
                  <a:lnTo>
                    <a:pt x="141" y="231"/>
                  </a:lnTo>
                  <a:lnTo>
                    <a:pt x="141" y="232"/>
                  </a:lnTo>
                  <a:lnTo>
                    <a:pt x="141" y="235"/>
                  </a:lnTo>
                  <a:lnTo>
                    <a:pt x="141" y="234"/>
                  </a:lnTo>
                  <a:lnTo>
                    <a:pt x="141" y="232"/>
                  </a:lnTo>
                  <a:lnTo>
                    <a:pt x="140" y="230"/>
                  </a:lnTo>
                  <a:lnTo>
                    <a:pt x="140" y="229"/>
                  </a:lnTo>
                  <a:lnTo>
                    <a:pt x="143" y="231"/>
                  </a:lnTo>
                  <a:lnTo>
                    <a:pt x="143" y="232"/>
                  </a:lnTo>
                  <a:lnTo>
                    <a:pt x="144" y="231"/>
                  </a:lnTo>
                  <a:lnTo>
                    <a:pt x="146" y="232"/>
                  </a:lnTo>
                  <a:lnTo>
                    <a:pt x="146" y="231"/>
                  </a:lnTo>
                  <a:lnTo>
                    <a:pt x="147" y="234"/>
                  </a:lnTo>
                  <a:lnTo>
                    <a:pt x="147" y="235"/>
                  </a:lnTo>
                  <a:lnTo>
                    <a:pt x="149" y="235"/>
                  </a:lnTo>
                  <a:lnTo>
                    <a:pt x="150" y="235"/>
                  </a:lnTo>
                  <a:lnTo>
                    <a:pt x="150" y="237"/>
                  </a:lnTo>
                  <a:lnTo>
                    <a:pt x="150" y="238"/>
                  </a:lnTo>
                  <a:lnTo>
                    <a:pt x="151" y="237"/>
                  </a:lnTo>
                  <a:lnTo>
                    <a:pt x="153" y="236"/>
                  </a:lnTo>
                  <a:lnTo>
                    <a:pt x="153" y="237"/>
                  </a:lnTo>
                  <a:lnTo>
                    <a:pt x="152" y="238"/>
                  </a:lnTo>
                  <a:lnTo>
                    <a:pt x="152" y="240"/>
                  </a:lnTo>
                  <a:lnTo>
                    <a:pt x="153" y="241"/>
                  </a:lnTo>
                  <a:lnTo>
                    <a:pt x="155" y="238"/>
                  </a:lnTo>
                  <a:lnTo>
                    <a:pt x="156" y="238"/>
                  </a:lnTo>
                  <a:lnTo>
                    <a:pt x="158" y="237"/>
                  </a:lnTo>
                  <a:lnTo>
                    <a:pt x="158" y="234"/>
                  </a:lnTo>
                  <a:lnTo>
                    <a:pt x="159" y="235"/>
                  </a:lnTo>
                  <a:lnTo>
                    <a:pt x="161" y="235"/>
                  </a:lnTo>
                  <a:lnTo>
                    <a:pt x="163" y="234"/>
                  </a:lnTo>
                  <a:lnTo>
                    <a:pt x="164" y="231"/>
                  </a:lnTo>
                  <a:lnTo>
                    <a:pt x="165" y="230"/>
                  </a:lnTo>
                  <a:lnTo>
                    <a:pt x="167" y="229"/>
                  </a:lnTo>
                  <a:lnTo>
                    <a:pt x="170" y="228"/>
                  </a:lnTo>
                  <a:lnTo>
                    <a:pt x="173" y="225"/>
                  </a:lnTo>
                  <a:lnTo>
                    <a:pt x="173" y="223"/>
                  </a:lnTo>
                  <a:lnTo>
                    <a:pt x="171" y="223"/>
                  </a:lnTo>
                  <a:lnTo>
                    <a:pt x="170" y="225"/>
                  </a:lnTo>
                  <a:lnTo>
                    <a:pt x="169" y="225"/>
                  </a:lnTo>
                  <a:lnTo>
                    <a:pt x="168" y="224"/>
                  </a:lnTo>
                  <a:lnTo>
                    <a:pt x="168" y="222"/>
                  </a:lnTo>
                  <a:lnTo>
                    <a:pt x="167" y="222"/>
                  </a:lnTo>
                  <a:lnTo>
                    <a:pt x="167" y="223"/>
                  </a:lnTo>
                  <a:lnTo>
                    <a:pt x="167" y="224"/>
                  </a:lnTo>
                  <a:lnTo>
                    <a:pt x="165" y="225"/>
                  </a:lnTo>
                  <a:lnTo>
                    <a:pt x="165" y="224"/>
                  </a:lnTo>
                  <a:lnTo>
                    <a:pt x="164" y="225"/>
                  </a:lnTo>
                  <a:lnTo>
                    <a:pt x="164" y="224"/>
                  </a:lnTo>
                  <a:lnTo>
                    <a:pt x="163" y="225"/>
                  </a:lnTo>
                  <a:lnTo>
                    <a:pt x="162" y="226"/>
                  </a:lnTo>
                  <a:lnTo>
                    <a:pt x="162" y="225"/>
                  </a:lnTo>
                  <a:lnTo>
                    <a:pt x="162" y="226"/>
                  </a:lnTo>
                  <a:lnTo>
                    <a:pt x="161" y="229"/>
                  </a:lnTo>
                  <a:lnTo>
                    <a:pt x="159" y="226"/>
                  </a:lnTo>
                  <a:lnTo>
                    <a:pt x="158" y="228"/>
                  </a:lnTo>
                  <a:lnTo>
                    <a:pt x="157" y="228"/>
                  </a:lnTo>
                  <a:lnTo>
                    <a:pt x="156" y="226"/>
                  </a:lnTo>
                  <a:lnTo>
                    <a:pt x="156" y="225"/>
                  </a:lnTo>
                  <a:lnTo>
                    <a:pt x="155" y="225"/>
                  </a:lnTo>
                  <a:lnTo>
                    <a:pt x="155" y="228"/>
                  </a:lnTo>
                  <a:lnTo>
                    <a:pt x="155" y="229"/>
                  </a:lnTo>
                  <a:lnTo>
                    <a:pt x="155" y="230"/>
                  </a:lnTo>
                  <a:lnTo>
                    <a:pt x="155" y="232"/>
                  </a:lnTo>
                  <a:lnTo>
                    <a:pt x="155" y="234"/>
                  </a:lnTo>
                  <a:lnTo>
                    <a:pt x="153" y="232"/>
                  </a:lnTo>
                  <a:lnTo>
                    <a:pt x="152" y="231"/>
                  </a:lnTo>
                  <a:lnTo>
                    <a:pt x="152" y="230"/>
                  </a:lnTo>
                  <a:lnTo>
                    <a:pt x="150" y="230"/>
                  </a:lnTo>
                  <a:lnTo>
                    <a:pt x="149" y="230"/>
                  </a:lnTo>
                  <a:lnTo>
                    <a:pt x="147" y="229"/>
                  </a:lnTo>
                  <a:lnTo>
                    <a:pt x="147" y="228"/>
                  </a:lnTo>
                  <a:lnTo>
                    <a:pt x="149" y="226"/>
                  </a:lnTo>
                  <a:lnTo>
                    <a:pt x="152" y="223"/>
                  </a:lnTo>
                  <a:lnTo>
                    <a:pt x="152" y="222"/>
                  </a:lnTo>
                  <a:lnTo>
                    <a:pt x="155" y="222"/>
                  </a:lnTo>
                  <a:lnTo>
                    <a:pt x="153" y="220"/>
                  </a:lnTo>
                  <a:lnTo>
                    <a:pt x="152" y="222"/>
                  </a:lnTo>
                  <a:lnTo>
                    <a:pt x="151" y="222"/>
                  </a:lnTo>
                  <a:lnTo>
                    <a:pt x="150" y="222"/>
                  </a:lnTo>
                  <a:lnTo>
                    <a:pt x="149" y="224"/>
                  </a:lnTo>
                  <a:lnTo>
                    <a:pt x="147" y="224"/>
                  </a:lnTo>
                  <a:lnTo>
                    <a:pt x="146" y="225"/>
                  </a:lnTo>
                  <a:lnTo>
                    <a:pt x="143" y="225"/>
                  </a:lnTo>
                  <a:lnTo>
                    <a:pt x="145" y="224"/>
                  </a:lnTo>
                  <a:lnTo>
                    <a:pt x="146" y="223"/>
                  </a:lnTo>
                  <a:lnTo>
                    <a:pt x="146" y="222"/>
                  </a:lnTo>
                  <a:lnTo>
                    <a:pt x="146" y="219"/>
                  </a:lnTo>
                  <a:lnTo>
                    <a:pt x="144" y="220"/>
                  </a:lnTo>
                  <a:lnTo>
                    <a:pt x="145" y="218"/>
                  </a:lnTo>
                  <a:lnTo>
                    <a:pt x="144" y="218"/>
                  </a:lnTo>
                  <a:lnTo>
                    <a:pt x="143" y="218"/>
                  </a:lnTo>
                  <a:lnTo>
                    <a:pt x="143" y="217"/>
                  </a:lnTo>
                  <a:lnTo>
                    <a:pt x="141" y="216"/>
                  </a:lnTo>
                  <a:lnTo>
                    <a:pt x="140" y="216"/>
                  </a:lnTo>
                  <a:lnTo>
                    <a:pt x="139" y="214"/>
                  </a:lnTo>
                  <a:lnTo>
                    <a:pt x="140" y="214"/>
                  </a:lnTo>
                  <a:lnTo>
                    <a:pt x="141" y="214"/>
                  </a:lnTo>
                  <a:lnTo>
                    <a:pt x="141" y="213"/>
                  </a:lnTo>
                  <a:lnTo>
                    <a:pt x="140" y="212"/>
                  </a:lnTo>
                  <a:lnTo>
                    <a:pt x="143" y="212"/>
                  </a:lnTo>
                  <a:lnTo>
                    <a:pt x="144" y="211"/>
                  </a:lnTo>
                  <a:lnTo>
                    <a:pt x="145" y="211"/>
                  </a:lnTo>
                  <a:lnTo>
                    <a:pt x="144" y="213"/>
                  </a:lnTo>
                  <a:lnTo>
                    <a:pt x="145" y="212"/>
                  </a:lnTo>
                  <a:lnTo>
                    <a:pt x="146" y="213"/>
                  </a:lnTo>
                  <a:lnTo>
                    <a:pt x="146" y="212"/>
                  </a:lnTo>
                  <a:lnTo>
                    <a:pt x="147" y="213"/>
                  </a:lnTo>
                  <a:lnTo>
                    <a:pt x="149" y="213"/>
                  </a:lnTo>
                  <a:lnTo>
                    <a:pt x="150" y="213"/>
                  </a:lnTo>
                  <a:lnTo>
                    <a:pt x="150" y="214"/>
                  </a:lnTo>
                  <a:lnTo>
                    <a:pt x="152" y="214"/>
                  </a:lnTo>
                  <a:lnTo>
                    <a:pt x="152" y="216"/>
                  </a:lnTo>
                  <a:lnTo>
                    <a:pt x="153" y="217"/>
                  </a:lnTo>
                  <a:lnTo>
                    <a:pt x="155" y="217"/>
                  </a:lnTo>
                  <a:lnTo>
                    <a:pt x="155" y="216"/>
                  </a:lnTo>
                  <a:lnTo>
                    <a:pt x="156" y="214"/>
                  </a:lnTo>
                  <a:lnTo>
                    <a:pt x="156" y="212"/>
                  </a:lnTo>
                  <a:lnTo>
                    <a:pt x="157" y="211"/>
                  </a:lnTo>
                  <a:lnTo>
                    <a:pt x="157" y="213"/>
                  </a:lnTo>
                  <a:lnTo>
                    <a:pt x="158" y="214"/>
                  </a:lnTo>
                  <a:lnTo>
                    <a:pt x="159" y="214"/>
                  </a:lnTo>
                  <a:lnTo>
                    <a:pt x="161" y="213"/>
                  </a:lnTo>
                  <a:lnTo>
                    <a:pt x="162" y="212"/>
                  </a:lnTo>
                  <a:lnTo>
                    <a:pt x="164" y="211"/>
                  </a:lnTo>
                  <a:lnTo>
                    <a:pt x="169" y="210"/>
                  </a:lnTo>
                  <a:lnTo>
                    <a:pt x="168" y="208"/>
                  </a:lnTo>
                  <a:lnTo>
                    <a:pt x="168" y="207"/>
                  </a:lnTo>
                  <a:lnTo>
                    <a:pt x="170" y="205"/>
                  </a:lnTo>
                  <a:lnTo>
                    <a:pt x="168" y="205"/>
                  </a:lnTo>
                  <a:lnTo>
                    <a:pt x="167" y="205"/>
                  </a:lnTo>
                  <a:lnTo>
                    <a:pt x="165" y="207"/>
                  </a:lnTo>
                  <a:lnTo>
                    <a:pt x="165" y="205"/>
                  </a:lnTo>
                  <a:lnTo>
                    <a:pt x="165" y="204"/>
                  </a:lnTo>
                  <a:lnTo>
                    <a:pt x="164" y="205"/>
                  </a:lnTo>
                  <a:lnTo>
                    <a:pt x="164" y="207"/>
                  </a:lnTo>
                  <a:lnTo>
                    <a:pt x="163" y="207"/>
                  </a:lnTo>
                  <a:lnTo>
                    <a:pt x="161" y="208"/>
                  </a:lnTo>
                  <a:lnTo>
                    <a:pt x="161" y="207"/>
                  </a:lnTo>
                  <a:lnTo>
                    <a:pt x="159" y="208"/>
                  </a:lnTo>
                  <a:lnTo>
                    <a:pt x="159" y="207"/>
                  </a:lnTo>
                  <a:lnTo>
                    <a:pt x="158" y="208"/>
                  </a:lnTo>
                  <a:lnTo>
                    <a:pt x="158" y="207"/>
                  </a:lnTo>
                  <a:lnTo>
                    <a:pt x="156" y="208"/>
                  </a:lnTo>
                  <a:lnTo>
                    <a:pt x="156" y="207"/>
                  </a:lnTo>
                  <a:lnTo>
                    <a:pt x="155" y="207"/>
                  </a:lnTo>
                  <a:lnTo>
                    <a:pt x="155" y="206"/>
                  </a:lnTo>
                  <a:lnTo>
                    <a:pt x="155" y="205"/>
                  </a:lnTo>
                  <a:lnTo>
                    <a:pt x="158" y="202"/>
                  </a:lnTo>
                  <a:lnTo>
                    <a:pt x="159" y="204"/>
                  </a:lnTo>
                  <a:lnTo>
                    <a:pt x="161" y="204"/>
                  </a:lnTo>
                  <a:lnTo>
                    <a:pt x="161" y="201"/>
                  </a:lnTo>
                  <a:lnTo>
                    <a:pt x="162" y="201"/>
                  </a:lnTo>
                  <a:lnTo>
                    <a:pt x="163" y="200"/>
                  </a:lnTo>
                  <a:lnTo>
                    <a:pt x="164" y="200"/>
                  </a:lnTo>
                  <a:lnTo>
                    <a:pt x="164" y="199"/>
                  </a:lnTo>
                  <a:lnTo>
                    <a:pt x="165" y="199"/>
                  </a:lnTo>
                  <a:lnTo>
                    <a:pt x="167" y="199"/>
                  </a:lnTo>
                  <a:lnTo>
                    <a:pt x="169" y="198"/>
                  </a:lnTo>
                  <a:lnTo>
                    <a:pt x="171" y="196"/>
                  </a:lnTo>
                  <a:lnTo>
                    <a:pt x="174" y="195"/>
                  </a:lnTo>
                  <a:lnTo>
                    <a:pt x="175" y="194"/>
                  </a:lnTo>
                  <a:lnTo>
                    <a:pt x="173" y="194"/>
                  </a:lnTo>
                  <a:lnTo>
                    <a:pt x="171" y="192"/>
                  </a:lnTo>
                  <a:lnTo>
                    <a:pt x="170" y="190"/>
                  </a:lnTo>
                  <a:lnTo>
                    <a:pt x="169" y="192"/>
                  </a:lnTo>
                  <a:lnTo>
                    <a:pt x="167" y="192"/>
                  </a:lnTo>
                  <a:lnTo>
                    <a:pt x="167" y="193"/>
                  </a:lnTo>
                  <a:lnTo>
                    <a:pt x="165" y="196"/>
                  </a:lnTo>
                  <a:lnTo>
                    <a:pt x="165" y="198"/>
                  </a:lnTo>
                  <a:lnTo>
                    <a:pt x="164" y="198"/>
                  </a:lnTo>
                  <a:lnTo>
                    <a:pt x="163" y="198"/>
                  </a:lnTo>
                  <a:lnTo>
                    <a:pt x="162" y="199"/>
                  </a:lnTo>
                  <a:lnTo>
                    <a:pt x="161" y="200"/>
                  </a:lnTo>
                  <a:lnTo>
                    <a:pt x="159" y="200"/>
                  </a:lnTo>
                  <a:lnTo>
                    <a:pt x="158" y="200"/>
                  </a:lnTo>
                  <a:lnTo>
                    <a:pt x="157" y="200"/>
                  </a:lnTo>
                  <a:lnTo>
                    <a:pt x="157" y="201"/>
                  </a:lnTo>
                  <a:lnTo>
                    <a:pt x="156" y="202"/>
                  </a:lnTo>
                  <a:lnTo>
                    <a:pt x="155" y="204"/>
                  </a:lnTo>
                  <a:lnTo>
                    <a:pt x="153" y="201"/>
                  </a:lnTo>
                  <a:lnTo>
                    <a:pt x="152" y="200"/>
                  </a:lnTo>
                  <a:lnTo>
                    <a:pt x="153" y="198"/>
                  </a:lnTo>
                  <a:lnTo>
                    <a:pt x="153" y="196"/>
                  </a:lnTo>
                  <a:lnTo>
                    <a:pt x="152" y="193"/>
                  </a:lnTo>
                  <a:lnTo>
                    <a:pt x="151" y="195"/>
                  </a:lnTo>
                  <a:lnTo>
                    <a:pt x="151" y="199"/>
                  </a:lnTo>
                  <a:lnTo>
                    <a:pt x="150" y="199"/>
                  </a:lnTo>
                  <a:lnTo>
                    <a:pt x="150" y="196"/>
                  </a:lnTo>
                  <a:lnTo>
                    <a:pt x="150" y="195"/>
                  </a:lnTo>
                  <a:lnTo>
                    <a:pt x="149" y="195"/>
                  </a:lnTo>
                  <a:lnTo>
                    <a:pt x="147" y="195"/>
                  </a:lnTo>
                  <a:lnTo>
                    <a:pt x="146" y="198"/>
                  </a:lnTo>
                  <a:lnTo>
                    <a:pt x="146" y="195"/>
                  </a:lnTo>
                  <a:lnTo>
                    <a:pt x="146" y="194"/>
                  </a:lnTo>
                  <a:lnTo>
                    <a:pt x="145" y="194"/>
                  </a:lnTo>
                  <a:lnTo>
                    <a:pt x="144" y="194"/>
                  </a:lnTo>
                  <a:lnTo>
                    <a:pt x="146" y="193"/>
                  </a:lnTo>
                  <a:lnTo>
                    <a:pt x="147" y="193"/>
                  </a:lnTo>
                  <a:lnTo>
                    <a:pt x="149" y="193"/>
                  </a:lnTo>
                  <a:lnTo>
                    <a:pt x="150" y="192"/>
                  </a:lnTo>
                  <a:lnTo>
                    <a:pt x="149" y="190"/>
                  </a:lnTo>
                  <a:lnTo>
                    <a:pt x="147" y="192"/>
                  </a:lnTo>
                  <a:lnTo>
                    <a:pt x="146" y="192"/>
                  </a:lnTo>
                  <a:lnTo>
                    <a:pt x="147" y="189"/>
                  </a:lnTo>
                  <a:lnTo>
                    <a:pt x="146" y="189"/>
                  </a:lnTo>
                  <a:lnTo>
                    <a:pt x="145" y="190"/>
                  </a:lnTo>
                  <a:lnTo>
                    <a:pt x="144" y="190"/>
                  </a:lnTo>
                  <a:lnTo>
                    <a:pt x="143" y="189"/>
                  </a:lnTo>
                  <a:lnTo>
                    <a:pt x="143" y="192"/>
                  </a:lnTo>
                  <a:lnTo>
                    <a:pt x="140" y="190"/>
                  </a:lnTo>
                  <a:lnTo>
                    <a:pt x="139" y="192"/>
                  </a:lnTo>
                  <a:lnTo>
                    <a:pt x="138" y="192"/>
                  </a:lnTo>
                  <a:lnTo>
                    <a:pt x="137" y="190"/>
                  </a:lnTo>
                  <a:lnTo>
                    <a:pt x="138" y="189"/>
                  </a:lnTo>
                  <a:lnTo>
                    <a:pt x="135" y="189"/>
                  </a:lnTo>
                  <a:lnTo>
                    <a:pt x="138" y="187"/>
                  </a:lnTo>
                  <a:lnTo>
                    <a:pt x="137" y="187"/>
                  </a:lnTo>
                  <a:lnTo>
                    <a:pt x="137" y="184"/>
                  </a:lnTo>
                  <a:lnTo>
                    <a:pt x="138" y="184"/>
                  </a:lnTo>
                  <a:lnTo>
                    <a:pt x="140" y="184"/>
                  </a:lnTo>
                  <a:lnTo>
                    <a:pt x="143" y="184"/>
                  </a:lnTo>
                  <a:lnTo>
                    <a:pt x="143" y="182"/>
                  </a:lnTo>
                  <a:lnTo>
                    <a:pt x="144" y="182"/>
                  </a:lnTo>
                  <a:lnTo>
                    <a:pt x="144" y="183"/>
                  </a:lnTo>
                  <a:lnTo>
                    <a:pt x="144" y="186"/>
                  </a:lnTo>
                  <a:lnTo>
                    <a:pt x="145" y="186"/>
                  </a:lnTo>
                  <a:lnTo>
                    <a:pt x="145" y="184"/>
                  </a:lnTo>
                  <a:lnTo>
                    <a:pt x="145" y="182"/>
                  </a:lnTo>
                  <a:lnTo>
                    <a:pt x="146" y="182"/>
                  </a:lnTo>
                  <a:lnTo>
                    <a:pt x="146" y="183"/>
                  </a:lnTo>
                  <a:lnTo>
                    <a:pt x="147" y="183"/>
                  </a:lnTo>
                  <a:lnTo>
                    <a:pt x="147" y="186"/>
                  </a:lnTo>
                  <a:lnTo>
                    <a:pt x="149" y="186"/>
                  </a:lnTo>
                  <a:lnTo>
                    <a:pt x="149" y="187"/>
                  </a:lnTo>
                  <a:lnTo>
                    <a:pt x="150" y="188"/>
                  </a:lnTo>
                  <a:lnTo>
                    <a:pt x="151" y="186"/>
                  </a:lnTo>
                  <a:lnTo>
                    <a:pt x="152" y="184"/>
                  </a:lnTo>
                  <a:lnTo>
                    <a:pt x="153" y="183"/>
                  </a:lnTo>
                  <a:lnTo>
                    <a:pt x="155" y="183"/>
                  </a:lnTo>
                  <a:lnTo>
                    <a:pt x="157" y="183"/>
                  </a:lnTo>
                  <a:lnTo>
                    <a:pt x="157" y="182"/>
                  </a:lnTo>
                  <a:lnTo>
                    <a:pt x="159" y="182"/>
                  </a:lnTo>
                  <a:lnTo>
                    <a:pt x="161" y="183"/>
                  </a:lnTo>
                  <a:lnTo>
                    <a:pt x="161" y="182"/>
                  </a:lnTo>
                  <a:lnTo>
                    <a:pt x="159" y="181"/>
                  </a:lnTo>
                  <a:lnTo>
                    <a:pt x="158" y="180"/>
                  </a:lnTo>
                  <a:lnTo>
                    <a:pt x="158" y="178"/>
                  </a:lnTo>
                  <a:lnTo>
                    <a:pt x="159" y="178"/>
                  </a:lnTo>
                  <a:lnTo>
                    <a:pt x="162" y="178"/>
                  </a:lnTo>
                  <a:lnTo>
                    <a:pt x="163" y="177"/>
                  </a:lnTo>
                  <a:lnTo>
                    <a:pt x="162" y="176"/>
                  </a:lnTo>
                  <a:lnTo>
                    <a:pt x="159" y="176"/>
                  </a:lnTo>
                  <a:lnTo>
                    <a:pt x="158" y="175"/>
                  </a:lnTo>
                  <a:lnTo>
                    <a:pt x="157" y="176"/>
                  </a:lnTo>
                  <a:lnTo>
                    <a:pt x="158" y="176"/>
                  </a:lnTo>
                  <a:lnTo>
                    <a:pt x="157" y="176"/>
                  </a:lnTo>
                  <a:lnTo>
                    <a:pt x="155" y="175"/>
                  </a:lnTo>
                  <a:lnTo>
                    <a:pt x="155" y="176"/>
                  </a:lnTo>
                  <a:lnTo>
                    <a:pt x="153" y="177"/>
                  </a:lnTo>
                  <a:lnTo>
                    <a:pt x="153" y="178"/>
                  </a:lnTo>
                  <a:lnTo>
                    <a:pt x="152" y="178"/>
                  </a:lnTo>
                  <a:lnTo>
                    <a:pt x="151" y="178"/>
                  </a:lnTo>
                  <a:lnTo>
                    <a:pt x="150" y="178"/>
                  </a:lnTo>
                  <a:lnTo>
                    <a:pt x="149" y="180"/>
                  </a:lnTo>
                  <a:lnTo>
                    <a:pt x="147" y="180"/>
                  </a:lnTo>
                  <a:lnTo>
                    <a:pt x="147" y="178"/>
                  </a:lnTo>
                  <a:lnTo>
                    <a:pt x="146" y="177"/>
                  </a:lnTo>
                  <a:lnTo>
                    <a:pt x="145" y="177"/>
                  </a:lnTo>
                  <a:lnTo>
                    <a:pt x="144" y="176"/>
                  </a:lnTo>
                  <a:lnTo>
                    <a:pt x="144" y="177"/>
                  </a:lnTo>
                  <a:lnTo>
                    <a:pt x="143" y="178"/>
                  </a:lnTo>
                  <a:lnTo>
                    <a:pt x="143" y="180"/>
                  </a:lnTo>
                  <a:lnTo>
                    <a:pt x="141" y="178"/>
                  </a:lnTo>
                  <a:lnTo>
                    <a:pt x="138" y="178"/>
                  </a:lnTo>
                  <a:lnTo>
                    <a:pt x="138" y="180"/>
                  </a:lnTo>
                  <a:lnTo>
                    <a:pt x="138" y="181"/>
                  </a:lnTo>
                  <a:lnTo>
                    <a:pt x="138" y="182"/>
                  </a:lnTo>
                  <a:lnTo>
                    <a:pt x="137" y="182"/>
                  </a:lnTo>
                  <a:lnTo>
                    <a:pt x="135" y="181"/>
                  </a:lnTo>
                  <a:lnTo>
                    <a:pt x="134" y="180"/>
                  </a:lnTo>
                  <a:lnTo>
                    <a:pt x="133" y="180"/>
                  </a:lnTo>
                  <a:lnTo>
                    <a:pt x="132" y="180"/>
                  </a:lnTo>
                  <a:lnTo>
                    <a:pt x="132" y="182"/>
                  </a:lnTo>
                  <a:lnTo>
                    <a:pt x="130" y="182"/>
                  </a:lnTo>
                  <a:lnTo>
                    <a:pt x="130" y="181"/>
                  </a:lnTo>
                  <a:lnTo>
                    <a:pt x="129" y="180"/>
                  </a:lnTo>
                  <a:lnTo>
                    <a:pt x="128" y="181"/>
                  </a:lnTo>
                  <a:lnTo>
                    <a:pt x="127" y="181"/>
                  </a:lnTo>
                  <a:lnTo>
                    <a:pt x="126" y="181"/>
                  </a:lnTo>
                  <a:lnTo>
                    <a:pt x="124" y="181"/>
                  </a:lnTo>
                  <a:lnTo>
                    <a:pt x="124" y="180"/>
                  </a:lnTo>
                  <a:lnTo>
                    <a:pt x="126" y="178"/>
                  </a:lnTo>
                  <a:lnTo>
                    <a:pt x="126" y="177"/>
                  </a:lnTo>
                  <a:lnTo>
                    <a:pt x="124" y="177"/>
                  </a:lnTo>
                  <a:lnTo>
                    <a:pt x="126" y="177"/>
                  </a:lnTo>
                  <a:lnTo>
                    <a:pt x="127" y="176"/>
                  </a:lnTo>
                  <a:lnTo>
                    <a:pt x="126" y="175"/>
                  </a:lnTo>
                  <a:lnTo>
                    <a:pt x="126" y="172"/>
                  </a:lnTo>
                  <a:lnTo>
                    <a:pt x="127" y="172"/>
                  </a:lnTo>
                  <a:lnTo>
                    <a:pt x="129" y="174"/>
                  </a:lnTo>
                  <a:lnTo>
                    <a:pt x="130" y="172"/>
                  </a:lnTo>
                  <a:lnTo>
                    <a:pt x="129" y="170"/>
                  </a:lnTo>
                  <a:lnTo>
                    <a:pt x="132" y="170"/>
                  </a:lnTo>
                  <a:lnTo>
                    <a:pt x="132" y="169"/>
                  </a:lnTo>
                  <a:lnTo>
                    <a:pt x="130" y="166"/>
                  </a:lnTo>
                  <a:lnTo>
                    <a:pt x="133" y="166"/>
                  </a:lnTo>
                  <a:lnTo>
                    <a:pt x="135" y="166"/>
                  </a:lnTo>
                  <a:lnTo>
                    <a:pt x="137" y="164"/>
                  </a:lnTo>
                  <a:lnTo>
                    <a:pt x="137" y="163"/>
                  </a:lnTo>
                  <a:lnTo>
                    <a:pt x="137" y="160"/>
                  </a:lnTo>
                  <a:lnTo>
                    <a:pt x="135" y="160"/>
                  </a:lnTo>
                  <a:lnTo>
                    <a:pt x="134" y="162"/>
                  </a:lnTo>
                  <a:lnTo>
                    <a:pt x="132" y="163"/>
                  </a:lnTo>
                  <a:lnTo>
                    <a:pt x="130" y="163"/>
                  </a:lnTo>
                  <a:lnTo>
                    <a:pt x="129" y="163"/>
                  </a:lnTo>
                  <a:lnTo>
                    <a:pt x="129" y="162"/>
                  </a:lnTo>
                  <a:lnTo>
                    <a:pt x="128" y="162"/>
                  </a:lnTo>
                  <a:lnTo>
                    <a:pt x="127" y="164"/>
                  </a:lnTo>
                  <a:lnTo>
                    <a:pt x="126" y="164"/>
                  </a:lnTo>
                  <a:lnTo>
                    <a:pt x="126" y="163"/>
                  </a:lnTo>
                  <a:lnTo>
                    <a:pt x="124" y="163"/>
                  </a:lnTo>
                  <a:lnTo>
                    <a:pt x="123" y="163"/>
                  </a:lnTo>
                  <a:lnTo>
                    <a:pt x="123" y="162"/>
                  </a:lnTo>
                  <a:lnTo>
                    <a:pt x="123" y="159"/>
                  </a:lnTo>
                  <a:lnTo>
                    <a:pt x="122" y="158"/>
                  </a:lnTo>
                  <a:lnTo>
                    <a:pt x="123" y="157"/>
                  </a:lnTo>
                  <a:lnTo>
                    <a:pt x="123" y="156"/>
                  </a:lnTo>
                  <a:lnTo>
                    <a:pt x="126" y="154"/>
                  </a:lnTo>
                  <a:lnTo>
                    <a:pt x="124" y="153"/>
                  </a:lnTo>
                  <a:lnTo>
                    <a:pt x="124" y="152"/>
                  </a:lnTo>
                  <a:lnTo>
                    <a:pt x="126" y="151"/>
                  </a:lnTo>
                  <a:lnTo>
                    <a:pt x="128" y="152"/>
                  </a:lnTo>
                  <a:lnTo>
                    <a:pt x="128" y="151"/>
                  </a:lnTo>
                  <a:lnTo>
                    <a:pt x="128" y="148"/>
                  </a:lnTo>
                  <a:lnTo>
                    <a:pt x="129" y="150"/>
                  </a:lnTo>
                  <a:lnTo>
                    <a:pt x="130" y="148"/>
                  </a:lnTo>
                  <a:lnTo>
                    <a:pt x="132" y="147"/>
                  </a:lnTo>
                  <a:lnTo>
                    <a:pt x="132" y="148"/>
                  </a:lnTo>
                  <a:lnTo>
                    <a:pt x="133" y="150"/>
                  </a:lnTo>
                  <a:lnTo>
                    <a:pt x="133" y="148"/>
                  </a:lnTo>
                  <a:lnTo>
                    <a:pt x="134" y="147"/>
                  </a:lnTo>
                  <a:lnTo>
                    <a:pt x="134" y="150"/>
                  </a:lnTo>
                  <a:lnTo>
                    <a:pt x="135" y="151"/>
                  </a:lnTo>
                  <a:lnTo>
                    <a:pt x="137" y="151"/>
                  </a:lnTo>
                  <a:lnTo>
                    <a:pt x="138" y="152"/>
                  </a:lnTo>
                  <a:lnTo>
                    <a:pt x="139" y="152"/>
                  </a:lnTo>
                  <a:lnTo>
                    <a:pt x="139" y="153"/>
                  </a:lnTo>
                  <a:lnTo>
                    <a:pt x="140" y="153"/>
                  </a:lnTo>
                  <a:lnTo>
                    <a:pt x="141" y="153"/>
                  </a:lnTo>
                  <a:lnTo>
                    <a:pt x="143" y="153"/>
                  </a:lnTo>
                  <a:lnTo>
                    <a:pt x="143" y="152"/>
                  </a:lnTo>
                  <a:lnTo>
                    <a:pt x="141" y="150"/>
                  </a:lnTo>
                  <a:lnTo>
                    <a:pt x="143" y="151"/>
                  </a:lnTo>
                  <a:lnTo>
                    <a:pt x="144" y="152"/>
                  </a:lnTo>
                  <a:lnTo>
                    <a:pt x="145" y="152"/>
                  </a:lnTo>
                  <a:lnTo>
                    <a:pt x="147" y="152"/>
                  </a:lnTo>
                  <a:lnTo>
                    <a:pt x="146" y="151"/>
                  </a:lnTo>
                  <a:lnTo>
                    <a:pt x="145" y="148"/>
                  </a:lnTo>
                  <a:lnTo>
                    <a:pt x="144" y="150"/>
                  </a:lnTo>
                  <a:lnTo>
                    <a:pt x="144" y="147"/>
                  </a:lnTo>
                  <a:lnTo>
                    <a:pt x="145" y="147"/>
                  </a:lnTo>
                  <a:lnTo>
                    <a:pt x="144" y="146"/>
                  </a:lnTo>
                  <a:lnTo>
                    <a:pt x="140" y="146"/>
                  </a:lnTo>
                  <a:lnTo>
                    <a:pt x="141" y="145"/>
                  </a:lnTo>
                  <a:lnTo>
                    <a:pt x="143" y="143"/>
                  </a:lnTo>
                  <a:lnTo>
                    <a:pt x="141" y="142"/>
                  </a:lnTo>
                  <a:lnTo>
                    <a:pt x="140" y="141"/>
                  </a:lnTo>
                  <a:lnTo>
                    <a:pt x="140" y="142"/>
                  </a:lnTo>
                  <a:lnTo>
                    <a:pt x="138" y="143"/>
                  </a:lnTo>
                  <a:lnTo>
                    <a:pt x="138" y="141"/>
                  </a:lnTo>
                  <a:lnTo>
                    <a:pt x="138" y="140"/>
                  </a:lnTo>
                  <a:lnTo>
                    <a:pt x="138" y="139"/>
                  </a:lnTo>
                  <a:lnTo>
                    <a:pt x="140" y="139"/>
                  </a:lnTo>
                  <a:lnTo>
                    <a:pt x="141" y="139"/>
                  </a:lnTo>
                  <a:lnTo>
                    <a:pt x="141" y="137"/>
                  </a:lnTo>
                  <a:lnTo>
                    <a:pt x="140" y="136"/>
                  </a:lnTo>
                  <a:lnTo>
                    <a:pt x="141" y="136"/>
                  </a:lnTo>
                  <a:lnTo>
                    <a:pt x="140" y="134"/>
                  </a:lnTo>
                  <a:lnTo>
                    <a:pt x="139" y="136"/>
                  </a:lnTo>
                  <a:lnTo>
                    <a:pt x="138" y="135"/>
                  </a:lnTo>
                  <a:lnTo>
                    <a:pt x="137" y="136"/>
                  </a:lnTo>
                  <a:lnTo>
                    <a:pt x="135" y="139"/>
                  </a:lnTo>
                  <a:lnTo>
                    <a:pt x="135" y="140"/>
                  </a:lnTo>
                  <a:lnTo>
                    <a:pt x="134" y="141"/>
                  </a:lnTo>
                  <a:lnTo>
                    <a:pt x="133" y="141"/>
                  </a:lnTo>
                  <a:lnTo>
                    <a:pt x="134" y="139"/>
                  </a:lnTo>
                  <a:lnTo>
                    <a:pt x="133" y="139"/>
                  </a:lnTo>
                  <a:lnTo>
                    <a:pt x="135" y="137"/>
                  </a:lnTo>
                  <a:lnTo>
                    <a:pt x="135" y="136"/>
                  </a:lnTo>
                  <a:lnTo>
                    <a:pt x="135" y="135"/>
                  </a:lnTo>
                  <a:lnTo>
                    <a:pt x="135" y="134"/>
                  </a:lnTo>
                  <a:lnTo>
                    <a:pt x="135" y="133"/>
                  </a:lnTo>
                  <a:lnTo>
                    <a:pt x="137" y="131"/>
                  </a:lnTo>
                  <a:lnTo>
                    <a:pt x="138" y="131"/>
                  </a:lnTo>
                  <a:lnTo>
                    <a:pt x="137" y="130"/>
                  </a:lnTo>
                  <a:lnTo>
                    <a:pt x="135" y="130"/>
                  </a:lnTo>
                  <a:lnTo>
                    <a:pt x="135" y="127"/>
                  </a:lnTo>
                  <a:lnTo>
                    <a:pt x="137" y="128"/>
                  </a:lnTo>
                  <a:lnTo>
                    <a:pt x="138" y="129"/>
                  </a:lnTo>
                  <a:lnTo>
                    <a:pt x="138" y="128"/>
                  </a:lnTo>
                  <a:lnTo>
                    <a:pt x="137" y="125"/>
                  </a:lnTo>
                  <a:lnTo>
                    <a:pt x="135" y="123"/>
                  </a:lnTo>
                  <a:lnTo>
                    <a:pt x="134" y="123"/>
                  </a:lnTo>
                  <a:lnTo>
                    <a:pt x="133" y="124"/>
                  </a:lnTo>
                  <a:lnTo>
                    <a:pt x="133" y="125"/>
                  </a:lnTo>
                  <a:lnTo>
                    <a:pt x="130" y="124"/>
                  </a:lnTo>
                  <a:lnTo>
                    <a:pt x="132" y="124"/>
                  </a:lnTo>
                  <a:lnTo>
                    <a:pt x="130" y="124"/>
                  </a:lnTo>
                  <a:lnTo>
                    <a:pt x="128" y="124"/>
                  </a:lnTo>
                  <a:lnTo>
                    <a:pt x="128" y="123"/>
                  </a:lnTo>
                  <a:lnTo>
                    <a:pt x="129" y="122"/>
                  </a:lnTo>
                  <a:lnTo>
                    <a:pt x="130" y="121"/>
                  </a:lnTo>
                  <a:lnTo>
                    <a:pt x="132" y="121"/>
                  </a:lnTo>
                  <a:lnTo>
                    <a:pt x="133" y="119"/>
                  </a:lnTo>
                  <a:lnTo>
                    <a:pt x="133" y="118"/>
                  </a:lnTo>
                  <a:lnTo>
                    <a:pt x="130" y="119"/>
                  </a:lnTo>
                  <a:lnTo>
                    <a:pt x="128" y="121"/>
                  </a:lnTo>
                  <a:lnTo>
                    <a:pt x="129" y="119"/>
                  </a:lnTo>
                  <a:lnTo>
                    <a:pt x="130" y="118"/>
                  </a:lnTo>
                  <a:lnTo>
                    <a:pt x="133" y="117"/>
                  </a:lnTo>
                  <a:lnTo>
                    <a:pt x="132" y="116"/>
                  </a:lnTo>
                  <a:lnTo>
                    <a:pt x="128" y="116"/>
                  </a:lnTo>
                  <a:lnTo>
                    <a:pt x="127" y="116"/>
                  </a:lnTo>
                  <a:lnTo>
                    <a:pt x="127" y="115"/>
                  </a:lnTo>
                  <a:lnTo>
                    <a:pt x="129" y="115"/>
                  </a:lnTo>
                  <a:lnTo>
                    <a:pt x="132" y="115"/>
                  </a:lnTo>
                  <a:lnTo>
                    <a:pt x="130" y="113"/>
                  </a:lnTo>
                  <a:lnTo>
                    <a:pt x="130" y="111"/>
                  </a:lnTo>
                  <a:lnTo>
                    <a:pt x="129" y="110"/>
                  </a:lnTo>
                  <a:lnTo>
                    <a:pt x="130" y="110"/>
                  </a:lnTo>
                  <a:lnTo>
                    <a:pt x="132" y="111"/>
                  </a:lnTo>
                  <a:lnTo>
                    <a:pt x="133" y="112"/>
                  </a:lnTo>
                  <a:lnTo>
                    <a:pt x="134" y="111"/>
                  </a:lnTo>
                  <a:lnTo>
                    <a:pt x="133" y="110"/>
                  </a:lnTo>
                  <a:lnTo>
                    <a:pt x="134" y="110"/>
                  </a:lnTo>
                  <a:lnTo>
                    <a:pt x="135" y="111"/>
                  </a:lnTo>
                  <a:lnTo>
                    <a:pt x="137" y="112"/>
                  </a:lnTo>
                  <a:lnTo>
                    <a:pt x="135" y="110"/>
                  </a:lnTo>
                  <a:lnTo>
                    <a:pt x="135" y="109"/>
                  </a:lnTo>
                  <a:lnTo>
                    <a:pt x="137" y="109"/>
                  </a:lnTo>
                  <a:lnTo>
                    <a:pt x="138" y="109"/>
                  </a:lnTo>
                  <a:lnTo>
                    <a:pt x="137" y="111"/>
                  </a:lnTo>
                  <a:lnTo>
                    <a:pt x="137" y="112"/>
                  </a:lnTo>
                  <a:lnTo>
                    <a:pt x="138" y="112"/>
                  </a:lnTo>
                  <a:lnTo>
                    <a:pt x="140" y="111"/>
                  </a:lnTo>
                  <a:lnTo>
                    <a:pt x="141" y="112"/>
                  </a:lnTo>
                  <a:lnTo>
                    <a:pt x="140" y="112"/>
                  </a:lnTo>
                  <a:lnTo>
                    <a:pt x="139" y="113"/>
                  </a:lnTo>
                  <a:lnTo>
                    <a:pt x="139" y="115"/>
                  </a:lnTo>
                  <a:lnTo>
                    <a:pt x="140" y="115"/>
                  </a:lnTo>
                  <a:lnTo>
                    <a:pt x="139" y="117"/>
                  </a:lnTo>
                  <a:lnTo>
                    <a:pt x="140" y="117"/>
                  </a:lnTo>
                  <a:lnTo>
                    <a:pt x="143" y="118"/>
                  </a:lnTo>
                  <a:lnTo>
                    <a:pt x="144" y="118"/>
                  </a:lnTo>
                  <a:lnTo>
                    <a:pt x="145" y="118"/>
                  </a:lnTo>
                  <a:lnTo>
                    <a:pt x="143" y="119"/>
                  </a:lnTo>
                  <a:lnTo>
                    <a:pt x="144" y="121"/>
                  </a:lnTo>
                  <a:lnTo>
                    <a:pt x="145" y="122"/>
                  </a:lnTo>
                  <a:lnTo>
                    <a:pt x="146" y="123"/>
                  </a:lnTo>
                  <a:lnTo>
                    <a:pt x="146" y="121"/>
                  </a:lnTo>
                  <a:lnTo>
                    <a:pt x="146" y="118"/>
                  </a:lnTo>
                  <a:lnTo>
                    <a:pt x="147" y="118"/>
                  </a:lnTo>
                  <a:lnTo>
                    <a:pt x="147" y="116"/>
                  </a:lnTo>
                  <a:lnTo>
                    <a:pt x="149" y="116"/>
                  </a:lnTo>
                  <a:lnTo>
                    <a:pt x="149" y="117"/>
                  </a:lnTo>
                  <a:lnTo>
                    <a:pt x="150" y="118"/>
                  </a:lnTo>
                  <a:lnTo>
                    <a:pt x="149" y="121"/>
                  </a:lnTo>
                  <a:lnTo>
                    <a:pt x="151" y="123"/>
                  </a:lnTo>
                  <a:lnTo>
                    <a:pt x="151" y="121"/>
                  </a:lnTo>
                  <a:lnTo>
                    <a:pt x="151" y="118"/>
                  </a:lnTo>
                  <a:lnTo>
                    <a:pt x="152" y="117"/>
                  </a:lnTo>
                  <a:lnTo>
                    <a:pt x="152" y="116"/>
                  </a:lnTo>
                  <a:lnTo>
                    <a:pt x="153" y="115"/>
                  </a:lnTo>
                  <a:lnTo>
                    <a:pt x="157" y="115"/>
                  </a:lnTo>
                  <a:lnTo>
                    <a:pt x="157" y="116"/>
                  </a:lnTo>
                  <a:lnTo>
                    <a:pt x="157" y="117"/>
                  </a:lnTo>
                  <a:lnTo>
                    <a:pt x="158" y="118"/>
                  </a:lnTo>
                  <a:lnTo>
                    <a:pt x="159" y="119"/>
                  </a:lnTo>
                  <a:lnTo>
                    <a:pt x="158" y="121"/>
                  </a:lnTo>
                  <a:lnTo>
                    <a:pt x="158" y="122"/>
                  </a:lnTo>
                  <a:lnTo>
                    <a:pt x="158" y="123"/>
                  </a:lnTo>
                  <a:lnTo>
                    <a:pt x="161" y="122"/>
                  </a:lnTo>
                  <a:lnTo>
                    <a:pt x="162" y="122"/>
                  </a:lnTo>
                  <a:lnTo>
                    <a:pt x="162" y="124"/>
                  </a:lnTo>
                  <a:lnTo>
                    <a:pt x="163" y="124"/>
                  </a:lnTo>
                  <a:lnTo>
                    <a:pt x="164" y="125"/>
                  </a:lnTo>
                  <a:lnTo>
                    <a:pt x="165" y="127"/>
                  </a:lnTo>
                  <a:lnTo>
                    <a:pt x="167" y="127"/>
                  </a:lnTo>
                  <a:lnTo>
                    <a:pt x="169" y="128"/>
                  </a:lnTo>
                  <a:lnTo>
                    <a:pt x="169" y="127"/>
                  </a:lnTo>
                  <a:lnTo>
                    <a:pt x="168" y="124"/>
                  </a:lnTo>
                  <a:lnTo>
                    <a:pt x="167" y="124"/>
                  </a:lnTo>
                  <a:lnTo>
                    <a:pt x="165" y="123"/>
                  </a:lnTo>
                  <a:lnTo>
                    <a:pt x="165" y="122"/>
                  </a:lnTo>
                  <a:lnTo>
                    <a:pt x="164" y="119"/>
                  </a:lnTo>
                  <a:lnTo>
                    <a:pt x="164" y="118"/>
                  </a:lnTo>
                  <a:lnTo>
                    <a:pt x="165" y="117"/>
                  </a:lnTo>
                  <a:lnTo>
                    <a:pt x="165" y="116"/>
                  </a:lnTo>
                  <a:lnTo>
                    <a:pt x="165" y="112"/>
                  </a:lnTo>
                  <a:lnTo>
                    <a:pt x="165" y="111"/>
                  </a:lnTo>
                  <a:lnTo>
                    <a:pt x="165" y="112"/>
                  </a:lnTo>
                  <a:lnTo>
                    <a:pt x="167" y="116"/>
                  </a:lnTo>
                  <a:lnTo>
                    <a:pt x="167" y="117"/>
                  </a:lnTo>
                  <a:lnTo>
                    <a:pt x="168" y="116"/>
                  </a:lnTo>
                  <a:lnTo>
                    <a:pt x="169" y="116"/>
                  </a:lnTo>
                  <a:lnTo>
                    <a:pt x="170" y="118"/>
                  </a:lnTo>
                  <a:lnTo>
                    <a:pt x="171" y="118"/>
                  </a:lnTo>
                  <a:lnTo>
                    <a:pt x="173" y="118"/>
                  </a:lnTo>
                  <a:lnTo>
                    <a:pt x="174" y="117"/>
                  </a:lnTo>
                  <a:lnTo>
                    <a:pt x="174" y="116"/>
                  </a:lnTo>
                  <a:lnTo>
                    <a:pt x="174" y="115"/>
                  </a:lnTo>
                  <a:lnTo>
                    <a:pt x="173" y="115"/>
                  </a:lnTo>
                  <a:lnTo>
                    <a:pt x="173" y="113"/>
                  </a:lnTo>
                  <a:lnTo>
                    <a:pt x="171" y="109"/>
                  </a:lnTo>
                  <a:lnTo>
                    <a:pt x="170" y="111"/>
                  </a:lnTo>
                  <a:lnTo>
                    <a:pt x="169" y="110"/>
                  </a:lnTo>
                  <a:lnTo>
                    <a:pt x="168" y="110"/>
                  </a:lnTo>
                  <a:lnTo>
                    <a:pt x="168" y="109"/>
                  </a:lnTo>
                  <a:lnTo>
                    <a:pt x="167" y="110"/>
                  </a:lnTo>
                  <a:lnTo>
                    <a:pt x="165" y="110"/>
                  </a:lnTo>
                  <a:lnTo>
                    <a:pt x="165" y="109"/>
                  </a:lnTo>
                  <a:lnTo>
                    <a:pt x="168" y="106"/>
                  </a:lnTo>
                  <a:lnTo>
                    <a:pt x="167" y="105"/>
                  </a:lnTo>
                  <a:lnTo>
                    <a:pt x="165" y="105"/>
                  </a:lnTo>
                  <a:lnTo>
                    <a:pt x="164" y="106"/>
                  </a:lnTo>
                  <a:lnTo>
                    <a:pt x="163" y="109"/>
                  </a:lnTo>
                  <a:lnTo>
                    <a:pt x="161" y="109"/>
                  </a:lnTo>
                  <a:lnTo>
                    <a:pt x="162" y="107"/>
                  </a:lnTo>
                  <a:lnTo>
                    <a:pt x="163" y="105"/>
                  </a:lnTo>
                  <a:lnTo>
                    <a:pt x="164" y="104"/>
                  </a:lnTo>
                  <a:lnTo>
                    <a:pt x="164" y="103"/>
                  </a:lnTo>
                  <a:lnTo>
                    <a:pt x="162" y="101"/>
                  </a:lnTo>
                  <a:lnTo>
                    <a:pt x="163" y="100"/>
                  </a:lnTo>
                  <a:lnTo>
                    <a:pt x="164" y="99"/>
                  </a:lnTo>
                  <a:lnTo>
                    <a:pt x="165" y="99"/>
                  </a:lnTo>
                  <a:lnTo>
                    <a:pt x="167" y="98"/>
                  </a:lnTo>
                  <a:lnTo>
                    <a:pt x="168" y="95"/>
                  </a:lnTo>
                  <a:lnTo>
                    <a:pt x="169" y="95"/>
                  </a:lnTo>
                  <a:lnTo>
                    <a:pt x="169" y="93"/>
                  </a:lnTo>
                  <a:lnTo>
                    <a:pt x="170" y="92"/>
                  </a:lnTo>
                  <a:lnTo>
                    <a:pt x="170" y="89"/>
                  </a:lnTo>
                  <a:lnTo>
                    <a:pt x="169" y="89"/>
                  </a:lnTo>
                  <a:lnTo>
                    <a:pt x="168" y="88"/>
                  </a:lnTo>
                  <a:lnTo>
                    <a:pt x="168" y="87"/>
                  </a:lnTo>
                  <a:lnTo>
                    <a:pt x="168" y="86"/>
                  </a:lnTo>
                  <a:lnTo>
                    <a:pt x="169" y="85"/>
                  </a:lnTo>
                  <a:lnTo>
                    <a:pt x="167" y="85"/>
                  </a:lnTo>
                  <a:lnTo>
                    <a:pt x="165" y="86"/>
                  </a:lnTo>
                  <a:lnTo>
                    <a:pt x="164" y="85"/>
                  </a:lnTo>
                  <a:lnTo>
                    <a:pt x="167" y="83"/>
                  </a:lnTo>
                  <a:lnTo>
                    <a:pt x="167" y="82"/>
                  </a:lnTo>
                  <a:lnTo>
                    <a:pt x="167" y="81"/>
                  </a:lnTo>
                  <a:lnTo>
                    <a:pt x="165" y="79"/>
                  </a:lnTo>
                  <a:lnTo>
                    <a:pt x="164" y="79"/>
                  </a:lnTo>
                  <a:lnTo>
                    <a:pt x="164" y="76"/>
                  </a:lnTo>
                  <a:lnTo>
                    <a:pt x="165" y="76"/>
                  </a:lnTo>
                  <a:lnTo>
                    <a:pt x="165" y="75"/>
                  </a:lnTo>
                  <a:lnTo>
                    <a:pt x="165" y="74"/>
                  </a:lnTo>
                  <a:lnTo>
                    <a:pt x="167" y="73"/>
                  </a:lnTo>
                  <a:lnTo>
                    <a:pt x="168" y="70"/>
                  </a:lnTo>
                  <a:lnTo>
                    <a:pt x="169" y="69"/>
                  </a:lnTo>
                  <a:lnTo>
                    <a:pt x="167" y="74"/>
                  </a:lnTo>
                  <a:lnTo>
                    <a:pt x="168" y="75"/>
                  </a:lnTo>
                  <a:lnTo>
                    <a:pt x="169" y="74"/>
                  </a:lnTo>
                  <a:lnTo>
                    <a:pt x="170" y="74"/>
                  </a:lnTo>
                  <a:lnTo>
                    <a:pt x="169" y="76"/>
                  </a:lnTo>
                  <a:lnTo>
                    <a:pt x="170" y="76"/>
                  </a:lnTo>
                  <a:lnTo>
                    <a:pt x="173" y="76"/>
                  </a:lnTo>
                  <a:lnTo>
                    <a:pt x="173" y="77"/>
                  </a:lnTo>
                  <a:lnTo>
                    <a:pt x="175" y="77"/>
                  </a:lnTo>
                  <a:lnTo>
                    <a:pt x="174" y="80"/>
                  </a:lnTo>
                  <a:lnTo>
                    <a:pt x="176" y="80"/>
                  </a:lnTo>
                  <a:lnTo>
                    <a:pt x="177" y="81"/>
                  </a:lnTo>
                  <a:lnTo>
                    <a:pt x="179" y="82"/>
                  </a:lnTo>
                  <a:lnTo>
                    <a:pt x="181" y="82"/>
                  </a:lnTo>
                  <a:lnTo>
                    <a:pt x="179" y="83"/>
                  </a:lnTo>
                  <a:lnTo>
                    <a:pt x="180" y="85"/>
                  </a:lnTo>
                  <a:lnTo>
                    <a:pt x="181" y="85"/>
                  </a:lnTo>
                  <a:lnTo>
                    <a:pt x="182" y="85"/>
                  </a:lnTo>
                  <a:lnTo>
                    <a:pt x="182" y="83"/>
                  </a:lnTo>
                  <a:lnTo>
                    <a:pt x="185" y="82"/>
                  </a:lnTo>
                  <a:lnTo>
                    <a:pt x="186" y="82"/>
                  </a:lnTo>
                  <a:lnTo>
                    <a:pt x="187" y="81"/>
                  </a:lnTo>
                  <a:lnTo>
                    <a:pt x="189" y="81"/>
                  </a:lnTo>
                  <a:lnTo>
                    <a:pt x="191" y="80"/>
                  </a:lnTo>
                  <a:lnTo>
                    <a:pt x="192" y="80"/>
                  </a:lnTo>
                  <a:lnTo>
                    <a:pt x="193" y="81"/>
                  </a:lnTo>
                  <a:lnTo>
                    <a:pt x="197" y="81"/>
                  </a:lnTo>
                  <a:lnTo>
                    <a:pt x="198" y="82"/>
                  </a:lnTo>
                  <a:lnTo>
                    <a:pt x="196" y="83"/>
                  </a:lnTo>
                  <a:lnTo>
                    <a:pt x="194" y="83"/>
                  </a:lnTo>
                  <a:lnTo>
                    <a:pt x="193" y="83"/>
                  </a:lnTo>
                  <a:lnTo>
                    <a:pt x="192" y="85"/>
                  </a:lnTo>
                  <a:lnTo>
                    <a:pt x="193" y="86"/>
                  </a:lnTo>
                  <a:lnTo>
                    <a:pt x="193" y="88"/>
                  </a:lnTo>
                  <a:lnTo>
                    <a:pt x="193" y="89"/>
                  </a:lnTo>
                  <a:lnTo>
                    <a:pt x="196" y="89"/>
                  </a:lnTo>
                  <a:lnTo>
                    <a:pt x="197" y="87"/>
                  </a:lnTo>
                  <a:lnTo>
                    <a:pt x="198" y="85"/>
                  </a:lnTo>
                  <a:lnTo>
                    <a:pt x="199" y="83"/>
                  </a:lnTo>
                  <a:lnTo>
                    <a:pt x="200" y="82"/>
                  </a:lnTo>
                  <a:lnTo>
                    <a:pt x="200" y="81"/>
                  </a:lnTo>
                  <a:lnTo>
                    <a:pt x="198" y="80"/>
                  </a:lnTo>
                  <a:lnTo>
                    <a:pt x="194" y="79"/>
                  </a:lnTo>
                  <a:lnTo>
                    <a:pt x="193" y="79"/>
                  </a:lnTo>
                  <a:lnTo>
                    <a:pt x="193" y="77"/>
                  </a:lnTo>
                  <a:lnTo>
                    <a:pt x="192" y="76"/>
                  </a:lnTo>
                  <a:lnTo>
                    <a:pt x="191" y="76"/>
                  </a:lnTo>
                  <a:lnTo>
                    <a:pt x="191" y="77"/>
                  </a:lnTo>
                  <a:lnTo>
                    <a:pt x="191" y="79"/>
                  </a:lnTo>
                  <a:lnTo>
                    <a:pt x="189" y="79"/>
                  </a:lnTo>
                  <a:lnTo>
                    <a:pt x="188" y="80"/>
                  </a:lnTo>
                  <a:lnTo>
                    <a:pt x="187" y="80"/>
                  </a:lnTo>
                  <a:lnTo>
                    <a:pt x="187" y="77"/>
                  </a:lnTo>
                  <a:lnTo>
                    <a:pt x="188" y="76"/>
                  </a:lnTo>
                  <a:lnTo>
                    <a:pt x="188" y="75"/>
                  </a:lnTo>
                  <a:lnTo>
                    <a:pt x="187" y="76"/>
                  </a:lnTo>
                  <a:lnTo>
                    <a:pt x="186" y="77"/>
                  </a:lnTo>
                  <a:lnTo>
                    <a:pt x="185" y="79"/>
                  </a:lnTo>
                  <a:lnTo>
                    <a:pt x="183" y="77"/>
                  </a:lnTo>
                  <a:lnTo>
                    <a:pt x="183" y="76"/>
                  </a:lnTo>
                  <a:lnTo>
                    <a:pt x="185" y="75"/>
                  </a:lnTo>
                  <a:lnTo>
                    <a:pt x="182" y="76"/>
                  </a:lnTo>
                  <a:lnTo>
                    <a:pt x="182" y="75"/>
                  </a:lnTo>
                  <a:lnTo>
                    <a:pt x="182" y="74"/>
                  </a:lnTo>
                  <a:lnTo>
                    <a:pt x="183" y="73"/>
                  </a:lnTo>
                  <a:lnTo>
                    <a:pt x="182" y="71"/>
                  </a:lnTo>
                  <a:lnTo>
                    <a:pt x="181" y="71"/>
                  </a:lnTo>
                  <a:lnTo>
                    <a:pt x="180" y="71"/>
                  </a:lnTo>
                  <a:lnTo>
                    <a:pt x="181" y="70"/>
                  </a:lnTo>
                  <a:lnTo>
                    <a:pt x="179" y="70"/>
                  </a:lnTo>
                  <a:lnTo>
                    <a:pt x="180" y="69"/>
                  </a:lnTo>
                  <a:lnTo>
                    <a:pt x="181" y="68"/>
                  </a:lnTo>
                  <a:lnTo>
                    <a:pt x="179" y="65"/>
                  </a:lnTo>
                  <a:lnTo>
                    <a:pt x="181" y="65"/>
                  </a:lnTo>
                  <a:lnTo>
                    <a:pt x="182" y="65"/>
                  </a:lnTo>
                  <a:lnTo>
                    <a:pt x="183" y="64"/>
                  </a:lnTo>
                  <a:lnTo>
                    <a:pt x="185" y="65"/>
                  </a:lnTo>
                  <a:lnTo>
                    <a:pt x="186" y="64"/>
                  </a:lnTo>
                  <a:lnTo>
                    <a:pt x="187" y="64"/>
                  </a:lnTo>
                  <a:lnTo>
                    <a:pt x="187" y="65"/>
                  </a:lnTo>
                  <a:lnTo>
                    <a:pt x="188" y="65"/>
                  </a:lnTo>
                  <a:lnTo>
                    <a:pt x="188" y="67"/>
                  </a:lnTo>
                  <a:lnTo>
                    <a:pt x="191" y="67"/>
                  </a:lnTo>
                  <a:lnTo>
                    <a:pt x="192" y="68"/>
                  </a:lnTo>
                  <a:lnTo>
                    <a:pt x="192" y="69"/>
                  </a:lnTo>
                  <a:lnTo>
                    <a:pt x="193" y="69"/>
                  </a:lnTo>
                  <a:lnTo>
                    <a:pt x="194" y="70"/>
                  </a:lnTo>
                  <a:lnTo>
                    <a:pt x="196" y="71"/>
                  </a:lnTo>
                  <a:lnTo>
                    <a:pt x="197" y="71"/>
                  </a:lnTo>
                  <a:lnTo>
                    <a:pt x="197" y="70"/>
                  </a:lnTo>
                  <a:lnTo>
                    <a:pt x="198" y="69"/>
                  </a:lnTo>
                  <a:lnTo>
                    <a:pt x="198" y="68"/>
                  </a:lnTo>
                  <a:lnTo>
                    <a:pt x="196" y="69"/>
                  </a:lnTo>
                  <a:lnTo>
                    <a:pt x="197" y="68"/>
                  </a:lnTo>
                  <a:lnTo>
                    <a:pt x="197" y="67"/>
                  </a:lnTo>
                  <a:lnTo>
                    <a:pt x="196" y="65"/>
                  </a:lnTo>
                  <a:lnTo>
                    <a:pt x="196" y="64"/>
                  </a:lnTo>
                  <a:lnTo>
                    <a:pt x="197" y="65"/>
                  </a:lnTo>
                  <a:lnTo>
                    <a:pt x="198" y="64"/>
                  </a:lnTo>
                  <a:lnTo>
                    <a:pt x="199" y="63"/>
                  </a:lnTo>
                  <a:lnTo>
                    <a:pt x="200" y="62"/>
                  </a:lnTo>
                  <a:lnTo>
                    <a:pt x="200" y="61"/>
                  </a:lnTo>
                  <a:lnTo>
                    <a:pt x="199" y="62"/>
                  </a:lnTo>
                  <a:lnTo>
                    <a:pt x="198" y="63"/>
                  </a:lnTo>
                  <a:lnTo>
                    <a:pt x="198" y="62"/>
                  </a:lnTo>
                  <a:lnTo>
                    <a:pt x="198" y="58"/>
                  </a:lnTo>
                  <a:lnTo>
                    <a:pt x="199" y="58"/>
                  </a:lnTo>
                  <a:lnTo>
                    <a:pt x="200" y="59"/>
                  </a:lnTo>
                  <a:lnTo>
                    <a:pt x="202" y="59"/>
                  </a:lnTo>
                  <a:lnTo>
                    <a:pt x="199" y="57"/>
                  </a:lnTo>
                  <a:lnTo>
                    <a:pt x="199" y="56"/>
                  </a:lnTo>
                  <a:lnTo>
                    <a:pt x="199" y="55"/>
                  </a:lnTo>
                  <a:lnTo>
                    <a:pt x="200" y="56"/>
                  </a:lnTo>
                  <a:lnTo>
                    <a:pt x="202" y="56"/>
                  </a:lnTo>
                  <a:lnTo>
                    <a:pt x="203" y="55"/>
                  </a:lnTo>
                  <a:lnTo>
                    <a:pt x="204" y="57"/>
                  </a:lnTo>
                  <a:lnTo>
                    <a:pt x="205" y="56"/>
                  </a:lnTo>
                  <a:lnTo>
                    <a:pt x="205" y="57"/>
                  </a:lnTo>
                  <a:lnTo>
                    <a:pt x="205" y="55"/>
                  </a:lnTo>
                  <a:lnTo>
                    <a:pt x="208" y="55"/>
                  </a:lnTo>
                  <a:lnTo>
                    <a:pt x="209" y="56"/>
                  </a:lnTo>
                  <a:lnTo>
                    <a:pt x="209" y="53"/>
                  </a:lnTo>
                  <a:lnTo>
                    <a:pt x="209" y="52"/>
                  </a:lnTo>
                  <a:lnTo>
                    <a:pt x="210" y="51"/>
                  </a:lnTo>
                  <a:lnTo>
                    <a:pt x="211" y="51"/>
                  </a:lnTo>
                  <a:lnTo>
                    <a:pt x="210" y="50"/>
                  </a:lnTo>
                  <a:lnTo>
                    <a:pt x="209" y="47"/>
                  </a:lnTo>
                  <a:lnTo>
                    <a:pt x="210" y="47"/>
                  </a:lnTo>
                  <a:lnTo>
                    <a:pt x="211" y="50"/>
                  </a:lnTo>
                  <a:lnTo>
                    <a:pt x="212" y="51"/>
                  </a:lnTo>
                  <a:lnTo>
                    <a:pt x="214" y="52"/>
                  </a:lnTo>
                  <a:lnTo>
                    <a:pt x="214" y="50"/>
                  </a:lnTo>
                  <a:lnTo>
                    <a:pt x="214" y="47"/>
                  </a:lnTo>
                  <a:lnTo>
                    <a:pt x="214" y="45"/>
                  </a:lnTo>
                  <a:lnTo>
                    <a:pt x="215" y="45"/>
                  </a:lnTo>
                  <a:lnTo>
                    <a:pt x="217" y="46"/>
                  </a:lnTo>
                  <a:lnTo>
                    <a:pt x="218" y="46"/>
                  </a:lnTo>
                  <a:lnTo>
                    <a:pt x="217" y="47"/>
                  </a:lnTo>
                  <a:lnTo>
                    <a:pt x="216" y="50"/>
                  </a:lnTo>
                  <a:lnTo>
                    <a:pt x="215" y="51"/>
                  </a:lnTo>
                  <a:lnTo>
                    <a:pt x="215" y="52"/>
                  </a:lnTo>
                  <a:lnTo>
                    <a:pt x="216" y="53"/>
                  </a:lnTo>
                  <a:lnTo>
                    <a:pt x="217" y="53"/>
                  </a:lnTo>
                  <a:lnTo>
                    <a:pt x="217" y="55"/>
                  </a:lnTo>
                  <a:lnTo>
                    <a:pt x="217" y="56"/>
                  </a:lnTo>
                  <a:lnTo>
                    <a:pt x="220" y="56"/>
                  </a:lnTo>
                  <a:lnTo>
                    <a:pt x="221" y="56"/>
                  </a:lnTo>
                  <a:lnTo>
                    <a:pt x="220" y="57"/>
                  </a:lnTo>
                  <a:lnTo>
                    <a:pt x="218" y="57"/>
                  </a:lnTo>
                  <a:lnTo>
                    <a:pt x="220" y="58"/>
                  </a:lnTo>
                  <a:lnTo>
                    <a:pt x="220" y="59"/>
                  </a:lnTo>
                  <a:lnTo>
                    <a:pt x="222" y="61"/>
                  </a:lnTo>
                  <a:lnTo>
                    <a:pt x="221" y="62"/>
                  </a:lnTo>
                  <a:lnTo>
                    <a:pt x="222" y="62"/>
                  </a:lnTo>
                  <a:lnTo>
                    <a:pt x="221" y="63"/>
                  </a:lnTo>
                  <a:lnTo>
                    <a:pt x="220" y="64"/>
                  </a:lnTo>
                  <a:lnTo>
                    <a:pt x="220" y="65"/>
                  </a:lnTo>
                  <a:lnTo>
                    <a:pt x="221" y="65"/>
                  </a:lnTo>
                  <a:lnTo>
                    <a:pt x="222" y="68"/>
                  </a:lnTo>
                  <a:lnTo>
                    <a:pt x="223" y="68"/>
                  </a:lnTo>
                  <a:lnTo>
                    <a:pt x="224" y="68"/>
                  </a:lnTo>
                  <a:lnTo>
                    <a:pt x="223" y="70"/>
                  </a:lnTo>
                  <a:lnTo>
                    <a:pt x="222" y="71"/>
                  </a:lnTo>
                  <a:lnTo>
                    <a:pt x="223" y="71"/>
                  </a:lnTo>
                  <a:lnTo>
                    <a:pt x="226" y="71"/>
                  </a:lnTo>
                  <a:lnTo>
                    <a:pt x="224" y="74"/>
                  </a:lnTo>
                  <a:lnTo>
                    <a:pt x="224" y="75"/>
                  </a:lnTo>
                  <a:lnTo>
                    <a:pt x="226" y="76"/>
                  </a:lnTo>
                  <a:lnTo>
                    <a:pt x="226" y="79"/>
                  </a:lnTo>
                  <a:lnTo>
                    <a:pt x="227" y="79"/>
                  </a:lnTo>
                  <a:lnTo>
                    <a:pt x="227" y="80"/>
                  </a:lnTo>
                  <a:lnTo>
                    <a:pt x="228" y="80"/>
                  </a:lnTo>
                  <a:lnTo>
                    <a:pt x="229" y="79"/>
                  </a:lnTo>
                  <a:lnTo>
                    <a:pt x="232" y="77"/>
                  </a:lnTo>
                  <a:lnTo>
                    <a:pt x="234" y="76"/>
                  </a:lnTo>
                  <a:lnTo>
                    <a:pt x="235" y="75"/>
                  </a:lnTo>
                  <a:lnTo>
                    <a:pt x="235" y="74"/>
                  </a:lnTo>
                  <a:lnTo>
                    <a:pt x="236" y="71"/>
                  </a:lnTo>
                  <a:lnTo>
                    <a:pt x="238" y="70"/>
                  </a:lnTo>
                  <a:lnTo>
                    <a:pt x="238" y="67"/>
                  </a:lnTo>
                  <a:lnTo>
                    <a:pt x="236" y="68"/>
                  </a:lnTo>
                  <a:lnTo>
                    <a:pt x="235" y="69"/>
                  </a:lnTo>
                  <a:lnTo>
                    <a:pt x="234" y="70"/>
                  </a:lnTo>
                  <a:lnTo>
                    <a:pt x="234" y="69"/>
                  </a:lnTo>
                  <a:lnTo>
                    <a:pt x="233" y="69"/>
                  </a:lnTo>
                  <a:lnTo>
                    <a:pt x="233" y="68"/>
                  </a:lnTo>
                  <a:lnTo>
                    <a:pt x="234" y="68"/>
                  </a:lnTo>
                  <a:lnTo>
                    <a:pt x="235" y="67"/>
                  </a:lnTo>
                  <a:lnTo>
                    <a:pt x="236" y="65"/>
                  </a:lnTo>
                  <a:lnTo>
                    <a:pt x="235" y="65"/>
                  </a:lnTo>
                  <a:lnTo>
                    <a:pt x="234" y="64"/>
                  </a:lnTo>
                  <a:lnTo>
                    <a:pt x="233" y="65"/>
                  </a:lnTo>
                  <a:lnTo>
                    <a:pt x="233" y="64"/>
                  </a:lnTo>
                  <a:lnTo>
                    <a:pt x="233" y="63"/>
                  </a:lnTo>
                  <a:lnTo>
                    <a:pt x="230" y="63"/>
                  </a:lnTo>
                  <a:lnTo>
                    <a:pt x="229" y="64"/>
                  </a:lnTo>
                  <a:lnTo>
                    <a:pt x="229" y="65"/>
                  </a:lnTo>
                  <a:lnTo>
                    <a:pt x="229" y="64"/>
                  </a:lnTo>
                  <a:lnTo>
                    <a:pt x="229" y="63"/>
                  </a:lnTo>
                  <a:lnTo>
                    <a:pt x="229" y="62"/>
                  </a:lnTo>
                  <a:lnTo>
                    <a:pt x="229" y="61"/>
                  </a:lnTo>
                  <a:lnTo>
                    <a:pt x="228" y="58"/>
                  </a:lnTo>
                  <a:lnTo>
                    <a:pt x="226" y="59"/>
                  </a:lnTo>
                  <a:lnTo>
                    <a:pt x="224" y="59"/>
                  </a:lnTo>
                  <a:lnTo>
                    <a:pt x="226" y="58"/>
                  </a:lnTo>
                  <a:lnTo>
                    <a:pt x="226" y="57"/>
                  </a:lnTo>
                  <a:lnTo>
                    <a:pt x="226" y="56"/>
                  </a:lnTo>
                  <a:lnTo>
                    <a:pt x="223" y="55"/>
                  </a:lnTo>
                  <a:lnTo>
                    <a:pt x="223" y="53"/>
                  </a:lnTo>
                  <a:lnTo>
                    <a:pt x="224" y="53"/>
                  </a:lnTo>
                  <a:lnTo>
                    <a:pt x="226" y="53"/>
                  </a:lnTo>
                  <a:lnTo>
                    <a:pt x="226" y="55"/>
                  </a:lnTo>
                  <a:lnTo>
                    <a:pt x="227" y="56"/>
                  </a:lnTo>
                  <a:lnTo>
                    <a:pt x="228" y="55"/>
                  </a:lnTo>
                  <a:lnTo>
                    <a:pt x="228" y="57"/>
                  </a:lnTo>
                  <a:lnTo>
                    <a:pt x="229" y="57"/>
                  </a:lnTo>
                  <a:lnTo>
                    <a:pt x="229" y="58"/>
                  </a:lnTo>
                  <a:lnTo>
                    <a:pt x="230" y="59"/>
                  </a:lnTo>
                  <a:lnTo>
                    <a:pt x="232" y="61"/>
                  </a:lnTo>
                  <a:lnTo>
                    <a:pt x="233" y="59"/>
                  </a:lnTo>
                  <a:lnTo>
                    <a:pt x="234" y="59"/>
                  </a:lnTo>
                  <a:lnTo>
                    <a:pt x="235" y="58"/>
                  </a:lnTo>
                  <a:lnTo>
                    <a:pt x="235" y="57"/>
                  </a:lnTo>
                  <a:lnTo>
                    <a:pt x="233" y="57"/>
                  </a:lnTo>
                  <a:lnTo>
                    <a:pt x="234" y="56"/>
                  </a:lnTo>
                  <a:lnTo>
                    <a:pt x="233" y="55"/>
                  </a:lnTo>
                  <a:lnTo>
                    <a:pt x="234" y="55"/>
                  </a:lnTo>
                  <a:lnTo>
                    <a:pt x="234" y="53"/>
                  </a:lnTo>
                  <a:lnTo>
                    <a:pt x="234" y="52"/>
                  </a:lnTo>
                  <a:lnTo>
                    <a:pt x="233" y="51"/>
                  </a:lnTo>
                  <a:lnTo>
                    <a:pt x="232" y="51"/>
                  </a:lnTo>
                  <a:lnTo>
                    <a:pt x="233" y="50"/>
                  </a:lnTo>
                  <a:lnTo>
                    <a:pt x="232" y="49"/>
                  </a:lnTo>
                  <a:lnTo>
                    <a:pt x="230" y="47"/>
                  </a:lnTo>
                  <a:lnTo>
                    <a:pt x="228" y="47"/>
                  </a:lnTo>
                  <a:lnTo>
                    <a:pt x="228" y="46"/>
                  </a:lnTo>
                  <a:lnTo>
                    <a:pt x="230" y="45"/>
                  </a:lnTo>
                  <a:lnTo>
                    <a:pt x="229" y="44"/>
                  </a:lnTo>
                  <a:lnTo>
                    <a:pt x="227" y="41"/>
                  </a:lnTo>
                  <a:lnTo>
                    <a:pt x="226" y="41"/>
                  </a:lnTo>
                  <a:lnTo>
                    <a:pt x="228" y="41"/>
                  </a:lnTo>
                  <a:lnTo>
                    <a:pt x="230" y="39"/>
                  </a:lnTo>
                  <a:lnTo>
                    <a:pt x="230" y="38"/>
                  </a:lnTo>
                  <a:lnTo>
                    <a:pt x="232" y="38"/>
                  </a:lnTo>
                  <a:lnTo>
                    <a:pt x="232" y="40"/>
                  </a:lnTo>
                  <a:lnTo>
                    <a:pt x="232" y="43"/>
                  </a:lnTo>
                  <a:lnTo>
                    <a:pt x="233" y="41"/>
                  </a:lnTo>
                  <a:lnTo>
                    <a:pt x="232" y="44"/>
                  </a:lnTo>
                  <a:lnTo>
                    <a:pt x="233" y="45"/>
                  </a:lnTo>
                  <a:lnTo>
                    <a:pt x="235" y="45"/>
                  </a:lnTo>
                  <a:lnTo>
                    <a:pt x="235" y="46"/>
                  </a:lnTo>
                  <a:lnTo>
                    <a:pt x="235" y="47"/>
                  </a:lnTo>
                  <a:lnTo>
                    <a:pt x="236" y="47"/>
                  </a:lnTo>
                  <a:lnTo>
                    <a:pt x="236" y="49"/>
                  </a:lnTo>
                  <a:lnTo>
                    <a:pt x="238" y="49"/>
                  </a:lnTo>
                  <a:lnTo>
                    <a:pt x="238" y="51"/>
                  </a:lnTo>
                  <a:lnTo>
                    <a:pt x="239" y="50"/>
                  </a:lnTo>
                  <a:lnTo>
                    <a:pt x="240" y="50"/>
                  </a:lnTo>
                  <a:lnTo>
                    <a:pt x="240" y="52"/>
                  </a:lnTo>
                  <a:lnTo>
                    <a:pt x="241" y="52"/>
                  </a:lnTo>
                  <a:lnTo>
                    <a:pt x="241" y="53"/>
                  </a:lnTo>
                  <a:lnTo>
                    <a:pt x="242" y="55"/>
                  </a:lnTo>
                  <a:lnTo>
                    <a:pt x="241" y="58"/>
                  </a:lnTo>
                  <a:lnTo>
                    <a:pt x="242" y="56"/>
                  </a:lnTo>
                  <a:lnTo>
                    <a:pt x="244" y="56"/>
                  </a:lnTo>
                  <a:lnTo>
                    <a:pt x="246" y="57"/>
                  </a:lnTo>
                  <a:lnTo>
                    <a:pt x="247" y="56"/>
                  </a:lnTo>
                  <a:lnTo>
                    <a:pt x="250" y="55"/>
                  </a:lnTo>
                  <a:lnTo>
                    <a:pt x="250" y="56"/>
                  </a:lnTo>
                  <a:lnTo>
                    <a:pt x="250" y="58"/>
                  </a:lnTo>
                  <a:lnTo>
                    <a:pt x="252" y="58"/>
                  </a:lnTo>
                  <a:lnTo>
                    <a:pt x="252" y="59"/>
                  </a:lnTo>
                  <a:lnTo>
                    <a:pt x="251" y="61"/>
                  </a:lnTo>
                  <a:lnTo>
                    <a:pt x="252" y="62"/>
                  </a:lnTo>
                  <a:lnTo>
                    <a:pt x="251" y="62"/>
                  </a:lnTo>
                  <a:lnTo>
                    <a:pt x="251" y="63"/>
                  </a:lnTo>
                  <a:lnTo>
                    <a:pt x="250" y="63"/>
                  </a:lnTo>
                  <a:lnTo>
                    <a:pt x="250" y="64"/>
                  </a:lnTo>
                  <a:lnTo>
                    <a:pt x="251" y="64"/>
                  </a:lnTo>
                  <a:lnTo>
                    <a:pt x="252" y="67"/>
                  </a:lnTo>
                  <a:lnTo>
                    <a:pt x="251" y="68"/>
                  </a:lnTo>
                  <a:lnTo>
                    <a:pt x="253" y="69"/>
                  </a:lnTo>
                  <a:lnTo>
                    <a:pt x="256" y="69"/>
                  </a:lnTo>
                  <a:lnTo>
                    <a:pt x="255" y="68"/>
                  </a:lnTo>
                  <a:lnTo>
                    <a:pt x="256" y="68"/>
                  </a:lnTo>
                  <a:lnTo>
                    <a:pt x="257" y="67"/>
                  </a:lnTo>
                  <a:lnTo>
                    <a:pt x="258" y="68"/>
                  </a:lnTo>
                  <a:lnTo>
                    <a:pt x="259" y="68"/>
                  </a:lnTo>
                  <a:lnTo>
                    <a:pt x="262" y="67"/>
                  </a:lnTo>
                  <a:lnTo>
                    <a:pt x="262" y="69"/>
                  </a:lnTo>
                  <a:lnTo>
                    <a:pt x="263" y="69"/>
                  </a:lnTo>
                  <a:lnTo>
                    <a:pt x="261" y="70"/>
                  </a:lnTo>
                  <a:lnTo>
                    <a:pt x="261" y="71"/>
                  </a:lnTo>
                  <a:lnTo>
                    <a:pt x="263" y="70"/>
                  </a:lnTo>
                  <a:lnTo>
                    <a:pt x="265" y="70"/>
                  </a:lnTo>
                  <a:lnTo>
                    <a:pt x="265" y="71"/>
                  </a:lnTo>
                  <a:lnTo>
                    <a:pt x="268" y="73"/>
                  </a:lnTo>
                  <a:lnTo>
                    <a:pt x="268" y="74"/>
                  </a:lnTo>
                  <a:lnTo>
                    <a:pt x="269" y="75"/>
                  </a:lnTo>
                  <a:lnTo>
                    <a:pt x="269" y="76"/>
                  </a:lnTo>
                  <a:lnTo>
                    <a:pt x="268" y="76"/>
                  </a:lnTo>
                  <a:lnTo>
                    <a:pt x="267" y="75"/>
                  </a:lnTo>
                  <a:lnTo>
                    <a:pt x="268" y="76"/>
                  </a:lnTo>
                  <a:lnTo>
                    <a:pt x="268" y="77"/>
                  </a:lnTo>
                  <a:lnTo>
                    <a:pt x="265" y="76"/>
                  </a:lnTo>
                  <a:lnTo>
                    <a:pt x="267" y="79"/>
                  </a:lnTo>
                  <a:lnTo>
                    <a:pt x="265" y="77"/>
                  </a:lnTo>
                  <a:lnTo>
                    <a:pt x="264" y="77"/>
                  </a:lnTo>
                  <a:lnTo>
                    <a:pt x="262" y="79"/>
                  </a:lnTo>
                  <a:lnTo>
                    <a:pt x="262" y="80"/>
                  </a:lnTo>
                  <a:lnTo>
                    <a:pt x="262" y="81"/>
                  </a:lnTo>
                  <a:lnTo>
                    <a:pt x="264" y="81"/>
                  </a:lnTo>
                  <a:lnTo>
                    <a:pt x="265" y="83"/>
                  </a:lnTo>
                  <a:lnTo>
                    <a:pt x="268" y="83"/>
                  </a:lnTo>
                  <a:lnTo>
                    <a:pt x="269" y="86"/>
                  </a:lnTo>
                  <a:lnTo>
                    <a:pt x="268" y="88"/>
                  </a:lnTo>
                  <a:lnTo>
                    <a:pt x="268" y="91"/>
                  </a:lnTo>
                  <a:lnTo>
                    <a:pt x="270" y="89"/>
                  </a:lnTo>
                  <a:lnTo>
                    <a:pt x="271" y="89"/>
                  </a:lnTo>
                  <a:lnTo>
                    <a:pt x="274" y="88"/>
                  </a:lnTo>
                  <a:lnTo>
                    <a:pt x="275" y="88"/>
                  </a:lnTo>
                  <a:lnTo>
                    <a:pt x="275" y="87"/>
                  </a:lnTo>
                  <a:lnTo>
                    <a:pt x="276" y="85"/>
                  </a:lnTo>
                  <a:lnTo>
                    <a:pt x="274" y="86"/>
                  </a:lnTo>
                  <a:lnTo>
                    <a:pt x="275" y="83"/>
                  </a:lnTo>
                  <a:lnTo>
                    <a:pt x="275" y="82"/>
                  </a:lnTo>
                  <a:lnTo>
                    <a:pt x="277" y="82"/>
                  </a:lnTo>
                  <a:lnTo>
                    <a:pt x="279" y="82"/>
                  </a:lnTo>
                  <a:lnTo>
                    <a:pt x="277" y="81"/>
                  </a:lnTo>
                  <a:lnTo>
                    <a:pt x="276" y="80"/>
                  </a:lnTo>
                  <a:lnTo>
                    <a:pt x="277" y="79"/>
                  </a:lnTo>
                  <a:lnTo>
                    <a:pt x="279" y="77"/>
                  </a:lnTo>
                  <a:lnTo>
                    <a:pt x="280" y="77"/>
                  </a:lnTo>
                  <a:lnTo>
                    <a:pt x="283" y="76"/>
                  </a:lnTo>
                  <a:lnTo>
                    <a:pt x="283" y="75"/>
                  </a:lnTo>
                  <a:lnTo>
                    <a:pt x="285" y="74"/>
                  </a:lnTo>
                  <a:lnTo>
                    <a:pt x="288" y="71"/>
                  </a:lnTo>
                  <a:lnTo>
                    <a:pt x="287" y="70"/>
                  </a:lnTo>
                  <a:lnTo>
                    <a:pt x="286" y="70"/>
                  </a:lnTo>
                  <a:lnTo>
                    <a:pt x="285" y="71"/>
                  </a:lnTo>
                  <a:lnTo>
                    <a:pt x="283" y="71"/>
                  </a:lnTo>
                  <a:lnTo>
                    <a:pt x="282" y="73"/>
                  </a:lnTo>
                  <a:lnTo>
                    <a:pt x="281" y="73"/>
                  </a:lnTo>
                  <a:lnTo>
                    <a:pt x="280" y="71"/>
                  </a:lnTo>
                  <a:lnTo>
                    <a:pt x="279" y="71"/>
                  </a:lnTo>
                  <a:lnTo>
                    <a:pt x="279" y="74"/>
                  </a:lnTo>
                  <a:lnTo>
                    <a:pt x="277" y="75"/>
                  </a:lnTo>
                  <a:lnTo>
                    <a:pt x="277" y="74"/>
                  </a:lnTo>
                  <a:lnTo>
                    <a:pt x="275" y="73"/>
                  </a:lnTo>
                  <a:lnTo>
                    <a:pt x="275" y="70"/>
                  </a:lnTo>
                  <a:lnTo>
                    <a:pt x="276" y="70"/>
                  </a:lnTo>
                  <a:lnTo>
                    <a:pt x="276" y="69"/>
                  </a:lnTo>
                  <a:lnTo>
                    <a:pt x="276" y="68"/>
                  </a:lnTo>
                  <a:lnTo>
                    <a:pt x="277" y="68"/>
                  </a:lnTo>
                  <a:lnTo>
                    <a:pt x="277" y="65"/>
                  </a:lnTo>
                  <a:lnTo>
                    <a:pt x="279" y="64"/>
                  </a:lnTo>
                  <a:lnTo>
                    <a:pt x="279" y="63"/>
                  </a:lnTo>
                  <a:lnTo>
                    <a:pt x="277" y="62"/>
                  </a:lnTo>
                  <a:lnTo>
                    <a:pt x="276" y="61"/>
                  </a:lnTo>
                  <a:lnTo>
                    <a:pt x="277" y="59"/>
                  </a:lnTo>
                  <a:lnTo>
                    <a:pt x="275" y="58"/>
                  </a:lnTo>
                  <a:lnTo>
                    <a:pt x="275" y="57"/>
                  </a:lnTo>
                  <a:lnTo>
                    <a:pt x="277" y="57"/>
                  </a:lnTo>
                  <a:lnTo>
                    <a:pt x="281" y="57"/>
                  </a:lnTo>
                  <a:lnTo>
                    <a:pt x="281" y="58"/>
                  </a:lnTo>
                  <a:lnTo>
                    <a:pt x="282" y="59"/>
                  </a:lnTo>
                  <a:lnTo>
                    <a:pt x="283" y="58"/>
                  </a:lnTo>
                  <a:lnTo>
                    <a:pt x="283" y="59"/>
                  </a:lnTo>
                  <a:lnTo>
                    <a:pt x="283" y="61"/>
                  </a:lnTo>
                  <a:lnTo>
                    <a:pt x="286" y="59"/>
                  </a:lnTo>
                  <a:lnTo>
                    <a:pt x="289" y="61"/>
                  </a:lnTo>
                  <a:lnTo>
                    <a:pt x="291" y="59"/>
                  </a:lnTo>
                  <a:lnTo>
                    <a:pt x="292" y="58"/>
                  </a:lnTo>
                  <a:lnTo>
                    <a:pt x="292" y="61"/>
                  </a:lnTo>
                  <a:lnTo>
                    <a:pt x="293" y="61"/>
                  </a:lnTo>
                  <a:lnTo>
                    <a:pt x="294" y="62"/>
                  </a:lnTo>
                  <a:lnTo>
                    <a:pt x="297" y="62"/>
                  </a:lnTo>
                  <a:lnTo>
                    <a:pt x="298" y="62"/>
                  </a:lnTo>
                  <a:lnTo>
                    <a:pt x="298" y="61"/>
                  </a:lnTo>
                  <a:lnTo>
                    <a:pt x="298" y="58"/>
                  </a:lnTo>
                  <a:lnTo>
                    <a:pt x="299" y="58"/>
                  </a:lnTo>
                  <a:lnTo>
                    <a:pt x="297" y="56"/>
                  </a:lnTo>
                  <a:lnTo>
                    <a:pt x="295" y="56"/>
                  </a:lnTo>
                  <a:lnTo>
                    <a:pt x="294" y="57"/>
                  </a:lnTo>
                  <a:lnTo>
                    <a:pt x="293" y="57"/>
                  </a:lnTo>
                  <a:lnTo>
                    <a:pt x="292" y="56"/>
                  </a:lnTo>
                  <a:lnTo>
                    <a:pt x="292" y="55"/>
                  </a:lnTo>
                  <a:lnTo>
                    <a:pt x="289" y="53"/>
                  </a:lnTo>
                  <a:lnTo>
                    <a:pt x="288" y="51"/>
                  </a:lnTo>
                  <a:lnTo>
                    <a:pt x="289" y="52"/>
                  </a:lnTo>
                  <a:lnTo>
                    <a:pt x="291" y="52"/>
                  </a:lnTo>
                  <a:lnTo>
                    <a:pt x="289" y="51"/>
                  </a:lnTo>
                  <a:lnTo>
                    <a:pt x="289" y="50"/>
                  </a:lnTo>
                  <a:lnTo>
                    <a:pt x="292" y="51"/>
                  </a:lnTo>
                  <a:lnTo>
                    <a:pt x="292" y="50"/>
                  </a:lnTo>
                  <a:lnTo>
                    <a:pt x="293" y="51"/>
                  </a:lnTo>
                  <a:lnTo>
                    <a:pt x="293" y="50"/>
                  </a:lnTo>
                  <a:lnTo>
                    <a:pt x="292" y="49"/>
                  </a:lnTo>
                  <a:lnTo>
                    <a:pt x="292" y="47"/>
                  </a:lnTo>
                  <a:lnTo>
                    <a:pt x="294" y="49"/>
                  </a:lnTo>
                  <a:lnTo>
                    <a:pt x="294" y="47"/>
                  </a:lnTo>
                  <a:lnTo>
                    <a:pt x="295" y="44"/>
                  </a:lnTo>
                  <a:lnTo>
                    <a:pt x="294" y="44"/>
                  </a:lnTo>
                  <a:lnTo>
                    <a:pt x="293" y="41"/>
                  </a:lnTo>
                  <a:lnTo>
                    <a:pt x="294" y="41"/>
                  </a:lnTo>
                  <a:lnTo>
                    <a:pt x="295" y="40"/>
                  </a:lnTo>
                  <a:lnTo>
                    <a:pt x="297" y="38"/>
                  </a:lnTo>
                  <a:lnTo>
                    <a:pt x="298" y="38"/>
                  </a:lnTo>
                  <a:lnTo>
                    <a:pt x="297" y="34"/>
                  </a:lnTo>
                  <a:lnTo>
                    <a:pt x="295" y="33"/>
                  </a:lnTo>
                  <a:lnTo>
                    <a:pt x="297" y="32"/>
                  </a:lnTo>
                  <a:lnTo>
                    <a:pt x="297" y="30"/>
                  </a:lnTo>
                  <a:lnTo>
                    <a:pt x="297" y="29"/>
                  </a:lnTo>
                  <a:lnTo>
                    <a:pt x="297" y="30"/>
                  </a:lnTo>
                  <a:lnTo>
                    <a:pt x="298" y="30"/>
                  </a:lnTo>
                  <a:lnTo>
                    <a:pt x="300" y="30"/>
                  </a:lnTo>
                  <a:lnTo>
                    <a:pt x="299" y="32"/>
                  </a:lnTo>
                  <a:lnTo>
                    <a:pt x="300" y="32"/>
                  </a:lnTo>
                  <a:lnTo>
                    <a:pt x="299" y="34"/>
                  </a:lnTo>
                  <a:lnTo>
                    <a:pt x="299" y="35"/>
                  </a:lnTo>
                  <a:lnTo>
                    <a:pt x="299" y="36"/>
                  </a:lnTo>
                  <a:lnTo>
                    <a:pt x="299" y="35"/>
                  </a:lnTo>
                  <a:lnTo>
                    <a:pt x="299" y="38"/>
                  </a:lnTo>
                  <a:lnTo>
                    <a:pt x="300" y="38"/>
                  </a:lnTo>
                  <a:lnTo>
                    <a:pt x="303" y="38"/>
                  </a:lnTo>
                  <a:lnTo>
                    <a:pt x="301" y="39"/>
                  </a:lnTo>
                  <a:lnTo>
                    <a:pt x="303" y="38"/>
                  </a:lnTo>
                  <a:lnTo>
                    <a:pt x="303" y="39"/>
                  </a:lnTo>
                  <a:lnTo>
                    <a:pt x="301" y="41"/>
                  </a:lnTo>
                  <a:lnTo>
                    <a:pt x="303" y="40"/>
                  </a:lnTo>
                  <a:lnTo>
                    <a:pt x="304" y="41"/>
                  </a:lnTo>
                  <a:lnTo>
                    <a:pt x="304" y="43"/>
                  </a:lnTo>
                  <a:lnTo>
                    <a:pt x="305" y="43"/>
                  </a:lnTo>
                  <a:lnTo>
                    <a:pt x="306" y="41"/>
                  </a:lnTo>
                  <a:lnTo>
                    <a:pt x="306" y="38"/>
                  </a:lnTo>
                  <a:lnTo>
                    <a:pt x="307" y="40"/>
                  </a:lnTo>
                  <a:lnTo>
                    <a:pt x="310" y="41"/>
                  </a:lnTo>
                  <a:lnTo>
                    <a:pt x="310" y="44"/>
                  </a:lnTo>
                  <a:lnTo>
                    <a:pt x="311" y="43"/>
                  </a:lnTo>
                  <a:lnTo>
                    <a:pt x="314" y="43"/>
                  </a:lnTo>
                  <a:lnTo>
                    <a:pt x="315" y="43"/>
                  </a:lnTo>
                  <a:lnTo>
                    <a:pt x="315" y="40"/>
                  </a:lnTo>
                  <a:lnTo>
                    <a:pt x="314" y="36"/>
                  </a:lnTo>
                  <a:lnTo>
                    <a:pt x="312" y="36"/>
                  </a:lnTo>
                  <a:lnTo>
                    <a:pt x="312" y="35"/>
                  </a:lnTo>
                  <a:lnTo>
                    <a:pt x="314" y="34"/>
                  </a:lnTo>
                  <a:lnTo>
                    <a:pt x="312" y="33"/>
                  </a:lnTo>
                  <a:lnTo>
                    <a:pt x="310" y="33"/>
                  </a:lnTo>
                  <a:lnTo>
                    <a:pt x="309" y="32"/>
                  </a:lnTo>
                  <a:lnTo>
                    <a:pt x="307" y="30"/>
                  </a:lnTo>
                  <a:lnTo>
                    <a:pt x="309" y="30"/>
                  </a:lnTo>
                  <a:lnTo>
                    <a:pt x="311" y="29"/>
                  </a:lnTo>
                  <a:lnTo>
                    <a:pt x="310" y="28"/>
                  </a:lnTo>
                  <a:lnTo>
                    <a:pt x="312" y="28"/>
                  </a:lnTo>
                  <a:lnTo>
                    <a:pt x="314" y="27"/>
                  </a:lnTo>
                  <a:lnTo>
                    <a:pt x="315" y="24"/>
                  </a:lnTo>
                  <a:lnTo>
                    <a:pt x="315" y="23"/>
                  </a:lnTo>
                  <a:lnTo>
                    <a:pt x="314" y="22"/>
                  </a:lnTo>
                  <a:lnTo>
                    <a:pt x="314" y="21"/>
                  </a:lnTo>
                  <a:lnTo>
                    <a:pt x="314" y="20"/>
                  </a:lnTo>
                  <a:lnTo>
                    <a:pt x="314" y="18"/>
                  </a:lnTo>
                  <a:lnTo>
                    <a:pt x="312" y="16"/>
                  </a:lnTo>
                  <a:lnTo>
                    <a:pt x="312" y="15"/>
                  </a:lnTo>
                  <a:lnTo>
                    <a:pt x="314" y="14"/>
                  </a:lnTo>
                  <a:lnTo>
                    <a:pt x="315" y="16"/>
                  </a:lnTo>
                  <a:lnTo>
                    <a:pt x="316" y="16"/>
                  </a:lnTo>
                  <a:lnTo>
                    <a:pt x="317" y="16"/>
                  </a:lnTo>
                  <a:lnTo>
                    <a:pt x="320" y="17"/>
                  </a:lnTo>
                  <a:lnTo>
                    <a:pt x="321" y="18"/>
                  </a:lnTo>
                  <a:lnTo>
                    <a:pt x="323" y="20"/>
                  </a:lnTo>
                  <a:lnTo>
                    <a:pt x="326" y="21"/>
                  </a:lnTo>
                  <a:lnTo>
                    <a:pt x="329" y="20"/>
                  </a:lnTo>
                  <a:lnTo>
                    <a:pt x="329" y="17"/>
                  </a:lnTo>
                  <a:lnTo>
                    <a:pt x="328" y="15"/>
                  </a:lnTo>
                  <a:lnTo>
                    <a:pt x="328" y="14"/>
                  </a:lnTo>
                  <a:lnTo>
                    <a:pt x="328" y="11"/>
                  </a:lnTo>
                  <a:lnTo>
                    <a:pt x="328" y="10"/>
                  </a:lnTo>
                  <a:lnTo>
                    <a:pt x="327" y="10"/>
                  </a:lnTo>
                  <a:lnTo>
                    <a:pt x="323" y="12"/>
                  </a:lnTo>
                  <a:lnTo>
                    <a:pt x="323" y="11"/>
                  </a:lnTo>
                  <a:lnTo>
                    <a:pt x="326" y="10"/>
                  </a:lnTo>
                  <a:lnTo>
                    <a:pt x="326" y="9"/>
                  </a:lnTo>
                  <a:lnTo>
                    <a:pt x="326" y="6"/>
                  </a:lnTo>
                  <a:lnTo>
                    <a:pt x="327" y="6"/>
                  </a:lnTo>
                  <a:lnTo>
                    <a:pt x="327" y="5"/>
                  </a:lnTo>
                  <a:lnTo>
                    <a:pt x="328" y="6"/>
                  </a:lnTo>
                  <a:lnTo>
                    <a:pt x="329" y="6"/>
                  </a:lnTo>
                  <a:lnTo>
                    <a:pt x="330" y="5"/>
                  </a:lnTo>
                  <a:lnTo>
                    <a:pt x="332" y="5"/>
                  </a:lnTo>
                  <a:lnTo>
                    <a:pt x="334" y="4"/>
                  </a:lnTo>
                  <a:lnTo>
                    <a:pt x="333" y="2"/>
                  </a:lnTo>
                  <a:lnTo>
                    <a:pt x="334" y="3"/>
                  </a:lnTo>
                  <a:lnTo>
                    <a:pt x="335" y="4"/>
                  </a:lnTo>
                  <a:lnTo>
                    <a:pt x="336" y="4"/>
                  </a:lnTo>
                  <a:lnTo>
                    <a:pt x="338" y="4"/>
                  </a:lnTo>
                  <a:lnTo>
                    <a:pt x="338" y="5"/>
                  </a:lnTo>
                  <a:lnTo>
                    <a:pt x="336" y="5"/>
                  </a:lnTo>
                  <a:lnTo>
                    <a:pt x="338" y="6"/>
                  </a:lnTo>
                  <a:lnTo>
                    <a:pt x="339" y="6"/>
                  </a:lnTo>
                  <a:lnTo>
                    <a:pt x="340" y="6"/>
                  </a:lnTo>
                  <a:lnTo>
                    <a:pt x="341" y="4"/>
                  </a:lnTo>
                  <a:lnTo>
                    <a:pt x="342" y="5"/>
                  </a:lnTo>
                  <a:lnTo>
                    <a:pt x="344" y="5"/>
                  </a:lnTo>
                  <a:lnTo>
                    <a:pt x="344" y="4"/>
                  </a:lnTo>
                  <a:lnTo>
                    <a:pt x="346" y="4"/>
                  </a:lnTo>
                  <a:lnTo>
                    <a:pt x="346" y="3"/>
                  </a:lnTo>
                  <a:lnTo>
                    <a:pt x="347" y="3"/>
                  </a:lnTo>
                  <a:lnTo>
                    <a:pt x="348" y="2"/>
                  </a:lnTo>
                  <a:lnTo>
                    <a:pt x="348" y="0"/>
                  </a:lnTo>
                  <a:lnTo>
                    <a:pt x="350" y="2"/>
                  </a:lnTo>
                  <a:lnTo>
                    <a:pt x="351" y="2"/>
                  </a:lnTo>
                  <a:lnTo>
                    <a:pt x="351" y="3"/>
                  </a:lnTo>
                  <a:lnTo>
                    <a:pt x="352" y="3"/>
                  </a:lnTo>
                  <a:lnTo>
                    <a:pt x="353" y="5"/>
                  </a:lnTo>
                  <a:lnTo>
                    <a:pt x="350" y="5"/>
                  </a:lnTo>
                  <a:lnTo>
                    <a:pt x="350" y="6"/>
                  </a:lnTo>
                  <a:lnTo>
                    <a:pt x="351" y="8"/>
                  </a:lnTo>
                  <a:lnTo>
                    <a:pt x="350" y="9"/>
                  </a:lnTo>
                  <a:lnTo>
                    <a:pt x="347" y="8"/>
                  </a:lnTo>
                  <a:lnTo>
                    <a:pt x="347" y="9"/>
                  </a:lnTo>
                  <a:lnTo>
                    <a:pt x="347" y="10"/>
                  </a:lnTo>
                  <a:lnTo>
                    <a:pt x="347" y="11"/>
                  </a:lnTo>
                  <a:lnTo>
                    <a:pt x="348" y="11"/>
                  </a:lnTo>
                  <a:lnTo>
                    <a:pt x="350" y="10"/>
                  </a:lnTo>
                  <a:lnTo>
                    <a:pt x="350" y="12"/>
                  </a:lnTo>
                  <a:lnTo>
                    <a:pt x="351" y="12"/>
                  </a:lnTo>
                  <a:lnTo>
                    <a:pt x="351" y="14"/>
                  </a:lnTo>
                  <a:lnTo>
                    <a:pt x="351" y="11"/>
                  </a:lnTo>
                  <a:lnTo>
                    <a:pt x="352" y="11"/>
                  </a:lnTo>
                  <a:lnTo>
                    <a:pt x="354" y="12"/>
                  </a:lnTo>
                  <a:lnTo>
                    <a:pt x="356" y="12"/>
                  </a:lnTo>
                  <a:lnTo>
                    <a:pt x="356" y="14"/>
                  </a:lnTo>
                  <a:lnTo>
                    <a:pt x="354" y="14"/>
                  </a:lnTo>
                  <a:lnTo>
                    <a:pt x="353" y="15"/>
                  </a:lnTo>
                  <a:lnTo>
                    <a:pt x="354" y="16"/>
                  </a:lnTo>
                  <a:lnTo>
                    <a:pt x="356" y="17"/>
                  </a:lnTo>
                  <a:lnTo>
                    <a:pt x="353" y="17"/>
                  </a:lnTo>
                  <a:lnTo>
                    <a:pt x="352" y="17"/>
                  </a:lnTo>
                  <a:lnTo>
                    <a:pt x="352" y="20"/>
                  </a:lnTo>
                  <a:lnTo>
                    <a:pt x="352" y="21"/>
                  </a:lnTo>
                  <a:lnTo>
                    <a:pt x="352" y="23"/>
                  </a:lnTo>
                  <a:lnTo>
                    <a:pt x="353" y="24"/>
                  </a:lnTo>
                  <a:lnTo>
                    <a:pt x="354" y="26"/>
                  </a:lnTo>
                  <a:lnTo>
                    <a:pt x="352" y="24"/>
                  </a:lnTo>
                  <a:lnTo>
                    <a:pt x="352" y="26"/>
                  </a:lnTo>
                  <a:lnTo>
                    <a:pt x="352" y="27"/>
                  </a:lnTo>
                  <a:lnTo>
                    <a:pt x="352" y="28"/>
                  </a:lnTo>
                  <a:lnTo>
                    <a:pt x="353" y="29"/>
                  </a:lnTo>
                  <a:lnTo>
                    <a:pt x="354" y="28"/>
                  </a:lnTo>
                  <a:lnTo>
                    <a:pt x="357" y="29"/>
                  </a:lnTo>
                  <a:lnTo>
                    <a:pt x="358" y="28"/>
                  </a:lnTo>
                  <a:lnTo>
                    <a:pt x="357" y="26"/>
                  </a:lnTo>
                  <a:lnTo>
                    <a:pt x="357" y="23"/>
                  </a:lnTo>
                  <a:lnTo>
                    <a:pt x="358" y="26"/>
                  </a:lnTo>
                  <a:lnTo>
                    <a:pt x="359" y="27"/>
                  </a:lnTo>
                  <a:lnTo>
                    <a:pt x="360" y="27"/>
                  </a:lnTo>
                  <a:lnTo>
                    <a:pt x="360" y="24"/>
                  </a:lnTo>
                  <a:lnTo>
                    <a:pt x="362" y="26"/>
                  </a:lnTo>
                  <a:lnTo>
                    <a:pt x="363" y="27"/>
                  </a:lnTo>
                  <a:lnTo>
                    <a:pt x="362" y="27"/>
                  </a:lnTo>
                  <a:lnTo>
                    <a:pt x="360" y="29"/>
                  </a:lnTo>
                  <a:lnTo>
                    <a:pt x="362" y="29"/>
                  </a:lnTo>
                  <a:lnTo>
                    <a:pt x="362" y="30"/>
                  </a:lnTo>
                  <a:lnTo>
                    <a:pt x="363" y="30"/>
                  </a:lnTo>
                  <a:lnTo>
                    <a:pt x="364" y="30"/>
                  </a:lnTo>
                  <a:lnTo>
                    <a:pt x="364" y="29"/>
                  </a:lnTo>
                  <a:lnTo>
                    <a:pt x="364" y="28"/>
                  </a:lnTo>
                  <a:lnTo>
                    <a:pt x="366" y="29"/>
                  </a:lnTo>
                  <a:lnTo>
                    <a:pt x="368" y="30"/>
                  </a:lnTo>
                  <a:lnTo>
                    <a:pt x="366" y="32"/>
                  </a:lnTo>
                  <a:lnTo>
                    <a:pt x="365" y="32"/>
                  </a:lnTo>
                  <a:lnTo>
                    <a:pt x="365" y="33"/>
                  </a:lnTo>
                  <a:lnTo>
                    <a:pt x="366" y="34"/>
                  </a:lnTo>
                  <a:lnTo>
                    <a:pt x="368" y="35"/>
                  </a:lnTo>
                  <a:lnTo>
                    <a:pt x="366" y="35"/>
                  </a:lnTo>
                  <a:lnTo>
                    <a:pt x="366" y="36"/>
                  </a:lnTo>
                  <a:lnTo>
                    <a:pt x="366" y="38"/>
                  </a:lnTo>
                  <a:lnTo>
                    <a:pt x="366" y="39"/>
                  </a:lnTo>
                  <a:lnTo>
                    <a:pt x="368" y="40"/>
                  </a:lnTo>
                  <a:lnTo>
                    <a:pt x="370" y="39"/>
                  </a:lnTo>
                  <a:lnTo>
                    <a:pt x="371" y="40"/>
                  </a:lnTo>
                  <a:lnTo>
                    <a:pt x="372" y="40"/>
                  </a:lnTo>
                  <a:lnTo>
                    <a:pt x="374" y="40"/>
                  </a:lnTo>
                  <a:lnTo>
                    <a:pt x="376" y="38"/>
                  </a:lnTo>
                  <a:lnTo>
                    <a:pt x="376" y="36"/>
                  </a:lnTo>
                  <a:lnTo>
                    <a:pt x="376" y="39"/>
                  </a:lnTo>
                  <a:lnTo>
                    <a:pt x="377" y="39"/>
                  </a:lnTo>
                  <a:lnTo>
                    <a:pt x="379" y="39"/>
                  </a:lnTo>
                  <a:lnTo>
                    <a:pt x="380" y="35"/>
                  </a:lnTo>
                  <a:lnTo>
                    <a:pt x="380" y="36"/>
                  </a:lnTo>
                  <a:lnTo>
                    <a:pt x="380" y="38"/>
                  </a:lnTo>
                  <a:lnTo>
                    <a:pt x="380" y="39"/>
                  </a:lnTo>
                  <a:lnTo>
                    <a:pt x="381" y="39"/>
                  </a:lnTo>
                  <a:lnTo>
                    <a:pt x="380" y="40"/>
                  </a:lnTo>
                  <a:lnTo>
                    <a:pt x="380" y="43"/>
                  </a:lnTo>
                  <a:lnTo>
                    <a:pt x="380" y="44"/>
                  </a:lnTo>
                  <a:lnTo>
                    <a:pt x="381" y="45"/>
                  </a:lnTo>
                  <a:lnTo>
                    <a:pt x="380" y="46"/>
                  </a:lnTo>
                  <a:lnTo>
                    <a:pt x="380" y="47"/>
                  </a:lnTo>
                  <a:lnTo>
                    <a:pt x="382" y="49"/>
                  </a:lnTo>
                  <a:lnTo>
                    <a:pt x="383" y="51"/>
                  </a:lnTo>
                  <a:lnTo>
                    <a:pt x="385" y="50"/>
                  </a:lnTo>
                  <a:lnTo>
                    <a:pt x="383" y="49"/>
                  </a:lnTo>
                  <a:lnTo>
                    <a:pt x="383" y="47"/>
                  </a:lnTo>
                  <a:lnTo>
                    <a:pt x="385" y="47"/>
                  </a:lnTo>
                  <a:lnTo>
                    <a:pt x="386" y="46"/>
                  </a:lnTo>
                  <a:lnTo>
                    <a:pt x="387" y="45"/>
                  </a:lnTo>
                  <a:lnTo>
                    <a:pt x="386" y="44"/>
                  </a:lnTo>
                  <a:lnTo>
                    <a:pt x="385" y="43"/>
                  </a:lnTo>
                  <a:lnTo>
                    <a:pt x="386" y="43"/>
                  </a:lnTo>
                  <a:lnTo>
                    <a:pt x="387" y="41"/>
                  </a:lnTo>
                  <a:lnTo>
                    <a:pt x="388" y="41"/>
                  </a:lnTo>
                  <a:lnTo>
                    <a:pt x="389" y="40"/>
                  </a:lnTo>
                  <a:lnTo>
                    <a:pt x="392" y="40"/>
                  </a:lnTo>
                  <a:lnTo>
                    <a:pt x="393" y="39"/>
                  </a:lnTo>
                  <a:lnTo>
                    <a:pt x="392" y="38"/>
                  </a:lnTo>
                  <a:lnTo>
                    <a:pt x="391" y="36"/>
                  </a:lnTo>
                  <a:lnTo>
                    <a:pt x="392" y="36"/>
                  </a:lnTo>
                  <a:lnTo>
                    <a:pt x="393" y="36"/>
                  </a:lnTo>
                  <a:lnTo>
                    <a:pt x="395" y="35"/>
                  </a:lnTo>
                  <a:lnTo>
                    <a:pt x="398" y="34"/>
                  </a:lnTo>
                  <a:lnTo>
                    <a:pt x="395" y="36"/>
                  </a:lnTo>
                  <a:lnTo>
                    <a:pt x="394" y="38"/>
                  </a:lnTo>
                  <a:lnTo>
                    <a:pt x="397" y="38"/>
                  </a:lnTo>
                  <a:lnTo>
                    <a:pt x="397" y="36"/>
                  </a:lnTo>
                  <a:lnTo>
                    <a:pt x="398" y="36"/>
                  </a:lnTo>
                  <a:lnTo>
                    <a:pt x="400" y="38"/>
                  </a:lnTo>
                  <a:lnTo>
                    <a:pt x="403" y="36"/>
                  </a:lnTo>
                  <a:lnTo>
                    <a:pt x="403" y="38"/>
                  </a:lnTo>
                  <a:lnTo>
                    <a:pt x="403" y="39"/>
                  </a:lnTo>
                  <a:lnTo>
                    <a:pt x="404" y="39"/>
                  </a:lnTo>
                  <a:lnTo>
                    <a:pt x="405" y="40"/>
                  </a:lnTo>
                  <a:lnTo>
                    <a:pt x="403" y="40"/>
                  </a:lnTo>
                  <a:lnTo>
                    <a:pt x="401" y="40"/>
                  </a:lnTo>
                  <a:lnTo>
                    <a:pt x="403" y="41"/>
                  </a:lnTo>
                  <a:lnTo>
                    <a:pt x="403" y="43"/>
                  </a:lnTo>
                  <a:lnTo>
                    <a:pt x="404" y="44"/>
                  </a:lnTo>
                  <a:lnTo>
                    <a:pt x="400" y="43"/>
                  </a:lnTo>
                  <a:lnTo>
                    <a:pt x="403" y="45"/>
                  </a:lnTo>
                  <a:lnTo>
                    <a:pt x="403" y="46"/>
                  </a:lnTo>
                  <a:lnTo>
                    <a:pt x="401" y="46"/>
                  </a:lnTo>
                  <a:lnTo>
                    <a:pt x="401" y="47"/>
                  </a:lnTo>
                  <a:lnTo>
                    <a:pt x="400" y="47"/>
                  </a:lnTo>
                  <a:lnTo>
                    <a:pt x="399" y="46"/>
                  </a:lnTo>
                  <a:lnTo>
                    <a:pt x="398" y="45"/>
                  </a:lnTo>
                  <a:lnTo>
                    <a:pt x="395" y="47"/>
                  </a:lnTo>
                  <a:lnTo>
                    <a:pt x="395" y="50"/>
                  </a:lnTo>
                  <a:lnTo>
                    <a:pt x="394" y="51"/>
                  </a:lnTo>
                  <a:lnTo>
                    <a:pt x="395" y="52"/>
                  </a:lnTo>
                  <a:lnTo>
                    <a:pt x="397" y="51"/>
                  </a:lnTo>
                  <a:lnTo>
                    <a:pt x="398" y="52"/>
                  </a:lnTo>
                  <a:lnTo>
                    <a:pt x="398" y="53"/>
                  </a:lnTo>
                  <a:lnTo>
                    <a:pt x="399" y="55"/>
                  </a:lnTo>
                  <a:lnTo>
                    <a:pt x="401" y="56"/>
                  </a:lnTo>
                  <a:lnTo>
                    <a:pt x="401" y="55"/>
                  </a:lnTo>
                  <a:lnTo>
                    <a:pt x="401" y="51"/>
                  </a:lnTo>
                  <a:lnTo>
                    <a:pt x="401" y="50"/>
                  </a:lnTo>
                  <a:lnTo>
                    <a:pt x="403" y="51"/>
                  </a:lnTo>
                  <a:lnTo>
                    <a:pt x="405" y="50"/>
                  </a:lnTo>
                  <a:lnTo>
                    <a:pt x="404" y="52"/>
                  </a:lnTo>
                  <a:lnTo>
                    <a:pt x="405" y="52"/>
                  </a:lnTo>
                  <a:lnTo>
                    <a:pt x="406" y="53"/>
                  </a:lnTo>
                  <a:lnTo>
                    <a:pt x="406" y="55"/>
                  </a:lnTo>
                  <a:lnTo>
                    <a:pt x="407" y="55"/>
                  </a:lnTo>
                  <a:lnTo>
                    <a:pt x="409" y="56"/>
                  </a:lnTo>
                  <a:lnTo>
                    <a:pt x="407" y="57"/>
                  </a:lnTo>
                  <a:lnTo>
                    <a:pt x="406" y="58"/>
                  </a:lnTo>
                  <a:lnTo>
                    <a:pt x="405" y="59"/>
                  </a:lnTo>
                  <a:lnTo>
                    <a:pt x="405" y="61"/>
                  </a:lnTo>
                  <a:lnTo>
                    <a:pt x="405" y="63"/>
                  </a:lnTo>
                  <a:lnTo>
                    <a:pt x="405" y="64"/>
                  </a:lnTo>
                  <a:lnTo>
                    <a:pt x="406" y="63"/>
                  </a:lnTo>
                  <a:lnTo>
                    <a:pt x="406" y="61"/>
                  </a:lnTo>
                  <a:lnTo>
                    <a:pt x="406" y="59"/>
                  </a:lnTo>
                  <a:lnTo>
                    <a:pt x="407" y="58"/>
                  </a:lnTo>
                  <a:lnTo>
                    <a:pt x="407" y="59"/>
                  </a:lnTo>
                  <a:lnTo>
                    <a:pt x="410" y="61"/>
                  </a:lnTo>
                  <a:lnTo>
                    <a:pt x="411" y="61"/>
                  </a:lnTo>
                  <a:lnTo>
                    <a:pt x="411" y="59"/>
                  </a:lnTo>
                  <a:lnTo>
                    <a:pt x="413" y="62"/>
                  </a:lnTo>
                  <a:lnTo>
                    <a:pt x="415" y="61"/>
                  </a:lnTo>
                  <a:lnTo>
                    <a:pt x="416" y="61"/>
                  </a:lnTo>
                  <a:lnTo>
                    <a:pt x="417" y="61"/>
                  </a:lnTo>
                  <a:lnTo>
                    <a:pt x="417" y="58"/>
                  </a:lnTo>
                  <a:lnTo>
                    <a:pt x="417" y="61"/>
                  </a:lnTo>
                  <a:lnTo>
                    <a:pt x="418" y="62"/>
                  </a:lnTo>
                  <a:lnTo>
                    <a:pt x="419" y="65"/>
                  </a:lnTo>
                  <a:lnTo>
                    <a:pt x="422" y="67"/>
                  </a:lnTo>
                  <a:lnTo>
                    <a:pt x="422" y="68"/>
                  </a:lnTo>
                  <a:lnTo>
                    <a:pt x="423" y="67"/>
                  </a:lnTo>
                  <a:lnTo>
                    <a:pt x="425" y="64"/>
                  </a:lnTo>
                  <a:lnTo>
                    <a:pt x="425" y="63"/>
                  </a:lnTo>
                  <a:lnTo>
                    <a:pt x="424" y="62"/>
                  </a:lnTo>
                  <a:lnTo>
                    <a:pt x="424" y="59"/>
                  </a:lnTo>
                  <a:lnTo>
                    <a:pt x="425" y="59"/>
                  </a:lnTo>
                  <a:lnTo>
                    <a:pt x="425" y="57"/>
                  </a:lnTo>
                  <a:lnTo>
                    <a:pt x="422" y="55"/>
                  </a:lnTo>
                  <a:lnTo>
                    <a:pt x="419" y="52"/>
                  </a:lnTo>
                  <a:lnTo>
                    <a:pt x="417" y="50"/>
                  </a:lnTo>
                  <a:lnTo>
                    <a:pt x="415" y="50"/>
                  </a:lnTo>
                  <a:lnTo>
                    <a:pt x="415" y="47"/>
                  </a:lnTo>
                  <a:lnTo>
                    <a:pt x="411" y="47"/>
                  </a:lnTo>
                  <a:lnTo>
                    <a:pt x="412" y="45"/>
                  </a:lnTo>
                  <a:lnTo>
                    <a:pt x="410" y="44"/>
                  </a:lnTo>
                  <a:lnTo>
                    <a:pt x="412" y="44"/>
                  </a:lnTo>
                  <a:lnTo>
                    <a:pt x="412" y="43"/>
                  </a:lnTo>
                  <a:lnTo>
                    <a:pt x="413" y="41"/>
                  </a:lnTo>
                  <a:lnTo>
                    <a:pt x="415" y="41"/>
                  </a:lnTo>
                  <a:lnTo>
                    <a:pt x="416" y="40"/>
                  </a:lnTo>
                  <a:lnTo>
                    <a:pt x="417" y="41"/>
                  </a:lnTo>
                  <a:lnTo>
                    <a:pt x="418" y="41"/>
                  </a:lnTo>
                  <a:lnTo>
                    <a:pt x="418" y="45"/>
                  </a:lnTo>
                  <a:lnTo>
                    <a:pt x="418" y="46"/>
                  </a:lnTo>
                  <a:lnTo>
                    <a:pt x="419" y="44"/>
                  </a:lnTo>
                  <a:lnTo>
                    <a:pt x="419" y="45"/>
                  </a:lnTo>
                  <a:lnTo>
                    <a:pt x="419" y="49"/>
                  </a:lnTo>
                  <a:lnTo>
                    <a:pt x="421" y="50"/>
                  </a:lnTo>
                  <a:lnTo>
                    <a:pt x="422" y="49"/>
                  </a:lnTo>
                  <a:lnTo>
                    <a:pt x="422" y="46"/>
                  </a:lnTo>
                  <a:lnTo>
                    <a:pt x="423" y="46"/>
                  </a:lnTo>
                  <a:lnTo>
                    <a:pt x="424" y="45"/>
                  </a:lnTo>
                  <a:lnTo>
                    <a:pt x="425" y="46"/>
                  </a:lnTo>
                  <a:lnTo>
                    <a:pt x="427" y="45"/>
                  </a:lnTo>
                  <a:lnTo>
                    <a:pt x="428" y="45"/>
                  </a:lnTo>
                  <a:lnTo>
                    <a:pt x="429" y="46"/>
                  </a:lnTo>
                  <a:lnTo>
                    <a:pt x="428" y="47"/>
                  </a:lnTo>
                  <a:lnTo>
                    <a:pt x="428" y="50"/>
                  </a:lnTo>
                  <a:lnTo>
                    <a:pt x="427" y="51"/>
                  </a:lnTo>
                  <a:lnTo>
                    <a:pt x="425" y="52"/>
                  </a:lnTo>
                  <a:lnTo>
                    <a:pt x="425" y="53"/>
                  </a:lnTo>
                  <a:lnTo>
                    <a:pt x="427" y="56"/>
                  </a:lnTo>
                  <a:lnTo>
                    <a:pt x="428" y="59"/>
                  </a:lnTo>
                  <a:lnTo>
                    <a:pt x="429" y="55"/>
                  </a:lnTo>
                  <a:lnTo>
                    <a:pt x="430" y="57"/>
                  </a:lnTo>
                  <a:lnTo>
                    <a:pt x="430" y="58"/>
                  </a:lnTo>
                  <a:lnTo>
                    <a:pt x="431" y="58"/>
                  </a:lnTo>
                  <a:lnTo>
                    <a:pt x="433" y="57"/>
                  </a:lnTo>
                  <a:lnTo>
                    <a:pt x="434" y="58"/>
                  </a:lnTo>
                  <a:lnTo>
                    <a:pt x="434" y="56"/>
                  </a:lnTo>
                  <a:lnTo>
                    <a:pt x="433" y="57"/>
                  </a:lnTo>
                  <a:lnTo>
                    <a:pt x="434" y="55"/>
                  </a:lnTo>
                  <a:lnTo>
                    <a:pt x="439" y="52"/>
                  </a:lnTo>
                  <a:lnTo>
                    <a:pt x="440" y="52"/>
                  </a:lnTo>
                  <a:lnTo>
                    <a:pt x="440" y="49"/>
                  </a:lnTo>
                  <a:lnTo>
                    <a:pt x="444" y="49"/>
                  </a:lnTo>
                  <a:lnTo>
                    <a:pt x="440" y="46"/>
                  </a:lnTo>
                  <a:lnTo>
                    <a:pt x="444" y="49"/>
                  </a:lnTo>
                  <a:lnTo>
                    <a:pt x="445" y="47"/>
                  </a:lnTo>
                  <a:lnTo>
                    <a:pt x="446" y="47"/>
                  </a:lnTo>
                  <a:lnTo>
                    <a:pt x="447" y="47"/>
                  </a:lnTo>
                  <a:lnTo>
                    <a:pt x="447" y="46"/>
                  </a:lnTo>
                  <a:lnTo>
                    <a:pt x="448" y="46"/>
                  </a:lnTo>
                  <a:lnTo>
                    <a:pt x="451" y="50"/>
                  </a:lnTo>
                  <a:lnTo>
                    <a:pt x="452" y="46"/>
                  </a:lnTo>
                  <a:lnTo>
                    <a:pt x="451" y="45"/>
                  </a:lnTo>
                  <a:lnTo>
                    <a:pt x="452" y="45"/>
                  </a:lnTo>
                  <a:lnTo>
                    <a:pt x="453" y="41"/>
                  </a:lnTo>
                  <a:lnTo>
                    <a:pt x="453" y="44"/>
                  </a:lnTo>
                  <a:lnTo>
                    <a:pt x="454" y="45"/>
                  </a:lnTo>
                  <a:lnTo>
                    <a:pt x="453" y="46"/>
                  </a:lnTo>
                  <a:lnTo>
                    <a:pt x="452" y="47"/>
                  </a:lnTo>
                  <a:lnTo>
                    <a:pt x="452" y="49"/>
                  </a:lnTo>
                  <a:lnTo>
                    <a:pt x="453" y="50"/>
                  </a:lnTo>
                  <a:lnTo>
                    <a:pt x="454" y="51"/>
                  </a:lnTo>
                  <a:lnTo>
                    <a:pt x="456" y="51"/>
                  </a:lnTo>
                  <a:lnTo>
                    <a:pt x="456" y="50"/>
                  </a:lnTo>
                  <a:lnTo>
                    <a:pt x="458" y="51"/>
                  </a:lnTo>
                  <a:lnTo>
                    <a:pt x="459" y="51"/>
                  </a:lnTo>
                  <a:lnTo>
                    <a:pt x="460" y="51"/>
                  </a:lnTo>
                  <a:lnTo>
                    <a:pt x="460" y="53"/>
                  </a:lnTo>
                  <a:lnTo>
                    <a:pt x="463" y="55"/>
                  </a:lnTo>
                  <a:lnTo>
                    <a:pt x="463" y="58"/>
                  </a:lnTo>
                  <a:lnTo>
                    <a:pt x="463" y="61"/>
                  </a:lnTo>
                  <a:lnTo>
                    <a:pt x="464" y="62"/>
                  </a:lnTo>
                  <a:lnTo>
                    <a:pt x="465" y="61"/>
                  </a:lnTo>
                  <a:lnTo>
                    <a:pt x="466" y="62"/>
                  </a:lnTo>
                  <a:lnTo>
                    <a:pt x="468" y="63"/>
                  </a:lnTo>
                  <a:lnTo>
                    <a:pt x="470" y="64"/>
                  </a:lnTo>
                  <a:lnTo>
                    <a:pt x="472" y="62"/>
                  </a:lnTo>
                  <a:lnTo>
                    <a:pt x="471" y="61"/>
                  </a:lnTo>
                  <a:lnTo>
                    <a:pt x="472" y="61"/>
                  </a:lnTo>
                  <a:lnTo>
                    <a:pt x="471" y="57"/>
                  </a:lnTo>
                  <a:lnTo>
                    <a:pt x="474" y="57"/>
                  </a:lnTo>
                  <a:lnTo>
                    <a:pt x="475" y="57"/>
                  </a:lnTo>
                  <a:lnTo>
                    <a:pt x="476" y="56"/>
                  </a:lnTo>
                  <a:lnTo>
                    <a:pt x="476" y="57"/>
                  </a:lnTo>
                  <a:lnTo>
                    <a:pt x="477" y="57"/>
                  </a:lnTo>
                  <a:lnTo>
                    <a:pt x="476" y="58"/>
                  </a:lnTo>
                  <a:lnTo>
                    <a:pt x="474" y="61"/>
                  </a:lnTo>
                  <a:lnTo>
                    <a:pt x="475" y="61"/>
                  </a:lnTo>
                  <a:lnTo>
                    <a:pt x="476" y="61"/>
                  </a:lnTo>
                  <a:lnTo>
                    <a:pt x="477" y="61"/>
                  </a:lnTo>
                  <a:lnTo>
                    <a:pt x="478" y="58"/>
                  </a:lnTo>
                  <a:lnTo>
                    <a:pt x="480" y="58"/>
                  </a:lnTo>
                  <a:lnTo>
                    <a:pt x="481" y="58"/>
                  </a:lnTo>
                  <a:lnTo>
                    <a:pt x="480" y="61"/>
                  </a:lnTo>
                  <a:lnTo>
                    <a:pt x="481" y="61"/>
                  </a:lnTo>
                  <a:lnTo>
                    <a:pt x="482" y="62"/>
                  </a:lnTo>
                  <a:lnTo>
                    <a:pt x="482" y="63"/>
                  </a:lnTo>
                  <a:lnTo>
                    <a:pt x="482" y="64"/>
                  </a:lnTo>
                  <a:lnTo>
                    <a:pt x="483" y="65"/>
                  </a:lnTo>
                  <a:lnTo>
                    <a:pt x="484" y="65"/>
                  </a:lnTo>
                  <a:lnTo>
                    <a:pt x="484" y="67"/>
                  </a:lnTo>
                  <a:lnTo>
                    <a:pt x="487" y="67"/>
                  </a:lnTo>
                  <a:lnTo>
                    <a:pt x="486" y="67"/>
                  </a:lnTo>
                  <a:lnTo>
                    <a:pt x="484" y="68"/>
                  </a:lnTo>
                  <a:lnTo>
                    <a:pt x="486" y="69"/>
                  </a:lnTo>
                  <a:lnTo>
                    <a:pt x="487" y="70"/>
                  </a:lnTo>
                  <a:lnTo>
                    <a:pt x="488" y="71"/>
                  </a:lnTo>
                  <a:lnTo>
                    <a:pt x="489" y="71"/>
                  </a:lnTo>
                  <a:lnTo>
                    <a:pt x="489" y="73"/>
                  </a:lnTo>
                  <a:lnTo>
                    <a:pt x="490" y="74"/>
                  </a:lnTo>
                  <a:lnTo>
                    <a:pt x="492" y="74"/>
                  </a:lnTo>
                  <a:lnTo>
                    <a:pt x="490" y="75"/>
                  </a:lnTo>
                  <a:lnTo>
                    <a:pt x="490" y="76"/>
                  </a:lnTo>
                  <a:lnTo>
                    <a:pt x="493" y="75"/>
                  </a:lnTo>
                  <a:lnTo>
                    <a:pt x="494" y="75"/>
                  </a:lnTo>
                  <a:lnTo>
                    <a:pt x="492" y="77"/>
                  </a:lnTo>
                  <a:lnTo>
                    <a:pt x="492" y="79"/>
                  </a:lnTo>
                  <a:lnTo>
                    <a:pt x="493" y="79"/>
                  </a:lnTo>
                  <a:lnTo>
                    <a:pt x="495" y="79"/>
                  </a:lnTo>
                  <a:lnTo>
                    <a:pt x="495" y="80"/>
                  </a:lnTo>
                  <a:lnTo>
                    <a:pt x="495" y="79"/>
                  </a:lnTo>
                  <a:lnTo>
                    <a:pt x="495" y="80"/>
                  </a:lnTo>
                  <a:lnTo>
                    <a:pt x="495" y="82"/>
                  </a:lnTo>
                  <a:lnTo>
                    <a:pt x="497" y="82"/>
                  </a:lnTo>
                  <a:lnTo>
                    <a:pt x="498" y="81"/>
                  </a:lnTo>
                  <a:lnTo>
                    <a:pt x="498" y="80"/>
                  </a:lnTo>
                  <a:lnTo>
                    <a:pt x="498" y="81"/>
                  </a:lnTo>
                  <a:lnTo>
                    <a:pt x="501" y="82"/>
                  </a:lnTo>
                  <a:lnTo>
                    <a:pt x="501" y="81"/>
                  </a:lnTo>
                  <a:lnTo>
                    <a:pt x="501" y="80"/>
                  </a:lnTo>
                  <a:lnTo>
                    <a:pt x="503" y="80"/>
                  </a:lnTo>
                  <a:lnTo>
                    <a:pt x="501" y="79"/>
                  </a:lnTo>
                  <a:lnTo>
                    <a:pt x="500" y="76"/>
                  </a:lnTo>
                  <a:lnTo>
                    <a:pt x="499" y="76"/>
                  </a:lnTo>
                  <a:lnTo>
                    <a:pt x="501" y="76"/>
                  </a:lnTo>
                  <a:lnTo>
                    <a:pt x="501" y="75"/>
                  </a:lnTo>
                  <a:lnTo>
                    <a:pt x="503" y="75"/>
                  </a:lnTo>
                  <a:lnTo>
                    <a:pt x="503" y="74"/>
                  </a:lnTo>
                  <a:lnTo>
                    <a:pt x="506" y="73"/>
                  </a:lnTo>
                  <a:lnTo>
                    <a:pt x="505" y="75"/>
                  </a:lnTo>
                  <a:lnTo>
                    <a:pt x="505" y="76"/>
                  </a:lnTo>
                  <a:lnTo>
                    <a:pt x="505" y="77"/>
                  </a:lnTo>
                  <a:lnTo>
                    <a:pt x="506" y="76"/>
                  </a:lnTo>
                  <a:lnTo>
                    <a:pt x="507" y="79"/>
                  </a:lnTo>
                  <a:lnTo>
                    <a:pt x="510" y="79"/>
                  </a:lnTo>
                  <a:lnTo>
                    <a:pt x="510" y="80"/>
                  </a:lnTo>
                  <a:lnTo>
                    <a:pt x="510" y="79"/>
                  </a:lnTo>
                  <a:lnTo>
                    <a:pt x="511" y="75"/>
                  </a:lnTo>
                  <a:lnTo>
                    <a:pt x="513" y="74"/>
                  </a:lnTo>
                  <a:lnTo>
                    <a:pt x="512" y="77"/>
                  </a:lnTo>
                  <a:lnTo>
                    <a:pt x="511" y="80"/>
                  </a:lnTo>
                  <a:lnTo>
                    <a:pt x="513" y="79"/>
                  </a:lnTo>
                  <a:lnTo>
                    <a:pt x="512" y="80"/>
                  </a:lnTo>
                  <a:lnTo>
                    <a:pt x="513" y="82"/>
                  </a:lnTo>
                  <a:lnTo>
                    <a:pt x="512" y="83"/>
                  </a:lnTo>
                  <a:lnTo>
                    <a:pt x="518" y="86"/>
                  </a:lnTo>
                  <a:lnTo>
                    <a:pt x="512" y="85"/>
                  </a:lnTo>
                  <a:lnTo>
                    <a:pt x="513" y="86"/>
                  </a:lnTo>
                  <a:lnTo>
                    <a:pt x="513" y="87"/>
                  </a:lnTo>
                  <a:lnTo>
                    <a:pt x="512" y="86"/>
                  </a:lnTo>
                  <a:lnTo>
                    <a:pt x="511" y="85"/>
                  </a:lnTo>
                  <a:lnTo>
                    <a:pt x="510" y="86"/>
                  </a:lnTo>
                  <a:lnTo>
                    <a:pt x="510" y="87"/>
                  </a:lnTo>
                  <a:lnTo>
                    <a:pt x="510" y="88"/>
                  </a:lnTo>
                  <a:lnTo>
                    <a:pt x="510" y="89"/>
                  </a:lnTo>
                  <a:lnTo>
                    <a:pt x="509" y="91"/>
                  </a:lnTo>
                  <a:lnTo>
                    <a:pt x="510" y="93"/>
                  </a:lnTo>
                  <a:lnTo>
                    <a:pt x="509" y="95"/>
                  </a:lnTo>
                  <a:lnTo>
                    <a:pt x="509" y="97"/>
                  </a:lnTo>
                  <a:lnTo>
                    <a:pt x="511" y="94"/>
                  </a:lnTo>
                  <a:lnTo>
                    <a:pt x="511" y="97"/>
                  </a:lnTo>
                  <a:lnTo>
                    <a:pt x="511" y="98"/>
                  </a:lnTo>
                  <a:lnTo>
                    <a:pt x="512" y="97"/>
                  </a:lnTo>
                  <a:lnTo>
                    <a:pt x="512" y="98"/>
                  </a:lnTo>
                  <a:lnTo>
                    <a:pt x="512" y="101"/>
                  </a:lnTo>
                  <a:lnTo>
                    <a:pt x="513" y="101"/>
                  </a:lnTo>
                  <a:lnTo>
                    <a:pt x="513" y="103"/>
                  </a:lnTo>
                  <a:lnTo>
                    <a:pt x="511" y="104"/>
                  </a:lnTo>
                  <a:lnTo>
                    <a:pt x="512" y="105"/>
                  </a:lnTo>
                  <a:lnTo>
                    <a:pt x="513" y="105"/>
                  </a:lnTo>
                  <a:lnTo>
                    <a:pt x="515" y="104"/>
                  </a:lnTo>
                  <a:lnTo>
                    <a:pt x="517" y="105"/>
                  </a:lnTo>
                  <a:lnTo>
                    <a:pt x="518" y="105"/>
                  </a:lnTo>
                  <a:lnTo>
                    <a:pt x="518" y="104"/>
                  </a:lnTo>
                  <a:lnTo>
                    <a:pt x="519" y="104"/>
                  </a:lnTo>
                  <a:lnTo>
                    <a:pt x="521" y="105"/>
                  </a:lnTo>
                  <a:lnTo>
                    <a:pt x="522" y="104"/>
                  </a:lnTo>
                  <a:lnTo>
                    <a:pt x="521" y="101"/>
                  </a:lnTo>
                  <a:lnTo>
                    <a:pt x="522" y="99"/>
                  </a:lnTo>
                  <a:lnTo>
                    <a:pt x="523" y="98"/>
                  </a:lnTo>
                  <a:lnTo>
                    <a:pt x="523" y="99"/>
                  </a:lnTo>
                  <a:lnTo>
                    <a:pt x="523" y="101"/>
                  </a:lnTo>
                  <a:lnTo>
                    <a:pt x="524" y="101"/>
                  </a:lnTo>
                  <a:lnTo>
                    <a:pt x="525" y="101"/>
                  </a:lnTo>
                  <a:lnTo>
                    <a:pt x="527" y="100"/>
                  </a:lnTo>
                  <a:lnTo>
                    <a:pt x="525" y="103"/>
                  </a:lnTo>
                  <a:lnTo>
                    <a:pt x="527" y="103"/>
                  </a:lnTo>
                  <a:lnTo>
                    <a:pt x="528" y="103"/>
                  </a:lnTo>
                  <a:lnTo>
                    <a:pt x="528" y="104"/>
                  </a:lnTo>
                  <a:lnTo>
                    <a:pt x="527" y="105"/>
                  </a:lnTo>
                  <a:lnTo>
                    <a:pt x="529" y="105"/>
                  </a:lnTo>
                  <a:lnTo>
                    <a:pt x="530" y="105"/>
                  </a:lnTo>
                  <a:lnTo>
                    <a:pt x="530" y="104"/>
                  </a:lnTo>
                  <a:lnTo>
                    <a:pt x="530" y="105"/>
                  </a:lnTo>
                  <a:lnTo>
                    <a:pt x="534" y="106"/>
                  </a:lnTo>
                  <a:lnTo>
                    <a:pt x="533" y="107"/>
                  </a:lnTo>
                  <a:lnTo>
                    <a:pt x="531" y="109"/>
                  </a:lnTo>
                  <a:lnTo>
                    <a:pt x="530" y="109"/>
                  </a:lnTo>
                  <a:lnTo>
                    <a:pt x="531" y="110"/>
                  </a:lnTo>
                  <a:lnTo>
                    <a:pt x="533" y="111"/>
                  </a:lnTo>
                  <a:lnTo>
                    <a:pt x="530" y="112"/>
                  </a:lnTo>
                  <a:lnTo>
                    <a:pt x="530" y="113"/>
                  </a:lnTo>
                  <a:lnTo>
                    <a:pt x="529" y="112"/>
                  </a:lnTo>
                  <a:lnTo>
                    <a:pt x="528" y="115"/>
                  </a:lnTo>
                  <a:lnTo>
                    <a:pt x="527" y="115"/>
                  </a:lnTo>
                  <a:lnTo>
                    <a:pt x="525" y="112"/>
                  </a:lnTo>
                  <a:lnTo>
                    <a:pt x="524" y="112"/>
                  </a:lnTo>
                  <a:lnTo>
                    <a:pt x="524" y="115"/>
                  </a:lnTo>
                  <a:lnTo>
                    <a:pt x="524" y="116"/>
                  </a:lnTo>
                  <a:lnTo>
                    <a:pt x="523" y="116"/>
                  </a:lnTo>
                  <a:lnTo>
                    <a:pt x="522" y="117"/>
                  </a:lnTo>
                  <a:lnTo>
                    <a:pt x="521" y="117"/>
                  </a:lnTo>
                  <a:lnTo>
                    <a:pt x="521" y="118"/>
                  </a:lnTo>
                  <a:lnTo>
                    <a:pt x="519" y="118"/>
                  </a:lnTo>
                  <a:lnTo>
                    <a:pt x="518" y="117"/>
                  </a:lnTo>
                  <a:lnTo>
                    <a:pt x="517" y="118"/>
                  </a:lnTo>
                  <a:lnTo>
                    <a:pt x="516" y="117"/>
                  </a:lnTo>
                  <a:lnTo>
                    <a:pt x="515" y="117"/>
                  </a:lnTo>
                  <a:lnTo>
                    <a:pt x="515" y="119"/>
                  </a:lnTo>
                  <a:lnTo>
                    <a:pt x="513" y="122"/>
                  </a:lnTo>
                  <a:lnTo>
                    <a:pt x="513" y="124"/>
                  </a:lnTo>
                  <a:lnTo>
                    <a:pt x="515" y="123"/>
                  </a:lnTo>
                  <a:lnTo>
                    <a:pt x="516" y="122"/>
                  </a:lnTo>
                  <a:lnTo>
                    <a:pt x="517" y="123"/>
                  </a:lnTo>
                  <a:lnTo>
                    <a:pt x="519" y="123"/>
                  </a:lnTo>
                  <a:lnTo>
                    <a:pt x="521" y="123"/>
                  </a:lnTo>
                  <a:lnTo>
                    <a:pt x="521" y="121"/>
                  </a:lnTo>
                  <a:lnTo>
                    <a:pt x="522" y="121"/>
                  </a:lnTo>
                  <a:lnTo>
                    <a:pt x="523" y="123"/>
                  </a:lnTo>
                  <a:lnTo>
                    <a:pt x="523" y="125"/>
                  </a:lnTo>
                  <a:lnTo>
                    <a:pt x="524" y="125"/>
                  </a:lnTo>
                  <a:lnTo>
                    <a:pt x="525" y="127"/>
                  </a:lnTo>
                  <a:lnTo>
                    <a:pt x="525" y="128"/>
                  </a:lnTo>
                  <a:lnTo>
                    <a:pt x="527" y="130"/>
                  </a:lnTo>
                  <a:lnTo>
                    <a:pt x="528" y="130"/>
                  </a:lnTo>
                  <a:lnTo>
                    <a:pt x="529" y="130"/>
                  </a:lnTo>
                  <a:lnTo>
                    <a:pt x="531" y="129"/>
                  </a:lnTo>
                  <a:lnTo>
                    <a:pt x="533" y="129"/>
                  </a:lnTo>
                  <a:lnTo>
                    <a:pt x="531" y="130"/>
                  </a:lnTo>
                  <a:lnTo>
                    <a:pt x="530" y="133"/>
                  </a:lnTo>
                  <a:lnTo>
                    <a:pt x="529" y="133"/>
                  </a:lnTo>
                  <a:lnTo>
                    <a:pt x="528" y="134"/>
                  </a:lnTo>
                  <a:lnTo>
                    <a:pt x="530" y="134"/>
                  </a:lnTo>
                  <a:lnTo>
                    <a:pt x="528" y="135"/>
                  </a:lnTo>
                  <a:lnTo>
                    <a:pt x="528" y="136"/>
                  </a:lnTo>
                  <a:lnTo>
                    <a:pt x="528" y="137"/>
                  </a:lnTo>
                  <a:lnTo>
                    <a:pt x="525" y="140"/>
                  </a:lnTo>
                  <a:lnTo>
                    <a:pt x="527" y="140"/>
                  </a:lnTo>
                  <a:lnTo>
                    <a:pt x="525" y="141"/>
                  </a:lnTo>
                  <a:lnTo>
                    <a:pt x="527" y="143"/>
                  </a:lnTo>
                  <a:lnTo>
                    <a:pt x="528" y="146"/>
                  </a:lnTo>
                  <a:lnTo>
                    <a:pt x="529" y="145"/>
                  </a:lnTo>
                  <a:lnTo>
                    <a:pt x="529" y="142"/>
                  </a:lnTo>
                  <a:lnTo>
                    <a:pt x="529" y="141"/>
                  </a:lnTo>
                  <a:lnTo>
                    <a:pt x="529" y="140"/>
                  </a:lnTo>
                  <a:lnTo>
                    <a:pt x="530" y="140"/>
                  </a:lnTo>
                  <a:lnTo>
                    <a:pt x="533" y="140"/>
                  </a:lnTo>
                  <a:lnTo>
                    <a:pt x="533" y="139"/>
                  </a:lnTo>
                  <a:lnTo>
                    <a:pt x="534" y="140"/>
                  </a:lnTo>
                  <a:lnTo>
                    <a:pt x="534" y="142"/>
                  </a:lnTo>
                  <a:lnTo>
                    <a:pt x="535" y="142"/>
                  </a:lnTo>
                  <a:lnTo>
                    <a:pt x="536" y="142"/>
                  </a:lnTo>
                  <a:lnTo>
                    <a:pt x="537" y="142"/>
                  </a:lnTo>
                  <a:lnTo>
                    <a:pt x="540" y="145"/>
                  </a:lnTo>
                  <a:lnTo>
                    <a:pt x="540" y="143"/>
                  </a:lnTo>
                  <a:lnTo>
                    <a:pt x="541" y="143"/>
                  </a:lnTo>
                  <a:lnTo>
                    <a:pt x="540" y="146"/>
                  </a:lnTo>
                  <a:lnTo>
                    <a:pt x="541" y="146"/>
                  </a:lnTo>
                  <a:lnTo>
                    <a:pt x="541" y="147"/>
                  </a:lnTo>
                  <a:lnTo>
                    <a:pt x="541" y="148"/>
                  </a:lnTo>
                  <a:lnTo>
                    <a:pt x="541" y="150"/>
                  </a:lnTo>
                  <a:lnTo>
                    <a:pt x="539" y="150"/>
                  </a:lnTo>
                  <a:lnTo>
                    <a:pt x="537" y="150"/>
                  </a:lnTo>
                  <a:lnTo>
                    <a:pt x="537" y="151"/>
                  </a:lnTo>
                  <a:lnTo>
                    <a:pt x="537" y="152"/>
                  </a:lnTo>
                  <a:lnTo>
                    <a:pt x="539" y="152"/>
                  </a:lnTo>
                  <a:lnTo>
                    <a:pt x="540" y="153"/>
                  </a:lnTo>
                  <a:lnTo>
                    <a:pt x="539" y="153"/>
                  </a:lnTo>
                  <a:lnTo>
                    <a:pt x="537" y="153"/>
                  </a:lnTo>
                  <a:lnTo>
                    <a:pt x="536" y="153"/>
                  </a:lnTo>
                  <a:lnTo>
                    <a:pt x="537" y="154"/>
                  </a:lnTo>
                  <a:lnTo>
                    <a:pt x="537" y="156"/>
                  </a:lnTo>
                  <a:lnTo>
                    <a:pt x="537" y="158"/>
                  </a:lnTo>
                  <a:lnTo>
                    <a:pt x="536" y="159"/>
                  </a:lnTo>
                  <a:lnTo>
                    <a:pt x="537" y="160"/>
                  </a:lnTo>
                  <a:lnTo>
                    <a:pt x="539" y="162"/>
                  </a:lnTo>
                  <a:lnTo>
                    <a:pt x="539" y="159"/>
                  </a:lnTo>
                  <a:lnTo>
                    <a:pt x="540" y="157"/>
                  </a:lnTo>
                  <a:lnTo>
                    <a:pt x="540" y="158"/>
                  </a:lnTo>
                  <a:lnTo>
                    <a:pt x="541" y="159"/>
                  </a:lnTo>
                  <a:lnTo>
                    <a:pt x="542" y="160"/>
                  </a:lnTo>
                  <a:lnTo>
                    <a:pt x="543" y="163"/>
                  </a:lnTo>
                  <a:lnTo>
                    <a:pt x="542" y="163"/>
                  </a:lnTo>
                  <a:lnTo>
                    <a:pt x="541" y="163"/>
                  </a:lnTo>
                  <a:lnTo>
                    <a:pt x="540" y="164"/>
                  </a:lnTo>
                  <a:lnTo>
                    <a:pt x="539" y="166"/>
                  </a:lnTo>
                  <a:lnTo>
                    <a:pt x="539" y="168"/>
                  </a:lnTo>
                  <a:lnTo>
                    <a:pt x="540" y="169"/>
                  </a:lnTo>
                  <a:lnTo>
                    <a:pt x="541" y="166"/>
                  </a:lnTo>
                  <a:lnTo>
                    <a:pt x="541" y="168"/>
                  </a:lnTo>
                  <a:lnTo>
                    <a:pt x="542" y="166"/>
                  </a:lnTo>
                  <a:lnTo>
                    <a:pt x="543" y="166"/>
                  </a:lnTo>
                  <a:lnTo>
                    <a:pt x="545" y="166"/>
                  </a:lnTo>
                  <a:lnTo>
                    <a:pt x="546" y="165"/>
                  </a:lnTo>
                  <a:lnTo>
                    <a:pt x="547" y="165"/>
                  </a:lnTo>
                  <a:lnTo>
                    <a:pt x="549" y="164"/>
                  </a:lnTo>
                  <a:lnTo>
                    <a:pt x="549" y="163"/>
                  </a:lnTo>
                  <a:lnTo>
                    <a:pt x="548" y="162"/>
                  </a:lnTo>
                  <a:lnTo>
                    <a:pt x="548" y="160"/>
                  </a:lnTo>
                  <a:lnTo>
                    <a:pt x="551" y="162"/>
                  </a:lnTo>
                  <a:lnTo>
                    <a:pt x="552" y="162"/>
                  </a:lnTo>
                  <a:lnTo>
                    <a:pt x="556" y="160"/>
                  </a:lnTo>
                  <a:lnTo>
                    <a:pt x="553" y="163"/>
                  </a:lnTo>
                  <a:lnTo>
                    <a:pt x="552" y="164"/>
                  </a:lnTo>
                  <a:lnTo>
                    <a:pt x="552" y="165"/>
                  </a:lnTo>
                  <a:lnTo>
                    <a:pt x="553" y="165"/>
                  </a:lnTo>
                  <a:lnTo>
                    <a:pt x="554" y="166"/>
                  </a:lnTo>
                  <a:lnTo>
                    <a:pt x="556" y="165"/>
                  </a:lnTo>
                  <a:lnTo>
                    <a:pt x="556" y="166"/>
                  </a:lnTo>
                  <a:lnTo>
                    <a:pt x="557" y="166"/>
                  </a:lnTo>
                  <a:lnTo>
                    <a:pt x="560" y="166"/>
                  </a:lnTo>
                  <a:lnTo>
                    <a:pt x="560" y="168"/>
                  </a:lnTo>
                  <a:lnTo>
                    <a:pt x="559" y="168"/>
                  </a:lnTo>
                  <a:lnTo>
                    <a:pt x="557" y="168"/>
                  </a:lnTo>
                  <a:lnTo>
                    <a:pt x="554" y="168"/>
                  </a:lnTo>
                  <a:lnTo>
                    <a:pt x="554" y="169"/>
                  </a:lnTo>
                  <a:lnTo>
                    <a:pt x="556" y="169"/>
                  </a:lnTo>
                  <a:lnTo>
                    <a:pt x="557" y="170"/>
                  </a:lnTo>
                  <a:lnTo>
                    <a:pt x="558" y="171"/>
                  </a:lnTo>
                  <a:lnTo>
                    <a:pt x="557" y="171"/>
                  </a:lnTo>
                  <a:lnTo>
                    <a:pt x="556" y="171"/>
                  </a:lnTo>
                  <a:lnTo>
                    <a:pt x="554" y="172"/>
                  </a:lnTo>
                  <a:lnTo>
                    <a:pt x="553" y="174"/>
                  </a:lnTo>
                  <a:lnTo>
                    <a:pt x="551" y="174"/>
                  </a:lnTo>
                  <a:lnTo>
                    <a:pt x="551" y="176"/>
                  </a:lnTo>
                  <a:lnTo>
                    <a:pt x="551" y="177"/>
                  </a:lnTo>
                  <a:lnTo>
                    <a:pt x="551" y="178"/>
                  </a:lnTo>
                  <a:lnTo>
                    <a:pt x="549" y="177"/>
                  </a:lnTo>
                  <a:lnTo>
                    <a:pt x="546" y="176"/>
                  </a:lnTo>
                  <a:lnTo>
                    <a:pt x="543" y="177"/>
                  </a:lnTo>
                  <a:lnTo>
                    <a:pt x="543" y="178"/>
                  </a:lnTo>
                  <a:lnTo>
                    <a:pt x="547" y="180"/>
                  </a:lnTo>
                  <a:lnTo>
                    <a:pt x="551" y="180"/>
                  </a:lnTo>
                  <a:lnTo>
                    <a:pt x="554" y="177"/>
                  </a:lnTo>
                  <a:lnTo>
                    <a:pt x="554" y="178"/>
                  </a:lnTo>
                  <a:lnTo>
                    <a:pt x="556" y="177"/>
                  </a:lnTo>
                  <a:lnTo>
                    <a:pt x="558" y="177"/>
                  </a:lnTo>
                  <a:lnTo>
                    <a:pt x="557" y="178"/>
                  </a:lnTo>
                  <a:lnTo>
                    <a:pt x="558" y="181"/>
                  </a:lnTo>
                  <a:lnTo>
                    <a:pt x="559" y="181"/>
                  </a:lnTo>
                  <a:lnTo>
                    <a:pt x="559" y="183"/>
                  </a:lnTo>
                  <a:lnTo>
                    <a:pt x="557" y="183"/>
                  </a:lnTo>
                  <a:lnTo>
                    <a:pt x="556" y="182"/>
                  </a:lnTo>
                  <a:lnTo>
                    <a:pt x="554" y="183"/>
                  </a:lnTo>
                  <a:lnTo>
                    <a:pt x="554" y="184"/>
                  </a:lnTo>
                  <a:lnTo>
                    <a:pt x="553" y="184"/>
                  </a:lnTo>
                  <a:lnTo>
                    <a:pt x="552" y="183"/>
                  </a:lnTo>
                  <a:lnTo>
                    <a:pt x="552" y="181"/>
                  </a:lnTo>
                  <a:lnTo>
                    <a:pt x="551" y="181"/>
                  </a:lnTo>
                  <a:lnTo>
                    <a:pt x="547" y="181"/>
                  </a:lnTo>
                  <a:lnTo>
                    <a:pt x="545" y="181"/>
                  </a:lnTo>
                  <a:lnTo>
                    <a:pt x="545" y="182"/>
                  </a:lnTo>
                  <a:lnTo>
                    <a:pt x="546" y="182"/>
                  </a:lnTo>
                  <a:lnTo>
                    <a:pt x="547" y="182"/>
                  </a:lnTo>
                  <a:lnTo>
                    <a:pt x="547" y="184"/>
                  </a:lnTo>
                  <a:lnTo>
                    <a:pt x="548" y="184"/>
                  </a:lnTo>
                  <a:lnTo>
                    <a:pt x="548" y="186"/>
                  </a:lnTo>
                  <a:lnTo>
                    <a:pt x="547" y="187"/>
                  </a:lnTo>
                  <a:lnTo>
                    <a:pt x="547" y="189"/>
                  </a:lnTo>
                  <a:lnTo>
                    <a:pt x="546" y="189"/>
                  </a:lnTo>
                  <a:lnTo>
                    <a:pt x="545" y="190"/>
                  </a:lnTo>
                  <a:lnTo>
                    <a:pt x="546" y="190"/>
                  </a:lnTo>
                  <a:lnTo>
                    <a:pt x="548" y="189"/>
                  </a:lnTo>
                  <a:lnTo>
                    <a:pt x="547" y="192"/>
                  </a:lnTo>
                  <a:lnTo>
                    <a:pt x="547" y="194"/>
                  </a:lnTo>
                  <a:lnTo>
                    <a:pt x="548" y="194"/>
                  </a:lnTo>
                  <a:lnTo>
                    <a:pt x="547" y="195"/>
                  </a:lnTo>
                  <a:lnTo>
                    <a:pt x="548" y="196"/>
                  </a:lnTo>
                  <a:lnTo>
                    <a:pt x="549" y="196"/>
                  </a:lnTo>
                  <a:lnTo>
                    <a:pt x="547" y="198"/>
                  </a:lnTo>
                  <a:lnTo>
                    <a:pt x="547" y="200"/>
                  </a:lnTo>
                  <a:lnTo>
                    <a:pt x="548" y="201"/>
                  </a:lnTo>
                  <a:lnTo>
                    <a:pt x="551" y="201"/>
                  </a:lnTo>
                  <a:lnTo>
                    <a:pt x="551" y="202"/>
                  </a:lnTo>
                  <a:lnTo>
                    <a:pt x="549" y="204"/>
                  </a:lnTo>
                  <a:lnTo>
                    <a:pt x="548" y="202"/>
                  </a:lnTo>
                  <a:lnTo>
                    <a:pt x="546" y="202"/>
                  </a:lnTo>
                  <a:lnTo>
                    <a:pt x="547" y="204"/>
                  </a:lnTo>
                  <a:lnTo>
                    <a:pt x="547" y="205"/>
                  </a:lnTo>
                  <a:lnTo>
                    <a:pt x="548" y="205"/>
                  </a:lnTo>
                  <a:lnTo>
                    <a:pt x="548" y="207"/>
                  </a:lnTo>
                  <a:lnTo>
                    <a:pt x="547" y="207"/>
                  </a:lnTo>
                  <a:lnTo>
                    <a:pt x="547" y="208"/>
                  </a:lnTo>
                  <a:lnTo>
                    <a:pt x="546" y="207"/>
                  </a:lnTo>
                  <a:lnTo>
                    <a:pt x="546" y="205"/>
                  </a:lnTo>
                  <a:lnTo>
                    <a:pt x="545" y="205"/>
                  </a:lnTo>
                  <a:lnTo>
                    <a:pt x="543" y="205"/>
                  </a:lnTo>
                  <a:lnTo>
                    <a:pt x="542" y="205"/>
                  </a:lnTo>
                  <a:lnTo>
                    <a:pt x="541" y="205"/>
                  </a:lnTo>
                  <a:lnTo>
                    <a:pt x="540" y="204"/>
                  </a:lnTo>
                  <a:lnTo>
                    <a:pt x="537" y="204"/>
                  </a:lnTo>
                  <a:lnTo>
                    <a:pt x="536" y="204"/>
                  </a:lnTo>
                  <a:lnTo>
                    <a:pt x="536" y="205"/>
                  </a:lnTo>
                  <a:lnTo>
                    <a:pt x="537" y="206"/>
                  </a:lnTo>
                  <a:lnTo>
                    <a:pt x="537" y="205"/>
                  </a:lnTo>
                  <a:lnTo>
                    <a:pt x="539" y="205"/>
                  </a:lnTo>
                  <a:lnTo>
                    <a:pt x="539" y="207"/>
                  </a:lnTo>
                  <a:lnTo>
                    <a:pt x="540" y="207"/>
                  </a:lnTo>
                  <a:lnTo>
                    <a:pt x="539" y="208"/>
                  </a:lnTo>
                  <a:lnTo>
                    <a:pt x="540" y="210"/>
                  </a:lnTo>
                  <a:lnTo>
                    <a:pt x="541" y="208"/>
                  </a:lnTo>
                  <a:lnTo>
                    <a:pt x="541" y="210"/>
                  </a:lnTo>
                  <a:lnTo>
                    <a:pt x="541" y="211"/>
                  </a:lnTo>
                  <a:lnTo>
                    <a:pt x="541" y="212"/>
                  </a:lnTo>
                  <a:lnTo>
                    <a:pt x="540" y="217"/>
                  </a:lnTo>
                  <a:lnTo>
                    <a:pt x="543" y="217"/>
                  </a:lnTo>
                  <a:lnTo>
                    <a:pt x="543" y="219"/>
                  </a:lnTo>
                  <a:lnTo>
                    <a:pt x="546" y="219"/>
                  </a:lnTo>
                  <a:lnTo>
                    <a:pt x="547" y="220"/>
                  </a:lnTo>
                  <a:lnTo>
                    <a:pt x="548" y="220"/>
                  </a:lnTo>
                  <a:lnTo>
                    <a:pt x="549" y="219"/>
                  </a:lnTo>
                  <a:lnTo>
                    <a:pt x="549" y="220"/>
                  </a:lnTo>
                  <a:lnTo>
                    <a:pt x="549" y="222"/>
                  </a:lnTo>
                  <a:lnTo>
                    <a:pt x="552" y="222"/>
                  </a:lnTo>
                  <a:lnTo>
                    <a:pt x="553" y="220"/>
                  </a:lnTo>
                  <a:lnTo>
                    <a:pt x="554" y="219"/>
                  </a:lnTo>
                  <a:lnTo>
                    <a:pt x="556" y="220"/>
                  </a:lnTo>
                  <a:lnTo>
                    <a:pt x="556" y="222"/>
                  </a:lnTo>
                  <a:lnTo>
                    <a:pt x="553" y="223"/>
                  </a:lnTo>
                  <a:lnTo>
                    <a:pt x="554" y="224"/>
                  </a:lnTo>
                  <a:lnTo>
                    <a:pt x="557" y="224"/>
                  </a:lnTo>
                  <a:lnTo>
                    <a:pt x="557" y="226"/>
                  </a:lnTo>
                  <a:lnTo>
                    <a:pt x="558" y="228"/>
                  </a:lnTo>
                  <a:lnTo>
                    <a:pt x="559" y="226"/>
                  </a:lnTo>
                  <a:lnTo>
                    <a:pt x="560" y="226"/>
                  </a:lnTo>
                  <a:lnTo>
                    <a:pt x="562" y="226"/>
                  </a:lnTo>
                  <a:lnTo>
                    <a:pt x="562" y="225"/>
                  </a:lnTo>
                  <a:lnTo>
                    <a:pt x="563" y="224"/>
                  </a:lnTo>
                  <a:lnTo>
                    <a:pt x="563" y="225"/>
                  </a:lnTo>
                  <a:lnTo>
                    <a:pt x="563" y="226"/>
                  </a:lnTo>
                  <a:lnTo>
                    <a:pt x="564" y="226"/>
                  </a:lnTo>
                  <a:lnTo>
                    <a:pt x="565" y="226"/>
                  </a:lnTo>
                  <a:lnTo>
                    <a:pt x="566" y="225"/>
                  </a:lnTo>
                  <a:lnTo>
                    <a:pt x="566" y="224"/>
                  </a:lnTo>
                  <a:lnTo>
                    <a:pt x="568" y="223"/>
                  </a:lnTo>
                  <a:lnTo>
                    <a:pt x="569" y="224"/>
                  </a:lnTo>
                  <a:lnTo>
                    <a:pt x="569" y="225"/>
                  </a:lnTo>
                  <a:lnTo>
                    <a:pt x="568" y="230"/>
                  </a:lnTo>
                  <a:lnTo>
                    <a:pt x="566" y="230"/>
                  </a:lnTo>
                  <a:lnTo>
                    <a:pt x="565" y="231"/>
                  </a:lnTo>
                  <a:lnTo>
                    <a:pt x="565" y="232"/>
                  </a:lnTo>
                  <a:lnTo>
                    <a:pt x="564" y="231"/>
                  </a:lnTo>
                  <a:lnTo>
                    <a:pt x="563" y="231"/>
                  </a:lnTo>
                  <a:lnTo>
                    <a:pt x="564" y="234"/>
                  </a:lnTo>
                  <a:lnTo>
                    <a:pt x="563" y="234"/>
                  </a:lnTo>
                  <a:lnTo>
                    <a:pt x="562" y="234"/>
                  </a:lnTo>
                  <a:lnTo>
                    <a:pt x="558" y="235"/>
                  </a:lnTo>
                  <a:lnTo>
                    <a:pt x="557" y="235"/>
                  </a:lnTo>
                  <a:lnTo>
                    <a:pt x="556" y="236"/>
                  </a:lnTo>
                  <a:lnTo>
                    <a:pt x="554" y="236"/>
                  </a:lnTo>
                  <a:lnTo>
                    <a:pt x="553" y="238"/>
                  </a:lnTo>
                  <a:lnTo>
                    <a:pt x="552" y="238"/>
                  </a:lnTo>
                  <a:lnTo>
                    <a:pt x="549" y="238"/>
                  </a:lnTo>
                  <a:lnTo>
                    <a:pt x="551" y="240"/>
                  </a:lnTo>
                  <a:lnTo>
                    <a:pt x="552" y="241"/>
                  </a:lnTo>
                  <a:lnTo>
                    <a:pt x="552" y="242"/>
                  </a:lnTo>
                  <a:lnTo>
                    <a:pt x="554" y="241"/>
                  </a:lnTo>
                  <a:lnTo>
                    <a:pt x="554" y="242"/>
                  </a:lnTo>
                  <a:lnTo>
                    <a:pt x="557" y="242"/>
                  </a:lnTo>
                  <a:lnTo>
                    <a:pt x="557" y="240"/>
                  </a:lnTo>
                  <a:lnTo>
                    <a:pt x="559" y="241"/>
                  </a:lnTo>
                  <a:lnTo>
                    <a:pt x="563" y="240"/>
                  </a:lnTo>
                  <a:lnTo>
                    <a:pt x="564" y="238"/>
                  </a:lnTo>
                  <a:lnTo>
                    <a:pt x="564" y="237"/>
                  </a:lnTo>
                  <a:lnTo>
                    <a:pt x="564" y="236"/>
                  </a:lnTo>
                  <a:lnTo>
                    <a:pt x="564" y="235"/>
                  </a:lnTo>
                  <a:lnTo>
                    <a:pt x="566" y="235"/>
                  </a:lnTo>
                  <a:lnTo>
                    <a:pt x="568" y="234"/>
                  </a:lnTo>
                  <a:lnTo>
                    <a:pt x="570" y="236"/>
                  </a:lnTo>
                  <a:lnTo>
                    <a:pt x="571" y="235"/>
                  </a:lnTo>
                  <a:lnTo>
                    <a:pt x="572" y="235"/>
                  </a:lnTo>
                  <a:lnTo>
                    <a:pt x="574" y="232"/>
                  </a:lnTo>
                  <a:lnTo>
                    <a:pt x="574" y="235"/>
                  </a:lnTo>
                  <a:lnTo>
                    <a:pt x="575" y="235"/>
                  </a:lnTo>
                  <a:lnTo>
                    <a:pt x="576" y="235"/>
                  </a:lnTo>
                  <a:lnTo>
                    <a:pt x="578" y="235"/>
                  </a:lnTo>
                  <a:lnTo>
                    <a:pt x="577" y="235"/>
                  </a:lnTo>
                  <a:lnTo>
                    <a:pt x="575" y="236"/>
                  </a:lnTo>
                  <a:lnTo>
                    <a:pt x="572" y="237"/>
                  </a:lnTo>
                  <a:lnTo>
                    <a:pt x="574" y="237"/>
                  </a:lnTo>
                  <a:lnTo>
                    <a:pt x="574" y="238"/>
                  </a:lnTo>
                  <a:lnTo>
                    <a:pt x="576" y="241"/>
                  </a:lnTo>
                  <a:lnTo>
                    <a:pt x="574" y="241"/>
                  </a:lnTo>
                  <a:lnTo>
                    <a:pt x="572" y="241"/>
                  </a:lnTo>
                  <a:lnTo>
                    <a:pt x="571" y="241"/>
                  </a:lnTo>
                  <a:lnTo>
                    <a:pt x="569" y="240"/>
                  </a:lnTo>
                  <a:lnTo>
                    <a:pt x="570" y="241"/>
                  </a:lnTo>
                  <a:lnTo>
                    <a:pt x="571" y="242"/>
                  </a:lnTo>
                  <a:lnTo>
                    <a:pt x="572" y="244"/>
                  </a:lnTo>
                  <a:lnTo>
                    <a:pt x="574" y="246"/>
                  </a:lnTo>
                  <a:lnTo>
                    <a:pt x="571" y="248"/>
                  </a:lnTo>
                  <a:lnTo>
                    <a:pt x="575" y="247"/>
                  </a:lnTo>
                  <a:lnTo>
                    <a:pt x="576" y="246"/>
                  </a:lnTo>
                  <a:lnTo>
                    <a:pt x="577" y="247"/>
                  </a:lnTo>
                  <a:lnTo>
                    <a:pt x="578" y="249"/>
                  </a:lnTo>
                  <a:lnTo>
                    <a:pt x="578" y="250"/>
                  </a:lnTo>
                  <a:lnTo>
                    <a:pt x="576" y="249"/>
                  </a:lnTo>
                  <a:lnTo>
                    <a:pt x="575" y="248"/>
                  </a:lnTo>
                  <a:lnTo>
                    <a:pt x="574" y="248"/>
                  </a:lnTo>
                  <a:lnTo>
                    <a:pt x="575" y="250"/>
                  </a:lnTo>
                  <a:lnTo>
                    <a:pt x="576" y="252"/>
                  </a:lnTo>
                  <a:lnTo>
                    <a:pt x="574" y="250"/>
                  </a:lnTo>
                  <a:lnTo>
                    <a:pt x="572" y="250"/>
                  </a:lnTo>
                  <a:lnTo>
                    <a:pt x="572" y="252"/>
                  </a:lnTo>
                  <a:lnTo>
                    <a:pt x="574" y="254"/>
                  </a:lnTo>
                  <a:lnTo>
                    <a:pt x="571" y="254"/>
                  </a:lnTo>
                  <a:lnTo>
                    <a:pt x="572" y="255"/>
                  </a:lnTo>
                  <a:lnTo>
                    <a:pt x="571" y="257"/>
                  </a:lnTo>
                  <a:lnTo>
                    <a:pt x="570" y="257"/>
                  </a:lnTo>
                  <a:lnTo>
                    <a:pt x="571" y="259"/>
                  </a:lnTo>
                  <a:lnTo>
                    <a:pt x="569" y="260"/>
                  </a:lnTo>
                  <a:lnTo>
                    <a:pt x="570" y="261"/>
                  </a:lnTo>
                  <a:lnTo>
                    <a:pt x="571" y="261"/>
                  </a:lnTo>
                  <a:lnTo>
                    <a:pt x="574" y="261"/>
                  </a:lnTo>
                  <a:lnTo>
                    <a:pt x="575" y="263"/>
                  </a:lnTo>
                  <a:lnTo>
                    <a:pt x="577" y="264"/>
                  </a:lnTo>
                  <a:lnTo>
                    <a:pt x="578" y="264"/>
                  </a:lnTo>
                  <a:lnTo>
                    <a:pt x="581" y="265"/>
                  </a:lnTo>
                  <a:lnTo>
                    <a:pt x="583" y="265"/>
                  </a:lnTo>
                  <a:lnTo>
                    <a:pt x="584" y="265"/>
                  </a:lnTo>
                  <a:lnTo>
                    <a:pt x="586" y="267"/>
                  </a:lnTo>
                  <a:lnTo>
                    <a:pt x="588" y="267"/>
                  </a:lnTo>
                  <a:lnTo>
                    <a:pt x="586" y="269"/>
                  </a:lnTo>
                  <a:lnTo>
                    <a:pt x="584" y="269"/>
                  </a:lnTo>
                  <a:lnTo>
                    <a:pt x="584" y="270"/>
                  </a:lnTo>
                  <a:lnTo>
                    <a:pt x="584" y="271"/>
                  </a:lnTo>
                  <a:lnTo>
                    <a:pt x="584" y="272"/>
                  </a:lnTo>
                  <a:lnTo>
                    <a:pt x="586" y="275"/>
                  </a:lnTo>
                  <a:lnTo>
                    <a:pt x="584" y="273"/>
                  </a:lnTo>
                  <a:lnTo>
                    <a:pt x="584" y="275"/>
                  </a:lnTo>
                  <a:lnTo>
                    <a:pt x="584" y="276"/>
                  </a:lnTo>
                  <a:lnTo>
                    <a:pt x="583" y="277"/>
                  </a:lnTo>
                  <a:lnTo>
                    <a:pt x="581" y="278"/>
                  </a:lnTo>
                  <a:lnTo>
                    <a:pt x="581" y="279"/>
                  </a:lnTo>
                  <a:lnTo>
                    <a:pt x="583" y="279"/>
                  </a:lnTo>
                  <a:lnTo>
                    <a:pt x="583" y="278"/>
                  </a:lnTo>
                  <a:lnTo>
                    <a:pt x="584" y="278"/>
                  </a:lnTo>
                  <a:lnTo>
                    <a:pt x="584" y="281"/>
                  </a:lnTo>
                  <a:lnTo>
                    <a:pt x="583" y="282"/>
                  </a:lnTo>
                  <a:lnTo>
                    <a:pt x="583" y="283"/>
                  </a:lnTo>
                  <a:lnTo>
                    <a:pt x="584" y="284"/>
                  </a:lnTo>
                  <a:lnTo>
                    <a:pt x="584" y="285"/>
                  </a:lnTo>
                  <a:lnTo>
                    <a:pt x="583" y="287"/>
                  </a:lnTo>
                  <a:lnTo>
                    <a:pt x="582" y="284"/>
                  </a:lnTo>
                  <a:lnTo>
                    <a:pt x="581" y="285"/>
                  </a:lnTo>
                  <a:lnTo>
                    <a:pt x="581" y="287"/>
                  </a:lnTo>
                  <a:lnTo>
                    <a:pt x="580" y="285"/>
                  </a:lnTo>
                  <a:lnTo>
                    <a:pt x="578" y="285"/>
                  </a:lnTo>
                  <a:lnTo>
                    <a:pt x="578" y="287"/>
                  </a:lnTo>
                  <a:lnTo>
                    <a:pt x="578" y="288"/>
                  </a:lnTo>
                  <a:lnTo>
                    <a:pt x="581" y="288"/>
                  </a:lnTo>
                  <a:lnTo>
                    <a:pt x="582" y="288"/>
                  </a:lnTo>
                  <a:lnTo>
                    <a:pt x="584" y="289"/>
                  </a:lnTo>
                  <a:lnTo>
                    <a:pt x="586" y="288"/>
                  </a:lnTo>
                  <a:lnTo>
                    <a:pt x="587" y="287"/>
                  </a:lnTo>
                  <a:lnTo>
                    <a:pt x="586" y="285"/>
                  </a:lnTo>
                  <a:lnTo>
                    <a:pt x="587" y="284"/>
                  </a:lnTo>
                  <a:lnTo>
                    <a:pt x="588" y="284"/>
                  </a:lnTo>
                  <a:lnTo>
                    <a:pt x="590" y="284"/>
                  </a:lnTo>
                  <a:lnTo>
                    <a:pt x="589" y="281"/>
                  </a:lnTo>
                  <a:lnTo>
                    <a:pt x="589" y="278"/>
                  </a:lnTo>
                  <a:lnTo>
                    <a:pt x="589" y="277"/>
                  </a:lnTo>
                  <a:lnTo>
                    <a:pt x="590" y="277"/>
                  </a:lnTo>
                  <a:lnTo>
                    <a:pt x="592" y="277"/>
                  </a:lnTo>
                  <a:lnTo>
                    <a:pt x="593" y="278"/>
                  </a:lnTo>
                  <a:lnTo>
                    <a:pt x="592" y="279"/>
                  </a:lnTo>
                  <a:lnTo>
                    <a:pt x="590" y="281"/>
                  </a:lnTo>
                  <a:lnTo>
                    <a:pt x="590" y="283"/>
                  </a:lnTo>
                  <a:lnTo>
                    <a:pt x="592" y="284"/>
                  </a:lnTo>
                  <a:lnTo>
                    <a:pt x="593" y="284"/>
                  </a:lnTo>
                  <a:lnTo>
                    <a:pt x="594" y="284"/>
                  </a:lnTo>
                  <a:lnTo>
                    <a:pt x="595" y="284"/>
                  </a:lnTo>
                  <a:lnTo>
                    <a:pt x="596" y="285"/>
                  </a:lnTo>
                  <a:lnTo>
                    <a:pt x="596" y="287"/>
                  </a:lnTo>
                  <a:lnTo>
                    <a:pt x="598" y="287"/>
                  </a:lnTo>
                  <a:lnTo>
                    <a:pt x="601" y="288"/>
                  </a:lnTo>
                  <a:lnTo>
                    <a:pt x="602" y="288"/>
                  </a:lnTo>
                  <a:lnTo>
                    <a:pt x="601" y="288"/>
                  </a:lnTo>
                  <a:lnTo>
                    <a:pt x="595" y="288"/>
                  </a:lnTo>
                  <a:lnTo>
                    <a:pt x="595" y="289"/>
                  </a:lnTo>
                  <a:lnTo>
                    <a:pt x="598" y="288"/>
                  </a:lnTo>
                  <a:lnTo>
                    <a:pt x="598" y="289"/>
                  </a:lnTo>
                  <a:lnTo>
                    <a:pt x="599" y="289"/>
                  </a:lnTo>
                  <a:lnTo>
                    <a:pt x="600" y="289"/>
                  </a:lnTo>
                  <a:lnTo>
                    <a:pt x="600" y="290"/>
                  </a:lnTo>
                  <a:lnTo>
                    <a:pt x="599" y="290"/>
                  </a:lnTo>
                  <a:lnTo>
                    <a:pt x="600" y="291"/>
                  </a:lnTo>
                  <a:lnTo>
                    <a:pt x="596" y="290"/>
                  </a:lnTo>
                  <a:lnTo>
                    <a:pt x="595" y="290"/>
                  </a:lnTo>
                  <a:lnTo>
                    <a:pt x="596" y="291"/>
                  </a:lnTo>
                  <a:lnTo>
                    <a:pt x="596" y="293"/>
                  </a:lnTo>
                  <a:lnTo>
                    <a:pt x="598" y="293"/>
                  </a:lnTo>
                  <a:lnTo>
                    <a:pt x="598" y="294"/>
                  </a:lnTo>
                  <a:lnTo>
                    <a:pt x="600" y="295"/>
                  </a:lnTo>
                  <a:lnTo>
                    <a:pt x="599" y="294"/>
                  </a:lnTo>
                  <a:lnTo>
                    <a:pt x="600" y="294"/>
                  </a:lnTo>
                  <a:lnTo>
                    <a:pt x="602" y="294"/>
                  </a:lnTo>
                  <a:lnTo>
                    <a:pt x="604" y="294"/>
                  </a:lnTo>
                  <a:lnTo>
                    <a:pt x="605" y="294"/>
                  </a:lnTo>
                  <a:lnTo>
                    <a:pt x="607" y="293"/>
                  </a:lnTo>
                  <a:lnTo>
                    <a:pt x="606" y="291"/>
                  </a:lnTo>
                  <a:lnTo>
                    <a:pt x="605" y="290"/>
                  </a:lnTo>
                  <a:lnTo>
                    <a:pt x="604" y="290"/>
                  </a:lnTo>
                  <a:lnTo>
                    <a:pt x="605" y="289"/>
                  </a:lnTo>
                  <a:lnTo>
                    <a:pt x="606" y="290"/>
                  </a:lnTo>
                  <a:lnTo>
                    <a:pt x="607" y="288"/>
                  </a:lnTo>
                  <a:lnTo>
                    <a:pt x="608" y="288"/>
                  </a:lnTo>
                  <a:lnTo>
                    <a:pt x="611" y="289"/>
                  </a:lnTo>
                  <a:lnTo>
                    <a:pt x="613" y="289"/>
                  </a:lnTo>
                  <a:lnTo>
                    <a:pt x="612" y="287"/>
                  </a:lnTo>
                  <a:lnTo>
                    <a:pt x="615" y="287"/>
                  </a:lnTo>
                  <a:lnTo>
                    <a:pt x="615" y="284"/>
                  </a:lnTo>
                  <a:lnTo>
                    <a:pt x="615" y="287"/>
                  </a:lnTo>
                  <a:lnTo>
                    <a:pt x="617" y="285"/>
                  </a:lnTo>
                  <a:lnTo>
                    <a:pt x="617" y="287"/>
                  </a:lnTo>
                  <a:lnTo>
                    <a:pt x="618" y="287"/>
                  </a:lnTo>
                  <a:lnTo>
                    <a:pt x="621" y="288"/>
                  </a:lnTo>
                  <a:lnTo>
                    <a:pt x="621" y="287"/>
                  </a:lnTo>
                  <a:lnTo>
                    <a:pt x="622" y="285"/>
                  </a:lnTo>
                  <a:lnTo>
                    <a:pt x="622" y="284"/>
                  </a:lnTo>
                  <a:lnTo>
                    <a:pt x="621" y="289"/>
                  </a:lnTo>
                  <a:lnTo>
                    <a:pt x="621" y="290"/>
                  </a:lnTo>
                  <a:lnTo>
                    <a:pt x="622" y="290"/>
                  </a:lnTo>
                  <a:lnTo>
                    <a:pt x="623" y="289"/>
                  </a:lnTo>
                  <a:lnTo>
                    <a:pt x="624" y="287"/>
                  </a:lnTo>
                  <a:lnTo>
                    <a:pt x="623" y="284"/>
                  </a:lnTo>
                  <a:lnTo>
                    <a:pt x="624" y="287"/>
                  </a:lnTo>
                  <a:lnTo>
                    <a:pt x="625" y="287"/>
                  </a:lnTo>
                  <a:lnTo>
                    <a:pt x="625" y="285"/>
                  </a:lnTo>
                  <a:lnTo>
                    <a:pt x="627" y="288"/>
                  </a:lnTo>
                  <a:lnTo>
                    <a:pt x="628" y="288"/>
                  </a:lnTo>
                  <a:lnTo>
                    <a:pt x="629" y="288"/>
                  </a:lnTo>
                  <a:lnTo>
                    <a:pt x="629" y="285"/>
                  </a:lnTo>
                  <a:lnTo>
                    <a:pt x="631" y="288"/>
                  </a:lnTo>
                  <a:lnTo>
                    <a:pt x="634" y="288"/>
                  </a:lnTo>
                  <a:lnTo>
                    <a:pt x="635" y="289"/>
                  </a:lnTo>
                  <a:lnTo>
                    <a:pt x="631" y="288"/>
                  </a:lnTo>
                  <a:lnTo>
                    <a:pt x="630" y="290"/>
                  </a:lnTo>
                  <a:lnTo>
                    <a:pt x="633" y="293"/>
                  </a:lnTo>
                  <a:lnTo>
                    <a:pt x="633" y="294"/>
                  </a:lnTo>
                  <a:lnTo>
                    <a:pt x="634" y="294"/>
                  </a:lnTo>
                  <a:lnTo>
                    <a:pt x="634" y="296"/>
                  </a:lnTo>
                  <a:lnTo>
                    <a:pt x="635" y="296"/>
                  </a:lnTo>
                  <a:lnTo>
                    <a:pt x="637" y="297"/>
                  </a:lnTo>
                  <a:lnTo>
                    <a:pt x="639" y="297"/>
                  </a:lnTo>
                  <a:lnTo>
                    <a:pt x="640" y="299"/>
                  </a:lnTo>
                  <a:lnTo>
                    <a:pt x="640" y="300"/>
                  </a:lnTo>
                  <a:lnTo>
                    <a:pt x="641" y="301"/>
                  </a:lnTo>
                  <a:lnTo>
                    <a:pt x="642" y="301"/>
                  </a:lnTo>
                  <a:lnTo>
                    <a:pt x="643" y="303"/>
                  </a:lnTo>
                  <a:lnTo>
                    <a:pt x="642" y="303"/>
                  </a:lnTo>
                  <a:lnTo>
                    <a:pt x="642" y="305"/>
                  </a:lnTo>
                  <a:lnTo>
                    <a:pt x="641" y="305"/>
                  </a:lnTo>
                  <a:lnTo>
                    <a:pt x="640" y="305"/>
                  </a:lnTo>
                  <a:lnTo>
                    <a:pt x="641" y="306"/>
                  </a:lnTo>
                  <a:lnTo>
                    <a:pt x="643" y="309"/>
                  </a:lnTo>
                  <a:lnTo>
                    <a:pt x="643" y="308"/>
                  </a:lnTo>
                  <a:lnTo>
                    <a:pt x="643" y="306"/>
                  </a:lnTo>
                  <a:lnTo>
                    <a:pt x="645" y="307"/>
                  </a:lnTo>
                  <a:lnTo>
                    <a:pt x="646" y="307"/>
                  </a:lnTo>
                  <a:lnTo>
                    <a:pt x="646" y="308"/>
                  </a:lnTo>
                  <a:lnTo>
                    <a:pt x="646" y="309"/>
                  </a:lnTo>
                  <a:lnTo>
                    <a:pt x="646" y="311"/>
                  </a:lnTo>
                  <a:lnTo>
                    <a:pt x="648" y="311"/>
                  </a:lnTo>
                  <a:lnTo>
                    <a:pt x="651" y="313"/>
                  </a:lnTo>
                  <a:lnTo>
                    <a:pt x="652" y="314"/>
                  </a:lnTo>
                  <a:lnTo>
                    <a:pt x="649" y="317"/>
                  </a:lnTo>
                  <a:lnTo>
                    <a:pt x="652" y="318"/>
                  </a:lnTo>
                  <a:lnTo>
                    <a:pt x="649" y="318"/>
                  </a:lnTo>
                  <a:lnTo>
                    <a:pt x="649" y="320"/>
                  </a:lnTo>
                  <a:lnTo>
                    <a:pt x="649" y="321"/>
                  </a:lnTo>
                  <a:lnTo>
                    <a:pt x="648" y="323"/>
                  </a:lnTo>
                  <a:lnTo>
                    <a:pt x="649" y="323"/>
                  </a:lnTo>
                  <a:lnTo>
                    <a:pt x="647" y="323"/>
                  </a:lnTo>
                  <a:lnTo>
                    <a:pt x="647" y="325"/>
                  </a:lnTo>
                  <a:lnTo>
                    <a:pt x="647" y="326"/>
                  </a:lnTo>
                  <a:lnTo>
                    <a:pt x="646" y="327"/>
                  </a:lnTo>
                  <a:lnTo>
                    <a:pt x="648" y="329"/>
                  </a:lnTo>
                  <a:lnTo>
                    <a:pt x="647" y="329"/>
                  </a:lnTo>
                  <a:lnTo>
                    <a:pt x="646" y="329"/>
                  </a:lnTo>
                  <a:lnTo>
                    <a:pt x="646" y="330"/>
                  </a:lnTo>
                  <a:lnTo>
                    <a:pt x="646" y="331"/>
                  </a:lnTo>
                  <a:lnTo>
                    <a:pt x="643" y="331"/>
                  </a:lnTo>
                  <a:lnTo>
                    <a:pt x="643" y="332"/>
                  </a:lnTo>
                  <a:lnTo>
                    <a:pt x="643" y="335"/>
                  </a:lnTo>
                  <a:lnTo>
                    <a:pt x="642" y="335"/>
                  </a:lnTo>
                  <a:lnTo>
                    <a:pt x="641" y="336"/>
                  </a:lnTo>
                  <a:lnTo>
                    <a:pt x="640" y="336"/>
                  </a:lnTo>
                  <a:lnTo>
                    <a:pt x="637" y="336"/>
                  </a:lnTo>
                  <a:lnTo>
                    <a:pt x="637" y="339"/>
                  </a:lnTo>
                  <a:lnTo>
                    <a:pt x="636" y="341"/>
                  </a:lnTo>
                  <a:lnTo>
                    <a:pt x="635" y="341"/>
                  </a:lnTo>
                  <a:lnTo>
                    <a:pt x="634" y="342"/>
                  </a:lnTo>
                  <a:lnTo>
                    <a:pt x="633" y="343"/>
                  </a:lnTo>
                  <a:lnTo>
                    <a:pt x="631" y="344"/>
                  </a:lnTo>
                  <a:lnTo>
                    <a:pt x="633" y="344"/>
                  </a:lnTo>
                  <a:lnTo>
                    <a:pt x="630" y="344"/>
                  </a:lnTo>
                  <a:lnTo>
                    <a:pt x="630" y="347"/>
                  </a:lnTo>
                  <a:lnTo>
                    <a:pt x="629" y="348"/>
                  </a:lnTo>
                  <a:lnTo>
                    <a:pt x="630" y="349"/>
                  </a:lnTo>
                  <a:lnTo>
                    <a:pt x="631" y="349"/>
                  </a:lnTo>
                  <a:lnTo>
                    <a:pt x="633" y="349"/>
                  </a:lnTo>
                  <a:lnTo>
                    <a:pt x="634" y="348"/>
                  </a:lnTo>
                  <a:lnTo>
                    <a:pt x="633" y="347"/>
                  </a:lnTo>
                  <a:lnTo>
                    <a:pt x="634" y="345"/>
                  </a:lnTo>
                  <a:lnTo>
                    <a:pt x="635" y="344"/>
                  </a:lnTo>
                  <a:lnTo>
                    <a:pt x="636" y="344"/>
                  </a:lnTo>
                  <a:lnTo>
                    <a:pt x="637" y="344"/>
                  </a:lnTo>
                  <a:lnTo>
                    <a:pt x="640" y="344"/>
                  </a:lnTo>
                  <a:lnTo>
                    <a:pt x="639" y="347"/>
                  </a:lnTo>
                  <a:lnTo>
                    <a:pt x="640" y="348"/>
                  </a:lnTo>
                  <a:lnTo>
                    <a:pt x="639" y="349"/>
                  </a:lnTo>
                  <a:lnTo>
                    <a:pt x="637" y="349"/>
                  </a:lnTo>
                  <a:lnTo>
                    <a:pt x="636" y="350"/>
                  </a:lnTo>
                  <a:lnTo>
                    <a:pt x="635" y="351"/>
                  </a:lnTo>
                  <a:lnTo>
                    <a:pt x="636" y="353"/>
                  </a:lnTo>
                  <a:lnTo>
                    <a:pt x="635" y="353"/>
                  </a:lnTo>
                  <a:lnTo>
                    <a:pt x="637" y="354"/>
                  </a:lnTo>
                  <a:lnTo>
                    <a:pt x="639" y="354"/>
                  </a:lnTo>
                  <a:lnTo>
                    <a:pt x="639" y="355"/>
                  </a:lnTo>
                  <a:lnTo>
                    <a:pt x="636" y="355"/>
                  </a:lnTo>
                  <a:lnTo>
                    <a:pt x="635" y="356"/>
                  </a:lnTo>
                  <a:lnTo>
                    <a:pt x="635" y="357"/>
                  </a:lnTo>
                  <a:lnTo>
                    <a:pt x="637" y="357"/>
                  </a:lnTo>
                  <a:lnTo>
                    <a:pt x="635" y="359"/>
                  </a:lnTo>
                  <a:lnTo>
                    <a:pt x="637" y="359"/>
                  </a:lnTo>
                  <a:lnTo>
                    <a:pt x="636" y="361"/>
                  </a:lnTo>
                  <a:lnTo>
                    <a:pt x="636" y="362"/>
                  </a:lnTo>
                  <a:lnTo>
                    <a:pt x="637" y="362"/>
                  </a:lnTo>
                  <a:lnTo>
                    <a:pt x="639" y="362"/>
                  </a:lnTo>
                  <a:lnTo>
                    <a:pt x="639" y="361"/>
                  </a:lnTo>
                  <a:lnTo>
                    <a:pt x="640" y="362"/>
                  </a:lnTo>
                  <a:lnTo>
                    <a:pt x="641" y="362"/>
                  </a:lnTo>
                  <a:lnTo>
                    <a:pt x="642" y="362"/>
                  </a:lnTo>
                  <a:lnTo>
                    <a:pt x="640" y="365"/>
                  </a:lnTo>
                  <a:lnTo>
                    <a:pt x="641" y="366"/>
                  </a:lnTo>
                  <a:lnTo>
                    <a:pt x="643" y="366"/>
                  </a:lnTo>
                  <a:lnTo>
                    <a:pt x="645" y="367"/>
                  </a:lnTo>
                  <a:lnTo>
                    <a:pt x="646" y="365"/>
                  </a:lnTo>
                  <a:lnTo>
                    <a:pt x="647" y="365"/>
                  </a:lnTo>
                  <a:lnTo>
                    <a:pt x="647" y="366"/>
                  </a:lnTo>
                  <a:lnTo>
                    <a:pt x="649" y="367"/>
                  </a:lnTo>
                  <a:lnTo>
                    <a:pt x="651" y="366"/>
                  </a:lnTo>
                  <a:lnTo>
                    <a:pt x="652" y="366"/>
                  </a:lnTo>
                  <a:lnTo>
                    <a:pt x="652" y="367"/>
                  </a:lnTo>
                  <a:lnTo>
                    <a:pt x="651" y="367"/>
                  </a:lnTo>
                  <a:lnTo>
                    <a:pt x="652" y="367"/>
                  </a:lnTo>
                  <a:lnTo>
                    <a:pt x="654" y="367"/>
                  </a:lnTo>
                  <a:lnTo>
                    <a:pt x="654" y="366"/>
                  </a:lnTo>
                  <a:lnTo>
                    <a:pt x="655" y="364"/>
                  </a:lnTo>
                  <a:lnTo>
                    <a:pt x="655" y="365"/>
                  </a:lnTo>
                  <a:lnTo>
                    <a:pt x="657" y="366"/>
                  </a:lnTo>
                  <a:lnTo>
                    <a:pt x="658" y="367"/>
                  </a:lnTo>
                  <a:lnTo>
                    <a:pt x="659" y="367"/>
                  </a:lnTo>
                  <a:lnTo>
                    <a:pt x="658" y="367"/>
                  </a:lnTo>
                  <a:lnTo>
                    <a:pt x="654" y="368"/>
                  </a:lnTo>
                  <a:lnTo>
                    <a:pt x="653" y="371"/>
                  </a:lnTo>
                  <a:lnTo>
                    <a:pt x="653" y="372"/>
                  </a:lnTo>
                  <a:lnTo>
                    <a:pt x="653" y="373"/>
                  </a:lnTo>
                  <a:lnTo>
                    <a:pt x="652" y="374"/>
                  </a:lnTo>
                  <a:lnTo>
                    <a:pt x="653" y="376"/>
                  </a:lnTo>
                  <a:lnTo>
                    <a:pt x="655" y="374"/>
                  </a:lnTo>
                  <a:lnTo>
                    <a:pt x="655" y="373"/>
                  </a:lnTo>
                  <a:lnTo>
                    <a:pt x="655" y="371"/>
                  </a:lnTo>
                  <a:lnTo>
                    <a:pt x="657" y="371"/>
                  </a:lnTo>
                  <a:lnTo>
                    <a:pt x="657" y="370"/>
                  </a:lnTo>
                  <a:lnTo>
                    <a:pt x="658" y="370"/>
                  </a:lnTo>
                  <a:lnTo>
                    <a:pt x="660" y="370"/>
                  </a:lnTo>
                  <a:lnTo>
                    <a:pt x="661" y="368"/>
                  </a:lnTo>
                  <a:lnTo>
                    <a:pt x="660" y="371"/>
                  </a:lnTo>
                  <a:lnTo>
                    <a:pt x="660" y="370"/>
                  </a:lnTo>
                  <a:lnTo>
                    <a:pt x="663" y="370"/>
                  </a:lnTo>
                  <a:lnTo>
                    <a:pt x="660" y="372"/>
                  </a:lnTo>
                  <a:lnTo>
                    <a:pt x="659" y="373"/>
                  </a:lnTo>
                  <a:lnTo>
                    <a:pt x="661" y="374"/>
                  </a:lnTo>
                  <a:lnTo>
                    <a:pt x="660" y="374"/>
                  </a:lnTo>
                  <a:lnTo>
                    <a:pt x="660" y="376"/>
                  </a:lnTo>
                  <a:lnTo>
                    <a:pt x="659" y="377"/>
                  </a:lnTo>
                  <a:lnTo>
                    <a:pt x="660" y="378"/>
                  </a:lnTo>
                  <a:lnTo>
                    <a:pt x="658" y="378"/>
                  </a:lnTo>
                  <a:lnTo>
                    <a:pt x="659" y="380"/>
                  </a:lnTo>
                  <a:lnTo>
                    <a:pt x="658" y="380"/>
                  </a:lnTo>
                  <a:lnTo>
                    <a:pt x="657" y="382"/>
                  </a:lnTo>
                  <a:lnTo>
                    <a:pt x="655" y="382"/>
                  </a:lnTo>
                  <a:lnTo>
                    <a:pt x="657" y="382"/>
                  </a:lnTo>
                  <a:lnTo>
                    <a:pt x="659" y="384"/>
                  </a:lnTo>
                  <a:lnTo>
                    <a:pt x="660" y="386"/>
                  </a:lnTo>
                  <a:lnTo>
                    <a:pt x="658" y="385"/>
                  </a:lnTo>
                  <a:lnTo>
                    <a:pt x="657" y="384"/>
                  </a:lnTo>
                  <a:lnTo>
                    <a:pt x="657" y="383"/>
                  </a:lnTo>
                  <a:lnTo>
                    <a:pt x="657" y="385"/>
                  </a:lnTo>
                  <a:lnTo>
                    <a:pt x="655" y="385"/>
                  </a:lnTo>
                  <a:lnTo>
                    <a:pt x="654" y="385"/>
                  </a:lnTo>
                  <a:lnTo>
                    <a:pt x="653" y="386"/>
                  </a:lnTo>
                  <a:lnTo>
                    <a:pt x="652" y="388"/>
                  </a:lnTo>
                  <a:lnTo>
                    <a:pt x="651" y="389"/>
                  </a:lnTo>
                  <a:lnTo>
                    <a:pt x="651" y="390"/>
                  </a:lnTo>
                  <a:lnTo>
                    <a:pt x="648" y="390"/>
                  </a:lnTo>
                  <a:lnTo>
                    <a:pt x="647" y="388"/>
                  </a:lnTo>
                  <a:lnTo>
                    <a:pt x="647" y="386"/>
                  </a:lnTo>
                  <a:lnTo>
                    <a:pt x="646" y="386"/>
                  </a:lnTo>
                  <a:lnTo>
                    <a:pt x="645" y="386"/>
                  </a:lnTo>
                  <a:lnTo>
                    <a:pt x="645" y="385"/>
                  </a:lnTo>
                  <a:lnTo>
                    <a:pt x="642" y="385"/>
                  </a:lnTo>
                  <a:lnTo>
                    <a:pt x="641" y="385"/>
                  </a:lnTo>
                  <a:lnTo>
                    <a:pt x="640" y="386"/>
                  </a:lnTo>
                  <a:lnTo>
                    <a:pt x="640" y="388"/>
                  </a:lnTo>
                  <a:lnTo>
                    <a:pt x="639" y="389"/>
                  </a:lnTo>
                  <a:lnTo>
                    <a:pt x="637" y="386"/>
                  </a:lnTo>
                  <a:lnTo>
                    <a:pt x="636" y="386"/>
                  </a:lnTo>
                  <a:lnTo>
                    <a:pt x="636" y="384"/>
                  </a:lnTo>
                  <a:lnTo>
                    <a:pt x="636" y="382"/>
                  </a:lnTo>
                  <a:lnTo>
                    <a:pt x="635" y="379"/>
                  </a:lnTo>
                  <a:lnTo>
                    <a:pt x="635" y="382"/>
                  </a:lnTo>
                  <a:lnTo>
                    <a:pt x="634" y="382"/>
                  </a:lnTo>
                  <a:lnTo>
                    <a:pt x="633" y="382"/>
                  </a:lnTo>
                  <a:lnTo>
                    <a:pt x="634" y="384"/>
                  </a:lnTo>
                  <a:lnTo>
                    <a:pt x="633" y="383"/>
                  </a:lnTo>
                  <a:lnTo>
                    <a:pt x="633" y="380"/>
                  </a:lnTo>
                  <a:lnTo>
                    <a:pt x="631" y="378"/>
                  </a:lnTo>
                  <a:lnTo>
                    <a:pt x="629" y="378"/>
                  </a:lnTo>
                  <a:lnTo>
                    <a:pt x="629" y="377"/>
                  </a:lnTo>
                  <a:lnTo>
                    <a:pt x="628" y="376"/>
                  </a:lnTo>
                  <a:lnTo>
                    <a:pt x="628" y="374"/>
                  </a:lnTo>
                  <a:lnTo>
                    <a:pt x="627" y="377"/>
                  </a:lnTo>
                  <a:lnTo>
                    <a:pt x="628" y="378"/>
                  </a:lnTo>
                  <a:lnTo>
                    <a:pt x="627" y="378"/>
                  </a:lnTo>
                  <a:lnTo>
                    <a:pt x="624" y="377"/>
                  </a:lnTo>
                  <a:lnTo>
                    <a:pt x="624" y="374"/>
                  </a:lnTo>
                  <a:lnTo>
                    <a:pt x="621" y="374"/>
                  </a:lnTo>
                  <a:lnTo>
                    <a:pt x="621" y="377"/>
                  </a:lnTo>
                  <a:lnTo>
                    <a:pt x="619" y="376"/>
                  </a:lnTo>
                  <a:lnTo>
                    <a:pt x="618" y="376"/>
                  </a:lnTo>
                  <a:lnTo>
                    <a:pt x="616" y="374"/>
                  </a:lnTo>
                  <a:lnTo>
                    <a:pt x="612" y="373"/>
                  </a:lnTo>
                  <a:lnTo>
                    <a:pt x="611" y="374"/>
                  </a:lnTo>
                  <a:lnTo>
                    <a:pt x="611" y="377"/>
                  </a:lnTo>
                  <a:lnTo>
                    <a:pt x="612" y="376"/>
                  </a:lnTo>
                  <a:lnTo>
                    <a:pt x="612" y="377"/>
                  </a:lnTo>
                  <a:lnTo>
                    <a:pt x="613" y="377"/>
                  </a:lnTo>
                  <a:lnTo>
                    <a:pt x="613" y="378"/>
                  </a:lnTo>
                  <a:lnTo>
                    <a:pt x="616" y="379"/>
                  </a:lnTo>
                  <a:lnTo>
                    <a:pt x="616" y="380"/>
                  </a:lnTo>
                  <a:lnTo>
                    <a:pt x="615" y="380"/>
                  </a:lnTo>
                  <a:lnTo>
                    <a:pt x="613" y="384"/>
                  </a:lnTo>
                  <a:lnTo>
                    <a:pt x="615" y="383"/>
                  </a:lnTo>
                  <a:lnTo>
                    <a:pt x="616" y="383"/>
                  </a:lnTo>
                  <a:lnTo>
                    <a:pt x="616" y="385"/>
                  </a:lnTo>
                  <a:lnTo>
                    <a:pt x="617" y="385"/>
                  </a:lnTo>
                  <a:lnTo>
                    <a:pt x="618" y="385"/>
                  </a:lnTo>
                  <a:lnTo>
                    <a:pt x="619" y="384"/>
                  </a:lnTo>
                  <a:lnTo>
                    <a:pt x="619" y="386"/>
                  </a:lnTo>
                  <a:lnTo>
                    <a:pt x="622" y="386"/>
                  </a:lnTo>
                  <a:lnTo>
                    <a:pt x="623" y="386"/>
                  </a:lnTo>
                  <a:lnTo>
                    <a:pt x="623" y="388"/>
                  </a:lnTo>
                  <a:lnTo>
                    <a:pt x="623" y="389"/>
                  </a:lnTo>
                  <a:lnTo>
                    <a:pt x="622" y="392"/>
                  </a:lnTo>
                  <a:lnTo>
                    <a:pt x="623" y="395"/>
                  </a:lnTo>
                  <a:lnTo>
                    <a:pt x="624" y="394"/>
                  </a:lnTo>
                  <a:lnTo>
                    <a:pt x="627" y="395"/>
                  </a:lnTo>
                  <a:lnTo>
                    <a:pt x="628" y="395"/>
                  </a:lnTo>
                  <a:lnTo>
                    <a:pt x="628" y="396"/>
                  </a:lnTo>
                  <a:lnTo>
                    <a:pt x="629" y="395"/>
                  </a:lnTo>
                  <a:lnTo>
                    <a:pt x="631" y="398"/>
                  </a:lnTo>
                  <a:lnTo>
                    <a:pt x="633" y="396"/>
                  </a:lnTo>
                  <a:lnTo>
                    <a:pt x="634" y="396"/>
                  </a:lnTo>
                  <a:lnTo>
                    <a:pt x="634" y="400"/>
                  </a:lnTo>
                  <a:lnTo>
                    <a:pt x="635" y="400"/>
                  </a:lnTo>
                  <a:lnTo>
                    <a:pt x="637" y="401"/>
                  </a:lnTo>
                  <a:lnTo>
                    <a:pt x="636" y="402"/>
                  </a:lnTo>
                  <a:lnTo>
                    <a:pt x="637" y="402"/>
                  </a:lnTo>
                  <a:lnTo>
                    <a:pt x="636" y="404"/>
                  </a:lnTo>
                  <a:lnTo>
                    <a:pt x="639" y="407"/>
                  </a:lnTo>
                  <a:lnTo>
                    <a:pt x="637" y="408"/>
                  </a:lnTo>
                  <a:lnTo>
                    <a:pt x="640" y="409"/>
                  </a:lnTo>
                  <a:lnTo>
                    <a:pt x="641" y="410"/>
                  </a:lnTo>
                  <a:lnTo>
                    <a:pt x="641" y="412"/>
                  </a:lnTo>
                  <a:lnTo>
                    <a:pt x="641" y="413"/>
                  </a:lnTo>
                  <a:lnTo>
                    <a:pt x="640" y="413"/>
                  </a:lnTo>
                  <a:lnTo>
                    <a:pt x="640" y="414"/>
                  </a:lnTo>
                  <a:lnTo>
                    <a:pt x="639" y="414"/>
                  </a:lnTo>
                  <a:lnTo>
                    <a:pt x="639" y="416"/>
                  </a:lnTo>
                  <a:lnTo>
                    <a:pt x="639" y="418"/>
                  </a:lnTo>
                  <a:lnTo>
                    <a:pt x="637" y="419"/>
                  </a:lnTo>
                  <a:lnTo>
                    <a:pt x="639" y="420"/>
                  </a:lnTo>
                  <a:lnTo>
                    <a:pt x="640" y="420"/>
                  </a:lnTo>
                  <a:lnTo>
                    <a:pt x="639" y="422"/>
                  </a:lnTo>
                  <a:lnTo>
                    <a:pt x="637" y="421"/>
                  </a:lnTo>
                  <a:lnTo>
                    <a:pt x="636" y="421"/>
                  </a:lnTo>
                  <a:lnTo>
                    <a:pt x="636" y="420"/>
                  </a:lnTo>
                  <a:lnTo>
                    <a:pt x="636" y="421"/>
                  </a:lnTo>
                  <a:lnTo>
                    <a:pt x="636" y="424"/>
                  </a:lnTo>
                  <a:lnTo>
                    <a:pt x="637" y="425"/>
                  </a:lnTo>
                  <a:lnTo>
                    <a:pt x="637" y="426"/>
                  </a:lnTo>
                  <a:lnTo>
                    <a:pt x="639" y="430"/>
                  </a:lnTo>
                  <a:lnTo>
                    <a:pt x="637" y="428"/>
                  </a:lnTo>
                  <a:lnTo>
                    <a:pt x="636" y="426"/>
                  </a:lnTo>
                  <a:lnTo>
                    <a:pt x="635" y="426"/>
                  </a:lnTo>
                  <a:lnTo>
                    <a:pt x="635" y="425"/>
                  </a:lnTo>
                  <a:lnTo>
                    <a:pt x="635" y="427"/>
                  </a:lnTo>
                  <a:lnTo>
                    <a:pt x="635" y="428"/>
                  </a:lnTo>
                  <a:lnTo>
                    <a:pt x="635" y="430"/>
                  </a:lnTo>
                  <a:lnTo>
                    <a:pt x="637" y="431"/>
                  </a:lnTo>
                  <a:lnTo>
                    <a:pt x="637" y="432"/>
                  </a:lnTo>
                  <a:lnTo>
                    <a:pt x="639" y="433"/>
                  </a:lnTo>
                  <a:lnTo>
                    <a:pt x="636" y="432"/>
                  </a:lnTo>
                  <a:lnTo>
                    <a:pt x="635" y="432"/>
                  </a:lnTo>
                  <a:lnTo>
                    <a:pt x="636" y="433"/>
                  </a:lnTo>
                  <a:lnTo>
                    <a:pt x="636" y="436"/>
                  </a:lnTo>
                  <a:lnTo>
                    <a:pt x="636" y="437"/>
                  </a:lnTo>
                  <a:lnTo>
                    <a:pt x="634" y="437"/>
                  </a:lnTo>
                  <a:lnTo>
                    <a:pt x="633" y="437"/>
                  </a:lnTo>
                  <a:lnTo>
                    <a:pt x="633" y="438"/>
                  </a:lnTo>
                  <a:lnTo>
                    <a:pt x="630" y="437"/>
                  </a:lnTo>
                  <a:lnTo>
                    <a:pt x="631" y="438"/>
                  </a:lnTo>
                  <a:lnTo>
                    <a:pt x="631" y="440"/>
                  </a:lnTo>
                  <a:lnTo>
                    <a:pt x="630" y="439"/>
                  </a:lnTo>
                  <a:lnTo>
                    <a:pt x="629" y="439"/>
                  </a:lnTo>
                  <a:lnTo>
                    <a:pt x="628" y="439"/>
                  </a:lnTo>
                  <a:lnTo>
                    <a:pt x="630" y="442"/>
                  </a:lnTo>
                  <a:lnTo>
                    <a:pt x="629" y="443"/>
                  </a:lnTo>
                  <a:lnTo>
                    <a:pt x="628" y="443"/>
                  </a:lnTo>
                  <a:lnTo>
                    <a:pt x="629" y="443"/>
                  </a:lnTo>
                  <a:lnTo>
                    <a:pt x="630" y="445"/>
                  </a:lnTo>
                  <a:lnTo>
                    <a:pt x="631" y="445"/>
                  </a:lnTo>
                  <a:lnTo>
                    <a:pt x="631" y="448"/>
                  </a:lnTo>
                  <a:lnTo>
                    <a:pt x="631" y="449"/>
                  </a:lnTo>
                  <a:lnTo>
                    <a:pt x="633" y="448"/>
                  </a:lnTo>
                  <a:lnTo>
                    <a:pt x="634" y="448"/>
                  </a:lnTo>
                  <a:lnTo>
                    <a:pt x="634" y="449"/>
                  </a:lnTo>
                  <a:lnTo>
                    <a:pt x="636" y="451"/>
                  </a:lnTo>
                  <a:lnTo>
                    <a:pt x="634" y="451"/>
                  </a:lnTo>
                  <a:lnTo>
                    <a:pt x="633" y="452"/>
                  </a:lnTo>
                  <a:lnTo>
                    <a:pt x="633" y="451"/>
                  </a:lnTo>
                  <a:lnTo>
                    <a:pt x="631" y="451"/>
                  </a:lnTo>
                  <a:lnTo>
                    <a:pt x="630" y="454"/>
                  </a:lnTo>
                  <a:lnTo>
                    <a:pt x="628" y="454"/>
                  </a:lnTo>
                  <a:lnTo>
                    <a:pt x="628" y="452"/>
                  </a:lnTo>
                  <a:lnTo>
                    <a:pt x="628" y="454"/>
                  </a:lnTo>
                  <a:lnTo>
                    <a:pt x="627" y="454"/>
                  </a:lnTo>
                  <a:lnTo>
                    <a:pt x="625" y="454"/>
                  </a:lnTo>
                  <a:lnTo>
                    <a:pt x="625" y="455"/>
                  </a:lnTo>
                  <a:lnTo>
                    <a:pt x="624" y="456"/>
                  </a:lnTo>
                  <a:lnTo>
                    <a:pt x="624" y="457"/>
                  </a:lnTo>
                  <a:lnTo>
                    <a:pt x="623" y="458"/>
                  </a:lnTo>
                  <a:lnTo>
                    <a:pt x="624" y="460"/>
                  </a:lnTo>
                  <a:lnTo>
                    <a:pt x="624" y="461"/>
                  </a:lnTo>
                  <a:lnTo>
                    <a:pt x="623" y="462"/>
                  </a:lnTo>
                  <a:lnTo>
                    <a:pt x="624" y="462"/>
                  </a:lnTo>
                  <a:lnTo>
                    <a:pt x="624" y="464"/>
                  </a:lnTo>
                  <a:lnTo>
                    <a:pt x="625" y="464"/>
                  </a:lnTo>
                  <a:lnTo>
                    <a:pt x="625" y="466"/>
                  </a:lnTo>
                  <a:lnTo>
                    <a:pt x="624" y="467"/>
                  </a:lnTo>
                  <a:lnTo>
                    <a:pt x="625" y="469"/>
                  </a:lnTo>
                  <a:lnTo>
                    <a:pt x="625" y="468"/>
                  </a:lnTo>
                  <a:lnTo>
                    <a:pt x="627" y="469"/>
                  </a:lnTo>
                  <a:lnTo>
                    <a:pt x="628" y="469"/>
                  </a:lnTo>
                  <a:lnTo>
                    <a:pt x="628" y="471"/>
                  </a:lnTo>
                  <a:lnTo>
                    <a:pt x="629" y="469"/>
                  </a:lnTo>
                  <a:lnTo>
                    <a:pt x="629" y="471"/>
                  </a:lnTo>
                  <a:lnTo>
                    <a:pt x="630" y="473"/>
                  </a:lnTo>
                  <a:lnTo>
                    <a:pt x="631" y="475"/>
                  </a:lnTo>
                  <a:lnTo>
                    <a:pt x="630" y="475"/>
                  </a:lnTo>
                  <a:lnTo>
                    <a:pt x="628" y="475"/>
                  </a:lnTo>
                  <a:lnTo>
                    <a:pt x="627" y="475"/>
                  </a:lnTo>
                  <a:lnTo>
                    <a:pt x="625" y="474"/>
                  </a:lnTo>
                  <a:lnTo>
                    <a:pt x="624" y="473"/>
                  </a:lnTo>
                  <a:lnTo>
                    <a:pt x="624" y="474"/>
                  </a:lnTo>
                  <a:lnTo>
                    <a:pt x="624" y="475"/>
                  </a:lnTo>
                  <a:lnTo>
                    <a:pt x="623" y="475"/>
                  </a:lnTo>
                  <a:lnTo>
                    <a:pt x="622" y="474"/>
                  </a:lnTo>
                  <a:lnTo>
                    <a:pt x="621" y="477"/>
                  </a:lnTo>
                  <a:lnTo>
                    <a:pt x="621" y="474"/>
                  </a:lnTo>
                  <a:lnTo>
                    <a:pt x="621" y="473"/>
                  </a:lnTo>
                  <a:lnTo>
                    <a:pt x="619" y="474"/>
                  </a:lnTo>
                  <a:lnTo>
                    <a:pt x="618" y="478"/>
                  </a:lnTo>
                  <a:lnTo>
                    <a:pt x="618" y="477"/>
                  </a:lnTo>
                  <a:lnTo>
                    <a:pt x="617" y="475"/>
                  </a:lnTo>
                  <a:lnTo>
                    <a:pt x="616" y="474"/>
                  </a:lnTo>
                  <a:lnTo>
                    <a:pt x="616" y="473"/>
                  </a:lnTo>
                  <a:lnTo>
                    <a:pt x="615" y="472"/>
                  </a:lnTo>
                  <a:lnTo>
                    <a:pt x="613" y="471"/>
                  </a:lnTo>
                  <a:lnTo>
                    <a:pt x="613" y="469"/>
                  </a:lnTo>
                  <a:lnTo>
                    <a:pt x="613" y="468"/>
                  </a:lnTo>
                  <a:lnTo>
                    <a:pt x="615" y="467"/>
                  </a:lnTo>
                  <a:lnTo>
                    <a:pt x="615" y="466"/>
                  </a:lnTo>
                  <a:lnTo>
                    <a:pt x="615" y="464"/>
                  </a:lnTo>
                  <a:lnTo>
                    <a:pt x="612" y="462"/>
                  </a:lnTo>
                  <a:lnTo>
                    <a:pt x="611" y="466"/>
                  </a:lnTo>
                  <a:lnTo>
                    <a:pt x="611" y="467"/>
                  </a:lnTo>
                  <a:lnTo>
                    <a:pt x="611" y="468"/>
                  </a:lnTo>
                  <a:lnTo>
                    <a:pt x="611" y="469"/>
                  </a:lnTo>
                  <a:lnTo>
                    <a:pt x="612" y="473"/>
                  </a:lnTo>
                  <a:lnTo>
                    <a:pt x="612" y="474"/>
                  </a:lnTo>
                  <a:lnTo>
                    <a:pt x="611" y="474"/>
                  </a:lnTo>
                  <a:lnTo>
                    <a:pt x="610" y="474"/>
                  </a:lnTo>
                  <a:lnTo>
                    <a:pt x="608" y="473"/>
                  </a:lnTo>
                  <a:lnTo>
                    <a:pt x="608" y="474"/>
                  </a:lnTo>
                  <a:lnTo>
                    <a:pt x="607" y="474"/>
                  </a:lnTo>
                  <a:lnTo>
                    <a:pt x="606" y="474"/>
                  </a:lnTo>
                  <a:lnTo>
                    <a:pt x="605" y="473"/>
                  </a:lnTo>
                  <a:lnTo>
                    <a:pt x="605" y="471"/>
                  </a:lnTo>
                  <a:lnTo>
                    <a:pt x="604" y="469"/>
                  </a:lnTo>
                  <a:lnTo>
                    <a:pt x="602" y="469"/>
                  </a:lnTo>
                  <a:lnTo>
                    <a:pt x="602" y="467"/>
                  </a:lnTo>
                  <a:lnTo>
                    <a:pt x="602" y="466"/>
                  </a:lnTo>
                  <a:lnTo>
                    <a:pt x="600" y="463"/>
                  </a:lnTo>
                  <a:lnTo>
                    <a:pt x="600" y="462"/>
                  </a:lnTo>
                  <a:lnTo>
                    <a:pt x="601" y="462"/>
                  </a:lnTo>
                  <a:lnTo>
                    <a:pt x="602" y="462"/>
                  </a:lnTo>
                  <a:lnTo>
                    <a:pt x="604" y="463"/>
                  </a:lnTo>
                  <a:lnTo>
                    <a:pt x="604" y="462"/>
                  </a:lnTo>
                  <a:lnTo>
                    <a:pt x="605" y="461"/>
                  </a:lnTo>
                  <a:lnTo>
                    <a:pt x="607" y="460"/>
                  </a:lnTo>
                  <a:lnTo>
                    <a:pt x="607" y="458"/>
                  </a:lnTo>
                  <a:lnTo>
                    <a:pt x="607" y="457"/>
                  </a:lnTo>
                  <a:lnTo>
                    <a:pt x="606" y="456"/>
                  </a:lnTo>
                  <a:lnTo>
                    <a:pt x="605" y="456"/>
                  </a:lnTo>
                  <a:lnTo>
                    <a:pt x="604" y="457"/>
                  </a:lnTo>
                  <a:lnTo>
                    <a:pt x="604" y="458"/>
                  </a:lnTo>
                  <a:lnTo>
                    <a:pt x="602" y="460"/>
                  </a:lnTo>
                  <a:lnTo>
                    <a:pt x="601" y="458"/>
                  </a:lnTo>
                  <a:lnTo>
                    <a:pt x="600" y="458"/>
                  </a:lnTo>
                  <a:lnTo>
                    <a:pt x="599" y="456"/>
                  </a:lnTo>
                  <a:lnTo>
                    <a:pt x="598" y="456"/>
                  </a:lnTo>
                  <a:lnTo>
                    <a:pt x="595" y="456"/>
                  </a:lnTo>
                  <a:lnTo>
                    <a:pt x="594" y="458"/>
                  </a:lnTo>
                  <a:lnTo>
                    <a:pt x="593" y="457"/>
                  </a:lnTo>
                  <a:lnTo>
                    <a:pt x="592" y="458"/>
                  </a:lnTo>
                  <a:lnTo>
                    <a:pt x="592" y="461"/>
                  </a:lnTo>
                  <a:lnTo>
                    <a:pt x="592" y="463"/>
                  </a:lnTo>
                  <a:lnTo>
                    <a:pt x="592" y="464"/>
                  </a:lnTo>
                  <a:lnTo>
                    <a:pt x="593" y="468"/>
                  </a:lnTo>
                  <a:lnTo>
                    <a:pt x="595" y="469"/>
                  </a:lnTo>
                  <a:lnTo>
                    <a:pt x="596" y="472"/>
                  </a:lnTo>
                  <a:lnTo>
                    <a:pt x="596" y="473"/>
                  </a:lnTo>
                  <a:lnTo>
                    <a:pt x="598" y="474"/>
                  </a:lnTo>
                  <a:lnTo>
                    <a:pt x="599" y="475"/>
                  </a:lnTo>
                  <a:lnTo>
                    <a:pt x="599" y="477"/>
                  </a:lnTo>
                  <a:lnTo>
                    <a:pt x="596" y="475"/>
                  </a:lnTo>
                  <a:lnTo>
                    <a:pt x="598" y="477"/>
                  </a:lnTo>
                  <a:lnTo>
                    <a:pt x="598" y="478"/>
                  </a:lnTo>
                  <a:lnTo>
                    <a:pt x="595" y="477"/>
                  </a:lnTo>
                  <a:lnTo>
                    <a:pt x="598" y="479"/>
                  </a:lnTo>
                  <a:lnTo>
                    <a:pt x="599" y="480"/>
                  </a:lnTo>
                  <a:lnTo>
                    <a:pt x="599" y="481"/>
                  </a:lnTo>
                  <a:lnTo>
                    <a:pt x="596" y="481"/>
                  </a:lnTo>
                  <a:lnTo>
                    <a:pt x="598" y="481"/>
                  </a:lnTo>
                  <a:lnTo>
                    <a:pt x="596" y="483"/>
                  </a:lnTo>
                  <a:lnTo>
                    <a:pt x="592" y="483"/>
                  </a:lnTo>
                  <a:lnTo>
                    <a:pt x="593" y="486"/>
                  </a:lnTo>
                  <a:lnTo>
                    <a:pt x="593" y="487"/>
                  </a:lnTo>
                  <a:lnTo>
                    <a:pt x="590" y="486"/>
                  </a:lnTo>
                  <a:lnTo>
                    <a:pt x="589" y="486"/>
                  </a:lnTo>
                  <a:lnTo>
                    <a:pt x="587" y="489"/>
                  </a:lnTo>
                  <a:lnTo>
                    <a:pt x="586" y="490"/>
                  </a:lnTo>
                  <a:lnTo>
                    <a:pt x="586" y="492"/>
                  </a:lnTo>
                  <a:lnTo>
                    <a:pt x="584" y="493"/>
                  </a:lnTo>
                  <a:lnTo>
                    <a:pt x="586" y="495"/>
                  </a:lnTo>
                  <a:lnTo>
                    <a:pt x="586" y="497"/>
                  </a:lnTo>
                  <a:lnTo>
                    <a:pt x="587" y="499"/>
                  </a:lnTo>
                  <a:lnTo>
                    <a:pt x="587" y="501"/>
                  </a:lnTo>
                  <a:lnTo>
                    <a:pt x="587" y="502"/>
                  </a:lnTo>
                  <a:lnTo>
                    <a:pt x="587" y="503"/>
                  </a:lnTo>
                  <a:lnTo>
                    <a:pt x="587" y="505"/>
                  </a:lnTo>
                  <a:lnTo>
                    <a:pt x="584" y="504"/>
                  </a:lnTo>
                  <a:lnTo>
                    <a:pt x="583" y="504"/>
                  </a:lnTo>
                  <a:lnTo>
                    <a:pt x="583" y="505"/>
                  </a:lnTo>
                  <a:lnTo>
                    <a:pt x="582" y="505"/>
                  </a:lnTo>
                  <a:lnTo>
                    <a:pt x="581" y="504"/>
                  </a:lnTo>
                  <a:lnTo>
                    <a:pt x="580" y="502"/>
                  </a:lnTo>
                  <a:lnTo>
                    <a:pt x="578" y="503"/>
                  </a:lnTo>
                  <a:lnTo>
                    <a:pt x="575" y="505"/>
                  </a:lnTo>
                  <a:lnTo>
                    <a:pt x="574" y="504"/>
                  </a:lnTo>
                  <a:lnTo>
                    <a:pt x="572" y="504"/>
                  </a:lnTo>
                  <a:lnTo>
                    <a:pt x="570" y="504"/>
                  </a:lnTo>
                  <a:lnTo>
                    <a:pt x="568" y="504"/>
                  </a:lnTo>
                  <a:lnTo>
                    <a:pt x="566" y="504"/>
                  </a:lnTo>
                  <a:lnTo>
                    <a:pt x="564" y="504"/>
                  </a:lnTo>
                  <a:lnTo>
                    <a:pt x="563" y="505"/>
                  </a:lnTo>
                  <a:lnTo>
                    <a:pt x="563" y="504"/>
                  </a:lnTo>
                  <a:lnTo>
                    <a:pt x="563" y="502"/>
                  </a:lnTo>
                  <a:lnTo>
                    <a:pt x="562" y="501"/>
                  </a:lnTo>
                  <a:lnTo>
                    <a:pt x="559" y="501"/>
                  </a:lnTo>
                  <a:lnTo>
                    <a:pt x="559" y="498"/>
                  </a:lnTo>
                  <a:lnTo>
                    <a:pt x="560" y="497"/>
                  </a:lnTo>
                  <a:lnTo>
                    <a:pt x="558" y="497"/>
                  </a:lnTo>
                  <a:lnTo>
                    <a:pt x="559" y="495"/>
                  </a:lnTo>
                  <a:lnTo>
                    <a:pt x="559" y="493"/>
                  </a:lnTo>
                  <a:lnTo>
                    <a:pt x="558" y="491"/>
                  </a:lnTo>
                  <a:lnTo>
                    <a:pt x="559" y="489"/>
                  </a:lnTo>
                  <a:lnTo>
                    <a:pt x="558" y="489"/>
                  </a:lnTo>
                  <a:lnTo>
                    <a:pt x="558" y="487"/>
                  </a:lnTo>
                  <a:lnTo>
                    <a:pt x="557" y="486"/>
                  </a:lnTo>
                  <a:lnTo>
                    <a:pt x="556" y="485"/>
                  </a:lnTo>
                  <a:lnTo>
                    <a:pt x="553" y="486"/>
                  </a:lnTo>
                  <a:lnTo>
                    <a:pt x="553" y="487"/>
                  </a:lnTo>
                  <a:lnTo>
                    <a:pt x="556" y="490"/>
                  </a:lnTo>
                  <a:lnTo>
                    <a:pt x="554" y="490"/>
                  </a:lnTo>
                  <a:lnTo>
                    <a:pt x="556" y="491"/>
                  </a:lnTo>
                  <a:lnTo>
                    <a:pt x="557" y="493"/>
                  </a:lnTo>
                  <a:lnTo>
                    <a:pt x="556" y="492"/>
                  </a:lnTo>
                  <a:lnTo>
                    <a:pt x="553" y="491"/>
                  </a:lnTo>
                  <a:lnTo>
                    <a:pt x="552" y="491"/>
                  </a:lnTo>
                  <a:lnTo>
                    <a:pt x="551" y="492"/>
                  </a:lnTo>
                  <a:lnTo>
                    <a:pt x="549" y="491"/>
                  </a:lnTo>
                  <a:lnTo>
                    <a:pt x="548" y="492"/>
                  </a:lnTo>
                  <a:lnTo>
                    <a:pt x="547" y="489"/>
                  </a:lnTo>
                  <a:lnTo>
                    <a:pt x="546" y="490"/>
                  </a:lnTo>
                  <a:lnTo>
                    <a:pt x="546" y="489"/>
                  </a:lnTo>
                  <a:lnTo>
                    <a:pt x="546" y="487"/>
                  </a:lnTo>
                  <a:lnTo>
                    <a:pt x="546" y="485"/>
                  </a:lnTo>
                  <a:lnTo>
                    <a:pt x="547" y="484"/>
                  </a:lnTo>
                  <a:lnTo>
                    <a:pt x="548" y="484"/>
                  </a:lnTo>
                  <a:lnTo>
                    <a:pt x="548" y="483"/>
                  </a:lnTo>
                  <a:lnTo>
                    <a:pt x="549" y="484"/>
                  </a:lnTo>
                  <a:lnTo>
                    <a:pt x="552" y="483"/>
                  </a:lnTo>
                  <a:lnTo>
                    <a:pt x="552" y="481"/>
                  </a:lnTo>
                  <a:lnTo>
                    <a:pt x="553" y="481"/>
                  </a:lnTo>
                  <a:lnTo>
                    <a:pt x="557" y="480"/>
                  </a:lnTo>
                  <a:lnTo>
                    <a:pt x="558" y="479"/>
                  </a:lnTo>
                  <a:lnTo>
                    <a:pt x="559" y="478"/>
                  </a:lnTo>
                  <a:lnTo>
                    <a:pt x="560" y="477"/>
                  </a:lnTo>
                  <a:lnTo>
                    <a:pt x="562" y="475"/>
                  </a:lnTo>
                  <a:lnTo>
                    <a:pt x="560" y="474"/>
                  </a:lnTo>
                  <a:lnTo>
                    <a:pt x="562" y="473"/>
                  </a:lnTo>
                  <a:lnTo>
                    <a:pt x="563" y="473"/>
                  </a:lnTo>
                  <a:lnTo>
                    <a:pt x="564" y="473"/>
                  </a:lnTo>
                  <a:lnTo>
                    <a:pt x="563" y="471"/>
                  </a:lnTo>
                  <a:lnTo>
                    <a:pt x="563" y="467"/>
                  </a:lnTo>
                  <a:lnTo>
                    <a:pt x="560" y="462"/>
                  </a:lnTo>
                  <a:lnTo>
                    <a:pt x="560" y="464"/>
                  </a:lnTo>
                  <a:lnTo>
                    <a:pt x="559" y="463"/>
                  </a:lnTo>
                  <a:lnTo>
                    <a:pt x="558" y="463"/>
                  </a:lnTo>
                  <a:lnTo>
                    <a:pt x="557" y="464"/>
                  </a:lnTo>
                  <a:lnTo>
                    <a:pt x="556" y="464"/>
                  </a:lnTo>
                  <a:lnTo>
                    <a:pt x="554" y="463"/>
                  </a:lnTo>
                  <a:lnTo>
                    <a:pt x="554" y="462"/>
                  </a:lnTo>
                  <a:lnTo>
                    <a:pt x="554" y="460"/>
                  </a:lnTo>
                  <a:lnTo>
                    <a:pt x="553" y="458"/>
                  </a:lnTo>
                  <a:lnTo>
                    <a:pt x="553" y="461"/>
                  </a:lnTo>
                  <a:lnTo>
                    <a:pt x="551" y="461"/>
                  </a:lnTo>
                  <a:lnTo>
                    <a:pt x="549" y="460"/>
                  </a:lnTo>
                  <a:lnTo>
                    <a:pt x="549" y="461"/>
                  </a:lnTo>
                  <a:lnTo>
                    <a:pt x="547" y="461"/>
                  </a:lnTo>
                  <a:lnTo>
                    <a:pt x="547" y="458"/>
                  </a:lnTo>
                  <a:lnTo>
                    <a:pt x="545" y="455"/>
                  </a:lnTo>
                  <a:lnTo>
                    <a:pt x="543" y="454"/>
                  </a:lnTo>
                  <a:lnTo>
                    <a:pt x="542" y="452"/>
                  </a:lnTo>
                  <a:lnTo>
                    <a:pt x="543" y="455"/>
                  </a:lnTo>
                  <a:lnTo>
                    <a:pt x="543" y="456"/>
                  </a:lnTo>
                  <a:lnTo>
                    <a:pt x="545" y="458"/>
                  </a:lnTo>
                  <a:lnTo>
                    <a:pt x="543" y="458"/>
                  </a:lnTo>
                  <a:lnTo>
                    <a:pt x="543" y="460"/>
                  </a:lnTo>
                  <a:lnTo>
                    <a:pt x="542" y="458"/>
                  </a:lnTo>
                  <a:lnTo>
                    <a:pt x="540" y="457"/>
                  </a:lnTo>
                  <a:lnTo>
                    <a:pt x="540" y="458"/>
                  </a:lnTo>
                  <a:lnTo>
                    <a:pt x="540" y="460"/>
                  </a:lnTo>
                  <a:lnTo>
                    <a:pt x="539" y="458"/>
                  </a:lnTo>
                  <a:lnTo>
                    <a:pt x="537" y="456"/>
                  </a:lnTo>
                  <a:lnTo>
                    <a:pt x="536" y="456"/>
                  </a:lnTo>
                  <a:lnTo>
                    <a:pt x="535" y="456"/>
                  </a:lnTo>
                  <a:lnTo>
                    <a:pt x="536" y="458"/>
                  </a:lnTo>
                  <a:lnTo>
                    <a:pt x="537" y="458"/>
                  </a:lnTo>
                  <a:lnTo>
                    <a:pt x="537" y="460"/>
                  </a:lnTo>
                  <a:lnTo>
                    <a:pt x="536" y="460"/>
                  </a:lnTo>
                  <a:lnTo>
                    <a:pt x="534" y="460"/>
                  </a:lnTo>
                  <a:lnTo>
                    <a:pt x="534" y="461"/>
                  </a:lnTo>
                  <a:lnTo>
                    <a:pt x="533" y="461"/>
                  </a:lnTo>
                  <a:lnTo>
                    <a:pt x="533" y="462"/>
                  </a:lnTo>
                  <a:lnTo>
                    <a:pt x="533" y="463"/>
                  </a:lnTo>
                  <a:lnTo>
                    <a:pt x="531" y="464"/>
                  </a:lnTo>
                  <a:lnTo>
                    <a:pt x="531" y="466"/>
                  </a:lnTo>
                  <a:lnTo>
                    <a:pt x="530" y="464"/>
                  </a:lnTo>
                  <a:lnTo>
                    <a:pt x="530" y="462"/>
                  </a:lnTo>
                  <a:lnTo>
                    <a:pt x="529" y="464"/>
                  </a:lnTo>
                  <a:lnTo>
                    <a:pt x="528" y="462"/>
                  </a:lnTo>
                  <a:lnTo>
                    <a:pt x="528" y="460"/>
                  </a:lnTo>
                  <a:lnTo>
                    <a:pt x="527" y="460"/>
                  </a:lnTo>
                  <a:lnTo>
                    <a:pt x="525" y="461"/>
                  </a:lnTo>
                  <a:lnTo>
                    <a:pt x="525" y="463"/>
                  </a:lnTo>
                  <a:lnTo>
                    <a:pt x="525" y="466"/>
                  </a:lnTo>
                  <a:lnTo>
                    <a:pt x="527" y="467"/>
                  </a:lnTo>
                  <a:lnTo>
                    <a:pt x="528" y="468"/>
                  </a:lnTo>
                  <a:lnTo>
                    <a:pt x="530" y="469"/>
                  </a:lnTo>
                  <a:lnTo>
                    <a:pt x="529" y="469"/>
                  </a:lnTo>
                  <a:lnTo>
                    <a:pt x="529" y="472"/>
                  </a:lnTo>
                  <a:lnTo>
                    <a:pt x="531" y="473"/>
                  </a:lnTo>
                  <a:lnTo>
                    <a:pt x="531" y="474"/>
                  </a:lnTo>
                  <a:lnTo>
                    <a:pt x="530" y="474"/>
                  </a:lnTo>
                  <a:lnTo>
                    <a:pt x="530" y="477"/>
                  </a:lnTo>
                  <a:lnTo>
                    <a:pt x="528" y="477"/>
                  </a:lnTo>
                  <a:lnTo>
                    <a:pt x="527" y="475"/>
                  </a:lnTo>
                  <a:lnTo>
                    <a:pt x="527" y="477"/>
                  </a:lnTo>
                  <a:lnTo>
                    <a:pt x="527" y="478"/>
                  </a:lnTo>
                  <a:lnTo>
                    <a:pt x="525" y="478"/>
                  </a:lnTo>
                  <a:lnTo>
                    <a:pt x="524" y="479"/>
                  </a:lnTo>
                  <a:lnTo>
                    <a:pt x="523" y="479"/>
                  </a:lnTo>
                  <a:lnTo>
                    <a:pt x="524" y="481"/>
                  </a:lnTo>
                  <a:lnTo>
                    <a:pt x="524" y="483"/>
                  </a:lnTo>
                  <a:lnTo>
                    <a:pt x="527" y="484"/>
                  </a:lnTo>
                  <a:lnTo>
                    <a:pt x="527" y="485"/>
                  </a:lnTo>
                  <a:lnTo>
                    <a:pt x="525" y="486"/>
                  </a:lnTo>
                  <a:lnTo>
                    <a:pt x="525" y="487"/>
                  </a:lnTo>
                  <a:lnTo>
                    <a:pt x="523" y="487"/>
                  </a:lnTo>
                  <a:lnTo>
                    <a:pt x="522" y="489"/>
                  </a:lnTo>
                  <a:lnTo>
                    <a:pt x="521" y="489"/>
                  </a:lnTo>
                  <a:lnTo>
                    <a:pt x="521" y="487"/>
                  </a:lnTo>
                  <a:lnTo>
                    <a:pt x="519" y="487"/>
                  </a:lnTo>
                  <a:lnTo>
                    <a:pt x="518" y="486"/>
                  </a:lnTo>
                  <a:lnTo>
                    <a:pt x="517" y="486"/>
                  </a:lnTo>
                  <a:lnTo>
                    <a:pt x="517" y="483"/>
                  </a:lnTo>
                  <a:lnTo>
                    <a:pt x="517" y="481"/>
                  </a:lnTo>
                  <a:lnTo>
                    <a:pt x="517" y="480"/>
                  </a:lnTo>
                  <a:lnTo>
                    <a:pt x="516" y="478"/>
                  </a:lnTo>
                  <a:lnTo>
                    <a:pt x="517" y="474"/>
                  </a:lnTo>
                  <a:lnTo>
                    <a:pt x="517" y="472"/>
                  </a:lnTo>
                  <a:lnTo>
                    <a:pt x="516" y="473"/>
                  </a:lnTo>
                  <a:lnTo>
                    <a:pt x="515" y="472"/>
                  </a:lnTo>
                  <a:lnTo>
                    <a:pt x="515" y="471"/>
                  </a:lnTo>
                  <a:lnTo>
                    <a:pt x="512" y="468"/>
                  </a:lnTo>
                  <a:lnTo>
                    <a:pt x="511" y="464"/>
                  </a:lnTo>
                  <a:lnTo>
                    <a:pt x="510" y="466"/>
                  </a:lnTo>
                  <a:lnTo>
                    <a:pt x="511" y="468"/>
                  </a:lnTo>
                  <a:lnTo>
                    <a:pt x="509" y="466"/>
                  </a:lnTo>
                  <a:lnTo>
                    <a:pt x="507" y="464"/>
                  </a:lnTo>
                  <a:lnTo>
                    <a:pt x="506" y="464"/>
                  </a:lnTo>
                  <a:lnTo>
                    <a:pt x="505" y="466"/>
                  </a:lnTo>
                  <a:lnTo>
                    <a:pt x="504" y="466"/>
                  </a:lnTo>
                  <a:lnTo>
                    <a:pt x="504" y="463"/>
                  </a:lnTo>
                  <a:lnTo>
                    <a:pt x="503" y="462"/>
                  </a:lnTo>
                  <a:lnTo>
                    <a:pt x="500" y="461"/>
                  </a:lnTo>
                  <a:lnTo>
                    <a:pt x="499" y="461"/>
                  </a:lnTo>
                  <a:lnTo>
                    <a:pt x="498" y="460"/>
                  </a:lnTo>
                  <a:lnTo>
                    <a:pt x="497" y="460"/>
                  </a:lnTo>
                  <a:lnTo>
                    <a:pt x="494" y="460"/>
                  </a:lnTo>
                  <a:lnTo>
                    <a:pt x="493" y="457"/>
                  </a:lnTo>
                  <a:lnTo>
                    <a:pt x="492" y="457"/>
                  </a:lnTo>
                  <a:lnTo>
                    <a:pt x="492" y="458"/>
                  </a:lnTo>
                  <a:lnTo>
                    <a:pt x="490" y="461"/>
                  </a:lnTo>
                  <a:lnTo>
                    <a:pt x="489" y="462"/>
                  </a:lnTo>
                  <a:lnTo>
                    <a:pt x="488" y="462"/>
                  </a:lnTo>
                  <a:lnTo>
                    <a:pt x="487" y="461"/>
                  </a:lnTo>
                  <a:lnTo>
                    <a:pt x="484" y="460"/>
                  </a:lnTo>
                  <a:lnTo>
                    <a:pt x="483" y="461"/>
                  </a:lnTo>
                  <a:lnTo>
                    <a:pt x="482" y="461"/>
                  </a:lnTo>
                  <a:lnTo>
                    <a:pt x="478" y="461"/>
                  </a:lnTo>
                  <a:lnTo>
                    <a:pt x="477" y="461"/>
                  </a:lnTo>
                  <a:lnTo>
                    <a:pt x="475" y="461"/>
                  </a:lnTo>
                  <a:lnTo>
                    <a:pt x="472" y="461"/>
                  </a:lnTo>
                  <a:lnTo>
                    <a:pt x="471" y="460"/>
                  </a:lnTo>
                  <a:lnTo>
                    <a:pt x="469" y="460"/>
                  </a:lnTo>
                  <a:lnTo>
                    <a:pt x="468" y="455"/>
                  </a:lnTo>
                  <a:lnTo>
                    <a:pt x="468" y="454"/>
                  </a:lnTo>
                  <a:lnTo>
                    <a:pt x="469" y="451"/>
                  </a:lnTo>
                  <a:lnTo>
                    <a:pt x="468" y="450"/>
                  </a:lnTo>
                  <a:lnTo>
                    <a:pt x="469" y="448"/>
                  </a:lnTo>
                  <a:lnTo>
                    <a:pt x="468" y="448"/>
                  </a:lnTo>
                  <a:lnTo>
                    <a:pt x="469" y="445"/>
                  </a:lnTo>
                  <a:lnTo>
                    <a:pt x="470" y="443"/>
                  </a:lnTo>
                  <a:lnTo>
                    <a:pt x="470" y="442"/>
                  </a:lnTo>
                  <a:lnTo>
                    <a:pt x="468" y="440"/>
                  </a:lnTo>
                  <a:lnTo>
                    <a:pt x="468" y="439"/>
                  </a:lnTo>
                  <a:lnTo>
                    <a:pt x="468" y="437"/>
                  </a:lnTo>
                  <a:lnTo>
                    <a:pt x="470" y="434"/>
                  </a:lnTo>
                  <a:lnTo>
                    <a:pt x="471" y="433"/>
                  </a:lnTo>
                  <a:lnTo>
                    <a:pt x="472" y="432"/>
                  </a:lnTo>
                  <a:lnTo>
                    <a:pt x="474" y="432"/>
                  </a:lnTo>
                  <a:lnTo>
                    <a:pt x="474" y="431"/>
                  </a:lnTo>
                  <a:lnTo>
                    <a:pt x="471" y="430"/>
                  </a:lnTo>
                  <a:lnTo>
                    <a:pt x="470" y="430"/>
                  </a:lnTo>
                  <a:lnTo>
                    <a:pt x="470" y="431"/>
                  </a:lnTo>
                  <a:lnTo>
                    <a:pt x="469" y="431"/>
                  </a:lnTo>
                  <a:lnTo>
                    <a:pt x="466" y="431"/>
                  </a:lnTo>
                  <a:lnTo>
                    <a:pt x="465" y="432"/>
                  </a:lnTo>
                  <a:lnTo>
                    <a:pt x="465" y="431"/>
                  </a:lnTo>
                  <a:lnTo>
                    <a:pt x="464" y="431"/>
                  </a:lnTo>
                  <a:lnTo>
                    <a:pt x="462" y="432"/>
                  </a:lnTo>
                  <a:lnTo>
                    <a:pt x="462" y="433"/>
                  </a:lnTo>
                  <a:lnTo>
                    <a:pt x="462" y="434"/>
                  </a:lnTo>
                  <a:lnTo>
                    <a:pt x="460" y="434"/>
                  </a:lnTo>
                  <a:lnTo>
                    <a:pt x="462" y="436"/>
                  </a:lnTo>
                  <a:lnTo>
                    <a:pt x="463" y="436"/>
                  </a:lnTo>
                  <a:lnTo>
                    <a:pt x="463" y="438"/>
                  </a:lnTo>
                  <a:lnTo>
                    <a:pt x="464" y="439"/>
                  </a:lnTo>
                  <a:lnTo>
                    <a:pt x="462" y="439"/>
                  </a:lnTo>
                  <a:lnTo>
                    <a:pt x="460" y="439"/>
                  </a:lnTo>
                  <a:lnTo>
                    <a:pt x="460" y="440"/>
                  </a:lnTo>
                  <a:lnTo>
                    <a:pt x="460" y="443"/>
                  </a:lnTo>
                  <a:lnTo>
                    <a:pt x="457" y="440"/>
                  </a:lnTo>
                  <a:lnTo>
                    <a:pt x="457" y="444"/>
                  </a:lnTo>
                  <a:lnTo>
                    <a:pt x="456" y="446"/>
                  </a:lnTo>
                  <a:lnTo>
                    <a:pt x="457" y="449"/>
                  </a:lnTo>
                  <a:lnTo>
                    <a:pt x="457" y="451"/>
                  </a:lnTo>
                  <a:lnTo>
                    <a:pt x="459" y="450"/>
                  </a:lnTo>
                  <a:lnTo>
                    <a:pt x="458" y="449"/>
                  </a:lnTo>
                  <a:lnTo>
                    <a:pt x="459" y="449"/>
                  </a:lnTo>
                  <a:lnTo>
                    <a:pt x="460" y="451"/>
                  </a:lnTo>
                  <a:lnTo>
                    <a:pt x="462" y="451"/>
                  </a:lnTo>
                  <a:lnTo>
                    <a:pt x="463" y="452"/>
                  </a:lnTo>
                  <a:lnTo>
                    <a:pt x="460" y="454"/>
                  </a:lnTo>
                  <a:lnTo>
                    <a:pt x="460" y="455"/>
                  </a:lnTo>
                  <a:lnTo>
                    <a:pt x="458" y="454"/>
                  </a:lnTo>
                  <a:lnTo>
                    <a:pt x="457" y="455"/>
                  </a:lnTo>
                  <a:lnTo>
                    <a:pt x="458" y="456"/>
                  </a:lnTo>
                  <a:lnTo>
                    <a:pt x="459" y="457"/>
                  </a:lnTo>
                  <a:lnTo>
                    <a:pt x="459" y="460"/>
                  </a:lnTo>
                  <a:lnTo>
                    <a:pt x="458" y="461"/>
                  </a:lnTo>
                  <a:lnTo>
                    <a:pt x="460" y="461"/>
                  </a:lnTo>
                  <a:lnTo>
                    <a:pt x="463" y="463"/>
                  </a:lnTo>
                  <a:lnTo>
                    <a:pt x="464" y="464"/>
                  </a:lnTo>
                  <a:lnTo>
                    <a:pt x="462" y="466"/>
                  </a:lnTo>
                  <a:lnTo>
                    <a:pt x="460" y="464"/>
                  </a:lnTo>
                  <a:lnTo>
                    <a:pt x="459" y="466"/>
                  </a:lnTo>
                  <a:lnTo>
                    <a:pt x="458" y="466"/>
                  </a:lnTo>
                  <a:lnTo>
                    <a:pt x="456" y="466"/>
                  </a:lnTo>
                  <a:lnTo>
                    <a:pt x="456" y="464"/>
                  </a:lnTo>
                  <a:lnTo>
                    <a:pt x="453" y="466"/>
                  </a:lnTo>
                  <a:lnTo>
                    <a:pt x="452" y="466"/>
                  </a:lnTo>
                  <a:lnTo>
                    <a:pt x="451" y="466"/>
                  </a:lnTo>
                  <a:lnTo>
                    <a:pt x="450" y="464"/>
                  </a:lnTo>
                  <a:lnTo>
                    <a:pt x="451" y="462"/>
                  </a:lnTo>
                  <a:lnTo>
                    <a:pt x="450" y="462"/>
                  </a:lnTo>
                  <a:lnTo>
                    <a:pt x="448" y="462"/>
                  </a:lnTo>
                  <a:lnTo>
                    <a:pt x="447" y="462"/>
                  </a:lnTo>
                  <a:lnTo>
                    <a:pt x="445" y="462"/>
                  </a:lnTo>
                  <a:lnTo>
                    <a:pt x="444" y="463"/>
                  </a:lnTo>
                  <a:lnTo>
                    <a:pt x="442" y="463"/>
                  </a:lnTo>
                  <a:lnTo>
                    <a:pt x="444" y="464"/>
                  </a:lnTo>
                  <a:lnTo>
                    <a:pt x="445" y="467"/>
                  </a:lnTo>
                  <a:lnTo>
                    <a:pt x="447" y="471"/>
                  </a:lnTo>
                  <a:lnTo>
                    <a:pt x="446" y="471"/>
                  </a:lnTo>
                  <a:lnTo>
                    <a:pt x="444" y="469"/>
                  </a:lnTo>
                  <a:lnTo>
                    <a:pt x="444" y="472"/>
                  </a:lnTo>
                  <a:lnTo>
                    <a:pt x="442" y="472"/>
                  </a:lnTo>
                  <a:lnTo>
                    <a:pt x="441" y="471"/>
                  </a:lnTo>
                  <a:lnTo>
                    <a:pt x="439" y="469"/>
                  </a:lnTo>
                  <a:lnTo>
                    <a:pt x="439" y="472"/>
                  </a:lnTo>
                  <a:lnTo>
                    <a:pt x="439" y="474"/>
                  </a:lnTo>
                  <a:lnTo>
                    <a:pt x="438" y="474"/>
                  </a:lnTo>
                  <a:lnTo>
                    <a:pt x="435" y="474"/>
                  </a:lnTo>
                  <a:lnTo>
                    <a:pt x="434" y="474"/>
                  </a:lnTo>
                  <a:lnTo>
                    <a:pt x="433" y="472"/>
                  </a:lnTo>
                  <a:lnTo>
                    <a:pt x="430" y="471"/>
                  </a:lnTo>
                  <a:lnTo>
                    <a:pt x="430" y="469"/>
                  </a:lnTo>
                  <a:lnTo>
                    <a:pt x="428" y="468"/>
                  </a:lnTo>
                  <a:lnTo>
                    <a:pt x="427" y="467"/>
                  </a:lnTo>
                  <a:lnTo>
                    <a:pt x="425" y="467"/>
                  </a:lnTo>
                  <a:lnTo>
                    <a:pt x="424" y="466"/>
                  </a:lnTo>
                  <a:lnTo>
                    <a:pt x="423" y="464"/>
                  </a:lnTo>
                  <a:lnTo>
                    <a:pt x="423" y="463"/>
                  </a:lnTo>
                  <a:lnTo>
                    <a:pt x="422" y="461"/>
                  </a:lnTo>
                  <a:lnTo>
                    <a:pt x="422" y="458"/>
                  </a:lnTo>
                  <a:lnTo>
                    <a:pt x="423" y="457"/>
                  </a:lnTo>
                  <a:lnTo>
                    <a:pt x="424" y="456"/>
                  </a:lnTo>
                  <a:lnTo>
                    <a:pt x="424" y="455"/>
                  </a:lnTo>
                  <a:lnTo>
                    <a:pt x="425" y="452"/>
                  </a:lnTo>
                  <a:lnTo>
                    <a:pt x="424" y="452"/>
                  </a:lnTo>
                  <a:lnTo>
                    <a:pt x="423" y="452"/>
                  </a:lnTo>
                  <a:lnTo>
                    <a:pt x="422" y="451"/>
                  </a:lnTo>
                  <a:lnTo>
                    <a:pt x="421" y="451"/>
                  </a:lnTo>
                  <a:lnTo>
                    <a:pt x="419" y="451"/>
                  </a:lnTo>
                  <a:lnTo>
                    <a:pt x="418" y="450"/>
                  </a:lnTo>
                  <a:lnTo>
                    <a:pt x="416" y="451"/>
                  </a:lnTo>
                  <a:lnTo>
                    <a:pt x="415" y="451"/>
                  </a:lnTo>
                  <a:lnTo>
                    <a:pt x="416" y="454"/>
                  </a:lnTo>
                  <a:lnTo>
                    <a:pt x="417" y="456"/>
                  </a:lnTo>
                  <a:lnTo>
                    <a:pt x="419" y="456"/>
                  </a:lnTo>
                  <a:lnTo>
                    <a:pt x="419" y="458"/>
                  </a:lnTo>
                  <a:lnTo>
                    <a:pt x="419" y="461"/>
                  </a:lnTo>
                  <a:lnTo>
                    <a:pt x="421" y="463"/>
                  </a:lnTo>
                  <a:lnTo>
                    <a:pt x="422" y="464"/>
                  </a:lnTo>
                  <a:lnTo>
                    <a:pt x="423" y="467"/>
                  </a:lnTo>
                  <a:lnTo>
                    <a:pt x="423" y="469"/>
                  </a:lnTo>
                  <a:lnTo>
                    <a:pt x="424" y="472"/>
                  </a:lnTo>
                  <a:lnTo>
                    <a:pt x="424" y="473"/>
                  </a:lnTo>
                  <a:lnTo>
                    <a:pt x="427" y="474"/>
                  </a:lnTo>
                  <a:lnTo>
                    <a:pt x="425" y="478"/>
                  </a:lnTo>
                  <a:lnTo>
                    <a:pt x="427" y="480"/>
                  </a:lnTo>
                  <a:lnTo>
                    <a:pt x="428" y="483"/>
                  </a:lnTo>
                  <a:lnTo>
                    <a:pt x="430" y="484"/>
                  </a:lnTo>
                  <a:lnTo>
                    <a:pt x="431" y="484"/>
                  </a:lnTo>
                  <a:lnTo>
                    <a:pt x="435" y="486"/>
                  </a:lnTo>
                  <a:lnTo>
                    <a:pt x="435" y="489"/>
                  </a:lnTo>
                  <a:lnTo>
                    <a:pt x="434" y="490"/>
                  </a:lnTo>
                  <a:lnTo>
                    <a:pt x="433" y="489"/>
                  </a:lnTo>
                  <a:lnTo>
                    <a:pt x="431" y="489"/>
                  </a:lnTo>
                  <a:lnTo>
                    <a:pt x="429" y="490"/>
                  </a:lnTo>
                  <a:lnTo>
                    <a:pt x="428" y="490"/>
                  </a:lnTo>
                  <a:lnTo>
                    <a:pt x="425" y="490"/>
                  </a:lnTo>
                  <a:lnTo>
                    <a:pt x="424" y="487"/>
                  </a:lnTo>
                  <a:lnTo>
                    <a:pt x="423" y="487"/>
                  </a:lnTo>
                  <a:lnTo>
                    <a:pt x="422" y="487"/>
                  </a:lnTo>
                  <a:lnTo>
                    <a:pt x="421" y="487"/>
                  </a:lnTo>
                  <a:lnTo>
                    <a:pt x="421" y="486"/>
                  </a:lnTo>
                  <a:lnTo>
                    <a:pt x="419" y="490"/>
                  </a:lnTo>
                  <a:lnTo>
                    <a:pt x="422" y="492"/>
                  </a:lnTo>
                  <a:lnTo>
                    <a:pt x="423" y="492"/>
                  </a:lnTo>
                  <a:lnTo>
                    <a:pt x="424" y="495"/>
                  </a:lnTo>
                  <a:lnTo>
                    <a:pt x="424" y="497"/>
                  </a:lnTo>
                  <a:lnTo>
                    <a:pt x="422" y="497"/>
                  </a:lnTo>
                  <a:lnTo>
                    <a:pt x="421" y="497"/>
                  </a:lnTo>
                  <a:lnTo>
                    <a:pt x="419" y="495"/>
                  </a:lnTo>
                  <a:lnTo>
                    <a:pt x="419" y="496"/>
                  </a:lnTo>
                  <a:lnTo>
                    <a:pt x="421" y="498"/>
                  </a:lnTo>
                  <a:lnTo>
                    <a:pt x="419" y="499"/>
                  </a:lnTo>
                  <a:lnTo>
                    <a:pt x="419" y="502"/>
                  </a:lnTo>
                  <a:lnTo>
                    <a:pt x="423" y="504"/>
                  </a:lnTo>
                  <a:lnTo>
                    <a:pt x="427" y="505"/>
                  </a:lnTo>
                  <a:lnTo>
                    <a:pt x="428" y="507"/>
                  </a:lnTo>
                  <a:lnTo>
                    <a:pt x="431" y="507"/>
                  </a:lnTo>
                  <a:lnTo>
                    <a:pt x="434" y="508"/>
                  </a:lnTo>
                  <a:lnTo>
                    <a:pt x="435" y="508"/>
                  </a:lnTo>
                  <a:lnTo>
                    <a:pt x="436" y="509"/>
                  </a:lnTo>
                  <a:lnTo>
                    <a:pt x="438" y="510"/>
                  </a:lnTo>
                  <a:lnTo>
                    <a:pt x="439" y="511"/>
                  </a:lnTo>
                  <a:lnTo>
                    <a:pt x="438" y="513"/>
                  </a:lnTo>
                  <a:lnTo>
                    <a:pt x="436" y="515"/>
                  </a:lnTo>
                  <a:lnTo>
                    <a:pt x="435" y="515"/>
                  </a:lnTo>
                  <a:lnTo>
                    <a:pt x="436" y="516"/>
                  </a:lnTo>
                  <a:lnTo>
                    <a:pt x="434" y="519"/>
                  </a:lnTo>
                  <a:lnTo>
                    <a:pt x="434" y="520"/>
                  </a:lnTo>
                  <a:lnTo>
                    <a:pt x="431" y="521"/>
                  </a:lnTo>
                  <a:lnTo>
                    <a:pt x="430" y="521"/>
                  </a:lnTo>
                  <a:lnTo>
                    <a:pt x="428" y="522"/>
                  </a:lnTo>
                  <a:lnTo>
                    <a:pt x="427" y="522"/>
                  </a:lnTo>
                  <a:lnTo>
                    <a:pt x="425" y="522"/>
                  </a:lnTo>
                  <a:lnTo>
                    <a:pt x="423" y="522"/>
                  </a:lnTo>
                  <a:lnTo>
                    <a:pt x="421" y="522"/>
                  </a:lnTo>
                  <a:lnTo>
                    <a:pt x="419" y="525"/>
                  </a:lnTo>
                  <a:lnTo>
                    <a:pt x="422" y="527"/>
                  </a:lnTo>
                  <a:lnTo>
                    <a:pt x="423" y="529"/>
                  </a:lnTo>
                  <a:lnTo>
                    <a:pt x="424" y="531"/>
                  </a:lnTo>
                  <a:lnTo>
                    <a:pt x="427" y="534"/>
                  </a:lnTo>
                  <a:lnTo>
                    <a:pt x="429" y="538"/>
                  </a:lnTo>
                  <a:lnTo>
                    <a:pt x="427" y="540"/>
                  </a:lnTo>
                  <a:lnTo>
                    <a:pt x="424" y="539"/>
                  </a:lnTo>
                  <a:lnTo>
                    <a:pt x="422" y="539"/>
                  </a:lnTo>
                  <a:lnTo>
                    <a:pt x="422" y="535"/>
                  </a:lnTo>
                  <a:lnTo>
                    <a:pt x="419" y="535"/>
                  </a:lnTo>
                  <a:lnTo>
                    <a:pt x="417" y="534"/>
                  </a:lnTo>
                  <a:lnTo>
                    <a:pt x="418" y="534"/>
                  </a:lnTo>
                  <a:lnTo>
                    <a:pt x="417" y="534"/>
                  </a:lnTo>
                  <a:lnTo>
                    <a:pt x="413" y="533"/>
                  </a:lnTo>
                  <a:lnTo>
                    <a:pt x="412" y="532"/>
                  </a:lnTo>
                  <a:lnTo>
                    <a:pt x="411" y="531"/>
                  </a:lnTo>
                  <a:lnTo>
                    <a:pt x="409" y="529"/>
                  </a:lnTo>
                  <a:lnTo>
                    <a:pt x="409" y="528"/>
                  </a:lnTo>
                  <a:lnTo>
                    <a:pt x="406" y="528"/>
                  </a:lnTo>
                  <a:lnTo>
                    <a:pt x="405" y="527"/>
                  </a:lnTo>
                  <a:lnTo>
                    <a:pt x="404" y="527"/>
                  </a:lnTo>
                  <a:lnTo>
                    <a:pt x="401" y="528"/>
                  </a:lnTo>
                  <a:lnTo>
                    <a:pt x="397" y="527"/>
                  </a:lnTo>
                  <a:lnTo>
                    <a:pt x="394" y="526"/>
                  </a:lnTo>
                  <a:lnTo>
                    <a:pt x="393" y="523"/>
                  </a:lnTo>
                  <a:lnTo>
                    <a:pt x="392" y="522"/>
                  </a:lnTo>
                  <a:lnTo>
                    <a:pt x="393" y="521"/>
                  </a:lnTo>
                  <a:lnTo>
                    <a:pt x="395" y="517"/>
                  </a:lnTo>
                  <a:lnTo>
                    <a:pt x="395" y="515"/>
                  </a:lnTo>
                  <a:lnTo>
                    <a:pt x="398" y="514"/>
                  </a:lnTo>
                  <a:lnTo>
                    <a:pt x="401" y="514"/>
                  </a:lnTo>
                  <a:lnTo>
                    <a:pt x="403" y="511"/>
                  </a:lnTo>
                  <a:lnTo>
                    <a:pt x="404" y="510"/>
                  </a:lnTo>
                  <a:lnTo>
                    <a:pt x="403" y="509"/>
                  </a:lnTo>
                  <a:lnTo>
                    <a:pt x="401" y="508"/>
                  </a:lnTo>
                  <a:lnTo>
                    <a:pt x="400" y="505"/>
                  </a:lnTo>
                  <a:lnTo>
                    <a:pt x="399" y="504"/>
                  </a:lnTo>
                  <a:lnTo>
                    <a:pt x="398" y="503"/>
                  </a:lnTo>
                  <a:lnTo>
                    <a:pt x="397" y="502"/>
                  </a:lnTo>
                  <a:lnTo>
                    <a:pt x="394" y="503"/>
                  </a:lnTo>
                  <a:lnTo>
                    <a:pt x="394" y="504"/>
                  </a:lnTo>
                  <a:lnTo>
                    <a:pt x="393" y="503"/>
                  </a:lnTo>
                  <a:lnTo>
                    <a:pt x="391" y="501"/>
                  </a:lnTo>
                  <a:lnTo>
                    <a:pt x="389" y="501"/>
                  </a:lnTo>
                  <a:lnTo>
                    <a:pt x="388" y="497"/>
                  </a:lnTo>
                  <a:lnTo>
                    <a:pt x="387" y="496"/>
                  </a:lnTo>
                  <a:lnTo>
                    <a:pt x="385" y="497"/>
                  </a:lnTo>
                  <a:lnTo>
                    <a:pt x="385" y="499"/>
                  </a:lnTo>
                  <a:lnTo>
                    <a:pt x="385" y="502"/>
                  </a:lnTo>
                  <a:lnTo>
                    <a:pt x="383" y="501"/>
                  </a:lnTo>
                  <a:lnTo>
                    <a:pt x="382" y="502"/>
                  </a:lnTo>
                  <a:lnTo>
                    <a:pt x="380" y="503"/>
                  </a:lnTo>
                  <a:lnTo>
                    <a:pt x="377" y="501"/>
                  </a:lnTo>
                  <a:lnTo>
                    <a:pt x="376" y="502"/>
                  </a:lnTo>
                  <a:lnTo>
                    <a:pt x="375" y="503"/>
                  </a:lnTo>
                  <a:lnTo>
                    <a:pt x="375" y="504"/>
                  </a:lnTo>
                  <a:lnTo>
                    <a:pt x="372" y="507"/>
                  </a:lnTo>
                  <a:lnTo>
                    <a:pt x="371" y="508"/>
                  </a:lnTo>
                  <a:lnTo>
                    <a:pt x="372" y="509"/>
                  </a:lnTo>
                  <a:lnTo>
                    <a:pt x="372" y="511"/>
                  </a:lnTo>
                  <a:lnTo>
                    <a:pt x="372" y="514"/>
                  </a:lnTo>
                  <a:lnTo>
                    <a:pt x="371" y="514"/>
                  </a:lnTo>
                  <a:lnTo>
                    <a:pt x="369" y="514"/>
                  </a:lnTo>
                  <a:lnTo>
                    <a:pt x="366" y="513"/>
                  </a:lnTo>
                  <a:lnTo>
                    <a:pt x="364" y="513"/>
                  </a:lnTo>
                  <a:lnTo>
                    <a:pt x="364" y="514"/>
                  </a:lnTo>
                  <a:lnTo>
                    <a:pt x="364" y="516"/>
                  </a:lnTo>
                  <a:lnTo>
                    <a:pt x="364" y="519"/>
                  </a:lnTo>
                  <a:lnTo>
                    <a:pt x="366" y="520"/>
                  </a:lnTo>
                  <a:lnTo>
                    <a:pt x="369" y="519"/>
                  </a:lnTo>
                  <a:lnTo>
                    <a:pt x="370" y="521"/>
                  </a:lnTo>
                  <a:lnTo>
                    <a:pt x="372" y="521"/>
                  </a:lnTo>
                  <a:lnTo>
                    <a:pt x="375" y="522"/>
                  </a:lnTo>
                  <a:lnTo>
                    <a:pt x="377" y="523"/>
                  </a:lnTo>
                  <a:lnTo>
                    <a:pt x="380" y="525"/>
                  </a:lnTo>
                  <a:lnTo>
                    <a:pt x="382" y="525"/>
                  </a:lnTo>
                  <a:lnTo>
                    <a:pt x="386" y="526"/>
                  </a:lnTo>
                  <a:lnTo>
                    <a:pt x="386" y="528"/>
                  </a:lnTo>
                  <a:lnTo>
                    <a:pt x="388" y="529"/>
                  </a:lnTo>
                  <a:lnTo>
                    <a:pt x="391" y="531"/>
                  </a:lnTo>
                  <a:lnTo>
                    <a:pt x="393" y="531"/>
                  </a:lnTo>
                  <a:lnTo>
                    <a:pt x="397" y="532"/>
                  </a:lnTo>
                  <a:lnTo>
                    <a:pt x="398" y="531"/>
                  </a:lnTo>
                  <a:lnTo>
                    <a:pt x="401" y="534"/>
                  </a:lnTo>
                  <a:lnTo>
                    <a:pt x="403" y="535"/>
                  </a:lnTo>
                  <a:lnTo>
                    <a:pt x="404" y="537"/>
                  </a:lnTo>
                  <a:lnTo>
                    <a:pt x="403" y="540"/>
                  </a:lnTo>
                  <a:lnTo>
                    <a:pt x="401" y="543"/>
                  </a:lnTo>
                  <a:lnTo>
                    <a:pt x="401" y="545"/>
                  </a:lnTo>
                  <a:lnTo>
                    <a:pt x="401" y="544"/>
                  </a:lnTo>
                  <a:lnTo>
                    <a:pt x="401" y="545"/>
                  </a:lnTo>
                  <a:lnTo>
                    <a:pt x="400" y="549"/>
                  </a:lnTo>
                  <a:lnTo>
                    <a:pt x="400" y="550"/>
                  </a:lnTo>
                  <a:lnTo>
                    <a:pt x="399" y="552"/>
                  </a:lnTo>
                  <a:lnTo>
                    <a:pt x="397" y="555"/>
                  </a:lnTo>
                  <a:lnTo>
                    <a:pt x="393" y="556"/>
                  </a:lnTo>
                  <a:lnTo>
                    <a:pt x="392" y="556"/>
                  </a:lnTo>
                  <a:lnTo>
                    <a:pt x="391" y="562"/>
                  </a:lnTo>
                  <a:lnTo>
                    <a:pt x="388" y="563"/>
                  </a:lnTo>
                  <a:lnTo>
                    <a:pt x="386" y="562"/>
                  </a:lnTo>
                  <a:lnTo>
                    <a:pt x="383" y="562"/>
                  </a:lnTo>
                  <a:lnTo>
                    <a:pt x="382" y="559"/>
                  </a:lnTo>
                  <a:lnTo>
                    <a:pt x="379" y="558"/>
                  </a:lnTo>
                  <a:lnTo>
                    <a:pt x="379" y="556"/>
                  </a:lnTo>
                  <a:lnTo>
                    <a:pt x="379" y="555"/>
                  </a:lnTo>
                  <a:lnTo>
                    <a:pt x="377" y="551"/>
                  </a:lnTo>
                  <a:lnTo>
                    <a:pt x="379" y="550"/>
                  </a:lnTo>
                  <a:lnTo>
                    <a:pt x="377" y="549"/>
                  </a:lnTo>
                  <a:lnTo>
                    <a:pt x="375" y="549"/>
                  </a:lnTo>
                  <a:lnTo>
                    <a:pt x="374" y="547"/>
                  </a:lnTo>
                  <a:lnTo>
                    <a:pt x="372" y="545"/>
                  </a:lnTo>
                  <a:lnTo>
                    <a:pt x="371" y="544"/>
                  </a:lnTo>
                  <a:lnTo>
                    <a:pt x="371" y="547"/>
                  </a:lnTo>
                  <a:lnTo>
                    <a:pt x="370" y="549"/>
                  </a:lnTo>
                  <a:lnTo>
                    <a:pt x="370" y="550"/>
                  </a:lnTo>
                  <a:lnTo>
                    <a:pt x="368" y="549"/>
                  </a:lnTo>
                  <a:lnTo>
                    <a:pt x="366" y="547"/>
                  </a:lnTo>
                  <a:lnTo>
                    <a:pt x="365" y="549"/>
                  </a:lnTo>
                  <a:lnTo>
                    <a:pt x="364" y="550"/>
                  </a:lnTo>
                  <a:lnTo>
                    <a:pt x="363" y="551"/>
                  </a:lnTo>
                  <a:lnTo>
                    <a:pt x="360" y="551"/>
                  </a:lnTo>
                  <a:lnTo>
                    <a:pt x="359" y="550"/>
                  </a:lnTo>
                  <a:lnTo>
                    <a:pt x="358" y="549"/>
                  </a:lnTo>
                  <a:lnTo>
                    <a:pt x="356" y="549"/>
                  </a:lnTo>
                  <a:lnTo>
                    <a:pt x="354" y="549"/>
                  </a:lnTo>
                  <a:lnTo>
                    <a:pt x="352" y="550"/>
                  </a:lnTo>
                  <a:lnTo>
                    <a:pt x="351" y="552"/>
                  </a:lnTo>
                  <a:lnTo>
                    <a:pt x="348" y="552"/>
                  </a:lnTo>
                  <a:lnTo>
                    <a:pt x="347" y="556"/>
                  </a:lnTo>
                  <a:lnTo>
                    <a:pt x="348" y="558"/>
                  </a:lnTo>
                  <a:lnTo>
                    <a:pt x="350" y="559"/>
                  </a:lnTo>
                  <a:lnTo>
                    <a:pt x="352" y="559"/>
                  </a:lnTo>
                  <a:lnTo>
                    <a:pt x="356" y="559"/>
                  </a:lnTo>
                  <a:lnTo>
                    <a:pt x="356" y="562"/>
                  </a:lnTo>
                  <a:lnTo>
                    <a:pt x="354" y="563"/>
                  </a:lnTo>
                  <a:lnTo>
                    <a:pt x="352" y="563"/>
                  </a:lnTo>
                  <a:lnTo>
                    <a:pt x="351" y="562"/>
                  </a:lnTo>
                  <a:lnTo>
                    <a:pt x="348" y="563"/>
                  </a:lnTo>
                  <a:lnTo>
                    <a:pt x="346" y="563"/>
                  </a:lnTo>
                  <a:lnTo>
                    <a:pt x="342" y="559"/>
                  </a:lnTo>
                  <a:lnTo>
                    <a:pt x="340" y="559"/>
                  </a:lnTo>
                  <a:lnTo>
                    <a:pt x="336" y="559"/>
                  </a:lnTo>
                  <a:lnTo>
                    <a:pt x="335" y="558"/>
                  </a:lnTo>
                  <a:lnTo>
                    <a:pt x="333" y="559"/>
                  </a:lnTo>
                  <a:lnTo>
                    <a:pt x="330" y="558"/>
                  </a:lnTo>
                  <a:lnTo>
                    <a:pt x="330" y="557"/>
                  </a:lnTo>
                  <a:lnTo>
                    <a:pt x="330" y="556"/>
                  </a:lnTo>
                  <a:lnTo>
                    <a:pt x="332" y="555"/>
                  </a:lnTo>
                  <a:lnTo>
                    <a:pt x="332" y="553"/>
                  </a:lnTo>
                  <a:lnTo>
                    <a:pt x="329" y="553"/>
                  </a:lnTo>
                  <a:lnTo>
                    <a:pt x="327" y="553"/>
                  </a:lnTo>
                  <a:lnTo>
                    <a:pt x="326" y="555"/>
                  </a:lnTo>
                  <a:lnTo>
                    <a:pt x="323" y="555"/>
                  </a:lnTo>
                  <a:lnTo>
                    <a:pt x="323" y="550"/>
                  </a:lnTo>
                  <a:lnTo>
                    <a:pt x="323" y="547"/>
                  </a:lnTo>
                  <a:lnTo>
                    <a:pt x="323" y="546"/>
                  </a:lnTo>
                  <a:lnTo>
                    <a:pt x="318" y="541"/>
                  </a:lnTo>
                  <a:lnTo>
                    <a:pt x="320" y="541"/>
                  </a:lnTo>
                  <a:lnTo>
                    <a:pt x="318" y="540"/>
                  </a:lnTo>
                  <a:lnTo>
                    <a:pt x="314" y="539"/>
                  </a:lnTo>
                  <a:lnTo>
                    <a:pt x="311" y="538"/>
                  </a:lnTo>
                  <a:lnTo>
                    <a:pt x="309" y="538"/>
                  </a:lnTo>
                  <a:lnTo>
                    <a:pt x="309" y="537"/>
                  </a:lnTo>
                  <a:lnTo>
                    <a:pt x="310" y="534"/>
                  </a:lnTo>
                  <a:lnTo>
                    <a:pt x="312" y="533"/>
                  </a:lnTo>
                  <a:lnTo>
                    <a:pt x="314" y="532"/>
                  </a:lnTo>
                  <a:lnTo>
                    <a:pt x="318" y="532"/>
                  </a:lnTo>
                  <a:lnTo>
                    <a:pt x="320" y="529"/>
                  </a:lnTo>
                  <a:lnTo>
                    <a:pt x="323" y="528"/>
                  </a:lnTo>
                  <a:lnTo>
                    <a:pt x="324" y="527"/>
                  </a:lnTo>
                  <a:lnTo>
                    <a:pt x="327" y="526"/>
                  </a:lnTo>
                  <a:lnTo>
                    <a:pt x="326" y="522"/>
                  </a:lnTo>
                  <a:lnTo>
                    <a:pt x="324" y="523"/>
                  </a:lnTo>
                  <a:lnTo>
                    <a:pt x="322" y="525"/>
                  </a:lnTo>
                  <a:lnTo>
                    <a:pt x="322" y="523"/>
                  </a:lnTo>
                  <a:lnTo>
                    <a:pt x="321" y="525"/>
                  </a:lnTo>
                  <a:lnTo>
                    <a:pt x="320" y="527"/>
                  </a:lnTo>
                  <a:lnTo>
                    <a:pt x="318" y="527"/>
                  </a:lnTo>
                  <a:lnTo>
                    <a:pt x="317" y="526"/>
                  </a:lnTo>
                  <a:lnTo>
                    <a:pt x="316" y="526"/>
                  </a:lnTo>
                  <a:lnTo>
                    <a:pt x="315" y="526"/>
                  </a:lnTo>
                  <a:lnTo>
                    <a:pt x="314" y="523"/>
                  </a:lnTo>
                  <a:lnTo>
                    <a:pt x="315" y="521"/>
                  </a:lnTo>
                  <a:lnTo>
                    <a:pt x="311" y="523"/>
                  </a:lnTo>
                  <a:lnTo>
                    <a:pt x="306" y="528"/>
                  </a:lnTo>
                  <a:lnTo>
                    <a:pt x="301" y="555"/>
                  </a:lnTo>
                  <a:lnTo>
                    <a:pt x="300" y="565"/>
                  </a:lnTo>
                  <a:lnTo>
                    <a:pt x="301" y="570"/>
                  </a:lnTo>
                  <a:lnTo>
                    <a:pt x="304" y="576"/>
                  </a:lnTo>
                  <a:lnTo>
                    <a:pt x="305" y="582"/>
                  </a:lnTo>
                  <a:lnTo>
                    <a:pt x="298" y="603"/>
                  </a:lnTo>
                  <a:lnTo>
                    <a:pt x="297" y="621"/>
                  </a:lnTo>
                  <a:lnTo>
                    <a:pt x="300" y="627"/>
                  </a:lnTo>
                  <a:lnTo>
                    <a:pt x="300" y="630"/>
                  </a:lnTo>
                  <a:lnTo>
                    <a:pt x="294" y="641"/>
                  </a:lnTo>
                  <a:lnTo>
                    <a:pt x="291" y="695"/>
                  </a:lnTo>
                  <a:lnTo>
                    <a:pt x="293" y="73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8" name="Freeform 81"/>
            <p:cNvSpPr>
              <a:spLocks noEditPoints="1"/>
            </p:cNvSpPr>
            <p:nvPr userDrawn="1"/>
          </p:nvSpPr>
          <p:spPr bwMode="auto">
            <a:xfrm>
              <a:off x="8018463" y="6276976"/>
              <a:ext cx="133350" cy="246063"/>
            </a:xfrm>
            <a:custGeom>
              <a:avLst/>
              <a:gdLst/>
              <a:ahLst/>
              <a:cxnLst>
                <a:cxn ang="0">
                  <a:pos x="175" y="755"/>
                </a:cxn>
                <a:cxn ang="0">
                  <a:pos x="191" y="537"/>
                </a:cxn>
                <a:cxn ang="0">
                  <a:pos x="218" y="537"/>
                </a:cxn>
                <a:cxn ang="0">
                  <a:pos x="379" y="319"/>
                </a:cxn>
                <a:cxn ang="0">
                  <a:pos x="423" y="362"/>
                </a:cxn>
                <a:cxn ang="0">
                  <a:pos x="413" y="369"/>
                </a:cxn>
                <a:cxn ang="0">
                  <a:pos x="356" y="350"/>
                </a:cxn>
                <a:cxn ang="0">
                  <a:pos x="255" y="289"/>
                </a:cxn>
                <a:cxn ang="0">
                  <a:pos x="229" y="300"/>
                </a:cxn>
                <a:cxn ang="0">
                  <a:pos x="242" y="527"/>
                </a:cxn>
                <a:cxn ang="0">
                  <a:pos x="254" y="755"/>
                </a:cxn>
                <a:cxn ang="0">
                  <a:pos x="161" y="777"/>
                </a:cxn>
                <a:cxn ang="0">
                  <a:pos x="172" y="742"/>
                </a:cxn>
                <a:cxn ang="0">
                  <a:pos x="191" y="527"/>
                </a:cxn>
                <a:cxn ang="0">
                  <a:pos x="178" y="278"/>
                </a:cxn>
                <a:cxn ang="0">
                  <a:pos x="111" y="325"/>
                </a:cxn>
                <a:cxn ang="0">
                  <a:pos x="12" y="367"/>
                </a:cxn>
                <a:cxn ang="0">
                  <a:pos x="0" y="359"/>
                </a:cxn>
                <a:cxn ang="0">
                  <a:pos x="52" y="310"/>
                </a:cxn>
                <a:cxn ang="0">
                  <a:pos x="163" y="252"/>
                </a:cxn>
                <a:cxn ang="0">
                  <a:pos x="193" y="224"/>
                </a:cxn>
                <a:cxn ang="0">
                  <a:pos x="193" y="163"/>
                </a:cxn>
                <a:cxn ang="0">
                  <a:pos x="197" y="35"/>
                </a:cxn>
                <a:cxn ang="0">
                  <a:pos x="214" y="0"/>
                </a:cxn>
                <a:cxn ang="0">
                  <a:pos x="229" y="35"/>
                </a:cxn>
                <a:cxn ang="0">
                  <a:pos x="234" y="163"/>
                </a:cxn>
                <a:cxn ang="0">
                  <a:pos x="235" y="224"/>
                </a:cxn>
                <a:cxn ang="0">
                  <a:pos x="243" y="248"/>
                </a:cxn>
                <a:cxn ang="0">
                  <a:pos x="313" y="277"/>
                </a:cxn>
                <a:cxn ang="0">
                  <a:pos x="270" y="265"/>
                </a:cxn>
                <a:cxn ang="0">
                  <a:pos x="262" y="270"/>
                </a:cxn>
                <a:cxn ang="0">
                  <a:pos x="307" y="302"/>
                </a:cxn>
                <a:cxn ang="0">
                  <a:pos x="378" y="339"/>
                </a:cxn>
                <a:cxn ang="0">
                  <a:pos x="386" y="336"/>
                </a:cxn>
                <a:cxn ang="0">
                  <a:pos x="365" y="316"/>
                </a:cxn>
                <a:cxn ang="0">
                  <a:pos x="282" y="270"/>
                </a:cxn>
                <a:cxn ang="0">
                  <a:pos x="54" y="335"/>
                </a:cxn>
                <a:cxn ang="0">
                  <a:pos x="142" y="283"/>
                </a:cxn>
                <a:cxn ang="0">
                  <a:pos x="158" y="267"/>
                </a:cxn>
                <a:cxn ang="0">
                  <a:pos x="114" y="282"/>
                </a:cxn>
                <a:cxn ang="0">
                  <a:pos x="48" y="324"/>
                </a:cxn>
                <a:cxn ang="0">
                  <a:pos x="32" y="339"/>
                </a:cxn>
                <a:cxn ang="0">
                  <a:pos x="207" y="256"/>
                </a:cxn>
                <a:cxn ang="0">
                  <a:pos x="222" y="247"/>
                </a:cxn>
                <a:cxn ang="0">
                  <a:pos x="218" y="230"/>
                </a:cxn>
                <a:cxn ang="0">
                  <a:pos x="201" y="226"/>
                </a:cxn>
                <a:cxn ang="0">
                  <a:pos x="193" y="241"/>
                </a:cxn>
                <a:cxn ang="0">
                  <a:pos x="197" y="121"/>
                </a:cxn>
                <a:cxn ang="0">
                  <a:pos x="207" y="194"/>
                </a:cxn>
                <a:cxn ang="0">
                  <a:pos x="215" y="121"/>
                </a:cxn>
                <a:cxn ang="0">
                  <a:pos x="207" y="47"/>
                </a:cxn>
                <a:cxn ang="0">
                  <a:pos x="199" y="93"/>
                </a:cxn>
              </a:cxnLst>
              <a:rect l="0" t="0" r="r" b="b"/>
              <a:pathLst>
                <a:path w="423" h="777">
                  <a:moveTo>
                    <a:pt x="203" y="746"/>
                  </a:moveTo>
                  <a:lnTo>
                    <a:pt x="175" y="744"/>
                  </a:lnTo>
                  <a:lnTo>
                    <a:pt x="175" y="755"/>
                  </a:lnTo>
                  <a:lnTo>
                    <a:pt x="203" y="755"/>
                  </a:lnTo>
                  <a:lnTo>
                    <a:pt x="203" y="746"/>
                  </a:lnTo>
                  <a:close/>
                  <a:moveTo>
                    <a:pt x="191" y="537"/>
                  </a:moveTo>
                  <a:lnTo>
                    <a:pt x="191" y="741"/>
                  </a:lnTo>
                  <a:lnTo>
                    <a:pt x="217" y="741"/>
                  </a:lnTo>
                  <a:lnTo>
                    <a:pt x="218" y="537"/>
                  </a:lnTo>
                  <a:lnTo>
                    <a:pt x="191" y="537"/>
                  </a:lnTo>
                  <a:close/>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moveTo>
                    <a:pt x="282" y="270"/>
                  </a:moveTo>
                  <a:lnTo>
                    <a:pt x="270" y="265"/>
                  </a:lnTo>
                  <a:lnTo>
                    <a:pt x="265" y="265"/>
                  </a:lnTo>
                  <a:lnTo>
                    <a:pt x="262" y="266"/>
                  </a:lnTo>
                  <a:lnTo>
                    <a:pt x="262" y="270"/>
                  </a:lnTo>
                  <a:lnTo>
                    <a:pt x="267" y="274"/>
                  </a:lnTo>
                  <a:lnTo>
                    <a:pt x="282" y="285"/>
                  </a:lnTo>
                  <a:lnTo>
                    <a:pt x="307" y="302"/>
                  </a:lnTo>
                  <a:lnTo>
                    <a:pt x="335" y="320"/>
                  </a:lnTo>
                  <a:lnTo>
                    <a:pt x="361" y="333"/>
                  </a:lnTo>
                  <a:lnTo>
                    <a:pt x="378" y="339"/>
                  </a:lnTo>
                  <a:lnTo>
                    <a:pt x="384" y="341"/>
                  </a:lnTo>
                  <a:lnTo>
                    <a:pt x="386" y="339"/>
                  </a:lnTo>
                  <a:lnTo>
                    <a:pt x="386" y="336"/>
                  </a:lnTo>
                  <a:lnTo>
                    <a:pt x="384" y="333"/>
                  </a:lnTo>
                  <a:lnTo>
                    <a:pt x="380" y="330"/>
                  </a:lnTo>
                  <a:lnTo>
                    <a:pt x="365" y="316"/>
                  </a:lnTo>
                  <a:lnTo>
                    <a:pt x="348" y="306"/>
                  </a:lnTo>
                  <a:lnTo>
                    <a:pt x="305" y="280"/>
                  </a:lnTo>
                  <a:lnTo>
                    <a:pt x="282" y="270"/>
                  </a:lnTo>
                  <a:close/>
                  <a:moveTo>
                    <a:pt x="32" y="339"/>
                  </a:moveTo>
                  <a:lnTo>
                    <a:pt x="39" y="341"/>
                  </a:lnTo>
                  <a:lnTo>
                    <a:pt x="54" y="335"/>
                  </a:lnTo>
                  <a:lnTo>
                    <a:pt x="99" y="312"/>
                  </a:lnTo>
                  <a:lnTo>
                    <a:pt x="123" y="296"/>
                  </a:lnTo>
                  <a:lnTo>
                    <a:pt x="142" y="283"/>
                  </a:lnTo>
                  <a:lnTo>
                    <a:pt x="154" y="272"/>
                  </a:lnTo>
                  <a:lnTo>
                    <a:pt x="156" y="270"/>
                  </a:lnTo>
                  <a:lnTo>
                    <a:pt x="158" y="267"/>
                  </a:lnTo>
                  <a:lnTo>
                    <a:pt x="150" y="266"/>
                  </a:lnTo>
                  <a:lnTo>
                    <a:pt x="136" y="272"/>
                  </a:lnTo>
                  <a:lnTo>
                    <a:pt x="114" y="282"/>
                  </a:lnTo>
                  <a:lnTo>
                    <a:pt x="90" y="295"/>
                  </a:lnTo>
                  <a:lnTo>
                    <a:pt x="66" y="310"/>
                  </a:lnTo>
                  <a:lnTo>
                    <a:pt x="48" y="324"/>
                  </a:lnTo>
                  <a:lnTo>
                    <a:pt x="35" y="335"/>
                  </a:lnTo>
                  <a:lnTo>
                    <a:pt x="32" y="337"/>
                  </a:lnTo>
                  <a:lnTo>
                    <a:pt x="32" y="339"/>
                  </a:lnTo>
                  <a:close/>
                  <a:moveTo>
                    <a:pt x="196" y="252"/>
                  </a:moveTo>
                  <a:lnTo>
                    <a:pt x="201" y="255"/>
                  </a:lnTo>
                  <a:lnTo>
                    <a:pt x="207" y="256"/>
                  </a:lnTo>
                  <a:lnTo>
                    <a:pt x="213" y="255"/>
                  </a:lnTo>
                  <a:lnTo>
                    <a:pt x="218" y="252"/>
                  </a:lnTo>
                  <a:lnTo>
                    <a:pt x="222" y="247"/>
                  </a:lnTo>
                  <a:lnTo>
                    <a:pt x="223" y="241"/>
                  </a:lnTo>
                  <a:lnTo>
                    <a:pt x="222" y="235"/>
                  </a:lnTo>
                  <a:lnTo>
                    <a:pt x="218" y="230"/>
                  </a:lnTo>
                  <a:lnTo>
                    <a:pt x="213" y="226"/>
                  </a:lnTo>
                  <a:lnTo>
                    <a:pt x="207" y="225"/>
                  </a:lnTo>
                  <a:lnTo>
                    <a:pt x="201" y="226"/>
                  </a:lnTo>
                  <a:lnTo>
                    <a:pt x="196" y="230"/>
                  </a:lnTo>
                  <a:lnTo>
                    <a:pt x="194" y="235"/>
                  </a:lnTo>
                  <a:lnTo>
                    <a:pt x="193" y="241"/>
                  </a:lnTo>
                  <a:lnTo>
                    <a:pt x="194" y="247"/>
                  </a:lnTo>
                  <a:lnTo>
                    <a:pt x="196" y="252"/>
                  </a:lnTo>
                  <a:close/>
                  <a:moveTo>
                    <a:pt x="197" y="121"/>
                  </a:moveTo>
                  <a:lnTo>
                    <a:pt x="201" y="172"/>
                  </a:lnTo>
                  <a:lnTo>
                    <a:pt x="203" y="188"/>
                  </a:lnTo>
                  <a:lnTo>
                    <a:pt x="207" y="194"/>
                  </a:lnTo>
                  <a:lnTo>
                    <a:pt x="211" y="188"/>
                  </a:lnTo>
                  <a:lnTo>
                    <a:pt x="214" y="172"/>
                  </a:lnTo>
                  <a:lnTo>
                    <a:pt x="215" y="121"/>
                  </a:lnTo>
                  <a:lnTo>
                    <a:pt x="214" y="69"/>
                  </a:lnTo>
                  <a:lnTo>
                    <a:pt x="211" y="53"/>
                  </a:lnTo>
                  <a:lnTo>
                    <a:pt x="207" y="47"/>
                  </a:lnTo>
                  <a:lnTo>
                    <a:pt x="203" y="53"/>
                  </a:lnTo>
                  <a:lnTo>
                    <a:pt x="201" y="69"/>
                  </a:lnTo>
                  <a:lnTo>
                    <a:pt x="199" y="93"/>
                  </a:lnTo>
                  <a:lnTo>
                    <a:pt x="197" y="121"/>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9" name="Freeform 82"/>
            <p:cNvSpPr>
              <a:spLocks/>
            </p:cNvSpPr>
            <p:nvPr userDrawn="1"/>
          </p:nvSpPr>
          <p:spPr bwMode="auto">
            <a:xfrm>
              <a:off x="8074025" y="6513513"/>
              <a:ext cx="7938" cy="3175"/>
            </a:xfrm>
            <a:custGeom>
              <a:avLst/>
              <a:gdLst/>
              <a:ahLst/>
              <a:cxnLst>
                <a:cxn ang="0">
                  <a:pos x="28" y="2"/>
                </a:cxn>
                <a:cxn ang="0">
                  <a:pos x="0" y="0"/>
                </a:cxn>
                <a:cxn ang="0">
                  <a:pos x="0" y="11"/>
                </a:cxn>
                <a:cxn ang="0">
                  <a:pos x="28" y="11"/>
                </a:cxn>
                <a:cxn ang="0">
                  <a:pos x="28" y="2"/>
                </a:cxn>
              </a:cxnLst>
              <a:rect l="0" t="0" r="r" b="b"/>
              <a:pathLst>
                <a:path w="28" h="11">
                  <a:moveTo>
                    <a:pt x="28" y="2"/>
                  </a:moveTo>
                  <a:lnTo>
                    <a:pt x="0" y="0"/>
                  </a:lnTo>
                  <a:lnTo>
                    <a:pt x="0" y="11"/>
                  </a:lnTo>
                  <a:lnTo>
                    <a:pt x="28" y="11"/>
                  </a:lnTo>
                  <a:lnTo>
                    <a:pt x="28" y="2"/>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0" name="Freeform 83"/>
            <p:cNvSpPr>
              <a:spLocks/>
            </p:cNvSpPr>
            <p:nvPr userDrawn="1"/>
          </p:nvSpPr>
          <p:spPr bwMode="auto">
            <a:xfrm>
              <a:off x="8078788" y="6446838"/>
              <a:ext cx="7938" cy="65088"/>
            </a:xfrm>
            <a:custGeom>
              <a:avLst/>
              <a:gdLst/>
              <a:ahLst/>
              <a:cxnLst>
                <a:cxn ang="0">
                  <a:pos x="0" y="0"/>
                </a:cxn>
                <a:cxn ang="0">
                  <a:pos x="0" y="204"/>
                </a:cxn>
                <a:cxn ang="0">
                  <a:pos x="26" y="204"/>
                </a:cxn>
                <a:cxn ang="0">
                  <a:pos x="27" y="0"/>
                </a:cxn>
                <a:cxn ang="0">
                  <a:pos x="0" y="0"/>
                </a:cxn>
              </a:cxnLst>
              <a:rect l="0" t="0" r="r" b="b"/>
              <a:pathLst>
                <a:path w="27" h="204">
                  <a:moveTo>
                    <a:pt x="0" y="0"/>
                  </a:moveTo>
                  <a:lnTo>
                    <a:pt x="0" y="204"/>
                  </a:lnTo>
                  <a:lnTo>
                    <a:pt x="26" y="204"/>
                  </a:lnTo>
                  <a:lnTo>
                    <a:pt x="27" y="0"/>
                  </a:lnTo>
                  <a:lnTo>
                    <a:pt x="0"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1" name="Freeform 84"/>
            <p:cNvSpPr>
              <a:spLocks/>
            </p:cNvSpPr>
            <p:nvPr userDrawn="1"/>
          </p:nvSpPr>
          <p:spPr bwMode="auto">
            <a:xfrm>
              <a:off x="8018463" y="6276976"/>
              <a:ext cx="133350" cy="246063"/>
            </a:xfrm>
            <a:custGeom>
              <a:avLst/>
              <a:gdLst/>
              <a:ahLst/>
              <a:cxnLst>
                <a:cxn ang="0">
                  <a:pos x="379" y="319"/>
                </a:cxn>
                <a:cxn ang="0">
                  <a:pos x="419" y="355"/>
                </a:cxn>
                <a:cxn ang="0">
                  <a:pos x="423" y="367"/>
                </a:cxn>
                <a:cxn ang="0">
                  <a:pos x="413" y="369"/>
                </a:cxn>
                <a:cxn ang="0">
                  <a:pos x="391" y="366"/>
                </a:cxn>
                <a:cxn ang="0">
                  <a:pos x="318" y="332"/>
                </a:cxn>
                <a:cxn ang="0">
                  <a:pos x="255" y="289"/>
                </a:cxn>
                <a:cxn ang="0">
                  <a:pos x="229" y="272"/>
                </a:cxn>
                <a:cxn ang="0">
                  <a:pos x="230" y="348"/>
                </a:cxn>
                <a:cxn ang="0">
                  <a:pos x="242" y="527"/>
                </a:cxn>
                <a:cxn ang="0">
                  <a:pos x="254" y="742"/>
                </a:cxn>
                <a:cxn ang="0">
                  <a:pos x="267" y="755"/>
                </a:cxn>
                <a:cxn ang="0">
                  <a:pos x="161" y="777"/>
                </a:cxn>
                <a:cxn ang="0">
                  <a:pos x="172" y="755"/>
                </a:cxn>
                <a:cxn ang="0">
                  <a:pos x="184" y="742"/>
                </a:cxn>
                <a:cxn ang="0">
                  <a:pos x="191" y="527"/>
                </a:cxn>
                <a:cxn ang="0">
                  <a:pos x="193" y="266"/>
                </a:cxn>
                <a:cxn ang="0">
                  <a:pos x="164" y="290"/>
                </a:cxn>
                <a:cxn ang="0">
                  <a:pos x="111" y="325"/>
                </a:cxn>
                <a:cxn ang="0">
                  <a:pos x="37" y="360"/>
                </a:cxn>
                <a:cxn ang="0">
                  <a:pos x="5" y="367"/>
                </a:cxn>
                <a:cxn ang="0">
                  <a:pos x="0" y="359"/>
                </a:cxn>
                <a:cxn ang="0">
                  <a:pos x="22" y="333"/>
                </a:cxn>
                <a:cxn ang="0">
                  <a:pos x="89" y="286"/>
                </a:cxn>
                <a:cxn ang="0">
                  <a:pos x="163" y="252"/>
                </a:cxn>
                <a:cxn ang="0">
                  <a:pos x="187" y="234"/>
                </a:cxn>
                <a:cxn ang="0">
                  <a:pos x="201" y="219"/>
                </a:cxn>
                <a:cxn ang="0">
                  <a:pos x="193" y="163"/>
                </a:cxn>
                <a:cxn ang="0">
                  <a:pos x="193" y="72"/>
                </a:cxn>
                <a:cxn ang="0">
                  <a:pos x="205" y="9"/>
                </a:cxn>
                <a:cxn ang="0">
                  <a:pos x="214" y="0"/>
                </a:cxn>
                <a:cxn ang="0">
                  <a:pos x="222" y="9"/>
                </a:cxn>
                <a:cxn ang="0">
                  <a:pos x="234" y="72"/>
                </a:cxn>
                <a:cxn ang="0">
                  <a:pos x="234" y="163"/>
                </a:cxn>
                <a:cxn ang="0">
                  <a:pos x="224" y="218"/>
                </a:cxn>
                <a:cxn ang="0">
                  <a:pos x="241" y="234"/>
                </a:cxn>
                <a:cxn ang="0">
                  <a:pos x="243" y="248"/>
                </a:cxn>
                <a:cxn ang="0">
                  <a:pos x="290" y="266"/>
                </a:cxn>
                <a:cxn ang="0">
                  <a:pos x="335" y="290"/>
                </a:cxn>
              </a:cxnLst>
              <a:rect l="0" t="0" r="r" b="b"/>
              <a:pathLst>
                <a:path w="423" h="777">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2" name="Freeform 85"/>
            <p:cNvSpPr>
              <a:spLocks/>
            </p:cNvSpPr>
            <p:nvPr userDrawn="1"/>
          </p:nvSpPr>
          <p:spPr bwMode="auto">
            <a:xfrm>
              <a:off x="8101013" y="6361113"/>
              <a:ext cx="39688" cy="23813"/>
            </a:xfrm>
            <a:custGeom>
              <a:avLst/>
              <a:gdLst/>
              <a:ahLst/>
              <a:cxnLst>
                <a:cxn ang="0">
                  <a:pos x="20" y="5"/>
                </a:cxn>
                <a:cxn ang="0">
                  <a:pos x="8" y="0"/>
                </a:cxn>
                <a:cxn ang="0">
                  <a:pos x="3" y="0"/>
                </a:cxn>
                <a:cxn ang="0">
                  <a:pos x="0" y="1"/>
                </a:cxn>
                <a:cxn ang="0">
                  <a:pos x="0" y="5"/>
                </a:cxn>
                <a:cxn ang="0">
                  <a:pos x="5" y="9"/>
                </a:cxn>
                <a:cxn ang="0">
                  <a:pos x="20" y="20"/>
                </a:cxn>
                <a:cxn ang="0">
                  <a:pos x="45" y="37"/>
                </a:cxn>
                <a:cxn ang="0">
                  <a:pos x="73" y="55"/>
                </a:cxn>
                <a:cxn ang="0">
                  <a:pos x="99" y="68"/>
                </a:cxn>
                <a:cxn ang="0">
                  <a:pos x="116" y="74"/>
                </a:cxn>
                <a:cxn ang="0">
                  <a:pos x="122" y="76"/>
                </a:cxn>
                <a:cxn ang="0">
                  <a:pos x="124" y="74"/>
                </a:cxn>
                <a:cxn ang="0">
                  <a:pos x="124" y="71"/>
                </a:cxn>
                <a:cxn ang="0">
                  <a:pos x="122" y="68"/>
                </a:cxn>
                <a:cxn ang="0">
                  <a:pos x="118" y="65"/>
                </a:cxn>
                <a:cxn ang="0">
                  <a:pos x="103" y="51"/>
                </a:cxn>
                <a:cxn ang="0">
                  <a:pos x="86" y="41"/>
                </a:cxn>
                <a:cxn ang="0">
                  <a:pos x="43" y="15"/>
                </a:cxn>
                <a:cxn ang="0">
                  <a:pos x="20" y="5"/>
                </a:cxn>
              </a:cxnLst>
              <a:rect l="0" t="0" r="r" b="b"/>
              <a:pathLst>
                <a:path w="124" h="76">
                  <a:moveTo>
                    <a:pt x="20" y="5"/>
                  </a:moveTo>
                  <a:lnTo>
                    <a:pt x="8" y="0"/>
                  </a:lnTo>
                  <a:lnTo>
                    <a:pt x="3" y="0"/>
                  </a:lnTo>
                  <a:lnTo>
                    <a:pt x="0" y="1"/>
                  </a:lnTo>
                  <a:lnTo>
                    <a:pt x="0" y="5"/>
                  </a:lnTo>
                  <a:lnTo>
                    <a:pt x="5" y="9"/>
                  </a:lnTo>
                  <a:lnTo>
                    <a:pt x="20" y="20"/>
                  </a:lnTo>
                  <a:lnTo>
                    <a:pt x="45" y="37"/>
                  </a:lnTo>
                  <a:lnTo>
                    <a:pt x="73" y="55"/>
                  </a:lnTo>
                  <a:lnTo>
                    <a:pt x="99" y="68"/>
                  </a:lnTo>
                  <a:lnTo>
                    <a:pt x="116" y="74"/>
                  </a:lnTo>
                  <a:lnTo>
                    <a:pt x="122" y="76"/>
                  </a:lnTo>
                  <a:lnTo>
                    <a:pt x="124" y="74"/>
                  </a:lnTo>
                  <a:lnTo>
                    <a:pt x="124" y="71"/>
                  </a:lnTo>
                  <a:lnTo>
                    <a:pt x="122" y="68"/>
                  </a:lnTo>
                  <a:lnTo>
                    <a:pt x="118" y="65"/>
                  </a:lnTo>
                  <a:lnTo>
                    <a:pt x="103" y="51"/>
                  </a:lnTo>
                  <a:lnTo>
                    <a:pt x="86" y="41"/>
                  </a:lnTo>
                  <a:lnTo>
                    <a:pt x="43" y="15"/>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3" name="Freeform 86"/>
            <p:cNvSpPr>
              <a:spLocks/>
            </p:cNvSpPr>
            <p:nvPr userDrawn="1"/>
          </p:nvSpPr>
          <p:spPr bwMode="auto">
            <a:xfrm>
              <a:off x="8027988" y="6361113"/>
              <a:ext cx="39688" cy="23813"/>
            </a:xfrm>
            <a:custGeom>
              <a:avLst/>
              <a:gdLst/>
              <a:ahLst/>
              <a:cxnLst>
                <a:cxn ang="0">
                  <a:pos x="0" y="73"/>
                </a:cxn>
                <a:cxn ang="0">
                  <a:pos x="7" y="75"/>
                </a:cxn>
                <a:cxn ang="0">
                  <a:pos x="22" y="69"/>
                </a:cxn>
                <a:cxn ang="0">
                  <a:pos x="67" y="46"/>
                </a:cxn>
                <a:cxn ang="0">
                  <a:pos x="91" y="30"/>
                </a:cxn>
                <a:cxn ang="0">
                  <a:pos x="110" y="17"/>
                </a:cxn>
                <a:cxn ang="0">
                  <a:pos x="122" y="6"/>
                </a:cxn>
                <a:cxn ang="0">
                  <a:pos x="124" y="4"/>
                </a:cxn>
                <a:cxn ang="0">
                  <a:pos x="126" y="1"/>
                </a:cxn>
                <a:cxn ang="0">
                  <a:pos x="118" y="0"/>
                </a:cxn>
                <a:cxn ang="0">
                  <a:pos x="104" y="6"/>
                </a:cxn>
                <a:cxn ang="0">
                  <a:pos x="82" y="16"/>
                </a:cxn>
                <a:cxn ang="0">
                  <a:pos x="58" y="29"/>
                </a:cxn>
                <a:cxn ang="0">
                  <a:pos x="34" y="44"/>
                </a:cxn>
                <a:cxn ang="0">
                  <a:pos x="16" y="58"/>
                </a:cxn>
                <a:cxn ang="0">
                  <a:pos x="3" y="69"/>
                </a:cxn>
                <a:cxn ang="0">
                  <a:pos x="0" y="71"/>
                </a:cxn>
                <a:cxn ang="0">
                  <a:pos x="0" y="73"/>
                </a:cxn>
              </a:cxnLst>
              <a:rect l="0" t="0" r="r" b="b"/>
              <a:pathLst>
                <a:path w="126" h="75">
                  <a:moveTo>
                    <a:pt x="0" y="73"/>
                  </a:moveTo>
                  <a:lnTo>
                    <a:pt x="7" y="75"/>
                  </a:lnTo>
                  <a:lnTo>
                    <a:pt x="22" y="69"/>
                  </a:lnTo>
                  <a:lnTo>
                    <a:pt x="67" y="46"/>
                  </a:lnTo>
                  <a:lnTo>
                    <a:pt x="91" y="30"/>
                  </a:lnTo>
                  <a:lnTo>
                    <a:pt x="110" y="17"/>
                  </a:lnTo>
                  <a:lnTo>
                    <a:pt x="122" y="6"/>
                  </a:lnTo>
                  <a:lnTo>
                    <a:pt x="124" y="4"/>
                  </a:lnTo>
                  <a:lnTo>
                    <a:pt x="126" y="1"/>
                  </a:lnTo>
                  <a:lnTo>
                    <a:pt x="118" y="0"/>
                  </a:lnTo>
                  <a:lnTo>
                    <a:pt x="104" y="6"/>
                  </a:lnTo>
                  <a:lnTo>
                    <a:pt x="82" y="16"/>
                  </a:lnTo>
                  <a:lnTo>
                    <a:pt x="58" y="29"/>
                  </a:lnTo>
                  <a:lnTo>
                    <a:pt x="34" y="44"/>
                  </a:lnTo>
                  <a:lnTo>
                    <a:pt x="16" y="58"/>
                  </a:lnTo>
                  <a:lnTo>
                    <a:pt x="3" y="69"/>
                  </a:lnTo>
                  <a:lnTo>
                    <a:pt x="0" y="71"/>
                  </a:lnTo>
                  <a:lnTo>
                    <a:pt x="0" y="73"/>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4" name="Freeform 87"/>
            <p:cNvSpPr>
              <a:spLocks/>
            </p:cNvSpPr>
            <p:nvPr userDrawn="1"/>
          </p:nvSpPr>
          <p:spPr bwMode="auto">
            <a:xfrm>
              <a:off x="8078788" y="6348413"/>
              <a:ext cx="9525" cy="9525"/>
            </a:xfrm>
            <a:custGeom>
              <a:avLst/>
              <a:gdLst/>
              <a:ahLst/>
              <a:cxnLst>
                <a:cxn ang="0">
                  <a:pos x="3" y="27"/>
                </a:cxn>
                <a:cxn ang="0">
                  <a:pos x="8" y="30"/>
                </a:cxn>
                <a:cxn ang="0">
                  <a:pos x="14" y="31"/>
                </a:cxn>
                <a:cxn ang="0">
                  <a:pos x="20" y="30"/>
                </a:cxn>
                <a:cxn ang="0">
                  <a:pos x="25" y="27"/>
                </a:cxn>
                <a:cxn ang="0">
                  <a:pos x="29" y="22"/>
                </a:cxn>
                <a:cxn ang="0">
                  <a:pos x="30" y="16"/>
                </a:cxn>
                <a:cxn ang="0">
                  <a:pos x="29" y="10"/>
                </a:cxn>
                <a:cxn ang="0">
                  <a:pos x="25" y="5"/>
                </a:cxn>
                <a:cxn ang="0">
                  <a:pos x="20" y="1"/>
                </a:cxn>
                <a:cxn ang="0">
                  <a:pos x="14" y="0"/>
                </a:cxn>
                <a:cxn ang="0">
                  <a:pos x="8" y="1"/>
                </a:cxn>
                <a:cxn ang="0">
                  <a:pos x="3" y="5"/>
                </a:cxn>
                <a:cxn ang="0">
                  <a:pos x="1" y="10"/>
                </a:cxn>
                <a:cxn ang="0">
                  <a:pos x="0" y="16"/>
                </a:cxn>
                <a:cxn ang="0">
                  <a:pos x="1" y="22"/>
                </a:cxn>
                <a:cxn ang="0">
                  <a:pos x="3" y="27"/>
                </a:cxn>
              </a:cxnLst>
              <a:rect l="0" t="0" r="r" b="b"/>
              <a:pathLst>
                <a:path w="30" h="31">
                  <a:moveTo>
                    <a:pt x="3" y="27"/>
                  </a:moveTo>
                  <a:lnTo>
                    <a:pt x="8" y="30"/>
                  </a:lnTo>
                  <a:lnTo>
                    <a:pt x="14" y="31"/>
                  </a:lnTo>
                  <a:lnTo>
                    <a:pt x="20" y="30"/>
                  </a:lnTo>
                  <a:lnTo>
                    <a:pt x="25" y="27"/>
                  </a:lnTo>
                  <a:lnTo>
                    <a:pt x="29" y="22"/>
                  </a:lnTo>
                  <a:lnTo>
                    <a:pt x="30" y="16"/>
                  </a:lnTo>
                  <a:lnTo>
                    <a:pt x="29" y="10"/>
                  </a:lnTo>
                  <a:lnTo>
                    <a:pt x="25" y="5"/>
                  </a:lnTo>
                  <a:lnTo>
                    <a:pt x="20" y="1"/>
                  </a:lnTo>
                  <a:lnTo>
                    <a:pt x="14" y="0"/>
                  </a:lnTo>
                  <a:lnTo>
                    <a:pt x="8" y="1"/>
                  </a:lnTo>
                  <a:lnTo>
                    <a:pt x="3" y="5"/>
                  </a:lnTo>
                  <a:lnTo>
                    <a:pt x="1" y="10"/>
                  </a:lnTo>
                  <a:lnTo>
                    <a:pt x="0" y="16"/>
                  </a:lnTo>
                  <a:lnTo>
                    <a:pt x="1" y="22"/>
                  </a:lnTo>
                  <a:lnTo>
                    <a:pt x="3"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5" name="Freeform 88"/>
            <p:cNvSpPr>
              <a:spLocks/>
            </p:cNvSpPr>
            <p:nvPr userDrawn="1"/>
          </p:nvSpPr>
          <p:spPr bwMode="auto">
            <a:xfrm>
              <a:off x="8080375" y="6291263"/>
              <a:ext cx="6350" cy="47625"/>
            </a:xfrm>
            <a:custGeom>
              <a:avLst/>
              <a:gdLst/>
              <a:ahLst/>
              <a:cxnLst>
                <a:cxn ang="0">
                  <a:pos x="0" y="74"/>
                </a:cxn>
                <a:cxn ang="0">
                  <a:pos x="4" y="125"/>
                </a:cxn>
                <a:cxn ang="0">
                  <a:pos x="6" y="141"/>
                </a:cxn>
                <a:cxn ang="0">
                  <a:pos x="10" y="147"/>
                </a:cxn>
                <a:cxn ang="0">
                  <a:pos x="14" y="141"/>
                </a:cxn>
                <a:cxn ang="0">
                  <a:pos x="17" y="125"/>
                </a:cxn>
                <a:cxn ang="0">
                  <a:pos x="18" y="74"/>
                </a:cxn>
                <a:cxn ang="0">
                  <a:pos x="17" y="22"/>
                </a:cxn>
                <a:cxn ang="0">
                  <a:pos x="14" y="6"/>
                </a:cxn>
                <a:cxn ang="0">
                  <a:pos x="10" y="0"/>
                </a:cxn>
                <a:cxn ang="0">
                  <a:pos x="6" y="6"/>
                </a:cxn>
                <a:cxn ang="0">
                  <a:pos x="4" y="22"/>
                </a:cxn>
                <a:cxn ang="0">
                  <a:pos x="2" y="46"/>
                </a:cxn>
                <a:cxn ang="0">
                  <a:pos x="0" y="74"/>
                </a:cxn>
              </a:cxnLst>
              <a:rect l="0" t="0" r="r" b="b"/>
              <a:pathLst>
                <a:path w="18" h="147">
                  <a:moveTo>
                    <a:pt x="0" y="74"/>
                  </a:moveTo>
                  <a:lnTo>
                    <a:pt x="4" y="125"/>
                  </a:lnTo>
                  <a:lnTo>
                    <a:pt x="6" y="141"/>
                  </a:lnTo>
                  <a:lnTo>
                    <a:pt x="10" y="147"/>
                  </a:lnTo>
                  <a:lnTo>
                    <a:pt x="14" y="141"/>
                  </a:lnTo>
                  <a:lnTo>
                    <a:pt x="17" y="125"/>
                  </a:lnTo>
                  <a:lnTo>
                    <a:pt x="18" y="74"/>
                  </a:lnTo>
                  <a:lnTo>
                    <a:pt x="17" y="22"/>
                  </a:lnTo>
                  <a:lnTo>
                    <a:pt x="14" y="6"/>
                  </a:lnTo>
                  <a:lnTo>
                    <a:pt x="10" y="0"/>
                  </a:lnTo>
                  <a:lnTo>
                    <a:pt x="6" y="6"/>
                  </a:lnTo>
                  <a:lnTo>
                    <a:pt x="4" y="22"/>
                  </a:lnTo>
                  <a:lnTo>
                    <a:pt x="2" y="46"/>
                  </a:lnTo>
                  <a:lnTo>
                    <a:pt x="0" y="74"/>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6" name="Freeform 89"/>
            <p:cNvSpPr>
              <a:spLocks noEditPoints="1"/>
            </p:cNvSpPr>
            <p:nvPr userDrawn="1"/>
          </p:nvSpPr>
          <p:spPr bwMode="auto">
            <a:xfrm>
              <a:off x="7970838" y="6284913"/>
              <a:ext cx="153988" cy="280988"/>
            </a:xfrm>
            <a:custGeom>
              <a:avLst/>
              <a:gdLst/>
              <a:ahLst/>
              <a:cxnLst>
                <a:cxn ang="0">
                  <a:pos x="199" y="859"/>
                </a:cxn>
                <a:cxn ang="0">
                  <a:pos x="218" y="610"/>
                </a:cxn>
                <a:cxn ang="0">
                  <a:pos x="247" y="610"/>
                </a:cxn>
                <a:cxn ang="0">
                  <a:pos x="431" y="363"/>
                </a:cxn>
                <a:cxn ang="0">
                  <a:pos x="470" y="394"/>
                </a:cxn>
                <a:cxn ang="0">
                  <a:pos x="480" y="417"/>
                </a:cxn>
                <a:cxn ang="0">
                  <a:pos x="446" y="416"/>
                </a:cxn>
                <a:cxn ang="0">
                  <a:pos x="342" y="366"/>
                </a:cxn>
                <a:cxn ang="0">
                  <a:pos x="265" y="305"/>
                </a:cxn>
                <a:cxn ang="0">
                  <a:pos x="261" y="395"/>
                </a:cxn>
                <a:cxn ang="0">
                  <a:pos x="276" y="845"/>
                </a:cxn>
                <a:cxn ang="0">
                  <a:pos x="303" y="859"/>
                </a:cxn>
                <a:cxn ang="0">
                  <a:pos x="184" y="859"/>
                </a:cxn>
                <a:cxn ang="0">
                  <a:pos x="210" y="844"/>
                </a:cxn>
                <a:cxn ang="0">
                  <a:pos x="228" y="310"/>
                </a:cxn>
                <a:cxn ang="0">
                  <a:pos x="202" y="316"/>
                </a:cxn>
                <a:cxn ang="0">
                  <a:pos x="125" y="369"/>
                </a:cxn>
                <a:cxn ang="0">
                  <a:pos x="25" y="414"/>
                </a:cxn>
                <a:cxn ang="0">
                  <a:pos x="0" y="414"/>
                </a:cxn>
                <a:cxn ang="0">
                  <a:pos x="12" y="390"/>
                </a:cxn>
                <a:cxn ang="0">
                  <a:pos x="101" y="325"/>
                </a:cxn>
                <a:cxn ang="0">
                  <a:pos x="210" y="278"/>
                </a:cxn>
                <a:cxn ang="0">
                  <a:pos x="229" y="248"/>
                </a:cxn>
                <a:cxn ang="0">
                  <a:pos x="218" y="159"/>
                </a:cxn>
                <a:cxn ang="0">
                  <a:pos x="225" y="39"/>
                </a:cxn>
                <a:cxn ang="0">
                  <a:pos x="243" y="0"/>
                </a:cxn>
                <a:cxn ang="0">
                  <a:pos x="260" y="39"/>
                </a:cxn>
                <a:cxn ang="0">
                  <a:pos x="265" y="183"/>
                </a:cxn>
                <a:cxn ang="0">
                  <a:pos x="267" y="254"/>
                </a:cxn>
                <a:cxn ang="0">
                  <a:pos x="277" y="282"/>
                </a:cxn>
                <a:cxn ang="0">
                  <a:pos x="381" y="329"/>
                </a:cxn>
                <a:cxn ang="0">
                  <a:pos x="302" y="300"/>
                </a:cxn>
                <a:cxn ang="0">
                  <a:pos x="303" y="311"/>
                </a:cxn>
                <a:cxn ang="0">
                  <a:pos x="382" y="364"/>
                </a:cxn>
                <a:cxn ang="0">
                  <a:pos x="437" y="387"/>
                </a:cxn>
                <a:cxn ang="0">
                  <a:pos x="437" y="379"/>
                </a:cxn>
                <a:cxn ang="0">
                  <a:pos x="396" y="347"/>
                </a:cxn>
                <a:cxn ang="0">
                  <a:pos x="37" y="387"/>
                </a:cxn>
                <a:cxn ang="0">
                  <a:pos x="86" y="369"/>
                </a:cxn>
                <a:cxn ang="0">
                  <a:pos x="176" y="310"/>
                </a:cxn>
                <a:cxn ang="0">
                  <a:pos x="154" y="309"/>
                </a:cxn>
                <a:cxn ang="0">
                  <a:pos x="76" y="352"/>
                </a:cxn>
                <a:cxn ang="0">
                  <a:pos x="37" y="383"/>
                </a:cxn>
                <a:cxn ang="0">
                  <a:pos x="229" y="289"/>
                </a:cxn>
                <a:cxn ang="0">
                  <a:pos x="247" y="286"/>
                </a:cxn>
                <a:cxn ang="0">
                  <a:pos x="252" y="266"/>
                </a:cxn>
                <a:cxn ang="0">
                  <a:pos x="236" y="256"/>
                </a:cxn>
                <a:cxn ang="0">
                  <a:pos x="220" y="266"/>
                </a:cxn>
                <a:cxn ang="0">
                  <a:pos x="224" y="286"/>
                </a:cxn>
                <a:cxn ang="0">
                  <a:pos x="228" y="196"/>
                </a:cxn>
                <a:cxn ang="0">
                  <a:pos x="236" y="220"/>
                </a:cxn>
                <a:cxn ang="0">
                  <a:pos x="246" y="137"/>
                </a:cxn>
                <a:cxn ang="0">
                  <a:pos x="240" y="60"/>
                </a:cxn>
                <a:cxn ang="0">
                  <a:pos x="229" y="78"/>
                </a:cxn>
              </a:cxnLst>
              <a:rect l="0" t="0" r="r" b="b"/>
              <a:pathLst>
                <a:path w="482" h="884">
                  <a:moveTo>
                    <a:pt x="232" y="847"/>
                  </a:moveTo>
                  <a:lnTo>
                    <a:pt x="199" y="847"/>
                  </a:lnTo>
                  <a:lnTo>
                    <a:pt x="199" y="859"/>
                  </a:lnTo>
                  <a:lnTo>
                    <a:pt x="232" y="859"/>
                  </a:lnTo>
                  <a:lnTo>
                    <a:pt x="232" y="847"/>
                  </a:lnTo>
                  <a:close/>
                  <a:moveTo>
                    <a:pt x="218" y="610"/>
                  </a:moveTo>
                  <a:lnTo>
                    <a:pt x="218" y="842"/>
                  </a:lnTo>
                  <a:lnTo>
                    <a:pt x="247" y="842"/>
                  </a:lnTo>
                  <a:lnTo>
                    <a:pt x="247" y="610"/>
                  </a:lnTo>
                  <a:lnTo>
                    <a:pt x="218" y="610"/>
                  </a:lnTo>
                  <a:close/>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moveTo>
                    <a:pt x="320" y="306"/>
                  </a:moveTo>
                  <a:lnTo>
                    <a:pt x="307" y="301"/>
                  </a:lnTo>
                  <a:lnTo>
                    <a:pt x="302" y="300"/>
                  </a:lnTo>
                  <a:lnTo>
                    <a:pt x="299" y="303"/>
                  </a:lnTo>
                  <a:lnTo>
                    <a:pt x="299" y="306"/>
                  </a:lnTo>
                  <a:lnTo>
                    <a:pt x="303" y="311"/>
                  </a:lnTo>
                  <a:lnTo>
                    <a:pt x="320" y="324"/>
                  </a:lnTo>
                  <a:lnTo>
                    <a:pt x="349" y="343"/>
                  </a:lnTo>
                  <a:lnTo>
                    <a:pt x="382" y="364"/>
                  </a:lnTo>
                  <a:lnTo>
                    <a:pt x="412" y="379"/>
                  </a:lnTo>
                  <a:lnTo>
                    <a:pt x="430" y="387"/>
                  </a:lnTo>
                  <a:lnTo>
                    <a:pt x="437" y="387"/>
                  </a:lnTo>
                  <a:lnTo>
                    <a:pt x="441" y="385"/>
                  </a:lnTo>
                  <a:lnTo>
                    <a:pt x="440" y="382"/>
                  </a:lnTo>
                  <a:lnTo>
                    <a:pt x="437" y="379"/>
                  </a:lnTo>
                  <a:lnTo>
                    <a:pt x="432" y="375"/>
                  </a:lnTo>
                  <a:lnTo>
                    <a:pt x="414" y="360"/>
                  </a:lnTo>
                  <a:lnTo>
                    <a:pt x="396" y="347"/>
                  </a:lnTo>
                  <a:lnTo>
                    <a:pt x="347" y="319"/>
                  </a:lnTo>
                  <a:lnTo>
                    <a:pt x="320" y="306"/>
                  </a:lnTo>
                  <a:close/>
                  <a:moveTo>
                    <a:pt x="37" y="387"/>
                  </a:moveTo>
                  <a:lnTo>
                    <a:pt x="43" y="387"/>
                  </a:lnTo>
                  <a:lnTo>
                    <a:pt x="61" y="379"/>
                  </a:lnTo>
                  <a:lnTo>
                    <a:pt x="86" y="369"/>
                  </a:lnTo>
                  <a:lnTo>
                    <a:pt x="112" y="354"/>
                  </a:lnTo>
                  <a:lnTo>
                    <a:pt x="161" y="321"/>
                  </a:lnTo>
                  <a:lnTo>
                    <a:pt x="176" y="310"/>
                  </a:lnTo>
                  <a:lnTo>
                    <a:pt x="179" y="303"/>
                  </a:lnTo>
                  <a:lnTo>
                    <a:pt x="172" y="303"/>
                  </a:lnTo>
                  <a:lnTo>
                    <a:pt x="154" y="309"/>
                  </a:lnTo>
                  <a:lnTo>
                    <a:pt x="130" y="319"/>
                  </a:lnTo>
                  <a:lnTo>
                    <a:pt x="102" y="335"/>
                  </a:lnTo>
                  <a:lnTo>
                    <a:pt x="76" y="352"/>
                  </a:lnTo>
                  <a:lnTo>
                    <a:pt x="54" y="367"/>
                  </a:lnTo>
                  <a:lnTo>
                    <a:pt x="40" y="379"/>
                  </a:lnTo>
                  <a:lnTo>
                    <a:pt x="37" y="383"/>
                  </a:lnTo>
                  <a:lnTo>
                    <a:pt x="37" y="387"/>
                  </a:lnTo>
                  <a:close/>
                  <a:moveTo>
                    <a:pt x="224" y="286"/>
                  </a:moveTo>
                  <a:lnTo>
                    <a:pt x="229" y="289"/>
                  </a:lnTo>
                  <a:lnTo>
                    <a:pt x="236" y="290"/>
                  </a:lnTo>
                  <a:lnTo>
                    <a:pt x="242" y="289"/>
                  </a:lnTo>
                  <a:lnTo>
                    <a:pt x="247" y="286"/>
                  </a:lnTo>
                  <a:lnTo>
                    <a:pt x="252" y="280"/>
                  </a:lnTo>
                  <a:lnTo>
                    <a:pt x="253" y="274"/>
                  </a:lnTo>
                  <a:lnTo>
                    <a:pt x="252" y="266"/>
                  </a:lnTo>
                  <a:lnTo>
                    <a:pt x="247" y="260"/>
                  </a:lnTo>
                  <a:lnTo>
                    <a:pt x="242" y="257"/>
                  </a:lnTo>
                  <a:lnTo>
                    <a:pt x="236" y="256"/>
                  </a:lnTo>
                  <a:lnTo>
                    <a:pt x="229" y="257"/>
                  </a:lnTo>
                  <a:lnTo>
                    <a:pt x="224" y="260"/>
                  </a:lnTo>
                  <a:lnTo>
                    <a:pt x="220" y="266"/>
                  </a:lnTo>
                  <a:lnTo>
                    <a:pt x="219" y="274"/>
                  </a:lnTo>
                  <a:lnTo>
                    <a:pt x="220" y="280"/>
                  </a:lnTo>
                  <a:lnTo>
                    <a:pt x="224" y="286"/>
                  </a:lnTo>
                  <a:close/>
                  <a:moveTo>
                    <a:pt x="225" y="137"/>
                  </a:moveTo>
                  <a:lnTo>
                    <a:pt x="225" y="168"/>
                  </a:lnTo>
                  <a:lnTo>
                    <a:pt x="228" y="196"/>
                  </a:lnTo>
                  <a:lnTo>
                    <a:pt x="231" y="214"/>
                  </a:lnTo>
                  <a:lnTo>
                    <a:pt x="234" y="218"/>
                  </a:lnTo>
                  <a:lnTo>
                    <a:pt x="236" y="220"/>
                  </a:lnTo>
                  <a:lnTo>
                    <a:pt x="240" y="214"/>
                  </a:lnTo>
                  <a:lnTo>
                    <a:pt x="243" y="196"/>
                  </a:lnTo>
                  <a:lnTo>
                    <a:pt x="246" y="137"/>
                  </a:lnTo>
                  <a:lnTo>
                    <a:pt x="246" y="104"/>
                  </a:lnTo>
                  <a:lnTo>
                    <a:pt x="243" y="78"/>
                  </a:lnTo>
                  <a:lnTo>
                    <a:pt x="240" y="60"/>
                  </a:lnTo>
                  <a:lnTo>
                    <a:pt x="236" y="54"/>
                  </a:lnTo>
                  <a:lnTo>
                    <a:pt x="231" y="60"/>
                  </a:lnTo>
                  <a:lnTo>
                    <a:pt x="229" y="78"/>
                  </a:lnTo>
                  <a:lnTo>
                    <a:pt x="225" y="104"/>
                  </a:lnTo>
                  <a:lnTo>
                    <a:pt x="225" y="137"/>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7" name="Rectangle 90"/>
            <p:cNvSpPr>
              <a:spLocks noChangeArrowheads="1"/>
            </p:cNvSpPr>
            <p:nvPr userDrawn="1"/>
          </p:nvSpPr>
          <p:spPr bwMode="auto">
            <a:xfrm>
              <a:off x="8034338" y="6554788"/>
              <a:ext cx="11113" cy="3175"/>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8" name="Rectangle 91"/>
            <p:cNvSpPr>
              <a:spLocks noChangeArrowheads="1"/>
            </p:cNvSpPr>
            <p:nvPr userDrawn="1"/>
          </p:nvSpPr>
          <p:spPr bwMode="auto">
            <a:xfrm>
              <a:off x="8040688" y="6478588"/>
              <a:ext cx="9525" cy="74613"/>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9" name="Freeform 92"/>
            <p:cNvSpPr>
              <a:spLocks/>
            </p:cNvSpPr>
            <p:nvPr userDrawn="1"/>
          </p:nvSpPr>
          <p:spPr bwMode="auto">
            <a:xfrm>
              <a:off x="7970838" y="6284913"/>
              <a:ext cx="153988" cy="280988"/>
            </a:xfrm>
            <a:custGeom>
              <a:avLst/>
              <a:gdLst/>
              <a:ahLst/>
              <a:cxnLst>
                <a:cxn ang="0">
                  <a:pos x="431" y="363"/>
                </a:cxn>
                <a:cxn ang="0">
                  <a:pos x="456" y="382"/>
                </a:cxn>
                <a:cxn ang="0">
                  <a:pos x="477" y="404"/>
                </a:cxn>
                <a:cxn ang="0">
                  <a:pos x="480" y="417"/>
                </a:cxn>
                <a:cxn ang="0">
                  <a:pos x="470" y="420"/>
                </a:cxn>
                <a:cxn ang="0">
                  <a:pos x="405" y="399"/>
                </a:cxn>
                <a:cxn ang="0">
                  <a:pos x="342" y="366"/>
                </a:cxn>
                <a:cxn ang="0">
                  <a:pos x="291" y="329"/>
                </a:cxn>
                <a:cxn ang="0">
                  <a:pos x="260" y="309"/>
                </a:cxn>
                <a:cxn ang="0">
                  <a:pos x="261" y="395"/>
                </a:cxn>
                <a:cxn ang="0">
                  <a:pos x="276" y="599"/>
                </a:cxn>
                <a:cxn ang="0">
                  <a:pos x="289" y="845"/>
                </a:cxn>
                <a:cxn ang="0">
                  <a:pos x="303" y="859"/>
                </a:cxn>
                <a:cxn ang="0">
                  <a:pos x="184" y="883"/>
                </a:cxn>
                <a:cxn ang="0">
                  <a:pos x="196" y="859"/>
                </a:cxn>
                <a:cxn ang="0">
                  <a:pos x="210" y="844"/>
                </a:cxn>
                <a:cxn ang="0">
                  <a:pos x="218" y="599"/>
                </a:cxn>
                <a:cxn ang="0">
                  <a:pos x="219" y="303"/>
                </a:cxn>
                <a:cxn ang="0">
                  <a:pos x="202" y="316"/>
                </a:cxn>
                <a:cxn ang="0">
                  <a:pos x="169" y="342"/>
                </a:cxn>
                <a:cxn ang="0">
                  <a:pos x="82" y="393"/>
                </a:cxn>
                <a:cxn ang="0">
                  <a:pos x="25" y="414"/>
                </a:cxn>
                <a:cxn ang="0">
                  <a:pos x="5" y="417"/>
                </a:cxn>
                <a:cxn ang="0">
                  <a:pos x="0" y="408"/>
                </a:cxn>
                <a:cxn ang="0">
                  <a:pos x="12" y="390"/>
                </a:cxn>
                <a:cxn ang="0">
                  <a:pos x="59" y="353"/>
                </a:cxn>
                <a:cxn ang="0">
                  <a:pos x="146" y="303"/>
                </a:cxn>
                <a:cxn ang="0">
                  <a:pos x="210" y="278"/>
                </a:cxn>
                <a:cxn ang="0">
                  <a:pos x="219" y="254"/>
                </a:cxn>
                <a:cxn ang="0">
                  <a:pos x="224" y="227"/>
                </a:cxn>
                <a:cxn ang="0">
                  <a:pos x="218" y="159"/>
                </a:cxn>
                <a:cxn ang="0">
                  <a:pos x="219" y="83"/>
                </a:cxn>
                <a:cxn ang="0">
                  <a:pos x="234" y="9"/>
                </a:cxn>
                <a:cxn ang="0">
                  <a:pos x="243" y="0"/>
                </a:cxn>
                <a:cxn ang="0">
                  <a:pos x="253" y="9"/>
                </a:cxn>
                <a:cxn ang="0">
                  <a:pos x="266" y="83"/>
                </a:cxn>
                <a:cxn ang="0">
                  <a:pos x="265" y="183"/>
                </a:cxn>
                <a:cxn ang="0">
                  <a:pos x="255" y="247"/>
                </a:cxn>
                <a:cxn ang="0">
                  <a:pos x="275" y="266"/>
                </a:cxn>
                <a:cxn ang="0">
                  <a:pos x="277" y="282"/>
                </a:cxn>
                <a:cxn ang="0">
                  <a:pos x="330" y="303"/>
                </a:cxn>
              </a:cxnLst>
              <a:rect l="0" t="0" r="r" b="b"/>
              <a:pathLst>
                <a:path w="482" h="884">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0" name="Freeform 93"/>
            <p:cNvSpPr>
              <a:spLocks/>
            </p:cNvSpPr>
            <p:nvPr userDrawn="1"/>
          </p:nvSpPr>
          <p:spPr bwMode="auto">
            <a:xfrm>
              <a:off x="8066088" y="6380163"/>
              <a:ext cx="44450" cy="28575"/>
            </a:xfrm>
            <a:custGeom>
              <a:avLst/>
              <a:gdLst/>
              <a:ahLst/>
              <a:cxnLst>
                <a:cxn ang="0">
                  <a:pos x="21" y="6"/>
                </a:cxn>
                <a:cxn ang="0">
                  <a:pos x="8" y="1"/>
                </a:cxn>
                <a:cxn ang="0">
                  <a:pos x="3" y="0"/>
                </a:cxn>
                <a:cxn ang="0">
                  <a:pos x="0" y="3"/>
                </a:cxn>
                <a:cxn ang="0">
                  <a:pos x="0" y="6"/>
                </a:cxn>
                <a:cxn ang="0">
                  <a:pos x="4" y="11"/>
                </a:cxn>
                <a:cxn ang="0">
                  <a:pos x="21" y="24"/>
                </a:cxn>
                <a:cxn ang="0">
                  <a:pos x="50" y="43"/>
                </a:cxn>
                <a:cxn ang="0">
                  <a:pos x="83" y="64"/>
                </a:cxn>
                <a:cxn ang="0">
                  <a:pos x="113" y="79"/>
                </a:cxn>
                <a:cxn ang="0">
                  <a:pos x="131" y="87"/>
                </a:cxn>
                <a:cxn ang="0">
                  <a:pos x="138" y="87"/>
                </a:cxn>
                <a:cxn ang="0">
                  <a:pos x="142" y="85"/>
                </a:cxn>
                <a:cxn ang="0">
                  <a:pos x="141" y="82"/>
                </a:cxn>
                <a:cxn ang="0">
                  <a:pos x="138" y="79"/>
                </a:cxn>
                <a:cxn ang="0">
                  <a:pos x="133" y="75"/>
                </a:cxn>
                <a:cxn ang="0">
                  <a:pos x="115" y="60"/>
                </a:cxn>
                <a:cxn ang="0">
                  <a:pos x="97" y="47"/>
                </a:cxn>
                <a:cxn ang="0">
                  <a:pos x="48" y="19"/>
                </a:cxn>
                <a:cxn ang="0">
                  <a:pos x="21" y="6"/>
                </a:cxn>
              </a:cxnLst>
              <a:rect l="0" t="0" r="r" b="b"/>
              <a:pathLst>
                <a:path w="142" h="87">
                  <a:moveTo>
                    <a:pt x="21" y="6"/>
                  </a:moveTo>
                  <a:lnTo>
                    <a:pt x="8" y="1"/>
                  </a:lnTo>
                  <a:lnTo>
                    <a:pt x="3" y="0"/>
                  </a:lnTo>
                  <a:lnTo>
                    <a:pt x="0" y="3"/>
                  </a:lnTo>
                  <a:lnTo>
                    <a:pt x="0" y="6"/>
                  </a:lnTo>
                  <a:lnTo>
                    <a:pt x="4" y="11"/>
                  </a:lnTo>
                  <a:lnTo>
                    <a:pt x="21" y="24"/>
                  </a:lnTo>
                  <a:lnTo>
                    <a:pt x="50" y="43"/>
                  </a:lnTo>
                  <a:lnTo>
                    <a:pt x="83" y="64"/>
                  </a:lnTo>
                  <a:lnTo>
                    <a:pt x="113" y="79"/>
                  </a:lnTo>
                  <a:lnTo>
                    <a:pt x="131" y="87"/>
                  </a:lnTo>
                  <a:lnTo>
                    <a:pt x="138" y="87"/>
                  </a:lnTo>
                  <a:lnTo>
                    <a:pt x="142" y="85"/>
                  </a:lnTo>
                  <a:lnTo>
                    <a:pt x="141" y="82"/>
                  </a:lnTo>
                  <a:lnTo>
                    <a:pt x="138" y="79"/>
                  </a:lnTo>
                  <a:lnTo>
                    <a:pt x="133" y="75"/>
                  </a:lnTo>
                  <a:lnTo>
                    <a:pt x="115" y="60"/>
                  </a:lnTo>
                  <a:lnTo>
                    <a:pt x="97" y="47"/>
                  </a:lnTo>
                  <a:lnTo>
                    <a:pt x="48" y="19"/>
                  </a:lnTo>
                  <a:lnTo>
                    <a:pt x="21" y="6"/>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1" name="Freeform 94"/>
            <p:cNvSpPr>
              <a:spLocks/>
            </p:cNvSpPr>
            <p:nvPr userDrawn="1"/>
          </p:nvSpPr>
          <p:spPr bwMode="auto">
            <a:xfrm>
              <a:off x="7983538" y="6381751"/>
              <a:ext cx="44450" cy="26988"/>
            </a:xfrm>
            <a:custGeom>
              <a:avLst/>
              <a:gdLst/>
              <a:ahLst/>
              <a:cxnLst>
                <a:cxn ang="0">
                  <a:pos x="0" y="84"/>
                </a:cxn>
                <a:cxn ang="0">
                  <a:pos x="6" y="84"/>
                </a:cxn>
                <a:cxn ang="0">
                  <a:pos x="24" y="76"/>
                </a:cxn>
                <a:cxn ang="0">
                  <a:pos x="49" y="66"/>
                </a:cxn>
                <a:cxn ang="0">
                  <a:pos x="75" y="51"/>
                </a:cxn>
                <a:cxn ang="0">
                  <a:pos x="124" y="18"/>
                </a:cxn>
                <a:cxn ang="0">
                  <a:pos x="139" y="7"/>
                </a:cxn>
                <a:cxn ang="0">
                  <a:pos x="142" y="0"/>
                </a:cxn>
                <a:cxn ang="0">
                  <a:pos x="135" y="0"/>
                </a:cxn>
                <a:cxn ang="0">
                  <a:pos x="117" y="6"/>
                </a:cxn>
                <a:cxn ang="0">
                  <a:pos x="93" y="16"/>
                </a:cxn>
                <a:cxn ang="0">
                  <a:pos x="65" y="32"/>
                </a:cxn>
                <a:cxn ang="0">
                  <a:pos x="39" y="49"/>
                </a:cxn>
                <a:cxn ang="0">
                  <a:pos x="17" y="64"/>
                </a:cxn>
                <a:cxn ang="0">
                  <a:pos x="3" y="76"/>
                </a:cxn>
                <a:cxn ang="0">
                  <a:pos x="0" y="80"/>
                </a:cxn>
                <a:cxn ang="0">
                  <a:pos x="0" y="84"/>
                </a:cxn>
              </a:cxnLst>
              <a:rect l="0" t="0" r="r" b="b"/>
              <a:pathLst>
                <a:path w="142" h="84">
                  <a:moveTo>
                    <a:pt x="0" y="84"/>
                  </a:moveTo>
                  <a:lnTo>
                    <a:pt x="6" y="84"/>
                  </a:lnTo>
                  <a:lnTo>
                    <a:pt x="24" y="76"/>
                  </a:lnTo>
                  <a:lnTo>
                    <a:pt x="49" y="66"/>
                  </a:lnTo>
                  <a:lnTo>
                    <a:pt x="75" y="51"/>
                  </a:lnTo>
                  <a:lnTo>
                    <a:pt x="124" y="18"/>
                  </a:lnTo>
                  <a:lnTo>
                    <a:pt x="139" y="7"/>
                  </a:lnTo>
                  <a:lnTo>
                    <a:pt x="142" y="0"/>
                  </a:lnTo>
                  <a:lnTo>
                    <a:pt x="135" y="0"/>
                  </a:lnTo>
                  <a:lnTo>
                    <a:pt x="117" y="6"/>
                  </a:lnTo>
                  <a:lnTo>
                    <a:pt x="93" y="16"/>
                  </a:lnTo>
                  <a:lnTo>
                    <a:pt x="65" y="32"/>
                  </a:lnTo>
                  <a:lnTo>
                    <a:pt x="39" y="49"/>
                  </a:lnTo>
                  <a:lnTo>
                    <a:pt x="17" y="64"/>
                  </a:lnTo>
                  <a:lnTo>
                    <a:pt x="3" y="76"/>
                  </a:lnTo>
                  <a:lnTo>
                    <a:pt x="0" y="80"/>
                  </a:lnTo>
                  <a:lnTo>
                    <a:pt x="0" y="8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2" name="Freeform 95"/>
            <p:cNvSpPr>
              <a:spLocks/>
            </p:cNvSpPr>
            <p:nvPr userDrawn="1"/>
          </p:nvSpPr>
          <p:spPr bwMode="auto">
            <a:xfrm>
              <a:off x="8040688" y="6365876"/>
              <a:ext cx="11113" cy="11113"/>
            </a:xfrm>
            <a:custGeom>
              <a:avLst/>
              <a:gdLst/>
              <a:ahLst/>
              <a:cxnLst>
                <a:cxn ang="0">
                  <a:pos x="5" y="30"/>
                </a:cxn>
                <a:cxn ang="0">
                  <a:pos x="10" y="33"/>
                </a:cxn>
                <a:cxn ang="0">
                  <a:pos x="17" y="34"/>
                </a:cxn>
                <a:cxn ang="0">
                  <a:pos x="23" y="33"/>
                </a:cxn>
                <a:cxn ang="0">
                  <a:pos x="28" y="30"/>
                </a:cxn>
                <a:cxn ang="0">
                  <a:pos x="33" y="24"/>
                </a:cxn>
                <a:cxn ang="0">
                  <a:pos x="34" y="18"/>
                </a:cxn>
                <a:cxn ang="0">
                  <a:pos x="33" y="10"/>
                </a:cxn>
                <a:cxn ang="0">
                  <a:pos x="28" y="4"/>
                </a:cxn>
                <a:cxn ang="0">
                  <a:pos x="23" y="1"/>
                </a:cxn>
                <a:cxn ang="0">
                  <a:pos x="17" y="0"/>
                </a:cxn>
                <a:cxn ang="0">
                  <a:pos x="10" y="1"/>
                </a:cxn>
                <a:cxn ang="0">
                  <a:pos x="5" y="4"/>
                </a:cxn>
                <a:cxn ang="0">
                  <a:pos x="1" y="10"/>
                </a:cxn>
                <a:cxn ang="0">
                  <a:pos x="0" y="18"/>
                </a:cxn>
                <a:cxn ang="0">
                  <a:pos x="1" y="24"/>
                </a:cxn>
                <a:cxn ang="0">
                  <a:pos x="5" y="30"/>
                </a:cxn>
              </a:cxnLst>
              <a:rect l="0" t="0" r="r" b="b"/>
              <a:pathLst>
                <a:path w="34" h="34">
                  <a:moveTo>
                    <a:pt x="5" y="30"/>
                  </a:moveTo>
                  <a:lnTo>
                    <a:pt x="10" y="33"/>
                  </a:lnTo>
                  <a:lnTo>
                    <a:pt x="17" y="34"/>
                  </a:lnTo>
                  <a:lnTo>
                    <a:pt x="23" y="33"/>
                  </a:lnTo>
                  <a:lnTo>
                    <a:pt x="28" y="30"/>
                  </a:lnTo>
                  <a:lnTo>
                    <a:pt x="33" y="24"/>
                  </a:lnTo>
                  <a:lnTo>
                    <a:pt x="34" y="18"/>
                  </a:lnTo>
                  <a:lnTo>
                    <a:pt x="33" y="10"/>
                  </a:lnTo>
                  <a:lnTo>
                    <a:pt x="28" y="4"/>
                  </a:lnTo>
                  <a:lnTo>
                    <a:pt x="23" y="1"/>
                  </a:lnTo>
                  <a:lnTo>
                    <a:pt x="17" y="0"/>
                  </a:lnTo>
                  <a:lnTo>
                    <a:pt x="10" y="1"/>
                  </a:lnTo>
                  <a:lnTo>
                    <a:pt x="5" y="4"/>
                  </a:lnTo>
                  <a:lnTo>
                    <a:pt x="1" y="10"/>
                  </a:lnTo>
                  <a:lnTo>
                    <a:pt x="0" y="18"/>
                  </a:lnTo>
                  <a:lnTo>
                    <a:pt x="1" y="24"/>
                  </a:lnTo>
                  <a:lnTo>
                    <a:pt x="5" y="30"/>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3" name="Freeform 96"/>
            <p:cNvSpPr>
              <a:spLocks/>
            </p:cNvSpPr>
            <p:nvPr userDrawn="1"/>
          </p:nvSpPr>
          <p:spPr bwMode="auto">
            <a:xfrm>
              <a:off x="8042275" y="6302376"/>
              <a:ext cx="6350" cy="52388"/>
            </a:xfrm>
            <a:custGeom>
              <a:avLst/>
              <a:gdLst/>
              <a:ahLst/>
              <a:cxnLst>
                <a:cxn ang="0">
                  <a:pos x="0" y="83"/>
                </a:cxn>
                <a:cxn ang="0">
                  <a:pos x="0" y="114"/>
                </a:cxn>
                <a:cxn ang="0">
                  <a:pos x="3" y="142"/>
                </a:cxn>
                <a:cxn ang="0">
                  <a:pos x="6" y="160"/>
                </a:cxn>
                <a:cxn ang="0">
                  <a:pos x="9" y="164"/>
                </a:cxn>
                <a:cxn ang="0">
                  <a:pos x="11" y="166"/>
                </a:cxn>
                <a:cxn ang="0">
                  <a:pos x="15" y="160"/>
                </a:cxn>
                <a:cxn ang="0">
                  <a:pos x="18" y="142"/>
                </a:cxn>
                <a:cxn ang="0">
                  <a:pos x="21" y="83"/>
                </a:cxn>
                <a:cxn ang="0">
                  <a:pos x="21" y="50"/>
                </a:cxn>
                <a:cxn ang="0">
                  <a:pos x="18" y="24"/>
                </a:cxn>
                <a:cxn ang="0">
                  <a:pos x="15" y="6"/>
                </a:cxn>
                <a:cxn ang="0">
                  <a:pos x="11" y="0"/>
                </a:cxn>
                <a:cxn ang="0">
                  <a:pos x="6" y="6"/>
                </a:cxn>
                <a:cxn ang="0">
                  <a:pos x="4" y="24"/>
                </a:cxn>
                <a:cxn ang="0">
                  <a:pos x="0" y="50"/>
                </a:cxn>
                <a:cxn ang="0">
                  <a:pos x="0" y="83"/>
                </a:cxn>
              </a:cxnLst>
              <a:rect l="0" t="0" r="r" b="b"/>
              <a:pathLst>
                <a:path w="21" h="166">
                  <a:moveTo>
                    <a:pt x="0" y="83"/>
                  </a:moveTo>
                  <a:lnTo>
                    <a:pt x="0" y="114"/>
                  </a:lnTo>
                  <a:lnTo>
                    <a:pt x="3" y="142"/>
                  </a:lnTo>
                  <a:lnTo>
                    <a:pt x="6" y="160"/>
                  </a:lnTo>
                  <a:lnTo>
                    <a:pt x="9" y="164"/>
                  </a:lnTo>
                  <a:lnTo>
                    <a:pt x="11" y="166"/>
                  </a:lnTo>
                  <a:lnTo>
                    <a:pt x="15" y="160"/>
                  </a:lnTo>
                  <a:lnTo>
                    <a:pt x="18" y="142"/>
                  </a:lnTo>
                  <a:lnTo>
                    <a:pt x="21" y="83"/>
                  </a:lnTo>
                  <a:lnTo>
                    <a:pt x="21" y="50"/>
                  </a:lnTo>
                  <a:lnTo>
                    <a:pt x="18" y="24"/>
                  </a:lnTo>
                  <a:lnTo>
                    <a:pt x="15" y="6"/>
                  </a:lnTo>
                  <a:lnTo>
                    <a:pt x="11" y="0"/>
                  </a:lnTo>
                  <a:lnTo>
                    <a:pt x="6" y="6"/>
                  </a:lnTo>
                  <a:lnTo>
                    <a:pt x="4" y="24"/>
                  </a:lnTo>
                  <a:lnTo>
                    <a:pt x="0" y="50"/>
                  </a:lnTo>
                  <a:lnTo>
                    <a:pt x="0" y="83"/>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4" name="Freeform 97"/>
            <p:cNvSpPr>
              <a:spLocks noEditPoints="1"/>
            </p:cNvSpPr>
            <p:nvPr userDrawn="1"/>
          </p:nvSpPr>
          <p:spPr bwMode="auto">
            <a:xfrm>
              <a:off x="7867650" y="6257926"/>
              <a:ext cx="107950" cy="198438"/>
            </a:xfrm>
            <a:custGeom>
              <a:avLst/>
              <a:gdLst/>
              <a:ahLst/>
              <a:cxnLst>
                <a:cxn ang="0">
                  <a:pos x="140" y="607"/>
                </a:cxn>
                <a:cxn ang="0">
                  <a:pos x="154" y="432"/>
                </a:cxn>
                <a:cxn ang="0">
                  <a:pos x="174" y="432"/>
                </a:cxn>
                <a:cxn ang="0">
                  <a:pos x="304" y="257"/>
                </a:cxn>
                <a:cxn ang="0">
                  <a:pos x="340" y="291"/>
                </a:cxn>
                <a:cxn ang="0">
                  <a:pos x="332" y="298"/>
                </a:cxn>
                <a:cxn ang="0">
                  <a:pos x="256" y="268"/>
                </a:cxn>
                <a:cxn ang="0">
                  <a:pos x="187" y="216"/>
                </a:cxn>
                <a:cxn ang="0">
                  <a:pos x="185" y="280"/>
                </a:cxn>
                <a:cxn ang="0">
                  <a:pos x="195" y="598"/>
                </a:cxn>
                <a:cxn ang="0">
                  <a:pos x="214" y="608"/>
                </a:cxn>
                <a:cxn ang="0">
                  <a:pos x="130" y="607"/>
                </a:cxn>
                <a:cxn ang="0">
                  <a:pos x="148" y="598"/>
                </a:cxn>
                <a:cxn ang="0">
                  <a:pos x="161" y="220"/>
                </a:cxn>
                <a:cxn ang="0">
                  <a:pos x="119" y="243"/>
                </a:cxn>
                <a:cxn ang="0">
                  <a:pos x="30" y="290"/>
                </a:cxn>
                <a:cxn ang="0">
                  <a:pos x="0" y="293"/>
                </a:cxn>
                <a:cxn ang="0">
                  <a:pos x="8" y="277"/>
                </a:cxn>
                <a:cxn ang="0">
                  <a:pos x="72" y="231"/>
                </a:cxn>
                <a:cxn ang="0">
                  <a:pos x="148" y="197"/>
                </a:cxn>
                <a:cxn ang="0">
                  <a:pos x="162" y="177"/>
                </a:cxn>
                <a:cxn ang="0">
                  <a:pos x="155" y="131"/>
                </a:cxn>
                <a:cxn ang="0">
                  <a:pos x="159" y="29"/>
                </a:cxn>
                <a:cxn ang="0">
                  <a:pos x="172" y="0"/>
                </a:cxn>
                <a:cxn ang="0">
                  <a:pos x="184" y="29"/>
                </a:cxn>
                <a:cxn ang="0">
                  <a:pos x="187" y="131"/>
                </a:cxn>
                <a:cxn ang="0">
                  <a:pos x="189" y="180"/>
                </a:cxn>
                <a:cxn ang="0">
                  <a:pos x="196" y="200"/>
                </a:cxn>
                <a:cxn ang="0">
                  <a:pos x="269" y="233"/>
                </a:cxn>
                <a:cxn ang="0">
                  <a:pos x="212" y="214"/>
                </a:cxn>
                <a:cxn ang="0">
                  <a:pos x="226" y="230"/>
                </a:cxn>
                <a:cxn ang="0">
                  <a:pos x="291" y="268"/>
                </a:cxn>
                <a:cxn ang="0">
                  <a:pos x="311" y="273"/>
                </a:cxn>
                <a:cxn ang="0">
                  <a:pos x="280" y="246"/>
                </a:cxn>
                <a:cxn ang="0">
                  <a:pos x="26" y="274"/>
                </a:cxn>
                <a:cxn ang="0">
                  <a:pos x="79" y="251"/>
                </a:cxn>
                <a:cxn ang="0">
                  <a:pos x="126" y="215"/>
                </a:cxn>
                <a:cxn ang="0">
                  <a:pos x="92" y="227"/>
                </a:cxn>
                <a:cxn ang="0">
                  <a:pos x="28" y="269"/>
                </a:cxn>
                <a:cxn ang="0">
                  <a:pos x="166" y="206"/>
                </a:cxn>
                <a:cxn ang="0">
                  <a:pos x="178" y="189"/>
                </a:cxn>
                <a:cxn ang="0">
                  <a:pos x="157" y="185"/>
                </a:cxn>
                <a:cxn ang="0">
                  <a:pos x="157" y="203"/>
                </a:cxn>
                <a:cxn ang="0">
                  <a:pos x="163" y="151"/>
                </a:cxn>
                <a:cxn ang="0">
                  <a:pos x="172" y="138"/>
                </a:cxn>
                <a:cxn ang="0">
                  <a:pos x="167" y="38"/>
                </a:cxn>
                <a:cxn ang="0">
                  <a:pos x="159" y="97"/>
                </a:cxn>
              </a:cxnLst>
              <a:rect l="0" t="0" r="r" b="b"/>
              <a:pathLst>
                <a:path w="340" h="625">
                  <a:moveTo>
                    <a:pt x="163" y="600"/>
                  </a:moveTo>
                  <a:lnTo>
                    <a:pt x="140" y="600"/>
                  </a:lnTo>
                  <a:lnTo>
                    <a:pt x="140" y="607"/>
                  </a:lnTo>
                  <a:lnTo>
                    <a:pt x="163" y="607"/>
                  </a:lnTo>
                  <a:lnTo>
                    <a:pt x="163" y="600"/>
                  </a:lnTo>
                  <a:close/>
                  <a:moveTo>
                    <a:pt x="154" y="432"/>
                  </a:moveTo>
                  <a:lnTo>
                    <a:pt x="154" y="596"/>
                  </a:lnTo>
                  <a:lnTo>
                    <a:pt x="174" y="596"/>
                  </a:lnTo>
                  <a:lnTo>
                    <a:pt x="174" y="432"/>
                  </a:lnTo>
                  <a:lnTo>
                    <a:pt x="154" y="432"/>
                  </a:lnTo>
                  <a:close/>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moveTo>
                    <a:pt x="226" y="218"/>
                  </a:moveTo>
                  <a:lnTo>
                    <a:pt x="216" y="214"/>
                  </a:lnTo>
                  <a:lnTo>
                    <a:pt x="212" y="214"/>
                  </a:lnTo>
                  <a:lnTo>
                    <a:pt x="212" y="216"/>
                  </a:lnTo>
                  <a:lnTo>
                    <a:pt x="214" y="221"/>
                  </a:lnTo>
                  <a:lnTo>
                    <a:pt x="226" y="230"/>
                  </a:lnTo>
                  <a:lnTo>
                    <a:pt x="246" y="244"/>
                  </a:lnTo>
                  <a:lnTo>
                    <a:pt x="269" y="257"/>
                  </a:lnTo>
                  <a:lnTo>
                    <a:pt x="291" y="268"/>
                  </a:lnTo>
                  <a:lnTo>
                    <a:pt x="304" y="274"/>
                  </a:lnTo>
                  <a:lnTo>
                    <a:pt x="309" y="274"/>
                  </a:lnTo>
                  <a:lnTo>
                    <a:pt x="311" y="273"/>
                  </a:lnTo>
                  <a:lnTo>
                    <a:pt x="309" y="268"/>
                  </a:lnTo>
                  <a:lnTo>
                    <a:pt x="305" y="266"/>
                  </a:lnTo>
                  <a:lnTo>
                    <a:pt x="280" y="246"/>
                  </a:lnTo>
                  <a:lnTo>
                    <a:pt x="245" y="226"/>
                  </a:lnTo>
                  <a:lnTo>
                    <a:pt x="226" y="218"/>
                  </a:lnTo>
                  <a:close/>
                  <a:moveTo>
                    <a:pt x="26" y="274"/>
                  </a:moveTo>
                  <a:lnTo>
                    <a:pt x="31" y="274"/>
                  </a:lnTo>
                  <a:lnTo>
                    <a:pt x="43" y="269"/>
                  </a:lnTo>
                  <a:lnTo>
                    <a:pt x="79" y="251"/>
                  </a:lnTo>
                  <a:lnTo>
                    <a:pt x="114" y="227"/>
                  </a:lnTo>
                  <a:lnTo>
                    <a:pt x="124" y="220"/>
                  </a:lnTo>
                  <a:lnTo>
                    <a:pt x="126" y="215"/>
                  </a:lnTo>
                  <a:lnTo>
                    <a:pt x="121" y="215"/>
                  </a:lnTo>
                  <a:lnTo>
                    <a:pt x="109" y="219"/>
                  </a:lnTo>
                  <a:lnTo>
                    <a:pt x="92" y="227"/>
                  </a:lnTo>
                  <a:lnTo>
                    <a:pt x="73" y="238"/>
                  </a:lnTo>
                  <a:lnTo>
                    <a:pt x="38" y="261"/>
                  </a:lnTo>
                  <a:lnTo>
                    <a:pt x="28" y="269"/>
                  </a:lnTo>
                  <a:lnTo>
                    <a:pt x="26" y="274"/>
                  </a:lnTo>
                  <a:close/>
                  <a:moveTo>
                    <a:pt x="157" y="203"/>
                  </a:moveTo>
                  <a:lnTo>
                    <a:pt x="166" y="206"/>
                  </a:lnTo>
                  <a:lnTo>
                    <a:pt x="174" y="203"/>
                  </a:lnTo>
                  <a:lnTo>
                    <a:pt x="179" y="194"/>
                  </a:lnTo>
                  <a:lnTo>
                    <a:pt x="178" y="189"/>
                  </a:lnTo>
                  <a:lnTo>
                    <a:pt x="174" y="185"/>
                  </a:lnTo>
                  <a:lnTo>
                    <a:pt x="166" y="182"/>
                  </a:lnTo>
                  <a:lnTo>
                    <a:pt x="157" y="185"/>
                  </a:lnTo>
                  <a:lnTo>
                    <a:pt x="155" y="194"/>
                  </a:lnTo>
                  <a:lnTo>
                    <a:pt x="155" y="198"/>
                  </a:lnTo>
                  <a:lnTo>
                    <a:pt x="157" y="203"/>
                  </a:lnTo>
                  <a:close/>
                  <a:moveTo>
                    <a:pt x="159" y="97"/>
                  </a:moveTo>
                  <a:lnTo>
                    <a:pt x="161" y="138"/>
                  </a:lnTo>
                  <a:lnTo>
                    <a:pt x="163" y="151"/>
                  </a:lnTo>
                  <a:lnTo>
                    <a:pt x="166" y="156"/>
                  </a:lnTo>
                  <a:lnTo>
                    <a:pt x="169" y="151"/>
                  </a:lnTo>
                  <a:lnTo>
                    <a:pt x="172" y="138"/>
                  </a:lnTo>
                  <a:lnTo>
                    <a:pt x="173" y="97"/>
                  </a:lnTo>
                  <a:lnTo>
                    <a:pt x="172" y="55"/>
                  </a:lnTo>
                  <a:lnTo>
                    <a:pt x="167" y="38"/>
                  </a:lnTo>
                  <a:lnTo>
                    <a:pt x="163" y="43"/>
                  </a:lnTo>
                  <a:lnTo>
                    <a:pt x="161" y="55"/>
                  </a:lnTo>
                  <a:lnTo>
                    <a:pt x="159" y="97"/>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5" name="Rectangle 98"/>
            <p:cNvSpPr>
              <a:spLocks noChangeArrowheads="1"/>
            </p:cNvSpPr>
            <p:nvPr userDrawn="1"/>
          </p:nvSpPr>
          <p:spPr bwMode="auto">
            <a:xfrm>
              <a:off x="7912100" y="6448426"/>
              <a:ext cx="6350" cy="15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6" name="Rectangle 99"/>
            <p:cNvSpPr>
              <a:spLocks noChangeArrowheads="1"/>
            </p:cNvSpPr>
            <p:nvPr userDrawn="1"/>
          </p:nvSpPr>
          <p:spPr bwMode="auto">
            <a:xfrm>
              <a:off x="7916863" y="6394451"/>
              <a:ext cx="6350" cy="523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7" name="Freeform 100"/>
            <p:cNvSpPr>
              <a:spLocks/>
            </p:cNvSpPr>
            <p:nvPr userDrawn="1"/>
          </p:nvSpPr>
          <p:spPr bwMode="auto">
            <a:xfrm>
              <a:off x="7867650" y="6257926"/>
              <a:ext cx="107950" cy="198438"/>
            </a:xfrm>
            <a:custGeom>
              <a:avLst/>
              <a:gdLst/>
              <a:ahLst/>
              <a:cxnLst>
                <a:cxn ang="0">
                  <a:pos x="304" y="257"/>
                </a:cxn>
                <a:cxn ang="0">
                  <a:pos x="337" y="286"/>
                </a:cxn>
                <a:cxn ang="0">
                  <a:pos x="339" y="295"/>
                </a:cxn>
                <a:cxn ang="0">
                  <a:pos x="332" y="298"/>
                </a:cxn>
                <a:cxn ang="0">
                  <a:pos x="286" y="283"/>
                </a:cxn>
                <a:cxn ang="0">
                  <a:pos x="227" y="250"/>
                </a:cxn>
                <a:cxn ang="0">
                  <a:pos x="187" y="216"/>
                </a:cxn>
                <a:cxn ang="0">
                  <a:pos x="184" y="242"/>
                </a:cxn>
                <a:cxn ang="0">
                  <a:pos x="190" y="424"/>
                </a:cxn>
                <a:cxn ang="0">
                  <a:pos x="195" y="598"/>
                </a:cxn>
                <a:cxn ang="0">
                  <a:pos x="204" y="608"/>
                </a:cxn>
                <a:cxn ang="0">
                  <a:pos x="214" y="625"/>
                </a:cxn>
                <a:cxn ang="0">
                  <a:pos x="130" y="607"/>
                </a:cxn>
                <a:cxn ang="0">
                  <a:pos x="138" y="598"/>
                </a:cxn>
                <a:cxn ang="0">
                  <a:pos x="149" y="424"/>
                </a:cxn>
                <a:cxn ang="0">
                  <a:pos x="161" y="220"/>
                </a:cxn>
                <a:cxn ang="0">
                  <a:pos x="143" y="224"/>
                </a:cxn>
                <a:cxn ang="0">
                  <a:pos x="89" y="262"/>
                </a:cxn>
                <a:cxn ang="0">
                  <a:pos x="30" y="290"/>
                </a:cxn>
                <a:cxn ang="0">
                  <a:pos x="3" y="296"/>
                </a:cxn>
                <a:cxn ang="0">
                  <a:pos x="0" y="290"/>
                </a:cxn>
                <a:cxn ang="0">
                  <a:pos x="8" y="277"/>
                </a:cxn>
                <a:cxn ang="0">
                  <a:pos x="42" y="250"/>
                </a:cxn>
                <a:cxn ang="0">
                  <a:pos x="103" y="214"/>
                </a:cxn>
                <a:cxn ang="0">
                  <a:pos x="148" y="197"/>
                </a:cxn>
                <a:cxn ang="0">
                  <a:pos x="155" y="180"/>
                </a:cxn>
                <a:cxn ang="0">
                  <a:pos x="159" y="161"/>
                </a:cxn>
                <a:cxn ang="0">
                  <a:pos x="155" y="131"/>
                </a:cxn>
                <a:cxn ang="0">
                  <a:pos x="155" y="59"/>
                </a:cxn>
                <a:cxn ang="0">
                  <a:pos x="165" y="7"/>
                </a:cxn>
                <a:cxn ang="0">
                  <a:pos x="172" y="0"/>
                </a:cxn>
                <a:cxn ang="0">
                  <a:pos x="178" y="7"/>
                </a:cxn>
                <a:cxn ang="0">
                  <a:pos x="187" y="59"/>
                </a:cxn>
                <a:cxn ang="0">
                  <a:pos x="187" y="131"/>
                </a:cxn>
                <a:cxn ang="0">
                  <a:pos x="180" y="176"/>
                </a:cxn>
                <a:cxn ang="0">
                  <a:pos x="193" y="189"/>
                </a:cxn>
                <a:cxn ang="0">
                  <a:pos x="196" y="200"/>
                </a:cxn>
                <a:cxn ang="0">
                  <a:pos x="233" y="214"/>
                </a:cxn>
              </a:cxnLst>
              <a:rect l="0" t="0" r="r" b="b"/>
              <a:pathLst>
                <a:path w="340" h="625">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8" name="Freeform 101"/>
            <p:cNvSpPr>
              <a:spLocks/>
            </p:cNvSpPr>
            <p:nvPr userDrawn="1"/>
          </p:nvSpPr>
          <p:spPr bwMode="auto">
            <a:xfrm>
              <a:off x="7934325" y="6326188"/>
              <a:ext cx="31750" cy="19050"/>
            </a:xfrm>
            <a:custGeom>
              <a:avLst/>
              <a:gdLst/>
              <a:ahLst/>
              <a:cxnLst>
                <a:cxn ang="0">
                  <a:pos x="14" y="4"/>
                </a:cxn>
                <a:cxn ang="0">
                  <a:pos x="4" y="0"/>
                </a:cxn>
                <a:cxn ang="0">
                  <a:pos x="0" y="0"/>
                </a:cxn>
                <a:cxn ang="0">
                  <a:pos x="0" y="2"/>
                </a:cxn>
                <a:cxn ang="0">
                  <a:pos x="2" y="7"/>
                </a:cxn>
                <a:cxn ang="0">
                  <a:pos x="14" y="16"/>
                </a:cxn>
                <a:cxn ang="0">
                  <a:pos x="34" y="30"/>
                </a:cxn>
                <a:cxn ang="0">
                  <a:pos x="57" y="43"/>
                </a:cxn>
                <a:cxn ang="0">
                  <a:pos x="79" y="54"/>
                </a:cxn>
                <a:cxn ang="0">
                  <a:pos x="92" y="60"/>
                </a:cxn>
                <a:cxn ang="0">
                  <a:pos x="97" y="60"/>
                </a:cxn>
                <a:cxn ang="0">
                  <a:pos x="99" y="59"/>
                </a:cxn>
                <a:cxn ang="0">
                  <a:pos x="97" y="54"/>
                </a:cxn>
                <a:cxn ang="0">
                  <a:pos x="93" y="52"/>
                </a:cxn>
                <a:cxn ang="0">
                  <a:pos x="68" y="32"/>
                </a:cxn>
                <a:cxn ang="0">
                  <a:pos x="33" y="12"/>
                </a:cxn>
                <a:cxn ang="0">
                  <a:pos x="14" y="4"/>
                </a:cxn>
              </a:cxnLst>
              <a:rect l="0" t="0" r="r" b="b"/>
              <a:pathLst>
                <a:path w="99" h="60">
                  <a:moveTo>
                    <a:pt x="14" y="4"/>
                  </a:moveTo>
                  <a:lnTo>
                    <a:pt x="4" y="0"/>
                  </a:lnTo>
                  <a:lnTo>
                    <a:pt x="0" y="0"/>
                  </a:lnTo>
                  <a:lnTo>
                    <a:pt x="0" y="2"/>
                  </a:lnTo>
                  <a:lnTo>
                    <a:pt x="2" y="7"/>
                  </a:lnTo>
                  <a:lnTo>
                    <a:pt x="14" y="16"/>
                  </a:lnTo>
                  <a:lnTo>
                    <a:pt x="34" y="30"/>
                  </a:lnTo>
                  <a:lnTo>
                    <a:pt x="57" y="43"/>
                  </a:lnTo>
                  <a:lnTo>
                    <a:pt x="79" y="54"/>
                  </a:lnTo>
                  <a:lnTo>
                    <a:pt x="92" y="60"/>
                  </a:lnTo>
                  <a:lnTo>
                    <a:pt x="97" y="60"/>
                  </a:lnTo>
                  <a:lnTo>
                    <a:pt x="99" y="59"/>
                  </a:lnTo>
                  <a:lnTo>
                    <a:pt x="97" y="54"/>
                  </a:lnTo>
                  <a:lnTo>
                    <a:pt x="93" y="52"/>
                  </a:lnTo>
                  <a:lnTo>
                    <a:pt x="68" y="32"/>
                  </a:lnTo>
                  <a:lnTo>
                    <a:pt x="33" y="12"/>
                  </a:lnTo>
                  <a:lnTo>
                    <a:pt x="14" y="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9" name="Freeform 102"/>
            <p:cNvSpPr>
              <a:spLocks/>
            </p:cNvSpPr>
            <p:nvPr userDrawn="1"/>
          </p:nvSpPr>
          <p:spPr bwMode="auto">
            <a:xfrm>
              <a:off x="7875588" y="6326188"/>
              <a:ext cx="31750" cy="19050"/>
            </a:xfrm>
            <a:custGeom>
              <a:avLst/>
              <a:gdLst/>
              <a:ahLst/>
              <a:cxnLst>
                <a:cxn ang="0">
                  <a:pos x="0" y="59"/>
                </a:cxn>
                <a:cxn ang="0">
                  <a:pos x="5" y="59"/>
                </a:cxn>
                <a:cxn ang="0">
                  <a:pos x="17" y="54"/>
                </a:cxn>
                <a:cxn ang="0">
                  <a:pos x="53" y="36"/>
                </a:cxn>
                <a:cxn ang="0">
                  <a:pos x="88" y="12"/>
                </a:cxn>
                <a:cxn ang="0">
                  <a:pos x="98" y="5"/>
                </a:cxn>
                <a:cxn ang="0">
                  <a:pos x="100" y="0"/>
                </a:cxn>
                <a:cxn ang="0">
                  <a:pos x="95" y="0"/>
                </a:cxn>
                <a:cxn ang="0">
                  <a:pos x="83" y="4"/>
                </a:cxn>
                <a:cxn ang="0">
                  <a:pos x="66" y="12"/>
                </a:cxn>
                <a:cxn ang="0">
                  <a:pos x="47" y="23"/>
                </a:cxn>
                <a:cxn ang="0">
                  <a:pos x="12" y="46"/>
                </a:cxn>
                <a:cxn ang="0">
                  <a:pos x="2" y="54"/>
                </a:cxn>
                <a:cxn ang="0">
                  <a:pos x="0" y="59"/>
                </a:cxn>
              </a:cxnLst>
              <a:rect l="0" t="0" r="r" b="b"/>
              <a:pathLst>
                <a:path w="100" h="59">
                  <a:moveTo>
                    <a:pt x="0" y="59"/>
                  </a:moveTo>
                  <a:lnTo>
                    <a:pt x="5" y="59"/>
                  </a:lnTo>
                  <a:lnTo>
                    <a:pt x="17" y="54"/>
                  </a:lnTo>
                  <a:lnTo>
                    <a:pt x="53" y="36"/>
                  </a:lnTo>
                  <a:lnTo>
                    <a:pt x="88" y="12"/>
                  </a:lnTo>
                  <a:lnTo>
                    <a:pt x="98" y="5"/>
                  </a:lnTo>
                  <a:lnTo>
                    <a:pt x="100" y="0"/>
                  </a:lnTo>
                  <a:lnTo>
                    <a:pt x="95" y="0"/>
                  </a:lnTo>
                  <a:lnTo>
                    <a:pt x="83" y="4"/>
                  </a:lnTo>
                  <a:lnTo>
                    <a:pt x="66" y="12"/>
                  </a:lnTo>
                  <a:lnTo>
                    <a:pt x="47" y="23"/>
                  </a:lnTo>
                  <a:lnTo>
                    <a:pt x="12" y="46"/>
                  </a:lnTo>
                  <a:lnTo>
                    <a:pt x="2" y="54"/>
                  </a:lnTo>
                  <a:lnTo>
                    <a:pt x="0" y="59"/>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0" name="Freeform 103"/>
            <p:cNvSpPr>
              <a:spLocks/>
            </p:cNvSpPr>
            <p:nvPr userDrawn="1"/>
          </p:nvSpPr>
          <p:spPr bwMode="auto">
            <a:xfrm>
              <a:off x="7916863" y="6315076"/>
              <a:ext cx="7938" cy="7938"/>
            </a:xfrm>
            <a:custGeom>
              <a:avLst/>
              <a:gdLst/>
              <a:ahLst/>
              <a:cxnLst>
                <a:cxn ang="0">
                  <a:pos x="2" y="21"/>
                </a:cxn>
                <a:cxn ang="0">
                  <a:pos x="11" y="24"/>
                </a:cxn>
                <a:cxn ang="0">
                  <a:pos x="19" y="21"/>
                </a:cxn>
                <a:cxn ang="0">
                  <a:pos x="24" y="12"/>
                </a:cxn>
                <a:cxn ang="0">
                  <a:pos x="23" y="7"/>
                </a:cxn>
                <a:cxn ang="0">
                  <a:pos x="19" y="3"/>
                </a:cxn>
                <a:cxn ang="0">
                  <a:pos x="11" y="0"/>
                </a:cxn>
                <a:cxn ang="0">
                  <a:pos x="2" y="3"/>
                </a:cxn>
                <a:cxn ang="0">
                  <a:pos x="0" y="12"/>
                </a:cxn>
                <a:cxn ang="0">
                  <a:pos x="0" y="16"/>
                </a:cxn>
                <a:cxn ang="0">
                  <a:pos x="2" y="21"/>
                </a:cxn>
              </a:cxnLst>
              <a:rect l="0" t="0" r="r" b="b"/>
              <a:pathLst>
                <a:path w="24" h="24">
                  <a:moveTo>
                    <a:pt x="2" y="21"/>
                  </a:moveTo>
                  <a:lnTo>
                    <a:pt x="11" y="24"/>
                  </a:lnTo>
                  <a:lnTo>
                    <a:pt x="19" y="21"/>
                  </a:lnTo>
                  <a:lnTo>
                    <a:pt x="24" y="12"/>
                  </a:lnTo>
                  <a:lnTo>
                    <a:pt x="23" y="7"/>
                  </a:lnTo>
                  <a:lnTo>
                    <a:pt x="19" y="3"/>
                  </a:lnTo>
                  <a:lnTo>
                    <a:pt x="11" y="0"/>
                  </a:lnTo>
                  <a:lnTo>
                    <a:pt x="2" y="3"/>
                  </a:lnTo>
                  <a:lnTo>
                    <a:pt x="0" y="12"/>
                  </a:lnTo>
                  <a:lnTo>
                    <a:pt x="0" y="16"/>
                  </a:lnTo>
                  <a:lnTo>
                    <a:pt x="2" y="21"/>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1" name="Freeform 104"/>
            <p:cNvSpPr>
              <a:spLocks/>
            </p:cNvSpPr>
            <p:nvPr userDrawn="1"/>
          </p:nvSpPr>
          <p:spPr bwMode="auto">
            <a:xfrm>
              <a:off x="7918450" y="6269038"/>
              <a:ext cx="3175" cy="38100"/>
            </a:xfrm>
            <a:custGeom>
              <a:avLst/>
              <a:gdLst/>
              <a:ahLst/>
              <a:cxnLst>
                <a:cxn ang="0">
                  <a:pos x="0" y="59"/>
                </a:cxn>
                <a:cxn ang="0">
                  <a:pos x="2" y="100"/>
                </a:cxn>
                <a:cxn ang="0">
                  <a:pos x="4" y="113"/>
                </a:cxn>
                <a:cxn ang="0">
                  <a:pos x="7" y="118"/>
                </a:cxn>
                <a:cxn ang="0">
                  <a:pos x="10" y="113"/>
                </a:cxn>
                <a:cxn ang="0">
                  <a:pos x="13" y="100"/>
                </a:cxn>
                <a:cxn ang="0">
                  <a:pos x="14" y="59"/>
                </a:cxn>
                <a:cxn ang="0">
                  <a:pos x="13" y="17"/>
                </a:cxn>
                <a:cxn ang="0">
                  <a:pos x="8" y="0"/>
                </a:cxn>
                <a:cxn ang="0">
                  <a:pos x="4" y="5"/>
                </a:cxn>
                <a:cxn ang="0">
                  <a:pos x="2" y="17"/>
                </a:cxn>
                <a:cxn ang="0">
                  <a:pos x="0" y="59"/>
                </a:cxn>
              </a:cxnLst>
              <a:rect l="0" t="0" r="r" b="b"/>
              <a:pathLst>
                <a:path w="14" h="118">
                  <a:moveTo>
                    <a:pt x="0" y="59"/>
                  </a:moveTo>
                  <a:lnTo>
                    <a:pt x="2" y="100"/>
                  </a:lnTo>
                  <a:lnTo>
                    <a:pt x="4" y="113"/>
                  </a:lnTo>
                  <a:lnTo>
                    <a:pt x="7" y="118"/>
                  </a:lnTo>
                  <a:lnTo>
                    <a:pt x="10" y="113"/>
                  </a:lnTo>
                  <a:lnTo>
                    <a:pt x="13" y="100"/>
                  </a:lnTo>
                  <a:lnTo>
                    <a:pt x="14" y="59"/>
                  </a:lnTo>
                  <a:lnTo>
                    <a:pt x="13" y="17"/>
                  </a:lnTo>
                  <a:lnTo>
                    <a:pt x="8" y="0"/>
                  </a:lnTo>
                  <a:lnTo>
                    <a:pt x="4" y="5"/>
                  </a:lnTo>
                  <a:lnTo>
                    <a:pt x="2" y="17"/>
                  </a:lnTo>
                  <a:lnTo>
                    <a:pt x="0" y="5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2" name="Freeform 105"/>
            <p:cNvSpPr>
              <a:spLocks noEditPoints="1"/>
            </p:cNvSpPr>
            <p:nvPr userDrawn="1"/>
          </p:nvSpPr>
          <p:spPr bwMode="auto">
            <a:xfrm>
              <a:off x="7807325" y="6242051"/>
              <a:ext cx="131763" cy="244475"/>
            </a:xfrm>
            <a:custGeom>
              <a:avLst/>
              <a:gdLst/>
              <a:ahLst/>
              <a:cxnLst>
                <a:cxn ang="0">
                  <a:pos x="174" y="746"/>
                </a:cxn>
                <a:cxn ang="0">
                  <a:pos x="191" y="530"/>
                </a:cxn>
                <a:cxn ang="0">
                  <a:pos x="216" y="530"/>
                </a:cxn>
                <a:cxn ang="0">
                  <a:pos x="376" y="315"/>
                </a:cxn>
                <a:cxn ang="0">
                  <a:pos x="419" y="357"/>
                </a:cxn>
                <a:cxn ang="0">
                  <a:pos x="409" y="365"/>
                </a:cxn>
                <a:cxn ang="0">
                  <a:pos x="353" y="346"/>
                </a:cxn>
                <a:cxn ang="0">
                  <a:pos x="281" y="306"/>
                </a:cxn>
                <a:cxn ang="0">
                  <a:pos x="227" y="268"/>
                </a:cxn>
                <a:cxn ang="0">
                  <a:pos x="234" y="520"/>
                </a:cxn>
                <a:cxn ang="0">
                  <a:pos x="252" y="734"/>
                </a:cxn>
                <a:cxn ang="0">
                  <a:pos x="265" y="768"/>
                </a:cxn>
                <a:cxn ang="0">
                  <a:pos x="171" y="746"/>
                </a:cxn>
                <a:cxn ang="0">
                  <a:pos x="183" y="520"/>
                </a:cxn>
                <a:cxn ang="0">
                  <a:pos x="192" y="263"/>
                </a:cxn>
                <a:cxn ang="0">
                  <a:pos x="147" y="297"/>
                </a:cxn>
                <a:cxn ang="0">
                  <a:pos x="36" y="356"/>
                </a:cxn>
                <a:cxn ang="0">
                  <a:pos x="0" y="359"/>
                </a:cxn>
                <a:cxn ang="0">
                  <a:pos x="22" y="329"/>
                </a:cxn>
                <a:cxn ang="0">
                  <a:pos x="128" y="263"/>
                </a:cxn>
                <a:cxn ang="0">
                  <a:pos x="185" y="231"/>
                </a:cxn>
                <a:cxn ang="0">
                  <a:pos x="195" y="197"/>
                </a:cxn>
                <a:cxn ang="0">
                  <a:pos x="191" y="71"/>
                </a:cxn>
                <a:cxn ang="0">
                  <a:pos x="207" y="1"/>
                </a:cxn>
                <a:cxn ang="0">
                  <a:pos x="219" y="8"/>
                </a:cxn>
                <a:cxn ang="0">
                  <a:pos x="233" y="115"/>
                </a:cxn>
                <a:cxn ang="0">
                  <a:pos x="222" y="214"/>
                </a:cxn>
                <a:cxn ang="0">
                  <a:pos x="241" y="243"/>
                </a:cxn>
                <a:cxn ang="0">
                  <a:pos x="288" y="262"/>
                </a:cxn>
                <a:cxn ang="0">
                  <a:pos x="280" y="266"/>
                </a:cxn>
                <a:cxn ang="0">
                  <a:pos x="260" y="262"/>
                </a:cxn>
                <a:cxn ang="0">
                  <a:pos x="278" y="282"/>
                </a:cxn>
                <a:cxn ang="0">
                  <a:pos x="358" y="329"/>
                </a:cxn>
                <a:cxn ang="0">
                  <a:pos x="383" y="335"/>
                </a:cxn>
                <a:cxn ang="0">
                  <a:pos x="377" y="326"/>
                </a:cxn>
                <a:cxn ang="0">
                  <a:pos x="303" y="278"/>
                </a:cxn>
                <a:cxn ang="0">
                  <a:pos x="39" y="335"/>
                </a:cxn>
                <a:cxn ang="0">
                  <a:pos x="122" y="293"/>
                </a:cxn>
                <a:cxn ang="0">
                  <a:pos x="156" y="266"/>
                </a:cxn>
                <a:cxn ang="0">
                  <a:pos x="135" y="268"/>
                </a:cxn>
                <a:cxn ang="0">
                  <a:pos x="47" y="320"/>
                </a:cxn>
                <a:cxn ang="0">
                  <a:pos x="33" y="335"/>
                </a:cxn>
                <a:cxn ang="0">
                  <a:pos x="205" y="252"/>
                </a:cxn>
                <a:cxn ang="0">
                  <a:pos x="219" y="243"/>
                </a:cxn>
                <a:cxn ang="0">
                  <a:pos x="216" y="227"/>
                </a:cxn>
                <a:cxn ang="0">
                  <a:pos x="200" y="224"/>
                </a:cxn>
                <a:cxn ang="0">
                  <a:pos x="191" y="238"/>
                </a:cxn>
                <a:cxn ang="0">
                  <a:pos x="195" y="119"/>
                </a:cxn>
                <a:cxn ang="0">
                  <a:pos x="205" y="191"/>
                </a:cxn>
                <a:cxn ang="0">
                  <a:pos x="215" y="119"/>
                </a:cxn>
                <a:cxn ang="0">
                  <a:pos x="206" y="46"/>
                </a:cxn>
                <a:cxn ang="0">
                  <a:pos x="197" y="91"/>
                </a:cxn>
              </a:cxnLst>
              <a:rect l="0" t="0" r="r" b="b"/>
              <a:pathLst>
                <a:path w="419" h="768">
                  <a:moveTo>
                    <a:pt x="203" y="737"/>
                  </a:moveTo>
                  <a:lnTo>
                    <a:pt x="174" y="737"/>
                  </a:lnTo>
                  <a:lnTo>
                    <a:pt x="174" y="746"/>
                  </a:lnTo>
                  <a:lnTo>
                    <a:pt x="203" y="746"/>
                  </a:lnTo>
                  <a:lnTo>
                    <a:pt x="203" y="737"/>
                  </a:lnTo>
                  <a:close/>
                  <a:moveTo>
                    <a:pt x="191" y="530"/>
                  </a:moveTo>
                  <a:lnTo>
                    <a:pt x="189" y="733"/>
                  </a:lnTo>
                  <a:lnTo>
                    <a:pt x="215" y="733"/>
                  </a:lnTo>
                  <a:lnTo>
                    <a:pt x="216" y="530"/>
                  </a:lnTo>
                  <a:lnTo>
                    <a:pt x="191" y="530"/>
                  </a:lnTo>
                  <a:close/>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moveTo>
                    <a:pt x="280" y="266"/>
                  </a:moveTo>
                  <a:lnTo>
                    <a:pt x="268" y="262"/>
                  </a:lnTo>
                  <a:lnTo>
                    <a:pt x="263" y="261"/>
                  </a:lnTo>
                  <a:lnTo>
                    <a:pt x="260" y="262"/>
                  </a:lnTo>
                  <a:lnTo>
                    <a:pt x="260" y="266"/>
                  </a:lnTo>
                  <a:lnTo>
                    <a:pt x="264" y="270"/>
                  </a:lnTo>
                  <a:lnTo>
                    <a:pt x="278" y="282"/>
                  </a:lnTo>
                  <a:lnTo>
                    <a:pt x="305" y="299"/>
                  </a:lnTo>
                  <a:lnTo>
                    <a:pt x="333" y="316"/>
                  </a:lnTo>
                  <a:lnTo>
                    <a:pt x="358" y="329"/>
                  </a:lnTo>
                  <a:lnTo>
                    <a:pt x="375" y="335"/>
                  </a:lnTo>
                  <a:lnTo>
                    <a:pt x="381" y="337"/>
                  </a:lnTo>
                  <a:lnTo>
                    <a:pt x="383" y="335"/>
                  </a:lnTo>
                  <a:lnTo>
                    <a:pt x="383" y="332"/>
                  </a:lnTo>
                  <a:lnTo>
                    <a:pt x="381" y="329"/>
                  </a:lnTo>
                  <a:lnTo>
                    <a:pt x="377" y="326"/>
                  </a:lnTo>
                  <a:lnTo>
                    <a:pt x="362" y="312"/>
                  </a:lnTo>
                  <a:lnTo>
                    <a:pt x="345" y="302"/>
                  </a:lnTo>
                  <a:lnTo>
                    <a:pt x="303" y="278"/>
                  </a:lnTo>
                  <a:lnTo>
                    <a:pt x="280" y="266"/>
                  </a:lnTo>
                  <a:close/>
                  <a:moveTo>
                    <a:pt x="33" y="335"/>
                  </a:moveTo>
                  <a:lnTo>
                    <a:pt x="39" y="335"/>
                  </a:lnTo>
                  <a:lnTo>
                    <a:pt x="55" y="331"/>
                  </a:lnTo>
                  <a:lnTo>
                    <a:pt x="98" y="308"/>
                  </a:lnTo>
                  <a:lnTo>
                    <a:pt x="122" y="293"/>
                  </a:lnTo>
                  <a:lnTo>
                    <a:pt x="141" y="279"/>
                  </a:lnTo>
                  <a:lnTo>
                    <a:pt x="153" y="269"/>
                  </a:lnTo>
                  <a:lnTo>
                    <a:pt x="156" y="266"/>
                  </a:lnTo>
                  <a:lnTo>
                    <a:pt x="156" y="263"/>
                  </a:lnTo>
                  <a:lnTo>
                    <a:pt x="150" y="263"/>
                  </a:lnTo>
                  <a:lnTo>
                    <a:pt x="135" y="268"/>
                  </a:lnTo>
                  <a:lnTo>
                    <a:pt x="114" y="278"/>
                  </a:lnTo>
                  <a:lnTo>
                    <a:pt x="89" y="292"/>
                  </a:lnTo>
                  <a:lnTo>
                    <a:pt x="47" y="320"/>
                  </a:lnTo>
                  <a:lnTo>
                    <a:pt x="35" y="329"/>
                  </a:lnTo>
                  <a:lnTo>
                    <a:pt x="33" y="333"/>
                  </a:lnTo>
                  <a:lnTo>
                    <a:pt x="33" y="335"/>
                  </a:lnTo>
                  <a:close/>
                  <a:moveTo>
                    <a:pt x="195" y="249"/>
                  </a:moveTo>
                  <a:lnTo>
                    <a:pt x="200" y="251"/>
                  </a:lnTo>
                  <a:lnTo>
                    <a:pt x="205" y="252"/>
                  </a:lnTo>
                  <a:lnTo>
                    <a:pt x="211" y="251"/>
                  </a:lnTo>
                  <a:lnTo>
                    <a:pt x="216" y="249"/>
                  </a:lnTo>
                  <a:lnTo>
                    <a:pt x="219" y="243"/>
                  </a:lnTo>
                  <a:lnTo>
                    <a:pt x="221" y="238"/>
                  </a:lnTo>
                  <a:lnTo>
                    <a:pt x="219" y="232"/>
                  </a:lnTo>
                  <a:lnTo>
                    <a:pt x="216" y="227"/>
                  </a:lnTo>
                  <a:lnTo>
                    <a:pt x="211" y="224"/>
                  </a:lnTo>
                  <a:lnTo>
                    <a:pt x="205" y="222"/>
                  </a:lnTo>
                  <a:lnTo>
                    <a:pt x="200" y="224"/>
                  </a:lnTo>
                  <a:lnTo>
                    <a:pt x="195" y="226"/>
                  </a:lnTo>
                  <a:lnTo>
                    <a:pt x="192" y="232"/>
                  </a:lnTo>
                  <a:lnTo>
                    <a:pt x="191" y="238"/>
                  </a:lnTo>
                  <a:lnTo>
                    <a:pt x="192" y="243"/>
                  </a:lnTo>
                  <a:lnTo>
                    <a:pt x="195" y="249"/>
                  </a:lnTo>
                  <a:close/>
                  <a:moveTo>
                    <a:pt x="195" y="119"/>
                  </a:moveTo>
                  <a:lnTo>
                    <a:pt x="199" y="169"/>
                  </a:lnTo>
                  <a:lnTo>
                    <a:pt x="201" y="185"/>
                  </a:lnTo>
                  <a:lnTo>
                    <a:pt x="205" y="191"/>
                  </a:lnTo>
                  <a:lnTo>
                    <a:pt x="209" y="185"/>
                  </a:lnTo>
                  <a:lnTo>
                    <a:pt x="212" y="169"/>
                  </a:lnTo>
                  <a:lnTo>
                    <a:pt x="215" y="119"/>
                  </a:lnTo>
                  <a:lnTo>
                    <a:pt x="212" y="67"/>
                  </a:lnTo>
                  <a:lnTo>
                    <a:pt x="209" y="52"/>
                  </a:lnTo>
                  <a:lnTo>
                    <a:pt x="206" y="46"/>
                  </a:lnTo>
                  <a:lnTo>
                    <a:pt x="201" y="52"/>
                  </a:lnTo>
                  <a:lnTo>
                    <a:pt x="199" y="67"/>
                  </a:lnTo>
                  <a:lnTo>
                    <a:pt x="197" y="91"/>
                  </a:lnTo>
                  <a:lnTo>
                    <a:pt x="195" y="119"/>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3" name="Rectangle 106"/>
            <p:cNvSpPr>
              <a:spLocks noChangeArrowheads="1"/>
            </p:cNvSpPr>
            <p:nvPr userDrawn="1"/>
          </p:nvSpPr>
          <p:spPr bwMode="auto">
            <a:xfrm>
              <a:off x="7861300" y="6477001"/>
              <a:ext cx="9525" cy="1588"/>
            </a:xfrm>
            <a:prstGeom prst="rect">
              <a:avLst/>
            </a:prstGeom>
            <a:solidFill>
              <a:srgbClr val="B4B4B4"/>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4" name="Freeform 107"/>
            <p:cNvSpPr>
              <a:spLocks/>
            </p:cNvSpPr>
            <p:nvPr userDrawn="1"/>
          </p:nvSpPr>
          <p:spPr bwMode="auto">
            <a:xfrm>
              <a:off x="7866063" y="6410326"/>
              <a:ext cx="9525" cy="65088"/>
            </a:xfrm>
            <a:custGeom>
              <a:avLst/>
              <a:gdLst/>
              <a:ahLst/>
              <a:cxnLst>
                <a:cxn ang="0">
                  <a:pos x="2" y="0"/>
                </a:cxn>
                <a:cxn ang="0">
                  <a:pos x="0" y="203"/>
                </a:cxn>
                <a:cxn ang="0">
                  <a:pos x="26" y="203"/>
                </a:cxn>
                <a:cxn ang="0">
                  <a:pos x="27" y="0"/>
                </a:cxn>
                <a:cxn ang="0">
                  <a:pos x="2" y="0"/>
                </a:cxn>
              </a:cxnLst>
              <a:rect l="0" t="0" r="r" b="b"/>
              <a:pathLst>
                <a:path w="27" h="203">
                  <a:moveTo>
                    <a:pt x="2" y="0"/>
                  </a:moveTo>
                  <a:lnTo>
                    <a:pt x="0" y="203"/>
                  </a:lnTo>
                  <a:lnTo>
                    <a:pt x="26" y="203"/>
                  </a:lnTo>
                  <a:lnTo>
                    <a:pt x="27" y="0"/>
                  </a:lnTo>
                  <a:lnTo>
                    <a:pt x="2"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5" name="Freeform 108"/>
            <p:cNvSpPr>
              <a:spLocks/>
            </p:cNvSpPr>
            <p:nvPr userDrawn="1"/>
          </p:nvSpPr>
          <p:spPr bwMode="auto">
            <a:xfrm>
              <a:off x="7807325" y="6242051"/>
              <a:ext cx="131763" cy="244475"/>
            </a:xfrm>
            <a:custGeom>
              <a:avLst/>
              <a:gdLst/>
              <a:ahLst/>
              <a:cxnLst>
                <a:cxn ang="0">
                  <a:pos x="376" y="315"/>
                </a:cxn>
                <a:cxn ang="0">
                  <a:pos x="416" y="351"/>
                </a:cxn>
                <a:cxn ang="0">
                  <a:pos x="418" y="362"/>
                </a:cxn>
                <a:cxn ang="0">
                  <a:pos x="409" y="365"/>
                </a:cxn>
                <a:cxn ang="0">
                  <a:pos x="388" y="361"/>
                </a:cxn>
                <a:cxn ang="0">
                  <a:pos x="316" y="328"/>
                </a:cxn>
                <a:cxn ang="0">
                  <a:pos x="281" y="306"/>
                </a:cxn>
                <a:cxn ang="0">
                  <a:pos x="232" y="266"/>
                </a:cxn>
                <a:cxn ang="0">
                  <a:pos x="227" y="296"/>
                </a:cxn>
                <a:cxn ang="0">
                  <a:pos x="234" y="520"/>
                </a:cxn>
                <a:cxn ang="0">
                  <a:pos x="240" y="734"/>
                </a:cxn>
                <a:cxn ang="0">
                  <a:pos x="252" y="746"/>
                </a:cxn>
                <a:cxn ang="0">
                  <a:pos x="265" y="768"/>
                </a:cxn>
                <a:cxn ang="0">
                  <a:pos x="160" y="746"/>
                </a:cxn>
                <a:cxn ang="0">
                  <a:pos x="171" y="734"/>
                </a:cxn>
                <a:cxn ang="0">
                  <a:pos x="183" y="520"/>
                </a:cxn>
                <a:cxn ang="0">
                  <a:pos x="199" y="269"/>
                </a:cxn>
                <a:cxn ang="0">
                  <a:pos x="191" y="262"/>
                </a:cxn>
                <a:cxn ang="0">
                  <a:pos x="147" y="297"/>
                </a:cxn>
                <a:cxn ang="0">
                  <a:pos x="71" y="341"/>
                </a:cxn>
                <a:cxn ang="0">
                  <a:pos x="12" y="363"/>
                </a:cxn>
                <a:cxn ang="0">
                  <a:pos x="0" y="359"/>
                </a:cxn>
                <a:cxn ang="0">
                  <a:pos x="4" y="349"/>
                </a:cxn>
                <a:cxn ang="0">
                  <a:pos x="52" y="306"/>
                </a:cxn>
                <a:cxn ang="0">
                  <a:pos x="128" y="263"/>
                </a:cxn>
                <a:cxn ang="0">
                  <a:pos x="183" y="243"/>
                </a:cxn>
                <a:cxn ang="0">
                  <a:pos x="192" y="221"/>
                </a:cxn>
                <a:cxn ang="0">
                  <a:pos x="195" y="197"/>
                </a:cxn>
                <a:cxn ang="0">
                  <a:pos x="189" y="115"/>
                </a:cxn>
                <a:cxn ang="0">
                  <a:pos x="197" y="34"/>
                </a:cxn>
                <a:cxn ang="0">
                  <a:pos x="207" y="1"/>
                </a:cxn>
                <a:cxn ang="0">
                  <a:pos x="216" y="1"/>
                </a:cxn>
                <a:cxn ang="0">
                  <a:pos x="227" y="34"/>
                </a:cxn>
                <a:cxn ang="0">
                  <a:pos x="233" y="115"/>
                </a:cxn>
                <a:cxn ang="0">
                  <a:pos x="227" y="197"/>
                </a:cxn>
                <a:cxn ang="0">
                  <a:pos x="233" y="221"/>
                </a:cxn>
                <a:cxn ang="0">
                  <a:pos x="241" y="243"/>
                </a:cxn>
                <a:cxn ang="0">
                  <a:pos x="259" y="250"/>
                </a:cxn>
                <a:cxn ang="0">
                  <a:pos x="310" y="274"/>
                </a:cxn>
              </a:cxnLst>
              <a:rect l="0" t="0" r="r" b="b"/>
              <a:pathLst>
                <a:path w="419" h="768">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6" name="Freeform 109"/>
            <p:cNvSpPr>
              <a:spLocks/>
            </p:cNvSpPr>
            <p:nvPr userDrawn="1"/>
          </p:nvSpPr>
          <p:spPr bwMode="auto">
            <a:xfrm>
              <a:off x="7889875" y="6324601"/>
              <a:ext cx="38100" cy="25400"/>
            </a:xfrm>
            <a:custGeom>
              <a:avLst/>
              <a:gdLst/>
              <a:ahLst/>
              <a:cxnLst>
                <a:cxn ang="0">
                  <a:pos x="20" y="5"/>
                </a:cxn>
                <a:cxn ang="0">
                  <a:pos x="8" y="1"/>
                </a:cxn>
                <a:cxn ang="0">
                  <a:pos x="3" y="0"/>
                </a:cxn>
                <a:cxn ang="0">
                  <a:pos x="0" y="1"/>
                </a:cxn>
                <a:cxn ang="0">
                  <a:pos x="0" y="5"/>
                </a:cxn>
                <a:cxn ang="0">
                  <a:pos x="4" y="9"/>
                </a:cxn>
                <a:cxn ang="0">
                  <a:pos x="18" y="21"/>
                </a:cxn>
                <a:cxn ang="0">
                  <a:pos x="45" y="38"/>
                </a:cxn>
                <a:cxn ang="0">
                  <a:pos x="73" y="55"/>
                </a:cxn>
                <a:cxn ang="0">
                  <a:pos x="98" y="68"/>
                </a:cxn>
                <a:cxn ang="0">
                  <a:pos x="115" y="74"/>
                </a:cxn>
                <a:cxn ang="0">
                  <a:pos x="121" y="76"/>
                </a:cxn>
                <a:cxn ang="0">
                  <a:pos x="123" y="74"/>
                </a:cxn>
                <a:cxn ang="0">
                  <a:pos x="123" y="71"/>
                </a:cxn>
                <a:cxn ang="0">
                  <a:pos x="121" y="68"/>
                </a:cxn>
                <a:cxn ang="0">
                  <a:pos x="117" y="65"/>
                </a:cxn>
                <a:cxn ang="0">
                  <a:pos x="102" y="51"/>
                </a:cxn>
                <a:cxn ang="0">
                  <a:pos x="85" y="41"/>
                </a:cxn>
                <a:cxn ang="0">
                  <a:pos x="43" y="17"/>
                </a:cxn>
                <a:cxn ang="0">
                  <a:pos x="20" y="5"/>
                </a:cxn>
              </a:cxnLst>
              <a:rect l="0" t="0" r="r" b="b"/>
              <a:pathLst>
                <a:path w="123" h="76">
                  <a:moveTo>
                    <a:pt x="20" y="5"/>
                  </a:moveTo>
                  <a:lnTo>
                    <a:pt x="8" y="1"/>
                  </a:lnTo>
                  <a:lnTo>
                    <a:pt x="3" y="0"/>
                  </a:lnTo>
                  <a:lnTo>
                    <a:pt x="0" y="1"/>
                  </a:lnTo>
                  <a:lnTo>
                    <a:pt x="0" y="5"/>
                  </a:lnTo>
                  <a:lnTo>
                    <a:pt x="4" y="9"/>
                  </a:lnTo>
                  <a:lnTo>
                    <a:pt x="18" y="21"/>
                  </a:lnTo>
                  <a:lnTo>
                    <a:pt x="45" y="38"/>
                  </a:lnTo>
                  <a:lnTo>
                    <a:pt x="73" y="55"/>
                  </a:lnTo>
                  <a:lnTo>
                    <a:pt x="98" y="68"/>
                  </a:lnTo>
                  <a:lnTo>
                    <a:pt x="115" y="74"/>
                  </a:lnTo>
                  <a:lnTo>
                    <a:pt x="121" y="76"/>
                  </a:lnTo>
                  <a:lnTo>
                    <a:pt x="123" y="74"/>
                  </a:lnTo>
                  <a:lnTo>
                    <a:pt x="123" y="71"/>
                  </a:lnTo>
                  <a:lnTo>
                    <a:pt x="121" y="68"/>
                  </a:lnTo>
                  <a:lnTo>
                    <a:pt x="117" y="65"/>
                  </a:lnTo>
                  <a:lnTo>
                    <a:pt x="102" y="51"/>
                  </a:lnTo>
                  <a:lnTo>
                    <a:pt x="85" y="41"/>
                  </a:lnTo>
                  <a:lnTo>
                    <a:pt x="43" y="17"/>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7" name="Freeform 110"/>
            <p:cNvSpPr>
              <a:spLocks/>
            </p:cNvSpPr>
            <p:nvPr userDrawn="1"/>
          </p:nvSpPr>
          <p:spPr bwMode="auto">
            <a:xfrm>
              <a:off x="7816850" y="6326188"/>
              <a:ext cx="39688" cy="22225"/>
            </a:xfrm>
            <a:custGeom>
              <a:avLst/>
              <a:gdLst/>
              <a:ahLst/>
              <a:cxnLst>
                <a:cxn ang="0">
                  <a:pos x="0" y="72"/>
                </a:cxn>
                <a:cxn ang="0">
                  <a:pos x="6" y="72"/>
                </a:cxn>
                <a:cxn ang="0">
                  <a:pos x="22" y="68"/>
                </a:cxn>
                <a:cxn ang="0">
                  <a:pos x="65" y="45"/>
                </a:cxn>
                <a:cxn ang="0">
                  <a:pos x="89" y="30"/>
                </a:cxn>
                <a:cxn ang="0">
                  <a:pos x="108" y="16"/>
                </a:cxn>
                <a:cxn ang="0">
                  <a:pos x="120" y="6"/>
                </a:cxn>
                <a:cxn ang="0">
                  <a:pos x="123" y="3"/>
                </a:cxn>
                <a:cxn ang="0">
                  <a:pos x="123" y="0"/>
                </a:cxn>
                <a:cxn ang="0">
                  <a:pos x="117" y="0"/>
                </a:cxn>
                <a:cxn ang="0">
                  <a:pos x="102" y="5"/>
                </a:cxn>
                <a:cxn ang="0">
                  <a:pos x="81" y="15"/>
                </a:cxn>
                <a:cxn ang="0">
                  <a:pos x="56" y="29"/>
                </a:cxn>
                <a:cxn ang="0">
                  <a:pos x="14" y="57"/>
                </a:cxn>
                <a:cxn ang="0">
                  <a:pos x="2" y="66"/>
                </a:cxn>
                <a:cxn ang="0">
                  <a:pos x="0" y="70"/>
                </a:cxn>
                <a:cxn ang="0">
                  <a:pos x="0" y="72"/>
                </a:cxn>
              </a:cxnLst>
              <a:rect l="0" t="0" r="r" b="b"/>
              <a:pathLst>
                <a:path w="123" h="72">
                  <a:moveTo>
                    <a:pt x="0" y="72"/>
                  </a:moveTo>
                  <a:lnTo>
                    <a:pt x="6" y="72"/>
                  </a:lnTo>
                  <a:lnTo>
                    <a:pt x="22" y="68"/>
                  </a:lnTo>
                  <a:lnTo>
                    <a:pt x="65" y="45"/>
                  </a:lnTo>
                  <a:lnTo>
                    <a:pt x="89" y="30"/>
                  </a:lnTo>
                  <a:lnTo>
                    <a:pt x="108" y="16"/>
                  </a:lnTo>
                  <a:lnTo>
                    <a:pt x="120" y="6"/>
                  </a:lnTo>
                  <a:lnTo>
                    <a:pt x="123" y="3"/>
                  </a:lnTo>
                  <a:lnTo>
                    <a:pt x="123" y="0"/>
                  </a:lnTo>
                  <a:lnTo>
                    <a:pt x="117" y="0"/>
                  </a:lnTo>
                  <a:lnTo>
                    <a:pt x="102" y="5"/>
                  </a:lnTo>
                  <a:lnTo>
                    <a:pt x="81" y="15"/>
                  </a:lnTo>
                  <a:lnTo>
                    <a:pt x="56" y="29"/>
                  </a:lnTo>
                  <a:lnTo>
                    <a:pt x="14" y="57"/>
                  </a:lnTo>
                  <a:lnTo>
                    <a:pt x="2" y="66"/>
                  </a:lnTo>
                  <a:lnTo>
                    <a:pt x="0" y="70"/>
                  </a:lnTo>
                  <a:lnTo>
                    <a:pt x="0" y="72"/>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8" name="Freeform 111"/>
            <p:cNvSpPr>
              <a:spLocks/>
            </p:cNvSpPr>
            <p:nvPr userDrawn="1"/>
          </p:nvSpPr>
          <p:spPr bwMode="auto">
            <a:xfrm>
              <a:off x="7867650" y="6313488"/>
              <a:ext cx="9525" cy="9525"/>
            </a:xfrm>
            <a:custGeom>
              <a:avLst/>
              <a:gdLst/>
              <a:ahLst/>
              <a:cxnLst>
                <a:cxn ang="0">
                  <a:pos x="4" y="27"/>
                </a:cxn>
                <a:cxn ang="0">
                  <a:pos x="9" y="29"/>
                </a:cxn>
                <a:cxn ang="0">
                  <a:pos x="14" y="30"/>
                </a:cxn>
                <a:cxn ang="0">
                  <a:pos x="20" y="29"/>
                </a:cxn>
                <a:cxn ang="0">
                  <a:pos x="25" y="27"/>
                </a:cxn>
                <a:cxn ang="0">
                  <a:pos x="28" y="21"/>
                </a:cxn>
                <a:cxn ang="0">
                  <a:pos x="30" y="16"/>
                </a:cxn>
                <a:cxn ang="0">
                  <a:pos x="28" y="10"/>
                </a:cxn>
                <a:cxn ang="0">
                  <a:pos x="25" y="5"/>
                </a:cxn>
                <a:cxn ang="0">
                  <a:pos x="20" y="2"/>
                </a:cxn>
                <a:cxn ang="0">
                  <a:pos x="14" y="0"/>
                </a:cxn>
                <a:cxn ang="0">
                  <a:pos x="9" y="2"/>
                </a:cxn>
                <a:cxn ang="0">
                  <a:pos x="4" y="4"/>
                </a:cxn>
                <a:cxn ang="0">
                  <a:pos x="1" y="10"/>
                </a:cxn>
                <a:cxn ang="0">
                  <a:pos x="0" y="16"/>
                </a:cxn>
                <a:cxn ang="0">
                  <a:pos x="1" y="21"/>
                </a:cxn>
                <a:cxn ang="0">
                  <a:pos x="4" y="27"/>
                </a:cxn>
              </a:cxnLst>
              <a:rect l="0" t="0" r="r" b="b"/>
              <a:pathLst>
                <a:path w="30" h="30">
                  <a:moveTo>
                    <a:pt x="4" y="27"/>
                  </a:moveTo>
                  <a:lnTo>
                    <a:pt x="9" y="29"/>
                  </a:lnTo>
                  <a:lnTo>
                    <a:pt x="14" y="30"/>
                  </a:lnTo>
                  <a:lnTo>
                    <a:pt x="20" y="29"/>
                  </a:lnTo>
                  <a:lnTo>
                    <a:pt x="25" y="27"/>
                  </a:lnTo>
                  <a:lnTo>
                    <a:pt x="28" y="21"/>
                  </a:lnTo>
                  <a:lnTo>
                    <a:pt x="30" y="16"/>
                  </a:lnTo>
                  <a:lnTo>
                    <a:pt x="28" y="10"/>
                  </a:lnTo>
                  <a:lnTo>
                    <a:pt x="25" y="5"/>
                  </a:lnTo>
                  <a:lnTo>
                    <a:pt x="20" y="2"/>
                  </a:lnTo>
                  <a:lnTo>
                    <a:pt x="14" y="0"/>
                  </a:lnTo>
                  <a:lnTo>
                    <a:pt x="9" y="2"/>
                  </a:lnTo>
                  <a:lnTo>
                    <a:pt x="4" y="4"/>
                  </a:lnTo>
                  <a:lnTo>
                    <a:pt x="1" y="10"/>
                  </a:lnTo>
                  <a:lnTo>
                    <a:pt x="0" y="16"/>
                  </a:lnTo>
                  <a:lnTo>
                    <a:pt x="1" y="21"/>
                  </a:lnTo>
                  <a:lnTo>
                    <a:pt x="4"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9" name="Freeform 112"/>
            <p:cNvSpPr>
              <a:spLocks/>
            </p:cNvSpPr>
            <p:nvPr userDrawn="1"/>
          </p:nvSpPr>
          <p:spPr bwMode="auto">
            <a:xfrm>
              <a:off x="7869238" y="6256338"/>
              <a:ext cx="6350" cy="46038"/>
            </a:xfrm>
            <a:custGeom>
              <a:avLst/>
              <a:gdLst/>
              <a:ahLst/>
              <a:cxnLst>
                <a:cxn ang="0">
                  <a:pos x="0" y="73"/>
                </a:cxn>
                <a:cxn ang="0">
                  <a:pos x="4" y="123"/>
                </a:cxn>
                <a:cxn ang="0">
                  <a:pos x="6" y="139"/>
                </a:cxn>
                <a:cxn ang="0">
                  <a:pos x="10" y="145"/>
                </a:cxn>
                <a:cxn ang="0">
                  <a:pos x="14" y="139"/>
                </a:cxn>
                <a:cxn ang="0">
                  <a:pos x="17" y="123"/>
                </a:cxn>
                <a:cxn ang="0">
                  <a:pos x="20" y="73"/>
                </a:cxn>
                <a:cxn ang="0">
                  <a:pos x="17" y="21"/>
                </a:cxn>
                <a:cxn ang="0">
                  <a:pos x="14" y="6"/>
                </a:cxn>
                <a:cxn ang="0">
                  <a:pos x="11" y="0"/>
                </a:cxn>
                <a:cxn ang="0">
                  <a:pos x="6" y="6"/>
                </a:cxn>
                <a:cxn ang="0">
                  <a:pos x="4" y="21"/>
                </a:cxn>
                <a:cxn ang="0">
                  <a:pos x="2" y="45"/>
                </a:cxn>
                <a:cxn ang="0">
                  <a:pos x="0" y="73"/>
                </a:cxn>
              </a:cxnLst>
              <a:rect l="0" t="0" r="r" b="b"/>
              <a:pathLst>
                <a:path w="20" h="145">
                  <a:moveTo>
                    <a:pt x="0" y="73"/>
                  </a:moveTo>
                  <a:lnTo>
                    <a:pt x="4" y="123"/>
                  </a:lnTo>
                  <a:lnTo>
                    <a:pt x="6" y="139"/>
                  </a:lnTo>
                  <a:lnTo>
                    <a:pt x="10" y="145"/>
                  </a:lnTo>
                  <a:lnTo>
                    <a:pt x="14" y="139"/>
                  </a:lnTo>
                  <a:lnTo>
                    <a:pt x="17" y="123"/>
                  </a:lnTo>
                  <a:lnTo>
                    <a:pt x="20" y="73"/>
                  </a:lnTo>
                  <a:lnTo>
                    <a:pt x="17" y="21"/>
                  </a:lnTo>
                  <a:lnTo>
                    <a:pt x="14" y="6"/>
                  </a:lnTo>
                  <a:lnTo>
                    <a:pt x="11" y="0"/>
                  </a:lnTo>
                  <a:lnTo>
                    <a:pt x="6" y="6"/>
                  </a:lnTo>
                  <a:lnTo>
                    <a:pt x="4" y="21"/>
                  </a:lnTo>
                  <a:lnTo>
                    <a:pt x="2" y="45"/>
                  </a:lnTo>
                  <a:lnTo>
                    <a:pt x="0" y="73"/>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grpSp>
    </p:spTree>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Lst>
  <p:hf hdr="0" ftr="0" dt="0"/>
  <p:txStyles>
    <p:titleStyle>
      <a:lvl1pPr algn="l" defTabSz="914400" rtl="0" eaLnBrk="1" latinLnBrk="0" hangingPunct="1">
        <a:lnSpc>
          <a:spcPct val="80000"/>
        </a:lnSpc>
        <a:spcBef>
          <a:spcPct val="0"/>
        </a:spcBef>
        <a:spcAft>
          <a:spcPts val="0"/>
        </a:spcAft>
        <a:buNone/>
        <a:defRPr sz="2400" b="1"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lang="en-US" sz="2400" b="1" u="none" kern="1200" dirty="0" smtClean="0">
          <a:solidFill>
            <a:schemeClr val="tx1"/>
          </a:solidFill>
          <a:latin typeface="Calibri" pitchFamily="34" charset="0"/>
          <a:ea typeface="+mn-ea"/>
          <a:cs typeface="Arial" charset="0"/>
        </a:defRPr>
      </a:lvl1pPr>
      <a:lvl2pPr marL="347472" indent="-285750" algn="l" defTabSz="914400" rtl="0" eaLnBrk="1" latinLnBrk="0" hangingPunct="1">
        <a:spcBef>
          <a:spcPct val="20000"/>
        </a:spcBef>
        <a:buClr>
          <a:schemeClr val="tx1"/>
        </a:buClr>
        <a:buFont typeface="Arial" pitchFamily="34" charset="0"/>
        <a:buChar char="•"/>
        <a:defRPr lang="en-US" sz="2400" b="1" u="none" kern="1200" dirty="0" smtClean="0">
          <a:solidFill>
            <a:schemeClr val="tx1"/>
          </a:solidFill>
          <a:latin typeface="Calibri" pitchFamily="34" charset="0"/>
          <a:ea typeface="+mn-ea"/>
          <a:cs typeface="Arial" charset="0"/>
        </a:defRPr>
      </a:lvl2pPr>
      <a:lvl3pPr marL="740664" indent="-228600" algn="l" defTabSz="914400" rtl="0" eaLnBrk="1" latinLnBrk="0" hangingPunct="1">
        <a:spcBef>
          <a:spcPct val="20000"/>
        </a:spcBef>
        <a:buClr>
          <a:schemeClr val="tx1"/>
        </a:buClr>
        <a:buFont typeface="Arial" pitchFamily="34" charset="0"/>
        <a:buChar char="•"/>
        <a:defRPr sz="2400" kern="1200">
          <a:solidFill>
            <a:schemeClr val="tx1"/>
          </a:solidFill>
          <a:latin typeface="+mn-lt"/>
          <a:ea typeface="+mn-ea"/>
          <a:cs typeface="+mn-cs"/>
        </a:defRPr>
      </a:lvl3pPr>
      <a:lvl4pPr marL="11430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4pPr>
      <a:lvl5pPr marL="16002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6322" name="think-cell Slide" r:id="rId13" imgW="270" imgH="270" progId="">
              <p:embed/>
            </p:oleObj>
          </a:graphicData>
        </a:graphic>
      </p:graphicFrame>
      <p:sp>
        <p:nvSpPr>
          <p:cNvPr id="419" name="10 Rectángulo"/>
          <p:cNvSpPr/>
          <p:nvPr/>
        </p:nvSpPr>
        <p:spPr bwMode="auto">
          <a:xfrm flipV="1">
            <a:off x="5791200" y="6658824"/>
            <a:ext cx="3352801" cy="22656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420" name="10 Rectángulo"/>
          <p:cNvSpPr/>
          <p:nvPr/>
        </p:nvSpPr>
        <p:spPr bwMode="auto">
          <a:xfrm flipV="1">
            <a:off x="1" y="6552728"/>
            <a:ext cx="8153399" cy="332656"/>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pic>
        <p:nvPicPr>
          <p:cNvPr id="421" name="Picture 3"/>
          <p:cNvPicPr>
            <a:picLocks noChangeAspect="1" noChangeArrowheads="1"/>
          </p:cNvPicPr>
          <p:nvPr/>
        </p:nvPicPr>
        <p:blipFill>
          <a:blip r:embed="rId14" cstate="screen"/>
          <a:srcRect/>
          <a:stretch>
            <a:fillRect/>
          </a:stretch>
        </p:blipFill>
        <p:spPr bwMode="auto">
          <a:xfrm>
            <a:off x="323528" y="6641307"/>
            <a:ext cx="613835" cy="155498"/>
          </a:xfrm>
          <a:prstGeom prst="rect">
            <a:avLst/>
          </a:prstGeom>
          <a:noFill/>
          <a:ln w="9525">
            <a:noFill/>
            <a:miter lim="800000"/>
            <a:headEnd/>
            <a:tailEnd/>
          </a:ln>
        </p:spPr>
      </p:pic>
      <p:sp>
        <p:nvSpPr>
          <p:cNvPr id="60" name="59 Rectángulo"/>
          <p:cNvSpPr/>
          <p:nvPr/>
        </p:nvSpPr>
        <p:spPr bwMode="auto">
          <a:xfrm>
            <a:off x="0" y="0"/>
            <a:ext cx="9144000" cy="9906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000000"/>
              </a:solidFill>
              <a:latin typeface="Arial" charset="0"/>
              <a:cs typeface="Arial" charset="0"/>
            </a:endParaRPr>
          </a:p>
        </p:txBody>
      </p:sp>
      <p:sp>
        <p:nvSpPr>
          <p:cNvPr id="56" name="Freeform 12"/>
          <p:cNvSpPr>
            <a:spLocks/>
          </p:cNvSpPr>
          <p:nvPr/>
        </p:nvSpPr>
        <p:spPr bwMode="auto">
          <a:xfrm>
            <a:off x="0" y="228600"/>
            <a:ext cx="6949440" cy="769957"/>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rgbClr val="2E67AD">
              <a:alpha val="56078"/>
            </a:srgb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2" name="Title Placeholder 1"/>
          <p:cNvSpPr>
            <a:spLocks noGrp="1"/>
          </p:cNvSpPr>
          <p:nvPr>
            <p:ph type="title"/>
          </p:nvPr>
        </p:nvSpPr>
        <p:spPr>
          <a:xfrm>
            <a:off x="107504" y="374768"/>
            <a:ext cx="5760640" cy="562074"/>
          </a:xfrm>
          <a:prstGeom prst="rect">
            <a:avLst/>
          </a:prstGeom>
        </p:spPr>
        <p:txBody>
          <a:bodyPr vert="horz" wrap="square" lIns="91440" tIns="0" rIns="91440" bIns="0" rtlCol="0" anchor="ctr">
            <a:noAutofit/>
          </a:bodyPr>
          <a:lstStyle/>
          <a:p>
            <a:r>
              <a:rPr lang="en-US" dirty="0" smtClean="0"/>
              <a:t>Click to edit Master title style</a:t>
            </a:r>
            <a:endParaRPr lang="en-US" dirty="0"/>
          </a:p>
        </p:txBody>
      </p:sp>
      <p:sp>
        <p:nvSpPr>
          <p:cNvPr id="6" name="Slide Number Placeholder 5"/>
          <p:cNvSpPr>
            <a:spLocks noGrp="1"/>
          </p:cNvSpPr>
          <p:nvPr>
            <p:ph type="sldNum" sz="quarter" idx="4"/>
          </p:nvPr>
        </p:nvSpPr>
        <p:spPr>
          <a:xfrm>
            <a:off x="8460432" y="6642000"/>
            <a:ext cx="576064" cy="216000"/>
          </a:xfrm>
          <a:prstGeom prst="rect">
            <a:avLst/>
          </a:prstGeom>
        </p:spPr>
        <p:txBody>
          <a:bodyPr vert="horz" lIns="91440" tIns="45720" rIns="91440" bIns="45720" rtlCol="0" anchor="ctr"/>
          <a:lstStyle>
            <a:lvl1pPr algn="r">
              <a:defRPr sz="1200" b="1" u="none">
                <a:solidFill>
                  <a:schemeClr val="bg1"/>
                </a:solidFill>
                <a:latin typeface="+mn-lt"/>
              </a:defRPr>
            </a:lvl1pPr>
          </a:lstStyle>
          <a:p>
            <a:pPr fontAlgn="base">
              <a:spcBef>
                <a:spcPct val="0"/>
              </a:spcBef>
              <a:spcAft>
                <a:spcPct val="0"/>
              </a:spcAft>
            </a:pPr>
            <a:fld id="{68B69B99-4CC0-4C77-940D-C46156F4FC2E}" type="slidenum">
              <a:rPr lang="en-US" smtClean="0">
                <a:solidFill>
                  <a:srgbClr val="FFFFFF"/>
                </a:solidFill>
                <a:cs typeface="Arial" charset="0"/>
              </a:rPr>
              <a:pPr fontAlgn="base">
                <a:spcBef>
                  <a:spcPct val="0"/>
                </a:spcBef>
                <a:spcAft>
                  <a:spcPct val="0"/>
                </a:spcAft>
              </a:pPr>
              <a:t>‹#›</a:t>
            </a:fld>
            <a:endParaRPr lang="en-US" dirty="0">
              <a:solidFill>
                <a:srgbClr val="FFFFFF"/>
              </a:solidFill>
              <a:cs typeface="Arial" charset="0"/>
            </a:endParaRPr>
          </a:p>
        </p:txBody>
      </p:sp>
      <p:sp>
        <p:nvSpPr>
          <p:cNvPr id="93" name="92 Rectángulo"/>
          <p:cNvSpPr/>
          <p:nvPr/>
        </p:nvSpPr>
        <p:spPr bwMode="auto">
          <a:xfrm>
            <a:off x="0" y="980728"/>
            <a:ext cx="9144000" cy="4571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61" name="Text Placeholder 60"/>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7" name="56 Rectángulo"/>
          <p:cNvSpPr/>
          <p:nvPr/>
        </p:nvSpPr>
        <p:spPr bwMode="auto">
          <a:xfrm flipV="1">
            <a:off x="0" y="914400"/>
            <a:ext cx="9143999" cy="762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3" name="94 Grupo"/>
          <p:cNvGrpSpPr/>
          <p:nvPr/>
        </p:nvGrpSpPr>
        <p:grpSpPr>
          <a:xfrm>
            <a:off x="7162800" y="303159"/>
            <a:ext cx="1559690" cy="382641"/>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70"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2"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7"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8"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9"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0"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1"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2"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3"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4"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5"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6"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7" name="Group 5"/>
            <p:cNvGrpSpPr>
              <a:grpSpLocks noChangeAspect="1"/>
            </p:cNvGrpSpPr>
            <p:nvPr userDrawn="1"/>
          </p:nvGrpSpPr>
          <p:grpSpPr bwMode="auto">
            <a:xfrm>
              <a:off x="6300192" y="2768810"/>
              <a:ext cx="791493" cy="248083"/>
              <a:chOff x="1066" y="543"/>
              <a:chExt cx="2262" cy="709"/>
            </a:xfrm>
            <a:grpFill/>
          </p:grpSpPr>
          <p:sp>
            <p:nvSpPr>
              <p:cNvPr id="65"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grpSp>
        <p:nvGrpSpPr>
          <p:cNvPr id="8" name="Group 422"/>
          <p:cNvGrpSpPr/>
          <p:nvPr/>
        </p:nvGrpSpPr>
        <p:grpSpPr>
          <a:xfrm>
            <a:off x="0" y="6189663"/>
            <a:ext cx="9145588" cy="479425"/>
            <a:chOff x="0" y="6189663"/>
            <a:chExt cx="9145588" cy="479425"/>
          </a:xfrm>
        </p:grpSpPr>
        <p:sp>
          <p:nvSpPr>
            <p:cNvPr id="424" name="AutoShape 5"/>
            <p:cNvSpPr>
              <a:spLocks noChangeAspect="1" noChangeArrowheads="1" noTextEdit="1"/>
            </p:cNvSpPr>
            <p:nvPr userDrawn="1"/>
          </p:nvSpPr>
          <p:spPr bwMode="auto">
            <a:xfrm>
              <a:off x="0" y="6189663"/>
              <a:ext cx="9144000" cy="479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5" name="Freeform 7"/>
            <p:cNvSpPr>
              <a:spLocks/>
            </p:cNvSpPr>
            <p:nvPr userDrawn="1"/>
          </p:nvSpPr>
          <p:spPr bwMode="auto">
            <a:xfrm>
              <a:off x="4113213" y="6407151"/>
              <a:ext cx="1885950" cy="165100"/>
            </a:xfrm>
            <a:custGeom>
              <a:avLst/>
              <a:gdLst/>
              <a:ahLst/>
              <a:cxnLst>
                <a:cxn ang="0">
                  <a:pos x="0" y="520"/>
                </a:cxn>
                <a:cxn ang="0">
                  <a:pos x="743" y="520"/>
                </a:cxn>
                <a:cxn ang="0">
                  <a:pos x="1486" y="520"/>
                </a:cxn>
                <a:cxn ang="0">
                  <a:pos x="2228" y="520"/>
                </a:cxn>
                <a:cxn ang="0">
                  <a:pos x="2971" y="520"/>
                </a:cxn>
                <a:cxn ang="0">
                  <a:pos x="3714" y="520"/>
                </a:cxn>
                <a:cxn ang="0">
                  <a:pos x="4457" y="520"/>
                </a:cxn>
                <a:cxn ang="0">
                  <a:pos x="5200" y="520"/>
                </a:cxn>
                <a:cxn ang="0">
                  <a:pos x="5943" y="520"/>
                </a:cxn>
                <a:cxn ang="0">
                  <a:pos x="5943" y="0"/>
                </a:cxn>
                <a:cxn ang="0">
                  <a:pos x="5200" y="0"/>
                </a:cxn>
                <a:cxn ang="0">
                  <a:pos x="4457" y="0"/>
                </a:cxn>
                <a:cxn ang="0">
                  <a:pos x="3714" y="0"/>
                </a:cxn>
                <a:cxn ang="0">
                  <a:pos x="2971" y="0"/>
                </a:cxn>
                <a:cxn ang="0">
                  <a:pos x="2228" y="0"/>
                </a:cxn>
                <a:cxn ang="0">
                  <a:pos x="1486" y="0"/>
                </a:cxn>
                <a:cxn ang="0">
                  <a:pos x="743" y="0"/>
                </a:cxn>
                <a:cxn ang="0">
                  <a:pos x="0" y="0"/>
                </a:cxn>
                <a:cxn ang="0">
                  <a:pos x="0" y="520"/>
                </a:cxn>
              </a:cxnLst>
              <a:rect l="0" t="0" r="r" b="b"/>
              <a:pathLst>
                <a:path w="5943" h="520">
                  <a:moveTo>
                    <a:pt x="0" y="520"/>
                  </a:moveTo>
                  <a:lnTo>
                    <a:pt x="743" y="520"/>
                  </a:lnTo>
                  <a:lnTo>
                    <a:pt x="1486" y="520"/>
                  </a:lnTo>
                  <a:lnTo>
                    <a:pt x="2228" y="520"/>
                  </a:lnTo>
                  <a:lnTo>
                    <a:pt x="2971" y="520"/>
                  </a:lnTo>
                  <a:lnTo>
                    <a:pt x="3714" y="520"/>
                  </a:lnTo>
                  <a:lnTo>
                    <a:pt x="4457" y="520"/>
                  </a:lnTo>
                  <a:lnTo>
                    <a:pt x="5200" y="520"/>
                  </a:lnTo>
                  <a:lnTo>
                    <a:pt x="5943" y="520"/>
                  </a:lnTo>
                  <a:lnTo>
                    <a:pt x="5943" y="0"/>
                  </a:lnTo>
                  <a:lnTo>
                    <a:pt x="5200" y="0"/>
                  </a:lnTo>
                  <a:lnTo>
                    <a:pt x="4457" y="0"/>
                  </a:lnTo>
                  <a:lnTo>
                    <a:pt x="3714" y="0"/>
                  </a:lnTo>
                  <a:lnTo>
                    <a:pt x="2971" y="0"/>
                  </a:lnTo>
                  <a:lnTo>
                    <a:pt x="2228" y="0"/>
                  </a:lnTo>
                  <a:lnTo>
                    <a:pt x="1486" y="0"/>
                  </a:lnTo>
                  <a:lnTo>
                    <a:pt x="743" y="0"/>
                  </a:lnTo>
                  <a:lnTo>
                    <a:pt x="0" y="0"/>
                  </a:lnTo>
                  <a:lnTo>
                    <a:pt x="0" y="520"/>
                  </a:lnTo>
                  <a:close/>
                </a:path>
              </a:pathLst>
            </a:custGeom>
            <a:solidFill>
              <a:srgbClr val="99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6" name="Freeform 8"/>
            <p:cNvSpPr>
              <a:spLocks noEditPoints="1"/>
            </p:cNvSpPr>
            <p:nvPr userDrawn="1"/>
          </p:nvSpPr>
          <p:spPr bwMode="auto">
            <a:xfrm>
              <a:off x="0" y="6208713"/>
              <a:ext cx="4546600" cy="363538"/>
            </a:xfrm>
            <a:custGeom>
              <a:avLst/>
              <a:gdLst/>
              <a:ahLst/>
              <a:cxnLst>
                <a:cxn ang="0">
                  <a:pos x="12835" y="583"/>
                </a:cxn>
                <a:cxn ang="0">
                  <a:pos x="5200" y="624"/>
                </a:cxn>
                <a:cxn ang="0">
                  <a:pos x="5005" y="512"/>
                </a:cxn>
                <a:cxn ang="0">
                  <a:pos x="5200" y="399"/>
                </a:cxn>
                <a:cxn ang="0">
                  <a:pos x="5508" y="396"/>
                </a:cxn>
                <a:cxn ang="0">
                  <a:pos x="5508" y="488"/>
                </a:cxn>
                <a:cxn ang="0">
                  <a:pos x="5508" y="427"/>
                </a:cxn>
                <a:cxn ang="0">
                  <a:pos x="11042" y="409"/>
                </a:cxn>
                <a:cxn ang="0">
                  <a:pos x="10776" y="357"/>
                </a:cxn>
                <a:cxn ang="0">
                  <a:pos x="10488" y="406"/>
                </a:cxn>
                <a:cxn ang="0">
                  <a:pos x="10427" y="409"/>
                </a:cxn>
                <a:cxn ang="0">
                  <a:pos x="9997" y="512"/>
                </a:cxn>
                <a:cxn ang="0">
                  <a:pos x="9843" y="624"/>
                </a:cxn>
                <a:cxn ang="0">
                  <a:pos x="9679" y="358"/>
                </a:cxn>
                <a:cxn ang="0">
                  <a:pos x="9125" y="409"/>
                </a:cxn>
                <a:cxn ang="0">
                  <a:pos x="8966" y="598"/>
                </a:cxn>
                <a:cxn ang="0">
                  <a:pos x="8791" y="624"/>
                </a:cxn>
                <a:cxn ang="0">
                  <a:pos x="8500" y="215"/>
                </a:cxn>
                <a:cxn ang="0">
                  <a:pos x="8378" y="184"/>
                </a:cxn>
                <a:cxn ang="0">
                  <a:pos x="8173" y="563"/>
                </a:cxn>
                <a:cxn ang="0">
                  <a:pos x="7978" y="533"/>
                </a:cxn>
                <a:cxn ang="0">
                  <a:pos x="7762" y="512"/>
                </a:cxn>
                <a:cxn ang="0">
                  <a:pos x="7680" y="462"/>
                </a:cxn>
                <a:cxn ang="0">
                  <a:pos x="7644" y="338"/>
                </a:cxn>
                <a:cxn ang="0">
                  <a:pos x="7602" y="455"/>
                </a:cxn>
                <a:cxn ang="0">
                  <a:pos x="7537" y="512"/>
                </a:cxn>
                <a:cxn ang="0">
                  <a:pos x="7414" y="583"/>
                </a:cxn>
                <a:cxn ang="0">
                  <a:pos x="7363" y="583"/>
                </a:cxn>
                <a:cxn ang="0">
                  <a:pos x="7147" y="492"/>
                </a:cxn>
                <a:cxn ang="0">
                  <a:pos x="7015" y="492"/>
                </a:cxn>
                <a:cxn ang="0">
                  <a:pos x="6758" y="195"/>
                </a:cxn>
                <a:cxn ang="0">
                  <a:pos x="6615" y="624"/>
                </a:cxn>
                <a:cxn ang="0">
                  <a:pos x="6461" y="443"/>
                </a:cxn>
                <a:cxn ang="0">
                  <a:pos x="6425" y="420"/>
                </a:cxn>
                <a:cxn ang="0">
                  <a:pos x="6354" y="462"/>
                </a:cxn>
                <a:cxn ang="0">
                  <a:pos x="6041" y="553"/>
                </a:cxn>
                <a:cxn ang="0">
                  <a:pos x="5815" y="512"/>
                </a:cxn>
                <a:cxn ang="0">
                  <a:pos x="5498" y="277"/>
                </a:cxn>
                <a:cxn ang="0">
                  <a:pos x="5191" y="286"/>
                </a:cxn>
                <a:cxn ang="0">
                  <a:pos x="5109" y="286"/>
                </a:cxn>
                <a:cxn ang="0">
                  <a:pos x="4791" y="669"/>
                </a:cxn>
                <a:cxn ang="0">
                  <a:pos x="2649" y="838"/>
                </a:cxn>
                <a:cxn ang="0">
                  <a:pos x="1428" y="1115"/>
                </a:cxn>
                <a:cxn ang="0">
                  <a:pos x="6327" y="1107"/>
                </a:cxn>
                <a:cxn ang="0">
                  <a:pos x="10631" y="1107"/>
                </a:cxn>
                <a:cxn ang="0">
                  <a:pos x="14321" y="624"/>
                </a:cxn>
                <a:cxn ang="0">
                  <a:pos x="13880" y="368"/>
                </a:cxn>
                <a:cxn ang="0">
                  <a:pos x="13532" y="512"/>
                </a:cxn>
                <a:cxn ang="0">
                  <a:pos x="13112" y="624"/>
                </a:cxn>
                <a:cxn ang="0">
                  <a:pos x="12528" y="624"/>
                </a:cxn>
                <a:cxn ang="0">
                  <a:pos x="12333" y="123"/>
                </a:cxn>
                <a:cxn ang="0">
                  <a:pos x="12260" y="379"/>
                </a:cxn>
                <a:cxn ang="0">
                  <a:pos x="12179" y="388"/>
                </a:cxn>
                <a:cxn ang="0">
                  <a:pos x="11994" y="481"/>
                </a:cxn>
                <a:cxn ang="0">
                  <a:pos x="11919" y="272"/>
                </a:cxn>
                <a:cxn ang="0">
                  <a:pos x="11879" y="309"/>
                </a:cxn>
                <a:cxn ang="0">
                  <a:pos x="11826" y="266"/>
                </a:cxn>
                <a:cxn ang="0">
                  <a:pos x="11769" y="338"/>
                </a:cxn>
              </a:cxnLst>
              <a:rect l="0" t="0" r="r" b="b"/>
              <a:pathLst>
                <a:path w="14321" h="1147">
                  <a:moveTo>
                    <a:pt x="12835" y="604"/>
                  </a:moveTo>
                  <a:lnTo>
                    <a:pt x="12896" y="604"/>
                  </a:lnTo>
                  <a:lnTo>
                    <a:pt x="12896" y="624"/>
                  </a:lnTo>
                  <a:lnTo>
                    <a:pt x="12835" y="624"/>
                  </a:lnTo>
                  <a:lnTo>
                    <a:pt x="12835" y="604"/>
                  </a:lnTo>
                  <a:close/>
                  <a:moveTo>
                    <a:pt x="12896" y="583"/>
                  </a:moveTo>
                  <a:lnTo>
                    <a:pt x="12835" y="583"/>
                  </a:lnTo>
                  <a:lnTo>
                    <a:pt x="12835" y="563"/>
                  </a:lnTo>
                  <a:lnTo>
                    <a:pt x="12896" y="563"/>
                  </a:lnTo>
                  <a:lnTo>
                    <a:pt x="12896" y="583"/>
                  </a:lnTo>
                  <a:close/>
                  <a:moveTo>
                    <a:pt x="5200" y="451"/>
                  </a:moveTo>
                  <a:lnTo>
                    <a:pt x="5406" y="451"/>
                  </a:lnTo>
                  <a:lnTo>
                    <a:pt x="5406" y="624"/>
                  </a:lnTo>
                  <a:lnTo>
                    <a:pt x="5200" y="624"/>
                  </a:lnTo>
                  <a:lnTo>
                    <a:pt x="5200" y="451"/>
                  </a:lnTo>
                  <a:close/>
                  <a:moveTo>
                    <a:pt x="5035" y="512"/>
                  </a:moveTo>
                  <a:lnTo>
                    <a:pt x="5098" y="450"/>
                  </a:lnTo>
                  <a:lnTo>
                    <a:pt x="5098" y="465"/>
                  </a:lnTo>
                  <a:lnTo>
                    <a:pt x="5052" y="512"/>
                  </a:lnTo>
                  <a:lnTo>
                    <a:pt x="5035" y="512"/>
                  </a:lnTo>
                  <a:close/>
                  <a:moveTo>
                    <a:pt x="5005" y="512"/>
                  </a:moveTo>
                  <a:lnTo>
                    <a:pt x="5098" y="418"/>
                  </a:lnTo>
                  <a:lnTo>
                    <a:pt x="5098" y="435"/>
                  </a:lnTo>
                  <a:lnTo>
                    <a:pt x="5021" y="512"/>
                  </a:lnTo>
                  <a:lnTo>
                    <a:pt x="5005" y="512"/>
                  </a:lnTo>
                  <a:close/>
                  <a:moveTo>
                    <a:pt x="5406" y="409"/>
                  </a:moveTo>
                  <a:lnTo>
                    <a:pt x="5200" y="409"/>
                  </a:lnTo>
                  <a:lnTo>
                    <a:pt x="5200" y="399"/>
                  </a:lnTo>
                  <a:lnTo>
                    <a:pt x="5406" y="399"/>
                  </a:lnTo>
                  <a:lnTo>
                    <a:pt x="5406" y="409"/>
                  </a:lnTo>
                  <a:close/>
                  <a:moveTo>
                    <a:pt x="5611" y="499"/>
                  </a:moveTo>
                  <a:lnTo>
                    <a:pt x="5611" y="512"/>
                  </a:lnTo>
                  <a:lnTo>
                    <a:pt x="5607" y="512"/>
                  </a:lnTo>
                  <a:lnTo>
                    <a:pt x="5508" y="412"/>
                  </a:lnTo>
                  <a:lnTo>
                    <a:pt x="5508" y="396"/>
                  </a:lnTo>
                  <a:lnTo>
                    <a:pt x="5611" y="499"/>
                  </a:lnTo>
                  <a:close/>
                  <a:moveTo>
                    <a:pt x="5508" y="474"/>
                  </a:moveTo>
                  <a:lnTo>
                    <a:pt x="5508" y="458"/>
                  </a:lnTo>
                  <a:lnTo>
                    <a:pt x="5563" y="512"/>
                  </a:lnTo>
                  <a:lnTo>
                    <a:pt x="5546" y="512"/>
                  </a:lnTo>
                  <a:lnTo>
                    <a:pt x="5508" y="474"/>
                  </a:lnTo>
                  <a:close/>
                  <a:moveTo>
                    <a:pt x="5508" y="488"/>
                  </a:moveTo>
                  <a:lnTo>
                    <a:pt x="5531" y="512"/>
                  </a:lnTo>
                  <a:lnTo>
                    <a:pt x="5508" y="512"/>
                  </a:lnTo>
                  <a:lnTo>
                    <a:pt x="5508" y="488"/>
                  </a:lnTo>
                  <a:close/>
                  <a:moveTo>
                    <a:pt x="5593" y="512"/>
                  </a:moveTo>
                  <a:lnTo>
                    <a:pt x="5577" y="512"/>
                  </a:lnTo>
                  <a:lnTo>
                    <a:pt x="5508" y="443"/>
                  </a:lnTo>
                  <a:lnTo>
                    <a:pt x="5508" y="427"/>
                  </a:lnTo>
                  <a:lnTo>
                    <a:pt x="5593" y="512"/>
                  </a:lnTo>
                  <a:close/>
                  <a:moveTo>
                    <a:pt x="12896" y="501"/>
                  </a:moveTo>
                  <a:lnTo>
                    <a:pt x="12835" y="501"/>
                  </a:lnTo>
                  <a:lnTo>
                    <a:pt x="12896" y="501"/>
                  </a:lnTo>
                  <a:close/>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7" name="Rectangle 9"/>
            <p:cNvSpPr>
              <a:spLocks noChangeArrowheads="1"/>
            </p:cNvSpPr>
            <p:nvPr userDrawn="1"/>
          </p:nvSpPr>
          <p:spPr bwMode="auto">
            <a:xfrm>
              <a:off x="4075113" y="64008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8" name="Rectangle 10"/>
            <p:cNvSpPr>
              <a:spLocks noChangeArrowheads="1"/>
            </p:cNvSpPr>
            <p:nvPr userDrawn="1"/>
          </p:nvSpPr>
          <p:spPr bwMode="auto">
            <a:xfrm>
              <a:off x="4075113" y="63881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9" name="Rectangle 11"/>
            <p:cNvSpPr>
              <a:spLocks noChangeArrowheads="1"/>
            </p:cNvSpPr>
            <p:nvPr userDrawn="1"/>
          </p:nvSpPr>
          <p:spPr bwMode="auto">
            <a:xfrm>
              <a:off x="1651000" y="6351588"/>
              <a:ext cx="65088" cy="55563"/>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0" name="Freeform 12"/>
            <p:cNvSpPr>
              <a:spLocks/>
            </p:cNvSpPr>
            <p:nvPr userDrawn="1"/>
          </p:nvSpPr>
          <p:spPr bwMode="auto">
            <a:xfrm>
              <a:off x="1598613" y="6351588"/>
              <a:ext cx="20638" cy="19050"/>
            </a:xfrm>
            <a:custGeom>
              <a:avLst/>
              <a:gdLst/>
              <a:ahLst/>
              <a:cxnLst>
                <a:cxn ang="0">
                  <a:pos x="0" y="62"/>
                </a:cxn>
                <a:cxn ang="0">
                  <a:pos x="63" y="0"/>
                </a:cxn>
                <a:cxn ang="0">
                  <a:pos x="63" y="15"/>
                </a:cxn>
                <a:cxn ang="0">
                  <a:pos x="17" y="62"/>
                </a:cxn>
                <a:cxn ang="0">
                  <a:pos x="0" y="62"/>
                </a:cxn>
              </a:cxnLst>
              <a:rect l="0" t="0" r="r" b="b"/>
              <a:pathLst>
                <a:path w="63" h="62">
                  <a:moveTo>
                    <a:pt x="0" y="62"/>
                  </a:moveTo>
                  <a:lnTo>
                    <a:pt x="63" y="0"/>
                  </a:lnTo>
                  <a:lnTo>
                    <a:pt x="63" y="15"/>
                  </a:lnTo>
                  <a:lnTo>
                    <a:pt x="17" y="62"/>
                  </a:lnTo>
                  <a:lnTo>
                    <a:pt x="0" y="62"/>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1" name="Freeform 13"/>
            <p:cNvSpPr>
              <a:spLocks/>
            </p:cNvSpPr>
            <p:nvPr userDrawn="1"/>
          </p:nvSpPr>
          <p:spPr bwMode="auto">
            <a:xfrm>
              <a:off x="1589088" y="6342063"/>
              <a:ext cx="30163" cy="28575"/>
            </a:xfrm>
            <a:custGeom>
              <a:avLst/>
              <a:gdLst/>
              <a:ahLst/>
              <a:cxnLst>
                <a:cxn ang="0">
                  <a:pos x="0" y="94"/>
                </a:cxn>
                <a:cxn ang="0">
                  <a:pos x="93" y="0"/>
                </a:cxn>
                <a:cxn ang="0">
                  <a:pos x="93" y="17"/>
                </a:cxn>
                <a:cxn ang="0">
                  <a:pos x="16" y="94"/>
                </a:cxn>
                <a:cxn ang="0">
                  <a:pos x="0" y="94"/>
                </a:cxn>
              </a:cxnLst>
              <a:rect l="0" t="0" r="r" b="b"/>
              <a:pathLst>
                <a:path w="93" h="94">
                  <a:moveTo>
                    <a:pt x="0" y="94"/>
                  </a:moveTo>
                  <a:lnTo>
                    <a:pt x="93" y="0"/>
                  </a:lnTo>
                  <a:lnTo>
                    <a:pt x="93" y="17"/>
                  </a:lnTo>
                  <a:lnTo>
                    <a:pt x="16" y="94"/>
                  </a:lnTo>
                  <a:lnTo>
                    <a:pt x="0" y="9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2" name="Rectangle 14"/>
            <p:cNvSpPr>
              <a:spLocks noChangeArrowheads="1"/>
            </p:cNvSpPr>
            <p:nvPr userDrawn="1"/>
          </p:nvSpPr>
          <p:spPr bwMode="auto">
            <a:xfrm>
              <a:off x="1651000" y="6335713"/>
              <a:ext cx="65088" cy="3175"/>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3" name="Freeform 15"/>
            <p:cNvSpPr>
              <a:spLocks/>
            </p:cNvSpPr>
            <p:nvPr userDrawn="1"/>
          </p:nvSpPr>
          <p:spPr bwMode="auto">
            <a:xfrm>
              <a:off x="1749425" y="6334126"/>
              <a:ext cx="31750" cy="36513"/>
            </a:xfrm>
            <a:custGeom>
              <a:avLst/>
              <a:gdLst/>
              <a:ahLst/>
              <a:cxnLst>
                <a:cxn ang="0">
                  <a:pos x="103" y="103"/>
                </a:cxn>
                <a:cxn ang="0">
                  <a:pos x="103" y="116"/>
                </a:cxn>
                <a:cxn ang="0">
                  <a:pos x="99" y="116"/>
                </a:cxn>
                <a:cxn ang="0">
                  <a:pos x="0" y="16"/>
                </a:cxn>
                <a:cxn ang="0">
                  <a:pos x="0" y="0"/>
                </a:cxn>
                <a:cxn ang="0">
                  <a:pos x="103" y="103"/>
                </a:cxn>
              </a:cxnLst>
              <a:rect l="0" t="0" r="r" b="b"/>
              <a:pathLst>
                <a:path w="103" h="116">
                  <a:moveTo>
                    <a:pt x="103" y="103"/>
                  </a:moveTo>
                  <a:lnTo>
                    <a:pt x="103" y="116"/>
                  </a:lnTo>
                  <a:lnTo>
                    <a:pt x="99" y="116"/>
                  </a:lnTo>
                  <a:lnTo>
                    <a:pt x="0" y="16"/>
                  </a:lnTo>
                  <a:lnTo>
                    <a:pt x="0" y="0"/>
                  </a:lnTo>
                  <a:lnTo>
                    <a:pt x="103" y="103"/>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4" name="Freeform 16"/>
            <p:cNvSpPr>
              <a:spLocks/>
            </p:cNvSpPr>
            <p:nvPr userDrawn="1"/>
          </p:nvSpPr>
          <p:spPr bwMode="auto">
            <a:xfrm>
              <a:off x="1749425" y="6354763"/>
              <a:ext cx="17463" cy="15875"/>
            </a:xfrm>
            <a:custGeom>
              <a:avLst/>
              <a:gdLst/>
              <a:ahLst/>
              <a:cxnLst>
                <a:cxn ang="0">
                  <a:pos x="0" y="16"/>
                </a:cxn>
                <a:cxn ang="0">
                  <a:pos x="0" y="0"/>
                </a:cxn>
                <a:cxn ang="0">
                  <a:pos x="55" y="54"/>
                </a:cxn>
                <a:cxn ang="0">
                  <a:pos x="38" y="54"/>
                </a:cxn>
                <a:cxn ang="0">
                  <a:pos x="0" y="16"/>
                </a:cxn>
              </a:cxnLst>
              <a:rect l="0" t="0" r="r" b="b"/>
              <a:pathLst>
                <a:path w="55" h="54">
                  <a:moveTo>
                    <a:pt x="0" y="16"/>
                  </a:moveTo>
                  <a:lnTo>
                    <a:pt x="0" y="0"/>
                  </a:lnTo>
                  <a:lnTo>
                    <a:pt x="55" y="54"/>
                  </a:lnTo>
                  <a:lnTo>
                    <a:pt x="38" y="54"/>
                  </a:lnTo>
                  <a:lnTo>
                    <a:pt x="0" y="16"/>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5" name="Freeform 17"/>
            <p:cNvSpPr>
              <a:spLocks/>
            </p:cNvSpPr>
            <p:nvPr userDrawn="1"/>
          </p:nvSpPr>
          <p:spPr bwMode="auto">
            <a:xfrm>
              <a:off x="1749425" y="6364288"/>
              <a:ext cx="6350" cy="6350"/>
            </a:xfrm>
            <a:custGeom>
              <a:avLst/>
              <a:gdLst/>
              <a:ahLst/>
              <a:cxnLst>
                <a:cxn ang="0">
                  <a:pos x="0" y="0"/>
                </a:cxn>
                <a:cxn ang="0">
                  <a:pos x="23" y="24"/>
                </a:cxn>
                <a:cxn ang="0">
                  <a:pos x="0" y="24"/>
                </a:cxn>
                <a:cxn ang="0">
                  <a:pos x="0" y="0"/>
                </a:cxn>
              </a:cxnLst>
              <a:rect l="0" t="0" r="r" b="b"/>
              <a:pathLst>
                <a:path w="23" h="24">
                  <a:moveTo>
                    <a:pt x="0" y="0"/>
                  </a:moveTo>
                  <a:lnTo>
                    <a:pt x="23" y="24"/>
                  </a:lnTo>
                  <a:lnTo>
                    <a:pt x="0" y="24"/>
                  </a:lnTo>
                  <a:lnTo>
                    <a:pt x="0"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6" name="Freeform 18"/>
            <p:cNvSpPr>
              <a:spLocks/>
            </p:cNvSpPr>
            <p:nvPr userDrawn="1"/>
          </p:nvSpPr>
          <p:spPr bwMode="auto">
            <a:xfrm>
              <a:off x="1749425" y="6343651"/>
              <a:ext cx="26988" cy="26988"/>
            </a:xfrm>
            <a:custGeom>
              <a:avLst/>
              <a:gdLst/>
              <a:ahLst/>
              <a:cxnLst>
                <a:cxn ang="0">
                  <a:pos x="85" y="85"/>
                </a:cxn>
                <a:cxn ang="0">
                  <a:pos x="69" y="85"/>
                </a:cxn>
                <a:cxn ang="0">
                  <a:pos x="0" y="16"/>
                </a:cxn>
                <a:cxn ang="0">
                  <a:pos x="0" y="0"/>
                </a:cxn>
                <a:cxn ang="0">
                  <a:pos x="85" y="85"/>
                </a:cxn>
              </a:cxnLst>
              <a:rect l="0" t="0" r="r" b="b"/>
              <a:pathLst>
                <a:path w="85" h="85">
                  <a:moveTo>
                    <a:pt x="85" y="85"/>
                  </a:moveTo>
                  <a:lnTo>
                    <a:pt x="69" y="85"/>
                  </a:lnTo>
                  <a:lnTo>
                    <a:pt x="0" y="16"/>
                  </a:lnTo>
                  <a:lnTo>
                    <a:pt x="0" y="0"/>
                  </a:lnTo>
                  <a:lnTo>
                    <a:pt x="85" y="85"/>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7" name="Freeform 19"/>
            <p:cNvSpPr>
              <a:spLocks/>
            </p:cNvSpPr>
            <p:nvPr userDrawn="1"/>
          </p:nvSpPr>
          <p:spPr bwMode="auto">
            <a:xfrm>
              <a:off x="4075113" y="6367463"/>
              <a:ext cx="19050" cy="1588"/>
            </a:xfrm>
            <a:custGeom>
              <a:avLst/>
              <a:gdLst/>
              <a:ahLst/>
              <a:cxnLst>
                <a:cxn ang="0">
                  <a:pos x="61" y="0"/>
                </a:cxn>
                <a:cxn ang="0">
                  <a:pos x="0" y="0"/>
                </a:cxn>
                <a:cxn ang="0">
                  <a:pos x="61" y="0"/>
                </a:cxn>
              </a:cxnLst>
              <a:rect l="0" t="0" r="r" b="b"/>
              <a:pathLst>
                <a:path w="61">
                  <a:moveTo>
                    <a:pt x="61" y="0"/>
                  </a:moveTo>
                  <a:lnTo>
                    <a:pt x="0" y="0"/>
                  </a:lnTo>
                  <a:lnTo>
                    <a:pt x="61"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8" name="Freeform 20"/>
            <p:cNvSpPr>
              <a:spLocks/>
            </p:cNvSpPr>
            <p:nvPr userDrawn="1"/>
          </p:nvSpPr>
          <p:spPr bwMode="auto">
            <a:xfrm>
              <a:off x="0" y="6208713"/>
              <a:ext cx="4546600" cy="363538"/>
            </a:xfrm>
            <a:custGeom>
              <a:avLst/>
              <a:gdLst/>
              <a:ahLst/>
              <a:cxnLst>
                <a:cxn ang="0">
                  <a:pos x="10943" y="387"/>
                </a:cxn>
                <a:cxn ang="0">
                  <a:pos x="10699" y="357"/>
                </a:cxn>
                <a:cxn ang="0">
                  <a:pos x="10488" y="256"/>
                </a:cxn>
                <a:cxn ang="0">
                  <a:pos x="10427" y="409"/>
                </a:cxn>
                <a:cxn ang="0">
                  <a:pos x="9997" y="388"/>
                </a:cxn>
                <a:cxn ang="0">
                  <a:pos x="9884" y="512"/>
                </a:cxn>
                <a:cxn ang="0">
                  <a:pos x="9709" y="307"/>
                </a:cxn>
                <a:cxn ang="0">
                  <a:pos x="9464" y="409"/>
                </a:cxn>
                <a:cxn ang="0">
                  <a:pos x="9047" y="624"/>
                </a:cxn>
                <a:cxn ang="0">
                  <a:pos x="8919" y="596"/>
                </a:cxn>
                <a:cxn ang="0">
                  <a:pos x="8791" y="624"/>
                </a:cxn>
                <a:cxn ang="0">
                  <a:pos x="8500" y="481"/>
                </a:cxn>
                <a:cxn ang="0">
                  <a:pos x="8418" y="215"/>
                </a:cxn>
                <a:cxn ang="0">
                  <a:pos x="8214" y="481"/>
                </a:cxn>
                <a:cxn ang="0">
                  <a:pos x="8090" y="624"/>
                </a:cxn>
                <a:cxn ang="0">
                  <a:pos x="7803" y="553"/>
                </a:cxn>
                <a:cxn ang="0">
                  <a:pos x="7742" y="512"/>
                </a:cxn>
                <a:cxn ang="0">
                  <a:pos x="7680" y="462"/>
                </a:cxn>
                <a:cxn ang="0">
                  <a:pos x="7644" y="429"/>
                </a:cxn>
                <a:cxn ang="0">
                  <a:pos x="7618" y="444"/>
                </a:cxn>
                <a:cxn ang="0">
                  <a:pos x="7558" y="512"/>
                </a:cxn>
                <a:cxn ang="0">
                  <a:pos x="7496" y="492"/>
                </a:cxn>
                <a:cxn ang="0">
                  <a:pos x="7394" y="533"/>
                </a:cxn>
                <a:cxn ang="0">
                  <a:pos x="7353" y="583"/>
                </a:cxn>
                <a:cxn ang="0">
                  <a:pos x="7147" y="492"/>
                </a:cxn>
                <a:cxn ang="0">
                  <a:pos x="7015" y="512"/>
                </a:cxn>
                <a:cxn ang="0">
                  <a:pos x="6881" y="624"/>
                </a:cxn>
                <a:cxn ang="0">
                  <a:pos x="6661" y="135"/>
                </a:cxn>
                <a:cxn ang="0">
                  <a:pos x="6515" y="471"/>
                </a:cxn>
                <a:cxn ang="0">
                  <a:pos x="6452" y="428"/>
                </a:cxn>
                <a:cxn ang="0">
                  <a:pos x="6416" y="423"/>
                </a:cxn>
                <a:cxn ang="0">
                  <a:pos x="6354" y="462"/>
                </a:cxn>
                <a:cxn ang="0">
                  <a:pos x="6215" y="553"/>
                </a:cxn>
                <a:cxn ang="0">
                  <a:pos x="5847" y="624"/>
                </a:cxn>
                <a:cxn ang="0">
                  <a:pos x="5508" y="381"/>
                </a:cxn>
                <a:cxn ang="0">
                  <a:pos x="5406" y="286"/>
                </a:cxn>
                <a:cxn ang="0">
                  <a:pos x="5170" y="277"/>
                </a:cxn>
                <a:cxn ang="0">
                  <a:pos x="5098" y="286"/>
                </a:cxn>
                <a:cxn ang="0">
                  <a:pos x="4791" y="669"/>
                </a:cxn>
                <a:cxn ang="0">
                  <a:pos x="3179" y="790"/>
                </a:cxn>
                <a:cxn ang="0">
                  <a:pos x="0" y="1083"/>
                </a:cxn>
                <a:cxn ang="0">
                  <a:pos x="4484" y="1107"/>
                </a:cxn>
                <a:cxn ang="0">
                  <a:pos x="8172" y="1107"/>
                </a:cxn>
                <a:cxn ang="0">
                  <a:pos x="11861" y="1107"/>
                </a:cxn>
                <a:cxn ang="0">
                  <a:pos x="14116" y="624"/>
                </a:cxn>
                <a:cxn ang="0">
                  <a:pos x="13880" y="368"/>
                </a:cxn>
                <a:cxn ang="0">
                  <a:pos x="13644" y="512"/>
                </a:cxn>
                <a:cxn ang="0">
                  <a:pos x="13214" y="512"/>
                </a:cxn>
                <a:cxn ang="0">
                  <a:pos x="12630" y="558"/>
                </a:cxn>
                <a:cxn ang="0">
                  <a:pos x="12476" y="440"/>
                </a:cxn>
                <a:cxn ang="0">
                  <a:pos x="12312" y="0"/>
                </a:cxn>
                <a:cxn ang="0">
                  <a:pos x="12260" y="440"/>
                </a:cxn>
                <a:cxn ang="0">
                  <a:pos x="12179" y="388"/>
                </a:cxn>
                <a:cxn ang="0">
                  <a:pos x="12067" y="481"/>
                </a:cxn>
                <a:cxn ang="0">
                  <a:pos x="11937" y="309"/>
                </a:cxn>
                <a:cxn ang="0">
                  <a:pos x="11897" y="272"/>
                </a:cxn>
                <a:cxn ang="0">
                  <a:pos x="11854" y="309"/>
                </a:cxn>
                <a:cxn ang="0">
                  <a:pos x="11814" y="272"/>
                </a:cxn>
                <a:cxn ang="0">
                  <a:pos x="11769" y="327"/>
                </a:cxn>
              </a:cxnLst>
              <a:rect l="0" t="0" r="r" b="b"/>
              <a:pathLst>
                <a:path w="14321" h="1147">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9" name="Freeform 21"/>
            <p:cNvSpPr>
              <a:spLocks noEditPoints="1"/>
            </p:cNvSpPr>
            <p:nvPr userDrawn="1"/>
          </p:nvSpPr>
          <p:spPr bwMode="auto">
            <a:xfrm>
              <a:off x="3754438" y="6208713"/>
              <a:ext cx="708025" cy="350838"/>
            </a:xfrm>
            <a:custGeom>
              <a:avLst/>
              <a:gdLst/>
              <a:ahLst/>
              <a:cxnLst>
                <a:cxn ang="0">
                  <a:pos x="802" y="605"/>
                </a:cxn>
                <a:cxn ang="0">
                  <a:pos x="740" y="625"/>
                </a:cxn>
                <a:cxn ang="0">
                  <a:pos x="802" y="583"/>
                </a:cxn>
                <a:cxn ang="0">
                  <a:pos x="740" y="563"/>
                </a:cxn>
                <a:cxn ang="0">
                  <a:pos x="802" y="583"/>
                </a:cxn>
                <a:cxn ang="0">
                  <a:pos x="740" y="501"/>
                </a:cxn>
                <a:cxn ang="0">
                  <a:pos x="0" y="1107"/>
                </a:cxn>
                <a:cxn ang="0">
                  <a:pos x="1113" y="1107"/>
                </a:cxn>
                <a:cxn ang="0">
                  <a:pos x="2226" y="1107"/>
                </a:cxn>
                <a:cxn ang="0">
                  <a:pos x="2022" y="625"/>
                </a:cxn>
                <a:cxn ang="0">
                  <a:pos x="1981" y="369"/>
                </a:cxn>
                <a:cxn ang="0">
                  <a:pos x="1806" y="185"/>
                </a:cxn>
                <a:cxn ang="0">
                  <a:pos x="1786" y="369"/>
                </a:cxn>
                <a:cxn ang="0">
                  <a:pos x="1612" y="276"/>
                </a:cxn>
                <a:cxn ang="0">
                  <a:pos x="1612" y="625"/>
                </a:cxn>
                <a:cxn ang="0">
                  <a:pos x="1550" y="512"/>
                </a:cxn>
                <a:cxn ang="0">
                  <a:pos x="1438" y="440"/>
                </a:cxn>
                <a:cxn ang="0">
                  <a:pos x="1222" y="392"/>
                </a:cxn>
                <a:cxn ang="0">
                  <a:pos x="1120" y="512"/>
                </a:cxn>
                <a:cxn ang="0">
                  <a:pos x="1017" y="625"/>
                </a:cxn>
                <a:cxn ang="0">
                  <a:pos x="545" y="625"/>
                </a:cxn>
                <a:cxn ang="0">
                  <a:pos x="536" y="559"/>
                </a:cxn>
                <a:cxn ang="0">
                  <a:pos x="443" y="625"/>
                </a:cxn>
                <a:cxn ang="0">
                  <a:pos x="433" y="522"/>
                </a:cxn>
                <a:cxn ang="0">
                  <a:pos x="382" y="440"/>
                </a:cxn>
                <a:cxn ang="0">
                  <a:pos x="249" y="379"/>
                </a:cxn>
                <a:cxn ang="0">
                  <a:pos x="238" y="123"/>
                </a:cxn>
                <a:cxn ang="0">
                  <a:pos x="218" y="0"/>
                </a:cxn>
                <a:cxn ang="0">
                  <a:pos x="197" y="123"/>
                </a:cxn>
                <a:cxn ang="0">
                  <a:pos x="177" y="379"/>
                </a:cxn>
                <a:cxn ang="0">
                  <a:pos x="166" y="440"/>
                </a:cxn>
                <a:cxn ang="0">
                  <a:pos x="146" y="267"/>
                </a:cxn>
                <a:cxn ang="0">
                  <a:pos x="95" y="440"/>
                </a:cxn>
                <a:cxn ang="0">
                  <a:pos x="84" y="389"/>
                </a:cxn>
                <a:cxn ang="0">
                  <a:pos x="0" y="1107"/>
                </a:cxn>
              </a:cxnLst>
              <a:rect l="0" t="0" r="r" b="b"/>
              <a:pathLst>
                <a:path w="2226" h="1107">
                  <a:moveTo>
                    <a:pt x="740" y="605"/>
                  </a:moveTo>
                  <a:lnTo>
                    <a:pt x="802" y="605"/>
                  </a:lnTo>
                  <a:lnTo>
                    <a:pt x="802" y="625"/>
                  </a:lnTo>
                  <a:lnTo>
                    <a:pt x="740" y="625"/>
                  </a:lnTo>
                  <a:lnTo>
                    <a:pt x="740" y="605"/>
                  </a:lnTo>
                  <a:close/>
                  <a:moveTo>
                    <a:pt x="802" y="583"/>
                  </a:moveTo>
                  <a:lnTo>
                    <a:pt x="740" y="583"/>
                  </a:lnTo>
                  <a:lnTo>
                    <a:pt x="740" y="563"/>
                  </a:lnTo>
                  <a:lnTo>
                    <a:pt x="802" y="563"/>
                  </a:lnTo>
                  <a:lnTo>
                    <a:pt x="802" y="583"/>
                  </a:lnTo>
                  <a:close/>
                  <a:moveTo>
                    <a:pt x="802" y="501"/>
                  </a:moveTo>
                  <a:lnTo>
                    <a:pt x="740" y="501"/>
                  </a:lnTo>
                  <a:lnTo>
                    <a:pt x="802" y="501"/>
                  </a:lnTo>
                  <a:close/>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0" name="Rectangle 22"/>
            <p:cNvSpPr>
              <a:spLocks noChangeArrowheads="1"/>
            </p:cNvSpPr>
            <p:nvPr userDrawn="1"/>
          </p:nvSpPr>
          <p:spPr bwMode="auto">
            <a:xfrm>
              <a:off x="3989388" y="6400801"/>
              <a:ext cx="2063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1" name="Rectangle 23"/>
            <p:cNvSpPr>
              <a:spLocks noChangeArrowheads="1"/>
            </p:cNvSpPr>
            <p:nvPr userDrawn="1"/>
          </p:nvSpPr>
          <p:spPr bwMode="auto">
            <a:xfrm>
              <a:off x="3989388" y="6386513"/>
              <a:ext cx="20638" cy="6350"/>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2" name="Freeform 24"/>
            <p:cNvSpPr>
              <a:spLocks/>
            </p:cNvSpPr>
            <p:nvPr userDrawn="1"/>
          </p:nvSpPr>
          <p:spPr bwMode="auto">
            <a:xfrm>
              <a:off x="3989388" y="6367463"/>
              <a:ext cx="20638" cy="1588"/>
            </a:xfrm>
            <a:custGeom>
              <a:avLst/>
              <a:gdLst/>
              <a:ahLst/>
              <a:cxnLst>
                <a:cxn ang="0">
                  <a:pos x="62" y="0"/>
                </a:cxn>
                <a:cxn ang="0">
                  <a:pos x="0" y="0"/>
                </a:cxn>
                <a:cxn ang="0">
                  <a:pos x="62" y="0"/>
                </a:cxn>
              </a:cxnLst>
              <a:rect l="0" t="0" r="r" b="b"/>
              <a:pathLst>
                <a:path w="62">
                  <a:moveTo>
                    <a:pt x="62" y="0"/>
                  </a:moveTo>
                  <a:lnTo>
                    <a:pt x="0" y="0"/>
                  </a:lnTo>
                  <a:lnTo>
                    <a:pt x="62"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3" name="Freeform 25"/>
            <p:cNvSpPr>
              <a:spLocks/>
            </p:cNvSpPr>
            <p:nvPr userDrawn="1"/>
          </p:nvSpPr>
          <p:spPr bwMode="auto">
            <a:xfrm>
              <a:off x="3754438" y="6208713"/>
              <a:ext cx="708025" cy="350838"/>
            </a:xfrm>
            <a:custGeom>
              <a:avLst/>
              <a:gdLst/>
              <a:ahLst/>
              <a:cxnLst>
                <a:cxn ang="0">
                  <a:pos x="0" y="1107"/>
                </a:cxn>
                <a:cxn ang="0">
                  <a:pos x="556" y="1107"/>
                </a:cxn>
                <a:cxn ang="0">
                  <a:pos x="1113" y="1107"/>
                </a:cxn>
                <a:cxn ang="0">
                  <a:pos x="1669" y="1107"/>
                </a:cxn>
                <a:cxn ang="0">
                  <a:pos x="2226" y="1107"/>
                </a:cxn>
                <a:cxn ang="0">
                  <a:pos x="2226" y="625"/>
                </a:cxn>
                <a:cxn ang="0">
                  <a:pos x="2022" y="625"/>
                </a:cxn>
                <a:cxn ang="0">
                  <a:pos x="2022" y="369"/>
                </a:cxn>
                <a:cxn ang="0">
                  <a:pos x="1981" y="369"/>
                </a:cxn>
                <a:cxn ang="0">
                  <a:pos x="1981" y="185"/>
                </a:cxn>
                <a:cxn ang="0">
                  <a:pos x="1806" y="185"/>
                </a:cxn>
                <a:cxn ang="0">
                  <a:pos x="1806" y="369"/>
                </a:cxn>
                <a:cxn ang="0">
                  <a:pos x="1786" y="369"/>
                </a:cxn>
                <a:cxn ang="0">
                  <a:pos x="1786" y="276"/>
                </a:cxn>
                <a:cxn ang="0">
                  <a:pos x="1612" y="276"/>
                </a:cxn>
                <a:cxn ang="0">
                  <a:pos x="1612" y="369"/>
                </a:cxn>
                <a:cxn ang="0">
                  <a:pos x="1612" y="625"/>
                </a:cxn>
                <a:cxn ang="0">
                  <a:pos x="1550" y="625"/>
                </a:cxn>
                <a:cxn ang="0">
                  <a:pos x="1550" y="512"/>
                </a:cxn>
                <a:cxn ang="0">
                  <a:pos x="1438" y="512"/>
                </a:cxn>
                <a:cxn ang="0">
                  <a:pos x="1438" y="440"/>
                </a:cxn>
                <a:cxn ang="0">
                  <a:pos x="1222" y="349"/>
                </a:cxn>
                <a:cxn ang="0">
                  <a:pos x="1222" y="392"/>
                </a:cxn>
                <a:cxn ang="0">
                  <a:pos x="1120" y="349"/>
                </a:cxn>
                <a:cxn ang="0">
                  <a:pos x="1120" y="512"/>
                </a:cxn>
                <a:cxn ang="0">
                  <a:pos x="1017" y="512"/>
                </a:cxn>
                <a:cxn ang="0">
                  <a:pos x="1017" y="625"/>
                </a:cxn>
                <a:cxn ang="0">
                  <a:pos x="986" y="625"/>
                </a:cxn>
                <a:cxn ang="0">
                  <a:pos x="545" y="625"/>
                </a:cxn>
                <a:cxn ang="0">
                  <a:pos x="536" y="625"/>
                </a:cxn>
                <a:cxn ang="0">
                  <a:pos x="536" y="559"/>
                </a:cxn>
                <a:cxn ang="0">
                  <a:pos x="443" y="559"/>
                </a:cxn>
                <a:cxn ang="0">
                  <a:pos x="443" y="625"/>
                </a:cxn>
                <a:cxn ang="0">
                  <a:pos x="433" y="625"/>
                </a:cxn>
                <a:cxn ang="0">
                  <a:pos x="433" y="522"/>
                </a:cxn>
                <a:cxn ang="0">
                  <a:pos x="382" y="522"/>
                </a:cxn>
                <a:cxn ang="0">
                  <a:pos x="382" y="440"/>
                </a:cxn>
                <a:cxn ang="0">
                  <a:pos x="249" y="440"/>
                </a:cxn>
                <a:cxn ang="0">
                  <a:pos x="249" y="379"/>
                </a:cxn>
                <a:cxn ang="0">
                  <a:pos x="238" y="379"/>
                </a:cxn>
                <a:cxn ang="0">
                  <a:pos x="238" y="123"/>
                </a:cxn>
                <a:cxn ang="0">
                  <a:pos x="218" y="123"/>
                </a:cxn>
                <a:cxn ang="0">
                  <a:pos x="218" y="0"/>
                </a:cxn>
                <a:cxn ang="0">
                  <a:pos x="197" y="0"/>
                </a:cxn>
                <a:cxn ang="0">
                  <a:pos x="197" y="123"/>
                </a:cxn>
                <a:cxn ang="0">
                  <a:pos x="177" y="123"/>
                </a:cxn>
                <a:cxn ang="0">
                  <a:pos x="177" y="379"/>
                </a:cxn>
                <a:cxn ang="0">
                  <a:pos x="166" y="379"/>
                </a:cxn>
                <a:cxn ang="0">
                  <a:pos x="166" y="440"/>
                </a:cxn>
                <a:cxn ang="0">
                  <a:pos x="146" y="440"/>
                </a:cxn>
                <a:cxn ang="0">
                  <a:pos x="146" y="267"/>
                </a:cxn>
                <a:cxn ang="0">
                  <a:pos x="95" y="267"/>
                </a:cxn>
                <a:cxn ang="0">
                  <a:pos x="95" y="440"/>
                </a:cxn>
                <a:cxn ang="0">
                  <a:pos x="84" y="440"/>
                </a:cxn>
                <a:cxn ang="0">
                  <a:pos x="84" y="389"/>
                </a:cxn>
                <a:cxn ang="0">
                  <a:pos x="2" y="389"/>
                </a:cxn>
                <a:cxn ang="0">
                  <a:pos x="0" y="1107"/>
                </a:cxn>
              </a:cxnLst>
              <a:rect l="0" t="0" r="r" b="b"/>
              <a:pathLst>
                <a:path w="2226" h="1107">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4" name="Freeform 26"/>
            <p:cNvSpPr>
              <a:spLocks/>
            </p:cNvSpPr>
            <p:nvPr userDrawn="1"/>
          </p:nvSpPr>
          <p:spPr bwMode="auto">
            <a:xfrm>
              <a:off x="5116513" y="6329363"/>
              <a:ext cx="203200" cy="20638"/>
            </a:xfrm>
            <a:custGeom>
              <a:avLst/>
              <a:gdLst/>
              <a:ahLst/>
              <a:cxnLst>
                <a:cxn ang="0">
                  <a:pos x="0" y="63"/>
                </a:cxn>
                <a:cxn ang="0">
                  <a:pos x="20" y="63"/>
                </a:cxn>
                <a:cxn ang="0">
                  <a:pos x="34" y="63"/>
                </a:cxn>
                <a:cxn ang="0">
                  <a:pos x="42" y="63"/>
                </a:cxn>
                <a:cxn ang="0">
                  <a:pos x="50" y="63"/>
                </a:cxn>
                <a:cxn ang="0">
                  <a:pos x="57" y="63"/>
                </a:cxn>
                <a:cxn ang="0">
                  <a:pos x="64" y="63"/>
                </a:cxn>
                <a:cxn ang="0">
                  <a:pos x="73" y="63"/>
                </a:cxn>
                <a:cxn ang="0">
                  <a:pos x="95" y="63"/>
                </a:cxn>
                <a:cxn ang="0">
                  <a:pos x="103" y="63"/>
                </a:cxn>
                <a:cxn ang="0">
                  <a:pos x="133" y="51"/>
                </a:cxn>
                <a:cxn ang="0">
                  <a:pos x="140" y="48"/>
                </a:cxn>
                <a:cxn ang="0">
                  <a:pos x="166" y="39"/>
                </a:cxn>
                <a:cxn ang="0">
                  <a:pos x="174" y="36"/>
                </a:cxn>
                <a:cxn ang="0">
                  <a:pos x="177" y="36"/>
                </a:cxn>
                <a:cxn ang="0">
                  <a:pos x="205" y="28"/>
                </a:cxn>
                <a:cxn ang="0">
                  <a:pos x="212" y="25"/>
                </a:cxn>
                <a:cxn ang="0">
                  <a:pos x="242" y="18"/>
                </a:cxn>
                <a:cxn ang="0">
                  <a:pos x="250" y="17"/>
                </a:cxn>
                <a:cxn ang="0">
                  <a:pos x="280" y="12"/>
                </a:cxn>
                <a:cxn ang="0">
                  <a:pos x="288" y="11"/>
                </a:cxn>
                <a:cxn ang="0">
                  <a:pos x="318" y="10"/>
                </a:cxn>
                <a:cxn ang="0">
                  <a:pos x="321" y="10"/>
                </a:cxn>
                <a:cxn ang="0">
                  <a:pos x="325" y="10"/>
                </a:cxn>
                <a:cxn ang="0">
                  <a:pos x="355" y="11"/>
                </a:cxn>
                <a:cxn ang="0">
                  <a:pos x="363" y="12"/>
                </a:cxn>
                <a:cxn ang="0">
                  <a:pos x="393" y="17"/>
                </a:cxn>
                <a:cxn ang="0">
                  <a:pos x="401" y="19"/>
                </a:cxn>
                <a:cxn ang="0">
                  <a:pos x="431" y="27"/>
                </a:cxn>
                <a:cxn ang="0">
                  <a:pos x="439" y="28"/>
                </a:cxn>
                <a:cxn ang="0">
                  <a:pos x="465" y="36"/>
                </a:cxn>
                <a:cxn ang="0">
                  <a:pos x="469" y="37"/>
                </a:cxn>
                <a:cxn ang="0">
                  <a:pos x="477" y="40"/>
                </a:cxn>
                <a:cxn ang="0">
                  <a:pos x="504" y="48"/>
                </a:cxn>
                <a:cxn ang="0">
                  <a:pos x="511" y="51"/>
                </a:cxn>
                <a:cxn ang="0">
                  <a:pos x="539" y="63"/>
                </a:cxn>
                <a:cxn ang="0">
                  <a:pos x="540" y="63"/>
                </a:cxn>
                <a:cxn ang="0">
                  <a:pos x="541" y="63"/>
                </a:cxn>
                <a:cxn ang="0">
                  <a:pos x="548" y="63"/>
                </a:cxn>
                <a:cxn ang="0">
                  <a:pos x="571" y="63"/>
                </a:cxn>
                <a:cxn ang="0">
                  <a:pos x="578" y="63"/>
                </a:cxn>
                <a:cxn ang="0">
                  <a:pos x="587" y="63"/>
                </a:cxn>
                <a:cxn ang="0">
                  <a:pos x="594" y="63"/>
                </a:cxn>
                <a:cxn ang="0">
                  <a:pos x="601" y="63"/>
                </a:cxn>
                <a:cxn ang="0">
                  <a:pos x="608" y="63"/>
                </a:cxn>
                <a:cxn ang="0">
                  <a:pos x="624" y="63"/>
                </a:cxn>
                <a:cxn ang="0">
                  <a:pos x="642" y="63"/>
                </a:cxn>
                <a:cxn ang="0">
                  <a:pos x="642" y="54"/>
                </a:cxn>
                <a:cxn ang="0">
                  <a:pos x="624" y="54"/>
                </a:cxn>
                <a:cxn ang="0">
                  <a:pos x="542" y="54"/>
                </a:cxn>
                <a:cxn ang="0">
                  <a:pos x="516" y="43"/>
                </a:cxn>
                <a:cxn ang="0">
                  <a:pos x="461" y="25"/>
                </a:cxn>
                <a:cxn ang="0">
                  <a:pos x="393" y="9"/>
                </a:cxn>
                <a:cxn ang="0">
                  <a:pos x="357" y="3"/>
                </a:cxn>
                <a:cxn ang="0">
                  <a:pos x="321" y="0"/>
                </a:cxn>
                <a:cxn ang="0">
                  <a:pos x="286" y="3"/>
                </a:cxn>
                <a:cxn ang="0">
                  <a:pos x="250" y="9"/>
                </a:cxn>
                <a:cxn ang="0">
                  <a:pos x="181" y="25"/>
                </a:cxn>
                <a:cxn ang="0">
                  <a:pos x="127" y="43"/>
                </a:cxn>
                <a:cxn ang="0">
                  <a:pos x="100" y="54"/>
                </a:cxn>
                <a:cxn ang="0">
                  <a:pos x="20" y="54"/>
                </a:cxn>
                <a:cxn ang="0">
                  <a:pos x="0" y="54"/>
                </a:cxn>
                <a:cxn ang="0">
                  <a:pos x="0" y="63"/>
                </a:cxn>
              </a:cxnLst>
              <a:rect l="0" t="0" r="r" b="b"/>
              <a:pathLst>
                <a:path w="642" h="63">
                  <a:moveTo>
                    <a:pt x="0" y="63"/>
                  </a:moveTo>
                  <a:lnTo>
                    <a:pt x="20" y="63"/>
                  </a:lnTo>
                  <a:lnTo>
                    <a:pt x="34" y="63"/>
                  </a:lnTo>
                  <a:lnTo>
                    <a:pt x="42" y="63"/>
                  </a:lnTo>
                  <a:lnTo>
                    <a:pt x="50" y="63"/>
                  </a:lnTo>
                  <a:lnTo>
                    <a:pt x="57" y="63"/>
                  </a:lnTo>
                  <a:lnTo>
                    <a:pt x="64" y="63"/>
                  </a:lnTo>
                  <a:lnTo>
                    <a:pt x="73" y="63"/>
                  </a:lnTo>
                  <a:lnTo>
                    <a:pt x="95" y="63"/>
                  </a:lnTo>
                  <a:lnTo>
                    <a:pt x="103" y="63"/>
                  </a:lnTo>
                  <a:lnTo>
                    <a:pt x="133" y="51"/>
                  </a:lnTo>
                  <a:lnTo>
                    <a:pt x="140" y="48"/>
                  </a:lnTo>
                  <a:lnTo>
                    <a:pt x="166" y="39"/>
                  </a:lnTo>
                  <a:lnTo>
                    <a:pt x="174" y="36"/>
                  </a:lnTo>
                  <a:lnTo>
                    <a:pt x="177" y="36"/>
                  </a:lnTo>
                  <a:lnTo>
                    <a:pt x="205" y="28"/>
                  </a:lnTo>
                  <a:lnTo>
                    <a:pt x="212" y="25"/>
                  </a:lnTo>
                  <a:lnTo>
                    <a:pt x="242" y="18"/>
                  </a:lnTo>
                  <a:lnTo>
                    <a:pt x="250" y="17"/>
                  </a:lnTo>
                  <a:lnTo>
                    <a:pt x="280" y="12"/>
                  </a:lnTo>
                  <a:lnTo>
                    <a:pt x="288" y="11"/>
                  </a:lnTo>
                  <a:lnTo>
                    <a:pt x="318" y="10"/>
                  </a:lnTo>
                  <a:lnTo>
                    <a:pt x="321" y="10"/>
                  </a:lnTo>
                  <a:lnTo>
                    <a:pt x="325" y="10"/>
                  </a:lnTo>
                  <a:lnTo>
                    <a:pt x="355" y="11"/>
                  </a:lnTo>
                  <a:lnTo>
                    <a:pt x="363" y="12"/>
                  </a:lnTo>
                  <a:lnTo>
                    <a:pt x="393" y="17"/>
                  </a:lnTo>
                  <a:lnTo>
                    <a:pt x="401" y="19"/>
                  </a:lnTo>
                  <a:lnTo>
                    <a:pt x="431" y="27"/>
                  </a:lnTo>
                  <a:lnTo>
                    <a:pt x="439" y="28"/>
                  </a:lnTo>
                  <a:lnTo>
                    <a:pt x="465" y="36"/>
                  </a:lnTo>
                  <a:lnTo>
                    <a:pt x="469" y="37"/>
                  </a:lnTo>
                  <a:lnTo>
                    <a:pt x="477" y="40"/>
                  </a:lnTo>
                  <a:lnTo>
                    <a:pt x="504" y="48"/>
                  </a:lnTo>
                  <a:lnTo>
                    <a:pt x="511" y="51"/>
                  </a:lnTo>
                  <a:lnTo>
                    <a:pt x="539" y="63"/>
                  </a:lnTo>
                  <a:lnTo>
                    <a:pt x="540" y="63"/>
                  </a:lnTo>
                  <a:lnTo>
                    <a:pt x="541" y="63"/>
                  </a:lnTo>
                  <a:lnTo>
                    <a:pt x="548" y="63"/>
                  </a:lnTo>
                  <a:lnTo>
                    <a:pt x="571" y="63"/>
                  </a:lnTo>
                  <a:lnTo>
                    <a:pt x="578" y="63"/>
                  </a:lnTo>
                  <a:lnTo>
                    <a:pt x="587" y="63"/>
                  </a:lnTo>
                  <a:lnTo>
                    <a:pt x="594" y="63"/>
                  </a:lnTo>
                  <a:lnTo>
                    <a:pt x="601" y="63"/>
                  </a:lnTo>
                  <a:lnTo>
                    <a:pt x="608" y="63"/>
                  </a:lnTo>
                  <a:lnTo>
                    <a:pt x="624" y="63"/>
                  </a:lnTo>
                  <a:lnTo>
                    <a:pt x="642" y="63"/>
                  </a:lnTo>
                  <a:lnTo>
                    <a:pt x="642" y="54"/>
                  </a:lnTo>
                  <a:lnTo>
                    <a:pt x="624" y="54"/>
                  </a:lnTo>
                  <a:lnTo>
                    <a:pt x="542" y="54"/>
                  </a:lnTo>
                  <a:lnTo>
                    <a:pt x="516" y="43"/>
                  </a:lnTo>
                  <a:lnTo>
                    <a:pt x="461" y="25"/>
                  </a:lnTo>
                  <a:lnTo>
                    <a:pt x="393" y="9"/>
                  </a:lnTo>
                  <a:lnTo>
                    <a:pt x="357" y="3"/>
                  </a:lnTo>
                  <a:lnTo>
                    <a:pt x="321" y="0"/>
                  </a:lnTo>
                  <a:lnTo>
                    <a:pt x="286" y="3"/>
                  </a:lnTo>
                  <a:lnTo>
                    <a:pt x="250" y="9"/>
                  </a:lnTo>
                  <a:lnTo>
                    <a:pt x="181" y="25"/>
                  </a:lnTo>
                  <a:lnTo>
                    <a:pt x="127" y="43"/>
                  </a:lnTo>
                  <a:lnTo>
                    <a:pt x="100" y="54"/>
                  </a:lnTo>
                  <a:lnTo>
                    <a:pt x="20" y="54"/>
                  </a:lnTo>
                  <a:lnTo>
                    <a:pt x="0" y="54"/>
                  </a:lnTo>
                  <a:lnTo>
                    <a:pt x="0" y="63"/>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5" name="Freeform 27"/>
            <p:cNvSpPr>
              <a:spLocks noEditPoints="1"/>
            </p:cNvSpPr>
            <p:nvPr userDrawn="1"/>
          </p:nvSpPr>
          <p:spPr bwMode="auto">
            <a:xfrm>
              <a:off x="4826000" y="6278563"/>
              <a:ext cx="995363" cy="190500"/>
            </a:xfrm>
            <a:custGeom>
              <a:avLst/>
              <a:gdLst/>
              <a:ahLst/>
              <a:cxnLst>
                <a:cxn ang="0">
                  <a:pos x="1588" y="177"/>
                </a:cxn>
                <a:cxn ang="0">
                  <a:pos x="1499" y="296"/>
                </a:cxn>
                <a:cxn ang="0">
                  <a:pos x="1388" y="275"/>
                </a:cxn>
                <a:cxn ang="0">
                  <a:pos x="1489" y="275"/>
                </a:cxn>
                <a:cxn ang="0">
                  <a:pos x="1535" y="296"/>
                </a:cxn>
                <a:cxn ang="0">
                  <a:pos x="1191" y="275"/>
                </a:cxn>
                <a:cxn ang="0">
                  <a:pos x="1304" y="275"/>
                </a:cxn>
                <a:cxn ang="0">
                  <a:pos x="964" y="296"/>
                </a:cxn>
                <a:cxn ang="0">
                  <a:pos x="968" y="275"/>
                </a:cxn>
                <a:cxn ang="0">
                  <a:pos x="1051" y="275"/>
                </a:cxn>
                <a:cxn ang="0">
                  <a:pos x="900" y="177"/>
                </a:cxn>
                <a:cxn ang="0">
                  <a:pos x="786" y="296"/>
                </a:cxn>
                <a:cxn ang="0">
                  <a:pos x="2716" y="18"/>
                </a:cxn>
                <a:cxn ang="0">
                  <a:pos x="2681" y="6"/>
                </a:cxn>
                <a:cxn ang="0">
                  <a:pos x="2574" y="12"/>
                </a:cxn>
                <a:cxn ang="0">
                  <a:pos x="2515" y="103"/>
                </a:cxn>
                <a:cxn ang="0">
                  <a:pos x="2467" y="48"/>
                </a:cxn>
                <a:cxn ang="0">
                  <a:pos x="2402" y="149"/>
                </a:cxn>
                <a:cxn ang="0">
                  <a:pos x="2372" y="238"/>
                </a:cxn>
                <a:cxn ang="0">
                  <a:pos x="2319" y="131"/>
                </a:cxn>
                <a:cxn ang="0">
                  <a:pos x="2295" y="119"/>
                </a:cxn>
                <a:cxn ang="0">
                  <a:pos x="2254" y="155"/>
                </a:cxn>
                <a:cxn ang="0">
                  <a:pos x="2218" y="196"/>
                </a:cxn>
                <a:cxn ang="0">
                  <a:pos x="2183" y="208"/>
                </a:cxn>
                <a:cxn ang="0">
                  <a:pos x="2129" y="196"/>
                </a:cxn>
                <a:cxn ang="0">
                  <a:pos x="2058" y="296"/>
                </a:cxn>
                <a:cxn ang="0">
                  <a:pos x="2027" y="255"/>
                </a:cxn>
                <a:cxn ang="0">
                  <a:pos x="2005" y="220"/>
                </a:cxn>
                <a:cxn ang="0">
                  <a:pos x="1921" y="255"/>
                </a:cxn>
                <a:cxn ang="0">
                  <a:pos x="1701" y="260"/>
                </a:cxn>
                <a:cxn ang="0">
                  <a:pos x="1618" y="155"/>
                </a:cxn>
                <a:cxn ang="0">
                  <a:pos x="1535" y="216"/>
                </a:cxn>
                <a:cxn ang="0">
                  <a:pos x="1519" y="225"/>
                </a:cxn>
                <a:cxn ang="0">
                  <a:pos x="1498" y="260"/>
                </a:cxn>
                <a:cxn ang="0">
                  <a:pos x="1459" y="225"/>
                </a:cxn>
                <a:cxn ang="0">
                  <a:pos x="1415" y="260"/>
                </a:cxn>
                <a:cxn ang="0">
                  <a:pos x="1350" y="190"/>
                </a:cxn>
                <a:cxn ang="0">
                  <a:pos x="1304" y="260"/>
                </a:cxn>
                <a:cxn ang="0">
                  <a:pos x="1236" y="172"/>
                </a:cxn>
                <a:cxn ang="0">
                  <a:pos x="1191" y="174"/>
                </a:cxn>
                <a:cxn ang="0">
                  <a:pos x="1123" y="260"/>
                </a:cxn>
                <a:cxn ang="0">
                  <a:pos x="1077" y="201"/>
                </a:cxn>
                <a:cxn ang="0">
                  <a:pos x="1014" y="260"/>
                </a:cxn>
                <a:cxn ang="0">
                  <a:pos x="975" y="225"/>
                </a:cxn>
                <a:cxn ang="0">
                  <a:pos x="953" y="260"/>
                </a:cxn>
                <a:cxn ang="0">
                  <a:pos x="911" y="225"/>
                </a:cxn>
                <a:cxn ang="0">
                  <a:pos x="931" y="162"/>
                </a:cxn>
                <a:cxn ang="0">
                  <a:pos x="847" y="177"/>
                </a:cxn>
                <a:cxn ang="0">
                  <a:pos x="632" y="255"/>
                </a:cxn>
                <a:cxn ang="0">
                  <a:pos x="549" y="296"/>
                </a:cxn>
                <a:cxn ang="0">
                  <a:pos x="508" y="304"/>
                </a:cxn>
                <a:cxn ang="0">
                  <a:pos x="484" y="179"/>
                </a:cxn>
                <a:cxn ang="0">
                  <a:pos x="460" y="215"/>
                </a:cxn>
                <a:cxn ang="0">
                  <a:pos x="389" y="126"/>
                </a:cxn>
                <a:cxn ang="0">
                  <a:pos x="318" y="296"/>
                </a:cxn>
                <a:cxn ang="0">
                  <a:pos x="259" y="18"/>
                </a:cxn>
                <a:cxn ang="0">
                  <a:pos x="174" y="113"/>
                </a:cxn>
                <a:cxn ang="0">
                  <a:pos x="97" y="214"/>
                </a:cxn>
                <a:cxn ang="0">
                  <a:pos x="26" y="296"/>
                </a:cxn>
                <a:cxn ang="0">
                  <a:pos x="2348" y="603"/>
                </a:cxn>
              </a:cxnLst>
              <a:rect l="0" t="0" r="r" b="b"/>
              <a:pathLst>
                <a:path w="3132" h="603">
                  <a:moveTo>
                    <a:pt x="1701" y="296"/>
                  </a:moveTo>
                  <a:lnTo>
                    <a:pt x="1618" y="296"/>
                  </a:lnTo>
                  <a:lnTo>
                    <a:pt x="1618" y="275"/>
                  </a:lnTo>
                  <a:lnTo>
                    <a:pt x="1701" y="275"/>
                  </a:lnTo>
                  <a:lnTo>
                    <a:pt x="1701" y="296"/>
                  </a:lnTo>
                  <a:close/>
                  <a:moveTo>
                    <a:pt x="1588" y="177"/>
                  </a:moveTo>
                  <a:lnTo>
                    <a:pt x="1565" y="177"/>
                  </a:lnTo>
                  <a:lnTo>
                    <a:pt x="1565" y="162"/>
                  </a:lnTo>
                  <a:lnTo>
                    <a:pt x="1588" y="162"/>
                  </a:lnTo>
                  <a:lnTo>
                    <a:pt x="1588" y="177"/>
                  </a:lnTo>
                  <a:close/>
                  <a:moveTo>
                    <a:pt x="1535" y="296"/>
                  </a:moveTo>
                  <a:lnTo>
                    <a:pt x="1499" y="296"/>
                  </a:lnTo>
                  <a:lnTo>
                    <a:pt x="1440" y="355"/>
                  </a:lnTo>
                  <a:lnTo>
                    <a:pt x="1345" y="355"/>
                  </a:lnTo>
                  <a:lnTo>
                    <a:pt x="1345" y="275"/>
                  </a:lnTo>
                  <a:lnTo>
                    <a:pt x="1350" y="275"/>
                  </a:lnTo>
                  <a:lnTo>
                    <a:pt x="1380" y="275"/>
                  </a:lnTo>
                  <a:lnTo>
                    <a:pt x="1388" y="275"/>
                  </a:lnTo>
                  <a:lnTo>
                    <a:pt x="1415" y="275"/>
                  </a:lnTo>
                  <a:lnTo>
                    <a:pt x="1422" y="275"/>
                  </a:lnTo>
                  <a:lnTo>
                    <a:pt x="1452" y="275"/>
                  </a:lnTo>
                  <a:lnTo>
                    <a:pt x="1459" y="275"/>
                  </a:lnTo>
                  <a:lnTo>
                    <a:pt x="1482" y="275"/>
                  </a:lnTo>
                  <a:lnTo>
                    <a:pt x="1489" y="275"/>
                  </a:lnTo>
                  <a:lnTo>
                    <a:pt x="1498" y="275"/>
                  </a:lnTo>
                  <a:lnTo>
                    <a:pt x="1505" y="275"/>
                  </a:lnTo>
                  <a:lnTo>
                    <a:pt x="1512" y="275"/>
                  </a:lnTo>
                  <a:lnTo>
                    <a:pt x="1519" y="275"/>
                  </a:lnTo>
                  <a:lnTo>
                    <a:pt x="1535" y="275"/>
                  </a:lnTo>
                  <a:lnTo>
                    <a:pt x="1535" y="296"/>
                  </a:lnTo>
                  <a:close/>
                  <a:moveTo>
                    <a:pt x="1321" y="355"/>
                  </a:moveTo>
                  <a:lnTo>
                    <a:pt x="1142" y="355"/>
                  </a:lnTo>
                  <a:lnTo>
                    <a:pt x="1142" y="275"/>
                  </a:lnTo>
                  <a:lnTo>
                    <a:pt x="1153" y="275"/>
                  </a:lnTo>
                  <a:lnTo>
                    <a:pt x="1161" y="275"/>
                  </a:lnTo>
                  <a:lnTo>
                    <a:pt x="1191" y="275"/>
                  </a:lnTo>
                  <a:lnTo>
                    <a:pt x="1199" y="275"/>
                  </a:lnTo>
                  <a:lnTo>
                    <a:pt x="1229" y="275"/>
                  </a:lnTo>
                  <a:lnTo>
                    <a:pt x="1236" y="275"/>
                  </a:lnTo>
                  <a:lnTo>
                    <a:pt x="1266" y="275"/>
                  </a:lnTo>
                  <a:lnTo>
                    <a:pt x="1274" y="275"/>
                  </a:lnTo>
                  <a:lnTo>
                    <a:pt x="1304" y="275"/>
                  </a:lnTo>
                  <a:lnTo>
                    <a:pt x="1312" y="275"/>
                  </a:lnTo>
                  <a:lnTo>
                    <a:pt x="1321" y="275"/>
                  </a:lnTo>
                  <a:lnTo>
                    <a:pt x="1321" y="355"/>
                  </a:lnTo>
                  <a:close/>
                  <a:moveTo>
                    <a:pt x="1120" y="355"/>
                  </a:moveTo>
                  <a:lnTo>
                    <a:pt x="1024" y="355"/>
                  </a:lnTo>
                  <a:lnTo>
                    <a:pt x="964" y="296"/>
                  </a:lnTo>
                  <a:lnTo>
                    <a:pt x="931" y="296"/>
                  </a:lnTo>
                  <a:lnTo>
                    <a:pt x="931" y="275"/>
                  </a:lnTo>
                  <a:lnTo>
                    <a:pt x="945" y="275"/>
                  </a:lnTo>
                  <a:lnTo>
                    <a:pt x="953" y="275"/>
                  </a:lnTo>
                  <a:lnTo>
                    <a:pt x="961" y="275"/>
                  </a:lnTo>
                  <a:lnTo>
                    <a:pt x="968" y="275"/>
                  </a:lnTo>
                  <a:lnTo>
                    <a:pt x="975" y="275"/>
                  </a:lnTo>
                  <a:lnTo>
                    <a:pt x="984" y="275"/>
                  </a:lnTo>
                  <a:lnTo>
                    <a:pt x="1006" y="275"/>
                  </a:lnTo>
                  <a:lnTo>
                    <a:pt x="1014" y="275"/>
                  </a:lnTo>
                  <a:lnTo>
                    <a:pt x="1044" y="275"/>
                  </a:lnTo>
                  <a:lnTo>
                    <a:pt x="1051" y="275"/>
                  </a:lnTo>
                  <a:lnTo>
                    <a:pt x="1077" y="275"/>
                  </a:lnTo>
                  <a:lnTo>
                    <a:pt x="1085" y="275"/>
                  </a:lnTo>
                  <a:lnTo>
                    <a:pt x="1116" y="275"/>
                  </a:lnTo>
                  <a:lnTo>
                    <a:pt x="1120" y="275"/>
                  </a:lnTo>
                  <a:lnTo>
                    <a:pt x="1120" y="355"/>
                  </a:lnTo>
                  <a:close/>
                  <a:moveTo>
                    <a:pt x="900" y="177"/>
                  </a:moveTo>
                  <a:lnTo>
                    <a:pt x="878" y="177"/>
                  </a:lnTo>
                  <a:lnTo>
                    <a:pt x="878" y="162"/>
                  </a:lnTo>
                  <a:lnTo>
                    <a:pt x="900" y="162"/>
                  </a:lnTo>
                  <a:lnTo>
                    <a:pt x="900" y="177"/>
                  </a:lnTo>
                  <a:close/>
                  <a:moveTo>
                    <a:pt x="847" y="296"/>
                  </a:moveTo>
                  <a:lnTo>
                    <a:pt x="786" y="296"/>
                  </a:lnTo>
                  <a:lnTo>
                    <a:pt x="786" y="275"/>
                  </a:lnTo>
                  <a:lnTo>
                    <a:pt x="847" y="275"/>
                  </a:lnTo>
                  <a:lnTo>
                    <a:pt x="847" y="296"/>
                  </a:lnTo>
                  <a:close/>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6" name="Rectangle 28"/>
            <p:cNvSpPr>
              <a:spLocks noChangeArrowheads="1"/>
            </p:cNvSpPr>
            <p:nvPr userDrawn="1"/>
          </p:nvSpPr>
          <p:spPr bwMode="auto">
            <a:xfrm>
              <a:off x="5340350" y="6365876"/>
              <a:ext cx="2698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7" name="Rectangle 29"/>
            <p:cNvSpPr>
              <a:spLocks noChangeArrowheads="1"/>
            </p:cNvSpPr>
            <p:nvPr userDrawn="1"/>
          </p:nvSpPr>
          <p:spPr bwMode="auto">
            <a:xfrm>
              <a:off x="5322888" y="6329363"/>
              <a:ext cx="7938"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8" name="Freeform 30"/>
            <p:cNvSpPr>
              <a:spLocks/>
            </p:cNvSpPr>
            <p:nvPr userDrawn="1"/>
          </p:nvSpPr>
          <p:spPr bwMode="auto">
            <a:xfrm>
              <a:off x="5253038" y="6365876"/>
              <a:ext cx="60325" cy="25400"/>
            </a:xfrm>
            <a:custGeom>
              <a:avLst/>
              <a:gdLst/>
              <a:ahLst/>
              <a:cxnLst>
                <a:cxn ang="0">
                  <a:pos x="190" y="21"/>
                </a:cxn>
                <a:cxn ang="0">
                  <a:pos x="154" y="21"/>
                </a:cxn>
                <a:cxn ang="0">
                  <a:pos x="95" y="80"/>
                </a:cxn>
                <a:cxn ang="0">
                  <a:pos x="0" y="80"/>
                </a:cxn>
                <a:cxn ang="0">
                  <a:pos x="0" y="0"/>
                </a:cxn>
                <a:cxn ang="0">
                  <a:pos x="5" y="0"/>
                </a:cxn>
                <a:cxn ang="0">
                  <a:pos x="35" y="0"/>
                </a:cxn>
                <a:cxn ang="0">
                  <a:pos x="43" y="0"/>
                </a:cxn>
                <a:cxn ang="0">
                  <a:pos x="70" y="0"/>
                </a:cxn>
                <a:cxn ang="0">
                  <a:pos x="77" y="0"/>
                </a:cxn>
                <a:cxn ang="0">
                  <a:pos x="107" y="0"/>
                </a:cxn>
                <a:cxn ang="0">
                  <a:pos x="114" y="0"/>
                </a:cxn>
                <a:cxn ang="0">
                  <a:pos x="137" y="0"/>
                </a:cxn>
                <a:cxn ang="0">
                  <a:pos x="144" y="0"/>
                </a:cxn>
                <a:cxn ang="0">
                  <a:pos x="153" y="0"/>
                </a:cxn>
                <a:cxn ang="0">
                  <a:pos x="160" y="0"/>
                </a:cxn>
                <a:cxn ang="0">
                  <a:pos x="167" y="0"/>
                </a:cxn>
                <a:cxn ang="0">
                  <a:pos x="174" y="0"/>
                </a:cxn>
                <a:cxn ang="0">
                  <a:pos x="190" y="0"/>
                </a:cxn>
                <a:cxn ang="0">
                  <a:pos x="190" y="21"/>
                </a:cxn>
              </a:cxnLst>
              <a:rect l="0" t="0" r="r" b="b"/>
              <a:pathLst>
                <a:path w="190" h="80">
                  <a:moveTo>
                    <a:pt x="190" y="21"/>
                  </a:moveTo>
                  <a:lnTo>
                    <a:pt x="154" y="21"/>
                  </a:lnTo>
                  <a:lnTo>
                    <a:pt x="95" y="80"/>
                  </a:lnTo>
                  <a:lnTo>
                    <a:pt x="0" y="80"/>
                  </a:lnTo>
                  <a:lnTo>
                    <a:pt x="0" y="0"/>
                  </a:lnTo>
                  <a:lnTo>
                    <a:pt x="5" y="0"/>
                  </a:lnTo>
                  <a:lnTo>
                    <a:pt x="35" y="0"/>
                  </a:lnTo>
                  <a:lnTo>
                    <a:pt x="43" y="0"/>
                  </a:lnTo>
                  <a:lnTo>
                    <a:pt x="70" y="0"/>
                  </a:lnTo>
                  <a:lnTo>
                    <a:pt x="77" y="0"/>
                  </a:lnTo>
                  <a:lnTo>
                    <a:pt x="107" y="0"/>
                  </a:lnTo>
                  <a:lnTo>
                    <a:pt x="114" y="0"/>
                  </a:lnTo>
                  <a:lnTo>
                    <a:pt x="137" y="0"/>
                  </a:lnTo>
                  <a:lnTo>
                    <a:pt x="144" y="0"/>
                  </a:lnTo>
                  <a:lnTo>
                    <a:pt x="153" y="0"/>
                  </a:lnTo>
                  <a:lnTo>
                    <a:pt x="160" y="0"/>
                  </a:lnTo>
                  <a:lnTo>
                    <a:pt x="167" y="0"/>
                  </a:lnTo>
                  <a:lnTo>
                    <a:pt x="174" y="0"/>
                  </a:lnTo>
                  <a:lnTo>
                    <a:pt x="190" y="0"/>
                  </a:lnTo>
                  <a:lnTo>
                    <a:pt x="190" y="21"/>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9" name="Freeform 31"/>
            <p:cNvSpPr>
              <a:spLocks/>
            </p:cNvSpPr>
            <p:nvPr userDrawn="1"/>
          </p:nvSpPr>
          <p:spPr bwMode="auto">
            <a:xfrm>
              <a:off x="5189538" y="6365876"/>
              <a:ext cx="57150" cy="25400"/>
            </a:xfrm>
            <a:custGeom>
              <a:avLst/>
              <a:gdLst/>
              <a:ahLst/>
              <a:cxnLst>
                <a:cxn ang="0">
                  <a:pos x="179" y="80"/>
                </a:cxn>
                <a:cxn ang="0">
                  <a:pos x="0" y="80"/>
                </a:cxn>
                <a:cxn ang="0">
                  <a:pos x="0" y="0"/>
                </a:cxn>
                <a:cxn ang="0">
                  <a:pos x="11" y="0"/>
                </a:cxn>
                <a:cxn ang="0">
                  <a:pos x="19" y="0"/>
                </a:cxn>
                <a:cxn ang="0">
                  <a:pos x="49" y="0"/>
                </a:cxn>
                <a:cxn ang="0">
                  <a:pos x="57" y="0"/>
                </a:cxn>
                <a:cxn ang="0">
                  <a:pos x="87" y="0"/>
                </a:cxn>
                <a:cxn ang="0">
                  <a:pos x="94" y="0"/>
                </a:cxn>
                <a:cxn ang="0">
                  <a:pos x="124" y="0"/>
                </a:cxn>
                <a:cxn ang="0">
                  <a:pos x="132" y="0"/>
                </a:cxn>
                <a:cxn ang="0">
                  <a:pos x="162" y="0"/>
                </a:cxn>
                <a:cxn ang="0">
                  <a:pos x="170" y="0"/>
                </a:cxn>
                <a:cxn ang="0">
                  <a:pos x="179" y="0"/>
                </a:cxn>
                <a:cxn ang="0">
                  <a:pos x="179" y="80"/>
                </a:cxn>
              </a:cxnLst>
              <a:rect l="0" t="0" r="r" b="b"/>
              <a:pathLst>
                <a:path w="179" h="80">
                  <a:moveTo>
                    <a:pt x="179" y="80"/>
                  </a:moveTo>
                  <a:lnTo>
                    <a:pt x="0" y="80"/>
                  </a:lnTo>
                  <a:lnTo>
                    <a:pt x="0" y="0"/>
                  </a:lnTo>
                  <a:lnTo>
                    <a:pt x="11" y="0"/>
                  </a:lnTo>
                  <a:lnTo>
                    <a:pt x="19" y="0"/>
                  </a:lnTo>
                  <a:lnTo>
                    <a:pt x="49" y="0"/>
                  </a:lnTo>
                  <a:lnTo>
                    <a:pt x="57" y="0"/>
                  </a:lnTo>
                  <a:lnTo>
                    <a:pt x="87" y="0"/>
                  </a:lnTo>
                  <a:lnTo>
                    <a:pt x="94" y="0"/>
                  </a:lnTo>
                  <a:lnTo>
                    <a:pt x="124" y="0"/>
                  </a:lnTo>
                  <a:lnTo>
                    <a:pt x="132" y="0"/>
                  </a:lnTo>
                  <a:lnTo>
                    <a:pt x="162" y="0"/>
                  </a:lnTo>
                  <a:lnTo>
                    <a:pt x="170" y="0"/>
                  </a:lnTo>
                  <a:lnTo>
                    <a:pt x="179" y="0"/>
                  </a:lnTo>
                  <a:lnTo>
                    <a:pt x="17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0" name="Freeform 32"/>
            <p:cNvSpPr>
              <a:spLocks/>
            </p:cNvSpPr>
            <p:nvPr userDrawn="1"/>
          </p:nvSpPr>
          <p:spPr bwMode="auto">
            <a:xfrm>
              <a:off x="5122863" y="6365876"/>
              <a:ext cx="58738" cy="25400"/>
            </a:xfrm>
            <a:custGeom>
              <a:avLst/>
              <a:gdLst/>
              <a:ahLst/>
              <a:cxnLst>
                <a:cxn ang="0">
                  <a:pos x="189" y="80"/>
                </a:cxn>
                <a:cxn ang="0">
                  <a:pos x="93" y="80"/>
                </a:cxn>
                <a:cxn ang="0">
                  <a:pos x="33" y="21"/>
                </a:cxn>
                <a:cxn ang="0">
                  <a:pos x="0" y="21"/>
                </a:cxn>
                <a:cxn ang="0">
                  <a:pos x="0" y="0"/>
                </a:cxn>
                <a:cxn ang="0">
                  <a:pos x="14" y="0"/>
                </a:cxn>
                <a:cxn ang="0">
                  <a:pos x="22" y="0"/>
                </a:cxn>
                <a:cxn ang="0">
                  <a:pos x="30" y="0"/>
                </a:cxn>
                <a:cxn ang="0">
                  <a:pos x="37" y="0"/>
                </a:cxn>
                <a:cxn ang="0">
                  <a:pos x="44" y="0"/>
                </a:cxn>
                <a:cxn ang="0">
                  <a:pos x="53" y="0"/>
                </a:cxn>
                <a:cxn ang="0">
                  <a:pos x="75" y="0"/>
                </a:cxn>
                <a:cxn ang="0">
                  <a:pos x="83" y="0"/>
                </a:cxn>
                <a:cxn ang="0">
                  <a:pos x="113" y="0"/>
                </a:cxn>
                <a:cxn ang="0">
                  <a:pos x="120" y="0"/>
                </a:cxn>
                <a:cxn ang="0">
                  <a:pos x="146" y="0"/>
                </a:cxn>
                <a:cxn ang="0">
                  <a:pos x="154" y="0"/>
                </a:cxn>
                <a:cxn ang="0">
                  <a:pos x="185" y="0"/>
                </a:cxn>
                <a:cxn ang="0">
                  <a:pos x="189" y="0"/>
                </a:cxn>
                <a:cxn ang="0">
                  <a:pos x="189" y="80"/>
                </a:cxn>
              </a:cxnLst>
              <a:rect l="0" t="0" r="r" b="b"/>
              <a:pathLst>
                <a:path w="189" h="80">
                  <a:moveTo>
                    <a:pt x="189" y="80"/>
                  </a:moveTo>
                  <a:lnTo>
                    <a:pt x="93" y="80"/>
                  </a:lnTo>
                  <a:lnTo>
                    <a:pt x="33" y="21"/>
                  </a:lnTo>
                  <a:lnTo>
                    <a:pt x="0" y="21"/>
                  </a:lnTo>
                  <a:lnTo>
                    <a:pt x="0" y="0"/>
                  </a:lnTo>
                  <a:lnTo>
                    <a:pt x="14" y="0"/>
                  </a:lnTo>
                  <a:lnTo>
                    <a:pt x="22" y="0"/>
                  </a:lnTo>
                  <a:lnTo>
                    <a:pt x="30" y="0"/>
                  </a:lnTo>
                  <a:lnTo>
                    <a:pt x="37" y="0"/>
                  </a:lnTo>
                  <a:lnTo>
                    <a:pt x="44" y="0"/>
                  </a:lnTo>
                  <a:lnTo>
                    <a:pt x="53" y="0"/>
                  </a:lnTo>
                  <a:lnTo>
                    <a:pt x="75" y="0"/>
                  </a:lnTo>
                  <a:lnTo>
                    <a:pt x="83" y="0"/>
                  </a:lnTo>
                  <a:lnTo>
                    <a:pt x="113" y="0"/>
                  </a:lnTo>
                  <a:lnTo>
                    <a:pt x="120" y="0"/>
                  </a:lnTo>
                  <a:lnTo>
                    <a:pt x="146" y="0"/>
                  </a:lnTo>
                  <a:lnTo>
                    <a:pt x="154" y="0"/>
                  </a:lnTo>
                  <a:lnTo>
                    <a:pt x="185" y="0"/>
                  </a:lnTo>
                  <a:lnTo>
                    <a:pt x="189" y="0"/>
                  </a:lnTo>
                  <a:lnTo>
                    <a:pt x="18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1" name="Rectangle 33"/>
            <p:cNvSpPr>
              <a:spLocks noChangeArrowheads="1"/>
            </p:cNvSpPr>
            <p:nvPr userDrawn="1"/>
          </p:nvSpPr>
          <p:spPr bwMode="auto">
            <a:xfrm>
              <a:off x="5105400" y="6329363"/>
              <a:ext cx="6350"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2" name="Rectangle 34"/>
            <p:cNvSpPr>
              <a:spLocks noChangeArrowheads="1"/>
            </p:cNvSpPr>
            <p:nvPr userDrawn="1"/>
          </p:nvSpPr>
          <p:spPr bwMode="auto">
            <a:xfrm>
              <a:off x="5076825" y="6365876"/>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3" name="Freeform 35"/>
            <p:cNvSpPr>
              <a:spLocks/>
            </p:cNvSpPr>
            <p:nvPr userDrawn="1"/>
          </p:nvSpPr>
          <p:spPr bwMode="auto">
            <a:xfrm>
              <a:off x="4826000" y="6278563"/>
              <a:ext cx="995363" cy="190500"/>
            </a:xfrm>
            <a:custGeom>
              <a:avLst/>
              <a:gdLst/>
              <a:ahLst/>
              <a:cxnLst>
                <a:cxn ang="0">
                  <a:pos x="2705" y="6"/>
                </a:cxn>
                <a:cxn ang="0">
                  <a:pos x="2681" y="18"/>
                </a:cxn>
                <a:cxn ang="0">
                  <a:pos x="2574" y="12"/>
                </a:cxn>
                <a:cxn ang="0">
                  <a:pos x="2533" y="94"/>
                </a:cxn>
                <a:cxn ang="0">
                  <a:pos x="2479" y="54"/>
                </a:cxn>
                <a:cxn ang="0">
                  <a:pos x="2467" y="208"/>
                </a:cxn>
                <a:cxn ang="0">
                  <a:pos x="2390" y="238"/>
                </a:cxn>
                <a:cxn ang="0">
                  <a:pos x="2372" y="214"/>
                </a:cxn>
                <a:cxn ang="0">
                  <a:pos x="2319" y="131"/>
                </a:cxn>
                <a:cxn ang="0">
                  <a:pos x="2295" y="77"/>
                </a:cxn>
                <a:cxn ang="0">
                  <a:pos x="2260" y="119"/>
                </a:cxn>
                <a:cxn ang="0">
                  <a:pos x="2224" y="149"/>
                </a:cxn>
                <a:cxn ang="0">
                  <a:pos x="2206" y="255"/>
                </a:cxn>
                <a:cxn ang="0">
                  <a:pos x="2171" y="208"/>
                </a:cxn>
                <a:cxn ang="0">
                  <a:pos x="2129" y="196"/>
                </a:cxn>
                <a:cxn ang="0">
                  <a:pos x="2058" y="220"/>
                </a:cxn>
                <a:cxn ang="0">
                  <a:pos x="2039" y="220"/>
                </a:cxn>
                <a:cxn ang="0">
                  <a:pos x="2011" y="220"/>
                </a:cxn>
                <a:cxn ang="0">
                  <a:pos x="1993" y="255"/>
                </a:cxn>
                <a:cxn ang="0">
                  <a:pos x="1909" y="255"/>
                </a:cxn>
                <a:cxn ang="0">
                  <a:pos x="1701" y="260"/>
                </a:cxn>
                <a:cxn ang="0">
                  <a:pos x="1618" y="162"/>
                </a:cxn>
                <a:cxn ang="0">
                  <a:pos x="1542" y="177"/>
                </a:cxn>
                <a:cxn ang="0">
                  <a:pos x="1535" y="225"/>
                </a:cxn>
                <a:cxn ang="0">
                  <a:pos x="1512" y="260"/>
                </a:cxn>
                <a:cxn ang="0">
                  <a:pos x="1489" y="260"/>
                </a:cxn>
                <a:cxn ang="0">
                  <a:pos x="1459" y="225"/>
                </a:cxn>
                <a:cxn ang="0">
                  <a:pos x="1415" y="210"/>
                </a:cxn>
                <a:cxn ang="0">
                  <a:pos x="1380" y="260"/>
                </a:cxn>
                <a:cxn ang="0">
                  <a:pos x="1312" y="260"/>
                </a:cxn>
                <a:cxn ang="0">
                  <a:pos x="1274" y="174"/>
                </a:cxn>
                <a:cxn ang="0">
                  <a:pos x="1232" y="172"/>
                </a:cxn>
                <a:cxn ang="0">
                  <a:pos x="1191" y="174"/>
                </a:cxn>
                <a:cxn ang="0">
                  <a:pos x="1153" y="260"/>
                </a:cxn>
                <a:cxn ang="0">
                  <a:pos x="1085" y="260"/>
                </a:cxn>
                <a:cxn ang="0">
                  <a:pos x="1051" y="210"/>
                </a:cxn>
                <a:cxn ang="0">
                  <a:pos x="1006" y="225"/>
                </a:cxn>
                <a:cxn ang="0">
                  <a:pos x="975" y="260"/>
                </a:cxn>
                <a:cxn ang="0">
                  <a:pos x="953" y="260"/>
                </a:cxn>
                <a:cxn ang="0">
                  <a:pos x="931" y="225"/>
                </a:cxn>
                <a:cxn ang="0">
                  <a:pos x="922" y="177"/>
                </a:cxn>
                <a:cxn ang="0">
                  <a:pos x="847" y="162"/>
                </a:cxn>
                <a:cxn ang="0">
                  <a:pos x="786" y="260"/>
                </a:cxn>
                <a:cxn ang="0">
                  <a:pos x="632" y="296"/>
                </a:cxn>
                <a:cxn ang="0">
                  <a:pos x="549" y="296"/>
                </a:cxn>
                <a:cxn ang="0">
                  <a:pos x="520" y="304"/>
                </a:cxn>
                <a:cxn ang="0">
                  <a:pos x="496" y="215"/>
                </a:cxn>
                <a:cxn ang="0">
                  <a:pos x="478" y="179"/>
                </a:cxn>
                <a:cxn ang="0">
                  <a:pos x="454" y="280"/>
                </a:cxn>
                <a:cxn ang="0">
                  <a:pos x="389" y="102"/>
                </a:cxn>
                <a:cxn ang="0">
                  <a:pos x="318" y="296"/>
                </a:cxn>
                <a:cxn ang="0">
                  <a:pos x="259" y="113"/>
                </a:cxn>
                <a:cxn ang="0">
                  <a:pos x="193" y="214"/>
                </a:cxn>
                <a:cxn ang="0">
                  <a:pos x="109" y="77"/>
                </a:cxn>
                <a:cxn ang="0">
                  <a:pos x="75" y="296"/>
                </a:cxn>
                <a:cxn ang="0">
                  <a:pos x="14" y="296"/>
                </a:cxn>
                <a:cxn ang="0">
                  <a:pos x="2348" y="603"/>
                </a:cxn>
              </a:cxnLst>
              <a:rect l="0" t="0" r="r" b="b"/>
              <a:pathLst>
                <a:path w="3132" h="603">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4" name="Freeform 36"/>
            <p:cNvSpPr>
              <a:spLocks noEditPoints="1"/>
            </p:cNvSpPr>
            <p:nvPr userDrawn="1"/>
          </p:nvSpPr>
          <p:spPr bwMode="auto">
            <a:xfrm>
              <a:off x="4457700" y="6338888"/>
              <a:ext cx="396875" cy="88900"/>
            </a:xfrm>
            <a:custGeom>
              <a:avLst/>
              <a:gdLst/>
              <a:ahLst/>
              <a:cxnLst>
                <a:cxn ang="0">
                  <a:pos x="1054" y="119"/>
                </a:cxn>
                <a:cxn ang="0">
                  <a:pos x="967" y="119"/>
                </a:cxn>
                <a:cxn ang="0">
                  <a:pos x="949" y="150"/>
                </a:cxn>
                <a:cxn ang="0">
                  <a:pos x="902" y="130"/>
                </a:cxn>
                <a:cxn ang="0">
                  <a:pos x="871" y="120"/>
                </a:cxn>
                <a:cxn ang="0">
                  <a:pos x="849" y="99"/>
                </a:cxn>
                <a:cxn ang="0">
                  <a:pos x="812" y="87"/>
                </a:cxn>
                <a:cxn ang="0">
                  <a:pos x="782" y="87"/>
                </a:cxn>
                <a:cxn ang="0">
                  <a:pos x="744" y="99"/>
                </a:cxn>
                <a:cxn ang="0">
                  <a:pos x="727" y="112"/>
                </a:cxn>
                <a:cxn ang="0">
                  <a:pos x="720" y="130"/>
                </a:cxn>
                <a:cxn ang="0">
                  <a:pos x="703" y="41"/>
                </a:cxn>
                <a:cxn ang="0">
                  <a:pos x="691" y="0"/>
                </a:cxn>
                <a:cxn ang="0">
                  <a:pos x="662" y="41"/>
                </a:cxn>
                <a:cxn ang="0">
                  <a:pos x="621" y="130"/>
                </a:cxn>
                <a:cxn ang="0">
                  <a:pos x="571" y="137"/>
                </a:cxn>
                <a:cxn ang="0">
                  <a:pos x="544" y="185"/>
                </a:cxn>
                <a:cxn ang="0">
                  <a:pos x="522" y="154"/>
                </a:cxn>
                <a:cxn ang="0">
                  <a:pos x="503" y="106"/>
                </a:cxn>
                <a:cxn ang="0">
                  <a:pos x="487" y="93"/>
                </a:cxn>
                <a:cxn ang="0">
                  <a:pos x="446" y="106"/>
                </a:cxn>
                <a:cxn ang="0">
                  <a:pos x="428" y="154"/>
                </a:cxn>
                <a:cxn ang="0">
                  <a:pos x="416" y="106"/>
                </a:cxn>
                <a:cxn ang="0">
                  <a:pos x="378" y="72"/>
                </a:cxn>
                <a:cxn ang="0">
                  <a:pos x="348" y="106"/>
                </a:cxn>
                <a:cxn ang="0">
                  <a:pos x="340" y="154"/>
                </a:cxn>
                <a:cxn ang="0">
                  <a:pos x="328" y="130"/>
                </a:cxn>
                <a:cxn ang="0">
                  <a:pos x="299" y="154"/>
                </a:cxn>
                <a:cxn ang="0">
                  <a:pos x="287" y="183"/>
                </a:cxn>
                <a:cxn ang="0">
                  <a:pos x="270" y="165"/>
                </a:cxn>
                <a:cxn ang="0">
                  <a:pos x="188" y="183"/>
                </a:cxn>
                <a:cxn ang="0">
                  <a:pos x="164" y="89"/>
                </a:cxn>
                <a:cxn ang="0">
                  <a:pos x="135" y="71"/>
                </a:cxn>
                <a:cxn ang="0">
                  <a:pos x="70" y="89"/>
                </a:cxn>
                <a:cxn ang="0">
                  <a:pos x="53" y="185"/>
                </a:cxn>
                <a:cxn ang="0">
                  <a:pos x="41" y="154"/>
                </a:cxn>
                <a:cxn ang="0">
                  <a:pos x="12" y="185"/>
                </a:cxn>
                <a:cxn ang="0">
                  <a:pos x="0" y="278"/>
                </a:cxn>
                <a:cxn ang="0">
                  <a:pos x="1249" y="278"/>
                </a:cxn>
                <a:cxn ang="0">
                  <a:pos x="1219" y="137"/>
                </a:cxn>
                <a:cxn ang="0">
                  <a:pos x="1201" y="88"/>
                </a:cxn>
                <a:cxn ang="0">
                  <a:pos x="967" y="119"/>
                </a:cxn>
              </a:cxnLst>
              <a:rect l="0" t="0" r="r" b="b"/>
              <a:pathLst>
                <a:path w="1249" h="278">
                  <a:moveTo>
                    <a:pt x="1078" y="119"/>
                  </a:moveTo>
                  <a:lnTo>
                    <a:pt x="1054" y="119"/>
                  </a:lnTo>
                  <a:lnTo>
                    <a:pt x="1078" y="119"/>
                  </a:lnTo>
                  <a:close/>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5" name="Freeform 37"/>
            <p:cNvSpPr>
              <a:spLocks/>
            </p:cNvSpPr>
            <p:nvPr userDrawn="1"/>
          </p:nvSpPr>
          <p:spPr bwMode="auto">
            <a:xfrm>
              <a:off x="4792663" y="6376988"/>
              <a:ext cx="7938" cy="1588"/>
            </a:xfrm>
            <a:custGeom>
              <a:avLst/>
              <a:gdLst/>
              <a:ahLst/>
              <a:cxnLst>
                <a:cxn ang="0">
                  <a:pos x="24" y="0"/>
                </a:cxn>
                <a:cxn ang="0">
                  <a:pos x="0" y="0"/>
                </a:cxn>
                <a:cxn ang="0">
                  <a:pos x="24" y="0"/>
                </a:cxn>
              </a:cxnLst>
              <a:rect l="0" t="0" r="r" b="b"/>
              <a:pathLst>
                <a:path w="24">
                  <a:moveTo>
                    <a:pt x="24" y="0"/>
                  </a:moveTo>
                  <a:lnTo>
                    <a:pt x="0" y="0"/>
                  </a:lnTo>
                  <a:lnTo>
                    <a:pt x="24"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6" name="Freeform 38"/>
            <p:cNvSpPr>
              <a:spLocks/>
            </p:cNvSpPr>
            <p:nvPr userDrawn="1"/>
          </p:nvSpPr>
          <p:spPr bwMode="auto">
            <a:xfrm>
              <a:off x="4457700" y="6338888"/>
              <a:ext cx="396875" cy="88900"/>
            </a:xfrm>
            <a:custGeom>
              <a:avLst/>
              <a:gdLst/>
              <a:ahLst/>
              <a:cxnLst>
                <a:cxn ang="0">
                  <a:pos x="949" y="119"/>
                </a:cxn>
                <a:cxn ang="0">
                  <a:pos x="902" y="150"/>
                </a:cxn>
                <a:cxn ang="0">
                  <a:pos x="873" y="130"/>
                </a:cxn>
                <a:cxn ang="0">
                  <a:pos x="866" y="112"/>
                </a:cxn>
                <a:cxn ang="0">
                  <a:pos x="825" y="89"/>
                </a:cxn>
                <a:cxn ang="0">
                  <a:pos x="797" y="85"/>
                </a:cxn>
                <a:cxn ang="0">
                  <a:pos x="768" y="89"/>
                </a:cxn>
                <a:cxn ang="0">
                  <a:pos x="735" y="105"/>
                </a:cxn>
                <a:cxn ang="0">
                  <a:pos x="723" y="120"/>
                </a:cxn>
                <a:cxn ang="0">
                  <a:pos x="703" y="130"/>
                </a:cxn>
                <a:cxn ang="0">
                  <a:pos x="691" y="41"/>
                </a:cxn>
                <a:cxn ang="0">
                  <a:pos x="662" y="0"/>
                </a:cxn>
                <a:cxn ang="0">
                  <a:pos x="621" y="41"/>
                </a:cxn>
                <a:cxn ang="0">
                  <a:pos x="597" y="130"/>
                </a:cxn>
                <a:cxn ang="0">
                  <a:pos x="544" y="137"/>
                </a:cxn>
                <a:cxn ang="0">
                  <a:pos x="522" y="185"/>
                </a:cxn>
                <a:cxn ang="0">
                  <a:pos x="503" y="154"/>
                </a:cxn>
                <a:cxn ang="0">
                  <a:pos x="487" y="106"/>
                </a:cxn>
                <a:cxn ang="0">
                  <a:pos x="446" y="93"/>
                </a:cxn>
                <a:cxn ang="0">
                  <a:pos x="428" y="106"/>
                </a:cxn>
                <a:cxn ang="0">
                  <a:pos x="416" y="154"/>
                </a:cxn>
                <a:cxn ang="0">
                  <a:pos x="378" y="106"/>
                </a:cxn>
                <a:cxn ang="0">
                  <a:pos x="348" y="72"/>
                </a:cxn>
                <a:cxn ang="0">
                  <a:pos x="340" y="106"/>
                </a:cxn>
                <a:cxn ang="0">
                  <a:pos x="328" y="154"/>
                </a:cxn>
                <a:cxn ang="0">
                  <a:pos x="299" y="130"/>
                </a:cxn>
                <a:cxn ang="0">
                  <a:pos x="287" y="154"/>
                </a:cxn>
                <a:cxn ang="0">
                  <a:pos x="270" y="183"/>
                </a:cxn>
                <a:cxn ang="0">
                  <a:pos x="188" y="165"/>
                </a:cxn>
                <a:cxn ang="0">
                  <a:pos x="164" y="183"/>
                </a:cxn>
                <a:cxn ang="0">
                  <a:pos x="135" y="89"/>
                </a:cxn>
                <a:cxn ang="0">
                  <a:pos x="70" y="71"/>
                </a:cxn>
                <a:cxn ang="0">
                  <a:pos x="53" y="89"/>
                </a:cxn>
                <a:cxn ang="0">
                  <a:pos x="41" y="185"/>
                </a:cxn>
                <a:cxn ang="0">
                  <a:pos x="12" y="154"/>
                </a:cxn>
                <a:cxn ang="0">
                  <a:pos x="0" y="185"/>
                </a:cxn>
                <a:cxn ang="0">
                  <a:pos x="624" y="278"/>
                </a:cxn>
                <a:cxn ang="0">
                  <a:pos x="1219" y="65"/>
                </a:cxn>
                <a:cxn ang="0">
                  <a:pos x="1201" y="137"/>
                </a:cxn>
                <a:cxn ang="0">
                  <a:pos x="1172" y="88"/>
                </a:cxn>
              </a:cxnLst>
              <a:rect l="0" t="0" r="r" b="b"/>
              <a:pathLst>
                <a:path w="1249" h="278">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7" name="Rectangle 39"/>
            <p:cNvSpPr>
              <a:spLocks noChangeArrowheads="1"/>
            </p:cNvSpPr>
            <p:nvPr userDrawn="1"/>
          </p:nvSpPr>
          <p:spPr bwMode="auto">
            <a:xfrm>
              <a:off x="4456113" y="6421438"/>
              <a:ext cx="244475" cy="34925"/>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8" name="Freeform 40"/>
            <p:cNvSpPr>
              <a:spLocks/>
            </p:cNvSpPr>
            <p:nvPr userDrawn="1"/>
          </p:nvSpPr>
          <p:spPr bwMode="auto">
            <a:xfrm>
              <a:off x="6640513" y="6462713"/>
              <a:ext cx="7938" cy="12700"/>
            </a:xfrm>
            <a:custGeom>
              <a:avLst/>
              <a:gdLst/>
              <a:ahLst/>
              <a:cxnLst>
                <a:cxn ang="0">
                  <a:pos x="17" y="39"/>
                </a:cxn>
                <a:cxn ang="0">
                  <a:pos x="18" y="39"/>
                </a:cxn>
                <a:cxn ang="0">
                  <a:pos x="20" y="39"/>
                </a:cxn>
                <a:cxn ang="0">
                  <a:pos x="20" y="40"/>
                </a:cxn>
                <a:cxn ang="0">
                  <a:pos x="21" y="40"/>
                </a:cxn>
                <a:cxn ang="0">
                  <a:pos x="21" y="41"/>
                </a:cxn>
                <a:cxn ang="0">
                  <a:pos x="22" y="41"/>
                </a:cxn>
                <a:cxn ang="0">
                  <a:pos x="22" y="42"/>
                </a:cxn>
                <a:cxn ang="0">
                  <a:pos x="23" y="36"/>
                </a:cxn>
                <a:cxn ang="0">
                  <a:pos x="23" y="28"/>
                </a:cxn>
                <a:cxn ang="0">
                  <a:pos x="23" y="23"/>
                </a:cxn>
                <a:cxn ang="0">
                  <a:pos x="21" y="21"/>
                </a:cxn>
                <a:cxn ang="0">
                  <a:pos x="18" y="15"/>
                </a:cxn>
                <a:cxn ang="0">
                  <a:pos x="16" y="8"/>
                </a:cxn>
                <a:cxn ang="0">
                  <a:pos x="17" y="4"/>
                </a:cxn>
                <a:cxn ang="0">
                  <a:pos x="14" y="3"/>
                </a:cxn>
                <a:cxn ang="0">
                  <a:pos x="12" y="2"/>
                </a:cxn>
                <a:cxn ang="0">
                  <a:pos x="11" y="0"/>
                </a:cxn>
                <a:cxn ang="0">
                  <a:pos x="8" y="5"/>
                </a:cxn>
                <a:cxn ang="0">
                  <a:pos x="3" y="11"/>
                </a:cxn>
                <a:cxn ang="0">
                  <a:pos x="0" y="14"/>
                </a:cxn>
                <a:cxn ang="0">
                  <a:pos x="0" y="16"/>
                </a:cxn>
                <a:cxn ang="0">
                  <a:pos x="4" y="22"/>
                </a:cxn>
                <a:cxn ang="0">
                  <a:pos x="5" y="26"/>
                </a:cxn>
                <a:cxn ang="0">
                  <a:pos x="5" y="24"/>
                </a:cxn>
                <a:cxn ang="0">
                  <a:pos x="6" y="24"/>
                </a:cxn>
                <a:cxn ang="0">
                  <a:pos x="5" y="24"/>
                </a:cxn>
                <a:cxn ang="0">
                  <a:pos x="5" y="23"/>
                </a:cxn>
                <a:cxn ang="0">
                  <a:pos x="5" y="22"/>
                </a:cxn>
                <a:cxn ang="0">
                  <a:pos x="6" y="22"/>
                </a:cxn>
                <a:cxn ang="0">
                  <a:pos x="8" y="22"/>
                </a:cxn>
                <a:cxn ang="0">
                  <a:pos x="9" y="22"/>
                </a:cxn>
                <a:cxn ang="0">
                  <a:pos x="9" y="23"/>
                </a:cxn>
                <a:cxn ang="0">
                  <a:pos x="9" y="24"/>
                </a:cxn>
                <a:cxn ang="0">
                  <a:pos x="9" y="26"/>
                </a:cxn>
                <a:cxn ang="0">
                  <a:pos x="9" y="24"/>
                </a:cxn>
                <a:cxn ang="0">
                  <a:pos x="10" y="23"/>
                </a:cxn>
                <a:cxn ang="0">
                  <a:pos x="10" y="24"/>
                </a:cxn>
                <a:cxn ang="0">
                  <a:pos x="11" y="24"/>
                </a:cxn>
                <a:cxn ang="0">
                  <a:pos x="11" y="26"/>
                </a:cxn>
                <a:cxn ang="0">
                  <a:pos x="12" y="27"/>
                </a:cxn>
                <a:cxn ang="0">
                  <a:pos x="12" y="26"/>
                </a:cxn>
                <a:cxn ang="0">
                  <a:pos x="14" y="27"/>
                </a:cxn>
                <a:cxn ang="0">
                  <a:pos x="14" y="28"/>
                </a:cxn>
                <a:cxn ang="0">
                  <a:pos x="14" y="29"/>
                </a:cxn>
                <a:cxn ang="0">
                  <a:pos x="15" y="30"/>
                </a:cxn>
                <a:cxn ang="0">
                  <a:pos x="15" y="29"/>
                </a:cxn>
                <a:cxn ang="0">
                  <a:pos x="16" y="29"/>
                </a:cxn>
                <a:cxn ang="0">
                  <a:pos x="17" y="30"/>
                </a:cxn>
                <a:cxn ang="0">
                  <a:pos x="17" y="32"/>
                </a:cxn>
                <a:cxn ang="0">
                  <a:pos x="17" y="33"/>
                </a:cxn>
                <a:cxn ang="0">
                  <a:pos x="16" y="33"/>
                </a:cxn>
                <a:cxn ang="0">
                  <a:pos x="16" y="32"/>
                </a:cxn>
                <a:cxn ang="0">
                  <a:pos x="15" y="32"/>
                </a:cxn>
                <a:cxn ang="0">
                  <a:pos x="15" y="33"/>
                </a:cxn>
                <a:cxn ang="0">
                  <a:pos x="16" y="33"/>
                </a:cxn>
                <a:cxn ang="0">
                  <a:pos x="16" y="34"/>
                </a:cxn>
                <a:cxn ang="0">
                  <a:pos x="16" y="35"/>
                </a:cxn>
                <a:cxn ang="0">
                  <a:pos x="17" y="38"/>
                </a:cxn>
                <a:cxn ang="0">
                  <a:pos x="17" y="39"/>
                </a:cxn>
              </a:cxnLst>
              <a:rect l="0" t="0" r="r" b="b"/>
              <a:pathLst>
                <a:path w="23" h="42">
                  <a:moveTo>
                    <a:pt x="17" y="39"/>
                  </a:moveTo>
                  <a:lnTo>
                    <a:pt x="18" y="39"/>
                  </a:lnTo>
                  <a:lnTo>
                    <a:pt x="20" y="39"/>
                  </a:lnTo>
                  <a:lnTo>
                    <a:pt x="20" y="40"/>
                  </a:lnTo>
                  <a:lnTo>
                    <a:pt x="21" y="40"/>
                  </a:lnTo>
                  <a:lnTo>
                    <a:pt x="21" y="41"/>
                  </a:lnTo>
                  <a:lnTo>
                    <a:pt x="22" y="41"/>
                  </a:lnTo>
                  <a:lnTo>
                    <a:pt x="22" y="42"/>
                  </a:lnTo>
                  <a:lnTo>
                    <a:pt x="23" y="36"/>
                  </a:lnTo>
                  <a:lnTo>
                    <a:pt x="23" y="28"/>
                  </a:lnTo>
                  <a:lnTo>
                    <a:pt x="23" y="23"/>
                  </a:lnTo>
                  <a:lnTo>
                    <a:pt x="21" y="21"/>
                  </a:lnTo>
                  <a:lnTo>
                    <a:pt x="18" y="15"/>
                  </a:lnTo>
                  <a:lnTo>
                    <a:pt x="16" y="8"/>
                  </a:lnTo>
                  <a:lnTo>
                    <a:pt x="17" y="4"/>
                  </a:lnTo>
                  <a:lnTo>
                    <a:pt x="14" y="3"/>
                  </a:lnTo>
                  <a:lnTo>
                    <a:pt x="12" y="2"/>
                  </a:lnTo>
                  <a:lnTo>
                    <a:pt x="11" y="0"/>
                  </a:lnTo>
                  <a:lnTo>
                    <a:pt x="8" y="5"/>
                  </a:lnTo>
                  <a:lnTo>
                    <a:pt x="3" y="11"/>
                  </a:lnTo>
                  <a:lnTo>
                    <a:pt x="0" y="14"/>
                  </a:lnTo>
                  <a:lnTo>
                    <a:pt x="0" y="16"/>
                  </a:lnTo>
                  <a:lnTo>
                    <a:pt x="4" y="22"/>
                  </a:lnTo>
                  <a:lnTo>
                    <a:pt x="5" y="26"/>
                  </a:lnTo>
                  <a:lnTo>
                    <a:pt x="5" y="24"/>
                  </a:lnTo>
                  <a:lnTo>
                    <a:pt x="6" y="24"/>
                  </a:lnTo>
                  <a:lnTo>
                    <a:pt x="5" y="24"/>
                  </a:lnTo>
                  <a:lnTo>
                    <a:pt x="5" y="23"/>
                  </a:lnTo>
                  <a:lnTo>
                    <a:pt x="5" y="22"/>
                  </a:lnTo>
                  <a:lnTo>
                    <a:pt x="6" y="22"/>
                  </a:lnTo>
                  <a:lnTo>
                    <a:pt x="8" y="22"/>
                  </a:lnTo>
                  <a:lnTo>
                    <a:pt x="9" y="22"/>
                  </a:lnTo>
                  <a:lnTo>
                    <a:pt x="9" y="23"/>
                  </a:lnTo>
                  <a:lnTo>
                    <a:pt x="9" y="24"/>
                  </a:lnTo>
                  <a:lnTo>
                    <a:pt x="9" y="26"/>
                  </a:lnTo>
                  <a:lnTo>
                    <a:pt x="9" y="24"/>
                  </a:lnTo>
                  <a:lnTo>
                    <a:pt x="10" y="23"/>
                  </a:lnTo>
                  <a:lnTo>
                    <a:pt x="10" y="24"/>
                  </a:lnTo>
                  <a:lnTo>
                    <a:pt x="11" y="24"/>
                  </a:lnTo>
                  <a:lnTo>
                    <a:pt x="11" y="26"/>
                  </a:lnTo>
                  <a:lnTo>
                    <a:pt x="12" y="27"/>
                  </a:lnTo>
                  <a:lnTo>
                    <a:pt x="12" y="26"/>
                  </a:lnTo>
                  <a:lnTo>
                    <a:pt x="14" y="27"/>
                  </a:lnTo>
                  <a:lnTo>
                    <a:pt x="14" y="28"/>
                  </a:lnTo>
                  <a:lnTo>
                    <a:pt x="14" y="29"/>
                  </a:lnTo>
                  <a:lnTo>
                    <a:pt x="15" y="30"/>
                  </a:lnTo>
                  <a:lnTo>
                    <a:pt x="15" y="29"/>
                  </a:lnTo>
                  <a:lnTo>
                    <a:pt x="16" y="29"/>
                  </a:lnTo>
                  <a:lnTo>
                    <a:pt x="17" y="30"/>
                  </a:lnTo>
                  <a:lnTo>
                    <a:pt x="17" y="32"/>
                  </a:lnTo>
                  <a:lnTo>
                    <a:pt x="17" y="33"/>
                  </a:lnTo>
                  <a:lnTo>
                    <a:pt x="16" y="33"/>
                  </a:lnTo>
                  <a:lnTo>
                    <a:pt x="16" y="32"/>
                  </a:lnTo>
                  <a:lnTo>
                    <a:pt x="15" y="32"/>
                  </a:lnTo>
                  <a:lnTo>
                    <a:pt x="15" y="33"/>
                  </a:lnTo>
                  <a:lnTo>
                    <a:pt x="16" y="33"/>
                  </a:lnTo>
                  <a:lnTo>
                    <a:pt x="16" y="34"/>
                  </a:lnTo>
                  <a:lnTo>
                    <a:pt x="16" y="35"/>
                  </a:lnTo>
                  <a:lnTo>
                    <a:pt x="17" y="38"/>
                  </a:lnTo>
                  <a:lnTo>
                    <a:pt x="17" y="3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9" name="Freeform 41"/>
            <p:cNvSpPr>
              <a:spLocks/>
            </p:cNvSpPr>
            <p:nvPr userDrawn="1"/>
          </p:nvSpPr>
          <p:spPr bwMode="auto">
            <a:xfrm>
              <a:off x="6640513" y="6467476"/>
              <a:ext cx="1588" cy="6350"/>
            </a:xfrm>
            <a:custGeom>
              <a:avLst/>
              <a:gdLst/>
              <a:ahLst/>
              <a:cxnLst>
                <a:cxn ang="0">
                  <a:pos x="7" y="18"/>
                </a:cxn>
                <a:cxn ang="0">
                  <a:pos x="6" y="19"/>
                </a:cxn>
                <a:cxn ang="0">
                  <a:pos x="7" y="19"/>
                </a:cxn>
                <a:cxn ang="0">
                  <a:pos x="6" y="20"/>
                </a:cxn>
                <a:cxn ang="0">
                  <a:pos x="4" y="19"/>
                </a:cxn>
                <a:cxn ang="0">
                  <a:pos x="2" y="14"/>
                </a:cxn>
                <a:cxn ang="0">
                  <a:pos x="1" y="11"/>
                </a:cxn>
                <a:cxn ang="0">
                  <a:pos x="1" y="6"/>
                </a:cxn>
                <a:cxn ang="0">
                  <a:pos x="0" y="0"/>
                </a:cxn>
                <a:cxn ang="0">
                  <a:pos x="3" y="5"/>
                </a:cxn>
                <a:cxn ang="0">
                  <a:pos x="6" y="11"/>
                </a:cxn>
                <a:cxn ang="0">
                  <a:pos x="7" y="13"/>
                </a:cxn>
                <a:cxn ang="0">
                  <a:pos x="6" y="14"/>
                </a:cxn>
                <a:cxn ang="0">
                  <a:pos x="6" y="16"/>
                </a:cxn>
                <a:cxn ang="0">
                  <a:pos x="7" y="14"/>
                </a:cxn>
                <a:cxn ang="0">
                  <a:pos x="6" y="16"/>
                </a:cxn>
                <a:cxn ang="0">
                  <a:pos x="7" y="17"/>
                </a:cxn>
                <a:cxn ang="0">
                  <a:pos x="7" y="16"/>
                </a:cxn>
                <a:cxn ang="0">
                  <a:pos x="7" y="17"/>
                </a:cxn>
                <a:cxn ang="0">
                  <a:pos x="6" y="18"/>
                </a:cxn>
                <a:cxn ang="0">
                  <a:pos x="7" y="18"/>
                </a:cxn>
              </a:cxnLst>
              <a:rect l="0" t="0" r="r" b="b"/>
              <a:pathLst>
                <a:path w="7" h="20">
                  <a:moveTo>
                    <a:pt x="7" y="18"/>
                  </a:moveTo>
                  <a:lnTo>
                    <a:pt x="6" y="19"/>
                  </a:lnTo>
                  <a:lnTo>
                    <a:pt x="7" y="19"/>
                  </a:lnTo>
                  <a:lnTo>
                    <a:pt x="6" y="20"/>
                  </a:lnTo>
                  <a:lnTo>
                    <a:pt x="4" y="19"/>
                  </a:lnTo>
                  <a:lnTo>
                    <a:pt x="2" y="14"/>
                  </a:lnTo>
                  <a:lnTo>
                    <a:pt x="1" y="11"/>
                  </a:lnTo>
                  <a:lnTo>
                    <a:pt x="1" y="6"/>
                  </a:lnTo>
                  <a:lnTo>
                    <a:pt x="0" y="0"/>
                  </a:lnTo>
                  <a:lnTo>
                    <a:pt x="3" y="5"/>
                  </a:lnTo>
                  <a:lnTo>
                    <a:pt x="6" y="11"/>
                  </a:lnTo>
                  <a:lnTo>
                    <a:pt x="7" y="13"/>
                  </a:lnTo>
                  <a:lnTo>
                    <a:pt x="6" y="14"/>
                  </a:lnTo>
                  <a:lnTo>
                    <a:pt x="6" y="16"/>
                  </a:lnTo>
                  <a:lnTo>
                    <a:pt x="7" y="14"/>
                  </a:lnTo>
                  <a:lnTo>
                    <a:pt x="6" y="16"/>
                  </a:lnTo>
                  <a:lnTo>
                    <a:pt x="7" y="17"/>
                  </a:lnTo>
                  <a:lnTo>
                    <a:pt x="7" y="16"/>
                  </a:lnTo>
                  <a:lnTo>
                    <a:pt x="7" y="17"/>
                  </a:lnTo>
                  <a:lnTo>
                    <a:pt x="6" y="18"/>
                  </a:lnTo>
                  <a:lnTo>
                    <a:pt x="7" y="1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0" name="Freeform 42"/>
            <p:cNvSpPr>
              <a:spLocks/>
            </p:cNvSpPr>
            <p:nvPr userDrawn="1"/>
          </p:nvSpPr>
          <p:spPr bwMode="auto">
            <a:xfrm>
              <a:off x="6642100" y="6475413"/>
              <a:ext cx="3175" cy="12700"/>
            </a:xfrm>
            <a:custGeom>
              <a:avLst/>
              <a:gdLst/>
              <a:ahLst/>
              <a:cxnLst>
                <a:cxn ang="0">
                  <a:pos x="6" y="38"/>
                </a:cxn>
                <a:cxn ang="0">
                  <a:pos x="5" y="35"/>
                </a:cxn>
                <a:cxn ang="0">
                  <a:pos x="5" y="26"/>
                </a:cxn>
                <a:cxn ang="0">
                  <a:pos x="3" y="14"/>
                </a:cxn>
                <a:cxn ang="0">
                  <a:pos x="2" y="8"/>
                </a:cxn>
                <a:cxn ang="0">
                  <a:pos x="0" y="2"/>
                </a:cxn>
                <a:cxn ang="0">
                  <a:pos x="0" y="0"/>
                </a:cxn>
                <a:cxn ang="0">
                  <a:pos x="1" y="0"/>
                </a:cxn>
                <a:cxn ang="0">
                  <a:pos x="2" y="0"/>
                </a:cxn>
                <a:cxn ang="0">
                  <a:pos x="3" y="0"/>
                </a:cxn>
                <a:cxn ang="0">
                  <a:pos x="3" y="1"/>
                </a:cxn>
                <a:cxn ang="0">
                  <a:pos x="3" y="4"/>
                </a:cxn>
                <a:cxn ang="0">
                  <a:pos x="3" y="6"/>
                </a:cxn>
                <a:cxn ang="0">
                  <a:pos x="3" y="7"/>
                </a:cxn>
                <a:cxn ang="0">
                  <a:pos x="5" y="8"/>
                </a:cxn>
                <a:cxn ang="0">
                  <a:pos x="5" y="9"/>
                </a:cxn>
                <a:cxn ang="0">
                  <a:pos x="6" y="9"/>
                </a:cxn>
                <a:cxn ang="0">
                  <a:pos x="6" y="10"/>
                </a:cxn>
                <a:cxn ang="0">
                  <a:pos x="6" y="12"/>
                </a:cxn>
                <a:cxn ang="0">
                  <a:pos x="7" y="10"/>
                </a:cxn>
                <a:cxn ang="0">
                  <a:pos x="7" y="12"/>
                </a:cxn>
                <a:cxn ang="0">
                  <a:pos x="6" y="13"/>
                </a:cxn>
                <a:cxn ang="0">
                  <a:pos x="6" y="14"/>
                </a:cxn>
                <a:cxn ang="0">
                  <a:pos x="6" y="15"/>
                </a:cxn>
                <a:cxn ang="0">
                  <a:pos x="6" y="14"/>
                </a:cxn>
                <a:cxn ang="0">
                  <a:pos x="7" y="14"/>
                </a:cxn>
                <a:cxn ang="0">
                  <a:pos x="6" y="15"/>
                </a:cxn>
                <a:cxn ang="0">
                  <a:pos x="6" y="17"/>
                </a:cxn>
                <a:cxn ang="0">
                  <a:pos x="7" y="15"/>
                </a:cxn>
                <a:cxn ang="0">
                  <a:pos x="7" y="14"/>
                </a:cxn>
                <a:cxn ang="0">
                  <a:pos x="7" y="15"/>
                </a:cxn>
                <a:cxn ang="0">
                  <a:pos x="8" y="17"/>
                </a:cxn>
                <a:cxn ang="0">
                  <a:pos x="8" y="18"/>
                </a:cxn>
                <a:cxn ang="0">
                  <a:pos x="8" y="20"/>
                </a:cxn>
                <a:cxn ang="0">
                  <a:pos x="9" y="25"/>
                </a:cxn>
                <a:cxn ang="0">
                  <a:pos x="11" y="29"/>
                </a:cxn>
                <a:cxn ang="0">
                  <a:pos x="8" y="35"/>
                </a:cxn>
                <a:cxn ang="0">
                  <a:pos x="7" y="36"/>
                </a:cxn>
                <a:cxn ang="0">
                  <a:pos x="6" y="38"/>
                </a:cxn>
              </a:cxnLst>
              <a:rect l="0" t="0" r="r" b="b"/>
              <a:pathLst>
                <a:path w="11" h="38">
                  <a:moveTo>
                    <a:pt x="6" y="38"/>
                  </a:moveTo>
                  <a:lnTo>
                    <a:pt x="5" y="35"/>
                  </a:lnTo>
                  <a:lnTo>
                    <a:pt x="5" y="26"/>
                  </a:lnTo>
                  <a:lnTo>
                    <a:pt x="3" y="14"/>
                  </a:lnTo>
                  <a:lnTo>
                    <a:pt x="2" y="8"/>
                  </a:lnTo>
                  <a:lnTo>
                    <a:pt x="0" y="2"/>
                  </a:lnTo>
                  <a:lnTo>
                    <a:pt x="0" y="0"/>
                  </a:lnTo>
                  <a:lnTo>
                    <a:pt x="1" y="0"/>
                  </a:lnTo>
                  <a:lnTo>
                    <a:pt x="2" y="0"/>
                  </a:lnTo>
                  <a:lnTo>
                    <a:pt x="3" y="0"/>
                  </a:lnTo>
                  <a:lnTo>
                    <a:pt x="3" y="1"/>
                  </a:lnTo>
                  <a:lnTo>
                    <a:pt x="3" y="4"/>
                  </a:lnTo>
                  <a:lnTo>
                    <a:pt x="3" y="6"/>
                  </a:lnTo>
                  <a:lnTo>
                    <a:pt x="3" y="7"/>
                  </a:lnTo>
                  <a:lnTo>
                    <a:pt x="5" y="8"/>
                  </a:lnTo>
                  <a:lnTo>
                    <a:pt x="5" y="9"/>
                  </a:lnTo>
                  <a:lnTo>
                    <a:pt x="6" y="9"/>
                  </a:lnTo>
                  <a:lnTo>
                    <a:pt x="6" y="10"/>
                  </a:lnTo>
                  <a:lnTo>
                    <a:pt x="6" y="12"/>
                  </a:lnTo>
                  <a:lnTo>
                    <a:pt x="7" y="10"/>
                  </a:lnTo>
                  <a:lnTo>
                    <a:pt x="7" y="12"/>
                  </a:lnTo>
                  <a:lnTo>
                    <a:pt x="6" y="13"/>
                  </a:lnTo>
                  <a:lnTo>
                    <a:pt x="6" y="14"/>
                  </a:lnTo>
                  <a:lnTo>
                    <a:pt x="6" y="15"/>
                  </a:lnTo>
                  <a:lnTo>
                    <a:pt x="6" y="14"/>
                  </a:lnTo>
                  <a:lnTo>
                    <a:pt x="7" y="14"/>
                  </a:lnTo>
                  <a:lnTo>
                    <a:pt x="6" y="15"/>
                  </a:lnTo>
                  <a:lnTo>
                    <a:pt x="6" y="17"/>
                  </a:lnTo>
                  <a:lnTo>
                    <a:pt x="7" y="15"/>
                  </a:lnTo>
                  <a:lnTo>
                    <a:pt x="7" y="14"/>
                  </a:lnTo>
                  <a:lnTo>
                    <a:pt x="7" y="15"/>
                  </a:lnTo>
                  <a:lnTo>
                    <a:pt x="8" y="17"/>
                  </a:lnTo>
                  <a:lnTo>
                    <a:pt x="8" y="18"/>
                  </a:lnTo>
                  <a:lnTo>
                    <a:pt x="8" y="20"/>
                  </a:lnTo>
                  <a:lnTo>
                    <a:pt x="9" y="25"/>
                  </a:lnTo>
                  <a:lnTo>
                    <a:pt x="11" y="29"/>
                  </a:lnTo>
                  <a:lnTo>
                    <a:pt x="8" y="35"/>
                  </a:lnTo>
                  <a:lnTo>
                    <a:pt x="7" y="36"/>
                  </a:lnTo>
                  <a:lnTo>
                    <a:pt x="6" y="3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1" name="Freeform 43"/>
            <p:cNvSpPr>
              <a:spLocks/>
            </p:cNvSpPr>
            <p:nvPr userDrawn="1"/>
          </p:nvSpPr>
          <p:spPr bwMode="auto">
            <a:xfrm>
              <a:off x="6640513" y="6459538"/>
              <a:ext cx="3175" cy="6350"/>
            </a:xfrm>
            <a:custGeom>
              <a:avLst/>
              <a:gdLst/>
              <a:ahLst/>
              <a:cxnLst>
                <a:cxn ang="0">
                  <a:pos x="10" y="4"/>
                </a:cxn>
                <a:cxn ang="0">
                  <a:pos x="10" y="5"/>
                </a:cxn>
                <a:cxn ang="0">
                  <a:pos x="10" y="6"/>
                </a:cxn>
                <a:cxn ang="0">
                  <a:pos x="10" y="7"/>
                </a:cxn>
                <a:cxn ang="0">
                  <a:pos x="7" y="12"/>
                </a:cxn>
                <a:cxn ang="0">
                  <a:pos x="0" y="21"/>
                </a:cxn>
                <a:cxn ang="0">
                  <a:pos x="0" y="17"/>
                </a:cxn>
                <a:cxn ang="0">
                  <a:pos x="0" y="10"/>
                </a:cxn>
                <a:cxn ang="0">
                  <a:pos x="0" y="7"/>
                </a:cxn>
                <a:cxn ang="0">
                  <a:pos x="0" y="9"/>
                </a:cxn>
                <a:cxn ang="0">
                  <a:pos x="0" y="7"/>
                </a:cxn>
                <a:cxn ang="0">
                  <a:pos x="0" y="6"/>
                </a:cxn>
                <a:cxn ang="0">
                  <a:pos x="0" y="5"/>
                </a:cxn>
                <a:cxn ang="0">
                  <a:pos x="0" y="4"/>
                </a:cxn>
                <a:cxn ang="0">
                  <a:pos x="1" y="4"/>
                </a:cxn>
                <a:cxn ang="0">
                  <a:pos x="0" y="5"/>
                </a:cxn>
                <a:cxn ang="0">
                  <a:pos x="1" y="5"/>
                </a:cxn>
                <a:cxn ang="0">
                  <a:pos x="1" y="6"/>
                </a:cxn>
                <a:cxn ang="0">
                  <a:pos x="3" y="6"/>
                </a:cxn>
                <a:cxn ang="0">
                  <a:pos x="3" y="5"/>
                </a:cxn>
                <a:cxn ang="0">
                  <a:pos x="3" y="4"/>
                </a:cxn>
                <a:cxn ang="0">
                  <a:pos x="3" y="3"/>
                </a:cxn>
                <a:cxn ang="0">
                  <a:pos x="1" y="3"/>
                </a:cxn>
                <a:cxn ang="0">
                  <a:pos x="1" y="1"/>
                </a:cxn>
                <a:cxn ang="0">
                  <a:pos x="1" y="3"/>
                </a:cxn>
                <a:cxn ang="0">
                  <a:pos x="0" y="3"/>
                </a:cxn>
                <a:cxn ang="0">
                  <a:pos x="0" y="1"/>
                </a:cxn>
                <a:cxn ang="0">
                  <a:pos x="0" y="0"/>
                </a:cxn>
                <a:cxn ang="0">
                  <a:pos x="1" y="0"/>
                </a:cxn>
                <a:cxn ang="0">
                  <a:pos x="3" y="0"/>
                </a:cxn>
                <a:cxn ang="0">
                  <a:pos x="3" y="1"/>
                </a:cxn>
                <a:cxn ang="0">
                  <a:pos x="4" y="1"/>
                </a:cxn>
                <a:cxn ang="0">
                  <a:pos x="4" y="3"/>
                </a:cxn>
                <a:cxn ang="0">
                  <a:pos x="5" y="3"/>
                </a:cxn>
                <a:cxn ang="0">
                  <a:pos x="5" y="4"/>
                </a:cxn>
                <a:cxn ang="0">
                  <a:pos x="5" y="3"/>
                </a:cxn>
                <a:cxn ang="0">
                  <a:pos x="6" y="3"/>
                </a:cxn>
                <a:cxn ang="0">
                  <a:pos x="6" y="4"/>
                </a:cxn>
                <a:cxn ang="0">
                  <a:pos x="5" y="5"/>
                </a:cxn>
                <a:cxn ang="0">
                  <a:pos x="6" y="5"/>
                </a:cxn>
                <a:cxn ang="0">
                  <a:pos x="7" y="4"/>
                </a:cxn>
                <a:cxn ang="0">
                  <a:pos x="7" y="3"/>
                </a:cxn>
                <a:cxn ang="0">
                  <a:pos x="7" y="4"/>
                </a:cxn>
                <a:cxn ang="0">
                  <a:pos x="9" y="4"/>
                </a:cxn>
                <a:cxn ang="0">
                  <a:pos x="9" y="5"/>
                </a:cxn>
                <a:cxn ang="0">
                  <a:pos x="9" y="6"/>
                </a:cxn>
                <a:cxn ang="0">
                  <a:pos x="9" y="5"/>
                </a:cxn>
                <a:cxn ang="0">
                  <a:pos x="10" y="5"/>
                </a:cxn>
                <a:cxn ang="0">
                  <a:pos x="10" y="4"/>
                </a:cxn>
              </a:cxnLst>
              <a:rect l="0" t="0" r="r" b="b"/>
              <a:pathLst>
                <a:path w="10" h="21">
                  <a:moveTo>
                    <a:pt x="10" y="4"/>
                  </a:moveTo>
                  <a:lnTo>
                    <a:pt x="10" y="5"/>
                  </a:lnTo>
                  <a:lnTo>
                    <a:pt x="10" y="6"/>
                  </a:lnTo>
                  <a:lnTo>
                    <a:pt x="10" y="7"/>
                  </a:lnTo>
                  <a:lnTo>
                    <a:pt x="7" y="12"/>
                  </a:lnTo>
                  <a:lnTo>
                    <a:pt x="0" y="21"/>
                  </a:lnTo>
                  <a:lnTo>
                    <a:pt x="0" y="17"/>
                  </a:lnTo>
                  <a:lnTo>
                    <a:pt x="0" y="10"/>
                  </a:lnTo>
                  <a:lnTo>
                    <a:pt x="0" y="7"/>
                  </a:lnTo>
                  <a:lnTo>
                    <a:pt x="0" y="9"/>
                  </a:lnTo>
                  <a:lnTo>
                    <a:pt x="0" y="7"/>
                  </a:lnTo>
                  <a:lnTo>
                    <a:pt x="0" y="6"/>
                  </a:lnTo>
                  <a:lnTo>
                    <a:pt x="0" y="5"/>
                  </a:lnTo>
                  <a:lnTo>
                    <a:pt x="0" y="4"/>
                  </a:lnTo>
                  <a:lnTo>
                    <a:pt x="1" y="4"/>
                  </a:lnTo>
                  <a:lnTo>
                    <a:pt x="0" y="5"/>
                  </a:lnTo>
                  <a:lnTo>
                    <a:pt x="1" y="5"/>
                  </a:lnTo>
                  <a:lnTo>
                    <a:pt x="1" y="6"/>
                  </a:lnTo>
                  <a:lnTo>
                    <a:pt x="3" y="6"/>
                  </a:lnTo>
                  <a:lnTo>
                    <a:pt x="3" y="5"/>
                  </a:lnTo>
                  <a:lnTo>
                    <a:pt x="3" y="4"/>
                  </a:lnTo>
                  <a:lnTo>
                    <a:pt x="3" y="3"/>
                  </a:lnTo>
                  <a:lnTo>
                    <a:pt x="1" y="3"/>
                  </a:lnTo>
                  <a:lnTo>
                    <a:pt x="1" y="1"/>
                  </a:lnTo>
                  <a:lnTo>
                    <a:pt x="1" y="3"/>
                  </a:lnTo>
                  <a:lnTo>
                    <a:pt x="0" y="3"/>
                  </a:lnTo>
                  <a:lnTo>
                    <a:pt x="0" y="1"/>
                  </a:lnTo>
                  <a:lnTo>
                    <a:pt x="0" y="0"/>
                  </a:lnTo>
                  <a:lnTo>
                    <a:pt x="1" y="0"/>
                  </a:lnTo>
                  <a:lnTo>
                    <a:pt x="3" y="0"/>
                  </a:lnTo>
                  <a:lnTo>
                    <a:pt x="3" y="1"/>
                  </a:lnTo>
                  <a:lnTo>
                    <a:pt x="4" y="1"/>
                  </a:lnTo>
                  <a:lnTo>
                    <a:pt x="4" y="3"/>
                  </a:lnTo>
                  <a:lnTo>
                    <a:pt x="5" y="3"/>
                  </a:lnTo>
                  <a:lnTo>
                    <a:pt x="5" y="4"/>
                  </a:lnTo>
                  <a:lnTo>
                    <a:pt x="5" y="3"/>
                  </a:lnTo>
                  <a:lnTo>
                    <a:pt x="6" y="3"/>
                  </a:lnTo>
                  <a:lnTo>
                    <a:pt x="6" y="4"/>
                  </a:lnTo>
                  <a:lnTo>
                    <a:pt x="5" y="5"/>
                  </a:lnTo>
                  <a:lnTo>
                    <a:pt x="6" y="5"/>
                  </a:lnTo>
                  <a:lnTo>
                    <a:pt x="7" y="4"/>
                  </a:lnTo>
                  <a:lnTo>
                    <a:pt x="7" y="3"/>
                  </a:lnTo>
                  <a:lnTo>
                    <a:pt x="7" y="4"/>
                  </a:lnTo>
                  <a:lnTo>
                    <a:pt x="9" y="4"/>
                  </a:lnTo>
                  <a:lnTo>
                    <a:pt x="9" y="5"/>
                  </a:lnTo>
                  <a:lnTo>
                    <a:pt x="9" y="6"/>
                  </a:lnTo>
                  <a:lnTo>
                    <a:pt x="9" y="5"/>
                  </a:lnTo>
                  <a:lnTo>
                    <a:pt x="10" y="5"/>
                  </a:lnTo>
                  <a:lnTo>
                    <a:pt x="10" y="4"/>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2" name="Freeform 44"/>
            <p:cNvSpPr>
              <a:spLocks/>
            </p:cNvSpPr>
            <p:nvPr userDrawn="1"/>
          </p:nvSpPr>
          <p:spPr bwMode="auto">
            <a:xfrm>
              <a:off x="6630988" y="6465888"/>
              <a:ext cx="9525" cy="6350"/>
            </a:xfrm>
            <a:custGeom>
              <a:avLst/>
              <a:gdLst/>
              <a:ahLst/>
              <a:cxnLst>
                <a:cxn ang="0">
                  <a:pos x="28" y="22"/>
                </a:cxn>
                <a:cxn ang="0">
                  <a:pos x="24" y="12"/>
                </a:cxn>
                <a:cxn ang="0">
                  <a:pos x="19" y="7"/>
                </a:cxn>
                <a:cxn ang="0">
                  <a:pos x="15" y="4"/>
                </a:cxn>
                <a:cxn ang="0">
                  <a:pos x="12" y="3"/>
                </a:cxn>
                <a:cxn ang="0">
                  <a:pos x="7" y="0"/>
                </a:cxn>
                <a:cxn ang="0">
                  <a:pos x="6" y="0"/>
                </a:cxn>
                <a:cxn ang="0">
                  <a:pos x="3" y="3"/>
                </a:cxn>
                <a:cxn ang="0">
                  <a:pos x="2" y="4"/>
                </a:cxn>
                <a:cxn ang="0">
                  <a:pos x="2" y="5"/>
                </a:cxn>
                <a:cxn ang="0">
                  <a:pos x="3" y="5"/>
                </a:cxn>
                <a:cxn ang="0">
                  <a:pos x="3" y="6"/>
                </a:cxn>
                <a:cxn ang="0">
                  <a:pos x="3" y="7"/>
                </a:cxn>
                <a:cxn ang="0">
                  <a:pos x="2" y="7"/>
                </a:cxn>
                <a:cxn ang="0">
                  <a:pos x="2" y="9"/>
                </a:cxn>
                <a:cxn ang="0">
                  <a:pos x="2" y="7"/>
                </a:cxn>
                <a:cxn ang="0">
                  <a:pos x="1" y="7"/>
                </a:cxn>
                <a:cxn ang="0">
                  <a:pos x="1" y="6"/>
                </a:cxn>
                <a:cxn ang="0">
                  <a:pos x="1" y="7"/>
                </a:cxn>
                <a:cxn ang="0">
                  <a:pos x="1" y="6"/>
                </a:cxn>
                <a:cxn ang="0">
                  <a:pos x="1" y="5"/>
                </a:cxn>
                <a:cxn ang="0">
                  <a:pos x="1" y="6"/>
                </a:cxn>
                <a:cxn ang="0">
                  <a:pos x="0" y="6"/>
                </a:cxn>
                <a:cxn ang="0">
                  <a:pos x="1" y="7"/>
                </a:cxn>
                <a:cxn ang="0">
                  <a:pos x="5" y="10"/>
                </a:cxn>
                <a:cxn ang="0">
                  <a:pos x="9" y="11"/>
                </a:cxn>
                <a:cxn ang="0">
                  <a:pos x="11" y="12"/>
                </a:cxn>
                <a:cxn ang="0">
                  <a:pos x="12" y="11"/>
                </a:cxn>
                <a:cxn ang="0">
                  <a:pos x="13" y="11"/>
                </a:cxn>
                <a:cxn ang="0">
                  <a:pos x="14" y="11"/>
                </a:cxn>
                <a:cxn ang="0">
                  <a:pos x="14" y="10"/>
                </a:cxn>
                <a:cxn ang="0">
                  <a:pos x="15" y="10"/>
                </a:cxn>
                <a:cxn ang="0">
                  <a:pos x="17" y="9"/>
                </a:cxn>
                <a:cxn ang="0">
                  <a:pos x="17" y="10"/>
                </a:cxn>
                <a:cxn ang="0">
                  <a:pos x="18" y="10"/>
                </a:cxn>
                <a:cxn ang="0">
                  <a:pos x="19" y="11"/>
                </a:cxn>
                <a:cxn ang="0">
                  <a:pos x="19" y="12"/>
                </a:cxn>
                <a:cxn ang="0">
                  <a:pos x="20" y="13"/>
                </a:cxn>
                <a:cxn ang="0">
                  <a:pos x="21" y="15"/>
                </a:cxn>
                <a:cxn ang="0">
                  <a:pos x="23" y="17"/>
                </a:cxn>
                <a:cxn ang="0">
                  <a:pos x="28" y="22"/>
                </a:cxn>
              </a:cxnLst>
              <a:rect l="0" t="0" r="r" b="b"/>
              <a:pathLst>
                <a:path w="28" h="22">
                  <a:moveTo>
                    <a:pt x="28" y="22"/>
                  </a:moveTo>
                  <a:lnTo>
                    <a:pt x="24" y="12"/>
                  </a:lnTo>
                  <a:lnTo>
                    <a:pt x="19" y="7"/>
                  </a:lnTo>
                  <a:lnTo>
                    <a:pt x="15" y="4"/>
                  </a:lnTo>
                  <a:lnTo>
                    <a:pt x="12" y="3"/>
                  </a:lnTo>
                  <a:lnTo>
                    <a:pt x="7" y="0"/>
                  </a:lnTo>
                  <a:lnTo>
                    <a:pt x="6" y="0"/>
                  </a:lnTo>
                  <a:lnTo>
                    <a:pt x="3" y="3"/>
                  </a:lnTo>
                  <a:lnTo>
                    <a:pt x="2" y="4"/>
                  </a:lnTo>
                  <a:lnTo>
                    <a:pt x="2" y="5"/>
                  </a:lnTo>
                  <a:lnTo>
                    <a:pt x="3" y="5"/>
                  </a:lnTo>
                  <a:lnTo>
                    <a:pt x="3" y="6"/>
                  </a:lnTo>
                  <a:lnTo>
                    <a:pt x="3" y="7"/>
                  </a:lnTo>
                  <a:lnTo>
                    <a:pt x="2" y="7"/>
                  </a:lnTo>
                  <a:lnTo>
                    <a:pt x="2" y="9"/>
                  </a:lnTo>
                  <a:lnTo>
                    <a:pt x="2" y="7"/>
                  </a:lnTo>
                  <a:lnTo>
                    <a:pt x="1" y="7"/>
                  </a:lnTo>
                  <a:lnTo>
                    <a:pt x="1" y="6"/>
                  </a:lnTo>
                  <a:lnTo>
                    <a:pt x="1" y="7"/>
                  </a:lnTo>
                  <a:lnTo>
                    <a:pt x="1" y="6"/>
                  </a:lnTo>
                  <a:lnTo>
                    <a:pt x="1" y="5"/>
                  </a:lnTo>
                  <a:lnTo>
                    <a:pt x="1" y="6"/>
                  </a:lnTo>
                  <a:lnTo>
                    <a:pt x="0" y="6"/>
                  </a:lnTo>
                  <a:lnTo>
                    <a:pt x="1" y="7"/>
                  </a:lnTo>
                  <a:lnTo>
                    <a:pt x="5" y="10"/>
                  </a:lnTo>
                  <a:lnTo>
                    <a:pt x="9" y="11"/>
                  </a:lnTo>
                  <a:lnTo>
                    <a:pt x="11" y="12"/>
                  </a:lnTo>
                  <a:lnTo>
                    <a:pt x="12" y="11"/>
                  </a:lnTo>
                  <a:lnTo>
                    <a:pt x="13" y="11"/>
                  </a:lnTo>
                  <a:lnTo>
                    <a:pt x="14" y="11"/>
                  </a:lnTo>
                  <a:lnTo>
                    <a:pt x="14" y="10"/>
                  </a:lnTo>
                  <a:lnTo>
                    <a:pt x="15" y="10"/>
                  </a:lnTo>
                  <a:lnTo>
                    <a:pt x="17" y="9"/>
                  </a:lnTo>
                  <a:lnTo>
                    <a:pt x="17" y="10"/>
                  </a:lnTo>
                  <a:lnTo>
                    <a:pt x="18" y="10"/>
                  </a:lnTo>
                  <a:lnTo>
                    <a:pt x="19" y="11"/>
                  </a:lnTo>
                  <a:lnTo>
                    <a:pt x="19" y="12"/>
                  </a:lnTo>
                  <a:lnTo>
                    <a:pt x="20" y="13"/>
                  </a:lnTo>
                  <a:lnTo>
                    <a:pt x="21" y="15"/>
                  </a:lnTo>
                  <a:lnTo>
                    <a:pt x="23" y="17"/>
                  </a:lnTo>
                  <a:lnTo>
                    <a:pt x="28" y="2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3" name="Freeform 45"/>
            <p:cNvSpPr>
              <a:spLocks/>
            </p:cNvSpPr>
            <p:nvPr userDrawn="1"/>
          </p:nvSpPr>
          <p:spPr bwMode="auto">
            <a:xfrm>
              <a:off x="6637338" y="6461126"/>
              <a:ext cx="3175" cy="4763"/>
            </a:xfrm>
            <a:custGeom>
              <a:avLst/>
              <a:gdLst/>
              <a:ahLst/>
              <a:cxnLst>
                <a:cxn ang="0">
                  <a:pos x="9" y="13"/>
                </a:cxn>
                <a:cxn ang="0">
                  <a:pos x="7" y="1"/>
                </a:cxn>
                <a:cxn ang="0">
                  <a:pos x="7" y="2"/>
                </a:cxn>
                <a:cxn ang="0">
                  <a:pos x="6" y="1"/>
                </a:cxn>
                <a:cxn ang="0">
                  <a:pos x="6" y="2"/>
                </a:cxn>
                <a:cxn ang="0">
                  <a:pos x="5" y="1"/>
                </a:cxn>
                <a:cxn ang="0">
                  <a:pos x="6" y="0"/>
                </a:cxn>
                <a:cxn ang="0">
                  <a:pos x="5" y="0"/>
                </a:cxn>
                <a:cxn ang="0">
                  <a:pos x="4" y="0"/>
                </a:cxn>
                <a:cxn ang="0">
                  <a:pos x="4" y="1"/>
                </a:cxn>
                <a:cxn ang="0">
                  <a:pos x="4" y="0"/>
                </a:cxn>
                <a:cxn ang="0">
                  <a:pos x="4" y="1"/>
                </a:cxn>
                <a:cxn ang="0">
                  <a:pos x="4" y="2"/>
                </a:cxn>
                <a:cxn ang="0">
                  <a:pos x="5" y="2"/>
                </a:cxn>
                <a:cxn ang="0">
                  <a:pos x="5" y="4"/>
                </a:cxn>
                <a:cxn ang="0">
                  <a:pos x="4" y="4"/>
                </a:cxn>
                <a:cxn ang="0">
                  <a:pos x="2" y="2"/>
                </a:cxn>
                <a:cxn ang="0">
                  <a:pos x="1" y="2"/>
                </a:cxn>
                <a:cxn ang="0">
                  <a:pos x="1" y="4"/>
                </a:cxn>
                <a:cxn ang="0">
                  <a:pos x="0" y="5"/>
                </a:cxn>
                <a:cxn ang="0">
                  <a:pos x="0" y="7"/>
                </a:cxn>
                <a:cxn ang="0">
                  <a:pos x="0" y="8"/>
                </a:cxn>
                <a:cxn ang="0">
                  <a:pos x="2" y="11"/>
                </a:cxn>
                <a:cxn ang="0">
                  <a:pos x="6" y="13"/>
                </a:cxn>
                <a:cxn ang="0">
                  <a:pos x="9" y="14"/>
                </a:cxn>
                <a:cxn ang="0">
                  <a:pos x="9" y="13"/>
                </a:cxn>
              </a:cxnLst>
              <a:rect l="0" t="0" r="r" b="b"/>
              <a:pathLst>
                <a:path w="9" h="14">
                  <a:moveTo>
                    <a:pt x="9" y="13"/>
                  </a:moveTo>
                  <a:lnTo>
                    <a:pt x="7" y="1"/>
                  </a:lnTo>
                  <a:lnTo>
                    <a:pt x="7" y="2"/>
                  </a:lnTo>
                  <a:lnTo>
                    <a:pt x="6" y="1"/>
                  </a:lnTo>
                  <a:lnTo>
                    <a:pt x="6" y="2"/>
                  </a:lnTo>
                  <a:lnTo>
                    <a:pt x="5" y="1"/>
                  </a:lnTo>
                  <a:lnTo>
                    <a:pt x="6" y="0"/>
                  </a:lnTo>
                  <a:lnTo>
                    <a:pt x="5" y="0"/>
                  </a:lnTo>
                  <a:lnTo>
                    <a:pt x="4" y="0"/>
                  </a:lnTo>
                  <a:lnTo>
                    <a:pt x="4" y="1"/>
                  </a:lnTo>
                  <a:lnTo>
                    <a:pt x="4" y="0"/>
                  </a:lnTo>
                  <a:lnTo>
                    <a:pt x="4" y="1"/>
                  </a:lnTo>
                  <a:lnTo>
                    <a:pt x="4" y="2"/>
                  </a:lnTo>
                  <a:lnTo>
                    <a:pt x="5" y="2"/>
                  </a:lnTo>
                  <a:lnTo>
                    <a:pt x="5" y="4"/>
                  </a:lnTo>
                  <a:lnTo>
                    <a:pt x="4" y="4"/>
                  </a:lnTo>
                  <a:lnTo>
                    <a:pt x="2" y="2"/>
                  </a:lnTo>
                  <a:lnTo>
                    <a:pt x="1" y="2"/>
                  </a:lnTo>
                  <a:lnTo>
                    <a:pt x="1" y="4"/>
                  </a:lnTo>
                  <a:lnTo>
                    <a:pt x="0" y="5"/>
                  </a:lnTo>
                  <a:lnTo>
                    <a:pt x="0" y="7"/>
                  </a:lnTo>
                  <a:lnTo>
                    <a:pt x="0" y="8"/>
                  </a:lnTo>
                  <a:lnTo>
                    <a:pt x="2" y="11"/>
                  </a:lnTo>
                  <a:lnTo>
                    <a:pt x="6" y="13"/>
                  </a:lnTo>
                  <a:lnTo>
                    <a:pt x="9" y="14"/>
                  </a:lnTo>
                  <a:lnTo>
                    <a:pt x="9"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4" name="Freeform 46"/>
            <p:cNvSpPr>
              <a:spLocks/>
            </p:cNvSpPr>
            <p:nvPr userDrawn="1"/>
          </p:nvSpPr>
          <p:spPr bwMode="auto">
            <a:xfrm>
              <a:off x="5686425" y="6329363"/>
              <a:ext cx="725488" cy="142875"/>
            </a:xfrm>
            <a:custGeom>
              <a:avLst/>
              <a:gdLst/>
              <a:ahLst/>
              <a:cxnLst>
                <a:cxn ang="0">
                  <a:pos x="1670" y="102"/>
                </a:cxn>
                <a:cxn ang="0">
                  <a:pos x="1589" y="169"/>
                </a:cxn>
                <a:cxn ang="0">
                  <a:pos x="1537" y="125"/>
                </a:cxn>
                <a:cxn ang="0">
                  <a:pos x="1532" y="106"/>
                </a:cxn>
                <a:cxn ang="0">
                  <a:pos x="1512" y="72"/>
                </a:cxn>
                <a:cxn ang="0">
                  <a:pos x="1475" y="45"/>
                </a:cxn>
                <a:cxn ang="0">
                  <a:pos x="1428" y="31"/>
                </a:cxn>
                <a:cxn ang="0">
                  <a:pos x="1377" y="31"/>
                </a:cxn>
                <a:cxn ang="0">
                  <a:pos x="1330" y="45"/>
                </a:cxn>
                <a:cxn ang="0">
                  <a:pos x="1294" y="72"/>
                </a:cxn>
                <a:cxn ang="0">
                  <a:pos x="1282" y="88"/>
                </a:cxn>
                <a:cxn ang="0">
                  <a:pos x="1270" y="125"/>
                </a:cxn>
                <a:cxn ang="0">
                  <a:pos x="918" y="179"/>
                </a:cxn>
                <a:cxn ang="0">
                  <a:pos x="911" y="179"/>
                </a:cxn>
                <a:cxn ang="0">
                  <a:pos x="890" y="73"/>
                </a:cxn>
                <a:cxn ang="0">
                  <a:pos x="666" y="1"/>
                </a:cxn>
                <a:cxn ang="0">
                  <a:pos x="615" y="73"/>
                </a:cxn>
                <a:cxn ang="0">
                  <a:pos x="599" y="179"/>
                </a:cxn>
                <a:cxn ang="0">
                  <a:pos x="578" y="126"/>
                </a:cxn>
                <a:cxn ang="0">
                  <a:pos x="527" y="179"/>
                </a:cxn>
                <a:cxn ang="0">
                  <a:pos x="506" y="239"/>
                </a:cxn>
                <a:cxn ang="0">
                  <a:pos x="475" y="201"/>
                </a:cxn>
                <a:cxn ang="0">
                  <a:pos x="330" y="239"/>
                </a:cxn>
                <a:cxn ang="0">
                  <a:pos x="289" y="38"/>
                </a:cxn>
                <a:cxn ang="0">
                  <a:pos x="238" y="0"/>
                </a:cxn>
                <a:cxn ang="0">
                  <a:pos x="125" y="38"/>
                </a:cxn>
                <a:cxn ang="0">
                  <a:pos x="93" y="244"/>
                </a:cxn>
                <a:cxn ang="0">
                  <a:pos x="73" y="179"/>
                </a:cxn>
                <a:cxn ang="0">
                  <a:pos x="22" y="244"/>
                </a:cxn>
                <a:cxn ang="0">
                  <a:pos x="0" y="445"/>
                </a:cxn>
                <a:cxn ang="0">
                  <a:pos x="1143" y="448"/>
                </a:cxn>
                <a:cxn ang="0">
                  <a:pos x="2286" y="453"/>
                </a:cxn>
                <a:cxn ang="0">
                  <a:pos x="2145" y="140"/>
                </a:cxn>
                <a:cxn ang="0">
                  <a:pos x="2114" y="35"/>
                </a:cxn>
                <a:cxn ang="0">
                  <a:pos x="1897" y="102"/>
                </a:cxn>
                <a:cxn ang="0">
                  <a:pos x="1702" y="102"/>
                </a:cxn>
              </a:cxnLst>
              <a:rect l="0" t="0" r="r" b="b"/>
              <a:pathLst>
                <a:path w="2286" h="453">
                  <a:moveTo>
                    <a:pt x="1702" y="102"/>
                  </a:moveTo>
                  <a:lnTo>
                    <a:pt x="1670" y="102"/>
                  </a:lnTo>
                  <a:lnTo>
                    <a:pt x="1670" y="169"/>
                  </a:lnTo>
                  <a:lnTo>
                    <a:pt x="1589" y="169"/>
                  </a:lnTo>
                  <a:lnTo>
                    <a:pt x="1589" y="125"/>
                  </a:lnTo>
                  <a:lnTo>
                    <a:pt x="1537" y="125"/>
                  </a:lnTo>
                  <a:lnTo>
                    <a:pt x="1536" y="115"/>
                  </a:lnTo>
                  <a:lnTo>
                    <a:pt x="1532" y="106"/>
                  </a:lnTo>
                  <a:lnTo>
                    <a:pt x="1524" y="88"/>
                  </a:lnTo>
                  <a:lnTo>
                    <a:pt x="1512" y="72"/>
                  </a:lnTo>
                  <a:lnTo>
                    <a:pt x="1495" y="58"/>
                  </a:lnTo>
                  <a:lnTo>
                    <a:pt x="1475" y="45"/>
                  </a:lnTo>
                  <a:lnTo>
                    <a:pt x="1454" y="37"/>
                  </a:lnTo>
                  <a:lnTo>
                    <a:pt x="1428" y="31"/>
                  </a:lnTo>
                  <a:lnTo>
                    <a:pt x="1403" y="30"/>
                  </a:lnTo>
                  <a:lnTo>
                    <a:pt x="1377" y="31"/>
                  </a:lnTo>
                  <a:lnTo>
                    <a:pt x="1351" y="37"/>
                  </a:lnTo>
                  <a:lnTo>
                    <a:pt x="1330" y="45"/>
                  </a:lnTo>
                  <a:lnTo>
                    <a:pt x="1310" y="58"/>
                  </a:lnTo>
                  <a:lnTo>
                    <a:pt x="1294" y="72"/>
                  </a:lnTo>
                  <a:lnTo>
                    <a:pt x="1288" y="79"/>
                  </a:lnTo>
                  <a:lnTo>
                    <a:pt x="1282" y="88"/>
                  </a:lnTo>
                  <a:lnTo>
                    <a:pt x="1273" y="106"/>
                  </a:lnTo>
                  <a:lnTo>
                    <a:pt x="1270" y="125"/>
                  </a:lnTo>
                  <a:lnTo>
                    <a:pt x="1270" y="169"/>
                  </a:lnTo>
                  <a:lnTo>
                    <a:pt x="918" y="179"/>
                  </a:lnTo>
                  <a:lnTo>
                    <a:pt x="1044" y="179"/>
                  </a:lnTo>
                  <a:lnTo>
                    <a:pt x="911" y="179"/>
                  </a:lnTo>
                  <a:lnTo>
                    <a:pt x="890" y="179"/>
                  </a:lnTo>
                  <a:lnTo>
                    <a:pt x="890" y="73"/>
                  </a:lnTo>
                  <a:lnTo>
                    <a:pt x="666" y="73"/>
                  </a:lnTo>
                  <a:lnTo>
                    <a:pt x="666" y="1"/>
                  </a:lnTo>
                  <a:lnTo>
                    <a:pt x="615" y="1"/>
                  </a:lnTo>
                  <a:lnTo>
                    <a:pt x="615" y="73"/>
                  </a:lnTo>
                  <a:lnTo>
                    <a:pt x="599" y="73"/>
                  </a:lnTo>
                  <a:lnTo>
                    <a:pt x="599" y="179"/>
                  </a:lnTo>
                  <a:lnTo>
                    <a:pt x="578" y="179"/>
                  </a:lnTo>
                  <a:lnTo>
                    <a:pt x="578" y="126"/>
                  </a:lnTo>
                  <a:lnTo>
                    <a:pt x="527" y="126"/>
                  </a:lnTo>
                  <a:lnTo>
                    <a:pt x="527" y="179"/>
                  </a:lnTo>
                  <a:lnTo>
                    <a:pt x="506" y="179"/>
                  </a:lnTo>
                  <a:lnTo>
                    <a:pt x="506" y="239"/>
                  </a:lnTo>
                  <a:lnTo>
                    <a:pt x="475" y="239"/>
                  </a:lnTo>
                  <a:lnTo>
                    <a:pt x="475" y="201"/>
                  </a:lnTo>
                  <a:lnTo>
                    <a:pt x="330" y="201"/>
                  </a:lnTo>
                  <a:lnTo>
                    <a:pt x="330" y="239"/>
                  </a:lnTo>
                  <a:lnTo>
                    <a:pt x="289" y="239"/>
                  </a:lnTo>
                  <a:lnTo>
                    <a:pt x="289" y="38"/>
                  </a:lnTo>
                  <a:lnTo>
                    <a:pt x="238" y="38"/>
                  </a:lnTo>
                  <a:lnTo>
                    <a:pt x="238" y="0"/>
                  </a:lnTo>
                  <a:lnTo>
                    <a:pt x="125" y="0"/>
                  </a:lnTo>
                  <a:lnTo>
                    <a:pt x="125" y="38"/>
                  </a:lnTo>
                  <a:lnTo>
                    <a:pt x="93" y="38"/>
                  </a:lnTo>
                  <a:lnTo>
                    <a:pt x="93" y="244"/>
                  </a:lnTo>
                  <a:lnTo>
                    <a:pt x="73" y="244"/>
                  </a:lnTo>
                  <a:lnTo>
                    <a:pt x="73" y="179"/>
                  </a:lnTo>
                  <a:lnTo>
                    <a:pt x="22" y="179"/>
                  </a:lnTo>
                  <a:lnTo>
                    <a:pt x="22" y="244"/>
                  </a:lnTo>
                  <a:lnTo>
                    <a:pt x="0" y="244"/>
                  </a:lnTo>
                  <a:lnTo>
                    <a:pt x="0" y="445"/>
                  </a:lnTo>
                  <a:lnTo>
                    <a:pt x="571" y="446"/>
                  </a:lnTo>
                  <a:lnTo>
                    <a:pt x="1143" y="448"/>
                  </a:lnTo>
                  <a:lnTo>
                    <a:pt x="1714" y="451"/>
                  </a:lnTo>
                  <a:lnTo>
                    <a:pt x="2286" y="453"/>
                  </a:lnTo>
                  <a:lnTo>
                    <a:pt x="2207" y="133"/>
                  </a:lnTo>
                  <a:lnTo>
                    <a:pt x="2145" y="140"/>
                  </a:lnTo>
                  <a:lnTo>
                    <a:pt x="2114" y="140"/>
                  </a:lnTo>
                  <a:lnTo>
                    <a:pt x="2114" y="35"/>
                  </a:lnTo>
                  <a:lnTo>
                    <a:pt x="2062" y="35"/>
                  </a:lnTo>
                  <a:lnTo>
                    <a:pt x="1897" y="102"/>
                  </a:lnTo>
                  <a:lnTo>
                    <a:pt x="1856" y="102"/>
                  </a:lnTo>
                  <a:lnTo>
                    <a:pt x="1702" y="10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5" name="Freeform 47"/>
            <p:cNvSpPr>
              <a:spLocks/>
            </p:cNvSpPr>
            <p:nvPr userDrawn="1"/>
          </p:nvSpPr>
          <p:spPr bwMode="auto">
            <a:xfrm>
              <a:off x="4872038" y="6413501"/>
              <a:ext cx="2127250" cy="100013"/>
            </a:xfrm>
            <a:custGeom>
              <a:avLst/>
              <a:gdLst/>
              <a:ahLst/>
              <a:cxnLst>
                <a:cxn ang="0">
                  <a:pos x="6662" y="264"/>
                </a:cxn>
                <a:cxn ang="0">
                  <a:pos x="6498" y="190"/>
                </a:cxn>
                <a:cxn ang="0">
                  <a:pos x="6376" y="141"/>
                </a:cxn>
                <a:cxn ang="0">
                  <a:pos x="6295" y="120"/>
                </a:cxn>
                <a:cxn ang="0">
                  <a:pos x="6156" y="118"/>
                </a:cxn>
                <a:cxn ang="0">
                  <a:pos x="5476" y="97"/>
                </a:cxn>
                <a:cxn ang="0">
                  <a:pos x="5059" y="74"/>
                </a:cxn>
                <a:cxn ang="0">
                  <a:pos x="4796" y="54"/>
                </a:cxn>
                <a:cxn ang="0">
                  <a:pos x="4566" y="29"/>
                </a:cxn>
                <a:cxn ang="0">
                  <a:pos x="4401" y="5"/>
                </a:cxn>
                <a:cxn ang="0">
                  <a:pos x="4283" y="0"/>
                </a:cxn>
                <a:cxn ang="0">
                  <a:pos x="4178" y="11"/>
                </a:cxn>
                <a:cxn ang="0">
                  <a:pos x="4086" y="32"/>
                </a:cxn>
                <a:cxn ang="0">
                  <a:pos x="3961" y="79"/>
                </a:cxn>
                <a:cxn ang="0">
                  <a:pos x="3797" y="150"/>
                </a:cxn>
                <a:cxn ang="0">
                  <a:pos x="3559" y="184"/>
                </a:cxn>
                <a:cxn ang="0">
                  <a:pos x="3451" y="179"/>
                </a:cxn>
                <a:cxn ang="0">
                  <a:pos x="3369" y="168"/>
                </a:cxn>
                <a:cxn ang="0">
                  <a:pos x="3245" y="139"/>
                </a:cxn>
                <a:cxn ang="0">
                  <a:pos x="3098" y="115"/>
                </a:cxn>
                <a:cxn ang="0">
                  <a:pos x="2988" y="112"/>
                </a:cxn>
                <a:cxn ang="0">
                  <a:pos x="2855" y="108"/>
                </a:cxn>
                <a:cxn ang="0">
                  <a:pos x="2657" y="88"/>
                </a:cxn>
                <a:cxn ang="0">
                  <a:pos x="2498" y="60"/>
                </a:cxn>
                <a:cxn ang="0">
                  <a:pos x="2318" y="40"/>
                </a:cxn>
                <a:cxn ang="0">
                  <a:pos x="2200" y="36"/>
                </a:cxn>
                <a:cxn ang="0">
                  <a:pos x="2070" y="42"/>
                </a:cxn>
                <a:cxn ang="0">
                  <a:pos x="1942" y="58"/>
                </a:cxn>
                <a:cxn ang="0">
                  <a:pos x="1819" y="80"/>
                </a:cxn>
                <a:cxn ang="0">
                  <a:pos x="1592" y="132"/>
                </a:cxn>
                <a:cxn ang="0">
                  <a:pos x="1405" y="169"/>
                </a:cxn>
                <a:cxn ang="0">
                  <a:pos x="1330" y="175"/>
                </a:cxn>
                <a:cxn ang="0">
                  <a:pos x="1269" y="179"/>
                </a:cxn>
                <a:cxn ang="0">
                  <a:pos x="1217" y="189"/>
                </a:cxn>
                <a:cxn ang="0">
                  <a:pos x="1121" y="216"/>
                </a:cxn>
                <a:cxn ang="0">
                  <a:pos x="1002" y="244"/>
                </a:cxn>
                <a:cxn ang="0">
                  <a:pos x="874" y="256"/>
                </a:cxn>
                <a:cxn ang="0">
                  <a:pos x="766" y="255"/>
                </a:cxn>
                <a:cxn ang="0">
                  <a:pos x="669" y="246"/>
                </a:cxn>
                <a:cxn ang="0">
                  <a:pos x="581" y="231"/>
                </a:cxn>
                <a:cxn ang="0">
                  <a:pos x="459" y="201"/>
                </a:cxn>
                <a:cxn ang="0">
                  <a:pos x="326" y="169"/>
                </a:cxn>
                <a:cxn ang="0">
                  <a:pos x="169" y="149"/>
                </a:cxn>
                <a:cxn ang="0">
                  <a:pos x="38" y="144"/>
                </a:cxn>
                <a:cxn ang="0">
                  <a:pos x="0" y="144"/>
                </a:cxn>
                <a:cxn ang="0">
                  <a:pos x="44" y="148"/>
                </a:cxn>
                <a:cxn ang="0">
                  <a:pos x="692" y="169"/>
                </a:cxn>
                <a:cxn ang="0">
                  <a:pos x="1700" y="198"/>
                </a:cxn>
                <a:cxn ang="0">
                  <a:pos x="2709" y="227"/>
                </a:cxn>
                <a:cxn ang="0">
                  <a:pos x="4267" y="269"/>
                </a:cxn>
                <a:cxn ang="0">
                  <a:pos x="5825" y="311"/>
                </a:cxn>
                <a:cxn ang="0">
                  <a:pos x="6700" y="278"/>
                </a:cxn>
              </a:cxnLst>
              <a:rect l="0" t="0" r="r" b="b"/>
              <a:pathLst>
                <a:path w="6700" h="311">
                  <a:moveTo>
                    <a:pt x="6700" y="278"/>
                  </a:moveTo>
                  <a:lnTo>
                    <a:pt x="6662" y="264"/>
                  </a:lnTo>
                  <a:lnTo>
                    <a:pt x="6614" y="243"/>
                  </a:lnTo>
                  <a:lnTo>
                    <a:pt x="6498" y="190"/>
                  </a:lnTo>
                  <a:lnTo>
                    <a:pt x="6437" y="163"/>
                  </a:lnTo>
                  <a:lnTo>
                    <a:pt x="6376" y="141"/>
                  </a:lnTo>
                  <a:lnTo>
                    <a:pt x="6320" y="125"/>
                  </a:lnTo>
                  <a:lnTo>
                    <a:pt x="6295" y="120"/>
                  </a:lnTo>
                  <a:lnTo>
                    <a:pt x="6270" y="119"/>
                  </a:lnTo>
                  <a:lnTo>
                    <a:pt x="6156" y="118"/>
                  </a:lnTo>
                  <a:lnTo>
                    <a:pt x="5973" y="114"/>
                  </a:lnTo>
                  <a:lnTo>
                    <a:pt x="5476" y="97"/>
                  </a:lnTo>
                  <a:lnTo>
                    <a:pt x="5198" y="83"/>
                  </a:lnTo>
                  <a:lnTo>
                    <a:pt x="5059" y="74"/>
                  </a:lnTo>
                  <a:lnTo>
                    <a:pt x="4924" y="65"/>
                  </a:lnTo>
                  <a:lnTo>
                    <a:pt x="4796" y="54"/>
                  </a:lnTo>
                  <a:lnTo>
                    <a:pt x="4675" y="42"/>
                  </a:lnTo>
                  <a:lnTo>
                    <a:pt x="4566" y="29"/>
                  </a:lnTo>
                  <a:lnTo>
                    <a:pt x="4468" y="14"/>
                  </a:lnTo>
                  <a:lnTo>
                    <a:pt x="4401" y="5"/>
                  </a:lnTo>
                  <a:lnTo>
                    <a:pt x="4339" y="0"/>
                  </a:lnTo>
                  <a:lnTo>
                    <a:pt x="4283" y="0"/>
                  </a:lnTo>
                  <a:lnTo>
                    <a:pt x="4228" y="4"/>
                  </a:lnTo>
                  <a:lnTo>
                    <a:pt x="4178" y="11"/>
                  </a:lnTo>
                  <a:lnTo>
                    <a:pt x="4131" y="20"/>
                  </a:lnTo>
                  <a:lnTo>
                    <a:pt x="4086" y="32"/>
                  </a:lnTo>
                  <a:lnTo>
                    <a:pt x="4043" y="46"/>
                  </a:lnTo>
                  <a:lnTo>
                    <a:pt x="3961" y="79"/>
                  </a:lnTo>
                  <a:lnTo>
                    <a:pt x="3880" y="114"/>
                  </a:lnTo>
                  <a:lnTo>
                    <a:pt x="3797" y="150"/>
                  </a:lnTo>
                  <a:lnTo>
                    <a:pt x="3707" y="181"/>
                  </a:lnTo>
                  <a:lnTo>
                    <a:pt x="3559" y="184"/>
                  </a:lnTo>
                  <a:lnTo>
                    <a:pt x="3501" y="183"/>
                  </a:lnTo>
                  <a:lnTo>
                    <a:pt x="3451" y="179"/>
                  </a:lnTo>
                  <a:lnTo>
                    <a:pt x="3407" y="174"/>
                  </a:lnTo>
                  <a:lnTo>
                    <a:pt x="3369" y="168"/>
                  </a:lnTo>
                  <a:lnTo>
                    <a:pt x="3304" y="154"/>
                  </a:lnTo>
                  <a:lnTo>
                    <a:pt x="3245" y="139"/>
                  </a:lnTo>
                  <a:lnTo>
                    <a:pt x="3180" y="125"/>
                  </a:lnTo>
                  <a:lnTo>
                    <a:pt x="3098" y="115"/>
                  </a:lnTo>
                  <a:lnTo>
                    <a:pt x="3047" y="112"/>
                  </a:lnTo>
                  <a:lnTo>
                    <a:pt x="2988" y="112"/>
                  </a:lnTo>
                  <a:lnTo>
                    <a:pt x="2918" y="111"/>
                  </a:lnTo>
                  <a:lnTo>
                    <a:pt x="2855" y="108"/>
                  </a:lnTo>
                  <a:lnTo>
                    <a:pt x="2748" y="100"/>
                  </a:lnTo>
                  <a:lnTo>
                    <a:pt x="2657" y="88"/>
                  </a:lnTo>
                  <a:lnTo>
                    <a:pt x="2577" y="73"/>
                  </a:lnTo>
                  <a:lnTo>
                    <a:pt x="2498" y="60"/>
                  </a:lnTo>
                  <a:lnTo>
                    <a:pt x="2414" y="48"/>
                  </a:lnTo>
                  <a:lnTo>
                    <a:pt x="2318" y="40"/>
                  </a:lnTo>
                  <a:lnTo>
                    <a:pt x="2262" y="37"/>
                  </a:lnTo>
                  <a:lnTo>
                    <a:pt x="2200" y="36"/>
                  </a:lnTo>
                  <a:lnTo>
                    <a:pt x="2135" y="37"/>
                  </a:lnTo>
                  <a:lnTo>
                    <a:pt x="2070" y="42"/>
                  </a:lnTo>
                  <a:lnTo>
                    <a:pt x="2006" y="49"/>
                  </a:lnTo>
                  <a:lnTo>
                    <a:pt x="1942" y="58"/>
                  </a:lnTo>
                  <a:lnTo>
                    <a:pt x="1879" y="68"/>
                  </a:lnTo>
                  <a:lnTo>
                    <a:pt x="1819" y="80"/>
                  </a:lnTo>
                  <a:lnTo>
                    <a:pt x="1701" y="106"/>
                  </a:lnTo>
                  <a:lnTo>
                    <a:pt x="1592" y="132"/>
                  </a:lnTo>
                  <a:lnTo>
                    <a:pt x="1493" y="154"/>
                  </a:lnTo>
                  <a:lnTo>
                    <a:pt x="1405" y="169"/>
                  </a:lnTo>
                  <a:lnTo>
                    <a:pt x="1365" y="174"/>
                  </a:lnTo>
                  <a:lnTo>
                    <a:pt x="1330" y="175"/>
                  </a:lnTo>
                  <a:lnTo>
                    <a:pt x="1298" y="177"/>
                  </a:lnTo>
                  <a:lnTo>
                    <a:pt x="1269" y="179"/>
                  </a:lnTo>
                  <a:lnTo>
                    <a:pt x="1242" y="184"/>
                  </a:lnTo>
                  <a:lnTo>
                    <a:pt x="1217" y="189"/>
                  </a:lnTo>
                  <a:lnTo>
                    <a:pt x="1169" y="202"/>
                  </a:lnTo>
                  <a:lnTo>
                    <a:pt x="1121" y="216"/>
                  </a:lnTo>
                  <a:lnTo>
                    <a:pt x="1067" y="231"/>
                  </a:lnTo>
                  <a:lnTo>
                    <a:pt x="1002" y="244"/>
                  </a:lnTo>
                  <a:lnTo>
                    <a:pt x="921" y="254"/>
                  </a:lnTo>
                  <a:lnTo>
                    <a:pt x="874" y="256"/>
                  </a:lnTo>
                  <a:lnTo>
                    <a:pt x="820" y="257"/>
                  </a:lnTo>
                  <a:lnTo>
                    <a:pt x="766" y="255"/>
                  </a:lnTo>
                  <a:lnTo>
                    <a:pt x="716" y="251"/>
                  </a:lnTo>
                  <a:lnTo>
                    <a:pt x="669" y="246"/>
                  </a:lnTo>
                  <a:lnTo>
                    <a:pt x="625" y="239"/>
                  </a:lnTo>
                  <a:lnTo>
                    <a:pt x="581" y="231"/>
                  </a:lnTo>
                  <a:lnTo>
                    <a:pt x="541" y="221"/>
                  </a:lnTo>
                  <a:lnTo>
                    <a:pt x="459" y="201"/>
                  </a:lnTo>
                  <a:lnTo>
                    <a:pt x="373" y="179"/>
                  </a:lnTo>
                  <a:lnTo>
                    <a:pt x="326" y="169"/>
                  </a:lnTo>
                  <a:lnTo>
                    <a:pt x="278" y="161"/>
                  </a:lnTo>
                  <a:lnTo>
                    <a:pt x="169" y="149"/>
                  </a:lnTo>
                  <a:lnTo>
                    <a:pt x="107" y="145"/>
                  </a:lnTo>
                  <a:lnTo>
                    <a:pt x="38" y="144"/>
                  </a:lnTo>
                  <a:lnTo>
                    <a:pt x="4" y="144"/>
                  </a:lnTo>
                  <a:lnTo>
                    <a:pt x="0" y="144"/>
                  </a:lnTo>
                  <a:lnTo>
                    <a:pt x="6" y="145"/>
                  </a:lnTo>
                  <a:lnTo>
                    <a:pt x="44" y="148"/>
                  </a:lnTo>
                  <a:lnTo>
                    <a:pt x="117" y="151"/>
                  </a:lnTo>
                  <a:lnTo>
                    <a:pt x="692" y="169"/>
                  </a:lnTo>
                  <a:lnTo>
                    <a:pt x="1196" y="184"/>
                  </a:lnTo>
                  <a:lnTo>
                    <a:pt x="1700" y="198"/>
                  </a:lnTo>
                  <a:lnTo>
                    <a:pt x="2204" y="213"/>
                  </a:lnTo>
                  <a:lnTo>
                    <a:pt x="2709" y="227"/>
                  </a:lnTo>
                  <a:lnTo>
                    <a:pt x="3488" y="248"/>
                  </a:lnTo>
                  <a:lnTo>
                    <a:pt x="4267" y="269"/>
                  </a:lnTo>
                  <a:lnTo>
                    <a:pt x="5046" y="290"/>
                  </a:lnTo>
                  <a:lnTo>
                    <a:pt x="5825" y="311"/>
                  </a:lnTo>
                  <a:lnTo>
                    <a:pt x="5825" y="268"/>
                  </a:lnTo>
                  <a:lnTo>
                    <a:pt x="6700" y="27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6" name="Freeform 48"/>
            <p:cNvSpPr>
              <a:spLocks/>
            </p:cNvSpPr>
            <p:nvPr userDrawn="1"/>
          </p:nvSpPr>
          <p:spPr bwMode="auto">
            <a:xfrm>
              <a:off x="3695700" y="6399213"/>
              <a:ext cx="3414713" cy="228600"/>
            </a:xfrm>
            <a:custGeom>
              <a:avLst/>
              <a:gdLst/>
              <a:ahLst/>
              <a:cxnLst>
                <a:cxn ang="0">
                  <a:pos x="9385" y="213"/>
                </a:cxn>
                <a:cxn ang="0">
                  <a:pos x="8277" y="216"/>
                </a:cxn>
                <a:cxn ang="0">
                  <a:pos x="7237" y="220"/>
                </a:cxn>
                <a:cxn ang="0">
                  <a:pos x="6887" y="209"/>
                </a:cxn>
                <a:cxn ang="0">
                  <a:pos x="6376" y="163"/>
                </a:cxn>
                <a:cxn ang="0">
                  <a:pos x="6034" y="143"/>
                </a:cxn>
                <a:cxn ang="0">
                  <a:pos x="5876" y="144"/>
                </a:cxn>
                <a:cxn ang="0">
                  <a:pos x="5733" y="157"/>
                </a:cxn>
                <a:cxn ang="0">
                  <a:pos x="5483" y="185"/>
                </a:cxn>
                <a:cxn ang="0">
                  <a:pos x="5261" y="195"/>
                </a:cxn>
                <a:cxn ang="0">
                  <a:pos x="5060" y="193"/>
                </a:cxn>
                <a:cxn ang="0">
                  <a:pos x="4867" y="186"/>
                </a:cxn>
                <a:cxn ang="0">
                  <a:pos x="4735" y="173"/>
                </a:cxn>
                <a:cxn ang="0">
                  <a:pos x="4306" y="110"/>
                </a:cxn>
                <a:cxn ang="0">
                  <a:pos x="3909" y="53"/>
                </a:cxn>
                <a:cxn ang="0">
                  <a:pos x="3641" y="21"/>
                </a:cxn>
                <a:cxn ang="0">
                  <a:pos x="3390" y="2"/>
                </a:cxn>
                <a:cxn ang="0">
                  <a:pos x="3224" y="0"/>
                </a:cxn>
                <a:cxn ang="0">
                  <a:pos x="3128" y="6"/>
                </a:cxn>
                <a:cxn ang="0">
                  <a:pos x="3012" y="20"/>
                </a:cxn>
                <a:cxn ang="0">
                  <a:pos x="2863" y="33"/>
                </a:cxn>
                <a:cxn ang="0">
                  <a:pos x="2635" y="44"/>
                </a:cxn>
                <a:cxn ang="0">
                  <a:pos x="2207" y="54"/>
                </a:cxn>
                <a:cxn ang="0">
                  <a:pos x="1969" y="70"/>
                </a:cxn>
                <a:cxn ang="0">
                  <a:pos x="1626" y="101"/>
                </a:cxn>
                <a:cxn ang="0">
                  <a:pos x="1313" y="107"/>
                </a:cxn>
                <a:cxn ang="0">
                  <a:pos x="1031" y="98"/>
                </a:cxn>
                <a:cxn ang="0">
                  <a:pos x="776" y="80"/>
                </a:cxn>
                <a:cxn ang="0">
                  <a:pos x="443" y="54"/>
                </a:cxn>
                <a:cxn ang="0">
                  <a:pos x="250" y="47"/>
                </a:cxn>
                <a:cxn ang="0">
                  <a:pos x="119" y="53"/>
                </a:cxn>
                <a:cxn ang="0">
                  <a:pos x="0" y="70"/>
                </a:cxn>
                <a:cxn ang="0">
                  <a:pos x="1497" y="701"/>
                </a:cxn>
                <a:cxn ang="0">
                  <a:pos x="2732" y="665"/>
                </a:cxn>
                <a:cxn ang="0">
                  <a:pos x="3966" y="629"/>
                </a:cxn>
                <a:cxn ang="0">
                  <a:pos x="5200" y="593"/>
                </a:cxn>
                <a:cxn ang="0">
                  <a:pos x="6434" y="558"/>
                </a:cxn>
                <a:cxn ang="0">
                  <a:pos x="7668" y="522"/>
                </a:cxn>
                <a:cxn ang="0">
                  <a:pos x="8902" y="486"/>
                </a:cxn>
                <a:cxn ang="0">
                  <a:pos x="10136" y="449"/>
                </a:cxn>
                <a:cxn ang="0">
                  <a:pos x="10656" y="400"/>
                </a:cxn>
                <a:cxn ang="0">
                  <a:pos x="10400" y="329"/>
                </a:cxn>
                <a:cxn ang="0">
                  <a:pos x="10230" y="290"/>
                </a:cxn>
                <a:cxn ang="0">
                  <a:pos x="9944" y="240"/>
                </a:cxn>
                <a:cxn ang="0">
                  <a:pos x="9740" y="220"/>
                </a:cxn>
              </a:cxnLst>
              <a:rect l="0" t="0" r="r" b="b"/>
              <a:pathLst>
                <a:path w="10754" h="719">
                  <a:moveTo>
                    <a:pt x="9638" y="216"/>
                  </a:moveTo>
                  <a:lnTo>
                    <a:pt x="9385" y="213"/>
                  </a:lnTo>
                  <a:lnTo>
                    <a:pt x="9055" y="213"/>
                  </a:lnTo>
                  <a:lnTo>
                    <a:pt x="8277" y="216"/>
                  </a:lnTo>
                  <a:lnTo>
                    <a:pt x="7530" y="220"/>
                  </a:lnTo>
                  <a:lnTo>
                    <a:pt x="7237" y="220"/>
                  </a:lnTo>
                  <a:lnTo>
                    <a:pt x="7038" y="217"/>
                  </a:lnTo>
                  <a:lnTo>
                    <a:pt x="6887" y="209"/>
                  </a:lnTo>
                  <a:lnTo>
                    <a:pt x="6723" y="196"/>
                  </a:lnTo>
                  <a:lnTo>
                    <a:pt x="6376" y="163"/>
                  </a:lnTo>
                  <a:lnTo>
                    <a:pt x="6203" y="150"/>
                  </a:lnTo>
                  <a:lnTo>
                    <a:pt x="6034" y="143"/>
                  </a:lnTo>
                  <a:lnTo>
                    <a:pt x="5955" y="142"/>
                  </a:lnTo>
                  <a:lnTo>
                    <a:pt x="5876" y="144"/>
                  </a:lnTo>
                  <a:lnTo>
                    <a:pt x="5803" y="149"/>
                  </a:lnTo>
                  <a:lnTo>
                    <a:pt x="5733" y="157"/>
                  </a:lnTo>
                  <a:lnTo>
                    <a:pt x="5604" y="173"/>
                  </a:lnTo>
                  <a:lnTo>
                    <a:pt x="5483" y="185"/>
                  </a:lnTo>
                  <a:lnTo>
                    <a:pt x="5370" y="192"/>
                  </a:lnTo>
                  <a:lnTo>
                    <a:pt x="5261" y="195"/>
                  </a:lnTo>
                  <a:lnTo>
                    <a:pt x="5159" y="195"/>
                  </a:lnTo>
                  <a:lnTo>
                    <a:pt x="5060" y="193"/>
                  </a:lnTo>
                  <a:lnTo>
                    <a:pt x="4963" y="190"/>
                  </a:lnTo>
                  <a:lnTo>
                    <a:pt x="4867" y="186"/>
                  </a:lnTo>
                  <a:lnTo>
                    <a:pt x="4810" y="183"/>
                  </a:lnTo>
                  <a:lnTo>
                    <a:pt x="4735" y="173"/>
                  </a:lnTo>
                  <a:lnTo>
                    <a:pt x="4542" y="146"/>
                  </a:lnTo>
                  <a:lnTo>
                    <a:pt x="4306" y="110"/>
                  </a:lnTo>
                  <a:lnTo>
                    <a:pt x="4044" y="71"/>
                  </a:lnTo>
                  <a:lnTo>
                    <a:pt x="3909" y="53"/>
                  </a:lnTo>
                  <a:lnTo>
                    <a:pt x="3773" y="36"/>
                  </a:lnTo>
                  <a:lnTo>
                    <a:pt x="3641" y="21"/>
                  </a:lnTo>
                  <a:lnTo>
                    <a:pt x="3512" y="11"/>
                  </a:lnTo>
                  <a:lnTo>
                    <a:pt x="3390" y="2"/>
                  </a:lnTo>
                  <a:lnTo>
                    <a:pt x="3277" y="0"/>
                  </a:lnTo>
                  <a:lnTo>
                    <a:pt x="3224" y="0"/>
                  </a:lnTo>
                  <a:lnTo>
                    <a:pt x="3175" y="2"/>
                  </a:lnTo>
                  <a:lnTo>
                    <a:pt x="3128" y="6"/>
                  </a:lnTo>
                  <a:lnTo>
                    <a:pt x="3085" y="11"/>
                  </a:lnTo>
                  <a:lnTo>
                    <a:pt x="3012" y="20"/>
                  </a:lnTo>
                  <a:lnTo>
                    <a:pt x="2939" y="27"/>
                  </a:lnTo>
                  <a:lnTo>
                    <a:pt x="2863" y="33"/>
                  </a:lnTo>
                  <a:lnTo>
                    <a:pt x="2787" y="38"/>
                  </a:lnTo>
                  <a:lnTo>
                    <a:pt x="2635" y="44"/>
                  </a:lnTo>
                  <a:lnTo>
                    <a:pt x="2486" y="48"/>
                  </a:lnTo>
                  <a:lnTo>
                    <a:pt x="2207" y="54"/>
                  </a:lnTo>
                  <a:lnTo>
                    <a:pt x="2081" y="60"/>
                  </a:lnTo>
                  <a:lnTo>
                    <a:pt x="1969" y="70"/>
                  </a:lnTo>
                  <a:lnTo>
                    <a:pt x="1794" y="89"/>
                  </a:lnTo>
                  <a:lnTo>
                    <a:pt x="1626" y="101"/>
                  </a:lnTo>
                  <a:lnTo>
                    <a:pt x="1466" y="106"/>
                  </a:lnTo>
                  <a:lnTo>
                    <a:pt x="1313" y="107"/>
                  </a:lnTo>
                  <a:lnTo>
                    <a:pt x="1169" y="104"/>
                  </a:lnTo>
                  <a:lnTo>
                    <a:pt x="1031" y="98"/>
                  </a:lnTo>
                  <a:lnTo>
                    <a:pt x="900" y="90"/>
                  </a:lnTo>
                  <a:lnTo>
                    <a:pt x="776" y="80"/>
                  </a:lnTo>
                  <a:lnTo>
                    <a:pt x="547" y="61"/>
                  </a:lnTo>
                  <a:lnTo>
                    <a:pt x="443" y="54"/>
                  </a:lnTo>
                  <a:lnTo>
                    <a:pt x="344" y="49"/>
                  </a:lnTo>
                  <a:lnTo>
                    <a:pt x="250" y="47"/>
                  </a:lnTo>
                  <a:lnTo>
                    <a:pt x="162" y="49"/>
                  </a:lnTo>
                  <a:lnTo>
                    <a:pt x="119" y="53"/>
                  </a:lnTo>
                  <a:lnTo>
                    <a:pt x="78" y="56"/>
                  </a:lnTo>
                  <a:lnTo>
                    <a:pt x="0" y="70"/>
                  </a:lnTo>
                  <a:lnTo>
                    <a:pt x="881" y="719"/>
                  </a:lnTo>
                  <a:lnTo>
                    <a:pt x="1497" y="701"/>
                  </a:lnTo>
                  <a:lnTo>
                    <a:pt x="2115" y="683"/>
                  </a:lnTo>
                  <a:lnTo>
                    <a:pt x="2732" y="665"/>
                  </a:lnTo>
                  <a:lnTo>
                    <a:pt x="3349" y="647"/>
                  </a:lnTo>
                  <a:lnTo>
                    <a:pt x="3966" y="629"/>
                  </a:lnTo>
                  <a:lnTo>
                    <a:pt x="4583" y="611"/>
                  </a:lnTo>
                  <a:lnTo>
                    <a:pt x="5200" y="593"/>
                  </a:lnTo>
                  <a:lnTo>
                    <a:pt x="5817" y="576"/>
                  </a:lnTo>
                  <a:lnTo>
                    <a:pt x="6434" y="558"/>
                  </a:lnTo>
                  <a:lnTo>
                    <a:pt x="7052" y="540"/>
                  </a:lnTo>
                  <a:lnTo>
                    <a:pt x="7668" y="522"/>
                  </a:lnTo>
                  <a:lnTo>
                    <a:pt x="8286" y="504"/>
                  </a:lnTo>
                  <a:lnTo>
                    <a:pt x="8902" y="486"/>
                  </a:lnTo>
                  <a:lnTo>
                    <a:pt x="9520" y="467"/>
                  </a:lnTo>
                  <a:lnTo>
                    <a:pt x="10136" y="449"/>
                  </a:lnTo>
                  <a:lnTo>
                    <a:pt x="10754" y="433"/>
                  </a:lnTo>
                  <a:lnTo>
                    <a:pt x="10656" y="400"/>
                  </a:lnTo>
                  <a:lnTo>
                    <a:pt x="10544" y="368"/>
                  </a:lnTo>
                  <a:lnTo>
                    <a:pt x="10400" y="329"/>
                  </a:lnTo>
                  <a:lnTo>
                    <a:pt x="10318" y="309"/>
                  </a:lnTo>
                  <a:lnTo>
                    <a:pt x="10230" y="290"/>
                  </a:lnTo>
                  <a:lnTo>
                    <a:pt x="10042" y="255"/>
                  </a:lnTo>
                  <a:lnTo>
                    <a:pt x="9944" y="240"/>
                  </a:lnTo>
                  <a:lnTo>
                    <a:pt x="9842" y="228"/>
                  </a:lnTo>
                  <a:lnTo>
                    <a:pt x="9740" y="220"/>
                  </a:lnTo>
                  <a:lnTo>
                    <a:pt x="9638" y="2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7" name="Freeform 49"/>
            <p:cNvSpPr>
              <a:spLocks/>
            </p:cNvSpPr>
            <p:nvPr userDrawn="1"/>
          </p:nvSpPr>
          <p:spPr bwMode="auto">
            <a:xfrm>
              <a:off x="3903663" y="6438901"/>
              <a:ext cx="3119438" cy="184150"/>
            </a:xfrm>
            <a:custGeom>
              <a:avLst/>
              <a:gdLst/>
              <a:ahLst/>
              <a:cxnLst>
                <a:cxn ang="0">
                  <a:pos x="8912" y="209"/>
                </a:cxn>
                <a:cxn ang="0">
                  <a:pos x="7820" y="109"/>
                </a:cxn>
                <a:cxn ang="0">
                  <a:pos x="7719" y="102"/>
                </a:cxn>
                <a:cxn ang="0">
                  <a:pos x="7596" y="99"/>
                </a:cxn>
                <a:cxn ang="0">
                  <a:pos x="7318" y="102"/>
                </a:cxn>
                <a:cxn ang="0">
                  <a:pos x="7180" y="109"/>
                </a:cxn>
                <a:cxn ang="0">
                  <a:pos x="6941" y="132"/>
                </a:cxn>
                <a:cxn ang="0">
                  <a:pos x="6857" y="148"/>
                </a:cxn>
                <a:cxn ang="0">
                  <a:pos x="6798" y="158"/>
                </a:cxn>
                <a:cxn ang="0">
                  <a:pos x="6723" y="161"/>
                </a:cxn>
                <a:cxn ang="0">
                  <a:pos x="6607" y="159"/>
                </a:cxn>
                <a:cxn ang="0">
                  <a:pos x="6416" y="144"/>
                </a:cxn>
                <a:cxn ang="0">
                  <a:pos x="6232" y="123"/>
                </a:cxn>
                <a:cxn ang="0">
                  <a:pos x="6088" y="101"/>
                </a:cxn>
                <a:cxn ang="0">
                  <a:pos x="5935" y="71"/>
                </a:cxn>
                <a:cxn ang="0">
                  <a:pos x="5712" y="37"/>
                </a:cxn>
                <a:cxn ang="0">
                  <a:pos x="5541" y="20"/>
                </a:cxn>
                <a:cxn ang="0">
                  <a:pos x="5375" y="24"/>
                </a:cxn>
                <a:cxn ang="0">
                  <a:pos x="5188" y="43"/>
                </a:cxn>
                <a:cxn ang="0">
                  <a:pos x="5004" y="78"/>
                </a:cxn>
                <a:cxn ang="0">
                  <a:pos x="4899" y="107"/>
                </a:cxn>
                <a:cxn ang="0">
                  <a:pos x="4828" y="120"/>
                </a:cxn>
                <a:cxn ang="0">
                  <a:pos x="4719" y="131"/>
                </a:cxn>
                <a:cxn ang="0">
                  <a:pos x="4598" y="135"/>
                </a:cxn>
                <a:cxn ang="0">
                  <a:pos x="4248" y="127"/>
                </a:cxn>
                <a:cxn ang="0">
                  <a:pos x="4125" y="130"/>
                </a:cxn>
                <a:cxn ang="0">
                  <a:pos x="4075" y="136"/>
                </a:cxn>
                <a:cxn ang="0">
                  <a:pos x="4010" y="129"/>
                </a:cxn>
                <a:cxn ang="0">
                  <a:pos x="3966" y="113"/>
                </a:cxn>
                <a:cxn ang="0">
                  <a:pos x="3839" y="47"/>
                </a:cxn>
                <a:cxn ang="0">
                  <a:pos x="3747" y="11"/>
                </a:cxn>
                <a:cxn ang="0">
                  <a:pos x="3680" y="2"/>
                </a:cxn>
                <a:cxn ang="0">
                  <a:pos x="3456" y="1"/>
                </a:cxn>
                <a:cxn ang="0">
                  <a:pos x="3029" y="11"/>
                </a:cxn>
                <a:cxn ang="0">
                  <a:pos x="2789" y="6"/>
                </a:cxn>
                <a:cxn ang="0">
                  <a:pos x="2677" y="2"/>
                </a:cxn>
                <a:cxn ang="0">
                  <a:pos x="2421" y="13"/>
                </a:cxn>
                <a:cxn ang="0">
                  <a:pos x="2017" y="46"/>
                </a:cxn>
                <a:cxn ang="0">
                  <a:pos x="1833" y="54"/>
                </a:cxn>
                <a:cxn ang="0">
                  <a:pos x="1730" y="55"/>
                </a:cxn>
                <a:cxn ang="0">
                  <a:pos x="1651" y="65"/>
                </a:cxn>
                <a:cxn ang="0">
                  <a:pos x="1588" y="84"/>
                </a:cxn>
                <a:cxn ang="0">
                  <a:pos x="1539" y="109"/>
                </a:cxn>
                <a:cxn ang="0">
                  <a:pos x="1481" y="153"/>
                </a:cxn>
                <a:cxn ang="0">
                  <a:pos x="1415" y="208"/>
                </a:cxn>
                <a:cxn ang="0">
                  <a:pos x="1379" y="228"/>
                </a:cxn>
                <a:cxn ang="0">
                  <a:pos x="1290" y="256"/>
                </a:cxn>
                <a:cxn ang="0">
                  <a:pos x="650" y="421"/>
                </a:cxn>
                <a:cxn ang="0">
                  <a:pos x="0" y="580"/>
                </a:cxn>
                <a:cxn ang="0">
                  <a:pos x="1084" y="412"/>
                </a:cxn>
                <a:cxn ang="0">
                  <a:pos x="2169" y="247"/>
                </a:cxn>
                <a:cxn ang="0">
                  <a:pos x="3581" y="253"/>
                </a:cxn>
                <a:cxn ang="0">
                  <a:pos x="5114" y="248"/>
                </a:cxn>
                <a:cxn ang="0">
                  <a:pos x="6648" y="244"/>
                </a:cxn>
                <a:cxn ang="0">
                  <a:pos x="8237" y="266"/>
                </a:cxn>
                <a:cxn ang="0">
                  <a:pos x="9827" y="289"/>
                </a:cxn>
              </a:cxnLst>
              <a:rect l="0" t="0" r="r" b="b"/>
              <a:pathLst>
                <a:path w="9827" h="580">
                  <a:moveTo>
                    <a:pt x="9827" y="289"/>
                  </a:moveTo>
                  <a:lnTo>
                    <a:pt x="8912" y="209"/>
                  </a:lnTo>
                  <a:lnTo>
                    <a:pt x="8233" y="149"/>
                  </a:lnTo>
                  <a:lnTo>
                    <a:pt x="7820" y="109"/>
                  </a:lnTo>
                  <a:lnTo>
                    <a:pt x="7772" y="106"/>
                  </a:lnTo>
                  <a:lnTo>
                    <a:pt x="7719" y="102"/>
                  </a:lnTo>
                  <a:lnTo>
                    <a:pt x="7659" y="100"/>
                  </a:lnTo>
                  <a:lnTo>
                    <a:pt x="7596" y="99"/>
                  </a:lnTo>
                  <a:lnTo>
                    <a:pt x="7459" y="99"/>
                  </a:lnTo>
                  <a:lnTo>
                    <a:pt x="7318" y="102"/>
                  </a:lnTo>
                  <a:lnTo>
                    <a:pt x="7248" y="106"/>
                  </a:lnTo>
                  <a:lnTo>
                    <a:pt x="7180" y="109"/>
                  </a:lnTo>
                  <a:lnTo>
                    <a:pt x="7051" y="120"/>
                  </a:lnTo>
                  <a:lnTo>
                    <a:pt x="6941" y="132"/>
                  </a:lnTo>
                  <a:lnTo>
                    <a:pt x="6896" y="140"/>
                  </a:lnTo>
                  <a:lnTo>
                    <a:pt x="6857" y="148"/>
                  </a:lnTo>
                  <a:lnTo>
                    <a:pt x="6820" y="155"/>
                  </a:lnTo>
                  <a:lnTo>
                    <a:pt x="6798" y="158"/>
                  </a:lnTo>
                  <a:lnTo>
                    <a:pt x="6774" y="159"/>
                  </a:lnTo>
                  <a:lnTo>
                    <a:pt x="6723" y="161"/>
                  </a:lnTo>
                  <a:lnTo>
                    <a:pt x="6667" y="160"/>
                  </a:lnTo>
                  <a:lnTo>
                    <a:pt x="6607" y="159"/>
                  </a:lnTo>
                  <a:lnTo>
                    <a:pt x="6544" y="155"/>
                  </a:lnTo>
                  <a:lnTo>
                    <a:pt x="6416" y="144"/>
                  </a:lnTo>
                  <a:lnTo>
                    <a:pt x="6291" y="130"/>
                  </a:lnTo>
                  <a:lnTo>
                    <a:pt x="6232" y="123"/>
                  </a:lnTo>
                  <a:lnTo>
                    <a:pt x="6179" y="114"/>
                  </a:lnTo>
                  <a:lnTo>
                    <a:pt x="6088" y="101"/>
                  </a:lnTo>
                  <a:lnTo>
                    <a:pt x="6029" y="89"/>
                  </a:lnTo>
                  <a:lnTo>
                    <a:pt x="5935" y="71"/>
                  </a:lnTo>
                  <a:lnTo>
                    <a:pt x="5825" y="54"/>
                  </a:lnTo>
                  <a:lnTo>
                    <a:pt x="5712" y="37"/>
                  </a:lnTo>
                  <a:lnTo>
                    <a:pt x="5608" y="25"/>
                  </a:lnTo>
                  <a:lnTo>
                    <a:pt x="5541" y="20"/>
                  </a:lnTo>
                  <a:lnTo>
                    <a:pt x="5463" y="20"/>
                  </a:lnTo>
                  <a:lnTo>
                    <a:pt x="5375" y="24"/>
                  </a:lnTo>
                  <a:lnTo>
                    <a:pt x="5283" y="31"/>
                  </a:lnTo>
                  <a:lnTo>
                    <a:pt x="5188" y="43"/>
                  </a:lnTo>
                  <a:lnTo>
                    <a:pt x="5094" y="59"/>
                  </a:lnTo>
                  <a:lnTo>
                    <a:pt x="5004" y="78"/>
                  </a:lnTo>
                  <a:lnTo>
                    <a:pt x="4920" y="101"/>
                  </a:lnTo>
                  <a:lnTo>
                    <a:pt x="4899" y="107"/>
                  </a:lnTo>
                  <a:lnTo>
                    <a:pt x="4878" y="112"/>
                  </a:lnTo>
                  <a:lnTo>
                    <a:pt x="4828" y="120"/>
                  </a:lnTo>
                  <a:lnTo>
                    <a:pt x="4775" y="127"/>
                  </a:lnTo>
                  <a:lnTo>
                    <a:pt x="4719" y="131"/>
                  </a:lnTo>
                  <a:lnTo>
                    <a:pt x="4660" y="134"/>
                  </a:lnTo>
                  <a:lnTo>
                    <a:pt x="4598" y="135"/>
                  </a:lnTo>
                  <a:lnTo>
                    <a:pt x="4475" y="134"/>
                  </a:lnTo>
                  <a:lnTo>
                    <a:pt x="4248" y="127"/>
                  </a:lnTo>
                  <a:lnTo>
                    <a:pt x="4159" y="127"/>
                  </a:lnTo>
                  <a:lnTo>
                    <a:pt x="4125" y="130"/>
                  </a:lnTo>
                  <a:lnTo>
                    <a:pt x="4097" y="134"/>
                  </a:lnTo>
                  <a:lnTo>
                    <a:pt x="4075" y="136"/>
                  </a:lnTo>
                  <a:lnTo>
                    <a:pt x="4053" y="136"/>
                  </a:lnTo>
                  <a:lnTo>
                    <a:pt x="4010" y="129"/>
                  </a:lnTo>
                  <a:lnTo>
                    <a:pt x="3988" y="121"/>
                  </a:lnTo>
                  <a:lnTo>
                    <a:pt x="3966" y="113"/>
                  </a:lnTo>
                  <a:lnTo>
                    <a:pt x="3925" y="93"/>
                  </a:lnTo>
                  <a:lnTo>
                    <a:pt x="3839" y="47"/>
                  </a:lnTo>
                  <a:lnTo>
                    <a:pt x="3794" y="27"/>
                  </a:lnTo>
                  <a:lnTo>
                    <a:pt x="3747" y="11"/>
                  </a:lnTo>
                  <a:lnTo>
                    <a:pt x="3718" y="6"/>
                  </a:lnTo>
                  <a:lnTo>
                    <a:pt x="3680" y="2"/>
                  </a:lnTo>
                  <a:lnTo>
                    <a:pt x="3580" y="0"/>
                  </a:lnTo>
                  <a:lnTo>
                    <a:pt x="3456" y="1"/>
                  </a:lnTo>
                  <a:lnTo>
                    <a:pt x="3317" y="4"/>
                  </a:lnTo>
                  <a:lnTo>
                    <a:pt x="3029" y="11"/>
                  </a:lnTo>
                  <a:lnTo>
                    <a:pt x="2899" y="11"/>
                  </a:lnTo>
                  <a:lnTo>
                    <a:pt x="2789" y="6"/>
                  </a:lnTo>
                  <a:lnTo>
                    <a:pt x="2734" y="4"/>
                  </a:lnTo>
                  <a:lnTo>
                    <a:pt x="2677" y="2"/>
                  </a:lnTo>
                  <a:lnTo>
                    <a:pt x="2553" y="5"/>
                  </a:lnTo>
                  <a:lnTo>
                    <a:pt x="2421" y="13"/>
                  </a:lnTo>
                  <a:lnTo>
                    <a:pt x="2285" y="24"/>
                  </a:lnTo>
                  <a:lnTo>
                    <a:pt x="2017" y="46"/>
                  </a:lnTo>
                  <a:lnTo>
                    <a:pt x="1892" y="53"/>
                  </a:lnTo>
                  <a:lnTo>
                    <a:pt x="1833" y="54"/>
                  </a:lnTo>
                  <a:lnTo>
                    <a:pt x="1779" y="54"/>
                  </a:lnTo>
                  <a:lnTo>
                    <a:pt x="1730" y="55"/>
                  </a:lnTo>
                  <a:lnTo>
                    <a:pt x="1689" y="59"/>
                  </a:lnTo>
                  <a:lnTo>
                    <a:pt x="1651" y="65"/>
                  </a:lnTo>
                  <a:lnTo>
                    <a:pt x="1618" y="73"/>
                  </a:lnTo>
                  <a:lnTo>
                    <a:pt x="1588" y="84"/>
                  </a:lnTo>
                  <a:lnTo>
                    <a:pt x="1563" y="96"/>
                  </a:lnTo>
                  <a:lnTo>
                    <a:pt x="1539" y="109"/>
                  </a:lnTo>
                  <a:lnTo>
                    <a:pt x="1518" y="124"/>
                  </a:lnTo>
                  <a:lnTo>
                    <a:pt x="1481" y="153"/>
                  </a:lnTo>
                  <a:lnTo>
                    <a:pt x="1447" y="182"/>
                  </a:lnTo>
                  <a:lnTo>
                    <a:pt x="1415" y="208"/>
                  </a:lnTo>
                  <a:lnTo>
                    <a:pt x="1398" y="219"/>
                  </a:lnTo>
                  <a:lnTo>
                    <a:pt x="1379" y="228"/>
                  </a:lnTo>
                  <a:lnTo>
                    <a:pt x="1346" y="239"/>
                  </a:lnTo>
                  <a:lnTo>
                    <a:pt x="1290" y="256"/>
                  </a:lnTo>
                  <a:lnTo>
                    <a:pt x="1119" y="302"/>
                  </a:lnTo>
                  <a:lnTo>
                    <a:pt x="650" y="421"/>
                  </a:lnTo>
                  <a:lnTo>
                    <a:pt x="201" y="531"/>
                  </a:lnTo>
                  <a:lnTo>
                    <a:pt x="0" y="580"/>
                  </a:lnTo>
                  <a:lnTo>
                    <a:pt x="542" y="495"/>
                  </a:lnTo>
                  <a:lnTo>
                    <a:pt x="1084" y="412"/>
                  </a:lnTo>
                  <a:lnTo>
                    <a:pt x="1626" y="329"/>
                  </a:lnTo>
                  <a:lnTo>
                    <a:pt x="2169" y="247"/>
                  </a:lnTo>
                  <a:lnTo>
                    <a:pt x="2874" y="249"/>
                  </a:lnTo>
                  <a:lnTo>
                    <a:pt x="3581" y="253"/>
                  </a:lnTo>
                  <a:lnTo>
                    <a:pt x="4347" y="250"/>
                  </a:lnTo>
                  <a:lnTo>
                    <a:pt x="5114" y="248"/>
                  </a:lnTo>
                  <a:lnTo>
                    <a:pt x="5881" y="245"/>
                  </a:lnTo>
                  <a:lnTo>
                    <a:pt x="6648" y="244"/>
                  </a:lnTo>
                  <a:lnTo>
                    <a:pt x="7442" y="255"/>
                  </a:lnTo>
                  <a:lnTo>
                    <a:pt x="8237" y="266"/>
                  </a:lnTo>
                  <a:lnTo>
                    <a:pt x="9031" y="277"/>
                  </a:lnTo>
                  <a:lnTo>
                    <a:pt x="9827" y="2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8" name="Freeform 50"/>
            <p:cNvSpPr>
              <a:spLocks/>
            </p:cNvSpPr>
            <p:nvPr userDrawn="1"/>
          </p:nvSpPr>
          <p:spPr bwMode="auto">
            <a:xfrm>
              <a:off x="3948113" y="6484938"/>
              <a:ext cx="3306763" cy="184150"/>
            </a:xfrm>
            <a:custGeom>
              <a:avLst/>
              <a:gdLst/>
              <a:ahLst/>
              <a:cxnLst>
                <a:cxn ang="0">
                  <a:pos x="7060" y="3"/>
                </a:cxn>
                <a:cxn ang="0">
                  <a:pos x="6185" y="40"/>
                </a:cxn>
                <a:cxn ang="0">
                  <a:pos x="6091" y="35"/>
                </a:cxn>
                <a:cxn ang="0">
                  <a:pos x="6002" y="45"/>
                </a:cxn>
                <a:cxn ang="0">
                  <a:pos x="5911" y="57"/>
                </a:cxn>
                <a:cxn ang="0">
                  <a:pos x="5784" y="60"/>
                </a:cxn>
                <a:cxn ang="0">
                  <a:pos x="5682" y="58"/>
                </a:cxn>
                <a:cxn ang="0">
                  <a:pos x="5534" y="51"/>
                </a:cxn>
                <a:cxn ang="0">
                  <a:pos x="5325" y="48"/>
                </a:cxn>
                <a:cxn ang="0">
                  <a:pos x="5195" y="45"/>
                </a:cxn>
                <a:cxn ang="0">
                  <a:pos x="4981" y="36"/>
                </a:cxn>
                <a:cxn ang="0">
                  <a:pos x="4799" y="38"/>
                </a:cxn>
                <a:cxn ang="0">
                  <a:pos x="4528" y="32"/>
                </a:cxn>
                <a:cxn ang="0">
                  <a:pos x="4267" y="33"/>
                </a:cxn>
                <a:cxn ang="0">
                  <a:pos x="3976" y="41"/>
                </a:cxn>
                <a:cxn ang="0">
                  <a:pos x="3853" y="35"/>
                </a:cxn>
                <a:cxn ang="0">
                  <a:pos x="3676" y="17"/>
                </a:cxn>
                <a:cxn ang="0">
                  <a:pos x="3563" y="15"/>
                </a:cxn>
                <a:cxn ang="0">
                  <a:pos x="3506" y="27"/>
                </a:cxn>
                <a:cxn ang="0">
                  <a:pos x="3327" y="76"/>
                </a:cxn>
                <a:cxn ang="0">
                  <a:pos x="3209" y="98"/>
                </a:cxn>
                <a:cxn ang="0">
                  <a:pos x="3150" y="103"/>
                </a:cxn>
                <a:cxn ang="0">
                  <a:pos x="3098" y="101"/>
                </a:cxn>
                <a:cxn ang="0">
                  <a:pos x="3014" y="89"/>
                </a:cxn>
                <a:cxn ang="0">
                  <a:pos x="2920" y="66"/>
                </a:cxn>
                <a:cxn ang="0">
                  <a:pos x="2838" y="60"/>
                </a:cxn>
                <a:cxn ang="0">
                  <a:pos x="2728" y="48"/>
                </a:cxn>
                <a:cxn ang="0">
                  <a:pos x="2687" y="47"/>
                </a:cxn>
                <a:cxn ang="0">
                  <a:pos x="2679" y="33"/>
                </a:cxn>
                <a:cxn ang="0">
                  <a:pos x="2666" y="18"/>
                </a:cxn>
                <a:cxn ang="0">
                  <a:pos x="2634" y="5"/>
                </a:cxn>
                <a:cxn ang="0">
                  <a:pos x="2549" y="0"/>
                </a:cxn>
                <a:cxn ang="0">
                  <a:pos x="2191" y="22"/>
                </a:cxn>
                <a:cxn ang="0">
                  <a:pos x="1925" y="41"/>
                </a:cxn>
                <a:cxn ang="0">
                  <a:pos x="1884" y="62"/>
                </a:cxn>
                <a:cxn ang="0">
                  <a:pos x="1836" y="77"/>
                </a:cxn>
                <a:cxn ang="0">
                  <a:pos x="1758" y="84"/>
                </a:cxn>
                <a:cxn ang="0">
                  <a:pos x="1660" y="94"/>
                </a:cxn>
                <a:cxn ang="0">
                  <a:pos x="1564" y="118"/>
                </a:cxn>
                <a:cxn ang="0">
                  <a:pos x="1430" y="154"/>
                </a:cxn>
                <a:cxn ang="0">
                  <a:pos x="1270" y="176"/>
                </a:cxn>
                <a:cxn ang="0">
                  <a:pos x="904" y="230"/>
                </a:cxn>
                <a:cxn ang="0">
                  <a:pos x="650" y="524"/>
                </a:cxn>
                <a:cxn ang="0">
                  <a:pos x="1952" y="532"/>
                </a:cxn>
                <a:cxn ang="0">
                  <a:pos x="3253" y="539"/>
                </a:cxn>
                <a:cxn ang="0">
                  <a:pos x="4556" y="546"/>
                </a:cxn>
                <a:cxn ang="0">
                  <a:pos x="5858" y="555"/>
                </a:cxn>
                <a:cxn ang="0">
                  <a:pos x="7160" y="562"/>
                </a:cxn>
                <a:cxn ang="0">
                  <a:pos x="8462" y="569"/>
                </a:cxn>
                <a:cxn ang="0">
                  <a:pos x="9765" y="576"/>
                </a:cxn>
                <a:cxn ang="0">
                  <a:pos x="10238" y="499"/>
                </a:cxn>
                <a:cxn ang="0">
                  <a:pos x="9933" y="368"/>
                </a:cxn>
                <a:cxn ang="0">
                  <a:pos x="9686" y="271"/>
                </a:cxn>
                <a:cxn ang="0">
                  <a:pos x="9430" y="178"/>
                </a:cxn>
                <a:cxn ang="0">
                  <a:pos x="9184" y="104"/>
                </a:cxn>
                <a:cxn ang="0">
                  <a:pos x="8969" y="60"/>
                </a:cxn>
                <a:cxn ang="0">
                  <a:pos x="8111" y="41"/>
                </a:cxn>
              </a:cxnLst>
              <a:rect l="0" t="0" r="r" b="b"/>
              <a:pathLst>
                <a:path w="10416" h="581">
                  <a:moveTo>
                    <a:pt x="7676" y="33"/>
                  </a:moveTo>
                  <a:lnTo>
                    <a:pt x="7060" y="3"/>
                  </a:lnTo>
                  <a:lnTo>
                    <a:pt x="6196" y="44"/>
                  </a:lnTo>
                  <a:lnTo>
                    <a:pt x="6185" y="40"/>
                  </a:lnTo>
                  <a:lnTo>
                    <a:pt x="6150" y="35"/>
                  </a:lnTo>
                  <a:lnTo>
                    <a:pt x="6091" y="35"/>
                  </a:lnTo>
                  <a:lnTo>
                    <a:pt x="6050" y="39"/>
                  </a:lnTo>
                  <a:lnTo>
                    <a:pt x="6002" y="45"/>
                  </a:lnTo>
                  <a:lnTo>
                    <a:pt x="5954" y="52"/>
                  </a:lnTo>
                  <a:lnTo>
                    <a:pt x="5911" y="57"/>
                  </a:lnTo>
                  <a:lnTo>
                    <a:pt x="5840" y="62"/>
                  </a:lnTo>
                  <a:lnTo>
                    <a:pt x="5784" y="60"/>
                  </a:lnTo>
                  <a:lnTo>
                    <a:pt x="5737" y="60"/>
                  </a:lnTo>
                  <a:lnTo>
                    <a:pt x="5682" y="58"/>
                  </a:lnTo>
                  <a:lnTo>
                    <a:pt x="5610" y="54"/>
                  </a:lnTo>
                  <a:lnTo>
                    <a:pt x="5534" y="51"/>
                  </a:lnTo>
                  <a:lnTo>
                    <a:pt x="5461" y="48"/>
                  </a:lnTo>
                  <a:lnTo>
                    <a:pt x="5325" y="48"/>
                  </a:lnTo>
                  <a:lnTo>
                    <a:pt x="5258" y="47"/>
                  </a:lnTo>
                  <a:lnTo>
                    <a:pt x="5195" y="45"/>
                  </a:lnTo>
                  <a:lnTo>
                    <a:pt x="5059" y="39"/>
                  </a:lnTo>
                  <a:lnTo>
                    <a:pt x="4981" y="36"/>
                  </a:lnTo>
                  <a:lnTo>
                    <a:pt x="4900" y="38"/>
                  </a:lnTo>
                  <a:lnTo>
                    <a:pt x="4799" y="38"/>
                  </a:lnTo>
                  <a:lnTo>
                    <a:pt x="4668" y="35"/>
                  </a:lnTo>
                  <a:lnTo>
                    <a:pt x="4528" y="32"/>
                  </a:lnTo>
                  <a:lnTo>
                    <a:pt x="4398" y="30"/>
                  </a:lnTo>
                  <a:lnTo>
                    <a:pt x="4267" y="33"/>
                  </a:lnTo>
                  <a:lnTo>
                    <a:pt x="4120" y="39"/>
                  </a:lnTo>
                  <a:lnTo>
                    <a:pt x="3976" y="41"/>
                  </a:lnTo>
                  <a:lnTo>
                    <a:pt x="3911" y="40"/>
                  </a:lnTo>
                  <a:lnTo>
                    <a:pt x="3853" y="35"/>
                  </a:lnTo>
                  <a:lnTo>
                    <a:pt x="3755" y="24"/>
                  </a:lnTo>
                  <a:lnTo>
                    <a:pt x="3676" y="17"/>
                  </a:lnTo>
                  <a:lnTo>
                    <a:pt x="3613" y="15"/>
                  </a:lnTo>
                  <a:lnTo>
                    <a:pt x="3563" y="15"/>
                  </a:lnTo>
                  <a:lnTo>
                    <a:pt x="3537" y="18"/>
                  </a:lnTo>
                  <a:lnTo>
                    <a:pt x="3506" y="27"/>
                  </a:lnTo>
                  <a:lnTo>
                    <a:pt x="3427" y="50"/>
                  </a:lnTo>
                  <a:lnTo>
                    <a:pt x="3327" y="76"/>
                  </a:lnTo>
                  <a:lnTo>
                    <a:pt x="3269" y="88"/>
                  </a:lnTo>
                  <a:lnTo>
                    <a:pt x="3209" y="98"/>
                  </a:lnTo>
                  <a:lnTo>
                    <a:pt x="3179" y="101"/>
                  </a:lnTo>
                  <a:lnTo>
                    <a:pt x="3150" y="103"/>
                  </a:lnTo>
                  <a:lnTo>
                    <a:pt x="3123" y="103"/>
                  </a:lnTo>
                  <a:lnTo>
                    <a:pt x="3098" y="101"/>
                  </a:lnTo>
                  <a:lnTo>
                    <a:pt x="3053" y="97"/>
                  </a:lnTo>
                  <a:lnTo>
                    <a:pt x="3014" y="89"/>
                  </a:lnTo>
                  <a:lnTo>
                    <a:pt x="2949" y="72"/>
                  </a:lnTo>
                  <a:lnTo>
                    <a:pt x="2920" y="66"/>
                  </a:lnTo>
                  <a:lnTo>
                    <a:pt x="2893" y="64"/>
                  </a:lnTo>
                  <a:lnTo>
                    <a:pt x="2838" y="60"/>
                  </a:lnTo>
                  <a:lnTo>
                    <a:pt x="2779" y="54"/>
                  </a:lnTo>
                  <a:lnTo>
                    <a:pt x="2728" y="48"/>
                  </a:lnTo>
                  <a:lnTo>
                    <a:pt x="2696" y="48"/>
                  </a:lnTo>
                  <a:lnTo>
                    <a:pt x="2687" y="47"/>
                  </a:lnTo>
                  <a:lnTo>
                    <a:pt x="2683" y="41"/>
                  </a:lnTo>
                  <a:lnTo>
                    <a:pt x="2679" y="33"/>
                  </a:lnTo>
                  <a:lnTo>
                    <a:pt x="2671" y="23"/>
                  </a:lnTo>
                  <a:lnTo>
                    <a:pt x="2666" y="18"/>
                  </a:lnTo>
                  <a:lnTo>
                    <a:pt x="2657" y="14"/>
                  </a:lnTo>
                  <a:lnTo>
                    <a:pt x="2634" y="5"/>
                  </a:lnTo>
                  <a:lnTo>
                    <a:pt x="2600" y="0"/>
                  </a:lnTo>
                  <a:lnTo>
                    <a:pt x="2549" y="0"/>
                  </a:lnTo>
                  <a:lnTo>
                    <a:pt x="2390" y="10"/>
                  </a:lnTo>
                  <a:lnTo>
                    <a:pt x="2191" y="22"/>
                  </a:lnTo>
                  <a:lnTo>
                    <a:pt x="1934" y="39"/>
                  </a:lnTo>
                  <a:lnTo>
                    <a:pt x="1925" y="41"/>
                  </a:lnTo>
                  <a:lnTo>
                    <a:pt x="1914" y="46"/>
                  </a:lnTo>
                  <a:lnTo>
                    <a:pt x="1884" y="62"/>
                  </a:lnTo>
                  <a:lnTo>
                    <a:pt x="1864" y="70"/>
                  </a:lnTo>
                  <a:lnTo>
                    <a:pt x="1836" y="77"/>
                  </a:lnTo>
                  <a:lnTo>
                    <a:pt x="1801" y="82"/>
                  </a:lnTo>
                  <a:lnTo>
                    <a:pt x="1758" y="84"/>
                  </a:lnTo>
                  <a:lnTo>
                    <a:pt x="1710" y="87"/>
                  </a:lnTo>
                  <a:lnTo>
                    <a:pt x="1660" y="94"/>
                  </a:lnTo>
                  <a:lnTo>
                    <a:pt x="1612" y="105"/>
                  </a:lnTo>
                  <a:lnTo>
                    <a:pt x="1564" y="118"/>
                  </a:lnTo>
                  <a:lnTo>
                    <a:pt x="1473" y="145"/>
                  </a:lnTo>
                  <a:lnTo>
                    <a:pt x="1430" y="154"/>
                  </a:lnTo>
                  <a:lnTo>
                    <a:pt x="1391" y="160"/>
                  </a:lnTo>
                  <a:lnTo>
                    <a:pt x="1270" y="176"/>
                  </a:lnTo>
                  <a:lnTo>
                    <a:pt x="1109" y="199"/>
                  </a:lnTo>
                  <a:lnTo>
                    <a:pt x="904" y="230"/>
                  </a:lnTo>
                  <a:lnTo>
                    <a:pt x="0" y="521"/>
                  </a:lnTo>
                  <a:lnTo>
                    <a:pt x="650" y="524"/>
                  </a:lnTo>
                  <a:lnTo>
                    <a:pt x="1302" y="528"/>
                  </a:lnTo>
                  <a:lnTo>
                    <a:pt x="1952" y="532"/>
                  </a:lnTo>
                  <a:lnTo>
                    <a:pt x="2603" y="535"/>
                  </a:lnTo>
                  <a:lnTo>
                    <a:pt x="3253" y="539"/>
                  </a:lnTo>
                  <a:lnTo>
                    <a:pt x="3905" y="543"/>
                  </a:lnTo>
                  <a:lnTo>
                    <a:pt x="4556" y="546"/>
                  </a:lnTo>
                  <a:lnTo>
                    <a:pt x="5207" y="551"/>
                  </a:lnTo>
                  <a:lnTo>
                    <a:pt x="5858" y="555"/>
                  </a:lnTo>
                  <a:lnTo>
                    <a:pt x="6509" y="558"/>
                  </a:lnTo>
                  <a:lnTo>
                    <a:pt x="7160" y="562"/>
                  </a:lnTo>
                  <a:lnTo>
                    <a:pt x="7812" y="565"/>
                  </a:lnTo>
                  <a:lnTo>
                    <a:pt x="8462" y="569"/>
                  </a:lnTo>
                  <a:lnTo>
                    <a:pt x="9113" y="573"/>
                  </a:lnTo>
                  <a:lnTo>
                    <a:pt x="9765" y="576"/>
                  </a:lnTo>
                  <a:lnTo>
                    <a:pt x="10416" y="581"/>
                  </a:lnTo>
                  <a:lnTo>
                    <a:pt x="10238" y="499"/>
                  </a:lnTo>
                  <a:lnTo>
                    <a:pt x="10045" y="415"/>
                  </a:lnTo>
                  <a:lnTo>
                    <a:pt x="9933" y="368"/>
                  </a:lnTo>
                  <a:lnTo>
                    <a:pt x="9813" y="319"/>
                  </a:lnTo>
                  <a:lnTo>
                    <a:pt x="9686" y="271"/>
                  </a:lnTo>
                  <a:lnTo>
                    <a:pt x="9559" y="223"/>
                  </a:lnTo>
                  <a:lnTo>
                    <a:pt x="9430" y="178"/>
                  </a:lnTo>
                  <a:lnTo>
                    <a:pt x="9305" y="139"/>
                  </a:lnTo>
                  <a:lnTo>
                    <a:pt x="9184" y="104"/>
                  </a:lnTo>
                  <a:lnTo>
                    <a:pt x="9071" y="77"/>
                  </a:lnTo>
                  <a:lnTo>
                    <a:pt x="8969" y="60"/>
                  </a:lnTo>
                  <a:lnTo>
                    <a:pt x="8878" y="53"/>
                  </a:lnTo>
                  <a:lnTo>
                    <a:pt x="8111" y="41"/>
                  </a:lnTo>
                  <a:lnTo>
                    <a:pt x="7676" y="3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9" name="Freeform 51"/>
            <p:cNvSpPr>
              <a:spLocks/>
            </p:cNvSpPr>
            <p:nvPr userDrawn="1"/>
          </p:nvSpPr>
          <p:spPr bwMode="auto">
            <a:xfrm>
              <a:off x="1654175" y="6334126"/>
              <a:ext cx="31750" cy="36513"/>
            </a:xfrm>
            <a:custGeom>
              <a:avLst/>
              <a:gdLst/>
              <a:ahLst/>
              <a:cxnLst>
                <a:cxn ang="0">
                  <a:pos x="98" y="115"/>
                </a:cxn>
                <a:cxn ang="0">
                  <a:pos x="102" y="115"/>
                </a:cxn>
                <a:cxn ang="0">
                  <a:pos x="102" y="101"/>
                </a:cxn>
                <a:cxn ang="0">
                  <a:pos x="0" y="0"/>
                </a:cxn>
                <a:cxn ang="0">
                  <a:pos x="0" y="16"/>
                </a:cxn>
                <a:cxn ang="0">
                  <a:pos x="98" y="115"/>
                </a:cxn>
              </a:cxnLst>
              <a:rect l="0" t="0" r="r" b="b"/>
              <a:pathLst>
                <a:path w="102" h="115">
                  <a:moveTo>
                    <a:pt x="98" y="115"/>
                  </a:moveTo>
                  <a:lnTo>
                    <a:pt x="102" y="115"/>
                  </a:lnTo>
                  <a:lnTo>
                    <a:pt x="102" y="101"/>
                  </a:lnTo>
                  <a:lnTo>
                    <a:pt x="0" y="0"/>
                  </a:lnTo>
                  <a:lnTo>
                    <a:pt x="0" y="16"/>
                  </a:lnTo>
                  <a:lnTo>
                    <a:pt x="98" y="11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0" name="Freeform 52"/>
            <p:cNvSpPr>
              <a:spLocks/>
            </p:cNvSpPr>
            <p:nvPr userDrawn="1"/>
          </p:nvSpPr>
          <p:spPr bwMode="auto">
            <a:xfrm>
              <a:off x="1654175" y="6362701"/>
              <a:ext cx="7938" cy="7938"/>
            </a:xfrm>
            <a:custGeom>
              <a:avLst/>
              <a:gdLst/>
              <a:ahLst/>
              <a:cxnLst>
                <a:cxn ang="0">
                  <a:pos x="0" y="0"/>
                </a:cxn>
                <a:cxn ang="0">
                  <a:pos x="0" y="23"/>
                </a:cxn>
                <a:cxn ang="0">
                  <a:pos x="24" y="23"/>
                </a:cxn>
                <a:cxn ang="0">
                  <a:pos x="0" y="0"/>
                </a:cxn>
              </a:cxnLst>
              <a:rect l="0" t="0" r="r" b="b"/>
              <a:pathLst>
                <a:path w="24" h="23">
                  <a:moveTo>
                    <a:pt x="0" y="0"/>
                  </a:moveTo>
                  <a:lnTo>
                    <a:pt x="0" y="23"/>
                  </a:lnTo>
                  <a:lnTo>
                    <a:pt x="24" y="2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1" name="Rectangle 53"/>
            <p:cNvSpPr>
              <a:spLocks noChangeArrowheads="1"/>
            </p:cNvSpPr>
            <p:nvPr userDrawn="1"/>
          </p:nvSpPr>
          <p:spPr bwMode="auto">
            <a:xfrm>
              <a:off x="3989388" y="6373813"/>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2" name="Freeform 54"/>
            <p:cNvSpPr>
              <a:spLocks/>
            </p:cNvSpPr>
            <p:nvPr userDrawn="1"/>
          </p:nvSpPr>
          <p:spPr bwMode="auto">
            <a:xfrm>
              <a:off x="766763" y="6411913"/>
              <a:ext cx="5416550" cy="153988"/>
            </a:xfrm>
            <a:custGeom>
              <a:avLst/>
              <a:gdLst/>
              <a:ahLst/>
              <a:cxnLst>
                <a:cxn ang="0">
                  <a:pos x="41" y="469"/>
                </a:cxn>
                <a:cxn ang="0">
                  <a:pos x="164" y="427"/>
                </a:cxn>
                <a:cxn ang="0">
                  <a:pos x="361" y="367"/>
                </a:cxn>
                <a:cxn ang="0">
                  <a:pos x="630" y="298"/>
                </a:cxn>
                <a:cxn ang="0">
                  <a:pos x="874" y="245"/>
                </a:cxn>
                <a:cxn ang="0">
                  <a:pos x="1155" y="197"/>
                </a:cxn>
                <a:cxn ang="0">
                  <a:pos x="1580" y="144"/>
                </a:cxn>
                <a:cxn ang="0">
                  <a:pos x="2059" y="112"/>
                </a:cxn>
                <a:cxn ang="0">
                  <a:pos x="2318" y="107"/>
                </a:cxn>
                <a:cxn ang="0">
                  <a:pos x="2940" y="113"/>
                </a:cxn>
                <a:cxn ang="0">
                  <a:pos x="3703" y="133"/>
                </a:cxn>
                <a:cxn ang="0">
                  <a:pos x="4536" y="163"/>
                </a:cxn>
                <a:cxn ang="0">
                  <a:pos x="6140" y="234"/>
                </a:cxn>
                <a:cxn ang="0">
                  <a:pos x="7364" y="296"/>
                </a:cxn>
                <a:cxn ang="0">
                  <a:pos x="7482" y="254"/>
                </a:cxn>
                <a:cxn ang="0">
                  <a:pos x="7626" y="209"/>
                </a:cxn>
                <a:cxn ang="0">
                  <a:pos x="7826" y="159"/>
                </a:cxn>
                <a:cxn ang="0">
                  <a:pos x="8078" y="106"/>
                </a:cxn>
                <a:cxn ang="0">
                  <a:pos x="8380" y="59"/>
                </a:cxn>
                <a:cxn ang="0">
                  <a:pos x="8732" y="22"/>
                </a:cxn>
                <a:cxn ang="0">
                  <a:pos x="9130" y="0"/>
                </a:cxn>
                <a:cxn ang="0">
                  <a:pos x="9550" y="59"/>
                </a:cxn>
                <a:cxn ang="0">
                  <a:pos x="10002" y="103"/>
                </a:cxn>
                <a:cxn ang="0">
                  <a:pos x="10457" y="138"/>
                </a:cxn>
                <a:cxn ang="0">
                  <a:pos x="10892" y="162"/>
                </a:cxn>
                <a:cxn ang="0">
                  <a:pos x="11584" y="189"/>
                </a:cxn>
                <a:cxn ang="0">
                  <a:pos x="12027" y="221"/>
                </a:cxn>
                <a:cxn ang="0">
                  <a:pos x="12420" y="275"/>
                </a:cxn>
                <a:cxn ang="0">
                  <a:pos x="12654" y="302"/>
                </a:cxn>
                <a:cxn ang="0">
                  <a:pos x="12889" y="322"/>
                </a:cxn>
                <a:cxn ang="0">
                  <a:pos x="13105" y="332"/>
                </a:cxn>
                <a:cxn ang="0">
                  <a:pos x="13284" y="326"/>
                </a:cxn>
                <a:cxn ang="0">
                  <a:pos x="13458" y="314"/>
                </a:cxn>
                <a:cxn ang="0">
                  <a:pos x="13660" y="306"/>
                </a:cxn>
                <a:cxn ang="0">
                  <a:pos x="14108" y="305"/>
                </a:cxn>
                <a:cxn ang="0">
                  <a:pos x="14435" y="317"/>
                </a:cxn>
                <a:cxn ang="0">
                  <a:pos x="14627" y="329"/>
                </a:cxn>
                <a:cxn ang="0">
                  <a:pos x="14783" y="345"/>
                </a:cxn>
                <a:cxn ang="0">
                  <a:pos x="15056" y="387"/>
                </a:cxn>
                <a:cxn ang="0">
                  <a:pos x="15471" y="436"/>
                </a:cxn>
                <a:cxn ang="0">
                  <a:pos x="15862" y="468"/>
                </a:cxn>
                <a:cxn ang="0">
                  <a:pos x="16217" y="482"/>
                </a:cxn>
                <a:cxn ang="0">
                  <a:pos x="16658" y="486"/>
                </a:cxn>
                <a:cxn ang="0">
                  <a:pos x="17011" y="475"/>
                </a:cxn>
                <a:cxn ang="0">
                  <a:pos x="16098" y="470"/>
                </a:cxn>
                <a:cxn ang="0">
                  <a:pos x="14176" y="468"/>
                </a:cxn>
                <a:cxn ang="0">
                  <a:pos x="12253" y="465"/>
                </a:cxn>
                <a:cxn ang="0">
                  <a:pos x="10332" y="463"/>
                </a:cxn>
                <a:cxn ang="0">
                  <a:pos x="8409" y="460"/>
                </a:cxn>
                <a:cxn ang="0">
                  <a:pos x="6487" y="458"/>
                </a:cxn>
                <a:cxn ang="0">
                  <a:pos x="4566" y="456"/>
                </a:cxn>
                <a:cxn ang="0">
                  <a:pos x="2644" y="453"/>
                </a:cxn>
                <a:cxn ang="0">
                  <a:pos x="842" y="468"/>
                </a:cxn>
              </a:cxnLst>
              <a:rect l="0" t="0" r="r" b="b"/>
              <a:pathLst>
                <a:path w="17060" h="486">
                  <a:moveTo>
                    <a:pt x="0" y="484"/>
                  </a:moveTo>
                  <a:lnTo>
                    <a:pt x="41" y="469"/>
                  </a:lnTo>
                  <a:lnTo>
                    <a:pt x="93" y="451"/>
                  </a:lnTo>
                  <a:lnTo>
                    <a:pt x="164" y="427"/>
                  </a:lnTo>
                  <a:lnTo>
                    <a:pt x="253" y="398"/>
                  </a:lnTo>
                  <a:lnTo>
                    <a:pt x="361" y="367"/>
                  </a:lnTo>
                  <a:lnTo>
                    <a:pt x="487" y="333"/>
                  </a:lnTo>
                  <a:lnTo>
                    <a:pt x="630" y="298"/>
                  </a:lnTo>
                  <a:lnTo>
                    <a:pt x="789" y="263"/>
                  </a:lnTo>
                  <a:lnTo>
                    <a:pt x="874" y="245"/>
                  </a:lnTo>
                  <a:lnTo>
                    <a:pt x="963" y="230"/>
                  </a:lnTo>
                  <a:lnTo>
                    <a:pt x="1155" y="197"/>
                  </a:lnTo>
                  <a:lnTo>
                    <a:pt x="1360" y="168"/>
                  </a:lnTo>
                  <a:lnTo>
                    <a:pt x="1580" y="144"/>
                  </a:lnTo>
                  <a:lnTo>
                    <a:pt x="1813" y="125"/>
                  </a:lnTo>
                  <a:lnTo>
                    <a:pt x="2059" y="112"/>
                  </a:lnTo>
                  <a:lnTo>
                    <a:pt x="2187" y="108"/>
                  </a:lnTo>
                  <a:lnTo>
                    <a:pt x="2318" y="107"/>
                  </a:lnTo>
                  <a:lnTo>
                    <a:pt x="2608" y="108"/>
                  </a:lnTo>
                  <a:lnTo>
                    <a:pt x="2940" y="113"/>
                  </a:lnTo>
                  <a:lnTo>
                    <a:pt x="3309" y="123"/>
                  </a:lnTo>
                  <a:lnTo>
                    <a:pt x="3703" y="133"/>
                  </a:lnTo>
                  <a:lnTo>
                    <a:pt x="4114" y="148"/>
                  </a:lnTo>
                  <a:lnTo>
                    <a:pt x="4536" y="163"/>
                  </a:lnTo>
                  <a:lnTo>
                    <a:pt x="5370" y="198"/>
                  </a:lnTo>
                  <a:lnTo>
                    <a:pt x="6140" y="234"/>
                  </a:lnTo>
                  <a:lnTo>
                    <a:pt x="6774" y="264"/>
                  </a:lnTo>
                  <a:lnTo>
                    <a:pt x="7364" y="296"/>
                  </a:lnTo>
                  <a:lnTo>
                    <a:pt x="7394" y="284"/>
                  </a:lnTo>
                  <a:lnTo>
                    <a:pt x="7482" y="254"/>
                  </a:lnTo>
                  <a:lnTo>
                    <a:pt x="7547" y="233"/>
                  </a:lnTo>
                  <a:lnTo>
                    <a:pt x="7626" y="209"/>
                  </a:lnTo>
                  <a:lnTo>
                    <a:pt x="7719" y="185"/>
                  </a:lnTo>
                  <a:lnTo>
                    <a:pt x="7826" y="159"/>
                  </a:lnTo>
                  <a:lnTo>
                    <a:pt x="7946" y="132"/>
                  </a:lnTo>
                  <a:lnTo>
                    <a:pt x="8078" y="106"/>
                  </a:lnTo>
                  <a:lnTo>
                    <a:pt x="8224" y="82"/>
                  </a:lnTo>
                  <a:lnTo>
                    <a:pt x="8380" y="59"/>
                  </a:lnTo>
                  <a:lnTo>
                    <a:pt x="8550" y="38"/>
                  </a:lnTo>
                  <a:lnTo>
                    <a:pt x="8732" y="22"/>
                  </a:lnTo>
                  <a:lnTo>
                    <a:pt x="8926" y="8"/>
                  </a:lnTo>
                  <a:lnTo>
                    <a:pt x="9130" y="0"/>
                  </a:lnTo>
                  <a:lnTo>
                    <a:pt x="9334" y="31"/>
                  </a:lnTo>
                  <a:lnTo>
                    <a:pt x="9550" y="59"/>
                  </a:lnTo>
                  <a:lnTo>
                    <a:pt x="9773" y="83"/>
                  </a:lnTo>
                  <a:lnTo>
                    <a:pt x="10002" y="103"/>
                  </a:lnTo>
                  <a:lnTo>
                    <a:pt x="10231" y="123"/>
                  </a:lnTo>
                  <a:lnTo>
                    <a:pt x="10457" y="138"/>
                  </a:lnTo>
                  <a:lnTo>
                    <a:pt x="10679" y="151"/>
                  </a:lnTo>
                  <a:lnTo>
                    <a:pt x="10892" y="162"/>
                  </a:lnTo>
                  <a:lnTo>
                    <a:pt x="11276" y="179"/>
                  </a:lnTo>
                  <a:lnTo>
                    <a:pt x="11584" y="189"/>
                  </a:lnTo>
                  <a:lnTo>
                    <a:pt x="11862" y="195"/>
                  </a:lnTo>
                  <a:lnTo>
                    <a:pt x="12027" y="221"/>
                  </a:lnTo>
                  <a:lnTo>
                    <a:pt x="12204" y="246"/>
                  </a:lnTo>
                  <a:lnTo>
                    <a:pt x="12420" y="275"/>
                  </a:lnTo>
                  <a:lnTo>
                    <a:pt x="12535" y="290"/>
                  </a:lnTo>
                  <a:lnTo>
                    <a:pt x="12654" y="302"/>
                  </a:lnTo>
                  <a:lnTo>
                    <a:pt x="12772" y="314"/>
                  </a:lnTo>
                  <a:lnTo>
                    <a:pt x="12889" y="322"/>
                  </a:lnTo>
                  <a:lnTo>
                    <a:pt x="13000" y="328"/>
                  </a:lnTo>
                  <a:lnTo>
                    <a:pt x="13105" y="332"/>
                  </a:lnTo>
                  <a:lnTo>
                    <a:pt x="13201" y="331"/>
                  </a:lnTo>
                  <a:lnTo>
                    <a:pt x="13284" y="326"/>
                  </a:lnTo>
                  <a:lnTo>
                    <a:pt x="13366" y="318"/>
                  </a:lnTo>
                  <a:lnTo>
                    <a:pt x="13458" y="314"/>
                  </a:lnTo>
                  <a:lnTo>
                    <a:pt x="13555" y="309"/>
                  </a:lnTo>
                  <a:lnTo>
                    <a:pt x="13660" y="306"/>
                  </a:lnTo>
                  <a:lnTo>
                    <a:pt x="13881" y="304"/>
                  </a:lnTo>
                  <a:lnTo>
                    <a:pt x="14108" y="305"/>
                  </a:lnTo>
                  <a:lnTo>
                    <a:pt x="14329" y="312"/>
                  </a:lnTo>
                  <a:lnTo>
                    <a:pt x="14435" y="317"/>
                  </a:lnTo>
                  <a:lnTo>
                    <a:pt x="14534" y="322"/>
                  </a:lnTo>
                  <a:lnTo>
                    <a:pt x="14627" y="329"/>
                  </a:lnTo>
                  <a:lnTo>
                    <a:pt x="14710" y="337"/>
                  </a:lnTo>
                  <a:lnTo>
                    <a:pt x="14783" y="345"/>
                  </a:lnTo>
                  <a:lnTo>
                    <a:pt x="14845" y="353"/>
                  </a:lnTo>
                  <a:lnTo>
                    <a:pt x="15056" y="387"/>
                  </a:lnTo>
                  <a:lnTo>
                    <a:pt x="15266" y="415"/>
                  </a:lnTo>
                  <a:lnTo>
                    <a:pt x="15471" y="436"/>
                  </a:lnTo>
                  <a:lnTo>
                    <a:pt x="15670" y="454"/>
                  </a:lnTo>
                  <a:lnTo>
                    <a:pt x="15862" y="468"/>
                  </a:lnTo>
                  <a:lnTo>
                    <a:pt x="16045" y="476"/>
                  </a:lnTo>
                  <a:lnTo>
                    <a:pt x="16217" y="482"/>
                  </a:lnTo>
                  <a:lnTo>
                    <a:pt x="16378" y="486"/>
                  </a:lnTo>
                  <a:lnTo>
                    <a:pt x="16658" y="486"/>
                  </a:lnTo>
                  <a:lnTo>
                    <a:pt x="16873" y="481"/>
                  </a:lnTo>
                  <a:lnTo>
                    <a:pt x="17011" y="475"/>
                  </a:lnTo>
                  <a:lnTo>
                    <a:pt x="17060" y="471"/>
                  </a:lnTo>
                  <a:lnTo>
                    <a:pt x="16098" y="470"/>
                  </a:lnTo>
                  <a:lnTo>
                    <a:pt x="15137" y="469"/>
                  </a:lnTo>
                  <a:lnTo>
                    <a:pt x="14176" y="468"/>
                  </a:lnTo>
                  <a:lnTo>
                    <a:pt x="13216" y="466"/>
                  </a:lnTo>
                  <a:lnTo>
                    <a:pt x="12253" y="465"/>
                  </a:lnTo>
                  <a:lnTo>
                    <a:pt x="11293" y="464"/>
                  </a:lnTo>
                  <a:lnTo>
                    <a:pt x="10332" y="463"/>
                  </a:lnTo>
                  <a:lnTo>
                    <a:pt x="9371" y="462"/>
                  </a:lnTo>
                  <a:lnTo>
                    <a:pt x="8409" y="460"/>
                  </a:lnTo>
                  <a:lnTo>
                    <a:pt x="7448" y="459"/>
                  </a:lnTo>
                  <a:lnTo>
                    <a:pt x="6487" y="458"/>
                  </a:lnTo>
                  <a:lnTo>
                    <a:pt x="5527" y="457"/>
                  </a:lnTo>
                  <a:lnTo>
                    <a:pt x="4566" y="456"/>
                  </a:lnTo>
                  <a:lnTo>
                    <a:pt x="3605" y="454"/>
                  </a:lnTo>
                  <a:lnTo>
                    <a:pt x="2644" y="453"/>
                  </a:lnTo>
                  <a:lnTo>
                    <a:pt x="1683" y="452"/>
                  </a:lnTo>
                  <a:lnTo>
                    <a:pt x="842" y="468"/>
                  </a:lnTo>
                  <a:lnTo>
                    <a:pt x="0" y="4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3" name="Freeform 55"/>
            <p:cNvSpPr>
              <a:spLocks noEditPoints="1"/>
            </p:cNvSpPr>
            <p:nvPr userDrawn="1"/>
          </p:nvSpPr>
          <p:spPr bwMode="auto">
            <a:xfrm>
              <a:off x="1831975" y="6197601"/>
              <a:ext cx="79375" cy="46038"/>
            </a:xfrm>
            <a:custGeom>
              <a:avLst/>
              <a:gdLst/>
              <a:ahLst/>
              <a:cxnLst>
                <a:cxn ang="0">
                  <a:pos x="29" y="50"/>
                </a:cxn>
                <a:cxn ang="0">
                  <a:pos x="27" y="43"/>
                </a:cxn>
                <a:cxn ang="0">
                  <a:pos x="32" y="44"/>
                </a:cxn>
                <a:cxn ang="0">
                  <a:pos x="40" y="50"/>
                </a:cxn>
                <a:cxn ang="0">
                  <a:pos x="250" y="56"/>
                </a:cxn>
                <a:cxn ang="0">
                  <a:pos x="241" y="49"/>
                </a:cxn>
                <a:cxn ang="0">
                  <a:pos x="234" y="39"/>
                </a:cxn>
                <a:cxn ang="0">
                  <a:pos x="224" y="26"/>
                </a:cxn>
                <a:cxn ang="0">
                  <a:pos x="212" y="23"/>
                </a:cxn>
                <a:cxn ang="0">
                  <a:pos x="188" y="27"/>
                </a:cxn>
                <a:cxn ang="0">
                  <a:pos x="182" y="23"/>
                </a:cxn>
                <a:cxn ang="0">
                  <a:pos x="163" y="14"/>
                </a:cxn>
                <a:cxn ang="0">
                  <a:pos x="151" y="9"/>
                </a:cxn>
                <a:cxn ang="0">
                  <a:pos x="128" y="0"/>
                </a:cxn>
                <a:cxn ang="0">
                  <a:pos x="116" y="0"/>
                </a:cxn>
                <a:cxn ang="0">
                  <a:pos x="98" y="3"/>
                </a:cxn>
                <a:cxn ang="0">
                  <a:pos x="87" y="8"/>
                </a:cxn>
                <a:cxn ang="0">
                  <a:pos x="73" y="14"/>
                </a:cxn>
                <a:cxn ang="0">
                  <a:pos x="49" y="27"/>
                </a:cxn>
                <a:cxn ang="0">
                  <a:pos x="35" y="35"/>
                </a:cxn>
                <a:cxn ang="0">
                  <a:pos x="25" y="37"/>
                </a:cxn>
                <a:cxn ang="0">
                  <a:pos x="10" y="38"/>
                </a:cxn>
                <a:cxn ang="0">
                  <a:pos x="0" y="41"/>
                </a:cxn>
                <a:cxn ang="0">
                  <a:pos x="3" y="45"/>
                </a:cxn>
                <a:cxn ang="0">
                  <a:pos x="16" y="45"/>
                </a:cxn>
                <a:cxn ang="0">
                  <a:pos x="22" y="47"/>
                </a:cxn>
                <a:cxn ang="0">
                  <a:pos x="17" y="46"/>
                </a:cxn>
                <a:cxn ang="0">
                  <a:pos x="17" y="52"/>
                </a:cxn>
                <a:cxn ang="0">
                  <a:pos x="9" y="51"/>
                </a:cxn>
                <a:cxn ang="0">
                  <a:pos x="8" y="55"/>
                </a:cxn>
                <a:cxn ang="0">
                  <a:pos x="18" y="58"/>
                </a:cxn>
                <a:cxn ang="0">
                  <a:pos x="33" y="57"/>
                </a:cxn>
                <a:cxn ang="0">
                  <a:pos x="52" y="64"/>
                </a:cxn>
                <a:cxn ang="0">
                  <a:pos x="67" y="73"/>
                </a:cxn>
                <a:cxn ang="0">
                  <a:pos x="71" y="79"/>
                </a:cxn>
                <a:cxn ang="0">
                  <a:pos x="65" y="89"/>
                </a:cxn>
                <a:cxn ang="0">
                  <a:pos x="63" y="97"/>
                </a:cxn>
                <a:cxn ang="0">
                  <a:pos x="62" y="100"/>
                </a:cxn>
                <a:cxn ang="0">
                  <a:pos x="59" y="106"/>
                </a:cxn>
                <a:cxn ang="0">
                  <a:pos x="59" y="113"/>
                </a:cxn>
                <a:cxn ang="0">
                  <a:pos x="57" y="121"/>
                </a:cxn>
                <a:cxn ang="0">
                  <a:pos x="51" y="136"/>
                </a:cxn>
                <a:cxn ang="0">
                  <a:pos x="52" y="139"/>
                </a:cxn>
                <a:cxn ang="0">
                  <a:pos x="55" y="142"/>
                </a:cxn>
                <a:cxn ang="0">
                  <a:pos x="64" y="125"/>
                </a:cxn>
                <a:cxn ang="0">
                  <a:pos x="69" y="127"/>
                </a:cxn>
                <a:cxn ang="0">
                  <a:pos x="82" y="112"/>
                </a:cxn>
                <a:cxn ang="0">
                  <a:pos x="105" y="91"/>
                </a:cxn>
                <a:cxn ang="0">
                  <a:pos x="121" y="77"/>
                </a:cxn>
                <a:cxn ang="0">
                  <a:pos x="149" y="70"/>
                </a:cxn>
                <a:cxn ang="0">
                  <a:pos x="165" y="64"/>
                </a:cxn>
                <a:cxn ang="0">
                  <a:pos x="185" y="55"/>
                </a:cxn>
                <a:cxn ang="0">
                  <a:pos x="199" y="51"/>
                </a:cxn>
                <a:cxn ang="0">
                  <a:pos x="211" y="52"/>
                </a:cxn>
                <a:cxn ang="0">
                  <a:pos x="224" y="55"/>
                </a:cxn>
                <a:cxn ang="0">
                  <a:pos x="236" y="57"/>
                </a:cxn>
                <a:cxn ang="0">
                  <a:pos x="251" y="59"/>
                </a:cxn>
                <a:cxn ang="0">
                  <a:pos x="253" y="58"/>
                </a:cxn>
              </a:cxnLst>
              <a:rect l="0" t="0" r="r" b="b"/>
              <a:pathLst>
                <a:path w="253" h="142">
                  <a:moveTo>
                    <a:pt x="34" y="51"/>
                  </a:moveTo>
                  <a:lnTo>
                    <a:pt x="32" y="51"/>
                  </a:lnTo>
                  <a:lnTo>
                    <a:pt x="29" y="50"/>
                  </a:lnTo>
                  <a:lnTo>
                    <a:pt x="25" y="46"/>
                  </a:lnTo>
                  <a:lnTo>
                    <a:pt x="23" y="44"/>
                  </a:lnTo>
                  <a:lnTo>
                    <a:pt x="27" y="43"/>
                  </a:lnTo>
                  <a:lnTo>
                    <a:pt x="29" y="43"/>
                  </a:lnTo>
                  <a:lnTo>
                    <a:pt x="31" y="44"/>
                  </a:lnTo>
                  <a:lnTo>
                    <a:pt x="32" y="44"/>
                  </a:lnTo>
                  <a:lnTo>
                    <a:pt x="35" y="45"/>
                  </a:lnTo>
                  <a:lnTo>
                    <a:pt x="38" y="47"/>
                  </a:lnTo>
                  <a:lnTo>
                    <a:pt x="40" y="50"/>
                  </a:lnTo>
                  <a:lnTo>
                    <a:pt x="38" y="50"/>
                  </a:lnTo>
                  <a:lnTo>
                    <a:pt x="34" y="51"/>
                  </a:lnTo>
                  <a:close/>
                  <a:moveTo>
                    <a:pt x="250" y="56"/>
                  </a:moveTo>
                  <a:lnTo>
                    <a:pt x="245" y="53"/>
                  </a:lnTo>
                  <a:lnTo>
                    <a:pt x="242" y="51"/>
                  </a:lnTo>
                  <a:lnTo>
                    <a:pt x="241" y="49"/>
                  </a:lnTo>
                  <a:lnTo>
                    <a:pt x="239" y="47"/>
                  </a:lnTo>
                  <a:lnTo>
                    <a:pt x="236" y="44"/>
                  </a:lnTo>
                  <a:lnTo>
                    <a:pt x="234" y="39"/>
                  </a:lnTo>
                  <a:lnTo>
                    <a:pt x="232" y="32"/>
                  </a:lnTo>
                  <a:lnTo>
                    <a:pt x="229" y="29"/>
                  </a:lnTo>
                  <a:lnTo>
                    <a:pt x="224" y="26"/>
                  </a:lnTo>
                  <a:lnTo>
                    <a:pt x="221" y="24"/>
                  </a:lnTo>
                  <a:lnTo>
                    <a:pt x="217" y="23"/>
                  </a:lnTo>
                  <a:lnTo>
                    <a:pt x="212" y="23"/>
                  </a:lnTo>
                  <a:lnTo>
                    <a:pt x="209" y="24"/>
                  </a:lnTo>
                  <a:lnTo>
                    <a:pt x="193" y="26"/>
                  </a:lnTo>
                  <a:lnTo>
                    <a:pt x="188" y="27"/>
                  </a:lnTo>
                  <a:lnTo>
                    <a:pt x="187" y="27"/>
                  </a:lnTo>
                  <a:lnTo>
                    <a:pt x="185" y="24"/>
                  </a:lnTo>
                  <a:lnTo>
                    <a:pt x="182" y="23"/>
                  </a:lnTo>
                  <a:lnTo>
                    <a:pt x="175" y="21"/>
                  </a:lnTo>
                  <a:lnTo>
                    <a:pt x="167" y="17"/>
                  </a:lnTo>
                  <a:lnTo>
                    <a:pt x="163" y="14"/>
                  </a:lnTo>
                  <a:lnTo>
                    <a:pt x="159" y="12"/>
                  </a:lnTo>
                  <a:lnTo>
                    <a:pt x="155" y="10"/>
                  </a:lnTo>
                  <a:lnTo>
                    <a:pt x="151" y="9"/>
                  </a:lnTo>
                  <a:lnTo>
                    <a:pt x="143" y="5"/>
                  </a:lnTo>
                  <a:lnTo>
                    <a:pt x="134" y="3"/>
                  </a:lnTo>
                  <a:lnTo>
                    <a:pt x="128" y="0"/>
                  </a:lnTo>
                  <a:lnTo>
                    <a:pt x="126" y="0"/>
                  </a:lnTo>
                  <a:lnTo>
                    <a:pt x="123" y="0"/>
                  </a:lnTo>
                  <a:lnTo>
                    <a:pt x="116" y="0"/>
                  </a:lnTo>
                  <a:lnTo>
                    <a:pt x="110" y="0"/>
                  </a:lnTo>
                  <a:lnTo>
                    <a:pt x="103" y="2"/>
                  </a:lnTo>
                  <a:lnTo>
                    <a:pt x="98" y="3"/>
                  </a:lnTo>
                  <a:lnTo>
                    <a:pt x="93" y="4"/>
                  </a:lnTo>
                  <a:lnTo>
                    <a:pt x="90" y="6"/>
                  </a:lnTo>
                  <a:lnTo>
                    <a:pt x="87" y="8"/>
                  </a:lnTo>
                  <a:lnTo>
                    <a:pt x="82" y="9"/>
                  </a:lnTo>
                  <a:lnTo>
                    <a:pt x="79" y="10"/>
                  </a:lnTo>
                  <a:lnTo>
                    <a:pt x="73" y="14"/>
                  </a:lnTo>
                  <a:lnTo>
                    <a:pt x="64" y="18"/>
                  </a:lnTo>
                  <a:lnTo>
                    <a:pt x="56" y="22"/>
                  </a:lnTo>
                  <a:lnTo>
                    <a:pt x="49" y="27"/>
                  </a:lnTo>
                  <a:lnTo>
                    <a:pt x="44" y="29"/>
                  </a:lnTo>
                  <a:lnTo>
                    <a:pt x="40" y="33"/>
                  </a:lnTo>
                  <a:lnTo>
                    <a:pt x="35" y="35"/>
                  </a:lnTo>
                  <a:lnTo>
                    <a:pt x="32" y="37"/>
                  </a:lnTo>
                  <a:lnTo>
                    <a:pt x="28" y="37"/>
                  </a:lnTo>
                  <a:lnTo>
                    <a:pt x="25" y="37"/>
                  </a:lnTo>
                  <a:lnTo>
                    <a:pt x="22" y="38"/>
                  </a:lnTo>
                  <a:lnTo>
                    <a:pt x="17" y="38"/>
                  </a:lnTo>
                  <a:lnTo>
                    <a:pt x="10" y="38"/>
                  </a:lnTo>
                  <a:lnTo>
                    <a:pt x="5" y="39"/>
                  </a:lnTo>
                  <a:lnTo>
                    <a:pt x="3" y="40"/>
                  </a:lnTo>
                  <a:lnTo>
                    <a:pt x="0" y="41"/>
                  </a:lnTo>
                  <a:lnTo>
                    <a:pt x="0" y="43"/>
                  </a:lnTo>
                  <a:lnTo>
                    <a:pt x="0" y="44"/>
                  </a:lnTo>
                  <a:lnTo>
                    <a:pt x="3" y="45"/>
                  </a:lnTo>
                  <a:lnTo>
                    <a:pt x="6" y="45"/>
                  </a:lnTo>
                  <a:lnTo>
                    <a:pt x="9" y="45"/>
                  </a:lnTo>
                  <a:lnTo>
                    <a:pt x="16" y="45"/>
                  </a:lnTo>
                  <a:lnTo>
                    <a:pt x="18" y="45"/>
                  </a:lnTo>
                  <a:lnTo>
                    <a:pt x="18" y="46"/>
                  </a:lnTo>
                  <a:lnTo>
                    <a:pt x="22" y="47"/>
                  </a:lnTo>
                  <a:lnTo>
                    <a:pt x="20" y="49"/>
                  </a:lnTo>
                  <a:lnTo>
                    <a:pt x="18" y="46"/>
                  </a:lnTo>
                  <a:lnTo>
                    <a:pt x="17" y="46"/>
                  </a:lnTo>
                  <a:lnTo>
                    <a:pt x="16" y="47"/>
                  </a:lnTo>
                  <a:lnTo>
                    <a:pt x="16" y="50"/>
                  </a:lnTo>
                  <a:lnTo>
                    <a:pt x="17" y="52"/>
                  </a:lnTo>
                  <a:lnTo>
                    <a:pt x="14" y="52"/>
                  </a:lnTo>
                  <a:lnTo>
                    <a:pt x="10" y="52"/>
                  </a:lnTo>
                  <a:lnTo>
                    <a:pt x="9" y="51"/>
                  </a:lnTo>
                  <a:lnTo>
                    <a:pt x="8" y="53"/>
                  </a:lnTo>
                  <a:lnTo>
                    <a:pt x="6" y="55"/>
                  </a:lnTo>
                  <a:lnTo>
                    <a:pt x="8" y="55"/>
                  </a:lnTo>
                  <a:lnTo>
                    <a:pt x="9" y="56"/>
                  </a:lnTo>
                  <a:lnTo>
                    <a:pt x="12" y="57"/>
                  </a:lnTo>
                  <a:lnTo>
                    <a:pt x="18" y="58"/>
                  </a:lnTo>
                  <a:lnTo>
                    <a:pt x="27" y="58"/>
                  </a:lnTo>
                  <a:lnTo>
                    <a:pt x="29" y="58"/>
                  </a:lnTo>
                  <a:lnTo>
                    <a:pt x="33" y="57"/>
                  </a:lnTo>
                  <a:lnTo>
                    <a:pt x="39" y="57"/>
                  </a:lnTo>
                  <a:lnTo>
                    <a:pt x="46" y="57"/>
                  </a:lnTo>
                  <a:lnTo>
                    <a:pt x="52" y="64"/>
                  </a:lnTo>
                  <a:lnTo>
                    <a:pt x="58" y="68"/>
                  </a:lnTo>
                  <a:lnTo>
                    <a:pt x="63" y="71"/>
                  </a:lnTo>
                  <a:lnTo>
                    <a:pt x="67" y="73"/>
                  </a:lnTo>
                  <a:lnTo>
                    <a:pt x="70" y="74"/>
                  </a:lnTo>
                  <a:lnTo>
                    <a:pt x="74" y="75"/>
                  </a:lnTo>
                  <a:lnTo>
                    <a:pt x="71" y="79"/>
                  </a:lnTo>
                  <a:lnTo>
                    <a:pt x="69" y="83"/>
                  </a:lnTo>
                  <a:lnTo>
                    <a:pt x="67" y="88"/>
                  </a:lnTo>
                  <a:lnTo>
                    <a:pt x="65" y="89"/>
                  </a:lnTo>
                  <a:lnTo>
                    <a:pt x="64" y="92"/>
                  </a:lnTo>
                  <a:lnTo>
                    <a:pt x="63" y="95"/>
                  </a:lnTo>
                  <a:lnTo>
                    <a:pt x="63" y="97"/>
                  </a:lnTo>
                  <a:lnTo>
                    <a:pt x="63" y="98"/>
                  </a:lnTo>
                  <a:lnTo>
                    <a:pt x="62" y="99"/>
                  </a:lnTo>
                  <a:lnTo>
                    <a:pt x="62" y="100"/>
                  </a:lnTo>
                  <a:lnTo>
                    <a:pt x="61" y="103"/>
                  </a:lnTo>
                  <a:lnTo>
                    <a:pt x="61" y="105"/>
                  </a:lnTo>
                  <a:lnTo>
                    <a:pt x="59" y="106"/>
                  </a:lnTo>
                  <a:lnTo>
                    <a:pt x="59" y="111"/>
                  </a:lnTo>
                  <a:lnTo>
                    <a:pt x="59" y="112"/>
                  </a:lnTo>
                  <a:lnTo>
                    <a:pt x="59" y="113"/>
                  </a:lnTo>
                  <a:lnTo>
                    <a:pt x="58" y="117"/>
                  </a:lnTo>
                  <a:lnTo>
                    <a:pt x="61" y="117"/>
                  </a:lnTo>
                  <a:lnTo>
                    <a:pt x="57" y="121"/>
                  </a:lnTo>
                  <a:lnTo>
                    <a:pt x="58" y="122"/>
                  </a:lnTo>
                  <a:lnTo>
                    <a:pt x="53" y="131"/>
                  </a:lnTo>
                  <a:lnTo>
                    <a:pt x="51" y="136"/>
                  </a:lnTo>
                  <a:lnTo>
                    <a:pt x="51" y="138"/>
                  </a:lnTo>
                  <a:lnTo>
                    <a:pt x="51" y="139"/>
                  </a:lnTo>
                  <a:lnTo>
                    <a:pt x="52" y="139"/>
                  </a:lnTo>
                  <a:lnTo>
                    <a:pt x="53" y="138"/>
                  </a:lnTo>
                  <a:lnTo>
                    <a:pt x="55" y="136"/>
                  </a:lnTo>
                  <a:lnTo>
                    <a:pt x="55" y="142"/>
                  </a:lnTo>
                  <a:lnTo>
                    <a:pt x="58" y="134"/>
                  </a:lnTo>
                  <a:lnTo>
                    <a:pt x="62" y="130"/>
                  </a:lnTo>
                  <a:lnTo>
                    <a:pt x="64" y="125"/>
                  </a:lnTo>
                  <a:lnTo>
                    <a:pt x="73" y="118"/>
                  </a:lnTo>
                  <a:lnTo>
                    <a:pt x="70" y="121"/>
                  </a:lnTo>
                  <a:lnTo>
                    <a:pt x="69" y="127"/>
                  </a:lnTo>
                  <a:lnTo>
                    <a:pt x="69" y="131"/>
                  </a:lnTo>
                  <a:lnTo>
                    <a:pt x="76" y="121"/>
                  </a:lnTo>
                  <a:lnTo>
                    <a:pt x="82" y="112"/>
                  </a:lnTo>
                  <a:lnTo>
                    <a:pt x="87" y="107"/>
                  </a:lnTo>
                  <a:lnTo>
                    <a:pt x="93" y="101"/>
                  </a:lnTo>
                  <a:lnTo>
                    <a:pt x="105" y="91"/>
                  </a:lnTo>
                  <a:lnTo>
                    <a:pt x="114" y="83"/>
                  </a:lnTo>
                  <a:lnTo>
                    <a:pt x="120" y="79"/>
                  </a:lnTo>
                  <a:lnTo>
                    <a:pt x="121" y="77"/>
                  </a:lnTo>
                  <a:lnTo>
                    <a:pt x="122" y="77"/>
                  </a:lnTo>
                  <a:lnTo>
                    <a:pt x="134" y="74"/>
                  </a:lnTo>
                  <a:lnTo>
                    <a:pt x="149" y="70"/>
                  </a:lnTo>
                  <a:lnTo>
                    <a:pt x="153" y="69"/>
                  </a:lnTo>
                  <a:lnTo>
                    <a:pt x="158" y="67"/>
                  </a:lnTo>
                  <a:lnTo>
                    <a:pt x="165" y="64"/>
                  </a:lnTo>
                  <a:lnTo>
                    <a:pt x="171" y="61"/>
                  </a:lnTo>
                  <a:lnTo>
                    <a:pt x="179" y="57"/>
                  </a:lnTo>
                  <a:lnTo>
                    <a:pt x="185" y="55"/>
                  </a:lnTo>
                  <a:lnTo>
                    <a:pt x="189" y="53"/>
                  </a:lnTo>
                  <a:lnTo>
                    <a:pt x="193" y="51"/>
                  </a:lnTo>
                  <a:lnTo>
                    <a:pt x="199" y="51"/>
                  </a:lnTo>
                  <a:lnTo>
                    <a:pt x="206" y="50"/>
                  </a:lnTo>
                  <a:lnTo>
                    <a:pt x="209" y="51"/>
                  </a:lnTo>
                  <a:lnTo>
                    <a:pt x="211" y="52"/>
                  </a:lnTo>
                  <a:lnTo>
                    <a:pt x="215" y="53"/>
                  </a:lnTo>
                  <a:lnTo>
                    <a:pt x="216" y="55"/>
                  </a:lnTo>
                  <a:lnTo>
                    <a:pt x="224" y="55"/>
                  </a:lnTo>
                  <a:lnTo>
                    <a:pt x="228" y="55"/>
                  </a:lnTo>
                  <a:lnTo>
                    <a:pt x="232" y="56"/>
                  </a:lnTo>
                  <a:lnTo>
                    <a:pt x="236" y="57"/>
                  </a:lnTo>
                  <a:lnTo>
                    <a:pt x="242" y="58"/>
                  </a:lnTo>
                  <a:lnTo>
                    <a:pt x="247" y="59"/>
                  </a:lnTo>
                  <a:lnTo>
                    <a:pt x="251" y="59"/>
                  </a:lnTo>
                  <a:lnTo>
                    <a:pt x="252" y="59"/>
                  </a:lnTo>
                  <a:lnTo>
                    <a:pt x="253" y="59"/>
                  </a:lnTo>
                  <a:lnTo>
                    <a:pt x="253" y="58"/>
                  </a:lnTo>
                  <a:lnTo>
                    <a:pt x="252" y="57"/>
                  </a:lnTo>
                  <a:lnTo>
                    <a:pt x="250" y="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4" name="Freeform 56"/>
            <p:cNvSpPr>
              <a:spLocks/>
            </p:cNvSpPr>
            <p:nvPr userDrawn="1"/>
          </p:nvSpPr>
          <p:spPr bwMode="auto">
            <a:xfrm>
              <a:off x="1838325" y="6211888"/>
              <a:ext cx="6350" cy="1588"/>
            </a:xfrm>
            <a:custGeom>
              <a:avLst/>
              <a:gdLst/>
              <a:ahLst/>
              <a:cxnLst>
                <a:cxn ang="0">
                  <a:pos x="11" y="8"/>
                </a:cxn>
                <a:cxn ang="0">
                  <a:pos x="9" y="8"/>
                </a:cxn>
                <a:cxn ang="0">
                  <a:pos x="6" y="7"/>
                </a:cxn>
                <a:cxn ang="0">
                  <a:pos x="2" y="3"/>
                </a:cxn>
                <a:cxn ang="0">
                  <a:pos x="0" y="1"/>
                </a:cxn>
                <a:cxn ang="0">
                  <a:pos x="4" y="0"/>
                </a:cxn>
                <a:cxn ang="0">
                  <a:pos x="6" y="0"/>
                </a:cxn>
                <a:cxn ang="0">
                  <a:pos x="8" y="1"/>
                </a:cxn>
                <a:cxn ang="0">
                  <a:pos x="9" y="1"/>
                </a:cxn>
                <a:cxn ang="0">
                  <a:pos x="12" y="2"/>
                </a:cxn>
                <a:cxn ang="0">
                  <a:pos x="15" y="4"/>
                </a:cxn>
                <a:cxn ang="0">
                  <a:pos x="17" y="7"/>
                </a:cxn>
                <a:cxn ang="0">
                  <a:pos x="15" y="7"/>
                </a:cxn>
                <a:cxn ang="0">
                  <a:pos x="11" y="8"/>
                </a:cxn>
              </a:cxnLst>
              <a:rect l="0" t="0" r="r" b="b"/>
              <a:pathLst>
                <a:path w="17" h="8">
                  <a:moveTo>
                    <a:pt x="11" y="8"/>
                  </a:moveTo>
                  <a:lnTo>
                    <a:pt x="9" y="8"/>
                  </a:lnTo>
                  <a:lnTo>
                    <a:pt x="6" y="7"/>
                  </a:lnTo>
                  <a:lnTo>
                    <a:pt x="2" y="3"/>
                  </a:lnTo>
                  <a:lnTo>
                    <a:pt x="0" y="1"/>
                  </a:lnTo>
                  <a:lnTo>
                    <a:pt x="4" y="0"/>
                  </a:lnTo>
                  <a:lnTo>
                    <a:pt x="6" y="0"/>
                  </a:lnTo>
                  <a:lnTo>
                    <a:pt x="8" y="1"/>
                  </a:lnTo>
                  <a:lnTo>
                    <a:pt x="9" y="1"/>
                  </a:lnTo>
                  <a:lnTo>
                    <a:pt x="12" y="2"/>
                  </a:lnTo>
                  <a:lnTo>
                    <a:pt x="15" y="4"/>
                  </a:lnTo>
                  <a:lnTo>
                    <a:pt x="17" y="7"/>
                  </a:lnTo>
                  <a:lnTo>
                    <a:pt x="15" y="7"/>
                  </a:lnTo>
                  <a:lnTo>
                    <a:pt x="11" y="8"/>
                  </a:lnTo>
                  <a:close/>
                </a:path>
              </a:pathLst>
            </a:custGeom>
            <a:solidFill>
              <a:srgbClr val="EC002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5" name="Freeform 58"/>
            <p:cNvSpPr>
              <a:spLocks/>
            </p:cNvSpPr>
            <p:nvPr userDrawn="1"/>
          </p:nvSpPr>
          <p:spPr bwMode="auto">
            <a:xfrm>
              <a:off x="101600" y="6461126"/>
              <a:ext cx="5545138" cy="161925"/>
            </a:xfrm>
            <a:custGeom>
              <a:avLst/>
              <a:gdLst/>
              <a:ahLst/>
              <a:cxnLst>
                <a:cxn ang="0">
                  <a:pos x="952" y="322"/>
                </a:cxn>
                <a:cxn ang="0">
                  <a:pos x="2109" y="167"/>
                </a:cxn>
                <a:cxn ang="0">
                  <a:pos x="2773" y="95"/>
                </a:cxn>
                <a:cxn ang="0">
                  <a:pos x="3240" y="70"/>
                </a:cxn>
                <a:cxn ang="0">
                  <a:pos x="3428" y="90"/>
                </a:cxn>
                <a:cxn ang="0">
                  <a:pos x="4139" y="143"/>
                </a:cxn>
                <a:cxn ang="0">
                  <a:pos x="5006" y="190"/>
                </a:cxn>
                <a:cxn ang="0">
                  <a:pos x="5418" y="222"/>
                </a:cxn>
                <a:cxn ang="0">
                  <a:pos x="5653" y="259"/>
                </a:cxn>
                <a:cxn ang="0">
                  <a:pos x="5819" y="270"/>
                </a:cxn>
                <a:cxn ang="0">
                  <a:pos x="6127" y="259"/>
                </a:cxn>
                <a:cxn ang="0">
                  <a:pos x="6563" y="217"/>
                </a:cxn>
                <a:cxn ang="0">
                  <a:pos x="7013" y="148"/>
                </a:cxn>
                <a:cxn ang="0">
                  <a:pos x="7559" y="59"/>
                </a:cxn>
                <a:cxn ang="0">
                  <a:pos x="7853" y="30"/>
                </a:cxn>
                <a:cxn ang="0">
                  <a:pos x="8138" y="35"/>
                </a:cxn>
                <a:cxn ang="0">
                  <a:pos x="8378" y="57"/>
                </a:cxn>
                <a:cxn ang="0">
                  <a:pos x="8621" y="95"/>
                </a:cxn>
                <a:cxn ang="0">
                  <a:pos x="8850" y="148"/>
                </a:cxn>
                <a:cxn ang="0">
                  <a:pos x="9035" y="195"/>
                </a:cxn>
                <a:cxn ang="0">
                  <a:pos x="9266" y="220"/>
                </a:cxn>
                <a:cxn ang="0">
                  <a:pos x="9686" y="223"/>
                </a:cxn>
                <a:cxn ang="0">
                  <a:pos x="10229" y="214"/>
                </a:cxn>
                <a:cxn ang="0">
                  <a:pos x="10335" y="223"/>
                </a:cxn>
                <a:cxn ang="0">
                  <a:pos x="10451" y="223"/>
                </a:cxn>
                <a:cxn ang="0">
                  <a:pos x="10560" y="189"/>
                </a:cxn>
                <a:cxn ang="0">
                  <a:pos x="10781" y="74"/>
                </a:cxn>
                <a:cxn ang="0">
                  <a:pos x="10896" y="24"/>
                </a:cxn>
                <a:cxn ang="0">
                  <a:pos x="10989" y="5"/>
                </a:cxn>
                <a:cxn ang="0">
                  <a:pos x="11240" y="1"/>
                </a:cxn>
                <a:cxn ang="0">
                  <a:pos x="11986" y="44"/>
                </a:cxn>
                <a:cxn ang="0">
                  <a:pos x="12478" y="65"/>
                </a:cxn>
                <a:cxn ang="0">
                  <a:pos x="12785" y="50"/>
                </a:cxn>
                <a:cxn ang="0">
                  <a:pos x="13375" y="26"/>
                </a:cxn>
                <a:cxn ang="0">
                  <a:pos x="14252" y="23"/>
                </a:cxn>
                <a:cxn ang="0">
                  <a:pos x="14761" y="39"/>
                </a:cxn>
                <a:cxn ang="0">
                  <a:pos x="15301" y="72"/>
                </a:cxn>
                <a:cxn ang="0">
                  <a:pos x="15855" y="126"/>
                </a:cxn>
                <a:cxn ang="0">
                  <a:pos x="16411" y="204"/>
                </a:cxn>
                <a:cxn ang="0">
                  <a:pos x="16953" y="311"/>
                </a:cxn>
                <a:cxn ang="0">
                  <a:pos x="17384" y="424"/>
                </a:cxn>
                <a:cxn ang="0">
                  <a:pos x="17461" y="464"/>
                </a:cxn>
                <a:cxn ang="0">
                  <a:pos x="17411" y="481"/>
                </a:cxn>
                <a:cxn ang="0">
                  <a:pos x="17234" y="500"/>
                </a:cxn>
                <a:cxn ang="0">
                  <a:pos x="16606" y="512"/>
                </a:cxn>
                <a:cxn ang="0">
                  <a:pos x="15579" y="493"/>
                </a:cxn>
                <a:cxn ang="0">
                  <a:pos x="13652" y="418"/>
                </a:cxn>
                <a:cxn ang="0">
                  <a:pos x="11826" y="457"/>
                </a:cxn>
                <a:cxn ang="0">
                  <a:pos x="9898" y="467"/>
                </a:cxn>
                <a:cxn ang="0">
                  <a:pos x="7919" y="465"/>
                </a:cxn>
                <a:cxn ang="0">
                  <a:pos x="5941" y="464"/>
                </a:cxn>
                <a:cxn ang="0">
                  <a:pos x="3712" y="464"/>
                </a:cxn>
                <a:cxn ang="0">
                  <a:pos x="1485" y="464"/>
                </a:cxn>
              </a:cxnLst>
              <a:rect l="0" t="0" r="r" b="b"/>
              <a:pathLst>
                <a:path w="17467" h="512">
                  <a:moveTo>
                    <a:pt x="0" y="464"/>
                  </a:moveTo>
                  <a:lnTo>
                    <a:pt x="466" y="393"/>
                  </a:lnTo>
                  <a:lnTo>
                    <a:pt x="952" y="322"/>
                  </a:lnTo>
                  <a:lnTo>
                    <a:pt x="1521" y="243"/>
                  </a:lnTo>
                  <a:lnTo>
                    <a:pt x="1817" y="203"/>
                  </a:lnTo>
                  <a:lnTo>
                    <a:pt x="2109" y="167"/>
                  </a:lnTo>
                  <a:lnTo>
                    <a:pt x="2390" y="133"/>
                  </a:lnTo>
                  <a:lnTo>
                    <a:pt x="2651" y="106"/>
                  </a:lnTo>
                  <a:lnTo>
                    <a:pt x="2773" y="95"/>
                  </a:lnTo>
                  <a:lnTo>
                    <a:pt x="2886" y="85"/>
                  </a:lnTo>
                  <a:lnTo>
                    <a:pt x="3085" y="72"/>
                  </a:lnTo>
                  <a:lnTo>
                    <a:pt x="3240" y="70"/>
                  </a:lnTo>
                  <a:lnTo>
                    <a:pt x="3299" y="72"/>
                  </a:lnTo>
                  <a:lnTo>
                    <a:pt x="3344" y="77"/>
                  </a:lnTo>
                  <a:lnTo>
                    <a:pt x="3428" y="90"/>
                  </a:lnTo>
                  <a:lnTo>
                    <a:pt x="3537" y="102"/>
                  </a:lnTo>
                  <a:lnTo>
                    <a:pt x="3812" y="124"/>
                  </a:lnTo>
                  <a:lnTo>
                    <a:pt x="4139" y="143"/>
                  </a:lnTo>
                  <a:lnTo>
                    <a:pt x="4492" y="161"/>
                  </a:lnTo>
                  <a:lnTo>
                    <a:pt x="4843" y="180"/>
                  </a:lnTo>
                  <a:lnTo>
                    <a:pt x="5006" y="190"/>
                  </a:lnTo>
                  <a:lnTo>
                    <a:pt x="5160" y="199"/>
                  </a:lnTo>
                  <a:lnTo>
                    <a:pt x="5298" y="210"/>
                  </a:lnTo>
                  <a:lnTo>
                    <a:pt x="5418" y="222"/>
                  </a:lnTo>
                  <a:lnTo>
                    <a:pt x="5516" y="234"/>
                  </a:lnTo>
                  <a:lnTo>
                    <a:pt x="5588" y="247"/>
                  </a:lnTo>
                  <a:lnTo>
                    <a:pt x="5653" y="259"/>
                  </a:lnTo>
                  <a:lnTo>
                    <a:pt x="5691" y="264"/>
                  </a:lnTo>
                  <a:lnTo>
                    <a:pt x="5731" y="267"/>
                  </a:lnTo>
                  <a:lnTo>
                    <a:pt x="5819" y="270"/>
                  </a:lnTo>
                  <a:lnTo>
                    <a:pt x="5917" y="270"/>
                  </a:lnTo>
                  <a:lnTo>
                    <a:pt x="6019" y="267"/>
                  </a:lnTo>
                  <a:lnTo>
                    <a:pt x="6127" y="259"/>
                  </a:lnTo>
                  <a:lnTo>
                    <a:pt x="6237" y="251"/>
                  </a:lnTo>
                  <a:lnTo>
                    <a:pt x="6348" y="241"/>
                  </a:lnTo>
                  <a:lnTo>
                    <a:pt x="6563" y="217"/>
                  </a:lnTo>
                  <a:lnTo>
                    <a:pt x="6756" y="191"/>
                  </a:lnTo>
                  <a:lnTo>
                    <a:pt x="6911" y="167"/>
                  </a:lnTo>
                  <a:lnTo>
                    <a:pt x="7013" y="148"/>
                  </a:lnTo>
                  <a:lnTo>
                    <a:pt x="7175" y="116"/>
                  </a:lnTo>
                  <a:lnTo>
                    <a:pt x="7364" y="86"/>
                  </a:lnTo>
                  <a:lnTo>
                    <a:pt x="7559" y="59"/>
                  </a:lnTo>
                  <a:lnTo>
                    <a:pt x="7736" y="37"/>
                  </a:lnTo>
                  <a:lnTo>
                    <a:pt x="7791" y="32"/>
                  </a:lnTo>
                  <a:lnTo>
                    <a:pt x="7853" y="30"/>
                  </a:lnTo>
                  <a:lnTo>
                    <a:pt x="7989" y="29"/>
                  </a:lnTo>
                  <a:lnTo>
                    <a:pt x="8061" y="31"/>
                  </a:lnTo>
                  <a:lnTo>
                    <a:pt x="8138" y="35"/>
                  </a:lnTo>
                  <a:lnTo>
                    <a:pt x="8216" y="41"/>
                  </a:lnTo>
                  <a:lnTo>
                    <a:pt x="8296" y="48"/>
                  </a:lnTo>
                  <a:lnTo>
                    <a:pt x="8378" y="57"/>
                  </a:lnTo>
                  <a:lnTo>
                    <a:pt x="8458" y="68"/>
                  </a:lnTo>
                  <a:lnTo>
                    <a:pt x="8540" y="80"/>
                  </a:lnTo>
                  <a:lnTo>
                    <a:pt x="8621" y="95"/>
                  </a:lnTo>
                  <a:lnTo>
                    <a:pt x="8699" y="110"/>
                  </a:lnTo>
                  <a:lnTo>
                    <a:pt x="8776" y="128"/>
                  </a:lnTo>
                  <a:lnTo>
                    <a:pt x="8850" y="148"/>
                  </a:lnTo>
                  <a:lnTo>
                    <a:pt x="8921" y="168"/>
                  </a:lnTo>
                  <a:lnTo>
                    <a:pt x="8994" y="187"/>
                  </a:lnTo>
                  <a:lnTo>
                    <a:pt x="9035" y="195"/>
                  </a:lnTo>
                  <a:lnTo>
                    <a:pt x="9078" y="202"/>
                  </a:lnTo>
                  <a:lnTo>
                    <a:pt x="9169" y="213"/>
                  </a:lnTo>
                  <a:lnTo>
                    <a:pt x="9266" y="220"/>
                  </a:lnTo>
                  <a:lnTo>
                    <a:pt x="9368" y="223"/>
                  </a:lnTo>
                  <a:lnTo>
                    <a:pt x="9473" y="226"/>
                  </a:lnTo>
                  <a:lnTo>
                    <a:pt x="9686" y="223"/>
                  </a:lnTo>
                  <a:lnTo>
                    <a:pt x="9892" y="219"/>
                  </a:lnTo>
                  <a:lnTo>
                    <a:pt x="10078" y="214"/>
                  </a:lnTo>
                  <a:lnTo>
                    <a:pt x="10229" y="214"/>
                  </a:lnTo>
                  <a:lnTo>
                    <a:pt x="10261" y="215"/>
                  </a:lnTo>
                  <a:lnTo>
                    <a:pt x="10290" y="217"/>
                  </a:lnTo>
                  <a:lnTo>
                    <a:pt x="10335" y="223"/>
                  </a:lnTo>
                  <a:lnTo>
                    <a:pt x="10375" y="228"/>
                  </a:lnTo>
                  <a:lnTo>
                    <a:pt x="10412" y="228"/>
                  </a:lnTo>
                  <a:lnTo>
                    <a:pt x="10451" y="223"/>
                  </a:lnTo>
                  <a:lnTo>
                    <a:pt x="10487" y="215"/>
                  </a:lnTo>
                  <a:lnTo>
                    <a:pt x="10524" y="203"/>
                  </a:lnTo>
                  <a:lnTo>
                    <a:pt x="10560" y="189"/>
                  </a:lnTo>
                  <a:lnTo>
                    <a:pt x="10633" y="154"/>
                  </a:lnTo>
                  <a:lnTo>
                    <a:pt x="10706" y="114"/>
                  </a:lnTo>
                  <a:lnTo>
                    <a:pt x="10781" y="74"/>
                  </a:lnTo>
                  <a:lnTo>
                    <a:pt x="10818" y="56"/>
                  </a:lnTo>
                  <a:lnTo>
                    <a:pt x="10857" y="39"/>
                  </a:lnTo>
                  <a:lnTo>
                    <a:pt x="10896" y="24"/>
                  </a:lnTo>
                  <a:lnTo>
                    <a:pt x="10937" y="13"/>
                  </a:lnTo>
                  <a:lnTo>
                    <a:pt x="10961" y="8"/>
                  </a:lnTo>
                  <a:lnTo>
                    <a:pt x="10989" y="5"/>
                  </a:lnTo>
                  <a:lnTo>
                    <a:pt x="11058" y="0"/>
                  </a:lnTo>
                  <a:lnTo>
                    <a:pt x="11142" y="0"/>
                  </a:lnTo>
                  <a:lnTo>
                    <a:pt x="11240" y="1"/>
                  </a:lnTo>
                  <a:lnTo>
                    <a:pt x="11466" y="12"/>
                  </a:lnTo>
                  <a:lnTo>
                    <a:pt x="11721" y="27"/>
                  </a:lnTo>
                  <a:lnTo>
                    <a:pt x="11986" y="44"/>
                  </a:lnTo>
                  <a:lnTo>
                    <a:pt x="12244" y="59"/>
                  </a:lnTo>
                  <a:lnTo>
                    <a:pt x="12365" y="62"/>
                  </a:lnTo>
                  <a:lnTo>
                    <a:pt x="12478" y="65"/>
                  </a:lnTo>
                  <a:lnTo>
                    <a:pt x="12581" y="64"/>
                  </a:lnTo>
                  <a:lnTo>
                    <a:pt x="12671" y="59"/>
                  </a:lnTo>
                  <a:lnTo>
                    <a:pt x="12785" y="50"/>
                  </a:lnTo>
                  <a:lnTo>
                    <a:pt x="12943" y="42"/>
                  </a:lnTo>
                  <a:lnTo>
                    <a:pt x="13142" y="33"/>
                  </a:lnTo>
                  <a:lnTo>
                    <a:pt x="13375" y="26"/>
                  </a:lnTo>
                  <a:lnTo>
                    <a:pt x="13642" y="21"/>
                  </a:lnTo>
                  <a:lnTo>
                    <a:pt x="13935" y="20"/>
                  </a:lnTo>
                  <a:lnTo>
                    <a:pt x="14252" y="23"/>
                  </a:lnTo>
                  <a:lnTo>
                    <a:pt x="14418" y="26"/>
                  </a:lnTo>
                  <a:lnTo>
                    <a:pt x="14588" y="32"/>
                  </a:lnTo>
                  <a:lnTo>
                    <a:pt x="14761" y="39"/>
                  </a:lnTo>
                  <a:lnTo>
                    <a:pt x="14939" y="48"/>
                  </a:lnTo>
                  <a:lnTo>
                    <a:pt x="15119" y="60"/>
                  </a:lnTo>
                  <a:lnTo>
                    <a:pt x="15301" y="72"/>
                  </a:lnTo>
                  <a:lnTo>
                    <a:pt x="15485" y="88"/>
                  </a:lnTo>
                  <a:lnTo>
                    <a:pt x="15669" y="106"/>
                  </a:lnTo>
                  <a:lnTo>
                    <a:pt x="15855" y="126"/>
                  </a:lnTo>
                  <a:lnTo>
                    <a:pt x="16041" y="150"/>
                  </a:lnTo>
                  <a:lnTo>
                    <a:pt x="16225" y="175"/>
                  </a:lnTo>
                  <a:lnTo>
                    <a:pt x="16411" y="204"/>
                  </a:lnTo>
                  <a:lnTo>
                    <a:pt x="16593" y="237"/>
                  </a:lnTo>
                  <a:lnTo>
                    <a:pt x="16774" y="273"/>
                  </a:lnTo>
                  <a:lnTo>
                    <a:pt x="16953" y="311"/>
                  </a:lnTo>
                  <a:lnTo>
                    <a:pt x="17127" y="353"/>
                  </a:lnTo>
                  <a:lnTo>
                    <a:pt x="17299" y="400"/>
                  </a:lnTo>
                  <a:lnTo>
                    <a:pt x="17384" y="424"/>
                  </a:lnTo>
                  <a:lnTo>
                    <a:pt x="17467" y="449"/>
                  </a:lnTo>
                  <a:lnTo>
                    <a:pt x="17467" y="457"/>
                  </a:lnTo>
                  <a:lnTo>
                    <a:pt x="17461" y="464"/>
                  </a:lnTo>
                  <a:lnTo>
                    <a:pt x="17449" y="470"/>
                  </a:lnTo>
                  <a:lnTo>
                    <a:pt x="17433" y="475"/>
                  </a:lnTo>
                  <a:lnTo>
                    <a:pt x="17411" y="481"/>
                  </a:lnTo>
                  <a:lnTo>
                    <a:pt x="17385" y="485"/>
                  </a:lnTo>
                  <a:lnTo>
                    <a:pt x="17317" y="493"/>
                  </a:lnTo>
                  <a:lnTo>
                    <a:pt x="17234" y="500"/>
                  </a:lnTo>
                  <a:lnTo>
                    <a:pt x="17134" y="505"/>
                  </a:lnTo>
                  <a:lnTo>
                    <a:pt x="16892" y="511"/>
                  </a:lnTo>
                  <a:lnTo>
                    <a:pt x="16606" y="512"/>
                  </a:lnTo>
                  <a:lnTo>
                    <a:pt x="16283" y="508"/>
                  </a:lnTo>
                  <a:lnTo>
                    <a:pt x="15938" y="501"/>
                  </a:lnTo>
                  <a:lnTo>
                    <a:pt x="15579" y="493"/>
                  </a:lnTo>
                  <a:lnTo>
                    <a:pt x="14873" y="470"/>
                  </a:lnTo>
                  <a:lnTo>
                    <a:pt x="14256" y="445"/>
                  </a:lnTo>
                  <a:lnTo>
                    <a:pt x="13652" y="418"/>
                  </a:lnTo>
                  <a:lnTo>
                    <a:pt x="13043" y="430"/>
                  </a:lnTo>
                  <a:lnTo>
                    <a:pt x="12435" y="443"/>
                  </a:lnTo>
                  <a:lnTo>
                    <a:pt x="11826" y="457"/>
                  </a:lnTo>
                  <a:lnTo>
                    <a:pt x="11218" y="470"/>
                  </a:lnTo>
                  <a:lnTo>
                    <a:pt x="10558" y="469"/>
                  </a:lnTo>
                  <a:lnTo>
                    <a:pt x="9898" y="467"/>
                  </a:lnTo>
                  <a:lnTo>
                    <a:pt x="9238" y="466"/>
                  </a:lnTo>
                  <a:lnTo>
                    <a:pt x="8579" y="466"/>
                  </a:lnTo>
                  <a:lnTo>
                    <a:pt x="7919" y="465"/>
                  </a:lnTo>
                  <a:lnTo>
                    <a:pt x="7259" y="465"/>
                  </a:lnTo>
                  <a:lnTo>
                    <a:pt x="6599" y="464"/>
                  </a:lnTo>
                  <a:lnTo>
                    <a:pt x="5941" y="464"/>
                  </a:lnTo>
                  <a:lnTo>
                    <a:pt x="5198" y="464"/>
                  </a:lnTo>
                  <a:lnTo>
                    <a:pt x="4455" y="464"/>
                  </a:lnTo>
                  <a:lnTo>
                    <a:pt x="3712" y="464"/>
                  </a:lnTo>
                  <a:lnTo>
                    <a:pt x="2970" y="464"/>
                  </a:lnTo>
                  <a:lnTo>
                    <a:pt x="2227" y="464"/>
                  </a:lnTo>
                  <a:lnTo>
                    <a:pt x="1485" y="464"/>
                  </a:lnTo>
                  <a:lnTo>
                    <a:pt x="742" y="464"/>
                  </a:lnTo>
                  <a:lnTo>
                    <a:pt x="0" y="46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6" name="Freeform 59"/>
            <p:cNvSpPr>
              <a:spLocks/>
            </p:cNvSpPr>
            <p:nvPr userDrawn="1"/>
          </p:nvSpPr>
          <p:spPr bwMode="auto">
            <a:xfrm>
              <a:off x="2671763" y="6500813"/>
              <a:ext cx="3795713" cy="109538"/>
            </a:xfrm>
            <a:custGeom>
              <a:avLst/>
              <a:gdLst/>
              <a:ahLst/>
              <a:cxnLst>
                <a:cxn ang="0">
                  <a:pos x="89" y="316"/>
                </a:cxn>
                <a:cxn ang="0">
                  <a:pos x="650" y="273"/>
                </a:cxn>
                <a:cxn ang="0">
                  <a:pos x="1233" y="235"/>
                </a:cxn>
                <a:cxn ang="0">
                  <a:pos x="1339" y="232"/>
                </a:cxn>
                <a:cxn ang="0">
                  <a:pos x="1430" y="232"/>
                </a:cxn>
                <a:cxn ang="0">
                  <a:pos x="1872" y="203"/>
                </a:cxn>
                <a:cxn ang="0">
                  <a:pos x="2350" y="173"/>
                </a:cxn>
                <a:cxn ang="0">
                  <a:pos x="2469" y="170"/>
                </a:cxn>
                <a:cxn ang="0">
                  <a:pos x="2563" y="167"/>
                </a:cxn>
                <a:cxn ang="0">
                  <a:pos x="2683" y="151"/>
                </a:cxn>
                <a:cxn ang="0">
                  <a:pos x="2787" y="126"/>
                </a:cxn>
                <a:cxn ang="0">
                  <a:pos x="2923" y="89"/>
                </a:cxn>
                <a:cxn ang="0">
                  <a:pos x="3085" y="60"/>
                </a:cxn>
                <a:cxn ang="0">
                  <a:pos x="3388" y="30"/>
                </a:cxn>
                <a:cxn ang="0">
                  <a:pos x="3543" y="25"/>
                </a:cxn>
                <a:cxn ang="0">
                  <a:pos x="3628" y="33"/>
                </a:cxn>
                <a:cxn ang="0">
                  <a:pos x="3819" y="86"/>
                </a:cxn>
                <a:cxn ang="0">
                  <a:pos x="3991" y="131"/>
                </a:cxn>
                <a:cxn ang="0">
                  <a:pos x="4195" y="169"/>
                </a:cxn>
                <a:cxn ang="0">
                  <a:pos x="4296" y="177"/>
                </a:cxn>
                <a:cxn ang="0">
                  <a:pos x="4384" y="176"/>
                </a:cxn>
                <a:cxn ang="0">
                  <a:pos x="4530" y="154"/>
                </a:cxn>
                <a:cxn ang="0">
                  <a:pos x="4691" y="114"/>
                </a:cxn>
                <a:cxn ang="0">
                  <a:pos x="4784" y="108"/>
                </a:cxn>
                <a:cxn ang="0">
                  <a:pos x="4934" y="94"/>
                </a:cxn>
                <a:cxn ang="0">
                  <a:pos x="5055" y="83"/>
                </a:cxn>
                <a:cxn ang="0">
                  <a:pos x="5086" y="84"/>
                </a:cxn>
                <a:cxn ang="0">
                  <a:pos x="5099" y="72"/>
                </a:cxn>
                <a:cxn ang="0">
                  <a:pos x="5121" y="40"/>
                </a:cxn>
                <a:cxn ang="0">
                  <a:pos x="5144" y="23"/>
                </a:cxn>
                <a:cxn ang="0">
                  <a:pos x="5210" y="4"/>
                </a:cxn>
                <a:cxn ang="0">
                  <a:pos x="5329" y="0"/>
                </a:cxn>
                <a:cxn ang="0">
                  <a:pos x="5945" y="39"/>
                </a:cxn>
                <a:cxn ang="0">
                  <a:pos x="6390" y="68"/>
                </a:cxn>
                <a:cxn ang="0">
                  <a:pos x="6867" y="88"/>
                </a:cxn>
                <a:cxn ang="0">
                  <a:pos x="7097" y="90"/>
                </a:cxn>
                <a:cxn ang="0">
                  <a:pos x="7164" y="82"/>
                </a:cxn>
                <a:cxn ang="0">
                  <a:pos x="7245" y="63"/>
                </a:cxn>
                <a:cxn ang="0">
                  <a:pos x="7334" y="31"/>
                </a:cxn>
                <a:cxn ang="0">
                  <a:pos x="7404" y="16"/>
                </a:cxn>
                <a:cxn ang="0">
                  <a:pos x="7458" y="13"/>
                </a:cxn>
                <a:cxn ang="0">
                  <a:pos x="7621" y="27"/>
                </a:cxn>
                <a:cxn ang="0">
                  <a:pos x="7877" y="39"/>
                </a:cxn>
                <a:cxn ang="0">
                  <a:pos x="8118" y="41"/>
                </a:cxn>
                <a:cxn ang="0">
                  <a:pos x="8450" y="30"/>
                </a:cxn>
                <a:cxn ang="0">
                  <a:pos x="8829" y="10"/>
                </a:cxn>
                <a:cxn ang="0">
                  <a:pos x="9057" y="3"/>
                </a:cxn>
                <a:cxn ang="0">
                  <a:pos x="9828" y="88"/>
                </a:cxn>
                <a:cxn ang="0">
                  <a:pos x="11244" y="257"/>
                </a:cxn>
                <a:cxn ang="0">
                  <a:pos x="11199" y="342"/>
                </a:cxn>
                <a:cxn ang="0">
                  <a:pos x="9691" y="339"/>
                </a:cxn>
                <a:cxn ang="0">
                  <a:pos x="8185" y="338"/>
                </a:cxn>
                <a:cxn ang="0">
                  <a:pos x="6679" y="336"/>
                </a:cxn>
                <a:cxn ang="0">
                  <a:pos x="5411" y="334"/>
                </a:cxn>
                <a:cxn ang="0">
                  <a:pos x="4383" y="332"/>
                </a:cxn>
                <a:cxn ang="0">
                  <a:pos x="3353" y="331"/>
                </a:cxn>
                <a:cxn ang="0">
                  <a:pos x="2325" y="328"/>
                </a:cxn>
                <a:cxn ang="0">
                  <a:pos x="1143" y="326"/>
                </a:cxn>
                <a:cxn ang="0">
                  <a:pos x="0" y="322"/>
                </a:cxn>
              </a:cxnLst>
              <a:rect l="0" t="0" r="r" b="b"/>
              <a:pathLst>
                <a:path w="11952" h="343">
                  <a:moveTo>
                    <a:pt x="0" y="322"/>
                  </a:moveTo>
                  <a:lnTo>
                    <a:pt x="89" y="316"/>
                  </a:lnTo>
                  <a:lnTo>
                    <a:pt x="241" y="306"/>
                  </a:lnTo>
                  <a:lnTo>
                    <a:pt x="650" y="273"/>
                  </a:lnTo>
                  <a:lnTo>
                    <a:pt x="1070" y="243"/>
                  </a:lnTo>
                  <a:lnTo>
                    <a:pt x="1233" y="235"/>
                  </a:lnTo>
                  <a:lnTo>
                    <a:pt x="1294" y="232"/>
                  </a:lnTo>
                  <a:lnTo>
                    <a:pt x="1339" y="232"/>
                  </a:lnTo>
                  <a:lnTo>
                    <a:pt x="1380" y="233"/>
                  </a:lnTo>
                  <a:lnTo>
                    <a:pt x="1430" y="232"/>
                  </a:lnTo>
                  <a:lnTo>
                    <a:pt x="1556" y="226"/>
                  </a:lnTo>
                  <a:lnTo>
                    <a:pt x="1872" y="203"/>
                  </a:lnTo>
                  <a:lnTo>
                    <a:pt x="2205" y="181"/>
                  </a:lnTo>
                  <a:lnTo>
                    <a:pt x="2350" y="173"/>
                  </a:lnTo>
                  <a:lnTo>
                    <a:pt x="2414" y="171"/>
                  </a:lnTo>
                  <a:lnTo>
                    <a:pt x="2469" y="170"/>
                  </a:lnTo>
                  <a:lnTo>
                    <a:pt x="2519" y="170"/>
                  </a:lnTo>
                  <a:lnTo>
                    <a:pt x="2563" y="167"/>
                  </a:lnTo>
                  <a:lnTo>
                    <a:pt x="2645" y="157"/>
                  </a:lnTo>
                  <a:lnTo>
                    <a:pt x="2683" y="151"/>
                  </a:lnTo>
                  <a:lnTo>
                    <a:pt x="2719" y="143"/>
                  </a:lnTo>
                  <a:lnTo>
                    <a:pt x="2787" y="126"/>
                  </a:lnTo>
                  <a:lnTo>
                    <a:pt x="2854" y="107"/>
                  </a:lnTo>
                  <a:lnTo>
                    <a:pt x="2923" y="89"/>
                  </a:lnTo>
                  <a:lnTo>
                    <a:pt x="2999" y="74"/>
                  </a:lnTo>
                  <a:lnTo>
                    <a:pt x="3085" y="60"/>
                  </a:lnTo>
                  <a:lnTo>
                    <a:pt x="3252" y="42"/>
                  </a:lnTo>
                  <a:lnTo>
                    <a:pt x="3388" y="30"/>
                  </a:lnTo>
                  <a:lnTo>
                    <a:pt x="3498" y="25"/>
                  </a:lnTo>
                  <a:lnTo>
                    <a:pt x="3543" y="25"/>
                  </a:lnTo>
                  <a:lnTo>
                    <a:pt x="3584" y="27"/>
                  </a:lnTo>
                  <a:lnTo>
                    <a:pt x="3628" y="33"/>
                  </a:lnTo>
                  <a:lnTo>
                    <a:pt x="3682" y="46"/>
                  </a:lnTo>
                  <a:lnTo>
                    <a:pt x="3819" y="86"/>
                  </a:lnTo>
                  <a:lnTo>
                    <a:pt x="3901" y="108"/>
                  </a:lnTo>
                  <a:lnTo>
                    <a:pt x="3991" y="131"/>
                  </a:lnTo>
                  <a:lnTo>
                    <a:pt x="4090" y="152"/>
                  </a:lnTo>
                  <a:lnTo>
                    <a:pt x="4195" y="169"/>
                  </a:lnTo>
                  <a:lnTo>
                    <a:pt x="4247" y="175"/>
                  </a:lnTo>
                  <a:lnTo>
                    <a:pt x="4296" y="177"/>
                  </a:lnTo>
                  <a:lnTo>
                    <a:pt x="4342" y="177"/>
                  </a:lnTo>
                  <a:lnTo>
                    <a:pt x="4384" y="176"/>
                  </a:lnTo>
                  <a:lnTo>
                    <a:pt x="4461" y="167"/>
                  </a:lnTo>
                  <a:lnTo>
                    <a:pt x="4530" y="154"/>
                  </a:lnTo>
                  <a:lnTo>
                    <a:pt x="4643" y="125"/>
                  </a:lnTo>
                  <a:lnTo>
                    <a:pt x="4691" y="114"/>
                  </a:lnTo>
                  <a:lnTo>
                    <a:pt x="4737" y="111"/>
                  </a:lnTo>
                  <a:lnTo>
                    <a:pt x="4784" y="108"/>
                  </a:lnTo>
                  <a:lnTo>
                    <a:pt x="4833" y="105"/>
                  </a:lnTo>
                  <a:lnTo>
                    <a:pt x="4934" y="94"/>
                  </a:lnTo>
                  <a:lnTo>
                    <a:pt x="5021" y="84"/>
                  </a:lnTo>
                  <a:lnTo>
                    <a:pt x="5055" y="83"/>
                  </a:lnTo>
                  <a:lnTo>
                    <a:pt x="5079" y="83"/>
                  </a:lnTo>
                  <a:lnTo>
                    <a:pt x="5086" y="84"/>
                  </a:lnTo>
                  <a:lnTo>
                    <a:pt x="5092" y="82"/>
                  </a:lnTo>
                  <a:lnTo>
                    <a:pt x="5099" y="72"/>
                  </a:lnTo>
                  <a:lnTo>
                    <a:pt x="5107" y="57"/>
                  </a:lnTo>
                  <a:lnTo>
                    <a:pt x="5121" y="40"/>
                  </a:lnTo>
                  <a:lnTo>
                    <a:pt x="5130" y="31"/>
                  </a:lnTo>
                  <a:lnTo>
                    <a:pt x="5144" y="23"/>
                  </a:lnTo>
                  <a:lnTo>
                    <a:pt x="5182" y="10"/>
                  </a:lnTo>
                  <a:lnTo>
                    <a:pt x="5210" y="4"/>
                  </a:lnTo>
                  <a:lnTo>
                    <a:pt x="5242" y="1"/>
                  </a:lnTo>
                  <a:lnTo>
                    <a:pt x="5329" y="0"/>
                  </a:lnTo>
                  <a:lnTo>
                    <a:pt x="5604" y="17"/>
                  </a:lnTo>
                  <a:lnTo>
                    <a:pt x="5945" y="39"/>
                  </a:lnTo>
                  <a:lnTo>
                    <a:pt x="6244" y="59"/>
                  </a:lnTo>
                  <a:lnTo>
                    <a:pt x="6390" y="68"/>
                  </a:lnTo>
                  <a:lnTo>
                    <a:pt x="6657" y="80"/>
                  </a:lnTo>
                  <a:lnTo>
                    <a:pt x="6867" y="88"/>
                  </a:lnTo>
                  <a:lnTo>
                    <a:pt x="7058" y="92"/>
                  </a:lnTo>
                  <a:lnTo>
                    <a:pt x="7097" y="90"/>
                  </a:lnTo>
                  <a:lnTo>
                    <a:pt x="7133" y="87"/>
                  </a:lnTo>
                  <a:lnTo>
                    <a:pt x="7164" y="82"/>
                  </a:lnTo>
                  <a:lnTo>
                    <a:pt x="7193" y="77"/>
                  </a:lnTo>
                  <a:lnTo>
                    <a:pt x="7245" y="63"/>
                  </a:lnTo>
                  <a:lnTo>
                    <a:pt x="7290" y="47"/>
                  </a:lnTo>
                  <a:lnTo>
                    <a:pt x="7334" y="31"/>
                  </a:lnTo>
                  <a:lnTo>
                    <a:pt x="7378" y="19"/>
                  </a:lnTo>
                  <a:lnTo>
                    <a:pt x="7404" y="16"/>
                  </a:lnTo>
                  <a:lnTo>
                    <a:pt x="7430" y="13"/>
                  </a:lnTo>
                  <a:lnTo>
                    <a:pt x="7458" y="13"/>
                  </a:lnTo>
                  <a:lnTo>
                    <a:pt x="7490" y="16"/>
                  </a:lnTo>
                  <a:lnTo>
                    <a:pt x="7621" y="27"/>
                  </a:lnTo>
                  <a:lnTo>
                    <a:pt x="7750" y="35"/>
                  </a:lnTo>
                  <a:lnTo>
                    <a:pt x="7877" y="39"/>
                  </a:lnTo>
                  <a:lnTo>
                    <a:pt x="8000" y="41"/>
                  </a:lnTo>
                  <a:lnTo>
                    <a:pt x="8118" y="41"/>
                  </a:lnTo>
                  <a:lnTo>
                    <a:pt x="8233" y="39"/>
                  </a:lnTo>
                  <a:lnTo>
                    <a:pt x="8450" y="30"/>
                  </a:lnTo>
                  <a:lnTo>
                    <a:pt x="8650" y="19"/>
                  </a:lnTo>
                  <a:lnTo>
                    <a:pt x="8829" y="10"/>
                  </a:lnTo>
                  <a:lnTo>
                    <a:pt x="8986" y="3"/>
                  </a:lnTo>
                  <a:lnTo>
                    <a:pt x="9057" y="3"/>
                  </a:lnTo>
                  <a:lnTo>
                    <a:pt x="9120" y="4"/>
                  </a:lnTo>
                  <a:lnTo>
                    <a:pt x="9828" y="88"/>
                  </a:lnTo>
                  <a:lnTo>
                    <a:pt x="10536" y="173"/>
                  </a:lnTo>
                  <a:lnTo>
                    <a:pt x="11244" y="257"/>
                  </a:lnTo>
                  <a:lnTo>
                    <a:pt x="11952" y="343"/>
                  </a:lnTo>
                  <a:lnTo>
                    <a:pt x="11199" y="342"/>
                  </a:lnTo>
                  <a:lnTo>
                    <a:pt x="10445" y="340"/>
                  </a:lnTo>
                  <a:lnTo>
                    <a:pt x="9691" y="339"/>
                  </a:lnTo>
                  <a:lnTo>
                    <a:pt x="8939" y="339"/>
                  </a:lnTo>
                  <a:lnTo>
                    <a:pt x="8185" y="338"/>
                  </a:lnTo>
                  <a:lnTo>
                    <a:pt x="7432" y="337"/>
                  </a:lnTo>
                  <a:lnTo>
                    <a:pt x="6679" y="336"/>
                  </a:lnTo>
                  <a:lnTo>
                    <a:pt x="5926" y="336"/>
                  </a:lnTo>
                  <a:lnTo>
                    <a:pt x="5411" y="334"/>
                  </a:lnTo>
                  <a:lnTo>
                    <a:pt x="4897" y="333"/>
                  </a:lnTo>
                  <a:lnTo>
                    <a:pt x="4383" y="332"/>
                  </a:lnTo>
                  <a:lnTo>
                    <a:pt x="3869" y="332"/>
                  </a:lnTo>
                  <a:lnTo>
                    <a:pt x="3353" y="331"/>
                  </a:lnTo>
                  <a:lnTo>
                    <a:pt x="2839" y="330"/>
                  </a:lnTo>
                  <a:lnTo>
                    <a:pt x="2325" y="328"/>
                  </a:lnTo>
                  <a:lnTo>
                    <a:pt x="1811" y="328"/>
                  </a:lnTo>
                  <a:lnTo>
                    <a:pt x="1143" y="326"/>
                  </a:lnTo>
                  <a:lnTo>
                    <a:pt x="476" y="325"/>
                  </a:lnTo>
                  <a:lnTo>
                    <a:pt x="0" y="3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7" name="Freeform 60"/>
            <p:cNvSpPr>
              <a:spLocks/>
            </p:cNvSpPr>
            <p:nvPr userDrawn="1"/>
          </p:nvSpPr>
          <p:spPr bwMode="auto">
            <a:xfrm>
              <a:off x="2855913" y="6235701"/>
              <a:ext cx="196850" cy="284163"/>
            </a:xfrm>
            <a:custGeom>
              <a:avLst/>
              <a:gdLst/>
              <a:ahLst/>
              <a:cxnLst>
                <a:cxn ang="0">
                  <a:pos x="336" y="75"/>
                </a:cxn>
                <a:cxn ang="0">
                  <a:pos x="372" y="134"/>
                </a:cxn>
                <a:cxn ang="0">
                  <a:pos x="412" y="165"/>
                </a:cxn>
                <a:cxn ang="0">
                  <a:pos x="391" y="195"/>
                </a:cxn>
                <a:cxn ang="0">
                  <a:pos x="426" y="262"/>
                </a:cxn>
                <a:cxn ang="0">
                  <a:pos x="454" y="326"/>
                </a:cxn>
                <a:cxn ang="0">
                  <a:pos x="448" y="345"/>
                </a:cxn>
                <a:cxn ang="0">
                  <a:pos x="514" y="387"/>
                </a:cxn>
                <a:cxn ang="0">
                  <a:pos x="491" y="405"/>
                </a:cxn>
                <a:cxn ang="0">
                  <a:pos x="518" y="419"/>
                </a:cxn>
                <a:cxn ang="0">
                  <a:pos x="490" y="433"/>
                </a:cxn>
                <a:cxn ang="0">
                  <a:pos x="477" y="450"/>
                </a:cxn>
                <a:cxn ang="0">
                  <a:pos x="534" y="466"/>
                </a:cxn>
                <a:cxn ang="0">
                  <a:pos x="540" y="479"/>
                </a:cxn>
                <a:cxn ang="0">
                  <a:pos x="563" y="506"/>
                </a:cxn>
                <a:cxn ang="0">
                  <a:pos x="533" y="530"/>
                </a:cxn>
                <a:cxn ang="0">
                  <a:pos x="518" y="554"/>
                </a:cxn>
                <a:cxn ang="0">
                  <a:pos x="480" y="564"/>
                </a:cxn>
                <a:cxn ang="0">
                  <a:pos x="454" y="565"/>
                </a:cxn>
                <a:cxn ang="0">
                  <a:pos x="467" y="587"/>
                </a:cxn>
                <a:cxn ang="0">
                  <a:pos x="525" y="601"/>
                </a:cxn>
                <a:cxn ang="0">
                  <a:pos x="558" y="621"/>
                </a:cxn>
                <a:cxn ang="0">
                  <a:pos x="561" y="652"/>
                </a:cxn>
                <a:cxn ang="0">
                  <a:pos x="567" y="666"/>
                </a:cxn>
                <a:cxn ang="0">
                  <a:pos x="554" y="682"/>
                </a:cxn>
                <a:cxn ang="0">
                  <a:pos x="598" y="698"/>
                </a:cxn>
                <a:cxn ang="0">
                  <a:pos x="581" y="732"/>
                </a:cxn>
                <a:cxn ang="0">
                  <a:pos x="542" y="734"/>
                </a:cxn>
                <a:cxn ang="0">
                  <a:pos x="507" y="781"/>
                </a:cxn>
                <a:cxn ang="0">
                  <a:pos x="456" y="806"/>
                </a:cxn>
                <a:cxn ang="0">
                  <a:pos x="373" y="813"/>
                </a:cxn>
                <a:cxn ang="0">
                  <a:pos x="282" y="824"/>
                </a:cxn>
                <a:cxn ang="0">
                  <a:pos x="189" y="827"/>
                </a:cxn>
                <a:cxn ang="0">
                  <a:pos x="129" y="865"/>
                </a:cxn>
                <a:cxn ang="0">
                  <a:pos x="47" y="807"/>
                </a:cxn>
                <a:cxn ang="0">
                  <a:pos x="64" y="758"/>
                </a:cxn>
                <a:cxn ang="0">
                  <a:pos x="41" y="701"/>
                </a:cxn>
                <a:cxn ang="0">
                  <a:pos x="114" y="706"/>
                </a:cxn>
                <a:cxn ang="0">
                  <a:pos x="97" y="668"/>
                </a:cxn>
                <a:cxn ang="0">
                  <a:pos x="56" y="647"/>
                </a:cxn>
                <a:cxn ang="0">
                  <a:pos x="79" y="606"/>
                </a:cxn>
                <a:cxn ang="0">
                  <a:pos x="95" y="588"/>
                </a:cxn>
                <a:cxn ang="0">
                  <a:pos x="153" y="568"/>
                </a:cxn>
                <a:cxn ang="0">
                  <a:pos x="126" y="541"/>
                </a:cxn>
                <a:cxn ang="0">
                  <a:pos x="105" y="521"/>
                </a:cxn>
                <a:cxn ang="0">
                  <a:pos x="48" y="511"/>
                </a:cxn>
                <a:cxn ang="0">
                  <a:pos x="77" y="464"/>
                </a:cxn>
                <a:cxn ang="0">
                  <a:pos x="90" y="422"/>
                </a:cxn>
                <a:cxn ang="0">
                  <a:pos x="154" y="390"/>
                </a:cxn>
                <a:cxn ang="0">
                  <a:pos x="117" y="385"/>
                </a:cxn>
                <a:cxn ang="0">
                  <a:pos x="151" y="337"/>
                </a:cxn>
                <a:cxn ang="0">
                  <a:pos x="155" y="332"/>
                </a:cxn>
                <a:cxn ang="0">
                  <a:pos x="238" y="289"/>
                </a:cxn>
                <a:cxn ang="0">
                  <a:pos x="196" y="261"/>
                </a:cxn>
                <a:cxn ang="0">
                  <a:pos x="196" y="178"/>
                </a:cxn>
                <a:cxn ang="0">
                  <a:pos x="230" y="167"/>
                </a:cxn>
                <a:cxn ang="0">
                  <a:pos x="202" y="125"/>
                </a:cxn>
                <a:cxn ang="0">
                  <a:pos x="266" y="113"/>
                </a:cxn>
                <a:cxn ang="0">
                  <a:pos x="243" y="80"/>
                </a:cxn>
                <a:cxn ang="0">
                  <a:pos x="268" y="83"/>
                </a:cxn>
                <a:cxn ang="0">
                  <a:pos x="259" y="64"/>
                </a:cxn>
                <a:cxn ang="0">
                  <a:pos x="285" y="30"/>
                </a:cxn>
                <a:cxn ang="0">
                  <a:pos x="294" y="30"/>
                </a:cxn>
              </a:cxnLst>
              <a:rect l="0" t="0" r="r" b="b"/>
              <a:pathLst>
                <a:path w="622" h="896">
                  <a:moveTo>
                    <a:pt x="310" y="15"/>
                  </a:moveTo>
                  <a:lnTo>
                    <a:pt x="313" y="10"/>
                  </a:lnTo>
                  <a:lnTo>
                    <a:pt x="316" y="0"/>
                  </a:lnTo>
                  <a:lnTo>
                    <a:pt x="315" y="5"/>
                  </a:lnTo>
                  <a:lnTo>
                    <a:pt x="314" y="10"/>
                  </a:lnTo>
                  <a:lnTo>
                    <a:pt x="310" y="15"/>
                  </a:lnTo>
                  <a:lnTo>
                    <a:pt x="310" y="17"/>
                  </a:lnTo>
                  <a:lnTo>
                    <a:pt x="314" y="12"/>
                  </a:lnTo>
                  <a:lnTo>
                    <a:pt x="315" y="12"/>
                  </a:lnTo>
                  <a:lnTo>
                    <a:pt x="313" y="17"/>
                  </a:lnTo>
                  <a:lnTo>
                    <a:pt x="313" y="18"/>
                  </a:lnTo>
                  <a:lnTo>
                    <a:pt x="321" y="15"/>
                  </a:lnTo>
                  <a:lnTo>
                    <a:pt x="310" y="21"/>
                  </a:lnTo>
                  <a:lnTo>
                    <a:pt x="312" y="22"/>
                  </a:lnTo>
                  <a:lnTo>
                    <a:pt x="312" y="23"/>
                  </a:lnTo>
                  <a:lnTo>
                    <a:pt x="315" y="20"/>
                  </a:lnTo>
                  <a:lnTo>
                    <a:pt x="316" y="21"/>
                  </a:lnTo>
                  <a:lnTo>
                    <a:pt x="313" y="24"/>
                  </a:lnTo>
                  <a:lnTo>
                    <a:pt x="319" y="24"/>
                  </a:lnTo>
                  <a:lnTo>
                    <a:pt x="319" y="26"/>
                  </a:lnTo>
                  <a:lnTo>
                    <a:pt x="313" y="26"/>
                  </a:lnTo>
                  <a:lnTo>
                    <a:pt x="312" y="27"/>
                  </a:lnTo>
                  <a:lnTo>
                    <a:pt x="312" y="29"/>
                  </a:lnTo>
                  <a:lnTo>
                    <a:pt x="318" y="29"/>
                  </a:lnTo>
                  <a:lnTo>
                    <a:pt x="316" y="30"/>
                  </a:lnTo>
                  <a:lnTo>
                    <a:pt x="312" y="30"/>
                  </a:lnTo>
                  <a:lnTo>
                    <a:pt x="315" y="32"/>
                  </a:lnTo>
                  <a:lnTo>
                    <a:pt x="312" y="32"/>
                  </a:lnTo>
                  <a:lnTo>
                    <a:pt x="312" y="33"/>
                  </a:lnTo>
                  <a:lnTo>
                    <a:pt x="314" y="33"/>
                  </a:lnTo>
                  <a:lnTo>
                    <a:pt x="314" y="32"/>
                  </a:lnTo>
                  <a:lnTo>
                    <a:pt x="315" y="33"/>
                  </a:lnTo>
                  <a:lnTo>
                    <a:pt x="316" y="33"/>
                  </a:lnTo>
                  <a:lnTo>
                    <a:pt x="319" y="28"/>
                  </a:lnTo>
                  <a:lnTo>
                    <a:pt x="318" y="33"/>
                  </a:lnTo>
                  <a:lnTo>
                    <a:pt x="319" y="33"/>
                  </a:lnTo>
                  <a:lnTo>
                    <a:pt x="321" y="32"/>
                  </a:lnTo>
                  <a:lnTo>
                    <a:pt x="321" y="33"/>
                  </a:lnTo>
                  <a:lnTo>
                    <a:pt x="320" y="33"/>
                  </a:lnTo>
                  <a:lnTo>
                    <a:pt x="318" y="34"/>
                  </a:lnTo>
                  <a:lnTo>
                    <a:pt x="318" y="35"/>
                  </a:lnTo>
                  <a:lnTo>
                    <a:pt x="320" y="34"/>
                  </a:lnTo>
                  <a:lnTo>
                    <a:pt x="320" y="35"/>
                  </a:lnTo>
                  <a:lnTo>
                    <a:pt x="316" y="36"/>
                  </a:lnTo>
                  <a:lnTo>
                    <a:pt x="318" y="38"/>
                  </a:lnTo>
                  <a:lnTo>
                    <a:pt x="319" y="39"/>
                  </a:lnTo>
                  <a:lnTo>
                    <a:pt x="320" y="36"/>
                  </a:lnTo>
                  <a:lnTo>
                    <a:pt x="326" y="33"/>
                  </a:lnTo>
                  <a:lnTo>
                    <a:pt x="325" y="35"/>
                  </a:lnTo>
                  <a:lnTo>
                    <a:pt x="327" y="36"/>
                  </a:lnTo>
                  <a:lnTo>
                    <a:pt x="330" y="35"/>
                  </a:lnTo>
                  <a:lnTo>
                    <a:pt x="328" y="36"/>
                  </a:lnTo>
                  <a:lnTo>
                    <a:pt x="324" y="38"/>
                  </a:lnTo>
                  <a:lnTo>
                    <a:pt x="322" y="38"/>
                  </a:lnTo>
                  <a:lnTo>
                    <a:pt x="327" y="41"/>
                  </a:lnTo>
                  <a:lnTo>
                    <a:pt x="321" y="39"/>
                  </a:lnTo>
                  <a:lnTo>
                    <a:pt x="322" y="40"/>
                  </a:lnTo>
                  <a:lnTo>
                    <a:pt x="320" y="39"/>
                  </a:lnTo>
                  <a:lnTo>
                    <a:pt x="319" y="40"/>
                  </a:lnTo>
                  <a:lnTo>
                    <a:pt x="318" y="40"/>
                  </a:lnTo>
                  <a:lnTo>
                    <a:pt x="319" y="42"/>
                  </a:lnTo>
                  <a:lnTo>
                    <a:pt x="316" y="40"/>
                  </a:lnTo>
                  <a:lnTo>
                    <a:pt x="310" y="44"/>
                  </a:lnTo>
                  <a:lnTo>
                    <a:pt x="309" y="46"/>
                  </a:lnTo>
                  <a:lnTo>
                    <a:pt x="312" y="47"/>
                  </a:lnTo>
                  <a:lnTo>
                    <a:pt x="314" y="46"/>
                  </a:lnTo>
                  <a:lnTo>
                    <a:pt x="315" y="45"/>
                  </a:lnTo>
                  <a:lnTo>
                    <a:pt x="315" y="46"/>
                  </a:lnTo>
                  <a:lnTo>
                    <a:pt x="319" y="46"/>
                  </a:lnTo>
                  <a:lnTo>
                    <a:pt x="321" y="44"/>
                  </a:lnTo>
                  <a:lnTo>
                    <a:pt x="320" y="47"/>
                  </a:lnTo>
                  <a:lnTo>
                    <a:pt x="325" y="47"/>
                  </a:lnTo>
                  <a:lnTo>
                    <a:pt x="324" y="48"/>
                  </a:lnTo>
                  <a:lnTo>
                    <a:pt x="320" y="48"/>
                  </a:lnTo>
                  <a:lnTo>
                    <a:pt x="321" y="51"/>
                  </a:lnTo>
                  <a:lnTo>
                    <a:pt x="318" y="48"/>
                  </a:lnTo>
                  <a:lnTo>
                    <a:pt x="316" y="48"/>
                  </a:lnTo>
                  <a:lnTo>
                    <a:pt x="315" y="48"/>
                  </a:lnTo>
                  <a:lnTo>
                    <a:pt x="313" y="48"/>
                  </a:lnTo>
                  <a:lnTo>
                    <a:pt x="314" y="50"/>
                  </a:lnTo>
                  <a:lnTo>
                    <a:pt x="318" y="50"/>
                  </a:lnTo>
                  <a:lnTo>
                    <a:pt x="315" y="51"/>
                  </a:lnTo>
                  <a:lnTo>
                    <a:pt x="316" y="51"/>
                  </a:lnTo>
                  <a:lnTo>
                    <a:pt x="319" y="53"/>
                  </a:lnTo>
                  <a:lnTo>
                    <a:pt x="315" y="53"/>
                  </a:lnTo>
                  <a:lnTo>
                    <a:pt x="315" y="54"/>
                  </a:lnTo>
                  <a:lnTo>
                    <a:pt x="320" y="58"/>
                  </a:lnTo>
                  <a:lnTo>
                    <a:pt x="320" y="59"/>
                  </a:lnTo>
                  <a:lnTo>
                    <a:pt x="318" y="59"/>
                  </a:lnTo>
                  <a:lnTo>
                    <a:pt x="318" y="60"/>
                  </a:lnTo>
                  <a:lnTo>
                    <a:pt x="318" y="62"/>
                  </a:lnTo>
                  <a:lnTo>
                    <a:pt x="316" y="62"/>
                  </a:lnTo>
                  <a:lnTo>
                    <a:pt x="315" y="62"/>
                  </a:lnTo>
                  <a:lnTo>
                    <a:pt x="315" y="63"/>
                  </a:lnTo>
                  <a:lnTo>
                    <a:pt x="319" y="63"/>
                  </a:lnTo>
                  <a:lnTo>
                    <a:pt x="321" y="62"/>
                  </a:lnTo>
                  <a:lnTo>
                    <a:pt x="320" y="63"/>
                  </a:lnTo>
                  <a:lnTo>
                    <a:pt x="321" y="66"/>
                  </a:lnTo>
                  <a:lnTo>
                    <a:pt x="320" y="66"/>
                  </a:lnTo>
                  <a:lnTo>
                    <a:pt x="319" y="64"/>
                  </a:lnTo>
                  <a:lnTo>
                    <a:pt x="316" y="64"/>
                  </a:lnTo>
                  <a:lnTo>
                    <a:pt x="318" y="66"/>
                  </a:lnTo>
                  <a:lnTo>
                    <a:pt x="321" y="69"/>
                  </a:lnTo>
                  <a:lnTo>
                    <a:pt x="326" y="71"/>
                  </a:lnTo>
                  <a:lnTo>
                    <a:pt x="333" y="75"/>
                  </a:lnTo>
                  <a:lnTo>
                    <a:pt x="336" y="75"/>
                  </a:lnTo>
                  <a:lnTo>
                    <a:pt x="334" y="76"/>
                  </a:lnTo>
                  <a:lnTo>
                    <a:pt x="336" y="76"/>
                  </a:lnTo>
                  <a:lnTo>
                    <a:pt x="339" y="75"/>
                  </a:lnTo>
                  <a:lnTo>
                    <a:pt x="337" y="76"/>
                  </a:lnTo>
                  <a:lnTo>
                    <a:pt x="342" y="78"/>
                  </a:lnTo>
                  <a:lnTo>
                    <a:pt x="342" y="80"/>
                  </a:lnTo>
                  <a:lnTo>
                    <a:pt x="334" y="78"/>
                  </a:lnTo>
                  <a:lnTo>
                    <a:pt x="336" y="80"/>
                  </a:lnTo>
                  <a:lnTo>
                    <a:pt x="336" y="82"/>
                  </a:lnTo>
                  <a:lnTo>
                    <a:pt x="334" y="83"/>
                  </a:lnTo>
                  <a:lnTo>
                    <a:pt x="334" y="80"/>
                  </a:lnTo>
                  <a:lnTo>
                    <a:pt x="333" y="80"/>
                  </a:lnTo>
                  <a:lnTo>
                    <a:pt x="333" y="77"/>
                  </a:lnTo>
                  <a:lnTo>
                    <a:pt x="332" y="77"/>
                  </a:lnTo>
                  <a:lnTo>
                    <a:pt x="332" y="80"/>
                  </a:lnTo>
                  <a:lnTo>
                    <a:pt x="331" y="80"/>
                  </a:lnTo>
                  <a:lnTo>
                    <a:pt x="331" y="76"/>
                  </a:lnTo>
                  <a:lnTo>
                    <a:pt x="327" y="75"/>
                  </a:lnTo>
                  <a:lnTo>
                    <a:pt x="327" y="77"/>
                  </a:lnTo>
                  <a:lnTo>
                    <a:pt x="330" y="80"/>
                  </a:lnTo>
                  <a:lnTo>
                    <a:pt x="328" y="82"/>
                  </a:lnTo>
                  <a:lnTo>
                    <a:pt x="328" y="83"/>
                  </a:lnTo>
                  <a:lnTo>
                    <a:pt x="326" y="84"/>
                  </a:lnTo>
                  <a:lnTo>
                    <a:pt x="330" y="86"/>
                  </a:lnTo>
                  <a:lnTo>
                    <a:pt x="331" y="84"/>
                  </a:lnTo>
                  <a:lnTo>
                    <a:pt x="332" y="84"/>
                  </a:lnTo>
                  <a:lnTo>
                    <a:pt x="331" y="86"/>
                  </a:lnTo>
                  <a:lnTo>
                    <a:pt x="333" y="86"/>
                  </a:lnTo>
                  <a:lnTo>
                    <a:pt x="336" y="87"/>
                  </a:lnTo>
                  <a:lnTo>
                    <a:pt x="332" y="87"/>
                  </a:lnTo>
                  <a:lnTo>
                    <a:pt x="331" y="87"/>
                  </a:lnTo>
                  <a:lnTo>
                    <a:pt x="330" y="88"/>
                  </a:lnTo>
                  <a:lnTo>
                    <a:pt x="333" y="88"/>
                  </a:lnTo>
                  <a:lnTo>
                    <a:pt x="336" y="89"/>
                  </a:lnTo>
                  <a:lnTo>
                    <a:pt x="337" y="92"/>
                  </a:lnTo>
                  <a:lnTo>
                    <a:pt x="336" y="92"/>
                  </a:lnTo>
                  <a:lnTo>
                    <a:pt x="334" y="92"/>
                  </a:lnTo>
                  <a:lnTo>
                    <a:pt x="333" y="92"/>
                  </a:lnTo>
                  <a:lnTo>
                    <a:pt x="333" y="93"/>
                  </a:lnTo>
                  <a:lnTo>
                    <a:pt x="334" y="94"/>
                  </a:lnTo>
                  <a:lnTo>
                    <a:pt x="336" y="94"/>
                  </a:lnTo>
                  <a:lnTo>
                    <a:pt x="337" y="93"/>
                  </a:lnTo>
                  <a:lnTo>
                    <a:pt x="341" y="93"/>
                  </a:lnTo>
                  <a:lnTo>
                    <a:pt x="342" y="93"/>
                  </a:lnTo>
                  <a:lnTo>
                    <a:pt x="343" y="95"/>
                  </a:lnTo>
                  <a:lnTo>
                    <a:pt x="344" y="96"/>
                  </a:lnTo>
                  <a:lnTo>
                    <a:pt x="348" y="96"/>
                  </a:lnTo>
                  <a:lnTo>
                    <a:pt x="353" y="99"/>
                  </a:lnTo>
                  <a:lnTo>
                    <a:pt x="355" y="100"/>
                  </a:lnTo>
                  <a:lnTo>
                    <a:pt x="355" y="101"/>
                  </a:lnTo>
                  <a:lnTo>
                    <a:pt x="359" y="101"/>
                  </a:lnTo>
                  <a:lnTo>
                    <a:pt x="357" y="101"/>
                  </a:lnTo>
                  <a:lnTo>
                    <a:pt x="359" y="101"/>
                  </a:lnTo>
                  <a:lnTo>
                    <a:pt x="362" y="101"/>
                  </a:lnTo>
                  <a:lnTo>
                    <a:pt x="362" y="102"/>
                  </a:lnTo>
                  <a:lnTo>
                    <a:pt x="363" y="104"/>
                  </a:lnTo>
                  <a:lnTo>
                    <a:pt x="371" y="107"/>
                  </a:lnTo>
                  <a:lnTo>
                    <a:pt x="373" y="108"/>
                  </a:lnTo>
                  <a:lnTo>
                    <a:pt x="375" y="108"/>
                  </a:lnTo>
                  <a:lnTo>
                    <a:pt x="374" y="108"/>
                  </a:lnTo>
                  <a:lnTo>
                    <a:pt x="375" y="110"/>
                  </a:lnTo>
                  <a:lnTo>
                    <a:pt x="377" y="110"/>
                  </a:lnTo>
                  <a:lnTo>
                    <a:pt x="377" y="111"/>
                  </a:lnTo>
                  <a:lnTo>
                    <a:pt x="379" y="112"/>
                  </a:lnTo>
                  <a:lnTo>
                    <a:pt x="380" y="113"/>
                  </a:lnTo>
                  <a:lnTo>
                    <a:pt x="383" y="113"/>
                  </a:lnTo>
                  <a:lnTo>
                    <a:pt x="383" y="114"/>
                  </a:lnTo>
                  <a:lnTo>
                    <a:pt x="381" y="114"/>
                  </a:lnTo>
                  <a:lnTo>
                    <a:pt x="384" y="117"/>
                  </a:lnTo>
                  <a:lnTo>
                    <a:pt x="381" y="116"/>
                  </a:lnTo>
                  <a:lnTo>
                    <a:pt x="380" y="116"/>
                  </a:lnTo>
                  <a:lnTo>
                    <a:pt x="380" y="118"/>
                  </a:lnTo>
                  <a:lnTo>
                    <a:pt x="379" y="114"/>
                  </a:lnTo>
                  <a:lnTo>
                    <a:pt x="378" y="114"/>
                  </a:lnTo>
                  <a:lnTo>
                    <a:pt x="377" y="114"/>
                  </a:lnTo>
                  <a:lnTo>
                    <a:pt x="377" y="113"/>
                  </a:lnTo>
                  <a:lnTo>
                    <a:pt x="372" y="110"/>
                  </a:lnTo>
                  <a:lnTo>
                    <a:pt x="372" y="114"/>
                  </a:lnTo>
                  <a:lnTo>
                    <a:pt x="372" y="117"/>
                  </a:lnTo>
                  <a:lnTo>
                    <a:pt x="371" y="117"/>
                  </a:lnTo>
                  <a:lnTo>
                    <a:pt x="371" y="114"/>
                  </a:lnTo>
                  <a:lnTo>
                    <a:pt x="371" y="110"/>
                  </a:lnTo>
                  <a:lnTo>
                    <a:pt x="369" y="112"/>
                  </a:lnTo>
                  <a:lnTo>
                    <a:pt x="369" y="116"/>
                  </a:lnTo>
                  <a:lnTo>
                    <a:pt x="369" y="117"/>
                  </a:lnTo>
                  <a:lnTo>
                    <a:pt x="368" y="117"/>
                  </a:lnTo>
                  <a:lnTo>
                    <a:pt x="368" y="118"/>
                  </a:lnTo>
                  <a:lnTo>
                    <a:pt x="367" y="118"/>
                  </a:lnTo>
                  <a:lnTo>
                    <a:pt x="368" y="119"/>
                  </a:lnTo>
                  <a:lnTo>
                    <a:pt x="371" y="120"/>
                  </a:lnTo>
                  <a:lnTo>
                    <a:pt x="369" y="120"/>
                  </a:lnTo>
                  <a:lnTo>
                    <a:pt x="369" y="122"/>
                  </a:lnTo>
                  <a:lnTo>
                    <a:pt x="372" y="122"/>
                  </a:lnTo>
                  <a:lnTo>
                    <a:pt x="372" y="123"/>
                  </a:lnTo>
                  <a:lnTo>
                    <a:pt x="369" y="123"/>
                  </a:lnTo>
                  <a:lnTo>
                    <a:pt x="371" y="124"/>
                  </a:lnTo>
                  <a:lnTo>
                    <a:pt x="372" y="125"/>
                  </a:lnTo>
                  <a:lnTo>
                    <a:pt x="372" y="127"/>
                  </a:lnTo>
                  <a:lnTo>
                    <a:pt x="372" y="129"/>
                  </a:lnTo>
                  <a:lnTo>
                    <a:pt x="372" y="130"/>
                  </a:lnTo>
                  <a:lnTo>
                    <a:pt x="371" y="131"/>
                  </a:lnTo>
                  <a:lnTo>
                    <a:pt x="368" y="131"/>
                  </a:lnTo>
                  <a:lnTo>
                    <a:pt x="367" y="131"/>
                  </a:lnTo>
                  <a:lnTo>
                    <a:pt x="368" y="133"/>
                  </a:lnTo>
                  <a:lnTo>
                    <a:pt x="372" y="133"/>
                  </a:lnTo>
                  <a:lnTo>
                    <a:pt x="372" y="134"/>
                  </a:lnTo>
                  <a:lnTo>
                    <a:pt x="373" y="134"/>
                  </a:lnTo>
                  <a:lnTo>
                    <a:pt x="374" y="135"/>
                  </a:lnTo>
                  <a:lnTo>
                    <a:pt x="377" y="134"/>
                  </a:lnTo>
                  <a:lnTo>
                    <a:pt x="378" y="134"/>
                  </a:lnTo>
                  <a:lnTo>
                    <a:pt x="378" y="135"/>
                  </a:lnTo>
                  <a:lnTo>
                    <a:pt x="375" y="135"/>
                  </a:lnTo>
                  <a:lnTo>
                    <a:pt x="377" y="136"/>
                  </a:lnTo>
                  <a:lnTo>
                    <a:pt x="378" y="136"/>
                  </a:lnTo>
                  <a:lnTo>
                    <a:pt x="379" y="135"/>
                  </a:lnTo>
                  <a:lnTo>
                    <a:pt x="381" y="135"/>
                  </a:lnTo>
                  <a:lnTo>
                    <a:pt x="380" y="136"/>
                  </a:lnTo>
                  <a:lnTo>
                    <a:pt x="384" y="136"/>
                  </a:lnTo>
                  <a:lnTo>
                    <a:pt x="383" y="137"/>
                  </a:lnTo>
                  <a:lnTo>
                    <a:pt x="386" y="139"/>
                  </a:lnTo>
                  <a:lnTo>
                    <a:pt x="383" y="137"/>
                  </a:lnTo>
                  <a:lnTo>
                    <a:pt x="383" y="139"/>
                  </a:lnTo>
                  <a:lnTo>
                    <a:pt x="384" y="142"/>
                  </a:lnTo>
                  <a:lnTo>
                    <a:pt x="383" y="142"/>
                  </a:lnTo>
                  <a:lnTo>
                    <a:pt x="381" y="139"/>
                  </a:lnTo>
                  <a:lnTo>
                    <a:pt x="380" y="139"/>
                  </a:lnTo>
                  <a:lnTo>
                    <a:pt x="380" y="141"/>
                  </a:lnTo>
                  <a:lnTo>
                    <a:pt x="379" y="141"/>
                  </a:lnTo>
                  <a:lnTo>
                    <a:pt x="378" y="140"/>
                  </a:lnTo>
                  <a:lnTo>
                    <a:pt x="377" y="140"/>
                  </a:lnTo>
                  <a:lnTo>
                    <a:pt x="377" y="137"/>
                  </a:lnTo>
                  <a:lnTo>
                    <a:pt x="375" y="137"/>
                  </a:lnTo>
                  <a:lnTo>
                    <a:pt x="375" y="139"/>
                  </a:lnTo>
                  <a:lnTo>
                    <a:pt x="375" y="140"/>
                  </a:lnTo>
                  <a:lnTo>
                    <a:pt x="374" y="140"/>
                  </a:lnTo>
                  <a:lnTo>
                    <a:pt x="372" y="145"/>
                  </a:lnTo>
                  <a:lnTo>
                    <a:pt x="372" y="146"/>
                  </a:lnTo>
                  <a:lnTo>
                    <a:pt x="371" y="145"/>
                  </a:lnTo>
                  <a:lnTo>
                    <a:pt x="369" y="147"/>
                  </a:lnTo>
                  <a:lnTo>
                    <a:pt x="368" y="147"/>
                  </a:lnTo>
                  <a:lnTo>
                    <a:pt x="369" y="145"/>
                  </a:lnTo>
                  <a:lnTo>
                    <a:pt x="368" y="146"/>
                  </a:lnTo>
                  <a:lnTo>
                    <a:pt x="367" y="146"/>
                  </a:lnTo>
                  <a:lnTo>
                    <a:pt x="367" y="143"/>
                  </a:lnTo>
                  <a:lnTo>
                    <a:pt x="366" y="143"/>
                  </a:lnTo>
                  <a:lnTo>
                    <a:pt x="366" y="146"/>
                  </a:lnTo>
                  <a:lnTo>
                    <a:pt x="365" y="146"/>
                  </a:lnTo>
                  <a:lnTo>
                    <a:pt x="365" y="147"/>
                  </a:lnTo>
                  <a:lnTo>
                    <a:pt x="365" y="143"/>
                  </a:lnTo>
                  <a:lnTo>
                    <a:pt x="365" y="142"/>
                  </a:lnTo>
                  <a:lnTo>
                    <a:pt x="363" y="143"/>
                  </a:lnTo>
                  <a:lnTo>
                    <a:pt x="362" y="145"/>
                  </a:lnTo>
                  <a:lnTo>
                    <a:pt x="362" y="141"/>
                  </a:lnTo>
                  <a:lnTo>
                    <a:pt x="361" y="141"/>
                  </a:lnTo>
                  <a:lnTo>
                    <a:pt x="361" y="142"/>
                  </a:lnTo>
                  <a:lnTo>
                    <a:pt x="360" y="145"/>
                  </a:lnTo>
                  <a:lnTo>
                    <a:pt x="359" y="146"/>
                  </a:lnTo>
                  <a:lnTo>
                    <a:pt x="359" y="147"/>
                  </a:lnTo>
                  <a:lnTo>
                    <a:pt x="360" y="149"/>
                  </a:lnTo>
                  <a:lnTo>
                    <a:pt x="362" y="149"/>
                  </a:lnTo>
                  <a:lnTo>
                    <a:pt x="365" y="151"/>
                  </a:lnTo>
                  <a:lnTo>
                    <a:pt x="367" y="153"/>
                  </a:lnTo>
                  <a:lnTo>
                    <a:pt x="372" y="154"/>
                  </a:lnTo>
                  <a:lnTo>
                    <a:pt x="373" y="154"/>
                  </a:lnTo>
                  <a:lnTo>
                    <a:pt x="379" y="154"/>
                  </a:lnTo>
                  <a:lnTo>
                    <a:pt x="380" y="155"/>
                  </a:lnTo>
                  <a:lnTo>
                    <a:pt x="384" y="155"/>
                  </a:lnTo>
                  <a:lnTo>
                    <a:pt x="385" y="155"/>
                  </a:lnTo>
                  <a:lnTo>
                    <a:pt x="386" y="155"/>
                  </a:lnTo>
                  <a:lnTo>
                    <a:pt x="387" y="155"/>
                  </a:lnTo>
                  <a:lnTo>
                    <a:pt x="390" y="154"/>
                  </a:lnTo>
                  <a:lnTo>
                    <a:pt x="389" y="155"/>
                  </a:lnTo>
                  <a:lnTo>
                    <a:pt x="390" y="155"/>
                  </a:lnTo>
                  <a:lnTo>
                    <a:pt x="391" y="155"/>
                  </a:lnTo>
                  <a:lnTo>
                    <a:pt x="392" y="155"/>
                  </a:lnTo>
                  <a:lnTo>
                    <a:pt x="397" y="153"/>
                  </a:lnTo>
                  <a:lnTo>
                    <a:pt x="398" y="153"/>
                  </a:lnTo>
                  <a:lnTo>
                    <a:pt x="393" y="155"/>
                  </a:lnTo>
                  <a:lnTo>
                    <a:pt x="403" y="155"/>
                  </a:lnTo>
                  <a:lnTo>
                    <a:pt x="403" y="157"/>
                  </a:lnTo>
                  <a:lnTo>
                    <a:pt x="395" y="158"/>
                  </a:lnTo>
                  <a:lnTo>
                    <a:pt x="393" y="157"/>
                  </a:lnTo>
                  <a:lnTo>
                    <a:pt x="396" y="158"/>
                  </a:lnTo>
                  <a:lnTo>
                    <a:pt x="395" y="159"/>
                  </a:lnTo>
                  <a:lnTo>
                    <a:pt x="390" y="157"/>
                  </a:lnTo>
                  <a:lnTo>
                    <a:pt x="389" y="158"/>
                  </a:lnTo>
                  <a:lnTo>
                    <a:pt x="389" y="159"/>
                  </a:lnTo>
                  <a:lnTo>
                    <a:pt x="390" y="160"/>
                  </a:lnTo>
                  <a:lnTo>
                    <a:pt x="389" y="161"/>
                  </a:lnTo>
                  <a:lnTo>
                    <a:pt x="387" y="164"/>
                  </a:lnTo>
                  <a:lnTo>
                    <a:pt x="386" y="165"/>
                  </a:lnTo>
                  <a:lnTo>
                    <a:pt x="389" y="165"/>
                  </a:lnTo>
                  <a:lnTo>
                    <a:pt x="390" y="166"/>
                  </a:lnTo>
                  <a:lnTo>
                    <a:pt x="387" y="166"/>
                  </a:lnTo>
                  <a:lnTo>
                    <a:pt x="387" y="167"/>
                  </a:lnTo>
                  <a:lnTo>
                    <a:pt x="390" y="169"/>
                  </a:lnTo>
                  <a:lnTo>
                    <a:pt x="391" y="170"/>
                  </a:lnTo>
                  <a:lnTo>
                    <a:pt x="391" y="171"/>
                  </a:lnTo>
                  <a:lnTo>
                    <a:pt x="392" y="171"/>
                  </a:lnTo>
                  <a:lnTo>
                    <a:pt x="393" y="170"/>
                  </a:lnTo>
                  <a:lnTo>
                    <a:pt x="393" y="169"/>
                  </a:lnTo>
                  <a:lnTo>
                    <a:pt x="393" y="167"/>
                  </a:lnTo>
                  <a:lnTo>
                    <a:pt x="395" y="167"/>
                  </a:lnTo>
                  <a:lnTo>
                    <a:pt x="395" y="169"/>
                  </a:lnTo>
                  <a:lnTo>
                    <a:pt x="396" y="170"/>
                  </a:lnTo>
                  <a:lnTo>
                    <a:pt x="402" y="166"/>
                  </a:lnTo>
                  <a:lnTo>
                    <a:pt x="404" y="166"/>
                  </a:lnTo>
                  <a:lnTo>
                    <a:pt x="409" y="163"/>
                  </a:lnTo>
                  <a:lnTo>
                    <a:pt x="410" y="163"/>
                  </a:lnTo>
                  <a:lnTo>
                    <a:pt x="407" y="166"/>
                  </a:lnTo>
                  <a:lnTo>
                    <a:pt x="408" y="166"/>
                  </a:lnTo>
                  <a:lnTo>
                    <a:pt x="412" y="165"/>
                  </a:lnTo>
                  <a:lnTo>
                    <a:pt x="409" y="166"/>
                  </a:lnTo>
                  <a:lnTo>
                    <a:pt x="410" y="166"/>
                  </a:lnTo>
                  <a:lnTo>
                    <a:pt x="408" y="167"/>
                  </a:lnTo>
                  <a:lnTo>
                    <a:pt x="407" y="169"/>
                  </a:lnTo>
                  <a:lnTo>
                    <a:pt x="408" y="169"/>
                  </a:lnTo>
                  <a:lnTo>
                    <a:pt x="408" y="170"/>
                  </a:lnTo>
                  <a:lnTo>
                    <a:pt x="407" y="170"/>
                  </a:lnTo>
                  <a:lnTo>
                    <a:pt x="406" y="169"/>
                  </a:lnTo>
                  <a:lnTo>
                    <a:pt x="403" y="169"/>
                  </a:lnTo>
                  <a:lnTo>
                    <a:pt x="407" y="171"/>
                  </a:lnTo>
                  <a:lnTo>
                    <a:pt x="406" y="171"/>
                  </a:lnTo>
                  <a:lnTo>
                    <a:pt x="404" y="171"/>
                  </a:lnTo>
                  <a:lnTo>
                    <a:pt x="402" y="170"/>
                  </a:lnTo>
                  <a:lnTo>
                    <a:pt x="398" y="171"/>
                  </a:lnTo>
                  <a:lnTo>
                    <a:pt x="402" y="171"/>
                  </a:lnTo>
                  <a:lnTo>
                    <a:pt x="404" y="172"/>
                  </a:lnTo>
                  <a:lnTo>
                    <a:pt x="406" y="173"/>
                  </a:lnTo>
                  <a:lnTo>
                    <a:pt x="404" y="173"/>
                  </a:lnTo>
                  <a:lnTo>
                    <a:pt x="403" y="172"/>
                  </a:lnTo>
                  <a:lnTo>
                    <a:pt x="402" y="172"/>
                  </a:lnTo>
                  <a:lnTo>
                    <a:pt x="400" y="172"/>
                  </a:lnTo>
                  <a:lnTo>
                    <a:pt x="400" y="175"/>
                  </a:lnTo>
                  <a:lnTo>
                    <a:pt x="397" y="173"/>
                  </a:lnTo>
                  <a:lnTo>
                    <a:pt x="395" y="173"/>
                  </a:lnTo>
                  <a:lnTo>
                    <a:pt x="395" y="175"/>
                  </a:lnTo>
                  <a:lnTo>
                    <a:pt x="397" y="176"/>
                  </a:lnTo>
                  <a:lnTo>
                    <a:pt x="401" y="178"/>
                  </a:lnTo>
                  <a:lnTo>
                    <a:pt x="404" y="179"/>
                  </a:lnTo>
                  <a:lnTo>
                    <a:pt x="409" y="181"/>
                  </a:lnTo>
                  <a:lnTo>
                    <a:pt x="406" y="182"/>
                  </a:lnTo>
                  <a:lnTo>
                    <a:pt x="412" y="185"/>
                  </a:lnTo>
                  <a:lnTo>
                    <a:pt x="406" y="183"/>
                  </a:lnTo>
                  <a:lnTo>
                    <a:pt x="404" y="183"/>
                  </a:lnTo>
                  <a:lnTo>
                    <a:pt x="404" y="184"/>
                  </a:lnTo>
                  <a:lnTo>
                    <a:pt x="404" y="185"/>
                  </a:lnTo>
                  <a:lnTo>
                    <a:pt x="403" y="185"/>
                  </a:lnTo>
                  <a:lnTo>
                    <a:pt x="403" y="182"/>
                  </a:lnTo>
                  <a:lnTo>
                    <a:pt x="402" y="182"/>
                  </a:lnTo>
                  <a:lnTo>
                    <a:pt x="398" y="187"/>
                  </a:lnTo>
                  <a:lnTo>
                    <a:pt x="397" y="187"/>
                  </a:lnTo>
                  <a:lnTo>
                    <a:pt x="398" y="184"/>
                  </a:lnTo>
                  <a:lnTo>
                    <a:pt x="397" y="184"/>
                  </a:lnTo>
                  <a:lnTo>
                    <a:pt x="396" y="185"/>
                  </a:lnTo>
                  <a:lnTo>
                    <a:pt x="396" y="187"/>
                  </a:lnTo>
                  <a:lnTo>
                    <a:pt x="397" y="188"/>
                  </a:lnTo>
                  <a:lnTo>
                    <a:pt x="400" y="188"/>
                  </a:lnTo>
                  <a:lnTo>
                    <a:pt x="401" y="189"/>
                  </a:lnTo>
                  <a:lnTo>
                    <a:pt x="402" y="191"/>
                  </a:lnTo>
                  <a:lnTo>
                    <a:pt x="402" y="193"/>
                  </a:lnTo>
                  <a:lnTo>
                    <a:pt x="403" y="194"/>
                  </a:lnTo>
                  <a:lnTo>
                    <a:pt x="404" y="195"/>
                  </a:lnTo>
                  <a:lnTo>
                    <a:pt x="406" y="196"/>
                  </a:lnTo>
                  <a:lnTo>
                    <a:pt x="407" y="196"/>
                  </a:lnTo>
                  <a:lnTo>
                    <a:pt x="408" y="196"/>
                  </a:lnTo>
                  <a:lnTo>
                    <a:pt x="408" y="197"/>
                  </a:lnTo>
                  <a:lnTo>
                    <a:pt x="412" y="199"/>
                  </a:lnTo>
                  <a:lnTo>
                    <a:pt x="412" y="197"/>
                  </a:lnTo>
                  <a:lnTo>
                    <a:pt x="413" y="199"/>
                  </a:lnTo>
                  <a:lnTo>
                    <a:pt x="415" y="199"/>
                  </a:lnTo>
                  <a:lnTo>
                    <a:pt x="415" y="200"/>
                  </a:lnTo>
                  <a:lnTo>
                    <a:pt x="418" y="200"/>
                  </a:lnTo>
                  <a:lnTo>
                    <a:pt x="415" y="200"/>
                  </a:lnTo>
                  <a:lnTo>
                    <a:pt x="415" y="201"/>
                  </a:lnTo>
                  <a:lnTo>
                    <a:pt x="416" y="202"/>
                  </a:lnTo>
                  <a:lnTo>
                    <a:pt x="416" y="203"/>
                  </a:lnTo>
                  <a:lnTo>
                    <a:pt x="416" y="205"/>
                  </a:lnTo>
                  <a:lnTo>
                    <a:pt x="415" y="205"/>
                  </a:lnTo>
                  <a:lnTo>
                    <a:pt x="414" y="202"/>
                  </a:lnTo>
                  <a:lnTo>
                    <a:pt x="413" y="205"/>
                  </a:lnTo>
                  <a:lnTo>
                    <a:pt x="413" y="201"/>
                  </a:lnTo>
                  <a:lnTo>
                    <a:pt x="412" y="201"/>
                  </a:lnTo>
                  <a:lnTo>
                    <a:pt x="412" y="202"/>
                  </a:lnTo>
                  <a:lnTo>
                    <a:pt x="410" y="201"/>
                  </a:lnTo>
                  <a:lnTo>
                    <a:pt x="409" y="200"/>
                  </a:lnTo>
                  <a:lnTo>
                    <a:pt x="408" y="200"/>
                  </a:lnTo>
                  <a:lnTo>
                    <a:pt x="408" y="201"/>
                  </a:lnTo>
                  <a:lnTo>
                    <a:pt x="408" y="202"/>
                  </a:lnTo>
                  <a:lnTo>
                    <a:pt x="408" y="203"/>
                  </a:lnTo>
                  <a:lnTo>
                    <a:pt x="408" y="206"/>
                  </a:lnTo>
                  <a:lnTo>
                    <a:pt x="407" y="207"/>
                  </a:lnTo>
                  <a:lnTo>
                    <a:pt x="406" y="208"/>
                  </a:lnTo>
                  <a:lnTo>
                    <a:pt x="406" y="205"/>
                  </a:lnTo>
                  <a:lnTo>
                    <a:pt x="406" y="203"/>
                  </a:lnTo>
                  <a:lnTo>
                    <a:pt x="406" y="202"/>
                  </a:lnTo>
                  <a:lnTo>
                    <a:pt x="404" y="203"/>
                  </a:lnTo>
                  <a:lnTo>
                    <a:pt x="404" y="207"/>
                  </a:lnTo>
                  <a:lnTo>
                    <a:pt x="403" y="207"/>
                  </a:lnTo>
                  <a:lnTo>
                    <a:pt x="401" y="205"/>
                  </a:lnTo>
                  <a:lnTo>
                    <a:pt x="401" y="202"/>
                  </a:lnTo>
                  <a:lnTo>
                    <a:pt x="400" y="202"/>
                  </a:lnTo>
                  <a:lnTo>
                    <a:pt x="398" y="203"/>
                  </a:lnTo>
                  <a:lnTo>
                    <a:pt x="397" y="203"/>
                  </a:lnTo>
                  <a:lnTo>
                    <a:pt x="397" y="202"/>
                  </a:lnTo>
                  <a:lnTo>
                    <a:pt x="396" y="203"/>
                  </a:lnTo>
                  <a:lnTo>
                    <a:pt x="396" y="202"/>
                  </a:lnTo>
                  <a:lnTo>
                    <a:pt x="396" y="201"/>
                  </a:lnTo>
                  <a:lnTo>
                    <a:pt x="397" y="199"/>
                  </a:lnTo>
                  <a:lnTo>
                    <a:pt x="396" y="199"/>
                  </a:lnTo>
                  <a:lnTo>
                    <a:pt x="395" y="199"/>
                  </a:lnTo>
                  <a:lnTo>
                    <a:pt x="393" y="200"/>
                  </a:lnTo>
                  <a:lnTo>
                    <a:pt x="392" y="201"/>
                  </a:lnTo>
                  <a:lnTo>
                    <a:pt x="391" y="201"/>
                  </a:lnTo>
                  <a:lnTo>
                    <a:pt x="391" y="200"/>
                  </a:lnTo>
                  <a:lnTo>
                    <a:pt x="391" y="199"/>
                  </a:lnTo>
                  <a:lnTo>
                    <a:pt x="391" y="196"/>
                  </a:lnTo>
                  <a:lnTo>
                    <a:pt x="391" y="195"/>
                  </a:lnTo>
                  <a:lnTo>
                    <a:pt x="389" y="196"/>
                  </a:lnTo>
                  <a:lnTo>
                    <a:pt x="389" y="197"/>
                  </a:lnTo>
                  <a:lnTo>
                    <a:pt x="390" y="197"/>
                  </a:lnTo>
                  <a:lnTo>
                    <a:pt x="390" y="199"/>
                  </a:lnTo>
                  <a:lnTo>
                    <a:pt x="389" y="200"/>
                  </a:lnTo>
                  <a:lnTo>
                    <a:pt x="387" y="199"/>
                  </a:lnTo>
                  <a:lnTo>
                    <a:pt x="387" y="196"/>
                  </a:lnTo>
                  <a:lnTo>
                    <a:pt x="387" y="195"/>
                  </a:lnTo>
                  <a:lnTo>
                    <a:pt x="387" y="194"/>
                  </a:lnTo>
                  <a:lnTo>
                    <a:pt x="387" y="193"/>
                  </a:lnTo>
                  <a:lnTo>
                    <a:pt x="387" y="191"/>
                  </a:lnTo>
                  <a:lnTo>
                    <a:pt x="386" y="193"/>
                  </a:lnTo>
                  <a:lnTo>
                    <a:pt x="385" y="191"/>
                  </a:lnTo>
                  <a:lnTo>
                    <a:pt x="385" y="193"/>
                  </a:lnTo>
                  <a:lnTo>
                    <a:pt x="386" y="195"/>
                  </a:lnTo>
                  <a:lnTo>
                    <a:pt x="386" y="196"/>
                  </a:lnTo>
                  <a:lnTo>
                    <a:pt x="386" y="197"/>
                  </a:lnTo>
                  <a:lnTo>
                    <a:pt x="385" y="199"/>
                  </a:lnTo>
                  <a:lnTo>
                    <a:pt x="386" y="199"/>
                  </a:lnTo>
                  <a:lnTo>
                    <a:pt x="386" y="200"/>
                  </a:lnTo>
                  <a:lnTo>
                    <a:pt x="389" y="201"/>
                  </a:lnTo>
                  <a:lnTo>
                    <a:pt x="390" y="202"/>
                  </a:lnTo>
                  <a:lnTo>
                    <a:pt x="392" y="203"/>
                  </a:lnTo>
                  <a:lnTo>
                    <a:pt x="395" y="205"/>
                  </a:lnTo>
                  <a:lnTo>
                    <a:pt x="395" y="206"/>
                  </a:lnTo>
                  <a:lnTo>
                    <a:pt x="396" y="206"/>
                  </a:lnTo>
                  <a:lnTo>
                    <a:pt x="397" y="205"/>
                  </a:lnTo>
                  <a:lnTo>
                    <a:pt x="397" y="206"/>
                  </a:lnTo>
                  <a:lnTo>
                    <a:pt x="400" y="208"/>
                  </a:lnTo>
                  <a:lnTo>
                    <a:pt x="402" y="209"/>
                  </a:lnTo>
                  <a:lnTo>
                    <a:pt x="404" y="209"/>
                  </a:lnTo>
                  <a:lnTo>
                    <a:pt x="406" y="208"/>
                  </a:lnTo>
                  <a:lnTo>
                    <a:pt x="407" y="208"/>
                  </a:lnTo>
                  <a:lnTo>
                    <a:pt x="409" y="208"/>
                  </a:lnTo>
                  <a:lnTo>
                    <a:pt x="412" y="208"/>
                  </a:lnTo>
                  <a:lnTo>
                    <a:pt x="414" y="207"/>
                  </a:lnTo>
                  <a:lnTo>
                    <a:pt x="416" y="206"/>
                  </a:lnTo>
                  <a:lnTo>
                    <a:pt x="418" y="205"/>
                  </a:lnTo>
                  <a:lnTo>
                    <a:pt x="419" y="203"/>
                  </a:lnTo>
                  <a:lnTo>
                    <a:pt x="421" y="202"/>
                  </a:lnTo>
                  <a:lnTo>
                    <a:pt x="422" y="200"/>
                  </a:lnTo>
                  <a:lnTo>
                    <a:pt x="421" y="199"/>
                  </a:lnTo>
                  <a:lnTo>
                    <a:pt x="424" y="200"/>
                  </a:lnTo>
                  <a:lnTo>
                    <a:pt x="425" y="199"/>
                  </a:lnTo>
                  <a:lnTo>
                    <a:pt x="421" y="195"/>
                  </a:lnTo>
                  <a:lnTo>
                    <a:pt x="424" y="195"/>
                  </a:lnTo>
                  <a:lnTo>
                    <a:pt x="425" y="195"/>
                  </a:lnTo>
                  <a:lnTo>
                    <a:pt x="425" y="196"/>
                  </a:lnTo>
                  <a:lnTo>
                    <a:pt x="426" y="197"/>
                  </a:lnTo>
                  <a:lnTo>
                    <a:pt x="433" y="191"/>
                  </a:lnTo>
                  <a:lnTo>
                    <a:pt x="434" y="191"/>
                  </a:lnTo>
                  <a:lnTo>
                    <a:pt x="432" y="193"/>
                  </a:lnTo>
                  <a:lnTo>
                    <a:pt x="433" y="194"/>
                  </a:lnTo>
                  <a:lnTo>
                    <a:pt x="438" y="193"/>
                  </a:lnTo>
                  <a:lnTo>
                    <a:pt x="434" y="194"/>
                  </a:lnTo>
                  <a:lnTo>
                    <a:pt x="436" y="195"/>
                  </a:lnTo>
                  <a:lnTo>
                    <a:pt x="433" y="195"/>
                  </a:lnTo>
                  <a:lnTo>
                    <a:pt x="434" y="197"/>
                  </a:lnTo>
                  <a:lnTo>
                    <a:pt x="432" y="196"/>
                  </a:lnTo>
                  <a:lnTo>
                    <a:pt x="431" y="196"/>
                  </a:lnTo>
                  <a:lnTo>
                    <a:pt x="428" y="197"/>
                  </a:lnTo>
                  <a:lnTo>
                    <a:pt x="428" y="199"/>
                  </a:lnTo>
                  <a:lnTo>
                    <a:pt x="433" y="200"/>
                  </a:lnTo>
                  <a:lnTo>
                    <a:pt x="432" y="201"/>
                  </a:lnTo>
                  <a:lnTo>
                    <a:pt x="428" y="200"/>
                  </a:lnTo>
                  <a:lnTo>
                    <a:pt x="428" y="201"/>
                  </a:lnTo>
                  <a:lnTo>
                    <a:pt x="426" y="201"/>
                  </a:lnTo>
                  <a:lnTo>
                    <a:pt x="425" y="201"/>
                  </a:lnTo>
                  <a:lnTo>
                    <a:pt x="425" y="202"/>
                  </a:lnTo>
                  <a:lnTo>
                    <a:pt x="424" y="203"/>
                  </a:lnTo>
                  <a:lnTo>
                    <a:pt x="428" y="207"/>
                  </a:lnTo>
                  <a:lnTo>
                    <a:pt x="424" y="205"/>
                  </a:lnTo>
                  <a:lnTo>
                    <a:pt x="421" y="203"/>
                  </a:lnTo>
                  <a:lnTo>
                    <a:pt x="421" y="205"/>
                  </a:lnTo>
                  <a:lnTo>
                    <a:pt x="425" y="206"/>
                  </a:lnTo>
                  <a:lnTo>
                    <a:pt x="426" y="207"/>
                  </a:lnTo>
                  <a:lnTo>
                    <a:pt x="428" y="207"/>
                  </a:lnTo>
                  <a:lnTo>
                    <a:pt x="425" y="209"/>
                  </a:lnTo>
                  <a:lnTo>
                    <a:pt x="428" y="212"/>
                  </a:lnTo>
                  <a:lnTo>
                    <a:pt x="428" y="213"/>
                  </a:lnTo>
                  <a:lnTo>
                    <a:pt x="426" y="214"/>
                  </a:lnTo>
                  <a:lnTo>
                    <a:pt x="428" y="215"/>
                  </a:lnTo>
                  <a:lnTo>
                    <a:pt x="426" y="218"/>
                  </a:lnTo>
                  <a:lnTo>
                    <a:pt x="424" y="217"/>
                  </a:lnTo>
                  <a:lnTo>
                    <a:pt x="424" y="215"/>
                  </a:lnTo>
                  <a:lnTo>
                    <a:pt x="422" y="214"/>
                  </a:lnTo>
                  <a:lnTo>
                    <a:pt x="422" y="213"/>
                  </a:lnTo>
                  <a:lnTo>
                    <a:pt x="422" y="212"/>
                  </a:lnTo>
                  <a:lnTo>
                    <a:pt x="421" y="212"/>
                  </a:lnTo>
                  <a:lnTo>
                    <a:pt x="421" y="213"/>
                  </a:lnTo>
                  <a:lnTo>
                    <a:pt x="421" y="214"/>
                  </a:lnTo>
                  <a:lnTo>
                    <a:pt x="421" y="217"/>
                  </a:lnTo>
                  <a:lnTo>
                    <a:pt x="419" y="217"/>
                  </a:lnTo>
                  <a:lnTo>
                    <a:pt x="419" y="218"/>
                  </a:lnTo>
                  <a:lnTo>
                    <a:pt x="421" y="218"/>
                  </a:lnTo>
                  <a:lnTo>
                    <a:pt x="421" y="217"/>
                  </a:lnTo>
                  <a:lnTo>
                    <a:pt x="422" y="218"/>
                  </a:lnTo>
                  <a:lnTo>
                    <a:pt x="424" y="259"/>
                  </a:lnTo>
                  <a:lnTo>
                    <a:pt x="425" y="259"/>
                  </a:lnTo>
                  <a:lnTo>
                    <a:pt x="428" y="219"/>
                  </a:lnTo>
                  <a:lnTo>
                    <a:pt x="428" y="259"/>
                  </a:lnTo>
                  <a:lnTo>
                    <a:pt x="432" y="261"/>
                  </a:lnTo>
                  <a:lnTo>
                    <a:pt x="431" y="261"/>
                  </a:lnTo>
                  <a:lnTo>
                    <a:pt x="428" y="261"/>
                  </a:lnTo>
                  <a:lnTo>
                    <a:pt x="426" y="261"/>
                  </a:lnTo>
                  <a:lnTo>
                    <a:pt x="426" y="262"/>
                  </a:lnTo>
                  <a:lnTo>
                    <a:pt x="428" y="264"/>
                  </a:lnTo>
                  <a:lnTo>
                    <a:pt x="426" y="264"/>
                  </a:lnTo>
                  <a:lnTo>
                    <a:pt x="425" y="265"/>
                  </a:lnTo>
                  <a:lnTo>
                    <a:pt x="424" y="265"/>
                  </a:lnTo>
                  <a:lnTo>
                    <a:pt x="424" y="264"/>
                  </a:lnTo>
                  <a:lnTo>
                    <a:pt x="421" y="264"/>
                  </a:lnTo>
                  <a:lnTo>
                    <a:pt x="424" y="267"/>
                  </a:lnTo>
                  <a:lnTo>
                    <a:pt x="422" y="267"/>
                  </a:lnTo>
                  <a:lnTo>
                    <a:pt x="421" y="266"/>
                  </a:lnTo>
                  <a:lnTo>
                    <a:pt x="420" y="266"/>
                  </a:lnTo>
                  <a:lnTo>
                    <a:pt x="419" y="266"/>
                  </a:lnTo>
                  <a:lnTo>
                    <a:pt x="419" y="265"/>
                  </a:lnTo>
                  <a:lnTo>
                    <a:pt x="418" y="265"/>
                  </a:lnTo>
                  <a:lnTo>
                    <a:pt x="418" y="266"/>
                  </a:lnTo>
                  <a:lnTo>
                    <a:pt x="416" y="266"/>
                  </a:lnTo>
                  <a:lnTo>
                    <a:pt x="416" y="264"/>
                  </a:lnTo>
                  <a:lnTo>
                    <a:pt x="415" y="266"/>
                  </a:lnTo>
                  <a:lnTo>
                    <a:pt x="414" y="266"/>
                  </a:lnTo>
                  <a:lnTo>
                    <a:pt x="414" y="268"/>
                  </a:lnTo>
                  <a:lnTo>
                    <a:pt x="414" y="270"/>
                  </a:lnTo>
                  <a:lnTo>
                    <a:pt x="418" y="270"/>
                  </a:lnTo>
                  <a:lnTo>
                    <a:pt x="418" y="271"/>
                  </a:lnTo>
                  <a:lnTo>
                    <a:pt x="415" y="271"/>
                  </a:lnTo>
                  <a:lnTo>
                    <a:pt x="415" y="272"/>
                  </a:lnTo>
                  <a:lnTo>
                    <a:pt x="421" y="272"/>
                  </a:lnTo>
                  <a:lnTo>
                    <a:pt x="420" y="273"/>
                  </a:lnTo>
                  <a:lnTo>
                    <a:pt x="421" y="274"/>
                  </a:lnTo>
                  <a:lnTo>
                    <a:pt x="422" y="273"/>
                  </a:lnTo>
                  <a:lnTo>
                    <a:pt x="424" y="273"/>
                  </a:lnTo>
                  <a:lnTo>
                    <a:pt x="424" y="277"/>
                  </a:lnTo>
                  <a:lnTo>
                    <a:pt x="428" y="280"/>
                  </a:lnTo>
                  <a:lnTo>
                    <a:pt x="428" y="279"/>
                  </a:lnTo>
                  <a:lnTo>
                    <a:pt x="431" y="279"/>
                  </a:lnTo>
                  <a:lnTo>
                    <a:pt x="431" y="280"/>
                  </a:lnTo>
                  <a:lnTo>
                    <a:pt x="432" y="279"/>
                  </a:lnTo>
                  <a:lnTo>
                    <a:pt x="434" y="279"/>
                  </a:lnTo>
                  <a:lnTo>
                    <a:pt x="436" y="279"/>
                  </a:lnTo>
                  <a:lnTo>
                    <a:pt x="437" y="280"/>
                  </a:lnTo>
                  <a:lnTo>
                    <a:pt x="434" y="280"/>
                  </a:lnTo>
                  <a:lnTo>
                    <a:pt x="434" y="283"/>
                  </a:lnTo>
                  <a:lnTo>
                    <a:pt x="436" y="284"/>
                  </a:lnTo>
                  <a:lnTo>
                    <a:pt x="434" y="284"/>
                  </a:lnTo>
                  <a:lnTo>
                    <a:pt x="433" y="282"/>
                  </a:lnTo>
                  <a:lnTo>
                    <a:pt x="432" y="282"/>
                  </a:lnTo>
                  <a:lnTo>
                    <a:pt x="433" y="283"/>
                  </a:lnTo>
                  <a:lnTo>
                    <a:pt x="433" y="284"/>
                  </a:lnTo>
                  <a:lnTo>
                    <a:pt x="432" y="284"/>
                  </a:lnTo>
                  <a:lnTo>
                    <a:pt x="431" y="283"/>
                  </a:lnTo>
                  <a:lnTo>
                    <a:pt x="428" y="284"/>
                  </a:lnTo>
                  <a:lnTo>
                    <a:pt x="431" y="285"/>
                  </a:lnTo>
                  <a:lnTo>
                    <a:pt x="432" y="286"/>
                  </a:lnTo>
                  <a:lnTo>
                    <a:pt x="432" y="288"/>
                  </a:lnTo>
                  <a:lnTo>
                    <a:pt x="431" y="289"/>
                  </a:lnTo>
                  <a:lnTo>
                    <a:pt x="431" y="290"/>
                  </a:lnTo>
                  <a:lnTo>
                    <a:pt x="433" y="292"/>
                  </a:lnTo>
                  <a:lnTo>
                    <a:pt x="434" y="292"/>
                  </a:lnTo>
                  <a:lnTo>
                    <a:pt x="436" y="292"/>
                  </a:lnTo>
                  <a:lnTo>
                    <a:pt x="437" y="295"/>
                  </a:lnTo>
                  <a:lnTo>
                    <a:pt x="439" y="296"/>
                  </a:lnTo>
                  <a:lnTo>
                    <a:pt x="443" y="295"/>
                  </a:lnTo>
                  <a:lnTo>
                    <a:pt x="440" y="297"/>
                  </a:lnTo>
                  <a:lnTo>
                    <a:pt x="445" y="302"/>
                  </a:lnTo>
                  <a:lnTo>
                    <a:pt x="445" y="303"/>
                  </a:lnTo>
                  <a:lnTo>
                    <a:pt x="448" y="303"/>
                  </a:lnTo>
                  <a:lnTo>
                    <a:pt x="451" y="307"/>
                  </a:lnTo>
                  <a:lnTo>
                    <a:pt x="452" y="308"/>
                  </a:lnTo>
                  <a:lnTo>
                    <a:pt x="456" y="308"/>
                  </a:lnTo>
                  <a:lnTo>
                    <a:pt x="455" y="309"/>
                  </a:lnTo>
                  <a:lnTo>
                    <a:pt x="456" y="310"/>
                  </a:lnTo>
                  <a:lnTo>
                    <a:pt x="455" y="310"/>
                  </a:lnTo>
                  <a:lnTo>
                    <a:pt x="460" y="313"/>
                  </a:lnTo>
                  <a:lnTo>
                    <a:pt x="459" y="313"/>
                  </a:lnTo>
                  <a:lnTo>
                    <a:pt x="452" y="312"/>
                  </a:lnTo>
                  <a:lnTo>
                    <a:pt x="459" y="316"/>
                  </a:lnTo>
                  <a:lnTo>
                    <a:pt x="460" y="315"/>
                  </a:lnTo>
                  <a:lnTo>
                    <a:pt x="461" y="318"/>
                  </a:lnTo>
                  <a:lnTo>
                    <a:pt x="465" y="319"/>
                  </a:lnTo>
                  <a:lnTo>
                    <a:pt x="462" y="320"/>
                  </a:lnTo>
                  <a:lnTo>
                    <a:pt x="463" y="321"/>
                  </a:lnTo>
                  <a:lnTo>
                    <a:pt x="467" y="321"/>
                  </a:lnTo>
                  <a:lnTo>
                    <a:pt x="471" y="324"/>
                  </a:lnTo>
                  <a:lnTo>
                    <a:pt x="473" y="325"/>
                  </a:lnTo>
                  <a:lnTo>
                    <a:pt x="469" y="325"/>
                  </a:lnTo>
                  <a:lnTo>
                    <a:pt x="474" y="328"/>
                  </a:lnTo>
                  <a:lnTo>
                    <a:pt x="474" y="330"/>
                  </a:lnTo>
                  <a:lnTo>
                    <a:pt x="469" y="327"/>
                  </a:lnTo>
                  <a:lnTo>
                    <a:pt x="468" y="327"/>
                  </a:lnTo>
                  <a:lnTo>
                    <a:pt x="467" y="327"/>
                  </a:lnTo>
                  <a:lnTo>
                    <a:pt x="467" y="328"/>
                  </a:lnTo>
                  <a:lnTo>
                    <a:pt x="466" y="328"/>
                  </a:lnTo>
                  <a:lnTo>
                    <a:pt x="466" y="326"/>
                  </a:lnTo>
                  <a:lnTo>
                    <a:pt x="467" y="326"/>
                  </a:lnTo>
                  <a:lnTo>
                    <a:pt x="466" y="325"/>
                  </a:lnTo>
                  <a:lnTo>
                    <a:pt x="465" y="325"/>
                  </a:lnTo>
                  <a:lnTo>
                    <a:pt x="465" y="322"/>
                  </a:lnTo>
                  <a:lnTo>
                    <a:pt x="463" y="324"/>
                  </a:lnTo>
                  <a:lnTo>
                    <a:pt x="462" y="325"/>
                  </a:lnTo>
                  <a:lnTo>
                    <a:pt x="461" y="321"/>
                  </a:lnTo>
                  <a:lnTo>
                    <a:pt x="461" y="328"/>
                  </a:lnTo>
                  <a:lnTo>
                    <a:pt x="460" y="330"/>
                  </a:lnTo>
                  <a:lnTo>
                    <a:pt x="459" y="327"/>
                  </a:lnTo>
                  <a:lnTo>
                    <a:pt x="457" y="327"/>
                  </a:lnTo>
                  <a:lnTo>
                    <a:pt x="456" y="330"/>
                  </a:lnTo>
                  <a:lnTo>
                    <a:pt x="455" y="330"/>
                  </a:lnTo>
                  <a:lnTo>
                    <a:pt x="454" y="328"/>
                  </a:lnTo>
                  <a:lnTo>
                    <a:pt x="454" y="326"/>
                  </a:lnTo>
                  <a:lnTo>
                    <a:pt x="454" y="325"/>
                  </a:lnTo>
                  <a:lnTo>
                    <a:pt x="454" y="322"/>
                  </a:lnTo>
                  <a:lnTo>
                    <a:pt x="454" y="324"/>
                  </a:lnTo>
                  <a:lnTo>
                    <a:pt x="452" y="324"/>
                  </a:lnTo>
                  <a:lnTo>
                    <a:pt x="451" y="319"/>
                  </a:lnTo>
                  <a:lnTo>
                    <a:pt x="449" y="319"/>
                  </a:lnTo>
                  <a:lnTo>
                    <a:pt x="448" y="319"/>
                  </a:lnTo>
                  <a:lnTo>
                    <a:pt x="446" y="321"/>
                  </a:lnTo>
                  <a:lnTo>
                    <a:pt x="446" y="322"/>
                  </a:lnTo>
                  <a:lnTo>
                    <a:pt x="445" y="322"/>
                  </a:lnTo>
                  <a:lnTo>
                    <a:pt x="445" y="320"/>
                  </a:lnTo>
                  <a:lnTo>
                    <a:pt x="445" y="318"/>
                  </a:lnTo>
                  <a:lnTo>
                    <a:pt x="444" y="316"/>
                  </a:lnTo>
                  <a:lnTo>
                    <a:pt x="443" y="318"/>
                  </a:lnTo>
                  <a:lnTo>
                    <a:pt x="442" y="319"/>
                  </a:lnTo>
                  <a:lnTo>
                    <a:pt x="442" y="318"/>
                  </a:lnTo>
                  <a:lnTo>
                    <a:pt x="440" y="318"/>
                  </a:lnTo>
                  <a:lnTo>
                    <a:pt x="442" y="320"/>
                  </a:lnTo>
                  <a:lnTo>
                    <a:pt x="444" y="324"/>
                  </a:lnTo>
                  <a:lnTo>
                    <a:pt x="448" y="324"/>
                  </a:lnTo>
                  <a:lnTo>
                    <a:pt x="448" y="325"/>
                  </a:lnTo>
                  <a:lnTo>
                    <a:pt x="445" y="325"/>
                  </a:lnTo>
                  <a:lnTo>
                    <a:pt x="448" y="328"/>
                  </a:lnTo>
                  <a:lnTo>
                    <a:pt x="450" y="330"/>
                  </a:lnTo>
                  <a:lnTo>
                    <a:pt x="451" y="332"/>
                  </a:lnTo>
                  <a:lnTo>
                    <a:pt x="457" y="334"/>
                  </a:lnTo>
                  <a:lnTo>
                    <a:pt x="456" y="336"/>
                  </a:lnTo>
                  <a:lnTo>
                    <a:pt x="461" y="339"/>
                  </a:lnTo>
                  <a:lnTo>
                    <a:pt x="459" y="338"/>
                  </a:lnTo>
                  <a:lnTo>
                    <a:pt x="457" y="339"/>
                  </a:lnTo>
                  <a:lnTo>
                    <a:pt x="462" y="342"/>
                  </a:lnTo>
                  <a:lnTo>
                    <a:pt x="457" y="339"/>
                  </a:lnTo>
                  <a:lnTo>
                    <a:pt x="456" y="339"/>
                  </a:lnTo>
                  <a:lnTo>
                    <a:pt x="455" y="343"/>
                  </a:lnTo>
                  <a:lnTo>
                    <a:pt x="455" y="338"/>
                  </a:lnTo>
                  <a:lnTo>
                    <a:pt x="455" y="337"/>
                  </a:lnTo>
                  <a:lnTo>
                    <a:pt x="452" y="339"/>
                  </a:lnTo>
                  <a:lnTo>
                    <a:pt x="452" y="337"/>
                  </a:lnTo>
                  <a:lnTo>
                    <a:pt x="451" y="336"/>
                  </a:lnTo>
                  <a:lnTo>
                    <a:pt x="451" y="337"/>
                  </a:lnTo>
                  <a:lnTo>
                    <a:pt x="450" y="339"/>
                  </a:lnTo>
                  <a:lnTo>
                    <a:pt x="449" y="333"/>
                  </a:lnTo>
                  <a:lnTo>
                    <a:pt x="448" y="339"/>
                  </a:lnTo>
                  <a:lnTo>
                    <a:pt x="448" y="340"/>
                  </a:lnTo>
                  <a:lnTo>
                    <a:pt x="446" y="342"/>
                  </a:lnTo>
                  <a:lnTo>
                    <a:pt x="446" y="339"/>
                  </a:lnTo>
                  <a:lnTo>
                    <a:pt x="446" y="334"/>
                  </a:lnTo>
                  <a:lnTo>
                    <a:pt x="445" y="336"/>
                  </a:lnTo>
                  <a:lnTo>
                    <a:pt x="444" y="336"/>
                  </a:lnTo>
                  <a:lnTo>
                    <a:pt x="446" y="330"/>
                  </a:lnTo>
                  <a:lnTo>
                    <a:pt x="445" y="327"/>
                  </a:lnTo>
                  <a:lnTo>
                    <a:pt x="445" y="330"/>
                  </a:lnTo>
                  <a:lnTo>
                    <a:pt x="444" y="334"/>
                  </a:lnTo>
                  <a:lnTo>
                    <a:pt x="443" y="333"/>
                  </a:lnTo>
                  <a:lnTo>
                    <a:pt x="444" y="327"/>
                  </a:lnTo>
                  <a:lnTo>
                    <a:pt x="443" y="327"/>
                  </a:lnTo>
                  <a:lnTo>
                    <a:pt x="442" y="330"/>
                  </a:lnTo>
                  <a:lnTo>
                    <a:pt x="443" y="332"/>
                  </a:lnTo>
                  <a:lnTo>
                    <a:pt x="442" y="331"/>
                  </a:lnTo>
                  <a:lnTo>
                    <a:pt x="443" y="324"/>
                  </a:lnTo>
                  <a:lnTo>
                    <a:pt x="442" y="324"/>
                  </a:lnTo>
                  <a:lnTo>
                    <a:pt x="440" y="330"/>
                  </a:lnTo>
                  <a:lnTo>
                    <a:pt x="440" y="332"/>
                  </a:lnTo>
                  <a:lnTo>
                    <a:pt x="438" y="333"/>
                  </a:lnTo>
                  <a:lnTo>
                    <a:pt x="437" y="332"/>
                  </a:lnTo>
                  <a:lnTo>
                    <a:pt x="436" y="327"/>
                  </a:lnTo>
                  <a:lnTo>
                    <a:pt x="436" y="326"/>
                  </a:lnTo>
                  <a:lnTo>
                    <a:pt x="434" y="326"/>
                  </a:lnTo>
                  <a:lnTo>
                    <a:pt x="432" y="326"/>
                  </a:lnTo>
                  <a:lnTo>
                    <a:pt x="432" y="324"/>
                  </a:lnTo>
                  <a:lnTo>
                    <a:pt x="433" y="322"/>
                  </a:lnTo>
                  <a:lnTo>
                    <a:pt x="432" y="320"/>
                  </a:lnTo>
                  <a:lnTo>
                    <a:pt x="432" y="321"/>
                  </a:lnTo>
                  <a:lnTo>
                    <a:pt x="431" y="324"/>
                  </a:lnTo>
                  <a:lnTo>
                    <a:pt x="431" y="326"/>
                  </a:lnTo>
                  <a:lnTo>
                    <a:pt x="428" y="326"/>
                  </a:lnTo>
                  <a:lnTo>
                    <a:pt x="428" y="324"/>
                  </a:lnTo>
                  <a:lnTo>
                    <a:pt x="426" y="322"/>
                  </a:lnTo>
                  <a:lnTo>
                    <a:pt x="425" y="324"/>
                  </a:lnTo>
                  <a:lnTo>
                    <a:pt x="425" y="325"/>
                  </a:lnTo>
                  <a:lnTo>
                    <a:pt x="426" y="327"/>
                  </a:lnTo>
                  <a:lnTo>
                    <a:pt x="428" y="330"/>
                  </a:lnTo>
                  <a:lnTo>
                    <a:pt x="426" y="330"/>
                  </a:lnTo>
                  <a:lnTo>
                    <a:pt x="428" y="331"/>
                  </a:lnTo>
                  <a:lnTo>
                    <a:pt x="428" y="332"/>
                  </a:lnTo>
                  <a:lnTo>
                    <a:pt x="433" y="336"/>
                  </a:lnTo>
                  <a:lnTo>
                    <a:pt x="434" y="337"/>
                  </a:lnTo>
                  <a:lnTo>
                    <a:pt x="438" y="337"/>
                  </a:lnTo>
                  <a:lnTo>
                    <a:pt x="436" y="338"/>
                  </a:lnTo>
                  <a:lnTo>
                    <a:pt x="436" y="339"/>
                  </a:lnTo>
                  <a:lnTo>
                    <a:pt x="440" y="339"/>
                  </a:lnTo>
                  <a:lnTo>
                    <a:pt x="442" y="340"/>
                  </a:lnTo>
                  <a:lnTo>
                    <a:pt x="440" y="340"/>
                  </a:lnTo>
                  <a:lnTo>
                    <a:pt x="439" y="340"/>
                  </a:lnTo>
                  <a:lnTo>
                    <a:pt x="439" y="342"/>
                  </a:lnTo>
                  <a:lnTo>
                    <a:pt x="440" y="342"/>
                  </a:lnTo>
                  <a:lnTo>
                    <a:pt x="443" y="343"/>
                  </a:lnTo>
                  <a:lnTo>
                    <a:pt x="442" y="344"/>
                  </a:lnTo>
                  <a:lnTo>
                    <a:pt x="443" y="345"/>
                  </a:lnTo>
                  <a:lnTo>
                    <a:pt x="444" y="344"/>
                  </a:lnTo>
                  <a:lnTo>
                    <a:pt x="444" y="343"/>
                  </a:lnTo>
                  <a:lnTo>
                    <a:pt x="445" y="343"/>
                  </a:lnTo>
                  <a:lnTo>
                    <a:pt x="446" y="343"/>
                  </a:lnTo>
                  <a:lnTo>
                    <a:pt x="446" y="345"/>
                  </a:lnTo>
                  <a:lnTo>
                    <a:pt x="450" y="344"/>
                  </a:lnTo>
                  <a:lnTo>
                    <a:pt x="448" y="345"/>
                  </a:lnTo>
                  <a:lnTo>
                    <a:pt x="448" y="347"/>
                  </a:lnTo>
                  <a:lnTo>
                    <a:pt x="451" y="348"/>
                  </a:lnTo>
                  <a:lnTo>
                    <a:pt x="448" y="349"/>
                  </a:lnTo>
                  <a:lnTo>
                    <a:pt x="449" y="349"/>
                  </a:lnTo>
                  <a:lnTo>
                    <a:pt x="449" y="350"/>
                  </a:lnTo>
                  <a:lnTo>
                    <a:pt x="450" y="350"/>
                  </a:lnTo>
                  <a:lnTo>
                    <a:pt x="451" y="350"/>
                  </a:lnTo>
                  <a:lnTo>
                    <a:pt x="452" y="350"/>
                  </a:lnTo>
                  <a:lnTo>
                    <a:pt x="452" y="351"/>
                  </a:lnTo>
                  <a:lnTo>
                    <a:pt x="454" y="353"/>
                  </a:lnTo>
                  <a:lnTo>
                    <a:pt x="457" y="351"/>
                  </a:lnTo>
                  <a:lnTo>
                    <a:pt x="457" y="353"/>
                  </a:lnTo>
                  <a:lnTo>
                    <a:pt x="455" y="353"/>
                  </a:lnTo>
                  <a:lnTo>
                    <a:pt x="454" y="353"/>
                  </a:lnTo>
                  <a:lnTo>
                    <a:pt x="455" y="354"/>
                  </a:lnTo>
                  <a:lnTo>
                    <a:pt x="459" y="356"/>
                  </a:lnTo>
                  <a:lnTo>
                    <a:pt x="457" y="356"/>
                  </a:lnTo>
                  <a:lnTo>
                    <a:pt x="452" y="354"/>
                  </a:lnTo>
                  <a:lnTo>
                    <a:pt x="452" y="355"/>
                  </a:lnTo>
                  <a:lnTo>
                    <a:pt x="452" y="357"/>
                  </a:lnTo>
                  <a:lnTo>
                    <a:pt x="456" y="357"/>
                  </a:lnTo>
                  <a:lnTo>
                    <a:pt x="459" y="359"/>
                  </a:lnTo>
                  <a:lnTo>
                    <a:pt x="460" y="359"/>
                  </a:lnTo>
                  <a:lnTo>
                    <a:pt x="462" y="359"/>
                  </a:lnTo>
                  <a:lnTo>
                    <a:pt x="465" y="359"/>
                  </a:lnTo>
                  <a:lnTo>
                    <a:pt x="466" y="360"/>
                  </a:lnTo>
                  <a:lnTo>
                    <a:pt x="461" y="360"/>
                  </a:lnTo>
                  <a:lnTo>
                    <a:pt x="461" y="361"/>
                  </a:lnTo>
                  <a:lnTo>
                    <a:pt x="463" y="361"/>
                  </a:lnTo>
                  <a:lnTo>
                    <a:pt x="465" y="361"/>
                  </a:lnTo>
                  <a:lnTo>
                    <a:pt x="461" y="362"/>
                  </a:lnTo>
                  <a:lnTo>
                    <a:pt x="460" y="362"/>
                  </a:lnTo>
                  <a:lnTo>
                    <a:pt x="459" y="362"/>
                  </a:lnTo>
                  <a:lnTo>
                    <a:pt x="459" y="365"/>
                  </a:lnTo>
                  <a:lnTo>
                    <a:pt x="457" y="365"/>
                  </a:lnTo>
                  <a:lnTo>
                    <a:pt x="457" y="361"/>
                  </a:lnTo>
                  <a:lnTo>
                    <a:pt x="459" y="361"/>
                  </a:lnTo>
                  <a:lnTo>
                    <a:pt x="457" y="360"/>
                  </a:lnTo>
                  <a:lnTo>
                    <a:pt x="456" y="360"/>
                  </a:lnTo>
                  <a:lnTo>
                    <a:pt x="456" y="363"/>
                  </a:lnTo>
                  <a:lnTo>
                    <a:pt x="455" y="362"/>
                  </a:lnTo>
                  <a:lnTo>
                    <a:pt x="455" y="361"/>
                  </a:lnTo>
                  <a:lnTo>
                    <a:pt x="455" y="360"/>
                  </a:lnTo>
                  <a:lnTo>
                    <a:pt x="454" y="360"/>
                  </a:lnTo>
                  <a:lnTo>
                    <a:pt x="454" y="362"/>
                  </a:lnTo>
                  <a:lnTo>
                    <a:pt x="454" y="363"/>
                  </a:lnTo>
                  <a:lnTo>
                    <a:pt x="452" y="363"/>
                  </a:lnTo>
                  <a:lnTo>
                    <a:pt x="455" y="363"/>
                  </a:lnTo>
                  <a:lnTo>
                    <a:pt x="455" y="365"/>
                  </a:lnTo>
                  <a:lnTo>
                    <a:pt x="456" y="365"/>
                  </a:lnTo>
                  <a:lnTo>
                    <a:pt x="456" y="366"/>
                  </a:lnTo>
                  <a:lnTo>
                    <a:pt x="455" y="367"/>
                  </a:lnTo>
                  <a:lnTo>
                    <a:pt x="457" y="367"/>
                  </a:lnTo>
                  <a:lnTo>
                    <a:pt x="459" y="367"/>
                  </a:lnTo>
                  <a:lnTo>
                    <a:pt x="461" y="366"/>
                  </a:lnTo>
                  <a:lnTo>
                    <a:pt x="462" y="367"/>
                  </a:lnTo>
                  <a:lnTo>
                    <a:pt x="466" y="363"/>
                  </a:lnTo>
                  <a:lnTo>
                    <a:pt x="466" y="365"/>
                  </a:lnTo>
                  <a:lnTo>
                    <a:pt x="467" y="365"/>
                  </a:lnTo>
                  <a:lnTo>
                    <a:pt x="465" y="367"/>
                  </a:lnTo>
                  <a:lnTo>
                    <a:pt x="466" y="367"/>
                  </a:lnTo>
                  <a:lnTo>
                    <a:pt x="467" y="366"/>
                  </a:lnTo>
                  <a:lnTo>
                    <a:pt x="468" y="365"/>
                  </a:lnTo>
                  <a:lnTo>
                    <a:pt x="469" y="366"/>
                  </a:lnTo>
                  <a:lnTo>
                    <a:pt x="469" y="367"/>
                  </a:lnTo>
                  <a:lnTo>
                    <a:pt x="471" y="368"/>
                  </a:lnTo>
                  <a:lnTo>
                    <a:pt x="471" y="369"/>
                  </a:lnTo>
                  <a:lnTo>
                    <a:pt x="469" y="369"/>
                  </a:lnTo>
                  <a:lnTo>
                    <a:pt x="467" y="368"/>
                  </a:lnTo>
                  <a:lnTo>
                    <a:pt x="466" y="368"/>
                  </a:lnTo>
                  <a:lnTo>
                    <a:pt x="465" y="368"/>
                  </a:lnTo>
                  <a:lnTo>
                    <a:pt x="466" y="369"/>
                  </a:lnTo>
                  <a:lnTo>
                    <a:pt x="468" y="372"/>
                  </a:lnTo>
                  <a:lnTo>
                    <a:pt x="472" y="373"/>
                  </a:lnTo>
                  <a:lnTo>
                    <a:pt x="474" y="371"/>
                  </a:lnTo>
                  <a:lnTo>
                    <a:pt x="479" y="371"/>
                  </a:lnTo>
                  <a:lnTo>
                    <a:pt x="481" y="373"/>
                  </a:lnTo>
                  <a:lnTo>
                    <a:pt x="484" y="374"/>
                  </a:lnTo>
                  <a:lnTo>
                    <a:pt x="485" y="374"/>
                  </a:lnTo>
                  <a:lnTo>
                    <a:pt x="486" y="375"/>
                  </a:lnTo>
                  <a:lnTo>
                    <a:pt x="487" y="374"/>
                  </a:lnTo>
                  <a:lnTo>
                    <a:pt x="487" y="377"/>
                  </a:lnTo>
                  <a:lnTo>
                    <a:pt x="490" y="378"/>
                  </a:lnTo>
                  <a:lnTo>
                    <a:pt x="490" y="379"/>
                  </a:lnTo>
                  <a:lnTo>
                    <a:pt x="492" y="379"/>
                  </a:lnTo>
                  <a:lnTo>
                    <a:pt x="493" y="378"/>
                  </a:lnTo>
                  <a:lnTo>
                    <a:pt x="495" y="378"/>
                  </a:lnTo>
                  <a:lnTo>
                    <a:pt x="495" y="375"/>
                  </a:lnTo>
                  <a:lnTo>
                    <a:pt x="496" y="375"/>
                  </a:lnTo>
                  <a:lnTo>
                    <a:pt x="496" y="377"/>
                  </a:lnTo>
                  <a:lnTo>
                    <a:pt x="495" y="379"/>
                  </a:lnTo>
                  <a:lnTo>
                    <a:pt x="495" y="380"/>
                  </a:lnTo>
                  <a:lnTo>
                    <a:pt x="496" y="381"/>
                  </a:lnTo>
                  <a:lnTo>
                    <a:pt x="498" y="381"/>
                  </a:lnTo>
                  <a:lnTo>
                    <a:pt x="499" y="381"/>
                  </a:lnTo>
                  <a:lnTo>
                    <a:pt x="501" y="381"/>
                  </a:lnTo>
                  <a:lnTo>
                    <a:pt x="503" y="383"/>
                  </a:lnTo>
                  <a:lnTo>
                    <a:pt x="501" y="383"/>
                  </a:lnTo>
                  <a:lnTo>
                    <a:pt x="498" y="383"/>
                  </a:lnTo>
                  <a:lnTo>
                    <a:pt x="498" y="384"/>
                  </a:lnTo>
                  <a:lnTo>
                    <a:pt x="502" y="386"/>
                  </a:lnTo>
                  <a:lnTo>
                    <a:pt x="503" y="386"/>
                  </a:lnTo>
                  <a:lnTo>
                    <a:pt x="504" y="386"/>
                  </a:lnTo>
                  <a:lnTo>
                    <a:pt x="505" y="387"/>
                  </a:lnTo>
                  <a:lnTo>
                    <a:pt x="510" y="387"/>
                  </a:lnTo>
                  <a:lnTo>
                    <a:pt x="514" y="387"/>
                  </a:lnTo>
                  <a:lnTo>
                    <a:pt x="516" y="387"/>
                  </a:lnTo>
                  <a:lnTo>
                    <a:pt x="516" y="389"/>
                  </a:lnTo>
                  <a:lnTo>
                    <a:pt x="515" y="389"/>
                  </a:lnTo>
                  <a:lnTo>
                    <a:pt x="513" y="389"/>
                  </a:lnTo>
                  <a:lnTo>
                    <a:pt x="515" y="391"/>
                  </a:lnTo>
                  <a:lnTo>
                    <a:pt x="515" y="392"/>
                  </a:lnTo>
                  <a:lnTo>
                    <a:pt x="511" y="390"/>
                  </a:lnTo>
                  <a:lnTo>
                    <a:pt x="510" y="390"/>
                  </a:lnTo>
                  <a:lnTo>
                    <a:pt x="509" y="390"/>
                  </a:lnTo>
                  <a:lnTo>
                    <a:pt x="509" y="391"/>
                  </a:lnTo>
                  <a:lnTo>
                    <a:pt x="510" y="392"/>
                  </a:lnTo>
                  <a:lnTo>
                    <a:pt x="509" y="392"/>
                  </a:lnTo>
                  <a:lnTo>
                    <a:pt x="509" y="391"/>
                  </a:lnTo>
                  <a:lnTo>
                    <a:pt x="508" y="390"/>
                  </a:lnTo>
                  <a:lnTo>
                    <a:pt x="507" y="389"/>
                  </a:lnTo>
                  <a:lnTo>
                    <a:pt x="503" y="389"/>
                  </a:lnTo>
                  <a:lnTo>
                    <a:pt x="504" y="390"/>
                  </a:lnTo>
                  <a:lnTo>
                    <a:pt x="508" y="392"/>
                  </a:lnTo>
                  <a:lnTo>
                    <a:pt x="509" y="395"/>
                  </a:lnTo>
                  <a:lnTo>
                    <a:pt x="515" y="397"/>
                  </a:lnTo>
                  <a:lnTo>
                    <a:pt x="515" y="398"/>
                  </a:lnTo>
                  <a:lnTo>
                    <a:pt x="514" y="398"/>
                  </a:lnTo>
                  <a:lnTo>
                    <a:pt x="510" y="396"/>
                  </a:lnTo>
                  <a:lnTo>
                    <a:pt x="509" y="396"/>
                  </a:lnTo>
                  <a:lnTo>
                    <a:pt x="509" y="398"/>
                  </a:lnTo>
                  <a:lnTo>
                    <a:pt x="508" y="398"/>
                  </a:lnTo>
                  <a:lnTo>
                    <a:pt x="508" y="396"/>
                  </a:lnTo>
                  <a:lnTo>
                    <a:pt x="508" y="395"/>
                  </a:lnTo>
                  <a:lnTo>
                    <a:pt x="507" y="395"/>
                  </a:lnTo>
                  <a:lnTo>
                    <a:pt x="505" y="398"/>
                  </a:lnTo>
                  <a:lnTo>
                    <a:pt x="504" y="401"/>
                  </a:lnTo>
                  <a:lnTo>
                    <a:pt x="503" y="402"/>
                  </a:lnTo>
                  <a:lnTo>
                    <a:pt x="502" y="403"/>
                  </a:lnTo>
                  <a:lnTo>
                    <a:pt x="502" y="402"/>
                  </a:lnTo>
                  <a:lnTo>
                    <a:pt x="502" y="398"/>
                  </a:lnTo>
                  <a:lnTo>
                    <a:pt x="498" y="398"/>
                  </a:lnTo>
                  <a:lnTo>
                    <a:pt x="498" y="397"/>
                  </a:lnTo>
                  <a:lnTo>
                    <a:pt x="498" y="396"/>
                  </a:lnTo>
                  <a:lnTo>
                    <a:pt x="497" y="395"/>
                  </a:lnTo>
                  <a:lnTo>
                    <a:pt x="497" y="396"/>
                  </a:lnTo>
                  <a:lnTo>
                    <a:pt x="496" y="397"/>
                  </a:lnTo>
                  <a:lnTo>
                    <a:pt x="493" y="398"/>
                  </a:lnTo>
                  <a:lnTo>
                    <a:pt x="493" y="399"/>
                  </a:lnTo>
                  <a:lnTo>
                    <a:pt x="492" y="402"/>
                  </a:lnTo>
                  <a:lnTo>
                    <a:pt x="491" y="403"/>
                  </a:lnTo>
                  <a:lnTo>
                    <a:pt x="491" y="402"/>
                  </a:lnTo>
                  <a:lnTo>
                    <a:pt x="491" y="397"/>
                  </a:lnTo>
                  <a:lnTo>
                    <a:pt x="490" y="396"/>
                  </a:lnTo>
                  <a:lnTo>
                    <a:pt x="490" y="399"/>
                  </a:lnTo>
                  <a:lnTo>
                    <a:pt x="489" y="399"/>
                  </a:lnTo>
                  <a:lnTo>
                    <a:pt x="487" y="397"/>
                  </a:lnTo>
                  <a:lnTo>
                    <a:pt x="487" y="396"/>
                  </a:lnTo>
                  <a:lnTo>
                    <a:pt x="487" y="397"/>
                  </a:lnTo>
                  <a:lnTo>
                    <a:pt x="486" y="397"/>
                  </a:lnTo>
                  <a:lnTo>
                    <a:pt x="486" y="398"/>
                  </a:lnTo>
                  <a:lnTo>
                    <a:pt x="485" y="397"/>
                  </a:lnTo>
                  <a:lnTo>
                    <a:pt x="484" y="397"/>
                  </a:lnTo>
                  <a:lnTo>
                    <a:pt x="485" y="396"/>
                  </a:lnTo>
                  <a:lnTo>
                    <a:pt x="485" y="395"/>
                  </a:lnTo>
                  <a:lnTo>
                    <a:pt x="485" y="393"/>
                  </a:lnTo>
                  <a:lnTo>
                    <a:pt x="485" y="392"/>
                  </a:lnTo>
                  <a:lnTo>
                    <a:pt x="485" y="391"/>
                  </a:lnTo>
                  <a:lnTo>
                    <a:pt x="484" y="391"/>
                  </a:lnTo>
                  <a:lnTo>
                    <a:pt x="484" y="392"/>
                  </a:lnTo>
                  <a:lnTo>
                    <a:pt x="484" y="393"/>
                  </a:lnTo>
                  <a:lnTo>
                    <a:pt x="485" y="395"/>
                  </a:lnTo>
                  <a:lnTo>
                    <a:pt x="485" y="396"/>
                  </a:lnTo>
                  <a:lnTo>
                    <a:pt x="484" y="396"/>
                  </a:lnTo>
                  <a:lnTo>
                    <a:pt x="484" y="397"/>
                  </a:lnTo>
                  <a:lnTo>
                    <a:pt x="484" y="399"/>
                  </a:lnTo>
                  <a:lnTo>
                    <a:pt x="484" y="401"/>
                  </a:lnTo>
                  <a:lnTo>
                    <a:pt x="484" y="402"/>
                  </a:lnTo>
                  <a:lnTo>
                    <a:pt x="483" y="401"/>
                  </a:lnTo>
                  <a:lnTo>
                    <a:pt x="483" y="399"/>
                  </a:lnTo>
                  <a:lnTo>
                    <a:pt x="481" y="398"/>
                  </a:lnTo>
                  <a:lnTo>
                    <a:pt x="480" y="398"/>
                  </a:lnTo>
                  <a:lnTo>
                    <a:pt x="480" y="395"/>
                  </a:lnTo>
                  <a:lnTo>
                    <a:pt x="479" y="395"/>
                  </a:lnTo>
                  <a:lnTo>
                    <a:pt x="477" y="396"/>
                  </a:lnTo>
                  <a:lnTo>
                    <a:pt x="477" y="397"/>
                  </a:lnTo>
                  <a:lnTo>
                    <a:pt x="477" y="398"/>
                  </a:lnTo>
                  <a:lnTo>
                    <a:pt x="475" y="399"/>
                  </a:lnTo>
                  <a:lnTo>
                    <a:pt x="475" y="401"/>
                  </a:lnTo>
                  <a:lnTo>
                    <a:pt x="477" y="402"/>
                  </a:lnTo>
                  <a:lnTo>
                    <a:pt x="479" y="402"/>
                  </a:lnTo>
                  <a:lnTo>
                    <a:pt x="480" y="403"/>
                  </a:lnTo>
                  <a:lnTo>
                    <a:pt x="483" y="404"/>
                  </a:lnTo>
                  <a:lnTo>
                    <a:pt x="483" y="405"/>
                  </a:lnTo>
                  <a:lnTo>
                    <a:pt x="481" y="405"/>
                  </a:lnTo>
                  <a:lnTo>
                    <a:pt x="481" y="404"/>
                  </a:lnTo>
                  <a:lnTo>
                    <a:pt x="480" y="405"/>
                  </a:lnTo>
                  <a:lnTo>
                    <a:pt x="480" y="404"/>
                  </a:lnTo>
                  <a:lnTo>
                    <a:pt x="479" y="404"/>
                  </a:lnTo>
                  <a:lnTo>
                    <a:pt x="478" y="404"/>
                  </a:lnTo>
                  <a:lnTo>
                    <a:pt x="478" y="405"/>
                  </a:lnTo>
                  <a:lnTo>
                    <a:pt x="479" y="407"/>
                  </a:lnTo>
                  <a:lnTo>
                    <a:pt x="480" y="408"/>
                  </a:lnTo>
                  <a:lnTo>
                    <a:pt x="481" y="408"/>
                  </a:lnTo>
                  <a:lnTo>
                    <a:pt x="483" y="407"/>
                  </a:lnTo>
                  <a:lnTo>
                    <a:pt x="484" y="405"/>
                  </a:lnTo>
                  <a:lnTo>
                    <a:pt x="484" y="407"/>
                  </a:lnTo>
                  <a:lnTo>
                    <a:pt x="484" y="408"/>
                  </a:lnTo>
                  <a:lnTo>
                    <a:pt x="487" y="408"/>
                  </a:lnTo>
                  <a:lnTo>
                    <a:pt x="490" y="407"/>
                  </a:lnTo>
                  <a:lnTo>
                    <a:pt x="491" y="407"/>
                  </a:lnTo>
                  <a:lnTo>
                    <a:pt x="491" y="405"/>
                  </a:lnTo>
                  <a:lnTo>
                    <a:pt x="492" y="405"/>
                  </a:lnTo>
                  <a:lnTo>
                    <a:pt x="493" y="407"/>
                  </a:lnTo>
                  <a:lnTo>
                    <a:pt x="499" y="407"/>
                  </a:lnTo>
                  <a:lnTo>
                    <a:pt x="501" y="407"/>
                  </a:lnTo>
                  <a:lnTo>
                    <a:pt x="502" y="407"/>
                  </a:lnTo>
                  <a:lnTo>
                    <a:pt x="503" y="407"/>
                  </a:lnTo>
                  <a:lnTo>
                    <a:pt x="504" y="408"/>
                  </a:lnTo>
                  <a:lnTo>
                    <a:pt x="504" y="407"/>
                  </a:lnTo>
                  <a:lnTo>
                    <a:pt x="505" y="407"/>
                  </a:lnTo>
                  <a:lnTo>
                    <a:pt x="507" y="407"/>
                  </a:lnTo>
                  <a:lnTo>
                    <a:pt x="508" y="407"/>
                  </a:lnTo>
                  <a:lnTo>
                    <a:pt x="510" y="407"/>
                  </a:lnTo>
                  <a:lnTo>
                    <a:pt x="511" y="408"/>
                  </a:lnTo>
                  <a:lnTo>
                    <a:pt x="514" y="408"/>
                  </a:lnTo>
                  <a:lnTo>
                    <a:pt x="515" y="408"/>
                  </a:lnTo>
                  <a:lnTo>
                    <a:pt x="518" y="408"/>
                  </a:lnTo>
                  <a:lnTo>
                    <a:pt x="519" y="408"/>
                  </a:lnTo>
                  <a:lnTo>
                    <a:pt x="521" y="409"/>
                  </a:lnTo>
                  <a:lnTo>
                    <a:pt x="522" y="409"/>
                  </a:lnTo>
                  <a:lnTo>
                    <a:pt x="524" y="409"/>
                  </a:lnTo>
                  <a:lnTo>
                    <a:pt x="526" y="410"/>
                  </a:lnTo>
                  <a:lnTo>
                    <a:pt x="527" y="411"/>
                  </a:lnTo>
                  <a:lnTo>
                    <a:pt x="528" y="411"/>
                  </a:lnTo>
                  <a:lnTo>
                    <a:pt x="531" y="411"/>
                  </a:lnTo>
                  <a:lnTo>
                    <a:pt x="532" y="413"/>
                  </a:lnTo>
                  <a:lnTo>
                    <a:pt x="533" y="413"/>
                  </a:lnTo>
                  <a:lnTo>
                    <a:pt x="534" y="413"/>
                  </a:lnTo>
                  <a:lnTo>
                    <a:pt x="534" y="414"/>
                  </a:lnTo>
                  <a:lnTo>
                    <a:pt x="536" y="414"/>
                  </a:lnTo>
                  <a:lnTo>
                    <a:pt x="536" y="415"/>
                  </a:lnTo>
                  <a:lnTo>
                    <a:pt x="537" y="416"/>
                  </a:lnTo>
                  <a:lnTo>
                    <a:pt x="539" y="415"/>
                  </a:lnTo>
                  <a:lnTo>
                    <a:pt x="540" y="415"/>
                  </a:lnTo>
                  <a:lnTo>
                    <a:pt x="542" y="415"/>
                  </a:lnTo>
                  <a:lnTo>
                    <a:pt x="543" y="415"/>
                  </a:lnTo>
                  <a:lnTo>
                    <a:pt x="544" y="416"/>
                  </a:lnTo>
                  <a:lnTo>
                    <a:pt x="546" y="415"/>
                  </a:lnTo>
                  <a:lnTo>
                    <a:pt x="544" y="416"/>
                  </a:lnTo>
                  <a:lnTo>
                    <a:pt x="544" y="417"/>
                  </a:lnTo>
                  <a:lnTo>
                    <a:pt x="550" y="420"/>
                  </a:lnTo>
                  <a:lnTo>
                    <a:pt x="545" y="419"/>
                  </a:lnTo>
                  <a:lnTo>
                    <a:pt x="543" y="419"/>
                  </a:lnTo>
                  <a:lnTo>
                    <a:pt x="543" y="420"/>
                  </a:lnTo>
                  <a:lnTo>
                    <a:pt x="544" y="421"/>
                  </a:lnTo>
                  <a:lnTo>
                    <a:pt x="542" y="420"/>
                  </a:lnTo>
                  <a:lnTo>
                    <a:pt x="542" y="417"/>
                  </a:lnTo>
                  <a:lnTo>
                    <a:pt x="540" y="417"/>
                  </a:lnTo>
                  <a:lnTo>
                    <a:pt x="540" y="419"/>
                  </a:lnTo>
                  <a:lnTo>
                    <a:pt x="539" y="417"/>
                  </a:lnTo>
                  <a:lnTo>
                    <a:pt x="538" y="417"/>
                  </a:lnTo>
                  <a:lnTo>
                    <a:pt x="538" y="420"/>
                  </a:lnTo>
                  <a:lnTo>
                    <a:pt x="537" y="421"/>
                  </a:lnTo>
                  <a:lnTo>
                    <a:pt x="536" y="422"/>
                  </a:lnTo>
                  <a:lnTo>
                    <a:pt x="536" y="423"/>
                  </a:lnTo>
                  <a:lnTo>
                    <a:pt x="534" y="425"/>
                  </a:lnTo>
                  <a:lnTo>
                    <a:pt x="533" y="425"/>
                  </a:lnTo>
                  <a:lnTo>
                    <a:pt x="533" y="426"/>
                  </a:lnTo>
                  <a:lnTo>
                    <a:pt x="532" y="427"/>
                  </a:lnTo>
                  <a:lnTo>
                    <a:pt x="532" y="426"/>
                  </a:lnTo>
                  <a:lnTo>
                    <a:pt x="531" y="425"/>
                  </a:lnTo>
                  <a:lnTo>
                    <a:pt x="531" y="423"/>
                  </a:lnTo>
                  <a:lnTo>
                    <a:pt x="532" y="422"/>
                  </a:lnTo>
                  <a:lnTo>
                    <a:pt x="531" y="422"/>
                  </a:lnTo>
                  <a:lnTo>
                    <a:pt x="531" y="421"/>
                  </a:lnTo>
                  <a:lnTo>
                    <a:pt x="531" y="420"/>
                  </a:lnTo>
                  <a:lnTo>
                    <a:pt x="531" y="419"/>
                  </a:lnTo>
                  <a:lnTo>
                    <a:pt x="531" y="417"/>
                  </a:lnTo>
                  <a:lnTo>
                    <a:pt x="531" y="416"/>
                  </a:lnTo>
                  <a:lnTo>
                    <a:pt x="531" y="415"/>
                  </a:lnTo>
                  <a:lnTo>
                    <a:pt x="530" y="414"/>
                  </a:lnTo>
                  <a:lnTo>
                    <a:pt x="528" y="414"/>
                  </a:lnTo>
                  <a:lnTo>
                    <a:pt x="527" y="414"/>
                  </a:lnTo>
                  <a:lnTo>
                    <a:pt x="528" y="415"/>
                  </a:lnTo>
                  <a:lnTo>
                    <a:pt x="530" y="416"/>
                  </a:lnTo>
                  <a:lnTo>
                    <a:pt x="530" y="417"/>
                  </a:lnTo>
                  <a:lnTo>
                    <a:pt x="528" y="417"/>
                  </a:lnTo>
                  <a:lnTo>
                    <a:pt x="527" y="417"/>
                  </a:lnTo>
                  <a:lnTo>
                    <a:pt x="527" y="419"/>
                  </a:lnTo>
                  <a:lnTo>
                    <a:pt x="528" y="420"/>
                  </a:lnTo>
                  <a:lnTo>
                    <a:pt x="528" y="421"/>
                  </a:lnTo>
                  <a:lnTo>
                    <a:pt x="528" y="423"/>
                  </a:lnTo>
                  <a:lnTo>
                    <a:pt x="527" y="423"/>
                  </a:lnTo>
                  <a:lnTo>
                    <a:pt x="527" y="422"/>
                  </a:lnTo>
                  <a:lnTo>
                    <a:pt x="527" y="421"/>
                  </a:lnTo>
                  <a:lnTo>
                    <a:pt x="526" y="420"/>
                  </a:lnTo>
                  <a:lnTo>
                    <a:pt x="526" y="421"/>
                  </a:lnTo>
                  <a:lnTo>
                    <a:pt x="525" y="421"/>
                  </a:lnTo>
                  <a:lnTo>
                    <a:pt x="525" y="422"/>
                  </a:lnTo>
                  <a:lnTo>
                    <a:pt x="524" y="422"/>
                  </a:lnTo>
                  <a:lnTo>
                    <a:pt x="524" y="421"/>
                  </a:lnTo>
                  <a:lnTo>
                    <a:pt x="524" y="420"/>
                  </a:lnTo>
                  <a:lnTo>
                    <a:pt x="522" y="419"/>
                  </a:lnTo>
                  <a:lnTo>
                    <a:pt x="522" y="417"/>
                  </a:lnTo>
                  <a:lnTo>
                    <a:pt x="521" y="419"/>
                  </a:lnTo>
                  <a:lnTo>
                    <a:pt x="521" y="420"/>
                  </a:lnTo>
                  <a:lnTo>
                    <a:pt x="521" y="422"/>
                  </a:lnTo>
                  <a:lnTo>
                    <a:pt x="522" y="423"/>
                  </a:lnTo>
                  <a:lnTo>
                    <a:pt x="522" y="426"/>
                  </a:lnTo>
                  <a:lnTo>
                    <a:pt x="522" y="427"/>
                  </a:lnTo>
                  <a:lnTo>
                    <a:pt x="521" y="427"/>
                  </a:lnTo>
                  <a:lnTo>
                    <a:pt x="521" y="426"/>
                  </a:lnTo>
                  <a:lnTo>
                    <a:pt x="520" y="425"/>
                  </a:lnTo>
                  <a:lnTo>
                    <a:pt x="520" y="423"/>
                  </a:lnTo>
                  <a:lnTo>
                    <a:pt x="519" y="422"/>
                  </a:lnTo>
                  <a:lnTo>
                    <a:pt x="519" y="419"/>
                  </a:lnTo>
                  <a:lnTo>
                    <a:pt x="518" y="419"/>
                  </a:lnTo>
                  <a:lnTo>
                    <a:pt x="518" y="420"/>
                  </a:lnTo>
                  <a:lnTo>
                    <a:pt x="516" y="420"/>
                  </a:lnTo>
                  <a:lnTo>
                    <a:pt x="516" y="419"/>
                  </a:lnTo>
                  <a:lnTo>
                    <a:pt x="516" y="416"/>
                  </a:lnTo>
                  <a:lnTo>
                    <a:pt x="515" y="416"/>
                  </a:lnTo>
                  <a:lnTo>
                    <a:pt x="515" y="419"/>
                  </a:lnTo>
                  <a:lnTo>
                    <a:pt x="515" y="420"/>
                  </a:lnTo>
                  <a:lnTo>
                    <a:pt x="515" y="421"/>
                  </a:lnTo>
                  <a:lnTo>
                    <a:pt x="515" y="422"/>
                  </a:lnTo>
                  <a:lnTo>
                    <a:pt x="514" y="422"/>
                  </a:lnTo>
                  <a:lnTo>
                    <a:pt x="513" y="422"/>
                  </a:lnTo>
                  <a:lnTo>
                    <a:pt x="513" y="421"/>
                  </a:lnTo>
                  <a:lnTo>
                    <a:pt x="511" y="425"/>
                  </a:lnTo>
                  <a:lnTo>
                    <a:pt x="510" y="426"/>
                  </a:lnTo>
                  <a:lnTo>
                    <a:pt x="510" y="421"/>
                  </a:lnTo>
                  <a:lnTo>
                    <a:pt x="509" y="421"/>
                  </a:lnTo>
                  <a:lnTo>
                    <a:pt x="509" y="423"/>
                  </a:lnTo>
                  <a:lnTo>
                    <a:pt x="509" y="425"/>
                  </a:lnTo>
                  <a:lnTo>
                    <a:pt x="508" y="425"/>
                  </a:lnTo>
                  <a:lnTo>
                    <a:pt x="508" y="426"/>
                  </a:lnTo>
                  <a:lnTo>
                    <a:pt x="508" y="427"/>
                  </a:lnTo>
                  <a:lnTo>
                    <a:pt x="507" y="427"/>
                  </a:lnTo>
                  <a:lnTo>
                    <a:pt x="507" y="428"/>
                  </a:lnTo>
                  <a:lnTo>
                    <a:pt x="505" y="429"/>
                  </a:lnTo>
                  <a:lnTo>
                    <a:pt x="504" y="429"/>
                  </a:lnTo>
                  <a:lnTo>
                    <a:pt x="504" y="428"/>
                  </a:lnTo>
                  <a:lnTo>
                    <a:pt x="503" y="428"/>
                  </a:lnTo>
                  <a:lnTo>
                    <a:pt x="503" y="427"/>
                  </a:lnTo>
                  <a:lnTo>
                    <a:pt x="503" y="426"/>
                  </a:lnTo>
                  <a:lnTo>
                    <a:pt x="503" y="425"/>
                  </a:lnTo>
                  <a:lnTo>
                    <a:pt x="502" y="425"/>
                  </a:lnTo>
                  <a:lnTo>
                    <a:pt x="502" y="426"/>
                  </a:lnTo>
                  <a:lnTo>
                    <a:pt x="502" y="425"/>
                  </a:lnTo>
                  <a:lnTo>
                    <a:pt x="502" y="423"/>
                  </a:lnTo>
                  <a:lnTo>
                    <a:pt x="502" y="422"/>
                  </a:lnTo>
                  <a:lnTo>
                    <a:pt x="501" y="422"/>
                  </a:lnTo>
                  <a:lnTo>
                    <a:pt x="499" y="422"/>
                  </a:lnTo>
                  <a:lnTo>
                    <a:pt x="499" y="423"/>
                  </a:lnTo>
                  <a:lnTo>
                    <a:pt x="498" y="423"/>
                  </a:lnTo>
                  <a:lnTo>
                    <a:pt x="498" y="425"/>
                  </a:lnTo>
                  <a:lnTo>
                    <a:pt x="498" y="426"/>
                  </a:lnTo>
                  <a:lnTo>
                    <a:pt x="499" y="426"/>
                  </a:lnTo>
                  <a:lnTo>
                    <a:pt x="498" y="427"/>
                  </a:lnTo>
                  <a:lnTo>
                    <a:pt x="498" y="428"/>
                  </a:lnTo>
                  <a:lnTo>
                    <a:pt x="499" y="428"/>
                  </a:lnTo>
                  <a:lnTo>
                    <a:pt x="498" y="429"/>
                  </a:lnTo>
                  <a:lnTo>
                    <a:pt x="497" y="429"/>
                  </a:lnTo>
                  <a:lnTo>
                    <a:pt x="497" y="428"/>
                  </a:lnTo>
                  <a:lnTo>
                    <a:pt x="496" y="428"/>
                  </a:lnTo>
                  <a:lnTo>
                    <a:pt x="495" y="427"/>
                  </a:lnTo>
                  <a:lnTo>
                    <a:pt x="495" y="428"/>
                  </a:lnTo>
                  <a:lnTo>
                    <a:pt x="493" y="428"/>
                  </a:lnTo>
                  <a:lnTo>
                    <a:pt x="492" y="429"/>
                  </a:lnTo>
                  <a:lnTo>
                    <a:pt x="492" y="428"/>
                  </a:lnTo>
                  <a:lnTo>
                    <a:pt x="491" y="428"/>
                  </a:lnTo>
                  <a:lnTo>
                    <a:pt x="491" y="426"/>
                  </a:lnTo>
                  <a:lnTo>
                    <a:pt x="490" y="426"/>
                  </a:lnTo>
                  <a:lnTo>
                    <a:pt x="489" y="427"/>
                  </a:lnTo>
                  <a:lnTo>
                    <a:pt x="490" y="427"/>
                  </a:lnTo>
                  <a:lnTo>
                    <a:pt x="490" y="428"/>
                  </a:lnTo>
                  <a:lnTo>
                    <a:pt x="490" y="429"/>
                  </a:lnTo>
                  <a:lnTo>
                    <a:pt x="489" y="428"/>
                  </a:lnTo>
                  <a:lnTo>
                    <a:pt x="487" y="428"/>
                  </a:lnTo>
                  <a:lnTo>
                    <a:pt x="486" y="428"/>
                  </a:lnTo>
                  <a:lnTo>
                    <a:pt x="486" y="427"/>
                  </a:lnTo>
                  <a:lnTo>
                    <a:pt x="485" y="427"/>
                  </a:lnTo>
                  <a:lnTo>
                    <a:pt x="484" y="427"/>
                  </a:lnTo>
                  <a:lnTo>
                    <a:pt x="483" y="427"/>
                  </a:lnTo>
                  <a:lnTo>
                    <a:pt x="483" y="428"/>
                  </a:lnTo>
                  <a:lnTo>
                    <a:pt x="481" y="428"/>
                  </a:lnTo>
                  <a:lnTo>
                    <a:pt x="481" y="429"/>
                  </a:lnTo>
                  <a:lnTo>
                    <a:pt x="483" y="429"/>
                  </a:lnTo>
                  <a:lnTo>
                    <a:pt x="484" y="429"/>
                  </a:lnTo>
                  <a:lnTo>
                    <a:pt x="485" y="431"/>
                  </a:lnTo>
                  <a:lnTo>
                    <a:pt x="486" y="431"/>
                  </a:lnTo>
                  <a:lnTo>
                    <a:pt x="487" y="429"/>
                  </a:lnTo>
                  <a:lnTo>
                    <a:pt x="489" y="429"/>
                  </a:lnTo>
                  <a:lnTo>
                    <a:pt x="490" y="429"/>
                  </a:lnTo>
                  <a:lnTo>
                    <a:pt x="491" y="429"/>
                  </a:lnTo>
                  <a:lnTo>
                    <a:pt x="492" y="431"/>
                  </a:lnTo>
                  <a:lnTo>
                    <a:pt x="493" y="431"/>
                  </a:lnTo>
                  <a:lnTo>
                    <a:pt x="495" y="431"/>
                  </a:lnTo>
                  <a:lnTo>
                    <a:pt x="499" y="431"/>
                  </a:lnTo>
                  <a:lnTo>
                    <a:pt x="501" y="431"/>
                  </a:lnTo>
                  <a:lnTo>
                    <a:pt x="501" y="432"/>
                  </a:lnTo>
                  <a:lnTo>
                    <a:pt x="499" y="432"/>
                  </a:lnTo>
                  <a:lnTo>
                    <a:pt x="498" y="432"/>
                  </a:lnTo>
                  <a:lnTo>
                    <a:pt x="497" y="432"/>
                  </a:lnTo>
                  <a:lnTo>
                    <a:pt x="496" y="432"/>
                  </a:lnTo>
                  <a:lnTo>
                    <a:pt x="496" y="433"/>
                  </a:lnTo>
                  <a:lnTo>
                    <a:pt x="497" y="433"/>
                  </a:lnTo>
                  <a:lnTo>
                    <a:pt x="497" y="434"/>
                  </a:lnTo>
                  <a:lnTo>
                    <a:pt x="497" y="435"/>
                  </a:lnTo>
                  <a:lnTo>
                    <a:pt x="496" y="434"/>
                  </a:lnTo>
                  <a:lnTo>
                    <a:pt x="495" y="433"/>
                  </a:lnTo>
                  <a:lnTo>
                    <a:pt x="495" y="432"/>
                  </a:lnTo>
                  <a:lnTo>
                    <a:pt x="493" y="432"/>
                  </a:lnTo>
                  <a:lnTo>
                    <a:pt x="492" y="432"/>
                  </a:lnTo>
                  <a:lnTo>
                    <a:pt x="493" y="433"/>
                  </a:lnTo>
                  <a:lnTo>
                    <a:pt x="493" y="434"/>
                  </a:lnTo>
                  <a:lnTo>
                    <a:pt x="492" y="434"/>
                  </a:lnTo>
                  <a:lnTo>
                    <a:pt x="492" y="433"/>
                  </a:lnTo>
                  <a:lnTo>
                    <a:pt x="491" y="433"/>
                  </a:lnTo>
                  <a:lnTo>
                    <a:pt x="491" y="432"/>
                  </a:lnTo>
                  <a:lnTo>
                    <a:pt x="491" y="433"/>
                  </a:lnTo>
                  <a:lnTo>
                    <a:pt x="490" y="433"/>
                  </a:lnTo>
                  <a:lnTo>
                    <a:pt x="490" y="432"/>
                  </a:lnTo>
                  <a:lnTo>
                    <a:pt x="489" y="432"/>
                  </a:lnTo>
                  <a:lnTo>
                    <a:pt x="487" y="432"/>
                  </a:lnTo>
                  <a:lnTo>
                    <a:pt x="489" y="432"/>
                  </a:lnTo>
                  <a:lnTo>
                    <a:pt x="489" y="433"/>
                  </a:lnTo>
                  <a:lnTo>
                    <a:pt x="489" y="434"/>
                  </a:lnTo>
                  <a:lnTo>
                    <a:pt x="489" y="435"/>
                  </a:lnTo>
                  <a:lnTo>
                    <a:pt x="490" y="435"/>
                  </a:lnTo>
                  <a:lnTo>
                    <a:pt x="490" y="437"/>
                  </a:lnTo>
                  <a:lnTo>
                    <a:pt x="490" y="438"/>
                  </a:lnTo>
                  <a:lnTo>
                    <a:pt x="489" y="438"/>
                  </a:lnTo>
                  <a:lnTo>
                    <a:pt x="489" y="437"/>
                  </a:lnTo>
                  <a:lnTo>
                    <a:pt x="487" y="437"/>
                  </a:lnTo>
                  <a:lnTo>
                    <a:pt x="487" y="435"/>
                  </a:lnTo>
                  <a:lnTo>
                    <a:pt x="487" y="434"/>
                  </a:lnTo>
                  <a:lnTo>
                    <a:pt x="486" y="434"/>
                  </a:lnTo>
                  <a:lnTo>
                    <a:pt x="486" y="433"/>
                  </a:lnTo>
                  <a:lnTo>
                    <a:pt x="485" y="433"/>
                  </a:lnTo>
                  <a:lnTo>
                    <a:pt x="485" y="432"/>
                  </a:lnTo>
                  <a:lnTo>
                    <a:pt x="484" y="432"/>
                  </a:lnTo>
                  <a:lnTo>
                    <a:pt x="484" y="433"/>
                  </a:lnTo>
                  <a:lnTo>
                    <a:pt x="484" y="434"/>
                  </a:lnTo>
                  <a:lnTo>
                    <a:pt x="484" y="435"/>
                  </a:lnTo>
                  <a:lnTo>
                    <a:pt x="484" y="437"/>
                  </a:lnTo>
                  <a:lnTo>
                    <a:pt x="484" y="435"/>
                  </a:lnTo>
                  <a:lnTo>
                    <a:pt x="483" y="435"/>
                  </a:lnTo>
                  <a:lnTo>
                    <a:pt x="483" y="434"/>
                  </a:lnTo>
                  <a:lnTo>
                    <a:pt x="483" y="433"/>
                  </a:lnTo>
                  <a:lnTo>
                    <a:pt x="481" y="433"/>
                  </a:lnTo>
                  <a:lnTo>
                    <a:pt x="480" y="433"/>
                  </a:lnTo>
                  <a:lnTo>
                    <a:pt x="480" y="434"/>
                  </a:lnTo>
                  <a:lnTo>
                    <a:pt x="481" y="434"/>
                  </a:lnTo>
                  <a:lnTo>
                    <a:pt x="481" y="435"/>
                  </a:lnTo>
                  <a:lnTo>
                    <a:pt x="481" y="437"/>
                  </a:lnTo>
                  <a:lnTo>
                    <a:pt x="480" y="437"/>
                  </a:lnTo>
                  <a:lnTo>
                    <a:pt x="480" y="438"/>
                  </a:lnTo>
                  <a:lnTo>
                    <a:pt x="480" y="439"/>
                  </a:lnTo>
                  <a:lnTo>
                    <a:pt x="480" y="438"/>
                  </a:lnTo>
                  <a:lnTo>
                    <a:pt x="479" y="438"/>
                  </a:lnTo>
                  <a:lnTo>
                    <a:pt x="479" y="437"/>
                  </a:lnTo>
                  <a:lnTo>
                    <a:pt x="478" y="435"/>
                  </a:lnTo>
                  <a:lnTo>
                    <a:pt x="478" y="437"/>
                  </a:lnTo>
                  <a:lnTo>
                    <a:pt x="477" y="437"/>
                  </a:lnTo>
                  <a:lnTo>
                    <a:pt x="477" y="435"/>
                  </a:lnTo>
                  <a:lnTo>
                    <a:pt x="477" y="434"/>
                  </a:lnTo>
                  <a:lnTo>
                    <a:pt x="475" y="433"/>
                  </a:lnTo>
                  <a:lnTo>
                    <a:pt x="475" y="431"/>
                  </a:lnTo>
                  <a:lnTo>
                    <a:pt x="475" y="429"/>
                  </a:lnTo>
                  <a:lnTo>
                    <a:pt x="475" y="428"/>
                  </a:lnTo>
                  <a:lnTo>
                    <a:pt x="475" y="427"/>
                  </a:lnTo>
                  <a:lnTo>
                    <a:pt x="477" y="427"/>
                  </a:lnTo>
                  <a:lnTo>
                    <a:pt x="477" y="426"/>
                  </a:lnTo>
                  <a:lnTo>
                    <a:pt x="475" y="426"/>
                  </a:lnTo>
                  <a:lnTo>
                    <a:pt x="475" y="427"/>
                  </a:lnTo>
                  <a:lnTo>
                    <a:pt x="475" y="428"/>
                  </a:lnTo>
                  <a:lnTo>
                    <a:pt x="474" y="429"/>
                  </a:lnTo>
                  <a:lnTo>
                    <a:pt x="474" y="431"/>
                  </a:lnTo>
                  <a:lnTo>
                    <a:pt x="474" y="432"/>
                  </a:lnTo>
                  <a:lnTo>
                    <a:pt x="474" y="433"/>
                  </a:lnTo>
                  <a:lnTo>
                    <a:pt x="474" y="435"/>
                  </a:lnTo>
                  <a:lnTo>
                    <a:pt x="474" y="437"/>
                  </a:lnTo>
                  <a:lnTo>
                    <a:pt x="475" y="437"/>
                  </a:lnTo>
                  <a:lnTo>
                    <a:pt x="475" y="438"/>
                  </a:lnTo>
                  <a:lnTo>
                    <a:pt x="475" y="439"/>
                  </a:lnTo>
                  <a:lnTo>
                    <a:pt x="474" y="440"/>
                  </a:lnTo>
                  <a:lnTo>
                    <a:pt x="473" y="440"/>
                  </a:lnTo>
                  <a:lnTo>
                    <a:pt x="472" y="439"/>
                  </a:lnTo>
                  <a:lnTo>
                    <a:pt x="473" y="438"/>
                  </a:lnTo>
                  <a:lnTo>
                    <a:pt x="472" y="437"/>
                  </a:lnTo>
                  <a:lnTo>
                    <a:pt x="471" y="438"/>
                  </a:lnTo>
                  <a:lnTo>
                    <a:pt x="472" y="439"/>
                  </a:lnTo>
                  <a:lnTo>
                    <a:pt x="471" y="439"/>
                  </a:lnTo>
                  <a:lnTo>
                    <a:pt x="469" y="439"/>
                  </a:lnTo>
                  <a:lnTo>
                    <a:pt x="468" y="439"/>
                  </a:lnTo>
                  <a:lnTo>
                    <a:pt x="468" y="438"/>
                  </a:lnTo>
                  <a:lnTo>
                    <a:pt x="467" y="439"/>
                  </a:lnTo>
                  <a:lnTo>
                    <a:pt x="466" y="440"/>
                  </a:lnTo>
                  <a:lnTo>
                    <a:pt x="465" y="440"/>
                  </a:lnTo>
                  <a:lnTo>
                    <a:pt x="465" y="441"/>
                  </a:lnTo>
                  <a:lnTo>
                    <a:pt x="466" y="443"/>
                  </a:lnTo>
                  <a:lnTo>
                    <a:pt x="467" y="444"/>
                  </a:lnTo>
                  <a:lnTo>
                    <a:pt x="468" y="445"/>
                  </a:lnTo>
                  <a:lnTo>
                    <a:pt x="467" y="445"/>
                  </a:lnTo>
                  <a:lnTo>
                    <a:pt x="466" y="445"/>
                  </a:lnTo>
                  <a:lnTo>
                    <a:pt x="465" y="444"/>
                  </a:lnTo>
                  <a:lnTo>
                    <a:pt x="463" y="444"/>
                  </a:lnTo>
                  <a:lnTo>
                    <a:pt x="462" y="443"/>
                  </a:lnTo>
                  <a:lnTo>
                    <a:pt x="461" y="441"/>
                  </a:lnTo>
                  <a:lnTo>
                    <a:pt x="460" y="443"/>
                  </a:lnTo>
                  <a:lnTo>
                    <a:pt x="460" y="444"/>
                  </a:lnTo>
                  <a:lnTo>
                    <a:pt x="460" y="445"/>
                  </a:lnTo>
                  <a:lnTo>
                    <a:pt x="460" y="446"/>
                  </a:lnTo>
                  <a:lnTo>
                    <a:pt x="461" y="446"/>
                  </a:lnTo>
                  <a:lnTo>
                    <a:pt x="461" y="447"/>
                  </a:lnTo>
                  <a:lnTo>
                    <a:pt x="463" y="447"/>
                  </a:lnTo>
                  <a:lnTo>
                    <a:pt x="465" y="447"/>
                  </a:lnTo>
                  <a:lnTo>
                    <a:pt x="466" y="447"/>
                  </a:lnTo>
                  <a:lnTo>
                    <a:pt x="467" y="447"/>
                  </a:lnTo>
                  <a:lnTo>
                    <a:pt x="467" y="449"/>
                  </a:lnTo>
                  <a:lnTo>
                    <a:pt x="468" y="449"/>
                  </a:lnTo>
                  <a:lnTo>
                    <a:pt x="469" y="449"/>
                  </a:lnTo>
                  <a:lnTo>
                    <a:pt x="471" y="449"/>
                  </a:lnTo>
                  <a:lnTo>
                    <a:pt x="473" y="449"/>
                  </a:lnTo>
                  <a:lnTo>
                    <a:pt x="474" y="449"/>
                  </a:lnTo>
                  <a:lnTo>
                    <a:pt x="475" y="449"/>
                  </a:lnTo>
                  <a:lnTo>
                    <a:pt x="477" y="450"/>
                  </a:lnTo>
                  <a:lnTo>
                    <a:pt x="478" y="450"/>
                  </a:lnTo>
                  <a:lnTo>
                    <a:pt x="479" y="450"/>
                  </a:lnTo>
                  <a:lnTo>
                    <a:pt x="480" y="450"/>
                  </a:lnTo>
                  <a:lnTo>
                    <a:pt x="481" y="450"/>
                  </a:lnTo>
                  <a:lnTo>
                    <a:pt x="481" y="451"/>
                  </a:lnTo>
                  <a:lnTo>
                    <a:pt x="483" y="451"/>
                  </a:lnTo>
                  <a:lnTo>
                    <a:pt x="484" y="451"/>
                  </a:lnTo>
                  <a:lnTo>
                    <a:pt x="485" y="451"/>
                  </a:lnTo>
                  <a:lnTo>
                    <a:pt x="486" y="451"/>
                  </a:lnTo>
                  <a:lnTo>
                    <a:pt x="492" y="451"/>
                  </a:lnTo>
                  <a:lnTo>
                    <a:pt x="493" y="451"/>
                  </a:lnTo>
                  <a:lnTo>
                    <a:pt x="495" y="451"/>
                  </a:lnTo>
                  <a:lnTo>
                    <a:pt x="496" y="451"/>
                  </a:lnTo>
                  <a:lnTo>
                    <a:pt x="498" y="451"/>
                  </a:lnTo>
                  <a:lnTo>
                    <a:pt x="499" y="451"/>
                  </a:lnTo>
                  <a:lnTo>
                    <a:pt x="501" y="452"/>
                  </a:lnTo>
                  <a:lnTo>
                    <a:pt x="502" y="452"/>
                  </a:lnTo>
                  <a:lnTo>
                    <a:pt x="503" y="451"/>
                  </a:lnTo>
                  <a:lnTo>
                    <a:pt x="504" y="451"/>
                  </a:lnTo>
                  <a:lnTo>
                    <a:pt x="505" y="452"/>
                  </a:lnTo>
                  <a:lnTo>
                    <a:pt x="507" y="452"/>
                  </a:lnTo>
                  <a:lnTo>
                    <a:pt x="507" y="451"/>
                  </a:lnTo>
                  <a:lnTo>
                    <a:pt x="507" y="450"/>
                  </a:lnTo>
                  <a:lnTo>
                    <a:pt x="508" y="450"/>
                  </a:lnTo>
                  <a:lnTo>
                    <a:pt x="508" y="451"/>
                  </a:lnTo>
                  <a:lnTo>
                    <a:pt x="510" y="451"/>
                  </a:lnTo>
                  <a:lnTo>
                    <a:pt x="511" y="451"/>
                  </a:lnTo>
                  <a:lnTo>
                    <a:pt x="511" y="452"/>
                  </a:lnTo>
                  <a:lnTo>
                    <a:pt x="510" y="452"/>
                  </a:lnTo>
                  <a:lnTo>
                    <a:pt x="510" y="454"/>
                  </a:lnTo>
                  <a:lnTo>
                    <a:pt x="511" y="454"/>
                  </a:lnTo>
                  <a:lnTo>
                    <a:pt x="513" y="454"/>
                  </a:lnTo>
                  <a:lnTo>
                    <a:pt x="514" y="455"/>
                  </a:lnTo>
                  <a:lnTo>
                    <a:pt x="515" y="454"/>
                  </a:lnTo>
                  <a:lnTo>
                    <a:pt x="516" y="454"/>
                  </a:lnTo>
                  <a:lnTo>
                    <a:pt x="518" y="454"/>
                  </a:lnTo>
                  <a:lnTo>
                    <a:pt x="518" y="452"/>
                  </a:lnTo>
                  <a:lnTo>
                    <a:pt x="519" y="452"/>
                  </a:lnTo>
                  <a:lnTo>
                    <a:pt x="520" y="454"/>
                  </a:lnTo>
                  <a:lnTo>
                    <a:pt x="519" y="454"/>
                  </a:lnTo>
                  <a:lnTo>
                    <a:pt x="519" y="455"/>
                  </a:lnTo>
                  <a:lnTo>
                    <a:pt x="520" y="455"/>
                  </a:lnTo>
                  <a:lnTo>
                    <a:pt x="521" y="456"/>
                  </a:lnTo>
                  <a:lnTo>
                    <a:pt x="522" y="456"/>
                  </a:lnTo>
                  <a:lnTo>
                    <a:pt x="522" y="455"/>
                  </a:lnTo>
                  <a:lnTo>
                    <a:pt x="524" y="455"/>
                  </a:lnTo>
                  <a:lnTo>
                    <a:pt x="524" y="456"/>
                  </a:lnTo>
                  <a:lnTo>
                    <a:pt x="525" y="456"/>
                  </a:lnTo>
                  <a:lnTo>
                    <a:pt x="526" y="456"/>
                  </a:lnTo>
                  <a:lnTo>
                    <a:pt x="527" y="455"/>
                  </a:lnTo>
                  <a:lnTo>
                    <a:pt x="528" y="456"/>
                  </a:lnTo>
                  <a:lnTo>
                    <a:pt x="531" y="456"/>
                  </a:lnTo>
                  <a:lnTo>
                    <a:pt x="532" y="456"/>
                  </a:lnTo>
                  <a:lnTo>
                    <a:pt x="536" y="455"/>
                  </a:lnTo>
                  <a:lnTo>
                    <a:pt x="537" y="456"/>
                  </a:lnTo>
                  <a:lnTo>
                    <a:pt x="536" y="456"/>
                  </a:lnTo>
                  <a:lnTo>
                    <a:pt x="536" y="457"/>
                  </a:lnTo>
                  <a:lnTo>
                    <a:pt x="534" y="457"/>
                  </a:lnTo>
                  <a:lnTo>
                    <a:pt x="532" y="457"/>
                  </a:lnTo>
                  <a:lnTo>
                    <a:pt x="531" y="457"/>
                  </a:lnTo>
                  <a:lnTo>
                    <a:pt x="530" y="457"/>
                  </a:lnTo>
                  <a:lnTo>
                    <a:pt x="528" y="457"/>
                  </a:lnTo>
                  <a:lnTo>
                    <a:pt x="528" y="458"/>
                  </a:lnTo>
                  <a:lnTo>
                    <a:pt x="530" y="460"/>
                  </a:lnTo>
                  <a:lnTo>
                    <a:pt x="530" y="461"/>
                  </a:lnTo>
                  <a:lnTo>
                    <a:pt x="528" y="461"/>
                  </a:lnTo>
                  <a:lnTo>
                    <a:pt x="528" y="460"/>
                  </a:lnTo>
                  <a:lnTo>
                    <a:pt x="527" y="458"/>
                  </a:lnTo>
                  <a:lnTo>
                    <a:pt x="526" y="458"/>
                  </a:lnTo>
                  <a:lnTo>
                    <a:pt x="525" y="457"/>
                  </a:lnTo>
                  <a:lnTo>
                    <a:pt x="524" y="457"/>
                  </a:lnTo>
                  <a:lnTo>
                    <a:pt x="524" y="458"/>
                  </a:lnTo>
                  <a:lnTo>
                    <a:pt x="524" y="460"/>
                  </a:lnTo>
                  <a:lnTo>
                    <a:pt x="524" y="461"/>
                  </a:lnTo>
                  <a:lnTo>
                    <a:pt x="522" y="460"/>
                  </a:lnTo>
                  <a:lnTo>
                    <a:pt x="522" y="458"/>
                  </a:lnTo>
                  <a:lnTo>
                    <a:pt x="521" y="457"/>
                  </a:lnTo>
                  <a:lnTo>
                    <a:pt x="520" y="457"/>
                  </a:lnTo>
                  <a:lnTo>
                    <a:pt x="519" y="457"/>
                  </a:lnTo>
                  <a:lnTo>
                    <a:pt x="519" y="458"/>
                  </a:lnTo>
                  <a:lnTo>
                    <a:pt x="520" y="460"/>
                  </a:lnTo>
                  <a:lnTo>
                    <a:pt x="519" y="461"/>
                  </a:lnTo>
                  <a:lnTo>
                    <a:pt x="520" y="461"/>
                  </a:lnTo>
                  <a:lnTo>
                    <a:pt x="520" y="462"/>
                  </a:lnTo>
                  <a:lnTo>
                    <a:pt x="520" y="463"/>
                  </a:lnTo>
                  <a:lnTo>
                    <a:pt x="519" y="463"/>
                  </a:lnTo>
                  <a:lnTo>
                    <a:pt x="519" y="464"/>
                  </a:lnTo>
                  <a:lnTo>
                    <a:pt x="519" y="466"/>
                  </a:lnTo>
                  <a:lnTo>
                    <a:pt x="520" y="466"/>
                  </a:lnTo>
                  <a:lnTo>
                    <a:pt x="520" y="467"/>
                  </a:lnTo>
                  <a:lnTo>
                    <a:pt x="519" y="467"/>
                  </a:lnTo>
                  <a:lnTo>
                    <a:pt x="519" y="468"/>
                  </a:lnTo>
                  <a:lnTo>
                    <a:pt x="520" y="468"/>
                  </a:lnTo>
                  <a:lnTo>
                    <a:pt x="521" y="468"/>
                  </a:lnTo>
                  <a:lnTo>
                    <a:pt x="522" y="468"/>
                  </a:lnTo>
                  <a:lnTo>
                    <a:pt x="524" y="468"/>
                  </a:lnTo>
                  <a:lnTo>
                    <a:pt x="525" y="468"/>
                  </a:lnTo>
                  <a:lnTo>
                    <a:pt x="526" y="468"/>
                  </a:lnTo>
                  <a:lnTo>
                    <a:pt x="527" y="467"/>
                  </a:lnTo>
                  <a:lnTo>
                    <a:pt x="528" y="467"/>
                  </a:lnTo>
                  <a:lnTo>
                    <a:pt x="530" y="467"/>
                  </a:lnTo>
                  <a:lnTo>
                    <a:pt x="531" y="467"/>
                  </a:lnTo>
                  <a:lnTo>
                    <a:pt x="531" y="466"/>
                  </a:lnTo>
                  <a:lnTo>
                    <a:pt x="532" y="466"/>
                  </a:lnTo>
                  <a:lnTo>
                    <a:pt x="533" y="466"/>
                  </a:lnTo>
                  <a:lnTo>
                    <a:pt x="534" y="466"/>
                  </a:lnTo>
                  <a:lnTo>
                    <a:pt x="536" y="466"/>
                  </a:lnTo>
                  <a:lnTo>
                    <a:pt x="537" y="466"/>
                  </a:lnTo>
                  <a:lnTo>
                    <a:pt x="538" y="466"/>
                  </a:lnTo>
                  <a:lnTo>
                    <a:pt x="539" y="466"/>
                  </a:lnTo>
                  <a:lnTo>
                    <a:pt x="540" y="466"/>
                  </a:lnTo>
                  <a:lnTo>
                    <a:pt x="542" y="466"/>
                  </a:lnTo>
                  <a:lnTo>
                    <a:pt x="543" y="466"/>
                  </a:lnTo>
                  <a:lnTo>
                    <a:pt x="544" y="466"/>
                  </a:lnTo>
                  <a:lnTo>
                    <a:pt x="545" y="466"/>
                  </a:lnTo>
                  <a:lnTo>
                    <a:pt x="548" y="464"/>
                  </a:lnTo>
                  <a:lnTo>
                    <a:pt x="549" y="463"/>
                  </a:lnTo>
                  <a:lnTo>
                    <a:pt x="550" y="463"/>
                  </a:lnTo>
                  <a:lnTo>
                    <a:pt x="551" y="463"/>
                  </a:lnTo>
                  <a:lnTo>
                    <a:pt x="552" y="463"/>
                  </a:lnTo>
                  <a:lnTo>
                    <a:pt x="551" y="464"/>
                  </a:lnTo>
                  <a:lnTo>
                    <a:pt x="550" y="464"/>
                  </a:lnTo>
                  <a:lnTo>
                    <a:pt x="549" y="464"/>
                  </a:lnTo>
                  <a:lnTo>
                    <a:pt x="549" y="466"/>
                  </a:lnTo>
                  <a:lnTo>
                    <a:pt x="548" y="466"/>
                  </a:lnTo>
                  <a:lnTo>
                    <a:pt x="546" y="467"/>
                  </a:lnTo>
                  <a:lnTo>
                    <a:pt x="548" y="467"/>
                  </a:lnTo>
                  <a:lnTo>
                    <a:pt x="548" y="468"/>
                  </a:lnTo>
                  <a:lnTo>
                    <a:pt x="550" y="468"/>
                  </a:lnTo>
                  <a:lnTo>
                    <a:pt x="551" y="468"/>
                  </a:lnTo>
                  <a:lnTo>
                    <a:pt x="552" y="468"/>
                  </a:lnTo>
                  <a:lnTo>
                    <a:pt x="554" y="468"/>
                  </a:lnTo>
                  <a:lnTo>
                    <a:pt x="555" y="468"/>
                  </a:lnTo>
                  <a:lnTo>
                    <a:pt x="555" y="469"/>
                  </a:lnTo>
                  <a:lnTo>
                    <a:pt x="552" y="469"/>
                  </a:lnTo>
                  <a:lnTo>
                    <a:pt x="551" y="469"/>
                  </a:lnTo>
                  <a:lnTo>
                    <a:pt x="552" y="470"/>
                  </a:lnTo>
                  <a:lnTo>
                    <a:pt x="554" y="470"/>
                  </a:lnTo>
                  <a:lnTo>
                    <a:pt x="555" y="472"/>
                  </a:lnTo>
                  <a:lnTo>
                    <a:pt x="556" y="472"/>
                  </a:lnTo>
                  <a:lnTo>
                    <a:pt x="557" y="470"/>
                  </a:lnTo>
                  <a:lnTo>
                    <a:pt x="558" y="470"/>
                  </a:lnTo>
                  <a:lnTo>
                    <a:pt x="560" y="470"/>
                  </a:lnTo>
                  <a:lnTo>
                    <a:pt x="561" y="470"/>
                  </a:lnTo>
                  <a:lnTo>
                    <a:pt x="561" y="472"/>
                  </a:lnTo>
                  <a:lnTo>
                    <a:pt x="560" y="472"/>
                  </a:lnTo>
                  <a:lnTo>
                    <a:pt x="558" y="472"/>
                  </a:lnTo>
                  <a:lnTo>
                    <a:pt x="558" y="473"/>
                  </a:lnTo>
                  <a:lnTo>
                    <a:pt x="563" y="473"/>
                  </a:lnTo>
                  <a:lnTo>
                    <a:pt x="562" y="473"/>
                  </a:lnTo>
                  <a:lnTo>
                    <a:pt x="561" y="473"/>
                  </a:lnTo>
                  <a:lnTo>
                    <a:pt x="560" y="473"/>
                  </a:lnTo>
                  <a:lnTo>
                    <a:pt x="558" y="473"/>
                  </a:lnTo>
                  <a:lnTo>
                    <a:pt x="558" y="474"/>
                  </a:lnTo>
                  <a:lnTo>
                    <a:pt x="557" y="474"/>
                  </a:lnTo>
                  <a:lnTo>
                    <a:pt x="556" y="474"/>
                  </a:lnTo>
                  <a:lnTo>
                    <a:pt x="556" y="473"/>
                  </a:lnTo>
                  <a:lnTo>
                    <a:pt x="555" y="473"/>
                  </a:lnTo>
                  <a:lnTo>
                    <a:pt x="555" y="474"/>
                  </a:lnTo>
                  <a:lnTo>
                    <a:pt x="555" y="476"/>
                  </a:lnTo>
                  <a:lnTo>
                    <a:pt x="555" y="479"/>
                  </a:lnTo>
                  <a:lnTo>
                    <a:pt x="555" y="480"/>
                  </a:lnTo>
                  <a:lnTo>
                    <a:pt x="554" y="480"/>
                  </a:lnTo>
                  <a:lnTo>
                    <a:pt x="552" y="479"/>
                  </a:lnTo>
                  <a:lnTo>
                    <a:pt x="552" y="476"/>
                  </a:lnTo>
                  <a:lnTo>
                    <a:pt x="552" y="478"/>
                  </a:lnTo>
                  <a:lnTo>
                    <a:pt x="552" y="479"/>
                  </a:lnTo>
                  <a:lnTo>
                    <a:pt x="552" y="480"/>
                  </a:lnTo>
                  <a:lnTo>
                    <a:pt x="551" y="480"/>
                  </a:lnTo>
                  <a:lnTo>
                    <a:pt x="550" y="480"/>
                  </a:lnTo>
                  <a:lnTo>
                    <a:pt x="550" y="479"/>
                  </a:lnTo>
                  <a:lnTo>
                    <a:pt x="550" y="476"/>
                  </a:lnTo>
                  <a:lnTo>
                    <a:pt x="551" y="474"/>
                  </a:lnTo>
                  <a:lnTo>
                    <a:pt x="551" y="473"/>
                  </a:lnTo>
                  <a:lnTo>
                    <a:pt x="550" y="472"/>
                  </a:lnTo>
                  <a:lnTo>
                    <a:pt x="549" y="472"/>
                  </a:lnTo>
                  <a:lnTo>
                    <a:pt x="548" y="470"/>
                  </a:lnTo>
                  <a:lnTo>
                    <a:pt x="546" y="470"/>
                  </a:lnTo>
                  <a:lnTo>
                    <a:pt x="548" y="472"/>
                  </a:lnTo>
                  <a:lnTo>
                    <a:pt x="549" y="473"/>
                  </a:lnTo>
                  <a:lnTo>
                    <a:pt x="550" y="474"/>
                  </a:lnTo>
                  <a:lnTo>
                    <a:pt x="550" y="475"/>
                  </a:lnTo>
                  <a:lnTo>
                    <a:pt x="549" y="475"/>
                  </a:lnTo>
                  <a:lnTo>
                    <a:pt x="549" y="476"/>
                  </a:lnTo>
                  <a:lnTo>
                    <a:pt x="549" y="478"/>
                  </a:lnTo>
                  <a:lnTo>
                    <a:pt x="550" y="478"/>
                  </a:lnTo>
                  <a:lnTo>
                    <a:pt x="550" y="479"/>
                  </a:lnTo>
                  <a:lnTo>
                    <a:pt x="549" y="480"/>
                  </a:lnTo>
                  <a:lnTo>
                    <a:pt x="549" y="481"/>
                  </a:lnTo>
                  <a:lnTo>
                    <a:pt x="549" y="484"/>
                  </a:lnTo>
                  <a:lnTo>
                    <a:pt x="549" y="485"/>
                  </a:lnTo>
                  <a:lnTo>
                    <a:pt x="548" y="484"/>
                  </a:lnTo>
                  <a:lnTo>
                    <a:pt x="548" y="475"/>
                  </a:lnTo>
                  <a:lnTo>
                    <a:pt x="546" y="475"/>
                  </a:lnTo>
                  <a:lnTo>
                    <a:pt x="546" y="476"/>
                  </a:lnTo>
                  <a:lnTo>
                    <a:pt x="546" y="478"/>
                  </a:lnTo>
                  <a:lnTo>
                    <a:pt x="546" y="479"/>
                  </a:lnTo>
                  <a:lnTo>
                    <a:pt x="546" y="480"/>
                  </a:lnTo>
                  <a:lnTo>
                    <a:pt x="546" y="481"/>
                  </a:lnTo>
                  <a:lnTo>
                    <a:pt x="546" y="482"/>
                  </a:lnTo>
                  <a:lnTo>
                    <a:pt x="546" y="484"/>
                  </a:lnTo>
                  <a:lnTo>
                    <a:pt x="546" y="487"/>
                  </a:lnTo>
                  <a:lnTo>
                    <a:pt x="545" y="487"/>
                  </a:lnTo>
                  <a:lnTo>
                    <a:pt x="544" y="487"/>
                  </a:lnTo>
                  <a:lnTo>
                    <a:pt x="544" y="486"/>
                  </a:lnTo>
                  <a:lnTo>
                    <a:pt x="544" y="479"/>
                  </a:lnTo>
                  <a:lnTo>
                    <a:pt x="543" y="479"/>
                  </a:lnTo>
                  <a:lnTo>
                    <a:pt x="543" y="480"/>
                  </a:lnTo>
                  <a:lnTo>
                    <a:pt x="543" y="481"/>
                  </a:lnTo>
                  <a:lnTo>
                    <a:pt x="542" y="480"/>
                  </a:lnTo>
                  <a:lnTo>
                    <a:pt x="540" y="480"/>
                  </a:lnTo>
                  <a:lnTo>
                    <a:pt x="540" y="479"/>
                  </a:lnTo>
                  <a:lnTo>
                    <a:pt x="539" y="478"/>
                  </a:lnTo>
                  <a:lnTo>
                    <a:pt x="538" y="479"/>
                  </a:lnTo>
                  <a:lnTo>
                    <a:pt x="537" y="479"/>
                  </a:lnTo>
                  <a:lnTo>
                    <a:pt x="537" y="478"/>
                  </a:lnTo>
                  <a:lnTo>
                    <a:pt x="537" y="476"/>
                  </a:lnTo>
                  <a:lnTo>
                    <a:pt x="537" y="475"/>
                  </a:lnTo>
                  <a:lnTo>
                    <a:pt x="537" y="474"/>
                  </a:lnTo>
                  <a:lnTo>
                    <a:pt x="536" y="474"/>
                  </a:lnTo>
                  <a:lnTo>
                    <a:pt x="536" y="475"/>
                  </a:lnTo>
                  <a:lnTo>
                    <a:pt x="534" y="475"/>
                  </a:lnTo>
                  <a:lnTo>
                    <a:pt x="534" y="476"/>
                  </a:lnTo>
                  <a:lnTo>
                    <a:pt x="534" y="478"/>
                  </a:lnTo>
                  <a:lnTo>
                    <a:pt x="534" y="479"/>
                  </a:lnTo>
                  <a:lnTo>
                    <a:pt x="536" y="480"/>
                  </a:lnTo>
                  <a:lnTo>
                    <a:pt x="537" y="480"/>
                  </a:lnTo>
                  <a:lnTo>
                    <a:pt x="537" y="481"/>
                  </a:lnTo>
                  <a:lnTo>
                    <a:pt x="536" y="481"/>
                  </a:lnTo>
                  <a:lnTo>
                    <a:pt x="534" y="481"/>
                  </a:lnTo>
                  <a:lnTo>
                    <a:pt x="536" y="482"/>
                  </a:lnTo>
                  <a:lnTo>
                    <a:pt x="534" y="482"/>
                  </a:lnTo>
                  <a:lnTo>
                    <a:pt x="534" y="484"/>
                  </a:lnTo>
                  <a:lnTo>
                    <a:pt x="534" y="485"/>
                  </a:lnTo>
                  <a:lnTo>
                    <a:pt x="533" y="485"/>
                  </a:lnTo>
                  <a:lnTo>
                    <a:pt x="533" y="484"/>
                  </a:lnTo>
                  <a:lnTo>
                    <a:pt x="533" y="482"/>
                  </a:lnTo>
                  <a:lnTo>
                    <a:pt x="532" y="482"/>
                  </a:lnTo>
                  <a:lnTo>
                    <a:pt x="531" y="482"/>
                  </a:lnTo>
                  <a:lnTo>
                    <a:pt x="531" y="484"/>
                  </a:lnTo>
                  <a:lnTo>
                    <a:pt x="531" y="485"/>
                  </a:lnTo>
                  <a:lnTo>
                    <a:pt x="532" y="485"/>
                  </a:lnTo>
                  <a:lnTo>
                    <a:pt x="532" y="486"/>
                  </a:lnTo>
                  <a:lnTo>
                    <a:pt x="533" y="487"/>
                  </a:lnTo>
                  <a:lnTo>
                    <a:pt x="533" y="488"/>
                  </a:lnTo>
                  <a:lnTo>
                    <a:pt x="533" y="490"/>
                  </a:lnTo>
                  <a:lnTo>
                    <a:pt x="533" y="491"/>
                  </a:lnTo>
                  <a:lnTo>
                    <a:pt x="532" y="491"/>
                  </a:lnTo>
                  <a:lnTo>
                    <a:pt x="533" y="492"/>
                  </a:lnTo>
                  <a:lnTo>
                    <a:pt x="534" y="492"/>
                  </a:lnTo>
                  <a:lnTo>
                    <a:pt x="536" y="493"/>
                  </a:lnTo>
                  <a:lnTo>
                    <a:pt x="537" y="493"/>
                  </a:lnTo>
                  <a:lnTo>
                    <a:pt x="538" y="494"/>
                  </a:lnTo>
                  <a:lnTo>
                    <a:pt x="539" y="496"/>
                  </a:lnTo>
                  <a:lnTo>
                    <a:pt x="540" y="497"/>
                  </a:lnTo>
                  <a:lnTo>
                    <a:pt x="540" y="498"/>
                  </a:lnTo>
                  <a:lnTo>
                    <a:pt x="542" y="498"/>
                  </a:lnTo>
                  <a:lnTo>
                    <a:pt x="544" y="498"/>
                  </a:lnTo>
                  <a:lnTo>
                    <a:pt x="546" y="498"/>
                  </a:lnTo>
                  <a:lnTo>
                    <a:pt x="546" y="499"/>
                  </a:lnTo>
                  <a:lnTo>
                    <a:pt x="548" y="500"/>
                  </a:lnTo>
                  <a:lnTo>
                    <a:pt x="549" y="500"/>
                  </a:lnTo>
                  <a:lnTo>
                    <a:pt x="550" y="499"/>
                  </a:lnTo>
                  <a:lnTo>
                    <a:pt x="551" y="499"/>
                  </a:lnTo>
                  <a:lnTo>
                    <a:pt x="552" y="499"/>
                  </a:lnTo>
                  <a:lnTo>
                    <a:pt x="554" y="498"/>
                  </a:lnTo>
                  <a:lnTo>
                    <a:pt x="555" y="499"/>
                  </a:lnTo>
                  <a:lnTo>
                    <a:pt x="554" y="499"/>
                  </a:lnTo>
                  <a:lnTo>
                    <a:pt x="554" y="500"/>
                  </a:lnTo>
                  <a:lnTo>
                    <a:pt x="555" y="500"/>
                  </a:lnTo>
                  <a:lnTo>
                    <a:pt x="556" y="500"/>
                  </a:lnTo>
                  <a:lnTo>
                    <a:pt x="556" y="502"/>
                  </a:lnTo>
                  <a:lnTo>
                    <a:pt x="557" y="502"/>
                  </a:lnTo>
                  <a:lnTo>
                    <a:pt x="556" y="502"/>
                  </a:lnTo>
                  <a:lnTo>
                    <a:pt x="555" y="502"/>
                  </a:lnTo>
                  <a:lnTo>
                    <a:pt x="554" y="502"/>
                  </a:lnTo>
                  <a:lnTo>
                    <a:pt x="552" y="502"/>
                  </a:lnTo>
                  <a:lnTo>
                    <a:pt x="552" y="503"/>
                  </a:lnTo>
                  <a:lnTo>
                    <a:pt x="554" y="503"/>
                  </a:lnTo>
                  <a:lnTo>
                    <a:pt x="554" y="504"/>
                  </a:lnTo>
                  <a:lnTo>
                    <a:pt x="552" y="504"/>
                  </a:lnTo>
                  <a:lnTo>
                    <a:pt x="551" y="503"/>
                  </a:lnTo>
                  <a:lnTo>
                    <a:pt x="550" y="503"/>
                  </a:lnTo>
                  <a:lnTo>
                    <a:pt x="550" y="502"/>
                  </a:lnTo>
                  <a:lnTo>
                    <a:pt x="550" y="503"/>
                  </a:lnTo>
                  <a:lnTo>
                    <a:pt x="550" y="504"/>
                  </a:lnTo>
                  <a:lnTo>
                    <a:pt x="549" y="504"/>
                  </a:lnTo>
                  <a:lnTo>
                    <a:pt x="549" y="503"/>
                  </a:lnTo>
                  <a:lnTo>
                    <a:pt x="549" y="502"/>
                  </a:lnTo>
                  <a:lnTo>
                    <a:pt x="549" y="500"/>
                  </a:lnTo>
                  <a:lnTo>
                    <a:pt x="548" y="500"/>
                  </a:lnTo>
                  <a:lnTo>
                    <a:pt x="548" y="502"/>
                  </a:lnTo>
                  <a:lnTo>
                    <a:pt x="548" y="503"/>
                  </a:lnTo>
                  <a:lnTo>
                    <a:pt x="548" y="504"/>
                  </a:lnTo>
                  <a:lnTo>
                    <a:pt x="548" y="505"/>
                  </a:lnTo>
                  <a:lnTo>
                    <a:pt x="548" y="506"/>
                  </a:lnTo>
                  <a:lnTo>
                    <a:pt x="548" y="508"/>
                  </a:lnTo>
                  <a:lnTo>
                    <a:pt x="549" y="508"/>
                  </a:lnTo>
                  <a:lnTo>
                    <a:pt x="550" y="508"/>
                  </a:lnTo>
                  <a:lnTo>
                    <a:pt x="554" y="508"/>
                  </a:lnTo>
                  <a:lnTo>
                    <a:pt x="555" y="508"/>
                  </a:lnTo>
                  <a:lnTo>
                    <a:pt x="555" y="506"/>
                  </a:lnTo>
                  <a:lnTo>
                    <a:pt x="556" y="506"/>
                  </a:lnTo>
                  <a:lnTo>
                    <a:pt x="557" y="506"/>
                  </a:lnTo>
                  <a:lnTo>
                    <a:pt x="558" y="506"/>
                  </a:lnTo>
                  <a:lnTo>
                    <a:pt x="558" y="505"/>
                  </a:lnTo>
                  <a:lnTo>
                    <a:pt x="558" y="506"/>
                  </a:lnTo>
                  <a:lnTo>
                    <a:pt x="560" y="506"/>
                  </a:lnTo>
                  <a:lnTo>
                    <a:pt x="560" y="505"/>
                  </a:lnTo>
                  <a:lnTo>
                    <a:pt x="561" y="505"/>
                  </a:lnTo>
                  <a:lnTo>
                    <a:pt x="561" y="506"/>
                  </a:lnTo>
                  <a:lnTo>
                    <a:pt x="563" y="505"/>
                  </a:lnTo>
                  <a:lnTo>
                    <a:pt x="566" y="505"/>
                  </a:lnTo>
                  <a:lnTo>
                    <a:pt x="567" y="505"/>
                  </a:lnTo>
                  <a:lnTo>
                    <a:pt x="567" y="506"/>
                  </a:lnTo>
                  <a:lnTo>
                    <a:pt x="566" y="506"/>
                  </a:lnTo>
                  <a:lnTo>
                    <a:pt x="564" y="506"/>
                  </a:lnTo>
                  <a:lnTo>
                    <a:pt x="563" y="506"/>
                  </a:lnTo>
                  <a:lnTo>
                    <a:pt x="563" y="508"/>
                  </a:lnTo>
                  <a:lnTo>
                    <a:pt x="563" y="509"/>
                  </a:lnTo>
                  <a:lnTo>
                    <a:pt x="562" y="509"/>
                  </a:lnTo>
                  <a:lnTo>
                    <a:pt x="561" y="509"/>
                  </a:lnTo>
                  <a:lnTo>
                    <a:pt x="560" y="508"/>
                  </a:lnTo>
                  <a:lnTo>
                    <a:pt x="558" y="508"/>
                  </a:lnTo>
                  <a:lnTo>
                    <a:pt x="558" y="509"/>
                  </a:lnTo>
                  <a:lnTo>
                    <a:pt x="560" y="509"/>
                  </a:lnTo>
                  <a:lnTo>
                    <a:pt x="560" y="510"/>
                  </a:lnTo>
                  <a:lnTo>
                    <a:pt x="558" y="510"/>
                  </a:lnTo>
                  <a:lnTo>
                    <a:pt x="558" y="509"/>
                  </a:lnTo>
                  <a:lnTo>
                    <a:pt x="557" y="510"/>
                  </a:lnTo>
                  <a:lnTo>
                    <a:pt x="558" y="511"/>
                  </a:lnTo>
                  <a:lnTo>
                    <a:pt x="557" y="511"/>
                  </a:lnTo>
                  <a:lnTo>
                    <a:pt x="557" y="510"/>
                  </a:lnTo>
                  <a:lnTo>
                    <a:pt x="557" y="509"/>
                  </a:lnTo>
                  <a:lnTo>
                    <a:pt x="556" y="509"/>
                  </a:lnTo>
                  <a:lnTo>
                    <a:pt x="554" y="509"/>
                  </a:lnTo>
                  <a:lnTo>
                    <a:pt x="556" y="510"/>
                  </a:lnTo>
                  <a:lnTo>
                    <a:pt x="556" y="511"/>
                  </a:lnTo>
                  <a:lnTo>
                    <a:pt x="556" y="512"/>
                  </a:lnTo>
                  <a:lnTo>
                    <a:pt x="555" y="512"/>
                  </a:lnTo>
                  <a:lnTo>
                    <a:pt x="555" y="511"/>
                  </a:lnTo>
                  <a:lnTo>
                    <a:pt x="555" y="510"/>
                  </a:lnTo>
                  <a:lnTo>
                    <a:pt x="554" y="510"/>
                  </a:lnTo>
                  <a:lnTo>
                    <a:pt x="552" y="510"/>
                  </a:lnTo>
                  <a:lnTo>
                    <a:pt x="551" y="509"/>
                  </a:lnTo>
                  <a:lnTo>
                    <a:pt x="551" y="510"/>
                  </a:lnTo>
                  <a:lnTo>
                    <a:pt x="552" y="511"/>
                  </a:lnTo>
                  <a:lnTo>
                    <a:pt x="554" y="512"/>
                  </a:lnTo>
                  <a:lnTo>
                    <a:pt x="552" y="514"/>
                  </a:lnTo>
                  <a:lnTo>
                    <a:pt x="554" y="515"/>
                  </a:lnTo>
                  <a:lnTo>
                    <a:pt x="554" y="516"/>
                  </a:lnTo>
                  <a:lnTo>
                    <a:pt x="555" y="516"/>
                  </a:lnTo>
                  <a:lnTo>
                    <a:pt x="556" y="515"/>
                  </a:lnTo>
                  <a:lnTo>
                    <a:pt x="557" y="515"/>
                  </a:lnTo>
                  <a:lnTo>
                    <a:pt x="557" y="516"/>
                  </a:lnTo>
                  <a:lnTo>
                    <a:pt x="556" y="516"/>
                  </a:lnTo>
                  <a:lnTo>
                    <a:pt x="555" y="516"/>
                  </a:lnTo>
                  <a:lnTo>
                    <a:pt x="556" y="517"/>
                  </a:lnTo>
                  <a:lnTo>
                    <a:pt x="557" y="517"/>
                  </a:lnTo>
                  <a:lnTo>
                    <a:pt x="558" y="518"/>
                  </a:lnTo>
                  <a:lnTo>
                    <a:pt x="560" y="518"/>
                  </a:lnTo>
                  <a:lnTo>
                    <a:pt x="562" y="518"/>
                  </a:lnTo>
                  <a:lnTo>
                    <a:pt x="561" y="520"/>
                  </a:lnTo>
                  <a:lnTo>
                    <a:pt x="560" y="520"/>
                  </a:lnTo>
                  <a:lnTo>
                    <a:pt x="558" y="520"/>
                  </a:lnTo>
                  <a:lnTo>
                    <a:pt x="557" y="520"/>
                  </a:lnTo>
                  <a:lnTo>
                    <a:pt x="557" y="518"/>
                  </a:lnTo>
                  <a:lnTo>
                    <a:pt x="556" y="518"/>
                  </a:lnTo>
                  <a:lnTo>
                    <a:pt x="556" y="520"/>
                  </a:lnTo>
                  <a:lnTo>
                    <a:pt x="557" y="520"/>
                  </a:lnTo>
                  <a:lnTo>
                    <a:pt x="558" y="521"/>
                  </a:lnTo>
                  <a:lnTo>
                    <a:pt x="558" y="522"/>
                  </a:lnTo>
                  <a:lnTo>
                    <a:pt x="560" y="522"/>
                  </a:lnTo>
                  <a:lnTo>
                    <a:pt x="558" y="522"/>
                  </a:lnTo>
                  <a:lnTo>
                    <a:pt x="557" y="522"/>
                  </a:lnTo>
                  <a:lnTo>
                    <a:pt x="556" y="522"/>
                  </a:lnTo>
                  <a:lnTo>
                    <a:pt x="556" y="523"/>
                  </a:lnTo>
                  <a:lnTo>
                    <a:pt x="557" y="524"/>
                  </a:lnTo>
                  <a:lnTo>
                    <a:pt x="557" y="526"/>
                  </a:lnTo>
                  <a:lnTo>
                    <a:pt x="556" y="524"/>
                  </a:lnTo>
                  <a:lnTo>
                    <a:pt x="555" y="524"/>
                  </a:lnTo>
                  <a:lnTo>
                    <a:pt x="555" y="523"/>
                  </a:lnTo>
                  <a:lnTo>
                    <a:pt x="555" y="522"/>
                  </a:lnTo>
                  <a:lnTo>
                    <a:pt x="554" y="521"/>
                  </a:lnTo>
                  <a:lnTo>
                    <a:pt x="552" y="521"/>
                  </a:lnTo>
                  <a:lnTo>
                    <a:pt x="552" y="522"/>
                  </a:lnTo>
                  <a:lnTo>
                    <a:pt x="552" y="523"/>
                  </a:lnTo>
                  <a:lnTo>
                    <a:pt x="551" y="523"/>
                  </a:lnTo>
                  <a:lnTo>
                    <a:pt x="551" y="530"/>
                  </a:lnTo>
                  <a:lnTo>
                    <a:pt x="551" y="532"/>
                  </a:lnTo>
                  <a:lnTo>
                    <a:pt x="550" y="532"/>
                  </a:lnTo>
                  <a:lnTo>
                    <a:pt x="549" y="532"/>
                  </a:lnTo>
                  <a:lnTo>
                    <a:pt x="549" y="529"/>
                  </a:lnTo>
                  <a:lnTo>
                    <a:pt x="549" y="528"/>
                  </a:lnTo>
                  <a:lnTo>
                    <a:pt x="549" y="529"/>
                  </a:lnTo>
                  <a:lnTo>
                    <a:pt x="548" y="529"/>
                  </a:lnTo>
                  <a:lnTo>
                    <a:pt x="548" y="528"/>
                  </a:lnTo>
                  <a:lnTo>
                    <a:pt x="546" y="528"/>
                  </a:lnTo>
                  <a:lnTo>
                    <a:pt x="546" y="527"/>
                  </a:lnTo>
                  <a:lnTo>
                    <a:pt x="545" y="527"/>
                  </a:lnTo>
                  <a:lnTo>
                    <a:pt x="545" y="526"/>
                  </a:lnTo>
                  <a:lnTo>
                    <a:pt x="544" y="526"/>
                  </a:lnTo>
                  <a:lnTo>
                    <a:pt x="543" y="527"/>
                  </a:lnTo>
                  <a:lnTo>
                    <a:pt x="542" y="527"/>
                  </a:lnTo>
                  <a:lnTo>
                    <a:pt x="542" y="526"/>
                  </a:lnTo>
                  <a:lnTo>
                    <a:pt x="540" y="526"/>
                  </a:lnTo>
                  <a:lnTo>
                    <a:pt x="540" y="528"/>
                  </a:lnTo>
                  <a:lnTo>
                    <a:pt x="539" y="529"/>
                  </a:lnTo>
                  <a:lnTo>
                    <a:pt x="540" y="530"/>
                  </a:lnTo>
                  <a:lnTo>
                    <a:pt x="540" y="532"/>
                  </a:lnTo>
                  <a:lnTo>
                    <a:pt x="542" y="533"/>
                  </a:lnTo>
                  <a:lnTo>
                    <a:pt x="542" y="534"/>
                  </a:lnTo>
                  <a:lnTo>
                    <a:pt x="540" y="534"/>
                  </a:lnTo>
                  <a:lnTo>
                    <a:pt x="540" y="533"/>
                  </a:lnTo>
                  <a:lnTo>
                    <a:pt x="539" y="532"/>
                  </a:lnTo>
                  <a:lnTo>
                    <a:pt x="539" y="533"/>
                  </a:lnTo>
                  <a:lnTo>
                    <a:pt x="538" y="534"/>
                  </a:lnTo>
                  <a:lnTo>
                    <a:pt x="537" y="533"/>
                  </a:lnTo>
                  <a:lnTo>
                    <a:pt x="537" y="532"/>
                  </a:lnTo>
                  <a:lnTo>
                    <a:pt x="536" y="530"/>
                  </a:lnTo>
                  <a:lnTo>
                    <a:pt x="536" y="532"/>
                  </a:lnTo>
                  <a:lnTo>
                    <a:pt x="536" y="530"/>
                  </a:lnTo>
                  <a:lnTo>
                    <a:pt x="534" y="529"/>
                  </a:lnTo>
                  <a:lnTo>
                    <a:pt x="533" y="530"/>
                  </a:lnTo>
                  <a:lnTo>
                    <a:pt x="533" y="529"/>
                  </a:lnTo>
                  <a:lnTo>
                    <a:pt x="532" y="529"/>
                  </a:lnTo>
                  <a:lnTo>
                    <a:pt x="532" y="530"/>
                  </a:lnTo>
                  <a:lnTo>
                    <a:pt x="531" y="532"/>
                  </a:lnTo>
                  <a:lnTo>
                    <a:pt x="530" y="533"/>
                  </a:lnTo>
                  <a:lnTo>
                    <a:pt x="528" y="534"/>
                  </a:lnTo>
                  <a:lnTo>
                    <a:pt x="528" y="533"/>
                  </a:lnTo>
                  <a:lnTo>
                    <a:pt x="528" y="530"/>
                  </a:lnTo>
                  <a:lnTo>
                    <a:pt x="527" y="530"/>
                  </a:lnTo>
                  <a:lnTo>
                    <a:pt x="526" y="532"/>
                  </a:lnTo>
                  <a:lnTo>
                    <a:pt x="525" y="532"/>
                  </a:lnTo>
                  <a:lnTo>
                    <a:pt x="526" y="533"/>
                  </a:lnTo>
                  <a:lnTo>
                    <a:pt x="526" y="534"/>
                  </a:lnTo>
                  <a:lnTo>
                    <a:pt x="527" y="535"/>
                  </a:lnTo>
                  <a:lnTo>
                    <a:pt x="527" y="536"/>
                  </a:lnTo>
                  <a:lnTo>
                    <a:pt x="526" y="535"/>
                  </a:lnTo>
                  <a:lnTo>
                    <a:pt x="525" y="535"/>
                  </a:lnTo>
                  <a:lnTo>
                    <a:pt x="524" y="535"/>
                  </a:lnTo>
                  <a:lnTo>
                    <a:pt x="521" y="538"/>
                  </a:lnTo>
                  <a:lnTo>
                    <a:pt x="520" y="539"/>
                  </a:lnTo>
                  <a:lnTo>
                    <a:pt x="521" y="541"/>
                  </a:lnTo>
                  <a:lnTo>
                    <a:pt x="522" y="541"/>
                  </a:lnTo>
                  <a:lnTo>
                    <a:pt x="524" y="542"/>
                  </a:lnTo>
                  <a:lnTo>
                    <a:pt x="525" y="542"/>
                  </a:lnTo>
                  <a:lnTo>
                    <a:pt x="526" y="541"/>
                  </a:lnTo>
                  <a:lnTo>
                    <a:pt x="527" y="542"/>
                  </a:lnTo>
                  <a:lnTo>
                    <a:pt x="528" y="542"/>
                  </a:lnTo>
                  <a:lnTo>
                    <a:pt x="530" y="542"/>
                  </a:lnTo>
                  <a:lnTo>
                    <a:pt x="531" y="541"/>
                  </a:lnTo>
                  <a:lnTo>
                    <a:pt x="532" y="541"/>
                  </a:lnTo>
                  <a:lnTo>
                    <a:pt x="532" y="540"/>
                  </a:lnTo>
                  <a:lnTo>
                    <a:pt x="533" y="540"/>
                  </a:lnTo>
                  <a:lnTo>
                    <a:pt x="534" y="541"/>
                  </a:lnTo>
                  <a:lnTo>
                    <a:pt x="536" y="540"/>
                  </a:lnTo>
                  <a:lnTo>
                    <a:pt x="538" y="541"/>
                  </a:lnTo>
                  <a:lnTo>
                    <a:pt x="539" y="540"/>
                  </a:lnTo>
                  <a:lnTo>
                    <a:pt x="540" y="540"/>
                  </a:lnTo>
                  <a:lnTo>
                    <a:pt x="540" y="541"/>
                  </a:lnTo>
                  <a:lnTo>
                    <a:pt x="539" y="541"/>
                  </a:lnTo>
                  <a:lnTo>
                    <a:pt x="538" y="541"/>
                  </a:lnTo>
                  <a:lnTo>
                    <a:pt x="537" y="542"/>
                  </a:lnTo>
                  <a:lnTo>
                    <a:pt x="538" y="544"/>
                  </a:lnTo>
                  <a:lnTo>
                    <a:pt x="537" y="545"/>
                  </a:lnTo>
                  <a:lnTo>
                    <a:pt x="537" y="544"/>
                  </a:lnTo>
                  <a:lnTo>
                    <a:pt x="536" y="544"/>
                  </a:lnTo>
                  <a:lnTo>
                    <a:pt x="534" y="542"/>
                  </a:lnTo>
                  <a:lnTo>
                    <a:pt x="533" y="542"/>
                  </a:lnTo>
                  <a:lnTo>
                    <a:pt x="532" y="542"/>
                  </a:lnTo>
                  <a:lnTo>
                    <a:pt x="532" y="544"/>
                  </a:lnTo>
                  <a:lnTo>
                    <a:pt x="532" y="545"/>
                  </a:lnTo>
                  <a:lnTo>
                    <a:pt x="533" y="546"/>
                  </a:lnTo>
                  <a:lnTo>
                    <a:pt x="532" y="547"/>
                  </a:lnTo>
                  <a:lnTo>
                    <a:pt x="531" y="546"/>
                  </a:lnTo>
                  <a:lnTo>
                    <a:pt x="531" y="545"/>
                  </a:lnTo>
                  <a:lnTo>
                    <a:pt x="530" y="544"/>
                  </a:lnTo>
                  <a:lnTo>
                    <a:pt x="527" y="544"/>
                  </a:lnTo>
                  <a:lnTo>
                    <a:pt x="526" y="544"/>
                  </a:lnTo>
                  <a:lnTo>
                    <a:pt x="527" y="545"/>
                  </a:lnTo>
                  <a:lnTo>
                    <a:pt x="528" y="546"/>
                  </a:lnTo>
                  <a:lnTo>
                    <a:pt x="528" y="547"/>
                  </a:lnTo>
                  <a:lnTo>
                    <a:pt x="528" y="548"/>
                  </a:lnTo>
                  <a:lnTo>
                    <a:pt x="528" y="550"/>
                  </a:lnTo>
                  <a:lnTo>
                    <a:pt x="528" y="551"/>
                  </a:lnTo>
                  <a:lnTo>
                    <a:pt x="528" y="552"/>
                  </a:lnTo>
                  <a:lnTo>
                    <a:pt x="527" y="553"/>
                  </a:lnTo>
                  <a:lnTo>
                    <a:pt x="527" y="554"/>
                  </a:lnTo>
                  <a:lnTo>
                    <a:pt x="526" y="554"/>
                  </a:lnTo>
                  <a:lnTo>
                    <a:pt x="525" y="553"/>
                  </a:lnTo>
                  <a:lnTo>
                    <a:pt x="525" y="552"/>
                  </a:lnTo>
                  <a:lnTo>
                    <a:pt x="525" y="550"/>
                  </a:lnTo>
                  <a:lnTo>
                    <a:pt x="525" y="548"/>
                  </a:lnTo>
                  <a:lnTo>
                    <a:pt x="525" y="546"/>
                  </a:lnTo>
                  <a:lnTo>
                    <a:pt x="524" y="546"/>
                  </a:lnTo>
                  <a:lnTo>
                    <a:pt x="524" y="545"/>
                  </a:lnTo>
                  <a:lnTo>
                    <a:pt x="524" y="544"/>
                  </a:lnTo>
                  <a:lnTo>
                    <a:pt x="522" y="542"/>
                  </a:lnTo>
                  <a:lnTo>
                    <a:pt x="522" y="544"/>
                  </a:lnTo>
                  <a:lnTo>
                    <a:pt x="524" y="545"/>
                  </a:lnTo>
                  <a:lnTo>
                    <a:pt x="524" y="546"/>
                  </a:lnTo>
                  <a:lnTo>
                    <a:pt x="522" y="545"/>
                  </a:lnTo>
                  <a:lnTo>
                    <a:pt x="521" y="545"/>
                  </a:lnTo>
                  <a:lnTo>
                    <a:pt x="521" y="547"/>
                  </a:lnTo>
                  <a:lnTo>
                    <a:pt x="521" y="548"/>
                  </a:lnTo>
                  <a:lnTo>
                    <a:pt x="522" y="550"/>
                  </a:lnTo>
                  <a:lnTo>
                    <a:pt x="522" y="551"/>
                  </a:lnTo>
                  <a:lnTo>
                    <a:pt x="522" y="552"/>
                  </a:lnTo>
                  <a:lnTo>
                    <a:pt x="521" y="553"/>
                  </a:lnTo>
                  <a:lnTo>
                    <a:pt x="520" y="553"/>
                  </a:lnTo>
                  <a:lnTo>
                    <a:pt x="520" y="551"/>
                  </a:lnTo>
                  <a:lnTo>
                    <a:pt x="520" y="548"/>
                  </a:lnTo>
                  <a:lnTo>
                    <a:pt x="520" y="546"/>
                  </a:lnTo>
                  <a:lnTo>
                    <a:pt x="520" y="545"/>
                  </a:lnTo>
                  <a:lnTo>
                    <a:pt x="519" y="544"/>
                  </a:lnTo>
                  <a:lnTo>
                    <a:pt x="519" y="542"/>
                  </a:lnTo>
                  <a:lnTo>
                    <a:pt x="518" y="542"/>
                  </a:lnTo>
                  <a:lnTo>
                    <a:pt x="519" y="545"/>
                  </a:lnTo>
                  <a:lnTo>
                    <a:pt x="520" y="546"/>
                  </a:lnTo>
                  <a:lnTo>
                    <a:pt x="520" y="547"/>
                  </a:lnTo>
                  <a:lnTo>
                    <a:pt x="519" y="550"/>
                  </a:lnTo>
                  <a:lnTo>
                    <a:pt x="519" y="551"/>
                  </a:lnTo>
                  <a:lnTo>
                    <a:pt x="518" y="551"/>
                  </a:lnTo>
                  <a:lnTo>
                    <a:pt x="518" y="550"/>
                  </a:lnTo>
                  <a:lnTo>
                    <a:pt x="516" y="550"/>
                  </a:lnTo>
                  <a:lnTo>
                    <a:pt x="518" y="552"/>
                  </a:lnTo>
                  <a:lnTo>
                    <a:pt x="518" y="553"/>
                  </a:lnTo>
                  <a:lnTo>
                    <a:pt x="518" y="554"/>
                  </a:lnTo>
                  <a:lnTo>
                    <a:pt x="518" y="556"/>
                  </a:lnTo>
                  <a:lnTo>
                    <a:pt x="518" y="557"/>
                  </a:lnTo>
                  <a:lnTo>
                    <a:pt x="516" y="557"/>
                  </a:lnTo>
                  <a:lnTo>
                    <a:pt x="516" y="556"/>
                  </a:lnTo>
                  <a:lnTo>
                    <a:pt x="515" y="554"/>
                  </a:lnTo>
                  <a:lnTo>
                    <a:pt x="515" y="553"/>
                  </a:lnTo>
                  <a:lnTo>
                    <a:pt x="514" y="553"/>
                  </a:lnTo>
                  <a:lnTo>
                    <a:pt x="514" y="552"/>
                  </a:lnTo>
                  <a:lnTo>
                    <a:pt x="513" y="552"/>
                  </a:lnTo>
                  <a:lnTo>
                    <a:pt x="513" y="553"/>
                  </a:lnTo>
                  <a:lnTo>
                    <a:pt x="514" y="554"/>
                  </a:lnTo>
                  <a:lnTo>
                    <a:pt x="514" y="556"/>
                  </a:lnTo>
                  <a:lnTo>
                    <a:pt x="513" y="557"/>
                  </a:lnTo>
                  <a:lnTo>
                    <a:pt x="511" y="557"/>
                  </a:lnTo>
                  <a:lnTo>
                    <a:pt x="511" y="554"/>
                  </a:lnTo>
                  <a:lnTo>
                    <a:pt x="511" y="553"/>
                  </a:lnTo>
                  <a:lnTo>
                    <a:pt x="511" y="552"/>
                  </a:lnTo>
                  <a:lnTo>
                    <a:pt x="510" y="552"/>
                  </a:lnTo>
                  <a:lnTo>
                    <a:pt x="509" y="552"/>
                  </a:lnTo>
                  <a:lnTo>
                    <a:pt x="508" y="551"/>
                  </a:lnTo>
                  <a:lnTo>
                    <a:pt x="508" y="554"/>
                  </a:lnTo>
                  <a:lnTo>
                    <a:pt x="508" y="556"/>
                  </a:lnTo>
                  <a:lnTo>
                    <a:pt x="508" y="557"/>
                  </a:lnTo>
                  <a:lnTo>
                    <a:pt x="507" y="557"/>
                  </a:lnTo>
                  <a:lnTo>
                    <a:pt x="507" y="556"/>
                  </a:lnTo>
                  <a:lnTo>
                    <a:pt x="507" y="554"/>
                  </a:lnTo>
                  <a:lnTo>
                    <a:pt x="505" y="553"/>
                  </a:lnTo>
                  <a:lnTo>
                    <a:pt x="505" y="554"/>
                  </a:lnTo>
                  <a:lnTo>
                    <a:pt x="505" y="556"/>
                  </a:lnTo>
                  <a:lnTo>
                    <a:pt x="504" y="556"/>
                  </a:lnTo>
                  <a:lnTo>
                    <a:pt x="504" y="557"/>
                  </a:lnTo>
                  <a:lnTo>
                    <a:pt x="503" y="557"/>
                  </a:lnTo>
                  <a:lnTo>
                    <a:pt x="504" y="558"/>
                  </a:lnTo>
                  <a:lnTo>
                    <a:pt x="504" y="559"/>
                  </a:lnTo>
                  <a:lnTo>
                    <a:pt x="505" y="561"/>
                  </a:lnTo>
                  <a:lnTo>
                    <a:pt x="505" y="562"/>
                  </a:lnTo>
                  <a:lnTo>
                    <a:pt x="505" y="563"/>
                  </a:lnTo>
                  <a:lnTo>
                    <a:pt x="505" y="564"/>
                  </a:lnTo>
                  <a:lnTo>
                    <a:pt x="504" y="565"/>
                  </a:lnTo>
                  <a:lnTo>
                    <a:pt x="503" y="565"/>
                  </a:lnTo>
                  <a:lnTo>
                    <a:pt x="503" y="564"/>
                  </a:lnTo>
                  <a:lnTo>
                    <a:pt x="503" y="562"/>
                  </a:lnTo>
                  <a:lnTo>
                    <a:pt x="503" y="561"/>
                  </a:lnTo>
                  <a:lnTo>
                    <a:pt x="502" y="559"/>
                  </a:lnTo>
                  <a:lnTo>
                    <a:pt x="502" y="558"/>
                  </a:lnTo>
                  <a:lnTo>
                    <a:pt x="499" y="558"/>
                  </a:lnTo>
                  <a:lnTo>
                    <a:pt x="498" y="558"/>
                  </a:lnTo>
                  <a:lnTo>
                    <a:pt x="499" y="561"/>
                  </a:lnTo>
                  <a:lnTo>
                    <a:pt x="499" y="562"/>
                  </a:lnTo>
                  <a:lnTo>
                    <a:pt x="499" y="563"/>
                  </a:lnTo>
                  <a:lnTo>
                    <a:pt x="498" y="564"/>
                  </a:lnTo>
                  <a:lnTo>
                    <a:pt x="497" y="565"/>
                  </a:lnTo>
                  <a:lnTo>
                    <a:pt x="497" y="564"/>
                  </a:lnTo>
                  <a:lnTo>
                    <a:pt x="497" y="563"/>
                  </a:lnTo>
                  <a:lnTo>
                    <a:pt x="497" y="562"/>
                  </a:lnTo>
                  <a:lnTo>
                    <a:pt x="497" y="561"/>
                  </a:lnTo>
                  <a:lnTo>
                    <a:pt x="496" y="562"/>
                  </a:lnTo>
                  <a:lnTo>
                    <a:pt x="495" y="562"/>
                  </a:lnTo>
                  <a:lnTo>
                    <a:pt x="495" y="561"/>
                  </a:lnTo>
                  <a:lnTo>
                    <a:pt x="496" y="559"/>
                  </a:lnTo>
                  <a:lnTo>
                    <a:pt x="495" y="559"/>
                  </a:lnTo>
                  <a:lnTo>
                    <a:pt x="495" y="558"/>
                  </a:lnTo>
                  <a:lnTo>
                    <a:pt x="493" y="558"/>
                  </a:lnTo>
                  <a:lnTo>
                    <a:pt x="493" y="557"/>
                  </a:lnTo>
                  <a:lnTo>
                    <a:pt x="493" y="556"/>
                  </a:lnTo>
                  <a:lnTo>
                    <a:pt x="492" y="553"/>
                  </a:lnTo>
                  <a:lnTo>
                    <a:pt x="492" y="552"/>
                  </a:lnTo>
                  <a:lnTo>
                    <a:pt x="491" y="553"/>
                  </a:lnTo>
                  <a:lnTo>
                    <a:pt x="492" y="554"/>
                  </a:lnTo>
                  <a:lnTo>
                    <a:pt x="493" y="558"/>
                  </a:lnTo>
                  <a:lnTo>
                    <a:pt x="493" y="559"/>
                  </a:lnTo>
                  <a:lnTo>
                    <a:pt x="493" y="561"/>
                  </a:lnTo>
                  <a:lnTo>
                    <a:pt x="492" y="559"/>
                  </a:lnTo>
                  <a:lnTo>
                    <a:pt x="492" y="558"/>
                  </a:lnTo>
                  <a:lnTo>
                    <a:pt x="491" y="558"/>
                  </a:lnTo>
                  <a:lnTo>
                    <a:pt x="492" y="559"/>
                  </a:lnTo>
                  <a:lnTo>
                    <a:pt x="492" y="561"/>
                  </a:lnTo>
                  <a:lnTo>
                    <a:pt x="492" y="562"/>
                  </a:lnTo>
                  <a:lnTo>
                    <a:pt x="492" y="563"/>
                  </a:lnTo>
                  <a:lnTo>
                    <a:pt x="492" y="564"/>
                  </a:lnTo>
                  <a:lnTo>
                    <a:pt x="493" y="565"/>
                  </a:lnTo>
                  <a:lnTo>
                    <a:pt x="492" y="567"/>
                  </a:lnTo>
                  <a:lnTo>
                    <a:pt x="492" y="568"/>
                  </a:lnTo>
                  <a:lnTo>
                    <a:pt x="491" y="567"/>
                  </a:lnTo>
                  <a:lnTo>
                    <a:pt x="491" y="565"/>
                  </a:lnTo>
                  <a:lnTo>
                    <a:pt x="490" y="565"/>
                  </a:lnTo>
                  <a:lnTo>
                    <a:pt x="489" y="567"/>
                  </a:lnTo>
                  <a:lnTo>
                    <a:pt x="489" y="568"/>
                  </a:lnTo>
                  <a:lnTo>
                    <a:pt x="489" y="569"/>
                  </a:lnTo>
                  <a:lnTo>
                    <a:pt x="487" y="569"/>
                  </a:lnTo>
                  <a:lnTo>
                    <a:pt x="487" y="568"/>
                  </a:lnTo>
                  <a:lnTo>
                    <a:pt x="486" y="567"/>
                  </a:lnTo>
                  <a:lnTo>
                    <a:pt x="486" y="565"/>
                  </a:lnTo>
                  <a:lnTo>
                    <a:pt x="486" y="564"/>
                  </a:lnTo>
                  <a:lnTo>
                    <a:pt x="485" y="564"/>
                  </a:lnTo>
                  <a:lnTo>
                    <a:pt x="484" y="564"/>
                  </a:lnTo>
                  <a:lnTo>
                    <a:pt x="484" y="567"/>
                  </a:lnTo>
                  <a:lnTo>
                    <a:pt x="484" y="570"/>
                  </a:lnTo>
                  <a:lnTo>
                    <a:pt x="483" y="569"/>
                  </a:lnTo>
                  <a:lnTo>
                    <a:pt x="483" y="568"/>
                  </a:lnTo>
                  <a:lnTo>
                    <a:pt x="483" y="567"/>
                  </a:lnTo>
                  <a:lnTo>
                    <a:pt x="483" y="565"/>
                  </a:lnTo>
                  <a:lnTo>
                    <a:pt x="483" y="564"/>
                  </a:lnTo>
                  <a:lnTo>
                    <a:pt x="483" y="563"/>
                  </a:lnTo>
                  <a:lnTo>
                    <a:pt x="481" y="564"/>
                  </a:lnTo>
                  <a:lnTo>
                    <a:pt x="480" y="564"/>
                  </a:lnTo>
                  <a:lnTo>
                    <a:pt x="480" y="563"/>
                  </a:lnTo>
                  <a:lnTo>
                    <a:pt x="480" y="562"/>
                  </a:lnTo>
                  <a:lnTo>
                    <a:pt x="480" y="561"/>
                  </a:lnTo>
                  <a:lnTo>
                    <a:pt x="479" y="559"/>
                  </a:lnTo>
                  <a:lnTo>
                    <a:pt x="479" y="562"/>
                  </a:lnTo>
                  <a:lnTo>
                    <a:pt x="478" y="562"/>
                  </a:lnTo>
                  <a:lnTo>
                    <a:pt x="478" y="563"/>
                  </a:lnTo>
                  <a:lnTo>
                    <a:pt x="479" y="564"/>
                  </a:lnTo>
                  <a:lnTo>
                    <a:pt x="479" y="565"/>
                  </a:lnTo>
                  <a:lnTo>
                    <a:pt x="478" y="565"/>
                  </a:lnTo>
                  <a:lnTo>
                    <a:pt x="478" y="564"/>
                  </a:lnTo>
                  <a:lnTo>
                    <a:pt x="477" y="564"/>
                  </a:lnTo>
                  <a:lnTo>
                    <a:pt x="478" y="565"/>
                  </a:lnTo>
                  <a:lnTo>
                    <a:pt x="477" y="567"/>
                  </a:lnTo>
                  <a:lnTo>
                    <a:pt x="477" y="564"/>
                  </a:lnTo>
                  <a:lnTo>
                    <a:pt x="475" y="563"/>
                  </a:lnTo>
                  <a:lnTo>
                    <a:pt x="475" y="562"/>
                  </a:lnTo>
                  <a:lnTo>
                    <a:pt x="475" y="561"/>
                  </a:lnTo>
                  <a:lnTo>
                    <a:pt x="475" y="559"/>
                  </a:lnTo>
                  <a:lnTo>
                    <a:pt x="474" y="558"/>
                  </a:lnTo>
                  <a:lnTo>
                    <a:pt x="475" y="559"/>
                  </a:lnTo>
                  <a:lnTo>
                    <a:pt x="475" y="561"/>
                  </a:lnTo>
                  <a:lnTo>
                    <a:pt x="474" y="561"/>
                  </a:lnTo>
                  <a:lnTo>
                    <a:pt x="474" y="563"/>
                  </a:lnTo>
                  <a:lnTo>
                    <a:pt x="474" y="564"/>
                  </a:lnTo>
                  <a:lnTo>
                    <a:pt x="474" y="565"/>
                  </a:lnTo>
                  <a:lnTo>
                    <a:pt x="473" y="565"/>
                  </a:lnTo>
                  <a:lnTo>
                    <a:pt x="473" y="564"/>
                  </a:lnTo>
                  <a:lnTo>
                    <a:pt x="473" y="563"/>
                  </a:lnTo>
                  <a:lnTo>
                    <a:pt x="473" y="562"/>
                  </a:lnTo>
                  <a:lnTo>
                    <a:pt x="473" y="561"/>
                  </a:lnTo>
                  <a:lnTo>
                    <a:pt x="472" y="559"/>
                  </a:lnTo>
                  <a:lnTo>
                    <a:pt x="472" y="558"/>
                  </a:lnTo>
                  <a:lnTo>
                    <a:pt x="472" y="557"/>
                  </a:lnTo>
                  <a:lnTo>
                    <a:pt x="472" y="556"/>
                  </a:lnTo>
                  <a:lnTo>
                    <a:pt x="471" y="554"/>
                  </a:lnTo>
                  <a:lnTo>
                    <a:pt x="469" y="553"/>
                  </a:lnTo>
                  <a:lnTo>
                    <a:pt x="469" y="552"/>
                  </a:lnTo>
                  <a:lnTo>
                    <a:pt x="468" y="552"/>
                  </a:lnTo>
                  <a:lnTo>
                    <a:pt x="469" y="553"/>
                  </a:lnTo>
                  <a:lnTo>
                    <a:pt x="469" y="554"/>
                  </a:lnTo>
                  <a:lnTo>
                    <a:pt x="471" y="556"/>
                  </a:lnTo>
                  <a:lnTo>
                    <a:pt x="471" y="557"/>
                  </a:lnTo>
                  <a:lnTo>
                    <a:pt x="469" y="557"/>
                  </a:lnTo>
                  <a:lnTo>
                    <a:pt x="471" y="558"/>
                  </a:lnTo>
                  <a:lnTo>
                    <a:pt x="469" y="558"/>
                  </a:lnTo>
                  <a:lnTo>
                    <a:pt x="471" y="559"/>
                  </a:lnTo>
                  <a:lnTo>
                    <a:pt x="472" y="561"/>
                  </a:lnTo>
                  <a:lnTo>
                    <a:pt x="473" y="561"/>
                  </a:lnTo>
                  <a:lnTo>
                    <a:pt x="473" y="562"/>
                  </a:lnTo>
                  <a:lnTo>
                    <a:pt x="473" y="563"/>
                  </a:lnTo>
                  <a:lnTo>
                    <a:pt x="472" y="563"/>
                  </a:lnTo>
                  <a:lnTo>
                    <a:pt x="471" y="563"/>
                  </a:lnTo>
                  <a:lnTo>
                    <a:pt x="472" y="562"/>
                  </a:lnTo>
                  <a:lnTo>
                    <a:pt x="471" y="561"/>
                  </a:lnTo>
                  <a:lnTo>
                    <a:pt x="469" y="561"/>
                  </a:lnTo>
                  <a:lnTo>
                    <a:pt x="468" y="561"/>
                  </a:lnTo>
                  <a:lnTo>
                    <a:pt x="468" y="562"/>
                  </a:lnTo>
                  <a:lnTo>
                    <a:pt x="469" y="562"/>
                  </a:lnTo>
                  <a:lnTo>
                    <a:pt x="469" y="563"/>
                  </a:lnTo>
                  <a:lnTo>
                    <a:pt x="469" y="564"/>
                  </a:lnTo>
                  <a:lnTo>
                    <a:pt x="468" y="563"/>
                  </a:lnTo>
                  <a:lnTo>
                    <a:pt x="468" y="564"/>
                  </a:lnTo>
                  <a:lnTo>
                    <a:pt x="469" y="567"/>
                  </a:lnTo>
                  <a:lnTo>
                    <a:pt x="468" y="567"/>
                  </a:lnTo>
                  <a:lnTo>
                    <a:pt x="467" y="567"/>
                  </a:lnTo>
                  <a:lnTo>
                    <a:pt x="467" y="569"/>
                  </a:lnTo>
                  <a:lnTo>
                    <a:pt x="468" y="570"/>
                  </a:lnTo>
                  <a:lnTo>
                    <a:pt x="468" y="573"/>
                  </a:lnTo>
                  <a:lnTo>
                    <a:pt x="468" y="575"/>
                  </a:lnTo>
                  <a:lnTo>
                    <a:pt x="467" y="574"/>
                  </a:lnTo>
                  <a:lnTo>
                    <a:pt x="467" y="573"/>
                  </a:lnTo>
                  <a:lnTo>
                    <a:pt x="467" y="570"/>
                  </a:lnTo>
                  <a:lnTo>
                    <a:pt x="466" y="569"/>
                  </a:lnTo>
                  <a:lnTo>
                    <a:pt x="465" y="570"/>
                  </a:lnTo>
                  <a:lnTo>
                    <a:pt x="463" y="570"/>
                  </a:lnTo>
                  <a:lnTo>
                    <a:pt x="465" y="571"/>
                  </a:lnTo>
                  <a:lnTo>
                    <a:pt x="466" y="573"/>
                  </a:lnTo>
                  <a:lnTo>
                    <a:pt x="465" y="573"/>
                  </a:lnTo>
                  <a:lnTo>
                    <a:pt x="463" y="573"/>
                  </a:lnTo>
                  <a:lnTo>
                    <a:pt x="463" y="574"/>
                  </a:lnTo>
                  <a:lnTo>
                    <a:pt x="463" y="576"/>
                  </a:lnTo>
                  <a:lnTo>
                    <a:pt x="462" y="575"/>
                  </a:lnTo>
                  <a:lnTo>
                    <a:pt x="463" y="573"/>
                  </a:lnTo>
                  <a:lnTo>
                    <a:pt x="462" y="571"/>
                  </a:lnTo>
                  <a:lnTo>
                    <a:pt x="461" y="570"/>
                  </a:lnTo>
                  <a:lnTo>
                    <a:pt x="461" y="569"/>
                  </a:lnTo>
                  <a:lnTo>
                    <a:pt x="461" y="567"/>
                  </a:lnTo>
                  <a:lnTo>
                    <a:pt x="460" y="564"/>
                  </a:lnTo>
                  <a:lnTo>
                    <a:pt x="460" y="563"/>
                  </a:lnTo>
                  <a:lnTo>
                    <a:pt x="460" y="561"/>
                  </a:lnTo>
                  <a:lnTo>
                    <a:pt x="459" y="561"/>
                  </a:lnTo>
                  <a:lnTo>
                    <a:pt x="457" y="562"/>
                  </a:lnTo>
                  <a:lnTo>
                    <a:pt x="456" y="563"/>
                  </a:lnTo>
                  <a:lnTo>
                    <a:pt x="456" y="567"/>
                  </a:lnTo>
                  <a:lnTo>
                    <a:pt x="456" y="569"/>
                  </a:lnTo>
                  <a:lnTo>
                    <a:pt x="456" y="570"/>
                  </a:lnTo>
                  <a:lnTo>
                    <a:pt x="457" y="573"/>
                  </a:lnTo>
                  <a:lnTo>
                    <a:pt x="459" y="574"/>
                  </a:lnTo>
                  <a:lnTo>
                    <a:pt x="459" y="575"/>
                  </a:lnTo>
                  <a:lnTo>
                    <a:pt x="457" y="574"/>
                  </a:lnTo>
                  <a:lnTo>
                    <a:pt x="456" y="573"/>
                  </a:lnTo>
                  <a:lnTo>
                    <a:pt x="456" y="570"/>
                  </a:lnTo>
                  <a:lnTo>
                    <a:pt x="455" y="568"/>
                  </a:lnTo>
                  <a:lnTo>
                    <a:pt x="455" y="567"/>
                  </a:lnTo>
                  <a:lnTo>
                    <a:pt x="454" y="565"/>
                  </a:lnTo>
                  <a:lnTo>
                    <a:pt x="454" y="568"/>
                  </a:lnTo>
                  <a:lnTo>
                    <a:pt x="452" y="568"/>
                  </a:lnTo>
                  <a:lnTo>
                    <a:pt x="451" y="568"/>
                  </a:lnTo>
                  <a:lnTo>
                    <a:pt x="451" y="569"/>
                  </a:lnTo>
                  <a:lnTo>
                    <a:pt x="452" y="571"/>
                  </a:lnTo>
                  <a:lnTo>
                    <a:pt x="454" y="575"/>
                  </a:lnTo>
                  <a:lnTo>
                    <a:pt x="454" y="576"/>
                  </a:lnTo>
                  <a:lnTo>
                    <a:pt x="452" y="579"/>
                  </a:lnTo>
                  <a:lnTo>
                    <a:pt x="451" y="577"/>
                  </a:lnTo>
                  <a:lnTo>
                    <a:pt x="451" y="576"/>
                  </a:lnTo>
                  <a:lnTo>
                    <a:pt x="451" y="575"/>
                  </a:lnTo>
                  <a:lnTo>
                    <a:pt x="451" y="577"/>
                  </a:lnTo>
                  <a:lnTo>
                    <a:pt x="450" y="577"/>
                  </a:lnTo>
                  <a:lnTo>
                    <a:pt x="449" y="576"/>
                  </a:lnTo>
                  <a:lnTo>
                    <a:pt x="449" y="574"/>
                  </a:lnTo>
                  <a:lnTo>
                    <a:pt x="449" y="573"/>
                  </a:lnTo>
                  <a:lnTo>
                    <a:pt x="450" y="568"/>
                  </a:lnTo>
                  <a:lnTo>
                    <a:pt x="450" y="567"/>
                  </a:lnTo>
                  <a:lnTo>
                    <a:pt x="449" y="565"/>
                  </a:lnTo>
                  <a:lnTo>
                    <a:pt x="450" y="563"/>
                  </a:lnTo>
                  <a:lnTo>
                    <a:pt x="450" y="561"/>
                  </a:lnTo>
                  <a:lnTo>
                    <a:pt x="449" y="558"/>
                  </a:lnTo>
                  <a:lnTo>
                    <a:pt x="448" y="557"/>
                  </a:lnTo>
                  <a:lnTo>
                    <a:pt x="446" y="554"/>
                  </a:lnTo>
                  <a:lnTo>
                    <a:pt x="446" y="557"/>
                  </a:lnTo>
                  <a:lnTo>
                    <a:pt x="445" y="559"/>
                  </a:lnTo>
                  <a:lnTo>
                    <a:pt x="444" y="558"/>
                  </a:lnTo>
                  <a:lnTo>
                    <a:pt x="443" y="558"/>
                  </a:lnTo>
                  <a:lnTo>
                    <a:pt x="443" y="561"/>
                  </a:lnTo>
                  <a:lnTo>
                    <a:pt x="442" y="563"/>
                  </a:lnTo>
                  <a:lnTo>
                    <a:pt x="440" y="562"/>
                  </a:lnTo>
                  <a:lnTo>
                    <a:pt x="440" y="559"/>
                  </a:lnTo>
                  <a:lnTo>
                    <a:pt x="440" y="554"/>
                  </a:lnTo>
                  <a:lnTo>
                    <a:pt x="440" y="551"/>
                  </a:lnTo>
                  <a:lnTo>
                    <a:pt x="439" y="550"/>
                  </a:lnTo>
                  <a:lnTo>
                    <a:pt x="439" y="556"/>
                  </a:lnTo>
                  <a:lnTo>
                    <a:pt x="438" y="556"/>
                  </a:lnTo>
                  <a:lnTo>
                    <a:pt x="437" y="553"/>
                  </a:lnTo>
                  <a:lnTo>
                    <a:pt x="436" y="553"/>
                  </a:lnTo>
                  <a:lnTo>
                    <a:pt x="437" y="551"/>
                  </a:lnTo>
                  <a:lnTo>
                    <a:pt x="436" y="548"/>
                  </a:lnTo>
                  <a:lnTo>
                    <a:pt x="436" y="547"/>
                  </a:lnTo>
                  <a:lnTo>
                    <a:pt x="434" y="551"/>
                  </a:lnTo>
                  <a:lnTo>
                    <a:pt x="434" y="553"/>
                  </a:lnTo>
                  <a:lnTo>
                    <a:pt x="433" y="550"/>
                  </a:lnTo>
                  <a:lnTo>
                    <a:pt x="432" y="547"/>
                  </a:lnTo>
                  <a:lnTo>
                    <a:pt x="432" y="545"/>
                  </a:lnTo>
                  <a:lnTo>
                    <a:pt x="432" y="544"/>
                  </a:lnTo>
                  <a:lnTo>
                    <a:pt x="431" y="541"/>
                  </a:lnTo>
                  <a:lnTo>
                    <a:pt x="428" y="541"/>
                  </a:lnTo>
                  <a:lnTo>
                    <a:pt x="427" y="542"/>
                  </a:lnTo>
                  <a:lnTo>
                    <a:pt x="427" y="544"/>
                  </a:lnTo>
                  <a:lnTo>
                    <a:pt x="428" y="544"/>
                  </a:lnTo>
                  <a:lnTo>
                    <a:pt x="430" y="545"/>
                  </a:lnTo>
                  <a:lnTo>
                    <a:pt x="431" y="546"/>
                  </a:lnTo>
                  <a:lnTo>
                    <a:pt x="432" y="547"/>
                  </a:lnTo>
                  <a:lnTo>
                    <a:pt x="432" y="548"/>
                  </a:lnTo>
                  <a:lnTo>
                    <a:pt x="432" y="550"/>
                  </a:lnTo>
                  <a:lnTo>
                    <a:pt x="432" y="552"/>
                  </a:lnTo>
                  <a:lnTo>
                    <a:pt x="432" y="553"/>
                  </a:lnTo>
                  <a:lnTo>
                    <a:pt x="428" y="554"/>
                  </a:lnTo>
                  <a:lnTo>
                    <a:pt x="428" y="553"/>
                  </a:lnTo>
                  <a:lnTo>
                    <a:pt x="428" y="554"/>
                  </a:lnTo>
                  <a:lnTo>
                    <a:pt x="428" y="557"/>
                  </a:lnTo>
                  <a:lnTo>
                    <a:pt x="428" y="558"/>
                  </a:lnTo>
                  <a:lnTo>
                    <a:pt x="431" y="558"/>
                  </a:lnTo>
                  <a:lnTo>
                    <a:pt x="432" y="558"/>
                  </a:lnTo>
                  <a:lnTo>
                    <a:pt x="433" y="557"/>
                  </a:lnTo>
                  <a:lnTo>
                    <a:pt x="434" y="557"/>
                  </a:lnTo>
                  <a:lnTo>
                    <a:pt x="434" y="559"/>
                  </a:lnTo>
                  <a:lnTo>
                    <a:pt x="436" y="559"/>
                  </a:lnTo>
                  <a:lnTo>
                    <a:pt x="438" y="561"/>
                  </a:lnTo>
                  <a:lnTo>
                    <a:pt x="439" y="562"/>
                  </a:lnTo>
                  <a:lnTo>
                    <a:pt x="437" y="562"/>
                  </a:lnTo>
                  <a:lnTo>
                    <a:pt x="436" y="562"/>
                  </a:lnTo>
                  <a:lnTo>
                    <a:pt x="434" y="563"/>
                  </a:lnTo>
                  <a:lnTo>
                    <a:pt x="433" y="563"/>
                  </a:lnTo>
                  <a:lnTo>
                    <a:pt x="433" y="567"/>
                  </a:lnTo>
                  <a:lnTo>
                    <a:pt x="434" y="569"/>
                  </a:lnTo>
                  <a:lnTo>
                    <a:pt x="434" y="571"/>
                  </a:lnTo>
                  <a:lnTo>
                    <a:pt x="436" y="573"/>
                  </a:lnTo>
                  <a:lnTo>
                    <a:pt x="436" y="575"/>
                  </a:lnTo>
                  <a:lnTo>
                    <a:pt x="439" y="576"/>
                  </a:lnTo>
                  <a:lnTo>
                    <a:pt x="440" y="577"/>
                  </a:lnTo>
                  <a:lnTo>
                    <a:pt x="443" y="577"/>
                  </a:lnTo>
                  <a:lnTo>
                    <a:pt x="445" y="577"/>
                  </a:lnTo>
                  <a:lnTo>
                    <a:pt x="446" y="579"/>
                  </a:lnTo>
                  <a:lnTo>
                    <a:pt x="449" y="579"/>
                  </a:lnTo>
                  <a:lnTo>
                    <a:pt x="454" y="580"/>
                  </a:lnTo>
                  <a:lnTo>
                    <a:pt x="459" y="580"/>
                  </a:lnTo>
                  <a:lnTo>
                    <a:pt x="461" y="581"/>
                  </a:lnTo>
                  <a:lnTo>
                    <a:pt x="465" y="582"/>
                  </a:lnTo>
                  <a:lnTo>
                    <a:pt x="471" y="583"/>
                  </a:lnTo>
                  <a:lnTo>
                    <a:pt x="474" y="583"/>
                  </a:lnTo>
                  <a:lnTo>
                    <a:pt x="474" y="585"/>
                  </a:lnTo>
                  <a:lnTo>
                    <a:pt x="472" y="585"/>
                  </a:lnTo>
                  <a:lnTo>
                    <a:pt x="468" y="585"/>
                  </a:lnTo>
                  <a:lnTo>
                    <a:pt x="469" y="585"/>
                  </a:lnTo>
                  <a:lnTo>
                    <a:pt x="469" y="586"/>
                  </a:lnTo>
                  <a:lnTo>
                    <a:pt x="469" y="587"/>
                  </a:lnTo>
                  <a:lnTo>
                    <a:pt x="468" y="586"/>
                  </a:lnTo>
                  <a:lnTo>
                    <a:pt x="467" y="585"/>
                  </a:lnTo>
                  <a:lnTo>
                    <a:pt x="466" y="583"/>
                  </a:lnTo>
                  <a:lnTo>
                    <a:pt x="465" y="583"/>
                  </a:lnTo>
                  <a:lnTo>
                    <a:pt x="466" y="586"/>
                  </a:lnTo>
                  <a:lnTo>
                    <a:pt x="467" y="587"/>
                  </a:lnTo>
                  <a:lnTo>
                    <a:pt x="466" y="587"/>
                  </a:lnTo>
                  <a:lnTo>
                    <a:pt x="463" y="587"/>
                  </a:lnTo>
                  <a:lnTo>
                    <a:pt x="462" y="586"/>
                  </a:lnTo>
                  <a:lnTo>
                    <a:pt x="461" y="586"/>
                  </a:lnTo>
                  <a:lnTo>
                    <a:pt x="462" y="587"/>
                  </a:lnTo>
                  <a:lnTo>
                    <a:pt x="461" y="587"/>
                  </a:lnTo>
                  <a:lnTo>
                    <a:pt x="459" y="587"/>
                  </a:lnTo>
                  <a:lnTo>
                    <a:pt x="457" y="587"/>
                  </a:lnTo>
                  <a:lnTo>
                    <a:pt x="456" y="587"/>
                  </a:lnTo>
                  <a:lnTo>
                    <a:pt x="456" y="588"/>
                  </a:lnTo>
                  <a:lnTo>
                    <a:pt x="459" y="588"/>
                  </a:lnTo>
                  <a:lnTo>
                    <a:pt x="461" y="588"/>
                  </a:lnTo>
                  <a:lnTo>
                    <a:pt x="465" y="588"/>
                  </a:lnTo>
                  <a:lnTo>
                    <a:pt x="466" y="589"/>
                  </a:lnTo>
                  <a:lnTo>
                    <a:pt x="469" y="589"/>
                  </a:lnTo>
                  <a:lnTo>
                    <a:pt x="471" y="591"/>
                  </a:lnTo>
                  <a:lnTo>
                    <a:pt x="473" y="591"/>
                  </a:lnTo>
                  <a:lnTo>
                    <a:pt x="475" y="589"/>
                  </a:lnTo>
                  <a:lnTo>
                    <a:pt x="478" y="589"/>
                  </a:lnTo>
                  <a:lnTo>
                    <a:pt x="477" y="591"/>
                  </a:lnTo>
                  <a:lnTo>
                    <a:pt x="478" y="591"/>
                  </a:lnTo>
                  <a:lnTo>
                    <a:pt x="478" y="592"/>
                  </a:lnTo>
                  <a:lnTo>
                    <a:pt x="475" y="592"/>
                  </a:lnTo>
                  <a:lnTo>
                    <a:pt x="478" y="593"/>
                  </a:lnTo>
                  <a:lnTo>
                    <a:pt x="479" y="594"/>
                  </a:lnTo>
                  <a:lnTo>
                    <a:pt x="481" y="593"/>
                  </a:lnTo>
                  <a:lnTo>
                    <a:pt x="484" y="593"/>
                  </a:lnTo>
                  <a:lnTo>
                    <a:pt x="487" y="592"/>
                  </a:lnTo>
                  <a:lnTo>
                    <a:pt x="490" y="591"/>
                  </a:lnTo>
                  <a:lnTo>
                    <a:pt x="493" y="592"/>
                  </a:lnTo>
                  <a:lnTo>
                    <a:pt x="492" y="592"/>
                  </a:lnTo>
                  <a:lnTo>
                    <a:pt x="493" y="592"/>
                  </a:lnTo>
                  <a:lnTo>
                    <a:pt x="496" y="591"/>
                  </a:lnTo>
                  <a:lnTo>
                    <a:pt x="499" y="589"/>
                  </a:lnTo>
                  <a:lnTo>
                    <a:pt x="502" y="588"/>
                  </a:lnTo>
                  <a:lnTo>
                    <a:pt x="503" y="588"/>
                  </a:lnTo>
                  <a:lnTo>
                    <a:pt x="504" y="587"/>
                  </a:lnTo>
                  <a:lnTo>
                    <a:pt x="504" y="588"/>
                  </a:lnTo>
                  <a:lnTo>
                    <a:pt x="503" y="589"/>
                  </a:lnTo>
                  <a:lnTo>
                    <a:pt x="505" y="588"/>
                  </a:lnTo>
                  <a:lnTo>
                    <a:pt x="507" y="588"/>
                  </a:lnTo>
                  <a:lnTo>
                    <a:pt x="507" y="587"/>
                  </a:lnTo>
                  <a:lnTo>
                    <a:pt x="509" y="587"/>
                  </a:lnTo>
                  <a:lnTo>
                    <a:pt x="510" y="587"/>
                  </a:lnTo>
                  <a:lnTo>
                    <a:pt x="511" y="587"/>
                  </a:lnTo>
                  <a:lnTo>
                    <a:pt x="513" y="586"/>
                  </a:lnTo>
                  <a:lnTo>
                    <a:pt x="515" y="586"/>
                  </a:lnTo>
                  <a:lnTo>
                    <a:pt x="516" y="586"/>
                  </a:lnTo>
                  <a:lnTo>
                    <a:pt x="518" y="585"/>
                  </a:lnTo>
                  <a:lnTo>
                    <a:pt x="516" y="583"/>
                  </a:lnTo>
                  <a:lnTo>
                    <a:pt x="519" y="583"/>
                  </a:lnTo>
                  <a:lnTo>
                    <a:pt x="519" y="585"/>
                  </a:lnTo>
                  <a:lnTo>
                    <a:pt x="520" y="585"/>
                  </a:lnTo>
                  <a:lnTo>
                    <a:pt x="521" y="585"/>
                  </a:lnTo>
                  <a:lnTo>
                    <a:pt x="521" y="582"/>
                  </a:lnTo>
                  <a:lnTo>
                    <a:pt x="522" y="581"/>
                  </a:lnTo>
                  <a:lnTo>
                    <a:pt x="524" y="582"/>
                  </a:lnTo>
                  <a:lnTo>
                    <a:pt x="524" y="583"/>
                  </a:lnTo>
                  <a:lnTo>
                    <a:pt x="525" y="583"/>
                  </a:lnTo>
                  <a:lnTo>
                    <a:pt x="526" y="583"/>
                  </a:lnTo>
                  <a:lnTo>
                    <a:pt x="527" y="583"/>
                  </a:lnTo>
                  <a:lnTo>
                    <a:pt x="528" y="582"/>
                  </a:lnTo>
                  <a:lnTo>
                    <a:pt x="530" y="583"/>
                  </a:lnTo>
                  <a:lnTo>
                    <a:pt x="531" y="582"/>
                  </a:lnTo>
                  <a:lnTo>
                    <a:pt x="532" y="582"/>
                  </a:lnTo>
                  <a:lnTo>
                    <a:pt x="533" y="581"/>
                  </a:lnTo>
                  <a:lnTo>
                    <a:pt x="534" y="581"/>
                  </a:lnTo>
                  <a:lnTo>
                    <a:pt x="539" y="579"/>
                  </a:lnTo>
                  <a:lnTo>
                    <a:pt x="538" y="581"/>
                  </a:lnTo>
                  <a:lnTo>
                    <a:pt x="538" y="582"/>
                  </a:lnTo>
                  <a:lnTo>
                    <a:pt x="539" y="581"/>
                  </a:lnTo>
                  <a:lnTo>
                    <a:pt x="542" y="580"/>
                  </a:lnTo>
                  <a:lnTo>
                    <a:pt x="540" y="582"/>
                  </a:lnTo>
                  <a:lnTo>
                    <a:pt x="539" y="582"/>
                  </a:lnTo>
                  <a:lnTo>
                    <a:pt x="542" y="582"/>
                  </a:lnTo>
                  <a:lnTo>
                    <a:pt x="543" y="583"/>
                  </a:lnTo>
                  <a:lnTo>
                    <a:pt x="540" y="583"/>
                  </a:lnTo>
                  <a:lnTo>
                    <a:pt x="539" y="583"/>
                  </a:lnTo>
                  <a:lnTo>
                    <a:pt x="537" y="583"/>
                  </a:lnTo>
                  <a:lnTo>
                    <a:pt x="537" y="586"/>
                  </a:lnTo>
                  <a:lnTo>
                    <a:pt x="537" y="587"/>
                  </a:lnTo>
                  <a:lnTo>
                    <a:pt x="536" y="586"/>
                  </a:lnTo>
                  <a:lnTo>
                    <a:pt x="534" y="585"/>
                  </a:lnTo>
                  <a:lnTo>
                    <a:pt x="533" y="583"/>
                  </a:lnTo>
                  <a:lnTo>
                    <a:pt x="532" y="583"/>
                  </a:lnTo>
                  <a:lnTo>
                    <a:pt x="532" y="586"/>
                  </a:lnTo>
                  <a:lnTo>
                    <a:pt x="532" y="585"/>
                  </a:lnTo>
                  <a:lnTo>
                    <a:pt x="531" y="585"/>
                  </a:lnTo>
                  <a:lnTo>
                    <a:pt x="530" y="585"/>
                  </a:lnTo>
                  <a:lnTo>
                    <a:pt x="530" y="586"/>
                  </a:lnTo>
                  <a:lnTo>
                    <a:pt x="531" y="587"/>
                  </a:lnTo>
                  <a:lnTo>
                    <a:pt x="532" y="588"/>
                  </a:lnTo>
                  <a:lnTo>
                    <a:pt x="532" y="591"/>
                  </a:lnTo>
                  <a:lnTo>
                    <a:pt x="532" y="593"/>
                  </a:lnTo>
                  <a:lnTo>
                    <a:pt x="530" y="597"/>
                  </a:lnTo>
                  <a:lnTo>
                    <a:pt x="528" y="597"/>
                  </a:lnTo>
                  <a:lnTo>
                    <a:pt x="528" y="595"/>
                  </a:lnTo>
                  <a:lnTo>
                    <a:pt x="528" y="593"/>
                  </a:lnTo>
                  <a:lnTo>
                    <a:pt x="528" y="592"/>
                  </a:lnTo>
                  <a:lnTo>
                    <a:pt x="528" y="593"/>
                  </a:lnTo>
                  <a:lnTo>
                    <a:pt x="527" y="594"/>
                  </a:lnTo>
                  <a:lnTo>
                    <a:pt x="527" y="597"/>
                  </a:lnTo>
                  <a:lnTo>
                    <a:pt x="528" y="598"/>
                  </a:lnTo>
                  <a:lnTo>
                    <a:pt x="527" y="598"/>
                  </a:lnTo>
                  <a:lnTo>
                    <a:pt x="525" y="599"/>
                  </a:lnTo>
                  <a:lnTo>
                    <a:pt x="525" y="601"/>
                  </a:lnTo>
                  <a:lnTo>
                    <a:pt x="522" y="603"/>
                  </a:lnTo>
                  <a:lnTo>
                    <a:pt x="524" y="604"/>
                  </a:lnTo>
                  <a:lnTo>
                    <a:pt x="525" y="601"/>
                  </a:lnTo>
                  <a:lnTo>
                    <a:pt x="527" y="601"/>
                  </a:lnTo>
                  <a:lnTo>
                    <a:pt x="530" y="601"/>
                  </a:lnTo>
                  <a:lnTo>
                    <a:pt x="531" y="603"/>
                  </a:lnTo>
                  <a:lnTo>
                    <a:pt x="532" y="603"/>
                  </a:lnTo>
                  <a:lnTo>
                    <a:pt x="533" y="601"/>
                  </a:lnTo>
                  <a:lnTo>
                    <a:pt x="537" y="603"/>
                  </a:lnTo>
                  <a:lnTo>
                    <a:pt x="538" y="604"/>
                  </a:lnTo>
                  <a:lnTo>
                    <a:pt x="537" y="604"/>
                  </a:lnTo>
                  <a:lnTo>
                    <a:pt x="534" y="604"/>
                  </a:lnTo>
                  <a:lnTo>
                    <a:pt x="533" y="604"/>
                  </a:lnTo>
                  <a:lnTo>
                    <a:pt x="532" y="604"/>
                  </a:lnTo>
                  <a:lnTo>
                    <a:pt x="531" y="604"/>
                  </a:lnTo>
                  <a:lnTo>
                    <a:pt x="530" y="603"/>
                  </a:lnTo>
                  <a:lnTo>
                    <a:pt x="528" y="603"/>
                  </a:lnTo>
                  <a:lnTo>
                    <a:pt x="528" y="604"/>
                  </a:lnTo>
                  <a:lnTo>
                    <a:pt x="531" y="605"/>
                  </a:lnTo>
                  <a:lnTo>
                    <a:pt x="532" y="606"/>
                  </a:lnTo>
                  <a:lnTo>
                    <a:pt x="531" y="606"/>
                  </a:lnTo>
                  <a:lnTo>
                    <a:pt x="530" y="606"/>
                  </a:lnTo>
                  <a:lnTo>
                    <a:pt x="528" y="606"/>
                  </a:lnTo>
                  <a:lnTo>
                    <a:pt x="528" y="605"/>
                  </a:lnTo>
                  <a:lnTo>
                    <a:pt x="527" y="605"/>
                  </a:lnTo>
                  <a:lnTo>
                    <a:pt x="526" y="604"/>
                  </a:lnTo>
                  <a:lnTo>
                    <a:pt x="526" y="605"/>
                  </a:lnTo>
                  <a:lnTo>
                    <a:pt x="526" y="606"/>
                  </a:lnTo>
                  <a:lnTo>
                    <a:pt x="527" y="606"/>
                  </a:lnTo>
                  <a:lnTo>
                    <a:pt x="526" y="607"/>
                  </a:lnTo>
                  <a:lnTo>
                    <a:pt x="527" y="609"/>
                  </a:lnTo>
                  <a:lnTo>
                    <a:pt x="528" y="607"/>
                  </a:lnTo>
                  <a:lnTo>
                    <a:pt x="530" y="607"/>
                  </a:lnTo>
                  <a:lnTo>
                    <a:pt x="532" y="607"/>
                  </a:lnTo>
                  <a:lnTo>
                    <a:pt x="534" y="606"/>
                  </a:lnTo>
                  <a:lnTo>
                    <a:pt x="536" y="606"/>
                  </a:lnTo>
                  <a:lnTo>
                    <a:pt x="539" y="606"/>
                  </a:lnTo>
                  <a:lnTo>
                    <a:pt x="540" y="606"/>
                  </a:lnTo>
                  <a:lnTo>
                    <a:pt x="540" y="607"/>
                  </a:lnTo>
                  <a:lnTo>
                    <a:pt x="539" y="607"/>
                  </a:lnTo>
                  <a:lnTo>
                    <a:pt x="539" y="609"/>
                  </a:lnTo>
                  <a:lnTo>
                    <a:pt x="542" y="607"/>
                  </a:lnTo>
                  <a:lnTo>
                    <a:pt x="543" y="609"/>
                  </a:lnTo>
                  <a:lnTo>
                    <a:pt x="540" y="610"/>
                  </a:lnTo>
                  <a:lnTo>
                    <a:pt x="539" y="609"/>
                  </a:lnTo>
                  <a:lnTo>
                    <a:pt x="538" y="609"/>
                  </a:lnTo>
                  <a:lnTo>
                    <a:pt x="537" y="610"/>
                  </a:lnTo>
                  <a:lnTo>
                    <a:pt x="538" y="611"/>
                  </a:lnTo>
                  <a:lnTo>
                    <a:pt x="539" y="611"/>
                  </a:lnTo>
                  <a:lnTo>
                    <a:pt x="543" y="611"/>
                  </a:lnTo>
                  <a:lnTo>
                    <a:pt x="545" y="610"/>
                  </a:lnTo>
                  <a:lnTo>
                    <a:pt x="549" y="607"/>
                  </a:lnTo>
                  <a:lnTo>
                    <a:pt x="551" y="606"/>
                  </a:lnTo>
                  <a:lnTo>
                    <a:pt x="551" y="607"/>
                  </a:lnTo>
                  <a:lnTo>
                    <a:pt x="550" y="609"/>
                  </a:lnTo>
                  <a:lnTo>
                    <a:pt x="551" y="609"/>
                  </a:lnTo>
                  <a:lnTo>
                    <a:pt x="554" y="609"/>
                  </a:lnTo>
                  <a:lnTo>
                    <a:pt x="555" y="607"/>
                  </a:lnTo>
                  <a:lnTo>
                    <a:pt x="556" y="607"/>
                  </a:lnTo>
                  <a:lnTo>
                    <a:pt x="558" y="605"/>
                  </a:lnTo>
                  <a:lnTo>
                    <a:pt x="560" y="606"/>
                  </a:lnTo>
                  <a:lnTo>
                    <a:pt x="561" y="606"/>
                  </a:lnTo>
                  <a:lnTo>
                    <a:pt x="562" y="605"/>
                  </a:lnTo>
                  <a:lnTo>
                    <a:pt x="564" y="605"/>
                  </a:lnTo>
                  <a:lnTo>
                    <a:pt x="566" y="605"/>
                  </a:lnTo>
                  <a:lnTo>
                    <a:pt x="563" y="606"/>
                  </a:lnTo>
                  <a:lnTo>
                    <a:pt x="562" y="607"/>
                  </a:lnTo>
                  <a:lnTo>
                    <a:pt x="562" y="609"/>
                  </a:lnTo>
                  <a:lnTo>
                    <a:pt x="563" y="610"/>
                  </a:lnTo>
                  <a:lnTo>
                    <a:pt x="564" y="610"/>
                  </a:lnTo>
                  <a:lnTo>
                    <a:pt x="563" y="611"/>
                  </a:lnTo>
                  <a:lnTo>
                    <a:pt x="562" y="610"/>
                  </a:lnTo>
                  <a:lnTo>
                    <a:pt x="561" y="609"/>
                  </a:lnTo>
                  <a:lnTo>
                    <a:pt x="560" y="609"/>
                  </a:lnTo>
                  <a:lnTo>
                    <a:pt x="557" y="609"/>
                  </a:lnTo>
                  <a:lnTo>
                    <a:pt x="558" y="611"/>
                  </a:lnTo>
                  <a:lnTo>
                    <a:pt x="560" y="612"/>
                  </a:lnTo>
                  <a:lnTo>
                    <a:pt x="558" y="612"/>
                  </a:lnTo>
                  <a:lnTo>
                    <a:pt x="557" y="611"/>
                  </a:lnTo>
                  <a:lnTo>
                    <a:pt x="556" y="610"/>
                  </a:lnTo>
                  <a:lnTo>
                    <a:pt x="556" y="609"/>
                  </a:lnTo>
                  <a:lnTo>
                    <a:pt x="554" y="610"/>
                  </a:lnTo>
                  <a:lnTo>
                    <a:pt x="555" y="612"/>
                  </a:lnTo>
                  <a:lnTo>
                    <a:pt x="556" y="615"/>
                  </a:lnTo>
                  <a:lnTo>
                    <a:pt x="555" y="616"/>
                  </a:lnTo>
                  <a:lnTo>
                    <a:pt x="555" y="617"/>
                  </a:lnTo>
                  <a:lnTo>
                    <a:pt x="556" y="617"/>
                  </a:lnTo>
                  <a:lnTo>
                    <a:pt x="558" y="617"/>
                  </a:lnTo>
                  <a:lnTo>
                    <a:pt x="560" y="617"/>
                  </a:lnTo>
                  <a:lnTo>
                    <a:pt x="562" y="615"/>
                  </a:lnTo>
                  <a:lnTo>
                    <a:pt x="563" y="615"/>
                  </a:lnTo>
                  <a:lnTo>
                    <a:pt x="563" y="616"/>
                  </a:lnTo>
                  <a:lnTo>
                    <a:pt x="566" y="616"/>
                  </a:lnTo>
                  <a:lnTo>
                    <a:pt x="567" y="615"/>
                  </a:lnTo>
                  <a:lnTo>
                    <a:pt x="569" y="616"/>
                  </a:lnTo>
                  <a:lnTo>
                    <a:pt x="566" y="617"/>
                  </a:lnTo>
                  <a:lnTo>
                    <a:pt x="563" y="617"/>
                  </a:lnTo>
                  <a:lnTo>
                    <a:pt x="564" y="618"/>
                  </a:lnTo>
                  <a:lnTo>
                    <a:pt x="564" y="619"/>
                  </a:lnTo>
                  <a:lnTo>
                    <a:pt x="563" y="619"/>
                  </a:lnTo>
                  <a:lnTo>
                    <a:pt x="562" y="619"/>
                  </a:lnTo>
                  <a:lnTo>
                    <a:pt x="561" y="618"/>
                  </a:lnTo>
                  <a:lnTo>
                    <a:pt x="560" y="618"/>
                  </a:lnTo>
                  <a:lnTo>
                    <a:pt x="560" y="619"/>
                  </a:lnTo>
                  <a:lnTo>
                    <a:pt x="560" y="621"/>
                  </a:lnTo>
                  <a:lnTo>
                    <a:pt x="558" y="621"/>
                  </a:lnTo>
                  <a:lnTo>
                    <a:pt x="557" y="619"/>
                  </a:lnTo>
                  <a:lnTo>
                    <a:pt x="556" y="619"/>
                  </a:lnTo>
                  <a:lnTo>
                    <a:pt x="557" y="619"/>
                  </a:lnTo>
                  <a:lnTo>
                    <a:pt x="557" y="622"/>
                  </a:lnTo>
                  <a:lnTo>
                    <a:pt x="557" y="621"/>
                  </a:lnTo>
                  <a:lnTo>
                    <a:pt x="556" y="621"/>
                  </a:lnTo>
                  <a:lnTo>
                    <a:pt x="555" y="619"/>
                  </a:lnTo>
                  <a:lnTo>
                    <a:pt x="554" y="619"/>
                  </a:lnTo>
                  <a:lnTo>
                    <a:pt x="552" y="619"/>
                  </a:lnTo>
                  <a:lnTo>
                    <a:pt x="555" y="623"/>
                  </a:lnTo>
                  <a:lnTo>
                    <a:pt x="554" y="623"/>
                  </a:lnTo>
                  <a:lnTo>
                    <a:pt x="552" y="622"/>
                  </a:lnTo>
                  <a:lnTo>
                    <a:pt x="552" y="621"/>
                  </a:lnTo>
                  <a:lnTo>
                    <a:pt x="551" y="621"/>
                  </a:lnTo>
                  <a:lnTo>
                    <a:pt x="551" y="622"/>
                  </a:lnTo>
                  <a:lnTo>
                    <a:pt x="551" y="623"/>
                  </a:lnTo>
                  <a:lnTo>
                    <a:pt x="551" y="625"/>
                  </a:lnTo>
                  <a:lnTo>
                    <a:pt x="550" y="625"/>
                  </a:lnTo>
                  <a:lnTo>
                    <a:pt x="549" y="625"/>
                  </a:lnTo>
                  <a:lnTo>
                    <a:pt x="548" y="625"/>
                  </a:lnTo>
                  <a:lnTo>
                    <a:pt x="548" y="628"/>
                  </a:lnTo>
                  <a:lnTo>
                    <a:pt x="549" y="630"/>
                  </a:lnTo>
                  <a:lnTo>
                    <a:pt x="548" y="630"/>
                  </a:lnTo>
                  <a:lnTo>
                    <a:pt x="546" y="630"/>
                  </a:lnTo>
                  <a:lnTo>
                    <a:pt x="545" y="629"/>
                  </a:lnTo>
                  <a:lnTo>
                    <a:pt x="545" y="630"/>
                  </a:lnTo>
                  <a:lnTo>
                    <a:pt x="546" y="631"/>
                  </a:lnTo>
                  <a:lnTo>
                    <a:pt x="549" y="631"/>
                  </a:lnTo>
                  <a:lnTo>
                    <a:pt x="549" y="633"/>
                  </a:lnTo>
                  <a:lnTo>
                    <a:pt x="546" y="633"/>
                  </a:lnTo>
                  <a:lnTo>
                    <a:pt x="546" y="634"/>
                  </a:lnTo>
                  <a:lnTo>
                    <a:pt x="549" y="635"/>
                  </a:lnTo>
                  <a:lnTo>
                    <a:pt x="550" y="636"/>
                  </a:lnTo>
                  <a:lnTo>
                    <a:pt x="550" y="637"/>
                  </a:lnTo>
                  <a:lnTo>
                    <a:pt x="549" y="637"/>
                  </a:lnTo>
                  <a:lnTo>
                    <a:pt x="546" y="636"/>
                  </a:lnTo>
                  <a:lnTo>
                    <a:pt x="545" y="635"/>
                  </a:lnTo>
                  <a:lnTo>
                    <a:pt x="545" y="636"/>
                  </a:lnTo>
                  <a:lnTo>
                    <a:pt x="544" y="636"/>
                  </a:lnTo>
                  <a:lnTo>
                    <a:pt x="543" y="635"/>
                  </a:lnTo>
                  <a:lnTo>
                    <a:pt x="542" y="635"/>
                  </a:lnTo>
                  <a:lnTo>
                    <a:pt x="542" y="636"/>
                  </a:lnTo>
                  <a:lnTo>
                    <a:pt x="542" y="637"/>
                  </a:lnTo>
                  <a:lnTo>
                    <a:pt x="542" y="639"/>
                  </a:lnTo>
                  <a:lnTo>
                    <a:pt x="544" y="639"/>
                  </a:lnTo>
                  <a:lnTo>
                    <a:pt x="546" y="639"/>
                  </a:lnTo>
                  <a:lnTo>
                    <a:pt x="549" y="639"/>
                  </a:lnTo>
                  <a:lnTo>
                    <a:pt x="551" y="639"/>
                  </a:lnTo>
                  <a:lnTo>
                    <a:pt x="554" y="639"/>
                  </a:lnTo>
                  <a:lnTo>
                    <a:pt x="556" y="639"/>
                  </a:lnTo>
                  <a:lnTo>
                    <a:pt x="558" y="637"/>
                  </a:lnTo>
                  <a:lnTo>
                    <a:pt x="560" y="637"/>
                  </a:lnTo>
                  <a:lnTo>
                    <a:pt x="562" y="637"/>
                  </a:lnTo>
                  <a:lnTo>
                    <a:pt x="564" y="637"/>
                  </a:lnTo>
                  <a:lnTo>
                    <a:pt x="564" y="640"/>
                  </a:lnTo>
                  <a:lnTo>
                    <a:pt x="562" y="640"/>
                  </a:lnTo>
                  <a:lnTo>
                    <a:pt x="561" y="641"/>
                  </a:lnTo>
                  <a:lnTo>
                    <a:pt x="560" y="640"/>
                  </a:lnTo>
                  <a:lnTo>
                    <a:pt x="558" y="640"/>
                  </a:lnTo>
                  <a:lnTo>
                    <a:pt x="560" y="643"/>
                  </a:lnTo>
                  <a:lnTo>
                    <a:pt x="558" y="645"/>
                  </a:lnTo>
                  <a:lnTo>
                    <a:pt x="558" y="643"/>
                  </a:lnTo>
                  <a:lnTo>
                    <a:pt x="557" y="642"/>
                  </a:lnTo>
                  <a:lnTo>
                    <a:pt x="557" y="641"/>
                  </a:lnTo>
                  <a:lnTo>
                    <a:pt x="556" y="641"/>
                  </a:lnTo>
                  <a:lnTo>
                    <a:pt x="556" y="643"/>
                  </a:lnTo>
                  <a:lnTo>
                    <a:pt x="557" y="645"/>
                  </a:lnTo>
                  <a:lnTo>
                    <a:pt x="557" y="647"/>
                  </a:lnTo>
                  <a:lnTo>
                    <a:pt x="557" y="651"/>
                  </a:lnTo>
                  <a:lnTo>
                    <a:pt x="557" y="652"/>
                  </a:lnTo>
                  <a:lnTo>
                    <a:pt x="556" y="652"/>
                  </a:lnTo>
                  <a:lnTo>
                    <a:pt x="555" y="649"/>
                  </a:lnTo>
                  <a:lnTo>
                    <a:pt x="555" y="648"/>
                  </a:lnTo>
                  <a:lnTo>
                    <a:pt x="555" y="646"/>
                  </a:lnTo>
                  <a:lnTo>
                    <a:pt x="555" y="645"/>
                  </a:lnTo>
                  <a:lnTo>
                    <a:pt x="554" y="643"/>
                  </a:lnTo>
                  <a:lnTo>
                    <a:pt x="552" y="643"/>
                  </a:lnTo>
                  <a:lnTo>
                    <a:pt x="552" y="645"/>
                  </a:lnTo>
                  <a:lnTo>
                    <a:pt x="552" y="646"/>
                  </a:lnTo>
                  <a:lnTo>
                    <a:pt x="552" y="648"/>
                  </a:lnTo>
                  <a:lnTo>
                    <a:pt x="551" y="648"/>
                  </a:lnTo>
                  <a:lnTo>
                    <a:pt x="550" y="646"/>
                  </a:lnTo>
                  <a:lnTo>
                    <a:pt x="549" y="646"/>
                  </a:lnTo>
                  <a:lnTo>
                    <a:pt x="549" y="645"/>
                  </a:lnTo>
                  <a:lnTo>
                    <a:pt x="548" y="645"/>
                  </a:lnTo>
                  <a:lnTo>
                    <a:pt x="548" y="646"/>
                  </a:lnTo>
                  <a:lnTo>
                    <a:pt x="548" y="647"/>
                  </a:lnTo>
                  <a:lnTo>
                    <a:pt x="548" y="648"/>
                  </a:lnTo>
                  <a:lnTo>
                    <a:pt x="549" y="648"/>
                  </a:lnTo>
                  <a:lnTo>
                    <a:pt x="549" y="649"/>
                  </a:lnTo>
                  <a:lnTo>
                    <a:pt x="550" y="651"/>
                  </a:lnTo>
                  <a:lnTo>
                    <a:pt x="551" y="653"/>
                  </a:lnTo>
                  <a:lnTo>
                    <a:pt x="550" y="653"/>
                  </a:lnTo>
                  <a:lnTo>
                    <a:pt x="549" y="653"/>
                  </a:lnTo>
                  <a:lnTo>
                    <a:pt x="548" y="653"/>
                  </a:lnTo>
                  <a:lnTo>
                    <a:pt x="546" y="653"/>
                  </a:lnTo>
                  <a:lnTo>
                    <a:pt x="548" y="653"/>
                  </a:lnTo>
                  <a:lnTo>
                    <a:pt x="548" y="654"/>
                  </a:lnTo>
                  <a:lnTo>
                    <a:pt x="549" y="654"/>
                  </a:lnTo>
                  <a:lnTo>
                    <a:pt x="550" y="654"/>
                  </a:lnTo>
                  <a:lnTo>
                    <a:pt x="551" y="654"/>
                  </a:lnTo>
                  <a:lnTo>
                    <a:pt x="552" y="654"/>
                  </a:lnTo>
                  <a:lnTo>
                    <a:pt x="555" y="653"/>
                  </a:lnTo>
                  <a:lnTo>
                    <a:pt x="556" y="653"/>
                  </a:lnTo>
                  <a:lnTo>
                    <a:pt x="558" y="652"/>
                  </a:lnTo>
                  <a:lnTo>
                    <a:pt x="561" y="652"/>
                  </a:lnTo>
                  <a:lnTo>
                    <a:pt x="563" y="652"/>
                  </a:lnTo>
                  <a:lnTo>
                    <a:pt x="566" y="651"/>
                  </a:lnTo>
                  <a:lnTo>
                    <a:pt x="569" y="649"/>
                  </a:lnTo>
                  <a:lnTo>
                    <a:pt x="570" y="649"/>
                  </a:lnTo>
                  <a:lnTo>
                    <a:pt x="573" y="651"/>
                  </a:lnTo>
                  <a:lnTo>
                    <a:pt x="574" y="649"/>
                  </a:lnTo>
                  <a:lnTo>
                    <a:pt x="575" y="648"/>
                  </a:lnTo>
                  <a:lnTo>
                    <a:pt x="578" y="648"/>
                  </a:lnTo>
                  <a:lnTo>
                    <a:pt x="580" y="648"/>
                  </a:lnTo>
                  <a:lnTo>
                    <a:pt x="583" y="648"/>
                  </a:lnTo>
                  <a:lnTo>
                    <a:pt x="584" y="647"/>
                  </a:lnTo>
                  <a:lnTo>
                    <a:pt x="585" y="647"/>
                  </a:lnTo>
                  <a:lnTo>
                    <a:pt x="585" y="648"/>
                  </a:lnTo>
                  <a:lnTo>
                    <a:pt x="584" y="649"/>
                  </a:lnTo>
                  <a:lnTo>
                    <a:pt x="586" y="649"/>
                  </a:lnTo>
                  <a:lnTo>
                    <a:pt x="586" y="648"/>
                  </a:lnTo>
                  <a:lnTo>
                    <a:pt x="587" y="647"/>
                  </a:lnTo>
                  <a:lnTo>
                    <a:pt x="587" y="648"/>
                  </a:lnTo>
                  <a:lnTo>
                    <a:pt x="589" y="647"/>
                  </a:lnTo>
                  <a:lnTo>
                    <a:pt x="590" y="647"/>
                  </a:lnTo>
                  <a:lnTo>
                    <a:pt x="592" y="645"/>
                  </a:lnTo>
                  <a:lnTo>
                    <a:pt x="593" y="646"/>
                  </a:lnTo>
                  <a:lnTo>
                    <a:pt x="592" y="647"/>
                  </a:lnTo>
                  <a:lnTo>
                    <a:pt x="597" y="646"/>
                  </a:lnTo>
                  <a:lnTo>
                    <a:pt x="597" y="647"/>
                  </a:lnTo>
                  <a:lnTo>
                    <a:pt x="595" y="648"/>
                  </a:lnTo>
                  <a:lnTo>
                    <a:pt x="592" y="648"/>
                  </a:lnTo>
                  <a:lnTo>
                    <a:pt x="592" y="649"/>
                  </a:lnTo>
                  <a:lnTo>
                    <a:pt x="595" y="651"/>
                  </a:lnTo>
                  <a:lnTo>
                    <a:pt x="596" y="651"/>
                  </a:lnTo>
                  <a:lnTo>
                    <a:pt x="596" y="652"/>
                  </a:lnTo>
                  <a:lnTo>
                    <a:pt x="595" y="651"/>
                  </a:lnTo>
                  <a:lnTo>
                    <a:pt x="592" y="649"/>
                  </a:lnTo>
                  <a:lnTo>
                    <a:pt x="590" y="649"/>
                  </a:lnTo>
                  <a:lnTo>
                    <a:pt x="589" y="649"/>
                  </a:lnTo>
                  <a:lnTo>
                    <a:pt x="589" y="651"/>
                  </a:lnTo>
                  <a:lnTo>
                    <a:pt x="590" y="652"/>
                  </a:lnTo>
                  <a:lnTo>
                    <a:pt x="590" y="653"/>
                  </a:lnTo>
                  <a:lnTo>
                    <a:pt x="589" y="653"/>
                  </a:lnTo>
                  <a:lnTo>
                    <a:pt x="589" y="652"/>
                  </a:lnTo>
                  <a:lnTo>
                    <a:pt x="587" y="651"/>
                  </a:lnTo>
                  <a:lnTo>
                    <a:pt x="586" y="649"/>
                  </a:lnTo>
                  <a:lnTo>
                    <a:pt x="584" y="649"/>
                  </a:lnTo>
                  <a:lnTo>
                    <a:pt x="583" y="651"/>
                  </a:lnTo>
                  <a:lnTo>
                    <a:pt x="584" y="652"/>
                  </a:lnTo>
                  <a:lnTo>
                    <a:pt x="585" y="653"/>
                  </a:lnTo>
                  <a:lnTo>
                    <a:pt x="586" y="654"/>
                  </a:lnTo>
                  <a:lnTo>
                    <a:pt x="586" y="655"/>
                  </a:lnTo>
                  <a:lnTo>
                    <a:pt x="586" y="659"/>
                  </a:lnTo>
                  <a:lnTo>
                    <a:pt x="585" y="659"/>
                  </a:lnTo>
                  <a:lnTo>
                    <a:pt x="585" y="660"/>
                  </a:lnTo>
                  <a:lnTo>
                    <a:pt x="585" y="661"/>
                  </a:lnTo>
                  <a:lnTo>
                    <a:pt x="585" y="664"/>
                  </a:lnTo>
                  <a:lnTo>
                    <a:pt x="584" y="664"/>
                  </a:lnTo>
                  <a:lnTo>
                    <a:pt x="584" y="663"/>
                  </a:lnTo>
                  <a:lnTo>
                    <a:pt x="583" y="661"/>
                  </a:lnTo>
                  <a:lnTo>
                    <a:pt x="581" y="659"/>
                  </a:lnTo>
                  <a:lnTo>
                    <a:pt x="581" y="657"/>
                  </a:lnTo>
                  <a:lnTo>
                    <a:pt x="581" y="658"/>
                  </a:lnTo>
                  <a:lnTo>
                    <a:pt x="581" y="659"/>
                  </a:lnTo>
                  <a:lnTo>
                    <a:pt x="580" y="658"/>
                  </a:lnTo>
                  <a:lnTo>
                    <a:pt x="580" y="657"/>
                  </a:lnTo>
                  <a:lnTo>
                    <a:pt x="580" y="654"/>
                  </a:lnTo>
                  <a:lnTo>
                    <a:pt x="579" y="653"/>
                  </a:lnTo>
                  <a:lnTo>
                    <a:pt x="578" y="652"/>
                  </a:lnTo>
                  <a:lnTo>
                    <a:pt x="578" y="654"/>
                  </a:lnTo>
                  <a:lnTo>
                    <a:pt x="579" y="654"/>
                  </a:lnTo>
                  <a:lnTo>
                    <a:pt x="578" y="654"/>
                  </a:lnTo>
                  <a:lnTo>
                    <a:pt x="576" y="655"/>
                  </a:lnTo>
                  <a:lnTo>
                    <a:pt x="576" y="653"/>
                  </a:lnTo>
                  <a:lnTo>
                    <a:pt x="575" y="653"/>
                  </a:lnTo>
                  <a:lnTo>
                    <a:pt x="575" y="654"/>
                  </a:lnTo>
                  <a:lnTo>
                    <a:pt x="575" y="655"/>
                  </a:lnTo>
                  <a:lnTo>
                    <a:pt x="576" y="658"/>
                  </a:lnTo>
                  <a:lnTo>
                    <a:pt x="575" y="658"/>
                  </a:lnTo>
                  <a:lnTo>
                    <a:pt x="574" y="657"/>
                  </a:lnTo>
                  <a:lnTo>
                    <a:pt x="573" y="655"/>
                  </a:lnTo>
                  <a:lnTo>
                    <a:pt x="573" y="657"/>
                  </a:lnTo>
                  <a:lnTo>
                    <a:pt x="574" y="659"/>
                  </a:lnTo>
                  <a:lnTo>
                    <a:pt x="575" y="661"/>
                  </a:lnTo>
                  <a:lnTo>
                    <a:pt x="575" y="664"/>
                  </a:lnTo>
                  <a:lnTo>
                    <a:pt x="574" y="664"/>
                  </a:lnTo>
                  <a:lnTo>
                    <a:pt x="574" y="663"/>
                  </a:lnTo>
                  <a:lnTo>
                    <a:pt x="573" y="661"/>
                  </a:lnTo>
                  <a:lnTo>
                    <a:pt x="573" y="659"/>
                  </a:lnTo>
                  <a:lnTo>
                    <a:pt x="572" y="658"/>
                  </a:lnTo>
                  <a:lnTo>
                    <a:pt x="570" y="658"/>
                  </a:lnTo>
                  <a:lnTo>
                    <a:pt x="570" y="659"/>
                  </a:lnTo>
                  <a:lnTo>
                    <a:pt x="569" y="659"/>
                  </a:lnTo>
                  <a:lnTo>
                    <a:pt x="569" y="660"/>
                  </a:lnTo>
                  <a:lnTo>
                    <a:pt x="569" y="661"/>
                  </a:lnTo>
                  <a:lnTo>
                    <a:pt x="569" y="663"/>
                  </a:lnTo>
                  <a:lnTo>
                    <a:pt x="568" y="663"/>
                  </a:lnTo>
                  <a:lnTo>
                    <a:pt x="568" y="660"/>
                  </a:lnTo>
                  <a:lnTo>
                    <a:pt x="567" y="660"/>
                  </a:lnTo>
                  <a:lnTo>
                    <a:pt x="566" y="659"/>
                  </a:lnTo>
                  <a:lnTo>
                    <a:pt x="564" y="659"/>
                  </a:lnTo>
                  <a:lnTo>
                    <a:pt x="564" y="660"/>
                  </a:lnTo>
                  <a:lnTo>
                    <a:pt x="566" y="661"/>
                  </a:lnTo>
                  <a:lnTo>
                    <a:pt x="568" y="663"/>
                  </a:lnTo>
                  <a:lnTo>
                    <a:pt x="568" y="664"/>
                  </a:lnTo>
                  <a:lnTo>
                    <a:pt x="567" y="664"/>
                  </a:lnTo>
                  <a:lnTo>
                    <a:pt x="566" y="663"/>
                  </a:lnTo>
                  <a:lnTo>
                    <a:pt x="564" y="663"/>
                  </a:lnTo>
                  <a:lnTo>
                    <a:pt x="566" y="665"/>
                  </a:lnTo>
                  <a:lnTo>
                    <a:pt x="567" y="666"/>
                  </a:lnTo>
                  <a:lnTo>
                    <a:pt x="568" y="668"/>
                  </a:lnTo>
                  <a:lnTo>
                    <a:pt x="569" y="669"/>
                  </a:lnTo>
                  <a:lnTo>
                    <a:pt x="575" y="671"/>
                  </a:lnTo>
                  <a:lnTo>
                    <a:pt x="574" y="672"/>
                  </a:lnTo>
                  <a:lnTo>
                    <a:pt x="573" y="672"/>
                  </a:lnTo>
                  <a:lnTo>
                    <a:pt x="573" y="671"/>
                  </a:lnTo>
                  <a:lnTo>
                    <a:pt x="572" y="671"/>
                  </a:lnTo>
                  <a:lnTo>
                    <a:pt x="572" y="672"/>
                  </a:lnTo>
                  <a:lnTo>
                    <a:pt x="572" y="674"/>
                  </a:lnTo>
                  <a:lnTo>
                    <a:pt x="570" y="674"/>
                  </a:lnTo>
                  <a:lnTo>
                    <a:pt x="570" y="672"/>
                  </a:lnTo>
                  <a:lnTo>
                    <a:pt x="569" y="671"/>
                  </a:lnTo>
                  <a:lnTo>
                    <a:pt x="568" y="670"/>
                  </a:lnTo>
                  <a:lnTo>
                    <a:pt x="568" y="671"/>
                  </a:lnTo>
                  <a:lnTo>
                    <a:pt x="568" y="672"/>
                  </a:lnTo>
                  <a:lnTo>
                    <a:pt x="568" y="675"/>
                  </a:lnTo>
                  <a:lnTo>
                    <a:pt x="567" y="675"/>
                  </a:lnTo>
                  <a:lnTo>
                    <a:pt x="567" y="674"/>
                  </a:lnTo>
                  <a:lnTo>
                    <a:pt x="566" y="674"/>
                  </a:lnTo>
                  <a:lnTo>
                    <a:pt x="564" y="674"/>
                  </a:lnTo>
                  <a:lnTo>
                    <a:pt x="564" y="675"/>
                  </a:lnTo>
                  <a:lnTo>
                    <a:pt x="564" y="674"/>
                  </a:lnTo>
                  <a:lnTo>
                    <a:pt x="563" y="674"/>
                  </a:lnTo>
                  <a:lnTo>
                    <a:pt x="563" y="672"/>
                  </a:lnTo>
                  <a:lnTo>
                    <a:pt x="563" y="671"/>
                  </a:lnTo>
                  <a:lnTo>
                    <a:pt x="564" y="671"/>
                  </a:lnTo>
                  <a:lnTo>
                    <a:pt x="564" y="669"/>
                  </a:lnTo>
                  <a:lnTo>
                    <a:pt x="563" y="668"/>
                  </a:lnTo>
                  <a:lnTo>
                    <a:pt x="563" y="669"/>
                  </a:lnTo>
                  <a:lnTo>
                    <a:pt x="562" y="670"/>
                  </a:lnTo>
                  <a:lnTo>
                    <a:pt x="561" y="669"/>
                  </a:lnTo>
                  <a:lnTo>
                    <a:pt x="560" y="669"/>
                  </a:lnTo>
                  <a:lnTo>
                    <a:pt x="560" y="671"/>
                  </a:lnTo>
                  <a:lnTo>
                    <a:pt x="558" y="672"/>
                  </a:lnTo>
                  <a:lnTo>
                    <a:pt x="558" y="671"/>
                  </a:lnTo>
                  <a:lnTo>
                    <a:pt x="558" y="669"/>
                  </a:lnTo>
                  <a:lnTo>
                    <a:pt x="558" y="668"/>
                  </a:lnTo>
                  <a:lnTo>
                    <a:pt x="558" y="665"/>
                  </a:lnTo>
                  <a:lnTo>
                    <a:pt x="557" y="664"/>
                  </a:lnTo>
                  <a:lnTo>
                    <a:pt x="557" y="663"/>
                  </a:lnTo>
                  <a:lnTo>
                    <a:pt x="557" y="664"/>
                  </a:lnTo>
                  <a:lnTo>
                    <a:pt x="556" y="665"/>
                  </a:lnTo>
                  <a:lnTo>
                    <a:pt x="556" y="664"/>
                  </a:lnTo>
                  <a:lnTo>
                    <a:pt x="555" y="664"/>
                  </a:lnTo>
                  <a:lnTo>
                    <a:pt x="556" y="665"/>
                  </a:lnTo>
                  <a:lnTo>
                    <a:pt x="556" y="666"/>
                  </a:lnTo>
                  <a:lnTo>
                    <a:pt x="555" y="668"/>
                  </a:lnTo>
                  <a:lnTo>
                    <a:pt x="554" y="668"/>
                  </a:lnTo>
                  <a:lnTo>
                    <a:pt x="554" y="669"/>
                  </a:lnTo>
                  <a:lnTo>
                    <a:pt x="554" y="670"/>
                  </a:lnTo>
                  <a:lnTo>
                    <a:pt x="555" y="671"/>
                  </a:lnTo>
                  <a:lnTo>
                    <a:pt x="557" y="671"/>
                  </a:lnTo>
                  <a:lnTo>
                    <a:pt x="557" y="672"/>
                  </a:lnTo>
                  <a:lnTo>
                    <a:pt x="557" y="674"/>
                  </a:lnTo>
                  <a:lnTo>
                    <a:pt x="558" y="674"/>
                  </a:lnTo>
                  <a:lnTo>
                    <a:pt x="558" y="675"/>
                  </a:lnTo>
                  <a:lnTo>
                    <a:pt x="560" y="676"/>
                  </a:lnTo>
                  <a:lnTo>
                    <a:pt x="563" y="677"/>
                  </a:lnTo>
                  <a:lnTo>
                    <a:pt x="564" y="677"/>
                  </a:lnTo>
                  <a:lnTo>
                    <a:pt x="566" y="677"/>
                  </a:lnTo>
                  <a:lnTo>
                    <a:pt x="568" y="677"/>
                  </a:lnTo>
                  <a:lnTo>
                    <a:pt x="570" y="677"/>
                  </a:lnTo>
                  <a:lnTo>
                    <a:pt x="572" y="677"/>
                  </a:lnTo>
                  <a:lnTo>
                    <a:pt x="572" y="678"/>
                  </a:lnTo>
                  <a:lnTo>
                    <a:pt x="573" y="678"/>
                  </a:lnTo>
                  <a:lnTo>
                    <a:pt x="574" y="680"/>
                  </a:lnTo>
                  <a:lnTo>
                    <a:pt x="572" y="680"/>
                  </a:lnTo>
                  <a:lnTo>
                    <a:pt x="570" y="678"/>
                  </a:lnTo>
                  <a:lnTo>
                    <a:pt x="570" y="680"/>
                  </a:lnTo>
                  <a:lnTo>
                    <a:pt x="569" y="681"/>
                  </a:lnTo>
                  <a:lnTo>
                    <a:pt x="569" y="682"/>
                  </a:lnTo>
                  <a:lnTo>
                    <a:pt x="569" y="681"/>
                  </a:lnTo>
                  <a:lnTo>
                    <a:pt x="568" y="680"/>
                  </a:lnTo>
                  <a:lnTo>
                    <a:pt x="568" y="678"/>
                  </a:lnTo>
                  <a:lnTo>
                    <a:pt x="567" y="678"/>
                  </a:lnTo>
                  <a:lnTo>
                    <a:pt x="566" y="678"/>
                  </a:lnTo>
                  <a:lnTo>
                    <a:pt x="566" y="680"/>
                  </a:lnTo>
                  <a:lnTo>
                    <a:pt x="567" y="681"/>
                  </a:lnTo>
                  <a:lnTo>
                    <a:pt x="568" y="683"/>
                  </a:lnTo>
                  <a:lnTo>
                    <a:pt x="567" y="684"/>
                  </a:lnTo>
                  <a:lnTo>
                    <a:pt x="566" y="683"/>
                  </a:lnTo>
                  <a:lnTo>
                    <a:pt x="564" y="682"/>
                  </a:lnTo>
                  <a:lnTo>
                    <a:pt x="563" y="681"/>
                  </a:lnTo>
                  <a:lnTo>
                    <a:pt x="563" y="680"/>
                  </a:lnTo>
                  <a:lnTo>
                    <a:pt x="561" y="678"/>
                  </a:lnTo>
                  <a:lnTo>
                    <a:pt x="560" y="677"/>
                  </a:lnTo>
                  <a:lnTo>
                    <a:pt x="560" y="678"/>
                  </a:lnTo>
                  <a:lnTo>
                    <a:pt x="560" y="680"/>
                  </a:lnTo>
                  <a:lnTo>
                    <a:pt x="560" y="681"/>
                  </a:lnTo>
                  <a:lnTo>
                    <a:pt x="560" y="682"/>
                  </a:lnTo>
                  <a:lnTo>
                    <a:pt x="561" y="684"/>
                  </a:lnTo>
                  <a:lnTo>
                    <a:pt x="561" y="686"/>
                  </a:lnTo>
                  <a:lnTo>
                    <a:pt x="558" y="687"/>
                  </a:lnTo>
                  <a:lnTo>
                    <a:pt x="558" y="684"/>
                  </a:lnTo>
                  <a:lnTo>
                    <a:pt x="558" y="683"/>
                  </a:lnTo>
                  <a:lnTo>
                    <a:pt x="558" y="682"/>
                  </a:lnTo>
                  <a:lnTo>
                    <a:pt x="558" y="681"/>
                  </a:lnTo>
                  <a:lnTo>
                    <a:pt x="557" y="683"/>
                  </a:lnTo>
                  <a:lnTo>
                    <a:pt x="557" y="682"/>
                  </a:lnTo>
                  <a:lnTo>
                    <a:pt x="556" y="681"/>
                  </a:lnTo>
                  <a:lnTo>
                    <a:pt x="555" y="680"/>
                  </a:lnTo>
                  <a:lnTo>
                    <a:pt x="555" y="678"/>
                  </a:lnTo>
                  <a:lnTo>
                    <a:pt x="555" y="680"/>
                  </a:lnTo>
                  <a:lnTo>
                    <a:pt x="555" y="682"/>
                  </a:lnTo>
                  <a:lnTo>
                    <a:pt x="555" y="683"/>
                  </a:lnTo>
                  <a:lnTo>
                    <a:pt x="554" y="682"/>
                  </a:lnTo>
                  <a:lnTo>
                    <a:pt x="552" y="680"/>
                  </a:lnTo>
                  <a:lnTo>
                    <a:pt x="551" y="678"/>
                  </a:lnTo>
                  <a:lnTo>
                    <a:pt x="551" y="680"/>
                  </a:lnTo>
                  <a:lnTo>
                    <a:pt x="552" y="682"/>
                  </a:lnTo>
                  <a:lnTo>
                    <a:pt x="552" y="683"/>
                  </a:lnTo>
                  <a:lnTo>
                    <a:pt x="552" y="684"/>
                  </a:lnTo>
                  <a:lnTo>
                    <a:pt x="552" y="687"/>
                  </a:lnTo>
                  <a:lnTo>
                    <a:pt x="552" y="688"/>
                  </a:lnTo>
                  <a:lnTo>
                    <a:pt x="554" y="690"/>
                  </a:lnTo>
                  <a:lnTo>
                    <a:pt x="554" y="692"/>
                  </a:lnTo>
                  <a:lnTo>
                    <a:pt x="555" y="694"/>
                  </a:lnTo>
                  <a:lnTo>
                    <a:pt x="552" y="694"/>
                  </a:lnTo>
                  <a:lnTo>
                    <a:pt x="554" y="695"/>
                  </a:lnTo>
                  <a:lnTo>
                    <a:pt x="555" y="695"/>
                  </a:lnTo>
                  <a:lnTo>
                    <a:pt x="556" y="695"/>
                  </a:lnTo>
                  <a:lnTo>
                    <a:pt x="558" y="695"/>
                  </a:lnTo>
                  <a:lnTo>
                    <a:pt x="560" y="694"/>
                  </a:lnTo>
                  <a:lnTo>
                    <a:pt x="562" y="694"/>
                  </a:lnTo>
                  <a:lnTo>
                    <a:pt x="563" y="694"/>
                  </a:lnTo>
                  <a:lnTo>
                    <a:pt x="566" y="692"/>
                  </a:lnTo>
                  <a:lnTo>
                    <a:pt x="568" y="690"/>
                  </a:lnTo>
                  <a:lnTo>
                    <a:pt x="569" y="689"/>
                  </a:lnTo>
                  <a:lnTo>
                    <a:pt x="572" y="689"/>
                  </a:lnTo>
                  <a:lnTo>
                    <a:pt x="573" y="688"/>
                  </a:lnTo>
                  <a:lnTo>
                    <a:pt x="573" y="687"/>
                  </a:lnTo>
                  <a:lnTo>
                    <a:pt x="574" y="687"/>
                  </a:lnTo>
                  <a:lnTo>
                    <a:pt x="574" y="686"/>
                  </a:lnTo>
                  <a:lnTo>
                    <a:pt x="576" y="686"/>
                  </a:lnTo>
                  <a:lnTo>
                    <a:pt x="578" y="684"/>
                  </a:lnTo>
                  <a:lnTo>
                    <a:pt x="578" y="687"/>
                  </a:lnTo>
                  <a:lnTo>
                    <a:pt x="579" y="688"/>
                  </a:lnTo>
                  <a:lnTo>
                    <a:pt x="580" y="689"/>
                  </a:lnTo>
                  <a:lnTo>
                    <a:pt x="578" y="689"/>
                  </a:lnTo>
                  <a:lnTo>
                    <a:pt x="576" y="690"/>
                  </a:lnTo>
                  <a:lnTo>
                    <a:pt x="574" y="693"/>
                  </a:lnTo>
                  <a:lnTo>
                    <a:pt x="573" y="692"/>
                  </a:lnTo>
                  <a:lnTo>
                    <a:pt x="574" y="693"/>
                  </a:lnTo>
                  <a:lnTo>
                    <a:pt x="575" y="694"/>
                  </a:lnTo>
                  <a:lnTo>
                    <a:pt x="576" y="694"/>
                  </a:lnTo>
                  <a:lnTo>
                    <a:pt x="579" y="693"/>
                  </a:lnTo>
                  <a:lnTo>
                    <a:pt x="581" y="693"/>
                  </a:lnTo>
                  <a:lnTo>
                    <a:pt x="584" y="693"/>
                  </a:lnTo>
                  <a:lnTo>
                    <a:pt x="586" y="692"/>
                  </a:lnTo>
                  <a:lnTo>
                    <a:pt x="589" y="690"/>
                  </a:lnTo>
                  <a:lnTo>
                    <a:pt x="591" y="689"/>
                  </a:lnTo>
                  <a:lnTo>
                    <a:pt x="595" y="686"/>
                  </a:lnTo>
                  <a:lnTo>
                    <a:pt x="601" y="683"/>
                  </a:lnTo>
                  <a:lnTo>
                    <a:pt x="605" y="681"/>
                  </a:lnTo>
                  <a:lnTo>
                    <a:pt x="607" y="680"/>
                  </a:lnTo>
                  <a:lnTo>
                    <a:pt x="608" y="680"/>
                  </a:lnTo>
                  <a:lnTo>
                    <a:pt x="609" y="680"/>
                  </a:lnTo>
                  <a:lnTo>
                    <a:pt x="610" y="678"/>
                  </a:lnTo>
                  <a:lnTo>
                    <a:pt x="613" y="677"/>
                  </a:lnTo>
                  <a:lnTo>
                    <a:pt x="614" y="676"/>
                  </a:lnTo>
                  <a:lnTo>
                    <a:pt x="616" y="676"/>
                  </a:lnTo>
                  <a:lnTo>
                    <a:pt x="622" y="675"/>
                  </a:lnTo>
                  <a:lnTo>
                    <a:pt x="622" y="676"/>
                  </a:lnTo>
                  <a:lnTo>
                    <a:pt x="621" y="676"/>
                  </a:lnTo>
                  <a:lnTo>
                    <a:pt x="617" y="677"/>
                  </a:lnTo>
                  <a:lnTo>
                    <a:pt x="617" y="678"/>
                  </a:lnTo>
                  <a:lnTo>
                    <a:pt x="619" y="680"/>
                  </a:lnTo>
                  <a:lnTo>
                    <a:pt x="616" y="680"/>
                  </a:lnTo>
                  <a:lnTo>
                    <a:pt x="615" y="678"/>
                  </a:lnTo>
                  <a:lnTo>
                    <a:pt x="614" y="680"/>
                  </a:lnTo>
                  <a:lnTo>
                    <a:pt x="615" y="680"/>
                  </a:lnTo>
                  <a:lnTo>
                    <a:pt x="616" y="681"/>
                  </a:lnTo>
                  <a:lnTo>
                    <a:pt x="614" y="681"/>
                  </a:lnTo>
                  <a:lnTo>
                    <a:pt x="613" y="682"/>
                  </a:lnTo>
                  <a:lnTo>
                    <a:pt x="610" y="682"/>
                  </a:lnTo>
                  <a:lnTo>
                    <a:pt x="611" y="683"/>
                  </a:lnTo>
                  <a:lnTo>
                    <a:pt x="611" y="684"/>
                  </a:lnTo>
                  <a:lnTo>
                    <a:pt x="610" y="683"/>
                  </a:lnTo>
                  <a:lnTo>
                    <a:pt x="609" y="683"/>
                  </a:lnTo>
                  <a:lnTo>
                    <a:pt x="608" y="683"/>
                  </a:lnTo>
                  <a:lnTo>
                    <a:pt x="610" y="686"/>
                  </a:lnTo>
                  <a:lnTo>
                    <a:pt x="609" y="687"/>
                  </a:lnTo>
                  <a:lnTo>
                    <a:pt x="608" y="686"/>
                  </a:lnTo>
                  <a:lnTo>
                    <a:pt x="607" y="684"/>
                  </a:lnTo>
                  <a:lnTo>
                    <a:pt x="605" y="683"/>
                  </a:lnTo>
                  <a:lnTo>
                    <a:pt x="604" y="684"/>
                  </a:lnTo>
                  <a:lnTo>
                    <a:pt x="605" y="687"/>
                  </a:lnTo>
                  <a:lnTo>
                    <a:pt x="607" y="687"/>
                  </a:lnTo>
                  <a:lnTo>
                    <a:pt x="607" y="688"/>
                  </a:lnTo>
                  <a:lnTo>
                    <a:pt x="605" y="688"/>
                  </a:lnTo>
                  <a:lnTo>
                    <a:pt x="608" y="689"/>
                  </a:lnTo>
                  <a:lnTo>
                    <a:pt x="609" y="690"/>
                  </a:lnTo>
                  <a:lnTo>
                    <a:pt x="604" y="689"/>
                  </a:lnTo>
                  <a:lnTo>
                    <a:pt x="603" y="688"/>
                  </a:lnTo>
                  <a:lnTo>
                    <a:pt x="602" y="687"/>
                  </a:lnTo>
                  <a:lnTo>
                    <a:pt x="603" y="689"/>
                  </a:lnTo>
                  <a:lnTo>
                    <a:pt x="603" y="692"/>
                  </a:lnTo>
                  <a:lnTo>
                    <a:pt x="602" y="690"/>
                  </a:lnTo>
                  <a:lnTo>
                    <a:pt x="599" y="688"/>
                  </a:lnTo>
                  <a:lnTo>
                    <a:pt x="599" y="689"/>
                  </a:lnTo>
                  <a:lnTo>
                    <a:pt x="601" y="692"/>
                  </a:lnTo>
                  <a:lnTo>
                    <a:pt x="602" y="694"/>
                  </a:lnTo>
                  <a:lnTo>
                    <a:pt x="603" y="698"/>
                  </a:lnTo>
                  <a:lnTo>
                    <a:pt x="603" y="700"/>
                  </a:lnTo>
                  <a:lnTo>
                    <a:pt x="603" y="701"/>
                  </a:lnTo>
                  <a:lnTo>
                    <a:pt x="602" y="700"/>
                  </a:lnTo>
                  <a:lnTo>
                    <a:pt x="601" y="699"/>
                  </a:lnTo>
                  <a:lnTo>
                    <a:pt x="599" y="698"/>
                  </a:lnTo>
                  <a:lnTo>
                    <a:pt x="599" y="696"/>
                  </a:lnTo>
                  <a:lnTo>
                    <a:pt x="598" y="695"/>
                  </a:lnTo>
                  <a:lnTo>
                    <a:pt x="597" y="696"/>
                  </a:lnTo>
                  <a:lnTo>
                    <a:pt x="598" y="698"/>
                  </a:lnTo>
                  <a:lnTo>
                    <a:pt x="598" y="699"/>
                  </a:lnTo>
                  <a:lnTo>
                    <a:pt x="599" y="700"/>
                  </a:lnTo>
                  <a:lnTo>
                    <a:pt x="599" y="701"/>
                  </a:lnTo>
                  <a:lnTo>
                    <a:pt x="598" y="701"/>
                  </a:lnTo>
                  <a:lnTo>
                    <a:pt x="599" y="701"/>
                  </a:lnTo>
                  <a:lnTo>
                    <a:pt x="598" y="702"/>
                  </a:lnTo>
                  <a:lnTo>
                    <a:pt x="598" y="704"/>
                  </a:lnTo>
                  <a:lnTo>
                    <a:pt x="597" y="704"/>
                  </a:lnTo>
                  <a:lnTo>
                    <a:pt x="596" y="702"/>
                  </a:lnTo>
                  <a:lnTo>
                    <a:pt x="596" y="701"/>
                  </a:lnTo>
                  <a:lnTo>
                    <a:pt x="595" y="701"/>
                  </a:lnTo>
                  <a:lnTo>
                    <a:pt x="595" y="704"/>
                  </a:lnTo>
                  <a:lnTo>
                    <a:pt x="596" y="707"/>
                  </a:lnTo>
                  <a:lnTo>
                    <a:pt x="595" y="706"/>
                  </a:lnTo>
                  <a:lnTo>
                    <a:pt x="593" y="707"/>
                  </a:lnTo>
                  <a:lnTo>
                    <a:pt x="592" y="705"/>
                  </a:lnTo>
                  <a:lnTo>
                    <a:pt x="592" y="702"/>
                  </a:lnTo>
                  <a:lnTo>
                    <a:pt x="592" y="701"/>
                  </a:lnTo>
                  <a:lnTo>
                    <a:pt x="591" y="701"/>
                  </a:lnTo>
                  <a:lnTo>
                    <a:pt x="591" y="702"/>
                  </a:lnTo>
                  <a:lnTo>
                    <a:pt x="591" y="705"/>
                  </a:lnTo>
                  <a:lnTo>
                    <a:pt x="590" y="705"/>
                  </a:lnTo>
                  <a:lnTo>
                    <a:pt x="590" y="702"/>
                  </a:lnTo>
                  <a:lnTo>
                    <a:pt x="589" y="701"/>
                  </a:lnTo>
                  <a:lnTo>
                    <a:pt x="589" y="704"/>
                  </a:lnTo>
                  <a:lnTo>
                    <a:pt x="587" y="704"/>
                  </a:lnTo>
                  <a:lnTo>
                    <a:pt x="587" y="705"/>
                  </a:lnTo>
                  <a:lnTo>
                    <a:pt x="586" y="705"/>
                  </a:lnTo>
                  <a:lnTo>
                    <a:pt x="587" y="707"/>
                  </a:lnTo>
                  <a:lnTo>
                    <a:pt x="587" y="708"/>
                  </a:lnTo>
                  <a:lnTo>
                    <a:pt x="587" y="710"/>
                  </a:lnTo>
                  <a:lnTo>
                    <a:pt x="586" y="711"/>
                  </a:lnTo>
                  <a:lnTo>
                    <a:pt x="586" y="712"/>
                  </a:lnTo>
                  <a:lnTo>
                    <a:pt x="587" y="714"/>
                  </a:lnTo>
                  <a:lnTo>
                    <a:pt x="586" y="714"/>
                  </a:lnTo>
                  <a:lnTo>
                    <a:pt x="585" y="713"/>
                  </a:lnTo>
                  <a:lnTo>
                    <a:pt x="585" y="711"/>
                  </a:lnTo>
                  <a:lnTo>
                    <a:pt x="585" y="708"/>
                  </a:lnTo>
                  <a:lnTo>
                    <a:pt x="583" y="710"/>
                  </a:lnTo>
                  <a:lnTo>
                    <a:pt x="583" y="708"/>
                  </a:lnTo>
                  <a:lnTo>
                    <a:pt x="581" y="708"/>
                  </a:lnTo>
                  <a:lnTo>
                    <a:pt x="581" y="710"/>
                  </a:lnTo>
                  <a:lnTo>
                    <a:pt x="581" y="712"/>
                  </a:lnTo>
                  <a:lnTo>
                    <a:pt x="580" y="711"/>
                  </a:lnTo>
                  <a:lnTo>
                    <a:pt x="579" y="710"/>
                  </a:lnTo>
                  <a:lnTo>
                    <a:pt x="579" y="708"/>
                  </a:lnTo>
                  <a:lnTo>
                    <a:pt x="578" y="708"/>
                  </a:lnTo>
                  <a:lnTo>
                    <a:pt x="579" y="711"/>
                  </a:lnTo>
                  <a:lnTo>
                    <a:pt x="579" y="712"/>
                  </a:lnTo>
                  <a:lnTo>
                    <a:pt x="581" y="713"/>
                  </a:lnTo>
                  <a:lnTo>
                    <a:pt x="583" y="714"/>
                  </a:lnTo>
                  <a:lnTo>
                    <a:pt x="587" y="716"/>
                  </a:lnTo>
                  <a:lnTo>
                    <a:pt x="587" y="717"/>
                  </a:lnTo>
                  <a:lnTo>
                    <a:pt x="590" y="718"/>
                  </a:lnTo>
                  <a:lnTo>
                    <a:pt x="592" y="718"/>
                  </a:lnTo>
                  <a:lnTo>
                    <a:pt x="598" y="716"/>
                  </a:lnTo>
                  <a:lnTo>
                    <a:pt x="598" y="717"/>
                  </a:lnTo>
                  <a:lnTo>
                    <a:pt x="593" y="718"/>
                  </a:lnTo>
                  <a:lnTo>
                    <a:pt x="593" y="719"/>
                  </a:lnTo>
                  <a:lnTo>
                    <a:pt x="596" y="720"/>
                  </a:lnTo>
                  <a:lnTo>
                    <a:pt x="597" y="723"/>
                  </a:lnTo>
                  <a:lnTo>
                    <a:pt x="595" y="722"/>
                  </a:lnTo>
                  <a:lnTo>
                    <a:pt x="593" y="720"/>
                  </a:lnTo>
                  <a:lnTo>
                    <a:pt x="593" y="724"/>
                  </a:lnTo>
                  <a:lnTo>
                    <a:pt x="592" y="722"/>
                  </a:lnTo>
                  <a:lnTo>
                    <a:pt x="591" y="719"/>
                  </a:lnTo>
                  <a:lnTo>
                    <a:pt x="590" y="719"/>
                  </a:lnTo>
                  <a:lnTo>
                    <a:pt x="590" y="720"/>
                  </a:lnTo>
                  <a:lnTo>
                    <a:pt x="590" y="724"/>
                  </a:lnTo>
                  <a:lnTo>
                    <a:pt x="589" y="724"/>
                  </a:lnTo>
                  <a:lnTo>
                    <a:pt x="587" y="723"/>
                  </a:lnTo>
                  <a:lnTo>
                    <a:pt x="589" y="723"/>
                  </a:lnTo>
                  <a:lnTo>
                    <a:pt x="589" y="722"/>
                  </a:lnTo>
                  <a:lnTo>
                    <a:pt x="589" y="720"/>
                  </a:lnTo>
                  <a:lnTo>
                    <a:pt x="587" y="720"/>
                  </a:lnTo>
                  <a:lnTo>
                    <a:pt x="585" y="720"/>
                  </a:lnTo>
                  <a:lnTo>
                    <a:pt x="584" y="720"/>
                  </a:lnTo>
                  <a:lnTo>
                    <a:pt x="585" y="723"/>
                  </a:lnTo>
                  <a:lnTo>
                    <a:pt x="587" y="724"/>
                  </a:lnTo>
                  <a:lnTo>
                    <a:pt x="589" y="725"/>
                  </a:lnTo>
                  <a:lnTo>
                    <a:pt x="589" y="726"/>
                  </a:lnTo>
                  <a:lnTo>
                    <a:pt x="585" y="725"/>
                  </a:lnTo>
                  <a:lnTo>
                    <a:pt x="586" y="725"/>
                  </a:lnTo>
                  <a:lnTo>
                    <a:pt x="587" y="728"/>
                  </a:lnTo>
                  <a:lnTo>
                    <a:pt x="587" y="729"/>
                  </a:lnTo>
                  <a:lnTo>
                    <a:pt x="586" y="729"/>
                  </a:lnTo>
                  <a:lnTo>
                    <a:pt x="585" y="728"/>
                  </a:lnTo>
                  <a:lnTo>
                    <a:pt x="584" y="725"/>
                  </a:lnTo>
                  <a:lnTo>
                    <a:pt x="581" y="723"/>
                  </a:lnTo>
                  <a:lnTo>
                    <a:pt x="579" y="722"/>
                  </a:lnTo>
                  <a:lnTo>
                    <a:pt x="576" y="722"/>
                  </a:lnTo>
                  <a:lnTo>
                    <a:pt x="574" y="722"/>
                  </a:lnTo>
                  <a:lnTo>
                    <a:pt x="575" y="725"/>
                  </a:lnTo>
                  <a:lnTo>
                    <a:pt x="578" y="728"/>
                  </a:lnTo>
                  <a:lnTo>
                    <a:pt x="578" y="729"/>
                  </a:lnTo>
                  <a:lnTo>
                    <a:pt x="580" y="729"/>
                  </a:lnTo>
                  <a:lnTo>
                    <a:pt x="583" y="730"/>
                  </a:lnTo>
                  <a:lnTo>
                    <a:pt x="584" y="731"/>
                  </a:lnTo>
                  <a:lnTo>
                    <a:pt x="586" y="732"/>
                  </a:lnTo>
                  <a:lnTo>
                    <a:pt x="586" y="734"/>
                  </a:lnTo>
                  <a:lnTo>
                    <a:pt x="586" y="735"/>
                  </a:lnTo>
                  <a:lnTo>
                    <a:pt x="585" y="735"/>
                  </a:lnTo>
                  <a:lnTo>
                    <a:pt x="584" y="734"/>
                  </a:lnTo>
                  <a:lnTo>
                    <a:pt x="584" y="735"/>
                  </a:lnTo>
                  <a:lnTo>
                    <a:pt x="583" y="734"/>
                  </a:lnTo>
                  <a:lnTo>
                    <a:pt x="581" y="732"/>
                  </a:lnTo>
                  <a:lnTo>
                    <a:pt x="579" y="730"/>
                  </a:lnTo>
                  <a:lnTo>
                    <a:pt x="578" y="730"/>
                  </a:lnTo>
                  <a:lnTo>
                    <a:pt x="576" y="729"/>
                  </a:lnTo>
                  <a:lnTo>
                    <a:pt x="578" y="731"/>
                  </a:lnTo>
                  <a:lnTo>
                    <a:pt x="579" y="735"/>
                  </a:lnTo>
                  <a:lnTo>
                    <a:pt x="576" y="735"/>
                  </a:lnTo>
                  <a:lnTo>
                    <a:pt x="575" y="734"/>
                  </a:lnTo>
                  <a:lnTo>
                    <a:pt x="575" y="735"/>
                  </a:lnTo>
                  <a:lnTo>
                    <a:pt x="575" y="736"/>
                  </a:lnTo>
                  <a:lnTo>
                    <a:pt x="574" y="735"/>
                  </a:lnTo>
                  <a:lnTo>
                    <a:pt x="573" y="734"/>
                  </a:lnTo>
                  <a:lnTo>
                    <a:pt x="573" y="732"/>
                  </a:lnTo>
                  <a:lnTo>
                    <a:pt x="573" y="730"/>
                  </a:lnTo>
                  <a:lnTo>
                    <a:pt x="572" y="728"/>
                  </a:lnTo>
                  <a:lnTo>
                    <a:pt x="570" y="730"/>
                  </a:lnTo>
                  <a:lnTo>
                    <a:pt x="572" y="728"/>
                  </a:lnTo>
                  <a:lnTo>
                    <a:pt x="572" y="726"/>
                  </a:lnTo>
                  <a:lnTo>
                    <a:pt x="570" y="725"/>
                  </a:lnTo>
                  <a:lnTo>
                    <a:pt x="569" y="725"/>
                  </a:lnTo>
                  <a:lnTo>
                    <a:pt x="569" y="726"/>
                  </a:lnTo>
                  <a:lnTo>
                    <a:pt x="568" y="724"/>
                  </a:lnTo>
                  <a:lnTo>
                    <a:pt x="568" y="723"/>
                  </a:lnTo>
                  <a:lnTo>
                    <a:pt x="567" y="723"/>
                  </a:lnTo>
                  <a:lnTo>
                    <a:pt x="567" y="724"/>
                  </a:lnTo>
                  <a:lnTo>
                    <a:pt x="567" y="726"/>
                  </a:lnTo>
                  <a:lnTo>
                    <a:pt x="568" y="729"/>
                  </a:lnTo>
                  <a:lnTo>
                    <a:pt x="568" y="731"/>
                  </a:lnTo>
                  <a:lnTo>
                    <a:pt x="568" y="732"/>
                  </a:lnTo>
                  <a:lnTo>
                    <a:pt x="569" y="734"/>
                  </a:lnTo>
                  <a:lnTo>
                    <a:pt x="569" y="735"/>
                  </a:lnTo>
                  <a:lnTo>
                    <a:pt x="569" y="736"/>
                  </a:lnTo>
                  <a:lnTo>
                    <a:pt x="568" y="740"/>
                  </a:lnTo>
                  <a:lnTo>
                    <a:pt x="568" y="738"/>
                  </a:lnTo>
                  <a:lnTo>
                    <a:pt x="566" y="737"/>
                  </a:lnTo>
                  <a:lnTo>
                    <a:pt x="564" y="737"/>
                  </a:lnTo>
                  <a:lnTo>
                    <a:pt x="564" y="736"/>
                  </a:lnTo>
                  <a:lnTo>
                    <a:pt x="564" y="734"/>
                  </a:lnTo>
                  <a:lnTo>
                    <a:pt x="564" y="731"/>
                  </a:lnTo>
                  <a:lnTo>
                    <a:pt x="563" y="732"/>
                  </a:lnTo>
                  <a:lnTo>
                    <a:pt x="563" y="734"/>
                  </a:lnTo>
                  <a:lnTo>
                    <a:pt x="563" y="736"/>
                  </a:lnTo>
                  <a:lnTo>
                    <a:pt x="563" y="737"/>
                  </a:lnTo>
                  <a:lnTo>
                    <a:pt x="563" y="738"/>
                  </a:lnTo>
                  <a:lnTo>
                    <a:pt x="563" y="740"/>
                  </a:lnTo>
                  <a:lnTo>
                    <a:pt x="562" y="741"/>
                  </a:lnTo>
                  <a:lnTo>
                    <a:pt x="562" y="740"/>
                  </a:lnTo>
                  <a:lnTo>
                    <a:pt x="561" y="741"/>
                  </a:lnTo>
                  <a:lnTo>
                    <a:pt x="561" y="742"/>
                  </a:lnTo>
                  <a:lnTo>
                    <a:pt x="560" y="742"/>
                  </a:lnTo>
                  <a:lnTo>
                    <a:pt x="560" y="740"/>
                  </a:lnTo>
                  <a:lnTo>
                    <a:pt x="561" y="736"/>
                  </a:lnTo>
                  <a:lnTo>
                    <a:pt x="560" y="734"/>
                  </a:lnTo>
                  <a:lnTo>
                    <a:pt x="560" y="730"/>
                  </a:lnTo>
                  <a:lnTo>
                    <a:pt x="558" y="735"/>
                  </a:lnTo>
                  <a:lnTo>
                    <a:pt x="557" y="735"/>
                  </a:lnTo>
                  <a:lnTo>
                    <a:pt x="557" y="732"/>
                  </a:lnTo>
                  <a:lnTo>
                    <a:pt x="557" y="730"/>
                  </a:lnTo>
                  <a:lnTo>
                    <a:pt x="556" y="728"/>
                  </a:lnTo>
                  <a:lnTo>
                    <a:pt x="556" y="725"/>
                  </a:lnTo>
                  <a:lnTo>
                    <a:pt x="555" y="724"/>
                  </a:lnTo>
                  <a:lnTo>
                    <a:pt x="555" y="726"/>
                  </a:lnTo>
                  <a:lnTo>
                    <a:pt x="555" y="730"/>
                  </a:lnTo>
                  <a:lnTo>
                    <a:pt x="556" y="734"/>
                  </a:lnTo>
                  <a:lnTo>
                    <a:pt x="556" y="735"/>
                  </a:lnTo>
                  <a:lnTo>
                    <a:pt x="557" y="737"/>
                  </a:lnTo>
                  <a:lnTo>
                    <a:pt x="558" y="740"/>
                  </a:lnTo>
                  <a:lnTo>
                    <a:pt x="557" y="740"/>
                  </a:lnTo>
                  <a:lnTo>
                    <a:pt x="557" y="741"/>
                  </a:lnTo>
                  <a:lnTo>
                    <a:pt x="556" y="741"/>
                  </a:lnTo>
                  <a:lnTo>
                    <a:pt x="556" y="740"/>
                  </a:lnTo>
                  <a:lnTo>
                    <a:pt x="555" y="738"/>
                  </a:lnTo>
                  <a:lnTo>
                    <a:pt x="554" y="736"/>
                  </a:lnTo>
                  <a:lnTo>
                    <a:pt x="554" y="735"/>
                  </a:lnTo>
                  <a:lnTo>
                    <a:pt x="554" y="732"/>
                  </a:lnTo>
                  <a:lnTo>
                    <a:pt x="552" y="731"/>
                  </a:lnTo>
                  <a:lnTo>
                    <a:pt x="552" y="732"/>
                  </a:lnTo>
                  <a:lnTo>
                    <a:pt x="552" y="735"/>
                  </a:lnTo>
                  <a:lnTo>
                    <a:pt x="552" y="736"/>
                  </a:lnTo>
                  <a:lnTo>
                    <a:pt x="551" y="737"/>
                  </a:lnTo>
                  <a:lnTo>
                    <a:pt x="550" y="735"/>
                  </a:lnTo>
                  <a:lnTo>
                    <a:pt x="550" y="732"/>
                  </a:lnTo>
                  <a:lnTo>
                    <a:pt x="549" y="732"/>
                  </a:lnTo>
                  <a:lnTo>
                    <a:pt x="548" y="729"/>
                  </a:lnTo>
                  <a:lnTo>
                    <a:pt x="548" y="730"/>
                  </a:lnTo>
                  <a:lnTo>
                    <a:pt x="548" y="732"/>
                  </a:lnTo>
                  <a:lnTo>
                    <a:pt x="549" y="735"/>
                  </a:lnTo>
                  <a:lnTo>
                    <a:pt x="549" y="737"/>
                  </a:lnTo>
                  <a:lnTo>
                    <a:pt x="548" y="737"/>
                  </a:lnTo>
                  <a:lnTo>
                    <a:pt x="549" y="738"/>
                  </a:lnTo>
                  <a:lnTo>
                    <a:pt x="548" y="740"/>
                  </a:lnTo>
                  <a:lnTo>
                    <a:pt x="546" y="738"/>
                  </a:lnTo>
                  <a:lnTo>
                    <a:pt x="546" y="741"/>
                  </a:lnTo>
                  <a:lnTo>
                    <a:pt x="548" y="742"/>
                  </a:lnTo>
                  <a:lnTo>
                    <a:pt x="548" y="743"/>
                  </a:lnTo>
                  <a:lnTo>
                    <a:pt x="551" y="744"/>
                  </a:lnTo>
                  <a:lnTo>
                    <a:pt x="550" y="744"/>
                  </a:lnTo>
                  <a:lnTo>
                    <a:pt x="548" y="743"/>
                  </a:lnTo>
                  <a:lnTo>
                    <a:pt x="549" y="744"/>
                  </a:lnTo>
                  <a:lnTo>
                    <a:pt x="549" y="747"/>
                  </a:lnTo>
                  <a:lnTo>
                    <a:pt x="548" y="747"/>
                  </a:lnTo>
                  <a:lnTo>
                    <a:pt x="546" y="747"/>
                  </a:lnTo>
                  <a:lnTo>
                    <a:pt x="543" y="743"/>
                  </a:lnTo>
                  <a:lnTo>
                    <a:pt x="543" y="741"/>
                  </a:lnTo>
                  <a:lnTo>
                    <a:pt x="542" y="740"/>
                  </a:lnTo>
                  <a:lnTo>
                    <a:pt x="543" y="735"/>
                  </a:lnTo>
                  <a:lnTo>
                    <a:pt x="542" y="734"/>
                  </a:lnTo>
                  <a:lnTo>
                    <a:pt x="542" y="730"/>
                  </a:lnTo>
                  <a:lnTo>
                    <a:pt x="542" y="729"/>
                  </a:lnTo>
                  <a:lnTo>
                    <a:pt x="540" y="729"/>
                  </a:lnTo>
                  <a:lnTo>
                    <a:pt x="540" y="731"/>
                  </a:lnTo>
                  <a:lnTo>
                    <a:pt x="540" y="732"/>
                  </a:lnTo>
                  <a:lnTo>
                    <a:pt x="539" y="732"/>
                  </a:lnTo>
                  <a:lnTo>
                    <a:pt x="539" y="735"/>
                  </a:lnTo>
                  <a:lnTo>
                    <a:pt x="539" y="737"/>
                  </a:lnTo>
                  <a:lnTo>
                    <a:pt x="540" y="740"/>
                  </a:lnTo>
                  <a:lnTo>
                    <a:pt x="540" y="741"/>
                  </a:lnTo>
                  <a:lnTo>
                    <a:pt x="540" y="742"/>
                  </a:lnTo>
                  <a:lnTo>
                    <a:pt x="542" y="743"/>
                  </a:lnTo>
                  <a:lnTo>
                    <a:pt x="543" y="746"/>
                  </a:lnTo>
                  <a:lnTo>
                    <a:pt x="544" y="747"/>
                  </a:lnTo>
                  <a:lnTo>
                    <a:pt x="544" y="749"/>
                  </a:lnTo>
                  <a:lnTo>
                    <a:pt x="543" y="750"/>
                  </a:lnTo>
                  <a:lnTo>
                    <a:pt x="543" y="752"/>
                  </a:lnTo>
                  <a:lnTo>
                    <a:pt x="543" y="753"/>
                  </a:lnTo>
                  <a:lnTo>
                    <a:pt x="544" y="755"/>
                  </a:lnTo>
                  <a:lnTo>
                    <a:pt x="544" y="756"/>
                  </a:lnTo>
                  <a:lnTo>
                    <a:pt x="545" y="758"/>
                  </a:lnTo>
                  <a:lnTo>
                    <a:pt x="548" y="758"/>
                  </a:lnTo>
                  <a:lnTo>
                    <a:pt x="550" y="758"/>
                  </a:lnTo>
                  <a:lnTo>
                    <a:pt x="554" y="756"/>
                  </a:lnTo>
                  <a:lnTo>
                    <a:pt x="557" y="755"/>
                  </a:lnTo>
                  <a:lnTo>
                    <a:pt x="558" y="754"/>
                  </a:lnTo>
                  <a:lnTo>
                    <a:pt x="560" y="754"/>
                  </a:lnTo>
                  <a:lnTo>
                    <a:pt x="562" y="754"/>
                  </a:lnTo>
                  <a:lnTo>
                    <a:pt x="564" y="753"/>
                  </a:lnTo>
                  <a:lnTo>
                    <a:pt x="567" y="753"/>
                  </a:lnTo>
                  <a:lnTo>
                    <a:pt x="567" y="754"/>
                  </a:lnTo>
                  <a:lnTo>
                    <a:pt x="566" y="755"/>
                  </a:lnTo>
                  <a:lnTo>
                    <a:pt x="566" y="756"/>
                  </a:lnTo>
                  <a:lnTo>
                    <a:pt x="564" y="756"/>
                  </a:lnTo>
                  <a:lnTo>
                    <a:pt x="563" y="756"/>
                  </a:lnTo>
                  <a:lnTo>
                    <a:pt x="564" y="758"/>
                  </a:lnTo>
                  <a:lnTo>
                    <a:pt x="563" y="758"/>
                  </a:lnTo>
                  <a:lnTo>
                    <a:pt x="562" y="758"/>
                  </a:lnTo>
                  <a:lnTo>
                    <a:pt x="561" y="756"/>
                  </a:lnTo>
                  <a:lnTo>
                    <a:pt x="560" y="758"/>
                  </a:lnTo>
                  <a:lnTo>
                    <a:pt x="562" y="759"/>
                  </a:lnTo>
                  <a:lnTo>
                    <a:pt x="562" y="760"/>
                  </a:lnTo>
                  <a:lnTo>
                    <a:pt x="561" y="761"/>
                  </a:lnTo>
                  <a:lnTo>
                    <a:pt x="560" y="761"/>
                  </a:lnTo>
                  <a:lnTo>
                    <a:pt x="558" y="761"/>
                  </a:lnTo>
                  <a:lnTo>
                    <a:pt x="557" y="760"/>
                  </a:lnTo>
                  <a:lnTo>
                    <a:pt x="558" y="761"/>
                  </a:lnTo>
                  <a:lnTo>
                    <a:pt x="558" y="764"/>
                  </a:lnTo>
                  <a:lnTo>
                    <a:pt x="557" y="765"/>
                  </a:lnTo>
                  <a:lnTo>
                    <a:pt x="557" y="766"/>
                  </a:lnTo>
                  <a:lnTo>
                    <a:pt x="556" y="767"/>
                  </a:lnTo>
                  <a:lnTo>
                    <a:pt x="555" y="767"/>
                  </a:lnTo>
                  <a:lnTo>
                    <a:pt x="554" y="767"/>
                  </a:lnTo>
                  <a:lnTo>
                    <a:pt x="554" y="768"/>
                  </a:lnTo>
                  <a:lnTo>
                    <a:pt x="551" y="770"/>
                  </a:lnTo>
                  <a:lnTo>
                    <a:pt x="554" y="771"/>
                  </a:lnTo>
                  <a:lnTo>
                    <a:pt x="554" y="772"/>
                  </a:lnTo>
                  <a:lnTo>
                    <a:pt x="552" y="772"/>
                  </a:lnTo>
                  <a:lnTo>
                    <a:pt x="551" y="773"/>
                  </a:lnTo>
                  <a:lnTo>
                    <a:pt x="550" y="773"/>
                  </a:lnTo>
                  <a:lnTo>
                    <a:pt x="550" y="772"/>
                  </a:lnTo>
                  <a:lnTo>
                    <a:pt x="549" y="772"/>
                  </a:lnTo>
                  <a:lnTo>
                    <a:pt x="548" y="772"/>
                  </a:lnTo>
                  <a:lnTo>
                    <a:pt x="546" y="770"/>
                  </a:lnTo>
                  <a:lnTo>
                    <a:pt x="546" y="768"/>
                  </a:lnTo>
                  <a:lnTo>
                    <a:pt x="545" y="770"/>
                  </a:lnTo>
                  <a:lnTo>
                    <a:pt x="546" y="771"/>
                  </a:lnTo>
                  <a:lnTo>
                    <a:pt x="548" y="772"/>
                  </a:lnTo>
                  <a:lnTo>
                    <a:pt x="548" y="773"/>
                  </a:lnTo>
                  <a:lnTo>
                    <a:pt x="546" y="775"/>
                  </a:lnTo>
                  <a:lnTo>
                    <a:pt x="546" y="776"/>
                  </a:lnTo>
                  <a:lnTo>
                    <a:pt x="544" y="776"/>
                  </a:lnTo>
                  <a:lnTo>
                    <a:pt x="543" y="777"/>
                  </a:lnTo>
                  <a:lnTo>
                    <a:pt x="540" y="776"/>
                  </a:lnTo>
                  <a:lnTo>
                    <a:pt x="540" y="777"/>
                  </a:lnTo>
                  <a:lnTo>
                    <a:pt x="538" y="777"/>
                  </a:lnTo>
                  <a:lnTo>
                    <a:pt x="537" y="776"/>
                  </a:lnTo>
                  <a:lnTo>
                    <a:pt x="536" y="777"/>
                  </a:lnTo>
                  <a:lnTo>
                    <a:pt x="534" y="777"/>
                  </a:lnTo>
                  <a:lnTo>
                    <a:pt x="533" y="777"/>
                  </a:lnTo>
                  <a:lnTo>
                    <a:pt x="533" y="776"/>
                  </a:lnTo>
                  <a:lnTo>
                    <a:pt x="532" y="776"/>
                  </a:lnTo>
                  <a:lnTo>
                    <a:pt x="531" y="776"/>
                  </a:lnTo>
                  <a:lnTo>
                    <a:pt x="530" y="776"/>
                  </a:lnTo>
                  <a:lnTo>
                    <a:pt x="530" y="775"/>
                  </a:lnTo>
                  <a:lnTo>
                    <a:pt x="528" y="776"/>
                  </a:lnTo>
                  <a:lnTo>
                    <a:pt x="527" y="776"/>
                  </a:lnTo>
                  <a:lnTo>
                    <a:pt x="526" y="776"/>
                  </a:lnTo>
                  <a:lnTo>
                    <a:pt x="525" y="776"/>
                  </a:lnTo>
                  <a:lnTo>
                    <a:pt x="524" y="776"/>
                  </a:lnTo>
                  <a:lnTo>
                    <a:pt x="524" y="777"/>
                  </a:lnTo>
                  <a:lnTo>
                    <a:pt x="521" y="777"/>
                  </a:lnTo>
                  <a:lnTo>
                    <a:pt x="520" y="777"/>
                  </a:lnTo>
                  <a:lnTo>
                    <a:pt x="519" y="777"/>
                  </a:lnTo>
                  <a:lnTo>
                    <a:pt x="518" y="778"/>
                  </a:lnTo>
                  <a:lnTo>
                    <a:pt x="518" y="777"/>
                  </a:lnTo>
                  <a:lnTo>
                    <a:pt x="516" y="776"/>
                  </a:lnTo>
                  <a:lnTo>
                    <a:pt x="515" y="776"/>
                  </a:lnTo>
                  <a:lnTo>
                    <a:pt x="515" y="777"/>
                  </a:lnTo>
                  <a:lnTo>
                    <a:pt x="514" y="777"/>
                  </a:lnTo>
                  <a:lnTo>
                    <a:pt x="513" y="777"/>
                  </a:lnTo>
                  <a:lnTo>
                    <a:pt x="511" y="777"/>
                  </a:lnTo>
                  <a:lnTo>
                    <a:pt x="510" y="777"/>
                  </a:lnTo>
                  <a:lnTo>
                    <a:pt x="509" y="778"/>
                  </a:lnTo>
                  <a:lnTo>
                    <a:pt x="508" y="779"/>
                  </a:lnTo>
                  <a:lnTo>
                    <a:pt x="507" y="781"/>
                  </a:lnTo>
                  <a:lnTo>
                    <a:pt x="507" y="782"/>
                  </a:lnTo>
                  <a:lnTo>
                    <a:pt x="505" y="782"/>
                  </a:lnTo>
                  <a:lnTo>
                    <a:pt x="504" y="783"/>
                  </a:lnTo>
                  <a:lnTo>
                    <a:pt x="502" y="783"/>
                  </a:lnTo>
                  <a:lnTo>
                    <a:pt x="501" y="783"/>
                  </a:lnTo>
                  <a:lnTo>
                    <a:pt x="503" y="784"/>
                  </a:lnTo>
                  <a:lnTo>
                    <a:pt x="504" y="784"/>
                  </a:lnTo>
                  <a:lnTo>
                    <a:pt x="504" y="785"/>
                  </a:lnTo>
                  <a:lnTo>
                    <a:pt x="503" y="785"/>
                  </a:lnTo>
                  <a:lnTo>
                    <a:pt x="501" y="784"/>
                  </a:lnTo>
                  <a:lnTo>
                    <a:pt x="499" y="785"/>
                  </a:lnTo>
                  <a:lnTo>
                    <a:pt x="502" y="787"/>
                  </a:lnTo>
                  <a:lnTo>
                    <a:pt x="501" y="788"/>
                  </a:lnTo>
                  <a:lnTo>
                    <a:pt x="502" y="789"/>
                  </a:lnTo>
                  <a:lnTo>
                    <a:pt x="501" y="789"/>
                  </a:lnTo>
                  <a:lnTo>
                    <a:pt x="499" y="788"/>
                  </a:lnTo>
                  <a:lnTo>
                    <a:pt x="498" y="789"/>
                  </a:lnTo>
                  <a:lnTo>
                    <a:pt x="499" y="790"/>
                  </a:lnTo>
                  <a:lnTo>
                    <a:pt x="498" y="790"/>
                  </a:lnTo>
                  <a:lnTo>
                    <a:pt x="497" y="790"/>
                  </a:lnTo>
                  <a:lnTo>
                    <a:pt x="497" y="791"/>
                  </a:lnTo>
                  <a:lnTo>
                    <a:pt x="496" y="791"/>
                  </a:lnTo>
                  <a:lnTo>
                    <a:pt x="495" y="790"/>
                  </a:lnTo>
                  <a:lnTo>
                    <a:pt x="493" y="790"/>
                  </a:lnTo>
                  <a:lnTo>
                    <a:pt x="495" y="791"/>
                  </a:lnTo>
                  <a:lnTo>
                    <a:pt x="496" y="794"/>
                  </a:lnTo>
                  <a:lnTo>
                    <a:pt x="496" y="795"/>
                  </a:lnTo>
                  <a:lnTo>
                    <a:pt x="495" y="795"/>
                  </a:lnTo>
                  <a:lnTo>
                    <a:pt x="493" y="793"/>
                  </a:lnTo>
                  <a:lnTo>
                    <a:pt x="492" y="791"/>
                  </a:lnTo>
                  <a:lnTo>
                    <a:pt x="492" y="793"/>
                  </a:lnTo>
                  <a:lnTo>
                    <a:pt x="493" y="794"/>
                  </a:lnTo>
                  <a:lnTo>
                    <a:pt x="492" y="795"/>
                  </a:lnTo>
                  <a:lnTo>
                    <a:pt x="492" y="796"/>
                  </a:lnTo>
                  <a:lnTo>
                    <a:pt x="493" y="796"/>
                  </a:lnTo>
                  <a:lnTo>
                    <a:pt x="493" y="799"/>
                  </a:lnTo>
                  <a:lnTo>
                    <a:pt x="493" y="800"/>
                  </a:lnTo>
                  <a:lnTo>
                    <a:pt x="495" y="801"/>
                  </a:lnTo>
                  <a:lnTo>
                    <a:pt x="496" y="803"/>
                  </a:lnTo>
                  <a:lnTo>
                    <a:pt x="496" y="805"/>
                  </a:lnTo>
                  <a:lnTo>
                    <a:pt x="497" y="807"/>
                  </a:lnTo>
                  <a:lnTo>
                    <a:pt x="499" y="809"/>
                  </a:lnTo>
                  <a:lnTo>
                    <a:pt x="502" y="811"/>
                  </a:lnTo>
                  <a:lnTo>
                    <a:pt x="503" y="812"/>
                  </a:lnTo>
                  <a:lnTo>
                    <a:pt x="502" y="813"/>
                  </a:lnTo>
                  <a:lnTo>
                    <a:pt x="501" y="814"/>
                  </a:lnTo>
                  <a:lnTo>
                    <a:pt x="501" y="815"/>
                  </a:lnTo>
                  <a:lnTo>
                    <a:pt x="501" y="817"/>
                  </a:lnTo>
                  <a:lnTo>
                    <a:pt x="499" y="818"/>
                  </a:lnTo>
                  <a:lnTo>
                    <a:pt x="498" y="818"/>
                  </a:lnTo>
                  <a:lnTo>
                    <a:pt x="497" y="818"/>
                  </a:lnTo>
                  <a:lnTo>
                    <a:pt x="496" y="819"/>
                  </a:lnTo>
                  <a:lnTo>
                    <a:pt x="498" y="820"/>
                  </a:lnTo>
                  <a:lnTo>
                    <a:pt x="499" y="821"/>
                  </a:lnTo>
                  <a:lnTo>
                    <a:pt x="498" y="821"/>
                  </a:lnTo>
                  <a:lnTo>
                    <a:pt x="497" y="820"/>
                  </a:lnTo>
                  <a:lnTo>
                    <a:pt x="496" y="819"/>
                  </a:lnTo>
                  <a:lnTo>
                    <a:pt x="495" y="818"/>
                  </a:lnTo>
                  <a:lnTo>
                    <a:pt x="492" y="817"/>
                  </a:lnTo>
                  <a:lnTo>
                    <a:pt x="492" y="815"/>
                  </a:lnTo>
                  <a:lnTo>
                    <a:pt x="490" y="814"/>
                  </a:lnTo>
                  <a:lnTo>
                    <a:pt x="489" y="815"/>
                  </a:lnTo>
                  <a:lnTo>
                    <a:pt x="487" y="817"/>
                  </a:lnTo>
                  <a:lnTo>
                    <a:pt x="486" y="817"/>
                  </a:lnTo>
                  <a:lnTo>
                    <a:pt x="484" y="817"/>
                  </a:lnTo>
                  <a:lnTo>
                    <a:pt x="484" y="818"/>
                  </a:lnTo>
                  <a:lnTo>
                    <a:pt x="484" y="819"/>
                  </a:lnTo>
                  <a:lnTo>
                    <a:pt x="483" y="820"/>
                  </a:lnTo>
                  <a:lnTo>
                    <a:pt x="481" y="819"/>
                  </a:lnTo>
                  <a:lnTo>
                    <a:pt x="481" y="820"/>
                  </a:lnTo>
                  <a:lnTo>
                    <a:pt x="480" y="820"/>
                  </a:lnTo>
                  <a:lnTo>
                    <a:pt x="481" y="821"/>
                  </a:lnTo>
                  <a:lnTo>
                    <a:pt x="480" y="823"/>
                  </a:lnTo>
                  <a:lnTo>
                    <a:pt x="479" y="823"/>
                  </a:lnTo>
                  <a:lnTo>
                    <a:pt x="478" y="823"/>
                  </a:lnTo>
                  <a:lnTo>
                    <a:pt x="478" y="824"/>
                  </a:lnTo>
                  <a:lnTo>
                    <a:pt x="478" y="825"/>
                  </a:lnTo>
                  <a:lnTo>
                    <a:pt x="477" y="825"/>
                  </a:lnTo>
                  <a:lnTo>
                    <a:pt x="477" y="824"/>
                  </a:lnTo>
                  <a:lnTo>
                    <a:pt x="475" y="825"/>
                  </a:lnTo>
                  <a:lnTo>
                    <a:pt x="474" y="825"/>
                  </a:lnTo>
                  <a:lnTo>
                    <a:pt x="473" y="825"/>
                  </a:lnTo>
                  <a:lnTo>
                    <a:pt x="472" y="825"/>
                  </a:lnTo>
                  <a:lnTo>
                    <a:pt x="472" y="823"/>
                  </a:lnTo>
                  <a:lnTo>
                    <a:pt x="471" y="820"/>
                  </a:lnTo>
                  <a:lnTo>
                    <a:pt x="471" y="819"/>
                  </a:lnTo>
                  <a:lnTo>
                    <a:pt x="471" y="818"/>
                  </a:lnTo>
                  <a:lnTo>
                    <a:pt x="471" y="817"/>
                  </a:lnTo>
                  <a:lnTo>
                    <a:pt x="471" y="814"/>
                  </a:lnTo>
                  <a:lnTo>
                    <a:pt x="471" y="813"/>
                  </a:lnTo>
                  <a:lnTo>
                    <a:pt x="473" y="812"/>
                  </a:lnTo>
                  <a:lnTo>
                    <a:pt x="474" y="812"/>
                  </a:lnTo>
                  <a:lnTo>
                    <a:pt x="473" y="809"/>
                  </a:lnTo>
                  <a:lnTo>
                    <a:pt x="472" y="807"/>
                  </a:lnTo>
                  <a:lnTo>
                    <a:pt x="471" y="806"/>
                  </a:lnTo>
                  <a:lnTo>
                    <a:pt x="468" y="806"/>
                  </a:lnTo>
                  <a:lnTo>
                    <a:pt x="467" y="806"/>
                  </a:lnTo>
                  <a:lnTo>
                    <a:pt x="466" y="806"/>
                  </a:lnTo>
                  <a:lnTo>
                    <a:pt x="466" y="805"/>
                  </a:lnTo>
                  <a:lnTo>
                    <a:pt x="465" y="805"/>
                  </a:lnTo>
                  <a:lnTo>
                    <a:pt x="462" y="805"/>
                  </a:lnTo>
                  <a:lnTo>
                    <a:pt x="461" y="805"/>
                  </a:lnTo>
                  <a:lnTo>
                    <a:pt x="460" y="805"/>
                  </a:lnTo>
                  <a:lnTo>
                    <a:pt x="459" y="806"/>
                  </a:lnTo>
                  <a:lnTo>
                    <a:pt x="457" y="806"/>
                  </a:lnTo>
                  <a:lnTo>
                    <a:pt x="456" y="806"/>
                  </a:lnTo>
                  <a:lnTo>
                    <a:pt x="455" y="806"/>
                  </a:lnTo>
                  <a:lnTo>
                    <a:pt x="454" y="805"/>
                  </a:lnTo>
                  <a:lnTo>
                    <a:pt x="452" y="805"/>
                  </a:lnTo>
                  <a:lnTo>
                    <a:pt x="452" y="803"/>
                  </a:lnTo>
                  <a:lnTo>
                    <a:pt x="451" y="803"/>
                  </a:lnTo>
                  <a:lnTo>
                    <a:pt x="450" y="803"/>
                  </a:lnTo>
                  <a:lnTo>
                    <a:pt x="449" y="802"/>
                  </a:lnTo>
                  <a:lnTo>
                    <a:pt x="449" y="801"/>
                  </a:lnTo>
                  <a:lnTo>
                    <a:pt x="449" y="800"/>
                  </a:lnTo>
                  <a:lnTo>
                    <a:pt x="448" y="800"/>
                  </a:lnTo>
                  <a:lnTo>
                    <a:pt x="444" y="800"/>
                  </a:lnTo>
                  <a:lnTo>
                    <a:pt x="444" y="799"/>
                  </a:lnTo>
                  <a:lnTo>
                    <a:pt x="444" y="801"/>
                  </a:lnTo>
                  <a:lnTo>
                    <a:pt x="443" y="802"/>
                  </a:lnTo>
                  <a:lnTo>
                    <a:pt x="442" y="801"/>
                  </a:lnTo>
                  <a:lnTo>
                    <a:pt x="440" y="801"/>
                  </a:lnTo>
                  <a:lnTo>
                    <a:pt x="440" y="800"/>
                  </a:lnTo>
                  <a:lnTo>
                    <a:pt x="440" y="797"/>
                  </a:lnTo>
                  <a:lnTo>
                    <a:pt x="440" y="796"/>
                  </a:lnTo>
                  <a:lnTo>
                    <a:pt x="440" y="797"/>
                  </a:lnTo>
                  <a:lnTo>
                    <a:pt x="440" y="800"/>
                  </a:lnTo>
                  <a:lnTo>
                    <a:pt x="440" y="801"/>
                  </a:lnTo>
                  <a:lnTo>
                    <a:pt x="439" y="800"/>
                  </a:lnTo>
                  <a:lnTo>
                    <a:pt x="439" y="801"/>
                  </a:lnTo>
                  <a:lnTo>
                    <a:pt x="439" y="802"/>
                  </a:lnTo>
                  <a:lnTo>
                    <a:pt x="439" y="803"/>
                  </a:lnTo>
                  <a:lnTo>
                    <a:pt x="438" y="803"/>
                  </a:lnTo>
                  <a:lnTo>
                    <a:pt x="437" y="803"/>
                  </a:lnTo>
                  <a:lnTo>
                    <a:pt x="436" y="802"/>
                  </a:lnTo>
                  <a:lnTo>
                    <a:pt x="436" y="803"/>
                  </a:lnTo>
                  <a:lnTo>
                    <a:pt x="434" y="803"/>
                  </a:lnTo>
                  <a:lnTo>
                    <a:pt x="434" y="802"/>
                  </a:lnTo>
                  <a:lnTo>
                    <a:pt x="434" y="801"/>
                  </a:lnTo>
                  <a:lnTo>
                    <a:pt x="433" y="801"/>
                  </a:lnTo>
                  <a:lnTo>
                    <a:pt x="433" y="803"/>
                  </a:lnTo>
                  <a:lnTo>
                    <a:pt x="433" y="805"/>
                  </a:lnTo>
                  <a:lnTo>
                    <a:pt x="433" y="806"/>
                  </a:lnTo>
                  <a:lnTo>
                    <a:pt x="432" y="806"/>
                  </a:lnTo>
                  <a:lnTo>
                    <a:pt x="428" y="805"/>
                  </a:lnTo>
                  <a:lnTo>
                    <a:pt x="428" y="808"/>
                  </a:lnTo>
                  <a:lnTo>
                    <a:pt x="427" y="807"/>
                  </a:lnTo>
                  <a:lnTo>
                    <a:pt x="427" y="806"/>
                  </a:lnTo>
                  <a:lnTo>
                    <a:pt x="428" y="803"/>
                  </a:lnTo>
                  <a:lnTo>
                    <a:pt x="426" y="806"/>
                  </a:lnTo>
                  <a:lnTo>
                    <a:pt x="425" y="806"/>
                  </a:lnTo>
                  <a:lnTo>
                    <a:pt x="426" y="807"/>
                  </a:lnTo>
                  <a:lnTo>
                    <a:pt x="426" y="808"/>
                  </a:lnTo>
                  <a:lnTo>
                    <a:pt x="426" y="809"/>
                  </a:lnTo>
                  <a:lnTo>
                    <a:pt x="425" y="808"/>
                  </a:lnTo>
                  <a:lnTo>
                    <a:pt x="424" y="808"/>
                  </a:lnTo>
                  <a:lnTo>
                    <a:pt x="422" y="807"/>
                  </a:lnTo>
                  <a:lnTo>
                    <a:pt x="421" y="807"/>
                  </a:lnTo>
                  <a:lnTo>
                    <a:pt x="421" y="806"/>
                  </a:lnTo>
                  <a:lnTo>
                    <a:pt x="420" y="808"/>
                  </a:lnTo>
                  <a:lnTo>
                    <a:pt x="419" y="809"/>
                  </a:lnTo>
                  <a:lnTo>
                    <a:pt x="418" y="809"/>
                  </a:lnTo>
                  <a:lnTo>
                    <a:pt x="416" y="809"/>
                  </a:lnTo>
                  <a:lnTo>
                    <a:pt x="415" y="808"/>
                  </a:lnTo>
                  <a:lnTo>
                    <a:pt x="413" y="807"/>
                  </a:lnTo>
                  <a:lnTo>
                    <a:pt x="412" y="807"/>
                  </a:lnTo>
                  <a:lnTo>
                    <a:pt x="410" y="806"/>
                  </a:lnTo>
                  <a:lnTo>
                    <a:pt x="410" y="805"/>
                  </a:lnTo>
                  <a:lnTo>
                    <a:pt x="409" y="805"/>
                  </a:lnTo>
                  <a:lnTo>
                    <a:pt x="409" y="806"/>
                  </a:lnTo>
                  <a:lnTo>
                    <a:pt x="409" y="807"/>
                  </a:lnTo>
                  <a:lnTo>
                    <a:pt x="408" y="807"/>
                  </a:lnTo>
                  <a:lnTo>
                    <a:pt x="408" y="808"/>
                  </a:lnTo>
                  <a:lnTo>
                    <a:pt x="407" y="808"/>
                  </a:lnTo>
                  <a:lnTo>
                    <a:pt x="406" y="809"/>
                  </a:lnTo>
                  <a:lnTo>
                    <a:pt x="404" y="811"/>
                  </a:lnTo>
                  <a:lnTo>
                    <a:pt x="404" y="812"/>
                  </a:lnTo>
                  <a:lnTo>
                    <a:pt x="403" y="812"/>
                  </a:lnTo>
                  <a:lnTo>
                    <a:pt x="401" y="812"/>
                  </a:lnTo>
                  <a:lnTo>
                    <a:pt x="402" y="813"/>
                  </a:lnTo>
                  <a:lnTo>
                    <a:pt x="402" y="814"/>
                  </a:lnTo>
                  <a:lnTo>
                    <a:pt x="401" y="814"/>
                  </a:lnTo>
                  <a:lnTo>
                    <a:pt x="401" y="815"/>
                  </a:lnTo>
                  <a:lnTo>
                    <a:pt x="400" y="817"/>
                  </a:lnTo>
                  <a:lnTo>
                    <a:pt x="400" y="818"/>
                  </a:lnTo>
                  <a:lnTo>
                    <a:pt x="398" y="817"/>
                  </a:lnTo>
                  <a:lnTo>
                    <a:pt x="397" y="817"/>
                  </a:lnTo>
                  <a:lnTo>
                    <a:pt x="396" y="817"/>
                  </a:lnTo>
                  <a:lnTo>
                    <a:pt x="397" y="818"/>
                  </a:lnTo>
                  <a:lnTo>
                    <a:pt x="400" y="819"/>
                  </a:lnTo>
                  <a:lnTo>
                    <a:pt x="398" y="820"/>
                  </a:lnTo>
                  <a:lnTo>
                    <a:pt x="397" y="819"/>
                  </a:lnTo>
                  <a:lnTo>
                    <a:pt x="395" y="819"/>
                  </a:lnTo>
                  <a:lnTo>
                    <a:pt x="393" y="817"/>
                  </a:lnTo>
                  <a:lnTo>
                    <a:pt x="391" y="817"/>
                  </a:lnTo>
                  <a:lnTo>
                    <a:pt x="390" y="815"/>
                  </a:lnTo>
                  <a:lnTo>
                    <a:pt x="389" y="815"/>
                  </a:lnTo>
                  <a:lnTo>
                    <a:pt x="387" y="815"/>
                  </a:lnTo>
                  <a:lnTo>
                    <a:pt x="386" y="815"/>
                  </a:lnTo>
                  <a:lnTo>
                    <a:pt x="386" y="814"/>
                  </a:lnTo>
                  <a:lnTo>
                    <a:pt x="384" y="813"/>
                  </a:lnTo>
                  <a:lnTo>
                    <a:pt x="384" y="814"/>
                  </a:lnTo>
                  <a:lnTo>
                    <a:pt x="383" y="814"/>
                  </a:lnTo>
                  <a:lnTo>
                    <a:pt x="381" y="814"/>
                  </a:lnTo>
                  <a:lnTo>
                    <a:pt x="380" y="813"/>
                  </a:lnTo>
                  <a:lnTo>
                    <a:pt x="378" y="814"/>
                  </a:lnTo>
                  <a:lnTo>
                    <a:pt x="377" y="814"/>
                  </a:lnTo>
                  <a:lnTo>
                    <a:pt x="377" y="815"/>
                  </a:lnTo>
                  <a:lnTo>
                    <a:pt x="375" y="815"/>
                  </a:lnTo>
                  <a:lnTo>
                    <a:pt x="374" y="814"/>
                  </a:lnTo>
                  <a:lnTo>
                    <a:pt x="373" y="814"/>
                  </a:lnTo>
                  <a:lnTo>
                    <a:pt x="373" y="813"/>
                  </a:lnTo>
                  <a:lnTo>
                    <a:pt x="373" y="811"/>
                  </a:lnTo>
                  <a:lnTo>
                    <a:pt x="373" y="809"/>
                  </a:lnTo>
                  <a:lnTo>
                    <a:pt x="372" y="811"/>
                  </a:lnTo>
                  <a:lnTo>
                    <a:pt x="372" y="812"/>
                  </a:lnTo>
                  <a:lnTo>
                    <a:pt x="372" y="813"/>
                  </a:lnTo>
                  <a:lnTo>
                    <a:pt x="372" y="815"/>
                  </a:lnTo>
                  <a:lnTo>
                    <a:pt x="371" y="815"/>
                  </a:lnTo>
                  <a:lnTo>
                    <a:pt x="371" y="817"/>
                  </a:lnTo>
                  <a:lnTo>
                    <a:pt x="369" y="819"/>
                  </a:lnTo>
                  <a:lnTo>
                    <a:pt x="369" y="820"/>
                  </a:lnTo>
                  <a:lnTo>
                    <a:pt x="369" y="821"/>
                  </a:lnTo>
                  <a:lnTo>
                    <a:pt x="368" y="821"/>
                  </a:lnTo>
                  <a:lnTo>
                    <a:pt x="367" y="823"/>
                  </a:lnTo>
                  <a:lnTo>
                    <a:pt x="368" y="825"/>
                  </a:lnTo>
                  <a:lnTo>
                    <a:pt x="368" y="826"/>
                  </a:lnTo>
                  <a:lnTo>
                    <a:pt x="367" y="826"/>
                  </a:lnTo>
                  <a:lnTo>
                    <a:pt x="367" y="829"/>
                  </a:lnTo>
                  <a:lnTo>
                    <a:pt x="367" y="830"/>
                  </a:lnTo>
                  <a:lnTo>
                    <a:pt x="366" y="830"/>
                  </a:lnTo>
                  <a:lnTo>
                    <a:pt x="366" y="832"/>
                  </a:lnTo>
                  <a:lnTo>
                    <a:pt x="365" y="833"/>
                  </a:lnTo>
                  <a:lnTo>
                    <a:pt x="365" y="835"/>
                  </a:lnTo>
                  <a:lnTo>
                    <a:pt x="362" y="836"/>
                  </a:lnTo>
                  <a:lnTo>
                    <a:pt x="361" y="837"/>
                  </a:lnTo>
                  <a:lnTo>
                    <a:pt x="359" y="838"/>
                  </a:lnTo>
                  <a:lnTo>
                    <a:pt x="357" y="838"/>
                  </a:lnTo>
                  <a:lnTo>
                    <a:pt x="357" y="837"/>
                  </a:lnTo>
                  <a:lnTo>
                    <a:pt x="356" y="838"/>
                  </a:lnTo>
                  <a:lnTo>
                    <a:pt x="355" y="837"/>
                  </a:lnTo>
                  <a:lnTo>
                    <a:pt x="354" y="837"/>
                  </a:lnTo>
                  <a:lnTo>
                    <a:pt x="353" y="836"/>
                  </a:lnTo>
                  <a:lnTo>
                    <a:pt x="351" y="836"/>
                  </a:lnTo>
                  <a:lnTo>
                    <a:pt x="351" y="835"/>
                  </a:lnTo>
                  <a:lnTo>
                    <a:pt x="350" y="836"/>
                  </a:lnTo>
                  <a:lnTo>
                    <a:pt x="349" y="836"/>
                  </a:lnTo>
                  <a:lnTo>
                    <a:pt x="349" y="835"/>
                  </a:lnTo>
                  <a:lnTo>
                    <a:pt x="348" y="833"/>
                  </a:lnTo>
                  <a:lnTo>
                    <a:pt x="347" y="833"/>
                  </a:lnTo>
                  <a:lnTo>
                    <a:pt x="345" y="833"/>
                  </a:lnTo>
                  <a:lnTo>
                    <a:pt x="344" y="833"/>
                  </a:lnTo>
                  <a:lnTo>
                    <a:pt x="344" y="836"/>
                  </a:lnTo>
                  <a:lnTo>
                    <a:pt x="344" y="837"/>
                  </a:lnTo>
                  <a:lnTo>
                    <a:pt x="344" y="836"/>
                  </a:lnTo>
                  <a:lnTo>
                    <a:pt x="343" y="836"/>
                  </a:lnTo>
                  <a:lnTo>
                    <a:pt x="343" y="837"/>
                  </a:lnTo>
                  <a:lnTo>
                    <a:pt x="343" y="838"/>
                  </a:lnTo>
                  <a:lnTo>
                    <a:pt x="342" y="838"/>
                  </a:lnTo>
                  <a:lnTo>
                    <a:pt x="342" y="841"/>
                  </a:lnTo>
                  <a:lnTo>
                    <a:pt x="341" y="839"/>
                  </a:lnTo>
                  <a:lnTo>
                    <a:pt x="341" y="841"/>
                  </a:lnTo>
                  <a:lnTo>
                    <a:pt x="341" y="842"/>
                  </a:lnTo>
                  <a:lnTo>
                    <a:pt x="341" y="843"/>
                  </a:lnTo>
                  <a:lnTo>
                    <a:pt x="339" y="844"/>
                  </a:lnTo>
                  <a:lnTo>
                    <a:pt x="338" y="844"/>
                  </a:lnTo>
                  <a:lnTo>
                    <a:pt x="339" y="845"/>
                  </a:lnTo>
                  <a:lnTo>
                    <a:pt x="339" y="847"/>
                  </a:lnTo>
                  <a:lnTo>
                    <a:pt x="338" y="848"/>
                  </a:lnTo>
                  <a:lnTo>
                    <a:pt x="338" y="849"/>
                  </a:lnTo>
                  <a:lnTo>
                    <a:pt x="338" y="850"/>
                  </a:lnTo>
                  <a:lnTo>
                    <a:pt x="338" y="851"/>
                  </a:lnTo>
                  <a:lnTo>
                    <a:pt x="338" y="859"/>
                  </a:lnTo>
                  <a:lnTo>
                    <a:pt x="338" y="868"/>
                  </a:lnTo>
                  <a:lnTo>
                    <a:pt x="338" y="878"/>
                  </a:lnTo>
                  <a:lnTo>
                    <a:pt x="338" y="889"/>
                  </a:lnTo>
                  <a:lnTo>
                    <a:pt x="338" y="891"/>
                  </a:lnTo>
                  <a:lnTo>
                    <a:pt x="337" y="894"/>
                  </a:lnTo>
                  <a:lnTo>
                    <a:pt x="336" y="896"/>
                  </a:lnTo>
                  <a:lnTo>
                    <a:pt x="332" y="896"/>
                  </a:lnTo>
                  <a:lnTo>
                    <a:pt x="309" y="896"/>
                  </a:lnTo>
                  <a:lnTo>
                    <a:pt x="308" y="878"/>
                  </a:lnTo>
                  <a:lnTo>
                    <a:pt x="308" y="862"/>
                  </a:lnTo>
                  <a:lnTo>
                    <a:pt x="307" y="845"/>
                  </a:lnTo>
                  <a:lnTo>
                    <a:pt x="307" y="842"/>
                  </a:lnTo>
                  <a:lnTo>
                    <a:pt x="304" y="841"/>
                  </a:lnTo>
                  <a:lnTo>
                    <a:pt x="304" y="839"/>
                  </a:lnTo>
                  <a:lnTo>
                    <a:pt x="302" y="839"/>
                  </a:lnTo>
                  <a:lnTo>
                    <a:pt x="301" y="838"/>
                  </a:lnTo>
                  <a:lnTo>
                    <a:pt x="300" y="838"/>
                  </a:lnTo>
                  <a:lnTo>
                    <a:pt x="298" y="837"/>
                  </a:lnTo>
                  <a:lnTo>
                    <a:pt x="297" y="836"/>
                  </a:lnTo>
                  <a:lnTo>
                    <a:pt x="296" y="835"/>
                  </a:lnTo>
                  <a:lnTo>
                    <a:pt x="296" y="833"/>
                  </a:lnTo>
                  <a:lnTo>
                    <a:pt x="297" y="832"/>
                  </a:lnTo>
                  <a:lnTo>
                    <a:pt x="297" y="831"/>
                  </a:lnTo>
                  <a:lnTo>
                    <a:pt x="297" y="830"/>
                  </a:lnTo>
                  <a:lnTo>
                    <a:pt x="298" y="827"/>
                  </a:lnTo>
                  <a:lnTo>
                    <a:pt x="298" y="829"/>
                  </a:lnTo>
                  <a:lnTo>
                    <a:pt x="300" y="829"/>
                  </a:lnTo>
                  <a:lnTo>
                    <a:pt x="300" y="827"/>
                  </a:lnTo>
                  <a:lnTo>
                    <a:pt x="300" y="826"/>
                  </a:lnTo>
                  <a:lnTo>
                    <a:pt x="300" y="825"/>
                  </a:lnTo>
                  <a:lnTo>
                    <a:pt x="300" y="824"/>
                  </a:lnTo>
                  <a:lnTo>
                    <a:pt x="298" y="823"/>
                  </a:lnTo>
                  <a:lnTo>
                    <a:pt x="298" y="821"/>
                  </a:lnTo>
                  <a:lnTo>
                    <a:pt x="296" y="820"/>
                  </a:lnTo>
                  <a:lnTo>
                    <a:pt x="295" y="820"/>
                  </a:lnTo>
                  <a:lnTo>
                    <a:pt x="294" y="820"/>
                  </a:lnTo>
                  <a:lnTo>
                    <a:pt x="292" y="820"/>
                  </a:lnTo>
                  <a:lnTo>
                    <a:pt x="290" y="821"/>
                  </a:lnTo>
                  <a:lnTo>
                    <a:pt x="288" y="823"/>
                  </a:lnTo>
                  <a:lnTo>
                    <a:pt x="286" y="823"/>
                  </a:lnTo>
                  <a:lnTo>
                    <a:pt x="285" y="823"/>
                  </a:lnTo>
                  <a:lnTo>
                    <a:pt x="284" y="823"/>
                  </a:lnTo>
                  <a:lnTo>
                    <a:pt x="283" y="821"/>
                  </a:lnTo>
                  <a:lnTo>
                    <a:pt x="283" y="823"/>
                  </a:lnTo>
                  <a:lnTo>
                    <a:pt x="282" y="824"/>
                  </a:lnTo>
                  <a:lnTo>
                    <a:pt x="282" y="823"/>
                  </a:lnTo>
                  <a:lnTo>
                    <a:pt x="280" y="823"/>
                  </a:lnTo>
                  <a:lnTo>
                    <a:pt x="280" y="824"/>
                  </a:lnTo>
                  <a:lnTo>
                    <a:pt x="278" y="825"/>
                  </a:lnTo>
                  <a:lnTo>
                    <a:pt x="277" y="826"/>
                  </a:lnTo>
                  <a:lnTo>
                    <a:pt x="275" y="827"/>
                  </a:lnTo>
                  <a:lnTo>
                    <a:pt x="274" y="829"/>
                  </a:lnTo>
                  <a:lnTo>
                    <a:pt x="273" y="829"/>
                  </a:lnTo>
                  <a:lnTo>
                    <a:pt x="273" y="830"/>
                  </a:lnTo>
                  <a:lnTo>
                    <a:pt x="273" y="831"/>
                  </a:lnTo>
                  <a:lnTo>
                    <a:pt x="273" y="832"/>
                  </a:lnTo>
                  <a:lnTo>
                    <a:pt x="272" y="831"/>
                  </a:lnTo>
                  <a:lnTo>
                    <a:pt x="271" y="831"/>
                  </a:lnTo>
                  <a:lnTo>
                    <a:pt x="271" y="832"/>
                  </a:lnTo>
                  <a:lnTo>
                    <a:pt x="269" y="832"/>
                  </a:lnTo>
                  <a:lnTo>
                    <a:pt x="269" y="835"/>
                  </a:lnTo>
                  <a:lnTo>
                    <a:pt x="268" y="832"/>
                  </a:lnTo>
                  <a:lnTo>
                    <a:pt x="267" y="832"/>
                  </a:lnTo>
                  <a:lnTo>
                    <a:pt x="268" y="833"/>
                  </a:lnTo>
                  <a:lnTo>
                    <a:pt x="268" y="835"/>
                  </a:lnTo>
                  <a:lnTo>
                    <a:pt x="267" y="836"/>
                  </a:lnTo>
                  <a:lnTo>
                    <a:pt x="266" y="836"/>
                  </a:lnTo>
                  <a:lnTo>
                    <a:pt x="265" y="835"/>
                  </a:lnTo>
                  <a:lnTo>
                    <a:pt x="265" y="836"/>
                  </a:lnTo>
                  <a:lnTo>
                    <a:pt x="263" y="836"/>
                  </a:lnTo>
                  <a:lnTo>
                    <a:pt x="263" y="835"/>
                  </a:lnTo>
                  <a:lnTo>
                    <a:pt x="262" y="835"/>
                  </a:lnTo>
                  <a:lnTo>
                    <a:pt x="262" y="836"/>
                  </a:lnTo>
                  <a:lnTo>
                    <a:pt x="260" y="836"/>
                  </a:lnTo>
                  <a:lnTo>
                    <a:pt x="257" y="835"/>
                  </a:lnTo>
                  <a:lnTo>
                    <a:pt x="255" y="833"/>
                  </a:lnTo>
                  <a:lnTo>
                    <a:pt x="253" y="832"/>
                  </a:lnTo>
                  <a:lnTo>
                    <a:pt x="253" y="830"/>
                  </a:lnTo>
                  <a:lnTo>
                    <a:pt x="251" y="831"/>
                  </a:lnTo>
                  <a:lnTo>
                    <a:pt x="251" y="832"/>
                  </a:lnTo>
                  <a:lnTo>
                    <a:pt x="251" y="833"/>
                  </a:lnTo>
                  <a:lnTo>
                    <a:pt x="249" y="832"/>
                  </a:lnTo>
                  <a:lnTo>
                    <a:pt x="248" y="833"/>
                  </a:lnTo>
                  <a:lnTo>
                    <a:pt x="247" y="833"/>
                  </a:lnTo>
                  <a:lnTo>
                    <a:pt x="247" y="832"/>
                  </a:lnTo>
                  <a:lnTo>
                    <a:pt x="245" y="831"/>
                  </a:lnTo>
                  <a:lnTo>
                    <a:pt x="245" y="832"/>
                  </a:lnTo>
                  <a:lnTo>
                    <a:pt x="245" y="833"/>
                  </a:lnTo>
                  <a:lnTo>
                    <a:pt x="244" y="833"/>
                  </a:lnTo>
                  <a:lnTo>
                    <a:pt x="243" y="832"/>
                  </a:lnTo>
                  <a:lnTo>
                    <a:pt x="242" y="831"/>
                  </a:lnTo>
                  <a:lnTo>
                    <a:pt x="241" y="830"/>
                  </a:lnTo>
                  <a:lnTo>
                    <a:pt x="239" y="829"/>
                  </a:lnTo>
                  <a:lnTo>
                    <a:pt x="239" y="827"/>
                  </a:lnTo>
                  <a:lnTo>
                    <a:pt x="238" y="826"/>
                  </a:lnTo>
                  <a:lnTo>
                    <a:pt x="238" y="825"/>
                  </a:lnTo>
                  <a:lnTo>
                    <a:pt x="237" y="824"/>
                  </a:lnTo>
                  <a:lnTo>
                    <a:pt x="237" y="823"/>
                  </a:lnTo>
                  <a:lnTo>
                    <a:pt x="235" y="823"/>
                  </a:lnTo>
                  <a:lnTo>
                    <a:pt x="233" y="821"/>
                  </a:lnTo>
                  <a:lnTo>
                    <a:pt x="232" y="821"/>
                  </a:lnTo>
                  <a:lnTo>
                    <a:pt x="232" y="819"/>
                  </a:lnTo>
                  <a:lnTo>
                    <a:pt x="231" y="819"/>
                  </a:lnTo>
                  <a:lnTo>
                    <a:pt x="231" y="820"/>
                  </a:lnTo>
                  <a:lnTo>
                    <a:pt x="230" y="821"/>
                  </a:lnTo>
                  <a:lnTo>
                    <a:pt x="229" y="820"/>
                  </a:lnTo>
                  <a:lnTo>
                    <a:pt x="227" y="820"/>
                  </a:lnTo>
                  <a:lnTo>
                    <a:pt x="226" y="820"/>
                  </a:lnTo>
                  <a:lnTo>
                    <a:pt x="226" y="819"/>
                  </a:lnTo>
                  <a:lnTo>
                    <a:pt x="226" y="820"/>
                  </a:lnTo>
                  <a:lnTo>
                    <a:pt x="225" y="820"/>
                  </a:lnTo>
                  <a:lnTo>
                    <a:pt x="224" y="820"/>
                  </a:lnTo>
                  <a:lnTo>
                    <a:pt x="224" y="821"/>
                  </a:lnTo>
                  <a:lnTo>
                    <a:pt x="223" y="821"/>
                  </a:lnTo>
                  <a:lnTo>
                    <a:pt x="221" y="821"/>
                  </a:lnTo>
                  <a:lnTo>
                    <a:pt x="220" y="820"/>
                  </a:lnTo>
                  <a:lnTo>
                    <a:pt x="219" y="820"/>
                  </a:lnTo>
                  <a:lnTo>
                    <a:pt x="218" y="820"/>
                  </a:lnTo>
                  <a:lnTo>
                    <a:pt x="215" y="820"/>
                  </a:lnTo>
                  <a:lnTo>
                    <a:pt x="214" y="820"/>
                  </a:lnTo>
                  <a:lnTo>
                    <a:pt x="210" y="824"/>
                  </a:lnTo>
                  <a:lnTo>
                    <a:pt x="209" y="826"/>
                  </a:lnTo>
                  <a:lnTo>
                    <a:pt x="208" y="827"/>
                  </a:lnTo>
                  <a:lnTo>
                    <a:pt x="208" y="829"/>
                  </a:lnTo>
                  <a:lnTo>
                    <a:pt x="206" y="830"/>
                  </a:lnTo>
                  <a:lnTo>
                    <a:pt x="203" y="830"/>
                  </a:lnTo>
                  <a:lnTo>
                    <a:pt x="201" y="831"/>
                  </a:lnTo>
                  <a:lnTo>
                    <a:pt x="200" y="830"/>
                  </a:lnTo>
                  <a:lnTo>
                    <a:pt x="198" y="829"/>
                  </a:lnTo>
                  <a:lnTo>
                    <a:pt x="197" y="829"/>
                  </a:lnTo>
                  <a:lnTo>
                    <a:pt x="197" y="827"/>
                  </a:lnTo>
                  <a:lnTo>
                    <a:pt x="197" y="826"/>
                  </a:lnTo>
                  <a:lnTo>
                    <a:pt x="197" y="823"/>
                  </a:lnTo>
                  <a:lnTo>
                    <a:pt x="197" y="821"/>
                  </a:lnTo>
                  <a:lnTo>
                    <a:pt x="196" y="825"/>
                  </a:lnTo>
                  <a:lnTo>
                    <a:pt x="196" y="827"/>
                  </a:lnTo>
                  <a:lnTo>
                    <a:pt x="195" y="827"/>
                  </a:lnTo>
                  <a:lnTo>
                    <a:pt x="194" y="827"/>
                  </a:lnTo>
                  <a:lnTo>
                    <a:pt x="192" y="826"/>
                  </a:lnTo>
                  <a:lnTo>
                    <a:pt x="192" y="824"/>
                  </a:lnTo>
                  <a:lnTo>
                    <a:pt x="192" y="823"/>
                  </a:lnTo>
                  <a:lnTo>
                    <a:pt x="192" y="821"/>
                  </a:lnTo>
                  <a:lnTo>
                    <a:pt x="192" y="820"/>
                  </a:lnTo>
                  <a:lnTo>
                    <a:pt x="192" y="823"/>
                  </a:lnTo>
                  <a:lnTo>
                    <a:pt x="191" y="824"/>
                  </a:lnTo>
                  <a:lnTo>
                    <a:pt x="191" y="825"/>
                  </a:lnTo>
                  <a:lnTo>
                    <a:pt x="192" y="827"/>
                  </a:lnTo>
                  <a:lnTo>
                    <a:pt x="191" y="827"/>
                  </a:lnTo>
                  <a:lnTo>
                    <a:pt x="190" y="829"/>
                  </a:lnTo>
                  <a:lnTo>
                    <a:pt x="189" y="829"/>
                  </a:lnTo>
                  <a:lnTo>
                    <a:pt x="189" y="827"/>
                  </a:lnTo>
                  <a:lnTo>
                    <a:pt x="189" y="826"/>
                  </a:lnTo>
                  <a:lnTo>
                    <a:pt x="189" y="825"/>
                  </a:lnTo>
                  <a:lnTo>
                    <a:pt x="188" y="825"/>
                  </a:lnTo>
                  <a:lnTo>
                    <a:pt x="188" y="827"/>
                  </a:lnTo>
                  <a:lnTo>
                    <a:pt x="188" y="829"/>
                  </a:lnTo>
                  <a:lnTo>
                    <a:pt x="186" y="829"/>
                  </a:lnTo>
                  <a:lnTo>
                    <a:pt x="186" y="827"/>
                  </a:lnTo>
                  <a:lnTo>
                    <a:pt x="185" y="827"/>
                  </a:lnTo>
                  <a:lnTo>
                    <a:pt x="185" y="826"/>
                  </a:lnTo>
                  <a:lnTo>
                    <a:pt x="185" y="825"/>
                  </a:lnTo>
                  <a:lnTo>
                    <a:pt x="185" y="824"/>
                  </a:lnTo>
                  <a:lnTo>
                    <a:pt x="184" y="824"/>
                  </a:lnTo>
                  <a:lnTo>
                    <a:pt x="183" y="827"/>
                  </a:lnTo>
                  <a:lnTo>
                    <a:pt x="180" y="827"/>
                  </a:lnTo>
                  <a:lnTo>
                    <a:pt x="178" y="827"/>
                  </a:lnTo>
                  <a:lnTo>
                    <a:pt x="178" y="825"/>
                  </a:lnTo>
                  <a:lnTo>
                    <a:pt x="178" y="826"/>
                  </a:lnTo>
                  <a:lnTo>
                    <a:pt x="177" y="827"/>
                  </a:lnTo>
                  <a:lnTo>
                    <a:pt x="177" y="829"/>
                  </a:lnTo>
                  <a:lnTo>
                    <a:pt x="176" y="829"/>
                  </a:lnTo>
                  <a:lnTo>
                    <a:pt x="176" y="827"/>
                  </a:lnTo>
                  <a:lnTo>
                    <a:pt x="174" y="827"/>
                  </a:lnTo>
                  <a:lnTo>
                    <a:pt x="174" y="829"/>
                  </a:lnTo>
                  <a:lnTo>
                    <a:pt x="174" y="830"/>
                  </a:lnTo>
                  <a:lnTo>
                    <a:pt x="174" y="832"/>
                  </a:lnTo>
                  <a:lnTo>
                    <a:pt x="174" y="833"/>
                  </a:lnTo>
                  <a:lnTo>
                    <a:pt x="173" y="832"/>
                  </a:lnTo>
                  <a:lnTo>
                    <a:pt x="172" y="832"/>
                  </a:lnTo>
                  <a:lnTo>
                    <a:pt x="173" y="833"/>
                  </a:lnTo>
                  <a:lnTo>
                    <a:pt x="172" y="835"/>
                  </a:lnTo>
                  <a:lnTo>
                    <a:pt x="172" y="836"/>
                  </a:lnTo>
                  <a:lnTo>
                    <a:pt x="171" y="836"/>
                  </a:lnTo>
                  <a:lnTo>
                    <a:pt x="170" y="836"/>
                  </a:lnTo>
                  <a:lnTo>
                    <a:pt x="168" y="837"/>
                  </a:lnTo>
                  <a:lnTo>
                    <a:pt x="167" y="838"/>
                  </a:lnTo>
                  <a:lnTo>
                    <a:pt x="167" y="839"/>
                  </a:lnTo>
                  <a:lnTo>
                    <a:pt x="166" y="841"/>
                  </a:lnTo>
                  <a:lnTo>
                    <a:pt x="166" y="842"/>
                  </a:lnTo>
                  <a:lnTo>
                    <a:pt x="165" y="843"/>
                  </a:lnTo>
                  <a:lnTo>
                    <a:pt x="165" y="844"/>
                  </a:lnTo>
                  <a:lnTo>
                    <a:pt x="165" y="845"/>
                  </a:lnTo>
                  <a:lnTo>
                    <a:pt x="164" y="845"/>
                  </a:lnTo>
                  <a:lnTo>
                    <a:pt x="162" y="847"/>
                  </a:lnTo>
                  <a:lnTo>
                    <a:pt x="161" y="848"/>
                  </a:lnTo>
                  <a:lnTo>
                    <a:pt x="159" y="850"/>
                  </a:lnTo>
                  <a:lnTo>
                    <a:pt x="158" y="850"/>
                  </a:lnTo>
                  <a:lnTo>
                    <a:pt x="156" y="850"/>
                  </a:lnTo>
                  <a:lnTo>
                    <a:pt x="155" y="849"/>
                  </a:lnTo>
                  <a:lnTo>
                    <a:pt x="156" y="848"/>
                  </a:lnTo>
                  <a:lnTo>
                    <a:pt x="156" y="847"/>
                  </a:lnTo>
                  <a:lnTo>
                    <a:pt x="156" y="844"/>
                  </a:lnTo>
                  <a:lnTo>
                    <a:pt x="155" y="844"/>
                  </a:lnTo>
                  <a:lnTo>
                    <a:pt x="155" y="845"/>
                  </a:lnTo>
                  <a:lnTo>
                    <a:pt x="155" y="847"/>
                  </a:lnTo>
                  <a:lnTo>
                    <a:pt x="154" y="849"/>
                  </a:lnTo>
                  <a:lnTo>
                    <a:pt x="155" y="851"/>
                  </a:lnTo>
                  <a:lnTo>
                    <a:pt x="155" y="853"/>
                  </a:lnTo>
                  <a:lnTo>
                    <a:pt x="154" y="853"/>
                  </a:lnTo>
                  <a:lnTo>
                    <a:pt x="153" y="854"/>
                  </a:lnTo>
                  <a:lnTo>
                    <a:pt x="151" y="854"/>
                  </a:lnTo>
                  <a:lnTo>
                    <a:pt x="150" y="854"/>
                  </a:lnTo>
                  <a:lnTo>
                    <a:pt x="150" y="855"/>
                  </a:lnTo>
                  <a:lnTo>
                    <a:pt x="149" y="855"/>
                  </a:lnTo>
                  <a:lnTo>
                    <a:pt x="148" y="855"/>
                  </a:lnTo>
                  <a:lnTo>
                    <a:pt x="148" y="854"/>
                  </a:lnTo>
                  <a:lnTo>
                    <a:pt x="148" y="853"/>
                  </a:lnTo>
                  <a:lnTo>
                    <a:pt x="147" y="853"/>
                  </a:lnTo>
                  <a:lnTo>
                    <a:pt x="145" y="853"/>
                  </a:lnTo>
                  <a:lnTo>
                    <a:pt x="145" y="851"/>
                  </a:lnTo>
                  <a:lnTo>
                    <a:pt x="145" y="850"/>
                  </a:lnTo>
                  <a:lnTo>
                    <a:pt x="144" y="849"/>
                  </a:lnTo>
                  <a:lnTo>
                    <a:pt x="143" y="848"/>
                  </a:lnTo>
                  <a:lnTo>
                    <a:pt x="142" y="847"/>
                  </a:lnTo>
                  <a:lnTo>
                    <a:pt x="142" y="848"/>
                  </a:lnTo>
                  <a:lnTo>
                    <a:pt x="142" y="849"/>
                  </a:lnTo>
                  <a:lnTo>
                    <a:pt x="139" y="850"/>
                  </a:lnTo>
                  <a:lnTo>
                    <a:pt x="141" y="851"/>
                  </a:lnTo>
                  <a:lnTo>
                    <a:pt x="142" y="853"/>
                  </a:lnTo>
                  <a:lnTo>
                    <a:pt x="141" y="854"/>
                  </a:lnTo>
                  <a:lnTo>
                    <a:pt x="141" y="853"/>
                  </a:lnTo>
                  <a:lnTo>
                    <a:pt x="141" y="854"/>
                  </a:lnTo>
                  <a:lnTo>
                    <a:pt x="142" y="854"/>
                  </a:lnTo>
                  <a:lnTo>
                    <a:pt x="142" y="855"/>
                  </a:lnTo>
                  <a:lnTo>
                    <a:pt x="141" y="856"/>
                  </a:lnTo>
                  <a:lnTo>
                    <a:pt x="141" y="857"/>
                  </a:lnTo>
                  <a:lnTo>
                    <a:pt x="141" y="860"/>
                  </a:lnTo>
                  <a:lnTo>
                    <a:pt x="139" y="860"/>
                  </a:lnTo>
                  <a:lnTo>
                    <a:pt x="139" y="861"/>
                  </a:lnTo>
                  <a:lnTo>
                    <a:pt x="141" y="861"/>
                  </a:lnTo>
                  <a:lnTo>
                    <a:pt x="141" y="862"/>
                  </a:lnTo>
                  <a:lnTo>
                    <a:pt x="139" y="862"/>
                  </a:lnTo>
                  <a:lnTo>
                    <a:pt x="138" y="861"/>
                  </a:lnTo>
                  <a:lnTo>
                    <a:pt x="139" y="862"/>
                  </a:lnTo>
                  <a:lnTo>
                    <a:pt x="139" y="863"/>
                  </a:lnTo>
                  <a:lnTo>
                    <a:pt x="137" y="863"/>
                  </a:lnTo>
                  <a:lnTo>
                    <a:pt x="136" y="865"/>
                  </a:lnTo>
                  <a:lnTo>
                    <a:pt x="135" y="865"/>
                  </a:lnTo>
                  <a:lnTo>
                    <a:pt x="133" y="865"/>
                  </a:lnTo>
                  <a:lnTo>
                    <a:pt x="133" y="866"/>
                  </a:lnTo>
                  <a:lnTo>
                    <a:pt x="132" y="866"/>
                  </a:lnTo>
                  <a:lnTo>
                    <a:pt x="132" y="867"/>
                  </a:lnTo>
                  <a:lnTo>
                    <a:pt x="131" y="868"/>
                  </a:lnTo>
                  <a:lnTo>
                    <a:pt x="130" y="868"/>
                  </a:lnTo>
                  <a:lnTo>
                    <a:pt x="129" y="868"/>
                  </a:lnTo>
                  <a:lnTo>
                    <a:pt x="129" y="867"/>
                  </a:lnTo>
                  <a:lnTo>
                    <a:pt x="129" y="865"/>
                  </a:lnTo>
                  <a:lnTo>
                    <a:pt x="129" y="863"/>
                  </a:lnTo>
                  <a:lnTo>
                    <a:pt x="127" y="863"/>
                  </a:lnTo>
                  <a:lnTo>
                    <a:pt x="127" y="862"/>
                  </a:lnTo>
                  <a:lnTo>
                    <a:pt x="126" y="862"/>
                  </a:lnTo>
                  <a:lnTo>
                    <a:pt x="125" y="861"/>
                  </a:lnTo>
                  <a:lnTo>
                    <a:pt x="124" y="861"/>
                  </a:lnTo>
                  <a:lnTo>
                    <a:pt x="123" y="861"/>
                  </a:lnTo>
                  <a:lnTo>
                    <a:pt x="121" y="861"/>
                  </a:lnTo>
                  <a:lnTo>
                    <a:pt x="121" y="860"/>
                  </a:lnTo>
                  <a:lnTo>
                    <a:pt x="121" y="859"/>
                  </a:lnTo>
                  <a:lnTo>
                    <a:pt x="120" y="857"/>
                  </a:lnTo>
                  <a:lnTo>
                    <a:pt x="119" y="856"/>
                  </a:lnTo>
                  <a:lnTo>
                    <a:pt x="118" y="856"/>
                  </a:lnTo>
                  <a:lnTo>
                    <a:pt x="117" y="856"/>
                  </a:lnTo>
                  <a:lnTo>
                    <a:pt x="115" y="856"/>
                  </a:lnTo>
                  <a:lnTo>
                    <a:pt x="114" y="855"/>
                  </a:lnTo>
                  <a:lnTo>
                    <a:pt x="109" y="855"/>
                  </a:lnTo>
                  <a:lnTo>
                    <a:pt x="108" y="854"/>
                  </a:lnTo>
                  <a:lnTo>
                    <a:pt x="107" y="853"/>
                  </a:lnTo>
                  <a:lnTo>
                    <a:pt x="107" y="854"/>
                  </a:lnTo>
                  <a:lnTo>
                    <a:pt x="106" y="854"/>
                  </a:lnTo>
                  <a:lnTo>
                    <a:pt x="105" y="854"/>
                  </a:lnTo>
                  <a:lnTo>
                    <a:pt x="105" y="855"/>
                  </a:lnTo>
                  <a:lnTo>
                    <a:pt x="103" y="855"/>
                  </a:lnTo>
                  <a:lnTo>
                    <a:pt x="102" y="855"/>
                  </a:lnTo>
                  <a:lnTo>
                    <a:pt x="101" y="855"/>
                  </a:lnTo>
                  <a:lnTo>
                    <a:pt x="100" y="855"/>
                  </a:lnTo>
                  <a:lnTo>
                    <a:pt x="100" y="853"/>
                  </a:lnTo>
                  <a:lnTo>
                    <a:pt x="99" y="853"/>
                  </a:lnTo>
                  <a:lnTo>
                    <a:pt x="96" y="853"/>
                  </a:lnTo>
                  <a:lnTo>
                    <a:pt x="95" y="851"/>
                  </a:lnTo>
                  <a:lnTo>
                    <a:pt x="94" y="850"/>
                  </a:lnTo>
                  <a:lnTo>
                    <a:pt x="94" y="848"/>
                  </a:lnTo>
                  <a:lnTo>
                    <a:pt x="94" y="849"/>
                  </a:lnTo>
                  <a:lnTo>
                    <a:pt x="92" y="849"/>
                  </a:lnTo>
                  <a:lnTo>
                    <a:pt x="91" y="849"/>
                  </a:lnTo>
                  <a:lnTo>
                    <a:pt x="89" y="848"/>
                  </a:lnTo>
                  <a:lnTo>
                    <a:pt x="89" y="847"/>
                  </a:lnTo>
                  <a:lnTo>
                    <a:pt x="89" y="845"/>
                  </a:lnTo>
                  <a:lnTo>
                    <a:pt x="88" y="844"/>
                  </a:lnTo>
                  <a:lnTo>
                    <a:pt x="88" y="843"/>
                  </a:lnTo>
                  <a:lnTo>
                    <a:pt x="86" y="843"/>
                  </a:lnTo>
                  <a:lnTo>
                    <a:pt x="86" y="841"/>
                  </a:lnTo>
                  <a:lnTo>
                    <a:pt x="88" y="841"/>
                  </a:lnTo>
                  <a:lnTo>
                    <a:pt x="88" y="842"/>
                  </a:lnTo>
                  <a:lnTo>
                    <a:pt x="89" y="842"/>
                  </a:lnTo>
                  <a:lnTo>
                    <a:pt x="89" y="839"/>
                  </a:lnTo>
                  <a:lnTo>
                    <a:pt x="89" y="838"/>
                  </a:lnTo>
                  <a:lnTo>
                    <a:pt x="88" y="838"/>
                  </a:lnTo>
                  <a:lnTo>
                    <a:pt x="88" y="839"/>
                  </a:lnTo>
                  <a:lnTo>
                    <a:pt x="86" y="839"/>
                  </a:lnTo>
                  <a:lnTo>
                    <a:pt x="85" y="841"/>
                  </a:lnTo>
                  <a:lnTo>
                    <a:pt x="84" y="839"/>
                  </a:lnTo>
                  <a:lnTo>
                    <a:pt x="84" y="838"/>
                  </a:lnTo>
                  <a:lnTo>
                    <a:pt x="84" y="837"/>
                  </a:lnTo>
                  <a:lnTo>
                    <a:pt x="83" y="836"/>
                  </a:lnTo>
                  <a:lnTo>
                    <a:pt x="82" y="837"/>
                  </a:lnTo>
                  <a:lnTo>
                    <a:pt x="80" y="836"/>
                  </a:lnTo>
                  <a:lnTo>
                    <a:pt x="79" y="835"/>
                  </a:lnTo>
                  <a:lnTo>
                    <a:pt x="79" y="833"/>
                  </a:lnTo>
                  <a:lnTo>
                    <a:pt x="79" y="832"/>
                  </a:lnTo>
                  <a:lnTo>
                    <a:pt x="77" y="831"/>
                  </a:lnTo>
                  <a:lnTo>
                    <a:pt x="76" y="831"/>
                  </a:lnTo>
                  <a:lnTo>
                    <a:pt x="76" y="830"/>
                  </a:lnTo>
                  <a:lnTo>
                    <a:pt x="74" y="830"/>
                  </a:lnTo>
                  <a:lnTo>
                    <a:pt x="74" y="827"/>
                  </a:lnTo>
                  <a:lnTo>
                    <a:pt x="74" y="826"/>
                  </a:lnTo>
                  <a:lnTo>
                    <a:pt x="76" y="826"/>
                  </a:lnTo>
                  <a:lnTo>
                    <a:pt x="77" y="825"/>
                  </a:lnTo>
                  <a:lnTo>
                    <a:pt x="77" y="824"/>
                  </a:lnTo>
                  <a:lnTo>
                    <a:pt x="76" y="824"/>
                  </a:lnTo>
                  <a:lnTo>
                    <a:pt x="76" y="823"/>
                  </a:lnTo>
                  <a:lnTo>
                    <a:pt x="74" y="823"/>
                  </a:lnTo>
                  <a:lnTo>
                    <a:pt x="73" y="821"/>
                  </a:lnTo>
                  <a:lnTo>
                    <a:pt x="73" y="823"/>
                  </a:lnTo>
                  <a:lnTo>
                    <a:pt x="72" y="823"/>
                  </a:lnTo>
                  <a:lnTo>
                    <a:pt x="71" y="823"/>
                  </a:lnTo>
                  <a:lnTo>
                    <a:pt x="70" y="820"/>
                  </a:lnTo>
                  <a:lnTo>
                    <a:pt x="68" y="819"/>
                  </a:lnTo>
                  <a:lnTo>
                    <a:pt x="67" y="819"/>
                  </a:lnTo>
                  <a:lnTo>
                    <a:pt x="66" y="819"/>
                  </a:lnTo>
                  <a:lnTo>
                    <a:pt x="65" y="820"/>
                  </a:lnTo>
                  <a:lnTo>
                    <a:pt x="64" y="820"/>
                  </a:lnTo>
                  <a:lnTo>
                    <a:pt x="62" y="819"/>
                  </a:lnTo>
                  <a:lnTo>
                    <a:pt x="61" y="818"/>
                  </a:lnTo>
                  <a:lnTo>
                    <a:pt x="59" y="818"/>
                  </a:lnTo>
                  <a:lnTo>
                    <a:pt x="58" y="819"/>
                  </a:lnTo>
                  <a:lnTo>
                    <a:pt x="56" y="819"/>
                  </a:lnTo>
                  <a:lnTo>
                    <a:pt x="55" y="819"/>
                  </a:lnTo>
                  <a:lnTo>
                    <a:pt x="55" y="818"/>
                  </a:lnTo>
                  <a:lnTo>
                    <a:pt x="54" y="818"/>
                  </a:lnTo>
                  <a:lnTo>
                    <a:pt x="53" y="818"/>
                  </a:lnTo>
                  <a:lnTo>
                    <a:pt x="53" y="817"/>
                  </a:lnTo>
                  <a:lnTo>
                    <a:pt x="53" y="815"/>
                  </a:lnTo>
                  <a:lnTo>
                    <a:pt x="53" y="814"/>
                  </a:lnTo>
                  <a:lnTo>
                    <a:pt x="52" y="814"/>
                  </a:lnTo>
                  <a:lnTo>
                    <a:pt x="53" y="813"/>
                  </a:lnTo>
                  <a:lnTo>
                    <a:pt x="53" y="812"/>
                  </a:lnTo>
                  <a:lnTo>
                    <a:pt x="52" y="812"/>
                  </a:lnTo>
                  <a:lnTo>
                    <a:pt x="50" y="811"/>
                  </a:lnTo>
                  <a:lnTo>
                    <a:pt x="49" y="809"/>
                  </a:lnTo>
                  <a:lnTo>
                    <a:pt x="49" y="808"/>
                  </a:lnTo>
                  <a:lnTo>
                    <a:pt x="48" y="808"/>
                  </a:lnTo>
                  <a:lnTo>
                    <a:pt x="48" y="809"/>
                  </a:lnTo>
                  <a:lnTo>
                    <a:pt x="47" y="808"/>
                  </a:lnTo>
                  <a:lnTo>
                    <a:pt x="47" y="807"/>
                  </a:lnTo>
                  <a:lnTo>
                    <a:pt x="46" y="807"/>
                  </a:lnTo>
                  <a:lnTo>
                    <a:pt x="46" y="808"/>
                  </a:lnTo>
                  <a:lnTo>
                    <a:pt x="44" y="808"/>
                  </a:lnTo>
                  <a:lnTo>
                    <a:pt x="43" y="808"/>
                  </a:lnTo>
                  <a:lnTo>
                    <a:pt x="42" y="808"/>
                  </a:lnTo>
                  <a:lnTo>
                    <a:pt x="41" y="808"/>
                  </a:lnTo>
                  <a:lnTo>
                    <a:pt x="40" y="808"/>
                  </a:lnTo>
                  <a:lnTo>
                    <a:pt x="38" y="808"/>
                  </a:lnTo>
                  <a:lnTo>
                    <a:pt x="37" y="809"/>
                  </a:lnTo>
                  <a:lnTo>
                    <a:pt x="36" y="808"/>
                  </a:lnTo>
                  <a:lnTo>
                    <a:pt x="35" y="807"/>
                  </a:lnTo>
                  <a:lnTo>
                    <a:pt x="33" y="807"/>
                  </a:lnTo>
                  <a:lnTo>
                    <a:pt x="33" y="806"/>
                  </a:lnTo>
                  <a:lnTo>
                    <a:pt x="32" y="806"/>
                  </a:lnTo>
                  <a:lnTo>
                    <a:pt x="32" y="805"/>
                  </a:lnTo>
                  <a:lnTo>
                    <a:pt x="32" y="803"/>
                  </a:lnTo>
                  <a:lnTo>
                    <a:pt x="31" y="802"/>
                  </a:lnTo>
                  <a:lnTo>
                    <a:pt x="31" y="805"/>
                  </a:lnTo>
                  <a:lnTo>
                    <a:pt x="31" y="803"/>
                  </a:lnTo>
                  <a:lnTo>
                    <a:pt x="31" y="802"/>
                  </a:lnTo>
                  <a:lnTo>
                    <a:pt x="31" y="801"/>
                  </a:lnTo>
                  <a:lnTo>
                    <a:pt x="30" y="801"/>
                  </a:lnTo>
                  <a:lnTo>
                    <a:pt x="29" y="800"/>
                  </a:lnTo>
                  <a:lnTo>
                    <a:pt x="29" y="801"/>
                  </a:lnTo>
                  <a:lnTo>
                    <a:pt x="27" y="800"/>
                  </a:lnTo>
                  <a:lnTo>
                    <a:pt x="27" y="799"/>
                  </a:lnTo>
                  <a:lnTo>
                    <a:pt x="25" y="799"/>
                  </a:lnTo>
                  <a:lnTo>
                    <a:pt x="24" y="799"/>
                  </a:lnTo>
                  <a:lnTo>
                    <a:pt x="23" y="797"/>
                  </a:lnTo>
                  <a:lnTo>
                    <a:pt x="21" y="797"/>
                  </a:lnTo>
                  <a:lnTo>
                    <a:pt x="19" y="797"/>
                  </a:lnTo>
                  <a:lnTo>
                    <a:pt x="17" y="796"/>
                  </a:lnTo>
                  <a:lnTo>
                    <a:pt x="14" y="796"/>
                  </a:lnTo>
                  <a:lnTo>
                    <a:pt x="13" y="795"/>
                  </a:lnTo>
                  <a:lnTo>
                    <a:pt x="14" y="794"/>
                  </a:lnTo>
                  <a:lnTo>
                    <a:pt x="15" y="793"/>
                  </a:lnTo>
                  <a:lnTo>
                    <a:pt x="14" y="794"/>
                  </a:lnTo>
                  <a:lnTo>
                    <a:pt x="13" y="794"/>
                  </a:lnTo>
                  <a:lnTo>
                    <a:pt x="13" y="793"/>
                  </a:lnTo>
                  <a:lnTo>
                    <a:pt x="13" y="791"/>
                  </a:lnTo>
                  <a:lnTo>
                    <a:pt x="12" y="790"/>
                  </a:lnTo>
                  <a:lnTo>
                    <a:pt x="12" y="788"/>
                  </a:lnTo>
                  <a:lnTo>
                    <a:pt x="13" y="787"/>
                  </a:lnTo>
                  <a:lnTo>
                    <a:pt x="14" y="785"/>
                  </a:lnTo>
                  <a:lnTo>
                    <a:pt x="13" y="785"/>
                  </a:lnTo>
                  <a:lnTo>
                    <a:pt x="13" y="784"/>
                  </a:lnTo>
                  <a:lnTo>
                    <a:pt x="13" y="783"/>
                  </a:lnTo>
                  <a:lnTo>
                    <a:pt x="12" y="782"/>
                  </a:lnTo>
                  <a:lnTo>
                    <a:pt x="11" y="781"/>
                  </a:lnTo>
                  <a:lnTo>
                    <a:pt x="11" y="779"/>
                  </a:lnTo>
                  <a:lnTo>
                    <a:pt x="12" y="779"/>
                  </a:lnTo>
                  <a:lnTo>
                    <a:pt x="12" y="773"/>
                  </a:lnTo>
                  <a:lnTo>
                    <a:pt x="11" y="773"/>
                  </a:lnTo>
                  <a:lnTo>
                    <a:pt x="11" y="772"/>
                  </a:lnTo>
                  <a:lnTo>
                    <a:pt x="9" y="771"/>
                  </a:lnTo>
                  <a:lnTo>
                    <a:pt x="8" y="771"/>
                  </a:lnTo>
                  <a:lnTo>
                    <a:pt x="7" y="770"/>
                  </a:lnTo>
                  <a:lnTo>
                    <a:pt x="6" y="770"/>
                  </a:lnTo>
                  <a:lnTo>
                    <a:pt x="5" y="768"/>
                  </a:lnTo>
                  <a:lnTo>
                    <a:pt x="2" y="767"/>
                  </a:lnTo>
                  <a:lnTo>
                    <a:pt x="1" y="766"/>
                  </a:lnTo>
                  <a:lnTo>
                    <a:pt x="0" y="765"/>
                  </a:lnTo>
                  <a:lnTo>
                    <a:pt x="0" y="764"/>
                  </a:lnTo>
                  <a:lnTo>
                    <a:pt x="1" y="764"/>
                  </a:lnTo>
                  <a:lnTo>
                    <a:pt x="3" y="764"/>
                  </a:lnTo>
                  <a:lnTo>
                    <a:pt x="5" y="764"/>
                  </a:lnTo>
                  <a:lnTo>
                    <a:pt x="8" y="765"/>
                  </a:lnTo>
                  <a:lnTo>
                    <a:pt x="12" y="766"/>
                  </a:lnTo>
                  <a:lnTo>
                    <a:pt x="15" y="767"/>
                  </a:lnTo>
                  <a:lnTo>
                    <a:pt x="18" y="768"/>
                  </a:lnTo>
                  <a:lnTo>
                    <a:pt x="20" y="770"/>
                  </a:lnTo>
                  <a:lnTo>
                    <a:pt x="25" y="771"/>
                  </a:lnTo>
                  <a:lnTo>
                    <a:pt x="29" y="772"/>
                  </a:lnTo>
                  <a:lnTo>
                    <a:pt x="32" y="772"/>
                  </a:lnTo>
                  <a:lnTo>
                    <a:pt x="36" y="773"/>
                  </a:lnTo>
                  <a:lnTo>
                    <a:pt x="38" y="773"/>
                  </a:lnTo>
                  <a:lnTo>
                    <a:pt x="44" y="773"/>
                  </a:lnTo>
                  <a:lnTo>
                    <a:pt x="49" y="773"/>
                  </a:lnTo>
                  <a:lnTo>
                    <a:pt x="53" y="773"/>
                  </a:lnTo>
                  <a:lnTo>
                    <a:pt x="58" y="773"/>
                  </a:lnTo>
                  <a:lnTo>
                    <a:pt x="60" y="772"/>
                  </a:lnTo>
                  <a:lnTo>
                    <a:pt x="64" y="772"/>
                  </a:lnTo>
                  <a:lnTo>
                    <a:pt x="72" y="772"/>
                  </a:lnTo>
                  <a:lnTo>
                    <a:pt x="74" y="771"/>
                  </a:lnTo>
                  <a:lnTo>
                    <a:pt x="76" y="770"/>
                  </a:lnTo>
                  <a:lnTo>
                    <a:pt x="78" y="767"/>
                  </a:lnTo>
                  <a:lnTo>
                    <a:pt x="79" y="766"/>
                  </a:lnTo>
                  <a:lnTo>
                    <a:pt x="79" y="765"/>
                  </a:lnTo>
                  <a:lnTo>
                    <a:pt x="80" y="764"/>
                  </a:lnTo>
                  <a:lnTo>
                    <a:pt x="80" y="762"/>
                  </a:lnTo>
                  <a:lnTo>
                    <a:pt x="79" y="762"/>
                  </a:lnTo>
                  <a:lnTo>
                    <a:pt x="78" y="764"/>
                  </a:lnTo>
                  <a:lnTo>
                    <a:pt x="78" y="762"/>
                  </a:lnTo>
                  <a:lnTo>
                    <a:pt x="77" y="762"/>
                  </a:lnTo>
                  <a:lnTo>
                    <a:pt x="76" y="762"/>
                  </a:lnTo>
                  <a:lnTo>
                    <a:pt x="74" y="761"/>
                  </a:lnTo>
                  <a:lnTo>
                    <a:pt x="73" y="760"/>
                  </a:lnTo>
                  <a:lnTo>
                    <a:pt x="72" y="759"/>
                  </a:lnTo>
                  <a:lnTo>
                    <a:pt x="71" y="759"/>
                  </a:lnTo>
                  <a:lnTo>
                    <a:pt x="71" y="760"/>
                  </a:lnTo>
                  <a:lnTo>
                    <a:pt x="70" y="759"/>
                  </a:lnTo>
                  <a:lnTo>
                    <a:pt x="68" y="759"/>
                  </a:lnTo>
                  <a:lnTo>
                    <a:pt x="67" y="759"/>
                  </a:lnTo>
                  <a:lnTo>
                    <a:pt x="66" y="759"/>
                  </a:lnTo>
                  <a:lnTo>
                    <a:pt x="65" y="759"/>
                  </a:lnTo>
                  <a:lnTo>
                    <a:pt x="64" y="758"/>
                  </a:lnTo>
                  <a:lnTo>
                    <a:pt x="62" y="759"/>
                  </a:lnTo>
                  <a:lnTo>
                    <a:pt x="62" y="758"/>
                  </a:lnTo>
                  <a:lnTo>
                    <a:pt x="62" y="756"/>
                  </a:lnTo>
                  <a:lnTo>
                    <a:pt x="61" y="755"/>
                  </a:lnTo>
                  <a:lnTo>
                    <a:pt x="61" y="756"/>
                  </a:lnTo>
                  <a:lnTo>
                    <a:pt x="61" y="758"/>
                  </a:lnTo>
                  <a:lnTo>
                    <a:pt x="60" y="758"/>
                  </a:lnTo>
                  <a:lnTo>
                    <a:pt x="60" y="756"/>
                  </a:lnTo>
                  <a:lnTo>
                    <a:pt x="59" y="756"/>
                  </a:lnTo>
                  <a:lnTo>
                    <a:pt x="59" y="755"/>
                  </a:lnTo>
                  <a:lnTo>
                    <a:pt x="58" y="754"/>
                  </a:lnTo>
                  <a:lnTo>
                    <a:pt x="58" y="756"/>
                  </a:lnTo>
                  <a:lnTo>
                    <a:pt x="58" y="755"/>
                  </a:lnTo>
                  <a:lnTo>
                    <a:pt x="56" y="755"/>
                  </a:lnTo>
                  <a:lnTo>
                    <a:pt x="55" y="755"/>
                  </a:lnTo>
                  <a:lnTo>
                    <a:pt x="54" y="754"/>
                  </a:lnTo>
                  <a:lnTo>
                    <a:pt x="53" y="753"/>
                  </a:lnTo>
                  <a:lnTo>
                    <a:pt x="53" y="752"/>
                  </a:lnTo>
                  <a:lnTo>
                    <a:pt x="52" y="750"/>
                  </a:lnTo>
                  <a:lnTo>
                    <a:pt x="52" y="749"/>
                  </a:lnTo>
                  <a:lnTo>
                    <a:pt x="50" y="749"/>
                  </a:lnTo>
                  <a:lnTo>
                    <a:pt x="49" y="748"/>
                  </a:lnTo>
                  <a:lnTo>
                    <a:pt x="49" y="747"/>
                  </a:lnTo>
                  <a:lnTo>
                    <a:pt x="48" y="747"/>
                  </a:lnTo>
                  <a:lnTo>
                    <a:pt x="48" y="746"/>
                  </a:lnTo>
                  <a:lnTo>
                    <a:pt x="47" y="746"/>
                  </a:lnTo>
                  <a:lnTo>
                    <a:pt x="46" y="744"/>
                  </a:lnTo>
                  <a:lnTo>
                    <a:pt x="47" y="743"/>
                  </a:lnTo>
                  <a:lnTo>
                    <a:pt x="46" y="744"/>
                  </a:lnTo>
                  <a:lnTo>
                    <a:pt x="46" y="743"/>
                  </a:lnTo>
                  <a:lnTo>
                    <a:pt x="44" y="742"/>
                  </a:lnTo>
                  <a:lnTo>
                    <a:pt x="44" y="741"/>
                  </a:lnTo>
                  <a:lnTo>
                    <a:pt x="46" y="740"/>
                  </a:lnTo>
                  <a:lnTo>
                    <a:pt x="47" y="741"/>
                  </a:lnTo>
                  <a:lnTo>
                    <a:pt x="49" y="740"/>
                  </a:lnTo>
                  <a:lnTo>
                    <a:pt x="55" y="741"/>
                  </a:lnTo>
                  <a:lnTo>
                    <a:pt x="60" y="741"/>
                  </a:lnTo>
                  <a:lnTo>
                    <a:pt x="62" y="742"/>
                  </a:lnTo>
                  <a:lnTo>
                    <a:pt x="65" y="741"/>
                  </a:lnTo>
                  <a:lnTo>
                    <a:pt x="67" y="741"/>
                  </a:lnTo>
                  <a:lnTo>
                    <a:pt x="68" y="740"/>
                  </a:lnTo>
                  <a:lnTo>
                    <a:pt x="68" y="738"/>
                  </a:lnTo>
                  <a:lnTo>
                    <a:pt x="70" y="737"/>
                  </a:lnTo>
                  <a:lnTo>
                    <a:pt x="68" y="737"/>
                  </a:lnTo>
                  <a:lnTo>
                    <a:pt x="68" y="736"/>
                  </a:lnTo>
                  <a:lnTo>
                    <a:pt x="67" y="735"/>
                  </a:lnTo>
                  <a:lnTo>
                    <a:pt x="66" y="734"/>
                  </a:lnTo>
                  <a:lnTo>
                    <a:pt x="66" y="732"/>
                  </a:lnTo>
                  <a:lnTo>
                    <a:pt x="65" y="732"/>
                  </a:lnTo>
                  <a:lnTo>
                    <a:pt x="64" y="732"/>
                  </a:lnTo>
                  <a:lnTo>
                    <a:pt x="62" y="731"/>
                  </a:lnTo>
                  <a:lnTo>
                    <a:pt x="61" y="730"/>
                  </a:lnTo>
                  <a:lnTo>
                    <a:pt x="60" y="730"/>
                  </a:lnTo>
                  <a:lnTo>
                    <a:pt x="59" y="730"/>
                  </a:lnTo>
                  <a:lnTo>
                    <a:pt x="58" y="730"/>
                  </a:lnTo>
                  <a:lnTo>
                    <a:pt x="56" y="730"/>
                  </a:lnTo>
                  <a:lnTo>
                    <a:pt x="56" y="729"/>
                  </a:lnTo>
                  <a:lnTo>
                    <a:pt x="55" y="729"/>
                  </a:lnTo>
                  <a:lnTo>
                    <a:pt x="55" y="728"/>
                  </a:lnTo>
                  <a:lnTo>
                    <a:pt x="54" y="728"/>
                  </a:lnTo>
                  <a:lnTo>
                    <a:pt x="53" y="728"/>
                  </a:lnTo>
                  <a:lnTo>
                    <a:pt x="53" y="726"/>
                  </a:lnTo>
                  <a:lnTo>
                    <a:pt x="52" y="726"/>
                  </a:lnTo>
                  <a:lnTo>
                    <a:pt x="50" y="725"/>
                  </a:lnTo>
                  <a:lnTo>
                    <a:pt x="49" y="725"/>
                  </a:lnTo>
                  <a:lnTo>
                    <a:pt x="49" y="724"/>
                  </a:lnTo>
                  <a:lnTo>
                    <a:pt x="48" y="724"/>
                  </a:lnTo>
                  <a:lnTo>
                    <a:pt x="47" y="724"/>
                  </a:lnTo>
                  <a:lnTo>
                    <a:pt x="46" y="723"/>
                  </a:lnTo>
                  <a:lnTo>
                    <a:pt x="46" y="722"/>
                  </a:lnTo>
                  <a:lnTo>
                    <a:pt x="44" y="720"/>
                  </a:lnTo>
                  <a:lnTo>
                    <a:pt x="43" y="720"/>
                  </a:lnTo>
                  <a:lnTo>
                    <a:pt x="42" y="719"/>
                  </a:lnTo>
                  <a:lnTo>
                    <a:pt x="41" y="718"/>
                  </a:lnTo>
                  <a:lnTo>
                    <a:pt x="41" y="717"/>
                  </a:lnTo>
                  <a:lnTo>
                    <a:pt x="42" y="716"/>
                  </a:lnTo>
                  <a:lnTo>
                    <a:pt x="41" y="713"/>
                  </a:lnTo>
                  <a:lnTo>
                    <a:pt x="40" y="712"/>
                  </a:lnTo>
                  <a:lnTo>
                    <a:pt x="38" y="711"/>
                  </a:lnTo>
                  <a:lnTo>
                    <a:pt x="38" y="710"/>
                  </a:lnTo>
                  <a:lnTo>
                    <a:pt x="38" y="708"/>
                  </a:lnTo>
                  <a:lnTo>
                    <a:pt x="40" y="708"/>
                  </a:lnTo>
                  <a:lnTo>
                    <a:pt x="41" y="710"/>
                  </a:lnTo>
                  <a:lnTo>
                    <a:pt x="43" y="711"/>
                  </a:lnTo>
                  <a:lnTo>
                    <a:pt x="44" y="711"/>
                  </a:lnTo>
                  <a:lnTo>
                    <a:pt x="44" y="710"/>
                  </a:lnTo>
                  <a:lnTo>
                    <a:pt x="43" y="710"/>
                  </a:lnTo>
                  <a:lnTo>
                    <a:pt x="42" y="710"/>
                  </a:lnTo>
                  <a:lnTo>
                    <a:pt x="41" y="708"/>
                  </a:lnTo>
                  <a:lnTo>
                    <a:pt x="40" y="707"/>
                  </a:lnTo>
                  <a:lnTo>
                    <a:pt x="41" y="707"/>
                  </a:lnTo>
                  <a:lnTo>
                    <a:pt x="42" y="706"/>
                  </a:lnTo>
                  <a:lnTo>
                    <a:pt x="43" y="706"/>
                  </a:lnTo>
                  <a:lnTo>
                    <a:pt x="46" y="705"/>
                  </a:lnTo>
                  <a:lnTo>
                    <a:pt x="47" y="704"/>
                  </a:lnTo>
                  <a:lnTo>
                    <a:pt x="46" y="704"/>
                  </a:lnTo>
                  <a:lnTo>
                    <a:pt x="44" y="704"/>
                  </a:lnTo>
                  <a:lnTo>
                    <a:pt x="43" y="704"/>
                  </a:lnTo>
                  <a:lnTo>
                    <a:pt x="42" y="704"/>
                  </a:lnTo>
                  <a:lnTo>
                    <a:pt x="41" y="702"/>
                  </a:lnTo>
                  <a:lnTo>
                    <a:pt x="41" y="701"/>
                  </a:lnTo>
                  <a:lnTo>
                    <a:pt x="42" y="702"/>
                  </a:lnTo>
                  <a:lnTo>
                    <a:pt x="43" y="702"/>
                  </a:lnTo>
                  <a:lnTo>
                    <a:pt x="43" y="701"/>
                  </a:lnTo>
                  <a:lnTo>
                    <a:pt x="42" y="701"/>
                  </a:lnTo>
                  <a:lnTo>
                    <a:pt x="41" y="701"/>
                  </a:lnTo>
                  <a:lnTo>
                    <a:pt x="40" y="700"/>
                  </a:lnTo>
                  <a:lnTo>
                    <a:pt x="41" y="700"/>
                  </a:lnTo>
                  <a:lnTo>
                    <a:pt x="42" y="700"/>
                  </a:lnTo>
                  <a:lnTo>
                    <a:pt x="42" y="699"/>
                  </a:lnTo>
                  <a:lnTo>
                    <a:pt x="43" y="698"/>
                  </a:lnTo>
                  <a:lnTo>
                    <a:pt x="44" y="699"/>
                  </a:lnTo>
                  <a:lnTo>
                    <a:pt x="46" y="699"/>
                  </a:lnTo>
                  <a:lnTo>
                    <a:pt x="46" y="698"/>
                  </a:lnTo>
                  <a:lnTo>
                    <a:pt x="47" y="698"/>
                  </a:lnTo>
                  <a:lnTo>
                    <a:pt x="47" y="699"/>
                  </a:lnTo>
                  <a:lnTo>
                    <a:pt x="48" y="701"/>
                  </a:lnTo>
                  <a:lnTo>
                    <a:pt x="48" y="702"/>
                  </a:lnTo>
                  <a:lnTo>
                    <a:pt x="50" y="702"/>
                  </a:lnTo>
                  <a:lnTo>
                    <a:pt x="50" y="704"/>
                  </a:lnTo>
                  <a:lnTo>
                    <a:pt x="50" y="705"/>
                  </a:lnTo>
                  <a:lnTo>
                    <a:pt x="52" y="705"/>
                  </a:lnTo>
                  <a:lnTo>
                    <a:pt x="53" y="706"/>
                  </a:lnTo>
                  <a:lnTo>
                    <a:pt x="54" y="706"/>
                  </a:lnTo>
                  <a:lnTo>
                    <a:pt x="55" y="707"/>
                  </a:lnTo>
                  <a:lnTo>
                    <a:pt x="56" y="708"/>
                  </a:lnTo>
                  <a:lnTo>
                    <a:pt x="59" y="708"/>
                  </a:lnTo>
                  <a:lnTo>
                    <a:pt x="60" y="708"/>
                  </a:lnTo>
                  <a:lnTo>
                    <a:pt x="61" y="710"/>
                  </a:lnTo>
                  <a:lnTo>
                    <a:pt x="64" y="710"/>
                  </a:lnTo>
                  <a:lnTo>
                    <a:pt x="66" y="711"/>
                  </a:lnTo>
                  <a:lnTo>
                    <a:pt x="67" y="711"/>
                  </a:lnTo>
                  <a:lnTo>
                    <a:pt x="68" y="711"/>
                  </a:lnTo>
                  <a:lnTo>
                    <a:pt x="70" y="711"/>
                  </a:lnTo>
                  <a:lnTo>
                    <a:pt x="68" y="711"/>
                  </a:lnTo>
                  <a:lnTo>
                    <a:pt x="67" y="710"/>
                  </a:lnTo>
                  <a:lnTo>
                    <a:pt x="67" y="708"/>
                  </a:lnTo>
                  <a:lnTo>
                    <a:pt x="68" y="707"/>
                  </a:lnTo>
                  <a:lnTo>
                    <a:pt x="68" y="706"/>
                  </a:lnTo>
                  <a:lnTo>
                    <a:pt x="70" y="706"/>
                  </a:lnTo>
                  <a:lnTo>
                    <a:pt x="71" y="705"/>
                  </a:lnTo>
                  <a:lnTo>
                    <a:pt x="70" y="705"/>
                  </a:lnTo>
                  <a:lnTo>
                    <a:pt x="68" y="705"/>
                  </a:lnTo>
                  <a:lnTo>
                    <a:pt x="68" y="704"/>
                  </a:lnTo>
                  <a:lnTo>
                    <a:pt x="67" y="705"/>
                  </a:lnTo>
                  <a:lnTo>
                    <a:pt x="67" y="704"/>
                  </a:lnTo>
                  <a:lnTo>
                    <a:pt x="67" y="702"/>
                  </a:lnTo>
                  <a:lnTo>
                    <a:pt x="68" y="702"/>
                  </a:lnTo>
                  <a:lnTo>
                    <a:pt x="67" y="701"/>
                  </a:lnTo>
                  <a:lnTo>
                    <a:pt x="67" y="700"/>
                  </a:lnTo>
                  <a:lnTo>
                    <a:pt x="68" y="700"/>
                  </a:lnTo>
                  <a:lnTo>
                    <a:pt x="70" y="700"/>
                  </a:lnTo>
                  <a:lnTo>
                    <a:pt x="71" y="700"/>
                  </a:lnTo>
                  <a:lnTo>
                    <a:pt x="72" y="700"/>
                  </a:lnTo>
                  <a:lnTo>
                    <a:pt x="73" y="700"/>
                  </a:lnTo>
                  <a:lnTo>
                    <a:pt x="74" y="701"/>
                  </a:lnTo>
                  <a:lnTo>
                    <a:pt x="76" y="701"/>
                  </a:lnTo>
                  <a:lnTo>
                    <a:pt x="77" y="701"/>
                  </a:lnTo>
                  <a:lnTo>
                    <a:pt x="77" y="700"/>
                  </a:lnTo>
                  <a:lnTo>
                    <a:pt x="74" y="700"/>
                  </a:lnTo>
                  <a:lnTo>
                    <a:pt x="74" y="699"/>
                  </a:lnTo>
                  <a:lnTo>
                    <a:pt x="74" y="698"/>
                  </a:lnTo>
                  <a:lnTo>
                    <a:pt x="76" y="698"/>
                  </a:lnTo>
                  <a:lnTo>
                    <a:pt x="76" y="696"/>
                  </a:lnTo>
                  <a:lnTo>
                    <a:pt x="76" y="695"/>
                  </a:lnTo>
                  <a:lnTo>
                    <a:pt x="76" y="694"/>
                  </a:lnTo>
                  <a:lnTo>
                    <a:pt x="77" y="694"/>
                  </a:lnTo>
                  <a:lnTo>
                    <a:pt x="78" y="693"/>
                  </a:lnTo>
                  <a:lnTo>
                    <a:pt x="79" y="693"/>
                  </a:lnTo>
                  <a:lnTo>
                    <a:pt x="79" y="694"/>
                  </a:lnTo>
                  <a:lnTo>
                    <a:pt x="79" y="695"/>
                  </a:lnTo>
                  <a:lnTo>
                    <a:pt x="80" y="696"/>
                  </a:lnTo>
                  <a:lnTo>
                    <a:pt x="82" y="698"/>
                  </a:lnTo>
                  <a:lnTo>
                    <a:pt x="83" y="698"/>
                  </a:lnTo>
                  <a:lnTo>
                    <a:pt x="84" y="699"/>
                  </a:lnTo>
                  <a:lnTo>
                    <a:pt x="85" y="700"/>
                  </a:lnTo>
                  <a:lnTo>
                    <a:pt x="84" y="700"/>
                  </a:lnTo>
                  <a:lnTo>
                    <a:pt x="83" y="699"/>
                  </a:lnTo>
                  <a:lnTo>
                    <a:pt x="83" y="700"/>
                  </a:lnTo>
                  <a:lnTo>
                    <a:pt x="84" y="700"/>
                  </a:lnTo>
                  <a:lnTo>
                    <a:pt x="84" y="701"/>
                  </a:lnTo>
                  <a:lnTo>
                    <a:pt x="84" y="702"/>
                  </a:lnTo>
                  <a:lnTo>
                    <a:pt x="83" y="702"/>
                  </a:lnTo>
                  <a:lnTo>
                    <a:pt x="84" y="702"/>
                  </a:lnTo>
                  <a:lnTo>
                    <a:pt x="84" y="704"/>
                  </a:lnTo>
                  <a:lnTo>
                    <a:pt x="84" y="705"/>
                  </a:lnTo>
                  <a:lnTo>
                    <a:pt x="85" y="706"/>
                  </a:lnTo>
                  <a:lnTo>
                    <a:pt x="86" y="706"/>
                  </a:lnTo>
                  <a:lnTo>
                    <a:pt x="88" y="706"/>
                  </a:lnTo>
                  <a:lnTo>
                    <a:pt x="86" y="707"/>
                  </a:lnTo>
                  <a:lnTo>
                    <a:pt x="85" y="707"/>
                  </a:lnTo>
                  <a:lnTo>
                    <a:pt x="84" y="707"/>
                  </a:lnTo>
                  <a:lnTo>
                    <a:pt x="84" y="708"/>
                  </a:lnTo>
                  <a:lnTo>
                    <a:pt x="84" y="710"/>
                  </a:lnTo>
                  <a:lnTo>
                    <a:pt x="85" y="710"/>
                  </a:lnTo>
                  <a:lnTo>
                    <a:pt x="86" y="708"/>
                  </a:lnTo>
                  <a:lnTo>
                    <a:pt x="86" y="710"/>
                  </a:lnTo>
                  <a:lnTo>
                    <a:pt x="88" y="710"/>
                  </a:lnTo>
                  <a:lnTo>
                    <a:pt x="90" y="711"/>
                  </a:lnTo>
                  <a:lnTo>
                    <a:pt x="91" y="711"/>
                  </a:lnTo>
                  <a:lnTo>
                    <a:pt x="94" y="711"/>
                  </a:lnTo>
                  <a:lnTo>
                    <a:pt x="95" y="712"/>
                  </a:lnTo>
                  <a:lnTo>
                    <a:pt x="97" y="712"/>
                  </a:lnTo>
                  <a:lnTo>
                    <a:pt x="101" y="712"/>
                  </a:lnTo>
                  <a:lnTo>
                    <a:pt x="105" y="712"/>
                  </a:lnTo>
                  <a:lnTo>
                    <a:pt x="106" y="711"/>
                  </a:lnTo>
                  <a:lnTo>
                    <a:pt x="107" y="711"/>
                  </a:lnTo>
                  <a:lnTo>
                    <a:pt x="111" y="711"/>
                  </a:lnTo>
                  <a:lnTo>
                    <a:pt x="113" y="710"/>
                  </a:lnTo>
                  <a:lnTo>
                    <a:pt x="114" y="708"/>
                  </a:lnTo>
                  <a:lnTo>
                    <a:pt x="114" y="707"/>
                  </a:lnTo>
                  <a:lnTo>
                    <a:pt x="114" y="706"/>
                  </a:lnTo>
                  <a:lnTo>
                    <a:pt x="113" y="707"/>
                  </a:lnTo>
                  <a:lnTo>
                    <a:pt x="112" y="706"/>
                  </a:lnTo>
                  <a:lnTo>
                    <a:pt x="112" y="705"/>
                  </a:lnTo>
                  <a:lnTo>
                    <a:pt x="111" y="707"/>
                  </a:lnTo>
                  <a:lnTo>
                    <a:pt x="108" y="708"/>
                  </a:lnTo>
                  <a:lnTo>
                    <a:pt x="107" y="710"/>
                  </a:lnTo>
                  <a:lnTo>
                    <a:pt x="107" y="708"/>
                  </a:lnTo>
                  <a:lnTo>
                    <a:pt x="108" y="706"/>
                  </a:lnTo>
                  <a:lnTo>
                    <a:pt x="111" y="705"/>
                  </a:lnTo>
                  <a:lnTo>
                    <a:pt x="111" y="704"/>
                  </a:lnTo>
                  <a:lnTo>
                    <a:pt x="111" y="702"/>
                  </a:lnTo>
                  <a:lnTo>
                    <a:pt x="111" y="701"/>
                  </a:lnTo>
                  <a:lnTo>
                    <a:pt x="109" y="702"/>
                  </a:lnTo>
                  <a:lnTo>
                    <a:pt x="109" y="704"/>
                  </a:lnTo>
                  <a:lnTo>
                    <a:pt x="109" y="702"/>
                  </a:lnTo>
                  <a:lnTo>
                    <a:pt x="108" y="702"/>
                  </a:lnTo>
                  <a:lnTo>
                    <a:pt x="106" y="702"/>
                  </a:lnTo>
                  <a:lnTo>
                    <a:pt x="106" y="704"/>
                  </a:lnTo>
                  <a:lnTo>
                    <a:pt x="106" y="702"/>
                  </a:lnTo>
                  <a:lnTo>
                    <a:pt x="106" y="701"/>
                  </a:lnTo>
                  <a:lnTo>
                    <a:pt x="106" y="700"/>
                  </a:lnTo>
                  <a:lnTo>
                    <a:pt x="108" y="699"/>
                  </a:lnTo>
                  <a:lnTo>
                    <a:pt x="108" y="698"/>
                  </a:lnTo>
                  <a:lnTo>
                    <a:pt x="108" y="696"/>
                  </a:lnTo>
                  <a:lnTo>
                    <a:pt x="107" y="695"/>
                  </a:lnTo>
                  <a:lnTo>
                    <a:pt x="107" y="696"/>
                  </a:lnTo>
                  <a:lnTo>
                    <a:pt x="107" y="698"/>
                  </a:lnTo>
                  <a:lnTo>
                    <a:pt x="106" y="698"/>
                  </a:lnTo>
                  <a:lnTo>
                    <a:pt x="105" y="699"/>
                  </a:lnTo>
                  <a:lnTo>
                    <a:pt x="103" y="699"/>
                  </a:lnTo>
                  <a:lnTo>
                    <a:pt x="103" y="698"/>
                  </a:lnTo>
                  <a:lnTo>
                    <a:pt x="102" y="698"/>
                  </a:lnTo>
                  <a:lnTo>
                    <a:pt x="101" y="699"/>
                  </a:lnTo>
                  <a:lnTo>
                    <a:pt x="100" y="699"/>
                  </a:lnTo>
                  <a:lnTo>
                    <a:pt x="100" y="698"/>
                  </a:lnTo>
                  <a:lnTo>
                    <a:pt x="99" y="696"/>
                  </a:lnTo>
                  <a:lnTo>
                    <a:pt x="100" y="695"/>
                  </a:lnTo>
                  <a:lnTo>
                    <a:pt x="100" y="694"/>
                  </a:lnTo>
                  <a:lnTo>
                    <a:pt x="101" y="693"/>
                  </a:lnTo>
                  <a:lnTo>
                    <a:pt x="101" y="692"/>
                  </a:lnTo>
                  <a:lnTo>
                    <a:pt x="101" y="690"/>
                  </a:lnTo>
                  <a:lnTo>
                    <a:pt x="100" y="690"/>
                  </a:lnTo>
                  <a:lnTo>
                    <a:pt x="100" y="692"/>
                  </a:lnTo>
                  <a:lnTo>
                    <a:pt x="97" y="692"/>
                  </a:lnTo>
                  <a:lnTo>
                    <a:pt x="95" y="692"/>
                  </a:lnTo>
                  <a:lnTo>
                    <a:pt x="94" y="693"/>
                  </a:lnTo>
                  <a:lnTo>
                    <a:pt x="92" y="693"/>
                  </a:lnTo>
                  <a:lnTo>
                    <a:pt x="92" y="692"/>
                  </a:lnTo>
                  <a:lnTo>
                    <a:pt x="91" y="692"/>
                  </a:lnTo>
                  <a:lnTo>
                    <a:pt x="91" y="690"/>
                  </a:lnTo>
                  <a:lnTo>
                    <a:pt x="90" y="690"/>
                  </a:lnTo>
                  <a:lnTo>
                    <a:pt x="92" y="689"/>
                  </a:lnTo>
                  <a:lnTo>
                    <a:pt x="95" y="689"/>
                  </a:lnTo>
                  <a:lnTo>
                    <a:pt x="96" y="689"/>
                  </a:lnTo>
                  <a:lnTo>
                    <a:pt x="99" y="688"/>
                  </a:lnTo>
                  <a:lnTo>
                    <a:pt x="99" y="686"/>
                  </a:lnTo>
                  <a:lnTo>
                    <a:pt x="100" y="686"/>
                  </a:lnTo>
                  <a:lnTo>
                    <a:pt x="100" y="684"/>
                  </a:lnTo>
                  <a:lnTo>
                    <a:pt x="99" y="684"/>
                  </a:lnTo>
                  <a:lnTo>
                    <a:pt x="97" y="686"/>
                  </a:lnTo>
                  <a:lnTo>
                    <a:pt x="96" y="686"/>
                  </a:lnTo>
                  <a:lnTo>
                    <a:pt x="95" y="687"/>
                  </a:lnTo>
                  <a:lnTo>
                    <a:pt x="94" y="688"/>
                  </a:lnTo>
                  <a:lnTo>
                    <a:pt x="92" y="687"/>
                  </a:lnTo>
                  <a:lnTo>
                    <a:pt x="92" y="686"/>
                  </a:lnTo>
                  <a:lnTo>
                    <a:pt x="94" y="686"/>
                  </a:lnTo>
                  <a:lnTo>
                    <a:pt x="95" y="684"/>
                  </a:lnTo>
                  <a:lnTo>
                    <a:pt x="97" y="684"/>
                  </a:lnTo>
                  <a:lnTo>
                    <a:pt x="99" y="683"/>
                  </a:lnTo>
                  <a:lnTo>
                    <a:pt x="100" y="683"/>
                  </a:lnTo>
                  <a:lnTo>
                    <a:pt x="101" y="682"/>
                  </a:lnTo>
                  <a:lnTo>
                    <a:pt x="102" y="681"/>
                  </a:lnTo>
                  <a:lnTo>
                    <a:pt x="101" y="681"/>
                  </a:lnTo>
                  <a:lnTo>
                    <a:pt x="100" y="682"/>
                  </a:lnTo>
                  <a:lnTo>
                    <a:pt x="99" y="682"/>
                  </a:lnTo>
                  <a:lnTo>
                    <a:pt x="99" y="683"/>
                  </a:lnTo>
                  <a:lnTo>
                    <a:pt x="97" y="682"/>
                  </a:lnTo>
                  <a:lnTo>
                    <a:pt x="95" y="682"/>
                  </a:lnTo>
                  <a:lnTo>
                    <a:pt x="94" y="682"/>
                  </a:lnTo>
                  <a:lnTo>
                    <a:pt x="94" y="681"/>
                  </a:lnTo>
                  <a:lnTo>
                    <a:pt x="95" y="680"/>
                  </a:lnTo>
                  <a:lnTo>
                    <a:pt x="94" y="678"/>
                  </a:lnTo>
                  <a:lnTo>
                    <a:pt x="92" y="678"/>
                  </a:lnTo>
                  <a:lnTo>
                    <a:pt x="94" y="678"/>
                  </a:lnTo>
                  <a:lnTo>
                    <a:pt x="94" y="677"/>
                  </a:lnTo>
                  <a:lnTo>
                    <a:pt x="92" y="676"/>
                  </a:lnTo>
                  <a:lnTo>
                    <a:pt x="91" y="676"/>
                  </a:lnTo>
                  <a:lnTo>
                    <a:pt x="91" y="674"/>
                  </a:lnTo>
                  <a:lnTo>
                    <a:pt x="94" y="675"/>
                  </a:lnTo>
                  <a:lnTo>
                    <a:pt x="95" y="675"/>
                  </a:lnTo>
                  <a:lnTo>
                    <a:pt x="97" y="674"/>
                  </a:lnTo>
                  <a:lnTo>
                    <a:pt x="101" y="670"/>
                  </a:lnTo>
                  <a:lnTo>
                    <a:pt x="103" y="669"/>
                  </a:lnTo>
                  <a:lnTo>
                    <a:pt x="105" y="668"/>
                  </a:lnTo>
                  <a:lnTo>
                    <a:pt x="105" y="664"/>
                  </a:lnTo>
                  <a:lnTo>
                    <a:pt x="103" y="661"/>
                  </a:lnTo>
                  <a:lnTo>
                    <a:pt x="102" y="665"/>
                  </a:lnTo>
                  <a:lnTo>
                    <a:pt x="102" y="668"/>
                  </a:lnTo>
                  <a:lnTo>
                    <a:pt x="101" y="666"/>
                  </a:lnTo>
                  <a:lnTo>
                    <a:pt x="100" y="666"/>
                  </a:lnTo>
                  <a:lnTo>
                    <a:pt x="100" y="665"/>
                  </a:lnTo>
                  <a:lnTo>
                    <a:pt x="100" y="663"/>
                  </a:lnTo>
                  <a:lnTo>
                    <a:pt x="99" y="663"/>
                  </a:lnTo>
                  <a:lnTo>
                    <a:pt x="97" y="663"/>
                  </a:lnTo>
                  <a:lnTo>
                    <a:pt x="97" y="666"/>
                  </a:lnTo>
                  <a:lnTo>
                    <a:pt x="97" y="668"/>
                  </a:lnTo>
                  <a:lnTo>
                    <a:pt x="96" y="670"/>
                  </a:lnTo>
                  <a:lnTo>
                    <a:pt x="94" y="670"/>
                  </a:lnTo>
                  <a:lnTo>
                    <a:pt x="94" y="669"/>
                  </a:lnTo>
                  <a:lnTo>
                    <a:pt x="95" y="666"/>
                  </a:lnTo>
                  <a:lnTo>
                    <a:pt x="96" y="665"/>
                  </a:lnTo>
                  <a:lnTo>
                    <a:pt x="96" y="664"/>
                  </a:lnTo>
                  <a:lnTo>
                    <a:pt x="96" y="663"/>
                  </a:lnTo>
                  <a:lnTo>
                    <a:pt x="99" y="660"/>
                  </a:lnTo>
                  <a:lnTo>
                    <a:pt x="100" y="659"/>
                  </a:lnTo>
                  <a:lnTo>
                    <a:pt x="100" y="658"/>
                  </a:lnTo>
                  <a:lnTo>
                    <a:pt x="99" y="659"/>
                  </a:lnTo>
                  <a:lnTo>
                    <a:pt x="97" y="659"/>
                  </a:lnTo>
                  <a:lnTo>
                    <a:pt x="99" y="658"/>
                  </a:lnTo>
                  <a:lnTo>
                    <a:pt x="97" y="657"/>
                  </a:lnTo>
                  <a:lnTo>
                    <a:pt x="96" y="659"/>
                  </a:lnTo>
                  <a:lnTo>
                    <a:pt x="96" y="660"/>
                  </a:lnTo>
                  <a:lnTo>
                    <a:pt x="96" y="661"/>
                  </a:lnTo>
                  <a:lnTo>
                    <a:pt x="95" y="663"/>
                  </a:lnTo>
                  <a:lnTo>
                    <a:pt x="94" y="664"/>
                  </a:lnTo>
                  <a:lnTo>
                    <a:pt x="92" y="663"/>
                  </a:lnTo>
                  <a:lnTo>
                    <a:pt x="92" y="660"/>
                  </a:lnTo>
                  <a:lnTo>
                    <a:pt x="91" y="659"/>
                  </a:lnTo>
                  <a:lnTo>
                    <a:pt x="91" y="658"/>
                  </a:lnTo>
                  <a:lnTo>
                    <a:pt x="92" y="657"/>
                  </a:lnTo>
                  <a:lnTo>
                    <a:pt x="94" y="657"/>
                  </a:lnTo>
                  <a:lnTo>
                    <a:pt x="94" y="654"/>
                  </a:lnTo>
                  <a:lnTo>
                    <a:pt x="92" y="657"/>
                  </a:lnTo>
                  <a:lnTo>
                    <a:pt x="91" y="658"/>
                  </a:lnTo>
                  <a:lnTo>
                    <a:pt x="90" y="658"/>
                  </a:lnTo>
                  <a:lnTo>
                    <a:pt x="89" y="659"/>
                  </a:lnTo>
                  <a:lnTo>
                    <a:pt x="88" y="661"/>
                  </a:lnTo>
                  <a:lnTo>
                    <a:pt x="86" y="660"/>
                  </a:lnTo>
                  <a:lnTo>
                    <a:pt x="85" y="660"/>
                  </a:lnTo>
                  <a:lnTo>
                    <a:pt x="85" y="663"/>
                  </a:lnTo>
                  <a:lnTo>
                    <a:pt x="84" y="663"/>
                  </a:lnTo>
                  <a:lnTo>
                    <a:pt x="84" y="661"/>
                  </a:lnTo>
                  <a:lnTo>
                    <a:pt x="83" y="661"/>
                  </a:lnTo>
                  <a:lnTo>
                    <a:pt x="83" y="659"/>
                  </a:lnTo>
                  <a:lnTo>
                    <a:pt x="83" y="658"/>
                  </a:lnTo>
                  <a:lnTo>
                    <a:pt x="82" y="658"/>
                  </a:lnTo>
                  <a:lnTo>
                    <a:pt x="82" y="659"/>
                  </a:lnTo>
                  <a:lnTo>
                    <a:pt x="82" y="664"/>
                  </a:lnTo>
                  <a:lnTo>
                    <a:pt x="82" y="665"/>
                  </a:lnTo>
                  <a:lnTo>
                    <a:pt x="80" y="666"/>
                  </a:lnTo>
                  <a:lnTo>
                    <a:pt x="79" y="665"/>
                  </a:lnTo>
                  <a:lnTo>
                    <a:pt x="79" y="663"/>
                  </a:lnTo>
                  <a:lnTo>
                    <a:pt x="79" y="661"/>
                  </a:lnTo>
                  <a:lnTo>
                    <a:pt x="78" y="659"/>
                  </a:lnTo>
                  <a:lnTo>
                    <a:pt x="77" y="659"/>
                  </a:lnTo>
                  <a:lnTo>
                    <a:pt x="77" y="661"/>
                  </a:lnTo>
                  <a:lnTo>
                    <a:pt x="76" y="663"/>
                  </a:lnTo>
                  <a:lnTo>
                    <a:pt x="74" y="661"/>
                  </a:lnTo>
                  <a:lnTo>
                    <a:pt x="74" y="664"/>
                  </a:lnTo>
                  <a:lnTo>
                    <a:pt x="73" y="664"/>
                  </a:lnTo>
                  <a:lnTo>
                    <a:pt x="72" y="663"/>
                  </a:lnTo>
                  <a:lnTo>
                    <a:pt x="72" y="659"/>
                  </a:lnTo>
                  <a:lnTo>
                    <a:pt x="72" y="658"/>
                  </a:lnTo>
                  <a:lnTo>
                    <a:pt x="70" y="658"/>
                  </a:lnTo>
                  <a:lnTo>
                    <a:pt x="71" y="657"/>
                  </a:lnTo>
                  <a:lnTo>
                    <a:pt x="71" y="655"/>
                  </a:lnTo>
                  <a:lnTo>
                    <a:pt x="74" y="654"/>
                  </a:lnTo>
                  <a:lnTo>
                    <a:pt x="72" y="653"/>
                  </a:lnTo>
                  <a:lnTo>
                    <a:pt x="70" y="653"/>
                  </a:lnTo>
                  <a:lnTo>
                    <a:pt x="70" y="652"/>
                  </a:lnTo>
                  <a:lnTo>
                    <a:pt x="68" y="652"/>
                  </a:lnTo>
                  <a:lnTo>
                    <a:pt x="68" y="653"/>
                  </a:lnTo>
                  <a:lnTo>
                    <a:pt x="67" y="655"/>
                  </a:lnTo>
                  <a:lnTo>
                    <a:pt x="66" y="655"/>
                  </a:lnTo>
                  <a:lnTo>
                    <a:pt x="65" y="654"/>
                  </a:lnTo>
                  <a:lnTo>
                    <a:pt x="62" y="655"/>
                  </a:lnTo>
                  <a:lnTo>
                    <a:pt x="59" y="657"/>
                  </a:lnTo>
                  <a:lnTo>
                    <a:pt x="58" y="657"/>
                  </a:lnTo>
                  <a:lnTo>
                    <a:pt x="59" y="655"/>
                  </a:lnTo>
                  <a:lnTo>
                    <a:pt x="60" y="653"/>
                  </a:lnTo>
                  <a:lnTo>
                    <a:pt x="61" y="653"/>
                  </a:lnTo>
                  <a:lnTo>
                    <a:pt x="66" y="651"/>
                  </a:lnTo>
                  <a:lnTo>
                    <a:pt x="67" y="649"/>
                  </a:lnTo>
                  <a:lnTo>
                    <a:pt x="70" y="648"/>
                  </a:lnTo>
                  <a:lnTo>
                    <a:pt x="72" y="646"/>
                  </a:lnTo>
                  <a:lnTo>
                    <a:pt x="72" y="645"/>
                  </a:lnTo>
                  <a:lnTo>
                    <a:pt x="71" y="643"/>
                  </a:lnTo>
                  <a:lnTo>
                    <a:pt x="70" y="646"/>
                  </a:lnTo>
                  <a:lnTo>
                    <a:pt x="68" y="647"/>
                  </a:lnTo>
                  <a:lnTo>
                    <a:pt x="67" y="648"/>
                  </a:lnTo>
                  <a:lnTo>
                    <a:pt x="66" y="648"/>
                  </a:lnTo>
                  <a:lnTo>
                    <a:pt x="65" y="648"/>
                  </a:lnTo>
                  <a:lnTo>
                    <a:pt x="64" y="647"/>
                  </a:lnTo>
                  <a:lnTo>
                    <a:pt x="64" y="645"/>
                  </a:lnTo>
                  <a:lnTo>
                    <a:pt x="64" y="643"/>
                  </a:lnTo>
                  <a:lnTo>
                    <a:pt x="62" y="645"/>
                  </a:lnTo>
                  <a:lnTo>
                    <a:pt x="62" y="647"/>
                  </a:lnTo>
                  <a:lnTo>
                    <a:pt x="62" y="648"/>
                  </a:lnTo>
                  <a:lnTo>
                    <a:pt x="62" y="651"/>
                  </a:lnTo>
                  <a:lnTo>
                    <a:pt x="61" y="652"/>
                  </a:lnTo>
                  <a:lnTo>
                    <a:pt x="60" y="652"/>
                  </a:lnTo>
                  <a:lnTo>
                    <a:pt x="60" y="651"/>
                  </a:lnTo>
                  <a:lnTo>
                    <a:pt x="60" y="649"/>
                  </a:lnTo>
                  <a:lnTo>
                    <a:pt x="60" y="648"/>
                  </a:lnTo>
                  <a:lnTo>
                    <a:pt x="60" y="647"/>
                  </a:lnTo>
                  <a:lnTo>
                    <a:pt x="59" y="646"/>
                  </a:lnTo>
                  <a:lnTo>
                    <a:pt x="59" y="648"/>
                  </a:lnTo>
                  <a:lnTo>
                    <a:pt x="59" y="649"/>
                  </a:lnTo>
                  <a:lnTo>
                    <a:pt x="58" y="652"/>
                  </a:lnTo>
                  <a:lnTo>
                    <a:pt x="56" y="652"/>
                  </a:lnTo>
                  <a:lnTo>
                    <a:pt x="56" y="649"/>
                  </a:lnTo>
                  <a:lnTo>
                    <a:pt x="56" y="647"/>
                  </a:lnTo>
                  <a:lnTo>
                    <a:pt x="56" y="645"/>
                  </a:lnTo>
                  <a:lnTo>
                    <a:pt x="56" y="643"/>
                  </a:lnTo>
                  <a:lnTo>
                    <a:pt x="55" y="646"/>
                  </a:lnTo>
                  <a:lnTo>
                    <a:pt x="54" y="646"/>
                  </a:lnTo>
                  <a:lnTo>
                    <a:pt x="53" y="647"/>
                  </a:lnTo>
                  <a:lnTo>
                    <a:pt x="53" y="651"/>
                  </a:lnTo>
                  <a:lnTo>
                    <a:pt x="53" y="652"/>
                  </a:lnTo>
                  <a:lnTo>
                    <a:pt x="52" y="651"/>
                  </a:lnTo>
                  <a:lnTo>
                    <a:pt x="50" y="649"/>
                  </a:lnTo>
                  <a:lnTo>
                    <a:pt x="50" y="648"/>
                  </a:lnTo>
                  <a:lnTo>
                    <a:pt x="50" y="646"/>
                  </a:lnTo>
                  <a:lnTo>
                    <a:pt x="50" y="643"/>
                  </a:lnTo>
                  <a:lnTo>
                    <a:pt x="50" y="641"/>
                  </a:lnTo>
                  <a:lnTo>
                    <a:pt x="50" y="639"/>
                  </a:lnTo>
                  <a:lnTo>
                    <a:pt x="49" y="639"/>
                  </a:lnTo>
                  <a:lnTo>
                    <a:pt x="49" y="641"/>
                  </a:lnTo>
                  <a:lnTo>
                    <a:pt x="49" y="642"/>
                  </a:lnTo>
                  <a:lnTo>
                    <a:pt x="48" y="645"/>
                  </a:lnTo>
                  <a:lnTo>
                    <a:pt x="47" y="645"/>
                  </a:lnTo>
                  <a:lnTo>
                    <a:pt x="46" y="643"/>
                  </a:lnTo>
                  <a:lnTo>
                    <a:pt x="46" y="642"/>
                  </a:lnTo>
                  <a:lnTo>
                    <a:pt x="46" y="640"/>
                  </a:lnTo>
                  <a:lnTo>
                    <a:pt x="46" y="639"/>
                  </a:lnTo>
                  <a:lnTo>
                    <a:pt x="46" y="637"/>
                  </a:lnTo>
                  <a:lnTo>
                    <a:pt x="44" y="636"/>
                  </a:lnTo>
                  <a:lnTo>
                    <a:pt x="43" y="636"/>
                  </a:lnTo>
                  <a:lnTo>
                    <a:pt x="43" y="639"/>
                  </a:lnTo>
                  <a:lnTo>
                    <a:pt x="42" y="642"/>
                  </a:lnTo>
                  <a:lnTo>
                    <a:pt x="41" y="643"/>
                  </a:lnTo>
                  <a:lnTo>
                    <a:pt x="38" y="642"/>
                  </a:lnTo>
                  <a:lnTo>
                    <a:pt x="38" y="641"/>
                  </a:lnTo>
                  <a:lnTo>
                    <a:pt x="37" y="641"/>
                  </a:lnTo>
                  <a:lnTo>
                    <a:pt x="37" y="642"/>
                  </a:lnTo>
                  <a:lnTo>
                    <a:pt x="37" y="645"/>
                  </a:lnTo>
                  <a:lnTo>
                    <a:pt x="37" y="648"/>
                  </a:lnTo>
                  <a:lnTo>
                    <a:pt x="36" y="648"/>
                  </a:lnTo>
                  <a:lnTo>
                    <a:pt x="36" y="647"/>
                  </a:lnTo>
                  <a:lnTo>
                    <a:pt x="35" y="645"/>
                  </a:lnTo>
                  <a:lnTo>
                    <a:pt x="35" y="647"/>
                  </a:lnTo>
                  <a:lnTo>
                    <a:pt x="33" y="647"/>
                  </a:lnTo>
                  <a:lnTo>
                    <a:pt x="31" y="646"/>
                  </a:lnTo>
                  <a:lnTo>
                    <a:pt x="32" y="642"/>
                  </a:lnTo>
                  <a:lnTo>
                    <a:pt x="31" y="641"/>
                  </a:lnTo>
                  <a:lnTo>
                    <a:pt x="30" y="641"/>
                  </a:lnTo>
                  <a:lnTo>
                    <a:pt x="29" y="641"/>
                  </a:lnTo>
                  <a:lnTo>
                    <a:pt x="27" y="641"/>
                  </a:lnTo>
                  <a:lnTo>
                    <a:pt x="25" y="641"/>
                  </a:lnTo>
                  <a:lnTo>
                    <a:pt x="27" y="640"/>
                  </a:lnTo>
                  <a:lnTo>
                    <a:pt x="29" y="637"/>
                  </a:lnTo>
                  <a:lnTo>
                    <a:pt x="30" y="636"/>
                  </a:lnTo>
                  <a:lnTo>
                    <a:pt x="33" y="634"/>
                  </a:lnTo>
                  <a:lnTo>
                    <a:pt x="40" y="631"/>
                  </a:lnTo>
                  <a:lnTo>
                    <a:pt x="44" y="629"/>
                  </a:lnTo>
                  <a:lnTo>
                    <a:pt x="50" y="628"/>
                  </a:lnTo>
                  <a:lnTo>
                    <a:pt x="55" y="628"/>
                  </a:lnTo>
                  <a:lnTo>
                    <a:pt x="58" y="629"/>
                  </a:lnTo>
                  <a:lnTo>
                    <a:pt x="59" y="629"/>
                  </a:lnTo>
                  <a:lnTo>
                    <a:pt x="60" y="629"/>
                  </a:lnTo>
                  <a:lnTo>
                    <a:pt x="62" y="629"/>
                  </a:lnTo>
                  <a:lnTo>
                    <a:pt x="64" y="629"/>
                  </a:lnTo>
                  <a:lnTo>
                    <a:pt x="67" y="628"/>
                  </a:lnTo>
                  <a:lnTo>
                    <a:pt x="70" y="627"/>
                  </a:lnTo>
                  <a:lnTo>
                    <a:pt x="73" y="625"/>
                  </a:lnTo>
                  <a:lnTo>
                    <a:pt x="73" y="624"/>
                  </a:lnTo>
                  <a:lnTo>
                    <a:pt x="72" y="623"/>
                  </a:lnTo>
                  <a:lnTo>
                    <a:pt x="71" y="623"/>
                  </a:lnTo>
                  <a:lnTo>
                    <a:pt x="66" y="624"/>
                  </a:lnTo>
                  <a:lnTo>
                    <a:pt x="68" y="623"/>
                  </a:lnTo>
                  <a:lnTo>
                    <a:pt x="70" y="623"/>
                  </a:lnTo>
                  <a:lnTo>
                    <a:pt x="66" y="621"/>
                  </a:lnTo>
                  <a:lnTo>
                    <a:pt x="67" y="619"/>
                  </a:lnTo>
                  <a:lnTo>
                    <a:pt x="71" y="621"/>
                  </a:lnTo>
                  <a:lnTo>
                    <a:pt x="72" y="621"/>
                  </a:lnTo>
                  <a:lnTo>
                    <a:pt x="73" y="622"/>
                  </a:lnTo>
                  <a:lnTo>
                    <a:pt x="74" y="623"/>
                  </a:lnTo>
                  <a:lnTo>
                    <a:pt x="77" y="624"/>
                  </a:lnTo>
                  <a:lnTo>
                    <a:pt x="78" y="623"/>
                  </a:lnTo>
                  <a:lnTo>
                    <a:pt x="80" y="625"/>
                  </a:lnTo>
                  <a:lnTo>
                    <a:pt x="82" y="627"/>
                  </a:lnTo>
                  <a:lnTo>
                    <a:pt x="85" y="624"/>
                  </a:lnTo>
                  <a:lnTo>
                    <a:pt x="90" y="623"/>
                  </a:lnTo>
                  <a:lnTo>
                    <a:pt x="96" y="621"/>
                  </a:lnTo>
                  <a:lnTo>
                    <a:pt x="97" y="621"/>
                  </a:lnTo>
                  <a:lnTo>
                    <a:pt x="100" y="621"/>
                  </a:lnTo>
                  <a:lnTo>
                    <a:pt x="100" y="619"/>
                  </a:lnTo>
                  <a:lnTo>
                    <a:pt x="99" y="619"/>
                  </a:lnTo>
                  <a:lnTo>
                    <a:pt x="99" y="617"/>
                  </a:lnTo>
                  <a:lnTo>
                    <a:pt x="99" y="616"/>
                  </a:lnTo>
                  <a:lnTo>
                    <a:pt x="99" y="613"/>
                  </a:lnTo>
                  <a:lnTo>
                    <a:pt x="97" y="613"/>
                  </a:lnTo>
                  <a:lnTo>
                    <a:pt x="96" y="617"/>
                  </a:lnTo>
                  <a:lnTo>
                    <a:pt x="95" y="617"/>
                  </a:lnTo>
                  <a:lnTo>
                    <a:pt x="94" y="615"/>
                  </a:lnTo>
                  <a:lnTo>
                    <a:pt x="94" y="613"/>
                  </a:lnTo>
                  <a:lnTo>
                    <a:pt x="94" y="612"/>
                  </a:lnTo>
                  <a:lnTo>
                    <a:pt x="92" y="613"/>
                  </a:lnTo>
                  <a:lnTo>
                    <a:pt x="91" y="613"/>
                  </a:lnTo>
                  <a:lnTo>
                    <a:pt x="90" y="613"/>
                  </a:lnTo>
                  <a:lnTo>
                    <a:pt x="89" y="612"/>
                  </a:lnTo>
                  <a:lnTo>
                    <a:pt x="89" y="613"/>
                  </a:lnTo>
                  <a:lnTo>
                    <a:pt x="88" y="613"/>
                  </a:lnTo>
                  <a:lnTo>
                    <a:pt x="86" y="612"/>
                  </a:lnTo>
                  <a:lnTo>
                    <a:pt x="85" y="611"/>
                  </a:lnTo>
                  <a:lnTo>
                    <a:pt x="83" y="610"/>
                  </a:lnTo>
                  <a:lnTo>
                    <a:pt x="79" y="609"/>
                  </a:lnTo>
                  <a:lnTo>
                    <a:pt x="79" y="606"/>
                  </a:lnTo>
                  <a:lnTo>
                    <a:pt x="78" y="605"/>
                  </a:lnTo>
                  <a:lnTo>
                    <a:pt x="77" y="605"/>
                  </a:lnTo>
                  <a:lnTo>
                    <a:pt x="76" y="605"/>
                  </a:lnTo>
                  <a:lnTo>
                    <a:pt x="74" y="604"/>
                  </a:lnTo>
                  <a:lnTo>
                    <a:pt x="76" y="603"/>
                  </a:lnTo>
                  <a:lnTo>
                    <a:pt x="77" y="600"/>
                  </a:lnTo>
                  <a:lnTo>
                    <a:pt x="74" y="600"/>
                  </a:lnTo>
                  <a:lnTo>
                    <a:pt x="73" y="604"/>
                  </a:lnTo>
                  <a:lnTo>
                    <a:pt x="72" y="605"/>
                  </a:lnTo>
                  <a:lnTo>
                    <a:pt x="71" y="606"/>
                  </a:lnTo>
                  <a:lnTo>
                    <a:pt x="71" y="605"/>
                  </a:lnTo>
                  <a:lnTo>
                    <a:pt x="71" y="601"/>
                  </a:lnTo>
                  <a:lnTo>
                    <a:pt x="71" y="600"/>
                  </a:lnTo>
                  <a:lnTo>
                    <a:pt x="70" y="600"/>
                  </a:lnTo>
                  <a:lnTo>
                    <a:pt x="70" y="601"/>
                  </a:lnTo>
                  <a:lnTo>
                    <a:pt x="68" y="605"/>
                  </a:lnTo>
                  <a:lnTo>
                    <a:pt x="70" y="607"/>
                  </a:lnTo>
                  <a:lnTo>
                    <a:pt x="68" y="609"/>
                  </a:lnTo>
                  <a:lnTo>
                    <a:pt x="68" y="607"/>
                  </a:lnTo>
                  <a:lnTo>
                    <a:pt x="68" y="605"/>
                  </a:lnTo>
                  <a:lnTo>
                    <a:pt x="67" y="604"/>
                  </a:lnTo>
                  <a:lnTo>
                    <a:pt x="66" y="603"/>
                  </a:lnTo>
                  <a:lnTo>
                    <a:pt x="67" y="600"/>
                  </a:lnTo>
                  <a:lnTo>
                    <a:pt x="68" y="599"/>
                  </a:lnTo>
                  <a:lnTo>
                    <a:pt x="67" y="597"/>
                  </a:lnTo>
                  <a:lnTo>
                    <a:pt x="67" y="595"/>
                  </a:lnTo>
                  <a:lnTo>
                    <a:pt x="66" y="594"/>
                  </a:lnTo>
                  <a:lnTo>
                    <a:pt x="65" y="595"/>
                  </a:lnTo>
                  <a:lnTo>
                    <a:pt x="64" y="597"/>
                  </a:lnTo>
                  <a:lnTo>
                    <a:pt x="62" y="595"/>
                  </a:lnTo>
                  <a:lnTo>
                    <a:pt x="62" y="594"/>
                  </a:lnTo>
                  <a:lnTo>
                    <a:pt x="62" y="593"/>
                  </a:lnTo>
                  <a:lnTo>
                    <a:pt x="62" y="591"/>
                  </a:lnTo>
                  <a:lnTo>
                    <a:pt x="62" y="589"/>
                  </a:lnTo>
                  <a:lnTo>
                    <a:pt x="64" y="587"/>
                  </a:lnTo>
                  <a:lnTo>
                    <a:pt x="64" y="586"/>
                  </a:lnTo>
                  <a:lnTo>
                    <a:pt x="62" y="586"/>
                  </a:lnTo>
                  <a:lnTo>
                    <a:pt x="60" y="587"/>
                  </a:lnTo>
                  <a:lnTo>
                    <a:pt x="60" y="589"/>
                  </a:lnTo>
                  <a:lnTo>
                    <a:pt x="60" y="591"/>
                  </a:lnTo>
                  <a:lnTo>
                    <a:pt x="60" y="593"/>
                  </a:lnTo>
                  <a:lnTo>
                    <a:pt x="61" y="597"/>
                  </a:lnTo>
                  <a:lnTo>
                    <a:pt x="60" y="598"/>
                  </a:lnTo>
                  <a:lnTo>
                    <a:pt x="59" y="598"/>
                  </a:lnTo>
                  <a:lnTo>
                    <a:pt x="59" y="595"/>
                  </a:lnTo>
                  <a:lnTo>
                    <a:pt x="59" y="592"/>
                  </a:lnTo>
                  <a:lnTo>
                    <a:pt x="59" y="593"/>
                  </a:lnTo>
                  <a:lnTo>
                    <a:pt x="59" y="595"/>
                  </a:lnTo>
                  <a:lnTo>
                    <a:pt x="58" y="595"/>
                  </a:lnTo>
                  <a:lnTo>
                    <a:pt x="56" y="594"/>
                  </a:lnTo>
                  <a:lnTo>
                    <a:pt x="56" y="592"/>
                  </a:lnTo>
                  <a:lnTo>
                    <a:pt x="56" y="589"/>
                  </a:lnTo>
                  <a:lnTo>
                    <a:pt x="56" y="588"/>
                  </a:lnTo>
                  <a:lnTo>
                    <a:pt x="56" y="591"/>
                  </a:lnTo>
                  <a:lnTo>
                    <a:pt x="55" y="595"/>
                  </a:lnTo>
                  <a:lnTo>
                    <a:pt x="55" y="597"/>
                  </a:lnTo>
                  <a:lnTo>
                    <a:pt x="54" y="598"/>
                  </a:lnTo>
                  <a:lnTo>
                    <a:pt x="54" y="597"/>
                  </a:lnTo>
                  <a:lnTo>
                    <a:pt x="54" y="593"/>
                  </a:lnTo>
                  <a:lnTo>
                    <a:pt x="54" y="591"/>
                  </a:lnTo>
                  <a:lnTo>
                    <a:pt x="53" y="593"/>
                  </a:lnTo>
                  <a:lnTo>
                    <a:pt x="53" y="595"/>
                  </a:lnTo>
                  <a:lnTo>
                    <a:pt x="53" y="599"/>
                  </a:lnTo>
                  <a:lnTo>
                    <a:pt x="52" y="599"/>
                  </a:lnTo>
                  <a:lnTo>
                    <a:pt x="50" y="598"/>
                  </a:lnTo>
                  <a:lnTo>
                    <a:pt x="50" y="595"/>
                  </a:lnTo>
                  <a:lnTo>
                    <a:pt x="50" y="593"/>
                  </a:lnTo>
                  <a:lnTo>
                    <a:pt x="50" y="592"/>
                  </a:lnTo>
                  <a:lnTo>
                    <a:pt x="49" y="593"/>
                  </a:lnTo>
                  <a:lnTo>
                    <a:pt x="48" y="592"/>
                  </a:lnTo>
                  <a:lnTo>
                    <a:pt x="47" y="592"/>
                  </a:lnTo>
                  <a:lnTo>
                    <a:pt x="47" y="593"/>
                  </a:lnTo>
                  <a:lnTo>
                    <a:pt x="46" y="594"/>
                  </a:lnTo>
                  <a:lnTo>
                    <a:pt x="44" y="595"/>
                  </a:lnTo>
                  <a:lnTo>
                    <a:pt x="43" y="597"/>
                  </a:lnTo>
                  <a:lnTo>
                    <a:pt x="43" y="594"/>
                  </a:lnTo>
                  <a:lnTo>
                    <a:pt x="44" y="593"/>
                  </a:lnTo>
                  <a:lnTo>
                    <a:pt x="42" y="594"/>
                  </a:lnTo>
                  <a:lnTo>
                    <a:pt x="40" y="594"/>
                  </a:lnTo>
                  <a:lnTo>
                    <a:pt x="41" y="593"/>
                  </a:lnTo>
                  <a:lnTo>
                    <a:pt x="43" y="591"/>
                  </a:lnTo>
                  <a:lnTo>
                    <a:pt x="43" y="589"/>
                  </a:lnTo>
                  <a:lnTo>
                    <a:pt x="44" y="591"/>
                  </a:lnTo>
                  <a:lnTo>
                    <a:pt x="46" y="591"/>
                  </a:lnTo>
                  <a:lnTo>
                    <a:pt x="47" y="589"/>
                  </a:lnTo>
                  <a:lnTo>
                    <a:pt x="49" y="589"/>
                  </a:lnTo>
                  <a:lnTo>
                    <a:pt x="50" y="588"/>
                  </a:lnTo>
                  <a:lnTo>
                    <a:pt x="53" y="587"/>
                  </a:lnTo>
                  <a:lnTo>
                    <a:pt x="56" y="586"/>
                  </a:lnTo>
                  <a:lnTo>
                    <a:pt x="59" y="585"/>
                  </a:lnTo>
                  <a:lnTo>
                    <a:pt x="60" y="586"/>
                  </a:lnTo>
                  <a:lnTo>
                    <a:pt x="64" y="585"/>
                  </a:lnTo>
                  <a:lnTo>
                    <a:pt x="65" y="585"/>
                  </a:lnTo>
                  <a:lnTo>
                    <a:pt x="67" y="585"/>
                  </a:lnTo>
                  <a:lnTo>
                    <a:pt x="71" y="585"/>
                  </a:lnTo>
                  <a:lnTo>
                    <a:pt x="73" y="585"/>
                  </a:lnTo>
                  <a:lnTo>
                    <a:pt x="74" y="586"/>
                  </a:lnTo>
                  <a:lnTo>
                    <a:pt x="77" y="586"/>
                  </a:lnTo>
                  <a:lnTo>
                    <a:pt x="79" y="586"/>
                  </a:lnTo>
                  <a:lnTo>
                    <a:pt x="80" y="587"/>
                  </a:lnTo>
                  <a:lnTo>
                    <a:pt x="83" y="587"/>
                  </a:lnTo>
                  <a:lnTo>
                    <a:pt x="85" y="587"/>
                  </a:lnTo>
                  <a:lnTo>
                    <a:pt x="90" y="587"/>
                  </a:lnTo>
                  <a:lnTo>
                    <a:pt x="94" y="587"/>
                  </a:lnTo>
                  <a:lnTo>
                    <a:pt x="94" y="589"/>
                  </a:lnTo>
                  <a:lnTo>
                    <a:pt x="95" y="588"/>
                  </a:lnTo>
                  <a:lnTo>
                    <a:pt x="96" y="588"/>
                  </a:lnTo>
                  <a:lnTo>
                    <a:pt x="97" y="588"/>
                  </a:lnTo>
                  <a:lnTo>
                    <a:pt x="100" y="588"/>
                  </a:lnTo>
                  <a:lnTo>
                    <a:pt x="101" y="588"/>
                  </a:lnTo>
                  <a:lnTo>
                    <a:pt x="102" y="589"/>
                  </a:lnTo>
                  <a:lnTo>
                    <a:pt x="103" y="589"/>
                  </a:lnTo>
                  <a:lnTo>
                    <a:pt x="105" y="589"/>
                  </a:lnTo>
                  <a:lnTo>
                    <a:pt x="109" y="589"/>
                  </a:lnTo>
                  <a:lnTo>
                    <a:pt x="113" y="588"/>
                  </a:lnTo>
                  <a:lnTo>
                    <a:pt x="115" y="588"/>
                  </a:lnTo>
                  <a:lnTo>
                    <a:pt x="117" y="588"/>
                  </a:lnTo>
                  <a:lnTo>
                    <a:pt x="118" y="588"/>
                  </a:lnTo>
                  <a:lnTo>
                    <a:pt x="118" y="589"/>
                  </a:lnTo>
                  <a:lnTo>
                    <a:pt x="119" y="589"/>
                  </a:lnTo>
                  <a:lnTo>
                    <a:pt x="120" y="589"/>
                  </a:lnTo>
                  <a:lnTo>
                    <a:pt x="121" y="589"/>
                  </a:lnTo>
                  <a:lnTo>
                    <a:pt x="123" y="588"/>
                  </a:lnTo>
                  <a:lnTo>
                    <a:pt x="124" y="587"/>
                  </a:lnTo>
                  <a:lnTo>
                    <a:pt x="126" y="587"/>
                  </a:lnTo>
                  <a:lnTo>
                    <a:pt x="129" y="586"/>
                  </a:lnTo>
                  <a:lnTo>
                    <a:pt x="132" y="586"/>
                  </a:lnTo>
                  <a:lnTo>
                    <a:pt x="136" y="583"/>
                  </a:lnTo>
                  <a:lnTo>
                    <a:pt x="139" y="582"/>
                  </a:lnTo>
                  <a:lnTo>
                    <a:pt x="139" y="581"/>
                  </a:lnTo>
                  <a:lnTo>
                    <a:pt x="137" y="582"/>
                  </a:lnTo>
                  <a:lnTo>
                    <a:pt x="133" y="583"/>
                  </a:lnTo>
                  <a:lnTo>
                    <a:pt x="138" y="580"/>
                  </a:lnTo>
                  <a:lnTo>
                    <a:pt x="137" y="580"/>
                  </a:lnTo>
                  <a:lnTo>
                    <a:pt x="133" y="580"/>
                  </a:lnTo>
                  <a:lnTo>
                    <a:pt x="132" y="580"/>
                  </a:lnTo>
                  <a:lnTo>
                    <a:pt x="137" y="579"/>
                  </a:lnTo>
                  <a:lnTo>
                    <a:pt x="138" y="579"/>
                  </a:lnTo>
                  <a:lnTo>
                    <a:pt x="139" y="577"/>
                  </a:lnTo>
                  <a:lnTo>
                    <a:pt x="139" y="576"/>
                  </a:lnTo>
                  <a:lnTo>
                    <a:pt x="142" y="576"/>
                  </a:lnTo>
                  <a:lnTo>
                    <a:pt x="143" y="576"/>
                  </a:lnTo>
                  <a:lnTo>
                    <a:pt x="142" y="577"/>
                  </a:lnTo>
                  <a:lnTo>
                    <a:pt x="142" y="579"/>
                  </a:lnTo>
                  <a:lnTo>
                    <a:pt x="145" y="580"/>
                  </a:lnTo>
                  <a:lnTo>
                    <a:pt x="145" y="581"/>
                  </a:lnTo>
                  <a:lnTo>
                    <a:pt x="149" y="581"/>
                  </a:lnTo>
                  <a:lnTo>
                    <a:pt x="151" y="580"/>
                  </a:lnTo>
                  <a:lnTo>
                    <a:pt x="158" y="579"/>
                  </a:lnTo>
                  <a:lnTo>
                    <a:pt x="159" y="579"/>
                  </a:lnTo>
                  <a:lnTo>
                    <a:pt x="160" y="579"/>
                  </a:lnTo>
                  <a:lnTo>
                    <a:pt x="161" y="579"/>
                  </a:lnTo>
                  <a:lnTo>
                    <a:pt x="164" y="580"/>
                  </a:lnTo>
                  <a:lnTo>
                    <a:pt x="166" y="579"/>
                  </a:lnTo>
                  <a:lnTo>
                    <a:pt x="167" y="577"/>
                  </a:lnTo>
                  <a:lnTo>
                    <a:pt x="167" y="576"/>
                  </a:lnTo>
                  <a:lnTo>
                    <a:pt x="170" y="576"/>
                  </a:lnTo>
                  <a:lnTo>
                    <a:pt x="172" y="576"/>
                  </a:lnTo>
                  <a:lnTo>
                    <a:pt x="173" y="575"/>
                  </a:lnTo>
                  <a:lnTo>
                    <a:pt x="176" y="575"/>
                  </a:lnTo>
                  <a:lnTo>
                    <a:pt x="177" y="575"/>
                  </a:lnTo>
                  <a:lnTo>
                    <a:pt x="179" y="568"/>
                  </a:lnTo>
                  <a:lnTo>
                    <a:pt x="182" y="567"/>
                  </a:lnTo>
                  <a:lnTo>
                    <a:pt x="182" y="564"/>
                  </a:lnTo>
                  <a:lnTo>
                    <a:pt x="180" y="562"/>
                  </a:lnTo>
                  <a:lnTo>
                    <a:pt x="179" y="559"/>
                  </a:lnTo>
                  <a:lnTo>
                    <a:pt x="178" y="559"/>
                  </a:lnTo>
                  <a:lnTo>
                    <a:pt x="177" y="561"/>
                  </a:lnTo>
                  <a:lnTo>
                    <a:pt x="174" y="561"/>
                  </a:lnTo>
                  <a:lnTo>
                    <a:pt x="173" y="562"/>
                  </a:lnTo>
                  <a:lnTo>
                    <a:pt x="172" y="563"/>
                  </a:lnTo>
                  <a:lnTo>
                    <a:pt x="172" y="564"/>
                  </a:lnTo>
                  <a:lnTo>
                    <a:pt x="172" y="567"/>
                  </a:lnTo>
                  <a:lnTo>
                    <a:pt x="171" y="569"/>
                  </a:lnTo>
                  <a:lnTo>
                    <a:pt x="170" y="569"/>
                  </a:lnTo>
                  <a:lnTo>
                    <a:pt x="168" y="568"/>
                  </a:lnTo>
                  <a:lnTo>
                    <a:pt x="168" y="567"/>
                  </a:lnTo>
                  <a:lnTo>
                    <a:pt x="168" y="564"/>
                  </a:lnTo>
                  <a:lnTo>
                    <a:pt x="167" y="563"/>
                  </a:lnTo>
                  <a:lnTo>
                    <a:pt x="166" y="564"/>
                  </a:lnTo>
                  <a:lnTo>
                    <a:pt x="166" y="567"/>
                  </a:lnTo>
                  <a:lnTo>
                    <a:pt x="165" y="568"/>
                  </a:lnTo>
                  <a:lnTo>
                    <a:pt x="165" y="569"/>
                  </a:lnTo>
                  <a:lnTo>
                    <a:pt x="165" y="568"/>
                  </a:lnTo>
                  <a:lnTo>
                    <a:pt x="164" y="567"/>
                  </a:lnTo>
                  <a:lnTo>
                    <a:pt x="165" y="565"/>
                  </a:lnTo>
                  <a:lnTo>
                    <a:pt x="164" y="564"/>
                  </a:lnTo>
                  <a:lnTo>
                    <a:pt x="164" y="563"/>
                  </a:lnTo>
                  <a:lnTo>
                    <a:pt x="164" y="562"/>
                  </a:lnTo>
                  <a:lnTo>
                    <a:pt x="164" y="561"/>
                  </a:lnTo>
                  <a:lnTo>
                    <a:pt x="162" y="562"/>
                  </a:lnTo>
                  <a:lnTo>
                    <a:pt x="162" y="561"/>
                  </a:lnTo>
                  <a:lnTo>
                    <a:pt x="161" y="561"/>
                  </a:lnTo>
                  <a:lnTo>
                    <a:pt x="160" y="561"/>
                  </a:lnTo>
                  <a:lnTo>
                    <a:pt x="160" y="562"/>
                  </a:lnTo>
                  <a:lnTo>
                    <a:pt x="159" y="561"/>
                  </a:lnTo>
                  <a:lnTo>
                    <a:pt x="159" y="559"/>
                  </a:lnTo>
                  <a:lnTo>
                    <a:pt x="159" y="561"/>
                  </a:lnTo>
                  <a:lnTo>
                    <a:pt x="158" y="562"/>
                  </a:lnTo>
                  <a:lnTo>
                    <a:pt x="159" y="565"/>
                  </a:lnTo>
                  <a:lnTo>
                    <a:pt x="158" y="567"/>
                  </a:lnTo>
                  <a:lnTo>
                    <a:pt x="158" y="564"/>
                  </a:lnTo>
                  <a:lnTo>
                    <a:pt x="156" y="563"/>
                  </a:lnTo>
                  <a:lnTo>
                    <a:pt x="156" y="561"/>
                  </a:lnTo>
                  <a:lnTo>
                    <a:pt x="156" y="558"/>
                  </a:lnTo>
                  <a:lnTo>
                    <a:pt x="156" y="557"/>
                  </a:lnTo>
                  <a:lnTo>
                    <a:pt x="155" y="558"/>
                  </a:lnTo>
                  <a:lnTo>
                    <a:pt x="155" y="559"/>
                  </a:lnTo>
                  <a:lnTo>
                    <a:pt x="153" y="559"/>
                  </a:lnTo>
                  <a:lnTo>
                    <a:pt x="153" y="561"/>
                  </a:lnTo>
                  <a:lnTo>
                    <a:pt x="153" y="564"/>
                  </a:lnTo>
                  <a:lnTo>
                    <a:pt x="153" y="568"/>
                  </a:lnTo>
                  <a:lnTo>
                    <a:pt x="151" y="564"/>
                  </a:lnTo>
                  <a:lnTo>
                    <a:pt x="151" y="562"/>
                  </a:lnTo>
                  <a:lnTo>
                    <a:pt x="151" y="559"/>
                  </a:lnTo>
                  <a:lnTo>
                    <a:pt x="151" y="556"/>
                  </a:lnTo>
                  <a:lnTo>
                    <a:pt x="150" y="556"/>
                  </a:lnTo>
                  <a:lnTo>
                    <a:pt x="150" y="561"/>
                  </a:lnTo>
                  <a:lnTo>
                    <a:pt x="149" y="562"/>
                  </a:lnTo>
                  <a:lnTo>
                    <a:pt x="149" y="559"/>
                  </a:lnTo>
                  <a:lnTo>
                    <a:pt x="148" y="559"/>
                  </a:lnTo>
                  <a:lnTo>
                    <a:pt x="148" y="562"/>
                  </a:lnTo>
                  <a:lnTo>
                    <a:pt x="147" y="565"/>
                  </a:lnTo>
                  <a:lnTo>
                    <a:pt x="145" y="563"/>
                  </a:lnTo>
                  <a:lnTo>
                    <a:pt x="145" y="562"/>
                  </a:lnTo>
                  <a:lnTo>
                    <a:pt x="145" y="559"/>
                  </a:lnTo>
                  <a:lnTo>
                    <a:pt x="145" y="552"/>
                  </a:lnTo>
                  <a:lnTo>
                    <a:pt x="144" y="552"/>
                  </a:lnTo>
                  <a:lnTo>
                    <a:pt x="143" y="554"/>
                  </a:lnTo>
                  <a:lnTo>
                    <a:pt x="143" y="557"/>
                  </a:lnTo>
                  <a:lnTo>
                    <a:pt x="144" y="561"/>
                  </a:lnTo>
                  <a:lnTo>
                    <a:pt x="144" y="564"/>
                  </a:lnTo>
                  <a:lnTo>
                    <a:pt x="143" y="567"/>
                  </a:lnTo>
                  <a:lnTo>
                    <a:pt x="143" y="565"/>
                  </a:lnTo>
                  <a:lnTo>
                    <a:pt x="142" y="563"/>
                  </a:lnTo>
                  <a:lnTo>
                    <a:pt x="141" y="564"/>
                  </a:lnTo>
                  <a:lnTo>
                    <a:pt x="139" y="562"/>
                  </a:lnTo>
                  <a:lnTo>
                    <a:pt x="139" y="559"/>
                  </a:lnTo>
                  <a:lnTo>
                    <a:pt x="139" y="557"/>
                  </a:lnTo>
                  <a:lnTo>
                    <a:pt x="141" y="556"/>
                  </a:lnTo>
                  <a:lnTo>
                    <a:pt x="139" y="554"/>
                  </a:lnTo>
                  <a:lnTo>
                    <a:pt x="138" y="557"/>
                  </a:lnTo>
                  <a:lnTo>
                    <a:pt x="138" y="562"/>
                  </a:lnTo>
                  <a:lnTo>
                    <a:pt x="138" y="563"/>
                  </a:lnTo>
                  <a:lnTo>
                    <a:pt x="137" y="564"/>
                  </a:lnTo>
                  <a:lnTo>
                    <a:pt x="137" y="562"/>
                  </a:lnTo>
                  <a:lnTo>
                    <a:pt x="137" y="561"/>
                  </a:lnTo>
                  <a:lnTo>
                    <a:pt x="136" y="563"/>
                  </a:lnTo>
                  <a:lnTo>
                    <a:pt x="136" y="565"/>
                  </a:lnTo>
                  <a:lnTo>
                    <a:pt x="136" y="567"/>
                  </a:lnTo>
                  <a:lnTo>
                    <a:pt x="136" y="569"/>
                  </a:lnTo>
                  <a:lnTo>
                    <a:pt x="133" y="567"/>
                  </a:lnTo>
                  <a:lnTo>
                    <a:pt x="133" y="568"/>
                  </a:lnTo>
                  <a:lnTo>
                    <a:pt x="133" y="569"/>
                  </a:lnTo>
                  <a:lnTo>
                    <a:pt x="133" y="570"/>
                  </a:lnTo>
                  <a:lnTo>
                    <a:pt x="131" y="570"/>
                  </a:lnTo>
                  <a:lnTo>
                    <a:pt x="132" y="567"/>
                  </a:lnTo>
                  <a:lnTo>
                    <a:pt x="132" y="564"/>
                  </a:lnTo>
                  <a:lnTo>
                    <a:pt x="132" y="562"/>
                  </a:lnTo>
                  <a:lnTo>
                    <a:pt x="131" y="561"/>
                  </a:lnTo>
                  <a:lnTo>
                    <a:pt x="130" y="562"/>
                  </a:lnTo>
                  <a:lnTo>
                    <a:pt x="130" y="563"/>
                  </a:lnTo>
                  <a:lnTo>
                    <a:pt x="131" y="565"/>
                  </a:lnTo>
                  <a:lnTo>
                    <a:pt x="131" y="568"/>
                  </a:lnTo>
                  <a:lnTo>
                    <a:pt x="131" y="569"/>
                  </a:lnTo>
                  <a:lnTo>
                    <a:pt x="130" y="570"/>
                  </a:lnTo>
                  <a:lnTo>
                    <a:pt x="129" y="570"/>
                  </a:lnTo>
                  <a:lnTo>
                    <a:pt x="129" y="569"/>
                  </a:lnTo>
                  <a:lnTo>
                    <a:pt x="129" y="568"/>
                  </a:lnTo>
                  <a:lnTo>
                    <a:pt x="127" y="565"/>
                  </a:lnTo>
                  <a:lnTo>
                    <a:pt x="127" y="563"/>
                  </a:lnTo>
                  <a:lnTo>
                    <a:pt x="126" y="563"/>
                  </a:lnTo>
                  <a:lnTo>
                    <a:pt x="124" y="564"/>
                  </a:lnTo>
                  <a:lnTo>
                    <a:pt x="124" y="568"/>
                  </a:lnTo>
                  <a:lnTo>
                    <a:pt x="124" y="569"/>
                  </a:lnTo>
                  <a:lnTo>
                    <a:pt x="123" y="569"/>
                  </a:lnTo>
                  <a:lnTo>
                    <a:pt x="121" y="565"/>
                  </a:lnTo>
                  <a:lnTo>
                    <a:pt x="115" y="567"/>
                  </a:lnTo>
                  <a:lnTo>
                    <a:pt x="118" y="565"/>
                  </a:lnTo>
                  <a:lnTo>
                    <a:pt x="120" y="564"/>
                  </a:lnTo>
                  <a:lnTo>
                    <a:pt x="120" y="563"/>
                  </a:lnTo>
                  <a:lnTo>
                    <a:pt x="123" y="562"/>
                  </a:lnTo>
                  <a:lnTo>
                    <a:pt x="124" y="561"/>
                  </a:lnTo>
                  <a:lnTo>
                    <a:pt x="127" y="561"/>
                  </a:lnTo>
                  <a:lnTo>
                    <a:pt x="129" y="558"/>
                  </a:lnTo>
                  <a:lnTo>
                    <a:pt x="131" y="557"/>
                  </a:lnTo>
                  <a:lnTo>
                    <a:pt x="133" y="556"/>
                  </a:lnTo>
                  <a:lnTo>
                    <a:pt x="136" y="554"/>
                  </a:lnTo>
                  <a:lnTo>
                    <a:pt x="147" y="550"/>
                  </a:lnTo>
                  <a:lnTo>
                    <a:pt x="147" y="548"/>
                  </a:lnTo>
                  <a:lnTo>
                    <a:pt x="145" y="548"/>
                  </a:lnTo>
                  <a:lnTo>
                    <a:pt x="144" y="548"/>
                  </a:lnTo>
                  <a:lnTo>
                    <a:pt x="142" y="550"/>
                  </a:lnTo>
                  <a:lnTo>
                    <a:pt x="141" y="550"/>
                  </a:lnTo>
                  <a:lnTo>
                    <a:pt x="138" y="551"/>
                  </a:lnTo>
                  <a:lnTo>
                    <a:pt x="137" y="552"/>
                  </a:lnTo>
                  <a:lnTo>
                    <a:pt x="137" y="550"/>
                  </a:lnTo>
                  <a:lnTo>
                    <a:pt x="136" y="548"/>
                  </a:lnTo>
                  <a:lnTo>
                    <a:pt x="136" y="547"/>
                  </a:lnTo>
                  <a:lnTo>
                    <a:pt x="135" y="547"/>
                  </a:lnTo>
                  <a:lnTo>
                    <a:pt x="137" y="545"/>
                  </a:lnTo>
                  <a:lnTo>
                    <a:pt x="137" y="542"/>
                  </a:lnTo>
                  <a:lnTo>
                    <a:pt x="138" y="541"/>
                  </a:lnTo>
                  <a:lnTo>
                    <a:pt x="138" y="540"/>
                  </a:lnTo>
                  <a:lnTo>
                    <a:pt x="138" y="538"/>
                  </a:lnTo>
                  <a:lnTo>
                    <a:pt x="137" y="536"/>
                  </a:lnTo>
                  <a:lnTo>
                    <a:pt x="136" y="536"/>
                  </a:lnTo>
                  <a:lnTo>
                    <a:pt x="136" y="539"/>
                  </a:lnTo>
                  <a:lnTo>
                    <a:pt x="136" y="541"/>
                  </a:lnTo>
                  <a:lnTo>
                    <a:pt x="135" y="542"/>
                  </a:lnTo>
                  <a:lnTo>
                    <a:pt x="135" y="541"/>
                  </a:lnTo>
                  <a:lnTo>
                    <a:pt x="133" y="540"/>
                  </a:lnTo>
                  <a:lnTo>
                    <a:pt x="132" y="540"/>
                  </a:lnTo>
                  <a:lnTo>
                    <a:pt x="131" y="541"/>
                  </a:lnTo>
                  <a:lnTo>
                    <a:pt x="130" y="540"/>
                  </a:lnTo>
                  <a:lnTo>
                    <a:pt x="130" y="541"/>
                  </a:lnTo>
                  <a:lnTo>
                    <a:pt x="129" y="541"/>
                  </a:lnTo>
                  <a:lnTo>
                    <a:pt x="126" y="541"/>
                  </a:lnTo>
                  <a:lnTo>
                    <a:pt x="127" y="540"/>
                  </a:lnTo>
                  <a:lnTo>
                    <a:pt x="130" y="539"/>
                  </a:lnTo>
                  <a:lnTo>
                    <a:pt x="130" y="536"/>
                  </a:lnTo>
                  <a:lnTo>
                    <a:pt x="130" y="535"/>
                  </a:lnTo>
                  <a:lnTo>
                    <a:pt x="129" y="533"/>
                  </a:lnTo>
                  <a:lnTo>
                    <a:pt x="129" y="534"/>
                  </a:lnTo>
                  <a:lnTo>
                    <a:pt x="127" y="535"/>
                  </a:lnTo>
                  <a:lnTo>
                    <a:pt x="126" y="538"/>
                  </a:lnTo>
                  <a:lnTo>
                    <a:pt x="127" y="538"/>
                  </a:lnTo>
                  <a:lnTo>
                    <a:pt x="127" y="539"/>
                  </a:lnTo>
                  <a:lnTo>
                    <a:pt x="126" y="539"/>
                  </a:lnTo>
                  <a:lnTo>
                    <a:pt x="124" y="538"/>
                  </a:lnTo>
                  <a:lnTo>
                    <a:pt x="123" y="536"/>
                  </a:lnTo>
                  <a:lnTo>
                    <a:pt x="123" y="539"/>
                  </a:lnTo>
                  <a:lnTo>
                    <a:pt x="123" y="542"/>
                  </a:lnTo>
                  <a:lnTo>
                    <a:pt x="121" y="544"/>
                  </a:lnTo>
                  <a:lnTo>
                    <a:pt x="120" y="542"/>
                  </a:lnTo>
                  <a:lnTo>
                    <a:pt x="120" y="540"/>
                  </a:lnTo>
                  <a:lnTo>
                    <a:pt x="119" y="539"/>
                  </a:lnTo>
                  <a:lnTo>
                    <a:pt x="119" y="535"/>
                  </a:lnTo>
                  <a:lnTo>
                    <a:pt x="118" y="533"/>
                  </a:lnTo>
                  <a:lnTo>
                    <a:pt x="117" y="533"/>
                  </a:lnTo>
                  <a:lnTo>
                    <a:pt x="114" y="533"/>
                  </a:lnTo>
                  <a:lnTo>
                    <a:pt x="114" y="538"/>
                  </a:lnTo>
                  <a:lnTo>
                    <a:pt x="113" y="542"/>
                  </a:lnTo>
                  <a:lnTo>
                    <a:pt x="113" y="541"/>
                  </a:lnTo>
                  <a:lnTo>
                    <a:pt x="112" y="538"/>
                  </a:lnTo>
                  <a:lnTo>
                    <a:pt x="112" y="533"/>
                  </a:lnTo>
                  <a:lnTo>
                    <a:pt x="111" y="533"/>
                  </a:lnTo>
                  <a:lnTo>
                    <a:pt x="111" y="536"/>
                  </a:lnTo>
                  <a:lnTo>
                    <a:pt x="109" y="536"/>
                  </a:lnTo>
                  <a:lnTo>
                    <a:pt x="109" y="539"/>
                  </a:lnTo>
                  <a:lnTo>
                    <a:pt x="108" y="539"/>
                  </a:lnTo>
                  <a:lnTo>
                    <a:pt x="107" y="536"/>
                  </a:lnTo>
                  <a:lnTo>
                    <a:pt x="107" y="533"/>
                  </a:lnTo>
                  <a:lnTo>
                    <a:pt x="106" y="535"/>
                  </a:lnTo>
                  <a:lnTo>
                    <a:pt x="105" y="538"/>
                  </a:lnTo>
                  <a:lnTo>
                    <a:pt x="103" y="536"/>
                  </a:lnTo>
                  <a:lnTo>
                    <a:pt x="102" y="535"/>
                  </a:lnTo>
                  <a:lnTo>
                    <a:pt x="101" y="534"/>
                  </a:lnTo>
                  <a:lnTo>
                    <a:pt x="99" y="535"/>
                  </a:lnTo>
                  <a:lnTo>
                    <a:pt x="97" y="535"/>
                  </a:lnTo>
                  <a:lnTo>
                    <a:pt x="96" y="535"/>
                  </a:lnTo>
                  <a:lnTo>
                    <a:pt x="95" y="535"/>
                  </a:lnTo>
                  <a:lnTo>
                    <a:pt x="95" y="536"/>
                  </a:lnTo>
                  <a:lnTo>
                    <a:pt x="92" y="534"/>
                  </a:lnTo>
                  <a:lnTo>
                    <a:pt x="91" y="535"/>
                  </a:lnTo>
                  <a:lnTo>
                    <a:pt x="90" y="533"/>
                  </a:lnTo>
                  <a:lnTo>
                    <a:pt x="91" y="530"/>
                  </a:lnTo>
                  <a:lnTo>
                    <a:pt x="90" y="529"/>
                  </a:lnTo>
                  <a:lnTo>
                    <a:pt x="91" y="528"/>
                  </a:lnTo>
                  <a:lnTo>
                    <a:pt x="90" y="528"/>
                  </a:lnTo>
                  <a:lnTo>
                    <a:pt x="89" y="529"/>
                  </a:lnTo>
                  <a:lnTo>
                    <a:pt x="90" y="530"/>
                  </a:lnTo>
                  <a:lnTo>
                    <a:pt x="89" y="533"/>
                  </a:lnTo>
                  <a:lnTo>
                    <a:pt x="90" y="535"/>
                  </a:lnTo>
                  <a:lnTo>
                    <a:pt x="90" y="539"/>
                  </a:lnTo>
                  <a:lnTo>
                    <a:pt x="88" y="539"/>
                  </a:lnTo>
                  <a:lnTo>
                    <a:pt x="88" y="538"/>
                  </a:lnTo>
                  <a:lnTo>
                    <a:pt x="88" y="534"/>
                  </a:lnTo>
                  <a:lnTo>
                    <a:pt x="86" y="533"/>
                  </a:lnTo>
                  <a:lnTo>
                    <a:pt x="85" y="532"/>
                  </a:lnTo>
                  <a:lnTo>
                    <a:pt x="85" y="533"/>
                  </a:lnTo>
                  <a:lnTo>
                    <a:pt x="85" y="536"/>
                  </a:lnTo>
                  <a:lnTo>
                    <a:pt x="85" y="538"/>
                  </a:lnTo>
                  <a:lnTo>
                    <a:pt x="85" y="539"/>
                  </a:lnTo>
                  <a:lnTo>
                    <a:pt x="84" y="540"/>
                  </a:lnTo>
                  <a:lnTo>
                    <a:pt x="83" y="539"/>
                  </a:lnTo>
                  <a:lnTo>
                    <a:pt x="83" y="536"/>
                  </a:lnTo>
                  <a:lnTo>
                    <a:pt x="83" y="534"/>
                  </a:lnTo>
                  <a:lnTo>
                    <a:pt x="83" y="533"/>
                  </a:lnTo>
                  <a:lnTo>
                    <a:pt x="82" y="535"/>
                  </a:lnTo>
                  <a:lnTo>
                    <a:pt x="80" y="536"/>
                  </a:lnTo>
                  <a:lnTo>
                    <a:pt x="82" y="538"/>
                  </a:lnTo>
                  <a:lnTo>
                    <a:pt x="79" y="538"/>
                  </a:lnTo>
                  <a:lnTo>
                    <a:pt x="80" y="539"/>
                  </a:lnTo>
                  <a:lnTo>
                    <a:pt x="80" y="540"/>
                  </a:lnTo>
                  <a:lnTo>
                    <a:pt x="80" y="542"/>
                  </a:lnTo>
                  <a:lnTo>
                    <a:pt x="80" y="545"/>
                  </a:lnTo>
                  <a:lnTo>
                    <a:pt x="79" y="544"/>
                  </a:lnTo>
                  <a:lnTo>
                    <a:pt x="79" y="542"/>
                  </a:lnTo>
                  <a:lnTo>
                    <a:pt x="78" y="544"/>
                  </a:lnTo>
                  <a:lnTo>
                    <a:pt x="77" y="544"/>
                  </a:lnTo>
                  <a:lnTo>
                    <a:pt x="76" y="541"/>
                  </a:lnTo>
                  <a:lnTo>
                    <a:pt x="77" y="540"/>
                  </a:lnTo>
                  <a:lnTo>
                    <a:pt x="73" y="540"/>
                  </a:lnTo>
                  <a:lnTo>
                    <a:pt x="72" y="540"/>
                  </a:lnTo>
                  <a:lnTo>
                    <a:pt x="72" y="539"/>
                  </a:lnTo>
                  <a:lnTo>
                    <a:pt x="74" y="538"/>
                  </a:lnTo>
                  <a:lnTo>
                    <a:pt x="74" y="536"/>
                  </a:lnTo>
                  <a:lnTo>
                    <a:pt x="73" y="536"/>
                  </a:lnTo>
                  <a:lnTo>
                    <a:pt x="73" y="535"/>
                  </a:lnTo>
                  <a:lnTo>
                    <a:pt x="76" y="536"/>
                  </a:lnTo>
                  <a:lnTo>
                    <a:pt x="79" y="535"/>
                  </a:lnTo>
                  <a:lnTo>
                    <a:pt x="80" y="532"/>
                  </a:lnTo>
                  <a:lnTo>
                    <a:pt x="78" y="532"/>
                  </a:lnTo>
                  <a:lnTo>
                    <a:pt x="79" y="532"/>
                  </a:lnTo>
                  <a:lnTo>
                    <a:pt x="82" y="529"/>
                  </a:lnTo>
                  <a:lnTo>
                    <a:pt x="83" y="528"/>
                  </a:lnTo>
                  <a:lnTo>
                    <a:pt x="88" y="527"/>
                  </a:lnTo>
                  <a:lnTo>
                    <a:pt x="90" y="524"/>
                  </a:lnTo>
                  <a:lnTo>
                    <a:pt x="92" y="523"/>
                  </a:lnTo>
                  <a:lnTo>
                    <a:pt x="97" y="522"/>
                  </a:lnTo>
                  <a:lnTo>
                    <a:pt x="102" y="522"/>
                  </a:lnTo>
                  <a:lnTo>
                    <a:pt x="105" y="522"/>
                  </a:lnTo>
                  <a:lnTo>
                    <a:pt x="105" y="521"/>
                  </a:lnTo>
                  <a:lnTo>
                    <a:pt x="103" y="518"/>
                  </a:lnTo>
                  <a:lnTo>
                    <a:pt x="106" y="518"/>
                  </a:lnTo>
                  <a:lnTo>
                    <a:pt x="107" y="518"/>
                  </a:lnTo>
                  <a:lnTo>
                    <a:pt x="111" y="518"/>
                  </a:lnTo>
                  <a:lnTo>
                    <a:pt x="112" y="518"/>
                  </a:lnTo>
                  <a:lnTo>
                    <a:pt x="112" y="515"/>
                  </a:lnTo>
                  <a:lnTo>
                    <a:pt x="111" y="514"/>
                  </a:lnTo>
                  <a:lnTo>
                    <a:pt x="107" y="512"/>
                  </a:lnTo>
                  <a:lnTo>
                    <a:pt x="107" y="515"/>
                  </a:lnTo>
                  <a:lnTo>
                    <a:pt x="107" y="516"/>
                  </a:lnTo>
                  <a:lnTo>
                    <a:pt x="106" y="515"/>
                  </a:lnTo>
                  <a:lnTo>
                    <a:pt x="105" y="512"/>
                  </a:lnTo>
                  <a:lnTo>
                    <a:pt x="105" y="514"/>
                  </a:lnTo>
                  <a:lnTo>
                    <a:pt x="105" y="516"/>
                  </a:lnTo>
                  <a:lnTo>
                    <a:pt x="103" y="516"/>
                  </a:lnTo>
                  <a:lnTo>
                    <a:pt x="103" y="514"/>
                  </a:lnTo>
                  <a:lnTo>
                    <a:pt x="102" y="514"/>
                  </a:lnTo>
                  <a:lnTo>
                    <a:pt x="102" y="516"/>
                  </a:lnTo>
                  <a:lnTo>
                    <a:pt x="101" y="517"/>
                  </a:lnTo>
                  <a:lnTo>
                    <a:pt x="101" y="520"/>
                  </a:lnTo>
                  <a:lnTo>
                    <a:pt x="100" y="521"/>
                  </a:lnTo>
                  <a:lnTo>
                    <a:pt x="99" y="521"/>
                  </a:lnTo>
                  <a:lnTo>
                    <a:pt x="99" y="518"/>
                  </a:lnTo>
                  <a:lnTo>
                    <a:pt x="97" y="517"/>
                  </a:lnTo>
                  <a:lnTo>
                    <a:pt x="96" y="516"/>
                  </a:lnTo>
                  <a:lnTo>
                    <a:pt x="96" y="515"/>
                  </a:lnTo>
                  <a:lnTo>
                    <a:pt x="95" y="514"/>
                  </a:lnTo>
                  <a:lnTo>
                    <a:pt x="92" y="515"/>
                  </a:lnTo>
                  <a:lnTo>
                    <a:pt x="92" y="516"/>
                  </a:lnTo>
                  <a:lnTo>
                    <a:pt x="90" y="518"/>
                  </a:lnTo>
                  <a:lnTo>
                    <a:pt x="89" y="518"/>
                  </a:lnTo>
                  <a:lnTo>
                    <a:pt x="88" y="520"/>
                  </a:lnTo>
                  <a:lnTo>
                    <a:pt x="86" y="517"/>
                  </a:lnTo>
                  <a:lnTo>
                    <a:pt x="86" y="518"/>
                  </a:lnTo>
                  <a:lnTo>
                    <a:pt x="85" y="520"/>
                  </a:lnTo>
                  <a:lnTo>
                    <a:pt x="85" y="521"/>
                  </a:lnTo>
                  <a:lnTo>
                    <a:pt x="84" y="521"/>
                  </a:lnTo>
                  <a:lnTo>
                    <a:pt x="83" y="517"/>
                  </a:lnTo>
                  <a:lnTo>
                    <a:pt x="83" y="515"/>
                  </a:lnTo>
                  <a:lnTo>
                    <a:pt x="83" y="516"/>
                  </a:lnTo>
                  <a:lnTo>
                    <a:pt x="82" y="516"/>
                  </a:lnTo>
                  <a:lnTo>
                    <a:pt x="80" y="514"/>
                  </a:lnTo>
                  <a:lnTo>
                    <a:pt x="79" y="517"/>
                  </a:lnTo>
                  <a:lnTo>
                    <a:pt x="78" y="518"/>
                  </a:lnTo>
                  <a:lnTo>
                    <a:pt x="78" y="522"/>
                  </a:lnTo>
                  <a:lnTo>
                    <a:pt x="77" y="523"/>
                  </a:lnTo>
                  <a:lnTo>
                    <a:pt x="76" y="522"/>
                  </a:lnTo>
                  <a:lnTo>
                    <a:pt x="76" y="520"/>
                  </a:lnTo>
                  <a:lnTo>
                    <a:pt x="76" y="516"/>
                  </a:lnTo>
                  <a:lnTo>
                    <a:pt x="74" y="515"/>
                  </a:lnTo>
                  <a:lnTo>
                    <a:pt x="73" y="515"/>
                  </a:lnTo>
                  <a:lnTo>
                    <a:pt x="73" y="517"/>
                  </a:lnTo>
                  <a:lnTo>
                    <a:pt x="73" y="521"/>
                  </a:lnTo>
                  <a:lnTo>
                    <a:pt x="73" y="522"/>
                  </a:lnTo>
                  <a:lnTo>
                    <a:pt x="72" y="521"/>
                  </a:lnTo>
                  <a:lnTo>
                    <a:pt x="71" y="518"/>
                  </a:lnTo>
                  <a:lnTo>
                    <a:pt x="71" y="517"/>
                  </a:lnTo>
                  <a:lnTo>
                    <a:pt x="70" y="515"/>
                  </a:lnTo>
                  <a:lnTo>
                    <a:pt x="70" y="516"/>
                  </a:lnTo>
                  <a:lnTo>
                    <a:pt x="68" y="517"/>
                  </a:lnTo>
                  <a:lnTo>
                    <a:pt x="66" y="517"/>
                  </a:lnTo>
                  <a:lnTo>
                    <a:pt x="65" y="517"/>
                  </a:lnTo>
                  <a:lnTo>
                    <a:pt x="64" y="517"/>
                  </a:lnTo>
                  <a:lnTo>
                    <a:pt x="62" y="518"/>
                  </a:lnTo>
                  <a:lnTo>
                    <a:pt x="61" y="521"/>
                  </a:lnTo>
                  <a:lnTo>
                    <a:pt x="60" y="523"/>
                  </a:lnTo>
                  <a:lnTo>
                    <a:pt x="59" y="526"/>
                  </a:lnTo>
                  <a:lnTo>
                    <a:pt x="59" y="524"/>
                  </a:lnTo>
                  <a:lnTo>
                    <a:pt x="56" y="524"/>
                  </a:lnTo>
                  <a:lnTo>
                    <a:pt x="56" y="522"/>
                  </a:lnTo>
                  <a:lnTo>
                    <a:pt x="56" y="520"/>
                  </a:lnTo>
                  <a:lnTo>
                    <a:pt x="54" y="521"/>
                  </a:lnTo>
                  <a:lnTo>
                    <a:pt x="53" y="522"/>
                  </a:lnTo>
                  <a:lnTo>
                    <a:pt x="52" y="521"/>
                  </a:lnTo>
                  <a:lnTo>
                    <a:pt x="53" y="520"/>
                  </a:lnTo>
                  <a:lnTo>
                    <a:pt x="54" y="518"/>
                  </a:lnTo>
                  <a:lnTo>
                    <a:pt x="56" y="515"/>
                  </a:lnTo>
                  <a:lnTo>
                    <a:pt x="58" y="514"/>
                  </a:lnTo>
                  <a:lnTo>
                    <a:pt x="59" y="511"/>
                  </a:lnTo>
                  <a:lnTo>
                    <a:pt x="59" y="509"/>
                  </a:lnTo>
                  <a:lnTo>
                    <a:pt x="60" y="506"/>
                  </a:lnTo>
                  <a:lnTo>
                    <a:pt x="59" y="508"/>
                  </a:lnTo>
                  <a:lnTo>
                    <a:pt x="58" y="511"/>
                  </a:lnTo>
                  <a:lnTo>
                    <a:pt x="58" y="510"/>
                  </a:lnTo>
                  <a:lnTo>
                    <a:pt x="56" y="506"/>
                  </a:lnTo>
                  <a:lnTo>
                    <a:pt x="55" y="506"/>
                  </a:lnTo>
                  <a:lnTo>
                    <a:pt x="55" y="504"/>
                  </a:lnTo>
                  <a:lnTo>
                    <a:pt x="55" y="502"/>
                  </a:lnTo>
                  <a:lnTo>
                    <a:pt x="58" y="499"/>
                  </a:lnTo>
                  <a:lnTo>
                    <a:pt x="59" y="498"/>
                  </a:lnTo>
                  <a:lnTo>
                    <a:pt x="58" y="498"/>
                  </a:lnTo>
                  <a:lnTo>
                    <a:pt x="55" y="498"/>
                  </a:lnTo>
                  <a:lnTo>
                    <a:pt x="54" y="498"/>
                  </a:lnTo>
                  <a:lnTo>
                    <a:pt x="54" y="503"/>
                  </a:lnTo>
                  <a:lnTo>
                    <a:pt x="53" y="508"/>
                  </a:lnTo>
                  <a:lnTo>
                    <a:pt x="53" y="509"/>
                  </a:lnTo>
                  <a:lnTo>
                    <a:pt x="52" y="508"/>
                  </a:lnTo>
                  <a:lnTo>
                    <a:pt x="52" y="505"/>
                  </a:lnTo>
                  <a:lnTo>
                    <a:pt x="52" y="502"/>
                  </a:lnTo>
                  <a:lnTo>
                    <a:pt x="50" y="499"/>
                  </a:lnTo>
                  <a:lnTo>
                    <a:pt x="50" y="502"/>
                  </a:lnTo>
                  <a:lnTo>
                    <a:pt x="50" y="504"/>
                  </a:lnTo>
                  <a:lnTo>
                    <a:pt x="49" y="505"/>
                  </a:lnTo>
                  <a:lnTo>
                    <a:pt x="49" y="506"/>
                  </a:lnTo>
                  <a:lnTo>
                    <a:pt x="49" y="510"/>
                  </a:lnTo>
                  <a:lnTo>
                    <a:pt x="48" y="511"/>
                  </a:lnTo>
                  <a:lnTo>
                    <a:pt x="47" y="511"/>
                  </a:lnTo>
                  <a:lnTo>
                    <a:pt x="47" y="509"/>
                  </a:lnTo>
                  <a:lnTo>
                    <a:pt x="47" y="505"/>
                  </a:lnTo>
                  <a:lnTo>
                    <a:pt x="46" y="504"/>
                  </a:lnTo>
                  <a:lnTo>
                    <a:pt x="44" y="503"/>
                  </a:lnTo>
                  <a:lnTo>
                    <a:pt x="43" y="502"/>
                  </a:lnTo>
                  <a:lnTo>
                    <a:pt x="43" y="504"/>
                  </a:lnTo>
                  <a:lnTo>
                    <a:pt x="41" y="505"/>
                  </a:lnTo>
                  <a:lnTo>
                    <a:pt x="41" y="503"/>
                  </a:lnTo>
                  <a:lnTo>
                    <a:pt x="41" y="502"/>
                  </a:lnTo>
                  <a:lnTo>
                    <a:pt x="40" y="502"/>
                  </a:lnTo>
                  <a:lnTo>
                    <a:pt x="38" y="504"/>
                  </a:lnTo>
                  <a:lnTo>
                    <a:pt x="37" y="503"/>
                  </a:lnTo>
                  <a:lnTo>
                    <a:pt x="37" y="502"/>
                  </a:lnTo>
                  <a:lnTo>
                    <a:pt x="38" y="500"/>
                  </a:lnTo>
                  <a:lnTo>
                    <a:pt x="41" y="500"/>
                  </a:lnTo>
                  <a:lnTo>
                    <a:pt x="43" y="499"/>
                  </a:lnTo>
                  <a:lnTo>
                    <a:pt x="46" y="498"/>
                  </a:lnTo>
                  <a:lnTo>
                    <a:pt x="48" y="497"/>
                  </a:lnTo>
                  <a:lnTo>
                    <a:pt x="49" y="497"/>
                  </a:lnTo>
                  <a:lnTo>
                    <a:pt x="52" y="497"/>
                  </a:lnTo>
                  <a:lnTo>
                    <a:pt x="54" y="496"/>
                  </a:lnTo>
                  <a:lnTo>
                    <a:pt x="58" y="494"/>
                  </a:lnTo>
                  <a:lnTo>
                    <a:pt x="61" y="494"/>
                  </a:lnTo>
                  <a:lnTo>
                    <a:pt x="62" y="494"/>
                  </a:lnTo>
                  <a:lnTo>
                    <a:pt x="64" y="493"/>
                  </a:lnTo>
                  <a:lnTo>
                    <a:pt x="65" y="493"/>
                  </a:lnTo>
                  <a:lnTo>
                    <a:pt x="71" y="492"/>
                  </a:lnTo>
                  <a:lnTo>
                    <a:pt x="70" y="491"/>
                  </a:lnTo>
                  <a:lnTo>
                    <a:pt x="71" y="491"/>
                  </a:lnTo>
                  <a:lnTo>
                    <a:pt x="72" y="492"/>
                  </a:lnTo>
                  <a:lnTo>
                    <a:pt x="73" y="492"/>
                  </a:lnTo>
                  <a:lnTo>
                    <a:pt x="77" y="492"/>
                  </a:lnTo>
                  <a:lnTo>
                    <a:pt x="76" y="490"/>
                  </a:lnTo>
                  <a:lnTo>
                    <a:pt x="77" y="491"/>
                  </a:lnTo>
                  <a:lnTo>
                    <a:pt x="79" y="491"/>
                  </a:lnTo>
                  <a:lnTo>
                    <a:pt x="82" y="491"/>
                  </a:lnTo>
                  <a:lnTo>
                    <a:pt x="90" y="490"/>
                  </a:lnTo>
                  <a:lnTo>
                    <a:pt x="95" y="488"/>
                  </a:lnTo>
                  <a:lnTo>
                    <a:pt x="99" y="490"/>
                  </a:lnTo>
                  <a:lnTo>
                    <a:pt x="102" y="490"/>
                  </a:lnTo>
                  <a:lnTo>
                    <a:pt x="103" y="488"/>
                  </a:lnTo>
                  <a:lnTo>
                    <a:pt x="102" y="487"/>
                  </a:lnTo>
                  <a:lnTo>
                    <a:pt x="101" y="487"/>
                  </a:lnTo>
                  <a:lnTo>
                    <a:pt x="102" y="486"/>
                  </a:lnTo>
                  <a:lnTo>
                    <a:pt x="102" y="484"/>
                  </a:lnTo>
                  <a:lnTo>
                    <a:pt x="103" y="482"/>
                  </a:lnTo>
                  <a:lnTo>
                    <a:pt x="105" y="481"/>
                  </a:lnTo>
                  <a:lnTo>
                    <a:pt x="102" y="479"/>
                  </a:lnTo>
                  <a:lnTo>
                    <a:pt x="102" y="476"/>
                  </a:lnTo>
                  <a:lnTo>
                    <a:pt x="101" y="475"/>
                  </a:lnTo>
                  <a:lnTo>
                    <a:pt x="101" y="478"/>
                  </a:lnTo>
                  <a:lnTo>
                    <a:pt x="99" y="479"/>
                  </a:lnTo>
                  <a:lnTo>
                    <a:pt x="97" y="480"/>
                  </a:lnTo>
                  <a:lnTo>
                    <a:pt x="97" y="484"/>
                  </a:lnTo>
                  <a:lnTo>
                    <a:pt x="96" y="485"/>
                  </a:lnTo>
                  <a:lnTo>
                    <a:pt x="95" y="485"/>
                  </a:lnTo>
                  <a:lnTo>
                    <a:pt x="94" y="485"/>
                  </a:lnTo>
                  <a:lnTo>
                    <a:pt x="92" y="484"/>
                  </a:lnTo>
                  <a:lnTo>
                    <a:pt x="91" y="482"/>
                  </a:lnTo>
                  <a:lnTo>
                    <a:pt x="91" y="481"/>
                  </a:lnTo>
                  <a:lnTo>
                    <a:pt x="91" y="482"/>
                  </a:lnTo>
                  <a:lnTo>
                    <a:pt x="90" y="484"/>
                  </a:lnTo>
                  <a:lnTo>
                    <a:pt x="90" y="482"/>
                  </a:lnTo>
                  <a:lnTo>
                    <a:pt x="89" y="481"/>
                  </a:lnTo>
                  <a:lnTo>
                    <a:pt x="88" y="481"/>
                  </a:lnTo>
                  <a:lnTo>
                    <a:pt x="84" y="484"/>
                  </a:lnTo>
                  <a:lnTo>
                    <a:pt x="84" y="482"/>
                  </a:lnTo>
                  <a:lnTo>
                    <a:pt x="85" y="481"/>
                  </a:lnTo>
                  <a:lnTo>
                    <a:pt x="88" y="479"/>
                  </a:lnTo>
                  <a:lnTo>
                    <a:pt x="89" y="478"/>
                  </a:lnTo>
                  <a:lnTo>
                    <a:pt x="89" y="475"/>
                  </a:lnTo>
                  <a:lnTo>
                    <a:pt x="89" y="474"/>
                  </a:lnTo>
                  <a:lnTo>
                    <a:pt x="88" y="472"/>
                  </a:lnTo>
                  <a:lnTo>
                    <a:pt x="85" y="472"/>
                  </a:lnTo>
                  <a:lnTo>
                    <a:pt x="84" y="472"/>
                  </a:lnTo>
                  <a:lnTo>
                    <a:pt x="84" y="473"/>
                  </a:lnTo>
                  <a:lnTo>
                    <a:pt x="83" y="473"/>
                  </a:lnTo>
                  <a:lnTo>
                    <a:pt x="80" y="470"/>
                  </a:lnTo>
                  <a:lnTo>
                    <a:pt x="79" y="468"/>
                  </a:lnTo>
                  <a:lnTo>
                    <a:pt x="79" y="470"/>
                  </a:lnTo>
                  <a:lnTo>
                    <a:pt x="80" y="473"/>
                  </a:lnTo>
                  <a:lnTo>
                    <a:pt x="80" y="474"/>
                  </a:lnTo>
                  <a:lnTo>
                    <a:pt x="79" y="478"/>
                  </a:lnTo>
                  <a:lnTo>
                    <a:pt x="78" y="478"/>
                  </a:lnTo>
                  <a:lnTo>
                    <a:pt x="79" y="480"/>
                  </a:lnTo>
                  <a:lnTo>
                    <a:pt x="78" y="481"/>
                  </a:lnTo>
                  <a:lnTo>
                    <a:pt x="77" y="481"/>
                  </a:lnTo>
                  <a:lnTo>
                    <a:pt x="77" y="482"/>
                  </a:lnTo>
                  <a:lnTo>
                    <a:pt x="74" y="482"/>
                  </a:lnTo>
                  <a:lnTo>
                    <a:pt x="73" y="481"/>
                  </a:lnTo>
                  <a:lnTo>
                    <a:pt x="72" y="481"/>
                  </a:lnTo>
                  <a:lnTo>
                    <a:pt x="71" y="482"/>
                  </a:lnTo>
                  <a:lnTo>
                    <a:pt x="68" y="481"/>
                  </a:lnTo>
                  <a:lnTo>
                    <a:pt x="68" y="480"/>
                  </a:lnTo>
                  <a:lnTo>
                    <a:pt x="68" y="479"/>
                  </a:lnTo>
                  <a:lnTo>
                    <a:pt x="66" y="479"/>
                  </a:lnTo>
                  <a:lnTo>
                    <a:pt x="64" y="478"/>
                  </a:lnTo>
                  <a:lnTo>
                    <a:pt x="66" y="476"/>
                  </a:lnTo>
                  <a:lnTo>
                    <a:pt x="68" y="475"/>
                  </a:lnTo>
                  <a:lnTo>
                    <a:pt x="72" y="473"/>
                  </a:lnTo>
                  <a:lnTo>
                    <a:pt x="72" y="470"/>
                  </a:lnTo>
                  <a:lnTo>
                    <a:pt x="73" y="468"/>
                  </a:lnTo>
                  <a:lnTo>
                    <a:pt x="76" y="467"/>
                  </a:lnTo>
                  <a:lnTo>
                    <a:pt x="74" y="466"/>
                  </a:lnTo>
                  <a:lnTo>
                    <a:pt x="77" y="464"/>
                  </a:lnTo>
                  <a:lnTo>
                    <a:pt x="78" y="464"/>
                  </a:lnTo>
                  <a:lnTo>
                    <a:pt x="79" y="462"/>
                  </a:lnTo>
                  <a:lnTo>
                    <a:pt x="82" y="462"/>
                  </a:lnTo>
                  <a:lnTo>
                    <a:pt x="83" y="461"/>
                  </a:lnTo>
                  <a:lnTo>
                    <a:pt x="86" y="460"/>
                  </a:lnTo>
                  <a:lnTo>
                    <a:pt x="90" y="460"/>
                  </a:lnTo>
                  <a:lnTo>
                    <a:pt x="95" y="458"/>
                  </a:lnTo>
                  <a:lnTo>
                    <a:pt x="97" y="458"/>
                  </a:lnTo>
                  <a:lnTo>
                    <a:pt x="97" y="456"/>
                  </a:lnTo>
                  <a:lnTo>
                    <a:pt x="97" y="455"/>
                  </a:lnTo>
                  <a:lnTo>
                    <a:pt x="95" y="455"/>
                  </a:lnTo>
                  <a:lnTo>
                    <a:pt x="95" y="454"/>
                  </a:lnTo>
                  <a:lnTo>
                    <a:pt x="95" y="451"/>
                  </a:lnTo>
                  <a:lnTo>
                    <a:pt x="94" y="451"/>
                  </a:lnTo>
                  <a:lnTo>
                    <a:pt x="92" y="452"/>
                  </a:lnTo>
                  <a:lnTo>
                    <a:pt x="91" y="455"/>
                  </a:lnTo>
                  <a:lnTo>
                    <a:pt x="90" y="456"/>
                  </a:lnTo>
                  <a:lnTo>
                    <a:pt x="89" y="455"/>
                  </a:lnTo>
                  <a:lnTo>
                    <a:pt x="90" y="452"/>
                  </a:lnTo>
                  <a:lnTo>
                    <a:pt x="90" y="451"/>
                  </a:lnTo>
                  <a:lnTo>
                    <a:pt x="88" y="451"/>
                  </a:lnTo>
                  <a:lnTo>
                    <a:pt x="85" y="451"/>
                  </a:lnTo>
                  <a:lnTo>
                    <a:pt x="88" y="450"/>
                  </a:lnTo>
                  <a:lnTo>
                    <a:pt x="89" y="449"/>
                  </a:lnTo>
                  <a:lnTo>
                    <a:pt x="91" y="447"/>
                  </a:lnTo>
                  <a:lnTo>
                    <a:pt x="92" y="449"/>
                  </a:lnTo>
                  <a:lnTo>
                    <a:pt x="95" y="447"/>
                  </a:lnTo>
                  <a:lnTo>
                    <a:pt x="96" y="449"/>
                  </a:lnTo>
                  <a:lnTo>
                    <a:pt x="99" y="449"/>
                  </a:lnTo>
                  <a:lnTo>
                    <a:pt x="100" y="447"/>
                  </a:lnTo>
                  <a:lnTo>
                    <a:pt x="101" y="447"/>
                  </a:lnTo>
                  <a:lnTo>
                    <a:pt x="103" y="446"/>
                  </a:lnTo>
                  <a:lnTo>
                    <a:pt x="105" y="446"/>
                  </a:lnTo>
                  <a:lnTo>
                    <a:pt x="106" y="445"/>
                  </a:lnTo>
                  <a:lnTo>
                    <a:pt x="107" y="444"/>
                  </a:lnTo>
                  <a:lnTo>
                    <a:pt x="107" y="443"/>
                  </a:lnTo>
                  <a:lnTo>
                    <a:pt x="108" y="441"/>
                  </a:lnTo>
                  <a:lnTo>
                    <a:pt x="109" y="443"/>
                  </a:lnTo>
                  <a:lnTo>
                    <a:pt x="111" y="441"/>
                  </a:lnTo>
                  <a:lnTo>
                    <a:pt x="111" y="439"/>
                  </a:lnTo>
                  <a:lnTo>
                    <a:pt x="109" y="439"/>
                  </a:lnTo>
                  <a:lnTo>
                    <a:pt x="108" y="439"/>
                  </a:lnTo>
                  <a:lnTo>
                    <a:pt x="111" y="437"/>
                  </a:lnTo>
                  <a:lnTo>
                    <a:pt x="112" y="435"/>
                  </a:lnTo>
                  <a:lnTo>
                    <a:pt x="117" y="431"/>
                  </a:lnTo>
                  <a:lnTo>
                    <a:pt x="118" y="429"/>
                  </a:lnTo>
                  <a:lnTo>
                    <a:pt x="120" y="428"/>
                  </a:lnTo>
                  <a:lnTo>
                    <a:pt x="120" y="426"/>
                  </a:lnTo>
                  <a:lnTo>
                    <a:pt x="118" y="425"/>
                  </a:lnTo>
                  <a:lnTo>
                    <a:pt x="117" y="423"/>
                  </a:lnTo>
                  <a:lnTo>
                    <a:pt x="117" y="426"/>
                  </a:lnTo>
                  <a:lnTo>
                    <a:pt x="117" y="427"/>
                  </a:lnTo>
                  <a:lnTo>
                    <a:pt x="114" y="427"/>
                  </a:lnTo>
                  <a:lnTo>
                    <a:pt x="114" y="428"/>
                  </a:lnTo>
                  <a:lnTo>
                    <a:pt x="114" y="431"/>
                  </a:lnTo>
                  <a:lnTo>
                    <a:pt x="113" y="431"/>
                  </a:lnTo>
                  <a:lnTo>
                    <a:pt x="113" y="432"/>
                  </a:lnTo>
                  <a:lnTo>
                    <a:pt x="112" y="433"/>
                  </a:lnTo>
                  <a:lnTo>
                    <a:pt x="112" y="432"/>
                  </a:lnTo>
                  <a:lnTo>
                    <a:pt x="111" y="429"/>
                  </a:lnTo>
                  <a:lnTo>
                    <a:pt x="111" y="428"/>
                  </a:lnTo>
                  <a:lnTo>
                    <a:pt x="112" y="427"/>
                  </a:lnTo>
                  <a:lnTo>
                    <a:pt x="111" y="426"/>
                  </a:lnTo>
                  <a:lnTo>
                    <a:pt x="109" y="426"/>
                  </a:lnTo>
                  <a:lnTo>
                    <a:pt x="108" y="427"/>
                  </a:lnTo>
                  <a:lnTo>
                    <a:pt x="107" y="428"/>
                  </a:lnTo>
                  <a:lnTo>
                    <a:pt x="108" y="432"/>
                  </a:lnTo>
                  <a:lnTo>
                    <a:pt x="107" y="433"/>
                  </a:lnTo>
                  <a:lnTo>
                    <a:pt x="106" y="432"/>
                  </a:lnTo>
                  <a:lnTo>
                    <a:pt x="106" y="431"/>
                  </a:lnTo>
                  <a:lnTo>
                    <a:pt x="106" y="428"/>
                  </a:lnTo>
                  <a:lnTo>
                    <a:pt x="105" y="428"/>
                  </a:lnTo>
                  <a:lnTo>
                    <a:pt x="103" y="429"/>
                  </a:lnTo>
                  <a:lnTo>
                    <a:pt x="103" y="428"/>
                  </a:lnTo>
                  <a:lnTo>
                    <a:pt x="102" y="429"/>
                  </a:lnTo>
                  <a:lnTo>
                    <a:pt x="102" y="431"/>
                  </a:lnTo>
                  <a:lnTo>
                    <a:pt x="101" y="432"/>
                  </a:lnTo>
                  <a:lnTo>
                    <a:pt x="100" y="432"/>
                  </a:lnTo>
                  <a:lnTo>
                    <a:pt x="100" y="431"/>
                  </a:lnTo>
                  <a:lnTo>
                    <a:pt x="100" y="428"/>
                  </a:lnTo>
                  <a:lnTo>
                    <a:pt x="100" y="426"/>
                  </a:lnTo>
                  <a:lnTo>
                    <a:pt x="99" y="426"/>
                  </a:lnTo>
                  <a:lnTo>
                    <a:pt x="97" y="427"/>
                  </a:lnTo>
                  <a:lnTo>
                    <a:pt x="99" y="429"/>
                  </a:lnTo>
                  <a:lnTo>
                    <a:pt x="99" y="431"/>
                  </a:lnTo>
                  <a:lnTo>
                    <a:pt x="99" y="432"/>
                  </a:lnTo>
                  <a:lnTo>
                    <a:pt x="99" y="435"/>
                  </a:lnTo>
                  <a:lnTo>
                    <a:pt x="97" y="437"/>
                  </a:lnTo>
                  <a:lnTo>
                    <a:pt x="96" y="438"/>
                  </a:lnTo>
                  <a:lnTo>
                    <a:pt x="95" y="437"/>
                  </a:lnTo>
                  <a:lnTo>
                    <a:pt x="95" y="438"/>
                  </a:lnTo>
                  <a:lnTo>
                    <a:pt x="94" y="439"/>
                  </a:lnTo>
                  <a:lnTo>
                    <a:pt x="92" y="439"/>
                  </a:lnTo>
                  <a:lnTo>
                    <a:pt x="92" y="435"/>
                  </a:lnTo>
                  <a:lnTo>
                    <a:pt x="92" y="433"/>
                  </a:lnTo>
                  <a:lnTo>
                    <a:pt x="92" y="432"/>
                  </a:lnTo>
                  <a:lnTo>
                    <a:pt x="94" y="429"/>
                  </a:lnTo>
                  <a:lnTo>
                    <a:pt x="94" y="428"/>
                  </a:lnTo>
                  <a:lnTo>
                    <a:pt x="95" y="426"/>
                  </a:lnTo>
                  <a:lnTo>
                    <a:pt x="95" y="422"/>
                  </a:lnTo>
                  <a:lnTo>
                    <a:pt x="95" y="419"/>
                  </a:lnTo>
                  <a:lnTo>
                    <a:pt x="94" y="417"/>
                  </a:lnTo>
                  <a:lnTo>
                    <a:pt x="91" y="417"/>
                  </a:lnTo>
                  <a:lnTo>
                    <a:pt x="91" y="420"/>
                  </a:lnTo>
                  <a:lnTo>
                    <a:pt x="91" y="422"/>
                  </a:lnTo>
                  <a:lnTo>
                    <a:pt x="90" y="422"/>
                  </a:lnTo>
                  <a:lnTo>
                    <a:pt x="89" y="421"/>
                  </a:lnTo>
                  <a:lnTo>
                    <a:pt x="89" y="419"/>
                  </a:lnTo>
                  <a:lnTo>
                    <a:pt x="86" y="416"/>
                  </a:lnTo>
                  <a:lnTo>
                    <a:pt x="86" y="415"/>
                  </a:lnTo>
                  <a:lnTo>
                    <a:pt x="86" y="416"/>
                  </a:lnTo>
                  <a:lnTo>
                    <a:pt x="86" y="420"/>
                  </a:lnTo>
                  <a:lnTo>
                    <a:pt x="86" y="422"/>
                  </a:lnTo>
                  <a:lnTo>
                    <a:pt x="84" y="421"/>
                  </a:lnTo>
                  <a:lnTo>
                    <a:pt x="84" y="419"/>
                  </a:lnTo>
                  <a:lnTo>
                    <a:pt x="83" y="416"/>
                  </a:lnTo>
                  <a:lnTo>
                    <a:pt x="82" y="415"/>
                  </a:lnTo>
                  <a:lnTo>
                    <a:pt x="82" y="417"/>
                  </a:lnTo>
                  <a:lnTo>
                    <a:pt x="82" y="421"/>
                  </a:lnTo>
                  <a:lnTo>
                    <a:pt x="82" y="423"/>
                  </a:lnTo>
                  <a:lnTo>
                    <a:pt x="80" y="422"/>
                  </a:lnTo>
                  <a:lnTo>
                    <a:pt x="79" y="419"/>
                  </a:lnTo>
                  <a:lnTo>
                    <a:pt x="79" y="416"/>
                  </a:lnTo>
                  <a:lnTo>
                    <a:pt x="79" y="414"/>
                  </a:lnTo>
                  <a:lnTo>
                    <a:pt x="79" y="411"/>
                  </a:lnTo>
                  <a:lnTo>
                    <a:pt x="80" y="408"/>
                  </a:lnTo>
                  <a:lnTo>
                    <a:pt x="79" y="408"/>
                  </a:lnTo>
                  <a:lnTo>
                    <a:pt x="77" y="408"/>
                  </a:lnTo>
                  <a:lnTo>
                    <a:pt x="76" y="409"/>
                  </a:lnTo>
                  <a:lnTo>
                    <a:pt x="77" y="407"/>
                  </a:lnTo>
                  <a:lnTo>
                    <a:pt x="77" y="405"/>
                  </a:lnTo>
                  <a:lnTo>
                    <a:pt x="74" y="405"/>
                  </a:lnTo>
                  <a:lnTo>
                    <a:pt x="73" y="405"/>
                  </a:lnTo>
                  <a:lnTo>
                    <a:pt x="74" y="404"/>
                  </a:lnTo>
                  <a:lnTo>
                    <a:pt x="76" y="403"/>
                  </a:lnTo>
                  <a:lnTo>
                    <a:pt x="76" y="402"/>
                  </a:lnTo>
                  <a:lnTo>
                    <a:pt x="77" y="403"/>
                  </a:lnTo>
                  <a:lnTo>
                    <a:pt x="77" y="404"/>
                  </a:lnTo>
                  <a:lnTo>
                    <a:pt x="79" y="405"/>
                  </a:lnTo>
                  <a:lnTo>
                    <a:pt x="79" y="404"/>
                  </a:lnTo>
                  <a:lnTo>
                    <a:pt x="80" y="404"/>
                  </a:lnTo>
                  <a:lnTo>
                    <a:pt x="82" y="404"/>
                  </a:lnTo>
                  <a:lnTo>
                    <a:pt x="83" y="405"/>
                  </a:lnTo>
                  <a:lnTo>
                    <a:pt x="84" y="404"/>
                  </a:lnTo>
                  <a:lnTo>
                    <a:pt x="85" y="404"/>
                  </a:lnTo>
                  <a:lnTo>
                    <a:pt x="85" y="407"/>
                  </a:lnTo>
                  <a:lnTo>
                    <a:pt x="86" y="407"/>
                  </a:lnTo>
                  <a:lnTo>
                    <a:pt x="88" y="405"/>
                  </a:lnTo>
                  <a:lnTo>
                    <a:pt x="89" y="407"/>
                  </a:lnTo>
                  <a:lnTo>
                    <a:pt x="90" y="408"/>
                  </a:lnTo>
                  <a:lnTo>
                    <a:pt x="92" y="409"/>
                  </a:lnTo>
                  <a:lnTo>
                    <a:pt x="94" y="410"/>
                  </a:lnTo>
                  <a:lnTo>
                    <a:pt x="99" y="410"/>
                  </a:lnTo>
                  <a:lnTo>
                    <a:pt x="102" y="410"/>
                  </a:lnTo>
                  <a:lnTo>
                    <a:pt x="105" y="410"/>
                  </a:lnTo>
                  <a:lnTo>
                    <a:pt x="108" y="411"/>
                  </a:lnTo>
                  <a:lnTo>
                    <a:pt x="113" y="411"/>
                  </a:lnTo>
                  <a:lnTo>
                    <a:pt x="117" y="411"/>
                  </a:lnTo>
                  <a:lnTo>
                    <a:pt x="120" y="413"/>
                  </a:lnTo>
                  <a:lnTo>
                    <a:pt x="124" y="411"/>
                  </a:lnTo>
                  <a:lnTo>
                    <a:pt x="126" y="413"/>
                  </a:lnTo>
                  <a:lnTo>
                    <a:pt x="129" y="414"/>
                  </a:lnTo>
                  <a:lnTo>
                    <a:pt x="133" y="413"/>
                  </a:lnTo>
                  <a:lnTo>
                    <a:pt x="137" y="413"/>
                  </a:lnTo>
                  <a:lnTo>
                    <a:pt x="138" y="411"/>
                  </a:lnTo>
                  <a:lnTo>
                    <a:pt x="141" y="411"/>
                  </a:lnTo>
                  <a:lnTo>
                    <a:pt x="143" y="409"/>
                  </a:lnTo>
                  <a:lnTo>
                    <a:pt x="143" y="407"/>
                  </a:lnTo>
                  <a:lnTo>
                    <a:pt x="144" y="407"/>
                  </a:lnTo>
                  <a:lnTo>
                    <a:pt x="148" y="407"/>
                  </a:lnTo>
                  <a:lnTo>
                    <a:pt x="150" y="408"/>
                  </a:lnTo>
                  <a:lnTo>
                    <a:pt x="151" y="409"/>
                  </a:lnTo>
                  <a:lnTo>
                    <a:pt x="154" y="409"/>
                  </a:lnTo>
                  <a:lnTo>
                    <a:pt x="155" y="409"/>
                  </a:lnTo>
                  <a:lnTo>
                    <a:pt x="159" y="407"/>
                  </a:lnTo>
                  <a:lnTo>
                    <a:pt x="162" y="404"/>
                  </a:lnTo>
                  <a:lnTo>
                    <a:pt x="166" y="402"/>
                  </a:lnTo>
                  <a:lnTo>
                    <a:pt x="168" y="399"/>
                  </a:lnTo>
                  <a:lnTo>
                    <a:pt x="172" y="397"/>
                  </a:lnTo>
                  <a:lnTo>
                    <a:pt x="174" y="395"/>
                  </a:lnTo>
                  <a:lnTo>
                    <a:pt x="173" y="393"/>
                  </a:lnTo>
                  <a:lnTo>
                    <a:pt x="171" y="393"/>
                  </a:lnTo>
                  <a:lnTo>
                    <a:pt x="171" y="392"/>
                  </a:lnTo>
                  <a:lnTo>
                    <a:pt x="173" y="391"/>
                  </a:lnTo>
                  <a:lnTo>
                    <a:pt x="174" y="390"/>
                  </a:lnTo>
                  <a:lnTo>
                    <a:pt x="176" y="387"/>
                  </a:lnTo>
                  <a:lnTo>
                    <a:pt x="174" y="387"/>
                  </a:lnTo>
                  <a:lnTo>
                    <a:pt x="173" y="389"/>
                  </a:lnTo>
                  <a:lnTo>
                    <a:pt x="172" y="390"/>
                  </a:lnTo>
                  <a:lnTo>
                    <a:pt x="171" y="391"/>
                  </a:lnTo>
                  <a:lnTo>
                    <a:pt x="170" y="390"/>
                  </a:lnTo>
                  <a:lnTo>
                    <a:pt x="168" y="389"/>
                  </a:lnTo>
                  <a:lnTo>
                    <a:pt x="167" y="389"/>
                  </a:lnTo>
                  <a:lnTo>
                    <a:pt x="168" y="390"/>
                  </a:lnTo>
                  <a:lnTo>
                    <a:pt x="167" y="391"/>
                  </a:lnTo>
                  <a:lnTo>
                    <a:pt x="168" y="395"/>
                  </a:lnTo>
                  <a:lnTo>
                    <a:pt x="168" y="396"/>
                  </a:lnTo>
                  <a:lnTo>
                    <a:pt x="167" y="397"/>
                  </a:lnTo>
                  <a:lnTo>
                    <a:pt x="166" y="396"/>
                  </a:lnTo>
                  <a:lnTo>
                    <a:pt x="166" y="393"/>
                  </a:lnTo>
                  <a:lnTo>
                    <a:pt x="164" y="392"/>
                  </a:lnTo>
                  <a:lnTo>
                    <a:pt x="162" y="391"/>
                  </a:lnTo>
                  <a:lnTo>
                    <a:pt x="161" y="390"/>
                  </a:lnTo>
                  <a:lnTo>
                    <a:pt x="160" y="391"/>
                  </a:lnTo>
                  <a:lnTo>
                    <a:pt x="160" y="393"/>
                  </a:lnTo>
                  <a:lnTo>
                    <a:pt x="159" y="396"/>
                  </a:lnTo>
                  <a:lnTo>
                    <a:pt x="158" y="395"/>
                  </a:lnTo>
                  <a:lnTo>
                    <a:pt x="158" y="391"/>
                  </a:lnTo>
                  <a:lnTo>
                    <a:pt x="156" y="390"/>
                  </a:lnTo>
                  <a:lnTo>
                    <a:pt x="156" y="391"/>
                  </a:lnTo>
                  <a:lnTo>
                    <a:pt x="156" y="392"/>
                  </a:lnTo>
                  <a:lnTo>
                    <a:pt x="154" y="390"/>
                  </a:lnTo>
                  <a:lnTo>
                    <a:pt x="154" y="389"/>
                  </a:lnTo>
                  <a:lnTo>
                    <a:pt x="154" y="393"/>
                  </a:lnTo>
                  <a:lnTo>
                    <a:pt x="154" y="396"/>
                  </a:lnTo>
                  <a:lnTo>
                    <a:pt x="153" y="396"/>
                  </a:lnTo>
                  <a:lnTo>
                    <a:pt x="151" y="395"/>
                  </a:lnTo>
                  <a:lnTo>
                    <a:pt x="149" y="391"/>
                  </a:lnTo>
                  <a:lnTo>
                    <a:pt x="148" y="390"/>
                  </a:lnTo>
                  <a:lnTo>
                    <a:pt x="148" y="393"/>
                  </a:lnTo>
                  <a:lnTo>
                    <a:pt x="148" y="397"/>
                  </a:lnTo>
                  <a:lnTo>
                    <a:pt x="147" y="395"/>
                  </a:lnTo>
                  <a:lnTo>
                    <a:pt x="145" y="392"/>
                  </a:lnTo>
                  <a:lnTo>
                    <a:pt x="145" y="390"/>
                  </a:lnTo>
                  <a:lnTo>
                    <a:pt x="143" y="387"/>
                  </a:lnTo>
                  <a:lnTo>
                    <a:pt x="143" y="393"/>
                  </a:lnTo>
                  <a:lnTo>
                    <a:pt x="144" y="396"/>
                  </a:lnTo>
                  <a:lnTo>
                    <a:pt x="142" y="395"/>
                  </a:lnTo>
                  <a:lnTo>
                    <a:pt x="141" y="392"/>
                  </a:lnTo>
                  <a:lnTo>
                    <a:pt x="142" y="396"/>
                  </a:lnTo>
                  <a:lnTo>
                    <a:pt x="142" y="397"/>
                  </a:lnTo>
                  <a:lnTo>
                    <a:pt x="141" y="398"/>
                  </a:lnTo>
                  <a:lnTo>
                    <a:pt x="139" y="397"/>
                  </a:lnTo>
                  <a:lnTo>
                    <a:pt x="139" y="395"/>
                  </a:lnTo>
                  <a:lnTo>
                    <a:pt x="138" y="395"/>
                  </a:lnTo>
                  <a:lnTo>
                    <a:pt x="136" y="393"/>
                  </a:lnTo>
                  <a:lnTo>
                    <a:pt x="136" y="392"/>
                  </a:lnTo>
                  <a:lnTo>
                    <a:pt x="135" y="395"/>
                  </a:lnTo>
                  <a:lnTo>
                    <a:pt x="137" y="397"/>
                  </a:lnTo>
                  <a:lnTo>
                    <a:pt x="137" y="398"/>
                  </a:lnTo>
                  <a:lnTo>
                    <a:pt x="136" y="397"/>
                  </a:lnTo>
                  <a:lnTo>
                    <a:pt x="135" y="396"/>
                  </a:lnTo>
                  <a:lnTo>
                    <a:pt x="132" y="395"/>
                  </a:lnTo>
                  <a:lnTo>
                    <a:pt x="132" y="399"/>
                  </a:lnTo>
                  <a:lnTo>
                    <a:pt x="130" y="401"/>
                  </a:lnTo>
                  <a:lnTo>
                    <a:pt x="130" y="402"/>
                  </a:lnTo>
                  <a:lnTo>
                    <a:pt x="129" y="402"/>
                  </a:lnTo>
                  <a:lnTo>
                    <a:pt x="127" y="402"/>
                  </a:lnTo>
                  <a:lnTo>
                    <a:pt x="126" y="401"/>
                  </a:lnTo>
                  <a:lnTo>
                    <a:pt x="126" y="399"/>
                  </a:lnTo>
                  <a:lnTo>
                    <a:pt x="125" y="399"/>
                  </a:lnTo>
                  <a:lnTo>
                    <a:pt x="125" y="401"/>
                  </a:lnTo>
                  <a:lnTo>
                    <a:pt x="125" y="402"/>
                  </a:lnTo>
                  <a:lnTo>
                    <a:pt x="126" y="403"/>
                  </a:lnTo>
                  <a:lnTo>
                    <a:pt x="126" y="405"/>
                  </a:lnTo>
                  <a:lnTo>
                    <a:pt x="125" y="408"/>
                  </a:lnTo>
                  <a:lnTo>
                    <a:pt x="124" y="407"/>
                  </a:lnTo>
                  <a:lnTo>
                    <a:pt x="124" y="404"/>
                  </a:lnTo>
                  <a:lnTo>
                    <a:pt x="124" y="403"/>
                  </a:lnTo>
                  <a:lnTo>
                    <a:pt x="123" y="401"/>
                  </a:lnTo>
                  <a:lnTo>
                    <a:pt x="123" y="403"/>
                  </a:lnTo>
                  <a:lnTo>
                    <a:pt x="121" y="403"/>
                  </a:lnTo>
                  <a:lnTo>
                    <a:pt x="120" y="403"/>
                  </a:lnTo>
                  <a:lnTo>
                    <a:pt x="120" y="402"/>
                  </a:lnTo>
                  <a:lnTo>
                    <a:pt x="120" y="399"/>
                  </a:lnTo>
                  <a:lnTo>
                    <a:pt x="119" y="397"/>
                  </a:lnTo>
                  <a:lnTo>
                    <a:pt x="119" y="396"/>
                  </a:lnTo>
                  <a:lnTo>
                    <a:pt x="119" y="401"/>
                  </a:lnTo>
                  <a:lnTo>
                    <a:pt x="119" y="404"/>
                  </a:lnTo>
                  <a:lnTo>
                    <a:pt x="119" y="405"/>
                  </a:lnTo>
                  <a:lnTo>
                    <a:pt x="117" y="408"/>
                  </a:lnTo>
                  <a:lnTo>
                    <a:pt x="115" y="408"/>
                  </a:lnTo>
                  <a:lnTo>
                    <a:pt x="113" y="408"/>
                  </a:lnTo>
                  <a:lnTo>
                    <a:pt x="113" y="405"/>
                  </a:lnTo>
                  <a:lnTo>
                    <a:pt x="113" y="403"/>
                  </a:lnTo>
                  <a:lnTo>
                    <a:pt x="113" y="401"/>
                  </a:lnTo>
                  <a:lnTo>
                    <a:pt x="112" y="403"/>
                  </a:lnTo>
                  <a:lnTo>
                    <a:pt x="112" y="404"/>
                  </a:lnTo>
                  <a:lnTo>
                    <a:pt x="111" y="403"/>
                  </a:lnTo>
                  <a:lnTo>
                    <a:pt x="109" y="403"/>
                  </a:lnTo>
                  <a:lnTo>
                    <a:pt x="108" y="405"/>
                  </a:lnTo>
                  <a:lnTo>
                    <a:pt x="107" y="408"/>
                  </a:lnTo>
                  <a:lnTo>
                    <a:pt x="107" y="405"/>
                  </a:lnTo>
                  <a:lnTo>
                    <a:pt x="106" y="404"/>
                  </a:lnTo>
                  <a:lnTo>
                    <a:pt x="102" y="407"/>
                  </a:lnTo>
                  <a:lnTo>
                    <a:pt x="103" y="405"/>
                  </a:lnTo>
                  <a:lnTo>
                    <a:pt x="105" y="404"/>
                  </a:lnTo>
                  <a:lnTo>
                    <a:pt x="103" y="402"/>
                  </a:lnTo>
                  <a:lnTo>
                    <a:pt x="105" y="402"/>
                  </a:lnTo>
                  <a:lnTo>
                    <a:pt x="108" y="402"/>
                  </a:lnTo>
                  <a:lnTo>
                    <a:pt x="109" y="402"/>
                  </a:lnTo>
                  <a:lnTo>
                    <a:pt x="106" y="401"/>
                  </a:lnTo>
                  <a:lnTo>
                    <a:pt x="107" y="399"/>
                  </a:lnTo>
                  <a:lnTo>
                    <a:pt x="109" y="399"/>
                  </a:lnTo>
                  <a:lnTo>
                    <a:pt x="112" y="399"/>
                  </a:lnTo>
                  <a:lnTo>
                    <a:pt x="113" y="398"/>
                  </a:lnTo>
                  <a:lnTo>
                    <a:pt x="112" y="397"/>
                  </a:lnTo>
                  <a:lnTo>
                    <a:pt x="113" y="396"/>
                  </a:lnTo>
                  <a:lnTo>
                    <a:pt x="115" y="395"/>
                  </a:lnTo>
                  <a:lnTo>
                    <a:pt x="118" y="393"/>
                  </a:lnTo>
                  <a:lnTo>
                    <a:pt x="119" y="393"/>
                  </a:lnTo>
                  <a:lnTo>
                    <a:pt x="118" y="392"/>
                  </a:lnTo>
                  <a:lnTo>
                    <a:pt x="119" y="391"/>
                  </a:lnTo>
                  <a:lnTo>
                    <a:pt x="120" y="390"/>
                  </a:lnTo>
                  <a:lnTo>
                    <a:pt x="121" y="389"/>
                  </a:lnTo>
                  <a:lnTo>
                    <a:pt x="124" y="387"/>
                  </a:lnTo>
                  <a:lnTo>
                    <a:pt x="125" y="386"/>
                  </a:lnTo>
                  <a:lnTo>
                    <a:pt x="125" y="384"/>
                  </a:lnTo>
                  <a:lnTo>
                    <a:pt x="124" y="383"/>
                  </a:lnTo>
                  <a:lnTo>
                    <a:pt x="123" y="381"/>
                  </a:lnTo>
                  <a:lnTo>
                    <a:pt x="123" y="383"/>
                  </a:lnTo>
                  <a:lnTo>
                    <a:pt x="121" y="386"/>
                  </a:lnTo>
                  <a:lnTo>
                    <a:pt x="120" y="386"/>
                  </a:lnTo>
                  <a:lnTo>
                    <a:pt x="119" y="389"/>
                  </a:lnTo>
                  <a:lnTo>
                    <a:pt x="119" y="387"/>
                  </a:lnTo>
                  <a:lnTo>
                    <a:pt x="118" y="385"/>
                  </a:lnTo>
                  <a:lnTo>
                    <a:pt x="117" y="386"/>
                  </a:lnTo>
                  <a:lnTo>
                    <a:pt x="117" y="385"/>
                  </a:lnTo>
                  <a:lnTo>
                    <a:pt x="117" y="384"/>
                  </a:lnTo>
                  <a:lnTo>
                    <a:pt x="115" y="383"/>
                  </a:lnTo>
                  <a:lnTo>
                    <a:pt x="118" y="383"/>
                  </a:lnTo>
                  <a:lnTo>
                    <a:pt x="119" y="381"/>
                  </a:lnTo>
                  <a:lnTo>
                    <a:pt x="121" y="379"/>
                  </a:lnTo>
                  <a:lnTo>
                    <a:pt x="119" y="379"/>
                  </a:lnTo>
                  <a:lnTo>
                    <a:pt x="118" y="378"/>
                  </a:lnTo>
                  <a:lnTo>
                    <a:pt x="120" y="378"/>
                  </a:lnTo>
                  <a:lnTo>
                    <a:pt x="123" y="378"/>
                  </a:lnTo>
                  <a:lnTo>
                    <a:pt x="126" y="378"/>
                  </a:lnTo>
                  <a:lnTo>
                    <a:pt x="130" y="377"/>
                  </a:lnTo>
                  <a:lnTo>
                    <a:pt x="135" y="374"/>
                  </a:lnTo>
                  <a:lnTo>
                    <a:pt x="138" y="373"/>
                  </a:lnTo>
                  <a:lnTo>
                    <a:pt x="143" y="371"/>
                  </a:lnTo>
                  <a:lnTo>
                    <a:pt x="147" y="369"/>
                  </a:lnTo>
                  <a:lnTo>
                    <a:pt x="150" y="368"/>
                  </a:lnTo>
                  <a:lnTo>
                    <a:pt x="154" y="368"/>
                  </a:lnTo>
                  <a:lnTo>
                    <a:pt x="158" y="367"/>
                  </a:lnTo>
                  <a:lnTo>
                    <a:pt x="160" y="367"/>
                  </a:lnTo>
                  <a:lnTo>
                    <a:pt x="160" y="365"/>
                  </a:lnTo>
                  <a:lnTo>
                    <a:pt x="159" y="365"/>
                  </a:lnTo>
                  <a:lnTo>
                    <a:pt x="158" y="363"/>
                  </a:lnTo>
                  <a:lnTo>
                    <a:pt x="162" y="362"/>
                  </a:lnTo>
                  <a:lnTo>
                    <a:pt x="165" y="362"/>
                  </a:lnTo>
                  <a:lnTo>
                    <a:pt x="167" y="361"/>
                  </a:lnTo>
                  <a:lnTo>
                    <a:pt x="168" y="361"/>
                  </a:lnTo>
                  <a:lnTo>
                    <a:pt x="170" y="359"/>
                  </a:lnTo>
                  <a:lnTo>
                    <a:pt x="170" y="356"/>
                  </a:lnTo>
                  <a:lnTo>
                    <a:pt x="168" y="354"/>
                  </a:lnTo>
                  <a:lnTo>
                    <a:pt x="167" y="351"/>
                  </a:lnTo>
                  <a:lnTo>
                    <a:pt x="165" y="349"/>
                  </a:lnTo>
                  <a:lnTo>
                    <a:pt x="165" y="351"/>
                  </a:lnTo>
                  <a:lnTo>
                    <a:pt x="165" y="353"/>
                  </a:lnTo>
                  <a:lnTo>
                    <a:pt x="164" y="354"/>
                  </a:lnTo>
                  <a:lnTo>
                    <a:pt x="161" y="353"/>
                  </a:lnTo>
                  <a:lnTo>
                    <a:pt x="161" y="354"/>
                  </a:lnTo>
                  <a:lnTo>
                    <a:pt x="160" y="355"/>
                  </a:lnTo>
                  <a:lnTo>
                    <a:pt x="159" y="355"/>
                  </a:lnTo>
                  <a:lnTo>
                    <a:pt x="158" y="353"/>
                  </a:lnTo>
                  <a:lnTo>
                    <a:pt x="156" y="350"/>
                  </a:lnTo>
                  <a:lnTo>
                    <a:pt x="158" y="355"/>
                  </a:lnTo>
                  <a:lnTo>
                    <a:pt x="155" y="356"/>
                  </a:lnTo>
                  <a:lnTo>
                    <a:pt x="155" y="355"/>
                  </a:lnTo>
                  <a:lnTo>
                    <a:pt x="154" y="353"/>
                  </a:lnTo>
                  <a:lnTo>
                    <a:pt x="153" y="350"/>
                  </a:lnTo>
                  <a:lnTo>
                    <a:pt x="153" y="353"/>
                  </a:lnTo>
                  <a:lnTo>
                    <a:pt x="150" y="355"/>
                  </a:lnTo>
                  <a:lnTo>
                    <a:pt x="150" y="353"/>
                  </a:lnTo>
                  <a:lnTo>
                    <a:pt x="149" y="351"/>
                  </a:lnTo>
                  <a:lnTo>
                    <a:pt x="150" y="355"/>
                  </a:lnTo>
                  <a:lnTo>
                    <a:pt x="150" y="357"/>
                  </a:lnTo>
                  <a:lnTo>
                    <a:pt x="148" y="359"/>
                  </a:lnTo>
                  <a:lnTo>
                    <a:pt x="147" y="359"/>
                  </a:lnTo>
                  <a:lnTo>
                    <a:pt x="147" y="356"/>
                  </a:lnTo>
                  <a:lnTo>
                    <a:pt x="145" y="353"/>
                  </a:lnTo>
                  <a:lnTo>
                    <a:pt x="144" y="354"/>
                  </a:lnTo>
                  <a:lnTo>
                    <a:pt x="144" y="356"/>
                  </a:lnTo>
                  <a:lnTo>
                    <a:pt x="142" y="356"/>
                  </a:lnTo>
                  <a:lnTo>
                    <a:pt x="142" y="355"/>
                  </a:lnTo>
                  <a:lnTo>
                    <a:pt x="141" y="356"/>
                  </a:lnTo>
                  <a:lnTo>
                    <a:pt x="139" y="354"/>
                  </a:lnTo>
                  <a:lnTo>
                    <a:pt x="139" y="353"/>
                  </a:lnTo>
                  <a:lnTo>
                    <a:pt x="138" y="353"/>
                  </a:lnTo>
                  <a:lnTo>
                    <a:pt x="139" y="356"/>
                  </a:lnTo>
                  <a:lnTo>
                    <a:pt x="138" y="356"/>
                  </a:lnTo>
                  <a:lnTo>
                    <a:pt x="136" y="357"/>
                  </a:lnTo>
                  <a:lnTo>
                    <a:pt x="136" y="356"/>
                  </a:lnTo>
                  <a:lnTo>
                    <a:pt x="135" y="356"/>
                  </a:lnTo>
                  <a:lnTo>
                    <a:pt x="136" y="360"/>
                  </a:lnTo>
                  <a:lnTo>
                    <a:pt x="136" y="362"/>
                  </a:lnTo>
                  <a:lnTo>
                    <a:pt x="133" y="362"/>
                  </a:lnTo>
                  <a:lnTo>
                    <a:pt x="132" y="361"/>
                  </a:lnTo>
                  <a:lnTo>
                    <a:pt x="131" y="360"/>
                  </a:lnTo>
                  <a:lnTo>
                    <a:pt x="130" y="356"/>
                  </a:lnTo>
                  <a:lnTo>
                    <a:pt x="129" y="355"/>
                  </a:lnTo>
                  <a:lnTo>
                    <a:pt x="126" y="356"/>
                  </a:lnTo>
                  <a:lnTo>
                    <a:pt x="125" y="355"/>
                  </a:lnTo>
                  <a:lnTo>
                    <a:pt x="123" y="356"/>
                  </a:lnTo>
                  <a:lnTo>
                    <a:pt x="124" y="357"/>
                  </a:lnTo>
                  <a:lnTo>
                    <a:pt x="123" y="356"/>
                  </a:lnTo>
                  <a:lnTo>
                    <a:pt x="120" y="357"/>
                  </a:lnTo>
                  <a:lnTo>
                    <a:pt x="117" y="357"/>
                  </a:lnTo>
                  <a:lnTo>
                    <a:pt x="117" y="356"/>
                  </a:lnTo>
                  <a:lnTo>
                    <a:pt x="121" y="355"/>
                  </a:lnTo>
                  <a:lnTo>
                    <a:pt x="125" y="353"/>
                  </a:lnTo>
                  <a:lnTo>
                    <a:pt x="126" y="350"/>
                  </a:lnTo>
                  <a:lnTo>
                    <a:pt x="127" y="351"/>
                  </a:lnTo>
                  <a:lnTo>
                    <a:pt x="131" y="350"/>
                  </a:lnTo>
                  <a:lnTo>
                    <a:pt x="133" y="349"/>
                  </a:lnTo>
                  <a:lnTo>
                    <a:pt x="135" y="348"/>
                  </a:lnTo>
                  <a:lnTo>
                    <a:pt x="130" y="348"/>
                  </a:lnTo>
                  <a:lnTo>
                    <a:pt x="127" y="349"/>
                  </a:lnTo>
                  <a:lnTo>
                    <a:pt x="130" y="348"/>
                  </a:lnTo>
                  <a:lnTo>
                    <a:pt x="133" y="345"/>
                  </a:lnTo>
                  <a:lnTo>
                    <a:pt x="135" y="345"/>
                  </a:lnTo>
                  <a:lnTo>
                    <a:pt x="131" y="344"/>
                  </a:lnTo>
                  <a:lnTo>
                    <a:pt x="136" y="344"/>
                  </a:lnTo>
                  <a:lnTo>
                    <a:pt x="139" y="343"/>
                  </a:lnTo>
                  <a:lnTo>
                    <a:pt x="139" y="342"/>
                  </a:lnTo>
                  <a:lnTo>
                    <a:pt x="142" y="342"/>
                  </a:lnTo>
                  <a:lnTo>
                    <a:pt x="144" y="340"/>
                  </a:lnTo>
                  <a:lnTo>
                    <a:pt x="143" y="339"/>
                  </a:lnTo>
                  <a:lnTo>
                    <a:pt x="144" y="339"/>
                  </a:lnTo>
                  <a:lnTo>
                    <a:pt x="149" y="339"/>
                  </a:lnTo>
                  <a:lnTo>
                    <a:pt x="150" y="337"/>
                  </a:lnTo>
                  <a:lnTo>
                    <a:pt x="151" y="337"/>
                  </a:lnTo>
                  <a:lnTo>
                    <a:pt x="153" y="338"/>
                  </a:lnTo>
                  <a:lnTo>
                    <a:pt x="155" y="338"/>
                  </a:lnTo>
                  <a:lnTo>
                    <a:pt x="158" y="337"/>
                  </a:lnTo>
                  <a:lnTo>
                    <a:pt x="156" y="334"/>
                  </a:lnTo>
                  <a:lnTo>
                    <a:pt x="159" y="336"/>
                  </a:lnTo>
                  <a:lnTo>
                    <a:pt x="160" y="333"/>
                  </a:lnTo>
                  <a:lnTo>
                    <a:pt x="162" y="333"/>
                  </a:lnTo>
                  <a:lnTo>
                    <a:pt x="165" y="334"/>
                  </a:lnTo>
                  <a:lnTo>
                    <a:pt x="167" y="334"/>
                  </a:lnTo>
                  <a:lnTo>
                    <a:pt x="168" y="333"/>
                  </a:lnTo>
                  <a:lnTo>
                    <a:pt x="174" y="332"/>
                  </a:lnTo>
                  <a:lnTo>
                    <a:pt x="178" y="331"/>
                  </a:lnTo>
                  <a:lnTo>
                    <a:pt x="182" y="330"/>
                  </a:lnTo>
                  <a:lnTo>
                    <a:pt x="183" y="330"/>
                  </a:lnTo>
                  <a:lnTo>
                    <a:pt x="185" y="328"/>
                  </a:lnTo>
                  <a:lnTo>
                    <a:pt x="189" y="328"/>
                  </a:lnTo>
                  <a:lnTo>
                    <a:pt x="191" y="327"/>
                  </a:lnTo>
                  <a:lnTo>
                    <a:pt x="194" y="327"/>
                  </a:lnTo>
                  <a:lnTo>
                    <a:pt x="196" y="327"/>
                  </a:lnTo>
                  <a:lnTo>
                    <a:pt x="198" y="326"/>
                  </a:lnTo>
                  <a:lnTo>
                    <a:pt x="200" y="327"/>
                  </a:lnTo>
                  <a:lnTo>
                    <a:pt x="201" y="325"/>
                  </a:lnTo>
                  <a:lnTo>
                    <a:pt x="202" y="325"/>
                  </a:lnTo>
                  <a:lnTo>
                    <a:pt x="203" y="325"/>
                  </a:lnTo>
                  <a:lnTo>
                    <a:pt x="204" y="325"/>
                  </a:lnTo>
                  <a:lnTo>
                    <a:pt x="207" y="326"/>
                  </a:lnTo>
                  <a:lnTo>
                    <a:pt x="208" y="326"/>
                  </a:lnTo>
                  <a:lnTo>
                    <a:pt x="210" y="325"/>
                  </a:lnTo>
                  <a:lnTo>
                    <a:pt x="212" y="325"/>
                  </a:lnTo>
                  <a:lnTo>
                    <a:pt x="214" y="325"/>
                  </a:lnTo>
                  <a:lnTo>
                    <a:pt x="215" y="324"/>
                  </a:lnTo>
                  <a:lnTo>
                    <a:pt x="219" y="322"/>
                  </a:lnTo>
                  <a:lnTo>
                    <a:pt x="221" y="322"/>
                  </a:lnTo>
                  <a:lnTo>
                    <a:pt x="223" y="322"/>
                  </a:lnTo>
                  <a:lnTo>
                    <a:pt x="223" y="321"/>
                  </a:lnTo>
                  <a:lnTo>
                    <a:pt x="221" y="320"/>
                  </a:lnTo>
                  <a:lnTo>
                    <a:pt x="220" y="321"/>
                  </a:lnTo>
                  <a:lnTo>
                    <a:pt x="218" y="321"/>
                  </a:lnTo>
                  <a:lnTo>
                    <a:pt x="215" y="324"/>
                  </a:lnTo>
                  <a:lnTo>
                    <a:pt x="213" y="324"/>
                  </a:lnTo>
                  <a:lnTo>
                    <a:pt x="210" y="324"/>
                  </a:lnTo>
                  <a:lnTo>
                    <a:pt x="210" y="322"/>
                  </a:lnTo>
                  <a:lnTo>
                    <a:pt x="209" y="324"/>
                  </a:lnTo>
                  <a:lnTo>
                    <a:pt x="209" y="325"/>
                  </a:lnTo>
                  <a:lnTo>
                    <a:pt x="208" y="325"/>
                  </a:lnTo>
                  <a:lnTo>
                    <a:pt x="207" y="325"/>
                  </a:lnTo>
                  <a:lnTo>
                    <a:pt x="204" y="322"/>
                  </a:lnTo>
                  <a:lnTo>
                    <a:pt x="203" y="322"/>
                  </a:lnTo>
                  <a:lnTo>
                    <a:pt x="203" y="324"/>
                  </a:lnTo>
                  <a:lnTo>
                    <a:pt x="202" y="324"/>
                  </a:lnTo>
                  <a:lnTo>
                    <a:pt x="200" y="325"/>
                  </a:lnTo>
                  <a:lnTo>
                    <a:pt x="200" y="324"/>
                  </a:lnTo>
                  <a:lnTo>
                    <a:pt x="200" y="325"/>
                  </a:lnTo>
                  <a:lnTo>
                    <a:pt x="198" y="325"/>
                  </a:lnTo>
                  <a:lnTo>
                    <a:pt x="197" y="325"/>
                  </a:lnTo>
                  <a:lnTo>
                    <a:pt x="196" y="325"/>
                  </a:lnTo>
                  <a:lnTo>
                    <a:pt x="195" y="325"/>
                  </a:lnTo>
                  <a:lnTo>
                    <a:pt x="192" y="326"/>
                  </a:lnTo>
                  <a:lnTo>
                    <a:pt x="190" y="326"/>
                  </a:lnTo>
                  <a:lnTo>
                    <a:pt x="190" y="325"/>
                  </a:lnTo>
                  <a:lnTo>
                    <a:pt x="189" y="324"/>
                  </a:lnTo>
                  <a:lnTo>
                    <a:pt x="190" y="322"/>
                  </a:lnTo>
                  <a:lnTo>
                    <a:pt x="188" y="324"/>
                  </a:lnTo>
                  <a:lnTo>
                    <a:pt x="186" y="325"/>
                  </a:lnTo>
                  <a:lnTo>
                    <a:pt x="185" y="325"/>
                  </a:lnTo>
                  <a:lnTo>
                    <a:pt x="185" y="327"/>
                  </a:lnTo>
                  <a:lnTo>
                    <a:pt x="184" y="327"/>
                  </a:lnTo>
                  <a:lnTo>
                    <a:pt x="184" y="326"/>
                  </a:lnTo>
                  <a:lnTo>
                    <a:pt x="183" y="326"/>
                  </a:lnTo>
                  <a:lnTo>
                    <a:pt x="182" y="327"/>
                  </a:lnTo>
                  <a:lnTo>
                    <a:pt x="182" y="328"/>
                  </a:lnTo>
                  <a:lnTo>
                    <a:pt x="179" y="327"/>
                  </a:lnTo>
                  <a:lnTo>
                    <a:pt x="178" y="326"/>
                  </a:lnTo>
                  <a:lnTo>
                    <a:pt x="179" y="328"/>
                  </a:lnTo>
                  <a:lnTo>
                    <a:pt x="178" y="328"/>
                  </a:lnTo>
                  <a:lnTo>
                    <a:pt x="176" y="330"/>
                  </a:lnTo>
                  <a:lnTo>
                    <a:pt x="173" y="328"/>
                  </a:lnTo>
                  <a:lnTo>
                    <a:pt x="173" y="327"/>
                  </a:lnTo>
                  <a:lnTo>
                    <a:pt x="171" y="331"/>
                  </a:lnTo>
                  <a:lnTo>
                    <a:pt x="171" y="330"/>
                  </a:lnTo>
                  <a:lnTo>
                    <a:pt x="171" y="328"/>
                  </a:lnTo>
                  <a:lnTo>
                    <a:pt x="172" y="326"/>
                  </a:lnTo>
                  <a:lnTo>
                    <a:pt x="171" y="327"/>
                  </a:lnTo>
                  <a:lnTo>
                    <a:pt x="170" y="325"/>
                  </a:lnTo>
                  <a:lnTo>
                    <a:pt x="168" y="325"/>
                  </a:lnTo>
                  <a:lnTo>
                    <a:pt x="168" y="328"/>
                  </a:lnTo>
                  <a:lnTo>
                    <a:pt x="167" y="328"/>
                  </a:lnTo>
                  <a:lnTo>
                    <a:pt x="167" y="330"/>
                  </a:lnTo>
                  <a:lnTo>
                    <a:pt x="166" y="332"/>
                  </a:lnTo>
                  <a:lnTo>
                    <a:pt x="165" y="333"/>
                  </a:lnTo>
                  <a:lnTo>
                    <a:pt x="164" y="332"/>
                  </a:lnTo>
                  <a:lnTo>
                    <a:pt x="165" y="330"/>
                  </a:lnTo>
                  <a:lnTo>
                    <a:pt x="165" y="326"/>
                  </a:lnTo>
                  <a:lnTo>
                    <a:pt x="164" y="326"/>
                  </a:lnTo>
                  <a:lnTo>
                    <a:pt x="164" y="327"/>
                  </a:lnTo>
                  <a:lnTo>
                    <a:pt x="162" y="332"/>
                  </a:lnTo>
                  <a:lnTo>
                    <a:pt x="161" y="332"/>
                  </a:lnTo>
                  <a:lnTo>
                    <a:pt x="161" y="330"/>
                  </a:lnTo>
                  <a:lnTo>
                    <a:pt x="161" y="328"/>
                  </a:lnTo>
                  <a:lnTo>
                    <a:pt x="160" y="327"/>
                  </a:lnTo>
                  <a:lnTo>
                    <a:pt x="160" y="326"/>
                  </a:lnTo>
                  <a:lnTo>
                    <a:pt x="160" y="325"/>
                  </a:lnTo>
                  <a:lnTo>
                    <a:pt x="159" y="328"/>
                  </a:lnTo>
                  <a:lnTo>
                    <a:pt x="159" y="331"/>
                  </a:lnTo>
                  <a:lnTo>
                    <a:pt x="156" y="331"/>
                  </a:lnTo>
                  <a:lnTo>
                    <a:pt x="155" y="332"/>
                  </a:lnTo>
                  <a:lnTo>
                    <a:pt x="154" y="328"/>
                  </a:lnTo>
                  <a:lnTo>
                    <a:pt x="153" y="332"/>
                  </a:lnTo>
                  <a:lnTo>
                    <a:pt x="153" y="333"/>
                  </a:lnTo>
                  <a:lnTo>
                    <a:pt x="154" y="334"/>
                  </a:lnTo>
                  <a:lnTo>
                    <a:pt x="151" y="336"/>
                  </a:lnTo>
                  <a:lnTo>
                    <a:pt x="150" y="336"/>
                  </a:lnTo>
                  <a:lnTo>
                    <a:pt x="150" y="333"/>
                  </a:lnTo>
                  <a:lnTo>
                    <a:pt x="149" y="332"/>
                  </a:lnTo>
                  <a:lnTo>
                    <a:pt x="148" y="331"/>
                  </a:lnTo>
                  <a:lnTo>
                    <a:pt x="148" y="328"/>
                  </a:lnTo>
                  <a:lnTo>
                    <a:pt x="148" y="327"/>
                  </a:lnTo>
                  <a:lnTo>
                    <a:pt x="147" y="328"/>
                  </a:lnTo>
                  <a:lnTo>
                    <a:pt x="145" y="330"/>
                  </a:lnTo>
                  <a:lnTo>
                    <a:pt x="144" y="332"/>
                  </a:lnTo>
                  <a:lnTo>
                    <a:pt x="144" y="331"/>
                  </a:lnTo>
                  <a:lnTo>
                    <a:pt x="143" y="330"/>
                  </a:lnTo>
                  <a:lnTo>
                    <a:pt x="142" y="331"/>
                  </a:lnTo>
                  <a:lnTo>
                    <a:pt x="142" y="333"/>
                  </a:lnTo>
                  <a:lnTo>
                    <a:pt x="141" y="334"/>
                  </a:lnTo>
                  <a:lnTo>
                    <a:pt x="139" y="332"/>
                  </a:lnTo>
                  <a:lnTo>
                    <a:pt x="137" y="332"/>
                  </a:lnTo>
                  <a:lnTo>
                    <a:pt x="137" y="333"/>
                  </a:lnTo>
                  <a:lnTo>
                    <a:pt x="136" y="333"/>
                  </a:lnTo>
                  <a:lnTo>
                    <a:pt x="136" y="331"/>
                  </a:lnTo>
                  <a:lnTo>
                    <a:pt x="135" y="328"/>
                  </a:lnTo>
                  <a:lnTo>
                    <a:pt x="132" y="327"/>
                  </a:lnTo>
                  <a:lnTo>
                    <a:pt x="132" y="328"/>
                  </a:lnTo>
                  <a:lnTo>
                    <a:pt x="131" y="328"/>
                  </a:lnTo>
                  <a:lnTo>
                    <a:pt x="130" y="330"/>
                  </a:lnTo>
                  <a:lnTo>
                    <a:pt x="129" y="332"/>
                  </a:lnTo>
                  <a:lnTo>
                    <a:pt x="127" y="331"/>
                  </a:lnTo>
                  <a:lnTo>
                    <a:pt x="127" y="330"/>
                  </a:lnTo>
                  <a:lnTo>
                    <a:pt x="121" y="332"/>
                  </a:lnTo>
                  <a:lnTo>
                    <a:pt x="123" y="331"/>
                  </a:lnTo>
                  <a:lnTo>
                    <a:pt x="125" y="330"/>
                  </a:lnTo>
                  <a:lnTo>
                    <a:pt x="127" y="328"/>
                  </a:lnTo>
                  <a:lnTo>
                    <a:pt x="125" y="327"/>
                  </a:lnTo>
                  <a:lnTo>
                    <a:pt x="129" y="327"/>
                  </a:lnTo>
                  <a:lnTo>
                    <a:pt x="127" y="326"/>
                  </a:lnTo>
                  <a:lnTo>
                    <a:pt x="127" y="325"/>
                  </a:lnTo>
                  <a:lnTo>
                    <a:pt x="130" y="325"/>
                  </a:lnTo>
                  <a:lnTo>
                    <a:pt x="132" y="324"/>
                  </a:lnTo>
                  <a:lnTo>
                    <a:pt x="135" y="324"/>
                  </a:lnTo>
                  <a:lnTo>
                    <a:pt x="137" y="322"/>
                  </a:lnTo>
                  <a:lnTo>
                    <a:pt x="138" y="321"/>
                  </a:lnTo>
                  <a:lnTo>
                    <a:pt x="141" y="319"/>
                  </a:lnTo>
                  <a:lnTo>
                    <a:pt x="142" y="318"/>
                  </a:lnTo>
                  <a:lnTo>
                    <a:pt x="143" y="316"/>
                  </a:lnTo>
                  <a:lnTo>
                    <a:pt x="142" y="315"/>
                  </a:lnTo>
                  <a:lnTo>
                    <a:pt x="138" y="316"/>
                  </a:lnTo>
                  <a:lnTo>
                    <a:pt x="139" y="315"/>
                  </a:lnTo>
                  <a:lnTo>
                    <a:pt x="141" y="314"/>
                  </a:lnTo>
                  <a:lnTo>
                    <a:pt x="142" y="312"/>
                  </a:lnTo>
                  <a:lnTo>
                    <a:pt x="143" y="313"/>
                  </a:lnTo>
                  <a:lnTo>
                    <a:pt x="143" y="314"/>
                  </a:lnTo>
                  <a:lnTo>
                    <a:pt x="145" y="313"/>
                  </a:lnTo>
                  <a:lnTo>
                    <a:pt x="149" y="314"/>
                  </a:lnTo>
                  <a:lnTo>
                    <a:pt x="156" y="312"/>
                  </a:lnTo>
                  <a:lnTo>
                    <a:pt x="160" y="310"/>
                  </a:lnTo>
                  <a:lnTo>
                    <a:pt x="160" y="309"/>
                  </a:lnTo>
                  <a:lnTo>
                    <a:pt x="161" y="310"/>
                  </a:lnTo>
                  <a:lnTo>
                    <a:pt x="164" y="310"/>
                  </a:lnTo>
                  <a:lnTo>
                    <a:pt x="165" y="309"/>
                  </a:lnTo>
                  <a:lnTo>
                    <a:pt x="166" y="308"/>
                  </a:lnTo>
                  <a:lnTo>
                    <a:pt x="167" y="308"/>
                  </a:lnTo>
                  <a:lnTo>
                    <a:pt x="173" y="307"/>
                  </a:lnTo>
                  <a:lnTo>
                    <a:pt x="177" y="307"/>
                  </a:lnTo>
                  <a:lnTo>
                    <a:pt x="178" y="307"/>
                  </a:lnTo>
                  <a:lnTo>
                    <a:pt x="180" y="306"/>
                  </a:lnTo>
                  <a:lnTo>
                    <a:pt x="182" y="306"/>
                  </a:lnTo>
                  <a:lnTo>
                    <a:pt x="185" y="306"/>
                  </a:lnTo>
                  <a:lnTo>
                    <a:pt x="188" y="304"/>
                  </a:lnTo>
                  <a:lnTo>
                    <a:pt x="156" y="303"/>
                  </a:lnTo>
                  <a:lnTo>
                    <a:pt x="158" y="303"/>
                  </a:lnTo>
                  <a:lnTo>
                    <a:pt x="160" y="302"/>
                  </a:lnTo>
                  <a:lnTo>
                    <a:pt x="165" y="301"/>
                  </a:lnTo>
                  <a:lnTo>
                    <a:pt x="166" y="301"/>
                  </a:lnTo>
                  <a:lnTo>
                    <a:pt x="168" y="301"/>
                  </a:lnTo>
                  <a:lnTo>
                    <a:pt x="172" y="301"/>
                  </a:lnTo>
                  <a:lnTo>
                    <a:pt x="172" y="300"/>
                  </a:lnTo>
                  <a:lnTo>
                    <a:pt x="174" y="300"/>
                  </a:lnTo>
                  <a:lnTo>
                    <a:pt x="176" y="301"/>
                  </a:lnTo>
                  <a:lnTo>
                    <a:pt x="180" y="301"/>
                  </a:lnTo>
                  <a:lnTo>
                    <a:pt x="183" y="301"/>
                  </a:lnTo>
                  <a:lnTo>
                    <a:pt x="186" y="300"/>
                  </a:lnTo>
                  <a:lnTo>
                    <a:pt x="190" y="298"/>
                  </a:lnTo>
                  <a:lnTo>
                    <a:pt x="194" y="298"/>
                  </a:lnTo>
                  <a:lnTo>
                    <a:pt x="198" y="297"/>
                  </a:lnTo>
                  <a:lnTo>
                    <a:pt x="203" y="297"/>
                  </a:lnTo>
                  <a:lnTo>
                    <a:pt x="206" y="295"/>
                  </a:lnTo>
                  <a:lnTo>
                    <a:pt x="208" y="295"/>
                  </a:lnTo>
                  <a:lnTo>
                    <a:pt x="208" y="296"/>
                  </a:lnTo>
                  <a:lnTo>
                    <a:pt x="209" y="297"/>
                  </a:lnTo>
                  <a:lnTo>
                    <a:pt x="210" y="297"/>
                  </a:lnTo>
                  <a:lnTo>
                    <a:pt x="213" y="296"/>
                  </a:lnTo>
                  <a:lnTo>
                    <a:pt x="216" y="295"/>
                  </a:lnTo>
                  <a:lnTo>
                    <a:pt x="218" y="295"/>
                  </a:lnTo>
                  <a:lnTo>
                    <a:pt x="221" y="295"/>
                  </a:lnTo>
                  <a:lnTo>
                    <a:pt x="223" y="296"/>
                  </a:lnTo>
                  <a:lnTo>
                    <a:pt x="225" y="295"/>
                  </a:lnTo>
                  <a:lnTo>
                    <a:pt x="226" y="294"/>
                  </a:lnTo>
                  <a:lnTo>
                    <a:pt x="230" y="294"/>
                  </a:lnTo>
                  <a:lnTo>
                    <a:pt x="233" y="294"/>
                  </a:lnTo>
                  <a:lnTo>
                    <a:pt x="233" y="292"/>
                  </a:lnTo>
                  <a:lnTo>
                    <a:pt x="235" y="290"/>
                  </a:lnTo>
                  <a:lnTo>
                    <a:pt x="238" y="289"/>
                  </a:lnTo>
                  <a:lnTo>
                    <a:pt x="239" y="289"/>
                  </a:lnTo>
                  <a:lnTo>
                    <a:pt x="242" y="288"/>
                  </a:lnTo>
                  <a:lnTo>
                    <a:pt x="244" y="285"/>
                  </a:lnTo>
                  <a:lnTo>
                    <a:pt x="248" y="283"/>
                  </a:lnTo>
                  <a:lnTo>
                    <a:pt x="250" y="282"/>
                  </a:lnTo>
                  <a:lnTo>
                    <a:pt x="250" y="276"/>
                  </a:lnTo>
                  <a:lnTo>
                    <a:pt x="250" y="273"/>
                  </a:lnTo>
                  <a:lnTo>
                    <a:pt x="249" y="273"/>
                  </a:lnTo>
                  <a:lnTo>
                    <a:pt x="248" y="276"/>
                  </a:lnTo>
                  <a:lnTo>
                    <a:pt x="247" y="276"/>
                  </a:lnTo>
                  <a:lnTo>
                    <a:pt x="245" y="274"/>
                  </a:lnTo>
                  <a:lnTo>
                    <a:pt x="247" y="272"/>
                  </a:lnTo>
                  <a:lnTo>
                    <a:pt x="245" y="272"/>
                  </a:lnTo>
                  <a:lnTo>
                    <a:pt x="244" y="273"/>
                  </a:lnTo>
                  <a:lnTo>
                    <a:pt x="245" y="276"/>
                  </a:lnTo>
                  <a:lnTo>
                    <a:pt x="245" y="278"/>
                  </a:lnTo>
                  <a:lnTo>
                    <a:pt x="247" y="280"/>
                  </a:lnTo>
                  <a:lnTo>
                    <a:pt x="247" y="282"/>
                  </a:lnTo>
                  <a:lnTo>
                    <a:pt x="245" y="283"/>
                  </a:lnTo>
                  <a:lnTo>
                    <a:pt x="244" y="283"/>
                  </a:lnTo>
                  <a:lnTo>
                    <a:pt x="243" y="284"/>
                  </a:lnTo>
                  <a:lnTo>
                    <a:pt x="242" y="285"/>
                  </a:lnTo>
                  <a:lnTo>
                    <a:pt x="239" y="288"/>
                  </a:lnTo>
                  <a:lnTo>
                    <a:pt x="238" y="286"/>
                  </a:lnTo>
                  <a:lnTo>
                    <a:pt x="237" y="288"/>
                  </a:lnTo>
                  <a:lnTo>
                    <a:pt x="235" y="288"/>
                  </a:lnTo>
                  <a:lnTo>
                    <a:pt x="233" y="290"/>
                  </a:lnTo>
                  <a:lnTo>
                    <a:pt x="233" y="289"/>
                  </a:lnTo>
                  <a:lnTo>
                    <a:pt x="233" y="288"/>
                  </a:lnTo>
                  <a:lnTo>
                    <a:pt x="235" y="285"/>
                  </a:lnTo>
                  <a:lnTo>
                    <a:pt x="235" y="284"/>
                  </a:lnTo>
                  <a:lnTo>
                    <a:pt x="235" y="282"/>
                  </a:lnTo>
                  <a:lnTo>
                    <a:pt x="236" y="279"/>
                  </a:lnTo>
                  <a:lnTo>
                    <a:pt x="235" y="277"/>
                  </a:lnTo>
                  <a:lnTo>
                    <a:pt x="235" y="274"/>
                  </a:lnTo>
                  <a:lnTo>
                    <a:pt x="233" y="276"/>
                  </a:lnTo>
                  <a:lnTo>
                    <a:pt x="235" y="277"/>
                  </a:lnTo>
                  <a:lnTo>
                    <a:pt x="235" y="278"/>
                  </a:lnTo>
                  <a:lnTo>
                    <a:pt x="233" y="277"/>
                  </a:lnTo>
                  <a:lnTo>
                    <a:pt x="232" y="278"/>
                  </a:lnTo>
                  <a:lnTo>
                    <a:pt x="233" y="279"/>
                  </a:lnTo>
                  <a:lnTo>
                    <a:pt x="232" y="280"/>
                  </a:lnTo>
                  <a:lnTo>
                    <a:pt x="231" y="280"/>
                  </a:lnTo>
                  <a:lnTo>
                    <a:pt x="231" y="279"/>
                  </a:lnTo>
                  <a:lnTo>
                    <a:pt x="231" y="277"/>
                  </a:lnTo>
                  <a:lnTo>
                    <a:pt x="231" y="276"/>
                  </a:lnTo>
                  <a:lnTo>
                    <a:pt x="229" y="276"/>
                  </a:lnTo>
                  <a:lnTo>
                    <a:pt x="229" y="278"/>
                  </a:lnTo>
                  <a:lnTo>
                    <a:pt x="229" y="280"/>
                  </a:lnTo>
                  <a:lnTo>
                    <a:pt x="227" y="282"/>
                  </a:lnTo>
                  <a:lnTo>
                    <a:pt x="226" y="282"/>
                  </a:lnTo>
                  <a:lnTo>
                    <a:pt x="225" y="280"/>
                  </a:lnTo>
                  <a:lnTo>
                    <a:pt x="225" y="282"/>
                  </a:lnTo>
                  <a:lnTo>
                    <a:pt x="225" y="283"/>
                  </a:lnTo>
                  <a:lnTo>
                    <a:pt x="224" y="284"/>
                  </a:lnTo>
                  <a:lnTo>
                    <a:pt x="223" y="283"/>
                  </a:lnTo>
                  <a:lnTo>
                    <a:pt x="223" y="284"/>
                  </a:lnTo>
                  <a:lnTo>
                    <a:pt x="221" y="284"/>
                  </a:lnTo>
                  <a:lnTo>
                    <a:pt x="220" y="283"/>
                  </a:lnTo>
                  <a:lnTo>
                    <a:pt x="219" y="282"/>
                  </a:lnTo>
                  <a:lnTo>
                    <a:pt x="220" y="284"/>
                  </a:lnTo>
                  <a:lnTo>
                    <a:pt x="220" y="288"/>
                  </a:lnTo>
                  <a:lnTo>
                    <a:pt x="219" y="289"/>
                  </a:lnTo>
                  <a:lnTo>
                    <a:pt x="218" y="286"/>
                  </a:lnTo>
                  <a:lnTo>
                    <a:pt x="218" y="285"/>
                  </a:lnTo>
                  <a:lnTo>
                    <a:pt x="218" y="283"/>
                  </a:lnTo>
                  <a:lnTo>
                    <a:pt x="216" y="282"/>
                  </a:lnTo>
                  <a:lnTo>
                    <a:pt x="218" y="285"/>
                  </a:lnTo>
                  <a:lnTo>
                    <a:pt x="218" y="288"/>
                  </a:lnTo>
                  <a:lnTo>
                    <a:pt x="218" y="289"/>
                  </a:lnTo>
                  <a:lnTo>
                    <a:pt x="216" y="289"/>
                  </a:lnTo>
                  <a:lnTo>
                    <a:pt x="216" y="288"/>
                  </a:lnTo>
                  <a:lnTo>
                    <a:pt x="215" y="289"/>
                  </a:lnTo>
                  <a:lnTo>
                    <a:pt x="215" y="290"/>
                  </a:lnTo>
                  <a:lnTo>
                    <a:pt x="214" y="292"/>
                  </a:lnTo>
                  <a:lnTo>
                    <a:pt x="213" y="292"/>
                  </a:lnTo>
                  <a:lnTo>
                    <a:pt x="213" y="289"/>
                  </a:lnTo>
                  <a:lnTo>
                    <a:pt x="213" y="288"/>
                  </a:lnTo>
                  <a:lnTo>
                    <a:pt x="210" y="288"/>
                  </a:lnTo>
                  <a:lnTo>
                    <a:pt x="209" y="286"/>
                  </a:lnTo>
                  <a:lnTo>
                    <a:pt x="208" y="285"/>
                  </a:lnTo>
                  <a:lnTo>
                    <a:pt x="210" y="283"/>
                  </a:lnTo>
                  <a:lnTo>
                    <a:pt x="213" y="280"/>
                  </a:lnTo>
                  <a:lnTo>
                    <a:pt x="213" y="279"/>
                  </a:lnTo>
                  <a:lnTo>
                    <a:pt x="210" y="279"/>
                  </a:lnTo>
                  <a:lnTo>
                    <a:pt x="210" y="282"/>
                  </a:lnTo>
                  <a:lnTo>
                    <a:pt x="208" y="280"/>
                  </a:lnTo>
                  <a:lnTo>
                    <a:pt x="207" y="279"/>
                  </a:lnTo>
                  <a:lnTo>
                    <a:pt x="207" y="278"/>
                  </a:lnTo>
                  <a:lnTo>
                    <a:pt x="207" y="277"/>
                  </a:lnTo>
                  <a:lnTo>
                    <a:pt x="206" y="278"/>
                  </a:lnTo>
                  <a:lnTo>
                    <a:pt x="204" y="279"/>
                  </a:lnTo>
                  <a:lnTo>
                    <a:pt x="203" y="278"/>
                  </a:lnTo>
                  <a:lnTo>
                    <a:pt x="203" y="277"/>
                  </a:lnTo>
                  <a:lnTo>
                    <a:pt x="202" y="276"/>
                  </a:lnTo>
                  <a:lnTo>
                    <a:pt x="202" y="274"/>
                  </a:lnTo>
                  <a:lnTo>
                    <a:pt x="202" y="272"/>
                  </a:lnTo>
                  <a:lnTo>
                    <a:pt x="200" y="273"/>
                  </a:lnTo>
                  <a:lnTo>
                    <a:pt x="198" y="272"/>
                  </a:lnTo>
                  <a:lnTo>
                    <a:pt x="200" y="266"/>
                  </a:lnTo>
                  <a:lnTo>
                    <a:pt x="198" y="262"/>
                  </a:lnTo>
                  <a:lnTo>
                    <a:pt x="198" y="265"/>
                  </a:lnTo>
                  <a:lnTo>
                    <a:pt x="197" y="264"/>
                  </a:lnTo>
                  <a:lnTo>
                    <a:pt x="197" y="261"/>
                  </a:lnTo>
                  <a:lnTo>
                    <a:pt x="230" y="219"/>
                  </a:lnTo>
                  <a:lnTo>
                    <a:pt x="196" y="261"/>
                  </a:lnTo>
                  <a:lnTo>
                    <a:pt x="229" y="218"/>
                  </a:lnTo>
                  <a:lnTo>
                    <a:pt x="226" y="218"/>
                  </a:lnTo>
                  <a:lnTo>
                    <a:pt x="219" y="224"/>
                  </a:lnTo>
                  <a:lnTo>
                    <a:pt x="218" y="225"/>
                  </a:lnTo>
                  <a:lnTo>
                    <a:pt x="218" y="229"/>
                  </a:lnTo>
                  <a:lnTo>
                    <a:pt x="218" y="230"/>
                  </a:lnTo>
                  <a:lnTo>
                    <a:pt x="218" y="229"/>
                  </a:lnTo>
                  <a:lnTo>
                    <a:pt x="216" y="230"/>
                  </a:lnTo>
                  <a:lnTo>
                    <a:pt x="216" y="229"/>
                  </a:lnTo>
                  <a:lnTo>
                    <a:pt x="215" y="226"/>
                  </a:lnTo>
                  <a:lnTo>
                    <a:pt x="216" y="225"/>
                  </a:lnTo>
                  <a:lnTo>
                    <a:pt x="223" y="218"/>
                  </a:lnTo>
                  <a:lnTo>
                    <a:pt x="221" y="217"/>
                  </a:lnTo>
                  <a:lnTo>
                    <a:pt x="220" y="215"/>
                  </a:lnTo>
                  <a:lnTo>
                    <a:pt x="220" y="214"/>
                  </a:lnTo>
                  <a:lnTo>
                    <a:pt x="221" y="212"/>
                  </a:lnTo>
                  <a:lnTo>
                    <a:pt x="220" y="209"/>
                  </a:lnTo>
                  <a:lnTo>
                    <a:pt x="219" y="207"/>
                  </a:lnTo>
                  <a:lnTo>
                    <a:pt x="219" y="209"/>
                  </a:lnTo>
                  <a:lnTo>
                    <a:pt x="215" y="209"/>
                  </a:lnTo>
                  <a:lnTo>
                    <a:pt x="214" y="211"/>
                  </a:lnTo>
                  <a:lnTo>
                    <a:pt x="213" y="209"/>
                  </a:lnTo>
                  <a:lnTo>
                    <a:pt x="213" y="208"/>
                  </a:lnTo>
                  <a:lnTo>
                    <a:pt x="212" y="208"/>
                  </a:lnTo>
                  <a:lnTo>
                    <a:pt x="212" y="213"/>
                  </a:lnTo>
                  <a:lnTo>
                    <a:pt x="213" y="214"/>
                  </a:lnTo>
                  <a:lnTo>
                    <a:pt x="212" y="214"/>
                  </a:lnTo>
                  <a:lnTo>
                    <a:pt x="209" y="214"/>
                  </a:lnTo>
                  <a:lnTo>
                    <a:pt x="209" y="213"/>
                  </a:lnTo>
                  <a:lnTo>
                    <a:pt x="210" y="209"/>
                  </a:lnTo>
                  <a:lnTo>
                    <a:pt x="210" y="206"/>
                  </a:lnTo>
                  <a:lnTo>
                    <a:pt x="209" y="205"/>
                  </a:lnTo>
                  <a:lnTo>
                    <a:pt x="208" y="205"/>
                  </a:lnTo>
                  <a:lnTo>
                    <a:pt x="208" y="202"/>
                  </a:lnTo>
                  <a:lnTo>
                    <a:pt x="206" y="202"/>
                  </a:lnTo>
                  <a:lnTo>
                    <a:pt x="207" y="201"/>
                  </a:lnTo>
                  <a:lnTo>
                    <a:pt x="207" y="199"/>
                  </a:lnTo>
                  <a:lnTo>
                    <a:pt x="206" y="199"/>
                  </a:lnTo>
                  <a:lnTo>
                    <a:pt x="204" y="200"/>
                  </a:lnTo>
                  <a:lnTo>
                    <a:pt x="202" y="200"/>
                  </a:lnTo>
                  <a:lnTo>
                    <a:pt x="201" y="199"/>
                  </a:lnTo>
                  <a:lnTo>
                    <a:pt x="200" y="197"/>
                  </a:lnTo>
                  <a:lnTo>
                    <a:pt x="201" y="195"/>
                  </a:lnTo>
                  <a:lnTo>
                    <a:pt x="201" y="193"/>
                  </a:lnTo>
                  <a:lnTo>
                    <a:pt x="200" y="193"/>
                  </a:lnTo>
                  <a:lnTo>
                    <a:pt x="197" y="194"/>
                  </a:lnTo>
                  <a:lnTo>
                    <a:pt x="197" y="193"/>
                  </a:lnTo>
                  <a:lnTo>
                    <a:pt x="200" y="191"/>
                  </a:lnTo>
                  <a:lnTo>
                    <a:pt x="200" y="189"/>
                  </a:lnTo>
                  <a:lnTo>
                    <a:pt x="201" y="189"/>
                  </a:lnTo>
                  <a:lnTo>
                    <a:pt x="203" y="189"/>
                  </a:lnTo>
                  <a:lnTo>
                    <a:pt x="204" y="188"/>
                  </a:lnTo>
                  <a:lnTo>
                    <a:pt x="203" y="187"/>
                  </a:lnTo>
                  <a:lnTo>
                    <a:pt x="201" y="187"/>
                  </a:lnTo>
                  <a:lnTo>
                    <a:pt x="200" y="187"/>
                  </a:lnTo>
                  <a:lnTo>
                    <a:pt x="200" y="188"/>
                  </a:lnTo>
                  <a:lnTo>
                    <a:pt x="198" y="189"/>
                  </a:lnTo>
                  <a:lnTo>
                    <a:pt x="198" y="190"/>
                  </a:lnTo>
                  <a:lnTo>
                    <a:pt x="197" y="191"/>
                  </a:lnTo>
                  <a:lnTo>
                    <a:pt x="197" y="190"/>
                  </a:lnTo>
                  <a:lnTo>
                    <a:pt x="196" y="191"/>
                  </a:lnTo>
                  <a:lnTo>
                    <a:pt x="195" y="190"/>
                  </a:lnTo>
                  <a:lnTo>
                    <a:pt x="196" y="189"/>
                  </a:lnTo>
                  <a:lnTo>
                    <a:pt x="196" y="188"/>
                  </a:lnTo>
                  <a:lnTo>
                    <a:pt x="195" y="187"/>
                  </a:lnTo>
                  <a:lnTo>
                    <a:pt x="195" y="188"/>
                  </a:lnTo>
                  <a:lnTo>
                    <a:pt x="194" y="188"/>
                  </a:lnTo>
                  <a:lnTo>
                    <a:pt x="192" y="187"/>
                  </a:lnTo>
                  <a:lnTo>
                    <a:pt x="192" y="185"/>
                  </a:lnTo>
                  <a:lnTo>
                    <a:pt x="194" y="185"/>
                  </a:lnTo>
                  <a:lnTo>
                    <a:pt x="195" y="185"/>
                  </a:lnTo>
                  <a:lnTo>
                    <a:pt x="196" y="185"/>
                  </a:lnTo>
                  <a:lnTo>
                    <a:pt x="197" y="184"/>
                  </a:lnTo>
                  <a:lnTo>
                    <a:pt x="198" y="183"/>
                  </a:lnTo>
                  <a:lnTo>
                    <a:pt x="196" y="183"/>
                  </a:lnTo>
                  <a:lnTo>
                    <a:pt x="195" y="182"/>
                  </a:lnTo>
                  <a:lnTo>
                    <a:pt x="198" y="182"/>
                  </a:lnTo>
                  <a:lnTo>
                    <a:pt x="198" y="181"/>
                  </a:lnTo>
                  <a:lnTo>
                    <a:pt x="195" y="181"/>
                  </a:lnTo>
                  <a:lnTo>
                    <a:pt x="194" y="181"/>
                  </a:lnTo>
                  <a:lnTo>
                    <a:pt x="191" y="181"/>
                  </a:lnTo>
                  <a:lnTo>
                    <a:pt x="191" y="179"/>
                  </a:lnTo>
                  <a:lnTo>
                    <a:pt x="190" y="179"/>
                  </a:lnTo>
                  <a:lnTo>
                    <a:pt x="189" y="181"/>
                  </a:lnTo>
                  <a:lnTo>
                    <a:pt x="189" y="179"/>
                  </a:lnTo>
                  <a:lnTo>
                    <a:pt x="190" y="178"/>
                  </a:lnTo>
                  <a:lnTo>
                    <a:pt x="189" y="178"/>
                  </a:lnTo>
                  <a:lnTo>
                    <a:pt x="189" y="177"/>
                  </a:lnTo>
                  <a:lnTo>
                    <a:pt x="188" y="178"/>
                  </a:lnTo>
                  <a:lnTo>
                    <a:pt x="185" y="178"/>
                  </a:lnTo>
                  <a:lnTo>
                    <a:pt x="184" y="178"/>
                  </a:lnTo>
                  <a:lnTo>
                    <a:pt x="188" y="177"/>
                  </a:lnTo>
                  <a:lnTo>
                    <a:pt x="188" y="176"/>
                  </a:lnTo>
                  <a:lnTo>
                    <a:pt x="184" y="176"/>
                  </a:lnTo>
                  <a:lnTo>
                    <a:pt x="183" y="175"/>
                  </a:lnTo>
                  <a:lnTo>
                    <a:pt x="188" y="175"/>
                  </a:lnTo>
                  <a:lnTo>
                    <a:pt x="189" y="175"/>
                  </a:lnTo>
                  <a:lnTo>
                    <a:pt x="190" y="175"/>
                  </a:lnTo>
                  <a:lnTo>
                    <a:pt x="190" y="173"/>
                  </a:lnTo>
                  <a:lnTo>
                    <a:pt x="191" y="172"/>
                  </a:lnTo>
                  <a:lnTo>
                    <a:pt x="191" y="176"/>
                  </a:lnTo>
                  <a:lnTo>
                    <a:pt x="192" y="176"/>
                  </a:lnTo>
                  <a:lnTo>
                    <a:pt x="194" y="176"/>
                  </a:lnTo>
                  <a:lnTo>
                    <a:pt x="194" y="177"/>
                  </a:lnTo>
                  <a:lnTo>
                    <a:pt x="195" y="178"/>
                  </a:lnTo>
                  <a:lnTo>
                    <a:pt x="196" y="178"/>
                  </a:lnTo>
                  <a:lnTo>
                    <a:pt x="197" y="177"/>
                  </a:lnTo>
                  <a:lnTo>
                    <a:pt x="197" y="176"/>
                  </a:lnTo>
                  <a:lnTo>
                    <a:pt x="198" y="176"/>
                  </a:lnTo>
                  <a:lnTo>
                    <a:pt x="198" y="177"/>
                  </a:lnTo>
                  <a:lnTo>
                    <a:pt x="200" y="178"/>
                  </a:lnTo>
                  <a:lnTo>
                    <a:pt x="200" y="179"/>
                  </a:lnTo>
                  <a:lnTo>
                    <a:pt x="200" y="181"/>
                  </a:lnTo>
                  <a:lnTo>
                    <a:pt x="201" y="181"/>
                  </a:lnTo>
                  <a:lnTo>
                    <a:pt x="201" y="182"/>
                  </a:lnTo>
                  <a:lnTo>
                    <a:pt x="202" y="181"/>
                  </a:lnTo>
                  <a:lnTo>
                    <a:pt x="202" y="179"/>
                  </a:lnTo>
                  <a:lnTo>
                    <a:pt x="203" y="178"/>
                  </a:lnTo>
                  <a:lnTo>
                    <a:pt x="204" y="178"/>
                  </a:lnTo>
                  <a:lnTo>
                    <a:pt x="206" y="179"/>
                  </a:lnTo>
                  <a:lnTo>
                    <a:pt x="207" y="178"/>
                  </a:lnTo>
                  <a:lnTo>
                    <a:pt x="207" y="177"/>
                  </a:lnTo>
                  <a:lnTo>
                    <a:pt x="206" y="177"/>
                  </a:lnTo>
                  <a:lnTo>
                    <a:pt x="204" y="177"/>
                  </a:lnTo>
                  <a:lnTo>
                    <a:pt x="203" y="176"/>
                  </a:lnTo>
                  <a:lnTo>
                    <a:pt x="203" y="175"/>
                  </a:lnTo>
                  <a:lnTo>
                    <a:pt x="202" y="175"/>
                  </a:lnTo>
                  <a:lnTo>
                    <a:pt x="201" y="175"/>
                  </a:lnTo>
                  <a:lnTo>
                    <a:pt x="200" y="175"/>
                  </a:lnTo>
                  <a:lnTo>
                    <a:pt x="200" y="173"/>
                  </a:lnTo>
                  <a:lnTo>
                    <a:pt x="200" y="172"/>
                  </a:lnTo>
                  <a:lnTo>
                    <a:pt x="198" y="173"/>
                  </a:lnTo>
                  <a:lnTo>
                    <a:pt x="197" y="173"/>
                  </a:lnTo>
                  <a:lnTo>
                    <a:pt x="198" y="173"/>
                  </a:lnTo>
                  <a:lnTo>
                    <a:pt x="198" y="175"/>
                  </a:lnTo>
                  <a:lnTo>
                    <a:pt x="197" y="175"/>
                  </a:lnTo>
                  <a:lnTo>
                    <a:pt x="196" y="173"/>
                  </a:lnTo>
                  <a:lnTo>
                    <a:pt x="195" y="173"/>
                  </a:lnTo>
                  <a:lnTo>
                    <a:pt x="195" y="175"/>
                  </a:lnTo>
                  <a:lnTo>
                    <a:pt x="195" y="173"/>
                  </a:lnTo>
                  <a:lnTo>
                    <a:pt x="197" y="172"/>
                  </a:lnTo>
                  <a:lnTo>
                    <a:pt x="197" y="171"/>
                  </a:lnTo>
                  <a:lnTo>
                    <a:pt x="195" y="171"/>
                  </a:lnTo>
                  <a:lnTo>
                    <a:pt x="194" y="171"/>
                  </a:lnTo>
                  <a:lnTo>
                    <a:pt x="194" y="170"/>
                  </a:lnTo>
                  <a:lnTo>
                    <a:pt x="192" y="170"/>
                  </a:lnTo>
                  <a:lnTo>
                    <a:pt x="196" y="170"/>
                  </a:lnTo>
                  <a:lnTo>
                    <a:pt x="198" y="171"/>
                  </a:lnTo>
                  <a:lnTo>
                    <a:pt x="202" y="171"/>
                  </a:lnTo>
                  <a:lnTo>
                    <a:pt x="204" y="173"/>
                  </a:lnTo>
                  <a:lnTo>
                    <a:pt x="204" y="175"/>
                  </a:lnTo>
                  <a:lnTo>
                    <a:pt x="206" y="176"/>
                  </a:lnTo>
                  <a:lnTo>
                    <a:pt x="207" y="176"/>
                  </a:lnTo>
                  <a:lnTo>
                    <a:pt x="208" y="175"/>
                  </a:lnTo>
                  <a:lnTo>
                    <a:pt x="208" y="173"/>
                  </a:lnTo>
                  <a:lnTo>
                    <a:pt x="206" y="173"/>
                  </a:lnTo>
                  <a:lnTo>
                    <a:pt x="209" y="173"/>
                  </a:lnTo>
                  <a:lnTo>
                    <a:pt x="209" y="171"/>
                  </a:lnTo>
                  <a:lnTo>
                    <a:pt x="210" y="171"/>
                  </a:lnTo>
                  <a:lnTo>
                    <a:pt x="210" y="173"/>
                  </a:lnTo>
                  <a:lnTo>
                    <a:pt x="210" y="175"/>
                  </a:lnTo>
                  <a:lnTo>
                    <a:pt x="210" y="176"/>
                  </a:lnTo>
                  <a:lnTo>
                    <a:pt x="213" y="178"/>
                  </a:lnTo>
                  <a:lnTo>
                    <a:pt x="214" y="179"/>
                  </a:lnTo>
                  <a:lnTo>
                    <a:pt x="216" y="179"/>
                  </a:lnTo>
                  <a:lnTo>
                    <a:pt x="218" y="179"/>
                  </a:lnTo>
                  <a:lnTo>
                    <a:pt x="219" y="179"/>
                  </a:lnTo>
                  <a:lnTo>
                    <a:pt x="219" y="177"/>
                  </a:lnTo>
                  <a:lnTo>
                    <a:pt x="220" y="178"/>
                  </a:lnTo>
                  <a:lnTo>
                    <a:pt x="221" y="178"/>
                  </a:lnTo>
                  <a:lnTo>
                    <a:pt x="221" y="177"/>
                  </a:lnTo>
                  <a:lnTo>
                    <a:pt x="221" y="176"/>
                  </a:lnTo>
                  <a:lnTo>
                    <a:pt x="223" y="177"/>
                  </a:lnTo>
                  <a:lnTo>
                    <a:pt x="224" y="177"/>
                  </a:lnTo>
                  <a:lnTo>
                    <a:pt x="225" y="176"/>
                  </a:lnTo>
                  <a:lnTo>
                    <a:pt x="226" y="173"/>
                  </a:lnTo>
                  <a:lnTo>
                    <a:pt x="225" y="173"/>
                  </a:lnTo>
                  <a:lnTo>
                    <a:pt x="224" y="173"/>
                  </a:lnTo>
                  <a:lnTo>
                    <a:pt x="223" y="173"/>
                  </a:lnTo>
                  <a:lnTo>
                    <a:pt x="223" y="172"/>
                  </a:lnTo>
                  <a:lnTo>
                    <a:pt x="221" y="171"/>
                  </a:lnTo>
                  <a:lnTo>
                    <a:pt x="220" y="170"/>
                  </a:lnTo>
                  <a:lnTo>
                    <a:pt x="219" y="170"/>
                  </a:lnTo>
                  <a:lnTo>
                    <a:pt x="218" y="170"/>
                  </a:lnTo>
                  <a:lnTo>
                    <a:pt x="216" y="170"/>
                  </a:lnTo>
                  <a:lnTo>
                    <a:pt x="216" y="169"/>
                  </a:lnTo>
                  <a:lnTo>
                    <a:pt x="216" y="167"/>
                  </a:lnTo>
                  <a:lnTo>
                    <a:pt x="215" y="167"/>
                  </a:lnTo>
                  <a:lnTo>
                    <a:pt x="213" y="169"/>
                  </a:lnTo>
                  <a:lnTo>
                    <a:pt x="212" y="169"/>
                  </a:lnTo>
                  <a:lnTo>
                    <a:pt x="212" y="167"/>
                  </a:lnTo>
                  <a:lnTo>
                    <a:pt x="214" y="166"/>
                  </a:lnTo>
                  <a:lnTo>
                    <a:pt x="215" y="166"/>
                  </a:lnTo>
                  <a:lnTo>
                    <a:pt x="215" y="165"/>
                  </a:lnTo>
                  <a:lnTo>
                    <a:pt x="214" y="165"/>
                  </a:lnTo>
                  <a:lnTo>
                    <a:pt x="215" y="165"/>
                  </a:lnTo>
                  <a:lnTo>
                    <a:pt x="216" y="165"/>
                  </a:lnTo>
                  <a:lnTo>
                    <a:pt x="215" y="164"/>
                  </a:lnTo>
                  <a:lnTo>
                    <a:pt x="214" y="161"/>
                  </a:lnTo>
                  <a:lnTo>
                    <a:pt x="215" y="161"/>
                  </a:lnTo>
                  <a:lnTo>
                    <a:pt x="216" y="164"/>
                  </a:lnTo>
                  <a:lnTo>
                    <a:pt x="218" y="164"/>
                  </a:lnTo>
                  <a:lnTo>
                    <a:pt x="220" y="164"/>
                  </a:lnTo>
                  <a:lnTo>
                    <a:pt x="220" y="165"/>
                  </a:lnTo>
                  <a:lnTo>
                    <a:pt x="221" y="165"/>
                  </a:lnTo>
                  <a:lnTo>
                    <a:pt x="221" y="166"/>
                  </a:lnTo>
                  <a:lnTo>
                    <a:pt x="223" y="167"/>
                  </a:lnTo>
                  <a:lnTo>
                    <a:pt x="225" y="167"/>
                  </a:lnTo>
                  <a:lnTo>
                    <a:pt x="226" y="166"/>
                  </a:lnTo>
                  <a:lnTo>
                    <a:pt x="227" y="169"/>
                  </a:lnTo>
                  <a:lnTo>
                    <a:pt x="230" y="169"/>
                  </a:lnTo>
                  <a:lnTo>
                    <a:pt x="230" y="167"/>
                  </a:lnTo>
                  <a:lnTo>
                    <a:pt x="231" y="167"/>
                  </a:lnTo>
                  <a:lnTo>
                    <a:pt x="231" y="170"/>
                  </a:lnTo>
                  <a:lnTo>
                    <a:pt x="232" y="171"/>
                  </a:lnTo>
                  <a:lnTo>
                    <a:pt x="235" y="171"/>
                  </a:lnTo>
                  <a:lnTo>
                    <a:pt x="237" y="170"/>
                  </a:lnTo>
                  <a:lnTo>
                    <a:pt x="238" y="169"/>
                  </a:lnTo>
                  <a:lnTo>
                    <a:pt x="241" y="167"/>
                  </a:lnTo>
                  <a:lnTo>
                    <a:pt x="242" y="165"/>
                  </a:lnTo>
                  <a:lnTo>
                    <a:pt x="242" y="164"/>
                  </a:lnTo>
                  <a:lnTo>
                    <a:pt x="242" y="163"/>
                  </a:lnTo>
                  <a:lnTo>
                    <a:pt x="241" y="163"/>
                  </a:lnTo>
                  <a:lnTo>
                    <a:pt x="243" y="163"/>
                  </a:lnTo>
                  <a:lnTo>
                    <a:pt x="243" y="161"/>
                  </a:lnTo>
                  <a:lnTo>
                    <a:pt x="243" y="160"/>
                  </a:lnTo>
                  <a:lnTo>
                    <a:pt x="241" y="160"/>
                  </a:lnTo>
                  <a:lnTo>
                    <a:pt x="239" y="160"/>
                  </a:lnTo>
                  <a:lnTo>
                    <a:pt x="241" y="160"/>
                  </a:lnTo>
                  <a:lnTo>
                    <a:pt x="241" y="159"/>
                  </a:lnTo>
                  <a:lnTo>
                    <a:pt x="244" y="159"/>
                  </a:lnTo>
                  <a:lnTo>
                    <a:pt x="244" y="158"/>
                  </a:lnTo>
                  <a:lnTo>
                    <a:pt x="244" y="155"/>
                  </a:lnTo>
                  <a:lnTo>
                    <a:pt x="243" y="155"/>
                  </a:lnTo>
                  <a:lnTo>
                    <a:pt x="242" y="155"/>
                  </a:lnTo>
                  <a:lnTo>
                    <a:pt x="242" y="158"/>
                  </a:lnTo>
                  <a:lnTo>
                    <a:pt x="241" y="158"/>
                  </a:lnTo>
                  <a:lnTo>
                    <a:pt x="241" y="157"/>
                  </a:lnTo>
                  <a:lnTo>
                    <a:pt x="239" y="155"/>
                  </a:lnTo>
                  <a:lnTo>
                    <a:pt x="238" y="157"/>
                  </a:lnTo>
                  <a:lnTo>
                    <a:pt x="238" y="155"/>
                  </a:lnTo>
                  <a:lnTo>
                    <a:pt x="238" y="154"/>
                  </a:lnTo>
                  <a:lnTo>
                    <a:pt x="237" y="154"/>
                  </a:lnTo>
                  <a:lnTo>
                    <a:pt x="237" y="155"/>
                  </a:lnTo>
                  <a:lnTo>
                    <a:pt x="237" y="157"/>
                  </a:lnTo>
                  <a:lnTo>
                    <a:pt x="236" y="155"/>
                  </a:lnTo>
                  <a:lnTo>
                    <a:pt x="235" y="154"/>
                  </a:lnTo>
                  <a:lnTo>
                    <a:pt x="235" y="155"/>
                  </a:lnTo>
                  <a:lnTo>
                    <a:pt x="233" y="155"/>
                  </a:lnTo>
                  <a:lnTo>
                    <a:pt x="233" y="154"/>
                  </a:lnTo>
                  <a:lnTo>
                    <a:pt x="232" y="154"/>
                  </a:lnTo>
                  <a:lnTo>
                    <a:pt x="231" y="151"/>
                  </a:lnTo>
                  <a:lnTo>
                    <a:pt x="231" y="152"/>
                  </a:lnTo>
                  <a:lnTo>
                    <a:pt x="231" y="153"/>
                  </a:lnTo>
                  <a:lnTo>
                    <a:pt x="230" y="153"/>
                  </a:lnTo>
                  <a:lnTo>
                    <a:pt x="229" y="153"/>
                  </a:lnTo>
                  <a:lnTo>
                    <a:pt x="229" y="152"/>
                  </a:lnTo>
                  <a:lnTo>
                    <a:pt x="227" y="152"/>
                  </a:lnTo>
                  <a:lnTo>
                    <a:pt x="226" y="151"/>
                  </a:lnTo>
                  <a:lnTo>
                    <a:pt x="225" y="149"/>
                  </a:lnTo>
                  <a:lnTo>
                    <a:pt x="225" y="148"/>
                  </a:lnTo>
                  <a:lnTo>
                    <a:pt x="224" y="147"/>
                  </a:lnTo>
                  <a:lnTo>
                    <a:pt x="223" y="147"/>
                  </a:lnTo>
                  <a:lnTo>
                    <a:pt x="224" y="146"/>
                  </a:lnTo>
                  <a:lnTo>
                    <a:pt x="224" y="145"/>
                  </a:lnTo>
                  <a:lnTo>
                    <a:pt x="221" y="146"/>
                  </a:lnTo>
                  <a:lnTo>
                    <a:pt x="221" y="145"/>
                  </a:lnTo>
                  <a:lnTo>
                    <a:pt x="224" y="143"/>
                  </a:lnTo>
                  <a:lnTo>
                    <a:pt x="224" y="142"/>
                  </a:lnTo>
                  <a:lnTo>
                    <a:pt x="223" y="142"/>
                  </a:lnTo>
                  <a:lnTo>
                    <a:pt x="223" y="143"/>
                  </a:lnTo>
                  <a:lnTo>
                    <a:pt x="221" y="143"/>
                  </a:lnTo>
                  <a:lnTo>
                    <a:pt x="220" y="143"/>
                  </a:lnTo>
                  <a:lnTo>
                    <a:pt x="219" y="143"/>
                  </a:lnTo>
                  <a:lnTo>
                    <a:pt x="219" y="142"/>
                  </a:lnTo>
                  <a:lnTo>
                    <a:pt x="218" y="142"/>
                  </a:lnTo>
                  <a:lnTo>
                    <a:pt x="218" y="143"/>
                  </a:lnTo>
                  <a:lnTo>
                    <a:pt x="216" y="142"/>
                  </a:lnTo>
                  <a:lnTo>
                    <a:pt x="218" y="142"/>
                  </a:lnTo>
                  <a:lnTo>
                    <a:pt x="219" y="141"/>
                  </a:lnTo>
                  <a:lnTo>
                    <a:pt x="220" y="140"/>
                  </a:lnTo>
                  <a:lnTo>
                    <a:pt x="221" y="140"/>
                  </a:lnTo>
                  <a:lnTo>
                    <a:pt x="224" y="139"/>
                  </a:lnTo>
                  <a:lnTo>
                    <a:pt x="220" y="139"/>
                  </a:lnTo>
                  <a:lnTo>
                    <a:pt x="220" y="137"/>
                  </a:lnTo>
                  <a:lnTo>
                    <a:pt x="219" y="137"/>
                  </a:lnTo>
                  <a:lnTo>
                    <a:pt x="216" y="140"/>
                  </a:lnTo>
                  <a:lnTo>
                    <a:pt x="215" y="140"/>
                  </a:lnTo>
                  <a:lnTo>
                    <a:pt x="215" y="139"/>
                  </a:lnTo>
                  <a:lnTo>
                    <a:pt x="218" y="136"/>
                  </a:lnTo>
                  <a:lnTo>
                    <a:pt x="216" y="136"/>
                  </a:lnTo>
                  <a:lnTo>
                    <a:pt x="215" y="136"/>
                  </a:lnTo>
                  <a:lnTo>
                    <a:pt x="212" y="139"/>
                  </a:lnTo>
                  <a:lnTo>
                    <a:pt x="210" y="137"/>
                  </a:lnTo>
                  <a:lnTo>
                    <a:pt x="214" y="135"/>
                  </a:lnTo>
                  <a:lnTo>
                    <a:pt x="212" y="135"/>
                  </a:lnTo>
                  <a:lnTo>
                    <a:pt x="208" y="135"/>
                  </a:lnTo>
                  <a:lnTo>
                    <a:pt x="208" y="136"/>
                  </a:lnTo>
                  <a:lnTo>
                    <a:pt x="207" y="135"/>
                  </a:lnTo>
                  <a:lnTo>
                    <a:pt x="208" y="135"/>
                  </a:lnTo>
                  <a:lnTo>
                    <a:pt x="208" y="134"/>
                  </a:lnTo>
                  <a:lnTo>
                    <a:pt x="207" y="134"/>
                  </a:lnTo>
                  <a:lnTo>
                    <a:pt x="207" y="131"/>
                  </a:lnTo>
                  <a:lnTo>
                    <a:pt x="204" y="131"/>
                  </a:lnTo>
                  <a:lnTo>
                    <a:pt x="203" y="131"/>
                  </a:lnTo>
                  <a:lnTo>
                    <a:pt x="204" y="130"/>
                  </a:lnTo>
                  <a:lnTo>
                    <a:pt x="204" y="129"/>
                  </a:lnTo>
                  <a:lnTo>
                    <a:pt x="203" y="129"/>
                  </a:lnTo>
                  <a:lnTo>
                    <a:pt x="200" y="129"/>
                  </a:lnTo>
                  <a:lnTo>
                    <a:pt x="198" y="130"/>
                  </a:lnTo>
                  <a:lnTo>
                    <a:pt x="197" y="129"/>
                  </a:lnTo>
                  <a:lnTo>
                    <a:pt x="200" y="128"/>
                  </a:lnTo>
                  <a:lnTo>
                    <a:pt x="201" y="128"/>
                  </a:lnTo>
                  <a:lnTo>
                    <a:pt x="200" y="125"/>
                  </a:lnTo>
                  <a:lnTo>
                    <a:pt x="197" y="124"/>
                  </a:lnTo>
                  <a:lnTo>
                    <a:pt x="198" y="124"/>
                  </a:lnTo>
                  <a:lnTo>
                    <a:pt x="200" y="124"/>
                  </a:lnTo>
                  <a:lnTo>
                    <a:pt x="202" y="125"/>
                  </a:lnTo>
                  <a:lnTo>
                    <a:pt x="206" y="127"/>
                  </a:lnTo>
                  <a:lnTo>
                    <a:pt x="207" y="128"/>
                  </a:lnTo>
                  <a:lnTo>
                    <a:pt x="207" y="129"/>
                  </a:lnTo>
                  <a:lnTo>
                    <a:pt x="207" y="130"/>
                  </a:lnTo>
                  <a:lnTo>
                    <a:pt x="208" y="129"/>
                  </a:lnTo>
                  <a:lnTo>
                    <a:pt x="207" y="128"/>
                  </a:lnTo>
                  <a:lnTo>
                    <a:pt x="208" y="128"/>
                  </a:lnTo>
                  <a:lnTo>
                    <a:pt x="209" y="129"/>
                  </a:lnTo>
                  <a:lnTo>
                    <a:pt x="209" y="130"/>
                  </a:lnTo>
                  <a:lnTo>
                    <a:pt x="212" y="130"/>
                  </a:lnTo>
                  <a:lnTo>
                    <a:pt x="212" y="131"/>
                  </a:lnTo>
                  <a:lnTo>
                    <a:pt x="213" y="130"/>
                  </a:lnTo>
                  <a:lnTo>
                    <a:pt x="214" y="129"/>
                  </a:lnTo>
                  <a:lnTo>
                    <a:pt x="214" y="128"/>
                  </a:lnTo>
                  <a:lnTo>
                    <a:pt x="215" y="129"/>
                  </a:lnTo>
                  <a:lnTo>
                    <a:pt x="215" y="131"/>
                  </a:lnTo>
                  <a:lnTo>
                    <a:pt x="215" y="134"/>
                  </a:lnTo>
                  <a:lnTo>
                    <a:pt x="218" y="135"/>
                  </a:lnTo>
                  <a:lnTo>
                    <a:pt x="218" y="133"/>
                  </a:lnTo>
                  <a:lnTo>
                    <a:pt x="219" y="133"/>
                  </a:lnTo>
                  <a:lnTo>
                    <a:pt x="219" y="134"/>
                  </a:lnTo>
                  <a:lnTo>
                    <a:pt x="220" y="134"/>
                  </a:lnTo>
                  <a:lnTo>
                    <a:pt x="220" y="135"/>
                  </a:lnTo>
                  <a:lnTo>
                    <a:pt x="221" y="136"/>
                  </a:lnTo>
                  <a:lnTo>
                    <a:pt x="225" y="136"/>
                  </a:lnTo>
                  <a:lnTo>
                    <a:pt x="226" y="134"/>
                  </a:lnTo>
                  <a:lnTo>
                    <a:pt x="226" y="135"/>
                  </a:lnTo>
                  <a:lnTo>
                    <a:pt x="226" y="136"/>
                  </a:lnTo>
                  <a:lnTo>
                    <a:pt x="233" y="141"/>
                  </a:lnTo>
                  <a:lnTo>
                    <a:pt x="236" y="142"/>
                  </a:lnTo>
                  <a:lnTo>
                    <a:pt x="238" y="142"/>
                  </a:lnTo>
                  <a:lnTo>
                    <a:pt x="239" y="142"/>
                  </a:lnTo>
                  <a:lnTo>
                    <a:pt x="241" y="143"/>
                  </a:lnTo>
                  <a:lnTo>
                    <a:pt x="241" y="145"/>
                  </a:lnTo>
                  <a:lnTo>
                    <a:pt x="242" y="145"/>
                  </a:lnTo>
                  <a:lnTo>
                    <a:pt x="243" y="143"/>
                  </a:lnTo>
                  <a:lnTo>
                    <a:pt x="245" y="143"/>
                  </a:lnTo>
                  <a:lnTo>
                    <a:pt x="245" y="145"/>
                  </a:lnTo>
                  <a:lnTo>
                    <a:pt x="248" y="145"/>
                  </a:lnTo>
                  <a:lnTo>
                    <a:pt x="249" y="143"/>
                  </a:lnTo>
                  <a:lnTo>
                    <a:pt x="251" y="142"/>
                  </a:lnTo>
                  <a:lnTo>
                    <a:pt x="254" y="141"/>
                  </a:lnTo>
                  <a:lnTo>
                    <a:pt x="255" y="141"/>
                  </a:lnTo>
                  <a:lnTo>
                    <a:pt x="256" y="141"/>
                  </a:lnTo>
                  <a:lnTo>
                    <a:pt x="260" y="141"/>
                  </a:lnTo>
                  <a:lnTo>
                    <a:pt x="262" y="141"/>
                  </a:lnTo>
                  <a:lnTo>
                    <a:pt x="262" y="140"/>
                  </a:lnTo>
                  <a:lnTo>
                    <a:pt x="262" y="137"/>
                  </a:lnTo>
                  <a:lnTo>
                    <a:pt x="263" y="136"/>
                  </a:lnTo>
                  <a:lnTo>
                    <a:pt x="262" y="136"/>
                  </a:lnTo>
                  <a:lnTo>
                    <a:pt x="261" y="137"/>
                  </a:lnTo>
                  <a:lnTo>
                    <a:pt x="259" y="139"/>
                  </a:lnTo>
                  <a:lnTo>
                    <a:pt x="257" y="139"/>
                  </a:lnTo>
                  <a:lnTo>
                    <a:pt x="256" y="139"/>
                  </a:lnTo>
                  <a:lnTo>
                    <a:pt x="257" y="137"/>
                  </a:lnTo>
                  <a:lnTo>
                    <a:pt x="260" y="136"/>
                  </a:lnTo>
                  <a:lnTo>
                    <a:pt x="261" y="135"/>
                  </a:lnTo>
                  <a:lnTo>
                    <a:pt x="262" y="135"/>
                  </a:lnTo>
                  <a:lnTo>
                    <a:pt x="262" y="134"/>
                  </a:lnTo>
                  <a:lnTo>
                    <a:pt x="261" y="134"/>
                  </a:lnTo>
                  <a:lnTo>
                    <a:pt x="261" y="133"/>
                  </a:lnTo>
                  <a:lnTo>
                    <a:pt x="262" y="131"/>
                  </a:lnTo>
                  <a:lnTo>
                    <a:pt x="261" y="130"/>
                  </a:lnTo>
                  <a:lnTo>
                    <a:pt x="260" y="130"/>
                  </a:lnTo>
                  <a:lnTo>
                    <a:pt x="259" y="129"/>
                  </a:lnTo>
                  <a:lnTo>
                    <a:pt x="257" y="129"/>
                  </a:lnTo>
                  <a:lnTo>
                    <a:pt x="259" y="129"/>
                  </a:lnTo>
                  <a:lnTo>
                    <a:pt x="261" y="129"/>
                  </a:lnTo>
                  <a:lnTo>
                    <a:pt x="265" y="130"/>
                  </a:lnTo>
                  <a:lnTo>
                    <a:pt x="266" y="130"/>
                  </a:lnTo>
                  <a:lnTo>
                    <a:pt x="271" y="125"/>
                  </a:lnTo>
                  <a:lnTo>
                    <a:pt x="272" y="127"/>
                  </a:lnTo>
                  <a:lnTo>
                    <a:pt x="273" y="125"/>
                  </a:lnTo>
                  <a:lnTo>
                    <a:pt x="273" y="124"/>
                  </a:lnTo>
                  <a:lnTo>
                    <a:pt x="274" y="123"/>
                  </a:lnTo>
                  <a:lnTo>
                    <a:pt x="277" y="123"/>
                  </a:lnTo>
                  <a:lnTo>
                    <a:pt x="277" y="122"/>
                  </a:lnTo>
                  <a:lnTo>
                    <a:pt x="278" y="122"/>
                  </a:lnTo>
                  <a:lnTo>
                    <a:pt x="279" y="120"/>
                  </a:lnTo>
                  <a:lnTo>
                    <a:pt x="279" y="119"/>
                  </a:lnTo>
                  <a:lnTo>
                    <a:pt x="279" y="117"/>
                  </a:lnTo>
                  <a:lnTo>
                    <a:pt x="279" y="116"/>
                  </a:lnTo>
                  <a:lnTo>
                    <a:pt x="278" y="116"/>
                  </a:lnTo>
                  <a:lnTo>
                    <a:pt x="279" y="114"/>
                  </a:lnTo>
                  <a:lnTo>
                    <a:pt x="279" y="113"/>
                  </a:lnTo>
                  <a:lnTo>
                    <a:pt x="277" y="112"/>
                  </a:lnTo>
                  <a:lnTo>
                    <a:pt x="277" y="111"/>
                  </a:lnTo>
                  <a:lnTo>
                    <a:pt x="275" y="112"/>
                  </a:lnTo>
                  <a:lnTo>
                    <a:pt x="275" y="113"/>
                  </a:lnTo>
                  <a:lnTo>
                    <a:pt x="274" y="113"/>
                  </a:lnTo>
                  <a:lnTo>
                    <a:pt x="273" y="114"/>
                  </a:lnTo>
                  <a:lnTo>
                    <a:pt x="272" y="114"/>
                  </a:lnTo>
                  <a:lnTo>
                    <a:pt x="272" y="117"/>
                  </a:lnTo>
                  <a:lnTo>
                    <a:pt x="271" y="116"/>
                  </a:lnTo>
                  <a:lnTo>
                    <a:pt x="271" y="114"/>
                  </a:lnTo>
                  <a:lnTo>
                    <a:pt x="271" y="113"/>
                  </a:lnTo>
                  <a:lnTo>
                    <a:pt x="269" y="113"/>
                  </a:lnTo>
                  <a:lnTo>
                    <a:pt x="267" y="117"/>
                  </a:lnTo>
                  <a:lnTo>
                    <a:pt x="266" y="117"/>
                  </a:lnTo>
                  <a:lnTo>
                    <a:pt x="266" y="116"/>
                  </a:lnTo>
                  <a:lnTo>
                    <a:pt x="269" y="113"/>
                  </a:lnTo>
                  <a:lnTo>
                    <a:pt x="269" y="112"/>
                  </a:lnTo>
                  <a:lnTo>
                    <a:pt x="268" y="112"/>
                  </a:lnTo>
                  <a:lnTo>
                    <a:pt x="267" y="112"/>
                  </a:lnTo>
                  <a:lnTo>
                    <a:pt x="266" y="112"/>
                  </a:lnTo>
                  <a:lnTo>
                    <a:pt x="266" y="113"/>
                  </a:lnTo>
                  <a:lnTo>
                    <a:pt x="265" y="113"/>
                  </a:lnTo>
                  <a:lnTo>
                    <a:pt x="263" y="112"/>
                  </a:lnTo>
                  <a:lnTo>
                    <a:pt x="263" y="111"/>
                  </a:lnTo>
                  <a:lnTo>
                    <a:pt x="263" y="110"/>
                  </a:lnTo>
                  <a:lnTo>
                    <a:pt x="263" y="108"/>
                  </a:lnTo>
                  <a:lnTo>
                    <a:pt x="261" y="108"/>
                  </a:lnTo>
                  <a:lnTo>
                    <a:pt x="262" y="108"/>
                  </a:lnTo>
                  <a:lnTo>
                    <a:pt x="262" y="107"/>
                  </a:lnTo>
                  <a:lnTo>
                    <a:pt x="261" y="107"/>
                  </a:lnTo>
                  <a:lnTo>
                    <a:pt x="261" y="106"/>
                  </a:lnTo>
                  <a:lnTo>
                    <a:pt x="262" y="105"/>
                  </a:lnTo>
                  <a:lnTo>
                    <a:pt x="263" y="105"/>
                  </a:lnTo>
                  <a:lnTo>
                    <a:pt x="263" y="106"/>
                  </a:lnTo>
                  <a:lnTo>
                    <a:pt x="265" y="106"/>
                  </a:lnTo>
                  <a:lnTo>
                    <a:pt x="265" y="105"/>
                  </a:lnTo>
                  <a:lnTo>
                    <a:pt x="263" y="102"/>
                  </a:lnTo>
                  <a:lnTo>
                    <a:pt x="262" y="101"/>
                  </a:lnTo>
                  <a:lnTo>
                    <a:pt x="261" y="100"/>
                  </a:lnTo>
                  <a:lnTo>
                    <a:pt x="260" y="102"/>
                  </a:lnTo>
                  <a:lnTo>
                    <a:pt x="259" y="102"/>
                  </a:lnTo>
                  <a:lnTo>
                    <a:pt x="259" y="101"/>
                  </a:lnTo>
                  <a:lnTo>
                    <a:pt x="260" y="101"/>
                  </a:lnTo>
                  <a:lnTo>
                    <a:pt x="260" y="100"/>
                  </a:lnTo>
                  <a:lnTo>
                    <a:pt x="259" y="100"/>
                  </a:lnTo>
                  <a:lnTo>
                    <a:pt x="259" y="95"/>
                  </a:lnTo>
                  <a:lnTo>
                    <a:pt x="257" y="95"/>
                  </a:lnTo>
                  <a:lnTo>
                    <a:pt x="257" y="96"/>
                  </a:lnTo>
                  <a:lnTo>
                    <a:pt x="256" y="98"/>
                  </a:lnTo>
                  <a:lnTo>
                    <a:pt x="255" y="100"/>
                  </a:lnTo>
                  <a:lnTo>
                    <a:pt x="253" y="99"/>
                  </a:lnTo>
                  <a:lnTo>
                    <a:pt x="254" y="99"/>
                  </a:lnTo>
                  <a:lnTo>
                    <a:pt x="254" y="98"/>
                  </a:lnTo>
                  <a:lnTo>
                    <a:pt x="253" y="96"/>
                  </a:lnTo>
                  <a:lnTo>
                    <a:pt x="254" y="96"/>
                  </a:lnTo>
                  <a:lnTo>
                    <a:pt x="255" y="96"/>
                  </a:lnTo>
                  <a:lnTo>
                    <a:pt x="256" y="95"/>
                  </a:lnTo>
                  <a:lnTo>
                    <a:pt x="255" y="95"/>
                  </a:lnTo>
                  <a:lnTo>
                    <a:pt x="254" y="95"/>
                  </a:lnTo>
                  <a:lnTo>
                    <a:pt x="253" y="94"/>
                  </a:lnTo>
                  <a:lnTo>
                    <a:pt x="256" y="94"/>
                  </a:lnTo>
                  <a:lnTo>
                    <a:pt x="257" y="94"/>
                  </a:lnTo>
                  <a:lnTo>
                    <a:pt x="259" y="93"/>
                  </a:lnTo>
                  <a:lnTo>
                    <a:pt x="256" y="92"/>
                  </a:lnTo>
                  <a:lnTo>
                    <a:pt x="254" y="93"/>
                  </a:lnTo>
                  <a:lnTo>
                    <a:pt x="253" y="92"/>
                  </a:lnTo>
                  <a:lnTo>
                    <a:pt x="255" y="90"/>
                  </a:lnTo>
                  <a:lnTo>
                    <a:pt x="254" y="90"/>
                  </a:lnTo>
                  <a:lnTo>
                    <a:pt x="250" y="92"/>
                  </a:lnTo>
                  <a:lnTo>
                    <a:pt x="249" y="92"/>
                  </a:lnTo>
                  <a:lnTo>
                    <a:pt x="249" y="90"/>
                  </a:lnTo>
                  <a:lnTo>
                    <a:pt x="251" y="89"/>
                  </a:lnTo>
                  <a:lnTo>
                    <a:pt x="251" y="88"/>
                  </a:lnTo>
                  <a:lnTo>
                    <a:pt x="250" y="88"/>
                  </a:lnTo>
                  <a:lnTo>
                    <a:pt x="249" y="88"/>
                  </a:lnTo>
                  <a:lnTo>
                    <a:pt x="250" y="88"/>
                  </a:lnTo>
                  <a:lnTo>
                    <a:pt x="249" y="87"/>
                  </a:lnTo>
                  <a:lnTo>
                    <a:pt x="248" y="88"/>
                  </a:lnTo>
                  <a:lnTo>
                    <a:pt x="245" y="88"/>
                  </a:lnTo>
                  <a:lnTo>
                    <a:pt x="244" y="88"/>
                  </a:lnTo>
                  <a:lnTo>
                    <a:pt x="243" y="89"/>
                  </a:lnTo>
                  <a:lnTo>
                    <a:pt x="242" y="88"/>
                  </a:lnTo>
                  <a:lnTo>
                    <a:pt x="242" y="87"/>
                  </a:lnTo>
                  <a:lnTo>
                    <a:pt x="242" y="86"/>
                  </a:lnTo>
                  <a:lnTo>
                    <a:pt x="243" y="86"/>
                  </a:lnTo>
                  <a:lnTo>
                    <a:pt x="244" y="86"/>
                  </a:lnTo>
                  <a:lnTo>
                    <a:pt x="247" y="86"/>
                  </a:lnTo>
                  <a:lnTo>
                    <a:pt x="247" y="84"/>
                  </a:lnTo>
                  <a:lnTo>
                    <a:pt x="244" y="83"/>
                  </a:lnTo>
                  <a:lnTo>
                    <a:pt x="243" y="84"/>
                  </a:lnTo>
                  <a:lnTo>
                    <a:pt x="242" y="84"/>
                  </a:lnTo>
                  <a:lnTo>
                    <a:pt x="241" y="86"/>
                  </a:lnTo>
                  <a:lnTo>
                    <a:pt x="239" y="84"/>
                  </a:lnTo>
                  <a:lnTo>
                    <a:pt x="241" y="83"/>
                  </a:lnTo>
                  <a:lnTo>
                    <a:pt x="241" y="82"/>
                  </a:lnTo>
                  <a:lnTo>
                    <a:pt x="239" y="83"/>
                  </a:lnTo>
                  <a:lnTo>
                    <a:pt x="237" y="83"/>
                  </a:lnTo>
                  <a:lnTo>
                    <a:pt x="237" y="84"/>
                  </a:lnTo>
                  <a:lnTo>
                    <a:pt x="236" y="83"/>
                  </a:lnTo>
                  <a:lnTo>
                    <a:pt x="237" y="83"/>
                  </a:lnTo>
                  <a:lnTo>
                    <a:pt x="238" y="82"/>
                  </a:lnTo>
                  <a:lnTo>
                    <a:pt x="237" y="81"/>
                  </a:lnTo>
                  <a:lnTo>
                    <a:pt x="236" y="82"/>
                  </a:lnTo>
                  <a:lnTo>
                    <a:pt x="235" y="82"/>
                  </a:lnTo>
                  <a:lnTo>
                    <a:pt x="233" y="82"/>
                  </a:lnTo>
                  <a:lnTo>
                    <a:pt x="232" y="82"/>
                  </a:lnTo>
                  <a:lnTo>
                    <a:pt x="231" y="83"/>
                  </a:lnTo>
                  <a:lnTo>
                    <a:pt x="230" y="82"/>
                  </a:lnTo>
                  <a:lnTo>
                    <a:pt x="232" y="81"/>
                  </a:lnTo>
                  <a:lnTo>
                    <a:pt x="233" y="81"/>
                  </a:lnTo>
                  <a:lnTo>
                    <a:pt x="226" y="76"/>
                  </a:lnTo>
                  <a:lnTo>
                    <a:pt x="225" y="75"/>
                  </a:lnTo>
                  <a:lnTo>
                    <a:pt x="229" y="76"/>
                  </a:lnTo>
                  <a:lnTo>
                    <a:pt x="233" y="78"/>
                  </a:lnTo>
                  <a:lnTo>
                    <a:pt x="235" y="78"/>
                  </a:lnTo>
                  <a:lnTo>
                    <a:pt x="236" y="78"/>
                  </a:lnTo>
                  <a:lnTo>
                    <a:pt x="233" y="77"/>
                  </a:lnTo>
                  <a:lnTo>
                    <a:pt x="233" y="76"/>
                  </a:lnTo>
                  <a:lnTo>
                    <a:pt x="237" y="78"/>
                  </a:lnTo>
                  <a:lnTo>
                    <a:pt x="237" y="80"/>
                  </a:lnTo>
                  <a:lnTo>
                    <a:pt x="238" y="80"/>
                  </a:lnTo>
                  <a:lnTo>
                    <a:pt x="239" y="78"/>
                  </a:lnTo>
                  <a:lnTo>
                    <a:pt x="241" y="80"/>
                  </a:lnTo>
                  <a:lnTo>
                    <a:pt x="241" y="81"/>
                  </a:lnTo>
                  <a:lnTo>
                    <a:pt x="242" y="81"/>
                  </a:lnTo>
                  <a:lnTo>
                    <a:pt x="242" y="80"/>
                  </a:lnTo>
                  <a:lnTo>
                    <a:pt x="243" y="80"/>
                  </a:lnTo>
                  <a:lnTo>
                    <a:pt x="243" y="81"/>
                  </a:lnTo>
                  <a:lnTo>
                    <a:pt x="244" y="82"/>
                  </a:lnTo>
                  <a:lnTo>
                    <a:pt x="244" y="83"/>
                  </a:lnTo>
                  <a:lnTo>
                    <a:pt x="245" y="83"/>
                  </a:lnTo>
                  <a:lnTo>
                    <a:pt x="247" y="83"/>
                  </a:lnTo>
                  <a:lnTo>
                    <a:pt x="248" y="83"/>
                  </a:lnTo>
                  <a:lnTo>
                    <a:pt x="247" y="82"/>
                  </a:lnTo>
                  <a:lnTo>
                    <a:pt x="245" y="82"/>
                  </a:lnTo>
                  <a:lnTo>
                    <a:pt x="245" y="81"/>
                  </a:lnTo>
                  <a:lnTo>
                    <a:pt x="247" y="81"/>
                  </a:lnTo>
                  <a:lnTo>
                    <a:pt x="247" y="80"/>
                  </a:lnTo>
                  <a:lnTo>
                    <a:pt x="248" y="80"/>
                  </a:lnTo>
                  <a:lnTo>
                    <a:pt x="249" y="81"/>
                  </a:lnTo>
                  <a:lnTo>
                    <a:pt x="249" y="82"/>
                  </a:lnTo>
                  <a:lnTo>
                    <a:pt x="250" y="83"/>
                  </a:lnTo>
                  <a:lnTo>
                    <a:pt x="251" y="83"/>
                  </a:lnTo>
                  <a:lnTo>
                    <a:pt x="251" y="84"/>
                  </a:lnTo>
                  <a:lnTo>
                    <a:pt x="253" y="86"/>
                  </a:lnTo>
                  <a:lnTo>
                    <a:pt x="253" y="87"/>
                  </a:lnTo>
                  <a:lnTo>
                    <a:pt x="254" y="88"/>
                  </a:lnTo>
                  <a:lnTo>
                    <a:pt x="255" y="86"/>
                  </a:lnTo>
                  <a:lnTo>
                    <a:pt x="256" y="86"/>
                  </a:lnTo>
                  <a:lnTo>
                    <a:pt x="256" y="87"/>
                  </a:lnTo>
                  <a:lnTo>
                    <a:pt x="255" y="88"/>
                  </a:lnTo>
                  <a:lnTo>
                    <a:pt x="256" y="89"/>
                  </a:lnTo>
                  <a:lnTo>
                    <a:pt x="257" y="89"/>
                  </a:lnTo>
                  <a:lnTo>
                    <a:pt x="257" y="90"/>
                  </a:lnTo>
                  <a:lnTo>
                    <a:pt x="259" y="92"/>
                  </a:lnTo>
                  <a:lnTo>
                    <a:pt x="260" y="92"/>
                  </a:lnTo>
                  <a:lnTo>
                    <a:pt x="261" y="92"/>
                  </a:lnTo>
                  <a:lnTo>
                    <a:pt x="262" y="92"/>
                  </a:lnTo>
                  <a:lnTo>
                    <a:pt x="262" y="89"/>
                  </a:lnTo>
                  <a:lnTo>
                    <a:pt x="261" y="90"/>
                  </a:lnTo>
                  <a:lnTo>
                    <a:pt x="260" y="90"/>
                  </a:lnTo>
                  <a:lnTo>
                    <a:pt x="260" y="89"/>
                  </a:lnTo>
                  <a:lnTo>
                    <a:pt x="261" y="89"/>
                  </a:lnTo>
                  <a:lnTo>
                    <a:pt x="261" y="88"/>
                  </a:lnTo>
                  <a:lnTo>
                    <a:pt x="260" y="87"/>
                  </a:lnTo>
                  <a:lnTo>
                    <a:pt x="261" y="87"/>
                  </a:lnTo>
                  <a:lnTo>
                    <a:pt x="262" y="88"/>
                  </a:lnTo>
                  <a:lnTo>
                    <a:pt x="263" y="89"/>
                  </a:lnTo>
                  <a:lnTo>
                    <a:pt x="263" y="88"/>
                  </a:lnTo>
                  <a:lnTo>
                    <a:pt x="265" y="87"/>
                  </a:lnTo>
                  <a:lnTo>
                    <a:pt x="266" y="87"/>
                  </a:lnTo>
                  <a:lnTo>
                    <a:pt x="266" y="88"/>
                  </a:lnTo>
                  <a:lnTo>
                    <a:pt x="265" y="88"/>
                  </a:lnTo>
                  <a:lnTo>
                    <a:pt x="265" y="89"/>
                  </a:lnTo>
                  <a:lnTo>
                    <a:pt x="266" y="90"/>
                  </a:lnTo>
                  <a:lnTo>
                    <a:pt x="267" y="90"/>
                  </a:lnTo>
                  <a:lnTo>
                    <a:pt x="266" y="90"/>
                  </a:lnTo>
                  <a:lnTo>
                    <a:pt x="265" y="90"/>
                  </a:lnTo>
                  <a:lnTo>
                    <a:pt x="263" y="92"/>
                  </a:lnTo>
                  <a:lnTo>
                    <a:pt x="263" y="93"/>
                  </a:lnTo>
                  <a:lnTo>
                    <a:pt x="262" y="94"/>
                  </a:lnTo>
                  <a:lnTo>
                    <a:pt x="265" y="94"/>
                  </a:lnTo>
                  <a:lnTo>
                    <a:pt x="265" y="95"/>
                  </a:lnTo>
                  <a:lnTo>
                    <a:pt x="267" y="96"/>
                  </a:lnTo>
                  <a:lnTo>
                    <a:pt x="269" y="98"/>
                  </a:lnTo>
                  <a:lnTo>
                    <a:pt x="271" y="99"/>
                  </a:lnTo>
                  <a:lnTo>
                    <a:pt x="273" y="100"/>
                  </a:lnTo>
                  <a:lnTo>
                    <a:pt x="274" y="101"/>
                  </a:lnTo>
                  <a:lnTo>
                    <a:pt x="275" y="101"/>
                  </a:lnTo>
                  <a:lnTo>
                    <a:pt x="278" y="101"/>
                  </a:lnTo>
                  <a:lnTo>
                    <a:pt x="278" y="100"/>
                  </a:lnTo>
                  <a:lnTo>
                    <a:pt x="279" y="98"/>
                  </a:lnTo>
                  <a:lnTo>
                    <a:pt x="280" y="96"/>
                  </a:lnTo>
                  <a:lnTo>
                    <a:pt x="280" y="95"/>
                  </a:lnTo>
                  <a:lnTo>
                    <a:pt x="279" y="95"/>
                  </a:lnTo>
                  <a:lnTo>
                    <a:pt x="279" y="96"/>
                  </a:lnTo>
                  <a:lnTo>
                    <a:pt x="275" y="96"/>
                  </a:lnTo>
                  <a:lnTo>
                    <a:pt x="277" y="95"/>
                  </a:lnTo>
                  <a:lnTo>
                    <a:pt x="278" y="95"/>
                  </a:lnTo>
                  <a:lnTo>
                    <a:pt x="280" y="94"/>
                  </a:lnTo>
                  <a:lnTo>
                    <a:pt x="282" y="94"/>
                  </a:lnTo>
                  <a:lnTo>
                    <a:pt x="282" y="93"/>
                  </a:lnTo>
                  <a:lnTo>
                    <a:pt x="280" y="93"/>
                  </a:lnTo>
                  <a:lnTo>
                    <a:pt x="278" y="93"/>
                  </a:lnTo>
                  <a:lnTo>
                    <a:pt x="277" y="92"/>
                  </a:lnTo>
                  <a:lnTo>
                    <a:pt x="277" y="90"/>
                  </a:lnTo>
                  <a:lnTo>
                    <a:pt x="275" y="89"/>
                  </a:lnTo>
                  <a:lnTo>
                    <a:pt x="277" y="88"/>
                  </a:lnTo>
                  <a:lnTo>
                    <a:pt x="279" y="88"/>
                  </a:lnTo>
                  <a:lnTo>
                    <a:pt x="280" y="88"/>
                  </a:lnTo>
                  <a:lnTo>
                    <a:pt x="283" y="88"/>
                  </a:lnTo>
                  <a:lnTo>
                    <a:pt x="283" y="87"/>
                  </a:lnTo>
                  <a:lnTo>
                    <a:pt x="282" y="86"/>
                  </a:lnTo>
                  <a:lnTo>
                    <a:pt x="280" y="86"/>
                  </a:lnTo>
                  <a:lnTo>
                    <a:pt x="279" y="86"/>
                  </a:lnTo>
                  <a:lnTo>
                    <a:pt x="279" y="84"/>
                  </a:lnTo>
                  <a:lnTo>
                    <a:pt x="279" y="83"/>
                  </a:lnTo>
                  <a:lnTo>
                    <a:pt x="278" y="83"/>
                  </a:lnTo>
                  <a:lnTo>
                    <a:pt x="278" y="84"/>
                  </a:lnTo>
                  <a:lnTo>
                    <a:pt x="275" y="84"/>
                  </a:lnTo>
                  <a:lnTo>
                    <a:pt x="277" y="83"/>
                  </a:lnTo>
                  <a:lnTo>
                    <a:pt x="279" y="83"/>
                  </a:lnTo>
                  <a:lnTo>
                    <a:pt x="279" y="82"/>
                  </a:lnTo>
                  <a:lnTo>
                    <a:pt x="278" y="82"/>
                  </a:lnTo>
                  <a:lnTo>
                    <a:pt x="277" y="81"/>
                  </a:lnTo>
                  <a:lnTo>
                    <a:pt x="277" y="82"/>
                  </a:lnTo>
                  <a:lnTo>
                    <a:pt x="275" y="82"/>
                  </a:lnTo>
                  <a:lnTo>
                    <a:pt x="273" y="82"/>
                  </a:lnTo>
                  <a:lnTo>
                    <a:pt x="272" y="82"/>
                  </a:lnTo>
                  <a:lnTo>
                    <a:pt x="271" y="83"/>
                  </a:lnTo>
                  <a:lnTo>
                    <a:pt x="269" y="84"/>
                  </a:lnTo>
                  <a:lnTo>
                    <a:pt x="269" y="83"/>
                  </a:lnTo>
                  <a:lnTo>
                    <a:pt x="268" y="83"/>
                  </a:lnTo>
                  <a:lnTo>
                    <a:pt x="269" y="82"/>
                  </a:lnTo>
                  <a:lnTo>
                    <a:pt x="272" y="81"/>
                  </a:lnTo>
                  <a:lnTo>
                    <a:pt x="271" y="80"/>
                  </a:lnTo>
                  <a:lnTo>
                    <a:pt x="271" y="81"/>
                  </a:lnTo>
                  <a:lnTo>
                    <a:pt x="269" y="81"/>
                  </a:lnTo>
                  <a:lnTo>
                    <a:pt x="269" y="80"/>
                  </a:lnTo>
                  <a:lnTo>
                    <a:pt x="271" y="78"/>
                  </a:lnTo>
                  <a:lnTo>
                    <a:pt x="271" y="77"/>
                  </a:lnTo>
                  <a:lnTo>
                    <a:pt x="269" y="77"/>
                  </a:lnTo>
                  <a:lnTo>
                    <a:pt x="268" y="77"/>
                  </a:lnTo>
                  <a:lnTo>
                    <a:pt x="268" y="78"/>
                  </a:lnTo>
                  <a:lnTo>
                    <a:pt x="268" y="80"/>
                  </a:lnTo>
                  <a:lnTo>
                    <a:pt x="268" y="81"/>
                  </a:lnTo>
                  <a:lnTo>
                    <a:pt x="267" y="81"/>
                  </a:lnTo>
                  <a:lnTo>
                    <a:pt x="266" y="80"/>
                  </a:lnTo>
                  <a:lnTo>
                    <a:pt x="266" y="78"/>
                  </a:lnTo>
                  <a:lnTo>
                    <a:pt x="265" y="78"/>
                  </a:lnTo>
                  <a:lnTo>
                    <a:pt x="263" y="77"/>
                  </a:lnTo>
                  <a:lnTo>
                    <a:pt x="265" y="77"/>
                  </a:lnTo>
                  <a:lnTo>
                    <a:pt x="267" y="76"/>
                  </a:lnTo>
                  <a:lnTo>
                    <a:pt x="266" y="76"/>
                  </a:lnTo>
                  <a:lnTo>
                    <a:pt x="265" y="76"/>
                  </a:lnTo>
                  <a:lnTo>
                    <a:pt x="265" y="75"/>
                  </a:lnTo>
                  <a:lnTo>
                    <a:pt x="263" y="75"/>
                  </a:lnTo>
                  <a:lnTo>
                    <a:pt x="263" y="74"/>
                  </a:lnTo>
                  <a:lnTo>
                    <a:pt x="261" y="72"/>
                  </a:lnTo>
                  <a:lnTo>
                    <a:pt x="260" y="72"/>
                  </a:lnTo>
                  <a:lnTo>
                    <a:pt x="259" y="72"/>
                  </a:lnTo>
                  <a:lnTo>
                    <a:pt x="257" y="72"/>
                  </a:lnTo>
                  <a:lnTo>
                    <a:pt x="259" y="71"/>
                  </a:lnTo>
                  <a:lnTo>
                    <a:pt x="260" y="70"/>
                  </a:lnTo>
                  <a:lnTo>
                    <a:pt x="261" y="70"/>
                  </a:lnTo>
                  <a:lnTo>
                    <a:pt x="261" y="69"/>
                  </a:lnTo>
                  <a:lnTo>
                    <a:pt x="260" y="69"/>
                  </a:lnTo>
                  <a:lnTo>
                    <a:pt x="259" y="68"/>
                  </a:lnTo>
                  <a:lnTo>
                    <a:pt x="257" y="68"/>
                  </a:lnTo>
                  <a:lnTo>
                    <a:pt x="257" y="69"/>
                  </a:lnTo>
                  <a:lnTo>
                    <a:pt x="254" y="68"/>
                  </a:lnTo>
                  <a:lnTo>
                    <a:pt x="253" y="69"/>
                  </a:lnTo>
                  <a:lnTo>
                    <a:pt x="250" y="69"/>
                  </a:lnTo>
                  <a:lnTo>
                    <a:pt x="249" y="69"/>
                  </a:lnTo>
                  <a:lnTo>
                    <a:pt x="248" y="69"/>
                  </a:lnTo>
                  <a:lnTo>
                    <a:pt x="248" y="68"/>
                  </a:lnTo>
                  <a:lnTo>
                    <a:pt x="249" y="66"/>
                  </a:lnTo>
                  <a:lnTo>
                    <a:pt x="250" y="66"/>
                  </a:lnTo>
                  <a:lnTo>
                    <a:pt x="251" y="66"/>
                  </a:lnTo>
                  <a:lnTo>
                    <a:pt x="253" y="66"/>
                  </a:lnTo>
                  <a:lnTo>
                    <a:pt x="253" y="65"/>
                  </a:lnTo>
                  <a:lnTo>
                    <a:pt x="251" y="65"/>
                  </a:lnTo>
                  <a:lnTo>
                    <a:pt x="250" y="65"/>
                  </a:lnTo>
                  <a:lnTo>
                    <a:pt x="250" y="66"/>
                  </a:lnTo>
                  <a:lnTo>
                    <a:pt x="248" y="68"/>
                  </a:lnTo>
                  <a:lnTo>
                    <a:pt x="247" y="66"/>
                  </a:lnTo>
                  <a:lnTo>
                    <a:pt x="248" y="65"/>
                  </a:lnTo>
                  <a:lnTo>
                    <a:pt x="249" y="65"/>
                  </a:lnTo>
                  <a:lnTo>
                    <a:pt x="250" y="64"/>
                  </a:lnTo>
                  <a:lnTo>
                    <a:pt x="248" y="64"/>
                  </a:lnTo>
                  <a:lnTo>
                    <a:pt x="247" y="64"/>
                  </a:lnTo>
                  <a:lnTo>
                    <a:pt x="245" y="65"/>
                  </a:lnTo>
                  <a:lnTo>
                    <a:pt x="244" y="65"/>
                  </a:lnTo>
                  <a:lnTo>
                    <a:pt x="245" y="64"/>
                  </a:lnTo>
                  <a:lnTo>
                    <a:pt x="245" y="63"/>
                  </a:lnTo>
                  <a:lnTo>
                    <a:pt x="245" y="62"/>
                  </a:lnTo>
                  <a:lnTo>
                    <a:pt x="245" y="63"/>
                  </a:lnTo>
                  <a:lnTo>
                    <a:pt x="244" y="63"/>
                  </a:lnTo>
                  <a:lnTo>
                    <a:pt x="243" y="63"/>
                  </a:lnTo>
                  <a:lnTo>
                    <a:pt x="241" y="64"/>
                  </a:lnTo>
                  <a:lnTo>
                    <a:pt x="239" y="63"/>
                  </a:lnTo>
                  <a:lnTo>
                    <a:pt x="241" y="63"/>
                  </a:lnTo>
                  <a:lnTo>
                    <a:pt x="241" y="62"/>
                  </a:lnTo>
                  <a:lnTo>
                    <a:pt x="242" y="62"/>
                  </a:lnTo>
                  <a:lnTo>
                    <a:pt x="243" y="62"/>
                  </a:lnTo>
                  <a:lnTo>
                    <a:pt x="242" y="60"/>
                  </a:lnTo>
                  <a:lnTo>
                    <a:pt x="237" y="58"/>
                  </a:lnTo>
                  <a:lnTo>
                    <a:pt x="236" y="57"/>
                  </a:lnTo>
                  <a:lnTo>
                    <a:pt x="237" y="57"/>
                  </a:lnTo>
                  <a:lnTo>
                    <a:pt x="239" y="58"/>
                  </a:lnTo>
                  <a:lnTo>
                    <a:pt x="243" y="59"/>
                  </a:lnTo>
                  <a:lnTo>
                    <a:pt x="242" y="58"/>
                  </a:lnTo>
                  <a:lnTo>
                    <a:pt x="241" y="58"/>
                  </a:lnTo>
                  <a:lnTo>
                    <a:pt x="242" y="57"/>
                  </a:lnTo>
                  <a:lnTo>
                    <a:pt x="243" y="57"/>
                  </a:lnTo>
                  <a:lnTo>
                    <a:pt x="244" y="58"/>
                  </a:lnTo>
                  <a:lnTo>
                    <a:pt x="245" y="59"/>
                  </a:lnTo>
                  <a:lnTo>
                    <a:pt x="248" y="60"/>
                  </a:lnTo>
                  <a:lnTo>
                    <a:pt x="249" y="60"/>
                  </a:lnTo>
                  <a:lnTo>
                    <a:pt x="249" y="62"/>
                  </a:lnTo>
                  <a:lnTo>
                    <a:pt x="250" y="62"/>
                  </a:lnTo>
                  <a:lnTo>
                    <a:pt x="250" y="60"/>
                  </a:lnTo>
                  <a:lnTo>
                    <a:pt x="251" y="59"/>
                  </a:lnTo>
                  <a:lnTo>
                    <a:pt x="253" y="60"/>
                  </a:lnTo>
                  <a:lnTo>
                    <a:pt x="253" y="62"/>
                  </a:lnTo>
                  <a:lnTo>
                    <a:pt x="254" y="62"/>
                  </a:lnTo>
                  <a:lnTo>
                    <a:pt x="255" y="63"/>
                  </a:lnTo>
                  <a:lnTo>
                    <a:pt x="256" y="64"/>
                  </a:lnTo>
                  <a:lnTo>
                    <a:pt x="256" y="63"/>
                  </a:lnTo>
                  <a:lnTo>
                    <a:pt x="255" y="62"/>
                  </a:lnTo>
                  <a:lnTo>
                    <a:pt x="255" y="60"/>
                  </a:lnTo>
                  <a:lnTo>
                    <a:pt x="256" y="60"/>
                  </a:lnTo>
                  <a:lnTo>
                    <a:pt x="257" y="60"/>
                  </a:lnTo>
                  <a:lnTo>
                    <a:pt x="259" y="60"/>
                  </a:lnTo>
                  <a:lnTo>
                    <a:pt x="259" y="62"/>
                  </a:lnTo>
                  <a:lnTo>
                    <a:pt x="260" y="63"/>
                  </a:lnTo>
                  <a:lnTo>
                    <a:pt x="260" y="64"/>
                  </a:lnTo>
                  <a:lnTo>
                    <a:pt x="259" y="63"/>
                  </a:lnTo>
                  <a:lnTo>
                    <a:pt x="259" y="64"/>
                  </a:lnTo>
                  <a:lnTo>
                    <a:pt x="260" y="64"/>
                  </a:lnTo>
                  <a:lnTo>
                    <a:pt x="261" y="64"/>
                  </a:lnTo>
                  <a:lnTo>
                    <a:pt x="262" y="65"/>
                  </a:lnTo>
                  <a:lnTo>
                    <a:pt x="263" y="66"/>
                  </a:lnTo>
                  <a:lnTo>
                    <a:pt x="265" y="66"/>
                  </a:lnTo>
                  <a:lnTo>
                    <a:pt x="266" y="68"/>
                  </a:lnTo>
                  <a:lnTo>
                    <a:pt x="267" y="66"/>
                  </a:lnTo>
                  <a:lnTo>
                    <a:pt x="268" y="66"/>
                  </a:lnTo>
                  <a:lnTo>
                    <a:pt x="269" y="68"/>
                  </a:lnTo>
                  <a:lnTo>
                    <a:pt x="271" y="68"/>
                  </a:lnTo>
                  <a:lnTo>
                    <a:pt x="271" y="69"/>
                  </a:lnTo>
                  <a:lnTo>
                    <a:pt x="272" y="70"/>
                  </a:lnTo>
                  <a:lnTo>
                    <a:pt x="273" y="71"/>
                  </a:lnTo>
                  <a:lnTo>
                    <a:pt x="274" y="72"/>
                  </a:lnTo>
                  <a:lnTo>
                    <a:pt x="275" y="72"/>
                  </a:lnTo>
                  <a:lnTo>
                    <a:pt x="277" y="72"/>
                  </a:lnTo>
                  <a:lnTo>
                    <a:pt x="275" y="71"/>
                  </a:lnTo>
                  <a:lnTo>
                    <a:pt x="277" y="71"/>
                  </a:lnTo>
                  <a:lnTo>
                    <a:pt x="277" y="70"/>
                  </a:lnTo>
                  <a:lnTo>
                    <a:pt x="277" y="69"/>
                  </a:lnTo>
                  <a:lnTo>
                    <a:pt x="277" y="68"/>
                  </a:lnTo>
                  <a:lnTo>
                    <a:pt x="272" y="68"/>
                  </a:lnTo>
                  <a:lnTo>
                    <a:pt x="272" y="66"/>
                  </a:lnTo>
                  <a:lnTo>
                    <a:pt x="273" y="66"/>
                  </a:lnTo>
                  <a:lnTo>
                    <a:pt x="271" y="66"/>
                  </a:lnTo>
                  <a:lnTo>
                    <a:pt x="272" y="65"/>
                  </a:lnTo>
                  <a:lnTo>
                    <a:pt x="273" y="65"/>
                  </a:lnTo>
                  <a:lnTo>
                    <a:pt x="277" y="66"/>
                  </a:lnTo>
                  <a:lnTo>
                    <a:pt x="277" y="65"/>
                  </a:lnTo>
                  <a:lnTo>
                    <a:pt x="277" y="64"/>
                  </a:lnTo>
                  <a:lnTo>
                    <a:pt x="278" y="63"/>
                  </a:lnTo>
                  <a:lnTo>
                    <a:pt x="279" y="64"/>
                  </a:lnTo>
                  <a:lnTo>
                    <a:pt x="280" y="64"/>
                  </a:lnTo>
                  <a:lnTo>
                    <a:pt x="283" y="65"/>
                  </a:lnTo>
                  <a:lnTo>
                    <a:pt x="284" y="65"/>
                  </a:lnTo>
                  <a:lnTo>
                    <a:pt x="285" y="65"/>
                  </a:lnTo>
                  <a:lnTo>
                    <a:pt x="286" y="65"/>
                  </a:lnTo>
                  <a:lnTo>
                    <a:pt x="289" y="64"/>
                  </a:lnTo>
                  <a:lnTo>
                    <a:pt x="290" y="64"/>
                  </a:lnTo>
                  <a:lnTo>
                    <a:pt x="289" y="63"/>
                  </a:lnTo>
                  <a:lnTo>
                    <a:pt x="289" y="62"/>
                  </a:lnTo>
                  <a:lnTo>
                    <a:pt x="289" y="60"/>
                  </a:lnTo>
                  <a:lnTo>
                    <a:pt x="290" y="59"/>
                  </a:lnTo>
                  <a:lnTo>
                    <a:pt x="289" y="58"/>
                  </a:lnTo>
                  <a:lnTo>
                    <a:pt x="288" y="59"/>
                  </a:lnTo>
                  <a:lnTo>
                    <a:pt x="286" y="60"/>
                  </a:lnTo>
                  <a:lnTo>
                    <a:pt x="286" y="62"/>
                  </a:lnTo>
                  <a:lnTo>
                    <a:pt x="285" y="62"/>
                  </a:lnTo>
                  <a:lnTo>
                    <a:pt x="284" y="63"/>
                  </a:lnTo>
                  <a:lnTo>
                    <a:pt x="284" y="64"/>
                  </a:lnTo>
                  <a:lnTo>
                    <a:pt x="283" y="64"/>
                  </a:lnTo>
                  <a:lnTo>
                    <a:pt x="283" y="63"/>
                  </a:lnTo>
                  <a:lnTo>
                    <a:pt x="282" y="62"/>
                  </a:lnTo>
                  <a:lnTo>
                    <a:pt x="280" y="63"/>
                  </a:lnTo>
                  <a:lnTo>
                    <a:pt x="279" y="63"/>
                  </a:lnTo>
                  <a:lnTo>
                    <a:pt x="280" y="62"/>
                  </a:lnTo>
                  <a:lnTo>
                    <a:pt x="279" y="60"/>
                  </a:lnTo>
                  <a:lnTo>
                    <a:pt x="278" y="60"/>
                  </a:lnTo>
                  <a:lnTo>
                    <a:pt x="279" y="59"/>
                  </a:lnTo>
                  <a:lnTo>
                    <a:pt x="282" y="59"/>
                  </a:lnTo>
                  <a:lnTo>
                    <a:pt x="283" y="60"/>
                  </a:lnTo>
                  <a:lnTo>
                    <a:pt x="284" y="59"/>
                  </a:lnTo>
                  <a:lnTo>
                    <a:pt x="285" y="58"/>
                  </a:lnTo>
                  <a:lnTo>
                    <a:pt x="286" y="58"/>
                  </a:lnTo>
                  <a:lnTo>
                    <a:pt x="289" y="57"/>
                  </a:lnTo>
                  <a:lnTo>
                    <a:pt x="291" y="56"/>
                  </a:lnTo>
                  <a:lnTo>
                    <a:pt x="294" y="54"/>
                  </a:lnTo>
                  <a:lnTo>
                    <a:pt x="292" y="54"/>
                  </a:lnTo>
                  <a:lnTo>
                    <a:pt x="292" y="53"/>
                  </a:lnTo>
                  <a:lnTo>
                    <a:pt x="294" y="52"/>
                  </a:lnTo>
                  <a:lnTo>
                    <a:pt x="292" y="52"/>
                  </a:lnTo>
                  <a:lnTo>
                    <a:pt x="292" y="51"/>
                  </a:lnTo>
                  <a:lnTo>
                    <a:pt x="291" y="50"/>
                  </a:lnTo>
                  <a:lnTo>
                    <a:pt x="290" y="46"/>
                  </a:lnTo>
                  <a:lnTo>
                    <a:pt x="290" y="45"/>
                  </a:lnTo>
                  <a:lnTo>
                    <a:pt x="289" y="42"/>
                  </a:lnTo>
                  <a:lnTo>
                    <a:pt x="288" y="41"/>
                  </a:lnTo>
                  <a:lnTo>
                    <a:pt x="286" y="41"/>
                  </a:lnTo>
                  <a:lnTo>
                    <a:pt x="288" y="40"/>
                  </a:lnTo>
                  <a:lnTo>
                    <a:pt x="289" y="40"/>
                  </a:lnTo>
                  <a:lnTo>
                    <a:pt x="291" y="40"/>
                  </a:lnTo>
                  <a:lnTo>
                    <a:pt x="290" y="39"/>
                  </a:lnTo>
                  <a:lnTo>
                    <a:pt x="289" y="39"/>
                  </a:lnTo>
                  <a:lnTo>
                    <a:pt x="289" y="38"/>
                  </a:lnTo>
                  <a:lnTo>
                    <a:pt x="288" y="39"/>
                  </a:lnTo>
                  <a:lnTo>
                    <a:pt x="286" y="39"/>
                  </a:lnTo>
                  <a:lnTo>
                    <a:pt x="285" y="39"/>
                  </a:lnTo>
                  <a:lnTo>
                    <a:pt x="285" y="38"/>
                  </a:lnTo>
                  <a:lnTo>
                    <a:pt x="285" y="36"/>
                  </a:lnTo>
                  <a:lnTo>
                    <a:pt x="286" y="36"/>
                  </a:lnTo>
                  <a:lnTo>
                    <a:pt x="285" y="35"/>
                  </a:lnTo>
                  <a:lnTo>
                    <a:pt x="286" y="35"/>
                  </a:lnTo>
                  <a:lnTo>
                    <a:pt x="288" y="35"/>
                  </a:lnTo>
                  <a:lnTo>
                    <a:pt x="290" y="35"/>
                  </a:lnTo>
                  <a:lnTo>
                    <a:pt x="291" y="35"/>
                  </a:lnTo>
                  <a:lnTo>
                    <a:pt x="292" y="35"/>
                  </a:lnTo>
                  <a:lnTo>
                    <a:pt x="294" y="34"/>
                  </a:lnTo>
                  <a:lnTo>
                    <a:pt x="292" y="34"/>
                  </a:lnTo>
                  <a:lnTo>
                    <a:pt x="291" y="33"/>
                  </a:lnTo>
                  <a:lnTo>
                    <a:pt x="289" y="32"/>
                  </a:lnTo>
                  <a:lnTo>
                    <a:pt x="288" y="32"/>
                  </a:lnTo>
                  <a:lnTo>
                    <a:pt x="286" y="33"/>
                  </a:lnTo>
                  <a:lnTo>
                    <a:pt x="285" y="33"/>
                  </a:lnTo>
                  <a:lnTo>
                    <a:pt x="285" y="32"/>
                  </a:lnTo>
                  <a:lnTo>
                    <a:pt x="286" y="32"/>
                  </a:lnTo>
                  <a:lnTo>
                    <a:pt x="285" y="30"/>
                  </a:lnTo>
                  <a:lnTo>
                    <a:pt x="284" y="32"/>
                  </a:lnTo>
                  <a:lnTo>
                    <a:pt x="283" y="32"/>
                  </a:lnTo>
                  <a:lnTo>
                    <a:pt x="283" y="30"/>
                  </a:lnTo>
                  <a:lnTo>
                    <a:pt x="284" y="30"/>
                  </a:lnTo>
                  <a:lnTo>
                    <a:pt x="282" y="30"/>
                  </a:lnTo>
                  <a:lnTo>
                    <a:pt x="280" y="30"/>
                  </a:lnTo>
                  <a:lnTo>
                    <a:pt x="280" y="32"/>
                  </a:lnTo>
                  <a:lnTo>
                    <a:pt x="278" y="32"/>
                  </a:lnTo>
                  <a:lnTo>
                    <a:pt x="278" y="30"/>
                  </a:lnTo>
                  <a:lnTo>
                    <a:pt x="279" y="29"/>
                  </a:lnTo>
                  <a:lnTo>
                    <a:pt x="278" y="29"/>
                  </a:lnTo>
                  <a:lnTo>
                    <a:pt x="275" y="29"/>
                  </a:lnTo>
                  <a:lnTo>
                    <a:pt x="274" y="28"/>
                  </a:lnTo>
                  <a:lnTo>
                    <a:pt x="273" y="28"/>
                  </a:lnTo>
                  <a:lnTo>
                    <a:pt x="273" y="27"/>
                  </a:lnTo>
                  <a:lnTo>
                    <a:pt x="275" y="28"/>
                  </a:lnTo>
                  <a:lnTo>
                    <a:pt x="277" y="28"/>
                  </a:lnTo>
                  <a:lnTo>
                    <a:pt x="275" y="27"/>
                  </a:lnTo>
                  <a:lnTo>
                    <a:pt x="277" y="27"/>
                  </a:lnTo>
                  <a:lnTo>
                    <a:pt x="278" y="27"/>
                  </a:lnTo>
                  <a:lnTo>
                    <a:pt x="280" y="28"/>
                  </a:lnTo>
                  <a:lnTo>
                    <a:pt x="282" y="28"/>
                  </a:lnTo>
                  <a:lnTo>
                    <a:pt x="282" y="27"/>
                  </a:lnTo>
                  <a:lnTo>
                    <a:pt x="282" y="26"/>
                  </a:lnTo>
                  <a:lnTo>
                    <a:pt x="282" y="24"/>
                  </a:lnTo>
                  <a:lnTo>
                    <a:pt x="283" y="26"/>
                  </a:lnTo>
                  <a:lnTo>
                    <a:pt x="283" y="27"/>
                  </a:lnTo>
                  <a:lnTo>
                    <a:pt x="283" y="28"/>
                  </a:lnTo>
                  <a:lnTo>
                    <a:pt x="284" y="28"/>
                  </a:lnTo>
                  <a:lnTo>
                    <a:pt x="285" y="28"/>
                  </a:lnTo>
                  <a:lnTo>
                    <a:pt x="286" y="28"/>
                  </a:lnTo>
                  <a:lnTo>
                    <a:pt x="288" y="29"/>
                  </a:lnTo>
                  <a:lnTo>
                    <a:pt x="288" y="30"/>
                  </a:lnTo>
                  <a:lnTo>
                    <a:pt x="290" y="30"/>
                  </a:lnTo>
                  <a:lnTo>
                    <a:pt x="291" y="30"/>
                  </a:lnTo>
                  <a:lnTo>
                    <a:pt x="291" y="29"/>
                  </a:lnTo>
                  <a:lnTo>
                    <a:pt x="290" y="28"/>
                  </a:lnTo>
                  <a:lnTo>
                    <a:pt x="289" y="29"/>
                  </a:lnTo>
                  <a:lnTo>
                    <a:pt x="288" y="29"/>
                  </a:lnTo>
                  <a:lnTo>
                    <a:pt x="288" y="28"/>
                  </a:lnTo>
                  <a:lnTo>
                    <a:pt x="288" y="27"/>
                  </a:lnTo>
                  <a:lnTo>
                    <a:pt x="288" y="28"/>
                  </a:lnTo>
                  <a:lnTo>
                    <a:pt x="286" y="28"/>
                  </a:lnTo>
                  <a:lnTo>
                    <a:pt x="286" y="27"/>
                  </a:lnTo>
                  <a:lnTo>
                    <a:pt x="288" y="27"/>
                  </a:lnTo>
                  <a:lnTo>
                    <a:pt x="286" y="26"/>
                  </a:lnTo>
                  <a:lnTo>
                    <a:pt x="288" y="26"/>
                  </a:lnTo>
                  <a:lnTo>
                    <a:pt x="289" y="26"/>
                  </a:lnTo>
                  <a:lnTo>
                    <a:pt x="289" y="24"/>
                  </a:lnTo>
                  <a:lnTo>
                    <a:pt x="288" y="24"/>
                  </a:lnTo>
                  <a:lnTo>
                    <a:pt x="288" y="23"/>
                  </a:lnTo>
                  <a:lnTo>
                    <a:pt x="286" y="23"/>
                  </a:lnTo>
                  <a:lnTo>
                    <a:pt x="285" y="23"/>
                  </a:lnTo>
                  <a:lnTo>
                    <a:pt x="282" y="23"/>
                  </a:lnTo>
                  <a:lnTo>
                    <a:pt x="286" y="23"/>
                  </a:lnTo>
                  <a:lnTo>
                    <a:pt x="285" y="22"/>
                  </a:lnTo>
                  <a:lnTo>
                    <a:pt x="284" y="21"/>
                  </a:lnTo>
                  <a:lnTo>
                    <a:pt x="283" y="21"/>
                  </a:lnTo>
                  <a:lnTo>
                    <a:pt x="282" y="21"/>
                  </a:lnTo>
                  <a:lnTo>
                    <a:pt x="282" y="20"/>
                  </a:lnTo>
                  <a:lnTo>
                    <a:pt x="283" y="20"/>
                  </a:lnTo>
                  <a:lnTo>
                    <a:pt x="284" y="20"/>
                  </a:lnTo>
                  <a:lnTo>
                    <a:pt x="285" y="21"/>
                  </a:lnTo>
                  <a:lnTo>
                    <a:pt x="285" y="20"/>
                  </a:lnTo>
                  <a:lnTo>
                    <a:pt x="280" y="16"/>
                  </a:lnTo>
                  <a:lnTo>
                    <a:pt x="279" y="13"/>
                  </a:lnTo>
                  <a:lnTo>
                    <a:pt x="275" y="11"/>
                  </a:lnTo>
                  <a:lnTo>
                    <a:pt x="274" y="10"/>
                  </a:lnTo>
                  <a:lnTo>
                    <a:pt x="274" y="9"/>
                  </a:lnTo>
                  <a:lnTo>
                    <a:pt x="275" y="9"/>
                  </a:lnTo>
                  <a:lnTo>
                    <a:pt x="278" y="10"/>
                  </a:lnTo>
                  <a:lnTo>
                    <a:pt x="279" y="12"/>
                  </a:lnTo>
                  <a:lnTo>
                    <a:pt x="283" y="16"/>
                  </a:lnTo>
                  <a:lnTo>
                    <a:pt x="285" y="17"/>
                  </a:lnTo>
                  <a:lnTo>
                    <a:pt x="286" y="20"/>
                  </a:lnTo>
                  <a:lnTo>
                    <a:pt x="288" y="21"/>
                  </a:lnTo>
                  <a:lnTo>
                    <a:pt x="289" y="22"/>
                  </a:lnTo>
                  <a:lnTo>
                    <a:pt x="290" y="21"/>
                  </a:lnTo>
                  <a:lnTo>
                    <a:pt x="291" y="20"/>
                  </a:lnTo>
                  <a:lnTo>
                    <a:pt x="294" y="17"/>
                  </a:lnTo>
                  <a:lnTo>
                    <a:pt x="295" y="17"/>
                  </a:lnTo>
                  <a:lnTo>
                    <a:pt x="296" y="16"/>
                  </a:lnTo>
                  <a:lnTo>
                    <a:pt x="296" y="18"/>
                  </a:lnTo>
                  <a:lnTo>
                    <a:pt x="295" y="18"/>
                  </a:lnTo>
                  <a:lnTo>
                    <a:pt x="294" y="18"/>
                  </a:lnTo>
                  <a:lnTo>
                    <a:pt x="292" y="18"/>
                  </a:lnTo>
                  <a:lnTo>
                    <a:pt x="292" y="20"/>
                  </a:lnTo>
                  <a:lnTo>
                    <a:pt x="291" y="21"/>
                  </a:lnTo>
                  <a:lnTo>
                    <a:pt x="290" y="22"/>
                  </a:lnTo>
                  <a:lnTo>
                    <a:pt x="290" y="23"/>
                  </a:lnTo>
                  <a:lnTo>
                    <a:pt x="290" y="24"/>
                  </a:lnTo>
                  <a:lnTo>
                    <a:pt x="291" y="24"/>
                  </a:lnTo>
                  <a:lnTo>
                    <a:pt x="292" y="23"/>
                  </a:lnTo>
                  <a:lnTo>
                    <a:pt x="294" y="23"/>
                  </a:lnTo>
                  <a:lnTo>
                    <a:pt x="294" y="24"/>
                  </a:lnTo>
                  <a:lnTo>
                    <a:pt x="292" y="24"/>
                  </a:lnTo>
                  <a:lnTo>
                    <a:pt x="291" y="26"/>
                  </a:lnTo>
                  <a:lnTo>
                    <a:pt x="291" y="27"/>
                  </a:lnTo>
                  <a:lnTo>
                    <a:pt x="292" y="27"/>
                  </a:lnTo>
                  <a:lnTo>
                    <a:pt x="294" y="26"/>
                  </a:lnTo>
                  <a:lnTo>
                    <a:pt x="295" y="26"/>
                  </a:lnTo>
                  <a:lnTo>
                    <a:pt x="295" y="27"/>
                  </a:lnTo>
                  <a:lnTo>
                    <a:pt x="294" y="28"/>
                  </a:lnTo>
                  <a:lnTo>
                    <a:pt x="292" y="29"/>
                  </a:lnTo>
                  <a:lnTo>
                    <a:pt x="292" y="30"/>
                  </a:lnTo>
                  <a:lnTo>
                    <a:pt x="294" y="30"/>
                  </a:lnTo>
                  <a:lnTo>
                    <a:pt x="294" y="29"/>
                  </a:lnTo>
                  <a:lnTo>
                    <a:pt x="295" y="29"/>
                  </a:lnTo>
                  <a:lnTo>
                    <a:pt x="296" y="29"/>
                  </a:lnTo>
                  <a:lnTo>
                    <a:pt x="296" y="28"/>
                  </a:lnTo>
                  <a:lnTo>
                    <a:pt x="297" y="28"/>
                  </a:lnTo>
                  <a:lnTo>
                    <a:pt x="298" y="27"/>
                  </a:lnTo>
                  <a:lnTo>
                    <a:pt x="297" y="26"/>
                  </a:lnTo>
                  <a:lnTo>
                    <a:pt x="296" y="26"/>
                  </a:lnTo>
                  <a:lnTo>
                    <a:pt x="296" y="24"/>
                  </a:lnTo>
                  <a:lnTo>
                    <a:pt x="297" y="23"/>
                  </a:lnTo>
                  <a:lnTo>
                    <a:pt x="297" y="24"/>
                  </a:lnTo>
                  <a:lnTo>
                    <a:pt x="298" y="24"/>
                  </a:lnTo>
                  <a:lnTo>
                    <a:pt x="298" y="22"/>
                  </a:lnTo>
                  <a:lnTo>
                    <a:pt x="297" y="21"/>
                  </a:lnTo>
                  <a:lnTo>
                    <a:pt x="296" y="21"/>
                  </a:lnTo>
                  <a:lnTo>
                    <a:pt x="294" y="21"/>
                  </a:lnTo>
                  <a:lnTo>
                    <a:pt x="292" y="21"/>
                  </a:lnTo>
                  <a:lnTo>
                    <a:pt x="292" y="20"/>
                  </a:lnTo>
                  <a:lnTo>
                    <a:pt x="295" y="20"/>
                  </a:lnTo>
                  <a:lnTo>
                    <a:pt x="297" y="20"/>
                  </a:lnTo>
                  <a:lnTo>
                    <a:pt x="298" y="20"/>
                  </a:lnTo>
                  <a:lnTo>
                    <a:pt x="298" y="18"/>
                  </a:lnTo>
                  <a:lnTo>
                    <a:pt x="300" y="17"/>
                  </a:lnTo>
                  <a:lnTo>
                    <a:pt x="300" y="16"/>
                  </a:lnTo>
                  <a:lnTo>
                    <a:pt x="300" y="13"/>
                  </a:lnTo>
                  <a:lnTo>
                    <a:pt x="300" y="10"/>
                  </a:lnTo>
                  <a:lnTo>
                    <a:pt x="301" y="10"/>
                  </a:lnTo>
                  <a:lnTo>
                    <a:pt x="301" y="11"/>
                  </a:lnTo>
                  <a:lnTo>
                    <a:pt x="301" y="16"/>
                  </a:lnTo>
                  <a:lnTo>
                    <a:pt x="301" y="18"/>
                  </a:lnTo>
                  <a:lnTo>
                    <a:pt x="301" y="22"/>
                  </a:lnTo>
                  <a:lnTo>
                    <a:pt x="301" y="23"/>
                  </a:lnTo>
                  <a:lnTo>
                    <a:pt x="300" y="24"/>
                  </a:lnTo>
                  <a:lnTo>
                    <a:pt x="300" y="26"/>
                  </a:lnTo>
                  <a:lnTo>
                    <a:pt x="301" y="26"/>
                  </a:lnTo>
                  <a:lnTo>
                    <a:pt x="302" y="24"/>
                  </a:lnTo>
                  <a:lnTo>
                    <a:pt x="302" y="26"/>
                  </a:lnTo>
                  <a:lnTo>
                    <a:pt x="303" y="27"/>
                  </a:lnTo>
                  <a:lnTo>
                    <a:pt x="303" y="28"/>
                  </a:lnTo>
                  <a:lnTo>
                    <a:pt x="304" y="28"/>
                  </a:lnTo>
                  <a:lnTo>
                    <a:pt x="306" y="27"/>
                  </a:lnTo>
                  <a:lnTo>
                    <a:pt x="307" y="26"/>
                  </a:lnTo>
                  <a:lnTo>
                    <a:pt x="307" y="24"/>
                  </a:lnTo>
                  <a:lnTo>
                    <a:pt x="306" y="23"/>
                  </a:lnTo>
                  <a:lnTo>
                    <a:pt x="304" y="23"/>
                  </a:lnTo>
                  <a:lnTo>
                    <a:pt x="304" y="22"/>
                  </a:lnTo>
                  <a:lnTo>
                    <a:pt x="306" y="22"/>
                  </a:lnTo>
                  <a:lnTo>
                    <a:pt x="307" y="22"/>
                  </a:lnTo>
                  <a:lnTo>
                    <a:pt x="308" y="23"/>
                  </a:lnTo>
                  <a:lnTo>
                    <a:pt x="307" y="22"/>
                  </a:lnTo>
                  <a:lnTo>
                    <a:pt x="308" y="22"/>
                  </a:lnTo>
                  <a:lnTo>
                    <a:pt x="309" y="21"/>
                  </a:lnTo>
                  <a:lnTo>
                    <a:pt x="308" y="21"/>
                  </a:lnTo>
                  <a:lnTo>
                    <a:pt x="307" y="20"/>
                  </a:lnTo>
                  <a:lnTo>
                    <a:pt x="308" y="18"/>
                  </a:lnTo>
                  <a:lnTo>
                    <a:pt x="309" y="20"/>
                  </a:lnTo>
                  <a:lnTo>
                    <a:pt x="309" y="18"/>
                  </a:lnTo>
                  <a:lnTo>
                    <a:pt x="309" y="17"/>
                  </a:lnTo>
                  <a:lnTo>
                    <a:pt x="307" y="16"/>
                  </a:lnTo>
                  <a:lnTo>
                    <a:pt x="306" y="15"/>
                  </a:lnTo>
                  <a:lnTo>
                    <a:pt x="302" y="12"/>
                  </a:lnTo>
                  <a:lnTo>
                    <a:pt x="302" y="11"/>
                  </a:lnTo>
                  <a:lnTo>
                    <a:pt x="303" y="11"/>
                  </a:lnTo>
                  <a:lnTo>
                    <a:pt x="304" y="12"/>
                  </a:lnTo>
                  <a:lnTo>
                    <a:pt x="308" y="16"/>
                  </a:lnTo>
                  <a:lnTo>
                    <a:pt x="309" y="15"/>
                  </a:lnTo>
                  <a:lnTo>
                    <a:pt x="308" y="15"/>
                  </a:lnTo>
                  <a:lnTo>
                    <a:pt x="308" y="13"/>
                  </a:lnTo>
                  <a:lnTo>
                    <a:pt x="308" y="12"/>
                  </a:lnTo>
                  <a:lnTo>
                    <a:pt x="307" y="11"/>
                  </a:lnTo>
                  <a:lnTo>
                    <a:pt x="307" y="10"/>
                  </a:lnTo>
                  <a:lnTo>
                    <a:pt x="308" y="10"/>
                  </a:lnTo>
                  <a:lnTo>
                    <a:pt x="308" y="11"/>
                  </a:lnTo>
                  <a:lnTo>
                    <a:pt x="309" y="11"/>
                  </a:lnTo>
                  <a:lnTo>
                    <a:pt x="309" y="12"/>
                  </a:lnTo>
                  <a:lnTo>
                    <a:pt x="309" y="10"/>
                  </a:lnTo>
                  <a:lnTo>
                    <a:pt x="309" y="9"/>
                  </a:lnTo>
                  <a:lnTo>
                    <a:pt x="309" y="6"/>
                  </a:lnTo>
                  <a:lnTo>
                    <a:pt x="310" y="6"/>
                  </a:lnTo>
                  <a:lnTo>
                    <a:pt x="310" y="7"/>
                  </a:lnTo>
                  <a:lnTo>
                    <a:pt x="310" y="9"/>
                  </a:lnTo>
                  <a:lnTo>
                    <a:pt x="310" y="12"/>
                  </a:lnTo>
                  <a:lnTo>
                    <a:pt x="310" y="13"/>
                  </a:lnTo>
                  <a:lnTo>
                    <a:pt x="310" y="1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8" name="Freeform 61"/>
            <p:cNvSpPr>
              <a:spLocks/>
            </p:cNvSpPr>
            <p:nvPr userDrawn="1"/>
          </p:nvSpPr>
          <p:spPr bwMode="auto">
            <a:xfrm>
              <a:off x="404813" y="6256338"/>
              <a:ext cx="282575" cy="304800"/>
            </a:xfrm>
            <a:custGeom>
              <a:avLst/>
              <a:gdLst/>
              <a:ahLst/>
              <a:cxnLst>
                <a:cxn ang="0">
                  <a:pos x="102" y="417"/>
                </a:cxn>
                <a:cxn ang="0">
                  <a:pos x="144" y="361"/>
                </a:cxn>
                <a:cxn ang="0">
                  <a:pos x="246" y="330"/>
                </a:cxn>
                <a:cxn ang="0">
                  <a:pos x="243" y="325"/>
                </a:cxn>
                <a:cxn ang="0">
                  <a:pos x="178" y="314"/>
                </a:cxn>
                <a:cxn ang="0">
                  <a:pos x="169" y="275"/>
                </a:cxn>
                <a:cxn ang="0">
                  <a:pos x="195" y="238"/>
                </a:cxn>
                <a:cxn ang="0">
                  <a:pos x="210" y="208"/>
                </a:cxn>
                <a:cxn ang="0">
                  <a:pos x="230" y="149"/>
                </a:cxn>
                <a:cxn ang="0">
                  <a:pos x="281" y="159"/>
                </a:cxn>
                <a:cxn ang="0">
                  <a:pos x="336" y="166"/>
                </a:cxn>
                <a:cxn ang="0">
                  <a:pos x="361" y="169"/>
                </a:cxn>
                <a:cxn ang="0">
                  <a:pos x="401" y="197"/>
                </a:cxn>
                <a:cxn ang="0">
                  <a:pos x="425" y="224"/>
                </a:cxn>
                <a:cxn ang="0">
                  <a:pos x="444" y="203"/>
                </a:cxn>
                <a:cxn ang="0">
                  <a:pos x="403" y="173"/>
                </a:cxn>
                <a:cxn ang="0">
                  <a:pos x="368" y="169"/>
                </a:cxn>
                <a:cxn ang="0">
                  <a:pos x="308" y="123"/>
                </a:cxn>
                <a:cxn ang="0">
                  <a:pos x="325" y="78"/>
                </a:cxn>
                <a:cxn ang="0">
                  <a:pos x="348" y="28"/>
                </a:cxn>
                <a:cxn ang="0">
                  <a:pos x="386" y="17"/>
                </a:cxn>
                <a:cxn ang="0">
                  <a:pos x="434" y="40"/>
                </a:cxn>
                <a:cxn ang="0">
                  <a:pos x="487" y="24"/>
                </a:cxn>
                <a:cxn ang="0">
                  <a:pos x="510" y="40"/>
                </a:cxn>
                <a:cxn ang="0">
                  <a:pos x="543" y="76"/>
                </a:cxn>
                <a:cxn ang="0">
                  <a:pos x="581" y="54"/>
                </a:cxn>
                <a:cxn ang="0">
                  <a:pos x="628" y="70"/>
                </a:cxn>
                <a:cxn ang="0">
                  <a:pos x="622" y="125"/>
                </a:cxn>
                <a:cxn ang="0">
                  <a:pos x="656" y="166"/>
                </a:cxn>
                <a:cxn ang="0">
                  <a:pos x="710" y="209"/>
                </a:cxn>
                <a:cxn ang="0">
                  <a:pos x="729" y="249"/>
                </a:cxn>
                <a:cxn ang="0">
                  <a:pos x="802" y="283"/>
                </a:cxn>
                <a:cxn ang="0">
                  <a:pos x="821" y="389"/>
                </a:cxn>
                <a:cxn ang="0">
                  <a:pos x="750" y="413"/>
                </a:cxn>
                <a:cxn ang="0">
                  <a:pos x="841" y="524"/>
                </a:cxn>
                <a:cxn ang="0">
                  <a:pos x="730" y="457"/>
                </a:cxn>
                <a:cxn ang="0">
                  <a:pos x="694" y="471"/>
                </a:cxn>
                <a:cxn ang="0">
                  <a:pos x="809" y="548"/>
                </a:cxn>
                <a:cxn ang="0">
                  <a:pos x="874" y="660"/>
                </a:cxn>
                <a:cxn ang="0">
                  <a:pos x="786" y="660"/>
                </a:cxn>
                <a:cxn ang="0">
                  <a:pos x="752" y="719"/>
                </a:cxn>
                <a:cxn ang="0">
                  <a:pos x="735" y="737"/>
                </a:cxn>
                <a:cxn ang="0">
                  <a:pos x="684" y="678"/>
                </a:cxn>
                <a:cxn ang="0">
                  <a:pos x="644" y="719"/>
                </a:cxn>
                <a:cxn ang="0">
                  <a:pos x="729" y="806"/>
                </a:cxn>
                <a:cxn ang="0">
                  <a:pos x="633" y="798"/>
                </a:cxn>
                <a:cxn ang="0">
                  <a:pos x="538" y="744"/>
                </a:cxn>
                <a:cxn ang="0">
                  <a:pos x="593" y="795"/>
                </a:cxn>
                <a:cxn ang="0">
                  <a:pos x="373" y="784"/>
                </a:cxn>
                <a:cxn ang="0">
                  <a:pos x="212" y="808"/>
                </a:cxn>
                <a:cxn ang="0">
                  <a:pos x="301" y="771"/>
                </a:cxn>
                <a:cxn ang="0">
                  <a:pos x="403" y="734"/>
                </a:cxn>
                <a:cxn ang="0">
                  <a:pos x="331" y="718"/>
                </a:cxn>
                <a:cxn ang="0">
                  <a:pos x="256" y="737"/>
                </a:cxn>
                <a:cxn ang="0">
                  <a:pos x="196" y="725"/>
                </a:cxn>
                <a:cxn ang="0">
                  <a:pos x="151" y="672"/>
                </a:cxn>
                <a:cxn ang="0">
                  <a:pos x="269" y="619"/>
                </a:cxn>
                <a:cxn ang="0">
                  <a:pos x="244" y="615"/>
                </a:cxn>
                <a:cxn ang="0">
                  <a:pos x="214" y="576"/>
                </a:cxn>
                <a:cxn ang="0">
                  <a:pos x="216" y="554"/>
                </a:cxn>
                <a:cxn ang="0">
                  <a:pos x="127" y="607"/>
                </a:cxn>
                <a:cxn ang="0">
                  <a:pos x="126" y="547"/>
                </a:cxn>
                <a:cxn ang="0">
                  <a:pos x="85" y="508"/>
                </a:cxn>
              </a:cxnLst>
              <a:rect l="0" t="0" r="r" b="b"/>
              <a:pathLst>
                <a:path w="893" h="960">
                  <a:moveTo>
                    <a:pt x="9" y="455"/>
                  </a:moveTo>
                  <a:lnTo>
                    <a:pt x="7" y="452"/>
                  </a:lnTo>
                  <a:lnTo>
                    <a:pt x="9" y="453"/>
                  </a:lnTo>
                  <a:lnTo>
                    <a:pt x="13" y="451"/>
                  </a:lnTo>
                  <a:lnTo>
                    <a:pt x="14" y="453"/>
                  </a:lnTo>
                  <a:lnTo>
                    <a:pt x="16" y="455"/>
                  </a:lnTo>
                  <a:lnTo>
                    <a:pt x="16" y="453"/>
                  </a:lnTo>
                  <a:lnTo>
                    <a:pt x="15" y="452"/>
                  </a:lnTo>
                  <a:lnTo>
                    <a:pt x="15" y="451"/>
                  </a:lnTo>
                  <a:lnTo>
                    <a:pt x="20" y="451"/>
                  </a:lnTo>
                  <a:lnTo>
                    <a:pt x="20" y="453"/>
                  </a:lnTo>
                  <a:lnTo>
                    <a:pt x="21" y="455"/>
                  </a:lnTo>
                  <a:lnTo>
                    <a:pt x="26" y="456"/>
                  </a:lnTo>
                  <a:lnTo>
                    <a:pt x="23" y="453"/>
                  </a:lnTo>
                  <a:lnTo>
                    <a:pt x="21" y="451"/>
                  </a:lnTo>
                  <a:lnTo>
                    <a:pt x="21" y="449"/>
                  </a:lnTo>
                  <a:lnTo>
                    <a:pt x="20" y="446"/>
                  </a:lnTo>
                  <a:lnTo>
                    <a:pt x="23" y="445"/>
                  </a:lnTo>
                  <a:lnTo>
                    <a:pt x="24" y="446"/>
                  </a:lnTo>
                  <a:lnTo>
                    <a:pt x="25" y="447"/>
                  </a:lnTo>
                  <a:lnTo>
                    <a:pt x="27" y="447"/>
                  </a:lnTo>
                  <a:lnTo>
                    <a:pt x="29" y="450"/>
                  </a:lnTo>
                  <a:lnTo>
                    <a:pt x="29" y="451"/>
                  </a:lnTo>
                  <a:lnTo>
                    <a:pt x="29" y="452"/>
                  </a:lnTo>
                  <a:lnTo>
                    <a:pt x="30" y="453"/>
                  </a:lnTo>
                  <a:lnTo>
                    <a:pt x="32" y="453"/>
                  </a:lnTo>
                  <a:lnTo>
                    <a:pt x="33" y="453"/>
                  </a:lnTo>
                  <a:lnTo>
                    <a:pt x="33" y="455"/>
                  </a:lnTo>
                  <a:lnTo>
                    <a:pt x="32" y="455"/>
                  </a:lnTo>
                  <a:lnTo>
                    <a:pt x="33" y="456"/>
                  </a:lnTo>
                  <a:lnTo>
                    <a:pt x="37" y="456"/>
                  </a:lnTo>
                  <a:lnTo>
                    <a:pt x="37" y="451"/>
                  </a:lnTo>
                  <a:lnTo>
                    <a:pt x="38" y="450"/>
                  </a:lnTo>
                  <a:lnTo>
                    <a:pt x="39" y="449"/>
                  </a:lnTo>
                  <a:lnTo>
                    <a:pt x="42" y="451"/>
                  </a:lnTo>
                  <a:lnTo>
                    <a:pt x="42" y="452"/>
                  </a:lnTo>
                  <a:lnTo>
                    <a:pt x="43" y="452"/>
                  </a:lnTo>
                  <a:lnTo>
                    <a:pt x="48" y="452"/>
                  </a:lnTo>
                  <a:lnTo>
                    <a:pt x="47" y="451"/>
                  </a:lnTo>
                  <a:lnTo>
                    <a:pt x="45" y="450"/>
                  </a:lnTo>
                  <a:lnTo>
                    <a:pt x="43" y="449"/>
                  </a:lnTo>
                  <a:lnTo>
                    <a:pt x="43" y="445"/>
                  </a:lnTo>
                  <a:lnTo>
                    <a:pt x="42" y="443"/>
                  </a:lnTo>
                  <a:lnTo>
                    <a:pt x="39" y="439"/>
                  </a:lnTo>
                  <a:lnTo>
                    <a:pt x="39" y="437"/>
                  </a:lnTo>
                  <a:lnTo>
                    <a:pt x="41" y="437"/>
                  </a:lnTo>
                  <a:lnTo>
                    <a:pt x="41" y="435"/>
                  </a:lnTo>
                  <a:lnTo>
                    <a:pt x="43" y="435"/>
                  </a:lnTo>
                  <a:lnTo>
                    <a:pt x="44" y="437"/>
                  </a:lnTo>
                  <a:lnTo>
                    <a:pt x="44" y="438"/>
                  </a:lnTo>
                  <a:lnTo>
                    <a:pt x="45" y="438"/>
                  </a:lnTo>
                  <a:lnTo>
                    <a:pt x="45" y="437"/>
                  </a:lnTo>
                  <a:lnTo>
                    <a:pt x="47" y="438"/>
                  </a:lnTo>
                  <a:lnTo>
                    <a:pt x="48" y="441"/>
                  </a:lnTo>
                  <a:lnTo>
                    <a:pt x="49" y="441"/>
                  </a:lnTo>
                  <a:lnTo>
                    <a:pt x="50" y="441"/>
                  </a:lnTo>
                  <a:lnTo>
                    <a:pt x="51" y="443"/>
                  </a:lnTo>
                  <a:lnTo>
                    <a:pt x="53" y="443"/>
                  </a:lnTo>
                  <a:lnTo>
                    <a:pt x="53" y="445"/>
                  </a:lnTo>
                  <a:lnTo>
                    <a:pt x="54" y="446"/>
                  </a:lnTo>
                  <a:lnTo>
                    <a:pt x="54" y="445"/>
                  </a:lnTo>
                  <a:lnTo>
                    <a:pt x="54" y="444"/>
                  </a:lnTo>
                  <a:lnTo>
                    <a:pt x="54" y="441"/>
                  </a:lnTo>
                  <a:lnTo>
                    <a:pt x="55" y="441"/>
                  </a:lnTo>
                  <a:lnTo>
                    <a:pt x="56" y="441"/>
                  </a:lnTo>
                  <a:lnTo>
                    <a:pt x="60" y="441"/>
                  </a:lnTo>
                  <a:lnTo>
                    <a:pt x="59" y="438"/>
                  </a:lnTo>
                  <a:lnTo>
                    <a:pt x="60" y="438"/>
                  </a:lnTo>
                  <a:lnTo>
                    <a:pt x="61" y="437"/>
                  </a:lnTo>
                  <a:lnTo>
                    <a:pt x="61" y="434"/>
                  </a:lnTo>
                  <a:lnTo>
                    <a:pt x="61" y="433"/>
                  </a:lnTo>
                  <a:lnTo>
                    <a:pt x="63" y="432"/>
                  </a:lnTo>
                  <a:lnTo>
                    <a:pt x="65" y="433"/>
                  </a:lnTo>
                  <a:lnTo>
                    <a:pt x="66" y="434"/>
                  </a:lnTo>
                  <a:lnTo>
                    <a:pt x="67" y="433"/>
                  </a:lnTo>
                  <a:lnTo>
                    <a:pt x="68" y="433"/>
                  </a:lnTo>
                  <a:lnTo>
                    <a:pt x="69" y="432"/>
                  </a:lnTo>
                  <a:lnTo>
                    <a:pt x="69" y="431"/>
                  </a:lnTo>
                  <a:lnTo>
                    <a:pt x="68" y="431"/>
                  </a:lnTo>
                  <a:lnTo>
                    <a:pt x="67" y="429"/>
                  </a:lnTo>
                  <a:lnTo>
                    <a:pt x="68" y="428"/>
                  </a:lnTo>
                  <a:lnTo>
                    <a:pt x="67" y="426"/>
                  </a:lnTo>
                  <a:lnTo>
                    <a:pt x="68" y="425"/>
                  </a:lnTo>
                  <a:lnTo>
                    <a:pt x="69" y="425"/>
                  </a:lnTo>
                  <a:lnTo>
                    <a:pt x="71" y="426"/>
                  </a:lnTo>
                  <a:lnTo>
                    <a:pt x="72" y="427"/>
                  </a:lnTo>
                  <a:lnTo>
                    <a:pt x="72" y="426"/>
                  </a:lnTo>
                  <a:lnTo>
                    <a:pt x="73" y="426"/>
                  </a:lnTo>
                  <a:lnTo>
                    <a:pt x="74" y="426"/>
                  </a:lnTo>
                  <a:lnTo>
                    <a:pt x="74" y="427"/>
                  </a:lnTo>
                  <a:lnTo>
                    <a:pt x="75" y="428"/>
                  </a:lnTo>
                  <a:lnTo>
                    <a:pt x="79" y="428"/>
                  </a:lnTo>
                  <a:lnTo>
                    <a:pt x="79" y="429"/>
                  </a:lnTo>
                  <a:lnTo>
                    <a:pt x="80" y="429"/>
                  </a:lnTo>
                  <a:lnTo>
                    <a:pt x="83" y="429"/>
                  </a:lnTo>
                  <a:lnTo>
                    <a:pt x="83" y="428"/>
                  </a:lnTo>
                  <a:lnTo>
                    <a:pt x="80" y="427"/>
                  </a:lnTo>
                  <a:lnTo>
                    <a:pt x="79" y="427"/>
                  </a:lnTo>
                  <a:lnTo>
                    <a:pt x="79" y="425"/>
                  </a:lnTo>
                  <a:lnTo>
                    <a:pt x="78" y="421"/>
                  </a:lnTo>
                  <a:lnTo>
                    <a:pt x="78" y="420"/>
                  </a:lnTo>
                  <a:lnTo>
                    <a:pt x="79" y="419"/>
                  </a:lnTo>
                  <a:lnTo>
                    <a:pt x="80" y="420"/>
                  </a:lnTo>
                  <a:lnTo>
                    <a:pt x="82" y="422"/>
                  </a:lnTo>
                  <a:lnTo>
                    <a:pt x="83" y="422"/>
                  </a:lnTo>
                  <a:lnTo>
                    <a:pt x="84" y="422"/>
                  </a:lnTo>
                  <a:lnTo>
                    <a:pt x="86" y="423"/>
                  </a:lnTo>
                  <a:lnTo>
                    <a:pt x="89" y="423"/>
                  </a:lnTo>
                  <a:lnTo>
                    <a:pt x="90" y="422"/>
                  </a:lnTo>
                  <a:lnTo>
                    <a:pt x="92" y="421"/>
                  </a:lnTo>
                  <a:lnTo>
                    <a:pt x="92" y="423"/>
                  </a:lnTo>
                  <a:lnTo>
                    <a:pt x="95" y="423"/>
                  </a:lnTo>
                  <a:lnTo>
                    <a:pt x="95" y="425"/>
                  </a:lnTo>
                  <a:lnTo>
                    <a:pt x="98" y="425"/>
                  </a:lnTo>
                  <a:lnTo>
                    <a:pt x="100" y="423"/>
                  </a:lnTo>
                  <a:lnTo>
                    <a:pt x="101" y="423"/>
                  </a:lnTo>
                  <a:lnTo>
                    <a:pt x="102" y="423"/>
                  </a:lnTo>
                  <a:lnTo>
                    <a:pt x="102" y="421"/>
                  </a:lnTo>
                  <a:lnTo>
                    <a:pt x="102" y="420"/>
                  </a:lnTo>
                  <a:lnTo>
                    <a:pt x="102" y="417"/>
                  </a:lnTo>
                  <a:lnTo>
                    <a:pt x="102" y="416"/>
                  </a:lnTo>
                  <a:lnTo>
                    <a:pt x="102" y="415"/>
                  </a:lnTo>
                  <a:lnTo>
                    <a:pt x="103" y="415"/>
                  </a:lnTo>
                  <a:lnTo>
                    <a:pt x="106" y="414"/>
                  </a:lnTo>
                  <a:lnTo>
                    <a:pt x="106" y="415"/>
                  </a:lnTo>
                  <a:lnTo>
                    <a:pt x="107" y="419"/>
                  </a:lnTo>
                  <a:lnTo>
                    <a:pt x="108" y="419"/>
                  </a:lnTo>
                  <a:lnTo>
                    <a:pt x="109" y="420"/>
                  </a:lnTo>
                  <a:lnTo>
                    <a:pt x="112" y="422"/>
                  </a:lnTo>
                  <a:lnTo>
                    <a:pt x="115" y="422"/>
                  </a:lnTo>
                  <a:lnTo>
                    <a:pt x="115" y="421"/>
                  </a:lnTo>
                  <a:lnTo>
                    <a:pt x="114" y="421"/>
                  </a:lnTo>
                  <a:lnTo>
                    <a:pt x="113" y="420"/>
                  </a:lnTo>
                  <a:lnTo>
                    <a:pt x="113" y="417"/>
                  </a:lnTo>
                  <a:lnTo>
                    <a:pt x="112" y="416"/>
                  </a:lnTo>
                  <a:lnTo>
                    <a:pt x="110" y="413"/>
                  </a:lnTo>
                  <a:lnTo>
                    <a:pt x="110" y="410"/>
                  </a:lnTo>
                  <a:lnTo>
                    <a:pt x="109" y="409"/>
                  </a:lnTo>
                  <a:lnTo>
                    <a:pt x="109" y="408"/>
                  </a:lnTo>
                  <a:lnTo>
                    <a:pt x="110" y="407"/>
                  </a:lnTo>
                  <a:lnTo>
                    <a:pt x="113" y="405"/>
                  </a:lnTo>
                  <a:lnTo>
                    <a:pt x="113" y="407"/>
                  </a:lnTo>
                  <a:lnTo>
                    <a:pt x="114" y="407"/>
                  </a:lnTo>
                  <a:lnTo>
                    <a:pt x="116" y="408"/>
                  </a:lnTo>
                  <a:lnTo>
                    <a:pt x="116" y="409"/>
                  </a:lnTo>
                  <a:lnTo>
                    <a:pt x="119" y="411"/>
                  </a:lnTo>
                  <a:lnTo>
                    <a:pt x="120" y="410"/>
                  </a:lnTo>
                  <a:lnTo>
                    <a:pt x="121" y="409"/>
                  </a:lnTo>
                  <a:lnTo>
                    <a:pt x="122" y="409"/>
                  </a:lnTo>
                  <a:lnTo>
                    <a:pt x="122" y="410"/>
                  </a:lnTo>
                  <a:lnTo>
                    <a:pt x="124" y="411"/>
                  </a:lnTo>
                  <a:lnTo>
                    <a:pt x="125" y="410"/>
                  </a:lnTo>
                  <a:lnTo>
                    <a:pt x="127" y="410"/>
                  </a:lnTo>
                  <a:lnTo>
                    <a:pt x="128" y="411"/>
                  </a:lnTo>
                  <a:lnTo>
                    <a:pt x="132" y="411"/>
                  </a:lnTo>
                  <a:lnTo>
                    <a:pt x="134" y="411"/>
                  </a:lnTo>
                  <a:lnTo>
                    <a:pt x="133" y="409"/>
                  </a:lnTo>
                  <a:lnTo>
                    <a:pt x="132" y="408"/>
                  </a:lnTo>
                  <a:lnTo>
                    <a:pt x="132" y="405"/>
                  </a:lnTo>
                  <a:lnTo>
                    <a:pt x="131" y="404"/>
                  </a:lnTo>
                  <a:lnTo>
                    <a:pt x="130" y="403"/>
                  </a:lnTo>
                  <a:lnTo>
                    <a:pt x="127" y="403"/>
                  </a:lnTo>
                  <a:lnTo>
                    <a:pt x="126" y="403"/>
                  </a:lnTo>
                  <a:lnTo>
                    <a:pt x="126" y="402"/>
                  </a:lnTo>
                  <a:lnTo>
                    <a:pt x="127" y="401"/>
                  </a:lnTo>
                  <a:lnTo>
                    <a:pt x="127" y="399"/>
                  </a:lnTo>
                  <a:lnTo>
                    <a:pt x="128" y="397"/>
                  </a:lnTo>
                  <a:lnTo>
                    <a:pt x="127" y="398"/>
                  </a:lnTo>
                  <a:lnTo>
                    <a:pt x="126" y="398"/>
                  </a:lnTo>
                  <a:lnTo>
                    <a:pt x="125" y="399"/>
                  </a:lnTo>
                  <a:lnTo>
                    <a:pt x="122" y="397"/>
                  </a:lnTo>
                  <a:lnTo>
                    <a:pt x="120" y="396"/>
                  </a:lnTo>
                  <a:lnTo>
                    <a:pt x="119" y="395"/>
                  </a:lnTo>
                  <a:lnTo>
                    <a:pt x="116" y="395"/>
                  </a:lnTo>
                  <a:lnTo>
                    <a:pt x="115" y="395"/>
                  </a:lnTo>
                  <a:lnTo>
                    <a:pt x="115" y="393"/>
                  </a:lnTo>
                  <a:lnTo>
                    <a:pt x="114" y="393"/>
                  </a:lnTo>
                  <a:lnTo>
                    <a:pt x="113" y="392"/>
                  </a:lnTo>
                  <a:lnTo>
                    <a:pt x="110" y="391"/>
                  </a:lnTo>
                  <a:lnTo>
                    <a:pt x="110" y="390"/>
                  </a:lnTo>
                  <a:lnTo>
                    <a:pt x="109" y="389"/>
                  </a:lnTo>
                  <a:lnTo>
                    <a:pt x="108" y="387"/>
                  </a:lnTo>
                  <a:lnTo>
                    <a:pt x="109" y="385"/>
                  </a:lnTo>
                  <a:lnTo>
                    <a:pt x="109" y="382"/>
                  </a:lnTo>
                  <a:lnTo>
                    <a:pt x="107" y="379"/>
                  </a:lnTo>
                  <a:lnTo>
                    <a:pt x="106" y="378"/>
                  </a:lnTo>
                  <a:lnTo>
                    <a:pt x="106" y="375"/>
                  </a:lnTo>
                  <a:lnTo>
                    <a:pt x="107" y="375"/>
                  </a:lnTo>
                  <a:lnTo>
                    <a:pt x="107" y="374"/>
                  </a:lnTo>
                  <a:lnTo>
                    <a:pt x="109" y="374"/>
                  </a:lnTo>
                  <a:lnTo>
                    <a:pt x="109" y="375"/>
                  </a:lnTo>
                  <a:lnTo>
                    <a:pt x="110" y="375"/>
                  </a:lnTo>
                  <a:lnTo>
                    <a:pt x="110" y="378"/>
                  </a:lnTo>
                  <a:lnTo>
                    <a:pt x="112" y="376"/>
                  </a:lnTo>
                  <a:lnTo>
                    <a:pt x="113" y="376"/>
                  </a:lnTo>
                  <a:lnTo>
                    <a:pt x="114" y="376"/>
                  </a:lnTo>
                  <a:lnTo>
                    <a:pt x="114" y="375"/>
                  </a:lnTo>
                  <a:lnTo>
                    <a:pt x="113" y="374"/>
                  </a:lnTo>
                  <a:lnTo>
                    <a:pt x="114" y="370"/>
                  </a:lnTo>
                  <a:lnTo>
                    <a:pt x="115" y="370"/>
                  </a:lnTo>
                  <a:lnTo>
                    <a:pt x="116" y="370"/>
                  </a:lnTo>
                  <a:lnTo>
                    <a:pt x="116" y="372"/>
                  </a:lnTo>
                  <a:lnTo>
                    <a:pt x="118" y="373"/>
                  </a:lnTo>
                  <a:lnTo>
                    <a:pt x="120" y="374"/>
                  </a:lnTo>
                  <a:lnTo>
                    <a:pt x="120" y="375"/>
                  </a:lnTo>
                  <a:lnTo>
                    <a:pt x="121" y="376"/>
                  </a:lnTo>
                  <a:lnTo>
                    <a:pt x="122" y="379"/>
                  </a:lnTo>
                  <a:lnTo>
                    <a:pt x="124" y="379"/>
                  </a:lnTo>
                  <a:lnTo>
                    <a:pt x="125" y="379"/>
                  </a:lnTo>
                  <a:lnTo>
                    <a:pt x="126" y="378"/>
                  </a:lnTo>
                  <a:lnTo>
                    <a:pt x="125" y="376"/>
                  </a:lnTo>
                  <a:lnTo>
                    <a:pt x="124" y="375"/>
                  </a:lnTo>
                  <a:lnTo>
                    <a:pt x="124" y="373"/>
                  </a:lnTo>
                  <a:lnTo>
                    <a:pt x="124" y="372"/>
                  </a:lnTo>
                  <a:lnTo>
                    <a:pt x="124" y="370"/>
                  </a:lnTo>
                  <a:lnTo>
                    <a:pt x="126" y="369"/>
                  </a:lnTo>
                  <a:lnTo>
                    <a:pt x="127" y="369"/>
                  </a:lnTo>
                  <a:lnTo>
                    <a:pt x="127" y="372"/>
                  </a:lnTo>
                  <a:lnTo>
                    <a:pt x="127" y="369"/>
                  </a:lnTo>
                  <a:lnTo>
                    <a:pt x="128" y="369"/>
                  </a:lnTo>
                  <a:lnTo>
                    <a:pt x="128" y="370"/>
                  </a:lnTo>
                  <a:lnTo>
                    <a:pt x="131" y="370"/>
                  </a:lnTo>
                  <a:lnTo>
                    <a:pt x="133" y="370"/>
                  </a:lnTo>
                  <a:lnTo>
                    <a:pt x="133" y="372"/>
                  </a:lnTo>
                  <a:lnTo>
                    <a:pt x="134" y="373"/>
                  </a:lnTo>
                  <a:lnTo>
                    <a:pt x="134" y="374"/>
                  </a:lnTo>
                  <a:lnTo>
                    <a:pt x="136" y="375"/>
                  </a:lnTo>
                  <a:lnTo>
                    <a:pt x="138" y="374"/>
                  </a:lnTo>
                  <a:lnTo>
                    <a:pt x="138" y="373"/>
                  </a:lnTo>
                  <a:lnTo>
                    <a:pt x="138" y="370"/>
                  </a:lnTo>
                  <a:lnTo>
                    <a:pt x="139" y="368"/>
                  </a:lnTo>
                  <a:lnTo>
                    <a:pt x="139" y="367"/>
                  </a:lnTo>
                  <a:lnTo>
                    <a:pt x="141" y="366"/>
                  </a:lnTo>
                  <a:lnTo>
                    <a:pt x="144" y="366"/>
                  </a:lnTo>
                  <a:lnTo>
                    <a:pt x="143" y="369"/>
                  </a:lnTo>
                  <a:lnTo>
                    <a:pt x="144" y="370"/>
                  </a:lnTo>
                  <a:lnTo>
                    <a:pt x="147" y="370"/>
                  </a:lnTo>
                  <a:lnTo>
                    <a:pt x="147" y="368"/>
                  </a:lnTo>
                  <a:lnTo>
                    <a:pt x="145" y="366"/>
                  </a:lnTo>
                  <a:lnTo>
                    <a:pt x="144" y="361"/>
                  </a:lnTo>
                  <a:lnTo>
                    <a:pt x="144" y="358"/>
                  </a:lnTo>
                  <a:lnTo>
                    <a:pt x="144" y="357"/>
                  </a:lnTo>
                  <a:lnTo>
                    <a:pt x="145" y="357"/>
                  </a:lnTo>
                  <a:lnTo>
                    <a:pt x="147" y="356"/>
                  </a:lnTo>
                  <a:lnTo>
                    <a:pt x="148" y="357"/>
                  </a:lnTo>
                  <a:lnTo>
                    <a:pt x="150" y="358"/>
                  </a:lnTo>
                  <a:lnTo>
                    <a:pt x="150" y="360"/>
                  </a:lnTo>
                  <a:lnTo>
                    <a:pt x="151" y="358"/>
                  </a:lnTo>
                  <a:lnTo>
                    <a:pt x="151" y="361"/>
                  </a:lnTo>
                  <a:lnTo>
                    <a:pt x="151" y="362"/>
                  </a:lnTo>
                  <a:lnTo>
                    <a:pt x="151" y="363"/>
                  </a:lnTo>
                  <a:lnTo>
                    <a:pt x="153" y="363"/>
                  </a:lnTo>
                  <a:lnTo>
                    <a:pt x="154" y="363"/>
                  </a:lnTo>
                  <a:lnTo>
                    <a:pt x="154" y="362"/>
                  </a:lnTo>
                  <a:lnTo>
                    <a:pt x="155" y="364"/>
                  </a:lnTo>
                  <a:lnTo>
                    <a:pt x="154" y="367"/>
                  </a:lnTo>
                  <a:lnTo>
                    <a:pt x="155" y="367"/>
                  </a:lnTo>
                  <a:lnTo>
                    <a:pt x="156" y="367"/>
                  </a:lnTo>
                  <a:lnTo>
                    <a:pt x="156" y="366"/>
                  </a:lnTo>
                  <a:lnTo>
                    <a:pt x="157" y="366"/>
                  </a:lnTo>
                  <a:lnTo>
                    <a:pt x="159" y="366"/>
                  </a:lnTo>
                  <a:lnTo>
                    <a:pt x="159" y="367"/>
                  </a:lnTo>
                  <a:lnTo>
                    <a:pt x="160" y="368"/>
                  </a:lnTo>
                  <a:lnTo>
                    <a:pt x="163" y="369"/>
                  </a:lnTo>
                  <a:lnTo>
                    <a:pt x="167" y="369"/>
                  </a:lnTo>
                  <a:lnTo>
                    <a:pt x="167" y="372"/>
                  </a:lnTo>
                  <a:lnTo>
                    <a:pt x="168" y="373"/>
                  </a:lnTo>
                  <a:lnTo>
                    <a:pt x="171" y="373"/>
                  </a:lnTo>
                  <a:lnTo>
                    <a:pt x="172" y="372"/>
                  </a:lnTo>
                  <a:lnTo>
                    <a:pt x="169" y="369"/>
                  </a:lnTo>
                  <a:lnTo>
                    <a:pt x="169" y="367"/>
                  </a:lnTo>
                  <a:lnTo>
                    <a:pt x="167" y="366"/>
                  </a:lnTo>
                  <a:lnTo>
                    <a:pt x="167" y="362"/>
                  </a:lnTo>
                  <a:lnTo>
                    <a:pt x="168" y="361"/>
                  </a:lnTo>
                  <a:lnTo>
                    <a:pt x="169" y="360"/>
                  </a:lnTo>
                  <a:lnTo>
                    <a:pt x="171" y="360"/>
                  </a:lnTo>
                  <a:lnTo>
                    <a:pt x="173" y="361"/>
                  </a:lnTo>
                  <a:lnTo>
                    <a:pt x="172" y="361"/>
                  </a:lnTo>
                  <a:lnTo>
                    <a:pt x="172" y="360"/>
                  </a:lnTo>
                  <a:lnTo>
                    <a:pt x="173" y="360"/>
                  </a:lnTo>
                  <a:lnTo>
                    <a:pt x="174" y="358"/>
                  </a:lnTo>
                  <a:lnTo>
                    <a:pt x="174" y="360"/>
                  </a:lnTo>
                  <a:lnTo>
                    <a:pt x="175" y="360"/>
                  </a:lnTo>
                  <a:lnTo>
                    <a:pt x="175" y="358"/>
                  </a:lnTo>
                  <a:lnTo>
                    <a:pt x="178" y="358"/>
                  </a:lnTo>
                  <a:lnTo>
                    <a:pt x="178" y="357"/>
                  </a:lnTo>
                  <a:lnTo>
                    <a:pt x="179" y="356"/>
                  </a:lnTo>
                  <a:lnTo>
                    <a:pt x="184" y="355"/>
                  </a:lnTo>
                  <a:lnTo>
                    <a:pt x="186" y="355"/>
                  </a:lnTo>
                  <a:lnTo>
                    <a:pt x="186" y="356"/>
                  </a:lnTo>
                  <a:lnTo>
                    <a:pt x="187" y="357"/>
                  </a:lnTo>
                  <a:lnTo>
                    <a:pt x="190" y="358"/>
                  </a:lnTo>
                  <a:lnTo>
                    <a:pt x="191" y="360"/>
                  </a:lnTo>
                  <a:lnTo>
                    <a:pt x="192" y="360"/>
                  </a:lnTo>
                  <a:lnTo>
                    <a:pt x="193" y="360"/>
                  </a:lnTo>
                  <a:lnTo>
                    <a:pt x="195" y="357"/>
                  </a:lnTo>
                  <a:lnTo>
                    <a:pt x="196" y="357"/>
                  </a:lnTo>
                  <a:lnTo>
                    <a:pt x="196" y="356"/>
                  </a:lnTo>
                  <a:lnTo>
                    <a:pt x="201" y="356"/>
                  </a:lnTo>
                  <a:lnTo>
                    <a:pt x="201" y="355"/>
                  </a:lnTo>
                  <a:lnTo>
                    <a:pt x="201" y="354"/>
                  </a:lnTo>
                  <a:lnTo>
                    <a:pt x="202" y="354"/>
                  </a:lnTo>
                  <a:lnTo>
                    <a:pt x="203" y="352"/>
                  </a:lnTo>
                  <a:lnTo>
                    <a:pt x="204" y="352"/>
                  </a:lnTo>
                  <a:lnTo>
                    <a:pt x="204" y="354"/>
                  </a:lnTo>
                  <a:lnTo>
                    <a:pt x="204" y="355"/>
                  </a:lnTo>
                  <a:lnTo>
                    <a:pt x="203" y="354"/>
                  </a:lnTo>
                  <a:lnTo>
                    <a:pt x="203" y="355"/>
                  </a:lnTo>
                  <a:lnTo>
                    <a:pt x="204" y="356"/>
                  </a:lnTo>
                  <a:lnTo>
                    <a:pt x="204" y="355"/>
                  </a:lnTo>
                  <a:lnTo>
                    <a:pt x="206" y="354"/>
                  </a:lnTo>
                  <a:lnTo>
                    <a:pt x="208" y="354"/>
                  </a:lnTo>
                  <a:lnTo>
                    <a:pt x="208" y="351"/>
                  </a:lnTo>
                  <a:lnTo>
                    <a:pt x="209" y="350"/>
                  </a:lnTo>
                  <a:lnTo>
                    <a:pt x="208" y="350"/>
                  </a:lnTo>
                  <a:lnTo>
                    <a:pt x="208" y="351"/>
                  </a:lnTo>
                  <a:lnTo>
                    <a:pt x="206" y="351"/>
                  </a:lnTo>
                  <a:lnTo>
                    <a:pt x="207" y="349"/>
                  </a:lnTo>
                  <a:lnTo>
                    <a:pt x="206" y="346"/>
                  </a:lnTo>
                  <a:lnTo>
                    <a:pt x="204" y="345"/>
                  </a:lnTo>
                  <a:lnTo>
                    <a:pt x="206" y="345"/>
                  </a:lnTo>
                  <a:lnTo>
                    <a:pt x="206" y="342"/>
                  </a:lnTo>
                  <a:lnTo>
                    <a:pt x="207" y="339"/>
                  </a:lnTo>
                  <a:lnTo>
                    <a:pt x="208" y="339"/>
                  </a:lnTo>
                  <a:lnTo>
                    <a:pt x="208" y="340"/>
                  </a:lnTo>
                  <a:lnTo>
                    <a:pt x="212" y="339"/>
                  </a:lnTo>
                  <a:lnTo>
                    <a:pt x="213" y="342"/>
                  </a:lnTo>
                  <a:lnTo>
                    <a:pt x="214" y="340"/>
                  </a:lnTo>
                  <a:lnTo>
                    <a:pt x="215" y="342"/>
                  </a:lnTo>
                  <a:lnTo>
                    <a:pt x="216" y="340"/>
                  </a:lnTo>
                  <a:lnTo>
                    <a:pt x="219" y="339"/>
                  </a:lnTo>
                  <a:lnTo>
                    <a:pt x="220" y="337"/>
                  </a:lnTo>
                  <a:lnTo>
                    <a:pt x="222" y="337"/>
                  </a:lnTo>
                  <a:lnTo>
                    <a:pt x="222" y="334"/>
                  </a:lnTo>
                  <a:lnTo>
                    <a:pt x="222" y="333"/>
                  </a:lnTo>
                  <a:lnTo>
                    <a:pt x="224" y="333"/>
                  </a:lnTo>
                  <a:lnTo>
                    <a:pt x="226" y="333"/>
                  </a:lnTo>
                  <a:lnTo>
                    <a:pt x="227" y="332"/>
                  </a:lnTo>
                  <a:lnTo>
                    <a:pt x="226" y="331"/>
                  </a:lnTo>
                  <a:lnTo>
                    <a:pt x="226" y="330"/>
                  </a:lnTo>
                  <a:lnTo>
                    <a:pt x="227" y="330"/>
                  </a:lnTo>
                  <a:lnTo>
                    <a:pt x="227" y="328"/>
                  </a:lnTo>
                  <a:lnTo>
                    <a:pt x="227" y="330"/>
                  </a:lnTo>
                  <a:lnTo>
                    <a:pt x="228" y="330"/>
                  </a:lnTo>
                  <a:lnTo>
                    <a:pt x="230" y="331"/>
                  </a:lnTo>
                  <a:lnTo>
                    <a:pt x="231" y="331"/>
                  </a:lnTo>
                  <a:lnTo>
                    <a:pt x="232" y="333"/>
                  </a:lnTo>
                  <a:lnTo>
                    <a:pt x="233" y="332"/>
                  </a:lnTo>
                  <a:lnTo>
                    <a:pt x="234" y="331"/>
                  </a:lnTo>
                  <a:lnTo>
                    <a:pt x="236" y="331"/>
                  </a:lnTo>
                  <a:lnTo>
                    <a:pt x="237" y="331"/>
                  </a:lnTo>
                  <a:lnTo>
                    <a:pt x="238" y="331"/>
                  </a:lnTo>
                  <a:lnTo>
                    <a:pt x="239" y="331"/>
                  </a:lnTo>
                  <a:lnTo>
                    <a:pt x="240" y="331"/>
                  </a:lnTo>
                  <a:lnTo>
                    <a:pt x="240" y="332"/>
                  </a:lnTo>
                  <a:lnTo>
                    <a:pt x="242" y="332"/>
                  </a:lnTo>
                  <a:lnTo>
                    <a:pt x="244" y="331"/>
                  </a:lnTo>
                  <a:lnTo>
                    <a:pt x="245" y="331"/>
                  </a:lnTo>
                  <a:lnTo>
                    <a:pt x="245" y="330"/>
                  </a:lnTo>
                  <a:lnTo>
                    <a:pt x="246" y="330"/>
                  </a:lnTo>
                  <a:lnTo>
                    <a:pt x="246" y="328"/>
                  </a:lnTo>
                  <a:lnTo>
                    <a:pt x="249" y="328"/>
                  </a:lnTo>
                  <a:lnTo>
                    <a:pt x="249" y="330"/>
                  </a:lnTo>
                  <a:lnTo>
                    <a:pt x="250" y="330"/>
                  </a:lnTo>
                  <a:lnTo>
                    <a:pt x="250" y="331"/>
                  </a:lnTo>
                  <a:lnTo>
                    <a:pt x="250" y="330"/>
                  </a:lnTo>
                  <a:lnTo>
                    <a:pt x="251" y="328"/>
                  </a:lnTo>
                  <a:lnTo>
                    <a:pt x="250" y="327"/>
                  </a:lnTo>
                  <a:lnTo>
                    <a:pt x="251" y="327"/>
                  </a:lnTo>
                  <a:lnTo>
                    <a:pt x="251" y="326"/>
                  </a:lnTo>
                  <a:lnTo>
                    <a:pt x="252" y="326"/>
                  </a:lnTo>
                  <a:lnTo>
                    <a:pt x="255" y="325"/>
                  </a:lnTo>
                  <a:lnTo>
                    <a:pt x="256" y="325"/>
                  </a:lnTo>
                  <a:lnTo>
                    <a:pt x="256" y="326"/>
                  </a:lnTo>
                  <a:lnTo>
                    <a:pt x="257" y="326"/>
                  </a:lnTo>
                  <a:lnTo>
                    <a:pt x="259" y="325"/>
                  </a:lnTo>
                  <a:lnTo>
                    <a:pt x="257" y="324"/>
                  </a:lnTo>
                  <a:lnTo>
                    <a:pt x="256" y="324"/>
                  </a:lnTo>
                  <a:lnTo>
                    <a:pt x="256" y="322"/>
                  </a:lnTo>
                  <a:lnTo>
                    <a:pt x="257" y="322"/>
                  </a:lnTo>
                  <a:lnTo>
                    <a:pt x="256" y="321"/>
                  </a:lnTo>
                  <a:lnTo>
                    <a:pt x="259" y="320"/>
                  </a:lnTo>
                  <a:lnTo>
                    <a:pt x="259" y="321"/>
                  </a:lnTo>
                  <a:lnTo>
                    <a:pt x="260" y="322"/>
                  </a:lnTo>
                  <a:lnTo>
                    <a:pt x="260" y="321"/>
                  </a:lnTo>
                  <a:lnTo>
                    <a:pt x="261" y="321"/>
                  </a:lnTo>
                  <a:lnTo>
                    <a:pt x="260" y="320"/>
                  </a:lnTo>
                  <a:lnTo>
                    <a:pt x="261" y="319"/>
                  </a:lnTo>
                  <a:lnTo>
                    <a:pt x="262" y="319"/>
                  </a:lnTo>
                  <a:lnTo>
                    <a:pt x="261" y="319"/>
                  </a:lnTo>
                  <a:lnTo>
                    <a:pt x="261" y="318"/>
                  </a:lnTo>
                  <a:lnTo>
                    <a:pt x="261" y="316"/>
                  </a:lnTo>
                  <a:lnTo>
                    <a:pt x="261" y="315"/>
                  </a:lnTo>
                  <a:lnTo>
                    <a:pt x="260" y="314"/>
                  </a:lnTo>
                  <a:lnTo>
                    <a:pt x="261" y="314"/>
                  </a:lnTo>
                  <a:lnTo>
                    <a:pt x="261" y="313"/>
                  </a:lnTo>
                  <a:lnTo>
                    <a:pt x="262" y="313"/>
                  </a:lnTo>
                  <a:lnTo>
                    <a:pt x="263" y="313"/>
                  </a:lnTo>
                  <a:lnTo>
                    <a:pt x="262" y="313"/>
                  </a:lnTo>
                  <a:lnTo>
                    <a:pt x="262" y="312"/>
                  </a:lnTo>
                  <a:lnTo>
                    <a:pt x="262" y="310"/>
                  </a:lnTo>
                  <a:lnTo>
                    <a:pt x="265" y="309"/>
                  </a:lnTo>
                  <a:lnTo>
                    <a:pt x="266" y="310"/>
                  </a:lnTo>
                  <a:lnTo>
                    <a:pt x="266" y="309"/>
                  </a:lnTo>
                  <a:lnTo>
                    <a:pt x="267" y="308"/>
                  </a:lnTo>
                  <a:lnTo>
                    <a:pt x="267" y="307"/>
                  </a:lnTo>
                  <a:lnTo>
                    <a:pt x="267" y="306"/>
                  </a:lnTo>
                  <a:lnTo>
                    <a:pt x="268" y="306"/>
                  </a:lnTo>
                  <a:lnTo>
                    <a:pt x="268" y="303"/>
                  </a:lnTo>
                  <a:lnTo>
                    <a:pt x="269" y="303"/>
                  </a:lnTo>
                  <a:lnTo>
                    <a:pt x="271" y="302"/>
                  </a:lnTo>
                  <a:lnTo>
                    <a:pt x="272" y="301"/>
                  </a:lnTo>
                  <a:lnTo>
                    <a:pt x="272" y="300"/>
                  </a:lnTo>
                  <a:lnTo>
                    <a:pt x="271" y="300"/>
                  </a:lnTo>
                  <a:lnTo>
                    <a:pt x="271" y="297"/>
                  </a:lnTo>
                  <a:lnTo>
                    <a:pt x="271" y="295"/>
                  </a:lnTo>
                  <a:lnTo>
                    <a:pt x="272" y="295"/>
                  </a:lnTo>
                  <a:lnTo>
                    <a:pt x="271" y="295"/>
                  </a:lnTo>
                  <a:lnTo>
                    <a:pt x="269" y="295"/>
                  </a:lnTo>
                  <a:lnTo>
                    <a:pt x="268" y="295"/>
                  </a:lnTo>
                  <a:lnTo>
                    <a:pt x="268" y="296"/>
                  </a:lnTo>
                  <a:lnTo>
                    <a:pt x="267" y="295"/>
                  </a:lnTo>
                  <a:lnTo>
                    <a:pt x="265" y="295"/>
                  </a:lnTo>
                  <a:lnTo>
                    <a:pt x="265" y="294"/>
                  </a:lnTo>
                  <a:lnTo>
                    <a:pt x="263" y="294"/>
                  </a:lnTo>
                  <a:lnTo>
                    <a:pt x="263" y="295"/>
                  </a:lnTo>
                  <a:lnTo>
                    <a:pt x="262" y="295"/>
                  </a:lnTo>
                  <a:lnTo>
                    <a:pt x="261" y="295"/>
                  </a:lnTo>
                  <a:lnTo>
                    <a:pt x="261" y="294"/>
                  </a:lnTo>
                  <a:lnTo>
                    <a:pt x="260" y="294"/>
                  </a:lnTo>
                  <a:lnTo>
                    <a:pt x="259" y="294"/>
                  </a:lnTo>
                  <a:lnTo>
                    <a:pt x="257" y="294"/>
                  </a:lnTo>
                  <a:lnTo>
                    <a:pt x="256" y="294"/>
                  </a:lnTo>
                  <a:lnTo>
                    <a:pt x="255" y="295"/>
                  </a:lnTo>
                  <a:lnTo>
                    <a:pt x="254" y="295"/>
                  </a:lnTo>
                  <a:lnTo>
                    <a:pt x="254" y="296"/>
                  </a:lnTo>
                  <a:lnTo>
                    <a:pt x="252" y="296"/>
                  </a:lnTo>
                  <a:lnTo>
                    <a:pt x="251" y="297"/>
                  </a:lnTo>
                  <a:lnTo>
                    <a:pt x="251" y="298"/>
                  </a:lnTo>
                  <a:lnTo>
                    <a:pt x="250" y="298"/>
                  </a:lnTo>
                  <a:lnTo>
                    <a:pt x="250" y="300"/>
                  </a:lnTo>
                  <a:lnTo>
                    <a:pt x="250" y="301"/>
                  </a:lnTo>
                  <a:lnTo>
                    <a:pt x="249" y="301"/>
                  </a:lnTo>
                  <a:lnTo>
                    <a:pt x="250" y="302"/>
                  </a:lnTo>
                  <a:lnTo>
                    <a:pt x="250" y="303"/>
                  </a:lnTo>
                  <a:lnTo>
                    <a:pt x="251" y="303"/>
                  </a:lnTo>
                  <a:lnTo>
                    <a:pt x="251" y="304"/>
                  </a:lnTo>
                  <a:lnTo>
                    <a:pt x="252" y="306"/>
                  </a:lnTo>
                  <a:lnTo>
                    <a:pt x="251" y="307"/>
                  </a:lnTo>
                  <a:lnTo>
                    <a:pt x="250" y="308"/>
                  </a:lnTo>
                  <a:lnTo>
                    <a:pt x="250" y="309"/>
                  </a:lnTo>
                  <a:lnTo>
                    <a:pt x="249" y="309"/>
                  </a:lnTo>
                  <a:lnTo>
                    <a:pt x="249" y="310"/>
                  </a:lnTo>
                  <a:lnTo>
                    <a:pt x="248" y="312"/>
                  </a:lnTo>
                  <a:lnTo>
                    <a:pt x="246" y="312"/>
                  </a:lnTo>
                  <a:lnTo>
                    <a:pt x="246" y="313"/>
                  </a:lnTo>
                  <a:lnTo>
                    <a:pt x="245" y="313"/>
                  </a:lnTo>
                  <a:lnTo>
                    <a:pt x="244" y="314"/>
                  </a:lnTo>
                  <a:lnTo>
                    <a:pt x="243" y="315"/>
                  </a:lnTo>
                  <a:lnTo>
                    <a:pt x="243" y="316"/>
                  </a:lnTo>
                  <a:lnTo>
                    <a:pt x="244" y="316"/>
                  </a:lnTo>
                  <a:lnTo>
                    <a:pt x="245" y="316"/>
                  </a:lnTo>
                  <a:lnTo>
                    <a:pt x="245" y="315"/>
                  </a:lnTo>
                  <a:lnTo>
                    <a:pt x="246" y="315"/>
                  </a:lnTo>
                  <a:lnTo>
                    <a:pt x="248" y="315"/>
                  </a:lnTo>
                  <a:lnTo>
                    <a:pt x="248" y="316"/>
                  </a:lnTo>
                  <a:lnTo>
                    <a:pt x="249" y="316"/>
                  </a:lnTo>
                  <a:lnTo>
                    <a:pt x="250" y="316"/>
                  </a:lnTo>
                  <a:lnTo>
                    <a:pt x="251" y="316"/>
                  </a:lnTo>
                  <a:lnTo>
                    <a:pt x="252" y="319"/>
                  </a:lnTo>
                  <a:lnTo>
                    <a:pt x="251" y="319"/>
                  </a:lnTo>
                  <a:lnTo>
                    <a:pt x="250" y="319"/>
                  </a:lnTo>
                  <a:lnTo>
                    <a:pt x="250" y="320"/>
                  </a:lnTo>
                  <a:lnTo>
                    <a:pt x="249" y="320"/>
                  </a:lnTo>
                  <a:lnTo>
                    <a:pt x="249" y="322"/>
                  </a:lnTo>
                  <a:lnTo>
                    <a:pt x="248" y="322"/>
                  </a:lnTo>
                  <a:lnTo>
                    <a:pt x="246" y="324"/>
                  </a:lnTo>
                  <a:lnTo>
                    <a:pt x="245" y="325"/>
                  </a:lnTo>
                  <a:lnTo>
                    <a:pt x="244" y="325"/>
                  </a:lnTo>
                  <a:lnTo>
                    <a:pt x="243" y="325"/>
                  </a:lnTo>
                  <a:lnTo>
                    <a:pt x="243" y="324"/>
                  </a:lnTo>
                  <a:lnTo>
                    <a:pt x="242" y="324"/>
                  </a:lnTo>
                  <a:lnTo>
                    <a:pt x="242" y="325"/>
                  </a:lnTo>
                  <a:lnTo>
                    <a:pt x="242" y="326"/>
                  </a:lnTo>
                  <a:lnTo>
                    <a:pt x="240" y="325"/>
                  </a:lnTo>
                  <a:lnTo>
                    <a:pt x="240" y="326"/>
                  </a:lnTo>
                  <a:lnTo>
                    <a:pt x="239" y="325"/>
                  </a:lnTo>
                  <a:lnTo>
                    <a:pt x="238" y="325"/>
                  </a:lnTo>
                  <a:lnTo>
                    <a:pt x="238" y="326"/>
                  </a:lnTo>
                  <a:lnTo>
                    <a:pt x="237" y="326"/>
                  </a:lnTo>
                  <a:lnTo>
                    <a:pt x="236" y="326"/>
                  </a:lnTo>
                  <a:lnTo>
                    <a:pt x="237" y="324"/>
                  </a:lnTo>
                  <a:lnTo>
                    <a:pt x="236" y="324"/>
                  </a:lnTo>
                  <a:lnTo>
                    <a:pt x="234" y="322"/>
                  </a:lnTo>
                  <a:lnTo>
                    <a:pt x="232" y="324"/>
                  </a:lnTo>
                  <a:lnTo>
                    <a:pt x="230" y="324"/>
                  </a:lnTo>
                  <a:lnTo>
                    <a:pt x="230" y="322"/>
                  </a:lnTo>
                  <a:lnTo>
                    <a:pt x="228" y="322"/>
                  </a:lnTo>
                  <a:lnTo>
                    <a:pt x="228" y="324"/>
                  </a:lnTo>
                  <a:lnTo>
                    <a:pt x="227" y="324"/>
                  </a:lnTo>
                  <a:lnTo>
                    <a:pt x="227" y="322"/>
                  </a:lnTo>
                  <a:lnTo>
                    <a:pt x="226" y="322"/>
                  </a:lnTo>
                  <a:lnTo>
                    <a:pt x="225" y="322"/>
                  </a:lnTo>
                  <a:lnTo>
                    <a:pt x="225" y="321"/>
                  </a:lnTo>
                  <a:lnTo>
                    <a:pt x="225" y="320"/>
                  </a:lnTo>
                  <a:lnTo>
                    <a:pt x="228" y="319"/>
                  </a:lnTo>
                  <a:lnTo>
                    <a:pt x="228" y="318"/>
                  </a:lnTo>
                  <a:lnTo>
                    <a:pt x="227" y="315"/>
                  </a:lnTo>
                  <a:lnTo>
                    <a:pt x="230" y="315"/>
                  </a:lnTo>
                  <a:lnTo>
                    <a:pt x="230" y="314"/>
                  </a:lnTo>
                  <a:lnTo>
                    <a:pt x="232" y="314"/>
                  </a:lnTo>
                  <a:lnTo>
                    <a:pt x="231" y="313"/>
                  </a:lnTo>
                  <a:lnTo>
                    <a:pt x="231" y="312"/>
                  </a:lnTo>
                  <a:lnTo>
                    <a:pt x="231" y="310"/>
                  </a:lnTo>
                  <a:lnTo>
                    <a:pt x="230" y="310"/>
                  </a:lnTo>
                  <a:lnTo>
                    <a:pt x="228" y="309"/>
                  </a:lnTo>
                  <a:lnTo>
                    <a:pt x="228" y="308"/>
                  </a:lnTo>
                  <a:lnTo>
                    <a:pt x="228" y="307"/>
                  </a:lnTo>
                  <a:lnTo>
                    <a:pt x="230" y="307"/>
                  </a:lnTo>
                  <a:lnTo>
                    <a:pt x="230" y="306"/>
                  </a:lnTo>
                  <a:lnTo>
                    <a:pt x="230" y="304"/>
                  </a:lnTo>
                  <a:lnTo>
                    <a:pt x="230" y="306"/>
                  </a:lnTo>
                  <a:lnTo>
                    <a:pt x="231" y="306"/>
                  </a:lnTo>
                  <a:lnTo>
                    <a:pt x="232" y="304"/>
                  </a:lnTo>
                  <a:lnTo>
                    <a:pt x="232" y="306"/>
                  </a:lnTo>
                  <a:lnTo>
                    <a:pt x="233" y="306"/>
                  </a:lnTo>
                  <a:lnTo>
                    <a:pt x="233" y="303"/>
                  </a:lnTo>
                  <a:lnTo>
                    <a:pt x="233" y="302"/>
                  </a:lnTo>
                  <a:lnTo>
                    <a:pt x="232" y="302"/>
                  </a:lnTo>
                  <a:lnTo>
                    <a:pt x="231" y="303"/>
                  </a:lnTo>
                  <a:lnTo>
                    <a:pt x="232" y="302"/>
                  </a:lnTo>
                  <a:lnTo>
                    <a:pt x="231" y="301"/>
                  </a:lnTo>
                  <a:lnTo>
                    <a:pt x="231" y="302"/>
                  </a:lnTo>
                  <a:lnTo>
                    <a:pt x="228" y="302"/>
                  </a:lnTo>
                  <a:lnTo>
                    <a:pt x="228" y="303"/>
                  </a:lnTo>
                  <a:lnTo>
                    <a:pt x="227" y="304"/>
                  </a:lnTo>
                  <a:lnTo>
                    <a:pt x="226" y="304"/>
                  </a:lnTo>
                  <a:lnTo>
                    <a:pt x="225" y="304"/>
                  </a:lnTo>
                  <a:lnTo>
                    <a:pt x="224" y="306"/>
                  </a:lnTo>
                  <a:lnTo>
                    <a:pt x="222" y="306"/>
                  </a:lnTo>
                  <a:lnTo>
                    <a:pt x="221" y="306"/>
                  </a:lnTo>
                  <a:lnTo>
                    <a:pt x="221" y="307"/>
                  </a:lnTo>
                  <a:lnTo>
                    <a:pt x="220" y="306"/>
                  </a:lnTo>
                  <a:lnTo>
                    <a:pt x="219" y="306"/>
                  </a:lnTo>
                  <a:lnTo>
                    <a:pt x="219" y="307"/>
                  </a:lnTo>
                  <a:lnTo>
                    <a:pt x="218" y="307"/>
                  </a:lnTo>
                  <a:lnTo>
                    <a:pt x="216" y="307"/>
                  </a:lnTo>
                  <a:lnTo>
                    <a:pt x="215" y="306"/>
                  </a:lnTo>
                  <a:lnTo>
                    <a:pt x="215" y="307"/>
                  </a:lnTo>
                  <a:lnTo>
                    <a:pt x="214" y="308"/>
                  </a:lnTo>
                  <a:lnTo>
                    <a:pt x="214" y="309"/>
                  </a:lnTo>
                  <a:lnTo>
                    <a:pt x="213" y="308"/>
                  </a:lnTo>
                  <a:lnTo>
                    <a:pt x="213" y="309"/>
                  </a:lnTo>
                  <a:lnTo>
                    <a:pt x="212" y="309"/>
                  </a:lnTo>
                  <a:lnTo>
                    <a:pt x="212" y="310"/>
                  </a:lnTo>
                  <a:lnTo>
                    <a:pt x="213" y="310"/>
                  </a:lnTo>
                  <a:lnTo>
                    <a:pt x="212" y="310"/>
                  </a:lnTo>
                  <a:lnTo>
                    <a:pt x="212" y="312"/>
                  </a:lnTo>
                  <a:lnTo>
                    <a:pt x="210" y="312"/>
                  </a:lnTo>
                  <a:lnTo>
                    <a:pt x="209" y="310"/>
                  </a:lnTo>
                  <a:lnTo>
                    <a:pt x="209" y="312"/>
                  </a:lnTo>
                  <a:lnTo>
                    <a:pt x="208" y="313"/>
                  </a:lnTo>
                  <a:lnTo>
                    <a:pt x="207" y="312"/>
                  </a:lnTo>
                  <a:lnTo>
                    <a:pt x="206" y="312"/>
                  </a:lnTo>
                  <a:lnTo>
                    <a:pt x="204" y="310"/>
                  </a:lnTo>
                  <a:lnTo>
                    <a:pt x="202" y="310"/>
                  </a:lnTo>
                  <a:lnTo>
                    <a:pt x="202" y="309"/>
                  </a:lnTo>
                  <a:lnTo>
                    <a:pt x="200" y="309"/>
                  </a:lnTo>
                  <a:lnTo>
                    <a:pt x="198" y="309"/>
                  </a:lnTo>
                  <a:lnTo>
                    <a:pt x="198" y="308"/>
                  </a:lnTo>
                  <a:lnTo>
                    <a:pt x="197" y="308"/>
                  </a:lnTo>
                  <a:lnTo>
                    <a:pt x="196" y="307"/>
                  </a:lnTo>
                  <a:lnTo>
                    <a:pt x="196" y="308"/>
                  </a:lnTo>
                  <a:lnTo>
                    <a:pt x="196" y="309"/>
                  </a:lnTo>
                  <a:lnTo>
                    <a:pt x="195" y="308"/>
                  </a:lnTo>
                  <a:lnTo>
                    <a:pt x="195" y="310"/>
                  </a:lnTo>
                  <a:lnTo>
                    <a:pt x="193" y="310"/>
                  </a:lnTo>
                  <a:lnTo>
                    <a:pt x="192" y="312"/>
                  </a:lnTo>
                  <a:lnTo>
                    <a:pt x="191" y="312"/>
                  </a:lnTo>
                  <a:lnTo>
                    <a:pt x="191" y="313"/>
                  </a:lnTo>
                  <a:lnTo>
                    <a:pt x="190" y="314"/>
                  </a:lnTo>
                  <a:lnTo>
                    <a:pt x="190" y="313"/>
                  </a:lnTo>
                  <a:lnTo>
                    <a:pt x="189" y="312"/>
                  </a:lnTo>
                  <a:lnTo>
                    <a:pt x="189" y="310"/>
                  </a:lnTo>
                  <a:lnTo>
                    <a:pt x="187" y="312"/>
                  </a:lnTo>
                  <a:lnTo>
                    <a:pt x="186" y="313"/>
                  </a:lnTo>
                  <a:lnTo>
                    <a:pt x="187" y="313"/>
                  </a:lnTo>
                  <a:lnTo>
                    <a:pt x="186" y="315"/>
                  </a:lnTo>
                  <a:lnTo>
                    <a:pt x="187" y="315"/>
                  </a:lnTo>
                  <a:lnTo>
                    <a:pt x="186" y="315"/>
                  </a:lnTo>
                  <a:lnTo>
                    <a:pt x="186" y="314"/>
                  </a:lnTo>
                  <a:lnTo>
                    <a:pt x="185" y="315"/>
                  </a:lnTo>
                  <a:lnTo>
                    <a:pt x="185" y="316"/>
                  </a:lnTo>
                  <a:lnTo>
                    <a:pt x="184" y="316"/>
                  </a:lnTo>
                  <a:lnTo>
                    <a:pt x="183" y="314"/>
                  </a:lnTo>
                  <a:lnTo>
                    <a:pt x="181" y="313"/>
                  </a:lnTo>
                  <a:lnTo>
                    <a:pt x="181" y="314"/>
                  </a:lnTo>
                  <a:lnTo>
                    <a:pt x="180" y="314"/>
                  </a:lnTo>
                  <a:lnTo>
                    <a:pt x="178" y="315"/>
                  </a:lnTo>
                  <a:lnTo>
                    <a:pt x="178" y="314"/>
                  </a:lnTo>
                  <a:lnTo>
                    <a:pt x="179" y="314"/>
                  </a:lnTo>
                  <a:lnTo>
                    <a:pt x="178" y="313"/>
                  </a:lnTo>
                  <a:lnTo>
                    <a:pt x="178" y="312"/>
                  </a:lnTo>
                  <a:lnTo>
                    <a:pt x="178" y="310"/>
                  </a:lnTo>
                  <a:lnTo>
                    <a:pt x="179" y="310"/>
                  </a:lnTo>
                  <a:lnTo>
                    <a:pt x="179" y="309"/>
                  </a:lnTo>
                  <a:lnTo>
                    <a:pt x="180" y="309"/>
                  </a:lnTo>
                  <a:lnTo>
                    <a:pt x="181" y="309"/>
                  </a:lnTo>
                  <a:lnTo>
                    <a:pt x="183" y="309"/>
                  </a:lnTo>
                  <a:lnTo>
                    <a:pt x="184" y="309"/>
                  </a:lnTo>
                  <a:lnTo>
                    <a:pt x="183" y="308"/>
                  </a:lnTo>
                  <a:lnTo>
                    <a:pt x="184" y="307"/>
                  </a:lnTo>
                  <a:lnTo>
                    <a:pt x="183" y="307"/>
                  </a:lnTo>
                  <a:lnTo>
                    <a:pt x="183" y="306"/>
                  </a:lnTo>
                  <a:lnTo>
                    <a:pt x="185" y="306"/>
                  </a:lnTo>
                  <a:lnTo>
                    <a:pt x="186" y="304"/>
                  </a:lnTo>
                  <a:lnTo>
                    <a:pt x="187" y="306"/>
                  </a:lnTo>
                  <a:lnTo>
                    <a:pt x="189" y="306"/>
                  </a:lnTo>
                  <a:lnTo>
                    <a:pt x="189" y="304"/>
                  </a:lnTo>
                  <a:lnTo>
                    <a:pt x="187" y="304"/>
                  </a:lnTo>
                  <a:lnTo>
                    <a:pt x="186" y="303"/>
                  </a:lnTo>
                  <a:lnTo>
                    <a:pt x="185" y="303"/>
                  </a:lnTo>
                  <a:lnTo>
                    <a:pt x="185" y="302"/>
                  </a:lnTo>
                  <a:lnTo>
                    <a:pt x="183" y="302"/>
                  </a:lnTo>
                  <a:lnTo>
                    <a:pt x="183" y="303"/>
                  </a:lnTo>
                  <a:lnTo>
                    <a:pt x="181" y="304"/>
                  </a:lnTo>
                  <a:lnTo>
                    <a:pt x="179" y="304"/>
                  </a:lnTo>
                  <a:lnTo>
                    <a:pt x="178" y="304"/>
                  </a:lnTo>
                  <a:lnTo>
                    <a:pt x="178" y="306"/>
                  </a:lnTo>
                  <a:lnTo>
                    <a:pt x="178" y="307"/>
                  </a:lnTo>
                  <a:lnTo>
                    <a:pt x="177" y="307"/>
                  </a:lnTo>
                  <a:lnTo>
                    <a:pt x="177" y="306"/>
                  </a:lnTo>
                  <a:lnTo>
                    <a:pt x="177" y="304"/>
                  </a:lnTo>
                  <a:lnTo>
                    <a:pt x="175" y="304"/>
                  </a:lnTo>
                  <a:lnTo>
                    <a:pt x="174" y="306"/>
                  </a:lnTo>
                  <a:lnTo>
                    <a:pt x="173" y="308"/>
                  </a:lnTo>
                  <a:lnTo>
                    <a:pt x="173" y="310"/>
                  </a:lnTo>
                  <a:lnTo>
                    <a:pt x="172" y="307"/>
                  </a:lnTo>
                  <a:lnTo>
                    <a:pt x="171" y="307"/>
                  </a:lnTo>
                  <a:lnTo>
                    <a:pt x="169" y="307"/>
                  </a:lnTo>
                  <a:lnTo>
                    <a:pt x="168" y="307"/>
                  </a:lnTo>
                  <a:lnTo>
                    <a:pt x="168" y="306"/>
                  </a:lnTo>
                  <a:lnTo>
                    <a:pt x="168" y="304"/>
                  </a:lnTo>
                  <a:lnTo>
                    <a:pt x="168" y="306"/>
                  </a:lnTo>
                  <a:lnTo>
                    <a:pt x="167" y="306"/>
                  </a:lnTo>
                  <a:lnTo>
                    <a:pt x="166" y="306"/>
                  </a:lnTo>
                  <a:lnTo>
                    <a:pt x="166" y="304"/>
                  </a:lnTo>
                  <a:lnTo>
                    <a:pt x="165" y="304"/>
                  </a:lnTo>
                  <a:lnTo>
                    <a:pt x="165" y="303"/>
                  </a:lnTo>
                  <a:lnTo>
                    <a:pt x="163" y="303"/>
                  </a:lnTo>
                  <a:lnTo>
                    <a:pt x="163" y="304"/>
                  </a:lnTo>
                  <a:lnTo>
                    <a:pt x="162" y="304"/>
                  </a:lnTo>
                  <a:lnTo>
                    <a:pt x="161" y="303"/>
                  </a:lnTo>
                  <a:lnTo>
                    <a:pt x="162" y="303"/>
                  </a:lnTo>
                  <a:lnTo>
                    <a:pt x="161" y="302"/>
                  </a:lnTo>
                  <a:lnTo>
                    <a:pt x="160" y="302"/>
                  </a:lnTo>
                  <a:lnTo>
                    <a:pt x="160" y="301"/>
                  </a:lnTo>
                  <a:lnTo>
                    <a:pt x="159" y="302"/>
                  </a:lnTo>
                  <a:lnTo>
                    <a:pt x="159" y="301"/>
                  </a:lnTo>
                  <a:lnTo>
                    <a:pt x="157" y="301"/>
                  </a:lnTo>
                  <a:lnTo>
                    <a:pt x="156" y="300"/>
                  </a:lnTo>
                  <a:lnTo>
                    <a:pt x="157" y="300"/>
                  </a:lnTo>
                  <a:lnTo>
                    <a:pt x="159" y="300"/>
                  </a:lnTo>
                  <a:lnTo>
                    <a:pt x="157" y="298"/>
                  </a:lnTo>
                  <a:lnTo>
                    <a:pt x="156" y="297"/>
                  </a:lnTo>
                  <a:lnTo>
                    <a:pt x="155" y="296"/>
                  </a:lnTo>
                  <a:lnTo>
                    <a:pt x="156" y="296"/>
                  </a:lnTo>
                  <a:lnTo>
                    <a:pt x="157" y="296"/>
                  </a:lnTo>
                  <a:lnTo>
                    <a:pt x="157" y="295"/>
                  </a:lnTo>
                  <a:lnTo>
                    <a:pt x="156" y="295"/>
                  </a:lnTo>
                  <a:lnTo>
                    <a:pt x="156" y="294"/>
                  </a:lnTo>
                  <a:lnTo>
                    <a:pt x="157" y="294"/>
                  </a:lnTo>
                  <a:lnTo>
                    <a:pt x="157" y="292"/>
                  </a:lnTo>
                  <a:lnTo>
                    <a:pt x="156" y="294"/>
                  </a:lnTo>
                  <a:lnTo>
                    <a:pt x="156" y="292"/>
                  </a:lnTo>
                  <a:lnTo>
                    <a:pt x="155" y="292"/>
                  </a:lnTo>
                  <a:lnTo>
                    <a:pt x="155" y="291"/>
                  </a:lnTo>
                  <a:lnTo>
                    <a:pt x="153" y="291"/>
                  </a:lnTo>
                  <a:lnTo>
                    <a:pt x="154" y="290"/>
                  </a:lnTo>
                  <a:lnTo>
                    <a:pt x="153" y="290"/>
                  </a:lnTo>
                  <a:lnTo>
                    <a:pt x="153" y="289"/>
                  </a:lnTo>
                  <a:lnTo>
                    <a:pt x="153" y="288"/>
                  </a:lnTo>
                  <a:lnTo>
                    <a:pt x="153" y="286"/>
                  </a:lnTo>
                  <a:lnTo>
                    <a:pt x="151" y="286"/>
                  </a:lnTo>
                  <a:lnTo>
                    <a:pt x="151" y="285"/>
                  </a:lnTo>
                  <a:lnTo>
                    <a:pt x="151" y="284"/>
                  </a:lnTo>
                  <a:lnTo>
                    <a:pt x="151" y="283"/>
                  </a:lnTo>
                  <a:lnTo>
                    <a:pt x="150" y="283"/>
                  </a:lnTo>
                  <a:lnTo>
                    <a:pt x="150" y="282"/>
                  </a:lnTo>
                  <a:lnTo>
                    <a:pt x="150" y="280"/>
                  </a:lnTo>
                  <a:lnTo>
                    <a:pt x="150" y="279"/>
                  </a:lnTo>
                  <a:lnTo>
                    <a:pt x="151" y="279"/>
                  </a:lnTo>
                  <a:lnTo>
                    <a:pt x="151" y="278"/>
                  </a:lnTo>
                  <a:lnTo>
                    <a:pt x="153" y="278"/>
                  </a:lnTo>
                  <a:lnTo>
                    <a:pt x="153" y="279"/>
                  </a:lnTo>
                  <a:lnTo>
                    <a:pt x="154" y="279"/>
                  </a:lnTo>
                  <a:lnTo>
                    <a:pt x="155" y="280"/>
                  </a:lnTo>
                  <a:lnTo>
                    <a:pt x="155" y="282"/>
                  </a:lnTo>
                  <a:lnTo>
                    <a:pt x="156" y="282"/>
                  </a:lnTo>
                  <a:lnTo>
                    <a:pt x="156" y="280"/>
                  </a:lnTo>
                  <a:lnTo>
                    <a:pt x="157" y="280"/>
                  </a:lnTo>
                  <a:lnTo>
                    <a:pt x="159" y="280"/>
                  </a:lnTo>
                  <a:lnTo>
                    <a:pt x="160" y="280"/>
                  </a:lnTo>
                  <a:lnTo>
                    <a:pt x="160" y="279"/>
                  </a:lnTo>
                  <a:lnTo>
                    <a:pt x="161" y="279"/>
                  </a:lnTo>
                  <a:lnTo>
                    <a:pt x="161" y="278"/>
                  </a:lnTo>
                  <a:lnTo>
                    <a:pt x="161" y="277"/>
                  </a:lnTo>
                  <a:lnTo>
                    <a:pt x="162" y="277"/>
                  </a:lnTo>
                  <a:lnTo>
                    <a:pt x="163" y="277"/>
                  </a:lnTo>
                  <a:lnTo>
                    <a:pt x="163" y="278"/>
                  </a:lnTo>
                  <a:lnTo>
                    <a:pt x="165" y="279"/>
                  </a:lnTo>
                  <a:lnTo>
                    <a:pt x="165" y="278"/>
                  </a:lnTo>
                  <a:lnTo>
                    <a:pt x="166" y="278"/>
                  </a:lnTo>
                  <a:lnTo>
                    <a:pt x="166" y="277"/>
                  </a:lnTo>
                  <a:lnTo>
                    <a:pt x="166" y="275"/>
                  </a:lnTo>
                  <a:lnTo>
                    <a:pt x="167" y="275"/>
                  </a:lnTo>
                  <a:lnTo>
                    <a:pt x="167" y="277"/>
                  </a:lnTo>
                  <a:lnTo>
                    <a:pt x="168" y="277"/>
                  </a:lnTo>
                  <a:lnTo>
                    <a:pt x="171" y="277"/>
                  </a:lnTo>
                  <a:lnTo>
                    <a:pt x="169" y="275"/>
                  </a:lnTo>
                  <a:lnTo>
                    <a:pt x="168" y="274"/>
                  </a:lnTo>
                  <a:lnTo>
                    <a:pt x="168" y="273"/>
                  </a:lnTo>
                  <a:lnTo>
                    <a:pt x="168" y="272"/>
                  </a:lnTo>
                  <a:lnTo>
                    <a:pt x="167" y="272"/>
                  </a:lnTo>
                  <a:lnTo>
                    <a:pt x="167" y="271"/>
                  </a:lnTo>
                  <a:lnTo>
                    <a:pt x="166" y="271"/>
                  </a:lnTo>
                  <a:lnTo>
                    <a:pt x="165" y="269"/>
                  </a:lnTo>
                  <a:lnTo>
                    <a:pt x="166" y="268"/>
                  </a:lnTo>
                  <a:lnTo>
                    <a:pt x="166" y="267"/>
                  </a:lnTo>
                  <a:lnTo>
                    <a:pt x="165" y="266"/>
                  </a:lnTo>
                  <a:lnTo>
                    <a:pt x="163" y="266"/>
                  </a:lnTo>
                  <a:lnTo>
                    <a:pt x="163" y="265"/>
                  </a:lnTo>
                  <a:lnTo>
                    <a:pt x="162" y="265"/>
                  </a:lnTo>
                  <a:lnTo>
                    <a:pt x="162" y="263"/>
                  </a:lnTo>
                  <a:lnTo>
                    <a:pt x="161" y="263"/>
                  </a:lnTo>
                  <a:lnTo>
                    <a:pt x="161" y="262"/>
                  </a:lnTo>
                  <a:lnTo>
                    <a:pt x="161" y="261"/>
                  </a:lnTo>
                  <a:lnTo>
                    <a:pt x="161" y="260"/>
                  </a:lnTo>
                  <a:lnTo>
                    <a:pt x="161" y="257"/>
                  </a:lnTo>
                  <a:lnTo>
                    <a:pt x="160" y="257"/>
                  </a:lnTo>
                  <a:lnTo>
                    <a:pt x="160" y="256"/>
                  </a:lnTo>
                  <a:lnTo>
                    <a:pt x="159" y="256"/>
                  </a:lnTo>
                  <a:lnTo>
                    <a:pt x="159" y="255"/>
                  </a:lnTo>
                  <a:lnTo>
                    <a:pt x="159" y="254"/>
                  </a:lnTo>
                  <a:lnTo>
                    <a:pt x="157" y="253"/>
                  </a:lnTo>
                  <a:lnTo>
                    <a:pt x="157" y="251"/>
                  </a:lnTo>
                  <a:lnTo>
                    <a:pt x="157" y="250"/>
                  </a:lnTo>
                  <a:lnTo>
                    <a:pt x="157" y="249"/>
                  </a:lnTo>
                  <a:lnTo>
                    <a:pt x="157" y="248"/>
                  </a:lnTo>
                  <a:lnTo>
                    <a:pt x="157" y="247"/>
                  </a:lnTo>
                  <a:lnTo>
                    <a:pt x="157" y="245"/>
                  </a:lnTo>
                  <a:lnTo>
                    <a:pt x="157" y="244"/>
                  </a:lnTo>
                  <a:lnTo>
                    <a:pt x="157" y="243"/>
                  </a:lnTo>
                  <a:lnTo>
                    <a:pt x="157" y="242"/>
                  </a:lnTo>
                  <a:lnTo>
                    <a:pt x="157" y="239"/>
                  </a:lnTo>
                  <a:lnTo>
                    <a:pt x="156" y="239"/>
                  </a:lnTo>
                  <a:lnTo>
                    <a:pt x="156" y="238"/>
                  </a:lnTo>
                  <a:lnTo>
                    <a:pt x="155" y="238"/>
                  </a:lnTo>
                  <a:lnTo>
                    <a:pt x="155" y="237"/>
                  </a:lnTo>
                  <a:lnTo>
                    <a:pt x="156" y="237"/>
                  </a:lnTo>
                  <a:lnTo>
                    <a:pt x="156" y="236"/>
                  </a:lnTo>
                  <a:lnTo>
                    <a:pt x="157" y="235"/>
                  </a:lnTo>
                  <a:lnTo>
                    <a:pt x="159" y="235"/>
                  </a:lnTo>
                  <a:lnTo>
                    <a:pt x="160" y="235"/>
                  </a:lnTo>
                  <a:lnTo>
                    <a:pt x="160" y="236"/>
                  </a:lnTo>
                  <a:lnTo>
                    <a:pt x="160" y="237"/>
                  </a:lnTo>
                  <a:lnTo>
                    <a:pt x="160" y="238"/>
                  </a:lnTo>
                  <a:lnTo>
                    <a:pt x="161" y="238"/>
                  </a:lnTo>
                  <a:lnTo>
                    <a:pt x="161" y="239"/>
                  </a:lnTo>
                  <a:lnTo>
                    <a:pt x="162" y="239"/>
                  </a:lnTo>
                  <a:lnTo>
                    <a:pt x="163" y="239"/>
                  </a:lnTo>
                  <a:lnTo>
                    <a:pt x="165" y="241"/>
                  </a:lnTo>
                  <a:lnTo>
                    <a:pt x="166" y="241"/>
                  </a:lnTo>
                  <a:lnTo>
                    <a:pt x="166" y="242"/>
                  </a:lnTo>
                  <a:lnTo>
                    <a:pt x="167" y="242"/>
                  </a:lnTo>
                  <a:lnTo>
                    <a:pt x="167" y="243"/>
                  </a:lnTo>
                  <a:lnTo>
                    <a:pt x="167" y="244"/>
                  </a:lnTo>
                  <a:lnTo>
                    <a:pt x="167" y="243"/>
                  </a:lnTo>
                  <a:lnTo>
                    <a:pt x="168" y="243"/>
                  </a:lnTo>
                  <a:lnTo>
                    <a:pt x="168" y="242"/>
                  </a:lnTo>
                  <a:lnTo>
                    <a:pt x="168" y="239"/>
                  </a:lnTo>
                  <a:lnTo>
                    <a:pt x="168" y="238"/>
                  </a:lnTo>
                  <a:lnTo>
                    <a:pt x="169" y="237"/>
                  </a:lnTo>
                  <a:lnTo>
                    <a:pt x="169" y="236"/>
                  </a:lnTo>
                  <a:lnTo>
                    <a:pt x="171" y="236"/>
                  </a:lnTo>
                  <a:lnTo>
                    <a:pt x="171" y="237"/>
                  </a:lnTo>
                  <a:lnTo>
                    <a:pt x="172" y="236"/>
                  </a:lnTo>
                  <a:lnTo>
                    <a:pt x="173" y="238"/>
                  </a:lnTo>
                  <a:lnTo>
                    <a:pt x="173" y="239"/>
                  </a:lnTo>
                  <a:lnTo>
                    <a:pt x="174" y="239"/>
                  </a:lnTo>
                  <a:lnTo>
                    <a:pt x="174" y="241"/>
                  </a:lnTo>
                  <a:lnTo>
                    <a:pt x="174" y="242"/>
                  </a:lnTo>
                  <a:lnTo>
                    <a:pt x="174" y="241"/>
                  </a:lnTo>
                  <a:lnTo>
                    <a:pt x="175" y="241"/>
                  </a:lnTo>
                  <a:lnTo>
                    <a:pt x="175" y="239"/>
                  </a:lnTo>
                  <a:lnTo>
                    <a:pt x="175" y="238"/>
                  </a:lnTo>
                  <a:lnTo>
                    <a:pt x="178" y="238"/>
                  </a:lnTo>
                  <a:lnTo>
                    <a:pt x="179" y="238"/>
                  </a:lnTo>
                  <a:lnTo>
                    <a:pt x="179" y="239"/>
                  </a:lnTo>
                  <a:lnTo>
                    <a:pt x="179" y="241"/>
                  </a:lnTo>
                  <a:lnTo>
                    <a:pt x="180" y="241"/>
                  </a:lnTo>
                  <a:lnTo>
                    <a:pt x="181" y="242"/>
                  </a:lnTo>
                  <a:lnTo>
                    <a:pt x="183" y="242"/>
                  </a:lnTo>
                  <a:lnTo>
                    <a:pt x="183" y="243"/>
                  </a:lnTo>
                  <a:lnTo>
                    <a:pt x="184" y="243"/>
                  </a:lnTo>
                  <a:lnTo>
                    <a:pt x="184" y="244"/>
                  </a:lnTo>
                  <a:lnTo>
                    <a:pt x="184" y="245"/>
                  </a:lnTo>
                  <a:lnTo>
                    <a:pt x="185" y="245"/>
                  </a:lnTo>
                  <a:lnTo>
                    <a:pt x="185" y="247"/>
                  </a:lnTo>
                  <a:lnTo>
                    <a:pt x="186" y="247"/>
                  </a:lnTo>
                  <a:lnTo>
                    <a:pt x="189" y="248"/>
                  </a:lnTo>
                  <a:lnTo>
                    <a:pt x="190" y="247"/>
                  </a:lnTo>
                  <a:lnTo>
                    <a:pt x="190" y="245"/>
                  </a:lnTo>
                  <a:lnTo>
                    <a:pt x="189" y="245"/>
                  </a:lnTo>
                  <a:lnTo>
                    <a:pt x="189" y="244"/>
                  </a:lnTo>
                  <a:lnTo>
                    <a:pt x="187" y="244"/>
                  </a:lnTo>
                  <a:lnTo>
                    <a:pt x="186" y="244"/>
                  </a:lnTo>
                  <a:lnTo>
                    <a:pt x="186" y="243"/>
                  </a:lnTo>
                  <a:lnTo>
                    <a:pt x="186" y="242"/>
                  </a:lnTo>
                  <a:lnTo>
                    <a:pt x="185" y="241"/>
                  </a:lnTo>
                  <a:lnTo>
                    <a:pt x="184" y="241"/>
                  </a:lnTo>
                  <a:lnTo>
                    <a:pt x="184" y="239"/>
                  </a:lnTo>
                  <a:lnTo>
                    <a:pt x="185" y="239"/>
                  </a:lnTo>
                  <a:lnTo>
                    <a:pt x="185" y="238"/>
                  </a:lnTo>
                  <a:lnTo>
                    <a:pt x="185" y="237"/>
                  </a:lnTo>
                  <a:lnTo>
                    <a:pt x="185" y="236"/>
                  </a:lnTo>
                  <a:lnTo>
                    <a:pt x="186" y="236"/>
                  </a:lnTo>
                  <a:lnTo>
                    <a:pt x="186" y="235"/>
                  </a:lnTo>
                  <a:lnTo>
                    <a:pt x="187" y="235"/>
                  </a:lnTo>
                  <a:lnTo>
                    <a:pt x="189" y="236"/>
                  </a:lnTo>
                  <a:lnTo>
                    <a:pt x="190" y="236"/>
                  </a:lnTo>
                  <a:lnTo>
                    <a:pt x="192" y="236"/>
                  </a:lnTo>
                  <a:lnTo>
                    <a:pt x="192" y="235"/>
                  </a:lnTo>
                  <a:lnTo>
                    <a:pt x="195" y="235"/>
                  </a:lnTo>
                  <a:lnTo>
                    <a:pt x="193" y="236"/>
                  </a:lnTo>
                  <a:lnTo>
                    <a:pt x="195" y="236"/>
                  </a:lnTo>
                  <a:lnTo>
                    <a:pt x="195" y="237"/>
                  </a:lnTo>
                  <a:lnTo>
                    <a:pt x="196" y="237"/>
                  </a:lnTo>
                  <a:lnTo>
                    <a:pt x="195" y="237"/>
                  </a:lnTo>
                  <a:lnTo>
                    <a:pt x="195" y="238"/>
                  </a:lnTo>
                  <a:lnTo>
                    <a:pt x="196" y="239"/>
                  </a:lnTo>
                  <a:lnTo>
                    <a:pt x="196" y="238"/>
                  </a:lnTo>
                  <a:lnTo>
                    <a:pt x="197" y="238"/>
                  </a:lnTo>
                  <a:lnTo>
                    <a:pt x="198" y="238"/>
                  </a:lnTo>
                  <a:lnTo>
                    <a:pt x="198" y="239"/>
                  </a:lnTo>
                  <a:lnTo>
                    <a:pt x="201" y="238"/>
                  </a:lnTo>
                  <a:lnTo>
                    <a:pt x="201" y="239"/>
                  </a:lnTo>
                  <a:lnTo>
                    <a:pt x="202" y="239"/>
                  </a:lnTo>
                  <a:lnTo>
                    <a:pt x="203" y="239"/>
                  </a:lnTo>
                  <a:lnTo>
                    <a:pt x="206" y="239"/>
                  </a:lnTo>
                  <a:lnTo>
                    <a:pt x="207" y="237"/>
                  </a:lnTo>
                  <a:lnTo>
                    <a:pt x="208" y="237"/>
                  </a:lnTo>
                  <a:lnTo>
                    <a:pt x="208" y="236"/>
                  </a:lnTo>
                  <a:lnTo>
                    <a:pt x="207" y="235"/>
                  </a:lnTo>
                  <a:lnTo>
                    <a:pt x="208" y="235"/>
                  </a:lnTo>
                  <a:lnTo>
                    <a:pt x="207" y="235"/>
                  </a:lnTo>
                  <a:lnTo>
                    <a:pt x="207" y="236"/>
                  </a:lnTo>
                  <a:lnTo>
                    <a:pt x="207" y="235"/>
                  </a:lnTo>
                  <a:lnTo>
                    <a:pt x="204" y="236"/>
                  </a:lnTo>
                  <a:lnTo>
                    <a:pt x="204" y="235"/>
                  </a:lnTo>
                  <a:lnTo>
                    <a:pt x="203" y="235"/>
                  </a:lnTo>
                  <a:lnTo>
                    <a:pt x="202" y="233"/>
                  </a:lnTo>
                  <a:lnTo>
                    <a:pt x="201" y="233"/>
                  </a:lnTo>
                  <a:lnTo>
                    <a:pt x="201" y="232"/>
                  </a:lnTo>
                  <a:lnTo>
                    <a:pt x="200" y="232"/>
                  </a:lnTo>
                  <a:lnTo>
                    <a:pt x="197" y="232"/>
                  </a:lnTo>
                  <a:lnTo>
                    <a:pt x="197" y="231"/>
                  </a:lnTo>
                  <a:lnTo>
                    <a:pt x="196" y="231"/>
                  </a:lnTo>
                  <a:lnTo>
                    <a:pt x="196" y="230"/>
                  </a:lnTo>
                  <a:lnTo>
                    <a:pt x="196" y="227"/>
                  </a:lnTo>
                  <a:lnTo>
                    <a:pt x="195" y="227"/>
                  </a:lnTo>
                  <a:lnTo>
                    <a:pt x="193" y="227"/>
                  </a:lnTo>
                  <a:lnTo>
                    <a:pt x="193" y="229"/>
                  </a:lnTo>
                  <a:lnTo>
                    <a:pt x="192" y="229"/>
                  </a:lnTo>
                  <a:lnTo>
                    <a:pt x="190" y="229"/>
                  </a:lnTo>
                  <a:lnTo>
                    <a:pt x="189" y="229"/>
                  </a:lnTo>
                  <a:lnTo>
                    <a:pt x="186" y="227"/>
                  </a:lnTo>
                  <a:lnTo>
                    <a:pt x="185" y="227"/>
                  </a:lnTo>
                  <a:lnTo>
                    <a:pt x="184" y="226"/>
                  </a:lnTo>
                  <a:lnTo>
                    <a:pt x="184" y="225"/>
                  </a:lnTo>
                  <a:lnTo>
                    <a:pt x="184" y="224"/>
                  </a:lnTo>
                  <a:lnTo>
                    <a:pt x="183" y="224"/>
                  </a:lnTo>
                  <a:lnTo>
                    <a:pt x="183" y="223"/>
                  </a:lnTo>
                  <a:lnTo>
                    <a:pt x="183" y="221"/>
                  </a:lnTo>
                  <a:lnTo>
                    <a:pt x="181" y="221"/>
                  </a:lnTo>
                  <a:lnTo>
                    <a:pt x="180" y="220"/>
                  </a:lnTo>
                  <a:lnTo>
                    <a:pt x="179" y="221"/>
                  </a:lnTo>
                  <a:lnTo>
                    <a:pt x="178" y="220"/>
                  </a:lnTo>
                  <a:lnTo>
                    <a:pt x="177" y="220"/>
                  </a:lnTo>
                  <a:lnTo>
                    <a:pt x="175" y="219"/>
                  </a:lnTo>
                  <a:lnTo>
                    <a:pt x="177" y="218"/>
                  </a:lnTo>
                  <a:lnTo>
                    <a:pt x="175" y="218"/>
                  </a:lnTo>
                  <a:lnTo>
                    <a:pt x="177" y="217"/>
                  </a:lnTo>
                  <a:lnTo>
                    <a:pt x="177" y="215"/>
                  </a:lnTo>
                  <a:lnTo>
                    <a:pt x="177" y="213"/>
                  </a:lnTo>
                  <a:lnTo>
                    <a:pt x="175" y="213"/>
                  </a:lnTo>
                  <a:lnTo>
                    <a:pt x="174" y="213"/>
                  </a:lnTo>
                  <a:lnTo>
                    <a:pt x="174" y="212"/>
                  </a:lnTo>
                  <a:lnTo>
                    <a:pt x="173" y="211"/>
                  </a:lnTo>
                  <a:lnTo>
                    <a:pt x="172" y="211"/>
                  </a:lnTo>
                  <a:lnTo>
                    <a:pt x="173" y="209"/>
                  </a:lnTo>
                  <a:lnTo>
                    <a:pt x="173" y="208"/>
                  </a:lnTo>
                  <a:lnTo>
                    <a:pt x="174" y="208"/>
                  </a:lnTo>
                  <a:lnTo>
                    <a:pt x="175" y="207"/>
                  </a:lnTo>
                  <a:lnTo>
                    <a:pt x="177" y="207"/>
                  </a:lnTo>
                  <a:lnTo>
                    <a:pt x="177" y="208"/>
                  </a:lnTo>
                  <a:lnTo>
                    <a:pt x="178" y="209"/>
                  </a:lnTo>
                  <a:lnTo>
                    <a:pt x="181" y="209"/>
                  </a:lnTo>
                  <a:lnTo>
                    <a:pt x="183" y="209"/>
                  </a:lnTo>
                  <a:lnTo>
                    <a:pt x="183" y="211"/>
                  </a:lnTo>
                  <a:lnTo>
                    <a:pt x="184" y="212"/>
                  </a:lnTo>
                  <a:lnTo>
                    <a:pt x="185" y="212"/>
                  </a:lnTo>
                  <a:lnTo>
                    <a:pt x="185" y="211"/>
                  </a:lnTo>
                  <a:lnTo>
                    <a:pt x="185" y="209"/>
                  </a:lnTo>
                  <a:lnTo>
                    <a:pt x="185" y="208"/>
                  </a:lnTo>
                  <a:lnTo>
                    <a:pt x="184" y="208"/>
                  </a:lnTo>
                  <a:lnTo>
                    <a:pt x="184" y="207"/>
                  </a:lnTo>
                  <a:lnTo>
                    <a:pt x="184" y="205"/>
                  </a:lnTo>
                  <a:lnTo>
                    <a:pt x="184" y="203"/>
                  </a:lnTo>
                  <a:lnTo>
                    <a:pt x="185" y="203"/>
                  </a:lnTo>
                  <a:lnTo>
                    <a:pt x="186" y="203"/>
                  </a:lnTo>
                  <a:lnTo>
                    <a:pt x="186" y="205"/>
                  </a:lnTo>
                  <a:lnTo>
                    <a:pt x="187" y="206"/>
                  </a:lnTo>
                  <a:lnTo>
                    <a:pt x="189" y="207"/>
                  </a:lnTo>
                  <a:lnTo>
                    <a:pt x="189" y="208"/>
                  </a:lnTo>
                  <a:lnTo>
                    <a:pt x="189" y="207"/>
                  </a:lnTo>
                  <a:lnTo>
                    <a:pt x="190" y="207"/>
                  </a:lnTo>
                  <a:lnTo>
                    <a:pt x="190" y="206"/>
                  </a:lnTo>
                  <a:lnTo>
                    <a:pt x="192" y="206"/>
                  </a:lnTo>
                  <a:lnTo>
                    <a:pt x="192" y="207"/>
                  </a:lnTo>
                  <a:lnTo>
                    <a:pt x="192" y="208"/>
                  </a:lnTo>
                  <a:lnTo>
                    <a:pt x="192" y="212"/>
                  </a:lnTo>
                  <a:lnTo>
                    <a:pt x="192" y="213"/>
                  </a:lnTo>
                  <a:lnTo>
                    <a:pt x="193" y="214"/>
                  </a:lnTo>
                  <a:lnTo>
                    <a:pt x="195" y="214"/>
                  </a:lnTo>
                  <a:lnTo>
                    <a:pt x="196" y="213"/>
                  </a:lnTo>
                  <a:lnTo>
                    <a:pt x="197" y="213"/>
                  </a:lnTo>
                  <a:lnTo>
                    <a:pt x="198" y="213"/>
                  </a:lnTo>
                  <a:lnTo>
                    <a:pt x="198" y="212"/>
                  </a:lnTo>
                  <a:lnTo>
                    <a:pt x="198" y="211"/>
                  </a:lnTo>
                  <a:lnTo>
                    <a:pt x="201" y="211"/>
                  </a:lnTo>
                  <a:lnTo>
                    <a:pt x="203" y="211"/>
                  </a:lnTo>
                  <a:lnTo>
                    <a:pt x="204" y="211"/>
                  </a:lnTo>
                  <a:lnTo>
                    <a:pt x="208" y="212"/>
                  </a:lnTo>
                  <a:lnTo>
                    <a:pt x="208" y="214"/>
                  </a:lnTo>
                  <a:lnTo>
                    <a:pt x="209" y="214"/>
                  </a:lnTo>
                  <a:lnTo>
                    <a:pt x="209" y="215"/>
                  </a:lnTo>
                  <a:lnTo>
                    <a:pt x="209" y="217"/>
                  </a:lnTo>
                  <a:lnTo>
                    <a:pt x="212" y="217"/>
                  </a:lnTo>
                  <a:lnTo>
                    <a:pt x="210" y="215"/>
                  </a:lnTo>
                  <a:lnTo>
                    <a:pt x="210" y="214"/>
                  </a:lnTo>
                  <a:lnTo>
                    <a:pt x="209" y="213"/>
                  </a:lnTo>
                  <a:lnTo>
                    <a:pt x="209" y="212"/>
                  </a:lnTo>
                  <a:lnTo>
                    <a:pt x="208" y="212"/>
                  </a:lnTo>
                  <a:lnTo>
                    <a:pt x="208" y="211"/>
                  </a:lnTo>
                  <a:lnTo>
                    <a:pt x="208" y="208"/>
                  </a:lnTo>
                  <a:lnTo>
                    <a:pt x="208" y="206"/>
                  </a:lnTo>
                  <a:lnTo>
                    <a:pt x="209" y="207"/>
                  </a:lnTo>
                  <a:lnTo>
                    <a:pt x="210" y="207"/>
                  </a:lnTo>
                  <a:lnTo>
                    <a:pt x="210" y="208"/>
                  </a:lnTo>
                  <a:lnTo>
                    <a:pt x="212" y="208"/>
                  </a:lnTo>
                  <a:lnTo>
                    <a:pt x="213" y="208"/>
                  </a:lnTo>
                  <a:lnTo>
                    <a:pt x="213" y="207"/>
                  </a:lnTo>
                  <a:lnTo>
                    <a:pt x="214" y="207"/>
                  </a:lnTo>
                  <a:lnTo>
                    <a:pt x="213" y="206"/>
                  </a:lnTo>
                  <a:lnTo>
                    <a:pt x="213" y="205"/>
                  </a:lnTo>
                  <a:lnTo>
                    <a:pt x="213" y="202"/>
                  </a:lnTo>
                  <a:lnTo>
                    <a:pt x="212" y="201"/>
                  </a:lnTo>
                  <a:lnTo>
                    <a:pt x="210" y="200"/>
                  </a:lnTo>
                  <a:lnTo>
                    <a:pt x="212" y="199"/>
                  </a:lnTo>
                  <a:lnTo>
                    <a:pt x="212" y="197"/>
                  </a:lnTo>
                  <a:lnTo>
                    <a:pt x="214" y="197"/>
                  </a:lnTo>
                  <a:lnTo>
                    <a:pt x="214" y="199"/>
                  </a:lnTo>
                  <a:lnTo>
                    <a:pt x="216" y="199"/>
                  </a:lnTo>
                  <a:lnTo>
                    <a:pt x="218" y="199"/>
                  </a:lnTo>
                  <a:lnTo>
                    <a:pt x="218" y="197"/>
                  </a:lnTo>
                  <a:lnTo>
                    <a:pt x="218" y="199"/>
                  </a:lnTo>
                  <a:lnTo>
                    <a:pt x="219" y="199"/>
                  </a:lnTo>
                  <a:lnTo>
                    <a:pt x="219" y="200"/>
                  </a:lnTo>
                  <a:lnTo>
                    <a:pt x="220" y="201"/>
                  </a:lnTo>
                  <a:lnTo>
                    <a:pt x="222" y="201"/>
                  </a:lnTo>
                  <a:lnTo>
                    <a:pt x="224" y="201"/>
                  </a:lnTo>
                  <a:lnTo>
                    <a:pt x="224" y="200"/>
                  </a:lnTo>
                  <a:lnTo>
                    <a:pt x="225" y="199"/>
                  </a:lnTo>
                  <a:lnTo>
                    <a:pt x="225" y="197"/>
                  </a:lnTo>
                  <a:lnTo>
                    <a:pt x="224" y="196"/>
                  </a:lnTo>
                  <a:lnTo>
                    <a:pt x="225" y="196"/>
                  </a:lnTo>
                  <a:lnTo>
                    <a:pt x="226" y="196"/>
                  </a:lnTo>
                  <a:lnTo>
                    <a:pt x="225" y="194"/>
                  </a:lnTo>
                  <a:lnTo>
                    <a:pt x="224" y="193"/>
                  </a:lnTo>
                  <a:lnTo>
                    <a:pt x="222" y="193"/>
                  </a:lnTo>
                  <a:lnTo>
                    <a:pt x="222" y="191"/>
                  </a:lnTo>
                  <a:lnTo>
                    <a:pt x="224" y="191"/>
                  </a:lnTo>
                  <a:lnTo>
                    <a:pt x="224" y="190"/>
                  </a:lnTo>
                  <a:lnTo>
                    <a:pt x="225" y="189"/>
                  </a:lnTo>
                  <a:lnTo>
                    <a:pt x="227" y="189"/>
                  </a:lnTo>
                  <a:lnTo>
                    <a:pt x="228" y="189"/>
                  </a:lnTo>
                  <a:lnTo>
                    <a:pt x="228" y="190"/>
                  </a:lnTo>
                  <a:lnTo>
                    <a:pt x="230" y="191"/>
                  </a:lnTo>
                  <a:lnTo>
                    <a:pt x="231" y="191"/>
                  </a:lnTo>
                  <a:lnTo>
                    <a:pt x="231" y="189"/>
                  </a:lnTo>
                  <a:lnTo>
                    <a:pt x="232" y="189"/>
                  </a:lnTo>
                  <a:lnTo>
                    <a:pt x="232" y="188"/>
                  </a:lnTo>
                  <a:lnTo>
                    <a:pt x="233" y="188"/>
                  </a:lnTo>
                  <a:lnTo>
                    <a:pt x="233" y="187"/>
                  </a:lnTo>
                  <a:lnTo>
                    <a:pt x="234" y="187"/>
                  </a:lnTo>
                  <a:lnTo>
                    <a:pt x="234" y="185"/>
                  </a:lnTo>
                  <a:lnTo>
                    <a:pt x="233" y="185"/>
                  </a:lnTo>
                  <a:lnTo>
                    <a:pt x="233" y="184"/>
                  </a:lnTo>
                  <a:lnTo>
                    <a:pt x="233" y="183"/>
                  </a:lnTo>
                  <a:lnTo>
                    <a:pt x="232" y="183"/>
                  </a:lnTo>
                  <a:lnTo>
                    <a:pt x="233" y="182"/>
                  </a:lnTo>
                  <a:lnTo>
                    <a:pt x="232" y="181"/>
                  </a:lnTo>
                  <a:lnTo>
                    <a:pt x="232" y="179"/>
                  </a:lnTo>
                  <a:lnTo>
                    <a:pt x="231" y="179"/>
                  </a:lnTo>
                  <a:lnTo>
                    <a:pt x="230" y="179"/>
                  </a:lnTo>
                  <a:lnTo>
                    <a:pt x="230" y="178"/>
                  </a:lnTo>
                  <a:lnTo>
                    <a:pt x="230" y="177"/>
                  </a:lnTo>
                  <a:lnTo>
                    <a:pt x="228" y="176"/>
                  </a:lnTo>
                  <a:lnTo>
                    <a:pt x="228" y="175"/>
                  </a:lnTo>
                  <a:lnTo>
                    <a:pt x="228" y="173"/>
                  </a:lnTo>
                  <a:lnTo>
                    <a:pt x="227" y="173"/>
                  </a:lnTo>
                  <a:lnTo>
                    <a:pt x="226" y="173"/>
                  </a:lnTo>
                  <a:lnTo>
                    <a:pt x="225" y="173"/>
                  </a:lnTo>
                  <a:lnTo>
                    <a:pt x="224" y="173"/>
                  </a:lnTo>
                  <a:lnTo>
                    <a:pt x="224" y="172"/>
                  </a:lnTo>
                  <a:lnTo>
                    <a:pt x="222" y="172"/>
                  </a:lnTo>
                  <a:lnTo>
                    <a:pt x="222" y="171"/>
                  </a:lnTo>
                  <a:lnTo>
                    <a:pt x="221" y="171"/>
                  </a:lnTo>
                  <a:lnTo>
                    <a:pt x="220" y="170"/>
                  </a:lnTo>
                  <a:lnTo>
                    <a:pt x="219" y="169"/>
                  </a:lnTo>
                  <a:lnTo>
                    <a:pt x="219" y="167"/>
                  </a:lnTo>
                  <a:lnTo>
                    <a:pt x="219" y="166"/>
                  </a:lnTo>
                  <a:lnTo>
                    <a:pt x="220" y="165"/>
                  </a:lnTo>
                  <a:lnTo>
                    <a:pt x="220" y="166"/>
                  </a:lnTo>
                  <a:lnTo>
                    <a:pt x="224" y="165"/>
                  </a:lnTo>
                  <a:lnTo>
                    <a:pt x="225" y="165"/>
                  </a:lnTo>
                  <a:lnTo>
                    <a:pt x="224" y="165"/>
                  </a:lnTo>
                  <a:lnTo>
                    <a:pt x="224" y="164"/>
                  </a:lnTo>
                  <a:lnTo>
                    <a:pt x="222" y="164"/>
                  </a:lnTo>
                  <a:lnTo>
                    <a:pt x="221" y="162"/>
                  </a:lnTo>
                  <a:lnTo>
                    <a:pt x="219" y="162"/>
                  </a:lnTo>
                  <a:lnTo>
                    <a:pt x="219" y="164"/>
                  </a:lnTo>
                  <a:lnTo>
                    <a:pt x="218" y="162"/>
                  </a:lnTo>
                  <a:lnTo>
                    <a:pt x="218" y="161"/>
                  </a:lnTo>
                  <a:lnTo>
                    <a:pt x="218" y="159"/>
                  </a:lnTo>
                  <a:lnTo>
                    <a:pt x="215" y="159"/>
                  </a:lnTo>
                  <a:lnTo>
                    <a:pt x="214" y="159"/>
                  </a:lnTo>
                  <a:lnTo>
                    <a:pt x="214" y="158"/>
                  </a:lnTo>
                  <a:lnTo>
                    <a:pt x="213" y="158"/>
                  </a:lnTo>
                  <a:lnTo>
                    <a:pt x="213" y="156"/>
                  </a:lnTo>
                  <a:lnTo>
                    <a:pt x="212" y="156"/>
                  </a:lnTo>
                  <a:lnTo>
                    <a:pt x="213" y="155"/>
                  </a:lnTo>
                  <a:lnTo>
                    <a:pt x="213" y="152"/>
                  </a:lnTo>
                  <a:lnTo>
                    <a:pt x="214" y="150"/>
                  </a:lnTo>
                  <a:lnTo>
                    <a:pt x="214" y="148"/>
                  </a:lnTo>
                  <a:lnTo>
                    <a:pt x="213" y="147"/>
                  </a:lnTo>
                  <a:lnTo>
                    <a:pt x="213" y="144"/>
                  </a:lnTo>
                  <a:lnTo>
                    <a:pt x="213" y="143"/>
                  </a:lnTo>
                  <a:lnTo>
                    <a:pt x="213" y="142"/>
                  </a:lnTo>
                  <a:lnTo>
                    <a:pt x="214" y="141"/>
                  </a:lnTo>
                  <a:lnTo>
                    <a:pt x="215" y="141"/>
                  </a:lnTo>
                  <a:lnTo>
                    <a:pt x="216" y="141"/>
                  </a:lnTo>
                  <a:lnTo>
                    <a:pt x="216" y="142"/>
                  </a:lnTo>
                  <a:lnTo>
                    <a:pt x="218" y="142"/>
                  </a:lnTo>
                  <a:lnTo>
                    <a:pt x="218" y="143"/>
                  </a:lnTo>
                  <a:lnTo>
                    <a:pt x="218" y="144"/>
                  </a:lnTo>
                  <a:lnTo>
                    <a:pt x="219" y="144"/>
                  </a:lnTo>
                  <a:lnTo>
                    <a:pt x="220" y="143"/>
                  </a:lnTo>
                  <a:lnTo>
                    <a:pt x="221" y="143"/>
                  </a:lnTo>
                  <a:lnTo>
                    <a:pt x="225" y="143"/>
                  </a:lnTo>
                  <a:lnTo>
                    <a:pt x="225" y="142"/>
                  </a:lnTo>
                  <a:lnTo>
                    <a:pt x="226" y="142"/>
                  </a:lnTo>
                  <a:lnTo>
                    <a:pt x="226" y="143"/>
                  </a:lnTo>
                  <a:lnTo>
                    <a:pt x="226" y="144"/>
                  </a:lnTo>
                  <a:lnTo>
                    <a:pt x="227" y="144"/>
                  </a:lnTo>
                  <a:lnTo>
                    <a:pt x="227" y="146"/>
                  </a:lnTo>
                  <a:lnTo>
                    <a:pt x="228" y="147"/>
                  </a:lnTo>
                  <a:lnTo>
                    <a:pt x="230" y="148"/>
                  </a:lnTo>
                  <a:lnTo>
                    <a:pt x="230" y="149"/>
                  </a:lnTo>
                  <a:lnTo>
                    <a:pt x="230" y="150"/>
                  </a:lnTo>
                  <a:lnTo>
                    <a:pt x="231" y="152"/>
                  </a:lnTo>
                  <a:lnTo>
                    <a:pt x="232" y="152"/>
                  </a:lnTo>
                  <a:lnTo>
                    <a:pt x="233" y="152"/>
                  </a:lnTo>
                  <a:lnTo>
                    <a:pt x="234" y="152"/>
                  </a:lnTo>
                  <a:lnTo>
                    <a:pt x="236" y="152"/>
                  </a:lnTo>
                  <a:lnTo>
                    <a:pt x="236" y="150"/>
                  </a:lnTo>
                  <a:lnTo>
                    <a:pt x="236" y="149"/>
                  </a:lnTo>
                  <a:lnTo>
                    <a:pt x="237" y="149"/>
                  </a:lnTo>
                  <a:lnTo>
                    <a:pt x="238" y="150"/>
                  </a:lnTo>
                  <a:lnTo>
                    <a:pt x="238" y="153"/>
                  </a:lnTo>
                  <a:lnTo>
                    <a:pt x="239" y="152"/>
                  </a:lnTo>
                  <a:lnTo>
                    <a:pt x="243" y="152"/>
                  </a:lnTo>
                  <a:lnTo>
                    <a:pt x="244" y="150"/>
                  </a:lnTo>
                  <a:lnTo>
                    <a:pt x="245" y="150"/>
                  </a:lnTo>
                  <a:lnTo>
                    <a:pt x="245" y="149"/>
                  </a:lnTo>
                  <a:lnTo>
                    <a:pt x="244" y="149"/>
                  </a:lnTo>
                  <a:lnTo>
                    <a:pt x="243" y="148"/>
                  </a:lnTo>
                  <a:lnTo>
                    <a:pt x="242" y="147"/>
                  </a:lnTo>
                  <a:lnTo>
                    <a:pt x="242" y="146"/>
                  </a:lnTo>
                  <a:lnTo>
                    <a:pt x="240" y="144"/>
                  </a:lnTo>
                  <a:lnTo>
                    <a:pt x="239" y="144"/>
                  </a:lnTo>
                  <a:lnTo>
                    <a:pt x="239" y="143"/>
                  </a:lnTo>
                  <a:lnTo>
                    <a:pt x="239" y="140"/>
                  </a:lnTo>
                  <a:lnTo>
                    <a:pt x="239" y="137"/>
                  </a:lnTo>
                  <a:lnTo>
                    <a:pt x="239" y="136"/>
                  </a:lnTo>
                  <a:lnTo>
                    <a:pt x="240" y="136"/>
                  </a:lnTo>
                  <a:lnTo>
                    <a:pt x="240" y="135"/>
                  </a:lnTo>
                  <a:lnTo>
                    <a:pt x="242" y="135"/>
                  </a:lnTo>
                  <a:lnTo>
                    <a:pt x="243" y="134"/>
                  </a:lnTo>
                  <a:lnTo>
                    <a:pt x="243" y="132"/>
                  </a:lnTo>
                  <a:lnTo>
                    <a:pt x="243" y="131"/>
                  </a:lnTo>
                  <a:lnTo>
                    <a:pt x="242" y="130"/>
                  </a:lnTo>
                  <a:lnTo>
                    <a:pt x="243" y="130"/>
                  </a:lnTo>
                  <a:lnTo>
                    <a:pt x="244" y="129"/>
                  </a:lnTo>
                  <a:lnTo>
                    <a:pt x="246" y="129"/>
                  </a:lnTo>
                  <a:lnTo>
                    <a:pt x="248" y="130"/>
                  </a:lnTo>
                  <a:lnTo>
                    <a:pt x="249" y="130"/>
                  </a:lnTo>
                  <a:lnTo>
                    <a:pt x="249" y="131"/>
                  </a:lnTo>
                  <a:lnTo>
                    <a:pt x="249" y="132"/>
                  </a:lnTo>
                  <a:lnTo>
                    <a:pt x="249" y="134"/>
                  </a:lnTo>
                  <a:lnTo>
                    <a:pt x="250" y="135"/>
                  </a:lnTo>
                  <a:lnTo>
                    <a:pt x="250" y="134"/>
                  </a:lnTo>
                  <a:lnTo>
                    <a:pt x="251" y="131"/>
                  </a:lnTo>
                  <a:lnTo>
                    <a:pt x="251" y="128"/>
                  </a:lnTo>
                  <a:lnTo>
                    <a:pt x="254" y="128"/>
                  </a:lnTo>
                  <a:lnTo>
                    <a:pt x="255" y="131"/>
                  </a:lnTo>
                  <a:lnTo>
                    <a:pt x="255" y="132"/>
                  </a:lnTo>
                  <a:lnTo>
                    <a:pt x="255" y="134"/>
                  </a:lnTo>
                  <a:lnTo>
                    <a:pt x="256" y="134"/>
                  </a:lnTo>
                  <a:lnTo>
                    <a:pt x="257" y="134"/>
                  </a:lnTo>
                  <a:lnTo>
                    <a:pt x="259" y="134"/>
                  </a:lnTo>
                  <a:lnTo>
                    <a:pt x="259" y="135"/>
                  </a:lnTo>
                  <a:lnTo>
                    <a:pt x="259" y="136"/>
                  </a:lnTo>
                  <a:lnTo>
                    <a:pt x="257" y="138"/>
                  </a:lnTo>
                  <a:lnTo>
                    <a:pt x="257" y="142"/>
                  </a:lnTo>
                  <a:lnTo>
                    <a:pt x="256" y="142"/>
                  </a:lnTo>
                  <a:lnTo>
                    <a:pt x="256" y="143"/>
                  </a:lnTo>
                  <a:lnTo>
                    <a:pt x="256" y="144"/>
                  </a:lnTo>
                  <a:lnTo>
                    <a:pt x="255" y="144"/>
                  </a:lnTo>
                  <a:lnTo>
                    <a:pt x="255" y="146"/>
                  </a:lnTo>
                  <a:lnTo>
                    <a:pt x="256" y="148"/>
                  </a:lnTo>
                  <a:lnTo>
                    <a:pt x="256" y="147"/>
                  </a:lnTo>
                  <a:lnTo>
                    <a:pt x="256" y="149"/>
                  </a:lnTo>
                  <a:lnTo>
                    <a:pt x="257" y="149"/>
                  </a:lnTo>
                  <a:lnTo>
                    <a:pt x="259" y="149"/>
                  </a:lnTo>
                  <a:lnTo>
                    <a:pt x="260" y="149"/>
                  </a:lnTo>
                  <a:lnTo>
                    <a:pt x="260" y="148"/>
                  </a:lnTo>
                  <a:lnTo>
                    <a:pt x="262" y="148"/>
                  </a:lnTo>
                  <a:lnTo>
                    <a:pt x="263" y="148"/>
                  </a:lnTo>
                  <a:lnTo>
                    <a:pt x="265" y="148"/>
                  </a:lnTo>
                  <a:lnTo>
                    <a:pt x="265" y="149"/>
                  </a:lnTo>
                  <a:lnTo>
                    <a:pt x="266" y="149"/>
                  </a:lnTo>
                  <a:lnTo>
                    <a:pt x="267" y="149"/>
                  </a:lnTo>
                  <a:lnTo>
                    <a:pt x="267" y="148"/>
                  </a:lnTo>
                  <a:lnTo>
                    <a:pt x="266" y="148"/>
                  </a:lnTo>
                  <a:lnTo>
                    <a:pt x="266" y="147"/>
                  </a:lnTo>
                  <a:lnTo>
                    <a:pt x="265" y="147"/>
                  </a:lnTo>
                  <a:lnTo>
                    <a:pt x="265" y="146"/>
                  </a:lnTo>
                  <a:lnTo>
                    <a:pt x="265" y="143"/>
                  </a:lnTo>
                  <a:lnTo>
                    <a:pt x="263" y="142"/>
                  </a:lnTo>
                  <a:lnTo>
                    <a:pt x="263" y="141"/>
                  </a:lnTo>
                  <a:lnTo>
                    <a:pt x="263" y="140"/>
                  </a:lnTo>
                  <a:lnTo>
                    <a:pt x="263" y="138"/>
                  </a:lnTo>
                  <a:lnTo>
                    <a:pt x="263" y="137"/>
                  </a:lnTo>
                  <a:lnTo>
                    <a:pt x="265" y="136"/>
                  </a:lnTo>
                  <a:lnTo>
                    <a:pt x="265" y="135"/>
                  </a:lnTo>
                  <a:lnTo>
                    <a:pt x="267" y="135"/>
                  </a:lnTo>
                  <a:lnTo>
                    <a:pt x="267" y="136"/>
                  </a:lnTo>
                  <a:lnTo>
                    <a:pt x="267" y="137"/>
                  </a:lnTo>
                  <a:lnTo>
                    <a:pt x="267" y="138"/>
                  </a:lnTo>
                  <a:lnTo>
                    <a:pt x="268" y="138"/>
                  </a:lnTo>
                  <a:lnTo>
                    <a:pt x="268" y="140"/>
                  </a:lnTo>
                  <a:lnTo>
                    <a:pt x="269" y="138"/>
                  </a:lnTo>
                  <a:lnTo>
                    <a:pt x="271" y="138"/>
                  </a:lnTo>
                  <a:lnTo>
                    <a:pt x="272" y="137"/>
                  </a:lnTo>
                  <a:lnTo>
                    <a:pt x="272" y="138"/>
                  </a:lnTo>
                  <a:lnTo>
                    <a:pt x="273" y="141"/>
                  </a:lnTo>
                  <a:lnTo>
                    <a:pt x="273" y="142"/>
                  </a:lnTo>
                  <a:lnTo>
                    <a:pt x="274" y="142"/>
                  </a:lnTo>
                  <a:lnTo>
                    <a:pt x="275" y="143"/>
                  </a:lnTo>
                  <a:lnTo>
                    <a:pt x="277" y="143"/>
                  </a:lnTo>
                  <a:lnTo>
                    <a:pt x="278" y="143"/>
                  </a:lnTo>
                  <a:lnTo>
                    <a:pt x="279" y="143"/>
                  </a:lnTo>
                  <a:lnTo>
                    <a:pt x="279" y="144"/>
                  </a:lnTo>
                  <a:lnTo>
                    <a:pt x="280" y="144"/>
                  </a:lnTo>
                  <a:lnTo>
                    <a:pt x="280" y="146"/>
                  </a:lnTo>
                  <a:lnTo>
                    <a:pt x="281" y="146"/>
                  </a:lnTo>
                  <a:lnTo>
                    <a:pt x="280" y="148"/>
                  </a:lnTo>
                  <a:lnTo>
                    <a:pt x="280" y="149"/>
                  </a:lnTo>
                  <a:lnTo>
                    <a:pt x="279" y="149"/>
                  </a:lnTo>
                  <a:lnTo>
                    <a:pt x="279" y="150"/>
                  </a:lnTo>
                  <a:lnTo>
                    <a:pt x="280" y="153"/>
                  </a:lnTo>
                  <a:lnTo>
                    <a:pt x="279" y="154"/>
                  </a:lnTo>
                  <a:lnTo>
                    <a:pt x="278" y="154"/>
                  </a:lnTo>
                  <a:lnTo>
                    <a:pt x="278" y="155"/>
                  </a:lnTo>
                  <a:lnTo>
                    <a:pt x="279" y="156"/>
                  </a:lnTo>
                  <a:lnTo>
                    <a:pt x="280" y="158"/>
                  </a:lnTo>
                  <a:lnTo>
                    <a:pt x="280" y="159"/>
                  </a:lnTo>
                  <a:lnTo>
                    <a:pt x="281" y="159"/>
                  </a:lnTo>
                  <a:lnTo>
                    <a:pt x="281" y="160"/>
                  </a:lnTo>
                  <a:lnTo>
                    <a:pt x="283" y="161"/>
                  </a:lnTo>
                  <a:lnTo>
                    <a:pt x="284" y="161"/>
                  </a:lnTo>
                  <a:lnTo>
                    <a:pt x="285" y="161"/>
                  </a:lnTo>
                  <a:lnTo>
                    <a:pt x="286" y="161"/>
                  </a:lnTo>
                  <a:lnTo>
                    <a:pt x="286" y="160"/>
                  </a:lnTo>
                  <a:lnTo>
                    <a:pt x="286" y="159"/>
                  </a:lnTo>
                  <a:lnTo>
                    <a:pt x="285" y="158"/>
                  </a:lnTo>
                  <a:lnTo>
                    <a:pt x="285" y="156"/>
                  </a:lnTo>
                  <a:lnTo>
                    <a:pt x="285" y="155"/>
                  </a:lnTo>
                  <a:lnTo>
                    <a:pt x="286" y="155"/>
                  </a:lnTo>
                  <a:lnTo>
                    <a:pt x="286" y="154"/>
                  </a:lnTo>
                  <a:lnTo>
                    <a:pt x="287" y="154"/>
                  </a:lnTo>
                  <a:lnTo>
                    <a:pt x="287" y="153"/>
                  </a:lnTo>
                  <a:lnTo>
                    <a:pt x="286" y="153"/>
                  </a:lnTo>
                  <a:lnTo>
                    <a:pt x="286" y="152"/>
                  </a:lnTo>
                  <a:lnTo>
                    <a:pt x="286" y="150"/>
                  </a:lnTo>
                  <a:lnTo>
                    <a:pt x="285" y="148"/>
                  </a:lnTo>
                  <a:lnTo>
                    <a:pt x="284" y="147"/>
                  </a:lnTo>
                  <a:lnTo>
                    <a:pt x="284" y="146"/>
                  </a:lnTo>
                  <a:lnTo>
                    <a:pt x="285" y="146"/>
                  </a:lnTo>
                  <a:lnTo>
                    <a:pt x="285" y="144"/>
                  </a:lnTo>
                  <a:lnTo>
                    <a:pt x="286" y="144"/>
                  </a:lnTo>
                  <a:lnTo>
                    <a:pt x="287" y="144"/>
                  </a:lnTo>
                  <a:lnTo>
                    <a:pt x="289" y="146"/>
                  </a:lnTo>
                  <a:lnTo>
                    <a:pt x="290" y="146"/>
                  </a:lnTo>
                  <a:lnTo>
                    <a:pt x="291" y="144"/>
                  </a:lnTo>
                  <a:lnTo>
                    <a:pt x="292" y="143"/>
                  </a:lnTo>
                  <a:lnTo>
                    <a:pt x="292" y="141"/>
                  </a:lnTo>
                  <a:lnTo>
                    <a:pt x="291" y="140"/>
                  </a:lnTo>
                  <a:lnTo>
                    <a:pt x="292" y="140"/>
                  </a:lnTo>
                  <a:lnTo>
                    <a:pt x="292" y="138"/>
                  </a:lnTo>
                  <a:lnTo>
                    <a:pt x="295" y="138"/>
                  </a:lnTo>
                  <a:lnTo>
                    <a:pt x="296" y="140"/>
                  </a:lnTo>
                  <a:lnTo>
                    <a:pt x="298" y="140"/>
                  </a:lnTo>
                  <a:lnTo>
                    <a:pt x="299" y="140"/>
                  </a:lnTo>
                  <a:lnTo>
                    <a:pt x="298" y="140"/>
                  </a:lnTo>
                  <a:lnTo>
                    <a:pt x="299" y="140"/>
                  </a:lnTo>
                  <a:lnTo>
                    <a:pt x="299" y="138"/>
                  </a:lnTo>
                  <a:lnTo>
                    <a:pt x="301" y="138"/>
                  </a:lnTo>
                  <a:lnTo>
                    <a:pt x="302" y="138"/>
                  </a:lnTo>
                  <a:lnTo>
                    <a:pt x="303" y="138"/>
                  </a:lnTo>
                  <a:lnTo>
                    <a:pt x="304" y="140"/>
                  </a:lnTo>
                  <a:lnTo>
                    <a:pt x="304" y="141"/>
                  </a:lnTo>
                  <a:lnTo>
                    <a:pt x="304" y="143"/>
                  </a:lnTo>
                  <a:lnTo>
                    <a:pt x="304" y="144"/>
                  </a:lnTo>
                  <a:lnTo>
                    <a:pt x="304" y="146"/>
                  </a:lnTo>
                  <a:lnTo>
                    <a:pt x="304" y="144"/>
                  </a:lnTo>
                  <a:lnTo>
                    <a:pt x="305" y="143"/>
                  </a:lnTo>
                  <a:lnTo>
                    <a:pt x="307" y="143"/>
                  </a:lnTo>
                  <a:lnTo>
                    <a:pt x="307" y="142"/>
                  </a:lnTo>
                  <a:lnTo>
                    <a:pt x="308" y="142"/>
                  </a:lnTo>
                  <a:lnTo>
                    <a:pt x="308" y="144"/>
                  </a:lnTo>
                  <a:lnTo>
                    <a:pt x="309" y="144"/>
                  </a:lnTo>
                  <a:lnTo>
                    <a:pt x="309" y="146"/>
                  </a:lnTo>
                  <a:lnTo>
                    <a:pt x="310" y="146"/>
                  </a:lnTo>
                  <a:lnTo>
                    <a:pt x="310" y="147"/>
                  </a:lnTo>
                  <a:lnTo>
                    <a:pt x="311" y="147"/>
                  </a:lnTo>
                  <a:lnTo>
                    <a:pt x="311" y="148"/>
                  </a:lnTo>
                  <a:lnTo>
                    <a:pt x="313" y="149"/>
                  </a:lnTo>
                  <a:lnTo>
                    <a:pt x="314" y="149"/>
                  </a:lnTo>
                  <a:lnTo>
                    <a:pt x="314" y="150"/>
                  </a:lnTo>
                  <a:lnTo>
                    <a:pt x="315" y="150"/>
                  </a:lnTo>
                  <a:lnTo>
                    <a:pt x="315" y="152"/>
                  </a:lnTo>
                  <a:lnTo>
                    <a:pt x="315" y="153"/>
                  </a:lnTo>
                  <a:lnTo>
                    <a:pt x="315" y="154"/>
                  </a:lnTo>
                  <a:lnTo>
                    <a:pt x="314" y="154"/>
                  </a:lnTo>
                  <a:lnTo>
                    <a:pt x="314" y="155"/>
                  </a:lnTo>
                  <a:lnTo>
                    <a:pt x="313" y="156"/>
                  </a:lnTo>
                  <a:lnTo>
                    <a:pt x="311" y="156"/>
                  </a:lnTo>
                  <a:lnTo>
                    <a:pt x="311" y="158"/>
                  </a:lnTo>
                  <a:lnTo>
                    <a:pt x="311" y="159"/>
                  </a:lnTo>
                  <a:lnTo>
                    <a:pt x="311" y="161"/>
                  </a:lnTo>
                  <a:lnTo>
                    <a:pt x="310" y="161"/>
                  </a:lnTo>
                  <a:lnTo>
                    <a:pt x="311" y="162"/>
                  </a:lnTo>
                  <a:lnTo>
                    <a:pt x="311" y="164"/>
                  </a:lnTo>
                  <a:lnTo>
                    <a:pt x="311" y="165"/>
                  </a:lnTo>
                  <a:lnTo>
                    <a:pt x="311" y="166"/>
                  </a:lnTo>
                  <a:lnTo>
                    <a:pt x="313" y="166"/>
                  </a:lnTo>
                  <a:lnTo>
                    <a:pt x="313" y="167"/>
                  </a:lnTo>
                  <a:lnTo>
                    <a:pt x="314" y="167"/>
                  </a:lnTo>
                  <a:lnTo>
                    <a:pt x="315" y="169"/>
                  </a:lnTo>
                  <a:lnTo>
                    <a:pt x="315" y="167"/>
                  </a:lnTo>
                  <a:lnTo>
                    <a:pt x="314" y="166"/>
                  </a:lnTo>
                  <a:lnTo>
                    <a:pt x="314" y="165"/>
                  </a:lnTo>
                  <a:lnTo>
                    <a:pt x="314" y="164"/>
                  </a:lnTo>
                  <a:lnTo>
                    <a:pt x="316" y="164"/>
                  </a:lnTo>
                  <a:lnTo>
                    <a:pt x="319" y="162"/>
                  </a:lnTo>
                  <a:lnTo>
                    <a:pt x="319" y="161"/>
                  </a:lnTo>
                  <a:lnTo>
                    <a:pt x="320" y="161"/>
                  </a:lnTo>
                  <a:lnTo>
                    <a:pt x="321" y="160"/>
                  </a:lnTo>
                  <a:lnTo>
                    <a:pt x="322" y="160"/>
                  </a:lnTo>
                  <a:lnTo>
                    <a:pt x="322" y="159"/>
                  </a:lnTo>
                  <a:lnTo>
                    <a:pt x="324" y="159"/>
                  </a:lnTo>
                  <a:lnTo>
                    <a:pt x="324" y="158"/>
                  </a:lnTo>
                  <a:lnTo>
                    <a:pt x="324" y="156"/>
                  </a:lnTo>
                  <a:lnTo>
                    <a:pt x="324" y="155"/>
                  </a:lnTo>
                  <a:lnTo>
                    <a:pt x="326" y="155"/>
                  </a:lnTo>
                  <a:lnTo>
                    <a:pt x="328" y="156"/>
                  </a:lnTo>
                  <a:lnTo>
                    <a:pt x="330" y="156"/>
                  </a:lnTo>
                  <a:lnTo>
                    <a:pt x="330" y="158"/>
                  </a:lnTo>
                  <a:lnTo>
                    <a:pt x="331" y="159"/>
                  </a:lnTo>
                  <a:lnTo>
                    <a:pt x="331" y="160"/>
                  </a:lnTo>
                  <a:lnTo>
                    <a:pt x="330" y="160"/>
                  </a:lnTo>
                  <a:lnTo>
                    <a:pt x="331" y="161"/>
                  </a:lnTo>
                  <a:lnTo>
                    <a:pt x="332" y="161"/>
                  </a:lnTo>
                  <a:lnTo>
                    <a:pt x="332" y="160"/>
                  </a:lnTo>
                  <a:lnTo>
                    <a:pt x="332" y="159"/>
                  </a:lnTo>
                  <a:lnTo>
                    <a:pt x="332" y="158"/>
                  </a:lnTo>
                  <a:lnTo>
                    <a:pt x="333" y="158"/>
                  </a:lnTo>
                  <a:lnTo>
                    <a:pt x="334" y="158"/>
                  </a:lnTo>
                  <a:lnTo>
                    <a:pt x="334" y="159"/>
                  </a:lnTo>
                  <a:lnTo>
                    <a:pt x="336" y="160"/>
                  </a:lnTo>
                  <a:lnTo>
                    <a:pt x="336" y="161"/>
                  </a:lnTo>
                  <a:lnTo>
                    <a:pt x="337" y="161"/>
                  </a:lnTo>
                  <a:lnTo>
                    <a:pt x="336" y="162"/>
                  </a:lnTo>
                  <a:lnTo>
                    <a:pt x="336" y="164"/>
                  </a:lnTo>
                  <a:lnTo>
                    <a:pt x="334" y="164"/>
                  </a:lnTo>
                  <a:lnTo>
                    <a:pt x="334" y="165"/>
                  </a:lnTo>
                  <a:lnTo>
                    <a:pt x="336" y="166"/>
                  </a:lnTo>
                  <a:lnTo>
                    <a:pt x="336" y="167"/>
                  </a:lnTo>
                  <a:lnTo>
                    <a:pt x="334" y="167"/>
                  </a:lnTo>
                  <a:lnTo>
                    <a:pt x="334" y="169"/>
                  </a:lnTo>
                  <a:lnTo>
                    <a:pt x="334" y="170"/>
                  </a:lnTo>
                  <a:lnTo>
                    <a:pt x="334" y="171"/>
                  </a:lnTo>
                  <a:lnTo>
                    <a:pt x="336" y="172"/>
                  </a:lnTo>
                  <a:lnTo>
                    <a:pt x="336" y="173"/>
                  </a:lnTo>
                  <a:lnTo>
                    <a:pt x="337" y="173"/>
                  </a:lnTo>
                  <a:lnTo>
                    <a:pt x="338" y="172"/>
                  </a:lnTo>
                  <a:lnTo>
                    <a:pt x="337" y="172"/>
                  </a:lnTo>
                  <a:lnTo>
                    <a:pt x="336" y="172"/>
                  </a:lnTo>
                  <a:lnTo>
                    <a:pt x="336" y="171"/>
                  </a:lnTo>
                  <a:lnTo>
                    <a:pt x="336" y="169"/>
                  </a:lnTo>
                  <a:lnTo>
                    <a:pt x="337" y="167"/>
                  </a:lnTo>
                  <a:lnTo>
                    <a:pt x="338" y="169"/>
                  </a:lnTo>
                  <a:lnTo>
                    <a:pt x="339" y="169"/>
                  </a:lnTo>
                  <a:lnTo>
                    <a:pt x="339" y="170"/>
                  </a:lnTo>
                  <a:lnTo>
                    <a:pt x="339" y="172"/>
                  </a:lnTo>
                  <a:lnTo>
                    <a:pt x="339" y="173"/>
                  </a:lnTo>
                  <a:lnTo>
                    <a:pt x="340" y="173"/>
                  </a:lnTo>
                  <a:lnTo>
                    <a:pt x="340" y="175"/>
                  </a:lnTo>
                  <a:lnTo>
                    <a:pt x="342" y="175"/>
                  </a:lnTo>
                  <a:lnTo>
                    <a:pt x="343" y="176"/>
                  </a:lnTo>
                  <a:lnTo>
                    <a:pt x="344" y="176"/>
                  </a:lnTo>
                  <a:lnTo>
                    <a:pt x="343" y="176"/>
                  </a:lnTo>
                  <a:lnTo>
                    <a:pt x="343" y="175"/>
                  </a:lnTo>
                  <a:lnTo>
                    <a:pt x="342" y="175"/>
                  </a:lnTo>
                  <a:lnTo>
                    <a:pt x="342" y="173"/>
                  </a:lnTo>
                  <a:lnTo>
                    <a:pt x="342" y="171"/>
                  </a:lnTo>
                  <a:lnTo>
                    <a:pt x="343" y="171"/>
                  </a:lnTo>
                  <a:lnTo>
                    <a:pt x="343" y="170"/>
                  </a:lnTo>
                  <a:lnTo>
                    <a:pt x="343" y="167"/>
                  </a:lnTo>
                  <a:lnTo>
                    <a:pt x="344" y="167"/>
                  </a:lnTo>
                  <a:lnTo>
                    <a:pt x="345" y="169"/>
                  </a:lnTo>
                  <a:lnTo>
                    <a:pt x="345" y="170"/>
                  </a:lnTo>
                  <a:lnTo>
                    <a:pt x="345" y="171"/>
                  </a:lnTo>
                  <a:lnTo>
                    <a:pt x="346" y="172"/>
                  </a:lnTo>
                  <a:lnTo>
                    <a:pt x="348" y="172"/>
                  </a:lnTo>
                  <a:lnTo>
                    <a:pt x="348" y="173"/>
                  </a:lnTo>
                  <a:lnTo>
                    <a:pt x="349" y="173"/>
                  </a:lnTo>
                  <a:lnTo>
                    <a:pt x="349" y="172"/>
                  </a:lnTo>
                  <a:lnTo>
                    <a:pt x="349" y="171"/>
                  </a:lnTo>
                  <a:lnTo>
                    <a:pt x="350" y="170"/>
                  </a:lnTo>
                  <a:lnTo>
                    <a:pt x="350" y="171"/>
                  </a:lnTo>
                  <a:lnTo>
                    <a:pt x="351" y="171"/>
                  </a:lnTo>
                  <a:lnTo>
                    <a:pt x="351" y="172"/>
                  </a:lnTo>
                  <a:lnTo>
                    <a:pt x="351" y="173"/>
                  </a:lnTo>
                  <a:lnTo>
                    <a:pt x="352" y="173"/>
                  </a:lnTo>
                  <a:lnTo>
                    <a:pt x="352" y="175"/>
                  </a:lnTo>
                  <a:lnTo>
                    <a:pt x="352" y="176"/>
                  </a:lnTo>
                  <a:lnTo>
                    <a:pt x="351" y="176"/>
                  </a:lnTo>
                  <a:lnTo>
                    <a:pt x="351" y="177"/>
                  </a:lnTo>
                  <a:lnTo>
                    <a:pt x="350" y="177"/>
                  </a:lnTo>
                  <a:lnTo>
                    <a:pt x="349" y="177"/>
                  </a:lnTo>
                  <a:lnTo>
                    <a:pt x="349" y="178"/>
                  </a:lnTo>
                  <a:lnTo>
                    <a:pt x="348" y="178"/>
                  </a:lnTo>
                  <a:lnTo>
                    <a:pt x="346" y="177"/>
                  </a:lnTo>
                  <a:lnTo>
                    <a:pt x="346" y="176"/>
                  </a:lnTo>
                  <a:lnTo>
                    <a:pt x="345" y="176"/>
                  </a:lnTo>
                  <a:lnTo>
                    <a:pt x="345" y="177"/>
                  </a:lnTo>
                  <a:lnTo>
                    <a:pt x="344" y="177"/>
                  </a:lnTo>
                  <a:lnTo>
                    <a:pt x="344" y="178"/>
                  </a:lnTo>
                  <a:lnTo>
                    <a:pt x="344" y="179"/>
                  </a:lnTo>
                  <a:lnTo>
                    <a:pt x="345" y="179"/>
                  </a:lnTo>
                  <a:lnTo>
                    <a:pt x="346" y="179"/>
                  </a:lnTo>
                  <a:lnTo>
                    <a:pt x="348" y="178"/>
                  </a:lnTo>
                  <a:lnTo>
                    <a:pt x="348" y="179"/>
                  </a:lnTo>
                  <a:lnTo>
                    <a:pt x="349" y="179"/>
                  </a:lnTo>
                  <a:lnTo>
                    <a:pt x="349" y="181"/>
                  </a:lnTo>
                  <a:lnTo>
                    <a:pt x="350" y="181"/>
                  </a:lnTo>
                  <a:lnTo>
                    <a:pt x="351" y="181"/>
                  </a:lnTo>
                  <a:lnTo>
                    <a:pt x="352" y="181"/>
                  </a:lnTo>
                  <a:lnTo>
                    <a:pt x="354" y="179"/>
                  </a:lnTo>
                  <a:lnTo>
                    <a:pt x="355" y="179"/>
                  </a:lnTo>
                  <a:lnTo>
                    <a:pt x="354" y="178"/>
                  </a:lnTo>
                  <a:lnTo>
                    <a:pt x="355" y="178"/>
                  </a:lnTo>
                  <a:lnTo>
                    <a:pt x="355" y="177"/>
                  </a:lnTo>
                  <a:lnTo>
                    <a:pt x="356" y="177"/>
                  </a:lnTo>
                  <a:lnTo>
                    <a:pt x="356" y="176"/>
                  </a:lnTo>
                  <a:lnTo>
                    <a:pt x="356" y="175"/>
                  </a:lnTo>
                  <a:lnTo>
                    <a:pt x="355" y="173"/>
                  </a:lnTo>
                  <a:lnTo>
                    <a:pt x="355" y="172"/>
                  </a:lnTo>
                  <a:lnTo>
                    <a:pt x="355" y="171"/>
                  </a:lnTo>
                  <a:lnTo>
                    <a:pt x="354" y="171"/>
                  </a:lnTo>
                  <a:lnTo>
                    <a:pt x="354" y="170"/>
                  </a:lnTo>
                  <a:lnTo>
                    <a:pt x="352" y="170"/>
                  </a:lnTo>
                  <a:lnTo>
                    <a:pt x="352" y="167"/>
                  </a:lnTo>
                  <a:lnTo>
                    <a:pt x="352" y="166"/>
                  </a:lnTo>
                  <a:lnTo>
                    <a:pt x="354" y="165"/>
                  </a:lnTo>
                  <a:lnTo>
                    <a:pt x="352" y="165"/>
                  </a:lnTo>
                  <a:lnTo>
                    <a:pt x="351" y="165"/>
                  </a:lnTo>
                  <a:lnTo>
                    <a:pt x="351" y="164"/>
                  </a:lnTo>
                  <a:lnTo>
                    <a:pt x="351" y="162"/>
                  </a:lnTo>
                  <a:lnTo>
                    <a:pt x="352" y="162"/>
                  </a:lnTo>
                  <a:lnTo>
                    <a:pt x="352" y="164"/>
                  </a:lnTo>
                  <a:lnTo>
                    <a:pt x="354" y="164"/>
                  </a:lnTo>
                  <a:lnTo>
                    <a:pt x="355" y="164"/>
                  </a:lnTo>
                  <a:lnTo>
                    <a:pt x="356" y="164"/>
                  </a:lnTo>
                  <a:lnTo>
                    <a:pt x="357" y="164"/>
                  </a:lnTo>
                  <a:lnTo>
                    <a:pt x="357" y="162"/>
                  </a:lnTo>
                  <a:lnTo>
                    <a:pt x="360" y="161"/>
                  </a:lnTo>
                  <a:lnTo>
                    <a:pt x="360" y="162"/>
                  </a:lnTo>
                  <a:lnTo>
                    <a:pt x="360" y="164"/>
                  </a:lnTo>
                  <a:lnTo>
                    <a:pt x="361" y="164"/>
                  </a:lnTo>
                  <a:lnTo>
                    <a:pt x="361" y="162"/>
                  </a:lnTo>
                  <a:lnTo>
                    <a:pt x="360" y="161"/>
                  </a:lnTo>
                  <a:lnTo>
                    <a:pt x="362" y="161"/>
                  </a:lnTo>
                  <a:lnTo>
                    <a:pt x="361" y="160"/>
                  </a:lnTo>
                  <a:lnTo>
                    <a:pt x="363" y="160"/>
                  </a:lnTo>
                  <a:lnTo>
                    <a:pt x="362" y="161"/>
                  </a:lnTo>
                  <a:lnTo>
                    <a:pt x="363" y="162"/>
                  </a:lnTo>
                  <a:lnTo>
                    <a:pt x="364" y="162"/>
                  </a:lnTo>
                  <a:lnTo>
                    <a:pt x="363" y="164"/>
                  </a:lnTo>
                  <a:lnTo>
                    <a:pt x="363" y="165"/>
                  </a:lnTo>
                  <a:lnTo>
                    <a:pt x="362" y="166"/>
                  </a:lnTo>
                  <a:lnTo>
                    <a:pt x="361" y="166"/>
                  </a:lnTo>
                  <a:lnTo>
                    <a:pt x="362" y="166"/>
                  </a:lnTo>
                  <a:lnTo>
                    <a:pt x="362" y="167"/>
                  </a:lnTo>
                  <a:lnTo>
                    <a:pt x="361" y="167"/>
                  </a:lnTo>
                  <a:lnTo>
                    <a:pt x="361" y="169"/>
                  </a:lnTo>
                  <a:lnTo>
                    <a:pt x="361" y="170"/>
                  </a:lnTo>
                  <a:lnTo>
                    <a:pt x="361" y="171"/>
                  </a:lnTo>
                  <a:lnTo>
                    <a:pt x="360" y="171"/>
                  </a:lnTo>
                  <a:lnTo>
                    <a:pt x="360" y="172"/>
                  </a:lnTo>
                  <a:lnTo>
                    <a:pt x="358" y="172"/>
                  </a:lnTo>
                  <a:lnTo>
                    <a:pt x="358" y="173"/>
                  </a:lnTo>
                  <a:lnTo>
                    <a:pt x="357" y="173"/>
                  </a:lnTo>
                  <a:lnTo>
                    <a:pt x="357" y="172"/>
                  </a:lnTo>
                  <a:lnTo>
                    <a:pt x="356" y="173"/>
                  </a:lnTo>
                  <a:lnTo>
                    <a:pt x="357" y="173"/>
                  </a:lnTo>
                  <a:lnTo>
                    <a:pt x="357" y="175"/>
                  </a:lnTo>
                  <a:lnTo>
                    <a:pt x="357" y="178"/>
                  </a:lnTo>
                  <a:lnTo>
                    <a:pt x="357" y="179"/>
                  </a:lnTo>
                  <a:lnTo>
                    <a:pt x="358" y="181"/>
                  </a:lnTo>
                  <a:lnTo>
                    <a:pt x="358" y="182"/>
                  </a:lnTo>
                  <a:lnTo>
                    <a:pt x="360" y="182"/>
                  </a:lnTo>
                  <a:lnTo>
                    <a:pt x="360" y="181"/>
                  </a:lnTo>
                  <a:lnTo>
                    <a:pt x="361" y="181"/>
                  </a:lnTo>
                  <a:lnTo>
                    <a:pt x="363" y="181"/>
                  </a:lnTo>
                  <a:lnTo>
                    <a:pt x="366" y="181"/>
                  </a:lnTo>
                  <a:lnTo>
                    <a:pt x="366" y="179"/>
                  </a:lnTo>
                  <a:lnTo>
                    <a:pt x="367" y="179"/>
                  </a:lnTo>
                  <a:lnTo>
                    <a:pt x="368" y="179"/>
                  </a:lnTo>
                  <a:lnTo>
                    <a:pt x="369" y="181"/>
                  </a:lnTo>
                  <a:lnTo>
                    <a:pt x="370" y="179"/>
                  </a:lnTo>
                  <a:lnTo>
                    <a:pt x="372" y="179"/>
                  </a:lnTo>
                  <a:lnTo>
                    <a:pt x="373" y="179"/>
                  </a:lnTo>
                  <a:lnTo>
                    <a:pt x="373" y="181"/>
                  </a:lnTo>
                  <a:lnTo>
                    <a:pt x="374" y="181"/>
                  </a:lnTo>
                  <a:lnTo>
                    <a:pt x="376" y="181"/>
                  </a:lnTo>
                  <a:lnTo>
                    <a:pt x="376" y="182"/>
                  </a:lnTo>
                  <a:lnTo>
                    <a:pt x="378" y="181"/>
                  </a:lnTo>
                  <a:lnTo>
                    <a:pt x="378" y="182"/>
                  </a:lnTo>
                  <a:lnTo>
                    <a:pt x="379" y="182"/>
                  </a:lnTo>
                  <a:lnTo>
                    <a:pt x="380" y="182"/>
                  </a:lnTo>
                  <a:lnTo>
                    <a:pt x="381" y="182"/>
                  </a:lnTo>
                  <a:lnTo>
                    <a:pt x="381" y="181"/>
                  </a:lnTo>
                  <a:lnTo>
                    <a:pt x="383" y="181"/>
                  </a:lnTo>
                  <a:lnTo>
                    <a:pt x="383" y="182"/>
                  </a:lnTo>
                  <a:lnTo>
                    <a:pt x="384" y="182"/>
                  </a:lnTo>
                  <a:lnTo>
                    <a:pt x="384" y="183"/>
                  </a:lnTo>
                  <a:lnTo>
                    <a:pt x="385" y="183"/>
                  </a:lnTo>
                  <a:lnTo>
                    <a:pt x="385" y="182"/>
                  </a:lnTo>
                  <a:lnTo>
                    <a:pt x="384" y="181"/>
                  </a:lnTo>
                  <a:lnTo>
                    <a:pt x="384" y="179"/>
                  </a:lnTo>
                  <a:lnTo>
                    <a:pt x="384" y="181"/>
                  </a:lnTo>
                  <a:lnTo>
                    <a:pt x="383" y="179"/>
                  </a:lnTo>
                  <a:lnTo>
                    <a:pt x="384" y="179"/>
                  </a:lnTo>
                  <a:lnTo>
                    <a:pt x="384" y="178"/>
                  </a:lnTo>
                  <a:lnTo>
                    <a:pt x="386" y="178"/>
                  </a:lnTo>
                  <a:lnTo>
                    <a:pt x="386" y="179"/>
                  </a:lnTo>
                  <a:lnTo>
                    <a:pt x="386" y="181"/>
                  </a:lnTo>
                  <a:lnTo>
                    <a:pt x="385" y="181"/>
                  </a:lnTo>
                  <a:lnTo>
                    <a:pt x="386" y="182"/>
                  </a:lnTo>
                  <a:lnTo>
                    <a:pt x="385" y="182"/>
                  </a:lnTo>
                  <a:lnTo>
                    <a:pt x="386" y="182"/>
                  </a:lnTo>
                  <a:lnTo>
                    <a:pt x="385" y="183"/>
                  </a:lnTo>
                  <a:lnTo>
                    <a:pt x="385" y="184"/>
                  </a:lnTo>
                  <a:lnTo>
                    <a:pt x="385" y="185"/>
                  </a:lnTo>
                  <a:lnTo>
                    <a:pt x="384" y="185"/>
                  </a:lnTo>
                  <a:lnTo>
                    <a:pt x="383" y="187"/>
                  </a:lnTo>
                  <a:lnTo>
                    <a:pt x="383" y="188"/>
                  </a:lnTo>
                  <a:lnTo>
                    <a:pt x="383" y="189"/>
                  </a:lnTo>
                  <a:lnTo>
                    <a:pt x="381" y="188"/>
                  </a:lnTo>
                  <a:lnTo>
                    <a:pt x="380" y="189"/>
                  </a:lnTo>
                  <a:lnTo>
                    <a:pt x="381" y="189"/>
                  </a:lnTo>
                  <a:lnTo>
                    <a:pt x="381" y="191"/>
                  </a:lnTo>
                  <a:lnTo>
                    <a:pt x="381" y="194"/>
                  </a:lnTo>
                  <a:lnTo>
                    <a:pt x="381" y="195"/>
                  </a:lnTo>
                  <a:lnTo>
                    <a:pt x="380" y="195"/>
                  </a:lnTo>
                  <a:lnTo>
                    <a:pt x="380" y="194"/>
                  </a:lnTo>
                  <a:lnTo>
                    <a:pt x="379" y="195"/>
                  </a:lnTo>
                  <a:lnTo>
                    <a:pt x="380" y="195"/>
                  </a:lnTo>
                  <a:lnTo>
                    <a:pt x="380" y="196"/>
                  </a:lnTo>
                  <a:lnTo>
                    <a:pt x="379" y="197"/>
                  </a:lnTo>
                  <a:lnTo>
                    <a:pt x="380" y="197"/>
                  </a:lnTo>
                  <a:lnTo>
                    <a:pt x="381" y="197"/>
                  </a:lnTo>
                  <a:lnTo>
                    <a:pt x="381" y="196"/>
                  </a:lnTo>
                  <a:lnTo>
                    <a:pt x="380" y="195"/>
                  </a:lnTo>
                  <a:lnTo>
                    <a:pt x="381" y="194"/>
                  </a:lnTo>
                  <a:lnTo>
                    <a:pt x="383" y="193"/>
                  </a:lnTo>
                  <a:lnTo>
                    <a:pt x="383" y="191"/>
                  </a:lnTo>
                  <a:lnTo>
                    <a:pt x="384" y="191"/>
                  </a:lnTo>
                  <a:lnTo>
                    <a:pt x="384" y="193"/>
                  </a:lnTo>
                  <a:lnTo>
                    <a:pt x="385" y="195"/>
                  </a:lnTo>
                  <a:lnTo>
                    <a:pt x="385" y="194"/>
                  </a:lnTo>
                  <a:lnTo>
                    <a:pt x="385" y="193"/>
                  </a:lnTo>
                  <a:lnTo>
                    <a:pt x="386" y="193"/>
                  </a:lnTo>
                  <a:lnTo>
                    <a:pt x="386" y="191"/>
                  </a:lnTo>
                  <a:lnTo>
                    <a:pt x="387" y="191"/>
                  </a:lnTo>
                  <a:lnTo>
                    <a:pt x="386" y="191"/>
                  </a:lnTo>
                  <a:lnTo>
                    <a:pt x="387" y="193"/>
                  </a:lnTo>
                  <a:lnTo>
                    <a:pt x="387" y="194"/>
                  </a:lnTo>
                  <a:lnTo>
                    <a:pt x="386" y="194"/>
                  </a:lnTo>
                  <a:lnTo>
                    <a:pt x="386" y="195"/>
                  </a:lnTo>
                  <a:lnTo>
                    <a:pt x="385" y="195"/>
                  </a:lnTo>
                  <a:lnTo>
                    <a:pt x="385" y="196"/>
                  </a:lnTo>
                  <a:lnTo>
                    <a:pt x="386" y="196"/>
                  </a:lnTo>
                  <a:lnTo>
                    <a:pt x="386" y="197"/>
                  </a:lnTo>
                  <a:lnTo>
                    <a:pt x="387" y="197"/>
                  </a:lnTo>
                  <a:lnTo>
                    <a:pt x="389" y="197"/>
                  </a:lnTo>
                  <a:lnTo>
                    <a:pt x="390" y="197"/>
                  </a:lnTo>
                  <a:lnTo>
                    <a:pt x="390" y="196"/>
                  </a:lnTo>
                  <a:lnTo>
                    <a:pt x="390" y="195"/>
                  </a:lnTo>
                  <a:lnTo>
                    <a:pt x="391" y="195"/>
                  </a:lnTo>
                  <a:lnTo>
                    <a:pt x="390" y="194"/>
                  </a:lnTo>
                  <a:lnTo>
                    <a:pt x="391" y="194"/>
                  </a:lnTo>
                  <a:lnTo>
                    <a:pt x="392" y="193"/>
                  </a:lnTo>
                  <a:lnTo>
                    <a:pt x="393" y="193"/>
                  </a:lnTo>
                  <a:lnTo>
                    <a:pt x="393" y="194"/>
                  </a:lnTo>
                  <a:lnTo>
                    <a:pt x="396" y="194"/>
                  </a:lnTo>
                  <a:lnTo>
                    <a:pt x="396" y="195"/>
                  </a:lnTo>
                  <a:lnTo>
                    <a:pt x="397" y="195"/>
                  </a:lnTo>
                  <a:lnTo>
                    <a:pt x="397" y="196"/>
                  </a:lnTo>
                  <a:lnTo>
                    <a:pt x="397" y="195"/>
                  </a:lnTo>
                  <a:lnTo>
                    <a:pt x="398" y="195"/>
                  </a:lnTo>
                  <a:lnTo>
                    <a:pt x="398" y="196"/>
                  </a:lnTo>
                  <a:lnTo>
                    <a:pt x="399" y="196"/>
                  </a:lnTo>
                  <a:lnTo>
                    <a:pt x="399" y="197"/>
                  </a:lnTo>
                  <a:lnTo>
                    <a:pt x="401" y="197"/>
                  </a:lnTo>
                  <a:lnTo>
                    <a:pt x="402" y="196"/>
                  </a:lnTo>
                  <a:lnTo>
                    <a:pt x="404" y="196"/>
                  </a:lnTo>
                  <a:lnTo>
                    <a:pt x="405" y="196"/>
                  </a:lnTo>
                  <a:lnTo>
                    <a:pt x="405" y="197"/>
                  </a:lnTo>
                  <a:lnTo>
                    <a:pt x="407" y="197"/>
                  </a:lnTo>
                  <a:lnTo>
                    <a:pt x="407" y="199"/>
                  </a:lnTo>
                  <a:lnTo>
                    <a:pt x="407" y="200"/>
                  </a:lnTo>
                  <a:lnTo>
                    <a:pt x="408" y="200"/>
                  </a:lnTo>
                  <a:lnTo>
                    <a:pt x="408" y="201"/>
                  </a:lnTo>
                  <a:lnTo>
                    <a:pt x="409" y="201"/>
                  </a:lnTo>
                  <a:lnTo>
                    <a:pt x="410" y="201"/>
                  </a:lnTo>
                  <a:lnTo>
                    <a:pt x="411" y="201"/>
                  </a:lnTo>
                  <a:lnTo>
                    <a:pt x="413" y="201"/>
                  </a:lnTo>
                  <a:lnTo>
                    <a:pt x="413" y="200"/>
                  </a:lnTo>
                  <a:lnTo>
                    <a:pt x="414" y="200"/>
                  </a:lnTo>
                  <a:lnTo>
                    <a:pt x="414" y="201"/>
                  </a:lnTo>
                  <a:lnTo>
                    <a:pt x="415" y="201"/>
                  </a:lnTo>
                  <a:lnTo>
                    <a:pt x="416" y="201"/>
                  </a:lnTo>
                  <a:lnTo>
                    <a:pt x="416" y="202"/>
                  </a:lnTo>
                  <a:lnTo>
                    <a:pt x="416" y="205"/>
                  </a:lnTo>
                  <a:lnTo>
                    <a:pt x="417" y="205"/>
                  </a:lnTo>
                  <a:lnTo>
                    <a:pt x="419" y="205"/>
                  </a:lnTo>
                  <a:lnTo>
                    <a:pt x="417" y="205"/>
                  </a:lnTo>
                  <a:lnTo>
                    <a:pt x="417" y="203"/>
                  </a:lnTo>
                  <a:lnTo>
                    <a:pt x="419" y="203"/>
                  </a:lnTo>
                  <a:lnTo>
                    <a:pt x="420" y="203"/>
                  </a:lnTo>
                  <a:lnTo>
                    <a:pt x="421" y="203"/>
                  </a:lnTo>
                  <a:lnTo>
                    <a:pt x="422" y="203"/>
                  </a:lnTo>
                  <a:lnTo>
                    <a:pt x="421" y="205"/>
                  </a:lnTo>
                  <a:lnTo>
                    <a:pt x="420" y="205"/>
                  </a:lnTo>
                  <a:lnTo>
                    <a:pt x="419" y="205"/>
                  </a:lnTo>
                  <a:lnTo>
                    <a:pt x="419" y="206"/>
                  </a:lnTo>
                  <a:lnTo>
                    <a:pt x="417" y="206"/>
                  </a:lnTo>
                  <a:lnTo>
                    <a:pt x="417" y="207"/>
                  </a:lnTo>
                  <a:lnTo>
                    <a:pt x="417" y="206"/>
                  </a:lnTo>
                  <a:lnTo>
                    <a:pt x="419" y="207"/>
                  </a:lnTo>
                  <a:lnTo>
                    <a:pt x="420" y="208"/>
                  </a:lnTo>
                  <a:lnTo>
                    <a:pt x="419" y="208"/>
                  </a:lnTo>
                  <a:lnTo>
                    <a:pt x="419" y="209"/>
                  </a:lnTo>
                  <a:lnTo>
                    <a:pt x="420" y="209"/>
                  </a:lnTo>
                  <a:lnTo>
                    <a:pt x="421" y="208"/>
                  </a:lnTo>
                  <a:lnTo>
                    <a:pt x="421" y="209"/>
                  </a:lnTo>
                  <a:lnTo>
                    <a:pt x="421" y="208"/>
                  </a:lnTo>
                  <a:lnTo>
                    <a:pt x="422" y="209"/>
                  </a:lnTo>
                  <a:lnTo>
                    <a:pt x="423" y="208"/>
                  </a:lnTo>
                  <a:lnTo>
                    <a:pt x="423" y="206"/>
                  </a:lnTo>
                  <a:lnTo>
                    <a:pt x="423" y="205"/>
                  </a:lnTo>
                  <a:lnTo>
                    <a:pt x="423" y="203"/>
                  </a:lnTo>
                  <a:lnTo>
                    <a:pt x="423" y="202"/>
                  </a:lnTo>
                  <a:lnTo>
                    <a:pt x="425" y="203"/>
                  </a:lnTo>
                  <a:lnTo>
                    <a:pt x="425" y="205"/>
                  </a:lnTo>
                  <a:lnTo>
                    <a:pt x="426" y="206"/>
                  </a:lnTo>
                  <a:lnTo>
                    <a:pt x="426" y="207"/>
                  </a:lnTo>
                  <a:lnTo>
                    <a:pt x="425" y="206"/>
                  </a:lnTo>
                  <a:lnTo>
                    <a:pt x="425" y="207"/>
                  </a:lnTo>
                  <a:lnTo>
                    <a:pt x="425" y="208"/>
                  </a:lnTo>
                  <a:lnTo>
                    <a:pt x="426" y="209"/>
                  </a:lnTo>
                  <a:lnTo>
                    <a:pt x="426" y="211"/>
                  </a:lnTo>
                  <a:lnTo>
                    <a:pt x="426" y="209"/>
                  </a:lnTo>
                  <a:lnTo>
                    <a:pt x="428" y="209"/>
                  </a:lnTo>
                  <a:lnTo>
                    <a:pt x="429" y="208"/>
                  </a:lnTo>
                  <a:lnTo>
                    <a:pt x="431" y="209"/>
                  </a:lnTo>
                  <a:lnTo>
                    <a:pt x="433" y="209"/>
                  </a:lnTo>
                  <a:lnTo>
                    <a:pt x="434" y="209"/>
                  </a:lnTo>
                  <a:lnTo>
                    <a:pt x="435" y="211"/>
                  </a:lnTo>
                  <a:lnTo>
                    <a:pt x="437" y="212"/>
                  </a:lnTo>
                  <a:lnTo>
                    <a:pt x="438" y="211"/>
                  </a:lnTo>
                  <a:lnTo>
                    <a:pt x="437" y="211"/>
                  </a:lnTo>
                  <a:lnTo>
                    <a:pt x="437" y="212"/>
                  </a:lnTo>
                  <a:lnTo>
                    <a:pt x="437" y="213"/>
                  </a:lnTo>
                  <a:lnTo>
                    <a:pt x="438" y="214"/>
                  </a:lnTo>
                  <a:lnTo>
                    <a:pt x="438" y="212"/>
                  </a:lnTo>
                  <a:lnTo>
                    <a:pt x="438" y="211"/>
                  </a:lnTo>
                  <a:lnTo>
                    <a:pt x="439" y="211"/>
                  </a:lnTo>
                  <a:lnTo>
                    <a:pt x="439" y="212"/>
                  </a:lnTo>
                  <a:lnTo>
                    <a:pt x="440" y="212"/>
                  </a:lnTo>
                  <a:lnTo>
                    <a:pt x="440" y="213"/>
                  </a:lnTo>
                  <a:lnTo>
                    <a:pt x="440" y="214"/>
                  </a:lnTo>
                  <a:lnTo>
                    <a:pt x="440" y="215"/>
                  </a:lnTo>
                  <a:lnTo>
                    <a:pt x="440" y="217"/>
                  </a:lnTo>
                  <a:lnTo>
                    <a:pt x="442" y="218"/>
                  </a:lnTo>
                  <a:lnTo>
                    <a:pt x="442" y="219"/>
                  </a:lnTo>
                  <a:lnTo>
                    <a:pt x="440" y="220"/>
                  </a:lnTo>
                  <a:lnTo>
                    <a:pt x="440" y="221"/>
                  </a:lnTo>
                  <a:lnTo>
                    <a:pt x="440" y="223"/>
                  </a:lnTo>
                  <a:lnTo>
                    <a:pt x="440" y="224"/>
                  </a:lnTo>
                  <a:lnTo>
                    <a:pt x="439" y="224"/>
                  </a:lnTo>
                  <a:lnTo>
                    <a:pt x="439" y="225"/>
                  </a:lnTo>
                  <a:lnTo>
                    <a:pt x="438" y="225"/>
                  </a:lnTo>
                  <a:lnTo>
                    <a:pt x="437" y="225"/>
                  </a:lnTo>
                  <a:lnTo>
                    <a:pt x="437" y="226"/>
                  </a:lnTo>
                  <a:lnTo>
                    <a:pt x="435" y="226"/>
                  </a:lnTo>
                  <a:lnTo>
                    <a:pt x="434" y="226"/>
                  </a:lnTo>
                  <a:lnTo>
                    <a:pt x="433" y="226"/>
                  </a:lnTo>
                  <a:lnTo>
                    <a:pt x="432" y="227"/>
                  </a:lnTo>
                  <a:lnTo>
                    <a:pt x="431" y="227"/>
                  </a:lnTo>
                  <a:lnTo>
                    <a:pt x="431" y="226"/>
                  </a:lnTo>
                  <a:lnTo>
                    <a:pt x="432" y="226"/>
                  </a:lnTo>
                  <a:lnTo>
                    <a:pt x="432" y="225"/>
                  </a:lnTo>
                  <a:lnTo>
                    <a:pt x="432" y="224"/>
                  </a:lnTo>
                  <a:lnTo>
                    <a:pt x="433" y="224"/>
                  </a:lnTo>
                  <a:lnTo>
                    <a:pt x="432" y="224"/>
                  </a:lnTo>
                  <a:lnTo>
                    <a:pt x="432" y="223"/>
                  </a:lnTo>
                  <a:lnTo>
                    <a:pt x="432" y="225"/>
                  </a:lnTo>
                  <a:lnTo>
                    <a:pt x="431" y="225"/>
                  </a:lnTo>
                  <a:lnTo>
                    <a:pt x="431" y="226"/>
                  </a:lnTo>
                  <a:lnTo>
                    <a:pt x="429" y="226"/>
                  </a:lnTo>
                  <a:lnTo>
                    <a:pt x="431" y="226"/>
                  </a:lnTo>
                  <a:lnTo>
                    <a:pt x="431" y="227"/>
                  </a:lnTo>
                  <a:lnTo>
                    <a:pt x="429" y="227"/>
                  </a:lnTo>
                  <a:lnTo>
                    <a:pt x="429" y="226"/>
                  </a:lnTo>
                  <a:lnTo>
                    <a:pt x="429" y="225"/>
                  </a:lnTo>
                  <a:lnTo>
                    <a:pt x="429" y="224"/>
                  </a:lnTo>
                  <a:lnTo>
                    <a:pt x="429" y="223"/>
                  </a:lnTo>
                  <a:lnTo>
                    <a:pt x="428" y="223"/>
                  </a:lnTo>
                  <a:lnTo>
                    <a:pt x="427" y="223"/>
                  </a:lnTo>
                  <a:lnTo>
                    <a:pt x="426" y="221"/>
                  </a:lnTo>
                  <a:lnTo>
                    <a:pt x="425" y="220"/>
                  </a:lnTo>
                  <a:lnTo>
                    <a:pt x="425" y="221"/>
                  </a:lnTo>
                  <a:lnTo>
                    <a:pt x="425" y="224"/>
                  </a:lnTo>
                  <a:lnTo>
                    <a:pt x="425" y="226"/>
                  </a:lnTo>
                  <a:lnTo>
                    <a:pt x="426" y="226"/>
                  </a:lnTo>
                  <a:lnTo>
                    <a:pt x="426" y="225"/>
                  </a:lnTo>
                  <a:lnTo>
                    <a:pt x="427" y="225"/>
                  </a:lnTo>
                  <a:lnTo>
                    <a:pt x="427" y="224"/>
                  </a:lnTo>
                  <a:lnTo>
                    <a:pt x="427" y="223"/>
                  </a:lnTo>
                  <a:lnTo>
                    <a:pt x="428" y="224"/>
                  </a:lnTo>
                  <a:lnTo>
                    <a:pt x="428" y="225"/>
                  </a:lnTo>
                  <a:lnTo>
                    <a:pt x="428" y="226"/>
                  </a:lnTo>
                  <a:lnTo>
                    <a:pt x="426" y="227"/>
                  </a:lnTo>
                  <a:lnTo>
                    <a:pt x="427" y="227"/>
                  </a:lnTo>
                  <a:lnTo>
                    <a:pt x="432" y="227"/>
                  </a:lnTo>
                  <a:lnTo>
                    <a:pt x="434" y="227"/>
                  </a:lnTo>
                  <a:lnTo>
                    <a:pt x="434" y="229"/>
                  </a:lnTo>
                  <a:lnTo>
                    <a:pt x="434" y="230"/>
                  </a:lnTo>
                  <a:lnTo>
                    <a:pt x="435" y="231"/>
                  </a:lnTo>
                  <a:lnTo>
                    <a:pt x="435" y="232"/>
                  </a:lnTo>
                  <a:lnTo>
                    <a:pt x="435" y="233"/>
                  </a:lnTo>
                  <a:lnTo>
                    <a:pt x="434" y="233"/>
                  </a:lnTo>
                  <a:lnTo>
                    <a:pt x="434" y="236"/>
                  </a:lnTo>
                  <a:lnTo>
                    <a:pt x="435" y="237"/>
                  </a:lnTo>
                  <a:lnTo>
                    <a:pt x="434" y="238"/>
                  </a:lnTo>
                  <a:lnTo>
                    <a:pt x="435" y="238"/>
                  </a:lnTo>
                  <a:lnTo>
                    <a:pt x="435" y="237"/>
                  </a:lnTo>
                  <a:lnTo>
                    <a:pt x="437" y="236"/>
                  </a:lnTo>
                  <a:lnTo>
                    <a:pt x="438" y="236"/>
                  </a:lnTo>
                  <a:lnTo>
                    <a:pt x="438" y="235"/>
                  </a:lnTo>
                  <a:lnTo>
                    <a:pt x="438" y="233"/>
                  </a:lnTo>
                  <a:lnTo>
                    <a:pt x="438" y="232"/>
                  </a:lnTo>
                  <a:lnTo>
                    <a:pt x="437" y="232"/>
                  </a:lnTo>
                  <a:lnTo>
                    <a:pt x="435" y="232"/>
                  </a:lnTo>
                  <a:lnTo>
                    <a:pt x="435" y="231"/>
                  </a:lnTo>
                  <a:lnTo>
                    <a:pt x="435" y="230"/>
                  </a:lnTo>
                  <a:lnTo>
                    <a:pt x="435" y="229"/>
                  </a:lnTo>
                  <a:lnTo>
                    <a:pt x="437" y="227"/>
                  </a:lnTo>
                  <a:lnTo>
                    <a:pt x="437" y="229"/>
                  </a:lnTo>
                  <a:lnTo>
                    <a:pt x="438" y="229"/>
                  </a:lnTo>
                  <a:lnTo>
                    <a:pt x="439" y="230"/>
                  </a:lnTo>
                  <a:lnTo>
                    <a:pt x="440" y="229"/>
                  </a:lnTo>
                  <a:lnTo>
                    <a:pt x="439" y="229"/>
                  </a:lnTo>
                  <a:lnTo>
                    <a:pt x="439" y="227"/>
                  </a:lnTo>
                  <a:lnTo>
                    <a:pt x="440" y="227"/>
                  </a:lnTo>
                  <a:lnTo>
                    <a:pt x="442" y="227"/>
                  </a:lnTo>
                  <a:lnTo>
                    <a:pt x="443" y="227"/>
                  </a:lnTo>
                  <a:lnTo>
                    <a:pt x="443" y="229"/>
                  </a:lnTo>
                  <a:lnTo>
                    <a:pt x="444" y="229"/>
                  </a:lnTo>
                  <a:lnTo>
                    <a:pt x="444" y="230"/>
                  </a:lnTo>
                  <a:lnTo>
                    <a:pt x="444" y="231"/>
                  </a:lnTo>
                  <a:lnTo>
                    <a:pt x="446" y="231"/>
                  </a:lnTo>
                  <a:lnTo>
                    <a:pt x="448" y="231"/>
                  </a:lnTo>
                  <a:lnTo>
                    <a:pt x="448" y="232"/>
                  </a:lnTo>
                  <a:lnTo>
                    <a:pt x="449" y="232"/>
                  </a:lnTo>
                  <a:lnTo>
                    <a:pt x="449" y="235"/>
                  </a:lnTo>
                  <a:lnTo>
                    <a:pt x="450" y="235"/>
                  </a:lnTo>
                  <a:lnTo>
                    <a:pt x="450" y="237"/>
                  </a:lnTo>
                  <a:lnTo>
                    <a:pt x="451" y="237"/>
                  </a:lnTo>
                  <a:lnTo>
                    <a:pt x="451" y="238"/>
                  </a:lnTo>
                  <a:lnTo>
                    <a:pt x="452" y="238"/>
                  </a:lnTo>
                  <a:lnTo>
                    <a:pt x="452" y="239"/>
                  </a:lnTo>
                  <a:lnTo>
                    <a:pt x="452" y="241"/>
                  </a:lnTo>
                  <a:lnTo>
                    <a:pt x="451" y="239"/>
                  </a:lnTo>
                  <a:lnTo>
                    <a:pt x="450" y="241"/>
                  </a:lnTo>
                  <a:lnTo>
                    <a:pt x="450" y="243"/>
                  </a:lnTo>
                  <a:lnTo>
                    <a:pt x="449" y="243"/>
                  </a:lnTo>
                  <a:lnTo>
                    <a:pt x="450" y="243"/>
                  </a:lnTo>
                  <a:lnTo>
                    <a:pt x="451" y="243"/>
                  </a:lnTo>
                  <a:lnTo>
                    <a:pt x="451" y="244"/>
                  </a:lnTo>
                  <a:lnTo>
                    <a:pt x="452" y="243"/>
                  </a:lnTo>
                  <a:lnTo>
                    <a:pt x="452" y="244"/>
                  </a:lnTo>
                  <a:lnTo>
                    <a:pt x="454" y="244"/>
                  </a:lnTo>
                  <a:lnTo>
                    <a:pt x="454" y="245"/>
                  </a:lnTo>
                  <a:lnTo>
                    <a:pt x="455" y="244"/>
                  </a:lnTo>
                  <a:lnTo>
                    <a:pt x="456" y="245"/>
                  </a:lnTo>
                  <a:lnTo>
                    <a:pt x="457" y="247"/>
                  </a:lnTo>
                  <a:lnTo>
                    <a:pt x="457" y="245"/>
                  </a:lnTo>
                  <a:lnTo>
                    <a:pt x="456" y="244"/>
                  </a:lnTo>
                  <a:lnTo>
                    <a:pt x="455" y="243"/>
                  </a:lnTo>
                  <a:lnTo>
                    <a:pt x="454" y="242"/>
                  </a:lnTo>
                  <a:lnTo>
                    <a:pt x="456" y="242"/>
                  </a:lnTo>
                  <a:lnTo>
                    <a:pt x="456" y="241"/>
                  </a:lnTo>
                  <a:lnTo>
                    <a:pt x="456" y="238"/>
                  </a:lnTo>
                  <a:lnTo>
                    <a:pt x="455" y="238"/>
                  </a:lnTo>
                  <a:lnTo>
                    <a:pt x="455" y="237"/>
                  </a:lnTo>
                  <a:lnTo>
                    <a:pt x="454" y="237"/>
                  </a:lnTo>
                  <a:lnTo>
                    <a:pt x="454" y="236"/>
                  </a:lnTo>
                  <a:lnTo>
                    <a:pt x="454" y="235"/>
                  </a:lnTo>
                  <a:lnTo>
                    <a:pt x="452" y="235"/>
                  </a:lnTo>
                  <a:lnTo>
                    <a:pt x="451" y="235"/>
                  </a:lnTo>
                  <a:lnTo>
                    <a:pt x="451" y="233"/>
                  </a:lnTo>
                  <a:lnTo>
                    <a:pt x="452" y="232"/>
                  </a:lnTo>
                  <a:lnTo>
                    <a:pt x="452" y="231"/>
                  </a:lnTo>
                  <a:lnTo>
                    <a:pt x="451" y="231"/>
                  </a:lnTo>
                  <a:lnTo>
                    <a:pt x="451" y="230"/>
                  </a:lnTo>
                  <a:lnTo>
                    <a:pt x="450" y="229"/>
                  </a:lnTo>
                  <a:lnTo>
                    <a:pt x="450" y="227"/>
                  </a:lnTo>
                  <a:lnTo>
                    <a:pt x="449" y="226"/>
                  </a:lnTo>
                  <a:lnTo>
                    <a:pt x="449" y="225"/>
                  </a:lnTo>
                  <a:lnTo>
                    <a:pt x="450" y="225"/>
                  </a:lnTo>
                  <a:lnTo>
                    <a:pt x="449" y="221"/>
                  </a:lnTo>
                  <a:lnTo>
                    <a:pt x="449" y="220"/>
                  </a:lnTo>
                  <a:lnTo>
                    <a:pt x="449" y="219"/>
                  </a:lnTo>
                  <a:lnTo>
                    <a:pt x="449" y="218"/>
                  </a:lnTo>
                  <a:lnTo>
                    <a:pt x="448" y="218"/>
                  </a:lnTo>
                  <a:lnTo>
                    <a:pt x="448" y="217"/>
                  </a:lnTo>
                  <a:lnTo>
                    <a:pt x="448" y="215"/>
                  </a:lnTo>
                  <a:lnTo>
                    <a:pt x="448" y="214"/>
                  </a:lnTo>
                  <a:lnTo>
                    <a:pt x="446" y="214"/>
                  </a:lnTo>
                  <a:lnTo>
                    <a:pt x="446" y="213"/>
                  </a:lnTo>
                  <a:lnTo>
                    <a:pt x="448" y="213"/>
                  </a:lnTo>
                  <a:lnTo>
                    <a:pt x="448" y="212"/>
                  </a:lnTo>
                  <a:lnTo>
                    <a:pt x="446" y="211"/>
                  </a:lnTo>
                  <a:lnTo>
                    <a:pt x="445" y="211"/>
                  </a:lnTo>
                  <a:lnTo>
                    <a:pt x="446" y="211"/>
                  </a:lnTo>
                  <a:lnTo>
                    <a:pt x="446" y="209"/>
                  </a:lnTo>
                  <a:lnTo>
                    <a:pt x="445" y="208"/>
                  </a:lnTo>
                  <a:lnTo>
                    <a:pt x="445" y="207"/>
                  </a:lnTo>
                  <a:lnTo>
                    <a:pt x="444" y="207"/>
                  </a:lnTo>
                  <a:lnTo>
                    <a:pt x="444" y="206"/>
                  </a:lnTo>
                  <a:lnTo>
                    <a:pt x="445" y="205"/>
                  </a:lnTo>
                  <a:lnTo>
                    <a:pt x="444" y="203"/>
                  </a:lnTo>
                  <a:lnTo>
                    <a:pt x="443" y="203"/>
                  </a:lnTo>
                  <a:lnTo>
                    <a:pt x="442" y="203"/>
                  </a:lnTo>
                  <a:lnTo>
                    <a:pt x="442" y="205"/>
                  </a:lnTo>
                  <a:lnTo>
                    <a:pt x="442" y="203"/>
                  </a:lnTo>
                  <a:lnTo>
                    <a:pt x="440" y="203"/>
                  </a:lnTo>
                  <a:lnTo>
                    <a:pt x="439" y="203"/>
                  </a:lnTo>
                  <a:lnTo>
                    <a:pt x="440" y="202"/>
                  </a:lnTo>
                  <a:lnTo>
                    <a:pt x="439" y="202"/>
                  </a:lnTo>
                  <a:lnTo>
                    <a:pt x="439" y="201"/>
                  </a:lnTo>
                  <a:lnTo>
                    <a:pt x="440" y="201"/>
                  </a:lnTo>
                  <a:lnTo>
                    <a:pt x="440" y="200"/>
                  </a:lnTo>
                  <a:lnTo>
                    <a:pt x="439" y="200"/>
                  </a:lnTo>
                  <a:lnTo>
                    <a:pt x="439" y="199"/>
                  </a:lnTo>
                  <a:lnTo>
                    <a:pt x="440" y="199"/>
                  </a:lnTo>
                  <a:lnTo>
                    <a:pt x="442" y="199"/>
                  </a:lnTo>
                  <a:lnTo>
                    <a:pt x="443" y="199"/>
                  </a:lnTo>
                  <a:lnTo>
                    <a:pt x="442" y="199"/>
                  </a:lnTo>
                  <a:lnTo>
                    <a:pt x="440" y="197"/>
                  </a:lnTo>
                  <a:lnTo>
                    <a:pt x="440" y="196"/>
                  </a:lnTo>
                  <a:lnTo>
                    <a:pt x="439" y="196"/>
                  </a:lnTo>
                  <a:lnTo>
                    <a:pt x="438" y="196"/>
                  </a:lnTo>
                  <a:lnTo>
                    <a:pt x="438" y="197"/>
                  </a:lnTo>
                  <a:lnTo>
                    <a:pt x="438" y="196"/>
                  </a:lnTo>
                  <a:lnTo>
                    <a:pt x="437" y="196"/>
                  </a:lnTo>
                  <a:lnTo>
                    <a:pt x="435" y="196"/>
                  </a:lnTo>
                  <a:lnTo>
                    <a:pt x="434" y="197"/>
                  </a:lnTo>
                  <a:lnTo>
                    <a:pt x="433" y="197"/>
                  </a:lnTo>
                  <a:lnTo>
                    <a:pt x="433" y="199"/>
                  </a:lnTo>
                  <a:lnTo>
                    <a:pt x="432" y="199"/>
                  </a:lnTo>
                  <a:lnTo>
                    <a:pt x="432" y="197"/>
                  </a:lnTo>
                  <a:lnTo>
                    <a:pt x="431" y="197"/>
                  </a:lnTo>
                  <a:lnTo>
                    <a:pt x="429" y="196"/>
                  </a:lnTo>
                  <a:lnTo>
                    <a:pt x="428" y="196"/>
                  </a:lnTo>
                  <a:lnTo>
                    <a:pt x="427" y="196"/>
                  </a:lnTo>
                  <a:lnTo>
                    <a:pt x="426" y="196"/>
                  </a:lnTo>
                  <a:lnTo>
                    <a:pt x="426" y="195"/>
                  </a:lnTo>
                  <a:lnTo>
                    <a:pt x="425" y="195"/>
                  </a:lnTo>
                  <a:lnTo>
                    <a:pt x="425" y="194"/>
                  </a:lnTo>
                  <a:lnTo>
                    <a:pt x="426" y="193"/>
                  </a:lnTo>
                  <a:lnTo>
                    <a:pt x="426" y="191"/>
                  </a:lnTo>
                  <a:lnTo>
                    <a:pt x="427" y="190"/>
                  </a:lnTo>
                  <a:lnTo>
                    <a:pt x="427" y="191"/>
                  </a:lnTo>
                  <a:lnTo>
                    <a:pt x="428" y="190"/>
                  </a:lnTo>
                  <a:lnTo>
                    <a:pt x="428" y="191"/>
                  </a:lnTo>
                  <a:lnTo>
                    <a:pt x="429" y="190"/>
                  </a:lnTo>
                  <a:lnTo>
                    <a:pt x="431" y="190"/>
                  </a:lnTo>
                  <a:lnTo>
                    <a:pt x="431" y="189"/>
                  </a:lnTo>
                  <a:lnTo>
                    <a:pt x="432" y="189"/>
                  </a:lnTo>
                  <a:lnTo>
                    <a:pt x="433" y="189"/>
                  </a:lnTo>
                  <a:lnTo>
                    <a:pt x="434" y="189"/>
                  </a:lnTo>
                  <a:lnTo>
                    <a:pt x="434" y="190"/>
                  </a:lnTo>
                  <a:lnTo>
                    <a:pt x="434" y="189"/>
                  </a:lnTo>
                  <a:lnTo>
                    <a:pt x="434" y="188"/>
                  </a:lnTo>
                  <a:lnTo>
                    <a:pt x="433" y="187"/>
                  </a:lnTo>
                  <a:lnTo>
                    <a:pt x="432" y="187"/>
                  </a:lnTo>
                  <a:lnTo>
                    <a:pt x="432" y="185"/>
                  </a:lnTo>
                  <a:lnTo>
                    <a:pt x="431" y="185"/>
                  </a:lnTo>
                  <a:lnTo>
                    <a:pt x="431" y="184"/>
                  </a:lnTo>
                  <a:lnTo>
                    <a:pt x="429" y="184"/>
                  </a:lnTo>
                  <a:lnTo>
                    <a:pt x="429" y="185"/>
                  </a:lnTo>
                  <a:lnTo>
                    <a:pt x="429" y="187"/>
                  </a:lnTo>
                  <a:lnTo>
                    <a:pt x="429" y="188"/>
                  </a:lnTo>
                  <a:lnTo>
                    <a:pt x="429" y="189"/>
                  </a:lnTo>
                  <a:lnTo>
                    <a:pt x="429" y="188"/>
                  </a:lnTo>
                  <a:lnTo>
                    <a:pt x="428" y="189"/>
                  </a:lnTo>
                  <a:lnTo>
                    <a:pt x="425" y="189"/>
                  </a:lnTo>
                  <a:lnTo>
                    <a:pt x="425" y="190"/>
                  </a:lnTo>
                  <a:lnTo>
                    <a:pt x="423" y="189"/>
                  </a:lnTo>
                  <a:lnTo>
                    <a:pt x="422" y="189"/>
                  </a:lnTo>
                  <a:lnTo>
                    <a:pt x="420" y="189"/>
                  </a:lnTo>
                  <a:lnTo>
                    <a:pt x="421" y="187"/>
                  </a:lnTo>
                  <a:lnTo>
                    <a:pt x="420" y="187"/>
                  </a:lnTo>
                  <a:lnTo>
                    <a:pt x="420" y="188"/>
                  </a:lnTo>
                  <a:lnTo>
                    <a:pt x="419" y="188"/>
                  </a:lnTo>
                  <a:lnTo>
                    <a:pt x="417" y="188"/>
                  </a:lnTo>
                  <a:lnTo>
                    <a:pt x="417" y="189"/>
                  </a:lnTo>
                  <a:lnTo>
                    <a:pt x="416" y="189"/>
                  </a:lnTo>
                  <a:lnTo>
                    <a:pt x="415" y="188"/>
                  </a:lnTo>
                  <a:lnTo>
                    <a:pt x="414" y="188"/>
                  </a:lnTo>
                  <a:lnTo>
                    <a:pt x="414" y="187"/>
                  </a:lnTo>
                  <a:lnTo>
                    <a:pt x="413" y="187"/>
                  </a:lnTo>
                  <a:lnTo>
                    <a:pt x="411" y="187"/>
                  </a:lnTo>
                  <a:lnTo>
                    <a:pt x="410" y="187"/>
                  </a:lnTo>
                  <a:lnTo>
                    <a:pt x="409" y="187"/>
                  </a:lnTo>
                  <a:lnTo>
                    <a:pt x="408" y="185"/>
                  </a:lnTo>
                  <a:lnTo>
                    <a:pt x="407" y="185"/>
                  </a:lnTo>
                  <a:lnTo>
                    <a:pt x="404" y="184"/>
                  </a:lnTo>
                  <a:lnTo>
                    <a:pt x="405" y="184"/>
                  </a:lnTo>
                  <a:lnTo>
                    <a:pt x="407" y="183"/>
                  </a:lnTo>
                  <a:lnTo>
                    <a:pt x="405" y="183"/>
                  </a:lnTo>
                  <a:lnTo>
                    <a:pt x="405" y="182"/>
                  </a:lnTo>
                  <a:lnTo>
                    <a:pt x="407" y="182"/>
                  </a:lnTo>
                  <a:lnTo>
                    <a:pt x="407" y="181"/>
                  </a:lnTo>
                  <a:lnTo>
                    <a:pt x="409" y="181"/>
                  </a:lnTo>
                  <a:lnTo>
                    <a:pt x="410" y="182"/>
                  </a:lnTo>
                  <a:lnTo>
                    <a:pt x="413" y="182"/>
                  </a:lnTo>
                  <a:lnTo>
                    <a:pt x="413" y="181"/>
                  </a:lnTo>
                  <a:lnTo>
                    <a:pt x="411" y="179"/>
                  </a:lnTo>
                  <a:lnTo>
                    <a:pt x="410" y="179"/>
                  </a:lnTo>
                  <a:lnTo>
                    <a:pt x="409" y="178"/>
                  </a:lnTo>
                  <a:lnTo>
                    <a:pt x="409" y="179"/>
                  </a:lnTo>
                  <a:lnTo>
                    <a:pt x="408" y="179"/>
                  </a:lnTo>
                  <a:lnTo>
                    <a:pt x="407" y="179"/>
                  </a:lnTo>
                  <a:lnTo>
                    <a:pt x="405" y="179"/>
                  </a:lnTo>
                  <a:lnTo>
                    <a:pt x="404" y="181"/>
                  </a:lnTo>
                  <a:lnTo>
                    <a:pt x="403" y="181"/>
                  </a:lnTo>
                  <a:lnTo>
                    <a:pt x="403" y="182"/>
                  </a:lnTo>
                  <a:lnTo>
                    <a:pt x="402" y="182"/>
                  </a:lnTo>
                  <a:lnTo>
                    <a:pt x="402" y="181"/>
                  </a:lnTo>
                  <a:lnTo>
                    <a:pt x="403" y="181"/>
                  </a:lnTo>
                  <a:lnTo>
                    <a:pt x="403" y="179"/>
                  </a:lnTo>
                  <a:lnTo>
                    <a:pt x="404" y="178"/>
                  </a:lnTo>
                  <a:lnTo>
                    <a:pt x="405" y="178"/>
                  </a:lnTo>
                  <a:lnTo>
                    <a:pt x="403" y="178"/>
                  </a:lnTo>
                  <a:lnTo>
                    <a:pt x="403" y="177"/>
                  </a:lnTo>
                  <a:lnTo>
                    <a:pt x="403" y="176"/>
                  </a:lnTo>
                  <a:lnTo>
                    <a:pt x="404" y="176"/>
                  </a:lnTo>
                  <a:lnTo>
                    <a:pt x="403" y="176"/>
                  </a:lnTo>
                  <a:lnTo>
                    <a:pt x="403" y="175"/>
                  </a:lnTo>
                  <a:lnTo>
                    <a:pt x="403" y="173"/>
                  </a:lnTo>
                  <a:lnTo>
                    <a:pt x="404" y="173"/>
                  </a:lnTo>
                  <a:lnTo>
                    <a:pt x="404" y="172"/>
                  </a:lnTo>
                  <a:lnTo>
                    <a:pt x="403" y="171"/>
                  </a:lnTo>
                  <a:lnTo>
                    <a:pt x="403" y="170"/>
                  </a:lnTo>
                  <a:lnTo>
                    <a:pt x="402" y="170"/>
                  </a:lnTo>
                  <a:lnTo>
                    <a:pt x="402" y="169"/>
                  </a:lnTo>
                  <a:lnTo>
                    <a:pt x="401" y="169"/>
                  </a:lnTo>
                  <a:lnTo>
                    <a:pt x="399" y="170"/>
                  </a:lnTo>
                  <a:lnTo>
                    <a:pt x="398" y="170"/>
                  </a:lnTo>
                  <a:lnTo>
                    <a:pt x="398" y="169"/>
                  </a:lnTo>
                  <a:lnTo>
                    <a:pt x="397" y="169"/>
                  </a:lnTo>
                  <a:lnTo>
                    <a:pt x="397" y="171"/>
                  </a:lnTo>
                  <a:lnTo>
                    <a:pt x="398" y="171"/>
                  </a:lnTo>
                  <a:lnTo>
                    <a:pt x="398" y="172"/>
                  </a:lnTo>
                  <a:lnTo>
                    <a:pt x="397" y="172"/>
                  </a:lnTo>
                  <a:lnTo>
                    <a:pt x="399" y="172"/>
                  </a:lnTo>
                  <a:lnTo>
                    <a:pt x="401" y="172"/>
                  </a:lnTo>
                  <a:lnTo>
                    <a:pt x="401" y="173"/>
                  </a:lnTo>
                  <a:lnTo>
                    <a:pt x="399" y="173"/>
                  </a:lnTo>
                  <a:lnTo>
                    <a:pt x="401" y="173"/>
                  </a:lnTo>
                  <a:lnTo>
                    <a:pt x="401" y="175"/>
                  </a:lnTo>
                  <a:lnTo>
                    <a:pt x="401" y="176"/>
                  </a:lnTo>
                  <a:lnTo>
                    <a:pt x="399" y="175"/>
                  </a:lnTo>
                  <a:lnTo>
                    <a:pt x="398" y="175"/>
                  </a:lnTo>
                  <a:lnTo>
                    <a:pt x="398" y="176"/>
                  </a:lnTo>
                  <a:lnTo>
                    <a:pt x="397" y="176"/>
                  </a:lnTo>
                  <a:lnTo>
                    <a:pt x="396" y="176"/>
                  </a:lnTo>
                  <a:lnTo>
                    <a:pt x="393" y="176"/>
                  </a:lnTo>
                  <a:lnTo>
                    <a:pt x="393" y="177"/>
                  </a:lnTo>
                  <a:lnTo>
                    <a:pt x="392" y="177"/>
                  </a:lnTo>
                  <a:lnTo>
                    <a:pt x="393" y="178"/>
                  </a:lnTo>
                  <a:lnTo>
                    <a:pt x="392" y="178"/>
                  </a:lnTo>
                  <a:lnTo>
                    <a:pt x="392" y="179"/>
                  </a:lnTo>
                  <a:lnTo>
                    <a:pt x="391" y="179"/>
                  </a:lnTo>
                  <a:lnTo>
                    <a:pt x="391" y="181"/>
                  </a:lnTo>
                  <a:lnTo>
                    <a:pt x="390" y="181"/>
                  </a:lnTo>
                  <a:lnTo>
                    <a:pt x="390" y="179"/>
                  </a:lnTo>
                  <a:lnTo>
                    <a:pt x="387" y="179"/>
                  </a:lnTo>
                  <a:lnTo>
                    <a:pt x="389" y="178"/>
                  </a:lnTo>
                  <a:lnTo>
                    <a:pt x="389" y="177"/>
                  </a:lnTo>
                  <a:lnTo>
                    <a:pt x="389" y="176"/>
                  </a:lnTo>
                  <a:lnTo>
                    <a:pt x="387" y="175"/>
                  </a:lnTo>
                  <a:lnTo>
                    <a:pt x="387" y="173"/>
                  </a:lnTo>
                  <a:lnTo>
                    <a:pt x="389" y="173"/>
                  </a:lnTo>
                  <a:lnTo>
                    <a:pt x="390" y="175"/>
                  </a:lnTo>
                  <a:lnTo>
                    <a:pt x="391" y="175"/>
                  </a:lnTo>
                  <a:lnTo>
                    <a:pt x="391" y="176"/>
                  </a:lnTo>
                  <a:lnTo>
                    <a:pt x="390" y="176"/>
                  </a:lnTo>
                  <a:lnTo>
                    <a:pt x="391" y="177"/>
                  </a:lnTo>
                  <a:lnTo>
                    <a:pt x="392" y="176"/>
                  </a:lnTo>
                  <a:lnTo>
                    <a:pt x="392" y="175"/>
                  </a:lnTo>
                  <a:lnTo>
                    <a:pt x="392" y="176"/>
                  </a:lnTo>
                  <a:lnTo>
                    <a:pt x="391" y="175"/>
                  </a:lnTo>
                  <a:lnTo>
                    <a:pt x="391" y="173"/>
                  </a:lnTo>
                  <a:lnTo>
                    <a:pt x="390" y="172"/>
                  </a:lnTo>
                  <a:lnTo>
                    <a:pt x="391" y="172"/>
                  </a:lnTo>
                  <a:lnTo>
                    <a:pt x="391" y="171"/>
                  </a:lnTo>
                  <a:lnTo>
                    <a:pt x="390" y="172"/>
                  </a:lnTo>
                  <a:lnTo>
                    <a:pt x="389" y="172"/>
                  </a:lnTo>
                  <a:lnTo>
                    <a:pt x="390" y="171"/>
                  </a:lnTo>
                  <a:lnTo>
                    <a:pt x="390" y="170"/>
                  </a:lnTo>
                  <a:lnTo>
                    <a:pt x="389" y="169"/>
                  </a:lnTo>
                  <a:lnTo>
                    <a:pt x="389" y="167"/>
                  </a:lnTo>
                  <a:lnTo>
                    <a:pt x="387" y="167"/>
                  </a:lnTo>
                  <a:lnTo>
                    <a:pt x="386" y="167"/>
                  </a:lnTo>
                  <a:lnTo>
                    <a:pt x="386" y="166"/>
                  </a:lnTo>
                  <a:lnTo>
                    <a:pt x="386" y="165"/>
                  </a:lnTo>
                  <a:lnTo>
                    <a:pt x="386" y="166"/>
                  </a:lnTo>
                  <a:lnTo>
                    <a:pt x="385" y="166"/>
                  </a:lnTo>
                  <a:lnTo>
                    <a:pt x="386" y="166"/>
                  </a:lnTo>
                  <a:lnTo>
                    <a:pt x="386" y="167"/>
                  </a:lnTo>
                  <a:lnTo>
                    <a:pt x="386" y="169"/>
                  </a:lnTo>
                  <a:lnTo>
                    <a:pt x="385" y="170"/>
                  </a:lnTo>
                  <a:lnTo>
                    <a:pt x="385" y="169"/>
                  </a:lnTo>
                  <a:lnTo>
                    <a:pt x="385" y="167"/>
                  </a:lnTo>
                  <a:lnTo>
                    <a:pt x="384" y="167"/>
                  </a:lnTo>
                  <a:lnTo>
                    <a:pt x="383" y="167"/>
                  </a:lnTo>
                  <a:lnTo>
                    <a:pt x="381" y="167"/>
                  </a:lnTo>
                  <a:lnTo>
                    <a:pt x="381" y="169"/>
                  </a:lnTo>
                  <a:lnTo>
                    <a:pt x="381" y="167"/>
                  </a:lnTo>
                  <a:lnTo>
                    <a:pt x="380" y="167"/>
                  </a:lnTo>
                  <a:lnTo>
                    <a:pt x="380" y="166"/>
                  </a:lnTo>
                  <a:lnTo>
                    <a:pt x="380" y="165"/>
                  </a:lnTo>
                  <a:lnTo>
                    <a:pt x="379" y="165"/>
                  </a:lnTo>
                  <a:lnTo>
                    <a:pt x="378" y="165"/>
                  </a:lnTo>
                  <a:lnTo>
                    <a:pt x="378" y="164"/>
                  </a:lnTo>
                  <a:lnTo>
                    <a:pt x="376" y="165"/>
                  </a:lnTo>
                  <a:lnTo>
                    <a:pt x="376" y="166"/>
                  </a:lnTo>
                  <a:lnTo>
                    <a:pt x="376" y="169"/>
                  </a:lnTo>
                  <a:lnTo>
                    <a:pt x="376" y="170"/>
                  </a:lnTo>
                  <a:lnTo>
                    <a:pt x="375" y="169"/>
                  </a:lnTo>
                  <a:lnTo>
                    <a:pt x="375" y="167"/>
                  </a:lnTo>
                  <a:lnTo>
                    <a:pt x="375" y="166"/>
                  </a:lnTo>
                  <a:lnTo>
                    <a:pt x="374" y="167"/>
                  </a:lnTo>
                  <a:lnTo>
                    <a:pt x="374" y="169"/>
                  </a:lnTo>
                  <a:lnTo>
                    <a:pt x="373" y="169"/>
                  </a:lnTo>
                  <a:lnTo>
                    <a:pt x="374" y="169"/>
                  </a:lnTo>
                  <a:lnTo>
                    <a:pt x="375" y="169"/>
                  </a:lnTo>
                  <a:lnTo>
                    <a:pt x="375" y="170"/>
                  </a:lnTo>
                  <a:lnTo>
                    <a:pt x="374" y="171"/>
                  </a:lnTo>
                  <a:lnTo>
                    <a:pt x="374" y="172"/>
                  </a:lnTo>
                  <a:lnTo>
                    <a:pt x="373" y="172"/>
                  </a:lnTo>
                  <a:lnTo>
                    <a:pt x="372" y="173"/>
                  </a:lnTo>
                  <a:lnTo>
                    <a:pt x="372" y="175"/>
                  </a:lnTo>
                  <a:lnTo>
                    <a:pt x="372" y="173"/>
                  </a:lnTo>
                  <a:lnTo>
                    <a:pt x="370" y="173"/>
                  </a:lnTo>
                  <a:lnTo>
                    <a:pt x="370" y="175"/>
                  </a:lnTo>
                  <a:lnTo>
                    <a:pt x="369" y="175"/>
                  </a:lnTo>
                  <a:lnTo>
                    <a:pt x="366" y="175"/>
                  </a:lnTo>
                  <a:lnTo>
                    <a:pt x="366" y="172"/>
                  </a:lnTo>
                  <a:lnTo>
                    <a:pt x="367" y="172"/>
                  </a:lnTo>
                  <a:lnTo>
                    <a:pt x="367" y="171"/>
                  </a:lnTo>
                  <a:lnTo>
                    <a:pt x="368" y="171"/>
                  </a:lnTo>
                  <a:lnTo>
                    <a:pt x="368" y="170"/>
                  </a:lnTo>
                  <a:lnTo>
                    <a:pt x="367" y="170"/>
                  </a:lnTo>
                  <a:lnTo>
                    <a:pt x="367" y="171"/>
                  </a:lnTo>
                  <a:lnTo>
                    <a:pt x="366" y="170"/>
                  </a:lnTo>
                  <a:lnTo>
                    <a:pt x="367" y="170"/>
                  </a:lnTo>
                  <a:lnTo>
                    <a:pt x="367" y="169"/>
                  </a:lnTo>
                  <a:lnTo>
                    <a:pt x="368" y="169"/>
                  </a:lnTo>
                  <a:lnTo>
                    <a:pt x="368" y="167"/>
                  </a:lnTo>
                  <a:lnTo>
                    <a:pt x="369" y="167"/>
                  </a:lnTo>
                  <a:lnTo>
                    <a:pt x="369" y="166"/>
                  </a:lnTo>
                  <a:lnTo>
                    <a:pt x="368" y="166"/>
                  </a:lnTo>
                  <a:lnTo>
                    <a:pt x="368" y="165"/>
                  </a:lnTo>
                  <a:lnTo>
                    <a:pt x="369" y="165"/>
                  </a:lnTo>
                  <a:lnTo>
                    <a:pt x="369" y="164"/>
                  </a:lnTo>
                  <a:lnTo>
                    <a:pt x="369" y="162"/>
                  </a:lnTo>
                  <a:lnTo>
                    <a:pt x="369" y="161"/>
                  </a:lnTo>
                  <a:lnTo>
                    <a:pt x="370" y="160"/>
                  </a:lnTo>
                  <a:lnTo>
                    <a:pt x="369" y="160"/>
                  </a:lnTo>
                  <a:lnTo>
                    <a:pt x="367" y="159"/>
                  </a:lnTo>
                  <a:lnTo>
                    <a:pt x="366" y="159"/>
                  </a:lnTo>
                  <a:lnTo>
                    <a:pt x="366" y="160"/>
                  </a:lnTo>
                  <a:lnTo>
                    <a:pt x="364" y="161"/>
                  </a:lnTo>
                  <a:lnTo>
                    <a:pt x="363" y="161"/>
                  </a:lnTo>
                  <a:lnTo>
                    <a:pt x="363" y="160"/>
                  </a:lnTo>
                  <a:lnTo>
                    <a:pt x="364" y="160"/>
                  </a:lnTo>
                  <a:lnTo>
                    <a:pt x="364" y="159"/>
                  </a:lnTo>
                  <a:lnTo>
                    <a:pt x="363" y="159"/>
                  </a:lnTo>
                  <a:lnTo>
                    <a:pt x="362" y="159"/>
                  </a:lnTo>
                  <a:lnTo>
                    <a:pt x="361" y="159"/>
                  </a:lnTo>
                  <a:lnTo>
                    <a:pt x="360" y="158"/>
                  </a:lnTo>
                  <a:lnTo>
                    <a:pt x="357" y="158"/>
                  </a:lnTo>
                  <a:lnTo>
                    <a:pt x="356" y="158"/>
                  </a:lnTo>
                  <a:lnTo>
                    <a:pt x="352" y="158"/>
                  </a:lnTo>
                  <a:lnTo>
                    <a:pt x="354" y="158"/>
                  </a:lnTo>
                  <a:lnTo>
                    <a:pt x="354" y="160"/>
                  </a:lnTo>
                  <a:lnTo>
                    <a:pt x="354" y="161"/>
                  </a:lnTo>
                  <a:lnTo>
                    <a:pt x="352" y="160"/>
                  </a:lnTo>
                  <a:lnTo>
                    <a:pt x="351" y="160"/>
                  </a:lnTo>
                  <a:lnTo>
                    <a:pt x="351" y="159"/>
                  </a:lnTo>
                  <a:lnTo>
                    <a:pt x="352" y="158"/>
                  </a:lnTo>
                  <a:lnTo>
                    <a:pt x="351" y="158"/>
                  </a:lnTo>
                  <a:lnTo>
                    <a:pt x="350" y="158"/>
                  </a:lnTo>
                  <a:lnTo>
                    <a:pt x="349" y="159"/>
                  </a:lnTo>
                  <a:lnTo>
                    <a:pt x="348" y="159"/>
                  </a:lnTo>
                  <a:lnTo>
                    <a:pt x="346" y="159"/>
                  </a:lnTo>
                  <a:lnTo>
                    <a:pt x="346" y="160"/>
                  </a:lnTo>
                  <a:lnTo>
                    <a:pt x="345" y="160"/>
                  </a:lnTo>
                  <a:lnTo>
                    <a:pt x="344" y="160"/>
                  </a:lnTo>
                  <a:lnTo>
                    <a:pt x="345" y="161"/>
                  </a:lnTo>
                  <a:lnTo>
                    <a:pt x="346" y="161"/>
                  </a:lnTo>
                  <a:lnTo>
                    <a:pt x="346" y="162"/>
                  </a:lnTo>
                  <a:lnTo>
                    <a:pt x="344" y="162"/>
                  </a:lnTo>
                  <a:lnTo>
                    <a:pt x="344" y="164"/>
                  </a:lnTo>
                  <a:lnTo>
                    <a:pt x="343" y="165"/>
                  </a:lnTo>
                  <a:lnTo>
                    <a:pt x="343" y="166"/>
                  </a:lnTo>
                  <a:lnTo>
                    <a:pt x="342" y="166"/>
                  </a:lnTo>
                  <a:lnTo>
                    <a:pt x="342" y="165"/>
                  </a:lnTo>
                  <a:lnTo>
                    <a:pt x="340" y="165"/>
                  </a:lnTo>
                  <a:lnTo>
                    <a:pt x="340" y="164"/>
                  </a:lnTo>
                  <a:lnTo>
                    <a:pt x="339" y="162"/>
                  </a:lnTo>
                  <a:lnTo>
                    <a:pt x="338" y="161"/>
                  </a:lnTo>
                  <a:lnTo>
                    <a:pt x="339" y="161"/>
                  </a:lnTo>
                  <a:lnTo>
                    <a:pt x="339" y="162"/>
                  </a:lnTo>
                  <a:lnTo>
                    <a:pt x="340" y="161"/>
                  </a:lnTo>
                  <a:lnTo>
                    <a:pt x="342" y="161"/>
                  </a:lnTo>
                  <a:lnTo>
                    <a:pt x="342" y="160"/>
                  </a:lnTo>
                  <a:lnTo>
                    <a:pt x="343" y="160"/>
                  </a:lnTo>
                  <a:lnTo>
                    <a:pt x="343" y="159"/>
                  </a:lnTo>
                  <a:lnTo>
                    <a:pt x="342" y="159"/>
                  </a:lnTo>
                  <a:lnTo>
                    <a:pt x="343" y="156"/>
                  </a:lnTo>
                  <a:lnTo>
                    <a:pt x="342" y="156"/>
                  </a:lnTo>
                  <a:lnTo>
                    <a:pt x="342" y="155"/>
                  </a:lnTo>
                  <a:lnTo>
                    <a:pt x="340" y="155"/>
                  </a:lnTo>
                  <a:lnTo>
                    <a:pt x="340" y="158"/>
                  </a:lnTo>
                  <a:lnTo>
                    <a:pt x="339" y="158"/>
                  </a:lnTo>
                  <a:lnTo>
                    <a:pt x="339" y="156"/>
                  </a:lnTo>
                  <a:lnTo>
                    <a:pt x="338" y="155"/>
                  </a:lnTo>
                  <a:lnTo>
                    <a:pt x="338" y="154"/>
                  </a:lnTo>
                  <a:lnTo>
                    <a:pt x="337" y="154"/>
                  </a:lnTo>
                  <a:lnTo>
                    <a:pt x="337" y="153"/>
                  </a:lnTo>
                  <a:lnTo>
                    <a:pt x="336" y="153"/>
                  </a:lnTo>
                  <a:lnTo>
                    <a:pt x="336" y="152"/>
                  </a:lnTo>
                  <a:lnTo>
                    <a:pt x="334" y="152"/>
                  </a:lnTo>
                  <a:lnTo>
                    <a:pt x="333" y="152"/>
                  </a:lnTo>
                  <a:lnTo>
                    <a:pt x="332" y="152"/>
                  </a:lnTo>
                  <a:lnTo>
                    <a:pt x="333" y="150"/>
                  </a:lnTo>
                  <a:lnTo>
                    <a:pt x="331" y="150"/>
                  </a:lnTo>
                  <a:lnTo>
                    <a:pt x="331" y="149"/>
                  </a:lnTo>
                  <a:lnTo>
                    <a:pt x="330" y="149"/>
                  </a:lnTo>
                  <a:lnTo>
                    <a:pt x="328" y="149"/>
                  </a:lnTo>
                  <a:lnTo>
                    <a:pt x="328" y="148"/>
                  </a:lnTo>
                  <a:lnTo>
                    <a:pt x="327" y="147"/>
                  </a:lnTo>
                  <a:lnTo>
                    <a:pt x="326" y="147"/>
                  </a:lnTo>
                  <a:lnTo>
                    <a:pt x="325" y="147"/>
                  </a:lnTo>
                  <a:lnTo>
                    <a:pt x="325" y="146"/>
                  </a:lnTo>
                  <a:lnTo>
                    <a:pt x="325" y="144"/>
                  </a:lnTo>
                  <a:lnTo>
                    <a:pt x="324" y="144"/>
                  </a:lnTo>
                  <a:lnTo>
                    <a:pt x="322" y="144"/>
                  </a:lnTo>
                  <a:lnTo>
                    <a:pt x="321" y="143"/>
                  </a:lnTo>
                  <a:lnTo>
                    <a:pt x="319" y="143"/>
                  </a:lnTo>
                  <a:lnTo>
                    <a:pt x="319" y="142"/>
                  </a:lnTo>
                  <a:lnTo>
                    <a:pt x="319" y="141"/>
                  </a:lnTo>
                  <a:lnTo>
                    <a:pt x="318" y="141"/>
                  </a:lnTo>
                  <a:lnTo>
                    <a:pt x="316" y="140"/>
                  </a:lnTo>
                  <a:lnTo>
                    <a:pt x="315" y="137"/>
                  </a:lnTo>
                  <a:lnTo>
                    <a:pt x="316" y="136"/>
                  </a:lnTo>
                  <a:lnTo>
                    <a:pt x="316" y="134"/>
                  </a:lnTo>
                  <a:lnTo>
                    <a:pt x="318" y="132"/>
                  </a:lnTo>
                  <a:lnTo>
                    <a:pt x="316" y="132"/>
                  </a:lnTo>
                  <a:lnTo>
                    <a:pt x="315" y="131"/>
                  </a:lnTo>
                  <a:lnTo>
                    <a:pt x="314" y="131"/>
                  </a:lnTo>
                  <a:lnTo>
                    <a:pt x="314" y="130"/>
                  </a:lnTo>
                  <a:lnTo>
                    <a:pt x="313" y="131"/>
                  </a:lnTo>
                  <a:lnTo>
                    <a:pt x="313" y="130"/>
                  </a:lnTo>
                  <a:lnTo>
                    <a:pt x="311" y="130"/>
                  </a:lnTo>
                  <a:lnTo>
                    <a:pt x="310" y="130"/>
                  </a:lnTo>
                  <a:lnTo>
                    <a:pt x="309" y="130"/>
                  </a:lnTo>
                  <a:lnTo>
                    <a:pt x="308" y="129"/>
                  </a:lnTo>
                  <a:lnTo>
                    <a:pt x="308" y="128"/>
                  </a:lnTo>
                  <a:lnTo>
                    <a:pt x="307" y="128"/>
                  </a:lnTo>
                  <a:lnTo>
                    <a:pt x="307" y="126"/>
                  </a:lnTo>
                  <a:lnTo>
                    <a:pt x="305" y="126"/>
                  </a:lnTo>
                  <a:lnTo>
                    <a:pt x="305" y="125"/>
                  </a:lnTo>
                  <a:lnTo>
                    <a:pt x="305" y="124"/>
                  </a:lnTo>
                  <a:lnTo>
                    <a:pt x="305" y="123"/>
                  </a:lnTo>
                  <a:lnTo>
                    <a:pt x="307" y="123"/>
                  </a:lnTo>
                  <a:lnTo>
                    <a:pt x="308" y="123"/>
                  </a:lnTo>
                  <a:lnTo>
                    <a:pt x="308" y="122"/>
                  </a:lnTo>
                  <a:lnTo>
                    <a:pt x="309" y="122"/>
                  </a:lnTo>
                  <a:lnTo>
                    <a:pt x="310" y="122"/>
                  </a:lnTo>
                  <a:lnTo>
                    <a:pt x="311" y="122"/>
                  </a:lnTo>
                  <a:lnTo>
                    <a:pt x="311" y="120"/>
                  </a:lnTo>
                  <a:lnTo>
                    <a:pt x="311" y="119"/>
                  </a:lnTo>
                  <a:lnTo>
                    <a:pt x="313" y="119"/>
                  </a:lnTo>
                  <a:lnTo>
                    <a:pt x="313" y="118"/>
                  </a:lnTo>
                  <a:lnTo>
                    <a:pt x="314" y="118"/>
                  </a:lnTo>
                  <a:lnTo>
                    <a:pt x="314" y="119"/>
                  </a:lnTo>
                  <a:lnTo>
                    <a:pt x="315" y="119"/>
                  </a:lnTo>
                  <a:lnTo>
                    <a:pt x="319" y="120"/>
                  </a:lnTo>
                  <a:lnTo>
                    <a:pt x="319" y="122"/>
                  </a:lnTo>
                  <a:lnTo>
                    <a:pt x="320" y="122"/>
                  </a:lnTo>
                  <a:lnTo>
                    <a:pt x="320" y="120"/>
                  </a:lnTo>
                  <a:lnTo>
                    <a:pt x="319" y="120"/>
                  </a:lnTo>
                  <a:lnTo>
                    <a:pt x="319" y="119"/>
                  </a:lnTo>
                  <a:lnTo>
                    <a:pt x="319" y="118"/>
                  </a:lnTo>
                  <a:lnTo>
                    <a:pt x="318" y="118"/>
                  </a:lnTo>
                  <a:lnTo>
                    <a:pt x="316" y="118"/>
                  </a:lnTo>
                  <a:lnTo>
                    <a:pt x="315" y="117"/>
                  </a:lnTo>
                  <a:lnTo>
                    <a:pt x="314" y="116"/>
                  </a:lnTo>
                  <a:lnTo>
                    <a:pt x="314" y="117"/>
                  </a:lnTo>
                  <a:lnTo>
                    <a:pt x="313" y="117"/>
                  </a:lnTo>
                  <a:lnTo>
                    <a:pt x="313" y="116"/>
                  </a:lnTo>
                  <a:lnTo>
                    <a:pt x="311" y="116"/>
                  </a:lnTo>
                  <a:lnTo>
                    <a:pt x="311" y="114"/>
                  </a:lnTo>
                  <a:lnTo>
                    <a:pt x="310" y="113"/>
                  </a:lnTo>
                  <a:lnTo>
                    <a:pt x="311" y="112"/>
                  </a:lnTo>
                  <a:lnTo>
                    <a:pt x="310" y="112"/>
                  </a:lnTo>
                  <a:lnTo>
                    <a:pt x="310" y="111"/>
                  </a:lnTo>
                  <a:lnTo>
                    <a:pt x="310" y="110"/>
                  </a:lnTo>
                  <a:lnTo>
                    <a:pt x="309" y="110"/>
                  </a:lnTo>
                  <a:lnTo>
                    <a:pt x="309" y="108"/>
                  </a:lnTo>
                  <a:lnTo>
                    <a:pt x="308" y="108"/>
                  </a:lnTo>
                  <a:lnTo>
                    <a:pt x="308" y="107"/>
                  </a:lnTo>
                  <a:lnTo>
                    <a:pt x="308" y="106"/>
                  </a:lnTo>
                  <a:lnTo>
                    <a:pt x="308" y="105"/>
                  </a:lnTo>
                  <a:lnTo>
                    <a:pt x="308" y="104"/>
                  </a:lnTo>
                  <a:lnTo>
                    <a:pt x="309" y="104"/>
                  </a:lnTo>
                  <a:lnTo>
                    <a:pt x="309" y="102"/>
                  </a:lnTo>
                  <a:lnTo>
                    <a:pt x="310" y="102"/>
                  </a:lnTo>
                  <a:lnTo>
                    <a:pt x="310" y="104"/>
                  </a:lnTo>
                  <a:lnTo>
                    <a:pt x="311" y="104"/>
                  </a:lnTo>
                  <a:lnTo>
                    <a:pt x="311" y="105"/>
                  </a:lnTo>
                  <a:lnTo>
                    <a:pt x="313" y="105"/>
                  </a:lnTo>
                  <a:lnTo>
                    <a:pt x="316" y="105"/>
                  </a:lnTo>
                  <a:lnTo>
                    <a:pt x="318" y="105"/>
                  </a:lnTo>
                  <a:lnTo>
                    <a:pt x="319" y="105"/>
                  </a:lnTo>
                  <a:lnTo>
                    <a:pt x="319" y="106"/>
                  </a:lnTo>
                  <a:lnTo>
                    <a:pt x="319" y="107"/>
                  </a:lnTo>
                  <a:lnTo>
                    <a:pt x="322" y="107"/>
                  </a:lnTo>
                  <a:lnTo>
                    <a:pt x="322" y="106"/>
                  </a:lnTo>
                  <a:lnTo>
                    <a:pt x="324" y="106"/>
                  </a:lnTo>
                  <a:lnTo>
                    <a:pt x="324" y="105"/>
                  </a:lnTo>
                  <a:lnTo>
                    <a:pt x="322" y="105"/>
                  </a:lnTo>
                  <a:lnTo>
                    <a:pt x="322" y="104"/>
                  </a:lnTo>
                  <a:lnTo>
                    <a:pt x="322" y="102"/>
                  </a:lnTo>
                  <a:lnTo>
                    <a:pt x="322" y="101"/>
                  </a:lnTo>
                  <a:lnTo>
                    <a:pt x="321" y="102"/>
                  </a:lnTo>
                  <a:lnTo>
                    <a:pt x="319" y="102"/>
                  </a:lnTo>
                  <a:lnTo>
                    <a:pt x="319" y="101"/>
                  </a:lnTo>
                  <a:lnTo>
                    <a:pt x="318" y="101"/>
                  </a:lnTo>
                  <a:lnTo>
                    <a:pt x="316" y="100"/>
                  </a:lnTo>
                  <a:lnTo>
                    <a:pt x="316" y="101"/>
                  </a:lnTo>
                  <a:lnTo>
                    <a:pt x="315" y="101"/>
                  </a:lnTo>
                  <a:lnTo>
                    <a:pt x="316" y="100"/>
                  </a:lnTo>
                  <a:lnTo>
                    <a:pt x="315" y="100"/>
                  </a:lnTo>
                  <a:lnTo>
                    <a:pt x="314" y="99"/>
                  </a:lnTo>
                  <a:lnTo>
                    <a:pt x="315" y="99"/>
                  </a:lnTo>
                  <a:lnTo>
                    <a:pt x="314" y="98"/>
                  </a:lnTo>
                  <a:lnTo>
                    <a:pt x="314" y="96"/>
                  </a:lnTo>
                  <a:lnTo>
                    <a:pt x="313" y="96"/>
                  </a:lnTo>
                  <a:lnTo>
                    <a:pt x="314" y="95"/>
                  </a:lnTo>
                  <a:lnTo>
                    <a:pt x="313" y="94"/>
                  </a:lnTo>
                  <a:lnTo>
                    <a:pt x="313" y="93"/>
                  </a:lnTo>
                  <a:lnTo>
                    <a:pt x="311" y="93"/>
                  </a:lnTo>
                  <a:lnTo>
                    <a:pt x="311" y="92"/>
                  </a:lnTo>
                  <a:lnTo>
                    <a:pt x="311" y="90"/>
                  </a:lnTo>
                  <a:lnTo>
                    <a:pt x="313" y="90"/>
                  </a:lnTo>
                  <a:lnTo>
                    <a:pt x="313" y="89"/>
                  </a:lnTo>
                  <a:lnTo>
                    <a:pt x="314" y="89"/>
                  </a:lnTo>
                  <a:lnTo>
                    <a:pt x="315" y="89"/>
                  </a:lnTo>
                  <a:lnTo>
                    <a:pt x="315" y="90"/>
                  </a:lnTo>
                  <a:lnTo>
                    <a:pt x="316" y="92"/>
                  </a:lnTo>
                  <a:lnTo>
                    <a:pt x="318" y="93"/>
                  </a:lnTo>
                  <a:lnTo>
                    <a:pt x="319" y="93"/>
                  </a:lnTo>
                  <a:lnTo>
                    <a:pt x="319" y="92"/>
                  </a:lnTo>
                  <a:lnTo>
                    <a:pt x="319" y="90"/>
                  </a:lnTo>
                  <a:lnTo>
                    <a:pt x="320" y="89"/>
                  </a:lnTo>
                  <a:lnTo>
                    <a:pt x="319" y="89"/>
                  </a:lnTo>
                  <a:lnTo>
                    <a:pt x="319" y="88"/>
                  </a:lnTo>
                  <a:lnTo>
                    <a:pt x="320" y="88"/>
                  </a:lnTo>
                  <a:lnTo>
                    <a:pt x="319" y="87"/>
                  </a:lnTo>
                  <a:lnTo>
                    <a:pt x="318" y="86"/>
                  </a:lnTo>
                  <a:lnTo>
                    <a:pt x="318" y="84"/>
                  </a:lnTo>
                  <a:lnTo>
                    <a:pt x="316" y="84"/>
                  </a:lnTo>
                  <a:lnTo>
                    <a:pt x="316" y="83"/>
                  </a:lnTo>
                  <a:lnTo>
                    <a:pt x="316" y="82"/>
                  </a:lnTo>
                  <a:lnTo>
                    <a:pt x="318" y="81"/>
                  </a:lnTo>
                  <a:lnTo>
                    <a:pt x="319" y="80"/>
                  </a:lnTo>
                  <a:lnTo>
                    <a:pt x="319" y="78"/>
                  </a:lnTo>
                  <a:lnTo>
                    <a:pt x="319" y="76"/>
                  </a:lnTo>
                  <a:lnTo>
                    <a:pt x="318" y="76"/>
                  </a:lnTo>
                  <a:lnTo>
                    <a:pt x="318" y="75"/>
                  </a:lnTo>
                  <a:lnTo>
                    <a:pt x="318" y="74"/>
                  </a:lnTo>
                  <a:lnTo>
                    <a:pt x="318" y="72"/>
                  </a:lnTo>
                  <a:lnTo>
                    <a:pt x="319" y="71"/>
                  </a:lnTo>
                  <a:lnTo>
                    <a:pt x="320" y="71"/>
                  </a:lnTo>
                  <a:lnTo>
                    <a:pt x="321" y="71"/>
                  </a:lnTo>
                  <a:lnTo>
                    <a:pt x="322" y="71"/>
                  </a:lnTo>
                  <a:lnTo>
                    <a:pt x="322" y="75"/>
                  </a:lnTo>
                  <a:lnTo>
                    <a:pt x="322" y="77"/>
                  </a:lnTo>
                  <a:lnTo>
                    <a:pt x="324" y="77"/>
                  </a:lnTo>
                  <a:lnTo>
                    <a:pt x="324" y="78"/>
                  </a:lnTo>
                  <a:lnTo>
                    <a:pt x="324" y="80"/>
                  </a:lnTo>
                  <a:lnTo>
                    <a:pt x="324" y="81"/>
                  </a:lnTo>
                  <a:lnTo>
                    <a:pt x="324" y="82"/>
                  </a:lnTo>
                  <a:lnTo>
                    <a:pt x="325" y="80"/>
                  </a:lnTo>
                  <a:lnTo>
                    <a:pt x="325" y="78"/>
                  </a:lnTo>
                  <a:lnTo>
                    <a:pt x="326" y="78"/>
                  </a:lnTo>
                  <a:lnTo>
                    <a:pt x="326" y="77"/>
                  </a:lnTo>
                  <a:lnTo>
                    <a:pt x="327" y="77"/>
                  </a:lnTo>
                  <a:lnTo>
                    <a:pt x="327" y="75"/>
                  </a:lnTo>
                  <a:lnTo>
                    <a:pt x="326" y="75"/>
                  </a:lnTo>
                  <a:lnTo>
                    <a:pt x="326" y="74"/>
                  </a:lnTo>
                  <a:lnTo>
                    <a:pt x="325" y="72"/>
                  </a:lnTo>
                  <a:lnTo>
                    <a:pt x="324" y="71"/>
                  </a:lnTo>
                  <a:lnTo>
                    <a:pt x="325" y="71"/>
                  </a:lnTo>
                  <a:lnTo>
                    <a:pt x="325" y="70"/>
                  </a:lnTo>
                  <a:lnTo>
                    <a:pt x="326" y="69"/>
                  </a:lnTo>
                  <a:lnTo>
                    <a:pt x="326" y="68"/>
                  </a:lnTo>
                  <a:lnTo>
                    <a:pt x="327" y="68"/>
                  </a:lnTo>
                  <a:lnTo>
                    <a:pt x="328" y="68"/>
                  </a:lnTo>
                  <a:lnTo>
                    <a:pt x="328" y="69"/>
                  </a:lnTo>
                  <a:lnTo>
                    <a:pt x="330" y="70"/>
                  </a:lnTo>
                  <a:lnTo>
                    <a:pt x="332" y="70"/>
                  </a:lnTo>
                  <a:lnTo>
                    <a:pt x="333" y="70"/>
                  </a:lnTo>
                  <a:lnTo>
                    <a:pt x="333" y="69"/>
                  </a:lnTo>
                  <a:lnTo>
                    <a:pt x="332" y="69"/>
                  </a:lnTo>
                  <a:lnTo>
                    <a:pt x="330" y="69"/>
                  </a:lnTo>
                  <a:lnTo>
                    <a:pt x="331" y="68"/>
                  </a:lnTo>
                  <a:lnTo>
                    <a:pt x="330" y="68"/>
                  </a:lnTo>
                  <a:lnTo>
                    <a:pt x="330" y="66"/>
                  </a:lnTo>
                  <a:lnTo>
                    <a:pt x="330" y="64"/>
                  </a:lnTo>
                  <a:lnTo>
                    <a:pt x="331" y="63"/>
                  </a:lnTo>
                  <a:lnTo>
                    <a:pt x="332" y="63"/>
                  </a:lnTo>
                  <a:lnTo>
                    <a:pt x="332" y="62"/>
                  </a:lnTo>
                  <a:lnTo>
                    <a:pt x="331" y="60"/>
                  </a:lnTo>
                  <a:lnTo>
                    <a:pt x="331" y="59"/>
                  </a:lnTo>
                  <a:lnTo>
                    <a:pt x="332" y="59"/>
                  </a:lnTo>
                  <a:lnTo>
                    <a:pt x="331" y="58"/>
                  </a:lnTo>
                  <a:lnTo>
                    <a:pt x="330" y="58"/>
                  </a:lnTo>
                  <a:lnTo>
                    <a:pt x="328" y="58"/>
                  </a:lnTo>
                  <a:lnTo>
                    <a:pt x="328" y="57"/>
                  </a:lnTo>
                  <a:lnTo>
                    <a:pt x="326" y="55"/>
                  </a:lnTo>
                  <a:lnTo>
                    <a:pt x="325" y="55"/>
                  </a:lnTo>
                  <a:lnTo>
                    <a:pt x="325" y="54"/>
                  </a:lnTo>
                  <a:lnTo>
                    <a:pt x="327" y="54"/>
                  </a:lnTo>
                  <a:lnTo>
                    <a:pt x="327" y="53"/>
                  </a:lnTo>
                  <a:lnTo>
                    <a:pt x="327" y="51"/>
                  </a:lnTo>
                  <a:lnTo>
                    <a:pt x="328" y="52"/>
                  </a:lnTo>
                  <a:lnTo>
                    <a:pt x="330" y="52"/>
                  </a:lnTo>
                  <a:lnTo>
                    <a:pt x="330" y="51"/>
                  </a:lnTo>
                  <a:lnTo>
                    <a:pt x="328" y="51"/>
                  </a:lnTo>
                  <a:lnTo>
                    <a:pt x="330" y="49"/>
                  </a:lnTo>
                  <a:lnTo>
                    <a:pt x="328" y="49"/>
                  </a:lnTo>
                  <a:lnTo>
                    <a:pt x="328" y="47"/>
                  </a:lnTo>
                  <a:lnTo>
                    <a:pt x="328" y="45"/>
                  </a:lnTo>
                  <a:lnTo>
                    <a:pt x="330" y="45"/>
                  </a:lnTo>
                  <a:lnTo>
                    <a:pt x="331" y="45"/>
                  </a:lnTo>
                  <a:lnTo>
                    <a:pt x="331" y="43"/>
                  </a:lnTo>
                  <a:lnTo>
                    <a:pt x="332" y="45"/>
                  </a:lnTo>
                  <a:lnTo>
                    <a:pt x="333" y="45"/>
                  </a:lnTo>
                  <a:lnTo>
                    <a:pt x="332" y="46"/>
                  </a:lnTo>
                  <a:lnTo>
                    <a:pt x="333" y="47"/>
                  </a:lnTo>
                  <a:lnTo>
                    <a:pt x="333" y="48"/>
                  </a:lnTo>
                  <a:lnTo>
                    <a:pt x="334" y="48"/>
                  </a:lnTo>
                  <a:lnTo>
                    <a:pt x="334" y="49"/>
                  </a:lnTo>
                  <a:lnTo>
                    <a:pt x="336" y="51"/>
                  </a:lnTo>
                  <a:lnTo>
                    <a:pt x="337" y="51"/>
                  </a:lnTo>
                  <a:lnTo>
                    <a:pt x="337" y="49"/>
                  </a:lnTo>
                  <a:lnTo>
                    <a:pt x="338" y="49"/>
                  </a:lnTo>
                  <a:lnTo>
                    <a:pt x="339" y="51"/>
                  </a:lnTo>
                  <a:lnTo>
                    <a:pt x="339" y="52"/>
                  </a:lnTo>
                  <a:lnTo>
                    <a:pt x="339" y="53"/>
                  </a:lnTo>
                  <a:lnTo>
                    <a:pt x="339" y="57"/>
                  </a:lnTo>
                  <a:lnTo>
                    <a:pt x="340" y="57"/>
                  </a:lnTo>
                  <a:lnTo>
                    <a:pt x="343" y="57"/>
                  </a:lnTo>
                  <a:lnTo>
                    <a:pt x="343" y="55"/>
                  </a:lnTo>
                  <a:lnTo>
                    <a:pt x="345" y="57"/>
                  </a:lnTo>
                  <a:lnTo>
                    <a:pt x="345" y="55"/>
                  </a:lnTo>
                  <a:lnTo>
                    <a:pt x="346" y="55"/>
                  </a:lnTo>
                  <a:lnTo>
                    <a:pt x="346" y="54"/>
                  </a:lnTo>
                  <a:lnTo>
                    <a:pt x="348" y="54"/>
                  </a:lnTo>
                  <a:lnTo>
                    <a:pt x="346" y="54"/>
                  </a:lnTo>
                  <a:lnTo>
                    <a:pt x="345" y="54"/>
                  </a:lnTo>
                  <a:lnTo>
                    <a:pt x="345" y="53"/>
                  </a:lnTo>
                  <a:lnTo>
                    <a:pt x="345" y="52"/>
                  </a:lnTo>
                  <a:lnTo>
                    <a:pt x="345" y="51"/>
                  </a:lnTo>
                  <a:lnTo>
                    <a:pt x="344" y="51"/>
                  </a:lnTo>
                  <a:lnTo>
                    <a:pt x="344" y="49"/>
                  </a:lnTo>
                  <a:lnTo>
                    <a:pt x="343" y="48"/>
                  </a:lnTo>
                  <a:lnTo>
                    <a:pt x="344" y="48"/>
                  </a:lnTo>
                  <a:lnTo>
                    <a:pt x="344" y="47"/>
                  </a:lnTo>
                  <a:lnTo>
                    <a:pt x="343" y="47"/>
                  </a:lnTo>
                  <a:lnTo>
                    <a:pt x="343" y="46"/>
                  </a:lnTo>
                  <a:lnTo>
                    <a:pt x="343" y="45"/>
                  </a:lnTo>
                  <a:lnTo>
                    <a:pt x="344" y="43"/>
                  </a:lnTo>
                  <a:lnTo>
                    <a:pt x="343" y="43"/>
                  </a:lnTo>
                  <a:lnTo>
                    <a:pt x="343" y="41"/>
                  </a:lnTo>
                  <a:lnTo>
                    <a:pt x="343" y="40"/>
                  </a:lnTo>
                  <a:lnTo>
                    <a:pt x="342" y="39"/>
                  </a:lnTo>
                  <a:lnTo>
                    <a:pt x="342" y="37"/>
                  </a:lnTo>
                  <a:lnTo>
                    <a:pt x="342" y="36"/>
                  </a:lnTo>
                  <a:lnTo>
                    <a:pt x="339" y="36"/>
                  </a:lnTo>
                  <a:lnTo>
                    <a:pt x="339" y="35"/>
                  </a:lnTo>
                  <a:lnTo>
                    <a:pt x="340" y="34"/>
                  </a:lnTo>
                  <a:lnTo>
                    <a:pt x="339" y="34"/>
                  </a:lnTo>
                  <a:lnTo>
                    <a:pt x="339" y="33"/>
                  </a:lnTo>
                  <a:lnTo>
                    <a:pt x="339" y="31"/>
                  </a:lnTo>
                  <a:lnTo>
                    <a:pt x="339" y="29"/>
                  </a:lnTo>
                  <a:lnTo>
                    <a:pt x="340" y="29"/>
                  </a:lnTo>
                  <a:lnTo>
                    <a:pt x="342" y="29"/>
                  </a:lnTo>
                  <a:lnTo>
                    <a:pt x="342" y="30"/>
                  </a:lnTo>
                  <a:lnTo>
                    <a:pt x="343" y="29"/>
                  </a:lnTo>
                  <a:lnTo>
                    <a:pt x="343" y="27"/>
                  </a:lnTo>
                  <a:lnTo>
                    <a:pt x="343" y="25"/>
                  </a:lnTo>
                  <a:lnTo>
                    <a:pt x="343" y="24"/>
                  </a:lnTo>
                  <a:lnTo>
                    <a:pt x="343" y="23"/>
                  </a:lnTo>
                  <a:lnTo>
                    <a:pt x="343" y="22"/>
                  </a:lnTo>
                  <a:lnTo>
                    <a:pt x="344" y="21"/>
                  </a:lnTo>
                  <a:lnTo>
                    <a:pt x="344" y="22"/>
                  </a:lnTo>
                  <a:lnTo>
                    <a:pt x="348" y="22"/>
                  </a:lnTo>
                  <a:lnTo>
                    <a:pt x="348" y="23"/>
                  </a:lnTo>
                  <a:lnTo>
                    <a:pt x="346" y="24"/>
                  </a:lnTo>
                  <a:lnTo>
                    <a:pt x="348" y="24"/>
                  </a:lnTo>
                  <a:lnTo>
                    <a:pt x="348" y="25"/>
                  </a:lnTo>
                  <a:lnTo>
                    <a:pt x="348" y="27"/>
                  </a:lnTo>
                  <a:lnTo>
                    <a:pt x="348" y="28"/>
                  </a:lnTo>
                  <a:lnTo>
                    <a:pt x="349" y="28"/>
                  </a:lnTo>
                  <a:lnTo>
                    <a:pt x="349" y="30"/>
                  </a:lnTo>
                  <a:lnTo>
                    <a:pt x="349" y="31"/>
                  </a:lnTo>
                  <a:lnTo>
                    <a:pt x="350" y="31"/>
                  </a:lnTo>
                  <a:lnTo>
                    <a:pt x="350" y="30"/>
                  </a:lnTo>
                  <a:lnTo>
                    <a:pt x="351" y="30"/>
                  </a:lnTo>
                  <a:lnTo>
                    <a:pt x="351" y="29"/>
                  </a:lnTo>
                  <a:lnTo>
                    <a:pt x="352" y="29"/>
                  </a:lnTo>
                  <a:lnTo>
                    <a:pt x="354" y="29"/>
                  </a:lnTo>
                  <a:lnTo>
                    <a:pt x="355" y="30"/>
                  </a:lnTo>
                  <a:lnTo>
                    <a:pt x="356" y="30"/>
                  </a:lnTo>
                  <a:lnTo>
                    <a:pt x="356" y="31"/>
                  </a:lnTo>
                  <a:lnTo>
                    <a:pt x="357" y="31"/>
                  </a:lnTo>
                  <a:lnTo>
                    <a:pt x="357" y="30"/>
                  </a:lnTo>
                  <a:lnTo>
                    <a:pt x="358" y="30"/>
                  </a:lnTo>
                  <a:lnTo>
                    <a:pt x="358" y="29"/>
                  </a:lnTo>
                  <a:lnTo>
                    <a:pt x="358" y="28"/>
                  </a:lnTo>
                  <a:lnTo>
                    <a:pt x="358" y="25"/>
                  </a:lnTo>
                  <a:lnTo>
                    <a:pt x="360" y="24"/>
                  </a:lnTo>
                  <a:lnTo>
                    <a:pt x="361" y="25"/>
                  </a:lnTo>
                  <a:lnTo>
                    <a:pt x="362" y="25"/>
                  </a:lnTo>
                  <a:lnTo>
                    <a:pt x="363" y="27"/>
                  </a:lnTo>
                  <a:lnTo>
                    <a:pt x="364" y="27"/>
                  </a:lnTo>
                  <a:lnTo>
                    <a:pt x="364" y="28"/>
                  </a:lnTo>
                  <a:lnTo>
                    <a:pt x="363" y="30"/>
                  </a:lnTo>
                  <a:lnTo>
                    <a:pt x="362" y="31"/>
                  </a:lnTo>
                  <a:lnTo>
                    <a:pt x="362" y="35"/>
                  </a:lnTo>
                  <a:lnTo>
                    <a:pt x="363" y="35"/>
                  </a:lnTo>
                  <a:lnTo>
                    <a:pt x="364" y="36"/>
                  </a:lnTo>
                  <a:lnTo>
                    <a:pt x="363" y="36"/>
                  </a:lnTo>
                  <a:lnTo>
                    <a:pt x="364" y="36"/>
                  </a:lnTo>
                  <a:lnTo>
                    <a:pt x="366" y="37"/>
                  </a:lnTo>
                  <a:lnTo>
                    <a:pt x="364" y="37"/>
                  </a:lnTo>
                  <a:lnTo>
                    <a:pt x="363" y="39"/>
                  </a:lnTo>
                  <a:lnTo>
                    <a:pt x="362" y="40"/>
                  </a:lnTo>
                  <a:lnTo>
                    <a:pt x="361" y="41"/>
                  </a:lnTo>
                  <a:lnTo>
                    <a:pt x="361" y="42"/>
                  </a:lnTo>
                  <a:lnTo>
                    <a:pt x="361" y="43"/>
                  </a:lnTo>
                  <a:lnTo>
                    <a:pt x="360" y="43"/>
                  </a:lnTo>
                  <a:lnTo>
                    <a:pt x="360" y="45"/>
                  </a:lnTo>
                  <a:lnTo>
                    <a:pt x="360" y="46"/>
                  </a:lnTo>
                  <a:lnTo>
                    <a:pt x="361" y="46"/>
                  </a:lnTo>
                  <a:lnTo>
                    <a:pt x="361" y="47"/>
                  </a:lnTo>
                  <a:lnTo>
                    <a:pt x="362" y="48"/>
                  </a:lnTo>
                  <a:lnTo>
                    <a:pt x="362" y="49"/>
                  </a:lnTo>
                  <a:lnTo>
                    <a:pt x="363" y="51"/>
                  </a:lnTo>
                  <a:lnTo>
                    <a:pt x="363" y="49"/>
                  </a:lnTo>
                  <a:lnTo>
                    <a:pt x="364" y="49"/>
                  </a:lnTo>
                  <a:lnTo>
                    <a:pt x="364" y="51"/>
                  </a:lnTo>
                  <a:lnTo>
                    <a:pt x="366" y="51"/>
                  </a:lnTo>
                  <a:lnTo>
                    <a:pt x="366" y="52"/>
                  </a:lnTo>
                  <a:lnTo>
                    <a:pt x="367" y="52"/>
                  </a:lnTo>
                  <a:lnTo>
                    <a:pt x="368" y="53"/>
                  </a:lnTo>
                  <a:lnTo>
                    <a:pt x="368" y="52"/>
                  </a:lnTo>
                  <a:lnTo>
                    <a:pt x="369" y="51"/>
                  </a:lnTo>
                  <a:lnTo>
                    <a:pt x="369" y="48"/>
                  </a:lnTo>
                  <a:lnTo>
                    <a:pt x="370" y="48"/>
                  </a:lnTo>
                  <a:lnTo>
                    <a:pt x="370" y="47"/>
                  </a:lnTo>
                  <a:lnTo>
                    <a:pt x="370" y="46"/>
                  </a:lnTo>
                  <a:lnTo>
                    <a:pt x="370" y="45"/>
                  </a:lnTo>
                  <a:lnTo>
                    <a:pt x="370" y="43"/>
                  </a:lnTo>
                  <a:lnTo>
                    <a:pt x="372" y="43"/>
                  </a:lnTo>
                  <a:lnTo>
                    <a:pt x="373" y="42"/>
                  </a:lnTo>
                  <a:lnTo>
                    <a:pt x="374" y="41"/>
                  </a:lnTo>
                  <a:lnTo>
                    <a:pt x="374" y="37"/>
                  </a:lnTo>
                  <a:lnTo>
                    <a:pt x="374" y="36"/>
                  </a:lnTo>
                  <a:lnTo>
                    <a:pt x="374" y="35"/>
                  </a:lnTo>
                  <a:lnTo>
                    <a:pt x="374" y="34"/>
                  </a:lnTo>
                  <a:lnTo>
                    <a:pt x="376" y="33"/>
                  </a:lnTo>
                  <a:lnTo>
                    <a:pt x="378" y="33"/>
                  </a:lnTo>
                  <a:lnTo>
                    <a:pt x="378" y="34"/>
                  </a:lnTo>
                  <a:lnTo>
                    <a:pt x="379" y="34"/>
                  </a:lnTo>
                  <a:lnTo>
                    <a:pt x="379" y="35"/>
                  </a:lnTo>
                  <a:lnTo>
                    <a:pt x="379" y="36"/>
                  </a:lnTo>
                  <a:lnTo>
                    <a:pt x="379" y="39"/>
                  </a:lnTo>
                  <a:lnTo>
                    <a:pt x="380" y="39"/>
                  </a:lnTo>
                  <a:lnTo>
                    <a:pt x="380" y="40"/>
                  </a:lnTo>
                  <a:lnTo>
                    <a:pt x="381" y="39"/>
                  </a:lnTo>
                  <a:lnTo>
                    <a:pt x="384" y="40"/>
                  </a:lnTo>
                  <a:lnTo>
                    <a:pt x="384" y="41"/>
                  </a:lnTo>
                  <a:lnTo>
                    <a:pt x="384" y="42"/>
                  </a:lnTo>
                  <a:lnTo>
                    <a:pt x="384" y="45"/>
                  </a:lnTo>
                  <a:lnTo>
                    <a:pt x="385" y="45"/>
                  </a:lnTo>
                  <a:lnTo>
                    <a:pt x="386" y="42"/>
                  </a:lnTo>
                  <a:lnTo>
                    <a:pt x="387" y="42"/>
                  </a:lnTo>
                  <a:lnTo>
                    <a:pt x="389" y="42"/>
                  </a:lnTo>
                  <a:lnTo>
                    <a:pt x="390" y="42"/>
                  </a:lnTo>
                  <a:lnTo>
                    <a:pt x="390" y="43"/>
                  </a:lnTo>
                  <a:lnTo>
                    <a:pt x="390" y="45"/>
                  </a:lnTo>
                  <a:lnTo>
                    <a:pt x="391" y="45"/>
                  </a:lnTo>
                  <a:lnTo>
                    <a:pt x="391" y="43"/>
                  </a:lnTo>
                  <a:lnTo>
                    <a:pt x="390" y="43"/>
                  </a:lnTo>
                  <a:lnTo>
                    <a:pt x="390" y="42"/>
                  </a:lnTo>
                  <a:lnTo>
                    <a:pt x="390" y="41"/>
                  </a:lnTo>
                  <a:lnTo>
                    <a:pt x="391" y="40"/>
                  </a:lnTo>
                  <a:lnTo>
                    <a:pt x="392" y="40"/>
                  </a:lnTo>
                  <a:lnTo>
                    <a:pt x="392" y="39"/>
                  </a:lnTo>
                  <a:lnTo>
                    <a:pt x="393" y="39"/>
                  </a:lnTo>
                  <a:lnTo>
                    <a:pt x="393" y="37"/>
                  </a:lnTo>
                  <a:lnTo>
                    <a:pt x="395" y="36"/>
                  </a:lnTo>
                  <a:lnTo>
                    <a:pt x="393" y="35"/>
                  </a:lnTo>
                  <a:lnTo>
                    <a:pt x="393" y="34"/>
                  </a:lnTo>
                  <a:lnTo>
                    <a:pt x="393" y="33"/>
                  </a:lnTo>
                  <a:lnTo>
                    <a:pt x="393" y="31"/>
                  </a:lnTo>
                  <a:lnTo>
                    <a:pt x="392" y="30"/>
                  </a:lnTo>
                  <a:lnTo>
                    <a:pt x="393" y="31"/>
                  </a:lnTo>
                  <a:lnTo>
                    <a:pt x="395" y="30"/>
                  </a:lnTo>
                  <a:lnTo>
                    <a:pt x="392" y="29"/>
                  </a:lnTo>
                  <a:lnTo>
                    <a:pt x="392" y="28"/>
                  </a:lnTo>
                  <a:lnTo>
                    <a:pt x="391" y="28"/>
                  </a:lnTo>
                  <a:lnTo>
                    <a:pt x="390" y="28"/>
                  </a:lnTo>
                  <a:lnTo>
                    <a:pt x="389" y="27"/>
                  </a:lnTo>
                  <a:lnTo>
                    <a:pt x="389" y="25"/>
                  </a:lnTo>
                  <a:lnTo>
                    <a:pt x="390" y="25"/>
                  </a:lnTo>
                  <a:lnTo>
                    <a:pt x="389" y="24"/>
                  </a:lnTo>
                  <a:lnTo>
                    <a:pt x="389" y="22"/>
                  </a:lnTo>
                  <a:lnTo>
                    <a:pt x="387" y="21"/>
                  </a:lnTo>
                  <a:lnTo>
                    <a:pt x="386" y="19"/>
                  </a:lnTo>
                  <a:lnTo>
                    <a:pt x="385" y="18"/>
                  </a:lnTo>
                  <a:lnTo>
                    <a:pt x="386" y="17"/>
                  </a:lnTo>
                  <a:lnTo>
                    <a:pt x="386" y="16"/>
                  </a:lnTo>
                  <a:lnTo>
                    <a:pt x="387" y="16"/>
                  </a:lnTo>
                  <a:lnTo>
                    <a:pt x="389" y="16"/>
                  </a:lnTo>
                  <a:lnTo>
                    <a:pt x="390" y="18"/>
                  </a:lnTo>
                  <a:lnTo>
                    <a:pt x="391" y="18"/>
                  </a:lnTo>
                  <a:lnTo>
                    <a:pt x="391" y="15"/>
                  </a:lnTo>
                  <a:lnTo>
                    <a:pt x="391" y="13"/>
                  </a:lnTo>
                  <a:lnTo>
                    <a:pt x="391" y="11"/>
                  </a:lnTo>
                  <a:lnTo>
                    <a:pt x="392" y="10"/>
                  </a:lnTo>
                  <a:lnTo>
                    <a:pt x="393" y="10"/>
                  </a:lnTo>
                  <a:lnTo>
                    <a:pt x="395" y="10"/>
                  </a:lnTo>
                  <a:lnTo>
                    <a:pt x="396" y="10"/>
                  </a:lnTo>
                  <a:lnTo>
                    <a:pt x="396" y="11"/>
                  </a:lnTo>
                  <a:lnTo>
                    <a:pt x="397" y="11"/>
                  </a:lnTo>
                  <a:lnTo>
                    <a:pt x="397" y="12"/>
                  </a:lnTo>
                  <a:lnTo>
                    <a:pt x="397" y="13"/>
                  </a:lnTo>
                  <a:lnTo>
                    <a:pt x="398" y="13"/>
                  </a:lnTo>
                  <a:lnTo>
                    <a:pt x="398" y="15"/>
                  </a:lnTo>
                  <a:lnTo>
                    <a:pt x="399" y="15"/>
                  </a:lnTo>
                  <a:lnTo>
                    <a:pt x="399" y="16"/>
                  </a:lnTo>
                  <a:lnTo>
                    <a:pt x="401" y="16"/>
                  </a:lnTo>
                  <a:lnTo>
                    <a:pt x="401" y="17"/>
                  </a:lnTo>
                  <a:lnTo>
                    <a:pt x="401" y="18"/>
                  </a:lnTo>
                  <a:lnTo>
                    <a:pt x="401" y="19"/>
                  </a:lnTo>
                  <a:lnTo>
                    <a:pt x="399" y="19"/>
                  </a:lnTo>
                  <a:lnTo>
                    <a:pt x="399" y="21"/>
                  </a:lnTo>
                  <a:lnTo>
                    <a:pt x="398" y="21"/>
                  </a:lnTo>
                  <a:lnTo>
                    <a:pt x="398" y="22"/>
                  </a:lnTo>
                  <a:lnTo>
                    <a:pt x="398" y="23"/>
                  </a:lnTo>
                  <a:lnTo>
                    <a:pt x="397" y="23"/>
                  </a:lnTo>
                  <a:lnTo>
                    <a:pt x="397" y="24"/>
                  </a:lnTo>
                  <a:lnTo>
                    <a:pt x="396" y="25"/>
                  </a:lnTo>
                  <a:lnTo>
                    <a:pt x="397" y="25"/>
                  </a:lnTo>
                  <a:lnTo>
                    <a:pt x="397" y="27"/>
                  </a:lnTo>
                  <a:lnTo>
                    <a:pt x="398" y="27"/>
                  </a:lnTo>
                  <a:lnTo>
                    <a:pt x="401" y="27"/>
                  </a:lnTo>
                  <a:lnTo>
                    <a:pt x="401" y="25"/>
                  </a:lnTo>
                  <a:lnTo>
                    <a:pt x="402" y="25"/>
                  </a:lnTo>
                  <a:lnTo>
                    <a:pt x="403" y="24"/>
                  </a:lnTo>
                  <a:lnTo>
                    <a:pt x="404" y="24"/>
                  </a:lnTo>
                  <a:lnTo>
                    <a:pt x="405" y="24"/>
                  </a:lnTo>
                  <a:lnTo>
                    <a:pt x="407" y="27"/>
                  </a:lnTo>
                  <a:lnTo>
                    <a:pt x="407" y="29"/>
                  </a:lnTo>
                  <a:lnTo>
                    <a:pt x="408" y="29"/>
                  </a:lnTo>
                  <a:lnTo>
                    <a:pt x="409" y="30"/>
                  </a:lnTo>
                  <a:lnTo>
                    <a:pt x="410" y="34"/>
                  </a:lnTo>
                  <a:lnTo>
                    <a:pt x="410" y="30"/>
                  </a:lnTo>
                  <a:lnTo>
                    <a:pt x="411" y="30"/>
                  </a:lnTo>
                  <a:lnTo>
                    <a:pt x="411" y="28"/>
                  </a:lnTo>
                  <a:lnTo>
                    <a:pt x="411" y="27"/>
                  </a:lnTo>
                  <a:lnTo>
                    <a:pt x="410" y="25"/>
                  </a:lnTo>
                  <a:lnTo>
                    <a:pt x="411" y="25"/>
                  </a:lnTo>
                  <a:lnTo>
                    <a:pt x="411" y="22"/>
                  </a:lnTo>
                  <a:lnTo>
                    <a:pt x="410" y="22"/>
                  </a:lnTo>
                  <a:lnTo>
                    <a:pt x="411" y="21"/>
                  </a:lnTo>
                  <a:lnTo>
                    <a:pt x="411" y="19"/>
                  </a:lnTo>
                  <a:lnTo>
                    <a:pt x="411" y="18"/>
                  </a:lnTo>
                  <a:lnTo>
                    <a:pt x="413" y="17"/>
                  </a:lnTo>
                  <a:lnTo>
                    <a:pt x="414" y="17"/>
                  </a:lnTo>
                  <a:lnTo>
                    <a:pt x="416" y="17"/>
                  </a:lnTo>
                  <a:lnTo>
                    <a:pt x="417" y="18"/>
                  </a:lnTo>
                  <a:lnTo>
                    <a:pt x="417" y="17"/>
                  </a:lnTo>
                  <a:lnTo>
                    <a:pt x="417" y="16"/>
                  </a:lnTo>
                  <a:lnTo>
                    <a:pt x="419" y="15"/>
                  </a:lnTo>
                  <a:lnTo>
                    <a:pt x="419" y="13"/>
                  </a:lnTo>
                  <a:lnTo>
                    <a:pt x="420" y="13"/>
                  </a:lnTo>
                  <a:lnTo>
                    <a:pt x="420" y="11"/>
                  </a:lnTo>
                  <a:lnTo>
                    <a:pt x="420" y="10"/>
                  </a:lnTo>
                  <a:lnTo>
                    <a:pt x="419" y="10"/>
                  </a:lnTo>
                  <a:lnTo>
                    <a:pt x="420" y="7"/>
                  </a:lnTo>
                  <a:lnTo>
                    <a:pt x="423" y="7"/>
                  </a:lnTo>
                  <a:lnTo>
                    <a:pt x="423" y="9"/>
                  </a:lnTo>
                  <a:lnTo>
                    <a:pt x="423" y="10"/>
                  </a:lnTo>
                  <a:lnTo>
                    <a:pt x="425" y="11"/>
                  </a:lnTo>
                  <a:lnTo>
                    <a:pt x="425" y="12"/>
                  </a:lnTo>
                  <a:lnTo>
                    <a:pt x="426" y="12"/>
                  </a:lnTo>
                  <a:lnTo>
                    <a:pt x="427" y="11"/>
                  </a:lnTo>
                  <a:lnTo>
                    <a:pt x="427" y="7"/>
                  </a:lnTo>
                  <a:lnTo>
                    <a:pt x="428" y="7"/>
                  </a:lnTo>
                  <a:lnTo>
                    <a:pt x="428" y="6"/>
                  </a:lnTo>
                  <a:lnTo>
                    <a:pt x="429" y="5"/>
                  </a:lnTo>
                  <a:lnTo>
                    <a:pt x="429" y="4"/>
                  </a:lnTo>
                  <a:lnTo>
                    <a:pt x="429" y="1"/>
                  </a:lnTo>
                  <a:lnTo>
                    <a:pt x="431" y="1"/>
                  </a:lnTo>
                  <a:lnTo>
                    <a:pt x="431" y="0"/>
                  </a:lnTo>
                  <a:lnTo>
                    <a:pt x="432" y="0"/>
                  </a:lnTo>
                  <a:lnTo>
                    <a:pt x="434" y="1"/>
                  </a:lnTo>
                  <a:lnTo>
                    <a:pt x="435" y="1"/>
                  </a:lnTo>
                  <a:lnTo>
                    <a:pt x="437" y="3"/>
                  </a:lnTo>
                  <a:lnTo>
                    <a:pt x="435" y="3"/>
                  </a:lnTo>
                  <a:lnTo>
                    <a:pt x="435" y="5"/>
                  </a:lnTo>
                  <a:lnTo>
                    <a:pt x="434" y="6"/>
                  </a:lnTo>
                  <a:lnTo>
                    <a:pt x="434" y="7"/>
                  </a:lnTo>
                  <a:lnTo>
                    <a:pt x="434" y="9"/>
                  </a:lnTo>
                  <a:lnTo>
                    <a:pt x="434" y="10"/>
                  </a:lnTo>
                  <a:lnTo>
                    <a:pt x="435" y="10"/>
                  </a:lnTo>
                  <a:lnTo>
                    <a:pt x="437" y="10"/>
                  </a:lnTo>
                  <a:lnTo>
                    <a:pt x="437" y="11"/>
                  </a:lnTo>
                  <a:lnTo>
                    <a:pt x="437" y="12"/>
                  </a:lnTo>
                  <a:lnTo>
                    <a:pt x="435" y="15"/>
                  </a:lnTo>
                  <a:lnTo>
                    <a:pt x="435" y="17"/>
                  </a:lnTo>
                  <a:lnTo>
                    <a:pt x="434" y="17"/>
                  </a:lnTo>
                  <a:lnTo>
                    <a:pt x="434" y="18"/>
                  </a:lnTo>
                  <a:lnTo>
                    <a:pt x="435" y="18"/>
                  </a:lnTo>
                  <a:lnTo>
                    <a:pt x="437" y="19"/>
                  </a:lnTo>
                  <a:lnTo>
                    <a:pt x="438" y="19"/>
                  </a:lnTo>
                  <a:lnTo>
                    <a:pt x="438" y="21"/>
                  </a:lnTo>
                  <a:lnTo>
                    <a:pt x="438" y="22"/>
                  </a:lnTo>
                  <a:lnTo>
                    <a:pt x="437" y="24"/>
                  </a:lnTo>
                  <a:lnTo>
                    <a:pt x="437" y="25"/>
                  </a:lnTo>
                  <a:lnTo>
                    <a:pt x="435" y="28"/>
                  </a:lnTo>
                  <a:lnTo>
                    <a:pt x="435" y="29"/>
                  </a:lnTo>
                  <a:lnTo>
                    <a:pt x="434" y="29"/>
                  </a:lnTo>
                  <a:lnTo>
                    <a:pt x="435" y="30"/>
                  </a:lnTo>
                  <a:lnTo>
                    <a:pt x="435" y="31"/>
                  </a:lnTo>
                  <a:lnTo>
                    <a:pt x="435" y="34"/>
                  </a:lnTo>
                  <a:lnTo>
                    <a:pt x="434" y="35"/>
                  </a:lnTo>
                  <a:lnTo>
                    <a:pt x="434" y="37"/>
                  </a:lnTo>
                  <a:lnTo>
                    <a:pt x="433" y="39"/>
                  </a:lnTo>
                  <a:lnTo>
                    <a:pt x="434" y="40"/>
                  </a:lnTo>
                  <a:lnTo>
                    <a:pt x="433" y="40"/>
                  </a:lnTo>
                  <a:lnTo>
                    <a:pt x="433" y="41"/>
                  </a:lnTo>
                  <a:lnTo>
                    <a:pt x="434" y="43"/>
                  </a:lnTo>
                  <a:lnTo>
                    <a:pt x="433" y="43"/>
                  </a:lnTo>
                  <a:lnTo>
                    <a:pt x="433" y="45"/>
                  </a:lnTo>
                  <a:lnTo>
                    <a:pt x="434" y="45"/>
                  </a:lnTo>
                  <a:lnTo>
                    <a:pt x="434" y="42"/>
                  </a:lnTo>
                  <a:lnTo>
                    <a:pt x="435" y="42"/>
                  </a:lnTo>
                  <a:lnTo>
                    <a:pt x="437" y="42"/>
                  </a:lnTo>
                  <a:lnTo>
                    <a:pt x="438" y="42"/>
                  </a:lnTo>
                  <a:lnTo>
                    <a:pt x="439" y="43"/>
                  </a:lnTo>
                  <a:lnTo>
                    <a:pt x="439" y="42"/>
                  </a:lnTo>
                  <a:lnTo>
                    <a:pt x="440" y="42"/>
                  </a:lnTo>
                  <a:lnTo>
                    <a:pt x="443" y="42"/>
                  </a:lnTo>
                  <a:lnTo>
                    <a:pt x="444" y="41"/>
                  </a:lnTo>
                  <a:lnTo>
                    <a:pt x="444" y="40"/>
                  </a:lnTo>
                  <a:lnTo>
                    <a:pt x="445" y="40"/>
                  </a:lnTo>
                  <a:lnTo>
                    <a:pt x="445" y="39"/>
                  </a:lnTo>
                  <a:lnTo>
                    <a:pt x="446" y="39"/>
                  </a:lnTo>
                  <a:lnTo>
                    <a:pt x="446" y="40"/>
                  </a:lnTo>
                  <a:lnTo>
                    <a:pt x="448" y="41"/>
                  </a:lnTo>
                  <a:lnTo>
                    <a:pt x="448" y="42"/>
                  </a:lnTo>
                  <a:lnTo>
                    <a:pt x="446" y="45"/>
                  </a:lnTo>
                  <a:lnTo>
                    <a:pt x="446" y="46"/>
                  </a:lnTo>
                  <a:lnTo>
                    <a:pt x="446" y="47"/>
                  </a:lnTo>
                  <a:lnTo>
                    <a:pt x="445" y="47"/>
                  </a:lnTo>
                  <a:lnTo>
                    <a:pt x="445" y="48"/>
                  </a:lnTo>
                  <a:lnTo>
                    <a:pt x="445" y="49"/>
                  </a:lnTo>
                  <a:lnTo>
                    <a:pt x="445" y="51"/>
                  </a:lnTo>
                  <a:lnTo>
                    <a:pt x="445" y="52"/>
                  </a:lnTo>
                  <a:lnTo>
                    <a:pt x="445" y="53"/>
                  </a:lnTo>
                  <a:lnTo>
                    <a:pt x="445" y="54"/>
                  </a:lnTo>
                  <a:lnTo>
                    <a:pt x="445" y="55"/>
                  </a:lnTo>
                  <a:lnTo>
                    <a:pt x="448" y="55"/>
                  </a:lnTo>
                  <a:lnTo>
                    <a:pt x="449" y="54"/>
                  </a:lnTo>
                  <a:lnTo>
                    <a:pt x="449" y="52"/>
                  </a:lnTo>
                  <a:lnTo>
                    <a:pt x="450" y="52"/>
                  </a:lnTo>
                  <a:lnTo>
                    <a:pt x="450" y="51"/>
                  </a:lnTo>
                  <a:lnTo>
                    <a:pt x="450" y="49"/>
                  </a:lnTo>
                  <a:lnTo>
                    <a:pt x="450" y="47"/>
                  </a:lnTo>
                  <a:lnTo>
                    <a:pt x="451" y="47"/>
                  </a:lnTo>
                  <a:lnTo>
                    <a:pt x="455" y="48"/>
                  </a:lnTo>
                  <a:lnTo>
                    <a:pt x="456" y="48"/>
                  </a:lnTo>
                  <a:lnTo>
                    <a:pt x="457" y="48"/>
                  </a:lnTo>
                  <a:lnTo>
                    <a:pt x="457" y="49"/>
                  </a:lnTo>
                  <a:lnTo>
                    <a:pt x="457" y="52"/>
                  </a:lnTo>
                  <a:lnTo>
                    <a:pt x="458" y="52"/>
                  </a:lnTo>
                  <a:lnTo>
                    <a:pt x="458" y="51"/>
                  </a:lnTo>
                  <a:lnTo>
                    <a:pt x="462" y="51"/>
                  </a:lnTo>
                  <a:lnTo>
                    <a:pt x="462" y="49"/>
                  </a:lnTo>
                  <a:lnTo>
                    <a:pt x="461" y="48"/>
                  </a:lnTo>
                  <a:lnTo>
                    <a:pt x="461" y="47"/>
                  </a:lnTo>
                  <a:lnTo>
                    <a:pt x="462" y="47"/>
                  </a:lnTo>
                  <a:lnTo>
                    <a:pt x="463" y="46"/>
                  </a:lnTo>
                  <a:lnTo>
                    <a:pt x="462" y="46"/>
                  </a:lnTo>
                  <a:lnTo>
                    <a:pt x="461" y="45"/>
                  </a:lnTo>
                  <a:lnTo>
                    <a:pt x="460" y="45"/>
                  </a:lnTo>
                  <a:lnTo>
                    <a:pt x="460" y="43"/>
                  </a:lnTo>
                  <a:lnTo>
                    <a:pt x="461" y="40"/>
                  </a:lnTo>
                  <a:lnTo>
                    <a:pt x="461" y="39"/>
                  </a:lnTo>
                  <a:lnTo>
                    <a:pt x="462" y="39"/>
                  </a:lnTo>
                  <a:lnTo>
                    <a:pt x="463" y="39"/>
                  </a:lnTo>
                  <a:lnTo>
                    <a:pt x="463" y="40"/>
                  </a:lnTo>
                  <a:lnTo>
                    <a:pt x="464" y="41"/>
                  </a:lnTo>
                  <a:lnTo>
                    <a:pt x="466" y="42"/>
                  </a:lnTo>
                  <a:lnTo>
                    <a:pt x="467" y="42"/>
                  </a:lnTo>
                  <a:lnTo>
                    <a:pt x="468" y="43"/>
                  </a:lnTo>
                  <a:lnTo>
                    <a:pt x="468" y="42"/>
                  </a:lnTo>
                  <a:lnTo>
                    <a:pt x="468" y="41"/>
                  </a:lnTo>
                  <a:lnTo>
                    <a:pt x="469" y="41"/>
                  </a:lnTo>
                  <a:lnTo>
                    <a:pt x="469" y="40"/>
                  </a:lnTo>
                  <a:lnTo>
                    <a:pt x="469" y="39"/>
                  </a:lnTo>
                  <a:lnTo>
                    <a:pt x="470" y="39"/>
                  </a:lnTo>
                  <a:lnTo>
                    <a:pt x="470" y="37"/>
                  </a:lnTo>
                  <a:lnTo>
                    <a:pt x="470" y="35"/>
                  </a:lnTo>
                  <a:lnTo>
                    <a:pt x="472" y="35"/>
                  </a:lnTo>
                  <a:lnTo>
                    <a:pt x="472" y="34"/>
                  </a:lnTo>
                  <a:lnTo>
                    <a:pt x="473" y="34"/>
                  </a:lnTo>
                  <a:lnTo>
                    <a:pt x="474" y="34"/>
                  </a:lnTo>
                  <a:lnTo>
                    <a:pt x="474" y="33"/>
                  </a:lnTo>
                  <a:lnTo>
                    <a:pt x="475" y="31"/>
                  </a:lnTo>
                  <a:lnTo>
                    <a:pt x="475" y="30"/>
                  </a:lnTo>
                  <a:lnTo>
                    <a:pt x="474" y="30"/>
                  </a:lnTo>
                  <a:lnTo>
                    <a:pt x="474" y="29"/>
                  </a:lnTo>
                  <a:lnTo>
                    <a:pt x="474" y="30"/>
                  </a:lnTo>
                  <a:lnTo>
                    <a:pt x="473" y="29"/>
                  </a:lnTo>
                  <a:lnTo>
                    <a:pt x="470" y="28"/>
                  </a:lnTo>
                  <a:lnTo>
                    <a:pt x="470" y="25"/>
                  </a:lnTo>
                  <a:lnTo>
                    <a:pt x="472" y="25"/>
                  </a:lnTo>
                  <a:lnTo>
                    <a:pt x="473" y="24"/>
                  </a:lnTo>
                  <a:lnTo>
                    <a:pt x="474" y="24"/>
                  </a:lnTo>
                  <a:lnTo>
                    <a:pt x="475" y="25"/>
                  </a:lnTo>
                  <a:lnTo>
                    <a:pt x="476" y="24"/>
                  </a:lnTo>
                  <a:lnTo>
                    <a:pt x="476" y="23"/>
                  </a:lnTo>
                  <a:lnTo>
                    <a:pt x="476" y="22"/>
                  </a:lnTo>
                  <a:lnTo>
                    <a:pt x="476" y="19"/>
                  </a:lnTo>
                  <a:lnTo>
                    <a:pt x="476" y="18"/>
                  </a:lnTo>
                  <a:lnTo>
                    <a:pt x="476" y="17"/>
                  </a:lnTo>
                  <a:lnTo>
                    <a:pt x="476" y="15"/>
                  </a:lnTo>
                  <a:lnTo>
                    <a:pt x="479" y="15"/>
                  </a:lnTo>
                  <a:lnTo>
                    <a:pt x="480" y="15"/>
                  </a:lnTo>
                  <a:lnTo>
                    <a:pt x="480" y="13"/>
                  </a:lnTo>
                  <a:lnTo>
                    <a:pt x="481" y="12"/>
                  </a:lnTo>
                  <a:lnTo>
                    <a:pt x="481" y="11"/>
                  </a:lnTo>
                  <a:lnTo>
                    <a:pt x="482" y="10"/>
                  </a:lnTo>
                  <a:lnTo>
                    <a:pt x="482" y="9"/>
                  </a:lnTo>
                  <a:lnTo>
                    <a:pt x="484" y="10"/>
                  </a:lnTo>
                  <a:lnTo>
                    <a:pt x="485" y="11"/>
                  </a:lnTo>
                  <a:lnTo>
                    <a:pt x="486" y="11"/>
                  </a:lnTo>
                  <a:lnTo>
                    <a:pt x="487" y="12"/>
                  </a:lnTo>
                  <a:lnTo>
                    <a:pt x="486" y="13"/>
                  </a:lnTo>
                  <a:lnTo>
                    <a:pt x="486" y="15"/>
                  </a:lnTo>
                  <a:lnTo>
                    <a:pt x="486" y="17"/>
                  </a:lnTo>
                  <a:lnTo>
                    <a:pt x="486" y="18"/>
                  </a:lnTo>
                  <a:lnTo>
                    <a:pt x="486" y="19"/>
                  </a:lnTo>
                  <a:lnTo>
                    <a:pt x="486" y="22"/>
                  </a:lnTo>
                  <a:lnTo>
                    <a:pt x="486" y="24"/>
                  </a:lnTo>
                  <a:lnTo>
                    <a:pt x="486" y="25"/>
                  </a:lnTo>
                  <a:lnTo>
                    <a:pt x="486" y="24"/>
                  </a:lnTo>
                  <a:lnTo>
                    <a:pt x="487" y="24"/>
                  </a:lnTo>
                  <a:lnTo>
                    <a:pt x="488" y="24"/>
                  </a:lnTo>
                  <a:lnTo>
                    <a:pt x="490" y="23"/>
                  </a:lnTo>
                  <a:lnTo>
                    <a:pt x="488" y="23"/>
                  </a:lnTo>
                  <a:lnTo>
                    <a:pt x="490" y="23"/>
                  </a:lnTo>
                  <a:lnTo>
                    <a:pt x="491" y="24"/>
                  </a:lnTo>
                  <a:lnTo>
                    <a:pt x="492" y="25"/>
                  </a:lnTo>
                  <a:lnTo>
                    <a:pt x="492" y="27"/>
                  </a:lnTo>
                  <a:lnTo>
                    <a:pt x="491" y="27"/>
                  </a:lnTo>
                  <a:lnTo>
                    <a:pt x="491" y="28"/>
                  </a:lnTo>
                  <a:lnTo>
                    <a:pt x="490" y="28"/>
                  </a:lnTo>
                  <a:lnTo>
                    <a:pt x="488" y="29"/>
                  </a:lnTo>
                  <a:lnTo>
                    <a:pt x="487" y="29"/>
                  </a:lnTo>
                  <a:lnTo>
                    <a:pt x="487" y="30"/>
                  </a:lnTo>
                  <a:lnTo>
                    <a:pt x="486" y="30"/>
                  </a:lnTo>
                  <a:lnTo>
                    <a:pt x="485" y="31"/>
                  </a:lnTo>
                  <a:lnTo>
                    <a:pt x="484" y="31"/>
                  </a:lnTo>
                  <a:lnTo>
                    <a:pt x="484" y="33"/>
                  </a:lnTo>
                  <a:lnTo>
                    <a:pt x="482" y="34"/>
                  </a:lnTo>
                  <a:lnTo>
                    <a:pt x="481" y="35"/>
                  </a:lnTo>
                  <a:lnTo>
                    <a:pt x="480" y="35"/>
                  </a:lnTo>
                  <a:lnTo>
                    <a:pt x="480" y="36"/>
                  </a:lnTo>
                  <a:lnTo>
                    <a:pt x="481" y="36"/>
                  </a:lnTo>
                  <a:lnTo>
                    <a:pt x="481" y="37"/>
                  </a:lnTo>
                  <a:lnTo>
                    <a:pt x="481" y="39"/>
                  </a:lnTo>
                  <a:lnTo>
                    <a:pt x="481" y="40"/>
                  </a:lnTo>
                  <a:lnTo>
                    <a:pt x="481" y="41"/>
                  </a:lnTo>
                  <a:lnTo>
                    <a:pt x="481" y="42"/>
                  </a:lnTo>
                  <a:lnTo>
                    <a:pt x="480" y="42"/>
                  </a:lnTo>
                  <a:lnTo>
                    <a:pt x="480" y="43"/>
                  </a:lnTo>
                  <a:lnTo>
                    <a:pt x="480" y="45"/>
                  </a:lnTo>
                  <a:lnTo>
                    <a:pt x="481" y="46"/>
                  </a:lnTo>
                  <a:lnTo>
                    <a:pt x="482" y="46"/>
                  </a:lnTo>
                  <a:lnTo>
                    <a:pt x="482" y="45"/>
                  </a:lnTo>
                  <a:lnTo>
                    <a:pt x="482" y="43"/>
                  </a:lnTo>
                  <a:lnTo>
                    <a:pt x="484" y="43"/>
                  </a:lnTo>
                  <a:lnTo>
                    <a:pt x="485" y="43"/>
                  </a:lnTo>
                  <a:lnTo>
                    <a:pt x="486" y="42"/>
                  </a:lnTo>
                  <a:lnTo>
                    <a:pt x="487" y="42"/>
                  </a:lnTo>
                  <a:lnTo>
                    <a:pt x="487" y="43"/>
                  </a:lnTo>
                  <a:lnTo>
                    <a:pt x="488" y="43"/>
                  </a:lnTo>
                  <a:lnTo>
                    <a:pt x="490" y="45"/>
                  </a:lnTo>
                  <a:lnTo>
                    <a:pt x="490" y="46"/>
                  </a:lnTo>
                  <a:lnTo>
                    <a:pt x="491" y="46"/>
                  </a:lnTo>
                  <a:lnTo>
                    <a:pt x="492" y="46"/>
                  </a:lnTo>
                  <a:lnTo>
                    <a:pt x="492" y="45"/>
                  </a:lnTo>
                  <a:lnTo>
                    <a:pt x="492" y="43"/>
                  </a:lnTo>
                  <a:lnTo>
                    <a:pt x="492" y="42"/>
                  </a:lnTo>
                  <a:lnTo>
                    <a:pt x="493" y="41"/>
                  </a:lnTo>
                  <a:lnTo>
                    <a:pt x="494" y="41"/>
                  </a:lnTo>
                  <a:lnTo>
                    <a:pt x="494" y="40"/>
                  </a:lnTo>
                  <a:lnTo>
                    <a:pt x="496" y="39"/>
                  </a:lnTo>
                  <a:lnTo>
                    <a:pt x="496" y="36"/>
                  </a:lnTo>
                  <a:lnTo>
                    <a:pt x="496" y="34"/>
                  </a:lnTo>
                  <a:lnTo>
                    <a:pt x="494" y="33"/>
                  </a:lnTo>
                  <a:lnTo>
                    <a:pt x="494" y="31"/>
                  </a:lnTo>
                  <a:lnTo>
                    <a:pt x="494" y="30"/>
                  </a:lnTo>
                  <a:lnTo>
                    <a:pt x="493" y="29"/>
                  </a:lnTo>
                  <a:lnTo>
                    <a:pt x="494" y="29"/>
                  </a:lnTo>
                  <a:lnTo>
                    <a:pt x="496" y="28"/>
                  </a:lnTo>
                  <a:lnTo>
                    <a:pt x="497" y="28"/>
                  </a:lnTo>
                  <a:lnTo>
                    <a:pt x="497" y="27"/>
                  </a:lnTo>
                  <a:lnTo>
                    <a:pt x="498" y="25"/>
                  </a:lnTo>
                  <a:lnTo>
                    <a:pt x="498" y="23"/>
                  </a:lnTo>
                  <a:lnTo>
                    <a:pt x="498" y="22"/>
                  </a:lnTo>
                  <a:lnTo>
                    <a:pt x="502" y="22"/>
                  </a:lnTo>
                  <a:lnTo>
                    <a:pt x="502" y="23"/>
                  </a:lnTo>
                  <a:lnTo>
                    <a:pt x="502" y="25"/>
                  </a:lnTo>
                  <a:lnTo>
                    <a:pt x="501" y="25"/>
                  </a:lnTo>
                  <a:lnTo>
                    <a:pt x="501" y="27"/>
                  </a:lnTo>
                  <a:lnTo>
                    <a:pt x="502" y="27"/>
                  </a:lnTo>
                  <a:lnTo>
                    <a:pt x="502" y="29"/>
                  </a:lnTo>
                  <a:lnTo>
                    <a:pt x="503" y="29"/>
                  </a:lnTo>
                  <a:lnTo>
                    <a:pt x="504" y="29"/>
                  </a:lnTo>
                  <a:lnTo>
                    <a:pt x="503" y="28"/>
                  </a:lnTo>
                  <a:lnTo>
                    <a:pt x="503" y="27"/>
                  </a:lnTo>
                  <a:lnTo>
                    <a:pt x="504" y="27"/>
                  </a:lnTo>
                  <a:lnTo>
                    <a:pt x="505" y="25"/>
                  </a:lnTo>
                  <a:lnTo>
                    <a:pt x="505" y="24"/>
                  </a:lnTo>
                  <a:lnTo>
                    <a:pt x="505" y="23"/>
                  </a:lnTo>
                  <a:lnTo>
                    <a:pt x="505" y="22"/>
                  </a:lnTo>
                  <a:lnTo>
                    <a:pt x="507" y="21"/>
                  </a:lnTo>
                  <a:lnTo>
                    <a:pt x="507" y="19"/>
                  </a:lnTo>
                  <a:lnTo>
                    <a:pt x="507" y="18"/>
                  </a:lnTo>
                  <a:lnTo>
                    <a:pt x="508" y="18"/>
                  </a:lnTo>
                  <a:lnTo>
                    <a:pt x="509" y="18"/>
                  </a:lnTo>
                  <a:lnTo>
                    <a:pt x="509" y="19"/>
                  </a:lnTo>
                  <a:lnTo>
                    <a:pt x="510" y="19"/>
                  </a:lnTo>
                  <a:lnTo>
                    <a:pt x="510" y="18"/>
                  </a:lnTo>
                  <a:lnTo>
                    <a:pt x="511" y="17"/>
                  </a:lnTo>
                  <a:lnTo>
                    <a:pt x="510" y="16"/>
                  </a:lnTo>
                  <a:lnTo>
                    <a:pt x="511" y="15"/>
                  </a:lnTo>
                  <a:lnTo>
                    <a:pt x="513" y="13"/>
                  </a:lnTo>
                  <a:lnTo>
                    <a:pt x="513" y="15"/>
                  </a:lnTo>
                  <a:lnTo>
                    <a:pt x="515" y="15"/>
                  </a:lnTo>
                  <a:lnTo>
                    <a:pt x="516" y="15"/>
                  </a:lnTo>
                  <a:lnTo>
                    <a:pt x="516" y="16"/>
                  </a:lnTo>
                  <a:lnTo>
                    <a:pt x="516" y="17"/>
                  </a:lnTo>
                  <a:lnTo>
                    <a:pt x="515" y="18"/>
                  </a:lnTo>
                  <a:lnTo>
                    <a:pt x="515" y="21"/>
                  </a:lnTo>
                  <a:lnTo>
                    <a:pt x="515" y="23"/>
                  </a:lnTo>
                  <a:lnTo>
                    <a:pt x="516" y="23"/>
                  </a:lnTo>
                  <a:lnTo>
                    <a:pt x="516" y="24"/>
                  </a:lnTo>
                  <a:lnTo>
                    <a:pt x="516" y="27"/>
                  </a:lnTo>
                  <a:lnTo>
                    <a:pt x="516" y="28"/>
                  </a:lnTo>
                  <a:lnTo>
                    <a:pt x="515" y="28"/>
                  </a:lnTo>
                  <a:lnTo>
                    <a:pt x="515" y="29"/>
                  </a:lnTo>
                  <a:lnTo>
                    <a:pt x="514" y="30"/>
                  </a:lnTo>
                  <a:lnTo>
                    <a:pt x="513" y="33"/>
                  </a:lnTo>
                  <a:lnTo>
                    <a:pt x="511" y="33"/>
                  </a:lnTo>
                  <a:lnTo>
                    <a:pt x="511" y="34"/>
                  </a:lnTo>
                  <a:lnTo>
                    <a:pt x="509" y="34"/>
                  </a:lnTo>
                  <a:lnTo>
                    <a:pt x="509" y="35"/>
                  </a:lnTo>
                  <a:lnTo>
                    <a:pt x="508" y="36"/>
                  </a:lnTo>
                  <a:lnTo>
                    <a:pt x="505" y="37"/>
                  </a:lnTo>
                  <a:lnTo>
                    <a:pt x="507" y="37"/>
                  </a:lnTo>
                  <a:lnTo>
                    <a:pt x="508" y="37"/>
                  </a:lnTo>
                  <a:lnTo>
                    <a:pt x="508" y="39"/>
                  </a:lnTo>
                  <a:lnTo>
                    <a:pt x="509" y="37"/>
                  </a:lnTo>
                  <a:lnTo>
                    <a:pt x="509" y="39"/>
                  </a:lnTo>
                  <a:lnTo>
                    <a:pt x="510" y="40"/>
                  </a:lnTo>
                  <a:lnTo>
                    <a:pt x="511" y="39"/>
                  </a:lnTo>
                  <a:lnTo>
                    <a:pt x="513" y="37"/>
                  </a:lnTo>
                  <a:lnTo>
                    <a:pt x="514" y="37"/>
                  </a:lnTo>
                  <a:lnTo>
                    <a:pt x="515" y="39"/>
                  </a:lnTo>
                  <a:lnTo>
                    <a:pt x="515" y="41"/>
                  </a:lnTo>
                  <a:lnTo>
                    <a:pt x="516" y="42"/>
                  </a:lnTo>
                  <a:lnTo>
                    <a:pt x="517" y="43"/>
                  </a:lnTo>
                  <a:lnTo>
                    <a:pt x="517" y="46"/>
                  </a:lnTo>
                  <a:lnTo>
                    <a:pt x="517" y="45"/>
                  </a:lnTo>
                  <a:lnTo>
                    <a:pt x="519" y="45"/>
                  </a:lnTo>
                  <a:lnTo>
                    <a:pt x="520" y="43"/>
                  </a:lnTo>
                  <a:lnTo>
                    <a:pt x="520" y="41"/>
                  </a:lnTo>
                  <a:lnTo>
                    <a:pt x="519" y="41"/>
                  </a:lnTo>
                  <a:lnTo>
                    <a:pt x="520" y="39"/>
                  </a:lnTo>
                  <a:lnTo>
                    <a:pt x="521" y="37"/>
                  </a:lnTo>
                  <a:lnTo>
                    <a:pt x="522" y="37"/>
                  </a:lnTo>
                  <a:lnTo>
                    <a:pt x="523" y="40"/>
                  </a:lnTo>
                  <a:lnTo>
                    <a:pt x="523" y="39"/>
                  </a:lnTo>
                  <a:lnTo>
                    <a:pt x="525" y="39"/>
                  </a:lnTo>
                  <a:lnTo>
                    <a:pt x="525" y="37"/>
                  </a:lnTo>
                  <a:lnTo>
                    <a:pt x="526" y="37"/>
                  </a:lnTo>
                  <a:lnTo>
                    <a:pt x="526" y="36"/>
                  </a:lnTo>
                  <a:lnTo>
                    <a:pt x="527" y="36"/>
                  </a:lnTo>
                  <a:lnTo>
                    <a:pt x="528" y="35"/>
                  </a:lnTo>
                  <a:lnTo>
                    <a:pt x="529" y="34"/>
                  </a:lnTo>
                  <a:lnTo>
                    <a:pt x="531" y="34"/>
                  </a:lnTo>
                  <a:lnTo>
                    <a:pt x="531" y="33"/>
                  </a:lnTo>
                  <a:lnTo>
                    <a:pt x="533" y="35"/>
                  </a:lnTo>
                  <a:lnTo>
                    <a:pt x="534" y="37"/>
                  </a:lnTo>
                  <a:lnTo>
                    <a:pt x="533" y="39"/>
                  </a:lnTo>
                  <a:lnTo>
                    <a:pt x="532" y="40"/>
                  </a:lnTo>
                  <a:lnTo>
                    <a:pt x="531" y="41"/>
                  </a:lnTo>
                  <a:lnTo>
                    <a:pt x="529" y="42"/>
                  </a:lnTo>
                  <a:lnTo>
                    <a:pt x="528" y="46"/>
                  </a:lnTo>
                  <a:lnTo>
                    <a:pt x="528" y="49"/>
                  </a:lnTo>
                  <a:lnTo>
                    <a:pt x="527" y="49"/>
                  </a:lnTo>
                  <a:lnTo>
                    <a:pt x="526" y="49"/>
                  </a:lnTo>
                  <a:lnTo>
                    <a:pt x="526" y="51"/>
                  </a:lnTo>
                  <a:lnTo>
                    <a:pt x="525" y="60"/>
                  </a:lnTo>
                  <a:lnTo>
                    <a:pt x="525" y="62"/>
                  </a:lnTo>
                  <a:lnTo>
                    <a:pt x="525" y="63"/>
                  </a:lnTo>
                  <a:lnTo>
                    <a:pt x="526" y="63"/>
                  </a:lnTo>
                  <a:lnTo>
                    <a:pt x="526" y="64"/>
                  </a:lnTo>
                  <a:lnTo>
                    <a:pt x="527" y="63"/>
                  </a:lnTo>
                  <a:lnTo>
                    <a:pt x="528" y="63"/>
                  </a:lnTo>
                  <a:lnTo>
                    <a:pt x="529" y="63"/>
                  </a:lnTo>
                  <a:lnTo>
                    <a:pt x="528" y="65"/>
                  </a:lnTo>
                  <a:lnTo>
                    <a:pt x="528" y="66"/>
                  </a:lnTo>
                  <a:lnTo>
                    <a:pt x="527" y="66"/>
                  </a:lnTo>
                  <a:lnTo>
                    <a:pt x="527" y="68"/>
                  </a:lnTo>
                  <a:lnTo>
                    <a:pt x="527" y="69"/>
                  </a:lnTo>
                  <a:lnTo>
                    <a:pt x="526" y="69"/>
                  </a:lnTo>
                  <a:lnTo>
                    <a:pt x="525" y="70"/>
                  </a:lnTo>
                  <a:lnTo>
                    <a:pt x="526" y="71"/>
                  </a:lnTo>
                  <a:lnTo>
                    <a:pt x="526" y="72"/>
                  </a:lnTo>
                  <a:lnTo>
                    <a:pt x="527" y="72"/>
                  </a:lnTo>
                  <a:lnTo>
                    <a:pt x="526" y="75"/>
                  </a:lnTo>
                  <a:lnTo>
                    <a:pt x="527" y="76"/>
                  </a:lnTo>
                  <a:lnTo>
                    <a:pt x="528" y="77"/>
                  </a:lnTo>
                  <a:lnTo>
                    <a:pt x="531" y="77"/>
                  </a:lnTo>
                  <a:lnTo>
                    <a:pt x="532" y="76"/>
                  </a:lnTo>
                  <a:lnTo>
                    <a:pt x="533" y="75"/>
                  </a:lnTo>
                  <a:lnTo>
                    <a:pt x="533" y="74"/>
                  </a:lnTo>
                  <a:lnTo>
                    <a:pt x="534" y="74"/>
                  </a:lnTo>
                  <a:lnTo>
                    <a:pt x="534" y="71"/>
                  </a:lnTo>
                  <a:lnTo>
                    <a:pt x="533" y="70"/>
                  </a:lnTo>
                  <a:lnTo>
                    <a:pt x="534" y="70"/>
                  </a:lnTo>
                  <a:lnTo>
                    <a:pt x="537" y="70"/>
                  </a:lnTo>
                  <a:lnTo>
                    <a:pt x="537" y="69"/>
                  </a:lnTo>
                  <a:lnTo>
                    <a:pt x="535" y="68"/>
                  </a:lnTo>
                  <a:lnTo>
                    <a:pt x="535" y="66"/>
                  </a:lnTo>
                  <a:lnTo>
                    <a:pt x="534" y="63"/>
                  </a:lnTo>
                  <a:lnTo>
                    <a:pt x="534" y="60"/>
                  </a:lnTo>
                  <a:lnTo>
                    <a:pt x="535" y="60"/>
                  </a:lnTo>
                  <a:lnTo>
                    <a:pt x="535" y="59"/>
                  </a:lnTo>
                  <a:lnTo>
                    <a:pt x="535" y="58"/>
                  </a:lnTo>
                  <a:lnTo>
                    <a:pt x="534" y="57"/>
                  </a:lnTo>
                  <a:lnTo>
                    <a:pt x="535" y="55"/>
                  </a:lnTo>
                  <a:lnTo>
                    <a:pt x="535" y="54"/>
                  </a:lnTo>
                  <a:lnTo>
                    <a:pt x="537" y="54"/>
                  </a:lnTo>
                  <a:lnTo>
                    <a:pt x="538" y="54"/>
                  </a:lnTo>
                  <a:lnTo>
                    <a:pt x="539" y="54"/>
                  </a:lnTo>
                  <a:lnTo>
                    <a:pt x="539" y="53"/>
                  </a:lnTo>
                  <a:lnTo>
                    <a:pt x="540" y="52"/>
                  </a:lnTo>
                  <a:lnTo>
                    <a:pt x="540" y="49"/>
                  </a:lnTo>
                  <a:lnTo>
                    <a:pt x="543" y="48"/>
                  </a:lnTo>
                  <a:lnTo>
                    <a:pt x="543" y="49"/>
                  </a:lnTo>
                  <a:lnTo>
                    <a:pt x="545" y="49"/>
                  </a:lnTo>
                  <a:lnTo>
                    <a:pt x="546" y="51"/>
                  </a:lnTo>
                  <a:lnTo>
                    <a:pt x="545" y="52"/>
                  </a:lnTo>
                  <a:lnTo>
                    <a:pt x="545" y="55"/>
                  </a:lnTo>
                  <a:lnTo>
                    <a:pt x="544" y="57"/>
                  </a:lnTo>
                  <a:lnTo>
                    <a:pt x="543" y="59"/>
                  </a:lnTo>
                  <a:lnTo>
                    <a:pt x="544" y="59"/>
                  </a:lnTo>
                  <a:lnTo>
                    <a:pt x="544" y="60"/>
                  </a:lnTo>
                  <a:lnTo>
                    <a:pt x="544" y="62"/>
                  </a:lnTo>
                  <a:lnTo>
                    <a:pt x="545" y="62"/>
                  </a:lnTo>
                  <a:lnTo>
                    <a:pt x="546" y="62"/>
                  </a:lnTo>
                  <a:lnTo>
                    <a:pt x="546" y="60"/>
                  </a:lnTo>
                  <a:lnTo>
                    <a:pt x="547" y="60"/>
                  </a:lnTo>
                  <a:lnTo>
                    <a:pt x="547" y="62"/>
                  </a:lnTo>
                  <a:lnTo>
                    <a:pt x="549" y="63"/>
                  </a:lnTo>
                  <a:lnTo>
                    <a:pt x="549" y="64"/>
                  </a:lnTo>
                  <a:lnTo>
                    <a:pt x="547" y="64"/>
                  </a:lnTo>
                  <a:lnTo>
                    <a:pt x="546" y="65"/>
                  </a:lnTo>
                  <a:lnTo>
                    <a:pt x="545" y="65"/>
                  </a:lnTo>
                  <a:lnTo>
                    <a:pt x="544" y="66"/>
                  </a:lnTo>
                  <a:lnTo>
                    <a:pt x="544" y="68"/>
                  </a:lnTo>
                  <a:lnTo>
                    <a:pt x="543" y="69"/>
                  </a:lnTo>
                  <a:lnTo>
                    <a:pt x="541" y="69"/>
                  </a:lnTo>
                  <a:lnTo>
                    <a:pt x="540" y="70"/>
                  </a:lnTo>
                  <a:lnTo>
                    <a:pt x="540" y="71"/>
                  </a:lnTo>
                  <a:lnTo>
                    <a:pt x="540" y="72"/>
                  </a:lnTo>
                  <a:lnTo>
                    <a:pt x="541" y="71"/>
                  </a:lnTo>
                  <a:lnTo>
                    <a:pt x="541" y="72"/>
                  </a:lnTo>
                  <a:lnTo>
                    <a:pt x="540" y="72"/>
                  </a:lnTo>
                  <a:lnTo>
                    <a:pt x="541" y="74"/>
                  </a:lnTo>
                  <a:lnTo>
                    <a:pt x="543" y="74"/>
                  </a:lnTo>
                  <a:lnTo>
                    <a:pt x="543" y="75"/>
                  </a:lnTo>
                  <a:lnTo>
                    <a:pt x="543" y="76"/>
                  </a:lnTo>
                  <a:lnTo>
                    <a:pt x="544" y="76"/>
                  </a:lnTo>
                  <a:lnTo>
                    <a:pt x="545" y="75"/>
                  </a:lnTo>
                  <a:lnTo>
                    <a:pt x="546" y="76"/>
                  </a:lnTo>
                  <a:lnTo>
                    <a:pt x="546" y="75"/>
                  </a:lnTo>
                  <a:lnTo>
                    <a:pt x="547" y="75"/>
                  </a:lnTo>
                  <a:lnTo>
                    <a:pt x="547" y="74"/>
                  </a:lnTo>
                  <a:lnTo>
                    <a:pt x="547" y="72"/>
                  </a:lnTo>
                  <a:lnTo>
                    <a:pt x="549" y="72"/>
                  </a:lnTo>
                  <a:lnTo>
                    <a:pt x="549" y="66"/>
                  </a:lnTo>
                  <a:lnTo>
                    <a:pt x="549" y="65"/>
                  </a:lnTo>
                  <a:lnTo>
                    <a:pt x="551" y="65"/>
                  </a:lnTo>
                  <a:lnTo>
                    <a:pt x="551" y="66"/>
                  </a:lnTo>
                  <a:lnTo>
                    <a:pt x="552" y="66"/>
                  </a:lnTo>
                  <a:lnTo>
                    <a:pt x="552" y="65"/>
                  </a:lnTo>
                  <a:lnTo>
                    <a:pt x="553" y="65"/>
                  </a:lnTo>
                  <a:lnTo>
                    <a:pt x="553" y="66"/>
                  </a:lnTo>
                  <a:lnTo>
                    <a:pt x="555" y="65"/>
                  </a:lnTo>
                  <a:lnTo>
                    <a:pt x="556" y="65"/>
                  </a:lnTo>
                  <a:lnTo>
                    <a:pt x="556" y="66"/>
                  </a:lnTo>
                  <a:lnTo>
                    <a:pt x="557" y="68"/>
                  </a:lnTo>
                  <a:lnTo>
                    <a:pt x="558" y="68"/>
                  </a:lnTo>
                  <a:lnTo>
                    <a:pt x="558" y="66"/>
                  </a:lnTo>
                  <a:lnTo>
                    <a:pt x="558" y="65"/>
                  </a:lnTo>
                  <a:lnTo>
                    <a:pt x="557" y="65"/>
                  </a:lnTo>
                  <a:lnTo>
                    <a:pt x="555" y="65"/>
                  </a:lnTo>
                  <a:lnTo>
                    <a:pt x="555" y="64"/>
                  </a:lnTo>
                  <a:lnTo>
                    <a:pt x="553" y="64"/>
                  </a:lnTo>
                  <a:lnTo>
                    <a:pt x="553" y="63"/>
                  </a:lnTo>
                  <a:lnTo>
                    <a:pt x="553" y="62"/>
                  </a:lnTo>
                  <a:lnTo>
                    <a:pt x="553" y="60"/>
                  </a:lnTo>
                  <a:lnTo>
                    <a:pt x="552" y="60"/>
                  </a:lnTo>
                  <a:lnTo>
                    <a:pt x="551" y="59"/>
                  </a:lnTo>
                  <a:lnTo>
                    <a:pt x="551" y="58"/>
                  </a:lnTo>
                  <a:lnTo>
                    <a:pt x="552" y="57"/>
                  </a:lnTo>
                  <a:lnTo>
                    <a:pt x="553" y="55"/>
                  </a:lnTo>
                  <a:lnTo>
                    <a:pt x="553" y="54"/>
                  </a:lnTo>
                  <a:lnTo>
                    <a:pt x="553" y="53"/>
                  </a:lnTo>
                  <a:lnTo>
                    <a:pt x="553" y="52"/>
                  </a:lnTo>
                  <a:lnTo>
                    <a:pt x="556" y="51"/>
                  </a:lnTo>
                  <a:lnTo>
                    <a:pt x="557" y="51"/>
                  </a:lnTo>
                  <a:lnTo>
                    <a:pt x="558" y="51"/>
                  </a:lnTo>
                  <a:lnTo>
                    <a:pt x="558" y="52"/>
                  </a:lnTo>
                  <a:lnTo>
                    <a:pt x="558" y="53"/>
                  </a:lnTo>
                  <a:lnTo>
                    <a:pt x="560" y="53"/>
                  </a:lnTo>
                  <a:lnTo>
                    <a:pt x="560" y="52"/>
                  </a:lnTo>
                  <a:lnTo>
                    <a:pt x="560" y="51"/>
                  </a:lnTo>
                  <a:lnTo>
                    <a:pt x="561" y="51"/>
                  </a:lnTo>
                  <a:lnTo>
                    <a:pt x="561" y="49"/>
                  </a:lnTo>
                  <a:lnTo>
                    <a:pt x="561" y="48"/>
                  </a:lnTo>
                  <a:lnTo>
                    <a:pt x="561" y="47"/>
                  </a:lnTo>
                  <a:lnTo>
                    <a:pt x="561" y="46"/>
                  </a:lnTo>
                  <a:lnTo>
                    <a:pt x="562" y="45"/>
                  </a:lnTo>
                  <a:lnTo>
                    <a:pt x="563" y="43"/>
                  </a:lnTo>
                  <a:lnTo>
                    <a:pt x="564" y="43"/>
                  </a:lnTo>
                  <a:lnTo>
                    <a:pt x="566" y="42"/>
                  </a:lnTo>
                  <a:lnTo>
                    <a:pt x="566" y="40"/>
                  </a:lnTo>
                  <a:lnTo>
                    <a:pt x="566" y="39"/>
                  </a:lnTo>
                  <a:lnTo>
                    <a:pt x="567" y="37"/>
                  </a:lnTo>
                  <a:lnTo>
                    <a:pt x="568" y="37"/>
                  </a:lnTo>
                  <a:lnTo>
                    <a:pt x="569" y="37"/>
                  </a:lnTo>
                  <a:lnTo>
                    <a:pt x="569" y="39"/>
                  </a:lnTo>
                  <a:lnTo>
                    <a:pt x="569" y="40"/>
                  </a:lnTo>
                  <a:lnTo>
                    <a:pt x="570" y="39"/>
                  </a:lnTo>
                  <a:lnTo>
                    <a:pt x="572" y="39"/>
                  </a:lnTo>
                  <a:lnTo>
                    <a:pt x="572" y="40"/>
                  </a:lnTo>
                  <a:lnTo>
                    <a:pt x="573" y="41"/>
                  </a:lnTo>
                  <a:lnTo>
                    <a:pt x="573" y="42"/>
                  </a:lnTo>
                  <a:lnTo>
                    <a:pt x="573" y="43"/>
                  </a:lnTo>
                  <a:lnTo>
                    <a:pt x="573" y="45"/>
                  </a:lnTo>
                  <a:lnTo>
                    <a:pt x="573" y="48"/>
                  </a:lnTo>
                  <a:lnTo>
                    <a:pt x="574" y="48"/>
                  </a:lnTo>
                  <a:lnTo>
                    <a:pt x="574" y="49"/>
                  </a:lnTo>
                  <a:lnTo>
                    <a:pt x="574" y="51"/>
                  </a:lnTo>
                  <a:lnTo>
                    <a:pt x="574" y="52"/>
                  </a:lnTo>
                  <a:lnTo>
                    <a:pt x="574" y="53"/>
                  </a:lnTo>
                  <a:lnTo>
                    <a:pt x="574" y="54"/>
                  </a:lnTo>
                  <a:lnTo>
                    <a:pt x="573" y="54"/>
                  </a:lnTo>
                  <a:lnTo>
                    <a:pt x="572" y="55"/>
                  </a:lnTo>
                  <a:lnTo>
                    <a:pt x="570" y="57"/>
                  </a:lnTo>
                  <a:lnTo>
                    <a:pt x="572" y="57"/>
                  </a:lnTo>
                  <a:lnTo>
                    <a:pt x="573" y="57"/>
                  </a:lnTo>
                  <a:lnTo>
                    <a:pt x="573" y="58"/>
                  </a:lnTo>
                  <a:lnTo>
                    <a:pt x="574" y="58"/>
                  </a:lnTo>
                  <a:lnTo>
                    <a:pt x="574" y="59"/>
                  </a:lnTo>
                  <a:lnTo>
                    <a:pt x="575" y="59"/>
                  </a:lnTo>
                  <a:lnTo>
                    <a:pt x="575" y="60"/>
                  </a:lnTo>
                  <a:lnTo>
                    <a:pt x="576" y="60"/>
                  </a:lnTo>
                  <a:lnTo>
                    <a:pt x="576" y="63"/>
                  </a:lnTo>
                  <a:lnTo>
                    <a:pt x="575" y="64"/>
                  </a:lnTo>
                  <a:lnTo>
                    <a:pt x="575" y="65"/>
                  </a:lnTo>
                  <a:lnTo>
                    <a:pt x="574" y="66"/>
                  </a:lnTo>
                  <a:lnTo>
                    <a:pt x="574" y="69"/>
                  </a:lnTo>
                  <a:lnTo>
                    <a:pt x="573" y="68"/>
                  </a:lnTo>
                  <a:lnTo>
                    <a:pt x="572" y="68"/>
                  </a:lnTo>
                  <a:lnTo>
                    <a:pt x="573" y="70"/>
                  </a:lnTo>
                  <a:lnTo>
                    <a:pt x="572" y="70"/>
                  </a:lnTo>
                  <a:lnTo>
                    <a:pt x="570" y="69"/>
                  </a:lnTo>
                  <a:lnTo>
                    <a:pt x="570" y="70"/>
                  </a:lnTo>
                  <a:lnTo>
                    <a:pt x="570" y="72"/>
                  </a:lnTo>
                  <a:lnTo>
                    <a:pt x="572" y="72"/>
                  </a:lnTo>
                  <a:lnTo>
                    <a:pt x="574" y="71"/>
                  </a:lnTo>
                  <a:lnTo>
                    <a:pt x="575" y="70"/>
                  </a:lnTo>
                  <a:lnTo>
                    <a:pt x="575" y="69"/>
                  </a:lnTo>
                  <a:lnTo>
                    <a:pt x="576" y="68"/>
                  </a:lnTo>
                  <a:lnTo>
                    <a:pt x="578" y="68"/>
                  </a:lnTo>
                  <a:lnTo>
                    <a:pt x="578" y="66"/>
                  </a:lnTo>
                  <a:lnTo>
                    <a:pt x="578" y="65"/>
                  </a:lnTo>
                  <a:lnTo>
                    <a:pt x="578" y="63"/>
                  </a:lnTo>
                  <a:lnTo>
                    <a:pt x="579" y="63"/>
                  </a:lnTo>
                  <a:lnTo>
                    <a:pt x="580" y="63"/>
                  </a:lnTo>
                  <a:lnTo>
                    <a:pt x="581" y="63"/>
                  </a:lnTo>
                  <a:lnTo>
                    <a:pt x="582" y="63"/>
                  </a:lnTo>
                  <a:lnTo>
                    <a:pt x="582" y="60"/>
                  </a:lnTo>
                  <a:lnTo>
                    <a:pt x="582" y="62"/>
                  </a:lnTo>
                  <a:lnTo>
                    <a:pt x="584" y="60"/>
                  </a:lnTo>
                  <a:lnTo>
                    <a:pt x="584" y="58"/>
                  </a:lnTo>
                  <a:lnTo>
                    <a:pt x="582" y="57"/>
                  </a:lnTo>
                  <a:lnTo>
                    <a:pt x="581" y="57"/>
                  </a:lnTo>
                  <a:lnTo>
                    <a:pt x="581" y="55"/>
                  </a:lnTo>
                  <a:lnTo>
                    <a:pt x="581" y="54"/>
                  </a:lnTo>
                  <a:lnTo>
                    <a:pt x="581" y="53"/>
                  </a:lnTo>
                  <a:lnTo>
                    <a:pt x="582" y="53"/>
                  </a:lnTo>
                  <a:lnTo>
                    <a:pt x="582" y="52"/>
                  </a:lnTo>
                  <a:lnTo>
                    <a:pt x="584" y="51"/>
                  </a:lnTo>
                  <a:lnTo>
                    <a:pt x="582" y="49"/>
                  </a:lnTo>
                  <a:lnTo>
                    <a:pt x="584" y="48"/>
                  </a:lnTo>
                  <a:lnTo>
                    <a:pt x="584" y="47"/>
                  </a:lnTo>
                  <a:lnTo>
                    <a:pt x="584" y="46"/>
                  </a:lnTo>
                  <a:lnTo>
                    <a:pt x="585" y="47"/>
                  </a:lnTo>
                  <a:lnTo>
                    <a:pt x="586" y="46"/>
                  </a:lnTo>
                  <a:lnTo>
                    <a:pt x="587" y="46"/>
                  </a:lnTo>
                  <a:lnTo>
                    <a:pt x="587" y="45"/>
                  </a:lnTo>
                  <a:lnTo>
                    <a:pt x="588" y="45"/>
                  </a:lnTo>
                  <a:lnTo>
                    <a:pt x="592" y="45"/>
                  </a:lnTo>
                  <a:lnTo>
                    <a:pt x="593" y="45"/>
                  </a:lnTo>
                  <a:lnTo>
                    <a:pt x="593" y="43"/>
                  </a:lnTo>
                  <a:lnTo>
                    <a:pt x="594" y="43"/>
                  </a:lnTo>
                  <a:lnTo>
                    <a:pt x="594" y="41"/>
                  </a:lnTo>
                  <a:lnTo>
                    <a:pt x="598" y="41"/>
                  </a:lnTo>
                  <a:lnTo>
                    <a:pt x="598" y="40"/>
                  </a:lnTo>
                  <a:lnTo>
                    <a:pt x="599" y="39"/>
                  </a:lnTo>
                  <a:lnTo>
                    <a:pt x="599" y="37"/>
                  </a:lnTo>
                  <a:lnTo>
                    <a:pt x="599" y="36"/>
                  </a:lnTo>
                  <a:lnTo>
                    <a:pt x="600" y="36"/>
                  </a:lnTo>
                  <a:lnTo>
                    <a:pt x="600" y="35"/>
                  </a:lnTo>
                  <a:lnTo>
                    <a:pt x="602" y="35"/>
                  </a:lnTo>
                  <a:lnTo>
                    <a:pt x="603" y="34"/>
                  </a:lnTo>
                  <a:lnTo>
                    <a:pt x="603" y="35"/>
                  </a:lnTo>
                  <a:lnTo>
                    <a:pt x="605" y="35"/>
                  </a:lnTo>
                  <a:lnTo>
                    <a:pt x="606" y="36"/>
                  </a:lnTo>
                  <a:lnTo>
                    <a:pt x="606" y="40"/>
                  </a:lnTo>
                  <a:lnTo>
                    <a:pt x="606" y="41"/>
                  </a:lnTo>
                  <a:lnTo>
                    <a:pt x="605" y="42"/>
                  </a:lnTo>
                  <a:lnTo>
                    <a:pt x="606" y="42"/>
                  </a:lnTo>
                  <a:lnTo>
                    <a:pt x="606" y="43"/>
                  </a:lnTo>
                  <a:lnTo>
                    <a:pt x="608" y="45"/>
                  </a:lnTo>
                  <a:lnTo>
                    <a:pt x="609" y="46"/>
                  </a:lnTo>
                  <a:lnTo>
                    <a:pt x="610" y="46"/>
                  </a:lnTo>
                  <a:lnTo>
                    <a:pt x="610" y="47"/>
                  </a:lnTo>
                  <a:lnTo>
                    <a:pt x="611" y="49"/>
                  </a:lnTo>
                  <a:lnTo>
                    <a:pt x="610" y="51"/>
                  </a:lnTo>
                  <a:lnTo>
                    <a:pt x="609" y="52"/>
                  </a:lnTo>
                  <a:lnTo>
                    <a:pt x="609" y="53"/>
                  </a:lnTo>
                  <a:lnTo>
                    <a:pt x="610" y="53"/>
                  </a:lnTo>
                  <a:lnTo>
                    <a:pt x="612" y="53"/>
                  </a:lnTo>
                  <a:lnTo>
                    <a:pt x="612" y="54"/>
                  </a:lnTo>
                  <a:lnTo>
                    <a:pt x="611" y="55"/>
                  </a:lnTo>
                  <a:lnTo>
                    <a:pt x="612" y="55"/>
                  </a:lnTo>
                  <a:lnTo>
                    <a:pt x="614" y="55"/>
                  </a:lnTo>
                  <a:lnTo>
                    <a:pt x="614" y="54"/>
                  </a:lnTo>
                  <a:lnTo>
                    <a:pt x="616" y="53"/>
                  </a:lnTo>
                  <a:lnTo>
                    <a:pt x="617" y="53"/>
                  </a:lnTo>
                  <a:lnTo>
                    <a:pt x="617" y="52"/>
                  </a:lnTo>
                  <a:lnTo>
                    <a:pt x="619" y="52"/>
                  </a:lnTo>
                  <a:lnTo>
                    <a:pt x="619" y="51"/>
                  </a:lnTo>
                  <a:lnTo>
                    <a:pt x="621" y="51"/>
                  </a:lnTo>
                  <a:lnTo>
                    <a:pt x="621" y="52"/>
                  </a:lnTo>
                  <a:lnTo>
                    <a:pt x="622" y="53"/>
                  </a:lnTo>
                  <a:lnTo>
                    <a:pt x="622" y="54"/>
                  </a:lnTo>
                  <a:lnTo>
                    <a:pt x="623" y="53"/>
                  </a:lnTo>
                  <a:lnTo>
                    <a:pt x="623" y="54"/>
                  </a:lnTo>
                  <a:lnTo>
                    <a:pt x="625" y="55"/>
                  </a:lnTo>
                  <a:lnTo>
                    <a:pt x="626" y="55"/>
                  </a:lnTo>
                  <a:lnTo>
                    <a:pt x="626" y="57"/>
                  </a:lnTo>
                  <a:lnTo>
                    <a:pt x="627" y="58"/>
                  </a:lnTo>
                  <a:lnTo>
                    <a:pt x="626" y="58"/>
                  </a:lnTo>
                  <a:lnTo>
                    <a:pt x="626" y="59"/>
                  </a:lnTo>
                  <a:lnTo>
                    <a:pt x="626" y="60"/>
                  </a:lnTo>
                  <a:lnTo>
                    <a:pt x="625" y="60"/>
                  </a:lnTo>
                  <a:lnTo>
                    <a:pt x="625" y="62"/>
                  </a:lnTo>
                  <a:lnTo>
                    <a:pt x="625" y="63"/>
                  </a:lnTo>
                  <a:lnTo>
                    <a:pt x="623" y="63"/>
                  </a:lnTo>
                  <a:lnTo>
                    <a:pt x="623" y="64"/>
                  </a:lnTo>
                  <a:lnTo>
                    <a:pt x="622" y="65"/>
                  </a:lnTo>
                  <a:lnTo>
                    <a:pt x="622" y="66"/>
                  </a:lnTo>
                  <a:lnTo>
                    <a:pt x="621" y="68"/>
                  </a:lnTo>
                  <a:lnTo>
                    <a:pt x="621" y="70"/>
                  </a:lnTo>
                  <a:lnTo>
                    <a:pt x="620" y="70"/>
                  </a:lnTo>
                  <a:lnTo>
                    <a:pt x="620" y="71"/>
                  </a:lnTo>
                  <a:lnTo>
                    <a:pt x="619" y="72"/>
                  </a:lnTo>
                  <a:lnTo>
                    <a:pt x="617" y="72"/>
                  </a:lnTo>
                  <a:lnTo>
                    <a:pt x="616" y="72"/>
                  </a:lnTo>
                  <a:lnTo>
                    <a:pt x="615" y="72"/>
                  </a:lnTo>
                  <a:lnTo>
                    <a:pt x="615" y="74"/>
                  </a:lnTo>
                  <a:lnTo>
                    <a:pt x="614" y="74"/>
                  </a:lnTo>
                  <a:lnTo>
                    <a:pt x="614" y="75"/>
                  </a:lnTo>
                  <a:lnTo>
                    <a:pt x="612" y="75"/>
                  </a:lnTo>
                  <a:lnTo>
                    <a:pt x="611" y="75"/>
                  </a:lnTo>
                  <a:lnTo>
                    <a:pt x="610" y="75"/>
                  </a:lnTo>
                  <a:lnTo>
                    <a:pt x="608" y="75"/>
                  </a:lnTo>
                  <a:lnTo>
                    <a:pt x="606" y="74"/>
                  </a:lnTo>
                  <a:lnTo>
                    <a:pt x="605" y="76"/>
                  </a:lnTo>
                  <a:lnTo>
                    <a:pt x="605" y="77"/>
                  </a:lnTo>
                  <a:lnTo>
                    <a:pt x="604" y="78"/>
                  </a:lnTo>
                  <a:lnTo>
                    <a:pt x="603" y="80"/>
                  </a:lnTo>
                  <a:lnTo>
                    <a:pt x="602" y="82"/>
                  </a:lnTo>
                  <a:lnTo>
                    <a:pt x="603" y="84"/>
                  </a:lnTo>
                  <a:lnTo>
                    <a:pt x="604" y="84"/>
                  </a:lnTo>
                  <a:lnTo>
                    <a:pt x="605" y="86"/>
                  </a:lnTo>
                  <a:lnTo>
                    <a:pt x="606" y="86"/>
                  </a:lnTo>
                  <a:lnTo>
                    <a:pt x="606" y="84"/>
                  </a:lnTo>
                  <a:lnTo>
                    <a:pt x="608" y="83"/>
                  </a:lnTo>
                  <a:lnTo>
                    <a:pt x="609" y="83"/>
                  </a:lnTo>
                  <a:lnTo>
                    <a:pt x="610" y="83"/>
                  </a:lnTo>
                  <a:lnTo>
                    <a:pt x="612" y="83"/>
                  </a:lnTo>
                  <a:lnTo>
                    <a:pt x="614" y="83"/>
                  </a:lnTo>
                  <a:lnTo>
                    <a:pt x="616" y="83"/>
                  </a:lnTo>
                  <a:lnTo>
                    <a:pt x="616" y="82"/>
                  </a:lnTo>
                  <a:lnTo>
                    <a:pt x="617" y="82"/>
                  </a:lnTo>
                  <a:lnTo>
                    <a:pt x="620" y="82"/>
                  </a:lnTo>
                  <a:lnTo>
                    <a:pt x="620" y="81"/>
                  </a:lnTo>
                  <a:lnTo>
                    <a:pt x="620" y="78"/>
                  </a:lnTo>
                  <a:lnTo>
                    <a:pt x="620" y="76"/>
                  </a:lnTo>
                  <a:lnTo>
                    <a:pt x="621" y="75"/>
                  </a:lnTo>
                  <a:lnTo>
                    <a:pt x="625" y="75"/>
                  </a:lnTo>
                  <a:lnTo>
                    <a:pt x="626" y="75"/>
                  </a:lnTo>
                  <a:lnTo>
                    <a:pt x="627" y="74"/>
                  </a:lnTo>
                  <a:lnTo>
                    <a:pt x="628" y="74"/>
                  </a:lnTo>
                  <a:lnTo>
                    <a:pt x="628" y="71"/>
                  </a:lnTo>
                  <a:lnTo>
                    <a:pt x="628" y="70"/>
                  </a:lnTo>
                  <a:lnTo>
                    <a:pt x="629" y="70"/>
                  </a:lnTo>
                  <a:lnTo>
                    <a:pt x="631" y="70"/>
                  </a:lnTo>
                  <a:lnTo>
                    <a:pt x="631" y="69"/>
                  </a:lnTo>
                  <a:lnTo>
                    <a:pt x="632" y="69"/>
                  </a:lnTo>
                  <a:lnTo>
                    <a:pt x="633" y="69"/>
                  </a:lnTo>
                  <a:lnTo>
                    <a:pt x="633" y="70"/>
                  </a:lnTo>
                  <a:lnTo>
                    <a:pt x="634" y="70"/>
                  </a:lnTo>
                  <a:lnTo>
                    <a:pt x="634" y="71"/>
                  </a:lnTo>
                  <a:lnTo>
                    <a:pt x="637" y="71"/>
                  </a:lnTo>
                  <a:lnTo>
                    <a:pt x="638" y="70"/>
                  </a:lnTo>
                  <a:lnTo>
                    <a:pt x="638" y="69"/>
                  </a:lnTo>
                  <a:lnTo>
                    <a:pt x="639" y="69"/>
                  </a:lnTo>
                  <a:lnTo>
                    <a:pt x="639" y="68"/>
                  </a:lnTo>
                  <a:lnTo>
                    <a:pt x="640" y="68"/>
                  </a:lnTo>
                  <a:lnTo>
                    <a:pt x="641" y="69"/>
                  </a:lnTo>
                  <a:lnTo>
                    <a:pt x="641" y="70"/>
                  </a:lnTo>
                  <a:lnTo>
                    <a:pt x="643" y="70"/>
                  </a:lnTo>
                  <a:lnTo>
                    <a:pt x="643" y="71"/>
                  </a:lnTo>
                  <a:lnTo>
                    <a:pt x="643" y="72"/>
                  </a:lnTo>
                  <a:lnTo>
                    <a:pt x="644" y="72"/>
                  </a:lnTo>
                  <a:lnTo>
                    <a:pt x="644" y="74"/>
                  </a:lnTo>
                  <a:lnTo>
                    <a:pt x="645" y="76"/>
                  </a:lnTo>
                  <a:lnTo>
                    <a:pt x="644" y="80"/>
                  </a:lnTo>
                  <a:lnTo>
                    <a:pt x="645" y="80"/>
                  </a:lnTo>
                  <a:lnTo>
                    <a:pt x="645" y="81"/>
                  </a:lnTo>
                  <a:lnTo>
                    <a:pt x="646" y="80"/>
                  </a:lnTo>
                  <a:lnTo>
                    <a:pt x="647" y="80"/>
                  </a:lnTo>
                  <a:lnTo>
                    <a:pt x="647" y="78"/>
                  </a:lnTo>
                  <a:lnTo>
                    <a:pt x="649" y="78"/>
                  </a:lnTo>
                  <a:lnTo>
                    <a:pt x="650" y="77"/>
                  </a:lnTo>
                  <a:lnTo>
                    <a:pt x="651" y="76"/>
                  </a:lnTo>
                  <a:lnTo>
                    <a:pt x="651" y="75"/>
                  </a:lnTo>
                  <a:lnTo>
                    <a:pt x="651" y="74"/>
                  </a:lnTo>
                  <a:lnTo>
                    <a:pt x="652" y="74"/>
                  </a:lnTo>
                  <a:lnTo>
                    <a:pt x="652" y="72"/>
                  </a:lnTo>
                  <a:lnTo>
                    <a:pt x="653" y="72"/>
                  </a:lnTo>
                  <a:lnTo>
                    <a:pt x="655" y="74"/>
                  </a:lnTo>
                  <a:lnTo>
                    <a:pt x="656" y="75"/>
                  </a:lnTo>
                  <a:lnTo>
                    <a:pt x="657" y="76"/>
                  </a:lnTo>
                  <a:lnTo>
                    <a:pt x="656" y="76"/>
                  </a:lnTo>
                  <a:lnTo>
                    <a:pt x="656" y="77"/>
                  </a:lnTo>
                  <a:lnTo>
                    <a:pt x="655" y="77"/>
                  </a:lnTo>
                  <a:lnTo>
                    <a:pt x="655" y="80"/>
                  </a:lnTo>
                  <a:lnTo>
                    <a:pt x="655" y="81"/>
                  </a:lnTo>
                  <a:lnTo>
                    <a:pt x="655" y="82"/>
                  </a:lnTo>
                  <a:lnTo>
                    <a:pt x="655" y="83"/>
                  </a:lnTo>
                  <a:lnTo>
                    <a:pt x="653" y="84"/>
                  </a:lnTo>
                  <a:lnTo>
                    <a:pt x="653" y="86"/>
                  </a:lnTo>
                  <a:lnTo>
                    <a:pt x="656" y="87"/>
                  </a:lnTo>
                  <a:lnTo>
                    <a:pt x="656" y="88"/>
                  </a:lnTo>
                  <a:lnTo>
                    <a:pt x="657" y="88"/>
                  </a:lnTo>
                  <a:lnTo>
                    <a:pt x="657" y="92"/>
                  </a:lnTo>
                  <a:lnTo>
                    <a:pt x="656" y="94"/>
                  </a:lnTo>
                  <a:lnTo>
                    <a:pt x="655" y="95"/>
                  </a:lnTo>
                  <a:lnTo>
                    <a:pt x="653" y="95"/>
                  </a:lnTo>
                  <a:lnTo>
                    <a:pt x="652" y="96"/>
                  </a:lnTo>
                  <a:lnTo>
                    <a:pt x="651" y="96"/>
                  </a:lnTo>
                  <a:lnTo>
                    <a:pt x="651" y="98"/>
                  </a:lnTo>
                  <a:lnTo>
                    <a:pt x="650" y="99"/>
                  </a:lnTo>
                  <a:lnTo>
                    <a:pt x="650" y="100"/>
                  </a:lnTo>
                  <a:lnTo>
                    <a:pt x="651" y="100"/>
                  </a:lnTo>
                  <a:lnTo>
                    <a:pt x="652" y="100"/>
                  </a:lnTo>
                  <a:lnTo>
                    <a:pt x="652" y="102"/>
                  </a:lnTo>
                  <a:lnTo>
                    <a:pt x="652" y="106"/>
                  </a:lnTo>
                  <a:lnTo>
                    <a:pt x="649" y="106"/>
                  </a:lnTo>
                  <a:lnTo>
                    <a:pt x="647" y="107"/>
                  </a:lnTo>
                  <a:lnTo>
                    <a:pt x="649" y="108"/>
                  </a:lnTo>
                  <a:lnTo>
                    <a:pt x="646" y="108"/>
                  </a:lnTo>
                  <a:lnTo>
                    <a:pt x="645" y="107"/>
                  </a:lnTo>
                  <a:lnTo>
                    <a:pt x="645" y="108"/>
                  </a:lnTo>
                  <a:lnTo>
                    <a:pt x="644" y="110"/>
                  </a:lnTo>
                  <a:lnTo>
                    <a:pt x="644" y="111"/>
                  </a:lnTo>
                  <a:lnTo>
                    <a:pt x="643" y="111"/>
                  </a:lnTo>
                  <a:lnTo>
                    <a:pt x="640" y="111"/>
                  </a:lnTo>
                  <a:lnTo>
                    <a:pt x="639" y="111"/>
                  </a:lnTo>
                  <a:lnTo>
                    <a:pt x="639" y="114"/>
                  </a:lnTo>
                  <a:lnTo>
                    <a:pt x="640" y="114"/>
                  </a:lnTo>
                  <a:lnTo>
                    <a:pt x="640" y="113"/>
                  </a:lnTo>
                  <a:lnTo>
                    <a:pt x="641" y="113"/>
                  </a:lnTo>
                  <a:lnTo>
                    <a:pt x="643" y="113"/>
                  </a:lnTo>
                  <a:lnTo>
                    <a:pt x="641" y="112"/>
                  </a:lnTo>
                  <a:lnTo>
                    <a:pt x="643" y="112"/>
                  </a:lnTo>
                  <a:lnTo>
                    <a:pt x="644" y="111"/>
                  </a:lnTo>
                  <a:lnTo>
                    <a:pt x="645" y="112"/>
                  </a:lnTo>
                  <a:lnTo>
                    <a:pt x="646" y="112"/>
                  </a:lnTo>
                  <a:lnTo>
                    <a:pt x="647" y="112"/>
                  </a:lnTo>
                  <a:lnTo>
                    <a:pt x="649" y="111"/>
                  </a:lnTo>
                  <a:lnTo>
                    <a:pt x="649" y="112"/>
                  </a:lnTo>
                  <a:lnTo>
                    <a:pt x="650" y="112"/>
                  </a:lnTo>
                  <a:lnTo>
                    <a:pt x="650" y="116"/>
                  </a:lnTo>
                  <a:lnTo>
                    <a:pt x="649" y="117"/>
                  </a:lnTo>
                  <a:lnTo>
                    <a:pt x="647" y="117"/>
                  </a:lnTo>
                  <a:lnTo>
                    <a:pt x="647" y="118"/>
                  </a:lnTo>
                  <a:lnTo>
                    <a:pt x="646" y="119"/>
                  </a:lnTo>
                  <a:lnTo>
                    <a:pt x="645" y="119"/>
                  </a:lnTo>
                  <a:lnTo>
                    <a:pt x="645" y="120"/>
                  </a:lnTo>
                  <a:lnTo>
                    <a:pt x="644" y="120"/>
                  </a:lnTo>
                  <a:lnTo>
                    <a:pt x="644" y="122"/>
                  </a:lnTo>
                  <a:lnTo>
                    <a:pt x="643" y="122"/>
                  </a:lnTo>
                  <a:lnTo>
                    <a:pt x="643" y="123"/>
                  </a:lnTo>
                  <a:lnTo>
                    <a:pt x="641" y="122"/>
                  </a:lnTo>
                  <a:lnTo>
                    <a:pt x="638" y="122"/>
                  </a:lnTo>
                  <a:lnTo>
                    <a:pt x="638" y="123"/>
                  </a:lnTo>
                  <a:lnTo>
                    <a:pt x="637" y="124"/>
                  </a:lnTo>
                  <a:lnTo>
                    <a:pt x="633" y="124"/>
                  </a:lnTo>
                  <a:lnTo>
                    <a:pt x="632" y="123"/>
                  </a:lnTo>
                  <a:lnTo>
                    <a:pt x="631" y="123"/>
                  </a:lnTo>
                  <a:lnTo>
                    <a:pt x="629" y="122"/>
                  </a:lnTo>
                  <a:lnTo>
                    <a:pt x="629" y="120"/>
                  </a:lnTo>
                  <a:lnTo>
                    <a:pt x="629" y="119"/>
                  </a:lnTo>
                  <a:lnTo>
                    <a:pt x="628" y="120"/>
                  </a:lnTo>
                  <a:lnTo>
                    <a:pt x="628" y="119"/>
                  </a:lnTo>
                  <a:lnTo>
                    <a:pt x="627" y="120"/>
                  </a:lnTo>
                  <a:lnTo>
                    <a:pt x="628" y="120"/>
                  </a:lnTo>
                  <a:lnTo>
                    <a:pt x="628" y="123"/>
                  </a:lnTo>
                  <a:lnTo>
                    <a:pt x="628" y="124"/>
                  </a:lnTo>
                  <a:lnTo>
                    <a:pt x="627" y="124"/>
                  </a:lnTo>
                  <a:lnTo>
                    <a:pt x="626" y="124"/>
                  </a:lnTo>
                  <a:lnTo>
                    <a:pt x="625" y="124"/>
                  </a:lnTo>
                  <a:lnTo>
                    <a:pt x="622" y="125"/>
                  </a:lnTo>
                  <a:lnTo>
                    <a:pt x="621" y="125"/>
                  </a:lnTo>
                  <a:lnTo>
                    <a:pt x="620" y="125"/>
                  </a:lnTo>
                  <a:lnTo>
                    <a:pt x="620" y="124"/>
                  </a:lnTo>
                  <a:lnTo>
                    <a:pt x="619" y="123"/>
                  </a:lnTo>
                  <a:lnTo>
                    <a:pt x="619" y="120"/>
                  </a:lnTo>
                  <a:lnTo>
                    <a:pt x="620" y="118"/>
                  </a:lnTo>
                  <a:lnTo>
                    <a:pt x="617" y="117"/>
                  </a:lnTo>
                  <a:lnTo>
                    <a:pt x="616" y="119"/>
                  </a:lnTo>
                  <a:lnTo>
                    <a:pt x="615" y="119"/>
                  </a:lnTo>
                  <a:lnTo>
                    <a:pt x="614" y="120"/>
                  </a:lnTo>
                  <a:lnTo>
                    <a:pt x="614" y="122"/>
                  </a:lnTo>
                  <a:lnTo>
                    <a:pt x="612" y="123"/>
                  </a:lnTo>
                  <a:lnTo>
                    <a:pt x="610" y="123"/>
                  </a:lnTo>
                  <a:lnTo>
                    <a:pt x="609" y="124"/>
                  </a:lnTo>
                  <a:lnTo>
                    <a:pt x="609" y="125"/>
                  </a:lnTo>
                  <a:lnTo>
                    <a:pt x="610" y="125"/>
                  </a:lnTo>
                  <a:lnTo>
                    <a:pt x="610" y="126"/>
                  </a:lnTo>
                  <a:lnTo>
                    <a:pt x="611" y="128"/>
                  </a:lnTo>
                  <a:lnTo>
                    <a:pt x="608" y="126"/>
                  </a:lnTo>
                  <a:lnTo>
                    <a:pt x="610" y="128"/>
                  </a:lnTo>
                  <a:lnTo>
                    <a:pt x="610" y="129"/>
                  </a:lnTo>
                  <a:lnTo>
                    <a:pt x="611" y="129"/>
                  </a:lnTo>
                  <a:lnTo>
                    <a:pt x="612" y="131"/>
                  </a:lnTo>
                  <a:lnTo>
                    <a:pt x="614" y="132"/>
                  </a:lnTo>
                  <a:lnTo>
                    <a:pt x="615" y="131"/>
                  </a:lnTo>
                  <a:lnTo>
                    <a:pt x="616" y="131"/>
                  </a:lnTo>
                  <a:lnTo>
                    <a:pt x="617" y="134"/>
                  </a:lnTo>
                  <a:lnTo>
                    <a:pt x="620" y="134"/>
                  </a:lnTo>
                  <a:lnTo>
                    <a:pt x="622" y="132"/>
                  </a:lnTo>
                  <a:lnTo>
                    <a:pt x="623" y="134"/>
                  </a:lnTo>
                  <a:lnTo>
                    <a:pt x="625" y="134"/>
                  </a:lnTo>
                  <a:lnTo>
                    <a:pt x="625" y="136"/>
                  </a:lnTo>
                  <a:lnTo>
                    <a:pt x="625" y="137"/>
                  </a:lnTo>
                  <a:lnTo>
                    <a:pt x="623" y="137"/>
                  </a:lnTo>
                  <a:lnTo>
                    <a:pt x="622" y="138"/>
                  </a:lnTo>
                  <a:lnTo>
                    <a:pt x="622" y="140"/>
                  </a:lnTo>
                  <a:lnTo>
                    <a:pt x="621" y="140"/>
                  </a:lnTo>
                  <a:lnTo>
                    <a:pt x="620" y="140"/>
                  </a:lnTo>
                  <a:lnTo>
                    <a:pt x="620" y="141"/>
                  </a:lnTo>
                  <a:lnTo>
                    <a:pt x="617" y="141"/>
                  </a:lnTo>
                  <a:lnTo>
                    <a:pt x="616" y="140"/>
                  </a:lnTo>
                  <a:lnTo>
                    <a:pt x="616" y="138"/>
                  </a:lnTo>
                  <a:lnTo>
                    <a:pt x="615" y="137"/>
                  </a:lnTo>
                  <a:lnTo>
                    <a:pt x="616" y="137"/>
                  </a:lnTo>
                  <a:lnTo>
                    <a:pt x="615" y="136"/>
                  </a:lnTo>
                  <a:lnTo>
                    <a:pt x="615" y="135"/>
                  </a:lnTo>
                  <a:lnTo>
                    <a:pt x="614" y="134"/>
                  </a:lnTo>
                  <a:lnTo>
                    <a:pt x="612" y="132"/>
                  </a:lnTo>
                  <a:lnTo>
                    <a:pt x="611" y="131"/>
                  </a:lnTo>
                  <a:lnTo>
                    <a:pt x="610" y="130"/>
                  </a:lnTo>
                  <a:lnTo>
                    <a:pt x="609" y="129"/>
                  </a:lnTo>
                  <a:lnTo>
                    <a:pt x="608" y="132"/>
                  </a:lnTo>
                  <a:lnTo>
                    <a:pt x="611" y="132"/>
                  </a:lnTo>
                  <a:lnTo>
                    <a:pt x="611" y="134"/>
                  </a:lnTo>
                  <a:lnTo>
                    <a:pt x="611" y="135"/>
                  </a:lnTo>
                  <a:lnTo>
                    <a:pt x="610" y="135"/>
                  </a:lnTo>
                  <a:lnTo>
                    <a:pt x="610" y="136"/>
                  </a:lnTo>
                  <a:lnTo>
                    <a:pt x="609" y="136"/>
                  </a:lnTo>
                  <a:lnTo>
                    <a:pt x="608" y="137"/>
                  </a:lnTo>
                  <a:lnTo>
                    <a:pt x="608" y="138"/>
                  </a:lnTo>
                  <a:lnTo>
                    <a:pt x="606" y="140"/>
                  </a:lnTo>
                  <a:lnTo>
                    <a:pt x="608" y="141"/>
                  </a:lnTo>
                  <a:lnTo>
                    <a:pt x="609" y="141"/>
                  </a:lnTo>
                  <a:lnTo>
                    <a:pt x="610" y="141"/>
                  </a:lnTo>
                  <a:lnTo>
                    <a:pt x="611" y="141"/>
                  </a:lnTo>
                  <a:lnTo>
                    <a:pt x="612" y="141"/>
                  </a:lnTo>
                  <a:lnTo>
                    <a:pt x="614" y="140"/>
                  </a:lnTo>
                  <a:lnTo>
                    <a:pt x="615" y="141"/>
                  </a:lnTo>
                  <a:lnTo>
                    <a:pt x="615" y="142"/>
                  </a:lnTo>
                  <a:lnTo>
                    <a:pt x="616" y="144"/>
                  </a:lnTo>
                  <a:lnTo>
                    <a:pt x="616" y="146"/>
                  </a:lnTo>
                  <a:lnTo>
                    <a:pt x="616" y="147"/>
                  </a:lnTo>
                  <a:lnTo>
                    <a:pt x="617" y="148"/>
                  </a:lnTo>
                  <a:lnTo>
                    <a:pt x="619" y="148"/>
                  </a:lnTo>
                  <a:lnTo>
                    <a:pt x="620" y="148"/>
                  </a:lnTo>
                  <a:lnTo>
                    <a:pt x="621" y="148"/>
                  </a:lnTo>
                  <a:lnTo>
                    <a:pt x="621" y="146"/>
                  </a:lnTo>
                  <a:lnTo>
                    <a:pt x="622" y="146"/>
                  </a:lnTo>
                  <a:lnTo>
                    <a:pt x="623" y="144"/>
                  </a:lnTo>
                  <a:lnTo>
                    <a:pt x="625" y="144"/>
                  </a:lnTo>
                  <a:lnTo>
                    <a:pt x="626" y="144"/>
                  </a:lnTo>
                  <a:lnTo>
                    <a:pt x="627" y="146"/>
                  </a:lnTo>
                  <a:lnTo>
                    <a:pt x="627" y="148"/>
                  </a:lnTo>
                  <a:lnTo>
                    <a:pt x="627" y="149"/>
                  </a:lnTo>
                  <a:lnTo>
                    <a:pt x="628" y="149"/>
                  </a:lnTo>
                  <a:lnTo>
                    <a:pt x="629" y="149"/>
                  </a:lnTo>
                  <a:lnTo>
                    <a:pt x="631" y="149"/>
                  </a:lnTo>
                  <a:lnTo>
                    <a:pt x="631" y="148"/>
                  </a:lnTo>
                  <a:lnTo>
                    <a:pt x="632" y="148"/>
                  </a:lnTo>
                  <a:lnTo>
                    <a:pt x="632" y="149"/>
                  </a:lnTo>
                  <a:lnTo>
                    <a:pt x="633" y="149"/>
                  </a:lnTo>
                  <a:lnTo>
                    <a:pt x="633" y="152"/>
                  </a:lnTo>
                  <a:lnTo>
                    <a:pt x="635" y="153"/>
                  </a:lnTo>
                  <a:lnTo>
                    <a:pt x="637" y="153"/>
                  </a:lnTo>
                  <a:lnTo>
                    <a:pt x="638" y="153"/>
                  </a:lnTo>
                  <a:lnTo>
                    <a:pt x="639" y="153"/>
                  </a:lnTo>
                  <a:lnTo>
                    <a:pt x="640" y="153"/>
                  </a:lnTo>
                  <a:lnTo>
                    <a:pt x="640" y="154"/>
                  </a:lnTo>
                  <a:lnTo>
                    <a:pt x="641" y="153"/>
                  </a:lnTo>
                  <a:lnTo>
                    <a:pt x="644" y="153"/>
                  </a:lnTo>
                  <a:lnTo>
                    <a:pt x="645" y="153"/>
                  </a:lnTo>
                  <a:lnTo>
                    <a:pt x="645" y="154"/>
                  </a:lnTo>
                  <a:lnTo>
                    <a:pt x="646" y="155"/>
                  </a:lnTo>
                  <a:lnTo>
                    <a:pt x="649" y="155"/>
                  </a:lnTo>
                  <a:lnTo>
                    <a:pt x="649" y="154"/>
                  </a:lnTo>
                  <a:lnTo>
                    <a:pt x="651" y="154"/>
                  </a:lnTo>
                  <a:lnTo>
                    <a:pt x="651" y="155"/>
                  </a:lnTo>
                  <a:lnTo>
                    <a:pt x="651" y="156"/>
                  </a:lnTo>
                  <a:lnTo>
                    <a:pt x="652" y="156"/>
                  </a:lnTo>
                  <a:lnTo>
                    <a:pt x="652" y="158"/>
                  </a:lnTo>
                  <a:lnTo>
                    <a:pt x="652" y="159"/>
                  </a:lnTo>
                  <a:lnTo>
                    <a:pt x="652" y="165"/>
                  </a:lnTo>
                  <a:lnTo>
                    <a:pt x="652" y="169"/>
                  </a:lnTo>
                  <a:lnTo>
                    <a:pt x="653" y="170"/>
                  </a:lnTo>
                  <a:lnTo>
                    <a:pt x="656" y="170"/>
                  </a:lnTo>
                  <a:lnTo>
                    <a:pt x="656" y="169"/>
                  </a:lnTo>
                  <a:lnTo>
                    <a:pt x="657" y="169"/>
                  </a:lnTo>
                  <a:lnTo>
                    <a:pt x="657" y="167"/>
                  </a:lnTo>
                  <a:lnTo>
                    <a:pt x="657" y="166"/>
                  </a:lnTo>
                  <a:lnTo>
                    <a:pt x="656" y="166"/>
                  </a:lnTo>
                  <a:lnTo>
                    <a:pt x="657" y="165"/>
                  </a:lnTo>
                  <a:lnTo>
                    <a:pt x="657" y="164"/>
                  </a:lnTo>
                  <a:lnTo>
                    <a:pt x="658" y="164"/>
                  </a:lnTo>
                  <a:lnTo>
                    <a:pt x="658" y="161"/>
                  </a:lnTo>
                  <a:lnTo>
                    <a:pt x="659" y="160"/>
                  </a:lnTo>
                  <a:lnTo>
                    <a:pt x="661" y="159"/>
                  </a:lnTo>
                  <a:lnTo>
                    <a:pt x="663" y="159"/>
                  </a:lnTo>
                  <a:lnTo>
                    <a:pt x="663" y="160"/>
                  </a:lnTo>
                  <a:lnTo>
                    <a:pt x="663" y="161"/>
                  </a:lnTo>
                  <a:lnTo>
                    <a:pt x="664" y="162"/>
                  </a:lnTo>
                  <a:lnTo>
                    <a:pt x="665" y="164"/>
                  </a:lnTo>
                  <a:lnTo>
                    <a:pt x="667" y="165"/>
                  </a:lnTo>
                  <a:lnTo>
                    <a:pt x="668" y="164"/>
                  </a:lnTo>
                  <a:lnTo>
                    <a:pt x="669" y="162"/>
                  </a:lnTo>
                  <a:lnTo>
                    <a:pt x="670" y="160"/>
                  </a:lnTo>
                  <a:lnTo>
                    <a:pt x="669" y="159"/>
                  </a:lnTo>
                  <a:lnTo>
                    <a:pt x="669" y="158"/>
                  </a:lnTo>
                  <a:lnTo>
                    <a:pt x="670" y="156"/>
                  </a:lnTo>
                  <a:lnTo>
                    <a:pt x="673" y="156"/>
                  </a:lnTo>
                  <a:lnTo>
                    <a:pt x="673" y="158"/>
                  </a:lnTo>
                  <a:lnTo>
                    <a:pt x="674" y="158"/>
                  </a:lnTo>
                  <a:lnTo>
                    <a:pt x="675" y="158"/>
                  </a:lnTo>
                  <a:lnTo>
                    <a:pt x="676" y="158"/>
                  </a:lnTo>
                  <a:lnTo>
                    <a:pt x="678" y="158"/>
                  </a:lnTo>
                  <a:lnTo>
                    <a:pt x="678" y="156"/>
                  </a:lnTo>
                  <a:lnTo>
                    <a:pt x="679" y="155"/>
                  </a:lnTo>
                  <a:lnTo>
                    <a:pt x="679" y="154"/>
                  </a:lnTo>
                  <a:lnTo>
                    <a:pt x="680" y="154"/>
                  </a:lnTo>
                  <a:lnTo>
                    <a:pt x="681" y="155"/>
                  </a:lnTo>
                  <a:lnTo>
                    <a:pt x="682" y="155"/>
                  </a:lnTo>
                  <a:lnTo>
                    <a:pt x="684" y="155"/>
                  </a:lnTo>
                  <a:lnTo>
                    <a:pt x="684" y="158"/>
                  </a:lnTo>
                  <a:lnTo>
                    <a:pt x="682" y="158"/>
                  </a:lnTo>
                  <a:lnTo>
                    <a:pt x="682" y="160"/>
                  </a:lnTo>
                  <a:lnTo>
                    <a:pt x="682" y="161"/>
                  </a:lnTo>
                  <a:lnTo>
                    <a:pt x="681" y="161"/>
                  </a:lnTo>
                  <a:lnTo>
                    <a:pt x="681" y="162"/>
                  </a:lnTo>
                  <a:lnTo>
                    <a:pt x="681" y="165"/>
                  </a:lnTo>
                  <a:lnTo>
                    <a:pt x="681" y="166"/>
                  </a:lnTo>
                  <a:lnTo>
                    <a:pt x="681" y="167"/>
                  </a:lnTo>
                  <a:lnTo>
                    <a:pt x="680" y="169"/>
                  </a:lnTo>
                  <a:lnTo>
                    <a:pt x="679" y="170"/>
                  </a:lnTo>
                  <a:lnTo>
                    <a:pt x="678" y="170"/>
                  </a:lnTo>
                  <a:lnTo>
                    <a:pt x="678" y="171"/>
                  </a:lnTo>
                  <a:lnTo>
                    <a:pt x="676" y="171"/>
                  </a:lnTo>
                  <a:lnTo>
                    <a:pt x="675" y="172"/>
                  </a:lnTo>
                  <a:lnTo>
                    <a:pt x="675" y="176"/>
                  </a:lnTo>
                  <a:lnTo>
                    <a:pt x="675" y="177"/>
                  </a:lnTo>
                  <a:lnTo>
                    <a:pt x="676" y="178"/>
                  </a:lnTo>
                  <a:lnTo>
                    <a:pt x="676" y="179"/>
                  </a:lnTo>
                  <a:lnTo>
                    <a:pt x="676" y="181"/>
                  </a:lnTo>
                  <a:lnTo>
                    <a:pt x="678" y="181"/>
                  </a:lnTo>
                  <a:lnTo>
                    <a:pt x="679" y="181"/>
                  </a:lnTo>
                  <a:lnTo>
                    <a:pt x="680" y="179"/>
                  </a:lnTo>
                  <a:lnTo>
                    <a:pt x="680" y="178"/>
                  </a:lnTo>
                  <a:lnTo>
                    <a:pt x="680" y="177"/>
                  </a:lnTo>
                  <a:lnTo>
                    <a:pt x="681" y="176"/>
                  </a:lnTo>
                  <a:lnTo>
                    <a:pt x="681" y="175"/>
                  </a:lnTo>
                  <a:lnTo>
                    <a:pt x="682" y="173"/>
                  </a:lnTo>
                  <a:lnTo>
                    <a:pt x="685" y="173"/>
                  </a:lnTo>
                  <a:lnTo>
                    <a:pt x="685" y="175"/>
                  </a:lnTo>
                  <a:lnTo>
                    <a:pt x="686" y="175"/>
                  </a:lnTo>
                  <a:lnTo>
                    <a:pt x="686" y="176"/>
                  </a:lnTo>
                  <a:lnTo>
                    <a:pt x="686" y="177"/>
                  </a:lnTo>
                  <a:lnTo>
                    <a:pt x="686" y="178"/>
                  </a:lnTo>
                  <a:lnTo>
                    <a:pt x="686" y="179"/>
                  </a:lnTo>
                  <a:lnTo>
                    <a:pt x="686" y="181"/>
                  </a:lnTo>
                  <a:lnTo>
                    <a:pt x="686" y="183"/>
                  </a:lnTo>
                  <a:lnTo>
                    <a:pt x="685" y="184"/>
                  </a:lnTo>
                  <a:lnTo>
                    <a:pt x="684" y="185"/>
                  </a:lnTo>
                  <a:lnTo>
                    <a:pt x="684" y="188"/>
                  </a:lnTo>
                  <a:lnTo>
                    <a:pt x="682" y="188"/>
                  </a:lnTo>
                  <a:lnTo>
                    <a:pt x="682" y="190"/>
                  </a:lnTo>
                  <a:lnTo>
                    <a:pt x="682" y="191"/>
                  </a:lnTo>
                  <a:lnTo>
                    <a:pt x="681" y="191"/>
                  </a:lnTo>
                  <a:lnTo>
                    <a:pt x="679" y="193"/>
                  </a:lnTo>
                  <a:lnTo>
                    <a:pt x="678" y="191"/>
                  </a:lnTo>
                  <a:lnTo>
                    <a:pt x="676" y="191"/>
                  </a:lnTo>
                  <a:lnTo>
                    <a:pt x="675" y="193"/>
                  </a:lnTo>
                  <a:lnTo>
                    <a:pt x="676" y="194"/>
                  </a:lnTo>
                  <a:lnTo>
                    <a:pt x="678" y="194"/>
                  </a:lnTo>
                  <a:lnTo>
                    <a:pt x="678" y="195"/>
                  </a:lnTo>
                  <a:lnTo>
                    <a:pt x="678" y="196"/>
                  </a:lnTo>
                  <a:lnTo>
                    <a:pt x="679" y="196"/>
                  </a:lnTo>
                  <a:lnTo>
                    <a:pt x="681" y="196"/>
                  </a:lnTo>
                  <a:lnTo>
                    <a:pt x="681" y="195"/>
                  </a:lnTo>
                  <a:lnTo>
                    <a:pt x="684" y="195"/>
                  </a:lnTo>
                  <a:lnTo>
                    <a:pt x="684" y="196"/>
                  </a:lnTo>
                  <a:lnTo>
                    <a:pt x="686" y="196"/>
                  </a:lnTo>
                  <a:lnTo>
                    <a:pt x="688" y="196"/>
                  </a:lnTo>
                  <a:lnTo>
                    <a:pt x="688" y="199"/>
                  </a:lnTo>
                  <a:lnTo>
                    <a:pt x="687" y="200"/>
                  </a:lnTo>
                  <a:lnTo>
                    <a:pt x="688" y="201"/>
                  </a:lnTo>
                  <a:lnTo>
                    <a:pt x="690" y="201"/>
                  </a:lnTo>
                  <a:lnTo>
                    <a:pt x="691" y="199"/>
                  </a:lnTo>
                  <a:lnTo>
                    <a:pt x="692" y="199"/>
                  </a:lnTo>
                  <a:lnTo>
                    <a:pt x="693" y="197"/>
                  </a:lnTo>
                  <a:lnTo>
                    <a:pt x="694" y="199"/>
                  </a:lnTo>
                  <a:lnTo>
                    <a:pt x="696" y="199"/>
                  </a:lnTo>
                  <a:lnTo>
                    <a:pt x="697" y="199"/>
                  </a:lnTo>
                  <a:lnTo>
                    <a:pt x="698" y="197"/>
                  </a:lnTo>
                  <a:lnTo>
                    <a:pt x="699" y="197"/>
                  </a:lnTo>
                  <a:lnTo>
                    <a:pt x="700" y="199"/>
                  </a:lnTo>
                  <a:lnTo>
                    <a:pt x="700" y="200"/>
                  </a:lnTo>
                  <a:lnTo>
                    <a:pt x="700" y="201"/>
                  </a:lnTo>
                  <a:lnTo>
                    <a:pt x="698" y="203"/>
                  </a:lnTo>
                  <a:lnTo>
                    <a:pt x="699" y="203"/>
                  </a:lnTo>
                  <a:lnTo>
                    <a:pt x="700" y="202"/>
                  </a:lnTo>
                  <a:lnTo>
                    <a:pt x="702" y="203"/>
                  </a:lnTo>
                  <a:lnTo>
                    <a:pt x="702" y="207"/>
                  </a:lnTo>
                  <a:lnTo>
                    <a:pt x="703" y="207"/>
                  </a:lnTo>
                  <a:lnTo>
                    <a:pt x="704" y="207"/>
                  </a:lnTo>
                  <a:lnTo>
                    <a:pt x="704" y="206"/>
                  </a:lnTo>
                  <a:lnTo>
                    <a:pt x="706" y="207"/>
                  </a:lnTo>
                  <a:lnTo>
                    <a:pt x="710" y="206"/>
                  </a:lnTo>
                  <a:lnTo>
                    <a:pt x="711" y="206"/>
                  </a:lnTo>
                  <a:lnTo>
                    <a:pt x="711" y="207"/>
                  </a:lnTo>
                  <a:lnTo>
                    <a:pt x="711" y="208"/>
                  </a:lnTo>
                  <a:lnTo>
                    <a:pt x="710" y="208"/>
                  </a:lnTo>
                  <a:lnTo>
                    <a:pt x="710" y="209"/>
                  </a:lnTo>
                  <a:lnTo>
                    <a:pt x="710" y="211"/>
                  </a:lnTo>
                  <a:lnTo>
                    <a:pt x="709" y="211"/>
                  </a:lnTo>
                  <a:lnTo>
                    <a:pt x="709" y="212"/>
                  </a:lnTo>
                  <a:lnTo>
                    <a:pt x="709" y="215"/>
                  </a:lnTo>
                  <a:lnTo>
                    <a:pt x="710" y="217"/>
                  </a:lnTo>
                  <a:lnTo>
                    <a:pt x="711" y="217"/>
                  </a:lnTo>
                  <a:lnTo>
                    <a:pt x="711" y="215"/>
                  </a:lnTo>
                  <a:lnTo>
                    <a:pt x="712" y="215"/>
                  </a:lnTo>
                  <a:lnTo>
                    <a:pt x="714" y="214"/>
                  </a:lnTo>
                  <a:lnTo>
                    <a:pt x="715" y="213"/>
                  </a:lnTo>
                  <a:lnTo>
                    <a:pt x="718" y="212"/>
                  </a:lnTo>
                  <a:lnTo>
                    <a:pt x="720" y="212"/>
                  </a:lnTo>
                  <a:lnTo>
                    <a:pt x="721" y="212"/>
                  </a:lnTo>
                  <a:lnTo>
                    <a:pt x="722" y="212"/>
                  </a:lnTo>
                  <a:lnTo>
                    <a:pt x="723" y="212"/>
                  </a:lnTo>
                  <a:lnTo>
                    <a:pt x="724" y="212"/>
                  </a:lnTo>
                  <a:lnTo>
                    <a:pt x="726" y="212"/>
                  </a:lnTo>
                  <a:lnTo>
                    <a:pt x="726" y="213"/>
                  </a:lnTo>
                  <a:lnTo>
                    <a:pt x="726" y="214"/>
                  </a:lnTo>
                  <a:lnTo>
                    <a:pt x="726" y="215"/>
                  </a:lnTo>
                  <a:lnTo>
                    <a:pt x="724" y="215"/>
                  </a:lnTo>
                  <a:lnTo>
                    <a:pt x="726" y="215"/>
                  </a:lnTo>
                  <a:lnTo>
                    <a:pt x="726" y="217"/>
                  </a:lnTo>
                  <a:lnTo>
                    <a:pt x="727" y="215"/>
                  </a:lnTo>
                  <a:lnTo>
                    <a:pt x="728" y="215"/>
                  </a:lnTo>
                  <a:lnTo>
                    <a:pt x="729" y="214"/>
                  </a:lnTo>
                  <a:lnTo>
                    <a:pt x="729" y="215"/>
                  </a:lnTo>
                  <a:lnTo>
                    <a:pt x="730" y="215"/>
                  </a:lnTo>
                  <a:lnTo>
                    <a:pt x="732" y="215"/>
                  </a:lnTo>
                  <a:lnTo>
                    <a:pt x="732" y="217"/>
                  </a:lnTo>
                  <a:lnTo>
                    <a:pt x="734" y="217"/>
                  </a:lnTo>
                  <a:lnTo>
                    <a:pt x="735" y="217"/>
                  </a:lnTo>
                  <a:lnTo>
                    <a:pt x="736" y="217"/>
                  </a:lnTo>
                  <a:lnTo>
                    <a:pt x="738" y="217"/>
                  </a:lnTo>
                  <a:lnTo>
                    <a:pt x="738" y="215"/>
                  </a:lnTo>
                  <a:lnTo>
                    <a:pt x="739" y="214"/>
                  </a:lnTo>
                  <a:lnTo>
                    <a:pt x="740" y="215"/>
                  </a:lnTo>
                  <a:lnTo>
                    <a:pt x="740" y="217"/>
                  </a:lnTo>
                  <a:lnTo>
                    <a:pt x="741" y="217"/>
                  </a:lnTo>
                  <a:lnTo>
                    <a:pt x="740" y="218"/>
                  </a:lnTo>
                  <a:lnTo>
                    <a:pt x="740" y="219"/>
                  </a:lnTo>
                  <a:lnTo>
                    <a:pt x="739" y="219"/>
                  </a:lnTo>
                  <a:lnTo>
                    <a:pt x="739" y="220"/>
                  </a:lnTo>
                  <a:lnTo>
                    <a:pt x="739" y="221"/>
                  </a:lnTo>
                  <a:lnTo>
                    <a:pt x="739" y="223"/>
                  </a:lnTo>
                  <a:lnTo>
                    <a:pt x="739" y="225"/>
                  </a:lnTo>
                  <a:lnTo>
                    <a:pt x="738" y="225"/>
                  </a:lnTo>
                  <a:lnTo>
                    <a:pt x="736" y="225"/>
                  </a:lnTo>
                  <a:lnTo>
                    <a:pt x="735" y="225"/>
                  </a:lnTo>
                  <a:lnTo>
                    <a:pt x="734" y="226"/>
                  </a:lnTo>
                  <a:lnTo>
                    <a:pt x="733" y="229"/>
                  </a:lnTo>
                  <a:lnTo>
                    <a:pt x="733" y="230"/>
                  </a:lnTo>
                  <a:lnTo>
                    <a:pt x="734" y="231"/>
                  </a:lnTo>
                  <a:lnTo>
                    <a:pt x="735" y="230"/>
                  </a:lnTo>
                  <a:lnTo>
                    <a:pt x="736" y="230"/>
                  </a:lnTo>
                  <a:lnTo>
                    <a:pt x="736" y="229"/>
                  </a:lnTo>
                  <a:lnTo>
                    <a:pt x="741" y="230"/>
                  </a:lnTo>
                  <a:lnTo>
                    <a:pt x="741" y="229"/>
                  </a:lnTo>
                  <a:lnTo>
                    <a:pt x="743" y="229"/>
                  </a:lnTo>
                  <a:lnTo>
                    <a:pt x="743" y="225"/>
                  </a:lnTo>
                  <a:lnTo>
                    <a:pt x="744" y="225"/>
                  </a:lnTo>
                  <a:lnTo>
                    <a:pt x="745" y="224"/>
                  </a:lnTo>
                  <a:lnTo>
                    <a:pt x="745" y="223"/>
                  </a:lnTo>
                  <a:lnTo>
                    <a:pt x="746" y="223"/>
                  </a:lnTo>
                  <a:lnTo>
                    <a:pt x="746" y="224"/>
                  </a:lnTo>
                  <a:lnTo>
                    <a:pt x="747" y="224"/>
                  </a:lnTo>
                  <a:lnTo>
                    <a:pt x="747" y="223"/>
                  </a:lnTo>
                  <a:lnTo>
                    <a:pt x="749" y="223"/>
                  </a:lnTo>
                  <a:lnTo>
                    <a:pt x="750" y="223"/>
                  </a:lnTo>
                  <a:lnTo>
                    <a:pt x="750" y="220"/>
                  </a:lnTo>
                  <a:lnTo>
                    <a:pt x="751" y="220"/>
                  </a:lnTo>
                  <a:lnTo>
                    <a:pt x="752" y="220"/>
                  </a:lnTo>
                  <a:lnTo>
                    <a:pt x="753" y="220"/>
                  </a:lnTo>
                  <a:lnTo>
                    <a:pt x="753" y="221"/>
                  </a:lnTo>
                  <a:lnTo>
                    <a:pt x="752" y="223"/>
                  </a:lnTo>
                  <a:lnTo>
                    <a:pt x="752" y="227"/>
                  </a:lnTo>
                  <a:lnTo>
                    <a:pt x="753" y="227"/>
                  </a:lnTo>
                  <a:lnTo>
                    <a:pt x="755" y="227"/>
                  </a:lnTo>
                  <a:lnTo>
                    <a:pt x="756" y="227"/>
                  </a:lnTo>
                  <a:lnTo>
                    <a:pt x="757" y="227"/>
                  </a:lnTo>
                  <a:lnTo>
                    <a:pt x="758" y="225"/>
                  </a:lnTo>
                  <a:lnTo>
                    <a:pt x="759" y="225"/>
                  </a:lnTo>
                  <a:lnTo>
                    <a:pt x="759" y="226"/>
                  </a:lnTo>
                  <a:lnTo>
                    <a:pt x="761" y="229"/>
                  </a:lnTo>
                  <a:lnTo>
                    <a:pt x="759" y="230"/>
                  </a:lnTo>
                  <a:lnTo>
                    <a:pt x="758" y="230"/>
                  </a:lnTo>
                  <a:lnTo>
                    <a:pt x="758" y="231"/>
                  </a:lnTo>
                  <a:lnTo>
                    <a:pt x="757" y="231"/>
                  </a:lnTo>
                  <a:lnTo>
                    <a:pt x="757" y="232"/>
                  </a:lnTo>
                  <a:lnTo>
                    <a:pt x="757" y="233"/>
                  </a:lnTo>
                  <a:lnTo>
                    <a:pt x="756" y="236"/>
                  </a:lnTo>
                  <a:lnTo>
                    <a:pt x="753" y="236"/>
                  </a:lnTo>
                  <a:lnTo>
                    <a:pt x="751" y="236"/>
                  </a:lnTo>
                  <a:lnTo>
                    <a:pt x="753" y="237"/>
                  </a:lnTo>
                  <a:lnTo>
                    <a:pt x="752" y="237"/>
                  </a:lnTo>
                  <a:lnTo>
                    <a:pt x="750" y="236"/>
                  </a:lnTo>
                  <a:lnTo>
                    <a:pt x="749" y="237"/>
                  </a:lnTo>
                  <a:lnTo>
                    <a:pt x="750" y="237"/>
                  </a:lnTo>
                  <a:lnTo>
                    <a:pt x="751" y="238"/>
                  </a:lnTo>
                  <a:lnTo>
                    <a:pt x="751" y="239"/>
                  </a:lnTo>
                  <a:lnTo>
                    <a:pt x="749" y="239"/>
                  </a:lnTo>
                  <a:lnTo>
                    <a:pt x="747" y="241"/>
                  </a:lnTo>
                  <a:lnTo>
                    <a:pt x="746" y="241"/>
                  </a:lnTo>
                  <a:lnTo>
                    <a:pt x="745" y="241"/>
                  </a:lnTo>
                  <a:lnTo>
                    <a:pt x="745" y="242"/>
                  </a:lnTo>
                  <a:lnTo>
                    <a:pt x="744" y="242"/>
                  </a:lnTo>
                  <a:lnTo>
                    <a:pt x="743" y="242"/>
                  </a:lnTo>
                  <a:lnTo>
                    <a:pt x="741" y="243"/>
                  </a:lnTo>
                  <a:lnTo>
                    <a:pt x="740" y="242"/>
                  </a:lnTo>
                  <a:lnTo>
                    <a:pt x="739" y="242"/>
                  </a:lnTo>
                  <a:lnTo>
                    <a:pt x="738" y="241"/>
                  </a:lnTo>
                  <a:lnTo>
                    <a:pt x="735" y="242"/>
                  </a:lnTo>
                  <a:lnTo>
                    <a:pt x="736" y="243"/>
                  </a:lnTo>
                  <a:lnTo>
                    <a:pt x="736" y="245"/>
                  </a:lnTo>
                  <a:lnTo>
                    <a:pt x="735" y="245"/>
                  </a:lnTo>
                  <a:lnTo>
                    <a:pt x="735" y="247"/>
                  </a:lnTo>
                  <a:lnTo>
                    <a:pt x="734" y="247"/>
                  </a:lnTo>
                  <a:lnTo>
                    <a:pt x="733" y="248"/>
                  </a:lnTo>
                  <a:lnTo>
                    <a:pt x="730" y="249"/>
                  </a:lnTo>
                  <a:lnTo>
                    <a:pt x="729" y="249"/>
                  </a:lnTo>
                  <a:lnTo>
                    <a:pt x="729" y="250"/>
                  </a:lnTo>
                  <a:lnTo>
                    <a:pt x="728" y="251"/>
                  </a:lnTo>
                  <a:lnTo>
                    <a:pt x="727" y="253"/>
                  </a:lnTo>
                  <a:lnTo>
                    <a:pt x="726" y="253"/>
                  </a:lnTo>
                  <a:lnTo>
                    <a:pt x="726" y="254"/>
                  </a:lnTo>
                  <a:lnTo>
                    <a:pt x="724" y="255"/>
                  </a:lnTo>
                  <a:lnTo>
                    <a:pt x="723" y="255"/>
                  </a:lnTo>
                  <a:lnTo>
                    <a:pt x="723" y="256"/>
                  </a:lnTo>
                  <a:lnTo>
                    <a:pt x="722" y="256"/>
                  </a:lnTo>
                  <a:lnTo>
                    <a:pt x="721" y="257"/>
                  </a:lnTo>
                  <a:lnTo>
                    <a:pt x="720" y="257"/>
                  </a:lnTo>
                  <a:lnTo>
                    <a:pt x="721" y="257"/>
                  </a:lnTo>
                  <a:lnTo>
                    <a:pt x="726" y="257"/>
                  </a:lnTo>
                  <a:lnTo>
                    <a:pt x="727" y="256"/>
                  </a:lnTo>
                  <a:lnTo>
                    <a:pt x="728" y="256"/>
                  </a:lnTo>
                  <a:lnTo>
                    <a:pt x="729" y="257"/>
                  </a:lnTo>
                  <a:lnTo>
                    <a:pt x="730" y="259"/>
                  </a:lnTo>
                  <a:lnTo>
                    <a:pt x="732" y="259"/>
                  </a:lnTo>
                  <a:lnTo>
                    <a:pt x="733" y="260"/>
                  </a:lnTo>
                  <a:lnTo>
                    <a:pt x="734" y="261"/>
                  </a:lnTo>
                  <a:lnTo>
                    <a:pt x="735" y="262"/>
                  </a:lnTo>
                  <a:lnTo>
                    <a:pt x="735" y="261"/>
                  </a:lnTo>
                  <a:lnTo>
                    <a:pt x="736" y="261"/>
                  </a:lnTo>
                  <a:lnTo>
                    <a:pt x="738" y="261"/>
                  </a:lnTo>
                  <a:lnTo>
                    <a:pt x="739" y="260"/>
                  </a:lnTo>
                  <a:lnTo>
                    <a:pt x="739" y="261"/>
                  </a:lnTo>
                  <a:lnTo>
                    <a:pt x="740" y="261"/>
                  </a:lnTo>
                  <a:lnTo>
                    <a:pt x="740" y="262"/>
                  </a:lnTo>
                  <a:lnTo>
                    <a:pt x="739" y="263"/>
                  </a:lnTo>
                  <a:lnTo>
                    <a:pt x="740" y="265"/>
                  </a:lnTo>
                  <a:lnTo>
                    <a:pt x="740" y="262"/>
                  </a:lnTo>
                  <a:lnTo>
                    <a:pt x="743" y="262"/>
                  </a:lnTo>
                  <a:lnTo>
                    <a:pt x="744" y="261"/>
                  </a:lnTo>
                  <a:lnTo>
                    <a:pt x="745" y="260"/>
                  </a:lnTo>
                  <a:lnTo>
                    <a:pt x="745" y="259"/>
                  </a:lnTo>
                  <a:lnTo>
                    <a:pt x="749" y="259"/>
                  </a:lnTo>
                  <a:lnTo>
                    <a:pt x="749" y="257"/>
                  </a:lnTo>
                  <a:lnTo>
                    <a:pt x="751" y="257"/>
                  </a:lnTo>
                  <a:lnTo>
                    <a:pt x="752" y="259"/>
                  </a:lnTo>
                  <a:lnTo>
                    <a:pt x="751" y="261"/>
                  </a:lnTo>
                  <a:lnTo>
                    <a:pt x="751" y="263"/>
                  </a:lnTo>
                  <a:lnTo>
                    <a:pt x="752" y="265"/>
                  </a:lnTo>
                  <a:lnTo>
                    <a:pt x="753" y="265"/>
                  </a:lnTo>
                  <a:lnTo>
                    <a:pt x="755" y="265"/>
                  </a:lnTo>
                  <a:lnTo>
                    <a:pt x="756" y="265"/>
                  </a:lnTo>
                  <a:lnTo>
                    <a:pt x="758" y="265"/>
                  </a:lnTo>
                  <a:lnTo>
                    <a:pt x="759" y="265"/>
                  </a:lnTo>
                  <a:lnTo>
                    <a:pt x="761" y="265"/>
                  </a:lnTo>
                  <a:lnTo>
                    <a:pt x="761" y="263"/>
                  </a:lnTo>
                  <a:lnTo>
                    <a:pt x="762" y="263"/>
                  </a:lnTo>
                  <a:lnTo>
                    <a:pt x="763" y="263"/>
                  </a:lnTo>
                  <a:lnTo>
                    <a:pt x="764" y="263"/>
                  </a:lnTo>
                  <a:lnTo>
                    <a:pt x="765" y="265"/>
                  </a:lnTo>
                  <a:lnTo>
                    <a:pt x="767" y="265"/>
                  </a:lnTo>
                  <a:lnTo>
                    <a:pt x="768" y="265"/>
                  </a:lnTo>
                  <a:lnTo>
                    <a:pt x="768" y="266"/>
                  </a:lnTo>
                  <a:lnTo>
                    <a:pt x="769" y="266"/>
                  </a:lnTo>
                  <a:lnTo>
                    <a:pt x="769" y="265"/>
                  </a:lnTo>
                  <a:lnTo>
                    <a:pt x="770" y="263"/>
                  </a:lnTo>
                  <a:lnTo>
                    <a:pt x="773" y="262"/>
                  </a:lnTo>
                  <a:lnTo>
                    <a:pt x="771" y="263"/>
                  </a:lnTo>
                  <a:lnTo>
                    <a:pt x="771" y="265"/>
                  </a:lnTo>
                  <a:lnTo>
                    <a:pt x="773" y="265"/>
                  </a:lnTo>
                  <a:lnTo>
                    <a:pt x="773" y="266"/>
                  </a:lnTo>
                  <a:lnTo>
                    <a:pt x="774" y="266"/>
                  </a:lnTo>
                  <a:lnTo>
                    <a:pt x="775" y="267"/>
                  </a:lnTo>
                  <a:lnTo>
                    <a:pt x="775" y="266"/>
                  </a:lnTo>
                  <a:lnTo>
                    <a:pt x="776" y="265"/>
                  </a:lnTo>
                  <a:lnTo>
                    <a:pt x="776" y="263"/>
                  </a:lnTo>
                  <a:lnTo>
                    <a:pt x="776" y="262"/>
                  </a:lnTo>
                  <a:lnTo>
                    <a:pt x="777" y="262"/>
                  </a:lnTo>
                  <a:lnTo>
                    <a:pt x="779" y="262"/>
                  </a:lnTo>
                  <a:lnTo>
                    <a:pt x="779" y="265"/>
                  </a:lnTo>
                  <a:lnTo>
                    <a:pt x="780" y="265"/>
                  </a:lnTo>
                  <a:lnTo>
                    <a:pt x="780" y="263"/>
                  </a:lnTo>
                  <a:lnTo>
                    <a:pt x="781" y="263"/>
                  </a:lnTo>
                  <a:lnTo>
                    <a:pt x="780" y="265"/>
                  </a:lnTo>
                  <a:lnTo>
                    <a:pt x="779" y="266"/>
                  </a:lnTo>
                  <a:lnTo>
                    <a:pt x="779" y="267"/>
                  </a:lnTo>
                  <a:lnTo>
                    <a:pt x="777" y="268"/>
                  </a:lnTo>
                  <a:lnTo>
                    <a:pt x="777" y="269"/>
                  </a:lnTo>
                  <a:lnTo>
                    <a:pt x="779" y="271"/>
                  </a:lnTo>
                  <a:lnTo>
                    <a:pt x="780" y="272"/>
                  </a:lnTo>
                  <a:lnTo>
                    <a:pt x="780" y="273"/>
                  </a:lnTo>
                  <a:lnTo>
                    <a:pt x="781" y="273"/>
                  </a:lnTo>
                  <a:lnTo>
                    <a:pt x="781" y="274"/>
                  </a:lnTo>
                  <a:lnTo>
                    <a:pt x="782" y="275"/>
                  </a:lnTo>
                  <a:lnTo>
                    <a:pt x="785" y="275"/>
                  </a:lnTo>
                  <a:lnTo>
                    <a:pt x="783" y="277"/>
                  </a:lnTo>
                  <a:lnTo>
                    <a:pt x="783" y="278"/>
                  </a:lnTo>
                  <a:lnTo>
                    <a:pt x="777" y="279"/>
                  </a:lnTo>
                  <a:lnTo>
                    <a:pt x="777" y="283"/>
                  </a:lnTo>
                  <a:lnTo>
                    <a:pt x="776" y="283"/>
                  </a:lnTo>
                  <a:lnTo>
                    <a:pt x="775" y="284"/>
                  </a:lnTo>
                  <a:lnTo>
                    <a:pt x="775" y="286"/>
                  </a:lnTo>
                  <a:lnTo>
                    <a:pt x="777" y="286"/>
                  </a:lnTo>
                  <a:lnTo>
                    <a:pt x="777" y="288"/>
                  </a:lnTo>
                  <a:lnTo>
                    <a:pt x="777" y="289"/>
                  </a:lnTo>
                  <a:lnTo>
                    <a:pt x="776" y="290"/>
                  </a:lnTo>
                  <a:lnTo>
                    <a:pt x="776" y="291"/>
                  </a:lnTo>
                  <a:lnTo>
                    <a:pt x="779" y="291"/>
                  </a:lnTo>
                  <a:lnTo>
                    <a:pt x="781" y="290"/>
                  </a:lnTo>
                  <a:lnTo>
                    <a:pt x="785" y="290"/>
                  </a:lnTo>
                  <a:lnTo>
                    <a:pt x="787" y="289"/>
                  </a:lnTo>
                  <a:lnTo>
                    <a:pt x="787" y="288"/>
                  </a:lnTo>
                  <a:lnTo>
                    <a:pt x="787" y="286"/>
                  </a:lnTo>
                  <a:lnTo>
                    <a:pt x="788" y="286"/>
                  </a:lnTo>
                  <a:lnTo>
                    <a:pt x="788" y="284"/>
                  </a:lnTo>
                  <a:lnTo>
                    <a:pt x="789" y="283"/>
                  </a:lnTo>
                  <a:lnTo>
                    <a:pt x="791" y="282"/>
                  </a:lnTo>
                  <a:lnTo>
                    <a:pt x="793" y="282"/>
                  </a:lnTo>
                  <a:lnTo>
                    <a:pt x="794" y="282"/>
                  </a:lnTo>
                  <a:lnTo>
                    <a:pt x="794" y="280"/>
                  </a:lnTo>
                  <a:lnTo>
                    <a:pt x="795" y="280"/>
                  </a:lnTo>
                  <a:lnTo>
                    <a:pt x="797" y="280"/>
                  </a:lnTo>
                  <a:lnTo>
                    <a:pt x="799" y="279"/>
                  </a:lnTo>
                  <a:lnTo>
                    <a:pt x="802" y="279"/>
                  </a:lnTo>
                  <a:lnTo>
                    <a:pt x="802" y="280"/>
                  </a:lnTo>
                  <a:lnTo>
                    <a:pt x="803" y="282"/>
                  </a:lnTo>
                  <a:lnTo>
                    <a:pt x="802" y="283"/>
                  </a:lnTo>
                  <a:lnTo>
                    <a:pt x="802" y="284"/>
                  </a:lnTo>
                  <a:lnTo>
                    <a:pt x="802" y="286"/>
                  </a:lnTo>
                  <a:lnTo>
                    <a:pt x="800" y="289"/>
                  </a:lnTo>
                  <a:lnTo>
                    <a:pt x="798" y="290"/>
                  </a:lnTo>
                  <a:lnTo>
                    <a:pt x="795" y="291"/>
                  </a:lnTo>
                  <a:lnTo>
                    <a:pt x="793" y="292"/>
                  </a:lnTo>
                  <a:lnTo>
                    <a:pt x="792" y="292"/>
                  </a:lnTo>
                  <a:lnTo>
                    <a:pt x="791" y="292"/>
                  </a:lnTo>
                  <a:lnTo>
                    <a:pt x="789" y="295"/>
                  </a:lnTo>
                  <a:lnTo>
                    <a:pt x="791" y="297"/>
                  </a:lnTo>
                  <a:lnTo>
                    <a:pt x="789" y="297"/>
                  </a:lnTo>
                  <a:lnTo>
                    <a:pt x="788" y="298"/>
                  </a:lnTo>
                  <a:lnTo>
                    <a:pt x="786" y="300"/>
                  </a:lnTo>
                  <a:lnTo>
                    <a:pt x="783" y="302"/>
                  </a:lnTo>
                  <a:lnTo>
                    <a:pt x="782" y="304"/>
                  </a:lnTo>
                  <a:lnTo>
                    <a:pt x="781" y="306"/>
                  </a:lnTo>
                  <a:lnTo>
                    <a:pt x="780" y="306"/>
                  </a:lnTo>
                  <a:lnTo>
                    <a:pt x="780" y="308"/>
                  </a:lnTo>
                  <a:lnTo>
                    <a:pt x="779" y="308"/>
                  </a:lnTo>
                  <a:lnTo>
                    <a:pt x="776" y="308"/>
                  </a:lnTo>
                  <a:lnTo>
                    <a:pt x="775" y="307"/>
                  </a:lnTo>
                  <a:lnTo>
                    <a:pt x="774" y="307"/>
                  </a:lnTo>
                  <a:lnTo>
                    <a:pt x="773" y="306"/>
                  </a:lnTo>
                  <a:lnTo>
                    <a:pt x="770" y="307"/>
                  </a:lnTo>
                  <a:lnTo>
                    <a:pt x="768" y="308"/>
                  </a:lnTo>
                  <a:lnTo>
                    <a:pt x="767" y="309"/>
                  </a:lnTo>
                  <a:lnTo>
                    <a:pt x="764" y="309"/>
                  </a:lnTo>
                  <a:lnTo>
                    <a:pt x="767" y="310"/>
                  </a:lnTo>
                  <a:lnTo>
                    <a:pt x="770" y="312"/>
                  </a:lnTo>
                  <a:lnTo>
                    <a:pt x="770" y="315"/>
                  </a:lnTo>
                  <a:lnTo>
                    <a:pt x="770" y="316"/>
                  </a:lnTo>
                  <a:lnTo>
                    <a:pt x="771" y="315"/>
                  </a:lnTo>
                  <a:lnTo>
                    <a:pt x="773" y="315"/>
                  </a:lnTo>
                  <a:lnTo>
                    <a:pt x="774" y="318"/>
                  </a:lnTo>
                  <a:lnTo>
                    <a:pt x="774" y="319"/>
                  </a:lnTo>
                  <a:lnTo>
                    <a:pt x="775" y="321"/>
                  </a:lnTo>
                  <a:lnTo>
                    <a:pt x="776" y="321"/>
                  </a:lnTo>
                  <a:lnTo>
                    <a:pt x="780" y="320"/>
                  </a:lnTo>
                  <a:lnTo>
                    <a:pt x="782" y="320"/>
                  </a:lnTo>
                  <a:lnTo>
                    <a:pt x="786" y="320"/>
                  </a:lnTo>
                  <a:lnTo>
                    <a:pt x="788" y="320"/>
                  </a:lnTo>
                  <a:lnTo>
                    <a:pt x="788" y="321"/>
                  </a:lnTo>
                  <a:lnTo>
                    <a:pt x="788" y="324"/>
                  </a:lnTo>
                  <a:lnTo>
                    <a:pt x="786" y="325"/>
                  </a:lnTo>
                  <a:lnTo>
                    <a:pt x="786" y="327"/>
                  </a:lnTo>
                  <a:lnTo>
                    <a:pt x="787" y="326"/>
                  </a:lnTo>
                  <a:lnTo>
                    <a:pt x="788" y="326"/>
                  </a:lnTo>
                  <a:lnTo>
                    <a:pt x="788" y="327"/>
                  </a:lnTo>
                  <a:lnTo>
                    <a:pt x="789" y="327"/>
                  </a:lnTo>
                  <a:lnTo>
                    <a:pt x="789" y="328"/>
                  </a:lnTo>
                  <a:lnTo>
                    <a:pt x="787" y="332"/>
                  </a:lnTo>
                  <a:lnTo>
                    <a:pt x="785" y="334"/>
                  </a:lnTo>
                  <a:lnTo>
                    <a:pt x="783" y="336"/>
                  </a:lnTo>
                  <a:lnTo>
                    <a:pt x="782" y="337"/>
                  </a:lnTo>
                  <a:lnTo>
                    <a:pt x="786" y="339"/>
                  </a:lnTo>
                  <a:lnTo>
                    <a:pt x="786" y="340"/>
                  </a:lnTo>
                  <a:lnTo>
                    <a:pt x="786" y="342"/>
                  </a:lnTo>
                  <a:lnTo>
                    <a:pt x="785" y="342"/>
                  </a:lnTo>
                  <a:lnTo>
                    <a:pt x="785" y="343"/>
                  </a:lnTo>
                  <a:lnTo>
                    <a:pt x="786" y="344"/>
                  </a:lnTo>
                  <a:lnTo>
                    <a:pt x="786" y="345"/>
                  </a:lnTo>
                  <a:lnTo>
                    <a:pt x="787" y="348"/>
                  </a:lnTo>
                  <a:lnTo>
                    <a:pt x="786" y="348"/>
                  </a:lnTo>
                  <a:lnTo>
                    <a:pt x="785" y="349"/>
                  </a:lnTo>
                  <a:lnTo>
                    <a:pt x="785" y="350"/>
                  </a:lnTo>
                  <a:lnTo>
                    <a:pt x="787" y="349"/>
                  </a:lnTo>
                  <a:lnTo>
                    <a:pt x="788" y="349"/>
                  </a:lnTo>
                  <a:lnTo>
                    <a:pt x="789" y="349"/>
                  </a:lnTo>
                  <a:lnTo>
                    <a:pt x="789" y="351"/>
                  </a:lnTo>
                  <a:lnTo>
                    <a:pt x="791" y="355"/>
                  </a:lnTo>
                  <a:lnTo>
                    <a:pt x="795" y="355"/>
                  </a:lnTo>
                  <a:lnTo>
                    <a:pt x="797" y="355"/>
                  </a:lnTo>
                  <a:lnTo>
                    <a:pt x="798" y="354"/>
                  </a:lnTo>
                  <a:lnTo>
                    <a:pt x="800" y="354"/>
                  </a:lnTo>
                  <a:lnTo>
                    <a:pt x="803" y="354"/>
                  </a:lnTo>
                  <a:lnTo>
                    <a:pt x="805" y="352"/>
                  </a:lnTo>
                  <a:lnTo>
                    <a:pt x="805" y="355"/>
                  </a:lnTo>
                  <a:lnTo>
                    <a:pt x="808" y="355"/>
                  </a:lnTo>
                  <a:lnTo>
                    <a:pt x="811" y="356"/>
                  </a:lnTo>
                  <a:lnTo>
                    <a:pt x="812" y="357"/>
                  </a:lnTo>
                  <a:lnTo>
                    <a:pt x="816" y="357"/>
                  </a:lnTo>
                  <a:lnTo>
                    <a:pt x="818" y="357"/>
                  </a:lnTo>
                  <a:lnTo>
                    <a:pt x="820" y="358"/>
                  </a:lnTo>
                  <a:lnTo>
                    <a:pt x="823" y="357"/>
                  </a:lnTo>
                  <a:lnTo>
                    <a:pt x="826" y="356"/>
                  </a:lnTo>
                  <a:lnTo>
                    <a:pt x="826" y="358"/>
                  </a:lnTo>
                  <a:lnTo>
                    <a:pt x="823" y="361"/>
                  </a:lnTo>
                  <a:lnTo>
                    <a:pt x="822" y="364"/>
                  </a:lnTo>
                  <a:lnTo>
                    <a:pt x="821" y="368"/>
                  </a:lnTo>
                  <a:lnTo>
                    <a:pt x="824" y="368"/>
                  </a:lnTo>
                  <a:lnTo>
                    <a:pt x="828" y="368"/>
                  </a:lnTo>
                  <a:lnTo>
                    <a:pt x="828" y="367"/>
                  </a:lnTo>
                  <a:lnTo>
                    <a:pt x="833" y="368"/>
                  </a:lnTo>
                  <a:lnTo>
                    <a:pt x="833" y="370"/>
                  </a:lnTo>
                  <a:lnTo>
                    <a:pt x="834" y="369"/>
                  </a:lnTo>
                  <a:lnTo>
                    <a:pt x="836" y="369"/>
                  </a:lnTo>
                  <a:lnTo>
                    <a:pt x="838" y="369"/>
                  </a:lnTo>
                  <a:lnTo>
                    <a:pt x="839" y="369"/>
                  </a:lnTo>
                  <a:lnTo>
                    <a:pt x="840" y="368"/>
                  </a:lnTo>
                  <a:lnTo>
                    <a:pt x="842" y="368"/>
                  </a:lnTo>
                  <a:lnTo>
                    <a:pt x="844" y="368"/>
                  </a:lnTo>
                  <a:lnTo>
                    <a:pt x="845" y="369"/>
                  </a:lnTo>
                  <a:lnTo>
                    <a:pt x="845" y="372"/>
                  </a:lnTo>
                  <a:lnTo>
                    <a:pt x="844" y="373"/>
                  </a:lnTo>
                  <a:lnTo>
                    <a:pt x="842" y="374"/>
                  </a:lnTo>
                  <a:lnTo>
                    <a:pt x="841" y="374"/>
                  </a:lnTo>
                  <a:lnTo>
                    <a:pt x="840" y="375"/>
                  </a:lnTo>
                  <a:lnTo>
                    <a:pt x="840" y="376"/>
                  </a:lnTo>
                  <a:lnTo>
                    <a:pt x="839" y="378"/>
                  </a:lnTo>
                  <a:lnTo>
                    <a:pt x="836" y="379"/>
                  </a:lnTo>
                  <a:lnTo>
                    <a:pt x="836" y="380"/>
                  </a:lnTo>
                  <a:lnTo>
                    <a:pt x="835" y="380"/>
                  </a:lnTo>
                  <a:lnTo>
                    <a:pt x="834" y="380"/>
                  </a:lnTo>
                  <a:lnTo>
                    <a:pt x="833" y="381"/>
                  </a:lnTo>
                  <a:lnTo>
                    <a:pt x="832" y="381"/>
                  </a:lnTo>
                  <a:lnTo>
                    <a:pt x="829" y="384"/>
                  </a:lnTo>
                  <a:lnTo>
                    <a:pt x="827" y="386"/>
                  </a:lnTo>
                  <a:lnTo>
                    <a:pt x="823" y="389"/>
                  </a:lnTo>
                  <a:lnTo>
                    <a:pt x="822" y="389"/>
                  </a:lnTo>
                  <a:lnTo>
                    <a:pt x="821" y="389"/>
                  </a:lnTo>
                  <a:lnTo>
                    <a:pt x="818" y="387"/>
                  </a:lnTo>
                  <a:lnTo>
                    <a:pt x="816" y="389"/>
                  </a:lnTo>
                  <a:lnTo>
                    <a:pt x="815" y="389"/>
                  </a:lnTo>
                  <a:lnTo>
                    <a:pt x="814" y="389"/>
                  </a:lnTo>
                  <a:lnTo>
                    <a:pt x="810" y="389"/>
                  </a:lnTo>
                  <a:lnTo>
                    <a:pt x="808" y="389"/>
                  </a:lnTo>
                  <a:lnTo>
                    <a:pt x="805" y="389"/>
                  </a:lnTo>
                  <a:lnTo>
                    <a:pt x="805" y="387"/>
                  </a:lnTo>
                  <a:lnTo>
                    <a:pt x="804" y="385"/>
                  </a:lnTo>
                  <a:lnTo>
                    <a:pt x="803" y="385"/>
                  </a:lnTo>
                  <a:lnTo>
                    <a:pt x="802" y="384"/>
                  </a:lnTo>
                  <a:lnTo>
                    <a:pt x="800" y="384"/>
                  </a:lnTo>
                  <a:lnTo>
                    <a:pt x="799" y="382"/>
                  </a:lnTo>
                  <a:lnTo>
                    <a:pt x="798" y="381"/>
                  </a:lnTo>
                  <a:lnTo>
                    <a:pt x="797" y="378"/>
                  </a:lnTo>
                  <a:lnTo>
                    <a:pt x="797" y="376"/>
                  </a:lnTo>
                  <a:lnTo>
                    <a:pt x="794" y="376"/>
                  </a:lnTo>
                  <a:lnTo>
                    <a:pt x="793" y="376"/>
                  </a:lnTo>
                  <a:lnTo>
                    <a:pt x="792" y="378"/>
                  </a:lnTo>
                  <a:lnTo>
                    <a:pt x="792" y="379"/>
                  </a:lnTo>
                  <a:lnTo>
                    <a:pt x="794" y="380"/>
                  </a:lnTo>
                  <a:lnTo>
                    <a:pt x="795" y="381"/>
                  </a:lnTo>
                  <a:lnTo>
                    <a:pt x="798" y="384"/>
                  </a:lnTo>
                  <a:lnTo>
                    <a:pt x="798" y="386"/>
                  </a:lnTo>
                  <a:lnTo>
                    <a:pt x="797" y="386"/>
                  </a:lnTo>
                  <a:lnTo>
                    <a:pt x="797" y="387"/>
                  </a:lnTo>
                  <a:lnTo>
                    <a:pt x="794" y="390"/>
                  </a:lnTo>
                  <a:lnTo>
                    <a:pt x="792" y="392"/>
                  </a:lnTo>
                  <a:lnTo>
                    <a:pt x="792" y="391"/>
                  </a:lnTo>
                  <a:lnTo>
                    <a:pt x="791" y="391"/>
                  </a:lnTo>
                  <a:lnTo>
                    <a:pt x="788" y="391"/>
                  </a:lnTo>
                  <a:lnTo>
                    <a:pt x="788" y="390"/>
                  </a:lnTo>
                  <a:lnTo>
                    <a:pt x="787" y="390"/>
                  </a:lnTo>
                  <a:lnTo>
                    <a:pt x="787" y="387"/>
                  </a:lnTo>
                  <a:lnTo>
                    <a:pt x="785" y="387"/>
                  </a:lnTo>
                  <a:lnTo>
                    <a:pt x="786" y="386"/>
                  </a:lnTo>
                  <a:lnTo>
                    <a:pt x="785" y="384"/>
                  </a:lnTo>
                  <a:lnTo>
                    <a:pt x="783" y="384"/>
                  </a:lnTo>
                  <a:lnTo>
                    <a:pt x="782" y="384"/>
                  </a:lnTo>
                  <a:lnTo>
                    <a:pt x="782" y="382"/>
                  </a:lnTo>
                  <a:lnTo>
                    <a:pt x="781" y="382"/>
                  </a:lnTo>
                  <a:lnTo>
                    <a:pt x="781" y="381"/>
                  </a:lnTo>
                  <a:lnTo>
                    <a:pt x="779" y="381"/>
                  </a:lnTo>
                  <a:lnTo>
                    <a:pt x="777" y="382"/>
                  </a:lnTo>
                  <a:lnTo>
                    <a:pt x="776" y="381"/>
                  </a:lnTo>
                  <a:lnTo>
                    <a:pt x="774" y="380"/>
                  </a:lnTo>
                  <a:lnTo>
                    <a:pt x="774" y="379"/>
                  </a:lnTo>
                  <a:lnTo>
                    <a:pt x="773" y="379"/>
                  </a:lnTo>
                  <a:lnTo>
                    <a:pt x="770" y="378"/>
                  </a:lnTo>
                  <a:lnTo>
                    <a:pt x="767" y="376"/>
                  </a:lnTo>
                  <a:lnTo>
                    <a:pt x="765" y="376"/>
                  </a:lnTo>
                  <a:lnTo>
                    <a:pt x="765" y="378"/>
                  </a:lnTo>
                  <a:lnTo>
                    <a:pt x="763" y="380"/>
                  </a:lnTo>
                  <a:lnTo>
                    <a:pt x="762" y="379"/>
                  </a:lnTo>
                  <a:lnTo>
                    <a:pt x="761" y="379"/>
                  </a:lnTo>
                  <a:lnTo>
                    <a:pt x="759" y="380"/>
                  </a:lnTo>
                  <a:lnTo>
                    <a:pt x="758" y="381"/>
                  </a:lnTo>
                  <a:lnTo>
                    <a:pt x="757" y="382"/>
                  </a:lnTo>
                  <a:lnTo>
                    <a:pt x="756" y="382"/>
                  </a:lnTo>
                  <a:lnTo>
                    <a:pt x="755" y="382"/>
                  </a:lnTo>
                  <a:lnTo>
                    <a:pt x="753" y="381"/>
                  </a:lnTo>
                  <a:lnTo>
                    <a:pt x="752" y="378"/>
                  </a:lnTo>
                  <a:lnTo>
                    <a:pt x="750" y="380"/>
                  </a:lnTo>
                  <a:lnTo>
                    <a:pt x="749" y="381"/>
                  </a:lnTo>
                  <a:lnTo>
                    <a:pt x="746" y="382"/>
                  </a:lnTo>
                  <a:lnTo>
                    <a:pt x="744" y="384"/>
                  </a:lnTo>
                  <a:lnTo>
                    <a:pt x="741" y="385"/>
                  </a:lnTo>
                  <a:lnTo>
                    <a:pt x="740" y="386"/>
                  </a:lnTo>
                  <a:lnTo>
                    <a:pt x="739" y="386"/>
                  </a:lnTo>
                  <a:lnTo>
                    <a:pt x="736" y="386"/>
                  </a:lnTo>
                  <a:lnTo>
                    <a:pt x="736" y="385"/>
                  </a:lnTo>
                  <a:lnTo>
                    <a:pt x="735" y="384"/>
                  </a:lnTo>
                  <a:lnTo>
                    <a:pt x="735" y="381"/>
                  </a:lnTo>
                  <a:lnTo>
                    <a:pt x="735" y="379"/>
                  </a:lnTo>
                  <a:lnTo>
                    <a:pt x="734" y="378"/>
                  </a:lnTo>
                  <a:lnTo>
                    <a:pt x="732" y="378"/>
                  </a:lnTo>
                  <a:lnTo>
                    <a:pt x="729" y="379"/>
                  </a:lnTo>
                  <a:lnTo>
                    <a:pt x="728" y="379"/>
                  </a:lnTo>
                  <a:lnTo>
                    <a:pt x="726" y="379"/>
                  </a:lnTo>
                  <a:lnTo>
                    <a:pt x="724" y="380"/>
                  </a:lnTo>
                  <a:lnTo>
                    <a:pt x="724" y="381"/>
                  </a:lnTo>
                  <a:lnTo>
                    <a:pt x="724" y="382"/>
                  </a:lnTo>
                  <a:lnTo>
                    <a:pt x="724" y="384"/>
                  </a:lnTo>
                  <a:lnTo>
                    <a:pt x="724" y="385"/>
                  </a:lnTo>
                  <a:lnTo>
                    <a:pt x="723" y="386"/>
                  </a:lnTo>
                  <a:lnTo>
                    <a:pt x="724" y="386"/>
                  </a:lnTo>
                  <a:lnTo>
                    <a:pt x="726" y="386"/>
                  </a:lnTo>
                  <a:lnTo>
                    <a:pt x="726" y="385"/>
                  </a:lnTo>
                  <a:lnTo>
                    <a:pt x="728" y="384"/>
                  </a:lnTo>
                  <a:lnTo>
                    <a:pt x="728" y="385"/>
                  </a:lnTo>
                  <a:lnTo>
                    <a:pt x="728" y="387"/>
                  </a:lnTo>
                  <a:lnTo>
                    <a:pt x="728" y="390"/>
                  </a:lnTo>
                  <a:lnTo>
                    <a:pt x="729" y="386"/>
                  </a:lnTo>
                  <a:lnTo>
                    <a:pt x="729" y="390"/>
                  </a:lnTo>
                  <a:lnTo>
                    <a:pt x="729" y="393"/>
                  </a:lnTo>
                  <a:lnTo>
                    <a:pt x="730" y="395"/>
                  </a:lnTo>
                  <a:lnTo>
                    <a:pt x="730" y="396"/>
                  </a:lnTo>
                  <a:lnTo>
                    <a:pt x="732" y="396"/>
                  </a:lnTo>
                  <a:lnTo>
                    <a:pt x="733" y="395"/>
                  </a:lnTo>
                  <a:lnTo>
                    <a:pt x="734" y="397"/>
                  </a:lnTo>
                  <a:lnTo>
                    <a:pt x="730" y="397"/>
                  </a:lnTo>
                  <a:lnTo>
                    <a:pt x="730" y="401"/>
                  </a:lnTo>
                  <a:lnTo>
                    <a:pt x="732" y="399"/>
                  </a:lnTo>
                  <a:lnTo>
                    <a:pt x="733" y="401"/>
                  </a:lnTo>
                  <a:lnTo>
                    <a:pt x="734" y="401"/>
                  </a:lnTo>
                  <a:lnTo>
                    <a:pt x="734" y="399"/>
                  </a:lnTo>
                  <a:lnTo>
                    <a:pt x="738" y="399"/>
                  </a:lnTo>
                  <a:lnTo>
                    <a:pt x="738" y="401"/>
                  </a:lnTo>
                  <a:lnTo>
                    <a:pt x="740" y="401"/>
                  </a:lnTo>
                  <a:lnTo>
                    <a:pt x="741" y="401"/>
                  </a:lnTo>
                  <a:lnTo>
                    <a:pt x="741" y="402"/>
                  </a:lnTo>
                  <a:lnTo>
                    <a:pt x="743" y="402"/>
                  </a:lnTo>
                  <a:lnTo>
                    <a:pt x="744" y="403"/>
                  </a:lnTo>
                  <a:lnTo>
                    <a:pt x="745" y="404"/>
                  </a:lnTo>
                  <a:lnTo>
                    <a:pt x="746" y="407"/>
                  </a:lnTo>
                  <a:lnTo>
                    <a:pt x="746" y="408"/>
                  </a:lnTo>
                  <a:lnTo>
                    <a:pt x="747" y="409"/>
                  </a:lnTo>
                  <a:lnTo>
                    <a:pt x="747" y="410"/>
                  </a:lnTo>
                  <a:lnTo>
                    <a:pt x="749" y="410"/>
                  </a:lnTo>
                  <a:lnTo>
                    <a:pt x="750" y="413"/>
                  </a:lnTo>
                  <a:lnTo>
                    <a:pt x="753" y="414"/>
                  </a:lnTo>
                  <a:lnTo>
                    <a:pt x="756" y="417"/>
                  </a:lnTo>
                  <a:lnTo>
                    <a:pt x="758" y="419"/>
                  </a:lnTo>
                  <a:lnTo>
                    <a:pt x="759" y="420"/>
                  </a:lnTo>
                  <a:lnTo>
                    <a:pt x="761" y="421"/>
                  </a:lnTo>
                  <a:lnTo>
                    <a:pt x="762" y="422"/>
                  </a:lnTo>
                  <a:lnTo>
                    <a:pt x="763" y="423"/>
                  </a:lnTo>
                  <a:lnTo>
                    <a:pt x="764" y="422"/>
                  </a:lnTo>
                  <a:lnTo>
                    <a:pt x="768" y="422"/>
                  </a:lnTo>
                  <a:lnTo>
                    <a:pt x="769" y="422"/>
                  </a:lnTo>
                  <a:lnTo>
                    <a:pt x="769" y="423"/>
                  </a:lnTo>
                  <a:lnTo>
                    <a:pt x="770" y="423"/>
                  </a:lnTo>
                  <a:lnTo>
                    <a:pt x="771" y="425"/>
                  </a:lnTo>
                  <a:lnTo>
                    <a:pt x="773" y="425"/>
                  </a:lnTo>
                  <a:lnTo>
                    <a:pt x="773" y="426"/>
                  </a:lnTo>
                  <a:lnTo>
                    <a:pt x="774" y="427"/>
                  </a:lnTo>
                  <a:lnTo>
                    <a:pt x="777" y="428"/>
                  </a:lnTo>
                  <a:lnTo>
                    <a:pt x="779" y="428"/>
                  </a:lnTo>
                  <a:lnTo>
                    <a:pt x="781" y="428"/>
                  </a:lnTo>
                  <a:lnTo>
                    <a:pt x="781" y="429"/>
                  </a:lnTo>
                  <a:lnTo>
                    <a:pt x="782" y="431"/>
                  </a:lnTo>
                  <a:lnTo>
                    <a:pt x="782" y="432"/>
                  </a:lnTo>
                  <a:lnTo>
                    <a:pt x="785" y="433"/>
                  </a:lnTo>
                  <a:lnTo>
                    <a:pt x="787" y="433"/>
                  </a:lnTo>
                  <a:lnTo>
                    <a:pt x="787" y="435"/>
                  </a:lnTo>
                  <a:lnTo>
                    <a:pt x="785" y="435"/>
                  </a:lnTo>
                  <a:lnTo>
                    <a:pt x="785" y="437"/>
                  </a:lnTo>
                  <a:lnTo>
                    <a:pt x="785" y="438"/>
                  </a:lnTo>
                  <a:lnTo>
                    <a:pt x="787" y="439"/>
                  </a:lnTo>
                  <a:lnTo>
                    <a:pt x="787" y="441"/>
                  </a:lnTo>
                  <a:lnTo>
                    <a:pt x="788" y="443"/>
                  </a:lnTo>
                  <a:lnTo>
                    <a:pt x="788" y="444"/>
                  </a:lnTo>
                  <a:lnTo>
                    <a:pt x="791" y="444"/>
                  </a:lnTo>
                  <a:lnTo>
                    <a:pt x="792" y="445"/>
                  </a:lnTo>
                  <a:lnTo>
                    <a:pt x="793" y="446"/>
                  </a:lnTo>
                  <a:lnTo>
                    <a:pt x="794" y="446"/>
                  </a:lnTo>
                  <a:lnTo>
                    <a:pt x="798" y="445"/>
                  </a:lnTo>
                  <a:lnTo>
                    <a:pt x="803" y="444"/>
                  </a:lnTo>
                  <a:lnTo>
                    <a:pt x="803" y="449"/>
                  </a:lnTo>
                  <a:lnTo>
                    <a:pt x="804" y="449"/>
                  </a:lnTo>
                  <a:lnTo>
                    <a:pt x="809" y="449"/>
                  </a:lnTo>
                  <a:lnTo>
                    <a:pt x="812" y="449"/>
                  </a:lnTo>
                  <a:lnTo>
                    <a:pt x="814" y="447"/>
                  </a:lnTo>
                  <a:lnTo>
                    <a:pt x="815" y="447"/>
                  </a:lnTo>
                  <a:lnTo>
                    <a:pt x="815" y="450"/>
                  </a:lnTo>
                  <a:lnTo>
                    <a:pt x="817" y="451"/>
                  </a:lnTo>
                  <a:lnTo>
                    <a:pt x="818" y="450"/>
                  </a:lnTo>
                  <a:lnTo>
                    <a:pt x="820" y="450"/>
                  </a:lnTo>
                  <a:lnTo>
                    <a:pt x="821" y="451"/>
                  </a:lnTo>
                  <a:lnTo>
                    <a:pt x="821" y="452"/>
                  </a:lnTo>
                  <a:lnTo>
                    <a:pt x="818" y="456"/>
                  </a:lnTo>
                  <a:lnTo>
                    <a:pt x="816" y="457"/>
                  </a:lnTo>
                  <a:lnTo>
                    <a:pt x="815" y="458"/>
                  </a:lnTo>
                  <a:lnTo>
                    <a:pt x="814" y="459"/>
                  </a:lnTo>
                  <a:lnTo>
                    <a:pt x="815" y="459"/>
                  </a:lnTo>
                  <a:lnTo>
                    <a:pt x="816" y="459"/>
                  </a:lnTo>
                  <a:lnTo>
                    <a:pt x="817" y="461"/>
                  </a:lnTo>
                  <a:lnTo>
                    <a:pt x="818" y="461"/>
                  </a:lnTo>
                  <a:lnTo>
                    <a:pt x="821" y="462"/>
                  </a:lnTo>
                  <a:lnTo>
                    <a:pt x="822" y="463"/>
                  </a:lnTo>
                  <a:lnTo>
                    <a:pt x="824" y="463"/>
                  </a:lnTo>
                  <a:lnTo>
                    <a:pt x="826" y="463"/>
                  </a:lnTo>
                  <a:lnTo>
                    <a:pt x="827" y="463"/>
                  </a:lnTo>
                  <a:lnTo>
                    <a:pt x="828" y="464"/>
                  </a:lnTo>
                  <a:lnTo>
                    <a:pt x="828" y="465"/>
                  </a:lnTo>
                  <a:lnTo>
                    <a:pt x="827" y="465"/>
                  </a:lnTo>
                  <a:lnTo>
                    <a:pt x="826" y="467"/>
                  </a:lnTo>
                  <a:lnTo>
                    <a:pt x="826" y="468"/>
                  </a:lnTo>
                  <a:lnTo>
                    <a:pt x="827" y="469"/>
                  </a:lnTo>
                  <a:lnTo>
                    <a:pt x="829" y="469"/>
                  </a:lnTo>
                  <a:lnTo>
                    <a:pt x="833" y="471"/>
                  </a:lnTo>
                  <a:lnTo>
                    <a:pt x="834" y="471"/>
                  </a:lnTo>
                  <a:lnTo>
                    <a:pt x="836" y="471"/>
                  </a:lnTo>
                  <a:lnTo>
                    <a:pt x="838" y="471"/>
                  </a:lnTo>
                  <a:lnTo>
                    <a:pt x="839" y="471"/>
                  </a:lnTo>
                  <a:lnTo>
                    <a:pt x="841" y="473"/>
                  </a:lnTo>
                  <a:lnTo>
                    <a:pt x="842" y="471"/>
                  </a:lnTo>
                  <a:lnTo>
                    <a:pt x="846" y="471"/>
                  </a:lnTo>
                  <a:lnTo>
                    <a:pt x="846" y="473"/>
                  </a:lnTo>
                  <a:lnTo>
                    <a:pt x="845" y="475"/>
                  </a:lnTo>
                  <a:lnTo>
                    <a:pt x="842" y="477"/>
                  </a:lnTo>
                  <a:lnTo>
                    <a:pt x="841" y="480"/>
                  </a:lnTo>
                  <a:lnTo>
                    <a:pt x="840" y="481"/>
                  </a:lnTo>
                  <a:lnTo>
                    <a:pt x="838" y="482"/>
                  </a:lnTo>
                  <a:lnTo>
                    <a:pt x="834" y="482"/>
                  </a:lnTo>
                  <a:lnTo>
                    <a:pt x="832" y="485"/>
                  </a:lnTo>
                  <a:lnTo>
                    <a:pt x="836" y="486"/>
                  </a:lnTo>
                  <a:lnTo>
                    <a:pt x="839" y="485"/>
                  </a:lnTo>
                  <a:lnTo>
                    <a:pt x="840" y="485"/>
                  </a:lnTo>
                  <a:lnTo>
                    <a:pt x="841" y="486"/>
                  </a:lnTo>
                  <a:lnTo>
                    <a:pt x="841" y="488"/>
                  </a:lnTo>
                  <a:lnTo>
                    <a:pt x="842" y="489"/>
                  </a:lnTo>
                  <a:lnTo>
                    <a:pt x="844" y="491"/>
                  </a:lnTo>
                  <a:lnTo>
                    <a:pt x="845" y="493"/>
                  </a:lnTo>
                  <a:lnTo>
                    <a:pt x="844" y="494"/>
                  </a:lnTo>
                  <a:lnTo>
                    <a:pt x="842" y="494"/>
                  </a:lnTo>
                  <a:lnTo>
                    <a:pt x="841" y="497"/>
                  </a:lnTo>
                  <a:lnTo>
                    <a:pt x="839" y="499"/>
                  </a:lnTo>
                  <a:lnTo>
                    <a:pt x="840" y="500"/>
                  </a:lnTo>
                  <a:lnTo>
                    <a:pt x="839" y="503"/>
                  </a:lnTo>
                  <a:lnTo>
                    <a:pt x="840" y="504"/>
                  </a:lnTo>
                  <a:lnTo>
                    <a:pt x="840" y="506"/>
                  </a:lnTo>
                  <a:lnTo>
                    <a:pt x="840" y="508"/>
                  </a:lnTo>
                  <a:lnTo>
                    <a:pt x="841" y="509"/>
                  </a:lnTo>
                  <a:lnTo>
                    <a:pt x="842" y="509"/>
                  </a:lnTo>
                  <a:lnTo>
                    <a:pt x="842" y="510"/>
                  </a:lnTo>
                  <a:lnTo>
                    <a:pt x="844" y="511"/>
                  </a:lnTo>
                  <a:lnTo>
                    <a:pt x="844" y="514"/>
                  </a:lnTo>
                  <a:lnTo>
                    <a:pt x="841" y="514"/>
                  </a:lnTo>
                  <a:lnTo>
                    <a:pt x="840" y="515"/>
                  </a:lnTo>
                  <a:lnTo>
                    <a:pt x="838" y="515"/>
                  </a:lnTo>
                  <a:lnTo>
                    <a:pt x="836" y="515"/>
                  </a:lnTo>
                  <a:lnTo>
                    <a:pt x="836" y="516"/>
                  </a:lnTo>
                  <a:lnTo>
                    <a:pt x="834" y="517"/>
                  </a:lnTo>
                  <a:lnTo>
                    <a:pt x="834" y="518"/>
                  </a:lnTo>
                  <a:lnTo>
                    <a:pt x="835" y="520"/>
                  </a:lnTo>
                  <a:lnTo>
                    <a:pt x="838" y="522"/>
                  </a:lnTo>
                  <a:lnTo>
                    <a:pt x="840" y="523"/>
                  </a:lnTo>
                  <a:lnTo>
                    <a:pt x="841" y="526"/>
                  </a:lnTo>
                  <a:lnTo>
                    <a:pt x="841" y="524"/>
                  </a:lnTo>
                  <a:lnTo>
                    <a:pt x="842" y="523"/>
                  </a:lnTo>
                  <a:lnTo>
                    <a:pt x="844" y="524"/>
                  </a:lnTo>
                  <a:lnTo>
                    <a:pt x="845" y="526"/>
                  </a:lnTo>
                  <a:lnTo>
                    <a:pt x="847" y="526"/>
                  </a:lnTo>
                  <a:lnTo>
                    <a:pt x="848" y="526"/>
                  </a:lnTo>
                  <a:lnTo>
                    <a:pt x="848" y="527"/>
                  </a:lnTo>
                  <a:lnTo>
                    <a:pt x="847" y="527"/>
                  </a:lnTo>
                  <a:lnTo>
                    <a:pt x="845" y="529"/>
                  </a:lnTo>
                  <a:lnTo>
                    <a:pt x="842" y="530"/>
                  </a:lnTo>
                  <a:lnTo>
                    <a:pt x="839" y="530"/>
                  </a:lnTo>
                  <a:lnTo>
                    <a:pt x="836" y="532"/>
                  </a:lnTo>
                  <a:lnTo>
                    <a:pt x="835" y="532"/>
                  </a:lnTo>
                  <a:lnTo>
                    <a:pt x="835" y="530"/>
                  </a:lnTo>
                  <a:lnTo>
                    <a:pt x="835" y="529"/>
                  </a:lnTo>
                  <a:lnTo>
                    <a:pt x="832" y="530"/>
                  </a:lnTo>
                  <a:lnTo>
                    <a:pt x="832" y="529"/>
                  </a:lnTo>
                  <a:lnTo>
                    <a:pt x="830" y="529"/>
                  </a:lnTo>
                  <a:lnTo>
                    <a:pt x="830" y="527"/>
                  </a:lnTo>
                  <a:lnTo>
                    <a:pt x="829" y="526"/>
                  </a:lnTo>
                  <a:lnTo>
                    <a:pt x="827" y="526"/>
                  </a:lnTo>
                  <a:lnTo>
                    <a:pt x="824" y="526"/>
                  </a:lnTo>
                  <a:lnTo>
                    <a:pt x="822" y="526"/>
                  </a:lnTo>
                  <a:lnTo>
                    <a:pt x="820" y="522"/>
                  </a:lnTo>
                  <a:lnTo>
                    <a:pt x="818" y="520"/>
                  </a:lnTo>
                  <a:lnTo>
                    <a:pt x="816" y="516"/>
                  </a:lnTo>
                  <a:lnTo>
                    <a:pt x="815" y="512"/>
                  </a:lnTo>
                  <a:lnTo>
                    <a:pt x="812" y="510"/>
                  </a:lnTo>
                  <a:lnTo>
                    <a:pt x="812" y="506"/>
                  </a:lnTo>
                  <a:lnTo>
                    <a:pt x="811" y="506"/>
                  </a:lnTo>
                  <a:lnTo>
                    <a:pt x="810" y="505"/>
                  </a:lnTo>
                  <a:lnTo>
                    <a:pt x="810" y="503"/>
                  </a:lnTo>
                  <a:lnTo>
                    <a:pt x="808" y="500"/>
                  </a:lnTo>
                  <a:lnTo>
                    <a:pt x="805" y="500"/>
                  </a:lnTo>
                  <a:lnTo>
                    <a:pt x="804" y="503"/>
                  </a:lnTo>
                  <a:lnTo>
                    <a:pt x="800" y="503"/>
                  </a:lnTo>
                  <a:lnTo>
                    <a:pt x="798" y="502"/>
                  </a:lnTo>
                  <a:lnTo>
                    <a:pt x="797" y="500"/>
                  </a:lnTo>
                  <a:lnTo>
                    <a:pt x="795" y="502"/>
                  </a:lnTo>
                  <a:lnTo>
                    <a:pt x="793" y="503"/>
                  </a:lnTo>
                  <a:lnTo>
                    <a:pt x="792" y="505"/>
                  </a:lnTo>
                  <a:lnTo>
                    <a:pt x="791" y="505"/>
                  </a:lnTo>
                  <a:lnTo>
                    <a:pt x="789" y="504"/>
                  </a:lnTo>
                  <a:lnTo>
                    <a:pt x="787" y="504"/>
                  </a:lnTo>
                  <a:lnTo>
                    <a:pt x="787" y="503"/>
                  </a:lnTo>
                  <a:lnTo>
                    <a:pt x="787" y="502"/>
                  </a:lnTo>
                  <a:lnTo>
                    <a:pt x="786" y="502"/>
                  </a:lnTo>
                  <a:lnTo>
                    <a:pt x="786" y="500"/>
                  </a:lnTo>
                  <a:lnTo>
                    <a:pt x="786" y="498"/>
                  </a:lnTo>
                  <a:lnTo>
                    <a:pt x="788" y="497"/>
                  </a:lnTo>
                  <a:lnTo>
                    <a:pt x="789" y="494"/>
                  </a:lnTo>
                  <a:lnTo>
                    <a:pt x="791" y="494"/>
                  </a:lnTo>
                  <a:lnTo>
                    <a:pt x="793" y="494"/>
                  </a:lnTo>
                  <a:lnTo>
                    <a:pt x="793" y="492"/>
                  </a:lnTo>
                  <a:lnTo>
                    <a:pt x="792" y="491"/>
                  </a:lnTo>
                  <a:lnTo>
                    <a:pt x="793" y="488"/>
                  </a:lnTo>
                  <a:lnTo>
                    <a:pt x="793" y="489"/>
                  </a:lnTo>
                  <a:lnTo>
                    <a:pt x="794" y="489"/>
                  </a:lnTo>
                  <a:lnTo>
                    <a:pt x="795" y="489"/>
                  </a:lnTo>
                  <a:lnTo>
                    <a:pt x="797" y="489"/>
                  </a:lnTo>
                  <a:lnTo>
                    <a:pt x="799" y="489"/>
                  </a:lnTo>
                  <a:lnTo>
                    <a:pt x="799" y="488"/>
                  </a:lnTo>
                  <a:lnTo>
                    <a:pt x="799" y="486"/>
                  </a:lnTo>
                  <a:lnTo>
                    <a:pt x="795" y="486"/>
                  </a:lnTo>
                  <a:lnTo>
                    <a:pt x="794" y="486"/>
                  </a:lnTo>
                  <a:lnTo>
                    <a:pt x="794" y="485"/>
                  </a:lnTo>
                  <a:lnTo>
                    <a:pt x="792" y="485"/>
                  </a:lnTo>
                  <a:lnTo>
                    <a:pt x="791" y="485"/>
                  </a:lnTo>
                  <a:lnTo>
                    <a:pt x="788" y="485"/>
                  </a:lnTo>
                  <a:lnTo>
                    <a:pt x="786" y="483"/>
                  </a:lnTo>
                  <a:lnTo>
                    <a:pt x="785" y="483"/>
                  </a:lnTo>
                  <a:lnTo>
                    <a:pt x="782" y="482"/>
                  </a:lnTo>
                  <a:lnTo>
                    <a:pt x="779" y="481"/>
                  </a:lnTo>
                  <a:lnTo>
                    <a:pt x="781" y="479"/>
                  </a:lnTo>
                  <a:lnTo>
                    <a:pt x="777" y="479"/>
                  </a:lnTo>
                  <a:lnTo>
                    <a:pt x="776" y="476"/>
                  </a:lnTo>
                  <a:lnTo>
                    <a:pt x="777" y="474"/>
                  </a:lnTo>
                  <a:lnTo>
                    <a:pt x="776" y="473"/>
                  </a:lnTo>
                  <a:lnTo>
                    <a:pt x="775" y="474"/>
                  </a:lnTo>
                  <a:lnTo>
                    <a:pt x="771" y="475"/>
                  </a:lnTo>
                  <a:lnTo>
                    <a:pt x="770" y="475"/>
                  </a:lnTo>
                  <a:lnTo>
                    <a:pt x="768" y="476"/>
                  </a:lnTo>
                  <a:lnTo>
                    <a:pt x="767" y="475"/>
                  </a:lnTo>
                  <a:lnTo>
                    <a:pt x="764" y="474"/>
                  </a:lnTo>
                  <a:lnTo>
                    <a:pt x="764" y="473"/>
                  </a:lnTo>
                  <a:lnTo>
                    <a:pt x="764" y="470"/>
                  </a:lnTo>
                  <a:lnTo>
                    <a:pt x="761" y="471"/>
                  </a:lnTo>
                  <a:lnTo>
                    <a:pt x="759" y="470"/>
                  </a:lnTo>
                  <a:lnTo>
                    <a:pt x="761" y="469"/>
                  </a:lnTo>
                  <a:lnTo>
                    <a:pt x="758" y="468"/>
                  </a:lnTo>
                  <a:lnTo>
                    <a:pt x="756" y="467"/>
                  </a:lnTo>
                  <a:lnTo>
                    <a:pt x="753" y="467"/>
                  </a:lnTo>
                  <a:lnTo>
                    <a:pt x="752" y="467"/>
                  </a:lnTo>
                  <a:lnTo>
                    <a:pt x="751" y="465"/>
                  </a:lnTo>
                  <a:lnTo>
                    <a:pt x="750" y="465"/>
                  </a:lnTo>
                  <a:lnTo>
                    <a:pt x="749" y="464"/>
                  </a:lnTo>
                  <a:lnTo>
                    <a:pt x="747" y="465"/>
                  </a:lnTo>
                  <a:lnTo>
                    <a:pt x="746" y="463"/>
                  </a:lnTo>
                  <a:lnTo>
                    <a:pt x="746" y="462"/>
                  </a:lnTo>
                  <a:lnTo>
                    <a:pt x="745" y="462"/>
                  </a:lnTo>
                  <a:lnTo>
                    <a:pt x="745" y="459"/>
                  </a:lnTo>
                  <a:lnTo>
                    <a:pt x="743" y="459"/>
                  </a:lnTo>
                  <a:lnTo>
                    <a:pt x="744" y="457"/>
                  </a:lnTo>
                  <a:lnTo>
                    <a:pt x="744" y="455"/>
                  </a:lnTo>
                  <a:lnTo>
                    <a:pt x="745" y="455"/>
                  </a:lnTo>
                  <a:lnTo>
                    <a:pt x="743" y="455"/>
                  </a:lnTo>
                  <a:lnTo>
                    <a:pt x="743" y="453"/>
                  </a:lnTo>
                  <a:lnTo>
                    <a:pt x="741" y="452"/>
                  </a:lnTo>
                  <a:lnTo>
                    <a:pt x="741" y="451"/>
                  </a:lnTo>
                  <a:lnTo>
                    <a:pt x="741" y="450"/>
                  </a:lnTo>
                  <a:lnTo>
                    <a:pt x="740" y="450"/>
                  </a:lnTo>
                  <a:lnTo>
                    <a:pt x="739" y="449"/>
                  </a:lnTo>
                  <a:lnTo>
                    <a:pt x="736" y="446"/>
                  </a:lnTo>
                  <a:lnTo>
                    <a:pt x="736" y="449"/>
                  </a:lnTo>
                  <a:lnTo>
                    <a:pt x="736" y="450"/>
                  </a:lnTo>
                  <a:lnTo>
                    <a:pt x="736" y="451"/>
                  </a:lnTo>
                  <a:lnTo>
                    <a:pt x="736" y="453"/>
                  </a:lnTo>
                  <a:lnTo>
                    <a:pt x="735" y="453"/>
                  </a:lnTo>
                  <a:lnTo>
                    <a:pt x="732" y="453"/>
                  </a:lnTo>
                  <a:lnTo>
                    <a:pt x="730" y="455"/>
                  </a:lnTo>
                  <a:lnTo>
                    <a:pt x="730" y="457"/>
                  </a:lnTo>
                  <a:lnTo>
                    <a:pt x="732" y="458"/>
                  </a:lnTo>
                  <a:lnTo>
                    <a:pt x="733" y="458"/>
                  </a:lnTo>
                  <a:lnTo>
                    <a:pt x="734" y="457"/>
                  </a:lnTo>
                  <a:lnTo>
                    <a:pt x="735" y="458"/>
                  </a:lnTo>
                  <a:lnTo>
                    <a:pt x="736" y="457"/>
                  </a:lnTo>
                  <a:lnTo>
                    <a:pt x="739" y="457"/>
                  </a:lnTo>
                  <a:lnTo>
                    <a:pt x="739" y="462"/>
                  </a:lnTo>
                  <a:lnTo>
                    <a:pt x="740" y="462"/>
                  </a:lnTo>
                  <a:lnTo>
                    <a:pt x="740" y="464"/>
                  </a:lnTo>
                  <a:lnTo>
                    <a:pt x="741" y="467"/>
                  </a:lnTo>
                  <a:lnTo>
                    <a:pt x="741" y="468"/>
                  </a:lnTo>
                  <a:lnTo>
                    <a:pt x="744" y="469"/>
                  </a:lnTo>
                  <a:lnTo>
                    <a:pt x="743" y="471"/>
                  </a:lnTo>
                  <a:lnTo>
                    <a:pt x="739" y="470"/>
                  </a:lnTo>
                  <a:lnTo>
                    <a:pt x="738" y="470"/>
                  </a:lnTo>
                  <a:lnTo>
                    <a:pt x="738" y="469"/>
                  </a:lnTo>
                  <a:lnTo>
                    <a:pt x="736" y="469"/>
                  </a:lnTo>
                  <a:lnTo>
                    <a:pt x="735" y="468"/>
                  </a:lnTo>
                  <a:lnTo>
                    <a:pt x="734" y="468"/>
                  </a:lnTo>
                  <a:lnTo>
                    <a:pt x="733" y="467"/>
                  </a:lnTo>
                  <a:lnTo>
                    <a:pt x="730" y="465"/>
                  </a:lnTo>
                  <a:lnTo>
                    <a:pt x="730" y="463"/>
                  </a:lnTo>
                  <a:lnTo>
                    <a:pt x="729" y="464"/>
                  </a:lnTo>
                  <a:lnTo>
                    <a:pt x="728" y="464"/>
                  </a:lnTo>
                  <a:lnTo>
                    <a:pt x="726" y="465"/>
                  </a:lnTo>
                  <a:lnTo>
                    <a:pt x="724" y="464"/>
                  </a:lnTo>
                  <a:lnTo>
                    <a:pt x="723" y="462"/>
                  </a:lnTo>
                  <a:lnTo>
                    <a:pt x="721" y="462"/>
                  </a:lnTo>
                  <a:lnTo>
                    <a:pt x="718" y="462"/>
                  </a:lnTo>
                  <a:lnTo>
                    <a:pt x="717" y="461"/>
                  </a:lnTo>
                  <a:lnTo>
                    <a:pt x="716" y="462"/>
                  </a:lnTo>
                  <a:lnTo>
                    <a:pt x="715" y="461"/>
                  </a:lnTo>
                  <a:lnTo>
                    <a:pt x="712" y="459"/>
                  </a:lnTo>
                  <a:lnTo>
                    <a:pt x="710" y="459"/>
                  </a:lnTo>
                  <a:lnTo>
                    <a:pt x="708" y="459"/>
                  </a:lnTo>
                  <a:lnTo>
                    <a:pt x="703" y="459"/>
                  </a:lnTo>
                  <a:lnTo>
                    <a:pt x="702" y="458"/>
                  </a:lnTo>
                  <a:lnTo>
                    <a:pt x="699" y="458"/>
                  </a:lnTo>
                  <a:lnTo>
                    <a:pt x="700" y="456"/>
                  </a:lnTo>
                  <a:lnTo>
                    <a:pt x="700" y="455"/>
                  </a:lnTo>
                  <a:lnTo>
                    <a:pt x="699" y="455"/>
                  </a:lnTo>
                  <a:lnTo>
                    <a:pt x="697" y="455"/>
                  </a:lnTo>
                  <a:lnTo>
                    <a:pt x="696" y="455"/>
                  </a:lnTo>
                  <a:lnTo>
                    <a:pt x="694" y="453"/>
                  </a:lnTo>
                  <a:lnTo>
                    <a:pt x="691" y="451"/>
                  </a:lnTo>
                  <a:lnTo>
                    <a:pt x="688" y="449"/>
                  </a:lnTo>
                  <a:lnTo>
                    <a:pt x="688" y="447"/>
                  </a:lnTo>
                  <a:lnTo>
                    <a:pt x="688" y="446"/>
                  </a:lnTo>
                  <a:lnTo>
                    <a:pt x="690" y="444"/>
                  </a:lnTo>
                  <a:lnTo>
                    <a:pt x="693" y="440"/>
                  </a:lnTo>
                  <a:lnTo>
                    <a:pt x="693" y="438"/>
                  </a:lnTo>
                  <a:lnTo>
                    <a:pt x="692" y="437"/>
                  </a:lnTo>
                  <a:lnTo>
                    <a:pt x="692" y="438"/>
                  </a:lnTo>
                  <a:lnTo>
                    <a:pt x="691" y="439"/>
                  </a:lnTo>
                  <a:lnTo>
                    <a:pt x="691" y="440"/>
                  </a:lnTo>
                  <a:lnTo>
                    <a:pt x="690" y="443"/>
                  </a:lnTo>
                  <a:lnTo>
                    <a:pt x="687" y="445"/>
                  </a:lnTo>
                  <a:lnTo>
                    <a:pt x="686" y="444"/>
                  </a:lnTo>
                  <a:lnTo>
                    <a:pt x="684" y="443"/>
                  </a:lnTo>
                  <a:lnTo>
                    <a:pt x="682" y="443"/>
                  </a:lnTo>
                  <a:lnTo>
                    <a:pt x="681" y="441"/>
                  </a:lnTo>
                  <a:lnTo>
                    <a:pt x="680" y="441"/>
                  </a:lnTo>
                  <a:lnTo>
                    <a:pt x="678" y="443"/>
                  </a:lnTo>
                  <a:lnTo>
                    <a:pt x="676" y="445"/>
                  </a:lnTo>
                  <a:lnTo>
                    <a:pt x="676" y="446"/>
                  </a:lnTo>
                  <a:lnTo>
                    <a:pt x="675" y="447"/>
                  </a:lnTo>
                  <a:lnTo>
                    <a:pt x="671" y="447"/>
                  </a:lnTo>
                  <a:lnTo>
                    <a:pt x="670" y="447"/>
                  </a:lnTo>
                  <a:lnTo>
                    <a:pt x="669" y="446"/>
                  </a:lnTo>
                  <a:lnTo>
                    <a:pt x="667" y="447"/>
                  </a:lnTo>
                  <a:lnTo>
                    <a:pt x="665" y="449"/>
                  </a:lnTo>
                  <a:lnTo>
                    <a:pt x="665" y="452"/>
                  </a:lnTo>
                  <a:lnTo>
                    <a:pt x="667" y="455"/>
                  </a:lnTo>
                  <a:lnTo>
                    <a:pt x="667" y="453"/>
                  </a:lnTo>
                  <a:lnTo>
                    <a:pt x="669" y="452"/>
                  </a:lnTo>
                  <a:lnTo>
                    <a:pt x="670" y="452"/>
                  </a:lnTo>
                  <a:lnTo>
                    <a:pt x="670" y="453"/>
                  </a:lnTo>
                  <a:lnTo>
                    <a:pt x="671" y="455"/>
                  </a:lnTo>
                  <a:lnTo>
                    <a:pt x="673" y="456"/>
                  </a:lnTo>
                  <a:lnTo>
                    <a:pt x="674" y="452"/>
                  </a:lnTo>
                  <a:lnTo>
                    <a:pt x="675" y="452"/>
                  </a:lnTo>
                  <a:lnTo>
                    <a:pt x="676" y="451"/>
                  </a:lnTo>
                  <a:lnTo>
                    <a:pt x="679" y="452"/>
                  </a:lnTo>
                  <a:lnTo>
                    <a:pt x="679" y="451"/>
                  </a:lnTo>
                  <a:lnTo>
                    <a:pt x="680" y="452"/>
                  </a:lnTo>
                  <a:lnTo>
                    <a:pt x="680" y="453"/>
                  </a:lnTo>
                  <a:lnTo>
                    <a:pt x="681" y="453"/>
                  </a:lnTo>
                  <a:lnTo>
                    <a:pt x="680" y="453"/>
                  </a:lnTo>
                  <a:lnTo>
                    <a:pt x="679" y="455"/>
                  </a:lnTo>
                  <a:lnTo>
                    <a:pt x="679" y="456"/>
                  </a:lnTo>
                  <a:lnTo>
                    <a:pt x="679" y="458"/>
                  </a:lnTo>
                  <a:lnTo>
                    <a:pt x="680" y="462"/>
                  </a:lnTo>
                  <a:lnTo>
                    <a:pt x="680" y="463"/>
                  </a:lnTo>
                  <a:lnTo>
                    <a:pt x="678" y="462"/>
                  </a:lnTo>
                  <a:lnTo>
                    <a:pt x="676" y="462"/>
                  </a:lnTo>
                  <a:lnTo>
                    <a:pt x="675" y="462"/>
                  </a:lnTo>
                  <a:lnTo>
                    <a:pt x="674" y="461"/>
                  </a:lnTo>
                  <a:lnTo>
                    <a:pt x="673" y="459"/>
                  </a:lnTo>
                  <a:lnTo>
                    <a:pt x="673" y="458"/>
                  </a:lnTo>
                  <a:lnTo>
                    <a:pt x="671" y="458"/>
                  </a:lnTo>
                  <a:lnTo>
                    <a:pt x="670" y="462"/>
                  </a:lnTo>
                  <a:lnTo>
                    <a:pt x="671" y="463"/>
                  </a:lnTo>
                  <a:lnTo>
                    <a:pt x="674" y="463"/>
                  </a:lnTo>
                  <a:lnTo>
                    <a:pt x="678" y="463"/>
                  </a:lnTo>
                  <a:lnTo>
                    <a:pt x="678" y="467"/>
                  </a:lnTo>
                  <a:lnTo>
                    <a:pt x="680" y="468"/>
                  </a:lnTo>
                  <a:lnTo>
                    <a:pt x="682" y="468"/>
                  </a:lnTo>
                  <a:lnTo>
                    <a:pt x="682" y="465"/>
                  </a:lnTo>
                  <a:lnTo>
                    <a:pt x="684" y="467"/>
                  </a:lnTo>
                  <a:lnTo>
                    <a:pt x="685" y="467"/>
                  </a:lnTo>
                  <a:lnTo>
                    <a:pt x="688" y="464"/>
                  </a:lnTo>
                  <a:lnTo>
                    <a:pt x="688" y="463"/>
                  </a:lnTo>
                  <a:lnTo>
                    <a:pt x="690" y="463"/>
                  </a:lnTo>
                  <a:lnTo>
                    <a:pt x="693" y="464"/>
                  </a:lnTo>
                  <a:lnTo>
                    <a:pt x="694" y="464"/>
                  </a:lnTo>
                  <a:lnTo>
                    <a:pt x="694" y="465"/>
                  </a:lnTo>
                  <a:lnTo>
                    <a:pt x="693" y="467"/>
                  </a:lnTo>
                  <a:lnTo>
                    <a:pt x="693" y="468"/>
                  </a:lnTo>
                  <a:lnTo>
                    <a:pt x="693" y="470"/>
                  </a:lnTo>
                  <a:lnTo>
                    <a:pt x="694" y="471"/>
                  </a:lnTo>
                  <a:lnTo>
                    <a:pt x="697" y="473"/>
                  </a:lnTo>
                  <a:lnTo>
                    <a:pt x="698" y="474"/>
                  </a:lnTo>
                  <a:lnTo>
                    <a:pt x="698" y="475"/>
                  </a:lnTo>
                  <a:lnTo>
                    <a:pt x="697" y="476"/>
                  </a:lnTo>
                  <a:lnTo>
                    <a:pt x="698" y="476"/>
                  </a:lnTo>
                  <a:lnTo>
                    <a:pt x="697" y="477"/>
                  </a:lnTo>
                  <a:lnTo>
                    <a:pt x="697" y="479"/>
                  </a:lnTo>
                  <a:lnTo>
                    <a:pt x="697" y="480"/>
                  </a:lnTo>
                  <a:lnTo>
                    <a:pt x="699" y="481"/>
                  </a:lnTo>
                  <a:lnTo>
                    <a:pt x="700" y="480"/>
                  </a:lnTo>
                  <a:lnTo>
                    <a:pt x="702" y="481"/>
                  </a:lnTo>
                  <a:lnTo>
                    <a:pt x="703" y="482"/>
                  </a:lnTo>
                  <a:lnTo>
                    <a:pt x="704" y="482"/>
                  </a:lnTo>
                  <a:lnTo>
                    <a:pt x="704" y="483"/>
                  </a:lnTo>
                  <a:lnTo>
                    <a:pt x="703" y="485"/>
                  </a:lnTo>
                  <a:lnTo>
                    <a:pt x="705" y="485"/>
                  </a:lnTo>
                  <a:lnTo>
                    <a:pt x="709" y="485"/>
                  </a:lnTo>
                  <a:lnTo>
                    <a:pt x="712" y="485"/>
                  </a:lnTo>
                  <a:lnTo>
                    <a:pt x="712" y="486"/>
                  </a:lnTo>
                  <a:lnTo>
                    <a:pt x="714" y="487"/>
                  </a:lnTo>
                  <a:lnTo>
                    <a:pt x="714" y="488"/>
                  </a:lnTo>
                  <a:lnTo>
                    <a:pt x="716" y="488"/>
                  </a:lnTo>
                  <a:lnTo>
                    <a:pt x="718" y="491"/>
                  </a:lnTo>
                  <a:lnTo>
                    <a:pt x="720" y="492"/>
                  </a:lnTo>
                  <a:lnTo>
                    <a:pt x="721" y="492"/>
                  </a:lnTo>
                  <a:lnTo>
                    <a:pt x="721" y="491"/>
                  </a:lnTo>
                  <a:lnTo>
                    <a:pt x="724" y="488"/>
                  </a:lnTo>
                  <a:lnTo>
                    <a:pt x="727" y="487"/>
                  </a:lnTo>
                  <a:lnTo>
                    <a:pt x="728" y="487"/>
                  </a:lnTo>
                  <a:lnTo>
                    <a:pt x="730" y="488"/>
                  </a:lnTo>
                  <a:lnTo>
                    <a:pt x="732" y="488"/>
                  </a:lnTo>
                  <a:lnTo>
                    <a:pt x="733" y="488"/>
                  </a:lnTo>
                  <a:lnTo>
                    <a:pt x="735" y="488"/>
                  </a:lnTo>
                  <a:lnTo>
                    <a:pt x="738" y="488"/>
                  </a:lnTo>
                  <a:lnTo>
                    <a:pt x="739" y="488"/>
                  </a:lnTo>
                  <a:lnTo>
                    <a:pt x="738" y="487"/>
                  </a:lnTo>
                  <a:lnTo>
                    <a:pt x="736" y="487"/>
                  </a:lnTo>
                  <a:lnTo>
                    <a:pt x="736" y="486"/>
                  </a:lnTo>
                  <a:lnTo>
                    <a:pt x="736" y="485"/>
                  </a:lnTo>
                  <a:lnTo>
                    <a:pt x="739" y="485"/>
                  </a:lnTo>
                  <a:lnTo>
                    <a:pt x="739" y="486"/>
                  </a:lnTo>
                  <a:lnTo>
                    <a:pt x="740" y="486"/>
                  </a:lnTo>
                  <a:lnTo>
                    <a:pt x="744" y="486"/>
                  </a:lnTo>
                  <a:lnTo>
                    <a:pt x="743" y="487"/>
                  </a:lnTo>
                  <a:lnTo>
                    <a:pt x="746" y="488"/>
                  </a:lnTo>
                  <a:lnTo>
                    <a:pt x="749" y="489"/>
                  </a:lnTo>
                  <a:lnTo>
                    <a:pt x="750" y="489"/>
                  </a:lnTo>
                  <a:lnTo>
                    <a:pt x="752" y="491"/>
                  </a:lnTo>
                  <a:lnTo>
                    <a:pt x="752" y="492"/>
                  </a:lnTo>
                  <a:lnTo>
                    <a:pt x="755" y="492"/>
                  </a:lnTo>
                  <a:lnTo>
                    <a:pt x="755" y="493"/>
                  </a:lnTo>
                  <a:lnTo>
                    <a:pt x="756" y="493"/>
                  </a:lnTo>
                  <a:lnTo>
                    <a:pt x="758" y="494"/>
                  </a:lnTo>
                  <a:lnTo>
                    <a:pt x="758" y="497"/>
                  </a:lnTo>
                  <a:lnTo>
                    <a:pt x="756" y="497"/>
                  </a:lnTo>
                  <a:lnTo>
                    <a:pt x="757" y="498"/>
                  </a:lnTo>
                  <a:lnTo>
                    <a:pt x="756" y="500"/>
                  </a:lnTo>
                  <a:lnTo>
                    <a:pt x="756" y="502"/>
                  </a:lnTo>
                  <a:lnTo>
                    <a:pt x="757" y="502"/>
                  </a:lnTo>
                  <a:lnTo>
                    <a:pt x="757" y="505"/>
                  </a:lnTo>
                  <a:lnTo>
                    <a:pt x="753" y="506"/>
                  </a:lnTo>
                  <a:lnTo>
                    <a:pt x="752" y="506"/>
                  </a:lnTo>
                  <a:lnTo>
                    <a:pt x="751" y="506"/>
                  </a:lnTo>
                  <a:lnTo>
                    <a:pt x="751" y="508"/>
                  </a:lnTo>
                  <a:lnTo>
                    <a:pt x="751" y="510"/>
                  </a:lnTo>
                  <a:lnTo>
                    <a:pt x="752" y="511"/>
                  </a:lnTo>
                  <a:lnTo>
                    <a:pt x="753" y="510"/>
                  </a:lnTo>
                  <a:lnTo>
                    <a:pt x="755" y="508"/>
                  </a:lnTo>
                  <a:lnTo>
                    <a:pt x="757" y="506"/>
                  </a:lnTo>
                  <a:lnTo>
                    <a:pt x="758" y="505"/>
                  </a:lnTo>
                  <a:lnTo>
                    <a:pt x="761" y="504"/>
                  </a:lnTo>
                  <a:lnTo>
                    <a:pt x="763" y="504"/>
                  </a:lnTo>
                  <a:lnTo>
                    <a:pt x="764" y="503"/>
                  </a:lnTo>
                  <a:lnTo>
                    <a:pt x="765" y="504"/>
                  </a:lnTo>
                  <a:lnTo>
                    <a:pt x="765" y="505"/>
                  </a:lnTo>
                  <a:lnTo>
                    <a:pt x="767" y="505"/>
                  </a:lnTo>
                  <a:lnTo>
                    <a:pt x="767" y="506"/>
                  </a:lnTo>
                  <a:lnTo>
                    <a:pt x="769" y="506"/>
                  </a:lnTo>
                  <a:lnTo>
                    <a:pt x="769" y="508"/>
                  </a:lnTo>
                  <a:lnTo>
                    <a:pt x="770" y="510"/>
                  </a:lnTo>
                  <a:lnTo>
                    <a:pt x="770" y="512"/>
                  </a:lnTo>
                  <a:lnTo>
                    <a:pt x="771" y="514"/>
                  </a:lnTo>
                  <a:lnTo>
                    <a:pt x="773" y="514"/>
                  </a:lnTo>
                  <a:lnTo>
                    <a:pt x="774" y="515"/>
                  </a:lnTo>
                  <a:lnTo>
                    <a:pt x="775" y="516"/>
                  </a:lnTo>
                  <a:lnTo>
                    <a:pt x="777" y="518"/>
                  </a:lnTo>
                  <a:lnTo>
                    <a:pt x="779" y="520"/>
                  </a:lnTo>
                  <a:lnTo>
                    <a:pt x="780" y="520"/>
                  </a:lnTo>
                  <a:lnTo>
                    <a:pt x="780" y="521"/>
                  </a:lnTo>
                  <a:lnTo>
                    <a:pt x="782" y="520"/>
                  </a:lnTo>
                  <a:lnTo>
                    <a:pt x="783" y="518"/>
                  </a:lnTo>
                  <a:lnTo>
                    <a:pt x="786" y="517"/>
                  </a:lnTo>
                  <a:lnTo>
                    <a:pt x="786" y="520"/>
                  </a:lnTo>
                  <a:lnTo>
                    <a:pt x="787" y="520"/>
                  </a:lnTo>
                  <a:lnTo>
                    <a:pt x="788" y="520"/>
                  </a:lnTo>
                  <a:lnTo>
                    <a:pt x="789" y="520"/>
                  </a:lnTo>
                  <a:lnTo>
                    <a:pt x="791" y="520"/>
                  </a:lnTo>
                  <a:lnTo>
                    <a:pt x="792" y="521"/>
                  </a:lnTo>
                  <a:lnTo>
                    <a:pt x="792" y="522"/>
                  </a:lnTo>
                  <a:lnTo>
                    <a:pt x="791" y="522"/>
                  </a:lnTo>
                  <a:lnTo>
                    <a:pt x="792" y="527"/>
                  </a:lnTo>
                  <a:lnTo>
                    <a:pt x="793" y="528"/>
                  </a:lnTo>
                  <a:lnTo>
                    <a:pt x="792" y="529"/>
                  </a:lnTo>
                  <a:lnTo>
                    <a:pt x="791" y="530"/>
                  </a:lnTo>
                  <a:lnTo>
                    <a:pt x="791" y="532"/>
                  </a:lnTo>
                  <a:lnTo>
                    <a:pt x="792" y="532"/>
                  </a:lnTo>
                  <a:lnTo>
                    <a:pt x="793" y="534"/>
                  </a:lnTo>
                  <a:lnTo>
                    <a:pt x="793" y="539"/>
                  </a:lnTo>
                  <a:lnTo>
                    <a:pt x="792" y="540"/>
                  </a:lnTo>
                  <a:lnTo>
                    <a:pt x="791" y="540"/>
                  </a:lnTo>
                  <a:lnTo>
                    <a:pt x="792" y="544"/>
                  </a:lnTo>
                  <a:lnTo>
                    <a:pt x="793" y="545"/>
                  </a:lnTo>
                  <a:lnTo>
                    <a:pt x="794" y="546"/>
                  </a:lnTo>
                  <a:lnTo>
                    <a:pt x="795" y="546"/>
                  </a:lnTo>
                  <a:lnTo>
                    <a:pt x="798" y="546"/>
                  </a:lnTo>
                  <a:lnTo>
                    <a:pt x="800" y="546"/>
                  </a:lnTo>
                  <a:lnTo>
                    <a:pt x="803" y="546"/>
                  </a:lnTo>
                  <a:lnTo>
                    <a:pt x="805" y="546"/>
                  </a:lnTo>
                  <a:lnTo>
                    <a:pt x="808" y="547"/>
                  </a:lnTo>
                  <a:lnTo>
                    <a:pt x="809" y="548"/>
                  </a:lnTo>
                  <a:lnTo>
                    <a:pt x="809" y="550"/>
                  </a:lnTo>
                  <a:lnTo>
                    <a:pt x="809" y="551"/>
                  </a:lnTo>
                  <a:lnTo>
                    <a:pt x="810" y="553"/>
                  </a:lnTo>
                  <a:lnTo>
                    <a:pt x="816" y="552"/>
                  </a:lnTo>
                  <a:lnTo>
                    <a:pt x="818" y="553"/>
                  </a:lnTo>
                  <a:lnTo>
                    <a:pt x="820" y="554"/>
                  </a:lnTo>
                  <a:lnTo>
                    <a:pt x="821" y="556"/>
                  </a:lnTo>
                  <a:lnTo>
                    <a:pt x="821" y="557"/>
                  </a:lnTo>
                  <a:lnTo>
                    <a:pt x="821" y="559"/>
                  </a:lnTo>
                  <a:lnTo>
                    <a:pt x="820" y="559"/>
                  </a:lnTo>
                  <a:lnTo>
                    <a:pt x="818" y="560"/>
                  </a:lnTo>
                  <a:lnTo>
                    <a:pt x="818" y="562"/>
                  </a:lnTo>
                  <a:lnTo>
                    <a:pt x="820" y="564"/>
                  </a:lnTo>
                  <a:lnTo>
                    <a:pt x="822" y="564"/>
                  </a:lnTo>
                  <a:lnTo>
                    <a:pt x="823" y="564"/>
                  </a:lnTo>
                  <a:lnTo>
                    <a:pt x="823" y="565"/>
                  </a:lnTo>
                  <a:lnTo>
                    <a:pt x="823" y="566"/>
                  </a:lnTo>
                  <a:lnTo>
                    <a:pt x="824" y="568"/>
                  </a:lnTo>
                  <a:lnTo>
                    <a:pt x="826" y="569"/>
                  </a:lnTo>
                  <a:lnTo>
                    <a:pt x="827" y="569"/>
                  </a:lnTo>
                  <a:lnTo>
                    <a:pt x="829" y="569"/>
                  </a:lnTo>
                  <a:lnTo>
                    <a:pt x="832" y="570"/>
                  </a:lnTo>
                  <a:lnTo>
                    <a:pt x="833" y="572"/>
                  </a:lnTo>
                  <a:lnTo>
                    <a:pt x="833" y="575"/>
                  </a:lnTo>
                  <a:lnTo>
                    <a:pt x="834" y="575"/>
                  </a:lnTo>
                  <a:lnTo>
                    <a:pt x="836" y="575"/>
                  </a:lnTo>
                  <a:lnTo>
                    <a:pt x="836" y="576"/>
                  </a:lnTo>
                  <a:lnTo>
                    <a:pt x="839" y="576"/>
                  </a:lnTo>
                  <a:lnTo>
                    <a:pt x="839" y="577"/>
                  </a:lnTo>
                  <a:lnTo>
                    <a:pt x="838" y="578"/>
                  </a:lnTo>
                  <a:lnTo>
                    <a:pt x="838" y="580"/>
                  </a:lnTo>
                  <a:lnTo>
                    <a:pt x="838" y="581"/>
                  </a:lnTo>
                  <a:lnTo>
                    <a:pt x="838" y="584"/>
                  </a:lnTo>
                  <a:lnTo>
                    <a:pt x="839" y="588"/>
                  </a:lnTo>
                  <a:lnTo>
                    <a:pt x="841" y="588"/>
                  </a:lnTo>
                  <a:lnTo>
                    <a:pt x="841" y="589"/>
                  </a:lnTo>
                  <a:lnTo>
                    <a:pt x="840" y="589"/>
                  </a:lnTo>
                  <a:lnTo>
                    <a:pt x="838" y="590"/>
                  </a:lnTo>
                  <a:lnTo>
                    <a:pt x="840" y="590"/>
                  </a:lnTo>
                  <a:lnTo>
                    <a:pt x="841" y="593"/>
                  </a:lnTo>
                  <a:lnTo>
                    <a:pt x="844" y="595"/>
                  </a:lnTo>
                  <a:lnTo>
                    <a:pt x="845" y="598"/>
                  </a:lnTo>
                  <a:lnTo>
                    <a:pt x="844" y="599"/>
                  </a:lnTo>
                  <a:lnTo>
                    <a:pt x="842" y="600"/>
                  </a:lnTo>
                  <a:lnTo>
                    <a:pt x="842" y="603"/>
                  </a:lnTo>
                  <a:lnTo>
                    <a:pt x="842" y="606"/>
                  </a:lnTo>
                  <a:lnTo>
                    <a:pt x="844" y="605"/>
                  </a:lnTo>
                  <a:lnTo>
                    <a:pt x="847" y="605"/>
                  </a:lnTo>
                  <a:lnTo>
                    <a:pt x="848" y="606"/>
                  </a:lnTo>
                  <a:lnTo>
                    <a:pt x="850" y="607"/>
                  </a:lnTo>
                  <a:lnTo>
                    <a:pt x="851" y="611"/>
                  </a:lnTo>
                  <a:lnTo>
                    <a:pt x="851" y="613"/>
                  </a:lnTo>
                  <a:lnTo>
                    <a:pt x="854" y="613"/>
                  </a:lnTo>
                  <a:lnTo>
                    <a:pt x="854" y="612"/>
                  </a:lnTo>
                  <a:lnTo>
                    <a:pt x="856" y="613"/>
                  </a:lnTo>
                  <a:lnTo>
                    <a:pt x="857" y="615"/>
                  </a:lnTo>
                  <a:lnTo>
                    <a:pt x="859" y="615"/>
                  </a:lnTo>
                  <a:lnTo>
                    <a:pt x="858" y="617"/>
                  </a:lnTo>
                  <a:lnTo>
                    <a:pt x="858" y="618"/>
                  </a:lnTo>
                  <a:lnTo>
                    <a:pt x="858" y="619"/>
                  </a:lnTo>
                  <a:lnTo>
                    <a:pt x="858" y="621"/>
                  </a:lnTo>
                  <a:lnTo>
                    <a:pt x="857" y="621"/>
                  </a:lnTo>
                  <a:lnTo>
                    <a:pt x="856" y="621"/>
                  </a:lnTo>
                  <a:lnTo>
                    <a:pt x="856" y="622"/>
                  </a:lnTo>
                  <a:lnTo>
                    <a:pt x="858" y="623"/>
                  </a:lnTo>
                  <a:lnTo>
                    <a:pt x="858" y="622"/>
                  </a:lnTo>
                  <a:lnTo>
                    <a:pt x="861" y="623"/>
                  </a:lnTo>
                  <a:lnTo>
                    <a:pt x="862" y="623"/>
                  </a:lnTo>
                  <a:lnTo>
                    <a:pt x="863" y="624"/>
                  </a:lnTo>
                  <a:lnTo>
                    <a:pt x="863" y="625"/>
                  </a:lnTo>
                  <a:lnTo>
                    <a:pt x="862" y="625"/>
                  </a:lnTo>
                  <a:lnTo>
                    <a:pt x="862" y="628"/>
                  </a:lnTo>
                  <a:lnTo>
                    <a:pt x="863" y="628"/>
                  </a:lnTo>
                  <a:lnTo>
                    <a:pt x="864" y="629"/>
                  </a:lnTo>
                  <a:lnTo>
                    <a:pt x="865" y="630"/>
                  </a:lnTo>
                  <a:lnTo>
                    <a:pt x="867" y="631"/>
                  </a:lnTo>
                  <a:lnTo>
                    <a:pt x="867" y="630"/>
                  </a:lnTo>
                  <a:lnTo>
                    <a:pt x="869" y="631"/>
                  </a:lnTo>
                  <a:lnTo>
                    <a:pt x="871" y="633"/>
                  </a:lnTo>
                  <a:lnTo>
                    <a:pt x="871" y="634"/>
                  </a:lnTo>
                  <a:lnTo>
                    <a:pt x="870" y="635"/>
                  </a:lnTo>
                  <a:lnTo>
                    <a:pt x="869" y="635"/>
                  </a:lnTo>
                  <a:lnTo>
                    <a:pt x="869" y="636"/>
                  </a:lnTo>
                  <a:lnTo>
                    <a:pt x="871" y="639"/>
                  </a:lnTo>
                  <a:lnTo>
                    <a:pt x="873" y="640"/>
                  </a:lnTo>
                  <a:lnTo>
                    <a:pt x="875" y="641"/>
                  </a:lnTo>
                  <a:lnTo>
                    <a:pt x="876" y="642"/>
                  </a:lnTo>
                  <a:lnTo>
                    <a:pt x="877" y="641"/>
                  </a:lnTo>
                  <a:lnTo>
                    <a:pt x="879" y="641"/>
                  </a:lnTo>
                  <a:lnTo>
                    <a:pt x="880" y="640"/>
                  </a:lnTo>
                  <a:lnTo>
                    <a:pt x="881" y="640"/>
                  </a:lnTo>
                  <a:lnTo>
                    <a:pt x="882" y="639"/>
                  </a:lnTo>
                  <a:lnTo>
                    <a:pt x="883" y="642"/>
                  </a:lnTo>
                  <a:lnTo>
                    <a:pt x="885" y="643"/>
                  </a:lnTo>
                  <a:lnTo>
                    <a:pt x="885" y="642"/>
                  </a:lnTo>
                  <a:lnTo>
                    <a:pt x="886" y="642"/>
                  </a:lnTo>
                  <a:lnTo>
                    <a:pt x="886" y="641"/>
                  </a:lnTo>
                  <a:lnTo>
                    <a:pt x="888" y="641"/>
                  </a:lnTo>
                  <a:lnTo>
                    <a:pt x="889" y="641"/>
                  </a:lnTo>
                  <a:lnTo>
                    <a:pt x="891" y="640"/>
                  </a:lnTo>
                  <a:lnTo>
                    <a:pt x="893" y="641"/>
                  </a:lnTo>
                  <a:lnTo>
                    <a:pt x="891" y="642"/>
                  </a:lnTo>
                  <a:lnTo>
                    <a:pt x="891" y="643"/>
                  </a:lnTo>
                  <a:lnTo>
                    <a:pt x="891" y="646"/>
                  </a:lnTo>
                  <a:lnTo>
                    <a:pt x="891" y="647"/>
                  </a:lnTo>
                  <a:lnTo>
                    <a:pt x="888" y="647"/>
                  </a:lnTo>
                  <a:lnTo>
                    <a:pt x="888" y="646"/>
                  </a:lnTo>
                  <a:lnTo>
                    <a:pt x="887" y="646"/>
                  </a:lnTo>
                  <a:lnTo>
                    <a:pt x="887" y="648"/>
                  </a:lnTo>
                  <a:lnTo>
                    <a:pt x="885" y="649"/>
                  </a:lnTo>
                  <a:lnTo>
                    <a:pt x="881" y="649"/>
                  </a:lnTo>
                  <a:lnTo>
                    <a:pt x="880" y="651"/>
                  </a:lnTo>
                  <a:lnTo>
                    <a:pt x="879" y="649"/>
                  </a:lnTo>
                  <a:lnTo>
                    <a:pt x="879" y="651"/>
                  </a:lnTo>
                  <a:lnTo>
                    <a:pt x="876" y="652"/>
                  </a:lnTo>
                  <a:lnTo>
                    <a:pt x="877" y="654"/>
                  </a:lnTo>
                  <a:lnTo>
                    <a:pt x="877" y="655"/>
                  </a:lnTo>
                  <a:lnTo>
                    <a:pt x="877" y="657"/>
                  </a:lnTo>
                  <a:lnTo>
                    <a:pt x="875" y="659"/>
                  </a:lnTo>
                  <a:lnTo>
                    <a:pt x="874" y="660"/>
                  </a:lnTo>
                  <a:lnTo>
                    <a:pt x="874" y="661"/>
                  </a:lnTo>
                  <a:lnTo>
                    <a:pt x="873" y="661"/>
                  </a:lnTo>
                  <a:lnTo>
                    <a:pt x="873" y="663"/>
                  </a:lnTo>
                  <a:lnTo>
                    <a:pt x="874" y="664"/>
                  </a:lnTo>
                  <a:lnTo>
                    <a:pt x="875" y="667"/>
                  </a:lnTo>
                  <a:lnTo>
                    <a:pt x="871" y="669"/>
                  </a:lnTo>
                  <a:lnTo>
                    <a:pt x="874" y="669"/>
                  </a:lnTo>
                  <a:lnTo>
                    <a:pt x="875" y="670"/>
                  </a:lnTo>
                  <a:lnTo>
                    <a:pt x="876" y="670"/>
                  </a:lnTo>
                  <a:lnTo>
                    <a:pt x="879" y="672"/>
                  </a:lnTo>
                  <a:lnTo>
                    <a:pt x="879" y="673"/>
                  </a:lnTo>
                  <a:lnTo>
                    <a:pt x="880" y="673"/>
                  </a:lnTo>
                  <a:lnTo>
                    <a:pt x="880" y="672"/>
                  </a:lnTo>
                  <a:lnTo>
                    <a:pt x="881" y="673"/>
                  </a:lnTo>
                  <a:lnTo>
                    <a:pt x="882" y="673"/>
                  </a:lnTo>
                  <a:lnTo>
                    <a:pt x="882" y="675"/>
                  </a:lnTo>
                  <a:lnTo>
                    <a:pt x="882" y="676"/>
                  </a:lnTo>
                  <a:lnTo>
                    <a:pt x="881" y="676"/>
                  </a:lnTo>
                  <a:lnTo>
                    <a:pt x="879" y="676"/>
                  </a:lnTo>
                  <a:lnTo>
                    <a:pt x="877" y="677"/>
                  </a:lnTo>
                  <a:lnTo>
                    <a:pt x="876" y="678"/>
                  </a:lnTo>
                  <a:lnTo>
                    <a:pt x="875" y="678"/>
                  </a:lnTo>
                  <a:lnTo>
                    <a:pt x="874" y="677"/>
                  </a:lnTo>
                  <a:lnTo>
                    <a:pt x="871" y="676"/>
                  </a:lnTo>
                  <a:lnTo>
                    <a:pt x="869" y="673"/>
                  </a:lnTo>
                  <a:lnTo>
                    <a:pt x="868" y="672"/>
                  </a:lnTo>
                  <a:lnTo>
                    <a:pt x="867" y="671"/>
                  </a:lnTo>
                  <a:lnTo>
                    <a:pt x="864" y="669"/>
                  </a:lnTo>
                  <a:lnTo>
                    <a:pt x="862" y="669"/>
                  </a:lnTo>
                  <a:lnTo>
                    <a:pt x="861" y="667"/>
                  </a:lnTo>
                  <a:lnTo>
                    <a:pt x="858" y="665"/>
                  </a:lnTo>
                  <a:lnTo>
                    <a:pt x="859" y="664"/>
                  </a:lnTo>
                  <a:lnTo>
                    <a:pt x="859" y="661"/>
                  </a:lnTo>
                  <a:lnTo>
                    <a:pt x="859" y="660"/>
                  </a:lnTo>
                  <a:lnTo>
                    <a:pt x="857" y="660"/>
                  </a:lnTo>
                  <a:lnTo>
                    <a:pt x="854" y="661"/>
                  </a:lnTo>
                  <a:lnTo>
                    <a:pt x="851" y="661"/>
                  </a:lnTo>
                  <a:lnTo>
                    <a:pt x="847" y="660"/>
                  </a:lnTo>
                  <a:lnTo>
                    <a:pt x="844" y="660"/>
                  </a:lnTo>
                  <a:lnTo>
                    <a:pt x="841" y="660"/>
                  </a:lnTo>
                  <a:lnTo>
                    <a:pt x="840" y="660"/>
                  </a:lnTo>
                  <a:lnTo>
                    <a:pt x="841" y="658"/>
                  </a:lnTo>
                  <a:lnTo>
                    <a:pt x="841" y="657"/>
                  </a:lnTo>
                  <a:lnTo>
                    <a:pt x="840" y="655"/>
                  </a:lnTo>
                  <a:lnTo>
                    <a:pt x="841" y="653"/>
                  </a:lnTo>
                  <a:lnTo>
                    <a:pt x="841" y="652"/>
                  </a:lnTo>
                  <a:lnTo>
                    <a:pt x="840" y="652"/>
                  </a:lnTo>
                  <a:lnTo>
                    <a:pt x="840" y="655"/>
                  </a:lnTo>
                  <a:lnTo>
                    <a:pt x="839" y="657"/>
                  </a:lnTo>
                  <a:lnTo>
                    <a:pt x="839" y="658"/>
                  </a:lnTo>
                  <a:lnTo>
                    <a:pt x="835" y="658"/>
                  </a:lnTo>
                  <a:lnTo>
                    <a:pt x="833" y="659"/>
                  </a:lnTo>
                  <a:lnTo>
                    <a:pt x="832" y="660"/>
                  </a:lnTo>
                  <a:lnTo>
                    <a:pt x="830" y="660"/>
                  </a:lnTo>
                  <a:lnTo>
                    <a:pt x="830" y="661"/>
                  </a:lnTo>
                  <a:lnTo>
                    <a:pt x="830" y="664"/>
                  </a:lnTo>
                  <a:lnTo>
                    <a:pt x="830" y="665"/>
                  </a:lnTo>
                  <a:lnTo>
                    <a:pt x="832" y="665"/>
                  </a:lnTo>
                  <a:lnTo>
                    <a:pt x="832" y="664"/>
                  </a:lnTo>
                  <a:lnTo>
                    <a:pt x="833" y="665"/>
                  </a:lnTo>
                  <a:lnTo>
                    <a:pt x="833" y="666"/>
                  </a:lnTo>
                  <a:lnTo>
                    <a:pt x="832" y="667"/>
                  </a:lnTo>
                  <a:lnTo>
                    <a:pt x="833" y="670"/>
                  </a:lnTo>
                  <a:lnTo>
                    <a:pt x="830" y="671"/>
                  </a:lnTo>
                  <a:lnTo>
                    <a:pt x="828" y="672"/>
                  </a:lnTo>
                  <a:lnTo>
                    <a:pt x="827" y="673"/>
                  </a:lnTo>
                  <a:lnTo>
                    <a:pt x="827" y="672"/>
                  </a:lnTo>
                  <a:lnTo>
                    <a:pt x="826" y="672"/>
                  </a:lnTo>
                  <a:lnTo>
                    <a:pt x="823" y="673"/>
                  </a:lnTo>
                  <a:lnTo>
                    <a:pt x="822" y="675"/>
                  </a:lnTo>
                  <a:lnTo>
                    <a:pt x="821" y="673"/>
                  </a:lnTo>
                  <a:lnTo>
                    <a:pt x="822" y="672"/>
                  </a:lnTo>
                  <a:lnTo>
                    <a:pt x="822" y="671"/>
                  </a:lnTo>
                  <a:lnTo>
                    <a:pt x="821" y="671"/>
                  </a:lnTo>
                  <a:lnTo>
                    <a:pt x="821" y="670"/>
                  </a:lnTo>
                  <a:lnTo>
                    <a:pt x="822" y="669"/>
                  </a:lnTo>
                  <a:lnTo>
                    <a:pt x="821" y="669"/>
                  </a:lnTo>
                  <a:lnTo>
                    <a:pt x="820" y="667"/>
                  </a:lnTo>
                  <a:lnTo>
                    <a:pt x="818" y="665"/>
                  </a:lnTo>
                  <a:lnTo>
                    <a:pt x="818" y="663"/>
                  </a:lnTo>
                  <a:lnTo>
                    <a:pt x="816" y="661"/>
                  </a:lnTo>
                  <a:lnTo>
                    <a:pt x="814" y="661"/>
                  </a:lnTo>
                  <a:lnTo>
                    <a:pt x="812" y="660"/>
                  </a:lnTo>
                  <a:lnTo>
                    <a:pt x="810" y="661"/>
                  </a:lnTo>
                  <a:lnTo>
                    <a:pt x="809" y="661"/>
                  </a:lnTo>
                  <a:lnTo>
                    <a:pt x="809" y="659"/>
                  </a:lnTo>
                  <a:lnTo>
                    <a:pt x="808" y="659"/>
                  </a:lnTo>
                  <a:lnTo>
                    <a:pt x="809" y="659"/>
                  </a:lnTo>
                  <a:lnTo>
                    <a:pt x="810" y="657"/>
                  </a:lnTo>
                  <a:lnTo>
                    <a:pt x="808" y="657"/>
                  </a:lnTo>
                  <a:lnTo>
                    <a:pt x="805" y="655"/>
                  </a:lnTo>
                  <a:lnTo>
                    <a:pt x="804" y="655"/>
                  </a:lnTo>
                  <a:lnTo>
                    <a:pt x="803" y="653"/>
                  </a:lnTo>
                  <a:lnTo>
                    <a:pt x="802" y="651"/>
                  </a:lnTo>
                  <a:lnTo>
                    <a:pt x="800" y="648"/>
                  </a:lnTo>
                  <a:lnTo>
                    <a:pt x="798" y="647"/>
                  </a:lnTo>
                  <a:lnTo>
                    <a:pt x="795" y="648"/>
                  </a:lnTo>
                  <a:lnTo>
                    <a:pt x="795" y="649"/>
                  </a:lnTo>
                  <a:lnTo>
                    <a:pt x="795" y="651"/>
                  </a:lnTo>
                  <a:lnTo>
                    <a:pt x="795" y="652"/>
                  </a:lnTo>
                  <a:lnTo>
                    <a:pt x="794" y="652"/>
                  </a:lnTo>
                  <a:lnTo>
                    <a:pt x="792" y="653"/>
                  </a:lnTo>
                  <a:lnTo>
                    <a:pt x="789" y="652"/>
                  </a:lnTo>
                  <a:lnTo>
                    <a:pt x="787" y="649"/>
                  </a:lnTo>
                  <a:lnTo>
                    <a:pt x="783" y="651"/>
                  </a:lnTo>
                  <a:lnTo>
                    <a:pt x="782" y="652"/>
                  </a:lnTo>
                  <a:lnTo>
                    <a:pt x="781" y="653"/>
                  </a:lnTo>
                  <a:lnTo>
                    <a:pt x="780" y="655"/>
                  </a:lnTo>
                  <a:lnTo>
                    <a:pt x="779" y="655"/>
                  </a:lnTo>
                  <a:lnTo>
                    <a:pt x="779" y="657"/>
                  </a:lnTo>
                  <a:lnTo>
                    <a:pt x="777" y="657"/>
                  </a:lnTo>
                  <a:lnTo>
                    <a:pt x="777" y="658"/>
                  </a:lnTo>
                  <a:lnTo>
                    <a:pt x="779" y="659"/>
                  </a:lnTo>
                  <a:lnTo>
                    <a:pt x="781" y="659"/>
                  </a:lnTo>
                  <a:lnTo>
                    <a:pt x="782" y="660"/>
                  </a:lnTo>
                  <a:lnTo>
                    <a:pt x="782" y="661"/>
                  </a:lnTo>
                  <a:lnTo>
                    <a:pt x="783" y="663"/>
                  </a:lnTo>
                  <a:lnTo>
                    <a:pt x="785" y="663"/>
                  </a:lnTo>
                  <a:lnTo>
                    <a:pt x="785" y="661"/>
                  </a:lnTo>
                  <a:lnTo>
                    <a:pt x="786" y="660"/>
                  </a:lnTo>
                  <a:lnTo>
                    <a:pt x="787" y="660"/>
                  </a:lnTo>
                  <a:lnTo>
                    <a:pt x="787" y="661"/>
                  </a:lnTo>
                  <a:lnTo>
                    <a:pt x="788" y="661"/>
                  </a:lnTo>
                  <a:lnTo>
                    <a:pt x="789" y="661"/>
                  </a:lnTo>
                  <a:lnTo>
                    <a:pt x="791" y="661"/>
                  </a:lnTo>
                  <a:lnTo>
                    <a:pt x="791" y="664"/>
                  </a:lnTo>
                  <a:lnTo>
                    <a:pt x="792" y="664"/>
                  </a:lnTo>
                  <a:lnTo>
                    <a:pt x="793" y="663"/>
                  </a:lnTo>
                  <a:lnTo>
                    <a:pt x="795" y="663"/>
                  </a:lnTo>
                  <a:lnTo>
                    <a:pt x="795" y="661"/>
                  </a:lnTo>
                  <a:lnTo>
                    <a:pt x="797" y="661"/>
                  </a:lnTo>
                  <a:lnTo>
                    <a:pt x="798" y="663"/>
                  </a:lnTo>
                  <a:lnTo>
                    <a:pt x="799" y="663"/>
                  </a:lnTo>
                  <a:lnTo>
                    <a:pt x="800" y="665"/>
                  </a:lnTo>
                  <a:lnTo>
                    <a:pt x="803" y="665"/>
                  </a:lnTo>
                  <a:lnTo>
                    <a:pt x="803" y="666"/>
                  </a:lnTo>
                  <a:lnTo>
                    <a:pt x="804" y="667"/>
                  </a:lnTo>
                  <a:lnTo>
                    <a:pt x="804" y="669"/>
                  </a:lnTo>
                  <a:lnTo>
                    <a:pt x="805" y="670"/>
                  </a:lnTo>
                  <a:lnTo>
                    <a:pt x="808" y="670"/>
                  </a:lnTo>
                  <a:lnTo>
                    <a:pt x="808" y="671"/>
                  </a:lnTo>
                  <a:lnTo>
                    <a:pt x="808" y="672"/>
                  </a:lnTo>
                  <a:lnTo>
                    <a:pt x="811" y="675"/>
                  </a:lnTo>
                  <a:lnTo>
                    <a:pt x="811" y="673"/>
                  </a:lnTo>
                  <a:lnTo>
                    <a:pt x="812" y="676"/>
                  </a:lnTo>
                  <a:lnTo>
                    <a:pt x="811" y="676"/>
                  </a:lnTo>
                  <a:lnTo>
                    <a:pt x="811" y="677"/>
                  </a:lnTo>
                  <a:lnTo>
                    <a:pt x="811" y="678"/>
                  </a:lnTo>
                  <a:lnTo>
                    <a:pt x="810" y="678"/>
                  </a:lnTo>
                  <a:lnTo>
                    <a:pt x="811" y="679"/>
                  </a:lnTo>
                  <a:lnTo>
                    <a:pt x="810" y="681"/>
                  </a:lnTo>
                  <a:lnTo>
                    <a:pt x="811" y="681"/>
                  </a:lnTo>
                  <a:lnTo>
                    <a:pt x="810" y="684"/>
                  </a:lnTo>
                  <a:lnTo>
                    <a:pt x="810" y="685"/>
                  </a:lnTo>
                  <a:lnTo>
                    <a:pt x="810" y="687"/>
                  </a:lnTo>
                  <a:lnTo>
                    <a:pt x="809" y="687"/>
                  </a:lnTo>
                  <a:lnTo>
                    <a:pt x="806" y="687"/>
                  </a:lnTo>
                  <a:lnTo>
                    <a:pt x="804" y="687"/>
                  </a:lnTo>
                  <a:lnTo>
                    <a:pt x="803" y="687"/>
                  </a:lnTo>
                  <a:lnTo>
                    <a:pt x="799" y="685"/>
                  </a:lnTo>
                  <a:lnTo>
                    <a:pt x="797" y="685"/>
                  </a:lnTo>
                  <a:lnTo>
                    <a:pt x="795" y="685"/>
                  </a:lnTo>
                  <a:lnTo>
                    <a:pt x="794" y="687"/>
                  </a:lnTo>
                  <a:lnTo>
                    <a:pt x="792" y="687"/>
                  </a:lnTo>
                  <a:lnTo>
                    <a:pt x="789" y="687"/>
                  </a:lnTo>
                  <a:lnTo>
                    <a:pt x="789" y="688"/>
                  </a:lnTo>
                  <a:lnTo>
                    <a:pt x="788" y="689"/>
                  </a:lnTo>
                  <a:lnTo>
                    <a:pt x="788" y="690"/>
                  </a:lnTo>
                  <a:lnTo>
                    <a:pt x="788" y="694"/>
                  </a:lnTo>
                  <a:lnTo>
                    <a:pt x="787" y="693"/>
                  </a:lnTo>
                  <a:lnTo>
                    <a:pt x="787" y="694"/>
                  </a:lnTo>
                  <a:lnTo>
                    <a:pt x="785" y="693"/>
                  </a:lnTo>
                  <a:lnTo>
                    <a:pt x="783" y="691"/>
                  </a:lnTo>
                  <a:lnTo>
                    <a:pt x="782" y="695"/>
                  </a:lnTo>
                  <a:lnTo>
                    <a:pt x="781" y="691"/>
                  </a:lnTo>
                  <a:lnTo>
                    <a:pt x="782" y="694"/>
                  </a:lnTo>
                  <a:lnTo>
                    <a:pt x="781" y="695"/>
                  </a:lnTo>
                  <a:lnTo>
                    <a:pt x="779" y="694"/>
                  </a:lnTo>
                  <a:lnTo>
                    <a:pt x="776" y="693"/>
                  </a:lnTo>
                  <a:lnTo>
                    <a:pt x="775" y="694"/>
                  </a:lnTo>
                  <a:lnTo>
                    <a:pt x="775" y="695"/>
                  </a:lnTo>
                  <a:lnTo>
                    <a:pt x="774" y="695"/>
                  </a:lnTo>
                  <a:lnTo>
                    <a:pt x="771" y="694"/>
                  </a:lnTo>
                  <a:lnTo>
                    <a:pt x="768" y="694"/>
                  </a:lnTo>
                  <a:lnTo>
                    <a:pt x="767" y="693"/>
                  </a:lnTo>
                  <a:lnTo>
                    <a:pt x="765" y="693"/>
                  </a:lnTo>
                  <a:lnTo>
                    <a:pt x="763" y="691"/>
                  </a:lnTo>
                  <a:lnTo>
                    <a:pt x="762" y="691"/>
                  </a:lnTo>
                  <a:lnTo>
                    <a:pt x="761" y="689"/>
                  </a:lnTo>
                  <a:lnTo>
                    <a:pt x="758" y="690"/>
                  </a:lnTo>
                  <a:lnTo>
                    <a:pt x="757" y="689"/>
                  </a:lnTo>
                  <a:lnTo>
                    <a:pt x="757" y="688"/>
                  </a:lnTo>
                  <a:lnTo>
                    <a:pt x="756" y="688"/>
                  </a:lnTo>
                  <a:lnTo>
                    <a:pt x="756" y="685"/>
                  </a:lnTo>
                  <a:lnTo>
                    <a:pt x="755" y="684"/>
                  </a:lnTo>
                  <a:lnTo>
                    <a:pt x="753" y="685"/>
                  </a:lnTo>
                  <a:lnTo>
                    <a:pt x="753" y="688"/>
                  </a:lnTo>
                  <a:lnTo>
                    <a:pt x="755" y="689"/>
                  </a:lnTo>
                  <a:lnTo>
                    <a:pt x="758" y="690"/>
                  </a:lnTo>
                  <a:lnTo>
                    <a:pt x="759" y="690"/>
                  </a:lnTo>
                  <a:lnTo>
                    <a:pt x="761" y="693"/>
                  </a:lnTo>
                  <a:lnTo>
                    <a:pt x="762" y="693"/>
                  </a:lnTo>
                  <a:lnTo>
                    <a:pt x="762" y="694"/>
                  </a:lnTo>
                  <a:lnTo>
                    <a:pt x="761" y="695"/>
                  </a:lnTo>
                  <a:lnTo>
                    <a:pt x="759" y="699"/>
                  </a:lnTo>
                  <a:lnTo>
                    <a:pt x="759" y="695"/>
                  </a:lnTo>
                  <a:lnTo>
                    <a:pt x="758" y="699"/>
                  </a:lnTo>
                  <a:lnTo>
                    <a:pt x="758" y="700"/>
                  </a:lnTo>
                  <a:lnTo>
                    <a:pt x="757" y="701"/>
                  </a:lnTo>
                  <a:lnTo>
                    <a:pt x="759" y="703"/>
                  </a:lnTo>
                  <a:lnTo>
                    <a:pt x="757" y="705"/>
                  </a:lnTo>
                  <a:lnTo>
                    <a:pt x="756" y="705"/>
                  </a:lnTo>
                  <a:lnTo>
                    <a:pt x="755" y="706"/>
                  </a:lnTo>
                  <a:lnTo>
                    <a:pt x="752" y="706"/>
                  </a:lnTo>
                  <a:lnTo>
                    <a:pt x="750" y="706"/>
                  </a:lnTo>
                  <a:lnTo>
                    <a:pt x="749" y="705"/>
                  </a:lnTo>
                  <a:lnTo>
                    <a:pt x="746" y="706"/>
                  </a:lnTo>
                  <a:lnTo>
                    <a:pt x="744" y="707"/>
                  </a:lnTo>
                  <a:lnTo>
                    <a:pt x="744" y="710"/>
                  </a:lnTo>
                  <a:lnTo>
                    <a:pt x="745" y="710"/>
                  </a:lnTo>
                  <a:lnTo>
                    <a:pt x="745" y="711"/>
                  </a:lnTo>
                  <a:lnTo>
                    <a:pt x="744" y="712"/>
                  </a:lnTo>
                  <a:lnTo>
                    <a:pt x="741" y="712"/>
                  </a:lnTo>
                  <a:lnTo>
                    <a:pt x="740" y="710"/>
                  </a:lnTo>
                  <a:lnTo>
                    <a:pt x="738" y="708"/>
                  </a:lnTo>
                  <a:lnTo>
                    <a:pt x="738" y="710"/>
                  </a:lnTo>
                  <a:lnTo>
                    <a:pt x="739" y="712"/>
                  </a:lnTo>
                  <a:lnTo>
                    <a:pt x="739" y="714"/>
                  </a:lnTo>
                  <a:lnTo>
                    <a:pt x="740" y="716"/>
                  </a:lnTo>
                  <a:lnTo>
                    <a:pt x="741" y="717"/>
                  </a:lnTo>
                  <a:lnTo>
                    <a:pt x="740" y="718"/>
                  </a:lnTo>
                  <a:lnTo>
                    <a:pt x="740" y="720"/>
                  </a:lnTo>
                  <a:lnTo>
                    <a:pt x="741" y="720"/>
                  </a:lnTo>
                  <a:lnTo>
                    <a:pt x="741" y="722"/>
                  </a:lnTo>
                  <a:lnTo>
                    <a:pt x="746" y="723"/>
                  </a:lnTo>
                  <a:lnTo>
                    <a:pt x="746" y="722"/>
                  </a:lnTo>
                  <a:lnTo>
                    <a:pt x="749" y="722"/>
                  </a:lnTo>
                  <a:lnTo>
                    <a:pt x="752" y="723"/>
                  </a:lnTo>
                  <a:lnTo>
                    <a:pt x="751" y="720"/>
                  </a:lnTo>
                  <a:lnTo>
                    <a:pt x="752" y="719"/>
                  </a:lnTo>
                  <a:lnTo>
                    <a:pt x="753" y="719"/>
                  </a:lnTo>
                  <a:lnTo>
                    <a:pt x="756" y="719"/>
                  </a:lnTo>
                  <a:lnTo>
                    <a:pt x="755" y="720"/>
                  </a:lnTo>
                  <a:lnTo>
                    <a:pt x="755" y="722"/>
                  </a:lnTo>
                  <a:lnTo>
                    <a:pt x="756" y="723"/>
                  </a:lnTo>
                  <a:lnTo>
                    <a:pt x="757" y="723"/>
                  </a:lnTo>
                  <a:lnTo>
                    <a:pt x="757" y="724"/>
                  </a:lnTo>
                  <a:lnTo>
                    <a:pt x="757" y="725"/>
                  </a:lnTo>
                  <a:lnTo>
                    <a:pt x="758" y="726"/>
                  </a:lnTo>
                  <a:lnTo>
                    <a:pt x="757" y="728"/>
                  </a:lnTo>
                  <a:lnTo>
                    <a:pt x="756" y="730"/>
                  </a:lnTo>
                  <a:lnTo>
                    <a:pt x="757" y="732"/>
                  </a:lnTo>
                  <a:lnTo>
                    <a:pt x="759" y="735"/>
                  </a:lnTo>
                  <a:lnTo>
                    <a:pt x="757" y="737"/>
                  </a:lnTo>
                  <a:lnTo>
                    <a:pt x="755" y="737"/>
                  </a:lnTo>
                  <a:lnTo>
                    <a:pt x="753" y="737"/>
                  </a:lnTo>
                  <a:lnTo>
                    <a:pt x="752" y="737"/>
                  </a:lnTo>
                  <a:lnTo>
                    <a:pt x="752" y="738"/>
                  </a:lnTo>
                  <a:lnTo>
                    <a:pt x="752" y="740"/>
                  </a:lnTo>
                  <a:lnTo>
                    <a:pt x="752" y="741"/>
                  </a:lnTo>
                  <a:lnTo>
                    <a:pt x="750" y="741"/>
                  </a:lnTo>
                  <a:lnTo>
                    <a:pt x="749" y="741"/>
                  </a:lnTo>
                  <a:lnTo>
                    <a:pt x="749" y="742"/>
                  </a:lnTo>
                  <a:lnTo>
                    <a:pt x="751" y="744"/>
                  </a:lnTo>
                  <a:lnTo>
                    <a:pt x="753" y="744"/>
                  </a:lnTo>
                  <a:lnTo>
                    <a:pt x="755" y="743"/>
                  </a:lnTo>
                  <a:lnTo>
                    <a:pt x="756" y="742"/>
                  </a:lnTo>
                  <a:lnTo>
                    <a:pt x="757" y="741"/>
                  </a:lnTo>
                  <a:lnTo>
                    <a:pt x="758" y="741"/>
                  </a:lnTo>
                  <a:lnTo>
                    <a:pt x="758" y="742"/>
                  </a:lnTo>
                  <a:lnTo>
                    <a:pt x="761" y="742"/>
                  </a:lnTo>
                  <a:lnTo>
                    <a:pt x="761" y="743"/>
                  </a:lnTo>
                  <a:lnTo>
                    <a:pt x="761" y="746"/>
                  </a:lnTo>
                  <a:lnTo>
                    <a:pt x="763" y="749"/>
                  </a:lnTo>
                  <a:lnTo>
                    <a:pt x="764" y="752"/>
                  </a:lnTo>
                  <a:lnTo>
                    <a:pt x="765" y="750"/>
                  </a:lnTo>
                  <a:lnTo>
                    <a:pt x="767" y="750"/>
                  </a:lnTo>
                  <a:lnTo>
                    <a:pt x="768" y="753"/>
                  </a:lnTo>
                  <a:lnTo>
                    <a:pt x="769" y="755"/>
                  </a:lnTo>
                  <a:lnTo>
                    <a:pt x="770" y="755"/>
                  </a:lnTo>
                  <a:lnTo>
                    <a:pt x="770" y="756"/>
                  </a:lnTo>
                  <a:lnTo>
                    <a:pt x="769" y="756"/>
                  </a:lnTo>
                  <a:lnTo>
                    <a:pt x="767" y="756"/>
                  </a:lnTo>
                  <a:lnTo>
                    <a:pt x="764" y="760"/>
                  </a:lnTo>
                  <a:lnTo>
                    <a:pt x="765" y="760"/>
                  </a:lnTo>
                  <a:lnTo>
                    <a:pt x="767" y="760"/>
                  </a:lnTo>
                  <a:lnTo>
                    <a:pt x="768" y="760"/>
                  </a:lnTo>
                  <a:lnTo>
                    <a:pt x="767" y="761"/>
                  </a:lnTo>
                  <a:lnTo>
                    <a:pt x="765" y="764"/>
                  </a:lnTo>
                  <a:lnTo>
                    <a:pt x="763" y="764"/>
                  </a:lnTo>
                  <a:lnTo>
                    <a:pt x="761" y="762"/>
                  </a:lnTo>
                  <a:lnTo>
                    <a:pt x="759" y="764"/>
                  </a:lnTo>
                  <a:lnTo>
                    <a:pt x="759" y="765"/>
                  </a:lnTo>
                  <a:lnTo>
                    <a:pt x="758" y="764"/>
                  </a:lnTo>
                  <a:lnTo>
                    <a:pt x="757" y="762"/>
                  </a:lnTo>
                  <a:lnTo>
                    <a:pt x="756" y="762"/>
                  </a:lnTo>
                  <a:lnTo>
                    <a:pt x="756" y="761"/>
                  </a:lnTo>
                  <a:lnTo>
                    <a:pt x="753" y="764"/>
                  </a:lnTo>
                  <a:lnTo>
                    <a:pt x="751" y="762"/>
                  </a:lnTo>
                  <a:lnTo>
                    <a:pt x="750" y="764"/>
                  </a:lnTo>
                  <a:lnTo>
                    <a:pt x="749" y="762"/>
                  </a:lnTo>
                  <a:lnTo>
                    <a:pt x="747" y="761"/>
                  </a:lnTo>
                  <a:lnTo>
                    <a:pt x="746" y="760"/>
                  </a:lnTo>
                  <a:lnTo>
                    <a:pt x="744" y="759"/>
                  </a:lnTo>
                  <a:lnTo>
                    <a:pt x="741" y="759"/>
                  </a:lnTo>
                  <a:lnTo>
                    <a:pt x="739" y="755"/>
                  </a:lnTo>
                  <a:lnTo>
                    <a:pt x="736" y="753"/>
                  </a:lnTo>
                  <a:lnTo>
                    <a:pt x="735" y="754"/>
                  </a:lnTo>
                  <a:lnTo>
                    <a:pt x="734" y="754"/>
                  </a:lnTo>
                  <a:lnTo>
                    <a:pt x="730" y="754"/>
                  </a:lnTo>
                  <a:lnTo>
                    <a:pt x="730" y="750"/>
                  </a:lnTo>
                  <a:lnTo>
                    <a:pt x="734" y="752"/>
                  </a:lnTo>
                  <a:lnTo>
                    <a:pt x="734" y="748"/>
                  </a:lnTo>
                  <a:lnTo>
                    <a:pt x="733" y="747"/>
                  </a:lnTo>
                  <a:lnTo>
                    <a:pt x="734" y="746"/>
                  </a:lnTo>
                  <a:lnTo>
                    <a:pt x="735" y="746"/>
                  </a:lnTo>
                  <a:lnTo>
                    <a:pt x="735" y="744"/>
                  </a:lnTo>
                  <a:lnTo>
                    <a:pt x="736" y="746"/>
                  </a:lnTo>
                  <a:lnTo>
                    <a:pt x="736" y="747"/>
                  </a:lnTo>
                  <a:lnTo>
                    <a:pt x="738" y="750"/>
                  </a:lnTo>
                  <a:lnTo>
                    <a:pt x="740" y="753"/>
                  </a:lnTo>
                  <a:lnTo>
                    <a:pt x="741" y="753"/>
                  </a:lnTo>
                  <a:lnTo>
                    <a:pt x="741" y="754"/>
                  </a:lnTo>
                  <a:lnTo>
                    <a:pt x="744" y="755"/>
                  </a:lnTo>
                  <a:lnTo>
                    <a:pt x="746" y="754"/>
                  </a:lnTo>
                  <a:lnTo>
                    <a:pt x="747" y="754"/>
                  </a:lnTo>
                  <a:lnTo>
                    <a:pt x="750" y="754"/>
                  </a:lnTo>
                  <a:lnTo>
                    <a:pt x="751" y="753"/>
                  </a:lnTo>
                  <a:lnTo>
                    <a:pt x="750" y="749"/>
                  </a:lnTo>
                  <a:lnTo>
                    <a:pt x="749" y="749"/>
                  </a:lnTo>
                  <a:lnTo>
                    <a:pt x="747" y="749"/>
                  </a:lnTo>
                  <a:lnTo>
                    <a:pt x="746" y="752"/>
                  </a:lnTo>
                  <a:lnTo>
                    <a:pt x="746" y="749"/>
                  </a:lnTo>
                  <a:lnTo>
                    <a:pt x="745" y="747"/>
                  </a:lnTo>
                  <a:lnTo>
                    <a:pt x="745" y="744"/>
                  </a:lnTo>
                  <a:lnTo>
                    <a:pt x="743" y="741"/>
                  </a:lnTo>
                  <a:lnTo>
                    <a:pt x="746" y="740"/>
                  </a:lnTo>
                  <a:lnTo>
                    <a:pt x="743" y="738"/>
                  </a:lnTo>
                  <a:lnTo>
                    <a:pt x="743" y="737"/>
                  </a:lnTo>
                  <a:lnTo>
                    <a:pt x="741" y="736"/>
                  </a:lnTo>
                  <a:lnTo>
                    <a:pt x="740" y="735"/>
                  </a:lnTo>
                  <a:lnTo>
                    <a:pt x="739" y="734"/>
                  </a:lnTo>
                  <a:lnTo>
                    <a:pt x="741" y="731"/>
                  </a:lnTo>
                  <a:lnTo>
                    <a:pt x="740" y="730"/>
                  </a:lnTo>
                  <a:lnTo>
                    <a:pt x="739" y="730"/>
                  </a:lnTo>
                  <a:lnTo>
                    <a:pt x="736" y="730"/>
                  </a:lnTo>
                  <a:lnTo>
                    <a:pt x="735" y="731"/>
                  </a:lnTo>
                  <a:lnTo>
                    <a:pt x="735" y="732"/>
                  </a:lnTo>
                  <a:lnTo>
                    <a:pt x="734" y="734"/>
                  </a:lnTo>
                  <a:lnTo>
                    <a:pt x="736" y="735"/>
                  </a:lnTo>
                  <a:lnTo>
                    <a:pt x="736" y="736"/>
                  </a:lnTo>
                  <a:lnTo>
                    <a:pt x="738" y="736"/>
                  </a:lnTo>
                  <a:lnTo>
                    <a:pt x="739" y="736"/>
                  </a:lnTo>
                  <a:lnTo>
                    <a:pt x="741" y="736"/>
                  </a:lnTo>
                  <a:lnTo>
                    <a:pt x="741" y="737"/>
                  </a:lnTo>
                  <a:lnTo>
                    <a:pt x="740" y="737"/>
                  </a:lnTo>
                  <a:lnTo>
                    <a:pt x="739" y="737"/>
                  </a:lnTo>
                  <a:lnTo>
                    <a:pt x="738" y="738"/>
                  </a:lnTo>
                  <a:lnTo>
                    <a:pt x="736" y="740"/>
                  </a:lnTo>
                  <a:lnTo>
                    <a:pt x="735" y="737"/>
                  </a:lnTo>
                  <a:lnTo>
                    <a:pt x="735" y="736"/>
                  </a:lnTo>
                  <a:lnTo>
                    <a:pt x="734" y="736"/>
                  </a:lnTo>
                  <a:lnTo>
                    <a:pt x="732" y="735"/>
                  </a:lnTo>
                  <a:lnTo>
                    <a:pt x="730" y="735"/>
                  </a:lnTo>
                  <a:lnTo>
                    <a:pt x="729" y="734"/>
                  </a:lnTo>
                  <a:lnTo>
                    <a:pt x="728" y="732"/>
                  </a:lnTo>
                  <a:lnTo>
                    <a:pt x="726" y="729"/>
                  </a:lnTo>
                  <a:lnTo>
                    <a:pt x="724" y="729"/>
                  </a:lnTo>
                  <a:lnTo>
                    <a:pt x="722" y="728"/>
                  </a:lnTo>
                  <a:lnTo>
                    <a:pt x="722" y="726"/>
                  </a:lnTo>
                  <a:lnTo>
                    <a:pt x="720" y="725"/>
                  </a:lnTo>
                  <a:lnTo>
                    <a:pt x="718" y="724"/>
                  </a:lnTo>
                  <a:lnTo>
                    <a:pt x="717" y="723"/>
                  </a:lnTo>
                  <a:lnTo>
                    <a:pt x="716" y="722"/>
                  </a:lnTo>
                  <a:lnTo>
                    <a:pt x="716" y="719"/>
                  </a:lnTo>
                  <a:lnTo>
                    <a:pt x="718" y="719"/>
                  </a:lnTo>
                  <a:lnTo>
                    <a:pt x="721" y="719"/>
                  </a:lnTo>
                  <a:lnTo>
                    <a:pt x="721" y="718"/>
                  </a:lnTo>
                  <a:lnTo>
                    <a:pt x="721" y="716"/>
                  </a:lnTo>
                  <a:lnTo>
                    <a:pt x="721" y="714"/>
                  </a:lnTo>
                  <a:lnTo>
                    <a:pt x="720" y="713"/>
                  </a:lnTo>
                  <a:lnTo>
                    <a:pt x="721" y="711"/>
                  </a:lnTo>
                  <a:lnTo>
                    <a:pt x="721" y="707"/>
                  </a:lnTo>
                  <a:lnTo>
                    <a:pt x="720" y="711"/>
                  </a:lnTo>
                  <a:lnTo>
                    <a:pt x="718" y="713"/>
                  </a:lnTo>
                  <a:lnTo>
                    <a:pt x="716" y="713"/>
                  </a:lnTo>
                  <a:lnTo>
                    <a:pt x="714" y="713"/>
                  </a:lnTo>
                  <a:lnTo>
                    <a:pt x="712" y="712"/>
                  </a:lnTo>
                  <a:lnTo>
                    <a:pt x="711" y="711"/>
                  </a:lnTo>
                  <a:lnTo>
                    <a:pt x="709" y="710"/>
                  </a:lnTo>
                  <a:lnTo>
                    <a:pt x="708" y="710"/>
                  </a:lnTo>
                  <a:lnTo>
                    <a:pt x="708" y="707"/>
                  </a:lnTo>
                  <a:lnTo>
                    <a:pt x="706" y="706"/>
                  </a:lnTo>
                  <a:lnTo>
                    <a:pt x="705" y="706"/>
                  </a:lnTo>
                  <a:lnTo>
                    <a:pt x="703" y="707"/>
                  </a:lnTo>
                  <a:lnTo>
                    <a:pt x="702" y="708"/>
                  </a:lnTo>
                  <a:lnTo>
                    <a:pt x="702" y="707"/>
                  </a:lnTo>
                  <a:lnTo>
                    <a:pt x="700" y="706"/>
                  </a:lnTo>
                  <a:lnTo>
                    <a:pt x="699" y="705"/>
                  </a:lnTo>
                  <a:lnTo>
                    <a:pt x="698" y="702"/>
                  </a:lnTo>
                  <a:lnTo>
                    <a:pt x="698" y="699"/>
                  </a:lnTo>
                  <a:lnTo>
                    <a:pt x="697" y="697"/>
                  </a:lnTo>
                  <a:lnTo>
                    <a:pt x="696" y="695"/>
                  </a:lnTo>
                  <a:lnTo>
                    <a:pt x="696" y="694"/>
                  </a:lnTo>
                  <a:lnTo>
                    <a:pt x="697" y="693"/>
                  </a:lnTo>
                  <a:lnTo>
                    <a:pt x="697" y="691"/>
                  </a:lnTo>
                  <a:lnTo>
                    <a:pt x="699" y="693"/>
                  </a:lnTo>
                  <a:lnTo>
                    <a:pt x="699" y="691"/>
                  </a:lnTo>
                  <a:lnTo>
                    <a:pt x="699" y="694"/>
                  </a:lnTo>
                  <a:lnTo>
                    <a:pt x="700" y="694"/>
                  </a:lnTo>
                  <a:lnTo>
                    <a:pt x="702" y="694"/>
                  </a:lnTo>
                  <a:lnTo>
                    <a:pt x="702" y="691"/>
                  </a:lnTo>
                  <a:lnTo>
                    <a:pt x="703" y="689"/>
                  </a:lnTo>
                  <a:lnTo>
                    <a:pt x="704" y="690"/>
                  </a:lnTo>
                  <a:lnTo>
                    <a:pt x="705" y="691"/>
                  </a:lnTo>
                  <a:lnTo>
                    <a:pt x="705" y="690"/>
                  </a:lnTo>
                  <a:lnTo>
                    <a:pt x="705" y="689"/>
                  </a:lnTo>
                  <a:lnTo>
                    <a:pt x="704" y="687"/>
                  </a:lnTo>
                  <a:lnTo>
                    <a:pt x="705" y="687"/>
                  </a:lnTo>
                  <a:lnTo>
                    <a:pt x="704" y="683"/>
                  </a:lnTo>
                  <a:lnTo>
                    <a:pt x="705" y="682"/>
                  </a:lnTo>
                  <a:lnTo>
                    <a:pt x="706" y="679"/>
                  </a:lnTo>
                  <a:lnTo>
                    <a:pt x="706" y="678"/>
                  </a:lnTo>
                  <a:lnTo>
                    <a:pt x="708" y="677"/>
                  </a:lnTo>
                  <a:lnTo>
                    <a:pt x="709" y="679"/>
                  </a:lnTo>
                  <a:lnTo>
                    <a:pt x="710" y="681"/>
                  </a:lnTo>
                  <a:lnTo>
                    <a:pt x="709" y="682"/>
                  </a:lnTo>
                  <a:lnTo>
                    <a:pt x="710" y="684"/>
                  </a:lnTo>
                  <a:lnTo>
                    <a:pt x="710" y="687"/>
                  </a:lnTo>
                  <a:lnTo>
                    <a:pt x="712" y="687"/>
                  </a:lnTo>
                  <a:lnTo>
                    <a:pt x="712" y="685"/>
                  </a:lnTo>
                  <a:lnTo>
                    <a:pt x="714" y="690"/>
                  </a:lnTo>
                  <a:lnTo>
                    <a:pt x="711" y="689"/>
                  </a:lnTo>
                  <a:lnTo>
                    <a:pt x="709" y="690"/>
                  </a:lnTo>
                  <a:lnTo>
                    <a:pt x="710" y="691"/>
                  </a:lnTo>
                  <a:lnTo>
                    <a:pt x="710" y="693"/>
                  </a:lnTo>
                  <a:lnTo>
                    <a:pt x="712" y="693"/>
                  </a:lnTo>
                  <a:lnTo>
                    <a:pt x="712" y="691"/>
                  </a:lnTo>
                  <a:lnTo>
                    <a:pt x="714" y="691"/>
                  </a:lnTo>
                  <a:lnTo>
                    <a:pt x="716" y="690"/>
                  </a:lnTo>
                  <a:lnTo>
                    <a:pt x="717" y="690"/>
                  </a:lnTo>
                  <a:lnTo>
                    <a:pt x="717" y="693"/>
                  </a:lnTo>
                  <a:lnTo>
                    <a:pt x="718" y="694"/>
                  </a:lnTo>
                  <a:lnTo>
                    <a:pt x="721" y="695"/>
                  </a:lnTo>
                  <a:lnTo>
                    <a:pt x="721" y="696"/>
                  </a:lnTo>
                  <a:lnTo>
                    <a:pt x="723" y="696"/>
                  </a:lnTo>
                  <a:lnTo>
                    <a:pt x="723" y="695"/>
                  </a:lnTo>
                  <a:lnTo>
                    <a:pt x="724" y="694"/>
                  </a:lnTo>
                  <a:lnTo>
                    <a:pt x="726" y="691"/>
                  </a:lnTo>
                  <a:lnTo>
                    <a:pt x="726" y="690"/>
                  </a:lnTo>
                  <a:lnTo>
                    <a:pt x="726" y="688"/>
                  </a:lnTo>
                  <a:lnTo>
                    <a:pt x="723" y="687"/>
                  </a:lnTo>
                  <a:lnTo>
                    <a:pt x="726" y="684"/>
                  </a:lnTo>
                  <a:lnTo>
                    <a:pt x="727" y="682"/>
                  </a:lnTo>
                  <a:lnTo>
                    <a:pt x="724" y="678"/>
                  </a:lnTo>
                  <a:lnTo>
                    <a:pt x="723" y="677"/>
                  </a:lnTo>
                  <a:lnTo>
                    <a:pt x="720" y="676"/>
                  </a:lnTo>
                  <a:lnTo>
                    <a:pt x="715" y="676"/>
                  </a:lnTo>
                  <a:lnTo>
                    <a:pt x="711" y="676"/>
                  </a:lnTo>
                  <a:lnTo>
                    <a:pt x="708" y="676"/>
                  </a:lnTo>
                  <a:lnTo>
                    <a:pt x="705" y="677"/>
                  </a:lnTo>
                  <a:lnTo>
                    <a:pt x="704" y="677"/>
                  </a:lnTo>
                  <a:lnTo>
                    <a:pt x="703" y="677"/>
                  </a:lnTo>
                  <a:lnTo>
                    <a:pt x="702" y="677"/>
                  </a:lnTo>
                  <a:lnTo>
                    <a:pt x="700" y="678"/>
                  </a:lnTo>
                  <a:lnTo>
                    <a:pt x="698" y="676"/>
                  </a:lnTo>
                  <a:lnTo>
                    <a:pt x="696" y="673"/>
                  </a:lnTo>
                  <a:lnTo>
                    <a:pt x="693" y="672"/>
                  </a:lnTo>
                  <a:lnTo>
                    <a:pt x="692" y="672"/>
                  </a:lnTo>
                  <a:lnTo>
                    <a:pt x="690" y="672"/>
                  </a:lnTo>
                  <a:lnTo>
                    <a:pt x="687" y="672"/>
                  </a:lnTo>
                  <a:lnTo>
                    <a:pt x="686" y="672"/>
                  </a:lnTo>
                  <a:lnTo>
                    <a:pt x="687" y="673"/>
                  </a:lnTo>
                  <a:lnTo>
                    <a:pt x="687" y="675"/>
                  </a:lnTo>
                  <a:lnTo>
                    <a:pt x="690" y="675"/>
                  </a:lnTo>
                  <a:lnTo>
                    <a:pt x="691" y="675"/>
                  </a:lnTo>
                  <a:lnTo>
                    <a:pt x="690" y="676"/>
                  </a:lnTo>
                  <a:lnTo>
                    <a:pt x="690" y="677"/>
                  </a:lnTo>
                  <a:lnTo>
                    <a:pt x="686" y="677"/>
                  </a:lnTo>
                  <a:lnTo>
                    <a:pt x="684" y="678"/>
                  </a:lnTo>
                  <a:lnTo>
                    <a:pt x="681" y="682"/>
                  </a:lnTo>
                  <a:lnTo>
                    <a:pt x="680" y="683"/>
                  </a:lnTo>
                  <a:lnTo>
                    <a:pt x="679" y="682"/>
                  </a:lnTo>
                  <a:lnTo>
                    <a:pt x="678" y="681"/>
                  </a:lnTo>
                  <a:lnTo>
                    <a:pt x="676" y="681"/>
                  </a:lnTo>
                  <a:lnTo>
                    <a:pt x="673" y="682"/>
                  </a:lnTo>
                  <a:lnTo>
                    <a:pt x="671" y="681"/>
                  </a:lnTo>
                  <a:lnTo>
                    <a:pt x="671" y="679"/>
                  </a:lnTo>
                  <a:lnTo>
                    <a:pt x="669" y="678"/>
                  </a:lnTo>
                  <a:lnTo>
                    <a:pt x="668" y="678"/>
                  </a:lnTo>
                  <a:lnTo>
                    <a:pt x="665" y="678"/>
                  </a:lnTo>
                  <a:lnTo>
                    <a:pt x="664" y="679"/>
                  </a:lnTo>
                  <a:lnTo>
                    <a:pt x="662" y="679"/>
                  </a:lnTo>
                  <a:lnTo>
                    <a:pt x="662" y="681"/>
                  </a:lnTo>
                  <a:lnTo>
                    <a:pt x="661" y="681"/>
                  </a:lnTo>
                  <a:lnTo>
                    <a:pt x="659" y="684"/>
                  </a:lnTo>
                  <a:lnTo>
                    <a:pt x="656" y="684"/>
                  </a:lnTo>
                  <a:lnTo>
                    <a:pt x="655" y="683"/>
                  </a:lnTo>
                  <a:lnTo>
                    <a:pt x="655" y="682"/>
                  </a:lnTo>
                  <a:lnTo>
                    <a:pt x="651" y="681"/>
                  </a:lnTo>
                  <a:lnTo>
                    <a:pt x="650" y="682"/>
                  </a:lnTo>
                  <a:lnTo>
                    <a:pt x="649" y="684"/>
                  </a:lnTo>
                  <a:lnTo>
                    <a:pt x="647" y="684"/>
                  </a:lnTo>
                  <a:lnTo>
                    <a:pt x="647" y="683"/>
                  </a:lnTo>
                  <a:lnTo>
                    <a:pt x="646" y="682"/>
                  </a:lnTo>
                  <a:lnTo>
                    <a:pt x="645" y="681"/>
                  </a:lnTo>
                  <a:lnTo>
                    <a:pt x="645" y="678"/>
                  </a:lnTo>
                  <a:lnTo>
                    <a:pt x="644" y="675"/>
                  </a:lnTo>
                  <a:lnTo>
                    <a:pt x="644" y="673"/>
                  </a:lnTo>
                  <a:lnTo>
                    <a:pt x="643" y="672"/>
                  </a:lnTo>
                  <a:lnTo>
                    <a:pt x="641" y="672"/>
                  </a:lnTo>
                  <a:lnTo>
                    <a:pt x="639" y="673"/>
                  </a:lnTo>
                  <a:lnTo>
                    <a:pt x="637" y="673"/>
                  </a:lnTo>
                  <a:lnTo>
                    <a:pt x="626" y="676"/>
                  </a:lnTo>
                  <a:lnTo>
                    <a:pt x="621" y="677"/>
                  </a:lnTo>
                  <a:lnTo>
                    <a:pt x="619" y="677"/>
                  </a:lnTo>
                  <a:lnTo>
                    <a:pt x="616" y="678"/>
                  </a:lnTo>
                  <a:lnTo>
                    <a:pt x="614" y="679"/>
                  </a:lnTo>
                  <a:lnTo>
                    <a:pt x="611" y="679"/>
                  </a:lnTo>
                  <a:lnTo>
                    <a:pt x="605" y="679"/>
                  </a:lnTo>
                  <a:lnTo>
                    <a:pt x="602" y="681"/>
                  </a:lnTo>
                  <a:lnTo>
                    <a:pt x="600" y="683"/>
                  </a:lnTo>
                  <a:lnTo>
                    <a:pt x="594" y="683"/>
                  </a:lnTo>
                  <a:lnTo>
                    <a:pt x="592" y="681"/>
                  </a:lnTo>
                  <a:lnTo>
                    <a:pt x="588" y="681"/>
                  </a:lnTo>
                  <a:lnTo>
                    <a:pt x="584" y="682"/>
                  </a:lnTo>
                  <a:lnTo>
                    <a:pt x="574" y="682"/>
                  </a:lnTo>
                  <a:lnTo>
                    <a:pt x="572" y="682"/>
                  </a:lnTo>
                  <a:lnTo>
                    <a:pt x="572" y="683"/>
                  </a:lnTo>
                  <a:lnTo>
                    <a:pt x="572" y="688"/>
                  </a:lnTo>
                  <a:lnTo>
                    <a:pt x="573" y="687"/>
                  </a:lnTo>
                  <a:lnTo>
                    <a:pt x="574" y="688"/>
                  </a:lnTo>
                  <a:lnTo>
                    <a:pt x="574" y="690"/>
                  </a:lnTo>
                  <a:lnTo>
                    <a:pt x="575" y="691"/>
                  </a:lnTo>
                  <a:lnTo>
                    <a:pt x="575" y="690"/>
                  </a:lnTo>
                  <a:lnTo>
                    <a:pt x="576" y="690"/>
                  </a:lnTo>
                  <a:lnTo>
                    <a:pt x="578" y="691"/>
                  </a:lnTo>
                  <a:lnTo>
                    <a:pt x="579" y="690"/>
                  </a:lnTo>
                  <a:lnTo>
                    <a:pt x="580" y="690"/>
                  </a:lnTo>
                  <a:lnTo>
                    <a:pt x="582" y="690"/>
                  </a:lnTo>
                  <a:lnTo>
                    <a:pt x="585" y="690"/>
                  </a:lnTo>
                  <a:lnTo>
                    <a:pt x="585" y="691"/>
                  </a:lnTo>
                  <a:lnTo>
                    <a:pt x="586" y="690"/>
                  </a:lnTo>
                  <a:lnTo>
                    <a:pt x="587" y="690"/>
                  </a:lnTo>
                  <a:lnTo>
                    <a:pt x="588" y="694"/>
                  </a:lnTo>
                  <a:lnTo>
                    <a:pt x="588" y="691"/>
                  </a:lnTo>
                  <a:lnTo>
                    <a:pt x="591" y="693"/>
                  </a:lnTo>
                  <a:lnTo>
                    <a:pt x="591" y="694"/>
                  </a:lnTo>
                  <a:lnTo>
                    <a:pt x="591" y="695"/>
                  </a:lnTo>
                  <a:lnTo>
                    <a:pt x="592" y="695"/>
                  </a:lnTo>
                  <a:lnTo>
                    <a:pt x="591" y="696"/>
                  </a:lnTo>
                  <a:lnTo>
                    <a:pt x="593" y="697"/>
                  </a:lnTo>
                  <a:lnTo>
                    <a:pt x="597" y="699"/>
                  </a:lnTo>
                  <a:lnTo>
                    <a:pt x="597" y="701"/>
                  </a:lnTo>
                  <a:lnTo>
                    <a:pt x="596" y="701"/>
                  </a:lnTo>
                  <a:lnTo>
                    <a:pt x="596" y="705"/>
                  </a:lnTo>
                  <a:lnTo>
                    <a:pt x="596" y="707"/>
                  </a:lnTo>
                  <a:lnTo>
                    <a:pt x="597" y="707"/>
                  </a:lnTo>
                  <a:lnTo>
                    <a:pt x="596" y="711"/>
                  </a:lnTo>
                  <a:lnTo>
                    <a:pt x="596" y="713"/>
                  </a:lnTo>
                  <a:lnTo>
                    <a:pt x="597" y="714"/>
                  </a:lnTo>
                  <a:lnTo>
                    <a:pt x="594" y="716"/>
                  </a:lnTo>
                  <a:lnTo>
                    <a:pt x="591" y="717"/>
                  </a:lnTo>
                  <a:lnTo>
                    <a:pt x="590" y="718"/>
                  </a:lnTo>
                  <a:lnTo>
                    <a:pt x="587" y="718"/>
                  </a:lnTo>
                  <a:lnTo>
                    <a:pt x="586" y="719"/>
                  </a:lnTo>
                  <a:lnTo>
                    <a:pt x="585" y="719"/>
                  </a:lnTo>
                  <a:lnTo>
                    <a:pt x="580" y="719"/>
                  </a:lnTo>
                  <a:lnTo>
                    <a:pt x="582" y="720"/>
                  </a:lnTo>
                  <a:lnTo>
                    <a:pt x="586" y="723"/>
                  </a:lnTo>
                  <a:lnTo>
                    <a:pt x="587" y="723"/>
                  </a:lnTo>
                  <a:lnTo>
                    <a:pt x="588" y="723"/>
                  </a:lnTo>
                  <a:lnTo>
                    <a:pt x="592" y="723"/>
                  </a:lnTo>
                  <a:lnTo>
                    <a:pt x="606" y="723"/>
                  </a:lnTo>
                  <a:lnTo>
                    <a:pt x="606" y="722"/>
                  </a:lnTo>
                  <a:lnTo>
                    <a:pt x="610" y="722"/>
                  </a:lnTo>
                  <a:lnTo>
                    <a:pt x="610" y="724"/>
                  </a:lnTo>
                  <a:lnTo>
                    <a:pt x="612" y="724"/>
                  </a:lnTo>
                  <a:lnTo>
                    <a:pt x="616" y="724"/>
                  </a:lnTo>
                  <a:lnTo>
                    <a:pt x="623" y="725"/>
                  </a:lnTo>
                  <a:lnTo>
                    <a:pt x="626" y="726"/>
                  </a:lnTo>
                  <a:lnTo>
                    <a:pt x="628" y="726"/>
                  </a:lnTo>
                  <a:lnTo>
                    <a:pt x="631" y="725"/>
                  </a:lnTo>
                  <a:lnTo>
                    <a:pt x="631" y="723"/>
                  </a:lnTo>
                  <a:lnTo>
                    <a:pt x="631" y="722"/>
                  </a:lnTo>
                  <a:lnTo>
                    <a:pt x="628" y="722"/>
                  </a:lnTo>
                  <a:lnTo>
                    <a:pt x="627" y="722"/>
                  </a:lnTo>
                  <a:lnTo>
                    <a:pt x="627" y="720"/>
                  </a:lnTo>
                  <a:lnTo>
                    <a:pt x="626" y="718"/>
                  </a:lnTo>
                  <a:lnTo>
                    <a:pt x="627" y="717"/>
                  </a:lnTo>
                  <a:lnTo>
                    <a:pt x="629" y="717"/>
                  </a:lnTo>
                  <a:lnTo>
                    <a:pt x="633" y="717"/>
                  </a:lnTo>
                  <a:lnTo>
                    <a:pt x="635" y="717"/>
                  </a:lnTo>
                  <a:lnTo>
                    <a:pt x="637" y="718"/>
                  </a:lnTo>
                  <a:lnTo>
                    <a:pt x="637" y="717"/>
                  </a:lnTo>
                  <a:lnTo>
                    <a:pt x="640" y="717"/>
                  </a:lnTo>
                  <a:lnTo>
                    <a:pt x="639" y="719"/>
                  </a:lnTo>
                  <a:lnTo>
                    <a:pt x="640" y="720"/>
                  </a:lnTo>
                  <a:lnTo>
                    <a:pt x="641" y="720"/>
                  </a:lnTo>
                  <a:lnTo>
                    <a:pt x="644" y="719"/>
                  </a:lnTo>
                  <a:lnTo>
                    <a:pt x="644" y="717"/>
                  </a:lnTo>
                  <a:lnTo>
                    <a:pt x="647" y="717"/>
                  </a:lnTo>
                  <a:lnTo>
                    <a:pt x="649" y="716"/>
                  </a:lnTo>
                  <a:lnTo>
                    <a:pt x="650" y="714"/>
                  </a:lnTo>
                  <a:lnTo>
                    <a:pt x="649" y="713"/>
                  </a:lnTo>
                  <a:lnTo>
                    <a:pt x="651" y="713"/>
                  </a:lnTo>
                  <a:lnTo>
                    <a:pt x="652" y="713"/>
                  </a:lnTo>
                  <a:lnTo>
                    <a:pt x="653" y="713"/>
                  </a:lnTo>
                  <a:lnTo>
                    <a:pt x="653" y="712"/>
                  </a:lnTo>
                  <a:lnTo>
                    <a:pt x="655" y="712"/>
                  </a:lnTo>
                  <a:lnTo>
                    <a:pt x="656" y="711"/>
                  </a:lnTo>
                  <a:lnTo>
                    <a:pt x="657" y="711"/>
                  </a:lnTo>
                  <a:lnTo>
                    <a:pt x="658" y="711"/>
                  </a:lnTo>
                  <a:lnTo>
                    <a:pt x="658" y="710"/>
                  </a:lnTo>
                  <a:lnTo>
                    <a:pt x="663" y="710"/>
                  </a:lnTo>
                  <a:lnTo>
                    <a:pt x="663" y="711"/>
                  </a:lnTo>
                  <a:lnTo>
                    <a:pt x="664" y="711"/>
                  </a:lnTo>
                  <a:lnTo>
                    <a:pt x="665" y="711"/>
                  </a:lnTo>
                  <a:lnTo>
                    <a:pt x="668" y="711"/>
                  </a:lnTo>
                  <a:lnTo>
                    <a:pt x="668" y="712"/>
                  </a:lnTo>
                  <a:lnTo>
                    <a:pt x="671" y="714"/>
                  </a:lnTo>
                  <a:lnTo>
                    <a:pt x="671" y="716"/>
                  </a:lnTo>
                  <a:lnTo>
                    <a:pt x="674" y="716"/>
                  </a:lnTo>
                  <a:lnTo>
                    <a:pt x="674" y="718"/>
                  </a:lnTo>
                  <a:lnTo>
                    <a:pt x="675" y="718"/>
                  </a:lnTo>
                  <a:lnTo>
                    <a:pt x="676" y="718"/>
                  </a:lnTo>
                  <a:lnTo>
                    <a:pt x="676" y="719"/>
                  </a:lnTo>
                  <a:lnTo>
                    <a:pt x="678" y="719"/>
                  </a:lnTo>
                  <a:lnTo>
                    <a:pt x="678" y="720"/>
                  </a:lnTo>
                  <a:lnTo>
                    <a:pt x="678" y="722"/>
                  </a:lnTo>
                  <a:lnTo>
                    <a:pt x="680" y="720"/>
                  </a:lnTo>
                  <a:lnTo>
                    <a:pt x="679" y="725"/>
                  </a:lnTo>
                  <a:lnTo>
                    <a:pt x="681" y="725"/>
                  </a:lnTo>
                  <a:lnTo>
                    <a:pt x="685" y="726"/>
                  </a:lnTo>
                  <a:lnTo>
                    <a:pt x="686" y="730"/>
                  </a:lnTo>
                  <a:lnTo>
                    <a:pt x="687" y="730"/>
                  </a:lnTo>
                  <a:lnTo>
                    <a:pt x="688" y="730"/>
                  </a:lnTo>
                  <a:lnTo>
                    <a:pt x="690" y="729"/>
                  </a:lnTo>
                  <a:lnTo>
                    <a:pt x="691" y="726"/>
                  </a:lnTo>
                  <a:lnTo>
                    <a:pt x="694" y="726"/>
                  </a:lnTo>
                  <a:lnTo>
                    <a:pt x="694" y="728"/>
                  </a:lnTo>
                  <a:lnTo>
                    <a:pt x="697" y="728"/>
                  </a:lnTo>
                  <a:lnTo>
                    <a:pt x="700" y="728"/>
                  </a:lnTo>
                  <a:lnTo>
                    <a:pt x="702" y="730"/>
                  </a:lnTo>
                  <a:lnTo>
                    <a:pt x="702" y="731"/>
                  </a:lnTo>
                  <a:lnTo>
                    <a:pt x="702" y="732"/>
                  </a:lnTo>
                  <a:lnTo>
                    <a:pt x="703" y="735"/>
                  </a:lnTo>
                  <a:lnTo>
                    <a:pt x="704" y="736"/>
                  </a:lnTo>
                  <a:lnTo>
                    <a:pt x="705" y="736"/>
                  </a:lnTo>
                  <a:lnTo>
                    <a:pt x="705" y="738"/>
                  </a:lnTo>
                  <a:lnTo>
                    <a:pt x="704" y="741"/>
                  </a:lnTo>
                  <a:lnTo>
                    <a:pt x="705" y="743"/>
                  </a:lnTo>
                  <a:lnTo>
                    <a:pt x="703" y="744"/>
                  </a:lnTo>
                  <a:lnTo>
                    <a:pt x="704" y="744"/>
                  </a:lnTo>
                  <a:lnTo>
                    <a:pt x="705" y="744"/>
                  </a:lnTo>
                  <a:lnTo>
                    <a:pt x="705" y="746"/>
                  </a:lnTo>
                  <a:lnTo>
                    <a:pt x="710" y="749"/>
                  </a:lnTo>
                  <a:lnTo>
                    <a:pt x="711" y="749"/>
                  </a:lnTo>
                  <a:lnTo>
                    <a:pt x="712" y="749"/>
                  </a:lnTo>
                  <a:lnTo>
                    <a:pt x="714" y="749"/>
                  </a:lnTo>
                  <a:lnTo>
                    <a:pt x="714" y="748"/>
                  </a:lnTo>
                  <a:lnTo>
                    <a:pt x="716" y="748"/>
                  </a:lnTo>
                  <a:lnTo>
                    <a:pt x="716" y="749"/>
                  </a:lnTo>
                  <a:lnTo>
                    <a:pt x="718" y="749"/>
                  </a:lnTo>
                  <a:lnTo>
                    <a:pt x="718" y="752"/>
                  </a:lnTo>
                  <a:lnTo>
                    <a:pt x="721" y="755"/>
                  </a:lnTo>
                  <a:lnTo>
                    <a:pt x="721" y="756"/>
                  </a:lnTo>
                  <a:lnTo>
                    <a:pt x="720" y="756"/>
                  </a:lnTo>
                  <a:lnTo>
                    <a:pt x="718" y="758"/>
                  </a:lnTo>
                  <a:lnTo>
                    <a:pt x="718" y="760"/>
                  </a:lnTo>
                  <a:lnTo>
                    <a:pt x="717" y="761"/>
                  </a:lnTo>
                  <a:lnTo>
                    <a:pt x="720" y="760"/>
                  </a:lnTo>
                  <a:lnTo>
                    <a:pt x="720" y="759"/>
                  </a:lnTo>
                  <a:lnTo>
                    <a:pt x="722" y="759"/>
                  </a:lnTo>
                  <a:lnTo>
                    <a:pt x="722" y="760"/>
                  </a:lnTo>
                  <a:lnTo>
                    <a:pt x="723" y="760"/>
                  </a:lnTo>
                  <a:lnTo>
                    <a:pt x="723" y="761"/>
                  </a:lnTo>
                  <a:lnTo>
                    <a:pt x="724" y="762"/>
                  </a:lnTo>
                  <a:lnTo>
                    <a:pt x="723" y="762"/>
                  </a:lnTo>
                  <a:lnTo>
                    <a:pt x="723" y="765"/>
                  </a:lnTo>
                  <a:lnTo>
                    <a:pt x="724" y="768"/>
                  </a:lnTo>
                  <a:lnTo>
                    <a:pt x="724" y="771"/>
                  </a:lnTo>
                  <a:lnTo>
                    <a:pt x="726" y="771"/>
                  </a:lnTo>
                  <a:lnTo>
                    <a:pt x="727" y="773"/>
                  </a:lnTo>
                  <a:lnTo>
                    <a:pt x="727" y="772"/>
                  </a:lnTo>
                  <a:lnTo>
                    <a:pt x="728" y="773"/>
                  </a:lnTo>
                  <a:lnTo>
                    <a:pt x="730" y="774"/>
                  </a:lnTo>
                  <a:lnTo>
                    <a:pt x="730" y="777"/>
                  </a:lnTo>
                  <a:lnTo>
                    <a:pt x="727" y="774"/>
                  </a:lnTo>
                  <a:lnTo>
                    <a:pt x="728" y="777"/>
                  </a:lnTo>
                  <a:lnTo>
                    <a:pt x="728" y="778"/>
                  </a:lnTo>
                  <a:lnTo>
                    <a:pt x="726" y="777"/>
                  </a:lnTo>
                  <a:lnTo>
                    <a:pt x="723" y="774"/>
                  </a:lnTo>
                  <a:lnTo>
                    <a:pt x="723" y="778"/>
                  </a:lnTo>
                  <a:lnTo>
                    <a:pt x="723" y="779"/>
                  </a:lnTo>
                  <a:lnTo>
                    <a:pt x="724" y="779"/>
                  </a:lnTo>
                  <a:lnTo>
                    <a:pt x="726" y="780"/>
                  </a:lnTo>
                  <a:lnTo>
                    <a:pt x="726" y="783"/>
                  </a:lnTo>
                  <a:lnTo>
                    <a:pt x="727" y="784"/>
                  </a:lnTo>
                  <a:lnTo>
                    <a:pt x="727" y="785"/>
                  </a:lnTo>
                  <a:lnTo>
                    <a:pt x="728" y="785"/>
                  </a:lnTo>
                  <a:lnTo>
                    <a:pt x="728" y="783"/>
                  </a:lnTo>
                  <a:lnTo>
                    <a:pt x="729" y="784"/>
                  </a:lnTo>
                  <a:lnTo>
                    <a:pt x="730" y="786"/>
                  </a:lnTo>
                  <a:lnTo>
                    <a:pt x="732" y="789"/>
                  </a:lnTo>
                  <a:lnTo>
                    <a:pt x="733" y="790"/>
                  </a:lnTo>
                  <a:lnTo>
                    <a:pt x="735" y="791"/>
                  </a:lnTo>
                  <a:lnTo>
                    <a:pt x="735" y="792"/>
                  </a:lnTo>
                  <a:lnTo>
                    <a:pt x="736" y="794"/>
                  </a:lnTo>
                  <a:lnTo>
                    <a:pt x="739" y="795"/>
                  </a:lnTo>
                  <a:lnTo>
                    <a:pt x="739" y="797"/>
                  </a:lnTo>
                  <a:lnTo>
                    <a:pt x="738" y="798"/>
                  </a:lnTo>
                  <a:lnTo>
                    <a:pt x="736" y="801"/>
                  </a:lnTo>
                  <a:lnTo>
                    <a:pt x="738" y="802"/>
                  </a:lnTo>
                  <a:lnTo>
                    <a:pt x="736" y="804"/>
                  </a:lnTo>
                  <a:lnTo>
                    <a:pt x="735" y="806"/>
                  </a:lnTo>
                  <a:lnTo>
                    <a:pt x="733" y="806"/>
                  </a:lnTo>
                  <a:lnTo>
                    <a:pt x="732" y="807"/>
                  </a:lnTo>
                  <a:lnTo>
                    <a:pt x="730" y="806"/>
                  </a:lnTo>
                  <a:lnTo>
                    <a:pt x="729" y="806"/>
                  </a:lnTo>
                  <a:lnTo>
                    <a:pt x="728" y="806"/>
                  </a:lnTo>
                  <a:lnTo>
                    <a:pt x="727" y="806"/>
                  </a:lnTo>
                  <a:lnTo>
                    <a:pt x="726" y="803"/>
                  </a:lnTo>
                  <a:lnTo>
                    <a:pt x="724" y="802"/>
                  </a:lnTo>
                  <a:lnTo>
                    <a:pt x="723" y="802"/>
                  </a:lnTo>
                  <a:lnTo>
                    <a:pt x="721" y="801"/>
                  </a:lnTo>
                  <a:lnTo>
                    <a:pt x="720" y="801"/>
                  </a:lnTo>
                  <a:lnTo>
                    <a:pt x="720" y="800"/>
                  </a:lnTo>
                  <a:lnTo>
                    <a:pt x="718" y="798"/>
                  </a:lnTo>
                  <a:lnTo>
                    <a:pt x="715" y="797"/>
                  </a:lnTo>
                  <a:lnTo>
                    <a:pt x="714" y="797"/>
                  </a:lnTo>
                  <a:lnTo>
                    <a:pt x="712" y="797"/>
                  </a:lnTo>
                  <a:lnTo>
                    <a:pt x="712" y="796"/>
                  </a:lnTo>
                  <a:lnTo>
                    <a:pt x="710" y="795"/>
                  </a:lnTo>
                  <a:lnTo>
                    <a:pt x="709" y="792"/>
                  </a:lnTo>
                  <a:lnTo>
                    <a:pt x="709" y="790"/>
                  </a:lnTo>
                  <a:lnTo>
                    <a:pt x="708" y="790"/>
                  </a:lnTo>
                  <a:lnTo>
                    <a:pt x="708" y="791"/>
                  </a:lnTo>
                  <a:lnTo>
                    <a:pt x="706" y="792"/>
                  </a:lnTo>
                  <a:lnTo>
                    <a:pt x="709" y="794"/>
                  </a:lnTo>
                  <a:lnTo>
                    <a:pt x="709" y="795"/>
                  </a:lnTo>
                  <a:lnTo>
                    <a:pt x="705" y="792"/>
                  </a:lnTo>
                  <a:lnTo>
                    <a:pt x="706" y="795"/>
                  </a:lnTo>
                  <a:lnTo>
                    <a:pt x="706" y="796"/>
                  </a:lnTo>
                  <a:lnTo>
                    <a:pt x="705" y="796"/>
                  </a:lnTo>
                  <a:lnTo>
                    <a:pt x="703" y="798"/>
                  </a:lnTo>
                  <a:lnTo>
                    <a:pt x="702" y="798"/>
                  </a:lnTo>
                  <a:lnTo>
                    <a:pt x="700" y="798"/>
                  </a:lnTo>
                  <a:lnTo>
                    <a:pt x="699" y="797"/>
                  </a:lnTo>
                  <a:lnTo>
                    <a:pt x="700" y="796"/>
                  </a:lnTo>
                  <a:lnTo>
                    <a:pt x="704" y="796"/>
                  </a:lnTo>
                  <a:lnTo>
                    <a:pt x="703" y="795"/>
                  </a:lnTo>
                  <a:lnTo>
                    <a:pt x="703" y="794"/>
                  </a:lnTo>
                  <a:lnTo>
                    <a:pt x="702" y="792"/>
                  </a:lnTo>
                  <a:lnTo>
                    <a:pt x="700" y="790"/>
                  </a:lnTo>
                  <a:lnTo>
                    <a:pt x="700" y="791"/>
                  </a:lnTo>
                  <a:lnTo>
                    <a:pt x="699" y="790"/>
                  </a:lnTo>
                  <a:lnTo>
                    <a:pt x="697" y="792"/>
                  </a:lnTo>
                  <a:lnTo>
                    <a:pt x="694" y="791"/>
                  </a:lnTo>
                  <a:lnTo>
                    <a:pt x="697" y="790"/>
                  </a:lnTo>
                  <a:lnTo>
                    <a:pt x="696" y="789"/>
                  </a:lnTo>
                  <a:lnTo>
                    <a:pt x="693" y="788"/>
                  </a:lnTo>
                  <a:lnTo>
                    <a:pt x="692" y="788"/>
                  </a:lnTo>
                  <a:lnTo>
                    <a:pt x="690" y="786"/>
                  </a:lnTo>
                  <a:lnTo>
                    <a:pt x="690" y="788"/>
                  </a:lnTo>
                  <a:lnTo>
                    <a:pt x="687" y="788"/>
                  </a:lnTo>
                  <a:lnTo>
                    <a:pt x="685" y="786"/>
                  </a:lnTo>
                  <a:lnTo>
                    <a:pt x="684" y="786"/>
                  </a:lnTo>
                  <a:lnTo>
                    <a:pt x="685" y="785"/>
                  </a:lnTo>
                  <a:lnTo>
                    <a:pt x="684" y="783"/>
                  </a:lnTo>
                  <a:lnTo>
                    <a:pt x="682" y="784"/>
                  </a:lnTo>
                  <a:lnTo>
                    <a:pt x="681" y="784"/>
                  </a:lnTo>
                  <a:lnTo>
                    <a:pt x="680" y="784"/>
                  </a:lnTo>
                  <a:lnTo>
                    <a:pt x="680" y="785"/>
                  </a:lnTo>
                  <a:lnTo>
                    <a:pt x="678" y="785"/>
                  </a:lnTo>
                  <a:lnTo>
                    <a:pt x="678" y="786"/>
                  </a:lnTo>
                  <a:lnTo>
                    <a:pt x="679" y="788"/>
                  </a:lnTo>
                  <a:lnTo>
                    <a:pt x="680" y="789"/>
                  </a:lnTo>
                  <a:lnTo>
                    <a:pt x="681" y="790"/>
                  </a:lnTo>
                  <a:lnTo>
                    <a:pt x="682" y="791"/>
                  </a:lnTo>
                  <a:lnTo>
                    <a:pt x="685" y="794"/>
                  </a:lnTo>
                  <a:lnTo>
                    <a:pt x="684" y="794"/>
                  </a:lnTo>
                  <a:lnTo>
                    <a:pt x="682" y="792"/>
                  </a:lnTo>
                  <a:lnTo>
                    <a:pt x="681" y="791"/>
                  </a:lnTo>
                  <a:lnTo>
                    <a:pt x="680" y="792"/>
                  </a:lnTo>
                  <a:lnTo>
                    <a:pt x="678" y="792"/>
                  </a:lnTo>
                  <a:lnTo>
                    <a:pt x="676" y="792"/>
                  </a:lnTo>
                  <a:lnTo>
                    <a:pt x="675" y="792"/>
                  </a:lnTo>
                  <a:lnTo>
                    <a:pt x="675" y="794"/>
                  </a:lnTo>
                  <a:lnTo>
                    <a:pt x="674" y="794"/>
                  </a:lnTo>
                  <a:lnTo>
                    <a:pt x="671" y="797"/>
                  </a:lnTo>
                  <a:lnTo>
                    <a:pt x="669" y="798"/>
                  </a:lnTo>
                  <a:lnTo>
                    <a:pt x="668" y="798"/>
                  </a:lnTo>
                  <a:lnTo>
                    <a:pt x="665" y="800"/>
                  </a:lnTo>
                  <a:lnTo>
                    <a:pt x="664" y="798"/>
                  </a:lnTo>
                  <a:lnTo>
                    <a:pt x="663" y="798"/>
                  </a:lnTo>
                  <a:lnTo>
                    <a:pt x="663" y="800"/>
                  </a:lnTo>
                  <a:lnTo>
                    <a:pt x="664" y="801"/>
                  </a:lnTo>
                  <a:lnTo>
                    <a:pt x="665" y="802"/>
                  </a:lnTo>
                  <a:lnTo>
                    <a:pt x="669" y="803"/>
                  </a:lnTo>
                  <a:lnTo>
                    <a:pt x="669" y="804"/>
                  </a:lnTo>
                  <a:lnTo>
                    <a:pt x="669" y="806"/>
                  </a:lnTo>
                  <a:lnTo>
                    <a:pt x="668" y="806"/>
                  </a:lnTo>
                  <a:lnTo>
                    <a:pt x="663" y="803"/>
                  </a:lnTo>
                  <a:lnTo>
                    <a:pt x="663" y="806"/>
                  </a:lnTo>
                  <a:lnTo>
                    <a:pt x="662" y="806"/>
                  </a:lnTo>
                  <a:lnTo>
                    <a:pt x="661" y="804"/>
                  </a:lnTo>
                  <a:lnTo>
                    <a:pt x="657" y="806"/>
                  </a:lnTo>
                  <a:lnTo>
                    <a:pt x="656" y="803"/>
                  </a:lnTo>
                  <a:lnTo>
                    <a:pt x="653" y="803"/>
                  </a:lnTo>
                  <a:lnTo>
                    <a:pt x="652" y="804"/>
                  </a:lnTo>
                  <a:lnTo>
                    <a:pt x="651" y="804"/>
                  </a:lnTo>
                  <a:lnTo>
                    <a:pt x="650" y="802"/>
                  </a:lnTo>
                  <a:lnTo>
                    <a:pt x="645" y="801"/>
                  </a:lnTo>
                  <a:lnTo>
                    <a:pt x="644" y="801"/>
                  </a:lnTo>
                  <a:lnTo>
                    <a:pt x="643" y="802"/>
                  </a:lnTo>
                  <a:lnTo>
                    <a:pt x="643" y="803"/>
                  </a:lnTo>
                  <a:lnTo>
                    <a:pt x="643" y="804"/>
                  </a:lnTo>
                  <a:lnTo>
                    <a:pt x="644" y="807"/>
                  </a:lnTo>
                  <a:lnTo>
                    <a:pt x="645" y="808"/>
                  </a:lnTo>
                  <a:lnTo>
                    <a:pt x="645" y="809"/>
                  </a:lnTo>
                  <a:lnTo>
                    <a:pt x="644" y="809"/>
                  </a:lnTo>
                  <a:lnTo>
                    <a:pt x="643" y="808"/>
                  </a:lnTo>
                  <a:lnTo>
                    <a:pt x="641" y="808"/>
                  </a:lnTo>
                  <a:lnTo>
                    <a:pt x="641" y="809"/>
                  </a:lnTo>
                  <a:lnTo>
                    <a:pt x="639" y="808"/>
                  </a:lnTo>
                  <a:lnTo>
                    <a:pt x="637" y="812"/>
                  </a:lnTo>
                  <a:lnTo>
                    <a:pt x="635" y="809"/>
                  </a:lnTo>
                  <a:lnTo>
                    <a:pt x="634" y="809"/>
                  </a:lnTo>
                  <a:lnTo>
                    <a:pt x="632" y="810"/>
                  </a:lnTo>
                  <a:lnTo>
                    <a:pt x="631" y="810"/>
                  </a:lnTo>
                  <a:lnTo>
                    <a:pt x="631" y="809"/>
                  </a:lnTo>
                  <a:lnTo>
                    <a:pt x="631" y="808"/>
                  </a:lnTo>
                  <a:lnTo>
                    <a:pt x="629" y="804"/>
                  </a:lnTo>
                  <a:lnTo>
                    <a:pt x="631" y="802"/>
                  </a:lnTo>
                  <a:lnTo>
                    <a:pt x="634" y="803"/>
                  </a:lnTo>
                  <a:lnTo>
                    <a:pt x="634" y="801"/>
                  </a:lnTo>
                  <a:lnTo>
                    <a:pt x="635" y="798"/>
                  </a:lnTo>
                  <a:lnTo>
                    <a:pt x="634" y="797"/>
                  </a:lnTo>
                  <a:lnTo>
                    <a:pt x="633" y="798"/>
                  </a:lnTo>
                  <a:lnTo>
                    <a:pt x="632" y="802"/>
                  </a:lnTo>
                  <a:lnTo>
                    <a:pt x="629" y="798"/>
                  </a:lnTo>
                  <a:lnTo>
                    <a:pt x="627" y="797"/>
                  </a:lnTo>
                  <a:lnTo>
                    <a:pt x="627" y="795"/>
                  </a:lnTo>
                  <a:lnTo>
                    <a:pt x="625" y="796"/>
                  </a:lnTo>
                  <a:lnTo>
                    <a:pt x="623" y="792"/>
                  </a:lnTo>
                  <a:lnTo>
                    <a:pt x="625" y="790"/>
                  </a:lnTo>
                  <a:lnTo>
                    <a:pt x="627" y="791"/>
                  </a:lnTo>
                  <a:lnTo>
                    <a:pt x="627" y="790"/>
                  </a:lnTo>
                  <a:lnTo>
                    <a:pt x="628" y="790"/>
                  </a:lnTo>
                  <a:lnTo>
                    <a:pt x="629" y="790"/>
                  </a:lnTo>
                  <a:lnTo>
                    <a:pt x="635" y="791"/>
                  </a:lnTo>
                  <a:lnTo>
                    <a:pt x="635" y="790"/>
                  </a:lnTo>
                  <a:lnTo>
                    <a:pt x="634" y="790"/>
                  </a:lnTo>
                  <a:lnTo>
                    <a:pt x="634" y="789"/>
                  </a:lnTo>
                  <a:lnTo>
                    <a:pt x="637" y="789"/>
                  </a:lnTo>
                  <a:lnTo>
                    <a:pt x="637" y="786"/>
                  </a:lnTo>
                  <a:lnTo>
                    <a:pt x="639" y="785"/>
                  </a:lnTo>
                  <a:lnTo>
                    <a:pt x="641" y="785"/>
                  </a:lnTo>
                  <a:lnTo>
                    <a:pt x="640" y="782"/>
                  </a:lnTo>
                  <a:lnTo>
                    <a:pt x="639" y="780"/>
                  </a:lnTo>
                  <a:lnTo>
                    <a:pt x="640" y="778"/>
                  </a:lnTo>
                  <a:lnTo>
                    <a:pt x="640" y="777"/>
                  </a:lnTo>
                  <a:lnTo>
                    <a:pt x="641" y="774"/>
                  </a:lnTo>
                  <a:lnTo>
                    <a:pt x="643" y="771"/>
                  </a:lnTo>
                  <a:lnTo>
                    <a:pt x="643" y="770"/>
                  </a:lnTo>
                  <a:lnTo>
                    <a:pt x="644" y="770"/>
                  </a:lnTo>
                  <a:lnTo>
                    <a:pt x="645" y="768"/>
                  </a:lnTo>
                  <a:lnTo>
                    <a:pt x="646" y="767"/>
                  </a:lnTo>
                  <a:lnTo>
                    <a:pt x="646" y="766"/>
                  </a:lnTo>
                  <a:lnTo>
                    <a:pt x="645" y="766"/>
                  </a:lnTo>
                  <a:lnTo>
                    <a:pt x="643" y="767"/>
                  </a:lnTo>
                  <a:lnTo>
                    <a:pt x="641" y="768"/>
                  </a:lnTo>
                  <a:lnTo>
                    <a:pt x="641" y="765"/>
                  </a:lnTo>
                  <a:lnTo>
                    <a:pt x="638" y="765"/>
                  </a:lnTo>
                  <a:lnTo>
                    <a:pt x="635" y="765"/>
                  </a:lnTo>
                  <a:lnTo>
                    <a:pt x="633" y="764"/>
                  </a:lnTo>
                  <a:lnTo>
                    <a:pt x="634" y="760"/>
                  </a:lnTo>
                  <a:lnTo>
                    <a:pt x="634" y="759"/>
                  </a:lnTo>
                  <a:lnTo>
                    <a:pt x="635" y="759"/>
                  </a:lnTo>
                  <a:lnTo>
                    <a:pt x="638" y="760"/>
                  </a:lnTo>
                  <a:lnTo>
                    <a:pt x="639" y="759"/>
                  </a:lnTo>
                  <a:lnTo>
                    <a:pt x="640" y="759"/>
                  </a:lnTo>
                  <a:lnTo>
                    <a:pt x="639" y="758"/>
                  </a:lnTo>
                  <a:lnTo>
                    <a:pt x="638" y="758"/>
                  </a:lnTo>
                  <a:lnTo>
                    <a:pt x="638" y="755"/>
                  </a:lnTo>
                  <a:lnTo>
                    <a:pt x="637" y="755"/>
                  </a:lnTo>
                  <a:lnTo>
                    <a:pt x="637" y="754"/>
                  </a:lnTo>
                  <a:lnTo>
                    <a:pt x="638" y="753"/>
                  </a:lnTo>
                  <a:lnTo>
                    <a:pt x="638" y="754"/>
                  </a:lnTo>
                  <a:lnTo>
                    <a:pt x="638" y="752"/>
                  </a:lnTo>
                  <a:lnTo>
                    <a:pt x="638" y="750"/>
                  </a:lnTo>
                  <a:lnTo>
                    <a:pt x="638" y="748"/>
                  </a:lnTo>
                  <a:lnTo>
                    <a:pt x="639" y="748"/>
                  </a:lnTo>
                  <a:lnTo>
                    <a:pt x="640" y="748"/>
                  </a:lnTo>
                  <a:lnTo>
                    <a:pt x="643" y="748"/>
                  </a:lnTo>
                  <a:lnTo>
                    <a:pt x="640" y="747"/>
                  </a:lnTo>
                  <a:lnTo>
                    <a:pt x="638" y="746"/>
                  </a:lnTo>
                  <a:lnTo>
                    <a:pt x="638" y="743"/>
                  </a:lnTo>
                  <a:lnTo>
                    <a:pt x="635" y="741"/>
                  </a:lnTo>
                  <a:lnTo>
                    <a:pt x="635" y="740"/>
                  </a:lnTo>
                  <a:lnTo>
                    <a:pt x="634" y="738"/>
                  </a:lnTo>
                  <a:lnTo>
                    <a:pt x="635" y="737"/>
                  </a:lnTo>
                  <a:lnTo>
                    <a:pt x="637" y="736"/>
                  </a:lnTo>
                  <a:lnTo>
                    <a:pt x="638" y="736"/>
                  </a:lnTo>
                  <a:lnTo>
                    <a:pt x="638" y="735"/>
                  </a:lnTo>
                  <a:lnTo>
                    <a:pt x="634" y="734"/>
                  </a:lnTo>
                  <a:lnTo>
                    <a:pt x="632" y="734"/>
                  </a:lnTo>
                  <a:lnTo>
                    <a:pt x="632" y="735"/>
                  </a:lnTo>
                  <a:lnTo>
                    <a:pt x="632" y="737"/>
                  </a:lnTo>
                  <a:lnTo>
                    <a:pt x="631" y="737"/>
                  </a:lnTo>
                  <a:lnTo>
                    <a:pt x="629" y="737"/>
                  </a:lnTo>
                  <a:lnTo>
                    <a:pt x="628" y="736"/>
                  </a:lnTo>
                  <a:lnTo>
                    <a:pt x="628" y="732"/>
                  </a:lnTo>
                  <a:lnTo>
                    <a:pt x="625" y="731"/>
                  </a:lnTo>
                  <a:lnTo>
                    <a:pt x="617" y="730"/>
                  </a:lnTo>
                  <a:lnTo>
                    <a:pt x="610" y="729"/>
                  </a:lnTo>
                  <a:lnTo>
                    <a:pt x="606" y="729"/>
                  </a:lnTo>
                  <a:lnTo>
                    <a:pt x="604" y="728"/>
                  </a:lnTo>
                  <a:lnTo>
                    <a:pt x="600" y="728"/>
                  </a:lnTo>
                  <a:lnTo>
                    <a:pt x="598" y="728"/>
                  </a:lnTo>
                  <a:lnTo>
                    <a:pt x="596" y="728"/>
                  </a:lnTo>
                  <a:lnTo>
                    <a:pt x="594" y="729"/>
                  </a:lnTo>
                  <a:lnTo>
                    <a:pt x="593" y="730"/>
                  </a:lnTo>
                  <a:lnTo>
                    <a:pt x="596" y="732"/>
                  </a:lnTo>
                  <a:lnTo>
                    <a:pt x="593" y="732"/>
                  </a:lnTo>
                  <a:lnTo>
                    <a:pt x="592" y="732"/>
                  </a:lnTo>
                  <a:lnTo>
                    <a:pt x="591" y="731"/>
                  </a:lnTo>
                  <a:lnTo>
                    <a:pt x="588" y="732"/>
                  </a:lnTo>
                  <a:lnTo>
                    <a:pt x="587" y="732"/>
                  </a:lnTo>
                  <a:lnTo>
                    <a:pt x="586" y="731"/>
                  </a:lnTo>
                  <a:lnTo>
                    <a:pt x="585" y="732"/>
                  </a:lnTo>
                  <a:lnTo>
                    <a:pt x="586" y="735"/>
                  </a:lnTo>
                  <a:lnTo>
                    <a:pt x="586" y="736"/>
                  </a:lnTo>
                  <a:lnTo>
                    <a:pt x="585" y="736"/>
                  </a:lnTo>
                  <a:lnTo>
                    <a:pt x="582" y="736"/>
                  </a:lnTo>
                  <a:lnTo>
                    <a:pt x="580" y="736"/>
                  </a:lnTo>
                  <a:lnTo>
                    <a:pt x="579" y="735"/>
                  </a:lnTo>
                  <a:lnTo>
                    <a:pt x="575" y="736"/>
                  </a:lnTo>
                  <a:lnTo>
                    <a:pt x="574" y="737"/>
                  </a:lnTo>
                  <a:lnTo>
                    <a:pt x="574" y="738"/>
                  </a:lnTo>
                  <a:lnTo>
                    <a:pt x="573" y="740"/>
                  </a:lnTo>
                  <a:lnTo>
                    <a:pt x="572" y="740"/>
                  </a:lnTo>
                  <a:lnTo>
                    <a:pt x="570" y="741"/>
                  </a:lnTo>
                  <a:lnTo>
                    <a:pt x="569" y="747"/>
                  </a:lnTo>
                  <a:lnTo>
                    <a:pt x="568" y="747"/>
                  </a:lnTo>
                  <a:lnTo>
                    <a:pt x="567" y="748"/>
                  </a:lnTo>
                  <a:lnTo>
                    <a:pt x="564" y="748"/>
                  </a:lnTo>
                  <a:lnTo>
                    <a:pt x="564" y="747"/>
                  </a:lnTo>
                  <a:lnTo>
                    <a:pt x="561" y="748"/>
                  </a:lnTo>
                  <a:lnTo>
                    <a:pt x="562" y="744"/>
                  </a:lnTo>
                  <a:lnTo>
                    <a:pt x="558" y="744"/>
                  </a:lnTo>
                  <a:lnTo>
                    <a:pt x="557" y="742"/>
                  </a:lnTo>
                  <a:lnTo>
                    <a:pt x="555" y="741"/>
                  </a:lnTo>
                  <a:lnTo>
                    <a:pt x="553" y="741"/>
                  </a:lnTo>
                  <a:lnTo>
                    <a:pt x="552" y="740"/>
                  </a:lnTo>
                  <a:lnTo>
                    <a:pt x="547" y="741"/>
                  </a:lnTo>
                  <a:lnTo>
                    <a:pt x="544" y="742"/>
                  </a:lnTo>
                  <a:lnTo>
                    <a:pt x="539" y="743"/>
                  </a:lnTo>
                  <a:lnTo>
                    <a:pt x="538" y="744"/>
                  </a:lnTo>
                  <a:lnTo>
                    <a:pt x="537" y="746"/>
                  </a:lnTo>
                  <a:lnTo>
                    <a:pt x="541" y="747"/>
                  </a:lnTo>
                  <a:lnTo>
                    <a:pt x="543" y="746"/>
                  </a:lnTo>
                  <a:lnTo>
                    <a:pt x="544" y="744"/>
                  </a:lnTo>
                  <a:lnTo>
                    <a:pt x="549" y="747"/>
                  </a:lnTo>
                  <a:lnTo>
                    <a:pt x="549" y="748"/>
                  </a:lnTo>
                  <a:lnTo>
                    <a:pt x="547" y="749"/>
                  </a:lnTo>
                  <a:lnTo>
                    <a:pt x="545" y="752"/>
                  </a:lnTo>
                  <a:lnTo>
                    <a:pt x="547" y="753"/>
                  </a:lnTo>
                  <a:lnTo>
                    <a:pt x="547" y="758"/>
                  </a:lnTo>
                  <a:lnTo>
                    <a:pt x="547" y="760"/>
                  </a:lnTo>
                  <a:lnTo>
                    <a:pt x="546" y="761"/>
                  </a:lnTo>
                  <a:lnTo>
                    <a:pt x="547" y="761"/>
                  </a:lnTo>
                  <a:lnTo>
                    <a:pt x="549" y="760"/>
                  </a:lnTo>
                  <a:lnTo>
                    <a:pt x="550" y="761"/>
                  </a:lnTo>
                  <a:lnTo>
                    <a:pt x="549" y="765"/>
                  </a:lnTo>
                  <a:lnTo>
                    <a:pt x="549" y="767"/>
                  </a:lnTo>
                  <a:lnTo>
                    <a:pt x="547" y="767"/>
                  </a:lnTo>
                  <a:lnTo>
                    <a:pt x="545" y="766"/>
                  </a:lnTo>
                  <a:lnTo>
                    <a:pt x="544" y="766"/>
                  </a:lnTo>
                  <a:lnTo>
                    <a:pt x="544" y="768"/>
                  </a:lnTo>
                  <a:lnTo>
                    <a:pt x="546" y="768"/>
                  </a:lnTo>
                  <a:lnTo>
                    <a:pt x="547" y="770"/>
                  </a:lnTo>
                  <a:lnTo>
                    <a:pt x="549" y="772"/>
                  </a:lnTo>
                  <a:lnTo>
                    <a:pt x="549" y="773"/>
                  </a:lnTo>
                  <a:lnTo>
                    <a:pt x="547" y="774"/>
                  </a:lnTo>
                  <a:lnTo>
                    <a:pt x="546" y="776"/>
                  </a:lnTo>
                  <a:lnTo>
                    <a:pt x="544" y="774"/>
                  </a:lnTo>
                  <a:lnTo>
                    <a:pt x="543" y="773"/>
                  </a:lnTo>
                  <a:lnTo>
                    <a:pt x="539" y="773"/>
                  </a:lnTo>
                  <a:lnTo>
                    <a:pt x="539" y="774"/>
                  </a:lnTo>
                  <a:lnTo>
                    <a:pt x="538" y="776"/>
                  </a:lnTo>
                  <a:lnTo>
                    <a:pt x="538" y="777"/>
                  </a:lnTo>
                  <a:lnTo>
                    <a:pt x="539" y="777"/>
                  </a:lnTo>
                  <a:lnTo>
                    <a:pt x="541" y="776"/>
                  </a:lnTo>
                  <a:lnTo>
                    <a:pt x="544" y="776"/>
                  </a:lnTo>
                  <a:lnTo>
                    <a:pt x="545" y="776"/>
                  </a:lnTo>
                  <a:lnTo>
                    <a:pt x="545" y="777"/>
                  </a:lnTo>
                  <a:lnTo>
                    <a:pt x="546" y="777"/>
                  </a:lnTo>
                  <a:lnTo>
                    <a:pt x="546" y="778"/>
                  </a:lnTo>
                  <a:lnTo>
                    <a:pt x="543" y="779"/>
                  </a:lnTo>
                  <a:lnTo>
                    <a:pt x="540" y="782"/>
                  </a:lnTo>
                  <a:lnTo>
                    <a:pt x="539" y="780"/>
                  </a:lnTo>
                  <a:lnTo>
                    <a:pt x="539" y="782"/>
                  </a:lnTo>
                  <a:lnTo>
                    <a:pt x="540" y="783"/>
                  </a:lnTo>
                  <a:lnTo>
                    <a:pt x="537" y="784"/>
                  </a:lnTo>
                  <a:lnTo>
                    <a:pt x="539" y="785"/>
                  </a:lnTo>
                  <a:lnTo>
                    <a:pt x="540" y="786"/>
                  </a:lnTo>
                  <a:lnTo>
                    <a:pt x="540" y="788"/>
                  </a:lnTo>
                  <a:lnTo>
                    <a:pt x="540" y="789"/>
                  </a:lnTo>
                  <a:lnTo>
                    <a:pt x="539" y="789"/>
                  </a:lnTo>
                  <a:lnTo>
                    <a:pt x="538" y="788"/>
                  </a:lnTo>
                  <a:lnTo>
                    <a:pt x="535" y="788"/>
                  </a:lnTo>
                  <a:lnTo>
                    <a:pt x="534" y="785"/>
                  </a:lnTo>
                  <a:lnTo>
                    <a:pt x="534" y="783"/>
                  </a:lnTo>
                  <a:lnTo>
                    <a:pt x="533" y="783"/>
                  </a:lnTo>
                  <a:lnTo>
                    <a:pt x="533" y="784"/>
                  </a:lnTo>
                  <a:lnTo>
                    <a:pt x="533" y="785"/>
                  </a:lnTo>
                  <a:lnTo>
                    <a:pt x="532" y="785"/>
                  </a:lnTo>
                  <a:lnTo>
                    <a:pt x="532" y="784"/>
                  </a:lnTo>
                  <a:lnTo>
                    <a:pt x="528" y="786"/>
                  </a:lnTo>
                  <a:lnTo>
                    <a:pt x="528" y="785"/>
                  </a:lnTo>
                  <a:lnTo>
                    <a:pt x="527" y="784"/>
                  </a:lnTo>
                  <a:lnTo>
                    <a:pt x="527" y="783"/>
                  </a:lnTo>
                  <a:lnTo>
                    <a:pt x="528" y="782"/>
                  </a:lnTo>
                  <a:lnTo>
                    <a:pt x="525" y="779"/>
                  </a:lnTo>
                  <a:lnTo>
                    <a:pt x="527" y="779"/>
                  </a:lnTo>
                  <a:lnTo>
                    <a:pt x="528" y="780"/>
                  </a:lnTo>
                  <a:lnTo>
                    <a:pt x="529" y="779"/>
                  </a:lnTo>
                  <a:lnTo>
                    <a:pt x="529" y="780"/>
                  </a:lnTo>
                  <a:lnTo>
                    <a:pt x="531" y="782"/>
                  </a:lnTo>
                  <a:lnTo>
                    <a:pt x="533" y="782"/>
                  </a:lnTo>
                  <a:lnTo>
                    <a:pt x="532" y="780"/>
                  </a:lnTo>
                  <a:lnTo>
                    <a:pt x="531" y="779"/>
                  </a:lnTo>
                  <a:lnTo>
                    <a:pt x="529" y="777"/>
                  </a:lnTo>
                  <a:lnTo>
                    <a:pt x="528" y="777"/>
                  </a:lnTo>
                  <a:lnTo>
                    <a:pt x="527" y="777"/>
                  </a:lnTo>
                  <a:lnTo>
                    <a:pt x="526" y="776"/>
                  </a:lnTo>
                  <a:lnTo>
                    <a:pt x="527" y="776"/>
                  </a:lnTo>
                  <a:lnTo>
                    <a:pt x="528" y="774"/>
                  </a:lnTo>
                  <a:lnTo>
                    <a:pt x="529" y="772"/>
                  </a:lnTo>
                  <a:lnTo>
                    <a:pt x="531" y="771"/>
                  </a:lnTo>
                  <a:lnTo>
                    <a:pt x="529" y="771"/>
                  </a:lnTo>
                  <a:lnTo>
                    <a:pt x="528" y="772"/>
                  </a:lnTo>
                  <a:lnTo>
                    <a:pt x="526" y="774"/>
                  </a:lnTo>
                  <a:lnTo>
                    <a:pt x="523" y="776"/>
                  </a:lnTo>
                  <a:lnTo>
                    <a:pt x="521" y="779"/>
                  </a:lnTo>
                  <a:lnTo>
                    <a:pt x="517" y="783"/>
                  </a:lnTo>
                  <a:lnTo>
                    <a:pt x="511" y="790"/>
                  </a:lnTo>
                  <a:lnTo>
                    <a:pt x="509" y="794"/>
                  </a:lnTo>
                  <a:lnTo>
                    <a:pt x="509" y="797"/>
                  </a:lnTo>
                  <a:lnTo>
                    <a:pt x="510" y="800"/>
                  </a:lnTo>
                  <a:lnTo>
                    <a:pt x="511" y="801"/>
                  </a:lnTo>
                  <a:lnTo>
                    <a:pt x="514" y="802"/>
                  </a:lnTo>
                  <a:lnTo>
                    <a:pt x="515" y="803"/>
                  </a:lnTo>
                  <a:lnTo>
                    <a:pt x="520" y="802"/>
                  </a:lnTo>
                  <a:lnTo>
                    <a:pt x="525" y="801"/>
                  </a:lnTo>
                  <a:lnTo>
                    <a:pt x="529" y="800"/>
                  </a:lnTo>
                  <a:lnTo>
                    <a:pt x="535" y="798"/>
                  </a:lnTo>
                  <a:lnTo>
                    <a:pt x="540" y="798"/>
                  </a:lnTo>
                  <a:lnTo>
                    <a:pt x="546" y="797"/>
                  </a:lnTo>
                  <a:lnTo>
                    <a:pt x="551" y="796"/>
                  </a:lnTo>
                  <a:lnTo>
                    <a:pt x="556" y="794"/>
                  </a:lnTo>
                  <a:lnTo>
                    <a:pt x="567" y="794"/>
                  </a:lnTo>
                  <a:lnTo>
                    <a:pt x="579" y="792"/>
                  </a:lnTo>
                  <a:lnTo>
                    <a:pt x="591" y="791"/>
                  </a:lnTo>
                  <a:lnTo>
                    <a:pt x="593" y="791"/>
                  </a:lnTo>
                  <a:lnTo>
                    <a:pt x="594" y="789"/>
                  </a:lnTo>
                  <a:lnTo>
                    <a:pt x="597" y="786"/>
                  </a:lnTo>
                  <a:lnTo>
                    <a:pt x="597" y="785"/>
                  </a:lnTo>
                  <a:lnTo>
                    <a:pt x="598" y="786"/>
                  </a:lnTo>
                  <a:lnTo>
                    <a:pt x="597" y="789"/>
                  </a:lnTo>
                  <a:lnTo>
                    <a:pt x="598" y="790"/>
                  </a:lnTo>
                  <a:lnTo>
                    <a:pt x="600" y="790"/>
                  </a:lnTo>
                  <a:lnTo>
                    <a:pt x="603" y="790"/>
                  </a:lnTo>
                  <a:lnTo>
                    <a:pt x="604" y="790"/>
                  </a:lnTo>
                  <a:lnTo>
                    <a:pt x="603" y="791"/>
                  </a:lnTo>
                  <a:lnTo>
                    <a:pt x="599" y="794"/>
                  </a:lnTo>
                  <a:lnTo>
                    <a:pt x="597" y="795"/>
                  </a:lnTo>
                  <a:lnTo>
                    <a:pt x="593" y="795"/>
                  </a:lnTo>
                  <a:lnTo>
                    <a:pt x="587" y="797"/>
                  </a:lnTo>
                  <a:lnTo>
                    <a:pt x="581" y="797"/>
                  </a:lnTo>
                  <a:lnTo>
                    <a:pt x="574" y="797"/>
                  </a:lnTo>
                  <a:lnTo>
                    <a:pt x="570" y="798"/>
                  </a:lnTo>
                  <a:lnTo>
                    <a:pt x="567" y="800"/>
                  </a:lnTo>
                  <a:lnTo>
                    <a:pt x="560" y="800"/>
                  </a:lnTo>
                  <a:lnTo>
                    <a:pt x="553" y="801"/>
                  </a:lnTo>
                  <a:lnTo>
                    <a:pt x="549" y="802"/>
                  </a:lnTo>
                  <a:lnTo>
                    <a:pt x="543" y="804"/>
                  </a:lnTo>
                  <a:lnTo>
                    <a:pt x="539" y="806"/>
                  </a:lnTo>
                  <a:lnTo>
                    <a:pt x="535" y="807"/>
                  </a:lnTo>
                  <a:lnTo>
                    <a:pt x="531" y="808"/>
                  </a:lnTo>
                  <a:lnTo>
                    <a:pt x="527" y="809"/>
                  </a:lnTo>
                  <a:lnTo>
                    <a:pt x="523" y="812"/>
                  </a:lnTo>
                  <a:lnTo>
                    <a:pt x="520" y="813"/>
                  </a:lnTo>
                  <a:lnTo>
                    <a:pt x="515" y="814"/>
                  </a:lnTo>
                  <a:lnTo>
                    <a:pt x="513" y="815"/>
                  </a:lnTo>
                  <a:lnTo>
                    <a:pt x="511" y="817"/>
                  </a:lnTo>
                  <a:lnTo>
                    <a:pt x="511" y="818"/>
                  </a:lnTo>
                  <a:lnTo>
                    <a:pt x="511" y="819"/>
                  </a:lnTo>
                  <a:lnTo>
                    <a:pt x="513" y="823"/>
                  </a:lnTo>
                  <a:lnTo>
                    <a:pt x="514" y="826"/>
                  </a:lnTo>
                  <a:lnTo>
                    <a:pt x="515" y="830"/>
                  </a:lnTo>
                  <a:lnTo>
                    <a:pt x="515" y="833"/>
                  </a:lnTo>
                  <a:lnTo>
                    <a:pt x="515" y="837"/>
                  </a:lnTo>
                  <a:lnTo>
                    <a:pt x="513" y="842"/>
                  </a:lnTo>
                  <a:lnTo>
                    <a:pt x="511" y="847"/>
                  </a:lnTo>
                  <a:lnTo>
                    <a:pt x="510" y="853"/>
                  </a:lnTo>
                  <a:lnTo>
                    <a:pt x="510" y="857"/>
                  </a:lnTo>
                  <a:lnTo>
                    <a:pt x="509" y="861"/>
                  </a:lnTo>
                  <a:lnTo>
                    <a:pt x="509" y="869"/>
                  </a:lnTo>
                  <a:lnTo>
                    <a:pt x="510" y="877"/>
                  </a:lnTo>
                  <a:lnTo>
                    <a:pt x="510" y="884"/>
                  </a:lnTo>
                  <a:lnTo>
                    <a:pt x="511" y="891"/>
                  </a:lnTo>
                  <a:lnTo>
                    <a:pt x="511" y="926"/>
                  </a:lnTo>
                  <a:lnTo>
                    <a:pt x="511" y="937"/>
                  </a:lnTo>
                  <a:lnTo>
                    <a:pt x="510" y="946"/>
                  </a:lnTo>
                  <a:lnTo>
                    <a:pt x="510" y="950"/>
                  </a:lnTo>
                  <a:lnTo>
                    <a:pt x="509" y="952"/>
                  </a:lnTo>
                  <a:lnTo>
                    <a:pt x="508" y="955"/>
                  </a:lnTo>
                  <a:lnTo>
                    <a:pt x="505" y="957"/>
                  </a:lnTo>
                  <a:lnTo>
                    <a:pt x="501" y="958"/>
                  </a:lnTo>
                  <a:lnTo>
                    <a:pt x="497" y="960"/>
                  </a:lnTo>
                  <a:lnTo>
                    <a:pt x="492" y="960"/>
                  </a:lnTo>
                  <a:lnTo>
                    <a:pt x="487" y="960"/>
                  </a:lnTo>
                  <a:lnTo>
                    <a:pt x="481" y="958"/>
                  </a:lnTo>
                  <a:lnTo>
                    <a:pt x="478" y="958"/>
                  </a:lnTo>
                  <a:lnTo>
                    <a:pt x="473" y="957"/>
                  </a:lnTo>
                  <a:lnTo>
                    <a:pt x="472" y="956"/>
                  </a:lnTo>
                  <a:lnTo>
                    <a:pt x="470" y="955"/>
                  </a:lnTo>
                  <a:lnTo>
                    <a:pt x="469" y="954"/>
                  </a:lnTo>
                  <a:lnTo>
                    <a:pt x="468" y="952"/>
                  </a:lnTo>
                  <a:lnTo>
                    <a:pt x="469" y="946"/>
                  </a:lnTo>
                  <a:lnTo>
                    <a:pt x="470" y="942"/>
                  </a:lnTo>
                  <a:lnTo>
                    <a:pt x="470" y="940"/>
                  </a:lnTo>
                  <a:lnTo>
                    <a:pt x="472" y="937"/>
                  </a:lnTo>
                  <a:lnTo>
                    <a:pt x="472" y="932"/>
                  </a:lnTo>
                  <a:lnTo>
                    <a:pt x="472" y="928"/>
                  </a:lnTo>
                  <a:lnTo>
                    <a:pt x="473" y="924"/>
                  </a:lnTo>
                  <a:lnTo>
                    <a:pt x="473" y="904"/>
                  </a:lnTo>
                  <a:lnTo>
                    <a:pt x="473" y="901"/>
                  </a:lnTo>
                  <a:lnTo>
                    <a:pt x="472" y="896"/>
                  </a:lnTo>
                  <a:lnTo>
                    <a:pt x="472" y="892"/>
                  </a:lnTo>
                  <a:lnTo>
                    <a:pt x="472" y="889"/>
                  </a:lnTo>
                  <a:lnTo>
                    <a:pt x="474" y="881"/>
                  </a:lnTo>
                  <a:lnTo>
                    <a:pt x="474" y="878"/>
                  </a:lnTo>
                  <a:lnTo>
                    <a:pt x="474" y="873"/>
                  </a:lnTo>
                  <a:lnTo>
                    <a:pt x="474" y="865"/>
                  </a:lnTo>
                  <a:lnTo>
                    <a:pt x="474" y="860"/>
                  </a:lnTo>
                  <a:lnTo>
                    <a:pt x="475" y="855"/>
                  </a:lnTo>
                  <a:lnTo>
                    <a:pt x="475" y="850"/>
                  </a:lnTo>
                  <a:lnTo>
                    <a:pt x="476" y="847"/>
                  </a:lnTo>
                  <a:lnTo>
                    <a:pt x="475" y="837"/>
                  </a:lnTo>
                  <a:lnTo>
                    <a:pt x="475" y="833"/>
                  </a:lnTo>
                  <a:lnTo>
                    <a:pt x="475" y="831"/>
                  </a:lnTo>
                  <a:lnTo>
                    <a:pt x="473" y="830"/>
                  </a:lnTo>
                  <a:lnTo>
                    <a:pt x="472" y="827"/>
                  </a:lnTo>
                  <a:lnTo>
                    <a:pt x="469" y="826"/>
                  </a:lnTo>
                  <a:lnTo>
                    <a:pt x="464" y="825"/>
                  </a:lnTo>
                  <a:lnTo>
                    <a:pt x="456" y="821"/>
                  </a:lnTo>
                  <a:lnTo>
                    <a:pt x="449" y="818"/>
                  </a:lnTo>
                  <a:lnTo>
                    <a:pt x="444" y="815"/>
                  </a:lnTo>
                  <a:lnTo>
                    <a:pt x="440" y="813"/>
                  </a:lnTo>
                  <a:lnTo>
                    <a:pt x="434" y="808"/>
                  </a:lnTo>
                  <a:lnTo>
                    <a:pt x="432" y="807"/>
                  </a:lnTo>
                  <a:lnTo>
                    <a:pt x="431" y="807"/>
                  </a:lnTo>
                  <a:lnTo>
                    <a:pt x="426" y="806"/>
                  </a:lnTo>
                  <a:lnTo>
                    <a:pt x="420" y="806"/>
                  </a:lnTo>
                  <a:lnTo>
                    <a:pt x="415" y="806"/>
                  </a:lnTo>
                  <a:lnTo>
                    <a:pt x="409" y="806"/>
                  </a:lnTo>
                  <a:lnTo>
                    <a:pt x="408" y="806"/>
                  </a:lnTo>
                  <a:lnTo>
                    <a:pt x="405" y="804"/>
                  </a:lnTo>
                  <a:lnTo>
                    <a:pt x="396" y="803"/>
                  </a:lnTo>
                  <a:lnTo>
                    <a:pt x="386" y="801"/>
                  </a:lnTo>
                  <a:lnTo>
                    <a:pt x="381" y="801"/>
                  </a:lnTo>
                  <a:lnTo>
                    <a:pt x="376" y="801"/>
                  </a:lnTo>
                  <a:lnTo>
                    <a:pt x="374" y="801"/>
                  </a:lnTo>
                  <a:lnTo>
                    <a:pt x="372" y="801"/>
                  </a:lnTo>
                  <a:lnTo>
                    <a:pt x="370" y="801"/>
                  </a:lnTo>
                  <a:lnTo>
                    <a:pt x="368" y="802"/>
                  </a:lnTo>
                  <a:lnTo>
                    <a:pt x="364" y="804"/>
                  </a:lnTo>
                  <a:lnTo>
                    <a:pt x="361" y="807"/>
                  </a:lnTo>
                  <a:lnTo>
                    <a:pt x="360" y="808"/>
                  </a:lnTo>
                  <a:lnTo>
                    <a:pt x="357" y="809"/>
                  </a:lnTo>
                  <a:lnTo>
                    <a:pt x="352" y="812"/>
                  </a:lnTo>
                  <a:lnTo>
                    <a:pt x="348" y="813"/>
                  </a:lnTo>
                  <a:lnTo>
                    <a:pt x="346" y="812"/>
                  </a:lnTo>
                  <a:lnTo>
                    <a:pt x="346" y="810"/>
                  </a:lnTo>
                  <a:lnTo>
                    <a:pt x="348" y="808"/>
                  </a:lnTo>
                  <a:lnTo>
                    <a:pt x="350" y="807"/>
                  </a:lnTo>
                  <a:lnTo>
                    <a:pt x="355" y="806"/>
                  </a:lnTo>
                  <a:lnTo>
                    <a:pt x="358" y="802"/>
                  </a:lnTo>
                  <a:lnTo>
                    <a:pt x="362" y="800"/>
                  </a:lnTo>
                  <a:lnTo>
                    <a:pt x="364" y="796"/>
                  </a:lnTo>
                  <a:lnTo>
                    <a:pt x="368" y="794"/>
                  </a:lnTo>
                  <a:lnTo>
                    <a:pt x="372" y="791"/>
                  </a:lnTo>
                  <a:lnTo>
                    <a:pt x="373" y="790"/>
                  </a:lnTo>
                  <a:lnTo>
                    <a:pt x="374" y="789"/>
                  </a:lnTo>
                  <a:lnTo>
                    <a:pt x="374" y="786"/>
                  </a:lnTo>
                  <a:lnTo>
                    <a:pt x="373" y="784"/>
                  </a:lnTo>
                  <a:lnTo>
                    <a:pt x="372" y="783"/>
                  </a:lnTo>
                  <a:lnTo>
                    <a:pt x="370" y="782"/>
                  </a:lnTo>
                  <a:lnTo>
                    <a:pt x="368" y="782"/>
                  </a:lnTo>
                  <a:lnTo>
                    <a:pt x="366" y="783"/>
                  </a:lnTo>
                  <a:lnTo>
                    <a:pt x="364" y="784"/>
                  </a:lnTo>
                  <a:lnTo>
                    <a:pt x="362" y="784"/>
                  </a:lnTo>
                  <a:lnTo>
                    <a:pt x="357" y="784"/>
                  </a:lnTo>
                  <a:lnTo>
                    <a:pt x="352" y="785"/>
                  </a:lnTo>
                  <a:lnTo>
                    <a:pt x="348" y="785"/>
                  </a:lnTo>
                  <a:lnTo>
                    <a:pt x="345" y="784"/>
                  </a:lnTo>
                  <a:lnTo>
                    <a:pt x="344" y="784"/>
                  </a:lnTo>
                  <a:lnTo>
                    <a:pt x="327" y="785"/>
                  </a:lnTo>
                  <a:lnTo>
                    <a:pt x="316" y="786"/>
                  </a:lnTo>
                  <a:lnTo>
                    <a:pt x="311" y="786"/>
                  </a:lnTo>
                  <a:lnTo>
                    <a:pt x="309" y="788"/>
                  </a:lnTo>
                  <a:lnTo>
                    <a:pt x="307" y="788"/>
                  </a:lnTo>
                  <a:lnTo>
                    <a:pt x="303" y="788"/>
                  </a:lnTo>
                  <a:lnTo>
                    <a:pt x="301" y="788"/>
                  </a:lnTo>
                  <a:lnTo>
                    <a:pt x="298" y="786"/>
                  </a:lnTo>
                  <a:lnTo>
                    <a:pt x="297" y="786"/>
                  </a:lnTo>
                  <a:lnTo>
                    <a:pt x="296" y="788"/>
                  </a:lnTo>
                  <a:lnTo>
                    <a:pt x="297" y="791"/>
                  </a:lnTo>
                  <a:lnTo>
                    <a:pt x="297" y="794"/>
                  </a:lnTo>
                  <a:lnTo>
                    <a:pt x="296" y="795"/>
                  </a:lnTo>
                  <a:lnTo>
                    <a:pt x="292" y="797"/>
                  </a:lnTo>
                  <a:lnTo>
                    <a:pt x="289" y="797"/>
                  </a:lnTo>
                  <a:lnTo>
                    <a:pt x="285" y="797"/>
                  </a:lnTo>
                  <a:lnTo>
                    <a:pt x="283" y="796"/>
                  </a:lnTo>
                  <a:lnTo>
                    <a:pt x="283" y="797"/>
                  </a:lnTo>
                  <a:lnTo>
                    <a:pt x="284" y="797"/>
                  </a:lnTo>
                  <a:lnTo>
                    <a:pt x="284" y="798"/>
                  </a:lnTo>
                  <a:lnTo>
                    <a:pt x="284" y="801"/>
                  </a:lnTo>
                  <a:lnTo>
                    <a:pt x="283" y="803"/>
                  </a:lnTo>
                  <a:lnTo>
                    <a:pt x="279" y="804"/>
                  </a:lnTo>
                  <a:lnTo>
                    <a:pt x="277" y="806"/>
                  </a:lnTo>
                  <a:lnTo>
                    <a:pt x="275" y="808"/>
                  </a:lnTo>
                  <a:lnTo>
                    <a:pt x="274" y="809"/>
                  </a:lnTo>
                  <a:lnTo>
                    <a:pt x="273" y="810"/>
                  </a:lnTo>
                  <a:lnTo>
                    <a:pt x="272" y="809"/>
                  </a:lnTo>
                  <a:lnTo>
                    <a:pt x="269" y="810"/>
                  </a:lnTo>
                  <a:lnTo>
                    <a:pt x="268" y="809"/>
                  </a:lnTo>
                  <a:lnTo>
                    <a:pt x="267" y="809"/>
                  </a:lnTo>
                  <a:lnTo>
                    <a:pt x="266" y="809"/>
                  </a:lnTo>
                  <a:lnTo>
                    <a:pt x="266" y="810"/>
                  </a:lnTo>
                  <a:lnTo>
                    <a:pt x="265" y="810"/>
                  </a:lnTo>
                  <a:lnTo>
                    <a:pt x="263" y="810"/>
                  </a:lnTo>
                  <a:lnTo>
                    <a:pt x="263" y="809"/>
                  </a:lnTo>
                  <a:lnTo>
                    <a:pt x="263" y="807"/>
                  </a:lnTo>
                  <a:lnTo>
                    <a:pt x="259" y="807"/>
                  </a:lnTo>
                  <a:lnTo>
                    <a:pt x="257" y="806"/>
                  </a:lnTo>
                  <a:lnTo>
                    <a:pt x="254" y="804"/>
                  </a:lnTo>
                  <a:lnTo>
                    <a:pt x="252" y="803"/>
                  </a:lnTo>
                  <a:lnTo>
                    <a:pt x="251" y="806"/>
                  </a:lnTo>
                  <a:lnTo>
                    <a:pt x="250" y="807"/>
                  </a:lnTo>
                  <a:lnTo>
                    <a:pt x="249" y="808"/>
                  </a:lnTo>
                  <a:lnTo>
                    <a:pt x="248" y="808"/>
                  </a:lnTo>
                  <a:lnTo>
                    <a:pt x="248" y="810"/>
                  </a:lnTo>
                  <a:lnTo>
                    <a:pt x="246" y="812"/>
                  </a:lnTo>
                  <a:lnTo>
                    <a:pt x="244" y="815"/>
                  </a:lnTo>
                  <a:lnTo>
                    <a:pt x="243" y="818"/>
                  </a:lnTo>
                  <a:lnTo>
                    <a:pt x="244" y="819"/>
                  </a:lnTo>
                  <a:lnTo>
                    <a:pt x="243" y="820"/>
                  </a:lnTo>
                  <a:lnTo>
                    <a:pt x="240" y="819"/>
                  </a:lnTo>
                  <a:lnTo>
                    <a:pt x="240" y="821"/>
                  </a:lnTo>
                  <a:lnTo>
                    <a:pt x="239" y="823"/>
                  </a:lnTo>
                  <a:lnTo>
                    <a:pt x="238" y="823"/>
                  </a:lnTo>
                  <a:lnTo>
                    <a:pt x="238" y="824"/>
                  </a:lnTo>
                  <a:lnTo>
                    <a:pt x="236" y="823"/>
                  </a:lnTo>
                  <a:lnTo>
                    <a:pt x="234" y="821"/>
                  </a:lnTo>
                  <a:lnTo>
                    <a:pt x="233" y="818"/>
                  </a:lnTo>
                  <a:lnTo>
                    <a:pt x="231" y="818"/>
                  </a:lnTo>
                  <a:lnTo>
                    <a:pt x="230" y="819"/>
                  </a:lnTo>
                  <a:lnTo>
                    <a:pt x="228" y="818"/>
                  </a:lnTo>
                  <a:lnTo>
                    <a:pt x="227" y="817"/>
                  </a:lnTo>
                  <a:lnTo>
                    <a:pt x="226" y="818"/>
                  </a:lnTo>
                  <a:lnTo>
                    <a:pt x="225" y="818"/>
                  </a:lnTo>
                  <a:lnTo>
                    <a:pt x="224" y="818"/>
                  </a:lnTo>
                  <a:lnTo>
                    <a:pt x="221" y="818"/>
                  </a:lnTo>
                  <a:lnTo>
                    <a:pt x="219" y="820"/>
                  </a:lnTo>
                  <a:lnTo>
                    <a:pt x="219" y="819"/>
                  </a:lnTo>
                  <a:lnTo>
                    <a:pt x="218" y="820"/>
                  </a:lnTo>
                  <a:lnTo>
                    <a:pt x="218" y="818"/>
                  </a:lnTo>
                  <a:lnTo>
                    <a:pt x="216" y="818"/>
                  </a:lnTo>
                  <a:lnTo>
                    <a:pt x="218" y="815"/>
                  </a:lnTo>
                  <a:lnTo>
                    <a:pt x="218" y="813"/>
                  </a:lnTo>
                  <a:lnTo>
                    <a:pt x="218" y="814"/>
                  </a:lnTo>
                  <a:lnTo>
                    <a:pt x="216" y="814"/>
                  </a:lnTo>
                  <a:lnTo>
                    <a:pt x="216" y="813"/>
                  </a:lnTo>
                  <a:lnTo>
                    <a:pt x="214" y="813"/>
                  </a:lnTo>
                  <a:lnTo>
                    <a:pt x="214" y="812"/>
                  </a:lnTo>
                  <a:lnTo>
                    <a:pt x="213" y="813"/>
                  </a:lnTo>
                  <a:lnTo>
                    <a:pt x="210" y="812"/>
                  </a:lnTo>
                  <a:lnTo>
                    <a:pt x="207" y="815"/>
                  </a:lnTo>
                  <a:lnTo>
                    <a:pt x="206" y="817"/>
                  </a:lnTo>
                  <a:lnTo>
                    <a:pt x="203" y="817"/>
                  </a:lnTo>
                  <a:lnTo>
                    <a:pt x="200" y="815"/>
                  </a:lnTo>
                  <a:lnTo>
                    <a:pt x="198" y="814"/>
                  </a:lnTo>
                  <a:lnTo>
                    <a:pt x="200" y="813"/>
                  </a:lnTo>
                  <a:lnTo>
                    <a:pt x="201" y="813"/>
                  </a:lnTo>
                  <a:lnTo>
                    <a:pt x="203" y="812"/>
                  </a:lnTo>
                  <a:lnTo>
                    <a:pt x="202" y="810"/>
                  </a:lnTo>
                  <a:lnTo>
                    <a:pt x="201" y="810"/>
                  </a:lnTo>
                  <a:lnTo>
                    <a:pt x="200" y="809"/>
                  </a:lnTo>
                  <a:lnTo>
                    <a:pt x="197" y="808"/>
                  </a:lnTo>
                  <a:lnTo>
                    <a:pt x="196" y="806"/>
                  </a:lnTo>
                  <a:lnTo>
                    <a:pt x="193" y="804"/>
                  </a:lnTo>
                  <a:lnTo>
                    <a:pt x="193" y="803"/>
                  </a:lnTo>
                  <a:lnTo>
                    <a:pt x="195" y="802"/>
                  </a:lnTo>
                  <a:lnTo>
                    <a:pt x="196" y="800"/>
                  </a:lnTo>
                  <a:lnTo>
                    <a:pt x="197" y="802"/>
                  </a:lnTo>
                  <a:lnTo>
                    <a:pt x="198" y="803"/>
                  </a:lnTo>
                  <a:lnTo>
                    <a:pt x="200" y="804"/>
                  </a:lnTo>
                  <a:lnTo>
                    <a:pt x="201" y="804"/>
                  </a:lnTo>
                  <a:lnTo>
                    <a:pt x="203" y="804"/>
                  </a:lnTo>
                  <a:lnTo>
                    <a:pt x="204" y="806"/>
                  </a:lnTo>
                  <a:lnTo>
                    <a:pt x="204" y="804"/>
                  </a:lnTo>
                  <a:lnTo>
                    <a:pt x="207" y="804"/>
                  </a:lnTo>
                  <a:lnTo>
                    <a:pt x="208" y="806"/>
                  </a:lnTo>
                  <a:lnTo>
                    <a:pt x="210" y="808"/>
                  </a:lnTo>
                  <a:lnTo>
                    <a:pt x="212" y="808"/>
                  </a:lnTo>
                  <a:lnTo>
                    <a:pt x="213" y="807"/>
                  </a:lnTo>
                  <a:lnTo>
                    <a:pt x="213" y="806"/>
                  </a:lnTo>
                  <a:lnTo>
                    <a:pt x="213" y="804"/>
                  </a:lnTo>
                  <a:lnTo>
                    <a:pt x="209" y="804"/>
                  </a:lnTo>
                  <a:lnTo>
                    <a:pt x="209" y="802"/>
                  </a:lnTo>
                  <a:lnTo>
                    <a:pt x="209" y="800"/>
                  </a:lnTo>
                  <a:lnTo>
                    <a:pt x="210" y="796"/>
                  </a:lnTo>
                  <a:lnTo>
                    <a:pt x="209" y="796"/>
                  </a:lnTo>
                  <a:lnTo>
                    <a:pt x="209" y="795"/>
                  </a:lnTo>
                  <a:lnTo>
                    <a:pt x="209" y="794"/>
                  </a:lnTo>
                  <a:lnTo>
                    <a:pt x="212" y="794"/>
                  </a:lnTo>
                  <a:lnTo>
                    <a:pt x="213" y="791"/>
                  </a:lnTo>
                  <a:lnTo>
                    <a:pt x="215" y="792"/>
                  </a:lnTo>
                  <a:lnTo>
                    <a:pt x="216" y="790"/>
                  </a:lnTo>
                  <a:lnTo>
                    <a:pt x="218" y="789"/>
                  </a:lnTo>
                  <a:lnTo>
                    <a:pt x="218" y="786"/>
                  </a:lnTo>
                  <a:lnTo>
                    <a:pt x="219" y="784"/>
                  </a:lnTo>
                  <a:lnTo>
                    <a:pt x="220" y="784"/>
                  </a:lnTo>
                  <a:lnTo>
                    <a:pt x="222" y="785"/>
                  </a:lnTo>
                  <a:lnTo>
                    <a:pt x="225" y="784"/>
                  </a:lnTo>
                  <a:lnTo>
                    <a:pt x="226" y="785"/>
                  </a:lnTo>
                  <a:lnTo>
                    <a:pt x="227" y="785"/>
                  </a:lnTo>
                  <a:lnTo>
                    <a:pt x="230" y="788"/>
                  </a:lnTo>
                  <a:lnTo>
                    <a:pt x="231" y="788"/>
                  </a:lnTo>
                  <a:lnTo>
                    <a:pt x="231" y="786"/>
                  </a:lnTo>
                  <a:lnTo>
                    <a:pt x="231" y="785"/>
                  </a:lnTo>
                  <a:lnTo>
                    <a:pt x="231" y="784"/>
                  </a:lnTo>
                  <a:lnTo>
                    <a:pt x="230" y="783"/>
                  </a:lnTo>
                  <a:lnTo>
                    <a:pt x="228" y="783"/>
                  </a:lnTo>
                  <a:lnTo>
                    <a:pt x="227" y="783"/>
                  </a:lnTo>
                  <a:lnTo>
                    <a:pt x="228" y="782"/>
                  </a:lnTo>
                  <a:lnTo>
                    <a:pt x="226" y="782"/>
                  </a:lnTo>
                  <a:lnTo>
                    <a:pt x="226" y="780"/>
                  </a:lnTo>
                  <a:lnTo>
                    <a:pt x="226" y="778"/>
                  </a:lnTo>
                  <a:lnTo>
                    <a:pt x="226" y="777"/>
                  </a:lnTo>
                  <a:lnTo>
                    <a:pt x="225" y="776"/>
                  </a:lnTo>
                  <a:lnTo>
                    <a:pt x="226" y="774"/>
                  </a:lnTo>
                  <a:lnTo>
                    <a:pt x="226" y="771"/>
                  </a:lnTo>
                  <a:lnTo>
                    <a:pt x="224" y="768"/>
                  </a:lnTo>
                  <a:lnTo>
                    <a:pt x="226" y="767"/>
                  </a:lnTo>
                  <a:lnTo>
                    <a:pt x="227" y="766"/>
                  </a:lnTo>
                  <a:lnTo>
                    <a:pt x="228" y="766"/>
                  </a:lnTo>
                  <a:lnTo>
                    <a:pt x="230" y="766"/>
                  </a:lnTo>
                  <a:lnTo>
                    <a:pt x="230" y="768"/>
                  </a:lnTo>
                  <a:lnTo>
                    <a:pt x="231" y="770"/>
                  </a:lnTo>
                  <a:lnTo>
                    <a:pt x="232" y="771"/>
                  </a:lnTo>
                  <a:lnTo>
                    <a:pt x="234" y="772"/>
                  </a:lnTo>
                  <a:lnTo>
                    <a:pt x="236" y="771"/>
                  </a:lnTo>
                  <a:lnTo>
                    <a:pt x="236" y="773"/>
                  </a:lnTo>
                  <a:lnTo>
                    <a:pt x="238" y="773"/>
                  </a:lnTo>
                  <a:lnTo>
                    <a:pt x="242" y="773"/>
                  </a:lnTo>
                  <a:lnTo>
                    <a:pt x="242" y="774"/>
                  </a:lnTo>
                  <a:lnTo>
                    <a:pt x="244" y="774"/>
                  </a:lnTo>
                  <a:lnTo>
                    <a:pt x="244" y="777"/>
                  </a:lnTo>
                  <a:lnTo>
                    <a:pt x="245" y="777"/>
                  </a:lnTo>
                  <a:lnTo>
                    <a:pt x="245" y="778"/>
                  </a:lnTo>
                  <a:lnTo>
                    <a:pt x="246" y="778"/>
                  </a:lnTo>
                  <a:lnTo>
                    <a:pt x="249" y="778"/>
                  </a:lnTo>
                  <a:lnTo>
                    <a:pt x="250" y="776"/>
                  </a:lnTo>
                  <a:lnTo>
                    <a:pt x="250" y="774"/>
                  </a:lnTo>
                  <a:lnTo>
                    <a:pt x="251" y="774"/>
                  </a:lnTo>
                  <a:lnTo>
                    <a:pt x="251" y="776"/>
                  </a:lnTo>
                  <a:lnTo>
                    <a:pt x="255" y="774"/>
                  </a:lnTo>
                  <a:lnTo>
                    <a:pt x="256" y="777"/>
                  </a:lnTo>
                  <a:lnTo>
                    <a:pt x="257" y="777"/>
                  </a:lnTo>
                  <a:lnTo>
                    <a:pt x="259" y="777"/>
                  </a:lnTo>
                  <a:lnTo>
                    <a:pt x="257" y="774"/>
                  </a:lnTo>
                  <a:lnTo>
                    <a:pt x="259" y="773"/>
                  </a:lnTo>
                  <a:lnTo>
                    <a:pt x="257" y="772"/>
                  </a:lnTo>
                  <a:lnTo>
                    <a:pt x="260" y="772"/>
                  </a:lnTo>
                  <a:lnTo>
                    <a:pt x="260" y="771"/>
                  </a:lnTo>
                  <a:lnTo>
                    <a:pt x="261" y="771"/>
                  </a:lnTo>
                  <a:lnTo>
                    <a:pt x="262" y="771"/>
                  </a:lnTo>
                  <a:lnTo>
                    <a:pt x="263" y="772"/>
                  </a:lnTo>
                  <a:lnTo>
                    <a:pt x="263" y="771"/>
                  </a:lnTo>
                  <a:lnTo>
                    <a:pt x="265" y="772"/>
                  </a:lnTo>
                  <a:lnTo>
                    <a:pt x="266" y="772"/>
                  </a:lnTo>
                  <a:lnTo>
                    <a:pt x="267" y="772"/>
                  </a:lnTo>
                  <a:lnTo>
                    <a:pt x="269" y="771"/>
                  </a:lnTo>
                  <a:lnTo>
                    <a:pt x="271" y="773"/>
                  </a:lnTo>
                  <a:lnTo>
                    <a:pt x="272" y="773"/>
                  </a:lnTo>
                  <a:lnTo>
                    <a:pt x="273" y="773"/>
                  </a:lnTo>
                  <a:lnTo>
                    <a:pt x="273" y="770"/>
                  </a:lnTo>
                  <a:lnTo>
                    <a:pt x="274" y="770"/>
                  </a:lnTo>
                  <a:lnTo>
                    <a:pt x="274" y="768"/>
                  </a:lnTo>
                  <a:lnTo>
                    <a:pt x="273" y="768"/>
                  </a:lnTo>
                  <a:lnTo>
                    <a:pt x="272" y="768"/>
                  </a:lnTo>
                  <a:lnTo>
                    <a:pt x="271" y="766"/>
                  </a:lnTo>
                  <a:lnTo>
                    <a:pt x="268" y="765"/>
                  </a:lnTo>
                  <a:lnTo>
                    <a:pt x="268" y="764"/>
                  </a:lnTo>
                  <a:lnTo>
                    <a:pt x="269" y="764"/>
                  </a:lnTo>
                  <a:lnTo>
                    <a:pt x="272" y="764"/>
                  </a:lnTo>
                  <a:lnTo>
                    <a:pt x="274" y="761"/>
                  </a:lnTo>
                  <a:lnTo>
                    <a:pt x="278" y="764"/>
                  </a:lnTo>
                  <a:lnTo>
                    <a:pt x="279" y="766"/>
                  </a:lnTo>
                  <a:lnTo>
                    <a:pt x="281" y="765"/>
                  </a:lnTo>
                  <a:lnTo>
                    <a:pt x="281" y="764"/>
                  </a:lnTo>
                  <a:lnTo>
                    <a:pt x="280" y="761"/>
                  </a:lnTo>
                  <a:lnTo>
                    <a:pt x="280" y="758"/>
                  </a:lnTo>
                  <a:lnTo>
                    <a:pt x="281" y="758"/>
                  </a:lnTo>
                  <a:lnTo>
                    <a:pt x="283" y="758"/>
                  </a:lnTo>
                  <a:lnTo>
                    <a:pt x="284" y="758"/>
                  </a:lnTo>
                  <a:lnTo>
                    <a:pt x="286" y="756"/>
                  </a:lnTo>
                  <a:lnTo>
                    <a:pt x="287" y="760"/>
                  </a:lnTo>
                  <a:lnTo>
                    <a:pt x="287" y="761"/>
                  </a:lnTo>
                  <a:lnTo>
                    <a:pt x="290" y="761"/>
                  </a:lnTo>
                  <a:lnTo>
                    <a:pt x="290" y="762"/>
                  </a:lnTo>
                  <a:lnTo>
                    <a:pt x="289" y="765"/>
                  </a:lnTo>
                  <a:lnTo>
                    <a:pt x="290" y="765"/>
                  </a:lnTo>
                  <a:lnTo>
                    <a:pt x="290" y="766"/>
                  </a:lnTo>
                  <a:lnTo>
                    <a:pt x="291" y="766"/>
                  </a:lnTo>
                  <a:lnTo>
                    <a:pt x="291" y="765"/>
                  </a:lnTo>
                  <a:lnTo>
                    <a:pt x="295" y="766"/>
                  </a:lnTo>
                  <a:lnTo>
                    <a:pt x="293" y="768"/>
                  </a:lnTo>
                  <a:lnTo>
                    <a:pt x="296" y="768"/>
                  </a:lnTo>
                  <a:lnTo>
                    <a:pt x="296" y="771"/>
                  </a:lnTo>
                  <a:lnTo>
                    <a:pt x="297" y="771"/>
                  </a:lnTo>
                  <a:lnTo>
                    <a:pt x="298" y="771"/>
                  </a:lnTo>
                  <a:lnTo>
                    <a:pt x="301" y="770"/>
                  </a:lnTo>
                  <a:lnTo>
                    <a:pt x="301" y="771"/>
                  </a:lnTo>
                  <a:lnTo>
                    <a:pt x="302" y="771"/>
                  </a:lnTo>
                  <a:lnTo>
                    <a:pt x="303" y="771"/>
                  </a:lnTo>
                  <a:lnTo>
                    <a:pt x="302" y="773"/>
                  </a:lnTo>
                  <a:lnTo>
                    <a:pt x="301" y="774"/>
                  </a:lnTo>
                  <a:lnTo>
                    <a:pt x="301" y="776"/>
                  </a:lnTo>
                  <a:lnTo>
                    <a:pt x="299" y="776"/>
                  </a:lnTo>
                  <a:lnTo>
                    <a:pt x="299" y="778"/>
                  </a:lnTo>
                  <a:lnTo>
                    <a:pt x="299" y="779"/>
                  </a:lnTo>
                  <a:lnTo>
                    <a:pt x="302" y="780"/>
                  </a:lnTo>
                  <a:lnTo>
                    <a:pt x="301" y="780"/>
                  </a:lnTo>
                  <a:lnTo>
                    <a:pt x="299" y="782"/>
                  </a:lnTo>
                  <a:lnTo>
                    <a:pt x="301" y="783"/>
                  </a:lnTo>
                  <a:lnTo>
                    <a:pt x="302" y="782"/>
                  </a:lnTo>
                  <a:lnTo>
                    <a:pt x="304" y="782"/>
                  </a:lnTo>
                  <a:lnTo>
                    <a:pt x="305" y="780"/>
                  </a:lnTo>
                  <a:lnTo>
                    <a:pt x="309" y="780"/>
                  </a:lnTo>
                  <a:lnTo>
                    <a:pt x="310" y="779"/>
                  </a:lnTo>
                  <a:lnTo>
                    <a:pt x="313" y="779"/>
                  </a:lnTo>
                  <a:lnTo>
                    <a:pt x="313" y="780"/>
                  </a:lnTo>
                  <a:lnTo>
                    <a:pt x="314" y="782"/>
                  </a:lnTo>
                  <a:lnTo>
                    <a:pt x="315" y="783"/>
                  </a:lnTo>
                  <a:lnTo>
                    <a:pt x="316" y="783"/>
                  </a:lnTo>
                  <a:lnTo>
                    <a:pt x="319" y="782"/>
                  </a:lnTo>
                  <a:lnTo>
                    <a:pt x="320" y="782"/>
                  </a:lnTo>
                  <a:lnTo>
                    <a:pt x="324" y="780"/>
                  </a:lnTo>
                  <a:lnTo>
                    <a:pt x="333" y="780"/>
                  </a:lnTo>
                  <a:lnTo>
                    <a:pt x="338" y="780"/>
                  </a:lnTo>
                  <a:lnTo>
                    <a:pt x="343" y="779"/>
                  </a:lnTo>
                  <a:lnTo>
                    <a:pt x="348" y="779"/>
                  </a:lnTo>
                  <a:lnTo>
                    <a:pt x="350" y="778"/>
                  </a:lnTo>
                  <a:lnTo>
                    <a:pt x="351" y="779"/>
                  </a:lnTo>
                  <a:lnTo>
                    <a:pt x="352" y="778"/>
                  </a:lnTo>
                  <a:lnTo>
                    <a:pt x="354" y="779"/>
                  </a:lnTo>
                  <a:lnTo>
                    <a:pt x="358" y="779"/>
                  </a:lnTo>
                  <a:lnTo>
                    <a:pt x="363" y="779"/>
                  </a:lnTo>
                  <a:lnTo>
                    <a:pt x="367" y="777"/>
                  </a:lnTo>
                  <a:lnTo>
                    <a:pt x="375" y="774"/>
                  </a:lnTo>
                  <a:lnTo>
                    <a:pt x="379" y="772"/>
                  </a:lnTo>
                  <a:lnTo>
                    <a:pt x="380" y="770"/>
                  </a:lnTo>
                  <a:lnTo>
                    <a:pt x="381" y="768"/>
                  </a:lnTo>
                  <a:lnTo>
                    <a:pt x="384" y="768"/>
                  </a:lnTo>
                  <a:lnTo>
                    <a:pt x="385" y="768"/>
                  </a:lnTo>
                  <a:lnTo>
                    <a:pt x="386" y="771"/>
                  </a:lnTo>
                  <a:lnTo>
                    <a:pt x="389" y="772"/>
                  </a:lnTo>
                  <a:lnTo>
                    <a:pt x="392" y="772"/>
                  </a:lnTo>
                  <a:lnTo>
                    <a:pt x="395" y="772"/>
                  </a:lnTo>
                  <a:lnTo>
                    <a:pt x="397" y="771"/>
                  </a:lnTo>
                  <a:lnTo>
                    <a:pt x="399" y="770"/>
                  </a:lnTo>
                  <a:lnTo>
                    <a:pt x="402" y="768"/>
                  </a:lnTo>
                  <a:lnTo>
                    <a:pt x="403" y="767"/>
                  </a:lnTo>
                  <a:lnTo>
                    <a:pt x="404" y="766"/>
                  </a:lnTo>
                  <a:lnTo>
                    <a:pt x="405" y="765"/>
                  </a:lnTo>
                  <a:lnTo>
                    <a:pt x="405" y="764"/>
                  </a:lnTo>
                  <a:lnTo>
                    <a:pt x="405" y="760"/>
                  </a:lnTo>
                  <a:lnTo>
                    <a:pt x="407" y="760"/>
                  </a:lnTo>
                  <a:lnTo>
                    <a:pt x="409" y="761"/>
                  </a:lnTo>
                  <a:lnTo>
                    <a:pt x="411" y="761"/>
                  </a:lnTo>
                  <a:lnTo>
                    <a:pt x="414" y="760"/>
                  </a:lnTo>
                  <a:lnTo>
                    <a:pt x="414" y="759"/>
                  </a:lnTo>
                  <a:lnTo>
                    <a:pt x="415" y="759"/>
                  </a:lnTo>
                  <a:lnTo>
                    <a:pt x="416" y="758"/>
                  </a:lnTo>
                  <a:lnTo>
                    <a:pt x="421" y="756"/>
                  </a:lnTo>
                  <a:lnTo>
                    <a:pt x="423" y="756"/>
                  </a:lnTo>
                  <a:lnTo>
                    <a:pt x="425" y="756"/>
                  </a:lnTo>
                  <a:lnTo>
                    <a:pt x="426" y="756"/>
                  </a:lnTo>
                  <a:lnTo>
                    <a:pt x="427" y="755"/>
                  </a:lnTo>
                  <a:lnTo>
                    <a:pt x="429" y="753"/>
                  </a:lnTo>
                  <a:lnTo>
                    <a:pt x="432" y="752"/>
                  </a:lnTo>
                  <a:lnTo>
                    <a:pt x="432" y="750"/>
                  </a:lnTo>
                  <a:lnTo>
                    <a:pt x="433" y="749"/>
                  </a:lnTo>
                  <a:lnTo>
                    <a:pt x="431" y="750"/>
                  </a:lnTo>
                  <a:lnTo>
                    <a:pt x="431" y="749"/>
                  </a:lnTo>
                  <a:lnTo>
                    <a:pt x="427" y="749"/>
                  </a:lnTo>
                  <a:lnTo>
                    <a:pt x="428" y="744"/>
                  </a:lnTo>
                  <a:lnTo>
                    <a:pt x="428" y="742"/>
                  </a:lnTo>
                  <a:lnTo>
                    <a:pt x="427" y="742"/>
                  </a:lnTo>
                  <a:lnTo>
                    <a:pt x="427" y="740"/>
                  </a:lnTo>
                  <a:lnTo>
                    <a:pt x="425" y="738"/>
                  </a:lnTo>
                  <a:lnTo>
                    <a:pt x="423" y="738"/>
                  </a:lnTo>
                  <a:lnTo>
                    <a:pt x="423" y="740"/>
                  </a:lnTo>
                  <a:lnTo>
                    <a:pt x="425" y="741"/>
                  </a:lnTo>
                  <a:lnTo>
                    <a:pt x="425" y="742"/>
                  </a:lnTo>
                  <a:lnTo>
                    <a:pt x="426" y="743"/>
                  </a:lnTo>
                  <a:lnTo>
                    <a:pt x="426" y="744"/>
                  </a:lnTo>
                  <a:lnTo>
                    <a:pt x="425" y="744"/>
                  </a:lnTo>
                  <a:lnTo>
                    <a:pt x="425" y="746"/>
                  </a:lnTo>
                  <a:lnTo>
                    <a:pt x="423" y="747"/>
                  </a:lnTo>
                  <a:lnTo>
                    <a:pt x="423" y="752"/>
                  </a:lnTo>
                  <a:lnTo>
                    <a:pt x="422" y="750"/>
                  </a:lnTo>
                  <a:lnTo>
                    <a:pt x="421" y="752"/>
                  </a:lnTo>
                  <a:lnTo>
                    <a:pt x="422" y="753"/>
                  </a:lnTo>
                  <a:lnTo>
                    <a:pt x="417" y="753"/>
                  </a:lnTo>
                  <a:lnTo>
                    <a:pt x="415" y="750"/>
                  </a:lnTo>
                  <a:lnTo>
                    <a:pt x="414" y="749"/>
                  </a:lnTo>
                  <a:lnTo>
                    <a:pt x="414" y="748"/>
                  </a:lnTo>
                  <a:lnTo>
                    <a:pt x="415" y="748"/>
                  </a:lnTo>
                  <a:lnTo>
                    <a:pt x="415" y="747"/>
                  </a:lnTo>
                  <a:lnTo>
                    <a:pt x="413" y="747"/>
                  </a:lnTo>
                  <a:lnTo>
                    <a:pt x="411" y="748"/>
                  </a:lnTo>
                  <a:lnTo>
                    <a:pt x="409" y="749"/>
                  </a:lnTo>
                  <a:lnTo>
                    <a:pt x="407" y="750"/>
                  </a:lnTo>
                  <a:lnTo>
                    <a:pt x="404" y="748"/>
                  </a:lnTo>
                  <a:lnTo>
                    <a:pt x="403" y="747"/>
                  </a:lnTo>
                  <a:lnTo>
                    <a:pt x="402" y="747"/>
                  </a:lnTo>
                  <a:lnTo>
                    <a:pt x="399" y="749"/>
                  </a:lnTo>
                  <a:lnTo>
                    <a:pt x="398" y="752"/>
                  </a:lnTo>
                  <a:lnTo>
                    <a:pt x="395" y="753"/>
                  </a:lnTo>
                  <a:lnTo>
                    <a:pt x="393" y="753"/>
                  </a:lnTo>
                  <a:lnTo>
                    <a:pt x="393" y="752"/>
                  </a:lnTo>
                  <a:lnTo>
                    <a:pt x="393" y="748"/>
                  </a:lnTo>
                  <a:lnTo>
                    <a:pt x="393" y="746"/>
                  </a:lnTo>
                  <a:lnTo>
                    <a:pt x="397" y="746"/>
                  </a:lnTo>
                  <a:lnTo>
                    <a:pt x="397" y="743"/>
                  </a:lnTo>
                  <a:lnTo>
                    <a:pt x="397" y="738"/>
                  </a:lnTo>
                  <a:lnTo>
                    <a:pt x="397" y="737"/>
                  </a:lnTo>
                  <a:lnTo>
                    <a:pt x="397" y="735"/>
                  </a:lnTo>
                  <a:lnTo>
                    <a:pt x="399" y="732"/>
                  </a:lnTo>
                  <a:lnTo>
                    <a:pt x="401" y="731"/>
                  </a:lnTo>
                  <a:lnTo>
                    <a:pt x="402" y="734"/>
                  </a:lnTo>
                  <a:lnTo>
                    <a:pt x="403" y="734"/>
                  </a:lnTo>
                  <a:lnTo>
                    <a:pt x="404" y="732"/>
                  </a:lnTo>
                  <a:lnTo>
                    <a:pt x="404" y="731"/>
                  </a:lnTo>
                  <a:lnTo>
                    <a:pt x="403" y="731"/>
                  </a:lnTo>
                  <a:lnTo>
                    <a:pt x="399" y="729"/>
                  </a:lnTo>
                  <a:lnTo>
                    <a:pt x="398" y="730"/>
                  </a:lnTo>
                  <a:lnTo>
                    <a:pt x="397" y="730"/>
                  </a:lnTo>
                  <a:lnTo>
                    <a:pt x="395" y="730"/>
                  </a:lnTo>
                  <a:lnTo>
                    <a:pt x="393" y="729"/>
                  </a:lnTo>
                  <a:lnTo>
                    <a:pt x="390" y="729"/>
                  </a:lnTo>
                  <a:lnTo>
                    <a:pt x="390" y="726"/>
                  </a:lnTo>
                  <a:lnTo>
                    <a:pt x="391" y="724"/>
                  </a:lnTo>
                  <a:lnTo>
                    <a:pt x="391" y="723"/>
                  </a:lnTo>
                  <a:lnTo>
                    <a:pt x="390" y="723"/>
                  </a:lnTo>
                  <a:lnTo>
                    <a:pt x="387" y="722"/>
                  </a:lnTo>
                  <a:lnTo>
                    <a:pt x="386" y="720"/>
                  </a:lnTo>
                  <a:lnTo>
                    <a:pt x="387" y="724"/>
                  </a:lnTo>
                  <a:lnTo>
                    <a:pt x="387" y="726"/>
                  </a:lnTo>
                  <a:lnTo>
                    <a:pt x="386" y="726"/>
                  </a:lnTo>
                  <a:lnTo>
                    <a:pt x="384" y="724"/>
                  </a:lnTo>
                  <a:lnTo>
                    <a:pt x="383" y="723"/>
                  </a:lnTo>
                  <a:lnTo>
                    <a:pt x="381" y="724"/>
                  </a:lnTo>
                  <a:lnTo>
                    <a:pt x="381" y="725"/>
                  </a:lnTo>
                  <a:lnTo>
                    <a:pt x="378" y="724"/>
                  </a:lnTo>
                  <a:lnTo>
                    <a:pt x="378" y="725"/>
                  </a:lnTo>
                  <a:lnTo>
                    <a:pt x="378" y="726"/>
                  </a:lnTo>
                  <a:lnTo>
                    <a:pt x="378" y="729"/>
                  </a:lnTo>
                  <a:lnTo>
                    <a:pt x="376" y="729"/>
                  </a:lnTo>
                  <a:lnTo>
                    <a:pt x="374" y="729"/>
                  </a:lnTo>
                  <a:lnTo>
                    <a:pt x="374" y="730"/>
                  </a:lnTo>
                  <a:lnTo>
                    <a:pt x="374" y="731"/>
                  </a:lnTo>
                  <a:lnTo>
                    <a:pt x="373" y="734"/>
                  </a:lnTo>
                  <a:lnTo>
                    <a:pt x="368" y="736"/>
                  </a:lnTo>
                  <a:lnTo>
                    <a:pt x="367" y="736"/>
                  </a:lnTo>
                  <a:lnTo>
                    <a:pt x="367" y="737"/>
                  </a:lnTo>
                  <a:lnTo>
                    <a:pt x="366" y="740"/>
                  </a:lnTo>
                  <a:lnTo>
                    <a:pt x="364" y="742"/>
                  </a:lnTo>
                  <a:lnTo>
                    <a:pt x="363" y="743"/>
                  </a:lnTo>
                  <a:lnTo>
                    <a:pt x="363" y="744"/>
                  </a:lnTo>
                  <a:lnTo>
                    <a:pt x="366" y="742"/>
                  </a:lnTo>
                  <a:lnTo>
                    <a:pt x="366" y="741"/>
                  </a:lnTo>
                  <a:lnTo>
                    <a:pt x="368" y="742"/>
                  </a:lnTo>
                  <a:lnTo>
                    <a:pt x="368" y="743"/>
                  </a:lnTo>
                  <a:lnTo>
                    <a:pt x="368" y="747"/>
                  </a:lnTo>
                  <a:lnTo>
                    <a:pt x="367" y="747"/>
                  </a:lnTo>
                  <a:lnTo>
                    <a:pt x="367" y="746"/>
                  </a:lnTo>
                  <a:lnTo>
                    <a:pt x="366" y="746"/>
                  </a:lnTo>
                  <a:lnTo>
                    <a:pt x="366" y="747"/>
                  </a:lnTo>
                  <a:lnTo>
                    <a:pt x="368" y="747"/>
                  </a:lnTo>
                  <a:lnTo>
                    <a:pt x="370" y="746"/>
                  </a:lnTo>
                  <a:lnTo>
                    <a:pt x="369" y="748"/>
                  </a:lnTo>
                  <a:lnTo>
                    <a:pt x="369" y="749"/>
                  </a:lnTo>
                  <a:lnTo>
                    <a:pt x="368" y="752"/>
                  </a:lnTo>
                  <a:lnTo>
                    <a:pt x="368" y="753"/>
                  </a:lnTo>
                  <a:lnTo>
                    <a:pt x="369" y="752"/>
                  </a:lnTo>
                  <a:lnTo>
                    <a:pt x="370" y="754"/>
                  </a:lnTo>
                  <a:lnTo>
                    <a:pt x="370" y="755"/>
                  </a:lnTo>
                  <a:lnTo>
                    <a:pt x="368" y="755"/>
                  </a:lnTo>
                  <a:lnTo>
                    <a:pt x="367" y="756"/>
                  </a:lnTo>
                  <a:lnTo>
                    <a:pt x="366" y="756"/>
                  </a:lnTo>
                  <a:lnTo>
                    <a:pt x="364" y="759"/>
                  </a:lnTo>
                  <a:lnTo>
                    <a:pt x="363" y="759"/>
                  </a:lnTo>
                  <a:lnTo>
                    <a:pt x="360" y="759"/>
                  </a:lnTo>
                  <a:lnTo>
                    <a:pt x="357" y="759"/>
                  </a:lnTo>
                  <a:lnTo>
                    <a:pt x="360" y="756"/>
                  </a:lnTo>
                  <a:lnTo>
                    <a:pt x="360" y="754"/>
                  </a:lnTo>
                  <a:lnTo>
                    <a:pt x="358" y="753"/>
                  </a:lnTo>
                  <a:lnTo>
                    <a:pt x="357" y="755"/>
                  </a:lnTo>
                  <a:lnTo>
                    <a:pt x="357" y="758"/>
                  </a:lnTo>
                  <a:lnTo>
                    <a:pt x="356" y="758"/>
                  </a:lnTo>
                  <a:lnTo>
                    <a:pt x="352" y="759"/>
                  </a:lnTo>
                  <a:lnTo>
                    <a:pt x="351" y="755"/>
                  </a:lnTo>
                  <a:lnTo>
                    <a:pt x="350" y="756"/>
                  </a:lnTo>
                  <a:lnTo>
                    <a:pt x="349" y="756"/>
                  </a:lnTo>
                  <a:lnTo>
                    <a:pt x="349" y="758"/>
                  </a:lnTo>
                  <a:lnTo>
                    <a:pt x="348" y="759"/>
                  </a:lnTo>
                  <a:lnTo>
                    <a:pt x="345" y="758"/>
                  </a:lnTo>
                  <a:lnTo>
                    <a:pt x="345" y="760"/>
                  </a:lnTo>
                  <a:lnTo>
                    <a:pt x="343" y="759"/>
                  </a:lnTo>
                  <a:lnTo>
                    <a:pt x="343" y="758"/>
                  </a:lnTo>
                  <a:lnTo>
                    <a:pt x="338" y="756"/>
                  </a:lnTo>
                  <a:lnTo>
                    <a:pt x="338" y="754"/>
                  </a:lnTo>
                  <a:lnTo>
                    <a:pt x="339" y="754"/>
                  </a:lnTo>
                  <a:lnTo>
                    <a:pt x="340" y="752"/>
                  </a:lnTo>
                  <a:lnTo>
                    <a:pt x="342" y="750"/>
                  </a:lnTo>
                  <a:lnTo>
                    <a:pt x="345" y="748"/>
                  </a:lnTo>
                  <a:lnTo>
                    <a:pt x="345" y="747"/>
                  </a:lnTo>
                  <a:lnTo>
                    <a:pt x="345" y="744"/>
                  </a:lnTo>
                  <a:lnTo>
                    <a:pt x="344" y="746"/>
                  </a:lnTo>
                  <a:lnTo>
                    <a:pt x="343" y="747"/>
                  </a:lnTo>
                  <a:lnTo>
                    <a:pt x="342" y="749"/>
                  </a:lnTo>
                  <a:lnTo>
                    <a:pt x="338" y="749"/>
                  </a:lnTo>
                  <a:lnTo>
                    <a:pt x="337" y="748"/>
                  </a:lnTo>
                  <a:lnTo>
                    <a:pt x="334" y="748"/>
                  </a:lnTo>
                  <a:lnTo>
                    <a:pt x="332" y="746"/>
                  </a:lnTo>
                  <a:lnTo>
                    <a:pt x="332" y="744"/>
                  </a:lnTo>
                  <a:lnTo>
                    <a:pt x="333" y="744"/>
                  </a:lnTo>
                  <a:lnTo>
                    <a:pt x="333" y="742"/>
                  </a:lnTo>
                  <a:lnTo>
                    <a:pt x="332" y="742"/>
                  </a:lnTo>
                  <a:lnTo>
                    <a:pt x="331" y="742"/>
                  </a:lnTo>
                  <a:lnTo>
                    <a:pt x="331" y="743"/>
                  </a:lnTo>
                  <a:lnTo>
                    <a:pt x="330" y="742"/>
                  </a:lnTo>
                  <a:lnTo>
                    <a:pt x="330" y="740"/>
                  </a:lnTo>
                  <a:lnTo>
                    <a:pt x="331" y="736"/>
                  </a:lnTo>
                  <a:lnTo>
                    <a:pt x="331" y="734"/>
                  </a:lnTo>
                  <a:lnTo>
                    <a:pt x="331" y="732"/>
                  </a:lnTo>
                  <a:lnTo>
                    <a:pt x="328" y="730"/>
                  </a:lnTo>
                  <a:lnTo>
                    <a:pt x="327" y="728"/>
                  </a:lnTo>
                  <a:lnTo>
                    <a:pt x="327" y="723"/>
                  </a:lnTo>
                  <a:lnTo>
                    <a:pt x="328" y="722"/>
                  </a:lnTo>
                  <a:lnTo>
                    <a:pt x="330" y="724"/>
                  </a:lnTo>
                  <a:lnTo>
                    <a:pt x="331" y="724"/>
                  </a:lnTo>
                  <a:lnTo>
                    <a:pt x="331" y="723"/>
                  </a:lnTo>
                  <a:lnTo>
                    <a:pt x="331" y="720"/>
                  </a:lnTo>
                  <a:lnTo>
                    <a:pt x="334" y="718"/>
                  </a:lnTo>
                  <a:lnTo>
                    <a:pt x="339" y="718"/>
                  </a:lnTo>
                  <a:lnTo>
                    <a:pt x="338" y="716"/>
                  </a:lnTo>
                  <a:lnTo>
                    <a:pt x="336" y="716"/>
                  </a:lnTo>
                  <a:lnTo>
                    <a:pt x="334" y="716"/>
                  </a:lnTo>
                  <a:lnTo>
                    <a:pt x="333" y="717"/>
                  </a:lnTo>
                  <a:lnTo>
                    <a:pt x="331" y="718"/>
                  </a:lnTo>
                  <a:lnTo>
                    <a:pt x="330" y="717"/>
                  </a:lnTo>
                  <a:lnTo>
                    <a:pt x="328" y="716"/>
                  </a:lnTo>
                  <a:lnTo>
                    <a:pt x="326" y="716"/>
                  </a:lnTo>
                  <a:lnTo>
                    <a:pt x="325" y="716"/>
                  </a:lnTo>
                  <a:lnTo>
                    <a:pt x="324" y="718"/>
                  </a:lnTo>
                  <a:lnTo>
                    <a:pt x="322" y="720"/>
                  </a:lnTo>
                  <a:lnTo>
                    <a:pt x="324" y="722"/>
                  </a:lnTo>
                  <a:lnTo>
                    <a:pt x="325" y="722"/>
                  </a:lnTo>
                  <a:lnTo>
                    <a:pt x="322" y="725"/>
                  </a:lnTo>
                  <a:lnTo>
                    <a:pt x="321" y="726"/>
                  </a:lnTo>
                  <a:lnTo>
                    <a:pt x="321" y="729"/>
                  </a:lnTo>
                  <a:lnTo>
                    <a:pt x="320" y="729"/>
                  </a:lnTo>
                  <a:lnTo>
                    <a:pt x="319" y="728"/>
                  </a:lnTo>
                  <a:lnTo>
                    <a:pt x="321" y="723"/>
                  </a:lnTo>
                  <a:lnTo>
                    <a:pt x="318" y="723"/>
                  </a:lnTo>
                  <a:lnTo>
                    <a:pt x="316" y="724"/>
                  </a:lnTo>
                  <a:lnTo>
                    <a:pt x="316" y="725"/>
                  </a:lnTo>
                  <a:lnTo>
                    <a:pt x="315" y="726"/>
                  </a:lnTo>
                  <a:lnTo>
                    <a:pt x="313" y="726"/>
                  </a:lnTo>
                  <a:lnTo>
                    <a:pt x="310" y="725"/>
                  </a:lnTo>
                  <a:lnTo>
                    <a:pt x="308" y="726"/>
                  </a:lnTo>
                  <a:lnTo>
                    <a:pt x="307" y="726"/>
                  </a:lnTo>
                  <a:lnTo>
                    <a:pt x="308" y="726"/>
                  </a:lnTo>
                  <a:lnTo>
                    <a:pt x="308" y="728"/>
                  </a:lnTo>
                  <a:lnTo>
                    <a:pt x="307" y="729"/>
                  </a:lnTo>
                  <a:lnTo>
                    <a:pt x="305" y="730"/>
                  </a:lnTo>
                  <a:lnTo>
                    <a:pt x="305" y="729"/>
                  </a:lnTo>
                  <a:lnTo>
                    <a:pt x="303" y="729"/>
                  </a:lnTo>
                  <a:lnTo>
                    <a:pt x="302" y="730"/>
                  </a:lnTo>
                  <a:lnTo>
                    <a:pt x="301" y="731"/>
                  </a:lnTo>
                  <a:lnTo>
                    <a:pt x="299" y="731"/>
                  </a:lnTo>
                  <a:lnTo>
                    <a:pt x="299" y="730"/>
                  </a:lnTo>
                  <a:lnTo>
                    <a:pt x="297" y="731"/>
                  </a:lnTo>
                  <a:lnTo>
                    <a:pt x="296" y="730"/>
                  </a:lnTo>
                  <a:lnTo>
                    <a:pt x="295" y="730"/>
                  </a:lnTo>
                  <a:lnTo>
                    <a:pt x="295" y="731"/>
                  </a:lnTo>
                  <a:lnTo>
                    <a:pt x="293" y="731"/>
                  </a:lnTo>
                  <a:lnTo>
                    <a:pt x="292" y="730"/>
                  </a:lnTo>
                  <a:lnTo>
                    <a:pt x="292" y="729"/>
                  </a:lnTo>
                  <a:lnTo>
                    <a:pt x="291" y="729"/>
                  </a:lnTo>
                  <a:lnTo>
                    <a:pt x="290" y="729"/>
                  </a:lnTo>
                  <a:lnTo>
                    <a:pt x="287" y="728"/>
                  </a:lnTo>
                  <a:lnTo>
                    <a:pt x="286" y="726"/>
                  </a:lnTo>
                  <a:lnTo>
                    <a:pt x="285" y="725"/>
                  </a:lnTo>
                  <a:lnTo>
                    <a:pt x="286" y="723"/>
                  </a:lnTo>
                  <a:lnTo>
                    <a:pt x="284" y="723"/>
                  </a:lnTo>
                  <a:lnTo>
                    <a:pt x="281" y="723"/>
                  </a:lnTo>
                  <a:lnTo>
                    <a:pt x="280" y="722"/>
                  </a:lnTo>
                  <a:lnTo>
                    <a:pt x="279" y="723"/>
                  </a:lnTo>
                  <a:lnTo>
                    <a:pt x="278" y="724"/>
                  </a:lnTo>
                  <a:lnTo>
                    <a:pt x="277" y="725"/>
                  </a:lnTo>
                  <a:lnTo>
                    <a:pt x="275" y="724"/>
                  </a:lnTo>
                  <a:lnTo>
                    <a:pt x="272" y="724"/>
                  </a:lnTo>
                  <a:lnTo>
                    <a:pt x="269" y="723"/>
                  </a:lnTo>
                  <a:lnTo>
                    <a:pt x="269" y="720"/>
                  </a:lnTo>
                  <a:lnTo>
                    <a:pt x="268" y="720"/>
                  </a:lnTo>
                  <a:lnTo>
                    <a:pt x="267" y="720"/>
                  </a:lnTo>
                  <a:lnTo>
                    <a:pt x="267" y="722"/>
                  </a:lnTo>
                  <a:lnTo>
                    <a:pt x="266" y="723"/>
                  </a:lnTo>
                  <a:lnTo>
                    <a:pt x="265" y="724"/>
                  </a:lnTo>
                  <a:lnTo>
                    <a:pt x="262" y="723"/>
                  </a:lnTo>
                  <a:lnTo>
                    <a:pt x="261" y="722"/>
                  </a:lnTo>
                  <a:lnTo>
                    <a:pt x="260" y="722"/>
                  </a:lnTo>
                  <a:lnTo>
                    <a:pt x="259" y="722"/>
                  </a:lnTo>
                  <a:lnTo>
                    <a:pt x="256" y="722"/>
                  </a:lnTo>
                  <a:lnTo>
                    <a:pt x="255" y="722"/>
                  </a:lnTo>
                  <a:lnTo>
                    <a:pt x="254" y="722"/>
                  </a:lnTo>
                  <a:lnTo>
                    <a:pt x="252" y="720"/>
                  </a:lnTo>
                  <a:lnTo>
                    <a:pt x="250" y="722"/>
                  </a:lnTo>
                  <a:lnTo>
                    <a:pt x="248" y="722"/>
                  </a:lnTo>
                  <a:lnTo>
                    <a:pt x="244" y="723"/>
                  </a:lnTo>
                  <a:lnTo>
                    <a:pt x="244" y="724"/>
                  </a:lnTo>
                  <a:lnTo>
                    <a:pt x="243" y="726"/>
                  </a:lnTo>
                  <a:lnTo>
                    <a:pt x="244" y="728"/>
                  </a:lnTo>
                  <a:lnTo>
                    <a:pt x="245" y="725"/>
                  </a:lnTo>
                  <a:lnTo>
                    <a:pt x="248" y="725"/>
                  </a:lnTo>
                  <a:lnTo>
                    <a:pt x="248" y="726"/>
                  </a:lnTo>
                  <a:lnTo>
                    <a:pt x="250" y="726"/>
                  </a:lnTo>
                  <a:lnTo>
                    <a:pt x="251" y="726"/>
                  </a:lnTo>
                  <a:lnTo>
                    <a:pt x="252" y="726"/>
                  </a:lnTo>
                  <a:lnTo>
                    <a:pt x="254" y="728"/>
                  </a:lnTo>
                  <a:lnTo>
                    <a:pt x="255" y="725"/>
                  </a:lnTo>
                  <a:lnTo>
                    <a:pt x="255" y="723"/>
                  </a:lnTo>
                  <a:lnTo>
                    <a:pt x="255" y="724"/>
                  </a:lnTo>
                  <a:lnTo>
                    <a:pt x="256" y="724"/>
                  </a:lnTo>
                  <a:lnTo>
                    <a:pt x="256" y="726"/>
                  </a:lnTo>
                  <a:lnTo>
                    <a:pt x="257" y="725"/>
                  </a:lnTo>
                  <a:lnTo>
                    <a:pt x="260" y="725"/>
                  </a:lnTo>
                  <a:lnTo>
                    <a:pt x="260" y="726"/>
                  </a:lnTo>
                  <a:lnTo>
                    <a:pt x="261" y="724"/>
                  </a:lnTo>
                  <a:lnTo>
                    <a:pt x="262" y="724"/>
                  </a:lnTo>
                  <a:lnTo>
                    <a:pt x="263" y="725"/>
                  </a:lnTo>
                  <a:lnTo>
                    <a:pt x="265" y="725"/>
                  </a:lnTo>
                  <a:lnTo>
                    <a:pt x="265" y="726"/>
                  </a:lnTo>
                  <a:lnTo>
                    <a:pt x="265" y="725"/>
                  </a:lnTo>
                  <a:lnTo>
                    <a:pt x="265" y="726"/>
                  </a:lnTo>
                  <a:lnTo>
                    <a:pt x="265" y="728"/>
                  </a:lnTo>
                  <a:lnTo>
                    <a:pt x="266" y="729"/>
                  </a:lnTo>
                  <a:lnTo>
                    <a:pt x="267" y="729"/>
                  </a:lnTo>
                  <a:lnTo>
                    <a:pt x="267" y="730"/>
                  </a:lnTo>
                  <a:lnTo>
                    <a:pt x="267" y="729"/>
                  </a:lnTo>
                  <a:lnTo>
                    <a:pt x="268" y="729"/>
                  </a:lnTo>
                  <a:lnTo>
                    <a:pt x="268" y="726"/>
                  </a:lnTo>
                  <a:lnTo>
                    <a:pt x="268" y="725"/>
                  </a:lnTo>
                  <a:lnTo>
                    <a:pt x="269" y="724"/>
                  </a:lnTo>
                  <a:lnTo>
                    <a:pt x="272" y="725"/>
                  </a:lnTo>
                  <a:lnTo>
                    <a:pt x="272" y="729"/>
                  </a:lnTo>
                  <a:lnTo>
                    <a:pt x="271" y="728"/>
                  </a:lnTo>
                  <a:lnTo>
                    <a:pt x="269" y="731"/>
                  </a:lnTo>
                  <a:lnTo>
                    <a:pt x="271" y="734"/>
                  </a:lnTo>
                  <a:lnTo>
                    <a:pt x="267" y="734"/>
                  </a:lnTo>
                  <a:lnTo>
                    <a:pt x="266" y="734"/>
                  </a:lnTo>
                  <a:lnTo>
                    <a:pt x="268" y="734"/>
                  </a:lnTo>
                  <a:lnTo>
                    <a:pt x="268" y="737"/>
                  </a:lnTo>
                  <a:lnTo>
                    <a:pt x="267" y="736"/>
                  </a:lnTo>
                  <a:lnTo>
                    <a:pt x="266" y="736"/>
                  </a:lnTo>
                  <a:lnTo>
                    <a:pt x="263" y="736"/>
                  </a:lnTo>
                  <a:lnTo>
                    <a:pt x="262" y="736"/>
                  </a:lnTo>
                  <a:lnTo>
                    <a:pt x="260" y="737"/>
                  </a:lnTo>
                  <a:lnTo>
                    <a:pt x="256" y="737"/>
                  </a:lnTo>
                  <a:lnTo>
                    <a:pt x="255" y="740"/>
                  </a:lnTo>
                  <a:lnTo>
                    <a:pt x="255" y="741"/>
                  </a:lnTo>
                  <a:lnTo>
                    <a:pt x="254" y="743"/>
                  </a:lnTo>
                  <a:lnTo>
                    <a:pt x="252" y="744"/>
                  </a:lnTo>
                  <a:lnTo>
                    <a:pt x="252" y="746"/>
                  </a:lnTo>
                  <a:lnTo>
                    <a:pt x="249" y="746"/>
                  </a:lnTo>
                  <a:lnTo>
                    <a:pt x="246" y="744"/>
                  </a:lnTo>
                  <a:lnTo>
                    <a:pt x="248" y="743"/>
                  </a:lnTo>
                  <a:lnTo>
                    <a:pt x="248" y="742"/>
                  </a:lnTo>
                  <a:lnTo>
                    <a:pt x="246" y="742"/>
                  </a:lnTo>
                  <a:lnTo>
                    <a:pt x="245" y="740"/>
                  </a:lnTo>
                  <a:lnTo>
                    <a:pt x="244" y="736"/>
                  </a:lnTo>
                  <a:lnTo>
                    <a:pt x="242" y="736"/>
                  </a:lnTo>
                  <a:lnTo>
                    <a:pt x="242" y="737"/>
                  </a:lnTo>
                  <a:lnTo>
                    <a:pt x="243" y="738"/>
                  </a:lnTo>
                  <a:lnTo>
                    <a:pt x="244" y="741"/>
                  </a:lnTo>
                  <a:lnTo>
                    <a:pt x="245" y="742"/>
                  </a:lnTo>
                  <a:lnTo>
                    <a:pt x="244" y="743"/>
                  </a:lnTo>
                  <a:lnTo>
                    <a:pt x="242" y="744"/>
                  </a:lnTo>
                  <a:lnTo>
                    <a:pt x="243" y="741"/>
                  </a:lnTo>
                  <a:lnTo>
                    <a:pt x="242" y="741"/>
                  </a:lnTo>
                  <a:lnTo>
                    <a:pt x="240" y="742"/>
                  </a:lnTo>
                  <a:lnTo>
                    <a:pt x="240" y="744"/>
                  </a:lnTo>
                  <a:lnTo>
                    <a:pt x="243" y="747"/>
                  </a:lnTo>
                  <a:lnTo>
                    <a:pt x="239" y="747"/>
                  </a:lnTo>
                  <a:lnTo>
                    <a:pt x="239" y="748"/>
                  </a:lnTo>
                  <a:lnTo>
                    <a:pt x="240" y="749"/>
                  </a:lnTo>
                  <a:lnTo>
                    <a:pt x="240" y="750"/>
                  </a:lnTo>
                  <a:lnTo>
                    <a:pt x="238" y="749"/>
                  </a:lnTo>
                  <a:lnTo>
                    <a:pt x="238" y="752"/>
                  </a:lnTo>
                  <a:lnTo>
                    <a:pt x="238" y="753"/>
                  </a:lnTo>
                  <a:lnTo>
                    <a:pt x="239" y="753"/>
                  </a:lnTo>
                  <a:lnTo>
                    <a:pt x="239" y="754"/>
                  </a:lnTo>
                  <a:lnTo>
                    <a:pt x="238" y="754"/>
                  </a:lnTo>
                  <a:lnTo>
                    <a:pt x="237" y="755"/>
                  </a:lnTo>
                  <a:lnTo>
                    <a:pt x="240" y="756"/>
                  </a:lnTo>
                  <a:lnTo>
                    <a:pt x="243" y="755"/>
                  </a:lnTo>
                  <a:lnTo>
                    <a:pt x="243" y="756"/>
                  </a:lnTo>
                  <a:lnTo>
                    <a:pt x="244" y="756"/>
                  </a:lnTo>
                  <a:lnTo>
                    <a:pt x="244" y="761"/>
                  </a:lnTo>
                  <a:lnTo>
                    <a:pt x="243" y="764"/>
                  </a:lnTo>
                  <a:lnTo>
                    <a:pt x="243" y="766"/>
                  </a:lnTo>
                  <a:lnTo>
                    <a:pt x="242" y="766"/>
                  </a:lnTo>
                  <a:lnTo>
                    <a:pt x="239" y="767"/>
                  </a:lnTo>
                  <a:lnTo>
                    <a:pt x="239" y="766"/>
                  </a:lnTo>
                  <a:lnTo>
                    <a:pt x="237" y="766"/>
                  </a:lnTo>
                  <a:lnTo>
                    <a:pt x="236" y="765"/>
                  </a:lnTo>
                  <a:lnTo>
                    <a:pt x="233" y="764"/>
                  </a:lnTo>
                  <a:lnTo>
                    <a:pt x="230" y="761"/>
                  </a:lnTo>
                  <a:lnTo>
                    <a:pt x="228" y="761"/>
                  </a:lnTo>
                  <a:lnTo>
                    <a:pt x="226" y="761"/>
                  </a:lnTo>
                  <a:lnTo>
                    <a:pt x="224" y="761"/>
                  </a:lnTo>
                  <a:lnTo>
                    <a:pt x="221" y="761"/>
                  </a:lnTo>
                  <a:lnTo>
                    <a:pt x="219" y="762"/>
                  </a:lnTo>
                  <a:lnTo>
                    <a:pt x="214" y="762"/>
                  </a:lnTo>
                  <a:lnTo>
                    <a:pt x="212" y="762"/>
                  </a:lnTo>
                  <a:lnTo>
                    <a:pt x="210" y="762"/>
                  </a:lnTo>
                  <a:lnTo>
                    <a:pt x="208" y="762"/>
                  </a:lnTo>
                  <a:lnTo>
                    <a:pt x="207" y="761"/>
                  </a:lnTo>
                  <a:lnTo>
                    <a:pt x="206" y="762"/>
                  </a:lnTo>
                  <a:lnTo>
                    <a:pt x="204" y="764"/>
                  </a:lnTo>
                  <a:lnTo>
                    <a:pt x="203" y="764"/>
                  </a:lnTo>
                  <a:lnTo>
                    <a:pt x="202" y="765"/>
                  </a:lnTo>
                  <a:lnTo>
                    <a:pt x="198" y="768"/>
                  </a:lnTo>
                  <a:lnTo>
                    <a:pt x="198" y="770"/>
                  </a:lnTo>
                  <a:lnTo>
                    <a:pt x="197" y="771"/>
                  </a:lnTo>
                  <a:lnTo>
                    <a:pt x="196" y="770"/>
                  </a:lnTo>
                  <a:lnTo>
                    <a:pt x="195" y="771"/>
                  </a:lnTo>
                  <a:lnTo>
                    <a:pt x="192" y="771"/>
                  </a:lnTo>
                  <a:lnTo>
                    <a:pt x="190" y="768"/>
                  </a:lnTo>
                  <a:lnTo>
                    <a:pt x="187" y="765"/>
                  </a:lnTo>
                  <a:lnTo>
                    <a:pt x="189" y="764"/>
                  </a:lnTo>
                  <a:lnTo>
                    <a:pt x="187" y="762"/>
                  </a:lnTo>
                  <a:lnTo>
                    <a:pt x="186" y="760"/>
                  </a:lnTo>
                  <a:lnTo>
                    <a:pt x="185" y="759"/>
                  </a:lnTo>
                  <a:lnTo>
                    <a:pt x="183" y="760"/>
                  </a:lnTo>
                  <a:lnTo>
                    <a:pt x="181" y="760"/>
                  </a:lnTo>
                  <a:lnTo>
                    <a:pt x="180" y="759"/>
                  </a:lnTo>
                  <a:lnTo>
                    <a:pt x="179" y="756"/>
                  </a:lnTo>
                  <a:lnTo>
                    <a:pt x="177" y="753"/>
                  </a:lnTo>
                  <a:lnTo>
                    <a:pt x="174" y="750"/>
                  </a:lnTo>
                  <a:lnTo>
                    <a:pt x="175" y="750"/>
                  </a:lnTo>
                  <a:lnTo>
                    <a:pt x="175" y="749"/>
                  </a:lnTo>
                  <a:lnTo>
                    <a:pt x="175" y="748"/>
                  </a:lnTo>
                  <a:lnTo>
                    <a:pt x="177" y="749"/>
                  </a:lnTo>
                  <a:lnTo>
                    <a:pt x="178" y="749"/>
                  </a:lnTo>
                  <a:lnTo>
                    <a:pt x="179" y="750"/>
                  </a:lnTo>
                  <a:lnTo>
                    <a:pt x="181" y="750"/>
                  </a:lnTo>
                  <a:lnTo>
                    <a:pt x="183" y="752"/>
                  </a:lnTo>
                  <a:lnTo>
                    <a:pt x="185" y="750"/>
                  </a:lnTo>
                  <a:lnTo>
                    <a:pt x="184" y="748"/>
                  </a:lnTo>
                  <a:lnTo>
                    <a:pt x="184" y="747"/>
                  </a:lnTo>
                  <a:lnTo>
                    <a:pt x="184" y="746"/>
                  </a:lnTo>
                  <a:lnTo>
                    <a:pt x="186" y="746"/>
                  </a:lnTo>
                  <a:lnTo>
                    <a:pt x="189" y="747"/>
                  </a:lnTo>
                  <a:lnTo>
                    <a:pt x="189" y="746"/>
                  </a:lnTo>
                  <a:lnTo>
                    <a:pt x="191" y="746"/>
                  </a:lnTo>
                  <a:lnTo>
                    <a:pt x="192" y="744"/>
                  </a:lnTo>
                  <a:lnTo>
                    <a:pt x="191" y="744"/>
                  </a:lnTo>
                  <a:lnTo>
                    <a:pt x="190" y="743"/>
                  </a:lnTo>
                  <a:lnTo>
                    <a:pt x="187" y="741"/>
                  </a:lnTo>
                  <a:lnTo>
                    <a:pt x="187" y="737"/>
                  </a:lnTo>
                  <a:lnTo>
                    <a:pt x="190" y="738"/>
                  </a:lnTo>
                  <a:lnTo>
                    <a:pt x="191" y="740"/>
                  </a:lnTo>
                  <a:lnTo>
                    <a:pt x="192" y="740"/>
                  </a:lnTo>
                  <a:lnTo>
                    <a:pt x="195" y="738"/>
                  </a:lnTo>
                  <a:lnTo>
                    <a:pt x="197" y="736"/>
                  </a:lnTo>
                  <a:lnTo>
                    <a:pt x="198" y="736"/>
                  </a:lnTo>
                  <a:lnTo>
                    <a:pt x="198" y="735"/>
                  </a:lnTo>
                  <a:lnTo>
                    <a:pt x="195" y="732"/>
                  </a:lnTo>
                  <a:lnTo>
                    <a:pt x="193" y="731"/>
                  </a:lnTo>
                  <a:lnTo>
                    <a:pt x="192" y="730"/>
                  </a:lnTo>
                  <a:lnTo>
                    <a:pt x="192" y="728"/>
                  </a:lnTo>
                  <a:lnTo>
                    <a:pt x="190" y="728"/>
                  </a:lnTo>
                  <a:lnTo>
                    <a:pt x="189" y="726"/>
                  </a:lnTo>
                  <a:lnTo>
                    <a:pt x="190" y="725"/>
                  </a:lnTo>
                  <a:lnTo>
                    <a:pt x="191" y="725"/>
                  </a:lnTo>
                  <a:lnTo>
                    <a:pt x="192" y="724"/>
                  </a:lnTo>
                  <a:lnTo>
                    <a:pt x="192" y="723"/>
                  </a:lnTo>
                  <a:lnTo>
                    <a:pt x="196" y="725"/>
                  </a:lnTo>
                  <a:lnTo>
                    <a:pt x="197" y="724"/>
                  </a:lnTo>
                  <a:lnTo>
                    <a:pt x="195" y="723"/>
                  </a:lnTo>
                  <a:lnTo>
                    <a:pt x="196" y="719"/>
                  </a:lnTo>
                  <a:lnTo>
                    <a:pt x="196" y="717"/>
                  </a:lnTo>
                  <a:lnTo>
                    <a:pt x="195" y="716"/>
                  </a:lnTo>
                  <a:lnTo>
                    <a:pt x="193" y="717"/>
                  </a:lnTo>
                  <a:lnTo>
                    <a:pt x="190" y="717"/>
                  </a:lnTo>
                  <a:lnTo>
                    <a:pt x="187" y="716"/>
                  </a:lnTo>
                  <a:lnTo>
                    <a:pt x="186" y="716"/>
                  </a:lnTo>
                  <a:lnTo>
                    <a:pt x="185" y="716"/>
                  </a:lnTo>
                  <a:lnTo>
                    <a:pt x="183" y="716"/>
                  </a:lnTo>
                  <a:lnTo>
                    <a:pt x="181" y="717"/>
                  </a:lnTo>
                  <a:lnTo>
                    <a:pt x="179" y="718"/>
                  </a:lnTo>
                  <a:lnTo>
                    <a:pt x="178" y="719"/>
                  </a:lnTo>
                  <a:lnTo>
                    <a:pt x="178" y="718"/>
                  </a:lnTo>
                  <a:lnTo>
                    <a:pt x="177" y="717"/>
                  </a:lnTo>
                  <a:lnTo>
                    <a:pt x="175" y="718"/>
                  </a:lnTo>
                  <a:lnTo>
                    <a:pt x="173" y="718"/>
                  </a:lnTo>
                  <a:lnTo>
                    <a:pt x="172" y="718"/>
                  </a:lnTo>
                  <a:lnTo>
                    <a:pt x="169" y="717"/>
                  </a:lnTo>
                  <a:lnTo>
                    <a:pt x="168" y="717"/>
                  </a:lnTo>
                  <a:lnTo>
                    <a:pt x="166" y="716"/>
                  </a:lnTo>
                  <a:lnTo>
                    <a:pt x="163" y="717"/>
                  </a:lnTo>
                  <a:lnTo>
                    <a:pt x="161" y="717"/>
                  </a:lnTo>
                  <a:lnTo>
                    <a:pt x="161" y="718"/>
                  </a:lnTo>
                  <a:lnTo>
                    <a:pt x="160" y="718"/>
                  </a:lnTo>
                  <a:lnTo>
                    <a:pt x="159" y="719"/>
                  </a:lnTo>
                  <a:lnTo>
                    <a:pt x="157" y="722"/>
                  </a:lnTo>
                  <a:lnTo>
                    <a:pt x="155" y="720"/>
                  </a:lnTo>
                  <a:lnTo>
                    <a:pt x="149" y="720"/>
                  </a:lnTo>
                  <a:lnTo>
                    <a:pt x="147" y="720"/>
                  </a:lnTo>
                  <a:lnTo>
                    <a:pt x="143" y="719"/>
                  </a:lnTo>
                  <a:lnTo>
                    <a:pt x="141" y="723"/>
                  </a:lnTo>
                  <a:lnTo>
                    <a:pt x="138" y="722"/>
                  </a:lnTo>
                  <a:lnTo>
                    <a:pt x="137" y="720"/>
                  </a:lnTo>
                  <a:lnTo>
                    <a:pt x="136" y="719"/>
                  </a:lnTo>
                  <a:lnTo>
                    <a:pt x="133" y="719"/>
                  </a:lnTo>
                  <a:lnTo>
                    <a:pt x="131" y="717"/>
                  </a:lnTo>
                  <a:lnTo>
                    <a:pt x="128" y="717"/>
                  </a:lnTo>
                  <a:lnTo>
                    <a:pt x="128" y="716"/>
                  </a:lnTo>
                  <a:lnTo>
                    <a:pt x="131" y="713"/>
                  </a:lnTo>
                  <a:lnTo>
                    <a:pt x="132" y="713"/>
                  </a:lnTo>
                  <a:lnTo>
                    <a:pt x="132" y="714"/>
                  </a:lnTo>
                  <a:lnTo>
                    <a:pt x="136" y="714"/>
                  </a:lnTo>
                  <a:lnTo>
                    <a:pt x="137" y="714"/>
                  </a:lnTo>
                  <a:lnTo>
                    <a:pt x="138" y="714"/>
                  </a:lnTo>
                  <a:lnTo>
                    <a:pt x="138" y="713"/>
                  </a:lnTo>
                  <a:lnTo>
                    <a:pt x="136" y="712"/>
                  </a:lnTo>
                  <a:lnTo>
                    <a:pt x="136" y="710"/>
                  </a:lnTo>
                  <a:lnTo>
                    <a:pt x="133" y="708"/>
                  </a:lnTo>
                  <a:lnTo>
                    <a:pt x="132" y="708"/>
                  </a:lnTo>
                  <a:lnTo>
                    <a:pt x="131" y="708"/>
                  </a:lnTo>
                  <a:lnTo>
                    <a:pt x="131" y="707"/>
                  </a:lnTo>
                  <a:lnTo>
                    <a:pt x="128" y="707"/>
                  </a:lnTo>
                  <a:lnTo>
                    <a:pt x="130" y="701"/>
                  </a:lnTo>
                  <a:lnTo>
                    <a:pt x="133" y="697"/>
                  </a:lnTo>
                  <a:lnTo>
                    <a:pt x="134" y="697"/>
                  </a:lnTo>
                  <a:lnTo>
                    <a:pt x="136" y="697"/>
                  </a:lnTo>
                  <a:lnTo>
                    <a:pt x="136" y="696"/>
                  </a:lnTo>
                  <a:lnTo>
                    <a:pt x="138" y="695"/>
                  </a:lnTo>
                  <a:lnTo>
                    <a:pt x="139" y="697"/>
                  </a:lnTo>
                  <a:lnTo>
                    <a:pt x="143" y="699"/>
                  </a:lnTo>
                  <a:lnTo>
                    <a:pt x="143" y="696"/>
                  </a:lnTo>
                  <a:lnTo>
                    <a:pt x="143" y="694"/>
                  </a:lnTo>
                  <a:lnTo>
                    <a:pt x="144" y="694"/>
                  </a:lnTo>
                  <a:lnTo>
                    <a:pt x="145" y="694"/>
                  </a:lnTo>
                  <a:lnTo>
                    <a:pt x="149" y="693"/>
                  </a:lnTo>
                  <a:lnTo>
                    <a:pt x="150" y="693"/>
                  </a:lnTo>
                  <a:lnTo>
                    <a:pt x="150" y="691"/>
                  </a:lnTo>
                  <a:lnTo>
                    <a:pt x="147" y="688"/>
                  </a:lnTo>
                  <a:lnTo>
                    <a:pt x="145" y="688"/>
                  </a:lnTo>
                  <a:lnTo>
                    <a:pt x="144" y="689"/>
                  </a:lnTo>
                  <a:lnTo>
                    <a:pt x="143" y="690"/>
                  </a:lnTo>
                  <a:lnTo>
                    <a:pt x="143" y="689"/>
                  </a:lnTo>
                  <a:lnTo>
                    <a:pt x="141" y="689"/>
                  </a:lnTo>
                  <a:lnTo>
                    <a:pt x="139" y="689"/>
                  </a:lnTo>
                  <a:lnTo>
                    <a:pt x="138" y="688"/>
                  </a:lnTo>
                  <a:lnTo>
                    <a:pt x="137" y="688"/>
                  </a:lnTo>
                  <a:lnTo>
                    <a:pt x="137" y="687"/>
                  </a:lnTo>
                  <a:lnTo>
                    <a:pt x="133" y="685"/>
                  </a:lnTo>
                  <a:lnTo>
                    <a:pt x="128" y="683"/>
                  </a:lnTo>
                  <a:lnTo>
                    <a:pt x="127" y="682"/>
                  </a:lnTo>
                  <a:lnTo>
                    <a:pt x="126" y="681"/>
                  </a:lnTo>
                  <a:lnTo>
                    <a:pt x="126" y="678"/>
                  </a:lnTo>
                  <a:lnTo>
                    <a:pt x="125" y="677"/>
                  </a:lnTo>
                  <a:lnTo>
                    <a:pt x="124" y="676"/>
                  </a:lnTo>
                  <a:lnTo>
                    <a:pt x="122" y="675"/>
                  </a:lnTo>
                  <a:lnTo>
                    <a:pt x="125" y="673"/>
                  </a:lnTo>
                  <a:lnTo>
                    <a:pt x="125" y="672"/>
                  </a:lnTo>
                  <a:lnTo>
                    <a:pt x="126" y="672"/>
                  </a:lnTo>
                  <a:lnTo>
                    <a:pt x="127" y="673"/>
                  </a:lnTo>
                  <a:lnTo>
                    <a:pt x="127" y="675"/>
                  </a:lnTo>
                  <a:lnTo>
                    <a:pt x="130" y="675"/>
                  </a:lnTo>
                  <a:lnTo>
                    <a:pt x="130" y="676"/>
                  </a:lnTo>
                  <a:lnTo>
                    <a:pt x="132" y="677"/>
                  </a:lnTo>
                  <a:lnTo>
                    <a:pt x="133" y="677"/>
                  </a:lnTo>
                  <a:lnTo>
                    <a:pt x="134" y="678"/>
                  </a:lnTo>
                  <a:lnTo>
                    <a:pt x="134" y="677"/>
                  </a:lnTo>
                  <a:lnTo>
                    <a:pt x="133" y="675"/>
                  </a:lnTo>
                  <a:lnTo>
                    <a:pt x="134" y="672"/>
                  </a:lnTo>
                  <a:lnTo>
                    <a:pt x="137" y="670"/>
                  </a:lnTo>
                  <a:lnTo>
                    <a:pt x="138" y="672"/>
                  </a:lnTo>
                  <a:lnTo>
                    <a:pt x="139" y="675"/>
                  </a:lnTo>
                  <a:lnTo>
                    <a:pt x="141" y="676"/>
                  </a:lnTo>
                  <a:lnTo>
                    <a:pt x="141" y="677"/>
                  </a:lnTo>
                  <a:lnTo>
                    <a:pt x="144" y="677"/>
                  </a:lnTo>
                  <a:lnTo>
                    <a:pt x="145" y="677"/>
                  </a:lnTo>
                  <a:lnTo>
                    <a:pt x="145" y="678"/>
                  </a:lnTo>
                  <a:lnTo>
                    <a:pt x="145" y="679"/>
                  </a:lnTo>
                  <a:lnTo>
                    <a:pt x="147" y="681"/>
                  </a:lnTo>
                  <a:lnTo>
                    <a:pt x="149" y="682"/>
                  </a:lnTo>
                  <a:lnTo>
                    <a:pt x="149" y="681"/>
                  </a:lnTo>
                  <a:lnTo>
                    <a:pt x="150" y="681"/>
                  </a:lnTo>
                  <a:lnTo>
                    <a:pt x="153" y="682"/>
                  </a:lnTo>
                  <a:lnTo>
                    <a:pt x="155" y="682"/>
                  </a:lnTo>
                  <a:lnTo>
                    <a:pt x="157" y="682"/>
                  </a:lnTo>
                  <a:lnTo>
                    <a:pt x="155" y="678"/>
                  </a:lnTo>
                  <a:lnTo>
                    <a:pt x="154" y="676"/>
                  </a:lnTo>
                  <a:lnTo>
                    <a:pt x="153" y="673"/>
                  </a:lnTo>
                  <a:lnTo>
                    <a:pt x="151" y="672"/>
                  </a:lnTo>
                  <a:lnTo>
                    <a:pt x="153" y="672"/>
                  </a:lnTo>
                  <a:lnTo>
                    <a:pt x="153" y="671"/>
                  </a:lnTo>
                  <a:lnTo>
                    <a:pt x="154" y="670"/>
                  </a:lnTo>
                  <a:lnTo>
                    <a:pt x="155" y="671"/>
                  </a:lnTo>
                  <a:lnTo>
                    <a:pt x="157" y="672"/>
                  </a:lnTo>
                  <a:lnTo>
                    <a:pt x="159" y="673"/>
                  </a:lnTo>
                  <a:lnTo>
                    <a:pt x="160" y="675"/>
                  </a:lnTo>
                  <a:lnTo>
                    <a:pt x="161" y="676"/>
                  </a:lnTo>
                  <a:lnTo>
                    <a:pt x="162" y="673"/>
                  </a:lnTo>
                  <a:lnTo>
                    <a:pt x="161" y="672"/>
                  </a:lnTo>
                  <a:lnTo>
                    <a:pt x="160" y="670"/>
                  </a:lnTo>
                  <a:lnTo>
                    <a:pt x="160" y="669"/>
                  </a:lnTo>
                  <a:lnTo>
                    <a:pt x="159" y="667"/>
                  </a:lnTo>
                  <a:lnTo>
                    <a:pt x="157" y="664"/>
                  </a:lnTo>
                  <a:lnTo>
                    <a:pt x="161" y="664"/>
                  </a:lnTo>
                  <a:lnTo>
                    <a:pt x="163" y="664"/>
                  </a:lnTo>
                  <a:lnTo>
                    <a:pt x="163" y="665"/>
                  </a:lnTo>
                  <a:lnTo>
                    <a:pt x="163" y="666"/>
                  </a:lnTo>
                  <a:lnTo>
                    <a:pt x="166" y="666"/>
                  </a:lnTo>
                  <a:lnTo>
                    <a:pt x="168" y="666"/>
                  </a:lnTo>
                  <a:lnTo>
                    <a:pt x="168" y="667"/>
                  </a:lnTo>
                  <a:lnTo>
                    <a:pt x="171" y="669"/>
                  </a:lnTo>
                  <a:lnTo>
                    <a:pt x="171" y="667"/>
                  </a:lnTo>
                  <a:lnTo>
                    <a:pt x="171" y="666"/>
                  </a:lnTo>
                  <a:lnTo>
                    <a:pt x="171" y="665"/>
                  </a:lnTo>
                  <a:lnTo>
                    <a:pt x="172" y="663"/>
                  </a:lnTo>
                  <a:lnTo>
                    <a:pt x="175" y="664"/>
                  </a:lnTo>
                  <a:lnTo>
                    <a:pt x="175" y="665"/>
                  </a:lnTo>
                  <a:lnTo>
                    <a:pt x="177" y="666"/>
                  </a:lnTo>
                  <a:lnTo>
                    <a:pt x="178" y="665"/>
                  </a:lnTo>
                  <a:lnTo>
                    <a:pt x="179" y="665"/>
                  </a:lnTo>
                  <a:lnTo>
                    <a:pt x="179" y="663"/>
                  </a:lnTo>
                  <a:lnTo>
                    <a:pt x="181" y="661"/>
                  </a:lnTo>
                  <a:lnTo>
                    <a:pt x="184" y="661"/>
                  </a:lnTo>
                  <a:lnTo>
                    <a:pt x="184" y="660"/>
                  </a:lnTo>
                  <a:lnTo>
                    <a:pt x="183" y="659"/>
                  </a:lnTo>
                  <a:lnTo>
                    <a:pt x="181" y="659"/>
                  </a:lnTo>
                  <a:lnTo>
                    <a:pt x="181" y="658"/>
                  </a:lnTo>
                  <a:lnTo>
                    <a:pt x="180" y="657"/>
                  </a:lnTo>
                  <a:lnTo>
                    <a:pt x="179" y="655"/>
                  </a:lnTo>
                  <a:lnTo>
                    <a:pt x="179" y="652"/>
                  </a:lnTo>
                  <a:lnTo>
                    <a:pt x="181" y="651"/>
                  </a:lnTo>
                  <a:lnTo>
                    <a:pt x="183" y="649"/>
                  </a:lnTo>
                  <a:lnTo>
                    <a:pt x="181" y="652"/>
                  </a:lnTo>
                  <a:lnTo>
                    <a:pt x="184" y="653"/>
                  </a:lnTo>
                  <a:lnTo>
                    <a:pt x="185" y="654"/>
                  </a:lnTo>
                  <a:lnTo>
                    <a:pt x="186" y="653"/>
                  </a:lnTo>
                  <a:lnTo>
                    <a:pt x="187" y="654"/>
                  </a:lnTo>
                  <a:lnTo>
                    <a:pt x="189" y="655"/>
                  </a:lnTo>
                  <a:lnTo>
                    <a:pt x="190" y="655"/>
                  </a:lnTo>
                  <a:lnTo>
                    <a:pt x="190" y="654"/>
                  </a:lnTo>
                  <a:lnTo>
                    <a:pt x="190" y="652"/>
                  </a:lnTo>
                  <a:lnTo>
                    <a:pt x="189" y="651"/>
                  </a:lnTo>
                  <a:lnTo>
                    <a:pt x="191" y="651"/>
                  </a:lnTo>
                  <a:lnTo>
                    <a:pt x="191" y="649"/>
                  </a:lnTo>
                  <a:lnTo>
                    <a:pt x="193" y="652"/>
                  </a:lnTo>
                  <a:lnTo>
                    <a:pt x="195" y="653"/>
                  </a:lnTo>
                  <a:lnTo>
                    <a:pt x="196" y="653"/>
                  </a:lnTo>
                  <a:lnTo>
                    <a:pt x="196" y="652"/>
                  </a:lnTo>
                  <a:lnTo>
                    <a:pt x="195" y="651"/>
                  </a:lnTo>
                  <a:lnTo>
                    <a:pt x="193" y="649"/>
                  </a:lnTo>
                  <a:lnTo>
                    <a:pt x="193" y="648"/>
                  </a:lnTo>
                  <a:lnTo>
                    <a:pt x="195" y="647"/>
                  </a:lnTo>
                  <a:lnTo>
                    <a:pt x="196" y="648"/>
                  </a:lnTo>
                  <a:lnTo>
                    <a:pt x="197" y="648"/>
                  </a:lnTo>
                  <a:lnTo>
                    <a:pt x="200" y="648"/>
                  </a:lnTo>
                  <a:lnTo>
                    <a:pt x="197" y="646"/>
                  </a:lnTo>
                  <a:lnTo>
                    <a:pt x="195" y="642"/>
                  </a:lnTo>
                  <a:lnTo>
                    <a:pt x="197" y="641"/>
                  </a:lnTo>
                  <a:lnTo>
                    <a:pt x="198" y="642"/>
                  </a:lnTo>
                  <a:lnTo>
                    <a:pt x="200" y="642"/>
                  </a:lnTo>
                  <a:lnTo>
                    <a:pt x="202" y="641"/>
                  </a:lnTo>
                  <a:lnTo>
                    <a:pt x="203" y="641"/>
                  </a:lnTo>
                  <a:lnTo>
                    <a:pt x="204" y="641"/>
                  </a:lnTo>
                  <a:lnTo>
                    <a:pt x="206" y="640"/>
                  </a:lnTo>
                  <a:lnTo>
                    <a:pt x="207" y="640"/>
                  </a:lnTo>
                  <a:lnTo>
                    <a:pt x="209" y="639"/>
                  </a:lnTo>
                  <a:lnTo>
                    <a:pt x="210" y="640"/>
                  </a:lnTo>
                  <a:lnTo>
                    <a:pt x="212" y="641"/>
                  </a:lnTo>
                  <a:lnTo>
                    <a:pt x="214" y="641"/>
                  </a:lnTo>
                  <a:lnTo>
                    <a:pt x="216" y="641"/>
                  </a:lnTo>
                  <a:lnTo>
                    <a:pt x="218" y="643"/>
                  </a:lnTo>
                  <a:lnTo>
                    <a:pt x="220" y="643"/>
                  </a:lnTo>
                  <a:lnTo>
                    <a:pt x="221" y="643"/>
                  </a:lnTo>
                  <a:lnTo>
                    <a:pt x="221" y="642"/>
                  </a:lnTo>
                  <a:lnTo>
                    <a:pt x="225" y="643"/>
                  </a:lnTo>
                  <a:lnTo>
                    <a:pt x="226" y="643"/>
                  </a:lnTo>
                  <a:lnTo>
                    <a:pt x="228" y="642"/>
                  </a:lnTo>
                  <a:lnTo>
                    <a:pt x="227" y="640"/>
                  </a:lnTo>
                  <a:lnTo>
                    <a:pt x="227" y="637"/>
                  </a:lnTo>
                  <a:lnTo>
                    <a:pt x="230" y="639"/>
                  </a:lnTo>
                  <a:lnTo>
                    <a:pt x="234" y="640"/>
                  </a:lnTo>
                  <a:lnTo>
                    <a:pt x="237" y="637"/>
                  </a:lnTo>
                  <a:lnTo>
                    <a:pt x="238" y="634"/>
                  </a:lnTo>
                  <a:lnTo>
                    <a:pt x="238" y="633"/>
                  </a:lnTo>
                  <a:lnTo>
                    <a:pt x="239" y="631"/>
                  </a:lnTo>
                  <a:lnTo>
                    <a:pt x="243" y="629"/>
                  </a:lnTo>
                  <a:lnTo>
                    <a:pt x="245" y="628"/>
                  </a:lnTo>
                  <a:lnTo>
                    <a:pt x="246" y="628"/>
                  </a:lnTo>
                  <a:lnTo>
                    <a:pt x="248" y="627"/>
                  </a:lnTo>
                  <a:lnTo>
                    <a:pt x="249" y="624"/>
                  </a:lnTo>
                  <a:lnTo>
                    <a:pt x="250" y="623"/>
                  </a:lnTo>
                  <a:lnTo>
                    <a:pt x="251" y="622"/>
                  </a:lnTo>
                  <a:lnTo>
                    <a:pt x="250" y="622"/>
                  </a:lnTo>
                  <a:lnTo>
                    <a:pt x="249" y="621"/>
                  </a:lnTo>
                  <a:lnTo>
                    <a:pt x="250" y="619"/>
                  </a:lnTo>
                  <a:lnTo>
                    <a:pt x="251" y="621"/>
                  </a:lnTo>
                  <a:lnTo>
                    <a:pt x="252" y="619"/>
                  </a:lnTo>
                  <a:lnTo>
                    <a:pt x="254" y="621"/>
                  </a:lnTo>
                  <a:lnTo>
                    <a:pt x="255" y="619"/>
                  </a:lnTo>
                  <a:lnTo>
                    <a:pt x="256" y="619"/>
                  </a:lnTo>
                  <a:lnTo>
                    <a:pt x="257" y="617"/>
                  </a:lnTo>
                  <a:lnTo>
                    <a:pt x="260" y="618"/>
                  </a:lnTo>
                  <a:lnTo>
                    <a:pt x="260" y="619"/>
                  </a:lnTo>
                  <a:lnTo>
                    <a:pt x="262" y="618"/>
                  </a:lnTo>
                  <a:lnTo>
                    <a:pt x="263" y="618"/>
                  </a:lnTo>
                  <a:lnTo>
                    <a:pt x="266" y="618"/>
                  </a:lnTo>
                  <a:lnTo>
                    <a:pt x="267" y="617"/>
                  </a:lnTo>
                  <a:lnTo>
                    <a:pt x="268" y="619"/>
                  </a:lnTo>
                  <a:lnTo>
                    <a:pt x="269" y="619"/>
                  </a:lnTo>
                  <a:lnTo>
                    <a:pt x="269" y="618"/>
                  </a:lnTo>
                  <a:lnTo>
                    <a:pt x="272" y="618"/>
                  </a:lnTo>
                  <a:lnTo>
                    <a:pt x="272" y="617"/>
                  </a:lnTo>
                  <a:lnTo>
                    <a:pt x="271" y="616"/>
                  </a:lnTo>
                  <a:lnTo>
                    <a:pt x="272" y="615"/>
                  </a:lnTo>
                  <a:lnTo>
                    <a:pt x="273" y="615"/>
                  </a:lnTo>
                  <a:lnTo>
                    <a:pt x="273" y="616"/>
                  </a:lnTo>
                  <a:lnTo>
                    <a:pt x="273" y="617"/>
                  </a:lnTo>
                  <a:lnTo>
                    <a:pt x="277" y="617"/>
                  </a:lnTo>
                  <a:lnTo>
                    <a:pt x="275" y="615"/>
                  </a:lnTo>
                  <a:lnTo>
                    <a:pt x="277" y="613"/>
                  </a:lnTo>
                  <a:lnTo>
                    <a:pt x="280" y="613"/>
                  </a:lnTo>
                  <a:lnTo>
                    <a:pt x="281" y="611"/>
                  </a:lnTo>
                  <a:lnTo>
                    <a:pt x="281" y="612"/>
                  </a:lnTo>
                  <a:lnTo>
                    <a:pt x="284" y="612"/>
                  </a:lnTo>
                  <a:lnTo>
                    <a:pt x="285" y="611"/>
                  </a:lnTo>
                  <a:lnTo>
                    <a:pt x="283" y="611"/>
                  </a:lnTo>
                  <a:lnTo>
                    <a:pt x="284" y="610"/>
                  </a:lnTo>
                  <a:lnTo>
                    <a:pt x="285" y="609"/>
                  </a:lnTo>
                  <a:lnTo>
                    <a:pt x="287" y="609"/>
                  </a:lnTo>
                  <a:lnTo>
                    <a:pt x="289" y="607"/>
                  </a:lnTo>
                  <a:lnTo>
                    <a:pt x="289" y="609"/>
                  </a:lnTo>
                  <a:lnTo>
                    <a:pt x="290" y="609"/>
                  </a:lnTo>
                  <a:lnTo>
                    <a:pt x="289" y="610"/>
                  </a:lnTo>
                  <a:lnTo>
                    <a:pt x="289" y="611"/>
                  </a:lnTo>
                  <a:lnTo>
                    <a:pt x="290" y="611"/>
                  </a:lnTo>
                  <a:lnTo>
                    <a:pt x="290" y="610"/>
                  </a:lnTo>
                  <a:lnTo>
                    <a:pt x="291" y="611"/>
                  </a:lnTo>
                  <a:lnTo>
                    <a:pt x="293" y="613"/>
                  </a:lnTo>
                  <a:lnTo>
                    <a:pt x="297" y="613"/>
                  </a:lnTo>
                  <a:lnTo>
                    <a:pt x="296" y="611"/>
                  </a:lnTo>
                  <a:lnTo>
                    <a:pt x="296" y="610"/>
                  </a:lnTo>
                  <a:lnTo>
                    <a:pt x="293" y="610"/>
                  </a:lnTo>
                  <a:lnTo>
                    <a:pt x="292" y="609"/>
                  </a:lnTo>
                  <a:lnTo>
                    <a:pt x="293" y="609"/>
                  </a:lnTo>
                  <a:lnTo>
                    <a:pt x="295" y="609"/>
                  </a:lnTo>
                  <a:lnTo>
                    <a:pt x="295" y="607"/>
                  </a:lnTo>
                  <a:lnTo>
                    <a:pt x="296" y="607"/>
                  </a:lnTo>
                  <a:lnTo>
                    <a:pt x="296" y="606"/>
                  </a:lnTo>
                  <a:lnTo>
                    <a:pt x="296" y="605"/>
                  </a:lnTo>
                  <a:lnTo>
                    <a:pt x="298" y="606"/>
                  </a:lnTo>
                  <a:lnTo>
                    <a:pt x="298" y="605"/>
                  </a:lnTo>
                  <a:lnTo>
                    <a:pt x="297" y="604"/>
                  </a:lnTo>
                  <a:lnTo>
                    <a:pt x="298" y="603"/>
                  </a:lnTo>
                  <a:lnTo>
                    <a:pt x="299" y="603"/>
                  </a:lnTo>
                  <a:lnTo>
                    <a:pt x="299" y="601"/>
                  </a:lnTo>
                  <a:lnTo>
                    <a:pt x="298" y="601"/>
                  </a:lnTo>
                  <a:lnTo>
                    <a:pt x="299" y="601"/>
                  </a:lnTo>
                  <a:lnTo>
                    <a:pt x="297" y="601"/>
                  </a:lnTo>
                  <a:lnTo>
                    <a:pt x="297" y="600"/>
                  </a:lnTo>
                  <a:lnTo>
                    <a:pt x="296" y="600"/>
                  </a:lnTo>
                  <a:lnTo>
                    <a:pt x="296" y="603"/>
                  </a:lnTo>
                  <a:lnTo>
                    <a:pt x="295" y="601"/>
                  </a:lnTo>
                  <a:lnTo>
                    <a:pt x="293" y="603"/>
                  </a:lnTo>
                  <a:lnTo>
                    <a:pt x="293" y="604"/>
                  </a:lnTo>
                  <a:lnTo>
                    <a:pt x="292" y="604"/>
                  </a:lnTo>
                  <a:lnTo>
                    <a:pt x="291" y="605"/>
                  </a:lnTo>
                  <a:lnTo>
                    <a:pt x="290" y="605"/>
                  </a:lnTo>
                  <a:lnTo>
                    <a:pt x="289" y="600"/>
                  </a:lnTo>
                  <a:lnTo>
                    <a:pt x="289" y="599"/>
                  </a:lnTo>
                  <a:lnTo>
                    <a:pt x="289" y="598"/>
                  </a:lnTo>
                  <a:lnTo>
                    <a:pt x="285" y="598"/>
                  </a:lnTo>
                  <a:lnTo>
                    <a:pt x="284" y="596"/>
                  </a:lnTo>
                  <a:lnTo>
                    <a:pt x="283" y="596"/>
                  </a:lnTo>
                  <a:lnTo>
                    <a:pt x="283" y="595"/>
                  </a:lnTo>
                  <a:lnTo>
                    <a:pt x="281" y="599"/>
                  </a:lnTo>
                  <a:lnTo>
                    <a:pt x="281" y="601"/>
                  </a:lnTo>
                  <a:lnTo>
                    <a:pt x="277" y="600"/>
                  </a:lnTo>
                  <a:lnTo>
                    <a:pt x="275" y="601"/>
                  </a:lnTo>
                  <a:lnTo>
                    <a:pt x="274" y="601"/>
                  </a:lnTo>
                  <a:lnTo>
                    <a:pt x="273" y="601"/>
                  </a:lnTo>
                  <a:lnTo>
                    <a:pt x="272" y="601"/>
                  </a:lnTo>
                  <a:lnTo>
                    <a:pt x="272" y="604"/>
                  </a:lnTo>
                  <a:lnTo>
                    <a:pt x="272" y="605"/>
                  </a:lnTo>
                  <a:lnTo>
                    <a:pt x="271" y="605"/>
                  </a:lnTo>
                  <a:lnTo>
                    <a:pt x="271" y="604"/>
                  </a:lnTo>
                  <a:lnTo>
                    <a:pt x="269" y="604"/>
                  </a:lnTo>
                  <a:lnTo>
                    <a:pt x="268" y="604"/>
                  </a:lnTo>
                  <a:lnTo>
                    <a:pt x="268" y="605"/>
                  </a:lnTo>
                  <a:lnTo>
                    <a:pt x="266" y="605"/>
                  </a:lnTo>
                  <a:lnTo>
                    <a:pt x="265" y="605"/>
                  </a:lnTo>
                  <a:lnTo>
                    <a:pt x="265" y="606"/>
                  </a:lnTo>
                  <a:lnTo>
                    <a:pt x="266" y="606"/>
                  </a:lnTo>
                  <a:lnTo>
                    <a:pt x="266" y="607"/>
                  </a:lnTo>
                  <a:lnTo>
                    <a:pt x="263" y="607"/>
                  </a:lnTo>
                  <a:lnTo>
                    <a:pt x="262" y="606"/>
                  </a:lnTo>
                  <a:lnTo>
                    <a:pt x="261" y="605"/>
                  </a:lnTo>
                  <a:lnTo>
                    <a:pt x="260" y="603"/>
                  </a:lnTo>
                  <a:lnTo>
                    <a:pt x="261" y="604"/>
                  </a:lnTo>
                  <a:lnTo>
                    <a:pt x="262" y="604"/>
                  </a:lnTo>
                  <a:lnTo>
                    <a:pt x="261" y="603"/>
                  </a:lnTo>
                  <a:lnTo>
                    <a:pt x="261" y="601"/>
                  </a:lnTo>
                  <a:lnTo>
                    <a:pt x="259" y="601"/>
                  </a:lnTo>
                  <a:lnTo>
                    <a:pt x="257" y="601"/>
                  </a:lnTo>
                  <a:lnTo>
                    <a:pt x="256" y="601"/>
                  </a:lnTo>
                  <a:lnTo>
                    <a:pt x="256" y="603"/>
                  </a:lnTo>
                  <a:lnTo>
                    <a:pt x="254" y="604"/>
                  </a:lnTo>
                  <a:lnTo>
                    <a:pt x="252" y="606"/>
                  </a:lnTo>
                  <a:lnTo>
                    <a:pt x="254" y="605"/>
                  </a:lnTo>
                  <a:lnTo>
                    <a:pt x="255" y="605"/>
                  </a:lnTo>
                  <a:lnTo>
                    <a:pt x="255" y="607"/>
                  </a:lnTo>
                  <a:lnTo>
                    <a:pt x="252" y="607"/>
                  </a:lnTo>
                  <a:lnTo>
                    <a:pt x="250" y="607"/>
                  </a:lnTo>
                  <a:lnTo>
                    <a:pt x="250" y="609"/>
                  </a:lnTo>
                  <a:lnTo>
                    <a:pt x="249" y="609"/>
                  </a:lnTo>
                  <a:lnTo>
                    <a:pt x="249" y="610"/>
                  </a:lnTo>
                  <a:lnTo>
                    <a:pt x="246" y="610"/>
                  </a:lnTo>
                  <a:lnTo>
                    <a:pt x="246" y="611"/>
                  </a:lnTo>
                  <a:lnTo>
                    <a:pt x="245" y="612"/>
                  </a:lnTo>
                  <a:lnTo>
                    <a:pt x="246" y="612"/>
                  </a:lnTo>
                  <a:lnTo>
                    <a:pt x="248" y="613"/>
                  </a:lnTo>
                  <a:lnTo>
                    <a:pt x="249" y="615"/>
                  </a:lnTo>
                  <a:lnTo>
                    <a:pt x="248" y="616"/>
                  </a:lnTo>
                  <a:lnTo>
                    <a:pt x="244" y="617"/>
                  </a:lnTo>
                  <a:lnTo>
                    <a:pt x="245" y="615"/>
                  </a:lnTo>
                  <a:lnTo>
                    <a:pt x="244" y="616"/>
                  </a:lnTo>
                  <a:lnTo>
                    <a:pt x="243" y="617"/>
                  </a:lnTo>
                  <a:lnTo>
                    <a:pt x="243" y="616"/>
                  </a:lnTo>
                  <a:lnTo>
                    <a:pt x="243" y="615"/>
                  </a:lnTo>
                  <a:lnTo>
                    <a:pt x="244" y="615"/>
                  </a:lnTo>
                  <a:lnTo>
                    <a:pt x="245" y="613"/>
                  </a:lnTo>
                  <a:lnTo>
                    <a:pt x="245" y="612"/>
                  </a:lnTo>
                  <a:lnTo>
                    <a:pt x="244" y="613"/>
                  </a:lnTo>
                  <a:lnTo>
                    <a:pt x="242" y="612"/>
                  </a:lnTo>
                  <a:lnTo>
                    <a:pt x="242" y="613"/>
                  </a:lnTo>
                  <a:lnTo>
                    <a:pt x="242" y="615"/>
                  </a:lnTo>
                  <a:lnTo>
                    <a:pt x="242" y="616"/>
                  </a:lnTo>
                  <a:lnTo>
                    <a:pt x="242" y="617"/>
                  </a:lnTo>
                  <a:lnTo>
                    <a:pt x="244" y="618"/>
                  </a:lnTo>
                  <a:lnTo>
                    <a:pt x="243" y="619"/>
                  </a:lnTo>
                  <a:lnTo>
                    <a:pt x="240" y="621"/>
                  </a:lnTo>
                  <a:lnTo>
                    <a:pt x="240" y="622"/>
                  </a:lnTo>
                  <a:lnTo>
                    <a:pt x="239" y="622"/>
                  </a:lnTo>
                  <a:lnTo>
                    <a:pt x="236" y="621"/>
                  </a:lnTo>
                  <a:lnTo>
                    <a:pt x="233" y="618"/>
                  </a:lnTo>
                  <a:lnTo>
                    <a:pt x="234" y="618"/>
                  </a:lnTo>
                  <a:lnTo>
                    <a:pt x="236" y="618"/>
                  </a:lnTo>
                  <a:lnTo>
                    <a:pt x="237" y="617"/>
                  </a:lnTo>
                  <a:lnTo>
                    <a:pt x="236" y="616"/>
                  </a:lnTo>
                  <a:lnTo>
                    <a:pt x="234" y="616"/>
                  </a:lnTo>
                  <a:lnTo>
                    <a:pt x="233" y="616"/>
                  </a:lnTo>
                  <a:lnTo>
                    <a:pt x="233" y="615"/>
                  </a:lnTo>
                  <a:lnTo>
                    <a:pt x="234" y="613"/>
                  </a:lnTo>
                  <a:lnTo>
                    <a:pt x="234" y="612"/>
                  </a:lnTo>
                  <a:lnTo>
                    <a:pt x="234" y="611"/>
                  </a:lnTo>
                  <a:lnTo>
                    <a:pt x="236" y="611"/>
                  </a:lnTo>
                  <a:lnTo>
                    <a:pt x="236" y="610"/>
                  </a:lnTo>
                  <a:lnTo>
                    <a:pt x="237" y="610"/>
                  </a:lnTo>
                  <a:lnTo>
                    <a:pt x="237" y="609"/>
                  </a:lnTo>
                  <a:lnTo>
                    <a:pt x="236" y="606"/>
                  </a:lnTo>
                  <a:lnTo>
                    <a:pt x="234" y="606"/>
                  </a:lnTo>
                  <a:lnTo>
                    <a:pt x="233" y="607"/>
                  </a:lnTo>
                  <a:lnTo>
                    <a:pt x="234" y="610"/>
                  </a:lnTo>
                  <a:lnTo>
                    <a:pt x="233" y="611"/>
                  </a:lnTo>
                  <a:lnTo>
                    <a:pt x="232" y="611"/>
                  </a:lnTo>
                  <a:lnTo>
                    <a:pt x="230" y="613"/>
                  </a:lnTo>
                  <a:lnTo>
                    <a:pt x="230" y="616"/>
                  </a:lnTo>
                  <a:lnTo>
                    <a:pt x="227" y="616"/>
                  </a:lnTo>
                  <a:lnTo>
                    <a:pt x="227" y="615"/>
                  </a:lnTo>
                  <a:lnTo>
                    <a:pt x="226" y="616"/>
                  </a:lnTo>
                  <a:lnTo>
                    <a:pt x="222" y="615"/>
                  </a:lnTo>
                  <a:lnTo>
                    <a:pt x="221" y="616"/>
                  </a:lnTo>
                  <a:lnTo>
                    <a:pt x="221" y="615"/>
                  </a:lnTo>
                  <a:lnTo>
                    <a:pt x="220" y="616"/>
                  </a:lnTo>
                  <a:lnTo>
                    <a:pt x="216" y="616"/>
                  </a:lnTo>
                  <a:lnTo>
                    <a:pt x="216" y="613"/>
                  </a:lnTo>
                  <a:lnTo>
                    <a:pt x="215" y="613"/>
                  </a:lnTo>
                  <a:lnTo>
                    <a:pt x="214" y="612"/>
                  </a:lnTo>
                  <a:lnTo>
                    <a:pt x="215" y="610"/>
                  </a:lnTo>
                  <a:lnTo>
                    <a:pt x="215" y="611"/>
                  </a:lnTo>
                  <a:lnTo>
                    <a:pt x="216" y="610"/>
                  </a:lnTo>
                  <a:lnTo>
                    <a:pt x="216" y="609"/>
                  </a:lnTo>
                  <a:lnTo>
                    <a:pt x="218" y="609"/>
                  </a:lnTo>
                  <a:lnTo>
                    <a:pt x="219" y="610"/>
                  </a:lnTo>
                  <a:lnTo>
                    <a:pt x="219" y="607"/>
                  </a:lnTo>
                  <a:lnTo>
                    <a:pt x="219" y="606"/>
                  </a:lnTo>
                  <a:lnTo>
                    <a:pt x="220" y="606"/>
                  </a:lnTo>
                  <a:lnTo>
                    <a:pt x="220" y="605"/>
                  </a:lnTo>
                  <a:lnTo>
                    <a:pt x="220" y="601"/>
                  </a:lnTo>
                  <a:lnTo>
                    <a:pt x="221" y="601"/>
                  </a:lnTo>
                  <a:lnTo>
                    <a:pt x="222" y="600"/>
                  </a:lnTo>
                  <a:lnTo>
                    <a:pt x="225" y="599"/>
                  </a:lnTo>
                  <a:lnTo>
                    <a:pt x="226" y="598"/>
                  </a:lnTo>
                  <a:lnTo>
                    <a:pt x="228" y="596"/>
                  </a:lnTo>
                  <a:lnTo>
                    <a:pt x="228" y="594"/>
                  </a:lnTo>
                  <a:lnTo>
                    <a:pt x="230" y="594"/>
                  </a:lnTo>
                  <a:lnTo>
                    <a:pt x="231" y="593"/>
                  </a:lnTo>
                  <a:lnTo>
                    <a:pt x="232" y="593"/>
                  </a:lnTo>
                  <a:lnTo>
                    <a:pt x="234" y="593"/>
                  </a:lnTo>
                  <a:lnTo>
                    <a:pt x="233" y="590"/>
                  </a:lnTo>
                  <a:lnTo>
                    <a:pt x="232" y="588"/>
                  </a:lnTo>
                  <a:lnTo>
                    <a:pt x="230" y="588"/>
                  </a:lnTo>
                  <a:lnTo>
                    <a:pt x="228" y="588"/>
                  </a:lnTo>
                  <a:lnTo>
                    <a:pt x="228" y="589"/>
                  </a:lnTo>
                  <a:lnTo>
                    <a:pt x="227" y="592"/>
                  </a:lnTo>
                  <a:lnTo>
                    <a:pt x="225" y="593"/>
                  </a:lnTo>
                  <a:lnTo>
                    <a:pt x="222" y="592"/>
                  </a:lnTo>
                  <a:lnTo>
                    <a:pt x="221" y="593"/>
                  </a:lnTo>
                  <a:lnTo>
                    <a:pt x="220" y="593"/>
                  </a:lnTo>
                  <a:lnTo>
                    <a:pt x="219" y="593"/>
                  </a:lnTo>
                  <a:lnTo>
                    <a:pt x="219" y="590"/>
                  </a:lnTo>
                  <a:lnTo>
                    <a:pt x="216" y="592"/>
                  </a:lnTo>
                  <a:lnTo>
                    <a:pt x="215" y="592"/>
                  </a:lnTo>
                  <a:lnTo>
                    <a:pt x="214" y="593"/>
                  </a:lnTo>
                  <a:lnTo>
                    <a:pt x="213" y="594"/>
                  </a:lnTo>
                  <a:lnTo>
                    <a:pt x="212" y="594"/>
                  </a:lnTo>
                  <a:lnTo>
                    <a:pt x="212" y="593"/>
                  </a:lnTo>
                  <a:lnTo>
                    <a:pt x="210" y="594"/>
                  </a:lnTo>
                  <a:lnTo>
                    <a:pt x="210" y="595"/>
                  </a:lnTo>
                  <a:lnTo>
                    <a:pt x="209" y="595"/>
                  </a:lnTo>
                  <a:lnTo>
                    <a:pt x="209" y="593"/>
                  </a:lnTo>
                  <a:lnTo>
                    <a:pt x="208" y="595"/>
                  </a:lnTo>
                  <a:lnTo>
                    <a:pt x="206" y="595"/>
                  </a:lnTo>
                  <a:lnTo>
                    <a:pt x="204" y="595"/>
                  </a:lnTo>
                  <a:lnTo>
                    <a:pt x="204" y="596"/>
                  </a:lnTo>
                  <a:lnTo>
                    <a:pt x="202" y="595"/>
                  </a:lnTo>
                  <a:lnTo>
                    <a:pt x="200" y="594"/>
                  </a:lnTo>
                  <a:lnTo>
                    <a:pt x="201" y="593"/>
                  </a:lnTo>
                  <a:lnTo>
                    <a:pt x="201" y="592"/>
                  </a:lnTo>
                  <a:lnTo>
                    <a:pt x="203" y="592"/>
                  </a:lnTo>
                  <a:lnTo>
                    <a:pt x="203" y="589"/>
                  </a:lnTo>
                  <a:lnTo>
                    <a:pt x="204" y="588"/>
                  </a:lnTo>
                  <a:lnTo>
                    <a:pt x="206" y="588"/>
                  </a:lnTo>
                  <a:lnTo>
                    <a:pt x="206" y="589"/>
                  </a:lnTo>
                  <a:lnTo>
                    <a:pt x="208" y="589"/>
                  </a:lnTo>
                  <a:lnTo>
                    <a:pt x="208" y="588"/>
                  </a:lnTo>
                  <a:lnTo>
                    <a:pt x="209" y="588"/>
                  </a:lnTo>
                  <a:lnTo>
                    <a:pt x="208" y="588"/>
                  </a:lnTo>
                  <a:lnTo>
                    <a:pt x="208" y="587"/>
                  </a:lnTo>
                  <a:lnTo>
                    <a:pt x="207" y="587"/>
                  </a:lnTo>
                  <a:lnTo>
                    <a:pt x="206" y="586"/>
                  </a:lnTo>
                  <a:lnTo>
                    <a:pt x="203" y="584"/>
                  </a:lnTo>
                  <a:lnTo>
                    <a:pt x="203" y="581"/>
                  </a:lnTo>
                  <a:lnTo>
                    <a:pt x="204" y="580"/>
                  </a:lnTo>
                  <a:lnTo>
                    <a:pt x="204" y="577"/>
                  </a:lnTo>
                  <a:lnTo>
                    <a:pt x="207" y="575"/>
                  </a:lnTo>
                  <a:lnTo>
                    <a:pt x="207" y="577"/>
                  </a:lnTo>
                  <a:lnTo>
                    <a:pt x="209" y="576"/>
                  </a:lnTo>
                  <a:lnTo>
                    <a:pt x="212" y="576"/>
                  </a:lnTo>
                  <a:lnTo>
                    <a:pt x="214" y="576"/>
                  </a:lnTo>
                  <a:lnTo>
                    <a:pt x="218" y="575"/>
                  </a:lnTo>
                  <a:lnTo>
                    <a:pt x="219" y="575"/>
                  </a:lnTo>
                  <a:lnTo>
                    <a:pt x="219" y="572"/>
                  </a:lnTo>
                  <a:lnTo>
                    <a:pt x="219" y="570"/>
                  </a:lnTo>
                  <a:lnTo>
                    <a:pt x="219" y="566"/>
                  </a:lnTo>
                  <a:lnTo>
                    <a:pt x="221" y="565"/>
                  </a:lnTo>
                  <a:lnTo>
                    <a:pt x="224" y="565"/>
                  </a:lnTo>
                  <a:lnTo>
                    <a:pt x="225" y="564"/>
                  </a:lnTo>
                  <a:lnTo>
                    <a:pt x="226" y="564"/>
                  </a:lnTo>
                  <a:lnTo>
                    <a:pt x="226" y="563"/>
                  </a:lnTo>
                  <a:lnTo>
                    <a:pt x="227" y="563"/>
                  </a:lnTo>
                  <a:lnTo>
                    <a:pt x="228" y="560"/>
                  </a:lnTo>
                  <a:lnTo>
                    <a:pt x="230" y="559"/>
                  </a:lnTo>
                  <a:lnTo>
                    <a:pt x="230" y="558"/>
                  </a:lnTo>
                  <a:lnTo>
                    <a:pt x="230" y="554"/>
                  </a:lnTo>
                  <a:lnTo>
                    <a:pt x="232" y="554"/>
                  </a:lnTo>
                  <a:lnTo>
                    <a:pt x="233" y="556"/>
                  </a:lnTo>
                  <a:lnTo>
                    <a:pt x="234" y="554"/>
                  </a:lnTo>
                  <a:lnTo>
                    <a:pt x="237" y="553"/>
                  </a:lnTo>
                  <a:lnTo>
                    <a:pt x="238" y="553"/>
                  </a:lnTo>
                  <a:lnTo>
                    <a:pt x="238" y="552"/>
                  </a:lnTo>
                  <a:lnTo>
                    <a:pt x="239" y="550"/>
                  </a:lnTo>
                  <a:lnTo>
                    <a:pt x="238" y="547"/>
                  </a:lnTo>
                  <a:lnTo>
                    <a:pt x="239" y="545"/>
                  </a:lnTo>
                  <a:lnTo>
                    <a:pt x="242" y="547"/>
                  </a:lnTo>
                  <a:lnTo>
                    <a:pt x="243" y="547"/>
                  </a:lnTo>
                  <a:lnTo>
                    <a:pt x="243" y="546"/>
                  </a:lnTo>
                  <a:lnTo>
                    <a:pt x="243" y="545"/>
                  </a:lnTo>
                  <a:lnTo>
                    <a:pt x="244" y="544"/>
                  </a:lnTo>
                  <a:lnTo>
                    <a:pt x="245" y="544"/>
                  </a:lnTo>
                  <a:lnTo>
                    <a:pt x="245" y="545"/>
                  </a:lnTo>
                  <a:lnTo>
                    <a:pt x="246" y="546"/>
                  </a:lnTo>
                  <a:lnTo>
                    <a:pt x="248" y="546"/>
                  </a:lnTo>
                  <a:lnTo>
                    <a:pt x="249" y="546"/>
                  </a:lnTo>
                  <a:lnTo>
                    <a:pt x="249" y="545"/>
                  </a:lnTo>
                  <a:lnTo>
                    <a:pt x="249" y="544"/>
                  </a:lnTo>
                  <a:lnTo>
                    <a:pt x="251" y="541"/>
                  </a:lnTo>
                  <a:lnTo>
                    <a:pt x="252" y="542"/>
                  </a:lnTo>
                  <a:lnTo>
                    <a:pt x="252" y="544"/>
                  </a:lnTo>
                  <a:lnTo>
                    <a:pt x="254" y="542"/>
                  </a:lnTo>
                  <a:lnTo>
                    <a:pt x="257" y="541"/>
                  </a:lnTo>
                  <a:lnTo>
                    <a:pt x="257" y="544"/>
                  </a:lnTo>
                  <a:lnTo>
                    <a:pt x="259" y="541"/>
                  </a:lnTo>
                  <a:lnTo>
                    <a:pt x="261" y="540"/>
                  </a:lnTo>
                  <a:lnTo>
                    <a:pt x="262" y="538"/>
                  </a:lnTo>
                  <a:lnTo>
                    <a:pt x="263" y="538"/>
                  </a:lnTo>
                  <a:lnTo>
                    <a:pt x="265" y="538"/>
                  </a:lnTo>
                  <a:lnTo>
                    <a:pt x="265" y="536"/>
                  </a:lnTo>
                  <a:lnTo>
                    <a:pt x="267" y="536"/>
                  </a:lnTo>
                  <a:lnTo>
                    <a:pt x="266" y="535"/>
                  </a:lnTo>
                  <a:lnTo>
                    <a:pt x="267" y="533"/>
                  </a:lnTo>
                  <a:lnTo>
                    <a:pt x="267" y="532"/>
                  </a:lnTo>
                  <a:lnTo>
                    <a:pt x="268" y="532"/>
                  </a:lnTo>
                  <a:lnTo>
                    <a:pt x="268" y="533"/>
                  </a:lnTo>
                  <a:lnTo>
                    <a:pt x="269" y="533"/>
                  </a:lnTo>
                  <a:lnTo>
                    <a:pt x="269" y="532"/>
                  </a:lnTo>
                  <a:lnTo>
                    <a:pt x="269" y="530"/>
                  </a:lnTo>
                  <a:lnTo>
                    <a:pt x="271" y="530"/>
                  </a:lnTo>
                  <a:lnTo>
                    <a:pt x="273" y="529"/>
                  </a:lnTo>
                  <a:lnTo>
                    <a:pt x="272" y="528"/>
                  </a:lnTo>
                  <a:lnTo>
                    <a:pt x="271" y="527"/>
                  </a:lnTo>
                  <a:lnTo>
                    <a:pt x="271" y="526"/>
                  </a:lnTo>
                  <a:lnTo>
                    <a:pt x="272" y="526"/>
                  </a:lnTo>
                  <a:lnTo>
                    <a:pt x="273" y="528"/>
                  </a:lnTo>
                  <a:lnTo>
                    <a:pt x="274" y="526"/>
                  </a:lnTo>
                  <a:lnTo>
                    <a:pt x="277" y="526"/>
                  </a:lnTo>
                  <a:lnTo>
                    <a:pt x="275" y="526"/>
                  </a:lnTo>
                  <a:lnTo>
                    <a:pt x="274" y="524"/>
                  </a:lnTo>
                  <a:lnTo>
                    <a:pt x="273" y="522"/>
                  </a:lnTo>
                  <a:lnTo>
                    <a:pt x="275" y="521"/>
                  </a:lnTo>
                  <a:lnTo>
                    <a:pt x="277" y="521"/>
                  </a:lnTo>
                  <a:lnTo>
                    <a:pt x="277" y="520"/>
                  </a:lnTo>
                  <a:lnTo>
                    <a:pt x="274" y="520"/>
                  </a:lnTo>
                  <a:lnTo>
                    <a:pt x="273" y="521"/>
                  </a:lnTo>
                  <a:lnTo>
                    <a:pt x="272" y="521"/>
                  </a:lnTo>
                  <a:lnTo>
                    <a:pt x="268" y="522"/>
                  </a:lnTo>
                  <a:lnTo>
                    <a:pt x="268" y="523"/>
                  </a:lnTo>
                  <a:lnTo>
                    <a:pt x="266" y="522"/>
                  </a:lnTo>
                  <a:lnTo>
                    <a:pt x="263" y="522"/>
                  </a:lnTo>
                  <a:lnTo>
                    <a:pt x="260" y="523"/>
                  </a:lnTo>
                  <a:lnTo>
                    <a:pt x="257" y="523"/>
                  </a:lnTo>
                  <a:lnTo>
                    <a:pt x="254" y="524"/>
                  </a:lnTo>
                  <a:lnTo>
                    <a:pt x="251" y="526"/>
                  </a:lnTo>
                  <a:lnTo>
                    <a:pt x="249" y="527"/>
                  </a:lnTo>
                  <a:lnTo>
                    <a:pt x="248" y="528"/>
                  </a:lnTo>
                  <a:lnTo>
                    <a:pt x="248" y="527"/>
                  </a:lnTo>
                  <a:lnTo>
                    <a:pt x="245" y="527"/>
                  </a:lnTo>
                  <a:lnTo>
                    <a:pt x="243" y="528"/>
                  </a:lnTo>
                  <a:lnTo>
                    <a:pt x="242" y="529"/>
                  </a:lnTo>
                  <a:lnTo>
                    <a:pt x="239" y="529"/>
                  </a:lnTo>
                  <a:lnTo>
                    <a:pt x="239" y="530"/>
                  </a:lnTo>
                  <a:lnTo>
                    <a:pt x="237" y="530"/>
                  </a:lnTo>
                  <a:lnTo>
                    <a:pt x="236" y="530"/>
                  </a:lnTo>
                  <a:lnTo>
                    <a:pt x="234" y="532"/>
                  </a:lnTo>
                  <a:lnTo>
                    <a:pt x="230" y="533"/>
                  </a:lnTo>
                  <a:lnTo>
                    <a:pt x="228" y="533"/>
                  </a:lnTo>
                  <a:lnTo>
                    <a:pt x="227" y="534"/>
                  </a:lnTo>
                  <a:lnTo>
                    <a:pt x="225" y="536"/>
                  </a:lnTo>
                  <a:lnTo>
                    <a:pt x="222" y="536"/>
                  </a:lnTo>
                  <a:lnTo>
                    <a:pt x="218" y="540"/>
                  </a:lnTo>
                  <a:lnTo>
                    <a:pt x="215" y="542"/>
                  </a:lnTo>
                  <a:lnTo>
                    <a:pt x="213" y="544"/>
                  </a:lnTo>
                  <a:lnTo>
                    <a:pt x="210" y="545"/>
                  </a:lnTo>
                  <a:lnTo>
                    <a:pt x="209" y="547"/>
                  </a:lnTo>
                  <a:lnTo>
                    <a:pt x="209" y="548"/>
                  </a:lnTo>
                  <a:lnTo>
                    <a:pt x="210" y="547"/>
                  </a:lnTo>
                  <a:lnTo>
                    <a:pt x="210" y="546"/>
                  </a:lnTo>
                  <a:lnTo>
                    <a:pt x="213" y="547"/>
                  </a:lnTo>
                  <a:lnTo>
                    <a:pt x="215" y="548"/>
                  </a:lnTo>
                  <a:lnTo>
                    <a:pt x="215" y="550"/>
                  </a:lnTo>
                  <a:lnTo>
                    <a:pt x="214" y="550"/>
                  </a:lnTo>
                  <a:lnTo>
                    <a:pt x="213" y="550"/>
                  </a:lnTo>
                  <a:lnTo>
                    <a:pt x="214" y="550"/>
                  </a:lnTo>
                  <a:lnTo>
                    <a:pt x="216" y="551"/>
                  </a:lnTo>
                  <a:lnTo>
                    <a:pt x="216" y="552"/>
                  </a:lnTo>
                  <a:lnTo>
                    <a:pt x="218" y="552"/>
                  </a:lnTo>
                  <a:lnTo>
                    <a:pt x="218" y="553"/>
                  </a:lnTo>
                  <a:lnTo>
                    <a:pt x="216" y="553"/>
                  </a:lnTo>
                  <a:lnTo>
                    <a:pt x="218" y="554"/>
                  </a:lnTo>
                  <a:lnTo>
                    <a:pt x="216" y="554"/>
                  </a:lnTo>
                  <a:lnTo>
                    <a:pt x="215" y="554"/>
                  </a:lnTo>
                  <a:lnTo>
                    <a:pt x="215" y="556"/>
                  </a:lnTo>
                  <a:lnTo>
                    <a:pt x="215" y="557"/>
                  </a:lnTo>
                  <a:lnTo>
                    <a:pt x="214" y="557"/>
                  </a:lnTo>
                  <a:lnTo>
                    <a:pt x="214" y="558"/>
                  </a:lnTo>
                  <a:lnTo>
                    <a:pt x="216" y="558"/>
                  </a:lnTo>
                  <a:lnTo>
                    <a:pt x="218" y="559"/>
                  </a:lnTo>
                  <a:lnTo>
                    <a:pt x="219" y="560"/>
                  </a:lnTo>
                  <a:lnTo>
                    <a:pt x="216" y="560"/>
                  </a:lnTo>
                  <a:lnTo>
                    <a:pt x="218" y="563"/>
                  </a:lnTo>
                  <a:lnTo>
                    <a:pt x="218" y="564"/>
                  </a:lnTo>
                  <a:lnTo>
                    <a:pt x="218" y="565"/>
                  </a:lnTo>
                  <a:lnTo>
                    <a:pt x="216" y="565"/>
                  </a:lnTo>
                  <a:lnTo>
                    <a:pt x="216" y="566"/>
                  </a:lnTo>
                  <a:lnTo>
                    <a:pt x="218" y="568"/>
                  </a:lnTo>
                  <a:lnTo>
                    <a:pt x="215" y="568"/>
                  </a:lnTo>
                  <a:lnTo>
                    <a:pt x="214" y="568"/>
                  </a:lnTo>
                  <a:lnTo>
                    <a:pt x="213" y="569"/>
                  </a:lnTo>
                  <a:lnTo>
                    <a:pt x="213" y="570"/>
                  </a:lnTo>
                  <a:lnTo>
                    <a:pt x="210" y="570"/>
                  </a:lnTo>
                  <a:lnTo>
                    <a:pt x="210" y="568"/>
                  </a:lnTo>
                  <a:lnTo>
                    <a:pt x="209" y="566"/>
                  </a:lnTo>
                  <a:lnTo>
                    <a:pt x="208" y="565"/>
                  </a:lnTo>
                  <a:lnTo>
                    <a:pt x="206" y="566"/>
                  </a:lnTo>
                  <a:lnTo>
                    <a:pt x="204" y="568"/>
                  </a:lnTo>
                  <a:lnTo>
                    <a:pt x="204" y="569"/>
                  </a:lnTo>
                  <a:lnTo>
                    <a:pt x="204" y="572"/>
                  </a:lnTo>
                  <a:lnTo>
                    <a:pt x="204" y="575"/>
                  </a:lnTo>
                  <a:lnTo>
                    <a:pt x="203" y="576"/>
                  </a:lnTo>
                  <a:lnTo>
                    <a:pt x="203" y="578"/>
                  </a:lnTo>
                  <a:lnTo>
                    <a:pt x="202" y="578"/>
                  </a:lnTo>
                  <a:lnTo>
                    <a:pt x="201" y="581"/>
                  </a:lnTo>
                  <a:lnTo>
                    <a:pt x="198" y="581"/>
                  </a:lnTo>
                  <a:lnTo>
                    <a:pt x="200" y="581"/>
                  </a:lnTo>
                  <a:lnTo>
                    <a:pt x="198" y="583"/>
                  </a:lnTo>
                  <a:lnTo>
                    <a:pt x="197" y="584"/>
                  </a:lnTo>
                  <a:lnTo>
                    <a:pt x="196" y="586"/>
                  </a:lnTo>
                  <a:lnTo>
                    <a:pt x="195" y="586"/>
                  </a:lnTo>
                  <a:lnTo>
                    <a:pt x="195" y="584"/>
                  </a:lnTo>
                  <a:lnTo>
                    <a:pt x="192" y="584"/>
                  </a:lnTo>
                  <a:lnTo>
                    <a:pt x="192" y="587"/>
                  </a:lnTo>
                  <a:lnTo>
                    <a:pt x="191" y="587"/>
                  </a:lnTo>
                  <a:lnTo>
                    <a:pt x="190" y="588"/>
                  </a:lnTo>
                  <a:lnTo>
                    <a:pt x="189" y="588"/>
                  </a:lnTo>
                  <a:lnTo>
                    <a:pt x="189" y="587"/>
                  </a:lnTo>
                  <a:lnTo>
                    <a:pt x="187" y="587"/>
                  </a:lnTo>
                  <a:lnTo>
                    <a:pt x="187" y="588"/>
                  </a:lnTo>
                  <a:lnTo>
                    <a:pt x="185" y="588"/>
                  </a:lnTo>
                  <a:lnTo>
                    <a:pt x="184" y="587"/>
                  </a:lnTo>
                  <a:lnTo>
                    <a:pt x="183" y="587"/>
                  </a:lnTo>
                  <a:lnTo>
                    <a:pt x="181" y="584"/>
                  </a:lnTo>
                  <a:lnTo>
                    <a:pt x="183" y="582"/>
                  </a:lnTo>
                  <a:lnTo>
                    <a:pt x="184" y="582"/>
                  </a:lnTo>
                  <a:lnTo>
                    <a:pt x="184" y="581"/>
                  </a:lnTo>
                  <a:lnTo>
                    <a:pt x="184" y="582"/>
                  </a:lnTo>
                  <a:lnTo>
                    <a:pt x="184" y="580"/>
                  </a:lnTo>
                  <a:lnTo>
                    <a:pt x="185" y="580"/>
                  </a:lnTo>
                  <a:lnTo>
                    <a:pt x="185" y="578"/>
                  </a:lnTo>
                  <a:lnTo>
                    <a:pt x="185" y="576"/>
                  </a:lnTo>
                  <a:lnTo>
                    <a:pt x="181" y="575"/>
                  </a:lnTo>
                  <a:lnTo>
                    <a:pt x="181" y="574"/>
                  </a:lnTo>
                  <a:lnTo>
                    <a:pt x="180" y="574"/>
                  </a:lnTo>
                  <a:lnTo>
                    <a:pt x="179" y="574"/>
                  </a:lnTo>
                  <a:lnTo>
                    <a:pt x="178" y="572"/>
                  </a:lnTo>
                  <a:lnTo>
                    <a:pt x="177" y="574"/>
                  </a:lnTo>
                  <a:lnTo>
                    <a:pt x="175" y="574"/>
                  </a:lnTo>
                  <a:lnTo>
                    <a:pt x="175" y="575"/>
                  </a:lnTo>
                  <a:lnTo>
                    <a:pt x="174" y="576"/>
                  </a:lnTo>
                  <a:lnTo>
                    <a:pt x="173" y="577"/>
                  </a:lnTo>
                  <a:lnTo>
                    <a:pt x="172" y="577"/>
                  </a:lnTo>
                  <a:lnTo>
                    <a:pt x="171" y="580"/>
                  </a:lnTo>
                  <a:lnTo>
                    <a:pt x="171" y="582"/>
                  </a:lnTo>
                  <a:lnTo>
                    <a:pt x="171" y="583"/>
                  </a:lnTo>
                  <a:lnTo>
                    <a:pt x="171" y="584"/>
                  </a:lnTo>
                  <a:lnTo>
                    <a:pt x="169" y="586"/>
                  </a:lnTo>
                  <a:lnTo>
                    <a:pt x="168" y="586"/>
                  </a:lnTo>
                  <a:lnTo>
                    <a:pt x="167" y="587"/>
                  </a:lnTo>
                  <a:lnTo>
                    <a:pt x="165" y="590"/>
                  </a:lnTo>
                  <a:lnTo>
                    <a:pt x="165" y="592"/>
                  </a:lnTo>
                  <a:lnTo>
                    <a:pt x="166" y="594"/>
                  </a:lnTo>
                  <a:lnTo>
                    <a:pt x="163" y="596"/>
                  </a:lnTo>
                  <a:lnTo>
                    <a:pt x="161" y="596"/>
                  </a:lnTo>
                  <a:lnTo>
                    <a:pt x="160" y="598"/>
                  </a:lnTo>
                  <a:lnTo>
                    <a:pt x="159" y="599"/>
                  </a:lnTo>
                  <a:lnTo>
                    <a:pt x="155" y="599"/>
                  </a:lnTo>
                  <a:lnTo>
                    <a:pt x="153" y="598"/>
                  </a:lnTo>
                  <a:lnTo>
                    <a:pt x="153" y="596"/>
                  </a:lnTo>
                  <a:lnTo>
                    <a:pt x="153" y="595"/>
                  </a:lnTo>
                  <a:lnTo>
                    <a:pt x="151" y="595"/>
                  </a:lnTo>
                  <a:lnTo>
                    <a:pt x="149" y="594"/>
                  </a:lnTo>
                  <a:lnTo>
                    <a:pt x="149" y="593"/>
                  </a:lnTo>
                  <a:lnTo>
                    <a:pt x="148" y="592"/>
                  </a:lnTo>
                  <a:lnTo>
                    <a:pt x="147" y="595"/>
                  </a:lnTo>
                  <a:lnTo>
                    <a:pt x="144" y="595"/>
                  </a:lnTo>
                  <a:lnTo>
                    <a:pt x="143" y="595"/>
                  </a:lnTo>
                  <a:lnTo>
                    <a:pt x="143" y="596"/>
                  </a:lnTo>
                  <a:lnTo>
                    <a:pt x="142" y="599"/>
                  </a:lnTo>
                  <a:lnTo>
                    <a:pt x="142" y="601"/>
                  </a:lnTo>
                  <a:lnTo>
                    <a:pt x="143" y="603"/>
                  </a:lnTo>
                  <a:lnTo>
                    <a:pt x="141" y="603"/>
                  </a:lnTo>
                  <a:lnTo>
                    <a:pt x="141" y="604"/>
                  </a:lnTo>
                  <a:lnTo>
                    <a:pt x="142" y="605"/>
                  </a:lnTo>
                  <a:lnTo>
                    <a:pt x="143" y="605"/>
                  </a:lnTo>
                  <a:lnTo>
                    <a:pt x="141" y="605"/>
                  </a:lnTo>
                  <a:lnTo>
                    <a:pt x="143" y="606"/>
                  </a:lnTo>
                  <a:lnTo>
                    <a:pt x="141" y="607"/>
                  </a:lnTo>
                  <a:lnTo>
                    <a:pt x="139" y="607"/>
                  </a:lnTo>
                  <a:lnTo>
                    <a:pt x="137" y="606"/>
                  </a:lnTo>
                  <a:lnTo>
                    <a:pt x="136" y="607"/>
                  </a:lnTo>
                  <a:lnTo>
                    <a:pt x="138" y="610"/>
                  </a:lnTo>
                  <a:lnTo>
                    <a:pt x="136" y="610"/>
                  </a:lnTo>
                  <a:lnTo>
                    <a:pt x="134" y="611"/>
                  </a:lnTo>
                  <a:lnTo>
                    <a:pt x="134" y="610"/>
                  </a:lnTo>
                  <a:lnTo>
                    <a:pt x="131" y="611"/>
                  </a:lnTo>
                  <a:lnTo>
                    <a:pt x="128" y="610"/>
                  </a:lnTo>
                  <a:lnTo>
                    <a:pt x="133" y="607"/>
                  </a:lnTo>
                  <a:lnTo>
                    <a:pt x="131" y="606"/>
                  </a:lnTo>
                  <a:lnTo>
                    <a:pt x="130" y="606"/>
                  </a:lnTo>
                  <a:lnTo>
                    <a:pt x="128" y="605"/>
                  </a:lnTo>
                  <a:lnTo>
                    <a:pt x="127" y="607"/>
                  </a:lnTo>
                  <a:lnTo>
                    <a:pt x="126" y="609"/>
                  </a:lnTo>
                  <a:lnTo>
                    <a:pt x="125" y="610"/>
                  </a:lnTo>
                  <a:lnTo>
                    <a:pt x="124" y="612"/>
                  </a:lnTo>
                  <a:lnTo>
                    <a:pt x="120" y="612"/>
                  </a:lnTo>
                  <a:lnTo>
                    <a:pt x="121" y="615"/>
                  </a:lnTo>
                  <a:lnTo>
                    <a:pt x="120" y="616"/>
                  </a:lnTo>
                  <a:lnTo>
                    <a:pt x="119" y="617"/>
                  </a:lnTo>
                  <a:lnTo>
                    <a:pt x="121" y="618"/>
                  </a:lnTo>
                  <a:lnTo>
                    <a:pt x="122" y="618"/>
                  </a:lnTo>
                  <a:lnTo>
                    <a:pt x="122" y="621"/>
                  </a:lnTo>
                  <a:lnTo>
                    <a:pt x="118" y="622"/>
                  </a:lnTo>
                  <a:lnTo>
                    <a:pt x="118" y="624"/>
                  </a:lnTo>
                  <a:lnTo>
                    <a:pt x="116" y="627"/>
                  </a:lnTo>
                  <a:lnTo>
                    <a:pt x="115" y="629"/>
                  </a:lnTo>
                  <a:lnTo>
                    <a:pt x="114" y="629"/>
                  </a:lnTo>
                  <a:lnTo>
                    <a:pt x="113" y="628"/>
                  </a:lnTo>
                  <a:lnTo>
                    <a:pt x="110" y="627"/>
                  </a:lnTo>
                  <a:lnTo>
                    <a:pt x="109" y="625"/>
                  </a:lnTo>
                  <a:lnTo>
                    <a:pt x="108" y="625"/>
                  </a:lnTo>
                  <a:lnTo>
                    <a:pt x="107" y="624"/>
                  </a:lnTo>
                  <a:lnTo>
                    <a:pt x="106" y="623"/>
                  </a:lnTo>
                  <a:lnTo>
                    <a:pt x="108" y="622"/>
                  </a:lnTo>
                  <a:lnTo>
                    <a:pt x="107" y="621"/>
                  </a:lnTo>
                  <a:lnTo>
                    <a:pt x="104" y="621"/>
                  </a:lnTo>
                  <a:lnTo>
                    <a:pt x="100" y="622"/>
                  </a:lnTo>
                  <a:lnTo>
                    <a:pt x="100" y="624"/>
                  </a:lnTo>
                  <a:lnTo>
                    <a:pt x="100" y="625"/>
                  </a:lnTo>
                  <a:lnTo>
                    <a:pt x="98" y="625"/>
                  </a:lnTo>
                  <a:lnTo>
                    <a:pt x="97" y="623"/>
                  </a:lnTo>
                  <a:lnTo>
                    <a:pt x="96" y="622"/>
                  </a:lnTo>
                  <a:lnTo>
                    <a:pt x="94" y="623"/>
                  </a:lnTo>
                  <a:lnTo>
                    <a:pt x="92" y="623"/>
                  </a:lnTo>
                  <a:lnTo>
                    <a:pt x="90" y="623"/>
                  </a:lnTo>
                  <a:lnTo>
                    <a:pt x="89" y="622"/>
                  </a:lnTo>
                  <a:lnTo>
                    <a:pt x="88" y="619"/>
                  </a:lnTo>
                  <a:lnTo>
                    <a:pt x="86" y="619"/>
                  </a:lnTo>
                  <a:lnTo>
                    <a:pt x="86" y="621"/>
                  </a:lnTo>
                  <a:lnTo>
                    <a:pt x="84" y="618"/>
                  </a:lnTo>
                  <a:lnTo>
                    <a:pt x="85" y="618"/>
                  </a:lnTo>
                  <a:lnTo>
                    <a:pt x="85" y="617"/>
                  </a:lnTo>
                  <a:lnTo>
                    <a:pt x="85" y="615"/>
                  </a:lnTo>
                  <a:lnTo>
                    <a:pt x="83" y="615"/>
                  </a:lnTo>
                  <a:lnTo>
                    <a:pt x="82" y="613"/>
                  </a:lnTo>
                  <a:lnTo>
                    <a:pt x="77" y="611"/>
                  </a:lnTo>
                  <a:lnTo>
                    <a:pt x="77" y="610"/>
                  </a:lnTo>
                  <a:lnTo>
                    <a:pt x="78" y="609"/>
                  </a:lnTo>
                  <a:lnTo>
                    <a:pt x="85" y="609"/>
                  </a:lnTo>
                  <a:lnTo>
                    <a:pt x="84" y="607"/>
                  </a:lnTo>
                  <a:lnTo>
                    <a:pt x="84" y="606"/>
                  </a:lnTo>
                  <a:lnTo>
                    <a:pt x="83" y="605"/>
                  </a:lnTo>
                  <a:lnTo>
                    <a:pt x="80" y="605"/>
                  </a:lnTo>
                  <a:lnTo>
                    <a:pt x="80" y="604"/>
                  </a:lnTo>
                  <a:lnTo>
                    <a:pt x="80" y="603"/>
                  </a:lnTo>
                  <a:lnTo>
                    <a:pt x="78" y="600"/>
                  </a:lnTo>
                  <a:lnTo>
                    <a:pt x="77" y="599"/>
                  </a:lnTo>
                  <a:lnTo>
                    <a:pt x="75" y="598"/>
                  </a:lnTo>
                  <a:lnTo>
                    <a:pt x="75" y="596"/>
                  </a:lnTo>
                  <a:lnTo>
                    <a:pt x="77" y="595"/>
                  </a:lnTo>
                  <a:lnTo>
                    <a:pt x="79" y="595"/>
                  </a:lnTo>
                  <a:lnTo>
                    <a:pt x="80" y="595"/>
                  </a:lnTo>
                  <a:lnTo>
                    <a:pt x="80" y="596"/>
                  </a:lnTo>
                  <a:lnTo>
                    <a:pt x="83" y="595"/>
                  </a:lnTo>
                  <a:lnTo>
                    <a:pt x="84" y="594"/>
                  </a:lnTo>
                  <a:lnTo>
                    <a:pt x="88" y="594"/>
                  </a:lnTo>
                  <a:lnTo>
                    <a:pt x="88" y="593"/>
                  </a:lnTo>
                  <a:lnTo>
                    <a:pt x="90" y="593"/>
                  </a:lnTo>
                  <a:lnTo>
                    <a:pt x="90" y="590"/>
                  </a:lnTo>
                  <a:lnTo>
                    <a:pt x="88" y="592"/>
                  </a:lnTo>
                  <a:lnTo>
                    <a:pt x="86" y="592"/>
                  </a:lnTo>
                  <a:lnTo>
                    <a:pt x="85" y="592"/>
                  </a:lnTo>
                  <a:lnTo>
                    <a:pt x="85" y="590"/>
                  </a:lnTo>
                  <a:lnTo>
                    <a:pt x="84" y="588"/>
                  </a:lnTo>
                  <a:lnTo>
                    <a:pt x="82" y="586"/>
                  </a:lnTo>
                  <a:lnTo>
                    <a:pt x="80" y="584"/>
                  </a:lnTo>
                  <a:lnTo>
                    <a:pt x="83" y="584"/>
                  </a:lnTo>
                  <a:lnTo>
                    <a:pt x="84" y="582"/>
                  </a:lnTo>
                  <a:lnTo>
                    <a:pt x="85" y="584"/>
                  </a:lnTo>
                  <a:lnTo>
                    <a:pt x="86" y="583"/>
                  </a:lnTo>
                  <a:lnTo>
                    <a:pt x="89" y="583"/>
                  </a:lnTo>
                  <a:lnTo>
                    <a:pt x="90" y="583"/>
                  </a:lnTo>
                  <a:lnTo>
                    <a:pt x="91" y="584"/>
                  </a:lnTo>
                  <a:lnTo>
                    <a:pt x="92" y="584"/>
                  </a:lnTo>
                  <a:lnTo>
                    <a:pt x="90" y="581"/>
                  </a:lnTo>
                  <a:lnTo>
                    <a:pt x="90" y="580"/>
                  </a:lnTo>
                  <a:lnTo>
                    <a:pt x="90" y="578"/>
                  </a:lnTo>
                  <a:lnTo>
                    <a:pt x="91" y="577"/>
                  </a:lnTo>
                  <a:lnTo>
                    <a:pt x="95" y="578"/>
                  </a:lnTo>
                  <a:lnTo>
                    <a:pt x="97" y="580"/>
                  </a:lnTo>
                  <a:lnTo>
                    <a:pt x="98" y="578"/>
                  </a:lnTo>
                  <a:lnTo>
                    <a:pt x="98" y="576"/>
                  </a:lnTo>
                  <a:lnTo>
                    <a:pt x="100" y="574"/>
                  </a:lnTo>
                  <a:lnTo>
                    <a:pt x="100" y="571"/>
                  </a:lnTo>
                  <a:lnTo>
                    <a:pt x="100" y="570"/>
                  </a:lnTo>
                  <a:lnTo>
                    <a:pt x="102" y="569"/>
                  </a:lnTo>
                  <a:lnTo>
                    <a:pt x="104" y="569"/>
                  </a:lnTo>
                  <a:lnTo>
                    <a:pt x="104" y="568"/>
                  </a:lnTo>
                  <a:lnTo>
                    <a:pt x="104" y="566"/>
                  </a:lnTo>
                  <a:lnTo>
                    <a:pt x="107" y="568"/>
                  </a:lnTo>
                  <a:lnTo>
                    <a:pt x="108" y="569"/>
                  </a:lnTo>
                  <a:lnTo>
                    <a:pt x="109" y="569"/>
                  </a:lnTo>
                  <a:lnTo>
                    <a:pt x="109" y="563"/>
                  </a:lnTo>
                  <a:lnTo>
                    <a:pt x="107" y="562"/>
                  </a:lnTo>
                  <a:lnTo>
                    <a:pt x="104" y="559"/>
                  </a:lnTo>
                  <a:lnTo>
                    <a:pt x="103" y="556"/>
                  </a:lnTo>
                  <a:lnTo>
                    <a:pt x="103" y="554"/>
                  </a:lnTo>
                  <a:lnTo>
                    <a:pt x="104" y="554"/>
                  </a:lnTo>
                  <a:lnTo>
                    <a:pt x="106" y="554"/>
                  </a:lnTo>
                  <a:lnTo>
                    <a:pt x="107" y="553"/>
                  </a:lnTo>
                  <a:lnTo>
                    <a:pt x="107" y="552"/>
                  </a:lnTo>
                  <a:lnTo>
                    <a:pt x="108" y="553"/>
                  </a:lnTo>
                  <a:lnTo>
                    <a:pt x="108" y="554"/>
                  </a:lnTo>
                  <a:lnTo>
                    <a:pt x="110" y="554"/>
                  </a:lnTo>
                  <a:lnTo>
                    <a:pt x="113" y="552"/>
                  </a:lnTo>
                  <a:lnTo>
                    <a:pt x="114" y="553"/>
                  </a:lnTo>
                  <a:lnTo>
                    <a:pt x="115" y="553"/>
                  </a:lnTo>
                  <a:lnTo>
                    <a:pt x="116" y="551"/>
                  </a:lnTo>
                  <a:lnTo>
                    <a:pt x="118" y="550"/>
                  </a:lnTo>
                  <a:lnTo>
                    <a:pt x="121" y="550"/>
                  </a:lnTo>
                  <a:lnTo>
                    <a:pt x="124" y="547"/>
                  </a:lnTo>
                  <a:lnTo>
                    <a:pt x="126" y="547"/>
                  </a:lnTo>
                  <a:lnTo>
                    <a:pt x="125" y="546"/>
                  </a:lnTo>
                  <a:lnTo>
                    <a:pt x="125" y="545"/>
                  </a:lnTo>
                  <a:lnTo>
                    <a:pt x="125" y="544"/>
                  </a:lnTo>
                  <a:lnTo>
                    <a:pt x="124" y="542"/>
                  </a:lnTo>
                  <a:lnTo>
                    <a:pt x="121" y="541"/>
                  </a:lnTo>
                  <a:lnTo>
                    <a:pt x="121" y="539"/>
                  </a:lnTo>
                  <a:lnTo>
                    <a:pt x="121" y="538"/>
                  </a:lnTo>
                  <a:lnTo>
                    <a:pt x="122" y="538"/>
                  </a:lnTo>
                  <a:lnTo>
                    <a:pt x="124" y="538"/>
                  </a:lnTo>
                  <a:lnTo>
                    <a:pt x="125" y="538"/>
                  </a:lnTo>
                  <a:lnTo>
                    <a:pt x="127" y="538"/>
                  </a:lnTo>
                  <a:lnTo>
                    <a:pt x="128" y="538"/>
                  </a:lnTo>
                  <a:lnTo>
                    <a:pt x="130" y="539"/>
                  </a:lnTo>
                  <a:lnTo>
                    <a:pt x="130" y="538"/>
                  </a:lnTo>
                  <a:lnTo>
                    <a:pt x="131" y="538"/>
                  </a:lnTo>
                  <a:lnTo>
                    <a:pt x="132" y="538"/>
                  </a:lnTo>
                  <a:lnTo>
                    <a:pt x="132" y="536"/>
                  </a:lnTo>
                  <a:lnTo>
                    <a:pt x="133" y="535"/>
                  </a:lnTo>
                  <a:lnTo>
                    <a:pt x="134" y="535"/>
                  </a:lnTo>
                  <a:lnTo>
                    <a:pt x="136" y="538"/>
                  </a:lnTo>
                  <a:lnTo>
                    <a:pt x="137" y="538"/>
                  </a:lnTo>
                  <a:lnTo>
                    <a:pt x="139" y="538"/>
                  </a:lnTo>
                  <a:lnTo>
                    <a:pt x="139" y="541"/>
                  </a:lnTo>
                  <a:lnTo>
                    <a:pt x="139" y="539"/>
                  </a:lnTo>
                  <a:lnTo>
                    <a:pt x="143" y="536"/>
                  </a:lnTo>
                  <a:lnTo>
                    <a:pt x="142" y="535"/>
                  </a:lnTo>
                  <a:lnTo>
                    <a:pt x="143" y="534"/>
                  </a:lnTo>
                  <a:lnTo>
                    <a:pt x="144" y="533"/>
                  </a:lnTo>
                  <a:lnTo>
                    <a:pt x="145" y="533"/>
                  </a:lnTo>
                  <a:lnTo>
                    <a:pt x="145" y="532"/>
                  </a:lnTo>
                  <a:lnTo>
                    <a:pt x="144" y="530"/>
                  </a:lnTo>
                  <a:lnTo>
                    <a:pt x="144" y="528"/>
                  </a:lnTo>
                  <a:lnTo>
                    <a:pt x="145" y="527"/>
                  </a:lnTo>
                  <a:lnTo>
                    <a:pt x="147" y="526"/>
                  </a:lnTo>
                  <a:lnTo>
                    <a:pt x="148" y="524"/>
                  </a:lnTo>
                  <a:lnTo>
                    <a:pt x="149" y="522"/>
                  </a:lnTo>
                  <a:lnTo>
                    <a:pt x="150" y="520"/>
                  </a:lnTo>
                  <a:lnTo>
                    <a:pt x="151" y="518"/>
                  </a:lnTo>
                  <a:lnTo>
                    <a:pt x="151" y="517"/>
                  </a:lnTo>
                  <a:lnTo>
                    <a:pt x="155" y="517"/>
                  </a:lnTo>
                  <a:lnTo>
                    <a:pt x="155" y="514"/>
                  </a:lnTo>
                  <a:lnTo>
                    <a:pt x="156" y="512"/>
                  </a:lnTo>
                  <a:lnTo>
                    <a:pt x="157" y="510"/>
                  </a:lnTo>
                  <a:lnTo>
                    <a:pt x="159" y="510"/>
                  </a:lnTo>
                  <a:lnTo>
                    <a:pt x="159" y="508"/>
                  </a:lnTo>
                  <a:lnTo>
                    <a:pt x="162" y="508"/>
                  </a:lnTo>
                  <a:lnTo>
                    <a:pt x="162" y="506"/>
                  </a:lnTo>
                  <a:lnTo>
                    <a:pt x="160" y="505"/>
                  </a:lnTo>
                  <a:lnTo>
                    <a:pt x="160" y="503"/>
                  </a:lnTo>
                  <a:lnTo>
                    <a:pt x="161" y="503"/>
                  </a:lnTo>
                  <a:lnTo>
                    <a:pt x="161" y="502"/>
                  </a:lnTo>
                  <a:lnTo>
                    <a:pt x="159" y="503"/>
                  </a:lnTo>
                  <a:lnTo>
                    <a:pt x="156" y="502"/>
                  </a:lnTo>
                  <a:lnTo>
                    <a:pt x="157" y="500"/>
                  </a:lnTo>
                  <a:lnTo>
                    <a:pt x="159" y="498"/>
                  </a:lnTo>
                  <a:lnTo>
                    <a:pt x="160" y="497"/>
                  </a:lnTo>
                  <a:lnTo>
                    <a:pt x="157" y="496"/>
                  </a:lnTo>
                  <a:lnTo>
                    <a:pt x="155" y="496"/>
                  </a:lnTo>
                  <a:lnTo>
                    <a:pt x="155" y="493"/>
                  </a:lnTo>
                  <a:lnTo>
                    <a:pt x="153" y="492"/>
                  </a:lnTo>
                  <a:lnTo>
                    <a:pt x="151" y="492"/>
                  </a:lnTo>
                  <a:lnTo>
                    <a:pt x="147" y="491"/>
                  </a:lnTo>
                  <a:lnTo>
                    <a:pt x="148" y="488"/>
                  </a:lnTo>
                  <a:lnTo>
                    <a:pt x="145" y="486"/>
                  </a:lnTo>
                  <a:lnTo>
                    <a:pt x="144" y="486"/>
                  </a:lnTo>
                  <a:lnTo>
                    <a:pt x="144" y="485"/>
                  </a:lnTo>
                  <a:lnTo>
                    <a:pt x="142" y="485"/>
                  </a:lnTo>
                  <a:lnTo>
                    <a:pt x="139" y="485"/>
                  </a:lnTo>
                  <a:lnTo>
                    <a:pt x="137" y="483"/>
                  </a:lnTo>
                  <a:lnTo>
                    <a:pt x="137" y="482"/>
                  </a:lnTo>
                  <a:lnTo>
                    <a:pt x="136" y="481"/>
                  </a:lnTo>
                  <a:lnTo>
                    <a:pt x="136" y="480"/>
                  </a:lnTo>
                  <a:lnTo>
                    <a:pt x="137" y="479"/>
                  </a:lnTo>
                  <a:lnTo>
                    <a:pt x="139" y="479"/>
                  </a:lnTo>
                  <a:lnTo>
                    <a:pt x="139" y="477"/>
                  </a:lnTo>
                  <a:lnTo>
                    <a:pt x="138" y="477"/>
                  </a:lnTo>
                  <a:lnTo>
                    <a:pt x="137" y="477"/>
                  </a:lnTo>
                  <a:lnTo>
                    <a:pt x="136" y="479"/>
                  </a:lnTo>
                  <a:lnTo>
                    <a:pt x="134" y="477"/>
                  </a:lnTo>
                  <a:lnTo>
                    <a:pt x="133" y="476"/>
                  </a:lnTo>
                  <a:lnTo>
                    <a:pt x="132" y="476"/>
                  </a:lnTo>
                  <a:lnTo>
                    <a:pt x="132" y="479"/>
                  </a:lnTo>
                  <a:lnTo>
                    <a:pt x="132" y="480"/>
                  </a:lnTo>
                  <a:lnTo>
                    <a:pt x="131" y="482"/>
                  </a:lnTo>
                  <a:lnTo>
                    <a:pt x="133" y="482"/>
                  </a:lnTo>
                  <a:lnTo>
                    <a:pt x="132" y="485"/>
                  </a:lnTo>
                  <a:lnTo>
                    <a:pt x="130" y="486"/>
                  </a:lnTo>
                  <a:lnTo>
                    <a:pt x="132" y="485"/>
                  </a:lnTo>
                  <a:lnTo>
                    <a:pt x="132" y="487"/>
                  </a:lnTo>
                  <a:lnTo>
                    <a:pt x="130" y="488"/>
                  </a:lnTo>
                  <a:lnTo>
                    <a:pt x="131" y="488"/>
                  </a:lnTo>
                  <a:lnTo>
                    <a:pt x="130" y="489"/>
                  </a:lnTo>
                  <a:lnTo>
                    <a:pt x="128" y="491"/>
                  </a:lnTo>
                  <a:lnTo>
                    <a:pt x="127" y="491"/>
                  </a:lnTo>
                  <a:lnTo>
                    <a:pt x="126" y="494"/>
                  </a:lnTo>
                  <a:lnTo>
                    <a:pt x="125" y="496"/>
                  </a:lnTo>
                  <a:lnTo>
                    <a:pt x="122" y="494"/>
                  </a:lnTo>
                  <a:lnTo>
                    <a:pt x="122" y="496"/>
                  </a:lnTo>
                  <a:lnTo>
                    <a:pt x="121" y="494"/>
                  </a:lnTo>
                  <a:lnTo>
                    <a:pt x="118" y="496"/>
                  </a:lnTo>
                  <a:lnTo>
                    <a:pt x="116" y="494"/>
                  </a:lnTo>
                  <a:lnTo>
                    <a:pt x="115" y="496"/>
                  </a:lnTo>
                  <a:lnTo>
                    <a:pt x="114" y="498"/>
                  </a:lnTo>
                  <a:lnTo>
                    <a:pt x="113" y="499"/>
                  </a:lnTo>
                  <a:lnTo>
                    <a:pt x="113" y="500"/>
                  </a:lnTo>
                  <a:lnTo>
                    <a:pt x="112" y="500"/>
                  </a:lnTo>
                  <a:lnTo>
                    <a:pt x="110" y="500"/>
                  </a:lnTo>
                  <a:lnTo>
                    <a:pt x="108" y="502"/>
                  </a:lnTo>
                  <a:lnTo>
                    <a:pt x="103" y="503"/>
                  </a:lnTo>
                  <a:lnTo>
                    <a:pt x="101" y="506"/>
                  </a:lnTo>
                  <a:lnTo>
                    <a:pt x="100" y="504"/>
                  </a:lnTo>
                  <a:lnTo>
                    <a:pt x="98" y="506"/>
                  </a:lnTo>
                  <a:lnTo>
                    <a:pt x="97" y="506"/>
                  </a:lnTo>
                  <a:lnTo>
                    <a:pt x="96" y="508"/>
                  </a:lnTo>
                  <a:lnTo>
                    <a:pt x="94" y="508"/>
                  </a:lnTo>
                  <a:lnTo>
                    <a:pt x="91" y="509"/>
                  </a:lnTo>
                  <a:lnTo>
                    <a:pt x="89" y="508"/>
                  </a:lnTo>
                  <a:lnTo>
                    <a:pt x="86" y="509"/>
                  </a:lnTo>
                  <a:lnTo>
                    <a:pt x="86" y="508"/>
                  </a:lnTo>
                  <a:lnTo>
                    <a:pt x="85" y="508"/>
                  </a:lnTo>
                  <a:lnTo>
                    <a:pt x="84" y="509"/>
                  </a:lnTo>
                  <a:lnTo>
                    <a:pt x="82" y="509"/>
                  </a:lnTo>
                  <a:lnTo>
                    <a:pt x="80" y="510"/>
                  </a:lnTo>
                  <a:lnTo>
                    <a:pt x="77" y="509"/>
                  </a:lnTo>
                  <a:lnTo>
                    <a:pt x="73" y="510"/>
                  </a:lnTo>
                  <a:lnTo>
                    <a:pt x="73" y="508"/>
                  </a:lnTo>
                  <a:lnTo>
                    <a:pt x="72" y="506"/>
                  </a:lnTo>
                  <a:lnTo>
                    <a:pt x="71" y="506"/>
                  </a:lnTo>
                  <a:lnTo>
                    <a:pt x="71" y="504"/>
                  </a:lnTo>
                  <a:lnTo>
                    <a:pt x="69" y="504"/>
                  </a:lnTo>
                  <a:lnTo>
                    <a:pt x="68" y="504"/>
                  </a:lnTo>
                  <a:lnTo>
                    <a:pt x="68" y="503"/>
                  </a:lnTo>
                  <a:lnTo>
                    <a:pt x="67" y="503"/>
                  </a:lnTo>
                  <a:lnTo>
                    <a:pt x="66" y="503"/>
                  </a:lnTo>
                  <a:lnTo>
                    <a:pt x="66" y="500"/>
                  </a:lnTo>
                  <a:lnTo>
                    <a:pt x="66" y="499"/>
                  </a:lnTo>
                  <a:lnTo>
                    <a:pt x="65" y="499"/>
                  </a:lnTo>
                  <a:lnTo>
                    <a:pt x="63" y="499"/>
                  </a:lnTo>
                  <a:lnTo>
                    <a:pt x="63" y="498"/>
                  </a:lnTo>
                  <a:lnTo>
                    <a:pt x="62" y="498"/>
                  </a:lnTo>
                  <a:lnTo>
                    <a:pt x="61" y="499"/>
                  </a:lnTo>
                  <a:lnTo>
                    <a:pt x="61" y="498"/>
                  </a:lnTo>
                  <a:lnTo>
                    <a:pt x="60" y="498"/>
                  </a:lnTo>
                  <a:lnTo>
                    <a:pt x="59" y="498"/>
                  </a:lnTo>
                  <a:lnTo>
                    <a:pt x="57" y="499"/>
                  </a:lnTo>
                  <a:lnTo>
                    <a:pt x="55" y="498"/>
                  </a:lnTo>
                  <a:lnTo>
                    <a:pt x="56" y="498"/>
                  </a:lnTo>
                  <a:lnTo>
                    <a:pt x="53" y="497"/>
                  </a:lnTo>
                  <a:lnTo>
                    <a:pt x="54" y="496"/>
                  </a:lnTo>
                  <a:lnTo>
                    <a:pt x="51" y="492"/>
                  </a:lnTo>
                  <a:lnTo>
                    <a:pt x="50" y="491"/>
                  </a:lnTo>
                  <a:lnTo>
                    <a:pt x="49" y="491"/>
                  </a:lnTo>
                  <a:lnTo>
                    <a:pt x="48" y="491"/>
                  </a:lnTo>
                  <a:lnTo>
                    <a:pt x="47" y="492"/>
                  </a:lnTo>
                  <a:lnTo>
                    <a:pt x="44" y="491"/>
                  </a:lnTo>
                  <a:lnTo>
                    <a:pt x="43" y="491"/>
                  </a:lnTo>
                  <a:lnTo>
                    <a:pt x="42" y="491"/>
                  </a:lnTo>
                  <a:lnTo>
                    <a:pt x="41" y="489"/>
                  </a:lnTo>
                  <a:lnTo>
                    <a:pt x="38" y="488"/>
                  </a:lnTo>
                  <a:lnTo>
                    <a:pt x="37" y="487"/>
                  </a:lnTo>
                  <a:lnTo>
                    <a:pt x="36" y="486"/>
                  </a:lnTo>
                  <a:lnTo>
                    <a:pt x="37" y="486"/>
                  </a:lnTo>
                  <a:lnTo>
                    <a:pt x="35" y="485"/>
                  </a:lnTo>
                  <a:lnTo>
                    <a:pt x="33" y="485"/>
                  </a:lnTo>
                  <a:lnTo>
                    <a:pt x="32" y="483"/>
                  </a:lnTo>
                  <a:lnTo>
                    <a:pt x="35" y="483"/>
                  </a:lnTo>
                  <a:lnTo>
                    <a:pt x="35" y="480"/>
                  </a:lnTo>
                  <a:lnTo>
                    <a:pt x="37" y="482"/>
                  </a:lnTo>
                  <a:lnTo>
                    <a:pt x="37" y="481"/>
                  </a:lnTo>
                  <a:lnTo>
                    <a:pt x="38" y="480"/>
                  </a:lnTo>
                  <a:lnTo>
                    <a:pt x="38" y="477"/>
                  </a:lnTo>
                  <a:lnTo>
                    <a:pt x="37" y="475"/>
                  </a:lnTo>
                  <a:lnTo>
                    <a:pt x="35" y="474"/>
                  </a:lnTo>
                  <a:lnTo>
                    <a:pt x="33" y="473"/>
                  </a:lnTo>
                  <a:lnTo>
                    <a:pt x="35" y="471"/>
                  </a:lnTo>
                  <a:lnTo>
                    <a:pt x="37" y="471"/>
                  </a:lnTo>
                  <a:lnTo>
                    <a:pt x="41" y="470"/>
                  </a:lnTo>
                  <a:lnTo>
                    <a:pt x="42" y="469"/>
                  </a:lnTo>
                  <a:lnTo>
                    <a:pt x="37" y="469"/>
                  </a:lnTo>
                  <a:lnTo>
                    <a:pt x="35" y="470"/>
                  </a:lnTo>
                  <a:lnTo>
                    <a:pt x="32" y="471"/>
                  </a:lnTo>
                  <a:lnTo>
                    <a:pt x="31" y="475"/>
                  </a:lnTo>
                  <a:lnTo>
                    <a:pt x="30" y="475"/>
                  </a:lnTo>
                  <a:lnTo>
                    <a:pt x="30" y="476"/>
                  </a:lnTo>
                  <a:lnTo>
                    <a:pt x="27" y="479"/>
                  </a:lnTo>
                  <a:lnTo>
                    <a:pt x="26" y="479"/>
                  </a:lnTo>
                  <a:lnTo>
                    <a:pt x="24" y="479"/>
                  </a:lnTo>
                  <a:lnTo>
                    <a:pt x="20" y="477"/>
                  </a:lnTo>
                  <a:lnTo>
                    <a:pt x="20" y="479"/>
                  </a:lnTo>
                  <a:lnTo>
                    <a:pt x="19" y="479"/>
                  </a:lnTo>
                  <a:lnTo>
                    <a:pt x="16" y="477"/>
                  </a:lnTo>
                  <a:lnTo>
                    <a:pt x="16" y="479"/>
                  </a:lnTo>
                  <a:lnTo>
                    <a:pt x="14" y="476"/>
                  </a:lnTo>
                  <a:lnTo>
                    <a:pt x="12" y="476"/>
                  </a:lnTo>
                  <a:lnTo>
                    <a:pt x="13" y="475"/>
                  </a:lnTo>
                  <a:lnTo>
                    <a:pt x="12" y="474"/>
                  </a:lnTo>
                  <a:lnTo>
                    <a:pt x="10" y="473"/>
                  </a:lnTo>
                  <a:lnTo>
                    <a:pt x="10" y="471"/>
                  </a:lnTo>
                  <a:lnTo>
                    <a:pt x="8" y="470"/>
                  </a:lnTo>
                  <a:lnTo>
                    <a:pt x="9" y="470"/>
                  </a:lnTo>
                  <a:lnTo>
                    <a:pt x="8" y="467"/>
                  </a:lnTo>
                  <a:lnTo>
                    <a:pt x="6" y="464"/>
                  </a:lnTo>
                  <a:lnTo>
                    <a:pt x="3" y="463"/>
                  </a:lnTo>
                  <a:lnTo>
                    <a:pt x="3" y="461"/>
                  </a:lnTo>
                  <a:lnTo>
                    <a:pt x="3" y="459"/>
                  </a:lnTo>
                  <a:lnTo>
                    <a:pt x="4" y="458"/>
                  </a:lnTo>
                  <a:lnTo>
                    <a:pt x="3" y="457"/>
                  </a:lnTo>
                  <a:lnTo>
                    <a:pt x="2" y="456"/>
                  </a:lnTo>
                  <a:lnTo>
                    <a:pt x="0" y="452"/>
                  </a:lnTo>
                  <a:lnTo>
                    <a:pt x="0" y="451"/>
                  </a:lnTo>
                  <a:lnTo>
                    <a:pt x="0" y="450"/>
                  </a:lnTo>
                  <a:lnTo>
                    <a:pt x="1" y="450"/>
                  </a:lnTo>
                  <a:lnTo>
                    <a:pt x="3" y="449"/>
                  </a:lnTo>
                  <a:lnTo>
                    <a:pt x="6" y="451"/>
                  </a:lnTo>
                  <a:lnTo>
                    <a:pt x="6" y="452"/>
                  </a:lnTo>
                  <a:lnTo>
                    <a:pt x="8" y="453"/>
                  </a:lnTo>
                  <a:lnTo>
                    <a:pt x="8" y="455"/>
                  </a:lnTo>
                  <a:lnTo>
                    <a:pt x="9" y="45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9" name="Freeform 62"/>
            <p:cNvSpPr>
              <a:spLocks/>
            </p:cNvSpPr>
            <p:nvPr userDrawn="1"/>
          </p:nvSpPr>
          <p:spPr bwMode="auto">
            <a:xfrm>
              <a:off x="3551238" y="6235701"/>
              <a:ext cx="344488" cy="290513"/>
            </a:xfrm>
            <a:custGeom>
              <a:avLst/>
              <a:gdLst/>
              <a:ahLst/>
              <a:cxnLst>
                <a:cxn ang="0">
                  <a:pos x="359" y="802"/>
                </a:cxn>
                <a:cxn ang="0">
                  <a:pos x="313" y="812"/>
                </a:cxn>
                <a:cxn ang="0">
                  <a:pos x="287" y="782"/>
                </a:cxn>
                <a:cxn ang="0">
                  <a:pos x="235" y="795"/>
                </a:cxn>
                <a:cxn ang="0">
                  <a:pos x="249" y="769"/>
                </a:cxn>
                <a:cxn ang="0">
                  <a:pos x="120" y="806"/>
                </a:cxn>
                <a:cxn ang="0">
                  <a:pos x="140" y="771"/>
                </a:cxn>
                <a:cxn ang="0">
                  <a:pos x="95" y="757"/>
                </a:cxn>
                <a:cxn ang="0">
                  <a:pos x="75" y="677"/>
                </a:cxn>
                <a:cxn ang="0">
                  <a:pos x="17" y="613"/>
                </a:cxn>
                <a:cxn ang="0">
                  <a:pos x="82" y="626"/>
                </a:cxn>
                <a:cxn ang="0">
                  <a:pos x="123" y="594"/>
                </a:cxn>
                <a:cxn ang="0">
                  <a:pos x="218" y="557"/>
                </a:cxn>
                <a:cxn ang="0">
                  <a:pos x="173" y="539"/>
                </a:cxn>
                <a:cxn ang="0">
                  <a:pos x="90" y="540"/>
                </a:cxn>
                <a:cxn ang="0">
                  <a:pos x="112" y="480"/>
                </a:cxn>
                <a:cxn ang="0">
                  <a:pos x="137" y="379"/>
                </a:cxn>
                <a:cxn ang="0">
                  <a:pos x="181" y="367"/>
                </a:cxn>
                <a:cxn ang="0">
                  <a:pos x="205" y="331"/>
                </a:cxn>
                <a:cxn ang="0">
                  <a:pos x="257" y="277"/>
                </a:cxn>
                <a:cxn ang="0">
                  <a:pos x="259" y="239"/>
                </a:cxn>
                <a:cxn ang="0">
                  <a:pos x="165" y="231"/>
                </a:cxn>
                <a:cxn ang="0">
                  <a:pos x="165" y="183"/>
                </a:cxn>
                <a:cxn ang="0">
                  <a:pos x="181" y="126"/>
                </a:cxn>
                <a:cxn ang="0">
                  <a:pos x="225" y="107"/>
                </a:cxn>
                <a:cxn ang="0">
                  <a:pos x="276" y="40"/>
                </a:cxn>
                <a:cxn ang="0">
                  <a:pos x="359" y="14"/>
                </a:cxn>
                <a:cxn ang="0">
                  <a:pos x="460" y="24"/>
                </a:cxn>
                <a:cxn ang="0">
                  <a:pos x="488" y="90"/>
                </a:cxn>
                <a:cxn ang="0">
                  <a:pos x="538" y="87"/>
                </a:cxn>
                <a:cxn ang="0">
                  <a:pos x="554" y="121"/>
                </a:cxn>
                <a:cxn ang="0">
                  <a:pos x="638" y="109"/>
                </a:cxn>
                <a:cxn ang="0">
                  <a:pos x="721" y="124"/>
                </a:cxn>
                <a:cxn ang="0">
                  <a:pos x="821" y="147"/>
                </a:cxn>
                <a:cxn ang="0">
                  <a:pos x="891" y="162"/>
                </a:cxn>
                <a:cxn ang="0">
                  <a:pos x="860" y="198"/>
                </a:cxn>
                <a:cxn ang="0">
                  <a:pos x="883" y="256"/>
                </a:cxn>
                <a:cxn ang="0">
                  <a:pos x="838" y="271"/>
                </a:cxn>
                <a:cxn ang="0">
                  <a:pos x="832" y="293"/>
                </a:cxn>
                <a:cxn ang="0">
                  <a:pos x="902" y="355"/>
                </a:cxn>
                <a:cxn ang="0">
                  <a:pos x="962" y="370"/>
                </a:cxn>
                <a:cxn ang="0">
                  <a:pos x="943" y="424"/>
                </a:cxn>
                <a:cxn ang="0">
                  <a:pos x="1003" y="444"/>
                </a:cxn>
                <a:cxn ang="0">
                  <a:pos x="1055" y="448"/>
                </a:cxn>
                <a:cxn ang="0">
                  <a:pos x="1068" y="521"/>
                </a:cxn>
                <a:cxn ang="0">
                  <a:pos x="1058" y="522"/>
                </a:cxn>
                <a:cxn ang="0">
                  <a:pos x="1080" y="578"/>
                </a:cxn>
                <a:cxn ang="0">
                  <a:pos x="1078" y="624"/>
                </a:cxn>
                <a:cxn ang="0">
                  <a:pos x="973" y="638"/>
                </a:cxn>
                <a:cxn ang="0">
                  <a:pos x="926" y="664"/>
                </a:cxn>
                <a:cxn ang="0">
                  <a:pos x="915" y="695"/>
                </a:cxn>
                <a:cxn ang="0">
                  <a:pos x="952" y="745"/>
                </a:cxn>
                <a:cxn ang="0">
                  <a:pos x="902" y="782"/>
                </a:cxn>
                <a:cxn ang="0">
                  <a:pos x="856" y="757"/>
                </a:cxn>
                <a:cxn ang="0">
                  <a:pos x="778" y="759"/>
                </a:cxn>
                <a:cxn ang="0">
                  <a:pos x="759" y="780"/>
                </a:cxn>
                <a:cxn ang="0">
                  <a:pos x="718" y="780"/>
                </a:cxn>
                <a:cxn ang="0">
                  <a:pos x="769" y="819"/>
                </a:cxn>
                <a:cxn ang="0">
                  <a:pos x="707" y="840"/>
                </a:cxn>
                <a:cxn ang="0">
                  <a:pos x="654" y="842"/>
                </a:cxn>
                <a:cxn ang="0">
                  <a:pos x="618" y="804"/>
                </a:cxn>
                <a:cxn ang="0">
                  <a:pos x="552" y="840"/>
                </a:cxn>
                <a:cxn ang="0">
                  <a:pos x="539" y="786"/>
                </a:cxn>
              </a:cxnLst>
              <a:rect l="0" t="0" r="r" b="b"/>
              <a:pathLst>
                <a:path w="1086" h="917">
                  <a:moveTo>
                    <a:pt x="511" y="917"/>
                  </a:moveTo>
                  <a:lnTo>
                    <a:pt x="354" y="917"/>
                  </a:lnTo>
                  <a:lnTo>
                    <a:pt x="358" y="911"/>
                  </a:lnTo>
                  <a:lnTo>
                    <a:pt x="361" y="898"/>
                  </a:lnTo>
                  <a:lnTo>
                    <a:pt x="362" y="889"/>
                  </a:lnTo>
                  <a:lnTo>
                    <a:pt x="365" y="884"/>
                  </a:lnTo>
                  <a:lnTo>
                    <a:pt x="367" y="879"/>
                  </a:lnTo>
                  <a:lnTo>
                    <a:pt x="372" y="872"/>
                  </a:lnTo>
                  <a:lnTo>
                    <a:pt x="375" y="863"/>
                  </a:lnTo>
                  <a:lnTo>
                    <a:pt x="372" y="849"/>
                  </a:lnTo>
                  <a:lnTo>
                    <a:pt x="375" y="838"/>
                  </a:lnTo>
                  <a:lnTo>
                    <a:pt x="379" y="832"/>
                  </a:lnTo>
                  <a:lnTo>
                    <a:pt x="382" y="826"/>
                  </a:lnTo>
                  <a:lnTo>
                    <a:pt x="383" y="815"/>
                  </a:lnTo>
                  <a:lnTo>
                    <a:pt x="384" y="808"/>
                  </a:lnTo>
                  <a:lnTo>
                    <a:pt x="383" y="806"/>
                  </a:lnTo>
                  <a:lnTo>
                    <a:pt x="381" y="806"/>
                  </a:lnTo>
                  <a:lnTo>
                    <a:pt x="375" y="813"/>
                  </a:lnTo>
                  <a:lnTo>
                    <a:pt x="370" y="813"/>
                  </a:lnTo>
                  <a:lnTo>
                    <a:pt x="369" y="812"/>
                  </a:lnTo>
                  <a:lnTo>
                    <a:pt x="365" y="812"/>
                  </a:lnTo>
                  <a:lnTo>
                    <a:pt x="358" y="813"/>
                  </a:lnTo>
                  <a:lnTo>
                    <a:pt x="356" y="809"/>
                  </a:lnTo>
                  <a:lnTo>
                    <a:pt x="359" y="802"/>
                  </a:lnTo>
                  <a:lnTo>
                    <a:pt x="359" y="800"/>
                  </a:lnTo>
                  <a:lnTo>
                    <a:pt x="356" y="801"/>
                  </a:lnTo>
                  <a:lnTo>
                    <a:pt x="353" y="800"/>
                  </a:lnTo>
                  <a:lnTo>
                    <a:pt x="350" y="798"/>
                  </a:lnTo>
                  <a:lnTo>
                    <a:pt x="350" y="796"/>
                  </a:lnTo>
                  <a:lnTo>
                    <a:pt x="349" y="790"/>
                  </a:lnTo>
                  <a:lnTo>
                    <a:pt x="348" y="789"/>
                  </a:lnTo>
                  <a:lnTo>
                    <a:pt x="348" y="792"/>
                  </a:lnTo>
                  <a:lnTo>
                    <a:pt x="349" y="798"/>
                  </a:lnTo>
                  <a:lnTo>
                    <a:pt x="347" y="800"/>
                  </a:lnTo>
                  <a:lnTo>
                    <a:pt x="346" y="798"/>
                  </a:lnTo>
                  <a:lnTo>
                    <a:pt x="343" y="800"/>
                  </a:lnTo>
                  <a:lnTo>
                    <a:pt x="336" y="800"/>
                  </a:lnTo>
                  <a:lnTo>
                    <a:pt x="334" y="801"/>
                  </a:lnTo>
                  <a:lnTo>
                    <a:pt x="331" y="802"/>
                  </a:lnTo>
                  <a:lnTo>
                    <a:pt x="330" y="804"/>
                  </a:lnTo>
                  <a:lnTo>
                    <a:pt x="331" y="807"/>
                  </a:lnTo>
                  <a:lnTo>
                    <a:pt x="331" y="809"/>
                  </a:lnTo>
                  <a:lnTo>
                    <a:pt x="328" y="809"/>
                  </a:lnTo>
                  <a:lnTo>
                    <a:pt x="325" y="808"/>
                  </a:lnTo>
                  <a:lnTo>
                    <a:pt x="324" y="812"/>
                  </a:lnTo>
                  <a:lnTo>
                    <a:pt x="320" y="809"/>
                  </a:lnTo>
                  <a:lnTo>
                    <a:pt x="317" y="810"/>
                  </a:lnTo>
                  <a:lnTo>
                    <a:pt x="313" y="812"/>
                  </a:lnTo>
                  <a:lnTo>
                    <a:pt x="316" y="813"/>
                  </a:lnTo>
                  <a:lnTo>
                    <a:pt x="311" y="814"/>
                  </a:lnTo>
                  <a:lnTo>
                    <a:pt x="302" y="813"/>
                  </a:lnTo>
                  <a:lnTo>
                    <a:pt x="297" y="812"/>
                  </a:lnTo>
                  <a:lnTo>
                    <a:pt x="294" y="809"/>
                  </a:lnTo>
                  <a:lnTo>
                    <a:pt x="291" y="806"/>
                  </a:lnTo>
                  <a:lnTo>
                    <a:pt x="289" y="802"/>
                  </a:lnTo>
                  <a:lnTo>
                    <a:pt x="289" y="798"/>
                  </a:lnTo>
                  <a:lnTo>
                    <a:pt x="289" y="796"/>
                  </a:lnTo>
                  <a:lnTo>
                    <a:pt x="291" y="795"/>
                  </a:lnTo>
                  <a:lnTo>
                    <a:pt x="297" y="794"/>
                  </a:lnTo>
                  <a:lnTo>
                    <a:pt x="299" y="791"/>
                  </a:lnTo>
                  <a:lnTo>
                    <a:pt x="297" y="786"/>
                  </a:lnTo>
                  <a:lnTo>
                    <a:pt x="299" y="785"/>
                  </a:lnTo>
                  <a:lnTo>
                    <a:pt x="305" y="783"/>
                  </a:lnTo>
                  <a:lnTo>
                    <a:pt x="308" y="780"/>
                  </a:lnTo>
                  <a:lnTo>
                    <a:pt x="308" y="778"/>
                  </a:lnTo>
                  <a:lnTo>
                    <a:pt x="307" y="774"/>
                  </a:lnTo>
                  <a:lnTo>
                    <a:pt x="303" y="772"/>
                  </a:lnTo>
                  <a:lnTo>
                    <a:pt x="300" y="771"/>
                  </a:lnTo>
                  <a:lnTo>
                    <a:pt x="297" y="773"/>
                  </a:lnTo>
                  <a:lnTo>
                    <a:pt x="293" y="777"/>
                  </a:lnTo>
                  <a:lnTo>
                    <a:pt x="289" y="779"/>
                  </a:lnTo>
                  <a:lnTo>
                    <a:pt x="287" y="782"/>
                  </a:lnTo>
                  <a:lnTo>
                    <a:pt x="284" y="786"/>
                  </a:lnTo>
                  <a:lnTo>
                    <a:pt x="281" y="786"/>
                  </a:lnTo>
                  <a:lnTo>
                    <a:pt x="277" y="783"/>
                  </a:lnTo>
                  <a:lnTo>
                    <a:pt x="276" y="783"/>
                  </a:lnTo>
                  <a:lnTo>
                    <a:pt x="275" y="786"/>
                  </a:lnTo>
                  <a:lnTo>
                    <a:pt x="273" y="796"/>
                  </a:lnTo>
                  <a:lnTo>
                    <a:pt x="272" y="797"/>
                  </a:lnTo>
                  <a:lnTo>
                    <a:pt x="271" y="798"/>
                  </a:lnTo>
                  <a:lnTo>
                    <a:pt x="264" y="798"/>
                  </a:lnTo>
                  <a:lnTo>
                    <a:pt x="264" y="802"/>
                  </a:lnTo>
                  <a:lnTo>
                    <a:pt x="263" y="803"/>
                  </a:lnTo>
                  <a:lnTo>
                    <a:pt x="261" y="804"/>
                  </a:lnTo>
                  <a:lnTo>
                    <a:pt x="255" y="806"/>
                  </a:lnTo>
                  <a:lnTo>
                    <a:pt x="254" y="806"/>
                  </a:lnTo>
                  <a:lnTo>
                    <a:pt x="252" y="803"/>
                  </a:lnTo>
                  <a:lnTo>
                    <a:pt x="248" y="801"/>
                  </a:lnTo>
                  <a:lnTo>
                    <a:pt x="249" y="797"/>
                  </a:lnTo>
                  <a:lnTo>
                    <a:pt x="255" y="788"/>
                  </a:lnTo>
                  <a:lnTo>
                    <a:pt x="254" y="785"/>
                  </a:lnTo>
                  <a:lnTo>
                    <a:pt x="251" y="785"/>
                  </a:lnTo>
                  <a:lnTo>
                    <a:pt x="243" y="791"/>
                  </a:lnTo>
                  <a:lnTo>
                    <a:pt x="238" y="794"/>
                  </a:lnTo>
                  <a:lnTo>
                    <a:pt x="241" y="795"/>
                  </a:lnTo>
                  <a:lnTo>
                    <a:pt x="235" y="795"/>
                  </a:lnTo>
                  <a:lnTo>
                    <a:pt x="226" y="795"/>
                  </a:lnTo>
                  <a:lnTo>
                    <a:pt x="220" y="790"/>
                  </a:lnTo>
                  <a:lnTo>
                    <a:pt x="211" y="785"/>
                  </a:lnTo>
                  <a:lnTo>
                    <a:pt x="208" y="783"/>
                  </a:lnTo>
                  <a:lnTo>
                    <a:pt x="207" y="782"/>
                  </a:lnTo>
                  <a:lnTo>
                    <a:pt x="210" y="780"/>
                  </a:lnTo>
                  <a:lnTo>
                    <a:pt x="211" y="780"/>
                  </a:lnTo>
                  <a:lnTo>
                    <a:pt x="212" y="778"/>
                  </a:lnTo>
                  <a:lnTo>
                    <a:pt x="213" y="772"/>
                  </a:lnTo>
                  <a:lnTo>
                    <a:pt x="216" y="771"/>
                  </a:lnTo>
                  <a:lnTo>
                    <a:pt x="216" y="768"/>
                  </a:lnTo>
                  <a:lnTo>
                    <a:pt x="218" y="769"/>
                  </a:lnTo>
                  <a:lnTo>
                    <a:pt x="222" y="773"/>
                  </a:lnTo>
                  <a:lnTo>
                    <a:pt x="223" y="774"/>
                  </a:lnTo>
                  <a:lnTo>
                    <a:pt x="225" y="774"/>
                  </a:lnTo>
                  <a:lnTo>
                    <a:pt x="225" y="772"/>
                  </a:lnTo>
                  <a:lnTo>
                    <a:pt x="228" y="771"/>
                  </a:lnTo>
                  <a:lnTo>
                    <a:pt x="231" y="771"/>
                  </a:lnTo>
                  <a:lnTo>
                    <a:pt x="235" y="772"/>
                  </a:lnTo>
                  <a:lnTo>
                    <a:pt x="236" y="772"/>
                  </a:lnTo>
                  <a:lnTo>
                    <a:pt x="240" y="771"/>
                  </a:lnTo>
                  <a:lnTo>
                    <a:pt x="242" y="769"/>
                  </a:lnTo>
                  <a:lnTo>
                    <a:pt x="244" y="768"/>
                  </a:lnTo>
                  <a:lnTo>
                    <a:pt x="249" y="769"/>
                  </a:lnTo>
                  <a:lnTo>
                    <a:pt x="249" y="766"/>
                  </a:lnTo>
                  <a:lnTo>
                    <a:pt x="246" y="760"/>
                  </a:lnTo>
                  <a:lnTo>
                    <a:pt x="242" y="757"/>
                  </a:lnTo>
                  <a:lnTo>
                    <a:pt x="236" y="762"/>
                  </a:lnTo>
                  <a:lnTo>
                    <a:pt x="232" y="765"/>
                  </a:lnTo>
                  <a:lnTo>
                    <a:pt x="228" y="766"/>
                  </a:lnTo>
                  <a:lnTo>
                    <a:pt x="210" y="766"/>
                  </a:lnTo>
                  <a:lnTo>
                    <a:pt x="195" y="766"/>
                  </a:lnTo>
                  <a:lnTo>
                    <a:pt x="188" y="765"/>
                  </a:lnTo>
                  <a:lnTo>
                    <a:pt x="184" y="765"/>
                  </a:lnTo>
                  <a:lnTo>
                    <a:pt x="184" y="767"/>
                  </a:lnTo>
                  <a:lnTo>
                    <a:pt x="188" y="774"/>
                  </a:lnTo>
                  <a:lnTo>
                    <a:pt x="189" y="778"/>
                  </a:lnTo>
                  <a:lnTo>
                    <a:pt x="188" y="780"/>
                  </a:lnTo>
                  <a:lnTo>
                    <a:pt x="177" y="784"/>
                  </a:lnTo>
                  <a:lnTo>
                    <a:pt x="176" y="783"/>
                  </a:lnTo>
                  <a:lnTo>
                    <a:pt x="171" y="782"/>
                  </a:lnTo>
                  <a:lnTo>
                    <a:pt x="165" y="783"/>
                  </a:lnTo>
                  <a:lnTo>
                    <a:pt x="160" y="782"/>
                  </a:lnTo>
                  <a:lnTo>
                    <a:pt x="157" y="776"/>
                  </a:lnTo>
                  <a:lnTo>
                    <a:pt x="151" y="779"/>
                  </a:lnTo>
                  <a:lnTo>
                    <a:pt x="143" y="785"/>
                  </a:lnTo>
                  <a:lnTo>
                    <a:pt x="135" y="794"/>
                  </a:lnTo>
                  <a:lnTo>
                    <a:pt x="120" y="806"/>
                  </a:lnTo>
                  <a:lnTo>
                    <a:pt x="113" y="809"/>
                  </a:lnTo>
                  <a:lnTo>
                    <a:pt x="107" y="810"/>
                  </a:lnTo>
                  <a:lnTo>
                    <a:pt x="102" y="810"/>
                  </a:lnTo>
                  <a:lnTo>
                    <a:pt x="110" y="809"/>
                  </a:lnTo>
                  <a:lnTo>
                    <a:pt x="117" y="806"/>
                  </a:lnTo>
                  <a:lnTo>
                    <a:pt x="125" y="800"/>
                  </a:lnTo>
                  <a:lnTo>
                    <a:pt x="137" y="789"/>
                  </a:lnTo>
                  <a:lnTo>
                    <a:pt x="140" y="785"/>
                  </a:lnTo>
                  <a:lnTo>
                    <a:pt x="113" y="798"/>
                  </a:lnTo>
                  <a:lnTo>
                    <a:pt x="96" y="806"/>
                  </a:lnTo>
                  <a:lnTo>
                    <a:pt x="125" y="791"/>
                  </a:lnTo>
                  <a:lnTo>
                    <a:pt x="143" y="779"/>
                  </a:lnTo>
                  <a:lnTo>
                    <a:pt x="145" y="778"/>
                  </a:lnTo>
                  <a:lnTo>
                    <a:pt x="140" y="774"/>
                  </a:lnTo>
                  <a:lnTo>
                    <a:pt x="134" y="769"/>
                  </a:lnTo>
                  <a:lnTo>
                    <a:pt x="131" y="769"/>
                  </a:lnTo>
                  <a:lnTo>
                    <a:pt x="125" y="774"/>
                  </a:lnTo>
                  <a:lnTo>
                    <a:pt x="114" y="784"/>
                  </a:lnTo>
                  <a:lnTo>
                    <a:pt x="111" y="785"/>
                  </a:lnTo>
                  <a:lnTo>
                    <a:pt x="116" y="782"/>
                  </a:lnTo>
                  <a:lnTo>
                    <a:pt x="123" y="776"/>
                  </a:lnTo>
                  <a:lnTo>
                    <a:pt x="129" y="767"/>
                  </a:lnTo>
                  <a:lnTo>
                    <a:pt x="134" y="767"/>
                  </a:lnTo>
                  <a:lnTo>
                    <a:pt x="140" y="771"/>
                  </a:lnTo>
                  <a:lnTo>
                    <a:pt x="147" y="777"/>
                  </a:lnTo>
                  <a:lnTo>
                    <a:pt x="151" y="777"/>
                  </a:lnTo>
                  <a:lnTo>
                    <a:pt x="153" y="773"/>
                  </a:lnTo>
                  <a:lnTo>
                    <a:pt x="155" y="771"/>
                  </a:lnTo>
                  <a:lnTo>
                    <a:pt x="153" y="768"/>
                  </a:lnTo>
                  <a:lnTo>
                    <a:pt x="151" y="765"/>
                  </a:lnTo>
                  <a:lnTo>
                    <a:pt x="147" y="762"/>
                  </a:lnTo>
                  <a:lnTo>
                    <a:pt x="141" y="762"/>
                  </a:lnTo>
                  <a:lnTo>
                    <a:pt x="134" y="761"/>
                  </a:lnTo>
                  <a:lnTo>
                    <a:pt x="127" y="762"/>
                  </a:lnTo>
                  <a:lnTo>
                    <a:pt x="122" y="765"/>
                  </a:lnTo>
                  <a:lnTo>
                    <a:pt x="119" y="769"/>
                  </a:lnTo>
                  <a:lnTo>
                    <a:pt x="118" y="772"/>
                  </a:lnTo>
                  <a:lnTo>
                    <a:pt x="116" y="774"/>
                  </a:lnTo>
                  <a:lnTo>
                    <a:pt x="112" y="776"/>
                  </a:lnTo>
                  <a:lnTo>
                    <a:pt x="111" y="773"/>
                  </a:lnTo>
                  <a:lnTo>
                    <a:pt x="108" y="767"/>
                  </a:lnTo>
                  <a:lnTo>
                    <a:pt x="111" y="763"/>
                  </a:lnTo>
                  <a:lnTo>
                    <a:pt x="111" y="762"/>
                  </a:lnTo>
                  <a:lnTo>
                    <a:pt x="107" y="762"/>
                  </a:lnTo>
                  <a:lnTo>
                    <a:pt x="100" y="767"/>
                  </a:lnTo>
                  <a:lnTo>
                    <a:pt x="98" y="767"/>
                  </a:lnTo>
                  <a:lnTo>
                    <a:pt x="98" y="763"/>
                  </a:lnTo>
                  <a:lnTo>
                    <a:pt x="95" y="757"/>
                  </a:lnTo>
                  <a:lnTo>
                    <a:pt x="96" y="753"/>
                  </a:lnTo>
                  <a:lnTo>
                    <a:pt x="101" y="747"/>
                  </a:lnTo>
                  <a:lnTo>
                    <a:pt x="102" y="745"/>
                  </a:lnTo>
                  <a:lnTo>
                    <a:pt x="101" y="743"/>
                  </a:lnTo>
                  <a:lnTo>
                    <a:pt x="96" y="738"/>
                  </a:lnTo>
                  <a:lnTo>
                    <a:pt x="95" y="733"/>
                  </a:lnTo>
                  <a:lnTo>
                    <a:pt x="93" y="730"/>
                  </a:lnTo>
                  <a:lnTo>
                    <a:pt x="93" y="725"/>
                  </a:lnTo>
                  <a:lnTo>
                    <a:pt x="99" y="719"/>
                  </a:lnTo>
                  <a:lnTo>
                    <a:pt x="101" y="717"/>
                  </a:lnTo>
                  <a:lnTo>
                    <a:pt x="102" y="715"/>
                  </a:lnTo>
                  <a:lnTo>
                    <a:pt x="96" y="712"/>
                  </a:lnTo>
                  <a:lnTo>
                    <a:pt x="95" y="711"/>
                  </a:lnTo>
                  <a:lnTo>
                    <a:pt x="98" y="707"/>
                  </a:lnTo>
                  <a:lnTo>
                    <a:pt x="105" y="703"/>
                  </a:lnTo>
                  <a:lnTo>
                    <a:pt x="107" y="701"/>
                  </a:lnTo>
                  <a:lnTo>
                    <a:pt x="108" y="699"/>
                  </a:lnTo>
                  <a:lnTo>
                    <a:pt x="110" y="690"/>
                  </a:lnTo>
                  <a:lnTo>
                    <a:pt x="111" y="685"/>
                  </a:lnTo>
                  <a:lnTo>
                    <a:pt x="113" y="679"/>
                  </a:lnTo>
                  <a:lnTo>
                    <a:pt x="93" y="681"/>
                  </a:lnTo>
                  <a:lnTo>
                    <a:pt x="84" y="682"/>
                  </a:lnTo>
                  <a:lnTo>
                    <a:pt x="80" y="681"/>
                  </a:lnTo>
                  <a:lnTo>
                    <a:pt x="75" y="677"/>
                  </a:lnTo>
                  <a:lnTo>
                    <a:pt x="74" y="676"/>
                  </a:lnTo>
                  <a:lnTo>
                    <a:pt x="70" y="677"/>
                  </a:lnTo>
                  <a:lnTo>
                    <a:pt x="68" y="682"/>
                  </a:lnTo>
                  <a:lnTo>
                    <a:pt x="60" y="681"/>
                  </a:lnTo>
                  <a:lnTo>
                    <a:pt x="51" y="677"/>
                  </a:lnTo>
                  <a:lnTo>
                    <a:pt x="45" y="677"/>
                  </a:lnTo>
                  <a:lnTo>
                    <a:pt x="39" y="678"/>
                  </a:lnTo>
                  <a:lnTo>
                    <a:pt x="34" y="676"/>
                  </a:lnTo>
                  <a:lnTo>
                    <a:pt x="25" y="669"/>
                  </a:lnTo>
                  <a:lnTo>
                    <a:pt x="21" y="660"/>
                  </a:lnTo>
                  <a:lnTo>
                    <a:pt x="16" y="656"/>
                  </a:lnTo>
                  <a:lnTo>
                    <a:pt x="15" y="654"/>
                  </a:lnTo>
                  <a:lnTo>
                    <a:pt x="15" y="652"/>
                  </a:lnTo>
                  <a:lnTo>
                    <a:pt x="17" y="643"/>
                  </a:lnTo>
                  <a:lnTo>
                    <a:pt x="16" y="646"/>
                  </a:lnTo>
                  <a:lnTo>
                    <a:pt x="11" y="640"/>
                  </a:lnTo>
                  <a:lnTo>
                    <a:pt x="4" y="624"/>
                  </a:lnTo>
                  <a:lnTo>
                    <a:pt x="0" y="617"/>
                  </a:lnTo>
                  <a:lnTo>
                    <a:pt x="0" y="614"/>
                  </a:lnTo>
                  <a:lnTo>
                    <a:pt x="4" y="614"/>
                  </a:lnTo>
                  <a:lnTo>
                    <a:pt x="9" y="613"/>
                  </a:lnTo>
                  <a:lnTo>
                    <a:pt x="11" y="611"/>
                  </a:lnTo>
                  <a:lnTo>
                    <a:pt x="13" y="611"/>
                  </a:lnTo>
                  <a:lnTo>
                    <a:pt x="17" y="613"/>
                  </a:lnTo>
                  <a:lnTo>
                    <a:pt x="21" y="619"/>
                  </a:lnTo>
                  <a:lnTo>
                    <a:pt x="25" y="622"/>
                  </a:lnTo>
                  <a:lnTo>
                    <a:pt x="30" y="624"/>
                  </a:lnTo>
                  <a:lnTo>
                    <a:pt x="31" y="626"/>
                  </a:lnTo>
                  <a:lnTo>
                    <a:pt x="35" y="636"/>
                  </a:lnTo>
                  <a:lnTo>
                    <a:pt x="35" y="638"/>
                  </a:lnTo>
                  <a:lnTo>
                    <a:pt x="37" y="637"/>
                  </a:lnTo>
                  <a:lnTo>
                    <a:pt x="40" y="634"/>
                  </a:lnTo>
                  <a:lnTo>
                    <a:pt x="42" y="629"/>
                  </a:lnTo>
                  <a:lnTo>
                    <a:pt x="46" y="628"/>
                  </a:lnTo>
                  <a:lnTo>
                    <a:pt x="51" y="629"/>
                  </a:lnTo>
                  <a:lnTo>
                    <a:pt x="55" y="629"/>
                  </a:lnTo>
                  <a:lnTo>
                    <a:pt x="61" y="626"/>
                  </a:lnTo>
                  <a:lnTo>
                    <a:pt x="59" y="625"/>
                  </a:lnTo>
                  <a:lnTo>
                    <a:pt x="57" y="622"/>
                  </a:lnTo>
                  <a:lnTo>
                    <a:pt x="53" y="618"/>
                  </a:lnTo>
                  <a:lnTo>
                    <a:pt x="54" y="614"/>
                  </a:lnTo>
                  <a:lnTo>
                    <a:pt x="60" y="612"/>
                  </a:lnTo>
                  <a:lnTo>
                    <a:pt x="66" y="611"/>
                  </a:lnTo>
                  <a:lnTo>
                    <a:pt x="70" y="613"/>
                  </a:lnTo>
                  <a:lnTo>
                    <a:pt x="70" y="620"/>
                  </a:lnTo>
                  <a:lnTo>
                    <a:pt x="78" y="624"/>
                  </a:lnTo>
                  <a:lnTo>
                    <a:pt x="76" y="625"/>
                  </a:lnTo>
                  <a:lnTo>
                    <a:pt x="82" y="626"/>
                  </a:lnTo>
                  <a:lnTo>
                    <a:pt x="92" y="630"/>
                  </a:lnTo>
                  <a:lnTo>
                    <a:pt x="94" y="631"/>
                  </a:lnTo>
                  <a:lnTo>
                    <a:pt x="95" y="629"/>
                  </a:lnTo>
                  <a:lnTo>
                    <a:pt x="96" y="624"/>
                  </a:lnTo>
                  <a:lnTo>
                    <a:pt x="102" y="626"/>
                  </a:lnTo>
                  <a:lnTo>
                    <a:pt x="116" y="634"/>
                  </a:lnTo>
                  <a:lnTo>
                    <a:pt x="118" y="635"/>
                  </a:lnTo>
                  <a:lnTo>
                    <a:pt x="120" y="632"/>
                  </a:lnTo>
                  <a:lnTo>
                    <a:pt x="123" y="628"/>
                  </a:lnTo>
                  <a:lnTo>
                    <a:pt x="125" y="626"/>
                  </a:lnTo>
                  <a:lnTo>
                    <a:pt x="127" y="628"/>
                  </a:lnTo>
                  <a:lnTo>
                    <a:pt x="131" y="628"/>
                  </a:lnTo>
                  <a:lnTo>
                    <a:pt x="140" y="625"/>
                  </a:lnTo>
                  <a:lnTo>
                    <a:pt x="147" y="625"/>
                  </a:lnTo>
                  <a:lnTo>
                    <a:pt x="149" y="624"/>
                  </a:lnTo>
                  <a:lnTo>
                    <a:pt x="146" y="622"/>
                  </a:lnTo>
                  <a:lnTo>
                    <a:pt x="136" y="614"/>
                  </a:lnTo>
                  <a:lnTo>
                    <a:pt x="135" y="610"/>
                  </a:lnTo>
                  <a:lnTo>
                    <a:pt x="133" y="607"/>
                  </a:lnTo>
                  <a:lnTo>
                    <a:pt x="129" y="607"/>
                  </a:lnTo>
                  <a:lnTo>
                    <a:pt x="127" y="605"/>
                  </a:lnTo>
                  <a:lnTo>
                    <a:pt x="124" y="601"/>
                  </a:lnTo>
                  <a:lnTo>
                    <a:pt x="122" y="599"/>
                  </a:lnTo>
                  <a:lnTo>
                    <a:pt x="123" y="594"/>
                  </a:lnTo>
                  <a:lnTo>
                    <a:pt x="129" y="590"/>
                  </a:lnTo>
                  <a:lnTo>
                    <a:pt x="130" y="587"/>
                  </a:lnTo>
                  <a:lnTo>
                    <a:pt x="133" y="583"/>
                  </a:lnTo>
                  <a:lnTo>
                    <a:pt x="139" y="582"/>
                  </a:lnTo>
                  <a:lnTo>
                    <a:pt x="145" y="578"/>
                  </a:lnTo>
                  <a:lnTo>
                    <a:pt x="152" y="572"/>
                  </a:lnTo>
                  <a:lnTo>
                    <a:pt x="157" y="568"/>
                  </a:lnTo>
                  <a:lnTo>
                    <a:pt x="159" y="566"/>
                  </a:lnTo>
                  <a:lnTo>
                    <a:pt x="159" y="564"/>
                  </a:lnTo>
                  <a:lnTo>
                    <a:pt x="160" y="562"/>
                  </a:lnTo>
                  <a:lnTo>
                    <a:pt x="163" y="562"/>
                  </a:lnTo>
                  <a:lnTo>
                    <a:pt x="173" y="568"/>
                  </a:lnTo>
                  <a:lnTo>
                    <a:pt x="183" y="564"/>
                  </a:lnTo>
                  <a:lnTo>
                    <a:pt x="188" y="563"/>
                  </a:lnTo>
                  <a:lnTo>
                    <a:pt x="192" y="560"/>
                  </a:lnTo>
                  <a:lnTo>
                    <a:pt x="196" y="554"/>
                  </a:lnTo>
                  <a:lnTo>
                    <a:pt x="201" y="552"/>
                  </a:lnTo>
                  <a:lnTo>
                    <a:pt x="202" y="551"/>
                  </a:lnTo>
                  <a:lnTo>
                    <a:pt x="204" y="547"/>
                  </a:lnTo>
                  <a:lnTo>
                    <a:pt x="205" y="547"/>
                  </a:lnTo>
                  <a:lnTo>
                    <a:pt x="206" y="551"/>
                  </a:lnTo>
                  <a:lnTo>
                    <a:pt x="211" y="558"/>
                  </a:lnTo>
                  <a:lnTo>
                    <a:pt x="216" y="558"/>
                  </a:lnTo>
                  <a:lnTo>
                    <a:pt x="218" y="557"/>
                  </a:lnTo>
                  <a:lnTo>
                    <a:pt x="220" y="554"/>
                  </a:lnTo>
                  <a:lnTo>
                    <a:pt x="224" y="549"/>
                  </a:lnTo>
                  <a:lnTo>
                    <a:pt x="226" y="547"/>
                  </a:lnTo>
                  <a:lnTo>
                    <a:pt x="226" y="542"/>
                  </a:lnTo>
                  <a:lnTo>
                    <a:pt x="226" y="540"/>
                  </a:lnTo>
                  <a:lnTo>
                    <a:pt x="223" y="537"/>
                  </a:lnTo>
                  <a:lnTo>
                    <a:pt x="219" y="539"/>
                  </a:lnTo>
                  <a:lnTo>
                    <a:pt x="216" y="543"/>
                  </a:lnTo>
                  <a:lnTo>
                    <a:pt x="214" y="543"/>
                  </a:lnTo>
                  <a:lnTo>
                    <a:pt x="212" y="541"/>
                  </a:lnTo>
                  <a:lnTo>
                    <a:pt x="210" y="537"/>
                  </a:lnTo>
                  <a:lnTo>
                    <a:pt x="208" y="535"/>
                  </a:lnTo>
                  <a:lnTo>
                    <a:pt x="206" y="534"/>
                  </a:lnTo>
                  <a:lnTo>
                    <a:pt x="201" y="535"/>
                  </a:lnTo>
                  <a:lnTo>
                    <a:pt x="199" y="539"/>
                  </a:lnTo>
                  <a:lnTo>
                    <a:pt x="199" y="542"/>
                  </a:lnTo>
                  <a:lnTo>
                    <a:pt x="196" y="543"/>
                  </a:lnTo>
                  <a:lnTo>
                    <a:pt x="193" y="541"/>
                  </a:lnTo>
                  <a:lnTo>
                    <a:pt x="185" y="537"/>
                  </a:lnTo>
                  <a:lnTo>
                    <a:pt x="179" y="535"/>
                  </a:lnTo>
                  <a:lnTo>
                    <a:pt x="173" y="533"/>
                  </a:lnTo>
                  <a:lnTo>
                    <a:pt x="171" y="534"/>
                  </a:lnTo>
                  <a:lnTo>
                    <a:pt x="171" y="536"/>
                  </a:lnTo>
                  <a:lnTo>
                    <a:pt x="173" y="539"/>
                  </a:lnTo>
                  <a:lnTo>
                    <a:pt x="179" y="545"/>
                  </a:lnTo>
                  <a:lnTo>
                    <a:pt x="179" y="546"/>
                  </a:lnTo>
                  <a:lnTo>
                    <a:pt x="176" y="546"/>
                  </a:lnTo>
                  <a:lnTo>
                    <a:pt x="166" y="543"/>
                  </a:lnTo>
                  <a:lnTo>
                    <a:pt x="161" y="543"/>
                  </a:lnTo>
                  <a:lnTo>
                    <a:pt x="157" y="551"/>
                  </a:lnTo>
                  <a:lnTo>
                    <a:pt x="154" y="552"/>
                  </a:lnTo>
                  <a:lnTo>
                    <a:pt x="151" y="551"/>
                  </a:lnTo>
                  <a:lnTo>
                    <a:pt x="146" y="549"/>
                  </a:lnTo>
                  <a:lnTo>
                    <a:pt x="145" y="543"/>
                  </a:lnTo>
                  <a:lnTo>
                    <a:pt x="147" y="537"/>
                  </a:lnTo>
                  <a:lnTo>
                    <a:pt x="143" y="536"/>
                  </a:lnTo>
                  <a:lnTo>
                    <a:pt x="130" y="536"/>
                  </a:lnTo>
                  <a:lnTo>
                    <a:pt x="130" y="539"/>
                  </a:lnTo>
                  <a:lnTo>
                    <a:pt x="129" y="541"/>
                  </a:lnTo>
                  <a:lnTo>
                    <a:pt x="124" y="543"/>
                  </a:lnTo>
                  <a:lnTo>
                    <a:pt x="119" y="543"/>
                  </a:lnTo>
                  <a:lnTo>
                    <a:pt x="118" y="540"/>
                  </a:lnTo>
                  <a:lnTo>
                    <a:pt x="116" y="540"/>
                  </a:lnTo>
                  <a:lnTo>
                    <a:pt x="107" y="545"/>
                  </a:lnTo>
                  <a:lnTo>
                    <a:pt x="104" y="547"/>
                  </a:lnTo>
                  <a:lnTo>
                    <a:pt x="101" y="548"/>
                  </a:lnTo>
                  <a:lnTo>
                    <a:pt x="98" y="545"/>
                  </a:lnTo>
                  <a:lnTo>
                    <a:pt x="90" y="540"/>
                  </a:lnTo>
                  <a:lnTo>
                    <a:pt x="88" y="537"/>
                  </a:lnTo>
                  <a:lnTo>
                    <a:pt x="88" y="535"/>
                  </a:lnTo>
                  <a:lnTo>
                    <a:pt x="90" y="531"/>
                  </a:lnTo>
                  <a:lnTo>
                    <a:pt x="88" y="529"/>
                  </a:lnTo>
                  <a:lnTo>
                    <a:pt x="82" y="527"/>
                  </a:lnTo>
                  <a:lnTo>
                    <a:pt x="78" y="523"/>
                  </a:lnTo>
                  <a:lnTo>
                    <a:pt x="76" y="515"/>
                  </a:lnTo>
                  <a:lnTo>
                    <a:pt x="78" y="512"/>
                  </a:lnTo>
                  <a:lnTo>
                    <a:pt x="83" y="512"/>
                  </a:lnTo>
                  <a:lnTo>
                    <a:pt x="90" y="513"/>
                  </a:lnTo>
                  <a:lnTo>
                    <a:pt x="95" y="517"/>
                  </a:lnTo>
                  <a:lnTo>
                    <a:pt x="101" y="522"/>
                  </a:lnTo>
                  <a:lnTo>
                    <a:pt x="102" y="521"/>
                  </a:lnTo>
                  <a:lnTo>
                    <a:pt x="101" y="516"/>
                  </a:lnTo>
                  <a:lnTo>
                    <a:pt x="100" y="515"/>
                  </a:lnTo>
                  <a:lnTo>
                    <a:pt x="102" y="512"/>
                  </a:lnTo>
                  <a:lnTo>
                    <a:pt x="106" y="507"/>
                  </a:lnTo>
                  <a:lnTo>
                    <a:pt x="110" y="501"/>
                  </a:lnTo>
                  <a:lnTo>
                    <a:pt x="116" y="498"/>
                  </a:lnTo>
                  <a:lnTo>
                    <a:pt x="122" y="493"/>
                  </a:lnTo>
                  <a:lnTo>
                    <a:pt x="123" y="488"/>
                  </a:lnTo>
                  <a:lnTo>
                    <a:pt x="124" y="486"/>
                  </a:lnTo>
                  <a:lnTo>
                    <a:pt x="123" y="485"/>
                  </a:lnTo>
                  <a:lnTo>
                    <a:pt x="112" y="480"/>
                  </a:lnTo>
                  <a:lnTo>
                    <a:pt x="108" y="476"/>
                  </a:lnTo>
                  <a:lnTo>
                    <a:pt x="107" y="468"/>
                  </a:lnTo>
                  <a:lnTo>
                    <a:pt x="107" y="452"/>
                  </a:lnTo>
                  <a:lnTo>
                    <a:pt x="108" y="447"/>
                  </a:lnTo>
                  <a:lnTo>
                    <a:pt x="110" y="442"/>
                  </a:lnTo>
                  <a:lnTo>
                    <a:pt x="104" y="440"/>
                  </a:lnTo>
                  <a:lnTo>
                    <a:pt x="100" y="438"/>
                  </a:lnTo>
                  <a:lnTo>
                    <a:pt x="96" y="433"/>
                  </a:lnTo>
                  <a:lnTo>
                    <a:pt x="94" y="424"/>
                  </a:lnTo>
                  <a:lnTo>
                    <a:pt x="98" y="418"/>
                  </a:lnTo>
                  <a:lnTo>
                    <a:pt x="104" y="412"/>
                  </a:lnTo>
                  <a:lnTo>
                    <a:pt x="106" y="406"/>
                  </a:lnTo>
                  <a:lnTo>
                    <a:pt x="104" y="402"/>
                  </a:lnTo>
                  <a:lnTo>
                    <a:pt x="104" y="396"/>
                  </a:lnTo>
                  <a:lnTo>
                    <a:pt x="108" y="390"/>
                  </a:lnTo>
                  <a:lnTo>
                    <a:pt x="112" y="385"/>
                  </a:lnTo>
                  <a:lnTo>
                    <a:pt x="111" y="378"/>
                  </a:lnTo>
                  <a:lnTo>
                    <a:pt x="111" y="376"/>
                  </a:lnTo>
                  <a:lnTo>
                    <a:pt x="113" y="375"/>
                  </a:lnTo>
                  <a:lnTo>
                    <a:pt x="119" y="378"/>
                  </a:lnTo>
                  <a:lnTo>
                    <a:pt x="125" y="380"/>
                  </a:lnTo>
                  <a:lnTo>
                    <a:pt x="133" y="378"/>
                  </a:lnTo>
                  <a:lnTo>
                    <a:pt x="135" y="378"/>
                  </a:lnTo>
                  <a:lnTo>
                    <a:pt x="137" y="379"/>
                  </a:lnTo>
                  <a:lnTo>
                    <a:pt x="141" y="382"/>
                  </a:lnTo>
                  <a:lnTo>
                    <a:pt x="146" y="385"/>
                  </a:lnTo>
                  <a:lnTo>
                    <a:pt x="151" y="382"/>
                  </a:lnTo>
                  <a:lnTo>
                    <a:pt x="152" y="382"/>
                  </a:lnTo>
                  <a:lnTo>
                    <a:pt x="153" y="385"/>
                  </a:lnTo>
                  <a:lnTo>
                    <a:pt x="154" y="393"/>
                  </a:lnTo>
                  <a:lnTo>
                    <a:pt x="155" y="396"/>
                  </a:lnTo>
                  <a:lnTo>
                    <a:pt x="159" y="398"/>
                  </a:lnTo>
                  <a:lnTo>
                    <a:pt x="164" y="399"/>
                  </a:lnTo>
                  <a:lnTo>
                    <a:pt x="166" y="396"/>
                  </a:lnTo>
                  <a:lnTo>
                    <a:pt x="169" y="391"/>
                  </a:lnTo>
                  <a:lnTo>
                    <a:pt x="167" y="387"/>
                  </a:lnTo>
                  <a:lnTo>
                    <a:pt x="163" y="384"/>
                  </a:lnTo>
                  <a:lnTo>
                    <a:pt x="152" y="379"/>
                  </a:lnTo>
                  <a:lnTo>
                    <a:pt x="148" y="378"/>
                  </a:lnTo>
                  <a:lnTo>
                    <a:pt x="148" y="374"/>
                  </a:lnTo>
                  <a:lnTo>
                    <a:pt x="151" y="366"/>
                  </a:lnTo>
                  <a:lnTo>
                    <a:pt x="153" y="361"/>
                  </a:lnTo>
                  <a:lnTo>
                    <a:pt x="152" y="356"/>
                  </a:lnTo>
                  <a:lnTo>
                    <a:pt x="155" y="355"/>
                  </a:lnTo>
                  <a:lnTo>
                    <a:pt x="161" y="356"/>
                  </a:lnTo>
                  <a:lnTo>
                    <a:pt x="169" y="357"/>
                  </a:lnTo>
                  <a:lnTo>
                    <a:pt x="176" y="363"/>
                  </a:lnTo>
                  <a:lnTo>
                    <a:pt x="181" y="367"/>
                  </a:lnTo>
                  <a:lnTo>
                    <a:pt x="185" y="366"/>
                  </a:lnTo>
                  <a:lnTo>
                    <a:pt x="185" y="364"/>
                  </a:lnTo>
                  <a:lnTo>
                    <a:pt x="183" y="362"/>
                  </a:lnTo>
                  <a:lnTo>
                    <a:pt x="173" y="351"/>
                  </a:lnTo>
                  <a:lnTo>
                    <a:pt x="166" y="349"/>
                  </a:lnTo>
                  <a:lnTo>
                    <a:pt x="166" y="344"/>
                  </a:lnTo>
                  <a:lnTo>
                    <a:pt x="171" y="332"/>
                  </a:lnTo>
                  <a:lnTo>
                    <a:pt x="175" y="331"/>
                  </a:lnTo>
                  <a:lnTo>
                    <a:pt x="179" y="331"/>
                  </a:lnTo>
                  <a:lnTo>
                    <a:pt x="183" y="328"/>
                  </a:lnTo>
                  <a:lnTo>
                    <a:pt x="188" y="331"/>
                  </a:lnTo>
                  <a:lnTo>
                    <a:pt x="193" y="331"/>
                  </a:lnTo>
                  <a:lnTo>
                    <a:pt x="195" y="332"/>
                  </a:lnTo>
                  <a:lnTo>
                    <a:pt x="196" y="337"/>
                  </a:lnTo>
                  <a:lnTo>
                    <a:pt x="196" y="345"/>
                  </a:lnTo>
                  <a:lnTo>
                    <a:pt x="198" y="348"/>
                  </a:lnTo>
                  <a:lnTo>
                    <a:pt x="200" y="345"/>
                  </a:lnTo>
                  <a:lnTo>
                    <a:pt x="206" y="343"/>
                  </a:lnTo>
                  <a:lnTo>
                    <a:pt x="208" y="339"/>
                  </a:lnTo>
                  <a:lnTo>
                    <a:pt x="211" y="335"/>
                  </a:lnTo>
                  <a:lnTo>
                    <a:pt x="210" y="333"/>
                  </a:lnTo>
                  <a:lnTo>
                    <a:pt x="207" y="332"/>
                  </a:lnTo>
                  <a:lnTo>
                    <a:pt x="206" y="332"/>
                  </a:lnTo>
                  <a:lnTo>
                    <a:pt x="205" y="331"/>
                  </a:lnTo>
                  <a:lnTo>
                    <a:pt x="204" y="327"/>
                  </a:lnTo>
                  <a:lnTo>
                    <a:pt x="204" y="317"/>
                  </a:lnTo>
                  <a:lnTo>
                    <a:pt x="202" y="315"/>
                  </a:lnTo>
                  <a:lnTo>
                    <a:pt x="200" y="314"/>
                  </a:lnTo>
                  <a:lnTo>
                    <a:pt x="189" y="314"/>
                  </a:lnTo>
                  <a:lnTo>
                    <a:pt x="182" y="309"/>
                  </a:lnTo>
                  <a:lnTo>
                    <a:pt x="178" y="305"/>
                  </a:lnTo>
                  <a:lnTo>
                    <a:pt x="178" y="304"/>
                  </a:lnTo>
                  <a:lnTo>
                    <a:pt x="182" y="297"/>
                  </a:lnTo>
                  <a:lnTo>
                    <a:pt x="188" y="291"/>
                  </a:lnTo>
                  <a:lnTo>
                    <a:pt x="193" y="289"/>
                  </a:lnTo>
                  <a:lnTo>
                    <a:pt x="195" y="286"/>
                  </a:lnTo>
                  <a:lnTo>
                    <a:pt x="200" y="287"/>
                  </a:lnTo>
                  <a:lnTo>
                    <a:pt x="210" y="291"/>
                  </a:lnTo>
                  <a:lnTo>
                    <a:pt x="218" y="291"/>
                  </a:lnTo>
                  <a:lnTo>
                    <a:pt x="225" y="291"/>
                  </a:lnTo>
                  <a:lnTo>
                    <a:pt x="232" y="290"/>
                  </a:lnTo>
                  <a:lnTo>
                    <a:pt x="240" y="291"/>
                  </a:lnTo>
                  <a:lnTo>
                    <a:pt x="243" y="291"/>
                  </a:lnTo>
                  <a:lnTo>
                    <a:pt x="247" y="291"/>
                  </a:lnTo>
                  <a:lnTo>
                    <a:pt x="249" y="289"/>
                  </a:lnTo>
                  <a:lnTo>
                    <a:pt x="252" y="284"/>
                  </a:lnTo>
                  <a:lnTo>
                    <a:pt x="253" y="280"/>
                  </a:lnTo>
                  <a:lnTo>
                    <a:pt x="257" y="277"/>
                  </a:lnTo>
                  <a:lnTo>
                    <a:pt x="263" y="272"/>
                  </a:lnTo>
                  <a:lnTo>
                    <a:pt x="264" y="269"/>
                  </a:lnTo>
                  <a:lnTo>
                    <a:pt x="263" y="268"/>
                  </a:lnTo>
                  <a:lnTo>
                    <a:pt x="258" y="268"/>
                  </a:lnTo>
                  <a:lnTo>
                    <a:pt x="254" y="268"/>
                  </a:lnTo>
                  <a:lnTo>
                    <a:pt x="248" y="272"/>
                  </a:lnTo>
                  <a:lnTo>
                    <a:pt x="246" y="266"/>
                  </a:lnTo>
                  <a:lnTo>
                    <a:pt x="242" y="263"/>
                  </a:lnTo>
                  <a:lnTo>
                    <a:pt x="237" y="262"/>
                  </a:lnTo>
                  <a:lnTo>
                    <a:pt x="238" y="261"/>
                  </a:lnTo>
                  <a:lnTo>
                    <a:pt x="236" y="257"/>
                  </a:lnTo>
                  <a:lnTo>
                    <a:pt x="226" y="251"/>
                  </a:lnTo>
                  <a:lnTo>
                    <a:pt x="223" y="248"/>
                  </a:lnTo>
                  <a:lnTo>
                    <a:pt x="230" y="247"/>
                  </a:lnTo>
                  <a:lnTo>
                    <a:pt x="236" y="248"/>
                  </a:lnTo>
                  <a:lnTo>
                    <a:pt x="237" y="250"/>
                  </a:lnTo>
                  <a:lnTo>
                    <a:pt x="242" y="250"/>
                  </a:lnTo>
                  <a:lnTo>
                    <a:pt x="246" y="250"/>
                  </a:lnTo>
                  <a:lnTo>
                    <a:pt x="247" y="249"/>
                  </a:lnTo>
                  <a:lnTo>
                    <a:pt x="248" y="248"/>
                  </a:lnTo>
                  <a:lnTo>
                    <a:pt x="251" y="244"/>
                  </a:lnTo>
                  <a:lnTo>
                    <a:pt x="254" y="236"/>
                  </a:lnTo>
                  <a:lnTo>
                    <a:pt x="255" y="239"/>
                  </a:lnTo>
                  <a:lnTo>
                    <a:pt x="259" y="239"/>
                  </a:lnTo>
                  <a:lnTo>
                    <a:pt x="260" y="242"/>
                  </a:lnTo>
                  <a:lnTo>
                    <a:pt x="263" y="248"/>
                  </a:lnTo>
                  <a:lnTo>
                    <a:pt x="267" y="251"/>
                  </a:lnTo>
                  <a:lnTo>
                    <a:pt x="269" y="253"/>
                  </a:lnTo>
                  <a:lnTo>
                    <a:pt x="271" y="249"/>
                  </a:lnTo>
                  <a:lnTo>
                    <a:pt x="279" y="238"/>
                  </a:lnTo>
                  <a:lnTo>
                    <a:pt x="284" y="235"/>
                  </a:lnTo>
                  <a:lnTo>
                    <a:pt x="284" y="231"/>
                  </a:lnTo>
                  <a:lnTo>
                    <a:pt x="277" y="227"/>
                  </a:lnTo>
                  <a:lnTo>
                    <a:pt x="273" y="225"/>
                  </a:lnTo>
                  <a:lnTo>
                    <a:pt x="265" y="225"/>
                  </a:lnTo>
                  <a:lnTo>
                    <a:pt x="255" y="227"/>
                  </a:lnTo>
                  <a:lnTo>
                    <a:pt x="251" y="227"/>
                  </a:lnTo>
                  <a:lnTo>
                    <a:pt x="248" y="226"/>
                  </a:lnTo>
                  <a:lnTo>
                    <a:pt x="244" y="225"/>
                  </a:lnTo>
                  <a:lnTo>
                    <a:pt x="241" y="225"/>
                  </a:lnTo>
                  <a:lnTo>
                    <a:pt x="235" y="222"/>
                  </a:lnTo>
                  <a:lnTo>
                    <a:pt x="217" y="218"/>
                  </a:lnTo>
                  <a:lnTo>
                    <a:pt x="214" y="215"/>
                  </a:lnTo>
                  <a:lnTo>
                    <a:pt x="206" y="215"/>
                  </a:lnTo>
                  <a:lnTo>
                    <a:pt x="194" y="221"/>
                  </a:lnTo>
                  <a:lnTo>
                    <a:pt x="185" y="226"/>
                  </a:lnTo>
                  <a:lnTo>
                    <a:pt x="173" y="228"/>
                  </a:lnTo>
                  <a:lnTo>
                    <a:pt x="165" y="231"/>
                  </a:lnTo>
                  <a:lnTo>
                    <a:pt x="147" y="232"/>
                  </a:lnTo>
                  <a:lnTo>
                    <a:pt x="143" y="235"/>
                  </a:lnTo>
                  <a:lnTo>
                    <a:pt x="140" y="238"/>
                  </a:lnTo>
                  <a:lnTo>
                    <a:pt x="134" y="238"/>
                  </a:lnTo>
                  <a:lnTo>
                    <a:pt x="130" y="236"/>
                  </a:lnTo>
                  <a:lnTo>
                    <a:pt x="125" y="236"/>
                  </a:lnTo>
                  <a:lnTo>
                    <a:pt x="118" y="233"/>
                  </a:lnTo>
                  <a:lnTo>
                    <a:pt x="111" y="230"/>
                  </a:lnTo>
                  <a:lnTo>
                    <a:pt x="108" y="225"/>
                  </a:lnTo>
                  <a:lnTo>
                    <a:pt x="111" y="219"/>
                  </a:lnTo>
                  <a:lnTo>
                    <a:pt x="116" y="215"/>
                  </a:lnTo>
                  <a:lnTo>
                    <a:pt x="119" y="214"/>
                  </a:lnTo>
                  <a:lnTo>
                    <a:pt x="120" y="209"/>
                  </a:lnTo>
                  <a:lnTo>
                    <a:pt x="118" y="203"/>
                  </a:lnTo>
                  <a:lnTo>
                    <a:pt x="123" y="203"/>
                  </a:lnTo>
                  <a:lnTo>
                    <a:pt x="133" y="203"/>
                  </a:lnTo>
                  <a:lnTo>
                    <a:pt x="137" y="201"/>
                  </a:lnTo>
                  <a:lnTo>
                    <a:pt x="142" y="202"/>
                  </a:lnTo>
                  <a:lnTo>
                    <a:pt x="147" y="200"/>
                  </a:lnTo>
                  <a:lnTo>
                    <a:pt x="147" y="195"/>
                  </a:lnTo>
                  <a:lnTo>
                    <a:pt x="151" y="192"/>
                  </a:lnTo>
                  <a:lnTo>
                    <a:pt x="154" y="188"/>
                  </a:lnTo>
                  <a:lnTo>
                    <a:pt x="157" y="185"/>
                  </a:lnTo>
                  <a:lnTo>
                    <a:pt x="165" y="183"/>
                  </a:lnTo>
                  <a:lnTo>
                    <a:pt x="167" y="182"/>
                  </a:lnTo>
                  <a:lnTo>
                    <a:pt x="169" y="179"/>
                  </a:lnTo>
                  <a:lnTo>
                    <a:pt x="163" y="173"/>
                  </a:lnTo>
                  <a:lnTo>
                    <a:pt x="155" y="170"/>
                  </a:lnTo>
                  <a:lnTo>
                    <a:pt x="155" y="173"/>
                  </a:lnTo>
                  <a:lnTo>
                    <a:pt x="154" y="174"/>
                  </a:lnTo>
                  <a:lnTo>
                    <a:pt x="149" y="173"/>
                  </a:lnTo>
                  <a:lnTo>
                    <a:pt x="139" y="172"/>
                  </a:lnTo>
                  <a:lnTo>
                    <a:pt x="136" y="172"/>
                  </a:lnTo>
                  <a:lnTo>
                    <a:pt x="136" y="168"/>
                  </a:lnTo>
                  <a:lnTo>
                    <a:pt x="139" y="162"/>
                  </a:lnTo>
                  <a:lnTo>
                    <a:pt x="142" y="159"/>
                  </a:lnTo>
                  <a:lnTo>
                    <a:pt x="143" y="155"/>
                  </a:lnTo>
                  <a:lnTo>
                    <a:pt x="143" y="150"/>
                  </a:lnTo>
                  <a:lnTo>
                    <a:pt x="142" y="144"/>
                  </a:lnTo>
                  <a:lnTo>
                    <a:pt x="145" y="141"/>
                  </a:lnTo>
                  <a:lnTo>
                    <a:pt x="145" y="137"/>
                  </a:lnTo>
                  <a:lnTo>
                    <a:pt x="149" y="137"/>
                  </a:lnTo>
                  <a:lnTo>
                    <a:pt x="157" y="140"/>
                  </a:lnTo>
                  <a:lnTo>
                    <a:pt x="164" y="138"/>
                  </a:lnTo>
                  <a:lnTo>
                    <a:pt x="171" y="137"/>
                  </a:lnTo>
                  <a:lnTo>
                    <a:pt x="173" y="134"/>
                  </a:lnTo>
                  <a:lnTo>
                    <a:pt x="176" y="128"/>
                  </a:lnTo>
                  <a:lnTo>
                    <a:pt x="181" y="126"/>
                  </a:lnTo>
                  <a:lnTo>
                    <a:pt x="185" y="130"/>
                  </a:lnTo>
                  <a:lnTo>
                    <a:pt x="190" y="130"/>
                  </a:lnTo>
                  <a:lnTo>
                    <a:pt x="198" y="129"/>
                  </a:lnTo>
                  <a:lnTo>
                    <a:pt x="202" y="126"/>
                  </a:lnTo>
                  <a:lnTo>
                    <a:pt x="204" y="125"/>
                  </a:lnTo>
                  <a:lnTo>
                    <a:pt x="205" y="123"/>
                  </a:lnTo>
                  <a:lnTo>
                    <a:pt x="200" y="123"/>
                  </a:lnTo>
                  <a:lnTo>
                    <a:pt x="192" y="125"/>
                  </a:lnTo>
                  <a:lnTo>
                    <a:pt x="189" y="121"/>
                  </a:lnTo>
                  <a:lnTo>
                    <a:pt x="188" y="113"/>
                  </a:lnTo>
                  <a:lnTo>
                    <a:pt x="184" y="112"/>
                  </a:lnTo>
                  <a:lnTo>
                    <a:pt x="183" y="111"/>
                  </a:lnTo>
                  <a:lnTo>
                    <a:pt x="185" y="108"/>
                  </a:lnTo>
                  <a:lnTo>
                    <a:pt x="190" y="103"/>
                  </a:lnTo>
                  <a:lnTo>
                    <a:pt x="192" y="100"/>
                  </a:lnTo>
                  <a:lnTo>
                    <a:pt x="195" y="96"/>
                  </a:lnTo>
                  <a:lnTo>
                    <a:pt x="202" y="97"/>
                  </a:lnTo>
                  <a:lnTo>
                    <a:pt x="211" y="99"/>
                  </a:lnTo>
                  <a:lnTo>
                    <a:pt x="213" y="99"/>
                  </a:lnTo>
                  <a:lnTo>
                    <a:pt x="214" y="101"/>
                  </a:lnTo>
                  <a:lnTo>
                    <a:pt x="214" y="106"/>
                  </a:lnTo>
                  <a:lnTo>
                    <a:pt x="219" y="107"/>
                  </a:lnTo>
                  <a:lnTo>
                    <a:pt x="224" y="107"/>
                  </a:lnTo>
                  <a:lnTo>
                    <a:pt x="225" y="107"/>
                  </a:lnTo>
                  <a:lnTo>
                    <a:pt x="226" y="111"/>
                  </a:lnTo>
                  <a:lnTo>
                    <a:pt x="229" y="108"/>
                  </a:lnTo>
                  <a:lnTo>
                    <a:pt x="232" y="97"/>
                  </a:lnTo>
                  <a:lnTo>
                    <a:pt x="241" y="89"/>
                  </a:lnTo>
                  <a:lnTo>
                    <a:pt x="246" y="85"/>
                  </a:lnTo>
                  <a:lnTo>
                    <a:pt x="249" y="85"/>
                  </a:lnTo>
                  <a:lnTo>
                    <a:pt x="253" y="87"/>
                  </a:lnTo>
                  <a:lnTo>
                    <a:pt x="257" y="84"/>
                  </a:lnTo>
                  <a:lnTo>
                    <a:pt x="263" y="79"/>
                  </a:lnTo>
                  <a:lnTo>
                    <a:pt x="264" y="79"/>
                  </a:lnTo>
                  <a:lnTo>
                    <a:pt x="267" y="78"/>
                  </a:lnTo>
                  <a:lnTo>
                    <a:pt x="275" y="72"/>
                  </a:lnTo>
                  <a:lnTo>
                    <a:pt x="279" y="71"/>
                  </a:lnTo>
                  <a:lnTo>
                    <a:pt x="281" y="70"/>
                  </a:lnTo>
                  <a:lnTo>
                    <a:pt x="279" y="67"/>
                  </a:lnTo>
                  <a:lnTo>
                    <a:pt x="277" y="65"/>
                  </a:lnTo>
                  <a:lnTo>
                    <a:pt x="273" y="60"/>
                  </a:lnTo>
                  <a:lnTo>
                    <a:pt x="272" y="60"/>
                  </a:lnTo>
                  <a:lnTo>
                    <a:pt x="272" y="57"/>
                  </a:lnTo>
                  <a:lnTo>
                    <a:pt x="275" y="49"/>
                  </a:lnTo>
                  <a:lnTo>
                    <a:pt x="278" y="45"/>
                  </a:lnTo>
                  <a:lnTo>
                    <a:pt x="281" y="45"/>
                  </a:lnTo>
                  <a:lnTo>
                    <a:pt x="281" y="42"/>
                  </a:lnTo>
                  <a:lnTo>
                    <a:pt x="276" y="40"/>
                  </a:lnTo>
                  <a:lnTo>
                    <a:pt x="276" y="35"/>
                  </a:lnTo>
                  <a:lnTo>
                    <a:pt x="281" y="30"/>
                  </a:lnTo>
                  <a:lnTo>
                    <a:pt x="283" y="28"/>
                  </a:lnTo>
                  <a:lnTo>
                    <a:pt x="288" y="29"/>
                  </a:lnTo>
                  <a:lnTo>
                    <a:pt x="295" y="27"/>
                  </a:lnTo>
                  <a:lnTo>
                    <a:pt x="297" y="24"/>
                  </a:lnTo>
                  <a:lnTo>
                    <a:pt x="294" y="21"/>
                  </a:lnTo>
                  <a:lnTo>
                    <a:pt x="293" y="19"/>
                  </a:lnTo>
                  <a:lnTo>
                    <a:pt x="296" y="18"/>
                  </a:lnTo>
                  <a:lnTo>
                    <a:pt x="305" y="18"/>
                  </a:lnTo>
                  <a:lnTo>
                    <a:pt x="312" y="19"/>
                  </a:lnTo>
                  <a:lnTo>
                    <a:pt x="317" y="18"/>
                  </a:lnTo>
                  <a:lnTo>
                    <a:pt x="322" y="19"/>
                  </a:lnTo>
                  <a:lnTo>
                    <a:pt x="324" y="19"/>
                  </a:lnTo>
                  <a:lnTo>
                    <a:pt x="328" y="17"/>
                  </a:lnTo>
                  <a:lnTo>
                    <a:pt x="331" y="12"/>
                  </a:lnTo>
                  <a:lnTo>
                    <a:pt x="334" y="10"/>
                  </a:lnTo>
                  <a:lnTo>
                    <a:pt x="335" y="7"/>
                  </a:lnTo>
                  <a:lnTo>
                    <a:pt x="335" y="6"/>
                  </a:lnTo>
                  <a:lnTo>
                    <a:pt x="338" y="6"/>
                  </a:lnTo>
                  <a:lnTo>
                    <a:pt x="346" y="6"/>
                  </a:lnTo>
                  <a:lnTo>
                    <a:pt x="352" y="10"/>
                  </a:lnTo>
                  <a:lnTo>
                    <a:pt x="355" y="14"/>
                  </a:lnTo>
                  <a:lnTo>
                    <a:pt x="359" y="14"/>
                  </a:lnTo>
                  <a:lnTo>
                    <a:pt x="361" y="14"/>
                  </a:lnTo>
                  <a:lnTo>
                    <a:pt x="365" y="12"/>
                  </a:lnTo>
                  <a:lnTo>
                    <a:pt x="375" y="4"/>
                  </a:lnTo>
                  <a:lnTo>
                    <a:pt x="388" y="0"/>
                  </a:lnTo>
                  <a:lnTo>
                    <a:pt x="390" y="0"/>
                  </a:lnTo>
                  <a:lnTo>
                    <a:pt x="393" y="2"/>
                  </a:lnTo>
                  <a:lnTo>
                    <a:pt x="401" y="8"/>
                  </a:lnTo>
                  <a:lnTo>
                    <a:pt x="406" y="14"/>
                  </a:lnTo>
                  <a:lnTo>
                    <a:pt x="409" y="16"/>
                  </a:lnTo>
                  <a:lnTo>
                    <a:pt x="414" y="11"/>
                  </a:lnTo>
                  <a:lnTo>
                    <a:pt x="419" y="13"/>
                  </a:lnTo>
                  <a:lnTo>
                    <a:pt x="423" y="19"/>
                  </a:lnTo>
                  <a:lnTo>
                    <a:pt x="425" y="21"/>
                  </a:lnTo>
                  <a:lnTo>
                    <a:pt x="429" y="22"/>
                  </a:lnTo>
                  <a:lnTo>
                    <a:pt x="428" y="24"/>
                  </a:lnTo>
                  <a:lnTo>
                    <a:pt x="430" y="23"/>
                  </a:lnTo>
                  <a:lnTo>
                    <a:pt x="435" y="18"/>
                  </a:lnTo>
                  <a:lnTo>
                    <a:pt x="438" y="16"/>
                  </a:lnTo>
                  <a:lnTo>
                    <a:pt x="440" y="11"/>
                  </a:lnTo>
                  <a:lnTo>
                    <a:pt x="442" y="10"/>
                  </a:lnTo>
                  <a:lnTo>
                    <a:pt x="447" y="12"/>
                  </a:lnTo>
                  <a:lnTo>
                    <a:pt x="454" y="19"/>
                  </a:lnTo>
                  <a:lnTo>
                    <a:pt x="458" y="22"/>
                  </a:lnTo>
                  <a:lnTo>
                    <a:pt x="460" y="24"/>
                  </a:lnTo>
                  <a:lnTo>
                    <a:pt x="461" y="28"/>
                  </a:lnTo>
                  <a:lnTo>
                    <a:pt x="462" y="35"/>
                  </a:lnTo>
                  <a:lnTo>
                    <a:pt x="465" y="45"/>
                  </a:lnTo>
                  <a:lnTo>
                    <a:pt x="461" y="51"/>
                  </a:lnTo>
                  <a:lnTo>
                    <a:pt x="458" y="54"/>
                  </a:lnTo>
                  <a:lnTo>
                    <a:pt x="456" y="58"/>
                  </a:lnTo>
                  <a:lnTo>
                    <a:pt x="456" y="61"/>
                  </a:lnTo>
                  <a:lnTo>
                    <a:pt x="458" y="66"/>
                  </a:lnTo>
                  <a:lnTo>
                    <a:pt x="462" y="71"/>
                  </a:lnTo>
                  <a:lnTo>
                    <a:pt x="466" y="70"/>
                  </a:lnTo>
                  <a:lnTo>
                    <a:pt x="468" y="67"/>
                  </a:lnTo>
                  <a:lnTo>
                    <a:pt x="472" y="65"/>
                  </a:lnTo>
                  <a:lnTo>
                    <a:pt x="473" y="69"/>
                  </a:lnTo>
                  <a:lnTo>
                    <a:pt x="473" y="75"/>
                  </a:lnTo>
                  <a:lnTo>
                    <a:pt x="470" y="79"/>
                  </a:lnTo>
                  <a:lnTo>
                    <a:pt x="466" y="83"/>
                  </a:lnTo>
                  <a:lnTo>
                    <a:pt x="465" y="85"/>
                  </a:lnTo>
                  <a:lnTo>
                    <a:pt x="466" y="87"/>
                  </a:lnTo>
                  <a:lnTo>
                    <a:pt x="470" y="87"/>
                  </a:lnTo>
                  <a:lnTo>
                    <a:pt x="472" y="88"/>
                  </a:lnTo>
                  <a:lnTo>
                    <a:pt x="476" y="90"/>
                  </a:lnTo>
                  <a:lnTo>
                    <a:pt x="479" y="93"/>
                  </a:lnTo>
                  <a:lnTo>
                    <a:pt x="483" y="94"/>
                  </a:lnTo>
                  <a:lnTo>
                    <a:pt x="488" y="90"/>
                  </a:lnTo>
                  <a:lnTo>
                    <a:pt x="495" y="88"/>
                  </a:lnTo>
                  <a:lnTo>
                    <a:pt x="496" y="85"/>
                  </a:lnTo>
                  <a:lnTo>
                    <a:pt x="497" y="83"/>
                  </a:lnTo>
                  <a:lnTo>
                    <a:pt x="499" y="82"/>
                  </a:lnTo>
                  <a:lnTo>
                    <a:pt x="495" y="81"/>
                  </a:lnTo>
                  <a:lnTo>
                    <a:pt x="489" y="76"/>
                  </a:lnTo>
                  <a:lnTo>
                    <a:pt x="487" y="72"/>
                  </a:lnTo>
                  <a:lnTo>
                    <a:pt x="488" y="67"/>
                  </a:lnTo>
                  <a:lnTo>
                    <a:pt x="490" y="66"/>
                  </a:lnTo>
                  <a:lnTo>
                    <a:pt x="499" y="69"/>
                  </a:lnTo>
                  <a:lnTo>
                    <a:pt x="503" y="72"/>
                  </a:lnTo>
                  <a:lnTo>
                    <a:pt x="503" y="76"/>
                  </a:lnTo>
                  <a:lnTo>
                    <a:pt x="505" y="79"/>
                  </a:lnTo>
                  <a:lnTo>
                    <a:pt x="507" y="79"/>
                  </a:lnTo>
                  <a:lnTo>
                    <a:pt x="509" y="76"/>
                  </a:lnTo>
                  <a:lnTo>
                    <a:pt x="512" y="75"/>
                  </a:lnTo>
                  <a:lnTo>
                    <a:pt x="518" y="72"/>
                  </a:lnTo>
                  <a:lnTo>
                    <a:pt x="525" y="69"/>
                  </a:lnTo>
                  <a:lnTo>
                    <a:pt x="529" y="69"/>
                  </a:lnTo>
                  <a:lnTo>
                    <a:pt x="532" y="71"/>
                  </a:lnTo>
                  <a:lnTo>
                    <a:pt x="533" y="76"/>
                  </a:lnTo>
                  <a:lnTo>
                    <a:pt x="535" y="82"/>
                  </a:lnTo>
                  <a:lnTo>
                    <a:pt x="536" y="85"/>
                  </a:lnTo>
                  <a:lnTo>
                    <a:pt x="538" y="87"/>
                  </a:lnTo>
                  <a:lnTo>
                    <a:pt x="541" y="83"/>
                  </a:lnTo>
                  <a:lnTo>
                    <a:pt x="547" y="81"/>
                  </a:lnTo>
                  <a:lnTo>
                    <a:pt x="555" y="82"/>
                  </a:lnTo>
                  <a:lnTo>
                    <a:pt x="555" y="85"/>
                  </a:lnTo>
                  <a:lnTo>
                    <a:pt x="555" y="90"/>
                  </a:lnTo>
                  <a:lnTo>
                    <a:pt x="558" y="91"/>
                  </a:lnTo>
                  <a:lnTo>
                    <a:pt x="560" y="94"/>
                  </a:lnTo>
                  <a:lnTo>
                    <a:pt x="558" y="97"/>
                  </a:lnTo>
                  <a:lnTo>
                    <a:pt x="559" y="100"/>
                  </a:lnTo>
                  <a:lnTo>
                    <a:pt x="558" y="102"/>
                  </a:lnTo>
                  <a:lnTo>
                    <a:pt x="554" y="102"/>
                  </a:lnTo>
                  <a:lnTo>
                    <a:pt x="554" y="106"/>
                  </a:lnTo>
                  <a:lnTo>
                    <a:pt x="554" y="113"/>
                  </a:lnTo>
                  <a:lnTo>
                    <a:pt x="553" y="115"/>
                  </a:lnTo>
                  <a:lnTo>
                    <a:pt x="544" y="115"/>
                  </a:lnTo>
                  <a:lnTo>
                    <a:pt x="542" y="114"/>
                  </a:lnTo>
                  <a:lnTo>
                    <a:pt x="539" y="115"/>
                  </a:lnTo>
                  <a:lnTo>
                    <a:pt x="537" y="118"/>
                  </a:lnTo>
                  <a:lnTo>
                    <a:pt x="535" y="120"/>
                  </a:lnTo>
                  <a:lnTo>
                    <a:pt x="536" y="125"/>
                  </a:lnTo>
                  <a:lnTo>
                    <a:pt x="536" y="124"/>
                  </a:lnTo>
                  <a:lnTo>
                    <a:pt x="539" y="121"/>
                  </a:lnTo>
                  <a:lnTo>
                    <a:pt x="548" y="121"/>
                  </a:lnTo>
                  <a:lnTo>
                    <a:pt x="554" y="121"/>
                  </a:lnTo>
                  <a:lnTo>
                    <a:pt x="555" y="124"/>
                  </a:lnTo>
                  <a:lnTo>
                    <a:pt x="556" y="128"/>
                  </a:lnTo>
                  <a:lnTo>
                    <a:pt x="559" y="126"/>
                  </a:lnTo>
                  <a:lnTo>
                    <a:pt x="561" y="120"/>
                  </a:lnTo>
                  <a:lnTo>
                    <a:pt x="562" y="117"/>
                  </a:lnTo>
                  <a:lnTo>
                    <a:pt x="567" y="115"/>
                  </a:lnTo>
                  <a:lnTo>
                    <a:pt x="572" y="114"/>
                  </a:lnTo>
                  <a:lnTo>
                    <a:pt x="576" y="115"/>
                  </a:lnTo>
                  <a:lnTo>
                    <a:pt x="582" y="119"/>
                  </a:lnTo>
                  <a:lnTo>
                    <a:pt x="588" y="121"/>
                  </a:lnTo>
                  <a:lnTo>
                    <a:pt x="598" y="121"/>
                  </a:lnTo>
                  <a:lnTo>
                    <a:pt x="602" y="121"/>
                  </a:lnTo>
                  <a:lnTo>
                    <a:pt x="603" y="124"/>
                  </a:lnTo>
                  <a:lnTo>
                    <a:pt x="603" y="126"/>
                  </a:lnTo>
                  <a:lnTo>
                    <a:pt x="603" y="129"/>
                  </a:lnTo>
                  <a:lnTo>
                    <a:pt x="606" y="130"/>
                  </a:lnTo>
                  <a:lnTo>
                    <a:pt x="609" y="130"/>
                  </a:lnTo>
                  <a:lnTo>
                    <a:pt x="612" y="129"/>
                  </a:lnTo>
                  <a:lnTo>
                    <a:pt x="614" y="120"/>
                  </a:lnTo>
                  <a:lnTo>
                    <a:pt x="618" y="115"/>
                  </a:lnTo>
                  <a:lnTo>
                    <a:pt x="621" y="113"/>
                  </a:lnTo>
                  <a:lnTo>
                    <a:pt x="626" y="113"/>
                  </a:lnTo>
                  <a:lnTo>
                    <a:pt x="633" y="113"/>
                  </a:lnTo>
                  <a:lnTo>
                    <a:pt x="638" y="109"/>
                  </a:lnTo>
                  <a:lnTo>
                    <a:pt x="641" y="107"/>
                  </a:lnTo>
                  <a:lnTo>
                    <a:pt x="647" y="109"/>
                  </a:lnTo>
                  <a:lnTo>
                    <a:pt x="653" y="109"/>
                  </a:lnTo>
                  <a:lnTo>
                    <a:pt x="656" y="109"/>
                  </a:lnTo>
                  <a:lnTo>
                    <a:pt x="660" y="113"/>
                  </a:lnTo>
                  <a:lnTo>
                    <a:pt x="663" y="113"/>
                  </a:lnTo>
                  <a:lnTo>
                    <a:pt x="667" y="111"/>
                  </a:lnTo>
                  <a:lnTo>
                    <a:pt x="671" y="111"/>
                  </a:lnTo>
                  <a:lnTo>
                    <a:pt x="674" y="114"/>
                  </a:lnTo>
                  <a:lnTo>
                    <a:pt x="680" y="114"/>
                  </a:lnTo>
                  <a:lnTo>
                    <a:pt x="690" y="108"/>
                  </a:lnTo>
                  <a:lnTo>
                    <a:pt x="696" y="105"/>
                  </a:lnTo>
                  <a:lnTo>
                    <a:pt x="702" y="103"/>
                  </a:lnTo>
                  <a:lnTo>
                    <a:pt x="708" y="103"/>
                  </a:lnTo>
                  <a:lnTo>
                    <a:pt x="709" y="107"/>
                  </a:lnTo>
                  <a:lnTo>
                    <a:pt x="707" y="112"/>
                  </a:lnTo>
                  <a:lnTo>
                    <a:pt x="707" y="114"/>
                  </a:lnTo>
                  <a:lnTo>
                    <a:pt x="709" y="117"/>
                  </a:lnTo>
                  <a:lnTo>
                    <a:pt x="715" y="119"/>
                  </a:lnTo>
                  <a:lnTo>
                    <a:pt x="718" y="120"/>
                  </a:lnTo>
                  <a:lnTo>
                    <a:pt x="716" y="124"/>
                  </a:lnTo>
                  <a:lnTo>
                    <a:pt x="716" y="125"/>
                  </a:lnTo>
                  <a:lnTo>
                    <a:pt x="720" y="126"/>
                  </a:lnTo>
                  <a:lnTo>
                    <a:pt x="721" y="124"/>
                  </a:lnTo>
                  <a:lnTo>
                    <a:pt x="724" y="121"/>
                  </a:lnTo>
                  <a:lnTo>
                    <a:pt x="727" y="121"/>
                  </a:lnTo>
                  <a:lnTo>
                    <a:pt x="731" y="129"/>
                  </a:lnTo>
                  <a:lnTo>
                    <a:pt x="733" y="132"/>
                  </a:lnTo>
                  <a:lnTo>
                    <a:pt x="736" y="136"/>
                  </a:lnTo>
                  <a:lnTo>
                    <a:pt x="737" y="140"/>
                  </a:lnTo>
                  <a:lnTo>
                    <a:pt x="741" y="141"/>
                  </a:lnTo>
                  <a:lnTo>
                    <a:pt x="743" y="138"/>
                  </a:lnTo>
                  <a:lnTo>
                    <a:pt x="747" y="137"/>
                  </a:lnTo>
                  <a:lnTo>
                    <a:pt x="754" y="141"/>
                  </a:lnTo>
                  <a:lnTo>
                    <a:pt x="760" y="143"/>
                  </a:lnTo>
                  <a:lnTo>
                    <a:pt x="762" y="137"/>
                  </a:lnTo>
                  <a:lnTo>
                    <a:pt x="765" y="136"/>
                  </a:lnTo>
                  <a:lnTo>
                    <a:pt x="767" y="138"/>
                  </a:lnTo>
                  <a:lnTo>
                    <a:pt x="773" y="143"/>
                  </a:lnTo>
                  <a:lnTo>
                    <a:pt x="777" y="146"/>
                  </a:lnTo>
                  <a:lnTo>
                    <a:pt x="784" y="147"/>
                  </a:lnTo>
                  <a:lnTo>
                    <a:pt x="791" y="148"/>
                  </a:lnTo>
                  <a:lnTo>
                    <a:pt x="797" y="147"/>
                  </a:lnTo>
                  <a:lnTo>
                    <a:pt x="798" y="143"/>
                  </a:lnTo>
                  <a:lnTo>
                    <a:pt x="803" y="143"/>
                  </a:lnTo>
                  <a:lnTo>
                    <a:pt x="810" y="148"/>
                  </a:lnTo>
                  <a:lnTo>
                    <a:pt x="816" y="148"/>
                  </a:lnTo>
                  <a:lnTo>
                    <a:pt x="821" y="147"/>
                  </a:lnTo>
                  <a:lnTo>
                    <a:pt x="826" y="147"/>
                  </a:lnTo>
                  <a:lnTo>
                    <a:pt x="837" y="148"/>
                  </a:lnTo>
                  <a:lnTo>
                    <a:pt x="845" y="149"/>
                  </a:lnTo>
                  <a:lnTo>
                    <a:pt x="850" y="148"/>
                  </a:lnTo>
                  <a:lnTo>
                    <a:pt x="854" y="144"/>
                  </a:lnTo>
                  <a:lnTo>
                    <a:pt x="855" y="144"/>
                  </a:lnTo>
                  <a:lnTo>
                    <a:pt x="855" y="148"/>
                  </a:lnTo>
                  <a:lnTo>
                    <a:pt x="853" y="160"/>
                  </a:lnTo>
                  <a:lnTo>
                    <a:pt x="851" y="165"/>
                  </a:lnTo>
                  <a:lnTo>
                    <a:pt x="854" y="166"/>
                  </a:lnTo>
                  <a:lnTo>
                    <a:pt x="857" y="166"/>
                  </a:lnTo>
                  <a:lnTo>
                    <a:pt x="860" y="168"/>
                  </a:lnTo>
                  <a:lnTo>
                    <a:pt x="865" y="170"/>
                  </a:lnTo>
                  <a:lnTo>
                    <a:pt x="869" y="170"/>
                  </a:lnTo>
                  <a:lnTo>
                    <a:pt x="871" y="170"/>
                  </a:lnTo>
                  <a:lnTo>
                    <a:pt x="871" y="167"/>
                  </a:lnTo>
                  <a:lnTo>
                    <a:pt x="867" y="164"/>
                  </a:lnTo>
                  <a:lnTo>
                    <a:pt x="867" y="162"/>
                  </a:lnTo>
                  <a:lnTo>
                    <a:pt x="871" y="160"/>
                  </a:lnTo>
                  <a:lnTo>
                    <a:pt x="880" y="158"/>
                  </a:lnTo>
                  <a:lnTo>
                    <a:pt x="883" y="156"/>
                  </a:lnTo>
                  <a:lnTo>
                    <a:pt x="885" y="159"/>
                  </a:lnTo>
                  <a:lnTo>
                    <a:pt x="890" y="165"/>
                  </a:lnTo>
                  <a:lnTo>
                    <a:pt x="891" y="162"/>
                  </a:lnTo>
                  <a:lnTo>
                    <a:pt x="891" y="165"/>
                  </a:lnTo>
                  <a:lnTo>
                    <a:pt x="892" y="177"/>
                  </a:lnTo>
                  <a:lnTo>
                    <a:pt x="889" y="183"/>
                  </a:lnTo>
                  <a:lnTo>
                    <a:pt x="890" y="185"/>
                  </a:lnTo>
                  <a:lnTo>
                    <a:pt x="886" y="185"/>
                  </a:lnTo>
                  <a:lnTo>
                    <a:pt x="880" y="185"/>
                  </a:lnTo>
                  <a:lnTo>
                    <a:pt x="879" y="189"/>
                  </a:lnTo>
                  <a:lnTo>
                    <a:pt x="879" y="191"/>
                  </a:lnTo>
                  <a:lnTo>
                    <a:pt x="875" y="191"/>
                  </a:lnTo>
                  <a:lnTo>
                    <a:pt x="866" y="189"/>
                  </a:lnTo>
                  <a:lnTo>
                    <a:pt x="867" y="192"/>
                  </a:lnTo>
                  <a:lnTo>
                    <a:pt x="867" y="197"/>
                  </a:lnTo>
                  <a:lnTo>
                    <a:pt x="862" y="197"/>
                  </a:lnTo>
                  <a:lnTo>
                    <a:pt x="859" y="194"/>
                  </a:lnTo>
                  <a:lnTo>
                    <a:pt x="856" y="194"/>
                  </a:lnTo>
                  <a:lnTo>
                    <a:pt x="851" y="195"/>
                  </a:lnTo>
                  <a:lnTo>
                    <a:pt x="844" y="197"/>
                  </a:lnTo>
                  <a:lnTo>
                    <a:pt x="843" y="197"/>
                  </a:lnTo>
                  <a:lnTo>
                    <a:pt x="843" y="200"/>
                  </a:lnTo>
                  <a:lnTo>
                    <a:pt x="844" y="202"/>
                  </a:lnTo>
                  <a:lnTo>
                    <a:pt x="849" y="201"/>
                  </a:lnTo>
                  <a:lnTo>
                    <a:pt x="855" y="197"/>
                  </a:lnTo>
                  <a:lnTo>
                    <a:pt x="857" y="197"/>
                  </a:lnTo>
                  <a:lnTo>
                    <a:pt x="860" y="198"/>
                  </a:lnTo>
                  <a:lnTo>
                    <a:pt x="868" y="202"/>
                  </a:lnTo>
                  <a:lnTo>
                    <a:pt x="871" y="206"/>
                  </a:lnTo>
                  <a:lnTo>
                    <a:pt x="877" y="207"/>
                  </a:lnTo>
                  <a:lnTo>
                    <a:pt x="879" y="212"/>
                  </a:lnTo>
                  <a:lnTo>
                    <a:pt x="880" y="216"/>
                  </a:lnTo>
                  <a:lnTo>
                    <a:pt x="883" y="219"/>
                  </a:lnTo>
                  <a:lnTo>
                    <a:pt x="889" y="220"/>
                  </a:lnTo>
                  <a:lnTo>
                    <a:pt x="895" y="222"/>
                  </a:lnTo>
                  <a:lnTo>
                    <a:pt x="897" y="226"/>
                  </a:lnTo>
                  <a:lnTo>
                    <a:pt x="902" y="231"/>
                  </a:lnTo>
                  <a:lnTo>
                    <a:pt x="908" y="231"/>
                  </a:lnTo>
                  <a:lnTo>
                    <a:pt x="908" y="236"/>
                  </a:lnTo>
                  <a:lnTo>
                    <a:pt x="901" y="248"/>
                  </a:lnTo>
                  <a:lnTo>
                    <a:pt x="895" y="250"/>
                  </a:lnTo>
                  <a:lnTo>
                    <a:pt x="891" y="250"/>
                  </a:lnTo>
                  <a:lnTo>
                    <a:pt x="890" y="248"/>
                  </a:lnTo>
                  <a:lnTo>
                    <a:pt x="887" y="247"/>
                  </a:lnTo>
                  <a:lnTo>
                    <a:pt x="883" y="247"/>
                  </a:lnTo>
                  <a:lnTo>
                    <a:pt x="880" y="249"/>
                  </a:lnTo>
                  <a:lnTo>
                    <a:pt x="878" y="249"/>
                  </a:lnTo>
                  <a:lnTo>
                    <a:pt x="869" y="248"/>
                  </a:lnTo>
                  <a:lnTo>
                    <a:pt x="873" y="250"/>
                  </a:lnTo>
                  <a:lnTo>
                    <a:pt x="878" y="253"/>
                  </a:lnTo>
                  <a:lnTo>
                    <a:pt x="883" y="256"/>
                  </a:lnTo>
                  <a:lnTo>
                    <a:pt x="884" y="262"/>
                  </a:lnTo>
                  <a:lnTo>
                    <a:pt x="884" y="267"/>
                  </a:lnTo>
                  <a:lnTo>
                    <a:pt x="884" y="271"/>
                  </a:lnTo>
                  <a:lnTo>
                    <a:pt x="881" y="271"/>
                  </a:lnTo>
                  <a:lnTo>
                    <a:pt x="872" y="267"/>
                  </a:lnTo>
                  <a:lnTo>
                    <a:pt x="867" y="265"/>
                  </a:lnTo>
                  <a:lnTo>
                    <a:pt x="862" y="265"/>
                  </a:lnTo>
                  <a:lnTo>
                    <a:pt x="857" y="262"/>
                  </a:lnTo>
                  <a:lnTo>
                    <a:pt x="855" y="261"/>
                  </a:lnTo>
                  <a:lnTo>
                    <a:pt x="855" y="265"/>
                  </a:lnTo>
                  <a:lnTo>
                    <a:pt x="853" y="265"/>
                  </a:lnTo>
                  <a:lnTo>
                    <a:pt x="849" y="261"/>
                  </a:lnTo>
                  <a:lnTo>
                    <a:pt x="843" y="253"/>
                  </a:lnTo>
                  <a:lnTo>
                    <a:pt x="839" y="250"/>
                  </a:lnTo>
                  <a:lnTo>
                    <a:pt x="837" y="248"/>
                  </a:lnTo>
                  <a:lnTo>
                    <a:pt x="833" y="248"/>
                  </a:lnTo>
                  <a:lnTo>
                    <a:pt x="832" y="250"/>
                  </a:lnTo>
                  <a:lnTo>
                    <a:pt x="830" y="251"/>
                  </a:lnTo>
                  <a:lnTo>
                    <a:pt x="822" y="251"/>
                  </a:lnTo>
                  <a:lnTo>
                    <a:pt x="818" y="251"/>
                  </a:lnTo>
                  <a:lnTo>
                    <a:pt x="819" y="257"/>
                  </a:lnTo>
                  <a:lnTo>
                    <a:pt x="822" y="263"/>
                  </a:lnTo>
                  <a:lnTo>
                    <a:pt x="830" y="265"/>
                  </a:lnTo>
                  <a:lnTo>
                    <a:pt x="838" y="271"/>
                  </a:lnTo>
                  <a:lnTo>
                    <a:pt x="838" y="272"/>
                  </a:lnTo>
                  <a:lnTo>
                    <a:pt x="839" y="274"/>
                  </a:lnTo>
                  <a:lnTo>
                    <a:pt x="847" y="281"/>
                  </a:lnTo>
                  <a:lnTo>
                    <a:pt x="848" y="284"/>
                  </a:lnTo>
                  <a:lnTo>
                    <a:pt x="847" y="285"/>
                  </a:lnTo>
                  <a:lnTo>
                    <a:pt x="842" y="286"/>
                  </a:lnTo>
                  <a:lnTo>
                    <a:pt x="830" y="284"/>
                  </a:lnTo>
                  <a:lnTo>
                    <a:pt x="827" y="284"/>
                  </a:lnTo>
                  <a:lnTo>
                    <a:pt x="826" y="284"/>
                  </a:lnTo>
                  <a:lnTo>
                    <a:pt x="824" y="284"/>
                  </a:lnTo>
                  <a:lnTo>
                    <a:pt x="822" y="280"/>
                  </a:lnTo>
                  <a:lnTo>
                    <a:pt x="822" y="273"/>
                  </a:lnTo>
                  <a:lnTo>
                    <a:pt x="815" y="268"/>
                  </a:lnTo>
                  <a:lnTo>
                    <a:pt x="802" y="263"/>
                  </a:lnTo>
                  <a:lnTo>
                    <a:pt x="800" y="263"/>
                  </a:lnTo>
                  <a:lnTo>
                    <a:pt x="802" y="266"/>
                  </a:lnTo>
                  <a:lnTo>
                    <a:pt x="807" y="272"/>
                  </a:lnTo>
                  <a:lnTo>
                    <a:pt x="808" y="277"/>
                  </a:lnTo>
                  <a:lnTo>
                    <a:pt x="809" y="283"/>
                  </a:lnTo>
                  <a:lnTo>
                    <a:pt x="812" y="281"/>
                  </a:lnTo>
                  <a:lnTo>
                    <a:pt x="815" y="285"/>
                  </a:lnTo>
                  <a:lnTo>
                    <a:pt x="824" y="291"/>
                  </a:lnTo>
                  <a:lnTo>
                    <a:pt x="830" y="293"/>
                  </a:lnTo>
                  <a:lnTo>
                    <a:pt x="832" y="293"/>
                  </a:lnTo>
                  <a:lnTo>
                    <a:pt x="837" y="298"/>
                  </a:lnTo>
                  <a:lnTo>
                    <a:pt x="844" y="304"/>
                  </a:lnTo>
                  <a:lnTo>
                    <a:pt x="847" y="308"/>
                  </a:lnTo>
                  <a:lnTo>
                    <a:pt x="848" y="313"/>
                  </a:lnTo>
                  <a:lnTo>
                    <a:pt x="851" y="317"/>
                  </a:lnTo>
                  <a:lnTo>
                    <a:pt x="854" y="323"/>
                  </a:lnTo>
                  <a:lnTo>
                    <a:pt x="859" y="325"/>
                  </a:lnTo>
                  <a:lnTo>
                    <a:pt x="867" y="323"/>
                  </a:lnTo>
                  <a:lnTo>
                    <a:pt x="871" y="325"/>
                  </a:lnTo>
                  <a:lnTo>
                    <a:pt x="872" y="326"/>
                  </a:lnTo>
                  <a:lnTo>
                    <a:pt x="872" y="333"/>
                  </a:lnTo>
                  <a:lnTo>
                    <a:pt x="873" y="335"/>
                  </a:lnTo>
                  <a:lnTo>
                    <a:pt x="875" y="337"/>
                  </a:lnTo>
                  <a:lnTo>
                    <a:pt x="880" y="334"/>
                  </a:lnTo>
                  <a:lnTo>
                    <a:pt x="881" y="333"/>
                  </a:lnTo>
                  <a:lnTo>
                    <a:pt x="884" y="334"/>
                  </a:lnTo>
                  <a:lnTo>
                    <a:pt x="887" y="341"/>
                  </a:lnTo>
                  <a:lnTo>
                    <a:pt x="890" y="341"/>
                  </a:lnTo>
                  <a:lnTo>
                    <a:pt x="891" y="346"/>
                  </a:lnTo>
                  <a:lnTo>
                    <a:pt x="890" y="355"/>
                  </a:lnTo>
                  <a:lnTo>
                    <a:pt x="891" y="357"/>
                  </a:lnTo>
                  <a:lnTo>
                    <a:pt x="893" y="357"/>
                  </a:lnTo>
                  <a:lnTo>
                    <a:pt x="898" y="357"/>
                  </a:lnTo>
                  <a:lnTo>
                    <a:pt x="902" y="355"/>
                  </a:lnTo>
                  <a:lnTo>
                    <a:pt x="904" y="351"/>
                  </a:lnTo>
                  <a:lnTo>
                    <a:pt x="907" y="350"/>
                  </a:lnTo>
                  <a:lnTo>
                    <a:pt x="913" y="350"/>
                  </a:lnTo>
                  <a:lnTo>
                    <a:pt x="918" y="349"/>
                  </a:lnTo>
                  <a:lnTo>
                    <a:pt x="919" y="346"/>
                  </a:lnTo>
                  <a:lnTo>
                    <a:pt x="919" y="345"/>
                  </a:lnTo>
                  <a:lnTo>
                    <a:pt x="924" y="344"/>
                  </a:lnTo>
                  <a:lnTo>
                    <a:pt x="933" y="344"/>
                  </a:lnTo>
                  <a:lnTo>
                    <a:pt x="936" y="345"/>
                  </a:lnTo>
                  <a:lnTo>
                    <a:pt x="937" y="348"/>
                  </a:lnTo>
                  <a:lnTo>
                    <a:pt x="936" y="354"/>
                  </a:lnTo>
                  <a:lnTo>
                    <a:pt x="934" y="358"/>
                  </a:lnTo>
                  <a:lnTo>
                    <a:pt x="937" y="360"/>
                  </a:lnTo>
                  <a:lnTo>
                    <a:pt x="940" y="360"/>
                  </a:lnTo>
                  <a:lnTo>
                    <a:pt x="944" y="357"/>
                  </a:lnTo>
                  <a:lnTo>
                    <a:pt x="951" y="357"/>
                  </a:lnTo>
                  <a:lnTo>
                    <a:pt x="952" y="358"/>
                  </a:lnTo>
                  <a:lnTo>
                    <a:pt x="955" y="356"/>
                  </a:lnTo>
                  <a:lnTo>
                    <a:pt x="960" y="352"/>
                  </a:lnTo>
                  <a:lnTo>
                    <a:pt x="962" y="352"/>
                  </a:lnTo>
                  <a:lnTo>
                    <a:pt x="963" y="354"/>
                  </a:lnTo>
                  <a:lnTo>
                    <a:pt x="962" y="361"/>
                  </a:lnTo>
                  <a:lnTo>
                    <a:pt x="962" y="368"/>
                  </a:lnTo>
                  <a:lnTo>
                    <a:pt x="962" y="370"/>
                  </a:lnTo>
                  <a:lnTo>
                    <a:pt x="966" y="374"/>
                  </a:lnTo>
                  <a:lnTo>
                    <a:pt x="974" y="372"/>
                  </a:lnTo>
                  <a:lnTo>
                    <a:pt x="979" y="367"/>
                  </a:lnTo>
                  <a:lnTo>
                    <a:pt x="981" y="366"/>
                  </a:lnTo>
                  <a:lnTo>
                    <a:pt x="984" y="366"/>
                  </a:lnTo>
                  <a:lnTo>
                    <a:pt x="985" y="370"/>
                  </a:lnTo>
                  <a:lnTo>
                    <a:pt x="987" y="374"/>
                  </a:lnTo>
                  <a:lnTo>
                    <a:pt x="993" y="380"/>
                  </a:lnTo>
                  <a:lnTo>
                    <a:pt x="997" y="386"/>
                  </a:lnTo>
                  <a:lnTo>
                    <a:pt x="996" y="388"/>
                  </a:lnTo>
                  <a:lnTo>
                    <a:pt x="992" y="391"/>
                  </a:lnTo>
                  <a:lnTo>
                    <a:pt x="981" y="392"/>
                  </a:lnTo>
                  <a:lnTo>
                    <a:pt x="978" y="391"/>
                  </a:lnTo>
                  <a:lnTo>
                    <a:pt x="975" y="393"/>
                  </a:lnTo>
                  <a:lnTo>
                    <a:pt x="973" y="397"/>
                  </a:lnTo>
                  <a:lnTo>
                    <a:pt x="968" y="400"/>
                  </a:lnTo>
                  <a:lnTo>
                    <a:pt x="967" y="400"/>
                  </a:lnTo>
                  <a:lnTo>
                    <a:pt x="962" y="404"/>
                  </a:lnTo>
                  <a:lnTo>
                    <a:pt x="956" y="409"/>
                  </a:lnTo>
                  <a:lnTo>
                    <a:pt x="950" y="410"/>
                  </a:lnTo>
                  <a:lnTo>
                    <a:pt x="945" y="411"/>
                  </a:lnTo>
                  <a:lnTo>
                    <a:pt x="944" y="414"/>
                  </a:lnTo>
                  <a:lnTo>
                    <a:pt x="942" y="420"/>
                  </a:lnTo>
                  <a:lnTo>
                    <a:pt x="943" y="424"/>
                  </a:lnTo>
                  <a:lnTo>
                    <a:pt x="948" y="429"/>
                  </a:lnTo>
                  <a:lnTo>
                    <a:pt x="945" y="432"/>
                  </a:lnTo>
                  <a:lnTo>
                    <a:pt x="933" y="432"/>
                  </a:lnTo>
                  <a:lnTo>
                    <a:pt x="928" y="432"/>
                  </a:lnTo>
                  <a:lnTo>
                    <a:pt x="926" y="435"/>
                  </a:lnTo>
                  <a:lnTo>
                    <a:pt x="926" y="441"/>
                  </a:lnTo>
                  <a:lnTo>
                    <a:pt x="928" y="442"/>
                  </a:lnTo>
                  <a:lnTo>
                    <a:pt x="943" y="442"/>
                  </a:lnTo>
                  <a:lnTo>
                    <a:pt x="943" y="440"/>
                  </a:lnTo>
                  <a:lnTo>
                    <a:pt x="945" y="440"/>
                  </a:lnTo>
                  <a:lnTo>
                    <a:pt x="951" y="442"/>
                  </a:lnTo>
                  <a:lnTo>
                    <a:pt x="962" y="447"/>
                  </a:lnTo>
                  <a:lnTo>
                    <a:pt x="967" y="446"/>
                  </a:lnTo>
                  <a:lnTo>
                    <a:pt x="967" y="442"/>
                  </a:lnTo>
                  <a:lnTo>
                    <a:pt x="968" y="441"/>
                  </a:lnTo>
                  <a:lnTo>
                    <a:pt x="973" y="442"/>
                  </a:lnTo>
                  <a:lnTo>
                    <a:pt x="981" y="446"/>
                  </a:lnTo>
                  <a:lnTo>
                    <a:pt x="985" y="445"/>
                  </a:lnTo>
                  <a:lnTo>
                    <a:pt x="992" y="439"/>
                  </a:lnTo>
                  <a:lnTo>
                    <a:pt x="996" y="433"/>
                  </a:lnTo>
                  <a:lnTo>
                    <a:pt x="999" y="434"/>
                  </a:lnTo>
                  <a:lnTo>
                    <a:pt x="1005" y="440"/>
                  </a:lnTo>
                  <a:lnTo>
                    <a:pt x="1005" y="441"/>
                  </a:lnTo>
                  <a:lnTo>
                    <a:pt x="1003" y="444"/>
                  </a:lnTo>
                  <a:lnTo>
                    <a:pt x="996" y="447"/>
                  </a:lnTo>
                  <a:lnTo>
                    <a:pt x="995" y="448"/>
                  </a:lnTo>
                  <a:lnTo>
                    <a:pt x="997" y="450"/>
                  </a:lnTo>
                  <a:lnTo>
                    <a:pt x="1010" y="455"/>
                  </a:lnTo>
                  <a:lnTo>
                    <a:pt x="1014" y="456"/>
                  </a:lnTo>
                  <a:lnTo>
                    <a:pt x="1016" y="458"/>
                  </a:lnTo>
                  <a:lnTo>
                    <a:pt x="1019" y="461"/>
                  </a:lnTo>
                  <a:lnTo>
                    <a:pt x="1022" y="462"/>
                  </a:lnTo>
                  <a:lnTo>
                    <a:pt x="1023" y="461"/>
                  </a:lnTo>
                  <a:lnTo>
                    <a:pt x="1023" y="459"/>
                  </a:lnTo>
                  <a:lnTo>
                    <a:pt x="1026" y="462"/>
                  </a:lnTo>
                  <a:lnTo>
                    <a:pt x="1030" y="465"/>
                  </a:lnTo>
                  <a:lnTo>
                    <a:pt x="1031" y="469"/>
                  </a:lnTo>
                  <a:lnTo>
                    <a:pt x="1033" y="470"/>
                  </a:lnTo>
                  <a:lnTo>
                    <a:pt x="1036" y="469"/>
                  </a:lnTo>
                  <a:lnTo>
                    <a:pt x="1043" y="464"/>
                  </a:lnTo>
                  <a:lnTo>
                    <a:pt x="1042" y="462"/>
                  </a:lnTo>
                  <a:lnTo>
                    <a:pt x="1042" y="458"/>
                  </a:lnTo>
                  <a:lnTo>
                    <a:pt x="1043" y="452"/>
                  </a:lnTo>
                  <a:lnTo>
                    <a:pt x="1043" y="450"/>
                  </a:lnTo>
                  <a:lnTo>
                    <a:pt x="1042" y="448"/>
                  </a:lnTo>
                  <a:lnTo>
                    <a:pt x="1046" y="447"/>
                  </a:lnTo>
                  <a:lnTo>
                    <a:pt x="1054" y="446"/>
                  </a:lnTo>
                  <a:lnTo>
                    <a:pt x="1055" y="448"/>
                  </a:lnTo>
                  <a:lnTo>
                    <a:pt x="1055" y="453"/>
                  </a:lnTo>
                  <a:lnTo>
                    <a:pt x="1058" y="455"/>
                  </a:lnTo>
                  <a:lnTo>
                    <a:pt x="1063" y="453"/>
                  </a:lnTo>
                  <a:lnTo>
                    <a:pt x="1067" y="455"/>
                  </a:lnTo>
                  <a:lnTo>
                    <a:pt x="1072" y="459"/>
                  </a:lnTo>
                  <a:lnTo>
                    <a:pt x="1076" y="465"/>
                  </a:lnTo>
                  <a:lnTo>
                    <a:pt x="1079" y="473"/>
                  </a:lnTo>
                  <a:lnTo>
                    <a:pt x="1074" y="475"/>
                  </a:lnTo>
                  <a:lnTo>
                    <a:pt x="1069" y="477"/>
                  </a:lnTo>
                  <a:lnTo>
                    <a:pt x="1061" y="479"/>
                  </a:lnTo>
                  <a:lnTo>
                    <a:pt x="1061" y="482"/>
                  </a:lnTo>
                  <a:lnTo>
                    <a:pt x="1062" y="481"/>
                  </a:lnTo>
                  <a:lnTo>
                    <a:pt x="1066" y="483"/>
                  </a:lnTo>
                  <a:lnTo>
                    <a:pt x="1076" y="492"/>
                  </a:lnTo>
                  <a:lnTo>
                    <a:pt x="1079" y="492"/>
                  </a:lnTo>
                  <a:lnTo>
                    <a:pt x="1079" y="493"/>
                  </a:lnTo>
                  <a:lnTo>
                    <a:pt x="1076" y="497"/>
                  </a:lnTo>
                  <a:lnTo>
                    <a:pt x="1069" y="501"/>
                  </a:lnTo>
                  <a:lnTo>
                    <a:pt x="1070" y="506"/>
                  </a:lnTo>
                  <a:lnTo>
                    <a:pt x="1074" y="516"/>
                  </a:lnTo>
                  <a:lnTo>
                    <a:pt x="1076" y="519"/>
                  </a:lnTo>
                  <a:lnTo>
                    <a:pt x="1075" y="521"/>
                  </a:lnTo>
                  <a:lnTo>
                    <a:pt x="1070" y="521"/>
                  </a:lnTo>
                  <a:lnTo>
                    <a:pt x="1068" y="521"/>
                  </a:lnTo>
                  <a:lnTo>
                    <a:pt x="1066" y="518"/>
                  </a:lnTo>
                  <a:lnTo>
                    <a:pt x="1064" y="513"/>
                  </a:lnTo>
                  <a:lnTo>
                    <a:pt x="1061" y="512"/>
                  </a:lnTo>
                  <a:lnTo>
                    <a:pt x="1056" y="512"/>
                  </a:lnTo>
                  <a:lnTo>
                    <a:pt x="1054" y="511"/>
                  </a:lnTo>
                  <a:lnTo>
                    <a:pt x="1054" y="509"/>
                  </a:lnTo>
                  <a:lnTo>
                    <a:pt x="1056" y="509"/>
                  </a:lnTo>
                  <a:lnTo>
                    <a:pt x="1050" y="507"/>
                  </a:lnTo>
                  <a:lnTo>
                    <a:pt x="1038" y="507"/>
                  </a:lnTo>
                  <a:lnTo>
                    <a:pt x="1033" y="509"/>
                  </a:lnTo>
                  <a:lnTo>
                    <a:pt x="1028" y="512"/>
                  </a:lnTo>
                  <a:lnTo>
                    <a:pt x="1030" y="513"/>
                  </a:lnTo>
                  <a:lnTo>
                    <a:pt x="1028" y="518"/>
                  </a:lnTo>
                  <a:lnTo>
                    <a:pt x="1023" y="521"/>
                  </a:lnTo>
                  <a:lnTo>
                    <a:pt x="1025" y="522"/>
                  </a:lnTo>
                  <a:lnTo>
                    <a:pt x="1027" y="523"/>
                  </a:lnTo>
                  <a:lnTo>
                    <a:pt x="1032" y="525"/>
                  </a:lnTo>
                  <a:lnTo>
                    <a:pt x="1036" y="530"/>
                  </a:lnTo>
                  <a:lnTo>
                    <a:pt x="1037" y="530"/>
                  </a:lnTo>
                  <a:lnTo>
                    <a:pt x="1038" y="528"/>
                  </a:lnTo>
                  <a:lnTo>
                    <a:pt x="1042" y="521"/>
                  </a:lnTo>
                  <a:lnTo>
                    <a:pt x="1045" y="517"/>
                  </a:lnTo>
                  <a:lnTo>
                    <a:pt x="1050" y="518"/>
                  </a:lnTo>
                  <a:lnTo>
                    <a:pt x="1058" y="522"/>
                  </a:lnTo>
                  <a:lnTo>
                    <a:pt x="1064" y="524"/>
                  </a:lnTo>
                  <a:lnTo>
                    <a:pt x="1069" y="525"/>
                  </a:lnTo>
                  <a:lnTo>
                    <a:pt x="1078" y="524"/>
                  </a:lnTo>
                  <a:lnTo>
                    <a:pt x="1082" y="523"/>
                  </a:lnTo>
                  <a:lnTo>
                    <a:pt x="1084" y="524"/>
                  </a:lnTo>
                  <a:lnTo>
                    <a:pt x="1085" y="525"/>
                  </a:lnTo>
                  <a:lnTo>
                    <a:pt x="1086" y="531"/>
                  </a:lnTo>
                  <a:lnTo>
                    <a:pt x="1084" y="537"/>
                  </a:lnTo>
                  <a:lnTo>
                    <a:pt x="1079" y="543"/>
                  </a:lnTo>
                  <a:lnTo>
                    <a:pt x="1076" y="546"/>
                  </a:lnTo>
                  <a:lnTo>
                    <a:pt x="1074" y="546"/>
                  </a:lnTo>
                  <a:lnTo>
                    <a:pt x="1070" y="542"/>
                  </a:lnTo>
                  <a:lnTo>
                    <a:pt x="1069" y="541"/>
                  </a:lnTo>
                  <a:lnTo>
                    <a:pt x="1067" y="542"/>
                  </a:lnTo>
                  <a:lnTo>
                    <a:pt x="1063" y="548"/>
                  </a:lnTo>
                  <a:lnTo>
                    <a:pt x="1061" y="549"/>
                  </a:lnTo>
                  <a:lnTo>
                    <a:pt x="1057" y="549"/>
                  </a:lnTo>
                  <a:lnTo>
                    <a:pt x="1056" y="551"/>
                  </a:lnTo>
                  <a:lnTo>
                    <a:pt x="1057" y="553"/>
                  </a:lnTo>
                  <a:lnTo>
                    <a:pt x="1064" y="557"/>
                  </a:lnTo>
                  <a:lnTo>
                    <a:pt x="1069" y="560"/>
                  </a:lnTo>
                  <a:lnTo>
                    <a:pt x="1076" y="569"/>
                  </a:lnTo>
                  <a:lnTo>
                    <a:pt x="1080" y="574"/>
                  </a:lnTo>
                  <a:lnTo>
                    <a:pt x="1080" y="578"/>
                  </a:lnTo>
                  <a:lnTo>
                    <a:pt x="1072" y="588"/>
                  </a:lnTo>
                  <a:lnTo>
                    <a:pt x="1072" y="590"/>
                  </a:lnTo>
                  <a:lnTo>
                    <a:pt x="1070" y="592"/>
                  </a:lnTo>
                  <a:lnTo>
                    <a:pt x="1066" y="598"/>
                  </a:lnTo>
                  <a:lnTo>
                    <a:pt x="1061" y="598"/>
                  </a:lnTo>
                  <a:lnTo>
                    <a:pt x="1054" y="598"/>
                  </a:lnTo>
                  <a:lnTo>
                    <a:pt x="1050" y="596"/>
                  </a:lnTo>
                  <a:lnTo>
                    <a:pt x="1046" y="596"/>
                  </a:lnTo>
                  <a:lnTo>
                    <a:pt x="1042" y="596"/>
                  </a:lnTo>
                  <a:lnTo>
                    <a:pt x="1042" y="598"/>
                  </a:lnTo>
                  <a:lnTo>
                    <a:pt x="1044" y="600"/>
                  </a:lnTo>
                  <a:lnTo>
                    <a:pt x="1049" y="602"/>
                  </a:lnTo>
                  <a:lnTo>
                    <a:pt x="1050" y="605"/>
                  </a:lnTo>
                  <a:lnTo>
                    <a:pt x="1046" y="612"/>
                  </a:lnTo>
                  <a:lnTo>
                    <a:pt x="1046" y="614"/>
                  </a:lnTo>
                  <a:lnTo>
                    <a:pt x="1048" y="617"/>
                  </a:lnTo>
                  <a:lnTo>
                    <a:pt x="1052" y="618"/>
                  </a:lnTo>
                  <a:lnTo>
                    <a:pt x="1058" y="618"/>
                  </a:lnTo>
                  <a:lnTo>
                    <a:pt x="1064" y="619"/>
                  </a:lnTo>
                  <a:lnTo>
                    <a:pt x="1067" y="620"/>
                  </a:lnTo>
                  <a:lnTo>
                    <a:pt x="1070" y="620"/>
                  </a:lnTo>
                  <a:lnTo>
                    <a:pt x="1075" y="618"/>
                  </a:lnTo>
                  <a:lnTo>
                    <a:pt x="1078" y="619"/>
                  </a:lnTo>
                  <a:lnTo>
                    <a:pt x="1078" y="624"/>
                  </a:lnTo>
                  <a:lnTo>
                    <a:pt x="1074" y="630"/>
                  </a:lnTo>
                  <a:lnTo>
                    <a:pt x="1067" y="637"/>
                  </a:lnTo>
                  <a:lnTo>
                    <a:pt x="1049" y="643"/>
                  </a:lnTo>
                  <a:lnTo>
                    <a:pt x="1044" y="650"/>
                  </a:lnTo>
                  <a:lnTo>
                    <a:pt x="1043" y="650"/>
                  </a:lnTo>
                  <a:lnTo>
                    <a:pt x="1038" y="649"/>
                  </a:lnTo>
                  <a:lnTo>
                    <a:pt x="1036" y="647"/>
                  </a:lnTo>
                  <a:lnTo>
                    <a:pt x="1033" y="642"/>
                  </a:lnTo>
                  <a:lnTo>
                    <a:pt x="1031" y="650"/>
                  </a:lnTo>
                  <a:lnTo>
                    <a:pt x="1031" y="652"/>
                  </a:lnTo>
                  <a:lnTo>
                    <a:pt x="1027" y="650"/>
                  </a:lnTo>
                  <a:lnTo>
                    <a:pt x="1021" y="649"/>
                  </a:lnTo>
                  <a:lnTo>
                    <a:pt x="1015" y="644"/>
                  </a:lnTo>
                  <a:lnTo>
                    <a:pt x="1013" y="640"/>
                  </a:lnTo>
                  <a:lnTo>
                    <a:pt x="1010" y="634"/>
                  </a:lnTo>
                  <a:lnTo>
                    <a:pt x="1004" y="630"/>
                  </a:lnTo>
                  <a:lnTo>
                    <a:pt x="1002" y="626"/>
                  </a:lnTo>
                  <a:lnTo>
                    <a:pt x="998" y="625"/>
                  </a:lnTo>
                  <a:lnTo>
                    <a:pt x="990" y="628"/>
                  </a:lnTo>
                  <a:lnTo>
                    <a:pt x="979" y="628"/>
                  </a:lnTo>
                  <a:lnTo>
                    <a:pt x="974" y="626"/>
                  </a:lnTo>
                  <a:lnTo>
                    <a:pt x="973" y="629"/>
                  </a:lnTo>
                  <a:lnTo>
                    <a:pt x="974" y="636"/>
                  </a:lnTo>
                  <a:lnTo>
                    <a:pt x="973" y="638"/>
                  </a:lnTo>
                  <a:lnTo>
                    <a:pt x="971" y="640"/>
                  </a:lnTo>
                  <a:lnTo>
                    <a:pt x="964" y="641"/>
                  </a:lnTo>
                  <a:lnTo>
                    <a:pt x="961" y="640"/>
                  </a:lnTo>
                  <a:lnTo>
                    <a:pt x="957" y="634"/>
                  </a:lnTo>
                  <a:lnTo>
                    <a:pt x="952" y="630"/>
                  </a:lnTo>
                  <a:lnTo>
                    <a:pt x="948" y="630"/>
                  </a:lnTo>
                  <a:lnTo>
                    <a:pt x="944" y="632"/>
                  </a:lnTo>
                  <a:lnTo>
                    <a:pt x="937" y="636"/>
                  </a:lnTo>
                  <a:lnTo>
                    <a:pt x="921" y="647"/>
                  </a:lnTo>
                  <a:lnTo>
                    <a:pt x="918" y="650"/>
                  </a:lnTo>
                  <a:lnTo>
                    <a:pt x="925" y="656"/>
                  </a:lnTo>
                  <a:lnTo>
                    <a:pt x="932" y="660"/>
                  </a:lnTo>
                  <a:lnTo>
                    <a:pt x="936" y="662"/>
                  </a:lnTo>
                  <a:lnTo>
                    <a:pt x="938" y="667"/>
                  </a:lnTo>
                  <a:lnTo>
                    <a:pt x="948" y="671"/>
                  </a:lnTo>
                  <a:lnTo>
                    <a:pt x="963" y="677"/>
                  </a:lnTo>
                  <a:lnTo>
                    <a:pt x="948" y="676"/>
                  </a:lnTo>
                  <a:lnTo>
                    <a:pt x="940" y="673"/>
                  </a:lnTo>
                  <a:lnTo>
                    <a:pt x="937" y="672"/>
                  </a:lnTo>
                  <a:lnTo>
                    <a:pt x="942" y="681"/>
                  </a:lnTo>
                  <a:lnTo>
                    <a:pt x="931" y="672"/>
                  </a:lnTo>
                  <a:lnTo>
                    <a:pt x="931" y="667"/>
                  </a:lnTo>
                  <a:lnTo>
                    <a:pt x="930" y="665"/>
                  </a:lnTo>
                  <a:lnTo>
                    <a:pt x="926" y="664"/>
                  </a:lnTo>
                  <a:lnTo>
                    <a:pt x="915" y="658"/>
                  </a:lnTo>
                  <a:lnTo>
                    <a:pt x="903" y="650"/>
                  </a:lnTo>
                  <a:lnTo>
                    <a:pt x="887" y="640"/>
                  </a:lnTo>
                  <a:lnTo>
                    <a:pt x="890" y="641"/>
                  </a:lnTo>
                  <a:lnTo>
                    <a:pt x="890" y="643"/>
                  </a:lnTo>
                  <a:lnTo>
                    <a:pt x="886" y="646"/>
                  </a:lnTo>
                  <a:lnTo>
                    <a:pt x="883" y="647"/>
                  </a:lnTo>
                  <a:lnTo>
                    <a:pt x="881" y="649"/>
                  </a:lnTo>
                  <a:lnTo>
                    <a:pt x="879" y="650"/>
                  </a:lnTo>
                  <a:lnTo>
                    <a:pt x="878" y="654"/>
                  </a:lnTo>
                  <a:lnTo>
                    <a:pt x="879" y="660"/>
                  </a:lnTo>
                  <a:lnTo>
                    <a:pt x="884" y="666"/>
                  </a:lnTo>
                  <a:lnTo>
                    <a:pt x="889" y="672"/>
                  </a:lnTo>
                  <a:lnTo>
                    <a:pt x="891" y="676"/>
                  </a:lnTo>
                  <a:lnTo>
                    <a:pt x="893" y="682"/>
                  </a:lnTo>
                  <a:lnTo>
                    <a:pt x="896" y="683"/>
                  </a:lnTo>
                  <a:lnTo>
                    <a:pt x="898" y="683"/>
                  </a:lnTo>
                  <a:lnTo>
                    <a:pt x="902" y="685"/>
                  </a:lnTo>
                  <a:lnTo>
                    <a:pt x="905" y="688"/>
                  </a:lnTo>
                  <a:lnTo>
                    <a:pt x="908" y="683"/>
                  </a:lnTo>
                  <a:lnTo>
                    <a:pt x="909" y="682"/>
                  </a:lnTo>
                  <a:lnTo>
                    <a:pt x="910" y="683"/>
                  </a:lnTo>
                  <a:lnTo>
                    <a:pt x="913" y="693"/>
                  </a:lnTo>
                  <a:lnTo>
                    <a:pt x="915" y="695"/>
                  </a:lnTo>
                  <a:lnTo>
                    <a:pt x="918" y="695"/>
                  </a:lnTo>
                  <a:lnTo>
                    <a:pt x="919" y="697"/>
                  </a:lnTo>
                  <a:lnTo>
                    <a:pt x="916" y="702"/>
                  </a:lnTo>
                  <a:lnTo>
                    <a:pt x="918" y="703"/>
                  </a:lnTo>
                  <a:lnTo>
                    <a:pt x="922" y="701"/>
                  </a:lnTo>
                  <a:lnTo>
                    <a:pt x="926" y="700"/>
                  </a:lnTo>
                  <a:lnTo>
                    <a:pt x="927" y="702"/>
                  </a:lnTo>
                  <a:lnTo>
                    <a:pt x="931" y="706"/>
                  </a:lnTo>
                  <a:lnTo>
                    <a:pt x="933" y="707"/>
                  </a:lnTo>
                  <a:lnTo>
                    <a:pt x="933" y="703"/>
                  </a:lnTo>
                  <a:lnTo>
                    <a:pt x="938" y="705"/>
                  </a:lnTo>
                  <a:lnTo>
                    <a:pt x="943" y="707"/>
                  </a:lnTo>
                  <a:lnTo>
                    <a:pt x="944" y="709"/>
                  </a:lnTo>
                  <a:lnTo>
                    <a:pt x="943" y="715"/>
                  </a:lnTo>
                  <a:lnTo>
                    <a:pt x="944" y="717"/>
                  </a:lnTo>
                  <a:lnTo>
                    <a:pt x="946" y="717"/>
                  </a:lnTo>
                  <a:lnTo>
                    <a:pt x="951" y="714"/>
                  </a:lnTo>
                  <a:lnTo>
                    <a:pt x="952" y="713"/>
                  </a:lnTo>
                  <a:lnTo>
                    <a:pt x="954" y="715"/>
                  </a:lnTo>
                  <a:lnTo>
                    <a:pt x="954" y="724"/>
                  </a:lnTo>
                  <a:lnTo>
                    <a:pt x="955" y="733"/>
                  </a:lnTo>
                  <a:lnTo>
                    <a:pt x="949" y="733"/>
                  </a:lnTo>
                  <a:lnTo>
                    <a:pt x="957" y="742"/>
                  </a:lnTo>
                  <a:lnTo>
                    <a:pt x="952" y="745"/>
                  </a:lnTo>
                  <a:lnTo>
                    <a:pt x="949" y="747"/>
                  </a:lnTo>
                  <a:lnTo>
                    <a:pt x="950" y="748"/>
                  </a:lnTo>
                  <a:lnTo>
                    <a:pt x="946" y="750"/>
                  </a:lnTo>
                  <a:lnTo>
                    <a:pt x="939" y="751"/>
                  </a:lnTo>
                  <a:lnTo>
                    <a:pt x="937" y="751"/>
                  </a:lnTo>
                  <a:lnTo>
                    <a:pt x="934" y="756"/>
                  </a:lnTo>
                  <a:lnTo>
                    <a:pt x="931" y="757"/>
                  </a:lnTo>
                  <a:lnTo>
                    <a:pt x="928" y="759"/>
                  </a:lnTo>
                  <a:lnTo>
                    <a:pt x="928" y="761"/>
                  </a:lnTo>
                  <a:lnTo>
                    <a:pt x="930" y="762"/>
                  </a:lnTo>
                  <a:lnTo>
                    <a:pt x="932" y="767"/>
                  </a:lnTo>
                  <a:lnTo>
                    <a:pt x="932" y="772"/>
                  </a:lnTo>
                  <a:lnTo>
                    <a:pt x="927" y="774"/>
                  </a:lnTo>
                  <a:lnTo>
                    <a:pt x="925" y="774"/>
                  </a:lnTo>
                  <a:lnTo>
                    <a:pt x="924" y="772"/>
                  </a:lnTo>
                  <a:lnTo>
                    <a:pt x="922" y="771"/>
                  </a:lnTo>
                  <a:lnTo>
                    <a:pt x="920" y="771"/>
                  </a:lnTo>
                  <a:lnTo>
                    <a:pt x="918" y="772"/>
                  </a:lnTo>
                  <a:lnTo>
                    <a:pt x="914" y="771"/>
                  </a:lnTo>
                  <a:lnTo>
                    <a:pt x="912" y="769"/>
                  </a:lnTo>
                  <a:lnTo>
                    <a:pt x="912" y="771"/>
                  </a:lnTo>
                  <a:lnTo>
                    <a:pt x="912" y="777"/>
                  </a:lnTo>
                  <a:lnTo>
                    <a:pt x="909" y="782"/>
                  </a:lnTo>
                  <a:lnTo>
                    <a:pt x="902" y="782"/>
                  </a:lnTo>
                  <a:lnTo>
                    <a:pt x="898" y="779"/>
                  </a:lnTo>
                  <a:lnTo>
                    <a:pt x="893" y="778"/>
                  </a:lnTo>
                  <a:lnTo>
                    <a:pt x="891" y="777"/>
                  </a:lnTo>
                  <a:lnTo>
                    <a:pt x="893" y="777"/>
                  </a:lnTo>
                  <a:lnTo>
                    <a:pt x="891" y="774"/>
                  </a:lnTo>
                  <a:lnTo>
                    <a:pt x="884" y="768"/>
                  </a:lnTo>
                  <a:lnTo>
                    <a:pt x="883" y="768"/>
                  </a:lnTo>
                  <a:lnTo>
                    <a:pt x="883" y="765"/>
                  </a:lnTo>
                  <a:lnTo>
                    <a:pt x="887" y="761"/>
                  </a:lnTo>
                  <a:lnTo>
                    <a:pt x="887" y="759"/>
                  </a:lnTo>
                  <a:lnTo>
                    <a:pt x="886" y="755"/>
                  </a:lnTo>
                  <a:lnTo>
                    <a:pt x="884" y="750"/>
                  </a:lnTo>
                  <a:lnTo>
                    <a:pt x="883" y="745"/>
                  </a:lnTo>
                  <a:lnTo>
                    <a:pt x="881" y="744"/>
                  </a:lnTo>
                  <a:lnTo>
                    <a:pt x="879" y="745"/>
                  </a:lnTo>
                  <a:lnTo>
                    <a:pt x="875" y="751"/>
                  </a:lnTo>
                  <a:lnTo>
                    <a:pt x="874" y="755"/>
                  </a:lnTo>
                  <a:lnTo>
                    <a:pt x="872" y="757"/>
                  </a:lnTo>
                  <a:lnTo>
                    <a:pt x="868" y="757"/>
                  </a:lnTo>
                  <a:lnTo>
                    <a:pt x="862" y="760"/>
                  </a:lnTo>
                  <a:lnTo>
                    <a:pt x="862" y="759"/>
                  </a:lnTo>
                  <a:lnTo>
                    <a:pt x="861" y="757"/>
                  </a:lnTo>
                  <a:lnTo>
                    <a:pt x="860" y="756"/>
                  </a:lnTo>
                  <a:lnTo>
                    <a:pt x="856" y="757"/>
                  </a:lnTo>
                  <a:lnTo>
                    <a:pt x="849" y="762"/>
                  </a:lnTo>
                  <a:lnTo>
                    <a:pt x="849" y="763"/>
                  </a:lnTo>
                  <a:lnTo>
                    <a:pt x="845" y="762"/>
                  </a:lnTo>
                  <a:lnTo>
                    <a:pt x="842" y="762"/>
                  </a:lnTo>
                  <a:lnTo>
                    <a:pt x="840" y="761"/>
                  </a:lnTo>
                  <a:lnTo>
                    <a:pt x="839" y="754"/>
                  </a:lnTo>
                  <a:lnTo>
                    <a:pt x="838" y="751"/>
                  </a:lnTo>
                  <a:lnTo>
                    <a:pt x="836" y="753"/>
                  </a:lnTo>
                  <a:lnTo>
                    <a:pt x="831" y="756"/>
                  </a:lnTo>
                  <a:lnTo>
                    <a:pt x="826" y="756"/>
                  </a:lnTo>
                  <a:lnTo>
                    <a:pt x="824" y="754"/>
                  </a:lnTo>
                  <a:lnTo>
                    <a:pt x="819" y="754"/>
                  </a:lnTo>
                  <a:lnTo>
                    <a:pt x="803" y="759"/>
                  </a:lnTo>
                  <a:lnTo>
                    <a:pt x="804" y="763"/>
                  </a:lnTo>
                  <a:lnTo>
                    <a:pt x="804" y="765"/>
                  </a:lnTo>
                  <a:lnTo>
                    <a:pt x="802" y="765"/>
                  </a:lnTo>
                  <a:lnTo>
                    <a:pt x="795" y="761"/>
                  </a:lnTo>
                  <a:lnTo>
                    <a:pt x="791" y="756"/>
                  </a:lnTo>
                  <a:lnTo>
                    <a:pt x="789" y="754"/>
                  </a:lnTo>
                  <a:lnTo>
                    <a:pt x="789" y="756"/>
                  </a:lnTo>
                  <a:lnTo>
                    <a:pt x="789" y="762"/>
                  </a:lnTo>
                  <a:lnTo>
                    <a:pt x="786" y="762"/>
                  </a:lnTo>
                  <a:lnTo>
                    <a:pt x="781" y="759"/>
                  </a:lnTo>
                  <a:lnTo>
                    <a:pt x="778" y="759"/>
                  </a:lnTo>
                  <a:lnTo>
                    <a:pt x="774" y="757"/>
                  </a:lnTo>
                  <a:lnTo>
                    <a:pt x="773" y="755"/>
                  </a:lnTo>
                  <a:lnTo>
                    <a:pt x="769" y="755"/>
                  </a:lnTo>
                  <a:lnTo>
                    <a:pt x="767" y="757"/>
                  </a:lnTo>
                  <a:lnTo>
                    <a:pt x="765" y="760"/>
                  </a:lnTo>
                  <a:lnTo>
                    <a:pt x="765" y="761"/>
                  </a:lnTo>
                  <a:lnTo>
                    <a:pt x="771" y="763"/>
                  </a:lnTo>
                  <a:lnTo>
                    <a:pt x="775" y="765"/>
                  </a:lnTo>
                  <a:lnTo>
                    <a:pt x="779" y="766"/>
                  </a:lnTo>
                  <a:lnTo>
                    <a:pt x="784" y="767"/>
                  </a:lnTo>
                  <a:lnTo>
                    <a:pt x="788" y="772"/>
                  </a:lnTo>
                  <a:lnTo>
                    <a:pt x="790" y="777"/>
                  </a:lnTo>
                  <a:lnTo>
                    <a:pt x="788" y="778"/>
                  </a:lnTo>
                  <a:lnTo>
                    <a:pt x="783" y="776"/>
                  </a:lnTo>
                  <a:lnTo>
                    <a:pt x="780" y="776"/>
                  </a:lnTo>
                  <a:lnTo>
                    <a:pt x="778" y="779"/>
                  </a:lnTo>
                  <a:lnTo>
                    <a:pt x="774" y="779"/>
                  </a:lnTo>
                  <a:lnTo>
                    <a:pt x="771" y="777"/>
                  </a:lnTo>
                  <a:lnTo>
                    <a:pt x="769" y="778"/>
                  </a:lnTo>
                  <a:lnTo>
                    <a:pt x="768" y="782"/>
                  </a:lnTo>
                  <a:lnTo>
                    <a:pt x="765" y="783"/>
                  </a:lnTo>
                  <a:lnTo>
                    <a:pt x="762" y="780"/>
                  </a:lnTo>
                  <a:lnTo>
                    <a:pt x="761" y="780"/>
                  </a:lnTo>
                  <a:lnTo>
                    <a:pt x="759" y="780"/>
                  </a:lnTo>
                  <a:lnTo>
                    <a:pt x="756" y="778"/>
                  </a:lnTo>
                  <a:lnTo>
                    <a:pt x="753" y="773"/>
                  </a:lnTo>
                  <a:lnTo>
                    <a:pt x="750" y="769"/>
                  </a:lnTo>
                  <a:lnTo>
                    <a:pt x="747" y="768"/>
                  </a:lnTo>
                  <a:lnTo>
                    <a:pt x="741" y="769"/>
                  </a:lnTo>
                  <a:lnTo>
                    <a:pt x="733" y="768"/>
                  </a:lnTo>
                  <a:lnTo>
                    <a:pt x="725" y="769"/>
                  </a:lnTo>
                  <a:lnTo>
                    <a:pt x="720" y="768"/>
                  </a:lnTo>
                  <a:lnTo>
                    <a:pt x="714" y="763"/>
                  </a:lnTo>
                  <a:lnTo>
                    <a:pt x="709" y="761"/>
                  </a:lnTo>
                  <a:lnTo>
                    <a:pt x="704" y="761"/>
                  </a:lnTo>
                  <a:lnTo>
                    <a:pt x="700" y="761"/>
                  </a:lnTo>
                  <a:lnTo>
                    <a:pt x="697" y="759"/>
                  </a:lnTo>
                  <a:lnTo>
                    <a:pt x="694" y="756"/>
                  </a:lnTo>
                  <a:lnTo>
                    <a:pt x="691" y="756"/>
                  </a:lnTo>
                  <a:lnTo>
                    <a:pt x="695" y="765"/>
                  </a:lnTo>
                  <a:lnTo>
                    <a:pt x="698" y="772"/>
                  </a:lnTo>
                  <a:lnTo>
                    <a:pt x="702" y="776"/>
                  </a:lnTo>
                  <a:lnTo>
                    <a:pt x="704" y="776"/>
                  </a:lnTo>
                  <a:lnTo>
                    <a:pt x="707" y="778"/>
                  </a:lnTo>
                  <a:lnTo>
                    <a:pt x="708" y="778"/>
                  </a:lnTo>
                  <a:lnTo>
                    <a:pt x="712" y="779"/>
                  </a:lnTo>
                  <a:lnTo>
                    <a:pt x="714" y="782"/>
                  </a:lnTo>
                  <a:lnTo>
                    <a:pt x="718" y="780"/>
                  </a:lnTo>
                  <a:lnTo>
                    <a:pt x="724" y="780"/>
                  </a:lnTo>
                  <a:lnTo>
                    <a:pt x="727" y="779"/>
                  </a:lnTo>
                  <a:lnTo>
                    <a:pt x="730" y="779"/>
                  </a:lnTo>
                  <a:lnTo>
                    <a:pt x="735" y="783"/>
                  </a:lnTo>
                  <a:lnTo>
                    <a:pt x="739" y="785"/>
                  </a:lnTo>
                  <a:lnTo>
                    <a:pt x="744" y="786"/>
                  </a:lnTo>
                  <a:lnTo>
                    <a:pt x="748" y="786"/>
                  </a:lnTo>
                  <a:lnTo>
                    <a:pt x="749" y="789"/>
                  </a:lnTo>
                  <a:lnTo>
                    <a:pt x="753" y="794"/>
                  </a:lnTo>
                  <a:lnTo>
                    <a:pt x="754" y="796"/>
                  </a:lnTo>
                  <a:lnTo>
                    <a:pt x="751" y="802"/>
                  </a:lnTo>
                  <a:lnTo>
                    <a:pt x="754" y="803"/>
                  </a:lnTo>
                  <a:lnTo>
                    <a:pt x="760" y="801"/>
                  </a:lnTo>
                  <a:lnTo>
                    <a:pt x="762" y="797"/>
                  </a:lnTo>
                  <a:lnTo>
                    <a:pt x="762" y="792"/>
                  </a:lnTo>
                  <a:lnTo>
                    <a:pt x="767" y="791"/>
                  </a:lnTo>
                  <a:lnTo>
                    <a:pt x="774" y="792"/>
                  </a:lnTo>
                  <a:lnTo>
                    <a:pt x="774" y="796"/>
                  </a:lnTo>
                  <a:lnTo>
                    <a:pt x="772" y="800"/>
                  </a:lnTo>
                  <a:lnTo>
                    <a:pt x="771" y="802"/>
                  </a:lnTo>
                  <a:lnTo>
                    <a:pt x="772" y="806"/>
                  </a:lnTo>
                  <a:lnTo>
                    <a:pt x="773" y="810"/>
                  </a:lnTo>
                  <a:lnTo>
                    <a:pt x="773" y="816"/>
                  </a:lnTo>
                  <a:lnTo>
                    <a:pt x="769" y="819"/>
                  </a:lnTo>
                  <a:lnTo>
                    <a:pt x="766" y="818"/>
                  </a:lnTo>
                  <a:lnTo>
                    <a:pt x="762" y="815"/>
                  </a:lnTo>
                  <a:lnTo>
                    <a:pt x="760" y="814"/>
                  </a:lnTo>
                  <a:lnTo>
                    <a:pt x="759" y="815"/>
                  </a:lnTo>
                  <a:lnTo>
                    <a:pt x="756" y="814"/>
                  </a:lnTo>
                  <a:lnTo>
                    <a:pt x="748" y="810"/>
                  </a:lnTo>
                  <a:lnTo>
                    <a:pt x="744" y="812"/>
                  </a:lnTo>
                  <a:lnTo>
                    <a:pt x="744" y="814"/>
                  </a:lnTo>
                  <a:lnTo>
                    <a:pt x="743" y="815"/>
                  </a:lnTo>
                  <a:lnTo>
                    <a:pt x="743" y="820"/>
                  </a:lnTo>
                  <a:lnTo>
                    <a:pt x="747" y="830"/>
                  </a:lnTo>
                  <a:lnTo>
                    <a:pt x="744" y="837"/>
                  </a:lnTo>
                  <a:lnTo>
                    <a:pt x="744" y="843"/>
                  </a:lnTo>
                  <a:lnTo>
                    <a:pt x="744" y="845"/>
                  </a:lnTo>
                  <a:lnTo>
                    <a:pt x="743" y="845"/>
                  </a:lnTo>
                  <a:lnTo>
                    <a:pt x="733" y="840"/>
                  </a:lnTo>
                  <a:lnTo>
                    <a:pt x="727" y="837"/>
                  </a:lnTo>
                  <a:lnTo>
                    <a:pt x="729" y="839"/>
                  </a:lnTo>
                  <a:lnTo>
                    <a:pt x="727" y="842"/>
                  </a:lnTo>
                  <a:lnTo>
                    <a:pt x="725" y="844"/>
                  </a:lnTo>
                  <a:lnTo>
                    <a:pt x="722" y="845"/>
                  </a:lnTo>
                  <a:lnTo>
                    <a:pt x="718" y="846"/>
                  </a:lnTo>
                  <a:lnTo>
                    <a:pt x="713" y="845"/>
                  </a:lnTo>
                  <a:lnTo>
                    <a:pt x="707" y="840"/>
                  </a:lnTo>
                  <a:lnTo>
                    <a:pt x="703" y="834"/>
                  </a:lnTo>
                  <a:lnTo>
                    <a:pt x="700" y="832"/>
                  </a:lnTo>
                  <a:lnTo>
                    <a:pt x="700" y="830"/>
                  </a:lnTo>
                  <a:lnTo>
                    <a:pt x="700" y="824"/>
                  </a:lnTo>
                  <a:lnTo>
                    <a:pt x="694" y="818"/>
                  </a:lnTo>
                  <a:lnTo>
                    <a:pt x="694" y="819"/>
                  </a:lnTo>
                  <a:lnTo>
                    <a:pt x="696" y="825"/>
                  </a:lnTo>
                  <a:lnTo>
                    <a:pt x="691" y="826"/>
                  </a:lnTo>
                  <a:lnTo>
                    <a:pt x="684" y="825"/>
                  </a:lnTo>
                  <a:lnTo>
                    <a:pt x="682" y="825"/>
                  </a:lnTo>
                  <a:lnTo>
                    <a:pt x="677" y="828"/>
                  </a:lnTo>
                  <a:lnTo>
                    <a:pt x="673" y="830"/>
                  </a:lnTo>
                  <a:lnTo>
                    <a:pt x="682" y="832"/>
                  </a:lnTo>
                  <a:lnTo>
                    <a:pt x="685" y="832"/>
                  </a:lnTo>
                  <a:lnTo>
                    <a:pt x="690" y="833"/>
                  </a:lnTo>
                  <a:lnTo>
                    <a:pt x="691" y="838"/>
                  </a:lnTo>
                  <a:lnTo>
                    <a:pt x="692" y="842"/>
                  </a:lnTo>
                  <a:lnTo>
                    <a:pt x="695" y="845"/>
                  </a:lnTo>
                  <a:lnTo>
                    <a:pt x="694" y="848"/>
                  </a:lnTo>
                  <a:lnTo>
                    <a:pt x="682" y="850"/>
                  </a:lnTo>
                  <a:lnTo>
                    <a:pt x="674" y="848"/>
                  </a:lnTo>
                  <a:lnTo>
                    <a:pt x="670" y="845"/>
                  </a:lnTo>
                  <a:lnTo>
                    <a:pt x="659" y="842"/>
                  </a:lnTo>
                  <a:lnTo>
                    <a:pt x="654" y="842"/>
                  </a:lnTo>
                  <a:lnTo>
                    <a:pt x="651" y="839"/>
                  </a:lnTo>
                  <a:lnTo>
                    <a:pt x="648" y="837"/>
                  </a:lnTo>
                  <a:lnTo>
                    <a:pt x="647" y="834"/>
                  </a:lnTo>
                  <a:lnTo>
                    <a:pt x="649" y="830"/>
                  </a:lnTo>
                  <a:lnTo>
                    <a:pt x="649" y="826"/>
                  </a:lnTo>
                  <a:lnTo>
                    <a:pt x="648" y="825"/>
                  </a:lnTo>
                  <a:lnTo>
                    <a:pt x="645" y="824"/>
                  </a:lnTo>
                  <a:lnTo>
                    <a:pt x="643" y="824"/>
                  </a:lnTo>
                  <a:lnTo>
                    <a:pt x="642" y="827"/>
                  </a:lnTo>
                  <a:lnTo>
                    <a:pt x="641" y="828"/>
                  </a:lnTo>
                  <a:lnTo>
                    <a:pt x="638" y="828"/>
                  </a:lnTo>
                  <a:lnTo>
                    <a:pt x="632" y="827"/>
                  </a:lnTo>
                  <a:lnTo>
                    <a:pt x="631" y="824"/>
                  </a:lnTo>
                  <a:lnTo>
                    <a:pt x="631" y="815"/>
                  </a:lnTo>
                  <a:lnTo>
                    <a:pt x="627" y="809"/>
                  </a:lnTo>
                  <a:lnTo>
                    <a:pt x="627" y="812"/>
                  </a:lnTo>
                  <a:lnTo>
                    <a:pt x="626" y="809"/>
                  </a:lnTo>
                  <a:lnTo>
                    <a:pt x="621" y="801"/>
                  </a:lnTo>
                  <a:lnTo>
                    <a:pt x="621" y="798"/>
                  </a:lnTo>
                  <a:lnTo>
                    <a:pt x="619" y="796"/>
                  </a:lnTo>
                  <a:lnTo>
                    <a:pt x="614" y="796"/>
                  </a:lnTo>
                  <a:lnTo>
                    <a:pt x="611" y="795"/>
                  </a:lnTo>
                  <a:lnTo>
                    <a:pt x="612" y="797"/>
                  </a:lnTo>
                  <a:lnTo>
                    <a:pt x="618" y="804"/>
                  </a:lnTo>
                  <a:lnTo>
                    <a:pt x="621" y="814"/>
                  </a:lnTo>
                  <a:lnTo>
                    <a:pt x="625" y="818"/>
                  </a:lnTo>
                  <a:lnTo>
                    <a:pt x="626" y="822"/>
                  </a:lnTo>
                  <a:lnTo>
                    <a:pt x="624" y="827"/>
                  </a:lnTo>
                  <a:lnTo>
                    <a:pt x="624" y="831"/>
                  </a:lnTo>
                  <a:lnTo>
                    <a:pt x="625" y="840"/>
                  </a:lnTo>
                  <a:lnTo>
                    <a:pt x="625" y="844"/>
                  </a:lnTo>
                  <a:lnTo>
                    <a:pt x="624" y="846"/>
                  </a:lnTo>
                  <a:lnTo>
                    <a:pt x="617" y="848"/>
                  </a:lnTo>
                  <a:lnTo>
                    <a:pt x="611" y="851"/>
                  </a:lnTo>
                  <a:lnTo>
                    <a:pt x="608" y="854"/>
                  </a:lnTo>
                  <a:lnTo>
                    <a:pt x="606" y="854"/>
                  </a:lnTo>
                  <a:lnTo>
                    <a:pt x="597" y="855"/>
                  </a:lnTo>
                  <a:lnTo>
                    <a:pt x="585" y="857"/>
                  </a:lnTo>
                  <a:lnTo>
                    <a:pt x="582" y="857"/>
                  </a:lnTo>
                  <a:lnTo>
                    <a:pt x="578" y="855"/>
                  </a:lnTo>
                  <a:lnTo>
                    <a:pt x="574" y="845"/>
                  </a:lnTo>
                  <a:lnTo>
                    <a:pt x="574" y="838"/>
                  </a:lnTo>
                  <a:lnTo>
                    <a:pt x="570" y="836"/>
                  </a:lnTo>
                  <a:lnTo>
                    <a:pt x="565" y="834"/>
                  </a:lnTo>
                  <a:lnTo>
                    <a:pt x="562" y="836"/>
                  </a:lnTo>
                  <a:lnTo>
                    <a:pt x="561" y="839"/>
                  </a:lnTo>
                  <a:lnTo>
                    <a:pt x="558" y="840"/>
                  </a:lnTo>
                  <a:lnTo>
                    <a:pt x="552" y="840"/>
                  </a:lnTo>
                  <a:lnTo>
                    <a:pt x="548" y="840"/>
                  </a:lnTo>
                  <a:lnTo>
                    <a:pt x="547" y="844"/>
                  </a:lnTo>
                  <a:lnTo>
                    <a:pt x="543" y="844"/>
                  </a:lnTo>
                  <a:lnTo>
                    <a:pt x="535" y="840"/>
                  </a:lnTo>
                  <a:lnTo>
                    <a:pt x="535" y="833"/>
                  </a:lnTo>
                  <a:lnTo>
                    <a:pt x="537" y="830"/>
                  </a:lnTo>
                  <a:lnTo>
                    <a:pt x="536" y="827"/>
                  </a:lnTo>
                  <a:lnTo>
                    <a:pt x="533" y="826"/>
                  </a:lnTo>
                  <a:lnTo>
                    <a:pt x="533" y="824"/>
                  </a:lnTo>
                  <a:lnTo>
                    <a:pt x="530" y="822"/>
                  </a:lnTo>
                  <a:lnTo>
                    <a:pt x="524" y="824"/>
                  </a:lnTo>
                  <a:lnTo>
                    <a:pt x="521" y="821"/>
                  </a:lnTo>
                  <a:lnTo>
                    <a:pt x="519" y="819"/>
                  </a:lnTo>
                  <a:lnTo>
                    <a:pt x="519" y="814"/>
                  </a:lnTo>
                  <a:lnTo>
                    <a:pt x="517" y="809"/>
                  </a:lnTo>
                  <a:lnTo>
                    <a:pt x="519" y="808"/>
                  </a:lnTo>
                  <a:lnTo>
                    <a:pt x="529" y="808"/>
                  </a:lnTo>
                  <a:lnTo>
                    <a:pt x="533" y="802"/>
                  </a:lnTo>
                  <a:lnTo>
                    <a:pt x="537" y="803"/>
                  </a:lnTo>
                  <a:lnTo>
                    <a:pt x="538" y="802"/>
                  </a:lnTo>
                  <a:lnTo>
                    <a:pt x="539" y="800"/>
                  </a:lnTo>
                  <a:lnTo>
                    <a:pt x="543" y="791"/>
                  </a:lnTo>
                  <a:lnTo>
                    <a:pt x="542" y="788"/>
                  </a:lnTo>
                  <a:lnTo>
                    <a:pt x="539" y="786"/>
                  </a:lnTo>
                  <a:lnTo>
                    <a:pt x="533" y="788"/>
                  </a:lnTo>
                  <a:lnTo>
                    <a:pt x="527" y="791"/>
                  </a:lnTo>
                  <a:lnTo>
                    <a:pt x="523" y="792"/>
                  </a:lnTo>
                  <a:lnTo>
                    <a:pt x="520" y="794"/>
                  </a:lnTo>
                  <a:lnTo>
                    <a:pt x="519" y="792"/>
                  </a:lnTo>
                  <a:lnTo>
                    <a:pt x="515" y="789"/>
                  </a:lnTo>
                  <a:lnTo>
                    <a:pt x="513" y="789"/>
                  </a:lnTo>
                  <a:lnTo>
                    <a:pt x="511" y="792"/>
                  </a:lnTo>
                  <a:lnTo>
                    <a:pt x="506" y="798"/>
                  </a:lnTo>
                  <a:lnTo>
                    <a:pt x="497" y="806"/>
                  </a:lnTo>
                  <a:lnTo>
                    <a:pt x="493" y="812"/>
                  </a:lnTo>
                  <a:lnTo>
                    <a:pt x="490" y="820"/>
                  </a:lnTo>
                  <a:lnTo>
                    <a:pt x="490" y="837"/>
                  </a:lnTo>
                  <a:lnTo>
                    <a:pt x="493" y="864"/>
                  </a:lnTo>
                  <a:lnTo>
                    <a:pt x="493" y="879"/>
                  </a:lnTo>
                  <a:lnTo>
                    <a:pt x="494" y="885"/>
                  </a:lnTo>
                  <a:lnTo>
                    <a:pt x="499" y="891"/>
                  </a:lnTo>
                  <a:lnTo>
                    <a:pt x="505" y="899"/>
                  </a:lnTo>
                  <a:lnTo>
                    <a:pt x="508" y="909"/>
                  </a:lnTo>
                  <a:lnTo>
                    <a:pt x="511" y="91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0" name="Freeform 63"/>
            <p:cNvSpPr>
              <a:spLocks/>
            </p:cNvSpPr>
            <p:nvPr userDrawn="1"/>
          </p:nvSpPr>
          <p:spPr bwMode="auto">
            <a:xfrm>
              <a:off x="4319588" y="6208713"/>
              <a:ext cx="287338" cy="350838"/>
            </a:xfrm>
            <a:custGeom>
              <a:avLst/>
              <a:gdLst/>
              <a:ahLst/>
              <a:cxnLst>
                <a:cxn ang="0">
                  <a:pos x="422" y="709"/>
                </a:cxn>
                <a:cxn ang="0">
                  <a:pos x="410" y="667"/>
                </a:cxn>
                <a:cxn ang="0">
                  <a:pos x="390" y="629"/>
                </a:cxn>
                <a:cxn ang="0">
                  <a:pos x="430" y="603"/>
                </a:cxn>
                <a:cxn ang="0">
                  <a:pos x="355" y="668"/>
                </a:cxn>
                <a:cxn ang="0">
                  <a:pos x="387" y="737"/>
                </a:cxn>
                <a:cxn ang="0">
                  <a:pos x="371" y="696"/>
                </a:cxn>
                <a:cxn ang="0">
                  <a:pos x="319" y="703"/>
                </a:cxn>
                <a:cxn ang="0">
                  <a:pos x="273" y="707"/>
                </a:cxn>
                <a:cxn ang="0">
                  <a:pos x="231" y="682"/>
                </a:cxn>
                <a:cxn ang="0">
                  <a:pos x="207" y="703"/>
                </a:cxn>
                <a:cxn ang="0">
                  <a:pos x="175" y="722"/>
                </a:cxn>
                <a:cxn ang="0">
                  <a:pos x="130" y="698"/>
                </a:cxn>
                <a:cxn ang="0">
                  <a:pos x="21" y="722"/>
                </a:cxn>
                <a:cxn ang="0">
                  <a:pos x="80" y="649"/>
                </a:cxn>
                <a:cxn ang="0">
                  <a:pos x="23" y="611"/>
                </a:cxn>
                <a:cxn ang="0">
                  <a:pos x="9" y="560"/>
                </a:cxn>
                <a:cxn ang="0">
                  <a:pos x="9" y="490"/>
                </a:cxn>
                <a:cxn ang="0">
                  <a:pos x="116" y="494"/>
                </a:cxn>
                <a:cxn ang="0">
                  <a:pos x="125" y="454"/>
                </a:cxn>
                <a:cxn ang="0">
                  <a:pos x="149" y="383"/>
                </a:cxn>
                <a:cxn ang="0">
                  <a:pos x="86" y="381"/>
                </a:cxn>
                <a:cxn ang="0">
                  <a:pos x="51" y="358"/>
                </a:cxn>
                <a:cxn ang="0">
                  <a:pos x="62" y="328"/>
                </a:cxn>
                <a:cxn ang="0">
                  <a:pos x="88" y="275"/>
                </a:cxn>
                <a:cxn ang="0">
                  <a:pos x="125" y="203"/>
                </a:cxn>
                <a:cxn ang="0">
                  <a:pos x="165" y="155"/>
                </a:cxn>
                <a:cxn ang="0">
                  <a:pos x="207" y="149"/>
                </a:cxn>
                <a:cxn ang="0">
                  <a:pos x="246" y="179"/>
                </a:cxn>
                <a:cxn ang="0">
                  <a:pos x="332" y="174"/>
                </a:cxn>
                <a:cxn ang="0">
                  <a:pos x="348" y="105"/>
                </a:cxn>
                <a:cxn ang="0">
                  <a:pos x="353" y="108"/>
                </a:cxn>
                <a:cxn ang="0">
                  <a:pos x="385" y="155"/>
                </a:cxn>
                <a:cxn ang="0">
                  <a:pos x="454" y="126"/>
                </a:cxn>
                <a:cxn ang="0">
                  <a:pos x="501" y="156"/>
                </a:cxn>
                <a:cxn ang="0">
                  <a:pos x="556" y="210"/>
                </a:cxn>
                <a:cxn ang="0">
                  <a:pos x="541" y="141"/>
                </a:cxn>
                <a:cxn ang="0">
                  <a:pos x="503" y="89"/>
                </a:cxn>
                <a:cxn ang="0">
                  <a:pos x="490" y="18"/>
                </a:cxn>
                <a:cxn ang="0">
                  <a:pos x="562" y="41"/>
                </a:cxn>
                <a:cxn ang="0">
                  <a:pos x="631" y="86"/>
                </a:cxn>
                <a:cxn ang="0">
                  <a:pos x="648" y="139"/>
                </a:cxn>
                <a:cxn ang="0">
                  <a:pos x="678" y="171"/>
                </a:cxn>
                <a:cxn ang="0">
                  <a:pos x="730" y="171"/>
                </a:cxn>
                <a:cxn ang="0">
                  <a:pos x="780" y="141"/>
                </a:cxn>
                <a:cxn ang="0">
                  <a:pos x="816" y="169"/>
                </a:cxn>
                <a:cxn ang="0">
                  <a:pos x="779" y="222"/>
                </a:cxn>
                <a:cxn ang="0">
                  <a:pos x="755" y="250"/>
                </a:cxn>
                <a:cxn ang="0">
                  <a:pos x="794" y="273"/>
                </a:cxn>
                <a:cxn ang="0">
                  <a:pos x="860" y="298"/>
                </a:cxn>
                <a:cxn ang="0">
                  <a:pos x="902" y="356"/>
                </a:cxn>
                <a:cxn ang="0">
                  <a:pos x="847" y="407"/>
                </a:cxn>
                <a:cxn ang="0">
                  <a:pos x="838" y="446"/>
                </a:cxn>
                <a:cxn ang="0">
                  <a:pos x="771" y="477"/>
                </a:cxn>
                <a:cxn ang="0">
                  <a:pos x="842" y="551"/>
                </a:cxn>
                <a:cxn ang="0">
                  <a:pos x="774" y="549"/>
                </a:cxn>
                <a:cxn ang="0">
                  <a:pos x="768" y="601"/>
                </a:cxn>
                <a:cxn ang="0">
                  <a:pos x="786" y="694"/>
                </a:cxn>
                <a:cxn ang="0">
                  <a:pos x="757" y="742"/>
                </a:cxn>
                <a:cxn ang="0">
                  <a:pos x="686" y="786"/>
                </a:cxn>
                <a:cxn ang="0">
                  <a:pos x="619" y="773"/>
                </a:cxn>
                <a:cxn ang="0">
                  <a:pos x="544" y="777"/>
                </a:cxn>
                <a:cxn ang="0">
                  <a:pos x="483" y="722"/>
                </a:cxn>
              </a:cxnLst>
              <a:rect l="0" t="0" r="r" b="b"/>
              <a:pathLst>
                <a:path w="906" h="1106">
                  <a:moveTo>
                    <a:pt x="472" y="1106"/>
                  </a:moveTo>
                  <a:lnTo>
                    <a:pt x="442" y="1106"/>
                  </a:lnTo>
                  <a:lnTo>
                    <a:pt x="440" y="1077"/>
                  </a:lnTo>
                  <a:lnTo>
                    <a:pt x="437" y="1060"/>
                  </a:lnTo>
                  <a:lnTo>
                    <a:pt x="437" y="1022"/>
                  </a:lnTo>
                  <a:lnTo>
                    <a:pt x="436" y="1017"/>
                  </a:lnTo>
                  <a:lnTo>
                    <a:pt x="438" y="1009"/>
                  </a:lnTo>
                  <a:lnTo>
                    <a:pt x="444" y="958"/>
                  </a:lnTo>
                  <a:lnTo>
                    <a:pt x="452" y="912"/>
                  </a:lnTo>
                  <a:lnTo>
                    <a:pt x="455" y="892"/>
                  </a:lnTo>
                  <a:lnTo>
                    <a:pt x="461" y="873"/>
                  </a:lnTo>
                  <a:lnTo>
                    <a:pt x="462" y="868"/>
                  </a:lnTo>
                  <a:lnTo>
                    <a:pt x="462" y="862"/>
                  </a:lnTo>
                  <a:lnTo>
                    <a:pt x="461" y="849"/>
                  </a:lnTo>
                  <a:lnTo>
                    <a:pt x="461" y="823"/>
                  </a:lnTo>
                  <a:lnTo>
                    <a:pt x="459" y="802"/>
                  </a:lnTo>
                  <a:lnTo>
                    <a:pt x="460" y="791"/>
                  </a:lnTo>
                  <a:lnTo>
                    <a:pt x="461" y="780"/>
                  </a:lnTo>
                  <a:lnTo>
                    <a:pt x="461" y="768"/>
                  </a:lnTo>
                  <a:lnTo>
                    <a:pt x="460" y="756"/>
                  </a:lnTo>
                  <a:lnTo>
                    <a:pt x="458" y="748"/>
                  </a:lnTo>
                  <a:lnTo>
                    <a:pt x="454" y="740"/>
                  </a:lnTo>
                  <a:lnTo>
                    <a:pt x="452" y="738"/>
                  </a:lnTo>
                  <a:lnTo>
                    <a:pt x="452" y="734"/>
                  </a:lnTo>
                  <a:lnTo>
                    <a:pt x="452" y="728"/>
                  </a:lnTo>
                  <a:lnTo>
                    <a:pt x="446" y="714"/>
                  </a:lnTo>
                  <a:lnTo>
                    <a:pt x="444" y="708"/>
                  </a:lnTo>
                  <a:lnTo>
                    <a:pt x="442" y="710"/>
                  </a:lnTo>
                  <a:lnTo>
                    <a:pt x="446" y="715"/>
                  </a:lnTo>
                  <a:lnTo>
                    <a:pt x="444" y="718"/>
                  </a:lnTo>
                  <a:lnTo>
                    <a:pt x="443" y="724"/>
                  </a:lnTo>
                  <a:lnTo>
                    <a:pt x="443" y="728"/>
                  </a:lnTo>
                  <a:lnTo>
                    <a:pt x="441" y="726"/>
                  </a:lnTo>
                  <a:lnTo>
                    <a:pt x="440" y="728"/>
                  </a:lnTo>
                  <a:lnTo>
                    <a:pt x="437" y="728"/>
                  </a:lnTo>
                  <a:lnTo>
                    <a:pt x="435" y="726"/>
                  </a:lnTo>
                  <a:lnTo>
                    <a:pt x="432" y="728"/>
                  </a:lnTo>
                  <a:lnTo>
                    <a:pt x="429" y="731"/>
                  </a:lnTo>
                  <a:lnTo>
                    <a:pt x="426" y="734"/>
                  </a:lnTo>
                  <a:lnTo>
                    <a:pt x="425" y="728"/>
                  </a:lnTo>
                  <a:lnTo>
                    <a:pt x="425" y="726"/>
                  </a:lnTo>
                  <a:lnTo>
                    <a:pt x="423" y="727"/>
                  </a:lnTo>
                  <a:lnTo>
                    <a:pt x="420" y="727"/>
                  </a:lnTo>
                  <a:lnTo>
                    <a:pt x="418" y="732"/>
                  </a:lnTo>
                  <a:lnTo>
                    <a:pt x="408" y="734"/>
                  </a:lnTo>
                  <a:lnTo>
                    <a:pt x="406" y="736"/>
                  </a:lnTo>
                  <a:lnTo>
                    <a:pt x="410" y="732"/>
                  </a:lnTo>
                  <a:lnTo>
                    <a:pt x="412" y="728"/>
                  </a:lnTo>
                  <a:lnTo>
                    <a:pt x="413" y="725"/>
                  </a:lnTo>
                  <a:lnTo>
                    <a:pt x="417" y="724"/>
                  </a:lnTo>
                  <a:lnTo>
                    <a:pt x="414" y="722"/>
                  </a:lnTo>
                  <a:lnTo>
                    <a:pt x="411" y="725"/>
                  </a:lnTo>
                  <a:lnTo>
                    <a:pt x="411" y="721"/>
                  </a:lnTo>
                  <a:lnTo>
                    <a:pt x="416" y="719"/>
                  </a:lnTo>
                  <a:lnTo>
                    <a:pt x="417" y="719"/>
                  </a:lnTo>
                  <a:lnTo>
                    <a:pt x="417" y="718"/>
                  </a:lnTo>
                  <a:lnTo>
                    <a:pt x="416" y="715"/>
                  </a:lnTo>
                  <a:lnTo>
                    <a:pt x="419" y="714"/>
                  </a:lnTo>
                  <a:lnTo>
                    <a:pt x="420" y="716"/>
                  </a:lnTo>
                  <a:lnTo>
                    <a:pt x="420" y="719"/>
                  </a:lnTo>
                  <a:lnTo>
                    <a:pt x="419" y="720"/>
                  </a:lnTo>
                  <a:lnTo>
                    <a:pt x="420" y="722"/>
                  </a:lnTo>
                  <a:lnTo>
                    <a:pt x="424" y="720"/>
                  </a:lnTo>
                  <a:lnTo>
                    <a:pt x="425" y="719"/>
                  </a:lnTo>
                  <a:lnTo>
                    <a:pt x="425" y="718"/>
                  </a:lnTo>
                  <a:lnTo>
                    <a:pt x="424" y="715"/>
                  </a:lnTo>
                  <a:lnTo>
                    <a:pt x="423" y="713"/>
                  </a:lnTo>
                  <a:lnTo>
                    <a:pt x="422" y="709"/>
                  </a:lnTo>
                  <a:lnTo>
                    <a:pt x="423" y="708"/>
                  </a:lnTo>
                  <a:lnTo>
                    <a:pt x="422" y="708"/>
                  </a:lnTo>
                  <a:lnTo>
                    <a:pt x="424" y="703"/>
                  </a:lnTo>
                  <a:lnTo>
                    <a:pt x="428" y="701"/>
                  </a:lnTo>
                  <a:lnTo>
                    <a:pt x="434" y="701"/>
                  </a:lnTo>
                  <a:lnTo>
                    <a:pt x="435" y="702"/>
                  </a:lnTo>
                  <a:lnTo>
                    <a:pt x="440" y="696"/>
                  </a:lnTo>
                  <a:lnTo>
                    <a:pt x="444" y="686"/>
                  </a:lnTo>
                  <a:lnTo>
                    <a:pt x="449" y="683"/>
                  </a:lnTo>
                  <a:lnTo>
                    <a:pt x="449" y="680"/>
                  </a:lnTo>
                  <a:lnTo>
                    <a:pt x="449" y="678"/>
                  </a:lnTo>
                  <a:lnTo>
                    <a:pt x="448" y="680"/>
                  </a:lnTo>
                  <a:lnTo>
                    <a:pt x="448" y="678"/>
                  </a:lnTo>
                  <a:lnTo>
                    <a:pt x="446" y="679"/>
                  </a:lnTo>
                  <a:lnTo>
                    <a:pt x="442" y="682"/>
                  </a:lnTo>
                  <a:lnTo>
                    <a:pt x="438" y="682"/>
                  </a:lnTo>
                  <a:lnTo>
                    <a:pt x="438" y="679"/>
                  </a:lnTo>
                  <a:lnTo>
                    <a:pt x="436" y="680"/>
                  </a:lnTo>
                  <a:lnTo>
                    <a:pt x="435" y="682"/>
                  </a:lnTo>
                  <a:lnTo>
                    <a:pt x="435" y="678"/>
                  </a:lnTo>
                  <a:lnTo>
                    <a:pt x="436" y="676"/>
                  </a:lnTo>
                  <a:lnTo>
                    <a:pt x="437" y="673"/>
                  </a:lnTo>
                  <a:lnTo>
                    <a:pt x="441" y="670"/>
                  </a:lnTo>
                  <a:lnTo>
                    <a:pt x="435" y="674"/>
                  </a:lnTo>
                  <a:lnTo>
                    <a:pt x="434" y="671"/>
                  </a:lnTo>
                  <a:lnTo>
                    <a:pt x="434" y="668"/>
                  </a:lnTo>
                  <a:lnTo>
                    <a:pt x="436" y="667"/>
                  </a:lnTo>
                  <a:lnTo>
                    <a:pt x="435" y="666"/>
                  </a:lnTo>
                  <a:lnTo>
                    <a:pt x="432" y="667"/>
                  </a:lnTo>
                  <a:lnTo>
                    <a:pt x="430" y="670"/>
                  </a:lnTo>
                  <a:lnTo>
                    <a:pt x="430" y="666"/>
                  </a:lnTo>
                  <a:lnTo>
                    <a:pt x="429" y="664"/>
                  </a:lnTo>
                  <a:lnTo>
                    <a:pt x="428" y="660"/>
                  </a:lnTo>
                  <a:lnTo>
                    <a:pt x="425" y="665"/>
                  </a:lnTo>
                  <a:lnTo>
                    <a:pt x="423" y="666"/>
                  </a:lnTo>
                  <a:lnTo>
                    <a:pt x="422" y="668"/>
                  </a:lnTo>
                  <a:lnTo>
                    <a:pt x="423" y="672"/>
                  </a:lnTo>
                  <a:lnTo>
                    <a:pt x="420" y="673"/>
                  </a:lnTo>
                  <a:lnTo>
                    <a:pt x="420" y="674"/>
                  </a:lnTo>
                  <a:lnTo>
                    <a:pt x="425" y="676"/>
                  </a:lnTo>
                  <a:lnTo>
                    <a:pt x="425" y="678"/>
                  </a:lnTo>
                  <a:lnTo>
                    <a:pt x="426" y="680"/>
                  </a:lnTo>
                  <a:lnTo>
                    <a:pt x="425" y="684"/>
                  </a:lnTo>
                  <a:lnTo>
                    <a:pt x="424" y="683"/>
                  </a:lnTo>
                  <a:lnTo>
                    <a:pt x="422" y="680"/>
                  </a:lnTo>
                  <a:lnTo>
                    <a:pt x="420" y="683"/>
                  </a:lnTo>
                  <a:lnTo>
                    <a:pt x="420" y="684"/>
                  </a:lnTo>
                  <a:lnTo>
                    <a:pt x="418" y="679"/>
                  </a:lnTo>
                  <a:lnTo>
                    <a:pt x="416" y="677"/>
                  </a:lnTo>
                  <a:lnTo>
                    <a:pt x="414" y="678"/>
                  </a:lnTo>
                  <a:lnTo>
                    <a:pt x="412" y="680"/>
                  </a:lnTo>
                  <a:lnTo>
                    <a:pt x="411" y="680"/>
                  </a:lnTo>
                  <a:lnTo>
                    <a:pt x="408" y="682"/>
                  </a:lnTo>
                  <a:lnTo>
                    <a:pt x="406" y="686"/>
                  </a:lnTo>
                  <a:lnTo>
                    <a:pt x="402" y="688"/>
                  </a:lnTo>
                  <a:lnTo>
                    <a:pt x="399" y="691"/>
                  </a:lnTo>
                  <a:lnTo>
                    <a:pt x="399" y="688"/>
                  </a:lnTo>
                  <a:lnTo>
                    <a:pt x="402" y="685"/>
                  </a:lnTo>
                  <a:lnTo>
                    <a:pt x="405" y="683"/>
                  </a:lnTo>
                  <a:lnTo>
                    <a:pt x="403" y="683"/>
                  </a:lnTo>
                  <a:lnTo>
                    <a:pt x="403" y="682"/>
                  </a:lnTo>
                  <a:lnTo>
                    <a:pt x="406" y="679"/>
                  </a:lnTo>
                  <a:lnTo>
                    <a:pt x="405" y="678"/>
                  </a:lnTo>
                  <a:lnTo>
                    <a:pt x="402" y="678"/>
                  </a:lnTo>
                  <a:lnTo>
                    <a:pt x="400" y="678"/>
                  </a:lnTo>
                  <a:lnTo>
                    <a:pt x="401" y="674"/>
                  </a:lnTo>
                  <a:lnTo>
                    <a:pt x="403" y="668"/>
                  </a:lnTo>
                  <a:lnTo>
                    <a:pt x="410" y="667"/>
                  </a:lnTo>
                  <a:lnTo>
                    <a:pt x="412" y="670"/>
                  </a:lnTo>
                  <a:lnTo>
                    <a:pt x="413" y="670"/>
                  </a:lnTo>
                  <a:lnTo>
                    <a:pt x="411" y="666"/>
                  </a:lnTo>
                  <a:lnTo>
                    <a:pt x="412" y="665"/>
                  </a:lnTo>
                  <a:lnTo>
                    <a:pt x="417" y="665"/>
                  </a:lnTo>
                  <a:lnTo>
                    <a:pt x="418" y="668"/>
                  </a:lnTo>
                  <a:lnTo>
                    <a:pt x="419" y="666"/>
                  </a:lnTo>
                  <a:lnTo>
                    <a:pt x="422" y="665"/>
                  </a:lnTo>
                  <a:lnTo>
                    <a:pt x="425" y="662"/>
                  </a:lnTo>
                  <a:lnTo>
                    <a:pt x="426" y="659"/>
                  </a:lnTo>
                  <a:lnTo>
                    <a:pt x="426" y="655"/>
                  </a:lnTo>
                  <a:lnTo>
                    <a:pt x="425" y="655"/>
                  </a:lnTo>
                  <a:lnTo>
                    <a:pt x="423" y="656"/>
                  </a:lnTo>
                  <a:lnTo>
                    <a:pt x="418" y="656"/>
                  </a:lnTo>
                  <a:lnTo>
                    <a:pt x="422" y="654"/>
                  </a:lnTo>
                  <a:lnTo>
                    <a:pt x="422" y="650"/>
                  </a:lnTo>
                  <a:lnTo>
                    <a:pt x="422" y="647"/>
                  </a:lnTo>
                  <a:lnTo>
                    <a:pt x="424" y="642"/>
                  </a:lnTo>
                  <a:lnTo>
                    <a:pt x="423" y="642"/>
                  </a:lnTo>
                  <a:lnTo>
                    <a:pt x="418" y="643"/>
                  </a:lnTo>
                  <a:lnTo>
                    <a:pt x="414" y="646"/>
                  </a:lnTo>
                  <a:lnTo>
                    <a:pt x="411" y="648"/>
                  </a:lnTo>
                  <a:lnTo>
                    <a:pt x="408" y="652"/>
                  </a:lnTo>
                  <a:lnTo>
                    <a:pt x="406" y="655"/>
                  </a:lnTo>
                  <a:lnTo>
                    <a:pt x="405" y="654"/>
                  </a:lnTo>
                  <a:lnTo>
                    <a:pt x="405" y="649"/>
                  </a:lnTo>
                  <a:lnTo>
                    <a:pt x="407" y="648"/>
                  </a:lnTo>
                  <a:lnTo>
                    <a:pt x="412" y="647"/>
                  </a:lnTo>
                  <a:lnTo>
                    <a:pt x="417" y="642"/>
                  </a:lnTo>
                  <a:lnTo>
                    <a:pt x="418" y="637"/>
                  </a:lnTo>
                  <a:lnTo>
                    <a:pt x="416" y="638"/>
                  </a:lnTo>
                  <a:lnTo>
                    <a:pt x="412" y="644"/>
                  </a:lnTo>
                  <a:lnTo>
                    <a:pt x="410" y="644"/>
                  </a:lnTo>
                  <a:lnTo>
                    <a:pt x="414" y="637"/>
                  </a:lnTo>
                  <a:lnTo>
                    <a:pt x="414" y="632"/>
                  </a:lnTo>
                  <a:lnTo>
                    <a:pt x="418" y="629"/>
                  </a:lnTo>
                  <a:lnTo>
                    <a:pt x="420" y="626"/>
                  </a:lnTo>
                  <a:lnTo>
                    <a:pt x="417" y="626"/>
                  </a:lnTo>
                  <a:lnTo>
                    <a:pt x="416" y="627"/>
                  </a:lnTo>
                  <a:lnTo>
                    <a:pt x="416" y="630"/>
                  </a:lnTo>
                  <a:lnTo>
                    <a:pt x="413" y="632"/>
                  </a:lnTo>
                  <a:lnTo>
                    <a:pt x="413" y="630"/>
                  </a:lnTo>
                  <a:lnTo>
                    <a:pt x="413" y="626"/>
                  </a:lnTo>
                  <a:lnTo>
                    <a:pt x="411" y="625"/>
                  </a:lnTo>
                  <a:lnTo>
                    <a:pt x="408" y="623"/>
                  </a:lnTo>
                  <a:lnTo>
                    <a:pt x="405" y="623"/>
                  </a:lnTo>
                  <a:lnTo>
                    <a:pt x="410" y="626"/>
                  </a:lnTo>
                  <a:lnTo>
                    <a:pt x="410" y="629"/>
                  </a:lnTo>
                  <a:lnTo>
                    <a:pt x="408" y="630"/>
                  </a:lnTo>
                  <a:lnTo>
                    <a:pt x="408" y="632"/>
                  </a:lnTo>
                  <a:lnTo>
                    <a:pt x="406" y="630"/>
                  </a:lnTo>
                  <a:lnTo>
                    <a:pt x="405" y="632"/>
                  </a:lnTo>
                  <a:lnTo>
                    <a:pt x="406" y="633"/>
                  </a:lnTo>
                  <a:lnTo>
                    <a:pt x="406" y="636"/>
                  </a:lnTo>
                  <a:lnTo>
                    <a:pt x="401" y="641"/>
                  </a:lnTo>
                  <a:lnTo>
                    <a:pt x="399" y="643"/>
                  </a:lnTo>
                  <a:lnTo>
                    <a:pt x="397" y="639"/>
                  </a:lnTo>
                  <a:lnTo>
                    <a:pt x="397" y="635"/>
                  </a:lnTo>
                  <a:lnTo>
                    <a:pt x="396" y="635"/>
                  </a:lnTo>
                  <a:lnTo>
                    <a:pt x="397" y="631"/>
                  </a:lnTo>
                  <a:lnTo>
                    <a:pt x="397" y="629"/>
                  </a:lnTo>
                  <a:lnTo>
                    <a:pt x="397" y="630"/>
                  </a:lnTo>
                  <a:lnTo>
                    <a:pt x="396" y="631"/>
                  </a:lnTo>
                  <a:lnTo>
                    <a:pt x="396" y="627"/>
                  </a:lnTo>
                  <a:lnTo>
                    <a:pt x="395" y="631"/>
                  </a:lnTo>
                  <a:lnTo>
                    <a:pt x="391" y="631"/>
                  </a:lnTo>
                  <a:lnTo>
                    <a:pt x="389" y="633"/>
                  </a:lnTo>
                  <a:lnTo>
                    <a:pt x="390" y="629"/>
                  </a:lnTo>
                  <a:lnTo>
                    <a:pt x="393" y="626"/>
                  </a:lnTo>
                  <a:lnTo>
                    <a:pt x="393" y="624"/>
                  </a:lnTo>
                  <a:lnTo>
                    <a:pt x="388" y="625"/>
                  </a:lnTo>
                  <a:lnTo>
                    <a:pt x="389" y="621"/>
                  </a:lnTo>
                  <a:lnTo>
                    <a:pt x="389" y="619"/>
                  </a:lnTo>
                  <a:lnTo>
                    <a:pt x="389" y="615"/>
                  </a:lnTo>
                  <a:lnTo>
                    <a:pt x="389" y="613"/>
                  </a:lnTo>
                  <a:lnTo>
                    <a:pt x="389" y="612"/>
                  </a:lnTo>
                  <a:lnTo>
                    <a:pt x="391" y="609"/>
                  </a:lnTo>
                  <a:lnTo>
                    <a:pt x="393" y="613"/>
                  </a:lnTo>
                  <a:lnTo>
                    <a:pt x="394" y="617"/>
                  </a:lnTo>
                  <a:lnTo>
                    <a:pt x="394" y="619"/>
                  </a:lnTo>
                  <a:lnTo>
                    <a:pt x="395" y="620"/>
                  </a:lnTo>
                  <a:lnTo>
                    <a:pt x="397" y="620"/>
                  </a:lnTo>
                  <a:lnTo>
                    <a:pt x="400" y="617"/>
                  </a:lnTo>
                  <a:lnTo>
                    <a:pt x="403" y="617"/>
                  </a:lnTo>
                  <a:lnTo>
                    <a:pt x="406" y="618"/>
                  </a:lnTo>
                  <a:lnTo>
                    <a:pt x="407" y="620"/>
                  </a:lnTo>
                  <a:lnTo>
                    <a:pt x="411" y="621"/>
                  </a:lnTo>
                  <a:lnTo>
                    <a:pt x="413" y="621"/>
                  </a:lnTo>
                  <a:lnTo>
                    <a:pt x="416" y="621"/>
                  </a:lnTo>
                  <a:lnTo>
                    <a:pt x="416" y="618"/>
                  </a:lnTo>
                  <a:lnTo>
                    <a:pt x="418" y="617"/>
                  </a:lnTo>
                  <a:lnTo>
                    <a:pt x="422" y="617"/>
                  </a:lnTo>
                  <a:lnTo>
                    <a:pt x="423" y="617"/>
                  </a:lnTo>
                  <a:lnTo>
                    <a:pt x="424" y="619"/>
                  </a:lnTo>
                  <a:lnTo>
                    <a:pt x="425" y="620"/>
                  </a:lnTo>
                  <a:lnTo>
                    <a:pt x="426" y="619"/>
                  </a:lnTo>
                  <a:lnTo>
                    <a:pt x="428" y="618"/>
                  </a:lnTo>
                  <a:lnTo>
                    <a:pt x="426" y="617"/>
                  </a:lnTo>
                  <a:lnTo>
                    <a:pt x="425" y="615"/>
                  </a:lnTo>
                  <a:lnTo>
                    <a:pt x="423" y="614"/>
                  </a:lnTo>
                  <a:lnTo>
                    <a:pt x="422" y="614"/>
                  </a:lnTo>
                  <a:lnTo>
                    <a:pt x="419" y="615"/>
                  </a:lnTo>
                  <a:lnTo>
                    <a:pt x="417" y="615"/>
                  </a:lnTo>
                  <a:lnTo>
                    <a:pt x="414" y="618"/>
                  </a:lnTo>
                  <a:lnTo>
                    <a:pt x="412" y="619"/>
                  </a:lnTo>
                  <a:lnTo>
                    <a:pt x="411" y="618"/>
                  </a:lnTo>
                  <a:lnTo>
                    <a:pt x="410" y="617"/>
                  </a:lnTo>
                  <a:lnTo>
                    <a:pt x="408" y="614"/>
                  </a:lnTo>
                  <a:lnTo>
                    <a:pt x="411" y="613"/>
                  </a:lnTo>
                  <a:lnTo>
                    <a:pt x="412" y="612"/>
                  </a:lnTo>
                  <a:lnTo>
                    <a:pt x="416" y="611"/>
                  </a:lnTo>
                  <a:lnTo>
                    <a:pt x="417" y="612"/>
                  </a:lnTo>
                  <a:lnTo>
                    <a:pt x="419" y="611"/>
                  </a:lnTo>
                  <a:lnTo>
                    <a:pt x="418" y="611"/>
                  </a:lnTo>
                  <a:lnTo>
                    <a:pt x="419" y="608"/>
                  </a:lnTo>
                  <a:lnTo>
                    <a:pt x="419" y="607"/>
                  </a:lnTo>
                  <a:lnTo>
                    <a:pt x="420" y="607"/>
                  </a:lnTo>
                  <a:lnTo>
                    <a:pt x="423" y="606"/>
                  </a:lnTo>
                  <a:lnTo>
                    <a:pt x="418" y="606"/>
                  </a:lnTo>
                  <a:lnTo>
                    <a:pt x="414" y="608"/>
                  </a:lnTo>
                  <a:lnTo>
                    <a:pt x="406" y="608"/>
                  </a:lnTo>
                  <a:lnTo>
                    <a:pt x="410" y="606"/>
                  </a:lnTo>
                  <a:lnTo>
                    <a:pt x="413" y="602"/>
                  </a:lnTo>
                  <a:lnTo>
                    <a:pt x="419" y="602"/>
                  </a:lnTo>
                  <a:lnTo>
                    <a:pt x="423" y="602"/>
                  </a:lnTo>
                  <a:lnTo>
                    <a:pt x="426" y="603"/>
                  </a:lnTo>
                  <a:lnTo>
                    <a:pt x="425" y="607"/>
                  </a:lnTo>
                  <a:lnTo>
                    <a:pt x="426" y="609"/>
                  </a:lnTo>
                  <a:lnTo>
                    <a:pt x="426" y="611"/>
                  </a:lnTo>
                  <a:lnTo>
                    <a:pt x="429" y="612"/>
                  </a:lnTo>
                  <a:lnTo>
                    <a:pt x="429" y="611"/>
                  </a:lnTo>
                  <a:lnTo>
                    <a:pt x="431" y="609"/>
                  </a:lnTo>
                  <a:lnTo>
                    <a:pt x="430" y="607"/>
                  </a:lnTo>
                  <a:lnTo>
                    <a:pt x="429" y="607"/>
                  </a:lnTo>
                  <a:lnTo>
                    <a:pt x="429" y="606"/>
                  </a:lnTo>
                  <a:lnTo>
                    <a:pt x="430" y="603"/>
                  </a:lnTo>
                  <a:lnTo>
                    <a:pt x="430" y="601"/>
                  </a:lnTo>
                  <a:lnTo>
                    <a:pt x="429" y="600"/>
                  </a:lnTo>
                  <a:lnTo>
                    <a:pt x="429" y="597"/>
                  </a:lnTo>
                  <a:lnTo>
                    <a:pt x="429" y="596"/>
                  </a:lnTo>
                  <a:lnTo>
                    <a:pt x="428" y="594"/>
                  </a:lnTo>
                  <a:lnTo>
                    <a:pt x="429" y="594"/>
                  </a:lnTo>
                  <a:lnTo>
                    <a:pt x="425" y="593"/>
                  </a:lnTo>
                  <a:lnTo>
                    <a:pt x="405" y="593"/>
                  </a:lnTo>
                  <a:lnTo>
                    <a:pt x="366" y="599"/>
                  </a:lnTo>
                  <a:lnTo>
                    <a:pt x="355" y="600"/>
                  </a:lnTo>
                  <a:lnTo>
                    <a:pt x="348" y="602"/>
                  </a:lnTo>
                  <a:lnTo>
                    <a:pt x="330" y="611"/>
                  </a:lnTo>
                  <a:lnTo>
                    <a:pt x="325" y="611"/>
                  </a:lnTo>
                  <a:lnTo>
                    <a:pt x="334" y="617"/>
                  </a:lnTo>
                  <a:lnTo>
                    <a:pt x="342" y="621"/>
                  </a:lnTo>
                  <a:lnTo>
                    <a:pt x="346" y="626"/>
                  </a:lnTo>
                  <a:lnTo>
                    <a:pt x="351" y="631"/>
                  </a:lnTo>
                  <a:lnTo>
                    <a:pt x="354" y="633"/>
                  </a:lnTo>
                  <a:lnTo>
                    <a:pt x="349" y="631"/>
                  </a:lnTo>
                  <a:lnTo>
                    <a:pt x="347" y="636"/>
                  </a:lnTo>
                  <a:lnTo>
                    <a:pt x="346" y="638"/>
                  </a:lnTo>
                  <a:lnTo>
                    <a:pt x="346" y="642"/>
                  </a:lnTo>
                  <a:lnTo>
                    <a:pt x="349" y="648"/>
                  </a:lnTo>
                  <a:lnTo>
                    <a:pt x="353" y="652"/>
                  </a:lnTo>
                  <a:lnTo>
                    <a:pt x="355" y="655"/>
                  </a:lnTo>
                  <a:lnTo>
                    <a:pt x="357" y="656"/>
                  </a:lnTo>
                  <a:lnTo>
                    <a:pt x="358" y="655"/>
                  </a:lnTo>
                  <a:lnTo>
                    <a:pt x="358" y="658"/>
                  </a:lnTo>
                  <a:lnTo>
                    <a:pt x="355" y="658"/>
                  </a:lnTo>
                  <a:lnTo>
                    <a:pt x="358" y="659"/>
                  </a:lnTo>
                  <a:lnTo>
                    <a:pt x="360" y="661"/>
                  </a:lnTo>
                  <a:lnTo>
                    <a:pt x="363" y="664"/>
                  </a:lnTo>
                  <a:lnTo>
                    <a:pt x="364" y="661"/>
                  </a:lnTo>
                  <a:lnTo>
                    <a:pt x="363" y="660"/>
                  </a:lnTo>
                  <a:lnTo>
                    <a:pt x="361" y="656"/>
                  </a:lnTo>
                  <a:lnTo>
                    <a:pt x="366" y="659"/>
                  </a:lnTo>
                  <a:lnTo>
                    <a:pt x="370" y="664"/>
                  </a:lnTo>
                  <a:lnTo>
                    <a:pt x="367" y="662"/>
                  </a:lnTo>
                  <a:lnTo>
                    <a:pt x="365" y="664"/>
                  </a:lnTo>
                  <a:lnTo>
                    <a:pt x="366" y="667"/>
                  </a:lnTo>
                  <a:lnTo>
                    <a:pt x="369" y="670"/>
                  </a:lnTo>
                  <a:lnTo>
                    <a:pt x="369" y="674"/>
                  </a:lnTo>
                  <a:lnTo>
                    <a:pt x="366" y="672"/>
                  </a:lnTo>
                  <a:lnTo>
                    <a:pt x="365" y="668"/>
                  </a:lnTo>
                  <a:lnTo>
                    <a:pt x="364" y="671"/>
                  </a:lnTo>
                  <a:lnTo>
                    <a:pt x="365" y="677"/>
                  </a:lnTo>
                  <a:lnTo>
                    <a:pt x="365" y="680"/>
                  </a:lnTo>
                  <a:lnTo>
                    <a:pt x="364" y="673"/>
                  </a:lnTo>
                  <a:lnTo>
                    <a:pt x="363" y="677"/>
                  </a:lnTo>
                  <a:lnTo>
                    <a:pt x="361" y="679"/>
                  </a:lnTo>
                  <a:lnTo>
                    <a:pt x="363" y="673"/>
                  </a:lnTo>
                  <a:lnTo>
                    <a:pt x="360" y="676"/>
                  </a:lnTo>
                  <a:lnTo>
                    <a:pt x="363" y="671"/>
                  </a:lnTo>
                  <a:lnTo>
                    <a:pt x="361" y="668"/>
                  </a:lnTo>
                  <a:lnTo>
                    <a:pt x="363" y="667"/>
                  </a:lnTo>
                  <a:lnTo>
                    <a:pt x="364" y="666"/>
                  </a:lnTo>
                  <a:lnTo>
                    <a:pt x="359" y="662"/>
                  </a:lnTo>
                  <a:lnTo>
                    <a:pt x="355" y="658"/>
                  </a:lnTo>
                  <a:lnTo>
                    <a:pt x="352" y="652"/>
                  </a:lnTo>
                  <a:lnTo>
                    <a:pt x="349" y="649"/>
                  </a:lnTo>
                  <a:lnTo>
                    <a:pt x="351" y="658"/>
                  </a:lnTo>
                  <a:lnTo>
                    <a:pt x="352" y="662"/>
                  </a:lnTo>
                  <a:lnTo>
                    <a:pt x="353" y="666"/>
                  </a:lnTo>
                  <a:lnTo>
                    <a:pt x="353" y="664"/>
                  </a:lnTo>
                  <a:lnTo>
                    <a:pt x="357" y="662"/>
                  </a:lnTo>
                  <a:lnTo>
                    <a:pt x="355" y="666"/>
                  </a:lnTo>
                  <a:lnTo>
                    <a:pt x="354" y="667"/>
                  </a:lnTo>
                  <a:lnTo>
                    <a:pt x="355" y="668"/>
                  </a:lnTo>
                  <a:lnTo>
                    <a:pt x="358" y="667"/>
                  </a:lnTo>
                  <a:lnTo>
                    <a:pt x="357" y="671"/>
                  </a:lnTo>
                  <a:lnTo>
                    <a:pt x="355" y="672"/>
                  </a:lnTo>
                  <a:lnTo>
                    <a:pt x="358" y="676"/>
                  </a:lnTo>
                  <a:lnTo>
                    <a:pt x="363" y="682"/>
                  </a:lnTo>
                  <a:lnTo>
                    <a:pt x="366" y="685"/>
                  </a:lnTo>
                  <a:lnTo>
                    <a:pt x="365" y="683"/>
                  </a:lnTo>
                  <a:lnTo>
                    <a:pt x="369" y="684"/>
                  </a:lnTo>
                  <a:lnTo>
                    <a:pt x="370" y="689"/>
                  </a:lnTo>
                  <a:lnTo>
                    <a:pt x="372" y="690"/>
                  </a:lnTo>
                  <a:lnTo>
                    <a:pt x="375" y="689"/>
                  </a:lnTo>
                  <a:lnTo>
                    <a:pt x="376" y="686"/>
                  </a:lnTo>
                  <a:lnTo>
                    <a:pt x="376" y="684"/>
                  </a:lnTo>
                  <a:lnTo>
                    <a:pt x="377" y="682"/>
                  </a:lnTo>
                  <a:lnTo>
                    <a:pt x="381" y="680"/>
                  </a:lnTo>
                  <a:lnTo>
                    <a:pt x="383" y="679"/>
                  </a:lnTo>
                  <a:lnTo>
                    <a:pt x="384" y="683"/>
                  </a:lnTo>
                  <a:lnTo>
                    <a:pt x="382" y="686"/>
                  </a:lnTo>
                  <a:lnTo>
                    <a:pt x="381" y="690"/>
                  </a:lnTo>
                  <a:lnTo>
                    <a:pt x="382" y="692"/>
                  </a:lnTo>
                  <a:lnTo>
                    <a:pt x="385" y="692"/>
                  </a:lnTo>
                  <a:lnTo>
                    <a:pt x="387" y="691"/>
                  </a:lnTo>
                  <a:lnTo>
                    <a:pt x="389" y="688"/>
                  </a:lnTo>
                  <a:lnTo>
                    <a:pt x="388" y="686"/>
                  </a:lnTo>
                  <a:lnTo>
                    <a:pt x="389" y="682"/>
                  </a:lnTo>
                  <a:lnTo>
                    <a:pt x="390" y="685"/>
                  </a:lnTo>
                  <a:lnTo>
                    <a:pt x="390" y="688"/>
                  </a:lnTo>
                  <a:lnTo>
                    <a:pt x="388" y="691"/>
                  </a:lnTo>
                  <a:lnTo>
                    <a:pt x="387" y="692"/>
                  </a:lnTo>
                  <a:lnTo>
                    <a:pt x="387" y="694"/>
                  </a:lnTo>
                  <a:lnTo>
                    <a:pt x="389" y="695"/>
                  </a:lnTo>
                  <a:lnTo>
                    <a:pt x="390" y="696"/>
                  </a:lnTo>
                  <a:lnTo>
                    <a:pt x="395" y="698"/>
                  </a:lnTo>
                  <a:lnTo>
                    <a:pt x="395" y="702"/>
                  </a:lnTo>
                  <a:lnTo>
                    <a:pt x="393" y="701"/>
                  </a:lnTo>
                  <a:lnTo>
                    <a:pt x="391" y="702"/>
                  </a:lnTo>
                  <a:lnTo>
                    <a:pt x="391" y="703"/>
                  </a:lnTo>
                  <a:lnTo>
                    <a:pt x="394" y="709"/>
                  </a:lnTo>
                  <a:lnTo>
                    <a:pt x="390" y="708"/>
                  </a:lnTo>
                  <a:lnTo>
                    <a:pt x="388" y="702"/>
                  </a:lnTo>
                  <a:lnTo>
                    <a:pt x="390" y="700"/>
                  </a:lnTo>
                  <a:lnTo>
                    <a:pt x="388" y="698"/>
                  </a:lnTo>
                  <a:lnTo>
                    <a:pt x="387" y="696"/>
                  </a:lnTo>
                  <a:lnTo>
                    <a:pt x="385" y="695"/>
                  </a:lnTo>
                  <a:lnTo>
                    <a:pt x="384" y="694"/>
                  </a:lnTo>
                  <a:lnTo>
                    <a:pt x="381" y="692"/>
                  </a:lnTo>
                  <a:lnTo>
                    <a:pt x="379" y="695"/>
                  </a:lnTo>
                  <a:lnTo>
                    <a:pt x="383" y="698"/>
                  </a:lnTo>
                  <a:lnTo>
                    <a:pt x="384" y="704"/>
                  </a:lnTo>
                  <a:lnTo>
                    <a:pt x="388" y="707"/>
                  </a:lnTo>
                  <a:lnTo>
                    <a:pt x="388" y="712"/>
                  </a:lnTo>
                  <a:lnTo>
                    <a:pt x="389" y="720"/>
                  </a:lnTo>
                  <a:lnTo>
                    <a:pt x="393" y="725"/>
                  </a:lnTo>
                  <a:lnTo>
                    <a:pt x="395" y="727"/>
                  </a:lnTo>
                  <a:lnTo>
                    <a:pt x="397" y="728"/>
                  </a:lnTo>
                  <a:lnTo>
                    <a:pt x="400" y="728"/>
                  </a:lnTo>
                  <a:lnTo>
                    <a:pt x="402" y="733"/>
                  </a:lnTo>
                  <a:lnTo>
                    <a:pt x="399" y="732"/>
                  </a:lnTo>
                  <a:lnTo>
                    <a:pt x="400" y="734"/>
                  </a:lnTo>
                  <a:lnTo>
                    <a:pt x="397" y="737"/>
                  </a:lnTo>
                  <a:lnTo>
                    <a:pt x="396" y="737"/>
                  </a:lnTo>
                  <a:lnTo>
                    <a:pt x="396" y="738"/>
                  </a:lnTo>
                  <a:lnTo>
                    <a:pt x="394" y="736"/>
                  </a:lnTo>
                  <a:lnTo>
                    <a:pt x="393" y="737"/>
                  </a:lnTo>
                  <a:lnTo>
                    <a:pt x="390" y="742"/>
                  </a:lnTo>
                  <a:lnTo>
                    <a:pt x="388" y="739"/>
                  </a:lnTo>
                  <a:lnTo>
                    <a:pt x="387" y="738"/>
                  </a:lnTo>
                  <a:lnTo>
                    <a:pt x="387" y="737"/>
                  </a:lnTo>
                  <a:lnTo>
                    <a:pt x="387" y="734"/>
                  </a:lnTo>
                  <a:lnTo>
                    <a:pt x="388" y="732"/>
                  </a:lnTo>
                  <a:lnTo>
                    <a:pt x="387" y="728"/>
                  </a:lnTo>
                  <a:lnTo>
                    <a:pt x="389" y="722"/>
                  </a:lnTo>
                  <a:lnTo>
                    <a:pt x="387" y="713"/>
                  </a:lnTo>
                  <a:lnTo>
                    <a:pt x="385" y="714"/>
                  </a:lnTo>
                  <a:lnTo>
                    <a:pt x="384" y="714"/>
                  </a:lnTo>
                  <a:lnTo>
                    <a:pt x="385" y="718"/>
                  </a:lnTo>
                  <a:lnTo>
                    <a:pt x="382" y="716"/>
                  </a:lnTo>
                  <a:lnTo>
                    <a:pt x="377" y="714"/>
                  </a:lnTo>
                  <a:lnTo>
                    <a:pt x="376" y="713"/>
                  </a:lnTo>
                  <a:lnTo>
                    <a:pt x="375" y="714"/>
                  </a:lnTo>
                  <a:lnTo>
                    <a:pt x="376" y="716"/>
                  </a:lnTo>
                  <a:lnTo>
                    <a:pt x="375" y="722"/>
                  </a:lnTo>
                  <a:lnTo>
                    <a:pt x="375" y="724"/>
                  </a:lnTo>
                  <a:lnTo>
                    <a:pt x="372" y="720"/>
                  </a:lnTo>
                  <a:lnTo>
                    <a:pt x="371" y="716"/>
                  </a:lnTo>
                  <a:lnTo>
                    <a:pt x="373" y="714"/>
                  </a:lnTo>
                  <a:lnTo>
                    <a:pt x="375" y="712"/>
                  </a:lnTo>
                  <a:lnTo>
                    <a:pt x="377" y="709"/>
                  </a:lnTo>
                  <a:lnTo>
                    <a:pt x="378" y="707"/>
                  </a:lnTo>
                  <a:lnTo>
                    <a:pt x="378" y="704"/>
                  </a:lnTo>
                  <a:lnTo>
                    <a:pt x="376" y="704"/>
                  </a:lnTo>
                  <a:lnTo>
                    <a:pt x="375" y="707"/>
                  </a:lnTo>
                  <a:lnTo>
                    <a:pt x="375" y="706"/>
                  </a:lnTo>
                  <a:lnTo>
                    <a:pt x="373" y="703"/>
                  </a:lnTo>
                  <a:lnTo>
                    <a:pt x="370" y="708"/>
                  </a:lnTo>
                  <a:lnTo>
                    <a:pt x="366" y="715"/>
                  </a:lnTo>
                  <a:lnTo>
                    <a:pt x="363" y="722"/>
                  </a:lnTo>
                  <a:lnTo>
                    <a:pt x="364" y="725"/>
                  </a:lnTo>
                  <a:lnTo>
                    <a:pt x="365" y="726"/>
                  </a:lnTo>
                  <a:lnTo>
                    <a:pt x="367" y="725"/>
                  </a:lnTo>
                  <a:lnTo>
                    <a:pt x="369" y="728"/>
                  </a:lnTo>
                  <a:lnTo>
                    <a:pt x="367" y="728"/>
                  </a:lnTo>
                  <a:lnTo>
                    <a:pt x="367" y="733"/>
                  </a:lnTo>
                  <a:lnTo>
                    <a:pt x="366" y="734"/>
                  </a:lnTo>
                  <a:lnTo>
                    <a:pt x="369" y="737"/>
                  </a:lnTo>
                  <a:lnTo>
                    <a:pt x="369" y="739"/>
                  </a:lnTo>
                  <a:lnTo>
                    <a:pt x="367" y="738"/>
                  </a:lnTo>
                  <a:lnTo>
                    <a:pt x="369" y="744"/>
                  </a:lnTo>
                  <a:lnTo>
                    <a:pt x="367" y="748"/>
                  </a:lnTo>
                  <a:lnTo>
                    <a:pt x="364" y="743"/>
                  </a:lnTo>
                  <a:lnTo>
                    <a:pt x="361" y="739"/>
                  </a:lnTo>
                  <a:lnTo>
                    <a:pt x="360" y="743"/>
                  </a:lnTo>
                  <a:lnTo>
                    <a:pt x="355" y="746"/>
                  </a:lnTo>
                  <a:lnTo>
                    <a:pt x="355" y="744"/>
                  </a:lnTo>
                  <a:lnTo>
                    <a:pt x="354" y="742"/>
                  </a:lnTo>
                  <a:lnTo>
                    <a:pt x="352" y="744"/>
                  </a:lnTo>
                  <a:lnTo>
                    <a:pt x="351" y="738"/>
                  </a:lnTo>
                  <a:lnTo>
                    <a:pt x="352" y="734"/>
                  </a:lnTo>
                  <a:lnTo>
                    <a:pt x="349" y="736"/>
                  </a:lnTo>
                  <a:lnTo>
                    <a:pt x="349" y="732"/>
                  </a:lnTo>
                  <a:lnTo>
                    <a:pt x="354" y="726"/>
                  </a:lnTo>
                  <a:lnTo>
                    <a:pt x="354" y="724"/>
                  </a:lnTo>
                  <a:lnTo>
                    <a:pt x="351" y="725"/>
                  </a:lnTo>
                  <a:lnTo>
                    <a:pt x="347" y="730"/>
                  </a:lnTo>
                  <a:lnTo>
                    <a:pt x="346" y="730"/>
                  </a:lnTo>
                  <a:lnTo>
                    <a:pt x="346" y="727"/>
                  </a:lnTo>
                  <a:lnTo>
                    <a:pt x="348" y="721"/>
                  </a:lnTo>
                  <a:lnTo>
                    <a:pt x="351" y="719"/>
                  </a:lnTo>
                  <a:lnTo>
                    <a:pt x="355" y="721"/>
                  </a:lnTo>
                  <a:lnTo>
                    <a:pt x="360" y="720"/>
                  </a:lnTo>
                  <a:lnTo>
                    <a:pt x="363" y="718"/>
                  </a:lnTo>
                  <a:lnTo>
                    <a:pt x="366" y="713"/>
                  </a:lnTo>
                  <a:lnTo>
                    <a:pt x="371" y="704"/>
                  </a:lnTo>
                  <a:lnTo>
                    <a:pt x="373" y="700"/>
                  </a:lnTo>
                  <a:lnTo>
                    <a:pt x="371" y="700"/>
                  </a:lnTo>
                  <a:lnTo>
                    <a:pt x="371" y="696"/>
                  </a:lnTo>
                  <a:lnTo>
                    <a:pt x="370" y="695"/>
                  </a:lnTo>
                  <a:lnTo>
                    <a:pt x="370" y="696"/>
                  </a:lnTo>
                  <a:lnTo>
                    <a:pt x="369" y="698"/>
                  </a:lnTo>
                  <a:lnTo>
                    <a:pt x="365" y="700"/>
                  </a:lnTo>
                  <a:lnTo>
                    <a:pt x="361" y="700"/>
                  </a:lnTo>
                  <a:lnTo>
                    <a:pt x="360" y="701"/>
                  </a:lnTo>
                  <a:lnTo>
                    <a:pt x="359" y="702"/>
                  </a:lnTo>
                  <a:lnTo>
                    <a:pt x="353" y="702"/>
                  </a:lnTo>
                  <a:lnTo>
                    <a:pt x="355" y="700"/>
                  </a:lnTo>
                  <a:lnTo>
                    <a:pt x="358" y="697"/>
                  </a:lnTo>
                  <a:lnTo>
                    <a:pt x="359" y="695"/>
                  </a:lnTo>
                  <a:lnTo>
                    <a:pt x="360" y="694"/>
                  </a:lnTo>
                  <a:lnTo>
                    <a:pt x="365" y="694"/>
                  </a:lnTo>
                  <a:lnTo>
                    <a:pt x="367" y="695"/>
                  </a:lnTo>
                  <a:lnTo>
                    <a:pt x="367" y="692"/>
                  </a:lnTo>
                  <a:lnTo>
                    <a:pt x="370" y="691"/>
                  </a:lnTo>
                  <a:lnTo>
                    <a:pt x="370" y="690"/>
                  </a:lnTo>
                  <a:lnTo>
                    <a:pt x="367" y="690"/>
                  </a:lnTo>
                  <a:lnTo>
                    <a:pt x="364" y="688"/>
                  </a:lnTo>
                  <a:lnTo>
                    <a:pt x="364" y="685"/>
                  </a:lnTo>
                  <a:lnTo>
                    <a:pt x="364" y="688"/>
                  </a:lnTo>
                  <a:lnTo>
                    <a:pt x="360" y="688"/>
                  </a:lnTo>
                  <a:lnTo>
                    <a:pt x="357" y="686"/>
                  </a:lnTo>
                  <a:lnTo>
                    <a:pt x="354" y="686"/>
                  </a:lnTo>
                  <a:lnTo>
                    <a:pt x="351" y="685"/>
                  </a:lnTo>
                  <a:lnTo>
                    <a:pt x="348" y="680"/>
                  </a:lnTo>
                  <a:lnTo>
                    <a:pt x="347" y="683"/>
                  </a:lnTo>
                  <a:lnTo>
                    <a:pt x="351" y="688"/>
                  </a:lnTo>
                  <a:lnTo>
                    <a:pt x="352" y="690"/>
                  </a:lnTo>
                  <a:lnTo>
                    <a:pt x="349" y="691"/>
                  </a:lnTo>
                  <a:lnTo>
                    <a:pt x="349" y="695"/>
                  </a:lnTo>
                  <a:lnTo>
                    <a:pt x="351" y="698"/>
                  </a:lnTo>
                  <a:lnTo>
                    <a:pt x="347" y="697"/>
                  </a:lnTo>
                  <a:lnTo>
                    <a:pt x="347" y="700"/>
                  </a:lnTo>
                  <a:lnTo>
                    <a:pt x="347" y="703"/>
                  </a:lnTo>
                  <a:lnTo>
                    <a:pt x="346" y="702"/>
                  </a:lnTo>
                  <a:lnTo>
                    <a:pt x="344" y="698"/>
                  </a:lnTo>
                  <a:lnTo>
                    <a:pt x="343" y="698"/>
                  </a:lnTo>
                  <a:lnTo>
                    <a:pt x="342" y="701"/>
                  </a:lnTo>
                  <a:lnTo>
                    <a:pt x="341" y="698"/>
                  </a:lnTo>
                  <a:lnTo>
                    <a:pt x="340" y="701"/>
                  </a:lnTo>
                  <a:lnTo>
                    <a:pt x="340" y="707"/>
                  </a:lnTo>
                  <a:lnTo>
                    <a:pt x="338" y="702"/>
                  </a:lnTo>
                  <a:lnTo>
                    <a:pt x="336" y="702"/>
                  </a:lnTo>
                  <a:lnTo>
                    <a:pt x="332" y="704"/>
                  </a:lnTo>
                  <a:lnTo>
                    <a:pt x="334" y="698"/>
                  </a:lnTo>
                  <a:lnTo>
                    <a:pt x="334" y="694"/>
                  </a:lnTo>
                  <a:lnTo>
                    <a:pt x="336" y="689"/>
                  </a:lnTo>
                  <a:lnTo>
                    <a:pt x="334" y="688"/>
                  </a:lnTo>
                  <a:lnTo>
                    <a:pt x="331" y="685"/>
                  </a:lnTo>
                  <a:lnTo>
                    <a:pt x="331" y="686"/>
                  </a:lnTo>
                  <a:lnTo>
                    <a:pt x="329" y="685"/>
                  </a:lnTo>
                  <a:lnTo>
                    <a:pt x="325" y="685"/>
                  </a:lnTo>
                  <a:lnTo>
                    <a:pt x="325" y="688"/>
                  </a:lnTo>
                  <a:lnTo>
                    <a:pt x="329" y="690"/>
                  </a:lnTo>
                  <a:lnTo>
                    <a:pt x="329" y="695"/>
                  </a:lnTo>
                  <a:lnTo>
                    <a:pt x="326" y="695"/>
                  </a:lnTo>
                  <a:lnTo>
                    <a:pt x="326" y="698"/>
                  </a:lnTo>
                  <a:lnTo>
                    <a:pt x="324" y="697"/>
                  </a:lnTo>
                  <a:lnTo>
                    <a:pt x="322" y="692"/>
                  </a:lnTo>
                  <a:lnTo>
                    <a:pt x="320" y="690"/>
                  </a:lnTo>
                  <a:lnTo>
                    <a:pt x="318" y="691"/>
                  </a:lnTo>
                  <a:lnTo>
                    <a:pt x="318" y="694"/>
                  </a:lnTo>
                  <a:lnTo>
                    <a:pt x="320" y="696"/>
                  </a:lnTo>
                  <a:lnTo>
                    <a:pt x="323" y="698"/>
                  </a:lnTo>
                  <a:lnTo>
                    <a:pt x="324" y="703"/>
                  </a:lnTo>
                  <a:lnTo>
                    <a:pt x="323" y="709"/>
                  </a:lnTo>
                  <a:lnTo>
                    <a:pt x="319" y="703"/>
                  </a:lnTo>
                  <a:lnTo>
                    <a:pt x="317" y="698"/>
                  </a:lnTo>
                  <a:lnTo>
                    <a:pt x="316" y="700"/>
                  </a:lnTo>
                  <a:lnTo>
                    <a:pt x="314" y="702"/>
                  </a:lnTo>
                  <a:lnTo>
                    <a:pt x="313" y="700"/>
                  </a:lnTo>
                  <a:lnTo>
                    <a:pt x="312" y="700"/>
                  </a:lnTo>
                  <a:lnTo>
                    <a:pt x="310" y="703"/>
                  </a:lnTo>
                  <a:lnTo>
                    <a:pt x="310" y="706"/>
                  </a:lnTo>
                  <a:lnTo>
                    <a:pt x="310" y="709"/>
                  </a:lnTo>
                  <a:lnTo>
                    <a:pt x="313" y="710"/>
                  </a:lnTo>
                  <a:lnTo>
                    <a:pt x="317" y="710"/>
                  </a:lnTo>
                  <a:lnTo>
                    <a:pt x="318" y="712"/>
                  </a:lnTo>
                  <a:lnTo>
                    <a:pt x="316" y="712"/>
                  </a:lnTo>
                  <a:lnTo>
                    <a:pt x="312" y="712"/>
                  </a:lnTo>
                  <a:lnTo>
                    <a:pt x="311" y="710"/>
                  </a:lnTo>
                  <a:lnTo>
                    <a:pt x="311" y="713"/>
                  </a:lnTo>
                  <a:lnTo>
                    <a:pt x="312" y="716"/>
                  </a:lnTo>
                  <a:lnTo>
                    <a:pt x="311" y="715"/>
                  </a:lnTo>
                  <a:lnTo>
                    <a:pt x="311" y="718"/>
                  </a:lnTo>
                  <a:lnTo>
                    <a:pt x="308" y="720"/>
                  </a:lnTo>
                  <a:lnTo>
                    <a:pt x="307" y="718"/>
                  </a:lnTo>
                  <a:lnTo>
                    <a:pt x="308" y="712"/>
                  </a:lnTo>
                  <a:lnTo>
                    <a:pt x="308" y="709"/>
                  </a:lnTo>
                  <a:lnTo>
                    <a:pt x="307" y="713"/>
                  </a:lnTo>
                  <a:lnTo>
                    <a:pt x="306" y="715"/>
                  </a:lnTo>
                  <a:lnTo>
                    <a:pt x="305" y="713"/>
                  </a:lnTo>
                  <a:lnTo>
                    <a:pt x="304" y="715"/>
                  </a:lnTo>
                  <a:lnTo>
                    <a:pt x="302" y="714"/>
                  </a:lnTo>
                  <a:lnTo>
                    <a:pt x="301" y="712"/>
                  </a:lnTo>
                  <a:lnTo>
                    <a:pt x="301" y="709"/>
                  </a:lnTo>
                  <a:lnTo>
                    <a:pt x="300" y="706"/>
                  </a:lnTo>
                  <a:lnTo>
                    <a:pt x="300" y="708"/>
                  </a:lnTo>
                  <a:lnTo>
                    <a:pt x="298" y="709"/>
                  </a:lnTo>
                  <a:lnTo>
                    <a:pt x="299" y="712"/>
                  </a:lnTo>
                  <a:lnTo>
                    <a:pt x="299" y="716"/>
                  </a:lnTo>
                  <a:lnTo>
                    <a:pt x="293" y="721"/>
                  </a:lnTo>
                  <a:lnTo>
                    <a:pt x="295" y="716"/>
                  </a:lnTo>
                  <a:lnTo>
                    <a:pt x="298" y="712"/>
                  </a:lnTo>
                  <a:lnTo>
                    <a:pt x="296" y="709"/>
                  </a:lnTo>
                  <a:lnTo>
                    <a:pt x="294" y="710"/>
                  </a:lnTo>
                  <a:lnTo>
                    <a:pt x="292" y="712"/>
                  </a:lnTo>
                  <a:lnTo>
                    <a:pt x="290" y="713"/>
                  </a:lnTo>
                  <a:lnTo>
                    <a:pt x="287" y="712"/>
                  </a:lnTo>
                  <a:lnTo>
                    <a:pt x="287" y="714"/>
                  </a:lnTo>
                  <a:lnTo>
                    <a:pt x="290" y="718"/>
                  </a:lnTo>
                  <a:lnTo>
                    <a:pt x="289" y="722"/>
                  </a:lnTo>
                  <a:lnTo>
                    <a:pt x="289" y="724"/>
                  </a:lnTo>
                  <a:lnTo>
                    <a:pt x="288" y="724"/>
                  </a:lnTo>
                  <a:lnTo>
                    <a:pt x="284" y="722"/>
                  </a:lnTo>
                  <a:lnTo>
                    <a:pt x="284" y="725"/>
                  </a:lnTo>
                  <a:lnTo>
                    <a:pt x="282" y="727"/>
                  </a:lnTo>
                  <a:lnTo>
                    <a:pt x="281" y="728"/>
                  </a:lnTo>
                  <a:lnTo>
                    <a:pt x="278" y="728"/>
                  </a:lnTo>
                  <a:lnTo>
                    <a:pt x="277" y="725"/>
                  </a:lnTo>
                  <a:lnTo>
                    <a:pt x="276" y="722"/>
                  </a:lnTo>
                  <a:lnTo>
                    <a:pt x="272" y="724"/>
                  </a:lnTo>
                  <a:lnTo>
                    <a:pt x="271" y="724"/>
                  </a:lnTo>
                  <a:lnTo>
                    <a:pt x="273" y="720"/>
                  </a:lnTo>
                  <a:lnTo>
                    <a:pt x="275" y="718"/>
                  </a:lnTo>
                  <a:lnTo>
                    <a:pt x="275" y="714"/>
                  </a:lnTo>
                  <a:lnTo>
                    <a:pt x="276" y="713"/>
                  </a:lnTo>
                  <a:lnTo>
                    <a:pt x="273" y="712"/>
                  </a:lnTo>
                  <a:lnTo>
                    <a:pt x="272" y="712"/>
                  </a:lnTo>
                  <a:lnTo>
                    <a:pt x="275" y="709"/>
                  </a:lnTo>
                  <a:lnTo>
                    <a:pt x="276" y="707"/>
                  </a:lnTo>
                  <a:lnTo>
                    <a:pt x="276" y="706"/>
                  </a:lnTo>
                  <a:lnTo>
                    <a:pt x="273" y="703"/>
                  </a:lnTo>
                  <a:lnTo>
                    <a:pt x="273" y="704"/>
                  </a:lnTo>
                  <a:lnTo>
                    <a:pt x="273" y="707"/>
                  </a:lnTo>
                  <a:lnTo>
                    <a:pt x="272" y="708"/>
                  </a:lnTo>
                  <a:lnTo>
                    <a:pt x="269" y="710"/>
                  </a:lnTo>
                  <a:lnTo>
                    <a:pt x="267" y="709"/>
                  </a:lnTo>
                  <a:lnTo>
                    <a:pt x="265" y="707"/>
                  </a:lnTo>
                  <a:lnTo>
                    <a:pt x="267" y="703"/>
                  </a:lnTo>
                  <a:lnTo>
                    <a:pt x="266" y="700"/>
                  </a:lnTo>
                  <a:lnTo>
                    <a:pt x="265" y="701"/>
                  </a:lnTo>
                  <a:lnTo>
                    <a:pt x="264" y="701"/>
                  </a:lnTo>
                  <a:lnTo>
                    <a:pt x="263" y="700"/>
                  </a:lnTo>
                  <a:lnTo>
                    <a:pt x="263" y="697"/>
                  </a:lnTo>
                  <a:lnTo>
                    <a:pt x="261" y="698"/>
                  </a:lnTo>
                  <a:lnTo>
                    <a:pt x="259" y="698"/>
                  </a:lnTo>
                  <a:lnTo>
                    <a:pt x="258" y="700"/>
                  </a:lnTo>
                  <a:lnTo>
                    <a:pt x="259" y="701"/>
                  </a:lnTo>
                  <a:lnTo>
                    <a:pt x="263" y="701"/>
                  </a:lnTo>
                  <a:lnTo>
                    <a:pt x="264" y="703"/>
                  </a:lnTo>
                  <a:lnTo>
                    <a:pt x="263" y="703"/>
                  </a:lnTo>
                  <a:lnTo>
                    <a:pt x="260" y="706"/>
                  </a:lnTo>
                  <a:lnTo>
                    <a:pt x="260" y="708"/>
                  </a:lnTo>
                  <a:lnTo>
                    <a:pt x="258" y="706"/>
                  </a:lnTo>
                  <a:lnTo>
                    <a:pt x="255" y="704"/>
                  </a:lnTo>
                  <a:lnTo>
                    <a:pt x="257" y="702"/>
                  </a:lnTo>
                  <a:lnTo>
                    <a:pt x="254" y="702"/>
                  </a:lnTo>
                  <a:lnTo>
                    <a:pt x="253" y="704"/>
                  </a:lnTo>
                  <a:lnTo>
                    <a:pt x="253" y="702"/>
                  </a:lnTo>
                  <a:lnTo>
                    <a:pt x="252" y="701"/>
                  </a:lnTo>
                  <a:lnTo>
                    <a:pt x="253" y="700"/>
                  </a:lnTo>
                  <a:lnTo>
                    <a:pt x="257" y="698"/>
                  </a:lnTo>
                  <a:lnTo>
                    <a:pt x="257" y="697"/>
                  </a:lnTo>
                  <a:lnTo>
                    <a:pt x="255" y="697"/>
                  </a:lnTo>
                  <a:lnTo>
                    <a:pt x="257" y="696"/>
                  </a:lnTo>
                  <a:lnTo>
                    <a:pt x="259" y="695"/>
                  </a:lnTo>
                  <a:lnTo>
                    <a:pt x="260" y="694"/>
                  </a:lnTo>
                  <a:lnTo>
                    <a:pt x="265" y="691"/>
                  </a:lnTo>
                  <a:lnTo>
                    <a:pt x="267" y="689"/>
                  </a:lnTo>
                  <a:lnTo>
                    <a:pt x="266" y="688"/>
                  </a:lnTo>
                  <a:lnTo>
                    <a:pt x="266" y="689"/>
                  </a:lnTo>
                  <a:lnTo>
                    <a:pt x="265" y="690"/>
                  </a:lnTo>
                  <a:lnTo>
                    <a:pt x="263" y="689"/>
                  </a:lnTo>
                  <a:lnTo>
                    <a:pt x="259" y="689"/>
                  </a:lnTo>
                  <a:lnTo>
                    <a:pt x="261" y="686"/>
                  </a:lnTo>
                  <a:lnTo>
                    <a:pt x="264" y="685"/>
                  </a:lnTo>
                  <a:lnTo>
                    <a:pt x="264" y="684"/>
                  </a:lnTo>
                  <a:lnTo>
                    <a:pt x="263" y="683"/>
                  </a:lnTo>
                  <a:lnTo>
                    <a:pt x="261" y="684"/>
                  </a:lnTo>
                  <a:lnTo>
                    <a:pt x="257" y="688"/>
                  </a:lnTo>
                  <a:lnTo>
                    <a:pt x="257" y="685"/>
                  </a:lnTo>
                  <a:lnTo>
                    <a:pt x="259" y="683"/>
                  </a:lnTo>
                  <a:lnTo>
                    <a:pt x="260" y="680"/>
                  </a:lnTo>
                  <a:lnTo>
                    <a:pt x="257" y="682"/>
                  </a:lnTo>
                  <a:lnTo>
                    <a:pt x="255" y="684"/>
                  </a:lnTo>
                  <a:lnTo>
                    <a:pt x="251" y="686"/>
                  </a:lnTo>
                  <a:lnTo>
                    <a:pt x="251" y="682"/>
                  </a:lnTo>
                  <a:lnTo>
                    <a:pt x="249" y="682"/>
                  </a:lnTo>
                  <a:lnTo>
                    <a:pt x="248" y="683"/>
                  </a:lnTo>
                  <a:lnTo>
                    <a:pt x="248" y="686"/>
                  </a:lnTo>
                  <a:lnTo>
                    <a:pt x="245" y="683"/>
                  </a:lnTo>
                  <a:lnTo>
                    <a:pt x="242" y="682"/>
                  </a:lnTo>
                  <a:lnTo>
                    <a:pt x="241" y="684"/>
                  </a:lnTo>
                  <a:lnTo>
                    <a:pt x="240" y="685"/>
                  </a:lnTo>
                  <a:lnTo>
                    <a:pt x="237" y="683"/>
                  </a:lnTo>
                  <a:lnTo>
                    <a:pt x="235" y="682"/>
                  </a:lnTo>
                  <a:lnTo>
                    <a:pt x="235" y="678"/>
                  </a:lnTo>
                  <a:lnTo>
                    <a:pt x="236" y="677"/>
                  </a:lnTo>
                  <a:lnTo>
                    <a:pt x="239" y="676"/>
                  </a:lnTo>
                  <a:lnTo>
                    <a:pt x="235" y="676"/>
                  </a:lnTo>
                  <a:lnTo>
                    <a:pt x="233" y="678"/>
                  </a:lnTo>
                  <a:lnTo>
                    <a:pt x="231" y="682"/>
                  </a:lnTo>
                  <a:lnTo>
                    <a:pt x="230" y="683"/>
                  </a:lnTo>
                  <a:lnTo>
                    <a:pt x="230" y="685"/>
                  </a:lnTo>
                  <a:lnTo>
                    <a:pt x="233" y="688"/>
                  </a:lnTo>
                  <a:lnTo>
                    <a:pt x="235" y="689"/>
                  </a:lnTo>
                  <a:lnTo>
                    <a:pt x="237" y="691"/>
                  </a:lnTo>
                  <a:lnTo>
                    <a:pt x="241" y="692"/>
                  </a:lnTo>
                  <a:lnTo>
                    <a:pt x="240" y="694"/>
                  </a:lnTo>
                  <a:lnTo>
                    <a:pt x="239" y="695"/>
                  </a:lnTo>
                  <a:lnTo>
                    <a:pt x="236" y="695"/>
                  </a:lnTo>
                  <a:lnTo>
                    <a:pt x="236" y="696"/>
                  </a:lnTo>
                  <a:lnTo>
                    <a:pt x="241" y="697"/>
                  </a:lnTo>
                  <a:lnTo>
                    <a:pt x="243" y="702"/>
                  </a:lnTo>
                  <a:lnTo>
                    <a:pt x="241" y="702"/>
                  </a:lnTo>
                  <a:lnTo>
                    <a:pt x="237" y="700"/>
                  </a:lnTo>
                  <a:lnTo>
                    <a:pt x="236" y="701"/>
                  </a:lnTo>
                  <a:lnTo>
                    <a:pt x="235" y="702"/>
                  </a:lnTo>
                  <a:lnTo>
                    <a:pt x="229" y="700"/>
                  </a:lnTo>
                  <a:lnTo>
                    <a:pt x="228" y="700"/>
                  </a:lnTo>
                  <a:lnTo>
                    <a:pt x="227" y="701"/>
                  </a:lnTo>
                  <a:lnTo>
                    <a:pt x="224" y="707"/>
                  </a:lnTo>
                  <a:lnTo>
                    <a:pt x="223" y="707"/>
                  </a:lnTo>
                  <a:lnTo>
                    <a:pt x="223" y="704"/>
                  </a:lnTo>
                  <a:lnTo>
                    <a:pt x="220" y="700"/>
                  </a:lnTo>
                  <a:lnTo>
                    <a:pt x="220" y="696"/>
                  </a:lnTo>
                  <a:lnTo>
                    <a:pt x="219" y="700"/>
                  </a:lnTo>
                  <a:lnTo>
                    <a:pt x="218" y="703"/>
                  </a:lnTo>
                  <a:lnTo>
                    <a:pt x="219" y="704"/>
                  </a:lnTo>
                  <a:lnTo>
                    <a:pt x="217" y="703"/>
                  </a:lnTo>
                  <a:lnTo>
                    <a:pt x="214" y="701"/>
                  </a:lnTo>
                  <a:lnTo>
                    <a:pt x="216" y="704"/>
                  </a:lnTo>
                  <a:lnTo>
                    <a:pt x="216" y="708"/>
                  </a:lnTo>
                  <a:lnTo>
                    <a:pt x="216" y="710"/>
                  </a:lnTo>
                  <a:lnTo>
                    <a:pt x="218" y="712"/>
                  </a:lnTo>
                  <a:lnTo>
                    <a:pt x="220" y="713"/>
                  </a:lnTo>
                  <a:lnTo>
                    <a:pt x="220" y="715"/>
                  </a:lnTo>
                  <a:lnTo>
                    <a:pt x="220" y="719"/>
                  </a:lnTo>
                  <a:lnTo>
                    <a:pt x="222" y="719"/>
                  </a:lnTo>
                  <a:lnTo>
                    <a:pt x="223" y="718"/>
                  </a:lnTo>
                  <a:lnTo>
                    <a:pt x="223" y="712"/>
                  </a:lnTo>
                  <a:lnTo>
                    <a:pt x="224" y="710"/>
                  </a:lnTo>
                  <a:lnTo>
                    <a:pt x="227" y="715"/>
                  </a:lnTo>
                  <a:lnTo>
                    <a:pt x="228" y="720"/>
                  </a:lnTo>
                  <a:lnTo>
                    <a:pt x="224" y="725"/>
                  </a:lnTo>
                  <a:lnTo>
                    <a:pt x="224" y="722"/>
                  </a:lnTo>
                  <a:lnTo>
                    <a:pt x="222" y="720"/>
                  </a:lnTo>
                  <a:lnTo>
                    <a:pt x="223" y="725"/>
                  </a:lnTo>
                  <a:lnTo>
                    <a:pt x="222" y="726"/>
                  </a:lnTo>
                  <a:lnTo>
                    <a:pt x="219" y="724"/>
                  </a:lnTo>
                  <a:lnTo>
                    <a:pt x="216" y="722"/>
                  </a:lnTo>
                  <a:lnTo>
                    <a:pt x="218" y="721"/>
                  </a:lnTo>
                  <a:lnTo>
                    <a:pt x="219" y="719"/>
                  </a:lnTo>
                  <a:lnTo>
                    <a:pt x="219" y="718"/>
                  </a:lnTo>
                  <a:lnTo>
                    <a:pt x="217" y="719"/>
                  </a:lnTo>
                  <a:lnTo>
                    <a:pt x="214" y="720"/>
                  </a:lnTo>
                  <a:lnTo>
                    <a:pt x="214" y="716"/>
                  </a:lnTo>
                  <a:lnTo>
                    <a:pt x="212" y="715"/>
                  </a:lnTo>
                  <a:lnTo>
                    <a:pt x="206" y="716"/>
                  </a:lnTo>
                  <a:lnTo>
                    <a:pt x="207" y="713"/>
                  </a:lnTo>
                  <a:lnTo>
                    <a:pt x="210" y="710"/>
                  </a:lnTo>
                  <a:lnTo>
                    <a:pt x="213" y="710"/>
                  </a:lnTo>
                  <a:lnTo>
                    <a:pt x="213" y="709"/>
                  </a:lnTo>
                  <a:lnTo>
                    <a:pt x="210" y="709"/>
                  </a:lnTo>
                  <a:lnTo>
                    <a:pt x="210" y="708"/>
                  </a:lnTo>
                  <a:lnTo>
                    <a:pt x="211" y="706"/>
                  </a:lnTo>
                  <a:lnTo>
                    <a:pt x="210" y="703"/>
                  </a:lnTo>
                  <a:lnTo>
                    <a:pt x="210" y="702"/>
                  </a:lnTo>
                  <a:lnTo>
                    <a:pt x="208" y="701"/>
                  </a:lnTo>
                  <a:lnTo>
                    <a:pt x="207" y="703"/>
                  </a:lnTo>
                  <a:lnTo>
                    <a:pt x="206" y="703"/>
                  </a:lnTo>
                  <a:lnTo>
                    <a:pt x="205" y="706"/>
                  </a:lnTo>
                  <a:lnTo>
                    <a:pt x="205" y="709"/>
                  </a:lnTo>
                  <a:lnTo>
                    <a:pt x="202" y="706"/>
                  </a:lnTo>
                  <a:lnTo>
                    <a:pt x="200" y="702"/>
                  </a:lnTo>
                  <a:lnTo>
                    <a:pt x="200" y="700"/>
                  </a:lnTo>
                  <a:lnTo>
                    <a:pt x="198" y="697"/>
                  </a:lnTo>
                  <a:lnTo>
                    <a:pt x="200" y="695"/>
                  </a:lnTo>
                  <a:lnTo>
                    <a:pt x="200" y="692"/>
                  </a:lnTo>
                  <a:lnTo>
                    <a:pt x="198" y="694"/>
                  </a:lnTo>
                  <a:lnTo>
                    <a:pt x="198" y="692"/>
                  </a:lnTo>
                  <a:lnTo>
                    <a:pt x="196" y="691"/>
                  </a:lnTo>
                  <a:lnTo>
                    <a:pt x="194" y="691"/>
                  </a:lnTo>
                  <a:lnTo>
                    <a:pt x="193" y="690"/>
                  </a:lnTo>
                  <a:lnTo>
                    <a:pt x="192" y="689"/>
                  </a:lnTo>
                  <a:lnTo>
                    <a:pt x="192" y="686"/>
                  </a:lnTo>
                  <a:lnTo>
                    <a:pt x="190" y="690"/>
                  </a:lnTo>
                  <a:lnTo>
                    <a:pt x="192" y="691"/>
                  </a:lnTo>
                  <a:lnTo>
                    <a:pt x="195" y="692"/>
                  </a:lnTo>
                  <a:lnTo>
                    <a:pt x="194" y="695"/>
                  </a:lnTo>
                  <a:lnTo>
                    <a:pt x="193" y="696"/>
                  </a:lnTo>
                  <a:lnTo>
                    <a:pt x="193" y="698"/>
                  </a:lnTo>
                  <a:lnTo>
                    <a:pt x="190" y="701"/>
                  </a:lnTo>
                  <a:lnTo>
                    <a:pt x="194" y="701"/>
                  </a:lnTo>
                  <a:lnTo>
                    <a:pt x="196" y="701"/>
                  </a:lnTo>
                  <a:lnTo>
                    <a:pt x="198" y="704"/>
                  </a:lnTo>
                  <a:lnTo>
                    <a:pt x="196" y="707"/>
                  </a:lnTo>
                  <a:lnTo>
                    <a:pt x="195" y="707"/>
                  </a:lnTo>
                  <a:lnTo>
                    <a:pt x="194" y="708"/>
                  </a:lnTo>
                  <a:lnTo>
                    <a:pt x="193" y="709"/>
                  </a:lnTo>
                  <a:lnTo>
                    <a:pt x="190" y="710"/>
                  </a:lnTo>
                  <a:lnTo>
                    <a:pt x="189" y="709"/>
                  </a:lnTo>
                  <a:lnTo>
                    <a:pt x="189" y="704"/>
                  </a:lnTo>
                  <a:lnTo>
                    <a:pt x="188" y="703"/>
                  </a:lnTo>
                  <a:lnTo>
                    <a:pt x="187" y="707"/>
                  </a:lnTo>
                  <a:lnTo>
                    <a:pt x="186" y="712"/>
                  </a:lnTo>
                  <a:lnTo>
                    <a:pt x="186" y="708"/>
                  </a:lnTo>
                  <a:lnTo>
                    <a:pt x="184" y="709"/>
                  </a:lnTo>
                  <a:lnTo>
                    <a:pt x="182" y="712"/>
                  </a:lnTo>
                  <a:lnTo>
                    <a:pt x="182" y="707"/>
                  </a:lnTo>
                  <a:lnTo>
                    <a:pt x="181" y="704"/>
                  </a:lnTo>
                  <a:lnTo>
                    <a:pt x="180" y="704"/>
                  </a:lnTo>
                  <a:lnTo>
                    <a:pt x="178" y="706"/>
                  </a:lnTo>
                  <a:lnTo>
                    <a:pt x="178" y="707"/>
                  </a:lnTo>
                  <a:lnTo>
                    <a:pt x="180" y="709"/>
                  </a:lnTo>
                  <a:lnTo>
                    <a:pt x="177" y="713"/>
                  </a:lnTo>
                  <a:lnTo>
                    <a:pt x="175" y="715"/>
                  </a:lnTo>
                  <a:lnTo>
                    <a:pt x="174" y="713"/>
                  </a:lnTo>
                  <a:lnTo>
                    <a:pt x="171" y="710"/>
                  </a:lnTo>
                  <a:lnTo>
                    <a:pt x="170" y="714"/>
                  </a:lnTo>
                  <a:lnTo>
                    <a:pt x="171" y="718"/>
                  </a:lnTo>
                  <a:lnTo>
                    <a:pt x="172" y="718"/>
                  </a:lnTo>
                  <a:lnTo>
                    <a:pt x="176" y="718"/>
                  </a:lnTo>
                  <a:lnTo>
                    <a:pt x="177" y="720"/>
                  </a:lnTo>
                  <a:lnTo>
                    <a:pt x="178" y="720"/>
                  </a:lnTo>
                  <a:lnTo>
                    <a:pt x="180" y="716"/>
                  </a:lnTo>
                  <a:lnTo>
                    <a:pt x="181" y="712"/>
                  </a:lnTo>
                  <a:lnTo>
                    <a:pt x="181" y="714"/>
                  </a:lnTo>
                  <a:lnTo>
                    <a:pt x="182" y="714"/>
                  </a:lnTo>
                  <a:lnTo>
                    <a:pt x="187" y="715"/>
                  </a:lnTo>
                  <a:lnTo>
                    <a:pt x="184" y="719"/>
                  </a:lnTo>
                  <a:lnTo>
                    <a:pt x="182" y="720"/>
                  </a:lnTo>
                  <a:lnTo>
                    <a:pt x="182" y="721"/>
                  </a:lnTo>
                  <a:lnTo>
                    <a:pt x="183" y="722"/>
                  </a:lnTo>
                  <a:lnTo>
                    <a:pt x="181" y="724"/>
                  </a:lnTo>
                  <a:lnTo>
                    <a:pt x="180" y="722"/>
                  </a:lnTo>
                  <a:lnTo>
                    <a:pt x="175" y="721"/>
                  </a:lnTo>
                  <a:lnTo>
                    <a:pt x="175" y="722"/>
                  </a:lnTo>
                  <a:lnTo>
                    <a:pt x="176" y="725"/>
                  </a:lnTo>
                  <a:lnTo>
                    <a:pt x="174" y="727"/>
                  </a:lnTo>
                  <a:lnTo>
                    <a:pt x="174" y="730"/>
                  </a:lnTo>
                  <a:lnTo>
                    <a:pt x="171" y="726"/>
                  </a:lnTo>
                  <a:lnTo>
                    <a:pt x="169" y="721"/>
                  </a:lnTo>
                  <a:lnTo>
                    <a:pt x="166" y="721"/>
                  </a:lnTo>
                  <a:lnTo>
                    <a:pt x="164" y="724"/>
                  </a:lnTo>
                  <a:lnTo>
                    <a:pt x="165" y="720"/>
                  </a:lnTo>
                  <a:lnTo>
                    <a:pt x="163" y="722"/>
                  </a:lnTo>
                  <a:lnTo>
                    <a:pt x="161" y="726"/>
                  </a:lnTo>
                  <a:lnTo>
                    <a:pt x="160" y="725"/>
                  </a:lnTo>
                  <a:lnTo>
                    <a:pt x="155" y="728"/>
                  </a:lnTo>
                  <a:lnTo>
                    <a:pt x="154" y="731"/>
                  </a:lnTo>
                  <a:lnTo>
                    <a:pt x="152" y="728"/>
                  </a:lnTo>
                  <a:lnTo>
                    <a:pt x="149" y="727"/>
                  </a:lnTo>
                  <a:lnTo>
                    <a:pt x="146" y="731"/>
                  </a:lnTo>
                  <a:lnTo>
                    <a:pt x="145" y="734"/>
                  </a:lnTo>
                  <a:lnTo>
                    <a:pt x="142" y="730"/>
                  </a:lnTo>
                  <a:lnTo>
                    <a:pt x="140" y="726"/>
                  </a:lnTo>
                  <a:lnTo>
                    <a:pt x="139" y="724"/>
                  </a:lnTo>
                  <a:lnTo>
                    <a:pt x="137" y="725"/>
                  </a:lnTo>
                  <a:lnTo>
                    <a:pt x="139" y="721"/>
                  </a:lnTo>
                  <a:lnTo>
                    <a:pt x="142" y="716"/>
                  </a:lnTo>
                  <a:lnTo>
                    <a:pt x="146" y="715"/>
                  </a:lnTo>
                  <a:lnTo>
                    <a:pt x="148" y="716"/>
                  </a:lnTo>
                  <a:lnTo>
                    <a:pt x="151" y="716"/>
                  </a:lnTo>
                  <a:lnTo>
                    <a:pt x="149" y="714"/>
                  </a:lnTo>
                  <a:lnTo>
                    <a:pt x="148" y="713"/>
                  </a:lnTo>
                  <a:lnTo>
                    <a:pt x="146" y="714"/>
                  </a:lnTo>
                  <a:lnTo>
                    <a:pt x="141" y="714"/>
                  </a:lnTo>
                  <a:lnTo>
                    <a:pt x="139" y="713"/>
                  </a:lnTo>
                  <a:lnTo>
                    <a:pt x="136" y="713"/>
                  </a:lnTo>
                  <a:lnTo>
                    <a:pt x="131" y="715"/>
                  </a:lnTo>
                  <a:lnTo>
                    <a:pt x="127" y="720"/>
                  </a:lnTo>
                  <a:lnTo>
                    <a:pt x="127" y="716"/>
                  </a:lnTo>
                  <a:lnTo>
                    <a:pt x="128" y="713"/>
                  </a:lnTo>
                  <a:lnTo>
                    <a:pt x="130" y="709"/>
                  </a:lnTo>
                  <a:lnTo>
                    <a:pt x="134" y="709"/>
                  </a:lnTo>
                  <a:lnTo>
                    <a:pt x="136" y="709"/>
                  </a:lnTo>
                  <a:lnTo>
                    <a:pt x="141" y="707"/>
                  </a:lnTo>
                  <a:lnTo>
                    <a:pt x="135" y="706"/>
                  </a:lnTo>
                  <a:lnTo>
                    <a:pt x="130" y="707"/>
                  </a:lnTo>
                  <a:lnTo>
                    <a:pt x="127" y="707"/>
                  </a:lnTo>
                  <a:lnTo>
                    <a:pt x="125" y="708"/>
                  </a:lnTo>
                  <a:lnTo>
                    <a:pt x="124" y="709"/>
                  </a:lnTo>
                  <a:lnTo>
                    <a:pt x="125" y="707"/>
                  </a:lnTo>
                  <a:lnTo>
                    <a:pt x="122" y="708"/>
                  </a:lnTo>
                  <a:lnTo>
                    <a:pt x="121" y="709"/>
                  </a:lnTo>
                  <a:lnTo>
                    <a:pt x="122" y="706"/>
                  </a:lnTo>
                  <a:lnTo>
                    <a:pt x="124" y="702"/>
                  </a:lnTo>
                  <a:lnTo>
                    <a:pt x="133" y="702"/>
                  </a:lnTo>
                  <a:lnTo>
                    <a:pt x="136" y="703"/>
                  </a:lnTo>
                  <a:lnTo>
                    <a:pt x="140" y="706"/>
                  </a:lnTo>
                  <a:lnTo>
                    <a:pt x="143" y="706"/>
                  </a:lnTo>
                  <a:lnTo>
                    <a:pt x="147" y="703"/>
                  </a:lnTo>
                  <a:lnTo>
                    <a:pt x="153" y="702"/>
                  </a:lnTo>
                  <a:lnTo>
                    <a:pt x="154" y="701"/>
                  </a:lnTo>
                  <a:lnTo>
                    <a:pt x="153" y="701"/>
                  </a:lnTo>
                  <a:lnTo>
                    <a:pt x="152" y="702"/>
                  </a:lnTo>
                  <a:lnTo>
                    <a:pt x="149" y="701"/>
                  </a:lnTo>
                  <a:lnTo>
                    <a:pt x="146" y="702"/>
                  </a:lnTo>
                  <a:lnTo>
                    <a:pt x="143" y="703"/>
                  </a:lnTo>
                  <a:lnTo>
                    <a:pt x="137" y="702"/>
                  </a:lnTo>
                  <a:lnTo>
                    <a:pt x="139" y="700"/>
                  </a:lnTo>
                  <a:lnTo>
                    <a:pt x="136" y="700"/>
                  </a:lnTo>
                  <a:lnTo>
                    <a:pt x="137" y="697"/>
                  </a:lnTo>
                  <a:lnTo>
                    <a:pt x="134" y="698"/>
                  </a:lnTo>
                  <a:lnTo>
                    <a:pt x="130" y="698"/>
                  </a:lnTo>
                  <a:lnTo>
                    <a:pt x="127" y="698"/>
                  </a:lnTo>
                  <a:lnTo>
                    <a:pt x="121" y="700"/>
                  </a:lnTo>
                  <a:lnTo>
                    <a:pt x="121" y="696"/>
                  </a:lnTo>
                  <a:lnTo>
                    <a:pt x="122" y="694"/>
                  </a:lnTo>
                  <a:lnTo>
                    <a:pt x="121" y="692"/>
                  </a:lnTo>
                  <a:lnTo>
                    <a:pt x="118" y="691"/>
                  </a:lnTo>
                  <a:lnTo>
                    <a:pt x="118" y="688"/>
                  </a:lnTo>
                  <a:lnTo>
                    <a:pt x="116" y="689"/>
                  </a:lnTo>
                  <a:lnTo>
                    <a:pt x="115" y="686"/>
                  </a:lnTo>
                  <a:lnTo>
                    <a:pt x="113" y="688"/>
                  </a:lnTo>
                  <a:lnTo>
                    <a:pt x="112" y="689"/>
                  </a:lnTo>
                  <a:lnTo>
                    <a:pt x="110" y="688"/>
                  </a:lnTo>
                  <a:lnTo>
                    <a:pt x="107" y="689"/>
                  </a:lnTo>
                  <a:lnTo>
                    <a:pt x="105" y="695"/>
                  </a:lnTo>
                  <a:lnTo>
                    <a:pt x="101" y="702"/>
                  </a:lnTo>
                  <a:lnTo>
                    <a:pt x="99" y="706"/>
                  </a:lnTo>
                  <a:lnTo>
                    <a:pt x="98" y="702"/>
                  </a:lnTo>
                  <a:lnTo>
                    <a:pt x="95" y="698"/>
                  </a:lnTo>
                  <a:lnTo>
                    <a:pt x="93" y="700"/>
                  </a:lnTo>
                  <a:lnTo>
                    <a:pt x="92" y="701"/>
                  </a:lnTo>
                  <a:lnTo>
                    <a:pt x="93" y="703"/>
                  </a:lnTo>
                  <a:lnTo>
                    <a:pt x="92" y="704"/>
                  </a:lnTo>
                  <a:lnTo>
                    <a:pt x="92" y="707"/>
                  </a:lnTo>
                  <a:lnTo>
                    <a:pt x="89" y="708"/>
                  </a:lnTo>
                  <a:lnTo>
                    <a:pt x="93" y="708"/>
                  </a:lnTo>
                  <a:lnTo>
                    <a:pt x="95" y="709"/>
                  </a:lnTo>
                  <a:lnTo>
                    <a:pt x="95" y="710"/>
                  </a:lnTo>
                  <a:lnTo>
                    <a:pt x="94" y="716"/>
                  </a:lnTo>
                  <a:lnTo>
                    <a:pt x="92" y="715"/>
                  </a:lnTo>
                  <a:lnTo>
                    <a:pt x="87" y="714"/>
                  </a:lnTo>
                  <a:lnTo>
                    <a:pt x="86" y="712"/>
                  </a:lnTo>
                  <a:lnTo>
                    <a:pt x="84" y="712"/>
                  </a:lnTo>
                  <a:lnTo>
                    <a:pt x="86" y="716"/>
                  </a:lnTo>
                  <a:lnTo>
                    <a:pt x="82" y="713"/>
                  </a:lnTo>
                  <a:lnTo>
                    <a:pt x="81" y="710"/>
                  </a:lnTo>
                  <a:lnTo>
                    <a:pt x="78" y="713"/>
                  </a:lnTo>
                  <a:lnTo>
                    <a:pt x="78" y="715"/>
                  </a:lnTo>
                  <a:lnTo>
                    <a:pt x="75" y="716"/>
                  </a:lnTo>
                  <a:lnTo>
                    <a:pt x="72" y="716"/>
                  </a:lnTo>
                  <a:lnTo>
                    <a:pt x="71" y="716"/>
                  </a:lnTo>
                  <a:lnTo>
                    <a:pt x="69" y="720"/>
                  </a:lnTo>
                  <a:lnTo>
                    <a:pt x="66" y="724"/>
                  </a:lnTo>
                  <a:lnTo>
                    <a:pt x="65" y="721"/>
                  </a:lnTo>
                  <a:lnTo>
                    <a:pt x="62" y="721"/>
                  </a:lnTo>
                  <a:lnTo>
                    <a:pt x="59" y="719"/>
                  </a:lnTo>
                  <a:lnTo>
                    <a:pt x="53" y="722"/>
                  </a:lnTo>
                  <a:lnTo>
                    <a:pt x="48" y="724"/>
                  </a:lnTo>
                  <a:lnTo>
                    <a:pt x="47" y="727"/>
                  </a:lnTo>
                  <a:lnTo>
                    <a:pt x="46" y="730"/>
                  </a:lnTo>
                  <a:lnTo>
                    <a:pt x="45" y="732"/>
                  </a:lnTo>
                  <a:lnTo>
                    <a:pt x="42" y="731"/>
                  </a:lnTo>
                  <a:lnTo>
                    <a:pt x="41" y="728"/>
                  </a:lnTo>
                  <a:lnTo>
                    <a:pt x="42" y="727"/>
                  </a:lnTo>
                  <a:lnTo>
                    <a:pt x="39" y="727"/>
                  </a:lnTo>
                  <a:lnTo>
                    <a:pt x="37" y="727"/>
                  </a:lnTo>
                  <a:lnTo>
                    <a:pt x="40" y="725"/>
                  </a:lnTo>
                  <a:lnTo>
                    <a:pt x="37" y="726"/>
                  </a:lnTo>
                  <a:lnTo>
                    <a:pt x="37" y="722"/>
                  </a:lnTo>
                  <a:lnTo>
                    <a:pt x="36" y="725"/>
                  </a:lnTo>
                  <a:lnTo>
                    <a:pt x="36" y="724"/>
                  </a:lnTo>
                  <a:lnTo>
                    <a:pt x="31" y="724"/>
                  </a:lnTo>
                  <a:lnTo>
                    <a:pt x="27" y="726"/>
                  </a:lnTo>
                  <a:lnTo>
                    <a:pt x="27" y="725"/>
                  </a:lnTo>
                  <a:lnTo>
                    <a:pt x="23" y="727"/>
                  </a:lnTo>
                  <a:lnTo>
                    <a:pt x="19" y="728"/>
                  </a:lnTo>
                  <a:lnTo>
                    <a:pt x="23" y="724"/>
                  </a:lnTo>
                  <a:lnTo>
                    <a:pt x="23" y="722"/>
                  </a:lnTo>
                  <a:lnTo>
                    <a:pt x="21" y="722"/>
                  </a:lnTo>
                  <a:lnTo>
                    <a:pt x="24" y="716"/>
                  </a:lnTo>
                  <a:lnTo>
                    <a:pt x="28" y="712"/>
                  </a:lnTo>
                  <a:lnTo>
                    <a:pt x="31" y="710"/>
                  </a:lnTo>
                  <a:lnTo>
                    <a:pt x="29" y="709"/>
                  </a:lnTo>
                  <a:lnTo>
                    <a:pt x="22" y="714"/>
                  </a:lnTo>
                  <a:lnTo>
                    <a:pt x="19" y="719"/>
                  </a:lnTo>
                  <a:lnTo>
                    <a:pt x="24" y="710"/>
                  </a:lnTo>
                  <a:lnTo>
                    <a:pt x="23" y="706"/>
                  </a:lnTo>
                  <a:lnTo>
                    <a:pt x="22" y="703"/>
                  </a:lnTo>
                  <a:lnTo>
                    <a:pt x="27" y="698"/>
                  </a:lnTo>
                  <a:lnTo>
                    <a:pt x="23" y="698"/>
                  </a:lnTo>
                  <a:lnTo>
                    <a:pt x="21" y="701"/>
                  </a:lnTo>
                  <a:lnTo>
                    <a:pt x="16" y="703"/>
                  </a:lnTo>
                  <a:lnTo>
                    <a:pt x="15" y="701"/>
                  </a:lnTo>
                  <a:lnTo>
                    <a:pt x="15" y="695"/>
                  </a:lnTo>
                  <a:lnTo>
                    <a:pt x="17" y="691"/>
                  </a:lnTo>
                  <a:lnTo>
                    <a:pt x="19" y="690"/>
                  </a:lnTo>
                  <a:lnTo>
                    <a:pt x="22" y="691"/>
                  </a:lnTo>
                  <a:lnTo>
                    <a:pt x="25" y="690"/>
                  </a:lnTo>
                  <a:lnTo>
                    <a:pt x="30" y="688"/>
                  </a:lnTo>
                  <a:lnTo>
                    <a:pt x="33" y="686"/>
                  </a:lnTo>
                  <a:lnTo>
                    <a:pt x="35" y="684"/>
                  </a:lnTo>
                  <a:lnTo>
                    <a:pt x="36" y="684"/>
                  </a:lnTo>
                  <a:lnTo>
                    <a:pt x="37" y="689"/>
                  </a:lnTo>
                  <a:lnTo>
                    <a:pt x="39" y="686"/>
                  </a:lnTo>
                  <a:lnTo>
                    <a:pt x="42" y="686"/>
                  </a:lnTo>
                  <a:lnTo>
                    <a:pt x="45" y="685"/>
                  </a:lnTo>
                  <a:lnTo>
                    <a:pt x="52" y="682"/>
                  </a:lnTo>
                  <a:lnTo>
                    <a:pt x="58" y="683"/>
                  </a:lnTo>
                  <a:lnTo>
                    <a:pt x="54" y="684"/>
                  </a:lnTo>
                  <a:lnTo>
                    <a:pt x="52" y="686"/>
                  </a:lnTo>
                  <a:lnTo>
                    <a:pt x="48" y="688"/>
                  </a:lnTo>
                  <a:lnTo>
                    <a:pt x="48" y="691"/>
                  </a:lnTo>
                  <a:lnTo>
                    <a:pt x="47" y="692"/>
                  </a:lnTo>
                  <a:lnTo>
                    <a:pt x="48" y="692"/>
                  </a:lnTo>
                  <a:lnTo>
                    <a:pt x="53" y="691"/>
                  </a:lnTo>
                  <a:lnTo>
                    <a:pt x="54" y="689"/>
                  </a:lnTo>
                  <a:lnTo>
                    <a:pt x="56" y="686"/>
                  </a:lnTo>
                  <a:lnTo>
                    <a:pt x="57" y="685"/>
                  </a:lnTo>
                  <a:lnTo>
                    <a:pt x="58" y="685"/>
                  </a:lnTo>
                  <a:lnTo>
                    <a:pt x="62" y="685"/>
                  </a:lnTo>
                  <a:lnTo>
                    <a:pt x="65" y="684"/>
                  </a:lnTo>
                  <a:lnTo>
                    <a:pt x="63" y="683"/>
                  </a:lnTo>
                  <a:lnTo>
                    <a:pt x="60" y="684"/>
                  </a:lnTo>
                  <a:lnTo>
                    <a:pt x="60" y="682"/>
                  </a:lnTo>
                  <a:lnTo>
                    <a:pt x="63" y="676"/>
                  </a:lnTo>
                  <a:lnTo>
                    <a:pt x="66" y="673"/>
                  </a:lnTo>
                  <a:lnTo>
                    <a:pt x="68" y="671"/>
                  </a:lnTo>
                  <a:lnTo>
                    <a:pt x="69" y="670"/>
                  </a:lnTo>
                  <a:lnTo>
                    <a:pt x="65" y="671"/>
                  </a:lnTo>
                  <a:lnTo>
                    <a:pt x="64" y="674"/>
                  </a:lnTo>
                  <a:lnTo>
                    <a:pt x="64" y="670"/>
                  </a:lnTo>
                  <a:lnTo>
                    <a:pt x="62" y="670"/>
                  </a:lnTo>
                  <a:lnTo>
                    <a:pt x="56" y="674"/>
                  </a:lnTo>
                  <a:lnTo>
                    <a:pt x="60" y="666"/>
                  </a:lnTo>
                  <a:lnTo>
                    <a:pt x="63" y="662"/>
                  </a:lnTo>
                  <a:lnTo>
                    <a:pt x="68" y="660"/>
                  </a:lnTo>
                  <a:lnTo>
                    <a:pt x="66" y="656"/>
                  </a:lnTo>
                  <a:lnTo>
                    <a:pt x="68" y="654"/>
                  </a:lnTo>
                  <a:lnTo>
                    <a:pt x="64" y="653"/>
                  </a:lnTo>
                  <a:lnTo>
                    <a:pt x="58" y="654"/>
                  </a:lnTo>
                  <a:lnTo>
                    <a:pt x="63" y="649"/>
                  </a:lnTo>
                  <a:lnTo>
                    <a:pt x="68" y="647"/>
                  </a:lnTo>
                  <a:lnTo>
                    <a:pt x="66" y="647"/>
                  </a:lnTo>
                  <a:lnTo>
                    <a:pt x="72" y="646"/>
                  </a:lnTo>
                  <a:lnTo>
                    <a:pt x="76" y="648"/>
                  </a:lnTo>
                  <a:lnTo>
                    <a:pt x="78" y="649"/>
                  </a:lnTo>
                  <a:lnTo>
                    <a:pt x="80" y="649"/>
                  </a:lnTo>
                  <a:lnTo>
                    <a:pt x="83" y="649"/>
                  </a:lnTo>
                  <a:lnTo>
                    <a:pt x="86" y="649"/>
                  </a:lnTo>
                  <a:lnTo>
                    <a:pt x="84" y="648"/>
                  </a:lnTo>
                  <a:lnTo>
                    <a:pt x="78" y="647"/>
                  </a:lnTo>
                  <a:lnTo>
                    <a:pt x="77" y="644"/>
                  </a:lnTo>
                  <a:lnTo>
                    <a:pt x="80" y="643"/>
                  </a:lnTo>
                  <a:lnTo>
                    <a:pt x="82" y="641"/>
                  </a:lnTo>
                  <a:lnTo>
                    <a:pt x="81" y="638"/>
                  </a:lnTo>
                  <a:lnTo>
                    <a:pt x="78" y="638"/>
                  </a:lnTo>
                  <a:lnTo>
                    <a:pt x="76" y="642"/>
                  </a:lnTo>
                  <a:lnTo>
                    <a:pt x="76" y="639"/>
                  </a:lnTo>
                  <a:lnTo>
                    <a:pt x="75" y="636"/>
                  </a:lnTo>
                  <a:lnTo>
                    <a:pt x="77" y="633"/>
                  </a:lnTo>
                  <a:lnTo>
                    <a:pt x="75" y="633"/>
                  </a:lnTo>
                  <a:lnTo>
                    <a:pt x="75" y="631"/>
                  </a:lnTo>
                  <a:lnTo>
                    <a:pt x="74" y="633"/>
                  </a:lnTo>
                  <a:lnTo>
                    <a:pt x="70" y="635"/>
                  </a:lnTo>
                  <a:lnTo>
                    <a:pt x="69" y="638"/>
                  </a:lnTo>
                  <a:lnTo>
                    <a:pt x="69" y="633"/>
                  </a:lnTo>
                  <a:lnTo>
                    <a:pt x="70" y="631"/>
                  </a:lnTo>
                  <a:lnTo>
                    <a:pt x="68" y="635"/>
                  </a:lnTo>
                  <a:lnTo>
                    <a:pt x="70" y="629"/>
                  </a:lnTo>
                  <a:lnTo>
                    <a:pt x="71" y="626"/>
                  </a:lnTo>
                  <a:lnTo>
                    <a:pt x="75" y="624"/>
                  </a:lnTo>
                  <a:lnTo>
                    <a:pt x="78" y="619"/>
                  </a:lnTo>
                  <a:lnTo>
                    <a:pt x="82" y="615"/>
                  </a:lnTo>
                  <a:lnTo>
                    <a:pt x="80" y="615"/>
                  </a:lnTo>
                  <a:lnTo>
                    <a:pt x="78" y="617"/>
                  </a:lnTo>
                  <a:lnTo>
                    <a:pt x="77" y="615"/>
                  </a:lnTo>
                  <a:lnTo>
                    <a:pt x="76" y="617"/>
                  </a:lnTo>
                  <a:lnTo>
                    <a:pt x="75" y="619"/>
                  </a:lnTo>
                  <a:lnTo>
                    <a:pt x="75" y="617"/>
                  </a:lnTo>
                  <a:lnTo>
                    <a:pt x="74" y="620"/>
                  </a:lnTo>
                  <a:lnTo>
                    <a:pt x="71" y="618"/>
                  </a:lnTo>
                  <a:lnTo>
                    <a:pt x="70" y="618"/>
                  </a:lnTo>
                  <a:lnTo>
                    <a:pt x="68" y="623"/>
                  </a:lnTo>
                  <a:lnTo>
                    <a:pt x="68" y="619"/>
                  </a:lnTo>
                  <a:lnTo>
                    <a:pt x="69" y="615"/>
                  </a:lnTo>
                  <a:lnTo>
                    <a:pt x="66" y="614"/>
                  </a:lnTo>
                  <a:lnTo>
                    <a:pt x="64" y="612"/>
                  </a:lnTo>
                  <a:lnTo>
                    <a:pt x="63" y="609"/>
                  </a:lnTo>
                  <a:lnTo>
                    <a:pt x="64" y="607"/>
                  </a:lnTo>
                  <a:lnTo>
                    <a:pt x="63" y="606"/>
                  </a:lnTo>
                  <a:lnTo>
                    <a:pt x="60" y="602"/>
                  </a:lnTo>
                  <a:lnTo>
                    <a:pt x="52" y="608"/>
                  </a:lnTo>
                  <a:lnTo>
                    <a:pt x="50" y="618"/>
                  </a:lnTo>
                  <a:lnTo>
                    <a:pt x="46" y="625"/>
                  </a:lnTo>
                  <a:lnTo>
                    <a:pt x="42" y="629"/>
                  </a:lnTo>
                  <a:lnTo>
                    <a:pt x="45" y="625"/>
                  </a:lnTo>
                  <a:lnTo>
                    <a:pt x="48" y="619"/>
                  </a:lnTo>
                  <a:lnTo>
                    <a:pt x="48" y="613"/>
                  </a:lnTo>
                  <a:lnTo>
                    <a:pt x="45" y="615"/>
                  </a:lnTo>
                  <a:lnTo>
                    <a:pt x="40" y="617"/>
                  </a:lnTo>
                  <a:lnTo>
                    <a:pt x="45" y="614"/>
                  </a:lnTo>
                  <a:lnTo>
                    <a:pt x="50" y="611"/>
                  </a:lnTo>
                  <a:lnTo>
                    <a:pt x="50" y="608"/>
                  </a:lnTo>
                  <a:lnTo>
                    <a:pt x="41" y="613"/>
                  </a:lnTo>
                  <a:lnTo>
                    <a:pt x="34" y="619"/>
                  </a:lnTo>
                  <a:lnTo>
                    <a:pt x="39" y="613"/>
                  </a:lnTo>
                  <a:lnTo>
                    <a:pt x="33" y="614"/>
                  </a:lnTo>
                  <a:lnTo>
                    <a:pt x="31" y="613"/>
                  </a:lnTo>
                  <a:lnTo>
                    <a:pt x="36" y="613"/>
                  </a:lnTo>
                  <a:lnTo>
                    <a:pt x="34" y="611"/>
                  </a:lnTo>
                  <a:lnTo>
                    <a:pt x="30" y="612"/>
                  </a:lnTo>
                  <a:lnTo>
                    <a:pt x="28" y="613"/>
                  </a:lnTo>
                  <a:lnTo>
                    <a:pt x="25" y="613"/>
                  </a:lnTo>
                  <a:lnTo>
                    <a:pt x="25" y="611"/>
                  </a:lnTo>
                  <a:lnTo>
                    <a:pt x="23" y="611"/>
                  </a:lnTo>
                  <a:lnTo>
                    <a:pt x="21" y="612"/>
                  </a:lnTo>
                  <a:lnTo>
                    <a:pt x="21" y="607"/>
                  </a:lnTo>
                  <a:lnTo>
                    <a:pt x="23" y="605"/>
                  </a:lnTo>
                  <a:lnTo>
                    <a:pt x="22" y="605"/>
                  </a:lnTo>
                  <a:lnTo>
                    <a:pt x="23" y="602"/>
                  </a:lnTo>
                  <a:lnTo>
                    <a:pt x="22" y="601"/>
                  </a:lnTo>
                  <a:lnTo>
                    <a:pt x="22" y="600"/>
                  </a:lnTo>
                  <a:lnTo>
                    <a:pt x="23" y="599"/>
                  </a:lnTo>
                  <a:lnTo>
                    <a:pt x="24" y="597"/>
                  </a:lnTo>
                  <a:lnTo>
                    <a:pt x="29" y="596"/>
                  </a:lnTo>
                  <a:lnTo>
                    <a:pt x="33" y="595"/>
                  </a:lnTo>
                  <a:lnTo>
                    <a:pt x="34" y="595"/>
                  </a:lnTo>
                  <a:lnTo>
                    <a:pt x="33" y="594"/>
                  </a:lnTo>
                  <a:lnTo>
                    <a:pt x="34" y="593"/>
                  </a:lnTo>
                  <a:lnTo>
                    <a:pt x="33" y="591"/>
                  </a:lnTo>
                  <a:lnTo>
                    <a:pt x="34" y="589"/>
                  </a:lnTo>
                  <a:lnTo>
                    <a:pt x="36" y="588"/>
                  </a:lnTo>
                  <a:lnTo>
                    <a:pt x="30" y="589"/>
                  </a:lnTo>
                  <a:lnTo>
                    <a:pt x="28" y="587"/>
                  </a:lnTo>
                  <a:lnTo>
                    <a:pt x="23" y="585"/>
                  </a:lnTo>
                  <a:lnTo>
                    <a:pt x="25" y="584"/>
                  </a:lnTo>
                  <a:lnTo>
                    <a:pt x="29" y="582"/>
                  </a:lnTo>
                  <a:lnTo>
                    <a:pt x="33" y="582"/>
                  </a:lnTo>
                  <a:lnTo>
                    <a:pt x="37" y="582"/>
                  </a:lnTo>
                  <a:lnTo>
                    <a:pt x="39" y="585"/>
                  </a:lnTo>
                  <a:lnTo>
                    <a:pt x="43" y="588"/>
                  </a:lnTo>
                  <a:lnTo>
                    <a:pt x="47" y="588"/>
                  </a:lnTo>
                  <a:lnTo>
                    <a:pt x="47" y="585"/>
                  </a:lnTo>
                  <a:lnTo>
                    <a:pt x="51" y="585"/>
                  </a:lnTo>
                  <a:lnTo>
                    <a:pt x="53" y="585"/>
                  </a:lnTo>
                  <a:lnTo>
                    <a:pt x="56" y="583"/>
                  </a:lnTo>
                  <a:lnTo>
                    <a:pt x="58" y="583"/>
                  </a:lnTo>
                  <a:lnTo>
                    <a:pt x="60" y="582"/>
                  </a:lnTo>
                  <a:lnTo>
                    <a:pt x="63" y="581"/>
                  </a:lnTo>
                  <a:lnTo>
                    <a:pt x="63" y="578"/>
                  </a:lnTo>
                  <a:lnTo>
                    <a:pt x="65" y="577"/>
                  </a:lnTo>
                  <a:lnTo>
                    <a:pt x="65" y="575"/>
                  </a:lnTo>
                  <a:lnTo>
                    <a:pt x="66" y="571"/>
                  </a:lnTo>
                  <a:lnTo>
                    <a:pt x="63" y="573"/>
                  </a:lnTo>
                  <a:lnTo>
                    <a:pt x="57" y="577"/>
                  </a:lnTo>
                  <a:lnTo>
                    <a:pt x="56" y="579"/>
                  </a:lnTo>
                  <a:lnTo>
                    <a:pt x="54" y="573"/>
                  </a:lnTo>
                  <a:lnTo>
                    <a:pt x="52" y="569"/>
                  </a:lnTo>
                  <a:lnTo>
                    <a:pt x="52" y="565"/>
                  </a:lnTo>
                  <a:lnTo>
                    <a:pt x="48" y="565"/>
                  </a:lnTo>
                  <a:lnTo>
                    <a:pt x="43" y="569"/>
                  </a:lnTo>
                  <a:lnTo>
                    <a:pt x="42" y="571"/>
                  </a:lnTo>
                  <a:lnTo>
                    <a:pt x="41" y="566"/>
                  </a:lnTo>
                  <a:lnTo>
                    <a:pt x="39" y="566"/>
                  </a:lnTo>
                  <a:lnTo>
                    <a:pt x="36" y="565"/>
                  </a:lnTo>
                  <a:lnTo>
                    <a:pt x="33" y="564"/>
                  </a:lnTo>
                  <a:lnTo>
                    <a:pt x="33" y="565"/>
                  </a:lnTo>
                  <a:lnTo>
                    <a:pt x="31" y="563"/>
                  </a:lnTo>
                  <a:lnTo>
                    <a:pt x="31" y="555"/>
                  </a:lnTo>
                  <a:lnTo>
                    <a:pt x="28" y="559"/>
                  </a:lnTo>
                  <a:lnTo>
                    <a:pt x="29" y="565"/>
                  </a:lnTo>
                  <a:lnTo>
                    <a:pt x="29" y="573"/>
                  </a:lnTo>
                  <a:lnTo>
                    <a:pt x="28" y="577"/>
                  </a:lnTo>
                  <a:lnTo>
                    <a:pt x="22" y="567"/>
                  </a:lnTo>
                  <a:lnTo>
                    <a:pt x="19" y="566"/>
                  </a:lnTo>
                  <a:lnTo>
                    <a:pt x="17" y="567"/>
                  </a:lnTo>
                  <a:lnTo>
                    <a:pt x="15" y="570"/>
                  </a:lnTo>
                  <a:lnTo>
                    <a:pt x="15" y="565"/>
                  </a:lnTo>
                  <a:lnTo>
                    <a:pt x="15" y="564"/>
                  </a:lnTo>
                  <a:lnTo>
                    <a:pt x="13" y="563"/>
                  </a:lnTo>
                  <a:lnTo>
                    <a:pt x="11" y="563"/>
                  </a:lnTo>
                  <a:lnTo>
                    <a:pt x="9" y="564"/>
                  </a:lnTo>
                  <a:lnTo>
                    <a:pt x="9" y="560"/>
                  </a:lnTo>
                  <a:lnTo>
                    <a:pt x="10" y="555"/>
                  </a:lnTo>
                  <a:lnTo>
                    <a:pt x="15" y="552"/>
                  </a:lnTo>
                  <a:lnTo>
                    <a:pt x="13" y="551"/>
                  </a:lnTo>
                  <a:lnTo>
                    <a:pt x="15" y="547"/>
                  </a:lnTo>
                  <a:lnTo>
                    <a:pt x="16" y="543"/>
                  </a:lnTo>
                  <a:lnTo>
                    <a:pt x="18" y="540"/>
                  </a:lnTo>
                  <a:lnTo>
                    <a:pt x="18" y="542"/>
                  </a:lnTo>
                  <a:lnTo>
                    <a:pt x="21" y="541"/>
                  </a:lnTo>
                  <a:lnTo>
                    <a:pt x="21" y="540"/>
                  </a:lnTo>
                  <a:lnTo>
                    <a:pt x="24" y="535"/>
                  </a:lnTo>
                  <a:lnTo>
                    <a:pt x="27" y="530"/>
                  </a:lnTo>
                  <a:lnTo>
                    <a:pt x="28" y="532"/>
                  </a:lnTo>
                  <a:lnTo>
                    <a:pt x="29" y="531"/>
                  </a:lnTo>
                  <a:lnTo>
                    <a:pt x="31" y="530"/>
                  </a:lnTo>
                  <a:lnTo>
                    <a:pt x="34" y="529"/>
                  </a:lnTo>
                  <a:lnTo>
                    <a:pt x="36" y="528"/>
                  </a:lnTo>
                  <a:lnTo>
                    <a:pt x="39" y="526"/>
                  </a:lnTo>
                  <a:lnTo>
                    <a:pt x="29" y="523"/>
                  </a:lnTo>
                  <a:lnTo>
                    <a:pt x="21" y="518"/>
                  </a:lnTo>
                  <a:lnTo>
                    <a:pt x="19" y="520"/>
                  </a:lnTo>
                  <a:lnTo>
                    <a:pt x="19" y="525"/>
                  </a:lnTo>
                  <a:lnTo>
                    <a:pt x="17" y="525"/>
                  </a:lnTo>
                  <a:lnTo>
                    <a:pt x="15" y="529"/>
                  </a:lnTo>
                  <a:lnTo>
                    <a:pt x="12" y="530"/>
                  </a:lnTo>
                  <a:lnTo>
                    <a:pt x="11" y="531"/>
                  </a:lnTo>
                  <a:lnTo>
                    <a:pt x="11" y="528"/>
                  </a:lnTo>
                  <a:lnTo>
                    <a:pt x="11" y="524"/>
                  </a:lnTo>
                  <a:lnTo>
                    <a:pt x="13" y="523"/>
                  </a:lnTo>
                  <a:lnTo>
                    <a:pt x="13" y="520"/>
                  </a:lnTo>
                  <a:lnTo>
                    <a:pt x="15" y="517"/>
                  </a:lnTo>
                  <a:lnTo>
                    <a:pt x="16" y="518"/>
                  </a:lnTo>
                  <a:lnTo>
                    <a:pt x="19" y="518"/>
                  </a:lnTo>
                  <a:lnTo>
                    <a:pt x="15" y="514"/>
                  </a:lnTo>
                  <a:lnTo>
                    <a:pt x="11" y="513"/>
                  </a:lnTo>
                  <a:lnTo>
                    <a:pt x="10" y="511"/>
                  </a:lnTo>
                  <a:lnTo>
                    <a:pt x="13" y="512"/>
                  </a:lnTo>
                  <a:lnTo>
                    <a:pt x="17" y="514"/>
                  </a:lnTo>
                  <a:lnTo>
                    <a:pt x="27" y="520"/>
                  </a:lnTo>
                  <a:lnTo>
                    <a:pt x="42" y="524"/>
                  </a:lnTo>
                  <a:lnTo>
                    <a:pt x="34" y="518"/>
                  </a:lnTo>
                  <a:lnTo>
                    <a:pt x="33" y="517"/>
                  </a:lnTo>
                  <a:lnTo>
                    <a:pt x="33" y="520"/>
                  </a:lnTo>
                  <a:lnTo>
                    <a:pt x="29" y="517"/>
                  </a:lnTo>
                  <a:lnTo>
                    <a:pt x="28" y="513"/>
                  </a:lnTo>
                  <a:lnTo>
                    <a:pt x="21" y="507"/>
                  </a:lnTo>
                  <a:lnTo>
                    <a:pt x="16" y="504"/>
                  </a:lnTo>
                  <a:lnTo>
                    <a:pt x="16" y="506"/>
                  </a:lnTo>
                  <a:lnTo>
                    <a:pt x="17" y="511"/>
                  </a:lnTo>
                  <a:lnTo>
                    <a:pt x="15" y="508"/>
                  </a:lnTo>
                  <a:lnTo>
                    <a:pt x="12" y="508"/>
                  </a:lnTo>
                  <a:lnTo>
                    <a:pt x="12" y="505"/>
                  </a:lnTo>
                  <a:lnTo>
                    <a:pt x="12" y="504"/>
                  </a:lnTo>
                  <a:lnTo>
                    <a:pt x="11" y="506"/>
                  </a:lnTo>
                  <a:lnTo>
                    <a:pt x="5" y="508"/>
                  </a:lnTo>
                  <a:lnTo>
                    <a:pt x="0" y="508"/>
                  </a:lnTo>
                  <a:lnTo>
                    <a:pt x="4" y="506"/>
                  </a:lnTo>
                  <a:lnTo>
                    <a:pt x="5" y="504"/>
                  </a:lnTo>
                  <a:lnTo>
                    <a:pt x="5" y="502"/>
                  </a:lnTo>
                  <a:lnTo>
                    <a:pt x="10" y="502"/>
                  </a:lnTo>
                  <a:lnTo>
                    <a:pt x="13" y="504"/>
                  </a:lnTo>
                  <a:lnTo>
                    <a:pt x="16" y="502"/>
                  </a:lnTo>
                  <a:lnTo>
                    <a:pt x="9" y="494"/>
                  </a:lnTo>
                  <a:lnTo>
                    <a:pt x="6" y="493"/>
                  </a:lnTo>
                  <a:lnTo>
                    <a:pt x="1" y="490"/>
                  </a:lnTo>
                  <a:lnTo>
                    <a:pt x="0" y="488"/>
                  </a:lnTo>
                  <a:lnTo>
                    <a:pt x="4" y="489"/>
                  </a:lnTo>
                  <a:lnTo>
                    <a:pt x="6" y="490"/>
                  </a:lnTo>
                  <a:lnTo>
                    <a:pt x="9" y="490"/>
                  </a:lnTo>
                  <a:lnTo>
                    <a:pt x="11" y="489"/>
                  </a:lnTo>
                  <a:lnTo>
                    <a:pt x="13" y="492"/>
                  </a:lnTo>
                  <a:lnTo>
                    <a:pt x="16" y="494"/>
                  </a:lnTo>
                  <a:lnTo>
                    <a:pt x="17" y="498"/>
                  </a:lnTo>
                  <a:lnTo>
                    <a:pt x="16" y="496"/>
                  </a:lnTo>
                  <a:lnTo>
                    <a:pt x="16" y="498"/>
                  </a:lnTo>
                  <a:lnTo>
                    <a:pt x="12" y="494"/>
                  </a:lnTo>
                  <a:lnTo>
                    <a:pt x="10" y="493"/>
                  </a:lnTo>
                  <a:lnTo>
                    <a:pt x="16" y="501"/>
                  </a:lnTo>
                  <a:lnTo>
                    <a:pt x="28" y="512"/>
                  </a:lnTo>
                  <a:lnTo>
                    <a:pt x="30" y="511"/>
                  </a:lnTo>
                  <a:lnTo>
                    <a:pt x="34" y="510"/>
                  </a:lnTo>
                  <a:lnTo>
                    <a:pt x="36" y="511"/>
                  </a:lnTo>
                  <a:lnTo>
                    <a:pt x="34" y="513"/>
                  </a:lnTo>
                  <a:lnTo>
                    <a:pt x="34" y="516"/>
                  </a:lnTo>
                  <a:lnTo>
                    <a:pt x="42" y="524"/>
                  </a:lnTo>
                  <a:lnTo>
                    <a:pt x="46" y="524"/>
                  </a:lnTo>
                  <a:lnTo>
                    <a:pt x="48" y="519"/>
                  </a:lnTo>
                  <a:lnTo>
                    <a:pt x="50" y="519"/>
                  </a:lnTo>
                  <a:lnTo>
                    <a:pt x="50" y="517"/>
                  </a:lnTo>
                  <a:lnTo>
                    <a:pt x="50" y="513"/>
                  </a:lnTo>
                  <a:lnTo>
                    <a:pt x="52" y="513"/>
                  </a:lnTo>
                  <a:lnTo>
                    <a:pt x="57" y="517"/>
                  </a:lnTo>
                  <a:lnTo>
                    <a:pt x="58" y="519"/>
                  </a:lnTo>
                  <a:lnTo>
                    <a:pt x="62" y="520"/>
                  </a:lnTo>
                  <a:lnTo>
                    <a:pt x="63" y="520"/>
                  </a:lnTo>
                  <a:lnTo>
                    <a:pt x="63" y="514"/>
                  </a:lnTo>
                  <a:lnTo>
                    <a:pt x="63" y="512"/>
                  </a:lnTo>
                  <a:lnTo>
                    <a:pt x="65" y="510"/>
                  </a:lnTo>
                  <a:lnTo>
                    <a:pt x="70" y="505"/>
                  </a:lnTo>
                  <a:lnTo>
                    <a:pt x="74" y="502"/>
                  </a:lnTo>
                  <a:lnTo>
                    <a:pt x="80" y="502"/>
                  </a:lnTo>
                  <a:lnTo>
                    <a:pt x="82" y="505"/>
                  </a:lnTo>
                  <a:lnTo>
                    <a:pt x="86" y="505"/>
                  </a:lnTo>
                  <a:lnTo>
                    <a:pt x="89" y="507"/>
                  </a:lnTo>
                  <a:lnTo>
                    <a:pt x="86" y="507"/>
                  </a:lnTo>
                  <a:lnTo>
                    <a:pt x="86" y="511"/>
                  </a:lnTo>
                  <a:lnTo>
                    <a:pt x="89" y="511"/>
                  </a:lnTo>
                  <a:lnTo>
                    <a:pt x="92" y="512"/>
                  </a:lnTo>
                  <a:lnTo>
                    <a:pt x="94" y="512"/>
                  </a:lnTo>
                  <a:lnTo>
                    <a:pt x="94" y="511"/>
                  </a:lnTo>
                  <a:lnTo>
                    <a:pt x="94" y="507"/>
                  </a:lnTo>
                  <a:lnTo>
                    <a:pt x="92" y="508"/>
                  </a:lnTo>
                  <a:lnTo>
                    <a:pt x="89" y="508"/>
                  </a:lnTo>
                  <a:lnTo>
                    <a:pt x="92" y="507"/>
                  </a:lnTo>
                  <a:lnTo>
                    <a:pt x="92" y="506"/>
                  </a:lnTo>
                  <a:lnTo>
                    <a:pt x="92" y="505"/>
                  </a:lnTo>
                  <a:lnTo>
                    <a:pt x="89" y="504"/>
                  </a:lnTo>
                  <a:lnTo>
                    <a:pt x="88" y="502"/>
                  </a:lnTo>
                  <a:lnTo>
                    <a:pt x="92" y="500"/>
                  </a:lnTo>
                  <a:lnTo>
                    <a:pt x="93" y="499"/>
                  </a:lnTo>
                  <a:lnTo>
                    <a:pt x="94" y="496"/>
                  </a:lnTo>
                  <a:lnTo>
                    <a:pt x="89" y="498"/>
                  </a:lnTo>
                  <a:lnTo>
                    <a:pt x="86" y="495"/>
                  </a:lnTo>
                  <a:lnTo>
                    <a:pt x="89" y="495"/>
                  </a:lnTo>
                  <a:lnTo>
                    <a:pt x="89" y="493"/>
                  </a:lnTo>
                  <a:lnTo>
                    <a:pt x="93" y="494"/>
                  </a:lnTo>
                  <a:lnTo>
                    <a:pt x="95" y="494"/>
                  </a:lnTo>
                  <a:lnTo>
                    <a:pt x="93" y="493"/>
                  </a:lnTo>
                  <a:lnTo>
                    <a:pt x="98" y="493"/>
                  </a:lnTo>
                  <a:lnTo>
                    <a:pt x="102" y="494"/>
                  </a:lnTo>
                  <a:lnTo>
                    <a:pt x="106" y="493"/>
                  </a:lnTo>
                  <a:lnTo>
                    <a:pt x="107" y="488"/>
                  </a:lnTo>
                  <a:lnTo>
                    <a:pt x="109" y="489"/>
                  </a:lnTo>
                  <a:lnTo>
                    <a:pt x="111" y="493"/>
                  </a:lnTo>
                  <a:lnTo>
                    <a:pt x="111" y="498"/>
                  </a:lnTo>
                  <a:lnTo>
                    <a:pt x="113" y="496"/>
                  </a:lnTo>
                  <a:lnTo>
                    <a:pt x="116" y="494"/>
                  </a:lnTo>
                  <a:lnTo>
                    <a:pt x="116" y="492"/>
                  </a:lnTo>
                  <a:lnTo>
                    <a:pt x="117" y="489"/>
                  </a:lnTo>
                  <a:lnTo>
                    <a:pt x="118" y="487"/>
                  </a:lnTo>
                  <a:lnTo>
                    <a:pt x="116" y="486"/>
                  </a:lnTo>
                  <a:lnTo>
                    <a:pt x="118" y="486"/>
                  </a:lnTo>
                  <a:lnTo>
                    <a:pt x="118" y="483"/>
                  </a:lnTo>
                  <a:lnTo>
                    <a:pt x="121" y="483"/>
                  </a:lnTo>
                  <a:lnTo>
                    <a:pt x="125" y="482"/>
                  </a:lnTo>
                  <a:lnTo>
                    <a:pt x="124" y="484"/>
                  </a:lnTo>
                  <a:lnTo>
                    <a:pt x="124" y="487"/>
                  </a:lnTo>
                  <a:lnTo>
                    <a:pt x="127" y="486"/>
                  </a:lnTo>
                  <a:lnTo>
                    <a:pt x="129" y="483"/>
                  </a:lnTo>
                  <a:lnTo>
                    <a:pt x="133" y="480"/>
                  </a:lnTo>
                  <a:lnTo>
                    <a:pt x="135" y="477"/>
                  </a:lnTo>
                  <a:lnTo>
                    <a:pt x="135" y="475"/>
                  </a:lnTo>
                  <a:lnTo>
                    <a:pt x="133" y="474"/>
                  </a:lnTo>
                  <a:lnTo>
                    <a:pt x="129" y="474"/>
                  </a:lnTo>
                  <a:lnTo>
                    <a:pt x="124" y="475"/>
                  </a:lnTo>
                  <a:lnTo>
                    <a:pt x="121" y="475"/>
                  </a:lnTo>
                  <a:lnTo>
                    <a:pt x="122" y="472"/>
                  </a:lnTo>
                  <a:lnTo>
                    <a:pt x="125" y="470"/>
                  </a:lnTo>
                  <a:lnTo>
                    <a:pt x="125" y="468"/>
                  </a:lnTo>
                  <a:lnTo>
                    <a:pt x="124" y="464"/>
                  </a:lnTo>
                  <a:lnTo>
                    <a:pt x="117" y="459"/>
                  </a:lnTo>
                  <a:lnTo>
                    <a:pt x="115" y="460"/>
                  </a:lnTo>
                  <a:lnTo>
                    <a:pt x="112" y="463"/>
                  </a:lnTo>
                  <a:lnTo>
                    <a:pt x="113" y="459"/>
                  </a:lnTo>
                  <a:lnTo>
                    <a:pt x="116" y="458"/>
                  </a:lnTo>
                  <a:lnTo>
                    <a:pt x="112" y="456"/>
                  </a:lnTo>
                  <a:lnTo>
                    <a:pt x="111" y="456"/>
                  </a:lnTo>
                  <a:lnTo>
                    <a:pt x="109" y="458"/>
                  </a:lnTo>
                  <a:lnTo>
                    <a:pt x="105" y="459"/>
                  </a:lnTo>
                  <a:lnTo>
                    <a:pt x="106" y="458"/>
                  </a:lnTo>
                  <a:lnTo>
                    <a:pt x="109" y="456"/>
                  </a:lnTo>
                  <a:lnTo>
                    <a:pt x="107" y="454"/>
                  </a:lnTo>
                  <a:lnTo>
                    <a:pt x="109" y="452"/>
                  </a:lnTo>
                  <a:lnTo>
                    <a:pt x="105" y="453"/>
                  </a:lnTo>
                  <a:lnTo>
                    <a:pt x="101" y="458"/>
                  </a:lnTo>
                  <a:lnTo>
                    <a:pt x="100" y="456"/>
                  </a:lnTo>
                  <a:lnTo>
                    <a:pt x="98" y="457"/>
                  </a:lnTo>
                  <a:lnTo>
                    <a:pt x="93" y="457"/>
                  </a:lnTo>
                  <a:lnTo>
                    <a:pt x="99" y="456"/>
                  </a:lnTo>
                  <a:lnTo>
                    <a:pt x="100" y="452"/>
                  </a:lnTo>
                  <a:lnTo>
                    <a:pt x="104" y="452"/>
                  </a:lnTo>
                  <a:lnTo>
                    <a:pt x="107" y="451"/>
                  </a:lnTo>
                  <a:lnTo>
                    <a:pt x="102" y="445"/>
                  </a:lnTo>
                  <a:lnTo>
                    <a:pt x="102" y="444"/>
                  </a:lnTo>
                  <a:lnTo>
                    <a:pt x="104" y="441"/>
                  </a:lnTo>
                  <a:lnTo>
                    <a:pt x="106" y="441"/>
                  </a:lnTo>
                  <a:lnTo>
                    <a:pt x="109" y="440"/>
                  </a:lnTo>
                  <a:lnTo>
                    <a:pt x="112" y="441"/>
                  </a:lnTo>
                  <a:lnTo>
                    <a:pt x="110" y="445"/>
                  </a:lnTo>
                  <a:lnTo>
                    <a:pt x="107" y="447"/>
                  </a:lnTo>
                  <a:lnTo>
                    <a:pt x="106" y="446"/>
                  </a:lnTo>
                  <a:lnTo>
                    <a:pt x="104" y="445"/>
                  </a:lnTo>
                  <a:lnTo>
                    <a:pt x="107" y="451"/>
                  </a:lnTo>
                  <a:lnTo>
                    <a:pt x="110" y="451"/>
                  </a:lnTo>
                  <a:lnTo>
                    <a:pt x="112" y="452"/>
                  </a:lnTo>
                  <a:lnTo>
                    <a:pt x="115" y="450"/>
                  </a:lnTo>
                  <a:lnTo>
                    <a:pt x="113" y="453"/>
                  </a:lnTo>
                  <a:lnTo>
                    <a:pt x="118" y="458"/>
                  </a:lnTo>
                  <a:lnTo>
                    <a:pt x="127" y="464"/>
                  </a:lnTo>
                  <a:lnTo>
                    <a:pt x="128" y="466"/>
                  </a:lnTo>
                  <a:lnTo>
                    <a:pt x="129" y="463"/>
                  </a:lnTo>
                  <a:lnTo>
                    <a:pt x="128" y="462"/>
                  </a:lnTo>
                  <a:lnTo>
                    <a:pt x="128" y="460"/>
                  </a:lnTo>
                  <a:lnTo>
                    <a:pt x="128" y="458"/>
                  </a:lnTo>
                  <a:lnTo>
                    <a:pt x="125" y="454"/>
                  </a:lnTo>
                  <a:lnTo>
                    <a:pt x="127" y="451"/>
                  </a:lnTo>
                  <a:lnTo>
                    <a:pt x="133" y="452"/>
                  </a:lnTo>
                  <a:lnTo>
                    <a:pt x="129" y="450"/>
                  </a:lnTo>
                  <a:lnTo>
                    <a:pt x="124" y="452"/>
                  </a:lnTo>
                  <a:lnTo>
                    <a:pt x="121" y="458"/>
                  </a:lnTo>
                  <a:lnTo>
                    <a:pt x="121" y="453"/>
                  </a:lnTo>
                  <a:lnTo>
                    <a:pt x="122" y="451"/>
                  </a:lnTo>
                  <a:lnTo>
                    <a:pt x="122" y="447"/>
                  </a:lnTo>
                  <a:lnTo>
                    <a:pt x="123" y="445"/>
                  </a:lnTo>
                  <a:lnTo>
                    <a:pt x="124" y="440"/>
                  </a:lnTo>
                  <a:lnTo>
                    <a:pt x="128" y="438"/>
                  </a:lnTo>
                  <a:lnTo>
                    <a:pt x="125" y="436"/>
                  </a:lnTo>
                  <a:lnTo>
                    <a:pt x="129" y="435"/>
                  </a:lnTo>
                  <a:lnTo>
                    <a:pt x="131" y="432"/>
                  </a:lnTo>
                  <a:lnTo>
                    <a:pt x="131" y="429"/>
                  </a:lnTo>
                  <a:lnTo>
                    <a:pt x="129" y="430"/>
                  </a:lnTo>
                  <a:lnTo>
                    <a:pt x="129" y="428"/>
                  </a:lnTo>
                  <a:lnTo>
                    <a:pt x="128" y="427"/>
                  </a:lnTo>
                  <a:lnTo>
                    <a:pt x="130" y="424"/>
                  </a:lnTo>
                  <a:lnTo>
                    <a:pt x="131" y="422"/>
                  </a:lnTo>
                  <a:lnTo>
                    <a:pt x="133" y="419"/>
                  </a:lnTo>
                  <a:lnTo>
                    <a:pt x="133" y="416"/>
                  </a:lnTo>
                  <a:lnTo>
                    <a:pt x="129" y="418"/>
                  </a:lnTo>
                  <a:lnTo>
                    <a:pt x="125" y="422"/>
                  </a:lnTo>
                  <a:lnTo>
                    <a:pt x="127" y="416"/>
                  </a:lnTo>
                  <a:lnTo>
                    <a:pt x="128" y="412"/>
                  </a:lnTo>
                  <a:lnTo>
                    <a:pt x="129" y="411"/>
                  </a:lnTo>
                  <a:lnTo>
                    <a:pt x="127" y="410"/>
                  </a:lnTo>
                  <a:lnTo>
                    <a:pt x="130" y="409"/>
                  </a:lnTo>
                  <a:lnTo>
                    <a:pt x="134" y="406"/>
                  </a:lnTo>
                  <a:lnTo>
                    <a:pt x="131" y="406"/>
                  </a:lnTo>
                  <a:lnTo>
                    <a:pt x="130" y="405"/>
                  </a:lnTo>
                  <a:lnTo>
                    <a:pt x="125" y="406"/>
                  </a:lnTo>
                  <a:lnTo>
                    <a:pt x="128" y="403"/>
                  </a:lnTo>
                  <a:lnTo>
                    <a:pt x="133" y="399"/>
                  </a:lnTo>
                  <a:lnTo>
                    <a:pt x="133" y="398"/>
                  </a:lnTo>
                  <a:lnTo>
                    <a:pt x="135" y="398"/>
                  </a:lnTo>
                  <a:lnTo>
                    <a:pt x="139" y="398"/>
                  </a:lnTo>
                  <a:lnTo>
                    <a:pt x="141" y="395"/>
                  </a:lnTo>
                  <a:lnTo>
                    <a:pt x="142" y="395"/>
                  </a:lnTo>
                  <a:lnTo>
                    <a:pt x="146" y="395"/>
                  </a:lnTo>
                  <a:lnTo>
                    <a:pt x="149" y="393"/>
                  </a:lnTo>
                  <a:lnTo>
                    <a:pt x="149" y="397"/>
                  </a:lnTo>
                  <a:lnTo>
                    <a:pt x="153" y="398"/>
                  </a:lnTo>
                  <a:lnTo>
                    <a:pt x="154" y="395"/>
                  </a:lnTo>
                  <a:lnTo>
                    <a:pt x="157" y="397"/>
                  </a:lnTo>
                  <a:lnTo>
                    <a:pt x="159" y="395"/>
                  </a:lnTo>
                  <a:lnTo>
                    <a:pt x="158" y="394"/>
                  </a:lnTo>
                  <a:lnTo>
                    <a:pt x="157" y="393"/>
                  </a:lnTo>
                  <a:lnTo>
                    <a:pt x="157" y="392"/>
                  </a:lnTo>
                  <a:lnTo>
                    <a:pt x="159" y="386"/>
                  </a:lnTo>
                  <a:lnTo>
                    <a:pt x="161" y="385"/>
                  </a:lnTo>
                  <a:lnTo>
                    <a:pt x="163" y="385"/>
                  </a:lnTo>
                  <a:lnTo>
                    <a:pt x="161" y="388"/>
                  </a:lnTo>
                  <a:lnTo>
                    <a:pt x="164" y="389"/>
                  </a:lnTo>
                  <a:lnTo>
                    <a:pt x="166" y="387"/>
                  </a:lnTo>
                  <a:lnTo>
                    <a:pt x="168" y="388"/>
                  </a:lnTo>
                  <a:lnTo>
                    <a:pt x="168" y="386"/>
                  </a:lnTo>
                  <a:lnTo>
                    <a:pt x="164" y="382"/>
                  </a:lnTo>
                  <a:lnTo>
                    <a:pt x="159" y="382"/>
                  </a:lnTo>
                  <a:lnTo>
                    <a:pt x="155" y="387"/>
                  </a:lnTo>
                  <a:lnTo>
                    <a:pt x="154" y="383"/>
                  </a:lnTo>
                  <a:lnTo>
                    <a:pt x="154" y="382"/>
                  </a:lnTo>
                  <a:lnTo>
                    <a:pt x="155" y="380"/>
                  </a:lnTo>
                  <a:lnTo>
                    <a:pt x="154" y="377"/>
                  </a:lnTo>
                  <a:lnTo>
                    <a:pt x="153" y="380"/>
                  </a:lnTo>
                  <a:lnTo>
                    <a:pt x="151" y="379"/>
                  </a:lnTo>
                  <a:lnTo>
                    <a:pt x="149" y="383"/>
                  </a:lnTo>
                  <a:lnTo>
                    <a:pt x="145" y="386"/>
                  </a:lnTo>
                  <a:lnTo>
                    <a:pt x="143" y="387"/>
                  </a:lnTo>
                  <a:lnTo>
                    <a:pt x="143" y="383"/>
                  </a:lnTo>
                  <a:lnTo>
                    <a:pt x="139" y="381"/>
                  </a:lnTo>
                  <a:lnTo>
                    <a:pt x="142" y="381"/>
                  </a:lnTo>
                  <a:lnTo>
                    <a:pt x="142" y="379"/>
                  </a:lnTo>
                  <a:lnTo>
                    <a:pt x="143" y="377"/>
                  </a:lnTo>
                  <a:lnTo>
                    <a:pt x="142" y="374"/>
                  </a:lnTo>
                  <a:lnTo>
                    <a:pt x="141" y="375"/>
                  </a:lnTo>
                  <a:lnTo>
                    <a:pt x="140" y="371"/>
                  </a:lnTo>
                  <a:lnTo>
                    <a:pt x="135" y="370"/>
                  </a:lnTo>
                  <a:lnTo>
                    <a:pt x="130" y="376"/>
                  </a:lnTo>
                  <a:lnTo>
                    <a:pt x="128" y="380"/>
                  </a:lnTo>
                  <a:lnTo>
                    <a:pt x="129" y="374"/>
                  </a:lnTo>
                  <a:lnTo>
                    <a:pt x="128" y="368"/>
                  </a:lnTo>
                  <a:lnTo>
                    <a:pt x="125" y="374"/>
                  </a:lnTo>
                  <a:lnTo>
                    <a:pt x="123" y="371"/>
                  </a:lnTo>
                  <a:lnTo>
                    <a:pt x="121" y="373"/>
                  </a:lnTo>
                  <a:lnTo>
                    <a:pt x="119" y="373"/>
                  </a:lnTo>
                  <a:lnTo>
                    <a:pt x="118" y="374"/>
                  </a:lnTo>
                  <a:lnTo>
                    <a:pt x="116" y="379"/>
                  </a:lnTo>
                  <a:lnTo>
                    <a:pt x="116" y="381"/>
                  </a:lnTo>
                  <a:lnTo>
                    <a:pt x="115" y="382"/>
                  </a:lnTo>
                  <a:lnTo>
                    <a:pt x="111" y="385"/>
                  </a:lnTo>
                  <a:lnTo>
                    <a:pt x="110" y="386"/>
                  </a:lnTo>
                  <a:lnTo>
                    <a:pt x="107" y="383"/>
                  </a:lnTo>
                  <a:lnTo>
                    <a:pt x="107" y="382"/>
                  </a:lnTo>
                  <a:lnTo>
                    <a:pt x="105" y="386"/>
                  </a:lnTo>
                  <a:lnTo>
                    <a:pt x="105" y="393"/>
                  </a:lnTo>
                  <a:lnTo>
                    <a:pt x="102" y="389"/>
                  </a:lnTo>
                  <a:lnTo>
                    <a:pt x="101" y="385"/>
                  </a:lnTo>
                  <a:lnTo>
                    <a:pt x="100" y="389"/>
                  </a:lnTo>
                  <a:lnTo>
                    <a:pt x="99" y="391"/>
                  </a:lnTo>
                  <a:lnTo>
                    <a:pt x="98" y="389"/>
                  </a:lnTo>
                  <a:lnTo>
                    <a:pt x="94" y="391"/>
                  </a:lnTo>
                  <a:lnTo>
                    <a:pt x="93" y="394"/>
                  </a:lnTo>
                  <a:lnTo>
                    <a:pt x="90" y="397"/>
                  </a:lnTo>
                  <a:lnTo>
                    <a:pt x="89" y="399"/>
                  </a:lnTo>
                  <a:lnTo>
                    <a:pt x="90" y="393"/>
                  </a:lnTo>
                  <a:lnTo>
                    <a:pt x="92" y="388"/>
                  </a:lnTo>
                  <a:lnTo>
                    <a:pt x="88" y="388"/>
                  </a:lnTo>
                  <a:lnTo>
                    <a:pt x="88" y="387"/>
                  </a:lnTo>
                  <a:lnTo>
                    <a:pt x="87" y="387"/>
                  </a:lnTo>
                  <a:lnTo>
                    <a:pt x="89" y="386"/>
                  </a:lnTo>
                  <a:lnTo>
                    <a:pt x="92" y="382"/>
                  </a:lnTo>
                  <a:lnTo>
                    <a:pt x="94" y="379"/>
                  </a:lnTo>
                  <a:lnTo>
                    <a:pt x="98" y="379"/>
                  </a:lnTo>
                  <a:lnTo>
                    <a:pt x="102" y="379"/>
                  </a:lnTo>
                  <a:lnTo>
                    <a:pt x="106" y="379"/>
                  </a:lnTo>
                  <a:lnTo>
                    <a:pt x="106" y="376"/>
                  </a:lnTo>
                  <a:lnTo>
                    <a:pt x="104" y="374"/>
                  </a:lnTo>
                  <a:lnTo>
                    <a:pt x="101" y="374"/>
                  </a:lnTo>
                  <a:lnTo>
                    <a:pt x="98" y="376"/>
                  </a:lnTo>
                  <a:lnTo>
                    <a:pt x="96" y="376"/>
                  </a:lnTo>
                  <a:lnTo>
                    <a:pt x="98" y="373"/>
                  </a:lnTo>
                  <a:lnTo>
                    <a:pt x="99" y="370"/>
                  </a:lnTo>
                  <a:lnTo>
                    <a:pt x="96" y="368"/>
                  </a:lnTo>
                  <a:lnTo>
                    <a:pt x="94" y="370"/>
                  </a:lnTo>
                  <a:lnTo>
                    <a:pt x="93" y="368"/>
                  </a:lnTo>
                  <a:lnTo>
                    <a:pt x="92" y="370"/>
                  </a:lnTo>
                  <a:lnTo>
                    <a:pt x="89" y="371"/>
                  </a:lnTo>
                  <a:lnTo>
                    <a:pt x="89" y="374"/>
                  </a:lnTo>
                  <a:lnTo>
                    <a:pt x="93" y="374"/>
                  </a:lnTo>
                  <a:lnTo>
                    <a:pt x="94" y="376"/>
                  </a:lnTo>
                  <a:lnTo>
                    <a:pt x="90" y="380"/>
                  </a:lnTo>
                  <a:lnTo>
                    <a:pt x="89" y="382"/>
                  </a:lnTo>
                  <a:lnTo>
                    <a:pt x="89" y="380"/>
                  </a:lnTo>
                  <a:lnTo>
                    <a:pt x="86" y="381"/>
                  </a:lnTo>
                  <a:lnTo>
                    <a:pt x="80" y="385"/>
                  </a:lnTo>
                  <a:lnTo>
                    <a:pt x="82" y="380"/>
                  </a:lnTo>
                  <a:lnTo>
                    <a:pt x="81" y="376"/>
                  </a:lnTo>
                  <a:lnTo>
                    <a:pt x="80" y="376"/>
                  </a:lnTo>
                  <a:lnTo>
                    <a:pt x="81" y="374"/>
                  </a:lnTo>
                  <a:lnTo>
                    <a:pt x="82" y="371"/>
                  </a:lnTo>
                  <a:lnTo>
                    <a:pt x="83" y="370"/>
                  </a:lnTo>
                  <a:lnTo>
                    <a:pt x="80" y="370"/>
                  </a:lnTo>
                  <a:lnTo>
                    <a:pt x="82" y="367"/>
                  </a:lnTo>
                  <a:lnTo>
                    <a:pt x="82" y="365"/>
                  </a:lnTo>
                  <a:lnTo>
                    <a:pt x="83" y="365"/>
                  </a:lnTo>
                  <a:lnTo>
                    <a:pt x="87" y="367"/>
                  </a:lnTo>
                  <a:lnTo>
                    <a:pt x="88" y="364"/>
                  </a:lnTo>
                  <a:lnTo>
                    <a:pt x="83" y="363"/>
                  </a:lnTo>
                  <a:lnTo>
                    <a:pt x="80" y="364"/>
                  </a:lnTo>
                  <a:lnTo>
                    <a:pt x="74" y="364"/>
                  </a:lnTo>
                  <a:lnTo>
                    <a:pt x="77" y="362"/>
                  </a:lnTo>
                  <a:lnTo>
                    <a:pt x="81" y="359"/>
                  </a:lnTo>
                  <a:lnTo>
                    <a:pt x="83" y="361"/>
                  </a:lnTo>
                  <a:lnTo>
                    <a:pt x="87" y="362"/>
                  </a:lnTo>
                  <a:lnTo>
                    <a:pt x="92" y="364"/>
                  </a:lnTo>
                  <a:lnTo>
                    <a:pt x="94" y="364"/>
                  </a:lnTo>
                  <a:lnTo>
                    <a:pt x="98" y="362"/>
                  </a:lnTo>
                  <a:lnTo>
                    <a:pt x="99" y="359"/>
                  </a:lnTo>
                  <a:lnTo>
                    <a:pt x="99" y="356"/>
                  </a:lnTo>
                  <a:lnTo>
                    <a:pt x="95" y="356"/>
                  </a:lnTo>
                  <a:lnTo>
                    <a:pt x="90" y="358"/>
                  </a:lnTo>
                  <a:lnTo>
                    <a:pt x="89" y="361"/>
                  </a:lnTo>
                  <a:lnTo>
                    <a:pt x="86" y="359"/>
                  </a:lnTo>
                  <a:lnTo>
                    <a:pt x="86" y="356"/>
                  </a:lnTo>
                  <a:lnTo>
                    <a:pt x="89" y="352"/>
                  </a:lnTo>
                  <a:lnTo>
                    <a:pt x="89" y="349"/>
                  </a:lnTo>
                  <a:lnTo>
                    <a:pt x="86" y="347"/>
                  </a:lnTo>
                  <a:lnTo>
                    <a:pt x="84" y="345"/>
                  </a:lnTo>
                  <a:lnTo>
                    <a:pt x="86" y="343"/>
                  </a:lnTo>
                  <a:lnTo>
                    <a:pt x="82" y="339"/>
                  </a:lnTo>
                  <a:lnTo>
                    <a:pt x="78" y="337"/>
                  </a:lnTo>
                  <a:lnTo>
                    <a:pt x="80" y="341"/>
                  </a:lnTo>
                  <a:lnTo>
                    <a:pt x="78" y="344"/>
                  </a:lnTo>
                  <a:lnTo>
                    <a:pt x="76" y="340"/>
                  </a:lnTo>
                  <a:lnTo>
                    <a:pt x="74" y="340"/>
                  </a:lnTo>
                  <a:lnTo>
                    <a:pt x="75" y="343"/>
                  </a:lnTo>
                  <a:lnTo>
                    <a:pt x="72" y="344"/>
                  </a:lnTo>
                  <a:lnTo>
                    <a:pt x="72" y="345"/>
                  </a:lnTo>
                  <a:lnTo>
                    <a:pt x="75" y="347"/>
                  </a:lnTo>
                  <a:lnTo>
                    <a:pt x="76" y="349"/>
                  </a:lnTo>
                  <a:lnTo>
                    <a:pt x="74" y="351"/>
                  </a:lnTo>
                  <a:lnTo>
                    <a:pt x="72" y="355"/>
                  </a:lnTo>
                  <a:lnTo>
                    <a:pt x="76" y="358"/>
                  </a:lnTo>
                  <a:lnTo>
                    <a:pt x="72" y="356"/>
                  </a:lnTo>
                  <a:lnTo>
                    <a:pt x="71" y="359"/>
                  </a:lnTo>
                  <a:lnTo>
                    <a:pt x="70" y="356"/>
                  </a:lnTo>
                  <a:lnTo>
                    <a:pt x="68" y="351"/>
                  </a:lnTo>
                  <a:lnTo>
                    <a:pt x="63" y="351"/>
                  </a:lnTo>
                  <a:lnTo>
                    <a:pt x="64" y="358"/>
                  </a:lnTo>
                  <a:lnTo>
                    <a:pt x="60" y="359"/>
                  </a:lnTo>
                  <a:lnTo>
                    <a:pt x="57" y="361"/>
                  </a:lnTo>
                  <a:lnTo>
                    <a:pt x="59" y="364"/>
                  </a:lnTo>
                  <a:lnTo>
                    <a:pt x="56" y="369"/>
                  </a:lnTo>
                  <a:lnTo>
                    <a:pt x="52" y="374"/>
                  </a:lnTo>
                  <a:lnTo>
                    <a:pt x="53" y="370"/>
                  </a:lnTo>
                  <a:lnTo>
                    <a:pt x="54" y="365"/>
                  </a:lnTo>
                  <a:lnTo>
                    <a:pt x="56" y="365"/>
                  </a:lnTo>
                  <a:lnTo>
                    <a:pt x="57" y="363"/>
                  </a:lnTo>
                  <a:lnTo>
                    <a:pt x="56" y="362"/>
                  </a:lnTo>
                  <a:lnTo>
                    <a:pt x="54" y="361"/>
                  </a:lnTo>
                  <a:lnTo>
                    <a:pt x="52" y="362"/>
                  </a:lnTo>
                  <a:lnTo>
                    <a:pt x="51" y="358"/>
                  </a:lnTo>
                  <a:lnTo>
                    <a:pt x="47" y="357"/>
                  </a:lnTo>
                  <a:lnTo>
                    <a:pt x="43" y="362"/>
                  </a:lnTo>
                  <a:lnTo>
                    <a:pt x="45" y="356"/>
                  </a:lnTo>
                  <a:lnTo>
                    <a:pt x="41" y="361"/>
                  </a:lnTo>
                  <a:lnTo>
                    <a:pt x="40" y="362"/>
                  </a:lnTo>
                  <a:lnTo>
                    <a:pt x="39" y="362"/>
                  </a:lnTo>
                  <a:lnTo>
                    <a:pt x="40" y="359"/>
                  </a:lnTo>
                  <a:lnTo>
                    <a:pt x="39" y="358"/>
                  </a:lnTo>
                  <a:lnTo>
                    <a:pt x="39" y="356"/>
                  </a:lnTo>
                  <a:lnTo>
                    <a:pt x="36" y="356"/>
                  </a:lnTo>
                  <a:lnTo>
                    <a:pt x="41" y="352"/>
                  </a:lnTo>
                  <a:lnTo>
                    <a:pt x="45" y="352"/>
                  </a:lnTo>
                  <a:lnTo>
                    <a:pt x="46" y="350"/>
                  </a:lnTo>
                  <a:lnTo>
                    <a:pt x="50" y="347"/>
                  </a:lnTo>
                  <a:lnTo>
                    <a:pt x="50" y="345"/>
                  </a:lnTo>
                  <a:lnTo>
                    <a:pt x="45" y="344"/>
                  </a:lnTo>
                  <a:lnTo>
                    <a:pt x="41" y="343"/>
                  </a:lnTo>
                  <a:lnTo>
                    <a:pt x="41" y="345"/>
                  </a:lnTo>
                  <a:lnTo>
                    <a:pt x="40" y="346"/>
                  </a:lnTo>
                  <a:lnTo>
                    <a:pt x="36" y="343"/>
                  </a:lnTo>
                  <a:lnTo>
                    <a:pt x="33" y="344"/>
                  </a:lnTo>
                  <a:lnTo>
                    <a:pt x="36" y="347"/>
                  </a:lnTo>
                  <a:lnTo>
                    <a:pt x="33" y="352"/>
                  </a:lnTo>
                  <a:lnTo>
                    <a:pt x="29" y="355"/>
                  </a:lnTo>
                  <a:lnTo>
                    <a:pt x="27" y="356"/>
                  </a:lnTo>
                  <a:lnTo>
                    <a:pt x="24" y="351"/>
                  </a:lnTo>
                  <a:lnTo>
                    <a:pt x="25" y="345"/>
                  </a:lnTo>
                  <a:lnTo>
                    <a:pt x="28" y="345"/>
                  </a:lnTo>
                  <a:lnTo>
                    <a:pt x="31" y="344"/>
                  </a:lnTo>
                  <a:lnTo>
                    <a:pt x="35" y="341"/>
                  </a:lnTo>
                  <a:lnTo>
                    <a:pt x="37" y="340"/>
                  </a:lnTo>
                  <a:lnTo>
                    <a:pt x="34" y="340"/>
                  </a:lnTo>
                  <a:lnTo>
                    <a:pt x="30" y="339"/>
                  </a:lnTo>
                  <a:lnTo>
                    <a:pt x="30" y="338"/>
                  </a:lnTo>
                  <a:lnTo>
                    <a:pt x="29" y="338"/>
                  </a:lnTo>
                  <a:lnTo>
                    <a:pt x="28" y="338"/>
                  </a:lnTo>
                  <a:lnTo>
                    <a:pt x="27" y="338"/>
                  </a:lnTo>
                  <a:lnTo>
                    <a:pt x="22" y="340"/>
                  </a:lnTo>
                  <a:lnTo>
                    <a:pt x="23" y="338"/>
                  </a:lnTo>
                  <a:lnTo>
                    <a:pt x="24" y="333"/>
                  </a:lnTo>
                  <a:lnTo>
                    <a:pt x="23" y="334"/>
                  </a:lnTo>
                  <a:lnTo>
                    <a:pt x="22" y="333"/>
                  </a:lnTo>
                  <a:lnTo>
                    <a:pt x="22" y="332"/>
                  </a:lnTo>
                  <a:lnTo>
                    <a:pt x="27" y="331"/>
                  </a:lnTo>
                  <a:lnTo>
                    <a:pt x="28" y="334"/>
                  </a:lnTo>
                  <a:lnTo>
                    <a:pt x="31" y="337"/>
                  </a:lnTo>
                  <a:lnTo>
                    <a:pt x="34" y="337"/>
                  </a:lnTo>
                  <a:lnTo>
                    <a:pt x="33" y="332"/>
                  </a:lnTo>
                  <a:lnTo>
                    <a:pt x="30" y="331"/>
                  </a:lnTo>
                  <a:lnTo>
                    <a:pt x="31" y="326"/>
                  </a:lnTo>
                  <a:lnTo>
                    <a:pt x="34" y="328"/>
                  </a:lnTo>
                  <a:lnTo>
                    <a:pt x="34" y="334"/>
                  </a:lnTo>
                  <a:lnTo>
                    <a:pt x="36" y="335"/>
                  </a:lnTo>
                  <a:lnTo>
                    <a:pt x="36" y="333"/>
                  </a:lnTo>
                  <a:lnTo>
                    <a:pt x="35" y="332"/>
                  </a:lnTo>
                  <a:lnTo>
                    <a:pt x="36" y="331"/>
                  </a:lnTo>
                  <a:lnTo>
                    <a:pt x="39" y="329"/>
                  </a:lnTo>
                  <a:lnTo>
                    <a:pt x="41" y="331"/>
                  </a:lnTo>
                  <a:lnTo>
                    <a:pt x="42" y="332"/>
                  </a:lnTo>
                  <a:lnTo>
                    <a:pt x="47" y="331"/>
                  </a:lnTo>
                  <a:lnTo>
                    <a:pt x="48" y="333"/>
                  </a:lnTo>
                  <a:lnTo>
                    <a:pt x="53" y="334"/>
                  </a:lnTo>
                  <a:lnTo>
                    <a:pt x="59" y="338"/>
                  </a:lnTo>
                  <a:lnTo>
                    <a:pt x="59" y="337"/>
                  </a:lnTo>
                  <a:lnTo>
                    <a:pt x="58" y="335"/>
                  </a:lnTo>
                  <a:lnTo>
                    <a:pt x="56" y="334"/>
                  </a:lnTo>
                  <a:lnTo>
                    <a:pt x="59" y="331"/>
                  </a:lnTo>
                  <a:lnTo>
                    <a:pt x="62" y="328"/>
                  </a:lnTo>
                  <a:lnTo>
                    <a:pt x="64" y="325"/>
                  </a:lnTo>
                  <a:lnTo>
                    <a:pt x="65" y="322"/>
                  </a:lnTo>
                  <a:lnTo>
                    <a:pt x="62" y="326"/>
                  </a:lnTo>
                  <a:lnTo>
                    <a:pt x="58" y="329"/>
                  </a:lnTo>
                  <a:lnTo>
                    <a:pt x="52" y="331"/>
                  </a:lnTo>
                  <a:lnTo>
                    <a:pt x="53" y="327"/>
                  </a:lnTo>
                  <a:lnTo>
                    <a:pt x="56" y="322"/>
                  </a:lnTo>
                  <a:lnTo>
                    <a:pt x="58" y="320"/>
                  </a:lnTo>
                  <a:lnTo>
                    <a:pt x="60" y="317"/>
                  </a:lnTo>
                  <a:lnTo>
                    <a:pt x="60" y="320"/>
                  </a:lnTo>
                  <a:lnTo>
                    <a:pt x="63" y="319"/>
                  </a:lnTo>
                  <a:lnTo>
                    <a:pt x="66" y="317"/>
                  </a:lnTo>
                  <a:lnTo>
                    <a:pt x="63" y="314"/>
                  </a:lnTo>
                  <a:lnTo>
                    <a:pt x="60" y="316"/>
                  </a:lnTo>
                  <a:lnTo>
                    <a:pt x="57" y="316"/>
                  </a:lnTo>
                  <a:lnTo>
                    <a:pt x="53" y="316"/>
                  </a:lnTo>
                  <a:lnTo>
                    <a:pt x="52" y="317"/>
                  </a:lnTo>
                  <a:lnTo>
                    <a:pt x="52" y="314"/>
                  </a:lnTo>
                  <a:lnTo>
                    <a:pt x="46" y="308"/>
                  </a:lnTo>
                  <a:lnTo>
                    <a:pt x="52" y="306"/>
                  </a:lnTo>
                  <a:lnTo>
                    <a:pt x="54" y="302"/>
                  </a:lnTo>
                  <a:lnTo>
                    <a:pt x="50" y="304"/>
                  </a:lnTo>
                  <a:lnTo>
                    <a:pt x="51" y="299"/>
                  </a:lnTo>
                  <a:lnTo>
                    <a:pt x="56" y="293"/>
                  </a:lnTo>
                  <a:lnTo>
                    <a:pt x="60" y="291"/>
                  </a:lnTo>
                  <a:lnTo>
                    <a:pt x="54" y="290"/>
                  </a:lnTo>
                  <a:lnTo>
                    <a:pt x="45" y="293"/>
                  </a:lnTo>
                  <a:lnTo>
                    <a:pt x="35" y="303"/>
                  </a:lnTo>
                  <a:lnTo>
                    <a:pt x="30" y="310"/>
                  </a:lnTo>
                  <a:lnTo>
                    <a:pt x="30" y="306"/>
                  </a:lnTo>
                  <a:lnTo>
                    <a:pt x="31" y="303"/>
                  </a:lnTo>
                  <a:lnTo>
                    <a:pt x="33" y="298"/>
                  </a:lnTo>
                  <a:lnTo>
                    <a:pt x="29" y="300"/>
                  </a:lnTo>
                  <a:lnTo>
                    <a:pt x="31" y="292"/>
                  </a:lnTo>
                  <a:lnTo>
                    <a:pt x="34" y="287"/>
                  </a:lnTo>
                  <a:lnTo>
                    <a:pt x="35" y="287"/>
                  </a:lnTo>
                  <a:lnTo>
                    <a:pt x="40" y="288"/>
                  </a:lnTo>
                  <a:lnTo>
                    <a:pt x="39" y="285"/>
                  </a:lnTo>
                  <a:lnTo>
                    <a:pt x="40" y="285"/>
                  </a:lnTo>
                  <a:lnTo>
                    <a:pt x="43" y="281"/>
                  </a:lnTo>
                  <a:lnTo>
                    <a:pt x="45" y="278"/>
                  </a:lnTo>
                  <a:lnTo>
                    <a:pt x="33" y="276"/>
                  </a:lnTo>
                  <a:lnTo>
                    <a:pt x="24" y="274"/>
                  </a:lnTo>
                  <a:lnTo>
                    <a:pt x="30" y="274"/>
                  </a:lnTo>
                  <a:lnTo>
                    <a:pt x="33" y="274"/>
                  </a:lnTo>
                  <a:lnTo>
                    <a:pt x="33" y="272"/>
                  </a:lnTo>
                  <a:lnTo>
                    <a:pt x="35" y="272"/>
                  </a:lnTo>
                  <a:lnTo>
                    <a:pt x="35" y="270"/>
                  </a:lnTo>
                  <a:lnTo>
                    <a:pt x="39" y="272"/>
                  </a:lnTo>
                  <a:lnTo>
                    <a:pt x="37" y="269"/>
                  </a:lnTo>
                  <a:lnTo>
                    <a:pt x="41" y="270"/>
                  </a:lnTo>
                  <a:lnTo>
                    <a:pt x="42" y="268"/>
                  </a:lnTo>
                  <a:lnTo>
                    <a:pt x="46" y="272"/>
                  </a:lnTo>
                  <a:lnTo>
                    <a:pt x="47" y="274"/>
                  </a:lnTo>
                  <a:lnTo>
                    <a:pt x="50" y="278"/>
                  </a:lnTo>
                  <a:lnTo>
                    <a:pt x="51" y="280"/>
                  </a:lnTo>
                  <a:lnTo>
                    <a:pt x="53" y="280"/>
                  </a:lnTo>
                  <a:lnTo>
                    <a:pt x="54" y="278"/>
                  </a:lnTo>
                  <a:lnTo>
                    <a:pt x="54" y="276"/>
                  </a:lnTo>
                  <a:lnTo>
                    <a:pt x="56" y="275"/>
                  </a:lnTo>
                  <a:lnTo>
                    <a:pt x="58" y="275"/>
                  </a:lnTo>
                  <a:lnTo>
                    <a:pt x="64" y="273"/>
                  </a:lnTo>
                  <a:lnTo>
                    <a:pt x="69" y="275"/>
                  </a:lnTo>
                  <a:lnTo>
                    <a:pt x="71" y="275"/>
                  </a:lnTo>
                  <a:lnTo>
                    <a:pt x="75" y="275"/>
                  </a:lnTo>
                  <a:lnTo>
                    <a:pt x="81" y="275"/>
                  </a:lnTo>
                  <a:lnTo>
                    <a:pt x="83" y="275"/>
                  </a:lnTo>
                  <a:lnTo>
                    <a:pt x="88" y="275"/>
                  </a:lnTo>
                  <a:lnTo>
                    <a:pt x="88" y="272"/>
                  </a:lnTo>
                  <a:lnTo>
                    <a:pt x="90" y="273"/>
                  </a:lnTo>
                  <a:lnTo>
                    <a:pt x="92" y="274"/>
                  </a:lnTo>
                  <a:lnTo>
                    <a:pt x="92" y="275"/>
                  </a:lnTo>
                  <a:lnTo>
                    <a:pt x="95" y="274"/>
                  </a:lnTo>
                  <a:lnTo>
                    <a:pt x="100" y="275"/>
                  </a:lnTo>
                  <a:lnTo>
                    <a:pt x="105" y="276"/>
                  </a:lnTo>
                  <a:lnTo>
                    <a:pt x="109" y="279"/>
                  </a:lnTo>
                  <a:lnTo>
                    <a:pt x="112" y="280"/>
                  </a:lnTo>
                  <a:lnTo>
                    <a:pt x="116" y="280"/>
                  </a:lnTo>
                  <a:lnTo>
                    <a:pt x="117" y="275"/>
                  </a:lnTo>
                  <a:lnTo>
                    <a:pt x="117" y="272"/>
                  </a:lnTo>
                  <a:lnTo>
                    <a:pt x="118" y="269"/>
                  </a:lnTo>
                  <a:lnTo>
                    <a:pt x="115" y="272"/>
                  </a:lnTo>
                  <a:lnTo>
                    <a:pt x="112" y="270"/>
                  </a:lnTo>
                  <a:lnTo>
                    <a:pt x="111" y="273"/>
                  </a:lnTo>
                  <a:lnTo>
                    <a:pt x="111" y="269"/>
                  </a:lnTo>
                  <a:lnTo>
                    <a:pt x="106" y="268"/>
                  </a:lnTo>
                  <a:lnTo>
                    <a:pt x="105" y="267"/>
                  </a:lnTo>
                  <a:lnTo>
                    <a:pt x="105" y="266"/>
                  </a:lnTo>
                  <a:lnTo>
                    <a:pt x="102" y="267"/>
                  </a:lnTo>
                  <a:lnTo>
                    <a:pt x="100" y="268"/>
                  </a:lnTo>
                  <a:lnTo>
                    <a:pt x="101" y="264"/>
                  </a:lnTo>
                  <a:lnTo>
                    <a:pt x="101" y="258"/>
                  </a:lnTo>
                  <a:lnTo>
                    <a:pt x="96" y="261"/>
                  </a:lnTo>
                  <a:lnTo>
                    <a:pt x="93" y="263"/>
                  </a:lnTo>
                  <a:lnTo>
                    <a:pt x="92" y="262"/>
                  </a:lnTo>
                  <a:lnTo>
                    <a:pt x="88" y="260"/>
                  </a:lnTo>
                  <a:lnTo>
                    <a:pt x="86" y="263"/>
                  </a:lnTo>
                  <a:lnTo>
                    <a:pt x="86" y="260"/>
                  </a:lnTo>
                  <a:lnTo>
                    <a:pt x="88" y="256"/>
                  </a:lnTo>
                  <a:lnTo>
                    <a:pt x="86" y="254"/>
                  </a:lnTo>
                  <a:lnTo>
                    <a:pt x="89" y="254"/>
                  </a:lnTo>
                  <a:lnTo>
                    <a:pt x="93" y="254"/>
                  </a:lnTo>
                  <a:lnTo>
                    <a:pt x="95" y="255"/>
                  </a:lnTo>
                  <a:lnTo>
                    <a:pt x="98" y="252"/>
                  </a:lnTo>
                  <a:lnTo>
                    <a:pt x="95" y="250"/>
                  </a:lnTo>
                  <a:lnTo>
                    <a:pt x="93" y="248"/>
                  </a:lnTo>
                  <a:lnTo>
                    <a:pt x="93" y="245"/>
                  </a:lnTo>
                  <a:lnTo>
                    <a:pt x="89" y="248"/>
                  </a:lnTo>
                  <a:lnTo>
                    <a:pt x="90" y="244"/>
                  </a:lnTo>
                  <a:lnTo>
                    <a:pt x="95" y="240"/>
                  </a:lnTo>
                  <a:lnTo>
                    <a:pt x="100" y="242"/>
                  </a:lnTo>
                  <a:lnTo>
                    <a:pt x="101" y="243"/>
                  </a:lnTo>
                  <a:lnTo>
                    <a:pt x="104" y="240"/>
                  </a:lnTo>
                  <a:lnTo>
                    <a:pt x="107" y="238"/>
                  </a:lnTo>
                  <a:lnTo>
                    <a:pt x="109" y="236"/>
                  </a:lnTo>
                  <a:lnTo>
                    <a:pt x="115" y="233"/>
                  </a:lnTo>
                  <a:lnTo>
                    <a:pt x="113" y="230"/>
                  </a:lnTo>
                  <a:lnTo>
                    <a:pt x="110" y="227"/>
                  </a:lnTo>
                  <a:lnTo>
                    <a:pt x="110" y="226"/>
                  </a:lnTo>
                  <a:lnTo>
                    <a:pt x="111" y="227"/>
                  </a:lnTo>
                  <a:lnTo>
                    <a:pt x="113" y="228"/>
                  </a:lnTo>
                  <a:lnTo>
                    <a:pt x="116" y="226"/>
                  </a:lnTo>
                  <a:lnTo>
                    <a:pt x="116" y="224"/>
                  </a:lnTo>
                  <a:lnTo>
                    <a:pt x="121" y="222"/>
                  </a:lnTo>
                  <a:lnTo>
                    <a:pt x="124" y="221"/>
                  </a:lnTo>
                  <a:lnTo>
                    <a:pt x="128" y="219"/>
                  </a:lnTo>
                  <a:lnTo>
                    <a:pt x="130" y="218"/>
                  </a:lnTo>
                  <a:lnTo>
                    <a:pt x="128" y="213"/>
                  </a:lnTo>
                  <a:lnTo>
                    <a:pt x="127" y="210"/>
                  </a:lnTo>
                  <a:lnTo>
                    <a:pt x="123" y="215"/>
                  </a:lnTo>
                  <a:lnTo>
                    <a:pt x="118" y="219"/>
                  </a:lnTo>
                  <a:lnTo>
                    <a:pt x="119" y="215"/>
                  </a:lnTo>
                  <a:lnTo>
                    <a:pt x="125" y="209"/>
                  </a:lnTo>
                  <a:lnTo>
                    <a:pt x="128" y="207"/>
                  </a:lnTo>
                  <a:lnTo>
                    <a:pt x="125" y="207"/>
                  </a:lnTo>
                  <a:lnTo>
                    <a:pt x="125" y="203"/>
                  </a:lnTo>
                  <a:lnTo>
                    <a:pt x="125" y="202"/>
                  </a:lnTo>
                  <a:lnTo>
                    <a:pt x="121" y="203"/>
                  </a:lnTo>
                  <a:lnTo>
                    <a:pt x="115" y="205"/>
                  </a:lnTo>
                  <a:lnTo>
                    <a:pt x="109" y="208"/>
                  </a:lnTo>
                  <a:lnTo>
                    <a:pt x="111" y="202"/>
                  </a:lnTo>
                  <a:lnTo>
                    <a:pt x="113" y="199"/>
                  </a:lnTo>
                  <a:lnTo>
                    <a:pt x="116" y="196"/>
                  </a:lnTo>
                  <a:lnTo>
                    <a:pt x="119" y="195"/>
                  </a:lnTo>
                  <a:lnTo>
                    <a:pt x="125" y="196"/>
                  </a:lnTo>
                  <a:lnTo>
                    <a:pt x="125" y="193"/>
                  </a:lnTo>
                  <a:lnTo>
                    <a:pt x="111" y="192"/>
                  </a:lnTo>
                  <a:lnTo>
                    <a:pt x="110" y="190"/>
                  </a:lnTo>
                  <a:lnTo>
                    <a:pt x="113" y="189"/>
                  </a:lnTo>
                  <a:lnTo>
                    <a:pt x="117" y="187"/>
                  </a:lnTo>
                  <a:lnTo>
                    <a:pt x="119" y="186"/>
                  </a:lnTo>
                  <a:lnTo>
                    <a:pt x="122" y="185"/>
                  </a:lnTo>
                  <a:lnTo>
                    <a:pt x="127" y="186"/>
                  </a:lnTo>
                  <a:lnTo>
                    <a:pt x="129" y="190"/>
                  </a:lnTo>
                  <a:lnTo>
                    <a:pt x="129" y="189"/>
                  </a:lnTo>
                  <a:lnTo>
                    <a:pt x="130" y="186"/>
                  </a:lnTo>
                  <a:lnTo>
                    <a:pt x="134" y="187"/>
                  </a:lnTo>
                  <a:lnTo>
                    <a:pt x="135" y="185"/>
                  </a:lnTo>
                  <a:lnTo>
                    <a:pt x="134" y="183"/>
                  </a:lnTo>
                  <a:lnTo>
                    <a:pt x="129" y="180"/>
                  </a:lnTo>
                  <a:lnTo>
                    <a:pt x="128" y="178"/>
                  </a:lnTo>
                  <a:lnTo>
                    <a:pt x="127" y="177"/>
                  </a:lnTo>
                  <a:lnTo>
                    <a:pt x="125" y="174"/>
                  </a:lnTo>
                  <a:lnTo>
                    <a:pt x="125" y="171"/>
                  </a:lnTo>
                  <a:lnTo>
                    <a:pt x="127" y="168"/>
                  </a:lnTo>
                  <a:lnTo>
                    <a:pt x="127" y="166"/>
                  </a:lnTo>
                  <a:lnTo>
                    <a:pt x="129" y="168"/>
                  </a:lnTo>
                  <a:lnTo>
                    <a:pt x="130" y="167"/>
                  </a:lnTo>
                  <a:lnTo>
                    <a:pt x="133" y="171"/>
                  </a:lnTo>
                  <a:lnTo>
                    <a:pt x="135" y="171"/>
                  </a:lnTo>
                  <a:lnTo>
                    <a:pt x="136" y="177"/>
                  </a:lnTo>
                  <a:lnTo>
                    <a:pt x="136" y="181"/>
                  </a:lnTo>
                  <a:lnTo>
                    <a:pt x="137" y="186"/>
                  </a:lnTo>
                  <a:lnTo>
                    <a:pt x="140" y="189"/>
                  </a:lnTo>
                  <a:lnTo>
                    <a:pt x="145" y="190"/>
                  </a:lnTo>
                  <a:lnTo>
                    <a:pt x="148" y="191"/>
                  </a:lnTo>
                  <a:lnTo>
                    <a:pt x="153" y="189"/>
                  </a:lnTo>
                  <a:lnTo>
                    <a:pt x="155" y="189"/>
                  </a:lnTo>
                  <a:lnTo>
                    <a:pt x="155" y="187"/>
                  </a:lnTo>
                  <a:lnTo>
                    <a:pt x="158" y="186"/>
                  </a:lnTo>
                  <a:lnTo>
                    <a:pt x="159" y="187"/>
                  </a:lnTo>
                  <a:lnTo>
                    <a:pt x="160" y="185"/>
                  </a:lnTo>
                  <a:lnTo>
                    <a:pt x="163" y="184"/>
                  </a:lnTo>
                  <a:lnTo>
                    <a:pt x="165" y="181"/>
                  </a:lnTo>
                  <a:lnTo>
                    <a:pt x="166" y="179"/>
                  </a:lnTo>
                  <a:lnTo>
                    <a:pt x="168" y="178"/>
                  </a:lnTo>
                  <a:lnTo>
                    <a:pt x="166" y="178"/>
                  </a:lnTo>
                  <a:lnTo>
                    <a:pt x="166" y="174"/>
                  </a:lnTo>
                  <a:lnTo>
                    <a:pt x="166" y="173"/>
                  </a:lnTo>
                  <a:lnTo>
                    <a:pt x="165" y="171"/>
                  </a:lnTo>
                  <a:lnTo>
                    <a:pt x="165" y="167"/>
                  </a:lnTo>
                  <a:lnTo>
                    <a:pt x="168" y="168"/>
                  </a:lnTo>
                  <a:lnTo>
                    <a:pt x="169" y="169"/>
                  </a:lnTo>
                  <a:lnTo>
                    <a:pt x="170" y="168"/>
                  </a:lnTo>
                  <a:lnTo>
                    <a:pt x="169" y="167"/>
                  </a:lnTo>
                  <a:lnTo>
                    <a:pt x="172" y="166"/>
                  </a:lnTo>
                  <a:lnTo>
                    <a:pt x="175" y="166"/>
                  </a:lnTo>
                  <a:lnTo>
                    <a:pt x="174" y="162"/>
                  </a:lnTo>
                  <a:lnTo>
                    <a:pt x="172" y="155"/>
                  </a:lnTo>
                  <a:lnTo>
                    <a:pt x="171" y="156"/>
                  </a:lnTo>
                  <a:lnTo>
                    <a:pt x="169" y="155"/>
                  </a:lnTo>
                  <a:lnTo>
                    <a:pt x="168" y="157"/>
                  </a:lnTo>
                  <a:lnTo>
                    <a:pt x="166" y="157"/>
                  </a:lnTo>
                  <a:lnTo>
                    <a:pt x="165" y="155"/>
                  </a:lnTo>
                  <a:lnTo>
                    <a:pt x="165" y="154"/>
                  </a:lnTo>
                  <a:lnTo>
                    <a:pt x="164" y="151"/>
                  </a:lnTo>
                  <a:lnTo>
                    <a:pt x="166" y="151"/>
                  </a:lnTo>
                  <a:lnTo>
                    <a:pt x="170" y="154"/>
                  </a:lnTo>
                  <a:lnTo>
                    <a:pt x="170" y="150"/>
                  </a:lnTo>
                  <a:lnTo>
                    <a:pt x="169" y="147"/>
                  </a:lnTo>
                  <a:lnTo>
                    <a:pt x="170" y="147"/>
                  </a:lnTo>
                  <a:lnTo>
                    <a:pt x="171" y="144"/>
                  </a:lnTo>
                  <a:lnTo>
                    <a:pt x="172" y="143"/>
                  </a:lnTo>
                  <a:lnTo>
                    <a:pt x="174" y="143"/>
                  </a:lnTo>
                  <a:lnTo>
                    <a:pt x="175" y="143"/>
                  </a:lnTo>
                  <a:lnTo>
                    <a:pt x="175" y="147"/>
                  </a:lnTo>
                  <a:lnTo>
                    <a:pt x="177" y="147"/>
                  </a:lnTo>
                  <a:lnTo>
                    <a:pt x="178" y="148"/>
                  </a:lnTo>
                  <a:lnTo>
                    <a:pt x="178" y="149"/>
                  </a:lnTo>
                  <a:lnTo>
                    <a:pt x="175" y="150"/>
                  </a:lnTo>
                  <a:lnTo>
                    <a:pt x="174" y="154"/>
                  </a:lnTo>
                  <a:lnTo>
                    <a:pt x="174" y="157"/>
                  </a:lnTo>
                  <a:lnTo>
                    <a:pt x="175" y="161"/>
                  </a:lnTo>
                  <a:lnTo>
                    <a:pt x="177" y="160"/>
                  </a:lnTo>
                  <a:lnTo>
                    <a:pt x="176" y="157"/>
                  </a:lnTo>
                  <a:lnTo>
                    <a:pt x="176" y="154"/>
                  </a:lnTo>
                  <a:lnTo>
                    <a:pt x="176" y="153"/>
                  </a:lnTo>
                  <a:lnTo>
                    <a:pt x="177" y="153"/>
                  </a:lnTo>
                  <a:lnTo>
                    <a:pt x="178" y="153"/>
                  </a:lnTo>
                  <a:lnTo>
                    <a:pt x="181" y="153"/>
                  </a:lnTo>
                  <a:lnTo>
                    <a:pt x="182" y="153"/>
                  </a:lnTo>
                  <a:lnTo>
                    <a:pt x="182" y="154"/>
                  </a:lnTo>
                  <a:lnTo>
                    <a:pt x="180" y="159"/>
                  </a:lnTo>
                  <a:lnTo>
                    <a:pt x="182" y="161"/>
                  </a:lnTo>
                  <a:lnTo>
                    <a:pt x="184" y="162"/>
                  </a:lnTo>
                  <a:lnTo>
                    <a:pt x="184" y="163"/>
                  </a:lnTo>
                  <a:lnTo>
                    <a:pt x="180" y="167"/>
                  </a:lnTo>
                  <a:lnTo>
                    <a:pt x="182" y="167"/>
                  </a:lnTo>
                  <a:lnTo>
                    <a:pt x="183" y="166"/>
                  </a:lnTo>
                  <a:lnTo>
                    <a:pt x="186" y="165"/>
                  </a:lnTo>
                  <a:lnTo>
                    <a:pt x="188" y="163"/>
                  </a:lnTo>
                  <a:lnTo>
                    <a:pt x="190" y="161"/>
                  </a:lnTo>
                  <a:lnTo>
                    <a:pt x="188" y="160"/>
                  </a:lnTo>
                  <a:lnTo>
                    <a:pt x="183" y="159"/>
                  </a:lnTo>
                  <a:lnTo>
                    <a:pt x="183" y="155"/>
                  </a:lnTo>
                  <a:lnTo>
                    <a:pt x="182" y="150"/>
                  </a:lnTo>
                  <a:lnTo>
                    <a:pt x="183" y="150"/>
                  </a:lnTo>
                  <a:lnTo>
                    <a:pt x="184" y="149"/>
                  </a:lnTo>
                  <a:lnTo>
                    <a:pt x="186" y="149"/>
                  </a:lnTo>
                  <a:lnTo>
                    <a:pt x="188" y="149"/>
                  </a:lnTo>
                  <a:lnTo>
                    <a:pt x="189" y="151"/>
                  </a:lnTo>
                  <a:lnTo>
                    <a:pt x="192" y="149"/>
                  </a:lnTo>
                  <a:lnTo>
                    <a:pt x="195" y="150"/>
                  </a:lnTo>
                  <a:lnTo>
                    <a:pt x="195" y="151"/>
                  </a:lnTo>
                  <a:lnTo>
                    <a:pt x="198" y="153"/>
                  </a:lnTo>
                  <a:lnTo>
                    <a:pt x="196" y="156"/>
                  </a:lnTo>
                  <a:lnTo>
                    <a:pt x="199" y="157"/>
                  </a:lnTo>
                  <a:lnTo>
                    <a:pt x="201" y="155"/>
                  </a:lnTo>
                  <a:lnTo>
                    <a:pt x="200" y="159"/>
                  </a:lnTo>
                  <a:lnTo>
                    <a:pt x="201" y="161"/>
                  </a:lnTo>
                  <a:lnTo>
                    <a:pt x="202" y="157"/>
                  </a:lnTo>
                  <a:lnTo>
                    <a:pt x="204" y="160"/>
                  </a:lnTo>
                  <a:lnTo>
                    <a:pt x="206" y="159"/>
                  </a:lnTo>
                  <a:lnTo>
                    <a:pt x="208" y="156"/>
                  </a:lnTo>
                  <a:lnTo>
                    <a:pt x="206" y="157"/>
                  </a:lnTo>
                  <a:lnTo>
                    <a:pt x="205" y="157"/>
                  </a:lnTo>
                  <a:lnTo>
                    <a:pt x="205" y="155"/>
                  </a:lnTo>
                  <a:lnTo>
                    <a:pt x="204" y="154"/>
                  </a:lnTo>
                  <a:lnTo>
                    <a:pt x="204" y="153"/>
                  </a:lnTo>
                  <a:lnTo>
                    <a:pt x="206" y="153"/>
                  </a:lnTo>
                  <a:lnTo>
                    <a:pt x="206" y="150"/>
                  </a:lnTo>
                  <a:lnTo>
                    <a:pt x="207" y="149"/>
                  </a:lnTo>
                  <a:lnTo>
                    <a:pt x="208" y="149"/>
                  </a:lnTo>
                  <a:lnTo>
                    <a:pt x="211" y="149"/>
                  </a:lnTo>
                  <a:lnTo>
                    <a:pt x="212" y="151"/>
                  </a:lnTo>
                  <a:lnTo>
                    <a:pt x="213" y="149"/>
                  </a:lnTo>
                  <a:lnTo>
                    <a:pt x="214" y="148"/>
                  </a:lnTo>
                  <a:lnTo>
                    <a:pt x="214" y="147"/>
                  </a:lnTo>
                  <a:lnTo>
                    <a:pt x="214" y="138"/>
                  </a:lnTo>
                  <a:lnTo>
                    <a:pt x="217" y="142"/>
                  </a:lnTo>
                  <a:lnTo>
                    <a:pt x="217" y="145"/>
                  </a:lnTo>
                  <a:lnTo>
                    <a:pt x="219" y="145"/>
                  </a:lnTo>
                  <a:lnTo>
                    <a:pt x="219" y="148"/>
                  </a:lnTo>
                  <a:lnTo>
                    <a:pt x="218" y="149"/>
                  </a:lnTo>
                  <a:lnTo>
                    <a:pt x="217" y="151"/>
                  </a:lnTo>
                  <a:lnTo>
                    <a:pt x="218" y="155"/>
                  </a:lnTo>
                  <a:lnTo>
                    <a:pt x="220" y="157"/>
                  </a:lnTo>
                  <a:lnTo>
                    <a:pt x="222" y="155"/>
                  </a:lnTo>
                  <a:lnTo>
                    <a:pt x="224" y="157"/>
                  </a:lnTo>
                  <a:lnTo>
                    <a:pt x="225" y="162"/>
                  </a:lnTo>
                  <a:lnTo>
                    <a:pt x="229" y="160"/>
                  </a:lnTo>
                  <a:lnTo>
                    <a:pt x="231" y="161"/>
                  </a:lnTo>
                  <a:lnTo>
                    <a:pt x="234" y="161"/>
                  </a:lnTo>
                  <a:lnTo>
                    <a:pt x="234" y="163"/>
                  </a:lnTo>
                  <a:lnTo>
                    <a:pt x="236" y="165"/>
                  </a:lnTo>
                  <a:lnTo>
                    <a:pt x="237" y="168"/>
                  </a:lnTo>
                  <a:lnTo>
                    <a:pt x="240" y="172"/>
                  </a:lnTo>
                  <a:lnTo>
                    <a:pt x="241" y="173"/>
                  </a:lnTo>
                  <a:lnTo>
                    <a:pt x="233" y="168"/>
                  </a:lnTo>
                  <a:lnTo>
                    <a:pt x="225" y="165"/>
                  </a:lnTo>
                  <a:lnTo>
                    <a:pt x="223" y="161"/>
                  </a:lnTo>
                  <a:lnTo>
                    <a:pt x="223" y="165"/>
                  </a:lnTo>
                  <a:lnTo>
                    <a:pt x="225" y="168"/>
                  </a:lnTo>
                  <a:lnTo>
                    <a:pt x="225" y="171"/>
                  </a:lnTo>
                  <a:lnTo>
                    <a:pt x="227" y="173"/>
                  </a:lnTo>
                  <a:lnTo>
                    <a:pt x="230" y="174"/>
                  </a:lnTo>
                  <a:lnTo>
                    <a:pt x="234" y="175"/>
                  </a:lnTo>
                  <a:lnTo>
                    <a:pt x="229" y="177"/>
                  </a:lnTo>
                  <a:lnTo>
                    <a:pt x="231" y="186"/>
                  </a:lnTo>
                  <a:lnTo>
                    <a:pt x="234" y="191"/>
                  </a:lnTo>
                  <a:lnTo>
                    <a:pt x="236" y="190"/>
                  </a:lnTo>
                  <a:lnTo>
                    <a:pt x="237" y="191"/>
                  </a:lnTo>
                  <a:lnTo>
                    <a:pt x="239" y="195"/>
                  </a:lnTo>
                  <a:lnTo>
                    <a:pt x="240" y="195"/>
                  </a:lnTo>
                  <a:lnTo>
                    <a:pt x="241" y="193"/>
                  </a:lnTo>
                  <a:lnTo>
                    <a:pt x="242" y="195"/>
                  </a:lnTo>
                  <a:lnTo>
                    <a:pt x="242" y="199"/>
                  </a:lnTo>
                  <a:lnTo>
                    <a:pt x="242" y="203"/>
                  </a:lnTo>
                  <a:lnTo>
                    <a:pt x="243" y="204"/>
                  </a:lnTo>
                  <a:lnTo>
                    <a:pt x="246" y="203"/>
                  </a:lnTo>
                  <a:lnTo>
                    <a:pt x="247" y="203"/>
                  </a:lnTo>
                  <a:lnTo>
                    <a:pt x="247" y="199"/>
                  </a:lnTo>
                  <a:lnTo>
                    <a:pt x="249" y="197"/>
                  </a:lnTo>
                  <a:lnTo>
                    <a:pt x="252" y="196"/>
                  </a:lnTo>
                  <a:lnTo>
                    <a:pt x="257" y="195"/>
                  </a:lnTo>
                  <a:lnTo>
                    <a:pt x="253" y="193"/>
                  </a:lnTo>
                  <a:lnTo>
                    <a:pt x="247" y="195"/>
                  </a:lnTo>
                  <a:lnTo>
                    <a:pt x="245" y="193"/>
                  </a:lnTo>
                  <a:lnTo>
                    <a:pt x="245" y="191"/>
                  </a:lnTo>
                  <a:lnTo>
                    <a:pt x="247" y="190"/>
                  </a:lnTo>
                  <a:lnTo>
                    <a:pt x="248" y="187"/>
                  </a:lnTo>
                  <a:lnTo>
                    <a:pt x="249" y="186"/>
                  </a:lnTo>
                  <a:lnTo>
                    <a:pt x="253" y="185"/>
                  </a:lnTo>
                  <a:lnTo>
                    <a:pt x="255" y="184"/>
                  </a:lnTo>
                  <a:lnTo>
                    <a:pt x="257" y="183"/>
                  </a:lnTo>
                  <a:lnTo>
                    <a:pt x="255" y="180"/>
                  </a:lnTo>
                  <a:lnTo>
                    <a:pt x="254" y="177"/>
                  </a:lnTo>
                  <a:lnTo>
                    <a:pt x="248" y="181"/>
                  </a:lnTo>
                  <a:lnTo>
                    <a:pt x="246" y="183"/>
                  </a:lnTo>
                  <a:lnTo>
                    <a:pt x="246" y="179"/>
                  </a:lnTo>
                  <a:lnTo>
                    <a:pt x="245" y="178"/>
                  </a:lnTo>
                  <a:lnTo>
                    <a:pt x="245" y="177"/>
                  </a:lnTo>
                  <a:lnTo>
                    <a:pt x="245" y="173"/>
                  </a:lnTo>
                  <a:lnTo>
                    <a:pt x="243" y="171"/>
                  </a:lnTo>
                  <a:lnTo>
                    <a:pt x="245" y="169"/>
                  </a:lnTo>
                  <a:lnTo>
                    <a:pt x="241" y="162"/>
                  </a:lnTo>
                  <a:lnTo>
                    <a:pt x="245" y="165"/>
                  </a:lnTo>
                  <a:lnTo>
                    <a:pt x="248" y="163"/>
                  </a:lnTo>
                  <a:lnTo>
                    <a:pt x="251" y="165"/>
                  </a:lnTo>
                  <a:lnTo>
                    <a:pt x="254" y="166"/>
                  </a:lnTo>
                  <a:lnTo>
                    <a:pt x="257" y="160"/>
                  </a:lnTo>
                  <a:lnTo>
                    <a:pt x="255" y="157"/>
                  </a:lnTo>
                  <a:lnTo>
                    <a:pt x="252" y="159"/>
                  </a:lnTo>
                  <a:lnTo>
                    <a:pt x="249" y="159"/>
                  </a:lnTo>
                  <a:lnTo>
                    <a:pt x="248" y="155"/>
                  </a:lnTo>
                  <a:lnTo>
                    <a:pt x="247" y="153"/>
                  </a:lnTo>
                  <a:lnTo>
                    <a:pt x="252" y="153"/>
                  </a:lnTo>
                  <a:lnTo>
                    <a:pt x="255" y="154"/>
                  </a:lnTo>
                  <a:lnTo>
                    <a:pt x="258" y="153"/>
                  </a:lnTo>
                  <a:lnTo>
                    <a:pt x="259" y="151"/>
                  </a:lnTo>
                  <a:lnTo>
                    <a:pt x="261" y="151"/>
                  </a:lnTo>
                  <a:lnTo>
                    <a:pt x="261" y="148"/>
                  </a:lnTo>
                  <a:lnTo>
                    <a:pt x="263" y="149"/>
                  </a:lnTo>
                  <a:lnTo>
                    <a:pt x="264" y="153"/>
                  </a:lnTo>
                  <a:lnTo>
                    <a:pt x="265" y="156"/>
                  </a:lnTo>
                  <a:lnTo>
                    <a:pt x="267" y="155"/>
                  </a:lnTo>
                  <a:lnTo>
                    <a:pt x="267" y="157"/>
                  </a:lnTo>
                  <a:lnTo>
                    <a:pt x="269" y="160"/>
                  </a:lnTo>
                  <a:lnTo>
                    <a:pt x="270" y="160"/>
                  </a:lnTo>
                  <a:lnTo>
                    <a:pt x="272" y="162"/>
                  </a:lnTo>
                  <a:lnTo>
                    <a:pt x="275" y="163"/>
                  </a:lnTo>
                  <a:lnTo>
                    <a:pt x="275" y="165"/>
                  </a:lnTo>
                  <a:lnTo>
                    <a:pt x="276" y="171"/>
                  </a:lnTo>
                  <a:lnTo>
                    <a:pt x="277" y="173"/>
                  </a:lnTo>
                  <a:lnTo>
                    <a:pt x="278" y="177"/>
                  </a:lnTo>
                  <a:lnTo>
                    <a:pt x="279" y="174"/>
                  </a:lnTo>
                  <a:lnTo>
                    <a:pt x="281" y="177"/>
                  </a:lnTo>
                  <a:lnTo>
                    <a:pt x="284" y="174"/>
                  </a:lnTo>
                  <a:lnTo>
                    <a:pt x="287" y="174"/>
                  </a:lnTo>
                  <a:lnTo>
                    <a:pt x="287" y="169"/>
                  </a:lnTo>
                  <a:lnTo>
                    <a:pt x="290" y="172"/>
                  </a:lnTo>
                  <a:lnTo>
                    <a:pt x="294" y="175"/>
                  </a:lnTo>
                  <a:lnTo>
                    <a:pt x="295" y="177"/>
                  </a:lnTo>
                  <a:lnTo>
                    <a:pt x="298" y="178"/>
                  </a:lnTo>
                  <a:lnTo>
                    <a:pt x="300" y="180"/>
                  </a:lnTo>
                  <a:lnTo>
                    <a:pt x="300" y="184"/>
                  </a:lnTo>
                  <a:lnTo>
                    <a:pt x="304" y="184"/>
                  </a:lnTo>
                  <a:lnTo>
                    <a:pt x="307" y="181"/>
                  </a:lnTo>
                  <a:lnTo>
                    <a:pt x="304" y="181"/>
                  </a:lnTo>
                  <a:lnTo>
                    <a:pt x="305" y="179"/>
                  </a:lnTo>
                  <a:lnTo>
                    <a:pt x="305" y="177"/>
                  </a:lnTo>
                  <a:lnTo>
                    <a:pt x="306" y="175"/>
                  </a:lnTo>
                  <a:lnTo>
                    <a:pt x="310" y="175"/>
                  </a:lnTo>
                  <a:lnTo>
                    <a:pt x="310" y="174"/>
                  </a:lnTo>
                  <a:lnTo>
                    <a:pt x="311" y="172"/>
                  </a:lnTo>
                  <a:lnTo>
                    <a:pt x="313" y="171"/>
                  </a:lnTo>
                  <a:lnTo>
                    <a:pt x="314" y="172"/>
                  </a:lnTo>
                  <a:lnTo>
                    <a:pt x="317" y="174"/>
                  </a:lnTo>
                  <a:lnTo>
                    <a:pt x="319" y="174"/>
                  </a:lnTo>
                  <a:lnTo>
                    <a:pt x="322" y="174"/>
                  </a:lnTo>
                  <a:lnTo>
                    <a:pt x="322" y="175"/>
                  </a:lnTo>
                  <a:lnTo>
                    <a:pt x="322" y="179"/>
                  </a:lnTo>
                  <a:lnTo>
                    <a:pt x="324" y="178"/>
                  </a:lnTo>
                  <a:lnTo>
                    <a:pt x="324" y="177"/>
                  </a:lnTo>
                  <a:lnTo>
                    <a:pt x="326" y="175"/>
                  </a:lnTo>
                  <a:lnTo>
                    <a:pt x="328" y="174"/>
                  </a:lnTo>
                  <a:lnTo>
                    <a:pt x="331" y="177"/>
                  </a:lnTo>
                  <a:lnTo>
                    <a:pt x="332" y="174"/>
                  </a:lnTo>
                  <a:lnTo>
                    <a:pt x="329" y="173"/>
                  </a:lnTo>
                  <a:lnTo>
                    <a:pt x="326" y="173"/>
                  </a:lnTo>
                  <a:lnTo>
                    <a:pt x="325" y="172"/>
                  </a:lnTo>
                  <a:lnTo>
                    <a:pt x="325" y="167"/>
                  </a:lnTo>
                  <a:lnTo>
                    <a:pt x="328" y="168"/>
                  </a:lnTo>
                  <a:lnTo>
                    <a:pt x="330" y="167"/>
                  </a:lnTo>
                  <a:lnTo>
                    <a:pt x="332" y="165"/>
                  </a:lnTo>
                  <a:lnTo>
                    <a:pt x="334" y="163"/>
                  </a:lnTo>
                  <a:lnTo>
                    <a:pt x="335" y="163"/>
                  </a:lnTo>
                  <a:lnTo>
                    <a:pt x="337" y="165"/>
                  </a:lnTo>
                  <a:lnTo>
                    <a:pt x="340" y="168"/>
                  </a:lnTo>
                  <a:lnTo>
                    <a:pt x="342" y="166"/>
                  </a:lnTo>
                  <a:lnTo>
                    <a:pt x="343" y="165"/>
                  </a:lnTo>
                  <a:lnTo>
                    <a:pt x="342" y="162"/>
                  </a:lnTo>
                  <a:lnTo>
                    <a:pt x="342" y="161"/>
                  </a:lnTo>
                  <a:lnTo>
                    <a:pt x="343" y="160"/>
                  </a:lnTo>
                  <a:lnTo>
                    <a:pt x="346" y="159"/>
                  </a:lnTo>
                  <a:lnTo>
                    <a:pt x="346" y="157"/>
                  </a:lnTo>
                  <a:lnTo>
                    <a:pt x="348" y="155"/>
                  </a:lnTo>
                  <a:lnTo>
                    <a:pt x="351" y="154"/>
                  </a:lnTo>
                  <a:lnTo>
                    <a:pt x="344" y="155"/>
                  </a:lnTo>
                  <a:lnTo>
                    <a:pt x="341" y="156"/>
                  </a:lnTo>
                  <a:lnTo>
                    <a:pt x="340" y="157"/>
                  </a:lnTo>
                  <a:lnTo>
                    <a:pt x="340" y="156"/>
                  </a:lnTo>
                  <a:lnTo>
                    <a:pt x="343" y="151"/>
                  </a:lnTo>
                  <a:lnTo>
                    <a:pt x="344" y="148"/>
                  </a:lnTo>
                  <a:lnTo>
                    <a:pt x="346" y="147"/>
                  </a:lnTo>
                  <a:lnTo>
                    <a:pt x="348" y="144"/>
                  </a:lnTo>
                  <a:lnTo>
                    <a:pt x="349" y="142"/>
                  </a:lnTo>
                  <a:lnTo>
                    <a:pt x="352" y="141"/>
                  </a:lnTo>
                  <a:lnTo>
                    <a:pt x="357" y="141"/>
                  </a:lnTo>
                  <a:lnTo>
                    <a:pt x="358" y="142"/>
                  </a:lnTo>
                  <a:lnTo>
                    <a:pt x="359" y="142"/>
                  </a:lnTo>
                  <a:lnTo>
                    <a:pt x="361" y="142"/>
                  </a:lnTo>
                  <a:lnTo>
                    <a:pt x="361" y="141"/>
                  </a:lnTo>
                  <a:lnTo>
                    <a:pt x="364" y="141"/>
                  </a:lnTo>
                  <a:lnTo>
                    <a:pt x="361" y="133"/>
                  </a:lnTo>
                  <a:lnTo>
                    <a:pt x="360" y="135"/>
                  </a:lnTo>
                  <a:lnTo>
                    <a:pt x="359" y="137"/>
                  </a:lnTo>
                  <a:lnTo>
                    <a:pt x="359" y="133"/>
                  </a:lnTo>
                  <a:lnTo>
                    <a:pt x="359" y="131"/>
                  </a:lnTo>
                  <a:lnTo>
                    <a:pt x="354" y="130"/>
                  </a:lnTo>
                  <a:lnTo>
                    <a:pt x="348" y="131"/>
                  </a:lnTo>
                  <a:lnTo>
                    <a:pt x="341" y="131"/>
                  </a:lnTo>
                  <a:lnTo>
                    <a:pt x="343" y="130"/>
                  </a:lnTo>
                  <a:lnTo>
                    <a:pt x="344" y="127"/>
                  </a:lnTo>
                  <a:lnTo>
                    <a:pt x="348" y="127"/>
                  </a:lnTo>
                  <a:lnTo>
                    <a:pt x="353" y="125"/>
                  </a:lnTo>
                  <a:lnTo>
                    <a:pt x="354" y="127"/>
                  </a:lnTo>
                  <a:lnTo>
                    <a:pt x="360" y="130"/>
                  </a:lnTo>
                  <a:lnTo>
                    <a:pt x="361" y="130"/>
                  </a:lnTo>
                  <a:lnTo>
                    <a:pt x="357" y="118"/>
                  </a:lnTo>
                  <a:lnTo>
                    <a:pt x="353" y="111"/>
                  </a:lnTo>
                  <a:lnTo>
                    <a:pt x="352" y="113"/>
                  </a:lnTo>
                  <a:lnTo>
                    <a:pt x="348" y="114"/>
                  </a:lnTo>
                  <a:lnTo>
                    <a:pt x="347" y="115"/>
                  </a:lnTo>
                  <a:lnTo>
                    <a:pt x="347" y="112"/>
                  </a:lnTo>
                  <a:lnTo>
                    <a:pt x="347" y="108"/>
                  </a:lnTo>
                  <a:lnTo>
                    <a:pt x="349" y="109"/>
                  </a:lnTo>
                  <a:lnTo>
                    <a:pt x="349" y="106"/>
                  </a:lnTo>
                  <a:lnTo>
                    <a:pt x="346" y="106"/>
                  </a:lnTo>
                  <a:lnTo>
                    <a:pt x="342" y="108"/>
                  </a:lnTo>
                  <a:lnTo>
                    <a:pt x="338" y="112"/>
                  </a:lnTo>
                  <a:lnTo>
                    <a:pt x="338" y="106"/>
                  </a:lnTo>
                  <a:lnTo>
                    <a:pt x="340" y="103"/>
                  </a:lnTo>
                  <a:lnTo>
                    <a:pt x="342" y="102"/>
                  </a:lnTo>
                  <a:lnTo>
                    <a:pt x="346" y="102"/>
                  </a:lnTo>
                  <a:lnTo>
                    <a:pt x="348" y="105"/>
                  </a:lnTo>
                  <a:lnTo>
                    <a:pt x="344" y="97"/>
                  </a:lnTo>
                  <a:lnTo>
                    <a:pt x="338" y="97"/>
                  </a:lnTo>
                  <a:lnTo>
                    <a:pt x="334" y="100"/>
                  </a:lnTo>
                  <a:lnTo>
                    <a:pt x="332" y="105"/>
                  </a:lnTo>
                  <a:lnTo>
                    <a:pt x="330" y="106"/>
                  </a:lnTo>
                  <a:lnTo>
                    <a:pt x="330" y="103"/>
                  </a:lnTo>
                  <a:lnTo>
                    <a:pt x="328" y="100"/>
                  </a:lnTo>
                  <a:lnTo>
                    <a:pt x="329" y="96"/>
                  </a:lnTo>
                  <a:lnTo>
                    <a:pt x="330" y="95"/>
                  </a:lnTo>
                  <a:lnTo>
                    <a:pt x="334" y="96"/>
                  </a:lnTo>
                  <a:lnTo>
                    <a:pt x="340" y="96"/>
                  </a:lnTo>
                  <a:lnTo>
                    <a:pt x="342" y="95"/>
                  </a:lnTo>
                  <a:lnTo>
                    <a:pt x="338" y="95"/>
                  </a:lnTo>
                  <a:lnTo>
                    <a:pt x="335" y="95"/>
                  </a:lnTo>
                  <a:lnTo>
                    <a:pt x="335" y="92"/>
                  </a:lnTo>
                  <a:lnTo>
                    <a:pt x="338" y="91"/>
                  </a:lnTo>
                  <a:lnTo>
                    <a:pt x="338" y="90"/>
                  </a:lnTo>
                  <a:lnTo>
                    <a:pt x="335" y="90"/>
                  </a:lnTo>
                  <a:lnTo>
                    <a:pt x="334" y="91"/>
                  </a:lnTo>
                  <a:lnTo>
                    <a:pt x="331" y="92"/>
                  </a:lnTo>
                  <a:lnTo>
                    <a:pt x="330" y="90"/>
                  </a:lnTo>
                  <a:lnTo>
                    <a:pt x="334" y="89"/>
                  </a:lnTo>
                  <a:lnTo>
                    <a:pt x="338" y="89"/>
                  </a:lnTo>
                  <a:lnTo>
                    <a:pt x="336" y="86"/>
                  </a:lnTo>
                  <a:lnTo>
                    <a:pt x="332" y="86"/>
                  </a:lnTo>
                  <a:lnTo>
                    <a:pt x="329" y="89"/>
                  </a:lnTo>
                  <a:lnTo>
                    <a:pt x="325" y="85"/>
                  </a:lnTo>
                  <a:lnTo>
                    <a:pt x="326" y="84"/>
                  </a:lnTo>
                  <a:lnTo>
                    <a:pt x="330" y="83"/>
                  </a:lnTo>
                  <a:lnTo>
                    <a:pt x="332" y="85"/>
                  </a:lnTo>
                  <a:lnTo>
                    <a:pt x="335" y="85"/>
                  </a:lnTo>
                  <a:lnTo>
                    <a:pt x="331" y="82"/>
                  </a:lnTo>
                  <a:lnTo>
                    <a:pt x="328" y="82"/>
                  </a:lnTo>
                  <a:lnTo>
                    <a:pt x="324" y="80"/>
                  </a:lnTo>
                  <a:lnTo>
                    <a:pt x="319" y="77"/>
                  </a:lnTo>
                  <a:lnTo>
                    <a:pt x="323" y="77"/>
                  </a:lnTo>
                  <a:lnTo>
                    <a:pt x="328" y="78"/>
                  </a:lnTo>
                  <a:lnTo>
                    <a:pt x="332" y="80"/>
                  </a:lnTo>
                  <a:lnTo>
                    <a:pt x="337" y="85"/>
                  </a:lnTo>
                  <a:lnTo>
                    <a:pt x="338" y="85"/>
                  </a:lnTo>
                  <a:lnTo>
                    <a:pt x="340" y="82"/>
                  </a:lnTo>
                  <a:lnTo>
                    <a:pt x="337" y="78"/>
                  </a:lnTo>
                  <a:lnTo>
                    <a:pt x="335" y="77"/>
                  </a:lnTo>
                  <a:lnTo>
                    <a:pt x="329" y="76"/>
                  </a:lnTo>
                  <a:lnTo>
                    <a:pt x="326" y="73"/>
                  </a:lnTo>
                  <a:lnTo>
                    <a:pt x="337" y="73"/>
                  </a:lnTo>
                  <a:lnTo>
                    <a:pt x="338" y="77"/>
                  </a:lnTo>
                  <a:lnTo>
                    <a:pt x="340" y="79"/>
                  </a:lnTo>
                  <a:lnTo>
                    <a:pt x="342" y="77"/>
                  </a:lnTo>
                  <a:lnTo>
                    <a:pt x="344" y="76"/>
                  </a:lnTo>
                  <a:lnTo>
                    <a:pt x="346" y="72"/>
                  </a:lnTo>
                  <a:lnTo>
                    <a:pt x="346" y="71"/>
                  </a:lnTo>
                  <a:lnTo>
                    <a:pt x="347" y="70"/>
                  </a:lnTo>
                  <a:lnTo>
                    <a:pt x="351" y="70"/>
                  </a:lnTo>
                  <a:lnTo>
                    <a:pt x="354" y="70"/>
                  </a:lnTo>
                  <a:lnTo>
                    <a:pt x="358" y="68"/>
                  </a:lnTo>
                  <a:lnTo>
                    <a:pt x="354" y="74"/>
                  </a:lnTo>
                  <a:lnTo>
                    <a:pt x="348" y="74"/>
                  </a:lnTo>
                  <a:lnTo>
                    <a:pt x="344" y="78"/>
                  </a:lnTo>
                  <a:lnTo>
                    <a:pt x="344" y="80"/>
                  </a:lnTo>
                  <a:lnTo>
                    <a:pt x="343" y="83"/>
                  </a:lnTo>
                  <a:lnTo>
                    <a:pt x="347" y="84"/>
                  </a:lnTo>
                  <a:lnTo>
                    <a:pt x="346" y="86"/>
                  </a:lnTo>
                  <a:lnTo>
                    <a:pt x="344" y="92"/>
                  </a:lnTo>
                  <a:lnTo>
                    <a:pt x="346" y="90"/>
                  </a:lnTo>
                  <a:lnTo>
                    <a:pt x="348" y="94"/>
                  </a:lnTo>
                  <a:lnTo>
                    <a:pt x="348" y="97"/>
                  </a:lnTo>
                  <a:lnTo>
                    <a:pt x="353" y="108"/>
                  </a:lnTo>
                  <a:lnTo>
                    <a:pt x="361" y="127"/>
                  </a:lnTo>
                  <a:lnTo>
                    <a:pt x="364" y="127"/>
                  </a:lnTo>
                  <a:lnTo>
                    <a:pt x="367" y="125"/>
                  </a:lnTo>
                  <a:lnTo>
                    <a:pt x="366" y="121"/>
                  </a:lnTo>
                  <a:lnTo>
                    <a:pt x="367" y="120"/>
                  </a:lnTo>
                  <a:lnTo>
                    <a:pt x="367" y="118"/>
                  </a:lnTo>
                  <a:lnTo>
                    <a:pt x="370" y="119"/>
                  </a:lnTo>
                  <a:lnTo>
                    <a:pt x="372" y="120"/>
                  </a:lnTo>
                  <a:lnTo>
                    <a:pt x="373" y="121"/>
                  </a:lnTo>
                  <a:lnTo>
                    <a:pt x="373" y="120"/>
                  </a:lnTo>
                  <a:lnTo>
                    <a:pt x="372" y="115"/>
                  </a:lnTo>
                  <a:lnTo>
                    <a:pt x="375" y="115"/>
                  </a:lnTo>
                  <a:lnTo>
                    <a:pt x="377" y="117"/>
                  </a:lnTo>
                  <a:lnTo>
                    <a:pt x="378" y="117"/>
                  </a:lnTo>
                  <a:lnTo>
                    <a:pt x="381" y="114"/>
                  </a:lnTo>
                  <a:lnTo>
                    <a:pt x="382" y="112"/>
                  </a:lnTo>
                  <a:lnTo>
                    <a:pt x="383" y="112"/>
                  </a:lnTo>
                  <a:lnTo>
                    <a:pt x="387" y="114"/>
                  </a:lnTo>
                  <a:lnTo>
                    <a:pt x="389" y="115"/>
                  </a:lnTo>
                  <a:lnTo>
                    <a:pt x="387" y="117"/>
                  </a:lnTo>
                  <a:lnTo>
                    <a:pt x="387" y="118"/>
                  </a:lnTo>
                  <a:lnTo>
                    <a:pt x="390" y="118"/>
                  </a:lnTo>
                  <a:lnTo>
                    <a:pt x="390" y="120"/>
                  </a:lnTo>
                  <a:lnTo>
                    <a:pt x="393" y="123"/>
                  </a:lnTo>
                  <a:lnTo>
                    <a:pt x="393" y="124"/>
                  </a:lnTo>
                  <a:lnTo>
                    <a:pt x="394" y="125"/>
                  </a:lnTo>
                  <a:lnTo>
                    <a:pt x="395" y="126"/>
                  </a:lnTo>
                  <a:lnTo>
                    <a:pt x="387" y="124"/>
                  </a:lnTo>
                  <a:lnTo>
                    <a:pt x="379" y="123"/>
                  </a:lnTo>
                  <a:lnTo>
                    <a:pt x="378" y="124"/>
                  </a:lnTo>
                  <a:lnTo>
                    <a:pt x="378" y="126"/>
                  </a:lnTo>
                  <a:lnTo>
                    <a:pt x="378" y="127"/>
                  </a:lnTo>
                  <a:lnTo>
                    <a:pt x="379" y="131"/>
                  </a:lnTo>
                  <a:lnTo>
                    <a:pt x="379" y="135"/>
                  </a:lnTo>
                  <a:lnTo>
                    <a:pt x="383" y="132"/>
                  </a:lnTo>
                  <a:lnTo>
                    <a:pt x="383" y="133"/>
                  </a:lnTo>
                  <a:lnTo>
                    <a:pt x="387" y="133"/>
                  </a:lnTo>
                  <a:lnTo>
                    <a:pt x="385" y="135"/>
                  </a:lnTo>
                  <a:lnTo>
                    <a:pt x="388" y="135"/>
                  </a:lnTo>
                  <a:lnTo>
                    <a:pt x="391" y="133"/>
                  </a:lnTo>
                  <a:lnTo>
                    <a:pt x="391" y="135"/>
                  </a:lnTo>
                  <a:lnTo>
                    <a:pt x="394" y="135"/>
                  </a:lnTo>
                  <a:lnTo>
                    <a:pt x="395" y="137"/>
                  </a:lnTo>
                  <a:lnTo>
                    <a:pt x="400" y="137"/>
                  </a:lnTo>
                  <a:lnTo>
                    <a:pt x="395" y="138"/>
                  </a:lnTo>
                  <a:lnTo>
                    <a:pt x="394" y="139"/>
                  </a:lnTo>
                  <a:lnTo>
                    <a:pt x="394" y="141"/>
                  </a:lnTo>
                  <a:lnTo>
                    <a:pt x="393" y="143"/>
                  </a:lnTo>
                  <a:lnTo>
                    <a:pt x="394" y="148"/>
                  </a:lnTo>
                  <a:lnTo>
                    <a:pt x="394" y="151"/>
                  </a:lnTo>
                  <a:lnTo>
                    <a:pt x="393" y="153"/>
                  </a:lnTo>
                  <a:lnTo>
                    <a:pt x="391" y="151"/>
                  </a:lnTo>
                  <a:lnTo>
                    <a:pt x="390" y="148"/>
                  </a:lnTo>
                  <a:lnTo>
                    <a:pt x="389" y="147"/>
                  </a:lnTo>
                  <a:lnTo>
                    <a:pt x="387" y="147"/>
                  </a:lnTo>
                  <a:lnTo>
                    <a:pt x="381" y="148"/>
                  </a:lnTo>
                  <a:lnTo>
                    <a:pt x="378" y="145"/>
                  </a:lnTo>
                  <a:lnTo>
                    <a:pt x="376" y="144"/>
                  </a:lnTo>
                  <a:lnTo>
                    <a:pt x="369" y="147"/>
                  </a:lnTo>
                  <a:lnTo>
                    <a:pt x="371" y="155"/>
                  </a:lnTo>
                  <a:lnTo>
                    <a:pt x="372" y="156"/>
                  </a:lnTo>
                  <a:lnTo>
                    <a:pt x="373" y="156"/>
                  </a:lnTo>
                  <a:lnTo>
                    <a:pt x="375" y="154"/>
                  </a:lnTo>
                  <a:lnTo>
                    <a:pt x="376" y="153"/>
                  </a:lnTo>
                  <a:lnTo>
                    <a:pt x="379" y="151"/>
                  </a:lnTo>
                  <a:lnTo>
                    <a:pt x="383" y="154"/>
                  </a:lnTo>
                  <a:lnTo>
                    <a:pt x="383" y="156"/>
                  </a:lnTo>
                  <a:lnTo>
                    <a:pt x="385" y="155"/>
                  </a:lnTo>
                  <a:lnTo>
                    <a:pt x="389" y="154"/>
                  </a:lnTo>
                  <a:lnTo>
                    <a:pt x="390" y="156"/>
                  </a:lnTo>
                  <a:lnTo>
                    <a:pt x="393" y="157"/>
                  </a:lnTo>
                  <a:lnTo>
                    <a:pt x="396" y="157"/>
                  </a:lnTo>
                  <a:lnTo>
                    <a:pt x="399" y="160"/>
                  </a:lnTo>
                  <a:lnTo>
                    <a:pt x="397" y="162"/>
                  </a:lnTo>
                  <a:lnTo>
                    <a:pt x="400" y="162"/>
                  </a:lnTo>
                  <a:lnTo>
                    <a:pt x="403" y="160"/>
                  </a:lnTo>
                  <a:lnTo>
                    <a:pt x="405" y="157"/>
                  </a:lnTo>
                  <a:lnTo>
                    <a:pt x="406" y="160"/>
                  </a:lnTo>
                  <a:lnTo>
                    <a:pt x="407" y="159"/>
                  </a:lnTo>
                  <a:lnTo>
                    <a:pt x="408" y="160"/>
                  </a:lnTo>
                  <a:lnTo>
                    <a:pt x="410" y="161"/>
                  </a:lnTo>
                  <a:lnTo>
                    <a:pt x="413" y="161"/>
                  </a:lnTo>
                  <a:lnTo>
                    <a:pt x="413" y="160"/>
                  </a:lnTo>
                  <a:lnTo>
                    <a:pt x="414" y="160"/>
                  </a:lnTo>
                  <a:lnTo>
                    <a:pt x="414" y="159"/>
                  </a:lnTo>
                  <a:lnTo>
                    <a:pt x="414" y="156"/>
                  </a:lnTo>
                  <a:lnTo>
                    <a:pt x="416" y="155"/>
                  </a:lnTo>
                  <a:lnTo>
                    <a:pt x="420" y="151"/>
                  </a:lnTo>
                  <a:lnTo>
                    <a:pt x="422" y="150"/>
                  </a:lnTo>
                  <a:lnTo>
                    <a:pt x="423" y="148"/>
                  </a:lnTo>
                  <a:lnTo>
                    <a:pt x="425" y="145"/>
                  </a:lnTo>
                  <a:lnTo>
                    <a:pt x="428" y="143"/>
                  </a:lnTo>
                  <a:lnTo>
                    <a:pt x="424" y="139"/>
                  </a:lnTo>
                  <a:lnTo>
                    <a:pt x="420" y="130"/>
                  </a:lnTo>
                  <a:lnTo>
                    <a:pt x="422" y="131"/>
                  </a:lnTo>
                  <a:lnTo>
                    <a:pt x="423" y="135"/>
                  </a:lnTo>
                  <a:lnTo>
                    <a:pt x="424" y="132"/>
                  </a:lnTo>
                  <a:lnTo>
                    <a:pt x="426" y="131"/>
                  </a:lnTo>
                  <a:lnTo>
                    <a:pt x="428" y="130"/>
                  </a:lnTo>
                  <a:lnTo>
                    <a:pt x="429" y="130"/>
                  </a:lnTo>
                  <a:lnTo>
                    <a:pt x="429" y="132"/>
                  </a:lnTo>
                  <a:lnTo>
                    <a:pt x="428" y="133"/>
                  </a:lnTo>
                  <a:lnTo>
                    <a:pt x="424" y="137"/>
                  </a:lnTo>
                  <a:lnTo>
                    <a:pt x="425" y="139"/>
                  </a:lnTo>
                  <a:lnTo>
                    <a:pt x="426" y="137"/>
                  </a:lnTo>
                  <a:lnTo>
                    <a:pt x="429" y="136"/>
                  </a:lnTo>
                  <a:lnTo>
                    <a:pt x="431" y="136"/>
                  </a:lnTo>
                  <a:lnTo>
                    <a:pt x="431" y="139"/>
                  </a:lnTo>
                  <a:lnTo>
                    <a:pt x="428" y="141"/>
                  </a:lnTo>
                  <a:lnTo>
                    <a:pt x="430" y="144"/>
                  </a:lnTo>
                  <a:lnTo>
                    <a:pt x="434" y="145"/>
                  </a:lnTo>
                  <a:lnTo>
                    <a:pt x="438" y="145"/>
                  </a:lnTo>
                  <a:lnTo>
                    <a:pt x="435" y="142"/>
                  </a:lnTo>
                  <a:lnTo>
                    <a:pt x="436" y="141"/>
                  </a:lnTo>
                  <a:lnTo>
                    <a:pt x="440" y="141"/>
                  </a:lnTo>
                  <a:lnTo>
                    <a:pt x="440" y="144"/>
                  </a:lnTo>
                  <a:lnTo>
                    <a:pt x="442" y="147"/>
                  </a:lnTo>
                  <a:lnTo>
                    <a:pt x="444" y="144"/>
                  </a:lnTo>
                  <a:lnTo>
                    <a:pt x="444" y="141"/>
                  </a:lnTo>
                  <a:lnTo>
                    <a:pt x="442" y="139"/>
                  </a:lnTo>
                  <a:lnTo>
                    <a:pt x="441" y="136"/>
                  </a:lnTo>
                  <a:lnTo>
                    <a:pt x="443" y="138"/>
                  </a:lnTo>
                  <a:lnTo>
                    <a:pt x="442" y="136"/>
                  </a:lnTo>
                  <a:lnTo>
                    <a:pt x="441" y="135"/>
                  </a:lnTo>
                  <a:lnTo>
                    <a:pt x="442" y="135"/>
                  </a:lnTo>
                  <a:lnTo>
                    <a:pt x="444" y="132"/>
                  </a:lnTo>
                  <a:lnTo>
                    <a:pt x="446" y="130"/>
                  </a:lnTo>
                  <a:lnTo>
                    <a:pt x="447" y="129"/>
                  </a:lnTo>
                  <a:lnTo>
                    <a:pt x="447" y="126"/>
                  </a:lnTo>
                  <a:lnTo>
                    <a:pt x="449" y="126"/>
                  </a:lnTo>
                  <a:lnTo>
                    <a:pt x="452" y="125"/>
                  </a:lnTo>
                  <a:lnTo>
                    <a:pt x="452" y="130"/>
                  </a:lnTo>
                  <a:lnTo>
                    <a:pt x="452" y="131"/>
                  </a:lnTo>
                  <a:lnTo>
                    <a:pt x="454" y="131"/>
                  </a:lnTo>
                  <a:lnTo>
                    <a:pt x="456" y="130"/>
                  </a:lnTo>
                  <a:lnTo>
                    <a:pt x="454" y="126"/>
                  </a:lnTo>
                  <a:lnTo>
                    <a:pt x="456" y="125"/>
                  </a:lnTo>
                  <a:lnTo>
                    <a:pt x="456" y="124"/>
                  </a:lnTo>
                  <a:lnTo>
                    <a:pt x="456" y="123"/>
                  </a:lnTo>
                  <a:lnTo>
                    <a:pt x="456" y="124"/>
                  </a:lnTo>
                  <a:lnTo>
                    <a:pt x="458" y="133"/>
                  </a:lnTo>
                  <a:lnTo>
                    <a:pt x="460" y="132"/>
                  </a:lnTo>
                  <a:lnTo>
                    <a:pt x="462" y="136"/>
                  </a:lnTo>
                  <a:lnTo>
                    <a:pt x="465" y="133"/>
                  </a:lnTo>
                  <a:lnTo>
                    <a:pt x="462" y="131"/>
                  </a:lnTo>
                  <a:lnTo>
                    <a:pt x="461" y="130"/>
                  </a:lnTo>
                  <a:lnTo>
                    <a:pt x="461" y="129"/>
                  </a:lnTo>
                  <a:lnTo>
                    <a:pt x="462" y="126"/>
                  </a:lnTo>
                  <a:lnTo>
                    <a:pt x="462" y="124"/>
                  </a:lnTo>
                  <a:lnTo>
                    <a:pt x="464" y="121"/>
                  </a:lnTo>
                  <a:lnTo>
                    <a:pt x="462" y="119"/>
                  </a:lnTo>
                  <a:lnTo>
                    <a:pt x="465" y="118"/>
                  </a:lnTo>
                  <a:lnTo>
                    <a:pt x="465" y="117"/>
                  </a:lnTo>
                  <a:lnTo>
                    <a:pt x="466" y="115"/>
                  </a:lnTo>
                  <a:lnTo>
                    <a:pt x="470" y="113"/>
                  </a:lnTo>
                  <a:lnTo>
                    <a:pt x="471" y="117"/>
                  </a:lnTo>
                  <a:lnTo>
                    <a:pt x="472" y="120"/>
                  </a:lnTo>
                  <a:lnTo>
                    <a:pt x="473" y="121"/>
                  </a:lnTo>
                  <a:lnTo>
                    <a:pt x="473" y="124"/>
                  </a:lnTo>
                  <a:lnTo>
                    <a:pt x="472" y="124"/>
                  </a:lnTo>
                  <a:lnTo>
                    <a:pt x="472" y="126"/>
                  </a:lnTo>
                  <a:lnTo>
                    <a:pt x="473" y="132"/>
                  </a:lnTo>
                  <a:lnTo>
                    <a:pt x="475" y="133"/>
                  </a:lnTo>
                  <a:lnTo>
                    <a:pt x="472" y="135"/>
                  </a:lnTo>
                  <a:lnTo>
                    <a:pt x="469" y="133"/>
                  </a:lnTo>
                  <a:lnTo>
                    <a:pt x="469" y="136"/>
                  </a:lnTo>
                  <a:lnTo>
                    <a:pt x="472" y="137"/>
                  </a:lnTo>
                  <a:lnTo>
                    <a:pt x="473" y="138"/>
                  </a:lnTo>
                  <a:lnTo>
                    <a:pt x="475" y="139"/>
                  </a:lnTo>
                  <a:lnTo>
                    <a:pt x="476" y="142"/>
                  </a:lnTo>
                  <a:lnTo>
                    <a:pt x="476" y="143"/>
                  </a:lnTo>
                  <a:lnTo>
                    <a:pt x="477" y="143"/>
                  </a:lnTo>
                  <a:lnTo>
                    <a:pt x="481" y="142"/>
                  </a:lnTo>
                  <a:lnTo>
                    <a:pt x="482" y="142"/>
                  </a:lnTo>
                  <a:lnTo>
                    <a:pt x="483" y="143"/>
                  </a:lnTo>
                  <a:lnTo>
                    <a:pt x="483" y="147"/>
                  </a:lnTo>
                  <a:lnTo>
                    <a:pt x="485" y="147"/>
                  </a:lnTo>
                  <a:lnTo>
                    <a:pt x="488" y="149"/>
                  </a:lnTo>
                  <a:lnTo>
                    <a:pt x="490" y="150"/>
                  </a:lnTo>
                  <a:lnTo>
                    <a:pt x="489" y="154"/>
                  </a:lnTo>
                  <a:lnTo>
                    <a:pt x="491" y="156"/>
                  </a:lnTo>
                  <a:lnTo>
                    <a:pt x="494" y="156"/>
                  </a:lnTo>
                  <a:lnTo>
                    <a:pt x="496" y="157"/>
                  </a:lnTo>
                  <a:lnTo>
                    <a:pt x="497" y="154"/>
                  </a:lnTo>
                  <a:lnTo>
                    <a:pt x="499" y="150"/>
                  </a:lnTo>
                  <a:lnTo>
                    <a:pt x="499" y="145"/>
                  </a:lnTo>
                  <a:lnTo>
                    <a:pt x="499" y="142"/>
                  </a:lnTo>
                  <a:lnTo>
                    <a:pt x="499" y="141"/>
                  </a:lnTo>
                  <a:lnTo>
                    <a:pt x="500" y="141"/>
                  </a:lnTo>
                  <a:lnTo>
                    <a:pt x="500" y="139"/>
                  </a:lnTo>
                  <a:lnTo>
                    <a:pt x="499" y="139"/>
                  </a:lnTo>
                  <a:lnTo>
                    <a:pt x="497" y="133"/>
                  </a:lnTo>
                  <a:lnTo>
                    <a:pt x="500" y="131"/>
                  </a:lnTo>
                  <a:lnTo>
                    <a:pt x="501" y="132"/>
                  </a:lnTo>
                  <a:lnTo>
                    <a:pt x="502" y="133"/>
                  </a:lnTo>
                  <a:lnTo>
                    <a:pt x="503" y="135"/>
                  </a:lnTo>
                  <a:lnTo>
                    <a:pt x="501" y="139"/>
                  </a:lnTo>
                  <a:lnTo>
                    <a:pt x="501" y="141"/>
                  </a:lnTo>
                  <a:lnTo>
                    <a:pt x="503" y="139"/>
                  </a:lnTo>
                  <a:lnTo>
                    <a:pt x="502" y="143"/>
                  </a:lnTo>
                  <a:lnTo>
                    <a:pt x="500" y="148"/>
                  </a:lnTo>
                  <a:lnTo>
                    <a:pt x="499" y="156"/>
                  </a:lnTo>
                  <a:lnTo>
                    <a:pt x="499" y="159"/>
                  </a:lnTo>
                  <a:lnTo>
                    <a:pt x="501" y="156"/>
                  </a:lnTo>
                  <a:lnTo>
                    <a:pt x="505" y="154"/>
                  </a:lnTo>
                  <a:lnTo>
                    <a:pt x="506" y="156"/>
                  </a:lnTo>
                  <a:lnTo>
                    <a:pt x="506" y="159"/>
                  </a:lnTo>
                  <a:lnTo>
                    <a:pt x="508" y="156"/>
                  </a:lnTo>
                  <a:lnTo>
                    <a:pt x="511" y="155"/>
                  </a:lnTo>
                  <a:lnTo>
                    <a:pt x="512" y="153"/>
                  </a:lnTo>
                  <a:lnTo>
                    <a:pt x="514" y="151"/>
                  </a:lnTo>
                  <a:lnTo>
                    <a:pt x="515" y="153"/>
                  </a:lnTo>
                  <a:lnTo>
                    <a:pt x="517" y="154"/>
                  </a:lnTo>
                  <a:lnTo>
                    <a:pt x="520" y="153"/>
                  </a:lnTo>
                  <a:lnTo>
                    <a:pt x="523" y="154"/>
                  </a:lnTo>
                  <a:lnTo>
                    <a:pt x="526" y="154"/>
                  </a:lnTo>
                  <a:lnTo>
                    <a:pt x="519" y="156"/>
                  </a:lnTo>
                  <a:lnTo>
                    <a:pt x="513" y="156"/>
                  </a:lnTo>
                  <a:lnTo>
                    <a:pt x="508" y="161"/>
                  </a:lnTo>
                  <a:lnTo>
                    <a:pt x="503" y="165"/>
                  </a:lnTo>
                  <a:lnTo>
                    <a:pt x="499" y="167"/>
                  </a:lnTo>
                  <a:lnTo>
                    <a:pt x="495" y="172"/>
                  </a:lnTo>
                  <a:lnTo>
                    <a:pt x="495" y="174"/>
                  </a:lnTo>
                  <a:lnTo>
                    <a:pt x="497" y="172"/>
                  </a:lnTo>
                  <a:lnTo>
                    <a:pt x="499" y="169"/>
                  </a:lnTo>
                  <a:lnTo>
                    <a:pt x="501" y="168"/>
                  </a:lnTo>
                  <a:lnTo>
                    <a:pt x="507" y="166"/>
                  </a:lnTo>
                  <a:lnTo>
                    <a:pt x="502" y="173"/>
                  </a:lnTo>
                  <a:lnTo>
                    <a:pt x="500" y="175"/>
                  </a:lnTo>
                  <a:lnTo>
                    <a:pt x="505" y="178"/>
                  </a:lnTo>
                  <a:lnTo>
                    <a:pt x="508" y="180"/>
                  </a:lnTo>
                  <a:lnTo>
                    <a:pt x="511" y="179"/>
                  </a:lnTo>
                  <a:lnTo>
                    <a:pt x="514" y="178"/>
                  </a:lnTo>
                  <a:lnTo>
                    <a:pt x="517" y="178"/>
                  </a:lnTo>
                  <a:lnTo>
                    <a:pt x="519" y="179"/>
                  </a:lnTo>
                  <a:lnTo>
                    <a:pt x="519" y="180"/>
                  </a:lnTo>
                  <a:lnTo>
                    <a:pt x="520" y="183"/>
                  </a:lnTo>
                  <a:lnTo>
                    <a:pt x="521" y="184"/>
                  </a:lnTo>
                  <a:lnTo>
                    <a:pt x="521" y="187"/>
                  </a:lnTo>
                  <a:lnTo>
                    <a:pt x="523" y="190"/>
                  </a:lnTo>
                  <a:lnTo>
                    <a:pt x="521" y="192"/>
                  </a:lnTo>
                  <a:lnTo>
                    <a:pt x="521" y="195"/>
                  </a:lnTo>
                  <a:lnTo>
                    <a:pt x="524" y="197"/>
                  </a:lnTo>
                  <a:lnTo>
                    <a:pt x="525" y="193"/>
                  </a:lnTo>
                  <a:lnTo>
                    <a:pt x="526" y="191"/>
                  </a:lnTo>
                  <a:lnTo>
                    <a:pt x="530" y="187"/>
                  </a:lnTo>
                  <a:lnTo>
                    <a:pt x="530" y="186"/>
                  </a:lnTo>
                  <a:lnTo>
                    <a:pt x="531" y="192"/>
                  </a:lnTo>
                  <a:lnTo>
                    <a:pt x="531" y="196"/>
                  </a:lnTo>
                  <a:lnTo>
                    <a:pt x="534" y="192"/>
                  </a:lnTo>
                  <a:lnTo>
                    <a:pt x="535" y="197"/>
                  </a:lnTo>
                  <a:lnTo>
                    <a:pt x="535" y="199"/>
                  </a:lnTo>
                  <a:lnTo>
                    <a:pt x="537" y="198"/>
                  </a:lnTo>
                  <a:lnTo>
                    <a:pt x="540" y="197"/>
                  </a:lnTo>
                  <a:lnTo>
                    <a:pt x="540" y="201"/>
                  </a:lnTo>
                  <a:lnTo>
                    <a:pt x="542" y="198"/>
                  </a:lnTo>
                  <a:lnTo>
                    <a:pt x="543" y="199"/>
                  </a:lnTo>
                  <a:lnTo>
                    <a:pt x="544" y="198"/>
                  </a:lnTo>
                  <a:lnTo>
                    <a:pt x="548" y="202"/>
                  </a:lnTo>
                  <a:lnTo>
                    <a:pt x="542" y="202"/>
                  </a:lnTo>
                  <a:lnTo>
                    <a:pt x="536" y="202"/>
                  </a:lnTo>
                  <a:lnTo>
                    <a:pt x="534" y="202"/>
                  </a:lnTo>
                  <a:lnTo>
                    <a:pt x="535" y="205"/>
                  </a:lnTo>
                  <a:lnTo>
                    <a:pt x="536" y="205"/>
                  </a:lnTo>
                  <a:lnTo>
                    <a:pt x="538" y="205"/>
                  </a:lnTo>
                  <a:lnTo>
                    <a:pt x="540" y="207"/>
                  </a:lnTo>
                  <a:lnTo>
                    <a:pt x="542" y="205"/>
                  </a:lnTo>
                  <a:lnTo>
                    <a:pt x="544" y="205"/>
                  </a:lnTo>
                  <a:lnTo>
                    <a:pt x="548" y="207"/>
                  </a:lnTo>
                  <a:lnTo>
                    <a:pt x="552" y="208"/>
                  </a:lnTo>
                  <a:lnTo>
                    <a:pt x="554" y="208"/>
                  </a:lnTo>
                  <a:lnTo>
                    <a:pt x="556" y="210"/>
                  </a:lnTo>
                  <a:lnTo>
                    <a:pt x="558" y="205"/>
                  </a:lnTo>
                  <a:lnTo>
                    <a:pt x="559" y="204"/>
                  </a:lnTo>
                  <a:lnTo>
                    <a:pt x="560" y="202"/>
                  </a:lnTo>
                  <a:lnTo>
                    <a:pt x="562" y="198"/>
                  </a:lnTo>
                  <a:lnTo>
                    <a:pt x="564" y="198"/>
                  </a:lnTo>
                  <a:lnTo>
                    <a:pt x="561" y="202"/>
                  </a:lnTo>
                  <a:lnTo>
                    <a:pt x="562" y="203"/>
                  </a:lnTo>
                  <a:lnTo>
                    <a:pt x="564" y="202"/>
                  </a:lnTo>
                  <a:lnTo>
                    <a:pt x="567" y="202"/>
                  </a:lnTo>
                  <a:lnTo>
                    <a:pt x="566" y="201"/>
                  </a:lnTo>
                  <a:lnTo>
                    <a:pt x="565" y="198"/>
                  </a:lnTo>
                  <a:lnTo>
                    <a:pt x="565" y="196"/>
                  </a:lnTo>
                  <a:lnTo>
                    <a:pt x="565" y="195"/>
                  </a:lnTo>
                  <a:lnTo>
                    <a:pt x="564" y="193"/>
                  </a:lnTo>
                  <a:lnTo>
                    <a:pt x="559" y="195"/>
                  </a:lnTo>
                  <a:lnTo>
                    <a:pt x="554" y="196"/>
                  </a:lnTo>
                  <a:lnTo>
                    <a:pt x="555" y="192"/>
                  </a:lnTo>
                  <a:lnTo>
                    <a:pt x="556" y="190"/>
                  </a:lnTo>
                  <a:lnTo>
                    <a:pt x="559" y="189"/>
                  </a:lnTo>
                  <a:lnTo>
                    <a:pt x="562" y="189"/>
                  </a:lnTo>
                  <a:lnTo>
                    <a:pt x="565" y="190"/>
                  </a:lnTo>
                  <a:lnTo>
                    <a:pt x="566" y="192"/>
                  </a:lnTo>
                  <a:lnTo>
                    <a:pt x="567" y="192"/>
                  </a:lnTo>
                  <a:lnTo>
                    <a:pt x="568" y="191"/>
                  </a:lnTo>
                  <a:lnTo>
                    <a:pt x="572" y="190"/>
                  </a:lnTo>
                  <a:lnTo>
                    <a:pt x="574" y="190"/>
                  </a:lnTo>
                  <a:lnTo>
                    <a:pt x="576" y="187"/>
                  </a:lnTo>
                  <a:lnTo>
                    <a:pt x="577" y="185"/>
                  </a:lnTo>
                  <a:lnTo>
                    <a:pt x="579" y="184"/>
                  </a:lnTo>
                  <a:lnTo>
                    <a:pt x="580" y="183"/>
                  </a:lnTo>
                  <a:lnTo>
                    <a:pt x="583" y="184"/>
                  </a:lnTo>
                  <a:lnTo>
                    <a:pt x="583" y="181"/>
                  </a:lnTo>
                  <a:lnTo>
                    <a:pt x="580" y="181"/>
                  </a:lnTo>
                  <a:lnTo>
                    <a:pt x="577" y="184"/>
                  </a:lnTo>
                  <a:lnTo>
                    <a:pt x="577" y="180"/>
                  </a:lnTo>
                  <a:lnTo>
                    <a:pt x="578" y="178"/>
                  </a:lnTo>
                  <a:lnTo>
                    <a:pt x="576" y="181"/>
                  </a:lnTo>
                  <a:lnTo>
                    <a:pt x="573" y="185"/>
                  </a:lnTo>
                  <a:lnTo>
                    <a:pt x="571" y="187"/>
                  </a:lnTo>
                  <a:lnTo>
                    <a:pt x="570" y="186"/>
                  </a:lnTo>
                  <a:lnTo>
                    <a:pt x="568" y="183"/>
                  </a:lnTo>
                  <a:lnTo>
                    <a:pt x="570" y="179"/>
                  </a:lnTo>
                  <a:lnTo>
                    <a:pt x="574" y="177"/>
                  </a:lnTo>
                  <a:lnTo>
                    <a:pt x="574" y="174"/>
                  </a:lnTo>
                  <a:lnTo>
                    <a:pt x="576" y="173"/>
                  </a:lnTo>
                  <a:lnTo>
                    <a:pt x="578" y="169"/>
                  </a:lnTo>
                  <a:lnTo>
                    <a:pt x="576" y="167"/>
                  </a:lnTo>
                  <a:lnTo>
                    <a:pt x="568" y="161"/>
                  </a:lnTo>
                  <a:lnTo>
                    <a:pt x="561" y="153"/>
                  </a:lnTo>
                  <a:lnTo>
                    <a:pt x="552" y="130"/>
                  </a:lnTo>
                  <a:lnTo>
                    <a:pt x="550" y="132"/>
                  </a:lnTo>
                  <a:lnTo>
                    <a:pt x="552" y="138"/>
                  </a:lnTo>
                  <a:lnTo>
                    <a:pt x="553" y="145"/>
                  </a:lnTo>
                  <a:lnTo>
                    <a:pt x="552" y="143"/>
                  </a:lnTo>
                  <a:lnTo>
                    <a:pt x="550" y="139"/>
                  </a:lnTo>
                  <a:lnTo>
                    <a:pt x="549" y="144"/>
                  </a:lnTo>
                  <a:lnTo>
                    <a:pt x="550" y="143"/>
                  </a:lnTo>
                  <a:lnTo>
                    <a:pt x="552" y="145"/>
                  </a:lnTo>
                  <a:lnTo>
                    <a:pt x="550" y="149"/>
                  </a:lnTo>
                  <a:lnTo>
                    <a:pt x="549" y="154"/>
                  </a:lnTo>
                  <a:lnTo>
                    <a:pt x="549" y="156"/>
                  </a:lnTo>
                  <a:lnTo>
                    <a:pt x="548" y="151"/>
                  </a:lnTo>
                  <a:lnTo>
                    <a:pt x="546" y="148"/>
                  </a:lnTo>
                  <a:lnTo>
                    <a:pt x="543" y="147"/>
                  </a:lnTo>
                  <a:lnTo>
                    <a:pt x="543" y="149"/>
                  </a:lnTo>
                  <a:lnTo>
                    <a:pt x="542" y="147"/>
                  </a:lnTo>
                  <a:lnTo>
                    <a:pt x="542" y="144"/>
                  </a:lnTo>
                  <a:lnTo>
                    <a:pt x="541" y="141"/>
                  </a:lnTo>
                  <a:lnTo>
                    <a:pt x="540" y="141"/>
                  </a:lnTo>
                  <a:lnTo>
                    <a:pt x="537" y="143"/>
                  </a:lnTo>
                  <a:lnTo>
                    <a:pt x="534" y="144"/>
                  </a:lnTo>
                  <a:lnTo>
                    <a:pt x="531" y="147"/>
                  </a:lnTo>
                  <a:lnTo>
                    <a:pt x="530" y="148"/>
                  </a:lnTo>
                  <a:lnTo>
                    <a:pt x="531" y="143"/>
                  </a:lnTo>
                  <a:lnTo>
                    <a:pt x="532" y="138"/>
                  </a:lnTo>
                  <a:lnTo>
                    <a:pt x="531" y="137"/>
                  </a:lnTo>
                  <a:lnTo>
                    <a:pt x="529" y="139"/>
                  </a:lnTo>
                  <a:lnTo>
                    <a:pt x="526" y="142"/>
                  </a:lnTo>
                  <a:lnTo>
                    <a:pt x="525" y="144"/>
                  </a:lnTo>
                  <a:lnTo>
                    <a:pt x="525" y="138"/>
                  </a:lnTo>
                  <a:lnTo>
                    <a:pt x="524" y="137"/>
                  </a:lnTo>
                  <a:lnTo>
                    <a:pt x="525" y="136"/>
                  </a:lnTo>
                  <a:lnTo>
                    <a:pt x="526" y="132"/>
                  </a:lnTo>
                  <a:lnTo>
                    <a:pt x="525" y="131"/>
                  </a:lnTo>
                  <a:lnTo>
                    <a:pt x="526" y="131"/>
                  </a:lnTo>
                  <a:lnTo>
                    <a:pt x="526" y="130"/>
                  </a:lnTo>
                  <a:lnTo>
                    <a:pt x="528" y="127"/>
                  </a:lnTo>
                  <a:lnTo>
                    <a:pt x="532" y="127"/>
                  </a:lnTo>
                  <a:lnTo>
                    <a:pt x="534" y="125"/>
                  </a:lnTo>
                  <a:lnTo>
                    <a:pt x="532" y="126"/>
                  </a:lnTo>
                  <a:lnTo>
                    <a:pt x="534" y="125"/>
                  </a:lnTo>
                  <a:lnTo>
                    <a:pt x="536" y="120"/>
                  </a:lnTo>
                  <a:lnTo>
                    <a:pt x="537" y="119"/>
                  </a:lnTo>
                  <a:lnTo>
                    <a:pt x="535" y="120"/>
                  </a:lnTo>
                  <a:lnTo>
                    <a:pt x="531" y="123"/>
                  </a:lnTo>
                  <a:lnTo>
                    <a:pt x="532" y="119"/>
                  </a:lnTo>
                  <a:lnTo>
                    <a:pt x="530" y="119"/>
                  </a:lnTo>
                  <a:lnTo>
                    <a:pt x="528" y="118"/>
                  </a:lnTo>
                  <a:lnTo>
                    <a:pt x="525" y="119"/>
                  </a:lnTo>
                  <a:lnTo>
                    <a:pt x="524" y="119"/>
                  </a:lnTo>
                  <a:lnTo>
                    <a:pt x="520" y="118"/>
                  </a:lnTo>
                  <a:lnTo>
                    <a:pt x="521" y="117"/>
                  </a:lnTo>
                  <a:lnTo>
                    <a:pt x="520" y="115"/>
                  </a:lnTo>
                  <a:lnTo>
                    <a:pt x="515" y="114"/>
                  </a:lnTo>
                  <a:lnTo>
                    <a:pt x="515" y="111"/>
                  </a:lnTo>
                  <a:lnTo>
                    <a:pt x="518" y="112"/>
                  </a:lnTo>
                  <a:lnTo>
                    <a:pt x="520" y="109"/>
                  </a:lnTo>
                  <a:lnTo>
                    <a:pt x="519" y="107"/>
                  </a:lnTo>
                  <a:lnTo>
                    <a:pt x="523" y="105"/>
                  </a:lnTo>
                  <a:lnTo>
                    <a:pt x="525" y="106"/>
                  </a:lnTo>
                  <a:lnTo>
                    <a:pt x="528" y="106"/>
                  </a:lnTo>
                  <a:lnTo>
                    <a:pt x="526" y="103"/>
                  </a:lnTo>
                  <a:lnTo>
                    <a:pt x="525" y="101"/>
                  </a:lnTo>
                  <a:lnTo>
                    <a:pt x="524" y="100"/>
                  </a:lnTo>
                  <a:lnTo>
                    <a:pt x="524" y="103"/>
                  </a:lnTo>
                  <a:lnTo>
                    <a:pt x="521" y="100"/>
                  </a:lnTo>
                  <a:lnTo>
                    <a:pt x="520" y="96"/>
                  </a:lnTo>
                  <a:lnTo>
                    <a:pt x="519" y="94"/>
                  </a:lnTo>
                  <a:lnTo>
                    <a:pt x="517" y="95"/>
                  </a:lnTo>
                  <a:lnTo>
                    <a:pt x="515" y="95"/>
                  </a:lnTo>
                  <a:lnTo>
                    <a:pt x="515" y="89"/>
                  </a:lnTo>
                  <a:lnTo>
                    <a:pt x="517" y="85"/>
                  </a:lnTo>
                  <a:lnTo>
                    <a:pt x="517" y="83"/>
                  </a:lnTo>
                  <a:lnTo>
                    <a:pt x="517" y="80"/>
                  </a:lnTo>
                  <a:lnTo>
                    <a:pt x="517" y="78"/>
                  </a:lnTo>
                  <a:lnTo>
                    <a:pt x="514" y="83"/>
                  </a:lnTo>
                  <a:lnTo>
                    <a:pt x="514" y="85"/>
                  </a:lnTo>
                  <a:lnTo>
                    <a:pt x="512" y="90"/>
                  </a:lnTo>
                  <a:lnTo>
                    <a:pt x="511" y="88"/>
                  </a:lnTo>
                  <a:lnTo>
                    <a:pt x="509" y="84"/>
                  </a:lnTo>
                  <a:lnTo>
                    <a:pt x="509" y="80"/>
                  </a:lnTo>
                  <a:lnTo>
                    <a:pt x="508" y="79"/>
                  </a:lnTo>
                  <a:lnTo>
                    <a:pt x="507" y="79"/>
                  </a:lnTo>
                  <a:lnTo>
                    <a:pt x="507" y="84"/>
                  </a:lnTo>
                  <a:lnTo>
                    <a:pt x="506" y="88"/>
                  </a:lnTo>
                  <a:lnTo>
                    <a:pt x="503" y="89"/>
                  </a:lnTo>
                  <a:lnTo>
                    <a:pt x="503" y="91"/>
                  </a:lnTo>
                  <a:lnTo>
                    <a:pt x="502" y="92"/>
                  </a:lnTo>
                  <a:lnTo>
                    <a:pt x="501" y="95"/>
                  </a:lnTo>
                  <a:lnTo>
                    <a:pt x="500" y="94"/>
                  </a:lnTo>
                  <a:lnTo>
                    <a:pt x="500" y="96"/>
                  </a:lnTo>
                  <a:lnTo>
                    <a:pt x="499" y="97"/>
                  </a:lnTo>
                  <a:lnTo>
                    <a:pt x="497" y="95"/>
                  </a:lnTo>
                  <a:lnTo>
                    <a:pt x="497" y="90"/>
                  </a:lnTo>
                  <a:lnTo>
                    <a:pt x="496" y="89"/>
                  </a:lnTo>
                  <a:lnTo>
                    <a:pt x="496" y="88"/>
                  </a:lnTo>
                  <a:lnTo>
                    <a:pt x="496" y="89"/>
                  </a:lnTo>
                  <a:lnTo>
                    <a:pt x="494" y="90"/>
                  </a:lnTo>
                  <a:lnTo>
                    <a:pt x="493" y="90"/>
                  </a:lnTo>
                  <a:lnTo>
                    <a:pt x="489" y="92"/>
                  </a:lnTo>
                  <a:lnTo>
                    <a:pt x="488" y="95"/>
                  </a:lnTo>
                  <a:lnTo>
                    <a:pt x="487" y="96"/>
                  </a:lnTo>
                  <a:lnTo>
                    <a:pt x="487" y="91"/>
                  </a:lnTo>
                  <a:lnTo>
                    <a:pt x="488" y="85"/>
                  </a:lnTo>
                  <a:lnTo>
                    <a:pt x="489" y="83"/>
                  </a:lnTo>
                  <a:lnTo>
                    <a:pt x="489" y="82"/>
                  </a:lnTo>
                  <a:lnTo>
                    <a:pt x="488" y="82"/>
                  </a:lnTo>
                  <a:lnTo>
                    <a:pt x="487" y="82"/>
                  </a:lnTo>
                  <a:lnTo>
                    <a:pt x="487" y="79"/>
                  </a:lnTo>
                  <a:lnTo>
                    <a:pt x="488" y="74"/>
                  </a:lnTo>
                  <a:lnTo>
                    <a:pt x="489" y="72"/>
                  </a:lnTo>
                  <a:lnTo>
                    <a:pt x="491" y="70"/>
                  </a:lnTo>
                  <a:lnTo>
                    <a:pt x="493" y="66"/>
                  </a:lnTo>
                  <a:lnTo>
                    <a:pt x="494" y="64"/>
                  </a:lnTo>
                  <a:lnTo>
                    <a:pt x="494" y="61"/>
                  </a:lnTo>
                  <a:lnTo>
                    <a:pt x="491" y="65"/>
                  </a:lnTo>
                  <a:lnTo>
                    <a:pt x="490" y="66"/>
                  </a:lnTo>
                  <a:lnTo>
                    <a:pt x="490" y="62"/>
                  </a:lnTo>
                  <a:lnTo>
                    <a:pt x="487" y="66"/>
                  </a:lnTo>
                  <a:lnTo>
                    <a:pt x="484" y="66"/>
                  </a:lnTo>
                  <a:lnTo>
                    <a:pt x="483" y="64"/>
                  </a:lnTo>
                  <a:lnTo>
                    <a:pt x="477" y="66"/>
                  </a:lnTo>
                  <a:lnTo>
                    <a:pt x="475" y="67"/>
                  </a:lnTo>
                  <a:lnTo>
                    <a:pt x="470" y="77"/>
                  </a:lnTo>
                  <a:lnTo>
                    <a:pt x="466" y="79"/>
                  </a:lnTo>
                  <a:lnTo>
                    <a:pt x="465" y="82"/>
                  </a:lnTo>
                  <a:lnTo>
                    <a:pt x="462" y="79"/>
                  </a:lnTo>
                  <a:lnTo>
                    <a:pt x="464" y="73"/>
                  </a:lnTo>
                  <a:lnTo>
                    <a:pt x="466" y="67"/>
                  </a:lnTo>
                  <a:lnTo>
                    <a:pt x="465" y="65"/>
                  </a:lnTo>
                  <a:lnTo>
                    <a:pt x="467" y="61"/>
                  </a:lnTo>
                  <a:lnTo>
                    <a:pt x="470" y="60"/>
                  </a:lnTo>
                  <a:lnTo>
                    <a:pt x="473" y="61"/>
                  </a:lnTo>
                  <a:lnTo>
                    <a:pt x="478" y="61"/>
                  </a:lnTo>
                  <a:lnTo>
                    <a:pt x="483" y="58"/>
                  </a:lnTo>
                  <a:lnTo>
                    <a:pt x="488" y="55"/>
                  </a:lnTo>
                  <a:lnTo>
                    <a:pt x="488" y="53"/>
                  </a:lnTo>
                  <a:lnTo>
                    <a:pt x="487" y="50"/>
                  </a:lnTo>
                  <a:lnTo>
                    <a:pt x="487" y="46"/>
                  </a:lnTo>
                  <a:lnTo>
                    <a:pt x="484" y="46"/>
                  </a:lnTo>
                  <a:lnTo>
                    <a:pt x="485" y="40"/>
                  </a:lnTo>
                  <a:lnTo>
                    <a:pt x="484" y="38"/>
                  </a:lnTo>
                  <a:lnTo>
                    <a:pt x="483" y="41"/>
                  </a:lnTo>
                  <a:lnTo>
                    <a:pt x="478" y="48"/>
                  </a:lnTo>
                  <a:lnTo>
                    <a:pt x="477" y="49"/>
                  </a:lnTo>
                  <a:lnTo>
                    <a:pt x="475" y="44"/>
                  </a:lnTo>
                  <a:lnTo>
                    <a:pt x="475" y="37"/>
                  </a:lnTo>
                  <a:lnTo>
                    <a:pt x="476" y="35"/>
                  </a:lnTo>
                  <a:lnTo>
                    <a:pt x="473" y="35"/>
                  </a:lnTo>
                  <a:lnTo>
                    <a:pt x="476" y="28"/>
                  </a:lnTo>
                  <a:lnTo>
                    <a:pt x="481" y="25"/>
                  </a:lnTo>
                  <a:lnTo>
                    <a:pt x="483" y="23"/>
                  </a:lnTo>
                  <a:lnTo>
                    <a:pt x="487" y="20"/>
                  </a:lnTo>
                  <a:lnTo>
                    <a:pt x="490" y="18"/>
                  </a:lnTo>
                  <a:lnTo>
                    <a:pt x="490" y="14"/>
                  </a:lnTo>
                  <a:lnTo>
                    <a:pt x="484" y="12"/>
                  </a:lnTo>
                  <a:lnTo>
                    <a:pt x="479" y="11"/>
                  </a:lnTo>
                  <a:lnTo>
                    <a:pt x="484" y="11"/>
                  </a:lnTo>
                  <a:lnTo>
                    <a:pt x="487" y="8"/>
                  </a:lnTo>
                  <a:lnTo>
                    <a:pt x="490" y="7"/>
                  </a:lnTo>
                  <a:lnTo>
                    <a:pt x="490" y="5"/>
                  </a:lnTo>
                  <a:lnTo>
                    <a:pt x="490" y="2"/>
                  </a:lnTo>
                  <a:lnTo>
                    <a:pt x="491" y="1"/>
                  </a:lnTo>
                  <a:lnTo>
                    <a:pt x="495" y="0"/>
                  </a:lnTo>
                  <a:lnTo>
                    <a:pt x="497" y="0"/>
                  </a:lnTo>
                  <a:lnTo>
                    <a:pt x="501" y="0"/>
                  </a:lnTo>
                  <a:lnTo>
                    <a:pt x="501" y="1"/>
                  </a:lnTo>
                  <a:lnTo>
                    <a:pt x="502" y="1"/>
                  </a:lnTo>
                  <a:lnTo>
                    <a:pt x="502" y="4"/>
                  </a:lnTo>
                  <a:lnTo>
                    <a:pt x="505" y="2"/>
                  </a:lnTo>
                  <a:lnTo>
                    <a:pt x="506" y="2"/>
                  </a:lnTo>
                  <a:lnTo>
                    <a:pt x="507" y="2"/>
                  </a:lnTo>
                  <a:lnTo>
                    <a:pt x="509" y="2"/>
                  </a:lnTo>
                  <a:lnTo>
                    <a:pt x="511" y="1"/>
                  </a:lnTo>
                  <a:lnTo>
                    <a:pt x="513" y="0"/>
                  </a:lnTo>
                  <a:lnTo>
                    <a:pt x="511" y="6"/>
                  </a:lnTo>
                  <a:lnTo>
                    <a:pt x="508" y="16"/>
                  </a:lnTo>
                  <a:lnTo>
                    <a:pt x="508" y="18"/>
                  </a:lnTo>
                  <a:lnTo>
                    <a:pt x="511" y="14"/>
                  </a:lnTo>
                  <a:lnTo>
                    <a:pt x="512" y="16"/>
                  </a:lnTo>
                  <a:lnTo>
                    <a:pt x="513" y="20"/>
                  </a:lnTo>
                  <a:lnTo>
                    <a:pt x="512" y="26"/>
                  </a:lnTo>
                  <a:lnTo>
                    <a:pt x="514" y="31"/>
                  </a:lnTo>
                  <a:lnTo>
                    <a:pt x="514" y="29"/>
                  </a:lnTo>
                  <a:lnTo>
                    <a:pt x="518" y="30"/>
                  </a:lnTo>
                  <a:lnTo>
                    <a:pt x="518" y="28"/>
                  </a:lnTo>
                  <a:lnTo>
                    <a:pt x="518" y="23"/>
                  </a:lnTo>
                  <a:lnTo>
                    <a:pt x="523" y="22"/>
                  </a:lnTo>
                  <a:lnTo>
                    <a:pt x="528" y="24"/>
                  </a:lnTo>
                  <a:lnTo>
                    <a:pt x="530" y="28"/>
                  </a:lnTo>
                  <a:lnTo>
                    <a:pt x="531" y="32"/>
                  </a:lnTo>
                  <a:lnTo>
                    <a:pt x="529" y="34"/>
                  </a:lnTo>
                  <a:lnTo>
                    <a:pt x="526" y="32"/>
                  </a:lnTo>
                  <a:lnTo>
                    <a:pt x="526" y="34"/>
                  </a:lnTo>
                  <a:lnTo>
                    <a:pt x="524" y="32"/>
                  </a:lnTo>
                  <a:lnTo>
                    <a:pt x="523" y="31"/>
                  </a:lnTo>
                  <a:lnTo>
                    <a:pt x="523" y="35"/>
                  </a:lnTo>
                  <a:lnTo>
                    <a:pt x="524" y="37"/>
                  </a:lnTo>
                  <a:lnTo>
                    <a:pt x="526" y="40"/>
                  </a:lnTo>
                  <a:lnTo>
                    <a:pt x="529" y="42"/>
                  </a:lnTo>
                  <a:lnTo>
                    <a:pt x="530" y="46"/>
                  </a:lnTo>
                  <a:lnTo>
                    <a:pt x="531" y="49"/>
                  </a:lnTo>
                  <a:lnTo>
                    <a:pt x="534" y="50"/>
                  </a:lnTo>
                  <a:lnTo>
                    <a:pt x="536" y="49"/>
                  </a:lnTo>
                  <a:lnTo>
                    <a:pt x="537" y="52"/>
                  </a:lnTo>
                  <a:lnTo>
                    <a:pt x="538" y="50"/>
                  </a:lnTo>
                  <a:lnTo>
                    <a:pt x="540" y="49"/>
                  </a:lnTo>
                  <a:lnTo>
                    <a:pt x="541" y="49"/>
                  </a:lnTo>
                  <a:lnTo>
                    <a:pt x="544" y="49"/>
                  </a:lnTo>
                  <a:lnTo>
                    <a:pt x="547" y="52"/>
                  </a:lnTo>
                  <a:lnTo>
                    <a:pt x="547" y="49"/>
                  </a:lnTo>
                  <a:lnTo>
                    <a:pt x="544" y="46"/>
                  </a:lnTo>
                  <a:lnTo>
                    <a:pt x="546" y="41"/>
                  </a:lnTo>
                  <a:lnTo>
                    <a:pt x="546" y="37"/>
                  </a:lnTo>
                  <a:lnTo>
                    <a:pt x="548" y="37"/>
                  </a:lnTo>
                  <a:lnTo>
                    <a:pt x="550" y="35"/>
                  </a:lnTo>
                  <a:lnTo>
                    <a:pt x="554" y="36"/>
                  </a:lnTo>
                  <a:lnTo>
                    <a:pt x="556" y="38"/>
                  </a:lnTo>
                  <a:lnTo>
                    <a:pt x="559" y="41"/>
                  </a:lnTo>
                  <a:lnTo>
                    <a:pt x="562" y="41"/>
                  </a:lnTo>
                  <a:lnTo>
                    <a:pt x="566" y="38"/>
                  </a:lnTo>
                  <a:lnTo>
                    <a:pt x="562" y="41"/>
                  </a:lnTo>
                  <a:lnTo>
                    <a:pt x="561" y="44"/>
                  </a:lnTo>
                  <a:lnTo>
                    <a:pt x="559" y="43"/>
                  </a:lnTo>
                  <a:lnTo>
                    <a:pt x="556" y="43"/>
                  </a:lnTo>
                  <a:lnTo>
                    <a:pt x="552" y="50"/>
                  </a:lnTo>
                  <a:lnTo>
                    <a:pt x="556" y="50"/>
                  </a:lnTo>
                  <a:lnTo>
                    <a:pt x="561" y="53"/>
                  </a:lnTo>
                  <a:lnTo>
                    <a:pt x="566" y="55"/>
                  </a:lnTo>
                  <a:lnTo>
                    <a:pt x="562" y="56"/>
                  </a:lnTo>
                  <a:lnTo>
                    <a:pt x="562" y="61"/>
                  </a:lnTo>
                  <a:lnTo>
                    <a:pt x="561" y="62"/>
                  </a:lnTo>
                  <a:lnTo>
                    <a:pt x="560" y="61"/>
                  </a:lnTo>
                  <a:lnTo>
                    <a:pt x="559" y="53"/>
                  </a:lnTo>
                  <a:lnTo>
                    <a:pt x="555" y="52"/>
                  </a:lnTo>
                  <a:lnTo>
                    <a:pt x="550" y="53"/>
                  </a:lnTo>
                  <a:lnTo>
                    <a:pt x="549" y="58"/>
                  </a:lnTo>
                  <a:lnTo>
                    <a:pt x="548" y="61"/>
                  </a:lnTo>
                  <a:lnTo>
                    <a:pt x="549" y="67"/>
                  </a:lnTo>
                  <a:lnTo>
                    <a:pt x="553" y="66"/>
                  </a:lnTo>
                  <a:lnTo>
                    <a:pt x="556" y="68"/>
                  </a:lnTo>
                  <a:lnTo>
                    <a:pt x="558" y="71"/>
                  </a:lnTo>
                  <a:lnTo>
                    <a:pt x="559" y="73"/>
                  </a:lnTo>
                  <a:lnTo>
                    <a:pt x="558" y="76"/>
                  </a:lnTo>
                  <a:lnTo>
                    <a:pt x="561" y="78"/>
                  </a:lnTo>
                  <a:lnTo>
                    <a:pt x="561" y="84"/>
                  </a:lnTo>
                  <a:lnTo>
                    <a:pt x="561" y="88"/>
                  </a:lnTo>
                  <a:lnTo>
                    <a:pt x="562" y="90"/>
                  </a:lnTo>
                  <a:lnTo>
                    <a:pt x="562" y="94"/>
                  </a:lnTo>
                  <a:lnTo>
                    <a:pt x="561" y="97"/>
                  </a:lnTo>
                  <a:lnTo>
                    <a:pt x="562" y="100"/>
                  </a:lnTo>
                  <a:lnTo>
                    <a:pt x="566" y="100"/>
                  </a:lnTo>
                  <a:lnTo>
                    <a:pt x="570" y="97"/>
                  </a:lnTo>
                  <a:lnTo>
                    <a:pt x="573" y="96"/>
                  </a:lnTo>
                  <a:lnTo>
                    <a:pt x="574" y="95"/>
                  </a:lnTo>
                  <a:lnTo>
                    <a:pt x="578" y="94"/>
                  </a:lnTo>
                  <a:lnTo>
                    <a:pt x="578" y="91"/>
                  </a:lnTo>
                  <a:lnTo>
                    <a:pt x="580" y="91"/>
                  </a:lnTo>
                  <a:lnTo>
                    <a:pt x="583" y="91"/>
                  </a:lnTo>
                  <a:lnTo>
                    <a:pt x="584" y="92"/>
                  </a:lnTo>
                  <a:lnTo>
                    <a:pt x="587" y="92"/>
                  </a:lnTo>
                  <a:lnTo>
                    <a:pt x="584" y="95"/>
                  </a:lnTo>
                  <a:lnTo>
                    <a:pt x="587" y="94"/>
                  </a:lnTo>
                  <a:lnTo>
                    <a:pt x="589" y="94"/>
                  </a:lnTo>
                  <a:lnTo>
                    <a:pt x="590" y="95"/>
                  </a:lnTo>
                  <a:lnTo>
                    <a:pt x="594" y="95"/>
                  </a:lnTo>
                  <a:lnTo>
                    <a:pt x="596" y="92"/>
                  </a:lnTo>
                  <a:lnTo>
                    <a:pt x="599" y="90"/>
                  </a:lnTo>
                  <a:lnTo>
                    <a:pt x="600" y="91"/>
                  </a:lnTo>
                  <a:lnTo>
                    <a:pt x="601" y="94"/>
                  </a:lnTo>
                  <a:lnTo>
                    <a:pt x="603" y="95"/>
                  </a:lnTo>
                  <a:lnTo>
                    <a:pt x="607" y="94"/>
                  </a:lnTo>
                  <a:lnTo>
                    <a:pt x="606" y="94"/>
                  </a:lnTo>
                  <a:lnTo>
                    <a:pt x="606" y="95"/>
                  </a:lnTo>
                  <a:lnTo>
                    <a:pt x="611" y="96"/>
                  </a:lnTo>
                  <a:lnTo>
                    <a:pt x="613" y="100"/>
                  </a:lnTo>
                  <a:lnTo>
                    <a:pt x="615" y="97"/>
                  </a:lnTo>
                  <a:lnTo>
                    <a:pt x="618" y="97"/>
                  </a:lnTo>
                  <a:lnTo>
                    <a:pt x="618" y="96"/>
                  </a:lnTo>
                  <a:lnTo>
                    <a:pt x="619" y="95"/>
                  </a:lnTo>
                  <a:lnTo>
                    <a:pt x="621" y="94"/>
                  </a:lnTo>
                  <a:lnTo>
                    <a:pt x="623" y="92"/>
                  </a:lnTo>
                  <a:lnTo>
                    <a:pt x="625" y="95"/>
                  </a:lnTo>
                  <a:lnTo>
                    <a:pt x="626" y="95"/>
                  </a:lnTo>
                  <a:lnTo>
                    <a:pt x="627" y="97"/>
                  </a:lnTo>
                  <a:lnTo>
                    <a:pt x="630" y="96"/>
                  </a:lnTo>
                  <a:lnTo>
                    <a:pt x="630" y="92"/>
                  </a:lnTo>
                  <a:lnTo>
                    <a:pt x="629" y="91"/>
                  </a:lnTo>
                  <a:lnTo>
                    <a:pt x="630" y="89"/>
                  </a:lnTo>
                  <a:lnTo>
                    <a:pt x="631" y="86"/>
                  </a:lnTo>
                  <a:lnTo>
                    <a:pt x="633" y="84"/>
                  </a:lnTo>
                  <a:lnTo>
                    <a:pt x="637" y="83"/>
                  </a:lnTo>
                  <a:lnTo>
                    <a:pt x="639" y="84"/>
                  </a:lnTo>
                  <a:lnTo>
                    <a:pt x="642" y="85"/>
                  </a:lnTo>
                  <a:lnTo>
                    <a:pt x="644" y="85"/>
                  </a:lnTo>
                  <a:lnTo>
                    <a:pt x="644" y="86"/>
                  </a:lnTo>
                  <a:lnTo>
                    <a:pt x="645" y="86"/>
                  </a:lnTo>
                  <a:lnTo>
                    <a:pt x="645" y="77"/>
                  </a:lnTo>
                  <a:lnTo>
                    <a:pt x="642" y="74"/>
                  </a:lnTo>
                  <a:lnTo>
                    <a:pt x="639" y="71"/>
                  </a:lnTo>
                  <a:lnTo>
                    <a:pt x="641" y="68"/>
                  </a:lnTo>
                  <a:lnTo>
                    <a:pt x="641" y="67"/>
                  </a:lnTo>
                  <a:lnTo>
                    <a:pt x="642" y="66"/>
                  </a:lnTo>
                  <a:lnTo>
                    <a:pt x="643" y="67"/>
                  </a:lnTo>
                  <a:lnTo>
                    <a:pt x="643" y="65"/>
                  </a:lnTo>
                  <a:lnTo>
                    <a:pt x="645" y="65"/>
                  </a:lnTo>
                  <a:lnTo>
                    <a:pt x="648" y="65"/>
                  </a:lnTo>
                  <a:lnTo>
                    <a:pt x="649" y="65"/>
                  </a:lnTo>
                  <a:lnTo>
                    <a:pt x="652" y="65"/>
                  </a:lnTo>
                  <a:lnTo>
                    <a:pt x="650" y="68"/>
                  </a:lnTo>
                  <a:lnTo>
                    <a:pt x="652" y="71"/>
                  </a:lnTo>
                  <a:lnTo>
                    <a:pt x="655" y="71"/>
                  </a:lnTo>
                  <a:lnTo>
                    <a:pt x="661" y="71"/>
                  </a:lnTo>
                  <a:lnTo>
                    <a:pt x="658" y="73"/>
                  </a:lnTo>
                  <a:lnTo>
                    <a:pt x="654" y="76"/>
                  </a:lnTo>
                  <a:lnTo>
                    <a:pt x="652" y="78"/>
                  </a:lnTo>
                  <a:lnTo>
                    <a:pt x="650" y="79"/>
                  </a:lnTo>
                  <a:lnTo>
                    <a:pt x="653" y="78"/>
                  </a:lnTo>
                  <a:lnTo>
                    <a:pt x="656" y="77"/>
                  </a:lnTo>
                  <a:lnTo>
                    <a:pt x="654" y="79"/>
                  </a:lnTo>
                  <a:lnTo>
                    <a:pt x="656" y="82"/>
                  </a:lnTo>
                  <a:lnTo>
                    <a:pt x="658" y="83"/>
                  </a:lnTo>
                  <a:lnTo>
                    <a:pt x="654" y="83"/>
                  </a:lnTo>
                  <a:lnTo>
                    <a:pt x="650" y="85"/>
                  </a:lnTo>
                  <a:lnTo>
                    <a:pt x="654" y="85"/>
                  </a:lnTo>
                  <a:lnTo>
                    <a:pt x="659" y="84"/>
                  </a:lnTo>
                  <a:lnTo>
                    <a:pt x="664" y="85"/>
                  </a:lnTo>
                  <a:lnTo>
                    <a:pt x="667" y="84"/>
                  </a:lnTo>
                  <a:lnTo>
                    <a:pt x="662" y="88"/>
                  </a:lnTo>
                  <a:lnTo>
                    <a:pt x="659" y="90"/>
                  </a:lnTo>
                  <a:lnTo>
                    <a:pt x="656" y="92"/>
                  </a:lnTo>
                  <a:lnTo>
                    <a:pt x="653" y="95"/>
                  </a:lnTo>
                  <a:lnTo>
                    <a:pt x="653" y="98"/>
                  </a:lnTo>
                  <a:lnTo>
                    <a:pt x="655" y="98"/>
                  </a:lnTo>
                  <a:lnTo>
                    <a:pt x="659" y="98"/>
                  </a:lnTo>
                  <a:lnTo>
                    <a:pt x="662" y="96"/>
                  </a:lnTo>
                  <a:lnTo>
                    <a:pt x="665" y="96"/>
                  </a:lnTo>
                  <a:lnTo>
                    <a:pt x="668" y="97"/>
                  </a:lnTo>
                  <a:lnTo>
                    <a:pt x="667" y="97"/>
                  </a:lnTo>
                  <a:lnTo>
                    <a:pt x="666" y="98"/>
                  </a:lnTo>
                  <a:lnTo>
                    <a:pt x="666" y="103"/>
                  </a:lnTo>
                  <a:lnTo>
                    <a:pt x="668" y="106"/>
                  </a:lnTo>
                  <a:lnTo>
                    <a:pt x="670" y="109"/>
                  </a:lnTo>
                  <a:lnTo>
                    <a:pt x="666" y="111"/>
                  </a:lnTo>
                  <a:lnTo>
                    <a:pt x="667" y="113"/>
                  </a:lnTo>
                  <a:lnTo>
                    <a:pt x="667" y="118"/>
                  </a:lnTo>
                  <a:lnTo>
                    <a:pt x="666" y="120"/>
                  </a:lnTo>
                  <a:lnTo>
                    <a:pt x="665" y="118"/>
                  </a:lnTo>
                  <a:lnTo>
                    <a:pt x="664" y="120"/>
                  </a:lnTo>
                  <a:lnTo>
                    <a:pt x="662" y="125"/>
                  </a:lnTo>
                  <a:lnTo>
                    <a:pt x="661" y="127"/>
                  </a:lnTo>
                  <a:lnTo>
                    <a:pt x="661" y="132"/>
                  </a:lnTo>
                  <a:lnTo>
                    <a:pt x="659" y="133"/>
                  </a:lnTo>
                  <a:lnTo>
                    <a:pt x="656" y="137"/>
                  </a:lnTo>
                  <a:lnTo>
                    <a:pt x="653" y="137"/>
                  </a:lnTo>
                  <a:lnTo>
                    <a:pt x="653" y="139"/>
                  </a:lnTo>
                  <a:lnTo>
                    <a:pt x="648" y="142"/>
                  </a:lnTo>
                  <a:lnTo>
                    <a:pt x="648" y="139"/>
                  </a:lnTo>
                  <a:lnTo>
                    <a:pt x="645" y="138"/>
                  </a:lnTo>
                  <a:lnTo>
                    <a:pt x="645" y="137"/>
                  </a:lnTo>
                  <a:lnTo>
                    <a:pt x="644" y="141"/>
                  </a:lnTo>
                  <a:lnTo>
                    <a:pt x="642" y="144"/>
                  </a:lnTo>
                  <a:lnTo>
                    <a:pt x="643" y="137"/>
                  </a:lnTo>
                  <a:lnTo>
                    <a:pt x="641" y="142"/>
                  </a:lnTo>
                  <a:lnTo>
                    <a:pt x="638" y="138"/>
                  </a:lnTo>
                  <a:lnTo>
                    <a:pt x="636" y="141"/>
                  </a:lnTo>
                  <a:lnTo>
                    <a:pt x="637" y="144"/>
                  </a:lnTo>
                  <a:lnTo>
                    <a:pt x="639" y="145"/>
                  </a:lnTo>
                  <a:lnTo>
                    <a:pt x="633" y="147"/>
                  </a:lnTo>
                  <a:lnTo>
                    <a:pt x="630" y="148"/>
                  </a:lnTo>
                  <a:lnTo>
                    <a:pt x="627" y="151"/>
                  </a:lnTo>
                  <a:lnTo>
                    <a:pt x="629" y="153"/>
                  </a:lnTo>
                  <a:lnTo>
                    <a:pt x="631" y="154"/>
                  </a:lnTo>
                  <a:lnTo>
                    <a:pt x="635" y="154"/>
                  </a:lnTo>
                  <a:lnTo>
                    <a:pt x="636" y="157"/>
                  </a:lnTo>
                  <a:lnTo>
                    <a:pt x="633" y="159"/>
                  </a:lnTo>
                  <a:lnTo>
                    <a:pt x="629" y="157"/>
                  </a:lnTo>
                  <a:lnTo>
                    <a:pt x="629" y="155"/>
                  </a:lnTo>
                  <a:lnTo>
                    <a:pt x="627" y="155"/>
                  </a:lnTo>
                  <a:lnTo>
                    <a:pt x="627" y="160"/>
                  </a:lnTo>
                  <a:lnTo>
                    <a:pt x="630" y="160"/>
                  </a:lnTo>
                  <a:lnTo>
                    <a:pt x="633" y="161"/>
                  </a:lnTo>
                  <a:lnTo>
                    <a:pt x="633" y="166"/>
                  </a:lnTo>
                  <a:lnTo>
                    <a:pt x="635" y="167"/>
                  </a:lnTo>
                  <a:lnTo>
                    <a:pt x="641" y="165"/>
                  </a:lnTo>
                  <a:lnTo>
                    <a:pt x="645" y="161"/>
                  </a:lnTo>
                  <a:lnTo>
                    <a:pt x="644" y="160"/>
                  </a:lnTo>
                  <a:lnTo>
                    <a:pt x="643" y="157"/>
                  </a:lnTo>
                  <a:lnTo>
                    <a:pt x="645" y="154"/>
                  </a:lnTo>
                  <a:lnTo>
                    <a:pt x="648" y="150"/>
                  </a:lnTo>
                  <a:lnTo>
                    <a:pt x="650" y="148"/>
                  </a:lnTo>
                  <a:lnTo>
                    <a:pt x="652" y="150"/>
                  </a:lnTo>
                  <a:lnTo>
                    <a:pt x="654" y="149"/>
                  </a:lnTo>
                  <a:lnTo>
                    <a:pt x="655" y="149"/>
                  </a:lnTo>
                  <a:lnTo>
                    <a:pt x="656" y="148"/>
                  </a:lnTo>
                  <a:lnTo>
                    <a:pt x="659" y="148"/>
                  </a:lnTo>
                  <a:lnTo>
                    <a:pt x="661" y="147"/>
                  </a:lnTo>
                  <a:lnTo>
                    <a:pt x="660" y="150"/>
                  </a:lnTo>
                  <a:lnTo>
                    <a:pt x="659" y="153"/>
                  </a:lnTo>
                  <a:lnTo>
                    <a:pt x="660" y="154"/>
                  </a:lnTo>
                  <a:lnTo>
                    <a:pt x="660" y="155"/>
                  </a:lnTo>
                  <a:lnTo>
                    <a:pt x="661" y="154"/>
                  </a:lnTo>
                  <a:lnTo>
                    <a:pt x="661" y="156"/>
                  </a:lnTo>
                  <a:lnTo>
                    <a:pt x="662" y="157"/>
                  </a:lnTo>
                  <a:lnTo>
                    <a:pt x="665" y="156"/>
                  </a:lnTo>
                  <a:lnTo>
                    <a:pt x="662" y="153"/>
                  </a:lnTo>
                  <a:lnTo>
                    <a:pt x="664" y="148"/>
                  </a:lnTo>
                  <a:lnTo>
                    <a:pt x="666" y="149"/>
                  </a:lnTo>
                  <a:lnTo>
                    <a:pt x="670" y="147"/>
                  </a:lnTo>
                  <a:lnTo>
                    <a:pt x="671" y="148"/>
                  </a:lnTo>
                  <a:lnTo>
                    <a:pt x="673" y="150"/>
                  </a:lnTo>
                  <a:lnTo>
                    <a:pt x="676" y="151"/>
                  </a:lnTo>
                  <a:lnTo>
                    <a:pt x="676" y="155"/>
                  </a:lnTo>
                  <a:lnTo>
                    <a:pt x="672" y="157"/>
                  </a:lnTo>
                  <a:lnTo>
                    <a:pt x="672" y="154"/>
                  </a:lnTo>
                  <a:lnTo>
                    <a:pt x="668" y="156"/>
                  </a:lnTo>
                  <a:lnTo>
                    <a:pt x="660" y="162"/>
                  </a:lnTo>
                  <a:lnTo>
                    <a:pt x="662" y="165"/>
                  </a:lnTo>
                  <a:lnTo>
                    <a:pt x="665" y="163"/>
                  </a:lnTo>
                  <a:lnTo>
                    <a:pt x="664" y="167"/>
                  </a:lnTo>
                  <a:lnTo>
                    <a:pt x="670" y="169"/>
                  </a:lnTo>
                  <a:lnTo>
                    <a:pt x="671" y="172"/>
                  </a:lnTo>
                  <a:lnTo>
                    <a:pt x="672" y="173"/>
                  </a:lnTo>
                  <a:lnTo>
                    <a:pt x="673" y="172"/>
                  </a:lnTo>
                  <a:lnTo>
                    <a:pt x="676" y="173"/>
                  </a:lnTo>
                  <a:lnTo>
                    <a:pt x="678" y="171"/>
                  </a:lnTo>
                  <a:lnTo>
                    <a:pt x="676" y="177"/>
                  </a:lnTo>
                  <a:lnTo>
                    <a:pt x="674" y="179"/>
                  </a:lnTo>
                  <a:lnTo>
                    <a:pt x="674" y="183"/>
                  </a:lnTo>
                  <a:lnTo>
                    <a:pt x="674" y="184"/>
                  </a:lnTo>
                  <a:lnTo>
                    <a:pt x="677" y="184"/>
                  </a:lnTo>
                  <a:lnTo>
                    <a:pt x="679" y="184"/>
                  </a:lnTo>
                  <a:lnTo>
                    <a:pt x="682" y="183"/>
                  </a:lnTo>
                  <a:lnTo>
                    <a:pt x="684" y="178"/>
                  </a:lnTo>
                  <a:lnTo>
                    <a:pt x="685" y="175"/>
                  </a:lnTo>
                  <a:lnTo>
                    <a:pt x="683" y="173"/>
                  </a:lnTo>
                  <a:lnTo>
                    <a:pt x="684" y="169"/>
                  </a:lnTo>
                  <a:lnTo>
                    <a:pt x="685" y="167"/>
                  </a:lnTo>
                  <a:lnTo>
                    <a:pt x="688" y="165"/>
                  </a:lnTo>
                  <a:lnTo>
                    <a:pt x="689" y="163"/>
                  </a:lnTo>
                  <a:lnTo>
                    <a:pt x="691" y="163"/>
                  </a:lnTo>
                  <a:lnTo>
                    <a:pt x="694" y="163"/>
                  </a:lnTo>
                  <a:lnTo>
                    <a:pt x="695" y="166"/>
                  </a:lnTo>
                  <a:lnTo>
                    <a:pt x="697" y="166"/>
                  </a:lnTo>
                  <a:lnTo>
                    <a:pt x="697" y="167"/>
                  </a:lnTo>
                  <a:lnTo>
                    <a:pt x="697" y="171"/>
                  </a:lnTo>
                  <a:lnTo>
                    <a:pt x="698" y="172"/>
                  </a:lnTo>
                  <a:lnTo>
                    <a:pt x="697" y="173"/>
                  </a:lnTo>
                  <a:lnTo>
                    <a:pt x="694" y="174"/>
                  </a:lnTo>
                  <a:lnTo>
                    <a:pt x="696" y="177"/>
                  </a:lnTo>
                  <a:lnTo>
                    <a:pt x="694" y="178"/>
                  </a:lnTo>
                  <a:lnTo>
                    <a:pt x="694" y="180"/>
                  </a:lnTo>
                  <a:lnTo>
                    <a:pt x="695" y="183"/>
                  </a:lnTo>
                  <a:lnTo>
                    <a:pt x="696" y="183"/>
                  </a:lnTo>
                  <a:lnTo>
                    <a:pt x="697" y="183"/>
                  </a:lnTo>
                  <a:lnTo>
                    <a:pt x="697" y="181"/>
                  </a:lnTo>
                  <a:lnTo>
                    <a:pt x="698" y="180"/>
                  </a:lnTo>
                  <a:lnTo>
                    <a:pt x="701" y="180"/>
                  </a:lnTo>
                  <a:lnTo>
                    <a:pt x="701" y="183"/>
                  </a:lnTo>
                  <a:lnTo>
                    <a:pt x="702" y="180"/>
                  </a:lnTo>
                  <a:lnTo>
                    <a:pt x="706" y="179"/>
                  </a:lnTo>
                  <a:lnTo>
                    <a:pt x="708" y="177"/>
                  </a:lnTo>
                  <a:lnTo>
                    <a:pt x="711" y="175"/>
                  </a:lnTo>
                  <a:lnTo>
                    <a:pt x="712" y="174"/>
                  </a:lnTo>
                  <a:lnTo>
                    <a:pt x="712" y="173"/>
                  </a:lnTo>
                  <a:lnTo>
                    <a:pt x="711" y="173"/>
                  </a:lnTo>
                  <a:lnTo>
                    <a:pt x="709" y="172"/>
                  </a:lnTo>
                  <a:lnTo>
                    <a:pt x="713" y="169"/>
                  </a:lnTo>
                  <a:lnTo>
                    <a:pt x="714" y="169"/>
                  </a:lnTo>
                  <a:lnTo>
                    <a:pt x="714" y="173"/>
                  </a:lnTo>
                  <a:lnTo>
                    <a:pt x="717" y="172"/>
                  </a:lnTo>
                  <a:lnTo>
                    <a:pt x="715" y="169"/>
                  </a:lnTo>
                  <a:lnTo>
                    <a:pt x="709" y="165"/>
                  </a:lnTo>
                  <a:lnTo>
                    <a:pt x="706" y="166"/>
                  </a:lnTo>
                  <a:lnTo>
                    <a:pt x="701" y="165"/>
                  </a:lnTo>
                  <a:lnTo>
                    <a:pt x="701" y="162"/>
                  </a:lnTo>
                  <a:lnTo>
                    <a:pt x="702" y="162"/>
                  </a:lnTo>
                  <a:lnTo>
                    <a:pt x="704" y="162"/>
                  </a:lnTo>
                  <a:lnTo>
                    <a:pt x="704" y="161"/>
                  </a:lnTo>
                  <a:lnTo>
                    <a:pt x="706" y="161"/>
                  </a:lnTo>
                  <a:lnTo>
                    <a:pt x="707" y="159"/>
                  </a:lnTo>
                  <a:lnTo>
                    <a:pt x="708" y="160"/>
                  </a:lnTo>
                  <a:lnTo>
                    <a:pt x="709" y="159"/>
                  </a:lnTo>
                  <a:lnTo>
                    <a:pt x="711" y="161"/>
                  </a:lnTo>
                  <a:lnTo>
                    <a:pt x="713" y="166"/>
                  </a:lnTo>
                  <a:lnTo>
                    <a:pt x="718" y="169"/>
                  </a:lnTo>
                  <a:lnTo>
                    <a:pt x="719" y="169"/>
                  </a:lnTo>
                  <a:lnTo>
                    <a:pt x="721" y="168"/>
                  </a:lnTo>
                  <a:lnTo>
                    <a:pt x="721" y="167"/>
                  </a:lnTo>
                  <a:lnTo>
                    <a:pt x="723" y="165"/>
                  </a:lnTo>
                  <a:lnTo>
                    <a:pt x="725" y="165"/>
                  </a:lnTo>
                  <a:lnTo>
                    <a:pt x="726" y="167"/>
                  </a:lnTo>
                  <a:lnTo>
                    <a:pt x="727" y="168"/>
                  </a:lnTo>
                  <a:lnTo>
                    <a:pt x="730" y="171"/>
                  </a:lnTo>
                  <a:lnTo>
                    <a:pt x="730" y="169"/>
                  </a:lnTo>
                  <a:lnTo>
                    <a:pt x="732" y="168"/>
                  </a:lnTo>
                  <a:lnTo>
                    <a:pt x="733" y="166"/>
                  </a:lnTo>
                  <a:lnTo>
                    <a:pt x="736" y="167"/>
                  </a:lnTo>
                  <a:lnTo>
                    <a:pt x="737" y="168"/>
                  </a:lnTo>
                  <a:lnTo>
                    <a:pt x="737" y="161"/>
                  </a:lnTo>
                  <a:lnTo>
                    <a:pt x="729" y="160"/>
                  </a:lnTo>
                  <a:lnTo>
                    <a:pt x="720" y="159"/>
                  </a:lnTo>
                  <a:lnTo>
                    <a:pt x="720" y="156"/>
                  </a:lnTo>
                  <a:lnTo>
                    <a:pt x="723" y="155"/>
                  </a:lnTo>
                  <a:lnTo>
                    <a:pt x="725" y="154"/>
                  </a:lnTo>
                  <a:lnTo>
                    <a:pt x="726" y="154"/>
                  </a:lnTo>
                  <a:lnTo>
                    <a:pt x="726" y="153"/>
                  </a:lnTo>
                  <a:lnTo>
                    <a:pt x="730" y="151"/>
                  </a:lnTo>
                  <a:lnTo>
                    <a:pt x="732" y="151"/>
                  </a:lnTo>
                  <a:lnTo>
                    <a:pt x="733" y="149"/>
                  </a:lnTo>
                  <a:lnTo>
                    <a:pt x="735" y="151"/>
                  </a:lnTo>
                  <a:lnTo>
                    <a:pt x="736" y="150"/>
                  </a:lnTo>
                  <a:lnTo>
                    <a:pt x="736" y="151"/>
                  </a:lnTo>
                  <a:lnTo>
                    <a:pt x="736" y="156"/>
                  </a:lnTo>
                  <a:lnTo>
                    <a:pt x="738" y="161"/>
                  </a:lnTo>
                  <a:lnTo>
                    <a:pt x="741" y="163"/>
                  </a:lnTo>
                  <a:lnTo>
                    <a:pt x="743" y="162"/>
                  </a:lnTo>
                  <a:lnTo>
                    <a:pt x="747" y="159"/>
                  </a:lnTo>
                  <a:lnTo>
                    <a:pt x="748" y="156"/>
                  </a:lnTo>
                  <a:lnTo>
                    <a:pt x="749" y="153"/>
                  </a:lnTo>
                  <a:lnTo>
                    <a:pt x="753" y="151"/>
                  </a:lnTo>
                  <a:lnTo>
                    <a:pt x="754" y="153"/>
                  </a:lnTo>
                  <a:lnTo>
                    <a:pt x="754" y="154"/>
                  </a:lnTo>
                  <a:lnTo>
                    <a:pt x="754" y="156"/>
                  </a:lnTo>
                  <a:lnTo>
                    <a:pt x="756" y="156"/>
                  </a:lnTo>
                  <a:lnTo>
                    <a:pt x="757" y="154"/>
                  </a:lnTo>
                  <a:lnTo>
                    <a:pt x="760" y="154"/>
                  </a:lnTo>
                  <a:lnTo>
                    <a:pt x="762" y="154"/>
                  </a:lnTo>
                  <a:lnTo>
                    <a:pt x="761" y="156"/>
                  </a:lnTo>
                  <a:lnTo>
                    <a:pt x="762" y="159"/>
                  </a:lnTo>
                  <a:lnTo>
                    <a:pt x="766" y="160"/>
                  </a:lnTo>
                  <a:lnTo>
                    <a:pt x="762" y="161"/>
                  </a:lnTo>
                  <a:lnTo>
                    <a:pt x="759" y="161"/>
                  </a:lnTo>
                  <a:lnTo>
                    <a:pt x="756" y="162"/>
                  </a:lnTo>
                  <a:lnTo>
                    <a:pt x="754" y="162"/>
                  </a:lnTo>
                  <a:lnTo>
                    <a:pt x="755" y="163"/>
                  </a:lnTo>
                  <a:lnTo>
                    <a:pt x="751" y="163"/>
                  </a:lnTo>
                  <a:lnTo>
                    <a:pt x="754" y="167"/>
                  </a:lnTo>
                  <a:lnTo>
                    <a:pt x="756" y="172"/>
                  </a:lnTo>
                  <a:lnTo>
                    <a:pt x="759" y="171"/>
                  </a:lnTo>
                  <a:lnTo>
                    <a:pt x="760" y="172"/>
                  </a:lnTo>
                  <a:lnTo>
                    <a:pt x="762" y="171"/>
                  </a:lnTo>
                  <a:lnTo>
                    <a:pt x="766" y="171"/>
                  </a:lnTo>
                  <a:lnTo>
                    <a:pt x="762" y="168"/>
                  </a:lnTo>
                  <a:lnTo>
                    <a:pt x="761" y="163"/>
                  </a:lnTo>
                  <a:lnTo>
                    <a:pt x="763" y="165"/>
                  </a:lnTo>
                  <a:lnTo>
                    <a:pt x="766" y="162"/>
                  </a:lnTo>
                  <a:lnTo>
                    <a:pt x="768" y="160"/>
                  </a:lnTo>
                  <a:lnTo>
                    <a:pt x="770" y="156"/>
                  </a:lnTo>
                  <a:lnTo>
                    <a:pt x="771" y="154"/>
                  </a:lnTo>
                  <a:lnTo>
                    <a:pt x="772" y="154"/>
                  </a:lnTo>
                  <a:lnTo>
                    <a:pt x="776" y="154"/>
                  </a:lnTo>
                  <a:lnTo>
                    <a:pt x="777" y="153"/>
                  </a:lnTo>
                  <a:lnTo>
                    <a:pt x="776" y="153"/>
                  </a:lnTo>
                  <a:lnTo>
                    <a:pt x="776" y="150"/>
                  </a:lnTo>
                  <a:lnTo>
                    <a:pt x="776" y="147"/>
                  </a:lnTo>
                  <a:lnTo>
                    <a:pt x="774" y="147"/>
                  </a:lnTo>
                  <a:lnTo>
                    <a:pt x="776" y="144"/>
                  </a:lnTo>
                  <a:lnTo>
                    <a:pt x="778" y="143"/>
                  </a:lnTo>
                  <a:lnTo>
                    <a:pt x="776" y="142"/>
                  </a:lnTo>
                  <a:lnTo>
                    <a:pt x="778" y="141"/>
                  </a:lnTo>
                  <a:lnTo>
                    <a:pt x="780" y="141"/>
                  </a:lnTo>
                  <a:lnTo>
                    <a:pt x="779" y="138"/>
                  </a:lnTo>
                  <a:lnTo>
                    <a:pt x="780" y="135"/>
                  </a:lnTo>
                  <a:lnTo>
                    <a:pt x="783" y="132"/>
                  </a:lnTo>
                  <a:lnTo>
                    <a:pt x="785" y="133"/>
                  </a:lnTo>
                  <a:lnTo>
                    <a:pt x="789" y="133"/>
                  </a:lnTo>
                  <a:lnTo>
                    <a:pt x="789" y="130"/>
                  </a:lnTo>
                  <a:lnTo>
                    <a:pt x="786" y="129"/>
                  </a:lnTo>
                  <a:lnTo>
                    <a:pt x="782" y="130"/>
                  </a:lnTo>
                  <a:lnTo>
                    <a:pt x="784" y="127"/>
                  </a:lnTo>
                  <a:lnTo>
                    <a:pt x="786" y="125"/>
                  </a:lnTo>
                  <a:lnTo>
                    <a:pt x="790" y="127"/>
                  </a:lnTo>
                  <a:lnTo>
                    <a:pt x="792" y="127"/>
                  </a:lnTo>
                  <a:lnTo>
                    <a:pt x="794" y="130"/>
                  </a:lnTo>
                  <a:lnTo>
                    <a:pt x="797" y="131"/>
                  </a:lnTo>
                  <a:lnTo>
                    <a:pt x="797" y="132"/>
                  </a:lnTo>
                  <a:lnTo>
                    <a:pt x="803" y="127"/>
                  </a:lnTo>
                  <a:lnTo>
                    <a:pt x="803" y="126"/>
                  </a:lnTo>
                  <a:lnTo>
                    <a:pt x="803" y="124"/>
                  </a:lnTo>
                  <a:lnTo>
                    <a:pt x="806" y="121"/>
                  </a:lnTo>
                  <a:lnTo>
                    <a:pt x="807" y="120"/>
                  </a:lnTo>
                  <a:lnTo>
                    <a:pt x="809" y="120"/>
                  </a:lnTo>
                  <a:lnTo>
                    <a:pt x="808" y="125"/>
                  </a:lnTo>
                  <a:lnTo>
                    <a:pt x="810" y="124"/>
                  </a:lnTo>
                  <a:lnTo>
                    <a:pt x="813" y="120"/>
                  </a:lnTo>
                  <a:lnTo>
                    <a:pt x="815" y="121"/>
                  </a:lnTo>
                  <a:lnTo>
                    <a:pt x="816" y="123"/>
                  </a:lnTo>
                  <a:lnTo>
                    <a:pt x="820" y="123"/>
                  </a:lnTo>
                  <a:lnTo>
                    <a:pt x="821" y="124"/>
                  </a:lnTo>
                  <a:lnTo>
                    <a:pt x="816" y="126"/>
                  </a:lnTo>
                  <a:lnTo>
                    <a:pt x="810" y="129"/>
                  </a:lnTo>
                  <a:lnTo>
                    <a:pt x="813" y="132"/>
                  </a:lnTo>
                  <a:lnTo>
                    <a:pt x="815" y="130"/>
                  </a:lnTo>
                  <a:lnTo>
                    <a:pt x="821" y="125"/>
                  </a:lnTo>
                  <a:lnTo>
                    <a:pt x="822" y="126"/>
                  </a:lnTo>
                  <a:lnTo>
                    <a:pt x="818" y="131"/>
                  </a:lnTo>
                  <a:lnTo>
                    <a:pt x="820" y="135"/>
                  </a:lnTo>
                  <a:lnTo>
                    <a:pt x="816" y="136"/>
                  </a:lnTo>
                  <a:lnTo>
                    <a:pt x="815" y="137"/>
                  </a:lnTo>
                  <a:lnTo>
                    <a:pt x="818" y="139"/>
                  </a:lnTo>
                  <a:lnTo>
                    <a:pt x="820" y="139"/>
                  </a:lnTo>
                  <a:lnTo>
                    <a:pt x="824" y="142"/>
                  </a:lnTo>
                  <a:lnTo>
                    <a:pt x="825" y="141"/>
                  </a:lnTo>
                  <a:lnTo>
                    <a:pt x="826" y="142"/>
                  </a:lnTo>
                  <a:lnTo>
                    <a:pt x="830" y="143"/>
                  </a:lnTo>
                  <a:lnTo>
                    <a:pt x="831" y="144"/>
                  </a:lnTo>
                  <a:lnTo>
                    <a:pt x="831" y="145"/>
                  </a:lnTo>
                  <a:lnTo>
                    <a:pt x="832" y="145"/>
                  </a:lnTo>
                  <a:lnTo>
                    <a:pt x="832" y="149"/>
                  </a:lnTo>
                  <a:lnTo>
                    <a:pt x="827" y="149"/>
                  </a:lnTo>
                  <a:lnTo>
                    <a:pt x="830" y="151"/>
                  </a:lnTo>
                  <a:lnTo>
                    <a:pt x="831" y="154"/>
                  </a:lnTo>
                  <a:lnTo>
                    <a:pt x="832" y="155"/>
                  </a:lnTo>
                  <a:lnTo>
                    <a:pt x="836" y="153"/>
                  </a:lnTo>
                  <a:lnTo>
                    <a:pt x="836" y="155"/>
                  </a:lnTo>
                  <a:lnTo>
                    <a:pt x="837" y="161"/>
                  </a:lnTo>
                  <a:lnTo>
                    <a:pt x="838" y="162"/>
                  </a:lnTo>
                  <a:lnTo>
                    <a:pt x="837" y="165"/>
                  </a:lnTo>
                  <a:lnTo>
                    <a:pt x="837" y="168"/>
                  </a:lnTo>
                  <a:lnTo>
                    <a:pt x="835" y="173"/>
                  </a:lnTo>
                  <a:lnTo>
                    <a:pt x="833" y="165"/>
                  </a:lnTo>
                  <a:lnTo>
                    <a:pt x="832" y="157"/>
                  </a:lnTo>
                  <a:lnTo>
                    <a:pt x="827" y="156"/>
                  </a:lnTo>
                  <a:lnTo>
                    <a:pt x="821" y="154"/>
                  </a:lnTo>
                  <a:lnTo>
                    <a:pt x="821" y="156"/>
                  </a:lnTo>
                  <a:lnTo>
                    <a:pt x="822" y="161"/>
                  </a:lnTo>
                  <a:lnTo>
                    <a:pt x="821" y="165"/>
                  </a:lnTo>
                  <a:lnTo>
                    <a:pt x="820" y="167"/>
                  </a:lnTo>
                  <a:lnTo>
                    <a:pt x="816" y="169"/>
                  </a:lnTo>
                  <a:lnTo>
                    <a:pt x="813" y="169"/>
                  </a:lnTo>
                  <a:lnTo>
                    <a:pt x="812" y="168"/>
                  </a:lnTo>
                  <a:lnTo>
                    <a:pt x="808" y="169"/>
                  </a:lnTo>
                  <a:lnTo>
                    <a:pt x="802" y="172"/>
                  </a:lnTo>
                  <a:lnTo>
                    <a:pt x="796" y="172"/>
                  </a:lnTo>
                  <a:lnTo>
                    <a:pt x="794" y="172"/>
                  </a:lnTo>
                  <a:lnTo>
                    <a:pt x="792" y="174"/>
                  </a:lnTo>
                  <a:lnTo>
                    <a:pt x="792" y="175"/>
                  </a:lnTo>
                  <a:lnTo>
                    <a:pt x="792" y="177"/>
                  </a:lnTo>
                  <a:lnTo>
                    <a:pt x="797" y="174"/>
                  </a:lnTo>
                  <a:lnTo>
                    <a:pt x="796" y="177"/>
                  </a:lnTo>
                  <a:lnTo>
                    <a:pt x="800" y="175"/>
                  </a:lnTo>
                  <a:lnTo>
                    <a:pt x="804" y="172"/>
                  </a:lnTo>
                  <a:lnTo>
                    <a:pt x="813" y="173"/>
                  </a:lnTo>
                  <a:lnTo>
                    <a:pt x="818" y="173"/>
                  </a:lnTo>
                  <a:lnTo>
                    <a:pt x="821" y="173"/>
                  </a:lnTo>
                  <a:lnTo>
                    <a:pt x="824" y="177"/>
                  </a:lnTo>
                  <a:lnTo>
                    <a:pt x="820" y="177"/>
                  </a:lnTo>
                  <a:lnTo>
                    <a:pt x="818" y="178"/>
                  </a:lnTo>
                  <a:lnTo>
                    <a:pt x="819" y="179"/>
                  </a:lnTo>
                  <a:lnTo>
                    <a:pt x="816" y="179"/>
                  </a:lnTo>
                  <a:lnTo>
                    <a:pt x="814" y="183"/>
                  </a:lnTo>
                  <a:lnTo>
                    <a:pt x="814" y="184"/>
                  </a:lnTo>
                  <a:lnTo>
                    <a:pt x="810" y="183"/>
                  </a:lnTo>
                  <a:lnTo>
                    <a:pt x="813" y="187"/>
                  </a:lnTo>
                  <a:lnTo>
                    <a:pt x="816" y="190"/>
                  </a:lnTo>
                  <a:lnTo>
                    <a:pt x="816" y="191"/>
                  </a:lnTo>
                  <a:lnTo>
                    <a:pt x="815" y="195"/>
                  </a:lnTo>
                  <a:lnTo>
                    <a:pt x="814" y="196"/>
                  </a:lnTo>
                  <a:lnTo>
                    <a:pt x="813" y="192"/>
                  </a:lnTo>
                  <a:lnTo>
                    <a:pt x="812" y="193"/>
                  </a:lnTo>
                  <a:lnTo>
                    <a:pt x="810" y="193"/>
                  </a:lnTo>
                  <a:lnTo>
                    <a:pt x="807" y="190"/>
                  </a:lnTo>
                  <a:lnTo>
                    <a:pt x="806" y="184"/>
                  </a:lnTo>
                  <a:lnTo>
                    <a:pt x="806" y="181"/>
                  </a:lnTo>
                  <a:lnTo>
                    <a:pt x="803" y="179"/>
                  </a:lnTo>
                  <a:lnTo>
                    <a:pt x="800" y="179"/>
                  </a:lnTo>
                  <a:lnTo>
                    <a:pt x="798" y="183"/>
                  </a:lnTo>
                  <a:lnTo>
                    <a:pt x="797" y="186"/>
                  </a:lnTo>
                  <a:lnTo>
                    <a:pt x="795" y="189"/>
                  </a:lnTo>
                  <a:lnTo>
                    <a:pt x="789" y="196"/>
                  </a:lnTo>
                  <a:lnTo>
                    <a:pt x="789" y="192"/>
                  </a:lnTo>
                  <a:lnTo>
                    <a:pt x="789" y="189"/>
                  </a:lnTo>
                  <a:lnTo>
                    <a:pt x="786" y="192"/>
                  </a:lnTo>
                  <a:lnTo>
                    <a:pt x="779" y="199"/>
                  </a:lnTo>
                  <a:lnTo>
                    <a:pt x="780" y="195"/>
                  </a:lnTo>
                  <a:lnTo>
                    <a:pt x="782" y="192"/>
                  </a:lnTo>
                  <a:lnTo>
                    <a:pt x="782" y="190"/>
                  </a:lnTo>
                  <a:lnTo>
                    <a:pt x="777" y="190"/>
                  </a:lnTo>
                  <a:lnTo>
                    <a:pt x="774" y="193"/>
                  </a:lnTo>
                  <a:lnTo>
                    <a:pt x="774" y="197"/>
                  </a:lnTo>
                  <a:lnTo>
                    <a:pt x="773" y="199"/>
                  </a:lnTo>
                  <a:lnTo>
                    <a:pt x="771" y="203"/>
                  </a:lnTo>
                  <a:lnTo>
                    <a:pt x="770" y="205"/>
                  </a:lnTo>
                  <a:lnTo>
                    <a:pt x="767" y="208"/>
                  </a:lnTo>
                  <a:lnTo>
                    <a:pt x="768" y="208"/>
                  </a:lnTo>
                  <a:lnTo>
                    <a:pt x="771" y="207"/>
                  </a:lnTo>
                  <a:lnTo>
                    <a:pt x="772" y="208"/>
                  </a:lnTo>
                  <a:lnTo>
                    <a:pt x="774" y="205"/>
                  </a:lnTo>
                  <a:lnTo>
                    <a:pt x="774" y="210"/>
                  </a:lnTo>
                  <a:lnTo>
                    <a:pt x="771" y="215"/>
                  </a:lnTo>
                  <a:lnTo>
                    <a:pt x="770" y="219"/>
                  </a:lnTo>
                  <a:lnTo>
                    <a:pt x="772" y="219"/>
                  </a:lnTo>
                  <a:lnTo>
                    <a:pt x="770" y="221"/>
                  </a:lnTo>
                  <a:lnTo>
                    <a:pt x="770" y="225"/>
                  </a:lnTo>
                  <a:lnTo>
                    <a:pt x="772" y="224"/>
                  </a:lnTo>
                  <a:lnTo>
                    <a:pt x="777" y="224"/>
                  </a:lnTo>
                  <a:lnTo>
                    <a:pt x="779" y="222"/>
                  </a:lnTo>
                  <a:lnTo>
                    <a:pt x="784" y="224"/>
                  </a:lnTo>
                  <a:lnTo>
                    <a:pt x="786" y="225"/>
                  </a:lnTo>
                  <a:lnTo>
                    <a:pt x="785" y="226"/>
                  </a:lnTo>
                  <a:lnTo>
                    <a:pt x="786" y="227"/>
                  </a:lnTo>
                  <a:lnTo>
                    <a:pt x="784" y="228"/>
                  </a:lnTo>
                  <a:lnTo>
                    <a:pt x="784" y="231"/>
                  </a:lnTo>
                  <a:lnTo>
                    <a:pt x="783" y="232"/>
                  </a:lnTo>
                  <a:lnTo>
                    <a:pt x="782" y="237"/>
                  </a:lnTo>
                  <a:lnTo>
                    <a:pt x="779" y="233"/>
                  </a:lnTo>
                  <a:lnTo>
                    <a:pt x="776" y="232"/>
                  </a:lnTo>
                  <a:lnTo>
                    <a:pt x="774" y="231"/>
                  </a:lnTo>
                  <a:lnTo>
                    <a:pt x="773" y="230"/>
                  </a:lnTo>
                  <a:lnTo>
                    <a:pt x="772" y="228"/>
                  </a:lnTo>
                  <a:lnTo>
                    <a:pt x="770" y="230"/>
                  </a:lnTo>
                  <a:lnTo>
                    <a:pt x="767" y="232"/>
                  </a:lnTo>
                  <a:lnTo>
                    <a:pt x="772" y="232"/>
                  </a:lnTo>
                  <a:lnTo>
                    <a:pt x="767" y="233"/>
                  </a:lnTo>
                  <a:lnTo>
                    <a:pt x="767" y="236"/>
                  </a:lnTo>
                  <a:lnTo>
                    <a:pt x="771" y="237"/>
                  </a:lnTo>
                  <a:lnTo>
                    <a:pt x="776" y="237"/>
                  </a:lnTo>
                  <a:lnTo>
                    <a:pt x="779" y="236"/>
                  </a:lnTo>
                  <a:lnTo>
                    <a:pt x="780" y="238"/>
                  </a:lnTo>
                  <a:lnTo>
                    <a:pt x="782" y="238"/>
                  </a:lnTo>
                  <a:lnTo>
                    <a:pt x="780" y="239"/>
                  </a:lnTo>
                  <a:lnTo>
                    <a:pt x="782" y="240"/>
                  </a:lnTo>
                  <a:lnTo>
                    <a:pt x="782" y="243"/>
                  </a:lnTo>
                  <a:lnTo>
                    <a:pt x="780" y="243"/>
                  </a:lnTo>
                  <a:lnTo>
                    <a:pt x="783" y="245"/>
                  </a:lnTo>
                  <a:lnTo>
                    <a:pt x="780" y="248"/>
                  </a:lnTo>
                  <a:lnTo>
                    <a:pt x="778" y="244"/>
                  </a:lnTo>
                  <a:lnTo>
                    <a:pt x="774" y="239"/>
                  </a:lnTo>
                  <a:lnTo>
                    <a:pt x="773" y="240"/>
                  </a:lnTo>
                  <a:lnTo>
                    <a:pt x="774" y="244"/>
                  </a:lnTo>
                  <a:lnTo>
                    <a:pt x="772" y="245"/>
                  </a:lnTo>
                  <a:lnTo>
                    <a:pt x="772" y="248"/>
                  </a:lnTo>
                  <a:lnTo>
                    <a:pt x="772" y="254"/>
                  </a:lnTo>
                  <a:lnTo>
                    <a:pt x="771" y="248"/>
                  </a:lnTo>
                  <a:lnTo>
                    <a:pt x="770" y="250"/>
                  </a:lnTo>
                  <a:lnTo>
                    <a:pt x="768" y="246"/>
                  </a:lnTo>
                  <a:lnTo>
                    <a:pt x="768" y="242"/>
                  </a:lnTo>
                  <a:lnTo>
                    <a:pt x="767" y="242"/>
                  </a:lnTo>
                  <a:lnTo>
                    <a:pt x="763" y="239"/>
                  </a:lnTo>
                  <a:lnTo>
                    <a:pt x="765" y="243"/>
                  </a:lnTo>
                  <a:lnTo>
                    <a:pt x="763" y="251"/>
                  </a:lnTo>
                  <a:lnTo>
                    <a:pt x="761" y="250"/>
                  </a:lnTo>
                  <a:lnTo>
                    <a:pt x="760" y="248"/>
                  </a:lnTo>
                  <a:lnTo>
                    <a:pt x="759" y="243"/>
                  </a:lnTo>
                  <a:lnTo>
                    <a:pt x="759" y="244"/>
                  </a:lnTo>
                  <a:lnTo>
                    <a:pt x="757" y="252"/>
                  </a:lnTo>
                  <a:lnTo>
                    <a:pt x="762" y="256"/>
                  </a:lnTo>
                  <a:lnTo>
                    <a:pt x="762" y="261"/>
                  </a:lnTo>
                  <a:lnTo>
                    <a:pt x="761" y="263"/>
                  </a:lnTo>
                  <a:lnTo>
                    <a:pt x="761" y="264"/>
                  </a:lnTo>
                  <a:lnTo>
                    <a:pt x="759" y="264"/>
                  </a:lnTo>
                  <a:lnTo>
                    <a:pt x="759" y="267"/>
                  </a:lnTo>
                  <a:lnTo>
                    <a:pt x="757" y="268"/>
                  </a:lnTo>
                  <a:lnTo>
                    <a:pt x="757" y="273"/>
                  </a:lnTo>
                  <a:lnTo>
                    <a:pt x="755" y="270"/>
                  </a:lnTo>
                  <a:lnTo>
                    <a:pt x="754" y="268"/>
                  </a:lnTo>
                  <a:lnTo>
                    <a:pt x="754" y="267"/>
                  </a:lnTo>
                  <a:lnTo>
                    <a:pt x="753" y="264"/>
                  </a:lnTo>
                  <a:lnTo>
                    <a:pt x="751" y="262"/>
                  </a:lnTo>
                  <a:lnTo>
                    <a:pt x="750" y="262"/>
                  </a:lnTo>
                  <a:lnTo>
                    <a:pt x="750" y="258"/>
                  </a:lnTo>
                  <a:lnTo>
                    <a:pt x="753" y="255"/>
                  </a:lnTo>
                  <a:lnTo>
                    <a:pt x="756" y="252"/>
                  </a:lnTo>
                  <a:lnTo>
                    <a:pt x="757" y="248"/>
                  </a:lnTo>
                  <a:lnTo>
                    <a:pt x="755" y="250"/>
                  </a:lnTo>
                  <a:lnTo>
                    <a:pt x="753" y="251"/>
                  </a:lnTo>
                  <a:lnTo>
                    <a:pt x="754" y="246"/>
                  </a:lnTo>
                  <a:lnTo>
                    <a:pt x="750" y="249"/>
                  </a:lnTo>
                  <a:lnTo>
                    <a:pt x="748" y="250"/>
                  </a:lnTo>
                  <a:lnTo>
                    <a:pt x="745" y="252"/>
                  </a:lnTo>
                  <a:lnTo>
                    <a:pt x="745" y="249"/>
                  </a:lnTo>
                  <a:lnTo>
                    <a:pt x="744" y="250"/>
                  </a:lnTo>
                  <a:lnTo>
                    <a:pt x="739" y="249"/>
                  </a:lnTo>
                  <a:lnTo>
                    <a:pt x="737" y="249"/>
                  </a:lnTo>
                  <a:lnTo>
                    <a:pt x="741" y="251"/>
                  </a:lnTo>
                  <a:lnTo>
                    <a:pt x="738" y="255"/>
                  </a:lnTo>
                  <a:lnTo>
                    <a:pt x="736" y="256"/>
                  </a:lnTo>
                  <a:lnTo>
                    <a:pt x="733" y="258"/>
                  </a:lnTo>
                  <a:lnTo>
                    <a:pt x="733" y="263"/>
                  </a:lnTo>
                  <a:lnTo>
                    <a:pt x="736" y="263"/>
                  </a:lnTo>
                  <a:lnTo>
                    <a:pt x="738" y="266"/>
                  </a:lnTo>
                  <a:lnTo>
                    <a:pt x="737" y="269"/>
                  </a:lnTo>
                  <a:lnTo>
                    <a:pt x="738" y="268"/>
                  </a:lnTo>
                  <a:lnTo>
                    <a:pt x="739" y="272"/>
                  </a:lnTo>
                  <a:lnTo>
                    <a:pt x="741" y="274"/>
                  </a:lnTo>
                  <a:lnTo>
                    <a:pt x="744" y="276"/>
                  </a:lnTo>
                  <a:lnTo>
                    <a:pt x="748" y="275"/>
                  </a:lnTo>
                  <a:lnTo>
                    <a:pt x="744" y="273"/>
                  </a:lnTo>
                  <a:lnTo>
                    <a:pt x="742" y="270"/>
                  </a:lnTo>
                  <a:lnTo>
                    <a:pt x="748" y="269"/>
                  </a:lnTo>
                  <a:lnTo>
                    <a:pt x="751" y="270"/>
                  </a:lnTo>
                  <a:lnTo>
                    <a:pt x="751" y="274"/>
                  </a:lnTo>
                  <a:lnTo>
                    <a:pt x="754" y="274"/>
                  </a:lnTo>
                  <a:lnTo>
                    <a:pt x="756" y="275"/>
                  </a:lnTo>
                  <a:lnTo>
                    <a:pt x="760" y="274"/>
                  </a:lnTo>
                  <a:lnTo>
                    <a:pt x="763" y="272"/>
                  </a:lnTo>
                  <a:lnTo>
                    <a:pt x="767" y="270"/>
                  </a:lnTo>
                  <a:lnTo>
                    <a:pt x="770" y="269"/>
                  </a:lnTo>
                  <a:lnTo>
                    <a:pt x="770" y="272"/>
                  </a:lnTo>
                  <a:lnTo>
                    <a:pt x="770" y="275"/>
                  </a:lnTo>
                  <a:lnTo>
                    <a:pt x="772" y="275"/>
                  </a:lnTo>
                  <a:lnTo>
                    <a:pt x="772" y="274"/>
                  </a:lnTo>
                  <a:lnTo>
                    <a:pt x="771" y="273"/>
                  </a:lnTo>
                  <a:lnTo>
                    <a:pt x="772" y="272"/>
                  </a:lnTo>
                  <a:lnTo>
                    <a:pt x="776" y="272"/>
                  </a:lnTo>
                  <a:lnTo>
                    <a:pt x="778" y="270"/>
                  </a:lnTo>
                  <a:lnTo>
                    <a:pt x="780" y="272"/>
                  </a:lnTo>
                  <a:lnTo>
                    <a:pt x="779" y="273"/>
                  </a:lnTo>
                  <a:lnTo>
                    <a:pt x="782" y="272"/>
                  </a:lnTo>
                  <a:lnTo>
                    <a:pt x="778" y="266"/>
                  </a:lnTo>
                  <a:lnTo>
                    <a:pt x="773" y="266"/>
                  </a:lnTo>
                  <a:lnTo>
                    <a:pt x="770" y="268"/>
                  </a:lnTo>
                  <a:lnTo>
                    <a:pt x="770" y="266"/>
                  </a:lnTo>
                  <a:lnTo>
                    <a:pt x="767" y="264"/>
                  </a:lnTo>
                  <a:lnTo>
                    <a:pt x="766" y="262"/>
                  </a:lnTo>
                  <a:lnTo>
                    <a:pt x="772" y="261"/>
                  </a:lnTo>
                  <a:lnTo>
                    <a:pt x="778" y="262"/>
                  </a:lnTo>
                  <a:lnTo>
                    <a:pt x="782" y="262"/>
                  </a:lnTo>
                  <a:lnTo>
                    <a:pt x="780" y="262"/>
                  </a:lnTo>
                  <a:lnTo>
                    <a:pt x="779" y="264"/>
                  </a:lnTo>
                  <a:lnTo>
                    <a:pt x="782" y="269"/>
                  </a:lnTo>
                  <a:lnTo>
                    <a:pt x="784" y="269"/>
                  </a:lnTo>
                  <a:lnTo>
                    <a:pt x="786" y="269"/>
                  </a:lnTo>
                  <a:lnTo>
                    <a:pt x="786" y="267"/>
                  </a:lnTo>
                  <a:lnTo>
                    <a:pt x="788" y="266"/>
                  </a:lnTo>
                  <a:lnTo>
                    <a:pt x="790" y="264"/>
                  </a:lnTo>
                  <a:lnTo>
                    <a:pt x="790" y="263"/>
                  </a:lnTo>
                  <a:lnTo>
                    <a:pt x="791" y="263"/>
                  </a:lnTo>
                  <a:lnTo>
                    <a:pt x="792" y="266"/>
                  </a:lnTo>
                  <a:lnTo>
                    <a:pt x="795" y="267"/>
                  </a:lnTo>
                  <a:lnTo>
                    <a:pt x="794" y="270"/>
                  </a:lnTo>
                  <a:lnTo>
                    <a:pt x="791" y="273"/>
                  </a:lnTo>
                  <a:lnTo>
                    <a:pt x="794" y="273"/>
                  </a:lnTo>
                  <a:lnTo>
                    <a:pt x="796" y="272"/>
                  </a:lnTo>
                  <a:lnTo>
                    <a:pt x="800" y="269"/>
                  </a:lnTo>
                  <a:lnTo>
                    <a:pt x="803" y="267"/>
                  </a:lnTo>
                  <a:lnTo>
                    <a:pt x="807" y="266"/>
                  </a:lnTo>
                  <a:lnTo>
                    <a:pt x="801" y="274"/>
                  </a:lnTo>
                  <a:lnTo>
                    <a:pt x="797" y="278"/>
                  </a:lnTo>
                  <a:lnTo>
                    <a:pt x="796" y="287"/>
                  </a:lnTo>
                  <a:lnTo>
                    <a:pt x="797" y="288"/>
                  </a:lnTo>
                  <a:lnTo>
                    <a:pt x="798" y="282"/>
                  </a:lnTo>
                  <a:lnTo>
                    <a:pt x="802" y="280"/>
                  </a:lnTo>
                  <a:lnTo>
                    <a:pt x="803" y="278"/>
                  </a:lnTo>
                  <a:lnTo>
                    <a:pt x="804" y="274"/>
                  </a:lnTo>
                  <a:lnTo>
                    <a:pt x="807" y="276"/>
                  </a:lnTo>
                  <a:lnTo>
                    <a:pt x="809" y="278"/>
                  </a:lnTo>
                  <a:lnTo>
                    <a:pt x="809" y="279"/>
                  </a:lnTo>
                  <a:lnTo>
                    <a:pt x="810" y="280"/>
                  </a:lnTo>
                  <a:lnTo>
                    <a:pt x="810" y="281"/>
                  </a:lnTo>
                  <a:lnTo>
                    <a:pt x="810" y="284"/>
                  </a:lnTo>
                  <a:lnTo>
                    <a:pt x="808" y="287"/>
                  </a:lnTo>
                  <a:lnTo>
                    <a:pt x="808" y="290"/>
                  </a:lnTo>
                  <a:lnTo>
                    <a:pt x="810" y="287"/>
                  </a:lnTo>
                  <a:lnTo>
                    <a:pt x="814" y="287"/>
                  </a:lnTo>
                  <a:lnTo>
                    <a:pt x="819" y="287"/>
                  </a:lnTo>
                  <a:lnTo>
                    <a:pt x="821" y="287"/>
                  </a:lnTo>
                  <a:lnTo>
                    <a:pt x="825" y="286"/>
                  </a:lnTo>
                  <a:lnTo>
                    <a:pt x="825" y="288"/>
                  </a:lnTo>
                  <a:lnTo>
                    <a:pt x="827" y="288"/>
                  </a:lnTo>
                  <a:lnTo>
                    <a:pt x="824" y="292"/>
                  </a:lnTo>
                  <a:lnTo>
                    <a:pt x="819" y="293"/>
                  </a:lnTo>
                  <a:lnTo>
                    <a:pt x="814" y="293"/>
                  </a:lnTo>
                  <a:lnTo>
                    <a:pt x="809" y="293"/>
                  </a:lnTo>
                  <a:lnTo>
                    <a:pt x="809" y="297"/>
                  </a:lnTo>
                  <a:lnTo>
                    <a:pt x="812" y="296"/>
                  </a:lnTo>
                  <a:lnTo>
                    <a:pt x="815" y="294"/>
                  </a:lnTo>
                  <a:lnTo>
                    <a:pt x="816" y="296"/>
                  </a:lnTo>
                  <a:lnTo>
                    <a:pt x="819" y="296"/>
                  </a:lnTo>
                  <a:lnTo>
                    <a:pt x="822" y="294"/>
                  </a:lnTo>
                  <a:lnTo>
                    <a:pt x="825" y="297"/>
                  </a:lnTo>
                  <a:lnTo>
                    <a:pt x="826" y="297"/>
                  </a:lnTo>
                  <a:lnTo>
                    <a:pt x="829" y="298"/>
                  </a:lnTo>
                  <a:lnTo>
                    <a:pt x="829" y="296"/>
                  </a:lnTo>
                  <a:lnTo>
                    <a:pt x="829" y="290"/>
                  </a:lnTo>
                  <a:lnTo>
                    <a:pt x="832" y="287"/>
                  </a:lnTo>
                  <a:lnTo>
                    <a:pt x="833" y="284"/>
                  </a:lnTo>
                  <a:lnTo>
                    <a:pt x="831" y="284"/>
                  </a:lnTo>
                  <a:lnTo>
                    <a:pt x="829" y="282"/>
                  </a:lnTo>
                  <a:lnTo>
                    <a:pt x="831" y="281"/>
                  </a:lnTo>
                  <a:lnTo>
                    <a:pt x="832" y="275"/>
                  </a:lnTo>
                  <a:lnTo>
                    <a:pt x="836" y="276"/>
                  </a:lnTo>
                  <a:lnTo>
                    <a:pt x="839" y="273"/>
                  </a:lnTo>
                  <a:lnTo>
                    <a:pt x="839" y="275"/>
                  </a:lnTo>
                  <a:lnTo>
                    <a:pt x="839" y="279"/>
                  </a:lnTo>
                  <a:lnTo>
                    <a:pt x="839" y="280"/>
                  </a:lnTo>
                  <a:lnTo>
                    <a:pt x="841" y="284"/>
                  </a:lnTo>
                  <a:lnTo>
                    <a:pt x="842" y="287"/>
                  </a:lnTo>
                  <a:lnTo>
                    <a:pt x="844" y="290"/>
                  </a:lnTo>
                  <a:lnTo>
                    <a:pt x="845" y="291"/>
                  </a:lnTo>
                  <a:lnTo>
                    <a:pt x="845" y="292"/>
                  </a:lnTo>
                  <a:lnTo>
                    <a:pt x="848" y="293"/>
                  </a:lnTo>
                  <a:lnTo>
                    <a:pt x="851" y="296"/>
                  </a:lnTo>
                  <a:lnTo>
                    <a:pt x="853" y="296"/>
                  </a:lnTo>
                  <a:lnTo>
                    <a:pt x="853" y="293"/>
                  </a:lnTo>
                  <a:lnTo>
                    <a:pt x="855" y="292"/>
                  </a:lnTo>
                  <a:lnTo>
                    <a:pt x="860" y="292"/>
                  </a:lnTo>
                  <a:lnTo>
                    <a:pt x="856" y="296"/>
                  </a:lnTo>
                  <a:lnTo>
                    <a:pt x="855" y="297"/>
                  </a:lnTo>
                  <a:lnTo>
                    <a:pt x="857" y="297"/>
                  </a:lnTo>
                  <a:lnTo>
                    <a:pt x="860" y="298"/>
                  </a:lnTo>
                  <a:lnTo>
                    <a:pt x="862" y="299"/>
                  </a:lnTo>
                  <a:lnTo>
                    <a:pt x="861" y="303"/>
                  </a:lnTo>
                  <a:lnTo>
                    <a:pt x="859" y="306"/>
                  </a:lnTo>
                  <a:lnTo>
                    <a:pt x="859" y="309"/>
                  </a:lnTo>
                  <a:lnTo>
                    <a:pt x="854" y="305"/>
                  </a:lnTo>
                  <a:lnTo>
                    <a:pt x="850" y="308"/>
                  </a:lnTo>
                  <a:lnTo>
                    <a:pt x="849" y="311"/>
                  </a:lnTo>
                  <a:lnTo>
                    <a:pt x="851" y="311"/>
                  </a:lnTo>
                  <a:lnTo>
                    <a:pt x="850" y="314"/>
                  </a:lnTo>
                  <a:lnTo>
                    <a:pt x="848" y="319"/>
                  </a:lnTo>
                  <a:lnTo>
                    <a:pt x="845" y="321"/>
                  </a:lnTo>
                  <a:lnTo>
                    <a:pt x="844" y="320"/>
                  </a:lnTo>
                  <a:lnTo>
                    <a:pt x="844" y="325"/>
                  </a:lnTo>
                  <a:lnTo>
                    <a:pt x="847" y="328"/>
                  </a:lnTo>
                  <a:lnTo>
                    <a:pt x="850" y="327"/>
                  </a:lnTo>
                  <a:lnTo>
                    <a:pt x="855" y="325"/>
                  </a:lnTo>
                  <a:lnTo>
                    <a:pt x="859" y="323"/>
                  </a:lnTo>
                  <a:lnTo>
                    <a:pt x="863" y="322"/>
                  </a:lnTo>
                  <a:lnTo>
                    <a:pt x="857" y="326"/>
                  </a:lnTo>
                  <a:lnTo>
                    <a:pt x="854" y="329"/>
                  </a:lnTo>
                  <a:lnTo>
                    <a:pt x="855" y="331"/>
                  </a:lnTo>
                  <a:lnTo>
                    <a:pt x="855" y="332"/>
                  </a:lnTo>
                  <a:lnTo>
                    <a:pt x="857" y="333"/>
                  </a:lnTo>
                  <a:lnTo>
                    <a:pt x="862" y="332"/>
                  </a:lnTo>
                  <a:lnTo>
                    <a:pt x="868" y="333"/>
                  </a:lnTo>
                  <a:lnTo>
                    <a:pt x="869" y="331"/>
                  </a:lnTo>
                  <a:lnTo>
                    <a:pt x="872" y="327"/>
                  </a:lnTo>
                  <a:lnTo>
                    <a:pt x="874" y="325"/>
                  </a:lnTo>
                  <a:lnTo>
                    <a:pt x="878" y="321"/>
                  </a:lnTo>
                  <a:lnTo>
                    <a:pt x="883" y="321"/>
                  </a:lnTo>
                  <a:lnTo>
                    <a:pt x="881" y="321"/>
                  </a:lnTo>
                  <a:lnTo>
                    <a:pt x="883" y="322"/>
                  </a:lnTo>
                  <a:lnTo>
                    <a:pt x="886" y="322"/>
                  </a:lnTo>
                  <a:lnTo>
                    <a:pt x="886" y="323"/>
                  </a:lnTo>
                  <a:lnTo>
                    <a:pt x="884" y="325"/>
                  </a:lnTo>
                  <a:lnTo>
                    <a:pt x="879" y="326"/>
                  </a:lnTo>
                  <a:lnTo>
                    <a:pt x="878" y="328"/>
                  </a:lnTo>
                  <a:lnTo>
                    <a:pt x="878" y="331"/>
                  </a:lnTo>
                  <a:lnTo>
                    <a:pt x="879" y="333"/>
                  </a:lnTo>
                  <a:lnTo>
                    <a:pt x="881" y="334"/>
                  </a:lnTo>
                  <a:lnTo>
                    <a:pt x="884" y="338"/>
                  </a:lnTo>
                  <a:lnTo>
                    <a:pt x="883" y="340"/>
                  </a:lnTo>
                  <a:lnTo>
                    <a:pt x="885" y="343"/>
                  </a:lnTo>
                  <a:lnTo>
                    <a:pt x="885" y="346"/>
                  </a:lnTo>
                  <a:lnTo>
                    <a:pt x="884" y="347"/>
                  </a:lnTo>
                  <a:lnTo>
                    <a:pt x="883" y="352"/>
                  </a:lnTo>
                  <a:lnTo>
                    <a:pt x="883" y="356"/>
                  </a:lnTo>
                  <a:lnTo>
                    <a:pt x="885" y="357"/>
                  </a:lnTo>
                  <a:lnTo>
                    <a:pt x="886" y="356"/>
                  </a:lnTo>
                  <a:lnTo>
                    <a:pt x="889" y="352"/>
                  </a:lnTo>
                  <a:lnTo>
                    <a:pt x="892" y="350"/>
                  </a:lnTo>
                  <a:lnTo>
                    <a:pt x="889" y="350"/>
                  </a:lnTo>
                  <a:lnTo>
                    <a:pt x="888" y="350"/>
                  </a:lnTo>
                  <a:lnTo>
                    <a:pt x="888" y="349"/>
                  </a:lnTo>
                  <a:lnTo>
                    <a:pt x="889" y="347"/>
                  </a:lnTo>
                  <a:lnTo>
                    <a:pt x="894" y="345"/>
                  </a:lnTo>
                  <a:lnTo>
                    <a:pt x="897" y="345"/>
                  </a:lnTo>
                  <a:lnTo>
                    <a:pt x="898" y="341"/>
                  </a:lnTo>
                  <a:lnTo>
                    <a:pt x="898" y="337"/>
                  </a:lnTo>
                  <a:lnTo>
                    <a:pt x="903" y="333"/>
                  </a:lnTo>
                  <a:lnTo>
                    <a:pt x="901" y="340"/>
                  </a:lnTo>
                  <a:lnTo>
                    <a:pt x="902" y="343"/>
                  </a:lnTo>
                  <a:lnTo>
                    <a:pt x="904" y="341"/>
                  </a:lnTo>
                  <a:lnTo>
                    <a:pt x="902" y="345"/>
                  </a:lnTo>
                  <a:lnTo>
                    <a:pt x="901" y="350"/>
                  </a:lnTo>
                  <a:lnTo>
                    <a:pt x="902" y="352"/>
                  </a:lnTo>
                  <a:lnTo>
                    <a:pt x="902" y="353"/>
                  </a:lnTo>
                  <a:lnTo>
                    <a:pt x="902" y="356"/>
                  </a:lnTo>
                  <a:lnTo>
                    <a:pt x="904" y="362"/>
                  </a:lnTo>
                  <a:lnTo>
                    <a:pt x="901" y="365"/>
                  </a:lnTo>
                  <a:lnTo>
                    <a:pt x="897" y="365"/>
                  </a:lnTo>
                  <a:lnTo>
                    <a:pt x="891" y="364"/>
                  </a:lnTo>
                  <a:lnTo>
                    <a:pt x="886" y="364"/>
                  </a:lnTo>
                  <a:lnTo>
                    <a:pt x="879" y="367"/>
                  </a:lnTo>
                  <a:lnTo>
                    <a:pt x="877" y="370"/>
                  </a:lnTo>
                  <a:lnTo>
                    <a:pt x="880" y="369"/>
                  </a:lnTo>
                  <a:lnTo>
                    <a:pt x="886" y="370"/>
                  </a:lnTo>
                  <a:lnTo>
                    <a:pt x="886" y="374"/>
                  </a:lnTo>
                  <a:lnTo>
                    <a:pt x="889" y="374"/>
                  </a:lnTo>
                  <a:lnTo>
                    <a:pt x="891" y="375"/>
                  </a:lnTo>
                  <a:lnTo>
                    <a:pt x="895" y="376"/>
                  </a:lnTo>
                  <a:lnTo>
                    <a:pt x="898" y="377"/>
                  </a:lnTo>
                  <a:lnTo>
                    <a:pt x="902" y="377"/>
                  </a:lnTo>
                  <a:lnTo>
                    <a:pt x="904" y="376"/>
                  </a:lnTo>
                  <a:lnTo>
                    <a:pt x="906" y="379"/>
                  </a:lnTo>
                  <a:lnTo>
                    <a:pt x="906" y="381"/>
                  </a:lnTo>
                  <a:lnTo>
                    <a:pt x="904" y="382"/>
                  </a:lnTo>
                  <a:lnTo>
                    <a:pt x="901" y="383"/>
                  </a:lnTo>
                  <a:lnTo>
                    <a:pt x="906" y="387"/>
                  </a:lnTo>
                  <a:lnTo>
                    <a:pt x="902" y="387"/>
                  </a:lnTo>
                  <a:lnTo>
                    <a:pt x="902" y="388"/>
                  </a:lnTo>
                  <a:lnTo>
                    <a:pt x="901" y="392"/>
                  </a:lnTo>
                  <a:lnTo>
                    <a:pt x="900" y="393"/>
                  </a:lnTo>
                  <a:lnTo>
                    <a:pt x="897" y="392"/>
                  </a:lnTo>
                  <a:lnTo>
                    <a:pt x="898" y="397"/>
                  </a:lnTo>
                  <a:lnTo>
                    <a:pt x="896" y="395"/>
                  </a:lnTo>
                  <a:lnTo>
                    <a:pt x="894" y="399"/>
                  </a:lnTo>
                  <a:lnTo>
                    <a:pt x="891" y="398"/>
                  </a:lnTo>
                  <a:lnTo>
                    <a:pt x="891" y="399"/>
                  </a:lnTo>
                  <a:lnTo>
                    <a:pt x="889" y="401"/>
                  </a:lnTo>
                  <a:lnTo>
                    <a:pt x="888" y="401"/>
                  </a:lnTo>
                  <a:lnTo>
                    <a:pt x="884" y="399"/>
                  </a:lnTo>
                  <a:lnTo>
                    <a:pt x="883" y="400"/>
                  </a:lnTo>
                  <a:lnTo>
                    <a:pt x="881" y="397"/>
                  </a:lnTo>
                  <a:lnTo>
                    <a:pt x="880" y="399"/>
                  </a:lnTo>
                  <a:lnTo>
                    <a:pt x="881" y="401"/>
                  </a:lnTo>
                  <a:lnTo>
                    <a:pt x="885" y="401"/>
                  </a:lnTo>
                  <a:lnTo>
                    <a:pt x="889" y="405"/>
                  </a:lnTo>
                  <a:lnTo>
                    <a:pt x="891" y="412"/>
                  </a:lnTo>
                  <a:lnTo>
                    <a:pt x="890" y="415"/>
                  </a:lnTo>
                  <a:lnTo>
                    <a:pt x="888" y="410"/>
                  </a:lnTo>
                  <a:lnTo>
                    <a:pt x="885" y="406"/>
                  </a:lnTo>
                  <a:lnTo>
                    <a:pt x="883" y="409"/>
                  </a:lnTo>
                  <a:lnTo>
                    <a:pt x="881" y="410"/>
                  </a:lnTo>
                  <a:lnTo>
                    <a:pt x="880" y="407"/>
                  </a:lnTo>
                  <a:lnTo>
                    <a:pt x="879" y="407"/>
                  </a:lnTo>
                  <a:lnTo>
                    <a:pt x="879" y="405"/>
                  </a:lnTo>
                  <a:lnTo>
                    <a:pt x="879" y="403"/>
                  </a:lnTo>
                  <a:lnTo>
                    <a:pt x="875" y="405"/>
                  </a:lnTo>
                  <a:lnTo>
                    <a:pt x="873" y="407"/>
                  </a:lnTo>
                  <a:lnTo>
                    <a:pt x="872" y="406"/>
                  </a:lnTo>
                  <a:lnTo>
                    <a:pt x="869" y="409"/>
                  </a:lnTo>
                  <a:lnTo>
                    <a:pt x="868" y="411"/>
                  </a:lnTo>
                  <a:lnTo>
                    <a:pt x="866" y="405"/>
                  </a:lnTo>
                  <a:lnTo>
                    <a:pt x="866" y="400"/>
                  </a:lnTo>
                  <a:lnTo>
                    <a:pt x="863" y="401"/>
                  </a:lnTo>
                  <a:lnTo>
                    <a:pt x="862" y="399"/>
                  </a:lnTo>
                  <a:lnTo>
                    <a:pt x="863" y="393"/>
                  </a:lnTo>
                  <a:lnTo>
                    <a:pt x="863" y="389"/>
                  </a:lnTo>
                  <a:lnTo>
                    <a:pt x="860" y="391"/>
                  </a:lnTo>
                  <a:lnTo>
                    <a:pt x="854" y="395"/>
                  </a:lnTo>
                  <a:lnTo>
                    <a:pt x="847" y="400"/>
                  </a:lnTo>
                  <a:lnTo>
                    <a:pt x="847" y="403"/>
                  </a:lnTo>
                  <a:lnTo>
                    <a:pt x="848" y="403"/>
                  </a:lnTo>
                  <a:lnTo>
                    <a:pt x="848" y="405"/>
                  </a:lnTo>
                  <a:lnTo>
                    <a:pt x="847" y="407"/>
                  </a:lnTo>
                  <a:lnTo>
                    <a:pt x="851" y="413"/>
                  </a:lnTo>
                  <a:lnTo>
                    <a:pt x="854" y="415"/>
                  </a:lnTo>
                  <a:lnTo>
                    <a:pt x="862" y="423"/>
                  </a:lnTo>
                  <a:lnTo>
                    <a:pt x="865" y="421"/>
                  </a:lnTo>
                  <a:lnTo>
                    <a:pt x="866" y="418"/>
                  </a:lnTo>
                  <a:lnTo>
                    <a:pt x="867" y="415"/>
                  </a:lnTo>
                  <a:lnTo>
                    <a:pt x="869" y="415"/>
                  </a:lnTo>
                  <a:lnTo>
                    <a:pt x="871" y="416"/>
                  </a:lnTo>
                  <a:lnTo>
                    <a:pt x="871" y="419"/>
                  </a:lnTo>
                  <a:lnTo>
                    <a:pt x="877" y="422"/>
                  </a:lnTo>
                  <a:lnTo>
                    <a:pt x="875" y="428"/>
                  </a:lnTo>
                  <a:lnTo>
                    <a:pt x="877" y="433"/>
                  </a:lnTo>
                  <a:lnTo>
                    <a:pt x="886" y="433"/>
                  </a:lnTo>
                  <a:lnTo>
                    <a:pt x="886" y="429"/>
                  </a:lnTo>
                  <a:lnTo>
                    <a:pt x="884" y="429"/>
                  </a:lnTo>
                  <a:lnTo>
                    <a:pt x="888" y="424"/>
                  </a:lnTo>
                  <a:lnTo>
                    <a:pt x="894" y="423"/>
                  </a:lnTo>
                  <a:lnTo>
                    <a:pt x="896" y="419"/>
                  </a:lnTo>
                  <a:lnTo>
                    <a:pt x="898" y="421"/>
                  </a:lnTo>
                  <a:lnTo>
                    <a:pt x="897" y="425"/>
                  </a:lnTo>
                  <a:lnTo>
                    <a:pt x="892" y="429"/>
                  </a:lnTo>
                  <a:lnTo>
                    <a:pt x="889" y="433"/>
                  </a:lnTo>
                  <a:lnTo>
                    <a:pt x="888" y="434"/>
                  </a:lnTo>
                  <a:lnTo>
                    <a:pt x="878" y="435"/>
                  </a:lnTo>
                  <a:lnTo>
                    <a:pt x="877" y="438"/>
                  </a:lnTo>
                  <a:lnTo>
                    <a:pt x="874" y="438"/>
                  </a:lnTo>
                  <a:lnTo>
                    <a:pt x="874" y="441"/>
                  </a:lnTo>
                  <a:lnTo>
                    <a:pt x="878" y="441"/>
                  </a:lnTo>
                  <a:lnTo>
                    <a:pt x="875" y="447"/>
                  </a:lnTo>
                  <a:lnTo>
                    <a:pt x="874" y="448"/>
                  </a:lnTo>
                  <a:lnTo>
                    <a:pt x="872" y="445"/>
                  </a:lnTo>
                  <a:lnTo>
                    <a:pt x="871" y="440"/>
                  </a:lnTo>
                  <a:lnTo>
                    <a:pt x="871" y="436"/>
                  </a:lnTo>
                  <a:lnTo>
                    <a:pt x="868" y="439"/>
                  </a:lnTo>
                  <a:lnTo>
                    <a:pt x="868" y="442"/>
                  </a:lnTo>
                  <a:lnTo>
                    <a:pt x="863" y="445"/>
                  </a:lnTo>
                  <a:lnTo>
                    <a:pt x="862" y="442"/>
                  </a:lnTo>
                  <a:lnTo>
                    <a:pt x="861" y="436"/>
                  </a:lnTo>
                  <a:lnTo>
                    <a:pt x="859" y="440"/>
                  </a:lnTo>
                  <a:lnTo>
                    <a:pt x="856" y="445"/>
                  </a:lnTo>
                  <a:lnTo>
                    <a:pt x="854" y="447"/>
                  </a:lnTo>
                  <a:lnTo>
                    <a:pt x="853" y="444"/>
                  </a:lnTo>
                  <a:lnTo>
                    <a:pt x="851" y="440"/>
                  </a:lnTo>
                  <a:lnTo>
                    <a:pt x="853" y="435"/>
                  </a:lnTo>
                  <a:lnTo>
                    <a:pt x="850" y="434"/>
                  </a:lnTo>
                  <a:lnTo>
                    <a:pt x="848" y="435"/>
                  </a:lnTo>
                  <a:lnTo>
                    <a:pt x="843" y="436"/>
                  </a:lnTo>
                  <a:lnTo>
                    <a:pt x="844" y="433"/>
                  </a:lnTo>
                  <a:lnTo>
                    <a:pt x="845" y="428"/>
                  </a:lnTo>
                  <a:lnTo>
                    <a:pt x="842" y="428"/>
                  </a:lnTo>
                  <a:lnTo>
                    <a:pt x="843" y="424"/>
                  </a:lnTo>
                  <a:lnTo>
                    <a:pt x="843" y="422"/>
                  </a:lnTo>
                  <a:lnTo>
                    <a:pt x="842" y="419"/>
                  </a:lnTo>
                  <a:lnTo>
                    <a:pt x="841" y="419"/>
                  </a:lnTo>
                  <a:lnTo>
                    <a:pt x="838" y="423"/>
                  </a:lnTo>
                  <a:lnTo>
                    <a:pt x="837" y="422"/>
                  </a:lnTo>
                  <a:lnTo>
                    <a:pt x="838" y="417"/>
                  </a:lnTo>
                  <a:lnTo>
                    <a:pt x="835" y="418"/>
                  </a:lnTo>
                  <a:lnTo>
                    <a:pt x="833" y="422"/>
                  </a:lnTo>
                  <a:lnTo>
                    <a:pt x="833" y="424"/>
                  </a:lnTo>
                  <a:lnTo>
                    <a:pt x="835" y="428"/>
                  </a:lnTo>
                  <a:lnTo>
                    <a:pt x="835" y="432"/>
                  </a:lnTo>
                  <a:lnTo>
                    <a:pt x="833" y="433"/>
                  </a:lnTo>
                  <a:lnTo>
                    <a:pt x="836" y="435"/>
                  </a:lnTo>
                  <a:lnTo>
                    <a:pt x="836" y="441"/>
                  </a:lnTo>
                  <a:lnTo>
                    <a:pt x="835" y="442"/>
                  </a:lnTo>
                  <a:lnTo>
                    <a:pt x="835" y="444"/>
                  </a:lnTo>
                  <a:lnTo>
                    <a:pt x="838" y="446"/>
                  </a:lnTo>
                  <a:lnTo>
                    <a:pt x="837" y="446"/>
                  </a:lnTo>
                  <a:lnTo>
                    <a:pt x="836" y="447"/>
                  </a:lnTo>
                  <a:lnTo>
                    <a:pt x="842" y="451"/>
                  </a:lnTo>
                  <a:lnTo>
                    <a:pt x="842" y="452"/>
                  </a:lnTo>
                  <a:lnTo>
                    <a:pt x="843" y="452"/>
                  </a:lnTo>
                  <a:lnTo>
                    <a:pt x="845" y="447"/>
                  </a:lnTo>
                  <a:lnTo>
                    <a:pt x="849" y="446"/>
                  </a:lnTo>
                  <a:lnTo>
                    <a:pt x="851" y="451"/>
                  </a:lnTo>
                  <a:lnTo>
                    <a:pt x="855" y="452"/>
                  </a:lnTo>
                  <a:lnTo>
                    <a:pt x="851" y="454"/>
                  </a:lnTo>
                  <a:lnTo>
                    <a:pt x="856" y="456"/>
                  </a:lnTo>
                  <a:lnTo>
                    <a:pt x="855" y="458"/>
                  </a:lnTo>
                  <a:lnTo>
                    <a:pt x="851" y="459"/>
                  </a:lnTo>
                  <a:lnTo>
                    <a:pt x="844" y="456"/>
                  </a:lnTo>
                  <a:lnTo>
                    <a:pt x="841" y="457"/>
                  </a:lnTo>
                  <a:lnTo>
                    <a:pt x="839" y="456"/>
                  </a:lnTo>
                  <a:lnTo>
                    <a:pt x="835" y="454"/>
                  </a:lnTo>
                  <a:lnTo>
                    <a:pt x="830" y="457"/>
                  </a:lnTo>
                  <a:lnTo>
                    <a:pt x="825" y="462"/>
                  </a:lnTo>
                  <a:lnTo>
                    <a:pt x="824" y="457"/>
                  </a:lnTo>
                  <a:lnTo>
                    <a:pt x="820" y="462"/>
                  </a:lnTo>
                  <a:lnTo>
                    <a:pt x="820" y="456"/>
                  </a:lnTo>
                  <a:lnTo>
                    <a:pt x="814" y="453"/>
                  </a:lnTo>
                  <a:lnTo>
                    <a:pt x="814" y="457"/>
                  </a:lnTo>
                  <a:lnTo>
                    <a:pt x="815" y="459"/>
                  </a:lnTo>
                  <a:lnTo>
                    <a:pt x="813" y="459"/>
                  </a:lnTo>
                  <a:lnTo>
                    <a:pt x="812" y="460"/>
                  </a:lnTo>
                  <a:lnTo>
                    <a:pt x="812" y="463"/>
                  </a:lnTo>
                  <a:lnTo>
                    <a:pt x="814" y="465"/>
                  </a:lnTo>
                  <a:lnTo>
                    <a:pt x="812" y="466"/>
                  </a:lnTo>
                  <a:lnTo>
                    <a:pt x="810" y="469"/>
                  </a:lnTo>
                  <a:lnTo>
                    <a:pt x="809" y="465"/>
                  </a:lnTo>
                  <a:lnTo>
                    <a:pt x="808" y="460"/>
                  </a:lnTo>
                  <a:lnTo>
                    <a:pt x="807" y="463"/>
                  </a:lnTo>
                  <a:lnTo>
                    <a:pt x="807" y="459"/>
                  </a:lnTo>
                  <a:lnTo>
                    <a:pt x="804" y="460"/>
                  </a:lnTo>
                  <a:lnTo>
                    <a:pt x="803" y="463"/>
                  </a:lnTo>
                  <a:lnTo>
                    <a:pt x="802" y="462"/>
                  </a:lnTo>
                  <a:lnTo>
                    <a:pt x="801" y="462"/>
                  </a:lnTo>
                  <a:lnTo>
                    <a:pt x="798" y="459"/>
                  </a:lnTo>
                  <a:lnTo>
                    <a:pt x="796" y="459"/>
                  </a:lnTo>
                  <a:lnTo>
                    <a:pt x="796" y="457"/>
                  </a:lnTo>
                  <a:lnTo>
                    <a:pt x="794" y="456"/>
                  </a:lnTo>
                  <a:lnTo>
                    <a:pt x="791" y="459"/>
                  </a:lnTo>
                  <a:lnTo>
                    <a:pt x="788" y="463"/>
                  </a:lnTo>
                  <a:lnTo>
                    <a:pt x="785" y="466"/>
                  </a:lnTo>
                  <a:lnTo>
                    <a:pt x="785" y="469"/>
                  </a:lnTo>
                  <a:lnTo>
                    <a:pt x="784" y="464"/>
                  </a:lnTo>
                  <a:lnTo>
                    <a:pt x="780" y="463"/>
                  </a:lnTo>
                  <a:lnTo>
                    <a:pt x="777" y="464"/>
                  </a:lnTo>
                  <a:lnTo>
                    <a:pt x="774" y="465"/>
                  </a:lnTo>
                  <a:lnTo>
                    <a:pt x="774" y="463"/>
                  </a:lnTo>
                  <a:lnTo>
                    <a:pt x="768" y="464"/>
                  </a:lnTo>
                  <a:lnTo>
                    <a:pt x="766" y="466"/>
                  </a:lnTo>
                  <a:lnTo>
                    <a:pt x="765" y="471"/>
                  </a:lnTo>
                  <a:lnTo>
                    <a:pt x="763" y="470"/>
                  </a:lnTo>
                  <a:lnTo>
                    <a:pt x="762" y="466"/>
                  </a:lnTo>
                  <a:lnTo>
                    <a:pt x="761" y="469"/>
                  </a:lnTo>
                  <a:lnTo>
                    <a:pt x="760" y="471"/>
                  </a:lnTo>
                  <a:lnTo>
                    <a:pt x="760" y="474"/>
                  </a:lnTo>
                  <a:lnTo>
                    <a:pt x="762" y="474"/>
                  </a:lnTo>
                  <a:lnTo>
                    <a:pt x="760" y="477"/>
                  </a:lnTo>
                  <a:lnTo>
                    <a:pt x="762" y="478"/>
                  </a:lnTo>
                  <a:lnTo>
                    <a:pt x="763" y="480"/>
                  </a:lnTo>
                  <a:lnTo>
                    <a:pt x="766" y="480"/>
                  </a:lnTo>
                  <a:lnTo>
                    <a:pt x="767" y="478"/>
                  </a:lnTo>
                  <a:lnTo>
                    <a:pt x="770" y="480"/>
                  </a:lnTo>
                  <a:lnTo>
                    <a:pt x="771" y="477"/>
                  </a:lnTo>
                  <a:lnTo>
                    <a:pt x="771" y="472"/>
                  </a:lnTo>
                  <a:lnTo>
                    <a:pt x="774" y="475"/>
                  </a:lnTo>
                  <a:lnTo>
                    <a:pt x="777" y="478"/>
                  </a:lnTo>
                  <a:lnTo>
                    <a:pt x="780" y="478"/>
                  </a:lnTo>
                  <a:lnTo>
                    <a:pt x="782" y="482"/>
                  </a:lnTo>
                  <a:lnTo>
                    <a:pt x="779" y="482"/>
                  </a:lnTo>
                  <a:lnTo>
                    <a:pt x="778" y="482"/>
                  </a:lnTo>
                  <a:lnTo>
                    <a:pt x="778" y="483"/>
                  </a:lnTo>
                  <a:lnTo>
                    <a:pt x="780" y="487"/>
                  </a:lnTo>
                  <a:lnTo>
                    <a:pt x="778" y="486"/>
                  </a:lnTo>
                  <a:lnTo>
                    <a:pt x="776" y="486"/>
                  </a:lnTo>
                  <a:lnTo>
                    <a:pt x="774" y="487"/>
                  </a:lnTo>
                  <a:lnTo>
                    <a:pt x="777" y="489"/>
                  </a:lnTo>
                  <a:lnTo>
                    <a:pt x="779" y="490"/>
                  </a:lnTo>
                  <a:lnTo>
                    <a:pt x="782" y="489"/>
                  </a:lnTo>
                  <a:lnTo>
                    <a:pt x="783" y="487"/>
                  </a:lnTo>
                  <a:lnTo>
                    <a:pt x="784" y="490"/>
                  </a:lnTo>
                  <a:lnTo>
                    <a:pt x="783" y="494"/>
                  </a:lnTo>
                  <a:lnTo>
                    <a:pt x="780" y="494"/>
                  </a:lnTo>
                  <a:lnTo>
                    <a:pt x="778" y="495"/>
                  </a:lnTo>
                  <a:lnTo>
                    <a:pt x="779" y="496"/>
                  </a:lnTo>
                  <a:lnTo>
                    <a:pt x="783" y="496"/>
                  </a:lnTo>
                  <a:lnTo>
                    <a:pt x="785" y="498"/>
                  </a:lnTo>
                  <a:lnTo>
                    <a:pt x="789" y="499"/>
                  </a:lnTo>
                  <a:lnTo>
                    <a:pt x="790" y="500"/>
                  </a:lnTo>
                  <a:lnTo>
                    <a:pt x="790" y="501"/>
                  </a:lnTo>
                  <a:lnTo>
                    <a:pt x="790" y="506"/>
                  </a:lnTo>
                  <a:lnTo>
                    <a:pt x="792" y="508"/>
                  </a:lnTo>
                  <a:lnTo>
                    <a:pt x="795" y="508"/>
                  </a:lnTo>
                  <a:lnTo>
                    <a:pt x="797" y="508"/>
                  </a:lnTo>
                  <a:lnTo>
                    <a:pt x="800" y="510"/>
                  </a:lnTo>
                  <a:lnTo>
                    <a:pt x="801" y="508"/>
                  </a:lnTo>
                  <a:lnTo>
                    <a:pt x="801" y="505"/>
                  </a:lnTo>
                  <a:lnTo>
                    <a:pt x="803" y="502"/>
                  </a:lnTo>
                  <a:lnTo>
                    <a:pt x="804" y="501"/>
                  </a:lnTo>
                  <a:lnTo>
                    <a:pt x="809" y="501"/>
                  </a:lnTo>
                  <a:lnTo>
                    <a:pt x="807" y="505"/>
                  </a:lnTo>
                  <a:lnTo>
                    <a:pt x="806" y="506"/>
                  </a:lnTo>
                  <a:lnTo>
                    <a:pt x="807" y="506"/>
                  </a:lnTo>
                  <a:lnTo>
                    <a:pt x="808" y="506"/>
                  </a:lnTo>
                  <a:lnTo>
                    <a:pt x="807" y="510"/>
                  </a:lnTo>
                  <a:lnTo>
                    <a:pt x="809" y="514"/>
                  </a:lnTo>
                  <a:lnTo>
                    <a:pt x="810" y="518"/>
                  </a:lnTo>
                  <a:lnTo>
                    <a:pt x="810" y="519"/>
                  </a:lnTo>
                  <a:lnTo>
                    <a:pt x="812" y="516"/>
                  </a:lnTo>
                  <a:lnTo>
                    <a:pt x="814" y="519"/>
                  </a:lnTo>
                  <a:lnTo>
                    <a:pt x="814" y="525"/>
                  </a:lnTo>
                  <a:lnTo>
                    <a:pt x="813" y="530"/>
                  </a:lnTo>
                  <a:lnTo>
                    <a:pt x="816" y="530"/>
                  </a:lnTo>
                  <a:lnTo>
                    <a:pt x="819" y="528"/>
                  </a:lnTo>
                  <a:lnTo>
                    <a:pt x="821" y="528"/>
                  </a:lnTo>
                  <a:lnTo>
                    <a:pt x="824" y="530"/>
                  </a:lnTo>
                  <a:lnTo>
                    <a:pt x="827" y="530"/>
                  </a:lnTo>
                  <a:lnTo>
                    <a:pt x="825" y="529"/>
                  </a:lnTo>
                  <a:lnTo>
                    <a:pt x="827" y="528"/>
                  </a:lnTo>
                  <a:lnTo>
                    <a:pt x="829" y="526"/>
                  </a:lnTo>
                  <a:lnTo>
                    <a:pt x="830" y="525"/>
                  </a:lnTo>
                  <a:lnTo>
                    <a:pt x="832" y="526"/>
                  </a:lnTo>
                  <a:lnTo>
                    <a:pt x="833" y="529"/>
                  </a:lnTo>
                  <a:lnTo>
                    <a:pt x="832" y="530"/>
                  </a:lnTo>
                  <a:lnTo>
                    <a:pt x="832" y="531"/>
                  </a:lnTo>
                  <a:lnTo>
                    <a:pt x="836" y="532"/>
                  </a:lnTo>
                  <a:lnTo>
                    <a:pt x="842" y="537"/>
                  </a:lnTo>
                  <a:lnTo>
                    <a:pt x="839" y="537"/>
                  </a:lnTo>
                  <a:lnTo>
                    <a:pt x="838" y="540"/>
                  </a:lnTo>
                  <a:lnTo>
                    <a:pt x="841" y="542"/>
                  </a:lnTo>
                  <a:lnTo>
                    <a:pt x="842" y="542"/>
                  </a:lnTo>
                  <a:lnTo>
                    <a:pt x="842" y="551"/>
                  </a:lnTo>
                  <a:lnTo>
                    <a:pt x="839" y="555"/>
                  </a:lnTo>
                  <a:lnTo>
                    <a:pt x="836" y="554"/>
                  </a:lnTo>
                  <a:lnTo>
                    <a:pt x="836" y="557"/>
                  </a:lnTo>
                  <a:lnTo>
                    <a:pt x="833" y="561"/>
                  </a:lnTo>
                  <a:lnTo>
                    <a:pt x="830" y="564"/>
                  </a:lnTo>
                  <a:lnTo>
                    <a:pt x="825" y="564"/>
                  </a:lnTo>
                  <a:lnTo>
                    <a:pt x="824" y="567"/>
                  </a:lnTo>
                  <a:lnTo>
                    <a:pt x="821" y="567"/>
                  </a:lnTo>
                  <a:lnTo>
                    <a:pt x="819" y="569"/>
                  </a:lnTo>
                  <a:lnTo>
                    <a:pt x="824" y="572"/>
                  </a:lnTo>
                  <a:lnTo>
                    <a:pt x="827" y="575"/>
                  </a:lnTo>
                  <a:lnTo>
                    <a:pt x="833" y="575"/>
                  </a:lnTo>
                  <a:lnTo>
                    <a:pt x="841" y="575"/>
                  </a:lnTo>
                  <a:lnTo>
                    <a:pt x="843" y="577"/>
                  </a:lnTo>
                  <a:lnTo>
                    <a:pt x="847" y="581"/>
                  </a:lnTo>
                  <a:lnTo>
                    <a:pt x="848" y="587"/>
                  </a:lnTo>
                  <a:lnTo>
                    <a:pt x="844" y="584"/>
                  </a:lnTo>
                  <a:lnTo>
                    <a:pt x="841" y="582"/>
                  </a:lnTo>
                  <a:lnTo>
                    <a:pt x="836" y="581"/>
                  </a:lnTo>
                  <a:lnTo>
                    <a:pt x="835" y="579"/>
                  </a:lnTo>
                  <a:lnTo>
                    <a:pt x="835" y="577"/>
                  </a:lnTo>
                  <a:lnTo>
                    <a:pt x="829" y="576"/>
                  </a:lnTo>
                  <a:lnTo>
                    <a:pt x="822" y="573"/>
                  </a:lnTo>
                  <a:lnTo>
                    <a:pt x="821" y="573"/>
                  </a:lnTo>
                  <a:lnTo>
                    <a:pt x="820" y="576"/>
                  </a:lnTo>
                  <a:lnTo>
                    <a:pt x="820" y="578"/>
                  </a:lnTo>
                  <a:lnTo>
                    <a:pt x="819" y="579"/>
                  </a:lnTo>
                  <a:lnTo>
                    <a:pt x="818" y="582"/>
                  </a:lnTo>
                  <a:lnTo>
                    <a:pt x="815" y="585"/>
                  </a:lnTo>
                  <a:lnTo>
                    <a:pt x="813" y="585"/>
                  </a:lnTo>
                  <a:lnTo>
                    <a:pt x="810" y="588"/>
                  </a:lnTo>
                  <a:lnTo>
                    <a:pt x="809" y="589"/>
                  </a:lnTo>
                  <a:lnTo>
                    <a:pt x="810" y="582"/>
                  </a:lnTo>
                  <a:lnTo>
                    <a:pt x="810" y="578"/>
                  </a:lnTo>
                  <a:lnTo>
                    <a:pt x="812" y="573"/>
                  </a:lnTo>
                  <a:lnTo>
                    <a:pt x="816" y="572"/>
                  </a:lnTo>
                  <a:lnTo>
                    <a:pt x="816" y="569"/>
                  </a:lnTo>
                  <a:lnTo>
                    <a:pt x="813" y="569"/>
                  </a:lnTo>
                  <a:lnTo>
                    <a:pt x="812" y="570"/>
                  </a:lnTo>
                  <a:lnTo>
                    <a:pt x="810" y="573"/>
                  </a:lnTo>
                  <a:lnTo>
                    <a:pt x="809" y="576"/>
                  </a:lnTo>
                  <a:lnTo>
                    <a:pt x="807" y="578"/>
                  </a:lnTo>
                  <a:lnTo>
                    <a:pt x="808" y="572"/>
                  </a:lnTo>
                  <a:lnTo>
                    <a:pt x="809" y="569"/>
                  </a:lnTo>
                  <a:lnTo>
                    <a:pt x="808" y="567"/>
                  </a:lnTo>
                  <a:lnTo>
                    <a:pt x="806" y="569"/>
                  </a:lnTo>
                  <a:lnTo>
                    <a:pt x="806" y="571"/>
                  </a:lnTo>
                  <a:lnTo>
                    <a:pt x="803" y="573"/>
                  </a:lnTo>
                  <a:lnTo>
                    <a:pt x="802" y="573"/>
                  </a:lnTo>
                  <a:lnTo>
                    <a:pt x="801" y="570"/>
                  </a:lnTo>
                  <a:lnTo>
                    <a:pt x="800" y="567"/>
                  </a:lnTo>
                  <a:lnTo>
                    <a:pt x="798" y="566"/>
                  </a:lnTo>
                  <a:lnTo>
                    <a:pt x="796" y="565"/>
                  </a:lnTo>
                  <a:lnTo>
                    <a:pt x="795" y="565"/>
                  </a:lnTo>
                  <a:lnTo>
                    <a:pt x="791" y="563"/>
                  </a:lnTo>
                  <a:lnTo>
                    <a:pt x="792" y="560"/>
                  </a:lnTo>
                  <a:lnTo>
                    <a:pt x="789" y="561"/>
                  </a:lnTo>
                  <a:lnTo>
                    <a:pt x="786" y="564"/>
                  </a:lnTo>
                  <a:lnTo>
                    <a:pt x="786" y="560"/>
                  </a:lnTo>
                  <a:lnTo>
                    <a:pt x="788" y="557"/>
                  </a:lnTo>
                  <a:lnTo>
                    <a:pt x="786" y="555"/>
                  </a:lnTo>
                  <a:lnTo>
                    <a:pt x="783" y="555"/>
                  </a:lnTo>
                  <a:lnTo>
                    <a:pt x="780" y="554"/>
                  </a:lnTo>
                  <a:lnTo>
                    <a:pt x="780" y="551"/>
                  </a:lnTo>
                  <a:lnTo>
                    <a:pt x="778" y="551"/>
                  </a:lnTo>
                  <a:lnTo>
                    <a:pt x="776" y="552"/>
                  </a:lnTo>
                  <a:lnTo>
                    <a:pt x="774" y="551"/>
                  </a:lnTo>
                  <a:lnTo>
                    <a:pt x="774" y="549"/>
                  </a:lnTo>
                  <a:lnTo>
                    <a:pt x="779" y="548"/>
                  </a:lnTo>
                  <a:lnTo>
                    <a:pt x="780" y="548"/>
                  </a:lnTo>
                  <a:lnTo>
                    <a:pt x="779" y="547"/>
                  </a:lnTo>
                  <a:lnTo>
                    <a:pt x="776" y="545"/>
                  </a:lnTo>
                  <a:lnTo>
                    <a:pt x="778" y="542"/>
                  </a:lnTo>
                  <a:lnTo>
                    <a:pt x="776" y="543"/>
                  </a:lnTo>
                  <a:lnTo>
                    <a:pt x="773" y="542"/>
                  </a:lnTo>
                  <a:lnTo>
                    <a:pt x="772" y="539"/>
                  </a:lnTo>
                  <a:lnTo>
                    <a:pt x="767" y="539"/>
                  </a:lnTo>
                  <a:lnTo>
                    <a:pt x="768" y="546"/>
                  </a:lnTo>
                  <a:lnTo>
                    <a:pt x="770" y="559"/>
                  </a:lnTo>
                  <a:lnTo>
                    <a:pt x="771" y="560"/>
                  </a:lnTo>
                  <a:lnTo>
                    <a:pt x="771" y="564"/>
                  </a:lnTo>
                  <a:lnTo>
                    <a:pt x="771" y="569"/>
                  </a:lnTo>
                  <a:lnTo>
                    <a:pt x="770" y="566"/>
                  </a:lnTo>
                  <a:lnTo>
                    <a:pt x="768" y="561"/>
                  </a:lnTo>
                  <a:lnTo>
                    <a:pt x="767" y="554"/>
                  </a:lnTo>
                  <a:lnTo>
                    <a:pt x="765" y="557"/>
                  </a:lnTo>
                  <a:lnTo>
                    <a:pt x="761" y="563"/>
                  </a:lnTo>
                  <a:lnTo>
                    <a:pt x="761" y="566"/>
                  </a:lnTo>
                  <a:lnTo>
                    <a:pt x="762" y="569"/>
                  </a:lnTo>
                  <a:lnTo>
                    <a:pt x="762" y="571"/>
                  </a:lnTo>
                  <a:lnTo>
                    <a:pt x="760" y="576"/>
                  </a:lnTo>
                  <a:lnTo>
                    <a:pt x="753" y="581"/>
                  </a:lnTo>
                  <a:lnTo>
                    <a:pt x="751" y="584"/>
                  </a:lnTo>
                  <a:lnTo>
                    <a:pt x="759" y="593"/>
                  </a:lnTo>
                  <a:lnTo>
                    <a:pt x="763" y="595"/>
                  </a:lnTo>
                  <a:lnTo>
                    <a:pt x="763" y="593"/>
                  </a:lnTo>
                  <a:lnTo>
                    <a:pt x="768" y="594"/>
                  </a:lnTo>
                  <a:lnTo>
                    <a:pt x="771" y="596"/>
                  </a:lnTo>
                  <a:lnTo>
                    <a:pt x="770" y="597"/>
                  </a:lnTo>
                  <a:lnTo>
                    <a:pt x="771" y="599"/>
                  </a:lnTo>
                  <a:lnTo>
                    <a:pt x="773" y="597"/>
                  </a:lnTo>
                  <a:lnTo>
                    <a:pt x="776" y="597"/>
                  </a:lnTo>
                  <a:lnTo>
                    <a:pt x="777" y="595"/>
                  </a:lnTo>
                  <a:lnTo>
                    <a:pt x="778" y="590"/>
                  </a:lnTo>
                  <a:lnTo>
                    <a:pt x="780" y="588"/>
                  </a:lnTo>
                  <a:lnTo>
                    <a:pt x="783" y="589"/>
                  </a:lnTo>
                  <a:lnTo>
                    <a:pt x="785" y="591"/>
                  </a:lnTo>
                  <a:lnTo>
                    <a:pt x="780" y="599"/>
                  </a:lnTo>
                  <a:lnTo>
                    <a:pt x="782" y="602"/>
                  </a:lnTo>
                  <a:lnTo>
                    <a:pt x="784" y="599"/>
                  </a:lnTo>
                  <a:lnTo>
                    <a:pt x="785" y="599"/>
                  </a:lnTo>
                  <a:lnTo>
                    <a:pt x="786" y="602"/>
                  </a:lnTo>
                  <a:lnTo>
                    <a:pt x="788" y="600"/>
                  </a:lnTo>
                  <a:lnTo>
                    <a:pt x="791" y="600"/>
                  </a:lnTo>
                  <a:lnTo>
                    <a:pt x="790" y="603"/>
                  </a:lnTo>
                  <a:lnTo>
                    <a:pt x="784" y="605"/>
                  </a:lnTo>
                  <a:lnTo>
                    <a:pt x="783" y="607"/>
                  </a:lnTo>
                  <a:lnTo>
                    <a:pt x="786" y="609"/>
                  </a:lnTo>
                  <a:lnTo>
                    <a:pt x="789" y="611"/>
                  </a:lnTo>
                  <a:lnTo>
                    <a:pt x="790" y="615"/>
                  </a:lnTo>
                  <a:lnTo>
                    <a:pt x="788" y="619"/>
                  </a:lnTo>
                  <a:lnTo>
                    <a:pt x="786" y="617"/>
                  </a:lnTo>
                  <a:lnTo>
                    <a:pt x="786" y="620"/>
                  </a:lnTo>
                  <a:lnTo>
                    <a:pt x="784" y="625"/>
                  </a:lnTo>
                  <a:lnTo>
                    <a:pt x="782" y="623"/>
                  </a:lnTo>
                  <a:lnTo>
                    <a:pt x="779" y="621"/>
                  </a:lnTo>
                  <a:lnTo>
                    <a:pt x="778" y="620"/>
                  </a:lnTo>
                  <a:lnTo>
                    <a:pt x="780" y="614"/>
                  </a:lnTo>
                  <a:lnTo>
                    <a:pt x="780" y="609"/>
                  </a:lnTo>
                  <a:lnTo>
                    <a:pt x="779" y="611"/>
                  </a:lnTo>
                  <a:lnTo>
                    <a:pt x="776" y="613"/>
                  </a:lnTo>
                  <a:lnTo>
                    <a:pt x="774" y="612"/>
                  </a:lnTo>
                  <a:lnTo>
                    <a:pt x="774" y="606"/>
                  </a:lnTo>
                  <a:lnTo>
                    <a:pt x="772" y="607"/>
                  </a:lnTo>
                  <a:lnTo>
                    <a:pt x="768" y="606"/>
                  </a:lnTo>
                  <a:lnTo>
                    <a:pt x="768" y="601"/>
                  </a:lnTo>
                  <a:lnTo>
                    <a:pt x="767" y="599"/>
                  </a:lnTo>
                  <a:lnTo>
                    <a:pt x="767" y="601"/>
                  </a:lnTo>
                  <a:lnTo>
                    <a:pt x="767" y="603"/>
                  </a:lnTo>
                  <a:lnTo>
                    <a:pt x="760" y="602"/>
                  </a:lnTo>
                  <a:lnTo>
                    <a:pt x="761" y="600"/>
                  </a:lnTo>
                  <a:lnTo>
                    <a:pt x="763" y="599"/>
                  </a:lnTo>
                  <a:lnTo>
                    <a:pt x="763" y="597"/>
                  </a:lnTo>
                  <a:lnTo>
                    <a:pt x="762" y="596"/>
                  </a:lnTo>
                  <a:lnTo>
                    <a:pt x="757" y="593"/>
                  </a:lnTo>
                  <a:lnTo>
                    <a:pt x="751" y="588"/>
                  </a:lnTo>
                  <a:lnTo>
                    <a:pt x="751" y="591"/>
                  </a:lnTo>
                  <a:lnTo>
                    <a:pt x="753" y="595"/>
                  </a:lnTo>
                  <a:lnTo>
                    <a:pt x="754" y="600"/>
                  </a:lnTo>
                  <a:lnTo>
                    <a:pt x="756" y="603"/>
                  </a:lnTo>
                  <a:lnTo>
                    <a:pt x="756" y="605"/>
                  </a:lnTo>
                  <a:lnTo>
                    <a:pt x="754" y="612"/>
                  </a:lnTo>
                  <a:lnTo>
                    <a:pt x="751" y="615"/>
                  </a:lnTo>
                  <a:lnTo>
                    <a:pt x="750" y="620"/>
                  </a:lnTo>
                  <a:lnTo>
                    <a:pt x="748" y="624"/>
                  </a:lnTo>
                  <a:lnTo>
                    <a:pt x="749" y="626"/>
                  </a:lnTo>
                  <a:lnTo>
                    <a:pt x="750" y="629"/>
                  </a:lnTo>
                  <a:lnTo>
                    <a:pt x="753" y="630"/>
                  </a:lnTo>
                  <a:lnTo>
                    <a:pt x="755" y="626"/>
                  </a:lnTo>
                  <a:lnTo>
                    <a:pt x="757" y="624"/>
                  </a:lnTo>
                  <a:lnTo>
                    <a:pt x="760" y="624"/>
                  </a:lnTo>
                  <a:lnTo>
                    <a:pt x="761" y="625"/>
                  </a:lnTo>
                  <a:lnTo>
                    <a:pt x="761" y="630"/>
                  </a:lnTo>
                  <a:lnTo>
                    <a:pt x="765" y="629"/>
                  </a:lnTo>
                  <a:lnTo>
                    <a:pt x="766" y="629"/>
                  </a:lnTo>
                  <a:lnTo>
                    <a:pt x="770" y="631"/>
                  </a:lnTo>
                  <a:lnTo>
                    <a:pt x="772" y="633"/>
                  </a:lnTo>
                  <a:lnTo>
                    <a:pt x="774" y="632"/>
                  </a:lnTo>
                  <a:lnTo>
                    <a:pt x="776" y="630"/>
                  </a:lnTo>
                  <a:lnTo>
                    <a:pt x="780" y="627"/>
                  </a:lnTo>
                  <a:lnTo>
                    <a:pt x="784" y="630"/>
                  </a:lnTo>
                  <a:lnTo>
                    <a:pt x="778" y="630"/>
                  </a:lnTo>
                  <a:lnTo>
                    <a:pt x="777" y="633"/>
                  </a:lnTo>
                  <a:lnTo>
                    <a:pt x="776" y="636"/>
                  </a:lnTo>
                  <a:lnTo>
                    <a:pt x="778" y="637"/>
                  </a:lnTo>
                  <a:lnTo>
                    <a:pt x="783" y="637"/>
                  </a:lnTo>
                  <a:lnTo>
                    <a:pt x="786" y="636"/>
                  </a:lnTo>
                  <a:lnTo>
                    <a:pt x="789" y="635"/>
                  </a:lnTo>
                  <a:lnTo>
                    <a:pt x="791" y="635"/>
                  </a:lnTo>
                  <a:lnTo>
                    <a:pt x="795" y="633"/>
                  </a:lnTo>
                  <a:lnTo>
                    <a:pt x="795" y="631"/>
                  </a:lnTo>
                  <a:lnTo>
                    <a:pt x="796" y="635"/>
                  </a:lnTo>
                  <a:lnTo>
                    <a:pt x="797" y="638"/>
                  </a:lnTo>
                  <a:lnTo>
                    <a:pt x="794" y="644"/>
                  </a:lnTo>
                  <a:lnTo>
                    <a:pt x="795" y="647"/>
                  </a:lnTo>
                  <a:lnTo>
                    <a:pt x="796" y="647"/>
                  </a:lnTo>
                  <a:lnTo>
                    <a:pt x="797" y="649"/>
                  </a:lnTo>
                  <a:lnTo>
                    <a:pt x="795" y="658"/>
                  </a:lnTo>
                  <a:lnTo>
                    <a:pt x="792" y="664"/>
                  </a:lnTo>
                  <a:lnTo>
                    <a:pt x="790" y="665"/>
                  </a:lnTo>
                  <a:lnTo>
                    <a:pt x="789" y="670"/>
                  </a:lnTo>
                  <a:lnTo>
                    <a:pt x="788" y="672"/>
                  </a:lnTo>
                  <a:lnTo>
                    <a:pt x="791" y="673"/>
                  </a:lnTo>
                  <a:lnTo>
                    <a:pt x="791" y="682"/>
                  </a:lnTo>
                  <a:lnTo>
                    <a:pt x="790" y="684"/>
                  </a:lnTo>
                  <a:lnTo>
                    <a:pt x="788" y="683"/>
                  </a:lnTo>
                  <a:lnTo>
                    <a:pt x="785" y="684"/>
                  </a:lnTo>
                  <a:lnTo>
                    <a:pt x="785" y="685"/>
                  </a:lnTo>
                  <a:lnTo>
                    <a:pt x="786" y="689"/>
                  </a:lnTo>
                  <a:lnTo>
                    <a:pt x="785" y="691"/>
                  </a:lnTo>
                  <a:lnTo>
                    <a:pt x="784" y="690"/>
                  </a:lnTo>
                  <a:lnTo>
                    <a:pt x="784" y="689"/>
                  </a:lnTo>
                  <a:lnTo>
                    <a:pt x="784" y="692"/>
                  </a:lnTo>
                  <a:lnTo>
                    <a:pt x="786" y="694"/>
                  </a:lnTo>
                  <a:lnTo>
                    <a:pt x="788" y="695"/>
                  </a:lnTo>
                  <a:lnTo>
                    <a:pt x="788" y="690"/>
                  </a:lnTo>
                  <a:lnTo>
                    <a:pt x="788" y="688"/>
                  </a:lnTo>
                  <a:lnTo>
                    <a:pt x="791" y="688"/>
                  </a:lnTo>
                  <a:lnTo>
                    <a:pt x="792" y="691"/>
                  </a:lnTo>
                  <a:lnTo>
                    <a:pt x="794" y="694"/>
                  </a:lnTo>
                  <a:lnTo>
                    <a:pt x="792" y="696"/>
                  </a:lnTo>
                  <a:lnTo>
                    <a:pt x="792" y="698"/>
                  </a:lnTo>
                  <a:lnTo>
                    <a:pt x="795" y="700"/>
                  </a:lnTo>
                  <a:lnTo>
                    <a:pt x="796" y="702"/>
                  </a:lnTo>
                  <a:lnTo>
                    <a:pt x="798" y="703"/>
                  </a:lnTo>
                  <a:lnTo>
                    <a:pt x="798" y="704"/>
                  </a:lnTo>
                  <a:lnTo>
                    <a:pt x="798" y="706"/>
                  </a:lnTo>
                  <a:lnTo>
                    <a:pt x="798" y="708"/>
                  </a:lnTo>
                  <a:lnTo>
                    <a:pt x="800" y="709"/>
                  </a:lnTo>
                  <a:lnTo>
                    <a:pt x="802" y="710"/>
                  </a:lnTo>
                  <a:lnTo>
                    <a:pt x="803" y="710"/>
                  </a:lnTo>
                  <a:lnTo>
                    <a:pt x="806" y="710"/>
                  </a:lnTo>
                  <a:lnTo>
                    <a:pt x="807" y="712"/>
                  </a:lnTo>
                  <a:lnTo>
                    <a:pt x="812" y="716"/>
                  </a:lnTo>
                  <a:lnTo>
                    <a:pt x="807" y="716"/>
                  </a:lnTo>
                  <a:lnTo>
                    <a:pt x="804" y="716"/>
                  </a:lnTo>
                  <a:lnTo>
                    <a:pt x="803" y="716"/>
                  </a:lnTo>
                  <a:lnTo>
                    <a:pt x="808" y="720"/>
                  </a:lnTo>
                  <a:lnTo>
                    <a:pt x="810" y="721"/>
                  </a:lnTo>
                  <a:lnTo>
                    <a:pt x="812" y="722"/>
                  </a:lnTo>
                  <a:lnTo>
                    <a:pt x="810" y="728"/>
                  </a:lnTo>
                  <a:lnTo>
                    <a:pt x="806" y="725"/>
                  </a:lnTo>
                  <a:lnTo>
                    <a:pt x="803" y="721"/>
                  </a:lnTo>
                  <a:lnTo>
                    <a:pt x="802" y="722"/>
                  </a:lnTo>
                  <a:lnTo>
                    <a:pt x="800" y="722"/>
                  </a:lnTo>
                  <a:lnTo>
                    <a:pt x="798" y="725"/>
                  </a:lnTo>
                  <a:lnTo>
                    <a:pt x="795" y="730"/>
                  </a:lnTo>
                  <a:lnTo>
                    <a:pt x="790" y="731"/>
                  </a:lnTo>
                  <a:lnTo>
                    <a:pt x="788" y="733"/>
                  </a:lnTo>
                  <a:lnTo>
                    <a:pt x="789" y="727"/>
                  </a:lnTo>
                  <a:lnTo>
                    <a:pt x="788" y="726"/>
                  </a:lnTo>
                  <a:lnTo>
                    <a:pt x="790" y="721"/>
                  </a:lnTo>
                  <a:lnTo>
                    <a:pt x="791" y="720"/>
                  </a:lnTo>
                  <a:lnTo>
                    <a:pt x="791" y="718"/>
                  </a:lnTo>
                  <a:lnTo>
                    <a:pt x="790" y="715"/>
                  </a:lnTo>
                  <a:lnTo>
                    <a:pt x="789" y="719"/>
                  </a:lnTo>
                  <a:lnTo>
                    <a:pt x="786" y="719"/>
                  </a:lnTo>
                  <a:lnTo>
                    <a:pt x="784" y="713"/>
                  </a:lnTo>
                  <a:lnTo>
                    <a:pt x="782" y="710"/>
                  </a:lnTo>
                  <a:lnTo>
                    <a:pt x="783" y="713"/>
                  </a:lnTo>
                  <a:lnTo>
                    <a:pt x="783" y="716"/>
                  </a:lnTo>
                  <a:lnTo>
                    <a:pt x="779" y="718"/>
                  </a:lnTo>
                  <a:lnTo>
                    <a:pt x="779" y="722"/>
                  </a:lnTo>
                  <a:lnTo>
                    <a:pt x="779" y="725"/>
                  </a:lnTo>
                  <a:lnTo>
                    <a:pt x="777" y="722"/>
                  </a:lnTo>
                  <a:lnTo>
                    <a:pt x="778" y="725"/>
                  </a:lnTo>
                  <a:lnTo>
                    <a:pt x="780" y="728"/>
                  </a:lnTo>
                  <a:lnTo>
                    <a:pt x="777" y="726"/>
                  </a:lnTo>
                  <a:lnTo>
                    <a:pt x="776" y="728"/>
                  </a:lnTo>
                  <a:lnTo>
                    <a:pt x="774" y="730"/>
                  </a:lnTo>
                  <a:lnTo>
                    <a:pt x="772" y="733"/>
                  </a:lnTo>
                  <a:lnTo>
                    <a:pt x="770" y="737"/>
                  </a:lnTo>
                  <a:lnTo>
                    <a:pt x="766" y="740"/>
                  </a:lnTo>
                  <a:lnTo>
                    <a:pt x="765" y="737"/>
                  </a:lnTo>
                  <a:lnTo>
                    <a:pt x="765" y="733"/>
                  </a:lnTo>
                  <a:lnTo>
                    <a:pt x="763" y="738"/>
                  </a:lnTo>
                  <a:lnTo>
                    <a:pt x="762" y="740"/>
                  </a:lnTo>
                  <a:lnTo>
                    <a:pt x="760" y="736"/>
                  </a:lnTo>
                  <a:lnTo>
                    <a:pt x="759" y="736"/>
                  </a:lnTo>
                  <a:lnTo>
                    <a:pt x="760" y="740"/>
                  </a:lnTo>
                  <a:lnTo>
                    <a:pt x="760" y="744"/>
                  </a:lnTo>
                  <a:lnTo>
                    <a:pt x="757" y="742"/>
                  </a:lnTo>
                  <a:lnTo>
                    <a:pt x="754" y="744"/>
                  </a:lnTo>
                  <a:lnTo>
                    <a:pt x="754" y="746"/>
                  </a:lnTo>
                  <a:lnTo>
                    <a:pt x="751" y="745"/>
                  </a:lnTo>
                  <a:lnTo>
                    <a:pt x="750" y="746"/>
                  </a:lnTo>
                  <a:lnTo>
                    <a:pt x="748" y="748"/>
                  </a:lnTo>
                  <a:lnTo>
                    <a:pt x="747" y="746"/>
                  </a:lnTo>
                  <a:lnTo>
                    <a:pt x="745" y="748"/>
                  </a:lnTo>
                  <a:lnTo>
                    <a:pt x="744" y="748"/>
                  </a:lnTo>
                  <a:lnTo>
                    <a:pt x="743" y="744"/>
                  </a:lnTo>
                  <a:lnTo>
                    <a:pt x="743" y="740"/>
                  </a:lnTo>
                  <a:lnTo>
                    <a:pt x="743" y="737"/>
                  </a:lnTo>
                  <a:lnTo>
                    <a:pt x="739" y="736"/>
                  </a:lnTo>
                  <a:lnTo>
                    <a:pt x="739" y="739"/>
                  </a:lnTo>
                  <a:lnTo>
                    <a:pt x="738" y="743"/>
                  </a:lnTo>
                  <a:lnTo>
                    <a:pt x="738" y="748"/>
                  </a:lnTo>
                  <a:lnTo>
                    <a:pt x="742" y="753"/>
                  </a:lnTo>
                  <a:lnTo>
                    <a:pt x="743" y="757"/>
                  </a:lnTo>
                  <a:lnTo>
                    <a:pt x="745" y="760"/>
                  </a:lnTo>
                  <a:lnTo>
                    <a:pt x="742" y="761"/>
                  </a:lnTo>
                  <a:lnTo>
                    <a:pt x="739" y="757"/>
                  </a:lnTo>
                  <a:lnTo>
                    <a:pt x="736" y="757"/>
                  </a:lnTo>
                  <a:lnTo>
                    <a:pt x="735" y="757"/>
                  </a:lnTo>
                  <a:lnTo>
                    <a:pt x="735" y="759"/>
                  </a:lnTo>
                  <a:lnTo>
                    <a:pt x="736" y="763"/>
                  </a:lnTo>
                  <a:lnTo>
                    <a:pt x="733" y="767"/>
                  </a:lnTo>
                  <a:lnTo>
                    <a:pt x="733" y="769"/>
                  </a:lnTo>
                  <a:lnTo>
                    <a:pt x="732" y="768"/>
                  </a:lnTo>
                  <a:lnTo>
                    <a:pt x="729" y="771"/>
                  </a:lnTo>
                  <a:lnTo>
                    <a:pt x="726" y="774"/>
                  </a:lnTo>
                  <a:lnTo>
                    <a:pt x="726" y="779"/>
                  </a:lnTo>
                  <a:lnTo>
                    <a:pt x="729" y="786"/>
                  </a:lnTo>
                  <a:lnTo>
                    <a:pt x="731" y="792"/>
                  </a:lnTo>
                  <a:lnTo>
                    <a:pt x="730" y="795"/>
                  </a:lnTo>
                  <a:lnTo>
                    <a:pt x="729" y="797"/>
                  </a:lnTo>
                  <a:lnTo>
                    <a:pt x="726" y="801"/>
                  </a:lnTo>
                  <a:lnTo>
                    <a:pt x="723" y="805"/>
                  </a:lnTo>
                  <a:lnTo>
                    <a:pt x="719" y="810"/>
                  </a:lnTo>
                  <a:lnTo>
                    <a:pt x="718" y="814"/>
                  </a:lnTo>
                  <a:lnTo>
                    <a:pt x="717" y="809"/>
                  </a:lnTo>
                  <a:lnTo>
                    <a:pt x="715" y="804"/>
                  </a:lnTo>
                  <a:lnTo>
                    <a:pt x="714" y="802"/>
                  </a:lnTo>
                  <a:lnTo>
                    <a:pt x="714" y="799"/>
                  </a:lnTo>
                  <a:lnTo>
                    <a:pt x="712" y="801"/>
                  </a:lnTo>
                  <a:lnTo>
                    <a:pt x="708" y="802"/>
                  </a:lnTo>
                  <a:lnTo>
                    <a:pt x="708" y="798"/>
                  </a:lnTo>
                  <a:lnTo>
                    <a:pt x="706" y="798"/>
                  </a:lnTo>
                  <a:lnTo>
                    <a:pt x="703" y="802"/>
                  </a:lnTo>
                  <a:lnTo>
                    <a:pt x="703" y="807"/>
                  </a:lnTo>
                  <a:lnTo>
                    <a:pt x="702" y="801"/>
                  </a:lnTo>
                  <a:lnTo>
                    <a:pt x="701" y="797"/>
                  </a:lnTo>
                  <a:lnTo>
                    <a:pt x="702" y="792"/>
                  </a:lnTo>
                  <a:lnTo>
                    <a:pt x="704" y="791"/>
                  </a:lnTo>
                  <a:lnTo>
                    <a:pt x="707" y="793"/>
                  </a:lnTo>
                  <a:lnTo>
                    <a:pt x="709" y="792"/>
                  </a:lnTo>
                  <a:lnTo>
                    <a:pt x="712" y="786"/>
                  </a:lnTo>
                  <a:lnTo>
                    <a:pt x="712" y="780"/>
                  </a:lnTo>
                  <a:lnTo>
                    <a:pt x="712" y="777"/>
                  </a:lnTo>
                  <a:lnTo>
                    <a:pt x="709" y="775"/>
                  </a:lnTo>
                  <a:lnTo>
                    <a:pt x="706" y="774"/>
                  </a:lnTo>
                  <a:lnTo>
                    <a:pt x="702" y="778"/>
                  </a:lnTo>
                  <a:lnTo>
                    <a:pt x="702" y="774"/>
                  </a:lnTo>
                  <a:lnTo>
                    <a:pt x="704" y="772"/>
                  </a:lnTo>
                  <a:lnTo>
                    <a:pt x="700" y="774"/>
                  </a:lnTo>
                  <a:lnTo>
                    <a:pt x="697" y="775"/>
                  </a:lnTo>
                  <a:lnTo>
                    <a:pt x="697" y="778"/>
                  </a:lnTo>
                  <a:lnTo>
                    <a:pt x="694" y="785"/>
                  </a:lnTo>
                  <a:lnTo>
                    <a:pt x="691" y="786"/>
                  </a:lnTo>
                  <a:lnTo>
                    <a:pt x="686" y="786"/>
                  </a:lnTo>
                  <a:lnTo>
                    <a:pt x="686" y="784"/>
                  </a:lnTo>
                  <a:lnTo>
                    <a:pt x="686" y="783"/>
                  </a:lnTo>
                  <a:lnTo>
                    <a:pt x="683" y="785"/>
                  </a:lnTo>
                  <a:lnTo>
                    <a:pt x="682" y="789"/>
                  </a:lnTo>
                  <a:lnTo>
                    <a:pt x="680" y="791"/>
                  </a:lnTo>
                  <a:lnTo>
                    <a:pt x="680" y="795"/>
                  </a:lnTo>
                  <a:lnTo>
                    <a:pt x="679" y="798"/>
                  </a:lnTo>
                  <a:lnTo>
                    <a:pt x="677" y="802"/>
                  </a:lnTo>
                  <a:lnTo>
                    <a:pt x="674" y="804"/>
                  </a:lnTo>
                  <a:lnTo>
                    <a:pt x="673" y="807"/>
                  </a:lnTo>
                  <a:lnTo>
                    <a:pt x="672" y="810"/>
                  </a:lnTo>
                  <a:lnTo>
                    <a:pt x="671" y="810"/>
                  </a:lnTo>
                  <a:lnTo>
                    <a:pt x="670" y="813"/>
                  </a:lnTo>
                  <a:lnTo>
                    <a:pt x="667" y="816"/>
                  </a:lnTo>
                  <a:lnTo>
                    <a:pt x="666" y="820"/>
                  </a:lnTo>
                  <a:lnTo>
                    <a:pt x="666" y="814"/>
                  </a:lnTo>
                  <a:lnTo>
                    <a:pt x="664" y="816"/>
                  </a:lnTo>
                  <a:lnTo>
                    <a:pt x="660" y="816"/>
                  </a:lnTo>
                  <a:lnTo>
                    <a:pt x="658" y="817"/>
                  </a:lnTo>
                  <a:lnTo>
                    <a:pt x="658" y="814"/>
                  </a:lnTo>
                  <a:lnTo>
                    <a:pt x="660" y="810"/>
                  </a:lnTo>
                  <a:lnTo>
                    <a:pt x="659" y="807"/>
                  </a:lnTo>
                  <a:lnTo>
                    <a:pt x="658" y="805"/>
                  </a:lnTo>
                  <a:lnTo>
                    <a:pt x="661" y="804"/>
                  </a:lnTo>
                  <a:lnTo>
                    <a:pt x="659" y="803"/>
                  </a:lnTo>
                  <a:lnTo>
                    <a:pt x="661" y="802"/>
                  </a:lnTo>
                  <a:lnTo>
                    <a:pt x="662" y="799"/>
                  </a:lnTo>
                  <a:lnTo>
                    <a:pt x="660" y="799"/>
                  </a:lnTo>
                  <a:lnTo>
                    <a:pt x="661" y="796"/>
                  </a:lnTo>
                  <a:lnTo>
                    <a:pt x="664" y="792"/>
                  </a:lnTo>
                  <a:lnTo>
                    <a:pt x="661" y="787"/>
                  </a:lnTo>
                  <a:lnTo>
                    <a:pt x="660" y="775"/>
                  </a:lnTo>
                  <a:lnTo>
                    <a:pt x="662" y="757"/>
                  </a:lnTo>
                  <a:lnTo>
                    <a:pt x="661" y="740"/>
                  </a:lnTo>
                  <a:lnTo>
                    <a:pt x="658" y="746"/>
                  </a:lnTo>
                  <a:lnTo>
                    <a:pt x="654" y="756"/>
                  </a:lnTo>
                  <a:lnTo>
                    <a:pt x="656" y="759"/>
                  </a:lnTo>
                  <a:lnTo>
                    <a:pt x="653" y="756"/>
                  </a:lnTo>
                  <a:lnTo>
                    <a:pt x="643" y="759"/>
                  </a:lnTo>
                  <a:lnTo>
                    <a:pt x="653" y="756"/>
                  </a:lnTo>
                  <a:lnTo>
                    <a:pt x="659" y="742"/>
                  </a:lnTo>
                  <a:lnTo>
                    <a:pt x="654" y="743"/>
                  </a:lnTo>
                  <a:lnTo>
                    <a:pt x="649" y="743"/>
                  </a:lnTo>
                  <a:lnTo>
                    <a:pt x="645" y="740"/>
                  </a:lnTo>
                  <a:lnTo>
                    <a:pt x="643" y="743"/>
                  </a:lnTo>
                  <a:lnTo>
                    <a:pt x="639" y="744"/>
                  </a:lnTo>
                  <a:lnTo>
                    <a:pt x="636" y="743"/>
                  </a:lnTo>
                  <a:lnTo>
                    <a:pt x="633" y="739"/>
                  </a:lnTo>
                  <a:lnTo>
                    <a:pt x="635" y="738"/>
                  </a:lnTo>
                  <a:lnTo>
                    <a:pt x="637" y="734"/>
                  </a:lnTo>
                  <a:lnTo>
                    <a:pt x="635" y="733"/>
                  </a:lnTo>
                  <a:lnTo>
                    <a:pt x="632" y="736"/>
                  </a:lnTo>
                  <a:lnTo>
                    <a:pt x="630" y="737"/>
                  </a:lnTo>
                  <a:lnTo>
                    <a:pt x="627" y="737"/>
                  </a:lnTo>
                  <a:lnTo>
                    <a:pt x="625" y="736"/>
                  </a:lnTo>
                  <a:lnTo>
                    <a:pt x="620" y="738"/>
                  </a:lnTo>
                  <a:lnTo>
                    <a:pt x="621" y="744"/>
                  </a:lnTo>
                  <a:lnTo>
                    <a:pt x="621" y="749"/>
                  </a:lnTo>
                  <a:lnTo>
                    <a:pt x="624" y="751"/>
                  </a:lnTo>
                  <a:lnTo>
                    <a:pt x="625" y="753"/>
                  </a:lnTo>
                  <a:lnTo>
                    <a:pt x="623" y="754"/>
                  </a:lnTo>
                  <a:lnTo>
                    <a:pt x="623" y="757"/>
                  </a:lnTo>
                  <a:lnTo>
                    <a:pt x="624" y="763"/>
                  </a:lnTo>
                  <a:lnTo>
                    <a:pt x="626" y="769"/>
                  </a:lnTo>
                  <a:lnTo>
                    <a:pt x="623" y="761"/>
                  </a:lnTo>
                  <a:lnTo>
                    <a:pt x="620" y="762"/>
                  </a:lnTo>
                  <a:lnTo>
                    <a:pt x="618" y="766"/>
                  </a:lnTo>
                  <a:lnTo>
                    <a:pt x="619" y="773"/>
                  </a:lnTo>
                  <a:lnTo>
                    <a:pt x="614" y="780"/>
                  </a:lnTo>
                  <a:lnTo>
                    <a:pt x="611" y="785"/>
                  </a:lnTo>
                  <a:lnTo>
                    <a:pt x="615" y="775"/>
                  </a:lnTo>
                  <a:lnTo>
                    <a:pt x="617" y="771"/>
                  </a:lnTo>
                  <a:lnTo>
                    <a:pt x="614" y="767"/>
                  </a:lnTo>
                  <a:lnTo>
                    <a:pt x="612" y="768"/>
                  </a:lnTo>
                  <a:lnTo>
                    <a:pt x="612" y="772"/>
                  </a:lnTo>
                  <a:lnTo>
                    <a:pt x="612" y="774"/>
                  </a:lnTo>
                  <a:lnTo>
                    <a:pt x="612" y="777"/>
                  </a:lnTo>
                  <a:lnTo>
                    <a:pt x="609" y="778"/>
                  </a:lnTo>
                  <a:lnTo>
                    <a:pt x="608" y="775"/>
                  </a:lnTo>
                  <a:lnTo>
                    <a:pt x="608" y="774"/>
                  </a:lnTo>
                  <a:lnTo>
                    <a:pt x="607" y="774"/>
                  </a:lnTo>
                  <a:lnTo>
                    <a:pt x="606" y="777"/>
                  </a:lnTo>
                  <a:lnTo>
                    <a:pt x="607" y="785"/>
                  </a:lnTo>
                  <a:lnTo>
                    <a:pt x="608" y="786"/>
                  </a:lnTo>
                  <a:lnTo>
                    <a:pt x="605" y="793"/>
                  </a:lnTo>
                  <a:lnTo>
                    <a:pt x="601" y="796"/>
                  </a:lnTo>
                  <a:lnTo>
                    <a:pt x="605" y="789"/>
                  </a:lnTo>
                  <a:lnTo>
                    <a:pt x="606" y="784"/>
                  </a:lnTo>
                  <a:lnTo>
                    <a:pt x="605" y="774"/>
                  </a:lnTo>
                  <a:lnTo>
                    <a:pt x="603" y="778"/>
                  </a:lnTo>
                  <a:lnTo>
                    <a:pt x="602" y="783"/>
                  </a:lnTo>
                  <a:lnTo>
                    <a:pt x="601" y="789"/>
                  </a:lnTo>
                  <a:lnTo>
                    <a:pt x="599" y="791"/>
                  </a:lnTo>
                  <a:lnTo>
                    <a:pt x="596" y="791"/>
                  </a:lnTo>
                  <a:lnTo>
                    <a:pt x="594" y="795"/>
                  </a:lnTo>
                  <a:lnTo>
                    <a:pt x="593" y="795"/>
                  </a:lnTo>
                  <a:lnTo>
                    <a:pt x="591" y="792"/>
                  </a:lnTo>
                  <a:lnTo>
                    <a:pt x="591" y="790"/>
                  </a:lnTo>
                  <a:lnTo>
                    <a:pt x="590" y="791"/>
                  </a:lnTo>
                  <a:lnTo>
                    <a:pt x="587" y="795"/>
                  </a:lnTo>
                  <a:lnTo>
                    <a:pt x="583" y="798"/>
                  </a:lnTo>
                  <a:lnTo>
                    <a:pt x="579" y="796"/>
                  </a:lnTo>
                  <a:lnTo>
                    <a:pt x="578" y="790"/>
                  </a:lnTo>
                  <a:lnTo>
                    <a:pt x="578" y="785"/>
                  </a:lnTo>
                  <a:lnTo>
                    <a:pt x="580" y="784"/>
                  </a:lnTo>
                  <a:lnTo>
                    <a:pt x="584" y="784"/>
                  </a:lnTo>
                  <a:lnTo>
                    <a:pt x="584" y="779"/>
                  </a:lnTo>
                  <a:lnTo>
                    <a:pt x="583" y="778"/>
                  </a:lnTo>
                  <a:lnTo>
                    <a:pt x="583" y="775"/>
                  </a:lnTo>
                  <a:lnTo>
                    <a:pt x="587" y="771"/>
                  </a:lnTo>
                  <a:lnTo>
                    <a:pt x="583" y="772"/>
                  </a:lnTo>
                  <a:lnTo>
                    <a:pt x="580" y="775"/>
                  </a:lnTo>
                  <a:lnTo>
                    <a:pt x="578" y="783"/>
                  </a:lnTo>
                  <a:lnTo>
                    <a:pt x="577" y="786"/>
                  </a:lnTo>
                  <a:lnTo>
                    <a:pt x="576" y="792"/>
                  </a:lnTo>
                  <a:lnTo>
                    <a:pt x="574" y="791"/>
                  </a:lnTo>
                  <a:lnTo>
                    <a:pt x="571" y="795"/>
                  </a:lnTo>
                  <a:lnTo>
                    <a:pt x="570" y="795"/>
                  </a:lnTo>
                  <a:lnTo>
                    <a:pt x="570" y="789"/>
                  </a:lnTo>
                  <a:lnTo>
                    <a:pt x="568" y="791"/>
                  </a:lnTo>
                  <a:lnTo>
                    <a:pt x="567" y="785"/>
                  </a:lnTo>
                  <a:lnTo>
                    <a:pt x="565" y="780"/>
                  </a:lnTo>
                  <a:lnTo>
                    <a:pt x="561" y="781"/>
                  </a:lnTo>
                  <a:lnTo>
                    <a:pt x="559" y="783"/>
                  </a:lnTo>
                  <a:lnTo>
                    <a:pt x="555" y="787"/>
                  </a:lnTo>
                  <a:lnTo>
                    <a:pt x="550" y="789"/>
                  </a:lnTo>
                  <a:lnTo>
                    <a:pt x="552" y="784"/>
                  </a:lnTo>
                  <a:lnTo>
                    <a:pt x="553" y="779"/>
                  </a:lnTo>
                  <a:lnTo>
                    <a:pt x="549" y="779"/>
                  </a:lnTo>
                  <a:lnTo>
                    <a:pt x="549" y="781"/>
                  </a:lnTo>
                  <a:lnTo>
                    <a:pt x="546" y="787"/>
                  </a:lnTo>
                  <a:lnTo>
                    <a:pt x="542" y="791"/>
                  </a:lnTo>
                  <a:lnTo>
                    <a:pt x="540" y="792"/>
                  </a:lnTo>
                  <a:lnTo>
                    <a:pt x="541" y="786"/>
                  </a:lnTo>
                  <a:lnTo>
                    <a:pt x="543" y="781"/>
                  </a:lnTo>
                  <a:lnTo>
                    <a:pt x="544" y="777"/>
                  </a:lnTo>
                  <a:lnTo>
                    <a:pt x="548" y="773"/>
                  </a:lnTo>
                  <a:lnTo>
                    <a:pt x="547" y="772"/>
                  </a:lnTo>
                  <a:lnTo>
                    <a:pt x="544" y="774"/>
                  </a:lnTo>
                  <a:lnTo>
                    <a:pt x="544" y="771"/>
                  </a:lnTo>
                  <a:lnTo>
                    <a:pt x="540" y="771"/>
                  </a:lnTo>
                  <a:lnTo>
                    <a:pt x="540" y="766"/>
                  </a:lnTo>
                  <a:lnTo>
                    <a:pt x="537" y="768"/>
                  </a:lnTo>
                  <a:lnTo>
                    <a:pt x="534" y="768"/>
                  </a:lnTo>
                  <a:lnTo>
                    <a:pt x="535" y="763"/>
                  </a:lnTo>
                  <a:lnTo>
                    <a:pt x="532" y="766"/>
                  </a:lnTo>
                  <a:lnTo>
                    <a:pt x="529" y="768"/>
                  </a:lnTo>
                  <a:lnTo>
                    <a:pt x="530" y="763"/>
                  </a:lnTo>
                  <a:lnTo>
                    <a:pt x="529" y="763"/>
                  </a:lnTo>
                  <a:lnTo>
                    <a:pt x="526" y="759"/>
                  </a:lnTo>
                  <a:lnTo>
                    <a:pt x="526" y="756"/>
                  </a:lnTo>
                  <a:lnTo>
                    <a:pt x="526" y="755"/>
                  </a:lnTo>
                  <a:lnTo>
                    <a:pt x="523" y="757"/>
                  </a:lnTo>
                  <a:lnTo>
                    <a:pt x="517" y="761"/>
                  </a:lnTo>
                  <a:lnTo>
                    <a:pt x="520" y="756"/>
                  </a:lnTo>
                  <a:lnTo>
                    <a:pt x="524" y="754"/>
                  </a:lnTo>
                  <a:lnTo>
                    <a:pt x="528" y="751"/>
                  </a:lnTo>
                  <a:lnTo>
                    <a:pt x="530" y="750"/>
                  </a:lnTo>
                  <a:lnTo>
                    <a:pt x="526" y="749"/>
                  </a:lnTo>
                  <a:lnTo>
                    <a:pt x="524" y="750"/>
                  </a:lnTo>
                  <a:lnTo>
                    <a:pt x="521" y="749"/>
                  </a:lnTo>
                  <a:lnTo>
                    <a:pt x="521" y="750"/>
                  </a:lnTo>
                  <a:lnTo>
                    <a:pt x="519" y="749"/>
                  </a:lnTo>
                  <a:lnTo>
                    <a:pt x="517" y="749"/>
                  </a:lnTo>
                  <a:lnTo>
                    <a:pt x="515" y="750"/>
                  </a:lnTo>
                  <a:lnTo>
                    <a:pt x="514" y="753"/>
                  </a:lnTo>
                  <a:lnTo>
                    <a:pt x="512" y="750"/>
                  </a:lnTo>
                  <a:lnTo>
                    <a:pt x="509" y="744"/>
                  </a:lnTo>
                  <a:lnTo>
                    <a:pt x="509" y="740"/>
                  </a:lnTo>
                  <a:lnTo>
                    <a:pt x="509" y="736"/>
                  </a:lnTo>
                  <a:lnTo>
                    <a:pt x="512" y="733"/>
                  </a:lnTo>
                  <a:lnTo>
                    <a:pt x="515" y="733"/>
                  </a:lnTo>
                  <a:lnTo>
                    <a:pt x="517" y="731"/>
                  </a:lnTo>
                  <a:lnTo>
                    <a:pt x="515" y="727"/>
                  </a:lnTo>
                  <a:lnTo>
                    <a:pt x="515" y="724"/>
                  </a:lnTo>
                  <a:lnTo>
                    <a:pt x="512" y="726"/>
                  </a:lnTo>
                  <a:lnTo>
                    <a:pt x="509" y="727"/>
                  </a:lnTo>
                  <a:lnTo>
                    <a:pt x="508" y="724"/>
                  </a:lnTo>
                  <a:lnTo>
                    <a:pt x="507" y="725"/>
                  </a:lnTo>
                  <a:lnTo>
                    <a:pt x="506" y="726"/>
                  </a:lnTo>
                  <a:lnTo>
                    <a:pt x="503" y="731"/>
                  </a:lnTo>
                  <a:lnTo>
                    <a:pt x="502" y="730"/>
                  </a:lnTo>
                  <a:lnTo>
                    <a:pt x="502" y="733"/>
                  </a:lnTo>
                  <a:lnTo>
                    <a:pt x="499" y="736"/>
                  </a:lnTo>
                  <a:lnTo>
                    <a:pt x="495" y="739"/>
                  </a:lnTo>
                  <a:lnTo>
                    <a:pt x="495" y="736"/>
                  </a:lnTo>
                  <a:lnTo>
                    <a:pt x="495" y="733"/>
                  </a:lnTo>
                  <a:lnTo>
                    <a:pt x="493" y="734"/>
                  </a:lnTo>
                  <a:lnTo>
                    <a:pt x="493" y="733"/>
                  </a:lnTo>
                  <a:lnTo>
                    <a:pt x="490" y="733"/>
                  </a:lnTo>
                  <a:lnTo>
                    <a:pt x="488" y="731"/>
                  </a:lnTo>
                  <a:lnTo>
                    <a:pt x="485" y="732"/>
                  </a:lnTo>
                  <a:lnTo>
                    <a:pt x="481" y="734"/>
                  </a:lnTo>
                  <a:lnTo>
                    <a:pt x="481" y="732"/>
                  </a:lnTo>
                  <a:lnTo>
                    <a:pt x="483" y="730"/>
                  </a:lnTo>
                  <a:lnTo>
                    <a:pt x="483" y="728"/>
                  </a:lnTo>
                  <a:lnTo>
                    <a:pt x="484" y="728"/>
                  </a:lnTo>
                  <a:lnTo>
                    <a:pt x="485" y="727"/>
                  </a:lnTo>
                  <a:lnTo>
                    <a:pt x="489" y="728"/>
                  </a:lnTo>
                  <a:lnTo>
                    <a:pt x="490" y="726"/>
                  </a:lnTo>
                  <a:lnTo>
                    <a:pt x="489" y="724"/>
                  </a:lnTo>
                  <a:lnTo>
                    <a:pt x="488" y="724"/>
                  </a:lnTo>
                  <a:lnTo>
                    <a:pt x="484" y="724"/>
                  </a:lnTo>
                  <a:lnTo>
                    <a:pt x="483" y="722"/>
                  </a:lnTo>
                  <a:lnTo>
                    <a:pt x="481" y="722"/>
                  </a:lnTo>
                  <a:lnTo>
                    <a:pt x="477" y="724"/>
                  </a:lnTo>
                  <a:lnTo>
                    <a:pt x="476" y="721"/>
                  </a:lnTo>
                  <a:lnTo>
                    <a:pt x="476" y="719"/>
                  </a:lnTo>
                  <a:lnTo>
                    <a:pt x="478" y="716"/>
                  </a:lnTo>
                  <a:lnTo>
                    <a:pt x="481" y="715"/>
                  </a:lnTo>
                  <a:lnTo>
                    <a:pt x="484" y="714"/>
                  </a:lnTo>
                  <a:lnTo>
                    <a:pt x="485" y="713"/>
                  </a:lnTo>
                  <a:lnTo>
                    <a:pt x="484" y="712"/>
                  </a:lnTo>
                  <a:lnTo>
                    <a:pt x="482" y="712"/>
                  </a:lnTo>
                  <a:lnTo>
                    <a:pt x="479" y="714"/>
                  </a:lnTo>
                  <a:lnTo>
                    <a:pt x="475" y="716"/>
                  </a:lnTo>
                  <a:lnTo>
                    <a:pt x="471" y="719"/>
                  </a:lnTo>
                  <a:lnTo>
                    <a:pt x="472" y="724"/>
                  </a:lnTo>
                  <a:lnTo>
                    <a:pt x="477" y="736"/>
                  </a:lnTo>
                  <a:lnTo>
                    <a:pt x="482" y="749"/>
                  </a:lnTo>
                  <a:lnTo>
                    <a:pt x="484" y="759"/>
                  </a:lnTo>
                  <a:lnTo>
                    <a:pt x="483" y="774"/>
                  </a:lnTo>
                  <a:lnTo>
                    <a:pt x="483" y="790"/>
                  </a:lnTo>
                  <a:lnTo>
                    <a:pt x="497" y="817"/>
                  </a:lnTo>
                  <a:lnTo>
                    <a:pt x="505" y="833"/>
                  </a:lnTo>
                  <a:lnTo>
                    <a:pt x="506" y="839"/>
                  </a:lnTo>
                  <a:lnTo>
                    <a:pt x="505" y="846"/>
                  </a:lnTo>
                  <a:lnTo>
                    <a:pt x="497" y="860"/>
                  </a:lnTo>
                  <a:lnTo>
                    <a:pt x="493" y="869"/>
                  </a:lnTo>
                  <a:lnTo>
                    <a:pt x="487" y="884"/>
                  </a:lnTo>
                  <a:lnTo>
                    <a:pt x="484" y="893"/>
                  </a:lnTo>
                  <a:lnTo>
                    <a:pt x="483" y="903"/>
                  </a:lnTo>
                  <a:lnTo>
                    <a:pt x="481" y="922"/>
                  </a:lnTo>
                  <a:lnTo>
                    <a:pt x="479" y="941"/>
                  </a:lnTo>
                  <a:lnTo>
                    <a:pt x="478" y="959"/>
                  </a:lnTo>
                  <a:lnTo>
                    <a:pt x="477" y="975"/>
                  </a:lnTo>
                  <a:lnTo>
                    <a:pt x="477" y="993"/>
                  </a:lnTo>
                  <a:lnTo>
                    <a:pt x="481" y="1041"/>
                  </a:lnTo>
                  <a:lnTo>
                    <a:pt x="479" y="1069"/>
                  </a:lnTo>
                  <a:lnTo>
                    <a:pt x="476" y="1088"/>
                  </a:lnTo>
                  <a:lnTo>
                    <a:pt x="472" y="110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1" name="Freeform 64"/>
            <p:cNvSpPr>
              <a:spLocks/>
            </p:cNvSpPr>
            <p:nvPr userDrawn="1"/>
          </p:nvSpPr>
          <p:spPr bwMode="auto">
            <a:xfrm>
              <a:off x="4610100" y="6411913"/>
              <a:ext cx="65088" cy="107950"/>
            </a:xfrm>
            <a:custGeom>
              <a:avLst/>
              <a:gdLst/>
              <a:ahLst/>
              <a:cxnLst>
                <a:cxn ang="0">
                  <a:pos x="106" y="18"/>
                </a:cxn>
                <a:cxn ang="0">
                  <a:pos x="118" y="40"/>
                </a:cxn>
                <a:cxn ang="0">
                  <a:pos x="122" y="58"/>
                </a:cxn>
                <a:cxn ang="0">
                  <a:pos x="136" y="71"/>
                </a:cxn>
                <a:cxn ang="0">
                  <a:pos x="132" y="81"/>
                </a:cxn>
                <a:cxn ang="0">
                  <a:pos x="140" y="88"/>
                </a:cxn>
                <a:cxn ang="0">
                  <a:pos x="155" y="112"/>
                </a:cxn>
                <a:cxn ang="0">
                  <a:pos x="141" y="113"/>
                </a:cxn>
                <a:cxn ang="0">
                  <a:pos x="158" y="131"/>
                </a:cxn>
                <a:cxn ang="0">
                  <a:pos x="161" y="140"/>
                </a:cxn>
                <a:cxn ang="0">
                  <a:pos x="176" y="149"/>
                </a:cxn>
                <a:cxn ang="0">
                  <a:pos x="165" y="155"/>
                </a:cxn>
                <a:cxn ang="0">
                  <a:pos x="173" y="164"/>
                </a:cxn>
                <a:cxn ang="0">
                  <a:pos x="183" y="171"/>
                </a:cxn>
                <a:cxn ang="0">
                  <a:pos x="182" y="183"/>
                </a:cxn>
                <a:cxn ang="0">
                  <a:pos x="175" y="195"/>
                </a:cxn>
                <a:cxn ang="0">
                  <a:pos x="170" y="204"/>
                </a:cxn>
                <a:cxn ang="0">
                  <a:pos x="157" y="203"/>
                </a:cxn>
                <a:cxn ang="0">
                  <a:pos x="145" y="202"/>
                </a:cxn>
                <a:cxn ang="0">
                  <a:pos x="165" y="218"/>
                </a:cxn>
                <a:cxn ang="0">
                  <a:pos x="180" y="225"/>
                </a:cxn>
                <a:cxn ang="0">
                  <a:pos x="183" y="236"/>
                </a:cxn>
                <a:cxn ang="0">
                  <a:pos x="198" y="241"/>
                </a:cxn>
                <a:cxn ang="0">
                  <a:pos x="186" y="247"/>
                </a:cxn>
                <a:cxn ang="0">
                  <a:pos x="193" y="257"/>
                </a:cxn>
                <a:cxn ang="0">
                  <a:pos x="194" y="265"/>
                </a:cxn>
                <a:cxn ang="0">
                  <a:pos x="191" y="271"/>
                </a:cxn>
                <a:cxn ang="0">
                  <a:pos x="180" y="277"/>
                </a:cxn>
                <a:cxn ang="0">
                  <a:pos x="167" y="296"/>
                </a:cxn>
                <a:cxn ang="0">
                  <a:pos x="145" y="301"/>
                </a:cxn>
                <a:cxn ang="0">
                  <a:pos x="112" y="320"/>
                </a:cxn>
                <a:cxn ang="0">
                  <a:pos x="76" y="308"/>
                </a:cxn>
                <a:cxn ang="0">
                  <a:pos x="49" y="320"/>
                </a:cxn>
                <a:cxn ang="0">
                  <a:pos x="17" y="307"/>
                </a:cxn>
                <a:cxn ang="0">
                  <a:pos x="22" y="284"/>
                </a:cxn>
                <a:cxn ang="0">
                  <a:pos x="23" y="265"/>
                </a:cxn>
                <a:cxn ang="0">
                  <a:pos x="33" y="256"/>
                </a:cxn>
                <a:cxn ang="0">
                  <a:pos x="28" y="245"/>
                </a:cxn>
                <a:cxn ang="0">
                  <a:pos x="15" y="236"/>
                </a:cxn>
                <a:cxn ang="0">
                  <a:pos x="23" y="221"/>
                </a:cxn>
                <a:cxn ang="0">
                  <a:pos x="29" y="217"/>
                </a:cxn>
                <a:cxn ang="0">
                  <a:pos x="52" y="207"/>
                </a:cxn>
                <a:cxn ang="0">
                  <a:pos x="40" y="207"/>
                </a:cxn>
                <a:cxn ang="0">
                  <a:pos x="31" y="194"/>
                </a:cxn>
                <a:cxn ang="0">
                  <a:pos x="28" y="189"/>
                </a:cxn>
                <a:cxn ang="0">
                  <a:pos x="17" y="180"/>
                </a:cxn>
                <a:cxn ang="0">
                  <a:pos x="29" y="164"/>
                </a:cxn>
                <a:cxn ang="0">
                  <a:pos x="27" y="150"/>
                </a:cxn>
                <a:cxn ang="0">
                  <a:pos x="51" y="138"/>
                </a:cxn>
                <a:cxn ang="0">
                  <a:pos x="40" y="138"/>
                </a:cxn>
                <a:cxn ang="0">
                  <a:pos x="45" y="125"/>
                </a:cxn>
                <a:cxn ang="0">
                  <a:pos x="68" y="112"/>
                </a:cxn>
                <a:cxn ang="0">
                  <a:pos x="46" y="111"/>
                </a:cxn>
                <a:cxn ang="0">
                  <a:pos x="92" y="95"/>
                </a:cxn>
                <a:cxn ang="0">
                  <a:pos x="74" y="85"/>
                </a:cxn>
                <a:cxn ang="0">
                  <a:pos x="67" y="69"/>
                </a:cxn>
                <a:cxn ang="0">
                  <a:pos x="76" y="59"/>
                </a:cxn>
                <a:cxn ang="0">
                  <a:pos x="87" y="54"/>
                </a:cxn>
                <a:cxn ang="0">
                  <a:pos x="82" y="35"/>
                </a:cxn>
                <a:cxn ang="0">
                  <a:pos x="93" y="39"/>
                </a:cxn>
                <a:cxn ang="0">
                  <a:pos x="81" y="23"/>
                </a:cxn>
                <a:cxn ang="0">
                  <a:pos x="97" y="13"/>
                </a:cxn>
                <a:cxn ang="0">
                  <a:pos x="97" y="9"/>
                </a:cxn>
              </a:cxnLst>
              <a:rect l="0" t="0" r="r" b="b"/>
              <a:pathLst>
                <a:path w="206" h="338">
                  <a:moveTo>
                    <a:pt x="103" y="6"/>
                  </a:moveTo>
                  <a:lnTo>
                    <a:pt x="104" y="4"/>
                  </a:lnTo>
                  <a:lnTo>
                    <a:pt x="105" y="0"/>
                  </a:lnTo>
                  <a:lnTo>
                    <a:pt x="105" y="3"/>
                  </a:lnTo>
                  <a:lnTo>
                    <a:pt x="104" y="4"/>
                  </a:lnTo>
                  <a:lnTo>
                    <a:pt x="103" y="6"/>
                  </a:lnTo>
                  <a:lnTo>
                    <a:pt x="104" y="7"/>
                  </a:lnTo>
                  <a:lnTo>
                    <a:pt x="104" y="5"/>
                  </a:lnTo>
                  <a:lnTo>
                    <a:pt x="105" y="5"/>
                  </a:lnTo>
                  <a:lnTo>
                    <a:pt x="104" y="7"/>
                  </a:lnTo>
                  <a:lnTo>
                    <a:pt x="106" y="6"/>
                  </a:lnTo>
                  <a:lnTo>
                    <a:pt x="108" y="6"/>
                  </a:lnTo>
                  <a:lnTo>
                    <a:pt x="103" y="9"/>
                  </a:lnTo>
                  <a:lnTo>
                    <a:pt x="104" y="9"/>
                  </a:lnTo>
                  <a:lnTo>
                    <a:pt x="105" y="9"/>
                  </a:lnTo>
                  <a:lnTo>
                    <a:pt x="104" y="10"/>
                  </a:lnTo>
                  <a:lnTo>
                    <a:pt x="106" y="10"/>
                  </a:lnTo>
                  <a:lnTo>
                    <a:pt x="104" y="10"/>
                  </a:lnTo>
                  <a:lnTo>
                    <a:pt x="104" y="11"/>
                  </a:lnTo>
                  <a:lnTo>
                    <a:pt x="104" y="12"/>
                  </a:lnTo>
                  <a:lnTo>
                    <a:pt x="105" y="12"/>
                  </a:lnTo>
                  <a:lnTo>
                    <a:pt x="104" y="12"/>
                  </a:lnTo>
                  <a:lnTo>
                    <a:pt x="105" y="12"/>
                  </a:lnTo>
                  <a:lnTo>
                    <a:pt x="104" y="12"/>
                  </a:lnTo>
                  <a:lnTo>
                    <a:pt x="104" y="13"/>
                  </a:lnTo>
                  <a:lnTo>
                    <a:pt x="104" y="12"/>
                  </a:lnTo>
                  <a:lnTo>
                    <a:pt x="105" y="13"/>
                  </a:lnTo>
                  <a:lnTo>
                    <a:pt x="106" y="11"/>
                  </a:lnTo>
                  <a:lnTo>
                    <a:pt x="105" y="13"/>
                  </a:lnTo>
                  <a:lnTo>
                    <a:pt x="106" y="13"/>
                  </a:lnTo>
                  <a:lnTo>
                    <a:pt x="106" y="12"/>
                  </a:lnTo>
                  <a:lnTo>
                    <a:pt x="106" y="13"/>
                  </a:lnTo>
                  <a:lnTo>
                    <a:pt x="105" y="13"/>
                  </a:lnTo>
                  <a:lnTo>
                    <a:pt x="106" y="13"/>
                  </a:lnTo>
                  <a:lnTo>
                    <a:pt x="105" y="15"/>
                  </a:lnTo>
                  <a:lnTo>
                    <a:pt x="106" y="16"/>
                  </a:lnTo>
                  <a:lnTo>
                    <a:pt x="106" y="15"/>
                  </a:lnTo>
                  <a:lnTo>
                    <a:pt x="109" y="13"/>
                  </a:lnTo>
                  <a:lnTo>
                    <a:pt x="108" y="15"/>
                  </a:lnTo>
                  <a:lnTo>
                    <a:pt x="109" y="15"/>
                  </a:lnTo>
                  <a:lnTo>
                    <a:pt x="110" y="15"/>
                  </a:lnTo>
                  <a:lnTo>
                    <a:pt x="109" y="15"/>
                  </a:lnTo>
                  <a:lnTo>
                    <a:pt x="108" y="15"/>
                  </a:lnTo>
                  <a:lnTo>
                    <a:pt x="109" y="16"/>
                  </a:lnTo>
                  <a:lnTo>
                    <a:pt x="108" y="16"/>
                  </a:lnTo>
                  <a:lnTo>
                    <a:pt x="106" y="16"/>
                  </a:lnTo>
                  <a:lnTo>
                    <a:pt x="108" y="16"/>
                  </a:lnTo>
                  <a:lnTo>
                    <a:pt x="106" y="16"/>
                  </a:lnTo>
                  <a:lnTo>
                    <a:pt x="105" y="16"/>
                  </a:lnTo>
                  <a:lnTo>
                    <a:pt x="106" y="17"/>
                  </a:lnTo>
                  <a:lnTo>
                    <a:pt x="105" y="16"/>
                  </a:lnTo>
                  <a:lnTo>
                    <a:pt x="103" y="17"/>
                  </a:lnTo>
                  <a:lnTo>
                    <a:pt x="103" y="18"/>
                  </a:lnTo>
                  <a:lnTo>
                    <a:pt x="104" y="18"/>
                  </a:lnTo>
                  <a:lnTo>
                    <a:pt x="105" y="18"/>
                  </a:lnTo>
                  <a:lnTo>
                    <a:pt x="106" y="18"/>
                  </a:lnTo>
                  <a:lnTo>
                    <a:pt x="106" y="17"/>
                  </a:lnTo>
                  <a:lnTo>
                    <a:pt x="108" y="17"/>
                  </a:lnTo>
                  <a:lnTo>
                    <a:pt x="106" y="18"/>
                  </a:lnTo>
                  <a:lnTo>
                    <a:pt x="108" y="18"/>
                  </a:lnTo>
                  <a:lnTo>
                    <a:pt x="108" y="19"/>
                  </a:lnTo>
                  <a:lnTo>
                    <a:pt x="106" y="19"/>
                  </a:lnTo>
                  <a:lnTo>
                    <a:pt x="108" y="21"/>
                  </a:lnTo>
                  <a:lnTo>
                    <a:pt x="105" y="19"/>
                  </a:lnTo>
                  <a:lnTo>
                    <a:pt x="104" y="19"/>
                  </a:lnTo>
                  <a:lnTo>
                    <a:pt x="105" y="19"/>
                  </a:lnTo>
                  <a:lnTo>
                    <a:pt x="105" y="21"/>
                  </a:lnTo>
                  <a:lnTo>
                    <a:pt x="106" y="21"/>
                  </a:lnTo>
                  <a:lnTo>
                    <a:pt x="105" y="22"/>
                  </a:lnTo>
                  <a:lnTo>
                    <a:pt x="106" y="23"/>
                  </a:lnTo>
                  <a:lnTo>
                    <a:pt x="105" y="23"/>
                  </a:lnTo>
                  <a:lnTo>
                    <a:pt x="105" y="24"/>
                  </a:lnTo>
                  <a:lnTo>
                    <a:pt x="106" y="24"/>
                  </a:lnTo>
                  <a:lnTo>
                    <a:pt x="105" y="24"/>
                  </a:lnTo>
                  <a:lnTo>
                    <a:pt x="105" y="25"/>
                  </a:lnTo>
                  <a:lnTo>
                    <a:pt x="106" y="25"/>
                  </a:lnTo>
                  <a:lnTo>
                    <a:pt x="106" y="24"/>
                  </a:lnTo>
                  <a:lnTo>
                    <a:pt x="106" y="25"/>
                  </a:lnTo>
                  <a:lnTo>
                    <a:pt x="106" y="27"/>
                  </a:lnTo>
                  <a:lnTo>
                    <a:pt x="106" y="25"/>
                  </a:lnTo>
                  <a:lnTo>
                    <a:pt x="105" y="25"/>
                  </a:lnTo>
                  <a:lnTo>
                    <a:pt x="105" y="27"/>
                  </a:lnTo>
                  <a:lnTo>
                    <a:pt x="106" y="27"/>
                  </a:lnTo>
                  <a:lnTo>
                    <a:pt x="109" y="28"/>
                  </a:lnTo>
                  <a:lnTo>
                    <a:pt x="111" y="30"/>
                  </a:lnTo>
                  <a:lnTo>
                    <a:pt x="112" y="30"/>
                  </a:lnTo>
                  <a:lnTo>
                    <a:pt x="111" y="30"/>
                  </a:lnTo>
                  <a:lnTo>
                    <a:pt x="112" y="30"/>
                  </a:lnTo>
                  <a:lnTo>
                    <a:pt x="114" y="31"/>
                  </a:lnTo>
                  <a:lnTo>
                    <a:pt x="111" y="31"/>
                  </a:lnTo>
                  <a:lnTo>
                    <a:pt x="111" y="33"/>
                  </a:lnTo>
                  <a:lnTo>
                    <a:pt x="111" y="31"/>
                  </a:lnTo>
                  <a:lnTo>
                    <a:pt x="111" y="30"/>
                  </a:lnTo>
                  <a:lnTo>
                    <a:pt x="110" y="30"/>
                  </a:lnTo>
                  <a:lnTo>
                    <a:pt x="110" y="31"/>
                  </a:lnTo>
                  <a:lnTo>
                    <a:pt x="110" y="30"/>
                  </a:lnTo>
                  <a:lnTo>
                    <a:pt x="109" y="30"/>
                  </a:lnTo>
                  <a:lnTo>
                    <a:pt x="110" y="31"/>
                  </a:lnTo>
                  <a:lnTo>
                    <a:pt x="109" y="33"/>
                  </a:lnTo>
                  <a:lnTo>
                    <a:pt x="109" y="34"/>
                  </a:lnTo>
                  <a:lnTo>
                    <a:pt x="110" y="34"/>
                  </a:lnTo>
                  <a:lnTo>
                    <a:pt x="111" y="34"/>
                  </a:lnTo>
                  <a:lnTo>
                    <a:pt x="110" y="35"/>
                  </a:lnTo>
                  <a:lnTo>
                    <a:pt x="110" y="34"/>
                  </a:lnTo>
                  <a:lnTo>
                    <a:pt x="110" y="35"/>
                  </a:lnTo>
                  <a:lnTo>
                    <a:pt x="111" y="35"/>
                  </a:lnTo>
                  <a:lnTo>
                    <a:pt x="112" y="36"/>
                  </a:lnTo>
                  <a:lnTo>
                    <a:pt x="111" y="36"/>
                  </a:lnTo>
                  <a:lnTo>
                    <a:pt x="111" y="37"/>
                  </a:lnTo>
                  <a:lnTo>
                    <a:pt x="112" y="36"/>
                  </a:lnTo>
                  <a:lnTo>
                    <a:pt x="114" y="36"/>
                  </a:lnTo>
                  <a:lnTo>
                    <a:pt x="114" y="37"/>
                  </a:lnTo>
                  <a:lnTo>
                    <a:pt x="115" y="39"/>
                  </a:lnTo>
                  <a:lnTo>
                    <a:pt x="116" y="39"/>
                  </a:lnTo>
                  <a:lnTo>
                    <a:pt x="117" y="39"/>
                  </a:lnTo>
                  <a:lnTo>
                    <a:pt x="118" y="40"/>
                  </a:lnTo>
                  <a:lnTo>
                    <a:pt x="120" y="40"/>
                  </a:lnTo>
                  <a:lnTo>
                    <a:pt x="118" y="40"/>
                  </a:lnTo>
                  <a:lnTo>
                    <a:pt x="120" y="40"/>
                  </a:lnTo>
                  <a:lnTo>
                    <a:pt x="121" y="40"/>
                  </a:lnTo>
                  <a:lnTo>
                    <a:pt x="121" y="41"/>
                  </a:lnTo>
                  <a:lnTo>
                    <a:pt x="123" y="42"/>
                  </a:lnTo>
                  <a:lnTo>
                    <a:pt x="124" y="42"/>
                  </a:lnTo>
                  <a:lnTo>
                    <a:pt x="124" y="43"/>
                  </a:lnTo>
                  <a:lnTo>
                    <a:pt x="126" y="43"/>
                  </a:lnTo>
                  <a:lnTo>
                    <a:pt x="126" y="45"/>
                  </a:lnTo>
                  <a:lnTo>
                    <a:pt x="127" y="45"/>
                  </a:lnTo>
                  <a:lnTo>
                    <a:pt x="128" y="47"/>
                  </a:lnTo>
                  <a:lnTo>
                    <a:pt x="127" y="46"/>
                  </a:lnTo>
                  <a:lnTo>
                    <a:pt x="127" y="47"/>
                  </a:lnTo>
                  <a:lnTo>
                    <a:pt x="126" y="46"/>
                  </a:lnTo>
                  <a:lnTo>
                    <a:pt x="126" y="45"/>
                  </a:lnTo>
                  <a:lnTo>
                    <a:pt x="123" y="43"/>
                  </a:lnTo>
                  <a:lnTo>
                    <a:pt x="124" y="45"/>
                  </a:lnTo>
                  <a:lnTo>
                    <a:pt x="123" y="45"/>
                  </a:lnTo>
                  <a:lnTo>
                    <a:pt x="123" y="46"/>
                  </a:lnTo>
                  <a:lnTo>
                    <a:pt x="123" y="45"/>
                  </a:lnTo>
                  <a:lnTo>
                    <a:pt x="123" y="43"/>
                  </a:lnTo>
                  <a:lnTo>
                    <a:pt x="123" y="45"/>
                  </a:lnTo>
                  <a:lnTo>
                    <a:pt x="123" y="46"/>
                  </a:lnTo>
                  <a:lnTo>
                    <a:pt x="122" y="46"/>
                  </a:lnTo>
                  <a:lnTo>
                    <a:pt x="122" y="47"/>
                  </a:lnTo>
                  <a:lnTo>
                    <a:pt x="123" y="47"/>
                  </a:lnTo>
                  <a:lnTo>
                    <a:pt x="123" y="48"/>
                  </a:lnTo>
                  <a:lnTo>
                    <a:pt x="123" y="49"/>
                  </a:lnTo>
                  <a:lnTo>
                    <a:pt x="123" y="51"/>
                  </a:lnTo>
                  <a:lnTo>
                    <a:pt x="123" y="52"/>
                  </a:lnTo>
                  <a:lnTo>
                    <a:pt x="122" y="52"/>
                  </a:lnTo>
                  <a:lnTo>
                    <a:pt x="123" y="52"/>
                  </a:lnTo>
                  <a:lnTo>
                    <a:pt x="123" y="53"/>
                  </a:lnTo>
                  <a:lnTo>
                    <a:pt x="124" y="53"/>
                  </a:lnTo>
                  <a:lnTo>
                    <a:pt x="126" y="53"/>
                  </a:lnTo>
                  <a:lnTo>
                    <a:pt x="124" y="53"/>
                  </a:lnTo>
                  <a:lnTo>
                    <a:pt x="126" y="54"/>
                  </a:lnTo>
                  <a:lnTo>
                    <a:pt x="126" y="53"/>
                  </a:lnTo>
                  <a:lnTo>
                    <a:pt x="127" y="53"/>
                  </a:lnTo>
                  <a:lnTo>
                    <a:pt x="127" y="54"/>
                  </a:lnTo>
                  <a:lnTo>
                    <a:pt x="128" y="54"/>
                  </a:lnTo>
                  <a:lnTo>
                    <a:pt x="127" y="54"/>
                  </a:lnTo>
                  <a:lnTo>
                    <a:pt x="129" y="54"/>
                  </a:lnTo>
                  <a:lnTo>
                    <a:pt x="128" y="55"/>
                  </a:lnTo>
                  <a:lnTo>
                    <a:pt x="127" y="54"/>
                  </a:lnTo>
                  <a:lnTo>
                    <a:pt x="128" y="57"/>
                  </a:lnTo>
                  <a:lnTo>
                    <a:pt x="127" y="54"/>
                  </a:lnTo>
                  <a:lnTo>
                    <a:pt x="127" y="55"/>
                  </a:lnTo>
                  <a:lnTo>
                    <a:pt x="126" y="55"/>
                  </a:lnTo>
                  <a:lnTo>
                    <a:pt x="126" y="54"/>
                  </a:lnTo>
                  <a:lnTo>
                    <a:pt x="124" y="54"/>
                  </a:lnTo>
                  <a:lnTo>
                    <a:pt x="124" y="55"/>
                  </a:lnTo>
                  <a:lnTo>
                    <a:pt x="124" y="58"/>
                  </a:lnTo>
                  <a:lnTo>
                    <a:pt x="123" y="58"/>
                  </a:lnTo>
                  <a:lnTo>
                    <a:pt x="123" y="57"/>
                  </a:lnTo>
                  <a:lnTo>
                    <a:pt x="123" y="58"/>
                  </a:lnTo>
                  <a:lnTo>
                    <a:pt x="123" y="57"/>
                  </a:lnTo>
                  <a:lnTo>
                    <a:pt x="122" y="58"/>
                  </a:lnTo>
                  <a:lnTo>
                    <a:pt x="122" y="57"/>
                  </a:lnTo>
                  <a:lnTo>
                    <a:pt x="122" y="58"/>
                  </a:lnTo>
                  <a:lnTo>
                    <a:pt x="121" y="58"/>
                  </a:lnTo>
                  <a:lnTo>
                    <a:pt x="121" y="57"/>
                  </a:lnTo>
                  <a:lnTo>
                    <a:pt x="121" y="55"/>
                  </a:lnTo>
                  <a:lnTo>
                    <a:pt x="120" y="55"/>
                  </a:lnTo>
                  <a:lnTo>
                    <a:pt x="120" y="57"/>
                  </a:lnTo>
                  <a:lnTo>
                    <a:pt x="120" y="58"/>
                  </a:lnTo>
                  <a:lnTo>
                    <a:pt x="120" y="59"/>
                  </a:lnTo>
                  <a:lnTo>
                    <a:pt x="121" y="59"/>
                  </a:lnTo>
                  <a:lnTo>
                    <a:pt x="122" y="60"/>
                  </a:lnTo>
                  <a:lnTo>
                    <a:pt x="123" y="60"/>
                  </a:lnTo>
                  <a:lnTo>
                    <a:pt x="124" y="61"/>
                  </a:lnTo>
                  <a:lnTo>
                    <a:pt x="126" y="61"/>
                  </a:lnTo>
                  <a:lnTo>
                    <a:pt x="127" y="61"/>
                  </a:lnTo>
                  <a:lnTo>
                    <a:pt x="128" y="61"/>
                  </a:lnTo>
                  <a:lnTo>
                    <a:pt x="129" y="61"/>
                  </a:lnTo>
                  <a:lnTo>
                    <a:pt x="129" y="60"/>
                  </a:lnTo>
                  <a:lnTo>
                    <a:pt x="129" y="61"/>
                  </a:lnTo>
                  <a:lnTo>
                    <a:pt x="130" y="61"/>
                  </a:lnTo>
                  <a:lnTo>
                    <a:pt x="132" y="60"/>
                  </a:lnTo>
                  <a:lnTo>
                    <a:pt x="133" y="60"/>
                  </a:lnTo>
                  <a:lnTo>
                    <a:pt x="130" y="61"/>
                  </a:lnTo>
                  <a:lnTo>
                    <a:pt x="134" y="61"/>
                  </a:lnTo>
                  <a:lnTo>
                    <a:pt x="132" y="63"/>
                  </a:lnTo>
                  <a:lnTo>
                    <a:pt x="130" y="63"/>
                  </a:lnTo>
                  <a:lnTo>
                    <a:pt x="132" y="63"/>
                  </a:lnTo>
                  <a:lnTo>
                    <a:pt x="130" y="61"/>
                  </a:lnTo>
                  <a:lnTo>
                    <a:pt x="129" y="61"/>
                  </a:lnTo>
                  <a:lnTo>
                    <a:pt x="129" y="63"/>
                  </a:lnTo>
                  <a:lnTo>
                    <a:pt x="129" y="64"/>
                  </a:lnTo>
                  <a:lnTo>
                    <a:pt x="129" y="65"/>
                  </a:lnTo>
                  <a:lnTo>
                    <a:pt x="128" y="65"/>
                  </a:lnTo>
                  <a:lnTo>
                    <a:pt x="129" y="65"/>
                  </a:lnTo>
                  <a:lnTo>
                    <a:pt x="129" y="66"/>
                  </a:lnTo>
                  <a:lnTo>
                    <a:pt x="130" y="67"/>
                  </a:lnTo>
                  <a:lnTo>
                    <a:pt x="130" y="66"/>
                  </a:lnTo>
                  <a:lnTo>
                    <a:pt x="132" y="66"/>
                  </a:lnTo>
                  <a:lnTo>
                    <a:pt x="132" y="67"/>
                  </a:lnTo>
                  <a:lnTo>
                    <a:pt x="134" y="66"/>
                  </a:lnTo>
                  <a:lnTo>
                    <a:pt x="134" y="65"/>
                  </a:lnTo>
                  <a:lnTo>
                    <a:pt x="136" y="64"/>
                  </a:lnTo>
                  <a:lnTo>
                    <a:pt x="135" y="65"/>
                  </a:lnTo>
                  <a:lnTo>
                    <a:pt x="136" y="65"/>
                  </a:lnTo>
                  <a:lnTo>
                    <a:pt x="136" y="66"/>
                  </a:lnTo>
                  <a:lnTo>
                    <a:pt x="135" y="66"/>
                  </a:lnTo>
                  <a:lnTo>
                    <a:pt x="135" y="67"/>
                  </a:lnTo>
                  <a:lnTo>
                    <a:pt x="135" y="66"/>
                  </a:lnTo>
                  <a:lnTo>
                    <a:pt x="134" y="66"/>
                  </a:lnTo>
                  <a:lnTo>
                    <a:pt x="135" y="67"/>
                  </a:lnTo>
                  <a:lnTo>
                    <a:pt x="134" y="67"/>
                  </a:lnTo>
                  <a:lnTo>
                    <a:pt x="133" y="67"/>
                  </a:lnTo>
                  <a:lnTo>
                    <a:pt x="134" y="67"/>
                  </a:lnTo>
                  <a:lnTo>
                    <a:pt x="135" y="69"/>
                  </a:lnTo>
                  <a:lnTo>
                    <a:pt x="134" y="69"/>
                  </a:lnTo>
                  <a:lnTo>
                    <a:pt x="133" y="69"/>
                  </a:lnTo>
                  <a:lnTo>
                    <a:pt x="132" y="69"/>
                  </a:lnTo>
                  <a:lnTo>
                    <a:pt x="132" y="70"/>
                  </a:lnTo>
                  <a:lnTo>
                    <a:pt x="133" y="71"/>
                  </a:lnTo>
                  <a:lnTo>
                    <a:pt x="134" y="71"/>
                  </a:lnTo>
                  <a:lnTo>
                    <a:pt x="136" y="71"/>
                  </a:lnTo>
                  <a:lnTo>
                    <a:pt x="135" y="71"/>
                  </a:lnTo>
                  <a:lnTo>
                    <a:pt x="135" y="72"/>
                  </a:lnTo>
                  <a:lnTo>
                    <a:pt x="136" y="73"/>
                  </a:lnTo>
                  <a:lnTo>
                    <a:pt x="135" y="72"/>
                  </a:lnTo>
                  <a:lnTo>
                    <a:pt x="134" y="72"/>
                  </a:lnTo>
                  <a:lnTo>
                    <a:pt x="134" y="73"/>
                  </a:lnTo>
                  <a:lnTo>
                    <a:pt x="134" y="72"/>
                  </a:lnTo>
                  <a:lnTo>
                    <a:pt x="133" y="73"/>
                  </a:lnTo>
                  <a:lnTo>
                    <a:pt x="132" y="73"/>
                  </a:lnTo>
                  <a:lnTo>
                    <a:pt x="133" y="73"/>
                  </a:lnTo>
                  <a:lnTo>
                    <a:pt x="132" y="73"/>
                  </a:lnTo>
                  <a:lnTo>
                    <a:pt x="132" y="75"/>
                  </a:lnTo>
                  <a:lnTo>
                    <a:pt x="133" y="75"/>
                  </a:lnTo>
                  <a:lnTo>
                    <a:pt x="134" y="76"/>
                  </a:lnTo>
                  <a:lnTo>
                    <a:pt x="134" y="77"/>
                  </a:lnTo>
                  <a:lnTo>
                    <a:pt x="135" y="77"/>
                  </a:lnTo>
                  <a:lnTo>
                    <a:pt x="135" y="78"/>
                  </a:lnTo>
                  <a:lnTo>
                    <a:pt x="136" y="78"/>
                  </a:lnTo>
                  <a:lnTo>
                    <a:pt x="138" y="78"/>
                  </a:lnTo>
                  <a:lnTo>
                    <a:pt x="139" y="78"/>
                  </a:lnTo>
                  <a:lnTo>
                    <a:pt x="139" y="79"/>
                  </a:lnTo>
                  <a:lnTo>
                    <a:pt x="138" y="79"/>
                  </a:lnTo>
                  <a:lnTo>
                    <a:pt x="139" y="79"/>
                  </a:lnTo>
                  <a:lnTo>
                    <a:pt x="139" y="81"/>
                  </a:lnTo>
                  <a:lnTo>
                    <a:pt x="138" y="81"/>
                  </a:lnTo>
                  <a:lnTo>
                    <a:pt x="138" y="79"/>
                  </a:lnTo>
                  <a:lnTo>
                    <a:pt x="138" y="81"/>
                  </a:lnTo>
                  <a:lnTo>
                    <a:pt x="138" y="79"/>
                  </a:lnTo>
                  <a:lnTo>
                    <a:pt x="136" y="79"/>
                  </a:lnTo>
                  <a:lnTo>
                    <a:pt x="135" y="78"/>
                  </a:lnTo>
                  <a:lnTo>
                    <a:pt x="135" y="79"/>
                  </a:lnTo>
                  <a:lnTo>
                    <a:pt x="135" y="81"/>
                  </a:lnTo>
                  <a:lnTo>
                    <a:pt x="135" y="82"/>
                  </a:lnTo>
                  <a:lnTo>
                    <a:pt x="135" y="81"/>
                  </a:lnTo>
                  <a:lnTo>
                    <a:pt x="135" y="79"/>
                  </a:lnTo>
                  <a:lnTo>
                    <a:pt x="134" y="81"/>
                  </a:lnTo>
                  <a:lnTo>
                    <a:pt x="134" y="82"/>
                  </a:lnTo>
                  <a:lnTo>
                    <a:pt x="133" y="81"/>
                  </a:lnTo>
                  <a:lnTo>
                    <a:pt x="133" y="79"/>
                  </a:lnTo>
                  <a:lnTo>
                    <a:pt x="133" y="81"/>
                  </a:lnTo>
                  <a:lnTo>
                    <a:pt x="132" y="81"/>
                  </a:lnTo>
                  <a:lnTo>
                    <a:pt x="132" y="79"/>
                  </a:lnTo>
                  <a:lnTo>
                    <a:pt x="132" y="78"/>
                  </a:lnTo>
                  <a:lnTo>
                    <a:pt x="130" y="79"/>
                  </a:lnTo>
                  <a:lnTo>
                    <a:pt x="130" y="78"/>
                  </a:lnTo>
                  <a:lnTo>
                    <a:pt x="130" y="77"/>
                  </a:lnTo>
                  <a:lnTo>
                    <a:pt x="129" y="77"/>
                  </a:lnTo>
                  <a:lnTo>
                    <a:pt x="129" y="78"/>
                  </a:lnTo>
                  <a:lnTo>
                    <a:pt x="129" y="79"/>
                  </a:lnTo>
                  <a:lnTo>
                    <a:pt x="129" y="78"/>
                  </a:lnTo>
                  <a:lnTo>
                    <a:pt x="129" y="77"/>
                  </a:lnTo>
                  <a:lnTo>
                    <a:pt x="129" y="76"/>
                  </a:lnTo>
                  <a:lnTo>
                    <a:pt x="128" y="76"/>
                  </a:lnTo>
                  <a:lnTo>
                    <a:pt x="128" y="77"/>
                  </a:lnTo>
                  <a:lnTo>
                    <a:pt x="128" y="78"/>
                  </a:lnTo>
                  <a:lnTo>
                    <a:pt x="129" y="78"/>
                  </a:lnTo>
                  <a:lnTo>
                    <a:pt x="129" y="79"/>
                  </a:lnTo>
                  <a:lnTo>
                    <a:pt x="130" y="81"/>
                  </a:lnTo>
                  <a:lnTo>
                    <a:pt x="132" y="81"/>
                  </a:lnTo>
                  <a:lnTo>
                    <a:pt x="132" y="82"/>
                  </a:lnTo>
                  <a:lnTo>
                    <a:pt x="133" y="82"/>
                  </a:lnTo>
                  <a:lnTo>
                    <a:pt x="134" y="83"/>
                  </a:lnTo>
                  <a:lnTo>
                    <a:pt x="135" y="82"/>
                  </a:lnTo>
                  <a:lnTo>
                    <a:pt x="136" y="82"/>
                  </a:lnTo>
                  <a:lnTo>
                    <a:pt x="138" y="82"/>
                  </a:lnTo>
                  <a:lnTo>
                    <a:pt x="139" y="82"/>
                  </a:lnTo>
                  <a:lnTo>
                    <a:pt x="139" y="81"/>
                  </a:lnTo>
                  <a:lnTo>
                    <a:pt x="140" y="79"/>
                  </a:lnTo>
                  <a:lnTo>
                    <a:pt x="140" y="78"/>
                  </a:lnTo>
                  <a:lnTo>
                    <a:pt x="141" y="78"/>
                  </a:lnTo>
                  <a:lnTo>
                    <a:pt x="140" y="77"/>
                  </a:lnTo>
                  <a:lnTo>
                    <a:pt x="141" y="77"/>
                  </a:lnTo>
                  <a:lnTo>
                    <a:pt x="141" y="78"/>
                  </a:lnTo>
                  <a:lnTo>
                    <a:pt x="144" y="76"/>
                  </a:lnTo>
                  <a:lnTo>
                    <a:pt x="145" y="76"/>
                  </a:lnTo>
                  <a:lnTo>
                    <a:pt x="144" y="76"/>
                  </a:lnTo>
                  <a:lnTo>
                    <a:pt x="146" y="76"/>
                  </a:lnTo>
                  <a:lnTo>
                    <a:pt x="145" y="77"/>
                  </a:lnTo>
                  <a:lnTo>
                    <a:pt x="144" y="77"/>
                  </a:lnTo>
                  <a:lnTo>
                    <a:pt x="145" y="78"/>
                  </a:lnTo>
                  <a:lnTo>
                    <a:pt x="144" y="77"/>
                  </a:lnTo>
                  <a:lnTo>
                    <a:pt x="142" y="78"/>
                  </a:lnTo>
                  <a:lnTo>
                    <a:pt x="144" y="79"/>
                  </a:lnTo>
                  <a:lnTo>
                    <a:pt x="142" y="78"/>
                  </a:lnTo>
                  <a:lnTo>
                    <a:pt x="142" y="79"/>
                  </a:lnTo>
                  <a:lnTo>
                    <a:pt x="141" y="79"/>
                  </a:lnTo>
                  <a:lnTo>
                    <a:pt x="141" y="81"/>
                  </a:lnTo>
                  <a:lnTo>
                    <a:pt x="142" y="82"/>
                  </a:lnTo>
                  <a:lnTo>
                    <a:pt x="141" y="81"/>
                  </a:lnTo>
                  <a:lnTo>
                    <a:pt x="140" y="81"/>
                  </a:lnTo>
                  <a:lnTo>
                    <a:pt x="141" y="82"/>
                  </a:lnTo>
                  <a:lnTo>
                    <a:pt x="142" y="82"/>
                  </a:lnTo>
                  <a:lnTo>
                    <a:pt x="141" y="83"/>
                  </a:lnTo>
                  <a:lnTo>
                    <a:pt x="142" y="83"/>
                  </a:lnTo>
                  <a:lnTo>
                    <a:pt x="142" y="84"/>
                  </a:lnTo>
                  <a:lnTo>
                    <a:pt x="141" y="84"/>
                  </a:lnTo>
                  <a:lnTo>
                    <a:pt x="142" y="85"/>
                  </a:lnTo>
                  <a:lnTo>
                    <a:pt x="141" y="85"/>
                  </a:lnTo>
                  <a:lnTo>
                    <a:pt x="140" y="84"/>
                  </a:lnTo>
                  <a:lnTo>
                    <a:pt x="140" y="83"/>
                  </a:lnTo>
                  <a:lnTo>
                    <a:pt x="140" y="84"/>
                  </a:lnTo>
                  <a:lnTo>
                    <a:pt x="140" y="85"/>
                  </a:lnTo>
                  <a:lnTo>
                    <a:pt x="139" y="85"/>
                  </a:lnTo>
                  <a:lnTo>
                    <a:pt x="139" y="87"/>
                  </a:lnTo>
                  <a:lnTo>
                    <a:pt x="140" y="87"/>
                  </a:lnTo>
                  <a:lnTo>
                    <a:pt x="140" y="85"/>
                  </a:lnTo>
                  <a:lnTo>
                    <a:pt x="140" y="87"/>
                  </a:lnTo>
                  <a:lnTo>
                    <a:pt x="141" y="87"/>
                  </a:lnTo>
                  <a:lnTo>
                    <a:pt x="142" y="87"/>
                  </a:lnTo>
                  <a:lnTo>
                    <a:pt x="144" y="88"/>
                  </a:lnTo>
                  <a:lnTo>
                    <a:pt x="142" y="88"/>
                  </a:lnTo>
                  <a:lnTo>
                    <a:pt x="141" y="88"/>
                  </a:lnTo>
                  <a:lnTo>
                    <a:pt x="142" y="88"/>
                  </a:lnTo>
                  <a:lnTo>
                    <a:pt x="142" y="89"/>
                  </a:lnTo>
                  <a:lnTo>
                    <a:pt x="141" y="88"/>
                  </a:lnTo>
                  <a:lnTo>
                    <a:pt x="141" y="89"/>
                  </a:lnTo>
                  <a:lnTo>
                    <a:pt x="141" y="88"/>
                  </a:lnTo>
                  <a:lnTo>
                    <a:pt x="140" y="88"/>
                  </a:lnTo>
                  <a:lnTo>
                    <a:pt x="141" y="89"/>
                  </a:lnTo>
                  <a:lnTo>
                    <a:pt x="140" y="90"/>
                  </a:lnTo>
                  <a:lnTo>
                    <a:pt x="140" y="89"/>
                  </a:lnTo>
                  <a:lnTo>
                    <a:pt x="139" y="89"/>
                  </a:lnTo>
                  <a:lnTo>
                    <a:pt x="139" y="88"/>
                  </a:lnTo>
                  <a:lnTo>
                    <a:pt x="139" y="89"/>
                  </a:lnTo>
                  <a:lnTo>
                    <a:pt x="138" y="89"/>
                  </a:lnTo>
                  <a:lnTo>
                    <a:pt x="138" y="90"/>
                  </a:lnTo>
                  <a:lnTo>
                    <a:pt x="138" y="91"/>
                  </a:lnTo>
                  <a:lnTo>
                    <a:pt x="139" y="90"/>
                  </a:lnTo>
                  <a:lnTo>
                    <a:pt x="139" y="91"/>
                  </a:lnTo>
                  <a:lnTo>
                    <a:pt x="138" y="91"/>
                  </a:lnTo>
                  <a:lnTo>
                    <a:pt x="140" y="91"/>
                  </a:lnTo>
                  <a:lnTo>
                    <a:pt x="140" y="93"/>
                  </a:lnTo>
                  <a:lnTo>
                    <a:pt x="141" y="93"/>
                  </a:lnTo>
                  <a:lnTo>
                    <a:pt x="141" y="94"/>
                  </a:lnTo>
                  <a:lnTo>
                    <a:pt x="142" y="95"/>
                  </a:lnTo>
                  <a:lnTo>
                    <a:pt x="142" y="94"/>
                  </a:lnTo>
                  <a:lnTo>
                    <a:pt x="144" y="95"/>
                  </a:lnTo>
                  <a:lnTo>
                    <a:pt x="145" y="94"/>
                  </a:lnTo>
                  <a:lnTo>
                    <a:pt x="145" y="95"/>
                  </a:lnTo>
                  <a:lnTo>
                    <a:pt x="145" y="96"/>
                  </a:lnTo>
                  <a:lnTo>
                    <a:pt x="144" y="96"/>
                  </a:lnTo>
                  <a:lnTo>
                    <a:pt x="144" y="95"/>
                  </a:lnTo>
                  <a:lnTo>
                    <a:pt x="144" y="96"/>
                  </a:lnTo>
                  <a:lnTo>
                    <a:pt x="142" y="96"/>
                  </a:lnTo>
                  <a:lnTo>
                    <a:pt x="144" y="96"/>
                  </a:lnTo>
                  <a:lnTo>
                    <a:pt x="144" y="97"/>
                  </a:lnTo>
                  <a:lnTo>
                    <a:pt x="144" y="99"/>
                  </a:lnTo>
                  <a:lnTo>
                    <a:pt x="144" y="100"/>
                  </a:lnTo>
                  <a:lnTo>
                    <a:pt x="145" y="100"/>
                  </a:lnTo>
                  <a:lnTo>
                    <a:pt x="145" y="101"/>
                  </a:lnTo>
                  <a:lnTo>
                    <a:pt x="146" y="101"/>
                  </a:lnTo>
                  <a:lnTo>
                    <a:pt x="147" y="101"/>
                  </a:lnTo>
                  <a:lnTo>
                    <a:pt x="146" y="101"/>
                  </a:lnTo>
                  <a:lnTo>
                    <a:pt x="148" y="103"/>
                  </a:lnTo>
                  <a:lnTo>
                    <a:pt x="150" y="106"/>
                  </a:lnTo>
                  <a:lnTo>
                    <a:pt x="151" y="106"/>
                  </a:lnTo>
                  <a:lnTo>
                    <a:pt x="152" y="106"/>
                  </a:lnTo>
                  <a:lnTo>
                    <a:pt x="151" y="106"/>
                  </a:lnTo>
                  <a:lnTo>
                    <a:pt x="151" y="107"/>
                  </a:lnTo>
                  <a:lnTo>
                    <a:pt x="153" y="108"/>
                  </a:lnTo>
                  <a:lnTo>
                    <a:pt x="152" y="108"/>
                  </a:lnTo>
                  <a:lnTo>
                    <a:pt x="151" y="107"/>
                  </a:lnTo>
                  <a:lnTo>
                    <a:pt x="152" y="110"/>
                  </a:lnTo>
                  <a:lnTo>
                    <a:pt x="153" y="108"/>
                  </a:lnTo>
                  <a:lnTo>
                    <a:pt x="153" y="110"/>
                  </a:lnTo>
                  <a:lnTo>
                    <a:pt x="155" y="111"/>
                  </a:lnTo>
                  <a:lnTo>
                    <a:pt x="153" y="111"/>
                  </a:lnTo>
                  <a:lnTo>
                    <a:pt x="155" y="111"/>
                  </a:lnTo>
                  <a:lnTo>
                    <a:pt x="156" y="111"/>
                  </a:lnTo>
                  <a:lnTo>
                    <a:pt x="157" y="112"/>
                  </a:lnTo>
                  <a:lnTo>
                    <a:pt x="156" y="113"/>
                  </a:lnTo>
                  <a:lnTo>
                    <a:pt x="158" y="114"/>
                  </a:lnTo>
                  <a:lnTo>
                    <a:pt x="156" y="113"/>
                  </a:lnTo>
                  <a:lnTo>
                    <a:pt x="156" y="114"/>
                  </a:lnTo>
                  <a:lnTo>
                    <a:pt x="155" y="114"/>
                  </a:lnTo>
                  <a:lnTo>
                    <a:pt x="155" y="113"/>
                  </a:lnTo>
                  <a:lnTo>
                    <a:pt x="155" y="112"/>
                  </a:lnTo>
                  <a:lnTo>
                    <a:pt x="153" y="113"/>
                  </a:lnTo>
                  <a:lnTo>
                    <a:pt x="153" y="111"/>
                  </a:lnTo>
                  <a:lnTo>
                    <a:pt x="153" y="114"/>
                  </a:lnTo>
                  <a:lnTo>
                    <a:pt x="152" y="113"/>
                  </a:lnTo>
                  <a:lnTo>
                    <a:pt x="152" y="114"/>
                  </a:lnTo>
                  <a:lnTo>
                    <a:pt x="151" y="114"/>
                  </a:lnTo>
                  <a:lnTo>
                    <a:pt x="151" y="113"/>
                  </a:lnTo>
                  <a:lnTo>
                    <a:pt x="151" y="112"/>
                  </a:lnTo>
                  <a:lnTo>
                    <a:pt x="150" y="111"/>
                  </a:lnTo>
                  <a:lnTo>
                    <a:pt x="148" y="111"/>
                  </a:lnTo>
                  <a:lnTo>
                    <a:pt x="148" y="112"/>
                  </a:lnTo>
                  <a:lnTo>
                    <a:pt x="148" y="111"/>
                  </a:lnTo>
                  <a:lnTo>
                    <a:pt x="148" y="110"/>
                  </a:lnTo>
                  <a:lnTo>
                    <a:pt x="147" y="110"/>
                  </a:lnTo>
                  <a:lnTo>
                    <a:pt x="146" y="110"/>
                  </a:lnTo>
                  <a:lnTo>
                    <a:pt x="146" y="111"/>
                  </a:lnTo>
                  <a:lnTo>
                    <a:pt x="147" y="112"/>
                  </a:lnTo>
                  <a:lnTo>
                    <a:pt x="148" y="112"/>
                  </a:lnTo>
                  <a:lnTo>
                    <a:pt x="148" y="114"/>
                  </a:lnTo>
                  <a:lnTo>
                    <a:pt x="150" y="114"/>
                  </a:lnTo>
                  <a:lnTo>
                    <a:pt x="150" y="116"/>
                  </a:lnTo>
                  <a:lnTo>
                    <a:pt x="152" y="117"/>
                  </a:lnTo>
                  <a:lnTo>
                    <a:pt x="153" y="118"/>
                  </a:lnTo>
                  <a:lnTo>
                    <a:pt x="152" y="118"/>
                  </a:lnTo>
                  <a:lnTo>
                    <a:pt x="153" y="119"/>
                  </a:lnTo>
                  <a:lnTo>
                    <a:pt x="152" y="118"/>
                  </a:lnTo>
                  <a:lnTo>
                    <a:pt x="151" y="119"/>
                  </a:lnTo>
                  <a:lnTo>
                    <a:pt x="151" y="118"/>
                  </a:lnTo>
                  <a:lnTo>
                    <a:pt x="151" y="117"/>
                  </a:lnTo>
                  <a:lnTo>
                    <a:pt x="150" y="117"/>
                  </a:lnTo>
                  <a:lnTo>
                    <a:pt x="150" y="118"/>
                  </a:lnTo>
                  <a:lnTo>
                    <a:pt x="150" y="116"/>
                  </a:lnTo>
                  <a:lnTo>
                    <a:pt x="148" y="118"/>
                  </a:lnTo>
                  <a:lnTo>
                    <a:pt x="148" y="119"/>
                  </a:lnTo>
                  <a:lnTo>
                    <a:pt x="148" y="118"/>
                  </a:lnTo>
                  <a:lnTo>
                    <a:pt x="148" y="117"/>
                  </a:lnTo>
                  <a:lnTo>
                    <a:pt x="147" y="117"/>
                  </a:lnTo>
                  <a:lnTo>
                    <a:pt x="148" y="114"/>
                  </a:lnTo>
                  <a:lnTo>
                    <a:pt x="148" y="113"/>
                  </a:lnTo>
                  <a:lnTo>
                    <a:pt x="148" y="114"/>
                  </a:lnTo>
                  <a:lnTo>
                    <a:pt x="147" y="117"/>
                  </a:lnTo>
                  <a:lnTo>
                    <a:pt x="147" y="116"/>
                  </a:lnTo>
                  <a:lnTo>
                    <a:pt x="147" y="113"/>
                  </a:lnTo>
                  <a:lnTo>
                    <a:pt x="147" y="114"/>
                  </a:lnTo>
                  <a:lnTo>
                    <a:pt x="147" y="116"/>
                  </a:lnTo>
                  <a:lnTo>
                    <a:pt x="147" y="112"/>
                  </a:lnTo>
                  <a:lnTo>
                    <a:pt x="146" y="114"/>
                  </a:lnTo>
                  <a:lnTo>
                    <a:pt x="146" y="116"/>
                  </a:lnTo>
                  <a:lnTo>
                    <a:pt x="145" y="116"/>
                  </a:lnTo>
                  <a:lnTo>
                    <a:pt x="145" y="113"/>
                  </a:lnTo>
                  <a:lnTo>
                    <a:pt x="144" y="113"/>
                  </a:lnTo>
                  <a:lnTo>
                    <a:pt x="144" y="112"/>
                  </a:lnTo>
                  <a:lnTo>
                    <a:pt x="144" y="111"/>
                  </a:lnTo>
                  <a:lnTo>
                    <a:pt x="144" y="112"/>
                  </a:lnTo>
                  <a:lnTo>
                    <a:pt x="144" y="113"/>
                  </a:lnTo>
                  <a:lnTo>
                    <a:pt x="142" y="113"/>
                  </a:lnTo>
                  <a:lnTo>
                    <a:pt x="142" y="112"/>
                  </a:lnTo>
                  <a:lnTo>
                    <a:pt x="141" y="112"/>
                  </a:lnTo>
                  <a:lnTo>
                    <a:pt x="141" y="113"/>
                  </a:lnTo>
                  <a:lnTo>
                    <a:pt x="142" y="114"/>
                  </a:lnTo>
                  <a:lnTo>
                    <a:pt x="141" y="114"/>
                  </a:lnTo>
                  <a:lnTo>
                    <a:pt x="142" y="114"/>
                  </a:lnTo>
                  <a:lnTo>
                    <a:pt x="142" y="116"/>
                  </a:lnTo>
                  <a:lnTo>
                    <a:pt x="144" y="117"/>
                  </a:lnTo>
                  <a:lnTo>
                    <a:pt x="145" y="117"/>
                  </a:lnTo>
                  <a:lnTo>
                    <a:pt x="146" y="118"/>
                  </a:lnTo>
                  <a:lnTo>
                    <a:pt x="145" y="118"/>
                  </a:lnTo>
                  <a:lnTo>
                    <a:pt x="146" y="118"/>
                  </a:lnTo>
                  <a:lnTo>
                    <a:pt x="147" y="119"/>
                  </a:lnTo>
                  <a:lnTo>
                    <a:pt x="146" y="119"/>
                  </a:lnTo>
                  <a:lnTo>
                    <a:pt x="147" y="120"/>
                  </a:lnTo>
                  <a:lnTo>
                    <a:pt x="147" y="119"/>
                  </a:lnTo>
                  <a:lnTo>
                    <a:pt x="148" y="119"/>
                  </a:lnTo>
                  <a:lnTo>
                    <a:pt x="148" y="120"/>
                  </a:lnTo>
                  <a:lnTo>
                    <a:pt x="150" y="120"/>
                  </a:lnTo>
                  <a:lnTo>
                    <a:pt x="148" y="120"/>
                  </a:lnTo>
                  <a:lnTo>
                    <a:pt x="148" y="122"/>
                  </a:lnTo>
                  <a:lnTo>
                    <a:pt x="150" y="122"/>
                  </a:lnTo>
                  <a:lnTo>
                    <a:pt x="148" y="122"/>
                  </a:lnTo>
                  <a:lnTo>
                    <a:pt x="150" y="123"/>
                  </a:lnTo>
                  <a:lnTo>
                    <a:pt x="151" y="123"/>
                  </a:lnTo>
                  <a:lnTo>
                    <a:pt x="152" y="123"/>
                  </a:lnTo>
                  <a:lnTo>
                    <a:pt x="151" y="124"/>
                  </a:lnTo>
                  <a:lnTo>
                    <a:pt x="152" y="125"/>
                  </a:lnTo>
                  <a:lnTo>
                    <a:pt x="151" y="124"/>
                  </a:lnTo>
                  <a:lnTo>
                    <a:pt x="150" y="124"/>
                  </a:lnTo>
                  <a:lnTo>
                    <a:pt x="150" y="125"/>
                  </a:lnTo>
                  <a:lnTo>
                    <a:pt x="151" y="125"/>
                  </a:lnTo>
                  <a:lnTo>
                    <a:pt x="152" y="125"/>
                  </a:lnTo>
                  <a:lnTo>
                    <a:pt x="153" y="126"/>
                  </a:lnTo>
                  <a:lnTo>
                    <a:pt x="153" y="125"/>
                  </a:lnTo>
                  <a:lnTo>
                    <a:pt x="155" y="126"/>
                  </a:lnTo>
                  <a:lnTo>
                    <a:pt x="153" y="126"/>
                  </a:lnTo>
                  <a:lnTo>
                    <a:pt x="155" y="126"/>
                  </a:lnTo>
                  <a:lnTo>
                    <a:pt x="155" y="128"/>
                  </a:lnTo>
                  <a:lnTo>
                    <a:pt x="153" y="128"/>
                  </a:lnTo>
                  <a:lnTo>
                    <a:pt x="152" y="128"/>
                  </a:lnTo>
                  <a:lnTo>
                    <a:pt x="152" y="129"/>
                  </a:lnTo>
                  <a:lnTo>
                    <a:pt x="152" y="128"/>
                  </a:lnTo>
                  <a:lnTo>
                    <a:pt x="152" y="126"/>
                  </a:lnTo>
                  <a:lnTo>
                    <a:pt x="152" y="128"/>
                  </a:lnTo>
                  <a:lnTo>
                    <a:pt x="151" y="128"/>
                  </a:lnTo>
                  <a:lnTo>
                    <a:pt x="151" y="126"/>
                  </a:lnTo>
                  <a:lnTo>
                    <a:pt x="151" y="128"/>
                  </a:lnTo>
                  <a:lnTo>
                    <a:pt x="151" y="129"/>
                  </a:lnTo>
                  <a:lnTo>
                    <a:pt x="152" y="129"/>
                  </a:lnTo>
                  <a:lnTo>
                    <a:pt x="151" y="129"/>
                  </a:lnTo>
                  <a:lnTo>
                    <a:pt x="152" y="129"/>
                  </a:lnTo>
                  <a:lnTo>
                    <a:pt x="153" y="129"/>
                  </a:lnTo>
                  <a:lnTo>
                    <a:pt x="155" y="128"/>
                  </a:lnTo>
                  <a:lnTo>
                    <a:pt x="155" y="129"/>
                  </a:lnTo>
                  <a:lnTo>
                    <a:pt x="156" y="129"/>
                  </a:lnTo>
                  <a:lnTo>
                    <a:pt x="157" y="130"/>
                  </a:lnTo>
                  <a:lnTo>
                    <a:pt x="156" y="130"/>
                  </a:lnTo>
                  <a:lnTo>
                    <a:pt x="155" y="130"/>
                  </a:lnTo>
                  <a:lnTo>
                    <a:pt x="156" y="131"/>
                  </a:lnTo>
                  <a:lnTo>
                    <a:pt x="157" y="131"/>
                  </a:lnTo>
                  <a:lnTo>
                    <a:pt x="158" y="131"/>
                  </a:lnTo>
                  <a:lnTo>
                    <a:pt x="159" y="131"/>
                  </a:lnTo>
                  <a:lnTo>
                    <a:pt x="161" y="131"/>
                  </a:lnTo>
                  <a:lnTo>
                    <a:pt x="161" y="132"/>
                  </a:lnTo>
                  <a:lnTo>
                    <a:pt x="162" y="132"/>
                  </a:lnTo>
                  <a:lnTo>
                    <a:pt x="163" y="134"/>
                  </a:lnTo>
                  <a:lnTo>
                    <a:pt x="164" y="134"/>
                  </a:lnTo>
                  <a:lnTo>
                    <a:pt x="164" y="132"/>
                  </a:lnTo>
                  <a:lnTo>
                    <a:pt x="165" y="132"/>
                  </a:lnTo>
                  <a:lnTo>
                    <a:pt x="165" y="134"/>
                  </a:lnTo>
                  <a:lnTo>
                    <a:pt x="164" y="134"/>
                  </a:lnTo>
                  <a:lnTo>
                    <a:pt x="164" y="135"/>
                  </a:lnTo>
                  <a:lnTo>
                    <a:pt x="165" y="135"/>
                  </a:lnTo>
                  <a:lnTo>
                    <a:pt x="167" y="135"/>
                  </a:lnTo>
                  <a:lnTo>
                    <a:pt x="168" y="135"/>
                  </a:lnTo>
                  <a:lnTo>
                    <a:pt x="167" y="136"/>
                  </a:lnTo>
                  <a:lnTo>
                    <a:pt x="167" y="135"/>
                  </a:lnTo>
                  <a:lnTo>
                    <a:pt x="165" y="135"/>
                  </a:lnTo>
                  <a:lnTo>
                    <a:pt x="165" y="136"/>
                  </a:lnTo>
                  <a:lnTo>
                    <a:pt x="167" y="137"/>
                  </a:lnTo>
                  <a:lnTo>
                    <a:pt x="168" y="137"/>
                  </a:lnTo>
                  <a:lnTo>
                    <a:pt x="170" y="137"/>
                  </a:lnTo>
                  <a:lnTo>
                    <a:pt x="171" y="137"/>
                  </a:lnTo>
                  <a:lnTo>
                    <a:pt x="170" y="138"/>
                  </a:lnTo>
                  <a:lnTo>
                    <a:pt x="171" y="138"/>
                  </a:lnTo>
                  <a:lnTo>
                    <a:pt x="171" y="140"/>
                  </a:lnTo>
                  <a:lnTo>
                    <a:pt x="170" y="138"/>
                  </a:lnTo>
                  <a:lnTo>
                    <a:pt x="169" y="138"/>
                  </a:lnTo>
                  <a:lnTo>
                    <a:pt x="170" y="140"/>
                  </a:lnTo>
                  <a:lnTo>
                    <a:pt x="169" y="140"/>
                  </a:lnTo>
                  <a:lnTo>
                    <a:pt x="169" y="138"/>
                  </a:lnTo>
                  <a:lnTo>
                    <a:pt x="168" y="137"/>
                  </a:lnTo>
                  <a:lnTo>
                    <a:pt x="168" y="138"/>
                  </a:lnTo>
                  <a:lnTo>
                    <a:pt x="169" y="140"/>
                  </a:lnTo>
                  <a:lnTo>
                    <a:pt x="171" y="141"/>
                  </a:lnTo>
                  <a:lnTo>
                    <a:pt x="170" y="141"/>
                  </a:lnTo>
                  <a:lnTo>
                    <a:pt x="169" y="141"/>
                  </a:lnTo>
                  <a:lnTo>
                    <a:pt x="169" y="142"/>
                  </a:lnTo>
                  <a:lnTo>
                    <a:pt x="169" y="141"/>
                  </a:lnTo>
                  <a:lnTo>
                    <a:pt x="169" y="140"/>
                  </a:lnTo>
                  <a:lnTo>
                    <a:pt x="168" y="140"/>
                  </a:lnTo>
                  <a:lnTo>
                    <a:pt x="168" y="142"/>
                  </a:lnTo>
                  <a:lnTo>
                    <a:pt x="168" y="143"/>
                  </a:lnTo>
                  <a:lnTo>
                    <a:pt x="167" y="143"/>
                  </a:lnTo>
                  <a:lnTo>
                    <a:pt x="167" y="142"/>
                  </a:lnTo>
                  <a:lnTo>
                    <a:pt x="165" y="142"/>
                  </a:lnTo>
                  <a:lnTo>
                    <a:pt x="165" y="141"/>
                  </a:lnTo>
                  <a:lnTo>
                    <a:pt x="164" y="141"/>
                  </a:lnTo>
                  <a:lnTo>
                    <a:pt x="164" y="142"/>
                  </a:lnTo>
                  <a:lnTo>
                    <a:pt x="164" y="143"/>
                  </a:lnTo>
                  <a:lnTo>
                    <a:pt x="163" y="143"/>
                  </a:lnTo>
                  <a:lnTo>
                    <a:pt x="163" y="141"/>
                  </a:lnTo>
                  <a:lnTo>
                    <a:pt x="163" y="142"/>
                  </a:lnTo>
                  <a:lnTo>
                    <a:pt x="162" y="141"/>
                  </a:lnTo>
                  <a:lnTo>
                    <a:pt x="161" y="141"/>
                  </a:lnTo>
                  <a:lnTo>
                    <a:pt x="162" y="141"/>
                  </a:lnTo>
                  <a:lnTo>
                    <a:pt x="162" y="140"/>
                  </a:lnTo>
                  <a:lnTo>
                    <a:pt x="162" y="138"/>
                  </a:lnTo>
                  <a:lnTo>
                    <a:pt x="161" y="138"/>
                  </a:lnTo>
                  <a:lnTo>
                    <a:pt x="161" y="140"/>
                  </a:lnTo>
                  <a:lnTo>
                    <a:pt x="162" y="140"/>
                  </a:lnTo>
                  <a:lnTo>
                    <a:pt x="161" y="141"/>
                  </a:lnTo>
                  <a:lnTo>
                    <a:pt x="161" y="142"/>
                  </a:lnTo>
                  <a:lnTo>
                    <a:pt x="161" y="143"/>
                  </a:lnTo>
                  <a:lnTo>
                    <a:pt x="161" y="142"/>
                  </a:lnTo>
                  <a:lnTo>
                    <a:pt x="159" y="142"/>
                  </a:lnTo>
                  <a:lnTo>
                    <a:pt x="159" y="140"/>
                  </a:lnTo>
                  <a:lnTo>
                    <a:pt x="159" y="141"/>
                  </a:lnTo>
                  <a:lnTo>
                    <a:pt x="158" y="141"/>
                  </a:lnTo>
                  <a:lnTo>
                    <a:pt x="158" y="142"/>
                  </a:lnTo>
                  <a:lnTo>
                    <a:pt x="158" y="143"/>
                  </a:lnTo>
                  <a:lnTo>
                    <a:pt x="159" y="143"/>
                  </a:lnTo>
                  <a:lnTo>
                    <a:pt x="161" y="144"/>
                  </a:lnTo>
                  <a:lnTo>
                    <a:pt x="159" y="144"/>
                  </a:lnTo>
                  <a:lnTo>
                    <a:pt x="159" y="143"/>
                  </a:lnTo>
                  <a:lnTo>
                    <a:pt x="159" y="144"/>
                  </a:lnTo>
                  <a:lnTo>
                    <a:pt x="159" y="146"/>
                  </a:lnTo>
                  <a:lnTo>
                    <a:pt x="161" y="146"/>
                  </a:lnTo>
                  <a:lnTo>
                    <a:pt x="161" y="144"/>
                  </a:lnTo>
                  <a:lnTo>
                    <a:pt x="161" y="146"/>
                  </a:lnTo>
                  <a:lnTo>
                    <a:pt x="162" y="146"/>
                  </a:lnTo>
                  <a:lnTo>
                    <a:pt x="163" y="144"/>
                  </a:lnTo>
                  <a:lnTo>
                    <a:pt x="164" y="144"/>
                  </a:lnTo>
                  <a:lnTo>
                    <a:pt x="167" y="144"/>
                  </a:lnTo>
                  <a:lnTo>
                    <a:pt x="168" y="144"/>
                  </a:lnTo>
                  <a:lnTo>
                    <a:pt x="168" y="146"/>
                  </a:lnTo>
                  <a:lnTo>
                    <a:pt x="168" y="144"/>
                  </a:lnTo>
                  <a:lnTo>
                    <a:pt x="169" y="144"/>
                  </a:lnTo>
                  <a:lnTo>
                    <a:pt x="170" y="144"/>
                  </a:lnTo>
                  <a:lnTo>
                    <a:pt x="170" y="146"/>
                  </a:lnTo>
                  <a:lnTo>
                    <a:pt x="171" y="146"/>
                  </a:lnTo>
                  <a:lnTo>
                    <a:pt x="173" y="146"/>
                  </a:lnTo>
                  <a:lnTo>
                    <a:pt x="174" y="146"/>
                  </a:lnTo>
                  <a:lnTo>
                    <a:pt x="175" y="146"/>
                  </a:lnTo>
                  <a:lnTo>
                    <a:pt x="175" y="147"/>
                  </a:lnTo>
                  <a:lnTo>
                    <a:pt x="176" y="147"/>
                  </a:lnTo>
                  <a:lnTo>
                    <a:pt x="177" y="147"/>
                  </a:lnTo>
                  <a:lnTo>
                    <a:pt x="177" y="148"/>
                  </a:lnTo>
                  <a:lnTo>
                    <a:pt x="179" y="148"/>
                  </a:lnTo>
                  <a:lnTo>
                    <a:pt x="180" y="148"/>
                  </a:lnTo>
                  <a:lnTo>
                    <a:pt x="181" y="148"/>
                  </a:lnTo>
                  <a:lnTo>
                    <a:pt x="182" y="148"/>
                  </a:lnTo>
                  <a:lnTo>
                    <a:pt x="181" y="148"/>
                  </a:lnTo>
                  <a:lnTo>
                    <a:pt x="181" y="149"/>
                  </a:lnTo>
                  <a:lnTo>
                    <a:pt x="183" y="149"/>
                  </a:lnTo>
                  <a:lnTo>
                    <a:pt x="182" y="150"/>
                  </a:lnTo>
                  <a:lnTo>
                    <a:pt x="181" y="149"/>
                  </a:lnTo>
                  <a:lnTo>
                    <a:pt x="181" y="150"/>
                  </a:lnTo>
                  <a:lnTo>
                    <a:pt x="180" y="150"/>
                  </a:lnTo>
                  <a:lnTo>
                    <a:pt x="180" y="149"/>
                  </a:lnTo>
                  <a:lnTo>
                    <a:pt x="179" y="149"/>
                  </a:lnTo>
                  <a:lnTo>
                    <a:pt x="179" y="150"/>
                  </a:lnTo>
                  <a:lnTo>
                    <a:pt x="179" y="152"/>
                  </a:lnTo>
                  <a:lnTo>
                    <a:pt x="177" y="152"/>
                  </a:lnTo>
                  <a:lnTo>
                    <a:pt x="177" y="153"/>
                  </a:lnTo>
                  <a:lnTo>
                    <a:pt x="176" y="153"/>
                  </a:lnTo>
                  <a:lnTo>
                    <a:pt x="176" y="152"/>
                  </a:lnTo>
                  <a:lnTo>
                    <a:pt x="176" y="150"/>
                  </a:lnTo>
                  <a:lnTo>
                    <a:pt x="176" y="149"/>
                  </a:lnTo>
                  <a:lnTo>
                    <a:pt x="176" y="148"/>
                  </a:lnTo>
                  <a:lnTo>
                    <a:pt x="175" y="148"/>
                  </a:lnTo>
                  <a:lnTo>
                    <a:pt x="176" y="148"/>
                  </a:lnTo>
                  <a:lnTo>
                    <a:pt x="176" y="149"/>
                  </a:lnTo>
                  <a:lnTo>
                    <a:pt x="175" y="149"/>
                  </a:lnTo>
                  <a:lnTo>
                    <a:pt x="176" y="150"/>
                  </a:lnTo>
                  <a:lnTo>
                    <a:pt x="176" y="152"/>
                  </a:lnTo>
                  <a:lnTo>
                    <a:pt x="175" y="152"/>
                  </a:lnTo>
                  <a:lnTo>
                    <a:pt x="175" y="150"/>
                  </a:lnTo>
                  <a:lnTo>
                    <a:pt x="174" y="150"/>
                  </a:lnTo>
                  <a:lnTo>
                    <a:pt x="174" y="149"/>
                  </a:lnTo>
                  <a:lnTo>
                    <a:pt x="174" y="150"/>
                  </a:lnTo>
                  <a:lnTo>
                    <a:pt x="174" y="152"/>
                  </a:lnTo>
                  <a:lnTo>
                    <a:pt x="174" y="153"/>
                  </a:lnTo>
                  <a:lnTo>
                    <a:pt x="173" y="153"/>
                  </a:lnTo>
                  <a:lnTo>
                    <a:pt x="173" y="152"/>
                  </a:lnTo>
                  <a:lnTo>
                    <a:pt x="173" y="150"/>
                  </a:lnTo>
                  <a:lnTo>
                    <a:pt x="173" y="149"/>
                  </a:lnTo>
                  <a:lnTo>
                    <a:pt x="171" y="150"/>
                  </a:lnTo>
                  <a:lnTo>
                    <a:pt x="171" y="149"/>
                  </a:lnTo>
                  <a:lnTo>
                    <a:pt x="171" y="148"/>
                  </a:lnTo>
                  <a:lnTo>
                    <a:pt x="171" y="149"/>
                  </a:lnTo>
                  <a:lnTo>
                    <a:pt x="171" y="150"/>
                  </a:lnTo>
                  <a:lnTo>
                    <a:pt x="171" y="152"/>
                  </a:lnTo>
                  <a:lnTo>
                    <a:pt x="171" y="150"/>
                  </a:lnTo>
                  <a:lnTo>
                    <a:pt x="170" y="150"/>
                  </a:lnTo>
                  <a:lnTo>
                    <a:pt x="170" y="152"/>
                  </a:lnTo>
                  <a:lnTo>
                    <a:pt x="170" y="150"/>
                  </a:lnTo>
                  <a:lnTo>
                    <a:pt x="169" y="150"/>
                  </a:lnTo>
                  <a:lnTo>
                    <a:pt x="169" y="152"/>
                  </a:lnTo>
                  <a:lnTo>
                    <a:pt x="169" y="153"/>
                  </a:lnTo>
                  <a:lnTo>
                    <a:pt x="169" y="154"/>
                  </a:lnTo>
                  <a:lnTo>
                    <a:pt x="168" y="154"/>
                  </a:lnTo>
                  <a:lnTo>
                    <a:pt x="168" y="153"/>
                  </a:lnTo>
                  <a:lnTo>
                    <a:pt x="168" y="152"/>
                  </a:lnTo>
                  <a:lnTo>
                    <a:pt x="167" y="152"/>
                  </a:lnTo>
                  <a:lnTo>
                    <a:pt x="167" y="150"/>
                  </a:lnTo>
                  <a:lnTo>
                    <a:pt x="167" y="152"/>
                  </a:lnTo>
                  <a:lnTo>
                    <a:pt x="165" y="152"/>
                  </a:lnTo>
                  <a:lnTo>
                    <a:pt x="165" y="153"/>
                  </a:lnTo>
                  <a:lnTo>
                    <a:pt x="165" y="154"/>
                  </a:lnTo>
                  <a:lnTo>
                    <a:pt x="165" y="153"/>
                  </a:lnTo>
                  <a:lnTo>
                    <a:pt x="164" y="153"/>
                  </a:lnTo>
                  <a:lnTo>
                    <a:pt x="164" y="154"/>
                  </a:lnTo>
                  <a:lnTo>
                    <a:pt x="163" y="154"/>
                  </a:lnTo>
                  <a:lnTo>
                    <a:pt x="163" y="153"/>
                  </a:lnTo>
                  <a:lnTo>
                    <a:pt x="163" y="152"/>
                  </a:lnTo>
                  <a:lnTo>
                    <a:pt x="163" y="153"/>
                  </a:lnTo>
                  <a:lnTo>
                    <a:pt x="163" y="154"/>
                  </a:lnTo>
                  <a:lnTo>
                    <a:pt x="162" y="154"/>
                  </a:lnTo>
                  <a:lnTo>
                    <a:pt x="162" y="153"/>
                  </a:lnTo>
                  <a:lnTo>
                    <a:pt x="161" y="153"/>
                  </a:lnTo>
                  <a:lnTo>
                    <a:pt x="161" y="154"/>
                  </a:lnTo>
                  <a:lnTo>
                    <a:pt x="162" y="154"/>
                  </a:lnTo>
                  <a:lnTo>
                    <a:pt x="163" y="154"/>
                  </a:lnTo>
                  <a:lnTo>
                    <a:pt x="164" y="154"/>
                  </a:lnTo>
                  <a:lnTo>
                    <a:pt x="167" y="154"/>
                  </a:lnTo>
                  <a:lnTo>
                    <a:pt x="165" y="154"/>
                  </a:lnTo>
                  <a:lnTo>
                    <a:pt x="165" y="155"/>
                  </a:lnTo>
                  <a:lnTo>
                    <a:pt x="165" y="156"/>
                  </a:lnTo>
                  <a:lnTo>
                    <a:pt x="164" y="155"/>
                  </a:lnTo>
                  <a:lnTo>
                    <a:pt x="163" y="155"/>
                  </a:lnTo>
                  <a:lnTo>
                    <a:pt x="163" y="154"/>
                  </a:lnTo>
                  <a:lnTo>
                    <a:pt x="162" y="154"/>
                  </a:lnTo>
                  <a:lnTo>
                    <a:pt x="162" y="155"/>
                  </a:lnTo>
                  <a:lnTo>
                    <a:pt x="163" y="155"/>
                  </a:lnTo>
                  <a:lnTo>
                    <a:pt x="163" y="156"/>
                  </a:lnTo>
                  <a:lnTo>
                    <a:pt x="163" y="158"/>
                  </a:lnTo>
                  <a:lnTo>
                    <a:pt x="162" y="156"/>
                  </a:lnTo>
                  <a:lnTo>
                    <a:pt x="162" y="155"/>
                  </a:lnTo>
                  <a:lnTo>
                    <a:pt x="161" y="155"/>
                  </a:lnTo>
                  <a:lnTo>
                    <a:pt x="161" y="156"/>
                  </a:lnTo>
                  <a:lnTo>
                    <a:pt x="161" y="155"/>
                  </a:lnTo>
                  <a:lnTo>
                    <a:pt x="159" y="155"/>
                  </a:lnTo>
                  <a:lnTo>
                    <a:pt x="161" y="156"/>
                  </a:lnTo>
                  <a:lnTo>
                    <a:pt x="159" y="156"/>
                  </a:lnTo>
                  <a:lnTo>
                    <a:pt x="159" y="158"/>
                  </a:lnTo>
                  <a:lnTo>
                    <a:pt x="159" y="156"/>
                  </a:lnTo>
                  <a:lnTo>
                    <a:pt x="158" y="156"/>
                  </a:lnTo>
                  <a:lnTo>
                    <a:pt x="158" y="155"/>
                  </a:lnTo>
                  <a:lnTo>
                    <a:pt x="158" y="154"/>
                  </a:lnTo>
                  <a:lnTo>
                    <a:pt x="158" y="153"/>
                  </a:lnTo>
                  <a:lnTo>
                    <a:pt x="158" y="152"/>
                  </a:lnTo>
                  <a:lnTo>
                    <a:pt x="158" y="153"/>
                  </a:lnTo>
                  <a:lnTo>
                    <a:pt x="158" y="154"/>
                  </a:lnTo>
                  <a:lnTo>
                    <a:pt x="158" y="155"/>
                  </a:lnTo>
                  <a:lnTo>
                    <a:pt x="158" y="156"/>
                  </a:lnTo>
                  <a:lnTo>
                    <a:pt x="158" y="158"/>
                  </a:lnTo>
                  <a:lnTo>
                    <a:pt x="157" y="158"/>
                  </a:lnTo>
                  <a:lnTo>
                    <a:pt x="157" y="156"/>
                  </a:lnTo>
                  <a:lnTo>
                    <a:pt x="157" y="158"/>
                  </a:lnTo>
                  <a:lnTo>
                    <a:pt x="156" y="158"/>
                  </a:lnTo>
                  <a:lnTo>
                    <a:pt x="155" y="158"/>
                  </a:lnTo>
                  <a:lnTo>
                    <a:pt x="155" y="159"/>
                  </a:lnTo>
                  <a:lnTo>
                    <a:pt x="156" y="159"/>
                  </a:lnTo>
                  <a:lnTo>
                    <a:pt x="156" y="160"/>
                  </a:lnTo>
                  <a:lnTo>
                    <a:pt x="155" y="160"/>
                  </a:lnTo>
                  <a:lnTo>
                    <a:pt x="153" y="159"/>
                  </a:lnTo>
                  <a:lnTo>
                    <a:pt x="153" y="160"/>
                  </a:lnTo>
                  <a:lnTo>
                    <a:pt x="153" y="161"/>
                  </a:lnTo>
                  <a:lnTo>
                    <a:pt x="155" y="161"/>
                  </a:lnTo>
                  <a:lnTo>
                    <a:pt x="156" y="161"/>
                  </a:lnTo>
                  <a:lnTo>
                    <a:pt x="157" y="161"/>
                  </a:lnTo>
                  <a:lnTo>
                    <a:pt x="158" y="161"/>
                  </a:lnTo>
                  <a:lnTo>
                    <a:pt x="158" y="162"/>
                  </a:lnTo>
                  <a:lnTo>
                    <a:pt x="159" y="162"/>
                  </a:lnTo>
                  <a:lnTo>
                    <a:pt x="159" y="161"/>
                  </a:lnTo>
                  <a:lnTo>
                    <a:pt x="161" y="162"/>
                  </a:lnTo>
                  <a:lnTo>
                    <a:pt x="162" y="162"/>
                  </a:lnTo>
                  <a:lnTo>
                    <a:pt x="164" y="162"/>
                  </a:lnTo>
                  <a:lnTo>
                    <a:pt x="165" y="162"/>
                  </a:lnTo>
                  <a:lnTo>
                    <a:pt x="167" y="162"/>
                  </a:lnTo>
                  <a:lnTo>
                    <a:pt x="168" y="162"/>
                  </a:lnTo>
                  <a:lnTo>
                    <a:pt x="169" y="162"/>
                  </a:lnTo>
                  <a:lnTo>
                    <a:pt x="170" y="162"/>
                  </a:lnTo>
                  <a:lnTo>
                    <a:pt x="170" y="164"/>
                  </a:lnTo>
                  <a:lnTo>
                    <a:pt x="171" y="164"/>
                  </a:lnTo>
                  <a:lnTo>
                    <a:pt x="173" y="164"/>
                  </a:lnTo>
                  <a:lnTo>
                    <a:pt x="173" y="162"/>
                  </a:lnTo>
                  <a:lnTo>
                    <a:pt x="173" y="164"/>
                  </a:lnTo>
                  <a:lnTo>
                    <a:pt x="174" y="165"/>
                  </a:lnTo>
                  <a:lnTo>
                    <a:pt x="174" y="164"/>
                  </a:lnTo>
                  <a:lnTo>
                    <a:pt x="174" y="165"/>
                  </a:lnTo>
                  <a:lnTo>
                    <a:pt x="175" y="164"/>
                  </a:lnTo>
                  <a:lnTo>
                    <a:pt x="176" y="164"/>
                  </a:lnTo>
                  <a:lnTo>
                    <a:pt x="177" y="164"/>
                  </a:lnTo>
                  <a:lnTo>
                    <a:pt x="179" y="164"/>
                  </a:lnTo>
                  <a:lnTo>
                    <a:pt x="179" y="165"/>
                  </a:lnTo>
                  <a:lnTo>
                    <a:pt x="177" y="165"/>
                  </a:lnTo>
                  <a:lnTo>
                    <a:pt x="176" y="165"/>
                  </a:lnTo>
                  <a:lnTo>
                    <a:pt x="176" y="166"/>
                  </a:lnTo>
                  <a:lnTo>
                    <a:pt x="175" y="166"/>
                  </a:lnTo>
                  <a:lnTo>
                    <a:pt x="175" y="165"/>
                  </a:lnTo>
                  <a:lnTo>
                    <a:pt x="174" y="165"/>
                  </a:lnTo>
                  <a:lnTo>
                    <a:pt x="174" y="166"/>
                  </a:lnTo>
                  <a:lnTo>
                    <a:pt x="174" y="165"/>
                  </a:lnTo>
                  <a:lnTo>
                    <a:pt x="173" y="165"/>
                  </a:lnTo>
                  <a:lnTo>
                    <a:pt x="173" y="166"/>
                  </a:lnTo>
                  <a:lnTo>
                    <a:pt x="173" y="167"/>
                  </a:lnTo>
                  <a:lnTo>
                    <a:pt x="173" y="168"/>
                  </a:lnTo>
                  <a:lnTo>
                    <a:pt x="174" y="168"/>
                  </a:lnTo>
                  <a:lnTo>
                    <a:pt x="175" y="168"/>
                  </a:lnTo>
                  <a:lnTo>
                    <a:pt x="176" y="168"/>
                  </a:lnTo>
                  <a:lnTo>
                    <a:pt x="177" y="168"/>
                  </a:lnTo>
                  <a:lnTo>
                    <a:pt x="179" y="168"/>
                  </a:lnTo>
                  <a:lnTo>
                    <a:pt x="180" y="167"/>
                  </a:lnTo>
                  <a:lnTo>
                    <a:pt x="180" y="168"/>
                  </a:lnTo>
                  <a:lnTo>
                    <a:pt x="181" y="168"/>
                  </a:lnTo>
                  <a:lnTo>
                    <a:pt x="182" y="167"/>
                  </a:lnTo>
                  <a:lnTo>
                    <a:pt x="183" y="167"/>
                  </a:lnTo>
                  <a:lnTo>
                    <a:pt x="182" y="167"/>
                  </a:lnTo>
                  <a:lnTo>
                    <a:pt x="182" y="168"/>
                  </a:lnTo>
                  <a:lnTo>
                    <a:pt x="183" y="168"/>
                  </a:lnTo>
                  <a:lnTo>
                    <a:pt x="185" y="168"/>
                  </a:lnTo>
                  <a:lnTo>
                    <a:pt x="185" y="170"/>
                  </a:lnTo>
                  <a:lnTo>
                    <a:pt x="183" y="170"/>
                  </a:lnTo>
                  <a:lnTo>
                    <a:pt x="185" y="170"/>
                  </a:lnTo>
                  <a:lnTo>
                    <a:pt x="185" y="171"/>
                  </a:lnTo>
                  <a:lnTo>
                    <a:pt x="185" y="170"/>
                  </a:lnTo>
                  <a:lnTo>
                    <a:pt x="186" y="170"/>
                  </a:lnTo>
                  <a:lnTo>
                    <a:pt x="187" y="170"/>
                  </a:lnTo>
                  <a:lnTo>
                    <a:pt x="186" y="170"/>
                  </a:lnTo>
                  <a:lnTo>
                    <a:pt x="186" y="171"/>
                  </a:lnTo>
                  <a:lnTo>
                    <a:pt x="187" y="171"/>
                  </a:lnTo>
                  <a:lnTo>
                    <a:pt x="186" y="171"/>
                  </a:lnTo>
                  <a:lnTo>
                    <a:pt x="185" y="171"/>
                  </a:lnTo>
                  <a:lnTo>
                    <a:pt x="185" y="172"/>
                  </a:lnTo>
                  <a:lnTo>
                    <a:pt x="185" y="173"/>
                  </a:lnTo>
                  <a:lnTo>
                    <a:pt x="183" y="173"/>
                  </a:lnTo>
                  <a:lnTo>
                    <a:pt x="183" y="172"/>
                  </a:lnTo>
                  <a:lnTo>
                    <a:pt x="183" y="173"/>
                  </a:lnTo>
                  <a:lnTo>
                    <a:pt x="183" y="172"/>
                  </a:lnTo>
                  <a:lnTo>
                    <a:pt x="183" y="171"/>
                  </a:lnTo>
                  <a:lnTo>
                    <a:pt x="182" y="171"/>
                  </a:lnTo>
                  <a:lnTo>
                    <a:pt x="182" y="170"/>
                  </a:lnTo>
                  <a:lnTo>
                    <a:pt x="182" y="171"/>
                  </a:lnTo>
                  <a:lnTo>
                    <a:pt x="183" y="171"/>
                  </a:lnTo>
                  <a:lnTo>
                    <a:pt x="183" y="172"/>
                  </a:lnTo>
                  <a:lnTo>
                    <a:pt x="182" y="172"/>
                  </a:lnTo>
                  <a:lnTo>
                    <a:pt x="182" y="173"/>
                  </a:lnTo>
                  <a:lnTo>
                    <a:pt x="183" y="173"/>
                  </a:lnTo>
                  <a:lnTo>
                    <a:pt x="182" y="173"/>
                  </a:lnTo>
                  <a:lnTo>
                    <a:pt x="182" y="174"/>
                  </a:lnTo>
                  <a:lnTo>
                    <a:pt x="182" y="176"/>
                  </a:lnTo>
                  <a:lnTo>
                    <a:pt x="182" y="174"/>
                  </a:lnTo>
                  <a:lnTo>
                    <a:pt x="182" y="172"/>
                  </a:lnTo>
                  <a:lnTo>
                    <a:pt x="182" y="173"/>
                  </a:lnTo>
                  <a:lnTo>
                    <a:pt x="181" y="173"/>
                  </a:lnTo>
                  <a:lnTo>
                    <a:pt x="182" y="173"/>
                  </a:lnTo>
                  <a:lnTo>
                    <a:pt x="181" y="174"/>
                  </a:lnTo>
                  <a:lnTo>
                    <a:pt x="182" y="174"/>
                  </a:lnTo>
                  <a:lnTo>
                    <a:pt x="181" y="174"/>
                  </a:lnTo>
                  <a:lnTo>
                    <a:pt x="181" y="177"/>
                  </a:lnTo>
                  <a:lnTo>
                    <a:pt x="181" y="176"/>
                  </a:lnTo>
                  <a:lnTo>
                    <a:pt x="181" y="173"/>
                  </a:lnTo>
                  <a:lnTo>
                    <a:pt x="180" y="174"/>
                  </a:lnTo>
                  <a:lnTo>
                    <a:pt x="180" y="173"/>
                  </a:lnTo>
                  <a:lnTo>
                    <a:pt x="179" y="173"/>
                  </a:lnTo>
                  <a:lnTo>
                    <a:pt x="179" y="172"/>
                  </a:lnTo>
                  <a:lnTo>
                    <a:pt x="179" y="171"/>
                  </a:lnTo>
                  <a:lnTo>
                    <a:pt x="179" y="172"/>
                  </a:lnTo>
                  <a:lnTo>
                    <a:pt x="177" y="172"/>
                  </a:lnTo>
                  <a:lnTo>
                    <a:pt x="177" y="173"/>
                  </a:lnTo>
                  <a:lnTo>
                    <a:pt x="179" y="173"/>
                  </a:lnTo>
                  <a:lnTo>
                    <a:pt x="179" y="174"/>
                  </a:lnTo>
                  <a:lnTo>
                    <a:pt x="177" y="174"/>
                  </a:lnTo>
                  <a:lnTo>
                    <a:pt x="179" y="174"/>
                  </a:lnTo>
                  <a:lnTo>
                    <a:pt x="177" y="174"/>
                  </a:lnTo>
                  <a:lnTo>
                    <a:pt x="177" y="176"/>
                  </a:lnTo>
                  <a:lnTo>
                    <a:pt x="177" y="174"/>
                  </a:lnTo>
                  <a:lnTo>
                    <a:pt x="176" y="174"/>
                  </a:lnTo>
                  <a:lnTo>
                    <a:pt x="176" y="176"/>
                  </a:lnTo>
                  <a:lnTo>
                    <a:pt x="177" y="176"/>
                  </a:lnTo>
                  <a:lnTo>
                    <a:pt x="177" y="177"/>
                  </a:lnTo>
                  <a:lnTo>
                    <a:pt x="177" y="178"/>
                  </a:lnTo>
                  <a:lnTo>
                    <a:pt x="179" y="179"/>
                  </a:lnTo>
                  <a:lnTo>
                    <a:pt x="180" y="179"/>
                  </a:lnTo>
                  <a:lnTo>
                    <a:pt x="180" y="180"/>
                  </a:lnTo>
                  <a:lnTo>
                    <a:pt x="181" y="180"/>
                  </a:lnTo>
                  <a:lnTo>
                    <a:pt x="182" y="182"/>
                  </a:lnTo>
                  <a:lnTo>
                    <a:pt x="183" y="182"/>
                  </a:lnTo>
                  <a:lnTo>
                    <a:pt x="185" y="180"/>
                  </a:lnTo>
                  <a:lnTo>
                    <a:pt x="185" y="182"/>
                  </a:lnTo>
                  <a:lnTo>
                    <a:pt x="183" y="182"/>
                  </a:lnTo>
                  <a:lnTo>
                    <a:pt x="185" y="182"/>
                  </a:lnTo>
                  <a:lnTo>
                    <a:pt x="186" y="182"/>
                  </a:lnTo>
                  <a:lnTo>
                    <a:pt x="185" y="182"/>
                  </a:lnTo>
                  <a:lnTo>
                    <a:pt x="185" y="183"/>
                  </a:lnTo>
                  <a:lnTo>
                    <a:pt x="185" y="182"/>
                  </a:lnTo>
                  <a:lnTo>
                    <a:pt x="183" y="182"/>
                  </a:lnTo>
                  <a:lnTo>
                    <a:pt x="183" y="183"/>
                  </a:lnTo>
                  <a:lnTo>
                    <a:pt x="185" y="183"/>
                  </a:lnTo>
                  <a:lnTo>
                    <a:pt x="183" y="183"/>
                  </a:lnTo>
                  <a:lnTo>
                    <a:pt x="182" y="183"/>
                  </a:lnTo>
                  <a:lnTo>
                    <a:pt x="182" y="182"/>
                  </a:lnTo>
                  <a:lnTo>
                    <a:pt x="182" y="183"/>
                  </a:lnTo>
                  <a:lnTo>
                    <a:pt x="182" y="184"/>
                  </a:lnTo>
                  <a:lnTo>
                    <a:pt x="183" y="184"/>
                  </a:lnTo>
                  <a:lnTo>
                    <a:pt x="183" y="185"/>
                  </a:lnTo>
                  <a:lnTo>
                    <a:pt x="185" y="184"/>
                  </a:lnTo>
                  <a:lnTo>
                    <a:pt x="186" y="184"/>
                  </a:lnTo>
                  <a:lnTo>
                    <a:pt x="187" y="183"/>
                  </a:lnTo>
                  <a:lnTo>
                    <a:pt x="187" y="184"/>
                  </a:lnTo>
                  <a:lnTo>
                    <a:pt x="188" y="184"/>
                  </a:lnTo>
                  <a:lnTo>
                    <a:pt x="187" y="184"/>
                  </a:lnTo>
                  <a:lnTo>
                    <a:pt x="187" y="185"/>
                  </a:lnTo>
                  <a:lnTo>
                    <a:pt x="186" y="185"/>
                  </a:lnTo>
                  <a:lnTo>
                    <a:pt x="186" y="186"/>
                  </a:lnTo>
                  <a:lnTo>
                    <a:pt x="186" y="185"/>
                  </a:lnTo>
                  <a:lnTo>
                    <a:pt x="185" y="185"/>
                  </a:lnTo>
                  <a:lnTo>
                    <a:pt x="185" y="186"/>
                  </a:lnTo>
                  <a:lnTo>
                    <a:pt x="185" y="185"/>
                  </a:lnTo>
                  <a:lnTo>
                    <a:pt x="183" y="185"/>
                  </a:lnTo>
                  <a:lnTo>
                    <a:pt x="183" y="186"/>
                  </a:lnTo>
                  <a:lnTo>
                    <a:pt x="185" y="188"/>
                  </a:lnTo>
                  <a:lnTo>
                    <a:pt x="186" y="188"/>
                  </a:lnTo>
                  <a:lnTo>
                    <a:pt x="185" y="188"/>
                  </a:lnTo>
                  <a:lnTo>
                    <a:pt x="185" y="189"/>
                  </a:lnTo>
                  <a:lnTo>
                    <a:pt x="186" y="189"/>
                  </a:lnTo>
                  <a:lnTo>
                    <a:pt x="187" y="189"/>
                  </a:lnTo>
                  <a:lnTo>
                    <a:pt x="186" y="189"/>
                  </a:lnTo>
                  <a:lnTo>
                    <a:pt x="185" y="189"/>
                  </a:lnTo>
                  <a:lnTo>
                    <a:pt x="186" y="189"/>
                  </a:lnTo>
                  <a:lnTo>
                    <a:pt x="186" y="190"/>
                  </a:lnTo>
                  <a:lnTo>
                    <a:pt x="185" y="190"/>
                  </a:lnTo>
                  <a:lnTo>
                    <a:pt x="185" y="191"/>
                  </a:lnTo>
                  <a:lnTo>
                    <a:pt x="185" y="190"/>
                  </a:lnTo>
                  <a:lnTo>
                    <a:pt x="183" y="190"/>
                  </a:lnTo>
                  <a:lnTo>
                    <a:pt x="183" y="191"/>
                  </a:lnTo>
                  <a:lnTo>
                    <a:pt x="183" y="194"/>
                  </a:lnTo>
                  <a:lnTo>
                    <a:pt x="182" y="194"/>
                  </a:lnTo>
                  <a:lnTo>
                    <a:pt x="182" y="192"/>
                  </a:lnTo>
                  <a:lnTo>
                    <a:pt x="182" y="194"/>
                  </a:lnTo>
                  <a:lnTo>
                    <a:pt x="182" y="192"/>
                  </a:lnTo>
                  <a:lnTo>
                    <a:pt x="181" y="192"/>
                  </a:lnTo>
                  <a:lnTo>
                    <a:pt x="181" y="191"/>
                  </a:lnTo>
                  <a:lnTo>
                    <a:pt x="181" y="192"/>
                  </a:lnTo>
                  <a:lnTo>
                    <a:pt x="180" y="192"/>
                  </a:lnTo>
                  <a:lnTo>
                    <a:pt x="180" y="191"/>
                  </a:lnTo>
                  <a:lnTo>
                    <a:pt x="180" y="192"/>
                  </a:lnTo>
                  <a:lnTo>
                    <a:pt x="180" y="194"/>
                  </a:lnTo>
                  <a:lnTo>
                    <a:pt x="180" y="195"/>
                  </a:lnTo>
                  <a:lnTo>
                    <a:pt x="180" y="194"/>
                  </a:lnTo>
                  <a:lnTo>
                    <a:pt x="179" y="194"/>
                  </a:lnTo>
                  <a:lnTo>
                    <a:pt x="180" y="195"/>
                  </a:lnTo>
                  <a:lnTo>
                    <a:pt x="179" y="195"/>
                  </a:lnTo>
                  <a:lnTo>
                    <a:pt x="179" y="194"/>
                  </a:lnTo>
                  <a:lnTo>
                    <a:pt x="177" y="194"/>
                  </a:lnTo>
                  <a:lnTo>
                    <a:pt x="177" y="192"/>
                  </a:lnTo>
                  <a:lnTo>
                    <a:pt x="177" y="194"/>
                  </a:lnTo>
                  <a:lnTo>
                    <a:pt x="176" y="194"/>
                  </a:lnTo>
                  <a:lnTo>
                    <a:pt x="176" y="195"/>
                  </a:lnTo>
                  <a:lnTo>
                    <a:pt x="176" y="194"/>
                  </a:lnTo>
                  <a:lnTo>
                    <a:pt x="175" y="194"/>
                  </a:lnTo>
                  <a:lnTo>
                    <a:pt x="175" y="195"/>
                  </a:lnTo>
                  <a:lnTo>
                    <a:pt x="175" y="196"/>
                  </a:lnTo>
                  <a:lnTo>
                    <a:pt x="175" y="195"/>
                  </a:lnTo>
                  <a:lnTo>
                    <a:pt x="174" y="195"/>
                  </a:lnTo>
                  <a:lnTo>
                    <a:pt x="174" y="196"/>
                  </a:lnTo>
                  <a:lnTo>
                    <a:pt x="173" y="197"/>
                  </a:lnTo>
                  <a:lnTo>
                    <a:pt x="174" y="198"/>
                  </a:lnTo>
                  <a:lnTo>
                    <a:pt x="175" y="198"/>
                  </a:lnTo>
                  <a:lnTo>
                    <a:pt x="175" y="197"/>
                  </a:lnTo>
                  <a:lnTo>
                    <a:pt x="175" y="198"/>
                  </a:lnTo>
                  <a:lnTo>
                    <a:pt x="176" y="198"/>
                  </a:lnTo>
                  <a:lnTo>
                    <a:pt x="176" y="197"/>
                  </a:lnTo>
                  <a:lnTo>
                    <a:pt x="177" y="197"/>
                  </a:lnTo>
                  <a:lnTo>
                    <a:pt x="179" y="197"/>
                  </a:lnTo>
                  <a:lnTo>
                    <a:pt x="180" y="197"/>
                  </a:lnTo>
                  <a:lnTo>
                    <a:pt x="179" y="197"/>
                  </a:lnTo>
                  <a:lnTo>
                    <a:pt x="179" y="198"/>
                  </a:lnTo>
                  <a:lnTo>
                    <a:pt x="177" y="198"/>
                  </a:lnTo>
                  <a:lnTo>
                    <a:pt x="176" y="198"/>
                  </a:lnTo>
                  <a:lnTo>
                    <a:pt x="177" y="198"/>
                  </a:lnTo>
                  <a:lnTo>
                    <a:pt x="177" y="200"/>
                  </a:lnTo>
                  <a:lnTo>
                    <a:pt x="176" y="200"/>
                  </a:lnTo>
                  <a:lnTo>
                    <a:pt x="176" y="198"/>
                  </a:lnTo>
                  <a:lnTo>
                    <a:pt x="175" y="198"/>
                  </a:lnTo>
                  <a:lnTo>
                    <a:pt x="175" y="200"/>
                  </a:lnTo>
                  <a:lnTo>
                    <a:pt x="176" y="200"/>
                  </a:lnTo>
                  <a:lnTo>
                    <a:pt x="176" y="201"/>
                  </a:lnTo>
                  <a:lnTo>
                    <a:pt x="175" y="201"/>
                  </a:lnTo>
                  <a:lnTo>
                    <a:pt x="176" y="202"/>
                  </a:lnTo>
                  <a:lnTo>
                    <a:pt x="175" y="202"/>
                  </a:lnTo>
                  <a:lnTo>
                    <a:pt x="175" y="203"/>
                  </a:lnTo>
                  <a:lnTo>
                    <a:pt x="175" y="202"/>
                  </a:lnTo>
                  <a:lnTo>
                    <a:pt x="175" y="201"/>
                  </a:lnTo>
                  <a:lnTo>
                    <a:pt x="175" y="200"/>
                  </a:lnTo>
                  <a:lnTo>
                    <a:pt x="174" y="200"/>
                  </a:lnTo>
                  <a:lnTo>
                    <a:pt x="174" y="198"/>
                  </a:lnTo>
                  <a:lnTo>
                    <a:pt x="174" y="200"/>
                  </a:lnTo>
                  <a:lnTo>
                    <a:pt x="174" y="198"/>
                  </a:lnTo>
                  <a:lnTo>
                    <a:pt x="174" y="200"/>
                  </a:lnTo>
                  <a:lnTo>
                    <a:pt x="174" y="201"/>
                  </a:lnTo>
                  <a:lnTo>
                    <a:pt x="174" y="202"/>
                  </a:lnTo>
                  <a:lnTo>
                    <a:pt x="174" y="203"/>
                  </a:lnTo>
                  <a:lnTo>
                    <a:pt x="173" y="203"/>
                  </a:lnTo>
                  <a:lnTo>
                    <a:pt x="173" y="202"/>
                  </a:lnTo>
                  <a:lnTo>
                    <a:pt x="173" y="201"/>
                  </a:lnTo>
                  <a:lnTo>
                    <a:pt x="173" y="200"/>
                  </a:lnTo>
                  <a:lnTo>
                    <a:pt x="173" y="198"/>
                  </a:lnTo>
                  <a:lnTo>
                    <a:pt x="173" y="200"/>
                  </a:lnTo>
                  <a:lnTo>
                    <a:pt x="173" y="201"/>
                  </a:lnTo>
                  <a:lnTo>
                    <a:pt x="171" y="201"/>
                  </a:lnTo>
                  <a:lnTo>
                    <a:pt x="171" y="202"/>
                  </a:lnTo>
                  <a:lnTo>
                    <a:pt x="173" y="202"/>
                  </a:lnTo>
                  <a:lnTo>
                    <a:pt x="173" y="203"/>
                  </a:lnTo>
                  <a:lnTo>
                    <a:pt x="171" y="203"/>
                  </a:lnTo>
                  <a:lnTo>
                    <a:pt x="171" y="202"/>
                  </a:lnTo>
                  <a:lnTo>
                    <a:pt x="170" y="202"/>
                  </a:lnTo>
                  <a:lnTo>
                    <a:pt x="170" y="203"/>
                  </a:lnTo>
                  <a:lnTo>
                    <a:pt x="171" y="203"/>
                  </a:lnTo>
                  <a:lnTo>
                    <a:pt x="170" y="203"/>
                  </a:lnTo>
                  <a:lnTo>
                    <a:pt x="170" y="204"/>
                  </a:lnTo>
                  <a:lnTo>
                    <a:pt x="170" y="203"/>
                  </a:lnTo>
                  <a:lnTo>
                    <a:pt x="170" y="202"/>
                  </a:lnTo>
                  <a:lnTo>
                    <a:pt x="169" y="202"/>
                  </a:lnTo>
                  <a:lnTo>
                    <a:pt x="169" y="203"/>
                  </a:lnTo>
                  <a:lnTo>
                    <a:pt x="168" y="202"/>
                  </a:lnTo>
                  <a:lnTo>
                    <a:pt x="168" y="203"/>
                  </a:lnTo>
                  <a:lnTo>
                    <a:pt x="168" y="204"/>
                  </a:lnTo>
                  <a:lnTo>
                    <a:pt x="168" y="206"/>
                  </a:lnTo>
                  <a:lnTo>
                    <a:pt x="168" y="207"/>
                  </a:lnTo>
                  <a:lnTo>
                    <a:pt x="168" y="206"/>
                  </a:lnTo>
                  <a:lnTo>
                    <a:pt x="167" y="204"/>
                  </a:lnTo>
                  <a:lnTo>
                    <a:pt x="165" y="204"/>
                  </a:lnTo>
                  <a:lnTo>
                    <a:pt x="165" y="206"/>
                  </a:lnTo>
                  <a:lnTo>
                    <a:pt x="167" y="206"/>
                  </a:lnTo>
                  <a:lnTo>
                    <a:pt x="167" y="207"/>
                  </a:lnTo>
                  <a:lnTo>
                    <a:pt x="165" y="207"/>
                  </a:lnTo>
                  <a:lnTo>
                    <a:pt x="165" y="206"/>
                  </a:lnTo>
                  <a:lnTo>
                    <a:pt x="164" y="206"/>
                  </a:lnTo>
                  <a:lnTo>
                    <a:pt x="164" y="204"/>
                  </a:lnTo>
                  <a:lnTo>
                    <a:pt x="164" y="203"/>
                  </a:lnTo>
                  <a:lnTo>
                    <a:pt x="164" y="202"/>
                  </a:lnTo>
                  <a:lnTo>
                    <a:pt x="163" y="202"/>
                  </a:lnTo>
                  <a:lnTo>
                    <a:pt x="164" y="203"/>
                  </a:lnTo>
                  <a:lnTo>
                    <a:pt x="164" y="204"/>
                  </a:lnTo>
                  <a:lnTo>
                    <a:pt x="164" y="206"/>
                  </a:lnTo>
                  <a:lnTo>
                    <a:pt x="164" y="204"/>
                  </a:lnTo>
                  <a:lnTo>
                    <a:pt x="163" y="204"/>
                  </a:lnTo>
                  <a:lnTo>
                    <a:pt x="163" y="206"/>
                  </a:lnTo>
                  <a:lnTo>
                    <a:pt x="164" y="207"/>
                  </a:lnTo>
                  <a:lnTo>
                    <a:pt x="164" y="208"/>
                  </a:lnTo>
                  <a:lnTo>
                    <a:pt x="163" y="208"/>
                  </a:lnTo>
                  <a:lnTo>
                    <a:pt x="163" y="207"/>
                  </a:lnTo>
                  <a:lnTo>
                    <a:pt x="163" y="208"/>
                  </a:lnTo>
                  <a:lnTo>
                    <a:pt x="162" y="208"/>
                  </a:lnTo>
                  <a:lnTo>
                    <a:pt x="162" y="207"/>
                  </a:lnTo>
                  <a:lnTo>
                    <a:pt x="161" y="207"/>
                  </a:lnTo>
                  <a:lnTo>
                    <a:pt x="161" y="208"/>
                  </a:lnTo>
                  <a:lnTo>
                    <a:pt x="161" y="209"/>
                  </a:lnTo>
                  <a:lnTo>
                    <a:pt x="161" y="208"/>
                  </a:lnTo>
                  <a:lnTo>
                    <a:pt x="161" y="207"/>
                  </a:lnTo>
                  <a:lnTo>
                    <a:pt x="159" y="207"/>
                  </a:lnTo>
                  <a:lnTo>
                    <a:pt x="159" y="206"/>
                  </a:lnTo>
                  <a:lnTo>
                    <a:pt x="159" y="204"/>
                  </a:lnTo>
                  <a:lnTo>
                    <a:pt x="159" y="206"/>
                  </a:lnTo>
                  <a:lnTo>
                    <a:pt x="159" y="207"/>
                  </a:lnTo>
                  <a:lnTo>
                    <a:pt x="158" y="207"/>
                  </a:lnTo>
                  <a:lnTo>
                    <a:pt x="158" y="208"/>
                  </a:lnTo>
                  <a:lnTo>
                    <a:pt x="158" y="207"/>
                  </a:lnTo>
                  <a:lnTo>
                    <a:pt x="158" y="206"/>
                  </a:lnTo>
                  <a:lnTo>
                    <a:pt x="158" y="204"/>
                  </a:lnTo>
                  <a:lnTo>
                    <a:pt x="158" y="206"/>
                  </a:lnTo>
                  <a:lnTo>
                    <a:pt x="158" y="207"/>
                  </a:lnTo>
                  <a:lnTo>
                    <a:pt x="157" y="207"/>
                  </a:lnTo>
                  <a:lnTo>
                    <a:pt x="157" y="206"/>
                  </a:lnTo>
                  <a:lnTo>
                    <a:pt x="157" y="204"/>
                  </a:lnTo>
                  <a:lnTo>
                    <a:pt x="157" y="203"/>
                  </a:lnTo>
                  <a:lnTo>
                    <a:pt x="156" y="202"/>
                  </a:lnTo>
                  <a:lnTo>
                    <a:pt x="156" y="203"/>
                  </a:lnTo>
                  <a:lnTo>
                    <a:pt x="157" y="203"/>
                  </a:lnTo>
                  <a:lnTo>
                    <a:pt x="157" y="204"/>
                  </a:lnTo>
                  <a:lnTo>
                    <a:pt x="156" y="204"/>
                  </a:lnTo>
                  <a:lnTo>
                    <a:pt x="157" y="204"/>
                  </a:lnTo>
                  <a:lnTo>
                    <a:pt x="156" y="204"/>
                  </a:lnTo>
                  <a:lnTo>
                    <a:pt x="157" y="204"/>
                  </a:lnTo>
                  <a:lnTo>
                    <a:pt x="157" y="206"/>
                  </a:lnTo>
                  <a:lnTo>
                    <a:pt x="157" y="207"/>
                  </a:lnTo>
                  <a:lnTo>
                    <a:pt x="157" y="206"/>
                  </a:lnTo>
                  <a:lnTo>
                    <a:pt x="156" y="206"/>
                  </a:lnTo>
                  <a:lnTo>
                    <a:pt x="156" y="207"/>
                  </a:lnTo>
                  <a:lnTo>
                    <a:pt x="156" y="208"/>
                  </a:lnTo>
                  <a:lnTo>
                    <a:pt x="156" y="209"/>
                  </a:lnTo>
                  <a:lnTo>
                    <a:pt x="156" y="210"/>
                  </a:lnTo>
                  <a:lnTo>
                    <a:pt x="156" y="209"/>
                  </a:lnTo>
                  <a:lnTo>
                    <a:pt x="155" y="209"/>
                  </a:lnTo>
                  <a:lnTo>
                    <a:pt x="155" y="210"/>
                  </a:lnTo>
                  <a:lnTo>
                    <a:pt x="155" y="212"/>
                  </a:lnTo>
                  <a:lnTo>
                    <a:pt x="153" y="212"/>
                  </a:lnTo>
                  <a:lnTo>
                    <a:pt x="153" y="210"/>
                  </a:lnTo>
                  <a:lnTo>
                    <a:pt x="153" y="209"/>
                  </a:lnTo>
                  <a:lnTo>
                    <a:pt x="153" y="208"/>
                  </a:lnTo>
                  <a:lnTo>
                    <a:pt x="153" y="207"/>
                  </a:lnTo>
                  <a:lnTo>
                    <a:pt x="153" y="206"/>
                  </a:lnTo>
                  <a:lnTo>
                    <a:pt x="152" y="206"/>
                  </a:lnTo>
                  <a:lnTo>
                    <a:pt x="152" y="208"/>
                  </a:lnTo>
                  <a:lnTo>
                    <a:pt x="152" y="209"/>
                  </a:lnTo>
                  <a:lnTo>
                    <a:pt x="152" y="210"/>
                  </a:lnTo>
                  <a:lnTo>
                    <a:pt x="152" y="212"/>
                  </a:lnTo>
                  <a:lnTo>
                    <a:pt x="152" y="210"/>
                  </a:lnTo>
                  <a:lnTo>
                    <a:pt x="152" y="209"/>
                  </a:lnTo>
                  <a:lnTo>
                    <a:pt x="151" y="208"/>
                  </a:lnTo>
                  <a:lnTo>
                    <a:pt x="151" y="207"/>
                  </a:lnTo>
                  <a:lnTo>
                    <a:pt x="151" y="208"/>
                  </a:lnTo>
                  <a:lnTo>
                    <a:pt x="150" y="208"/>
                  </a:lnTo>
                  <a:lnTo>
                    <a:pt x="150" y="209"/>
                  </a:lnTo>
                  <a:lnTo>
                    <a:pt x="151" y="209"/>
                  </a:lnTo>
                  <a:lnTo>
                    <a:pt x="151" y="210"/>
                  </a:lnTo>
                  <a:lnTo>
                    <a:pt x="151" y="212"/>
                  </a:lnTo>
                  <a:lnTo>
                    <a:pt x="150" y="212"/>
                  </a:lnTo>
                  <a:lnTo>
                    <a:pt x="150" y="210"/>
                  </a:lnTo>
                  <a:lnTo>
                    <a:pt x="150" y="208"/>
                  </a:lnTo>
                  <a:lnTo>
                    <a:pt x="150" y="207"/>
                  </a:lnTo>
                  <a:lnTo>
                    <a:pt x="150" y="206"/>
                  </a:lnTo>
                  <a:lnTo>
                    <a:pt x="150" y="204"/>
                  </a:lnTo>
                  <a:lnTo>
                    <a:pt x="148" y="204"/>
                  </a:lnTo>
                  <a:lnTo>
                    <a:pt x="148" y="203"/>
                  </a:lnTo>
                  <a:lnTo>
                    <a:pt x="148" y="204"/>
                  </a:lnTo>
                  <a:lnTo>
                    <a:pt x="147" y="204"/>
                  </a:lnTo>
                  <a:lnTo>
                    <a:pt x="147" y="206"/>
                  </a:lnTo>
                  <a:lnTo>
                    <a:pt x="147" y="207"/>
                  </a:lnTo>
                  <a:lnTo>
                    <a:pt x="146" y="206"/>
                  </a:lnTo>
                  <a:lnTo>
                    <a:pt x="146" y="204"/>
                  </a:lnTo>
                  <a:lnTo>
                    <a:pt x="146" y="203"/>
                  </a:lnTo>
                  <a:lnTo>
                    <a:pt x="146" y="202"/>
                  </a:lnTo>
                  <a:lnTo>
                    <a:pt x="146" y="201"/>
                  </a:lnTo>
                  <a:lnTo>
                    <a:pt x="146" y="203"/>
                  </a:lnTo>
                  <a:lnTo>
                    <a:pt x="145" y="202"/>
                  </a:lnTo>
                  <a:lnTo>
                    <a:pt x="145" y="201"/>
                  </a:lnTo>
                  <a:lnTo>
                    <a:pt x="145" y="202"/>
                  </a:lnTo>
                  <a:lnTo>
                    <a:pt x="144" y="201"/>
                  </a:lnTo>
                  <a:lnTo>
                    <a:pt x="144" y="200"/>
                  </a:lnTo>
                  <a:lnTo>
                    <a:pt x="144" y="198"/>
                  </a:lnTo>
                  <a:lnTo>
                    <a:pt x="144" y="197"/>
                  </a:lnTo>
                  <a:lnTo>
                    <a:pt x="142" y="197"/>
                  </a:lnTo>
                  <a:lnTo>
                    <a:pt x="142" y="198"/>
                  </a:lnTo>
                  <a:lnTo>
                    <a:pt x="144" y="200"/>
                  </a:lnTo>
                  <a:lnTo>
                    <a:pt x="144" y="201"/>
                  </a:lnTo>
                  <a:lnTo>
                    <a:pt x="144" y="202"/>
                  </a:lnTo>
                  <a:lnTo>
                    <a:pt x="144" y="203"/>
                  </a:lnTo>
                  <a:lnTo>
                    <a:pt x="142" y="203"/>
                  </a:lnTo>
                  <a:lnTo>
                    <a:pt x="142" y="204"/>
                  </a:lnTo>
                  <a:lnTo>
                    <a:pt x="144" y="204"/>
                  </a:lnTo>
                  <a:lnTo>
                    <a:pt x="145" y="204"/>
                  </a:lnTo>
                  <a:lnTo>
                    <a:pt x="146" y="206"/>
                  </a:lnTo>
                  <a:lnTo>
                    <a:pt x="145" y="206"/>
                  </a:lnTo>
                  <a:lnTo>
                    <a:pt x="144" y="206"/>
                  </a:lnTo>
                  <a:lnTo>
                    <a:pt x="144" y="207"/>
                  </a:lnTo>
                  <a:lnTo>
                    <a:pt x="144" y="208"/>
                  </a:lnTo>
                  <a:lnTo>
                    <a:pt x="145" y="209"/>
                  </a:lnTo>
                  <a:lnTo>
                    <a:pt x="145" y="210"/>
                  </a:lnTo>
                  <a:lnTo>
                    <a:pt x="146" y="212"/>
                  </a:lnTo>
                  <a:lnTo>
                    <a:pt x="147" y="212"/>
                  </a:lnTo>
                  <a:lnTo>
                    <a:pt x="148" y="212"/>
                  </a:lnTo>
                  <a:lnTo>
                    <a:pt x="148" y="213"/>
                  </a:lnTo>
                  <a:lnTo>
                    <a:pt x="150" y="213"/>
                  </a:lnTo>
                  <a:lnTo>
                    <a:pt x="151" y="213"/>
                  </a:lnTo>
                  <a:lnTo>
                    <a:pt x="152" y="213"/>
                  </a:lnTo>
                  <a:lnTo>
                    <a:pt x="153" y="213"/>
                  </a:lnTo>
                  <a:lnTo>
                    <a:pt x="155" y="214"/>
                  </a:lnTo>
                  <a:lnTo>
                    <a:pt x="156" y="214"/>
                  </a:lnTo>
                  <a:lnTo>
                    <a:pt x="157" y="214"/>
                  </a:lnTo>
                  <a:lnTo>
                    <a:pt x="158" y="215"/>
                  </a:lnTo>
                  <a:lnTo>
                    <a:pt x="157" y="215"/>
                  </a:lnTo>
                  <a:lnTo>
                    <a:pt x="156" y="214"/>
                  </a:lnTo>
                  <a:lnTo>
                    <a:pt x="156" y="215"/>
                  </a:lnTo>
                  <a:lnTo>
                    <a:pt x="155" y="214"/>
                  </a:lnTo>
                  <a:lnTo>
                    <a:pt x="155" y="215"/>
                  </a:lnTo>
                  <a:lnTo>
                    <a:pt x="156" y="215"/>
                  </a:lnTo>
                  <a:lnTo>
                    <a:pt x="155" y="215"/>
                  </a:lnTo>
                  <a:lnTo>
                    <a:pt x="153" y="215"/>
                  </a:lnTo>
                  <a:lnTo>
                    <a:pt x="153" y="217"/>
                  </a:lnTo>
                  <a:lnTo>
                    <a:pt x="152" y="215"/>
                  </a:lnTo>
                  <a:lnTo>
                    <a:pt x="152" y="217"/>
                  </a:lnTo>
                  <a:lnTo>
                    <a:pt x="153" y="217"/>
                  </a:lnTo>
                  <a:lnTo>
                    <a:pt x="155" y="217"/>
                  </a:lnTo>
                  <a:lnTo>
                    <a:pt x="156" y="217"/>
                  </a:lnTo>
                  <a:lnTo>
                    <a:pt x="157" y="218"/>
                  </a:lnTo>
                  <a:lnTo>
                    <a:pt x="158" y="217"/>
                  </a:lnTo>
                  <a:lnTo>
                    <a:pt x="158" y="218"/>
                  </a:lnTo>
                  <a:lnTo>
                    <a:pt x="159" y="218"/>
                  </a:lnTo>
                  <a:lnTo>
                    <a:pt x="158" y="218"/>
                  </a:lnTo>
                  <a:lnTo>
                    <a:pt x="159" y="219"/>
                  </a:lnTo>
                  <a:lnTo>
                    <a:pt x="161" y="219"/>
                  </a:lnTo>
                  <a:lnTo>
                    <a:pt x="161" y="218"/>
                  </a:lnTo>
                  <a:lnTo>
                    <a:pt x="162" y="218"/>
                  </a:lnTo>
                  <a:lnTo>
                    <a:pt x="163" y="218"/>
                  </a:lnTo>
                  <a:lnTo>
                    <a:pt x="164" y="218"/>
                  </a:lnTo>
                  <a:lnTo>
                    <a:pt x="165" y="218"/>
                  </a:lnTo>
                  <a:lnTo>
                    <a:pt x="167" y="217"/>
                  </a:lnTo>
                  <a:lnTo>
                    <a:pt x="168" y="217"/>
                  </a:lnTo>
                  <a:lnTo>
                    <a:pt x="168" y="215"/>
                  </a:lnTo>
                  <a:lnTo>
                    <a:pt x="168" y="217"/>
                  </a:lnTo>
                  <a:lnTo>
                    <a:pt x="169" y="217"/>
                  </a:lnTo>
                  <a:lnTo>
                    <a:pt x="169" y="215"/>
                  </a:lnTo>
                  <a:lnTo>
                    <a:pt x="170" y="215"/>
                  </a:lnTo>
                  <a:lnTo>
                    <a:pt x="171" y="215"/>
                  </a:lnTo>
                  <a:lnTo>
                    <a:pt x="173" y="215"/>
                  </a:lnTo>
                  <a:lnTo>
                    <a:pt x="171" y="214"/>
                  </a:lnTo>
                  <a:lnTo>
                    <a:pt x="173" y="214"/>
                  </a:lnTo>
                  <a:lnTo>
                    <a:pt x="174" y="214"/>
                  </a:lnTo>
                  <a:lnTo>
                    <a:pt x="175" y="214"/>
                  </a:lnTo>
                  <a:lnTo>
                    <a:pt x="176" y="214"/>
                  </a:lnTo>
                  <a:lnTo>
                    <a:pt x="177" y="214"/>
                  </a:lnTo>
                  <a:lnTo>
                    <a:pt x="179" y="213"/>
                  </a:lnTo>
                  <a:lnTo>
                    <a:pt x="180" y="213"/>
                  </a:lnTo>
                  <a:lnTo>
                    <a:pt x="179" y="213"/>
                  </a:lnTo>
                  <a:lnTo>
                    <a:pt x="179" y="214"/>
                  </a:lnTo>
                  <a:lnTo>
                    <a:pt x="180" y="214"/>
                  </a:lnTo>
                  <a:lnTo>
                    <a:pt x="180" y="213"/>
                  </a:lnTo>
                  <a:lnTo>
                    <a:pt x="180" y="214"/>
                  </a:lnTo>
                  <a:lnTo>
                    <a:pt x="181" y="214"/>
                  </a:lnTo>
                  <a:lnTo>
                    <a:pt x="180" y="214"/>
                  </a:lnTo>
                  <a:lnTo>
                    <a:pt x="179" y="214"/>
                  </a:lnTo>
                  <a:lnTo>
                    <a:pt x="179" y="215"/>
                  </a:lnTo>
                  <a:lnTo>
                    <a:pt x="177" y="215"/>
                  </a:lnTo>
                  <a:lnTo>
                    <a:pt x="177" y="214"/>
                  </a:lnTo>
                  <a:lnTo>
                    <a:pt x="177" y="215"/>
                  </a:lnTo>
                  <a:lnTo>
                    <a:pt x="176" y="214"/>
                  </a:lnTo>
                  <a:lnTo>
                    <a:pt x="176" y="215"/>
                  </a:lnTo>
                  <a:lnTo>
                    <a:pt x="177" y="217"/>
                  </a:lnTo>
                  <a:lnTo>
                    <a:pt x="177" y="218"/>
                  </a:lnTo>
                  <a:lnTo>
                    <a:pt x="176" y="219"/>
                  </a:lnTo>
                  <a:lnTo>
                    <a:pt x="176" y="220"/>
                  </a:lnTo>
                  <a:lnTo>
                    <a:pt x="176" y="219"/>
                  </a:lnTo>
                  <a:lnTo>
                    <a:pt x="176" y="218"/>
                  </a:lnTo>
                  <a:lnTo>
                    <a:pt x="175" y="218"/>
                  </a:lnTo>
                  <a:lnTo>
                    <a:pt x="175" y="219"/>
                  </a:lnTo>
                  <a:lnTo>
                    <a:pt x="176" y="220"/>
                  </a:lnTo>
                  <a:lnTo>
                    <a:pt x="175" y="220"/>
                  </a:lnTo>
                  <a:lnTo>
                    <a:pt x="175" y="221"/>
                  </a:lnTo>
                  <a:lnTo>
                    <a:pt x="174" y="221"/>
                  </a:lnTo>
                  <a:lnTo>
                    <a:pt x="174" y="223"/>
                  </a:lnTo>
                  <a:lnTo>
                    <a:pt x="175" y="221"/>
                  </a:lnTo>
                  <a:lnTo>
                    <a:pt x="176" y="221"/>
                  </a:lnTo>
                  <a:lnTo>
                    <a:pt x="177" y="221"/>
                  </a:lnTo>
                  <a:lnTo>
                    <a:pt x="179" y="221"/>
                  </a:lnTo>
                  <a:lnTo>
                    <a:pt x="179" y="223"/>
                  </a:lnTo>
                  <a:lnTo>
                    <a:pt x="177" y="223"/>
                  </a:lnTo>
                  <a:lnTo>
                    <a:pt x="176" y="223"/>
                  </a:lnTo>
                  <a:lnTo>
                    <a:pt x="176" y="224"/>
                  </a:lnTo>
                  <a:lnTo>
                    <a:pt x="175" y="223"/>
                  </a:lnTo>
                  <a:lnTo>
                    <a:pt x="175" y="224"/>
                  </a:lnTo>
                  <a:lnTo>
                    <a:pt x="176" y="224"/>
                  </a:lnTo>
                  <a:lnTo>
                    <a:pt x="177" y="224"/>
                  </a:lnTo>
                  <a:lnTo>
                    <a:pt x="179" y="224"/>
                  </a:lnTo>
                  <a:lnTo>
                    <a:pt x="180" y="224"/>
                  </a:lnTo>
                  <a:lnTo>
                    <a:pt x="180" y="225"/>
                  </a:lnTo>
                  <a:lnTo>
                    <a:pt x="179" y="225"/>
                  </a:lnTo>
                  <a:lnTo>
                    <a:pt x="180" y="225"/>
                  </a:lnTo>
                  <a:lnTo>
                    <a:pt x="181" y="225"/>
                  </a:lnTo>
                  <a:lnTo>
                    <a:pt x="182" y="224"/>
                  </a:lnTo>
                  <a:lnTo>
                    <a:pt x="183" y="224"/>
                  </a:lnTo>
                  <a:lnTo>
                    <a:pt x="183" y="225"/>
                  </a:lnTo>
                  <a:lnTo>
                    <a:pt x="183" y="224"/>
                  </a:lnTo>
                  <a:lnTo>
                    <a:pt x="185" y="224"/>
                  </a:lnTo>
                  <a:lnTo>
                    <a:pt x="186" y="223"/>
                  </a:lnTo>
                  <a:lnTo>
                    <a:pt x="186" y="224"/>
                  </a:lnTo>
                  <a:lnTo>
                    <a:pt x="187" y="223"/>
                  </a:lnTo>
                  <a:lnTo>
                    <a:pt x="188" y="223"/>
                  </a:lnTo>
                  <a:lnTo>
                    <a:pt x="187" y="224"/>
                  </a:lnTo>
                  <a:lnTo>
                    <a:pt x="187" y="225"/>
                  </a:lnTo>
                  <a:lnTo>
                    <a:pt x="188" y="225"/>
                  </a:lnTo>
                  <a:lnTo>
                    <a:pt x="187" y="225"/>
                  </a:lnTo>
                  <a:lnTo>
                    <a:pt x="186" y="224"/>
                  </a:lnTo>
                  <a:lnTo>
                    <a:pt x="185" y="224"/>
                  </a:lnTo>
                  <a:lnTo>
                    <a:pt x="186" y="225"/>
                  </a:lnTo>
                  <a:lnTo>
                    <a:pt x="186" y="226"/>
                  </a:lnTo>
                  <a:lnTo>
                    <a:pt x="186" y="225"/>
                  </a:lnTo>
                  <a:lnTo>
                    <a:pt x="185" y="225"/>
                  </a:lnTo>
                  <a:lnTo>
                    <a:pt x="183" y="225"/>
                  </a:lnTo>
                  <a:lnTo>
                    <a:pt x="185" y="226"/>
                  </a:lnTo>
                  <a:lnTo>
                    <a:pt x="185" y="227"/>
                  </a:lnTo>
                  <a:lnTo>
                    <a:pt x="186" y="227"/>
                  </a:lnTo>
                  <a:lnTo>
                    <a:pt x="187" y="227"/>
                  </a:lnTo>
                  <a:lnTo>
                    <a:pt x="187" y="226"/>
                  </a:lnTo>
                  <a:lnTo>
                    <a:pt x="187" y="227"/>
                  </a:lnTo>
                  <a:lnTo>
                    <a:pt x="188" y="227"/>
                  </a:lnTo>
                  <a:lnTo>
                    <a:pt x="189" y="227"/>
                  </a:lnTo>
                  <a:lnTo>
                    <a:pt x="188" y="227"/>
                  </a:lnTo>
                  <a:lnTo>
                    <a:pt x="187" y="227"/>
                  </a:lnTo>
                  <a:lnTo>
                    <a:pt x="187" y="229"/>
                  </a:lnTo>
                  <a:lnTo>
                    <a:pt x="188" y="229"/>
                  </a:lnTo>
                  <a:lnTo>
                    <a:pt x="187" y="229"/>
                  </a:lnTo>
                  <a:lnTo>
                    <a:pt x="186" y="227"/>
                  </a:lnTo>
                  <a:lnTo>
                    <a:pt x="186" y="229"/>
                  </a:lnTo>
                  <a:lnTo>
                    <a:pt x="186" y="230"/>
                  </a:lnTo>
                  <a:lnTo>
                    <a:pt x="186" y="229"/>
                  </a:lnTo>
                  <a:lnTo>
                    <a:pt x="185" y="229"/>
                  </a:lnTo>
                  <a:lnTo>
                    <a:pt x="186" y="230"/>
                  </a:lnTo>
                  <a:lnTo>
                    <a:pt x="185" y="230"/>
                  </a:lnTo>
                  <a:lnTo>
                    <a:pt x="185" y="229"/>
                  </a:lnTo>
                  <a:lnTo>
                    <a:pt x="183" y="229"/>
                  </a:lnTo>
                  <a:lnTo>
                    <a:pt x="185" y="230"/>
                  </a:lnTo>
                  <a:lnTo>
                    <a:pt x="183" y="230"/>
                  </a:lnTo>
                  <a:lnTo>
                    <a:pt x="183" y="229"/>
                  </a:lnTo>
                  <a:lnTo>
                    <a:pt x="183" y="230"/>
                  </a:lnTo>
                  <a:lnTo>
                    <a:pt x="183" y="231"/>
                  </a:lnTo>
                  <a:lnTo>
                    <a:pt x="182" y="231"/>
                  </a:lnTo>
                  <a:lnTo>
                    <a:pt x="182" y="232"/>
                  </a:lnTo>
                  <a:lnTo>
                    <a:pt x="182" y="233"/>
                  </a:lnTo>
                  <a:lnTo>
                    <a:pt x="181" y="232"/>
                  </a:lnTo>
                  <a:lnTo>
                    <a:pt x="181" y="233"/>
                  </a:lnTo>
                  <a:lnTo>
                    <a:pt x="182" y="233"/>
                  </a:lnTo>
                  <a:lnTo>
                    <a:pt x="181" y="235"/>
                  </a:lnTo>
                  <a:lnTo>
                    <a:pt x="182" y="235"/>
                  </a:lnTo>
                  <a:lnTo>
                    <a:pt x="183" y="236"/>
                  </a:lnTo>
                  <a:lnTo>
                    <a:pt x="182" y="236"/>
                  </a:lnTo>
                  <a:lnTo>
                    <a:pt x="181" y="235"/>
                  </a:lnTo>
                  <a:lnTo>
                    <a:pt x="181" y="236"/>
                  </a:lnTo>
                  <a:lnTo>
                    <a:pt x="181" y="235"/>
                  </a:lnTo>
                  <a:lnTo>
                    <a:pt x="180" y="235"/>
                  </a:lnTo>
                  <a:lnTo>
                    <a:pt x="180" y="236"/>
                  </a:lnTo>
                  <a:lnTo>
                    <a:pt x="181" y="236"/>
                  </a:lnTo>
                  <a:lnTo>
                    <a:pt x="182" y="236"/>
                  </a:lnTo>
                  <a:lnTo>
                    <a:pt x="183" y="236"/>
                  </a:lnTo>
                  <a:lnTo>
                    <a:pt x="185" y="236"/>
                  </a:lnTo>
                  <a:lnTo>
                    <a:pt x="186" y="236"/>
                  </a:lnTo>
                  <a:lnTo>
                    <a:pt x="187" y="236"/>
                  </a:lnTo>
                  <a:lnTo>
                    <a:pt x="188" y="236"/>
                  </a:lnTo>
                  <a:lnTo>
                    <a:pt x="187" y="237"/>
                  </a:lnTo>
                  <a:lnTo>
                    <a:pt x="186" y="237"/>
                  </a:lnTo>
                  <a:lnTo>
                    <a:pt x="186" y="238"/>
                  </a:lnTo>
                  <a:lnTo>
                    <a:pt x="186" y="237"/>
                  </a:lnTo>
                  <a:lnTo>
                    <a:pt x="185" y="237"/>
                  </a:lnTo>
                  <a:lnTo>
                    <a:pt x="185" y="238"/>
                  </a:lnTo>
                  <a:lnTo>
                    <a:pt x="186" y="238"/>
                  </a:lnTo>
                  <a:lnTo>
                    <a:pt x="186" y="239"/>
                  </a:lnTo>
                  <a:lnTo>
                    <a:pt x="186" y="241"/>
                  </a:lnTo>
                  <a:lnTo>
                    <a:pt x="185" y="242"/>
                  </a:lnTo>
                  <a:lnTo>
                    <a:pt x="185" y="241"/>
                  </a:lnTo>
                  <a:lnTo>
                    <a:pt x="185" y="239"/>
                  </a:lnTo>
                  <a:lnTo>
                    <a:pt x="185" y="238"/>
                  </a:lnTo>
                  <a:lnTo>
                    <a:pt x="183" y="238"/>
                  </a:lnTo>
                  <a:lnTo>
                    <a:pt x="183" y="239"/>
                  </a:lnTo>
                  <a:lnTo>
                    <a:pt x="182" y="239"/>
                  </a:lnTo>
                  <a:lnTo>
                    <a:pt x="182" y="238"/>
                  </a:lnTo>
                  <a:lnTo>
                    <a:pt x="182" y="239"/>
                  </a:lnTo>
                  <a:lnTo>
                    <a:pt x="182" y="241"/>
                  </a:lnTo>
                  <a:lnTo>
                    <a:pt x="183" y="241"/>
                  </a:lnTo>
                  <a:lnTo>
                    <a:pt x="183" y="242"/>
                  </a:lnTo>
                  <a:lnTo>
                    <a:pt x="182" y="242"/>
                  </a:lnTo>
                  <a:lnTo>
                    <a:pt x="183" y="242"/>
                  </a:lnTo>
                  <a:lnTo>
                    <a:pt x="185" y="242"/>
                  </a:lnTo>
                  <a:lnTo>
                    <a:pt x="186" y="242"/>
                  </a:lnTo>
                  <a:lnTo>
                    <a:pt x="186" y="241"/>
                  </a:lnTo>
                  <a:lnTo>
                    <a:pt x="187" y="241"/>
                  </a:lnTo>
                  <a:lnTo>
                    <a:pt x="188" y="241"/>
                  </a:lnTo>
                  <a:lnTo>
                    <a:pt x="189" y="241"/>
                  </a:lnTo>
                  <a:lnTo>
                    <a:pt x="191" y="241"/>
                  </a:lnTo>
                  <a:lnTo>
                    <a:pt x="192" y="241"/>
                  </a:lnTo>
                  <a:lnTo>
                    <a:pt x="192" y="239"/>
                  </a:lnTo>
                  <a:lnTo>
                    <a:pt x="193" y="239"/>
                  </a:lnTo>
                  <a:lnTo>
                    <a:pt x="194" y="239"/>
                  </a:lnTo>
                  <a:lnTo>
                    <a:pt x="194" y="241"/>
                  </a:lnTo>
                  <a:lnTo>
                    <a:pt x="195" y="239"/>
                  </a:lnTo>
                  <a:lnTo>
                    <a:pt x="197" y="239"/>
                  </a:lnTo>
                  <a:lnTo>
                    <a:pt x="197" y="238"/>
                  </a:lnTo>
                  <a:lnTo>
                    <a:pt x="197" y="239"/>
                  </a:lnTo>
                  <a:lnTo>
                    <a:pt x="199" y="239"/>
                  </a:lnTo>
                  <a:lnTo>
                    <a:pt x="198" y="239"/>
                  </a:lnTo>
                  <a:lnTo>
                    <a:pt x="197" y="239"/>
                  </a:lnTo>
                  <a:lnTo>
                    <a:pt x="197" y="241"/>
                  </a:lnTo>
                  <a:lnTo>
                    <a:pt x="198" y="241"/>
                  </a:lnTo>
                  <a:lnTo>
                    <a:pt x="198" y="242"/>
                  </a:lnTo>
                  <a:lnTo>
                    <a:pt x="198" y="241"/>
                  </a:lnTo>
                  <a:lnTo>
                    <a:pt x="197" y="241"/>
                  </a:lnTo>
                  <a:lnTo>
                    <a:pt x="195" y="241"/>
                  </a:lnTo>
                  <a:lnTo>
                    <a:pt x="195" y="242"/>
                  </a:lnTo>
                  <a:lnTo>
                    <a:pt x="195" y="241"/>
                  </a:lnTo>
                  <a:lnTo>
                    <a:pt x="194" y="241"/>
                  </a:lnTo>
                  <a:lnTo>
                    <a:pt x="194" y="242"/>
                  </a:lnTo>
                  <a:lnTo>
                    <a:pt x="195" y="242"/>
                  </a:lnTo>
                  <a:lnTo>
                    <a:pt x="195" y="243"/>
                  </a:lnTo>
                  <a:lnTo>
                    <a:pt x="195" y="244"/>
                  </a:lnTo>
                  <a:lnTo>
                    <a:pt x="194" y="244"/>
                  </a:lnTo>
                  <a:lnTo>
                    <a:pt x="194" y="245"/>
                  </a:lnTo>
                  <a:lnTo>
                    <a:pt x="193" y="244"/>
                  </a:lnTo>
                  <a:lnTo>
                    <a:pt x="193" y="243"/>
                  </a:lnTo>
                  <a:lnTo>
                    <a:pt x="193" y="244"/>
                  </a:lnTo>
                  <a:lnTo>
                    <a:pt x="193" y="243"/>
                  </a:lnTo>
                  <a:lnTo>
                    <a:pt x="192" y="242"/>
                  </a:lnTo>
                  <a:lnTo>
                    <a:pt x="192" y="243"/>
                  </a:lnTo>
                  <a:lnTo>
                    <a:pt x="192" y="242"/>
                  </a:lnTo>
                  <a:lnTo>
                    <a:pt x="191" y="242"/>
                  </a:lnTo>
                  <a:lnTo>
                    <a:pt x="192" y="243"/>
                  </a:lnTo>
                  <a:lnTo>
                    <a:pt x="192" y="244"/>
                  </a:lnTo>
                  <a:lnTo>
                    <a:pt x="191" y="243"/>
                  </a:lnTo>
                  <a:lnTo>
                    <a:pt x="191" y="244"/>
                  </a:lnTo>
                  <a:lnTo>
                    <a:pt x="192" y="245"/>
                  </a:lnTo>
                  <a:lnTo>
                    <a:pt x="192" y="247"/>
                  </a:lnTo>
                  <a:lnTo>
                    <a:pt x="191" y="247"/>
                  </a:lnTo>
                  <a:lnTo>
                    <a:pt x="191" y="245"/>
                  </a:lnTo>
                  <a:lnTo>
                    <a:pt x="191" y="244"/>
                  </a:lnTo>
                  <a:lnTo>
                    <a:pt x="189" y="244"/>
                  </a:lnTo>
                  <a:lnTo>
                    <a:pt x="189" y="245"/>
                  </a:lnTo>
                  <a:lnTo>
                    <a:pt x="188" y="245"/>
                  </a:lnTo>
                  <a:lnTo>
                    <a:pt x="188" y="244"/>
                  </a:lnTo>
                  <a:lnTo>
                    <a:pt x="188" y="245"/>
                  </a:lnTo>
                  <a:lnTo>
                    <a:pt x="189" y="247"/>
                  </a:lnTo>
                  <a:lnTo>
                    <a:pt x="188" y="247"/>
                  </a:lnTo>
                  <a:lnTo>
                    <a:pt x="188" y="245"/>
                  </a:lnTo>
                  <a:lnTo>
                    <a:pt x="188" y="247"/>
                  </a:lnTo>
                  <a:lnTo>
                    <a:pt x="188" y="248"/>
                  </a:lnTo>
                  <a:lnTo>
                    <a:pt x="189" y="248"/>
                  </a:lnTo>
                  <a:lnTo>
                    <a:pt x="191" y="249"/>
                  </a:lnTo>
                  <a:lnTo>
                    <a:pt x="192" y="249"/>
                  </a:lnTo>
                  <a:lnTo>
                    <a:pt x="191" y="249"/>
                  </a:lnTo>
                  <a:lnTo>
                    <a:pt x="191" y="250"/>
                  </a:lnTo>
                  <a:lnTo>
                    <a:pt x="189" y="250"/>
                  </a:lnTo>
                  <a:lnTo>
                    <a:pt x="189" y="249"/>
                  </a:lnTo>
                  <a:lnTo>
                    <a:pt x="188" y="249"/>
                  </a:lnTo>
                  <a:lnTo>
                    <a:pt x="189" y="249"/>
                  </a:lnTo>
                  <a:lnTo>
                    <a:pt x="189" y="250"/>
                  </a:lnTo>
                  <a:lnTo>
                    <a:pt x="188" y="250"/>
                  </a:lnTo>
                  <a:lnTo>
                    <a:pt x="187" y="250"/>
                  </a:lnTo>
                  <a:lnTo>
                    <a:pt x="187" y="249"/>
                  </a:lnTo>
                  <a:lnTo>
                    <a:pt x="188" y="249"/>
                  </a:lnTo>
                  <a:lnTo>
                    <a:pt x="187" y="248"/>
                  </a:lnTo>
                  <a:lnTo>
                    <a:pt x="187" y="249"/>
                  </a:lnTo>
                  <a:lnTo>
                    <a:pt x="187" y="248"/>
                  </a:lnTo>
                  <a:lnTo>
                    <a:pt x="186" y="248"/>
                  </a:lnTo>
                  <a:lnTo>
                    <a:pt x="186" y="249"/>
                  </a:lnTo>
                  <a:lnTo>
                    <a:pt x="186" y="248"/>
                  </a:lnTo>
                  <a:lnTo>
                    <a:pt x="186" y="247"/>
                  </a:lnTo>
                  <a:lnTo>
                    <a:pt x="186" y="245"/>
                  </a:lnTo>
                  <a:lnTo>
                    <a:pt x="185" y="247"/>
                  </a:lnTo>
                  <a:lnTo>
                    <a:pt x="185" y="248"/>
                  </a:lnTo>
                  <a:lnTo>
                    <a:pt x="185" y="249"/>
                  </a:lnTo>
                  <a:lnTo>
                    <a:pt x="186" y="249"/>
                  </a:lnTo>
                  <a:lnTo>
                    <a:pt x="185" y="250"/>
                  </a:lnTo>
                  <a:lnTo>
                    <a:pt x="186" y="250"/>
                  </a:lnTo>
                  <a:lnTo>
                    <a:pt x="187" y="251"/>
                  </a:lnTo>
                  <a:lnTo>
                    <a:pt x="188" y="251"/>
                  </a:lnTo>
                  <a:lnTo>
                    <a:pt x="189" y="251"/>
                  </a:lnTo>
                  <a:lnTo>
                    <a:pt x="191" y="251"/>
                  </a:lnTo>
                  <a:lnTo>
                    <a:pt x="191" y="253"/>
                  </a:lnTo>
                  <a:lnTo>
                    <a:pt x="189" y="253"/>
                  </a:lnTo>
                  <a:lnTo>
                    <a:pt x="188" y="251"/>
                  </a:lnTo>
                  <a:lnTo>
                    <a:pt x="188" y="253"/>
                  </a:lnTo>
                  <a:lnTo>
                    <a:pt x="188" y="254"/>
                  </a:lnTo>
                  <a:lnTo>
                    <a:pt x="187" y="253"/>
                  </a:lnTo>
                  <a:lnTo>
                    <a:pt x="187" y="251"/>
                  </a:lnTo>
                  <a:lnTo>
                    <a:pt x="186" y="251"/>
                  </a:lnTo>
                  <a:lnTo>
                    <a:pt x="186" y="253"/>
                  </a:lnTo>
                  <a:lnTo>
                    <a:pt x="186" y="254"/>
                  </a:lnTo>
                  <a:lnTo>
                    <a:pt x="186" y="255"/>
                  </a:lnTo>
                  <a:lnTo>
                    <a:pt x="186" y="254"/>
                  </a:lnTo>
                  <a:lnTo>
                    <a:pt x="186" y="253"/>
                  </a:lnTo>
                  <a:lnTo>
                    <a:pt x="186" y="254"/>
                  </a:lnTo>
                  <a:lnTo>
                    <a:pt x="185" y="253"/>
                  </a:lnTo>
                  <a:lnTo>
                    <a:pt x="185" y="251"/>
                  </a:lnTo>
                  <a:lnTo>
                    <a:pt x="185" y="253"/>
                  </a:lnTo>
                  <a:lnTo>
                    <a:pt x="185" y="254"/>
                  </a:lnTo>
                  <a:lnTo>
                    <a:pt x="185" y="253"/>
                  </a:lnTo>
                  <a:lnTo>
                    <a:pt x="183" y="253"/>
                  </a:lnTo>
                  <a:lnTo>
                    <a:pt x="183" y="251"/>
                  </a:lnTo>
                  <a:lnTo>
                    <a:pt x="183" y="253"/>
                  </a:lnTo>
                  <a:lnTo>
                    <a:pt x="183" y="254"/>
                  </a:lnTo>
                  <a:lnTo>
                    <a:pt x="183" y="255"/>
                  </a:lnTo>
                  <a:lnTo>
                    <a:pt x="183" y="256"/>
                  </a:lnTo>
                  <a:lnTo>
                    <a:pt x="183" y="257"/>
                  </a:lnTo>
                  <a:lnTo>
                    <a:pt x="185" y="259"/>
                  </a:lnTo>
                  <a:lnTo>
                    <a:pt x="183" y="257"/>
                  </a:lnTo>
                  <a:lnTo>
                    <a:pt x="183" y="259"/>
                  </a:lnTo>
                  <a:lnTo>
                    <a:pt x="185" y="259"/>
                  </a:lnTo>
                  <a:lnTo>
                    <a:pt x="186" y="259"/>
                  </a:lnTo>
                  <a:lnTo>
                    <a:pt x="187" y="259"/>
                  </a:lnTo>
                  <a:lnTo>
                    <a:pt x="187" y="257"/>
                  </a:lnTo>
                  <a:lnTo>
                    <a:pt x="188" y="257"/>
                  </a:lnTo>
                  <a:lnTo>
                    <a:pt x="189" y="256"/>
                  </a:lnTo>
                  <a:lnTo>
                    <a:pt x="191" y="256"/>
                  </a:lnTo>
                  <a:lnTo>
                    <a:pt x="191" y="255"/>
                  </a:lnTo>
                  <a:lnTo>
                    <a:pt x="192" y="255"/>
                  </a:lnTo>
                  <a:lnTo>
                    <a:pt x="192" y="254"/>
                  </a:lnTo>
                  <a:lnTo>
                    <a:pt x="192" y="255"/>
                  </a:lnTo>
                  <a:lnTo>
                    <a:pt x="193" y="255"/>
                  </a:lnTo>
                  <a:lnTo>
                    <a:pt x="193" y="256"/>
                  </a:lnTo>
                  <a:lnTo>
                    <a:pt x="192" y="256"/>
                  </a:lnTo>
                  <a:lnTo>
                    <a:pt x="191" y="257"/>
                  </a:lnTo>
                  <a:lnTo>
                    <a:pt x="191" y="259"/>
                  </a:lnTo>
                  <a:lnTo>
                    <a:pt x="192" y="259"/>
                  </a:lnTo>
                  <a:lnTo>
                    <a:pt x="192" y="257"/>
                  </a:lnTo>
                  <a:lnTo>
                    <a:pt x="193" y="257"/>
                  </a:lnTo>
                  <a:lnTo>
                    <a:pt x="194" y="257"/>
                  </a:lnTo>
                  <a:lnTo>
                    <a:pt x="195" y="257"/>
                  </a:lnTo>
                  <a:lnTo>
                    <a:pt x="195" y="256"/>
                  </a:lnTo>
                  <a:lnTo>
                    <a:pt x="197" y="256"/>
                  </a:lnTo>
                  <a:lnTo>
                    <a:pt x="198" y="255"/>
                  </a:lnTo>
                  <a:lnTo>
                    <a:pt x="199" y="254"/>
                  </a:lnTo>
                  <a:lnTo>
                    <a:pt x="201" y="253"/>
                  </a:lnTo>
                  <a:lnTo>
                    <a:pt x="203" y="253"/>
                  </a:lnTo>
                  <a:lnTo>
                    <a:pt x="203" y="251"/>
                  </a:lnTo>
                  <a:lnTo>
                    <a:pt x="204" y="251"/>
                  </a:lnTo>
                  <a:lnTo>
                    <a:pt x="205" y="251"/>
                  </a:lnTo>
                  <a:lnTo>
                    <a:pt x="206" y="250"/>
                  </a:lnTo>
                  <a:lnTo>
                    <a:pt x="206" y="251"/>
                  </a:lnTo>
                  <a:lnTo>
                    <a:pt x="205" y="251"/>
                  </a:lnTo>
                  <a:lnTo>
                    <a:pt x="205" y="253"/>
                  </a:lnTo>
                  <a:lnTo>
                    <a:pt x="204" y="251"/>
                  </a:lnTo>
                  <a:lnTo>
                    <a:pt x="204" y="253"/>
                  </a:lnTo>
                  <a:lnTo>
                    <a:pt x="205" y="253"/>
                  </a:lnTo>
                  <a:lnTo>
                    <a:pt x="204" y="253"/>
                  </a:lnTo>
                  <a:lnTo>
                    <a:pt x="203" y="254"/>
                  </a:lnTo>
                  <a:lnTo>
                    <a:pt x="204" y="254"/>
                  </a:lnTo>
                  <a:lnTo>
                    <a:pt x="203" y="254"/>
                  </a:lnTo>
                  <a:lnTo>
                    <a:pt x="203" y="255"/>
                  </a:lnTo>
                  <a:lnTo>
                    <a:pt x="201" y="254"/>
                  </a:lnTo>
                  <a:lnTo>
                    <a:pt x="201" y="255"/>
                  </a:lnTo>
                  <a:lnTo>
                    <a:pt x="201" y="256"/>
                  </a:lnTo>
                  <a:lnTo>
                    <a:pt x="203" y="256"/>
                  </a:lnTo>
                  <a:lnTo>
                    <a:pt x="201" y="256"/>
                  </a:lnTo>
                  <a:lnTo>
                    <a:pt x="200" y="256"/>
                  </a:lnTo>
                  <a:lnTo>
                    <a:pt x="200" y="255"/>
                  </a:lnTo>
                  <a:lnTo>
                    <a:pt x="200" y="256"/>
                  </a:lnTo>
                  <a:lnTo>
                    <a:pt x="200" y="257"/>
                  </a:lnTo>
                  <a:lnTo>
                    <a:pt x="200" y="256"/>
                  </a:lnTo>
                  <a:lnTo>
                    <a:pt x="199" y="256"/>
                  </a:lnTo>
                  <a:lnTo>
                    <a:pt x="200" y="257"/>
                  </a:lnTo>
                  <a:lnTo>
                    <a:pt x="200" y="259"/>
                  </a:lnTo>
                  <a:lnTo>
                    <a:pt x="200" y="260"/>
                  </a:lnTo>
                  <a:lnTo>
                    <a:pt x="200" y="261"/>
                  </a:lnTo>
                  <a:lnTo>
                    <a:pt x="200" y="260"/>
                  </a:lnTo>
                  <a:lnTo>
                    <a:pt x="199" y="260"/>
                  </a:lnTo>
                  <a:lnTo>
                    <a:pt x="199" y="259"/>
                  </a:lnTo>
                  <a:lnTo>
                    <a:pt x="199" y="260"/>
                  </a:lnTo>
                  <a:lnTo>
                    <a:pt x="199" y="261"/>
                  </a:lnTo>
                  <a:lnTo>
                    <a:pt x="199" y="262"/>
                  </a:lnTo>
                  <a:lnTo>
                    <a:pt x="199" y="261"/>
                  </a:lnTo>
                  <a:lnTo>
                    <a:pt x="198" y="261"/>
                  </a:lnTo>
                  <a:lnTo>
                    <a:pt x="198" y="262"/>
                  </a:lnTo>
                  <a:lnTo>
                    <a:pt x="198" y="263"/>
                  </a:lnTo>
                  <a:lnTo>
                    <a:pt x="197" y="263"/>
                  </a:lnTo>
                  <a:lnTo>
                    <a:pt x="197" y="262"/>
                  </a:lnTo>
                  <a:lnTo>
                    <a:pt x="197" y="261"/>
                  </a:lnTo>
                  <a:lnTo>
                    <a:pt x="197" y="262"/>
                  </a:lnTo>
                  <a:lnTo>
                    <a:pt x="195" y="261"/>
                  </a:lnTo>
                  <a:lnTo>
                    <a:pt x="195" y="262"/>
                  </a:lnTo>
                  <a:lnTo>
                    <a:pt x="195" y="263"/>
                  </a:lnTo>
                  <a:lnTo>
                    <a:pt x="195" y="265"/>
                  </a:lnTo>
                  <a:lnTo>
                    <a:pt x="195" y="266"/>
                  </a:lnTo>
                  <a:lnTo>
                    <a:pt x="194" y="266"/>
                  </a:lnTo>
                  <a:lnTo>
                    <a:pt x="194" y="265"/>
                  </a:lnTo>
                  <a:lnTo>
                    <a:pt x="194" y="263"/>
                  </a:lnTo>
                  <a:lnTo>
                    <a:pt x="194" y="265"/>
                  </a:lnTo>
                  <a:lnTo>
                    <a:pt x="194" y="263"/>
                  </a:lnTo>
                  <a:lnTo>
                    <a:pt x="193" y="263"/>
                  </a:lnTo>
                  <a:lnTo>
                    <a:pt x="193" y="265"/>
                  </a:lnTo>
                  <a:lnTo>
                    <a:pt x="193" y="263"/>
                  </a:lnTo>
                  <a:lnTo>
                    <a:pt x="192" y="263"/>
                  </a:lnTo>
                  <a:lnTo>
                    <a:pt x="192" y="265"/>
                  </a:lnTo>
                  <a:lnTo>
                    <a:pt x="193" y="265"/>
                  </a:lnTo>
                  <a:lnTo>
                    <a:pt x="193" y="266"/>
                  </a:lnTo>
                  <a:lnTo>
                    <a:pt x="194" y="266"/>
                  </a:lnTo>
                  <a:lnTo>
                    <a:pt x="195" y="267"/>
                  </a:lnTo>
                  <a:lnTo>
                    <a:pt x="197" y="267"/>
                  </a:lnTo>
                  <a:lnTo>
                    <a:pt x="199" y="267"/>
                  </a:lnTo>
                  <a:lnTo>
                    <a:pt x="198" y="267"/>
                  </a:lnTo>
                  <a:lnTo>
                    <a:pt x="197" y="268"/>
                  </a:lnTo>
                  <a:lnTo>
                    <a:pt x="198" y="268"/>
                  </a:lnTo>
                  <a:lnTo>
                    <a:pt x="199" y="269"/>
                  </a:lnTo>
                  <a:lnTo>
                    <a:pt x="198" y="269"/>
                  </a:lnTo>
                  <a:lnTo>
                    <a:pt x="198" y="268"/>
                  </a:lnTo>
                  <a:lnTo>
                    <a:pt x="198" y="269"/>
                  </a:lnTo>
                  <a:lnTo>
                    <a:pt x="197" y="269"/>
                  </a:lnTo>
                  <a:lnTo>
                    <a:pt x="197" y="268"/>
                  </a:lnTo>
                  <a:lnTo>
                    <a:pt x="197" y="269"/>
                  </a:lnTo>
                  <a:lnTo>
                    <a:pt x="195" y="269"/>
                  </a:lnTo>
                  <a:lnTo>
                    <a:pt x="195" y="268"/>
                  </a:lnTo>
                  <a:lnTo>
                    <a:pt x="194" y="268"/>
                  </a:lnTo>
                  <a:lnTo>
                    <a:pt x="194" y="269"/>
                  </a:lnTo>
                  <a:lnTo>
                    <a:pt x="195" y="269"/>
                  </a:lnTo>
                  <a:lnTo>
                    <a:pt x="195" y="271"/>
                  </a:lnTo>
                  <a:lnTo>
                    <a:pt x="194" y="271"/>
                  </a:lnTo>
                  <a:lnTo>
                    <a:pt x="195" y="272"/>
                  </a:lnTo>
                  <a:lnTo>
                    <a:pt x="194" y="271"/>
                  </a:lnTo>
                  <a:lnTo>
                    <a:pt x="193" y="269"/>
                  </a:lnTo>
                  <a:lnTo>
                    <a:pt x="193" y="268"/>
                  </a:lnTo>
                  <a:lnTo>
                    <a:pt x="192" y="268"/>
                  </a:lnTo>
                  <a:lnTo>
                    <a:pt x="192" y="269"/>
                  </a:lnTo>
                  <a:lnTo>
                    <a:pt x="191" y="269"/>
                  </a:lnTo>
                  <a:lnTo>
                    <a:pt x="192" y="271"/>
                  </a:lnTo>
                  <a:lnTo>
                    <a:pt x="192" y="272"/>
                  </a:lnTo>
                  <a:lnTo>
                    <a:pt x="193" y="272"/>
                  </a:lnTo>
                  <a:lnTo>
                    <a:pt x="194" y="272"/>
                  </a:lnTo>
                  <a:lnTo>
                    <a:pt x="194" y="273"/>
                  </a:lnTo>
                  <a:lnTo>
                    <a:pt x="195" y="274"/>
                  </a:lnTo>
                  <a:lnTo>
                    <a:pt x="194" y="274"/>
                  </a:lnTo>
                  <a:lnTo>
                    <a:pt x="193" y="274"/>
                  </a:lnTo>
                  <a:lnTo>
                    <a:pt x="193" y="273"/>
                  </a:lnTo>
                  <a:lnTo>
                    <a:pt x="193" y="272"/>
                  </a:lnTo>
                  <a:lnTo>
                    <a:pt x="192" y="272"/>
                  </a:lnTo>
                  <a:lnTo>
                    <a:pt x="192" y="273"/>
                  </a:lnTo>
                  <a:lnTo>
                    <a:pt x="193" y="274"/>
                  </a:lnTo>
                  <a:lnTo>
                    <a:pt x="192" y="274"/>
                  </a:lnTo>
                  <a:lnTo>
                    <a:pt x="192" y="273"/>
                  </a:lnTo>
                  <a:lnTo>
                    <a:pt x="192" y="274"/>
                  </a:lnTo>
                  <a:lnTo>
                    <a:pt x="191" y="274"/>
                  </a:lnTo>
                  <a:lnTo>
                    <a:pt x="191" y="273"/>
                  </a:lnTo>
                  <a:lnTo>
                    <a:pt x="191" y="272"/>
                  </a:lnTo>
                  <a:lnTo>
                    <a:pt x="189" y="272"/>
                  </a:lnTo>
                  <a:lnTo>
                    <a:pt x="191" y="271"/>
                  </a:lnTo>
                  <a:lnTo>
                    <a:pt x="189" y="271"/>
                  </a:lnTo>
                  <a:lnTo>
                    <a:pt x="188" y="269"/>
                  </a:lnTo>
                  <a:lnTo>
                    <a:pt x="188" y="271"/>
                  </a:lnTo>
                  <a:lnTo>
                    <a:pt x="188" y="272"/>
                  </a:lnTo>
                  <a:lnTo>
                    <a:pt x="189" y="273"/>
                  </a:lnTo>
                  <a:lnTo>
                    <a:pt x="189" y="274"/>
                  </a:lnTo>
                  <a:lnTo>
                    <a:pt x="189" y="275"/>
                  </a:lnTo>
                  <a:lnTo>
                    <a:pt x="188" y="275"/>
                  </a:lnTo>
                  <a:lnTo>
                    <a:pt x="188" y="274"/>
                  </a:lnTo>
                  <a:lnTo>
                    <a:pt x="188" y="273"/>
                  </a:lnTo>
                  <a:lnTo>
                    <a:pt x="187" y="273"/>
                  </a:lnTo>
                  <a:lnTo>
                    <a:pt x="187" y="274"/>
                  </a:lnTo>
                  <a:lnTo>
                    <a:pt x="187" y="275"/>
                  </a:lnTo>
                  <a:lnTo>
                    <a:pt x="187" y="277"/>
                  </a:lnTo>
                  <a:lnTo>
                    <a:pt x="186" y="277"/>
                  </a:lnTo>
                  <a:lnTo>
                    <a:pt x="186" y="275"/>
                  </a:lnTo>
                  <a:lnTo>
                    <a:pt x="186" y="274"/>
                  </a:lnTo>
                  <a:lnTo>
                    <a:pt x="186" y="272"/>
                  </a:lnTo>
                  <a:lnTo>
                    <a:pt x="186" y="274"/>
                  </a:lnTo>
                  <a:lnTo>
                    <a:pt x="186" y="273"/>
                  </a:lnTo>
                  <a:lnTo>
                    <a:pt x="186" y="272"/>
                  </a:lnTo>
                  <a:lnTo>
                    <a:pt x="185" y="272"/>
                  </a:lnTo>
                  <a:lnTo>
                    <a:pt x="185" y="271"/>
                  </a:lnTo>
                  <a:lnTo>
                    <a:pt x="185" y="269"/>
                  </a:lnTo>
                  <a:lnTo>
                    <a:pt x="185" y="271"/>
                  </a:lnTo>
                  <a:lnTo>
                    <a:pt x="185" y="272"/>
                  </a:lnTo>
                  <a:lnTo>
                    <a:pt x="185" y="273"/>
                  </a:lnTo>
                  <a:lnTo>
                    <a:pt x="185" y="274"/>
                  </a:lnTo>
                  <a:lnTo>
                    <a:pt x="186" y="275"/>
                  </a:lnTo>
                  <a:lnTo>
                    <a:pt x="186" y="277"/>
                  </a:lnTo>
                  <a:lnTo>
                    <a:pt x="185" y="277"/>
                  </a:lnTo>
                  <a:lnTo>
                    <a:pt x="185" y="275"/>
                  </a:lnTo>
                  <a:lnTo>
                    <a:pt x="185" y="274"/>
                  </a:lnTo>
                  <a:lnTo>
                    <a:pt x="183" y="274"/>
                  </a:lnTo>
                  <a:lnTo>
                    <a:pt x="185" y="274"/>
                  </a:lnTo>
                  <a:lnTo>
                    <a:pt x="183" y="273"/>
                  </a:lnTo>
                  <a:lnTo>
                    <a:pt x="183" y="274"/>
                  </a:lnTo>
                  <a:lnTo>
                    <a:pt x="183" y="275"/>
                  </a:lnTo>
                  <a:lnTo>
                    <a:pt x="183" y="274"/>
                  </a:lnTo>
                  <a:lnTo>
                    <a:pt x="183" y="273"/>
                  </a:lnTo>
                  <a:lnTo>
                    <a:pt x="182" y="273"/>
                  </a:lnTo>
                  <a:lnTo>
                    <a:pt x="182" y="272"/>
                  </a:lnTo>
                  <a:lnTo>
                    <a:pt x="182" y="273"/>
                  </a:lnTo>
                  <a:lnTo>
                    <a:pt x="182" y="274"/>
                  </a:lnTo>
                  <a:lnTo>
                    <a:pt x="182" y="275"/>
                  </a:lnTo>
                  <a:lnTo>
                    <a:pt x="182" y="277"/>
                  </a:lnTo>
                  <a:lnTo>
                    <a:pt x="183" y="278"/>
                  </a:lnTo>
                  <a:lnTo>
                    <a:pt x="182" y="278"/>
                  </a:lnTo>
                  <a:lnTo>
                    <a:pt x="182" y="279"/>
                  </a:lnTo>
                  <a:lnTo>
                    <a:pt x="181" y="279"/>
                  </a:lnTo>
                  <a:lnTo>
                    <a:pt x="181" y="278"/>
                  </a:lnTo>
                  <a:lnTo>
                    <a:pt x="180" y="277"/>
                  </a:lnTo>
                  <a:lnTo>
                    <a:pt x="180" y="274"/>
                  </a:lnTo>
                  <a:lnTo>
                    <a:pt x="180" y="273"/>
                  </a:lnTo>
                  <a:lnTo>
                    <a:pt x="180" y="272"/>
                  </a:lnTo>
                  <a:lnTo>
                    <a:pt x="180" y="273"/>
                  </a:lnTo>
                  <a:lnTo>
                    <a:pt x="180" y="274"/>
                  </a:lnTo>
                  <a:lnTo>
                    <a:pt x="180" y="275"/>
                  </a:lnTo>
                  <a:lnTo>
                    <a:pt x="180" y="277"/>
                  </a:lnTo>
                  <a:lnTo>
                    <a:pt x="180" y="278"/>
                  </a:lnTo>
                  <a:lnTo>
                    <a:pt x="181" y="278"/>
                  </a:lnTo>
                  <a:lnTo>
                    <a:pt x="181" y="279"/>
                  </a:lnTo>
                  <a:lnTo>
                    <a:pt x="181" y="280"/>
                  </a:lnTo>
                  <a:lnTo>
                    <a:pt x="181" y="281"/>
                  </a:lnTo>
                  <a:lnTo>
                    <a:pt x="181" y="283"/>
                  </a:lnTo>
                  <a:lnTo>
                    <a:pt x="182" y="284"/>
                  </a:lnTo>
                  <a:lnTo>
                    <a:pt x="183" y="283"/>
                  </a:lnTo>
                  <a:lnTo>
                    <a:pt x="185" y="283"/>
                  </a:lnTo>
                  <a:lnTo>
                    <a:pt x="186" y="281"/>
                  </a:lnTo>
                  <a:lnTo>
                    <a:pt x="187" y="281"/>
                  </a:lnTo>
                  <a:lnTo>
                    <a:pt x="188" y="281"/>
                  </a:lnTo>
                  <a:lnTo>
                    <a:pt x="188" y="283"/>
                  </a:lnTo>
                  <a:lnTo>
                    <a:pt x="187" y="283"/>
                  </a:lnTo>
                  <a:lnTo>
                    <a:pt x="188" y="283"/>
                  </a:lnTo>
                  <a:lnTo>
                    <a:pt x="187" y="284"/>
                  </a:lnTo>
                  <a:lnTo>
                    <a:pt x="187" y="283"/>
                  </a:lnTo>
                  <a:lnTo>
                    <a:pt x="186" y="283"/>
                  </a:lnTo>
                  <a:lnTo>
                    <a:pt x="187" y="284"/>
                  </a:lnTo>
                  <a:lnTo>
                    <a:pt x="186" y="285"/>
                  </a:lnTo>
                  <a:lnTo>
                    <a:pt x="186" y="284"/>
                  </a:lnTo>
                  <a:lnTo>
                    <a:pt x="186" y="285"/>
                  </a:lnTo>
                  <a:lnTo>
                    <a:pt x="186" y="286"/>
                  </a:lnTo>
                  <a:lnTo>
                    <a:pt x="185" y="286"/>
                  </a:lnTo>
                  <a:lnTo>
                    <a:pt x="185" y="287"/>
                  </a:lnTo>
                  <a:lnTo>
                    <a:pt x="183" y="287"/>
                  </a:lnTo>
                  <a:lnTo>
                    <a:pt x="185" y="289"/>
                  </a:lnTo>
                  <a:lnTo>
                    <a:pt x="183" y="289"/>
                  </a:lnTo>
                  <a:lnTo>
                    <a:pt x="182" y="289"/>
                  </a:lnTo>
                  <a:lnTo>
                    <a:pt x="182" y="287"/>
                  </a:lnTo>
                  <a:lnTo>
                    <a:pt x="181" y="287"/>
                  </a:lnTo>
                  <a:lnTo>
                    <a:pt x="182" y="289"/>
                  </a:lnTo>
                  <a:lnTo>
                    <a:pt x="182" y="290"/>
                  </a:lnTo>
                  <a:lnTo>
                    <a:pt x="181" y="290"/>
                  </a:lnTo>
                  <a:lnTo>
                    <a:pt x="180" y="291"/>
                  </a:lnTo>
                  <a:lnTo>
                    <a:pt x="180" y="290"/>
                  </a:lnTo>
                  <a:lnTo>
                    <a:pt x="180" y="291"/>
                  </a:lnTo>
                  <a:lnTo>
                    <a:pt x="179" y="291"/>
                  </a:lnTo>
                  <a:lnTo>
                    <a:pt x="179" y="290"/>
                  </a:lnTo>
                  <a:lnTo>
                    <a:pt x="179" y="291"/>
                  </a:lnTo>
                  <a:lnTo>
                    <a:pt x="177" y="291"/>
                  </a:lnTo>
                  <a:lnTo>
                    <a:pt x="177" y="290"/>
                  </a:lnTo>
                  <a:lnTo>
                    <a:pt x="176" y="290"/>
                  </a:lnTo>
                  <a:lnTo>
                    <a:pt x="175" y="290"/>
                  </a:lnTo>
                  <a:lnTo>
                    <a:pt x="174" y="290"/>
                  </a:lnTo>
                  <a:lnTo>
                    <a:pt x="174" y="291"/>
                  </a:lnTo>
                  <a:lnTo>
                    <a:pt x="173" y="291"/>
                  </a:lnTo>
                  <a:lnTo>
                    <a:pt x="171" y="290"/>
                  </a:lnTo>
                  <a:lnTo>
                    <a:pt x="171" y="291"/>
                  </a:lnTo>
                  <a:lnTo>
                    <a:pt x="170" y="291"/>
                  </a:lnTo>
                  <a:lnTo>
                    <a:pt x="169" y="291"/>
                  </a:lnTo>
                  <a:lnTo>
                    <a:pt x="169" y="292"/>
                  </a:lnTo>
                  <a:lnTo>
                    <a:pt x="168" y="292"/>
                  </a:lnTo>
                  <a:lnTo>
                    <a:pt x="168" y="293"/>
                  </a:lnTo>
                  <a:lnTo>
                    <a:pt x="167" y="293"/>
                  </a:lnTo>
                  <a:lnTo>
                    <a:pt x="168" y="293"/>
                  </a:lnTo>
                  <a:lnTo>
                    <a:pt x="167" y="293"/>
                  </a:lnTo>
                  <a:lnTo>
                    <a:pt x="167" y="295"/>
                  </a:lnTo>
                  <a:lnTo>
                    <a:pt x="167" y="296"/>
                  </a:lnTo>
                  <a:lnTo>
                    <a:pt x="167" y="295"/>
                  </a:lnTo>
                  <a:lnTo>
                    <a:pt x="165" y="295"/>
                  </a:lnTo>
                  <a:lnTo>
                    <a:pt x="165" y="296"/>
                  </a:lnTo>
                  <a:lnTo>
                    <a:pt x="165" y="297"/>
                  </a:lnTo>
                  <a:lnTo>
                    <a:pt x="164" y="296"/>
                  </a:lnTo>
                  <a:lnTo>
                    <a:pt x="164" y="297"/>
                  </a:lnTo>
                  <a:lnTo>
                    <a:pt x="165" y="297"/>
                  </a:lnTo>
                  <a:lnTo>
                    <a:pt x="165" y="298"/>
                  </a:lnTo>
                  <a:lnTo>
                    <a:pt x="164" y="297"/>
                  </a:lnTo>
                  <a:lnTo>
                    <a:pt x="164" y="296"/>
                  </a:lnTo>
                  <a:lnTo>
                    <a:pt x="164" y="297"/>
                  </a:lnTo>
                  <a:lnTo>
                    <a:pt x="164" y="298"/>
                  </a:lnTo>
                  <a:lnTo>
                    <a:pt x="164" y="299"/>
                  </a:lnTo>
                  <a:lnTo>
                    <a:pt x="164" y="301"/>
                  </a:lnTo>
                  <a:lnTo>
                    <a:pt x="165" y="301"/>
                  </a:lnTo>
                  <a:lnTo>
                    <a:pt x="165" y="302"/>
                  </a:lnTo>
                  <a:lnTo>
                    <a:pt x="165" y="303"/>
                  </a:lnTo>
                  <a:lnTo>
                    <a:pt x="167" y="303"/>
                  </a:lnTo>
                  <a:lnTo>
                    <a:pt x="167" y="304"/>
                  </a:lnTo>
                  <a:lnTo>
                    <a:pt x="167" y="305"/>
                  </a:lnTo>
                  <a:lnTo>
                    <a:pt x="167" y="307"/>
                  </a:lnTo>
                  <a:lnTo>
                    <a:pt x="165" y="307"/>
                  </a:lnTo>
                  <a:lnTo>
                    <a:pt x="165" y="308"/>
                  </a:lnTo>
                  <a:lnTo>
                    <a:pt x="165" y="307"/>
                  </a:lnTo>
                  <a:lnTo>
                    <a:pt x="164" y="307"/>
                  </a:lnTo>
                  <a:lnTo>
                    <a:pt x="164" y="305"/>
                  </a:lnTo>
                  <a:lnTo>
                    <a:pt x="163" y="305"/>
                  </a:lnTo>
                  <a:lnTo>
                    <a:pt x="162" y="307"/>
                  </a:lnTo>
                  <a:lnTo>
                    <a:pt x="161" y="307"/>
                  </a:lnTo>
                  <a:lnTo>
                    <a:pt x="161" y="308"/>
                  </a:lnTo>
                  <a:lnTo>
                    <a:pt x="159" y="308"/>
                  </a:lnTo>
                  <a:lnTo>
                    <a:pt x="159" y="309"/>
                  </a:lnTo>
                  <a:lnTo>
                    <a:pt x="158" y="309"/>
                  </a:lnTo>
                  <a:lnTo>
                    <a:pt x="158" y="310"/>
                  </a:lnTo>
                  <a:lnTo>
                    <a:pt x="157" y="310"/>
                  </a:lnTo>
                  <a:lnTo>
                    <a:pt x="157" y="309"/>
                  </a:lnTo>
                  <a:lnTo>
                    <a:pt x="157" y="308"/>
                  </a:lnTo>
                  <a:lnTo>
                    <a:pt x="157" y="307"/>
                  </a:lnTo>
                  <a:lnTo>
                    <a:pt x="157" y="305"/>
                  </a:lnTo>
                  <a:lnTo>
                    <a:pt x="157" y="304"/>
                  </a:lnTo>
                  <a:lnTo>
                    <a:pt x="158" y="304"/>
                  </a:lnTo>
                  <a:lnTo>
                    <a:pt x="157" y="303"/>
                  </a:lnTo>
                  <a:lnTo>
                    <a:pt x="157" y="302"/>
                  </a:lnTo>
                  <a:lnTo>
                    <a:pt x="156" y="302"/>
                  </a:lnTo>
                  <a:lnTo>
                    <a:pt x="155" y="302"/>
                  </a:lnTo>
                  <a:lnTo>
                    <a:pt x="153" y="302"/>
                  </a:lnTo>
                  <a:lnTo>
                    <a:pt x="152" y="302"/>
                  </a:lnTo>
                  <a:lnTo>
                    <a:pt x="151" y="302"/>
                  </a:lnTo>
                  <a:lnTo>
                    <a:pt x="151" y="301"/>
                  </a:lnTo>
                  <a:lnTo>
                    <a:pt x="150" y="301"/>
                  </a:lnTo>
                  <a:lnTo>
                    <a:pt x="150" y="299"/>
                  </a:lnTo>
                  <a:lnTo>
                    <a:pt x="148" y="299"/>
                  </a:lnTo>
                  <a:lnTo>
                    <a:pt x="147" y="299"/>
                  </a:lnTo>
                  <a:lnTo>
                    <a:pt x="147" y="301"/>
                  </a:lnTo>
                  <a:lnTo>
                    <a:pt x="146" y="299"/>
                  </a:lnTo>
                  <a:lnTo>
                    <a:pt x="146" y="298"/>
                  </a:lnTo>
                  <a:lnTo>
                    <a:pt x="146" y="299"/>
                  </a:lnTo>
                  <a:lnTo>
                    <a:pt x="146" y="301"/>
                  </a:lnTo>
                  <a:lnTo>
                    <a:pt x="145" y="301"/>
                  </a:lnTo>
                  <a:lnTo>
                    <a:pt x="144" y="301"/>
                  </a:lnTo>
                  <a:lnTo>
                    <a:pt x="144" y="302"/>
                  </a:lnTo>
                  <a:lnTo>
                    <a:pt x="142" y="302"/>
                  </a:lnTo>
                  <a:lnTo>
                    <a:pt x="142" y="303"/>
                  </a:lnTo>
                  <a:lnTo>
                    <a:pt x="142" y="301"/>
                  </a:lnTo>
                  <a:lnTo>
                    <a:pt x="141" y="302"/>
                  </a:lnTo>
                  <a:lnTo>
                    <a:pt x="141" y="303"/>
                  </a:lnTo>
                  <a:lnTo>
                    <a:pt x="140" y="303"/>
                  </a:lnTo>
                  <a:lnTo>
                    <a:pt x="140" y="302"/>
                  </a:lnTo>
                  <a:lnTo>
                    <a:pt x="140" y="303"/>
                  </a:lnTo>
                  <a:lnTo>
                    <a:pt x="139" y="303"/>
                  </a:lnTo>
                  <a:lnTo>
                    <a:pt x="138" y="303"/>
                  </a:lnTo>
                  <a:lnTo>
                    <a:pt x="136" y="302"/>
                  </a:lnTo>
                  <a:lnTo>
                    <a:pt x="135" y="303"/>
                  </a:lnTo>
                  <a:lnTo>
                    <a:pt x="134" y="304"/>
                  </a:lnTo>
                  <a:lnTo>
                    <a:pt x="133" y="304"/>
                  </a:lnTo>
                  <a:lnTo>
                    <a:pt x="134" y="305"/>
                  </a:lnTo>
                  <a:lnTo>
                    <a:pt x="133" y="305"/>
                  </a:lnTo>
                  <a:lnTo>
                    <a:pt x="133" y="307"/>
                  </a:lnTo>
                  <a:lnTo>
                    <a:pt x="132" y="307"/>
                  </a:lnTo>
                  <a:lnTo>
                    <a:pt x="133" y="308"/>
                  </a:lnTo>
                  <a:lnTo>
                    <a:pt x="132" y="307"/>
                  </a:lnTo>
                  <a:lnTo>
                    <a:pt x="130" y="307"/>
                  </a:lnTo>
                  <a:lnTo>
                    <a:pt x="129" y="305"/>
                  </a:lnTo>
                  <a:lnTo>
                    <a:pt x="128" y="305"/>
                  </a:lnTo>
                  <a:lnTo>
                    <a:pt x="127" y="305"/>
                  </a:lnTo>
                  <a:lnTo>
                    <a:pt x="126" y="305"/>
                  </a:lnTo>
                  <a:lnTo>
                    <a:pt x="124" y="305"/>
                  </a:lnTo>
                  <a:lnTo>
                    <a:pt x="124" y="304"/>
                  </a:lnTo>
                  <a:lnTo>
                    <a:pt x="124" y="303"/>
                  </a:lnTo>
                  <a:lnTo>
                    <a:pt x="123" y="304"/>
                  </a:lnTo>
                  <a:lnTo>
                    <a:pt x="123" y="305"/>
                  </a:lnTo>
                  <a:lnTo>
                    <a:pt x="123" y="307"/>
                  </a:lnTo>
                  <a:lnTo>
                    <a:pt x="123" y="308"/>
                  </a:lnTo>
                  <a:lnTo>
                    <a:pt x="122" y="308"/>
                  </a:lnTo>
                  <a:lnTo>
                    <a:pt x="122" y="309"/>
                  </a:lnTo>
                  <a:lnTo>
                    <a:pt x="122" y="310"/>
                  </a:lnTo>
                  <a:lnTo>
                    <a:pt x="122" y="311"/>
                  </a:lnTo>
                  <a:lnTo>
                    <a:pt x="122" y="313"/>
                  </a:lnTo>
                  <a:lnTo>
                    <a:pt x="121" y="313"/>
                  </a:lnTo>
                  <a:lnTo>
                    <a:pt x="121" y="314"/>
                  </a:lnTo>
                  <a:lnTo>
                    <a:pt x="120" y="314"/>
                  </a:lnTo>
                  <a:lnTo>
                    <a:pt x="120" y="315"/>
                  </a:lnTo>
                  <a:lnTo>
                    <a:pt x="118" y="315"/>
                  </a:lnTo>
                  <a:lnTo>
                    <a:pt x="118" y="314"/>
                  </a:lnTo>
                  <a:lnTo>
                    <a:pt x="118" y="315"/>
                  </a:lnTo>
                  <a:lnTo>
                    <a:pt x="118" y="314"/>
                  </a:lnTo>
                  <a:lnTo>
                    <a:pt x="117" y="314"/>
                  </a:lnTo>
                  <a:lnTo>
                    <a:pt x="116" y="314"/>
                  </a:lnTo>
                  <a:lnTo>
                    <a:pt x="116" y="313"/>
                  </a:lnTo>
                  <a:lnTo>
                    <a:pt x="115" y="313"/>
                  </a:lnTo>
                  <a:lnTo>
                    <a:pt x="115" y="314"/>
                  </a:lnTo>
                  <a:lnTo>
                    <a:pt x="114" y="314"/>
                  </a:lnTo>
                  <a:lnTo>
                    <a:pt x="114" y="315"/>
                  </a:lnTo>
                  <a:lnTo>
                    <a:pt x="114" y="316"/>
                  </a:lnTo>
                  <a:lnTo>
                    <a:pt x="114" y="317"/>
                  </a:lnTo>
                  <a:lnTo>
                    <a:pt x="112" y="317"/>
                  </a:lnTo>
                  <a:lnTo>
                    <a:pt x="112" y="319"/>
                  </a:lnTo>
                  <a:lnTo>
                    <a:pt x="112" y="320"/>
                  </a:lnTo>
                  <a:lnTo>
                    <a:pt x="112" y="322"/>
                  </a:lnTo>
                  <a:lnTo>
                    <a:pt x="112" y="327"/>
                  </a:lnTo>
                  <a:lnTo>
                    <a:pt x="112" y="331"/>
                  </a:lnTo>
                  <a:lnTo>
                    <a:pt x="112" y="334"/>
                  </a:lnTo>
                  <a:lnTo>
                    <a:pt x="112" y="336"/>
                  </a:lnTo>
                  <a:lnTo>
                    <a:pt x="112" y="337"/>
                  </a:lnTo>
                  <a:lnTo>
                    <a:pt x="111" y="338"/>
                  </a:lnTo>
                  <a:lnTo>
                    <a:pt x="110" y="338"/>
                  </a:lnTo>
                  <a:lnTo>
                    <a:pt x="103" y="337"/>
                  </a:lnTo>
                  <a:lnTo>
                    <a:pt x="103" y="331"/>
                  </a:lnTo>
                  <a:lnTo>
                    <a:pt x="103" y="325"/>
                  </a:lnTo>
                  <a:lnTo>
                    <a:pt x="103" y="317"/>
                  </a:lnTo>
                  <a:lnTo>
                    <a:pt x="102" y="316"/>
                  </a:lnTo>
                  <a:lnTo>
                    <a:pt x="102" y="315"/>
                  </a:lnTo>
                  <a:lnTo>
                    <a:pt x="100" y="315"/>
                  </a:lnTo>
                  <a:lnTo>
                    <a:pt x="99" y="315"/>
                  </a:lnTo>
                  <a:lnTo>
                    <a:pt x="99" y="314"/>
                  </a:lnTo>
                  <a:lnTo>
                    <a:pt x="98" y="314"/>
                  </a:lnTo>
                  <a:lnTo>
                    <a:pt x="98" y="313"/>
                  </a:lnTo>
                  <a:lnTo>
                    <a:pt x="99" y="313"/>
                  </a:lnTo>
                  <a:lnTo>
                    <a:pt x="99" y="311"/>
                  </a:lnTo>
                  <a:lnTo>
                    <a:pt x="99" y="310"/>
                  </a:lnTo>
                  <a:lnTo>
                    <a:pt x="99" y="311"/>
                  </a:lnTo>
                  <a:lnTo>
                    <a:pt x="99" y="310"/>
                  </a:lnTo>
                  <a:lnTo>
                    <a:pt x="100" y="310"/>
                  </a:lnTo>
                  <a:lnTo>
                    <a:pt x="99" y="310"/>
                  </a:lnTo>
                  <a:lnTo>
                    <a:pt x="99" y="309"/>
                  </a:lnTo>
                  <a:lnTo>
                    <a:pt x="99" y="308"/>
                  </a:lnTo>
                  <a:lnTo>
                    <a:pt x="98" y="308"/>
                  </a:lnTo>
                  <a:lnTo>
                    <a:pt x="97" y="308"/>
                  </a:lnTo>
                  <a:lnTo>
                    <a:pt x="96" y="308"/>
                  </a:lnTo>
                  <a:lnTo>
                    <a:pt x="96" y="309"/>
                  </a:lnTo>
                  <a:lnTo>
                    <a:pt x="94" y="309"/>
                  </a:lnTo>
                  <a:lnTo>
                    <a:pt x="94" y="308"/>
                  </a:lnTo>
                  <a:lnTo>
                    <a:pt x="94" y="309"/>
                  </a:lnTo>
                  <a:lnTo>
                    <a:pt x="93" y="309"/>
                  </a:lnTo>
                  <a:lnTo>
                    <a:pt x="92" y="310"/>
                  </a:lnTo>
                  <a:lnTo>
                    <a:pt x="91" y="311"/>
                  </a:lnTo>
                  <a:lnTo>
                    <a:pt x="91" y="313"/>
                  </a:lnTo>
                  <a:lnTo>
                    <a:pt x="91" y="311"/>
                  </a:lnTo>
                  <a:lnTo>
                    <a:pt x="89" y="313"/>
                  </a:lnTo>
                  <a:lnTo>
                    <a:pt x="89" y="314"/>
                  </a:lnTo>
                  <a:lnTo>
                    <a:pt x="88" y="314"/>
                  </a:lnTo>
                  <a:lnTo>
                    <a:pt x="87" y="314"/>
                  </a:lnTo>
                  <a:lnTo>
                    <a:pt x="86" y="314"/>
                  </a:lnTo>
                  <a:lnTo>
                    <a:pt x="85" y="313"/>
                  </a:lnTo>
                  <a:lnTo>
                    <a:pt x="83" y="311"/>
                  </a:lnTo>
                  <a:lnTo>
                    <a:pt x="83" y="313"/>
                  </a:lnTo>
                  <a:lnTo>
                    <a:pt x="82" y="313"/>
                  </a:lnTo>
                  <a:lnTo>
                    <a:pt x="81" y="313"/>
                  </a:lnTo>
                  <a:lnTo>
                    <a:pt x="81" y="311"/>
                  </a:lnTo>
                  <a:lnTo>
                    <a:pt x="80" y="311"/>
                  </a:lnTo>
                  <a:lnTo>
                    <a:pt x="80" y="310"/>
                  </a:lnTo>
                  <a:lnTo>
                    <a:pt x="79" y="310"/>
                  </a:lnTo>
                  <a:lnTo>
                    <a:pt x="79" y="309"/>
                  </a:lnTo>
                  <a:lnTo>
                    <a:pt x="77" y="309"/>
                  </a:lnTo>
                  <a:lnTo>
                    <a:pt x="77" y="308"/>
                  </a:lnTo>
                  <a:lnTo>
                    <a:pt x="76" y="307"/>
                  </a:lnTo>
                  <a:lnTo>
                    <a:pt x="76" y="308"/>
                  </a:lnTo>
                  <a:lnTo>
                    <a:pt x="75" y="308"/>
                  </a:lnTo>
                  <a:lnTo>
                    <a:pt x="75" y="307"/>
                  </a:lnTo>
                  <a:lnTo>
                    <a:pt x="75" y="308"/>
                  </a:lnTo>
                  <a:lnTo>
                    <a:pt x="74" y="308"/>
                  </a:lnTo>
                  <a:lnTo>
                    <a:pt x="73" y="308"/>
                  </a:lnTo>
                  <a:lnTo>
                    <a:pt x="71" y="308"/>
                  </a:lnTo>
                  <a:lnTo>
                    <a:pt x="70" y="309"/>
                  </a:lnTo>
                  <a:lnTo>
                    <a:pt x="69" y="310"/>
                  </a:lnTo>
                  <a:lnTo>
                    <a:pt x="69" y="311"/>
                  </a:lnTo>
                  <a:lnTo>
                    <a:pt x="68" y="311"/>
                  </a:lnTo>
                  <a:lnTo>
                    <a:pt x="67" y="311"/>
                  </a:lnTo>
                  <a:lnTo>
                    <a:pt x="65" y="311"/>
                  </a:lnTo>
                  <a:lnTo>
                    <a:pt x="65" y="310"/>
                  </a:lnTo>
                  <a:lnTo>
                    <a:pt x="65" y="309"/>
                  </a:lnTo>
                  <a:lnTo>
                    <a:pt x="65" y="308"/>
                  </a:lnTo>
                  <a:lnTo>
                    <a:pt x="65" y="309"/>
                  </a:lnTo>
                  <a:lnTo>
                    <a:pt x="65" y="310"/>
                  </a:lnTo>
                  <a:lnTo>
                    <a:pt x="64" y="310"/>
                  </a:lnTo>
                  <a:lnTo>
                    <a:pt x="64" y="309"/>
                  </a:lnTo>
                  <a:lnTo>
                    <a:pt x="64" y="308"/>
                  </a:lnTo>
                  <a:lnTo>
                    <a:pt x="64" y="309"/>
                  </a:lnTo>
                  <a:lnTo>
                    <a:pt x="64" y="310"/>
                  </a:lnTo>
                  <a:lnTo>
                    <a:pt x="63" y="310"/>
                  </a:lnTo>
                  <a:lnTo>
                    <a:pt x="63" y="311"/>
                  </a:lnTo>
                  <a:lnTo>
                    <a:pt x="63" y="310"/>
                  </a:lnTo>
                  <a:lnTo>
                    <a:pt x="63" y="309"/>
                  </a:lnTo>
                  <a:lnTo>
                    <a:pt x="62" y="310"/>
                  </a:lnTo>
                  <a:lnTo>
                    <a:pt x="62" y="311"/>
                  </a:lnTo>
                  <a:lnTo>
                    <a:pt x="62" y="310"/>
                  </a:lnTo>
                  <a:lnTo>
                    <a:pt x="62" y="309"/>
                  </a:lnTo>
                  <a:lnTo>
                    <a:pt x="61" y="309"/>
                  </a:lnTo>
                  <a:lnTo>
                    <a:pt x="61" y="310"/>
                  </a:lnTo>
                  <a:lnTo>
                    <a:pt x="59" y="310"/>
                  </a:lnTo>
                  <a:lnTo>
                    <a:pt x="58" y="310"/>
                  </a:lnTo>
                  <a:lnTo>
                    <a:pt x="58" y="311"/>
                  </a:lnTo>
                  <a:lnTo>
                    <a:pt x="58" y="310"/>
                  </a:lnTo>
                  <a:lnTo>
                    <a:pt x="58" y="311"/>
                  </a:lnTo>
                  <a:lnTo>
                    <a:pt x="58" y="313"/>
                  </a:lnTo>
                  <a:lnTo>
                    <a:pt x="57" y="313"/>
                  </a:lnTo>
                  <a:lnTo>
                    <a:pt x="57" y="314"/>
                  </a:lnTo>
                  <a:lnTo>
                    <a:pt x="56" y="314"/>
                  </a:lnTo>
                  <a:lnTo>
                    <a:pt x="56" y="315"/>
                  </a:lnTo>
                  <a:lnTo>
                    <a:pt x="56" y="316"/>
                  </a:lnTo>
                  <a:lnTo>
                    <a:pt x="55" y="316"/>
                  </a:lnTo>
                  <a:lnTo>
                    <a:pt x="55" y="317"/>
                  </a:lnTo>
                  <a:lnTo>
                    <a:pt x="55" y="319"/>
                  </a:lnTo>
                  <a:lnTo>
                    <a:pt x="53" y="319"/>
                  </a:lnTo>
                  <a:lnTo>
                    <a:pt x="53" y="320"/>
                  </a:lnTo>
                  <a:lnTo>
                    <a:pt x="52" y="320"/>
                  </a:lnTo>
                  <a:lnTo>
                    <a:pt x="52" y="319"/>
                  </a:lnTo>
                  <a:lnTo>
                    <a:pt x="52" y="317"/>
                  </a:lnTo>
                  <a:lnTo>
                    <a:pt x="51" y="319"/>
                  </a:lnTo>
                  <a:lnTo>
                    <a:pt x="51" y="320"/>
                  </a:lnTo>
                  <a:lnTo>
                    <a:pt x="51" y="321"/>
                  </a:lnTo>
                  <a:lnTo>
                    <a:pt x="50" y="321"/>
                  </a:lnTo>
                  <a:lnTo>
                    <a:pt x="49" y="321"/>
                  </a:lnTo>
                  <a:lnTo>
                    <a:pt x="49" y="320"/>
                  </a:lnTo>
                  <a:lnTo>
                    <a:pt x="49" y="321"/>
                  </a:lnTo>
                  <a:lnTo>
                    <a:pt x="49" y="320"/>
                  </a:lnTo>
                  <a:lnTo>
                    <a:pt x="47" y="319"/>
                  </a:lnTo>
                  <a:lnTo>
                    <a:pt x="46" y="320"/>
                  </a:lnTo>
                  <a:lnTo>
                    <a:pt x="47" y="320"/>
                  </a:lnTo>
                  <a:lnTo>
                    <a:pt x="47" y="321"/>
                  </a:lnTo>
                  <a:lnTo>
                    <a:pt x="46" y="321"/>
                  </a:lnTo>
                  <a:lnTo>
                    <a:pt x="47" y="321"/>
                  </a:lnTo>
                  <a:lnTo>
                    <a:pt x="47" y="322"/>
                  </a:lnTo>
                  <a:lnTo>
                    <a:pt x="47" y="324"/>
                  </a:lnTo>
                  <a:lnTo>
                    <a:pt x="46" y="324"/>
                  </a:lnTo>
                  <a:lnTo>
                    <a:pt x="46" y="325"/>
                  </a:lnTo>
                  <a:lnTo>
                    <a:pt x="45" y="325"/>
                  </a:lnTo>
                  <a:lnTo>
                    <a:pt x="45" y="326"/>
                  </a:lnTo>
                  <a:lnTo>
                    <a:pt x="44" y="326"/>
                  </a:lnTo>
                  <a:lnTo>
                    <a:pt x="43" y="327"/>
                  </a:lnTo>
                  <a:lnTo>
                    <a:pt x="43" y="326"/>
                  </a:lnTo>
                  <a:lnTo>
                    <a:pt x="43" y="325"/>
                  </a:lnTo>
                  <a:lnTo>
                    <a:pt x="43" y="324"/>
                  </a:lnTo>
                  <a:lnTo>
                    <a:pt x="41" y="324"/>
                  </a:lnTo>
                  <a:lnTo>
                    <a:pt x="40" y="324"/>
                  </a:lnTo>
                  <a:lnTo>
                    <a:pt x="40" y="322"/>
                  </a:lnTo>
                  <a:lnTo>
                    <a:pt x="39" y="322"/>
                  </a:lnTo>
                  <a:lnTo>
                    <a:pt x="39" y="321"/>
                  </a:lnTo>
                  <a:lnTo>
                    <a:pt x="38" y="321"/>
                  </a:lnTo>
                  <a:lnTo>
                    <a:pt x="37" y="321"/>
                  </a:lnTo>
                  <a:lnTo>
                    <a:pt x="35" y="321"/>
                  </a:lnTo>
                  <a:lnTo>
                    <a:pt x="34" y="321"/>
                  </a:lnTo>
                  <a:lnTo>
                    <a:pt x="33" y="321"/>
                  </a:lnTo>
                  <a:lnTo>
                    <a:pt x="33" y="320"/>
                  </a:lnTo>
                  <a:lnTo>
                    <a:pt x="32" y="320"/>
                  </a:lnTo>
                  <a:lnTo>
                    <a:pt x="32" y="319"/>
                  </a:lnTo>
                  <a:lnTo>
                    <a:pt x="31" y="319"/>
                  </a:lnTo>
                  <a:lnTo>
                    <a:pt x="29" y="319"/>
                  </a:lnTo>
                  <a:lnTo>
                    <a:pt x="29" y="317"/>
                  </a:lnTo>
                  <a:lnTo>
                    <a:pt x="29" y="316"/>
                  </a:lnTo>
                  <a:lnTo>
                    <a:pt x="29" y="315"/>
                  </a:lnTo>
                  <a:lnTo>
                    <a:pt x="29" y="316"/>
                  </a:lnTo>
                  <a:lnTo>
                    <a:pt x="29" y="315"/>
                  </a:lnTo>
                  <a:lnTo>
                    <a:pt x="28" y="316"/>
                  </a:lnTo>
                  <a:lnTo>
                    <a:pt x="28" y="315"/>
                  </a:lnTo>
                  <a:lnTo>
                    <a:pt x="28" y="314"/>
                  </a:lnTo>
                  <a:lnTo>
                    <a:pt x="27" y="314"/>
                  </a:lnTo>
                  <a:lnTo>
                    <a:pt x="27" y="313"/>
                  </a:lnTo>
                  <a:lnTo>
                    <a:pt x="26" y="313"/>
                  </a:lnTo>
                  <a:lnTo>
                    <a:pt x="26" y="311"/>
                  </a:lnTo>
                  <a:lnTo>
                    <a:pt x="24" y="311"/>
                  </a:lnTo>
                  <a:lnTo>
                    <a:pt x="24" y="310"/>
                  </a:lnTo>
                  <a:lnTo>
                    <a:pt x="26" y="309"/>
                  </a:lnTo>
                  <a:lnTo>
                    <a:pt x="24" y="309"/>
                  </a:lnTo>
                  <a:lnTo>
                    <a:pt x="24" y="308"/>
                  </a:lnTo>
                  <a:lnTo>
                    <a:pt x="24" y="309"/>
                  </a:lnTo>
                  <a:lnTo>
                    <a:pt x="23" y="309"/>
                  </a:lnTo>
                  <a:lnTo>
                    <a:pt x="23" y="308"/>
                  </a:lnTo>
                  <a:lnTo>
                    <a:pt x="22" y="307"/>
                  </a:lnTo>
                  <a:lnTo>
                    <a:pt x="22" y="308"/>
                  </a:lnTo>
                  <a:lnTo>
                    <a:pt x="21" y="308"/>
                  </a:lnTo>
                  <a:lnTo>
                    <a:pt x="21" y="307"/>
                  </a:lnTo>
                  <a:lnTo>
                    <a:pt x="20" y="307"/>
                  </a:lnTo>
                  <a:lnTo>
                    <a:pt x="18" y="307"/>
                  </a:lnTo>
                  <a:lnTo>
                    <a:pt x="17" y="307"/>
                  </a:lnTo>
                  <a:lnTo>
                    <a:pt x="17" y="305"/>
                  </a:lnTo>
                  <a:lnTo>
                    <a:pt x="17" y="304"/>
                  </a:lnTo>
                  <a:lnTo>
                    <a:pt x="16" y="303"/>
                  </a:lnTo>
                  <a:lnTo>
                    <a:pt x="15" y="303"/>
                  </a:lnTo>
                  <a:lnTo>
                    <a:pt x="14" y="303"/>
                  </a:lnTo>
                  <a:lnTo>
                    <a:pt x="12" y="303"/>
                  </a:lnTo>
                  <a:lnTo>
                    <a:pt x="11" y="303"/>
                  </a:lnTo>
                  <a:lnTo>
                    <a:pt x="11" y="302"/>
                  </a:lnTo>
                  <a:lnTo>
                    <a:pt x="11" y="301"/>
                  </a:lnTo>
                  <a:lnTo>
                    <a:pt x="10" y="301"/>
                  </a:lnTo>
                  <a:lnTo>
                    <a:pt x="10" y="302"/>
                  </a:lnTo>
                  <a:lnTo>
                    <a:pt x="10" y="301"/>
                  </a:lnTo>
                  <a:lnTo>
                    <a:pt x="10" y="299"/>
                  </a:lnTo>
                  <a:lnTo>
                    <a:pt x="9" y="299"/>
                  </a:lnTo>
                  <a:lnTo>
                    <a:pt x="8" y="299"/>
                  </a:lnTo>
                  <a:lnTo>
                    <a:pt x="8" y="298"/>
                  </a:lnTo>
                  <a:lnTo>
                    <a:pt x="6" y="298"/>
                  </a:lnTo>
                  <a:lnTo>
                    <a:pt x="5" y="298"/>
                  </a:lnTo>
                  <a:lnTo>
                    <a:pt x="4" y="298"/>
                  </a:lnTo>
                  <a:lnTo>
                    <a:pt x="4" y="297"/>
                  </a:lnTo>
                  <a:lnTo>
                    <a:pt x="5" y="297"/>
                  </a:lnTo>
                  <a:lnTo>
                    <a:pt x="4" y="297"/>
                  </a:lnTo>
                  <a:lnTo>
                    <a:pt x="4" y="296"/>
                  </a:lnTo>
                  <a:lnTo>
                    <a:pt x="4" y="295"/>
                  </a:lnTo>
                  <a:lnTo>
                    <a:pt x="4" y="293"/>
                  </a:lnTo>
                  <a:lnTo>
                    <a:pt x="4" y="292"/>
                  </a:lnTo>
                  <a:lnTo>
                    <a:pt x="4" y="291"/>
                  </a:lnTo>
                  <a:lnTo>
                    <a:pt x="4" y="290"/>
                  </a:lnTo>
                  <a:lnTo>
                    <a:pt x="4" y="289"/>
                  </a:lnTo>
                  <a:lnTo>
                    <a:pt x="3" y="289"/>
                  </a:lnTo>
                  <a:lnTo>
                    <a:pt x="4" y="289"/>
                  </a:lnTo>
                  <a:lnTo>
                    <a:pt x="3" y="289"/>
                  </a:lnTo>
                  <a:lnTo>
                    <a:pt x="3" y="287"/>
                  </a:lnTo>
                  <a:lnTo>
                    <a:pt x="2" y="287"/>
                  </a:lnTo>
                  <a:lnTo>
                    <a:pt x="0" y="286"/>
                  </a:lnTo>
                  <a:lnTo>
                    <a:pt x="0" y="285"/>
                  </a:lnTo>
                  <a:lnTo>
                    <a:pt x="2" y="285"/>
                  </a:lnTo>
                  <a:lnTo>
                    <a:pt x="3" y="286"/>
                  </a:lnTo>
                  <a:lnTo>
                    <a:pt x="4" y="286"/>
                  </a:lnTo>
                  <a:lnTo>
                    <a:pt x="5" y="287"/>
                  </a:lnTo>
                  <a:lnTo>
                    <a:pt x="6" y="287"/>
                  </a:lnTo>
                  <a:lnTo>
                    <a:pt x="9" y="289"/>
                  </a:lnTo>
                  <a:lnTo>
                    <a:pt x="10" y="289"/>
                  </a:lnTo>
                  <a:lnTo>
                    <a:pt x="11" y="289"/>
                  </a:lnTo>
                  <a:lnTo>
                    <a:pt x="12" y="289"/>
                  </a:lnTo>
                  <a:lnTo>
                    <a:pt x="15" y="290"/>
                  </a:lnTo>
                  <a:lnTo>
                    <a:pt x="16" y="290"/>
                  </a:lnTo>
                  <a:lnTo>
                    <a:pt x="17" y="290"/>
                  </a:lnTo>
                  <a:lnTo>
                    <a:pt x="20" y="289"/>
                  </a:lnTo>
                  <a:lnTo>
                    <a:pt x="21" y="289"/>
                  </a:lnTo>
                  <a:lnTo>
                    <a:pt x="24" y="289"/>
                  </a:lnTo>
                  <a:lnTo>
                    <a:pt x="26" y="287"/>
                  </a:lnTo>
                  <a:lnTo>
                    <a:pt x="26" y="286"/>
                  </a:lnTo>
                  <a:lnTo>
                    <a:pt x="27" y="285"/>
                  </a:lnTo>
                  <a:lnTo>
                    <a:pt x="26" y="285"/>
                  </a:lnTo>
                  <a:lnTo>
                    <a:pt x="24" y="285"/>
                  </a:lnTo>
                  <a:lnTo>
                    <a:pt x="24" y="284"/>
                  </a:lnTo>
                  <a:lnTo>
                    <a:pt x="23" y="284"/>
                  </a:lnTo>
                  <a:lnTo>
                    <a:pt x="22" y="284"/>
                  </a:lnTo>
                  <a:lnTo>
                    <a:pt x="21" y="284"/>
                  </a:lnTo>
                  <a:lnTo>
                    <a:pt x="21" y="283"/>
                  </a:lnTo>
                  <a:lnTo>
                    <a:pt x="21" y="281"/>
                  </a:lnTo>
                  <a:lnTo>
                    <a:pt x="20" y="283"/>
                  </a:lnTo>
                  <a:lnTo>
                    <a:pt x="20" y="281"/>
                  </a:lnTo>
                  <a:lnTo>
                    <a:pt x="20" y="283"/>
                  </a:lnTo>
                  <a:lnTo>
                    <a:pt x="18" y="283"/>
                  </a:lnTo>
                  <a:lnTo>
                    <a:pt x="17" y="281"/>
                  </a:lnTo>
                  <a:lnTo>
                    <a:pt x="17" y="280"/>
                  </a:lnTo>
                  <a:lnTo>
                    <a:pt x="16" y="279"/>
                  </a:lnTo>
                  <a:lnTo>
                    <a:pt x="16" y="278"/>
                  </a:lnTo>
                  <a:lnTo>
                    <a:pt x="15" y="278"/>
                  </a:lnTo>
                  <a:lnTo>
                    <a:pt x="15" y="277"/>
                  </a:lnTo>
                  <a:lnTo>
                    <a:pt x="15" y="275"/>
                  </a:lnTo>
                  <a:lnTo>
                    <a:pt x="16" y="277"/>
                  </a:lnTo>
                  <a:lnTo>
                    <a:pt x="18" y="277"/>
                  </a:lnTo>
                  <a:lnTo>
                    <a:pt x="20" y="277"/>
                  </a:lnTo>
                  <a:lnTo>
                    <a:pt x="21" y="277"/>
                  </a:lnTo>
                  <a:lnTo>
                    <a:pt x="22" y="277"/>
                  </a:lnTo>
                  <a:lnTo>
                    <a:pt x="23" y="275"/>
                  </a:lnTo>
                  <a:lnTo>
                    <a:pt x="23" y="274"/>
                  </a:lnTo>
                  <a:lnTo>
                    <a:pt x="22" y="274"/>
                  </a:lnTo>
                  <a:lnTo>
                    <a:pt x="22" y="273"/>
                  </a:lnTo>
                  <a:lnTo>
                    <a:pt x="21" y="273"/>
                  </a:lnTo>
                  <a:lnTo>
                    <a:pt x="21" y="272"/>
                  </a:lnTo>
                  <a:lnTo>
                    <a:pt x="20" y="272"/>
                  </a:lnTo>
                  <a:lnTo>
                    <a:pt x="18" y="272"/>
                  </a:lnTo>
                  <a:lnTo>
                    <a:pt x="17" y="271"/>
                  </a:lnTo>
                  <a:lnTo>
                    <a:pt x="16" y="271"/>
                  </a:lnTo>
                  <a:lnTo>
                    <a:pt x="16" y="269"/>
                  </a:lnTo>
                  <a:lnTo>
                    <a:pt x="15" y="269"/>
                  </a:lnTo>
                  <a:lnTo>
                    <a:pt x="15" y="268"/>
                  </a:lnTo>
                  <a:lnTo>
                    <a:pt x="14" y="268"/>
                  </a:lnTo>
                  <a:lnTo>
                    <a:pt x="14" y="267"/>
                  </a:lnTo>
                  <a:lnTo>
                    <a:pt x="14" y="266"/>
                  </a:lnTo>
                  <a:lnTo>
                    <a:pt x="14" y="265"/>
                  </a:lnTo>
                  <a:lnTo>
                    <a:pt x="12" y="265"/>
                  </a:lnTo>
                  <a:lnTo>
                    <a:pt x="12" y="263"/>
                  </a:lnTo>
                  <a:lnTo>
                    <a:pt x="14" y="263"/>
                  </a:lnTo>
                  <a:lnTo>
                    <a:pt x="14" y="265"/>
                  </a:lnTo>
                  <a:lnTo>
                    <a:pt x="15" y="265"/>
                  </a:lnTo>
                  <a:lnTo>
                    <a:pt x="14" y="263"/>
                  </a:lnTo>
                  <a:lnTo>
                    <a:pt x="14" y="262"/>
                  </a:lnTo>
                  <a:lnTo>
                    <a:pt x="15" y="262"/>
                  </a:lnTo>
                  <a:lnTo>
                    <a:pt x="14" y="262"/>
                  </a:lnTo>
                  <a:lnTo>
                    <a:pt x="14" y="261"/>
                  </a:lnTo>
                  <a:lnTo>
                    <a:pt x="15" y="261"/>
                  </a:lnTo>
                  <a:lnTo>
                    <a:pt x="14" y="261"/>
                  </a:lnTo>
                  <a:lnTo>
                    <a:pt x="14" y="260"/>
                  </a:lnTo>
                  <a:lnTo>
                    <a:pt x="15" y="260"/>
                  </a:lnTo>
                  <a:lnTo>
                    <a:pt x="16" y="260"/>
                  </a:lnTo>
                  <a:lnTo>
                    <a:pt x="16" y="261"/>
                  </a:lnTo>
                  <a:lnTo>
                    <a:pt x="17" y="261"/>
                  </a:lnTo>
                  <a:lnTo>
                    <a:pt x="17" y="262"/>
                  </a:lnTo>
                  <a:lnTo>
                    <a:pt x="18" y="263"/>
                  </a:lnTo>
                  <a:lnTo>
                    <a:pt x="20" y="263"/>
                  </a:lnTo>
                  <a:lnTo>
                    <a:pt x="21" y="265"/>
                  </a:lnTo>
                  <a:lnTo>
                    <a:pt x="22" y="265"/>
                  </a:lnTo>
                  <a:lnTo>
                    <a:pt x="23" y="265"/>
                  </a:lnTo>
                  <a:lnTo>
                    <a:pt x="22" y="263"/>
                  </a:lnTo>
                  <a:lnTo>
                    <a:pt x="23" y="263"/>
                  </a:lnTo>
                  <a:lnTo>
                    <a:pt x="23" y="262"/>
                  </a:lnTo>
                  <a:lnTo>
                    <a:pt x="22" y="262"/>
                  </a:lnTo>
                  <a:lnTo>
                    <a:pt x="22" y="261"/>
                  </a:lnTo>
                  <a:lnTo>
                    <a:pt x="22" y="260"/>
                  </a:lnTo>
                  <a:lnTo>
                    <a:pt x="23" y="260"/>
                  </a:lnTo>
                  <a:lnTo>
                    <a:pt x="24" y="260"/>
                  </a:lnTo>
                  <a:lnTo>
                    <a:pt x="24" y="261"/>
                  </a:lnTo>
                  <a:lnTo>
                    <a:pt x="26" y="261"/>
                  </a:lnTo>
                  <a:lnTo>
                    <a:pt x="24" y="260"/>
                  </a:lnTo>
                  <a:lnTo>
                    <a:pt x="24" y="259"/>
                  </a:lnTo>
                  <a:lnTo>
                    <a:pt x="26" y="257"/>
                  </a:lnTo>
                  <a:lnTo>
                    <a:pt x="26" y="259"/>
                  </a:lnTo>
                  <a:lnTo>
                    <a:pt x="27" y="259"/>
                  </a:lnTo>
                  <a:lnTo>
                    <a:pt x="27" y="260"/>
                  </a:lnTo>
                  <a:lnTo>
                    <a:pt x="27" y="259"/>
                  </a:lnTo>
                  <a:lnTo>
                    <a:pt x="28" y="260"/>
                  </a:lnTo>
                  <a:lnTo>
                    <a:pt x="27" y="260"/>
                  </a:lnTo>
                  <a:lnTo>
                    <a:pt x="28" y="261"/>
                  </a:lnTo>
                  <a:lnTo>
                    <a:pt x="27" y="261"/>
                  </a:lnTo>
                  <a:lnTo>
                    <a:pt x="28" y="261"/>
                  </a:lnTo>
                  <a:lnTo>
                    <a:pt x="28" y="262"/>
                  </a:lnTo>
                  <a:lnTo>
                    <a:pt x="29" y="262"/>
                  </a:lnTo>
                  <a:lnTo>
                    <a:pt x="28" y="263"/>
                  </a:lnTo>
                  <a:lnTo>
                    <a:pt x="29" y="263"/>
                  </a:lnTo>
                  <a:lnTo>
                    <a:pt x="29" y="265"/>
                  </a:lnTo>
                  <a:lnTo>
                    <a:pt x="31" y="265"/>
                  </a:lnTo>
                  <a:lnTo>
                    <a:pt x="32" y="265"/>
                  </a:lnTo>
                  <a:lnTo>
                    <a:pt x="33" y="265"/>
                  </a:lnTo>
                  <a:lnTo>
                    <a:pt x="34" y="265"/>
                  </a:lnTo>
                  <a:lnTo>
                    <a:pt x="35" y="265"/>
                  </a:lnTo>
                  <a:lnTo>
                    <a:pt x="37" y="265"/>
                  </a:lnTo>
                  <a:lnTo>
                    <a:pt x="38" y="265"/>
                  </a:lnTo>
                  <a:lnTo>
                    <a:pt x="38" y="263"/>
                  </a:lnTo>
                  <a:lnTo>
                    <a:pt x="38" y="262"/>
                  </a:lnTo>
                  <a:lnTo>
                    <a:pt x="37" y="262"/>
                  </a:lnTo>
                  <a:lnTo>
                    <a:pt x="37" y="263"/>
                  </a:lnTo>
                  <a:lnTo>
                    <a:pt x="35" y="265"/>
                  </a:lnTo>
                  <a:lnTo>
                    <a:pt x="35" y="263"/>
                  </a:lnTo>
                  <a:lnTo>
                    <a:pt x="37" y="263"/>
                  </a:lnTo>
                  <a:lnTo>
                    <a:pt x="37" y="262"/>
                  </a:lnTo>
                  <a:lnTo>
                    <a:pt x="37" y="261"/>
                  </a:lnTo>
                  <a:lnTo>
                    <a:pt x="37" y="262"/>
                  </a:lnTo>
                  <a:lnTo>
                    <a:pt x="37" y="261"/>
                  </a:lnTo>
                  <a:lnTo>
                    <a:pt x="35" y="261"/>
                  </a:lnTo>
                  <a:lnTo>
                    <a:pt x="35" y="262"/>
                  </a:lnTo>
                  <a:lnTo>
                    <a:pt x="35" y="261"/>
                  </a:lnTo>
                  <a:lnTo>
                    <a:pt x="35" y="260"/>
                  </a:lnTo>
                  <a:lnTo>
                    <a:pt x="37" y="260"/>
                  </a:lnTo>
                  <a:lnTo>
                    <a:pt x="35" y="259"/>
                  </a:lnTo>
                  <a:lnTo>
                    <a:pt x="35" y="260"/>
                  </a:lnTo>
                  <a:lnTo>
                    <a:pt x="34" y="260"/>
                  </a:lnTo>
                  <a:lnTo>
                    <a:pt x="33" y="260"/>
                  </a:lnTo>
                  <a:lnTo>
                    <a:pt x="33" y="259"/>
                  </a:lnTo>
                  <a:lnTo>
                    <a:pt x="33" y="257"/>
                  </a:lnTo>
                  <a:lnTo>
                    <a:pt x="34" y="257"/>
                  </a:lnTo>
                  <a:lnTo>
                    <a:pt x="34" y="256"/>
                  </a:lnTo>
                  <a:lnTo>
                    <a:pt x="33" y="256"/>
                  </a:lnTo>
                  <a:lnTo>
                    <a:pt x="33" y="257"/>
                  </a:lnTo>
                  <a:lnTo>
                    <a:pt x="32" y="257"/>
                  </a:lnTo>
                  <a:lnTo>
                    <a:pt x="31" y="257"/>
                  </a:lnTo>
                  <a:lnTo>
                    <a:pt x="31" y="256"/>
                  </a:lnTo>
                  <a:lnTo>
                    <a:pt x="32" y="256"/>
                  </a:lnTo>
                  <a:lnTo>
                    <a:pt x="33" y="255"/>
                  </a:lnTo>
                  <a:lnTo>
                    <a:pt x="33" y="254"/>
                  </a:lnTo>
                  <a:lnTo>
                    <a:pt x="33" y="255"/>
                  </a:lnTo>
                  <a:lnTo>
                    <a:pt x="32" y="255"/>
                  </a:lnTo>
                  <a:lnTo>
                    <a:pt x="31" y="255"/>
                  </a:lnTo>
                  <a:lnTo>
                    <a:pt x="32" y="254"/>
                  </a:lnTo>
                  <a:lnTo>
                    <a:pt x="33" y="254"/>
                  </a:lnTo>
                  <a:lnTo>
                    <a:pt x="34" y="254"/>
                  </a:lnTo>
                  <a:lnTo>
                    <a:pt x="34" y="253"/>
                  </a:lnTo>
                  <a:lnTo>
                    <a:pt x="33" y="253"/>
                  </a:lnTo>
                  <a:lnTo>
                    <a:pt x="33" y="254"/>
                  </a:lnTo>
                  <a:lnTo>
                    <a:pt x="32" y="254"/>
                  </a:lnTo>
                  <a:lnTo>
                    <a:pt x="31" y="254"/>
                  </a:lnTo>
                  <a:lnTo>
                    <a:pt x="32" y="253"/>
                  </a:lnTo>
                  <a:lnTo>
                    <a:pt x="32" y="251"/>
                  </a:lnTo>
                  <a:lnTo>
                    <a:pt x="31" y="253"/>
                  </a:lnTo>
                  <a:lnTo>
                    <a:pt x="32" y="251"/>
                  </a:lnTo>
                  <a:lnTo>
                    <a:pt x="31" y="251"/>
                  </a:lnTo>
                  <a:lnTo>
                    <a:pt x="31" y="250"/>
                  </a:lnTo>
                  <a:lnTo>
                    <a:pt x="32" y="250"/>
                  </a:lnTo>
                  <a:lnTo>
                    <a:pt x="33" y="250"/>
                  </a:lnTo>
                  <a:lnTo>
                    <a:pt x="33" y="249"/>
                  </a:lnTo>
                  <a:lnTo>
                    <a:pt x="34" y="248"/>
                  </a:lnTo>
                  <a:lnTo>
                    <a:pt x="35" y="248"/>
                  </a:lnTo>
                  <a:lnTo>
                    <a:pt x="34" y="245"/>
                  </a:lnTo>
                  <a:lnTo>
                    <a:pt x="34" y="247"/>
                  </a:lnTo>
                  <a:lnTo>
                    <a:pt x="34" y="248"/>
                  </a:lnTo>
                  <a:lnTo>
                    <a:pt x="34" y="247"/>
                  </a:lnTo>
                  <a:lnTo>
                    <a:pt x="33" y="248"/>
                  </a:lnTo>
                  <a:lnTo>
                    <a:pt x="33" y="247"/>
                  </a:lnTo>
                  <a:lnTo>
                    <a:pt x="33" y="245"/>
                  </a:lnTo>
                  <a:lnTo>
                    <a:pt x="33" y="248"/>
                  </a:lnTo>
                  <a:lnTo>
                    <a:pt x="32" y="248"/>
                  </a:lnTo>
                  <a:lnTo>
                    <a:pt x="32" y="249"/>
                  </a:lnTo>
                  <a:lnTo>
                    <a:pt x="32" y="248"/>
                  </a:lnTo>
                  <a:lnTo>
                    <a:pt x="32" y="247"/>
                  </a:lnTo>
                  <a:lnTo>
                    <a:pt x="32" y="245"/>
                  </a:lnTo>
                  <a:lnTo>
                    <a:pt x="33" y="245"/>
                  </a:lnTo>
                  <a:lnTo>
                    <a:pt x="33" y="244"/>
                  </a:lnTo>
                  <a:lnTo>
                    <a:pt x="33" y="243"/>
                  </a:lnTo>
                  <a:lnTo>
                    <a:pt x="32" y="243"/>
                  </a:lnTo>
                  <a:lnTo>
                    <a:pt x="32" y="244"/>
                  </a:lnTo>
                  <a:lnTo>
                    <a:pt x="32" y="245"/>
                  </a:lnTo>
                  <a:lnTo>
                    <a:pt x="32" y="247"/>
                  </a:lnTo>
                  <a:lnTo>
                    <a:pt x="31" y="247"/>
                  </a:lnTo>
                  <a:lnTo>
                    <a:pt x="31" y="245"/>
                  </a:lnTo>
                  <a:lnTo>
                    <a:pt x="31" y="244"/>
                  </a:lnTo>
                  <a:lnTo>
                    <a:pt x="31" y="243"/>
                  </a:lnTo>
                  <a:lnTo>
                    <a:pt x="32" y="243"/>
                  </a:lnTo>
                  <a:lnTo>
                    <a:pt x="31" y="243"/>
                  </a:lnTo>
                  <a:lnTo>
                    <a:pt x="31" y="244"/>
                  </a:lnTo>
                  <a:lnTo>
                    <a:pt x="29" y="244"/>
                  </a:lnTo>
                  <a:lnTo>
                    <a:pt x="29" y="245"/>
                  </a:lnTo>
                  <a:lnTo>
                    <a:pt x="28" y="245"/>
                  </a:lnTo>
                  <a:lnTo>
                    <a:pt x="28" y="244"/>
                  </a:lnTo>
                  <a:lnTo>
                    <a:pt x="27" y="244"/>
                  </a:lnTo>
                  <a:lnTo>
                    <a:pt x="27" y="247"/>
                  </a:lnTo>
                  <a:lnTo>
                    <a:pt x="27" y="245"/>
                  </a:lnTo>
                  <a:lnTo>
                    <a:pt x="26" y="244"/>
                  </a:lnTo>
                  <a:lnTo>
                    <a:pt x="26" y="245"/>
                  </a:lnTo>
                  <a:lnTo>
                    <a:pt x="24" y="245"/>
                  </a:lnTo>
                  <a:lnTo>
                    <a:pt x="24" y="247"/>
                  </a:lnTo>
                  <a:lnTo>
                    <a:pt x="24" y="245"/>
                  </a:lnTo>
                  <a:lnTo>
                    <a:pt x="24" y="244"/>
                  </a:lnTo>
                  <a:lnTo>
                    <a:pt x="23" y="244"/>
                  </a:lnTo>
                  <a:lnTo>
                    <a:pt x="23" y="243"/>
                  </a:lnTo>
                  <a:lnTo>
                    <a:pt x="24" y="242"/>
                  </a:lnTo>
                  <a:lnTo>
                    <a:pt x="23" y="242"/>
                  </a:lnTo>
                  <a:lnTo>
                    <a:pt x="22" y="242"/>
                  </a:lnTo>
                  <a:lnTo>
                    <a:pt x="22" y="243"/>
                  </a:lnTo>
                  <a:lnTo>
                    <a:pt x="22" y="242"/>
                  </a:lnTo>
                  <a:lnTo>
                    <a:pt x="21" y="243"/>
                  </a:lnTo>
                  <a:lnTo>
                    <a:pt x="20" y="243"/>
                  </a:lnTo>
                  <a:lnTo>
                    <a:pt x="18" y="243"/>
                  </a:lnTo>
                  <a:lnTo>
                    <a:pt x="20" y="243"/>
                  </a:lnTo>
                  <a:lnTo>
                    <a:pt x="20" y="242"/>
                  </a:lnTo>
                  <a:lnTo>
                    <a:pt x="21" y="242"/>
                  </a:lnTo>
                  <a:lnTo>
                    <a:pt x="22" y="241"/>
                  </a:lnTo>
                  <a:lnTo>
                    <a:pt x="23" y="239"/>
                  </a:lnTo>
                  <a:lnTo>
                    <a:pt x="24" y="238"/>
                  </a:lnTo>
                  <a:lnTo>
                    <a:pt x="23" y="238"/>
                  </a:lnTo>
                  <a:lnTo>
                    <a:pt x="23" y="239"/>
                  </a:lnTo>
                  <a:lnTo>
                    <a:pt x="22" y="239"/>
                  </a:lnTo>
                  <a:lnTo>
                    <a:pt x="21" y="239"/>
                  </a:lnTo>
                  <a:lnTo>
                    <a:pt x="21" y="238"/>
                  </a:lnTo>
                  <a:lnTo>
                    <a:pt x="21" y="239"/>
                  </a:lnTo>
                  <a:lnTo>
                    <a:pt x="21" y="241"/>
                  </a:lnTo>
                  <a:lnTo>
                    <a:pt x="21" y="242"/>
                  </a:lnTo>
                  <a:lnTo>
                    <a:pt x="20" y="242"/>
                  </a:lnTo>
                  <a:lnTo>
                    <a:pt x="20" y="241"/>
                  </a:lnTo>
                  <a:lnTo>
                    <a:pt x="20" y="239"/>
                  </a:lnTo>
                  <a:lnTo>
                    <a:pt x="20" y="241"/>
                  </a:lnTo>
                  <a:lnTo>
                    <a:pt x="20" y="242"/>
                  </a:lnTo>
                  <a:lnTo>
                    <a:pt x="18" y="242"/>
                  </a:lnTo>
                  <a:lnTo>
                    <a:pt x="18" y="241"/>
                  </a:lnTo>
                  <a:lnTo>
                    <a:pt x="18" y="239"/>
                  </a:lnTo>
                  <a:lnTo>
                    <a:pt x="18" y="238"/>
                  </a:lnTo>
                  <a:lnTo>
                    <a:pt x="18" y="239"/>
                  </a:lnTo>
                  <a:lnTo>
                    <a:pt x="17" y="239"/>
                  </a:lnTo>
                  <a:lnTo>
                    <a:pt x="17" y="241"/>
                  </a:lnTo>
                  <a:lnTo>
                    <a:pt x="17" y="242"/>
                  </a:lnTo>
                  <a:lnTo>
                    <a:pt x="17" y="241"/>
                  </a:lnTo>
                  <a:lnTo>
                    <a:pt x="17" y="239"/>
                  </a:lnTo>
                  <a:lnTo>
                    <a:pt x="17" y="238"/>
                  </a:lnTo>
                  <a:lnTo>
                    <a:pt x="16" y="237"/>
                  </a:lnTo>
                  <a:lnTo>
                    <a:pt x="17" y="237"/>
                  </a:lnTo>
                  <a:lnTo>
                    <a:pt x="17" y="236"/>
                  </a:lnTo>
                  <a:lnTo>
                    <a:pt x="16" y="236"/>
                  </a:lnTo>
                  <a:lnTo>
                    <a:pt x="16" y="237"/>
                  </a:lnTo>
                  <a:lnTo>
                    <a:pt x="16" y="238"/>
                  </a:lnTo>
                  <a:lnTo>
                    <a:pt x="15" y="238"/>
                  </a:lnTo>
                  <a:lnTo>
                    <a:pt x="15" y="237"/>
                  </a:lnTo>
                  <a:lnTo>
                    <a:pt x="15" y="236"/>
                  </a:lnTo>
                  <a:lnTo>
                    <a:pt x="14" y="238"/>
                  </a:lnTo>
                  <a:lnTo>
                    <a:pt x="12" y="238"/>
                  </a:lnTo>
                  <a:lnTo>
                    <a:pt x="12" y="237"/>
                  </a:lnTo>
                  <a:lnTo>
                    <a:pt x="12" y="238"/>
                  </a:lnTo>
                  <a:lnTo>
                    <a:pt x="12" y="239"/>
                  </a:lnTo>
                  <a:lnTo>
                    <a:pt x="12" y="241"/>
                  </a:lnTo>
                  <a:lnTo>
                    <a:pt x="11" y="239"/>
                  </a:lnTo>
                  <a:lnTo>
                    <a:pt x="11" y="238"/>
                  </a:lnTo>
                  <a:lnTo>
                    <a:pt x="11" y="239"/>
                  </a:lnTo>
                  <a:lnTo>
                    <a:pt x="10" y="239"/>
                  </a:lnTo>
                  <a:lnTo>
                    <a:pt x="10" y="238"/>
                  </a:lnTo>
                  <a:lnTo>
                    <a:pt x="10" y="237"/>
                  </a:lnTo>
                  <a:lnTo>
                    <a:pt x="9" y="237"/>
                  </a:lnTo>
                  <a:lnTo>
                    <a:pt x="10" y="236"/>
                  </a:lnTo>
                  <a:lnTo>
                    <a:pt x="11" y="235"/>
                  </a:lnTo>
                  <a:lnTo>
                    <a:pt x="14" y="233"/>
                  </a:lnTo>
                  <a:lnTo>
                    <a:pt x="15" y="232"/>
                  </a:lnTo>
                  <a:lnTo>
                    <a:pt x="17" y="232"/>
                  </a:lnTo>
                  <a:lnTo>
                    <a:pt x="18" y="232"/>
                  </a:lnTo>
                  <a:lnTo>
                    <a:pt x="20" y="232"/>
                  </a:lnTo>
                  <a:lnTo>
                    <a:pt x="21" y="232"/>
                  </a:lnTo>
                  <a:lnTo>
                    <a:pt x="22" y="232"/>
                  </a:lnTo>
                  <a:lnTo>
                    <a:pt x="23" y="231"/>
                  </a:lnTo>
                  <a:lnTo>
                    <a:pt x="24" y="231"/>
                  </a:lnTo>
                  <a:lnTo>
                    <a:pt x="24" y="230"/>
                  </a:lnTo>
                  <a:lnTo>
                    <a:pt x="23" y="230"/>
                  </a:lnTo>
                  <a:lnTo>
                    <a:pt x="22" y="231"/>
                  </a:lnTo>
                  <a:lnTo>
                    <a:pt x="22" y="230"/>
                  </a:lnTo>
                  <a:lnTo>
                    <a:pt x="23" y="230"/>
                  </a:lnTo>
                  <a:lnTo>
                    <a:pt x="22" y="229"/>
                  </a:lnTo>
                  <a:lnTo>
                    <a:pt x="23" y="230"/>
                  </a:lnTo>
                  <a:lnTo>
                    <a:pt x="23" y="229"/>
                  </a:lnTo>
                  <a:lnTo>
                    <a:pt x="24" y="230"/>
                  </a:lnTo>
                  <a:lnTo>
                    <a:pt x="26" y="230"/>
                  </a:lnTo>
                  <a:lnTo>
                    <a:pt x="27" y="231"/>
                  </a:lnTo>
                  <a:lnTo>
                    <a:pt x="28" y="231"/>
                  </a:lnTo>
                  <a:lnTo>
                    <a:pt x="31" y="230"/>
                  </a:lnTo>
                  <a:lnTo>
                    <a:pt x="32" y="229"/>
                  </a:lnTo>
                  <a:lnTo>
                    <a:pt x="33" y="230"/>
                  </a:lnTo>
                  <a:lnTo>
                    <a:pt x="33" y="229"/>
                  </a:lnTo>
                  <a:lnTo>
                    <a:pt x="33" y="227"/>
                  </a:lnTo>
                  <a:lnTo>
                    <a:pt x="33" y="226"/>
                  </a:lnTo>
                  <a:lnTo>
                    <a:pt x="32" y="226"/>
                  </a:lnTo>
                  <a:lnTo>
                    <a:pt x="32" y="227"/>
                  </a:lnTo>
                  <a:lnTo>
                    <a:pt x="32" y="226"/>
                  </a:lnTo>
                  <a:lnTo>
                    <a:pt x="31" y="226"/>
                  </a:lnTo>
                  <a:lnTo>
                    <a:pt x="29" y="226"/>
                  </a:lnTo>
                  <a:lnTo>
                    <a:pt x="28" y="225"/>
                  </a:lnTo>
                  <a:lnTo>
                    <a:pt x="27" y="224"/>
                  </a:lnTo>
                  <a:lnTo>
                    <a:pt x="26" y="224"/>
                  </a:lnTo>
                  <a:lnTo>
                    <a:pt x="26" y="223"/>
                  </a:lnTo>
                  <a:lnTo>
                    <a:pt x="24" y="223"/>
                  </a:lnTo>
                  <a:lnTo>
                    <a:pt x="24" y="221"/>
                  </a:lnTo>
                  <a:lnTo>
                    <a:pt x="26" y="221"/>
                  </a:lnTo>
                  <a:lnTo>
                    <a:pt x="24" y="221"/>
                  </a:lnTo>
                  <a:lnTo>
                    <a:pt x="24" y="223"/>
                  </a:lnTo>
                  <a:lnTo>
                    <a:pt x="23" y="224"/>
                  </a:lnTo>
                  <a:lnTo>
                    <a:pt x="23" y="223"/>
                  </a:lnTo>
                  <a:lnTo>
                    <a:pt x="23" y="221"/>
                  </a:lnTo>
                  <a:lnTo>
                    <a:pt x="23" y="223"/>
                  </a:lnTo>
                  <a:lnTo>
                    <a:pt x="23" y="224"/>
                  </a:lnTo>
                  <a:lnTo>
                    <a:pt x="23" y="225"/>
                  </a:lnTo>
                  <a:lnTo>
                    <a:pt x="22" y="224"/>
                  </a:lnTo>
                  <a:lnTo>
                    <a:pt x="22" y="223"/>
                  </a:lnTo>
                  <a:lnTo>
                    <a:pt x="22" y="221"/>
                  </a:lnTo>
                  <a:lnTo>
                    <a:pt x="23" y="220"/>
                  </a:lnTo>
                  <a:lnTo>
                    <a:pt x="22" y="220"/>
                  </a:lnTo>
                  <a:lnTo>
                    <a:pt x="22" y="219"/>
                  </a:lnTo>
                  <a:lnTo>
                    <a:pt x="21" y="219"/>
                  </a:lnTo>
                  <a:lnTo>
                    <a:pt x="21" y="220"/>
                  </a:lnTo>
                  <a:lnTo>
                    <a:pt x="21" y="219"/>
                  </a:lnTo>
                  <a:lnTo>
                    <a:pt x="21" y="218"/>
                  </a:lnTo>
                  <a:lnTo>
                    <a:pt x="21" y="217"/>
                  </a:lnTo>
                  <a:lnTo>
                    <a:pt x="21" y="215"/>
                  </a:lnTo>
                  <a:lnTo>
                    <a:pt x="20" y="215"/>
                  </a:lnTo>
                  <a:lnTo>
                    <a:pt x="20" y="217"/>
                  </a:lnTo>
                  <a:lnTo>
                    <a:pt x="20" y="218"/>
                  </a:lnTo>
                  <a:lnTo>
                    <a:pt x="20" y="219"/>
                  </a:lnTo>
                  <a:lnTo>
                    <a:pt x="20" y="220"/>
                  </a:lnTo>
                  <a:lnTo>
                    <a:pt x="20" y="219"/>
                  </a:lnTo>
                  <a:lnTo>
                    <a:pt x="20" y="218"/>
                  </a:lnTo>
                  <a:lnTo>
                    <a:pt x="20" y="219"/>
                  </a:lnTo>
                  <a:lnTo>
                    <a:pt x="18" y="219"/>
                  </a:lnTo>
                  <a:lnTo>
                    <a:pt x="18" y="218"/>
                  </a:lnTo>
                  <a:lnTo>
                    <a:pt x="18" y="217"/>
                  </a:lnTo>
                  <a:lnTo>
                    <a:pt x="18" y="218"/>
                  </a:lnTo>
                  <a:lnTo>
                    <a:pt x="18" y="219"/>
                  </a:lnTo>
                  <a:lnTo>
                    <a:pt x="18" y="220"/>
                  </a:lnTo>
                  <a:lnTo>
                    <a:pt x="17" y="218"/>
                  </a:lnTo>
                  <a:lnTo>
                    <a:pt x="17" y="219"/>
                  </a:lnTo>
                  <a:lnTo>
                    <a:pt x="17" y="220"/>
                  </a:lnTo>
                  <a:lnTo>
                    <a:pt x="17" y="219"/>
                  </a:lnTo>
                  <a:lnTo>
                    <a:pt x="17" y="218"/>
                  </a:lnTo>
                  <a:lnTo>
                    <a:pt x="16" y="218"/>
                  </a:lnTo>
                  <a:lnTo>
                    <a:pt x="15" y="218"/>
                  </a:lnTo>
                  <a:lnTo>
                    <a:pt x="15" y="219"/>
                  </a:lnTo>
                  <a:lnTo>
                    <a:pt x="15" y="220"/>
                  </a:lnTo>
                  <a:lnTo>
                    <a:pt x="15" y="219"/>
                  </a:lnTo>
                  <a:lnTo>
                    <a:pt x="15" y="218"/>
                  </a:lnTo>
                  <a:lnTo>
                    <a:pt x="14" y="219"/>
                  </a:lnTo>
                  <a:lnTo>
                    <a:pt x="14" y="218"/>
                  </a:lnTo>
                  <a:lnTo>
                    <a:pt x="14" y="217"/>
                  </a:lnTo>
                  <a:lnTo>
                    <a:pt x="15" y="217"/>
                  </a:lnTo>
                  <a:lnTo>
                    <a:pt x="15" y="218"/>
                  </a:lnTo>
                  <a:lnTo>
                    <a:pt x="16" y="217"/>
                  </a:lnTo>
                  <a:lnTo>
                    <a:pt x="17" y="217"/>
                  </a:lnTo>
                  <a:lnTo>
                    <a:pt x="17" y="215"/>
                  </a:lnTo>
                  <a:lnTo>
                    <a:pt x="18" y="215"/>
                  </a:lnTo>
                  <a:lnTo>
                    <a:pt x="20" y="215"/>
                  </a:lnTo>
                  <a:lnTo>
                    <a:pt x="21" y="215"/>
                  </a:lnTo>
                  <a:lnTo>
                    <a:pt x="22" y="215"/>
                  </a:lnTo>
                  <a:lnTo>
                    <a:pt x="23" y="215"/>
                  </a:lnTo>
                  <a:lnTo>
                    <a:pt x="24" y="215"/>
                  </a:lnTo>
                  <a:lnTo>
                    <a:pt x="26" y="215"/>
                  </a:lnTo>
                  <a:lnTo>
                    <a:pt x="27" y="215"/>
                  </a:lnTo>
                  <a:lnTo>
                    <a:pt x="28" y="215"/>
                  </a:lnTo>
                  <a:lnTo>
                    <a:pt x="28" y="217"/>
                  </a:lnTo>
                  <a:lnTo>
                    <a:pt x="29" y="217"/>
                  </a:lnTo>
                  <a:lnTo>
                    <a:pt x="32" y="217"/>
                  </a:lnTo>
                  <a:lnTo>
                    <a:pt x="33" y="217"/>
                  </a:lnTo>
                  <a:lnTo>
                    <a:pt x="34" y="217"/>
                  </a:lnTo>
                  <a:lnTo>
                    <a:pt x="35" y="217"/>
                  </a:lnTo>
                  <a:lnTo>
                    <a:pt x="37" y="217"/>
                  </a:lnTo>
                  <a:lnTo>
                    <a:pt x="38" y="217"/>
                  </a:lnTo>
                  <a:lnTo>
                    <a:pt x="39" y="217"/>
                  </a:lnTo>
                  <a:lnTo>
                    <a:pt x="40" y="217"/>
                  </a:lnTo>
                  <a:lnTo>
                    <a:pt x="41" y="217"/>
                  </a:lnTo>
                  <a:lnTo>
                    <a:pt x="43" y="215"/>
                  </a:lnTo>
                  <a:lnTo>
                    <a:pt x="44" y="215"/>
                  </a:lnTo>
                  <a:lnTo>
                    <a:pt x="45" y="214"/>
                  </a:lnTo>
                  <a:lnTo>
                    <a:pt x="46" y="214"/>
                  </a:lnTo>
                  <a:lnTo>
                    <a:pt x="46" y="213"/>
                  </a:lnTo>
                  <a:lnTo>
                    <a:pt x="46" y="214"/>
                  </a:lnTo>
                  <a:lnTo>
                    <a:pt x="45" y="214"/>
                  </a:lnTo>
                  <a:lnTo>
                    <a:pt x="46" y="213"/>
                  </a:lnTo>
                  <a:lnTo>
                    <a:pt x="45" y="213"/>
                  </a:lnTo>
                  <a:lnTo>
                    <a:pt x="44" y="213"/>
                  </a:lnTo>
                  <a:lnTo>
                    <a:pt x="46" y="213"/>
                  </a:lnTo>
                  <a:lnTo>
                    <a:pt x="46" y="212"/>
                  </a:lnTo>
                  <a:lnTo>
                    <a:pt x="47" y="212"/>
                  </a:lnTo>
                  <a:lnTo>
                    <a:pt x="47" y="213"/>
                  </a:lnTo>
                  <a:lnTo>
                    <a:pt x="49" y="213"/>
                  </a:lnTo>
                  <a:lnTo>
                    <a:pt x="49" y="214"/>
                  </a:lnTo>
                  <a:lnTo>
                    <a:pt x="50" y="213"/>
                  </a:lnTo>
                  <a:lnTo>
                    <a:pt x="52" y="212"/>
                  </a:lnTo>
                  <a:lnTo>
                    <a:pt x="53" y="213"/>
                  </a:lnTo>
                  <a:lnTo>
                    <a:pt x="55" y="213"/>
                  </a:lnTo>
                  <a:lnTo>
                    <a:pt x="56" y="212"/>
                  </a:lnTo>
                  <a:lnTo>
                    <a:pt x="57" y="212"/>
                  </a:lnTo>
                  <a:lnTo>
                    <a:pt x="58" y="212"/>
                  </a:lnTo>
                  <a:lnTo>
                    <a:pt x="58" y="210"/>
                  </a:lnTo>
                  <a:lnTo>
                    <a:pt x="59" y="208"/>
                  </a:lnTo>
                  <a:lnTo>
                    <a:pt x="61" y="208"/>
                  </a:lnTo>
                  <a:lnTo>
                    <a:pt x="61" y="207"/>
                  </a:lnTo>
                  <a:lnTo>
                    <a:pt x="59" y="206"/>
                  </a:lnTo>
                  <a:lnTo>
                    <a:pt x="59" y="204"/>
                  </a:lnTo>
                  <a:lnTo>
                    <a:pt x="58" y="206"/>
                  </a:lnTo>
                  <a:lnTo>
                    <a:pt x="57" y="206"/>
                  </a:lnTo>
                  <a:lnTo>
                    <a:pt x="57" y="207"/>
                  </a:lnTo>
                  <a:lnTo>
                    <a:pt x="57" y="208"/>
                  </a:lnTo>
                  <a:lnTo>
                    <a:pt x="57" y="209"/>
                  </a:lnTo>
                  <a:lnTo>
                    <a:pt x="56" y="209"/>
                  </a:lnTo>
                  <a:lnTo>
                    <a:pt x="56" y="208"/>
                  </a:lnTo>
                  <a:lnTo>
                    <a:pt x="56" y="207"/>
                  </a:lnTo>
                  <a:lnTo>
                    <a:pt x="55" y="207"/>
                  </a:lnTo>
                  <a:lnTo>
                    <a:pt x="56" y="208"/>
                  </a:lnTo>
                  <a:lnTo>
                    <a:pt x="55" y="208"/>
                  </a:lnTo>
                  <a:lnTo>
                    <a:pt x="55" y="207"/>
                  </a:lnTo>
                  <a:lnTo>
                    <a:pt x="55" y="206"/>
                  </a:lnTo>
                  <a:lnTo>
                    <a:pt x="53" y="206"/>
                  </a:lnTo>
                  <a:lnTo>
                    <a:pt x="52" y="206"/>
                  </a:lnTo>
                  <a:lnTo>
                    <a:pt x="53" y="204"/>
                  </a:lnTo>
                  <a:lnTo>
                    <a:pt x="52" y="204"/>
                  </a:lnTo>
                  <a:lnTo>
                    <a:pt x="52" y="206"/>
                  </a:lnTo>
                  <a:lnTo>
                    <a:pt x="52" y="207"/>
                  </a:lnTo>
                  <a:lnTo>
                    <a:pt x="52" y="208"/>
                  </a:lnTo>
                  <a:lnTo>
                    <a:pt x="52" y="207"/>
                  </a:lnTo>
                  <a:lnTo>
                    <a:pt x="52" y="206"/>
                  </a:lnTo>
                  <a:lnTo>
                    <a:pt x="52" y="204"/>
                  </a:lnTo>
                  <a:lnTo>
                    <a:pt x="52" y="203"/>
                  </a:lnTo>
                  <a:lnTo>
                    <a:pt x="52" y="204"/>
                  </a:lnTo>
                  <a:lnTo>
                    <a:pt x="51" y="204"/>
                  </a:lnTo>
                  <a:lnTo>
                    <a:pt x="51" y="206"/>
                  </a:lnTo>
                  <a:lnTo>
                    <a:pt x="51" y="207"/>
                  </a:lnTo>
                  <a:lnTo>
                    <a:pt x="51" y="208"/>
                  </a:lnTo>
                  <a:lnTo>
                    <a:pt x="50" y="207"/>
                  </a:lnTo>
                  <a:lnTo>
                    <a:pt x="50" y="206"/>
                  </a:lnTo>
                  <a:lnTo>
                    <a:pt x="50" y="204"/>
                  </a:lnTo>
                  <a:lnTo>
                    <a:pt x="51" y="203"/>
                  </a:lnTo>
                  <a:lnTo>
                    <a:pt x="50" y="203"/>
                  </a:lnTo>
                  <a:lnTo>
                    <a:pt x="50" y="206"/>
                  </a:lnTo>
                  <a:lnTo>
                    <a:pt x="50" y="204"/>
                  </a:lnTo>
                  <a:lnTo>
                    <a:pt x="49" y="206"/>
                  </a:lnTo>
                  <a:lnTo>
                    <a:pt x="49" y="207"/>
                  </a:lnTo>
                  <a:lnTo>
                    <a:pt x="49" y="206"/>
                  </a:lnTo>
                  <a:lnTo>
                    <a:pt x="49" y="204"/>
                  </a:lnTo>
                  <a:lnTo>
                    <a:pt x="49" y="202"/>
                  </a:lnTo>
                  <a:lnTo>
                    <a:pt x="47" y="203"/>
                  </a:lnTo>
                  <a:lnTo>
                    <a:pt x="47" y="204"/>
                  </a:lnTo>
                  <a:lnTo>
                    <a:pt x="47" y="206"/>
                  </a:lnTo>
                  <a:lnTo>
                    <a:pt x="49" y="207"/>
                  </a:lnTo>
                  <a:lnTo>
                    <a:pt x="47" y="208"/>
                  </a:lnTo>
                  <a:lnTo>
                    <a:pt x="47" y="207"/>
                  </a:lnTo>
                  <a:lnTo>
                    <a:pt x="47" y="206"/>
                  </a:lnTo>
                  <a:lnTo>
                    <a:pt x="47" y="207"/>
                  </a:lnTo>
                  <a:lnTo>
                    <a:pt x="46" y="207"/>
                  </a:lnTo>
                  <a:lnTo>
                    <a:pt x="46" y="206"/>
                  </a:lnTo>
                  <a:lnTo>
                    <a:pt x="46" y="204"/>
                  </a:lnTo>
                  <a:lnTo>
                    <a:pt x="46" y="203"/>
                  </a:lnTo>
                  <a:lnTo>
                    <a:pt x="46" y="204"/>
                  </a:lnTo>
                  <a:lnTo>
                    <a:pt x="46" y="206"/>
                  </a:lnTo>
                  <a:lnTo>
                    <a:pt x="46" y="207"/>
                  </a:lnTo>
                  <a:lnTo>
                    <a:pt x="45" y="207"/>
                  </a:lnTo>
                  <a:lnTo>
                    <a:pt x="45" y="206"/>
                  </a:lnTo>
                  <a:lnTo>
                    <a:pt x="45" y="207"/>
                  </a:lnTo>
                  <a:lnTo>
                    <a:pt x="45" y="208"/>
                  </a:lnTo>
                  <a:lnTo>
                    <a:pt x="44" y="209"/>
                  </a:lnTo>
                  <a:lnTo>
                    <a:pt x="44" y="208"/>
                  </a:lnTo>
                  <a:lnTo>
                    <a:pt x="44" y="207"/>
                  </a:lnTo>
                  <a:lnTo>
                    <a:pt x="44" y="206"/>
                  </a:lnTo>
                  <a:lnTo>
                    <a:pt x="43" y="206"/>
                  </a:lnTo>
                  <a:lnTo>
                    <a:pt x="43" y="207"/>
                  </a:lnTo>
                  <a:lnTo>
                    <a:pt x="44" y="207"/>
                  </a:lnTo>
                  <a:lnTo>
                    <a:pt x="44" y="208"/>
                  </a:lnTo>
                  <a:lnTo>
                    <a:pt x="44" y="209"/>
                  </a:lnTo>
                  <a:lnTo>
                    <a:pt x="43" y="209"/>
                  </a:lnTo>
                  <a:lnTo>
                    <a:pt x="43" y="208"/>
                  </a:lnTo>
                  <a:lnTo>
                    <a:pt x="43" y="207"/>
                  </a:lnTo>
                  <a:lnTo>
                    <a:pt x="41" y="207"/>
                  </a:lnTo>
                  <a:lnTo>
                    <a:pt x="41" y="208"/>
                  </a:lnTo>
                  <a:lnTo>
                    <a:pt x="41" y="209"/>
                  </a:lnTo>
                  <a:lnTo>
                    <a:pt x="41" y="208"/>
                  </a:lnTo>
                  <a:lnTo>
                    <a:pt x="40" y="207"/>
                  </a:lnTo>
                  <a:lnTo>
                    <a:pt x="39" y="208"/>
                  </a:lnTo>
                  <a:lnTo>
                    <a:pt x="39" y="207"/>
                  </a:lnTo>
                  <a:lnTo>
                    <a:pt x="40" y="207"/>
                  </a:lnTo>
                  <a:lnTo>
                    <a:pt x="40" y="206"/>
                  </a:lnTo>
                  <a:lnTo>
                    <a:pt x="41" y="206"/>
                  </a:lnTo>
                  <a:lnTo>
                    <a:pt x="43" y="206"/>
                  </a:lnTo>
                  <a:lnTo>
                    <a:pt x="43" y="204"/>
                  </a:lnTo>
                  <a:lnTo>
                    <a:pt x="44" y="204"/>
                  </a:lnTo>
                  <a:lnTo>
                    <a:pt x="44" y="203"/>
                  </a:lnTo>
                  <a:lnTo>
                    <a:pt x="45" y="203"/>
                  </a:lnTo>
                  <a:lnTo>
                    <a:pt x="49" y="201"/>
                  </a:lnTo>
                  <a:lnTo>
                    <a:pt x="47" y="201"/>
                  </a:lnTo>
                  <a:lnTo>
                    <a:pt x="46" y="202"/>
                  </a:lnTo>
                  <a:lnTo>
                    <a:pt x="45" y="202"/>
                  </a:lnTo>
                  <a:lnTo>
                    <a:pt x="45" y="201"/>
                  </a:lnTo>
                  <a:lnTo>
                    <a:pt x="45" y="200"/>
                  </a:lnTo>
                  <a:lnTo>
                    <a:pt x="46" y="198"/>
                  </a:lnTo>
                  <a:lnTo>
                    <a:pt x="46" y="197"/>
                  </a:lnTo>
                  <a:lnTo>
                    <a:pt x="46" y="196"/>
                  </a:lnTo>
                  <a:lnTo>
                    <a:pt x="45" y="196"/>
                  </a:lnTo>
                  <a:lnTo>
                    <a:pt x="45" y="197"/>
                  </a:lnTo>
                  <a:lnTo>
                    <a:pt x="45" y="198"/>
                  </a:lnTo>
                  <a:lnTo>
                    <a:pt x="45" y="197"/>
                  </a:lnTo>
                  <a:lnTo>
                    <a:pt x="44" y="197"/>
                  </a:lnTo>
                  <a:lnTo>
                    <a:pt x="43" y="197"/>
                  </a:lnTo>
                  <a:lnTo>
                    <a:pt x="43" y="198"/>
                  </a:lnTo>
                  <a:lnTo>
                    <a:pt x="43" y="197"/>
                  </a:lnTo>
                  <a:lnTo>
                    <a:pt x="41" y="197"/>
                  </a:lnTo>
                  <a:lnTo>
                    <a:pt x="43" y="197"/>
                  </a:lnTo>
                  <a:lnTo>
                    <a:pt x="43" y="196"/>
                  </a:lnTo>
                  <a:lnTo>
                    <a:pt x="44" y="196"/>
                  </a:lnTo>
                  <a:lnTo>
                    <a:pt x="44" y="195"/>
                  </a:lnTo>
                  <a:lnTo>
                    <a:pt x="43" y="195"/>
                  </a:lnTo>
                  <a:lnTo>
                    <a:pt x="43" y="196"/>
                  </a:lnTo>
                  <a:lnTo>
                    <a:pt x="41" y="197"/>
                  </a:lnTo>
                  <a:lnTo>
                    <a:pt x="41" y="196"/>
                  </a:lnTo>
                  <a:lnTo>
                    <a:pt x="40" y="197"/>
                  </a:lnTo>
                  <a:lnTo>
                    <a:pt x="40" y="198"/>
                  </a:lnTo>
                  <a:lnTo>
                    <a:pt x="40" y="197"/>
                  </a:lnTo>
                  <a:lnTo>
                    <a:pt x="40" y="196"/>
                  </a:lnTo>
                  <a:lnTo>
                    <a:pt x="40" y="195"/>
                  </a:lnTo>
                  <a:lnTo>
                    <a:pt x="39" y="195"/>
                  </a:lnTo>
                  <a:lnTo>
                    <a:pt x="38" y="195"/>
                  </a:lnTo>
                  <a:lnTo>
                    <a:pt x="38" y="196"/>
                  </a:lnTo>
                  <a:lnTo>
                    <a:pt x="38" y="198"/>
                  </a:lnTo>
                  <a:lnTo>
                    <a:pt x="37" y="196"/>
                  </a:lnTo>
                  <a:lnTo>
                    <a:pt x="37" y="195"/>
                  </a:lnTo>
                  <a:lnTo>
                    <a:pt x="37" y="196"/>
                  </a:lnTo>
                  <a:lnTo>
                    <a:pt x="37" y="197"/>
                  </a:lnTo>
                  <a:lnTo>
                    <a:pt x="37" y="196"/>
                  </a:lnTo>
                  <a:lnTo>
                    <a:pt x="35" y="196"/>
                  </a:lnTo>
                  <a:lnTo>
                    <a:pt x="35" y="195"/>
                  </a:lnTo>
                  <a:lnTo>
                    <a:pt x="35" y="196"/>
                  </a:lnTo>
                  <a:lnTo>
                    <a:pt x="34" y="196"/>
                  </a:lnTo>
                  <a:lnTo>
                    <a:pt x="34" y="195"/>
                  </a:lnTo>
                  <a:lnTo>
                    <a:pt x="33" y="196"/>
                  </a:lnTo>
                  <a:lnTo>
                    <a:pt x="33" y="195"/>
                  </a:lnTo>
                  <a:lnTo>
                    <a:pt x="32" y="196"/>
                  </a:lnTo>
                  <a:lnTo>
                    <a:pt x="32" y="195"/>
                  </a:lnTo>
                  <a:lnTo>
                    <a:pt x="32" y="196"/>
                  </a:lnTo>
                  <a:lnTo>
                    <a:pt x="31" y="195"/>
                  </a:lnTo>
                  <a:lnTo>
                    <a:pt x="31" y="194"/>
                  </a:lnTo>
                  <a:lnTo>
                    <a:pt x="31" y="192"/>
                  </a:lnTo>
                  <a:lnTo>
                    <a:pt x="29" y="192"/>
                  </a:lnTo>
                  <a:lnTo>
                    <a:pt x="29" y="194"/>
                  </a:lnTo>
                  <a:lnTo>
                    <a:pt x="29" y="195"/>
                  </a:lnTo>
                  <a:lnTo>
                    <a:pt x="29" y="197"/>
                  </a:lnTo>
                  <a:lnTo>
                    <a:pt x="29" y="196"/>
                  </a:lnTo>
                  <a:lnTo>
                    <a:pt x="29" y="195"/>
                  </a:lnTo>
                  <a:lnTo>
                    <a:pt x="28" y="194"/>
                  </a:lnTo>
                  <a:lnTo>
                    <a:pt x="28" y="195"/>
                  </a:lnTo>
                  <a:lnTo>
                    <a:pt x="28" y="196"/>
                  </a:lnTo>
                  <a:lnTo>
                    <a:pt x="28" y="197"/>
                  </a:lnTo>
                  <a:lnTo>
                    <a:pt x="28" y="196"/>
                  </a:lnTo>
                  <a:lnTo>
                    <a:pt x="28" y="195"/>
                  </a:lnTo>
                  <a:lnTo>
                    <a:pt x="27" y="195"/>
                  </a:lnTo>
                  <a:lnTo>
                    <a:pt x="27" y="196"/>
                  </a:lnTo>
                  <a:lnTo>
                    <a:pt x="27" y="197"/>
                  </a:lnTo>
                  <a:lnTo>
                    <a:pt x="27" y="198"/>
                  </a:lnTo>
                  <a:lnTo>
                    <a:pt x="27" y="200"/>
                  </a:lnTo>
                  <a:lnTo>
                    <a:pt x="26" y="198"/>
                  </a:lnTo>
                  <a:lnTo>
                    <a:pt x="26" y="197"/>
                  </a:lnTo>
                  <a:lnTo>
                    <a:pt x="24" y="197"/>
                  </a:lnTo>
                  <a:lnTo>
                    <a:pt x="24" y="196"/>
                  </a:lnTo>
                  <a:lnTo>
                    <a:pt x="26" y="196"/>
                  </a:lnTo>
                  <a:lnTo>
                    <a:pt x="26" y="195"/>
                  </a:lnTo>
                  <a:lnTo>
                    <a:pt x="27" y="194"/>
                  </a:lnTo>
                  <a:lnTo>
                    <a:pt x="26" y="194"/>
                  </a:lnTo>
                  <a:lnTo>
                    <a:pt x="27" y="194"/>
                  </a:lnTo>
                  <a:lnTo>
                    <a:pt x="27" y="192"/>
                  </a:lnTo>
                  <a:lnTo>
                    <a:pt x="28" y="192"/>
                  </a:lnTo>
                  <a:lnTo>
                    <a:pt x="29" y="192"/>
                  </a:lnTo>
                  <a:lnTo>
                    <a:pt x="29" y="191"/>
                  </a:lnTo>
                  <a:lnTo>
                    <a:pt x="31" y="190"/>
                  </a:lnTo>
                  <a:lnTo>
                    <a:pt x="33" y="190"/>
                  </a:lnTo>
                  <a:lnTo>
                    <a:pt x="34" y="190"/>
                  </a:lnTo>
                  <a:lnTo>
                    <a:pt x="35" y="190"/>
                  </a:lnTo>
                  <a:lnTo>
                    <a:pt x="34" y="189"/>
                  </a:lnTo>
                  <a:lnTo>
                    <a:pt x="35" y="189"/>
                  </a:lnTo>
                  <a:lnTo>
                    <a:pt x="37" y="189"/>
                  </a:lnTo>
                  <a:lnTo>
                    <a:pt x="38" y="189"/>
                  </a:lnTo>
                  <a:lnTo>
                    <a:pt x="38" y="188"/>
                  </a:lnTo>
                  <a:lnTo>
                    <a:pt x="37" y="186"/>
                  </a:lnTo>
                  <a:lnTo>
                    <a:pt x="35" y="186"/>
                  </a:lnTo>
                  <a:lnTo>
                    <a:pt x="35" y="188"/>
                  </a:lnTo>
                  <a:lnTo>
                    <a:pt x="35" y="186"/>
                  </a:lnTo>
                  <a:lnTo>
                    <a:pt x="34" y="188"/>
                  </a:lnTo>
                  <a:lnTo>
                    <a:pt x="34" y="186"/>
                  </a:lnTo>
                  <a:lnTo>
                    <a:pt x="34" y="188"/>
                  </a:lnTo>
                  <a:lnTo>
                    <a:pt x="33" y="189"/>
                  </a:lnTo>
                  <a:lnTo>
                    <a:pt x="33" y="190"/>
                  </a:lnTo>
                  <a:lnTo>
                    <a:pt x="33" y="189"/>
                  </a:lnTo>
                  <a:lnTo>
                    <a:pt x="33" y="188"/>
                  </a:lnTo>
                  <a:lnTo>
                    <a:pt x="32" y="188"/>
                  </a:lnTo>
                  <a:lnTo>
                    <a:pt x="32" y="186"/>
                  </a:lnTo>
                  <a:lnTo>
                    <a:pt x="31" y="188"/>
                  </a:lnTo>
                  <a:lnTo>
                    <a:pt x="31" y="189"/>
                  </a:lnTo>
                  <a:lnTo>
                    <a:pt x="29" y="189"/>
                  </a:lnTo>
                  <a:lnTo>
                    <a:pt x="28" y="189"/>
                  </a:lnTo>
                  <a:lnTo>
                    <a:pt x="28" y="190"/>
                  </a:lnTo>
                  <a:lnTo>
                    <a:pt x="28" y="189"/>
                  </a:lnTo>
                  <a:lnTo>
                    <a:pt x="28" y="188"/>
                  </a:lnTo>
                  <a:lnTo>
                    <a:pt x="27" y="188"/>
                  </a:lnTo>
                  <a:lnTo>
                    <a:pt x="27" y="186"/>
                  </a:lnTo>
                  <a:lnTo>
                    <a:pt x="27" y="188"/>
                  </a:lnTo>
                  <a:lnTo>
                    <a:pt x="27" y="189"/>
                  </a:lnTo>
                  <a:lnTo>
                    <a:pt x="26" y="189"/>
                  </a:lnTo>
                  <a:lnTo>
                    <a:pt x="26" y="190"/>
                  </a:lnTo>
                  <a:lnTo>
                    <a:pt x="26" y="191"/>
                  </a:lnTo>
                  <a:lnTo>
                    <a:pt x="26" y="190"/>
                  </a:lnTo>
                  <a:lnTo>
                    <a:pt x="26" y="189"/>
                  </a:lnTo>
                  <a:lnTo>
                    <a:pt x="24" y="188"/>
                  </a:lnTo>
                  <a:lnTo>
                    <a:pt x="24" y="189"/>
                  </a:lnTo>
                  <a:lnTo>
                    <a:pt x="24" y="190"/>
                  </a:lnTo>
                  <a:lnTo>
                    <a:pt x="23" y="189"/>
                  </a:lnTo>
                  <a:lnTo>
                    <a:pt x="23" y="188"/>
                  </a:lnTo>
                  <a:lnTo>
                    <a:pt x="22" y="188"/>
                  </a:lnTo>
                  <a:lnTo>
                    <a:pt x="22" y="189"/>
                  </a:lnTo>
                  <a:lnTo>
                    <a:pt x="21" y="189"/>
                  </a:lnTo>
                  <a:lnTo>
                    <a:pt x="20" y="190"/>
                  </a:lnTo>
                  <a:lnTo>
                    <a:pt x="20" y="191"/>
                  </a:lnTo>
                  <a:lnTo>
                    <a:pt x="18" y="191"/>
                  </a:lnTo>
                  <a:lnTo>
                    <a:pt x="18" y="190"/>
                  </a:lnTo>
                  <a:lnTo>
                    <a:pt x="18" y="189"/>
                  </a:lnTo>
                  <a:lnTo>
                    <a:pt x="18" y="190"/>
                  </a:lnTo>
                  <a:lnTo>
                    <a:pt x="17" y="190"/>
                  </a:lnTo>
                  <a:lnTo>
                    <a:pt x="18" y="189"/>
                  </a:lnTo>
                  <a:lnTo>
                    <a:pt x="18" y="188"/>
                  </a:lnTo>
                  <a:lnTo>
                    <a:pt x="20" y="186"/>
                  </a:lnTo>
                  <a:lnTo>
                    <a:pt x="20" y="185"/>
                  </a:lnTo>
                  <a:lnTo>
                    <a:pt x="20" y="184"/>
                  </a:lnTo>
                  <a:lnTo>
                    <a:pt x="20" y="186"/>
                  </a:lnTo>
                  <a:lnTo>
                    <a:pt x="18" y="185"/>
                  </a:lnTo>
                  <a:lnTo>
                    <a:pt x="18" y="184"/>
                  </a:lnTo>
                  <a:lnTo>
                    <a:pt x="18" y="183"/>
                  </a:lnTo>
                  <a:lnTo>
                    <a:pt x="20" y="182"/>
                  </a:lnTo>
                  <a:lnTo>
                    <a:pt x="20" y="180"/>
                  </a:lnTo>
                  <a:lnTo>
                    <a:pt x="18" y="180"/>
                  </a:lnTo>
                  <a:lnTo>
                    <a:pt x="17" y="180"/>
                  </a:lnTo>
                  <a:lnTo>
                    <a:pt x="17" y="183"/>
                  </a:lnTo>
                  <a:lnTo>
                    <a:pt x="17" y="185"/>
                  </a:lnTo>
                  <a:lnTo>
                    <a:pt x="17" y="184"/>
                  </a:lnTo>
                  <a:lnTo>
                    <a:pt x="17" y="183"/>
                  </a:lnTo>
                  <a:lnTo>
                    <a:pt x="17" y="182"/>
                  </a:lnTo>
                  <a:lnTo>
                    <a:pt x="16" y="182"/>
                  </a:lnTo>
                  <a:lnTo>
                    <a:pt x="17" y="183"/>
                  </a:lnTo>
                  <a:lnTo>
                    <a:pt x="16" y="184"/>
                  </a:lnTo>
                  <a:lnTo>
                    <a:pt x="16" y="185"/>
                  </a:lnTo>
                  <a:lnTo>
                    <a:pt x="16" y="186"/>
                  </a:lnTo>
                  <a:lnTo>
                    <a:pt x="15" y="185"/>
                  </a:lnTo>
                  <a:lnTo>
                    <a:pt x="15" y="184"/>
                  </a:lnTo>
                  <a:lnTo>
                    <a:pt x="15" y="183"/>
                  </a:lnTo>
                  <a:lnTo>
                    <a:pt x="14" y="183"/>
                  </a:lnTo>
                  <a:lnTo>
                    <a:pt x="12" y="183"/>
                  </a:lnTo>
                  <a:lnTo>
                    <a:pt x="12" y="182"/>
                  </a:lnTo>
                  <a:lnTo>
                    <a:pt x="14" y="182"/>
                  </a:lnTo>
                  <a:lnTo>
                    <a:pt x="15" y="182"/>
                  </a:lnTo>
                  <a:lnTo>
                    <a:pt x="15" y="180"/>
                  </a:lnTo>
                  <a:lnTo>
                    <a:pt x="16" y="180"/>
                  </a:lnTo>
                  <a:lnTo>
                    <a:pt x="17" y="180"/>
                  </a:lnTo>
                  <a:lnTo>
                    <a:pt x="20" y="179"/>
                  </a:lnTo>
                  <a:lnTo>
                    <a:pt x="21" y="179"/>
                  </a:lnTo>
                  <a:lnTo>
                    <a:pt x="22" y="179"/>
                  </a:lnTo>
                  <a:lnTo>
                    <a:pt x="23" y="178"/>
                  </a:lnTo>
                  <a:lnTo>
                    <a:pt x="24" y="178"/>
                  </a:lnTo>
                  <a:lnTo>
                    <a:pt x="26" y="178"/>
                  </a:lnTo>
                  <a:lnTo>
                    <a:pt x="27" y="178"/>
                  </a:lnTo>
                  <a:lnTo>
                    <a:pt x="29" y="177"/>
                  </a:lnTo>
                  <a:lnTo>
                    <a:pt x="32" y="177"/>
                  </a:lnTo>
                  <a:lnTo>
                    <a:pt x="33" y="177"/>
                  </a:lnTo>
                  <a:lnTo>
                    <a:pt x="34" y="177"/>
                  </a:lnTo>
                  <a:lnTo>
                    <a:pt x="34" y="176"/>
                  </a:lnTo>
                  <a:lnTo>
                    <a:pt x="34" y="174"/>
                  </a:lnTo>
                  <a:lnTo>
                    <a:pt x="35" y="174"/>
                  </a:lnTo>
                  <a:lnTo>
                    <a:pt x="34" y="173"/>
                  </a:lnTo>
                  <a:lnTo>
                    <a:pt x="34" y="172"/>
                  </a:lnTo>
                  <a:lnTo>
                    <a:pt x="33" y="172"/>
                  </a:lnTo>
                  <a:lnTo>
                    <a:pt x="33" y="173"/>
                  </a:lnTo>
                  <a:lnTo>
                    <a:pt x="32" y="176"/>
                  </a:lnTo>
                  <a:lnTo>
                    <a:pt x="31" y="176"/>
                  </a:lnTo>
                  <a:lnTo>
                    <a:pt x="31" y="174"/>
                  </a:lnTo>
                  <a:lnTo>
                    <a:pt x="31" y="176"/>
                  </a:lnTo>
                  <a:lnTo>
                    <a:pt x="29" y="174"/>
                  </a:lnTo>
                  <a:lnTo>
                    <a:pt x="28" y="174"/>
                  </a:lnTo>
                  <a:lnTo>
                    <a:pt x="29" y="173"/>
                  </a:lnTo>
                  <a:lnTo>
                    <a:pt x="29" y="172"/>
                  </a:lnTo>
                  <a:lnTo>
                    <a:pt x="29" y="171"/>
                  </a:lnTo>
                  <a:lnTo>
                    <a:pt x="28" y="170"/>
                  </a:lnTo>
                  <a:lnTo>
                    <a:pt x="28" y="171"/>
                  </a:lnTo>
                  <a:lnTo>
                    <a:pt x="27" y="170"/>
                  </a:lnTo>
                  <a:lnTo>
                    <a:pt x="26" y="168"/>
                  </a:lnTo>
                  <a:lnTo>
                    <a:pt x="27" y="170"/>
                  </a:lnTo>
                  <a:lnTo>
                    <a:pt x="27" y="171"/>
                  </a:lnTo>
                  <a:lnTo>
                    <a:pt x="27" y="172"/>
                  </a:lnTo>
                  <a:lnTo>
                    <a:pt x="26" y="173"/>
                  </a:lnTo>
                  <a:lnTo>
                    <a:pt x="26" y="174"/>
                  </a:lnTo>
                  <a:lnTo>
                    <a:pt x="24" y="174"/>
                  </a:lnTo>
                  <a:lnTo>
                    <a:pt x="23" y="174"/>
                  </a:lnTo>
                  <a:lnTo>
                    <a:pt x="23" y="173"/>
                  </a:lnTo>
                  <a:lnTo>
                    <a:pt x="22" y="173"/>
                  </a:lnTo>
                  <a:lnTo>
                    <a:pt x="21" y="173"/>
                  </a:lnTo>
                  <a:lnTo>
                    <a:pt x="22" y="172"/>
                  </a:lnTo>
                  <a:lnTo>
                    <a:pt x="23" y="172"/>
                  </a:lnTo>
                  <a:lnTo>
                    <a:pt x="23" y="171"/>
                  </a:lnTo>
                  <a:lnTo>
                    <a:pt x="24" y="170"/>
                  </a:lnTo>
                  <a:lnTo>
                    <a:pt x="24" y="168"/>
                  </a:lnTo>
                  <a:lnTo>
                    <a:pt x="24" y="167"/>
                  </a:lnTo>
                  <a:lnTo>
                    <a:pt x="26" y="167"/>
                  </a:lnTo>
                  <a:lnTo>
                    <a:pt x="27" y="167"/>
                  </a:lnTo>
                  <a:lnTo>
                    <a:pt x="27" y="166"/>
                  </a:lnTo>
                  <a:lnTo>
                    <a:pt x="28" y="166"/>
                  </a:lnTo>
                  <a:lnTo>
                    <a:pt x="29" y="166"/>
                  </a:lnTo>
                  <a:lnTo>
                    <a:pt x="32" y="165"/>
                  </a:lnTo>
                  <a:lnTo>
                    <a:pt x="33" y="164"/>
                  </a:lnTo>
                  <a:lnTo>
                    <a:pt x="32" y="164"/>
                  </a:lnTo>
                  <a:lnTo>
                    <a:pt x="32" y="162"/>
                  </a:lnTo>
                  <a:lnTo>
                    <a:pt x="31" y="162"/>
                  </a:lnTo>
                  <a:lnTo>
                    <a:pt x="31" y="164"/>
                  </a:lnTo>
                  <a:lnTo>
                    <a:pt x="29" y="164"/>
                  </a:lnTo>
                  <a:lnTo>
                    <a:pt x="31" y="162"/>
                  </a:lnTo>
                  <a:lnTo>
                    <a:pt x="29" y="162"/>
                  </a:lnTo>
                  <a:lnTo>
                    <a:pt x="28" y="162"/>
                  </a:lnTo>
                  <a:lnTo>
                    <a:pt x="29" y="162"/>
                  </a:lnTo>
                  <a:lnTo>
                    <a:pt x="29" y="161"/>
                  </a:lnTo>
                  <a:lnTo>
                    <a:pt x="31" y="161"/>
                  </a:lnTo>
                  <a:lnTo>
                    <a:pt x="32" y="161"/>
                  </a:lnTo>
                  <a:lnTo>
                    <a:pt x="33" y="161"/>
                  </a:lnTo>
                  <a:lnTo>
                    <a:pt x="34" y="161"/>
                  </a:lnTo>
                  <a:lnTo>
                    <a:pt x="34" y="160"/>
                  </a:lnTo>
                  <a:lnTo>
                    <a:pt x="35" y="160"/>
                  </a:lnTo>
                  <a:lnTo>
                    <a:pt x="35" y="159"/>
                  </a:lnTo>
                  <a:lnTo>
                    <a:pt x="37" y="159"/>
                  </a:lnTo>
                  <a:lnTo>
                    <a:pt x="37" y="158"/>
                  </a:lnTo>
                  <a:lnTo>
                    <a:pt x="37" y="156"/>
                  </a:lnTo>
                  <a:lnTo>
                    <a:pt x="38" y="156"/>
                  </a:lnTo>
                  <a:lnTo>
                    <a:pt x="39" y="154"/>
                  </a:lnTo>
                  <a:lnTo>
                    <a:pt x="40" y="153"/>
                  </a:lnTo>
                  <a:lnTo>
                    <a:pt x="39" y="152"/>
                  </a:lnTo>
                  <a:lnTo>
                    <a:pt x="39" y="153"/>
                  </a:lnTo>
                  <a:lnTo>
                    <a:pt x="38" y="153"/>
                  </a:lnTo>
                  <a:lnTo>
                    <a:pt x="38" y="154"/>
                  </a:lnTo>
                  <a:lnTo>
                    <a:pt x="38" y="155"/>
                  </a:lnTo>
                  <a:lnTo>
                    <a:pt x="37" y="154"/>
                  </a:lnTo>
                  <a:lnTo>
                    <a:pt x="37" y="153"/>
                  </a:lnTo>
                  <a:lnTo>
                    <a:pt x="35" y="153"/>
                  </a:lnTo>
                  <a:lnTo>
                    <a:pt x="35" y="154"/>
                  </a:lnTo>
                  <a:lnTo>
                    <a:pt x="35" y="155"/>
                  </a:lnTo>
                  <a:lnTo>
                    <a:pt x="35" y="154"/>
                  </a:lnTo>
                  <a:lnTo>
                    <a:pt x="35" y="153"/>
                  </a:lnTo>
                  <a:lnTo>
                    <a:pt x="35" y="154"/>
                  </a:lnTo>
                  <a:lnTo>
                    <a:pt x="34" y="154"/>
                  </a:lnTo>
                  <a:lnTo>
                    <a:pt x="34" y="153"/>
                  </a:lnTo>
                  <a:lnTo>
                    <a:pt x="34" y="154"/>
                  </a:lnTo>
                  <a:lnTo>
                    <a:pt x="33" y="154"/>
                  </a:lnTo>
                  <a:lnTo>
                    <a:pt x="33" y="153"/>
                  </a:lnTo>
                  <a:lnTo>
                    <a:pt x="32" y="153"/>
                  </a:lnTo>
                  <a:lnTo>
                    <a:pt x="33" y="154"/>
                  </a:lnTo>
                  <a:lnTo>
                    <a:pt x="33" y="156"/>
                  </a:lnTo>
                  <a:lnTo>
                    <a:pt x="32" y="156"/>
                  </a:lnTo>
                  <a:lnTo>
                    <a:pt x="32" y="158"/>
                  </a:lnTo>
                  <a:lnTo>
                    <a:pt x="31" y="158"/>
                  </a:lnTo>
                  <a:lnTo>
                    <a:pt x="31" y="156"/>
                  </a:lnTo>
                  <a:lnTo>
                    <a:pt x="31" y="155"/>
                  </a:lnTo>
                  <a:lnTo>
                    <a:pt x="32" y="154"/>
                  </a:lnTo>
                  <a:lnTo>
                    <a:pt x="32" y="153"/>
                  </a:lnTo>
                  <a:lnTo>
                    <a:pt x="32" y="150"/>
                  </a:lnTo>
                  <a:lnTo>
                    <a:pt x="32" y="149"/>
                  </a:lnTo>
                  <a:lnTo>
                    <a:pt x="31" y="149"/>
                  </a:lnTo>
                  <a:lnTo>
                    <a:pt x="31" y="150"/>
                  </a:lnTo>
                  <a:lnTo>
                    <a:pt x="29" y="150"/>
                  </a:lnTo>
                  <a:lnTo>
                    <a:pt x="29" y="149"/>
                  </a:lnTo>
                  <a:lnTo>
                    <a:pt x="29" y="148"/>
                  </a:lnTo>
                  <a:lnTo>
                    <a:pt x="29" y="150"/>
                  </a:lnTo>
                  <a:lnTo>
                    <a:pt x="28" y="150"/>
                  </a:lnTo>
                  <a:lnTo>
                    <a:pt x="28" y="149"/>
                  </a:lnTo>
                  <a:lnTo>
                    <a:pt x="27" y="148"/>
                  </a:lnTo>
                  <a:lnTo>
                    <a:pt x="27" y="149"/>
                  </a:lnTo>
                  <a:lnTo>
                    <a:pt x="27" y="150"/>
                  </a:lnTo>
                  <a:lnTo>
                    <a:pt x="27" y="152"/>
                  </a:lnTo>
                  <a:lnTo>
                    <a:pt x="27" y="150"/>
                  </a:lnTo>
                  <a:lnTo>
                    <a:pt x="27" y="149"/>
                  </a:lnTo>
                  <a:lnTo>
                    <a:pt x="27" y="148"/>
                  </a:lnTo>
                  <a:lnTo>
                    <a:pt x="26" y="147"/>
                  </a:lnTo>
                  <a:lnTo>
                    <a:pt x="27" y="146"/>
                  </a:lnTo>
                  <a:lnTo>
                    <a:pt x="26" y="146"/>
                  </a:lnTo>
                  <a:lnTo>
                    <a:pt x="26" y="144"/>
                  </a:lnTo>
                  <a:lnTo>
                    <a:pt x="24" y="144"/>
                  </a:lnTo>
                  <a:lnTo>
                    <a:pt x="24" y="143"/>
                  </a:lnTo>
                  <a:lnTo>
                    <a:pt x="26" y="143"/>
                  </a:lnTo>
                  <a:lnTo>
                    <a:pt x="27" y="144"/>
                  </a:lnTo>
                  <a:lnTo>
                    <a:pt x="27" y="143"/>
                  </a:lnTo>
                  <a:lnTo>
                    <a:pt x="27" y="144"/>
                  </a:lnTo>
                  <a:lnTo>
                    <a:pt x="28" y="144"/>
                  </a:lnTo>
                  <a:lnTo>
                    <a:pt x="28" y="143"/>
                  </a:lnTo>
                  <a:lnTo>
                    <a:pt x="28" y="144"/>
                  </a:lnTo>
                  <a:lnTo>
                    <a:pt x="29" y="144"/>
                  </a:lnTo>
                  <a:lnTo>
                    <a:pt x="31" y="146"/>
                  </a:lnTo>
                  <a:lnTo>
                    <a:pt x="33" y="146"/>
                  </a:lnTo>
                  <a:lnTo>
                    <a:pt x="34" y="146"/>
                  </a:lnTo>
                  <a:lnTo>
                    <a:pt x="35" y="147"/>
                  </a:lnTo>
                  <a:lnTo>
                    <a:pt x="37" y="147"/>
                  </a:lnTo>
                  <a:lnTo>
                    <a:pt x="38" y="147"/>
                  </a:lnTo>
                  <a:lnTo>
                    <a:pt x="39" y="147"/>
                  </a:lnTo>
                  <a:lnTo>
                    <a:pt x="40" y="147"/>
                  </a:lnTo>
                  <a:lnTo>
                    <a:pt x="41" y="147"/>
                  </a:lnTo>
                  <a:lnTo>
                    <a:pt x="43" y="148"/>
                  </a:lnTo>
                  <a:lnTo>
                    <a:pt x="45" y="147"/>
                  </a:lnTo>
                  <a:lnTo>
                    <a:pt x="46" y="147"/>
                  </a:lnTo>
                  <a:lnTo>
                    <a:pt x="47" y="147"/>
                  </a:lnTo>
                  <a:lnTo>
                    <a:pt x="47" y="146"/>
                  </a:lnTo>
                  <a:lnTo>
                    <a:pt x="47" y="144"/>
                  </a:lnTo>
                  <a:lnTo>
                    <a:pt x="49" y="144"/>
                  </a:lnTo>
                  <a:lnTo>
                    <a:pt x="50" y="146"/>
                  </a:lnTo>
                  <a:lnTo>
                    <a:pt x="51" y="146"/>
                  </a:lnTo>
                  <a:lnTo>
                    <a:pt x="52" y="144"/>
                  </a:lnTo>
                  <a:lnTo>
                    <a:pt x="53" y="144"/>
                  </a:lnTo>
                  <a:lnTo>
                    <a:pt x="55" y="143"/>
                  </a:lnTo>
                  <a:lnTo>
                    <a:pt x="56" y="142"/>
                  </a:lnTo>
                  <a:lnTo>
                    <a:pt x="57" y="141"/>
                  </a:lnTo>
                  <a:lnTo>
                    <a:pt x="58" y="140"/>
                  </a:lnTo>
                  <a:lnTo>
                    <a:pt x="57" y="140"/>
                  </a:lnTo>
                  <a:lnTo>
                    <a:pt x="58" y="138"/>
                  </a:lnTo>
                  <a:lnTo>
                    <a:pt x="58" y="137"/>
                  </a:lnTo>
                  <a:lnTo>
                    <a:pt x="57" y="137"/>
                  </a:lnTo>
                  <a:lnTo>
                    <a:pt x="57" y="138"/>
                  </a:lnTo>
                  <a:lnTo>
                    <a:pt x="56" y="137"/>
                  </a:lnTo>
                  <a:lnTo>
                    <a:pt x="56" y="138"/>
                  </a:lnTo>
                  <a:lnTo>
                    <a:pt x="56" y="141"/>
                  </a:lnTo>
                  <a:lnTo>
                    <a:pt x="55" y="140"/>
                  </a:lnTo>
                  <a:lnTo>
                    <a:pt x="55" y="138"/>
                  </a:lnTo>
                  <a:lnTo>
                    <a:pt x="53" y="138"/>
                  </a:lnTo>
                  <a:lnTo>
                    <a:pt x="53" y="140"/>
                  </a:lnTo>
                  <a:lnTo>
                    <a:pt x="53" y="141"/>
                  </a:lnTo>
                  <a:lnTo>
                    <a:pt x="52" y="140"/>
                  </a:lnTo>
                  <a:lnTo>
                    <a:pt x="52" y="138"/>
                  </a:lnTo>
                  <a:lnTo>
                    <a:pt x="52" y="140"/>
                  </a:lnTo>
                  <a:lnTo>
                    <a:pt x="51" y="138"/>
                  </a:lnTo>
                  <a:lnTo>
                    <a:pt x="51" y="137"/>
                  </a:lnTo>
                  <a:lnTo>
                    <a:pt x="51" y="140"/>
                  </a:lnTo>
                  <a:lnTo>
                    <a:pt x="51" y="141"/>
                  </a:lnTo>
                  <a:lnTo>
                    <a:pt x="51" y="140"/>
                  </a:lnTo>
                  <a:lnTo>
                    <a:pt x="50" y="138"/>
                  </a:lnTo>
                  <a:lnTo>
                    <a:pt x="49" y="138"/>
                  </a:lnTo>
                  <a:lnTo>
                    <a:pt x="49" y="140"/>
                  </a:lnTo>
                  <a:lnTo>
                    <a:pt x="50" y="141"/>
                  </a:lnTo>
                  <a:lnTo>
                    <a:pt x="49" y="141"/>
                  </a:lnTo>
                  <a:lnTo>
                    <a:pt x="49" y="140"/>
                  </a:lnTo>
                  <a:lnTo>
                    <a:pt x="49" y="138"/>
                  </a:lnTo>
                  <a:lnTo>
                    <a:pt x="47" y="137"/>
                  </a:lnTo>
                  <a:lnTo>
                    <a:pt x="47" y="140"/>
                  </a:lnTo>
                  <a:lnTo>
                    <a:pt x="49" y="141"/>
                  </a:lnTo>
                  <a:lnTo>
                    <a:pt x="47" y="140"/>
                  </a:lnTo>
                  <a:lnTo>
                    <a:pt x="47" y="138"/>
                  </a:lnTo>
                  <a:lnTo>
                    <a:pt x="47" y="141"/>
                  </a:lnTo>
                  <a:lnTo>
                    <a:pt x="46" y="141"/>
                  </a:lnTo>
                  <a:lnTo>
                    <a:pt x="46" y="140"/>
                  </a:lnTo>
                  <a:lnTo>
                    <a:pt x="45" y="140"/>
                  </a:lnTo>
                  <a:lnTo>
                    <a:pt x="45" y="141"/>
                  </a:lnTo>
                  <a:lnTo>
                    <a:pt x="44" y="140"/>
                  </a:lnTo>
                  <a:lnTo>
                    <a:pt x="44" y="142"/>
                  </a:lnTo>
                  <a:lnTo>
                    <a:pt x="43" y="143"/>
                  </a:lnTo>
                  <a:lnTo>
                    <a:pt x="43" y="142"/>
                  </a:lnTo>
                  <a:lnTo>
                    <a:pt x="41" y="142"/>
                  </a:lnTo>
                  <a:lnTo>
                    <a:pt x="41" y="144"/>
                  </a:lnTo>
                  <a:lnTo>
                    <a:pt x="41" y="143"/>
                  </a:lnTo>
                  <a:lnTo>
                    <a:pt x="40" y="142"/>
                  </a:lnTo>
                  <a:lnTo>
                    <a:pt x="40" y="143"/>
                  </a:lnTo>
                  <a:lnTo>
                    <a:pt x="40" y="142"/>
                  </a:lnTo>
                  <a:lnTo>
                    <a:pt x="39" y="141"/>
                  </a:lnTo>
                  <a:lnTo>
                    <a:pt x="39" y="142"/>
                  </a:lnTo>
                  <a:lnTo>
                    <a:pt x="39" y="143"/>
                  </a:lnTo>
                  <a:lnTo>
                    <a:pt x="39" y="144"/>
                  </a:lnTo>
                  <a:lnTo>
                    <a:pt x="39" y="146"/>
                  </a:lnTo>
                  <a:lnTo>
                    <a:pt x="38" y="146"/>
                  </a:lnTo>
                  <a:lnTo>
                    <a:pt x="38" y="144"/>
                  </a:lnTo>
                  <a:lnTo>
                    <a:pt x="38" y="143"/>
                  </a:lnTo>
                  <a:lnTo>
                    <a:pt x="38" y="142"/>
                  </a:lnTo>
                  <a:lnTo>
                    <a:pt x="37" y="143"/>
                  </a:lnTo>
                  <a:lnTo>
                    <a:pt x="37" y="144"/>
                  </a:lnTo>
                  <a:lnTo>
                    <a:pt x="37" y="143"/>
                  </a:lnTo>
                  <a:lnTo>
                    <a:pt x="37" y="144"/>
                  </a:lnTo>
                  <a:lnTo>
                    <a:pt x="35" y="146"/>
                  </a:lnTo>
                  <a:lnTo>
                    <a:pt x="35" y="144"/>
                  </a:lnTo>
                  <a:lnTo>
                    <a:pt x="35" y="143"/>
                  </a:lnTo>
                  <a:lnTo>
                    <a:pt x="34" y="144"/>
                  </a:lnTo>
                  <a:lnTo>
                    <a:pt x="34" y="143"/>
                  </a:lnTo>
                  <a:lnTo>
                    <a:pt x="35" y="143"/>
                  </a:lnTo>
                  <a:lnTo>
                    <a:pt x="37" y="143"/>
                  </a:lnTo>
                  <a:lnTo>
                    <a:pt x="35" y="142"/>
                  </a:lnTo>
                  <a:lnTo>
                    <a:pt x="37" y="142"/>
                  </a:lnTo>
                  <a:lnTo>
                    <a:pt x="38" y="142"/>
                  </a:lnTo>
                  <a:lnTo>
                    <a:pt x="38" y="141"/>
                  </a:lnTo>
                  <a:lnTo>
                    <a:pt x="38" y="140"/>
                  </a:lnTo>
                  <a:lnTo>
                    <a:pt x="39" y="140"/>
                  </a:lnTo>
                  <a:lnTo>
                    <a:pt x="39" y="138"/>
                  </a:lnTo>
                  <a:lnTo>
                    <a:pt x="40" y="138"/>
                  </a:lnTo>
                  <a:lnTo>
                    <a:pt x="40" y="137"/>
                  </a:lnTo>
                  <a:lnTo>
                    <a:pt x="41" y="137"/>
                  </a:lnTo>
                  <a:lnTo>
                    <a:pt x="41" y="136"/>
                  </a:lnTo>
                  <a:lnTo>
                    <a:pt x="41" y="135"/>
                  </a:lnTo>
                  <a:lnTo>
                    <a:pt x="40" y="136"/>
                  </a:lnTo>
                  <a:lnTo>
                    <a:pt x="40" y="137"/>
                  </a:lnTo>
                  <a:lnTo>
                    <a:pt x="39" y="137"/>
                  </a:lnTo>
                  <a:lnTo>
                    <a:pt x="39" y="136"/>
                  </a:lnTo>
                  <a:lnTo>
                    <a:pt x="39" y="137"/>
                  </a:lnTo>
                  <a:lnTo>
                    <a:pt x="39" y="136"/>
                  </a:lnTo>
                  <a:lnTo>
                    <a:pt x="39" y="135"/>
                  </a:lnTo>
                  <a:lnTo>
                    <a:pt x="40" y="135"/>
                  </a:lnTo>
                  <a:lnTo>
                    <a:pt x="40" y="134"/>
                  </a:lnTo>
                  <a:lnTo>
                    <a:pt x="39" y="134"/>
                  </a:lnTo>
                  <a:lnTo>
                    <a:pt x="40" y="134"/>
                  </a:lnTo>
                  <a:lnTo>
                    <a:pt x="43" y="134"/>
                  </a:lnTo>
                  <a:lnTo>
                    <a:pt x="44" y="132"/>
                  </a:lnTo>
                  <a:lnTo>
                    <a:pt x="45" y="132"/>
                  </a:lnTo>
                  <a:lnTo>
                    <a:pt x="46" y="131"/>
                  </a:lnTo>
                  <a:lnTo>
                    <a:pt x="47" y="130"/>
                  </a:lnTo>
                  <a:lnTo>
                    <a:pt x="49" y="130"/>
                  </a:lnTo>
                  <a:lnTo>
                    <a:pt x="50" y="130"/>
                  </a:lnTo>
                  <a:lnTo>
                    <a:pt x="51" y="130"/>
                  </a:lnTo>
                  <a:lnTo>
                    <a:pt x="52" y="129"/>
                  </a:lnTo>
                  <a:lnTo>
                    <a:pt x="53" y="129"/>
                  </a:lnTo>
                  <a:lnTo>
                    <a:pt x="53" y="128"/>
                  </a:lnTo>
                  <a:lnTo>
                    <a:pt x="52" y="128"/>
                  </a:lnTo>
                  <a:lnTo>
                    <a:pt x="53" y="128"/>
                  </a:lnTo>
                  <a:lnTo>
                    <a:pt x="55" y="128"/>
                  </a:lnTo>
                  <a:lnTo>
                    <a:pt x="56" y="126"/>
                  </a:lnTo>
                  <a:lnTo>
                    <a:pt x="56" y="125"/>
                  </a:lnTo>
                  <a:lnTo>
                    <a:pt x="56" y="124"/>
                  </a:lnTo>
                  <a:lnTo>
                    <a:pt x="56" y="123"/>
                  </a:lnTo>
                  <a:lnTo>
                    <a:pt x="55" y="122"/>
                  </a:lnTo>
                  <a:lnTo>
                    <a:pt x="55" y="123"/>
                  </a:lnTo>
                  <a:lnTo>
                    <a:pt x="55" y="124"/>
                  </a:lnTo>
                  <a:lnTo>
                    <a:pt x="53" y="124"/>
                  </a:lnTo>
                  <a:lnTo>
                    <a:pt x="52" y="124"/>
                  </a:lnTo>
                  <a:lnTo>
                    <a:pt x="52" y="123"/>
                  </a:lnTo>
                  <a:lnTo>
                    <a:pt x="52" y="124"/>
                  </a:lnTo>
                  <a:lnTo>
                    <a:pt x="52" y="125"/>
                  </a:lnTo>
                  <a:lnTo>
                    <a:pt x="51" y="124"/>
                  </a:lnTo>
                  <a:lnTo>
                    <a:pt x="51" y="123"/>
                  </a:lnTo>
                  <a:lnTo>
                    <a:pt x="51" y="124"/>
                  </a:lnTo>
                  <a:lnTo>
                    <a:pt x="50" y="124"/>
                  </a:lnTo>
                  <a:lnTo>
                    <a:pt x="50" y="123"/>
                  </a:lnTo>
                  <a:lnTo>
                    <a:pt x="50" y="124"/>
                  </a:lnTo>
                  <a:lnTo>
                    <a:pt x="50" y="125"/>
                  </a:lnTo>
                  <a:lnTo>
                    <a:pt x="50" y="126"/>
                  </a:lnTo>
                  <a:lnTo>
                    <a:pt x="49" y="126"/>
                  </a:lnTo>
                  <a:lnTo>
                    <a:pt x="49" y="125"/>
                  </a:lnTo>
                  <a:lnTo>
                    <a:pt x="49" y="124"/>
                  </a:lnTo>
                  <a:lnTo>
                    <a:pt x="49" y="125"/>
                  </a:lnTo>
                  <a:lnTo>
                    <a:pt x="47" y="125"/>
                  </a:lnTo>
                  <a:lnTo>
                    <a:pt x="47" y="124"/>
                  </a:lnTo>
                  <a:lnTo>
                    <a:pt x="46" y="125"/>
                  </a:lnTo>
                  <a:lnTo>
                    <a:pt x="46" y="124"/>
                  </a:lnTo>
                  <a:lnTo>
                    <a:pt x="46" y="125"/>
                  </a:lnTo>
                  <a:lnTo>
                    <a:pt x="45" y="125"/>
                  </a:lnTo>
                  <a:lnTo>
                    <a:pt x="45" y="126"/>
                  </a:lnTo>
                  <a:lnTo>
                    <a:pt x="45" y="128"/>
                  </a:lnTo>
                  <a:lnTo>
                    <a:pt x="44" y="128"/>
                  </a:lnTo>
                  <a:lnTo>
                    <a:pt x="44" y="126"/>
                  </a:lnTo>
                  <a:lnTo>
                    <a:pt x="44" y="125"/>
                  </a:lnTo>
                  <a:lnTo>
                    <a:pt x="43" y="125"/>
                  </a:lnTo>
                  <a:lnTo>
                    <a:pt x="41" y="125"/>
                  </a:lnTo>
                  <a:lnTo>
                    <a:pt x="41" y="124"/>
                  </a:lnTo>
                  <a:lnTo>
                    <a:pt x="41" y="125"/>
                  </a:lnTo>
                  <a:lnTo>
                    <a:pt x="40" y="125"/>
                  </a:lnTo>
                  <a:lnTo>
                    <a:pt x="39" y="125"/>
                  </a:lnTo>
                  <a:lnTo>
                    <a:pt x="40" y="124"/>
                  </a:lnTo>
                  <a:lnTo>
                    <a:pt x="41" y="123"/>
                  </a:lnTo>
                  <a:lnTo>
                    <a:pt x="43" y="123"/>
                  </a:lnTo>
                  <a:lnTo>
                    <a:pt x="44" y="123"/>
                  </a:lnTo>
                  <a:lnTo>
                    <a:pt x="45" y="122"/>
                  </a:lnTo>
                  <a:lnTo>
                    <a:pt x="44" y="122"/>
                  </a:lnTo>
                  <a:lnTo>
                    <a:pt x="43" y="122"/>
                  </a:lnTo>
                  <a:lnTo>
                    <a:pt x="45" y="120"/>
                  </a:lnTo>
                  <a:lnTo>
                    <a:pt x="44" y="120"/>
                  </a:lnTo>
                  <a:lnTo>
                    <a:pt x="45" y="120"/>
                  </a:lnTo>
                  <a:lnTo>
                    <a:pt x="46" y="119"/>
                  </a:lnTo>
                  <a:lnTo>
                    <a:pt x="47" y="119"/>
                  </a:lnTo>
                  <a:lnTo>
                    <a:pt x="47" y="118"/>
                  </a:lnTo>
                  <a:lnTo>
                    <a:pt x="49" y="118"/>
                  </a:lnTo>
                  <a:lnTo>
                    <a:pt x="50" y="118"/>
                  </a:lnTo>
                  <a:lnTo>
                    <a:pt x="50" y="117"/>
                  </a:lnTo>
                  <a:lnTo>
                    <a:pt x="51" y="118"/>
                  </a:lnTo>
                  <a:lnTo>
                    <a:pt x="52" y="118"/>
                  </a:lnTo>
                  <a:lnTo>
                    <a:pt x="52" y="117"/>
                  </a:lnTo>
                  <a:lnTo>
                    <a:pt x="53" y="117"/>
                  </a:lnTo>
                  <a:lnTo>
                    <a:pt x="53" y="116"/>
                  </a:lnTo>
                  <a:lnTo>
                    <a:pt x="55" y="117"/>
                  </a:lnTo>
                  <a:lnTo>
                    <a:pt x="56" y="117"/>
                  </a:lnTo>
                  <a:lnTo>
                    <a:pt x="56" y="116"/>
                  </a:lnTo>
                  <a:lnTo>
                    <a:pt x="58" y="116"/>
                  </a:lnTo>
                  <a:lnTo>
                    <a:pt x="59" y="114"/>
                  </a:lnTo>
                  <a:lnTo>
                    <a:pt x="61" y="114"/>
                  </a:lnTo>
                  <a:lnTo>
                    <a:pt x="62" y="114"/>
                  </a:lnTo>
                  <a:lnTo>
                    <a:pt x="63" y="114"/>
                  </a:lnTo>
                  <a:lnTo>
                    <a:pt x="64" y="113"/>
                  </a:lnTo>
                  <a:lnTo>
                    <a:pt x="65" y="113"/>
                  </a:lnTo>
                  <a:lnTo>
                    <a:pt x="67" y="113"/>
                  </a:lnTo>
                  <a:lnTo>
                    <a:pt x="68" y="112"/>
                  </a:lnTo>
                  <a:lnTo>
                    <a:pt x="68" y="113"/>
                  </a:lnTo>
                  <a:lnTo>
                    <a:pt x="69" y="113"/>
                  </a:lnTo>
                  <a:lnTo>
                    <a:pt x="70" y="113"/>
                  </a:lnTo>
                  <a:lnTo>
                    <a:pt x="70" y="112"/>
                  </a:lnTo>
                  <a:lnTo>
                    <a:pt x="71" y="112"/>
                  </a:lnTo>
                  <a:lnTo>
                    <a:pt x="73" y="112"/>
                  </a:lnTo>
                  <a:lnTo>
                    <a:pt x="74" y="112"/>
                  </a:lnTo>
                  <a:lnTo>
                    <a:pt x="74" y="111"/>
                  </a:lnTo>
                  <a:lnTo>
                    <a:pt x="73" y="111"/>
                  </a:lnTo>
                  <a:lnTo>
                    <a:pt x="73" y="112"/>
                  </a:lnTo>
                  <a:lnTo>
                    <a:pt x="71" y="112"/>
                  </a:lnTo>
                  <a:lnTo>
                    <a:pt x="70" y="112"/>
                  </a:lnTo>
                  <a:lnTo>
                    <a:pt x="69" y="112"/>
                  </a:lnTo>
                  <a:lnTo>
                    <a:pt x="69" y="113"/>
                  </a:lnTo>
                  <a:lnTo>
                    <a:pt x="68" y="112"/>
                  </a:lnTo>
                  <a:lnTo>
                    <a:pt x="67" y="112"/>
                  </a:lnTo>
                  <a:lnTo>
                    <a:pt x="65" y="112"/>
                  </a:lnTo>
                  <a:lnTo>
                    <a:pt x="65" y="113"/>
                  </a:lnTo>
                  <a:lnTo>
                    <a:pt x="64" y="113"/>
                  </a:lnTo>
                  <a:lnTo>
                    <a:pt x="63" y="113"/>
                  </a:lnTo>
                  <a:lnTo>
                    <a:pt x="63" y="112"/>
                  </a:lnTo>
                  <a:lnTo>
                    <a:pt x="62" y="113"/>
                  </a:lnTo>
                  <a:lnTo>
                    <a:pt x="61" y="113"/>
                  </a:lnTo>
                  <a:lnTo>
                    <a:pt x="61" y="114"/>
                  </a:lnTo>
                  <a:lnTo>
                    <a:pt x="59" y="113"/>
                  </a:lnTo>
                  <a:lnTo>
                    <a:pt x="59" y="114"/>
                  </a:lnTo>
                  <a:lnTo>
                    <a:pt x="58" y="114"/>
                  </a:lnTo>
                  <a:lnTo>
                    <a:pt x="57" y="113"/>
                  </a:lnTo>
                  <a:lnTo>
                    <a:pt x="57" y="114"/>
                  </a:lnTo>
                  <a:lnTo>
                    <a:pt x="57" y="113"/>
                  </a:lnTo>
                  <a:lnTo>
                    <a:pt x="56" y="112"/>
                  </a:lnTo>
                  <a:lnTo>
                    <a:pt x="56" y="113"/>
                  </a:lnTo>
                  <a:lnTo>
                    <a:pt x="56" y="114"/>
                  </a:lnTo>
                  <a:lnTo>
                    <a:pt x="55" y="116"/>
                  </a:lnTo>
                  <a:lnTo>
                    <a:pt x="55" y="114"/>
                  </a:lnTo>
                  <a:lnTo>
                    <a:pt x="55" y="113"/>
                  </a:lnTo>
                  <a:lnTo>
                    <a:pt x="53" y="116"/>
                  </a:lnTo>
                  <a:lnTo>
                    <a:pt x="53" y="114"/>
                  </a:lnTo>
                  <a:lnTo>
                    <a:pt x="53" y="113"/>
                  </a:lnTo>
                  <a:lnTo>
                    <a:pt x="53" y="112"/>
                  </a:lnTo>
                  <a:lnTo>
                    <a:pt x="52" y="114"/>
                  </a:lnTo>
                  <a:lnTo>
                    <a:pt x="52" y="116"/>
                  </a:lnTo>
                  <a:lnTo>
                    <a:pt x="51" y="116"/>
                  </a:lnTo>
                  <a:lnTo>
                    <a:pt x="51" y="114"/>
                  </a:lnTo>
                  <a:lnTo>
                    <a:pt x="51" y="116"/>
                  </a:lnTo>
                  <a:lnTo>
                    <a:pt x="51" y="117"/>
                  </a:lnTo>
                  <a:lnTo>
                    <a:pt x="50" y="117"/>
                  </a:lnTo>
                  <a:lnTo>
                    <a:pt x="50" y="116"/>
                  </a:lnTo>
                  <a:lnTo>
                    <a:pt x="49" y="114"/>
                  </a:lnTo>
                  <a:lnTo>
                    <a:pt x="49" y="113"/>
                  </a:lnTo>
                  <a:lnTo>
                    <a:pt x="49" y="114"/>
                  </a:lnTo>
                  <a:lnTo>
                    <a:pt x="49" y="116"/>
                  </a:lnTo>
                  <a:lnTo>
                    <a:pt x="47" y="116"/>
                  </a:lnTo>
                  <a:lnTo>
                    <a:pt x="47" y="114"/>
                  </a:lnTo>
                  <a:lnTo>
                    <a:pt x="47" y="116"/>
                  </a:lnTo>
                  <a:lnTo>
                    <a:pt x="47" y="117"/>
                  </a:lnTo>
                  <a:lnTo>
                    <a:pt x="46" y="117"/>
                  </a:lnTo>
                  <a:lnTo>
                    <a:pt x="46" y="116"/>
                  </a:lnTo>
                  <a:lnTo>
                    <a:pt x="45" y="116"/>
                  </a:lnTo>
                  <a:lnTo>
                    <a:pt x="45" y="114"/>
                  </a:lnTo>
                  <a:lnTo>
                    <a:pt x="44" y="113"/>
                  </a:lnTo>
                  <a:lnTo>
                    <a:pt x="44" y="114"/>
                  </a:lnTo>
                  <a:lnTo>
                    <a:pt x="43" y="116"/>
                  </a:lnTo>
                  <a:lnTo>
                    <a:pt x="43" y="114"/>
                  </a:lnTo>
                  <a:lnTo>
                    <a:pt x="40" y="116"/>
                  </a:lnTo>
                  <a:lnTo>
                    <a:pt x="40" y="114"/>
                  </a:lnTo>
                  <a:lnTo>
                    <a:pt x="41" y="114"/>
                  </a:lnTo>
                  <a:lnTo>
                    <a:pt x="43" y="114"/>
                  </a:lnTo>
                  <a:lnTo>
                    <a:pt x="41" y="113"/>
                  </a:lnTo>
                  <a:lnTo>
                    <a:pt x="43" y="113"/>
                  </a:lnTo>
                  <a:lnTo>
                    <a:pt x="44" y="113"/>
                  </a:lnTo>
                  <a:lnTo>
                    <a:pt x="44" y="112"/>
                  </a:lnTo>
                  <a:lnTo>
                    <a:pt x="45" y="112"/>
                  </a:lnTo>
                  <a:lnTo>
                    <a:pt x="46" y="111"/>
                  </a:lnTo>
                  <a:lnTo>
                    <a:pt x="47" y="110"/>
                  </a:lnTo>
                  <a:lnTo>
                    <a:pt x="46" y="110"/>
                  </a:lnTo>
                  <a:lnTo>
                    <a:pt x="46" y="108"/>
                  </a:lnTo>
                  <a:lnTo>
                    <a:pt x="47" y="108"/>
                  </a:lnTo>
                  <a:lnTo>
                    <a:pt x="47" y="107"/>
                  </a:lnTo>
                  <a:lnTo>
                    <a:pt x="47" y="108"/>
                  </a:lnTo>
                  <a:lnTo>
                    <a:pt x="49" y="108"/>
                  </a:lnTo>
                  <a:lnTo>
                    <a:pt x="50" y="108"/>
                  </a:lnTo>
                  <a:lnTo>
                    <a:pt x="52" y="107"/>
                  </a:lnTo>
                  <a:lnTo>
                    <a:pt x="53" y="107"/>
                  </a:lnTo>
                  <a:lnTo>
                    <a:pt x="53" y="106"/>
                  </a:lnTo>
                  <a:lnTo>
                    <a:pt x="53" y="107"/>
                  </a:lnTo>
                  <a:lnTo>
                    <a:pt x="55" y="107"/>
                  </a:lnTo>
                  <a:lnTo>
                    <a:pt x="55" y="106"/>
                  </a:lnTo>
                  <a:lnTo>
                    <a:pt x="56" y="106"/>
                  </a:lnTo>
                  <a:lnTo>
                    <a:pt x="57" y="106"/>
                  </a:lnTo>
                  <a:lnTo>
                    <a:pt x="59" y="106"/>
                  </a:lnTo>
                  <a:lnTo>
                    <a:pt x="59" y="105"/>
                  </a:lnTo>
                  <a:lnTo>
                    <a:pt x="61" y="105"/>
                  </a:lnTo>
                  <a:lnTo>
                    <a:pt x="62" y="105"/>
                  </a:lnTo>
                  <a:lnTo>
                    <a:pt x="63" y="103"/>
                  </a:lnTo>
                  <a:lnTo>
                    <a:pt x="64" y="103"/>
                  </a:lnTo>
                  <a:lnTo>
                    <a:pt x="65" y="102"/>
                  </a:lnTo>
                  <a:lnTo>
                    <a:pt x="67" y="102"/>
                  </a:lnTo>
                  <a:lnTo>
                    <a:pt x="68" y="102"/>
                  </a:lnTo>
                  <a:lnTo>
                    <a:pt x="69" y="102"/>
                  </a:lnTo>
                  <a:lnTo>
                    <a:pt x="71" y="102"/>
                  </a:lnTo>
                  <a:lnTo>
                    <a:pt x="73" y="102"/>
                  </a:lnTo>
                  <a:lnTo>
                    <a:pt x="74" y="101"/>
                  </a:lnTo>
                  <a:lnTo>
                    <a:pt x="75" y="101"/>
                  </a:lnTo>
                  <a:lnTo>
                    <a:pt x="76" y="101"/>
                  </a:lnTo>
                  <a:lnTo>
                    <a:pt x="79" y="101"/>
                  </a:lnTo>
                  <a:lnTo>
                    <a:pt x="80" y="100"/>
                  </a:lnTo>
                  <a:lnTo>
                    <a:pt x="81" y="101"/>
                  </a:lnTo>
                  <a:lnTo>
                    <a:pt x="82" y="101"/>
                  </a:lnTo>
                  <a:lnTo>
                    <a:pt x="82" y="100"/>
                  </a:lnTo>
                  <a:lnTo>
                    <a:pt x="83" y="100"/>
                  </a:lnTo>
                  <a:lnTo>
                    <a:pt x="85" y="100"/>
                  </a:lnTo>
                  <a:lnTo>
                    <a:pt x="86" y="100"/>
                  </a:lnTo>
                  <a:lnTo>
                    <a:pt x="87" y="100"/>
                  </a:lnTo>
                  <a:lnTo>
                    <a:pt x="88" y="100"/>
                  </a:lnTo>
                  <a:lnTo>
                    <a:pt x="88" y="99"/>
                  </a:lnTo>
                  <a:lnTo>
                    <a:pt x="89" y="99"/>
                  </a:lnTo>
                  <a:lnTo>
                    <a:pt x="89" y="97"/>
                  </a:lnTo>
                  <a:lnTo>
                    <a:pt x="91" y="97"/>
                  </a:lnTo>
                  <a:lnTo>
                    <a:pt x="92" y="97"/>
                  </a:lnTo>
                  <a:lnTo>
                    <a:pt x="92" y="96"/>
                  </a:lnTo>
                  <a:lnTo>
                    <a:pt x="93" y="95"/>
                  </a:lnTo>
                  <a:lnTo>
                    <a:pt x="94" y="95"/>
                  </a:lnTo>
                  <a:lnTo>
                    <a:pt x="94" y="93"/>
                  </a:lnTo>
                  <a:lnTo>
                    <a:pt x="94" y="91"/>
                  </a:lnTo>
                  <a:lnTo>
                    <a:pt x="93" y="93"/>
                  </a:lnTo>
                  <a:lnTo>
                    <a:pt x="93" y="91"/>
                  </a:lnTo>
                  <a:lnTo>
                    <a:pt x="93" y="90"/>
                  </a:lnTo>
                  <a:lnTo>
                    <a:pt x="92" y="91"/>
                  </a:lnTo>
                  <a:lnTo>
                    <a:pt x="93" y="93"/>
                  </a:lnTo>
                  <a:lnTo>
                    <a:pt x="93" y="94"/>
                  </a:lnTo>
                  <a:lnTo>
                    <a:pt x="93" y="95"/>
                  </a:lnTo>
                  <a:lnTo>
                    <a:pt x="92" y="95"/>
                  </a:lnTo>
                  <a:lnTo>
                    <a:pt x="92" y="96"/>
                  </a:lnTo>
                  <a:lnTo>
                    <a:pt x="91" y="97"/>
                  </a:lnTo>
                  <a:lnTo>
                    <a:pt x="91" y="96"/>
                  </a:lnTo>
                  <a:lnTo>
                    <a:pt x="89" y="97"/>
                  </a:lnTo>
                  <a:lnTo>
                    <a:pt x="88" y="97"/>
                  </a:lnTo>
                  <a:lnTo>
                    <a:pt x="89" y="96"/>
                  </a:lnTo>
                  <a:lnTo>
                    <a:pt x="89" y="95"/>
                  </a:lnTo>
                  <a:lnTo>
                    <a:pt x="89" y="94"/>
                  </a:lnTo>
                  <a:lnTo>
                    <a:pt x="89" y="93"/>
                  </a:lnTo>
                  <a:lnTo>
                    <a:pt x="89" y="91"/>
                  </a:lnTo>
                  <a:lnTo>
                    <a:pt x="88" y="93"/>
                  </a:lnTo>
                  <a:lnTo>
                    <a:pt x="89" y="93"/>
                  </a:lnTo>
                  <a:lnTo>
                    <a:pt x="88" y="93"/>
                  </a:lnTo>
                  <a:lnTo>
                    <a:pt x="88" y="94"/>
                  </a:lnTo>
                  <a:lnTo>
                    <a:pt x="88" y="93"/>
                  </a:lnTo>
                  <a:lnTo>
                    <a:pt x="87" y="93"/>
                  </a:lnTo>
                  <a:lnTo>
                    <a:pt x="87" y="94"/>
                  </a:lnTo>
                  <a:lnTo>
                    <a:pt x="87" y="95"/>
                  </a:lnTo>
                  <a:lnTo>
                    <a:pt x="86" y="95"/>
                  </a:lnTo>
                  <a:lnTo>
                    <a:pt x="86" y="94"/>
                  </a:lnTo>
                  <a:lnTo>
                    <a:pt x="86" y="95"/>
                  </a:lnTo>
                  <a:lnTo>
                    <a:pt x="85" y="95"/>
                  </a:lnTo>
                  <a:lnTo>
                    <a:pt x="85" y="96"/>
                  </a:lnTo>
                  <a:lnTo>
                    <a:pt x="85" y="95"/>
                  </a:lnTo>
                  <a:lnTo>
                    <a:pt x="83" y="95"/>
                  </a:lnTo>
                  <a:lnTo>
                    <a:pt x="85" y="96"/>
                  </a:lnTo>
                  <a:lnTo>
                    <a:pt x="85" y="97"/>
                  </a:lnTo>
                  <a:lnTo>
                    <a:pt x="83" y="97"/>
                  </a:lnTo>
                  <a:lnTo>
                    <a:pt x="83" y="96"/>
                  </a:lnTo>
                  <a:lnTo>
                    <a:pt x="83" y="95"/>
                  </a:lnTo>
                  <a:lnTo>
                    <a:pt x="83" y="96"/>
                  </a:lnTo>
                  <a:lnTo>
                    <a:pt x="83" y="97"/>
                  </a:lnTo>
                  <a:lnTo>
                    <a:pt x="82" y="97"/>
                  </a:lnTo>
                  <a:lnTo>
                    <a:pt x="82" y="99"/>
                  </a:lnTo>
                  <a:lnTo>
                    <a:pt x="82" y="97"/>
                  </a:lnTo>
                  <a:lnTo>
                    <a:pt x="81" y="97"/>
                  </a:lnTo>
                  <a:lnTo>
                    <a:pt x="81" y="96"/>
                  </a:lnTo>
                  <a:lnTo>
                    <a:pt x="80" y="96"/>
                  </a:lnTo>
                  <a:lnTo>
                    <a:pt x="81" y="95"/>
                  </a:lnTo>
                  <a:lnTo>
                    <a:pt x="81" y="94"/>
                  </a:lnTo>
                  <a:lnTo>
                    <a:pt x="81" y="95"/>
                  </a:lnTo>
                  <a:lnTo>
                    <a:pt x="80" y="94"/>
                  </a:lnTo>
                  <a:lnTo>
                    <a:pt x="80" y="93"/>
                  </a:lnTo>
                  <a:lnTo>
                    <a:pt x="79" y="94"/>
                  </a:lnTo>
                  <a:lnTo>
                    <a:pt x="79" y="93"/>
                  </a:lnTo>
                  <a:lnTo>
                    <a:pt x="79" y="91"/>
                  </a:lnTo>
                  <a:lnTo>
                    <a:pt x="77" y="91"/>
                  </a:lnTo>
                  <a:lnTo>
                    <a:pt x="77" y="88"/>
                  </a:lnTo>
                  <a:lnTo>
                    <a:pt x="77" y="87"/>
                  </a:lnTo>
                  <a:lnTo>
                    <a:pt x="77" y="88"/>
                  </a:lnTo>
                  <a:lnTo>
                    <a:pt x="76" y="88"/>
                  </a:lnTo>
                  <a:lnTo>
                    <a:pt x="76" y="87"/>
                  </a:lnTo>
                  <a:lnTo>
                    <a:pt x="75" y="87"/>
                  </a:lnTo>
                  <a:lnTo>
                    <a:pt x="75" y="88"/>
                  </a:lnTo>
                  <a:lnTo>
                    <a:pt x="75" y="89"/>
                  </a:lnTo>
                  <a:lnTo>
                    <a:pt x="74" y="89"/>
                  </a:lnTo>
                  <a:lnTo>
                    <a:pt x="74" y="88"/>
                  </a:lnTo>
                  <a:lnTo>
                    <a:pt x="74" y="87"/>
                  </a:lnTo>
                  <a:lnTo>
                    <a:pt x="74" y="85"/>
                  </a:lnTo>
                  <a:lnTo>
                    <a:pt x="73" y="85"/>
                  </a:lnTo>
                  <a:lnTo>
                    <a:pt x="73" y="84"/>
                  </a:lnTo>
                  <a:lnTo>
                    <a:pt x="74" y="83"/>
                  </a:lnTo>
                  <a:lnTo>
                    <a:pt x="74" y="82"/>
                  </a:lnTo>
                  <a:lnTo>
                    <a:pt x="73" y="82"/>
                  </a:lnTo>
                  <a:lnTo>
                    <a:pt x="73" y="83"/>
                  </a:lnTo>
                  <a:lnTo>
                    <a:pt x="71" y="83"/>
                  </a:lnTo>
                  <a:lnTo>
                    <a:pt x="70" y="82"/>
                  </a:lnTo>
                  <a:lnTo>
                    <a:pt x="70" y="84"/>
                  </a:lnTo>
                  <a:lnTo>
                    <a:pt x="70" y="83"/>
                  </a:lnTo>
                  <a:lnTo>
                    <a:pt x="70" y="82"/>
                  </a:lnTo>
                  <a:lnTo>
                    <a:pt x="69" y="81"/>
                  </a:lnTo>
                  <a:lnTo>
                    <a:pt x="69" y="79"/>
                  </a:lnTo>
                  <a:lnTo>
                    <a:pt x="69" y="78"/>
                  </a:lnTo>
                  <a:lnTo>
                    <a:pt x="68" y="78"/>
                  </a:lnTo>
                  <a:lnTo>
                    <a:pt x="68" y="79"/>
                  </a:lnTo>
                  <a:lnTo>
                    <a:pt x="67" y="79"/>
                  </a:lnTo>
                  <a:lnTo>
                    <a:pt x="67" y="78"/>
                  </a:lnTo>
                  <a:lnTo>
                    <a:pt x="67" y="77"/>
                  </a:lnTo>
                  <a:lnTo>
                    <a:pt x="67" y="76"/>
                  </a:lnTo>
                  <a:lnTo>
                    <a:pt x="65" y="76"/>
                  </a:lnTo>
                  <a:lnTo>
                    <a:pt x="67" y="76"/>
                  </a:lnTo>
                  <a:lnTo>
                    <a:pt x="67" y="75"/>
                  </a:lnTo>
                  <a:lnTo>
                    <a:pt x="68" y="75"/>
                  </a:lnTo>
                  <a:lnTo>
                    <a:pt x="68" y="73"/>
                  </a:lnTo>
                  <a:lnTo>
                    <a:pt x="67" y="73"/>
                  </a:lnTo>
                  <a:lnTo>
                    <a:pt x="65" y="75"/>
                  </a:lnTo>
                  <a:lnTo>
                    <a:pt x="65" y="76"/>
                  </a:lnTo>
                  <a:lnTo>
                    <a:pt x="65" y="75"/>
                  </a:lnTo>
                  <a:lnTo>
                    <a:pt x="65" y="76"/>
                  </a:lnTo>
                  <a:lnTo>
                    <a:pt x="65" y="75"/>
                  </a:lnTo>
                  <a:lnTo>
                    <a:pt x="65" y="73"/>
                  </a:lnTo>
                  <a:lnTo>
                    <a:pt x="64" y="73"/>
                  </a:lnTo>
                  <a:lnTo>
                    <a:pt x="65" y="73"/>
                  </a:lnTo>
                  <a:lnTo>
                    <a:pt x="65" y="72"/>
                  </a:lnTo>
                  <a:lnTo>
                    <a:pt x="67" y="72"/>
                  </a:lnTo>
                  <a:lnTo>
                    <a:pt x="65" y="72"/>
                  </a:lnTo>
                  <a:lnTo>
                    <a:pt x="64" y="72"/>
                  </a:lnTo>
                  <a:lnTo>
                    <a:pt x="65" y="72"/>
                  </a:lnTo>
                  <a:lnTo>
                    <a:pt x="65" y="71"/>
                  </a:lnTo>
                  <a:lnTo>
                    <a:pt x="64" y="71"/>
                  </a:lnTo>
                  <a:lnTo>
                    <a:pt x="63" y="71"/>
                  </a:lnTo>
                  <a:lnTo>
                    <a:pt x="63" y="70"/>
                  </a:lnTo>
                  <a:lnTo>
                    <a:pt x="62" y="70"/>
                  </a:lnTo>
                  <a:lnTo>
                    <a:pt x="62" y="71"/>
                  </a:lnTo>
                  <a:lnTo>
                    <a:pt x="62" y="70"/>
                  </a:lnTo>
                  <a:lnTo>
                    <a:pt x="61" y="70"/>
                  </a:lnTo>
                  <a:lnTo>
                    <a:pt x="61" y="69"/>
                  </a:lnTo>
                  <a:lnTo>
                    <a:pt x="63" y="69"/>
                  </a:lnTo>
                  <a:lnTo>
                    <a:pt x="64" y="70"/>
                  </a:lnTo>
                  <a:lnTo>
                    <a:pt x="65" y="70"/>
                  </a:lnTo>
                  <a:lnTo>
                    <a:pt x="67" y="70"/>
                  </a:lnTo>
                  <a:lnTo>
                    <a:pt x="67" y="71"/>
                  </a:lnTo>
                  <a:lnTo>
                    <a:pt x="68" y="71"/>
                  </a:lnTo>
                  <a:lnTo>
                    <a:pt x="69" y="71"/>
                  </a:lnTo>
                  <a:lnTo>
                    <a:pt x="69" y="70"/>
                  </a:lnTo>
                  <a:lnTo>
                    <a:pt x="68" y="70"/>
                  </a:lnTo>
                  <a:lnTo>
                    <a:pt x="68" y="69"/>
                  </a:lnTo>
                  <a:lnTo>
                    <a:pt x="67" y="69"/>
                  </a:lnTo>
                  <a:lnTo>
                    <a:pt x="65" y="69"/>
                  </a:lnTo>
                  <a:lnTo>
                    <a:pt x="64" y="69"/>
                  </a:lnTo>
                  <a:lnTo>
                    <a:pt x="65" y="67"/>
                  </a:lnTo>
                  <a:lnTo>
                    <a:pt x="64" y="67"/>
                  </a:lnTo>
                  <a:lnTo>
                    <a:pt x="65" y="67"/>
                  </a:lnTo>
                  <a:lnTo>
                    <a:pt x="67" y="67"/>
                  </a:lnTo>
                  <a:lnTo>
                    <a:pt x="68" y="67"/>
                  </a:lnTo>
                  <a:lnTo>
                    <a:pt x="68" y="69"/>
                  </a:lnTo>
                  <a:lnTo>
                    <a:pt x="69" y="70"/>
                  </a:lnTo>
                  <a:lnTo>
                    <a:pt x="69" y="69"/>
                  </a:lnTo>
                  <a:lnTo>
                    <a:pt x="68" y="69"/>
                  </a:lnTo>
                  <a:lnTo>
                    <a:pt x="69" y="69"/>
                  </a:lnTo>
                  <a:lnTo>
                    <a:pt x="69" y="67"/>
                  </a:lnTo>
                  <a:lnTo>
                    <a:pt x="70" y="67"/>
                  </a:lnTo>
                  <a:lnTo>
                    <a:pt x="70" y="69"/>
                  </a:lnTo>
                  <a:lnTo>
                    <a:pt x="70" y="70"/>
                  </a:lnTo>
                  <a:lnTo>
                    <a:pt x="71" y="71"/>
                  </a:lnTo>
                  <a:lnTo>
                    <a:pt x="73" y="71"/>
                  </a:lnTo>
                  <a:lnTo>
                    <a:pt x="73" y="70"/>
                  </a:lnTo>
                  <a:lnTo>
                    <a:pt x="74" y="70"/>
                  </a:lnTo>
                  <a:lnTo>
                    <a:pt x="75" y="70"/>
                  </a:lnTo>
                  <a:lnTo>
                    <a:pt x="75" y="69"/>
                  </a:lnTo>
                  <a:lnTo>
                    <a:pt x="74" y="69"/>
                  </a:lnTo>
                  <a:lnTo>
                    <a:pt x="74" y="67"/>
                  </a:lnTo>
                  <a:lnTo>
                    <a:pt x="73" y="67"/>
                  </a:lnTo>
                  <a:lnTo>
                    <a:pt x="71" y="67"/>
                  </a:lnTo>
                  <a:lnTo>
                    <a:pt x="71" y="66"/>
                  </a:lnTo>
                  <a:lnTo>
                    <a:pt x="70" y="66"/>
                  </a:lnTo>
                  <a:lnTo>
                    <a:pt x="71" y="66"/>
                  </a:lnTo>
                  <a:lnTo>
                    <a:pt x="71" y="65"/>
                  </a:lnTo>
                  <a:lnTo>
                    <a:pt x="71" y="64"/>
                  </a:lnTo>
                  <a:lnTo>
                    <a:pt x="73" y="65"/>
                  </a:lnTo>
                  <a:lnTo>
                    <a:pt x="74" y="65"/>
                  </a:lnTo>
                  <a:lnTo>
                    <a:pt x="74" y="66"/>
                  </a:lnTo>
                  <a:lnTo>
                    <a:pt x="75" y="66"/>
                  </a:lnTo>
                  <a:lnTo>
                    <a:pt x="75" y="65"/>
                  </a:lnTo>
                  <a:lnTo>
                    <a:pt x="75" y="66"/>
                  </a:lnTo>
                  <a:lnTo>
                    <a:pt x="76" y="66"/>
                  </a:lnTo>
                  <a:lnTo>
                    <a:pt x="77" y="67"/>
                  </a:lnTo>
                  <a:lnTo>
                    <a:pt x="79" y="66"/>
                  </a:lnTo>
                  <a:lnTo>
                    <a:pt x="80" y="66"/>
                  </a:lnTo>
                  <a:lnTo>
                    <a:pt x="80" y="65"/>
                  </a:lnTo>
                  <a:lnTo>
                    <a:pt x="81" y="65"/>
                  </a:lnTo>
                  <a:lnTo>
                    <a:pt x="80" y="64"/>
                  </a:lnTo>
                  <a:lnTo>
                    <a:pt x="81" y="64"/>
                  </a:lnTo>
                  <a:lnTo>
                    <a:pt x="80" y="64"/>
                  </a:lnTo>
                  <a:lnTo>
                    <a:pt x="80" y="63"/>
                  </a:lnTo>
                  <a:lnTo>
                    <a:pt x="81" y="63"/>
                  </a:lnTo>
                  <a:lnTo>
                    <a:pt x="81" y="61"/>
                  </a:lnTo>
                  <a:lnTo>
                    <a:pt x="80" y="61"/>
                  </a:lnTo>
                  <a:lnTo>
                    <a:pt x="80" y="63"/>
                  </a:lnTo>
                  <a:lnTo>
                    <a:pt x="80" y="61"/>
                  </a:lnTo>
                  <a:lnTo>
                    <a:pt x="79" y="61"/>
                  </a:lnTo>
                  <a:lnTo>
                    <a:pt x="80" y="61"/>
                  </a:lnTo>
                  <a:lnTo>
                    <a:pt x="79" y="61"/>
                  </a:lnTo>
                  <a:lnTo>
                    <a:pt x="77" y="61"/>
                  </a:lnTo>
                  <a:lnTo>
                    <a:pt x="77" y="60"/>
                  </a:lnTo>
                  <a:lnTo>
                    <a:pt x="77" y="59"/>
                  </a:lnTo>
                  <a:lnTo>
                    <a:pt x="76" y="59"/>
                  </a:lnTo>
                  <a:lnTo>
                    <a:pt x="76" y="60"/>
                  </a:lnTo>
                  <a:lnTo>
                    <a:pt x="75" y="60"/>
                  </a:lnTo>
                  <a:lnTo>
                    <a:pt x="75" y="59"/>
                  </a:lnTo>
                  <a:lnTo>
                    <a:pt x="75" y="58"/>
                  </a:lnTo>
                  <a:lnTo>
                    <a:pt x="74" y="58"/>
                  </a:lnTo>
                  <a:lnTo>
                    <a:pt x="74" y="57"/>
                  </a:lnTo>
                  <a:lnTo>
                    <a:pt x="74" y="58"/>
                  </a:lnTo>
                  <a:lnTo>
                    <a:pt x="74" y="57"/>
                  </a:lnTo>
                  <a:lnTo>
                    <a:pt x="74" y="55"/>
                  </a:lnTo>
                  <a:lnTo>
                    <a:pt x="74" y="57"/>
                  </a:lnTo>
                  <a:lnTo>
                    <a:pt x="73" y="57"/>
                  </a:lnTo>
                  <a:lnTo>
                    <a:pt x="71" y="57"/>
                  </a:lnTo>
                  <a:lnTo>
                    <a:pt x="73" y="57"/>
                  </a:lnTo>
                  <a:lnTo>
                    <a:pt x="73" y="55"/>
                  </a:lnTo>
                  <a:lnTo>
                    <a:pt x="74" y="55"/>
                  </a:lnTo>
                  <a:lnTo>
                    <a:pt x="74" y="54"/>
                  </a:lnTo>
                  <a:lnTo>
                    <a:pt x="73" y="54"/>
                  </a:lnTo>
                  <a:lnTo>
                    <a:pt x="71" y="55"/>
                  </a:lnTo>
                  <a:lnTo>
                    <a:pt x="73" y="54"/>
                  </a:lnTo>
                  <a:lnTo>
                    <a:pt x="71" y="53"/>
                  </a:lnTo>
                  <a:lnTo>
                    <a:pt x="70" y="54"/>
                  </a:lnTo>
                  <a:lnTo>
                    <a:pt x="71" y="53"/>
                  </a:lnTo>
                  <a:lnTo>
                    <a:pt x="70" y="53"/>
                  </a:lnTo>
                  <a:lnTo>
                    <a:pt x="69" y="53"/>
                  </a:lnTo>
                  <a:lnTo>
                    <a:pt x="69" y="52"/>
                  </a:lnTo>
                  <a:lnTo>
                    <a:pt x="68" y="52"/>
                  </a:lnTo>
                  <a:lnTo>
                    <a:pt x="68" y="51"/>
                  </a:lnTo>
                  <a:lnTo>
                    <a:pt x="67" y="51"/>
                  </a:lnTo>
                  <a:lnTo>
                    <a:pt x="65" y="51"/>
                  </a:lnTo>
                  <a:lnTo>
                    <a:pt x="67" y="51"/>
                  </a:lnTo>
                  <a:lnTo>
                    <a:pt x="67" y="49"/>
                  </a:lnTo>
                  <a:lnTo>
                    <a:pt x="65" y="49"/>
                  </a:lnTo>
                  <a:lnTo>
                    <a:pt x="67" y="49"/>
                  </a:lnTo>
                  <a:lnTo>
                    <a:pt x="68" y="51"/>
                  </a:lnTo>
                  <a:lnTo>
                    <a:pt x="69" y="51"/>
                  </a:lnTo>
                  <a:lnTo>
                    <a:pt x="69" y="52"/>
                  </a:lnTo>
                  <a:lnTo>
                    <a:pt x="70" y="52"/>
                  </a:lnTo>
                  <a:lnTo>
                    <a:pt x="71" y="52"/>
                  </a:lnTo>
                  <a:lnTo>
                    <a:pt x="71" y="51"/>
                  </a:lnTo>
                  <a:lnTo>
                    <a:pt x="71" y="52"/>
                  </a:lnTo>
                  <a:lnTo>
                    <a:pt x="71" y="53"/>
                  </a:lnTo>
                  <a:lnTo>
                    <a:pt x="73" y="53"/>
                  </a:lnTo>
                  <a:lnTo>
                    <a:pt x="73" y="52"/>
                  </a:lnTo>
                  <a:lnTo>
                    <a:pt x="73" y="53"/>
                  </a:lnTo>
                  <a:lnTo>
                    <a:pt x="74" y="53"/>
                  </a:lnTo>
                  <a:lnTo>
                    <a:pt x="75" y="54"/>
                  </a:lnTo>
                  <a:lnTo>
                    <a:pt x="75" y="53"/>
                  </a:lnTo>
                  <a:lnTo>
                    <a:pt x="75" y="54"/>
                  </a:lnTo>
                  <a:lnTo>
                    <a:pt x="77" y="55"/>
                  </a:lnTo>
                  <a:lnTo>
                    <a:pt x="79" y="55"/>
                  </a:lnTo>
                  <a:lnTo>
                    <a:pt x="79" y="57"/>
                  </a:lnTo>
                  <a:lnTo>
                    <a:pt x="80" y="57"/>
                  </a:lnTo>
                  <a:lnTo>
                    <a:pt x="81" y="57"/>
                  </a:lnTo>
                  <a:lnTo>
                    <a:pt x="82" y="57"/>
                  </a:lnTo>
                  <a:lnTo>
                    <a:pt x="83" y="57"/>
                  </a:lnTo>
                  <a:lnTo>
                    <a:pt x="85" y="55"/>
                  </a:lnTo>
                  <a:lnTo>
                    <a:pt x="86" y="55"/>
                  </a:lnTo>
                  <a:lnTo>
                    <a:pt x="87" y="55"/>
                  </a:lnTo>
                  <a:lnTo>
                    <a:pt x="87" y="54"/>
                  </a:lnTo>
                  <a:lnTo>
                    <a:pt x="86" y="54"/>
                  </a:lnTo>
                  <a:lnTo>
                    <a:pt x="85" y="54"/>
                  </a:lnTo>
                  <a:lnTo>
                    <a:pt x="86" y="54"/>
                  </a:lnTo>
                  <a:lnTo>
                    <a:pt x="87" y="53"/>
                  </a:lnTo>
                  <a:lnTo>
                    <a:pt x="87" y="52"/>
                  </a:lnTo>
                  <a:lnTo>
                    <a:pt x="86" y="52"/>
                  </a:lnTo>
                  <a:lnTo>
                    <a:pt x="86" y="51"/>
                  </a:lnTo>
                  <a:lnTo>
                    <a:pt x="87" y="51"/>
                  </a:lnTo>
                  <a:lnTo>
                    <a:pt x="88" y="52"/>
                  </a:lnTo>
                  <a:lnTo>
                    <a:pt x="89" y="49"/>
                  </a:lnTo>
                  <a:lnTo>
                    <a:pt x="91" y="49"/>
                  </a:lnTo>
                  <a:lnTo>
                    <a:pt x="91" y="48"/>
                  </a:lnTo>
                  <a:lnTo>
                    <a:pt x="92" y="48"/>
                  </a:lnTo>
                  <a:lnTo>
                    <a:pt x="93" y="47"/>
                  </a:lnTo>
                  <a:lnTo>
                    <a:pt x="93" y="46"/>
                  </a:lnTo>
                  <a:lnTo>
                    <a:pt x="92" y="46"/>
                  </a:lnTo>
                  <a:lnTo>
                    <a:pt x="93" y="46"/>
                  </a:lnTo>
                  <a:lnTo>
                    <a:pt x="93" y="45"/>
                  </a:lnTo>
                  <a:lnTo>
                    <a:pt x="92" y="45"/>
                  </a:lnTo>
                  <a:lnTo>
                    <a:pt x="91" y="45"/>
                  </a:lnTo>
                  <a:lnTo>
                    <a:pt x="91" y="46"/>
                  </a:lnTo>
                  <a:lnTo>
                    <a:pt x="91" y="45"/>
                  </a:lnTo>
                  <a:lnTo>
                    <a:pt x="91" y="46"/>
                  </a:lnTo>
                  <a:lnTo>
                    <a:pt x="89" y="46"/>
                  </a:lnTo>
                  <a:lnTo>
                    <a:pt x="89" y="45"/>
                  </a:lnTo>
                  <a:lnTo>
                    <a:pt x="88" y="46"/>
                  </a:lnTo>
                  <a:lnTo>
                    <a:pt x="89" y="45"/>
                  </a:lnTo>
                  <a:lnTo>
                    <a:pt x="88" y="45"/>
                  </a:lnTo>
                  <a:lnTo>
                    <a:pt x="87" y="45"/>
                  </a:lnTo>
                  <a:lnTo>
                    <a:pt x="87" y="43"/>
                  </a:lnTo>
                  <a:lnTo>
                    <a:pt x="87" y="42"/>
                  </a:lnTo>
                  <a:lnTo>
                    <a:pt x="87" y="41"/>
                  </a:lnTo>
                  <a:lnTo>
                    <a:pt x="88" y="42"/>
                  </a:lnTo>
                  <a:lnTo>
                    <a:pt x="88" y="41"/>
                  </a:lnTo>
                  <a:lnTo>
                    <a:pt x="87" y="41"/>
                  </a:lnTo>
                  <a:lnTo>
                    <a:pt x="87" y="40"/>
                  </a:lnTo>
                  <a:lnTo>
                    <a:pt x="86" y="41"/>
                  </a:lnTo>
                  <a:lnTo>
                    <a:pt x="86" y="40"/>
                  </a:lnTo>
                  <a:lnTo>
                    <a:pt x="87" y="40"/>
                  </a:lnTo>
                  <a:lnTo>
                    <a:pt x="86" y="40"/>
                  </a:lnTo>
                  <a:lnTo>
                    <a:pt x="86" y="37"/>
                  </a:lnTo>
                  <a:lnTo>
                    <a:pt x="86" y="39"/>
                  </a:lnTo>
                  <a:lnTo>
                    <a:pt x="85" y="39"/>
                  </a:lnTo>
                  <a:lnTo>
                    <a:pt x="85" y="40"/>
                  </a:lnTo>
                  <a:lnTo>
                    <a:pt x="85" y="39"/>
                  </a:lnTo>
                  <a:lnTo>
                    <a:pt x="83" y="39"/>
                  </a:lnTo>
                  <a:lnTo>
                    <a:pt x="85" y="39"/>
                  </a:lnTo>
                  <a:lnTo>
                    <a:pt x="85" y="37"/>
                  </a:lnTo>
                  <a:lnTo>
                    <a:pt x="83" y="37"/>
                  </a:lnTo>
                  <a:lnTo>
                    <a:pt x="85" y="37"/>
                  </a:lnTo>
                  <a:lnTo>
                    <a:pt x="86" y="37"/>
                  </a:lnTo>
                  <a:lnTo>
                    <a:pt x="86" y="36"/>
                  </a:lnTo>
                  <a:lnTo>
                    <a:pt x="85" y="36"/>
                  </a:lnTo>
                  <a:lnTo>
                    <a:pt x="83" y="36"/>
                  </a:lnTo>
                  <a:lnTo>
                    <a:pt x="85" y="36"/>
                  </a:lnTo>
                  <a:lnTo>
                    <a:pt x="83" y="36"/>
                  </a:lnTo>
                  <a:lnTo>
                    <a:pt x="82" y="36"/>
                  </a:lnTo>
                  <a:lnTo>
                    <a:pt x="83" y="35"/>
                  </a:lnTo>
                  <a:lnTo>
                    <a:pt x="82" y="35"/>
                  </a:lnTo>
                  <a:lnTo>
                    <a:pt x="83" y="35"/>
                  </a:lnTo>
                  <a:lnTo>
                    <a:pt x="82" y="35"/>
                  </a:lnTo>
                  <a:lnTo>
                    <a:pt x="81" y="35"/>
                  </a:lnTo>
                  <a:lnTo>
                    <a:pt x="80" y="35"/>
                  </a:lnTo>
                  <a:lnTo>
                    <a:pt x="80" y="34"/>
                  </a:lnTo>
                  <a:lnTo>
                    <a:pt x="81" y="34"/>
                  </a:lnTo>
                  <a:lnTo>
                    <a:pt x="82" y="34"/>
                  </a:lnTo>
                  <a:lnTo>
                    <a:pt x="81" y="33"/>
                  </a:lnTo>
                  <a:lnTo>
                    <a:pt x="81" y="34"/>
                  </a:lnTo>
                  <a:lnTo>
                    <a:pt x="80" y="34"/>
                  </a:lnTo>
                  <a:lnTo>
                    <a:pt x="80" y="33"/>
                  </a:lnTo>
                  <a:lnTo>
                    <a:pt x="79" y="33"/>
                  </a:lnTo>
                  <a:lnTo>
                    <a:pt x="79" y="34"/>
                  </a:lnTo>
                  <a:lnTo>
                    <a:pt x="79" y="33"/>
                  </a:lnTo>
                  <a:lnTo>
                    <a:pt x="77" y="33"/>
                  </a:lnTo>
                  <a:lnTo>
                    <a:pt x="76" y="33"/>
                  </a:lnTo>
                  <a:lnTo>
                    <a:pt x="77" y="33"/>
                  </a:lnTo>
                  <a:lnTo>
                    <a:pt x="77" y="31"/>
                  </a:lnTo>
                  <a:lnTo>
                    <a:pt x="75" y="30"/>
                  </a:lnTo>
                  <a:lnTo>
                    <a:pt x="76" y="30"/>
                  </a:lnTo>
                  <a:lnTo>
                    <a:pt x="77" y="31"/>
                  </a:lnTo>
                  <a:lnTo>
                    <a:pt x="79" y="31"/>
                  </a:lnTo>
                  <a:lnTo>
                    <a:pt x="77" y="30"/>
                  </a:lnTo>
                  <a:lnTo>
                    <a:pt x="79" y="31"/>
                  </a:lnTo>
                  <a:lnTo>
                    <a:pt x="80" y="31"/>
                  </a:lnTo>
                  <a:lnTo>
                    <a:pt x="80" y="33"/>
                  </a:lnTo>
                  <a:lnTo>
                    <a:pt x="81" y="31"/>
                  </a:lnTo>
                  <a:lnTo>
                    <a:pt x="81" y="33"/>
                  </a:lnTo>
                  <a:lnTo>
                    <a:pt x="82" y="33"/>
                  </a:lnTo>
                  <a:lnTo>
                    <a:pt x="81" y="33"/>
                  </a:lnTo>
                  <a:lnTo>
                    <a:pt x="82" y="33"/>
                  </a:lnTo>
                  <a:lnTo>
                    <a:pt x="82" y="31"/>
                  </a:lnTo>
                  <a:lnTo>
                    <a:pt x="82" y="33"/>
                  </a:lnTo>
                  <a:lnTo>
                    <a:pt x="83" y="33"/>
                  </a:lnTo>
                  <a:lnTo>
                    <a:pt x="83" y="34"/>
                  </a:lnTo>
                  <a:lnTo>
                    <a:pt x="85" y="35"/>
                  </a:lnTo>
                  <a:lnTo>
                    <a:pt x="85" y="34"/>
                  </a:lnTo>
                  <a:lnTo>
                    <a:pt x="85" y="35"/>
                  </a:lnTo>
                  <a:lnTo>
                    <a:pt x="86" y="35"/>
                  </a:lnTo>
                  <a:lnTo>
                    <a:pt x="86" y="36"/>
                  </a:lnTo>
                  <a:lnTo>
                    <a:pt x="87" y="36"/>
                  </a:lnTo>
                  <a:lnTo>
                    <a:pt x="87" y="35"/>
                  </a:lnTo>
                  <a:lnTo>
                    <a:pt x="87" y="36"/>
                  </a:lnTo>
                  <a:lnTo>
                    <a:pt x="86" y="36"/>
                  </a:lnTo>
                  <a:lnTo>
                    <a:pt x="87" y="35"/>
                  </a:lnTo>
                  <a:lnTo>
                    <a:pt x="87" y="34"/>
                  </a:lnTo>
                  <a:lnTo>
                    <a:pt x="87" y="35"/>
                  </a:lnTo>
                  <a:lnTo>
                    <a:pt x="88" y="35"/>
                  </a:lnTo>
                  <a:lnTo>
                    <a:pt x="88" y="34"/>
                  </a:lnTo>
                  <a:lnTo>
                    <a:pt x="88" y="35"/>
                  </a:lnTo>
                  <a:lnTo>
                    <a:pt x="88" y="36"/>
                  </a:lnTo>
                  <a:lnTo>
                    <a:pt x="87" y="36"/>
                  </a:lnTo>
                  <a:lnTo>
                    <a:pt x="87" y="37"/>
                  </a:lnTo>
                  <a:lnTo>
                    <a:pt x="88" y="37"/>
                  </a:lnTo>
                  <a:lnTo>
                    <a:pt x="88" y="39"/>
                  </a:lnTo>
                  <a:lnTo>
                    <a:pt x="89" y="39"/>
                  </a:lnTo>
                  <a:lnTo>
                    <a:pt x="91" y="40"/>
                  </a:lnTo>
                  <a:lnTo>
                    <a:pt x="92" y="40"/>
                  </a:lnTo>
                  <a:lnTo>
                    <a:pt x="93" y="39"/>
                  </a:lnTo>
                  <a:lnTo>
                    <a:pt x="93" y="37"/>
                  </a:lnTo>
                  <a:lnTo>
                    <a:pt x="93" y="39"/>
                  </a:lnTo>
                  <a:lnTo>
                    <a:pt x="92" y="37"/>
                  </a:lnTo>
                  <a:lnTo>
                    <a:pt x="93" y="37"/>
                  </a:lnTo>
                  <a:lnTo>
                    <a:pt x="93" y="36"/>
                  </a:lnTo>
                  <a:lnTo>
                    <a:pt x="92" y="36"/>
                  </a:lnTo>
                  <a:lnTo>
                    <a:pt x="92" y="35"/>
                  </a:lnTo>
                  <a:lnTo>
                    <a:pt x="93" y="35"/>
                  </a:lnTo>
                  <a:lnTo>
                    <a:pt x="94" y="35"/>
                  </a:lnTo>
                  <a:lnTo>
                    <a:pt x="94" y="34"/>
                  </a:lnTo>
                  <a:lnTo>
                    <a:pt x="93" y="34"/>
                  </a:lnTo>
                  <a:lnTo>
                    <a:pt x="92" y="34"/>
                  </a:lnTo>
                  <a:lnTo>
                    <a:pt x="92" y="33"/>
                  </a:lnTo>
                  <a:lnTo>
                    <a:pt x="93" y="33"/>
                  </a:lnTo>
                  <a:lnTo>
                    <a:pt x="92" y="33"/>
                  </a:lnTo>
                  <a:lnTo>
                    <a:pt x="91" y="33"/>
                  </a:lnTo>
                  <a:lnTo>
                    <a:pt x="89" y="33"/>
                  </a:lnTo>
                  <a:lnTo>
                    <a:pt x="89" y="34"/>
                  </a:lnTo>
                  <a:lnTo>
                    <a:pt x="89" y="33"/>
                  </a:lnTo>
                  <a:lnTo>
                    <a:pt x="91" y="31"/>
                  </a:lnTo>
                  <a:lnTo>
                    <a:pt x="89" y="31"/>
                  </a:lnTo>
                  <a:lnTo>
                    <a:pt x="89" y="30"/>
                  </a:lnTo>
                  <a:lnTo>
                    <a:pt x="89" y="31"/>
                  </a:lnTo>
                  <a:lnTo>
                    <a:pt x="89" y="33"/>
                  </a:lnTo>
                  <a:lnTo>
                    <a:pt x="88" y="33"/>
                  </a:lnTo>
                  <a:lnTo>
                    <a:pt x="88" y="31"/>
                  </a:lnTo>
                  <a:lnTo>
                    <a:pt x="87" y="30"/>
                  </a:lnTo>
                  <a:lnTo>
                    <a:pt x="88" y="30"/>
                  </a:lnTo>
                  <a:lnTo>
                    <a:pt x="88" y="29"/>
                  </a:lnTo>
                  <a:lnTo>
                    <a:pt x="87" y="29"/>
                  </a:lnTo>
                  <a:lnTo>
                    <a:pt x="86" y="29"/>
                  </a:lnTo>
                  <a:lnTo>
                    <a:pt x="86" y="28"/>
                  </a:lnTo>
                  <a:lnTo>
                    <a:pt x="87" y="28"/>
                  </a:lnTo>
                  <a:lnTo>
                    <a:pt x="86" y="27"/>
                  </a:lnTo>
                  <a:lnTo>
                    <a:pt x="85" y="27"/>
                  </a:lnTo>
                  <a:lnTo>
                    <a:pt x="83" y="27"/>
                  </a:lnTo>
                  <a:lnTo>
                    <a:pt x="83" y="28"/>
                  </a:lnTo>
                  <a:lnTo>
                    <a:pt x="82" y="28"/>
                  </a:lnTo>
                  <a:lnTo>
                    <a:pt x="82" y="27"/>
                  </a:lnTo>
                  <a:lnTo>
                    <a:pt x="83" y="27"/>
                  </a:lnTo>
                  <a:lnTo>
                    <a:pt x="83" y="25"/>
                  </a:lnTo>
                  <a:lnTo>
                    <a:pt x="83" y="27"/>
                  </a:lnTo>
                  <a:lnTo>
                    <a:pt x="82" y="27"/>
                  </a:lnTo>
                  <a:lnTo>
                    <a:pt x="83" y="25"/>
                  </a:lnTo>
                  <a:lnTo>
                    <a:pt x="82" y="25"/>
                  </a:lnTo>
                  <a:lnTo>
                    <a:pt x="81" y="27"/>
                  </a:lnTo>
                  <a:lnTo>
                    <a:pt x="81" y="25"/>
                  </a:lnTo>
                  <a:lnTo>
                    <a:pt x="81" y="24"/>
                  </a:lnTo>
                  <a:lnTo>
                    <a:pt x="81" y="25"/>
                  </a:lnTo>
                  <a:lnTo>
                    <a:pt x="80" y="25"/>
                  </a:lnTo>
                  <a:lnTo>
                    <a:pt x="80" y="24"/>
                  </a:lnTo>
                  <a:lnTo>
                    <a:pt x="81" y="24"/>
                  </a:lnTo>
                  <a:lnTo>
                    <a:pt x="80" y="24"/>
                  </a:lnTo>
                  <a:lnTo>
                    <a:pt x="79" y="23"/>
                  </a:lnTo>
                  <a:lnTo>
                    <a:pt x="80" y="23"/>
                  </a:lnTo>
                  <a:lnTo>
                    <a:pt x="81" y="24"/>
                  </a:lnTo>
                  <a:lnTo>
                    <a:pt x="81" y="23"/>
                  </a:lnTo>
                  <a:lnTo>
                    <a:pt x="80" y="23"/>
                  </a:lnTo>
                  <a:lnTo>
                    <a:pt x="81" y="23"/>
                  </a:lnTo>
                  <a:lnTo>
                    <a:pt x="82" y="23"/>
                  </a:lnTo>
                  <a:lnTo>
                    <a:pt x="82" y="24"/>
                  </a:lnTo>
                  <a:lnTo>
                    <a:pt x="83" y="24"/>
                  </a:lnTo>
                  <a:lnTo>
                    <a:pt x="85" y="24"/>
                  </a:lnTo>
                  <a:lnTo>
                    <a:pt x="85" y="25"/>
                  </a:lnTo>
                  <a:lnTo>
                    <a:pt x="85" y="24"/>
                  </a:lnTo>
                  <a:lnTo>
                    <a:pt x="86" y="24"/>
                  </a:lnTo>
                  <a:lnTo>
                    <a:pt x="86" y="25"/>
                  </a:lnTo>
                  <a:lnTo>
                    <a:pt x="87" y="25"/>
                  </a:lnTo>
                  <a:lnTo>
                    <a:pt x="87" y="27"/>
                  </a:lnTo>
                  <a:lnTo>
                    <a:pt x="88" y="27"/>
                  </a:lnTo>
                  <a:lnTo>
                    <a:pt x="89" y="27"/>
                  </a:lnTo>
                  <a:lnTo>
                    <a:pt x="91" y="28"/>
                  </a:lnTo>
                  <a:lnTo>
                    <a:pt x="92" y="29"/>
                  </a:lnTo>
                  <a:lnTo>
                    <a:pt x="92" y="28"/>
                  </a:lnTo>
                  <a:lnTo>
                    <a:pt x="92" y="27"/>
                  </a:lnTo>
                  <a:lnTo>
                    <a:pt x="91" y="27"/>
                  </a:lnTo>
                  <a:lnTo>
                    <a:pt x="89" y="27"/>
                  </a:lnTo>
                  <a:lnTo>
                    <a:pt x="91" y="25"/>
                  </a:lnTo>
                  <a:lnTo>
                    <a:pt x="91" y="27"/>
                  </a:lnTo>
                  <a:lnTo>
                    <a:pt x="92" y="27"/>
                  </a:lnTo>
                  <a:lnTo>
                    <a:pt x="92" y="25"/>
                  </a:lnTo>
                  <a:lnTo>
                    <a:pt x="93" y="25"/>
                  </a:lnTo>
                  <a:lnTo>
                    <a:pt x="94" y="25"/>
                  </a:lnTo>
                  <a:lnTo>
                    <a:pt x="96" y="25"/>
                  </a:lnTo>
                  <a:lnTo>
                    <a:pt x="97" y="25"/>
                  </a:lnTo>
                  <a:lnTo>
                    <a:pt x="96" y="25"/>
                  </a:lnTo>
                  <a:lnTo>
                    <a:pt x="96" y="24"/>
                  </a:lnTo>
                  <a:lnTo>
                    <a:pt x="97" y="23"/>
                  </a:lnTo>
                  <a:lnTo>
                    <a:pt x="96" y="23"/>
                  </a:lnTo>
                  <a:lnTo>
                    <a:pt x="96" y="24"/>
                  </a:lnTo>
                  <a:lnTo>
                    <a:pt x="94" y="24"/>
                  </a:lnTo>
                  <a:lnTo>
                    <a:pt x="94" y="25"/>
                  </a:lnTo>
                  <a:lnTo>
                    <a:pt x="94" y="24"/>
                  </a:lnTo>
                  <a:lnTo>
                    <a:pt x="93" y="25"/>
                  </a:lnTo>
                  <a:lnTo>
                    <a:pt x="93" y="24"/>
                  </a:lnTo>
                  <a:lnTo>
                    <a:pt x="92" y="24"/>
                  </a:lnTo>
                  <a:lnTo>
                    <a:pt x="93" y="24"/>
                  </a:lnTo>
                  <a:lnTo>
                    <a:pt x="94" y="24"/>
                  </a:lnTo>
                  <a:lnTo>
                    <a:pt x="94" y="23"/>
                  </a:lnTo>
                  <a:lnTo>
                    <a:pt x="96" y="23"/>
                  </a:lnTo>
                  <a:lnTo>
                    <a:pt x="97" y="22"/>
                  </a:lnTo>
                  <a:lnTo>
                    <a:pt x="98" y="22"/>
                  </a:lnTo>
                  <a:lnTo>
                    <a:pt x="97" y="22"/>
                  </a:lnTo>
                  <a:lnTo>
                    <a:pt x="97" y="21"/>
                  </a:lnTo>
                  <a:lnTo>
                    <a:pt x="98" y="21"/>
                  </a:lnTo>
                  <a:lnTo>
                    <a:pt x="97" y="21"/>
                  </a:lnTo>
                  <a:lnTo>
                    <a:pt x="97" y="19"/>
                  </a:lnTo>
                  <a:lnTo>
                    <a:pt x="97" y="18"/>
                  </a:lnTo>
                  <a:lnTo>
                    <a:pt x="96" y="17"/>
                  </a:lnTo>
                  <a:lnTo>
                    <a:pt x="96" y="16"/>
                  </a:lnTo>
                  <a:lnTo>
                    <a:pt x="97" y="16"/>
                  </a:lnTo>
                  <a:lnTo>
                    <a:pt x="96" y="15"/>
                  </a:lnTo>
                  <a:lnTo>
                    <a:pt x="96" y="16"/>
                  </a:lnTo>
                  <a:lnTo>
                    <a:pt x="94" y="15"/>
                  </a:lnTo>
                  <a:lnTo>
                    <a:pt x="96" y="15"/>
                  </a:lnTo>
                  <a:lnTo>
                    <a:pt x="94" y="15"/>
                  </a:lnTo>
                  <a:lnTo>
                    <a:pt x="96" y="15"/>
                  </a:lnTo>
                  <a:lnTo>
                    <a:pt x="97" y="13"/>
                  </a:lnTo>
                  <a:lnTo>
                    <a:pt x="97" y="15"/>
                  </a:lnTo>
                  <a:lnTo>
                    <a:pt x="97" y="13"/>
                  </a:lnTo>
                  <a:lnTo>
                    <a:pt x="98" y="13"/>
                  </a:lnTo>
                  <a:lnTo>
                    <a:pt x="97" y="13"/>
                  </a:lnTo>
                  <a:lnTo>
                    <a:pt x="96" y="13"/>
                  </a:lnTo>
                  <a:lnTo>
                    <a:pt x="96" y="12"/>
                  </a:lnTo>
                  <a:lnTo>
                    <a:pt x="96" y="13"/>
                  </a:lnTo>
                  <a:lnTo>
                    <a:pt x="94" y="13"/>
                  </a:lnTo>
                  <a:lnTo>
                    <a:pt x="94" y="12"/>
                  </a:lnTo>
                  <a:lnTo>
                    <a:pt x="96" y="12"/>
                  </a:lnTo>
                  <a:lnTo>
                    <a:pt x="94" y="12"/>
                  </a:lnTo>
                  <a:lnTo>
                    <a:pt x="94" y="13"/>
                  </a:lnTo>
                  <a:lnTo>
                    <a:pt x="94" y="12"/>
                  </a:lnTo>
                  <a:lnTo>
                    <a:pt x="93" y="12"/>
                  </a:lnTo>
                  <a:lnTo>
                    <a:pt x="93" y="13"/>
                  </a:lnTo>
                  <a:lnTo>
                    <a:pt x="92" y="12"/>
                  </a:lnTo>
                  <a:lnTo>
                    <a:pt x="93" y="12"/>
                  </a:lnTo>
                  <a:lnTo>
                    <a:pt x="92" y="12"/>
                  </a:lnTo>
                  <a:lnTo>
                    <a:pt x="92" y="11"/>
                  </a:lnTo>
                  <a:lnTo>
                    <a:pt x="91" y="11"/>
                  </a:lnTo>
                  <a:lnTo>
                    <a:pt x="92" y="11"/>
                  </a:lnTo>
                  <a:lnTo>
                    <a:pt x="93" y="11"/>
                  </a:lnTo>
                  <a:lnTo>
                    <a:pt x="94" y="11"/>
                  </a:lnTo>
                  <a:lnTo>
                    <a:pt x="93" y="11"/>
                  </a:lnTo>
                  <a:lnTo>
                    <a:pt x="93" y="10"/>
                  </a:lnTo>
                  <a:lnTo>
                    <a:pt x="94" y="10"/>
                  </a:lnTo>
                  <a:lnTo>
                    <a:pt x="94" y="11"/>
                  </a:lnTo>
                  <a:lnTo>
                    <a:pt x="96" y="11"/>
                  </a:lnTo>
                  <a:lnTo>
                    <a:pt x="96" y="12"/>
                  </a:lnTo>
                  <a:lnTo>
                    <a:pt x="97" y="12"/>
                  </a:lnTo>
                  <a:lnTo>
                    <a:pt x="97" y="11"/>
                  </a:lnTo>
                  <a:lnTo>
                    <a:pt x="96" y="12"/>
                  </a:lnTo>
                  <a:lnTo>
                    <a:pt x="96" y="11"/>
                  </a:lnTo>
                  <a:lnTo>
                    <a:pt x="96" y="10"/>
                  </a:lnTo>
                  <a:lnTo>
                    <a:pt x="94" y="10"/>
                  </a:lnTo>
                  <a:lnTo>
                    <a:pt x="93" y="10"/>
                  </a:lnTo>
                  <a:lnTo>
                    <a:pt x="93" y="9"/>
                  </a:lnTo>
                  <a:lnTo>
                    <a:pt x="96" y="9"/>
                  </a:lnTo>
                  <a:lnTo>
                    <a:pt x="94" y="9"/>
                  </a:lnTo>
                  <a:lnTo>
                    <a:pt x="93" y="9"/>
                  </a:lnTo>
                  <a:lnTo>
                    <a:pt x="93" y="7"/>
                  </a:lnTo>
                  <a:lnTo>
                    <a:pt x="94" y="7"/>
                  </a:lnTo>
                  <a:lnTo>
                    <a:pt x="94" y="9"/>
                  </a:lnTo>
                  <a:lnTo>
                    <a:pt x="93" y="6"/>
                  </a:lnTo>
                  <a:lnTo>
                    <a:pt x="92" y="5"/>
                  </a:lnTo>
                  <a:lnTo>
                    <a:pt x="91" y="4"/>
                  </a:lnTo>
                  <a:lnTo>
                    <a:pt x="92" y="4"/>
                  </a:lnTo>
                  <a:lnTo>
                    <a:pt x="93" y="5"/>
                  </a:lnTo>
                  <a:lnTo>
                    <a:pt x="94" y="6"/>
                  </a:lnTo>
                  <a:lnTo>
                    <a:pt x="94" y="7"/>
                  </a:lnTo>
                  <a:lnTo>
                    <a:pt x="96" y="7"/>
                  </a:lnTo>
                  <a:lnTo>
                    <a:pt x="96" y="9"/>
                  </a:lnTo>
                  <a:lnTo>
                    <a:pt x="97" y="9"/>
                  </a:lnTo>
                  <a:lnTo>
                    <a:pt x="97" y="7"/>
                  </a:lnTo>
                  <a:lnTo>
                    <a:pt x="98" y="7"/>
                  </a:lnTo>
                  <a:lnTo>
                    <a:pt x="98" y="6"/>
                  </a:lnTo>
                  <a:lnTo>
                    <a:pt x="98" y="7"/>
                  </a:lnTo>
                  <a:lnTo>
                    <a:pt x="97" y="7"/>
                  </a:lnTo>
                  <a:lnTo>
                    <a:pt x="97" y="9"/>
                  </a:lnTo>
                  <a:lnTo>
                    <a:pt x="97" y="10"/>
                  </a:lnTo>
                  <a:lnTo>
                    <a:pt x="98" y="10"/>
                  </a:lnTo>
                  <a:lnTo>
                    <a:pt x="98" y="9"/>
                  </a:lnTo>
                  <a:lnTo>
                    <a:pt x="98" y="10"/>
                  </a:lnTo>
                  <a:lnTo>
                    <a:pt x="97" y="10"/>
                  </a:lnTo>
                  <a:lnTo>
                    <a:pt x="97" y="11"/>
                  </a:lnTo>
                  <a:lnTo>
                    <a:pt x="98" y="11"/>
                  </a:lnTo>
                  <a:lnTo>
                    <a:pt x="98" y="10"/>
                  </a:lnTo>
                  <a:lnTo>
                    <a:pt x="98" y="11"/>
                  </a:lnTo>
                  <a:lnTo>
                    <a:pt x="97" y="12"/>
                  </a:lnTo>
                  <a:lnTo>
                    <a:pt x="98" y="12"/>
                  </a:lnTo>
                  <a:lnTo>
                    <a:pt x="98" y="11"/>
                  </a:lnTo>
                  <a:lnTo>
                    <a:pt x="99" y="11"/>
                  </a:lnTo>
                  <a:lnTo>
                    <a:pt x="99" y="10"/>
                  </a:lnTo>
                  <a:lnTo>
                    <a:pt x="98" y="10"/>
                  </a:lnTo>
                  <a:lnTo>
                    <a:pt x="99" y="10"/>
                  </a:lnTo>
                  <a:lnTo>
                    <a:pt x="99" y="9"/>
                  </a:lnTo>
                  <a:lnTo>
                    <a:pt x="98" y="9"/>
                  </a:lnTo>
                  <a:lnTo>
                    <a:pt x="97" y="9"/>
                  </a:lnTo>
                  <a:lnTo>
                    <a:pt x="98" y="9"/>
                  </a:lnTo>
                  <a:lnTo>
                    <a:pt x="99" y="9"/>
                  </a:lnTo>
                  <a:lnTo>
                    <a:pt x="99" y="7"/>
                  </a:lnTo>
                  <a:lnTo>
                    <a:pt x="99" y="6"/>
                  </a:lnTo>
                  <a:lnTo>
                    <a:pt x="99" y="5"/>
                  </a:lnTo>
                  <a:lnTo>
                    <a:pt x="99" y="4"/>
                  </a:lnTo>
                  <a:lnTo>
                    <a:pt x="100" y="4"/>
                  </a:lnTo>
                  <a:lnTo>
                    <a:pt x="100" y="5"/>
                  </a:lnTo>
                  <a:lnTo>
                    <a:pt x="100" y="6"/>
                  </a:lnTo>
                  <a:lnTo>
                    <a:pt x="100" y="7"/>
                  </a:lnTo>
                  <a:lnTo>
                    <a:pt x="100" y="9"/>
                  </a:lnTo>
                  <a:lnTo>
                    <a:pt x="99" y="10"/>
                  </a:lnTo>
                  <a:lnTo>
                    <a:pt x="99" y="11"/>
                  </a:lnTo>
                  <a:lnTo>
                    <a:pt x="100" y="10"/>
                  </a:lnTo>
                  <a:lnTo>
                    <a:pt x="100" y="11"/>
                  </a:lnTo>
                  <a:lnTo>
                    <a:pt x="102" y="11"/>
                  </a:lnTo>
                  <a:lnTo>
                    <a:pt x="102" y="10"/>
                  </a:lnTo>
                  <a:lnTo>
                    <a:pt x="102" y="9"/>
                  </a:lnTo>
                  <a:lnTo>
                    <a:pt x="103" y="10"/>
                  </a:lnTo>
                  <a:lnTo>
                    <a:pt x="102" y="9"/>
                  </a:lnTo>
                  <a:lnTo>
                    <a:pt x="103" y="9"/>
                  </a:lnTo>
                  <a:lnTo>
                    <a:pt x="102" y="7"/>
                  </a:lnTo>
                  <a:lnTo>
                    <a:pt x="103" y="7"/>
                  </a:lnTo>
                  <a:lnTo>
                    <a:pt x="102" y="6"/>
                  </a:lnTo>
                  <a:lnTo>
                    <a:pt x="100" y="5"/>
                  </a:lnTo>
                  <a:lnTo>
                    <a:pt x="102" y="5"/>
                  </a:lnTo>
                  <a:lnTo>
                    <a:pt x="103" y="6"/>
                  </a:lnTo>
                  <a:lnTo>
                    <a:pt x="103" y="5"/>
                  </a:lnTo>
                  <a:lnTo>
                    <a:pt x="102" y="5"/>
                  </a:lnTo>
                  <a:lnTo>
                    <a:pt x="103" y="4"/>
                  </a:lnTo>
                  <a:lnTo>
                    <a:pt x="103" y="5"/>
                  </a:lnTo>
                  <a:lnTo>
                    <a:pt x="103" y="4"/>
                  </a:lnTo>
                  <a:lnTo>
                    <a:pt x="103" y="3"/>
                  </a:lnTo>
                  <a:lnTo>
                    <a:pt x="103" y="4"/>
                  </a:lnTo>
                  <a:lnTo>
                    <a:pt x="103" y="5"/>
                  </a:lnTo>
                  <a:lnTo>
                    <a:pt x="103" y="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2" name="Freeform 65"/>
            <p:cNvSpPr>
              <a:spLocks/>
            </p:cNvSpPr>
            <p:nvPr userDrawn="1"/>
          </p:nvSpPr>
          <p:spPr bwMode="auto">
            <a:xfrm>
              <a:off x="4665663" y="6424613"/>
              <a:ext cx="95250" cy="114300"/>
            </a:xfrm>
            <a:custGeom>
              <a:avLst/>
              <a:gdLst/>
              <a:ahLst/>
              <a:cxnLst>
                <a:cxn ang="0">
                  <a:pos x="168" y="253"/>
                </a:cxn>
                <a:cxn ang="0">
                  <a:pos x="170" y="248"/>
                </a:cxn>
                <a:cxn ang="0">
                  <a:pos x="170" y="279"/>
                </a:cxn>
                <a:cxn ang="0">
                  <a:pos x="182" y="274"/>
                </a:cxn>
                <a:cxn ang="0">
                  <a:pos x="197" y="272"/>
                </a:cxn>
                <a:cxn ang="0">
                  <a:pos x="183" y="295"/>
                </a:cxn>
                <a:cxn ang="0">
                  <a:pos x="197" y="308"/>
                </a:cxn>
                <a:cxn ang="0">
                  <a:pos x="235" y="311"/>
                </a:cxn>
                <a:cxn ang="0">
                  <a:pos x="244" y="290"/>
                </a:cxn>
                <a:cxn ang="0">
                  <a:pos x="248" y="273"/>
                </a:cxn>
                <a:cxn ang="0">
                  <a:pos x="222" y="262"/>
                </a:cxn>
                <a:cxn ang="0">
                  <a:pos x="239" y="258"/>
                </a:cxn>
                <a:cxn ang="0">
                  <a:pos x="238" y="246"/>
                </a:cxn>
                <a:cxn ang="0">
                  <a:pos x="226" y="228"/>
                </a:cxn>
                <a:cxn ang="0">
                  <a:pos x="220" y="202"/>
                </a:cxn>
                <a:cxn ang="0">
                  <a:pos x="215" y="188"/>
                </a:cxn>
                <a:cxn ang="0">
                  <a:pos x="260" y="189"/>
                </a:cxn>
                <a:cxn ang="0">
                  <a:pos x="274" y="158"/>
                </a:cxn>
                <a:cxn ang="0">
                  <a:pos x="269" y="139"/>
                </a:cxn>
                <a:cxn ang="0">
                  <a:pos x="260" y="109"/>
                </a:cxn>
                <a:cxn ang="0">
                  <a:pos x="272" y="92"/>
                </a:cxn>
                <a:cxn ang="0">
                  <a:pos x="263" y="70"/>
                </a:cxn>
                <a:cxn ang="0">
                  <a:pos x="253" y="56"/>
                </a:cxn>
                <a:cxn ang="0">
                  <a:pos x="224" y="26"/>
                </a:cxn>
                <a:cxn ang="0">
                  <a:pos x="197" y="14"/>
                </a:cxn>
                <a:cxn ang="0">
                  <a:pos x="186" y="28"/>
                </a:cxn>
                <a:cxn ang="0">
                  <a:pos x="182" y="50"/>
                </a:cxn>
                <a:cxn ang="0">
                  <a:pos x="170" y="54"/>
                </a:cxn>
                <a:cxn ang="0">
                  <a:pos x="170" y="33"/>
                </a:cxn>
                <a:cxn ang="0">
                  <a:pos x="155" y="14"/>
                </a:cxn>
                <a:cxn ang="0">
                  <a:pos x="126" y="15"/>
                </a:cxn>
                <a:cxn ang="0">
                  <a:pos x="132" y="36"/>
                </a:cxn>
                <a:cxn ang="0">
                  <a:pos x="99" y="22"/>
                </a:cxn>
                <a:cxn ang="0">
                  <a:pos x="87" y="40"/>
                </a:cxn>
                <a:cxn ang="0">
                  <a:pos x="97" y="52"/>
                </a:cxn>
                <a:cxn ang="0">
                  <a:pos x="71" y="59"/>
                </a:cxn>
                <a:cxn ang="0">
                  <a:pos x="102" y="76"/>
                </a:cxn>
                <a:cxn ang="0">
                  <a:pos x="116" y="75"/>
                </a:cxn>
                <a:cxn ang="0">
                  <a:pos x="111" y="92"/>
                </a:cxn>
                <a:cxn ang="0">
                  <a:pos x="85" y="111"/>
                </a:cxn>
                <a:cxn ang="0">
                  <a:pos x="58" y="95"/>
                </a:cxn>
                <a:cxn ang="0">
                  <a:pos x="37" y="99"/>
                </a:cxn>
                <a:cxn ang="0">
                  <a:pos x="53" y="134"/>
                </a:cxn>
                <a:cxn ang="0">
                  <a:pos x="50" y="148"/>
                </a:cxn>
                <a:cxn ang="0">
                  <a:pos x="26" y="154"/>
                </a:cxn>
                <a:cxn ang="0">
                  <a:pos x="5" y="161"/>
                </a:cxn>
                <a:cxn ang="0">
                  <a:pos x="2" y="178"/>
                </a:cxn>
                <a:cxn ang="0">
                  <a:pos x="30" y="188"/>
                </a:cxn>
                <a:cxn ang="0">
                  <a:pos x="57" y="192"/>
                </a:cxn>
                <a:cxn ang="0">
                  <a:pos x="68" y="201"/>
                </a:cxn>
                <a:cxn ang="0">
                  <a:pos x="32" y="222"/>
                </a:cxn>
                <a:cxn ang="0">
                  <a:pos x="33" y="240"/>
                </a:cxn>
                <a:cxn ang="0">
                  <a:pos x="71" y="235"/>
                </a:cxn>
                <a:cxn ang="0">
                  <a:pos x="71" y="244"/>
                </a:cxn>
                <a:cxn ang="0">
                  <a:pos x="55" y="266"/>
                </a:cxn>
                <a:cxn ang="0">
                  <a:pos x="91" y="271"/>
                </a:cxn>
                <a:cxn ang="0">
                  <a:pos x="97" y="250"/>
                </a:cxn>
                <a:cxn ang="0">
                  <a:pos x="103" y="230"/>
                </a:cxn>
                <a:cxn ang="0">
                  <a:pos x="123" y="262"/>
                </a:cxn>
                <a:cxn ang="0">
                  <a:pos x="120" y="232"/>
                </a:cxn>
                <a:cxn ang="0">
                  <a:pos x="126" y="237"/>
                </a:cxn>
                <a:cxn ang="0">
                  <a:pos x="140" y="229"/>
                </a:cxn>
                <a:cxn ang="0">
                  <a:pos x="151" y="232"/>
                </a:cxn>
              </a:cxnLst>
              <a:rect l="0" t="0" r="r" b="b"/>
              <a:pathLst>
                <a:path w="297" h="363">
                  <a:moveTo>
                    <a:pt x="197" y="360"/>
                  </a:moveTo>
                  <a:lnTo>
                    <a:pt x="195" y="360"/>
                  </a:lnTo>
                  <a:lnTo>
                    <a:pt x="182" y="361"/>
                  </a:lnTo>
                  <a:lnTo>
                    <a:pt x="175" y="360"/>
                  </a:lnTo>
                  <a:lnTo>
                    <a:pt x="174" y="355"/>
                  </a:lnTo>
                  <a:lnTo>
                    <a:pt x="174" y="350"/>
                  </a:lnTo>
                  <a:lnTo>
                    <a:pt x="174" y="348"/>
                  </a:lnTo>
                  <a:lnTo>
                    <a:pt x="173" y="339"/>
                  </a:lnTo>
                  <a:lnTo>
                    <a:pt x="170" y="313"/>
                  </a:lnTo>
                  <a:lnTo>
                    <a:pt x="170" y="308"/>
                  </a:lnTo>
                  <a:lnTo>
                    <a:pt x="169" y="301"/>
                  </a:lnTo>
                  <a:lnTo>
                    <a:pt x="169" y="295"/>
                  </a:lnTo>
                  <a:lnTo>
                    <a:pt x="168" y="290"/>
                  </a:lnTo>
                  <a:lnTo>
                    <a:pt x="168" y="285"/>
                  </a:lnTo>
                  <a:lnTo>
                    <a:pt x="167" y="280"/>
                  </a:lnTo>
                  <a:lnTo>
                    <a:pt x="167" y="278"/>
                  </a:lnTo>
                  <a:lnTo>
                    <a:pt x="168" y="278"/>
                  </a:lnTo>
                  <a:lnTo>
                    <a:pt x="169" y="279"/>
                  </a:lnTo>
                  <a:lnTo>
                    <a:pt x="170" y="279"/>
                  </a:lnTo>
                  <a:lnTo>
                    <a:pt x="170" y="278"/>
                  </a:lnTo>
                  <a:lnTo>
                    <a:pt x="169" y="277"/>
                  </a:lnTo>
                  <a:lnTo>
                    <a:pt x="169" y="276"/>
                  </a:lnTo>
                  <a:lnTo>
                    <a:pt x="168" y="277"/>
                  </a:lnTo>
                  <a:lnTo>
                    <a:pt x="168" y="276"/>
                  </a:lnTo>
                  <a:lnTo>
                    <a:pt x="168" y="274"/>
                  </a:lnTo>
                  <a:lnTo>
                    <a:pt x="169" y="274"/>
                  </a:lnTo>
                  <a:lnTo>
                    <a:pt x="170" y="274"/>
                  </a:lnTo>
                  <a:lnTo>
                    <a:pt x="170" y="273"/>
                  </a:lnTo>
                  <a:lnTo>
                    <a:pt x="171" y="272"/>
                  </a:lnTo>
                  <a:lnTo>
                    <a:pt x="171" y="271"/>
                  </a:lnTo>
                  <a:lnTo>
                    <a:pt x="170" y="271"/>
                  </a:lnTo>
                  <a:lnTo>
                    <a:pt x="170" y="272"/>
                  </a:lnTo>
                  <a:lnTo>
                    <a:pt x="169" y="273"/>
                  </a:lnTo>
                  <a:lnTo>
                    <a:pt x="168" y="273"/>
                  </a:lnTo>
                  <a:lnTo>
                    <a:pt x="167" y="273"/>
                  </a:lnTo>
                  <a:lnTo>
                    <a:pt x="167" y="271"/>
                  </a:lnTo>
                  <a:lnTo>
                    <a:pt x="167" y="264"/>
                  </a:lnTo>
                  <a:lnTo>
                    <a:pt x="167" y="261"/>
                  </a:lnTo>
                  <a:lnTo>
                    <a:pt x="168" y="261"/>
                  </a:lnTo>
                  <a:lnTo>
                    <a:pt x="168" y="260"/>
                  </a:lnTo>
                  <a:lnTo>
                    <a:pt x="168" y="259"/>
                  </a:lnTo>
                  <a:lnTo>
                    <a:pt x="167" y="258"/>
                  </a:lnTo>
                  <a:lnTo>
                    <a:pt x="167" y="255"/>
                  </a:lnTo>
                  <a:lnTo>
                    <a:pt x="167" y="253"/>
                  </a:lnTo>
                  <a:lnTo>
                    <a:pt x="165" y="252"/>
                  </a:lnTo>
                  <a:lnTo>
                    <a:pt x="167" y="252"/>
                  </a:lnTo>
                  <a:lnTo>
                    <a:pt x="167" y="250"/>
                  </a:lnTo>
                  <a:lnTo>
                    <a:pt x="167" y="248"/>
                  </a:lnTo>
                  <a:lnTo>
                    <a:pt x="167" y="247"/>
                  </a:lnTo>
                  <a:lnTo>
                    <a:pt x="167" y="246"/>
                  </a:lnTo>
                  <a:lnTo>
                    <a:pt x="165" y="246"/>
                  </a:lnTo>
                  <a:lnTo>
                    <a:pt x="167" y="243"/>
                  </a:lnTo>
                  <a:lnTo>
                    <a:pt x="167" y="244"/>
                  </a:lnTo>
                  <a:lnTo>
                    <a:pt x="167" y="246"/>
                  </a:lnTo>
                  <a:lnTo>
                    <a:pt x="168" y="244"/>
                  </a:lnTo>
                  <a:lnTo>
                    <a:pt x="168" y="243"/>
                  </a:lnTo>
                  <a:lnTo>
                    <a:pt x="167" y="242"/>
                  </a:lnTo>
                  <a:lnTo>
                    <a:pt x="167" y="238"/>
                  </a:lnTo>
                  <a:lnTo>
                    <a:pt x="167" y="236"/>
                  </a:lnTo>
                  <a:lnTo>
                    <a:pt x="167" y="235"/>
                  </a:lnTo>
                  <a:lnTo>
                    <a:pt x="168" y="234"/>
                  </a:lnTo>
                  <a:lnTo>
                    <a:pt x="168" y="232"/>
                  </a:lnTo>
                  <a:lnTo>
                    <a:pt x="169" y="231"/>
                  </a:lnTo>
                  <a:lnTo>
                    <a:pt x="170" y="231"/>
                  </a:lnTo>
                  <a:lnTo>
                    <a:pt x="170" y="232"/>
                  </a:lnTo>
                  <a:lnTo>
                    <a:pt x="170" y="234"/>
                  </a:lnTo>
                  <a:lnTo>
                    <a:pt x="170" y="235"/>
                  </a:lnTo>
                  <a:lnTo>
                    <a:pt x="169" y="236"/>
                  </a:lnTo>
                  <a:lnTo>
                    <a:pt x="169" y="237"/>
                  </a:lnTo>
                  <a:lnTo>
                    <a:pt x="169" y="241"/>
                  </a:lnTo>
                  <a:lnTo>
                    <a:pt x="169" y="244"/>
                  </a:lnTo>
                  <a:lnTo>
                    <a:pt x="169" y="247"/>
                  </a:lnTo>
                  <a:lnTo>
                    <a:pt x="169" y="249"/>
                  </a:lnTo>
                  <a:lnTo>
                    <a:pt x="169" y="250"/>
                  </a:lnTo>
                  <a:lnTo>
                    <a:pt x="168" y="253"/>
                  </a:lnTo>
                  <a:lnTo>
                    <a:pt x="169" y="253"/>
                  </a:lnTo>
                  <a:lnTo>
                    <a:pt x="169" y="254"/>
                  </a:lnTo>
                  <a:lnTo>
                    <a:pt x="168" y="254"/>
                  </a:lnTo>
                  <a:lnTo>
                    <a:pt x="169" y="254"/>
                  </a:lnTo>
                  <a:lnTo>
                    <a:pt x="169" y="255"/>
                  </a:lnTo>
                  <a:lnTo>
                    <a:pt x="169" y="256"/>
                  </a:lnTo>
                  <a:lnTo>
                    <a:pt x="169" y="258"/>
                  </a:lnTo>
                  <a:lnTo>
                    <a:pt x="169" y="259"/>
                  </a:lnTo>
                  <a:lnTo>
                    <a:pt x="169" y="260"/>
                  </a:lnTo>
                  <a:lnTo>
                    <a:pt x="169" y="261"/>
                  </a:lnTo>
                  <a:lnTo>
                    <a:pt x="169" y="262"/>
                  </a:lnTo>
                  <a:lnTo>
                    <a:pt x="169" y="264"/>
                  </a:lnTo>
                  <a:lnTo>
                    <a:pt x="169" y="265"/>
                  </a:lnTo>
                  <a:lnTo>
                    <a:pt x="169" y="266"/>
                  </a:lnTo>
                  <a:lnTo>
                    <a:pt x="168" y="267"/>
                  </a:lnTo>
                  <a:lnTo>
                    <a:pt x="168" y="268"/>
                  </a:lnTo>
                  <a:lnTo>
                    <a:pt x="169" y="270"/>
                  </a:lnTo>
                  <a:lnTo>
                    <a:pt x="169" y="271"/>
                  </a:lnTo>
                  <a:lnTo>
                    <a:pt x="170" y="271"/>
                  </a:lnTo>
                  <a:lnTo>
                    <a:pt x="170" y="270"/>
                  </a:lnTo>
                  <a:lnTo>
                    <a:pt x="170" y="268"/>
                  </a:lnTo>
                  <a:lnTo>
                    <a:pt x="170" y="267"/>
                  </a:lnTo>
                  <a:lnTo>
                    <a:pt x="170" y="268"/>
                  </a:lnTo>
                  <a:lnTo>
                    <a:pt x="170" y="270"/>
                  </a:lnTo>
                  <a:lnTo>
                    <a:pt x="171" y="268"/>
                  </a:lnTo>
                  <a:lnTo>
                    <a:pt x="171" y="267"/>
                  </a:lnTo>
                  <a:lnTo>
                    <a:pt x="171" y="266"/>
                  </a:lnTo>
                  <a:lnTo>
                    <a:pt x="171" y="265"/>
                  </a:lnTo>
                  <a:lnTo>
                    <a:pt x="171" y="264"/>
                  </a:lnTo>
                  <a:lnTo>
                    <a:pt x="170" y="264"/>
                  </a:lnTo>
                  <a:lnTo>
                    <a:pt x="170" y="262"/>
                  </a:lnTo>
                  <a:lnTo>
                    <a:pt x="171" y="264"/>
                  </a:lnTo>
                  <a:lnTo>
                    <a:pt x="173" y="264"/>
                  </a:lnTo>
                  <a:lnTo>
                    <a:pt x="174" y="265"/>
                  </a:lnTo>
                  <a:lnTo>
                    <a:pt x="173" y="266"/>
                  </a:lnTo>
                  <a:lnTo>
                    <a:pt x="173" y="267"/>
                  </a:lnTo>
                  <a:lnTo>
                    <a:pt x="174" y="266"/>
                  </a:lnTo>
                  <a:lnTo>
                    <a:pt x="174" y="267"/>
                  </a:lnTo>
                  <a:lnTo>
                    <a:pt x="175" y="268"/>
                  </a:lnTo>
                  <a:lnTo>
                    <a:pt x="176" y="268"/>
                  </a:lnTo>
                  <a:lnTo>
                    <a:pt x="177" y="267"/>
                  </a:lnTo>
                  <a:lnTo>
                    <a:pt x="176" y="266"/>
                  </a:lnTo>
                  <a:lnTo>
                    <a:pt x="175" y="266"/>
                  </a:lnTo>
                  <a:lnTo>
                    <a:pt x="176" y="266"/>
                  </a:lnTo>
                  <a:lnTo>
                    <a:pt x="177" y="266"/>
                  </a:lnTo>
                  <a:lnTo>
                    <a:pt x="179" y="265"/>
                  </a:lnTo>
                  <a:lnTo>
                    <a:pt x="179" y="264"/>
                  </a:lnTo>
                  <a:lnTo>
                    <a:pt x="177" y="262"/>
                  </a:lnTo>
                  <a:lnTo>
                    <a:pt x="177" y="264"/>
                  </a:lnTo>
                  <a:lnTo>
                    <a:pt x="176" y="264"/>
                  </a:lnTo>
                  <a:lnTo>
                    <a:pt x="175" y="264"/>
                  </a:lnTo>
                  <a:lnTo>
                    <a:pt x="174" y="264"/>
                  </a:lnTo>
                  <a:lnTo>
                    <a:pt x="175" y="262"/>
                  </a:lnTo>
                  <a:lnTo>
                    <a:pt x="175" y="261"/>
                  </a:lnTo>
                  <a:lnTo>
                    <a:pt x="174" y="261"/>
                  </a:lnTo>
                  <a:lnTo>
                    <a:pt x="173" y="262"/>
                  </a:lnTo>
                  <a:lnTo>
                    <a:pt x="173" y="261"/>
                  </a:lnTo>
                  <a:lnTo>
                    <a:pt x="171" y="260"/>
                  </a:lnTo>
                  <a:lnTo>
                    <a:pt x="170" y="259"/>
                  </a:lnTo>
                  <a:lnTo>
                    <a:pt x="170" y="258"/>
                  </a:lnTo>
                  <a:lnTo>
                    <a:pt x="170" y="256"/>
                  </a:lnTo>
                  <a:lnTo>
                    <a:pt x="171" y="256"/>
                  </a:lnTo>
                  <a:lnTo>
                    <a:pt x="171" y="258"/>
                  </a:lnTo>
                  <a:lnTo>
                    <a:pt x="171" y="259"/>
                  </a:lnTo>
                  <a:lnTo>
                    <a:pt x="171" y="258"/>
                  </a:lnTo>
                  <a:lnTo>
                    <a:pt x="171" y="256"/>
                  </a:lnTo>
                  <a:lnTo>
                    <a:pt x="171" y="255"/>
                  </a:lnTo>
                  <a:lnTo>
                    <a:pt x="171" y="254"/>
                  </a:lnTo>
                  <a:lnTo>
                    <a:pt x="170" y="254"/>
                  </a:lnTo>
                  <a:lnTo>
                    <a:pt x="170" y="253"/>
                  </a:lnTo>
                  <a:lnTo>
                    <a:pt x="170" y="252"/>
                  </a:lnTo>
                  <a:lnTo>
                    <a:pt x="169" y="250"/>
                  </a:lnTo>
                  <a:lnTo>
                    <a:pt x="169" y="249"/>
                  </a:lnTo>
                  <a:lnTo>
                    <a:pt x="169" y="248"/>
                  </a:lnTo>
                  <a:lnTo>
                    <a:pt x="170" y="248"/>
                  </a:lnTo>
                  <a:lnTo>
                    <a:pt x="171" y="248"/>
                  </a:lnTo>
                  <a:lnTo>
                    <a:pt x="171" y="249"/>
                  </a:lnTo>
                  <a:lnTo>
                    <a:pt x="173" y="250"/>
                  </a:lnTo>
                  <a:lnTo>
                    <a:pt x="174" y="252"/>
                  </a:lnTo>
                  <a:lnTo>
                    <a:pt x="175" y="253"/>
                  </a:lnTo>
                  <a:lnTo>
                    <a:pt x="174" y="254"/>
                  </a:lnTo>
                  <a:lnTo>
                    <a:pt x="174" y="253"/>
                  </a:lnTo>
                  <a:lnTo>
                    <a:pt x="173" y="253"/>
                  </a:lnTo>
                  <a:lnTo>
                    <a:pt x="173" y="254"/>
                  </a:lnTo>
                  <a:lnTo>
                    <a:pt x="174" y="255"/>
                  </a:lnTo>
                  <a:lnTo>
                    <a:pt x="173" y="256"/>
                  </a:lnTo>
                  <a:lnTo>
                    <a:pt x="173" y="258"/>
                  </a:lnTo>
                  <a:lnTo>
                    <a:pt x="174" y="256"/>
                  </a:lnTo>
                  <a:lnTo>
                    <a:pt x="175" y="255"/>
                  </a:lnTo>
                  <a:lnTo>
                    <a:pt x="176" y="255"/>
                  </a:lnTo>
                  <a:lnTo>
                    <a:pt x="176" y="256"/>
                  </a:lnTo>
                  <a:lnTo>
                    <a:pt x="175" y="256"/>
                  </a:lnTo>
                  <a:lnTo>
                    <a:pt x="173" y="258"/>
                  </a:lnTo>
                  <a:lnTo>
                    <a:pt x="173" y="259"/>
                  </a:lnTo>
                  <a:lnTo>
                    <a:pt x="174" y="259"/>
                  </a:lnTo>
                  <a:lnTo>
                    <a:pt x="174" y="258"/>
                  </a:lnTo>
                  <a:lnTo>
                    <a:pt x="175" y="258"/>
                  </a:lnTo>
                  <a:lnTo>
                    <a:pt x="176" y="258"/>
                  </a:lnTo>
                  <a:lnTo>
                    <a:pt x="177" y="258"/>
                  </a:lnTo>
                  <a:lnTo>
                    <a:pt x="179" y="258"/>
                  </a:lnTo>
                  <a:lnTo>
                    <a:pt x="180" y="256"/>
                  </a:lnTo>
                  <a:lnTo>
                    <a:pt x="181" y="258"/>
                  </a:lnTo>
                  <a:lnTo>
                    <a:pt x="180" y="258"/>
                  </a:lnTo>
                  <a:lnTo>
                    <a:pt x="179" y="259"/>
                  </a:lnTo>
                  <a:lnTo>
                    <a:pt x="177" y="259"/>
                  </a:lnTo>
                  <a:lnTo>
                    <a:pt x="176" y="259"/>
                  </a:lnTo>
                  <a:lnTo>
                    <a:pt x="177" y="260"/>
                  </a:lnTo>
                  <a:lnTo>
                    <a:pt x="179" y="260"/>
                  </a:lnTo>
                  <a:lnTo>
                    <a:pt x="180" y="260"/>
                  </a:lnTo>
                  <a:lnTo>
                    <a:pt x="179" y="261"/>
                  </a:lnTo>
                  <a:lnTo>
                    <a:pt x="177" y="260"/>
                  </a:lnTo>
                  <a:lnTo>
                    <a:pt x="176" y="260"/>
                  </a:lnTo>
                  <a:lnTo>
                    <a:pt x="175" y="260"/>
                  </a:lnTo>
                  <a:lnTo>
                    <a:pt x="174" y="260"/>
                  </a:lnTo>
                  <a:lnTo>
                    <a:pt x="173" y="260"/>
                  </a:lnTo>
                  <a:lnTo>
                    <a:pt x="174" y="261"/>
                  </a:lnTo>
                  <a:lnTo>
                    <a:pt x="175" y="261"/>
                  </a:lnTo>
                  <a:lnTo>
                    <a:pt x="176" y="261"/>
                  </a:lnTo>
                  <a:lnTo>
                    <a:pt x="176" y="262"/>
                  </a:lnTo>
                  <a:lnTo>
                    <a:pt x="177" y="262"/>
                  </a:lnTo>
                  <a:lnTo>
                    <a:pt x="179" y="262"/>
                  </a:lnTo>
                  <a:lnTo>
                    <a:pt x="179" y="264"/>
                  </a:lnTo>
                  <a:lnTo>
                    <a:pt x="179" y="265"/>
                  </a:lnTo>
                  <a:lnTo>
                    <a:pt x="179" y="266"/>
                  </a:lnTo>
                  <a:lnTo>
                    <a:pt x="180" y="266"/>
                  </a:lnTo>
                  <a:lnTo>
                    <a:pt x="180" y="265"/>
                  </a:lnTo>
                  <a:lnTo>
                    <a:pt x="180" y="264"/>
                  </a:lnTo>
                  <a:lnTo>
                    <a:pt x="181" y="262"/>
                  </a:lnTo>
                  <a:lnTo>
                    <a:pt x="182" y="262"/>
                  </a:lnTo>
                  <a:lnTo>
                    <a:pt x="183" y="261"/>
                  </a:lnTo>
                  <a:lnTo>
                    <a:pt x="183" y="262"/>
                  </a:lnTo>
                  <a:lnTo>
                    <a:pt x="182" y="264"/>
                  </a:lnTo>
                  <a:lnTo>
                    <a:pt x="181" y="264"/>
                  </a:lnTo>
                  <a:lnTo>
                    <a:pt x="182" y="265"/>
                  </a:lnTo>
                  <a:lnTo>
                    <a:pt x="181" y="265"/>
                  </a:lnTo>
                  <a:lnTo>
                    <a:pt x="181" y="264"/>
                  </a:lnTo>
                  <a:lnTo>
                    <a:pt x="180" y="265"/>
                  </a:lnTo>
                  <a:lnTo>
                    <a:pt x="180" y="266"/>
                  </a:lnTo>
                  <a:lnTo>
                    <a:pt x="180" y="267"/>
                  </a:lnTo>
                  <a:lnTo>
                    <a:pt x="180" y="268"/>
                  </a:lnTo>
                  <a:lnTo>
                    <a:pt x="179" y="270"/>
                  </a:lnTo>
                  <a:lnTo>
                    <a:pt x="176" y="271"/>
                  </a:lnTo>
                  <a:lnTo>
                    <a:pt x="175" y="272"/>
                  </a:lnTo>
                  <a:lnTo>
                    <a:pt x="175" y="274"/>
                  </a:lnTo>
                  <a:lnTo>
                    <a:pt x="175" y="276"/>
                  </a:lnTo>
                  <a:lnTo>
                    <a:pt x="174" y="276"/>
                  </a:lnTo>
                  <a:lnTo>
                    <a:pt x="174" y="278"/>
                  </a:lnTo>
                  <a:lnTo>
                    <a:pt x="173" y="279"/>
                  </a:lnTo>
                  <a:lnTo>
                    <a:pt x="171" y="279"/>
                  </a:lnTo>
                  <a:lnTo>
                    <a:pt x="170" y="279"/>
                  </a:lnTo>
                  <a:lnTo>
                    <a:pt x="170" y="280"/>
                  </a:lnTo>
                  <a:lnTo>
                    <a:pt x="170" y="282"/>
                  </a:lnTo>
                  <a:lnTo>
                    <a:pt x="170" y="283"/>
                  </a:lnTo>
                  <a:lnTo>
                    <a:pt x="170" y="284"/>
                  </a:lnTo>
                  <a:lnTo>
                    <a:pt x="169" y="285"/>
                  </a:lnTo>
                  <a:lnTo>
                    <a:pt x="168" y="287"/>
                  </a:lnTo>
                  <a:lnTo>
                    <a:pt x="169" y="287"/>
                  </a:lnTo>
                  <a:lnTo>
                    <a:pt x="169" y="285"/>
                  </a:lnTo>
                  <a:lnTo>
                    <a:pt x="169" y="288"/>
                  </a:lnTo>
                  <a:lnTo>
                    <a:pt x="169" y="289"/>
                  </a:lnTo>
                  <a:lnTo>
                    <a:pt x="169" y="290"/>
                  </a:lnTo>
                  <a:lnTo>
                    <a:pt x="169" y="291"/>
                  </a:lnTo>
                  <a:lnTo>
                    <a:pt x="169" y="293"/>
                  </a:lnTo>
                  <a:lnTo>
                    <a:pt x="170" y="290"/>
                  </a:lnTo>
                  <a:lnTo>
                    <a:pt x="170" y="289"/>
                  </a:lnTo>
                  <a:lnTo>
                    <a:pt x="170" y="287"/>
                  </a:lnTo>
                  <a:lnTo>
                    <a:pt x="171" y="287"/>
                  </a:lnTo>
                  <a:lnTo>
                    <a:pt x="171" y="285"/>
                  </a:lnTo>
                  <a:lnTo>
                    <a:pt x="171" y="284"/>
                  </a:lnTo>
                  <a:lnTo>
                    <a:pt x="173" y="282"/>
                  </a:lnTo>
                  <a:lnTo>
                    <a:pt x="173" y="283"/>
                  </a:lnTo>
                  <a:lnTo>
                    <a:pt x="173" y="284"/>
                  </a:lnTo>
                  <a:lnTo>
                    <a:pt x="173" y="285"/>
                  </a:lnTo>
                  <a:lnTo>
                    <a:pt x="174" y="287"/>
                  </a:lnTo>
                  <a:lnTo>
                    <a:pt x="174" y="285"/>
                  </a:lnTo>
                  <a:lnTo>
                    <a:pt x="175" y="285"/>
                  </a:lnTo>
                  <a:lnTo>
                    <a:pt x="176" y="284"/>
                  </a:lnTo>
                  <a:lnTo>
                    <a:pt x="175" y="284"/>
                  </a:lnTo>
                  <a:lnTo>
                    <a:pt x="175" y="283"/>
                  </a:lnTo>
                  <a:lnTo>
                    <a:pt x="175" y="282"/>
                  </a:lnTo>
                  <a:lnTo>
                    <a:pt x="175" y="280"/>
                  </a:lnTo>
                  <a:lnTo>
                    <a:pt x="175" y="279"/>
                  </a:lnTo>
                  <a:lnTo>
                    <a:pt x="175" y="278"/>
                  </a:lnTo>
                  <a:lnTo>
                    <a:pt x="175" y="277"/>
                  </a:lnTo>
                  <a:lnTo>
                    <a:pt x="176" y="276"/>
                  </a:lnTo>
                  <a:lnTo>
                    <a:pt x="176" y="274"/>
                  </a:lnTo>
                  <a:lnTo>
                    <a:pt x="177" y="273"/>
                  </a:lnTo>
                  <a:lnTo>
                    <a:pt x="179" y="273"/>
                  </a:lnTo>
                  <a:lnTo>
                    <a:pt x="179" y="272"/>
                  </a:lnTo>
                  <a:lnTo>
                    <a:pt x="179" y="273"/>
                  </a:lnTo>
                  <a:lnTo>
                    <a:pt x="177" y="274"/>
                  </a:lnTo>
                  <a:lnTo>
                    <a:pt x="177" y="276"/>
                  </a:lnTo>
                  <a:lnTo>
                    <a:pt x="177" y="277"/>
                  </a:lnTo>
                  <a:lnTo>
                    <a:pt x="176" y="277"/>
                  </a:lnTo>
                  <a:lnTo>
                    <a:pt x="175" y="279"/>
                  </a:lnTo>
                  <a:lnTo>
                    <a:pt x="175" y="282"/>
                  </a:lnTo>
                  <a:lnTo>
                    <a:pt x="175" y="283"/>
                  </a:lnTo>
                  <a:lnTo>
                    <a:pt x="176" y="283"/>
                  </a:lnTo>
                  <a:lnTo>
                    <a:pt x="176" y="280"/>
                  </a:lnTo>
                  <a:lnTo>
                    <a:pt x="177" y="283"/>
                  </a:lnTo>
                  <a:lnTo>
                    <a:pt x="177" y="282"/>
                  </a:lnTo>
                  <a:lnTo>
                    <a:pt x="179" y="280"/>
                  </a:lnTo>
                  <a:lnTo>
                    <a:pt x="177" y="279"/>
                  </a:lnTo>
                  <a:lnTo>
                    <a:pt x="176" y="279"/>
                  </a:lnTo>
                  <a:lnTo>
                    <a:pt x="176" y="278"/>
                  </a:lnTo>
                  <a:lnTo>
                    <a:pt x="176" y="277"/>
                  </a:lnTo>
                  <a:lnTo>
                    <a:pt x="177" y="277"/>
                  </a:lnTo>
                  <a:lnTo>
                    <a:pt x="177" y="276"/>
                  </a:lnTo>
                  <a:lnTo>
                    <a:pt x="179" y="274"/>
                  </a:lnTo>
                  <a:lnTo>
                    <a:pt x="180" y="273"/>
                  </a:lnTo>
                  <a:lnTo>
                    <a:pt x="180" y="272"/>
                  </a:lnTo>
                  <a:lnTo>
                    <a:pt x="181" y="271"/>
                  </a:lnTo>
                  <a:lnTo>
                    <a:pt x="181" y="272"/>
                  </a:lnTo>
                  <a:lnTo>
                    <a:pt x="180" y="273"/>
                  </a:lnTo>
                  <a:lnTo>
                    <a:pt x="181" y="273"/>
                  </a:lnTo>
                  <a:lnTo>
                    <a:pt x="181" y="274"/>
                  </a:lnTo>
                  <a:lnTo>
                    <a:pt x="180" y="276"/>
                  </a:lnTo>
                  <a:lnTo>
                    <a:pt x="180" y="277"/>
                  </a:lnTo>
                  <a:lnTo>
                    <a:pt x="180" y="279"/>
                  </a:lnTo>
                  <a:lnTo>
                    <a:pt x="180" y="280"/>
                  </a:lnTo>
                  <a:lnTo>
                    <a:pt x="181" y="279"/>
                  </a:lnTo>
                  <a:lnTo>
                    <a:pt x="181" y="277"/>
                  </a:lnTo>
                  <a:lnTo>
                    <a:pt x="181" y="276"/>
                  </a:lnTo>
                  <a:lnTo>
                    <a:pt x="182" y="276"/>
                  </a:lnTo>
                  <a:lnTo>
                    <a:pt x="182" y="274"/>
                  </a:lnTo>
                  <a:lnTo>
                    <a:pt x="182" y="273"/>
                  </a:lnTo>
                  <a:lnTo>
                    <a:pt x="182" y="272"/>
                  </a:lnTo>
                  <a:lnTo>
                    <a:pt x="182" y="271"/>
                  </a:lnTo>
                  <a:lnTo>
                    <a:pt x="182" y="268"/>
                  </a:lnTo>
                  <a:lnTo>
                    <a:pt x="182" y="270"/>
                  </a:lnTo>
                  <a:lnTo>
                    <a:pt x="182" y="271"/>
                  </a:lnTo>
                  <a:lnTo>
                    <a:pt x="183" y="271"/>
                  </a:lnTo>
                  <a:lnTo>
                    <a:pt x="183" y="272"/>
                  </a:lnTo>
                  <a:lnTo>
                    <a:pt x="183" y="273"/>
                  </a:lnTo>
                  <a:lnTo>
                    <a:pt x="183" y="272"/>
                  </a:lnTo>
                  <a:lnTo>
                    <a:pt x="185" y="272"/>
                  </a:lnTo>
                  <a:lnTo>
                    <a:pt x="183" y="273"/>
                  </a:lnTo>
                  <a:lnTo>
                    <a:pt x="183" y="274"/>
                  </a:lnTo>
                  <a:lnTo>
                    <a:pt x="183" y="276"/>
                  </a:lnTo>
                  <a:lnTo>
                    <a:pt x="185" y="276"/>
                  </a:lnTo>
                  <a:lnTo>
                    <a:pt x="186" y="276"/>
                  </a:lnTo>
                  <a:lnTo>
                    <a:pt x="186" y="274"/>
                  </a:lnTo>
                  <a:lnTo>
                    <a:pt x="187" y="276"/>
                  </a:lnTo>
                  <a:lnTo>
                    <a:pt x="187" y="277"/>
                  </a:lnTo>
                  <a:lnTo>
                    <a:pt x="188" y="277"/>
                  </a:lnTo>
                  <a:lnTo>
                    <a:pt x="189" y="278"/>
                  </a:lnTo>
                  <a:lnTo>
                    <a:pt x="189" y="277"/>
                  </a:lnTo>
                  <a:lnTo>
                    <a:pt x="189" y="276"/>
                  </a:lnTo>
                  <a:lnTo>
                    <a:pt x="188" y="276"/>
                  </a:lnTo>
                  <a:lnTo>
                    <a:pt x="189" y="276"/>
                  </a:lnTo>
                  <a:lnTo>
                    <a:pt x="191" y="276"/>
                  </a:lnTo>
                  <a:lnTo>
                    <a:pt x="192" y="276"/>
                  </a:lnTo>
                  <a:lnTo>
                    <a:pt x="193" y="276"/>
                  </a:lnTo>
                  <a:lnTo>
                    <a:pt x="193" y="274"/>
                  </a:lnTo>
                  <a:lnTo>
                    <a:pt x="192" y="274"/>
                  </a:lnTo>
                  <a:lnTo>
                    <a:pt x="191" y="274"/>
                  </a:lnTo>
                  <a:lnTo>
                    <a:pt x="189" y="274"/>
                  </a:lnTo>
                  <a:lnTo>
                    <a:pt x="189" y="273"/>
                  </a:lnTo>
                  <a:lnTo>
                    <a:pt x="188" y="273"/>
                  </a:lnTo>
                  <a:lnTo>
                    <a:pt x="187" y="272"/>
                  </a:lnTo>
                  <a:lnTo>
                    <a:pt x="186" y="271"/>
                  </a:lnTo>
                  <a:lnTo>
                    <a:pt x="186" y="270"/>
                  </a:lnTo>
                  <a:lnTo>
                    <a:pt x="185" y="270"/>
                  </a:lnTo>
                  <a:lnTo>
                    <a:pt x="183" y="268"/>
                  </a:lnTo>
                  <a:lnTo>
                    <a:pt x="183" y="267"/>
                  </a:lnTo>
                  <a:lnTo>
                    <a:pt x="185" y="266"/>
                  </a:lnTo>
                  <a:lnTo>
                    <a:pt x="187" y="266"/>
                  </a:lnTo>
                  <a:lnTo>
                    <a:pt x="187" y="265"/>
                  </a:lnTo>
                  <a:lnTo>
                    <a:pt x="188" y="264"/>
                  </a:lnTo>
                  <a:lnTo>
                    <a:pt x="189" y="262"/>
                  </a:lnTo>
                  <a:lnTo>
                    <a:pt x="192" y="261"/>
                  </a:lnTo>
                  <a:lnTo>
                    <a:pt x="193" y="264"/>
                  </a:lnTo>
                  <a:lnTo>
                    <a:pt x="193" y="265"/>
                  </a:lnTo>
                  <a:lnTo>
                    <a:pt x="193" y="267"/>
                  </a:lnTo>
                  <a:lnTo>
                    <a:pt x="191" y="268"/>
                  </a:lnTo>
                  <a:lnTo>
                    <a:pt x="191" y="270"/>
                  </a:lnTo>
                  <a:lnTo>
                    <a:pt x="188" y="271"/>
                  </a:lnTo>
                  <a:lnTo>
                    <a:pt x="187" y="271"/>
                  </a:lnTo>
                  <a:lnTo>
                    <a:pt x="188" y="271"/>
                  </a:lnTo>
                  <a:lnTo>
                    <a:pt x="191" y="270"/>
                  </a:lnTo>
                  <a:lnTo>
                    <a:pt x="192" y="268"/>
                  </a:lnTo>
                  <a:lnTo>
                    <a:pt x="193" y="268"/>
                  </a:lnTo>
                  <a:lnTo>
                    <a:pt x="193" y="267"/>
                  </a:lnTo>
                  <a:lnTo>
                    <a:pt x="193" y="270"/>
                  </a:lnTo>
                  <a:lnTo>
                    <a:pt x="193" y="271"/>
                  </a:lnTo>
                  <a:lnTo>
                    <a:pt x="193" y="273"/>
                  </a:lnTo>
                  <a:lnTo>
                    <a:pt x="193" y="271"/>
                  </a:lnTo>
                  <a:lnTo>
                    <a:pt x="193" y="270"/>
                  </a:lnTo>
                  <a:lnTo>
                    <a:pt x="194" y="268"/>
                  </a:lnTo>
                  <a:lnTo>
                    <a:pt x="194" y="267"/>
                  </a:lnTo>
                  <a:lnTo>
                    <a:pt x="195" y="267"/>
                  </a:lnTo>
                  <a:lnTo>
                    <a:pt x="195" y="266"/>
                  </a:lnTo>
                  <a:lnTo>
                    <a:pt x="195" y="265"/>
                  </a:lnTo>
                  <a:lnTo>
                    <a:pt x="194" y="264"/>
                  </a:lnTo>
                  <a:lnTo>
                    <a:pt x="195" y="264"/>
                  </a:lnTo>
                  <a:lnTo>
                    <a:pt x="197" y="266"/>
                  </a:lnTo>
                  <a:lnTo>
                    <a:pt x="198" y="266"/>
                  </a:lnTo>
                  <a:lnTo>
                    <a:pt x="198" y="267"/>
                  </a:lnTo>
                  <a:lnTo>
                    <a:pt x="198" y="270"/>
                  </a:lnTo>
                  <a:lnTo>
                    <a:pt x="197" y="272"/>
                  </a:lnTo>
                  <a:lnTo>
                    <a:pt x="194" y="276"/>
                  </a:lnTo>
                  <a:lnTo>
                    <a:pt x="192" y="278"/>
                  </a:lnTo>
                  <a:lnTo>
                    <a:pt x="191" y="280"/>
                  </a:lnTo>
                  <a:lnTo>
                    <a:pt x="189" y="280"/>
                  </a:lnTo>
                  <a:lnTo>
                    <a:pt x="189" y="282"/>
                  </a:lnTo>
                  <a:lnTo>
                    <a:pt x="188" y="282"/>
                  </a:lnTo>
                  <a:lnTo>
                    <a:pt x="187" y="282"/>
                  </a:lnTo>
                  <a:lnTo>
                    <a:pt x="186" y="282"/>
                  </a:lnTo>
                  <a:lnTo>
                    <a:pt x="185" y="282"/>
                  </a:lnTo>
                  <a:lnTo>
                    <a:pt x="183" y="280"/>
                  </a:lnTo>
                  <a:lnTo>
                    <a:pt x="183" y="279"/>
                  </a:lnTo>
                  <a:lnTo>
                    <a:pt x="182" y="278"/>
                  </a:lnTo>
                  <a:lnTo>
                    <a:pt x="182" y="277"/>
                  </a:lnTo>
                  <a:lnTo>
                    <a:pt x="182" y="278"/>
                  </a:lnTo>
                  <a:lnTo>
                    <a:pt x="182" y="279"/>
                  </a:lnTo>
                  <a:lnTo>
                    <a:pt x="182" y="280"/>
                  </a:lnTo>
                  <a:lnTo>
                    <a:pt x="183" y="280"/>
                  </a:lnTo>
                  <a:lnTo>
                    <a:pt x="185" y="282"/>
                  </a:lnTo>
                  <a:lnTo>
                    <a:pt x="185" y="283"/>
                  </a:lnTo>
                  <a:lnTo>
                    <a:pt x="186" y="283"/>
                  </a:lnTo>
                  <a:lnTo>
                    <a:pt x="187" y="284"/>
                  </a:lnTo>
                  <a:lnTo>
                    <a:pt x="187" y="285"/>
                  </a:lnTo>
                  <a:lnTo>
                    <a:pt x="186" y="284"/>
                  </a:lnTo>
                  <a:lnTo>
                    <a:pt x="185" y="283"/>
                  </a:lnTo>
                  <a:lnTo>
                    <a:pt x="183" y="283"/>
                  </a:lnTo>
                  <a:lnTo>
                    <a:pt x="182" y="283"/>
                  </a:lnTo>
                  <a:lnTo>
                    <a:pt x="183" y="284"/>
                  </a:lnTo>
                  <a:lnTo>
                    <a:pt x="183" y="285"/>
                  </a:lnTo>
                  <a:lnTo>
                    <a:pt x="182" y="284"/>
                  </a:lnTo>
                  <a:lnTo>
                    <a:pt x="181" y="284"/>
                  </a:lnTo>
                  <a:lnTo>
                    <a:pt x="182" y="285"/>
                  </a:lnTo>
                  <a:lnTo>
                    <a:pt x="182" y="287"/>
                  </a:lnTo>
                  <a:lnTo>
                    <a:pt x="182" y="288"/>
                  </a:lnTo>
                  <a:lnTo>
                    <a:pt x="181" y="288"/>
                  </a:lnTo>
                  <a:lnTo>
                    <a:pt x="180" y="288"/>
                  </a:lnTo>
                  <a:lnTo>
                    <a:pt x="180" y="289"/>
                  </a:lnTo>
                  <a:lnTo>
                    <a:pt x="177" y="290"/>
                  </a:lnTo>
                  <a:lnTo>
                    <a:pt x="176" y="291"/>
                  </a:lnTo>
                  <a:lnTo>
                    <a:pt x="175" y="293"/>
                  </a:lnTo>
                  <a:lnTo>
                    <a:pt x="174" y="294"/>
                  </a:lnTo>
                  <a:lnTo>
                    <a:pt x="174" y="295"/>
                  </a:lnTo>
                  <a:lnTo>
                    <a:pt x="174" y="297"/>
                  </a:lnTo>
                  <a:lnTo>
                    <a:pt x="175" y="296"/>
                  </a:lnTo>
                  <a:lnTo>
                    <a:pt x="175" y="295"/>
                  </a:lnTo>
                  <a:lnTo>
                    <a:pt x="176" y="294"/>
                  </a:lnTo>
                  <a:lnTo>
                    <a:pt x="176" y="293"/>
                  </a:lnTo>
                  <a:lnTo>
                    <a:pt x="177" y="291"/>
                  </a:lnTo>
                  <a:lnTo>
                    <a:pt x="179" y="291"/>
                  </a:lnTo>
                  <a:lnTo>
                    <a:pt x="180" y="290"/>
                  </a:lnTo>
                  <a:lnTo>
                    <a:pt x="181" y="289"/>
                  </a:lnTo>
                  <a:lnTo>
                    <a:pt x="182" y="288"/>
                  </a:lnTo>
                  <a:lnTo>
                    <a:pt x="183" y="287"/>
                  </a:lnTo>
                  <a:lnTo>
                    <a:pt x="183" y="288"/>
                  </a:lnTo>
                  <a:lnTo>
                    <a:pt x="185" y="288"/>
                  </a:lnTo>
                  <a:lnTo>
                    <a:pt x="183" y="290"/>
                  </a:lnTo>
                  <a:lnTo>
                    <a:pt x="183" y="291"/>
                  </a:lnTo>
                  <a:lnTo>
                    <a:pt x="185" y="290"/>
                  </a:lnTo>
                  <a:lnTo>
                    <a:pt x="185" y="289"/>
                  </a:lnTo>
                  <a:lnTo>
                    <a:pt x="186" y="289"/>
                  </a:lnTo>
                  <a:lnTo>
                    <a:pt x="187" y="288"/>
                  </a:lnTo>
                  <a:lnTo>
                    <a:pt x="187" y="287"/>
                  </a:lnTo>
                  <a:lnTo>
                    <a:pt x="188" y="287"/>
                  </a:lnTo>
                  <a:lnTo>
                    <a:pt x="189" y="287"/>
                  </a:lnTo>
                  <a:lnTo>
                    <a:pt x="189" y="288"/>
                  </a:lnTo>
                  <a:lnTo>
                    <a:pt x="189" y="289"/>
                  </a:lnTo>
                  <a:lnTo>
                    <a:pt x="188" y="289"/>
                  </a:lnTo>
                  <a:lnTo>
                    <a:pt x="187" y="289"/>
                  </a:lnTo>
                  <a:lnTo>
                    <a:pt x="186" y="290"/>
                  </a:lnTo>
                  <a:lnTo>
                    <a:pt x="185" y="290"/>
                  </a:lnTo>
                  <a:lnTo>
                    <a:pt x="185" y="291"/>
                  </a:lnTo>
                  <a:lnTo>
                    <a:pt x="183" y="293"/>
                  </a:lnTo>
                  <a:lnTo>
                    <a:pt x="183" y="294"/>
                  </a:lnTo>
                  <a:lnTo>
                    <a:pt x="182" y="293"/>
                  </a:lnTo>
                  <a:lnTo>
                    <a:pt x="182" y="294"/>
                  </a:lnTo>
                  <a:lnTo>
                    <a:pt x="183" y="295"/>
                  </a:lnTo>
                  <a:lnTo>
                    <a:pt x="185" y="295"/>
                  </a:lnTo>
                  <a:lnTo>
                    <a:pt x="186" y="294"/>
                  </a:lnTo>
                  <a:lnTo>
                    <a:pt x="187" y="293"/>
                  </a:lnTo>
                  <a:lnTo>
                    <a:pt x="188" y="291"/>
                  </a:lnTo>
                  <a:lnTo>
                    <a:pt x="189" y="291"/>
                  </a:lnTo>
                  <a:lnTo>
                    <a:pt x="188" y="294"/>
                  </a:lnTo>
                  <a:lnTo>
                    <a:pt x="187" y="294"/>
                  </a:lnTo>
                  <a:lnTo>
                    <a:pt x="186" y="295"/>
                  </a:lnTo>
                  <a:lnTo>
                    <a:pt x="183" y="296"/>
                  </a:lnTo>
                  <a:lnTo>
                    <a:pt x="185" y="296"/>
                  </a:lnTo>
                  <a:lnTo>
                    <a:pt x="186" y="297"/>
                  </a:lnTo>
                  <a:lnTo>
                    <a:pt x="187" y="299"/>
                  </a:lnTo>
                  <a:lnTo>
                    <a:pt x="188" y="300"/>
                  </a:lnTo>
                  <a:lnTo>
                    <a:pt x="189" y="301"/>
                  </a:lnTo>
                  <a:lnTo>
                    <a:pt x="189" y="302"/>
                  </a:lnTo>
                  <a:lnTo>
                    <a:pt x="188" y="302"/>
                  </a:lnTo>
                  <a:lnTo>
                    <a:pt x="188" y="301"/>
                  </a:lnTo>
                  <a:lnTo>
                    <a:pt x="187" y="300"/>
                  </a:lnTo>
                  <a:lnTo>
                    <a:pt x="186" y="300"/>
                  </a:lnTo>
                  <a:lnTo>
                    <a:pt x="187" y="301"/>
                  </a:lnTo>
                  <a:lnTo>
                    <a:pt x="186" y="302"/>
                  </a:lnTo>
                  <a:lnTo>
                    <a:pt x="185" y="302"/>
                  </a:lnTo>
                  <a:lnTo>
                    <a:pt x="185" y="303"/>
                  </a:lnTo>
                  <a:lnTo>
                    <a:pt x="185" y="305"/>
                  </a:lnTo>
                  <a:lnTo>
                    <a:pt x="186" y="305"/>
                  </a:lnTo>
                  <a:lnTo>
                    <a:pt x="186" y="306"/>
                  </a:lnTo>
                  <a:lnTo>
                    <a:pt x="187" y="306"/>
                  </a:lnTo>
                  <a:lnTo>
                    <a:pt x="188" y="306"/>
                  </a:lnTo>
                  <a:lnTo>
                    <a:pt x="189" y="305"/>
                  </a:lnTo>
                  <a:lnTo>
                    <a:pt x="191" y="305"/>
                  </a:lnTo>
                  <a:lnTo>
                    <a:pt x="191" y="303"/>
                  </a:lnTo>
                  <a:lnTo>
                    <a:pt x="191" y="302"/>
                  </a:lnTo>
                  <a:lnTo>
                    <a:pt x="192" y="302"/>
                  </a:lnTo>
                  <a:lnTo>
                    <a:pt x="192" y="301"/>
                  </a:lnTo>
                  <a:lnTo>
                    <a:pt x="193" y="300"/>
                  </a:lnTo>
                  <a:lnTo>
                    <a:pt x="194" y="300"/>
                  </a:lnTo>
                  <a:lnTo>
                    <a:pt x="195" y="300"/>
                  </a:lnTo>
                  <a:lnTo>
                    <a:pt x="197" y="299"/>
                  </a:lnTo>
                  <a:lnTo>
                    <a:pt x="198" y="299"/>
                  </a:lnTo>
                  <a:lnTo>
                    <a:pt x="198" y="300"/>
                  </a:lnTo>
                  <a:lnTo>
                    <a:pt x="197" y="300"/>
                  </a:lnTo>
                  <a:lnTo>
                    <a:pt x="197" y="301"/>
                  </a:lnTo>
                  <a:lnTo>
                    <a:pt x="197" y="302"/>
                  </a:lnTo>
                  <a:lnTo>
                    <a:pt x="195" y="301"/>
                  </a:lnTo>
                  <a:lnTo>
                    <a:pt x="194" y="301"/>
                  </a:lnTo>
                  <a:lnTo>
                    <a:pt x="193" y="302"/>
                  </a:lnTo>
                  <a:lnTo>
                    <a:pt x="193" y="303"/>
                  </a:lnTo>
                  <a:lnTo>
                    <a:pt x="194" y="305"/>
                  </a:lnTo>
                  <a:lnTo>
                    <a:pt x="195" y="305"/>
                  </a:lnTo>
                  <a:lnTo>
                    <a:pt x="197" y="303"/>
                  </a:lnTo>
                  <a:lnTo>
                    <a:pt x="198" y="303"/>
                  </a:lnTo>
                  <a:lnTo>
                    <a:pt x="197" y="305"/>
                  </a:lnTo>
                  <a:lnTo>
                    <a:pt x="195" y="305"/>
                  </a:lnTo>
                  <a:lnTo>
                    <a:pt x="195" y="306"/>
                  </a:lnTo>
                  <a:lnTo>
                    <a:pt x="195" y="307"/>
                  </a:lnTo>
                  <a:lnTo>
                    <a:pt x="195" y="308"/>
                  </a:lnTo>
                  <a:lnTo>
                    <a:pt x="194" y="308"/>
                  </a:lnTo>
                  <a:lnTo>
                    <a:pt x="193" y="308"/>
                  </a:lnTo>
                  <a:lnTo>
                    <a:pt x="193" y="306"/>
                  </a:lnTo>
                  <a:lnTo>
                    <a:pt x="192" y="306"/>
                  </a:lnTo>
                  <a:lnTo>
                    <a:pt x="192" y="307"/>
                  </a:lnTo>
                  <a:lnTo>
                    <a:pt x="192" y="308"/>
                  </a:lnTo>
                  <a:lnTo>
                    <a:pt x="191" y="309"/>
                  </a:lnTo>
                  <a:lnTo>
                    <a:pt x="191" y="311"/>
                  </a:lnTo>
                  <a:lnTo>
                    <a:pt x="192" y="312"/>
                  </a:lnTo>
                  <a:lnTo>
                    <a:pt x="192" y="313"/>
                  </a:lnTo>
                  <a:lnTo>
                    <a:pt x="192" y="312"/>
                  </a:lnTo>
                  <a:lnTo>
                    <a:pt x="193" y="311"/>
                  </a:lnTo>
                  <a:lnTo>
                    <a:pt x="194" y="311"/>
                  </a:lnTo>
                  <a:lnTo>
                    <a:pt x="195" y="309"/>
                  </a:lnTo>
                  <a:lnTo>
                    <a:pt x="197" y="309"/>
                  </a:lnTo>
                  <a:lnTo>
                    <a:pt x="197" y="311"/>
                  </a:lnTo>
                  <a:lnTo>
                    <a:pt x="198" y="311"/>
                  </a:lnTo>
                  <a:lnTo>
                    <a:pt x="198" y="309"/>
                  </a:lnTo>
                  <a:lnTo>
                    <a:pt x="197" y="308"/>
                  </a:lnTo>
                  <a:lnTo>
                    <a:pt x="198" y="308"/>
                  </a:lnTo>
                  <a:lnTo>
                    <a:pt x="198" y="307"/>
                  </a:lnTo>
                  <a:lnTo>
                    <a:pt x="199" y="308"/>
                  </a:lnTo>
                  <a:lnTo>
                    <a:pt x="199" y="311"/>
                  </a:lnTo>
                  <a:lnTo>
                    <a:pt x="200" y="311"/>
                  </a:lnTo>
                  <a:lnTo>
                    <a:pt x="200" y="309"/>
                  </a:lnTo>
                  <a:lnTo>
                    <a:pt x="199" y="307"/>
                  </a:lnTo>
                  <a:lnTo>
                    <a:pt x="200" y="307"/>
                  </a:lnTo>
                  <a:lnTo>
                    <a:pt x="201" y="307"/>
                  </a:lnTo>
                  <a:lnTo>
                    <a:pt x="203" y="307"/>
                  </a:lnTo>
                  <a:lnTo>
                    <a:pt x="204" y="307"/>
                  </a:lnTo>
                  <a:lnTo>
                    <a:pt x="205" y="308"/>
                  </a:lnTo>
                  <a:lnTo>
                    <a:pt x="205" y="309"/>
                  </a:lnTo>
                  <a:lnTo>
                    <a:pt x="204" y="311"/>
                  </a:lnTo>
                  <a:lnTo>
                    <a:pt x="203" y="311"/>
                  </a:lnTo>
                  <a:lnTo>
                    <a:pt x="201" y="311"/>
                  </a:lnTo>
                  <a:lnTo>
                    <a:pt x="201" y="312"/>
                  </a:lnTo>
                  <a:lnTo>
                    <a:pt x="203" y="312"/>
                  </a:lnTo>
                  <a:lnTo>
                    <a:pt x="204" y="312"/>
                  </a:lnTo>
                  <a:lnTo>
                    <a:pt x="205" y="312"/>
                  </a:lnTo>
                  <a:lnTo>
                    <a:pt x="205" y="313"/>
                  </a:lnTo>
                  <a:lnTo>
                    <a:pt x="205" y="314"/>
                  </a:lnTo>
                  <a:lnTo>
                    <a:pt x="204" y="314"/>
                  </a:lnTo>
                  <a:lnTo>
                    <a:pt x="203" y="314"/>
                  </a:lnTo>
                  <a:lnTo>
                    <a:pt x="203" y="315"/>
                  </a:lnTo>
                  <a:lnTo>
                    <a:pt x="204" y="317"/>
                  </a:lnTo>
                  <a:lnTo>
                    <a:pt x="205" y="317"/>
                  </a:lnTo>
                  <a:lnTo>
                    <a:pt x="206" y="318"/>
                  </a:lnTo>
                  <a:lnTo>
                    <a:pt x="207" y="317"/>
                  </a:lnTo>
                  <a:lnTo>
                    <a:pt x="207" y="315"/>
                  </a:lnTo>
                  <a:lnTo>
                    <a:pt x="207" y="313"/>
                  </a:lnTo>
                  <a:lnTo>
                    <a:pt x="209" y="312"/>
                  </a:lnTo>
                  <a:lnTo>
                    <a:pt x="210" y="312"/>
                  </a:lnTo>
                  <a:lnTo>
                    <a:pt x="211" y="311"/>
                  </a:lnTo>
                  <a:lnTo>
                    <a:pt x="212" y="311"/>
                  </a:lnTo>
                  <a:lnTo>
                    <a:pt x="214" y="309"/>
                  </a:lnTo>
                  <a:lnTo>
                    <a:pt x="215" y="309"/>
                  </a:lnTo>
                  <a:lnTo>
                    <a:pt x="215" y="308"/>
                  </a:lnTo>
                  <a:lnTo>
                    <a:pt x="216" y="309"/>
                  </a:lnTo>
                  <a:lnTo>
                    <a:pt x="216" y="312"/>
                  </a:lnTo>
                  <a:lnTo>
                    <a:pt x="217" y="313"/>
                  </a:lnTo>
                  <a:lnTo>
                    <a:pt x="218" y="314"/>
                  </a:lnTo>
                  <a:lnTo>
                    <a:pt x="220" y="313"/>
                  </a:lnTo>
                  <a:lnTo>
                    <a:pt x="221" y="312"/>
                  </a:lnTo>
                  <a:lnTo>
                    <a:pt x="221" y="311"/>
                  </a:lnTo>
                  <a:lnTo>
                    <a:pt x="221" y="309"/>
                  </a:lnTo>
                  <a:lnTo>
                    <a:pt x="222" y="309"/>
                  </a:lnTo>
                  <a:lnTo>
                    <a:pt x="222" y="308"/>
                  </a:lnTo>
                  <a:lnTo>
                    <a:pt x="222" y="311"/>
                  </a:lnTo>
                  <a:lnTo>
                    <a:pt x="222" y="313"/>
                  </a:lnTo>
                  <a:lnTo>
                    <a:pt x="223" y="312"/>
                  </a:lnTo>
                  <a:lnTo>
                    <a:pt x="224" y="312"/>
                  </a:lnTo>
                  <a:lnTo>
                    <a:pt x="224" y="313"/>
                  </a:lnTo>
                  <a:lnTo>
                    <a:pt x="224" y="315"/>
                  </a:lnTo>
                  <a:lnTo>
                    <a:pt x="226" y="318"/>
                  </a:lnTo>
                  <a:lnTo>
                    <a:pt x="227" y="318"/>
                  </a:lnTo>
                  <a:lnTo>
                    <a:pt x="228" y="318"/>
                  </a:lnTo>
                  <a:lnTo>
                    <a:pt x="228" y="317"/>
                  </a:lnTo>
                  <a:lnTo>
                    <a:pt x="228" y="315"/>
                  </a:lnTo>
                  <a:lnTo>
                    <a:pt x="227" y="315"/>
                  </a:lnTo>
                  <a:lnTo>
                    <a:pt x="226" y="315"/>
                  </a:lnTo>
                  <a:lnTo>
                    <a:pt x="226" y="314"/>
                  </a:lnTo>
                  <a:lnTo>
                    <a:pt x="224" y="313"/>
                  </a:lnTo>
                  <a:lnTo>
                    <a:pt x="226" y="313"/>
                  </a:lnTo>
                  <a:lnTo>
                    <a:pt x="227" y="313"/>
                  </a:lnTo>
                  <a:lnTo>
                    <a:pt x="228" y="314"/>
                  </a:lnTo>
                  <a:lnTo>
                    <a:pt x="229" y="314"/>
                  </a:lnTo>
                  <a:lnTo>
                    <a:pt x="230" y="314"/>
                  </a:lnTo>
                  <a:lnTo>
                    <a:pt x="232" y="314"/>
                  </a:lnTo>
                  <a:lnTo>
                    <a:pt x="232" y="313"/>
                  </a:lnTo>
                  <a:lnTo>
                    <a:pt x="233" y="313"/>
                  </a:lnTo>
                  <a:lnTo>
                    <a:pt x="233" y="312"/>
                  </a:lnTo>
                  <a:lnTo>
                    <a:pt x="232" y="311"/>
                  </a:lnTo>
                  <a:lnTo>
                    <a:pt x="233" y="311"/>
                  </a:lnTo>
                  <a:lnTo>
                    <a:pt x="235" y="311"/>
                  </a:lnTo>
                  <a:lnTo>
                    <a:pt x="236" y="311"/>
                  </a:lnTo>
                  <a:lnTo>
                    <a:pt x="236" y="309"/>
                  </a:lnTo>
                  <a:lnTo>
                    <a:pt x="238" y="308"/>
                  </a:lnTo>
                  <a:lnTo>
                    <a:pt x="239" y="308"/>
                  </a:lnTo>
                  <a:lnTo>
                    <a:pt x="240" y="307"/>
                  </a:lnTo>
                  <a:lnTo>
                    <a:pt x="240" y="306"/>
                  </a:lnTo>
                  <a:lnTo>
                    <a:pt x="241" y="305"/>
                  </a:lnTo>
                  <a:lnTo>
                    <a:pt x="242" y="306"/>
                  </a:lnTo>
                  <a:lnTo>
                    <a:pt x="244" y="305"/>
                  </a:lnTo>
                  <a:lnTo>
                    <a:pt x="245" y="303"/>
                  </a:lnTo>
                  <a:lnTo>
                    <a:pt x="245" y="306"/>
                  </a:lnTo>
                  <a:lnTo>
                    <a:pt x="244" y="307"/>
                  </a:lnTo>
                  <a:lnTo>
                    <a:pt x="245" y="308"/>
                  </a:lnTo>
                  <a:lnTo>
                    <a:pt x="246" y="309"/>
                  </a:lnTo>
                  <a:lnTo>
                    <a:pt x="247" y="309"/>
                  </a:lnTo>
                  <a:lnTo>
                    <a:pt x="248" y="308"/>
                  </a:lnTo>
                  <a:lnTo>
                    <a:pt x="247" y="309"/>
                  </a:lnTo>
                  <a:lnTo>
                    <a:pt x="247" y="311"/>
                  </a:lnTo>
                  <a:lnTo>
                    <a:pt x="247" y="312"/>
                  </a:lnTo>
                  <a:lnTo>
                    <a:pt x="248" y="312"/>
                  </a:lnTo>
                  <a:lnTo>
                    <a:pt x="250" y="312"/>
                  </a:lnTo>
                  <a:lnTo>
                    <a:pt x="250" y="311"/>
                  </a:lnTo>
                  <a:lnTo>
                    <a:pt x="251" y="311"/>
                  </a:lnTo>
                  <a:lnTo>
                    <a:pt x="252" y="311"/>
                  </a:lnTo>
                  <a:lnTo>
                    <a:pt x="253" y="309"/>
                  </a:lnTo>
                  <a:lnTo>
                    <a:pt x="254" y="308"/>
                  </a:lnTo>
                  <a:lnTo>
                    <a:pt x="256" y="307"/>
                  </a:lnTo>
                  <a:lnTo>
                    <a:pt x="257" y="306"/>
                  </a:lnTo>
                  <a:lnTo>
                    <a:pt x="256" y="306"/>
                  </a:lnTo>
                  <a:lnTo>
                    <a:pt x="257" y="305"/>
                  </a:lnTo>
                  <a:lnTo>
                    <a:pt x="258" y="305"/>
                  </a:lnTo>
                  <a:lnTo>
                    <a:pt x="259" y="305"/>
                  </a:lnTo>
                  <a:lnTo>
                    <a:pt x="259" y="303"/>
                  </a:lnTo>
                  <a:lnTo>
                    <a:pt x="259" y="302"/>
                  </a:lnTo>
                  <a:lnTo>
                    <a:pt x="259" y="301"/>
                  </a:lnTo>
                  <a:lnTo>
                    <a:pt x="259" y="300"/>
                  </a:lnTo>
                  <a:lnTo>
                    <a:pt x="259" y="299"/>
                  </a:lnTo>
                  <a:lnTo>
                    <a:pt x="260" y="299"/>
                  </a:lnTo>
                  <a:lnTo>
                    <a:pt x="262" y="297"/>
                  </a:lnTo>
                  <a:lnTo>
                    <a:pt x="262" y="296"/>
                  </a:lnTo>
                  <a:lnTo>
                    <a:pt x="260" y="296"/>
                  </a:lnTo>
                  <a:lnTo>
                    <a:pt x="260" y="295"/>
                  </a:lnTo>
                  <a:lnTo>
                    <a:pt x="259" y="295"/>
                  </a:lnTo>
                  <a:lnTo>
                    <a:pt x="258" y="296"/>
                  </a:lnTo>
                  <a:lnTo>
                    <a:pt x="257" y="297"/>
                  </a:lnTo>
                  <a:lnTo>
                    <a:pt x="257" y="296"/>
                  </a:lnTo>
                  <a:lnTo>
                    <a:pt x="257" y="295"/>
                  </a:lnTo>
                  <a:lnTo>
                    <a:pt x="256" y="295"/>
                  </a:lnTo>
                  <a:lnTo>
                    <a:pt x="256" y="294"/>
                  </a:lnTo>
                  <a:lnTo>
                    <a:pt x="254" y="295"/>
                  </a:lnTo>
                  <a:lnTo>
                    <a:pt x="254" y="296"/>
                  </a:lnTo>
                  <a:lnTo>
                    <a:pt x="253" y="299"/>
                  </a:lnTo>
                  <a:lnTo>
                    <a:pt x="253" y="297"/>
                  </a:lnTo>
                  <a:lnTo>
                    <a:pt x="252" y="296"/>
                  </a:lnTo>
                  <a:lnTo>
                    <a:pt x="252" y="297"/>
                  </a:lnTo>
                  <a:lnTo>
                    <a:pt x="251" y="297"/>
                  </a:lnTo>
                  <a:lnTo>
                    <a:pt x="251" y="299"/>
                  </a:lnTo>
                  <a:lnTo>
                    <a:pt x="250" y="299"/>
                  </a:lnTo>
                  <a:lnTo>
                    <a:pt x="251" y="297"/>
                  </a:lnTo>
                  <a:lnTo>
                    <a:pt x="251" y="296"/>
                  </a:lnTo>
                  <a:lnTo>
                    <a:pt x="250" y="296"/>
                  </a:lnTo>
                  <a:lnTo>
                    <a:pt x="250" y="295"/>
                  </a:lnTo>
                  <a:lnTo>
                    <a:pt x="248" y="295"/>
                  </a:lnTo>
                  <a:lnTo>
                    <a:pt x="248" y="296"/>
                  </a:lnTo>
                  <a:lnTo>
                    <a:pt x="247" y="297"/>
                  </a:lnTo>
                  <a:lnTo>
                    <a:pt x="245" y="297"/>
                  </a:lnTo>
                  <a:lnTo>
                    <a:pt x="246" y="296"/>
                  </a:lnTo>
                  <a:lnTo>
                    <a:pt x="247" y="295"/>
                  </a:lnTo>
                  <a:lnTo>
                    <a:pt x="246" y="294"/>
                  </a:lnTo>
                  <a:lnTo>
                    <a:pt x="246" y="293"/>
                  </a:lnTo>
                  <a:lnTo>
                    <a:pt x="245" y="293"/>
                  </a:lnTo>
                  <a:lnTo>
                    <a:pt x="245" y="291"/>
                  </a:lnTo>
                  <a:lnTo>
                    <a:pt x="244" y="290"/>
                  </a:lnTo>
                  <a:lnTo>
                    <a:pt x="244" y="291"/>
                  </a:lnTo>
                  <a:lnTo>
                    <a:pt x="244" y="290"/>
                  </a:lnTo>
                  <a:lnTo>
                    <a:pt x="242" y="289"/>
                  </a:lnTo>
                  <a:lnTo>
                    <a:pt x="241" y="288"/>
                  </a:lnTo>
                  <a:lnTo>
                    <a:pt x="240" y="288"/>
                  </a:lnTo>
                  <a:lnTo>
                    <a:pt x="238" y="288"/>
                  </a:lnTo>
                  <a:lnTo>
                    <a:pt x="236" y="287"/>
                  </a:lnTo>
                  <a:lnTo>
                    <a:pt x="236" y="285"/>
                  </a:lnTo>
                  <a:lnTo>
                    <a:pt x="235" y="284"/>
                  </a:lnTo>
                  <a:lnTo>
                    <a:pt x="234" y="284"/>
                  </a:lnTo>
                  <a:lnTo>
                    <a:pt x="234" y="283"/>
                  </a:lnTo>
                  <a:lnTo>
                    <a:pt x="234" y="282"/>
                  </a:lnTo>
                  <a:lnTo>
                    <a:pt x="235" y="282"/>
                  </a:lnTo>
                  <a:lnTo>
                    <a:pt x="235" y="283"/>
                  </a:lnTo>
                  <a:lnTo>
                    <a:pt x="236" y="283"/>
                  </a:lnTo>
                  <a:lnTo>
                    <a:pt x="236" y="284"/>
                  </a:lnTo>
                  <a:lnTo>
                    <a:pt x="238" y="285"/>
                  </a:lnTo>
                  <a:lnTo>
                    <a:pt x="238" y="287"/>
                  </a:lnTo>
                  <a:lnTo>
                    <a:pt x="239" y="288"/>
                  </a:lnTo>
                  <a:lnTo>
                    <a:pt x="240" y="287"/>
                  </a:lnTo>
                  <a:lnTo>
                    <a:pt x="240" y="285"/>
                  </a:lnTo>
                  <a:lnTo>
                    <a:pt x="240" y="284"/>
                  </a:lnTo>
                  <a:lnTo>
                    <a:pt x="239" y="284"/>
                  </a:lnTo>
                  <a:lnTo>
                    <a:pt x="238" y="283"/>
                  </a:lnTo>
                  <a:lnTo>
                    <a:pt x="236" y="282"/>
                  </a:lnTo>
                  <a:lnTo>
                    <a:pt x="236" y="280"/>
                  </a:lnTo>
                  <a:lnTo>
                    <a:pt x="235" y="280"/>
                  </a:lnTo>
                  <a:lnTo>
                    <a:pt x="234" y="280"/>
                  </a:lnTo>
                  <a:lnTo>
                    <a:pt x="234" y="279"/>
                  </a:lnTo>
                  <a:lnTo>
                    <a:pt x="235" y="279"/>
                  </a:lnTo>
                  <a:lnTo>
                    <a:pt x="235" y="278"/>
                  </a:lnTo>
                  <a:lnTo>
                    <a:pt x="236" y="279"/>
                  </a:lnTo>
                  <a:lnTo>
                    <a:pt x="238" y="279"/>
                  </a:lnTo>
                  <a:lnTo>
                    <a:pt x="238" y="280"/>
                  </a:lnTo>
                  <a:lnTo>
                    <a:pt x="240" y="282"/>
                  </a:lnTo>
                  <a:lnTo>
                    <a:pt x="241" y="283"/>
                  </a:lnTo>
                  <a:lnTo>
                    <a:pt x="240" y="284"/>
                  </a:lnTo>
                  <a:lnTo>
                    <a:pt x="241" y="284"/>
                  </a:lnTo>
                  <a:lnTo>
                    <a:pt x="242" y="284"/>
                  </a:lnTo>
                  <a:lnTo>
                    <a:pt x="242" y="283"/>
                  </a:lnTo>
                  <a:lnTo>
                    <a:pt x="244" y="283"/>
                  </a:lnTo>
                  <a:lnTo>
                    <a:pt x="244" y="284"/>
                  </a:lnTo>
                  <a:lnTo>
                    <a:pt x="245" y="283"/>
                  </a:lnTo>
                  <a:lnTo>
                    <a:pt x="246" y="283"/>
                  </a:lnTo>
                  <a:lnTo>
                    <a:pt x="247" y="284"/>
                  </a:lnTo>
                  <a:lnTo>
                    <a:pt x="250" y="284"/>
                  </a:lnTo>
                  <a:lnTo>
                    <a:pt x="251" y="284"/>
                  </a:lnTo>
                  <a:lnTo>
                    <a:pt x="251" y="283"/>
                  </a:lnTo>
                  <a:lnTo>
                    <a:pt x="250" y="282"/>
                  </a:lnTo>
                  <a:lnTo>
                    <a:pt x="251" y="280"/>
                  </a:lnTo>
                  <a:lnTo>
                    <a:pt x="250" y="280"/>
                  </a:lnTo>
                  <a:lnTo>
                    <a:pt x="248" y="280"/>
                  </a:lnTo>
                  <a:lnTo>
                    <a:pt x="248" y="279"/>
                  </a:lnTo>
                  <a:lnTo>
                    <a:pt x="248" y="278"/>
                  </a:lnTo>
                  <a:lnTo>
                    <a:pt x="250" y="279"/>
                  </a:lnTo>
                  <a:lnTo>
                    <a:pt x="251" y="279"/>
                  </a:lnTo>
                  <a:lnTo>
                    <a:pt x="251" y="278"/>
                  </a:lnTo>
                  <a:lnTo>
                    <a:pt x="251" y="277"/>
                  </a:lnTo>
                  <a:lnTo>
                    <a:pt x="250" y="276"/>
                  </a:lnTo>
                  <a:lnTo>
                    <a:pt x="251" y="276"/>
                  </a:lnTo>
                  <a:lnTo>
                    <a:pt x="251" y="274"/>
                  </a:lnTo>
                  <a:lnTo>
                    <a:pt x="250" y="274"/>
                  </a:lnTo>
                  <a:lnTo>
                    <a:pt x="248" y="274"/>
                  </a:lnTo>
                  <a:lnTo>
                    <a:pt x="248" y="276"/>
                  </a:lnTo>
                  <a:lnTo>
                    <a:pt x="247" y="276"/>
                  </a:lnTo>
                  <a:lnTo>
                    <a:pt x="246" y="276"/>
                  </a:lnTo>
                  <a:lnTo>
                    <a:pt x="246" y="277"/>
                  </a:lnTo>
                  <a:lnTo>
                    <a:pt x="245" y="277"/>
                  </a:lnTo>
                  <a:lnTo>
                    <a:pt x="244" y="277"/>
                  </a:lnTo>
                  <a:lnTo>
                    <a:pt x="242" y="277"/>
                  </a:lnTo>
                  <a:lnTo>
                    <a:pt x="242" y="276"/>
                  </a:lnTo>
                  <a:lnTo>
                    <a:pt x="244" y="274"/>
                  </a:lnTo>
                  <a:lnTo>
                    <a:pt x="245" y="274"/>
                  </a:lnTo>
                  <a:lnTo>
                    <a:pt x="247" y="274"/>
                  </a:lnTo>
                  <a:lnTo>
                    <a:pt x="246" y="273"/>
                  </a:lnTo>
                  <a:lnTo>
                    <a:pt x="247" y="273"/>
                  </a:lnTo>
                  <a:lnTo>
                    <a:pt x="248" y="273"/>
                  </a:lnTo>
                  <a:lnTo>
                    <a:pt x="250" y="272"/>
                  </a:lnTo>
                  <a:lnTo>
                    <a:pt x="251" y="272"/>
                  </a:lnTo>
                  <a:lnTo>
                    <a:pt x="252" y="272"/>
                  </a:lnTo>
                  <a:lnTo>
                    <a:pt x="253" y="271"/>
                  </a:lnTo>
                  <a:lnTo>
                    <a:pt x="254" y="271"/>
                  </a:lnTo>
                  <a:lnTo>
                    <a:pt x="254" y="270"/>
                  </a:lnTo>
                  <a:lnTo>
                    <a:pt x="253" y="268"/>
                  </a:lnTo>
                  <a:lnTo>
                    <a:pt x="252" y="267"/>
                  </a:lnTo>
                  <a:lnTo>
                    <a:pt x="251" y="267"/>
                  </a:lnTo>
                  <a:lnTo>
                    <a:pt x="250" y="267"/>
                  </a:lnTo>
                  <a:lnTo>
                    <a:pt x="250" y="268"/>
                  </a:lnTo>
                  <a:lnTo>
                    <a:pt x="248" y="270"/>
                  </a:lnTo>
                  <a:lnTo>
                    <a:pt x="247" y="271"/>
                  </a:lnTo>
                  <a:lnTo>
                    <a:pt x="246" y="272"/>
                  </a:lnTo>
                  <a:lnTo>
                    <a:pt x="245" y="273"/>
                  </a:lnTo>
                  <a:lnTo>
                    <a:pt x="244" y="273"/>
                  </a:lnTo>
                  <a:lnTo>
                    <a:pt x="241" y="274"/>
                  </a:lnTo>
                  <a:lnTo>
                    <a:pt x="240" y="276"/>
                  </a:lnTo>
                  <a:lnTo>
                    <a:pt x="239" y="276"/>
                  </a:lnTo>
                  <a:lnTo>
                    <a:pt x="238" y="276"/>
                  </a:lnTo>
                  <a:lnTo>
                    <a:pt x="238" y="274"/>
                  </a:lnTo>
                  <a:lnTo>
                    <a:pt x="239" y="273"/>
                  </a:lnTo>
                  <a:lnTo>
                    <a:pt x="240" y="273"/>
                  </a:lnTo>
                  <a:lnTo>
                    <a:pt x="240" y="272"/>
                  </a:lnTo>
                  <a:lnTo>
                    <a:pt x="239" y="272"/>
                  </a:lnTo>
                  <a:lnTo>
                    <a:pt x="239" y="271"/>
                  </a:lnTo>
                  <a:lnTo>
                    <a:pt x="238" y="271"/>
                  </a:lnTo>
                  <a:lnTo>
                    <a:pt x="238" y="272"/>
                  </a:lnTo>
                  <a:lnTo>
                    <a:pt x="235" y="272"/>
                  </a:lnTo>
                  <a:lnTo>
                    <a:pt x="234" y="273"/>
                  </a:lnTo>
                  <a:lnTo>
                    <a:pt x="234" y="272"/>
                  </a:lnTo>
                  <a:lnTo>
                    <a:pt x="235" y="271"/>
                  </a:lnTo>
                  <a:lnTo>
                    <a:pt x="236" y="271"/>
                  </a:lnTo>
                  <a:lnTo>
                    <a:pt x="235" y="270"/>
                  </a:lnTo>
                  <a:lnTo>
                    <a:pt x="234" y="271"/>
                  </a:lnTo>
                  <a:lnTo>
                    <a:pt x="234" y="272"/>
                  </a:lnTo>
                  <a:lnTo>
                    <a:pt x="234" y="273"/>
                  </a:lnTo>
                  <a:lnTo>
                    <a:pt x="233" y="273"/>
                  </a:lnTo>
                  <a:lnTo>
                    <a:pt x="233" y="272"/>
                  </a:lnTo>
                  <a:lnTo>
                    <a:pt x="232" y="272"/>
                  </a:lnTo>
                  <a:lnTo>
                    <a:pt x="230" y="272"/>
                  </a:lnTo>
                  <a:lnTo>
                    <a:pt x="230" y="273"/>
                  </a:lnTo>
                  <a:lnTo>
                    <a:pt x="230" y="274"/>
                  </a:lnTo>
                  <a:lnTo>
                    <a:pt x="229" y="276"/>
                  </a:lnTo>
                  <a:lnTo>
                    <a:pt x="229" y="274"/>
                  </a:lnTo>
                  <a:lnTo>
                    <a:pt x="228" y="273"/>
                  </a:lnTo>
                  <a:lnTo>
                    <a:pt x="228" y="274"/>
                  </a:lnTo>
                  <a:lnTo>
                    <a:pt x="227" y="273"/>
                  </a:lnTo>
                  <a:lnTo>
                    <a:pt x="226" y="272"/>
                  </a:lnTo>
                  <a:lnTo>
                    <a:pt x="227" y="272"/>
                  </a:lnTo>
                  <a:lnTo>
                    <a:pt x="227" y="271"/>
                  </a:lnTo>
                  <a:lnTo>
                    <a:pt x="229" y="270"/>
                  </a:lnTo>
                  <a:lnTo>
                    <a:pt x="228" y="268"/>
                  </a:lnTo>
                  <a:lnTo>
                    <a:pt x="227" y="268"/>
                  </a:lnTo>
                  <a:lnTo>
                    <a:pt x="226" y="268"/>
                  </a:lnTo>
                  <a:lnTo>
                    <a:pt x="226" y="270"/>
                  </a:lnTo>
                  <a:lnTo>
                    <a:pt x="226" y="271"/>
                  </a:lnTo>
                  <a:lnTo>
                    <a:pt x="224" y="270"/>
                  </a:lnTo>
                  <a:lnTo>
                    <a:pt x="223" y="270"/>
                  </a:lnTo>
                  <a:lnTo>
                    <a:pt x="222" y="270"/>
                  </a:lnTo>
                  <a:lnTo>
                    <a:pt x="221" y="268"/>
                  </a:lnTo>
                  <a:lnTo>
                    <a:pt x="220" y="271"/>
                  </a:lnTo>
                  <a:lnTo>
                    <a:pt x="218" y="270"/>
                  </a:lnTo>
                  <a:lnTo>
                    <a:pt x="217" y="270"/>
                  </a:lnTo>
                  <a:lnTo>
                    <a:pt x="217" y="268"/>
                  </a:lnTo>
                  <a:lnTo>
                    <a:pt x="218" y="268"/>
                  </a:lnTo>
                  <a:lnTo>
                    <a:pt x="220" y="268"/>
                  </a:lnTo>
                  <a:lnTo>
                    <a:pt x="221" y="267"/>
                  </a:lnTo>
                  <a:lnTo>
                    <a:pt x="222" y="266"/>
                  </a:lnTo>
                  <a:lnTo>
                    <a:pt x="221" y="266"/>
                  </a:lnTo>
                  <a:lnTo>
                    <a:pt x="221" y="265"/>
                  </a:lnTo>
                  <a:lnTo>
                    <a:pt x="222" y="264"/>
                  </a:lnTo>
                  <a:lnTo>
                    <a:pt x="223" y="264"/>
                  </a:lnTo>
                  <a:lnTo>
                    <a:pt x="223" y="262"/>
                  </a:lnTo>
                  <a:lnTo>
                    <a:pt x="222" y="262"/>
                  </a:lnTo>
                  <a:lnTo>
                    <a:pt x="221" y="262"/>
                  </a:lnTo>
                  <a:lnTo>
                    <a:pt x="220" y="262"/>
                  </a:lnTo>
                  <a:lnTo>
                    <a:pt x="220" y="261"/>
                  </a:lnTo>
                  <a:lnTo>
                    <a:pt x="221" y="261"/>
                  </a:lnTo>
                  <a:lnTo>
                    <a:pt x="222" y="261"/>
                  </a:lnTo>
                  <a:lnTo>
                    <a:pt x="223" y="262"/>
                  </a:lnTo>
                  <a:lnTo>
                    <a:pt x="224" y="261"/>
                  </a:lnTo>
                  <a:lnTo>
                    <a:pt x="226" y="262"/>
                  </a:lnTo>
                  <a:lnTo>
                    <a:pt x="227" y="262"/>
                  </a:lnTo>
                  <a:lnTo>
                    <a:pt x="228" y="265"/>
                  </a:lnTo>
                  <a:lnTo>
                    <a:pt x="228" y="266"/>
                  </a:lnTo>
                  <a:lnTo>
                    <a:pt x="228" y="267"/>
                  </a:lnTo>
                  <a:lnTo>
                    <a:pt x="229" y="267"/>
                  </a:lnTo>
                  <a:lnTo>
                    <a:pt x="230" y="266"/>
                  </a:lnTo>
                  <a:lnTo>
                    <a:pt x="232" y="266"/>
                  </a:lnTo>
                  <a:lnTo>
                    <a:pt x="233" y="266"/>
                  </a:lnTo>
                  <a:lnTo>
                    <a:pt x="234" y="266"/>
                  </a:lnTo>
                  <a:lnTo>
                    <a:pt x="236" y="266"/>
                  </a:lnTo>
                  <a:lnTo>
                    <a:pt x="238" y="266"/>
                  </a:lnTo>
                  <a:lnTo>
                    <a:pt x="238" y="265"/>
                  </a:lnTo>
                  <a:lnTo>
                    <a:pt x="238" y="264"/>
                  </a:lnTo>
                  <a:lnTo>
                    <a:pt x="236" y="264"/>
                  </a:lnTo>
                  <a:lnTo>
                    <a:pt x="235" y="265"/>
                  </a:lnTo>
                  <a:lnTo>
                    <a:pt x="234" y="265"/>
                  </a:lnTo>
                  <a:lnTo>
                    <a:pt x="233" y="265"/>
                  </a:lnTo>
                  <a:lnTo>
                    <a:pt x="233" y="264"/>
                  </a:lnTo>
                  <a:lnTo>
                    <a:pt x="230" y="264"/>
                  </a:lnTo>
                  <a:lnTo>
                    <a:pt x="230" y="262"/>
                  </a:lnTo>
                  <a:lnTo>
                    <a:pt x="229" y="262"/>
                  </a:lnTo>
                  <a:lnTo>
                    <a:pt x="228" y="261"/>
                  </a:lnTo>
                  <a:lnTo>
                    <a:pt x="227" y="261"/>
                  </a:lnTo>
                  <a:lnTo>
                    <a:pt x="228" y="261"/>
                  </a:lnTo>
                  <a:lnTo>
                    <a:pt x="229" y="260"/>
                  </a:lnTo>
                  <a:lnTo>
                    <a:pt x="228" y="259"/>
                  </a:lnTo>
                  <a:lnTo>
                    <a:pt x="227" y="259"/>
                  </a:lnTo>
                  <a:lnTo>
                    <a:pt x="227" y="258"/>
                  </a:lnTo>
                  <a:lnTo>
                    <a:pt x="227" y="256"/>
                  </a:lnTo>
                  <a:lnTo>
                    <a:pt x="226" y="256"/>
                  </a:lnTo>
                  <a:lnTo>
                    <a:pt x="224" y="256"/>
                  </a:lnTo>
                  <a:lnTo>
                    <a:pt x="223" y="256"/>
                  </a:lnTo>
                  <a:lnTo>
                    <a:pt x="222" y="255"/>
                  </a:lnTo>
                  <a:lnTo>
                    <a:pt x="222" y="254"/>
                  </a:lnTo>
                  <a:lnTo>
                    <a:pt x="222" y="253"/>
                  </a:lnTo>
                  <a:lnTo>
                    <a:pt x="222" y="254"/>
                  </a:lnTo>
                  <a:lnTo>
                    <a:pt x="223" y="255"/>
                  </a:lnTo>
                  <a:lnTo>
                    <a:pt x="224" y="256"/>
                  </a:lnTo>
                  <a:lnTo>
                    <a:pt x="226" y="255"/>
                  </a:lnTo>
                  <a:lnTo>
                    <a:pt x="224" y="255"/>
                  </a:lnTo>
                  <a:lnTo>
                    <a:pt x="224" y="254"/>
                  </a:lnTo>
                  <a:lnTo>
                    <a:pt x="226" y="255"/>
                  </a:lnTo>
                  <a:lnTo>
                    <a:pt x="227" y="255"/>
                  </a:lnTo>
                  <a:lnTo>
                    <a:pt x="228" y="256"/>
                  </a:lnTo>
                  <a:lnTo>
                    <a:pt x="229" y="258"/>
                  </a:lnTo>
                  <a:lnTo>
                    <a:pt x="230" y="258"/>
                  </a:lnTo>
                  <a:lnTo>
                    <a:pt x="230" y="259"/>
                  </a:lnTo>
                  <a:lnTo>
                    <a:pt x="232" y="260"/>
                  </a:lnTo>
                  <a:lnTo>
                    <a:pt x="232" y="261"/>
                  </a:lnTo>
                  <a:lnTo>
                    <a:pt x="232" y="260"/>
                  </a:lnTo>
                  <a:lnTo>
                    <a:pt x="230" y="260"/>
                  </a:lnTo>
                  <a:lnTo>
                    <a:pt x="230" y="261"/>
                  </a:lnTo>
                  <a:lnTo>
                    <a:pt x="232" y="261"/>
                  </a:lnTo>
                  <a:lnTo>
                    <a:pt x="232" y="262"/>
                  </a:lnTo>
                  <a:lnTo>
                    <a:pt x="234" y="262"/>
                  </a:lnTo>
                  <a:lnTo>
                    <a:pt x="234" y="264"/>
                  </a:lnTo>
                  <a:lnTo>
                    <a:pt x="235" y="262"/>
                  </a:lnTo>
                  <a:lnTo>
                    <a:pt x="236" y="262"/>
                  </a:lnTo>
                  <a:lnTo>
                    <a:pt x="238" y="262"/>
                  </a:lnTo>
                  <a:lnTo>
                    <a:pt x="236" y="261"/>
                  </a:lnTo>
                  <a:lnTo>
                    <a:pt x="238" y="260"/>
                  </a:lnTo>
                  <a:lnTo>
                    <a:pt x="239" y="261"/>
                  </a:lnTo>
                  <a:lnTo>
                    <a:pt x="241" y="261"/>
                  </a:lnTo>
                  <a:lnTo>
                    <a:pt x="242" y="259"/>
                  </a:lnTo>
                  <a:lnTo>
                    <a:pt x="241" y="259"/>
                  </a:lnTo>
                  <a:lnTo>
                    <a:pt x="240" y="259"/>
                  </a:lnTo>
                  <a:lnTo>
                    <a:pt x="239" y="258"/>
                  </a:lnTo>
                  <a:lnTo>
                    <a:pt x="238" y="258"/>
                  </a:lnTo>
                  <a:lnTo>
                    <a:pt x="236" y="258"/>
                  </a:lnTo>
                  <a:lnTo>
                    <a:pt x="235" y="256"/>
                  </a:lnTo>
                  <a:lnTo>
                    <a:pt x="233" y="256"/>
                  </a:lnTo>
                  <a:lnTo>
                    <a:pt x="232" y="256"/>
                  </a:lnTo>
                  <a:lnTo>
                    <a:pt x="230" y="255"/>
                  </a:lnTo>
                  <a:lnTo>
                    <a:pt x="229" y="255"/>
                  </a:lnTo>
                  <a:lnTo>
                    <a:pt x="228" y="254"/>
                  </a:lnTo>
                  <a:lnTo>
                    <a:pt x="227" y="253"/>
                  </a:lnTo>
                  <a:lnTo>
                    <a:pt x="227" y="252"/>
                  </a:lnTo>
                  <a:lnTo>
                    <a:pt x="226" y="250"/>
                  </a:lnTo>
                  <a:lnTo>
                    <a:pt x="224" y="249"/>
                  </a:lnTo>
                  <a:lnTo>
                    <a:pt x="223" y="249"/>
                  </a:lnTo>
                  <a:lnTo>
                    <a:pt x="222" y="249"/>
                  </a:lnTo>
                  <a:lnTo>
                    <a:pt x="222" y="248"/>
                  </a:lnTo>
                  <a:lnTo>
                    <a:pt x="222" y="247"/>
                  </a:lnTo>
                  <a:lnTo>
                    <a:pt x="222" y="246"/>
                  </a:lnTo>
                  <a:lnTo>
                    <a:pt x="223" y="247"/>
                  </a:lnTo>
                  <a:lnTo>
                    <a:pt x="224" y="247"/>
                  </a:lnTo>
                  <a:lnTo>
                    <a:pt x="226" y="247"/>
                  </a:lnTo>
                  <a:lnTo>
                    <a:pt x="227" y="249"/>
                  </a:lnTo>
                  <a:lnTo>
                    <a:pt x="227" y="250"/>
                  </a:lnTo>
                  <a:lnTo>
                    <a:pt x="228" y="250"/>
                  </a:lnTo>
                  <a:lnTo>
                    <a:pt x="228" y="252"/>
                  </a:lnTo>
                  <a:lnTo>
                    <a:pt x="229" y="253"/>
                  </a:lnTo>
                  <a:lnTo>
                    <a:pt x="230" y="254"/>
                  </a:lnTo>
                  <a:lnTo>
                    <a:pt x="233" y="254"/>
                  </a:lnTo>
                  <a:lnTo>
                    <a:pt x="234" y="255"/>
                  </a:lnTo>
                  <a:lnTo>
                    <a:pt x="235" y="256"/>
                  </a:lnTo>
                  <a:lnTo>
                    <a:pt x="236" y="256"/>
                  </a:lnTo>
                  <a:lnTo>
                    <a:pt x="238" y="255"/>
                  </a:lnTo>
                  <a:lnTo>
                    <a:pt x="239" y="256"/>
                  </a:lnTo>
                  <a:lnTo>
                    <a:pt x="240" y="258"/>
                  </a:lnTo>
                  <a:lnTo>
                    <a:pt x="241" y="258"/>
                  </a:lnTo>
                  <a:lnTo>
                    <a:pt x="242" y="258"/>
                  </a:lnTo>
                  <a:lnTo>
                    <a:pt x="242" y="256"/>
                  </a:lnTo>
                  <a:lnTo>
                    <a:pt x="241" y="256"/>
                  </a:lnTo>
                  <a:lnTo>
                    <a:pt x="239" y="255"/>
                  </a:lnTo>
                  <a:lnTo>
                    <a:pt x="240" y="254"/>
                  </a:lnTo>
                  <a:lnTo>
                    <a:pt x="241" y="254"/>
                  </a:lnTo>
                  <a:lnTo>
                    <a:pt x="242" y="254"/>
                  </a:lnTo>
                  <a:lnTo>
                    <a:pt x="244" y="252"/>
                  </a:lnTo>
                  <a:lnTo>
                    <a:pt x="244" y="250"/>
                  </a:lnTo>
                  <a:lnTo>
                    <a:pt x="242" y="250"/>
                  </a:lnTo>
                  <a:lnTo>
                    <a:pt x="242" y="249"/>
                  </a:lnTo>
                  <a:lnTo>
                    <a:pt x="242" y="250"/>
                  </a:lnTo>
                  <a:lnTo>
                    <a:pt x="241" y="252"/>
                  </a:lnTo>
                  <a:lnTo>
                    <a:pt x="239" y="252"/>
                  </a:lnTo>
                  <a:lnTo>
                    <a:pt x="239" y="250"/>
                  </a:lnTo>
                  <a:lnTo>
                    <a:pt x="238" y="250"/>
                  </a:lnTo>
                  <a:lnTo>
                    <a:pt x="238" y="252"/>
                  </a:lnTo>
                  <a:lnTo>
                    <a:pt x="238" y="253"/>
                  </a:lnTo>
                  <a:lnTo>
                    <a:pt x="236" y="253"/>
                  </a:lnTo>
                  <a:lnTo>
                    <a:pt x="236" y="252"/>
                  </a:lnTo>
                  <a:lnTo>
                    <a:pt x="235" y="252"/>
                  </a:lnTo>
                  <a:lnTo>
                    <a:pt x="234" y="250"/>
                  </a:lnTo>
                  <a:lnTo>
                    <a:pt x="234" y="249"/>
                  </a:lnTo>
                  <a:lnTo>
                    <a:pt x="233" y="249"/>
                  </a:lnTo>
                  <a:lnTo>
                    <a:pt x="233" y="248"/>
                  </a:lnTo>
                  <a:lnTo>
                    <a:pt x="232" y="247"/>
                  </a:lnTo>
                  <a:lnTo>
                    <a:pt x="230" y="247"/>
                  </a:lnTo>
                  <a:lnTo>
                    <a:pt x="230" y="246"/>
                  </a:lnTo>
                  <a:lnTo>
                    <a:pt x="232" y="246"/>
                  </a:lnTo>
                  <a:lnTo>
                    <a:pt x="233" y="246"/>
                  </a:lnTo>
                  <a:lnTo>
                    <a:pt x="234" y="246"/>
                  </a:lnTo>
                  <a:lnTo>
                    <a:pt x="235" y="247"/>
                  </a:lnTo>
                  <a:lnTo>
                    <a:pt x="238" y="248"/>
                  </a:lnTo>
                  <a:lnTo>
                    <a:pt x="240" y="248"/>
                  </a:lnTo>
                  <a:lnTo>
                    <a:pt x="240" y="247"/>
                  </a:lnTo>
                  <a:lnTo>
                    <a:pt x="240" y="246"/>
                  </a:lnTo>
                  <a:lnTo>
                    <a:pt x="239" y="246"/>
                  </a:lnTo>
                  <a:lnTo>
                    <a:pt x="238" y="246"/>
                  </a:lnTo>
                  <a:lnTo>
                    <a:pt x="235" y="244"/>
                  </a:lnTo>
                  <a:lnTo>
                    <a:pt x="236" y="244"/>
                  </a:lnTo>
                  <a:lnTo>
                    <a:pt x="238" y="246"/>
                  </a:lnTo>
                  <a:lnTo>
                    <a:pt x="238" y="244"/>
                  </a:lnTo>
                  <a:lnTo>
                    <a:pt x="239" y="244"/>
                  </a:lnTo>
                  <a:lnTo>
                    <a:pt x="239" y="243"/>
                  </a:lnTo>
                  <a:lnTo>
                    <a:pt x="240" y="244"/>
                  </a:lnTo>
                  <a:lnTo>
                    <a:pt x="240" y="246"/>
                  </a:lnTo>
                  <a:lnTo>
                    <a:pt x="241" y="246"/>
                  </a:lnTo>
                  <a:lnTo>
                    <a:pt x="242" y="246"/>
                  </a:lnTo>
                  <a:lnTo>
                    <a:pt x="242" y="244"/>
                  </a:lnTo>
                  <a:lnTo>
                    <a:pt x="242" y="243"/>
                  </a:lnTo>
                  <a:lnTo>
                    <a:pt x="242" y="242"/>
                  </a:lnTo>
                  <a:lnTo>
                    <a:pt x="241" y="242"/>
                  </a:lnTo>
                  <a:lnTo>
                    <a:pt x="240" y="242"/>
                  </a:lnTo>
                  <a:lnTo>
                    <a:pt x="240" y="241"/>
                  </a:lnTo>
                  <a:lnTo>
                    <a:pt x="240" y="242"/>
                  </a:lnTo>
                  <a:lnTo>
                    <a:pt x="239" y="242"/>
                  </a:lnTo>
                  <a:lnTo>
                    <a:pt x="238" y="242"/>
                  </a:lnTo>
                  <a:lnTo>
                    <a:pt x="236" y="242"/>
                  </a:lnTo>
                  <a:lnTo>
                    <a:pt x="236" y="241"/>
                  </a:lnTo>
                  <a:lnTo>
                    <a:pt x="238" y="240"/>
                  </a:lnTo>
                  <a:lnTo>
                    <a:pt x="236" y="240"/>
                  </a:lnTo>
                  <a:lnTo>
                    <a:pt x="234" y="240"/>
                  </a:lnTo>
                  <a:lnTo>
                    <a:pt x="233" y="241"/>
                  </a:lnTo>
                  <a:lnTo>
                    <a:pt x="232" y="241"/>
                  </a:lnTo>
                  <a:lnTo>
                    <a:pt x="233" y="238"/>
                  </a:lnTo>
                  <a:lnTo>
                    <a:pt x="234" y="238"/>
                  </a:lnTo>
                  <a:lnTo>
                    <a:pt x="235" y="238"/>
                  </a:lnTo>
                  <a:lnTo>
                    <a:pt x="236" y="237"/>
                  </a:lnTo>
                  <a:lnTo>
                    <a:pt x="236" y="236"/>
                  </a:lnTo>
                  <a:lnTo>
                    <a:pt x="239" y="236"/>
                  </a:lnTo>
                  <a:lnTo>
                    <a:pt x="240" y="235"/>
                  </a:lnTo>
                  <a:lnTo>
                    <a:pt x="241" y="235"/>
                  </a:lnTo>
                  <a:lnTo>
                    <a:pt x="241" y="234"/>
                  </a:lnTo>
                  <a:lnTo>
                    <a:pt x="241" y="232"/>
                  </a:lnTo>
                  <a:lnTo>
                    <a:pt x="240" y="232"/>
                  </a:lnTo>
                  <a:lnTo>
                    <a:pt x="240" y="231"/>
                  </a:lnTo>
                  <a:lnTo>
                    <a:pt x="239" y="232"/>
                  </a:lnTo>
                  <a:lnTo>
                    <a:pt x="238" y="232"/>
                  </a:lnTo>
                  <a:lnTo>
                    <a:pt x="238" y="231"/>
                  </a:lnTo>
                  <a:lnTo>
                    <a:pt x="236" y="231"/>
                  </a:lnTo>
                  <a:lnTo>
                    <a:pt x="235" y="232"/>
                  </a:lnTo>
                  <a:lnTo>
                    <a:pt x="235" y="234"/>
                  </a:lnTo>
                  <a:lnTo>
                    <a:pt x="235" y="232"/>
                  </a:lnTo>
                  <a:lnTo>
                    <a:pt x="235" y="231"/>
                  </a:lnTo>
                  <a:lnTo>
                    <a:pt x="234" y="231"/>
                  </a:lnTo>
                  <a:lnTo>
                    <a:pt x="233" y="232"/>
                  </a:lnTo>
                  <a:lnTo>
                    <a:pt x="232" y="234"/>
                  </a:lnTo>
                  <a:lnTo>
                    <a:pt x="230" y="234"/>
                  </a:lnTo>
                  <a:lnTo>
                    <a:pt x="232" y="232"/>
                  </a:lnTo>
                  <a:lnTo>
                    <a:pt x="233" y="232"/>
                  </a:lnTo>
                  <a:lnTo>
                    <a:pt x="233" y="231"/>
                  </a:lnTo>
                  <a:lnTo>
                    <a:pt x="232" y="230"/>
                  </a:lnTo>
                  <a:lnTo>
                    <a:pt x="232" y="229"/>
                  </a:lnTo>
                  <a:lnTo>
                    <a:pt x="230" y="229"/>
                  </a:lnTo>
                  <a:lnTo>
                    <a:pt x="232" y="228"/>
                  </a:lnTo>
                  <a:lnTo>
                    <a:pt x="232" y="229"/>
                  </a:lnTo>
                  <a:lnTo>
                    <a:pt x="233" y="229"/>
                  </a:lnTo>
                  <a:lnTo>
                    <a:pt x="234" y="229"/>
                  </a:lnTo>
                  <a:lnTo>
                    <a:pt x="234" y="228"/>
                  </a:lnTo>
                  <a:lnTo>
                    <a:pt x="235" y="228"/>
                  </a:lnTo>
                  <a:lnTo>
                    <a:pt x="235" y="226"/>
                  </a:lnTo>
                  <a:lnTo>
                    <a:pt x="234" y="225"/>
                  </a:lnTo>
                  <a:lnTo>
                    <a:pt x="233" y="224"/>
                  </a:lnTo>
                  <a:lnTo>
                    <a:pt x="232" y="224"/>
                  </a:lnTo>
                  <a:lnTo>
                    <a:pt x="232" y="225"/>
                  </a:lnTo>
                  <a:lnTo>
                    <a:pt x="230" y="225"/>
                  </a:lnTo>
                  <a:lnTo>
                    <a:pt x="229" y="225"/>
                  </a:lnTo>
                  <a:lnTo>
                    <a:pt x="228" y="225"/>
                  </a:lnTo>
                  <a:lnTo>
                    <a:pt x="227" y="226"/>
                  </a:lnTo>
                  <a:lnTo>
                    <a:pt x="227" y="228"/>
                  </a:lnTo>
                  <a:lnTo>
                    <a:pt x="228" y="228"/>
                  </a:lnTo>
                  <a:lnTo>
                    <a:pt x="228" y="229"/>
                  </a:lnTo>
                  <a:lnTo>
                    <a:pt x="228" y="230"/>
                  </a:lnTo>
                  <a:lnTo>
                    <a:pt x="227" y="229"/>
                  </a:lnTo>
                  <a:lnTo>
                    <a:pt x="226" y="229"/>
                  </a:lnTo>
                  <a:lnTo>
                    <a:pt x="226" y="228"/>
                  </a:lnTo>
                  <a:lnTo>
                    <a:pt x="224" y="228"/>
                  </a:lnTo>
                  <a:lnTo>
                    <a:pt x="224" y="226"/>
                  </a:lnTo>
                  <a:lnTo>
                    <a:pt x="226" y="225"/>
                  </a:lnTo>
                  <a:lnTo>
                    <a:pt x="226" y="224"/>
                  </a:lnTo>
                  <a:lnTo>
                    <a:pt x="226" y="223"/>
                  </a:lnTo>
                  <a:lnTo>
                    <a:pt x="224" y="223"/>
                  </a:lnTo>
                  <a:lnTo>
                    <a:pt x="222" y="223"/>
                  </a:lnTo>
                  <a:lnTo>
                    <a:pt x="222" y="224"/>
                  </a:lnTo>
                  <a:lnTo>
                    <a:pt x="222" y="225"/>
                  </a:lnTo>
                  <a:lnTo>
                    <a:pt x="221" y="226"/>
                  </a:lnTo>
                  <a:lnTo>
                    <a:pt x="220" y="225"/>
                  </a:lnTo>
                  <a:lnTo>
                    <a:pt x="221" y="224"/>
                  </a:lnTo>
                  <a:lnTo>
                    <a:pt x="221" y="223"/>
                  </a:lnTo>
                  <a:lnTo>
                    <a:pt x="222" y="223"/>
                  </a:lnTo>
                  <a:lnTo>
                    <a:pt x="224" y="222"/>
                  </a:lnTo>
                  <a:lnTo>
                    <a:pt x="224" y="220"/>
                  </a:lnTo>
                  <a:lnTo>
                    <a:pt x="223" y="220"/>
                  </a:lnTo>
                  <a:lnTo>
                    <a:pt x="223" y="219"/>
                  </a:lnTo>
                  <a:lnTo>
                    <a:pt x="224" y="219"/>
                  </a:lnTo>
                  <a:lnTo>
                    <a:pt x="226" y="219"/>
                  </a:lnTo>
                  <a:lnTo>
                    <a:pt x="227" y="219"/>
                  </a:lnTo>
                  <a:lnTo>
                    <a:pt x="227" y="218"/>
                  </a:lnTo>
                  <a:lnTo>
                    <a:pt x="228" y="217"/>
                  </a:lnTo>
                  <a:lnTo>
                    <a:pt x="228" y="216"/>
                  </a:lnTo>
                  <a:lnTo>
                    <a:pt x="229" y="216"/>
                  </a:lnTo>
                  <a:lnTo>
                    <a:pt x="229" y="214"/>
                  </a:lnTo>
                  <a:lnTo>
                    <a:pt x="229" y="213"/>
                  </a:lnTo>
                  <a:lnTo>
                    <a:pt x="228" y="213"/>
                  </a:lnTo>
                  <a:lnTo>
                    <a:pt x="227" y="214"/>
                  </a:lnTo>
                  <a:lnTo>
                    <a:pt x="227" y="213"/>
                  </a:lnTo>
                  <a:lnTo>
                    <a:pt x="226" y="213"/>
                  </a:lnTo>
                  <a:lnTo>
                    <a:pt x="226" y="214"/>
                  </a:lnTo>
                  <a:lnTo>
                    <a:pt x="224" y="214"/>
                  </a:lnTo>
                  <a:lnTo>
                    <a:pt x="223" y="216"/>
                  </a:lnTo>
                  <a:lnTo>
                    <a:pt x="222" y="214"/>
                  </a:lnTo>
                  <a:lnTo>
                    <a:pt x="224" y="213"/>
                  </a:lnTo>
                  <a:lnTo>
                    <a:pt x="226" y="212"/>
                  </a:lnTo>
                  <a:lnTo>
                    <a:pt x="224" y="211"/>
                  </a:lnTo>
                  <a:lnTo>
                    <a:pt x="223" y="212"/>
                  </a:lnTo>
                  <a:lnTo>
                    <a:pt x="222" y="211"/>
                  </a:lnTo>
                  <a:lnTo>
                    <a:pt x="222" y="210"/>
                  </a:lnTo>
                  <a:lnTo>
                    <a:pt x="222" y="208"/>
                  </a:lnTo>
                  <a:lnTo>
                    <a:pt x="221" y="211"/>
                  </a:lnTo>
                  <a:lnTo>
                    <a:pt x="220" y="210"/>
                  </a:lnTo>
                  <a:lnTo>
                    <a:pt x="218" y="210"/>
                  </a:lnTo>
                  <a:lnTo>
                    <a:pt x="217" y="210"/>
                  </a:lnTo>
                  <a:lnTo>
                    <a:pt x="217" y="208"/>
                  </a:lnTo>
                  <a:lnTo>
                    <a:pt x="216" y="208"/>
                  </a:lnTo>
                  <a:lnTo>
                    <a:pt x="215" y="207"/>
                  </a:lnTo>
                  <a:lnTo>
                    <a:pt x="215" y="206"/>
                  </a:lnTo>
                  <a:lnTo>
                    <a:pt x="214" y="206"/>
                  </a:lnTo>
                  <a:lnTo>
                    <a:pt x="215" y="206"/>
                  </a:lnTo>
                  <a:lnTo>
                    <a:pt x="216" y="207"/>
                  </a:lnTo>
                  <a:lnTo>
                    <a:pt x="217" y="207"/>
                  </a:lnTo>
                  <a:lnTo>
                    <a:pt x="218" y="207"/>
                  </a:lnTo>
                  <a:lnTo>
                    <a:pt x="218" y="208"/>
                  </a:lnTo>
                  <a:lnTo>
                    <a:pt x="220" y="208"/>
                  </a:lnTo>
                  <a:lnTo>
                    <a:pt x="221" y="206"/>
                  </a:lnTo>
                  <a:lnTo>
                    <a:pt x="221" y="207"/>
                  </a:lnTo>
                  <a:lnTo>
                    <a:pt x="222" y="207"/>
                  </a:lnTo>
                  <a:lnTo>
                    <a:pt x="223" y="207"/>
                  </a:lnTo>
                  <a:lnTo>
                    <a:pt x="223" y="206"/>
                  </a:lnTo>
                  <a:lnTo>
                    <a:pt x="224" y="206"/>
                  </a:lnTo>
                  <a:lnTo>
                    <a:pt x="226" y="205"/>
                  </a:lnTo>
                  <a:lnTo>
                    <a:pt x="227" y="205"/>
                  </a:lnTo>
                  <a:lnTo>
                    <a:pt x="228" y="205"/>
                  </a:lnTo>
                  <a:lnTo>
                    <a:pt x="228" y="204"/>
                  </a:lnTo>
                  <a:lnTo>
                    <a:pt x="227" y="202"/>
                  </a:lnTo>
                  <a:lnTo>
                    <a:pt x="227" y="201"/>
                  </a:lnTo>
                  <a:lnTo>
                    <a:pt x="226" y="202"/>
                  </a:lnTo>
                  <a:lnTo>
                    <a:pt x="224" y="202"/>
                  </a:lnTo>
                  <a:lnTo>
                    <a:pt x="223" y="202"/>
                  </a:lnTo>
                  <a:lnTo>
                    <a:pt x="222" y="202"/>
                  </a:lnTo>
                  <a:lnTo>
                    <a:pt x="221" y="202"/>
                  </a:lnTo>
                  <a:lnTo>
                    <a:pt x="220" y="202"/>
                  </a:lnTo>
                  <a:lnTo>
                    <a:pt x="220" y="201"/>
                  </a:lnTo>
                  <a:lnTo>
                    <a:pt x="217" y="201"/>
                  </a:lnTo>
                  <a:lnTo>
                    <a:pt x="216" y="201"/>
                  </a:lnTo>
                  <a:lnTo>
                    <a:pt x="216" y="200"/>
                  </a:lnTo>
                  <a:lnTo>
                    <a:pt x="215" y="200"/>
                  </a:lnTo>
                  <a:lnTo>
                    <a:pt x="214" y="200"/>
                  </a:lnTo>
                  <a:lnTo>
                    <a:pt x="214" y="199"/>
                  </a:lnTo>
                  <a:lnTo>
                    <a:pt x="212" y="199"/>
                  </a:lnTo>
                  <a:lnTo>
                    <a:pt x="211" y="199"/>
                  </a:lnTo>
                  <a:lnTo>
                    <a:pt x="210" y="199"/>
                  </a:lnTo>
                  <a:lnTo>
                    <a:pt x="210" y="198"/>
                  </a:lnTo>
                  <a:lnTo>
                    <a:pt x="209" y="196"/>
                  </a:lnTo>
                  <a:lnTo>
                    <a:pt x="207" y="196"/>
                  </a:lnTo>
                  <a:lnTo>
                    <a:pt x="206" y="198"/>
                  </a:lnTo>
                  <a:lnTo>
                    <a:pt x="204" y="198"/>
                  </a:lnTo>
                  <a:lnTo>
                    <a:pt x="205" y="196"/>
                  </a:lnTo>
                  <a:lnTo>
                    <a:pt x="206" y="196"/>
                  </a:lnTo>
                  <a:lnTo>
                    <a:pt x="207" y="196"/>
                  </a:lnTo>
                  <a:lnTo>
                    <a:pt x="209" y="196"/>
                  </a:lnTo>
                  <a:lnTo>
                    <a:pt x="210" y="196"/>
                  </a:lnTo>
                  <a:lnTo>
                    <a:pt x="209" y="195"/>
                  </a:lnTo>
                  <a:lnTo>
                    <a:pt x="207" y="194"/>
                  </a:lnTo>
                  <a:lnTo>
                    <a:pt x="206" y="193"/>
                  </a:lnTo>
                  <a:lnTo>
                    <a:pt x="206" y="194"/>
                  </a:lnTo>
                  <a:lnTo>
                    <a:pt x="205" y="195"/>
                  </a:lnTo>
                  <a:lnTo>
                    <a:pt x="205" y="194"/>
                  </a:lnTo>
                  <a:lnTo>
                    <a:pt x="204" y="193"/>
                  </a:lnTo>
                  <a:lnTo>
                    <a:pt x="205" y="193"/>
                  </a:lnTo>
                  <a:lnTo>
                    <a:pt x="205" y="192"/>
                  </a:lnTo>
                  <a:lnTo>
                    <a:pt x="205" y="190"/>
                  </a:lnTo>
                  <a:lnTo>
                    <a:pt x="206" y="190"/>
                  </a:lnTo>
                  <a:lnTo>
                    <a:pt x="206" y="192"/>
                  </a:lnTo>
                  <a:lnTo>
                    <a:pt x="207" y="192"/>
                  </a:lnTo>
                  <a:lnTo>
                    <a:pt x="207" y="190"/>
                  </a:lnTo>
                  <a:lnTo>
                    <a:pt x="206" y="189"/>
                  </a:lnTo>
                  <a:lnTo>
                    <a:pt x="206" y="188"/>
                  </a:lnTo>
                  <a:lnTo>
                    <a:pt x="205" y="188"/>
                  </a:lnTo>
                  <a:lnTo>
                    <a:pt x="205" y="187"/>
                  </a:lnTo>
                  <a:lnTo>
                    <a:pt x="206" y="187"/>
                  </a:lnTo>
                  <a:lnTo>
                    <a:pt x="207" y="186"/>
                  </a:lnTo>
                  <a:lnTo>
                    <a:pt x="206" y="186"/>
                  </a:lnTo>
                  <a:lnTo>
                    <a:pt x="206" y="187"/>
                  </a:lnTo>
                  <a:lnTo>
                    <a:pt x="205" y="186"/>
                  </a:lnTo>
                  <a:lnTo>
                    <a:pt x="204" y="186"/>
                  </a:lnTo>
                  <a:lnTo>
                    <a:pt x="203" y="187"/>
                  </a:lnTo>
                  <a:lnTo>
                    <a:pt x="201" y="186"/>
                  </a:lnTo>
                  <a:lnTo>
                    <a:pt x="200" y="184"/>
                  </a:lnTo>
                  <a:lnTo>
                    <a:pt x="200" y="183"/>
                  </a:lnTo>
                  <a:lnTo>
                    <a:pt x="201" y="183"/>
                  </a:lnTo>
                  <a:lnTo>
                    <a:pt x="203" y="183"/>
                  </a:lnTo>
                  <a:lnTo>
                    <a:pt x="204" y="182"/>
                  </a:lnTo>
                  <a:lnTo>
                    <a:pt x="205" y="182"/>
                  </a:lnTo>
                  <a:lnTo>
                    <a:pt x="206" y="183"/>
                  </a:lnTo>
                  <a:lnTo>
                    <a:pt x="209" y="183"/>
                  </a:lnTo>
                  <a:lnTo>
                    <a:pt x="209" y="182"/>
                  </a:lnTo>
                  <a:lnTo>
                    <a:pt x="210" y="183"/>
                  </a:lnTo>
                  <a:lnTo>
                    <a:pt x="211" y="183"/>
                  </a:lnTo>
                  <a:lnTo>
                    <a:pt x="212" y="183"/>
                  </a:lnTo>
                  <a:lnTo>
                    <a:pt x="214" y="182"/>
                  </a:lnTo>
                  <a:lnTo>
                    <a:pt x="212" y="183"/>
                  </a:lnTo>
                  <a:lnTo>
                    <a:pt x="212" y="184"/>
                  </a:lnTo>
                  <a:lnTo>
                    <a:pt x="212" y="186"/>
                  </a:lnTo>
                  <a:lnTo>
                    <a:pt x="212" y="187"/>
                  </a:lnTo>
                  <a:lnTo>
                    <a:pt x="211" y="187"/>
                  </a:lnTo>
                  <a:lnTo>
                    <a:pt x="210" y="186"/>
                  </a:lnTo>
                  <a:lnTo>
                    <a:pt x="210" y="187"/>
                  </a:lnTo>
                  <a:lnTo>
                    <a:pt x="209" y="187"/>
                  </a:lnTo>
                  <a:lnTo>
                    <a:pt x="209" y="188"/>
                  </a:lnTo>
                  <a:lnTo>
                    <a:pt x="210" y="188"/>
                  </a:lnTo>
                  <a:lnTo>
                    <a:pt x="212" y="188"/>
                  </a:lnTo>
                  <a:lnTo>
                    <a:pt x="214" y="187"/>
                  </a:lnTo>
                  <a:lnTo>
                    <a:pt x="211" y="188"/>
                  </a:lnTo>
                  <a:lnTo>
                    <a:pt x="211" y="189"/>
                  </a:lnTo>
                  <a:lnTo>
                    <a:pt x="214" y="188"/>
                  </a:lnTo>
                  <a:lnTo>
                    <a:pt x="215" y="188"/>
                  </a:lnTo>
                  <a:lnTo>
                    <a:pt x="214" y="189"/>
                  </a:lnTo>
                  <a:lnTo>
                    <a:pt x="212" y="190"/>
                  </a:lnTo>
                  <a:lnTo>
                    <a:pt x="212" y="192"/>
                  </a:lnTo>
                  <a:lnTo>
                    <a:pt x="214" y="192"/>
                  </a:lnTo>
                  <a:lnTo>
                    <a:pt x="215" y="190"/>
                  </a:lnTo>
                  <a:lnTo>
                    <a:pt x="216" y="192"/>
                  </a:lnTo>
                  <a:lnTo>
                    <a:pt x="217" y="192"/>
                  </a:lnTo>
                  <a:lnTo>
                    <a:pt x="217" y="193"/>
                  </a:lnTo>
                  <a:lnTo>
                    <a:pt x="218" y="193"/>
                  </a:lnTo>
                  <a:lnTo>
                    <a:pt x="220" y="192"/>
                  </a:lnTo>
                  <a:lnTo>
                    <a:pt x="221" y="193"/>
                  </a:lnTo>
                  <a:lnTo>
                    <a:pt x="222" y="193"/>
                  </a:lnTo>
                  <a:lnTo>
                    <a:pt x="223" y="193"/>
                  </a:lnTo>
                  <a:lnTo>
                    <a:pt x="224" y="192"/>
                  </a:lnTo>
                  <a:lnTo>
                    <a:pt x="224" y="190"/>
                  </a:lnTo>
                  <a:lnTo>
                    <a:pt x="226" y="192"/>
                  </a:lnTo>
                  <a:lnTo>
                    <a:pt x="227" y="193"/>
                  </a:lnTo>
                  <a:lnTo>
                    <a:pt x="227" y="194"/>
                  </a:lnTo>
                  <a:lnTo>
                    <a:pt x="228" y="195"/>
                  </a:lnTo>
                  <a:lnTo>
                    <a:pt x="230" y="198"/>
                  </a:lnTo>
                  <a:lnTo>
                    <a:pt x="230" y="196"/>
                  </a:lnTo>
                  <a:lnTo>
                    <a:pt x="230" y="194"/>
                  </a:lnTo>
                  <a:lnTo>
                    <a:pt x="229" y="194"/>
                  </a:lnTo>
                  <a:lnTo>
                    <a:pt x="229" y="193"/>
                  </a:lnTo>
                  <a:lnTo>
                    <a:pt x="230" y="193"/>
                  </a:lnTo>
                  <a:lnTo>
                    <a:pt x="232" y="193"/>
                  </a:lnTo>
                  <a:lnTo>
                    <a:pt x="233" y="194"/>
                  </a:lnTo>
                  <a:lnTo>
                    <a:pt x="234" y="194"/>
                  </a:lnTo>
                  <a:lnTo>
                    <a:pt x="235" y="196"/>
                  </a:lnTo>
                  <a:lnTo>
                    <a:pt x="236" y="199"/>
                  </a:lnTo>
                  <a:lnTo>
                    <a:pt x="235" y="200"/>
                  </a:lnTo>
                  <a:lnTo>
                    <a:pt x="238" y="201"/>
                  </a:lnTo>
                  <a:lnTo>
                    <a:pt x="239" y="201"/>
                  </a:lnTo>
                  <a:lnTo>
                    <a:pt x="239" y="202"/>
                  </a:lnTo>
                  <a:lnTo>
                    <a:pt x="240" y="202"/>
                  </a:lnTo>
                  <a:lnTo>
                    <a:pt x="242" y="204"/>
                  </a:lnTo>
                  <a:lnTo>
                    <a:pt x="244" y="202"/>
                  </a:lnTo>
                  <a:lnTo>
                    <a:pt x="244" y="201"/>
                  </a:lnTo>
                  <a:lnTo>
                    <a:pt x="242" y="201"/>
                  </a:lnTo>
                  <a:lnTo>
                    <a:pt x="242" y="200"/>
                  </a:lnTo>
                  <a:lnTo>
                    <a:pt x="241" y="199"/>
                  </a:lnTo>
                  <a:lnTo>
                    <a:pt x="240" y="199"/>
                  </a:lnTo>
                  <a:lnTo>
                    <a:pt x="240" y="198"/>
                  </a:lnTo>
                  <a:lnTo>
                    <a:pt x="239" y="196"/>
                  </a:lnTo>
                  <a:lnTo>
                    <a:pt x="240" y="196"/>
                  </a:lnTo>
                  <a:lnTo>
                    <a:pt x="241" y="195"/>
                  </a:lnTo>
                  <a:lnTo>
                    <a:pt x="241" y="194"/>
                  </a:lnTo>
                  <a:lnTo>
                    <a:pt x="239" y="194"/>
                  </a:lnTo>
                  <a:lnTo>
                    <a:pt x="238" y="193"/>
                  </a:lnTo>
                  <a:lnTo>
                    <a:pt x="238" y="192"/>
                  </a:lnTo>
                  <a:lnTo>
                    <a:pt x="236" y="190"/>
                  </a:lnTo>
                  <a:lnTo>
                    <a:pt x="235" y="189"/>
                  </a:lnTo>
                  <a:lnTo>
                    <a:pt x="235" y="188"/>
                  </a:lnTo>
                  <a:lnTo>
                    <a:pt x="236" y="189"/>
                  </a:lnTo>
                  <a:lnTo>
                    <a:pt x="238" y="190"/>
                  </a:lnTo>
                  <a:lnTo>
                    <a:pt x="240" y="192"/>
                  </a:lnTo>
                  <a:lnTo>
                    <a:pt x="241" y="193"/>
                  </a:lnTo>
                  <a:lnTo>
                    <a:pt x="242" y="193"/>
                  </a:lnTo>
                  <a:lnTo>
                    <a:pt x="244" y="190"/>
                  </a:lnTo>
                  <a:lnTo>
                    <a:pt x="244" y="193"/>
                  </a:lnTo>
                  <a:lnTo>
                    <a:pt x="245" y="194"/>
                  </a:lnTo>
                  <a:lnTo>
                    <a:pt x="246" y="194"/>
                  </a:lnTo>
                  <a:lnTo>
                    <a:pt x="246" y="193"/>
                  </a:lnTo>
                  <a:lnTo>
                    <a:pt x="247" y="193"/>
                  </a:lnTo>
                  <a:lnTo>
                    <a:pt x="248" y="194"/>
                  </a:lnTo>
                  <a:lnTo>
                    <a:pt x="251" y="194"/>
                  </a:lnTo>
                  <a:lnTo>
                    <a:pt x="253" y="194"/>
                  </a:lnTo>
                  <a:lnTo>
                    <a:pt x="253" y="193"/>
                  </a:lnTo>
                  <a:lnTo>
                    <a:pt x="254" y="193"/>
                  </a:lnTo>
                  <a:lnTo>
                    <a:pt x="254" y="192"/>
                  </a:lnTo>
                  <a:lnTo>
                    <a:pt x="256" y="190"/>
                  </a:lnTo>
                  <a:lnTo>
                    <a:pt x="258" y="190"/>
                  </a:lnTo>
                  <a:lnTo>
                    <a:pt x="258" y="189"/>
                  </a:lnTo>
                  <a:lnTo>
                    <a:pt x="259" y="189"/>
                  </a:lnTo>
                  <a:lnTo>
                    <a:pt x="260" y="189"/>
                  </a:lnTo>
                  <a:lnTo>
                    <a:pt x="260" y="188"/>
                  </a:lnTo>
                  <a:lnTo>
                    <a:pt x="263" y="188"/>
                  </a:lnTo>
                  <a:lnTo>
                    <a:pt x="264" y="188"/>
                  </a:lnTo>
                  <a:lnTo>
                    <a:pt x="265" y="187"/>
                  </a:lnTo>
                  <a:lnTo>
                    <a:pt x="265" y="186"/>
                  </a:lnTo>
                  <a:lnTo>
                    <a:pt x="266" y="186"/>
                  </a:lnTo>
                  <a:lnTo>
                    <a:pt x="268" y="187"/>
                  </a:lnTo>
                  <a:lnTo>
                    <a:pt x="269" y="187"/>
                  </a:lnTo>
                  <a:lnTo>
                    <a:pt x="269" y="186"/>
                  </a:lnTo>
                  <a:lnTo>
                    <a:pt x="268" y="184"/>
                  </a:lnTo>
                  <a:lnTo>
                    <a:pt x="268" y="183"/>
                  </a:lnTo>
                  <a:lnTo>
                    <a:pt x="269" y="182"/>
                  </a:lnTo>
                  <a:lnTo>
                    <a:pt x="271" y="183"/>
                  </a:lnTo>
                  <a:lnTo>
                    <a:pt x="272" y="182"/>
                  </a:lnTo>
                  <a:lnTo>
                    <a:pt x="274" y="181"/>
                  </a:lnTo>
                  <a:lnTo>
                    <a:pt x="275" y="181"/>
                  </a:lnTo>
                  <a:lnTo>
                    <a:pt x="276" y="181"/>
                  </a:lnTo>
                  <a:lnTo>
                    <a:pt x="277" y="181"/>
                  </a:lnTo>
                  <a:lnTo>
                    <a:pt x="277" y="180"/>
                  </a:lnTo>
                  <a:lnTo>
                    <a:pt x="277" y="178"/>
                  </a:lnTo>
                  <a:lnTo>
                    <a:pt x="277" y="177"/>
                  </a:lnTo>
                  <a:lnTo>
                    <a:pt x="277" y="176"/>
                  </a:lnTo>
                  <a:lnTo>
                    <a:pt x="275" y="176"/>
                  </a:lnTo>
                  <a:lnTo>
                    <a:pt x="272" y="176"/>
                  </a:lnTo>
                  <a:lnTo>
                    <a:pt x="271" y="176"/>
                  </a:lnTo>
                  <a:lnTo>
                    <a:pt x="269" y="177"/>
                  </a:lnTo>
                  <a:lnTo>
                    <a:pt x="269" y="176"/>
                  </a:lnTo>
                  <a:lnTo>
                    <a:pt x="268" y="177"/>
                  </a:lnTo>
                  <a:lnTo>
                    <a:pt x="266" y="177"/>
                  </a:lnTo>
                  <a:lnTo>
                    <a:pt x="266" y="176"/>
                  </a:lnTo>
                  <a:lnTo>
                    <a:pt x="268" y="175"/>
                  </a:lnTo>
                  <a:lnTo>
                    <a:pt x="269" y="173"/>
                  </a:lnTo>
                  <a:lnTo>
                    <a:pt x="269" y="172"/>
                  </a:lnTo>
                  <a:lnTo>
                    <a:pt x="268" y="172"/>
                  </a:lnTo>
                  <a:lnTo>
                    <a:pt x="265" y="173"/>
                  </a:lnTo>
                  <a:lnTo>
                    <a:pt x="264" y="172"/>
                  </a:lnTo>
                  <a:lnTo>
                    <a:pt x="265" y="172"/>
                  </a:lnTo>
                  <a:lnTo>
                    <a:pt x="268" y="171"/>
                  </a:lnTo>
                  <a:lnTo>
                    <a:pt x="266" y="171"/>
                  </a:lnTo>
                  <a:lnTo>
                    <a:pt x="268" y="171"/>
                  </a:lnTo>
                  <a:lnTo>
                    <a:pt x="269" y="170"/>
                  </a:lnTo>
                  <a:lnTo>
                    <a:pt x="270" y="169"/>
                  </a:lnTo>
                  <a:lnTo>
                    <a:pt x="270" y="167"/>
                  </a:lnTo>
                  <a:lnTo>
                    <a:pt x="271" y="166"/>
                  </a:lnTo>
                  <a:lnTo>
                    <a:pt x="271" y="167"/>
                  </a:lnTo>
                  <a:lnTo>
                    <a:pt x="271" y="169"/>
                  </a:lnTo>
                  <a:lnTo>
                    <a:pt x="274" y="169"/>
                  </a:lnTo>
                  <a:lnTo>
                    <a:pt x="275" y="169"/>
                  </a:lnTo>
                  <a:lnTo>
                    <a:pt x="276" y="167"/>
                  </a:lnTo>
                  <a:lnTo>
                    <a:pt x="276" y="166"/>
                  </a:lnTo>
                  <a:lnTo>
                    <a:pt x="275" y="166"/>
                  </a:lnTo>
                  <a:lnTo>
                    <a:pt x="274" y="166"/>
                  </a:lnTo>
                  <a:lnTo>
                    <a:pt x="272" y="166"/>
                  </a:lnTo>
                  <a:lnTo>
                    <a:pt x="272" y="165"/>
                  </a:lnTo>
                  <a:lnTo>
                    <a:pt x="272" y="164"/>
                  </a:lnTo>
                  <a:lnTo>
                    <a:pt x="274" y="164"/>
                  </a:lnTo>
                  <a:lnTo>
                    <a:pt x="274" y="163"/>
                  </a:lnTo>
                  <a:lnTo>
                    <a:pt x="274" y="161"/>
                  </a:lnTo>
                  <a:lnTo>
                    <a:pt x="274" y="163"/>
                  </a:lnTo>
                  <a:lnTo>
                    <a:pt x="275" y="164"/>
                  </a:lnTo>
                  <a:lnTo>
                    <a:pt x="276" y="164"/>
                  </a:lnTo>
                  <a:lnTo>
                    <a:pt x="277" y="165"/>
                  </a:lnTo>
                  <a:lnTo>
                    <a:pt x="280" y="165"/>
                  </a:lnTo>
                  <a:lnTo>
                    <a:pt x="281" y="165"/>
                  </a:lnTo>
                  <a:lnTo>
                    <a:pt x="282" y="164"/>
                  </a:lnTo>
                  <a:lnTo>
                    <a:pt x="282" y="163"/>
                  </a:lnTo>
                  <a:lnTo>
                    <a:pt x="282" y="161"/>
                  </a:lnTo>
                  <a:lnTo>
                    <a:pt x="280" y="163"/>
                  </a:lnTo>
                  <a:lnTo>
                    <a:pt x="279" y="161"/>
                  </a:lnTo>
                  <a:lnTo>
                    <a:pt x="277" y="161"/>
                  </a:lnTo>
                  <a:lnTo>
                    <a:pt x="276" y="160"/>
                  </a:lnTo>
                  <a:lnTo>
                    <a:pt x="276" y="161"/>
                  </a:lnTo>
                  <a:lnTo>
                    <a:pt x="275" y="160"/>
                  </a:lnTo>
                  <a:lnTo>
                    <a:pt x="275" y="159"/>
                  </a:lnTo>
                  <a:lnTo>
                    <a:pt x="274" y="158"/>
                  </a:lnTo>
                  <a:lnTo>
                    <a:pt x="275" y="157"/>
                  </a:lnTo>
                  <a:lnTo>
                    <a:pt x="276" y="157"/>
                  </a:lnTo>
                  <a:lnTo>
                    <a:pt x="277" y="158"/>
                  </a:lnTo>
                  <a:lnTo>
                    <a:pt x="277" y="159"/>
                  </a:lnTo>
                  <a:lnTo>
                    <a:pt x="279" y="160"/>
                  </a:lnTo>
                  <a:lnTo>
                    <a:pt x="280" y="160"/>
                  </a:lnTo>
                  <a:lnTo>
                    <a:pt x="281" y="160"/>
                  </a:lnTo>
                  <a:lnTo>
                    <a:pt x="281" y="159"/>
                  </a:lnTo>
                  <a:lnTo>
                    <a:pt x="282" y="159"/>
                  </a:lnTo>
                  <a:lnTo>
                    <a:pt x="282" y="160"/>
                  </a:lnTo>
                  <a:lnTo>
                    <a:pt x="285" y="160"/>
                  </a:lnTo>
                  <a:lnTo>
                    <a:pt x="285" y="159"/>
                  </a:lnTo>
                  <a:lnTo>
                    <a:pt x="285" y="158"/>
                  </a:lnTo>
                  <a:lnTo>
                    <a:pt x="283" y="158"/>
                  </a:lnTo>
                  <a:lnTo>
                    <a:pt x="282" y="158"/>
                  </a:lnTo>
                  <a:lnTo>
                    <a:pt x="280" y="157"/>
                  </a:lnTo>
                  <a:lnTo>
                    <a:pt x="281" y="155"/>
                  </a:lnTo>
                  <a:lnTo>
                    <a:pt x="282" y="155"/>
                  </a:lnTo>
                  <a:lnTo>
                    <a:pt x="283" y="157"/>
                  </a:lnTo>
                  <a:lnTo>
                    <a:pt x="285" y="158"/>
                  </a:lnTo>
                  <a:lnTo>
                    <a:pt x="286" y="159"/>
                  </a:lnTo>
                  <a:lnTo>
                    <a:pt x="286" y="160"/>
                  </a:lnTo>
                  <a:lnTo>
                    <a:pt x="288" y="159"/>
                  </a:lnTo>
                  <a:lnTo>
                    <a:pt x="289" y="159"/>
                  </a:lnTo>
                  <a:lnTo>
                    <a:pt x="289" y="158"/>
                  </a:lnTo>
                  <a:lnTo>
                    <a:pt x="289" y="157"/>
                  </a:lnTo>
                  <a:lnTo>
                    <a:pt x="287" y="157"/>
                  </a:lnTo>
                  <a:lnTo>
                    <a:pt x="286" y="158"/>
                  </a:lnTo>
                  <a:lnTo>
                    <a:pt x="285" y="158"/>
                  </a:lnTo>
                  <a:lnTo>
                    <a:pt x="285" y="157"/>
                  </a:lnTo>
                  <a:lnTo>
                    <a:pt x="286" y="155"/>
                  </a:lnTo>
                  <a:lnTo>
                    <a:pt x="288" y="154"/>
                  </a:lnTo>
                  <a:lnTo>
                    <a:pt x="288" y="153"/>
                  </a:lnTo>
                  <a:lnTo>
                    <a:pt x="289" y="152"/>
                  </a:lnTo>
                  <a:lnTo>
                    <a:pt x="291" y="153"/>
                  </a:lnTo>
                  <a:lnTo>
                    <a:pt x="292" y="152"/>
                  </a:lnTo>
                  <a:lnTo>
                    <a:pt x="293" y="152"/>
                  </a:lnTo>
                  <a:lnTo>
                    <a:pt x="292" y="149"/>
                  </a:lnTo>
                  <a:lnTo>
                    <a:pt x="293" y="148"/>
                  </a:lnTo>
                  <a:lnTo>
                    <a:pt x="294" y="148"/>
                  </a:lnTo>
                  <a:lnTo>
                    <a:pt x="295" y="147"/>
                  </a:lnTo>
                  <a:lnTo>
                    <a:pt x="295" y="146"/>
                  </a:lnTo>
                  <a:lnTo>
                    <a:pt x="297" y="145"/>
                  </a:lnTo>
                  <a:lnTo>
                    <a:pt x="297" y="143"/>
                  </a:lnTo>
                  <a:lnTo>
                    <a:pt x="295" y="142"/>
                  </a:lnTo>
                  <a:lnTo>
                    <a:pt x="294" y="143"/>
                  </a:lnTo>
                  <a:lnTo>
                    <a:pt x="293" y="145"/>
                  </a:lnTo>
                  <a:lnTo>
                    <a:pt x="293" y="146"/>
                  </a:lnTo>
                  <a:lnTo>
                    <a:pt x="292" y="146"/>
                  </a:lnTo>
                  <a:lnTo>
                    <a:pt x="292" y="145"/>
                  </a:lnTo>
                  <a:lnTo>
                    <a:pt x="292" y="143"/>
                  </a:lnTo>
                  <a:lnTo>
                    <a:pt x="291" y="143"/>
                  </a:lnTo>
                  <a:lnTo>
                    <a:pt x="289" y="142"/>
                  </a:lnTo>
                  <a:lnTo>
                    <a:pt x="288" y="142"/>
                  </a:lnTo>
                  <a:lnTo>
                    <a:pt x="288" y="141"/>
                  </a:lnTo>
                  <a:lnTo>
                    <a:pt x="288" y="140"/>
                  </a:lnTo>
                  <a:lnTo>
                    <a:pt x="287" y="140"/>
                  </a:lnTo>
                  <a:lnTo>
                    <a:pt x="286" y="141"/>
                  </a:lnTo>
                  <a:lnTo>
                    <a:pt x="285" y="142"/>
                  </a:lnTo>
                  <a:lnTo>
                    <a:pt x="282" y="142"/>
                  </a:lnTo>
                  <a:lnTo>
                    <a:pt x="281" y="142"/>
                  </a:lnTo>
                  <a:lnTo>
                    <a:pt x="281" y="141"/>
                  </a:lnTo>
                  <a:lnTo>
                    <a:pt x="280" y="142"/>
                  </a:lnTo>
                  <a:lnTo>
                    <a:pt x="279" y="142"/>
                  </a:lnTo>
                  <a:lnTo>
                    <a:pt x="277" y="142"/>
                  </a:lnTo>
                  <a:lnTo>
                    <a:pt x="276" y="141"/>
                  </a:lnTo>
                  <a:lnTo>
                    <a:pt x="275" y="140"/>
                  </a:lnTo>
                  <a:lnTo>
                    <a:pt x="275" y="142"/>
                  </a:lnTo>
                  <a:lnTo>
                    <a:pt x="274" y="142"/>
                  </a:lnTo>
                  <a:lnTo>
                    <a:pt x="272" y="142"/>
                  </a:lnTo>
                  <a:lnTo>
                    <a:pt x="270" y="142"/>
                  </a:lnTo>
                  <a:lnTo>
                    <a:pt x="269" y="141"/>
                  </a:lnTo>
                  <a:lnTo>
                    <a:pt x="268" y="141"/>
                  </a:lnTo>
                  <a:lnTo>
                    <a:pt x="268" y="140"/>
                  </a:lnTo>
                  <a:lnTo>
                    <a:pt x="269" y="139"/>
                  </a:lnTo>
                  <a:lnTo>
                    <a:pt x="268" y="139"/>
                  </a:lnTo>
                  <a:lnTo>
                    <a:pt x="266" y="139"/>
                  </a:lnTo>
                  <a:lnTo>
                    <a:pt x="265" y="139"/>
                  </a:lnTo>
                  <a:lnTo>
                    <a:pt x="264" y="139"/>
                  </a:lnTo>
                  <a:lnTo>
                    <a:pt x="263" y="139"/>
                  </a:lnTo>
                  <a:lnTo>
                    <a:pt x="262" y="139"/>
                  </a:lnTo>
                  <a:lnTo>
                    <a:pt x="262" y="137"/>
                  </a:lnTo>
                  <a:lnTo>
                    <a:pt x="260" y="136"/>
                  </a:lnTo>
                  <a:lnTo>
                    <a:pt x="259" y="136"/>
                  </a:lnTo>
                  <a:lnTo>
                    <a:pt x="259" y="137"/>
                  </a:lnTo>
                  <a:lnTo>
                    <a:pt x="258" y="137"/>
                  </a:lnTo>
                  <a:lnTo>
                    <a:pt x="257" y="137"/>
                  </a:lnTo>
                  <a:lnTo>
                    <a:pt x="257" y="139"/>
                  </a:lnTo>
                  <a:lnTo>
                    <a:pt x="256" y="137"/>
                  </a:lnTo>
                  <a:lnTo>
                    <a:pt x="256" y="136"/>
                  </a:lnTo>
                  <a:lnTo>
                    <a:pt x="257" y="135"/>
                  </a:lnTo>
                  <a:lnTo>
                    <a:pt x="256" y="135"/>
                  </a:lnTo>
                  <a:lnTo>
                    <a:pt x="254" y="135"/>
                  </a:lnTo>
                  <a:lnTo>
                    <a:pt x="253" y="135"/>
                  </a:lnTo>
                  <a:lnTo>
                    <a:pt x="253" y="134"/>
                  </a:lnTo>
                  <a:lnTo>
                    <a:pt x="254" y="133"/>
                  </a:lnTo>
                  <a:lnTo>
                    <a:pt x="256" y="134"/>
                  </a:lnTo>
                  <a:lnTo>
                    <a:pt x="257" y="134"/>
                  </a:lnTo>
                  <a:lnTo>
                    <a:pt x="259" y="133"/>
                  </a:lnTo>
                  <a:lnTo>
                    <a:pt x="258" y="131"/>
                  </a:lnTo>
                  <a:lnTo>
                    <a:pt x="257" y="131"/>
                  </a:lnTo>
                  <a:lnTo>
                    <a:pt x="258" y="131"/>
                  </a:lnTo>
                  <a:lnTo>
                    <a:pt x="259" y="131"/>
                  </a:lnTo>
                  <a:lnTo>
                    <a:pt x="259" y="130"/>
                  </a:lnTo>
                  <a:lnTo>
                    <a:pt x="262" y="130"/>
                  </a:lnTo>
                  <a:lnTo>
                    <a:pt x="262" y="131"/>
                  </a:lnTo>
                  <a:lnTo>
                    <a:pt x="263" y="131"/>
                  </a:lnTo>
                  <a:lnTo>
                    <a:pt x="265" y="131"/>
                  </a:lnTo>
                  <a:lnTo>
                    <a:pt x="265" y="130"/>
                  </a:lnTo>
                  <a:lnTo>
                    <a:pt x="265" y="129"/>
                  </a:lnTo>
                  <a:lnTo>
                    <a:pt x="266" y="129"/>
                  </a:lnTo>
                  <a:lnTo>
                    <a:pt x="268" y="129"/>
                  </a:lnTo>
                  <a:lnTo>
                    <a:pt x="269" y="128"/>
                  </a:lnTo>
                  <a:lnTo>
                    <a:pt x="270" y="127"/>
                  </a:lnTo>
                  <a:lnTo>
                    <a:pt x="270" y="125"/>
                  </a:lnTo>
                  <a:lnTo>
                    <a:pt x="269" y="125"/>
                  </a:lnTo>
                  <a:lnTo>
                    <a:pt x="269" y="124"/>
                  </a:lnTo>
                  <a:lnTo>
                    <a:pt x="268" y="125"/>
                  </a:lnTo>
                  <a:lnTo>
                    <a:pt x="266" y="125"/>
                  </a:lnTo>
                  <a:lnTo>
                    <a:pt x="264" y="127"/>
                  </a:lnTo>
                  <a:lnTo>
                    <a:pt x="264" y="125"/>
                  </a:lnTo>
                  <a:lnTo>
                    <a:pt x="263" y="125"/>
                  </a:lnTo>
                  <a:lnTo>
                    <a:pt x="262" y="127"/>
                  </a:lnTo>
                  <a:lnTo>
                    <a:pt x="260" y="125"/>
                  </a:lnTo>
                  <a:lnTo>
                    <a:pt x="259" y="124"/>
                  </a:lnTo>
                  <a:lnTo>
                    <a:pt x="258" y="125"/>
                  </a:lnTo>
                  <a:lnTo>
                    <a:pt x="257" y="124"/>
                  </a:lnTo>
                  <a:lnTo>
                    <a:pt x="259" y="124"/>
                  </a:lnTo>
                  <a:lnTo>
                    <a:pt x="259" y="123"/>
                  </a:lnTo>
                  <a:lnTo>
                    <a:pt x="258" y="122"/>
                  </a:lnTo>
                  <a:lnTo>
                    <a:pt x="257" y="122"/>
                  </a:lnTo>
                  <a:lnTo>
                    <a:pt x="257" y="121"/>
                  </a:lnTo>
                  <a:lnTo>
                    <a:pt x="259" y="119"/>
                  </a:lnTo>
                  <a:lnTo>
                    <a:pt x="260" y="118"/>
                  </a:lnTo>
                  <a:lnTo>
                    <a:pt x="260" y="116"/>
                  </a:lnTo>
                  <a:lnTo>
                    <a:pt x="259" y="116"/>
                  </a:lnTo>
                  <a:lnTo>
                    <a:pt x="259" y="115"/>
                  </a:lnTo>
                  <a:lnTo>
                    <a:pt x="259" y="113"/>
                  </a:lnTo>
                  <a:lnTo>
                    <a:pt x="260" y="113"/>
                  </a:lnTo>
                  <a:lnTo>
                    <a:pt x="263" y="112"/>
                  </a:lnTo>
                  <a:lnTo>
                    <a:pt x="264" y="112"/>
                  </a:lnTo>
                  <a:lnTo>
                    <a:pt x="265" y="111"/>
                  </a:lnTo>
                  <a:lnTo>
                    <a:pt x="266" y="110"/>
                  </a:lnTo>
                  <a:lnTo>
                    <a:pt x="265" y="109"/>
                  </a:lnTo>
                  <a:lnTo>
                    <a:pt x="265" y="107"/>
                  </a:lnTo>
                  <a:lnTo>
                    <a:pt x="264" y="106"/>
                  </a:lnTo>
                  <a:lnTo>
                    <a:pt x="263" y="107"/>
                  </a:lnTo>
                  <a:lnTo>
                    <a:pt x="263" y="109"/>
                  </a:lnTo>
                  <a:lnTo>
                    <a:pt x="262" y="109"/>
                  </a:lnTo>
                  <a:lnTo>
                    <a:pt x="260" y="109"/>
                  </a:lnTo>
                  <a:lnTo>
                    <a:pt x="259" y="109"/>
                  </a:lnTo>
                  <a:lnTo>
                    <a:pt x="259" y="107"/>
                  </a:lnTo>
                  <a:lnTo>
                    <a:pt x="259" y="106"/>
                  </a:lnTo>
                  <a:lnTo>
                    <a:pt x="259" y="105"/>
                  </a:lnTo>
                  <a:lnTo>
                    <a:pt x="259" y="106"/>
                  </a:lnTo>
                  <a:lnTo>
                    <a:pt x="258" y="106"/>
                  </a:lnTo>
                  <a:lnTo>
                    <a:pt x="257" y="106"/>
                  </a:lnTo>
                  <a:lnTo>
                    <a:pt x="256" y="106"/>
                  </a:lnTo>
                  <a:lnTo>
                    <a:pt x="254" y="106"/>
                  </a:lnTo>
                  <a:lnTo>
                    <a:pt x="254" y="105"/>
                  </a:lnTo>
                  <a:lnTo>
                    <a:pt x="253" y="104"/>
                  </a:lnTo>
                  <a:lnTo>
                    <a:pt x="252" y="104"/>
                  </a:lnTo>
                  <a:lnTo>
                    <a:pt x="252" y="105"/>
                  </a:lnTo>
                  <a:lnTo>
                    <a:pt x="251" y="105"/>
                  </a:lnTo>
                  <a:lnTo>
                    <a:pt x="251" y="104"/>
                  </a:lnTo>
                  <a:lnTo>
                    <a:pt x="250" y="104"/>
                  </a:lnTo>
                  <a:lnTo>
                    <a:pt x="248" y="105"/>
                  </a:lnTo>
                  <a:lnTo>
                    <a:pt x="248" y="104"/>
                  </a:lnTo>
                  <a:lnTo>
                    <a:pt x="250" y="103"/>
                  </a:lnTo>
                  <a:lnTo>
                    <a:pt x="248" y="103"/>
                  </a:lnTo>
                  <a:lnTo>
                    <a:pt x="247" y="103"/>
                  </a:lnTo>
                  <a:lnTo>
                    <a:pt x="246" y="103"/>
                  </a:lnTo>
                  <a:lnTo>
                    <a:pt x="245" y="101"/>
                  </a:lnTo>
                  <a:lnTo>
                    <a:pt x="246" y="101"/>
                  </a:lnTo>
                  <a:lnTo>
                    <a:pt x="247" y="101"/>
                  </a:lnTo>
                  <a:lnTo>
                    <a:pt x="246" y="100"/>
                  </a:lnTo>
                  <a:lnTo>
                    <a:pt x="246" y="98"/>
                  </a:lnTo>
                  <a:lnTo>
                    <a:pt x="247" y="98"/>
                  </a:lnTo>
                  <a:lnTo>
                    <a:pt x="247" y="100"/>
                  </a:lnTo>
                  <a:lnTo>
                    <a:pt x="248" y="100"/>
                  </a:lnTo>
                  <a:lnTo>
                    <a:pt x="248" y="101"/>
                  </a:lnTo>
                  <a:lnTo>
                    <a:pt x="250" y="101"/>
                  </a:lnTo>
                  <a:lnTo>
                    <a:pt x="250" y="99"/>
                  </a:lnTo>
                  <a:lnTo>
                    <a:pt x="250" y="98"/>
                  </a:lnTo>
                  <a:lnTo>
                    <a:pt x="251" y="100"/>
                  </a:lnTo>
                  <a:lnTo>
                    <a:pt x="252" y="100"/>
                  </a:lnTo>
                  <a:lnTo>
                    <a:pt x="252" y="101"/>
                  </a:lnTo>
                  <a:lnTo>
                    <a:pt x="252" y="103"/>
                  </a:lnTo>
                  <a:lnTo>
                    <a:pt x="254" y="103"/>
                  </a:lnTo>
                  <a:lnTo>
                    <a:pt x="256" y="103"/>
                  </a:lnTo>
                  <a:lnTo>
                    <a:pt x="256" y="101"/>
                  </a:lnTo>
                  <a:lnTo>
                    <a:pt x="254" y="101"/>
                  </a:lnTo>
                  <a:lnTo>
                    <a:pt x="254" y="100"/>
                  </a:lnTo>
                  <a:lnTo>
                    <a:pt x="254" y="99"/>
                  </a:lnTo>
                  <a:lnTo>
                    <a:pt x="253" y="99"/>
                  </a:lnTo>
                  <a:lnTo>
                    <a:pt x="253" y="98"/>
                  </a:lnTo>
                  <a:lnTo>
                    <a:pt x="252" y="98"/>
                  </a:lnTo>
                  <a:lnTo>
                    <a:pt x="252" y="97"/>
                  </a:lnTo>
                  <a:lnTo>
                    <a:pt x="251" y="97"/>
                  </a:lnTo>
                  <a:lnTo>
                    <a:pt x="251" y="95"/>
                  </a:lnTo>
                  <a:lnTo>
                    <a:pt x="252" y="94"/>
                  </a:lnTo>
                  <a:lnTo>
                    <a:pt x="252" y="95"/>
                  </a:lnTo>
                  <a:lnTo>
                    <a:pt x="253" y="97"/>
                  </a:lnTo>
                  <a:lnTo>
                    <a:pt x="256" y="97"/>
                  </a:lnTo>
                  <a:lnTo>
                    <a:pt x="254" y="95"/>
                  </a:lnTo>
                  <a:lnTo>
                    <a:pt x="256" y="95"/>
                  </a:lnTo>
                  <a:lnTo>
                    <a:pt x="256" y="97"/>
                  </a:lnTo>
                  <a:lnTo>
                    <a:pt x="256" y="98"/>
                  </a:lnTo>
                  <a:lnTo>
                    <a:pt x="257" y="98"/>
                  </a:lnTo>
                  <a:lnTo>
                    <a:pt x="258" y="98"/>
                  </a:lnTo>
                  <a:lnTo>
                    <a:pt x="259" y="97"/>
                  </a:lnTo>
                  <a:lnTo>
                    <a:pt x="260" y="97"/>
                  </a:lnTo>
                  <a:lnTo>
                    <a:pt x="262" y="97"/>
                  </a:lnTo>
                  <a:lnTo>
                    <a:pt x="263" y="95"/>
                  </a:lnTo>
                  <a:lnTo>
                    <a:pt x="264" y="95"/>
                  </a:lnTo>
                  <a:lnTo>
                    <a:pt x="264" y="98"/>
                  </a:lnTo>
                  <a:lnTo>
                    <a:pt x="266" y="99"/>
                  </a:lnTo>
                  <a:lnTo>
                    <a:pt x="268" y="98"/>
                  </a:lnTo>
                  <a:lnTo>
                    <a:pt x="270" y="97"/>
                  </a:lnTo>
                  <a:lnTo>
                    <a:pt x="271" y="95"/>
                  </a:lnTo>
                  <a:lnTo>
                    <a:pt x="271" y="94"/>
                  </a:lnTo>
                  <a:lnTo>
                    <a:pt x="270" y="94"/>
                  </a:lnTo>
                  <a:lnTo>
                    <a:pt x="271" y="93"/>
                  </a:lnTo>
                  <a:lnTo>
                    <a:pt x="271" y="92"/>
                  </a:lnTo>
                  <a:lnTo>
                    <a:pt x="272" y="92"/>
                  </a:lnTo>
                  <a:lnTo>
                    <a:pt x="274" y="91"/>
                  </a:lnTo>
                  <a:lnTo>
                    <a:pt x="276" y="91"/>
                  </a:lnTo>
                  <a:lnTo>
                    <a:pt x="277" y="89"/>
                  </a:lnTo>
                  <a:lnTo>
                    <a:pt x="277" y="88"/>
                  </a:lnTo>
                  <a:lnTo>
                    <a:pt x="279" y="87"/>
                  </a:lnTo>
                  <a:lnTo>
                    <a:pt x="280" y="86"/>
                  </a:lnTo>
                  <a:lnTo>
                    <a:pt x="281" y="85"/>
                  </a:lnTo>
                  <a:lnTo>
                    <a:pt x="280" y="83"/>
                  </a:lnTo>
                  <a:lnTo>
                    <a:pt x="277" y="83"/>
                  </a:lnTo>
                  <a:lnTo>
                    <a:pt x="276" y="85"/>
                  </a:lnTo>
                  <a:lnTo>
                    <a:pt x="275" y="83"/>
                  </a:lnTo>
                  <a:lnTo>
                    <a:pt x="274" y="85"/>
                  </a:lnTo>
                  <a:lnTo>
                    <a:pt x="271" y="85"/>
                  </a:lnTo>
                  <a:lnTo>
                    <a:pt x="274" y="83"/>
                  </a:lnTo>
                  <a:lnTo>
                    <a:pt x="274" y="82"/>
                  </a:lnTo>
                  <a:lnTo>
                    <a:pt x="272" y="81"/>
                  </a:lnTo>
                  <a:lnTo>
                    <a:pt x="274" y="80"/>
                  </a:lnTo>
                  <a:lnTo>
                    <a:pt x="275" y="80"/>
                  </a:lnTo>
                  <a:lnTo>
                    <a:pt x="275" y="77"/>
                  </a:lnTo>
                  <a:lnTo>
                    <a:pt x="274" y="77"/>
                  </a:lnTo>
                  <a:lnTo>
                    <a:pt x="272" y="77"/>
                  </a:lnTo>
                  <a:lnTo>
                    <a:pt x="272" y="79"/>
                  </a:lnTo>
                  <a:lnTo>
                    <a:pt x="271" y="79"/>
                  </a:lnTo>
                  <a:lnTo>
                    <a:pt x="270" y="79"/>
                  </a:lnTo>
                  <a:lnTo>
                    <a:pt x="269" y="80"/>
                  </a:lnTo>
                  <a:lnTo>
                    <a:pt x="269" y="79"/>
                  </a:lnTo>
                  <a:lnTo>
                    <a:pt x="270" y="77"/>
                  </a:lnTo>
                  <a:lnTo>
                    <a:pt x="271" y="77"/>
                  </a:lnTo>
                  <a:lnTo>
                    <a:pt x="271" y="76"/>
                  </a:lnTo>
                  <a:lnTo>
                    <a:pt x="272" y="76"/>
                  </a:lnTo>
                  <a:lnTo>
                    <a:pt x="274" y="75"/>
                  </a:lnTo>
                  <a:lnTo>
                    <a:pt x="272" y="74"/>
                  </a:lnTo>
                  <a:lnTo>
                    <a:pt x="270" y="74"/>
                  </a:lnTo>
                  <a:lnTo>
                    <a:pt x="269" y="75"/>
                  </a:lnTo>
                  <a:lnTo>
                    <a:pt x="269" y="74"/>
                  </a:lnTo>
                  <a:lnTo>
                    <a:pt x="272" y="73"/>
                  </a:lnTo>
                  <a:lnTo>
                    <a:pt x="274" y="71"/>
                  </a:lnTo>
                  <a:lnTo>
                    <a:pt x="275" y="71"/>
                  </a:lnTo>
                  <a:lnTo>
                    <a:pt x="275" y="70"/>
                  </a:lnTo>
                  <a:lnTo>
                    <a:pt x="276" y="69"/>
                  </a:lnTo>
                  <a:lnTo>
                    <a:pt x="275" y="68"/>
                  </a:lnTo>
                  <a:lnTo>
                    <a:pt x="274" y="68"/>
                  </a:lnTo>
                  <a:lnTo>
                    <a:pt x="274" y="69"/>
                  </a:lnTo>
                  <a:lnTo>
                    <a:pt x="272" y="69"/>
                  </a:lnTo>
                  <a:lnTo>
                    <a:pt x="271" y="69"/>
                  </a:lnTo>
                  <a:lnTo>
                    <a:pt x="270" y="70"/>
                  </a:lnTo>
                  <a:lnTo>
                    <a:pt x="269" y="70"/>
                  </a:lnTo>
                  <a:lnTo>
                    <a:pt x="266" y="70"/>
                  </a:lnTo>
                  <a:lnTo>
                    <a:pt x="266" y="71"/>
                  </a:lnTo>
                  <a:lnTo>
                    <a:pt x="265" y="71"/>
                  </a:lnTo>
                  <a:lnTo>
                    <a:pt x="265" y="70"/>
                  </a:lnTo>
                  <a:lnTo>
                    <a:pt x="266" y="70"/>
                  </a:lnTo>
                  <a:lnTo>
                    <a:pt x="266" y="69"/>
                  </a:lnTo>
                  <a:lnTo>
                    <a:pt x="269" y="69"/>
                  </a:lnTo>
                  <a:lnTo>
                    <a:pt x="270" y="69"/>
                  </a:lnTo>
                  <a:lnTo>
                    <a:pt x="271" y="68"/>
                  </a:lnTo>
                  <a:lnTo>
                    <a:pt x="271" y="65"/>
                  </a:lnTo>
                  <a:lnTo>
                    <a:pt x="272" y="64"/>
                  </a:lnTo>
                  <a:lnTo>
                    <a:pt x="272" y="63"/>
                  </a:lnTo>
                  <a:lnTo>
                    <a:pt x="272" y="62"/>
                  </a:lnTo>
                  <a:lnTo>
                    <a:pt x="271" y="60"/>
                  </a:lnTo>
                  <a:lnTo>
                    <a:pt x="270" y="60"/>
                  </a:lnTo>
                  <a:lnTo>
                    <a:pt x="269" y="60"/>
                  </a:lnTo>
                  <a:lnTo>
                    <a:pt x="269" y="62"/>
                  </a:lnTo>
                  <a:lnTo>
                    <a:pt x="270" y="63"/>
                  </a:lnTo>
                  <a:lnTo>
                    <a:pt x="269" y="64"/>
                  </a:lnTo>
                  <a:lnTo>
                    <a:pt x="268" y="65"/>
                  </a:lnTo>
                  <a:lnTo>
                    <a:pt x="266" y="65"/>
                  </a:lnTo>
                  <a:lnTo>
                    <a:pt x="265" y="64"/>
                  </a:lnTo>
                  <a:lnTo>
                    <a:pt x="264" y="64"/>
                  </a:lnTo>
                  <a:lnTo>
                    <a:pt x="263" y="65"/>
                  </a:lnTo>
                  <a:lnTo>
                    <a:pt x="263" y="66"/>
                  </a:lnTo>
                  <a:lnTo>
                    <a:pt x="263" y="68"/>
                  </a:lnTo>
                  <a:lnTo>
                    <a:pt x="264" y="70"/>
                  </a:lnTo>
                  <a:lnTo>
                    <a:pt x="263" y="70"/>
                  </a:lnTo>
                  <a:lnTo>
                    <a:pt x="263" y="69"/>
                  </a:lnTo>
                  <a:lnTo>
                    <a:pt x="262" y="68"/>
                  </a:lnTo>
                  <a:lnTo>
                    <a:pt x="260" y="66"/>
                  </a:lnTo>
                  <a:lnTo>
                    <a:pt x="259" y="66"/>
                  </a:lnTo>
                  <a:lnTo>
                    <a:pt x="258" y="66"/>
                  </a:lnTo>
                  <a:lnTo>
                    <a:pt x="258" y="68"/>
                  </a:lnTo>
                  <a:lnTo>
                    <a:pt x="257" y="69"/>
                  </a:lnTo>
                  <a:lnTo>
                    <a:pt x="257" y="70"/>
                  </a:lnTo>
                  <a:lnTo>
                    <a:pt x="257" y="71"/>
                  </a:lnTo>
                  <a:lnTo>
                    <a:pt x="256" y="71"/>
                  </a:lnTo>
                  <a:lnTo>
                    <a:pt x="254" y="70"/>
                  </a:lnTo>
                  <a:lnTo>
                    <a:pt x="254" y="71"/>
                  </a:lnTo>
                  <a:lnTo>
                    <a:pt x="253" y="71"/>
                  </a:lnTo>
                  <a:lnTo>
                    <a:pt x="252" y="73"/>
                  </a:lnTo>
                  <a:lnTo>
                    <a:pt x="251" y="74"/>
                  </a:lnTo>
                  <a:lnTo>
                    <a:pt x="250" y="74"/>
                  </a:lnTo>
                  <a:lnTo>
                    <a:pt x="248" y="74"/>
                  </a:lnTo>
                  <a:lnTo>
                    <a:pt x="247" y="73"/>
                  </a:lnTo>
                  <a:lnTo>
                    <a:pt x="247" y="71"/>
                  </a:lnTo>
                  <a:lnTo>
                    <a:pt x="246" y="70"/>
                  </a:lnTo>
                  <a:lnTo>
                    <a:pt x="244" y="70"/>
                  </a:lnTo>
                  <a:lnTo>
                    <a:pt x="245" y="69"/>
                  </a:lnTo>
                  <a:lnTo>
                    <a:pt x="246" y="70"/>
                  </a:lnTo>
                  <a:lnTo>
                    <a:pt x="246" y="69"/>
                  </a:lnTo>
                  <a:lnTo>
                    <a:pt x="247" y="68"/>
                  </a:lnTo>
                  <a:lnTo>
                    <a:pt x="248" y="68"/>
                  </a:lnTo>
                  <a:lnTo>
                    <a:pt x="250" y="66"/>
                  </a:lnTo>
                  <a:lnTo>
                    <a:pt x="248" y="65"/>
                  </a:lnTo>
                  <a:lnTo>
                    <a:pt x="248" y="64"/>
                  </a:lnTo>
                  <a:lnTo>
                    <a:pt x="248" y="62"/>
                  </a:lnTo>
                  <a:lnTo>
                    <a:pt x="250" y="60"/>
                  </a:lnTo>
                  <a:lnTo>
                    <a:pt x="251" y="59"/>
                  </a:lnTo>
                  <a:lnTo>
                    <a:pt x="253" y="59"/>
                  </a:lnTo>
                  <a:lnTo>
                    <a:pt x="254" y="60"/>
                  </a:lnTo>
                  <a:lnTo>
                    <a:pt x="253" y="60"/>
                  </a:lnTo>
                  <a:lnTo>
                    <a:pt x="251" y="62"/>
                  </a:lnTo>
                  <a:lnTo>
                    <a:pt x="250" y="63"/>
                  </a:lnTo>
                  <a:lnTo>
                    <a:pt x="250" y="64"/>
                  </a:lnTo>
                  <a:lnTo>
                    <a:pt x="251" y="65"/>
                  </a:lnTo>
                  <a:lnTo>
                    <a:pt x="253" y="66"/>
                  </a:lnTo>
                  <a:lnTo>
                    <a:pt x="253" y="65"/>
                  </a:lnTo>
                  <a:lnTo>
                    <a:pt x="254" y="65"/>
                  </a:lnTo>
                  <a:lnTo>
                    <a:pt x="256" y="65"/>
                  </a:lnTo>
                  <a:lnTo>
                    <a:pt x="256" y="64"/>
                  </a:lnTo>
                  <a:lnTo>
                    <a:pt x="257" y="65"/>
                  </a:lnTo>
                  <a:lnTo>
                    <a:pt x="258" y="64"/>
                  </a:lnTo>
                  <a:lnTo>
                    <a:pt x="259" y="64"/>
                  </a:lnTo>
                  <a:lnTo>
                    <a:pt x="259" y="63"/>
                  </a:lnTo>
                  <a:lnTo>
                    <a:pt x="258" y="62"/>
                  </a:lnTo>
                  <a:lnTo>
                    <a:pt x="258" y="60"/>
                  </a:lnTo>
                  <a:lnTo>
                    <a:pt x="259" y="59"/>
                  </a:lnTo>
                  <a:lnTo>
                    <a:pt x="260" y="60"/>
                  </a:lnTo>
                  <a:lnTo>
                    <a:pt x="262" y="60"/>
                  </a:lnTo>
                  <a:lnTo>
                    <a:pt x="263" y="59"/>
                  </a:lnTo>
                  <a:lnTo>
                    <a:pt x="264" y="58"/>
                  </a:lnTo>
                  <a:lnTo>
                    <a:pt x="265" y="58"/>
                  </a:lnTo>
                  <a:lnTo>
                    <a:pt x="264" y="57"/>
                  </a:lnTo>
                  <a:lnTo>
                    <a:pt x="263" y="56"/>
                  </a:lnTo>
                  <a:lnTo>
                    <a:pt x="264" y="54"/>
                  </a:lnTo>
                  <a:lnTo>
                    <a:pt x="264" y="53"/>
                  </a:lnTo>
                  <a:lnTo>
                    <a:pt x="263" y="53"/>
                  </a:lnTo>
                  <a:lnTo>
                    <a:pt x="263" y="52"/>
                  </a:lnTo>
                  <a:lnTo>
                    <a:pt x="262" y="51"/>
                  </a:lnTo>
                  <a:lnTo>
                    <a:pt x="262" y="53"/>
                  </a:lnTo>
                  <a:lnTo>
                    <a:pt x="262" y="54"/>
                  </a:lnTo>
                  <a:lnTo>
                    <a:pt x="260" y="53"/>
                  </a:lnTo>
                  <a:lnTo>
                    <a:pt x="259" y="53"/>
                  </a:lnTo>
                  <a:lnTo>
                    <a:pt x="259" y="56"/>
                  </a:lnTo>
                  <a:lnTo>
                    <a:pt x="260" y="57"/>
                  </a:lnTo>
                  <a:lnTo>
                    <a:pt x="259" y="57"/>
                  </a:lnTo>
                  <a:lnTo>
                    <a:pt x="259" y="56"/>
                  </a:lnTo>
                  <a:lnTo>
                    <a:pt x="258" y="54"/>
                  </a:lnTo>
                  <a:lnTo>
                    <a:pt x="257" y="54"/>
                  </a:lnTo>
                  <a:lnTo>
                    <a:pt x="256" y="54"/>
                  </a:lnTo>
                  <a:lnTo>
                    <a:pt x="253" y="56"/>
                  </a:lnTo>
                  <a:lnTo>
                    <a:pt x="252" y="56"/>
                  </a:lnTo>
                  <a:lnTo>
                    <a:pt x="252" y="57"/>
                  </a:lnTo>
                  <a:lnTo>
                    <a:pt x="252" y="54"/>
                  </a:lnTo>
                  <a:lnTo>
                    <a:pt x="251" y="53"/>
                  </a:lnTo>
                  <a:lnTo>
                    <a:pt x="251" y="52"/>
                  </a:lnTo>
                  <a:lnTo>
                    <a:pt x="250" y="52"/>
                  </a:lnTo>
                  <a:lnTo>
                    <a:pt x="250" y="54"/>
                  </a:lnTo>
                  <a:lnTo>
                    <a:pt x="248" y="54"/>
                  </a:lnTo>
                  <a:lnTo>
                    <a:pt x="248" y="53"/>
                  </a:lnTo>
                  <a:lnTo>
                    <a:pt x="248" y="52"/>
                  </a:lnTo>
                  <a:lnTo>
                    <a:pt x="248" y="51"/>
                  </a:lnTo>
                  <a:lnTo>
                    <a:pt x="247" y="50"/>
                  </a:lnTo>
                  <a:lnTo>
                    <a:pt x="246" y="51"/>
                  </a:lnTo>
                  <a:lnTo>
                    <a:pt x="245" y="50"/>
                  </a:lnTo>
                  <a:lnTo>
                    <a:pt x="242" y="48"/>
                  </a:lnTo>
                  <a:lnTo>
                    <a:pt x="242" y="47"/>
                  </a:lnTo>
                  <a:lnTo>
                    <a:pt x="242" y="46"/>
                  </a:lnTo>
                  <a:lnTo>
                    <a:pt x="242" y="45"/>
                  </a:lnTo>
                  <a:lnTo>
                    <a:pt x="241" y="45"/>
                  </a:lnTo>
                  <a:lnTo>
                    <a:pt x="240" y="44"/>
                  </a:lnTo>
                  <a:lnTo>
                    <a:pt x="240" y="42"/>
                  </a:lnTo>
                  <a:lnTo>
                    <a:pt x="241" y="44"/>
                  </a:lnTo>
                  <a:lnTo>
                    <a:pt x="242" y="44"/>
                  </a:lnTo>
                  <a:lnTo>
                    <a:pt x="244" y="42"/>
                  </a:lnTo>
                  <a:lnTo>
                    <a:pt x="244" y="41"/>
                  </a:lnTo>
                  <a:lnTo>
                    <a:pt x="244" y="40"/>
                  </a:lnTo>
                  <a:lnTo>
                    <a:pt x="245" y="39"/>
                  </a:lnTo>
                  <a:lnTo>
                    <a:pt x="245" y="38"/>
                  </a:lnTo>
                  <a:lnTo>
                    <a:pt x="244" y="38"/>
                  </a:lnTo>
                  <a:lnTo>
                    <a:pt x="242" y="38"/>
                  </a:lnTo>
                  <a:lnTo>
                    <a:pt x="242" y="39"/>
                  </a:lnTo>
                  <a:lnTo>
                    <a:pt x="241" y="39"/>
                  </a:lnTo>
                  <a:lnTo>
                    <a:pt x="240" y="39"/>
                  </a:lnTo>
                  <a:lnTo>
                    <a:pt x="239" y="40"/>
                  </a:lnTo>
                  <a:lnTo>
                    <a:pt x="239" y="41"/>
                  </a:lnTo>
                  <a:lnTo>
                    <a:pt x="239" y="42"/>
                  </a:lnTo>
                  <a:lnTo>
                    <a:pt x="238" y="42"/>
                  </a:lnTo>
                  <a:lnTo>
                    <a:pt x="238" y="41"/>
                  </a:lnTo>
                  <a:lnTo>
                    <a:pt x="238" y="40"/>
                  </a:lnTo>
                  <a:lnTo>
                    <a:pt x="239" y="38"/>
                  </a:lnTo>
                  <a:lnTo>
                    <a:pt x="238" y="36"/>
                  </a:lnTo>
                  <a:lnTo>
                    <a:pt x="236" y="36"/>
                  </a:lnTo>
                  <a:lnTo>
                    <a:pt x="235" y="39"/>
                  </a:lnTo>
                  <a:lnTo>
                    <a:pt x="234" y="40"/>
                  </a:lnTo>
                  <a:lnTo>
                    <a:pt x="235" y="38"/>
                  </a:lnTo>
                  <a:lnTo>
                    <a:pt x="235" y="36"/>
                  </a:lnTo>
                  <a:lnTo>
                    <a:pt x="236" y="35"/>
                  </a:lnTo>
                  <a:lnTo>
                    <a:pt x="235" y="34"/>
                  </a:lnTo>
                  <a:lnTo>
                    <a:pt x="234" y="34"/>
                  </a:lnTo>
                  <a:lnTo>
                    <a:pt x="233" y="35"/>
                  </a:lnTo>
                  <a:lnTo>
                    <a:pt x="232" y="35"/>
                  </a:lnTo>
                  <a:lnTo>
                    <a:pt x="232" y="36"/>
                  </a:lnTo>
                  <a:lnTo>
                    <a:pt x="230" y="38"/>
                  </a:lnTo>
                  <a:lnTo>
                    <a:pt x="229" y="38"/>
                  </a:lnTo>
                  <a:lnTo>
                    <a:pt x="228" y="38"/>
                  </a:lnTo>
                  <a:lnTo>
                    <a:pt x="229" y="36"/>
                  </a:lnTo>
                  <a:lnTo>
                    <a:pt x="228" y="36"/>
                  </a:lnTo>
                  <a:lnTo>
                    <a:pt x="227" y="35"/>
                  </a:lnTo>
                  <a:lnTo>
                    <a:pt x="226" y="35"/>
                  </a:lnTo>
                  <a:lnTo>
                    <a:pt x="226" y="34"/>
                  </a:lnTo>
                  <a:lnTo>
                    <a:pt x="227" y="33"/>
                  </a:lnTo>
                  <a:lnTo>
                    <a:pt x="228" y="33"/>
                  </a:lnTo>
                  <a:lnTo>
                    <a:pt x="228" y="32"/>
                  </a:lnTo>
                  <a:lnTo>
                    <a:pt x="226" y="32"/>
                  </a:lnTo>
                  <a:lnTo>
                    <a:pt x="224" y="32"/>
                  </a:lnTo>
                  <a:lnTo>
                    <a:pt x="224" y="30"/>
                  </a:lnTo>
                  <a:lnTo>
                    <a:pt x="226" y="30"/>
                  </a:lnTo>
                  <a:lnTo>
                    <a:pt x="227" y="29"/>
                  </a:lnTo>
                  <a:lnTo>
                    <a:pt x="228" y="28"/>
                  </a:lnTo>
                  <a:lnTo>
                    <a:pt x="228" y="27"/>
                  </a:lnTo>
                  <a:lnTo>
                    <a:pt x="228" y="26"/>
                  </a:lnTo>
                  <a:lnTo>
                    <a:pt x="226" y="27"/>
                  </a:lnTo>
                  <a:lnTo>
                    <a:pt x="226" y="28"/>
                  </a:lnTo>
                  <a:lnTo>
                    <a:pt x="224" y="28"/>
                  </a:lnTo>
                  <a:lnTo>
                    <a:pt x="224" y="26"/>
                  </a:lnTo>
                  <a:lnTo>
                    <a:pt x="226" y="24"/>
                  </a:lnTo>
                  <a:lnTo>
                    <a:pt x="224" y="23"/>
                  </a:lnTo>
                  <a:lnTo>
                    <a:pt x="224" y="22"/>
                  </a:lnTo>
                  <a:lnTo>
                    <a:pt x="222" y="22"/>
                  </a:lnTo>
                  <a:lnTo>
                    <a:pt x="222" y="21"/>
                  </a:lnTo>
                  <a:lnTo>
                    <a:pt x="224" y="21"/>
                  </a:lnTo>
                  <a:lnTo>
                    <a:pt x="224" y="20"/>
                  </a:lnTo>
                  <a:lnTo>
                    <a:pt x="224" y="18"/>
                  </a:lnTo>
                  <a:lnTo>
                    <a:pt x="223" y="18"/>
                  </a:lnTo>
                  <a:lnTo>
                    <a:pt x="222" y="18"/>
                  </a:lnTo>
                  <a:lnTo>
                    <a:pt x="221" y="20"/>
                  </a:lnTo>
                  <a:lnTo>
                    <a:pt x="220" y="20"/>
                  </a:lnTo>
                  <a:lnTo>
                    <a:pt x="220" y="18"/>
                  </a:lnTo>
                  <a:lnTo>
                    <a:pt x="218" y="17"/>
                  </a:lnTo>
                  <a:lnTo>
                    <a:pt x="217" y="18"/>
                  </a:lnTo>
                  <a:lnTo>
                    <a:pt x="215" y="18"/>
                  </a:lnTo>
                  <a:lnTo>
                    <a:pt x="214" y="18"/>
                  </a:lnTo>
                  <a:lnTo>
                    <a:pt x="216" y="17"/>
                  </a:lnTo>
                  <a:lnTo>
                    <a:pt x="216" y="16"/>
                  </a:lnTo>
                  <a:lnTo>
                    <a:pt x="218" y="16"/>
                  </a:lnTo>
                  <a:lnTo>
                    <a:pt x="220" y="15"/>
                  </a:lnTo>
                  <a:lnTo>
                    <a:pt x="221" y="15"/>
                  </a:lnTo>
                  <a:lnTo>
                    <a:pt x="222" y="14"/>
                  </a:lnTo>
                  <a:lnTo>
                    <a:pt x="221" y="12"/>
                  </a:lnTo>
                  <a:lnTo>
                    <a:pt x="218" y="12"/>
                  </a:lnTo>
                  <a:lnTo>
                    <a:pt x="218" y="11"/>
                  </a:lnTo>
                  <a:lnTo>
                    <a:pt x="218" y="10"/>
                  </a:lnTo>
                  <a:lnTo>
                    <a:pt x="216" y="10"/>
                  </a:lnTo>
                  <a:lnTo>
                    <a:pt x="216" y="12"/>
                  </a:lnTo>
                  <a:lnTo>
                    <a:pt x="214" y="12"/>
                  </a:lnTo>
                  <a:lnTo>
                    <a:pt x="215" y="11"/>
                  </a:lnTo>
                  <a:lnTo>
                    <a:pt x="214" y="10"/>
                  </a:lnTo>
                  <a:lnTo>
                    <a:pt x="212" y="10"/>
                  </a:lnTo>
                  <a:lnTo>
                    <a:pt x="211" y="12"/>
                  </a:lnTo>
                  <a:lnTo>
                    <a:pt x="211" y="10"/>
                  </a:lnTo>
                  <a:lnTo>
                    <a:pt x="210" y="9"/>
                  </a:lnTo>
                  <a:lnTo>
                    <a:pt x="210" y="8"/>
                  </a:lnTo>
                  <a:lnTo>
                    <a:pt x="210" y="6"/>
                  </a:lnTo>
                  <a:lnTo>
                    <a:pt x="209" y="6"/>
                  </a:lnTo>
                  <a:lnTo>
                    <a:pt x="207" y="6"/>
                  </a:lnTo>
                  <a:lnTo>
                    <a:pt x="206" y="6"/>
                  </a:lnTo>
                  <a:lnTo>
                    <a:pt x="205" y="6"/>
                  </a:lnTo>
                  <a:lnTo>
                    <a:pt x="205" y="5"/>
                  </a:lnTo>
                  <a:lnTo>
                    <a:pt x="206" y="4"/>
                  </a:lnTo>
                  <a:lnTo>
                    <a:pt x="206" y="3"/>
                  </a:lnTo>
                  <a:lnTo>
                    <a:pt x="206" y="2"/>
                  </a:lnTo>
                  <a:lnTo>
                    <a:pt x="206" y="0"/>
                  </a:lnTo>
                  <a:lnTo>
                    <a:pt x="205" y="0"/>
                  </a:lnTo>
                  <a:lnTo>
                    <a:pt x="204" y="2"/>
                  </a:lnTo>
                  <a:lnTo>
                    <a:pt x="204" y="3"/>
                  </a:lnTo>
                  <a:lnTo>
                    <a:pt x="203" y="3"/>
                  </a:lnTo>
                  <a:lnTo>
                    <a:pt x="203" y="2"/>
                  </a:lnTo>
                  <a:lnTo>
                    <a:pt x="203" y="0"/>
                  </a:lnTo>
                  <a:lnTo>
                    <a:pt x="201" y="0"/>
                  </a:lnTo>
                  <a:lnTo>
                    <a:pt x="201" y="2"/>
                  </a:lnTo>
                  <a:lnTo>
                    <a:pt x="200" y="3"/>
                  </a:lnTo>
                  <a:lnTo>
                    <a:pt x="199" y="4"/>
                  </a:lnTo>
                  <a:lnTo>
                    <a:pt x="199" y="5"/>
                  </a:lnTo>
                  <a:lnTo>
                    <a:pt x="200" y="6"/>
                  </a:lnTo>
                  <a:lnTo>
                    <a:pt x="199" y="6"/>
                  </a:lnTo>
                  <a:lnTo>
                    <a:pt x="198" y="8"/>
                  </a:lnTo>
                  <a:lnTo>
                    <a:pt x="198" y="9"/>
                  </a:lnTo>
                  <a:lnTo>
                    <a:pt x="198" y="10"/>
                  </a:lnTo>
                  <a:lnTo>
                    <a:pt x="197" y="10"/>
                  </a:lnTo>
                  <a:lnTo>
                    <a:pt x="197" y="9"/>
                  </a:lnTo>
                  <a:lnTo>
                    <a:pt x="195" y="9"/>
                  </a:lnTo>
                  <a:lnTo>
                    <a:pt x="194" y="10"/>
                  </a:lnTo>
                  <a:lnTo>
                    <a:pt x="195" y="11"/>
                  </a:lnTo>
                  <a:lnTo>
                    <a:pt x="195" y="12"/>
                  </a:lnTo>
                  <a:lnTo>
                    <a:pt x="197" y="12"/>
                  </a:lnTo>
                  <a:lnTo>
                    <a:pt x="198" y="12"/>
                  </a:lnTo>
                  <a:lnTo>
                    <a:pt x="199" y="14"/>
                  </a:lnTo>
                  <a:lnTo>
                    <a:pt x="198" y="15"/>
                  </a:lnTo>
                  <a:lnTo>
                    <a:pt x="197" y="15"/>
                  </a:lnTo>
                  <a:lnTo>
                    <a:pt x="197" y="14"/>
                  </a:lnTo>
                  <a:lnTo>
                    <a:pt x="195" y="14"/>
                  </a:lnTo>
                  <a:lnTo>
                    <a:pt x="195" y="12"/>
                  </a:lnTo>
                  <a:lnTo>
                    <a:pt x="194" y="12"/>
                  </a:lnTo>
                  <a:lnTo>
                    <a:pt x="194" y="10"/>
                  </a:lnTo>
                  <a:lnTo>
                    <a:pt x="193" y="10"/>
                  </a:lnTo>
                  <a:lnTo>
                    <a:pt x="192" y="10"/>
                  </a:lnTo>
                  <a:lnTo>
                    <a:pt x="191" y="11"/>
                  </a:lnTo>
                  <a:lnTo>
                    <a:pt x="192" y="12"/>
                  </a:lnTo>
                  <a:lnTo>
                    <a:pt x="192" y="14"/>
                  </a:lnTo>
                  <a:lnTo>
                    <a:pt x="193" y="15"/>
                  </a:lnTo>
                  <a:lnTo>
                    <a:pt x="194" y="16"/>
                  </a:lnTo>
                  <a:lnTo>
                    <a:pt x="194" y="17"/>
                  </a:lnTo>
                  <a:lnTo>
                    <a:pt x="193" y="17"/>
                  </a:lnTo>
                  <a:lnTo>
                    <a:pt x="194" y="18"/>
                  </a:lnTo>
                  <a:lnTo>
                    <a:pt x="195" y="18"/>
                  </a:lnTo>
                  <a:lnTo>
                    <a:pt x="195" y="17"/>
                  </a:lnTo>
                  <a:lnTo>
                    <a:pt x="197" y="17"/>
                  </a:lnTo>
                  <a:lnTo>
                    <a:pt x="197" y="18"/>
                  </a:lnTo>
                  <a:lnTo>
                    <a:pt x="195" y="20"/>
                  </a:lnTo>
                  <a:lnTo>
                    <a:pt x="197" y="20"/>
                  </a:lnTo>
                  <a:lnTo>
                    <a:pt x="197" y="21"/>
                  </a:lnTo>
                  <a:lnTo>
                    <a:pt x="195" y="21"/>
                  </a:lnTo>
                  <a:lnTo>
                    <a:pt x="194" y="21"/>
                  </a:lnTo>
                  <a:lnTo>
                    <a:pt x="193" y="20"/>
                  </a:lnTo>
                  <a:lnTo>
                    <a:pt x="192" y="20"/>
                  </a:lnTo>
                  <a:lnTo>
                    <a:pt x="192" y="21"/>
                  </a:lnTo>
                  <a:lnTo>
                    <a:pt x="193" y="22"/>
                  </a:lnTo>
                  <a:lnTo>
                    <a:pt x="193" y="23"/>
                  </a:lnTo>
                  <a:lnTo>
                    <a:pt x="194" y="23"/>
                  </a:lnTo>
                  <a:lnTo>
                    <a:pt x="195" y="24"/>
                  </a:lnTo>
                  <a:lnTo>
                    <a:pt x="195" y="23"/>
                  </a:lnTo>
                  <a:lnTo>
                    <a:pt x="197" y="23"/>
                  </a:lnTo>
                  <a:lnTo>
                    <a:pt x="198" y="22"/>
                  </a:lnTo>
                  <a:lnTo>
                    <a:pt x="199" y="22"/>
                  </a:lnTo>
                  <a:lnTo>
                    <a:pt x="200" y="22"/>
                  </a:lnTo>
                  <a:lnTo>
                    <a:pt x="199" y="23"/>
                  </a:lnTo>
                  <a:lnTo>
                    <a:pt x="198" y="23"/>
                  </a:lnTo>
                  <a:lnTo>
                    <a:pt x="197" y="23"/>
                  </a:lnTo>
                  <a:lnTo>
                    <a:pt x="198" y="24"/>
                  </a:lnTo>
                  <a:lnTo>
                    <a:pt x="199" y="24"/>
                  </a:lnTo>
                  <a:lnTo>
                    <a:pt x="199" y="26"/>
                  </a:lnTo>
                  <a:lnTo>
                    <a:pt x="200" y="26"/>
                  </a:lnTo>
                  <a:lnTo>
                    <a:pt x="201" y="26"/>
                  </a:lnTo>
                  <a:lnTo>
                    <a:pt x="200" y="24"/>
                  </a:lnTo>
                  <a:lnTo>
                    <a:pt x="201" y="23"/>
                  </a:lnTo>
                  <a:lnTo>
                    <a:pt x="203" y="23"/>
                  </a:lnTo>
                  <a:lnTo>
                    <a:pt x="203" y="24"/>
                  </a:lnTo>
                  <a:lnTo>
                    <a:pt x="201" y="24"/>
                  </a:lnTo>
                  <a:lnTo>
                    <a:pt x="201" y="26"/>
                  </a:lnTo>
                  <a:lnTo>
                    <a:pt x="200" y="27"/>
                  </a:lnTo>
                  <a:lnTo>
                    <a:pt x="199" y="27"/>
                  </a:lnTo>
                  <a:lnTo>
                    <a:pt x="199" y="28"/>
                  </a:lnTo>
                  <a:lnTo>
                    <a:pt x="200" y="28"/>
                  </a:lnTo>
                  <a:lnTo>
                    <a:pt x="200" y="29"/>
                  </a:lnTo>
                  <a:lnTo>
                    <a:pt x="199" y="29"/>
                  </a:lnTo>
                  <a:lnTo>
                    <a:pt x="198" y="28"/>
                  </a:lnTo>
                  <a:lnTo>
                    <a:pt x="198" y="29"/>
                  </a:lnTo>
                  <a:lnTo>
                    <a:pt x="198" y="30"/>
                  </a:lnTo>
                  <a:lnTo>
                    <a:pt x="198" y="29"/>
                  </a:lnTo>
                  <a:lnTo>
                    <a:pt x="197" y="29"/>
                  </a:lnTo>
                  <a:lnTo>
                    <a:pt x="195" y="30"/>
                  </a:lnTo>
                  <a:lnTo>
                    <a:pt x="195" y="29"/>
                  </a:lnTo>
                  <a:lnTo>
                    <a:pt x="194" y="28"/>
                  </a:lnTo>
                  <a:lnTo>
                    <a:pt x="194" y="29"/>
                  </a:lnTo>
                  <a:lnTo>
                    <a:pt x="193" y="29"/>
                  </a:lnTo>
                  <a:lnTo>
                    <a:pt x="192" y="29"/>
                  </a:lnTo>
                  <a:lnTo>
                    <a:pt x="191" y="29"/>
                  </a:lnTo>
                  <a:lnTo>
                    <a:pt x="191" y="28"/>
                  </a:lnTo>
                  <a:lnTo>
                    <a:pt x="189" y="28"/>
                  </a:lnTo>
                  <a:lnTo>
                    <a:pt x="189" y="27"/>
                  </a:lnTo>
                  <a:lnTo>
                    <a:pt x="188" y="27"/>
                  </a:lnTo>
                  <a:lnTo>
                    <a:pt x="188" y="28"/>
                  </a:lnTo>
                  <a:lnTo>
                    <a:pt x="187" y="28"/>
                  </a:lnTo>
                  <a:lnTo>
                    <a:pt x="187" y="29"/>
                  </a:lnTo>
                  <a:lnTo>
                    <a:pt x="186" y="28"/>
                  </a:lnTo>
                  <a:lnTo>
                    <a:pt x="185" y="29"/>
                  </a:lnTo>
                  <a:lnTo>
                    <a:pt x="185" y="30"/>
                  </a:lnTo>
                  <a:lnTo>
                    <a:pt x="186" y="32"/>
                  </a:lnTo>
                  <a:lnTo>
                    <a:pt x="186" y="33"/>
                  </a:lnTo>
                  <a:lnTo>
                    <a:pt x="187" y="33"/>
                  </a:lnTo>
                  <a:lnTo>
                    <a:pt x="187" y="32"/>
                  </a:lnTo>
                  <a:lnTo>
                    <a:pt x="188" y="33"/>
                  </a:lnTo>
                  <a:lnTo>
                    <a:pt x="189" y="34"/>
                  </a:lnTo>
                  <a:lnTo>
                    <a:pt x="191" y="35"/>
                  </a:lnTo>
                  <a:lnTo>
                    <a:pt x="192" y="35"/>
                  </a:lnTo>
                  <a:lnTo>
                    <a:pt x="193" y="35"/>
                  </a:lnTo>
                  <a:lnTo>
                    <a:pt x="194" y="35"/>
                  </a:lnTo>
                  <a:lnTo>
                    <a:pt x="194" y="36"/>
                  </a:lnTo>
                  <a:lnTo>
                    <a:pt x="194" y="38"/>
                  </a:lnTo>
                  <a:lnTo>
                    <a:pt x="195" y="38"/>
                  </a:lnTo>
                  <a:lnTo>
                    <a:pt x="197" y="36"/>
                  </a:lnTo>
                  <a:lnTo>
                    <a:pt x="197" y="35"/>
                  </a:lnTo>
                  <a:lnTo>
                    <a:pt x="195" y="35"/>
                  </a:lnTo>
                  <a:lnTo>
                    <a:pt x="197" y="35"/>
                  </a:lnTo>
                  <a:lnTo>
                    <a:pt x="198" y="35"/>
                  </a:lnTo>
                  <a:lnTo>
                    <a:pt x="198" y="36"/>
                  </a:lnTo>
                  <a:lnTo>
                    <a:pt x="199" y="36"/>
                  </a:lnTo>
                  <a:lnTo>
                    <a:pt x="199" y="38"/>
                  </a:lnTo>
                  <a:lnTo>
                    <a:pt x="198" y="38"/>
                  </a:lnTo>
                  <a:lnTo>
                    <a:pt x="198" y="36"/>
                  </a:lnTo>
                  <a:lnTo>
                    <a:pt x="197" y="38"/>
                  </a:lnTo>
                  <a:lnTo>
                    <a:pt x="195" y="38"/>
                  </a:lnTo>
                  <a:lnTo>
                    <a:pt x="195" y="39"/>
                  </a:lnTo>
                  <a:lnTo>
                    <a:pt x="195" y="40"/>
                  </a:lnTo>
                  <a:lnTo>
                    <a:pt x="197" y="41"/>
                  </a:lnTo>
                  <a:lnTo>
                    <a:pt x="197" y="42"/>
                  </a:lnTo>
                  <a:lnTo>
                    <a:pt x="195" y="42"/>
                  </a:lnTo>
                  <a:lnTo>
                    <a:pt x="195" y="41"/>
                  </a:lnTo>
                  <a:lnTo>
                    <a:pt x="194" y="42"/>
                  </a:lnTo>
                  <a:lnTo>
                    <a:pt x="193" y="42"/>
                  </a:lnTo>
                  <a:lnTo>
                    <a:pt x="193" y="41"/>
                  </a:lnTo>
                  <a:lnTo>
                    <a:pt x="193" y="42"/>
                  </a:lnTo>
                  <a:lnTo>
                    <a:pt x="192" y="42"/>
                  </a:lnTo>
                  <a:lnTo>
                    <a:pt x="192" y="41"/>
                  </a:lnTo>
                  <a:lnTo>
                    <a:pt x="191" y="40"/>
                  </a:lnTo>
                  <a:lnTo>
                    <a:pt x="191" y="41"/>
                  </a:lnTo>
                  <a:lnTo>
                    <a:pt x="189" y="41"/>
                  </a:lnTo>
                  <a:lnTo>
                    <a:pt x="189" y="40"/>
                  </a:lnTo>
                  <a:lnTo>
                    <a:pt x="191" y="39"/>
                  </a:lnTo>
                  <a:lnTo>
                    <a:pt x="191" y="38"/>
                  </a:lnTo>
                  <a:lnTo>
                    <a:pt x="191" y="36"/>
                  </a:lnTo>
                  <a:lnTo>
                    <a:pt x="189" y="36"/>
                  </a:lnTo>
                  <a:lnTo>
                    <a:pt x="188" y="35"/>
                  </a:lnTo>
                  <a:lnTo>
                    <a:pt x="188" y="36"/>
                  </a:lnTo>
                  <a:lnTo>
                    <a:pt x="188" y="38"/>
                  </a:lnTo>
                  <a:lnTo>
                    <a:pt x="187" y="39"/>
                  </a:lnTo>
                  <a:lnTo>
                    <a:pt x="187" y="40"/>
                  </a:lnTo>
                  <a:lnTo>
                    <a:pt x="187" y="41"/>
                  </a:lnTo>
                  <a:lnTo>
                    <a:pt x="187" y="40"/>
                  </a:lnTo>
                  <a:lnTo>
                    <a:pt x="187" y="39"/>
                  </a:lnTo>
                  <a:lnTo>
                    <a:pt x="187" y="38"/>
                  </a:lnTo>
                  <a:lnTo>
                    <a:pt x="187" y="36"/>
                  </a:lnTo>
                  <a:lnTo>
                    <a:pt x="187" y="35"/>
                  </a:lnTo>
                  <a:lnTo>
                    <a:pt x="186" y="35"/>
                  </a:lnTo>
                  <a:lnTo>
                    <a:pt x="185" y="36"/>
                  </a:lnTo>
                  <a:lnTo>
                    <a:pt x="183" y="36"/>
                  </a:lnTo>
                  <a:lnTo>
                    <a:pt x="182" y="36"/>
                  </a:lnTo>
                  <a:lnTo>
                    <a:pt x="182" y="38"/>
                  </a:lnTo>
                  <a:lnTo>
                    <a:pt x="182" y="39"/>
                  </a:lnTo>
                  <a:lnTo>
                    <a:pt x="182" y="40"/>
                  </a:lnTo>
                  <a:lnTo>
                    <a:pt x="183" y="41"/>
                  </a:lnTo>
                  <a:lnTo>
                    <a:pt x="183" y="42"/>
                  </a:lnTo>
                  <a:lnTo>
                    <a:pt x="183" y="44"/>
                  </a:lnTo>
                  <a:lnTo>
                    <a:pt x="185" y="44"/>
                  </a:lnTo>
                  <a:lnTo>
                    <a:pt x="185" y="45"/>
                  </a:lnTo>
                  <a:lnTo>
                    <a:pt x="183" y="45"/>
                  </a:lnTo>
                  <a:lnTo>
                    <a:pt x="183" y="46"/>
                  </a:lnTo>
                  <a:lnTo>
                    <a:pt x="183" y="48"/>
                  </a:lnTo>
                  <a:lnTo>
                    <a:pt x="183" y="50"/>
                  </a:lnTo>
                  <a:lnTo>
                    <a:pt x="182" y="50"/>
                  </a:lnTo>
                  <a:lnTo>
                    <a:pt x="182" y="48"/>
                  </a:lnTo>
                  <a:lnTo>
                    <a:pt x="182" y="47"/>
                  </a:lnTo>
                  <a:lnTo>
                    <a:pt x="182" y="46"/>
                  </a:lnTo>
                  <a:lnTo>
                    <a:pt x="182" y="45"/>
                  </a:lnTo>
                  <a:lnTo>
                    <a:pt x="181" y="45"/>
                  </a:lnTo>
                  <a:lnTo>
                    <a:pt x="181" y="46"/>
                  </a:lnTo>
                  <a:lnTo>
                    <a:pt x="181" y="47"/>
                  </a:lnTo>
                  <a:lnTo>
                    <a:pt x="180" y="47"/>
                  </a:lnTo>
                  <a:lnTo>
                    <a:pt x="180" y="46"/>
                  </a:lnTo>
                  <a:lnTo>
                    <a:pt x="181" y="46"/>
                  </a:lnTo>
                  <a:lnTo>
                    <a:pt x="181" y="45"/>
                  </a:lnTo>
                  <a:lnTo>
                    <a:pt x="180" y="45"/>
                  </a:lnTo>
                  <a:lnTo>
                    <a:pt x="180" y="44"/>
                  </a:lnTo>
                  <a:lnTo>
                    <a:pt x="179" y="44"/>
                  </a:lnTo>
                  <a:lnTo>
                    <a:pt x="179" y="45"/>
                  </a:lnTo>
                  <a:lnTo>
                    <a:pt x="177" y="45"/>
                  </a:lnTo>
                  <a:lnTo>
                    <a:pt x="177" y="44"/>
                  </a:lnTo>
                  <a:lnTo>
                    <a:pt x="176" y="42"/>
                  </a:lnTo>
                  <a:lnTo>
                    <a:pt x="175" y="42"/>
                  </a:lnTo>
                  <a:lnTo>
                    <a:pt x="174" y="44"/>
                  </a:lnTo>
                  <a:lnTo>
                    <a:pt x="175" y="45"/>
                  </a:lnTo>
                  <a:lnTo>
                    <a:pt x="175" y="46"/>
                  </a:lnTo>
                  <a:lnTo>
                    <a:pt x="174" y="46"/>
                  </a:lnTo>
                  <a:lnTo>
                    <a:pt x="174" y="47"/>
                  </a:lnTo>
                  <a:lnTo>
                    <a:pt x="175" y="48"/>
                  </a:lnTo>
                  <a:lnTo>
                    <a:pt x="175" y="50"/>
                  </a:lnTo>
                  <a:lnTo>
                    <a:pt x="176" y="50"/>
                  </a:lnTo>
                  <a:lnTo>
                    <a:pt x="177" y="50"/>
                  </a:lnTo>
                  <a:lnTo>
                    <a:pt x="177" y="51"/>
                  </a:lnTo>
                  <a:lnTo>
                    <a:pt x="177" y="52"/>
                  </a:lnTo>
                  <a:lnTo>
                    <a:pt x="179" y="52"/>
                  </a:lnTo>
                  <a:lnTo>
                    <a:pt x="179" y="53"/>
                  </a:lnTo>
                  <a:lnTo>
                    <a:pt x="179" y="54"/>
                  </a:lnTo>
                  <a:lnTo>
                    <a:pt x="180" y="54"/>
                  </a:lnTo>
                  <a:lnTo>
                    <a:pt x="180" y="53"/>
                  </a:lnTo>
                  <a:lnTo>
                    <a:pt x="181" y="53"/>
                  </a:lnTo>
                  <a:lnTo>
                    <a:pt x="181" y="54"/>
                  </a:lnTo>
                  <a:lnTo>
                    <a:pt x="181" y="56"/>
                  </a:lnTo>
                  <a:lnTo>
                    <a:pt x="180" y="56"/>
                  </a:lnTo>
                  <a:lnTo>
                    <a:pt x="179" y="56"/>
                  </a:lnTo>
                  <a:lnTo>
                    <a:pt x="179" y="54"/>
                  </a:lnTo>
                  <a:lnTo>
                    <a:pt x="179" y="53"/>
                  </a:lnTo>
                  <a:lnTo>
                    <a:pt x="177" y="53"/>
                  </a:lnTo>
                  <a:lnTo>
                    <a:pt x="177" y="52"/>
                  </a:lnTo>
                  <a:lnTo>
                    <a:pt x="176" y="52"/>
                  </a:lnTo>
                  <a:lnTo>
                    <a:pt x="176" y="51"/>
                  </a:lnTo>
                  <a:lnTo>
                    <a:pt x="176" y="50"/>
                  </a:lnTo>
                  <a:lnTo>
                    <a:pt x="175" y="50"/>
                  </a:lnTo>
                  <a:lnTo>
                    <a:pt x="175" y="51"/>
                  </a:lnTo>
                  <a:lnTo>
                    <a:pt x="175" y="52"/>
                  </a:lnTo>
                  <a:lnTo>
                    <a:pt x="175" y="53"/>
                  </a:lnTo>
                  <a:lnTo>
                    <a:pt x="176" y="54"/>
                  </a:lnTo>
                  <a:lnTo>
                    <a:pt x="175" y="54"/>
                  </a:lnTo>
                  <a:lnTo>
                    <a:pt x="175" y="53"/>
                  </a:lnTo>
                  <a:lnTo>
                    <a:pt x="174" y="52"/>
                  </a:lnTo>
                  <a:lnTo>
                    <a:pt x="174" y="51"/>
                  </a:lnTo>
                  <a:lnTo>
                    <a:pt x="174" y="50"/>
                  </a:lnTo>
                  <a:lnTo>
                    <a:pt x="174" y="48"/>
                  </a:lnTo>
                  <a:lnTo>
                    <a:pt x="173" y="48"/>
                  </a:lnTo>
                  <a:lnTo>
                    <a:pt x="171" y="48"/>
                  </a:lnTo>
                  <a:lnTo>
                    <a:pt x="171" y="50"/>
                  </a:lnTo>
                  <a:lnTo>
                    <a:pt x="173" y="51"/>
                  </a:lnTo>
                  <a:lnTo>
                    <a:pt x="173" y="52"/>
                  </a:lnTo>
                  <a:lnTo>
                    <a:pt x="173" y="53"/>
                  </a:lnTo>
                  <a:lnTo>
                    <a:pt x="173" y="54"/>
                  </a:lnTo>
                  <a:lnTo>
                    <a:pt x="171" y="54"/>
                  </a:lnTo>
                  <a:lnTo>
                    <a:pt x="171" y="53"/>
                  </a:lnTo>
                  <a:lnTo>
                    <a:pt x="170" y="53"/>
                  </a:lnTo>
                  <a:lnTo>
                    <a:pt x="170" y="52"/>
                  </a:lnTo>
                  <a:lnTo>
                    <a:pt x="171" y="52"/>
                  </a:lnTo>
                  <a:lnTo>
                    <a:pt x="170" y="51"/>
                  </a:lnTo>
                  <a:lnTo>
                    <a:pt x="169" y="51"/>
                  </a:lnTo>
                  <a:lnTo>
                    <a:pt x="169" y="52"/>
                  </a:lnTo>
                  <a:lnTo>
                    <a:pt x="169" y="53"/>
                  </a:lnTo>
                  <a:lnTo>
                    <a:pt x="170" y="54"/>
                  </a:lnTo>
                  <a:lnTo>
                    <a:pt x="169" y="54"/>
                  </a:lnTo>
                  <a:lnTo>
                    <a:pt x="169" y="53"/>
                  </a:lnTo>
                  <a:lnTo>
                    <a:pt x="169" y="52"/>
                  </a:lnTo>
                  <a:lnTo>
                    <a:pt x="168" y="52"/>
                  </a:lnTo>
                  <a:lnTo>
                    <a:pt x="168" y="51"/>
                  </a:lnTo>
                  <a:lnTo>
                    <a:pt x="167" y="52"/>
                  </a:lnTo>
                  <a:lnTo>
                    <a:pt x="165" y="52"/>
                  </a:lnTo>
                  <a:lnTo>
                    <a:pt x="165" y="51"/>
                  </a:lnTo>
                  <a:lnTo>
                    <a:pt x="167" y="51"/>
                  </a:lnTo>
                  <a:lnTo>
                    <a:pt x="167" y="50"/>
                  </a:lnTo>
                  <a:lnTo>
                    <a:pt x="167" y="48"/>
                  </a:lnTo>
                  <a:lnTo>
                    <a:pt x="168" y="48"/>
                  </a:lnTo>
                  <a:lnTo>
                    <a:pt x="168" y="47"/>
                  </a:lnTo>
                  <a:lnTo>
                    <a:pt x="167" y="46"/>
                  </a:lnTo>
                  <a:lnTo>
                    <a:pt x="165" y="47"/>
                  </a:lnTo>
                  <a:lnTo>
                    <a:pt x="165" y="46"/>
                  </a:lnTo>
                  <a:lnTo>
                    <a:pt x="167" y="46"/>
                  </a:lnTo>
                  <a:lnTo>
                    <a:pt x="168" y="46"/>
                  </a:lnTo>
                  <a:lnTo>
                    <a:pt x="168" y="45"/>
                  </a:lnTo>
                  <a:lnTo>
                    <a:pt x="168" y="46"/>
                  </a:lnTo>
                  <a:lnTo>
                    <a:pt x="169" y="46"/>
                  </a:lnTo>
                  <a:lnTo>
                    <a:pt x="170" y="46"/>
                  </a:lnTo>
                  <a:lnTo>
                    <a:pt x="170" y="45"/>
                  </a:lnTo>
                  <a:lnTo>
                    <a:pt x="171" y="45"/>
                  </a:lnTo>
                  <a:lnTo>
                    <a:pt x="171" y="44"/>
                  </a:lnTo>
                  <a:lnTo>
                    <a:pt x="170" y="44"/>
                  </a:lnTo>
                  <a:lnTo>
                    <a:pt x="170" y="42"/>
                  </a:lnTo>
                  <a:lnTo>
                    <a:pt x="170" y="44"/>
                  </a:lnTo>
                  <a:lnTo>
                    <a:pt x="169" y="44"/>
                  </a:lnTo>
                  <a:lnTo>
                    <a:pt x="168" y="42"/>
                  </a:lnTo>
                  <a:lnTo>
                    <a:pt x="167" y="42"/>
                  </a:lnTo>
                  <a:lnTo>
                    <a:pt x="168" y="41"/>
                  </a:lnTo>
                  <a:lnTo>
                    <a:pt x="169" y="40"/>
                  </a:lnTo>
                  <a:lnTo>
                    <a:pt x="170" y="40"/>
                  </a:lnTo>
                  <a:lnTo>
                    <a:pt x="170" y="39"/>
                  </a:lnTo>
                  <a:lnTo>
                    <a:pt x="171" y="39"/>
                  </a:lnTo>
                  <a:lnTo>
                    <a:pt x="173" y="39"/>
                  </a:lnTo>
                  <a:lnTo>
                    <a:pt x="174" y="38"/>
                  </a:lnTo>
                  <a:lnTo>
                    <a:pt x="174" y="39"/>
                  </a:lnTo>
                  <a:lnTo>
                    <a:pt x="175" y="39"/>
                  </a:lnTo>
                  <a:lnTo>
                    <a:pt x="175" y="38"/>
                  </a:lnTo>
                  <a:lnTo>
                    <a:pt x="176" y="38"/>
                  </a:lnTo>
                  <a:lnTo>
                    <a:pt x="176" y="39"/>
                  </a:lnTo>
                  <a:lnTo>
                    <a:pt x="177" y="39"/>
                  </a:lnTo>
                  <a:lnTo>
                    <a:pt x="179" y="38"/>
                  </a:lnTo>
                  <a:lnTo>
                    <a:pt x="180" y="36"/>
                  </a:lnTo>
                  <a:lnTo>
                    <a:pt x="180" y="35"/>
                  </a:lnTo>
                  <a:lnTo>
                    <a:pt x="180" y="34"/>
                  </a:lnTo>
                  <a:lnTo>
                    <a:pt x="179" y="34"/>
                  </a:lnTo>
                  <a:lnTo>
                    <a:pt x="177" y="34"/>
                  </a:lnTo>
                  <a:lnTo>
                    <a:pt x="177" y="35"/>
                  </a:lnTo>
                  <a:lnTo>
                    <a:pt x="176" y="36"/>
                  </a:lnTo>
                  <a:lnTo>
                    <a:pt x="175" y="36"/>
                  </a:lnTo>
                  <a:lnTo>
                    <a:pt x="176" y="35"/>
                  </a:lnTo>
                  <a:lnTo>
                    <a:pt x="176" y="34"/>
                  </a:lnTo>
                  <a:lnTo>
                    <a:pt x="175" y="34"/>
                  </a:lnTo>
                  <a:lnTo>
                    <a:pt x="175" y="35"/>
                  </a:lnTo>
                  <a:lnTo>
                    <a:pt x="174" y="35"/>
                  </a:lnTo>
                  <a:lnTo>
                    <a:pt x="173" y="35"/>
                  </a:lnTo>
                  <a:lnTo>
                    <a:pt x="171" y="35"/>
                  </a:lnTo>
                  <a:lnTo>
                    <a:pt x="173" y="34"/>
                  </a:lnTo>
                  <a:lnTo>
                    <a:pt x="174" y="34"/>
                  </a:lnTo>
                  <a:lnTo>
                    <a:pt x="174" y="33"/>
                  </a:lnTo>
                  <a:lnTo>
                    <a:pt x="174" y="32"/>
                  </a:lnTo>
                  <a:lnTo>
                    <a:pt x="174" y="30"/>
                  </a:lnTo>
                  <a:lnTo>
                    <a:pt x="173" y="30"/>
                  </a:lnTo>
                  <a:lnTo>
                    <a:pt x="171" y="30"/>
                  </a:lnTo>
                  <a:lnTo>
                    <a:pt x="171" y="32"/>
                  </a:lnTo>
                  <a:lnTo>
                    <a:pt x="171" y="33"/>
                  </a:lnTo>
                  <a:lnTo>
                    <a:pt x="170" y="33"/>
                  </a:lnTo>
                  <a:lnTo>
                    <a:pt x="170" y="34"/>
                  </a:lnTo>
                  <a:lnTo>
                    <a:pt x="169" y="34"/>
                  </a:lnTo>
                  <a:lnTo>
                    <a:pt x="169" y="35"/>
                  </a:lnTo>
                  <a:lnTo>
                    <a:pt x="169" y="34"/>
                  </a:lnTo>
                  <a:lnTo>
                    <a:pt x="170" y="33"/>
                  </a:lnTo>
                  <a:lnTo>
                    <a:pt x="170" y="32"/>
                  </a:lnTo>
                  <a:lnTo>
                    <a:pt x="170" y="30"/>
                  </a:lnTo>
                  <a:lnTo>
                    <a:pt x="169" y="30"/>
                  </a:lnTo>
                  <a:lnTo>
                    <a:pt x="168" y="32"/>
                  </a:lnTo>
                  <a:lnTo>
                    <a:pt x="167" y="32"/>
                  </a:lnTo>
                  <a:lnTo>
                    <a:pt x="165" y="32"/>
                  </a:lnTo>
                  <a:lnTo>
                    <a:pt x="165" y="33"/>
                  </a:lnTo>
                  <a:lnTo>
                    <a:pt x="164" y="33"/>
                  </a:lnTo>
                  <a:lnTo>
                    <a:pt x="163" y="33"/>
                  </a:lnTo>
                  <a:lnTo>
                    <a:pt x="163" y="32"/>
                  </a:lnTo>
                  <a:lnTo>
                    <a:pt x="162" y="32"/>
                  </a:lnTo>
                  <a:lnTo>
                    <a:pt x="163" y="30"/>
                  </a:lnTo>
                  <a:lnTo>
                    <a:pt x="163" y="29"/>
                  </a:lnTo>
                  <a:lnTo>
                    <a:pt x="163" y="28"/>
                  </a:lnTo>
                  <a:lnTo>
                    <a:pt x="162" y="28"/>
                  </a:lnTo>
                  <a:lnTo>
                    <a:pt x="161" y="29"/>
                  </a:lnTo>
                  <a:lnTo>
                    <a:pt x="161" y="30"/>
                  </a:lnTo>
                  <a:lnTo>
                    <a:pt x="159" y="32"/>
                  </a:lnTo>
                  <a:lnTo>
                    <a:pt x="157" y="32"/>
                  </a:lnTo>
                  <a:lnTo>
                    <a:pt x="156" y="32"/>
                  </a:lnTo>
                  <a:lnTo>
                    <a:pt x="156" y="30"/>
                  </a:lnTo>
                  <a:lnTo>
                    <a:pt x="157" y="30"/>
                  </a:lnTo>
                  <a:lnTo>
                    <a:pt x="157" y="29"/>
                  </a:lnTo>
                  <a:lnTo>
                    <a:pt x="157" y="28"/>
                  </a:lnTo>
                  <a:lnTo>
                    <a:pt x="157" y="27"/>
                  </a:lnTo>
                  <a:lnTo>
                    <a:pt x="156" y="26"/>
                  </a:lnTo>
                  <a:lnTo>
                    <a:pt x="156" y="24"/>
                  </a:lnTo>
                  <a:lnTo>
                    <a:pt x="155" y="24"/>
                  </a:lnTo>
                  <a:lnTo>
                    <a:pt x="153" y="26"/>
                  </a:lnTo>
                  <a:lnTo>
                    <a:pt x="152" y="26"/>
                  </a:lnTo>
                  <a:lnTo>
                    <a:pt x="151" y="27"/>
                  </a:lnTo>
                  <a:lnTo>
                    <a:pt x="150" y="27"/>
                  </a:lnTo>
                  <a:lnTo>
                    <a:pt x="150" y="26"/>
                  </a:lnTo>
                  <a:lnTo>
                    <a:pt x="150" y="24"/>
                  </a:lnTo>
                  <a:lnTo>
                    <a:pt x="148" y="24"/>
                  </a:lnTo>
                  <a:lnTo>
                    <a:pt x="148" y="26"/>
                  </a:lnTo>
                  <a:lnTo>
                    <a:pt x="147" y="27"/>
                  </a:lnTo>
                  <a:lnTo>
                    <a:pt x="147" y="26"/>
                  </a:lnTo>
                  <a:lnTo>
                    <a:pt x="146" y="26"/>
                  </a:lnTo>
                  <a:lnTo>
                    <a:pt x="146" y="24"/>
                  </a:lnTo>
                  <a:lnTo>
                    <a:pt x="145" y="24"/>
                  </a:lnTo>
                  <a:lnTo>
                    <a:pt x="144" y="26"/>
                  </a:lnTo>
                  <a:lnTo>
                    <a:pt x="144" y="24"/>
                  </a:lnTo>
                  <a:lnTo>
                    <a:pt x="142" y="24"/>
                  </a:lnTo>
                  <a:lnTo>
                    <a:pt x="141" y="24"/>
                  </a:lnTo>
                  <a:lnTo>
                    <a:pt x="141" y="23"/>
                  </a:lnTo>
                  <a:lnTo>
                    <a:pt x="142" y="23"/>
                  </a:lnTo>
                  <a:lnTo>
                    <a:pt x="144" y="23"/>
                  </a:lnTo>
                  <a:lnTo>
                    <a:pt x="145" y="23"/>
                  </a:lnTo>
                  <a:lnTo>
                    <a:pt x="146" y="23"/>
                  </a:lnTo>
                  <a:lnTo>
                    <a:pt x="147" y="23"/>
                  </a:lnTo>
                  <a:lnTo>
                    <a:pt x="148" y="23"/>
                  </a:lnTo>
                  <a:lnTo>
                    <a:pt x="150" y="23"/>
                  </a:lnTo>
                  <a:lnTo>
                    <a:pt x="151" y="22"/>
                  </a:lnTo>
                  <a:lnTo>
                    <a:pt x="151" y="21"/>
                  </a:lnTo>
                  <a:lnTo>
                    <a:pt x="150" y="20"/>
                  </a:lnTo>
                  <a:lnTo>
                    <a:pt x="150" y="21"/>
                  </a:lnTo>
                  <a:lnTo>
                    <a:pt x="148" y="21"/>
                  </a:lnTo>
                  <a:lnTo>
                    <a:pt x="147" y="21"/>
                  </a:lnTo>
                  <a:lnTo>
                    <a:pt x="148" y="21"/>
                  </a:lnTo>
                  <a:lnTo>
                    <a:pt x="148" y="20"/>
                  </a:lnTo>
                  <a:lnTo>
                    <a:pt x="147" y="20"/>
                  </a:lnTo>
                  <a:lnTo>
                    <a:pt x="147" y="18"/>
                  </a:lnTo>
                  <a:lnTo>
                    <a:pt x="148" y="20"/>
                  </a:lnTo>
                  <a:lnTo>
                    <a:pt x="150" y="20"/>
                  </a:lnTo>
                  <a:lnTo>
                    <a:pt x="151" y="18"/>
                  </a:lnTo>
                  <a:lnTo>
                    <a:pt x="152" y="18"/>
                  </a:lnTo>
                  <a:lnTo>
                    <a:pt x="153" y="18"/>
                  </a:lnTo>
                  <a:lnTo>
                    <a:pt x="153" y="17"/>
                  </a:lnTo>
                  <a:lnTo>
                    <a:pt x="155" y="17"/>
                  </a:lnTo>
                  <a:lnTo>
                    <a:pt x="155" y="16"/>
                  </a:lnTo>
                  <a:lnTo>
                    <a:pt x="156" y="16"/>
                  </a:lnTo>
                  <a:lnTo>
                    <a:pt x="156" y="15"/>
                  </a:lnTo>
                  <a:lnTo>
                    <a:pt x="155" y="15"/>
                  </a:lnTo>
                  <a:lnTo>
                    <a:pt x="155" y="14"/>
                  </a:lnTo>
                  <a:lnTo>
                    <a:pt x="153" y="15"/>
                  </a:lnTo>
                  <a:lnTo>
                    <a:pt x="152" y="16"/>
                  </a:lnTo>
                  <a:lnTo>
                    <a:pt x="152" y="15"/>
                  </a:lnTo>
                  <a:lnTo>
                    <a:pt x="152" y="14"/>
                  </a:lnTo>
                  <a:lnTo>
                    <a:pt x="153" y="12"/>
                  </a:lnTo>
                  <a:lnTo>
                    <a:pt x="153" y="10"/>
                  </a:lnTo>
                  <a:lnTo>
                    <a:pt x="152" y="10"/>
                  </a:lnTo>
                  <a:lnTo>
                    <a:pt x="151" y="10"/>
                  </a:lnTo>
                  <a:lnTo>
                    <a:pt x="150" y="11"/>
                  </a:lnTo>
                  <a:lnTo>
                    <a:pt x="150" y="12"/>
                  </a:lnTo>
                  <a:lnTo>
                    <a:pt x="150" y="14"/>
                  </a:lnTo>
                  <a:lnTo>
                    <a:pt x="148" y="12"/>
                  </a:lnTo>
                  <a:lnTo>
                    <a:pt x="148" y="11"/>
                  </a:lnTo>
                  <a:lnTo>
                    <a:pt x="148" y="10"/>
                  </a:lnTo>
                  <a:lnTo>
                    <a:pt x="147" y="10"/>
                  </a:lnTo>
                  <a:lnTo>
                    <a:pt x="147" y="11"/>
                  </a:lnTo>
                  <a:lnTo>
                    <a:pt x="146" y="11"/>
                  </a:lnTo>
                  <a:lnTo>
                    <a:pt x="146" y="12"/>
                  </a:lnTo>
                  <a:lnTo>
                    <a:pt x="145" y="12"/>
                  </a:lnTo>
                  <a:lnTo>
                    <a:pt x="144" y="12"/>
                  </a:lnTo>
                  <a:lnTo>
                    <a:pt x="144" y="14"/>
                  </a:lnTo>
                  <a:lnTo>
                    <a:pt x="142" y="14"/>
                  </a:lnTo>
                  <a:lnTo>
                    <a:pt x="144" y="15"/>
                  </a:lnTo>
                  <a:lnTo>
                    <a:pt x="142" y="15"/>
                  </a:lnTo>
                  <a:lnTo>
                    <a:pt x="142" y="16"/>
                  </a:lnTo>
                  <a:lnTo>
                    <a:pt x="141" y="15"/>
                  </a:lnTo>
                  <a:lnTo>
                    <a:pt x="141" y="14"/>
                  </a:lnTo>
                  <a:lnTo>
                    <a:pt x="140" y="14"/>
                  </a:lnTo>
                  <a:lnTo>
                    <a:pt x="140" y="12"/>
                  </a:lnTo>
                  <a:lnTo>
                    <a:pt x="140" y="11"/>
                  </a:lnTo>
                  <a:lnTo>
                    <a:pt x="139" y="11"/>
                  </a:lnTo>
                  <a:lnTo>
                    <a:pt x="138" y="11"/>
                  </a:lnTo>
                  <a:lnTo>
                    <a:pt x="138" y="12"/>
                  </a:lnTo>
                  <a:lnTo>
                    <a:pt x="136" y="12"/>
                  </a:lnTo>
                  <a:lnTo>
                    <a:pt x="136" y="11"/>
                  </a:lnTo>
                  <a:lnTo>
                    <a:pt x="136" y="10"/>
                  </a:lnTo>
                  <a:lnTo>
                    <a:pt x="136" y="9"/>
                  </a:lnTo>
                  <a:lnTo>
                    <a:pt x="136" y="8"/>
                  </a:lnTo>
                  <a:lnTo>
                    <a:pt x="135" y="6"/>
                  </a:lnTo>
                  <a:lnTo>
                    <a:pt x="134" y="6"/>
                  </a:lnTo>
                  <a:lnTo>
                    <a:pt x="134" y="8"/>
                  </a:lnTo>
                  <a:lnTo>
                    <a:pt x="133" y="9"/>
                  </a:lnTo>
                  <a:lnTo>
                    <a:pt x="133" y="10"/>
                  </a:lnTo>
                  <a:lnTo>
                    <a:pt x="133" y="11"/>
                  </a:lnTo>
                  <a:lnTo>
                    <a:pt x="133" y="10"/>
                  </a:lnTo>
                  <a:lnTo>
                    <a:pt x="132" y="9"/>
                  </a:lnTo>
                  <a:lnTo>
                    <a:pt x="132" y="8"/>
                  </a:lnTo>
                  <a:lnTo>
                    <a:pt x="130" y="6"/>
                  </a:lnTo>
                  <a:lnTo>
                    <a:pt x="132" y="6"/>
                  </a:lnTo>
                  <a:lnTo>
                    <a:pt x="132" y="5"/>
                  </a:lnTo>
                  <a:lnTo>
                    <a:pt x="129" y="4"/>
                  </a:lnTo>
                  <a:lnTo>
                    <a:pt x="129" y="5"/>
                  </a:lnTo>
                  <a:lnTo>
                    <a:pt x="128" y="5"/>
                  </a:lnTo>
                  <a:lnTo>
                    <a:pt x="128" y="6"/>
                  </a:lnTo>
                  <a:lnTo>
                    <a:pt x="127" y="8"/>
                  </a:lnTo>
                  <a:lnTo>
                    <a:pt x="127" y="9"/>
                  </a:lnTo>
                  <a:lnTo>
                    <a:pt x="126" y="9"/>
                  </a:lnTo>
                  <a:lnTo>
                    <a:pt x="127" y="10"/>
                  </a:lnTo>
                  <a:lnTo>
                    <a:pt x="128" y="10"/>
                  </a:lnTo>
                  <a:lnTo>
                    <a:pt x="128" y="11"/>
                  </a:lnTo>
                  <a:lnTo>
                    <a:pt x="129" y="11"/>
                  </a:lnTo>
                  <a:lnTo>
                    <a:pt x="129" y="12"/>
                  </a:lnTo>
                  <a:lnTo>
                    <a:pt x="128" y="12"/>
                  </a:lnTo>
                  <a:lnTo>
                    <a:pt x="128" y="14"/>
                  </a:lnTo>
                  <a:lnTo>
                    <a:pt x="127" y="12"/>
                  </a:lnTo>
                  <a:lnTo>
                    <a:pt x="126" y="11"/>
                  </a:lnTo>
                  <a:lnTo>
                    <a:pt x="124" y="10"/>
                  </a:lnTo>
                  <a:lnTo>
                    <a:pt x="123" y="10"/>
                  </a:lnTo>
                  <a:lnTo>
                    <a:pt x="122" y="10"/>
                  </a:lnTo>
                  <a:lnTo>
                    <a:pt x="122" y="11"/>
                  </a:lnTo>
                  <a:lnTo>
                    <a:pt x="122" y="12"/>
                  </a:lnTo>
                  <a:lnTo>
                    <a:pt x="122" y="14"/>
                  </a:lnTo>
                  <a:lnTo>
                    <a:pt x="123" y="15"/>
                  </a:lnTo>
                  <a:lnTo>
                    <a:pt x="124" y="15"/>
                  </a:lnTo>
                  <a:lnTo>
                    <a:pt x="126" y="15"/>
                  </a:lnTo>
                  <a:lnTo>
                    <a:pt x="124" y="15"/>
                  </a:lnTo>
                  <a:lnTo>
                    <a:pt x="124" y="16"/>
                  </a:lnTo>
                  <a:lnTo>
                    <a:pt x="126" y="16"/>
                  </a:lnTo>
                  <a:lnTo>
                    <a:pt x="127" y="17"/>
                  </a:lnTo>
                  <a:lnTo>
                    <a:pt x="128" y="17"/>
                  </a:lnTo>
                  <a:lnTo>
                    <a:pt x="129" y="18"/>
                  </a:lnTo>
                  <a:lnTo>
                    <a:pt x="128" y="20"/>
                  </a:lnTo>
                  <a:lnTo>
                    <a:pt x="127" y="20"/>
                  </a:lnTo>
                  <a:lnTo>
                    <a:pt x="127" y="18"/>
                  </a:lnTo>
                  <a:lnTo>
                    <a:pt x="126" y="17"/>
                  </a:lnTo>
                  <a:lnTo>
                    <a:pt x="124" y="17"/>
                  </a:lnTo>
                  <a:lnTo>
                    <a:pt x="124" y="18"/>
                  </a:lnTo>
                  <a:lnTo>
                    <a:pt x="123" y="18"/>
                  </a:lnTo>
                  <a:lnTo>
                    <a:pt x="122" y="18"/>
                  </a:lnTo>
                  <a:lnTo>
                    <a:pt x="121" y="18"/>
                  </a:lnTo>
                  <a:lnTo>
                    <a:pt x="121" y="17"/>
                  </a:lnTo>
                  <a:lnTo>
                    <a:pt x="120" y="17"/>
                  </a:lnTo>
                  <a:lnTo>
                    <a:pt x="120" y="18"/>
                  </a:lnTo>
                  <a:lnTo>
                    <a:pt x="120" y="20"/>
                  </a:lnTo>
                  <a:lnTo>
                    <a:pt x="121" y="21"/>
                  </a:lnTo>
                  <a:lnTo>
                    <a:pt x="121" y="22"/>
                  </a:lnTo>
                  <a:lnTo>
                    <a:pt x="122" y="22"/>
                  </a:lnTo>
                  <a:lnTo>
                    <a:pt x="123" y="22"/>
                  </a:lnTo>
                  <a:lnTo>
                    <a:pt x="124" y="22"/>
                  </a:lnTo>
                  <a:lnTo>
                    <a:pt x="126" y="22"/>
                  </a:lnTo>
                  <a:lnTo>
                    <a:pt x="126" y="23"/>
                  </a:lnTo>
                  <a:lnTo>
                    <a:pt x="127" y="23"/>
                  </a:lnTo>
                  <a:lnTo>
                    <a:pt x="126" y="23"/>
                  </a:lnTo>
                  <a:lnTo>
                    <a:pt x="124" y="23"/>
                  </a:lnTo>
                  <a:lnTo>
                    <a:pt x="124" y="24"/>
                  </a:lnTo>
                  <a:lnTo>
                    <a:pt x="124" y="26"/>
                  </a:lnTo>
                  <a:lnTo>
                    <a:pt x="123" y="26"/>
                  </a:lnTo>
                  <a:lnTo>
                    <a:pt x="122" y="26"/>
                  </a:lnTo>
                  <a:lnTo>
                    <a:pt x="123" y="28"/>
                  </a:lnTo>
                  <a:lnTo>
                    <a:pt x="124" y="28"/>
                  </a:lnTo>
                  <a:lnTo>
                    <a:pt x="126" y="29"/>
                  </a:lnTo>
                  <a:lnTo>
                    <a:pt x="127" y="29"/>
                  </a:lnTo>
                  <a:lnTo>
                    <a:pt x="127" y="30"/>
                  </a:lnTo>
                  <a:lnTo>
                    <a:pt x="128" y="30"/>
                  </a:lnTo>
                  <a:lnTo>
                    <a:pt x="129" y="29"/>
                  </a:lnTo>
                  <a:lnTo>
                    <a:pt x="129" y="28"/>
                  </a:lnTo>
                  <a:lnTo>
                    <a:pt x="129" y="27"/>
                  </a:lnTo>
                  <a:lnTo>
                    <a:pt x="130" y="28"/>
                  </a:lnTo>
                  <a:lnTo>
                    <a:pt x="132" y="28"/>
                  </a:lnTo>
                  <a:lnTo>
                    <a:pt x="132" y="27"/>
                  </a:lnTo>
                  <a:lnTo>
                    <a:pt x="133" y="28"/>
                  </a:lnTo>
                  <a:lnTo>
                    <a:pt x="133" y="29"/>
                  </a:lnTo>
                  <a:lnTo>
                    <a:pt x="132" y="29"/>
                  </a:lnTo>
                  <a:lnTo>
                    <a:pt x="130" y="29"/>
                  </a:lnTo>
                  <a:lnTo>
                    <a:pt x="129" y="30"/>
                  </a:lnTo>
                  <a:lnTo>
                    <a:pt x="129" y="32"/>
                  </a:lnTo>
                  <a:lnTo>
                    <a:pt x="130" y="33"/>
                  </a:lnTo>
                  <a:lnTo>
                    <a:pt x="132" y="34"/>
                  </a:lnTo>
                  <a:lnTo>
                    <a:pt x="133" y="33"/>
                  </a:lnTo>
                  <a:lnTo>
                    <a:pt x="134" y="33"/>
                  </a:lnTo>
                  <a:lnTo>
                    <a:pt x="134" y="32"/>
                  </a:lnTo>
                  <a:lnTo>
                    <a:pt x="134" y="30"/>
                  </a:lnTo>
                  <a:lnTo>
                    <a:pt x="135" y="32"/>
                  </a:lnTo>
                  <a:lnTo>
                    <a:pt x="136" y="32"/>
                  </a:lnTo>
                  <a:lnTo>
                    <a:pt x="136" y="33"/>
                  </a:lnTo>
                  <a:lnTo>
                    <a:pt x="135" y="33"/>
                  </a:lnTo>
                  <a:lnTo>
                    <a:pt x="134" y="34"/>
                  </a:lnTo>
                  <a:lnTo>
                    <a:pt x="134" y="35"/>
                  </a:lnTo>
                  <a:lnTo>
                    <a:pt x="134" y="36"/>
                  </a:lnTo>
                  <a:lnTo>
                    <a:pt x="135" y="38"/>
                  </a:lnTo>
                  <a:lnTo>
                    <a:pt x="135" y="39"/>
                  </a:lnTo>
                  <a:lnTo>
                    <a:pt x="136" y="40"/>
                  </a:lnTo>
                  <a:lnTo>
                    <a:pt x="136" y="41"/>
                  </a:lnTo>
                  <a:lnTo>
                    <a:pt x="135" y="41"/>
                  </a:lnTo>
                  <a:lnTo>
                    <a:pt x="135" y="40"/>
                  </a:lnTo>
                  <a:lnTo>
                    <a:pt x="135" y="39"/>
                  </a:lnTo>
                  <a:lnTo>
                    <a:pt x="134" y="39"/>
                  </a:lnTo>
                  <a:lnTo>
                    <a:pt x="134" y="38"/>
                  </a:lnTo>
                  <a:lnTo>
                    <a:pt x="133" y="36"/>
                  </a:lnTo>
                  <a:lnTo>
                    <a:pt x="132" y="36"/>
                  </a:lnTo>
                  <a:lnTo>
                    <a:pt x="132" y="38"/>
                  </a:lnTo>
                  <a:lnTo>
                    <a:pt x="132" y="39"/>
                  </a:lnTo>
                  <a:lnTo>
                    <a:pt x="130" y="39"/>
                  </a:lnTo>
                  <a:lnTo>
                    <a:pt x="130" y="40"/>
                  </a:lnTo>
                  <a:lnTo>
                    <a:pt x="129" y="40"/>
                  </a:lnTo>
                  <a:lnTo>
                    <a:pt x="129" y="39"/>
                  </a:lnTo>
                  <a:lnTo>
                    <a:pt x="129" y="38"/>
                  </a:lnTo>
                  <a:lnTo>
                    <a:pt x="128" y="39"/>
                  </a:lnTo>
                  <a:lnTo>
                    <a:pt x="128" y="40"/>
                  </a:lnTo>
                  <a:lnTo>
                    <a:pt x="127" y="40"/>
                  </a:lnTo>
                  <a:lnTo>
                    <a:pt x="127" y="39"/>
                  </a:lnTo>
                  <a:lnTo>
                    <a:pt x="127" y="38"/>
                  </a:lnTo>
                  <a:lnTo>
                    <a:pt x="127" y="36"/>
                  </a:lnTo>
                  <a:lnTo>
                    <a:pt x="126" y="36"/>
                  </a:lnTo>
                  <a:lnTo>
                    <a:pt x="126" y="35"/>
                  </a:lnTo>
                  <a:lnTo>
                    <a:pt x="124" y="35"/>
                  </a:lnTo>
                  <a:lnTo>
                    <a:pt x="123" y="36"/>
                  </a:lnTo>
                  <a:lnTo>
                    <a:pt x="123" y="38"/>
                  </a:lnTo>
                  <a:lnTo>
                    <a:pt x="123" y="39"/>
                  </a:lnTo>
                  <a:lnTo>
                    <a:pt x="123" y="40"/>
                  </a:lnTo>
                  <a:lnTo>
                    <a:pt x="122" y="40"/>
                  </a:lnTo>
                  <a:lnTo>
                    <a:pt x="122" y="39"/>
                  </a:lnTo>
                  <a:lnTo>
                    <a:pt x="121" y="39"/>
                  </a:lnTo>
                  <a:lnTo>
                    <a:pt x="121" y="40"/>
                  </a:lnTo>
                  <a:lnTo>
                    <a:pt x="120" y="40"/>
                  </a:lnTo>
                  <a:lnTo>
                    <a:pt x="118" y="39"/>
                  </a:lnTo>
                  <a:lnTo>
                    <a:pt x="118" y="38"/>
                  </a:lnTo>
                  <a:lnTo>
                    <a:pt x="117" y="38"/>
                  </a:lnTo>
                  <a:lnTo>
                    <a:pt x="117" y="36"/>
                  </a:lnTo>
                  <a:lnTo>
                    <a:pt x="117" y="35"/>
                  </a:lnTo>
                  <a:lnTo>
                    <a:pt x="117" y="34"/>
                  </a:lnTo>
                  <a:lnTo>
                    <a:pt x="116" y="33"/>
                  </a:lnTo>
                  <a:lnTo>
                    <a:pt x="115" y="34"/>
                  </a:lnTo>
                  <a:lnTo>
                    <a:pt x="114" y="35"/>
                  </a:lnTo>
                  <a:lnTo>
                    <a:pt x="112" y="36"/>
                  </a:lnTo>
                  <a:lnTo>
                    <a:pt x="112" y="35"/>
                  </a:lnTo>
                  <a:lnTo>
                    <a:pt x="112" y="34"/>
                  </a:lnTo>
                  <a:lnTo>
                    <a:pt x="111" y="33"/>
                  </a:lnTo>
                  <a:lnTo>
                    <a:pt x="110" y="33"/>
                  </a:lnTo>
                  <a:lnTo>
                    <a:pt x="110" y="34"/>
                  </a:lnTo>
                  <a:lnTo>
                    <a:pt x="109" y="35"/>
                  </a:lnTo>
                  <a:lnTo>
                    <a:pt x="109" y="36"/>
                  </a:lnTo>
                  <a:lnTo>
                    <a:pt x="108" y="35"/>
                  </a:lnTo>
                  <a:lnTo>
                    <a:pt x="108" y="34"/>
                  </a:lnTo>
                  <a:lnTo>
                    <a:pt x="109" y="33"/>
                  </a:lnTo>
                  <a:lnTo>
                    <a:pt x="109" y="32"/>
                  </a:lnTo>
                  <a:lnTo>
                    <a:pt x="108" y="32"/>
                  </a:lnTo>
                  <a:lnTo>
                    <a:pt x="109" y="32"/>
                  </a:lnTo>
                  <a:lnTo>
                    <a:pt x="109" y="30"/>
                  </a:lnTo>
                  <a:lnTo>
                    <a:pt x="108" y="29"/>
                  </a:lnTo>
                  <a:lnTo>
                    <a:pt x="106" y="29"/>
                  </a:lnTo>
                  <a:lnTo>
                    <a:pt x="105" y="29"/>
                  </a:lnTo>
                  <a:lnTo>
                    <a:pt x="105" y="28"/>
                  </a:lnTo>
                  <a:lnTo>
                    <a:pt x="105" y="27"/>
                  </a:lnTo>
                  <a:lnTo>
                    <a:pt x="104" y="26"/>
                  </a:lnTo>
                  <a:lnTo>
                    <a:pt x="103" y="24"/>
                  </a:lnTo>
                  <a:lnTo>
                    <a:pt x="103" y="26"/>
                  </a:lnTo>
                  <a:lnTo>
                    <a:pt x="102" y="27"/>
                  </a:lnTo>
                  <a:lnTo>
                    <a:pt x="100" y="28"/>
                  </a:lnTo>
                  <a:lnTo>
                    <a:pt x="99" y="29"/>
                  </a:lnTo>
                  <a:lnTo>
                    <a:pt x="99" y="28"/>
                  </a:lnTo>
                  <a:lnTo>
                    <a:pt x="99" y="27"/>
                  </a:lnTo>
                  <a:lnTo>
                    <a:pt x="100" y="26"/>
                  </a:lnTo>
                  <a:lnTo>
                    <a:pt x="99" y="26"/>
                  </a:lnTo>
                  <a:lnTo>
                    <a:pt x="100" y="26"/>
                  </a:lnTo>
                  <a:lnTo>
                    <a:pt x="100" y="24"/>
                  </a:lnTo>
                  <a:lnTo>
                    <a:pt x="102" y="24"/>
                  </a:lnTo>
                  <a:lnTo>
                    <a:pt x="102" y="23"/>
                  </a:lnTo>
                  <a:lnTo>
                    <a:pt x="102" y="22"/>
                  </a:lnTo>
                  <a:lnTo>
                    <a:pt x="103" y="21"/>
                  </a:lnTo>
                  <a:lnTo>
                    <a:pt x="102" y="20"/>
                  </a:lnTo>
                  <a:lnTo>
                    <a:pt x="100" y="20"/>
                  </a:lnTo>
                  <a:lnTo>
                    <a:pt x="99" y="20"/>
                  </a:lnTo>
                  <a:lnTo>
                    <a:pt x="100" y="21"/>
                  </a:lnTo>
                  <a:lnTo>
                    <a:pt x="99" y="22"/>
                  </a:lnTo>
                  <a:lnTo>
                    <a:pt x="99" y="21"/>
                  </a:lnTo>
                  <a:lnTo>
                    <a:pt x="98" y="22"/>
                  </a:lnTo>
                  <a:lnTo>
                    <a:pt x="98" y="23"/>
                  </a:lnTo>
                  <a:lnTo>
                    <a:pt x="98" y="24"/>
                  </a:lnTo>
                  <a:lnTo>
                    <a:pt x="97" y="24"/>
                  </a:lnTo>
                  <a:lnTo>
                    <a:pt x="97" y="23"/>
                  </a:lnTo>
                  <a:lnTo>
                    <a:pt x="97" y="22"/>
                  </a:lnTo>
                  <a:lnTo>
                    <a:pt x="97" y="21"/>
                  </a:lnTo>
                  <a:lnTo>
                    <a:pt x="98" y="20"/>
                  </a:lnTo>
                  <a:lnTo>
                    <a:pt x="97" y="18"/>
                  </a:lnTo>
                  <a:lnTo>
                    <a:pt x="96" y="17"/>
                  </a:lnTo>
                  <a:lnTo>
                    <a:pt x="96" y="18"/>
                  </a:lnTo>
                  <a:lnTo>
                    <a:pt x="94" y="20"/>
                  </a:lnTo>
                  <a:lnTo>
                    <a:pt x="94" y="18"/>
                  </a:lnTo>
                  <a:lnTo>
                    <a:pt x="94" y="17"/>
                  </a:lnTo>
                  <a:lnTo>
                    <a:pt x="93" y="18"/>
                  </a:lnTo>
                  <a:lnTo>
                    <a:pt x="93" y="17"/>
                  </a:lnTo>
                  <a:lnTo>
                    <a:pt x="92" y="17"/>
                  </a:lnTo>
                  <a:lnTo>
                    <a:pt x="92" y="16"/>
                  </a:lnTo>
                  <a:lnTo>
                    <a:pt x="92" y="15"/>
                  </a:lnTo>
                  <a:lnTo>
                    <a:pt x="91" y="15"/>
                  </a:lnTo>
                  <a:lnTo>
                    <a:pt x="89" y="15"/>
                  </a:lnTo>
                  <a:lnTo>
                    <a:pt x="89" y="16"/>
                  </a:lnTo>
                  <a:lnTo>
                    <a:pt x="89" y="17"/>
                  </a:lnTo>
                  <a:lnTo>
                    <a:pt x="91" y="18"/>
                  </a:lnTo>
                  <a:lnTo>
                    <a:pt x="89" y="18"/>
                  </a:lnTo>
                  <a:lnTo>
                    <a:pt x="88" y="18"/>
                  </a:lnTo>
                  <a:lnTo>
                    <a:pt x="89" y="20"/>
                  </a:lnTo>
                  <a:lnTo>
                    <a:pt x="91" y="21"/>
                  </a:lnTo>
                  <a:lnTo>
                    <a:pt x="92" y="22"/>
                  </a:lnTo>
                  <a:lnTo>
                    <a:pt x="92" y="23"/>
                  </a:lnTo>
                  <a:lnTo>
                    <a:pt x="93" y="23"/>
                  </a:lnTo>
                  <a:lnTo>
                    <a:pt x="92" y="23"/>
                  </a:lnTo>
                  <a:lnTo>
                    <a:pt x="91" y="22"/>
                  </a:lnTo>
                  <a:lnTo>
                    <a:pt x="89" y="22"/>
                  </a:lnTo>
                  <a:lnTo>
                    <a:pt x="88" y="23"/>
                  </a:lnTo>
                  <a:lnTo>
                    <a:pt x="89" y="23"/>
                  </a:lnTo>
                  <a:lnTo>
                    <a:pt x="89" y="24"/>
                  </a:lnTo>
                  <a:lnTo>
                    <a:pt x="91" y="26"/>
                  </a:lnTo>
                  <a:lnTo>
                    <a:pt x="91" y="27"/>
                  </a:lnTo>
                  <a:lnTo>
                    <a:pt x="91" y="28"/>
                  </a:lnTo>
                  <a:lnTo>
                    <a:pt x="89" y="28"/>
                  </a:lnTo>
                  <a:lnTo>
                    <a:pt x="88" y="27"/>
                  </a:lnTo>
                  <a:lnTo>
                    <a:pt x="86" y="27"/>
                  </a:lnTo>
                  <a:lnTo>
                    <a:pt x="85" y="28"/>
                  </a:lnTo>
                  <a:lnTo>
                    <a:pt x="85" y="29"/>
                  </a:lnTo>
                  <a:lnTo>
                    <a:pt x="86" y="30"/>
                  </a:lnTo>
                  <a:lnTo>
                    <a:pt x="86" y="32"/>
                  </a:lnTo>
                  <a:lnTo>
                    <a:pt x="87" y="32"/>
                  </a:lnTo>
                  <a:lnTo>
                    <a:pt x="88" y="33"/>
                  </a:lnTo>
                  <a:lnTo>
                    <a:pt x="89" y="34"/>
                  </a:lnTo>
                  <a:lnTo>
                    <a:pt x="91" y="35"/>
                  </a:lnTo>
                  <a:lnTo>
                    <a:pt x="92" y="34"/>
                  </a:lnTo>
                  <a:lnTo>
                    <a:pt x="93" y="34"/>
                  </a:lnTo>
                  <a:lnTo>
                    <a:pt x="94" y="35"/>
                  </a:lnTo>
                  <a:lnTo>
                    <a:pt x="93" y="36"/>
                  </a:lnTo>
                  <a:lnTo>
                    <a:pt x="93" y="35"/>
                  </a:lnTo>
                  <a:lnTo>
                    <a:pt x="92" y="35"/>
                  </a:lnTo>
                  <a:lnTo>
                    <a:pt x="91" y="35"/>
                  </a:lnTo>
                  <a:lnTo>
                    <a:pt x="89" y="35"/>
                  </a:lnTo>
                  <a:lnTo>
                    <a:pt x="88" y="35"/>
                  </a:lnTo>
                  <a:lnTo>
                    <a:pt x="88" y="34"/>
                  </a:lnTo>
                  <a:lnTo>
                    <a:pt x="87" y="34"/>
                  </a:lnTo>
                  <a:lnTo>
                    <a:pt x="87" y="35"/>
                  </a:lnTo>
                  <a:lnTo>
                    <a:pt x="86" y="35"/>
                  </a:lnTo>
                  <a:lnTo>
                    <a:pt x="87" y="36"/>
                  </a:lnTo>
                  <a:lnTo>
                    <a:pt x="88" y="36"/>
                  </a:lnTo>
                  <a:lnTo>
                    <a:pt x="88" y="38"/>
                  </a:lnTo>
                  <a:lnTo>
                    <a:pt x="88" y="39"/>
                  </a:lnTo>
                  <a:lnTo>
                    <a:pt x="88" y="40"/>
                  </a:lnTo>
                  <a:lnTo>
                    <a:pt x="89" y="40"/>
                  </a:lnTo>
                  <a:lnTo>
                    <a:pt x="89" y="41"/>
                  </a:lnTo>
                  <a:lnTo>
                    <a:pt x="88" y="41"/>
                  </a:lnTo>
                  <a:lnTo>
                    <a:pt x="88" y="40"/>
                  </a:lnTo>
                  <a:lnTo>
                    <a:pt x="87" y="40"/>
                  </a:lnTo>
                  <a:lnTo>
                    <a:pt x="87" y="41"/>
                  </a:lnTo>
                  <a:lnTo>
                    <a:pt x="87" y="42"/>
                  </a:lnTo>
                  <a:lnTo>
                    <a:pt x="87" y="41"/>
                  </a:lnTo>
                  <a:lnTo>
                    <a:pt x="86" y="42"/>
                  </a:lnTo>
                  <a:lnTo>
                    <a:pt x="87" y="44"/>
                  </a:lnTo>
                  <a:lnTo>
                    <a:pt x="88" y="44"/>
                  </a:lnTo>
                  <a:lnTo>
                    <a:pt x="89" y="44"/>
                  </a:lnTo>
                  <a:lnTo>
                    <a:pt x="91" y="44"/>
                  </a:lnTo>
                  <a:lnTo>
                    <a:pt x="92" y="44"/>
                  </a:lnTo>
                  <a:lnTo>
                    <a:pt x="93" y="44"/>
                  </a:lnTo>
                  <a:lnTo>
                    <a:pt x="94" y="44"/>
                  </a:lnTo>
                  <a:lnTo>
                    <a:pt x="96" y="44"/>
                  </a:lnTo>
                  <a:lnTo>
                    <a:pt x="96" y="45"/>
                  </a:lnTo>
                  <a:lnTo>
                    <a:pt x="97" y="45"/>
                  </a:lnTo>
                  <a:lnTo>
                    <a:pt x="98" y="45"/>
                  </a:lnTo>
                  <a:lnTo>
                    <a:pt x="99" y="45"/>
                  </a:lnTo>
                  <a:lnTo>
                    <a:pt x="100" y="45"/>
                  </a:lnTo>
                  <a:lnTo>
                    <a:pt x="102" y="46"/>
                  </a:lnTo>
                  <a:lnTo>
                    <a:pt x="100" y="46"/>
                  </a:lnTo>
                  <a:lnTo>
                    <a:pt x="99" y="46"/>
                  </a:lnTo>
                  <a:lnTo>
                    <a:pt x="98" y="46"/>
                  </a:lnTo>
                  <a:lnTo>
                    <a:pt x="97" y="47"/>
                  </a:lnTo>
                  <a:lnTo>
                    <a:pt x="96" y="46"/>
                  </a:lnTo>
                  <a:lnTo>
                    <a:pt x="96" y="47"/>
                  </a:lnTo>
                  <a:lnTo>
                    <a:pt x="94" y="47"/>
                  </a:lnTo>
                  <a:lnTo>
                    <a:pt x="94" y="46"/>
                  </a:lnTo>
                  <a:lnTo>
                    <a:pt x="93" y="45"/>
                  </a:lnTo>
                  <a:lnTo>
                    <a:pt x="93" y="46"/>
                  </a:lnTo>
                  <a:lnTo>
                    <a:pt x="92" y="46"/>
                  </a:lnTo>
                  <a:lnTo>
                    <a:pt x="92" y="47"/>
                  </a:lnTo>
                  <a:lnTo>
                    <a:pt x="93" y="47"/>
                  </a:lnTo>
                  <a:lnTo>
                    <a:pt x="92" y="48"/>
                  </a:lnTo>
                  <a:lnTo>
                    <a:pt x="92" y="47"/>
                  </a:lnTo>
                  <a:lnTo>
                    <a:pt x="91" y="46"/>
                  </a:lnTo>
                  <a:lnTo>
                    <a:pt x="91" y="47"/>
                  </a:lnTo>
                  <a:lnTo>
                    <a:pt x="89" y="47"/>
                  </a:lnTo>
                  <a:lnTo>
                    <a:pt x="89" y="46"/>
                  </a:lnTo>
                  <a:lnTo>
                    <a:pt x="89" y="45"/>
                  </a:lnTo>
                  <a:lnTo>
                    <a:pt x="88" y="45"/>
                  </a:lnTo>
                  <a:lnTo>
                    <a:pt x="87" y="45"/>
                  </a:lnTo>
                  <a:lnTo>
                    <a:pt x="86" y="45"/>
                  </a:lnTo>
                  <a:lnTo>
                    <a:pt x="86" y="46"/>
                  </a:lnTo>
                  <a:lnTo>
                    <a:pt x="85" y="46"/>
                  </a:lnTo>
                  <a:lnTo>
                    <a:pt x="86" y="46"/>
                  </a:lnTo>
                  <a:lnTo>
                    <a:pt x="86" y="48"/>
                  </a:lnTo>
                  <a:lnTo>
                    <a:pt x="87" y="48"/>
                  </a:lnTo>
                  <a:lnTo>
                    <a:pt x="87" y="50"/>
                  </a:lnTo>
                  <a:lnTo>
                    <a:pt x="88" y="50"/>
                  </a:lnTo>
                  <a:lnTo>
                    <a:pt x="88" y="51"/>
                  </a:lnTo>
                  <a:lnTo>
                    <a:pt x="89" y="51"/>
                  </a:lnTo>
                  <a:lnTo>
                    <a:pt x="89" y="52"/>
                  </a:lnTo>
                  <a:lnTo>
                    <a:pt x="88" y="52"/>
                  </a:lnTo>
                  <a:lnTo>
                    <a:pt x="87" y="51"/>
                  </a:lnTo>
                  <a:lnTo>
                    <a:pt x="87" y="52"/>
                  </a:lnTo>
                  <a:lnTo>
                    <a:pt x="86" y="52"/>
                  </a:lnTo>
                  <a:lnTo>
                    <a:pt x="85" y="52"/>
                  </a:lnTo>
                  <a:lnTo>
                    <a:pt x="85" y="51"/>
                  </a:lnTo>
                  <a:lnTo>
                    <a:pt x="83" y="51"/>
                  </a:lnTo>
                  <a:lnTo>
                    <a:pt x="82" y="52"/>
                  </a:lnTo>
                  <a:lnTo>
                    <a:pt x="82" y="53"/>
                  </a:lnTo>
                  <a:lnTo>
                    <a:pt x="83" y="53"/>
                  </a:lnTo>
                  <a:lnTo>
                    <a:pt x="85" y="54"/>
                  </a:lnTo>
                  <a:lnTo>
                    <a:pt x="86" y="54"/>
                  </a:lnTo>
                  <a:lnTo>
                    <a:pt x="87" y="54"/>
                  </a:lnTo>
                  <a:lnTo>
                    <a:pt x="88" y="54"/>
                  </a:lnTo>
                  <a:lnTo>
                    <a:pt x="89" y="54"/>
                  </a:lnTo>
                  <a:lnTo>
                    <a:pt x="91" y="53"/>
                  </a:lnTo>
                  <a:lnTo>
                    <a:pt x="91" y="52"/>
                  </a:lnTo>
                  <a:lnTo>
                    <a:pt x="92" y="52"/>
                  </a:lnTo>
                  <a:lnTo>
                    <a:pt x="93" y="52"/>
                  </a:lnTo>
                  <a:lnTo>
                    <a:pt x="94" y="51"/>
                  </a:lnTo>
                  <a:lnTo>
                    <a:pt x="96" y="50"/>
                  </a:lnTo>
                  <a:lnTo>
                    <a:pt x="97" y="50"/>
                  </a:lnTo>
                  <a:lnTo>
                    <a:pt x="98" y="51"/>
                  </a:lnTo>
                  <a:lnTo>
                    <a:pt x="97" y="52"/>
                  </a:lnTo>
                  <a:lnTo>
                    <a:pt x="97" y="51"/>
                  </a:lnTo>
                  <a:lnTo>
                    <a:pt x="96" y="51"/>
                  </a:lnTo>
                  <a:lnTo>
                    <a:pt x="94" y="52"/>
                  </a:lnTo>
                  <a:lnTo>
                    <a:pt x="94" y="53"/>
                  </a:lnTo>
                  <a:lnTo>
                    <a:pt x="94" y="54"/>
                  </a:lnTo>
                  <a:lnTo>
                    <a:pt x="93" y="54"/>
                  </a:lnTo>
                  <a:lnTo>
                    <a:pt x="93" y="53"/>
                  </a:lnTo>
                  <a:lnTo>
                    <a:pt x="92" y="53"/>
                  </a:lnTo>
                  <a:lnTo>
                    <a:pt x="92" y="54"/>
                  </a:lnTo>
                  <a:lnTo>
                    <a:pt x="92" y="56"/>
                  </a:lnTo>
                  <a:lnTo>
                    <a:pt x="91" y="56"/>
                  </a:lnTo>
                  <a:lnTo>
                    <a:pt x="91" y="57"/>
                  </a:lnTo>
                  <a:lnTo>
                    <a:pt x="89" y="57"/>
                  </a:lnTo>
                  <a:lnTo>
                    <a:pt x="89" y="56"/>
                  </a:lnTo>
                  <a:lnTo>
                    <a:pt x="88" y="56"/>
                  </a:lnTo>
                  <a:lnTo>
                    <a:pt x="88" y="57"/>
                  </a:lnTo>
                  <a:lnTo>
                    <a:pt x="87" y="57"/>
                  </a:lnTo>
                  <a:lnTo>
                    <a:pt x="87" y="56"/>
                  </a:lnTo>
                  <a:lnTo>
                    <a:pt x="86" y="56"/>
                  </a:lnTo>
                  <a:lnTo>
                    <a:pt x="85" y="56"/>
                  </a:lnTo>
                  <a:lnTo>
                    <a:pt x="83" y="56"/>
                  </a:lnTo>
                  <a:lnTo>
                    <a:pt x="83" y="54"/>
                  </a:lnTo>
                  <a:lnTo>
                    <a:pt x="82" y="54"/>
                  </a:lnTo>
                  <a:lnTo>
                    <a:pt x="81" y="54"/>
                  </a:lnTo>
                  <a:lnTo>
                    <a:pt x="80" y="53"/>
                  </a:lnTo>
                  <a:lnTo>
                    <a:pt x="80" y="52"/>
                  </a:lnTo>
                  <a:lnTo>
                    <a:pt x="79" y="51"/>
                  </a:lnTo>
                  <a:lnTo>
                    <a:pt x="77" y="51"/>
                  </a:lnTo>
                  <a:lnTo>
                    <a:pt x="77" y="50"/>
                  </a:lnTo>
                  <a:lnTo>
                    <a:pt x="76" y="50"/>
                  </a:lnTo>
                  <a:lnTo>
                    <a:pt x="75" y="50"/>
                  </a:lnTo>
                  <a:lnTo>
                    <a:pt x="75" y="51"/>
                  </a:lnTo>
                  <a:lnTo>
                    <a:pt x="76" y="51"/>
                  </a:lnTo>
                  <a:lnTo>
                    <a:pt x="76" y="53"/>
                  </a:lnTo>
                  <a:lnTo>
                    <a:pt x="75" y="53"/>
                  </a:lnTo>
                  <a:lnTo>
                    <a:pt x="74" y="52"/>
                  </a:lnTo>
                  <a:lnTo>
                    <a:pt x="73" y="52"/>
                  </a:lnTo>
                  <a:lnTo>
                    <a:pt x="71" y="52"/>
                  </a:lnTo>
                  <a:lnTo>
                    <a:pt x="70" y="52"/>
                  </a:lnTo>
                  <a:lnTo>
                    <a:pt x="70" y="51"/>
                  </a:lnTo>
                  <a:lnTo>
                    <a:pt x="69" y="51"/>
                  </a:lnTo>
                  <a:lnTo>
                    <a:pt x="68" y="51"/>
                  </a:lnTo>
                  <a:lnTo>
                    <a:pt x="67" y="50"/>
                  </a:lnTo>
                  <a:lnTo>
                    <a:pt x="67" y="48"/>
                  </a:lnTo>
                  <a:lnTo>
                    <a:pt x="65" y="48"/>
                  </a:lnTo>
                  <a:lnTo>
                    <a:pt x="64" y="48"/>
                  </a:lnTo>
                  <a:lnTo>
                    <a:pt x="64" y="50"/>
                  </a:lnTo>
                  <a:lnTo>
                    <a:pt x="65" y="51"/>
                  </a:lnTo>
                  <a:lnTo>
                    <a:pt x="64" y="52"/>
                  </a:lnTo>
                  <a:lnTo>
                    <a:pt x="63" y="52"/>
                  </a:lnTo>
                  <a:lnTo>
                    <a:pt x="63" y="51"/>
                  </a:lnTo>
                  <a:lnTo>
                    <a:pt x="63" y="50"/>
                  </a:lnTo>
                  <a:lnTo>
                    <a:pt x="62" y="50"/>
                  </a:lnTo>
                  <a:lnTo>
                    <a:pt x="61" y="51"/>
                  </a:lnTo>
                  <a:lnTo>
                    <a:pt x="59" y="51"/>
                  </a:lnTo>
                  <a:lnTo>
                    <a:pt x="61" y="52"/>
                  </a:lnTo>
                  <a:lnTo>
                    <a:pt x="62" y="53"/>
                  </a:lnTo>
                  <a:lnTo>
                    <a:pt x="62" y="54"/>
                  </a:lnTo>
                  <a:lnTo>
                    <a:pt x="63" y="54"/>
                  </a:lnTo>
                  <a:lnTo>
                    <a:pt x="64" y="54"/>
                  </a:lnTo>
                  <a:lnTo>
                    <a:pt x="64" y="56"/>
                  </a:lnTo>
                  <a:lnTo>
                    <a:pt x="63" y="56"/>
                  </a:lnTo>
                  <a:lnTo>
                    <a:pt x="62" y="56"/>
                  </a:lnTo>
                  <a:lnTo>
                    <a:pt x="62" y="57"/>
                  </a:lnTo>
                  <a:lnTo>
                    <a:pt x="63" y="57"/>
                  </a:lnTo>
                  <a:lnTo>
                    <a:pt x="64" y="58"/>
                  </a:lnTo>
                  <a:lnTo>
                    <a:pt x="65" y="58"/>
                  </a:lnTo>
                  <a:lnTo>
                    <a:pt x="67" y="58"/>
                  </a:lnTo>
                  <a:lnTo>
                    <a:pt x="68" y="58"/>
                  </a:lnTo>
                  <a:lnTo>
                    <a:pt x="69" y="58"/>
                  </a:lnTo>
                  <a:lnTo>
                    <a:pt x="69" y="59"/>
                  </a:lnTo>
                  <a:lnTo>
                    <a:pt x="69" y="60"/>
                  </a:lnTo>
                  <a:lnTo>
                    <a:pt x="70" y="60"/>
                  </a:lnTo>
                  <a:lnTo>
                    <a:pt x="71" y="60"/>
                  </a:lnTo>
                  <a:lnTo>
                    <a:pt x="71" y="59"/>
                  </a:lnTo>
                  <a:lnTo>
                    <a:pt x="73" y="60"/>
                  </a:lnTo>
                  <a:lnTo>
                    <a:pt x="74" y="60"/>
                  </a:lnTo>
                  <a:lnTo>
                    <a:pt x="75" y="60"/>
                  </a:lnTo>
                  <a:lnTo>
                    <a:pt x="75" y="59"/>
                  </a:lnTo>
                  <a:lnTo>
                    <a:pt x="76" y="58"/>
                  </a:lnTo>
                  <a:lnTo>
                    <a:pt x="76" y="59"/>
                  </a:lnTo>
                  <a:lnTo>
                    <a:pt x="77" y="59"/>
                  </a:lnTo>
                  <a:lnTo>
                    <a:pt x="79" y="60"/>
                  </a:lnTo>
                  <a:lnTo>
                    <a:pt x="77" y="60"/>
                  </a:lnTo>
                  <a:lnTo>
                    <a:pt x="77" y="62"/>
                  </a:lnTo>
                  <a:lnTo>
                    <a:pt x="79" y="62"/>
                  </a:lnTo>
                  <a:lnTo>
                    <a:pt x="77" y="63"/>
                  </a:lnTo>
                  <a:lnTo>
                    <a:pt x="76" y="63"/>
                  </a:lnTo>
                  <a:lnTo>
                    <a:pt x="75" y="64"/>
                  </a:lnTo>
                  <a:lnTo>
                    <a:pt x="76" y="65"/>
                  </a:lnTo>
                  <a:lnTo>
                    <a:pt x="77" y="65"/>
                  </a:lnTo>
                  <a:lnTo>
                    <a:pt x="77" y="66"/>
                  </a:lnTo>
                  <a:lnTo>
                    <a:pt x="79" y="66"/>
                  </a:lnTo>
                  <a:lnTo>
                    <a:pt x="79" y="68"/>
                  </a:lnTo>
                  <a:lnTo>
                    <a:pt x="77" y="68"/>
                  </a:lnTo>
                  <a:lnTo>
                    <a:pt x="79" y="69"/>
                  </a:lnTo>
                  <a:lnTo>
                    <a:pt x="80" y="69"/>
                  </a:lnTo>
                  <a:lnTo>
                    <a:pt x="81" y="69"/>
                  </a:lnTo>
                  <a:lnTo>
                    <a:pt x="80" y="70"/>
                  </a:lnTo>
                  <a:lnTo>
                    <a:pt x="80" y="71"/>
                  </a:lnTo>
                  <a:lnTo>
                    <a:pt x="79" y="71"/>
                  </a:lnTo>
                  <a:lnTo>
                    <a:pt x="77" y="71"/>
                  </a:lnTo>
                  <a:lnTo>
                    <a:pt x="77" y="73"/>
                  </a:lnTo>
                  <a:lnTo>
                    <a:pt x="79" y="74"/>
                  </a:lnTo>
                  <a:lnTo>
                    <a:pt x="80" y="74"/>
                  </a:lnTo>
                  <a:lnTo>
                    <a:pt x="80" y="75"/>
                  </a:lnTo>
                  <a:lnTo>
                    <a:pt x="81" y="74"/>
                  </a:lnTo>
                  <a:lnTo>
                    <a:pt x="81" y="75"/>
                  </a:lnTo>
                  <a:lnTo>
                    <a:pt x="82" y="76"/>
                  </a:lnTo>
                  <a:lnTo>
                    <a:pt x="83" y="76"/>
                  </a:lnTo>
                  <a:lnTo>
                    <a:pt x="85" y="76"/>
                  </a:lnTo>
                  <a:lnTo>
                    <a:pt x="85" y="75"/>
                  </a:lnTo>
                  <a:lnTo>
                    <a:pt x="86" y="75"/>
                  </a:lnTo>
                  <a:lnTo>
                    <a:pt x="87" y="75"/>
                  </a:lnTo>
                  <a:lnTo>
                    <a:pt x="87" y="74"/>
                  </a:lnTo>
                  <a:lnTo>
                    <a:pt x="88" y="74"/>
                  </a:lnTo>
                  <a:lnTo>
                    <a:pt x="89" y="74"/>
                  </a:lnTo>
                  <a:lnTo>
                    <a:pt x="91" y="74"/>
                  </a:lnTo>
                  <a:lnTo>
                    <a:pt x="92" y="74"/>
                  </a:lnTo>
                  <a:lnTo>
                    <a:pt x="92" y="75"/>
                  </a:lnTo>
                  <a:lnTo>
                    <a:pt x="93" y="75"/>
                  </a:lnTo>
                  <a:lnTo>
                    <a:pt x="94" y="74"/>
                  </a:lnTo>
                  <a:lnTo>
                    <a:pt x="94" y="73"/>
                  </a:lnTo>
                  <a:lnTo>
                    <a:pt x="94" y="74"/>
                  </a:lnTo>
                  <a:lnTo>
                    <a:pt x="96" y="74"/>
                  </a:lnTo>
                  <a:lnTo>
                    <a:pt x="97" y="74"/>
                  </a:lnTo>
                  <a:lnTo>
                    <a:pt x="97" y="73"/>
                  </a:lnTo>
                  <a:lnTo>
                    <a:pt x="98" y="71"/>
                  </a:lnTo>
                  <a:lnTo>
                    <a:pt x="99" y="70"/>
                  </a:lnTo>
                  <a:lnTo>
                    <a:pt x="100" y="71"/>
                  </a:lnTo>
                  <a:lnTo>
                    <a:pt x="102" y="71"/>
                  </a:lnTo>
                  <a:lnTo>
                    <a:pt x="103" y="71"/>
                  </a:lnTo>
                  <a:lnTo>
                    <a:pt x="104" y="71"/>
                  </a:lnTo>
                  <a:lnTo>
                    <a:pt x="105" y="71"/>
                  </a:lnTo>
                  <a:lnTo>
                    <a:pt x="105" y="73"/>
                  </a:lnTo>
                  <a:lnTo>
                    <a:pt x="104" y="73"/>
                  </a:lnTo>
                  <a:lnTo>
                    <a:pt x="103" y="73"/>
                  </a:lnTo>
                  <a:lnTo>
                    <a:pt x="103" y="74"/>
                  </a:lnTo>
                  <a:lnTo>
                    <a:pt x="103" y="75"/>
                  </a:lnTo>
                  <a:lnTo>
                    <a:pt x="102" y="75"/>
                  </a:lnTo>
                  <a:lnTo>
                    <a:pt x="100" y="75"/>
                  </a:lnTo>
                  <a:lnTo>
                    <a:pt x="99" y="76"/>
                  </a:lnTo>
                  <a:lnTo>
                    <a:pt x="98" y="76"/>
                  </a:lnTo>
                  <a:lnTo>
                    <a:pt x="98" y="77"/>
                  </a:lnTo>
                  <a:lnTo>
                    <a:pt x="98" y="79"/>
                  </a:lnTo>
                  <a:lnTo>
                    <a:pt x="99" y="79"/>
                  </a:lnTo>
                  <a:lnTo>
                    <a:pt x="100" y="79"/>
                  </a:lnTo>
                  <a:lnTo>
                    <a:pt x="100" y="77"/>
                  </a:lnTo>
                  <a:lnTo>
                    <a:pt x="102" y="77"/>
                  </a:lnTo>
                  <a:lnTo>
                    <a:pt x="102" y="76"/>
                  </a:lnTo>
                  <a:lnTo>
                    <a:pt x="103" y="76"/>
                  </a:lnTo>
                  <a:lnTo>
                    <a:pt x="104" y="76"/>
                  </a:lnTo>
                  <a:lnTo>
                    <a:pt x="104" y="75"/>
                  </a:lnTo>
                  <a:lnTo>
                    <a:pt x="105" y="75"/>
                  </a:lnTo>
                  <a:lnTo>
                    <a:pt x="106" y="74"/>
                  </a:lnTo>
                  <a:lnTo>
                    <a:pt x="106" y="75"/>
                  </a:lnTo>
                  <a:lnTo>
                    <a:pt x="105" y="75"/>
                  </a:lnTo>
                  <a:lnTo>
                    <a:pt x="104" y="76"/>
                  </a:lnTo>
                  <a:lnTo>
                    <a:pt x="105" y="76"/>
                  </a:lnTo>
                  <a:lnTo>
                    <a:pt x="106" y="76"/>
                  </a:lnTo>
                  <a:lnTo>
                    <a:pt x="106" y="75"/>
                  </a:lnTo>
                  <a:lnTo>
                    <a:pt x="108" y="75"/>
                  </a:lnTo>
                  <a:lnTo>
                    <a:pt x="108" y="74"/>
                  </a:lnTo>
                  <a:lnTo>
                    <a:pt x="109" y="75"/>
                  </a:lnTo>
                  <a:lnTo>
                    <a:pt x="108" y="76"/>
                  </a:lnTo>
                  <a:lnTo>
                    <a:pt x="106" y="76"/>
                  </a:lnTo>
                  <a:lnTo>
                    <a:pt x="106" y="77"/>
                  </a:lnTo>
                  <a:lnTo>
                    <a:pt x="108" y="77"/>
                  </a:lnTo>
                  <a:lnTo>
                    <a:pt x="106" y="79"/>
                  </a:lnTo>
                  <a:lnTo>
                    <a:pt x="105" y="79"/>
                  </a:lnTo>
                  <a:lnTo>
                    <a:pt x="104" y="80"/>
                  </a:lnTo>
                  <a:lnTo>
                    <a:pt x="104" y="79"/>
                  </a:lnTo>
                  <a:lnTo>
                    <a:pt x="103" y="79"/>
                  </a:lnTo>
                  <a:lnTo>
                    <a:pt x="103" y="80"/>
                  </a:lnTo>
                  <a:lnTo>
                    <a:pt x="104" y="81"/>
                  </a:lnTo>
                  <a:lnTo>
                    <a:pt x="103" y="81"/>
                  </a:lnTo>
                  <a:lnTo>
                    <a:pt x="103" y="82"/>
                  </a:lnTo>
                  <a:lnTo>
                    <a:pt x="102" y="83"/>
                  </a:lnTo>
                  <a:lnTo>
                    <a:pt x="102" y="85"/>
                  </a:lnTo>
                  <a:lnTo>
                    <a:pt x="103" y="85"/>
                  </a:lnTo>
                  <a:lnTo>
                    <a:pt x="104" y="85"/>
                  </a:lnTo>
                  <a:lnTo>
                    <a:pt x="105" y="85"/>
                  </a:lnTo>
                  <a:lnTo>
                    <a:pt x="106" y="85"/>
                  </a:lnTo>
                  <a:lnTo>
                    <a:pt x="108" y="83"/>
                  </a:lnTo>
                  <a:lnTo>
                    <a:pt x="109" y="83"/>
                  </a:lnTo>
                  <a:lnTo>
                    <a:pt x="109" y="82"/>
                  </a:lnTo>
                  <a:lnTo>
                    <a:pt x="108" y="81"/>
                  </a:lnTo>
                  <a:lnTo>
                    <a:pt x="108" y="80"/>
                  </a:lnTo>
                  <a:lnTo>
                    <a:pt x="109" y="80"/>
                  </a:lnTo>
                  <a:lnTo>
                    <a:pt x="109" y="79"/>
                  </a:lnTo>
                  <a:lnTo>
                    <a:pt x="109" y="77"/>
                  </a:lnTo>
                  <a:lnTo>
                    <a:pt x="110" y="77"/>
                  </a:lnTo>
                  <a:lnTo>
                    <a:pt x="110" y="76"/>
                  </a:lnTo>
                  <a:lnTo>
                    <a:pt x="110" y="75"/>
                  </a:lnTo>
                  <a:lnTo>
                    <a:pt x="110" y="74"/>
                  </a:lnTo>
                  <a:lnTo>
                    <a:pt x="111" y="74"/>
                  </a:lnTo>
                  <a:lnTo>
                    <a:pt x="111" y="73"/>
                  </a:lnTo>
                  <a:lnTo>
                    <a:pt x="110" y="71"/>
                  </a:lnTo>
                  <a:lnTo>
                    <a:pt x="111" y="70"/>
                  </a:lnTo>
                  <a:lnTo>
                    <a:pt x="112" y="70"/>
                  </a:lnTo>
                  <a:lnTo>
                    <a:pt x="114" y="70"/>
                  </a:lnTo>
                  <a:lnTo>
                    <a:pt x="115" y="69"/>
                  </a:lnTo>
                  <a:lnTo>
                    <a:pt x="116" y="69"/>
                  </a:lnTo>
                  <a:lnTo>
                    <a:pt x="118" y="69"/>
                  </a:lnTo>
                  <a:lnTo>
                    <a:pt x="120" y="69"/>
                  </a:lnTo>
                  <a:lnTo>
                    <a:pt x="120" y="70"/>
                  </a:lnTo>
                  <a:lnTo>
                    <a:pt x="121" y="70"/>
                  </a:lnTo>
                  <a:lnTo>
                    <a:pt x="122" y="70"/>
                  </a:lnTo>
                  <a:lnTo>
                    <a:pt x="123" y="70"/>
                  </a:lnTo>
                  <a:lnTo>
                    <a:pt x="122" y="71"/>
                  </a:lnTo>
                  <a:lnTo>
                    <a:pt x="121" y="71"/>
                  </a:lnTo>
                  <a:lnTo>
                    <a:pt x="121" y="73"/>
                  </a:lnTo>
                  <a:lnTo>
                    <a:pt x="122" y="73"/>
                  </a:lnTo>
                  <a:lnTo>
                    <a:pt x="123" y="73"/>
                  </a:lnTo>
                  <a:lnTo>
                    <a:pt x="124" y="73"/>
                  </a:lnTo>
                  <a:lnTo>
                    <a:pt x="123" y="74"/>
                  </a:lnTo>
                  <a:lnTo>
                    <a:pt x="122" y="75"/>
                  </a:lnTo>
                  <a:lnTo>
                    <a:pt x="121" y="75"/>
                  </a:lnTo>
                  <a:lnTo>
                    <a:pt x="120" y="75"/>
                  </a:lnTo>
                  <a:lnTo>
                    <a:pt x="120" y="76"/>
                  </a:lnTo>
                  <a:lnTo>
                    <a:pt x="120" y="77"/>
                  </a:lnTo>
                  <a:lnTo>
                    <a:pt x="118" y="76"/>
                  </a:lnTo>
                  <a:lnTo>
                    <a:pt x="117" y="77"/>
                  </a:lnTo>
                  <a:lnTo>
                    <a:pt x="117" y="76"/>
                  </a:lnTo>
                  <a:lnTo>
                    <a:pt x="116" y="75"/>
                  </a:lnTo>
                  <a:lnTo>
                    <a:pt x="115" y="76"/>
                  </a:lnTo>
                  <a:lnTo>
                    <a:pt x="114" y="75"/>
                  </a:lnTo>
                  <a:lnTo>
                    <a:pt x="112" y="75"/>
                  </a:lnTo>
                  <a:lnTo>
                    <a:pt x="112" y="76"/>
                  </a:lnTo>
                  <a:lnTo>
                    <a:pt x="114" y="76"/>
                  </a:lnTo>
                  <a:lnTo>
                    <a:pt x="114" y="77"/>
                  </a:lnTo>
                  <a:lnTo>
                    <a:pt x="115" y="77"/>
                  </a:lnTo>
                  <a:lnTo>
                    <a:pt x="116" y="77"/>
                  </a:lnTo>
                  <a:lnTo>
                    <a:pt x="115" y="79"/>
                  </a:lnTo>
                  <a:lnTo>
                    <a:pt x="114" y="79"/>
                  </a:lnTo>
                  <a:lnTo>
                    <a:pt x="112" y="79"/>
                  </a:lnTo>
                  <a:lnTo>
                    <a:pt x="112" y="80"/>
                  </a:lnTo>
                  <a:lnTo>
                    <a:pt x="114" y="80"/>
                  </a:lnTo>
                  <a:lnTo>
                    <a:pt x="115" y="80"/>
                  </a:lnTo>
                  <a:lnTo>
                    <a:pt x="116" y="80"/>
                  </a:lnTo>
                  <a:lnTo>
                    <a:pt x="117" y="79"/>
                  </a:lnTo>
                  <a:lnTo>
                    <a:pt x="118" y="79"/>
                  </a:lnTo>
                  <a:lnTo>
                    <a:pt x="118" y="80"/>
                  </a:lnTo>
                  <a:lnTo>
                    <a:pt x="120" y="80"/>
                  </a:lnTo>
                  <a:lnTo>
                    <a:pt x="120" y="79"/>
                  </a:lnTo>
                  <a:lnTo>
                    <a:pt x="121" y="79"/>
                  </a:lnTo>
                  <a:lnTo>
                    <a:pt x="122" y="79"/>
                  </a:lnTo>
                  <a:lnTo>
                    <a:pt x="122" y="77"/>
                  </a:lnTo>
                  <a:lnTo>
                    <a:pt x="122" y="76"/>
                  </a:lnTo>
                  <a:lnTo>
                    <a:pt x="123" y="75"/>
                  </a:lnTo>
                  <a:lnTo>
                    <a:pt x="124" y="74"/>
                  </a:lnTo>
                  <a:lnTo>
                    <a:pt x="126" y="73"/>
                  </a:lnTo>
                  <a:lnTo>
                    <a:pt x="127" y="73"/>
                  </a:lnTo>
                  <a:lnTo>
                    <a:pt x="126" y="74"/>
                  </a:lnTo>
                  <a:lnTo>
                    <a:pt x="126" y="75"/>
                  </a:lnTo>
                  <a:lnTo>
                    <a:pt x="126" y="76"/>
                  </a:lnTo>
                  <a:lnTo>
                    <a:pt x="126" y="77"/>
                  </a:lnTo>
                  <a:lnTo>
                    <a:pt x="127" y="77"/>
                  </a:lnTo>
                  <a:lnTo>
                    <a:pt x="128" y="79"/>
                  </a:lnTo>
                  <a:lnTo>
                    <a:pt x="130" y="79"/>
                  </a:lnTo>
                  <a:lnTo>
                    <a:pt x="130" y="80"/>
                  </a:lnTo>
                  <a:lnTo>
                    <a:pt x="129" y="80"/>
                  </a:lnTo>
                  <a:lnTo>
                    <a:pt x="128" y="80"/>
                  </a:lnTo>
                  <a:lnTo>
                    <a:pt x="127" y="80"/>
                  </a:lnTo>
                  <a:lnTo>
                    <a:pt x="126" y="81"/>
                  </a:lnTo>
                  <a:lnTo>
                    <a:pt x="124" y="81"/>
                  </a:lnTo>
                  <a:lnTo>
                    <a:pt x="126" y="82"/>
                  </a:lnTo>
                  <a:lnTo>
                    <a:pt x="127" y="81"/>
                  </a:lnTo>
                  <a:lnTo>
                    <a:pt x="128" y="81"/>
                  </a:lnTo>
                  <a:lnTo>
                    <a:pt x="127" y="82"/>
                  </a:lnTo>
                  <a:lnTo>
                    <a:pt x="126" y="82"/>
                  </a:lnTo>
                  <a:lnTo>
                    <a:pt x="124" y="83"/>
                  </a:lnTo>
                  <a:lnTo>
                    <a:pt x="123" y="83"/>
                  </a:lnTo>
                  <a:lnTo>
                    <a:pt x="122" y="85"/>
                  </a:lnTo>
                  <a:lnTo>
                    <a:pt x="121" y="86"/>
                  </a:lnTo>
                  <a:lnTo>
                    <a:pt x="120" y="87"/>
                  </a:lnTo>
                  <a:lnTo>
                    <a:pt x="120" y="88"/>
                  </a:lnTo>
                  <a:lnTo>
                    <a:pt x="118" y="88"/>
                  </a:lnTo>
                  <a:lnTo>
                    <a:pt x="118" y="87"/>
                  </a:lnTo>
                  <a:lnTo>
                    <a:pt x="117" y="87"/>
                  </a:lnTo>
                  <a:lnTo>
                    <a:pt x="116" y="87"/>
                  </a:lnTo>
                  <a:lnTo>
                    <a:pt x="116" y="88"/>
                  </a:lnTo>
                  <a:lnTo>
                    <a:pt x="116" y="89"/>
                  </a:lnTo>
                  <a:lnTo>
                    <a:pt x="117" y="89"/>
                  </a:lnTo>
                  <a:lnTo>
                    <a:pt x="116" y="91"/>
                  </a:lnTo>
                  <a:lnTo>
                    <a:pt x="115" y="91"/>
                  </a:lnTo>
                  <a:lnTo>
                    <a:pt x="114" y="91"/>
                  </a:lnTo>
                  <a:lnTo>
                    <a:pt x="112" y="89"/>
                  </a:lnTo>
                  <a:lnTo>
                    <a:pt x="112" y="88"/>
                  </a:lnTo>
                  <a:lnTo>
                    <a:pt x="111" y="88"/>
                  </a:lnTo>
                  <a:lnTo>
                    <a:pt x="111" y="89"/>
                  </a:lnTo>
                  <a:lnTo>
                    <a:pt x="110" y="89"/>
                  </a:lnTo>
                  <a:lnTo>
                    <a:pt x="109" y="89"/>
                  </a:lnTo>
                  <a:lnTo>
                    <a:pt x="109" y="91"/>
                  </a:lnTo>
                  <a:lnTo>
                    <a:pt x="110" y="92"/>
                  </a:lnTo>
                  <a:lnTo>
                    <a:pt x="111" y="92"/>
                  </a:lnTo>
                  <a:lnTo>
                    <a:pt x="114" y="92"/>
                  </a:lnTo>
                  <a:lnTo>
                    <a:pt x="115" y="92"/>
                  </a:lnTo>
                  <a:lnTo>
                    <a:pt x="112" y="92"/>
                  </a:lnTo>
                  <a:lnTo>
                    <a:pt x="111" y="92"/>
                  </a:lnTo>
                  <a:lnTo>
                    <a:pt x="110" y="93"/>
                  </a:lnTo>
                  <a:lnTo>
                    <a:pt x="110" y="94"/>
                  </a:lnTo>
                  <a:lnTo>
                    <a:pt x="109" y="94"/>
                  </a:lnTo>
                  <a:lnTo>
                    <a:pt x="110" y="94"/>
                  </a:lnTo>
                  <a:lnTo>
                    <a:pt x="111" y="94"/>
                  </a:lnTo>
                  <a:lnTo>
                    <a:pt x="112" y="94"/>
                  </a:lnTo>
                  <a:lnTo>
                    <a:pt x="114" y="94"/>
                  </a:lnTo>
                  <a:lnTo>
                    <a:pt x="114" y="95"/>
                  </a:lnTo>
                  <a:lnTo>
                    <a:pt x="112" y="95"/>
                  </a:lnTo>
                  <a:lnTo>
                    <a:pt x="111" y="95"/>
                  </a:lnTo>
                  <a:lnTo>
                    <a:pt x="110" y="95"/>
                  </a:lnTo>
                  <a:lnTo>
                    <a:pt x="109" y="95"/>
                  </a:lnTo>
                  <a:lnTo>
                    <a:pt x="109" y="97"/>
                  </a:lnTo>
                  <a:lnTo>
                    <a:pt x="110" y="97"/>
                  </a:lnTo>
                  <a:lnTo>
                    <a:pt x="110" y="98"/>
                  </a:lnTo>
                  <a:lnTo>
                    <a:pt x="111" y="98"/>
                  </a:lnTo>
                  <a:lnTo>
                    <a:pt x="110" y="99"/>
                  </a:lnTo>
                  <a:lnTo>
                    <a:pt x="110" y="100"/>
                  </a:lnTo>
                  <a:lnTo>
                    <a:pt x="109" y="100"/>
                  </a:lnTo>
                  <a:lnTo>
                    <a:pt x="109" y="101"/>
                  </a:lnTo>
                  <a:lnTo>
                    <a:pt x="108" y="101"/>
                  </a:lnTo>
                  <a:lnTo>
                    <a:pt x="108" y="103"/>
                  </a:lnTo>
                  <a:lnTo>
                    <a:pt x="106" y="103"/>
                  </a:lnTo>
                  <a:lnTo>
                    <a:pt x="106" y="101"/>
                  </a:lnTo>
                  <a:lnTo>
                    <a:pt x="105" y="101"/>
                  </a:lnTo>
                  <a:lnTo>
                    <a:pt x="104" y="101"/>
                  </a:lnTo>
                  <a:lnTo>
                    <a:pt x="104" y="103"/>
                  </a:lnTo>
                  <a:lnTo>
                    <a:pt x="103" y="103"/>
                  </a:lnTo>
                  <a:lnTo>
                    <a:pt x="103" y="101"/>
                  </a:lnTo>
                  <a:lnTo>
                    <a:pt x="103" y="103"/>
                  </a:lnTo>
                  <a:lnTo>
                    <a:pt x="102" y="103"/>
                  </a:lnTo>
                  <a:lnTo>
                    <a:pt x="102" y="104"/>
                  </a:lnTo>
                  <a:lnTo>
                    <a:pt x="102" y="103"/>
                  </a:lnTo>
                  <a:lnTo>
                    <a:pt x="100" y="103"/>
                  </a:lnTo>
                  <a:lnTo>
                    <a:pt x="99" y="103"/>
                  </a:lnTo>
                  <a:lnTo>
                    <a:pt x="99" y="104"/>
                  </a:lnTo>
                  <a:lnTo>
                    <a:pt x="98" y="104"/>
                  </a:lnTo>
                  <a:lnTo>
                    <a:pt x="97" y="104"/>
                  </a:lnTo>
                  <a:lnTo>
                    <a:pt x="97" y="105"/>
                  </a:lnTo>
                  <a:lnTo>
                    <a:pt x="96" y="104"/>
                  </a:lnTo>
                  <a:lnTo>
                    <a:pt x="94" y="104"/>
                  </a:lnTo>
                  <a:lnTo>
                    <a:pt x="93" y="104"/>
                  </a:lnTo>
                  <a:lnTo>
                    <a:pt x="92" y="104"/>
                  </a:lnTo>
                  <a:lnTo>
                    <a:pt x="91" y="104"/>
                  </a:lnTo>
                  <a:lnTo>
                    <a:pt x="91" y="105"/>
                  </a:lnTo>
                  <a:lnTo>
                    <a:pt x="91" y="106"/>
                  </a:lnTo>
                  <a:lnTo>
                    <a:pt x="92" y="106"/>
                  </a:lnTo>
                  <a:lnTo>
                    <a:pt x="92" y="107"/>
                  </a:lnTo>
                  <a:lnTo>
                    <a:pt x="92" y="109"/>
                  </a:lnTo>
                  <a:lnTo>
                    <a:pt x="93" y="110"/>
                  </a:lnTo>
                  <a:lnTo>
                    <a:pt x="94" y="110"/>
                  </a:lnTo>
                  <a:lnTo>
                    <a:pt x="94" y="111"/>
                  </a:lnTo>
                  <a:lnTo>
                    <a:pt x="93" y="111"/>
                  </a:lnTo>
                  <a:lnTo>
                    <a:pt x="92" y="111"/>
                  </a:lnTo>
                  <a:lnTo>
                    <a:pt x="91" y="111"/>
                  </a:lnTo>
                  <a:lnTo>
                    <a:pt x="91" y="110"/>
                  </a:lnTo>
                  <a:lnTo>
                    <a:pt x="92" y="110"/>
                  </a:lnTo>
                  <a:lnTo>
                    <a:pt x="92" y="109"/>
                  </a:lnTo>
                  <a:lnTo>
                    <a:pt x="91" y="109"/>
                  </a:lnTo>
                  <a:lnTo>
                    <a:pt x="89" y="109"/>
                  </a:lnTo>
                  <a:lnTo>
                    <a:pt x="91" y="107"/>
                  </a:lnTo>
                  <a:lnTo>
                    <a:pt x="91" y="106"/>
                  </a:lnTo>
                  <a:lnTo>
                    <a:pt x="89" y="106"/>
                  </a:lnTo>
                  <a:lnTo>
                    <a:pt x="89" y="107"/>
                  </a:lnTo>
                  <a:lnTo>
                    <a:pt x="88" y="107"/>
                  </a:lnTo>
                  <a:lnTo>
                    <a:pt x="87" y="107"/>
                  </a:lnTo>
                  <a:lnTo>
                    <a:pt x="87" y="109"/>
                  </a:lnTo>
                  <a:lnTo>
                    <a:pt x="86" y="109"/>
                  </a:lnTo>
                  <a:lnTo>
                    <a:pt x="86" y="107"/>
                  </a:lnTo>
                  <a:lnTo>
                    <a:pt x="85" y="107"/>
                  </a:lnTo>
                  <a:lnTo>
                    <a:pt x="83" y="107"/>
                  </a:lnTo>
                  <a:lnTo>
                    <a:pt x="83" y="109"/>
                  </a:lnTo>
                  <a:lnTo>
                    <a:pt x="82" y="110"/>
                  </a:lnTo>
                  <a:lnTo>
                    <a:pt x="83" y="111"/>
                  </a:lnTo>
                  <a:lnTo>
                    <a:pt x="85" y="111"/>
                  </a:lnTo>
                  <a:lnTo>
                    <a:pt x="85" y="112"/>
                  </a:lnTo>
                  <a:lnTo>
                    <a:pt x="86" y="112"/>
                  </a:lnTo>
                  <a:lnTo>
                    <a:pt x="85" y="112"/>
                  </a:lnTo>
                  <a:lnTo>
                    <a:pt x="83" y="111"/>
                  </a:lnTo>
                  <a:lnTo>
                    <a:pt x="82" y="111"/>
                  </a:lnTo>
                  <a:lnTo>
                    <a:pt x="82" y="110"/>
                  </a:lnTo>
                  <a:lnTo>
                    <a:pt x="82" y="109"/>
                  </a:lnTo>
                  <a:lnTo>
                    <a:pt x="83" y="107"/>
                  </a:lnTo>
                  <a:lnTo>
                    <a:pt x="83" y="106"/>
                  </a:lnTo>
                  <a:lnTo>
                    <a:pt x="82" y="105"/>
                  </a:lnTo>
                  <a:lnTo>
                    <a:pt x="82" y="104"/>
                  </a:lnTo>
                  <a:lnTo>
                    <a:pt x="82" y="103"/>
                  </a:lnTo>
                  <a:lnTo>
                    <a:pt x="82" y="101"/>
                  </a:lnTo>
                  <a:lnTo>
                    <a:pt x="80" y="103"/>
                  </a:lnTo>
                  <a:lnTo>
                    <a:pt x="80" y="104"/>
                  </a:lnTo>
                  <a:lnTo>
                    <a:pt x="79" y="104"/>
                  </a:lnTo>
                  <a:lnTo>
                    <a:pt x="79" y="103"/>
                  </a:lnTo>
                  <a:lnTo>
                    <a:pt x="77" y="103"/>
                  </a:lnTo>
                  <a:lnTo>
                    <a:pt x="77" y="101"/>
                  </a:lnTo>
                  <a:lnTo>
                    <a:pt x="76" y="101"/>
                  </a:lnTo>
                  <a:lnTo>
                    <a:pt x="75" y="101"/>
                  </a:lnTo>
                  <a:lnTo>
                    <a:pt x="75" y="100"/>
                  </a:lnTo>
                  <a:lnTo>
                    <a:pt x="76" y="100"/>
                  </a:lnTo>
                  <a:lnTo>
                    <a:pt x="76" y="99"/>
                  </a:lnTo>
                  <a:lnTo>
                    <a:pt x="76" y="98"/>
                  </a:lnTo>
                  <a:lnTo>
                    <a:pt x="75" y="97"/>
                  </a:lnTo>
                  <a:lnTo>
                    <a:pt x="74" y="97"/>
                  </a:lnTo>
                  <a:lnTo>
                    <a:pt x="73" y="97"/>
                  </a:lnTo>
                  <a:lnTo>
                    <a:pt x="73" y="98"/>
                  </a:lnTo>
                  <a:lnTo>
                    <a:pt x="71" y="98"/>
                  </a:lnTo>
                  <a:lnTo>
                    <a:pt x="73" y="99"/>
                  </a:lnTo>
                  <a:lnTo>
                    <a:pt x="71" y="100"/>
                  </a:lnTo>
                  <a:lnTo>
                    <a:pt x="73" y="101"/>
                  </a:lnTo>
                  <a:lnTo>
                    <a:pt x="73" y="103"/>
                  </a:lnTo>
                  <a:lnTo>
                    <a:pt x="73" y="104"/>
                  </a:lnTo>
                  <a:lnTo>
                    <a:pt x="73" y="105"/>
                  </a:lnTo>
                  <a:lnTo>
                    <a:pt x="74" y="105"/>
                  </a:lnTo>
                  <a:lnTo>
                    <a:pt x="74" y="106"/>
                  </a:lnTo>
                  <a:lnTo>
                    <a:pt x="74" y="107"/>
                  </a:lnTo>
                  <a:lnTo>
                    <a:pt x="73" y="107"/>
                  </a:lnTo>
                  <a:lnTo>
                    <a:pt x="73" y="106"/>
                  </a:lnTo>
                  <a:lnTo>
                    <a:pt x="73" y="105"/>
                  </a:lnTo>
                  <a:lnTo>
                    <a:pt x="71" y="105"/>
                  </a:lnTo>
                  <a:lnTo>
                    <a:pt x="71" y="104"/>
                  </a:lnTo>
                  <a:lnTo>
                    <a:pt x="71" y="103"/>
                  </a:lnTo>
                  <a:lnTo>
                    <a:pt x="70" y="103"/>
                  </a:lnTo>
                  <a:lnTo>
                    <a:pt x="70" y="101"/>
                  </a:lnTo>
                  <a:lnTo>
                    <a:pt x="69" y="101"/>
                  </a:lnTo>
                  <a:lnTo>
                    <a:pt x="68" y="103"/>
                  </a:lnTo>
                  <a:lnTo>
                    <a:pt x="68" y="104"/>
                  </a:lnTo>
                  <a:lnTo>
                    <a:pt x="69" y="104"/>
                  </a:lnTo>
                  <a:lnTo>
                    <a:pt x="69" y="105"/>
                  </a:lnTo>
                  <a:lnTo>
                    <a:pt x="70" y="105"/>
                  </a:lnTo>
                  <a:lnTo>
                    <a:pt x="70" y="106"/>
                  </a:lnTo>
                  <a:lnTo>
                    <a:pt x="69" y="106"/>
                  </a:lnTo>
                  <a:lnTo>
                    <a:pt x="69" y="105"/>
                  </a:lnTo>
                  <a:lnTo>
                    <a:pt x="68" y="105"/>
                  </a:lnTo>
                  <a:lnTo>
                    <a:pt x="68" y="104"/>
                  </a:lnTo>
                  <a:lnTo>
                    <a:pt x="67" y="104"/>
                  </a:lnTo>
                  <a:lnTo>
                    <a:pt x="67" y="103"/>
                  </a:lnTo>
                  <a:lnTo>
                    <a:pt x="67" y="101"/>
                  </a:lnTo>
                  <a:lnTo>
                    <a:pt x="65" y="101"/>
                  </a:lnTo>
                  <a:lnTo>
                    <a:pt x="67" y="100"/>
                  </a:lnTo>
                  <a:lnTo>
                    <a:pt x="67" y="99"/>
                  </a:lnTo>
                  <a:lnTo>
                    <a:pt x="65" y="99"/>
                  </a:lnTo>
                  <a:lnTo>
                    <a:pt x="64" y="99"/>
                  </a:lnTo>
                  <a:lnTo>
                    <a:pt x="63" y="99"/>
                  </a:lnTo>
                  <a:lnTo>
                    <a:pt x="63" y="98"/>
                  </a:lnTo>
                  <a:lnTo>
                    <a:pt x="62" y="97"/>
                  </a:lnTo>
                  <a:lnTo>
                    <a:pt x="62" y="95"/>
                  </a:lnTo>
                  <a:lnTo>
                    <a:pt x="61" y="95"/>
                  </a:lnTo>
                  <a:lnTo>
                    <a:pt x="61" y="94"/>
                  </a:lnTo>
                  <a:lnTo>
                    <a:pt x="59" y="94"/>
                  </a:lnTo>
                  <a:lnTo>
                    <a:pt x="58" y="94"/>
                  </a:lnTo>
                  <a:lnTo>
                    <a:pt x="58" y="95"/>
                  </a:lnTo>
                  <a:lnTo>
                    <a:pt x="57" y="97"/>
                  </a:lnTo>
                  <a:lnTo>
                    <a:pt x="58" y="97"/>
                  </a:lnTo>
                  <a:lnTo>
                    <a:pt x="58" y="98"/>
                  </a:lnTo>
                  <a:lnTo>
                    <a:pt x="59" y="99"/>
                  </a:lnTo>
                  <a:lnTo>
                    <a:pt x="61" y="99"/>
                  </a:lnTo>
                  <a:lnTo>
                    <a:pt x="62" y="100"/>
                  </a:lnTo>
                  <a:lnTo>
                    <a:pt x="62" y="101"/>
                  </a:lnTo>
                  <a:lnTo>
                    <a:pt x="61" y="100"/>
                  </a:lnTo>
                  <a:lnTo>
                    <a:pt x="59" y="99"/>
                  </a:lnTo>
                  <a:lnTo>
                    <a:pt x="59" y="100"/>
                  </a:lnTo>
                  <a:lnTo>
                    <a:pt x="58" y="100"/>
                  </a:lnTo>
                  <a:lnTo>
                    <a:pt x="58" y="99"/>
                  </a:lnTo>
                  <a:lnTo>
                    <a:pt x="57" y="98"/>
                  </a:lnTo>
                  <a:lnTo>
                    <a:pt x="57" y="99"/>
                  </a:lnTo>
                  <a:lnTo>
                    <a:pt x="56" y="99"/>
                  </a:lnTo>
                  <a:lnTo>
                    <a:pt x="56" y="98"/>
                  </a:lnTo>
                  <a:lnTo>
                    <a:pt x="55" y="97"/>
                  </a:lnTo>
                  <a:lnTo>
                    <a:pt x="53" y="97"/>
                  </a:lnTo>
                  <a:lnTo>
                    <a:pt x="53" y="98"/>
                  </a:lnTo>
                  <a:lnTo>
                    <a:pt x="52" y="97"/>
                  </a:lnTo>
                  <a:lnTo>
                    <a:pt x="53" y="95"/>
                  </a:lnTo>
                  <a:lnTo>
                    <a:pt x="53" y="94"/>
                  </a:lnTo>
                  <a:lnTo>
                    <a:pt x="52" y="94"/>
                  </a:lnTo>
                  <a:lnTo>
                    <a:pt x="51" y="94"/>
                  </a:lnTo>
                  <a:lnTo>
                    <a:pt x="50" y="94"/>
                  </a:lnTo>
                  <a:lnTo>
                    <a:pt x="49" y="94"/>
                  </a:lnTo>
                  <a:lnTo>
                    <a:pt x="47" y="94"/>
                  </a:lnTo>
                  <a:lnTo>
                    <a:pt x="47" y="93"/>
                  </a:lnTo>
                  <a:lnTo>
                    <a:pt x="46" y="93"/>
                  </a:lnTo>
                  <a:lnTo>
                    <a:pt x="44" y="93"/>
                  </a:lnTo>
                  <a:lnTo>
                    <a:pt x="44" y="94"/>
                  </a:lnTo>
                  <a:lnTo>
                    <a:pt x="43" y="94"/>
                  </a:lnTo>
                  <a:lnTo>
                    <a:pt x="43" y="93"/>
                  </a:lnTo>
                  <a:lnTo>
                    <a:pt x="43" y="92"/>
                  </a:lnTo>
                  <a:lnTo>
                    <a:pt x="43" y="91"/>
                  </a:lnTo>
                  <a:lnTo>
                    <a:pt x="41" y="91"/>
                  </a:lnTo>
                  <a:lnTo>
                    <a:pt x="40" y="91"/>
                  </a:lnTo>
                  <a:lnTo>
                    <a:pt x="40" y="89"/>
                  </a:lnTo>
                  <a:lnTo>
                    <a:pt x="40" y="88"/>
                  </a:lnTo>
                  <a:lnTo>
                    <a:pt x="39" y="88"/>
                  </a:lnTo>
                  <a:lnTo>
                    <a:pt x="38" y="88"/>
                  </a:lnTo>
                  <a:lnTo>
                    <a:pt x="39" y="88"/>
                  </a:lnTo>
                  <a:lnTo>
                    <a:pt x="39" y="89"/>
                  </a:lnTo>
                  <a:lnTo>
                    <a:pt x="38" y="89"/>
                  </a:lnTo>
                  <a:lnTo>
                    <a:pt x="38" y="88"/>
                  </a:lnTo>
                  <a:lnTo>
                    <a:pt x="37" y="88"/>
                  </a:lnTo>
                  <a:lnTo>
                    <a:pt x="35" y="87"/>
                  </a:lnTo>
                  <a:lnTo>
                    <a:pt x="34" y="87"/>
                  </a:lnTo>
                  <a:lnTo>
                    <a:pt x="33" y="87"/>
                  </a:lnTo>
                  <a:lnTo>
                    <a:pt x="33" y="89"/>
                  </a:lnTo>
                  <a:lnTo>
                    <a:pt x="34" y="89"/>
                  </a:lnTo>
                  <a:lnTo>
                    <a:pt x="34" y="91"/>
                  </a:lnTo>
                  <a:lnTo>
                    <a:pt x="35" y="92"/>
                  </a:lnTo>
                  <a:lnTo>
                    <a:pt x="34" y="92"/>
                  </a:lnTo>
                  <a:lnTo>
                    <a:pt x="34" y="93"/>
                  </a:lnTo>
                  <a:lnTo>
                    <a:pt x="34" y="94"/>
                  </a:lnTo>
                  <a:lnTo>
                    <a:pt x="35" y="94"/>
                  </a:lnTo>
                  <a:lnTo>
                    <a:pt x="37" y="95"/>
                  </a:lnTo>
                  <a:lnTo>
                    <a:pt x="38" y="95"/>
                  </a:lnTo>
                  <a:lnTo>
                    <a:pt x="39" y="95"/>
                  </a:lnTo>
                  <a:lnTo>
                    <a:pt x="39" y="97"/>
                  </a:lnTo>
                  <a:lnTo>
                    <a:pt x="38" y="97"/>
                  </a:lnTo>
                  <a:lnTo>
                    <a:pt x="37" y="97"/>
                  </a:lnTo>
                  <a:lnTo>
                    <a:pt x="37" y="98"/>
                  </a:lnTo>
                  <a:lnTo>
                    <a:pt x="38" y="98"/>
                  </a:lnTo>
                  <a:lnTo>
                    <a:pt x="38" y="99"/>
                  </a:lnTo>
                  <a:lnTo>
                    <a:pt x="39" y="100"/>
                  </a:lnTo>
                  <a:lnTo>
                    <a:pt x="40" y="100"/>
                  </a:lnTo>
                  <a:lnTo>
                    <a:pt x="41" y="100"/>
                  </a:lnTo>
                  <a:lnTo>
                    <a:pt x="41" y="101"/>
                  </a:lnTo>
                  <a:lnTo>
                    <a:pt x="40" y="101"/>
                  </a:lnTo>
                  <a:lnTo>
                    <a:pt x="39" y="100"/>
                  </a:lnTo>
                  <a:lnTo>
                    <a:pt x="38" y="100"/>
                  </a:lnTo>
                  <a:lnTo>
                    <a:pt x="38" y="99"/>
                  </a:lnTo>
                  <a:lnTo>
                    <a:pt x="37" y="99"/>
                  </a:lnTo>
                  <a:lnTo>
                    <a:pt x="37" y="100"/>
                  </a:lnTo>
                  <a:lnTo>
                    <a:pt x="35" y="100"/>
                  </a:lnTo>
                  <a:lnTo>
                    <a:pt x="35" y="99"/>
                  </a:lnTo>
                  <a:lnTo>
                    <a:pt x="34" y="100"/>
                  </a:lnTo>
                  <a:lnTo>
                    <a:pt x="33" y="100"/>
                  </a:lnTo>
                  <a:lnTo>
                    <a:pt x="32" y="101"/>
                  </a:lnTo>
                  <a:lnTo>
                    <a:pt x="32" y="103"/>
                  </a:lnTo>
                  <a:lnTo>
                    <a:pt x="33" y="103"/>
                  </a:lnTo>
                  <a:lnTo>
                    <a:pt x="34" y="103"/>
                  </a:lnTo>
                  <a:lnTo>
                    <a:pt x="34" y="104"/>
                  </a:lnTo>
                  <a:lnTo>
                    <a:pt x="35" y="105"/>
                  </a:lnTo>
                  <a:lnTo>
                    <a:pt x="37" y="105"/>
                  </a:lnTo>
                  <a:lnTo>
                    <a:pt x="38" y="105"/>
                  </a:lnTo>
                  <a:lnTo>
                    <a:pt x="39" y="105"/>
                  </a:lnTo>
                  <a:lnTo>
                    <a:pt x="39" y="106"/>
                  </a:lnTo>
                  <a:lnTo>
                    <a:pt x="40" y="107"/>
                  </a:lnTo>
                  <a:lnTo>
                    <a:pt x="41" y="107"/>
                  </a:lnTo>
                  <a:lnTo>
                    <a:pt x="43" y="107"/>
                  </a:lnTo>
                  <a:lnTo>
                    <a:pt x="44" y="107"/>
                  </a:lnTo>
                  <a:lnTo>
                    <a:pt x="45" y="109"/>
                  </a:lnTo>
                  <a:lnTo>
                    <a:pt x="46" y="109"/>
                  </a:lnTo>
                  <a:lnTo>
                    <a:pt x="47" y="109"/>
                  </a:lnTo>
                  <a:lnTo>
                    <a:pt x="49" y="110"/>
                  </a:lnTo>
                  <a:lnTo>
                    <a:pt x="47" y="111"/>
                  </a:lnTo>
                  <a:lnTo>
                    <a:pt x="46" y="111"/>
                  </a:lnTo>
                  <a:lnTo>
                    <a:pt x="45" y="111"/>
                  </a:lnTo>
                  <a:lnTo>
                    <a:pt x="45" y="112"/>
                  </a:lnTo>
                  <a:lnTo>
                    <a:pt x="46" y="113"/>
                  </a:lnTo>
                  <a:lnTo>
                    <a:pt x="47" y="113"/>
                  </a:lnTo>
                  <a:lnTo>
                    <a:pt x="49" y="113"/>
                  </a:lnTo>
                  <a:lnTo>
                    <a:pt x="50" y="112"/>
                  </a:lnTo>
                  <a:lnTo>
                    <a:pt x="51" y="112"/>
                  </a:lnTo>
                  <a:lnTo>
                    <a:pt x="51" y="113"/>
                  </a:lnTo>
                  <a:lnTo>
                    <a:pt x="52" y="113"/>
                  </a:lnTo>
                  <a:lnTo>
                    <a:pt x="53" y="113"/>
                  </a:lnTo>
                  <a:lnTo>
                    <a:pt x="55" y="113"/>
                  </a:lnTo>
                  <a:lnTo>
                    <a:pt x="55" y="115"/>
                  </a:lnTo>
                  <a:lnTo>
                    <a:pt x="53" y="116"/>
                  </a:lnTo>
                  <a:lnTo>
                    <a:pt x="52" y="115"/>
                  </a:lnTo>
                  <a:lnTo>
                    <a:pt x="51" y="115"/>
                  </a:lnTo>
                  <a:lnTo>
                    <a:pt x="51" y="116"/>
                  </a:lnTo>
                  <a:lnTo>
                    <a:pt x="50" y="116"/>
                  </a:lnTo>
                  <a:lnTo>
                    <a:pt x="49" y="116"/>
                  </a:lnTo>
                  <a:lnTo>
                    <a:pt x="47" y="116"/>
                  </a:lnTo>
                  <a:lnTo>
                    <a:pt x="46" y="117"/>
                  </a:lnTo>
                  <a:lnTo>
                    <a:pt x="46" y="118"/>
                  </a:lnTo>
                  <a:lnTo>
                    <a:pt x="46" y="119"/>
                  </a:lnTo>
                  <a:lnTo>
                    <a:pt x="47" y="119"/>
                  </a:lnTo>
                  <a:lnTo>
                    <a:pt x="49" y="119"/>
                  </a:lnTo>
                  <a:lnTo>
                    <a:pt x="50" y="119"/>
                  </a:lnTo>
                  <a:lnTo>
                    <a:pt x="51" y="119"/>
                  </a:lnTo>
                  <a:lnTo>
                    <a:pt x="51" y="118"/>
                  </a:lnTo>
                  <a:lnTo>
                    <a:pt x="52" y="118"/>
                  </a:lnTo>
                  <a:lnTo>
                    <a:pt x="53" y="118"/>
                  </a:lnTo>
                  <a:lnTo>
                    <a:pt x="53" y="119"/>
                  </a:lnTo>
                  <a:lnTo>
                    <a:pt x="52" y="119"/>
                  </a:lnTo>
                  <a:lnTo>
                    <a:pt x="51" y="121"/>
                  </a:lnTo>
                  <a:lnTo>
                    <a:pt x="52" y="121"/>
                  </a:lnTo>
                  <a:lnTo>
                    <a:pt x="52" y="122"/>
                  </a:lnTo>
                  <a:lnTo>
                    <a:pt x="53" y="122"/>
                  </a:lnTo>
                  <a:lnTo>
                    <a:pt x="55" y="123"/>
                  </a:lnTo>
                  <a:lnTo>
                    <a:pt x="56" y="123"/>
                  </a:lnTo>
                  <a:lnTo>
                    <a:pt x="56" y="124"/>
                  </a:lnTo>
                  <a:lnTo>
                    <a:pt x="55" y="124"/>
                  </a:lnTo>
                  <a:lnTo>
                    <a:pt x="53" y="124"/>
                  </a:lnTo>
                  <a:lnTo>
                    <a:pt x="52" y="124"/>
                  </a:lnTo>
                  <a:lnTo>
                    <a:pt x="52" y="125"/>
                  </a:lnTo>
                  <a:lnTo>
                    <a:pt x="52" y="127"/>
                  </a:lnTo>
                  <a:lnTo>
                    <a:pt x="52" y="128"/>
                  </a:lnTo>
                  <a:lnTo>
                    <a:pt x="51" y="129"/>
                  </a:lnTo>
                  <a:lnTo>
                    <a:pt x="52" y="130"/>
                  </a:lnTo>
                  <a:lnTo>
                    <a:pt x="53" y="130"/>
                  </a:lnTo>
                  <a:lnTo>
                    <a:pt x="55" y="131"/>
                  </a:lnTo>
                  <a:lnTo>
                    <a:pt x="55" y="133"/>
                  </a:lnTo>
                  <a:lnTo>
                    <a:pt x="53" y="134"/>
                  </a:lnTo>
                  <a:lnTo>
                    <a:pt x="52" y="134"/>
                  </a:lnTo>
                  <a:lnTo>
                    <a:pt x="53" y="134"/>
                  </a:lnTo>
                  <a:lnTo>
                    <a:pt x="55" y="134"/>
                  </a:lnTo>
                  <a:lnTo>
                    <a:pt x="56" y="135"/>
                  </a:lnTo>
                  <a:lnTo>
                    <a:pt x="58" y="136"/>
                  </a:lnTo>
                  <a:lnTo>
                    <a:pt x="57" y="137"/>
                  </a:lnTo>
                  <a:lnTo>
                    <a:pt x="56" y="137"/>
                  </a:lnTo>
                  <a:lnTo>
                    <a:pt x="56" y="139"/>
                  </a:lnTo>
                  <a:lnTo>
                    <a:pt x="55" y="139"/>
                  </a:lnTo>
                  <a:lnTo>
                    <a:pt x="53" y="140"/>
                  </a:lnTo>
                  <a:lnTo>
                    <a:pt x="52" y="140"/>
                  </a:lnTo>
                  <a:lnTo>
                    <a:pt x="52" y="139"/>
                  </a:lnTo>
                  <a:lnTo>
                    <a:pt x="51" y="140"/>
                  </a:lnTo>
                  <a:lnTo>
                    <a:pt x="51" y="141"/>
                  </a:lnTo>
                  <a:lnTo>
                    <a:pt x="52" y="141"/>
                  </a:lnTo>
                  <a:lnTo>
                    <a:pt x="51" y="142"/>
                  </a:lnTo>
                  <a:lnTo>
                    <a:pt x="51" y="143"/>
                  </a:lnTo>
                  <a:lnTo>
                    <a:pt x="50" y="143"/>
                  </a:lnTo>
                  <a:lnTo>
                    <a:pt x="50" y="142"/>
                  </a:lnTo>
                  <a:lnTo>
                    <a:pt x="49" y="142"/>
                  </a:lnTo>
                  <a:lnTo>
                    <a:pt x="49" y="143"/>
                  </a:lnTo>
                  <a:lnTo>
                    <a:pt x="49" y="145"/>
                  </a:lnTo>
                  <a:lnTo>
                    <a:pt x="47" y="145"/>
                  </a:lnTo>
                  <a:lnTo>
                    <a:pt x="46" y="143"/>
                  </a:lnTo>
                  <a:lnTo>
                    <a:pt x="45" y="143"/>
                  </a:lnTo>
                  <a:lnTo>
                    <a:pt x="45" y="145"/>
                  </a:lnTo>
                  <a:lnTo>
                    <a:pt x="44" y="145"/>
                  </a:lnTo>
                  <a:lnTo>
                    <a:pt x="44" y="146"/>
                  </a:lnTo>
                  <a:lnTo>
                    <a:pt x="41" y="146"/>
                  </a:lnTo>
                  <a:lnTo>
                    <a:pt x="40" y="146"/>
                  </a:lnTo>
                  <a:lnTo>
                    <a:pt x="39" y="146"/>
                  </a:lnTo>
                  <a:lnTo>
                    <a:pt x="39" y="145"/>
                  </a:lnTo>
                  <a:lnTo>
                    <a:pt x="38" y="145"/>
                  </a:lnTo>
                  <a:lnTo>
                    <a:pt x="37" y="145"/>
                  </a:lnTo>
                  <a:lnTo>
                    <a:pt x="37" y="146"/>
                  </a:lnTo>
                  <a:lnTo>
                    <a:pt x="38" y="146"/>
                  </a:lnTo>
                  <a:lnTo>
                    <a:pt x="38" y="147"/>
                  </a:lnTo>
                  <a:lnTo>
                    <a:pt x="38" y="148"/>
                  </a:lnTo>
                  <a:lnTo>
                    <a:pt x="39" y="148"/>
                  </a:lnTo>
                  <a:lnTo>
                    <a:pt x="40" y="149"/>
                  </a:lnTo>
                  <a:lnTo>
                    <a:pt x="39" y="149"/>
                  </a:lnTo>
                  <a:lnTo>
                    <a:pt x="38" y="151"/>
                  </a:lnTo>
                  <a:lnTo>
                    <a:pt x="38" y="152"/>
                  </a:lnTo>
                  <a:lnTo>
                    <a:pt x="39" y="151"/>
                  </a:lnTo>
                  <a:lnTo>
                    <a:pt x="39" y="152"/>
                  </a:lnTo>
                  <a:lnTo>
                    <a:pt x="40" y="152"/>
                  </a:lnTo>
                  <a:lnTo>
                    <a:pt x="41" y="152"/>
                  </a:lnTo>
                  <a:lnTo>
                    <a:pt x="43" y="152"/>
                  </a:lnTo>
                  <a:lnTo>
                    <a:pt x="44" y="151"/>
                  </a:lnTo>
                  <a:lnTo>
                    <a:pt x="43" y="149"/>
                  </a:lnTo>
                  <a:lnTo>
                    <a:pt x="41" y="149"/>
                  </a:lnTo>
                  <a:lnTo>
                    <a:pt x="43" y="148"/>
                  </a:lnTo>
                  <a:lnTo>
                    <a:pt x="43" y="149"/>
                  </a:lnTo>
                  <a:lnTo>
                    <a:pt x="44" y="148"/>
                  </a:lnTo>
                  <a:lnTo>
                    <a:pt x="45" y="147"/>
                  </a:lnTo>
                  <a:lnTo>
                    <a:pt x="46" y="146"/>
                  </a:lnTo>
                  <a:lnTo>
                    <a:pt x="47" y="146"/>
                  </a:lnTo>
                  <a:lnTo>
                    <a:pt x="49" y="146"/>
                  </a:lnTo>
                  <a:lnTo>
                    <a:pt x="50" y="146"/>
                  </a:lnTo>
                  <a:lnTo>
                    <a:pt x="51" y="146"/>
                  </a:lnTo>
                  <a:lnTo>
                    <a:pt x="52" y="146"/>
                  </a:lnTo>
                  <a:lnTo>
                    <a:pt x="52" y="145"/>
                  </a:lnTo>
                  <a:lnTo>
                    <a:pt x="53" y="145"/>
                  </a:lnTo>
                  <a:lnTo>
                    <a:pt x="53" y="146"/>
                  </a:lnTo>
                  <a:lnTo>
                    <a:pt x="55" y="146"/>
                  </a:lnTo>
                  <a:lnTo>
                    <a:pt x="56" y="147"/>
                  </a:lnTo>
                  <a:lnTo>
                    <a:pt x="57" y="147"/>
                  </a:lnTo>
                  <a:lnTo>
                    <a:pt x="57" y="148"/>
                  </a:lnTo>
                  <a:lnTo>
                    <a:pt x="56" y="148"/>
                  </a:lnTo>
                  <a:lnTo>
                    <a:pt x="55" y="148"/>
                  </a:lnTo>
                  <a:lnTo>
                    <a:pt x="53" y="148"/>
                  </a:lnTo>
                  <a:lnTo>
                    <a:pt x="52" y="148"/>
                  </a:lnTo>
                  <a:lnTo>
                    <a:pt x="51" y="149"/>
                  </a:lnTo>
                  <a:lnTo>
                    <a:pt x="51" y="148"/>
                  </a:lnTo>
                  <a:lnTo>
                    <a:pt x="50" y="148"/>
                  </a:lnTo>
                  <a:lnTo>
                    <a:pt x="49" y="147"/>
                  </a:lnTo>
                  <a:lnTo>
                    <a:pt x="49" y="148"/>
                  </a:lnTo>
                  <a:lnTo>
                    <a:pt x="47" y="148"/>
                  </a:lnTo>
                  <a:lnTo>
                    <a:pt x="46" y="148"/>
                  </a:lnTo>
                  <a:lnTo>
                    <a:pt x="45" y="148"/>
                  </a:lnTo>
                  <a:lnTo>
                    <a:pt x="44" y="149"/>
                  </a:lnTo>
                  <a:lnTo>
                    <a:pt x="44" y="151"/>
                  </a:lnTo>
                  <a:lnTo>
                    <a:pt x="45" y="151"/>
                  </a:lnTo>
                  <a:lnTo>
                    <a:pt x="46" y="151"/>
                  </a:lnTo>
                  <a:lnTo>
                    <a:pt x="47" y="151"/>
                  </a:lnTo>
                  <a:lnTo>
                    <a:pt x="47" y="149"/>
                  </a:lnTo>
                  <a:lnTo>
                    <a:pt x="47" y="151"/>
                  </a:lnTo>
                  <a:lnTo>
                    <a:pt x="49" y="151"/>
                  </a:lnTo>
                  <a:lnTo>
                    <a:pt x="47" y="151"/>
                  </a:lnTo>
                  <a:lnTo>
                    <a:pt x="47" y="152"/>
                  </a:lnTo>
                  <a:lnTo>
                    <a:pt x="47" y="153"/>
                  </a:lnTo>
                  <a:lnTo>
                    <a:pt x="46" y="152"/>
                  </a:lnTo>
                  <a:lnTo>
                    <a:pt x="46" y="151"/>
                  </a:lnTo>
                  <a:lnTo>
                    <a:pt x="45" y="151"/>
                  </a:lnTo>
                  <a:lnTo>
                    <a:pt x="45" y="152"/>
                  </a:lnTo>
                  <a:lnTo>
                    <a:pt x="45" y="153"/>
                  </a:lnTo>
                  <a:lnTo>
                    <a:pt x="44" y="153"/>
                  </a:lnTo>
                  <a:lnTo>
                    <a:pt x="45" y="154"/>
                  </a:lnTo>
                  <a:lnTo>
                    <a:pt x="45" y="155"/>
                  </a:lnTo>
                  <a:lnTo>
                    <a:pt x="44" y="155"/>
                  </a:lnTo>
                  <a:lnTo>
                    <a:pt x="43" y="157"/>
                  </a:lnTo>
                  <a:lnTo>
                    <a:pt x="43" y="155"/>
                  </a:lnTo>
                  <a:lnTo>
                    <a:pt x="41" y="154"/>
                  </a:lnTo>
                  <a:lnTo>
                    <a:pt x="40" y="154"/>
                  </a:lnTo>
                  <a:lnTo>
                    <a:pt x="40" y="155"/>
                  </a:lnTo>
                  <a:lnTo>
                    <a:pt x="40" y="157"/>
                  </a:lnTo>
                  <a:lnTo>
                    <a:pt x="39" y="155"/>
                  </a:lnTo>
                  <a:lnTo>
                    <a:pt x="39" y="154"/>
                  </a:lnTo>
                  <a:lnTo>
                    <a:pt x="39" y="153"/>
                  </a:lnTo>
                  <a:lnTo>
                    <a:pt x="38" y="153"/>
                  </a:lnTo>
                  <a:lnTo>
                    <a:pt x="37" y="154"/>
                  </a:lnTo>
                  <a:lnTo>
                    <a:pt x="35" y="154"/>
                  </a:lnTo>
                  <a:lnTo>
                    <a:pt x="35" y="155"/>
                  </a:lnTo>
                  <a:lnTo>
                    <a:pt x="34" y="154"/>
                  </a:lnTo>
                  <a:lnTo>
                    <a:pt x="35" y="153"/>
                  </a:lnTo>
                  <a:lnTo>
                    <a:pt x="37" y="153"/>
                  </a:lnTo>
                  <a:lnTo>
                    <a:pt x="35" y="152"/>
                  </a:lnTo>
                  <a:lnTo>
                    <a:pt x="34" y="152"/>
                  </a:lnTo>
                  <a:lnTo>
                    <a:pt x="34" y="151"/>
                  </a:lnTo>
                  <a:lnTo>
                    <a:pt x="33" y="151"/>
                  </a:lnTo>
                  <a:lnTo>
                    <a:pt x="33" y="149"/>
                  </a:lnTo>
                  <a:lnTo>
                    <a:pt x="32" y="151"/>
                  </a:lnTo>
                  <a:lnTo>
                    <a:pt x="30" y="151"/>
                  </a:lnTo>
                  <a:lnTo>
                    <a:pt x="32" y="152"/>
                  </a:lnTo>
                  <a:lnTo>
                    <a:pt x="32" y="153"/>
                  </a:lnTo>
                  <a:lnTo>
                    <a:pt x="30" y="153"/>
                  </a:lnTo>
                  <a:lnTo>
                    <a:pt x="32" y="153"/>
                  </a:lnTo>
                  <a:lnTo>
                    <a:pt x="30" y="154"/>
                  </a:lnTo>
                  <a:lnTo>
                    <a:pt x="29" y="153"/>
                  </a:lnTo>
                  <a:lnTo>
                    <a:pt x="29" y="152"/>
                  </a:lnTo>
                  <a:lnTo>
                    <a:pt x="28" y="152"/>
                  </a:lnTo>
                  <a:lnTo>
                    <a:pt x="28" y="151"/>
                  </a:lnTo>
                  <a:lnTo>
                    <a:pt x="29" y="151"/>
                  </a:lnTo>
                  <a:lnTo>
                    <a:pt x="29" y="149"/>
                  </a:lnTo>
                  <a:lnTo>
                    <a:pt x="28" y="148"/>
                  </a:lnTo>
                  <a:lnTo>
                    <a:pt x="27" y="149"/>
                  </a:lnTo>
                  <a:lnTo>
                    <a:pt x="27" y="148"/>
                  </a:lnTo>
                  <a:lnTo>
                    <a:pt x="27" y="147"/>
                  </a:lnTo>
                  <a:lnTo>
                    <a:pt x="26" y="146"/>
                  </a:lnTo>
                  <a:lnTo>
                    <a:pt x="24" y="146"/>
                  </a:lnTo>
                  <a:lnTo>
                    <a:pt x="24" y="147"/>
                  </a:lnTo>
                  <a:lnTo>
                    <a:pt x="24" y="148"/>
                  </a:lnTo>
                  <a:lnTo>
                    <a:pt x="24" y="149"/>
                  </a:lnTo>
                  <a:lnTo>
                    <a:pt x="23" y="149"/>
                  </a:lnTo>
                  <a:lnTo>
                    <a:pt x="23" y="151"/>
                  </a:lnTo>
                  <a:lnTo>
                    <a:pt x="24" y="151"/>
                  </a:lnTo>
                  <a:lnTo>
                    <a:pt x="24" y="152"/>
                  </a:lnTo>
                  <a:lnTo>
                    <a:pt x="26" y="152"/>
                  </a:lnTo>
                  <a:lnTo>
                    <a:pt x="27" y="153"/>
                  </a:lnTo>
                  <a:lnTo>
                    <a:pt x="26" y="154"/>
                  </a:lnTo>
                  <a:lnTo>
                    <a:pt x="27" y="154"/>
                  </a:lnTo>
                  <a:lnTo>
                    <a:pt x="27" y="155"/>
                  </a:lnTo>
                  <a:lnTo>
                    <a:pt x="26" y="155"/>
                  </a:lnTo>
                  <a:lnTo>
                    <a:pt x="26" y="154"/>
                  </a:lnTo>
                  <a:lnTo>
                    <a:pt x="24" y="154"/>
                  </a:lnTo>
                  <a:lnTo>
                    <a:pt x="26" y="155"/>
                  </a:lnTo>
                  <a:lnTo>
                    <a:pt x="26" y="157"/>
                  </a:lnTo>
                  <a:lnTo>
                    <a:pt x="27" y="158"/>
                  </a:lnTo>
                  <a:lnTo>
                    <a:pt x="26" y="158"/>
                  </a:lnTo>
                  <a:lnTo>
                    <a:pt x="26" y="157"/>
                  </a:lnTo>
                  <a:lnTo>
                    <a:pt x="24" y="157"/>
                  </a:lnTo>
                  <a:lnTo>
                    <a:pt x="24" y="158"/>
                  </a:lnTo>
                  <a:lnTo>
                    <a:pt x="23" y="158"/>
                  </a:lnTo>
                  <a:lnTo>
                    <a:pt x="23" y="157"/>
                  </a:lnTo>
                  <a:lnTo>
                    <a:pt x="23" y="155"/>
                  </a:lnTo>
                  <a:lnTo>
                    <a:pt x="23" y="154"/>
                  </a:lnTo>
                  <a:lnTo>
                    <a:pt x="22" y="154"/>
                  </a:lnTo>
                  <a:lnTo>
                    <a:pt x="22" y="153"/>
                  </a:lnTo>
                  <a:lnTo>
                    <a:pt x="21" y="153"/>
                  </a:lnTo>
                  <a:lnTo>
                    <a:pt x="21" y="154"/>
                  </a:lnTo>
                  <a:lnTo>
                    <a:pt x="20" y="154"/>
                  </a:lnTo>
                  <a:lnTo>
                    <a:pt x="20" y="155"/>
                  </a:lnTo>
                  <a:lnTo>
                    <a:pt x="18" y="155"/>
                  </a:lnTo>
                  <a:lnTo>
                    <a:pt x="17" y="155"/>
                  </a:lnTo>
                  <a:lnTo>
                    <a:pt x="16" y="155"/>
                  </a:lnTo>
                  <a:lnTo>
                    <a:pt x="16" y="154"/>
                  </a:lnTo>
                  <a:lnTo>
                    <a:pt x="17" y="154"/>
                  </a:lnTo>
                  <a:lnTo>
                    <a:pt x="17" y="153"/>
                  </a:lnTo>
                  <a:lnTo>
                    <a:pt x="16" y="152"/>
                  </a:lnTo>
                  <a:lnTo>
                    <a:pt x="15" y="153"/>
                  </a:lnTo>
                  <a:lnTo>
                    <a:pt x="15" y="154"/>
                  </a:lnTo>
                  <a:lnTo>
                    <a:pt x="15" y="153"/>
                  </a:lnTo>
                  <a:lnTo>
                    <a:pt x="14" y="153"/>
                  </a:lnTo>
                  <a:lnTo>
                    <a:pt x="14" y="152"/>
                  </a:lnTo>
                  <a:lnTo>
                    <a:pt x="12" y="151"/>
                  </a:lnTo>
                  <a:lnTo>
                    <a:pt x="11" y="152"/>
                  </a:lnTo>
                  <a:lnTo>
                    <a:pt x="10" y="152"/>
                  </a:lnTo>
                  <a:lnTo>
                    <a:pt x="10" y="153"/>
                  </a:lnTo>
                  <a:lnTo>
                    <a:pt x="11" y="154"/>
                  </a:lnTo>
                  <a:lnTo>
                    <a:pt x="12" y="154"/>
                  </a:lnTo>
                  <a:lnTo>
                    <a:pt x="12" y="155"/>
                  </a:lnTo>
                  <a:lnTo>
                    <a:pt x="12" y="157"/>
                  </a:lnTo>
                  <a:lnTo>
                    <a:pt x="11" y="157"/>
                  </a:lnTo>
                  <a:lnTo>
                    <a:pt x="11" y="155"/>
                  </a:lnTo>
                  <a:lnTo>
                    <a:pt x="11" y="154"/>
                  </a:lnTo>
                  <a:lnTo>
                    <a:pt x="10" y="153"/>
                  </a:lnTo>
                  <a:lnTo>
                    <a:pt x="9" y="153"/>
                  </a:lnTo>
                  <a:lnTo>
                    <a:pt x="8" y="154"/>
                  </a:lnTo>
                  <a:lnTo>
                    <a:pt x="8" y="153"/>
                  </a:lnTo>
                  <a:lnTo>
                    <a:pt x="9" y="152"/>
                  </a:lnTo>
                  <a:lnTo>
                    <a:pt x="9" y="151"/>
                  </a:lnTo>
                  <a:lnTo>
                    <a:pt x="8" y="151"/>
                  </a:lnTo>
                  <a:lnTo>
                    <a:pt x="6" y="151"/>
                  </a:lnTo>
                  <a:lnTo>
                    <a:pt x="6" y="152"/>
                  </a:lnTo>
                  <a:lnTo>
                    <a:pt x="6" y="153"/>
                  </a:lnTo>
                  <a:lnTo>
                    <a:pt x="5" y="153"/>
                  </a:lnTo>
                  <a:lnTo>
                    <a:pt x="5" y="152"/>
                  </a:lnTo>
                  <a:lnTo>
                    <a:pt x="5" y="151"/>
                  </a:lnTo>
                  <a:lnTo>
                    <a:pt x="4" y="151"/>
                  </a:lnTo>
                  <a:lnTo>
                    <a:pt x="3" y="151"/>
                  </a:lnTo>
                  <a:lnTo>
                    <a:pt x="2" y="151"/>
                  </a:lnTo>
                  <a:lnTo>
                    <a:pt x="0" y="151"/>
                  </a:lnTo>
                  <a:lnTo>
                    <a:pt x="0" y="152"/>
                  </a:lnTo>
                  <a:lnTo>
                    <a:pt x="2" y="153"/>
                  </a:lnTo>
                  <a:lnTo>
                    <a:pt x="2" y="154"/>
                  </a:lnTo>
                  <a:lnTo>
                    <a:pt x="3" y="154"/>
                  </a:lnTo>
                  <a:lnTo>
                    <a:pt x="4" y="154"/>
                  </a:lnTo>
                  <a:lnTo>
                    <a:pt x="4" y="155"/>
                  </a:lnTo>
                  <a:lnTo>
                    <a:pt x="5" y="157"/>
                  </a:lnTo>
                  <a:lnTo>
                    <a:pt x="5" y="158"/>
                  </a:lnTo>
                  <a:lnTo>
                    <a:pt x="4" y="158"/>
                  </a:lnTo>
                  <a:lnTo>
                    <a:pt x="5" y="159"/>
                  </a:lnTo>
                  <a:lnTo>
                    <a:pt x="4" y="159"/>
                  </a:lnTo>
                  <a:lnTo>
                    <a:pt x="4" y="160"/>
                  </a:lnTo>
                  <a:lnTo>
                    <a:pt x="5" y="161"/>
                  </a:lnTo>
                  <a:lnTo>
                    <a:pt x="5" y="163"/>
                  </a:lnTo>
                  <a:lnTo>
                    <a:pt x="6" y="163"/>
                  </a:lnTo>
                  <a:lnTo>
                    <a:pt x="8" y="164"/>
                  </a:lnTo>
                  <a:lnTo>
                    <a:pt x="9" y="164"/>
                  </a:lnTo>
                  <a:lnTo>
                    <a:pt x="10" y="164"/>
                  </a:lnTo>
                  <a:lnTo>
                    <a:pt x="11" y="163"/>
                  </a:lnTo>
                  <a:lnTo>
                    <a:pt x="12" y="163"/>
                  </a:lnTo>
                  <a:lnTo>
                    <a:pt x="12" y="164"/>
                  </a:lnTo>
                  <a:lnTo>
                    <a:pt x="14" y="164"/>
                  </a:lnTo>
                  <a:lnTo>
                    <a:pt x="15" y="164"/>
                  </a:lnTo>
                  <a:lnTo>
                    <a:pt x="15" y="163"/>
                  </a:lnTo>
                  <a:lnTo>
                    <a:pt x="16" y="164"/>
                  </a:lnTo>
                  <a:lnTo>
                    <a:pt x="17" y="164"/>
                  </a:lnTo>
                  <a:lnTo>
                    <a:pt x="16" y="164"/>
                  </a:lnTo>
                  <a:lnTo>
                    <a:pt x="15" y="164"/>
                  </a:lnTo>
                  <a:lnTo>
                    <a:pt x="14" y="165"/>
                  </a:lnTo>
                  <a:lnTo>
                    <a:pt x="14" y="164"/>
                  </a:lnTo>
                  <a:lnTo>
                    <a:pt x="12" y="164"/>
                  </a:lnTo>
                  <a:lnTo>
                    <a:pt x="11" y="164"/>
                  </a:lnTo>
                  <a:lnTo>
                    <a:pt x="10" y="165"/>
                  </a:lnTo>
                  <a:lnTo>
                    <a:pt x="9" y="165"/>
                  </a:lnTo>
                  <a:lnTo>
                    <a:pt x="8" y="165"/>
                  </a:lnTo>
                  <a:lnTo>
                    <a:pt x="8" y="164"/>
                  </a:lnTo>
                  <a:lnTo>
                    <a:pt x="8" y="165"/>
                  </a:lnTo>
                  <a:lnTo>
                    <a:pt x="6" y="166"/>
                  </a:lnTo>
                  <a:lnTo>
                    <a:pt x="8" y="166"/>
                  </a:lnTo>
                  <a:lnTo>
                    <a:pt x="8" y="167"/>
                  </a:lnTo>
                  <a:lnTo>
                    <a:pt x="9" y="167"/>
                  </a:lnTo>
                  <a:lnTo>
                    <a:pt x="10" y="167"/>
                  </a:lnTo>
                  <a:lnTo>
                    <a:pt x="10" y="166"/>
                  </a:lnTo>
                  <a:lnTo>
                    <a:pt x="11" y="167"/>
                  </a:lnTo>
                  <a:lnTo>
                    <a:pt x="12" y="167"/>
                  </a:lnTo>
                  <a:lnTo>
                    <a:pt x="14" y="167"/>
                  </a:lnTo>
                  <a:lnTo>
                    <a:pt x="15" y="167"/>
                  </a:lnTo>
                  <a:lnTo>
                    <a:pt x="16" y="167"/>
                  </a:lnTo>
                  <a:lnTo>
                    <a:pt x="17" y="167"/>
                  </a:lnTo>
                  <a:lnTo>
                    <a:pt x="16" y="169"/>
                  </a:lnTo>
                  <a:lnTo>
                    <a:pt x="16" y="167"/>
                  </a:lnTo>
                  <a:lnTo>
                    <a:pt x="15" y="167"/>
                  </a:lnTo>
                  <a:lnTo>
                    <a:pt x="14" y="167"/>
                  </a:lnTo>
                  <a:lnTo>
                    <a:pt x="14" y="169"/>
                  </a:lnTo>
                  <a:lnTo>
                    <a:pt x="15" y="169"/>
                  </a:lnTo>
                  <a:lnTo>
                    <a:pt x="15" y="170"/>
                  </a:lnTo>
                  <a:lnTo>
                    <a:pt x="15" y="171"/>
                  </a:lnTo>
                  <a:lnTo>
                    <a:pt x="14" y="171"/>
                  </a:lnTo>
                  <a:lnTo>
                    <a:pt x="14" y="170"/>
                  </a:lnTo>
                  <a:lnTo>
                    <a:pt x="12" y="170"/>
                  </a:lnTo>
                  <a:lnTo>
                    <a:pt x="11" y="170"/>
                  </a:lnTo>
                  <a:lnTo>
                    <a:pt x="10" y="170"/>
                  </a:lnTo>
                  <a:lnTo>
                    <a:pt x="10" y="171"/>
                  </a:lnTo>
                  <a:lnTo>
                    <a:pt x="9" y="171"/>
                  </a:lnTo>
                  <a:lnTo>
                    <a:pt x="10" y="172"/>
                  </a:lnTo>
                  <a:lnTo>
                    <a:pt x="11" y="172"/>
                  </a:lnTo>
                  <a:lnTo>
                    <a:pt x="11" y="173"/>
                  </a:lnTo>
                  <a:lnTo>
                    <a:pt x="12" y="173"/>
                  </a:lnTo>
                  <a:lnTo>
                    <a:pt x="11" y="173"/>
                  </a:lnTo>
                  <a:lnTo>
                    <a:pt x="10" y="173"/>
                  </a:lnTo>
                  <a:lnTo>
                    <a:pt x="9" y="173"/>
                  </a:lnTo>
                  <a:lnTo>
                    <a:pt x="9" y="175"/>
                  </a:lnTo>
                  <a:lnTo>
                    <a:pt x="10" y="176"/>
                  </a:lnTo>
                  <a:lnTo>
                    <a:pt x="9" y="176"/>
                  </a:lnTo>
                  <a:lnTo>
                    <a:pt x="8" y="176"/>
                  </a:lnTo>
                  <a:lnTo>
                    <a:pt x="8" y="177"/>
                  </a:lnTo>
                  <a:lnTo>
                    <a:pt x="9" y="178"/>
                  </a:lnTo>
                  <a:lnTo>
                    <a:pt x="8" y="178"/>
                  </a:lnTo>
                  <a:lnTo>
                    <a:pt x="8" y="177"/>
                  </a:lnTo>
                  <a:lnTo>
                    <a:pt x="8" y="176"/>
                  </a:lnTo>
                  <a:lnTo>
                    <a:pt x="6" y="176"/>
                  </a:lnTo>
                  <a:lnTo>
                    <a:pt x="6" y="177"/>
                  </a:lnTo>
                  <a:lnTo>
                    <a:pt x="5" y="177"/>
                  </a:lnTo>
                  <a:lnTo>
                    <a:pt x="5" y="178"/>
                  </a:lnTo>
                  <a:lnTo>
                    <a:pt x="5" y="177"/>
                  </a:lnTo>
                  <a:lnTo>
                    <a:pt x="4" y="177"/>
                  </a:lnTo>
                  <a:lnTo>
                    <a:pt x="3" y="177"/>
                  </a:lnTo>
                  <a:lnTo>
                    <a:pt x="2" y="178"/>
                  </a:lnTo>
                  <a:lnTo>
                    <a:pt x="2" y="180"/>
                  </a:lnTo>
                  <a:lnTo>
                    <a:pt x="2" y="181"/>
                  </a:lnTo>
                  <a:lnTo>
                    <a:pt x="3" y="181"/>
                  </a:lnTo>
                  <a:lnTo>
                    <a:pt x="4" y="183"/>
                  </a:lnTo>
                  <a:lnTo>
                    <a:pt x="5" y="183"/>
                  </a:lnTo>
                  <a:lnTo>
                    <a:pt x="8" y="183"/>
                  </a:lnTo>
                  <a:lnTo>
                    <a:pt x="6" y="184"/>
                  </a:lnTo>
                  <a:lnTo>
                    <a:pt x="5" y="184"/>
                  </a:lnTo>
                  <a:lnTo>
                    <a:pt x="4" y="184"/>
                  </a:lnTo>
                  <a:lnTo>
                    <a:pt x="4" y="186"/>
                  </a:lnTo>
                  <a:lnTo>
                    <a:pt x="3" y="186"/>
                  </a:lnTo>
                  <a:lnTo>
                    <a:pt x="5" y="188"/>
                  </a:lnTo>
                  <a:lnTo>
                    <a:pt x="5" y="187"/>
                  </a:lnTo>
                  <a:lnTo>
                    <a:pt x="6" y="188"/>
                  </a:lnTo>
                  <a:lnTo>
                    <a:pt x="8" y="188"/>
                  </a:lnTo>
                  <a:lnTo>
                    <a:pt x="9" y="188"/>
                  </a:lnTo>
                  <a:lnTo>
                    <a:pt x="10" y="187"/>
                  </a:lnTo>
                  <a:lnTo>
                    <a:pt x="11" y="186"/>
                  </a:lnTo>
                  <a:lnTo>
                    <a:pt x="12" y="186"/>
                  </a:lnTo>
                  <a:lnTo>
                    <a:pt x="14" y="186"/>
                  </a:lnTo>
                  <a:lnTo>
                    <a:pt x="15" y="186"/>
                  </a:lnTo>
                  <a:lnTo>
                    <a:pt x="14" y="187"/>
                  </a:lnTo>
                  <a:lnTo>
                    <a:pt x="12" y="187"/>
                  </a:lnTo>
                  <a:lnTo>
                    <a:pt x="11" y="187"/>
                  </a:lnTo>
                  <a:lnTo>
                    <a:pt x="10" y="188"/>
                  </a:lnTo>
                  <a:lnTo>
                    <a:pt x="11" y="189"/>
                  </a:lnTo>
                  <a:lnTo>
                    <a:pt x="12" y="189"/>
                  </a:lnTo>
                  <a:lnTo>
                    <a:pt x="14" y="189"/>
                  </a:lnTo>
                  <a:lnTo>
                    <a:pt x="15" y="189"/>
                  </a:lnTo>
                  <a:lnTo>
                    <a:pt x="15" y="188"/>
                  </a:lnTo>
                  <a:lnTo>
                    <a:pt x="16" y="189"/>
                  </a:lnTo>
                  <a:lnTo>
                    <a:pt x="17" y="189"/>
                  </a:lnTo>
                  <a:lnTo>
                    <a:pt x="18" y="188"/>
                  </a:lnTo>
                  <a:lnTo>
                    <a:pt x="20" y="188"/>
                  </a:lnTo>
                  <a:lnTo>
                    <a:pt x="21" y="188"/>
                  </a:lnTo>
                  <a:lnTo>
                    <a:pt x="21" y="189"/>
                  </a:lnTo>
                  <a:lnTo>
                    <a:pt x="21" y="190"/>
                  </a:lnTo>
                  <a:lnTo>
                    <a:pt x="20" y="192"/>
                  </a:lnTo>
                  <a:lnTo>
                    <a:pt x="18" y="193"/>
                  </a:lnTo>
                  <a:lnTo>
                    <a:pt x="17" y="193"/>
                  </a:lnTo>
                  <a:lnTo>
                    <a:pt x="17" y="192"/>
                  </a:lnTo>
                  <a:lnTo>
                    <a:pt x="16" y="192"/>
                  </a:lnTo>
                  <a:lnTo>
                    <a:pt x="16" y="193"/>
                  </a:lnTo>
                  <a:lnTo>
                    <a:pt x="16" y="194"/>
                  </a:lnTo>
                  <a:lnTo>
                    <a:pt x="15" y="194"/>
                  </a:lnTo>
                  <a:lnTo>
                    <a:pt x="15" y="195"/>
                  </a:lnTo>
                  <a:lnTo>
                    <a:pt x="14" y="194"/>
                  </a:lnTo>
                  <a:lnTo>
                    <a:pt x="12" y="195"/>
                  </a:lnTo>
                  <a:lnTo>
                    <a:pt x="12" y="198"/>
                  </a:lnTo>
                  <a:lnTo>
                    <a:pt x="14" y="198"/>
                  </a:lnTo>
                  <a:lnTo>
                    <a:pt x="15" y="196"/>
                  </a:lnTo>
                  <a:lnTo>
                    <a:pt x="15" y="198"/>
                  </a:lnTo>
                  <a:lnTo>
                    <a:pt x="16" y="198"/>
                  </a:lnTo>
                  <a:lnTo>
                    <a:pt x="17" y="198"/>
                  </a:lnTo>
                  <a:lnTo>
                    <a:pt x="18" y="196"/>
                  </a:lnTo>
                  <a:lnTo>
                    <a:pt x="20" y="195"/>
                  </a:lnTo>
                  <a:lnTo>
                    <a:pt x="21" y="194"/>
                  </a:lnTo>
                  <a:lnTo>
                    <a:pt x="21" y="193"/>
                  </a:lnTo>
                  <a:lnTo>
                    <a:pt x="21" y="192"/>
                  </a:lnTo>
                  <a:lnTo>
                    <a:pt x="22" y="190"/>
                  </a:lnTo>
                  <a:lnTo>
                    <a:pt x="22" y="192"/>
                  </a:lnTo>
                  <a:lnTo>
                    <a:pt x="22" y="193"/>
                  </a:lnTo>
                  <a:lnTo>
                    <a:pt x="23" y="193"/>
                  </a:lnTo>
                  <a:lnTo>
                    <a:pt x="24" y="193"/>
                  </a:lnTo>
                  <a:lnTo>
                    <a:pt x="24" y="192"/>
                  </a:lnTo>
                  <a:lnTo>
                    <a:pt x="24" y="190"/>
                  </a:lnTo>
                  <a:lnTo>
                    <a:pt x="26" y="189"/>
                  </a:lnTo>
                  <a:lnTo>
                    <a:pt x="27" y="188"/>
                  </a:lnTo>
                  <a:lnTo>
                    <a:pt x="27" y="187"/>
                  </a:lnTo>
                  <a:lnTo>
                    <a:pt x="28" y="187"/>
                  </a:lnTo>
                  <a:lnTo>
                    <a:pt x="28" y="188"/>
                  </a:lnTo>
                  <a:lnTo>
                    <a:pt x="29" y="188"/>
                  </a:lnTo>
                  <a:lnTo>
                    <a:pt x="30" y="187"/>
                  </a:lnTo>
                  <a:lnTo>
                    <a:pt x="32" y="187"/>
                  </a:lnTo>
                  <a:lnTo>
                    <a:pt x="30" y="188"/>
                  </a:lnTo>
                  <a:lnTo>
                    <a:pt x="30" y="189"/>
                  </a:lnTo>
                  <a:lnTo>
                    <a:pt x="29" y="189"/>
                  </a:lnTo>
                  <a:lnTo>
                    <a:pt x="28" y="190"/>
                  </a:lnTo>
                  <a:lnTo>
                    <a:pt x="28" y="189"/>
                  </a:lnTo>
                  <a:lnTo>
                    <a:pt x="28" y="188"/>
                  </a:lnTo>
                  <a:lnTo>
                    <a:pt x="27" y="188"/>
                  </a:lnTo>
                  <a:lnTo>
                    <a:pt x="27" y="189"/>
                  </a:lnTo>
                  <a:lnTo>
                    <a:pt x="26" y="190"/>
                  </a:lnTo>
                  <a:lnTo>
                    <a:pt x="27" y="192"/>
                  </a:lnTo>
                  <a:lnTo>
                    <a:pt x="28" y="192"/>
                  </a:lnTo>
                  <a:lnTo>
                    <a:pt x="28" y="193"/>
                  </a:lnTo>
                  <a:lnTo>
                    <a:pt x="29" y="193"/>
                  </a:lnTo>
                  <a:lnTo>
                    <a:pt x="30" y="193"/>
                  </a:lnTo>
                  <a:lnTo>
                    <a:pt x="32" y="193"/>
                  </a:lnTo>
                  <a:lnTo>
                    <a:pt x="32" y="192"/>
                  </a:lnTo>
                  <a:lnTo>
                    <a:pt x="33" y="192"/>
                  </a:lnTo>
                  <a:lnTo>
                    <a:pt x="34" y="190"/>
                  </a:lnTo>
                  <a:lnTo>
                    <a:pt x="35" y="189"/>
                  </a:lnTo>
                  <a:lnTo>
                    <a:pt x="37" y="188"/>
                  </a:lnTo>
                  <a:lnTo>
                    <a:pt x="38" y="187"/>
                  </a:lnTo>
                  <a:lnTo>
                    <a:pt x="38" y="188"/>
                  </a:lnTo>
                  <a:lnTo>
                    <a:pt x="37" y="188"/>
                  </a:lnTo>
                  <a:lnTo>
                    <a:pt x="37" y="189"/>
                  </a:lnTo>
                  <a:lnTo>
                    <a:pt x="35" y="189"/>
                  </a:lnTo>
                  <a:lnTo>
                    <a:pt x="34" y="190"/>
                  </a:lnTo>
                  <a:lnTo>
                    <a:pt x="34" y="192"/>
                  </a:lnTo>
                  <a:lnTo>
                    <a:pt x="35" y="192"/>
                  </a:lnTo>
                  <a:lnTo>
                    <a:pt x="37" y="192"/>
                  </a:lnTo>
                  <a:lnTo>
                    <a:pt x="38" y="193"/>
                  </a:lnTo>
                  <a:lnTo>
                    <a:pt x="39" y="193"/>
                  </a:lnTo>
                  <a:lnTo>
                    <a:pt x="39" y="194"/>
                  </a:lnTo>
                  <a:lnTo>
                    <a:pt x="40" y="194"/>
                  </a:lnTo>
                  <a:lnTo>
                    <a:pt x="40" y="195"/>
                  </a:lnTo>
                  <a:lnTo>
                    <a:pt x="39" y="195"/>
                  </a:lnTo>
                  <a:lnTo>
                    <a:pt x="38" y="195"/>
                  </a:lnTo>
                  <a:lnTo>
                    <a:pt x="37" y="196"/>
                  </a:lnTo>
                  <a:lnTo>
                    <a:pt x="35" y="196"/>
                  </a:lnTo>
                  <a:lnTo>
                    <a:pt x="35" y="198"/>
                  </a:lnTo>
                  <a:lnTo>
                    <a:pt x="35" y="199"/>
                  </a:lnTo>
                  <a:lnTo>
                    <a:pt x="37" y="199"/>
                  </a:lnTo>
                  <a:lnTo>
                    <a:pt x="38" y="199"/>
                  </a:lnTo>
                  <a:lnTo>
                    <a:pt x="39" y="199"/>
                  </a:lnTo>
                  <a:lnTo>
                    <a:pt x="39" y="198"/>
                  </a:lnTo>
                  <a:lnTo>
                    <a:pt x="40" y="196"/>
                  </a:lnTo>
                  <a:lnTo>
                    <a:pt x="40" y="198"/>
                  </a:lnTo>
                  <a:lnTo>
                    <a:pt x="41" y="198"/>
                  </a:lnTo>
                  <a:lnTo>
                    <a:pt x="41" y="196"/>
                  </a:lnTo>
                  <a:lnTo>
                    <a:pt x="41" y="195"/>
                  </a:lnTo>
                  <a:lnTo>
                    <a:pt x="43" y="194"/>
                  </a:lnTo>
                  <a:lnTo>
                    <a:pt x="43" y="193"/>
                  </a:lnTo>
                  <a:lnTo>
                    <a:pt x="43" y="192"/>
                  </a:lnTo>
                  <a:lnTo>
                    <a:pt x="44" y="192"/>
                  </a:lnTo>
                  <a:lnTo>
                    <a:pt x="44" y="193"/>
                  </a:lnTo>
                  <a:lnTo>
                    <a:pt x="45" y="193"/>
                  </a:lnTo>
                  <a:lnTo>
                    <a:pt x="46" y="193"/>
                  </a:lnTo>
                  <a:lnTo>
                    <a:pt x="47" y="192"/>
                  </a:lnTo>
                  <a:lnTo>
                    <a:pt x="49" y="190"/>
                  </a:lnTo>
                  <a:lnTo>
                    <a:pt x="49" y="192"/>
                  </a:lnTo>
                  <a:lnTo>
                    <a:pt x="47" y="192"/>
                  </a:lnTo>
                  <a:lnTo>
                    <a:pt x="46" y="193"/>
                  </a:lnTo>
                  <a:lnTo>
                    <a:pt x="45" y="194"/>
                  </a:lnTo>
                  <a:lnTo>
                    <a:pt x="44" y="194"/>
                  </a:lnTo>
                  <a:lnTo>
                    <a:pt x="45" y="195"/>
                  </a:lnTo>
                  <a:lnTo>
                    <a:pt x="46" y="195"/>
                  </a:lnTo>
                  <a:lnTo>
                    <a:pt x="47" y="194"/>
                  </a:lnTo>
                  <a:lnTo>
                    <a:pt x="49" y="193"/>
                  </a:lnTo>
                  <a:lnTo>
                    <a:pt x="50" y="193"/>
                  </a:lnTo>
                  <a:lnTo>
                    <a:pt x="51" y="193"/>
                  </a:lnTo>
                  <a:lnTo>
                    <a:pt x="51" y="194"/>
                  </a:lnTo>
                  <a:lnTo>
                    <a:pt x="52" y="193"/>
                  </a:lnTo>
                  <a:lnTo>
                    <a:pt x="52" y="192"/>
                  </a:lnTo>
                  <a:lnTo>
                    <a:pt x="53" y="192"/>
                  </a:lnTo>
                  <a:lnTo>
                    <a:pt x="55" y="193"/>
                  </a:lnTo>
                  <a:lnTo>
                    <a:pt x="56" y="193"/>
                  </a:lnTo>
                  <a:lnTo>
                    <a:pt x="57" y="192"/>
                  </a:lnTo>
                  <a:lnTo>
                    <a:pt x="57" y="190"/>
                  </a:lnTo>
                  <a:lnTo>
                    <a:pt x="57" y="189"/>
                  </a:lnTo>
                  <a:lnTo>
                    <a:pt x="56" y="189"/>
                  </a:lnTo>
                  <a:lnTo>
                    <a:pt x="55" y="189"/>
                  </a:lnTo>
                  <a:lnTo>
                    <a:pt x="53" y="189"/>
                  </a:lnTo>
                  <a:lnTo>
                    <a:pt x="52" y="188"/>
                  </a:lnTo>
                  <a:lnTo>
                    <a:pt x="53" y="188"/>
                  </a:lnTo>
                  <a:lnTo>
                    <a:pt x="55" y="188"/>
                  </a:lnTo>
                  <a:lnTo>
                    <a:pt x="55" y="189"/>
                  </a:lnTo>
                  <a:lnTo>
                    <a:pt x="56" y="189"/>
                  </a:lnTo>
                  <a:lnTo>
                    <a:pt x="56" y="188"/>
                  </a:lnTo>
                  <a:lnTo>
                    <a:pt x="56" y="187"/>
                  </a:lnTo>
                  <a:lnTo>
                    <a:pt x="56" y="186"/>
                  </a:lnTo>
                  <a:lnTo>
                    <a:pt x="53" y="186"/>
                  </a:lnTo>
                  <a:lnTo>
                    <a:pt x="53" y="184"/>
                  </a:lnTo>
                  <a:lnTo>
                    <a:pt x="55" y="184"/>
                  </a:lnTo>
                  <a:lnTo>
                    <a:pt x="55" y="183"/>
                  </a:lnTo>
                  <a:lnTo>
                    <a:pt x="56" y="184"/>
                  </a:lnTo>
                  <a:lnTo>
                    <a:pt x="56" y="186"/>
                  </a:lnTo>
                  <a:lnTo>
                    <a:pt x="57" y="186"/>
                  </a:lnTo>
                  <a:lnTo>
                    <a:pt x="58" y="187"/>
                  </a:lnTo>
                  <a:lnTo>
                    <a:pt x="59" y="187"/>
                  </a:lnTo>
                  <a:lnTo>
                    <a:pt x="61" y="187"/>
                  </a:lnTo>
                  <a:lnTo>
                    <a:pt x="61" y="188"/>
                  </a:lnTo>
                  <a:lnTo>
                    <a:pt x="59" y="188"/>
                  </a:lnTo>
                  <a:lnTo>
                    <a:pt x="59" y="189"/>
                  </a:lnTo>
                  <a:lnTo>
                    <a:pt x="61" y="189"/>
                  </a:lnTo>
                  <a:lnTo>
                    <a:pt x="62" y="190"/>
                  </a:lnTo>
                  <a:lnTo>
                    <a:pt x="62" y="192"/>
                  </a:lnTo>
                  <a:lnTo>
                    <a:pt x="62" y="193"/>
                  </a:lnTo>
                  <a:lnTo>
                    <a:pt x="62" y="194"/>
                  </a:lnTo>
                  <a:lnTo>
                    <a:pt x="61" y="193"/>
                  </a:lnTo>
                  <a:lnTo>
                    <a:pt x="61" y="192"/>
                  </a:lnTo>
                  <a:lnTo>
                    <a:pt x="59" y="192"/>
                  </a:lnTo>
                  <a:lnTo>
                    <a:pt x="61" y="193"/>
                  </a:lnTo>
                  <a:lnTo>
                    <a:pt x="61" y="194"/>
                  </a:lnTo>
                  <a:lnTo>
                    <a:pt x="59" y="194"/>
                  </a:lnTo>
                  <a:lnTo>
                    <a:pt x="59" y="195"/>
                  </a:lnTo>
                  <a:lnTo>
                    <a:pt x="61" y="196"/>
                  </a:lnTo>
                  <a:lnTo>
                    <a:pt x="61" y="195"/>
                  </a:lnTo>
                  <a:lnTo>
                    <a:pt x="62" y="195"/>
                  </a:lnTo>
                  <a:lnTo>
                    <a:pt x="62" y="196"/>
                  </a:lnTo>
                  <a:lnTo>
                    <a:pt x="61" y="196"/>
                  </a:lnTo>
                  <a:lnTo>
                    <a:pt x="59" y="196"/>
                  </a:lnTo>
                  <a:lnTo>
                    <a:pt x="58" y="198"/>
                  </a:lnTo>
                  <a:lnTo>
                    <a:pt x="58" y="199"/>
                  </a:lnTo>
                  <a:lnTo>
                    <a:pt x="59" y="199"/>
                  </a:lnTo>
                  <a:lnTo>
                    <a:pt x="58" y="200"/>
                  </a:lnTo>
                  <a:lnTo>
                    <a:pt x="57" y="200"/>
                  </a:lnTo>
                  <a:lnTo>
                    <a:pt x="57" y="199"/>
                  </a:lnTo>
                  <a:lnTo>
                    <a:pt x="56" y="199"/>
                  </a:lnTo>
                  <a:lnTo>
                    <a:pt x="56" y="200"/>
                  </a:lnTo>
                  <a:lnTo>
                    <a:pt x="56" y="201"/>
                  </a:lnTo>
                  <a:lnTo>
                    <a:pt x="56" y="202"/>
                  </a:lnTo>
                  <a:lnTo>
                    <a:pt x="57" y="202"/>
                  </a:lnTo>
                  <a:lnTo>
                    <a:pt x="58" y="202"/>
                  </a:lnTo>
                  <a:lnTo>
                    <a:pt x="58" y="201"/>
                  </a:lnTo>
                  <a:lnTo>
                    <a:pt x="59" y="201"/>
                  </a:lnTo>
                  <a:lnTo>
                    <a:pt x="62" y="202"/>
                  </a:lnTo>
                  <a:lnTo>
                    <a:pt x="62" y="201"/>
                  </a:lnTo>
                  <a:lnTo>
                    <a:pt x="62" y="202"/>
                  </a:lnTo>
                  <a:lnTo>
                    <a:pt x="63" y="202"/>
                  </a:lnTo>
                  <a:lnTo>
                    <a:pt x="64" y="202"/>
                  </a:lnTo>
                  <a:lnTo>
                    <a:pt x="64" y="201"/>
                  </a:lnTo>
                  <a:lnTo>
                    <a:pt x="67" y="200"/>
                  </a:lnTo>
                  <a:lnTo>
                    <a:pt x="65" y="200"/>
                  </a:lnTo>
                  <a:lnTo>
                    <a:pt x="64" y="200"/>
                  </a:lnTo>
                  <a:lnTo>
                    <a:pt x="63" y="200"/>
                  </a:lnTo>
                  <a:lnTo>
                    <a:pt x="64" y="199"/>
                  </a:lnTo>
                  <a:lnTo>
                    <a:pt x="65" y="199"/>
                  </a:lnTo>
                  <a:lnTo>
                    <a:pt x="65" y="198"/>
                  </a:lnTo>
                  <a:lnTo>
                    <a:pt x="67" y="199"/>
                  </a:lnTo>
                  <a:lnTo>
                    <a:pt x="67" y="200"/>
                  </a:lnTo>
                  <a:lnTo>
                    <a:pt x="68" y="200"/>
                  </a:lnTo>
                  <a:lnTo>
                    <a:pt x="68" y="201"/>
                  </a:lnTo>
                  <a:lnTo>
                    <a:pt x="67" y="201"/>
                  </a:lnTo>
                  <a:lnTo>
                    <a:pt x="65" y="201"/>
                  </a:lnTo>
                  <a:lnTo>
                    <a:pt x="65" y="202"/>
                  </a:lnTo>
                  <a:lnTo>
                    <a:pt x="64" y="202"/>
                  </a:lnTo>
                  <a:lnTo>
                    <a:pt x="64" y="204"/>
                  </a:lnTo>
                  <a:lnTo>
                    <a:pt x="62" y="204"/>
                  </a:lnTo>
                  <a:lnTo>
                    <a:pt x="62" y="202"/>
                  </a:lnTo>
                  <a:lnTo>
                    <a:pt x="62" y="204"/>
                  </a:lnTo>
                  <a:lnTo>
                    <a:pt x="61" y="202"/>
                  </a:lnTo>
                  <a:lnTo>
                    <a:pt x="59" y="202"/>
                  </a:lnTo>
                  <a:lnTo>
                    <a:pt x="59" y="204"/>
                  </a:lnTo>
                  <a:lnTo>
                    <a:pt x="58" y="204"/>
                  </a:lnTo>
                  <a:lnTo>
                    <a:pt x="57" y="202"/>
                  </a:lnTo>
                  <a:lnTo>
                    <a:pt x="57" y="204"/>
                  </a:lnTo>
                  <a:lnTo>
                    <a:pt x="56" y="204"/>
                  </a:lnTo>
                  <a:lnTo>
                    <a:pt x="55" y="204"/>
                  </a:lnTo>
                  <a:lnTo>
                    <a:pt x="55" y="202"/>
                  </a:lnTo>
                  <a:lnTo>
                    <a:pt x="53" y="202"/>
                  </a:lnTo>
                  <a:lnTo>
                    <a:pt x="52" y="202"/>
                  </a:lnTo>
                  <a:lnTo>
                    <a:pt x="52" y="204"/>
                  </a:lnTo>
                  <a:lnTo>
                    <a:pt x="51" y="205"/>
                  </a:lnTo>
                  <a:lnTo>
                    <a:pt x="50" y="205"/>
                  </a:lnTo>
                  <a:lnTo>
                    <a:pt x="49" y="205"/>
                  </a:lnTo>
                  <a:lnTo>
                    <a:pt x="50" y="206"/>
                  </a:lnTo>
                  <a:lnTo>
                    <a:pt x="47" y="206"/>
                  </a:lnTo>
                  <a:lnTo>
                    <a:pt x="49" y="206"/>
                  </a:lnTo>
                  <a:lnTo>
                    <a:pt x="49" y="207"/>
                  </a:lnTo>
                  <a:lnTo>
                    <a:pt x="50" y="207"/>
                  </a:lnTo>
                  <a:lnTo>
                    <a:pt x="50" y="208"/>
                  </a:lnTo>
                  <a:lnTo>
                    <a:pt x="51" y="208"/>
                  </a:lnTo>
                  <a:lnTo>
                    <a:pt x="52" y="207"/>
                  </a:lnTo>
                  <a:lnTo>
                    <a:pt x="53" y="207"/>
                  </a:lnTo>
                  <a:lnTo>
                    <a:pt x="53" y="206"/>
                  </a:lnTo>
                  <a:lnTo>
                    <a:pt x="55" y="207"/>
                  </a:lnTo>
                  <a:lnTo>
                    <a:pt x="56" y="206"/>
                  </a:lnTo>
                  <a:lnTo>
                    <a:pt x="56" y="207"/>
                  </a:lnTo>
                  <a:lnTo>
                    <a:pt x="55" y="207"/>
                  </a:lnTo>
                  <a:lnTo>
                    <a:pt x="55" y="208"/>
                  </a:lnTo>
                  <a:lnTo>
                    <a:pt x="53" y="208"/>
                  </a:lnTo>
                  <a:lnTo>
                    <a:pt x="52" y="208"/>
                  </a:lnTo>
                  <a:lnTo>
                    <a:pt x="51" y="210"/>
                  </a:lnTo>
                  <a:lnTo>
                    <a:pt x="50" y="210"/>
                  </a:lnTo>
                  <a:lnTo>
                    <a:pt x="50" y="211"/>
                  </a:lnTo>
                  <a:lnTo>
                    <a:pt x="49" y="211"/>
                  </a:lnTo>
                  <a:lnTo>
                    <a:pt x="49" y="210"/>
                  </a:lnTo>
                  <a:lnTo>
                    <a:pt x="47" y="211"/>
                  </a:lnTo>
                  <a:lnTo>
                    <a:pt x="46" y="211"/>
                  </a:lnTo>
                  <a:lnTo>
                    <a:pt x="45" y="212"/>
                  </a:lnTo>
                  <a:lnTo>
                    <a:pt x="44" y="212"/>
                  </a:lnTo>
                  <a:lnTo>
                    <a:pt x="41" y="212"/>
                  </a:lnTo>
                  <a:lnTo>
                    <a:pt x="41" y="213"/>
                  </a:lnTo>
                  <a:lnTo>
                    <a:pt x="41" y="214"/>
                  </a:lnTo>
                  <a:lnTo>
                    <a:pt x="40" y="214"/>
                  </a:lnTo>
                  <a:lnTo>
                    <a:pt x="39" y="214"/>
                  </a:lnTo>
                  <a:lnTo>
                    <a:pt x="39" y="216"/>
                  </a:lnTo>
                  <a:lnTo>
                    <a:pt x="38" y="216"/>
                  </a:lnTo>
                  <a:lnTo>
                    <a:pt x="37" y="214"/>
                  </a:lnTo>
                  <a:lnTo>
                    <a:pt x="35" y="216"/>
                  </a:lnTo>
                  <a:lnTo>
                    <a:pt x="34" y="216"/>
                  </a:lnTo>
                  <a:lnTo>
                    <a:pt x="33" y="216"/>
                  </a:lnTo>
                  <a:lnTo>
                    <a:pt x="32" y="216"/>
                  </a:lnTo>
                  <a:lnTo>
                    <a:pt x="32" y="217"/>
                  </a:lnTo>
                  <a:lnTo>
                    <a:pt x="30" y="216"/>
                  </a:lnTo>
                  <a:lnTo>
                    <a:pt x="29" y="216"/>
                  </a:lnTo>
                  <a:lnTo>
                    <a:pt x="28" y="214"/>
                  </a:lnTo>
                  <a:lnTo>
                    <a:pt x="27" y="216"/>
                  </a:lnTo>
                  <a:lnTo>
                    <a:pt x="27" y="217"/>
                  </a:lnTo>
                  <a:lnTo>
                    <a:pt x="27" y="218"/>
                  </a:lnTo>
                  <a:lnTo>
                    <a:pt x="28" y="219"/>
                  </a:lnTo>
                  <a:lnTo>
                    <a:pt x="27" y="220"/>
                  </a:lnTo>
                  <a:lnTo>
                    <a:pt x="28" y="220"/>
                  </a:lnTo>
                  <a:lnTo>
                    <a:pt x="29" y="220"/>
                  </a:lnTo>
                  <a:lnTo>
                    <a:pt x="29" y="222"/>
                  </a:lnTo>
                  <a:lnTo>
                    <a:pt x="30" y="222"/>
                  </a:lnTo>
                  <a:lnTo>
                    <a:pt x="32" y="222"/>
                  </a:lnTo>
                  <a:lnTo>
                    <a:pt x="33" y="220"/>
                  </a:lnTo>
                  <a:lnTo>
                    <a:pt x="34" y="220"/>
                  </a:lnTo>
                  <a:lnTo>
                    <a:pt x="37" y="222"/>
                  </a:lnTo>
                  <a:lnTo>
                    <a:pt x="37" y="223"/>
                  </a:lnTo>
                  <a:lnTo>
                    <a:pt x="35" y="223"/>
                  </a:lnTo>
                  <a:lnTo>
                    <a:pt x="34" y="223"/>
                  </a:lnTo>
                  <a:lnTo>
                    <a:pt x="33" y="223"/>
                  </a:lnTo>
                  <a:lnTo>
                    <a:pt x="32" y="223"/>
                  </a:lnTo>
                  <a:lnTo>
                    <a:pt x="30" y="223"/>
                  </a:lnTo>
                  <a:lnTo>
                    <a:pt x="32" y="224"/>
                  </a:lnTo>
                  <a:lnTo>
                    <a:pt x="32" y="225"/>
                  </a:lnTo>
                  <a:lnTo>
                    <a:pt x="33" y="225"/>
                  </a:lnTo>
                  <a:lnTo>
                    <a:pt x="34" y="226"/>
                  </a:lnTo>
                  <a:lnTo>
                    <a:pt x="33" y="228"/>
                  </a:lnTo>
                  <a:lnTo>
                    <a:pt x="35" y="228"/>
                  </a:lnTo>
                  <a:lnTo>
                    <a:pt x="35" y="226"/>
                  </a:lnTo>
                  <a:lnTo>
                    <a:pt x="37" y="226"/>
                  </a:lnTo>
                  <a:lnTo>
                    <a:pt x="37" y="225"/>
                  </a:lnTo>
                  <a:lnTo>
                    <a:pt x="37" y="226"/>
                  </a:lnTo>
                  <a:lnTo>
                    <a:pt x="35" y="228"/>
                  </a:lnTo>
                  <a:lnTo>
                    <a:pt x="35" y="229"/>
                  </a:lnTo>
                  <a:lnTo>
                    <a:pt x="34" y="229"/>
                  </a:lnTo>
                  <a:lnTo>
                    <a:pt x="33" y="229"/>
                  </a:lnTo>
                  <a:lnTo>
                    <a:pt x="32" y="229"/>
                  </a:lnTo>
                  <a:lnTo>
                    <a:pt x="32" y="228"/>
                  </a:lnTo>
                  <a:lnTo>
                    <a:pt x="32" y="226"/>
                  </a:lnTo>
                  <a:lnTo>
                    <a:pt x="32" y="225"/>
                  </a:lnTo>
                  <a:lnTo>
                    <a:pt x="30" y="225"/>
                  </a:lnTo>
                  <a:lnTo>
                    <a:pt x="30" y="224"/>
                  </a:lnTo>
                  <a:lnTo>
                    <a:pt x="29" y="223"/>
                  </a:lnTo>
                  <a:lnTo>
                    <a:pt x="28" y="224"/>
                  </a:lnTo>
                  <a:lnTo>
                    <a:pt x="27" y="224"/>
                  </a:lnTo>
                  <a:lnTo>
                    <a:pt x="26" y="225"/>
                  </a:lnTo>
                  <a:lnTo>
                    <a:pt x="24" y="225"/>
                  </a:lnTo>
                  <a:lnTo>
                    <a:pt x="24" y="226"/>
                  </a:lnTo>
                  <a:lnTo>
                    <a:pt x="24" y="228"/>
                  </a:lnTo>
                  <a:lnTo>
                    <a:pt x="26" y="228"/>
                  </a:lnTo>
                  <a:lnTo>
                    <a:pt x="27" y="229"/>
                  </a:lnTo>
                  <a:lnTo>
                    <a:pt x="27" y="230"/>
                  </a:lnTo>
                  <a:lnTo>
                    <a:pt x="26" y="230"/>
                  </a:lnTo>
                  <a:lnTo>
                    <a:pt x="27" y="231"/>
                  </a:lnTo>
                  <a:lnTo>
                    <a:pt x="28" y="232"/>
                  </a:lnTo>
                  <a:lnTo>
                    <a:pt x="29" y="234"/>
                  </a:lnTo>
                  <a:lnTo>
                    <a:pt x="30" y="234"/>
                  </a:lnTo>
                  <a:lnTo>
                    <a:pt x="33" y="234"/>
                  </a:lnTo>
                  <a:lnTo>
                    <a:pt x="34" y="234"/>
                  </a:lnTo>
                  <a:lnTo>
                    <a:pt x="35" y="234"/>
                  </a:lnTo>
                  <a:lnTo>
                    <a:pt x="37" y="232"/>
                  </a:lnTo>
                  <a:lnTo>
                    <a:pt x="37" y="231"/>
                  </a:lnTo>
                  <a:lnTo>
                    <a:pt x="38" y="231"/>
                  </a:lnTo>
                  <a:lnTo>
                    <a:pt x="39" y="231"/>
                  </a:lnTo>
                  <a:lnTo>
                    <a:pt x="40" y="231"/>
                  </a:lnTo>
                  <a:lnTo>
                    <a:pt x="39" y="231"/>
                  </a:lnTo>
                  <a:lnTo>
                    <a:pt x="38" y="232"/>
                  </a:lnTo>
                  <a:lnTo>
                    <a:pt x="37" y="232"/>
                  </a:lnTo>
                  <a:lnTo>
                    <a:pt x="37" y="234"/>
                  </a:lnTo>
                  <a:lnTo>
                    <a:pt x="37" y="235"/>
                  </a:lnTo>
                  <a:lnTo>
                    <a:pt x="38" y="235"/>
                  </a:lnTo>
                  <a:lnTo>
                    <a:pt x="35" y="235"/>
                  </a:lnTo>
                  <a:lnTo>
                    <a:pt x="34" y="236"/>
                  </a:lnTo>
                  <a:lnTo>
                    <a:pt x="33" y="237"/>
                  </a:lnTo>
                  <a:lnTo>
                    <a:pt x="34" y="237"/>
                  </a:lnTo>
                  <a:lnTo>
                    <a:pt x="35" y="237"/>
                  </a:lnTo>
                  <a:lnTo>
                    <a:pt x="35" y="238"/>
                  </a:lnTo>
                  <a:lnTo>
                    <a:pt x="34" y="238"/>
                  </a:lnTo>
                  <a:lnTo>
                    <a:pt x="33" y="238"/>
                  </a:lnTo>
                  <a:lnTo>
                    <a:pt x="33" y="237"/>
                  </a:lnTo>
                  <a:lnTo>
                    <a:pt x="32" y="236"/>
                  </a:lnTo>
                  <a:lnTo>
                    <a:pt x="32" y="237"/>
                  </a:lnTo>
                  <a:lnTo>
                    <a:pt x="32" y="238"/>
                  </a:lnTo>
                  <a:lnTo>
                    <a:pt x="30" y="238"/>
                  </a:lnTo>
                  <a:lnTo>
                    <a:pt x="29" y="240"/>
                  </a:lnTo>
                  <a:lnTo>
                    <a:pt x="30" y="241"/>
                  </a:lnTo>
                  <a:lnTo>
                    <a:pt x="32" y="241"/>
                  </a:lnTo>
                  <a:lnTo>
                    <a:pt x="33" y="240"/>
                  </a:lnTo>
                  <a:lnTo>
                    <a:pt x="33" y="241"/>
                  </a:lnTo>
                  <a:lnTo>
                    <a:pt x="34" y="241"/>
                  </a:lnTo>
                  <a:lnTo>
                    <a:pt x="35" y="241"/>
                  </a:lnTo>
                  <a:lnTo>
                    <a:pt x="35" y="240"/>
                  </a:lnTo>
                  <a:lnTo>
                    <a:pt x="37" y="240"/>
                  </a:lnTo>
                  <a:lnTo>
                    <a:pt x="38" y="238"/>
                  </a:lnTo>
                  <a:lnTo>
                    <a:pt x="39" y="238"/>
                  </a:lnTo>
                  <a:lnTo>
                    <a:pt x="39" y="241"/>
                  </a:lnTo>
                  <a:lnTo>
                    <a:pt x="40" y="242"/>
                  </a:lnTo>
                  <a:lnTo>
                    <a:pt x="41" y="242"/>
                  </a:lnTo>
                  <a:lnTo>
                    <a:pt x="44" y="241"/>
                  </a:lnTo>
                  <a:lnTo>
                    <a:pt x="44" y="240"/>
                  </a:lnTo>
                  <a:lnTo>
                    <a:pt x="43" y="241"/>
                  </a:lnTo>
                  <a:lnTo>
                    <a:pt x="41" y="241"/>
                  </a:lnTo>
                  <a:lnTo>
                    <a:pt x="41" y="240"/>
                  </a:lnTo>
                  <a:lnTo>
                    <a:pt x="43" y="240"/>
                  </a:lnTo>
                  <a:lnTo>
                    <a:pt x="44" y="238"/>
                  </a:lnTo>
                  <a:lnTo>
                    <a:pt x="45" y="238"/>
                  </a:lnTo>
                  <a:lnTo>
                    <a:pt x="45" y="237"/>
                  </a:lnTo>
                  <a:lnTo>
                    <a:pt x="44" y="237"/>
                  </a:lnTo>
                  <a:lnTo>
                    <a:pt x="43" y="237"/>
                  </a:lnTo>
                  <a:lnTo>
                    <a:pt x="43" y="236"/>
                  </a:lnTo>
                  <a:lnTo>
                    <a:pt x="45" y="237"/>
                  </a:lnTo>
                  <a:lnTo>
                    <a:pt x="45" y="236"/>
                  </a:lnTo>
                  <a:lnTo>
                    <a:pt x="46" y="236"/>
                  </a:lnTo>
                  <a:lnTo>
                    <a:pt x="46" y="235"/>
                  </a:lnTo>
                  <a:lnTo>
                    <a:pt x="45" y="234"/>
                  </a:lnTo>
                  <a:lnTo>
                    <a:pt x="45" y="232"/>
                  </a:lnTo>
                  <a:lnTo>
                    <a:pt x="45" y="231"/>
                  </a:lnTo>
                  <a:lnTo>
                    <a:pt x="46" y="230"/>
                  </a:lnTo>
                  <a:lnTo>
                    <a:pt x="45" y="231"/>
                  </a:lnTo>
                  <a:lnTo>
                    <a:pt x="46" y="231"/>
                  </a:lnTo>
                  <a:lnTo>
                    <a:pt x="46" y="232"/>
                  </a:lnTo>
                  <a:lnTo>
                    <a:pt x="47" y="232"/>
                  </a:lnTo>
                  <a:lnTo>
                    <a:pt x="47" y="234"/>
                  </a:lnTo>
                  <a:lnTo>
                    <a:pt x="49" y="232"/>
                  </a:lnTo>
                  <a:lnTo>
                    <a:pt x="49" y="234"/>
                  </a:lnTo>
                  <a:lnTo>
                    <a:pt x="50" y="234"/>
                  </a:lnTo>
                  <a:lnTo>
                    <a:pt x="51" y="234"/>
                  </a:lnTo>
                  <a:lnTo>
                    <a:pt x="52" y="232"/>
                  </a:lnTo>
                  <a:lnTo>
                    <a:pt x="52" y="231"/>
                  </a:lnTo>
                  <a:lnTo>
                    <a:pt x="52" y="230"/>
                  </a:lnTo>
                  <a:lnTo>
                    <a:pt x="53" y="229"/>
                  </a:lnTo>
                  <a:lnTo>
                    <a:pt x="53" y="230"/>
                  </a:lnTo>
                  <a:lnTo>
                    <a:pt x="53" y="231"/>
                  </a:lnTo>
                  <a:lnTo>
                    <a:pt x="53" y="234"/>
                  </a:lnTo>
                  <a:lnTo>
                    <a:pt x="55" y="234"/>
                  </a:lnTo>
                  <a:lnTo>
                    <a:pt x="56" y="234"/>
                  </a:lnTo>
                  <a:lnTo>
                    <a:pt x="56" y="232"/>
                  </a:lnTo>
                  <a:lnTo>
                    <a:pt x="56" y="231"/>
                  </a:lnTo>
                  <a:lnTo>
                    <a:pt x="56" y="232"/>
                  </a:lnTo>
                  <a:lnTo>
                    <a:pt x="56" y="235"/>
                  </a:lnTo>
                  <a:lnTo>
                    <a:pt x="56" y="236"/>
                  </a:lnTo>
                  <a:lnTo>
                    <a:pt x="57" y="236"/>
                  </a:lnTo>
                  <a:lnTo>
                    <a:pt x="57" y="235"/>
                  </a:lnTo>
                  <a:lnTo>
                    <a:pt x="58" y="235"/>
                  </a:lnTo>
                  <a:lnTo>
                    <a:pt x="58" y="234"/>
                  </a:lnTo>
                  <a:lnTo>
                    <a:pt x="59" y="234"/>
                  </a:lnTo>
                  <a:lnTo>
                    <a:pt x="61" y="235"/>
                  </a:lnTo>
                  <a:lnTo>
                    <a:pt x="62" y="235"/>
                  </a:lnTo>
                  <a:lnTo>
                    <a:pt x="62" y="234"/>
                  </a:lnTo>
                  <a:lnTo>
                    <a:pt x="63" y="234"/>
                  </a:lnTo>
                  <a:lnTo>
                    <a:pt x="63" y="232"/>
                  </a:lnTo>
                  <a:lnTo>
                    <a:pt x="64" y="232"/>
                  </a:lnTo>
                  <a:lnTo>
                    <a:pt x="65" y="234"/>
                  </a:lnTo>
                  <a:lnTo>
                    <a:pt x="65" y="232"/>
                  </a:lnTo>
                  <a:lnTo>
                    <a:pt x="67" y="232"/>
                  </a:lnTo>
                  <a:lnTo>
                    <a:pt x="68" y="232"/>
                  </a:lnTo>
                  <a:lnTo>
                    <a:pt x="68" y="231"/>
                  </a:lnTo>
                  <a:lnTo>
                    <a:pt x="69" y="231"/>
                  </a:lnTo>
                  <a:lnTo>
                    <a:pt x="70" y="231"/>
                  </a:lnTo>
                  <a:lnTo>
                    <a:pt x="70" y="232"/>
                  </a:lnTo>
                  <a:lnTo>
                    <a:pt x="71" y="232"/>
                  </a:lnTo>
                  <a:lnTo>
                    <a:pt x="71" y="234"/>
                  </a:lnTo>
                  <a:lnTo>
                    <a:pt x="71" y="235"/>
                  </a:lnTo>
                  <a:lnTo>
                    <a:pt x="71" y="236"/>
                  </a:lnTo>
                  <a:lnTo>
                    <a:pt x="70" y="236"/>
                  </a:lnTo>
                  <a:lnTo>
                    <a:pt x="69" y="236"/>
                  </a:lnTo>
                  <a:lnTo>
                    <a:pt x="69" y="235"/>
                  </a:lnTo>
                  <a:lnTo>
                    <a:pt x="68" y="235"/>
                  </a:lnTo>
                  <a:lnTo>
                    <a:pt x="68" y="236"/>
                  </a:lnTo>
                  <a:lnTo>
                    <a:pt x="68" y="237"/>
                  </a:lnTo>
                  <a:lnTo>
                    <a:pt x="69" y="237"/>
                  </a:lnTo>
                  <a:lnTo>
                    <a:pt x="68" y="237"/>
                  </a:lnTo>
                  <a:lnTo>
                    <a:pt x="68" y="236"/>
                  </a:lnTo>
                  <a:lnTo>
                    <a:pt x="67" y="236"/>
                  </a:lnTo>
                  <a:lnTo>
                    <a:pt x="65" y="237"/>
                  </a:lnTo>
                  <a:lnTo>
                    <a:pt x="65" y="238"/>
                  </a:lnTo>
                  <a:lnTo>
                    <a:pt x="67" y="238"/>
                  </a:lnTo>
                  <a:lnTo>
                    <a:pt x="65" y="238"/>
                  </a:lnTo>
                  <a:lnTo>
                    <a:pt x="64" y="238"/>
                  </a:lnTo>
                  <a:lnTo>
                    <a:pt x="64" y="240"/>
                  </a:lnTo>
                  <a:lnTo>
                    <a:pt x="67" y="241"/>
                  </a:lnTo>
                  <a:lnTo>
                    <a:pt x="68" y="240"/>
                  </a:lnTo>
                  <a:lnTo>
                    <a:pt x="69" y="240"/>
                  </a:lnTo>
                  <a:lnTo>
                    <a:pt x="69" y="238"/>
                  </a:lnTo>
                  <a:lnTo>
                    <a:pt x="70" y="238"/>
                  </a:lnTo>
                  <a:lnTo>
                    <a:pt x="71" y="238"/>
                  </a:lnTo>
                  <a:lnTo>
                    <a:pt x="73" y="238"/>
                  </a:lnTo>
                  <a:lnTo>
                    <a:pt x="74" y="238"/>
                  </a:lnTo>
                  <a:lnTo>
                    <a:pt x="74" y="237"/>
                  </a:lnTo>
                  <a:lnTo>
                    <a:pt x="74" y="236"/>
                  </a:lnTo>
                  <a:lnTo>
                    <a:pt x="75" y="235"/>
                  </a:lnTo>
                  <a:lnTo>
                    <a:pt x="77" y="235"/>
                  </a:lnTo>
                  <a:lnTo>
                    <a:pt x="79" y="235"/>
                  </a:lnTo>
                  <a:lnTo>
                    <a:pt x="80" y="235"/>
                  </a:lnTo>
                  <a:lnTo>
                    <a:pt x="80" y="236"/>
                  </a:lnTo>
                  <a:lnTo>
                    <a:pt x="79" y="236"/>
                  </a:lnTo>
                  <a:lnTo>
                    <a:pt x="79" y="237"/>
                  </a:lnTo>
                  <a:lnTo>
                    <a:pt x="77" y="236"/>
                  </a:lnTo>
                  <a:lnTo>
                    <a:pt x="77" y="237"/>
                  </a:lnTo>
                  <a:lnTo>
                    <a:pt x="76" y="237"/>
                  </a:lnTo>
                  <a:lnTo>
                    <a:pt x="75" y="238"/>
                  </a:lnTo>
                  <a:lnTo>
                    <a:pt x="76" y="240"/>
                  </a:lnTo>
                  <a:lnTo>
                    <a:pt x="76" y="241"/>
                  </a:lnTo>
                  <a:lnTo>
                    <a:pt x="77" y="241"/>
                  </a:lnTo>
                  <a:lnTo>
                    <a:pt x="79" y="241"/>
                  </a:lnTo>
                  <a:lnTo>
                    <a:pt x="79" y="240"/>
                  </a:lnTo>
                  <a:lnTo>
                    <a:pt x="80" y="238"/>
                  </a:lnTo>
                  <a:lnTo>
                    <a:pt x="80" y="237"/>
                  </a:lnTo>
                  <a:lnTo>
                    <a:pt x="81" y="237"/>
                  </a:lnTo>
                  <a:lnTo>
                    <a:pt x="82" y="236"/>
                  </a:lnTo>
                  <a:lnTo>
                    <a:pt x="83" y="236"/>
                  </a:lnTo>
                  <a:lnTo>
                    <a:pt x="82" y="237"/>
                  </a:lnTo>
                  <a:lnTo>
                    <a:pt x="82" y="238"/>
                  </a:lnTo>
                  <a:lnTo>
                    <a:pt x="83" y="238"/>
                  </a:lnTo>
                  <a:lnTo>
                    <a:pt x="85" y="237"/>
                  </a:lnTo>
                  <a:lnTo>
                    <a:pt x="83" y="238"/>
                  </a:lnTo>
                  <a:lnTo>
                    <a:pt x="83" y="240"/>
                  </a:lnTo>
                  <a:lnTo>
                    <a:pt x="82" y="240"/>
                  </a:lnTo>
                  <a:lnTo>
                    <a:pt x="81" y="241"/>
                  </a:lnTo>
                  <a:lnTo>
                    <a:pt x="80" y="241"/>
                  </a:lnTo>
                  <a:lnTo>
                    <a:pt x="79" y="241"/>
                  </a:lnTo>
                  <a:lnTo>
                    <a:pt x="79" y="242"/>
                  </a:lnTo>
                  <a:lnTo>
                    <a:pt x="79" y="243"/>
                  </a:lnTo>
                  <a:lnTo>
                    <a:pt x="77" y="243"/>
                  </a:lnTo>
                  <a:lnTo>
                    <a:pt x="76" y="243"/>
                  </a:lnTo>
                  <a:lnTo>
                    <a:pt x="75" y="243"/>
                  </a:lnTo>
                  <a:lnTo>
                    <a:pt x="75" y="242"/>
                  </a:lnTo>
                  <a:lnTo>
                    <a:pt x="74" y="242"/>
                  </a:lnTo>
                  <a:lnTo>
                    <a:pt x="73" y="242"/>
                  </a:lnTo>
                  <a:lnTo>
                    <a:pt x="73" y="243"/>
                  </a:lnTo>
                  <a:lnTo>
                    <a:pt x="74" y="243"/>
                  </a:lnTo>
                  <a:lnTo>
                    <a:pt x="74" y="244"/>
                  </a:lnTo>
                  <a:lnTo>
                    <a:pt x="75" y="244"/>
                  </a:lnTo>
                  <a:lnTo>
                    <a:pt x="75" y="246"/>
                  </a:lnTo>
                  <a:lnTo>
                    <a:pt x="75" y="247"/>
                  </a:lnTo>
                  <a:lnTo>
                    <a:pt x="74" y="246"/>
                  </a:lnTo>
                  <a:lnTo>
                    <a:pt x="74" y="244"/>
                  </a:lnTo>
                  <a:lnTo>
                    <a:pt x="71" y="244"/>
                  </a:lnTo>
                  <a:lnTo>
                    <a:pt x="70" y="246"/>
                  </a:lnTo>
                  <a:lnTo>
                    <a:pt x="69" y="246"/>
                  </a:lnTo>
                  <a:lnTo>
                    <a:pt x="69" y="244"/>
                  </a:lnTo>
                  <a:lnTo>
                    <a:pt x="68" y="246"/>
                  </a:lnTo>
                  <a:lnTo>
                    <a:pt x="68" y="244"/>
                  </a:lnTo>
                  <a:lnTo>
                    <a:pt x="67" y="246"/>
                  </a:lnTo>
                  <a:lnTo>
                    <a:pt x="67" y="247"/>
                  </a:lnTo>
                  <a:lnTo>
                    <a:pt x="67" y="248"/>
                  </a:lnTo>
                  <a:lnTo>
                    <a:pt x="65" y="249"/>
                  </a:lnTo>
                  <a:lnTo>
                    <a:pt x="65" y="248"/>
                  </a:lnTo>
                  <a:lnTo>
                    <a:pt x="65" y="247"/>
                  </a:lnTo>
                  <a:lnTo>
                    <a:pt x="64" y="247"/>
                  </a:lnTo>
                  <a:lnTo>
                    <a:pt x="63" y="247"/>
                  </a:lnTo>
                  <a:lnTo>
                    <a:pt x="63" y="246"/>
                  </a:lnTo>
                  <a:lnTo>
                    <a:pt x="62" y="246"/>
                  </a:lnTo>
                  <a:lnTo>
                    <a:pt x="61" y="247"/>
                  </a:lnTo>
                  <a:lnTo>
                    <a:pt x="59" y="247"/>
                  </a:lnTo>
                  <a:lnTo>
                    <a:pt x="58" y="247"/>
                  </a:lnTo>
                  <a:lnTo>
                    <a:pt x="57" y="248"/>
                  </a:lnTo>
                  <a:lnTo>
                    <a:pt x="57" y="247"/>
                  </a:lnTo>
                  <a:lnTo>
                    <a:pt x="56" y="247"/>
                  </a:lnTo>
                  <a:lnTo>
                    <a:pt x="55" y="247"/>
                  </a:lnTo>
                  <a:lnTo>
                    <a:pt x="55" y="248"/>
                  </a:lnTo>
                  <a:lnTo>
                    <a:pt x="53" y="248"/>
                  </a:lnTo>
                  <a:lnTo>
                    <a:pt x="55" y="249"/>
                  </a:lnTo>
                  <a:lnTo>
                    <a:pt x="56" y="249"/>
                  </a:lnTo>
                  <a:lnTo>
                    <a:pt x="56" y="250"/>
                  </a:lnTo>
                  <a:lnTo>
                    <a:pt x="57" y="250"/>
                  </a:lnTo>
                  <a:lnTo>
                    <a:pt x="58" y="252"/>
                  </a:lnTo>
                  <a:lnTo>
                    <a:pt x="57" y="252"/>
                  </a:lnTo>
                  <a:lnTo>
                    <a:pt x="57" y="253"/>
                  </a:lnTo>
                  <a:lnTo>
                    <a:pt x="58" y="253"/>
                  </a:lnTo>
                  <a:lnTo>
                    <a:pt x="59" y="253"/>
                  </a:lnTo>
                  <a:lnTo>
                    <a:pt x="59" y="252"/>
                  </a:lnTo>
                  <a:lnTo>
                    <a:pt x="59" y="250"/>
                  </a:lnTo>
                  <a:lnTo>
                    <a:pt x="61" y="250"/>
                  </a:lnTo>
                  <a:lnTo>
                    <a:pt x="61" y="252"/>
                  </a:lnTo>
                  <a:lnTo>
                    <a:pt x="62" y="252"/>
                  </a:lnTo>
                  <a:lnTo>
                    <a:pt x="63" y="252"/>
                  </a:lnTo>
                  <a:lnTo>
                    <a:pt x="64" y="252"/>
                  </a:lnTo>
                  <a:lnTo>
                    <a:pt x="63" y="253"/>
                  </a:lnTo>
                  <a:lnTo>
                    <a:pt x="62" y="253"/>
                  </a:lnTo>
                  <a:lnTo>
                    <a:pt x="61" y="254"/>
                  </a:lnTo>
                  <a:lnTo>
                    <a:pt x="62" y="254"/>
                  </a:lnTo>
                  <a:lnTo>
                    <a:pt x="63" y="254"/>
                  </a:lnTo>
                  <a:lnTo>
                    <a:pt x="63" y="255"/>
                  </a:lnTo>
                  <a:lnTo>
                    <a:pt x="64" y="254"/>
                  </a:lnTo>
                  <a:lnTo>
                    <a:pt x="65" y="254"/>
                  </a:lnTo>
                  <a:lnTo>
                    <a:pt x="65" y="253"/>
                  </a:lnTo>
                  <a:lnTo>
                    <a:pt x="67" y="253"/>
                  </a:lnTo>
                  <a:lnTo>
                    <a:pt x="68" y="253"/>
                  </a:lnTo>
                  <a:lnTo>
                    <a:pt x="68" y="254"/>
                  </a:lnTo>
                  <a:lnTo>
                    <a:pt x="67" y="254"/>
                  </a:lnTo>
                  <a:lnTo>
                    <a:pt x="65" y="255"/>
                  </a:lnTo>
                  <a:lnTo>
                    <a:pt x="64" y="256"/>
                  </a:lnTo>
                  <a:lnTo>
                    <a:pt x="64" y="258"/>
                  </a:lnTo>
                  <a:lnTo>
                    <a:pt x="65" y="258"/>
                  </a:lnTo>
                  <a:lnTo>
                    <a:pt x="64" y="259"/>
                  </a:lnTo>
                  <a:lnTo>
                    <a:pt x="63" y="259"/>
                  </a:lnTo>
                  <a:lnTo>
                    <a:pt x="63" y="258"/>
                  </a:lnTo>
                  <a:lnTo>
                    <a:pt x="62" y="259"/>
                  </a:lnTo>
                  <a:lnTo>
                    <a:pt x="62" y="260"/>
                  </a:lnTo>
                  <a:lnTo>
                    <a:pt x="63" y="260"/>
                  </a:lnTo>
                  <a:lnTo>
                    <a:pt x="62" y="261"/>
                  </a:lnTo>
                  <a:lnTo>
                    <a:pt x="61" y="261"/>
                  </a:lnTo>
                  <a:lnTo>
                    <a:pt x="61" y="262"/>
                  </a:lnTo>
                  <a:lnTo>
                    <a:pt x="59" y="262"/>
                  </a:lnTo>
                  <a:lnTo>
                    <a:pt x="58" y="262"/>
                  </a:lnTo>
                  <a:lnTo>
                    <a:pt x="58" y="264"/>
                  </a:lnTo>
                  <a:lnTo>
                    <a:pt x="59" y="266"/>
                  </a:lnTo>
                  <a:lnTo>
                    <a:pt x="59" y="267"/>
                  </a:lnTo>
                  <a:lnTo>
                    <a:pt x="58" y="266"/>
                  </a:lnTo>
                  <a:lnTo>
                    <a:pt x="57" y="266"/>
                  </a:lnTo>
                  <a:lnTo>
                    <a:pt x="56" y="266"/>
                  </a:lnTo>
                  <a:lnTo>
                    <a:pt x="55" y="266"/>
                  </a:lnTo>
                  <a:lnTo>
                    <a:pt x="55" y="267"/>
                  </a:lnTo>
                  <a:lnTo>
                    <a:pt x="55" y="268"/>
                  </a:lnTo>
                  <a:lnTo>
                    <a:pt x="56" y="267"/>
                  </a:lnTo>
                  <a:lnTo>
                    <a:pt x="56" y="268"/>
                  </a:lnTo>
                  <a:lnTo>
                    <a:pt x="56" y="270"/>
                  </a:lnTo>
                  <a:lnTo>
                    <a:pt x="57" y="270"/>
                  </a:lnTo>
                  <a:lnTo>
                    <a:pt x="58" y="270"/>
                  </a:lnTo>
                  <a:lnTo>
                    <a:pt x="58" y="268"/>
                  </a:lnTo>
                  <a:lnTo>
                    <a:pt x="59" y="268"/>
                  </a:lnTo>
                  <a:lnTo>
                    <a:pt x="61" y="270"/>
                  </a:lnTo>
                  <a:lnTo>
                    <a:pt x="62" y="268"/>
                  </a:lnTo>
                  <a:lnTo>
                    <a:pt x="63" y="270"/>
                  </a:lnTo>
                  <a:lnTo>
                    <a:pt x="64" y="270"/>
                  </a:lnTo>
                  <a:lnTo>
                    <a:pt x="65" y="271"/>
                  </a:lnTo>
                  <a:lnTo>
                    <a:pt x="67" y="270"/>
                  </a:lnTo>
                  <a:lnTo>
                    <a:pt x="68" y="270"/>
                  </a:lnTo>
                  <a:lnTo>
                    <a:pt x="69" y="270"/>
                  </a:lnTo>
                  <a:lnTo>
                    <a:pt x="69" y="268"/>
                  </a:lnTo>
                  <a:lnTo>
                    <a:pt x="70" y="270"/>
                  </a:lnTo>
                  <a:lnTo>
                    <a:pt x="69" y="271"/>
                  </a:lnTo>
                  <a:lnTo>
                    <a:pt x="69" y="272"/>
                  </a:lnTo>
                  <a:lnTo>
                    <a:pt x="70" y="272"/>
                  </a:lnTo>
                  <a:lnTo>
                    <a:pt x="70" y="273"/>
                  </a:lnTo>
                  <a:lnTo>
                    <a:pt x="69" y="273"/>
                  </a:lnTo>
                  <a:lnTo>
                    <a:pt x="68" y="273"/>
                  </a:lnTo>
                  <a:lnTo>
                    <a:pt x="67" y="273"/>
                  </a:lnTo>
                  <a:lnTo>
                    <a:pt x="67" y="274"/>
                  </a:lnTo>
                  <a:lnTo>
                    <a:pt x="65" y="274"/>
                  </a:lnTo>
                  <a:lnTo>
                    <a:pt x="65" y="276"/>
                  </a:lnTo>
                  <a:lnTo>
                    <a:pt x="67" y="276"/>
                  </a:lnTo>
                  <a:lnTo>
                    <a:pt x="67" y="277"/>
                  </a:lnTo>
                  <a:lnTo>
                    <a:pt x="68" y="277"/>
                  </a:lnTo>
                  <a:lnTo>
                    <a:pt x="69" y="278"/>
                  </a:lnTo>
                  <a:lnTo>
                    <a:pt x="70" y="277"/>
                  </a:lnTo>
                  <a:lnTo>
                    <a:pt x="71" y="277"/>
                  </a:lnTo>
                  <a:lnTo>
                    <a:pt x="73" y="276"/>
                  </a:lnTo>
                  <a:lnTo>
                    <a:pt x="73" y="274"/>
                  </a:lnTo>
                  <a:lnTo>
                    <a:pt x="74" y="274"/>
                  </a:lnTo>
                  <a:lnTo>
                    <a:pt x="74" y="273"/>
                  </a:lnTo>
                  <a:lnTo>
                    <a:pt x="75" y="272"/>
                  </a:lnTo>
                  <a:lnTo>
                    <a:pt x="75" y="271"/>
                  </a:lnTo>
                  <a:lnTo>
                    <a:pt x="76" y="270"/>
                  </a:lnTo>
                  <a:lnTo>
                    <a:pt x="76" y="268"/>
                  </a:lnTo>
                  <a:lnTo>
                    <a:pt x="76" y="267"/>
                  </a:lnTo>
                  <a:lnTo>
                    <a:pt x="77" y="267"/>
                  </a:lnTo>
                  <a:lnTo>
                    <a:pt x="77" y="268"/>
                  </a:lnTo>
                  <a:lnTo>
                    <a:pt x="77" y="270"/>
                  </a:lnTo>
                  <a:lnTo>
                    <a:pt x="77" y="271"/>
                  </a:lnTo>
                  <a:lnTo>
                    <a:pt x="76" y="272"/>
                  </a:lnTo>
                  <a:lnTo>
                    <a:pt x="76" y="273"/>
                  </a:lnTo>
                  <a:lnTo>
                    <a:pt x="77" y="273"/>
                  </a:lnTo>
                  <a:lnTo>
                    <a:pt x="79" y="273"/>
                  </a:lnTo>
                  <a:lnTo>
                    <a:pt x="79" y="274"/>
                  </a:lnTo>
                  <a:lnTo>
                    <a:pt x="80" y="274"/>
                  </a:lnTo>
                  <a:lnTo>
                    <a:pt x="81" y="273"/>
                  </a:lnTo>
                  <a:lnTo>
                    <a:pt x="81" y="272"/>
                  </a:lnTo>
                  <a:lnTo>
                    <a:pt x="80" y="272"/>
                  </a:lnTo>
                  <a:lnTo>
                    <a:pt x="81" y="272"/>
                  </a:lnTo>
                  <a:lnTo>
                    <a:pt x="82" y="272"/>
                  </a:lnTo>
                  <a:lnTo>
                    <a:pt x="83" y="273"/>
                  </a:lnTo>
                  <a:lnTo>
                    <a:pt x="83" y="274"/>
                  </a:lnTo>
                  <a:lnTo>
                    <a:pt x="83" y="276"/>
                  </a:lnTo>
                  <a:lnTo>
                    <a:pt x="85" y="276"/>
                  </a:lnTo>
                  <a:lnTo>
                    <a:pt x="86" y="276"/>
                  </a:lnTo>
                  <a:lnTo>
                    <a:pt x="86" y="274"/>
                  </a:lnTo>
                  <a:lnTo>
                    <a:pt x="87" y="274"/>
                  </a:lnTo>
                  <a:lnTo>
                    <a:pt x="88" y="274"/>
                  </a:lnTo>
                  <a:lnTo>
                    <a:pt x="88" y="273"/>
                  </a:lnTo>
                  <a:lnTo>
                    <a:pt x="89" y="272"/>
                  </a:lnTo>
                  <a:lnTo>
                    <a:pt x="88" y="272"/>
                  </a:lnTo>
                  <a:lnTo>
                    <a:pt x="87" y="273"/>
                  </a:lnTo>
                  <a:lnTo>
                    <a:pt x="87" y="272"/>
                  </a:lnTo>
                  <a:lnTo>
                    <a:pt x="88" y="271"/>
                  </a:lnTo>
                  <a:lnTo>
                    <a:pt x="89" y="271"/>
                  </a:lnTo>
                  <a:lnTo>
                    <a:pt x="91" y="271"/>
                  </a:lnTo>
                  <a:lnTo>
                    <a:pt x="91" y="270"/>
                  </a:lnTo>
                  <a:lnTo>
                    <a:pt x="91" y="268"/>
                  </a:lnTo>
                  <a:lnTo>
                    <a:pt x="89" y="268"/>
                  </a:lnTo>
                  <a:lnTo>
                    <a:pt x="91" y="267"/>
                  </a:lnTo>
                  <a:lnTo>
                    <a:pt x="91" y="266"/>
                  </a:lnTo>
                  <a:lnTo>
                    <a:pt x="91" y="265"/>
                  </a:lnTo>
                  <a:lnTo>
                    <a:pt x="92" y="265"/>
                  </a:lnTo>
                  <a:lnTo>
                    <a:pt x="92" y="264"/>
                  </a:lnTo>
                  <a:lnTo>
                    <a:pt x="93" y="264"/>
                  </a:lnTo>
                  <a:lnTo>
                    <a:pt x="93" y="262"/>
                  </a:lnTo>
                  <a:lnTo>
                    <a:pt x="92" y="262"/>
                  </a:lnTo>
                  <a:lnTo>
                    <a:pt x="92" y="261"/>
                  </a:lnTo>
                  <a:lnTo>
                    <a:pt x="92" y="260"/>
                  </a:lnTo>
                  <a:lnTo>
                    <a:pt x="93" y="261"/>
                  </a:lnTo>
                  <a:lnTo>
                    <a:pt x="94" y="261"/>
                  </a:lnTo>
                  <a:lnTo>
                    <a:pt x="94" y="262"/>
                  </a:lnTo>
                  <a:lnTo>
                    <a:pt x="94" y="264"/>
                  </a:lnTo>
                  <a:lnTo>
                    <a:pt x="94" y="265"/>
                  </a:lnTo>
                  <a:lnTo>
                    <a:pt x="96" y="265"/>
                  </a:lnTo>
                  <a:lnTo>
                    <a:pt x="96" y="266"/>
                  </a:lnTo>
                  <a:lnTo>
                    <a:pt x="98" y="266"/>
                  </a:lnTo>
                  <a:lnTo>
                    <a:pt x="99" y="266"/>
                  </a:lnTo>
                  <a:lnTo>
                    <a:pt x="99" y="265"/>
                  </a:lnTo>
                  <a:lnTo>
                    <a:pt x="99" y="264"/>
                  </a:lnTo>
                  <a:lnTo>
                    <a:pt x="98" y="262"/>
                  </a:lnTo>
                  <a:lnTo>
                    <a:pt x="97" y="262"/>
                  </a:lnTo>
                  <a:lnTo>
                    <a:pt x="96" y="261"/>
                  </a:lnTo>
                  <a:lnTo>
                    <a:pt x="94" y="260"/>
                  </a:lnTo>
                  <a:lnTo>
                    <a:pt x="94" y="259"/>
                  </a:lnTo>
                  <a:lnTo>
                    <a:pt x="96" y="259"/>
                  </a:lnTo>
                  <a:lnTo>
                    <a:pt x="96" y="258"/>
                  </a:lnTo>
                  <a:lnTo>
                    <a:pt x="97" y="258"/>
                  </a:lnTo>
                  <a:lnTo>
                    <a:pt x="98" y="256"/>
                  </a:lnTo>
                  <a:lnTo>
                    <a:pt x="99" y="256"/>
                  </a:lnTo>
                  <a:lnTo>
                    <a:pt x="99" y="255"/>
                  </a:lnTo>
                  <a:lnTo>
                    <a:pt x="98" y="256"/>
                  </a:lnTo>
                  <a:lnTo>
                    <a:pt x="97" y="256"/>
                  </a:lnTo>
                  <a:lnTo>
                    <a:pt x="97" y="255"/>
                  </a:lnTo>
                  <a:lnTo>
                    <a:pt x="98" y="255"/>
                  </a:lnTo>
                  <a:lnTo>
                    <a:pt x="99" y="255"/>
                  </a:lnTo>
                  <a:lnTo>
                    <a:pt x="100" y="255"/>
                  </a:lnTo>
                  <a:lnTo>
                    <a:pt x="102" y="255"/>
                  </a:lnTo>
                  <a:lnTo>
                    <a:pt x="103" y="255"/>
                  </a:lnTo>
                  <a:lnTo>
                    <a:pt x="103" y="254"/>
                  </a:lnTo>
                  <a:lnTo>
                    <a:pt x="102" y="254"/>
                  </a:lnTo>
                  <a:lnTo>
                    <a:pt x="100" y="254"/>
                  </a:lnTo>
                  <a:lnTo>
                    <a:pt x="102" y="253"/>
                  </a:lnTo>
                  <a:lnTo>
                    <a:pt x="103" y="254"/>
                  </a:lnTo>
                  <a:lnTo>
                    <a:pt x="104" y="255"/>
                  </a:lnTo>
                  <a:lnTo>
                    <a:pt x="105" y="255"/>
                  </a:lnTo>
                  <a:lnTo>
                    <a:pt x="106" y="254"/>
                  </a:lnTo>
                  <a:lnTo>
                    <a:pt x="106" y="253"/>
                  </a:lnTo>
                  <a:lnTo>
                    <a:pt x="105" y="253"/>
                  </a:lnTo>
                  <a:lnTo>
                    <a:pt x="105" y="252"/>
                  </a:lnTo>
                  <a:lnTo>
                    <a:pt x="104" y="252"/>
                  </a:lnTo>
                  <a:lnTo>
                    <a:pt x="103" y="252"/>
                  </a:lnTo>
                  <a:lnTo>
                    <a:pt x="102" y="252"/>
                  </a:lnTo>
                  <a:lnTo>
                    <a:pt x="100" y="252"/>
                  </a:lnTo>
                  <a:lnTo>
                    <a:pt x="99" y="250"/>
                  </a:lnTo>
                  <a:lnTo>
                    <a:pt x="99" y="249"/>
                  </a:lnTo>
                  <a:lnTo>
                    <a:pt x="99" y="250"/>
                  </a:lnTo>
                  <a:lnTo>
                    <a:pt x="102" y="250"/>
                  </a:lnTo>
                  <a:lnTo>
                    <a:pt x="103" y="250"/>
                  </a:lnTo>
                  <a:lnTo>
                    <a:pt x="104" y="249"/>
                  </a:lnTo>
                  <a:lnTo>
                    <a:pt x="104" y="248"/>
                  </a:lnTo>
                  <a:lnTo>
                    <a:pt x="104" y="247"/>
                  </a:lnTo>
                  <a:lnTo>
                    <a:pt x="103" y="247"/>
                  </a:lnTo>
                  <a:lnTo>
                    <a:pt x="103" y="248"/>
                  </a:lnTo>
                  <a:lnTo>
                    <a:pt x="102" y="247"/>
                  </a:lnTo>
                  <a:lnTo>
                    <a:pt x="102" y="248"/>
                  </a:lnTo>
                  <a:lnTo>
                    <a:pt x="100" y="248"/>
                  </a:lnTo>
                  <a:lnTo>
                    <a:pt x="99" y="248"/>
                  </a:lnTo>
                  <a:lnTo>
                    <a:pt x="98" y="249"/>
                  </a:lnTo>
                  <a:lnTo>
                    <a:pt x="98" y="250"/>
                  </a:lnTo>
                  <a:lnTo>
                    <a:pt x="97" y="250"/>
                  </a:lnTo>
                  <a:lnTo>
                    <a:pt x="98" y="249"/>
                  </a:lnTo>
                  <a:lnTo>
                    <a:pt x="98" y="248"/>
                  </a:lnTo>
                  <a:lnTo>
                    <a:pt x="99" y="247"/>
                  </a:lnTo>
                  <a:lnTo>
                    <a:pt x="100" y="247"/>
                  </a:lnTo>
                  <a:lnTo>
                    <a:pt x="99" y="246"/>
                  </a:lnTo>
                  <a:lnTo>
                    <a:pt x="98" y="247"/>
                  </a:lnTo>
                  <a:lnTo>
                    <a:pt x="98" y="246"/>
                  </a:lnTo>
                  <a:lnTo>
                    <a:pt x="97" y="244"/>
                  </a:lnTo>
                  <a:lnTo>
                    <a:pt x="97" y="246"/>
                  </a:lnTo>
                  <a:lnTo>
                    <a:pt x="97" y="247"/>
                  </a:lnTo>
                  <a:lnTo>
                    <a:pt x="96" y="247"/>
                  </a:lnTo>
                  <a:lnTo>
                    <a:pt x="96" y="246"/>
                  </a:lnTo>
                  <a:lnTo>
                    <a:pt x="96" y="244"/>
                  </a:lnTo>
                  <a:lnTo>
                    <a:pt x="94" y="244"/>
                  </a:lnTo>
                  <a:lnTo>
                    <a:pt x="94" y="243"/>
                  </a:lnTo>
                  <a:lnTo>
                    <a:pt x="93" y="242"/>
                  </a:lnTo>
                  <a:lnTo>
                    <a:pt x="93" y="241"/>
                  </a:lnTo>
                  <a:lnTo>
                    <a:pt x="94" y="240"/>
                  </a:lnTo>
                  <a:lnTo>
                    <a:pt x="96" y="241"/>
                  </a:lnTo>
                  <a:lnTo>
                    <a:pt x="97" y="241"/>
                  </a:lnTo>
                  <a:lnTo>
                    <a:pt x="97" y="242"/>
                  </a:lnTo>
                  <a:lnTo>
                    <a:pt x="98" y="242"/>
                  </a:lnTo>
                  <a:lnTo>
                    <a:pt x="99" y="242"/>
                  </a:lnTo>
                  <a:lnTo>
                    <a:pt x="99" y="241"/>
                  </a:lnTo>
                  <a:lnTo>
                    <a:pt x="99" y="240"/>
                  </a:lnTo>
                  <a:lnTo>
                    <a:pt x="100" y="240"/>
                  </a:lnTo>
                  <a:lnTo>
                    <a:pt x="99" y="240"/>
                  </a:lnTo>
                  <a:lnTo>
                    <a:pt x="98" y="240"/>
                  </a:lnTo>
                  <a:lnTo>
                    <a:pt x="97" y="240"/>
                  </a:lnTo>
                  <a:lnTo>
                    <a:pt x="96" y="240"/>
                  </a:lnTo>
                  <a:lnTo>
                    <a:pt x="94" y="238"/>
                  </a:lnTo>
                  <a:lnTo>
                    <a:pt x="93" y="237"/>
                  </a:lnTo>
                  <a:lnTo>
                    <a:pt x="93" y="236"/>
                  </a:lnTo>
                  <a:lnTo>
                    <a:pt x="93" y="235"/>
                  </a:lnTo>
                  <a:lnTo>
                    <a:pt x="92" y="235"/>
                  </a:lnTo>
                  <a:lnTo>
                    <a:pt x="91" y="234"/>
                  </a:lnTo>
                  <a:lnTo>
                    <a:pt x="91" y="232"/>
                  </a:lnTo>
                  <a:lnTo>
                    <a:pt x="91" y="231"/>
                  </a:lnTo>
                  <a:lnTo>
                    <a:pt x="91" y="230"/>
                  </a:lnTo>
                  <a:lnTo>
                    <a:pt x="91" y="229"/>
                  </a:lnTo>
                  <a:lnTo>
                    <a:pt x="92" y="228"/>
                  </a:lnTo>
                  <a:lnTo>
                    <a:pt x="92" y="226"/>
                  </a:lnTo>
                  <a:lnTo>
                    <a:pt x="93" y="225"/>
                  </a:lnTo>
                  <a:lnTo>
                    <a:pt x="94" y="226"/>
                  </a:lnTo>
                  <a:lnTo>
                    <a:pt x="96" y="228"/>
                  </a:lnTo>
                  <a:lnTo>
                    <a:pt x="94" y="229"/>
                  </a:lnTo>
                  <a:lnTo>
                    <a:pt x="94" y="228"/>
                  </a:lnTo>
                  <a:lnTo>
                    <a:pt x="93" y="228"/>
                  </a:lnTo>
                  <a:lnTo>
                    <a:pt x="93" y="229"/>
                  </a:lnTo>
                  <a:lnTo>
                    <a:pt x="92" y="229"/>
                  </a:lnTo>
                  <a:lnTo>
                    <a:pt x="93" y="229"/>
                  </a:lnTo>
                  <a:lnTo>
                    <a:pt x="93" y="230"/>
                  </a:lnTo>
                  <a:lnTo>
                    <a:pt x="93" y="231"/>
                  </a:lnTo>
                  <a:lnTo>
                    <a:pt x="94" y="231"/>
                  </a:lnTo>
                  <a:lnTo>
                    <a:pt x="94" y="230"/>
                  </a:lnTo>
                  <a:lnTo>
                    <a:pt x="96" y="229"/>
                  </a:lnTo>
                  <a:lnTo>
                    <a:pt x="97" y="229"/>
                  </a:lnTo>
                  <a:lnTo>
                    <a:pt x="98" y="229"/>
                  </a:lnTo>
                  <a:lnTo>
                    <a:pt x="99" y="229"/>
                  </a:lnTo>
                  <a:lnTo>
                    <a:pt x="100" y="229"/>
                  </a:lnTo>
                  <a:lnTo>
                    <a:pt x="100" y="230"/>
                  </a:lnTo>
                  <a:lnTo>
                    <a:pt x="100" y="231"/>
                  </a:lnTo>
                  <a:lnTo>
                    <a:pt x="99" y="231"/>
                  </a:lnTo>
                  <a:lnTo>
                    <a:pt x="98" y="231"/>
                  </a:lnTo>
                  <a:lnTo>
                    <a:pt x="97" y="231"/>
                  </a:lnTo>
                  <a:lnTo>
                    <a:pt x="97" y="232"/>
                  </a:lnTo>
                  <a:lnTo>
                    <a:pt x="98" y="234"/>
                  </a:lnTo>
                  <a:lnTo>
                    <a:pt x="99" y="235"/>
                  </a:lnTo>
                  <a:lnTo>
                    <a:pt x="100" y="235"/>
                  </a:lnTo>
                  <a:lnTo>
                    <a:pt x="102" y="235"/>
                  </a:lnTo>
                  <a:lnTo>
                    <a:pt x="100" y="234"/>
                  </a:lnTo>
                  <a:lnTo>
                    <a:pt x="102" y="234"/>
                  </a:lnTo>
                  <a:lnTo>
                    <a:pt x="102" y="232"/>
                  </a:lnTo>
                  <a:lnTo>
                    <a:pt x="102" y="231"/>
                  </a:lnTo>
                  <a:lnTo>
                    <a:pt x="103" y="230"/>
                  </a:lnTo>
                  <a:lnTo>
                    <a:pt x="104" y="231"/>
                  </a:lnTo>
                  <a:lnTo>
                    <a:pt x="105" y="231"/>
                  </a:lnTo>
                  <a:lnTo>
                    <a:pt x="106" y="231"/>
                  </a:lnTo>
                  <a:lnTo>
                    <a:pt x="108" y="231"/>
                  </a:lnTo>
                  <a:lnTo>
                    <a:pt x="108" y="230"/>
                  </a:lnTo>
                  <a:lnTo>
                    <a:pt x="108" y="229"/>
                  </a:lnTo>
                  <a:lnTo>
                    <a:pt x="106" y="229"/>
                  </a:lnTo>
                  <a:lnTo>
                    <a:pt x="105" y="229"/>
                  </a:lnTo>
                  <a:lnTo>
                    <a:pt x="106" y="229"/>
                  </a:lnTo>
                  <a:lnTo>
                    <a:pt x="108" y="229"/>
                  </a:lnTo>
                  <a:lnTo>
                    <a:pt x="109" y="229"/>
                  </a:lnTo>
                  <a:lnTo>
                    <a:pt x="110" y="228"/>
                  </a:lnTo>
                  <a:lnTo>
                    <a:pt x="111" y="229"/>
                  </a:lnTo>
                  <a:lnTo>
                    <a:pt x="112" y="228"/>
                  </a:lnTo>
                  <a:lnTo>
                    <a:pt x="111" y="228"/>
                  </a:lnTo>
                  <a:lnTo>
                    <a:pt x="111" y="226"/>
                  </a:lnTo>
                  <a:lnTo>
                    <a:pt x="112" y="226"/>
                  </a:lnTo>
                  <a:lnTo>
                    <a:pt x="114" y="226"/>
                  </a:lnTo>
                  <a:lnTo>
                    <a:pt x="114" y="228"/>
                  </a:lnTo>
                  <a:lnTo>
                    <a:pt x="112" y="229"/>
                  </a:lnTo>
                  <a:lnTo>
                    <a:pt x="114" y="229"/>
                  </a:lnTo>
                  <a:lnTo>
                    <a:pt x="115" y="228"/>
                  </a:lnTo>
                  <a:lnTo>
                    <a:pt x="115" y="226"/>
                  </a:lnTo>
                  <a:lnTo>
                    <a:pt x="115" y="225"/>
                  </a:lnTo>
                  <a:lnTo>
                    <a:pt x="115" y="226"/>
                  </a:lnTo>
                  <a:lnTo>
                    <a:pt x="116" y="226"/>
                  </a:lnTo>
                  <a:lnTo>
                    <a:pt x="115" y="228"/>
                  </a:lnTo>
                  <a:lnTo>
                    <a:pt x="115" y="229"/>
                  </a:lnTo>
                  <a:lnTo>
                    <a:pt x="114" y="229"/>
                  </a:lnTo>
                  <a:lnTo>
                    <a:pt x="114" y="230"/>
                  </a:lnTo>
                  <a:lnTo>
                    <a:pt x="112" y="231"/>
                  </a:lnTo>
                  <a:lnTo>
                    <a:pt x="114" y="231"/>
                  </a:lnTo>
                  <a:lnTo>
                    <a:pt x="115" y="230"/>
                  </a:lnTo>
                  <a:lnTo>
                    <a:pt x="115" y="231"/>
                  </a:lnTo>
                  <a:lnTo>
                    <a:pt x="114" y="232"/>
                  </a:lnTo>
                  <a:lnTo>
                    <a:pt x="115" y="232"/>
                  </a:lnTo>
                  <a:lnTo>
                    <a:pt x="115" y="234"/>
                  </a:lnTo>
                  <a:lnTo>
                    <a:pt x="114" y="238"/>
                  </a:lnTo>
                  <a:lnTo>
                    <a:pt x="114" y="240"/>
                  </a:lnTo>
                  <a:lnTo>
                    <a:pt x="114" y="241"/>
                  </a:lnTo>
                  <a:lnTo>
                    <a:pt x="114" y="242"/>
                  </a:lnTo>
                  <a:lnTo>
                    <a:pt x="114" y="243"/>
                  </a:lnTo>
                  <a:lnTo>
                    <a:pt x="115" y="244"/>
                  </a:lnTo>
                  <a:lnTo>
                    <a:pt x="114" y="244"/>
                  </a:lnTo>
                  <a:lnTo>
                    <a:pt x="115" y="246"/>
                  </a:lnTo>
                  <a:lnTo>
                    <a:pt x="116" y="246"/>
                  </a:lnTo>
                  <a:lnTo>
                    <a:pt x="116" y="247"/>
                  </a:lnTo>
                  <a:lnTo>
                    <a:pt x="116" y="248"/>
                  </a:lnTo>
                  <a:lnTo>
                    <a:pt x="117" y="248"/>
                  </a:lnTo>
                  <a:lnTo>
                    <a:pt x="117" y="250"/>
                  </a:lnTo>
                  <a:lnTo>
                    <a:pt x="117" y="252"/>
                  </a:lnTo>
                  <a:lnTo>
                    <a:pt x="117" y="254"/>
                  </a:lnTo>
                  <a:lnTo>
                    <a:pt x="117" y="255"/>
                  </a:lnTo>
                  <a:lnTo>
                    <a:pt x="116" y="258"/>
                  </a:lnTo>
                  <a:lnTo>
                    <a:pt x="116" y="259"/>
                  </a:lnTo>
                  <a:lnTo>
                    <a:pt x="116" y="260"/>
                  </a:lnTo>
                  <a:lnTo>
                    <a:pt x="117" y="260"/>
                  </a:lnTo>
                  <a:lnTo>
                    <a:pt x="117" y="259"/>
                  </a:lnTo>
                  <a:lnTo>
                    <a:pt x="117" y="258"/>
                  </a:lnTo>
                  <a:lnTo>
                    <a:pt x="117" y="256"/>
                  </a:lnTo>
                  <a:lnTo>
                    <a:pt x="118" y="255"/>
                  </a:lnTo>
                  <a:lnTo>
                    <a:pt x="120" y="256"/>
                  </a:lnTo>
                  <a:lnTo>
                    <a:pt x="120" y="258"/>
                  </a:lnTo>
                  <a:lnTo>
                    <a:pt x="121" y="259"/>
                  </a:lnTo>
                  <a:lnTo>
                    <a:pt x="121" y="260"/>
                  </a:lnTo>
                  <a:lnTo>
                    <a:pt x="121" y="261"/>
                  </a:lnTo>
                  <a:lnTo>
                    <a:pt x="122" y="262"/>
                  </a:lnTo>
                  <a:lnTo>
                    <a:pt x="122" y="264"/>
                  </a:lnTo>
                  <a:lnTo>
                    <a:pt x="123" y="265"/>
                  </a:lnTo>
                  <a:lnTo>
                    <a:pt x="124" y="266"/>
                  </a:lnTo>
                  <a:lnTo>
                    <a:pt x="124" y="267"/>
                  </a:lnTo>
                  <a:lnTo>
                    <a:pt x="126" y="268"/>
                  </a:lnTo>
                  <a:lnTo>
                    <a:pt x="126" y="267"/>
                  </a:lnTo>
                  <a:lnTo>
                    <a:pt x="126" y="266"/>
                  </a:lnTo>
                  <a:lnTo>
                    <a:pt x="123" y="262"/>
                  </a:lnTo>
                  <a:lnTo>
                    <a:pt x="122" y="260"/>
                  </a:lnTo>
                  <a:lnTo>
                    <a:pt x="122" y="259"/>
                  </a:lnTo>
                  <a:lnTo>
                    <a:pt x="121" y="258"/>
                  </a:lnTo>
                  <a:lnTo>
                    <a:pt x="120" y="256"/>
                  </a:lnTo>
                  <a:lnTo>
                    <a:pt x="120" y="255"/>
                  </a:lnTo>
                  <a:lnTo>
                    <a:pt x="118" y="253"/>
                  </a:lnTo>
                  <a:lnTo>
                    <a:pt x="118" y="252"/>
                  </a:lnTo>
                  <a:lnTo>
                    <a:pt x="118" y="248"/>
                  </a:lnTo>
                  <a:lnTo>
                    <a:pt x="117" y="246"/>
                  </a:lnTo>
                  <a:lnTo>
                    <a:pt x="116" y="243"/>
                  </a:lnTo>
                  <a:lnTo>
                    <a:pt x="115" y="242"/>
                  </a:lnTo>
                  <a:lnTo>
                    <a:pt x="115" y="240"/>
                  </a:lnTo>
                  <a:lnTo>
                    <a:pt x="115" y="238"/>
                  </a:lnTo>
                  <a:lnTo>
                    <a:pt x="116" y="235"/>
                  </a:lnTo>
                  <a:lnTo>
                    <a:pt x="117" y="232"/>
                  </a:lnTo>
                  <a:lnTo>
                    <a:pt x="117" y="230"/>
                  </a:lnTo>
                  <a:lnTo>
                    <a:pt x="117" y="226"/>
                  </a:lnTo>
                  <a:lnTo>
                    <a:pt x="117" y="225"/>
                  </a:lnTo>
                  <a:lnTo>
                    <a:pt x="117" y="224"/>
                  </a:lnTo>
                  <a:lnTo>
                    <a:pt x="118" y="220"/>
                  </a:lnTo>
                  <a:lnTo>
                    <a:pt x="118" y="219"/>
                  </a:lnTo>
                  <a:lnTo>
                    <a:pt x="120" y="219"/>
                  </a:lnTo>
                  <a:lnTo>
                    <a:pt x="120" y="220"/>
                  </a:lnTo>
                  <a:lnTo>
                    <a:pt x="120" y="222"/>
                  </a:lnTo>
                  <a:lnTo>
                    <a:pt x="120" y="223"/>
                  </a:lnTo>
                  <a:lnTo>
                    <a:pt x="118" y="224"/>
                  </a:lnTo>
                  <a:lnTo>
                    <a:pt x="118" y="225"/>
                  </a:lnTo>
                  <a:lnTo>
                    <a:pt x="117" y="226"/>
                  </a:lnTo>
                  <a:lnTo>
                    <a:pt x="117" y="228"/>
                  </a:lnTo>
                  <a:lnTo>
                    <a:pt x="117" y="230"/>
                  </a:lnTo>
                  <a:lnTo>
                    <a:pt x="117" y="231"/>
                  </a:lnTo>
                  <a:lnTo>
                    <a:pt x="117" y="232"/>
                  </a:lnTo>
                  <a:lnTo>
                    <a:pt x="117" y="234"/>
                  </a:lnTo>
                  <a:lnTo>
                    <a:pt x="117" y="236"/>
                  </a:lnTo>
                  <a:lnTo>
                    <a:pt x="117" y="237"/>
                  </a:lnTo>
                  <a:lnTo>
                    <a:pt x="116" y="238"/>
                  </a:lnTo>
                  <a:lnTo>
                    <a:pt x="116" y="240"/>
                  </a:lnTo>
                  <a:lnTo>
                    <a:pt x="116" y="241"/>
                  </a:lnTo>
                  <a:lnTo>
                    <a:pt x="117" y="242"/>
                  </a:lnTo>
                  <a:lnTo>
                    <a:pt x="116" y="243"/>
                  </a:lnTo>
                  <a:lnTo>
                    <a:pt x="117" y="243"/>
                  </a:lnTo>
                  <a:lnTo>
                    <a:pt x="118" y="243"/>
                  </a:lnTo>
                  <a:lnTo>
                    <a:pt x="120" y="243"/>
                  </a:lnTo>
                  <a:lnTo>
                    <a:pt x="118" y="243"/>
                  </a:lnTo>
                  <a:lnTo>
                    <a:pt x="118" y="242"/>
                  </a:lnTo>
                  <a:lnTo>
                    <a:pt x="120" y="242"/>
                  </a:lnTo>
                  <a:lnTo>
                    <a:pt x="118" y="241"/>
                  </a:lnTo>
                  <a:lnTo>
                    <a:pt x="120" y="241"/>
                  </a:lnTo>
                  <a:lnTo>
                    <a:pt x="121" y="241"/>
                  </a:lnTo>
                  <a:lnTo>
                    <a:pt x="120" y="241"/>
                  </a:lnTo>
                  <a:lnTo>
                    <a:pt x="118" y="240"/>
                  </a:lnTo>
                  <a:lnTo>
                    <a:pt x="120" y="240"/>
                  </a:lnTo>
                  <a:lnTo>
                    <a:pt x="120" y="238"/>
                  </a:lnTo>
                  <a:lnTo>
                    <a:pt x="118" y="238"/>
                  </a:lnTo>
                  <a:lnTo>
                    <a:pt x="118" y="237"/>
                  </a:lnTo>
                  <a:lnTo>
                    <a:pt x="118" y="236"/>
                  </a:lnTo>
                  <a:lnTo>
                    <a:pt x="118" y="235"/>
                  </a:lnTo>
                  <a:lnTo>
                    <a:pt x="118" y="234"/>
                  </a:lnTo>
                  <a:lnTo>
                    <a:pt x="118" y="231"/>
                  </a:lnTo>
                  <a:lnTo>
                    <a:pt x="118" y="230"/>
                  </a:lnTo>
                  <a:lnTo>
                    <a:pt x="118" y="228"/>
                  </a:lnTo>
                  <a:lnTo>
                    <a:pt x="118" y="225"/>
                  </a:lnTo>
                  <a:lnTo>
                    <a:pt x="120" y="225"/>
                  </a:lnTo>
                  <a:lnTo>
                    <a:pt x="120" y="224"/>
                  </a:lnTo>
                  <a:lnTo>
                    <a:pt x="121" y="225"/>
                  </a:lnTo>
                  <a:lnTo>
                    <a:pt x="121" y="226"/>
                  </a:lnTo>
                  <a:lnTo>
                    <a:pt x="121" y="228"/>
                  </a:lnTo>
                  <a:lnTo>
                    <a:pt x="121" y="229"/>
                  </a:lnTo>
                  <a:lnTo>
                    <a:pt x="121" y="228"/>
                  </a:lnTo>
                  <a:lnTo>
                    <a:pt x="121" y="226"/>
                  </a:lnTo>
                  <a:lnTo>
                    <a:pt x="121" y="229"/>
                  </a:lnTo>
                  <a:lnTo>
                    <a:pt x="121" y="230"/>
                  </a:lnTo>
                  <a:lnTo>
                    <a:pt x="121" y="231"/>
                  </a:lnTo>
                  <a:lnTo>
                    <a:pt x="121" y="232"/>
                  </a:lnTo>
                  <a:lnTo>
                    <a:pt x="120" y="232"/>
                  </a:lnTo>
                  <a:lnTo>
                    <a:pt x="121" y="234"/>
                  </a:lnTo>
                  <a:lnTo>
                    <a:pt x="122" y="232"/>
                  </a:lnTo>
                  <a:lnTo>
                    <a:pt x="122" y="231"/>
                  </a:lnTo>
                  <a:lnTo>
                    <a:pt x="123" y="231"/>
                  </a:lnTo>
                  <a:lnTo>
                    <a:pt x="123" y="232"/>
                  </a:lnTo>
                  <a:lnTo>
                    <a:pt x="123" y="234"/>
                  </a:lnTo>
                  <a:lnTo>
                    <a:pt x="123" y="235"/>
                  </a:lnTo>
                  <a:lnTo>
                    <a:pt x="123" y="234"/>
                  </a:lnTo>
                  <a:lnTo>
                    <a:pt x="124" y="232"/>
                  </a:lnTo>
                  <a:lnTo>
                    <a:pt x="124" y="231"/>
                  </a:lnTo>
                  <a:lnTo>
                    <a:pt x="123" y="231"/>
                  </a:lnTo>
                  <a:lnTo>
                    <a:pt x="122" y="230"/>
                  </a:lnTo>
                  <a:lnTo>
                    <a:pt x="122" y="229"/>
                  </a:lnTo>
                  <a:lnTo>
                    <a:pt x="122" y="228"/>
                  </a:lnTo>
                  <a:lnTo>
                    <a:pt x="122" y="226"/>
                  </a:lnTo>
                  <a:lnTo>
                    <a:pt x="122" y="225"/>
                  </a:lnTo>
                  <a:lnTo>
                    <a:pt x="122" y="224"/>
                  </a:lnTo>
                  <a:lnTo>
                    <a:pt x="121" y="224"/>
                  </a:lnTo>
                  <a:lnTo>
                    <a:pt x="121" y="223"/>
                  </a:lnTo>
                  <a:lnTo>
                    <a:pt x="121" y="222"/>
                  </a:lnTo>
                  <a:lnTo>
                    <a:pt x="121" y="220"/>
                  </a:lnTo>
                  <a:lnTo>
                    <a:pt x="122" y="222"/>
                  </a:lnTo>
                  <a:lnTo>
                    <a:pt x="122" y="223"/>
                  </a:lnTo>
                  <a:lnTo>
                    <a:pt x="122" y="224"/>
                  </a:lnTo>
                  <a:lnTo>
                    <a:pt x="123" y="224"/>
                  </a:lnTo>
                  <a:lnTo>
                    <a:pt x="124" y="224"/>
                  </a:lnTo>
                  <a:lnTo>
                    <a:pt x="124" y="223"/>
                  </a:lnTo>
                  <a:lnTo>
                    <a:pt x="123" y="222"/>
                  </a:lnTo>
                  <a:lnTo>
                    <a:pt x="124" y="222"/>
                  </a:lnTo>
                  <a:lnTo>
                    <a:pt x="124" y="223"/>
                  </a:lnTo>
                  <a:lnTo>
                    <a:pt x="126" y="224"/>
                  </a:lnTo>
                  <a:lnTo>
                    <a:pt x="124" y="224"/>
                  </a:lnTo>
                  <a:lnTo>
                    <a:pt x="123" y="224"/>
                  </a:lnTo>
                  <a:lnTo>
                    <a:pt x="123" y="225"/>
                  </a:lnTo>
                  <a:lnTo>
                    <a:pt x="124" y="226"/>
                  </a:lnTo>
                  <a:lnTo>
                    <a:pt x="126" y="226"/>
                  </a:lnTo>
                  <a:lnTo>
                    <a:pt x="127" y="225"/>
                  </a:lnTo>
                  <a:lnTo>
                    <a:pt x="129" y="225"/>
                  </a:lnTo>
                  <a:lnTo>
                    <a:pt x="129" y="224"/>
                  </a:lnTo>
                  <a:lnTo>
                    <a:pt x="130" y="224"/>
                  </a:lnTo>
                  <a:lnTo>
                    <a:pt x="130" y="225"/>
                  </a:lnTo>
                  <a:lnTo>
                    <a:pt x="132" y="225"/>
                  </a:lnTo>
                  <a:lnTo>
                    <a:pt x="130" y="225"/>
                  </a:lnTo>
                  <a:lnTo>
                    <a:pt x="130" y="226"/>
                  </a:lnTo>
                  <a:lnTo>
                    <a:pt x="129" y="226"/>
                  </a:lnTo>
                  <a:lnTo>
                    <a:pt x="128" y="226"/>
                  </a:lnTo>
                  <a:lnTo>
                    <a:pt x="129" y="226"/>
                  </a:lnTo>
                  <a:lnTo>
                    <a:pt x="129" y="228"/>
                  </a:lnTo>
                  <a:lnTo>
                    <a:pt x="129" y="229"/>
                  </a:lnTo>
                  <a:lnTo>
                    <a:pt x="128" y="229"/>
                  </a:lnTo>
                  <a:lnTo>
                    <a:pt x="128" y="230"/>
                  </a:lnTo>
                  <a:lnTo>
                    <a:pt x="128" y="229"/>
                  </a:lnTo>
                  <a:lnTo>
                    <a:pt x="127" y="229"/>
                  </a:lnTo>
                  <a:lnTo>
                    <a:pt x="126" y="230"/>
                  </a:lnTo>
                  <a:lnTo>
                    <a:pt x="126" y="231"/>
                  </a:lnTo>
                  <a:lnTo>
                    <a:pt x="127" y="231"/>
                  </a:lnTo>
                  <a:lnTo>
                    <a:pt x="128" y="232"/>
                  </a:lnTo>
                  <a:lnTo>
                    <a:pt x="128" y="234"/>
                  </a:lnTo>
                  <a:lnTo>
                    <a:pt x="127" y="234"/>
                  </a:lnTo>
                  <a:lnTo>
                    <a:pt x="126" y="234"/>
                  </a:lnTo>
                  <a:lnTo>
                    <a:pt x="124" y="234"/>
                  </a:lnTo>
                  <a:lnTo>
                    <a:pt x="124" y="235"/>
                  </a:lnTo>
                  <a:lnTo>
                    <a:pt x="123" y="235"/>
                  </a:lnTo>
                  <a:lnTo>
                    <a:pt x="122" y="235"/>
                  </a:lnTo>
                  <a:lnTo>
                    <a:pt x="122" y="236"/>
                  </a:lnTo>
                  <a:lnTo>
                    <a:pt x="122" y="237"/>
                  </a:lnTo>
                  <a:lnTo>
                    <a:pt x="123" y="237"/>
                  </a:lnTo>
                  <a:lnTo>
                    <a:pt x="124" y="237"/>
                  </a:lnTo>
                  <a:lnTo>
                    <a:pt x="123" y="237"/>
                  </a:lnTo>
                  <a:lnTo>
                    <a:pt x="123" y="238"/>
                  </a:lnTo>
                  <a:lnTo>
                    <a:pt x="123" y="240"/>
                  </a:lnTo>
                  <a:lnTo>
                    <a:pt x="124" y="240"/>
                  </a:lnTo>
                  <a:lnTo>
                    <a:pt x="126" y="240"/>
                  </a:lnTo>
                  <a:lnTo>
                    <a:pt x="126" y="238"/>
                  </a:lnTo>
                  <a:lnTo>
                    <a:pt x="126" y="237"/>
                  </a:lnTo>
                  <a:lnTo>
                    <a:pt x="127" y="237"/>
                  </a:lnTo>
                  <a:lnTo>
                    <a:pt x="128" y="236"/>
                  </a:lnTo>
                  <a:lnTo>
                    <a:pt x="129" y="236"/>
                  </a:lnTo>
                  <a:lnTo>
                    <a:pt x="129" y="235"/>
                  </a:lnTo>
                  <a:lnTo>
                    <a:pt x="129" y="234"/>
                  </a:lnTo>
                  <a:lnTo>
                    <a:pt x="130" y="232"/>
                  </a:lnTo>
                  <a:lnTo>
                    <a:pt x="132" y="231"/>
                  </a:lnTo>
                  <a:lnTo>
                    <a:pt x="132" y="230"/>
                  </a:lnTo>
                  <a:lnTo>
                    <a:pt x="132" y="229"/>
                  </a:lnTo>
                  <a:lnTo>
                    <a:pt x="132" y="228"/>
                  </a:lnTo>
                  <a:lnTo>
                    <a:pt x="133" y="228"/>
                  </a:lnTo>
                  <a:lnTo>
                    <a:pt x="134" y="226"/>
                  </a:lnTo>
                  <a:lnTo>
                    <a:pt x="134" y="228"/>
                  </a:lnTo>
                  <a:lnTo>
                    <a:pt x="135" y="229"/>
                  </a:lnTo>
                  <a:lnTo>
                    <a:pt x="134" y="229"/>
                  </a:lnTo>
                  <a:lnTo>
                    <a:pt x="134" y="228"/>
                  </a:lnTo>
                  <a:lnTo>
                    <a:pt x="133" y="228"/>
                  </a:lnTo>
                  <a:lnTo>
                    <a:pt x="132" y="229"/>
                  </a:lnTo>
                  <a:lnTo>
                    <a:pt x="133" y="229"/>
                  </a:lnTo>
                  <a:lnTo>
                    <a:pt x="132" y="230"/>
                  </a:lnTo>
                  <a:lnTo>
                    <a:pt x="132" y="231"/>
                  </a:lnTo>
                  <a:lnTo>
                    <a:pt x="132" y="232"/>
                  </a:lnTo>
                  <a:lnTo>
                    <a:pt x="132" y="234"/>
                  </a:lnTo>
                  <a:lnTo>
                    <a:pt x="130" y="234"/>
                  </a:lnTo>
                  <a:lnTo>
                    <a:pt x="130" y="236"/>
                  </a:lnTo>
                  <a:lnTo>
                    <a:pt x="129" y="237"/>
                  </a:lnTo>
                  <a:lnTo>
                    <a:pt x="129" y="238"/>
                  </a:lnTo>
                  <a:lnTo>
                    <a:pt x="130" y="238"/>
                  </a:lnTo>
                  <a:lnTo>
                    <a:pt x="132" y="238"/>
                  </a:lnTo>
                  <a:lnTo>
                    <a:pt x="132" y="237"/>
                  </a:lnTo>
                  <a:lnTo>
                    <a:pt x="133" y="237"/>
                  </a:lnTo>
                  <a:lnTo>
                    <a:pt x="134" y="237"/>
                  </a:lnTo>
                  <a:lnTo>
                    <a:pt x="133" y="237"/>
                  </a:lnTo>
                  <a:lnTo>
                    <a:pt x="134" y="238"/>
                  </a:lnTo>
                  <a:lnTo>
                    <a:pt x="134" y="237"/>
                  </a:lnTo>
                  <a:lnTo>
                    <a:pt x="135" y="237"/>
                  </a:lnTo>
                  <a:lnTo>
                    <a:pt x="135" y="236"/>
                  </a:lnTo>
                  <a:lnTo>
                    <a:pt x="136" y="236"/>
                  </a:lnTo>
                  <a:lnTo>
                    <a:pt x="136" y="235"/>
                  </a:lnTo>
                  <a:lnTo>
                    <a:pt x="138" y="235"/>
                  </a:lnTo>
                  <a:lnTo>
                    <a:pt x="139" y="234"/>
                  </a:lnTo>
                  <a:lnTo>
                    <a:pt x="139" y="232"/>
                  </a:lnTo>
                  <a:lnTo>
                    <a:pt x="139" y="231"/>
                  </a:lnTo>
                  <a:lnTo>
                    <a:pt x="139" y="232"/>
                  </a:lnTo>
                  <a:lnTo>
                    <a:pt x="139" y="234"/>
                  </a:lnTo>
                  <a:lnTo>
                    <a:pt x="139" y="236"/>
                  </a:lnTo>
                  <a:lnTo>
                    <a:pt x="140" y="236"/>
                  </a:lnTo>
                  <a:lnTo>
                    <a:pt x="141" y="236"/>
                  </a:lnTo>
                  <a:lnTo>
                    <a:pt x="141" y="235"/>
                  </a:lnTo>
                  <a:lnTo>
                    <a:pt x="141" y="234"/>
                  </a:lnTo>
                  <a:lnTo>
                    <a:pt x="142" y="235"/>
                  </a:lnTo>
                  <a:lnTo>
                    <a:pt x="142" y="236"/>
                  </a:lnTo>
                  <a:lnTo>
                    <a:pt x="142" y="235"/>
                  </a:lnTo>
                  <a:lnTo>
                    <a:pt x="142" y="234"/>
                  </a:lnTo>
                  <a:lnTo>
                    <a:pt x="144" y="234"/>
                  </a:lnTo>
                  <a:lnTo>
                    <a:pt x="145" y="234"/>
                  </a:lnTo>
                  <a:lnTo>
                    <a:pt x="146" y="232"/>
                  </a:lnTo>
                  <a:lnTo>
                    <a:pt x="146" y="231"/>
                  </a:lnTo>
                  <a:lnTo>
                    <a:pt x="146" y="230"/>
                  </a:lnTo>
                  <a:lnTo>
                    <a:pt x="145" y="230"/>
                  </a:lnTo>
                  <a:lnTo>
                    <a:pt x="145" y="231"/>
                  </a:lnTo>
                  <a:lnTo>
                    <a:pt x="144" y="230"/>
                  </a:lnTo>
                  <a:lnTo>
                    <a:pt x="144" y="231"/>
                  </a:lnTo>
                  <a:lnTo>
                    <a:pt x="142" y="231"/>
                  </a:lnTo>
                  <a:lnTo>
                    <a:pt x="141" y="231"/>
                  </a:lnTo>
                  <a:lnTo>
                    <a:pt x="141" y="230"/>
                  </a:lnTo>
                  <a:lnTo>
                    <a:pt x="142" y="229"/>
                  </a:lnTo>
                  <a:lnTo>
                    <a:pt x="144" y="229"/>
                  </a:lnTo>
                  <a:lnTo>
                    <a:pt x="144" y="226"/>
                  </a:lnTo>
                  <a:lnTo>
                    <a:pt x="144" y="225"/>
                  </a:lnTo>
                  <a:lnTo>
                    <a:pt x="142" y="225"/>
                  </a:lnTo>
                  <a:lnTo>
                    <a:pt x="142" y="226"/>
                  </a:lnTo>
                  <a:lnTo>
                    <a:pt x="141" y="228"/>
                  </a:lnTo>
                  <a:lnTo>
                    <a:pt x="141" y="229"/>
                  </a:lnTo>
                  <a:lnTo>
                    <a:pt x="140" y="229"/>
                  </a:lnTo>
                  <a:lnTo>
                    <a:pt x="140" y="228"/>
                  </a:lnTo>
                  <a:lnTo>
                    <a:pt x="141" y="226"/>
                  </a:lnTo>
                  <a:lnTo>
                    <a:pt x="142" y="225"/>
                  </a:lnTo>
                  <a:lnTo>
                    <a:pt x="144" y="225"/>
                  </a:lnTo>
                  <a:lnTo>
                    <a:pt x="145" y="224"/>
                  </a:lnTo>
                  <a:lnTo>
                    <a:pt x="146" y="224"/>
                  </a:lnTo>
                  <a:lnTo>
                    <a:pt x="146" y="225"/>
                  </a:lnTo>
                  <a:lnTo>
                    <a:pt x="146" y="226"/>
                  </a:lnTo>
                  <a:lnTo>
                    <a:pt x="145" y="228"/>
                  </a:lnTo>
                  <a:lnTo>
                    <a:pt x="145" y="229"/>
                  </a:lnTo>
                  <a:lnTo>
                    <a:pt x="146" y="228"/>
                  </a:lnTo>
                  <a:lnTo>
                    <a:pt x="146" y="226"/>
                  </a:lnTo>
                  <a:lnTo>
                    <a:pt x="147" y="225"/>
                  </a:lnTo>
                  <a:lnTo>
                    <a:pt x="147" y="224"/>
                  </a:lnTo>
                  <a:lnTo>
                    <a:pt x="148" y="224"/>
                  </a:lnTo>
                  <a:lnTo>
                    <a:pt x="150" y="223"/>
                  </a:lnTo>
                  <a:lnTo>
                    <a:pt x="151" y="222"/>
                  </a:lnTo>
                  <a:lnTo>
                    <a:pt x="152" y="222"/>
                  </a:lnTo>
                  <a:lnTo>
                    <a:pt x="152" y="220"/>
                  </a:lnTo>
                  <a:lnTo>
                    <a:pt x="153" y="220"/>
                  </a:lnTo>
                  <a:lnTo>
                    <a:pt x="153" y="222"/>
                  </a:lnTo>
                  <a:lnTo>
                    <a:pt x="153" y="223"/>
                  </a:lnTo>
                  <a:lnTo>
                    <a:pt x="153" y="224"/>
                  </a:lnTo>
                  <a:lnTo>
                    <a:pt x="152" y="224"/>
                  </a:lnTo>
                  <a:lnTo>
                    <a:pt x="151" y="224"/>
                  </a:lnTo>
                  <a:lnTo>
                    <a:pt x="151" y="223"/>
                  </a:lnTo>
                  <a:lnTo>
                    <a:pt x="150" y="223"/>
                  </a:lnTo>
                  <a:lnTo>
                    <a:pt x="151" y="224"/>
                  </a:lnTo>
                  <a:lnTo>
                    <a:pt x="151" y="225"/>
                  </a:lnTo>
                  <a:lnTo>
                    <a:pt x="152" y="225"/>
                  </a:lnTo>
                  <a:lnTo>
                    <a:pt x="153" y="225"/>
                  </a:lnTo>
                  <a:lnTo>
                    <a:pt x="152" y="226"/>
                  </a:lnTo>
                  <a:lnTo>
                    <a:pt x="151" y="228"/>
                  </a:lnTo>
                  <a:lnTo>
                    <a:pt x="151" y="229"/>
                  </a:lnTo>
                  <a:lnTo>
                    <a:pt x="150" y="230"/>
                  </a:lnTo>
                  <a:lnTo>
                    <a:pt x="150" y="231"/>
                  </a:lnTo>
                  <a:lnTo>
                    <a:pt x="148" y="231"/>
                  </a:lnTo>
                  <a:lnTo>
                    <a:pt x="148" y="232"/>
                  </a:lnTo>
                  <a:lnTo>
                    <a:pt x="148" y="234"/>
                  </a:lnTo>
                  <a:lnTo>
                    <a:pt x="147" y="235"/>
                  </a:lnTo>
                  <a:lnTo>
                    <a:pt x="146" y="235"/>
                  </a:lnTo>
                  <a:lnTo>
                    <a:pt x="145" y="236"/>
                  </a:lnTo>
                  <a:lnTo>
                    <a:pt x="145" y="235"/>
                  </a:lnTo>
                  <a:lnTo>
                    <a:pt x="144" y="235"/>
                  </a:lnTo>
                  <a:lnTo>
                    <a:pt x="144" y="236"/>
                  </a:lnTo>
                  <a:lnTo>
                    <a:pt x="142" y="236"/>
                  </a:lnTo>
                  <a:lnTo>
                    <a:pt x="142" y="237"/>
                  </a:lnTo>
                  <a:lnTo>
                    <a:pt x="144" y="238"/>
                  </a:lnTo>
                  <a:lnTo>
                    <a:pt x="144" y="237"/>
                  </a:lnTo>
                  <a:lnTo>
                    <a:pt x="145" y="236"/>
                  </a:lnTo>
                  <a:lnTo>
                    <a:pt x="146" y="236"/>
                  </a:lnTo>
                  <a:lnTo>
                    <a:pt x="147" y="236"/>
                  </a:lnTo>
                  <a:lnTo>
                    <a:pt x="148" y="235"/>
                  </a:lnTo>
                  <a:lnTo>
                    <a:pt x="150" y="234"/>
                  </a:lnTo>
                  <a:lnTo>
                    <a:pt x="148" y="235"/>
                  </a:lnTo>
                  <a:lnTo>
                    <a:pt x="148" y="236"/>
                  </a:lnTo>
                  <a:lnTo>
                    <a:pt x="147" y="237"/>
                  </a:lnTo>
                  <a:lnTo>
                    <a:pt x="147" y="238"/>
                  </a:lnTo>
                  <a:lnTo>
                    <a:pt x="146" y="241"/>
                  </a:lnTo>
                  <a:lnTo>
                    <a:pt x="145" y="241"/>
                  </a:lnTo>
                  <a:lnTo>
                    <a:pt x="146" y="242"/>
                  </a:lnTo>
                  <a:lnTo>
                    <a:pt x="147" y="241"/>
                  </a:lnTo>
                  <a:lnTo>
                    <a:pt x="147" y="240"/>
                  </a:lnTo>
                  <a:lnTo>
                    <a:pt x="148" y="238"/>
                  </a:lnTo>
                  <a:lnTo>
                    <a:pt x="148" y="237"/>
                  </a:lnTo>
                  <a:lnTo>
                    <a:pt x="150" y="236"/>
                  </a:lnTo>
                  <a:lnTo>
                    <a:pt x="150" y="235"/>
                  </a:lnTo>
                  <a:lnTo>
                    <a:pt x="150" y="237"/>
                  </a:lnTo>
                  <a:lnTo>
                    <a:pt x="151" y="238"/>
                  </a:lnTo>
                  <a:lnTo>
                    <a:pt x="151" y="237"/>
                  </a:lnTo>
                  <a:lnTo>
                    <a:pt x="151" y="236"/>
                  </a:lnTo>
                  <a:lnTo>
                    <a:pt x="151" y="235"/>
                  </a:lnTo>
                  <a:lnTo>
                    <a:pt x="150" y="234"/>
                  </a:lnTo>
                  <a:lnTo>
                    <a:pt x="150" y="232"/>
                  </a:lnTo>
                  <a:lnTo>
                    <a:pt x="151" y="232"/>
                  </a:lnTo>
                  <a:lnTo>
                    <a:pt x="152" y="234"/>
                  </a:lnTo>
                  <a:lnTo>
                    <a:pt x="153" y="235"/>
                  </a:lnTo>
                  <a:lnTo>
                    <a:pt x="153" y="234"/>
                  </a:lnTo>
                  <a:lnTo>
                    <a:pt x="152" y="232"/>
                  </a:lnTo>
                  <a:lnTo>
                    <a:pt x="151" y="232"/>
                  </a:lnTo>
                  <a:lnTo>
                    <a:pt x="151" y="231"/>
                  </a:lnTo>
                  <a:lnTo>
                    <a:pt x="151" y="230"/>
                  </a:lnTo>
                  <a:lnTo>
                    <a:pt x="152" y="229"/>
                  </a:lnTo>
                  <a:lnTo>
                    <a:pt x="152" y="228"/>
                  </a:lnTo>
                  <a:lnTo>
                    <a:pt x="153" y="228"/>
                  </a:lnTo>
                  <a:lnTo>
                    <a:pt x="155" y="228"/>
                  </a:lnTo>
                  <a:lnTo>
                    <a:pt x="155" y="232"/>
                  </a:lnTo>
                  <a:lnTo>
                    <a:pt x="155" y="238"/>
                  </a:lnTo>
                  <a:lnTo>
                    <a:pt x="155" y="244"/>
                  </a:lnTo>
                  <a:lnTo>
                    <a:pt x="155" y="252"/>
                  </a:lnTo>
                  <a:lnTo>
                    <a:pt x="155" y="256"/>
                  </a:lnTo>
                  <a:lnTo>
                    <a:pt x="155" y="255"/>
                  </a:lnTo>
                  <a:lnTo>
                    <a:pt x="153" y="255"/>
                  </a:lnTo>
                  <a:lnTo>
                    <a:pt x="153" y="254"/>
                  </a:lnTo>
                  <a:lnTo>
                    <a:pt x="152" y="254"/>
                  </a:lnTo>
                  <a:lnTo>
                    <a:pt x="151" y="254"/>
                  </a:lnTo>
                  <a:lnTo>
                    <a:pt x="151" y="255"/>
                  </a:lnTo>
                  <a:lnTo>
                    <a:pt x="150" y="254"/>
                  </a:lnTo>
                  <a:lnTo>
                    <a:pt x="150" y="255"/>
                  </a:lnTo>
                  <a:lnTo>
                    <a:pt x="148" y="254"/>
                  </a:lnTo>
                  <a:lnTo>
                    <a:pt x="148" y="255"/>
                  </a:lnTo>
                  <a:lnTo>
                    <a:pt x="147" y="255"/>
                  </a:lnTo>
                  <a:lnTo>
                    <a:pt x="147" y="256"/>
                  </a:lnTo>
                  <a:lnTo>
                    <a:pt x="146" y="256"/>
                  </a:lnTo>
                  <a:lnTo>
                    <a:pt x="146" y="258"/>
                  </a:lnTo>
                  <a:lnTo>
                    <a:pt x="148" y="259"/>
                  </a:lnTo>
                  <a:lnTo>
                    <a:pt x="150" y="259"/>
                  </a:lnTo>
                  <a:lnTo>
                    <a:pt x="151" y="258"/>
                  </a:lnTo>
                  <a:lnTo>
                    <a:pt x="152" y="258"/>
                  </a:lnTo>
                  <a:lnTo>
                    <a:pt x="152" y="259"/>
                  </a:lnTo>
                  <a:lnTo>
                    <a:pt x="153" y="260"/>
                  </a:lnTo>
                  <a:lnTo>
                    <a:pt x="155" y="261"/>
                  </a:lnTo>
                  <a:lnTo>
                    <a:pt x="155" y="264"/>
                  </a:lnTo>
                  <a:lnTo>
                    <a:pt x="155" y="270"/>
                  </a:lnTo>
                  <a:lnTo>
                    <a:pt x="155" y="276"/>
                  </a:lnTo>
                  <a:lnTo>
                    <a:pt x="155" y="284"/>
                  </a:lnTo>
                  <a:lnTo>
                    <a:pt x="156" y="291"/>
                  </a:lnTo>
                  <a:lnTo>
                    <a:pt x="156" y="300"/>
                  </a:lnTo>
                  <a:lnTo>
                    <a:pt x="156" y="308"/>
                  </a:lnTo>
                  <a:lnTo>
                    <a:pt x="157" y="317"/>
                  </a:lnTo>
                  <a:lnTo>
                    <a:pt x="157" y="337"/>
                  </a:lnTo>
                  <a:lnTo>
                    <a:pt x="157" y="348"/>
                  </a:lnTo>
                  <a:lnTo>
                    <a:pt x="158" y="359"/>
                  </a:lnTo>
                  <a:lnTo>
                    <a:pt x="156" y="360"/>
                  </a:lnTo>
                  <a:lnTo>
                    <a:pt x="148" y="362"/>
                  </a:lnTo>
                  <a:lnTo>
                    <a:pt x="141" y="362"/>
                  </a:lnTo>
                  <a:lnTo>
                    <a:pt x="142" y="363"/>
                  </a:lnTo>
                  <a:lnTo>
                    <a:pt x="140" y="363"/>
                  </a:lnTo>
                  <a:lnTo>
                    <a:pt x="153" y="362"/>
                  </a:lnTo>
                  <a:lnTo>
                    <a:pt x="161" y="362"/>
                  </a:lnTo>
                  <a:lnTo>
                    <a:pt x="165" y="362"/>
                  </a:lnTo>
                  <a:lnTo>
                    <a:pt x="168" y="362"/>
                  </a:lnTo>
                  <a:lnTo>
                    <a:pt x="173" y="361"/>
                  </a:lnTo>
                  <a:lnTo>
                    <a:pt x="177" y="362"/>
                  </a:lnTo>
                  <a:lnTo>
                    <a:pt x="189" y="362"/>
                  </a:lnTo>
                  <a:lnTo>
                    <a:pt x="195" y="362"/>
                  </a:lnTo>
                  <a:lnTo>
                    <a:pt x="198" y="361"/>
                  </a:lnTo>
                  <a:lnTo>
                    <a:pt x="197" y="36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3" name="Freeform 66"/>
            <p:cNvSpPr>
              <a:spLocks/>
            </p:cNvSpPr>
            <p:nvPr userDrawn="1"/>
          </p:nvSpPr>
          <p:spPr bwMode="auto">
            <a:xfrm>
              <a:off x="4795838" y="6443663"/>
              <a:ext cx="60325" cy="85725"/>
            </a:xfrm>
            <a:custGeom>
              <a:avLst/>
              <a:gdLst/>
              <a:ahLst/>
              <a:cxnLst>
                <a:cxn ang="0">
                  <a:pos x="146" y="147"/>
                </a:cxn>
                <a:cxn ang="0">
                  <a:pos x="148" y="144"/>
                </a:cxn>
                <a:cxn ang="0">
                  <a:pos x="166" y="142"/>
                </a:cxn>
                <a:cxn ang="0">
                  <a:pos x="168" y="124"/>
                </a:cxn>
                <a:cxn ang="0">
                  <a:pos x="175" y="130"/>
                </a:cxn>
                <a:cxn ang="0">
                  <a:pos x="180" y="124"/>
                </a:cxn>
                <a:cxn ang="0">
                  <a:pos x="184" y="113"/>
                </a:cxn>
                <a:cxn ang="0">
                  <a:pos x="170" y="103"/>
                </a:cxn>
                <a:cxn ang="0">
                  <a:pos x="160" y="89"/>
                </a:cxn>
                <a:cxn ang="0">
                  <a:pos x="180" y="88"/>
                </a:cxn>
                <a:cxn ang="0">
                  <a:pos x="182" y="82"/>
                </a:cxn>
                <a:cxn ang="0">
                  <a:pos x="175" y="78"/>
                </a:cxn>
                <a:cxn ang="0">
                  <a:pos x="187" y="72"/>
                </a:cxn>
                <a:cxn ang="0">
                  <a:pos x="189" y="67"/>
                </a:cxn>
                <a:cxn ang="0">
                  <a:pos x="174" y="73"/>
                </a:cxn>
                <a:cxn ang="0">
                  <a:pos x="168" y="72"/>
                </a:cxn>
                <a:cxn ang="0">
                  <a:pos x="158" y="65"/>
                </a:cxn>
                <a:cxn ang="0">
                  <a:pos x="158" y="53"/>
                </a:cxn>
                <a:cxn ang="0">
                  <a:pos x="143" y="54"/>
                </a:cxn>
                <a:cxn ang="0">
                  <a:pos x="143" y="43"/>
                </a:cxn>
                <a:cxn ang="0">
                  <a:pos x="137" y="41"/>
                </a:cxn>
                <a:cxn ang="0">
                  <a:pos x="135" y="40"/>
                </a:cxn>
                <a:cxn ang="0">
                  <a:pos x="124" y="30"/>
                </a:cxn>
                <a:cxn ang="0">
                  <a:pos x="116" y="34"/>
                </a:cxn>
                <a:cxn ang="0">
                  <a:pos x="110" y="34"/>
                </a:cxn>
                <a:cxn ang="0">
                  <a:pos x="102" y="11"/>
                </a:cxn>
                <a:cxn ang="0">
                  <a:pos x="93" y="2"/>
                </a:cxn>
                <a:cxn ang="0">
                  <a:pos x="88" y="6"/>
                </a:cxn>
                <a:cxn ang="0">
                  <a:pos x="95" y="30"/>
                </a:cxn>
                <a:cxn ang="0">
                  <a:pos x="89" y="30"/>
                </a:cxn>
                <a:cxn ang="0">
                  <a:pos x="86" y="43"/>
                </a:cxn>
                <a:cxn ang="0">
                  <a:pos x="74" y="52"/>
                </a:cxn>
                <a:cxn ang="0">
                  <a:pos x="68" y="59"/>
                </a:cxn>
                <a:cxn ang="0">
                  <a:pos x="59" y="50"/>
                </a:cxn>
                <a:cxn ang="0">
                  <a:pos x="58" y="38"/>
                </a:cxn>
                <a:cxn ang="0">
                  <a:pos x="52" y="42"/>
                </a:cxn>
                <a:cxn ang="0">
                  <a:pos x="48" y="46"/>
                </a:cxn>
                <a:cxn ang="0">
                  <a:pos x="37" y="55"/>
                </a:cxn>
                <a:cxn ang="0">
                  <a:pos x="33" y="60"/>
                </a:cxn>
                <a:cxn ang="0">
                  <a:pos x="28" y="65"/>
                </a:cxn>
                <a:cxn ang="0">
                  <a:pos x="30" y="70"/>
                </a:cxn>
                <a:cxn ang="0">
                  <a:pos x="39" y="76"/>
                </a:cxn>
                <a:cxn ang="0">
                  <a:pos x="25" y="73"/>
                </a:cxn>
                <a:cxn ang="0">
                  <a:pos x="31" y="79"/>
                </a:cxn>
                <a:cxn ang="0">
                  <a:pos x="10" y="84"/>
                </a:cxn>
                <a:cxn ang="0">
                  <a:pos x="3" y="83"/>
                </a:cxn>
                <a:cxn ang="0">
                  <a:pos x="4" y="90"/>
                </a:cxn>
                <a:cxn ang="0">
                  <a:pos x="28" y="102"/>
                </a:cxn>
                <a:cxn ang="0">
                  <a:pos x="23" y="114"/>
                </a:cxn>
                <a:cxn ang="0">
                  <a:pos x="4" y="123"/>
                </a:cxn>
                <a:cxn ang="0">
                  <a:pos x="16" y="137"/>
                </a:cxn>
                <a:cxn ang="0">
                  <a:pos x="17" y="160"/>
                </a:cxn>
                <a:cxn ang="0">
                  <a:pos x="39" y="155"/>
                </a:cxn>
                <a:cxn ang="0">
                  <a:pos x="27" y="172"/>
                </a:cxn>
                <a:cxn ang="0">
                  <a:pos x="36" y="174"/>
                </a:cxn>
                <a:cxn ang="0">
                  <a:pos x="43" y="178"/>
                </a:cxn>
                <a:cxn ang="0">
                  <a:pos x="57" y="171"/>
                </a:cxn>
                <a:cxn ang="0">
                  <a:pos x="63" y="177"/>
                </a:cxn>
                <a:cxn ang="0">
                  <a:pos x="70" y="168"/>
                </a:cxn>
                <a:cxn ang="0">
                  <a:pos x="86" y="165"/>
                </a:cxn>
                <a:cxn ang="0">
                  <a:pos x="94" y="167"/>
                </a:cxn>
                <a:cxn ang="0">
                  <a:pos x="96" y="171"/>
                </a:cxn>
                <a:cxn ang="0">
                  <a:pos x="105" y="166"/>
                </a:cxn>
              </a:cxnLst>
              <a:rect l="0" t="0" r="r" b="b"/>
              <a:pathLst>
                <a:path w="193" h="268">
                  <a:moveTo>
                    <a:pt x="133" y="268"/>
                  </a:moveTo>
                  <a:lnTo>
                    <a:pt x="129" y="262"/>
                  </a:lnTo>
                  <a:lnTo>
                    <a:pt x="131" y="245"/>
                  </a:lnTo>
                  <a:lnTo>
                    <a:pt x="130" y="232"/>
                  </a:lnTo>
                  <a:lnTo>
                    <a:pt x="134" y="215"/>
                  </a:lnTo>
                  <a:lnTo>
                    <a:pt x="134" y="204"/>
                  </a:lnTo>
                  <a:lnTo>
                    <a:pt x="140" y="179"/>
                  </a:lnTo>
                  <a:lnTo>
                    <a:pt x="142" y="168"/>
                  </a:lnTo>
                  <a:lnTo>
                    <a:pt x="141" y="155"/>
                  </a:lnTo>
                  <a:lnTo>
                    <a:pt x="136" y="149"/>
                  </a:lnTo>
                  <a:lnTo>
                    <a:pt x="136" y="145"/>
                  </a:lnTo>
                  <a:lnTo>
                    <a:pt x="136" y="144"/>
                  </a:lnTo>
                  <a:lnTo>
                    <a:pt x="137" y="143"/>
                  </a:lnTo>
                  <a:lnTo>
                    <a:pt x="139" y="144"/>
                  </a:lnTo>
                  <a:lnTo>
                    <a:pt x="140" y="145"/>
                  </a:lnTo>
                  <a:lnTo>
                    <a:pt x="140" y="147"/>
                  </a:lnTo>
                  <a:lnTo>
                    <a:pt x="141" y="147"/>
                  </a:lnTo>
                  <a:lnTo>
                    <a:pt x="140" y="147"/>
                  </a:lnTo>
                  <a:lnTo>
                    <a:pt x="140" y="148"/>
                  </a:lnTo>
                  <a:lnTo>
                    <a:pt x="141" y="148"/>
                  </a:lnTo>
                  <a:lnTo>
                    <a:pt x="142" y="147"/>
                  </a:lnTo>
                  <a:lnTo>
                    <a:pt x="143" y="148"/>
                  </a:lnTo>
                  <a:lnTo>
                    <a:pt x="143" y="147"/>
                  </a:lnTo>
                  <a:lnTo>
                    <a:pt x="145" y="148"/>
                  </a:lnTo>
                  <a:lnTo>
                    <a:pt x="143" y="147"/>
                  </a:lnTo>
                  <a:lnTo>
                    <a:pt x="143" y="145"/>
                  </a:lnTo>
                  <a:lnTo>
                    <a:pt x="142" y="145"/>
                  </a:lnTo>
                  <a:lnTo>
                    <a:pt x="141" y="144"/>
                  </a:lnTo>
                  <a:lnTo>
                    <a:pt x="140" y="144"/>
                  </a:lnTo>
                  <a:lnTo>
                    <a:pt x="140" y="145"/>
                  </a:lnTo>
                  <a:lnTo>
                    <a:pt x="139" y="145"/>
                  </a:lnTo>
                  <a:lnTo>
                    <a:pt x="139" y="143"/>
                  </a:lnTo>
                  <a:lnTo>
                    <a:pt x="141" y="143"/>
                  </a:lnTo>
                  <a:lnTo>
                    <a:pt x="146" y="147"/>
                  </a:lnTo>
                  <a:lnTo>
                    <a:pt x="147" y="149"/>
                  </a:lnTo>
                  <a:lnTo>
                    <a:pt x="148" y="149"/>
                  </a:lnTo>
                  <a:lnTo>
                    <a:pt x="148" y="151"/>
                  </a:lnTo>
                  <a:lnTo>
                    <a:pt x="148" y="153"/>
                  </a:lnTo>
                  <a:lnTo>
                    <a:pt x="148" y="150"/>
                  </a:lnTo>
                  <a:lnTo>
                    <a:pt x="148" y="149"/>
                  </a:lnTo>
                  <a:lnTo>
                    <a:pt x="149" y="149"/>
                  </a:lnTo>
                  <a:lnTo>
                    <a:pt x="151" y="151"/>
                  </a:lnTo>
                  <a:lnTo>
                    <a:pt x="152" y="151"/>
                  </a:lnTo>
                  <a:lnTo>
                    <a:pt x="151" y="150"/>
                  </a:lnTo>
                  <a:lnTo>
                    <a:pt x="149" y="149"/>
                  </a:lnTo>
                  <a:lnTo>
                    <a:pt x="148" y="149"/>
                  </a:lnTo>
                  <a:lnTo>
                    <a:pt x="147" y="147"/>
                  </a:lnTo>
                  <a:lnTo>
                    <a:pt x="145" y="144"/>
                  </a:lnTo>
                  <a:lnTo>
                    <a:pt x="140" y="142"/>
                  </a:lnTo>
                  <a:lnTo>
                    <a:pt x="139" y="142"/>
                  </a:lnTo>
                  <a:lnTo>
                    <a:pt x="139" y="141"/>
                  </a:lnTo>
                  <a:lnTo>
                    <a:pt x="139" y="139"/>
                  </a:lnTo>
                  <a:lnTo>
                    <a:pt x="140" y="139"/>
                  </a:lnTo>
                  <a:lnTo>
                    <a:pt x="139" y="139"/>
                  </a:lnTo>
                  <a:lnTo>
                    <a:pt x="140" y="139"/>
                  </a:lnTo>
                  <a:lnTo>
                    <a:pt x="141" y="138"/>
                  </a:lnTo>
                  <a:lnTo>
                    <a:pt x="141" y="139"/>
                  </a:lnTo>
                  <a:lnTo>
                    <a:pt x="142" y="139"/>
                  </a:lnTo>
                  <a:lnTo>
                    <a:pt x="143" y="141"/>
                  </a:lnTo>
                  <a:lnTo>
                    <a:pt x="143" y="142"/>
                  </a:lnTo>
                  <a:lnTo>
                    <a:pt x="143" y="143"/>
                  </a:lnTo>
                  <a:lnTo>
                    <a:pt x="145" y="142"/>
                  </a:lnTo>
                  <a:lnTo>
                    <a:pt x="145" y="143"/>
                  </a:lnTo>
                  <a:lnTo>
                    <a:pt x="146" y="143"/>
                  </a:lnTo>
                  <a:lnTo>
                    <a:pt x="146" y="142"/>
                  </a:lnTo>
                  <a:lnTo>
                    <a:pt x="147" y="143"/>
                  </a:lnTo>
                  <a:lnTo>
                    <a:pt x="147" y="144"/>
                  </a:lnTo>
                  <a:lnTo>
                    <a:pt x="148" y="144"/>
                  </a:lnTo>
                  <a:lnTo>
                    <a:pt x="148" y="143"/>
                  </a:lnTo>
                  <a:lnTo>
                    <a:pt x="149" y="144"/>
                  </a:lnTo>
                  <a:lnTo>
                    <a:pt x="153" y="147"/>
                  </a:lnTo>
                  <a:lnTo>
                    <a:pt x="154" y="149"/>
                  </a:lnTo>
                  <a:lnTo>
                    <a:pt x="154" y="148"/>
                  </a:lnTo>
                  <a:lnTo>
                    <a:pt x="155" y="149"/>
                  </a:lnTo>
                  <a:lnTo>
                    <a:pt x="155" y="150"/>
                  </a:lnTo>
                  <a:lnTo>
                    <a:pt x="157" y="151"/>
                  </a:lnTo>
                  <a:lnTo>
                    <a:pt x="157" y="154"/>
                  </a:lnTo>
                  <a:lnTo>
                    <a:pt x="157" y="153"/>
                  </a:lnTo>
                  <a:lnTo>
                    <a:pt x="158" y="154"/>
                  </a:lnTo>
                  <a:lnTo>
                    <a:pt x="157" y="151"/>
                  </a:lnTo>
                  <a:lnTo>
                    <a:pt x="155" y="149"/>
                  </a:lnTo>
                  <a:lnTo>
                    <a:pt x="155" y="148"/>
                  </a:lnTo>
                  <a:lnTo>
                    <a:pt x="155" y="147"/>
                  </a:lnTo>
                  <a:lnTo>
                    <a:pt x="157" y="148"/>
                  </a:lnTo>
                  <a:lnTo>
                    <a:pt x="159" y="149"/>
                  </a:lnTo>
                  <a:lnTo>
                    <a:pt x="159" y="150"/>
                  </a:lnTo>
                  <a:lnTo>
                    <a:pt x="160" y="151"/>
                  </a:lnTo>
                  <a:lnTo>
                    <a:pt x="161" y="150"/>
                  </a:lnTo>
                  <a:lnTo>
                    <a:pt x="161" y="151"/>
                  </a:lnTo>
                  <a:lnTo>
                    <a:pt x="163" y="151"/>
                  </a:lnTo>
                  <a:lnTo>
                    <a:pt x="164" y="150"/>
                  </a:lnTo>
                  <a:lnTo>
                    <a:pt x="164" y="149"/>
                  </a:lnTo>
                  <a:lnTo>
                    <a:pt x="165" y="149"/>
                  </a:lnTo>
                  <a:lnTo>
                    <a:pt x="165" y="147"/>
                  </a:lnTo>
                  <a:lnTo>
                    <a:pt x="165" y="145"/>
                  </a:lnTo>
                  <a:lnTo>
                    <a:pt x="164" y="145"/>
                  </a:lnTo>
                  <a:lnTo>
                    <a:pt x="164" y="144"/>
                  </a:lnTo>
                  <a:lnTo>
                    <a:pt x="165" y="145"/>
                  </a:lnTo>
                  <a:lnTo>
                    <a:pt x="165" y="144"/>
                  </a:lnTo>
                  <a:lnTo>
                    <a:pt x="166" y="144"/>
                  </a:lnTo>
                  <a:lnTo>
                    <a:pt x="166" y="143"/>
                  </a:lnTo>
                  <a:lnTo>
                    <a:pt x="166" y="142"/>
                  </a:lnTo>
                  <a:lnTo>
                    <a:pt x="168" y="141"/>
                  </a:lnTo>
                  <a:lnTo>
                    <a:pt x="168" y="139"/>
                  </a:lnTo>
                  <a:lnTo>
                    <a:pt x="168" y="138"/>
                  </a:lnTo>
                  <a:lnTo>
                    <a:pt x="169" y="137"/>
                  </a:lnTo>
                  <a:lnTo>
                    <a:pt x="168" y="137"/>
                  </a:lnTo>
                  <a:lnTo>
                    <a:pt x="168" y="136"/>
                  </a:lnTo>
                  <a:lnTo>
                    <a:pt x="166" y="136"/>
                  </a:lnTo>
                  <a:lnTo>
                    <a:pt x="166" y="135"/>
                  </a:lnTo>
                  <a:lnTo>
                    <a:pt x="166" y="133"/>
                  </a:lnTo>
                  <a:lnTo>
                    <a:pt x="165" y="133"/>
                  </a:lnTo>
                  <a:lnTo>
                    <a:pt x="165" y="135"/>
                  </a:lnTo>
                  <a:lnTo>
                    <a:pt x="165" y="133"/>
                  </a:lnTo>
                  <a:lnTo>
                    <a:pt x="164" y="133"/>
                  </a:lnTo>
                  <a:lnTo>
                    <a:pt x="165" y="132"/>
                  </a:lnTo>
                  <a:lnTo>
                    <a:pt x="164" y="132"/>
                  </a:lnTo>
                  <a:lnTo>
                    <a:pt x="163" y="131"/>
                  </a:lnTo>
                  <a:lnTo>
                    <a:pt x="164" y="131"/>
                  </a:lnTo>
                  <a:lnTo>
                    <a:pt x="164" y="130"/>
                  </a:lnTo>
                  <a:lnTo>
                    <a:pt x="164" y="129"/>
                  </a:lnTo>
                  <a:lnTo>
                    <a:pt x="164" y="127"/>
                  </a:lnTo>
                  <a:lnTo>
                    <a:pt x="165" y="127"/>
                  </a:lnTo>
                  <a:lnTo>
                    <a:pt x="166" y="127"/>
                  </a:lnTo>
                  <a:lnTo>
                    <a:pt x="168" y="129"/>
                  </a:lnTo>
                  <a:lnTo>
                    <a:pt x="168" y="130"/>
                  </a:lnTo>
                  <a:lnTo>
                    <a:pt x="169" y="129"/>
                  </a:lnTo>
                  <a:lnTo>
                    <a:pt x="169" y="130"/>
                  </a:lnTo>
                  <a:lnTo>
                    <a:pt x="169" y="129"/>
                  </a:lnTo>
                  <a:lnTo>
                    <a:pt x="169" y="127"/>
                  </a:lnTo>
                  <a:lnTo>
                    <a:pt x="169" y="126"/>
                  </a:lnTo>
                  <a:lnTo>
                    <a:pt x="168" y="126"/>
                  </a:lnTo>
                  <a:lnTo>
                    <a:pt x="168" y="125"/>
                  </a:lnTo>
                  <a:lnTo>
                    <a:pt x="168" y="124"/>
                  </a:lnTo>
                  <a:lnTo>
                    <a:pt x="168" y="125"/>
                  </a:lnTo>
                  <a:lnTo>
                    <a:pt x="168" y="124"/>
                  </a:lnTo>
                  <a:lnTo>
                    <a:pt x="166" y="125"/>
                  </a:lnTo>
                  <a:lnTo>
                    <a:pt x="165" y="125"/>
                  </a:lnTo>
                  <a:lnTo>
                    <a:pt x="166" y="124"/>
                  </a:lnTo>
                  <a:lnTo>
                    <a:pt x="166" y="123"/>
                  </a:lnTo>
                  <a:lnTo>
                    <a:pt x="165" y="123"/>
                  </a:lnTo>
                  <a:lnTo>
                    <a:pt x="165" y="120"/>
                  </a:lnTo>
                  <a:lnTo>
                    <a:pt x="166" y="120"/>
                  </a:lnTo>
                  <a:lnTo>
                    <a:pt x="168" y="121"/>
                  </a:lnTo>
                  <a:lnTo>
                    <a:pt x="168" y="120"/>
                  </a:lnTo>
                  <a:lnTo>
                    <a:pt x="168" y="121"/>
                  </a:lnTo>
                  <a:lnTo>
                    <a:pt x="169" y="121"/>
                  </a:lnTo>
                  <a:lnTo>
                    <a:pt x="169" y="123"/>
                  </a:lnTo>
                  <a:lnTo>
                    <a:pt x="170" y="123"/>
                  </a:lnTo>
                  <a:lnTo>
                    <a:pt x="170" y="124"/>
                  </a:lnTo>
                  <a:lnTo>
                    <a:pt x="169" y="124"/>
                  </a:lnTo>
                  <a:lnTo>
                    <a:pt x="169" y="125"/>
                  </a:lnTo>
                  <a:lnTo>
                    <a:pt x="169" y="124"/>
                  </a:lnTo>
                  <a:lnTo>
                    <a:pt x="170" y="124"/>
                  </a:lnTo>
                  <a:lnTo>
                    <a:pt x="170" y="125"/>
                  </a:lnTo>
                  <a:lnTo>
                    <a:pt x="169" y="125"/>
                  </a:lnTo>
                  <a:lnTo>
                    <a:pt x="169" y="126"/>
                  </a:lnTo>
                  <a:lnTo>
                    <a:pt x="169" y="127"/>
                  </a:lnTo>
                  <a:lnTo>
                    <a:pt x="170" y="126"/>
                  </a:lnTo>
                  <a:lnTo>
                    <a:pt x="170" y="127"/>
                  </a:lnTo>
                  <a:lnTo>
                    <a:pt x="171" y="127"/>
                  </a:lnTo>
                  <a:lnTo>
                    <a:pt x="172" y="127"/>
                  </a:lnTo>
                  <a:lnTo>
                    <a:pt x="172" y="129"/>
                  </a:lnTo>
                  <a:lnTo>
                    <a:pt x="172" y="130"/>
                  </a:lnTo>
                  <a:lnTo>
                    <a:pt x="172" y="129"/>
                  </a:lnTo>
                  <a:lnTo>
                    <a:pt x="174" y="129"/>
                  </a:lnTo>
                  <a:lnTo>
                    <a:pt x="174" y="130"/>
                  </a:lnTo>
                  <a:lnTo>
                    <a:pt x="175" y="130"/>
                  </a:lnTo>
                  <a:lnTo>
                    <a:pt x="175" y="129"/>
                  </a:lnTo>
                  <a:lnTo>
                    <a:pt x="175" y="130"/>
                  </a:lnTo>
                  <a:lnTo>
                    <a:pt x="175" y="129"/>
                  </a:lnTo>
                  <a:lnTo>
                    <a:pt x="174" y="129"/>
                  </a:lnTo>
                  <a:lnTo>
                    <a:pt x="174" y="127"/>
                  </a:lnTo>
                  <a:lnTo>
                    <a:pt x="175" y="127"/>
                  </a:lnTo>
                  <a:lnTo>
                    <a:pt x="174" y="127"/>
                  </a:lnTo>
                  <a:lnTo>
                    <a:pt x="172" y="127"/>
                  </a:lnTo>
                  <a:lnTo>
                    <a:pt x="174" y="127"/>
                  </a:lnTo>
                  <a:lnTo>
                    <a:pt x="172" y="127"/>
                  </a:lnTo>
                  <a:lnTo>
                    <a:pt x="172" y="126"/>
                  </a:lnTo>
                  <a:lnTo>
                    <a:pt x="171" y="126"/>
                  </a:lnTo>
                  <a:lnTo>
                    <a:pt x="171" y="125"/>
                  </a:lnTo>
                  <a:lnTo>
                    <a:pt x="171" y="123"/>
                  </a:lnTo>
                  <a:lnTo>
                    <a:pt x="171" y="124"/>
                  </a:lnTo>
                  <a:lnTo>
                    <a:pt x="172" y="124"/>
                  </a:lnTo>
                  <a:lnTo>
                    <a:pt x="172" y="125"/>
                  </a:lnTo>
                  <a:lnTo>
                    <a:pt x="171" y="125"/>
                  </a:lnTo>
                  <a:lnTo>
                    <a:pt x="172" y="126"/>
                  </a:lnTo>
                  <a:lnTo>
                    <a:pt x="172" y="125"/>
                  </a:lnTo>
                  <a:lnTo>
                    <a:pt x="174" y="125"/>
                  </a:lnTo>
                  <a:lnTo>
                    <a:pt x="174" y="124"/>
                  </a:lnTo>
                  <a:lnTo>
                    <a:pt x="175" y="124"/>
                  </a:lnTo>
                  <a:lnTo>
                    <a:pt x="175" y="125"/>
                  </a:lnTo>
                  <a:lnTo>
                    <a:pt x="176" y="125"/>
                  </a:lnTo>
                  <a:lnTo>
                    <a:pt x="177" y="125"/>
                  </a:lnTo>
                  <a:lnTo>
                    <a:pt x="177" y="126"/>
                  </a:lnTo>
                  <a:lnTo>
                    <a:pt x="176" y="126"/>
                  </a:lnTo>
                  <a:lnTo>
                    <a:pt x="176" y="127"/>
                  </a:lnTo>
                  <a:lnTo>
                    <a:pt x="177" y="129"/>
                  </a:lnTo>
                  <a:lnTo>
                    <a:pt x="178" y="127"/>
                  </a:lnTo>
                  <a:lnTo>
                    <a:pt x="178" y="126"/>
                  </a:lnTo>
                  <a:lnTo>
                    <a:pt x="180" y="125"/>
                  </a:lnTo>
                  <a:lnTo>
                    <a:pt x="178" y="125"/>
                  </a:lnTo>
                  <a:lnTo>
                    <a:pt x="180" y="125"/>
                  </a:lnTo>
                  <a:lnTo>
                    <a:pt x="180" y="124"/>
                  </a:lnTo>
                  <a:lnTo>
                    <a:pt x="180" y="123"/>
                  </a:lnTo>
                  <a:lnTo>
                    <a:pt x="180" y="124"/>
                  </a:lnTo>
                  <a:lnTo>
                    <a:pt x="180" y="123"/>
                  </a:lnTo>
                  <a:lnTo>
                    <a:pt x="180" y="121"/>
                  </a:lnTo>
                  <a:lnTo>
                    <a:pt x="180" y="120"/>
                  </a:lnTo>
                  <a:lnTo>
                    <a:pt x="178" y="120"/>
                  </a:lnTo>
                  <a:lnTo>
                    <a:pt x="177" y="119"/>
                  </a:lnTo>
                  <a:lnTo>
                    <a:pt x="177" y="118"/>
                  </a:lnTo>
                  <a:lnTo>
                    <a:pt x="177" y="117"/>
                  </a:lnTo>
                  <a:lnTo>
                    <a:pt x="176" y="117"/>
                  </a:lnTo>
                  <a:lnTo>
                    <a:pt x="175" y="115"/>
                  </a:lnTo>
                  <a:lnTo>
                    <a:pt x="176" y="115"/>
                  </a:lnTo>
                  <a:lnTo>
                    <a:pt x="177" y="115"/>
                  </a:lnTo>
                  <a:lnTo>
                    <a:pt x="180" y="115"/>
                  </a:lnTo>
                  <a:lnTo>
                    <a:pt x="182" y="115"/>
                  </a:lnTo>
                  <a:lnTo>
                    <a:pt x="181" y="115"/>
                  </a:lnTo>
                  <a:lnTo>
                    <a:pt x="182" y="117"/>
                  </a:lnTo>
                  <a:lnTo>
                    <a:pt x="182" y="115"/>
                  </a:lnTo>
                  <a:lnTo>
                    <a:pt x="182" y="114"/>
                  </a:lnTo>
                  <a:lnTo>
                    <a:pt x="183" y="114"/>
                  </a:lnTo>
                  <a:lnTo>
                    <a:pt x="183" y="115"/>
                  </a:lnTo>
                  <a:lnTo>
                    <a:pt x="184" y="115"/>
                  </a:lnTo>
                  <a:lnTo>
                    <a:pt x="184" y="117"/>
                  </a:lnTo>
                  <a:lnTo>
                    <a:pt x="184" y="115"/>
                  </a:lnTo>
                  <a:lnTo>
                    <a:pt x="184" y="114"/>
                  </a:lnTo>
                  <a:lnTo>
                    <a:pt x="186" y="114"/>
                  </a:lnTo>
                  <a:lnTo>
                    <a:pt x="184" y="115"/>
                  </a:lnTo>
                  <a:lnTo>
                    <a:pt x="186" y="117"/>
                  </a:lnTo>
                  <a:lnTo>
                    <a:pt x="186" y="115"/>
                  </a:lnTo>
                  <a:lnTo>
                    <a:pt x="186" y="114"/>
                  </a:lnTo>
                  <a:lnTo>
                    <a:pt x="184" y="114"/>
                  </a:lnTo>
                  <a:lnTo>
                    <a:pt x="184" y="113"/>
                  </a:lnTo>
                  <a:lnTo>
                    <a:pt x="186" y="113"/>
                  </a:lnTo>
                  <a:lnTo>
                    <a:pt x="184" y="113"/>
                  </a:lnTo>
                  <a:lnTo>
                    <a:pt x="183" y="113"/>
                  </a:lnTo>
                  <a:lnTo>
                    <a:pt x="182" y="112"/>
                  </a:lnTo>
                  <a:lnTo>
                    <a:pt x="182" y="113"/>
                  </a:lnTo>
                  <a:lnTo>
                    <a:pt x="182" y="114"/>
                  </a:lnTo>
                  <a:lnTo>
                    <a:pt x="182" y="113"/>
                  </a:lnTo>
                  <a:lnTo>
                    <a:pt x="182" y="114"/>
                  </a:lnTo>
                  <a:lnTo>
                    <a:pt x="183" y="113"/>
                  </a:lnTo>
                  <a:lnTo>
                    <a:pt x="183" y="114"/>
                  </a:lnTo>
                  <a:lnTo>
                    <a:pt x="181" y="115"/>
                  </a:lnTo>
                  <a:lnTo>
                    <a:pt x="177" y="115"/>
                  </a:lnTo>
                  <a:lnTo>
                    <a:pt x="177" y="114"/>
                  </a:lnTo>
                  <a:lnTo>
                    <a:pt x="177" y="113"/>
                  </a:lnTo>
                  <a:lnTo>
                    <a:pt x="177" y="114"/>
                  </a:lnTo>
                  <a:lnTo>
                    <a:pt x="176" y="114"/>
                  </a:lnTo>
                  <a:lnTo>
                    <a:pt x="177" y="113"/>
                  </a:lnTo>
                  <a:lnTo>
                    <a:pt x="176" y="112"/>
                  </a:lnTo>
                  <a:lnTo>
                    <a:pt x="177" y="112"/>
                  </a:lnTo>
                  <a:lnTo>
                    <a:pt x="177" y="110"/>
                  </a:lnTo>
                  <a:lnTo>
                    <a:pt x="177" y="109"/>
                  </a:lnTo>
                  <a:lnTo>
                    <a:pt x="177" y="108"/>
                  </a:lnTo>
                  <a:lnTo>
                    <a:pt x="176" y="109"/>
                  </a:lnTo>
                  <a:lnTo>
                    <a:pt x="177" y="108"/>
                  </a:lnTo>
                  <a:lnTo>
                    <a:pt x="177" y="107"/>
                  </a:lnTo>
                  <a:lnTo>
                    <a:pt x="177" y="106"/>
                  </a:lnTo>
                  <a:lnTo>
                    <a:pt x="176" y="106"/>
                  </a:lnTo>
                  <a:lnTo>
                    <a:pt x="175" y="106"/>
                  </a:lnTo>
                  <a:lnTo>
                    <a:pt x="175" y="104"/>
                  </a:lnTo>
                  <a:lnTo>
                    <a:pt x="174" y="104"/>
                  </a:lnTo>
                  <a:lnTo>
                    <a:pt x="174" y="103"/>
                  </a:lnTo>
                  <a:lnTo>
                    <a:pt x="172" y="102"/>
                  </a:lnTo>
                  <a:lnTo>
                    <a:pt x="171" y="102"/>
                  </a:lnTo>
                  <a:lnTo>
                    <a:pt x="172" y="103"/>
                  </a:lnTo>
                  <a:lnTo>
                    <a:pt x="171" y="103"/>
                  </a:lnTo>
                  <a:lnTo>
                    <a:pt x="170" y="103"/>
                  </a:lnTo>
                  <a:lnTo>
                    <a:pt x="169" y="103"/>
                  </a:lnTo>
                  <a:lnTo>
                    <a:pt x="168" y="102"/>
                  </a:lnTo>
                  <a:lnTo>
                    <a:pt x="168" y="101"/>
                  </a:lnTo>
                  <a:lnTo>
                    <a:pt x="169" y="101"/>
                  </a:lnTo>
                  <a:lnTo>
                    <a:pt x="168" y="100"/>
                  </a:lnTo>
                  <a:lnTo>
                    <a:pt x="169" y="100"/>
                  </a:lnTo>
                  <a:lnTo>
                    <a:pt x="169" y="101"/>
                  </a:lnTo>
                  <a:lnTo>
                    <a:pt x="169" y="102"/>
                  </a:lnTo>
                  <a:lnTo>
                    <a:pt x="170" y="101"/>
                  </a:lnTo>
                  <a:lnTo>
                    <a:pt x="169" y="100"/>
                  </a:lnTo>
                  <a:lnTo>
                    <a:pt x="170" y="100"/>
                  </a:lnTo>
                  <a:lnTo>
                    <a:pt x="169" y="98"/>
                  </a:lnTo>
                  <a:lnTo>
                    <a:pt x="169" y="97"/>
                  </a:lnTo>
                  <a:lnTo>
                    <a:pt x="170" y="97"/>
                  </a:lnTo>
                  <a:lnTo>
                    <a:pt x="170" y="98"/>
                  </a:lnTo>
                  <a:lnTo>
                    <a:pt x="170" y="100"/>
                  </a:lnTo>
                  <a:lnTo>
                    <a:pt x="170" y="98"/>
                  </a:lnTo>
                  <a:lnTo>
                    <a:pt x="170" y="97"/>
                  </a:lnTo>
                  <a:lnTo>
                    <a:pt x="169" y="96"/>
                  </a:lnTo>
                  <a:lnTo>
                    <a:pt x="169" y="95"/>
                  </a:lnTo>
                  <a:lnTo>
                    <a:pt x="166" y="94"/>
                  </a:lnTo>
                  <a:lnTo>
                    <a:pt x="165" y="94"/>
                  </a:lnTo>
                  <a:lnTo>
                    <a:pt x="164" y="94"/>
                  </a:lnTo>
                  <a:lnTo>
                    <a:pt x="164" y="92"/>
                  </a:lnTo>
                  <a:lnTo>
                    <a:pt x="164" y="94"/>
                  </a:lnTo>
                  <a:lnTo>
                    <a:pt x="163" y="92"/>
                  </a:lnTo>
                  <a:lnTo>
                    <a:pt x="161" y="91"/>
                  </a:lnTo>
                  <a:lnTo>
                    <a:pt x="163" y="91"/>
                  </a:lnTo>
                  <a:lnTo>
                    <a:pt x="163" y="90"/>
                  </a:lnTo>
                  <a:lnTo>
                    <a:pt x="163" y="89"/>
                  </a:lnTo>
                  <a:lnTo>
                    <a:pt x="161" y="89"/>
                  </a:lnTo>
                  <a:lnTo>
                    <a:pt x="163" y="89"/>
                  </a:lnTo>
                  <a:lnTo>
                    <a:pt x="161" y="89"/>
                  </a:lnTo>
                  <a:lnTo>
                    <a:pt x="160" y="89"/>
                  </a:lnTo>
                  <a:lnTo>
                    <a:pt x="160" y="88"/>
                  </a:lnTo>
                  <a:lnTo>
                    <a:pt x="163" y="86"/>
                  </a:lnTo>
                  <a:lnTo>
                    <a:pt x="163" y="88"/>
                  </a:lnTo>
                  <a:lnTo>
                    <a:pt x="163" y="86"/>
                  </a:lnTo>
                  <a:lnTo>
                    <a:pt x="164" y="88"/>
                  </a:lnTo>
                  <a:lnTo>
                    <a:pt x="165" y="88"/>
                  </a:lnTo>
                  <a:lnTo>
                    <a:pt x="165" y="86"/>
                  </a:lnTo>
                  <a:lnTo>
                    <a:pt x="165" y="85"/>
                  </a:lnTo>
                  <a:lnTo>
                    <a:pt x="165" y="86"/>
                  </a:lnTo>
                  <a:lnTo>
                    <a:pt x="166" y="85"/>
                  </a:lnTo>
                  <a:lnTo>
                    <a:pt x="168" y="85"/>
                  </a:lnTo>
                  <a:lnTo>
                    <a:pt x="168" y="86"/>
                  </a:lnTo>
                  <a:lnTo>
                    <a:pt x="169" y="86"/>
                  </a:lnTo>
                  <a:lnTo>
                    <a:pt x="169" y="85"/>
                  </a:lnTo>
                  <a:lnTo>
                    <a:pt x="168" y="85"/>
                  </a:lnTo>
                  <a:lnTo>
                    <a:pt x="168" y="84"/>
                  </a:lnTo>
                  <a:lnTo>
                    <a:pt x="170" y="85"/>
                  </a:lnTo>
                  <a:lnTo>
                    <a:pt x="171" y="85"/>
                  </a:lnTo>
                  <a:lnTo>
                    <a:pt x="171" y="84"/>
                  </a:lnTo>
                  <a:lnTo>
                    <a:pt x="171" y="85"/>
                  </a:lnTo>
                  <a:lnTo>
                    <a:pt x="172" y="84"/>
                  </a:lnTo>
                  <a:lnTo>
                    <a:pt x="175" y="85"/>
                  </a:lnTo>
                  <a:lnTo>
                    <a:pt x="175" y="86"/>
                  </a:lnTo>
                  <a:lnTo>
                    <a:pt x="175" y="88"/>
                  </a:lnTo>
                  <a:lnTo>
                    <a:pt x="176" y="86"/>
                  </a:lnTo>
                  <a:lnTo>
                    <a:pt x="176" y="85"/>
                  </a:lnTo>
                  <a:lnTo>
                    <a:pt x="175" y="84"/>
                  </a:lnTo>
                  <a:lnTo>
                    <a:pt x="176" y="85"/>
                  </a:lnTo>
                  <a:lnTo>
                    <a:pt x="177" y="85"/>
                  </a:lnTo>
                  <a:lnTo>
                    <a:pt x="177" y="88"/>
                  </a:lnTo>
                  <a:lnTo>
                    <a:pt x="178" y="86"/>
                  </a:lnTo>
                  <a:lnTo>
                    <a:pt x="178" y="88"/>
                  </a:lnTo>
                  <a:lnTo>
                    <a:pt x="178" y="89"/>
                  </a:lnTo>
                  <a:lnTo>
                    <a:pt x="180" y="88"/>
                  </a:lnTo>
                  <a:lnTo>
                    <a:pt x="180" y="86"/>
                  </a:lnTo>
                  <a:lnTo>
                    <a:pt x="181" y="86"/>
                  </a:lnTo>
                  <a:lnTo>
                    <a:pt x="181" y="88"/>
                  </a:lnTo>
                  <a:lnTo>
                    <a:pt x="181" y="86"/>
                  </a:lnTo>
                  <a:lnTo>
                    <a:pt x="182" y="85"/>
                  </a:lnTo>
                  <a:lnTo>
                    <a:pt x="182" y="86"/>
                  </a:lnTo>
                  <a:lnTo>
                    <a:pt x="182" y="88"/>
                  </a:lnTo>
                  <a:lnTo>
                    <a:pt x="182" y="86"/>
                  </a:lnTo>
                  <a:lnTo>
                    <a:pt x="182" y="85"/>
                  </a:lnTo>
                  <a:lnTo>
                    <a:pt x="183" y="85"/>
                  </a:lnTo>
                  <a:lnTo>
                    <a:pt x="183" y="86"/>
                  </a:lnTo>
                  <a:lnTo>
                    <a:pt x="184" y="88"/>
                  </a:lnTo>
                  <a:lnTo>
                    <a:pt x="184" y="86"/>
                  </a:lnTo>
                  <a:lnTo>
                    <a:pt x="184" y="85"/>
                  </a:lnTo>
                  <a:lnTo>
                    <a:pt x="184" y="84"/>
                  </a:lnTo>
                  <a:lnTo>
                    <a:pt x="186" y="84"/>
                  </a:lnTo>
                  <a:lnTo>
                    <a:pt x="186" y="85"/>
                  </a:lnTo>
                  <a:lnTo>
                    <a:pt x="187" y="85"/>
                  </a:lnTo>
                  <a:lnTo>
                    <a:pt x="187" y="86"/>
                  </a:lnTo>
                  <a:lnTo>
                    <a:pt x="188" y="85"/>
                  </a:lnTo>
                  <a:lnTo>
                    <a:pt x="187" y="84"/>
                  </a:lnTo>
                  <a:lnTo>
                    <a:pt x="188" y="84"/>
                  </a:lnTo>
                  <a:lnTo>
                    <a:pt x="189" y="84"/>
                  </a:lnTo>
                  <a:lnTo>
                    <a:pt x="189" y="85"/>
                  </a:lnTo>
                  <a:lnTo>
                    <a:pt x="190" y="84"/>
                  </a:lnTo>
                  <a:lnTo>
                    <a:pt x="189" y="83"/>
                  </a:lnTo>
                  <a:lnTo>
                    <a:pt x="189" y="82"/>
                  </a:lnTo>
                  <a:lnTo>
                    <a:pt x="188" y="82"/>
                  </a:lnTo>
                  <a:lnTo>
                    <a:pt x="187" y="83"/>
                  </a:lnTo>
                  <a:lnTo>
                    <a:pt x="186" y="83"/>
                  </a:lnTo>
                  <a:lnTo>
                    <a:pt x="184" y="83"/>
                  </a:lnTo>
                  <a:lnTo>
                    <a:pt x="183" y="83"/>
                  </a:lnTo>
                  <a:lnTo>
                    <a:pt x="183" y="82"/>
                  </a:lnTo>
                  <a:lnTo>
                    <a:pt x="182" y="82"/>
                  </a:lnTo>
                  <a:lnTo>
                    <a:pt x="182" y="83"/>
                  </a:lnTo>
                  <a:lnTo>
                    <a:pt x="181" y="83"/>
                  </a:lnTo>
                  <a:lnTo>
                    <a:pt x="181" y="82"/>
                  </a:lnTo>
                  <a:lnTo>
                    <a:pt x="181" y="83"/>
                  </a:lnTo>
                  <a:lnTo>
                    <a:pt x="180" y="83"/>
                  </a:lnTo>
                  <a:lnTo>
                    <a:pt x="178" y="83"/>
                  </a:lnTo>
                  <a:lnTo>
                    <a:pt x="178" y="82"/>
                  </a:lnTo>
                  <a:lnTo>
                    <a:pt x="177" y="82"/>
                  </a:lnTo>
                  <a:lnTo>
                    <a:pt x="177" y="83"/>
                  </a:lnTo>
                  <a:lnTo>
                    <a:pt x="176" y="83"/>
                  </a:lnTo>
                  <a:lnTo>
                    <a:pt x="177" y="82"/>
                  </a:lnTo>
                  <a:lnTo>
                    <a:pt x="176" y="83"/>
                  </a:lnTo>
                  <a:lnTo>
                    <a:pt x="176" y="82"/>
                  </a:lnTo>
                  <a:lnTo>
                    <a:pt x="175" y="82"/>
                  </a:lnTo>
                  <a:lnTo>
                    <a:pt x="176" y="82"/>
                  </a:lnTo>
                  <a:lnTo>
                    <a:pt x="176" y="80"/>
                  </a:lnTo>
                  <a:lnTo>
                    <a:pt x="175" y="82"/>
                  </a:lnTo>
                  <a:lnTo>
                    <a:pt x="174" y="82"/>
                  </a:lnTo>
                  <a:lnTo>
                    <a:pt x="172" y="82"/>
                  </a:lnTo>
                  <a:lnTo>
                    <a:pt x="172" y="83"/>
                  </a:lnTo>
                  <a:lnTo>
                    <a:pt x="172" y="82"/>
                  </a:lnTo>
                  <a:lnTo>
                    <a:pt x="171" y="82"/>
                  </a:lnTo>
                  <a:lnTo>
                    <a:pt x="170" y="82"/>
                  </a:lnTo>
                  <a:lnTo>
                    <a:pt x="170" y="80"/>
                  </a:lnTo>
                  <a:lnTo>
                    <a:pt x="169" y="79"/>
                  </a:lnTo>
                  <a:lnTo>
                    <a:pt x="170" y="79"/>
                  </a:lnTo>
                  <a:lnTo>
                    <a:pt x="171" y="79"/>
                  </a:lnTo>
                  <a:lnTo>
                    <a:pt x="171" y="78"/>
                  </a:lnTo>
                  <a:lnTo>
                    <a:pt x="172" y="78"/>
                  </a:lnTo>
                  <a:lnTo>
                    <a:pt x="172" y="79"/>
                  </a:lnTo>
                  <a:lnTo>
                    <a:pt x="172" y="78"/>
                  </a:lnTo>
                  <a:lnTo>
                    <a:pt x="172" y="77"/>
                  </a:lnTo>
                  <a:lnTo>
                    <a:pt x="174" y="77"/>
                  </a:lnTo>
                  <a:lnTo>
                    <a:pt x="175" y="78"/>
                  </a:lnTo>
                  <a:lnTo>
                    <a:pt x="176" y="77"/>
                  </a:lnTo>
                  <a:lnTo>
                    <a:pt x="176" y="78"/>
                  </a:lnTo>
                  <a:lnTo>
                    <a:pt x="177" y="78"/>
                  </a:lnTo>
                  <a:lnTo>
                    <a:pt x="177" y="77"/>
                  </a:lnTo>
                  <a:lnTo>
                    <a:pt x="178" y="78"/>
                  </a:lnTo>
                  <a:lnTo>
                    <a:pt x="180" y="78"/>
                  </a:lnTo>
                  <a:lnTo>
                    <a:pt x="180" y="77"/>
                  </a:lnTo>
                  <a:lnTo>
                    <a:pt x="181" y="77"/>
                  </a:lnTo>
                  <a:lnTo>
                    <a:pt x="182" y="77"/>
                  </a:lnTo>
                  <a:lnTo>
                    <a:pt x="183" y="77"/>
                  </a:lnTo>
                  <a:lnTo>
                    <a:pt x="184" y="78"/>
                  </a:lnTo>
                  <a:lnTo>
                    <a:pt x="184" y="79"/>
                  </a:lnTo>
                  <a:lnTo>
                    <a:pt x="184" y="78"/>
                  </a:lnTo>
                  <a:lnTo>
                    <a:pt x="184" y="77"/>
                  </a:lnTo>
                  <a:lnTo>
                    <a:pt x="183" y="77"/>
                  </a:lnTo>
                  <a:lnTo>
                    <a:pt x="183" y="76"/>
                  </a:lnTo>
                  <a:lnTo>
                    <a:pt x="182" y="74"/>
                  </a:lnTo>
                  <a:lnTo>
                    <a:pt x="182" y="76"/>
                  </a:lnTo>
                  <a:lnTo>
                    <a:pt x="182" y="77"/>
                  </a:lnTo>
                  <a:lnTo>
                    <a:pt x="182" y="76"/>
                  </a:lnTo>
                  <a:lnTo>
                    <a:pt x="181" y="77"/>
                  </a:lnTo>
                  <a:lnTo>
                    <a:pt x="180" y="76"/>
                  </a:lnTo>
                  <a:lnTo>
                    <a:pt x="178" y="76"/>
                  </a:lnTo>
                  <a:lnTo>
                    <a:pt x="177" y="76"/>
                  </a:lnTo>
                  <a:lnTo>
                    <a:pt x="177" y="77"/>
                  </a:lnTo>
                  <a:lnTo>
                    <a:pt x="177" y="76"/>
                  </a:lnTo>
                  <a:lnTo>
                    <a:pt x="177" y="74"/>
                  </a:lnTo>
                  <a:lnTo>
                    <a:pt x="180" y="73"/>
                  </a:lnTo>
                  <a:lnTo>
                    <a:pt x="183" y="73"/>
                  </a:lnTo>
                  <a:lnTo>
                    <a:pt x="184" y="73"/>
                  </a:lnTo>
                  <a:lnTo>
                    <a:pt x="186" y="73"/>
                  </a:lnTo>
                  <a:lnTo>
                    <a:pt x="184" y="73"/>
                  </a:lnTo>
                  <a:lnTo>
                    <a:pt x="184" y="72"/>
                  </a:lnTo>
                  <a:lnTo>
                    <a:pt x="187" y="72"/>
                  </a:lnTo>
                  <a:lnTo>
                    <a:pt x="188" y="72"/>
                  </a:lnTo>
                  <a:lnTo>
                    <a:pt x="188" y="73"/>
                  </a:lnTo>
                  <a:lnTo>
                    <a:pt x="188" y="72"/>
                  </a:lnTo>
                  <a:lnTo>
                    <a:pt x="189" y="72"/>
                  </a:lnTo>
                  <a:lnTo>
                    <a:pt x="190" y="72"/>
                  </a:lnTo>
                  <a:lnTo>
                    <a:pt x="190" y="73"/>
                  </a:lnTo>
                  <a:lnTo>
                    <a:pt x="190" y="74"/>
                  </a:lnTo>
                  <a:lnTo>
                    <a:pt x="190" y="73"/>
                  </a:lnTo>
                  <a:lnTo>
                    <a:pt x="189" y="72"/>
                  </a:lnTo>
                  <a:lnTo>
                    <a:pt x="190" y="72"/>
                  </a:lnTo>
                  <a:lnTo>
                    <a:pt x="192" y="72"/>
                  </a:lnTo>
                  <a:lnTo>
                    <a:pt x="192" y="74"/>
                  </a:lnTo>
                  <a:lnTo>
                    <a:pt x="192" y="73"/>
                  </a:lnTo>
                  <a:lnTo>
                    <a:pt x="192" y="74"/>
                  </a:lnTo>
                  <a:lnTo>
                    <a:pt x="192" y="73"/>
                  </a:lnTo>
                  <a:lnTo>
                    <a:pt x="192" y="72"/>
                  </a:lnTo>
                  <a:lnTo>
                    <a:pt x="193" y="71"/>
                  </a:lnTo>
                  <a:lnTo>
                    <a:pt x="190" y="72"/>
                  </a:lnTo>
                  <a:lnTo>
                    <a:pt x="189" y="72"/>
                  </a:lnTo>
                  <a:lnTo>
                    <a:pt x="189" y="71"/>
                  </a:lnTo>
                  <a:lnTo>
                    <a:pt x="189" y="72"/>
                  </a:lnTo>
                  <a:lnTo>
                    <a:pt x="189" y="71"/>
                  </a:lnTo>
                  <a:lnTo>
                    <a:pt x="188" y="72"/>
                  </a:lnTo>
                  <a:lnTo>
                    <a:pt x="187" y="72"/>
                  </a:lnTo>
                  <a:lnTo>
                    <a:pt x="184" y="72"/>
                  </a:lnTo>
                  <a:lnTo>
                    <a:pt x="187" y="70"/>
                  </a:lnTo>
                  <a:lnTo>
                    <a:pt x="188" y="70"/>
                  </a:lnTo>
                  <a:lnTo>
                    <a:pt x="188" y="68"/>
                  </a:lnTo>
                  <a:lnTo>
                    <a:pt x="189" y="68"/>
                  </a:lnTo>
                  <a:lnTo>
                    <a:pt x="190" y="68"/>
                  </a:lnTo>
                  <a:lnTo>
                    <a:pt x="192" y="68"/>
                  </a:lnTo>
                  <a:lnTo>
                    <a:pt x="192" y="67"/>
                  </a:lnTo>
                  <a:lnTo>
                    <a:pt x="190" y="67"/>
                  </a:lnTo>
                  <a:lnTo>
                    <a:pt x="189" y="67"/>
                  </a:lnTo>
                  <a:lnTo>
                    <a:pt x="189" y="68"/>
                  </a:lnTo>
                  <a:lnTo>
                    <a:pt x="189" y="67"/>
                  </a:lnTo>
                  <a:lnTo>
                    <a:pt x="188" y="68"/>
                  </a:lnTo>
                  <a:lnTo>
                    <a:pt x="188" y="67"/>
                  </a:lnTo>
                  <a:lnTo>
                    <a:pt x="187" y="67"/>
                  </a:lnTo>
                  <a:lnTo>
                    <a:pt x="187" y="66"/>
                  </a:lnTo>
                  <a:lnTo>
                    <a:pt x="187" y="67"/>
                  </a:lnTo>
                  <a:lnTo>
                    <a:pt x="187" y="68"/>
                  </a:lnTo>
                  <a:lnTo>
                    <a:pt x="187" y="67"/>
                  </a:lnTo>
                  <a:lnTo>
                    <a:pt x="186" y="66"/>
                  </a:lnTo>
                  <a:lnTo>
                    <a:pt x="186" y="67"/>
                  </a:lnTo>
                  <a:lnTo>
                    <a:pt x="187" y="68"/>
                  </a:lnTo>
                  <a:lnTo>
                    <a:pt x="186" y="70"/>
                  </a:lnTo>
                  <a:lnTo>
                    <a:pt x="184" y="70"/>
                  </a:lnTo>
                  <a:lnTo>
                    <a:pt x="184" y="71"/>
                  </a:lnTo>
                  <a:lnTo>
                    <a:pt x="184" y="72"/>
                  </a:lnTo>
                  <a:lnTo>
                    <a:pt x="183" y="72"/>
                  </a:lnTo>
                  <a:lnTo>
                    <a:pt x="183" y="71"/>
                  </a:lnTo>
                  <a:lnTo>
                    <a:pt x="183" y="72"/>
                  </a:lnTo>
                  <a:lnTo>
                    <a:pt x="182" y="71"/>
                  </a:lnTo>
                  <a:lnTo>
                    <a:pt x="182" y="72"/>
                  </a:lnTo>
                  <a:lnTo>
                    <a:pt x="181" y="73"/>
                  </a:lnTo>
                  <a:lnTo>
                    <a:pt x="181" y="72"/>
                  </a:lnTo>
                  <a:lnTo>
                    <a:pt x="182" y="72"/>
                  </a:lnTo>
                  <a:lnTo>
                    <a:pt x="182" y="71"/>
                  </a:lnTo>
                  <a:lnTo>
                    <a:pt x="181" y="72"/>
                  </a:lnTo>
                  <a:lnTo>
                    <a:pt x="181" y="73"/>
                  </a:lnTo>
                  <a:lnTo>
                    <a:pt x="178" y="73"/>
                  </a:lnTo>
                  <a:lnTo>
                    <a:pt x="177" y="74"/>
                  </a:lnTo>
                  <a:lnTo>
                    <a:pt x="177" y="73"/>
                  </a:lnTo>
                  <a:lnTo>
                    <a:pt x="176" y="74"/>
                  </a:lnTo>
                  <a:lnTo>
                    <a:pt x="175" y="74"/>
                  </a:lnTo>
                  <a:lnTo>
                    <a:pt x="174" y="74"/>
                  </a:lnTo>
                  <a:lnTo>
                    <a:pt x="174" y="73"/>
                  </a:lnTo>
                  <a:lnTo>
                    <a:pt x="175" y="73"/>
                  </a:lnTo>
                  <a:lnTo>
                    <a:pt x="175" y="72"/>
                  </a:lnTo>
                  <a:lnTo>
                    <a:pt x="175" y="73"/>
                  </a:lnTo>
                  <a:lnTo>
                    <a:pt x="174" y="73"/>
                  </a:lnTo>
                  <a:lnTo>
                    <a:pt x="172" y="73"/>
                  </a:lnTo>
                  <a:lnTo>
                    <a:pt x="172" y="74"/>
                  </a:lnTo>
                  <a:lnTo>
                    <a:pt x="171" y="74"/>
                  </a:lnTo>
                  <a:lnTo>
                    <a:pt x="171" y="76"/>
                  </a:lnTo>
                  <a:lnTo>
                    <a:pt x="171" y="74"/>
                  </a:lnTo>
                  <a:lnTo>
                    <a:pt x="170" y="76"/>
                  </a:lnTo>
                  <a:lnTo>
                    <a:pt x="170" y="77"/>
                  </a:lnTo>
                  <a:lnTo>
                    <a:pt x="169" y="77"/>
                  </a:lnTo>
                  <a:lnTo>
                    <a:pt x="168" y="78"/>
                  </a:lnTo>
                  <a:lnTo>
                    <a:pt x="168" y="77"/>
                  </a:lnTo>
                  <a:lnTo>
                    <a:pt x="168" y="76"/>
                  </a:lnTo>
                  <a:lnTo>
                    <a:pt x="169" y="74"/>
                  </a:lnTo>
                  <a:lnTo>
                    <a:pt x="169" y="73"/>
                  </a:lnTo>
                  <a:lnTo>
                    <a:pt x="170" y="73"/>
                  </a:lnTo>
                  <a:lnTo>
                    <a:pt x="170" y="72"/>
                  </a:lnTo>
                  <a:lnTo>
                    <a:pt x="171" y="72"/>
                  </a:lnTo>
                  <a:lnTo>
                    <a:pt x="170" y="73"/>
                  </a:lnTo>
                  <a:lnTo>
                    <a:pt x="170" y="74"/>
                  </a:lnTo>
                  <a:lnTo>
                    <a:pt x="171" y="73"/>
                  </a:lnTo>
                  <a:lnTo>
                    <a:pt x="171" y="72"/>
                  </a:lnTo>
                  <a:lnTo>
                    <a:pt x="172" y="71"/>
                  </a:lnTo>
                  <a:lnTo>
                    <a:pt x="171" y="71"/>
                  </a:lnTo>
                  <a:lnTo>
                    <a:pt x="170" y="72"/>
                  </a:lnTo>
                  <a:lnTo>
                    <a:pt x="170" y="73"/>
                  </a:lnTo>
                  <a:lnTo>
                    <a:pt x="169" y="73"/>
                  </a:lnTo>
                  <a:lnTo>
                    <a:pt x="169" y="72"/>
                  </a:lnTo>
                  <a:lnTo>
                    <a:pt x="170" y="72"/>
                  </a:lnTo>
                  <a:lnTo>
                    <a:pt x="169" y="71"/>
                  </a:lnTo>
                  <a:lnTo>
                    <a:pt x="169" y="72"/>
                  </a:lnTo>
                  <a:lnTo>
                    <a:pt x="168" y="72"/>
                  </a:lnTo>
                  <a:lnTo>
                    <a:pt x="168" y="73"/>
                  </a:lnTo>
                  <a:lnTo>
                    <a:pt x="169" y="73"/>
                  </a:lnTo>
                  <a:lnTo>
                    <a:pt x="168" y="74"/>
                  </a:lnTo>
                  <a:lnTo>
                    <a:pt x="168" y="73"/>
                  </a:lnTo>
                  <a:lnTo>
                    <a:pt x="166" y="73"/>
                  </a:lnTo>
                  <a:lnTo>
                    <a:pt x="168" y="72"/>
                  </a:lnTo>
                  <a:lnTo>
                    <a:pt x="169" y="71"/>
                  </a:lnTo>
                  <a:lnTo>
                    <a:pt x="168" y="71"/>
                  </a:lnTo>
                  <a:lnTo>
                    <a:pt x="168" y="72"/>
                  </a:lnTo>
                  <a:lnTo>
                    <a:pt x="166" y="72"/>
                  </a:lnTo>
                  <a:lnTo>
                    <a:pt x="166" y="71"/>
                  </a:lnTo>
                  <a:lnTo>
                    <a:pt x="166" y="72"/>
                  </a:lnTo>
                  <a:lnTo>
                    <a:pt x="168" y="74"/>
                  </a:lnTo>
                  <a:lnTo>
                    <a:pt x="168" y="76"/>
                  </a:lnTo>
                  <a:lnTo>
                    <a:pt x="166" y="74"/>
                  </a:lnTo>
                  <a:lnTo>
                    <a:pt x="165" y="76"/>
                  </a:lnTo>
                  <a:lnTo>
                    <a:pt x="165" y="74"/>
                  </a:lnTo>
                  <a:lnTo>
                    <a:pt x="164" y="74"/>
                  </a:lnTo>
                  <a:lnTo>
                    <a:pt x="164" y="76"/>
                  </a:lnTo>
                  <a:lnTo>
                    <a:pt x="163" y="77"/>
                  </a:lnTo>
                  <a:lnTo>
                    <a:pt x="161" y="73"/>
                  </a:lnTo>
                  <a:lnTo>
                    <a:pt x="159" y="70"/>
                  </a:lnTo>
                  <a:lnTo>
                    <a:pt x="159" y="68"/>
                  </a:lnTo>
                  <a:lnTo>
                    <a:pt x="160" y="67"/>
                  </a:lnTo>
                  <a:lnTo>
                    <a:pt x="161" y="65"/>
                  </a:lnTo>
                  <a:lnTo>
                    <a:pt x="163" y="65"/>
                  </a:lnTo>
                  <a:lnTo>
                    <a:pt x="163" y="64"/>
                  </a:lnTo>
                  <a:lnTo>
                    <a:pt x="161" y="64"/>
                  </a:lnTo>
                  <a:lnTo>
                    <a:pt x="160" y="64"/>
                  </a:lnTo>
                  <a:lnTo>
                    <a:pt x="161" y="62"/>
                  </a:lnTo>
                  <a:lnTo>
                    <a:pt x="160" y="64"/>
                  </a:lnTo>
                  <a:lnTo>
                    <a:pt x="160" y="62"/>
                  </a:lnTo>
                  <a:lnTo>
                    <a:pt x="159" y="65"/>
                  </a:lnTo>
                  <a:lnTo>
                    <a:pt x="158" y="65"/>
                  </a:lnTo>
                  <a:lnTo>
                    <a:pt x="157" y="66"/>
                  </a:lnTo>
                  <a:lnTo>
                    <a:pt x="155" y="66"/>
                  </a:lnTo>
                  <a:lnTo>
                    <a:pt x="155" y="65"/>
                  </a:lnTo>
                  <a:lnTo>
                    <a:pt x="155" y="66"/>
                  </a:lnTo>
                  <a:lnTo>
                    <a:pt x="153" y="66"/>
                  </a:lnTo>
                  <a:lnTo>
                    <a:pt x="151" y="66"/>
                  </a:lnTo>
                  <a:lnTo>
                    <a:pt x="149" y="66"/>
                  </a:lnTo>
                  <a:lnTo>
                    <a:pt x="149" y="65"/>
                  </a:lnTo>
                  <a:lnTo>
                    <a:pt x="148" y="64"/>
                  </a:lnTo>
                  <a:lnTo>
                    <a:pt x="147" y="64"/>
                  </a:lnTo>
                  <a:lnTo>
                    <a:pt x="147" y="62"/>
                  </a:lnTo>
                  <a:lnTo>
                    <a:pt x="148" y="61"/>
                  </a:lnTo>
                  <a:lnTo>
                    <a:pt x="151" y="61"/>
                  </a:lnTo>
                  <a:lnTo>
                    <a:pt x="153" y="60"/>
                  </a:lnTo>
                  <a:lnTo>
                    <a:pt x="155" y="60"/>
                  </a:lnTo>
                  <a:lnTo>
                    <a:pt x="154" y="60"/>
                  </a:lnTo>
                  <a:lnTo>
                    <a:pt x="153" y="60"/>
                  </a:lnTo>
                  <a:lnTo>
                    <a:pt x="157" y="59"/>
                  </a:lnTo>
                  <a:lnTo>
                    <a:pt x="158" y="59"/>
                  </a:lnTo>
                  <a:lnTo>
                    <a:pt x="159" y="59"/>
                  </a:lnTo>
                  <a:lnTo>
                    <a:pt x="159" y="60"/>
                  </a:lnTo>
                  <a:lnTo>
                    <a:pt x="159" y="59"/>
                  </a:lnTo>
                  <a:lnTo>
                    <a:pt x="160" y="60"/>
                  </a:lnTo>
                  <a:lnTo>
                    <a:pt x="160" y="59"/>
                  </a:lnTo>
                  <a:lnTo>
                    <a:pt x="161" y="59"/>
                  </a:lnTo>
                  <a:lnTo>
                    <a:pt x="160" y="59"/>
                  </a:lnTo>
                  <a:lnTo>
                    <a:pt x="160" y="58"/>
                  </a:lnTo>
                  <a:lnTo>
                    <a:pt x="161" y="58"/>
                  </a:lnTo>
                  <a:lnTo>
                    <a:pt x="161" y="56"/>
                  </a:lnTo>
                  <a:lnTo>
                    <a:pt x="161" y="55"/>
                  </a:lnTo>
                  <a:lnTo>
                    <a:pt x="160" y="55"/>
                  </a:lnTo>
                  <a:lnTo>
                    <a:pt x="159" y="55"/>
                  </a:lnTo>
                  <a:lnTo>
                    <a:pt x="159" y="54"/>
                  </a:lnTo>
                  <a:lnTo>
                    <a:pt x="158" y="53"/>
                  </a:lnTo>
                  <a:lnTo>
                    <a:pt x="159" y="53"/>
                  </a:lnTo>
                  <a:lnTo>
                    <a:pt x="160" y="54"/>
                  </a:lnTo>
                  <a:lnTo>
                    <a:pt x="160" y="53"/>
                  </a:lnTo>
                  <a:lnTo>
                    <a:pt x="160" y="52"/>
                  </a:lnTo>
                  <a:lnTo>
                    <a:pt x="159" y="52"/>
                  </a:lnTo>
                  <a:lnTo>
                    <a:pt x="159" y="50"/>
                  </a:lnTo>
                  <a:lnTo>
                    <a:pt x="158" y="50"/>
                  </a:lnTo>
                  <a:lnTo>
                    <a:pt x="158" y="52"/>
                  </a:lnTo>
                  <a:lnTo>
                    <a:pt x="157" y="52"/>
                  </a:lnTo>
                  <a:lnTo>
                    <a:pt x="157" y="50"/>
                  </a:lnTo>
                  <a:lnTo>
                    <a:pt x="155" y="50"/>
                  </a:lnTo>
                  <a:lnTo>
                    <a:pt x="155" y="52"/>
                  </a:lnTo>
                  <a:lnTo>
                    <a:pt x="154" y="52"/>
                  </a:lnTo>
                  <a:lnTo>
                    <a:pt x="154" y="50"/>
                  </a:lnTo>
                  <a:lnTo>
                    <a:pt x="154" y="52"/>
                  </a:lnTo>
                  <a:lnTo>
                    <a:pt x="153" y="53"/>
                  </a:lnTo>
                  <a:lnTo>
                    <a:pt x="152" y="53"/>
                  </a:lnTo>
                  <a:lnTo>
                    <a:pt x="151" y="53"/>
                  </a:lnTo>
                  <a:lnTo>
                    <a:pt x="151" y="52"/>
                  </a:lnTo>
                  <a:lnTo>
                    <a:pt x="149" y="52"/>
                  </a:lnTo>
                  <a:lnTo>
                    <a:pt x="149" y="53"/>
                  </a:lnTo>
                  <a:lnTo>
                    <a:pt x="149" y="54"/>
                  </a:lnTo>
                  <a:lnTo>
                    <a:pt x="149" y="55"/>
                  </a:lnTo>
                  <a:lnTo>
                    <a:pt x="148" y="54"/>
                  </a:lnTo>
                  <a:lnTo>
                    <a:pt x="148" y="53"/>
                  </a:lnTo>
                  <a:lnTo>
                    <a:pt x="148" y="52"/>
                  </a:lnTo>
                  <a:lnTo>
                    <a:pt x="147" y="52"/>
                  </a:lnTo>
                  <a:lnTo>
                    <a:pt x="146" y="52"/>
                  </a:lnTo>
                  <a:lnTo>
                    <a:pt x="146" y="50"/>
                  </a:lnTo>
                  <a:lnTo>
                    <a:pt x="145" y="50"/>
                  </a:lnTo>
                  <a:lnTo>
                    <a:pt x="143" y="52"/>
                  </a:lnTo>
                  <a:lnTo>
                    <a:pt x="145" y="53"/>
                  </a:lnTo>
                  <a:lnTo>
                    <a:pt x="143" y="53"/>
                  </a:lnTo>
                  <a:lnTo>
                    <a:pt x="143" y="54"/>
                  </a:lnTo>
                  <a:lnTo>
                    <a:pt x="142" y="54"/>
                  </a:lnTo>
                  <a:lnTo>
                    <a:pt x="142" y="53"/>
                  </a:lnTo>
                  <a:lnTo>
                    <a:pt x="141" y="53"/>
                  </a:lnTo>
                  <a:lnTo>
                    <a:pt x="141" y="50"/>
                  </a:lnTo>
                  <a:lnTo>
                    <a:pt x="141" y="49"/>
                  </a:lnTo>
                  <a:lnTo>
                    <a:pt x="141" y="50"/>
                  </a:lnTo>
                  <a:lnTo>
                    <a:pt x="141" y="49"/>
                  </a:lnTo>
                  <a:lnTo>
                    <a:pt x="141" y="48"/>
                  </a:lnTo>
                  <a:lnTo>
                    <a:pt x="142" y="48"/>
                  </a:lnTo>
                  <a:lnTo>
                    <a:pt x="143" y="48"/>
                  </a:lnTo>
                  <a:lnTo>
                    <a:pt x="143" y="49"/>
                  </a:lnTo>
                  <a:lnTo>
                    <a:pt x="143" y="48"/>
                  </a:lnTo>
                  <a:lnTo>
                    <a:pt x="143" y="47"/>
                  </a:lnTo>
                  <a:lnTo>
                    <a:pt x="142" y="48"/>
                  </a:lnTo>
                  <a:lnTo>
                    <a:pt x="141" y="48"/>
                  </a:lnTo>
                  <a:lnTo>
                    <a:pt x="141" y="47"/>
                  </a:lnTo>
                  <a:lnTo>
                    <a:pt x="141" y="46"/>
                  </a:lnTo>
                  <a:lnTo>
                    <a:pt x="142" y="46"/>
                  </a:lnTo>
                  <a:lnTo>
                    <a:pt x="142" y="47"/>
                  </a:lnTo>
                  <a:lnTo>
                    <a:pt x="143" y="47"/>
                  </a:lnTo>
                  <a:lnTo>
                    <a:pt x="143" y="46"/>
                  </a:lnTo>
                  <a:lnTo>
                    <a:pt x="142" y="46"/>
                  </a:lnTo>
                  <a:lnTo>
                    <a:pt x="143" y="44"/>
                  </a:lnTo>
                  <a:lnTo>
                    <a:pt x="145" y="44"/>
                  </a:lnTo>
                  <a:lnTo>
                    <a:pt x="146" y="43"/>
                  </a:lnTo>
                  <a:lnTo>
                    <a:pt x="147" y="43"/>
                  </a:lnTo>
                  <a:lnTo>
                    <a:pt x="147" y="44"/>
                  </a:lnTo>
                  <a:lnTo>
                    <a:pt x="148" y="43"/>
                  </a:lnTo>
                  <a:lnTo>
                    <a:pt x="148" y="42"/>
                  </a:lnTo>
                  <a:lnTo>
                    <a:pt x="147" y="42"/>
                  </a:lnTo>
                  <a:lnTo>
                    <a:pt x="146" y="42"/>
                  </a:lnTo>
                  <a:lnTo>
                    <a:pt x="146" y="43"/>
                  </a:lnTo>
                  <a:lnTo>
                    <a:pt x="145" y="43"/>
                  </a:lnTo>
                  <a:lnTo>
                    <a:pt x="143" y="43"/>
                  </a:lnTo>
                  <a:lnTo>
                    <a:pt x="142" y="44"/>
                  </a:lnTo>
                  <a:lnTo>
                    <a:pt x="143" y="43"/>
                  </a:lnTo>
                  <a:lnTo>
                    <a:pt x="142" y="42"/>
                  </a:lnTo>
                  <a:lnTo>
                    <a:pt x="142" y="43"/>
                  </a:lnTo>
                  <a:lnTo>
                    <a:pt x="141" y="42"/>
                  </a:lnTo>
                  <a:lnTo>
                    <a:pt x="140" y="42"/>
                  </a:lnTo>
                  <a:lnTo>
                    <a:pt x="140" y="43"/>
                  </a:lnTo>
                  <a:lnTo>
                    <a:pt x="139" y="44"/>
                  </a:lnTo>
                  <a:lnTo>
                    <a:pt x="139" y="43"/>
                  </a:lnTo>
                  <a:lnTo>
                    <a:pt x="137" y="43"/>
                  </a:lnTo>
                  <a:lnTo>
                    <a:pt x="137" y="44"/>
                  </a:lnTo>
                  <a:lnTo>
                    <a:pt x="137" y="46"/>
                  </a:lnTo>
                  <a:lnTo>
                    <a:pt x="136" y="46"/>
                  </a:lnTo>
                  <a:lnTo>
                    <a:pt x="137" y="46"/>
                  </a:lnTo>
                  <a:lnTo>
                    <a:pt x="137" y="44"/>
                  </a:lnTo>
                  <a:lnTo>
                    <a:pt x="136" y="44"/>
                  </a:lnTo>
                  <a:lnTo>
                    <a:pt x="135" y="46"/>
                  </a:lnTo>
                  <a:lnTo>
                    <a:pt x="135" y="47"/>
                  </a:lnTo>
                  <a:lnTo>
                    <a:pt x="135" y="48"/>
                  </a:lnTo>
                  <a:lnTo>
                    <a:pt x="135" y="47"/>
                  </a:lnTo>
                  <a:lnTo>
                    <a:pt x="136" y="47"/>
                  </a:lnTo>
                  <a:lnTo>
                    <a:pt x="136" y="48"/>
                  </a:lnTo>
                  <a:lnTo>
                    <a:pt x="134" y="49"/>
                  </a:lnTo>
                  <a:lnTo>
                    <a:pt x="133" y="50"/>
                  </a:lnTo>
                  <a:lnTo>
                    <a:pt x="133" y="49"/>
                  </a:lnTo>
                  <a:lnTo>
                    <a:pt x="133" y="47"/>
                  </a:lnTo>
                  <a:lnTo>
                    <a:pt x="134" y="47"/>
                  </a:lnTo>
                  <a:lnTo>
                    <a:pt x="134" y="46"/>
                  </a:lnTo>
                  <a:lnTo>
                    <a:pt x="135" y="44"/>
                  </a:lnTo>
                  <a:lnTo>
                    <a:pt x="134" y="44"/>
                  </a:lnTo>
                  <a:lnTo>
                    <a:pt x="135" y="40"/>
                  </a:lnTo>
                  <a:lnTo>
                    <a:pt x="136" y="40"/>
                  </a:lnTo>
                  <a:lnTo>
                    <a:pt x="136" y="41"/>
                  </a:lnTo>
                  <a:lnTo>
                    <a:pt x="137" y="41"/>
                  </a:lnTo>
                  <a:lnTo>
                    <a:pt x="137" y="40"/>
                  </a:lnTo>
                  <a:lnTo>
                    <a:pt x="139" y="40"/>
                  </a:lnTo>
                  <a:lnTo>
                    <a:pt x="140" y="40"/>
                  </a:lnTo>
                  <a:lnTo>
                    <a:pt x="141" y="40"/>
                  </a:lnTo>
                  <a:lnTo>
                    <a:pt x="142" y="40"/>
                  </a:lnTo>
                  <a:lnTo>
                    <a:pt x="143" y="40"/>
                  </a:lnTo>
                  <a:lnTo>
                    <a:pt x="143" y="41"/>
                  </a:lnTo>
                  <a:lnTo>
                    <a:pt x="143" y="40"/>
                  </a:lnTo>
                  <a:lnTo>
                    <a:pt x="143" y="38"/>
                  </a:lnTo>
                  <a:lnTo>
                    <a:pt x="142" y="38"/>
                  </a:lnTo>
                  <a:lnTo>
                    <a:pt x="142" y="37"/>
                  </a:lnTo>
                  <a:lnTo>
                    <a:pt x="141" y="38"/>
                  </a:lnTo>
                  <a:lnTo>
                    <a:pt x="141" y="37"/>
                  </a:lnTo>
                  <a:lnTo>
                    <a:pt x="140" y="38"/>
                  </a:lnTo>
                  <a:lnTo>
                    <a:pt x="139" y="38"/>
                  </a:lnTo>
                  <a:lnTo>
                    <a:pt x="140" y="38"/>
                  </a:lnTo>
                  <a:lnTo>
                    <a:pt x="139" y="38"/>
                  </a:lnTo>
                  <a:lnTo>
                    <a:pt x="139" y="37"/>
                  </a:lnTo>
                  <a:lnTo>
                    <a:pt x="137" y="37"/>
                  </a:lnTo>
                  <a:lnTo>
                    <a:pt x="137" y="38"/>
                  </a:lnTo>
                  <a:lnTo>
                    <a:pt x="136" y="38"/>
                  </a:lnTo>
                  <a:lnTo>
                    <a:pt x="137" y="37"/>
                  </a:lnTo>
                  <a:lnTo>
                    <a:pt x="139" y="36"/>
                  </a:lnTo>
                  <a:lnTo>
                    <a:pt x="137" y="36"/>
                  </a:lnTo>
                  <a:lnTo>
                    <a:pt x="137" y="35"/>
                  </a:lnTo>
                  <a:lnTo>
                    <a:pt x="137" y="36"/>
                  </a:lnTo>
                  <a:lnTo>
                    <a:pt x="136" y="36"/>
                  </a:lnTo>
                  <a:lnTo>
                    <a:pt x="136" y="37"/>
                  </a:lnTo>
                  <a:lnTo>
                    <a:pt x="136" y="35"/>
                  </a:lnTo>
                  <a:lnTo>
                    <a:pt x="135" y="36"/>
                  </a:lnTo>
                  <a:lnTo>
                    <a:pt x="134" y="36"/>
                  </a:lnTo>
                  <a:lnTo>
                    <a:pt x="134" y="37"/>
                  </a:lnTo>
                  <a:lnTo>
                    <a:pt x="134" y="38"/>
                  </a:lnTo>
                  <a:lnTo>
                    <a:pt x="135" y="40"/>
                  </a:lnTo>
                  <a:lnTo>
                    <a:pt x="134" y="38"/>
                  </a:lnTo>
                  <a:lnTo>
                    <a:pt x="135" y="40"/>
                  </a:lnTo>
                  <a:lnTo>
                    <a:pt x="134" y="43"/>
                  </a:lnTo>
                  <a:lnTo>
                    <a:pt x="133" y="43"/>
                  </a:lnTo>
                  <a:lnTo>
                    <a:pt x="133" y="44"/>
                  </a:lnTo>
                  <a:lnTo>
                    <a:pt x="131" y="44"/>
                  </a:lnTo>
                  <a:lnTo>
                    <a:pt x="131" y="43"/>
                  </a:lnTo>
                  <a:lnTo>
                    <a:pt x="130" y="44"/>
                  </a:lnTo>
                  <a:lnTo>
                    <a:pt x="130" y="43"/>
                  </a:lnTo>
                  <a:lnTo>
                    <a:pt x="129" y="43"/>
                  </a:lnTo>
                  <a:lnTo>
                    <a:pt x="128" y="43"/>
                  </a:lnTo>
                  <a:lnTo>
                    <a:pt x="129" y="43"/>
                  </a:lnTo>
                  <a:lnTo>
                    <a:pt x="129" y="42"/>
                  </a:lnTo>
                  <a:lnTo>
                    <a:pt x="128" y="42"/>
                  </a:lnTo>
                  <a:lnTo>
                    <a:pt x="127" y="42"/>
                  </a:lnTo>
                  <a:lnTo>
                    <a:pt x="127" y="43"/>
                  </a:lnTo>
                  <a:lnTo>
                    <a:pt x="125" y="43"/>
                  </a:lnTo>
                  <a:lnTo>
                    <a:pt x="124" y="43"/>
                  </a:lnTo>
                  <a:lnTo>
                    <a:pt x="124" y="40"/>
                  </a:lnTo>
                  <a:lnTo>
                    <a:pt x="125" y="38"/>
                  </a:lnTo>
                  <a:lnTo>
                    <a:pt x="125" y="40"/>
                  </a:lnTo>
                  <a:lnTo>
                    <a:pt x="125" y="38"/>
                  </a:lnTo>
                  <a:lnTo>
                    <a:pt x="127" y="38"/>
                  </a:lnTo>
                  <a:lnTo>
                    <a:pt x="128" y="38"/>
                  </a:lnTo>
                  <a:lnTo>
                    <a:pt x="127" y="37"/>
                  </a:lnTo>
                  <a:lnTo>
                    <a:pt x="127" y="36"/>
                  </a:lnTo>
                  <a:lnTo>
                    <a:pt x="128" y="35"/>
                  </a:lnTo>
                  <a:lnTo>
                    <a:pt x="127" y="34"/>
                  </a:lnTo>
                  <a:lnTo>
                    <a:pt x="127" y="32"/>
                  </a:lnTo>
                  <a:lnTo>
                    <a:pt x="125" y="34"/>
                  </a:lnTo>
                  <a:lnTo>
                    <a:pt x="125" y="32"/>
                  </a:lnTo>
                  <a:lnTo>
                    <a:pt x="125" y="31"/>
                  </a:lnTo>
                  <a:lnTo>
                    <a:pt x="125" y="30"/>
                  </a:lnTo>
                  <a:lnTo>
                    <a:pt x="124" y="30"/>
                  </a:lnTo>
                  <a:lnTo>
                    <a:pt x="124" y="31"/>
                  </a:lnTo>
                  <a:lnTo>
                    <a:pt x="123" y="31"/>
                  </a:lnTo>
                  <a:lnTo>
                    <a:pt x="124" y="32"/>
                  </a:lnTo>
                  <a:lnTo>
                    <a:pt x="124" y="31"/>
                  </a:lnTo>
                  <a:lnTo>
                    <a:pt x="124" y="32"/>
                  </a:lnTo>
                  <a:lnTo>
                    <a:pt x="124" y="34"/>
                  </a:lnTo>
                  <a:lnTo>
                    <a:pt x="124" y="35"/>
                  </a:lnTo>
                  <a:lnTo>
                    <a:pt x="125" y="35"/>
                  </a:lnTo>
                  <a:lnTo>
                    <a:pt x="124" y="36"/>
                  </a:lnTo>
                  <a:lnTo>
                    <a:pt x="124" y="37"/>
                  </a:lnTo>
                  <a:lnTo>
                    <a:pt x="123" y="37"/>
                  </a:lnTo>
                  <a:lnTo>
                    <a:pt x="124" y="38"/>
                  </a:lnTo>
                  <a:lnTo>
                    <a:pt x="123" y="37"/>
                  </a:lnTo>
                  <a:lnTo>
                    <a:pt x="123" y="38"/>
                  </a:lnTo>
                  <a:lnTo>
                    <a:pt x="122" y="38"/>
                  </a:lnTo>
                  <a:lnTo>
                    <a:pt x="123" y="38"/>
                  </a:lnTo>
                  <a:lnTo>
                    <a:pt x="123" y="40"/>
                  </a:lnTo>
                  <a:lnTo>
                    <a:pt x="123" y="41"/>
                  </a:lnTo>
                  <a:lnTo>
                    <a:pt x="122" y="42"/>
                  </a:lnTo>
                  <a:lnTo>
                    <a:pt x="121" y="42"/>
                  </a:lnTo>
                  <a:lnTo>
                    <a:pt x="119" y="42"/>
                  </a:lnTo>
                  <a:lnTo>
                    <a:pt x="119" y="41"/>
                  </a:lnTo>
                  <a:lnTo>
                    <a:pt x="118" y="41"/>
                  </a:lnTo>
                  <a:lnTo>
                    <a:pt x="117" y="41"/>
                  </a:lnTo>
                  <a:lnTo>
                    <a:pt x="118" y="40"/>
                  </a:lnTo>
                  <a:lnTo>
                    <a:pt x="118" y="38"/>
                  </a:lnTo>
                  <a:lnTo>
                    <a:pt x="119" y="38"/>
                  </a:lnTo>
                  <a:lnTo>
                    <a:pt x="119" y="37"/>
                  </a:lnTo>
                  <a:lnTo>
                    <a:pt x="119" y="36"/>
                  </a:lnTo>
                  <a:lnTo>
                    <a:pt x="119" y="35"/>
                  </a:lnTo>
                  <a:lnTo>
                    <a:pt x="119" y="34"/>
                  </a:lnTo>
                  <a:lnTo>
                    <a:pt x="118" y="34"/>
                  </a:lnTo>
                  <a:lnTo>
                    <a:pt x="117" y="34"/>
                  </a:lnTo>
                  <a:lnTo>
                    <a:pt x="116" y="34"/>
                  </a:lnTo>
                  <a:lnTo>
                    <a:pt x="116" y="35"/>
                  </a:lnTo>
                  <a:lnTo>
                    <a:pt x="115" y="35"/>
                  </a:lnTo>
                  <a:lnTo>
                    <a:pt x="115" y="36"/>
                  </a:lnTo>
                  <a:lnTo>
                    <a:pt x="113" y="36"/>
                  </a:lnTo>
                  <a:lnTo>
                    <a:pt x="112" y="36"/>
                  </a:lnTo>
                  <a:lnTo>
                    <a:pt x="112" y="37"/>
                  </a:lnTo>
                  <a:lnTo>
                    <a:pt x="113" y="37"/>
                  </a:lnTo>
                  <a:lnTo>
                    <a:pt x="115" y="37"/>
                  </a:lnTo>
                  <a:lnTo>
                    <a:pt x="115" y="38"/>
                  </a:lnTo>
                  <a:lnTo>
                    <a:pt x="115" y="40"/>
                  </a:lnTo>
                  <a:lnTo>
                    <a:pt x="113" y="41"/>
                  </a:lnTo>
                  <a:lnTo>
                    <a:pt x="115" y="41"/>
                  </a:lnTo>
                  <a:lnTo>
                    <a:pt x="115" y="42"/>
                  </a:lnTo>
                  <a:lnTo>
                    <a:pt x="113" y="42"/>
                  </a:lnTo>
                  <a:lnTo>
                    <a:pt x="113" y="41"/>
                  </a:lnTo>
                  <a:lnTo>
                    <a:pt x="113" y="40"/>
                  </a:lnTo>
                  <a:lnTo>
                    <a:pt x="112" y="41"/>
                  </a:lnTo>
                  <a:lnTo>
                    <a:pt x="112" y="42"/>
                  </a:lnTo>
                  <a:lnTo>
                    <a:pt x="111" y="42"/>
                  </a:lnTo>
                  <a:lnTo>
                    <a:pt x="111" y="41"/>
                  </a:lnTo>
                  <a:lnTo>
                    <a:pt x="110" y="41"/>
                  </a:lnTo>
                  <a:lnTo>
                    <a:pt x="110" y="40"/>
                  </a:lnTo>
                  <a:lnTo>
                    <a:pt x="110" y="38"/>
                  </a:lnTo>
                  <a:lnTo>
                    <a:pt x="109" y="38"/>
                  </a:lnTo>
                  <a:lnTo>
                    <a:pt x="109" y="40"/>
                  </a:lnTo>
                  <a:lnTo>
                    <a:pt x="107" y="40"/>
                  </a:lnTo>
                  <a:lnTo>
                    <a:pt x="109" y="38"/>
                  </a:lnTo>
                  <a:lnTo>
                    <a:pt x="107" y="37"/>
                  </a:lnTo>
                  <a:lnTo>
                    <a:pt x="107" y="36"/>
                  </a:lnTo>
                  <a:lnTo>
                    <a:pt x="107" y="37"/>
                  </a:lnTo>
                  <a:lnTo>
                    <a:pt x="109" y="36"/>
                  </a:lnTo>
                  <a:lnTo>
                    <a:pt x="109" y="35"/>
                  </a:lnTo>
                  <a:lnTo>
                    <a:pt x="110" y="35"/>
                  </a:lnTo>
                  <a:lnTo>
                    <a:pt x="110" y="34"/>
                  </a:lnTo>
                  <a:lnTo>
                    <a:pt x="110" y="32"/>
                  </a:lnTo>
                  <a:lnTo>
                    <a:pt x="110" y="31"/>
                  </a:lnTo>
                  <a:lnTo>
                    <a:pt x="110" y="32"/>
                  </a:lnTo>
                  <a:lnTo>
                    <a:pt x="109" y="32"/>
                  </a:lnTo>
                  <a:lnTo>
                    <a:pt x="109" y="31"/>
                  </a:lnTo>
                  <a:lnTo>
                    <a:pt x="109" y="30"/>
                  </a:lnTo>
                  <a:lnTo>
                    <a:pt x="109" y="29"/>
                  </a:lnTo>
                  <a:lnTo>
                    <a:pt x="107" y="29"/>
                  </a:lnTo>
                  <a:lnTo>
                    <a:pt x="107" y="30"/>
                  </a:lnTo>
                  <a:lnTo>
                    <a:pt x="107" y="29"/>
                  </a:lnTo>
                  <a:lnTo>
                    <a:pt x="106" y="29"/>
                  </a:lnTo>
                  <a:lnTo>
                    <a:pt x="106" y="28"/>
                  </a:lnTo>
                  <a:lnTo>
                    <a:pt x="105" y="29"/>
                  </a:lnTo>
                  <a:lnTo>
                    <a:pt x="105" y="28"/>
                  </a:lnTo>
                  <a:lnTo>
                    <a:pt x="104" y="28"/>
                  </a:lnTo>
                  <a:lnTo>
                    <a:pt x="104" y="29"/>
                  </a:lnTo>
                  <a:lnTo>
                    <a:pt x="102" y="31"/>
                  </a:lnTo>
                  <a:lnTo>
                    <a:pt x="101" y="31"/>
                  </a:lnTo>
                  <a:lnTo>
                    <a:pt x="101" y="30"/>
                  </a:lnTo>
                  <a:lnTo>
                    <a:pt x="100" y="29"/>
                  </a:lnTo>
                  <a:lnTo>
                    <a:pt x="100" y="28"/>
                  </a:lnTo>
                  <a:lnTo>
                    <a:pt x="101" y="29"/>
                  </a:lnTo>
                  <a:lnTo>
                    <a:pt x="101" y="26"/>
                  </a:lnTo>
                  <a:lnTo>
                    <a:pt x="100" y="26"/>
                  </a:lnTo>
                  <a:lnTo>
                    <a:pt x="100" y="25"/>
                  </a:lnTo>
                  <a:lnTo>
                    <a:pt x="100" y="24"/>
                  </a:lnTo>
                  <a:lnTo>
                    <a:pt x="99" y="18"/>
                  </a:lnTo>
                  <a:lnTo>
                    <a:pt x="99" y="14"/>
                  </a:lnTo>
                  <a:lnTo>
                    <a:pt x="100" y="13"/>
                  </a:lnTo>
                  <a:lnTo>
                    <a:pt x="101" y="13"/>
                  </a:lnTo>
                  <a:lnTo>
                    <a:pt x="104" y="13"/>
                  </a:lnTo>
                  <a:lnTo>
                    <a:pt x="104" y="12"/>
                  </a:lnTo>
                  <a:lnTo>
                    <a:pt x="104" y="11"/>
                  </a:lnTo>
                  <a:lnTo>
                    <a:pt x="102" y="11"/>
                  </a:lnTo>
                  <a:lnTo>
                    <a:pt x="101" y="11"/>
                  </a:lnTo>
                  <a:lnTo>
                    <a:pt x="102" y="11"/>
                  </a:lnTo>
                  <a:lnTo>
                    <a:pt x="101" y="10"/>
                  </a:lnTo>
                  <a:lnTo>
                    <a:pt x="101" y="11"/>
                  </a:lnTo>
                  <a:lnTo>
                    <a:pt x="101" y="12"/>
                  </a:lnTo>
                  <a:lnTo>
                    <a:pt x="101" y="13"/>
                  </a:lnTo>
                  <a:lnTo>
                    <a:pt x="100" y="13"/>
                  </a:lnTo>
                  <a:lnTo>
                    <a:pt x="99" y="13"/>
                  </a:lnTo>
                  <a:lnTo>
                    <a:pt x="99" y="14"/>
                  </a:lnTo>
                  <a:lnTo>
                    <a:pt x="99" y="13"/>
                  </a:lnTo>
                  <a:lnTo>
                    <a:pt x="99" y="12"/>
                  </a:lnTo>
                  <a:lnTo>
                    <a:pt x="98" y="13"/>
                  </a:lnTo>
                  <a:lnTo>
                    <a:pt x="98" y="11"/>
                  </a:lnTo>
                  <a:lnTo>
                    <a:pt x="96" y="10"/>
                  </a:lnTo>
                  <a:lnTo>
                    <a:pt x="96" y="8"/>
                  </a:lnTo>
                  <a:lnTo>
                    <a:pt x="96" y="7"/>
                  </a:lnTo>
                  <a:lnTo>
                    <a:pt x="96" y="8"/>
                  </a:lnTo>
                  <a:lnTo>
                    <a:pt x="96" y="7"/>
                  </a:lnTo>
                  <a:lnTo>
                    <a:pt x="95" y="7"/>
                  </a:lnTo>
                  <a:lnTo>
                    <a:pt x="95" y="8"/>
                  </a:lnTo>
                  <a:lnTo>
                    <a:pt x="95" y="7"/>
                  </a:lnTo>
                  <a:lnTo>
                    <a:pt x="94" y="7"/>
                  </a:lnTo>
                  <a:lnTo>
                    <a:pt x="94" y="8"/>
                  </a:lnTo>
                  <a:lnTo>
                    <a:pt x="94" y="7"/>
                  </a:lnTo>
                  <a:lnTo>
                    <a:pt x="93" y="7"/>
                  </a:lnTo>
                  <a:lnTo>
                    <a:pt x="93" y="6"/>
                  </a:lnTo>
                  <a:lnTo>
                    <a:pt x="93" y="5"/>
                  </a:lnTo>
                  <a:lnTo>
                    <a:pt x="93" y="3"/>
                  </a:lnTo>
                  <a:lnTo>
                    <a:pt x="93" y="5"/>
                  </a:lnTo>
                  <a:lnTo>
                    <a:pt x="93" y="3"/>
                  </a:lnTo>
                  <a:lnTo>
                    <a:pt x="93" y="5"/>
                  </a:lnTo>
                  <a:lnTo>
                    <a:pt x="92" y="5"/>
                  </a:lnTo>
                  <a:lnTo>
                    <a:pt x="92" y="3"/>
                  </a:lnTo>
                  <a:lnTo>
                    <a:pt x="93" y="2"/>
                  </a:lnTo>
                  <a:lnTo>
                    <a:pt x="92" y="3"/>
                  </a:lnTo>
                  <a:lnTo>
                    <a:pt x="92" y="5"/>
                  </a:lnTo>
                  <a:lnTo>
                    <a:pt x="92" y="3"/>
                  </a:lnTo>
                  <a:lnTo>
                    <a:pt x="92" y="2"/>
                  </a:lnTo>
                  <a:lnTo>
                    <a:pt x="92" y="0"/>
                  </a:lnTo>
                  <a:lnTo>
                    <a:pt x="92" y="1"/>
                  </a:lnTo>
                  <a:lnTo>
                    <a:pt x="90" y="0"/>
                  </a:lnTo>
                  <a:lnTo>
                    <a:pt x="92" y="2"/>
                  </a:lnTo>
                  <a:lnTo>
                    <a:pt x="90" y="1"/>
                  </a:lnTo>
                  <a:lnTo>
                    <a:pt x="92" y="2"/>
                  </a:lnTo>
                  <a:lnTo>
                    <a:pt x="90" y="2"/>
                  </a:lnTo>
                  <a:lnTo>
                    <a:pt x="92" y="3"/>
                  </a:lnTo>
                  <a:lnTo>
                    <a:pt x="92" y="5"/>
                  </a:lnTo>
                  <a:lnTo>
                    <a:pt x="90" y="3"/>
                  </a:lnTo>
                  <a:lnTo>
                    <a:pt x="92" y="5"/>
                  </a:lnTo>
                  <a:lnTo>
                    <a:pt x="93" y="6"/>
                  </a:lnTo>
                  <a:lnTo>
                    <a:pt x="92" y="6"/>
                  </a:lnTo>
                  <a:lnTo>
                    <a:pt x="92" y="5"/>
                  </a:lnTo>
                  <a:lnTo>
                    <a:pt x="90" y="6"/>
                  </a:lnTo>
                  <a:lnTo>
                    <a:pt x="90" y="5"/>
                  </a:lnTo>
                  <a:lnTo>
                    <a:pt x="90" y="3"/>
                  </a:lnTo>
                  <a:lnTo>
                    <a:pt x="90" y="2"/>
                  </a:lnTo>
                  <a:lnTo>
                    <a:pt x="90" y="1"/>
                  </a:lnTo>
                  <a:lnTo>
                    <a:pt x="90" y="0"/>
                  </a:lnTo>
                  <a:lnTo>
                    <a:pt x="89" y="0"/>
                  </a:lnTo>
                  <a:lnTo>
                    <a:pt x="90" y="1"/>
                  </a:lnTo>
                  <a:lnTo>
                    <a:pt x="89" y="1"/>
                  </a:lnTo>
                  <a:lnTo>
                    <a:pt x="89" y="2"/>
                  </a:lnTo>
                  <a:lnTo>
                    <a:pt x="89" y="3"/>
                  </a:lnTo>
                  <a:lnTo>
                    <a:pt x="89" y="5"/>
                  </a:lnTo>
                  <a:lnTo>
                    <a:pt x="89" y="6"/>
                  </a:lnTo>
                  <a:lnTo>
                    <a:pt x="89" y="5"/>
                  </a:lnTo>
                  <a:lnTo>
                    <a:pt x="88" y="5"/>
                  </a:lnTo>
                  <a:lnTo>
                    <a:pt x="88" y="6"/>
                  </a:lnTo>
                  <a:lnTo>
                    <a:pt x="87" y="5"/>
                  </a:lnTo>
                  <a:lnTo>
                    <a:pt x="87" y="6"/>
                  </a:lnTo>
                  <a:lnTo>
                    <a:pt x="88" y="6"/>
                  </a:lnTo>
                  <a:lnTo>
                    <a:pt x="88" y="7"/>
                  </a:lnTo>
                  <a:lnTo>
                    <a:pt x="88" y="8"/>
                  </a:lnTo>
                  <a:lnTo>
                    <a:pt x="88" y="7"/>
                  </a:lnTo>
                  <a:lnTo>
                    <a:pt x="89" y="8"/>
                  </a:lnTo>
                  <a:lnTo>
                    <a:pt x="90" y="11"/>
                  </a:lnTo>
                  <a:lnTo>
                    <a:pt x="93" y="17"/>
                  </a:lnTo>
                  <a:lnTo>
                    <a:pt x="94" y="20"/>
                  </a:lnTo>
                  <a:lnTo>
                    <a:pt x="94" y="19"/>
                  </a:lnTo>
                  <a:lnTo>
                    <a:pt x="94" y="20"/>
                  </a:lnTo>
                  <a:lnTo>
                    <a:pt x="93" y="20"/>
                  </a:lnTo>
                  <a:lnTo>
                    <a:pt x="93" y="19"/>
                  </a:lnTo>
                  <a:lnTo>
                    <a:pt x="94" y="20"/>
                  </a:lnTo>
                  <a:lnTo>
                    <a:pt x="95" y="22"/>
                  </a:lnTo>
                  <a:lnTo>
                    <a:pt x="94" y="22"/>
                  </a:lnTo>
                  <a:lnTo>
                    <a:pt x="93" y="20"/>
                  </a:lnTo>
                  <a:lnTo>
                    <a:pt x="93" y="22"/>
                  </a:lnTo>
                  <a:lnTo>
                    <a:pt x="92" y="20"/>
                  </a:lnTo>
                  <a:lnTo>
                    <a:pt x="93" y="22"/>
                  </a:lnTo>
                  <a:lnTo>
                    <a:pt x="92" y="22"/>
                  </a:lnTo>
                  <a:lnTo>
                    <a:pt x="94" y="22"/>
                  </a:lnTo>
                  <a:lnTo>
                    <a:pt x="95" y="22"/>
                  </a:lnTo>
                  <a:lnTo>
                    <a:pt x="95" y="23"/>
                  </a:lnTo>
                  <a:lnTo>
                    <a:pt x="94" y="23"/>
                  </a:lnTo>
                  <a:lnTo>
                    <a:pt x="93" y="24"/>
                  </a:lnTo>
                  <a:lnTo>
                    <a:pt x="94" y="24"/>
                  </a:lnTo>
                  <a:lnTo>
                    <a:pt x="95" y="24"/>
                  </a:lnTo>
                  <a:lnTo>
                    <a:pt x="98" y="26"/>
                  </a:lnTo>
                  <a:lnTo>
                    <a:pt x="96" y="28"/>
                  </a:lnTo>
                  <a:lnTo>
                    <a:pt x="96" y="29"/>
                  </a:lnTo>
                  <a:lnTo>
                    <a:pt x="95" y="29"/>
                  </a:lnTo>
                  <a:lnTo>
                    <a:pt x="95" y="30"/>
                  </a:lnTo>
                  <a:lnTo>
                    <a:pt x="95" y="31"/>
                  </a:lnTo>
                  <a:lnTo>
                    <a:pt x="96" y="32"/>
                  </a:lnTo>
                  <a:lnTo>
                    <a:pt x="96" y="34"/>
                  </a:lnTo>
                  <a:lnTo>
                    <a:pt x="96" y="35"/>
                  </a:lnTo>
                  <a:lnTo>
                    <a:pt x="96" y="36"/>
                  </a:lnTo>
                  <a:lnTo>
                    <a:pt x="96" y="37"/>
                  </a:lnTo>
                  <a:lnTo>
                    <a:pt x="98" y="38"/>
                  </a:lnTo>
                  <a:lnTo>
                    <a:pt x="96" y="38"/>
                  </a:lnTo>
                  <a:lnTo>
                    <a:pt x="95" y="38"/>
                  </a:lnTo>
                  <a:lnTo>
                    <a:pt x="95" y="40"/>
                  </a:lnTo>
                  <a:lnTo>
                    <a:pt x="95" y="41"/>
                  </a:lnTo>
                  <a:lnTo>
                    <a:pt x="94" y="40"/>
                  </a:lnTo>
                  <a:lnTo>
                    <a:pt x="94" y="41"/>
                  </a:lnTo>
                  <a:lnTo>
                    <a:pt x="94" y="40"/>
                  </a:lnTo>
                  <a:lnTo>
                    <a:pt x="93" y="38"/>
                  </a:lnTo>
                  <a:lnTo>
                    <a:pt x="93" y="40"/>
                  </a:lnTo>
                  <a:lnTo>
                    <a:pt x="93" y="38"/>
                  </a:lnTo>
                  <a:lnTo>
                    <a:pt x="92" y="38"/>
                  </a:lnTo>
                  <a:lnTo>
                    <a:pt x="90" y="38"/>
                  </a:lnTo>
                  <a:lnTo>
                    <a:pt x="92" y="38"/>
                  </a:lnTo>
                  <a:lnTo>
                    <a:pt x="92" y="40"/>
                  </a:lnTo>
                  <a:lnTo>
                    <a:pt x="90" y="38"/>
                  </a:lnTo>
                  <a:lnTo>
                    <a:pt x="90" y="37"/>
                  </a:lnTo>
                  <a:lnTo>
                    <a:pt x="90" y="36"/>
                  </a:lnTo>
                  <a:lnTo>
                    <a:pt x="89" y="36"/>
                  </a:lnTo>
                  <a:lnTo>
                    <a:pt x="89" y="35"/>
                  </a:lnTo>
                  <a:lnTo>
                    <a:pt x="90" y="34"/>
                  </a:lnTo>
                  <a:lnTo>
                    <a:pt x="89" y="35"/>
                  </a:lnTo>
                  <a:lnTo>
                    <a:pt x="89" y="34"/>
                  </a:lnTo>
                  <a:lnTo>
                    <a:pt x="90" y="34"/>
                  </a:lnTo>
                  <a:lnTo>
                    <a:pt x="90" y="32"/>
                  </a:lnTo>
                  <a:lnTo>
                    <a:pt x="89" y="32"/>
                  </a:lnTo>
                  <a:lnTo>
                    <a:pt x="89" y="31"/>
                  </a:lnTo>
                  <a:lnTo>
                    <a:pt x="89" y="30"/>
                  </a:lnTo>
                  <a:lnTo>
                    <a:pt x="89" y="31"/>
                  </a:lnTo>
                  <a:lnTo>
                    <a:pt x="88" y="34"/>
                  </a:lnTo>
                  <a:lnTo>
                    <a:pt x="88" y="32"/>
                  </a:lnTo>
                  <a:lnTo>
                    <a:pt x="88" y="31"/>
                  </a:lnTo>
                  <a:lnTo>
                    <a:pt x="87" y="31"/>
                  </a:lnTo>
                  <a:lnTo>
                    <a:pt x="88" y="31"/>
                  </a:lnTo>
                  <a:lnTo>
                    <a:pt x="87" y="31"/>
                  </a:lnTo>
                  <a:lnTo>
                    <a:pt x="86" y="31"/>
                  </a:lnTo>
                  <a:lnTo>
                    <a:pt x="86" y="30"/>
                  </a:lnTo>
                  <a:lnTo>
                    <a:pt x="86" y="31"/>
                  </a:lnTo>
                  <a:lnTo>
                    <a:pt x="84" y="32"/>
                  </a:lnTo>
                  <a:lnTo>
                    <a:pt x="86" y="31"/>
                  </a:lnTo>
                  <a:lnTo>
                    <a:pt x="86" y="32"/>
                  </a:lnTo>
                  <a:lnTo>
                    <a:pt x="86" y="34"/>
                  </a:lnTo>
                  <a:lnTo>
                    <a:pt x="86" y="35"/>
                  </a:lnTo>
                  <a:lnTo>
                    <a:pt x="87" y="35"/>
                  </a:lnTo>
                  <a:lnTo>
                    <a:pt x="88" y="35"/>
                  </a:lnTo>
                  <a:lnTo>
                    <a:pt x="88" y="36"/>
                  </a:lnTo>
                  <a:lnTo>
                    <a:pt x="87" y="36"/>
                  </a:lnTo>
                  <a:lnTo>
                    <a:pt x="87" y="37"/>
                  </a:lnTo>
                  <a:lnTo>
                    <a:pt x="87" y="38"/>
                  </a:lnTo>
                  <a:lnTo>
                    <a:pt x="88" y="38"/>
                  </a:lnTo>
                  <a:lnTo>
                    <a:pt x="89" y="41"/>
                  </a:lnTo>
                  <a:lnTo>
                    <a:pt x="89" y="42"/>
                  </a:lnTo>
                  <a:lnTo>
                    <a:pt x="89" y="43"/>
                  </a:lnTo>
                  <a:lnTo>
                    <a:pt x="89" y="42"/>
                  </a:lnTo>
                  <a:lnTo>
                    <a:pt x="88" y="42"/>
                  </a:lnTo>
                  <a:lnTo>
                    <a:pt x="88" y="43"/>
                  </a:lnTo>
                  <a:lnTo>
                    <a:pt x="89" y="43"/>
                  </a:lnTo>
                  <a:lnTo>
                    <a:pt x="89" y="44"/>
                  </a:lnTo>
                  <a:lnTo>
                    <a:pt x="88" y="44"/>
                  </a:lnTo>
                  <a:lnTo>
                    <a:pt x="87" y="44"/>
                  </a:lnTo>
                  <a:lnTo>
                    <a:pt x="87" y="43"/>
                  </a:lnTo>
                  <a:lnTo>
                    <a:pt x="86" y="43"/>
                  </a:lnTo>
                  <a:lnTo>
                    <a:pt x="84" y="46"/>
                  </a:lnTo>
                  <a:lnTo>
                    <a:pt x="84" y="44"/>
                  </a:lnTo>
                  <a:lnTo>
                    <a:pt x="83" y="44"/>
                  </a:lnTo>
                  <a:lnTo>
                    <a:pt x="83" y="43"/>
                  </a:lnTo>
                  <a:lnTo>
                    <a:pt x="82" y="43"/>
                  </a:lnTo>
                  <a:lnTo>
                    <a:pt x="82" y="44"/>
                  </a:lnTo>
                  <a:lnTo>
                    <a:pt x="81" y="44"/>
                  </a:lnTo>
                  <a:lnTo>
                    <a:pt x="81" y="43"/>
                  </a:lnTo>
                  <a:lnTo>
                    <a:pt x="81" y="44"/>
                  </a:lnTo>
                  <a:lnTo>
                    <a:pt x="81" y="46"/>
                  </a:lnTo>
                  <a:lnTo>
                    <a:pt x="80" y="47"/>
                  </a:lnTo>
                  <a:lnTo>
                    <a:pt x="80" y="48"/>
                  </a:lnTo>
                  <a:lnTo>
                    <a:pt x="78" y="48"/>
                  </a:lnTo>
                  <a:lnTo>
                    <a:pt x="78" y="47"/>
                  </a:lnTo>
                  <a:lnTo>
                    <a:pt x="78" y="48"/>
                  </a:lnTo>
                  <a:lnTo>
                    <a:pt x="77" y="48"/>
                  </a:lnTo>
                  <a:lnTo>
                    <a:pt x="76" y="48"/>
                  </a:lnTo>
                  <a:lnTo>
                    <a:pt x="77" y="48"/>
                  </a:lnTo>
                  <a:lnTo>
                    <a:pt x="77" y="47"/>
                  </a:lnTo>
                  <a:lnTo>
                    <a:pt x="77" y="46"/>
                  </a:lnTo>
                  <a:lnTo>
                    <a:pt x="76" y="46"/>
                  </a:lnTo>
                  <a:lnTo>
                    <a:pt x="76" y="47"/>
                  </a:lnTo>
                  <a:lnTo>
                    <a:pt x="76" y="48"/>
                  </a:lnTo>
                  <a:lnTo>
                    <a:pt x="76" y="49"/>
                  </a:lnTo>
                  <a:lnTo>
                    <a:pt x="75" y="49"/>
                  </a:lnTo>
                  <a:lnTo>
                    <a:pt x="74" y="49"/>
                  </a:lnTo>
                  <a:lnTo>
                    <a:pt x="74" y="48"/>
                  </a:lnTo>
                  <a:lnTo>
                    <a:pt x="72" y="48"/>
                  </a:lnTo>
                  <a:lnTo>
                    <a:pt x="74" y="50"/>
                  </a:lnTo>
                  <a:lnTo>
                    <a:pt x="75" y="52"/>
                  </a:lnTo>
                  <a:lnTo>
                    <a:pt x="76" y="52"/>
                  </a:lnTo>
                  <a:lnTo>
                    <a:pt x="76" y="53"/>
                  </a:lnTo>
                  <a:lnTo>
                    <a:pt x="75" y="53"/>
                  </a:lnTo>
                  <a:lnTo>
                    <a:pt x="74" y="52"/>
                  </a:lnTo>
                  <a:lnTo>
                    <a:pt x="74" y="50"/>
                  </a:lnTo>
                  <a:lnTo>
                    <a:pt x="74" y="49"/>
                  </a:lnTo>
                  <a:lnTo>
                    <a:pt x="72" y="50"/>
                  </a:lnTo>
                  <a:lnTo>
                    <a:pt x="72" y="52"/>
                  </a:lnTo>
                  <a:lnTo>
                    <a:pt x="71" y="52"/>
                  </a:lnTo>
                  <a:lnTo>
                    <a:pt x="72" y="52"/>
                  </a:lnTo>
                  <a:lnTo>
                    <a:pt x="71" y="53"/>
                  </a:lnTo>
                  <a:lnTo>
                    <a:pt x="71" y="52"/>
                  </a:lnTo>
                  <a:lnTo>
                    <a:pt x="71" y="50"/>
                  </a:lnTo>
                  <a:lnTo>
                    <a:pt x="71" y="49"/>
                  </a:lnTo>
                  <a:lnTo>
                    <a:pt x="71" y="50"/>
                  </a:lnTo>
                  <a:lnTo>
                    <a:pt x="70" y="50"/>
                  </a:lnTo>
                  <a:lnTo>
                    <a:pt x="71" y="49"/>
                  </a:lnTo>
                  <a:lnTo>
                    <a:pt x="70" y="49"/>
                  </a:lnTo>
                  <a:lnTo>
                    <a:pt x="70" y="50"/>
                  </a:lnTo>
                  <a:lnTo>
                    <a:pt x="70" y="49"/>
                  </a:lnTo>
                  <a:lnTo>
                    <a:pt x="70" y="50"/>
                  </a:lnTo>
                  <a:lnTo>
                    <a:pt x="70" y="52"/>
                  </a:lnTo>
                  <a:lnTo>
                    <a:pt x="70" y="53"/>
                  </a:lnTo>
                  <a:lnTo>
                    <a:pt x="69" y="53"/>
                  </a:lnTo>
                  <a:lnTo>
                    <a:pt x="68" y="53"/>
                  </a:lnTo>
                  <a:lnTo>
                    <a:pt x="68" y="54"/>
                  </a:lnTo>
                  <a:lnTo>
                    <a:pt x="66" y="54"/>
                  </a:lnTo>
                  <a:lnTo>
                    <a:pt x="65" y="54"/>
                  </a:lnTo>
                  <a:lnTo>
                    <a:pt x="65" y="55"/>
                  </a:lnTo>
                  <a:lnTo>
                    <a:pt x="64" y="55"/>
                  </a:lnTo>
                  <a:lnTo>
                    <a:pt x="65" y="56"/>
                  </a:lnTo>
                  <a:lnTo>
                    <a:pt x="65" y="58"/>
                  </a:lnTo>
                  <a:lnTo>
                    <a:pt x="66" y="58"/>
                  </a:lnTo>
                  <a:lnTo>
                    <a:pt x="66" y="56"/>
                  </a:lnTo>
                  <a:lnTo>
                    <a:pt x="66" y="58"/>
                  </a:lnTo>
                  <a:lnTo>
                    <a:pt x="68" y="58"/>
                  </a:lnTo>
                  <a:lnTo>
                    <a:pt x="66" y="59"/>
                  </a:lnTo>
                  <a:lnTo>
                    <a:pt x="68" y="59"/>
                  </a:lnTo>
                  <a:lnTo>
                    <a:pt x="68" y="60"/>
                  </a:lnTo>
                  <a:lnTo>
                    <a:pt x="68" y="61"/>
                  </a:lnTo>
                  <a:lnTo>
                    <a:pt x="68" y="60"/>
                  </a:lnTo>
                  <a:lnTo>
                    <a:pt x="69" y="61"/>
                  </a:lnTo>
                  <a:lnTo>
                    <a:pt x="68" y="61"/>
                  </a:lnTo>
                  <a:lnTo>
                    <a:pt x="66" y="60"/>
                  </a:lnTo>
                  <a:lnTo>
                    <a:pt x="66" y="61"/>
                  </a:lnTo>
                  <a:lnTo>
                    <a:pt x="65" y="60"/>
                  </a:lnTo>
                  <a:lnTo>
                    <a:pt x="65" y="59"/>
                  </a:lnTo>
                  <a:lnTo>
                    <a:pt x="65" y="60"/>
                  </a:lnTo>
                  <a:lnTo>
                    <a:pt x="65" y="61"/>
                  </a:lnTo>
                  <a:lnTo>
                    <a:pt x="63" y="60"/>
                  </a:lnTo>
                  <a:lnTo>
                    <a:pt x="64" y="59"/>
                  </a:lnTo>
                  <a:lnTo>
                    <a:pt x="63" y="60"/>
                  </a:lnTo>
                  <a:lnTo>
                    <a:pt x="63" y="59"/>
                  </a:lnTo>
                  <a:lnTo>
                    <a:pt x="62" y="60"/>
                  </a:lnTo>
                  <a:lnTo>
                    <a:pt x="59" y="58"/>
                  </a:lnTo>
                  <a:lnTo>
                    <a:pt x="56" y="56"/>
                  </a:lnTo>
                  <a:lnTo>
                    <a:pt x="57" y="55"/>
                  </a:lnTo>
                  <a:lnTo>
                    <a:pt x="57" y="56"/>
                  </a:lnTo>
                  <a:lnTo>
                    <a:pt x="58" y="56"/>
                  </a:lnTo>
                  <a:lnTo>
                    <a:pt x="58" y="55"/>
                  </a:lnTo>
                  <a:lnTo>
                    <a:pt x="59" y="56"/>
                  </a:lnTo>
                  <a:lnTo>
                    <a:pt x="58" y="55"/>
                  </a:lnTo>
                  <a:lnTo>
                    <a:pt x="57" y="55"/>
                  </a:lnTo>
                  <a:lnTo>
                    <a:pt x="57" y="54"/>
                  </a:lnTo>
                  <a:lnTo>
                    <a:pt x="57" y="53"/>
                  </a:lnTo>
                  <a:lnTo>
                    <a:pt x="58" y="52"/>
                  </a:lnTo>
                  <a:lnTo>
                    <a:pt x="58" y="50"/>
                  </a:lnTo>
                  <a:lnTo>
                    <a:pt x="59" y="50"/>
                  </a:lnTo>
                  <a:lnTo>
                    <a:pt x="59" y="52"/>
                  </a:lnTo>
                  <a:lnTo>
                    <a:pt x="58" y="53"/>
                  </a:lnTo>
                  <a:lnTo>
                    <a:pt x="59" y="52"/>
                  </a:lnTo>
                  <a:lnTo>
                    <a:pt x="59" y="50"/>
                  </a:lnTo>
                  <a:lnTo>
                    <a:pt x="58" y="50"/>
                  </a:lnTo>
                  <a:lnTo>
                    <a:pt x="57" y="50"/>
                  </a:lnTo>
                  <a:lnTo>
                    <a:pt x="57" y="48"/>
                  </a:lnTo>
                  <a:lnTo>
                    <a:pt x="58" y="48"/>
                  </a:lnTo>
                  <a:lnTo>
                    <a:pt x="58" y="47"/>
                  </a:lnTo>
                  <a:lnTo>
                    <a:pt x="58" y="46"/>
                  </a:lnTo>
                  <a:lnTo>
                    <a:pt x="58" y="44"/>
                  </a:lnTo>
                  <a:lnTo>
                    <a:pt x="59" y="44"/>
                  </a:lnTo>
                  <a:lnTo>
                    <a:pt x="58" y="44"/>
                  </a:lnTo>
                  <a:lnTo>
                    <a:pt x="59" y="43"/>
                  </a:lnTo>
                  <a:lnTo>
                    <a:pt x="59" y="42"/>
                  </a:lnTo>
                  <a:lnTo>
                    <a:pt x="60" y="42"/>
                  </a:lnTo>
                  <a:lnTo>
                    <a:pt x="60" y="41"/>
                  </a:lnTo>
                  <a:lnTo>
                    <a:pt x="62" y="41"/>
                  </a:lnTo>
                  <a:lnTo>
                    <a:pt x="62" y="42"/>
                  </a:lnTo>
                  <a:lnTo>
                    <a:pt x="62" y="43"/>
                  </a:lnTo>
                  <a:lnTo>
                    <a:pt x="62" y="42"/>
                  </a:lnTo>
                  <a:lnTo>
                    <a:pt x="63" y="42"/>
                  </a:lnTo>
                  <a:lnTo>
                    <a:pt x="62" y="41"/>
                  </a:lnTo>
                  <a:lnTo>
                    <a:pt x="60" y="40"/>
                  </a:lnTo>
                  <a:lnTo>
                    <a:pt x="60" y="38"/>
                  </a:lnTo>
                  <a:lnTo>
                    <a:pt x="62" y="38"/>
                  </a:lnTo>
                  <a:lnTo>
                    <a:pt x="62" y="40"/>
                  </a:lnTo>
                  <a:lnTo>
                    <a:pt x="63" y="40"/>
                  </a:lnTo>
                  <a:lnTo>
                    <a:pt x="62" y="38"/>
                  </a:lnTo>
                  <a:lnTo>
                    <a:pt x="60" y="38"/>
                  </a:lnTo>
                  <a:lnTo>
                    <a:pt x="62" y="37"/>
                  </a:lnTo>
                  <a:lnTo>
                    <a:pt x="60" y="37"/>
                  </a:lnTo>
                  <a:lnTo>
                    <a:pt x="60" y="36"/>
                  </a:lnTo>
                  <a:lnTo>
                    <a:pt x="62" y="35"/>
                  </a:lnTo>
                  <a:lnTo>
                    <a:pt x="60" y="37"/>
                  </a:lnTo>
                  <a:lnTo>
                    <a:pt x="59" y="37"/>
                  </a:lnTo>
                  <a:lnTo>
                    <a:pt x="59" y="38"/>
                  </a:lnTo>
                  <a:lnTo>
                    <a:pt x="58" y="38"/>
                  </a:lnTo>
                  <a:lnTo>
                    <a:pt x="58" y="37"/>
                  </a:lnTo>
                  <a:lnTo>
                    <a:pt x="58" y="38"/>
                  </a:lnTo>
                  <a:lnTo>
                    <a:pt x="59" y="38"/>
                  </a:lnTo>
                  <a:lnTo>
                    <a:pt x="59" y="40"/>
                  </a:lnTo>
                  <a:lnTo>
                    <a:pt x="58" y="38"/>
                  </a:lnTo>
                  <a:lnTo>
                    <a:pt x="59" y="40"/>
                  </a:lnTo>
                  <a:lnTo>
                    <a:pt x="59" y="41"/>
                  </a:lnTo>
                  <a:lnTo>
                    <a:pt x="58" y="41"/>
                  </a:lnTo>
                  <a:lnTo>
                    <a:pt x="57" y="42"/>
                  </a:lnTo>
                  <a:lnTo>
                    <a:pt x="57" y="43"/>
                  </a:lnTo>
                  <a:lnTo>
                    <a:pt x="58" y="42"/>
                  </a:lnTo>
                  <a:lnTo>
                    <a:pt x="58" y="43"/>
                  </a:lnTo>
                  <a:lnTo>
                    <a:pt x="58" y="44"/>
                  </a:lnTo>
                  <a:lnTo>
                    <a:pt x="57" y="47"/>
                  </a:lnTo>
                  <a:lnTo>
                    <a:pt x="57" y="50"/>
                  </a:lnTo>
                  <a:lnTo>
                    <a:pt x="56" y="50"/>
                  </a:lnTo>
                  <a:lnTo>
                    <a:pt x="56" y="52"/>
                  </a:lnTo>
                  <a:lnTo>
                    <a:pt x="54" y="52"/>
                  </a:lnTo>
                  <a:lnTo>
                    <a:pt x="54" y="53"/>
                  </a:lnTo>
                  <a:lnTo>
                    <a:pt x="54" y="52"/>
                  </a:lnTo>
                  <a:lnTo>
                    <a:pt x="53" y="49"/>
                  </a:lnTo>
                  <a:lnTo>
                    <a:pt x="52" y="47"/>
                  </a:lnTo>
                  <a:lnTo>
                    <a:pt x="53" y="47"/>
                  </a:lnTo>
                  <a:lnTo>
                    <a:pt x="52" y="47"/>
                  </a:lnTo>
                  <a:lnTo>
                    <a:pt x="52" y="46"/>
                  </a:lnTo>
                  <a:lnTo>
                    <a:pt x="53" y="46"/>
                  </a:lnTo>
                  <a:lnTo>
                    <a:pt x="52" y="46"/>
                  </a:lnTo>
                  <a:lnTo>
                    <a:pt x="53" y="44"/>
                  </a:lnTo>
                  <a:lnTo>
                    <a:pt x="53" y="43"/>
                  </a:lnTo>
                  <a:lnTo>
                    <a:pt x="53" y="44"/>
                  </a:lnTo>
                  <a:lnTo>
                    <a:pt x="52" y="44"/>
                  </a:lnTo>
                  <a:lnTo>
                    <a:pt x="52" y="46"/>
                  </a:lnTo>
                  <a:lnTo>
                    <a:pt x="51" y="43"/>
                  </a:lnTo>
                  <a:lnTo>
                    <a:pt x="52" y="42"/>
                  </a:lnTo>
                  <a:lnTo>
                    <a:pt x="53" y="42"/>
                  </a:lnTo>
                  <a:lnTo>
                    <a:pt x="52" y="42"/>
                  </a:lnTo>
                  <a:lnTo>
                    <a:pt x="53" y="41"/>
                  </a:lnTo>
                  <a:lnTo>
                    <a:pt x="52" y="42"/>
                  </a:lnTo>
                  <a:lnTo>
                    <a:pt x="52" y="41"/>
                  </a:lnTo>
                  <a:lnTo>
                    <a:pt x="52" y="42"/>
                  </a:lnTo>
                  <a:lnTo>
                    <a:pt x="51" y="42"/>
                  </a:lnTo>
                  <a:lnTo>
                    <a:pt x="51" y="41"/>
                  </a:lnTo>
                  <a:lnTo>
                    <a:pt x="51" y="40"/>
                  </a:lnTo>
                  <a:lnTo>
                    <a:pt x="51" y="38"/>
                  </a:lnTo>
                  <a:lnTo>
                    <a:pt x="50" y="38"/>
                  </a:lnTo>
                  <a:lnTo>
                    <a:pt x="50" y="40"/>
                  </a:lnTo>
                  <a:lnTo>
                    <a:pt x="48" y="40"/>
                  </a:lnTo>
                  <a:lnTo>
                    <a:pt x="48" y="38"/>
                  </a:lnTo>
                  <a:lnTo>
                    <a:pt x="48" y="40"/>
                  </a:lnTo>
                  <a:lnTo>
                    <a:pt x="48" y="41"/>
                  </a:lnTo>
                  <a:lnTo>
                    <a:pt x="48" y="42"/>
                  </a:lnTo>
                  <a:lnTo>
                    <a:pt x="48" y="43"/>
                  </a:lnTo>
                  <a:lnTo>
                    <a:pt x="48" y="42"/>
                  </a:lnTo>
                  <a:lnTo>
                    <a:pt x="47" y="42"/>
                  </a:lnTo>
                  <a:lnTo>
                    <a:pt x="46" y="42"/>
                  </a:lnTo>
                  <a:lnTo>
                    <a:pt x="45" y="42"/>
                  </a:lnTo>
                  <a:lnTo>
                    <a:pt x="45" y="41"/>
                  </a:lnTo>
                  <a:lnTo>
                    <a:pt x="45" y="42"/>
                  </a:lnTo>
                  <a:lnTo>
                    <a:pt x="45" y="43"/>
                  </a:lnTo>
                  <a:lnTo>
                    <a:pt x="45" y="44"/>
                  </a:lnTo>
                  <a:lnTo>
                    <a:pt x="45" y="43"/>
                  </a:lnTo>
                  <a:lnTo>
                    <a:pt x="46" y="42"/>
                  </a:lnTo>
                  <a:lnTo>
                    <a:pt x="46" y="43"/>
                  </a:lnTo>
                  <a:lnTo>
                    <a:pt x="47" y="44"/>
                  </a:lnTo>
                  <a:lnTo>
                    <a:pt x="46" y="43"/>
                  </a:lnTo>
                  <a:lnTo>
                    <a:pt x="46" y="44"/>
                  </a:lnTo>
                  <a:lnTo>
                    <a:pt x="47" y="44"/>
                  </a:lnTo>
                  <a:lnTo>
                    <a:pt x="48" y="46"/>
                  </a:lnTo>
                  <a:lnTo>
                    <a:pt x="47" y="52"/>
                  </a:lnTo>
                  <a:lnTo>
                    <a:pt x="47" y="50"/>
                  </a:lnTo>
                  <a:lnTo>
                    <a:pt x="46" y="50"/>
                  </a:lnTo>
                  <a:lnTo>
                    <a:pt x="46" y="52"/>
                  </a:lnTo>
                  <a:lnTo>
                    <a:pt x="46" y="53"/>
                  </a:lnTo>
                  <a:lnTo>
                    <a:pt x="45" y="52"/>
                  </a:lnTo>
                  <a:lnTo>
                    <a:pt x="43" y="52"/>
                  </a:lnTo>
                  <a:lnTo>
                    <a:pt x="43" y="53"/>
                  </a:lnTo>
                  <a:lnTo>
                    <a:pt x="43" y="54"/>
                  </a:lnTo>
                  <a:lnTo>
                    <a:pt x="45" y="54"/>
                  </a:lnTo>
                  <a:lnTo>
                    <a:pt x="45" y="55"/>
                  </a:lnTo>
                  <a:lnTo>
                    <a:pt x="45" y="56"/>
                  </a:lnTo>
                  <a:lnTo>
                    <a:pt x="46" y="56"/>
                  </a:lnTo>
                  <a:lnTo>
                    <a:pt x="46" y="58"/>
                  </a:lnTo>
                  <a:lnTo>
                    <a:pt x="45" y="58"/>
                  </a:lnTo>
                  <a:lnTo>
                    <a:pt x="43" y="56"/>
                  </a:lnTo>
                  <a:lnTo>
                    <a:pt x="42" y="55"/>
                  </a:lnTo>
                  <a:lnTo>
                    <a:pt x="43" y="56"/>
                  </a:lnTo>
                  <a:lnTo>
                    <a:pt x="43" y="58"/>
                  </a:lnTo>
                  <a:lnTo>
                    <a:pt x="42" y="58"/>
                  </a:lnTo>
                  <a:lnTo>
                    <a:pt x="42" y="56"/>
                  </a:lnTo>
                  <a:lnTo>
                    <a:pt x="41" y="58"/>
                  </a:lnTo>
                  <a:lnTo>
                    <a:pt x="41" y="59"/>
                  </a:lnTo>
                  <a:lnTo>
                    <a:pt x="42" y="60"/>
                  </a:lnTo>
                  <a:lnTo>
                    <a:pt x="41" y="59"/>
                  </a:lnTo>
                  <a:lnTo>
                    <a:pt x="40" y="59"/>
                  </a:lnTo>
                  <a:lnTo>
                    <a:pt x="40" y="58"/>
                  </a:lnTo>
                  <a:lnTo>
                    <a:pt x="39" y="56"/>
                  </a:lnTo>
                  <a:lnTo>
                    <a:pt x="40" y="55"/>
                  </a:lnTo>
                  <a:lnTo>
                    <a:pt x="39" y="55"/>
                  </a:lnTo>
                  <a:lnTo>
                    <a:pt x="37" y="55"/>
                  </a:lnTo>
                  <a:lnTo>
                    <a:pt x="39" y="56"/>
                  </a:lnTo>
                  <a:lnTo>
                    <a:pt x="37" y="56"/>
                  </a:lnTo>
                  <a:lnTo>
                    <a:pt x="37" y="55"/>
                  </a:lnTo>
                  <a:lnTo>
                    <a:pt x="37" y="53"/>
                  </a:lnTo>
                  <a:lnTo>
                    <a:pt x="36" y="53"/>
                  </a:lnTo>
                  <a:lnTo>
                    <a:pt x="35" y="53"/>
                  </a:lnTo>
                  <a:lnTo>
                    <a:pt x="34" y="53"/>
                  </a:lnTo>
                  <a:lnTo>
                    <a:pt x="34" y="52"/>
                  </a:lnTo>
                  <a:lnTo>
                    <a:pt x="33" y="49"/>
                  </a:lnTo>
                  <a:lnTo>
                    <a:pt x="31" y="49"/>
                  </a:lnTo>
                  <a:lnTo>
                    <a:pt x="31" y="50"/>
                  </a:lnTo>
                  <a:lnTo>
                    <a:pt x="33" y="49"/>
                  </a:lnTo>
                  <a:lnTo>
                    <a:pt x="33" y="50"/>
                  </a:lnTo>
                  <a:lnTo>
                    <a:pt x="34" y="53"/>
                  </a:lnTo>
                  <a:lnTo>
                    <a:pt x="33" y="53"/>
                  </a:lnTo>
                  <a:lnTo>
                    <a:pt x="33" y="52"/>
                  </a:lnTo>
                  <a:lnTo>
                    <a:pt x="31" y="52"/>
                  </a:lnTo>
                  <a:lnTo>
                    <a:pt x="31" y="53"/>
                  </a:lnTo>
                  <a:lnTo>
                    <a:pt x="33" y="52"/>
                  </a:lnTo>
                  <a:lnTo>
                    <a:pt x="33" y="53"/>
                  </a:lnTo>
                  <a:lnTo>
                    <a:pt x="31" y="54"/>
                  </a:lnTo>
                  <a:lnTo>
                    <a:pt x="30" y="54"/>
                  </a:lnTo>
                  <a:lnTo>
                    <a:pt x="30" y="55"/>
                  </a:lnTo>
                  <a:lnTo>
                    <a:pt x="30" y="56"/>
                  </a:lnTo>
                  <a:lnTo>
                    <a:pt x="31" y="56"/>
                  </a:lnTo>
                  <a:lnTo>
                    <a:pt x="33" y="56"/>
                  </a:lnTo>
                  <a:lnTo>
                    <a:pt x="33" y="58"/>
                  </a:lnTo>
                  <a:lnTo>
                    <a:pt x="31" y="56"/>
                  </a:lnTo>
                  <a:lnTo>
                    <a:pt x="33" y="58"/>
                  </a:lnTo>
                  <a:lnTo>
                    <a:pt x="31" y="58"/>
                  </a:lnTo>
                  <a:lnTo>
                    <a:pt x="33" y="58"/>
                  </a:lnTo>
                  <a:lnTo>
                    <a:pt x="34" y="58"/>
                  </a:lnTo>
                  <a:lnTo>
                    <a:pt x="33" y="58"/>
                  </a:lnTo>
                  <a:lnTo>
                    <a:pt x="33" y="59"/>
                  </a:lnTo>
                  <a:lnTo>
                    <a:pt x="34" y="60"/>
                  </a:lnTo>
                  <a:lnTo>
                    <a:pt x="34" y="61"/>
                  </a:lnTo>
                  <a:lnTo>
                    <a:pt x="33" y="60"/>
                  </a:lnTo>
                  <a:lnTo>
                    <a:pt x="31" y="60"/>
                  </a:lnTo>
                  <a:lnTo>
                    <a:pt x="31" y="59"/>
                  </a:lnTo>
                  <a:lnTo>
                    <a:pt x="30" y="58"/>
                  </a:lnTo>
                  <a:lnTo>
                    <a:pt x="30" y="59"/>
                  </a:lnTo>
                  <a:lnTo>
                    <a:pt x="30" y="60"/>
                  </a:lnTo>
                  <a:lnTo>
                    <a:pt x="29" y="60"/>
                  </a:lnTo>
                  <a:lnTo>
                    <a:pt x="28" y="60"/>
                  </a:lnTo>
                  <a:lnTo>
                    <a:pt x="27" y="60"/>
                  </a:lnTo>
                  <a:lnTo>
                    <a:pt x="27" y="62"/>
                  </a:lnTo>
                  <a:lnTo>
                    <a:pt x="27" y="61"/>
                  </a:lnTo>
                  <a:lnTo>
                    <a:pt x="27" y="60"/>
                  </a:lnTo>
                  <a:lnTo>
                    <a:pt x="25" y="59"/>
                  </a:lnTo>
                  <a:lnTo>
                    <a:pt x="25" y="60"/>
                  </a:lnTo>
                  <a:lnTo>
                    <a:pt x="25" y="61"/>
                  </a:lnTo>
                  <a:lnTo>
                    <a:pt x="24" y="61"/>
                  </a:lnTo>
                  <a:lnTo>
                    <a:pt x="24" y="60"/>
                  </a:lnTo>
                  <a:lnTo>
                    <a:pt x="23" y="60"/>
                  </a:lnTo>
                  <a:lnTo>
                    <a:pt x="22" y="60"/>
                  </a:lnTo>
                  <a:lnTo>
                    <a:pt x="22" y="59"/>
                  </a:lnTo>
                  <a:lnTo>
                    <a:pt x="22" y="58"/>
                  </a:lnTo>
                  <a:lnTo>
                    <a:pt x="21" y="58"/>
                  </a:lnTo>
                  <a:lnTo>
                    <a:pt x="21" y="59"/>
                  </a:lnTo>
                  <a:lnTo>
                    <a:pt x="22" y="59"/>
                  </a:lnTo>
                  <a:lnTo>
                    <a:pt x="22" y="60"/>
                  </a:lnTo>
                  <a:lnTo>
                    <a:pt x="22" y="61"/>
                  </a:lnTo>
                  <a:lnTo>
                    <a:pt x="23" y="60"/>
                  </a:lnTo>
                  <a:lnTo>
                    <a:pt x="23" y="61"/>
                  </a:lnTo>
                  <a:lnTo>
                    <a:pt x="23" y="62"/>
                  </a:lnTo>
                  <a:lnTo>
                    <a:pt x="24" y="61"/>
                  </a:lnTo>
                  <a:lnTo>
                    <a:pt x="25" y="62"/>
                  </a:lnTo>
                  <a:lnTo>
                    <a:pt x="27" y="62"/>
                  </a:lnTo>
                  <a:lnTo>
                    <a:pt x="28" y="64"/>
                  </a:lnTo>
                  <a:lnTo>
                    <a:pt x="27" y="64"/>
                  </a:lnTo>
                  <a:lnTo>
                    <a:pt x="28" y="65"/>
                  </a:lnTo>
                  <a:lnTo>
                    <a:pt x="28" y="64"/>
                  </a:lnTo>
                  <a:lnTo>
                    <a:pt x="29" y="64"/>
                  </a:lnTo>
                  <a:lnTo>
                    <a:pt x="29" y="65"/>
                  </a:lnTo>
                  <a:lnTo>
                    <a:pt x="29" y="66"/>
                  </a:lnTo>
                  <a:lnTo>
                    <a:pt x="30" y="66"/>
                  </a:lnTo>
                  <a:lnTo>
                    <a:pt x="33" y="68"/>
                  </a:lnTo>
                  <a:lnTo>
                    <a:pt x="33" y="70"/>
                  </a:lnTo>
                  <a:lnTo>
                    <a:pt x="30" y="70"/>
                  </a:lnTo>
                  <a:lnTo>
                    <a:pt x="28" y="68"/>
                  </a:lnTo>
                  <a:lnTo>
                    <a:pt x="25" y="67"/>
                  </a:lnTo>
                  <a:lnTo>
                    <a:pt x="28" y="68"/>
                  </a:lnTo>
                  <a:lnTo>
                    <a:pt x="25" y="68"/>
                  </a:lnTo>
                  <a:lnTo>
                    <a:pt x="24" y="67"/>
                  </a:lnTo>
                  <a:lnTo>
                    <a:pt x="23" y="67"/>
                  </a:lnTo>
                  <a:lnTo>
                    <a:pt x="23" y="66"/>
                  </a:lnTo>
                  <a:lnTo>
                    <a:pt x="21" y="65"/>
                  </a:lnTo>
                  <a:lnTo>
                    <a:pt x="22" y="67"/>
                  </a:lnTo>
                  <a:lnTo>
                    <a:pt x="23" y="67"/>
                  </a:lnTo>
                  <a:lnTo>
                    <a:pt x="22" y="67"/>
                  </a:lnTo>
                  <a:lnTo>
                    <a:pt x="19" y="66"/>
                  </a:lnTo>
                  <a:lnTo>
                    <a:pt x="18" y="65"/>
                  </a:lnTo>
                  <a:lnTo>
                    <a:pt x="21" y="66"/>
                  </a:lnTo>
                  <a:lnTo>
                    <a:pt x="22" y="67"/>
                  </a:lnTo>
                  <a:lnTo>
                    <a:pt x="22" y="68"/>
                  </a:lnTo>
                  <a:lnTo>
                    <a:pt x="23" y="70"/>
                  </a:lnTo>
                  <a:lnTo>
                    <a:pt x="23" y="68"/>
                  </a:lnTo>
                  <a:lnTo>
                    <a:pt x="23" y="67"/>
                  </a:lnTo>
                  <a:lnTo>
                    <a:pt x="24" y="68"/>
                  </a:lnTo>
                  <a:lnTo>
                    <a:pt x="27" y="68"/>
                  </a:lnTo>
                  <a:lnTo>
                    <a:pt x="28" y="71"/>
                  </a:lnTo>
                  <a:lnTo>
                    <a:pt x="28" y="68"/>
                  </a:lnTo>
                  <a:lnTo>
                    <a:pt x="30" y="70"/>
                  </a:lnTo>
                  <a:lnTo>
                    <a:pt x="31" y="70"/>
                  </a:lnTo>
                  <a:lnTo>
                    <a:pt x="30" y="70"/>
                  </a:lnTo>
                  <a:lnTo>
                    <a:pt x="30" y="71"/>
                  </a:lnTo>
                  <a:lnTo>
                    <a:pt x="31" y="71"/>
                  </a:lnTo>
                  <a:lnTo>
                    <a:pt x="33" y="72"/>
                  </a:lnTo>
                  <a:lnTo>
                    <a:pt x="31" y="71"/>
                  </a:lnTo>
                  <a:lnTo>
                    <a:pt x="33" y="71"/>
                  </a:lnTo>
                  <a:lnTo>
                    <a:pt x="34" y="71"/>
                  </a:lnTo>
                  <a:lnTo>
                    <a:pt x="35" y="71"/>
                  </a:lnTo>
                  <a:lnTo>
                    <a:pt x="35" y="72"/>
                  </a:lnTo>
                  <a:lnTo>
                    <a:pt x="36" y="72"/>
                  </a:lnTo>
                  <a:lnTo>
                    <a:pt x="36" y="73"/>
                  </a:lnTo>
                  <a:lnTo>
                    <a:pt x="36" y="72"/>
                  </a:lnTo>
                  <a:lnTo>
                    <a:pt x="37" y="72"/>
                  </a:lnTo>
                  <a:lnTo>
                    <a:pt x="39" y="73"/>
                  </a:lnTo>
                  <a:lnTo>
                    <a:pt x="39" y="74"/>
                  </a:lnTo>
                  <a:lnTo>
                    <a:pt x="39" y="73"/>
                  </a:lnTo>
                  <a:lnTo>
                    <a:pt x="39" y="74"/>
                  </a:lnTo>
                  <a:lnTo>
                    <a:pt x="40" y="76"/>
                  </a:lnTo>
                  <a:lnTo>
                    <a:pt x="40" y="74"/>
                  </a:lnTo>
                  <a:lnTo>
                    <a:pt x="41" y="74"/>
                  </a:lnTo>
                  <a:lnTo>
                    <a:pt x="41" y="76"/>
                  </a:lnTo>
                  <a:lnTo>
                    <a:pt x="42" y="76"/>
                  </a:lnTo>
                  <a:lnTo>
                    <a:pt x="42" y="77"/>
                  </a:lnTo>
                  <a:lnTo>
                    <a:pt x="42" y="78"/>
                  </a:lnTo>
                  <a:lnTo>
                    <a:pt x="41" y="79"/>
                  </a:lnTo>
                  <a:lnTo>
                    <a:pt x="41" y="78"/>
                  </a:lnTo>
                  <a:lnTo>
                    <a:pt x="40" y="79"/>
                  </a:lnTo>
                  <a:lnTo>
                    <a:pt x="40" y="78"/>
                  </a:lnTo>
                  <a:lnTo>
                    <a:pt x="39" y="77"/>
                  </a:lnTo>
                  <a:lnTo>
                    <a:pt x="39" y="78"/>
                  </a:lnTo>
                  <a:lnTo>
                    <a:pt x="37" y="78"/>
                  </a:lnTo>
                  <a:lnTo>
                    <a:pt x="36" y="78"/>
                  </a:lnTo>
                  <a:lnTo>
                    <a:pt x="37" y="77"/>
                  </a:lnTo>
                  <a:lnTo>
                    <a:pt x="39" y="77"/>
                  </a:lnTo>
                  <a:lnTo>
                    <a:pt x="39" y="76"/>
                  </a:lnTo>
                  <a:lnTo>
                    <a:pt x="37" y="76"/>
                  </a:lnTo>
                  <a:lnTo>
                    <a:pt x="37" y="77"/>
                  </a:lnTo>
                  <a:lnTo>
                    <a:pt x="36" y="77"/>
                  </a:lnTo>
                  <a:lnTo>
                    <a:pt x="36" y="76"/>
                  </a:lnTo>
                  <a:lnTo>
                    <a:pt x="36" y="74"/>
                  </a:lnTo>
                  <a:lnTo>
                    <a:pt x="36" y="73"/>
                  </a:lnTo>
                  <a:lnTo>
                    <a:pt x="35" y="73"/>
                  </a:lnTo>
                  <a:lnTo>
                    <a:pt x="34" y="73"/>
                  </a:lnTo>
                  <a:lnTo>
                    <a:pt x="34" y="74"/>
                  </a:lnTo>
                  <a:lnTo>
                    <a:pt x="34" y="73"/>
                  </a:lnTo>
                  <a:lnTo>
                    <a:pt x="33" y="74"/>
                  </a:lnTo>
                  <a:lnTo>
                    <a:pt x="33" y="76"/>
                  </a:lnTo>
                  <a:lnTo>
                    <a:pt x="33" y="77"/>
                  </a:lnTo>
                  <a:lnTo>
                    <a:pt x="33" y="78"/>
                  </a:lnTo>
                  <a:lnTo>
                    <a:pt x="31" y="78"/>
                  </a:lnTo>
                  <a:lnTo>
                    <a:pt x="30" y="78"/>
                  </a:lnTo>
                  <a:lnTo>
                    <a:pt x="31" y="78"/>
                  </a:lnTo>
                  <a:lnTo>
                    <a:pt x="30" y="77"/>
                  </a:lnTo>
                  <a:lnTo>
                    <a:pt x="30" y="76"/>
                  </a:lnTo>
                  <a:lnTo>
                    <a:pt x="31" y="76"/>
                  </a:lnTo>
                  <a:lnTo>
                    <a:pt x="30" y="74"/>
                  </a:lnTo>
                  <a:lnTo>
                    <a:pt x="30" y="76"/>
                  </a:lnTo>
                  <a:lnTo>
                    <a:pt x="29" y="78"/>
                  </a:lnTo>
                  <a:lnTo>
                    <a:pt x="28" y="76"/>
                  </a:lnTo>
                  <a:lnTo>
                    <a:pt x="28" y="74"/>
                  </a:lnTo>
                  <a:lnTo>
                    <a:pt x="29" y="74"/>
                  </a:lnTo>
                  <a:lnTo>
                    <a:pt x="29" y="73"/>
                  </a:lnTo>
                  <a:lnTo>
                    <a:pt x="28" y="73"/>
                  </a:lnTo>
                  <a:lnTo>
                    <a:pt x="28" y="74"/>
                  </a:lnTo>
                  <a:lnTo>
                    <a:pt x="27" y="72"/>
                  </a:lnTo>
                  <a:lnTo>
                    <a:pt x="27" y="74"/>
                  </a:lnTo>
                  <a:lnTo>
                    <a:pt x="28" y="74"/>
                  </a:lnTo>
                  <a:lnTo>
                    <a:pt x="28" y="76"/>
                  </a:lnTo>
                  <a:lnTo>
                    <a:pt x="25" y="73"/>
                  </a:lnTo>
                  <a:lnTo>
                    <a:pt x="28" y="76"/>
                  </a:lnTo>
                  <a:lnTo>
                    <a:pt x="27" y="76"/>
                  </a:lnTo>
                  <a:lnTo>
                    <a:pt x="25" y="76"/>
                  </a:lnTo>
                  <a:lnTo>
                    <a:pt x="25" y="77"/>
                  </a:lnTo>
                  <a:lnTo>
                    <a:pt x="24" y="76"/>
                  </a:lnTo>
                  <a:lnTo>
                    <a:pt x="23" y="76"/>
                  </a:lnTo>
                  <a:lnTo>
                    <a:pt x="23" y="77"/>
                  </a:lnTo>
                  <a:lnTo>
                    <a:pt x="22" y="77"/>
                  </a:lnTo>
                  <a:lnTo>
                    <a:pt x="22" y="76"/>
                  </a:lnTo>
                  <a:lnTo>
                    <a:pt x="21" y="76"/>
                  </a:lnTo>
                  <a:lnTo>
                    <a:pt x="19" y="76"/>
                  </a:lnTo>
                  <a:lnTo>
                    <a:pt x="19" y="74"/>
                  </a:lnTo>
                  <a:lnTo>
                    <a:pt x="19" y="73"/>
                  </a:lnTo>
                  <a:lnTo>
                    <a:pt x="18" y="74"/>
                  </a:lnTo>
                  <a:lnTo>
                    <a:pt x="18" y="76"/>
                  </a:lnTo>
                  <a:lnTo>
                    <a:pt x="18" y="74"/>
                  </a:lnTo>
                  <a:lnTo>
                    <a:pt x="17" y="74"/>
                  </a:lnTo>
                  <a:lnTo>
                    <a:pt x="17" y="73"/>
                  </a:lnTo>
                  <a:lnTo>
                    <a:pt x="17" y="74"/>
                  </a:lnTo>
                  <a:lnTo>
                    <a:pt x="17" y="76"/>
                  </a:lnTo>
                  <a:lnTo>
                    <a:pt x="18" y="76"/>
                  </a:lnTo>
                  <a:lnTo>
                    <a:pt x="19" y="76"/>
                  </a:lnTo>
                  <a:lnTo>
                    <a:pt x="24" y="78"/>
                  </a:lnTo>
                  <a:lnTo>
                    <a:pt x="27" y="78"/>
                  </a:lnTo>
                  <a:lnTo>
                    <a:pt x="25" y="80"/>
                  </a:lnTo>
                  <a:lnTo>
                    <a:pt x="27" y="80"/>
                  </a:lnTo>
                  <a:lnTo>
                    <a:pt x="27" y="79"/>
                  </a:lnTo>
                  <a:lnTo>
                    <a:pt x="28" y="79"/>
                  </a:lnTo>
                  <a:lnTo>
                    <a:pt x="28" y="80"/>
                  </a:lnTo>
                  <a:lnTo>
                    <a:pt x="28" y="79"/>
                  </a:lnTo>
                  <a:lnTo>
                    <a:pt x="29" y="80"/>
                  </a:lnTo>
                  <a:lnTo>
                    <a:pt x="29" y="79"/>
                  </a:lnTo>
                  <a:lnTo>
                    <a:pt x="29" y="78"/>
                  </a:lnTo>
                  <a:lnTo>
                    <a:pt x="31" y="79"/>
                  </a:lnTo>
                  <a:lnTo>
                    <a:pt x="33" y="79"/>
                  </a:lnTo>
                  <a:lnTo>
                    <a:pt x="33" y="80"/>
                  </a:lnTo>
                  <a:lnTo>
                    <a:pt x="31" y="83"/>
                  </a:lnTo>
                  <a:lnTo>
                    <a:pt x="30" y="84"/>
                  </a:lnTo>
                  <a:lnTo>
                    <a:pt x="29" y="84"/>
                  </a:lnTo>
                  <a:lnTo>
                    <a:pt x="28" y="84"/>
                  </a:lnTo>
                  <a:lnTo>
                    <a:pt x="27" y="83"/>
                  </a:lnTo>
                  <a:lnTo>
                    <a:pt x="25" y="84"/>
                  </a:lnTo>
                  <a:lnTo>
                    <a:pt x="24" y="84"/>
                  </a:lnTo>
                  <a:lnTo>
                    <a:pt x="25" y="85"/>
                  </a:lnTo>
                  <a:lnTo>
                    <a:pt x="24" y="86"/>
                  </a:lnTo>
                  <a:lnTo>
                    <a:pt x="23" y="88"/>
                  </a:lnTo>
                  <a:lnTo>
                    <a:pt x="23" y="89"/>
                  </a:lnTo>
                  <a:lnTo>
                    <a:pt x="22" y="89"/>
                  </a:lnTo>
                  <a:lnTo>
                    <a:pt x="21" y="89"/>
                  </a:lnTo>
                  <a:lnTo>
                    <a:pt x="19" y="89"/>
                  </a:lnTo>
                  <a:lnTo>
                    <a:pt x="19" y="90"/>
                  </a:lnTo>
                  <a:lnTo>
                    <a:pt x="18" y="90"/>
                  </a:lnTo>
                  <a:lnTo>
                    <a:pt x="17" y="89"/>
                  </a:lnTo>
                  <a:lnTo>
                    <a:pt x="18" y="91"/>
                  </a:lnTo>
                  <a:lnTo>
                    <a:pt x="17" y="91"/>
                  </a:lnTo>
                  <a:lnTo>
                    <a:pt x="17" y="92"/>
                  </a:lnTo>
                  <a:lnTo>
                    <a:pt x="16" y="92"/>
                  </a:lnTo>
                  <a:lnTo>
                    <a:pt x="13" y="91"/>
                  </a:lnTo>
                  <a:lnTo>
                    <a:pt x="13" y="90"/>
                  </a:lnTo>
                  <a:lnTo>
                    <a:pt x="13" y="89"/>
                  </a:lnTo>
                  <a:lnTo>
                    <a:pt x="13" y="90"/>
                  </a:lnTo>
                  <a:lnTo>
                    <a:pt x="12" y="90"/>
                  </a:lnTo>
                  <a:lnTo>
                    <a:pt x="11" y="89"/>
                  </a:lnTo>
                  <a:lnTo>
                    <a:pt x="9" y="88"/>
                  </a:lnTo>
                  <a:lnTo>
                    <a:pt x="10" y="88"/>
                  </a:lnTo>
                  <a:lnTo>
                    <a:pt x="11" y="86"/>
                  </a:lnTo>
                  <a:lnTo>
                    <a:pt x="11" y="85"/>
                  </a:lnTo>
                  <a:lnTo>
                    <a:pt x="10" y="84"/>
                  </a:lnTo>
                  <a:lnTo>
                    <a:pt x="10" y="86"/>
                  </a:lnTo>
                  <a:lnTo>
                    <a:pt x="9" y="88"/>
                  </a:lnTo>
                  <a:lnTo>
                    <a:pt x="9" y="86"/>
                  </a:lnTo>
                  <a:lnTo>
                    <a:pt x="10" y="85"/>
                  </a:lnTo>
                  <a:lnTo>
                    <a:pt x="9" y="86"/>
                  </a:lnTo>
                  <a:lnTo>
                    <a:pt x="7" y="86"/>
                  </a:lnTo>
                  <a:lnTo>
                    <a:pt x="9" y="85"/>
                  </a:lnTo>
                  <a:lnTo>
                    <a:pt x="9" y="84"/>
                  </a:lnTo>
                  <a:lnTo>
                    <a:pt x="9" y="85"/>
                  </a:lnTo>
                  <a:lnTo>
                    <a:pt x="10" y="84"/>
                  </a:lnTo>
                  <a:lnTo>
                    <a:pt x="9" y="83"/>
                  </a:lnTo>
                  <a:lnTo>
                    <a:pt x="7" y="84"/>
                  </a:lnTo>
                  <a:lnTo>
                    <a:pt x="7" y="85"/>
                  </a:lnTo>
                  <a:lnTo>
                    <a:pt x="7" y="84"/>
                  </a:lnTo>
                  <a:lnTo>
                    <a:pt x="9" y="83"/>
                  </a:lnTo>
                  <a:lnTo>
                    <a:pt x="9" y="82"/>
                  </a:lnTo>
                  <a:lnTo>
                    <a:pt x="9" y="83"/>
                  </a:lnTo>
                  <a:lnTo>
                    <a:pt x="9" y="82"/>
                  </a:lnTo>
                  <a:lnTo>
                    <a:pt x="9" y="80"/>
                  </a:lnTo>
                  <a:lnTo>
                    <a:pt x="10" y="79"/>
                  </a:lnTo>
                  <a:lnTo>
                    <a:pt x="7" y="80"/>
                  </a:lnTo>
                  <a:lnTo>
                    <a:pt x="7" y="79"/>
                  </a:lnTo>
                  <a:lnTo>
                    <a:pt x="7" y="78"/>
                  </a:lnTo>
                  <a:lnTo>
                    <a:pt x="6" y="78"/>
                  </a:lnTo>
                  <a:lnTo>
                    <a:pt x="7" y="79"/>
                  </a:lnTo>
                  <a:lnTo>
                    <a:pt x="6" y="79"/>
                  </a:lnTo>
                  <a:lnTo>
                    <a:pt x="5" y="79"/>
                  </a:lnTo>
                  <a:lnTo>
                    <a:pt x="5" y="80"/>
                  </a:lnTo>
                  <a:lnTo>
                    <a:pt x="5" y="82"/>
                  </a:lnTo>
                  <a:lnTo>
                    <a:pt x="4" y="82"/>
                  </a:lnTo>
                  <a:lnTo>
                    <a:pt x="3" y="82"/>
                  </a:lnTo>
                  <a:lnTo>
                    <a:pt x="4" y="82"/>
                  </a:lnTo>
                  <a:lnTo>
                    <a:pt x="4" y="83"/>
                  </a:lnTo>
                  <a:lnTo>
                    <a:pt x="3" y="83"/>
                  </a:lnTo>
                  <a:lnTo>
                    <a:pt x="1" y="82"/>
                  </a:lnTo>
                  <a:lnTo>
                    <a:pt x="0" y="83"/>
                  </a:lnTo>
                  <a:lnTo>
                    <a:pt x="0" y="84"/>
                  </a:lnTo>
                  <a:lnTo>
                    <a:pt x="1" y="83"/>
                  </a:lnTo>
                  <a:lnTo>
                    <a:pt x="1" y="84"/>
                  </a:lnTo>
                  <a:lnTo>
                    <a:pt x="3" y="84"/>
                  </a:lnTo>
                  <a:lnTo>
                    <a:pt x="3" y="83"/>
                  </a:lnTo>
                  <a:lnTo>
                    <a:pt x="4" y="84"/>
                  </a:lnTo>
                  <a:lnTo>
                    <a:pt x="5" y="84"/>
                  </a:lnTo>
                  <a:lnTo>
                    <a:pt x="6" y="85"/>
                  </a:lnTo>
                  <a:lnTo>
                    <a:pt x="5" y="85"/>
                  </a:lnTo>
                  <a:lnTo>
                    <a:pt x="5" y="86"/>
                  </a:lnTo>
                  <a:lnTo>
                    <a:pt x="6" y="86"/>
                  </a:lnTo>
                  <a:lnTo>
                    <a:pt x="7" y="86"/>
                  </a:lnTo>
                  <a:lnTo>
                    <a:pt x="9" y="86"/>
                  </a:lnTo>
                  <a:lnTo>
                    <a:pt x="7" y="86"/>
                  </a:lnTo>
                  <a:lnTo>
                    <a:pt x="6" y="86"/>
                  </a:lnTo>
                  <a:lnTo>
                    <a:pt x="7" y="86"/>
                  </a:lnTo>
                  <a:lnTo>
                    <a:pt x="7" y="88"/>
                  </a:lnTo>
                  <a:lnTo>
                    <a:pt x="7" y="89"/>
                  </a:lnTo>
                  <a:lnTo>
                    <a:pt x="6" y="88"/>
                  </a:lnTo>
                  <a:lnTo>
                    <a:pt x="6" y="89"/>
                  </a:lnTo>
                  <a:lnTo>
                    <a:pt x="5" y="89"/>
                  </a:lnTo>
                  <a:lnTo>
                    <a:pt x="5" y="88"/>
                  </a:lnTo>
                  <a:lnTo>
                    <a:pt x="4" y="88"/>
                  </a:lnTo>
                  <a:lnTo>
                    <a:pt x="5" y="88"/>
                  </a:lnTo>
                  <a:lnTo>
                    <a:pt x="4" y="88"/>
                  </a:lnTo>
                  <a:lnTo>
                    <a:pt x="4" y="89"/>
                  </a:lnTo>
                  <a:lnTo>
                    <a:pt x="3" y="89"/>
                  </a:lnTo>
                  <a:lnTo>
                    <a:pt x="4" y="90"/>
                  </a:lnTo>
                  <a:lnTo>
                    <a:pt x="4" y="91"/>
                  </a:lnTo>
                  <a:lnTo>
                    <a:pt x="4" y="92"/>
                  </a:lnTo>
                  <a:lnTo>
                    <a:pt x="4" y="91"/>
                  </a:lnTo>
                  <a:lnTo>
                    <a:pt x="4" y="90"/>
                  </a:lnTo>
                  <a:lnTo>
                    <a:pt x="5" y="90"/>
                  </a:lnTo>
                  <a:lnTo>
                    <a:pt x="5" y="91"/>
                  </a:lnTo>
                  <a:lnTo>
                    <a:pt x="6" y="90"/>
                  </a:lnTo>
                  <a:lnTo>
                    <a:pt x="6" y="91"/>
                  </a:lnTo>
                  <a:lnTo>
                    <a:pt x="7" y="91"/>
                  </a:lnTo>
                  <a:lnTo>
                    <a:pt x="6" y="92"/>
                  </a:lnTo>
                  <a:lnTo>
                    <a:pt x="7" y="92"/>
                  </a:lnTo>
                  <a:lnTo>
                    <a:pt x="7" y="91"/>
                  </a:lnTo>
                  <a:lnTo>
                    <a:pt x="9" y="91"/>
                  </a:lnTo>
                  <a:lnTo>
                    <a:pt x="11" y="91"/>
                  </a:lnTo>
                  <a:lnTo>
                    <a:pt x="12" y="92"/>
                  </a:lnTo>
                  <a:lnTo>
                    <a:pt x="15" y="92"/>
                  </a:lnTo>
                  <a:lnTo>
                    <a:pt x="16" y="94"/>
                  </a:lnTo>
                  <a:lnTo>
                    <a:pt x="17" y="95"/>
                  </a:lnTo>
                  <a:lnTo>
                    <a:pt x="17" y="96"/>
                  </a:lnTo>
                  <a:lnTo>
                    <a:pt x="18" y="97"/>
                  </a:lnTo>
                  <a:lnTo>
                    <a:pt x="18" y="96"/>
                  </a:lnTo>
                  <a:lnTo>
                    <a:pt x="18" y="95"/>
                  </a:lnTo>
                  <a:lnTo>
                    <a:pt x="18" y="96"/>
                  </a:lnTo>
                  <a:lnTo>
                    <a:pt x="19" y="95"/>
                  </a:lnTo>
                  <a:lnTo>
                    <a:pt x="21" y="95"/>
                  </a:lnTo>
                  <a:lnTo>
                    <a:pt x="21" y="96"/>
                  </a:lnTo>
                  <a:lnTo>
                    <a:pt x="22" y="95"/>
                  </a:lnTo>
                  <a:lnTo>
                    <a:pt x="22" y="96"/>
                  </a:lnTo>
                  <a:lnTo>
                    <a:pt x="22" y="97"/>
                  </a:lnTo>
                  <a:lnTo>
                    <a:pt x="23" y="96"/>
                  </a:lnTo>
                  <a:lnTo>
                    <a:pt x="23" y="97"/>
                  </a:lnTo>
                  <a:lnTo>
                    <a:pt x="24" y="97"/>
                  </a:lnTo>
                  <a:lnTo>
                    <a:pt x="24" y="98"/>
                  </a:lnTo>
                  <a:lnTo>
                    <a:pt x="25" y="97"/>
                  </a:lnTo>
                  <a:lnTo>
                    <a:pt x="27" y="97"/>
                  </a:lnTo>
                  <a:lnTo>
                    <a:pt x="27" y="98"/>
                  </a:lnTo>
                  <a:lnTo>
                    <a:pt x="27" y="100"/>
                  </a:lnTo>
                  <a:lnTo>
                    <a:pt x="28" y="102"/>
                  </a:lnTo>
                  <a:lnTo>
                    <a:pt x="27" y="102"/>
                  </a:lnTo>
                  <a:lnTo>
                    <a:pt x="25" y="101"/>
                  </a:lnTo>
                  <a:lnTo>
                    <a:pt x="27" y="101"/>
                  </a:lnTo>
                  <a:lnTo>
                    <a:pt x="25" y="101"/>
                  </a:lnTo>
                  <a:lnTo>
                    <a:pt x="25" y="102"/>
                  </a:lnTo>
                  <a:lnTo>
                    <a:pt x="24" y="102"/>
                  </a:lnTo>
                  <a:lnTo>
                    <a:pt x="24" y="103"/>
                  </a:lnTo>
                  <a:lnTo>
                    <a:pt x="25" y="104"/>
                  </a:lnTo>
                  <a:lnTo>
                    <a:pt x="24" y="106"/>
                  </a:lnTo>
                  <a:lnTo>
                    <a:pt x="23" y="107"/>
                  </a:lnTo>
                  <a:lnTo>
                    <a:pt x="23" y="108"/>
                  </a:lnTo>
                  <a:lnTo>
                    <a:pt x="22" y="107"/>
                  </a:lnTo>
                  <a:lnTo>
                    <a:pt x="22" y="108"/>
                  </a:lnTo>
                  <a:lnTo>
                    <a:pt x="21" y="108"/>
                  </a:lnTo>
                  <a:lnTo>
                    <a:pt x="21" y="109"/>
                  </a:lnTo>
                  <a:lnTo>
                    <a:pt x="19" y="109"/>
                  </a:lnTo>
                  <a:lnTo>
                    <a:pt x="18" y="109"/>
                  </a:lnTo>
                  <a:lnTo>
                    <a:pt x="17" y="109"/>
                  </a:lnTo>
                  <a:lnTo>
                    <a:pt x="16" y="110"/>
                  </a:lnTo>
                  <a:lnTo>
                    <a:pt x="17" y="110"/>
                  </a:lnTo>
                  <a:lnTo>
                    <a:pt x="17" y="112"/>
                  </a:lnTo>
                  <a:lnTo>
                    <a:pt x="17" y="110"/>
                  </a:lnTo>
                  <a:lnTo>
                    <a:pt x="17" y="112"/>
                  </a:lnTo>
                  <a:lnTo>
                    <a:pt x="17" y="113"/>
                  </a:lnTo>
                  <a:lnTo>
                    <a:pt x="18" y="112"/>
                  </a:lnTo>
                  <a:lnTo>
                    <a:pt x="19" y="112"/>
                  </a:lnTo>
                  <a:lnTo>
                    <a:pt x="19" y="113"/>
                  </a:lnTo>
                  <a:lnTo>
                    <a:pt x="19" y="114"/>
                  </a:lnTo>
                  <a:lnTo>
                    <a:pt x="21" y="113"/>
                  </a:lnTo>
                  <a:lnTo>
                    <a:pt x="21" y="114"/>
                  </a:lnTo>
                  <a:lnTo>
                    <a:pt x="21" y="115"/>
                  </a:lnTo>
                  <a:lnTo>
                    <a:pt x="22" y="114"/>
                  </a:lnTo>
                  <a:lnTo>
                    <a:pt x="23" y="113"/>
                  </a:lnTo>
                  <a:lnTo>
                    <a:pt x="23" y="114"/>
                  </a:lnTo>
                  <a:lnTo>
                    <a:pt x="23" y="115"/>
                  </a:lnTo>
                  <a:lnTo>
                    <a:pt x="22" y="115"/>
                  </a:lnTo>
                  <a:lnTo>
                    <a:pt x="23" y="115"/>
                  </a:lnTo>
                  <a:lnTo>
                    <a:pt x="24" y="115"/>
                  </a:lnTo>
                  <a:lnTo>
                    <a:pt x="23" y="117"/>
                  </a:lnTo>
                  <a:lnTo>
                    <a:pt x="23" y="118"/>
                  </a:lnTo>
                  <a:lnTo>
                    <a:pt x="21" y="118"/>
                  </a:lnTo>
                  <a:lnTo>
                    <a:pt x="19" y="117"/>
                  </a:lnTo>
                  <a:lnTo>
                    <a:pt x="18" y="117"/>
                  </a:lnTo>
                  <a:lnTo>
                    <a:pt x="18" y="115"/>
                  </a:lnTo>
                  <a:lnTo>
                    <a:pt x="17" y="115"/>
                  </a:lnTo>
                  <a:lnTo>
                    <a:pt x="16" y="115"/>
                  </a:lnTo>
                  <a:lnTo>
                    <a:pt x="15" y="115"/>
                  </a:lnTo>
                  <a:lnTo>
                    <a:pt x="13" y="115"/>
                  </a:lnTo>
                  <a:lnTo>
                    <a:pt x="13" y="117"/>
                  </a:lnTo>
                  <a:lnTo>
                    <a:pt x="12" y="118"/>
                  </a:lnTo>
                  <a:lnTo>
                    <a:pt x="13" y="117"/>
                  </a:lnTo>
                  <a:lnTo>
                    <a:pt x="12" y="117"/>
                  </a:lnTo>
                  <a:lnTo>
                    <a:pt x="11" y="117"/>
                  </a:lnTo>
                  <a:lnTo>
                    <a:pt x="11" y="118"/>
                  </a:lnTo>
                  <a:lnTo>
                    <a:pt x="10" y="119"/>
                  </a:lnTo>
                  <a:lnTo>
                    <a:pt x="10" y="120"/>
                  </a:lnTo>
                  <a:lnTo>
                    <a:pt x="9" y="120"/>
                  </a:lnTo>
                  <a:lnTo>
                    <a:pt x="9" y="119"/>
                  </a:lnTo>
                  <a:lnTo>
                    <a:pt x="9" y="118"/>
                  </a:lnTo>
                  <a:lnTo>
                    <a:pt x="9" y="119"/>
                  </a:lnTo>
                  <a:lnTo>
                    <a:pt x="7" y="119"/>
                  </a:lnTo>
                  <a:lnTo>
                    <a:pt x="7" y="118"/>
                  </a:lnTo>
                  <a:lnTo>
                    <a:pt x="6" y="118"/>
                  </a:lnTo>
                  <a:lnTo>
                    <a:pt x="5" y="119"/>
                  </a:lnTo>
                  <a:lnTo>
                    <a:pt x="5" y="120"/>
                  </a:lnTo>
                  <a:lnTo>
                    <a:pt x="4" y="120"/>
                  </a:lnTo>
                  <a:lnTo>
                    <a:pt x="4" y="121"/>
                  </a:lnTo>
                  <a:lnTo>
                    <a:pt x="4" y="123"/>
                  </a:lnTo>
                  <a:lnTo>
                    <a:pt x="4" y="124"/>
                  </a:lnTo>
                  <a:lnTo>
                    <a:pt x="4" y="123"/>
                  </a:lnTo>
                  <a:lnTo>
                    <a:pt x="5" y="123"/>
                  </a:lnTo>
                  <a:lnTo>
                    <a:pt x="5" y="125"/>
                  </a:lnTo>
                  <a:lnTo>
                    <a:pt x="5" y="126"/>
                  </a:lnTo>
                  <a:lnTo>
                    <a:pt x="6" y="127"/>
                  </a:lnTo>
                  <a:lnTo>
                    <a:pt x="6" y="130"/>
                  </a:lnTo>
                  <a:lnTo>
                    <a:pt x="6" y="129"/>
                  </a:lnTo>
                  <a:lnTo>
                    <a:pt x="7" y="127"/>
                  </a:lnTo>
                  <a:lnTo>
                    <a:pt x="7" y="129"/>
                  </a:lnTo>
                  <a:lnTo>
                    <a:pt x="9" y="129"/>
                  </a:lnTo>
                  <a:lnTo>
                    <a:pt x="10" y="127"/>
                  </a:lnTo>
                  <a:lnTo>
                    <a:pt x="10" y="126"/>
                  </a:lnTo>
                  <a:lnTo>
                    <a:pt x="10" y="127"/>
                  </a:lnTo>
                  <a:lnTo>
                    <a:pt x="11" y="126"/>
                  </a:lnTo>
                  <a:lnTo>
                    <a:pt x="11" y="129"/>
                  </a:lnTo>
                  <a:lnTo>
                    <a:pt x="12" y="127"/>
                  </a:lnTo>
                  <a:lnTo>
                    <a:pt x="12" y="129"/>
                  </a:lnTo>
                  <a:lnTo>
                    <a:pt x="12" y="130"/>
                  </a:lnTo>
                  <a:lnTo>
                    <a:pt x="13" y="129"/>
                  </a:lnTo>
                  <a:lnTo>
                    <a:pt x="13" y="130"/>
                  </a:lnTo>
                  <a:lnTo>
                    <a:pt x="15" y="130"/>
                  </a:lnTo>
                  <a:lnTo>
                    <a:pt x="15" y="131"/>
                  </a:lnTo>
                  <a:lnTo>
                    <a:pt x="16" y="130"/>
                  </a:lnTo>
                  <a:lnTo>
                    <a:pt x="16" y="132"/>
                  </a:lnTo>
                  <a:lnTo>
                    <a:pt x="17" y="133"/>
                  </a:lnTo>
                  <a:lnTo>
                    <a:pt x="17" y="135"/>
                  </a:lnTo>
                  <a:lnTo>
                    <a:pt x="16" y="135"/>
                  </a:lnTo>
                  <a:lnTo>
                    <a:pt x="15" y="136"/>
                  </a:lnTo>
                  <a:lnTo>
                    <a:pt x="15" y="138"/>
                  </a:lnTo>
                  <a:lnTo>
                    <a:pt x="15" y="139"/>
                  </a:lnTo>
                  <a:lnTo>
                    <a:pt x="15" y="137"/>
                  </a:lnTo>
                  <a:lnTo>
                    <a:pt x="16" y="136"/>
                  </a:lnTo>
                  <a:lnTo>
                    <a:pt x="16" y="137"/>
                  </a:lnTo>
                  <a:lnTo>
                    <a:pt x="16" y="138"/>
                  </a:lnTo>
                  <a:lnTo>
                    <a:pt x="17" y="138"/>
                  </a:lnTo>
                  <a:lnTo>
                    <a:pt x="16" y="139"/>
                  </a:lnTo>
                  <a:lnTo>
                    <a:pt x="15" y="139"/>
                  </a:lnTo>
                  <a:lnTo>
                    <a:pt x="13" y="141"/>
                  </a:lnTo>
                  <a:lnTo>
                    <a:pt x="13" y="143"/>
                  </a:lnTo>
                  <a:lnTo>
                    <a:pt x="13" y="142"/>
                  </a:lnTo>
                  <a:lnTo>
                    <a:pt x="15" y="141"/>
                  </a:lnTo>
                  <a:lnTo>
                    <a:pt x="15" y="142"/>
                  </a:lnTo>
                  <a:lnTo>
                    <a:pt x="16" y="142"/>
                  </a:lnTo>
                  <a:lnTo>
                    <a:pt x="16" y="141"/>
                  </a:lnTo>
                  <a:lnTo>
                    <a:pt x="16" y="143"/>
                  </a:lnTo>
                  <a:lnTo>
                    <a:pt x="17" y="142"/>
                  </a:lnTo>
                  <a:lnTo>
                    <a:pt x="17" y="144"/>
                  </a:lnTo>
                  <a:lnTo>
                    <a:pt x="17" y="145"/>
                  </a:lnTo>
                  <a:lnTo>
                    <a:pt x="16" y="147"/>
                  </a:lnTo>
                  <a:lnTo>
                    <a:pt x="17" y="145"/>
                  </a:lnTo>
                  <a:lnTo>
                    <a:pt x="17" y="148"/>
                  </a:lnTo>
                  <a:lnTo>
                    <a:pt x="18" y="149"/>
                  </a:lnTo>
                  <a:lnTo>
                    <a:pt x="17" y="150"/>
                  </a:lnTo>
                  <a:lnTo>
                    <a:pt x="18" y="150"/>
                  </a:lnTo>
                  <a:lnTo>
                    <a:pt x="18" y="151"/>
                  </a:lnTo>
                  <a:lnTo>
                    <a:pt x="18" y="153"/>
                  </a:lnTo>
                  <a:lnTo>
                    <a:pt x="19" y="153"/>
                  </a:lnTo>
                  <a:lnTo>
                    <a:pt x="19" y="155"/>
                  </a:lnTo>
                  <a:lnTo>
                    <a:pt x="19" y="153"/>
                  </a:lnTo>
                  <a:lnTo>
                    <a:pt x="21" y="154"/>
                  </a:lnTo>
                  <a:lnTo>
                    <a:pt x="19" y="154"/>
                  </a:lnTo>
                  <a:lnTo>
                    <a:pt x="21" y="156"/>
                  </a:lnTo>
                  <a:lnTo>
                    <a:pt x="19" y="156"/>
                  </a:lnTo>
                  <a:lnTo>
                    <a:pt x="18" y="157"/>
                  </a:lnTo>
                  <a:lnTo>
                    <a:pt x="17" y="156"/>
                  </a:lnTo>
                  <a:lnTo>
                    <a:pt x="17" y="159"/>
                  </a:lnTo>
                  <a:lnTo>
                    <a:pt x="17" y="160"/>
                  </a:lnTo>
                  <a:lnTo>
                    <a:pt x="17" y="159"/>
                  </a:lnTo>
                  <a:lnTo>
                    <a:pt x="18" y="160"/>
                  </a:lnTo>
                  <a:lnTo>
                    <a:pt x="19" y="160"/>
                  </a:lnTo>
                  <a:lnTo>
                    <a:pt x="19" y="159"/>
                  </a:lnTo>
                  <a:lnTo>
                    <a:pt x="19" y="160"/>
                  </a:lnTo>
                  <a:lnTo>
                    <a:pt x="21" y="161"/>
                  </a:lnTo>
                  <a:lnTo>
                    <a:pt x="22" y="160"/>
                  </a:lnTo>
                  <a:lnTo>
                    <a:pt x="23" y="160"/>
                  </a:lnTo>
                  <a:lnTo>
                    <a:pt x="24" y="159"/>
                  </a:lnTo>
                  <a:lnTo>
                    <a:pt x="24" y="157"/>
                  </a:lnTo>
                  <a:lnTo>
                    <a:pt x="24" y="160"/>
                  </a:lnTo>
                  <a:lnTo>
                    <a:pt x="25" y="161"/>
                  </a:lnTo>
                  <a:lnTo>
                    <a:pt x="27" y="161"/>
                  </a:lnTo>
                  <a:lnTo>
                    <a:pt x="28" y="160"/>
                  </a:lnTo>
                  <a:lnTo>
                    <a:pt x="28" y="161"/>
                  </a:lnTo>
                  <a:lnTo>
                    <a:pt x="28" y="162"/>
                  </a:lnTo>
                  <a:lnTo>
                    <a:pt x="29" y="160"/>
                  </a:lnTo>
                  <a:lnTo>
                    <a:pt x="30" y="159"/>
                  </a:lnTo>
                  <a:lnTo>
                    <a:pt x="30" y="157"/>
                  </a:lnTo>
                  <a:lnTo>
                    <a:pt x="30" y="156"/>
                  </a:lnTo>
                  <a:lnTo>
                    <a:pt x="31" y="157"/>
                  </a:lnTo>
                  <a:lnTo>
                    <a:pt x="30" y="160"/>
                  </a:lnTo>
                  <a:lnTo>
                    <a:pt x="30" y="161"/>
                  </a:lnTo>
                  <a:lnTo>
                    <a:pt x="30" y="160"/>
                  </a:lnTo>
                  <a:lnTo>
                    <a:pt x="31" y="159"/>
                  </a:lnTo>
                  <a:lnTo>
                    <a:pt x="31" y="157"/>
                  </a:lnTo>
                  <a:lnTo>
                    <a:pt x="33" y="157"/>
                  </a:lnTo>
                  <a:lnTo>
                    <a:pt x="33" y="156"/>
                  </a:lnTo>
                  <a:lnTo>
                    <a:pt x="34" y="156"/>
                  </a:lnTo>
                  <a:lnTo>
                    <a:pt x="34" y="155"/>
                  </a:lnTo>
                  <a:lnTo>
                    <a:pt x="35" y="155"/>
                  </a:lnTo>
                  <a:lnTo>
                    <a:pt x="37" y="154"/>
                  </a:lnTo>
                  <a:lnTo>
                    <a:pt x="39" y="154"/>
                  </a:lnTo>
                  <a:lnTo>
                    <a:pt x="39" y="155"/>
                  </a:lnTo>
                  <a:lnTo>
                    <a:pt x="39" y="156"/>
                  </a:lnTo>
                  <a:lnTo>
                    <a:pt x="40" y="157"/>
                  </a:lnTo>
                  <a:lnTo>
                    <a:pt x="39" y="157"/>
                  </a:lnTo>
                  <a:lnTo>
                    <a:pt x="37" y="157"/>
                  </a:lnTo>
                  <a:lnTo>
                    <a:pt x="36" y="157"/>
                  </a:lnTo>
                  <a:lnTo>
                    <a:pt x="35" y="157"/>
                  </a:lnTo>
                  <a:lnTo>
                    <a:pt x="35" y="156"/>
                  </a:lnTo>
                  <a:lnTo>
                    <a:pt x="34" y="156"/>
                  </a:lnTo>
                  <a:lnTo>
                    <a:pt x="34" y="157"/>
                  </a:lnTo>
                  <a:lnTo>
                    <a:pt x="35" y="157"/>
                  </a:lnTo>
                  <a:lnTo>
                    <a:pt x="34" y="159"/>
                  </a:lnTo>
                  <a:lnTo>
                    <a:pt x="33" y="159"/>
                  </a:lnTo>
                  <a:lnTo>
                    <a:pt x="31" y="159"/>
                  </a:lnTo>
                  <a:lnTo>
                    <a:pt x="31" y="160"/>
                  </a:lnTo>
                  <a:lnTo>
                    <a:pt x="31" y="161"/>
                  </a:lnTo>
                  <a:lnTo>
                    <a:pt x="31" y="163"/>
                  </a:lnTo>
                  <a:lnTo>
                    <a:pt x="29" y="165"/>
                  </a:lnTo>
                  <a:lnTo>
                    <a:pt x="28" y="165"/>
                  </a:lnTo>
                  <a:lnTo>
                    <a:pt x="28" y="163"/>
                  </a:lnTo>
                  <a:lnTo>
                    <a:pt x="27" y="163"/>
                  </a:lnTo>
                  <a:lnTo>
                    <a:pt x="25" y="163"/>
                  </a:lnTo>
                  <a:lnTo>
                    <a:pt x="27" y="165"/>
                  </a:lnTo>
                  <a:lnTo>
                    <a:pt x="28" y="165"/>
                  </a:lnTo>
                  <a:lnTo>
                    <a:pt x="27" y="165"/>
                  </a:lnTo>
                  <a:lnTo>
                    <a:pt x="25" y="166"/>
                  </a:lnTo>
                  <a:lnTo>
                    <a:pt x="24" y="166"/>
                  </a:lnTo>
                  <a:lnTo>
                    <a:pt x="23" y="167"/>
                  </a:lnTo>
                  <a:lnTo>
                    <a:pt x="23" y="169"/>
                  </a:lnTo>
                  <a:lnTo>
                    <a:pt x="24" y="171"/>
                  </a:lnTo>
                  <a:lnTo>
                    <a:pt x="25" y="171"/>
                  </a:lnTo>
                  <a:lnTo>
                    <a:pt x="25" y="172"/>
                  </a:lnTo>
                  <a:lnTo>
                    <a:pt x="25" y="171"/>
                  </a:lnTo>
                  <a:lnTo>
                    <a:pt x="27" y="171"/>
                  </a:lnTo>
                  <a:lnTo>
                    <a:pt x="27" y="172"/>
                  </a:lnTo>
                  <a:lnTo>
                    <a:pt x="28" y="171"/>
                  </a:lnTo>
                  <a:lnTo>
                    <a:pt x="28" y="172"/>
                  </a:lnTo>
                  <a:lnTo>
                    <a:pt x="29" y="173"/>
                  </a:lnTo>
                  <a:lnTo>
                    <a:pt x="30" y="173"/>
                  </a:lnTo>
                  <a:lnTo>
                    <a:pt x="29" y="174"/>
                  </a:lnTo>
                  <a:lnTo>
                    <a:pt x="29" y="173"/>
                  </a:lnTo>
                  <a:lnTo>
                    <a:pt x="28" y="174"/>
                  </a:lnTo>
                  <a:lnTo>
                    <a:pt x="27" y="177"/>
                  </a:lnTo>
                  <a:lnTo>
                    <a:pt x="28" y="177"/>
                  </a:lnTo>
                  <a:lnTo>
                    <a:pt x="28" y="178"/>
                  </a:lnTo>
                  <a:lnTo>
                    <a:pt x="27" y="178"/>
                  </a:lnTo>
                  <a:lnTo>
                    <a:pt x="27" y="179"/>
                  </a:lnTo>
                  <a:lnTo>
                    <a:pt x="27" y="180"/>
                  </a:lnTo>
                  <a:lnTo>
                    <a:pt x="27" y="179"/>
                  </a:lnTo>
                  <a:lnTo>
                    <a:pt x="28" y="178"/>
                  </a:lnTo>
                  <a:lnTo>
                    <a:pt x="28" y="179"/>
                  </a:lnTo>
                  <a:lnTo>
                    <a:pt x="29" y="180"/>
                  </a:lnTo>
                  <a:lnTo>
                    <a:pt x="29" y="181"/>
                  </a:lnTo>
                  <a:lnTo>
                    <a:pt x="30" y="183"/>
                  </a:lnTo>
                  <a:lnTo>
                    <a:pt x="30" y="181"/>
                  </a:lnTo>
                  <a:lnTo>
                    <a:pt x="31" y="180"/>
                  </a:lnTo>
                  <a:lnTo>
                    <a:pt x="33" y="179"/>
                  </a:lnTo>
                  <a:lnTo>
                    <a:pt x="33" y="180"/>
                  </a:lnTo>
                  <a:lnTo>
                    <a:pt x="34" y="179"/>
                  </a:lnTo>
                  <a:lnTo>
                    <a:pt x="34" y="180"/>
                  </a:lnTo>
                  <a:lnTo>
                    <a:pt x="35" y="180"/>
                  </a:lnTo>
                  <a:lnTo>
                    <a:pt x="35" y="178"/>
                  </a:lnTo>
                  <a:lnTo>
                    <a:pt x="34" y="178"/>
                  </a:lnTo>
                  <a:lnTo>
                    <a:pt x="35" y="177"/>
                  </a:lnTo>
                  <a:lnTo>
                    <a:pt x="36" y="177"/>
                  </a:lnTo>
                  <a:lnTo>
                    <a:pt x="36" y="178"/>
                  </a:lnTo>
                  <a:lnTo>
                    <a:pt x="36" y="177"/>
                  </a:lnTo>
                  <a:lnTo>
                    <a:pt x="36" y="175"/>
                  </a:lnTo>
                  <a:lnTo>
                    <a:pt x="36" y="174"/>
                  </a:lnTo>
                  <a:lnTo>
                    <a:pt x="37" y="174"/>
                  </a:lnTo>
                  <a:lnTo>
                    <a:pt x="37" y="175"/>
                  </a:lnTo>
                  <a:lnTo>
                    <a:pt x="39" y="174"/>
                  </a:lnTo>
                  <a:lnTo>
                    <a:pt x="40" y="173"/>
                  </a:lnTo>
                  <a:lnTo>
                    <a:pt x="41" y="172"/>
                  </a:lnTo>
                  <a:lnTo>
                    <a:pt x="41" y="171"/>
                  </a:lnTo>
                  <a:lnTo>
                    <a:pt x="41" y="169"/>
                  </a:lnTo>
                  <a:lnTo>
                    <a:pt x="41" y="171"/>
                  </a:lnTo>
                  <a:lnTo>
                    <a:pt x="41" y="169"/>
                  </a:lnTo>
                  <a:lnTo>
                    <a:pt x="42" y="169"/>
                  </a:lnTo>
                  <a:lnTo>
                    <a:pt x="43" y="168"/>
                  </a:lnTo>
                  <a:lnTo>
                    <a:pt x="43" y="169"/>
                  </a:lnTo>
                  <a:lnTo>
                    <a:pt x="43" y="171"/>
                  </a:lnTo>
                  <a:lnTo>
                    <a:pt x="45" y="169"/>
                  </a:lnTo>
                  <a:lnTo>
                    <a:pt x="45" y="171"/>
                  </a:lnTo>
                  <a:lnTo>
                    <a:pt x="45" y="169"/>
                  </a:lnTo>
                  <a:lnTo>
                    <a:pt x="46" y="171"/>
                  </a:lnTo>
                  <a:lnTo>
                    <a:pt x="46" y="169"/>
                  </a:lnTo>
                  <a:lnTo>
                    <a:pt x="47" y="169"/>
                  </a:lnTo>
                  <a:lnTo>
                    <a:pt x="47" y="171"/>
                  </a:lnTo>
                  <a:lnTo>
                    <a:pt x="47" y="172"/>
                  </a:lnTo>
                  <a:lnTo>
                    <a:pt x="48" y="173"/>
                  </a:lnTo>
                  <a:lnTo>
                    <a:pt x="48" y="174"/>
                  </a:lnTo>
                  <a:lnTo>
                    <a:pt x="48" y="175"/>
                  </a:lnTo>
                  <a:lnTo>
                    <a:pt x="48" y="174"/>
                  </a:lnTo>
                  <a:lnTo>
                    <a:pt x="47" y="174"/>
                  </a:lnTo>
                  <a:lnTo>
                    <a:pt x="47" y="175"/>
                  </a:lnTo>
                  <a:lnTo>
                    <a:pt x="46" y="177"/>
                  </a:lnTo>
                  <a:lnTo>
                    <a:pt x="46" y="175"/>
                  </a:lnTo>
                  <a:lnTo>
                    <a:pt x="46" y="174"/>
                  </a:lnTo>
                  <a:lnTo>
                    <a:pt x="46" y="175"/>
                  </a:lnTo>
                  <a:lnTo>
                    <a:pt x="45" y="175"/>
                  </a:lnTo>
                  <a:lnTo>
                    <a:pt x="45" y="177"/>
                  </a:lnTo>
                  <a:lnTo>
                    <a:pt x="43" y="178"/>
                  </a:lnTo>
                  <a:lnTo>
                    <a:pt x="45" y="179"/>
                  </a:lnTo>
                  <a:lnTo>
                    <a:pt x="43" y="180"/>
                  </a:lnTo>
                  <a:lnTo>
                    <a:pt x="43" y="181"/>
                  </a:lnTo>
                  <a:lnTo>
                    <a:pt x="45" y="180"/>
                  </a:lnTo>
                  <a:lnTo>
                    <a:pt x="45" y="181"/>
                  </a:lnTo>
                  <a:lnTo>
                    <a:pt x="46" y="180"/>
                  </a:lnTo>
                  <a:lnTo>
                    <a:pt x="47" y="181"/>
                  </a:lnTo>
                  <a:lnTo>
                    <a:pt x="47" y="180"/>
                  </a:lnTo>
                  <a:lnTo>
                    <a:pt x="47" y="181"/>
                  </a:lnTo>
                  <a:lnTo>
                    <a:pt x="48" y="181"/>
                  </a:lnTo>
                  <a:lnTo>
                    <a:pt x="48" y="183"/>
                  </a:lnTo>
                  <a:lnTo>
                    <a:pt x="50" y="181"/>
                  </a:lnTo>
                  <a:lnTo>
                    <a:pt x="50" y="180"/>
                  </a:lnTo>
                  <a:lnTo>
                    <a:pt x="51" y="179"/>
                  </a:lnTo>
                  <a:lnTo>
                    <a:pt x="51" y="178"/>
                  </a:lnTo>
                  <a:lnTo>
                    <a:pt x="51" y="179"/>
                  </a:lnTo>
                  <a:lnTo>
                    <a:pt x="51" y="180"/>
                  </a:lnTo>
                  <a:lnTo>
                    <a:pt x="52" y="180"/>
                  </a:lnTo>
                  <a:lnTo>
                    <a:pt x="52" y="178"/>
                  </a:lnTo>
                  <a:lnTo>
                    <a:pt x="52" y="179"/>
                  </a:lnTo>
                  <a:lnTo>
                    <a:pt x="53" y="179"/>
                  </a:lnTo>
                  <a:lnTo>
                    <a:pt x="53" y="180"/>
                  </a:lnTo>
                  <a:lnTo>
                    <a:pt x="53" y="179"/>
                  </a:lnTo>
                  <a:lnTo>
                    <a:pt x="54" y="178"/>
                  </a:lnTo>
                  <a:lnTo>
                    <a:pt x="54" y="177"/>
                  </a:lnTo>
                  <a:lnTo>
                    <a:pt x="54" y="179"/>
                  </a:lnTo>
                  <a:lnTo>
                    <a:pt x="54" y="177"/>
                  </a:lnTo>
                  <a:lnTo>
                    <a:pt x="54" y="175"/>
                  </a:lnTo>
                  <a:lnTo>
                    <a:pt x="54" y="174"/>
                  </a:lnTo>
                  <a:lnTo>
                    <a:pt x="54" y="173"/>
                  </a:lnTo>
                  <a:lnTo>
                    <a:pt x="54" y="172"/>
                  </a:lnTo>
                  <a:lnTo>
                    <a:pt x="56" y="171"/>
                  </a:lnTo>
                  <a:lnTo>
                    <a:pt x="57" y="169"/>
                  </a:lnTo>
                  <a:lnTo>
                    <a:pt x="57" y="171"/>
                  </a:lnTo>
                  <a:lnTo>
                    <a:pt x="57" y="169"/>
                  </a:lnTo>
                  <a:lnTo>
                    <a:pt x="57" y="168"/>
                  </a:lnTo>
                  <a:lnTo>
                    <a:pt x="58" y="167"/>
                  </a:lnTo>
                  <a:lnTo>
                    <a:pt x="59" y="166"/>
                  </a:lnTo>
                  <a:lnTo>
                    <a:pt x="59" y="165"/>
                  </a:lnTo>
                  <a:lnTo>
                    <a:pt x="60" y="165"/>
                  </a:lnTo>
                  <a:lnTo>
                    <a:pt x="60" y="163"/>
                  </a:lnTo>
                  <a:lnTo>
                    <a:pt x="62" y="162"/>
                  </a:lnTo>
                  <a:lnTo>
                    <a:pt x="63" y="163"/>
                  </a:lnTo>
                  <a:lnTo>
                    <a:pt x="64" y="163"/>
                  </a:lnTo>
                  <a:lnTo>
                    <a:pt x="64" y="162"/>
                  </a:lnTo>
                  <a:lnTo>
                    <a:pt x="65" y="162"/>
                  </a:lnTo>
                  <a:lnTo>
                    <a:pt x="65" y="163"/>
                  </a:lnTo>
                  <a:lnTo>
                    <a:pt x="64" y="166"/>
                  </a:lnTo>
                  <a:lnTo>
                    <a:pt x="63" y="167"/>
                  </a:lnTo>
                  <a:lnTo>
                    <a:pt x="63" y="168"/>
                  </a:lnTo>
                  <a:lnTo>
                    <a:pt x="62" y="171"/>
                  </a:lnTo>
                  <a:lnTo>
                    <a:pt x="60" y="172"/>
                  </a:lnTo>
                  <a:lnTo>
                    <a:pt x="60" y="173"/>
                  </a:lnTo>
                  <a:lnTo>
                    <a:pt x="60" y="174"/>
                  </a:lnTo>
                  <a:lnTo>
                    <a:pt x="60" y="175"/>
                  </a:lnTo>
                  <a:lnTo>
                    <a:pt x="60" y="174"/>
                  </a:lnTo>
                  <a:lnTo>
                    <a:pt x="62" y="174"/>
                  </a:lnTo>
                  <a:lnTo>
                    <a:pt x="62" y="175"/>
                  </a:lnTo>
                  <a:lnTo>
                    <a:pt x="62" y="178"/>
                  </a:lnTo>
                  <a:lnTo>
                    <a:pt x="62" y="179"/>
                  </a:lnTo>
                  <a:lnTo>
                    <a:pt x="62" y="180"/>
                  </a:lnTo>
                  <a:lnTo>
                    <a:pt x="62" y="179"/>
                  </a:lnTo>
                  <a:lnTo>
                    <a:pt x="62" y="178"/>
                  </a:lnTo>
                  <a:lnTo>
                    <a:pt x="63" y="178"/>
                  </a:lnTo>
                  <a:lnTo>
                    <a:pt x="63" y="179"/>
                  </a:lnTo>
                  <a:lnTo>
                    <a:pt x="64" y="179"/>
                  </a:lnTo>
                  <a:lnTo>
                    <a:pt x="63" y="178"/>
                  </a:lnTo>
                  <a:lnTo>
                    <a:pt x="63" y="177"/>
                  </a:lnTo>
                  <a:lnTo>
                    <a:pt x="64" y="177"/>
                  </a:lnTo>
                  <a:lnTo>
                    <a:pt x="64" y="178"/>
                  </a:lnTo>
                  <a:lnTo>
                    <a:pt x="65" y="177"/>
                  </a:lnTo>
                  <a:lnTo>
                    <a:pt x="65" y="178"/>
                  </a:lnTo>
                  <a:lnTo>
                    <a:pt x="66" y="179"/>
                  </a:lnTo>
                  <a:lnTo>
                    <a:pt x="66" y="180"/>
                  </a:lnTo>
                  <a:lnTo>
                    <a:pt x="66" y="179"/>
                  </a:lnTo>
                  <a:lnTo>
                    <a:pt x="68" y="179"/>
                  </a:lnTo>
                  <a:lnTo>
                    <a:pt x="69" y="179"/>
                  </a:lnTo>
                  <a:lnTo>
                    <a:pt x="68" y="180"/>
                  </a:lnTo>
                  <a:lnTo>
                    <a:pt x="68" y="181"/>
                  </a:lnTo>
                  <a:lnTo>
                    <a:pt x="68" y="183"/>
                  </a:lnTo>
                  <a:lnTo>
                    <a:pt x="69" y="181"/>
                  </a:lnTo>
                  <a:lnTo>
                    <a:pt x="69" y="180"/>
                  </a:lnTo>
                  <a:lnTo>
                    <a:pt x="70" y="183"/>
                  </a:lnTo>
                  <a:lnTo>
                    <a:pt x="70" y="181"/>
                  </a:lnTo>
                  <a:lnTo>
                    <a:pt x="70" y="180"/>
                  </a:lnTo>
                  <a:lnTo>
                    <a:pt x="70" y="179"/>
                  </a:lnTo>
                  <a:lnTo>
                    <a:pt x="70" y="178"/>
                  </a:lnTo>
                  <a:lnTo>
                    <a:pt x="70" y="177"/>
                  </a:lnTo>
                  <a:lnTo>
                    <a:pt x="70" y="175"/>
                  </a:lnTo>
                  <a:lnTo>
                    <a:pt x="69" y="175"/>
                  </a:lnTo>
                  <a:lnTo>
                    <a:pt x="69" y="174"/>
                  </a:lnTo>
                  <a:lnTo>
                    <a:pt x="69" y="173"/>
                  </a:lnTo>
                  <a:lnTo>
                    <a:pt x="69" y="172"/>
                  </a:lnTo>
                  <a:lnTo>
                    <a:pt x="68" y="172"/>
                  </a:lnTo>
                  <a:lnTo>
                    <a:pt x="66" y="171"/>
                  </a:lnTo>
                  <a:lnTo>
                    <a:pt x="66" y="169"/>
                  </a:lnTo>
                  <a:lnTo>
                    <a:pt x="68" y="168"/>
                  </a:lnTo>
                  <a:lnTo>
                    <a:pt x="68" y="169"/>
                  </a:lnTo>
                  <a:lnTo>
                    <a:pt x="69" y="171"/>
                  </a:lnTo>
                  <a:lnTo>
                    <a:pt x="70" y="169"/>
                  </a:lnTo>
                  <a:lnTo>
                    <a:pt x="69" y="168"/>
                  </a:lnTo>
                  <a:lnTo>
                    <a:pt x="70" y="168"/>
                  </a:lnTo>
                  <a:lnTo>
                    <a:pt x="70" y="167"/>
                  </a:lnTo>
                  <a:lnTo>
                    <a:pt x="69" y="167"/>
                  </a:lnTo>
                  <a:lnTo>
                    <a:pt x="70" y="166"/>
                  </a:lnTo>
                  <a:lnTo>
                    <a:pt x="71" y="167"/>
                  </a:lnTo>
                  <a:lnTo>
                    <a:pt x="70" y="168"/>
                  </a:lnTo>
                  <a:lnTo>
                    <a:pt x="71" y="167"/>
                  </a:lnTo>
                  <a:lnTo>
                    <a:pt x="71" y="168"/>
                  </a:lnTo>
                  <a:lnTo>
                    <a:pt x="72" y="171"/>
                  </a:lnTo>
                  <a:lnTo>
                    <a:pt x="72" y="169"/>
                  </a:lnTo>
                  <a:lnTo>
                    <a:pt x="74" y="168"/>
                  </a:lnTo>
                  <a:lnTo>
                    <a:pt x="74" y="169"/>
                  </a:lnTo>
                  <a:lnTo>
                    <a:pt x="75" y="168"/>
                  </a:lnTo>
                  <a:lnTo>
                    <a:pt x="74" y="167"/>
                  </a:lnTo>
                  <a:lnTo>
                    <a:pt x="74" y="166"/>
                  </a:lnTo>
                  <a:lnTo>
                    <a:pt x="75" y="167"/>
                  </a:lnTo>
                  <a:lnTo>
                    <a:pt x="75" y="166"/>
                  </a:lnTo>
                  <a:lnTo>
                    <a:pt x="76" y="166"/>
                  </a:lnTo>
                  <a:lnTo>
                    <a:pt x="77" y="167"/>
                  </a:lnTo>
                  <a:lnTo>
                    <a:pt x="77" y="166"/>
                  </a:lnTo>
                  <a:lnTo>
                    <a:pt x="78" y="165"/>
                  </a:lnTo>
                  <a:lnTo>
                    <a:pt x="78" y="166"/>
                  </a:lnTo>
                  <a:lnTo>
                    <a:pt x="78" y="167"/>
                  </a:lnTo>
                  <a:lnTo>
                    <a:pt x="80" y="168"/>
                  </a:lnTo>
                  <a:lnTo>
                    <a:pt x="80" y="167"/>
                  </a:lnTo>
                  <a:lnTo>
                    <a:pt x="80" y="168"/>
                  </a:lnTo>
                  <a:lnTo>
                    <a:pt x="81" y="167"/>
                  </a:lnTo>
                  <a:lnTo>
                    <a:pt x="81" y="166"/>
                  </a:lnTo>
                  <a:lnTo>
                    <a:pt x="81" y="165"/>
                  </a:lnTo>
                  <a:lnTo>
                    <a:pt x="82" y="166"/>
                  </a:lnTo>
                  <a:lnTo>
                    <a:pt x="82" y="165"/>
                  </a:lnTo>
                  <a:lnTo>
                    <a:pt x="82" y="163"/>
                  </a:lnTo>
                  <a:lnTo>
                    <a:pt x="83" y="165"/>
                  </a:lnTo>
                  <a:lnTo>
                    <a:pt x="84" y="163"/>
                  </a:lnTo>
                  <a:lnTo>
                    <a:pt x="86" y="165"/>
                  </a:lnTo>
                  <a:lnTo>
                    <a:pt x="84" y="167"/>
                  </a:lnTo>
                  <a:lnTo>
                    <a:pt x="86" y="167"/>
                  </a:lnTo>
                  <a:lnTo>
                    <a:pt x="87" y="166"/>
                  </a:lnTo>
                  <a:lnTo>
                    <a:pt x="87" y="165"/>
                  </a:lnTo>
                  <a:lnTo>
                    <a:pt x="88" y="165"/>
                  </a:lnTo>
                  <a:lnTo>
                    <a:pt x="88" y="163"/>
                  </a:lnTo>
                  <a:lnTo>
                    <a:pt x="88" y="166"/>
                  </a:lnTo>
                  <a:lnTo>
                    <a:pt x="88" y="167"/>
                  </a:lnTo>
                  <a:lnTo>
                    <a:pt x="88" y="168"/>
                  </a:lnTo>
                  <a:lnTo>
                    <a:pt x="88" y="167"/>
                  </a:lnTo>
                  <a:lnTo>
                    <a:pt x="89" y="167"/>
                  </a:lnTo>
                  <a:lnTo>
                    <a:pt x="89" y="168"/>
                  </a:lnTo>
                  <a:lnTo>
                    <a:pt x="90" y="167"/>
                  </a:lnTo>
                  <a:lnTo>
                    <a:pt x="90" y="166"/>
                  </a:lnTo>
                  <a:lnTo>
                    <a:pt x="90" y="165"/>
                  </a:lnTo>
                  <a:lnTo>
                    <a:pt x="90" y="166"/>
                  </a:lnTo>
                  <a:lnTo>
                    <a:pt x="89" y="166"/>
                  </a:lnTo>
                  <a:lnTo>
                    <a:pt x="88" y="166"/>
                  </a:lnTo>
                  <a:lnTo>
                    <a:pt x="88" y="163"/>
                  </a:lnTo>
                  <a:lnTo>
                    <a:pt x="89" y="163"/>
                  </a:lnTo>
                  <a:lnTo>
                    <a:pt x="89" y="162"/>
                  </a:lnTo>
                  <a:lnTo>
                    <a:pt x="90" y="162"/>
                  </a:lnTo>
                  <a:lnTo>
                    <a:pt x="90" y="161"/>
                  </a:lnTo>
                  <a:lnTo>
                    <a:pt x="92" y="160"/>
                  </a:lnTo>
                  <a:lnTo>
                    <a:pt x="92" y="161"/>
                  </a:lnTo>
                  <a:lnTo>
                    <a:pt x="92" y="163"/>
                  </a:lnTo>
                  <a:lnTo>
                    <a:pt x="92" y="162"/>
                  </a:lnTo>
                  <a:lnTo>
                    <a:pt x="92" y="163"/>
                  </a:lnTo>
                  <a:lnTo>
                    <a:pt x="93" y="165"/>
                  </a:lnTo>
                  <a:lnTo>
                    <a:pt x="92" y="166"/>
                  </a:lnTo>
                  <a:lnTo>
                    <a:pt x="92" y="167"/>
                  </a:lnTo>
                  <a:lnTo>
                    <a:pt x="92" y="168"/>
                  </a:lnTo>
                  <a:lnTo>
                    <a:pt x="93" y="167"/>
                  </a:lnTo>
                  <a:lnTo>
                    <a:pt x="94" y="167"/>
                  </a:lnTo>
                  <a:lnTo>
                    <a:pt x="95" y="167"/>
                  </a:lnTo>
                  <a:lnTo>
                    <a:pt x="96" y="165"/>
                  </a:lnTo>
                  <a:lnTo>
                    <a:pt x="96" y="163"/>
                  </a:lnTo>
                  <a:lnTo>
                    <a:pt x="98" y="163"/>
                  </a:lnTo>
                  <a:lnTo>
                    <a:pt x="98" y="162"/>
                  </a:lnTo>
                  <a:lnTo>
                    <a:pt x="99" y="162"/>
                  </a:lnTo>
                  <a:lnTo>
                    <a:pt x="99" y="163"/>
                  </a:lnTo>
                  <a:lnTo>
                    <a:pt x="99" y="165"/>
                  </a:lnTo>
                  <a:lnTo>
                    <a:pt x="100" y="166"/>
                  </a:lnTo>
                  <a:lnTo>
                    <a:pt x="101" y="165"/>
                  </a:lnTo>
                  <a:lnTo>
                    <a:pt x="100" y="163"/>
                  </a:lnTo>
                  <a:lnTo>
                    <a:pt x="100" y="162"/>
                  </a:lnTo>
                  <a:lnTo>
                    <a:pt x="101" y="163"/>
                  </a:lnTo>
                  <a:lnTo>
                    <a:pt x="104" y="165"/>
                  </a:lnTo>
                  <a:lnTo>
                    <a:pt x="105" y="166"/>
                  </a:lnTo>
                  <a:lnTo>
                    <a:pt x="105" y="167"/>
                  </a:lnTo>
                  <a:lnTo>
                    <a:pt x="104" y="166"/>
                  </a:lnTo>
                  <a:lnTo>
                    <a:pt x="104" y="165"/>
                  </a:lnTo>
                  <a:lnTo>
                    <a:pt x="102" y="166"/>
                  </a:lnTo>
                  <a:lnTo>
                    <a:pt x="102" y="167"/>
                  </a:lnTo>
                  <a:lnTo>
                    <a:pt x="101" y="167"/>
                  </a:lnTo>
                  <a:lnTo>
                    <a:pt x="100" y="167"/>
                  </a:lnTo>
                  <a:lnTo>
                    <a:pt x="100" y="166"/>
                  </a:lnTo>
                  <a:lnTo>
                    <a:pt x="100" y="167"/>
                  </a:lnTo>
                  <a:lnTo>
                    <a:pt x="99" y="168"/>
                  </a:lnTo>
                  <a:lnTo>
                    <a:pt x="99" y="167"/>
                  </a:lnTo>
                  <a:lnTo>
                    <a:pt x="98" y="167"/>
                  </a:lnTo>
                  <a:lnTo>
                    <a:pt x="96" y="167"/>
                  </a:lnTo>
                  <a:lnTo>
                    <a:pt x="96" y="168"/>
                  </a:lnTo>
                  <a:lnTo>
                    <a:pt x="98" y="168"/>
                  </a:lnTo>
                  <a:lnTo>
                    <a:pt x="98" y="169"/>
                  </a:lnTo>
                  <a:lnTo>
                    <a:pt x="96" y="171"/>
                  </a:lnTo>
                  <a:lnTo>
                    <a:pt x="95" y="171"/>
                  </a:lnTo>
                  <a:lnTo>
                    <a:pt x="96" y="171"/>
                  </a:lnTo>
                  <a:lnTo>
                    <a:pt x="96" y="172"/>
                  </a:lnTo>
                  <a:lnTo>
                    <a:pt x="98" y="171"/>
                  </a:lnTo>
                  <a:lnTo>
                    <a:pt x="98" y="169"/>
                  </a:lnTo>
                  <a:lnTo>
                    <a:pt x="99" y="171"/>
                  </a:lnTo>
                  <a:lnTo>
                    <a:pt x="99" y="172"/>
                  </a:lnTo>
                  <a:lnTo>
                    <a:pt x="100" y="171"/>
                  </a:lnTo>
                  <a:lnTo>
                    <a:pt x="100" y="172"/>
                  </a:lnTo>
                  <a:lnTo>
                    <a:pt x="101" y="171"/>
                  </a:lnTo>
                  <a:lnTo>
                    <a:pt x="102" y="171"/>
                  </a:lnTo>
                  <a:lnTo>
                    <a:pt x="104" y="171"/>
                  </a:lnTo>
                  <a:lnTo>
                    <a:pt x="104" y="172"/>
                  </a:lnTo>
                  <a:lnTo>
                    <a:pt x="102" y="172"/>
                  </a:lnTo>
                  <a:lnTo>
                    <a:pt x="101" y="172"/>
                  </a:lnTo>
                  <a:lnTo>
                    <a:pt x="100" y="173"/>
                  </a:lnTo>
                  <a:lnTo>
                    <a:pt x="100" y="174"/>
                  </a:lnTo>
                  <a:lnTo>
                    <a:pt x="101" y="173"/>
                  </a:lnTo>
                  <a:lnTo>
                    <a:pt x="101" y="174"/>
                  </a:lnTo>
                  <a:lnTo>
                    <a:pt x="101" y="175"/>
                  </a:lnTo>
                  <a:lnTo>
                    <a:pt x="102" y="174"/>
                  </a:lnTo>
                  <a:lnTo>
                    <a:pt x="102" y="173"/>
                  </a:lnTo>
                  <a:lnTo>
                    <a:pt x="102" y="174"/>
                  </a:lnTo>
                  <a:lnTo>
                    <a:pt x="102" y="175"/>
                  </a:lnTo>
                  <a:lnTo>
                    <a:pt x="102" y="177"/>
                  </a:lnTo>
                  <a:lnTo>
                    <a:pt x="102" y="178"/>
                  </a:lnTo>
                  <a:lnTo>
                    <a:pt x="104" y="178"/>
                  </a:lnTo>
                  <a:lnTo>
                    <a:pt x="104" y="179"/>
                  </a:lnTo>
                  <a:lnTo>
                    <a:pt x="104" y="178"/>
                  </a:lnTo>
                  <a:lnTo>
                    <a:pt x="105" y="177"/>
                  </a:lnTo>
                  <a:lnTo>
                    <a:pt x="105" y="175"/>
                  </a:lnTo>
                  <a:lnTo>
                    <a:pt x="105" y="174"/>
                  </a:lnTo>
                  <a:lnTo>
                    <a:pt x="105" y="173"/>
                  </a:lnTo>
                  <a:lnTo>
                    <a:pt x="105" y="171"/>
                  </a:lnTo>
                  <a:lnTo>
                    <a:pt x="105" y="167"/>
                  </a:lnTo>
                  <a:lnTo>
                    <a:pt x="105" y="166"/>
                  </a:lnTo>
                  <a:lnTo>
                    <a:pt x="107" y="168"/>
                  </a:lnTo>
                  <a:lnTo>
                    <a:pt x="113" y="172"/>
                  </a:lnTo>
                  <a:lnTo>
                    <a:pt x="116" y="183"/>
                  </a:lnTo>
                  <a:lnTo>
                    <a:pt x="118" y="195"/>
                  </a:lnTo>
                  <a:lnTo>
                    <a:pt x="119" y="207"/>
                  </a:lnTo>
                  <a:lnTo>
                    <a:pt x="119" y="213"/>
                  </a:lnTo>
                  <a:lnTo>
                    <a:pt x="121" y="222"/>
                  </a:lnTo>
                  <a:lnTo>
                    <a:pt x="123" y="227"/>
                  </a:lnTo>
                  <a:lnTo>
                    <a:pt x="123" y="233"/>
                  </a:lnTo>
                  <a:lnTo>
                    <a:pt x="122" y="234"/>
                  </a:lnTo>
                  <a:lnTo>
                    <a:pt x="123" y="237"/>
                  </a:lnTo>
                  <a:lnTo>
                    <a:pt x="122" y="243"/>
                  </a:lnTo>
                  <a:lnTo>
                    <a:pt x="119" y="252"/>
                  </a:lnTo>
                  <a:lnTo>
                    <a:pt x="118" y="260"/>
                  </a:lnTo>
                  <a:lnTo>
                    <a:pt x="117" y="266"/>
                  </a:lnTo>
                  <a:lnTo>
                    <a:pt x="133" y="26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4" name="Freeform 67"/>
            <p:cNvSpPr>
              <a:spLocks/>
            </p:cNvSpPr>
            <p:nvPr userDrawn="1"/>
          </p:nvSpPr>
          <p:spPr bwMode="auto">
            <a:xfrm>
              <a:off x="6640513" y="6230938"/>
              <a:ext cx="80963" cy="246063"/>
            </a:xfrm>
            <a:custGeom>
              <a:avLst/>
              <a:gdLst/>
              <a:ahLst/>
              <a:cxnLst>
                <a:cxn ang="0">
                  <a:pos x="228" y="160"/>
                </a:cxn>
                <a:cxn ang="0">
                  <a:pos x="227" y="154"/>
                </a:cxn>
                <a:cxn ang="0">
                  <a:pos x="195" y="150"/>
                </a:cxn>
                <a:cxn ang="0">
                  <a:pos x="193" y="143"/>
                </a:cxn>
                <a:cxn ang="0">
                  <a:pos x="203" y="102"/>
                </a:cxn>
                <a:cxn ang="0">
                  <a:pos x="196" y="89"/>
                </a:cxn>
                <a:cxn ang="0">
                  <a:pos x="163" y="83"/>
                </a:cxn>
                <a:cxn ang="0">
                  <a:pos x="163" y="64"/>
                </a:cxn>
                <a:cxn ang="0">
                  <a:pos x="160" y="63"/>
                </a:cxn>
                <a:cxn ang="0">
                  <a:pos x="167" y="51"/>
                </a:cxn>
                <a:cxn ang="0">
                  <a:pos x="169" y="37"/>
                </a:cxn>
                <a:cxn ang="0">
                  <a:pos x="166" y="23"/>
                </a:cxn>
                <a:cxn ang="0">
                  <a:pos x="158" y="11"/>
                </a:cxn>
                <a:cxn ang="0">
                  <a:pos x="146" y="2"/>
                </a:cxn>
                <a:cxn ang="0">
                  <a:pos x="139" y="1"/>
                </a:cxn>
                <a:cxn ang="0">
                  <a:pos x="132" y="0"/>
                </a:cxn>
                <a:cxn ang="0">
                  <a:pos x="118" y="2"/>
                </a:cxn>
                <a:cxn ang="0">
                  <a:pos x="105" y="11"/>
                </a:cxn>
                <a:cxn ang="0">
                  <a:pos x="97" y="23"/>
                </a:cxn>
                <a:cxn ang="0">
                  <a:pos x="95" y="30"/>
                </a:cxn>
                <a:cxn ang="0">
                  <a:pos x="95" y="37"/>
                </a:cxn>
                <a:cxn ang="0">
                  <a:pos x="97" y="51"/>
                </a:cxn>
                <a:cxn ang="0">
                  <a:pos x="99" y="57"/>
                </a:cxn>
                <a:cxn ang="0">
                  <a:pos x="103" y="61"/>
                </a:cxn>
                <a:cxn ang="0">
                  <a:pos x="95" y="64"/>
                </a:cxn>
                <a:cxn ang="0">
                  <a:pos x="95" y="83"/>
                </a:cxn>
                <a:cxn ang="0">
                  <a:pos x="62" y="89"/>
                </a:cxn>
                <a:cxn ang="0">
                  <a:pos x="55" y="102"/>
                </a:cxn>
                <a:cxn ang="0">
                  <a:pos x="66" y="143"/>
                </a:cxn>
                <a:cxn ang="0">
                  <a:pos x="63" y="150"/>
                </a:cxn>
                <a:cxn ang="0">
                  <a:pos x="31" y="154"/>
                </a:cxn>
                <a:cxn ang="0">
                  <a:pos x="31" y="160"/>
                </a:cxn>
                <a:cxn ang="0">
                  <a:pos x="10" y="162"/>
                </a:cxn>
                <a:cxn ang="0">
                  <a:pos x="0" y="166"/>
                </a:cxn>
                <a:cxn ang="0">
                  <a:pos x="0" y="186"/>
                </a:cxn>
                <a:cxn ang="0">
                  <a:pos x="0" y="190"/>
                </a:cxn>
                <a:cxn ang="0">
                  <a:pos x="48" y="272"/>
                </a:cxn>
                <a:cxn ang="0">
                  <a:pos x="91" y="272"/>
                </a:cxn>
                <a:cxn ang="0">
                  <a:pos x="95" y="483"/>
                </a:cxn>
                <a:cxn ang="0">
                  <a:pos x="95" y="629"/>
                </a:cxn>
                <a:cxn ang="0">
                  <a:pos x="93" y="678"/>
                </a:cxn>
                <a:cxn ang="0">
                  <a:pos x="92" y="691"/>
                </a:cxn>
                <a:cxn ang="0">
                  <a:pos x="91" y="696"/>
                </a:cxn>
                <a:cxn ang="0">
                  <a:pos x="86" y="699"/>
                </a:cxn>
                <a:cxn ang="0">
                  <a:pos x="83" y="701"/>
                </a:cxn>
                <a:cxn ang="0">
                  <a:pos x="80" y="706"/>
                </a:cxn>
                <a:cxn ang="0">
                  <a:pos x="80" y="774"/>
                </a:cxn>
                <a:cxn ang="0">
                  <a:pos x="130" y="774"/>
                </a:cxn>
                <a:cxn ang="0">
                  <a:pos x="179" y="774"/>
                </a:cxn>
                <a:cxn ang="0">
                  <a:pos x="179" y="706"/>
                </a:cxn>
                <a:cxn ang="0">
                  <a:pos x="175" y="701"/>
                </a:cxn>
                <a:cxn ang="0">
                  <a:pos x="172" y="699"/>
                </a:cxn>
                <a:cxn ang="0">
                  <a:pos x="167" y="696"/>
                </a:cxn>
                <a:cxn ang="0">
                  <a:pos x="164" y="678"/>
                </a:cxn>
                <a:cxn ang="0">
                  <a:pos x="163" y="629"/>
                </a:cxn>
                <a:cxn ang="0">
                  <a:pos x="164" y="483"/>
                </a:cxn>
                <a:cxn ang="0">
                  <a:pos x="167" y="272"/>
                </a:cxn>
                <a:cxn ang="0">
                  <a:pos x="210" y="272"/>
                </a:cxn>
                <a:cxn ang="0">
                  <a:pos x="258" y="190"/>
                </a:cxn>
                <a:cxn ang="0">
                  <a:pos x="258" y="186"/>
                </a:cxn>
                <a:cxn ang="0">
                  <a:pos x="258" y="166"/>
                </a:cxn>
                <a:cxn ang="0">
                  <a:pos x="248" y="162"/>
                </a:cxn>
                <a:cxn ang="0">
                  <a:pos x="228" y="160"/>
                </a:cxn>
              </a:cxnLst>
              <a:rect l="0" t="0" r="r" b="b"/>
              <a:pathLst>
                <a:path w="258" h="774">
                  <a:moveTo>
                    <a:pt x="228" y="160"/>
                  </a:moveTo>
                  <a:lnTo>
                    <a:pt x="227" y="154"/>
                  </a:lnTo>
                  <a:lnTo>
                    <a:pt x="195" y="150"/>
                  </a:lnTo>
                  <a:lnTo>
                    <a:pt x="193" y="143"/>
                  </a:lnTo>
                  <a:lnTo>
                    <a:pt x="203" y="102"/>
                  </a:lnTo>
                  <a:lnTo>
                    <a:pt x="196" y="89"/>
                  </a:lnTo>
                  <a:lnTo>
                    <a:pt x="163" y="83"/>
                  </a:lnTo>
                  <a:lnTo>
                    <a:pt x="163" y="64"/>
                  </a:lnTo>
                  <a:lnTo>
                    <a:pt x="160" y="63"/>
                  </a:lnTo>
                  <a:lnTo>
                    <a:pt x="167" y="51"/>
                  </a:lnTo>
                  <a:lnTo>
                    <a:pt x="169" y="37"/>
                  </a:lnTo>
                  <a:lnTo>
                    <a:pt x="166" y="23"/>
                  </a:lnTo>
                  <a:lnTo>
                    <a:pt x="158" y="11"/>
                  </a:lnTo>
                  <a:lnTo>
                    <a:pt x="146" y="2"/>
                  </a:lnTo>
                  <a:lnTo>
                    <a:pt x="139" y="1"/>
                  </a:lnTo>
                  <a:lnTo>
                    <a:pt x="132" y="0"/>
                  </a:lnTo>
                  <a:lnTo>
                    <a:pt x="118" y="2"/>
                  </a:lnTo>
                  <a:lnTo>
                    <a:pt x="105" y="11"/>
                  </a:lnTo>
                  <a:lnTo>
                    <a:pt x="97" y="23"/>
                  </a:lnTo>
                  <a:lnTo>
                    <a:pt x="95" y="30"/>
                  </a:lnTo>
                  <a:lnTo>
                    <a:pt x="95" y="37"/>
                  </a:lnTo>
                  <a:lnTo>
                    <a:pt x="97" y="51"/>
                  </a:lnTo>
                  <a:lnTo>
                    <a:pt x="99" y="57"/>
                  </a:lnTo>
                  <a:lnTo>
                    <a:pt x="103" y="61"/>
                  </a:lnTo>
                  <a:lnTo>
                    <a:pt x="95" y="64"/>
                  </a:lnTo>
                  <a:lnTo>
                    <a:pt x="95" y="83"/>
                  </a:lnTo>
                  <a:lnTo>
                    <a:pt x="62" y="89"/>
                  </a:lnTo>
                  <a:lnTo>
                    <a:pt x="55" y="102"/>
                  </a:lnTo>
                  <a:lnTo>
                    <a:pt x="66" y="143"/>
                  </a:lnTo>
                  <a:lnTo>
                    <a:pt x="63" y="150"/>
                  </a:lnTo>
                  <a:lnTo>
                    <a:pt x="31" y="154"/>
                  </a:lnTo>
                  <a:lnTo>
                    <a:pt x="31" y="160"/>
                  </a:lnTo>
                  <a:lnTo>
                    <a:pt x="10" y="162"/>
                  </a:lnTo>
                  <a:lnTo>
                    <a:pt x="0" y="166"/>
                  </a:lnTo>
                  <a:lnTo>
                    <a:pt x="0" y="186"/>
                  </a:lnTo>
                  <a:lnTo>
                    <a:pt x="0" y="190"/>
                  </a:lnTo>
                  <a:lnTo>
                    <a:pt x="48" y="272"/>
                  </a:lnTo>
                  <a:lnTo>
                    <a:pt x="91" y="272"/>
                  </a:lnTo>
                  <a:lnTo>
                    <a:pt x="95" y="483"/>
                  </a:lnTo>
                  <a:lnTo>
                    <a:pt x="95" y="629"/>
                  </a:lnTo>
                  <a:lnTo>
                    <a:pt x="93" y="678"/>
                  </a:lnTo>
                  <a:lnTo>
                    <a:pt x="92" y="691"/>
                  </a:lnTo>
                  <a:lnTo>
                    <a:pt x="91" y="696"/>
                  </a:lnTo>
                  <a:lnTo>
                    <a:pt x="86" y="699"/>
                  </a:lnTo>
                  <a:lnTo>
                    <a:pt x="83" y="701"/>
                  </a:lnTo>
                  <a:lnTo>
                    <a:pt x="80" y="706"/>
                  </a:lnTo>
                  <a:lnTo>
                    <a:pt x="80" y="774"/>
                  </a:lnTo>
                  <a:lnTo>
                    <a:pt x="130" y="774"/>
                  </a:lnTo>
                  <a:lnTo>
                    <a:pt x="179" y="774"/>
                  </a:lnTo>
                  <a:lnTo>
                    <a:pt x="179" y="706"/>
                  </a:lnTo>
                  <a:lnTo>
                    <a:pt x="175" y="701"/>
                  </a:lnTo>
                  <a:lnTo>
                    <a:pt x="172" y="699"/>
                  </a:lnTo>
                  <a:lnTo>
                    <a:pt x="167" y="696"/>
                  </a:lnTo>
                  <a:lnTo>
                    <a:pt x="164" y="678"/>
                  </a:lnTo>
                  <a:lnTo>
                    <a:pt x="163" y="629"/>
                  </a:lnTo>
                  <a:lnTo>
                    <a:pt x="164" y="483"/>
                  </a:lnTo>
                  <a:lnTo>
                    <a:pt x="167" y="272"/>
                  </a:lnTo>
                  <a:lnTo>
                    <a:pt x="210" y="272"/>
                  </a:lnTo>
                  <a:lnTo>
                    <a:pt x="258" y="190"/>
                  </a:lnTo>
                  <a:lnTo>
                    <a:pt x="258" y="186"/>
                  </a:lnTo>
                  <a:lnTo>
                    <a:pt x="258" y="166"/>
                  </a:lnTo>
                  <a:lnTo>
                    <a:pt x="248" y="162"/>
                  </a:lnTo>
                  <a:lnTo>
                    <a:pt x="228" y="160"/>
                  </a:ln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5" name="Freeform 68"/>
            <p:cNvSpPr>
              <a:spLocks/>
            </p:cNvSpPr>
            <p:nvPr userDrawn="1"/>
          </p:nvSpPr>
          <p:spPr bwMode="auto">
            <a:xfrm>
              <a:off x="5983288" y="6507163"/>
              <a:ext cx="96838" cy="104775"/>
            </a:xfrm>
            <a:custGeom>
              <a:avLst/>
              <a:gdLst/>
              <a:ahLst/>
              <a:cxnLst>
                <a:cxn ang="0">
                  <a:pos x="274" y="146"/>
                </a:cxn>
                <a:cxn ang="0">
                  <a:pos x="258" y="129"/>
                </a:cxn>
                <a:cxn ang="0">
                  <a:pos x="228" y="113"/>
                </a:cxn>
                <a:cxn ang="0">
                  <a:pos x="221" y="109"/>
                </a:cxn>
                <a:cxn ang="0">
                  <a:pos x="241" y="107"/>
                </a:cxn>
                <a:cxn ang="0">
                  <a:pos x="248" y="92"/>
                </a:cxn>
                <a:cxn ang="0">
                  <a:pos x="244" y="77"/>
                </a:cxn>
                <a:cxn ang="0">
                  <a:pos x="228" y="61"/>
                </a:cxn>
                <a:cxn ang="0">
                  <a:pos x="215" y="50"/>
                </a:cxn>
                <a:cxn ang="0">
                  <a:pos x="195" y="55"/>
                </a:cxn>
                <a:cxn ang="0">
                  <a:pos x="182" y="58"/>
                </a:cxn>
                <a:cxn ang="0">
                  <a:pos x="162" y="71"/>
                </a:cxn>
                <a:cxn ang="0">
                  <a:pos x="150" y="83"/>
                </a:cxn>
                <a:cxn ang="0">
                  <a:pos x="164" y="65"/>
                </a:cxn>
                <a:cxn ang="0">
                  <a:pos x="179" y="59"/>
                </a:cxn>
                <a:cxn ang="0">
                  <a:pos x="200" y="45"/>
                </a:cxn>
                <a:cxn ang="0">
                  <a:pos x="192" y="23"/>
                </a:cxn>
                <a:cxn ang="0">
                  <a:pos x="181" y="14"/>
                </a:cxn>
                <a:cxn ang="0">
                  <a:pos x="165" y="10"/>
                </a:cxn>
                <a:cxn ang="0">
                  <a:pos x="147" y="16"/>
                </a:cxn>
                <a:cxn ang="0">
                  <a:pos x="134" y="9"/>
                </a:cxn>
                <a:cxn ang="0">
                  <a:pos x="122" y="18"/>
                </a:cxn>
                <a:cxn ang="0">
                  <a:pos x="109" y="23"/>
                </a:cxn>
                <a:cxn ang="0">
                  <a:pos x="97" y="29"/>
                </a:cxn>
                <a:cxn ang="0">
                  <a:pos x="93" y="40"/>
                </a:cxn>
                <a:cxn ang="0">
                  <a:pos x="80" y="57"/>
                </a:cxn>
                <a:cxn ang="0">
                  <a:pos x="62" y="71"/>
                </a:cxn>
                <a:cxn ang="0">
                  <a:pos x="52" y="83"/>
                </a:cxn>
                <a:cxn ang="0">
                  <a:pos x="32" y="97"/>
                </a:cxn>
                <a:cxn ang="0">
                  <a:pos x="23" y="127"/>
                </a:cxn>
                <a:cxn ang="0">
                  <a:pos x="56" y="130"/>
                </a:cxn>
                <a:cxn ang="0">
                  <a:pos x="25" y="159"/>
                </a:cxn>
                <a:cxn ang="0">
                  <a:pos x="34" y="170"/>
                </a:cxn>
                <a:cxn ang="0">
                  <a:pos x="63" y="158"/>
                </a:cxn>
                <a:cxn ang="0">
                  <a:pos x="56" y="168"/>
                </a:cxn>
                <a:cxn ang="0">
                  <a:pos x="23" y="194"/>
                </a:cxn>
                <a:cxn ang="0">
                  <a:pos x="6" y="232"/>
                </a:cxn>
                <a:cxn ang="0">
                  <a:pos x="31" y="230"/>
                </a:cxn>
                <a:cxn ang="0">
                  <a:pos x="46" y="249"/>
                </a:cxn>
                <a:cxn ang="0">
                  <a:pos x="52" y="251"/>
                </a:cxn>
                <a:cxn ang="0">
                  <a:pos x="57" y="238"/>
                </a:cxn>
                <a:cxn ang="0">
                  <a:pos x="103" y="238"/>
                </a:cxn>
                <a:cxn ang="0">
                  <a:pos x="63" y="257"/>
                </a:cxn>
                <a:cxn ang="0">
                  <a:pos x="71" y="271"/>
                </a:cxn>
                <a:cxn ang="0">
                  <a:pos x="87" y="258"/>
                </a:cxn>
                <a:cxn ang="0">
                  <a:pos x="118" y="267"/>
                </a:cxn>
                <a:cxn ang="0">
                  <a:pos x="129" y="288"/>
                </a:cxn>
                <a:cxn ang="0">
                  <a:pos x="199" y="270"/>
                </a:cxn>
                <a:cxn ang="0">
                  <a:pos x="233" y="272"/>
                </a:cxn>
                <a:cxn ang="0">
                  <a:pos x="198" y="269"/>
                </a:cxn>
                <a:cxn ang="0">
                  <a:pos x="173" y="251"/>
                </a:cxn>
                <a:cxn ang="0">
                  <a:pos x="189" y="247"/>
                </a:cxn>
                <a:cxn ang="0">
                  <a:pos x="216" y="253"/>
                </a:cxn>
                <a:cxn ang="0">
                  <a:pos x="238" y="252"/>
                </a:cxn>
                <a:cxn ang="0">
                  <a:pos x="263" y="231"/>
                </a:cxn>
                <a:cxn ang="0">
                  <a:pos x="232" y="219"/>
                </a:cxn>
                <a:cxn ang="0">
                  <a:pos x="209" y="204"/>
                </a:cxn>
                <a:cxn ang="0">
                  <a:pos x="226" y="204"/>
                </a:cxn>
                <a:cxn ang="0">
                  <a:pos x="211" y="181"/>
                </a:cxn>
                <a:cxn ang="0">
                  <a:pos x="242" y="198"/>
                </a:cxn>
                <a:cxn ang="0">
                  <a:pos x="277" y="212"/>
                </a:cxn>
                <a:cxn ang="0">
                  <a:pos x="257" y="182"/>
                </a:cxn>
                <a:cxn ang="0">
                  <a:pos x="283" y="172"/>
                </a:cxn>
              </a:cxnLst>
              <a:rect l="0" t="0" r="r" b="b"/>
              <a:pathLst>
                <a:path w="305" h="329">
                  <a:moveTo>
                    <a:pt x="303" y="156"/>
                  </a:moveTo>
                  <a:lnTo>
                    <a:pt x="304" y="156"/>
                  </a:lnTo>
                  <a:lnTo>
                    <a:pt x="303" y="156"/>
                  </a:lnTo>
                  <a:lnTo>
                    <a:pt x="301" y="156"/>
                  </a:lnTo>
                  <a:lnTo>
                    <a:pt x="300" y="156"/>
                  </a:lnTo>
                  <a:lnTo>
                    <a:pt x="300" y="154"/>
                  </a:lnTo>
                  <a:lnTo>
                    <a:pt x="299" y="154"/>
                  </a:lnTo>
                  <a:lnTo>
                    <a:pt x="299" y="156"/>
                  </a:lnTo>
                  <a:lnTo>
                    <a:pt x="299" y="157"/>
                  </a:lnTo>
                  <a:lnTo>
                    <a:pt x="297" y="157"/>
                  </a:lnTo>
                  <a:lnTo>
                    <a:pt x="298" y="156"/>
                  </a:lnTo>
                  <a:lnTo>
                    <a:pt x="298" y="154"/>
                  </a:lnTo>
                  <a:lnTo>
                    <a:pt x="299" y="153"/>
                  </a:lnTo>
                  <a:lnTo>
                    <a:pt x="298" y="153"/>
                  </a:lnTo>
                  <a:lnTo>
                    <a:pt x="297" y="153"/>
                  </a:lnTo>
                  <a:lnTo>
                    <a:pt x="297" y="154"/>
                  </a:lnTo>
                  <a:lnTo>
                    <a:pt x="295" y="156"/>
                  </a:lnTo>
                  <a:lnTo>
                    <a:pt x="294" y="156"/>
                  </a:lnTo>
                  <a:lnTo>
                    <a:pt x="294" y="157"/>
                  </a:lnTo>
                  <a:lnTo>
                    <a:pt x="293" y="157"/>
                  </a:lnTo>
                  <a:lnTo>
                    <a:pt x="293" y="156"/>
                  </a:lnTo>
                  <a:lnTo>
                    <a:pt x="292" y="154"/>
                  </a:lnTo>
                  <a:lnTo>
                    <a:pt x="291" y="156"/>
                  </a:lnTo>
                  <a:lnTo>
                    <a:pt x="289" y="156"/>
                  </a:lnTo>
                  <a:lnTo>
                    <a:pt x="291" y="154"/>
                  </a:lnTo>
                  <a:lnTo>
                    <a:pt x="291" y="153"/>
                  </a:lnTo>
                  <a:lnTo>
                    <a:pt x="292" y="152"/>
                  </a:lnTo>
                  <a:lnTo>
                    <a:pt x="292" y="150"/>
                  </a:lnTo>
                  <a:lnTo>
                    <a:pt x="291" y="151"/>
                  </a:lnTo>
                  <a:lnTo>
                    <a:pt x="291" y="150"/>
                  </a:lnTo>
                  <a:lnTo>
                    <a:pt x="289" y="151"/>
                  </a:lnTo>
                  <a:lnTo>
                    <a:pt x="289" y="152"/>
                  </a:lnTo>
                  <a:lnTo>
                    <a:pt x="288" y="152"/>
                  </a:lnTo>
                  <a:lnTo>
                    <a:pt x="287" y="153"/>
                  </a:lnTo>
                  <a:lnTo>
                    <a:pt x="287" y="152"/>
                  </a:lnTo>
                  <a:lnTo>
                    <a:pt x="286" y="152"/>
                  </a:lnTo>
                  <a:lnTo>
                    <a:pt x="286" y="151"/>
                  </a:lnTo>
                  <a:lnTo>
                    <a:pt x="285" y="148"/>
                  </a:lnTo>
                  <a:lnTo>
                    <a:pt x="283" y="148"/>
                  </a:lnTo>
                  <a:lnTo>
                    <a:pt x="282" y="148"/>
                  </a:lnTo>
                  <a:lnTo>
                    <a:pt x="282" y="147"/>
                  </a:lnTo>
                  <a:lnTo>
                    <a:pt x="283" y="146"/>
                  </a:lnTo>
                  <a:lnTo>
                    <a:pt x="282" y="146"/>
                  </a:lnTo>
                  <a:lnTo>
                    <a:pt x="281" y="146"/>
                  </a:lnTo>
                  <a:lnTo>
                    <a:pt x="281" y="147"/>
                  </a:lnTo>
                  <a:lnTo>
                    <a:pt x="280" y="147"/>
                  </a:lnTo>
                  <a:lnTo>
                    <a:pt x="279" y="147"/>
                  </a:lnTo>
                  <a:lnTo>
                    <a:pt x="277" y="147"/>
                  </a:lnTo>
                  <a:lnTo>
                    <a:pt x="279" y="147"/>
                  </a:lnTo>
                  <a:lnTo>
                    <a:pt x="279" y="146"/>
                  </a:lnTo>
                  <a:lnTo>
                    <a:pt x="279" y="145"/>
                  </a:lnTo>
                  <a:lnTo>
                    <a:pt x="279" y="144"/>
                  </a:lnTo>
                  <a:lnTo>
                    <a:pt x="277" y="145"/>
                  </a:lnTo>
                  <a:lnTo>
                    <a:pt x="276" y="145"/>
                  </a:lnTo>
                  <a:lnTo>
                    <a:pt x="276" y="146"/>
                  </a:lnTo>
                  <a:lnTo>
                    <a:pt x="275" y="145"/>
                  </a:lnTo>
                  <a:lnTo>
                    <a:pt x="274" y="145"/>
                  </a:lnTo>
                  <a:lnTo>
                    <a:pt x="274" y="146"/>
                  </a:lnTo>
                  <a:lnTo>
                    <a:pt x="273" y="146"/>
                  </a:lnTo>
                  <a:lnTo>
                    <a:pt x="271" y="145"/>
                  </a:lnTo>
                  <a:lnTo>
                    <a:pt x="271" y="144"/>
                  </a:lnTo>
                  <a:lnTo>
                    <a:pt x="271" y="142"/>
                  </a:lnTo>
                  <a:lnTo>
                    <a:pt x="270" y="142"/>
                  </a:lnTo>
                  <a:lnTo>
                    <a:pt x="269" y="144"/>
                  </a:lnTo>
                  <a:lnTo>
                    <a:pt x="268" y="145"/>
                  </a:lnTo>
                  <a:lnTo>
                    <a:pt x="267" y="145"/>
                  </a:lnTo>
                  <a:lnTo>
                    <a:pt x="267" y="144"/>
                  </a:lnTo>
                  <a:lnTo>
                    <a:pt x="268" y="144"/>
                  </a:lnTo>
                  <a:lnTo>
                    <a:pt x="268" y="142"/>
                  </a:lnTo>
                  <a:lnTo>
                    <a:pt x="268" y="141"/>
                  </a:lnTo>
                  <a:lnTo>
                    <a:pt x="269" y="140"/>
                  </a:lnTo>
                  <a:lnTo>
                    <a:pt x="268" y="140"/>
                  </a:lnTo>
                  <a:lnTo>
                    <a:pt x="268" y="139"/>
                  </a:lnTo>
                  <a:lnTo>
                    <a:pt x="268" y="140"/>
                  </a:lnTo>
                  <a:lnTo>
                    <a:pt x="267" y="140"/>
                  </a:lnTo>
                  <a:lnTo>
                    <a:pt x="265" y="141"/>
                  </a:lnTo>
                  <a:lnTo>
                    <a:pt x="264" y="140"/>
                  </a:lnTo>
                  <a:lnTo>
                    <a:pt x="264" y="141"/>
                  </a:lnTo>
                  <a:lnTo>
                    <a:pt x="263" y="141"/>
                  </a:lnTo>
                  <a:lnTo>
                    <a:pt x="262" y="141"/>
                  </a:lnTo>
                  <a:lnTo>
                    <a:pt x="260" y="141"/>
                  </a:lnTo>
                  <a:lnTo>
                    <a:pt x="259" y="141"/>
                  </a:lnTo>
                  <a:lnTo>
                    <a:pt x="260" y="141"/>
                  </a:lnTo>
                  <a:lnTo>
                    <a:pt x="260" y="140"/>
                  </a:lnTo>
                  <a:lnTo>
                    <a:pt x="262" y="139"/>
                  </a:lnTo>
                  <a:lnTo>
                    <a:pt x="263" y="138"/>
                  </a:lnTo>
                  <a:lnTo>
                    <a:pt x="262" y="138"/>
                  </a:lnTo>
                  <a:lnTo>
                    <a:pt x="262" y="136"/>
                  </a:lnTo>
                  <a:lnTo>
                    <a:pt x="263" y="136"/>
                  </a:lnTo>
                  <a:lnTo>
                    <a:pt x="263" y="138"/>
                  </a:lnTo>
                  <a:lnTo>
                    <a:pt x="264" y="136"/>
                  </a:lnTo>
                  <a:lnTo>
                    <a:pt x="267" y="135"/>
                  </a:lnTo>
                  <a:lnTo>
                    <a:pt x="268" y="134"/>
                  </a:lnTo>
                  <a:lnTo>
                    <a:pt x="269" y="134"/>
                  </a:lnTo>
                  <a:lnTo>
                    <a:pt x="269" y="133"/>
                  </a:lnTo>
                  <a:lnTo>
                    <a:pt x="269" y="132"/>
                  </a:lnTo>
                  <a:lnTo>
                    <a:pt x="269" y="130"/>
                  </a:lnTo>
                  <a:lnTo>
                    <a:pt x="270" y="129"/>
                  </a:lnTo>
                  <a:lnTo>
                    <a:pt x="269" y="129"/>
                  </a:lnTo>
                  <a:lnTo>
                    <a:pt x="268" y="129"/>
                  </a:lnTo>
                  <a:lnTo>
                    <a:pt x="267" y="128"/>
                  </a:lnTo>
                  <a:lnTo>
                    <a:pt x="267" y="127"/>
                  </a:lnTo>
                  <a:lnTo>
                    <a:pt x="265" y="128"/>
                  </a:lnTo>
                  <a:lnTo>
                    <a:pt x="264" y="129"/>
                  </a:lnTo>
                  <a:lnTo>
                    <a:pt x="264" y="130"/>
                  </a:lnTo>
                  <a:lnTo>
                    <a:pt x="263" y="130"/>
                  </a:lnTo>
                  <a:lnTo>
                    <a:pt x="263" y="128"/>
                  </a:lnTo>
                  <a:lnTo>
                    <a:pt x="264" y="128"/>
                  </a:lnTo>
                  <a:lnTo>
                    <a:pt x="263" y="127"/>
                  </a:lnTo>
                  <a:lnTo>
                    <a:pt x="263" y="128"/>
                  </a:lnTo>
                  <a:lnTo>
                    <a:pt x="262" y="127"/>
                  </a:lnTo>
                  <a:lnTo>
                    <a:pt x="262" y="128"/>
                  </a:lnTo>
                  <a:lnTo>
                    <a:pt x="260" y="128"/>
                  </a:lnTo>
                  <a:lnTo>
                    <a:pt x="259" y="128"/>
                  </a:lnTo>
                  <a:lnTo>
                    <a:pt x="259" y="129"/>
                  </a:lnTo>
                  <a:lnTo>
                    <a:pt x="258" y="129"/>
                  </a:lnTo>
                  <a:lnTo>
                    <a:pt x="258" y="128"/>
                  </a:lnTo>
                  <a:lnTo>
                    <a:pt x="258" y="127"/>
                  </a:lnTo>
                  <a:lnTo>
                    <a:pt x="257" y="125"/>
                  </a:lnTo>
                  <a:lnTo>
                    <a:pt x="257" y="127"/>
                  </a:lnTo>
                  <a:lnTo>
                    <a:pt x="256" y="127"/>
                  </a:lnTo>
                  <a:lnTo>
                    <a:pt x="256" y="125"/>
                  </a:lnTo>
                  <a:lnTo>
                    <a:pt x="257" y="124"/>
                  </a:lnTo>
                  <a:lnTo>
                    <a:pt x="256" y="123"/>
                  </a:lnTo>
                  <a:lnTo>
                    <a:pt x="256" y="122"/>
                  </a:lnTo>
                  <a:lnTo>
                    <a:pt x="256" y="123"/>
                  </a:lnTo>
                  <a:lnTo>
                    <a:pt x="254" y="123"/>
                  </a:lnTo>
                  <a:lnTo>
                    <a:pt x="254" y="124"/>
                  </a:lnTo>
                  <a:lnTo>
                    <a:pt x="253" y="124"/>
                  </a:lnTo>
                  <a:lnTo>
                    <a:pt x="253" y="125"/>
                  </a:lnTo>
                  <a:lnTo>
                    <a:pt x="252" y="125"/>
                  </a:lnTo>
                  <a:lnTo>
                    <a:pt x="251" y="125"/>
                  </a:lnTo>
                  <a:lnTo>
                    <a:pt x="251" y="127"/>
                  </a:lnTo>
                  <a:lnTo>
                    <a:pt x="250" y="127"/>
                  </a:lnTo>
                  <a:lnTo>
                    <a:pt x="248" y="127"/>
                  </a:lnTo>
                  <a:lnTo>
                    <a:pt x="248" y="128"/>
                  </a:lnTo>
                  <a:lnTo>
                    <a:pt x="247" y="128"/>
                  </a:lnTo>
                  <a:lnTo>
                    <a:pt x="247" y="127"/>
                  </a:lnTo>
                  <a:lnTo>
                    <a:pt x="248" y="127"/>
                  </a:lnTo>
                  <a:lnTo>
                    <a:pt x="248" y="125"/>
                  </a:lnTo>
                  <a:lnTo>
                    <a:pt x="248" y="124"/>
                  </a:lnTo>
                  <a:lnTo>
                    <a:pt x="247" y="123"/>
                  </a:lnTo>
                  <a:lnTo>
                    <a:pt x="247" y="124"/>
                  </a:lnTo>
                  <a:lnTo>
                    <a:pt x="247" y="123"/>
                  </a:lnTo>
                  <a:lnTo>
                    <a:pt x="246" y="123"/>
                  </a:lnTo>
                  <a:lnTo>
                    <a:pt x="245" y="123"/>
                  </a:lnTo>
                  <a:lnTo>
                    <a:pt x="245" y="122"/>
                  </a:lnTo>
                  <a:lnTo>
                    <a:pt x="242" y="122"/>
                  </a:lnTo>
                  <a:lnTo>
                    <a:pt x="241" y="123"/>
                  </a:lnTo>
                  <a:lnTo>
                    <a:pt x="240" y="123"/>
                  </a:lnTo>
                  <a:lnTo>
                    <a:pt x="240" y="124"/>
                  </a:lnTo>
                  <a:lnTo>
                    <a:pt x="240" y="123"/>
                  </a:lnTo>
                  <a:lnTo>
                    <a:pt x="239" y="124"/>
                  </a:lnTo>
                  <a:lnTo>
                    <a:pt x="239" y="123"/>
                  </a:lnTo>
                  <a:lnTo>
                    <a:pt x="239" y="122"/>
                  </a:lnTo>
                  <a:lnTo>
                    <a:pt x="238" y="122"/>
                  </a:lnTo>
                  <a:lnTo>
                    <a:pt x="236" y="122"/>
                  </a:lnTo>
                  <a:lnTo>
                    <a:pt x="236" y="121"/>
                  </a:lnTo>
                  <a:lnTo>
                    <a:pt x="235" y="121"/>
                  </a:lnTo>
                  <a:lnTo>
                    <a:pt x="235" y="122"/>
                  </a:lnTo>
                  <a:lnTo>
                    <a:pt x="236" y="122"/>
                  </a:lnTo>
                  <a:lnTo>
                    <a:pt x="235" y="122"/>
                  </a:lnTo>
                  <a:lnTo>
                    <a:pt x="234" y="121"/>
                  </a:lnTo>
                  <a:lnTo>
                    <a:pt x="235" y="119"/>
                  </a:lnTo>
                  <a:lnTo>
                    <a:pt x="235" y="118"/>
                  </a:lnTo>
                  <a:lnTo>
                    <a:pt x="235" y="117"/>
                  </a:lnTo>
                  <a:lnTo>
                    <a:pt x="235" y="116"/>
                  </a:lnTo>
                  <a:lnTo>
                    <a:pt x="235" y="117"/>
                  </a:lnTo>
                  <a:lnTo>
                    <a:pt x="234" y="117"/>
                  </a:lnTo>
                  <a:lnTo>
                    <a:pt x="233" y="117"/>
                  </a:lnTo>
                  <a:lnTo>
                    <a:pt x="229" y="116"/>
                  </a:lnTo>
                  <a:lnTo>
                    <a:pt x="229" y="115"/>
                  </a:lnTo>
                  <a:lnTo>
                    <a:pt x="228" y="115"/>
                  </a:lnTo>
                  <a:lnTo>
                    <a:pt x="228" y="113"/>
                  </a:lnTo>
                  <a:lnTo>
                    <a:pt x="227" y="113"/>
                  </a:lnTo>
                  <a:lnTo>
                    <a:pt x="227" y="115"/>
                  </a:lnTo>
                  <a:lnTo>
                    <a:pt x="226" y="113"/>
                  </a:lnTo>
                  <a:lnTo>
                    <a:pt x="224" y="113"/>
                  </a:lnTo>
                  <a:lnTo>
                    <a:pt x="223" y="113"/>
                  </a:lnTo>
                  <a:lnTo>
                    <a:pt x="222" y="113"/>
                  </a:lnTo>
                  <a:lnTo>
                    <a:pt x="221" y="113"/>
                  </a:lnTo>
                  <a:lnTo>
                    <a:pt x="220" y="113"/>
                  </a:lnTo>
                  <a:lnTo>
                    <a:pt x="220" y="112"/>
                  </a:lnTo>
                  <a:lnTo>
                    <a:pt x="218" y="111"/>
                  </a:lnTo>
                  <a:lnTo>
                    <a:pt x="218" y="112"/>
                  </a:lnTo>
                  <a:lnTo>
                    <a:pt x="217" y="112"/>
                  </a:lnTo>
                  <a:lnTo>
                    <a:pt x="217" y="111"/>
                  </a:lnTo>
                  <a:lnTo>
                    <a:pt x="218" y="111"/>
                  </a:lnTo>
                  <a:lnTo>
                    <a:pt x="217" y="110"/>
                  </a:lnTo>
                  <a:lnTo>
                    <a:pt x="217" y="111"/>
                  </a:lnTo>
                  <a:lnTo>
                    <a:pt x="216" y="110"/>
                  </a:lnTo>
                  <a:lnTo>
                    <a:pt x="217" y="110"/>
                  </a:lnTo>
                  <a:lnTo>
                    <a:pt x="216" y="110"/>
                  </a:lnTo>
                  <a:lnTo>
                    <a:pt x="216" y="109"/>
                  </a:lnTo>
                  <a:lnTo>
                    <a:pt x="217" y="107"/>
                  </a:lnTo>
                  <a:lnTo>
                    <a:pt x="216" y="107"/>
                  </a:lnTo>
                  <a:lnTo>
                    <a:pt x="216" y="106"/>
                  </a:lnTo>
                  <a:lnTo>
                    <a:pt x="215" y="106"/>
                  </a:lnTo>
                  <a:lnTo>
                    <a:pt x="215" y="105"/>
                  </a:lnTo>
                  <a:lnTo>
                    <a:pt x="214" y="105"/>
                  </a:lnTo>
                  <a:lnTo>
                    <a:pt x="214" y="104"/>
                  </a:lnTo>
                  <a:lnTo>
                    <a:pt x="212" y="104"/>
                  </a:lnTo>
                  <a:lnTo>
                    <a:pt x="212" y="103"/>
                  </a:lnTo>
                  <a:lnTo>
                    <a:pt x="214" y="103"/>
                  </a:lnTo>
                  <a:lnTo>
                    <a:pt x="214" y="101"/>
                  </a:lnTo>
                  <a:lnTo>
                    <a:pt x="212" y="101"/>
                  </a:lnTo>
                  <a:lnTo>
                    <a:pt x="214" y="101"/>
                  </a:lnTo>
                  <a:lnTo>
                    <a:pt x="215" y="101"/>
                  </a:lnTo>
                  <a:lnTo>
                    <a:pt x="215" y="100"/>
                  </a:lnTo>
                  <a:lnTo>
                    <a:pt x="216" y="100"/>
                  </a:lnTo>
                  <a:lnTo>
                    <a:pt x="216" y="101"/>
                  </a:lnTo>
                  <a:lnTo>
                    <a:pt x="216" y="100"/>
                  </a:lnTo>
                  <a:lnTo>
                    <a:pt x="217" y="100"/>
                  </a:lnTo>
                  <a:lnTo>
                    <a:pt x="217" y="101"/>
                  </a:lnTo>
                  <a:lnTo>
                    <a:pt x="217" y="100"/>
                  </a:lnTo>
                  <a:lnTo>
                    <a:pt x="218" y="100"/>
                  </a:lnTo>
                  <a:lnTo>
                    <a:pt x="218" y="101"/>
                  </a:lnTo>
                  <a:lnTo>
                    <a:pt x="220" y="101"/>
                  </a:lnTo>
                  <a:lnTo>
                    <a:pt x="220" y="103"/>
                  </a:lnTo>
                  <a:lnTo>
                    <a:pt x="221" y="104"/>
                  </a:lnTo>
                  <a:lnTo>
                    <a:pt x="220" y="104"/>
                  </a:lnTo>
                  <a:lnTo>
                    <a:pt x="220" y="105"/>
                  </a:lnTo>
                  <a:lnTo>
                    <a:pt x="220" y="106"/>
                  </a:lnTo>
                  <a:lnTo>
                    <a:pt x="221" y="106"/>
                  </a:lnTo>
                  <a:lnTo>
                    <a:pt x="221" y="107"/>
                  </a:lnTo>
                  <a:lnTo>
                    <a:pt x="222" y="107"/>
                  </a:lnTo>
                  <a:lnTo>
                    <a:pt x="222" y="109"/>
                  </a:lnTo>
                  <a:lnTo>
                    <a:pt x="223" y="109"/>
                  </a:lnTo>
                  <a:lnTo>
                    <a:pt x="222" y="109"/>
                  </a:lnTo>
                  <a:lnTo>
                    <a:pt x="223" y="109"/>
                  </a:lnTo>
                  <a:lnTo>
                    <a:pt x="222" y="109"/>
                  </a:lnTo>
                  <a:lnTo>
                    <a:pt x="221" y="109"/>
                  </a:lnTo>
                  <a:lnTo>
                    <a:pt x="220" y="109"/>
                  </a:lnTo>
                  <a:lnTo>
                    <a:pt x="220" y="110"/>
                  </a:lnTo>
                  <a:lnTo>
                    <a:pt x="221" y="110"/>
                  </a:lnTo>
                  <a:lnTo>
                    <a:pt x="220" y="110"/>
                  </a:lnTo>
                  <a:lnTo>
                    <a:pt x="221" y="110"/>
                  </a:lnTo>
                  <a:lnTo>
                    <a:pt x="221" y="111"/>
                  </a:lnTo>
                  <a:lnTo>
                    <a:pt x="222" y="111"/>
                  </a:lnTo>
                  <a:lnTo>
                    <a:pt x="222" y="112"/>
                  </a:lnTo>
                  <a:lnTo>
                    <a:pt x="222" y="111"/>
                  </a:lnTo>
                  <a:lnTo>
                    <a:pt x="223" y="111"/>
                  </a:lnTo>
                  <a:lnTo>
                    <a:pt x="223" y="112"/>
                  </a:lnTo>
                  <a:lnTo>
                    <a:pt x="223" y="111"/>
                  </a:lnTo>
                  <a:lnTo>
                    <a:pt x="223" y="112"/>
                  </a:lnTo>
                  <a:lnTo>
                    <a:pt x="224" y="112"/>
                  </a:lnTo>
                  <a:lnTo>
                    <a:pt x="224" y="111"/>
                  </a:lnTo>
                  <a:lnTo>
                    <a:pt x="224" y="112"/>
                  </a:lnTo>
                  <a:lnTo>
                    <a:pt x="224" y="111"/>
                  </a:lnTo>
                  <a:lnTo>
                    <a:pt x="226" y="111"/>
                  </a:lnTo>
                  <a:lnTo>
                    <a:pt x="227" y="111"/>
                  </a:lnTo>
                  <a:lnTo>
                    <a:pt x="228" y="111"/>
                  </a:lnTo>
                  <a:lnTo>
                    <a:pt x="229" y="111"/>
                  </a:lnTo>
                  <a:lnTo>
                    <a:pt x="229" y="110"/>
                  </a:lnTo>
                  <a:lnTo>
                    <a:pt x="228" y="110"/>
                  </a:lnTo>
                  <a:lnTo>
                    <a:pt x="228" y="109"/>
                  </a:lnTo>
                  <a:lnTo>
                    <a:pt x="227" y="109"/>
                  </a:lnTo>
                  <a:lnTo>
                    <a:pt x="227" y="107"/>
                  </a:lnTo>
                  <a:lnTo>
                    <a:pt x="227" y="106"/>
                  </a:lnTo>
                  <a:lnTo>
                    <a:pt x="228" y="106"/>
                  </a:lnTo>
                  <a:lnTo>
                    <a:pt x="228" y="105"/>
                  </a:lnTo>
                  <a:lnTo>
                    <a:pt x="227" y="105"/>
                  </a:lnTo>
                  <a:lnTo>
                    <a:pt x="226" y="105"/>
                  </a:lnTo>
                  <a:lnTo>
                    <a:pt x="226" y="104"/>
                  </a:lnTo>
                  <a:lnTo>
                    <a:pt x="227" y="104"/>
                  </a:lnTo>
                  <a:lnTo>
                    <a:pt x="226" y="104"/>
                  </a:lnTo>
                  <a:lnTo>
                    <a:pt x="227" y="104"/>
                  </a:lnTo>
                  <a:lnTo>
                    <a:pt x="228" y="104"/>
                  </a:lnTo>
                  <a:lnTo>
                    <a:pt x="228" y="105"/>
                  </a:lnTo>
                  <a:lnTo>
                    <a:pt x="229" y="105"/>
                  </a:lnTo>
                  <a:lnTo>
                    <a:pt x="230" y="105"/>
                  </a:lnTo>
                  <a:lnTo>
                    <a:pt x="232" y="105"/>
                  </a:lnTo>
                  <a:lnTo>
                    <a:pt x="233" y="105"/>
                  </a:lnTo>
                  <a:lnTo>
                    <a:pt x="233" y="106"/>
                  </a:lnTo>
                  <a:lnTo>
                    <a:pt x="234" y="107"/>
                  </a:lnTo>
                  <a:lnTo>
                    <a:pt x="234" y="106"/>
                  </a:lnTo>
                  <a:lnTo>
                    <a:pt x="234" y="107"/>
                  </a:lnTo>
                  <a:lnTo>
                    <a:pt x="235" y="107"/>
                  </a:lnTo>
                  <a:lnTo>
                    <a:pt x="236" y="106"/>
                  </a:lnTo>
                  <a:lnTo>
                    <a:pt x="238" y="106"/>
                  </a:lnTo>
                  <a:lnTo>
                    <a:pt x="239" y="106"/>
                  </a:lnTo>
                  <a:lnTo>
                    <a:pt x="239" y="105"/>
                  </a:lnTo>
                  <a:lnTo>
                    <a:pt x="239" y="106"/>
                  </a:lnTo>
                  <a:lnTo>
                    <a:pt x="240" y="106"/>
                  </a:lnTo>
                  <a:lnTo>
                    <a:pt x="240" y="107"/>
                  </a:lnTo>
                  <a:lnTo>
                    <a:pt x="241" y="107"/>
                  </a:lnTo>
                  <a:lnTo>
                    <a:pt x="241" y="106"/>
                  </a:lnTo>
                  <a:lnTo>
                    <a:pt x="241" y="107"/>
                  </a:lnTo>
                  <a:lnTo>
                    <a:pt x="242" y="107"/>
                  </a:lnTo>
                  <a:lnTo>
                    <a:pt x="241" y="107"/>
                  </a:lnTo>
                  <a:lnTo>
                    <a:pt x="241" y="109"/>
                  </a:lnTo>
                  <a:lnTo>
                    <a:pt x="242" y="109"/>
                  </a:lnTo>
                  <a:lnTo>
                    <a:pt x="242" y="107"/>
                  </a:lnTo>
                  <a:lnTo>
                    <a:pt x="242" y="109"/>
                  </a:lnTo>
                  <a:lnTo>
                    <a:pt x="244" y="107"/>
                  </a:lnTo>
                  <a:lnTo>
                    <a:pt x="245" y="109"/>
                  </a:lnTo>
                  <a:lnTo>
                    <a:pt x="245" y="107"/>
                  </a:lnTo>
                  <a:lnTo>
                    <a:pt x="245" y="106"/>
                  </a:lnTo>
                  <a:lnTo>
                    <a:pt x="244" y="106"/>
                  </a:lnTo>
                  <a:lnTo>
                    <a:pt x="242" y="106"/>
                  </a:lnTo>
                  <a:lnTo>
                    <a:pt x="244" y="106"/>
                  </a:lnTo>
                  <a:lnTo>
                    <a:pt x="242" y="106"/>
                  </a:lnTo>
                  <a:lnTo>
                    <a:pt x="242" y="105"/>
                  </a:lnTo>
                  <a:lnTo>
                    <a:pt x="244" y="105"/>
                  </a:lnTo>
                  <a:lnTo>
                    <a:pt x="242" y="105"/>
                  </a:lnTo>
                  <a:lnTo>
                    <a:pt x="241" y="105"/>
                  </a:lnTo>
                  <a:lnTo>
                    <a:pt x="241" y="104"/>
                  </a:lnTo>
                  <a:lnTo>
                    <a:pt x="242" y="104"/>
                  </a:lnTo>
                  <a:lnTo>
                    <a:pt x="244" y="104"/>
                  </a:lnTo>
                  <a:lnTo>
                    <a:pt x="244" y="105"/>
                  </a:lnTo>
                  <a:lnTo>
                    <a:pt x="245" y="105"/>
                  </a:lnTo>
                  <a:lnTo>
                    <a:pt x="246" y="105"/>
                  </a:lnTo>
                  <a:lnTo>
                    <a:pt x="245" y="105"/>
                  </a:lnTo>
                  <a:lnTo>
                    <a:pt x="246" y="105"/>
                  </a:lnTo>
                  <a:lnTo>
                    <a:pt x="246" y="106"/>
                  </a:lnTo>
                  <a:lnTo>
                    <a:pt x="247" y="106"/>
                  </a:lnTo>
                  <a:lnTo>
                    <a:pt x="247" y="105"/>
                  </a:lnTo>
                  <a:lnTo>
                    <a:pt x="248" y="105"/>
                  </a:lnTo>
                  <a:lnTo>
                    <a:pt x="250" y="105"/>
                  </a:lnTo>
                  <a:lnTo>
                    <a:pt x="250" y="104"/>
                  </a:lnTo>
                  <a:lnTo>
                    <a:pt x="250" y="105"/>
                  </a:lnTo>
                  <a:lnTo>
                    <a:pt x="251" y="104"/>
                  </a:lnTo>
                  <a:lnTo>
                    <a:pt x="252" y="104"/>
                  </a:lnTo>
                  <a:lnTo>
                    <a:pt x="252" y="103"/>
                  </a:lnTo>
                  <a:lnTo>
                    <a:pt x="252" y="101"/>
                  </a:lnTo>
                  <a:lnTo>
                    <a:pt x="252" y="100"/>
                  </a:lnTo>
                  <a:lnTo>
                    <a:pt x="253" y="100"/>
                  </a:lnTo>
                  <a:lnTo>
                    <a:pt x="253" y="99"/>
                  </a:lnTo>
                  <a:lnTo>
                    <a:pt x="253" y="98"/>
                  </a:lnTo>
                  <a:lnTo>
                    <a:pt x="254" y="98"/>
                  </a:lnTo>
                  <a:lnTo>
                    <a:pt x="254" y="97"/>
                  </a:lnTo>
                  <a:lnTo>
                    <a:pt x="254" y="95"/>
                  </a:lnTo>
                  <a:lnTo>
                    <a:pt x="253" y="95"/>
                  </a:lnTo>
                  <a:lnTo>
                    <a:pt x="253" y="97"/>
                  </a:lnTo>
                  <a:lnTo>
                    <a:pt x="252" y="97"/>
                  </a:lnTo>
                  <a:lnTo>
                    <a:pt x="251" y="97"/>
                  </a:lnTo>
                  <a:lnTo>
                    <a:pt x="251" y="95"/>
                  </a:lnTo>
                  <a:lnTo>
                    <a:pt x="250" y="95"/>
                  </a:lnTo>
                  <a:lnTo>
                    <a:pt x="248" y="95"/>
                  </a:lnTo>
                  <a:lnTo>
                    <a:pt x="248" y="94"/>
                  </a:lnTo>
                  <a:lnTo>
                    <a:pt x="248" y="95"/>
                  </a:lnTo>
                  <a:lnTo>
                    <a:pt x="247" y="95"/>
                  </a:lnTo>
                  <a:lnTo>
                    <a:pt x="247" y="94"/>
                  </a:lnTo>
                  <a:lnTo>
                    <a:pt x="248" y="94"/>
                  </a:lnTo>
                  <a:lnTo>
                    <a:pt x="248" y="93"/>
                  </a:lnTo>
                  <a:lnTo>
                    <a:pt x="250" y="93"/>
                  </a:lnTo>
                  <a:lnTo>
                    <a:pt x="250" y="92"/>
                  </a:lnTo>
                  <a:lnTo>
                    <a:pt x="248" y="92"/>
                  </a:lnTo>
                  <a:lnTo>
                    <a:pt x="250" y="92"/>
                  </a:lnTo>
                  <a:lnTo>
                    <a:pt x="250" y="91"/>
                  </a:lnTo>
                  <a:lnTo>
                    <a:pt x="251" y="91"/>
                  </a:lnTo>
                  <a:lnTo>
                    <a:pt x="251" y="89"/>
                  </a:lnTo>
                  <a:lnTo>
                    <a:pt x="251" y="88"/>
                  </a:lnTo>
                  <a:lnTo>
                    <a:pt x="252" y="88"/>
                  </a:lnTo>
                  <a:lnTo>
                    <a:pt x="251" y="87"/>
                  </a:lnTo>
                  <a:lnTo>
                    <a:pt x="252" y="87"/>
                  </a:lnTo>
                  <a:lnTo>
                    <a:pt x="252" y="86"/>
                  </a:lnTo>
                  <a:lnTo>
                    <a:pt x="252" y="85"/>
                  </a:lnTo>
                  <a:lnTo>
                    <a:pt x="252" y="83"/>
                  </a:lnTo>
                  <a:lnTo>
                    <a:pt x="252" y="82"/>
                  </a:lnTo>
                  <a:lnTo>
                    <a:pt x="252" y="81"/>
                  </a:lnTo>
                  <a:lnTo>
                    <a:pt x="251" y="81"/>
                  </a:lnTo>
                  <a:lnTo>
                    <a:pt x="251" y="82"/>
                  </a:lnTo>
                  <a:lnTo>
                    <a:pt x="250" y="82"/>
                  </a:lnTo>
                  <a:lnTo>
                    <a:pt x="250" y="83"/>
                  </a:lnTo>
                  <a:lnTo>
                    <a:pt x="248" y="83"/>
                  </a:lnTo>
                  <a:lnTo>
                    <a:pt x="248" y="82"/>
                  </a:lnTo>
                  <a:lnTo>
                    <a:pt x="248" y="81"/>
                  </a:lnTo>
                  <a:lnTo>
                    <a:pt x="247" y="81"/>
                  </a:lnTo>
                  <a:lnTo>
                    <a:pt x="247" y="82"/>
                  </a:lnTo>
                  <a:lnTo>
                    <a:pt x="246" y="82"/>
                  </a:lnTo>
                  <a:lnTo>
                    <a:pt x="246" y="83"/>
                  </a:lnTo>
                  <a:lnTo>
                    <a:pt x="246" y="82"/>
                  </a:lnTo>
                  <a:lnTo>
                    <a:pt x="245" y="82"/>
                  </a:lnTo>
                  <a:lnTo>
                    <a:pt x="244" y="83"/>
                  </a:lnTo>
                  <a:lnTo>
                    <a:pt x="242" y="83"/>
                  </a:lnTo>
                  <a:lnTo>
                    <a:pt x="242" y="85"/>
                  </a:lnTo>
                  <a:lnTo>
                    <a:pt x="241" y="85"/>
                  </a:lnTo>
                  <a:lnTo>
                    <a:pt x="240" y="85"/>
                  </a:lnTo>
                  <a:lnTo>
                    <a:pt x="241" y="85"/>
                  </a:lnTo>
                  <a:lnTo>
                    <a:pt x="241" y="83"/>
                  </a:lnTo>
                  <a:lnTo>
                    <a:pt x="242" y="83"/>
                  </a:lnTo>
                  <a:lnTo>
                    <a:pt x="242" y="82"/>
                  </a:lnTo>
                  <a:lnTo>
                    <a:pt x="242" y="81"/>
                  </a:lnTo>
                  <a:lnTo>
                    <a:pt x="241" y="81"/>
                  </a:lnTo>
                  <a:lnTo>
                    <a:pt x="240" y="81"/>
                  </a:lnTo>
                  <a:lnTo>
                    <a:pt x="241" y="81"/>
                  </a:lnTo>
                  <a:lnTo>
                    <a:pt x="240" y="81"/>
                  </a:lnTo>
                  <a:lnTo>
                    <a:pt x="239" y="81"/>
                  </a:lnTo>
                  <a:lnTo>
                    <a:pt x="239" y="82"/>
                  </a:lnTo>
                  <a:lnTo>
                    <a:pt x="238" y="82"/>
                  </a:lnTo>
                  <a:lnTo>
                    <a:pt x="236" y="82"/>
                  </a:lnTo>
                  <a:lnTo>
                    <a:pt x="235" y="82"/>
                  </a:lnTo>
                  <a:lnTo>
                    <a:pt x="235" y="81"/>
                  </a:lnTo>
                  <a:lnTo>
                    <a:pt x="234" y="81"/>
                  </a:lnTo>
                  <a:lnTo>
                    <a:pt x="235" y="81"/>
                  </a:lnTo>
                  <a:lnTo>
                    <a:pt x="236" y="81"/>
                  </a:lnTo>
                  <a:lnTo>
                    <a:pt x="236" y="80"/>
                  </a:lnTo>
                  <a:lnTo>
                    <a:pt x="238" y="80"/>
                  </a:lnTo>
                  <a:lnTo>
                    <a:pt x="239" y="80"/>
                  </a:lnTo>
                  <a:lnTo>
                    <a:pt x="239" y="79"/>
                  </a:lnTo>
                  <a:lnTo>
                    <a:pt x="240" y="79"/>
                  </a:lnTo>
                  <a:lnTo>
                    <a:pt x="241" y="79"/>
                  </a:lnTo>
                  <a:lnTo>
                    <a:pt x="242" y="79"/>
                  </a:lnTo>
                  <a:lnTo>
                    <a:pt x="242" y="77"/>
                  </a:lnTo>
                  <a:lnTo>
                    <a:pt x="244" y="77"/>
                  </a:lnTo>
                  <a:lnTo>
                    <a:pt x="244" y="76"/>
                  </a:lnTo>
                  <a:lnTo>
                    <a:pt x="245" y="76"/>
                  </a:lnTo>
                  <a:lnTo>
                    <a:pt x="246" y="75"/>
                  </a:lnTo>
                  <a:lnTo>
                    <a:pt x="245" y="75"/>
                  </a:lnTo>
                  <a:lnTo>
                    <a:pt x="246" y="75"/>
                  </a:lnTo>
                  <a:lnTo>
                    <a:pt x="245" y="75"/>
                  </a:lnTo>
                  <a:lnTo>
                    <a:pt x="245" y="74"/>
                  </a:lnTo>
                  <a:lnTo>
                    <a:pt x="246" y="74"/>
                  </a:lnTo>
                  <a:lnTo>
                    <a:pt x="246" y="73"/>
                  </a:lnTo>
                  <a:lnTo>
                    <a:pt x="247" y="73"/>
                  </a:lnTo>
                  <a:lnTo>
                    <a:pt x="246" y="71"/>
                  </a:lnTo>
                  <a:lnTo>
                    <a:pt x="245" y="71"/>
                  </a:lnTo>
                  <a:lnTo>
                    <a:pt x="245" y="73"/>
                  </a:lnTo>
                  <a:lnTo>
                    <a:pt x="245" y="71"/>
                  </a:lnTo>
                  <a:lnTo>
                    <a:pt x="244" y="71"/>
                  </a:lnTo>
                  <a:lnTo>
                    <a:pt x="244" y="73"/>
                  </a:lnTo>
                  <a:lnTo>
                    <a:pt x="242" y="73"/>
                  </a:lnTo>
                  <a:lnTo>
                    <a:pt x="242" y="71"/>
                  </a:lnTo>
                  <a:lnTo>
                    <a:pt x="242" y="70"/>
                  </a:lnTo>
                  <a:lnTo>
                    <a:pt x="241" y="71"/>
                  </a:lnTo>
                  <a:lnTo>
                    <a:pt x="240" y="71"/>
                  </a:lnTo>
                  <a:lnTo>
                    <a:pt x="240" y="73"/>
                  </a:lnTo>
                  <a:lnTo>
                    <a:pt x="240" y="74"/>
                  </a:lnTo>
                  <a:lnTo>
                    <a:pt x="239" y="74"/>
                  </a:lnTo>
                  <a:lnTo>
                    <a:pt x="239" y="73"/>
                  </a:lnTo>
                  <a:lnTo>
                    <a:pt x="238" y="73"/>
                  </a:lnTo>
                  <a:lnTo>
                    <a:pt x="236" y="73"/>
                  </a:lnTo>
                  <a:lnTo>
                    <a:pt x="235" y="73"/>
                  </a:lnTo>
                  <a:lnTo>
                    <a:pt x="234" y="74"/>
                  </a:lnTo>
                  <a:lnTo>
                    <a:pt x="234" y="75"/>
                  </a:lnTo>
                  <a:lnTo>
                    <a:pt x="233" y="75"/>
                  </a:lnTo>
                  <a:lnTo>
                    <a:pt x="234" y="74"/>
                  </a:lnTo>
                  <a:lnTo>
                    <a:pt x="234" y="73"/>
                  </a:lnTo>
                  <a:lnTo>
                    <a:pt x="234" y="71"/>
                  </a:lnTo>
                  <a:lnTo>
                    <a:pt x="233" y="71"/>
                  </a:lnTo>
                  <a:lnTo>
                    <a:pt x="233" y="70"/>
                  </a:lnTo>
                  <a:lnTo>
                    <a:pt x="233" y="69"/>
                  </a:lnTo>
                  <a:lnTo>
                    <a:pt x="234" y="69"/>
                  </a:lnTo>
                  <a:lnTo>
                    <a:pt x="234" y="68"/>
                  </a:lnTo>
                  <a:lnTo>
                    <a:pt x="233" y="68"/>
                  </a:lnTo>
                  <a:lnTo>
                    <a:pt x="233" y="69"/>
                  </a:lnTo>
                  <a:lnTo>
                    <a:pt x="233" y="68"/>
                  </a:lnTo>
                  <a:lnTo>
                    <a:pt x="232" y="68"/>
                  </a:lnTo>
                  <a:lnTo>
                    <a:pt x="230" y="68"/>
                  </a:lnTo>
                  <a:lnTo>
                    <a:pt x="230" y="69"/>
                  </a:lnTo>
                  <a:lnTo>
                    <a:pt x="229" y="69"/>
                  </a:lnTo>
                  <a:lnTo>
                    <a:pt x="229" y="68"/>
                  </a:lnTo>
                  <a:lnTo>
                    <a:pt x="228" y="68"/>
                  </a:lnTo>
                  <a:lnTo>
                    <a:pt x="229" y="67"/>
                  </a:lnTo>
                  <a:lnTo>
                    <a:pt x="229" y="65"/>
                  </a:lnTo>
                  <a:lnTo>
                    <a:pt x="228" y="65"/>
                  </a:lnTo>
                  <a:lnTo>
                    <a:pt x="227" y="65"/>
                  </a:lnTo>
                  <a:lnTo>
                    <a:pt x="226" y="64"/>
                  </a:lnTo>
                  <a:lnTo>
                    <a:pt x="226" y="63"/>
                  </a:lnTo>
                  <a:lnTo>
                    <a:pt x="226" y="62"/>
                  </a:lnTo>
                  <a:lnTo>
                    <a:pt x="227" y="62"/>
                  </a:lnTo>
                  <a:lnTo>
                    <a:pt x="227" y="61"/>
                  </a:lnTo>
                  <a:lnTo>
                    <a:pt x="228" y="61"/>
                  </a:lnTo>
                  <a:lnTo>
                    <a:pt x="227" y="61"/>
                  </a:lnTo>
                  <a:lnTo>
                    <a:pt x="228" y="59"/>
                  </a:lnTo>
                  <a:lnTo>
                    <a:pt x="229" y="59"/>
                  </a:lnTo>
                  <a:lnTo>
                    <a:pt x="230" y="59"/>
                  </a:lnTo>
                  <a:lnTo>
                    <a:pt x="230" y="58"/>
                  </a:lnTo>
                  <a:lnTo>
                    <a:pt x="230" y="57"/>
                  </a:lnTo>
                  <a:lnTo>
                    <a:pt x="229" y="57"/>
                  </a:lnTo>
                  <a:lnTo>
                    <a:pt x="230" y="56"/>
                  </a:lnTo>
                  <a:lnTo>
                    <a:pt x="232" y="56"/>
                  </a:lnTo>
                  <a:lnTo>
                    <a:pt x="232" y="55"/>
                  </a:lnTo>
                  <a:lnTo>
                    <a:pt x="233" y="55"/>
                  </a:lnTo>
                  <a:lnTo>
                    <a:pt x="233" y="53"/>
                  </a:lnTo>
                  <a:lnTo>
                    <a:pt x="233" y="52"/>
                  </a:lnTo>
                  <a:lnTo>
                    <a:pt x="233" y="51"/>
                  </a:lnTo>
                  <a:lnTo>
                    <a:pt x="233" y="50"/>
                  </a:lnTo>
                  <a:lnTo>
                    <a:pt x="233" y="49"/>
                  </a:lnTo>
                  <a:lnTo>
                    <a:pt x="232" y="49"/>
                  </a:lnTo>
                  <a:lnTo>
                    <a:pt x="232" y="50"/>
                  </a:lnTo>
                  <a:lnTo>
                    <a:pt x="230" y="50"/>
                  </a:lnTo>
                  <a:lnTo>
                    <a:pt x="229" y="50"/>
                  </a:lnTo>
                  <a:lnTo>
                    <a:pt x="228" y="50"/>
                  </a:lnTo>
                  <a:lnTo>
                    <a:pt x="228" y="51"/>
                  </a:lnTo>
                  <a:lnTo>
                    <a:pt x="227" y="51"/>
                  </a:lnTo>
                  <a:lnTo>
                    <a:pt x="227" y="52"/>
                  </a:lnTo>
                  <a:lnTo>
                    <a:pt x="226" y="52"/>
                  </a:lnTo>
                  <a:lnTo>
                    <a:pt x="224" y="52"/>
                  </a:lnTo>
                  <a:lnTo>
                    <a:pt x="223" y="52"/>
                  </a:lnTo>
                  <a:lnTo>
                    <a:pt x="222" y="52"/>
                  </a:lnTo>
                  <a:lnTo>
                    <a:pt x="222" y="51"/>
                  </a:lnTo>
                  <a:lnTo>
                    <a:pt x="223" y="51"/>
                  </a:lnTo>
                  <a:lnTo>
                    <a:pt x="223" y="50"/>
                  </a:lnTo>
                  <a:lnTo>
                    <a:pt x="224" y="50"/>
                  </a:lnTo>
                  <a:lnTo>
                    <a:pt x="223" y="50"/>
                  </a:lnTo>
                  <a:lnTo>
                    <a:pt x="223" y="49"/>
                  </a:lnTo>
                  <a:lnTo>
                    <a:pt x="223" y="47"/>
                  </a:lnTo>
                  <a:lnTo>
                    <a:pt x="223" y="46"/>
                  </a:lnTo>
                  <a:lnTo>
                    <a:pt x="223" y="45"/>
                  </a:lnTo>
                  <a:lnTo>
                    <a:pt x="222" y="45"/>
                  </a:lnTo>
                  <a:lnTo>
                    <a:pt x="221" y="45"/>
                  </a:lnTo>
                  <a:lnTo>
                    <a:pt x="221" y="46"/>
                  </a:lnTo>
                  <a:lnTo>
                    <a:pt x="220" y="46"/>
                  </a:lnTo>
                  <a:lnTo>
                    <a:pt x="220" y="45"/>
                  </a:lnTo>
                  <a:lnTo>
                    <a:pt x="220" y="44"/>
                  </a:lnTo>
                  <a:lnTo>
                    <a:pt x="218" y="44"/>
                  </a:lnTo>
                  <a:lnTo>
                    <a:pt x="218" y="45"/>
                  </a:lnTo>
                  <a:lnTo>
                    <a:pt x="218" y="46"/>
                  </a:lnTo>
                  <a:lnTo>
                    <a:pt x="217" y="46"/>
                  </a:lnTo>
                  <a:lnTo>
                    <a:pt x="217" y="47"/>
                  </a:lnTo>
                  <a:lnTo>
                    <a:pt x="217" y="49"/>
                  </a:lnTo>
                  <a:lnTo>
                    <a:pt x="218" y="49"/>
                  </a:lnTo>
                  <a:lnTo>
                    <a:pt x="218" y="50"/>
                  </a:lnTo>
                  <a:lnTo>
                    <a:pt x="218" y="51"/>
                  </a:lnTo>
                  <a:lnTo>
                    <a:pt x="217" y="51"/>
                  </a:lnTo>
                  <a:lnTo>
                    <a:pt x="216" y="51"/>
                  </a:lnTo>
                  <a:lnTo>
                    <a:pt x="215" y="51"/>
                  </a:lnTo>
                  <a:lnTo>
                    <a:pt x="215" y="52"/>
                  </a:lnTo>
                  <a:lnTo>
                    <a:pt x="215" y="51"/>
                  </a:lnTo>
                  <a:lnTo>
                    <a:pt x="215" y="50"/>
                  </a:lnTo>
                  <a:lnTo>
                    <a:pt x="216" y="50"/>
                  </a:lnTo>
                  <a:lnTo>
                    <a:pt x="216" y="49"/>
                  </a:lnTo>
                  <a:lnTo>
                    <a:pt x="216" y="47"/>
                  </a:lnTo>
                  <a:lnTo>
                    <a:pt x="215" y="46"/>
                  </a:lnTo>
                  <a:lnTo>
                    <a:pt x="215" y="47"/>
                  </a:lnTo>
                  <a:lnTo>
                    <a:pt x="214" y="49"/>
                  </a:lnTo>
                  <a:lnTo>
                    <a:pt x="214" y="47"/>
                  </a:lnTo>
                  <a:lnTo>
                    <a:pt x="212" y="47"/>
                  </a:lnTo>
                  <a:lnTo>
                    <a:pt x="212" y="49"/>
                  </a:lnTo>
                  <a:lnTo>
                    <a:pt x="211" y="50"/>
                  </a:lnTo>
                  <a:lnTo>
                    <a:pt x="210" y="50"/>
                  </a:lnTo>
                  <a:lnTo>
                    <a:pt x="210" y="51"/>
                  </a:lnTo>
                  <a:lnTo>
                    <a:pt x="210" y="52"/>
                  </a:lnTo>
                  <a:lnTo>
                    <a:pt x="210" y="53"/>
                  </a:lnTo>
                  <a:lnTo>
                    <a:pt x="210" y="55"/>
                  </a:lnTo>
                  <a:lnTo>
                    <a:pt x="209" y="56"/>
                  </a:lnTo>
                  <a:lnTo>
                    <a:pt x="208" y="56"/>
                  </a:lnTo>
                  <a:lnTo>
                    <a:pt x="208" y="55"/>
                  </a:lnTo>
                  <a:lnTo>
                    <a:pt x="209" y="55"/>
                  </a:lnTo>
                  <a:lnTo>
                    <a:pt x="208" y="53"/>
                  </a:lnTo>
                  <a:lnTo>
                    <a:pt x="208" y="52"/>
                  </a:lnTo>
                  <a:lnTo>
                    <a:pt x="208" y="51"/>
                  </a:lnTo>
                  <a:lnTo>
                    <a:pt x="209" y="51"/>
                  </a:lnTo>
                  <a:lnTo>
                    <a:pt x="209" y="50"/>
                  </a:lnTo>
                  <a:lnTo>
                    <a:pt x="208" y="50"/>
                  </a:lnTo>
                  <a:lnTo>
                    <a:pt x="206" y="51"/>
                  </a:lnTo>
                  <a:lnTo>
                    <a:pt x="206" y="50"/>
                  </a:lnTo>
                  <a:lnTo>
                    <a:pt x="206" y="49"/>
                  </a:lnTo>
                  <a:lnTo>
                    <a:pt x="205" y="49"/>
                  </a:lnTo>
                  <a:lnTo>
                    <a:pt x="205" y="47"/>
                  </a:lnTo>
                  <a:lnTo>
                    <a:pt x="205" y="49"/>
                  </a:lnTo>
                  <a:lnTo>
                    <a:pt x="204" y="49"/>
                  </a:lnTo>
                  <a:lnTo>
                    <a:pt x="203" y="49"/>
                  </a:lnTo>
                  <a:lnTo>
                    <a:pt x="203" y="47"/>
                  </a:lnTo>
                  <a:lnTo>
                    <a:pt x="201" y="47"/>
                  </a:lnTo>
                  <a:lnTo>
                    <a:pt x="201" y="49"/>
                  </a:lnTo>
                  <a:lnTo>
                    <a:pt x="201" y="50"/>
                  </a:lnTo>
                  <a:lnTo>
                    <a:pt x="200" y="49"/>
                  </a:lnTo>
                  <a:lnTo>
                    <a:pt x="200" y="50"/>
                  </a:lnTo>
                  <a:lnTo>
                    <a:pt x="199" y="50"/>
                  </a:lnTo>
                  <a:lnTo>
                    <a:pt x="199" y="51"/>
                  </a:lnTo>
                  <a:lnTo>
                    <a:pt x="198" y="51"/>
                  </a:lnTo>
                  <a:lnTo>
                    <a:pt x="198" y="52"/>
                  </a:lnTo>
                  <a:lnTo>
                    <a:pt x="198" y="53"/>
                  </a:lnTo>
                  <a:lnTo>
                    <a:pt x="199" y="53"/>
                  </a:lnTo>
                  <a:lnTo>
                    <a:pt x="199" y="55"/>
                  </a:lnTo>
                  <a:lnTo>
                    <a:pt x="199" y="53"/>
                  </a:lnTo>
                  <a:lnTo>
                    <a:pt x="199" y="55"/>
                  </a:lnTo>
                  <a:lnTo>
                    <a:pt x="199" y="56"/>
                  </a:lnTo>
                  <a:lnTo>
                    <a:pt x="199" y="57"/>
                  </a:lnTo>
                  <a:lnTo>
                    <a:pt x="199" y="58"/>
                  </a:lnTo>
                  <a:lnTo>
                    <a:pt x="198" y="58"/>
                  </a:lnTo>
                  <a:lnTo>
                    <a:pt x="198" y="57"/>
                  </a:lnTo>
                  <a:lnTo>
                    <a:pt x="198" y="56"/>
                  </a:lnTo>
                  <a:lnTo>
                    <a:pt x="197" y="56"/>
                  </a:lnTo>
                  <a:lnTo>
                    <a:pt x="195" y="55"/>
                  </a:lnTo>
                  <a:lnTo>
                    <a:pt x="195" y="56"/>
                  </a:lnTo>
                  <a:lnTo>
                    <a:pt x="195" y="55"/>
                  </a:lnTo>
                  <a:lnTo>
                    <a:pt x="194" y="53"/>
                  </a:lnTo>
                  <a:lnTo>
                    <a:pt x="193" y="53"/>
                  </a:lnTo>
                  <a:lnTo>
                    <a:pt x="193" y="55"/>
                  </a:lnTo>
                  <a:lnTo>
                    <a:pt x="193" y="56"/>
                  </a:lnTo>
                  <a:lnTo>
                    <a:pt x="192" y="56"/>
                  </a:lnTo>
                  <a:lnTo>
                    <a:pt x="192" y="55"/>
                  </a:lnTo>
                  <a:lnTo>
                    <a:pt x="191" y="55"/>
                  </a:lnTo>
                  <a:lnTo>
                    <a:pt x="191" y="56"/>
                  </a:lnTo>
                  <a:lnTo>
                    <a:pt x="191" y="57"/>
                  </a:lnTo>
                  <a:lnTo>
                    <a:pt x="192" y="57"/>
                  </a:lnTo>
                  <a:lnTo>
                    <a:pt x="191" y="57"/>
                  </a:lnTo>
                  <a:lnTo>
                    <a:pt x="192" y="58"/>
                  </a:lnTo>
                  <a:lnTo>
                    <a:pt x="191" y="58"/>
                  </a:lnTo>
                  <a:lnTo>
                    <a:pt x="191" y="59"/>
                  </a:lnTo>
                  <a:lnTo>
                    <a:pt x="191" y="58"/>
                  </a:lnTo>
                  <a:lnTo>
                    <a:pt x="189" y="58"/>
                  </a:lnTo>
                  <a:lnTo>
                    <a:pt x="189" y="59"/>
                  </a:lnTo>
                  <a:lnTo>
                    <a:pt x="189" y="61"/>
                  </a:lnTo>
                  <a:lnTo>
                    <a:pt x="188" y="61"/>
                  </a:lnTo>
                  <a:lnTo>
                    <a:pt x="188" y="59"/>
                  </a:lnTo>
                  <a:lnTo>
                    <a:pt x="188" y="58"/>
                  </a:lnTo>
                  <a:lnTo>
                    <a:pt x="187" y="58"/>
                  </a:lnTo>
                  <a:lnTo>
                    <a:pt x="187" y="59"/>
                  </a:lnTo>
                  <a:lnTo>
                    <a:pt x="186" y="59"/>
                  </a:lnTo>
                  <a:lnTo>
                    <a:pt x="186" y="58"/>
                  </a:lnTo>
                  <a:lnTo>
                    <a:pt x="186" y="59"/>
                  </a:lnTo>
                  <a:lnTo>
                    <a:pt x="185" y="59"/>
                  </a:lnTo>
                  <a:lnTo>
                    <a:pt x="185" y="61"/>
                  </a:lnTo>
                  <a:lnTo>
                    <a:pt x="186" y="61"/>
                  </a:lnTo>
                  <a:lnTo>
                    <a:pt x="186" y="62"/>
                  </a:lnTo>
                  <a:lnTo>
                    <a:pt x="187" y="62"/>
                  </a:lnTo>
                  <a:lnTo>
                    <a:pt x="187" y="61"/>
                  </a:lnTo>
                  <a:lnTo>
                    <a:pt x="188" y="61"/>
                  </a:lnTo>
                  <a:lnTo>
                    <a:pt x="188" y="62"/>
                  </a:lnTo>
                  <a:lnTo>
                    <a:pt x="187" y="62"/>
                  </a:lnTo>
                  <a:lnTo>
                    <a:pt x="186" y="62"/>
                  </a:lnTo>
                  <a:lnTo>
                    <a:pt x="185" y="62"/>
                  </a:lnTo>
                  <a:lnTo>
                    <a:pt x="185" y="61"/>
                  </a:lnTo>
                  <a:lnTo>
                    <a:pt x="183" y="61"/>
                  </a:lnTo>
                  <a:lnTo>
                    <a:pt x="185" y="59"/>
                  </a:lnTo>
                  <a:lnTo>
                    <a:pt x="185" y="58"/>
                  </a:lnTo>
                  <a:lnTo>
                    <a:pt x="186" y="58"/>
                  </a:lnTo>
                  <a:lnTo>
                    <a:pt x="185" y="57"/>
                  </a:lnTo>
                  <a:lnTo>
                    <a:pt x="186" y="57"/>
                  </a:lnTo>
                  <a:lnTo>
                    <a:pt x="186" y="56"/>
                  </a:lnTo>
                  <a:lnTo>
                    <a:pt x="185" y="56"/>
                  </a:lnTo>
                  <a:lnTo>
                    <a:pt x="185" y="57"/>
                  </a:lnTo>
                  <a:lnTo>
                    <a:pt x="183" y="57"/>
                  </a:lnTo>
                  <a:lnTo>
                    <a:pt x="183" y="56"/>
                  </a:lnTo>
                  <a:lnTo>
                    <a:pt x="182" y="56"/>
                  </a:lnTo>
                  <a:lnTo>
                    <a:pt x="182" y="57"/>
                  </a:lnTo>
                  <a:lnTo>
                    <a:pt x="182" y="56"/>
                  </a:lnTo>
                  <a:lnTo>
                    <a:pt x="181" y="56"/>
                  </a:lnTo>
                  <a:lnTo>
                    <a:pt x="182" y="56"/>
                  </a:lnTo>
                  <a:lnTo>
                    <a:pt x="181" y="56"/>
                  </a:lnTo>
                  <a:lnTo>
                    <a:pt x="181" y="57"/>
                  </a:lnTo>
                  <a:lnTo>
                    <a:pt x="182" y="57"/>
                  </a:lnTo>
                  <a:lnTo>
                    <a:pt x="182" y="58"/>
                  </a:lnTo>
                  <a:lnTo>
                    <a:pt x="182" y="59"/>
                  </a:lnTo>
                  <a:lnTo>
                    <a:pt x="183" y="59"/>
                  </a:lnTo>
                  <a:lnTo>
                    <a:pt x="183" y="61"/>
                  </a:lnTo>
                  <a:lnTo>
                    <a:pt x="183" y="62"/>
                  </a:lnTo>
                  <a:lnTo>
                    <a:pt x="182" y="63"/>
                  </a:lnTo>
                  <a:lnTo>
                    <a:pt x="182" y="62"/>
                  </a:lnTo>
                  <a:lnTo>
                    <a:pt x="181" y="62"/>
                  </a:lnTo>
                  <a:lnTo>
                    <a:pt x="180" y="62"/>
                  </a:lnTo>
                  <a:lnTo>
                    <a:pt x="179" y="62"/>
                  </a:lnTo>
                  <a:lnTo>
                    <a:pt x="177" y="62"/>
                  </a:lnTo>
                  <a:lnTo>
                    <a:pt x="176" y="63"/>
                  </a:lnTo>
                  <a:lnTo>
                    <a:pt x="176" y="62"/>
                  </a:lnTo>
                  <a:lnTo>
                    <a:pt x="176" y="63"/>
                  </a:lnTo>
                  <a:lnTo>
                    <a:pt x="175" y="63"/>
                  </a:lnTo>
                  <a:lnTo>
                    <a:pt x="175" y="62"/>
                  </a:lnTo>
                  <a:lnTo>
                    <a:pt x="175" y="63"/>
                  </a:lnTo>
                  <a:lnTo>
                    <a:pt x="174" y="63"/>
                  </a:lnTo>
                  <a:lnTo>
                    <a:pt x="174" y="62"/>
                  </a:lnTo>
                  <a:lnTo>
                    <a:pt x="175" y="62"/>
                  </a:lnTo>
                  <a:lnTo>
                    <a:pt x="174" y="62"/>
                  </a:lnTo>
                  <a:lnTo>
                    <a:pt x="174" y="63"/>
                  </a:lnTo>
                  <a:lnTo>
                    <a:pt x="174" y="64"/>
                  </a:lnTo>
                  <a:lnTo>
                    <a:pt x="175" y="64"/>
                  </a:lnTo>
                  <a:lnTo>
                    <a:pt x="175" y="65"/>
                  </a:lnTo>
                  <a:lnTo>
                    <a:pt x="175" y="64"/>
                  </a:lnTo>
                  <a:lnTo>
                    <a:pt x="175" y="65"/>
                  </a:lnTo>
                  <a:lnTo>
                    <a:pt x="175" y="67"/>
                  </a:lnTo>
                  <a:lnTo>
                    <a:pt x="176" y="67"/>
                  </a:lnTo>
                  <a:lnTo>
                    <a:pt x="176" y="68"/>
                  </a:lnTo>
                  <a:lnTo>
                    <a:pt x="175" y="68"/>
                  </a:lnTo>
                  <a:lnTo>
                    <a:pt x="175" y="67"/>
                  </a:lnTo>
                  <a:lnTo>
                    <a:pt x="175" y="65"/>
                  </a:lnTo>
                  <a:lnTo>
                    <a:pt x="174" y="65"/>
                  </a:lnTo>
                  <a:lnTo>
                    <a:pt x="174" y="67"/>
                  </a:lnTo>
                  <a:lnTo>
                    <a:pt x="174" y="65"/>
                  </a:lnTo>
                  <a:lnTo>
                    <a:pt x="174" y="67"/>
                  </a:lnTo>
                  <a:lnTo>
                    <a:pt x="174" y="68"/>
                  </a:lnTo>
                  <a:lnTo>
                    <a:pt x="173" y="68"/>
                  </a:lnTo>
                  <a:lnTo>
                    <a:pt x="173" y="67"/>
                  </a:lnTo>
                  <a:lnTo>
                    <a:pt x="171" y="67"/>
                  </a:lnTo>
                  <a:lnTo>
                    <a:pt x="170" y="67"/>
                  </a:lnTo>
                  <a:lnTo>
                    <a:pt x="170" y="68"/>
                  </a:lnTo>
                  <a:lnTo>
                    <a:pt x="169" y="68"/>
                  </a:lnTo>
                  <a:lnTo>
                    <a:pt x="168" y="68"/>
                  </a:lnTo>
                  <a:lnTo>
                    <a:pt x="167" y="68"/>
                  </a:lnTo>
                  <a:lnTo>
                    <a:pt x="167" y="69"/>
                  </a:lnTo>
                  <a:lnTo>
                    <a:pt x="165" y="69"/>
                  </a:lnTo>
                  <a:lnTo>
                    <a:pt x="164" y="69"/>
                  </a:lnTo>
                  <a:lnTo>
                    <a:pt x="163" y="69"/>
                  </a:lnTo>
                  <a:lnTo>
                    <a:pt x="163" y="70"/>
                  </a:lnTo>
                  <a:lnTo>
                    <a:pt x="162" y="70"/>
                  </a:lnTo>
                  <a:lnTo>
                    <a:pt x="161" y="70"/>
                  </a:lnTo>
                  <a:lnTo>
                    <a:pt x="162" y="70"/>
                  </a:lnTo>
                  <a:lnTo>
                    <a:pt x="163" y="70"/>
                  </a:lnTo>
                  <a:lnTo>
                    <a:pt x="163" y="71"/>
                  </a:lnTo>
                  <a:lnTo>
                    <a:pt x="162" y="71"/>
                  </a:lnTo>
                  <a:lnTo>
                    <a:pt x="163" y="71"/>
                  </a:lnTo>
                  <a:lnTo>
                    <a:pt x="162" y="71"/>
                  </a:lnTo>
                  <a:lnTo>
                    <a:pt x="161" y="73"/>
                  </a:lnTo>
                  <a:lnTo>
                    <a:pt x="161" y="71"/>
                  </a:lnTo>
                  <a:lnTo>
                    <a:pt x="161" y="70"/>
                  </a:lnTo>
                  <a:lnTo>
                    <a:pt x="161" y="71"/>
                  </a:lnTo>
                  <a:lnTo>
                    <a:pt x="161" y="73"/>
                  </a:lnTo>
                  <a:lnTo>
                    <a:pt x="159" y="73"/>
                  </a:lnTo>
                  <a:lnTo>
                    <a:pt x="159" y="71"/>
                  </a:lnTo>
                  <a:lnTo>
                    <a:pt x="158" y="71"/>
                  </a:lnTo>
                  <a:lnTo>
                    <a:pt x="158" y="73"/>
                  </a:lnTo>
                  <a:lnTo>
                    <a:pt x="157" y="73"/>
                  </a:lnTo>
                  <a:lnTo>
                    <a:pt x="156" y="73"/>
                  </a:lnTo>
                  <a:lnTo>
                    <a:pt x="156" y="74"/>
                  </a:lnTo>
                  <a:lnTo>
                    <a:pt x="156" y="73"/>
                  </a:lnTo>
                  <a:lnTo>
                    <a:pt x="155" y="73"/>
                  </a:lnTo>
                  <a:lnTo>
                    <a:pt x="155" y="74"/>
                  </a:lnTo>
                  <a:lnTo>
                    <a:pt x="155" y="75"/>
                  </a:lnTo>
                  <a:lnTo>
                    <a:pt x="155" y="76"/>
                  </a:lnTo>
                  <a:lnTo>
                    <a:pt x="155" y="77"/>
                  </a:lnTo>
                  <a:lnTo>
                    <a:pt x="156" y="77"/>
                  </a:lnTo>
                  <a:lnTo>
                    <a:pt x="157" y="77"/>
                  </a:lnTo>
                  <a:lnTo>
                    <a:pt x="157" y="79"/>
                  </a:lnTo>
                  <a:lnTo>
                    <a:pt x="158" y="79"/>
                  </a:lnTo>
                  <a:lnTo>
                    <a:pt x="158" y="77"/>
                  </a:lnTo>
                  <a:lnTo>
                    <a:pt x="158" y="76"/>
                  </a:lnTo>
                  <a:lnTo>
                    <a:pt x="158" y="77"/>
                  </a:lnTo>
                  <a:lnTo>
                    <a:pt x="158" y="79"/>
                  </a:lnTo>
                  <a:lnTo>
                    <a:pt x="158" y="77"/>
                  </a:lnTo>
                  <a:lnTo>
                    <a:pt x="159" y="76"/>
                  </a:lnTo>
                  <a:lnTo>
                    <a:pt x="161" y="76"/>
                  </a:lnTo>
                  <a:lnTo>
                    <a:pt x="161" y="77"/>
                  </a:lnTo>
                  <a:lnTo>
                    <a:pt x="159" y="77"/>
                  </a:lnTo>
                  <a:lnTo>
                    <a:pt x="159" y="79"/>
                  </a:lnTo>
                  <a:lnTo>
                    <a:pt x="158" y="79"/>
                  </a:lnTo>
                  <a:lnTo>
                    <a:pt x="157" y="79"/>
                  </a:lnTo>
                  <a:lnTo>
                    <a:pt x="157" y="80"/>
                  </a:lnTo>
                  <a:lnTo>
                    <a:pt x="157" y="81"/>
                  </a:lnTo>
                  <a:lnTo>
                    <a:pt x="157" y="82"/>
                  </a:lnTo>
                  <a:lnTo>
                    <a:pt x="157" y="81"/>
                  </a:lnTo>
                  <a:lnTo>
                    <a:pt x="156" y="81"/>
                  </a:lnTo>
                  <a:lnTo>
                    <a:pt x="156" y="80"/>
                  </a:lnTo>
                  <a:lnTo>
                    <a:pt x="157" y="80"/>
                  </a:lnTo>
                  <a:lnTo>
                    <a:pt x="157" y="79"/>
                  </a:lnTo>
                  <a:lnTo>
                    <a:pt x="156" y="79"/>
                  </a:lnTo>
                  <a:lnTo>
                    <a:pt x="156" y="80"/>
                  </a:lnTo>
                  <a:lnTo>
                    <a:pt x="156" y="79"/>
                  </a:lnTo>
                  <a:lnTo>
                    <a:pt x="155" y="79"/>
                  </a:lnTo>
                  <a:lnTo>
                    <a:pt x="153" y="79"/>
                  </a:lnTo>
                  <a:lnTo>
                    <a:pt x="153" y="80"/>
                  </a:lnTo>
                  <a:lnTo>
                    <a:pt x="152" y="80"/>
                  </a:lnTo>
                  <a:lnTo>
                    <a:pt x="152" y="81"/>
                  </a:lnTo>
                  <a:lnTo>
                    <a:pt x="152" y="82"/>
                  </a:lnTo>
                  <a:lnTo>
                    <a:pt x="151" y="82"/>
                  </a:lnTo>
                  <a:lnTo>
                    <a:pt x="151" y="83"/>
                  </a:lnTo>
                  <a:lnTo>
                    <a:pt x="152" y="83"/>
                  </a:lnTo>
                  <a:lnTo>
                    <a:pt x="151" y="83"/>
                  </a:lnTo>
                  <a:lnTo>
                    <a:pt x="151" y="85"/>
                  </a:lnTo>
                  <a:lnTo>
                    <a:pt x="150" y="85"/>
                  </a:lnTo>
                  <a:lnTo>
                    <a:pt x="150" y="83"/>
                  </a:lnTo>
                  <a:lnTo>
                    <a:pt x="150" y="85"/>
                  </a:lnTo>
                  <a:lnTo>
                    <a:pt x="149" y="85"/>
                  </a:lnTo>
                  <a:lnTo>
                    <a:pt x="150" y="85"/>
                  </a:lnTo>
                  <a:lnTo>
                    <a:pt x="150" y="83"/>
                  </a:lnTo>
                  <a:lnTo>
                    <a:pt x="151" y="83"/>
                  </a:lnTo>
                  <a:lnTo>
                    <a:pt x="150" y="83"/>
                  </a:lnTo>
                  <a:lnTo>
                    <a:pt x="150" y="82"/>
                  </a:lnTo>
                  <a:lnTo>
                    <a:pt x="150" y="81"/>
                  </a:lnTo>
                  <a:lnTo>
                    <a:pt x="151" y="81"/>
                  </a:lnTo>
                  <a:lnTo>
                    <a:pt x="151" y="80"/>
                  </a:lnTo>
                  <a:lnTo>
                    <a:pt x="151" y="79"/>
                  </a:lnTo>
                  <a:lnTo>
                    <a:pt x="152" y="79"/>
                  </a:lnTo>
                  <a:lnTo>
                    <a:pt x="152" y="77"/>
                  </a:lnTo>
                  <a:lnTo>
                    <a:pt x="152" y="76"/>
                  </a:lnTo>
                  <a:lnTo>
                    <a:pt x="152" y="75"/>
                  </a:lnTo>
                  <a:lnTo>
                    <a:pt x="152" y="74"/>
                  </a:lnTo>
                  <a:lnTo>
                    <a:pt x="153" y="74"/>
                  </a:lnTo>
                  <a:lnTo>
                    <a:pt x="152" y="74"/>
                  </a:lnTo>
                  <a:lnTo>
                    <a:pt x="152" y="73"/>
                  </a:lnTo>
                  <a:lnTo>
                    <a:pt x="153" y="73"/>
                  </a:lnTo>
                  <a:lnTo>
                    <a:pt x="153" y="71"/>
                  </a:lnTo>
                  <a:lnTo>
                    <a:pt x="153" y="70"/>
                  </a:lnTo>
                  <a:lnTo>
                    <a:pt x="155" y="70"/>
                  </a:lnTo>
                  <a:lnTo>
                    <a:pt x="156" y="70"/>
                  </a:lnTo>
                  <a:lnTo>
                    <a:pt x="155" y="70"/>
                  </a:lnTo>
                  <a:lnTo>
                    <a:pt x="156" y="70"/>
                  </a:lnTo>
                  <a:lnTo>
                    <a:pt x="156" y="69"/>
                  </a:lnTo>
                  <a:lnTo>
                    <a:pt x="155" y="69"/>
                  </a:lnTo>
                  <a:lnTo>
                    <a:pt x="156" y="69"/>
                  </a:lnTo>
                  <a:lnTo>
                    <a:pt x="156" y="68"/>
                  </a:lnTo>
                  <a:lnTo>
                    <a:pt x="156" y="69"/>
                  </a:lnTo>
                  <a:lnTo>
                    <a:pt x="155" y="68"/>
                  </a:lnTo>
                  <a:lnTo>
                    <a:pt x="155" y="69"/>
                  </a:lnTo>
                  <a:lnTo>
                    <a:pt x="155" y="68"/>
                  </a:lnTo>
                  <a:lnTo>
                    <a:pt x="156" y="68"/>
                  </a:lnTo>
                  <a:lnTo>
                    <a:pt x="157" y="68"/>
                  </a:lnTo>
                  <a:lnTo>
                    <a:pt x="158" y="68"/>
                  </a:lnTo>
                  <a:lnTo>
                    <a:pt x="159" y="68"/>
                  </a:lnTo>
                  <a:lnTo>
                    <a:pt x="161" y="68"/>
                  </a:lnTo>
                  <a:lnTo>
                    <a:pt x="161" y="67"/>
                  </a:lnTo>
                  <a:lnTo>
                    <a:pt x="161" y="65"/>
                  </a:lnTo>
                  <a:lnTo>
                    <a:pt x="159" y="65"/>
                  </a:lnTo>
                  <a:lnTo>
                    <a:pt x="158" y="65"/>
                  </a:lnTo>
                  <a:lnTo>
                    <a:pt x="157" y="65"/>
                  </a:lnTo>
                  <a:lnTo>
                    <a:pt x="157" y="64"/>
                  </a:lnTo>
                  <a:lnTo>
                    <a:pt x="158" y="64"/>
                  </a:lnTo>
                  <a:lnTo>
                    <a:pt x="158" y="63"/>
                  </a:lnTo>
                  <a:lnTo>
                    <a:pt x="158" y="64"/>
                  </a:lnTo>
                  <a:lnTo>
                    <a:pt x="158" y="65"/>
                  </a:lnTo>
                  <a:lnTo>
                    <a:pt x="159" y="65"/>
                  </a:lnTo>
                  <a:lnTo>
                    <a:pt x="161" y="65"/>
                  </a:lnTo>
                  <a:lnTo>
                    <a:pt x="162" y="65"/>
                  </a:lnTo>
                  <a:lnTo>
                    <a:pt x="162" y="64"/>
                  </a:lnTo>
                  <a:lnTo>
                    <a:pt x="162" y="65"/>
                  </a:lnTo>
                  <a:lnTo>
                    <a:pt x="162" y="64"/>
                  </a:lnTo>
                  <a:lnTo>
                    <a:pt x="163" y="64"/>
                  </a:lnTo>
                  <a:lnTo>
                    <a:pt x="163" y="65"/>
                  </a:lnTo>
                  <a:lnTo>
                    <a:pt x="164" y="65"/>
                  </a:lnTo>
                  <a:lnTo>
                    <a:pt x="164" y="64"/>
                  </a:lnTo>
                  <a:lnTo>
                    <a:pt x="165" y="64"/>
                  </a:lnTo>
                  <a:lnTo>
                    <a:pt x="167" y="64"/>
                  </a:lnTo>
                  <a:lnTo>
                    <a:pt x="168" y="63"/>
                  </a:lnTo>
                  <a:lnTo>
                    <a:pt x="167" y="63"/>
                  </a:lnTo>
                  <a:lnTo>
                    <a:pt x="167" y="62"/>
                  </a:lnTo>
                  <a:lnTo>
                    <a:pt x="165" y="62"/>
                  </a:lnTo>
                  <a:lnTo>
                    <a:pt x="165" y="63"/>
                  </a:lnTo>
                  <a:lnTo>
                    <a:pt x="164" y="63"/>
                  </a:lnTo>
                  <a:lnTo>
                    <a:pt x="164" y="62"/>
                  </a:lnTo>
                  <a:lnTo>
                    <a:pt x="165" y="62"/>
                  </a:lnTo>
                  <a:lnTo>
                    <a:pt x="167" y="62"/>
                  </a:lnTo>
                  <a:lnTo>
                    <a:pt x="168" y="62"/>
                  </a:lnTo>
                  <a:lnTo>
                    <a:pt x="168" y="63"/>
                  </a:lnTo>
                  <a:lnTo>
                    <a:pt x="168" y="62"/>
                  </a:lnTo>
                  <a:lnTo>
                    <a:pt x="167" y="62"/>
                  </a:lnTo>
                  <a:lnTo>
                    <a:pt x="168" y="62"/>
                  </a:lnTo>
                  <a:lnTo>
                    <a:pt x="168" y="61"/>
                  </a:lnTo>
                  <a:lnTo>
                    <a:pt x="168" y="59"/>
                  </a:lnTo>
                  <a:lnTo>
                    <a:pt x="168" y="58"/>
                  </a:lnTo>
                  <a:lnTo>
                    <a:pt x="169" y="58"/>
                  </a:lnTo>
                  <a:lnTo>
                    <a:pt x="170" y="58"/>
                  </a:lnTo>
                  <a:lnTo>
                    <a:pt x="170" y="59"/>
                  </a:lnTo>
                  <a:lnTo>
                    <a:pt x="169" y="59"/>
                  </a:lnTo>
                  <a:lnTo>
                    <a:pt x="169" y="58"/>
                  </a:lnTo>
                  <a:lnTo>
                    <a:pt x="169" y="59"/>
                  </a:lnTo>
                  <a:lnTo>
                    <a:pt x="170" y="59"/>
                  </a:lnTo>
                  <a:lnTo>
                    <a:pt x="169" y="59"/>
                  </a:lnTo>
                  <a:lnTo>
                    <a:pt x="169" y="61"/>
                  </a:lnTo>
                  <a:lnTo>
                    <a:pt x="169" y="59"/>
                  </a:lnTo>
                  <a:lnTo>
                    <a:pt x="168" y="59"/>
                  </a:lnTo>
                  <a:lnTo>
                    <a:pt x="169" y="61"/>
                  </a:lnTo>
                  <a:lnTo>
                    <a:pt x="170" y="61"/>
                  </a:lnTo>
                  <a:lnTo>
                    <a:pt x="171" y="61"/>
                  </a:lnTo>
                  <a:lnTo>
                    <a:pt x="171" y="62"/>
                  </a:lnTo>
                  <a:lnTo>
                    <a:pt x="173" y="62"/>
                  </a:lnTo>
                  <a:lnTo>
                    <a:pt x="173" y="61"/>
                  </a:lnTo>
                  <a:lnTo>
                    <a:pt x="173" y="59"/>
                  </a:lnTo>
                  <a:lnTo>
                    <a:pt x="173" y="61"/>
                  </a:lnTo>
                  <a:lnTo>
                    <a:pt x="171" y="61"/>
                  </a:lnTo>
                  <a:lnTo>
                    <a:pt x="173" y="61"/>
                  </a:lnTo>
                  <a:lnTo>
                    <a:pt x="171" y="61"/>
                  </a:lnTo>
                  <a:lnTo>
                    <a:pt x="171" y="59"/>
                  </a:lnTo>
                  <a:lnTo>
                    <a:pt x="173" y="59"/>
                  </a:lnTo>
                  <a:lnTo>
                    <a:pt x="171" y="59"/>
                  </a:lnTo>
                  <a:lnTo>
                    <a:pt x="173" y="59"/>
                  </a:lnTo>
                  <a:lnTo>
                    <a:pt x="173" y="58"/>
                  </a:lnTo>
                  <a:lnTo>
                    <a:pt x="174" y="58"/>
                  </a:lnTo>
                  <a:lnTo>
                    <a:pt x="174" y="57"/>
                  </a:lnTo>
                  <a:lnTo>
                    <a:pt x="174" y="58"/>
                  </a:lnTo>
                  <a:lnTo>
                    <a:pt x="175" y="58"/>
                  </a:lnTo>
                  <a:lnTo>
                    <a:pt x="175" y="57"/>
                  </a:lnTo>
                  <a:lnTo>
                    <a:pt x="176" y="57"/>
                  </a:lnTo>
                  <a:lnTo>
                    <a:pt x="177" y="58"/>
                  </a:lnTo>
                  <a:lnTo>
                    <a:pt x="177" y="57"/>
                  </a:lnTo>
                  <a:lnTo>
                    <a:pt x="177" y="58"/>
                  </a:lnTo>
                  <a:lnTo>
                    <a:pt x="177" y="59"/>
                  </a:lnTo>
                  <a:lnTo>
                    <a:pt x="179" y="59"/>
                  </a:lnTo>
                  <a:lnTo>
                    <a:pt x="179" y="61"/>
                  </a:lnTo>
                  <a:lnTo>
                    <a:pt x="180" y="59"/>
                  </a:lnTo>
                  <a:lnTo>
                    <a:pt x="180" y="61"/>
                  </a:lnTo>
                  <a:lnTo>
                    <a:pt x="181" y="59"/>
                  </a:lnTo>
                  <a:lnTo>
                    <a:pt x="180" y="59"/>
                  </a:lnTo>
                  <a:lnTo>
                    <a:pt x="180" y="58"/>
                  </a:lnTo>
                  <a:lnTo>
                    <a:pt x="180" y="59"/>
                  </a:lnTo>
                  <a:lnTo>
                    <a:pt x="180" y="58"/>
                  </a:lnTo>
                  <a:lnTo>
                    <a:pt x="180" y="57"/>
                  </a:lnTo>
                  <a:lnTo>
                    <a:pt x="179" y="57"/>
                  </a:lnTo>
                  <a:lnTo>
                    <a:pt x="179" y="56"/>
                  </a:lnTo>
                  <a:lnTo>
                    <a:pt x="180" y="56"/>
                  </a:lnTo>
                  <a:lnTo>
                    <a:pt x="179" y="56"/>
                  </a:lnTo>
                  <a:lnTo>
                    <a:pt x="179" y="55"/>
                  </a:lnTo>
                  <a:lnTo>
                    <a:pt x="180" y="55"/>
                  </a:lnTo>
                  <a:lnTo>
                    <a:pt x="181" y="55"/>
                  </a:lnTo>
                  <a:lnTo>
                    <a:pt x="181" y="56"/>
                  </a:lnTo>
                  <a:lnTo>
                    <a:pt x="181" y="55"/>
                  </a:lnTo>
                  <a:lnTo>
                    <a:pt x="182" y="55"/>
                  </a:lnTo>
                  <a:lnTo>
                    <a:pt x="183" y="55"/>
                  </a:lnTo>
                  <a:lnTo>
                    <a:pt x="185" y="55"/>
                  </a:lnTo>
                  <a:lnTo>
                    <a:pt x="185" y="56"/>
                  </a:lnTo>
                  <a:lnTo>
                    <a:pt x="186" y="56"/>
                  </a:lnTo>
                  <a:lnTo>
                    <a:pt x="186" y="55"/>
                  </a:lnTo>
                  <a:lnTo>
                    <a:pt x="185" y="55"/>
                  </a:lnTo>
                  <a:lnTo>
                    <a:pt x="186" y="55"/>
                  </a:lnTo>
                  <a:lnTo>
                    <a:pt x="187" y="55"/>
                  </a:lnTo>
                  <a:lnTo>
                    <a:pt x="188" y="56"/>
                  </a:lnTo>
                  <a:lnTo>
                    <a:pt x="187" y="56"/>
                  </a:lnTo>
                  <a:lnTo>
                    <a:pt x="188" y="56"/>
                  </a:lnTo>
                  <a:lnTo>
                    <a:pt x="188" y="57"/>
                  </a:lnTo>
                  <a:lnTo>
                    <a:pt x="189" y="57"/>
                  </a:lnTo>
                  <a:lnTo>
                    <a:pt x="189" y="56"/>
                  </a:lnTo>
                  <a:lnTo>
                    <a:pt x="188" y="56"/>
                  </a:lnTo>
                  <a:lnTo>
                    <a:pt x="189" y="56"/>
                  </a:lnTo>
                  <a:lnTo>
                    <a:pt x="188" y="55"/>
                  </a:lnTo>
                  <a:lnTo>
                    <a:pt x="188" y="53"/>
                  </a:lnTo>
                  <a:lnTo>
                    <a:pt x="189" y="53"/>
                  </a:lnTo>
                  <a:lnTo>
                    <a:pt x="189" y="55"/>
                  </a:lnTo>
                  <a:lnTo>
                    <a:pt x="189" y="53"/>
                  </a:lnTo>
                  <a:lnTo>
                    <a:pt x="191" y="53"/>
                  </a:lnTo>
                  <a:lnTo>
                    <a:pt x="191" y="52"/>
                  </a:lnTo>
                  <a:lnTo>
                    <a:pt x="192" y="52"/>
                  </a:lnTo>
                  <a:lnTo>
                    <a:pt x="193" y="52"/>
                  </a:lnTo>
                  <a:lnTo>
                    <a:pt x="193" y="51"/>
                  </a:lnTo>
                  <a:lnTo>
                    <a:pt x="194" y="51"/>
                  </a:lnTo>
                  <a:lnTo>
                    <a:pt x="194" y="50"/>
                  </a:lnTo>
                  <a:lnTo>
                    <a:pt x="195" y="50"/>
                  </a:lnTo>
                  <a:lnTo>
                    <a:pt x="197" y="50"/>
                  </a:lnTo>
                  <a:lnTo>
                    <a:pt x="197" y="49"/>
                  </a:lnTo>
                  <a:lnTo>
                    <a:pt x="198" y="49"/>
                  </a:lnTo>
                  <a:lnTo>
                    <a:pt x="198" y="47"/>
                  </a:lnTo>
                  <a:lnTo>
                    <a:pt x="198" y="46"/>
                  </a:lnTo>
                  <a:lnTo>
                    <a:pt x="197" y="46"/>
                  </a:lnTo>
                  <a:lnTo>
                    <a:pt x="198" y="46"/>
                  </a:lnTo>
                  <a:lnTo>
                    <a:pt x="198" y="45"/>
                  </a:lnTo>
                  <a:lnTo>
                    <a:pt x="199" y="45"/>
                  </a:lnTo>
                  <a:lnTo>
                    <a:pt x="200" y="45"/>
                  </a:lnTo>
                  <a:lnTo>
                    <a:pt x="200" y="44"/>
                  </a:lnTo>
                  <a:lnTo>
                    <a:pt x="201" y="44"/>
                  </a:lnTo>
                  <a:lnTo>
                    <a:pt x="201" y="43"/>
                  </a:lnTo>
                  <a:lnTo>
                    <a:pt x="200" y="43"/>
                  </a:lnTo>
                  <a:lnTo>
                    <a:pt x="199" y="43"/>
                  </a:lnTo>
                  <a:lnTo>
                    <a:pt x="199" y="41"/>
                  </a:lnTo>
                  <a:lnTo>
                    <a:pt x="198" y="41"/>
                  </a:lnTo>
                  <a:lnTo>
                    <a:pt x="197" y="41"/>
                  </a:lnTo>
                  <a:lnTo>
                    <a:pt x="197" y="43"/>
                  </a:lnTo>
                  <a:lnTo>
                    <a:pt x="197" y="41"/>
                  </a:lnTo>
                  <a:lnTo>
                    <a:pt x="198" y="41"/>
                  </a:lnTo>
                  <a:lnTo>
                    <a:pt x="198" y="40"/>
                  </a:lnTo>
                  <a:lnTo>
                    <a:pt x="199" y="40"/>
                  </a:lnTo>
                  <a:lnTo>
                    <a:pt x="199" y="39"/>
                  </a:lnTo>
                  <a:lnTo>
                    <a:pt x="199" y="38"/>
                  </a:lnTo>
                  <a:lnTo>
                    <a:pt x="200" y="38"/>
                  </a:lnTo>
                  <a:lnTo>
                    <a:pt x="200" y="37"/>
                  </a:lnTo>
                  <a:lnTo>
                    <a:pt x="200" y="35"/>
                  </a:lnTo>
                  <a:lnTo>
                    <a:pt x="199" y="35"/>
                  </a:lnTo>
                  <a:lnTo>
                    <a:pt x="199" y="37"/>
                  </a:lnTo>
                  <a:lnTo>
                    <a:pt x="198" y="37"/>
                  </a:lnTo>
                  <a:lnTo>
                    <a:pt x="197" y="37"/>
                  </a:lnTo>
                  <a:lnTo>
                    <a:pt x="195" y="37"/>
                  </a:lnTo>
                  <a:lnTo>
                    <a:pt x="195" y="35"/>
                  </a:lnTo>
                  <a:lnTo>
                    <a:pt x="197" y="35"/>
                  </a:lnTo>
                  <a:lnTo>
                    <a:pt x="198" y="35"/>
                  </a:lnTo>
                  <a:lnTo>
                    <a:pt x="198" y="34"/>
                  </a:lnTo>
                  <a:lnTo>
                    <a:pt x="198" y="33"/>
                  </a:lnTo>
                  <a:lnTo>
                    <a:pt x="199" y="33"/>
                  </a:lnTo>
                  <a:lnTo>
                    <a:pt x="198" y="33"/>
                  </a:lnTo>
                  <a:lnTo>
                    <a:pt x="199" y="33"/>
                  </a:lnTo>
                  <a:lnTo>
                    <a:pt x="199" y="32"/>
                  </a:lnTo>
                  <a:lnTo>
                    <a:pt x="199" y="31"/>
                  </a:lnTo>
                  <a:lnTo>
                    <a:pt x="198" y="31"/>
                  </a:lnTo>
                  <a:lnTo>
                    <a:pt x="198" y="32"/>
                  </a:lnTo>
                  <a:lnTo>
                    <a:pt x="197" y="32"/>
                  </a:lnTo>
                  <a:lnTo>
                    <a:pt x="197" y="31"/>
                  </a:lnTo>
                  <a:lnTo>
                    <a:pt x="197" y="29"/>
                  </a:lnTo>
                  <a:lnTo>
                    <a:pt x="198" y="29"/>
                  </a:lnTo>
                  <a:lnTo>
                    <a:pt x="197" y="29"/>
                  </a:lnTo>
                  <a:lnTo>
                    <a:pt x="197" y="28"/>
                  </a:lnTo>
                  <a:lnTo>
                    <a:pt x="197" y="27"/>
                  </a:lnTo>
                  <a:lnTo>
                    <a:pt x="197" y="26"/>
                  </a:lnTo>
                  <a:lnTo>
                    <a:pt x="197" y="25"/>
                  </a:lnTo>
                  <a:lnTo>
                    <a:pt x="195" y="25"/>
                  </a:lnTo>
                  <a:lnTo>
                    <a:pt x="195" y="26"/>
                  </a:lnTo>
                  <a:lnTo>
                    <a:pt x="195" y="27"/>
                  </a:lnTo>
                  <a:lnTo>
                    <a:pt x="195" y="28"/>
                  </a:lnTo>
                  <a:lnTo>
                    <a:pt x="194" y="28"/>
                  </a:lnTo>
                  <a:lnTo>
                    <a:pt x="194" y="27"/>
                  </a:lnTo>
                  <a:lnTo>
                    <a:pt x="193" y="26"/>
                  </a:lnTo>
                  <a:lnTo>
                    <a:pt x="194" y="26"/>
                  </a:lnTo>
                  <a:lnTo>
                    <a:pt x="194" y="25"/>
                  </a:lnTo>
                  <a:lnTo>
                    <a:pt x="194" y="23"/>
                  </a:lnTo>
                  <a:lnTo>
                    <a:pt x="193" y="23"/>
                  </a:lnTo>
                  <a:lnTo>
                    <a:pt x="193" y="25"/>
                  </a:lnTo>
                  <a:lnTo>
                    <a:pt x="192" y="25"/>
                  </a:lnTo>
                  <a:lnTo>
                    <a:pt x="192" y="23"/>
                  </a:lnTo>
                  <a:lnTo>
                    <a:pt x="193" y="23"/>
                  </a:lnTo>
                  <a:lnTo>
                    <a:pt x="192" y="23"/>
                  </a:lnTo>
                  <a:lnTo>
                    <a:pt x="193" y="23"/>
                  </a:lnTo>
                  <a:lnTo>
                    <a:pt x="193" y="22"/>
                  </a:lnTo>
                  <a:lnTo>
                    <a:pt x="192" y="22"/>
                  </a:lnTo>
                  <a:lnTo>
                    <a:pt x="192" y="21"/>
                  </a:lnTo>
                  <a:lnTo>
                    <a:pt x="193" y="21"/>
                  </a:lnTo>
                  <a:lnTo>
                    <a:pt x="192" y="21"/>
                  </a:lnTo>
                  <a:lnTo>
                    <a:pt x="193" y="20"/>
                  </a:lnTo>
                  <a:lnTo>
                    <a:pt x="193" y="21"/>
                  </a:lnTo>
                  <a:lnTo>
                    <a:pt x="193" y="20"/>
                  </a:lnTo>
                  <a:lnTo>
                    <a:pt x="194" y="20"/>
                  </a:lnTo>
                  <a:lnTo>
                    <a:pt x="194" y="18"/>
                  </a:lnTo>
                  <a:lnTo>
                    <a:pt x="193" y="17"/>
                  </a:lnTo>
                  <a:lnTo>
                    <a:pt x="193" y="18"/>
                  </a:lnTo>
                  <a:lnTo>
                    <a:pt x="193" y="17"/>
                  </a:lnTo>
                  <a:lnTo>
                    <a:pt x="193" y="16"/>
                  </a:lnTo>
                  <a:lnTo>
                    <a:pt x="192" y="15"/>
                  </a:lnTo>
                  <a:lnTo>
                    <a:pt x="192" y="16"/>
                  </a:lnTo>
                  <a:lnTo>
                    <a:pt x="192" y="17"/>
                  </a:lnTo>
                  <a:lnTo>
                    <a:pt x="191" y="17"/>
                  </a:lnTo>
                  <a:lnTo>
                    <a:pt x="189" y="17"/>
                  </a:lnTo>
                  <a:lnTo>
                    <a:pt x="189" y="18"/>
                  </a:lnTo>
                  <a:lnTo>
                    <a:pt x="189" y="20"/>
                  </a:lnTo>
                  <a:lnTo>
                    <a:pt x="188" y="20"/>
                  </a:lnTo>
                  <a:lnTo>
                    <a:pt x="187" y="20"/>
                  </a:lnTo>
                  <a:lnTo>
                    <a:pt x="187" y="18"/>
                  </a:lnTo>
                  <a:lnTo>
                    <a:pt x="188" y="18"/>
                  </a:lnTo>
                  <a:lnTo>
                    <a:pt x="187" y="18"/>
                  </a:lnTo>
                  <a:lnTo>
                    <a:pt x="188" y="17"/>
                  </a:lnTo>
                  <a:lnTo>
                    <a:pt x="188" y="16"/>
                  </a:lnTo>
                  <a:lnTo>
                    <a:pt x="188" y="15"/>
                  </a:lnTo>
                  <a:lnTo>
                    <a:pt x="188" y="14"/>
                  </a:lnTo>
                  <a:lnTo>
                    <a:pt x="189" y="12"/>
                  </a:lnTo>
                  <a:lnTo>
                    <a:pt x="189" y="11"/>
                  </a:lnTo>
                  <a:lnTo>
                    <a:pt x="189" y="10"/>
                  </a:lnTo>
                  <a:lnTo>
                    <a:pt x="188" y="10"/>
                  </a:lnTo>
                  <a:lnTo>
                    <a:pt x="188" y="9"/>
                  </a:lnTo>
                  <a:lnTo>
                    <a:pt x="188" y="8"/>
                  </a:lnTo>
                  <a:lnTo>
                    <a:pt x="187" y="8"/>
                  </a:lnTo>
                  <a:lnTo>
                    <a:pt x="187" y="9"/>
                  </a:lnTo>
                  <a:lnTo>
                    <a:pt x="187" y="10"/>
                  </a:lnTo>
                  <a:lnTo>
                    <a:pt x="186" y="10"/>
                  </a:lnTo>
                  <a:lnTo>
                    <a:pt x="186" y="11"/>
                  </a:lnTo>
                  <a:lnTo>
                    <a:pt x="186" y="10"/>
                  </a:lnTo>
                  <a:lnTo>
                    <a:pt x="185" y="10"/>
                  </a:lnTo>
                  <a:lnTo>
                    <a:pt x="183" y="10"/>
                  </a:lnTo>
                  <a:lnTo>
                    <a:pt x="183" y="11"/>
                  </a:lnTo>
                  <a:lnTo>
                    <a:pt x="183" y="10"/>
                  </a:lnTo>
                  <a:lnTo>
                    <a:pt x="183" y="9"/>
                  </a:lnTo>
                  <a:lnTo>
                    <a:pt x="182" y="9"/>
                  </a:lnTo>
                  <a:lnTo>
                    <a:pt x="181" y="9"/>
                  </a:lnTo>
                  <a:lnTo>
                    <a:pt x="181" y="10"/>
                  </a:lnTo>
                  <a:lnTo>
                    <a:pt x="181" y="11"/>
                  </a:lnTo>
                  <a:lnTo>
                    <a:pt x="182" y="11"/>
                  </a:lnTo>
                  <a:lnTo>
                    <a:pt x="182" y="12"/>
                  </a:lnTo>
                  <a:lnTo>
                    <a:pt x="181" y="12"/>
                  </a:lnTo>
                  <a:lnTo>
                    <a:pt x="181" y="14"/>
                  </a:lnTo>
                  <a:lnTo>
                    <a:pt x="182" y="14"/>
                  </a:lnTo>
                  <a:lnTo>
                    <a:pt x="182" y="15"/>
                  </a:lnTo>
                  <a:lnTo>
                    <a:pt x="182" y="16"/>
                  </a:lnTo>
                  <a:lnTo>
                    <a:pt x="182" y="17"/>
                  </a:lnTo>
                  <a:lnTo>
                    <a:pt x="181" y="17"/>
                  </a:lnTo>
                  <a:lnTo>
                    <a:pt x="181" y="18"/>
                  </a:lnTo>
                  <a:lnTo>
                    <a:pt x="180" y="18"/>
                  </a:lnTo>
                  <a:lnTo>
                    <a:pt x="180" y="17"/>
                  </a:lnTo>
                  <a:lnTo>
                    <a:pt x="179" y="17"/>
                  </a:lnTo>
                  <a:lnTo>
                    <a:pt x="179" y="16"/>
                  </a:lnTo>
                  <a:lnTo>
                    <a:pt x="179" y="15"/>
                  </a:lnTo>
                  <a:lnTo>
                    <a:pt x="177" y="15"/>
                  </a:lnTo>
                  <a:lnTo>
                    <a:pt x="177" y="14"/>
                  </a:lnTo>
                  <a:lnTo>
                    <a:pt x="177" y="12"/>
                  </a:lnTo>
                  <a:lnTo>
                    <a:pt x="177" y="11"/>
                  </a:lnTo>
                  <a:lnTo>
                    <a:pt x="176" y="11"/>
                  </a:lnTo>
                  <a:lnTo>
                    <a:pt x="176" y="12"/>
                  </a:lnTo>
                  <a:lnTo>
                    <a:pt x="176" y="14"/>
                  </a:lnTo>
                  <a:lnTo>
                    <a:pt x="175" y="14"/>
                  </a:lnTo>
                  <a:lnTo>
                    <a:pt x="174" y="14"/>
                  </a:lnTo>
                  <a:lnTo>
                    <a:pt x="174" y="15"/>
                  </a:lnTo>
                  <a:lnTo>
                    <a:pt x="174" y="16"/>
                  </a:lnTo>
                  <a:lnTo>
                    <a:pt x="174" y="15"/>
                  </a:lnTo>
                  <a:lnTo>
                    <a:pt x="173" y="15"/>
                  </a:lnTo>
                  <a:lnTo>
                    <a:pt x="173" y="16"/>
                  </a:lnTo>
                  <a:lnTo>
                    <a:pt x="171" y="16"/>
                  </a:lnTo>
                  <a:lnTo>
                    <a:pt x="171" y="15"/>
                  </a:lnTo>
                  <a:lnTo>
                    <a:pt x="173" y="15"/>
                  </a:lnTo>
                  <a:lnTo>
                    <a:pt x="171" y="14"/>
                  </a:lnTo>
                  <a:lnTo>
                    <a:pt x="171" y="12"/>
                  </a:lnTo>
                  <a:lnTo>
                    <a:pt x="170" y="12"/>
                  </a:lnTo>
                  <a:lnTo>
                    <a:pt x="171" y="12"/>
                  </a:lnTo>
                  <a:lnTo>
                    <a:pt x="171" y="11"/>
                  </a:lnTo>
                  <a:lnTo>
                    <a:pt x="170" y="11"/>
                  </a:lnTo>
                  <a:lnTo>
                    <a:pt x="171" y="10"/>
                  </a:lnTo>
                  <a:lnTo>
                    <a:pt x="173" y="10"/>
                  </a:lnTo>
                  <a:lnTo>
                    <a:pt x="173" y="9"/>
                  </a:lnTo>
                  <a:lnTo>
                    <a:pt x="173" y="8"/>
                  </a:lnTo>
                  <a:lnTo>
                    <a:pt x="174" y="6"/>
                  </a:lnTo>
                  <a:lnTo>
                    <a:pt x="173" y="5"/>
                  </a:lnTo>
                  <a:lnTo>
                    <a:pt x="173" y="6"/>
                  </a:lnTo>
                  <a:lnTo>
                    <a:pt x="171" y="5"/>
                  </a:lnTo>
                  <a:lnTo>
                    <a:pt x="171" y="4"/>
                  </a:lnTo>
                  <a:lnTo>
                    <a:pt x="170" y="4"/>
                  </a:lnTo>
                  <a:lnTo>
                    <a:pt x="170" y="5"/>
                  </a:lnTo>
                  <a:lnTo>
                    <a:pt x="169" y="5"/>
                  </a:lnTo>
                  <a:lnTo>
                    <a:pt x="169" y="6"/>
                  </a:lnTo>
                  <a:lnTo>
                    <a:pt x="169" y="8"/>
                  </a:lnTo>
                  <a:lnTo>
                    <a:pt x="170" y="8"/>
                  </a:lnTo>
                  <a:lnTo>
                    <a:pt x="170" y="9"/>
                  </a:lnTo>
                  <a:lnTo>
                    <a:pt x="169" y="9"/>
                  </a:lnTo>
                  <a:lnTo>
                    <a:pt x="169" y="10"/>
                  </a:lnTo>
                  <a:lnTo>
                    <a:pt x="169" y="9"/>
                  </a:lnTo>
                  <a:lnTo>
                    <a:pt x="168" y="9"/>
                  </a:lnTo>
                  <a:lnTo>
                    <a:pt x="167" y="9"/>
                  </a:lnTo>
                  <a:lnTo>
                    <a:pt x="167" y="10"/>
                  </a:lnTo>
                  <a:lnTo>
                    <a:pt x="165" y="11"/>
                  </a:lnTo>
                  <a:lnTo>
                    <a:pt x="165" y="10"/>
                  </a:lnTo>
                  <a:lnTo>
                    <a:pt x="165" y="9"/>
                  </a:lnTo>
                  <a:lnTo>
                    <a:pt x="164" y="9"/>
                  </a:lnTo>
                  <a:lnTo>
                    <a:pt x="165" y="8"/>
                  </a:lnTo>
                  <a:lnTo>
                    <a:pt x="165" y="6"/>
                  </a:lnTo>
                  <a:lnTo>
                    <a:pt x="164" y="6"/>
                  </a:lnTo>
                  <a:lnTo>
                    <a:pt x="163" y="6"/>
                  </a:lnTo>
                  <a:lnTo>
                    <a:pt x="163" y="5"/>
                  </a:lnTo>
                  <a:lnTo>
                    <a:pt x="162" y="5"/>
                  </a:lnTo>
                  <a:lnTo>
                    <a:pt x="162" y="4"/>
                  </a:lnTo>
                  <a:lnTo>
                    <a:pt x="162" y="3"/>
                  </a:lnTo>
                  <a:lnTo>
                    <a:pt x="161" y="3"/>
                  </a:lnTo>
                  <a:lnTo>
                    <a:pt x="161" y="4"/>
                  </a:lnTo>
                  <a:lnTo>
                    <a:pt x="159" y="5"/>
                  </a:lnTo>
                  <a:lnTo>
                    <a:pt x="159" y="4"/>
                  </a:lnTo>
                  <a:lnTo>
                    <a:pt x="159" y="3"/>
                  </a:lnTo>
                  <a:lnTo>
                    <a:pt x="159" y="2"/>
                  </a:lnTo>
                  <a:lnTo>
                    <a:pt x="158" y="2"/>
                  </a:lnTo>
                  <a:lnTo>
                    <a:pt x="158" y="0"/>
                  </a:lnTo>
                  <a:lnTo>
                    <a:pt x="157" y="0"/>
                  </a:lnTo>
                  <a:lnTo>
                    <a:pt x="157" y="2"/>
                  </a:lnTo>
                  <a:lnTo>
                    <a:pt x="157" y="3"/>
                  </a:lnTo>
                  <a:lnTo>
                    <a:pt x="157" y="4"/>
                  </a:lnTo>
                  <a:lnTo>
                    <a:pt x="156" y="4"/>
                  </a:lnTo>
                  <a:lnTo>
                    <a:pt x="157" y="5"/>
                  </a:lnTo>
                  <a:lnTo>
                    <a:pt x="157" y="6"/>
                  </a:lnTo>
                  <a:lnTo>
                    <a:pt x="156" y="6"/>
                  </a:lnTo>
                  <a:lnTo>
                    <a:pt x="156" y="8"/>
                  </a:lnTo>
                  <a:lnTo>
                    <a:pt x="156" y="9"/>
                  </a:lnTo>
                  <a:lnTo>
                    <a:pt x="157" y="9"/>
                  </a:lnTo>
                  <a:lnTo>
                    <a:pt x="157" y="10"/>
                  </a:lnTo>
                  <a:lnTo>
                    <a:pt x="157" y="11"/>
                  </a:lnTo>
                  <a:lnTo>
                    <a:pt x="157" y="12"/>
                  </a:lnTo>
                  <a:lnTo>
                    <a:pt x="157" y="14"/>
                  </a:lnTo>
                  <a:lnTo>
                    <a:pt x="157" y="15"/>
                  </a:lnTo>
                  <a:lnTo>
                    <a:pt x="157" y="16"/>
                  </a:lnTo>
                  <a:lnTo>
                    <a:pt x="157" y="15"/>
                  </a:lnTo>
                  <a:lnTo>
                    <a:pt x="156" y="15"/>
                  </a:lnTo>
                  <a:lnTo>
                    <a:pt x="155" y="15"/>
                  </a:lnTo>
                  <a:lnTo>
                    <a:pt x="153" y="15"/>
                  </a:lnTo>
                  <a:lnTo>
                    <a:pt x="153" y="14"/>
                  </a:lnTo>
                  <a:lnTo>
                    <a:pt x="152" y="14"/>
                  </a:lnTo>
                  <a:lnTo>
                    <a:pt x="152" y="15"/>
                  </a:lnTo>
                  <a:lnTo>
                    <a:pt x="153" y="16"/>
                  </a:lnTo>
                  <a:lnTo>
                    <a:pt x="153" y="17"/>
                  </a:lnTo>
                  <a:lnTo>
                    <a:pt x="153" y="18"/>
                  </a:lnTo>
                  <a:lnTo>
                    <a:pt x="153" y="20"/>
                  </a:lnTo>
                  <a:lnTo>
                    <a:pt x="152" y="20"/>
                  </a:lnTo>
                  <a:lnTo>
                    <a:pt x="152" y="18"/>
                  </a:lnTo>
                  <a:lnTo>
                    <a:pt x="152" y="17"/>
                  </a:lnTo>
                  <a:lnTo>
                    <a:pt x="152" y="16"/>
                  </a:lnTo>
                  <a:lnTo>
                    <a:pt x="151" y="16"/>
                  </a:lnTo>
                  <a:lnTo>
                    <a:pt x="150" y="17"/>
                  </a:lnTo>
                  <a:lnTo>
                    <a:pt x="149" y="17"/>
                  </a:lnTo>
                  <a:lnTo>
                    <a:pt x="150" y="18"/>
                  </a:lnTo>
                  <a:lnTo>
                    <a:pt x="149" y="18"/>
                  </a:lnTo>
                  <a:lnTo>
                    <a:pt x="149" y="17"/>
                  </a:lnTo>
                  <a:lnTo>
                    <a:pt x="147" y="17"/>
                  </a:lnTo>
                  <a:lnTo>
                    <a:pt x="147" y="16"/>
                  </a:lnTo>
                  <a:lnTo>
                    <a:pt x="149" y="16"/>
                  </a:lnTo>
                  <a:lnTo>
                    <a:pt x="149" y="15"/>
                  </a:lnTo>
                  <a:lnTo>
                    <a:pt x="149" y="14"/>
                  </a:lnTo>
                  <a:lnTo>
                    <a:pt x="147" y="14"/>
                  </a:lnTo>
                  <a:lnTo>
                    <a:pt x="147" y="15"/>
                  </a:lnTo>
                  <a:lnTo>
                    <a:pt x="146" y="15"/>
                  </a:lnTo>
                  <a:lnTo>
                    <a:pt x="145" y="15"/>
                  </a:lnTo>
                  <a:lnTo>
                    <a:pt x="146" y="15"/>
                  </a:lnTo>
                  <a:lnTo>
                    <a:pt x="145" y="15"/>
                  </a:lnTo>
                  <a:lnTo>
                    <a:pt x="145" y="14"/>
                  </a:lnTo>
                  <a:lnTo>
                    <a:pt x="145" y="12"/>
                  </a:lnTo>
                  <a:lnTo>
                    <a:pt x="144" y="12"/>
                  </a:lnTo>
                  <a:lnTo>
                    <a:pt x="144" y="11"/>
                  </a:lnTo>
                  <a:lnTo>
                    <a:pt x="142" y="11"/>
                  </a:lnTo>
                  <a:lnTo>
                    <a:pt x="144" y="11"/>
                  </a:lnTo>
                  <a:lnTo>
                    <a:pt x="144" y="10"/>
                  </a:lnTo>
                  <a:lnTo>
                    <a:pt x="145" y="10"/>
                  </a:lnTo>
                  <a:lnTo>
                    <a:pt x="145" y="9"/>
                  </a:lnTo>
                  <a:lnTo>
                    <a:pt x="144" y="9"/>
                  </a:lnTo>
                  <a:lnTo>
                    <a:pt x="142" y="9"/>
                  </a:lnTo>
                  <a:lnTo>
                    <a:pt x="142" y="8"/>
                  </a:lnTo>
                  <a:lnTo>
                    <a:pt x="142" y="6"/>
                  </a:lnTo>
                  <a:lnTo>
                    <a:pt x="142" y="5"/>
                  </a:lnTo>
                  <a:lnTo>
                    <a:pt x="141" y="5"/>
                  </a:lnTo>
                  <a:lnTo>
                    <a:pt x="141" y="4"/>
                  </a:lnTo>
                  <a:lnTo>
                    <a:pt x="140" y="3"/>
                  </a:lnTo>
                  <a:lnTo>
                    <a:pt x="140" y="4"/>
                  </a:lnTo>
                  <a:lnTo>
                    <a:pt x="139" y="4"/>
                  </a:lnTo>
                  <a:lnTo>
                    <a:pt x="139" y="5"/>
                  </a:lnTo>
                  <a:lnTo>
                    <a:pt x="139" y="6"/>
                  </a:lnTo>
                  <a:lnTo>
                    <a:pt x="139" y="8"/>
                  </a:lnTo>
                  <a:lnTo>
                    <a:pt x="139" y="9"/>
                  </a:lnTo>
                  <a:lnTo>
                    <a:pt x="138" y="9"/>
                  </a:lnTo>
                  <a:lnTo>
                    <a:pt x="138" y="8"/>
                  </a:lnTo>
                  <a:lnTo>
                    <a:pt x="138" y="9"/>
                  </a:lnTo>
                  <a:lnTo>
                    <a:pt x="138" y="10"/>
                  </a:lnTo>
                  <a:lnTo>
                    <a:pt x="139" y="10"/>
                  </a:lnTo>
                  <a:lnTo>
                    <a:pt x="140" y="11"/>
                  </a:lnTo>
                  <a:lnTo>
                    <a:pt x="140" y="12"/>
                  </a:lnTo>
                  <a:lnTo>
                    <a:pt x="141" y="12"/>
                  </a:lnTo>
                  <a:lnTo>
                    <a:pt x="141" y="14"/>
                  </a:lnTo>
                  <a:lnTo>
                    <a:pt x="141" y="15"/>
                  </a:lnTo>
                  <a:lnTo>
                    <a:pt x="141" y="16"/>
                  </a:lnTo>
                  <a:lnTo>
                    <a:pt x="140" y="16"/>
                  </a:lnTo>
                  <a:lnTo>
                    <a:pt x="140" y="15"/>
                  </a:lnTo>
                  <a:lnTo>
                    <a:pt x="139" y="15"/>
                  </a:lnTo>
                  <a:lnTo>
                    <a:pt x="138" y="16"/>
                  </a:lnTo>
                  <a:lnTo>
                    <a:pt x="138" y="15"/>
                  </a:lnTo>
                  <a:lnTo>
                    <a:pt x="136" y="15"/>
                  </a:lnTo>
                  <a:lnTo>
                    <a:pt x="136" y="14"/>
                  </a:lnTo>
                  <a:lnTo>
                    <a:pt x="136" y="12"/>
                  </a:lnTo>
                  <a:lnTo>
                    <a:pt x="136" y="11"/>
                  </a:lnTo>
                  <a:lnTo>
                    <a:pt x="136" y="10"/>
                  </a:lnTo>
                  <a:lnTo>
                    <a:pt x="135" y="10"/>
                  </a:lnTo>
                  <a:lnTo>
                    <a:pt x="135" y="9"/>
                  </a:lnTo>
                  <a:lnTo>
                    <a:pt x="135" y="8"/>
                  </a:lnTo>
                  <a:lnTo>
                    <a:pt x="134" y="8"/>
                  </a:lnTo>
                  <a:lnTo>
                    <a:pt x="134" y="9"/>
                  </a:lnTo>
                  <a:lnTo>
                    <a:pt x="134" y="10"/>
                  </a:lnTo>
                  <a:lnTo>
                    <a:pt x="133" y="10"/>
                  </a:lnTo>
                  <a:lnTo>
                    <a:pt x="133" y="9"/>
                  </a:lnTo>
                  <a:lnTo>
                    <a:pt x="133" y="8"/>
                  </a:lnTo>
                  <a:lnTo>
                    <a:pt x="132" y="6"/>
                  </a:lnTo>
                  <a:lnTo>
                    <a:pt x="132" y="8"/>
                  </a:lnTo>
                  <a:lnTo>
                    <a:pt x="132" y="6"/>
                  </a:lnTo>
                  <a:lnTo>
                    <a:pt x="130" y="6"/>
                  </a:lnTo>
                  <a:lnTo>
                    <a:pt x="130" y="5"/>
                  </a:lnTo>
                  <a:lnTo>
                    <a:pt x="129" y="5"/>
                  </a:lnTo>
                  <a:lnTo>
                    <a:pt x="129" y="6"/>
                  </a:lnTo>
                  <a:lnTo>
                    <a:pt x="129" y="8"/>
                  </a:lnTo>
                  <a:lnTo>
                    <a:pt x="129" y="9"/>
                  </a:lnTo>
                  <a:lnTo>
                    <a:pt x="129" y="10"/>
                  </a:lnTo>
                  <a:lnTo>
                    <a:pt x="130" y="11"/>
                  </a:lnTo>
                  <a:lnTo>
                    <a:pt x="130" y="12"/>
                  </a:lnTo>
                  <a:lnTo>
                    <a:pt x="132" y="12"/>
                  </a:lnTo>
                  <a:lnTo>
                    <a:pt x="133" y="12"/>
                  </a:lnTo>
                  <a:lnTo>
                    <a:pt x="132" y="14"/>
                  </a:lnTo>
                  <a:lnTo>
                    <a:pt x="130" y="14"/>
                  </a:lnTo>
                  <a:lnTo>
                    <a:pt x="129" y="14"/>
                  </a:lnTo>
                  <a:lnTo>
                    <a:pt x="129" y="15"/>
                  </a:lnTo>
                  <a:lnTo>
                    <a:pt x="129" y="16"/>
                  </a:lnTo>
                  <a:lnTo>
                    <a:pt x="128" y="16"/>
                  </a:lnTo>
                  <a:lnTo>
                    <a:pt x="128" y="15"/>
                  </a:lnTo>
                  <a:lnTo>
                    <a:pt x="128" y="14"/>
                  </a:lnTo>
                  <a:lnTo>
                    <a:pt x="127" y="12"/>
                  </a:lnTo>
                  <a:lnTo>
                    <a:pt x="127" y="14"/>
                  </a:lnTo>
                  <a:lnTo>
                    <a:pt x="126" y="14"/>
                  </a:lnTo>
                  <a:lnTo>
                    <a:pt x="126" y="12"/>
                  </a:lnTo>
                  <a:lnTo>
                    <a:pt x="124" y="12"/>
                  </a:lnTo>
                  <a:lnTo>
                    <a:pt x="124" y="11"/>
                  </a:lnTo>
                  <a:lnTo>
                    <a:pt x="123" y="12"/>
                  </a:lnTo>
                  <a:lnTo>
                    <a:pt x="123" y="14"/>
                  </a:lnTo>
                  <a:lnTo>
                    <a:pt x="124" y="15"/>
                  </a:lnTo>
                  <a:lnTo>
                    <a:pt x="124" y="16"/>
                  </a:lnTo>
                  <a:lnTo>
                    <a:pt x="124" y="17"/>
                  </a:lnTo>
                  <a:lnTo>
                    <a:pt x="126" y="17"/>
                  </a:lnTo>
                  <a:lnTo>
                    <a:pt x="126" y="21"/>
                  </a:lnTo>
                  <a:lnTo>
                    <a:pt x="126" y="22"/>
                  </a:lnTo>
                  <a:lnTo>
                    <a:pt x="124" y="22"/>
                  </a:lnTo>
                  <a:lnTo>
                    <a:pt x="124" y="23"/>
                  </a:lnTo>
                  <a:lnTo>
                    <a:pt x="126" y="23"/>
                  </a:lnTo>
                  <a:lnTo>
                    <a:pt x="126" y="25"/>
                  </a:lnTo>
                  <a:lnTo>
                    <a:pt x="126" y="26"/>
                  </a:lnTo>
                  <a:lnTo>
                    <a:pt x="126" y="25"/>
                  </a:lnTo>
                  <a:lnTo>
                    <a:pt x="126" y="26"/>
                  </a:lnTo>
                  <a:lnTo>
                    <a:pt x="126" y="27"/>
                  </a:lnTo>
                  <a:lnTo>
                    <a:pt x="124" y="27"/>
                  </a:lnTo>
                  <a:lnTo>
                    <a:pt x="123" y="27"/>
                  </a:lnTo>
                  <a:lnTo>
                    <a:pt x="123" y="26"/>
                  </a:lnTo>
                  <a:lnTo>
                    <a:pt x="123" y="25"/>
                  </a:lnTo>
                  <a:lnTo>
                    <a:pt x="122" y="25"/>
                  </a:lnTo>
                  <a:lnTo>
                    <a:pt x="122" y="23"/>
                  </a:lnTo>
                  <a:lnTo>
                    <a:pt x="122" y="22"/>
                  </a:lnTo>
                  <a:lnTo>
                    <a:pt x="122" y="21"/>
                  </a:lnTo>
                  <a:lnTo>
                    <a:pt x="122" y="20"/>
                  </a:lnTo>
                  <a:lnTo>
                    <a:pt x="122" y="18"/>
                  </a:lnTo>
                  <a:lnTo>
                    <a:pt x="122" y="20"/>
                  </a:lnTo>
                  <a:lnTo>
                    <a:pt x="121" y="18"/>
                  </a:lnTo>
                  <a:lnTo>
                    <a:pt x="121" y="17"/>
                  </a:lnTo>
                  <a:lnTo>
                    <a:pt x="120" y="17"/>
                  </a:lnTo>
                  <a:lnTo>
                    <a:pt x="118" y="17"/>
                  </a:lnTo>
                  <a:lnTo>
                    <a:pt x="118" y="18"/>
                  </a:lnTo>
                  <a:lnTo>
                    <a:pt x="120" y="20"/>
                  </a:lnTo>
                  <a:lnTo>
                    <a:pt x="120" y="21"/>
                  </a:lnTo>
                  <a:lnTo>
                    <a:pt x="118" y="21"/>
                  </a:lnTo>
                  <a:lnTo>
                    <a:pt x="118" y="22"/>
                  </a:lnTo>
                  <a:lnTo>
                    <a:pt x="118" y="23"/>
                  </a:lnTo>
                  <a:lnTo>
                    <a:pt x="120" y="23"/>
                  </a:lnTo>
                  <a:lnTo>
                    <a:pt x="120" y="25"/>
                  </a:lnTo>
                  <a:lnTo>
                    <a:pt x="121" y="25"/>
                  </a:lnTo>
                  <a:lnTo>
                    <a:pt x="121" y="26"/>
                  </a:lnTo>
                  <a:lnTo>
                    <a:pt x="120" y="26"/>
                  </a:lnTo>
                  <a:lnTo>
                    <a:pt x="120" y="27"/>
                  </a:lnTo>
                  <a:lnTo>
                    <a:pt x="120" y="26"/>
                  </a:lnTo>
                  <a:lnTo>
                    <a:pt x="118" y="26"/>
                  </a:lnTo>
                  <a:lnTo>
                    <a:pt x="118" y="27"/>
                  </a:lnTo>
                  <a:lnTo>
                    <a:pt x="118" y="26"/>
                  </a:lnTo>
                  <a:lnTo>
                    <a:pt x="118" y="25"/>
                  </a:lnTo>
                  <a:lnTo>
                    <a:pt x="118" y="23"/>
                  </a:lnTo>
                  <a:lnTo>
                    <a:pt x="117" y="23"/>
                  </a:lnTo>
                  <a:lnTo>
                    <a:pt x="117" y="22"/>
                  </a:lnTo>
                  <a:lnTo>
                    <a:pt x="117" y="23"/>
                  </a:lnTo>
                  <a:lnTo>
                    <a:pt x="116" y="23"/>
                  </a:lnTo>
                  <a:lnTo>
                    <a:pt x="115" y="23"/>
                  </a:lnTo>
                  <a:lnTo>
                    <a:pt x="115" y="22"/>
                  </a:lnTo>
                  <a:lnTo>
                    <a:pt x="116" y="22"/>
                  </a:lnTo>
                  <a:lnTo>
                    <a:pt x="116" y="21"/>
                  </a:lnTo>
                  <a:lnTo>
                    <a:pt x="117" y="21"/>
                  </a:lnTo>
                  <a:lnTo>
                    <a:pt x="117" y="20"/>
                  </a:lnTo>
                  <a:lnTo>
                    <a:pt x="116" y="20"/>
                  </a:lnTo>
                  <a:lnTo>
                    <a:pt x="116" y="18"/>
                  </a:lnTo>
                  <a:lnTo>
                    <a:pt x="116" y="17"/>
                  </a:lnTo>
                  <a:lnTo>
                    <a:pt x="115" y="17"/>
                  </a:lnTo>
                  <a:lnTo>
                    <a:pt x="115" y="18"/>
                  </a:lnTo>
                  <a:lnTo>
                    <a:pt x="114" y="18"/>
                  </a:lnTo>
                  <a:lnTo>
                    <a:pt x="114" y="17"/>
                  </a:lnTo>
                  <a:lnTo>
                    <a:pt x="114" y="16"/>
                  </a:lnTo>
                  <a:lnTo>
                    <a:pt x="114" y="15"/>
                  </a:lnTo>
                  <a:lnTo>
                    <a:pt x="112" y="15"/>
                  </a:lnTo>
                  <a:lnTo>
                    <a:pt x="112" y="14"/>
                  </a:lnTo>
                  <a:lnTo>
                    <a:pt x="111" y="14"/>
                  </a:lnTo>
                  <a:lnTo>
                    <a:pt x="111" y="12"/>
                  </a:lnTo>
                  <a:lnTo>
                    <a:pt x="111" y="14"/>
                  </a:lnTo>
                  <a:lnTo>
                    <a:pt x="110" y="14"/>
                  </a:lnTo>
                  <a:lnTo>
                    <a:pt x="110" y="15"/>
                  </a:lnTo>
                  <a:lnTo>
                    <a:pt x="110" y="16"/>
                  </a:lnTo>
                  <a:lnTo>
                    <a:pt x="109" y="17"/>
                  </a:lnTo>
                  <a:lnTo>
                    <a:pt x="109" y="18"/>
                  </a:lnTo>
                  <a:lnTo>
                    <a:pt x="110" y="18"/>
                  </a:lnTo>
                  <a:lnTo>
                    <a:pt x="110" y="20"/>
                  </a:lnTo>
                  <a:lnTo>
                    <a:pt x="109" y="20"/>
                  </a:lnTo>
                  <a:lnTo>
                    <a:pt x="109" y="21"/>
                  </a:lnTo>
                  <a:lnTo>
                    <a:pt x="109" y="22"/>
                  </a:lnTo>
                  <a:lnTo>
                    <a:pt x="109" y="23"/>
                  </a:lnTo>
                  <a:lnTo>
                    <a:pt x="110" y="23"/>
                  </a:lnTo>
                  <a:lnTo>
                    <a:pt x="110" y="25"/>
                  </a:lnTo>
                  <a:lnTo>
                    <a:pt x="110" y="23"/>
                  </a:lnTo>
                  <a:lnTo>
                    <a:pt x="110" y="25"/>
                  </a:lnTo>
                  <a:lnTo>
                    <a:pt x="110" y="26"/>
                  </a:lnTo>
                  <a:lnTo>
                    <a:pt x="109" y="25"/>
                  </a:lnTo>
                  <a:lnTo>
                    <a:pt x="109" y="23"/>
                  </a:lnTo>
                  <a:lnTo>
                    <a:pt x="108" y="23"/>
                  </a:lnTo>
                  <a:lnTo>
                    <a:pt x="108" y="22"/>
                  </a:lnTo>
                  <a:lnTo>
                    <a:pt x="106" y="22"/>
                  </a:lnTo>
                  <a:lnTo>
                    <a:pt x="106" y="21"/>
                  </a:lnTo>
                  <a:lnTo>
                    <a:pt x="106" y="20"/>
                  </a:lnTo>
                  <a:lnTo>
                    <a:pt x="106" y="18"/>
                  </a:lnTo>
                  <a:lnTo>
                    <a:pt x="106" y="17"/>
                  </a:lnTo>
                  <a:lnTo>
                    <a:pt x="106" y="16"/>
                  </a:lnTo>
                  <a:lnTo>
                    <a:pt x="105" y="16"/>
                  </a:lnTo>
                  <a:lnTo>
                    <a:pt x="104" y="16"/>
                  </a:lnTo>
                  <a:lnTo>
                    <a:pt x="103" y="16"/>
                  </a:lnTo>
                  <a:lnTo>
                    <a:pt x="103" y="15"/>
                  </a:lnTo>
                  <a:lnTo>
                    <a:pt x="102" y="15"/>
                  </a:lnTo>
                  <a:lnTo>
                    <a:pt x="100" y="14"/>
                  </a:lnTo>
                  <a:lnTo>
                    <a:pt x="100" y="12"/>
                  </a:lnTo>
                  <a:lnTo>
                    <a:pt x="99" y="12"/>
                  </a:lnTo>
                  <a:lnTo>
                    <a:pt x="98" y="12"/>
                  </a:lnTo>
                  <a:lnTo>
                    <a:pt x="98" y="14"/>
                  </a:lnTo>
                  <a:lnTo>
                    <a:pt x="98" y="15"/>
                  </a:lnTo>
                  <a:lnTo>
                    <a:pt x="98" y="16"/>
                  </a:lnTo>
                  <a:lnTo>
                    <a:pt x="97" y="16"/>
                  </a:lnTo>
                  <a:lnTo>
                    <a:pt x="97" y="17"/>
                  </a:lnTo>
                  <a:lnTo>
                    <a:pt x="97" y="18"/>
                  </a:lnTo>
                  <a:lnTo>
                    <a:pt x="98" y="18"/>
                  </a:lnTo>
                  <a:lnTo>
                    <a:pt x="97" y="18"/>
                  </a:lnTo>
                  <a:lnTo>
                    <a:pt x="96" y="18"/>
                  </a:lnTo>
                  <a:lnTo>
                    <a:pt x="97" y="20"/>
                  </a:lnTo>
                  <a:lnTo>
                    <a:pt x="96" y="20"/>
                  </a:lnTo>
                  <a:lnTo>
                    <a:pt x="96" y="18"/>
                  </a:lnTo>
                  <a:lnTo>
                    <a:pt x="94" y="18"/>
                  </a:lnTo>
                  <a:lnTo>
                    <a:pt x="93" y="17"/>
                  </a:lnTo>
                  <a:lnTo>
                    <a:pt x="93" y="18"/>
                  </a:lnTo>
                  <a:lnTo>
                    <a:pt x="92" y="18"/>
                  </a:lnTo>
                  <a:lnTo>
                    <a:pt x="92" y="20"/>
                  </a:lnTo>
                  <a:lnTo>
                    <a:pt x="91" y="20"/>
                  </a:lnTo>
                  <a:lnTo>
                    <a:pt x="92" y="20"/>
                  </a:lnTo>
                  <a:lnTo>
                    <a:pt x="92" y="21"/>
                  </a:lnTo>
                  <a:lnTo>
                    <a:pt x="92" y="22"/>
                  </a:lnTo>
                  <a:lnTo>
                    <a:pt x="93" y="23"/>
                  </a:lnTo>
                  <a:lnTo>
                    <a:pt x="93" y="25"/>
                  </a:lnTo>
                  <a:lnTo>
                    <a:pt x="94" y="25"/>
                  </a:lnTo>
                  <a:lnTo>
                    <a:pt x="94" y="26"/>
                  </a:lnTo>
                  <a:lnTo>
                    <a:pt x="96" y="26"/>
                  </a:lnTo>
                  <a:lnTo>
                    <a:pt x="97" y="26"/>
                  </a:lnTo>
                  <a:lnTo>
                    <a:pt x="98" y="26"/>
                  </a:lnTo>
                  <a:lnTo>
                    <a:pt x="98" y="27"/>
                  </a:lnTo>
                  <a:lnTo>
                    <a:pt x="99" y="27"/>
                  </a:lnTo>
                  <a:lnTo>
                    <a:pt x="99" y="28"/>
                  </a:lnTo>
                  <a:lnTo>
                    <a:pt x="99" y="29"/>
                  </a:lnTo>
                  <a:lnTo>
                    <a:pt x="98" y="29"/>
                  </a:lnTo>
                  <a:lnTo>
                    <a:pt x="97" y="29"/>
                  </a:lnTo>
                  <a:lnTo>
                    <a:pt x="96" y="29"/>
                  </a:lnTo>
                  <a:lnTo>
                    <a:pt x="94" y="29"/>
                  </a:lnTo>
                  <a:lnTo>
                    <a:pt x="94" y="28"/>
                  </a:lnTo>
                  <a:lnTo>
                    <a:pt x="93" y="28"/>
                  </a:lnTo>
                  <a:lnTo>
                    <a:pt x="93" y="27"/>
                  </a:lnTo>
                  <a:lnTo>
                    <a:pt x="93" y="26"/>
                  </a:lnTo>
                  <a:lnTo>
                    <a:pt x="92" y="26"/>
                  </a:lnTo>
                  <a:lnTo>
                    <a:pt x="91" y="26"/>
                  </a:lnTo>
                  <a:lnTo>
                    <a:pt x="91" y="25"/>
                  </a:lnTo>
                  <a:lnTo>
                    <a:pt x="90" y="25"/>
                  </a:lnTo>
                  <a:lnTo>
                    <a:pt x="88" y="25"/>
                  </a:lnTo>
                  <a:lnTo>
                    <a:pt x="87" y="25"/>
                  </a:lnTo>
                  <a:lnTo>
                    <a:pt x="87" y="23"/>
                  </a:lnTo>
                  <a:lnTo>
                    <a:pt x="86" y="23"/>
                  </a:lnTo>
                  <a:lnTo>
                    <a:pt x="86" y="25"/>
                  </a:lnTo>
                  <a:lnTo>
                    <a:pt x="86" y="26"/>
                  </a:lnTo>
                  <a:lnTo>
                    <a:pt x="85" y="26"/>
                  </a:lnTo>
                  <a:lnTo>
                    <a:pt x="85" y="28"/>
                  </a:lnTo>
                  <a:lnTo>
                    <a:pt x="83" y="28"/>
                  </a:lnTo>
                  <a:lnTo>
                    <a:pt x="83" y="27"/>
                  </a:lnTo>
                  <a:lnTo>
                    <a:pt x="82" y="27"/>
                  </a:lnTo>
                  <a:lnTo>
                    <a:pt x="82" y="26"/>
                  </a:lnTo>
                  <a:lnTo>
                    <a:pt x="81" y="26"/>
                  </a:lnTo>
                  <a:lnTo>
                    <a:pt x="81" y="27"/>
                  </a:lnTo>
                  <a:lnTo>
                    <a:pt x="81" y="28"/>
                  </a:lnTo>
                  <a:lnTo>
                    <a:pt x="82" y="29"/>
                  </a:lnTo>
                  <a:lnTo>
                    <a:pt x="81" y="31"/>
                  </a:lnTo>
                  <a:lnTo>
                    <a:pt x="81" y="32"/>
                  </a:lnTo>
                  <a:lnTo>
                    <a:pt x="81" y="33"/>
                  </a:lnTo>
                  <a:lnTo>
                    <a:pt x="82" y="33"/>
                  </a:lnTo>
                  <a:lnTo>
                    <a:pt x="82" y="34"/>
                  </a:lnTo>
                  <a:lnTo>
                    <a:pt x="83" y="34"/>
                  </a:lnTo>
                  <a:lnTo>
                    <a:pt x="82" y="34"/>
                  </a:lnTo>
                  <a:lnTo>
                    <a:pt x="82" y="35"/>
                  </a:lnTo>
                  <a:lnTo>
                    <a:pt x="82" y="37"/>
                  </a:lnTo>
                  <a:lnTo>
                    <a:pt x="83" y="37"/>
                  </a:lnTo>
                  <a:lnTo>
                    <a:pt x="83" y="38"/>
                  </a:lnTo>
                  <a:lnTo>
                    <a:pt x="85" y="38"/>
                  </a:lnTo>
                  <a:lnTo>
                    <a:pt x="86" y="38"/>
                  </a:lnTo>
                  <a:lnTo>
                    <a:pt x="87" y="38"/>
                  </a:lnTo>
                  <a:lnTo>
                    <a:pt x="87" y="39"/>
                  </a:lnTo>
                  <a:lnTo>
                    <a:pt x="86" y="39"/>
                  </a:lnTo>
                  <a:lnTo>
                    <a:pt x="85" y="39"/>
                  </a:lnTo>
                  <a:lnTo>
                    <a:pt x="83" y="39"/>
                  </a:lnTo>
                  <a:lnTo>
                    <a:pt x="83" y="40"/>
                  </a:lnTo>
                  <a:lnTo>
                    <a:pt x="85" y="41"/>
                  </a:lnTo>
                  <a:lnTo>
                    <a:pt x="86" y="43"/>
                  </a:lnTo>
                  <a:lnTo>
                    <a:pt x="87" y="43"/>
                  </a:lnTo>
                  <a:lnTo>
                    <a:pt x="90" y="43"/>
                  </a:lnTo>
                  <a:lnTo>
                    <a:pt x="91" y="43"/>
                  </a:lnTo>
                  <a:lnTo>
                    <a:pt x="91" y="41"/>
                  </a:lnTo>
                  <a:lnTo>
                    <a:pt x="91" y="43"/>
                  </a:lnTo>
                  <a:lnTo>
                    <a:pt x="92" y="43"/>
                  </a:lnTo>
                  <a:lnTo>
                    <a:pt x="93" y="44"/>
                  </a:lnTo>
                  <a:lnTo>
                    <a:pt x="93" y="43"/>
                  </a:lnTo>
                  <a:lnTo>
                    <a:pt x="94" y="43"/>
                  </a:lnTo>
                  <a:lnTo>
                    <a:pt x="94" y="41"/>
                  </a:lnTo>
                  <a:lnTo>
                    <a:pt x="93" y="40"/>
                  </a:lnTo>
                  <a:lnTo>
                    <a:pt x="94" y="40"/>
                  </a:lnTo>
                  <a:lnTo>
                    <a:pt x="94" y="41"/>
                  </a:lnTo>
                  <a:lnTo>
                    <a:pt x="96" y="41"/>
                  </a:lnTo>
                  <a:lnTo>
                    <a:pt x="96" y="43"/>
                  </a:lnTo>
                  <a:lnTo>
                    <a:pt x="97" y="43"/>
                  </a:lnTo>
                  <a:lnTo>
                    <a:pt x="97" y="44"/>
                  </a:lnTo>
                  <a:lnTo>
                    <a:pt x="98" y="44"/>
                  </a:lnTo>
                  <a:lnTo>
                    <a:pt x="97" y="44"/>
                  </a:lnTo>
                  <a:lnTo>
                    <a:pt x="97" y="45"/>
                  </a:lnTo>
                  <a:lnTo>
                    <a:pt x="96" y="45"/>
                  </a:lnTo>
                  <a:lnTo>
                    <a:pt x="96" y="46"/>
                  </a:lnTo>
                  <a:lnTo>
                    <a:pt x="96" y="45"/>
                  </a:lnTo>
                  <a:lnTo>
                    <a:pt x="94" y="45"/>
                  </a:lnTo>
                  <a:lnTo>
                    <a:pt x="94" y="46"/>
                  </a:lnTo>
                  <a:lnTo>
                    <a:pt x="93" y="46"/>
                  </a:lnTo>
                  <a:lnTo>
                    <a:pt x="92" y="46"/>
                  </a:lnTo>
                  <a:lnTo>
                    <a:pt x="92" y="47"/>
                  </a:lnTo>
                  <a:lnTo>
                    <a:pt x="93" y="47"/>
                  </a:lnTo>
                  <a:lnTo>
                    <a:pt x="93" y="49"/>
                  </a:lnTo>
                  <a:lnTo>
                    <a:pt x="94" y="49"/>
                  </a:lnTo>
                  <a:lnTo>
                    <a:pt x="94" y="47"/>
                  </a:lnTo>
                  <a:lnTo>
                    <a:pt x="96" y="47"/>
                  </a:lnTo>
                  <a:lnTo>
                    <a:pt x="94" y="47"/>
                  </a:lnTo>
                  <a:lnTo>
                    <a:pt x="96" y="47"/>
                  </a:lnTo>
                  <a:lnTo>
                    <a:pt x="96" y="46"/>
                  </a:lnTo>
                  <a:lnTo>
                    <a:pt x="97" y="45"/>
                  </a:lnTo>
                  <a:lnTo>
                    <a:pt x="98" y="46"/>
                  </a:lnTo>
                  <a:lnTo>
                    <a:pt x="97" y="46"/>
                  </a:lnTo>
                  <a:lnTo>
                    <a:pt x="97" y="47"/>
                  </a:lnTo>
                  <a:lnTo>
                    <a:pt x="98" y="47"/>
                  </a:lnTo>
                  <a:lnTo>
                    <a:pt x="98" y="49"/>
                  </a:lnTo>
                  <a:lnTo>
                    <a:pt x="97" y="49"/>
                  </a:lnTo>
                  <a:lnTo>
                    <a:pt x="96" y="49"/>
                  </a:lnTo>
                  <a:lnTo>
                    <a:pt x="96" y="50"/>
                  </a:lnTo>
                  <a:lnTo>
                    <a:pt x="94" y="50"/>
                  </a:lnTo>
                  <a:lnTo>
                    <a:pt x="94" y="51"/>
                  </a:lnTo>
                  <a:lnTo>
                    <a:pt x="93" y="51"/>
                  </a:lnTo>
                  <a:lnTo>
                    <a:pt x="93" y="50"/>
                  </a:lnTo>
                  <a:lnTo>
                    <a:pt x="92" y="50"/>
                  </a:lnTo>
                  <a:lnTo>
                    <a:pt x="91" y="50"/>
                  </a:lnTo>
                  <a:lnTo>
                    <a:pt x="91" y="52"/>
                  </a:lnTo>
                  <a:lnTo>
                    <a:pt x="91" y="51"/>
                  </a:lnTo>
                  <a:lnTo>
                    <a:pt x="90" y="51"/>
                  </a:lnTo>
                  <a:lnTo>
                    <a:pt x="90" y="52"/>
                  </a:lnTo>
                  <a:lnTo>
                    <a:pt x="88" y="52"/>
                  </a:lnTo>
                  <a:lnTo>
                    <a:pt x="87" y="52"/>
                  </a:lnTo>
                  <a:lnTo>
                    <a:pt x="87" y="53"/>
                  </a:lnTo>
                  <a:lnTo>
                    <a:pt x="86" y="53"/>
                  </a:lnTo>
                  <a:lnTo>
                    <a:pt x="86" y="52"/>
                  </a:lnTo>
                  <a:lnTo>
                    <a:pt x="85" y="53"/>
                  </a:lnTo>
                  <a:lnTo>
                    <a:pt x="83" y="53"/>
                  </a:lnTo>
                  <a:lnTo>
                    <a:pt x="82" y="53"/>
                  </a:lnTo>
                  <a:lnTo>
                    <a:pt x="82" y="55"/>
                  </a:lnTo>
                  <a:lnTo>
                    <a:pt x="82" y="57"/>
                  </a:lnTo>
                  <a:lnTo>
                    <a:pt x="82" y="58"/>
                  </a:lnTo>
                  <a:lnTo>
                    <a:pt x="81" y="58"/>
                  </a:lnTo>
                  <a:lnTo>
                    <a:pt x="81" y="57"/>
                  </a:lnTo>
                  <a:lnTo>
                    <a:pt x="80" y="57"/>
                  </a:lnTo>
                  <a:lnTo>
                    <a:pt x="80" y="56"/>
                  </a:lnTo>
                  <a:lnTo>
                    <a:pt x="80" y="55"/>
                  </a:lnTo>
                  <a:lnTo>
                    <a:pt x="79" y="55"/>
                  </a:lnTo>
                  <a:lnTo>
                    <a:pt x="79" y="56"/>
                  </a:lnTo>
                  <a:lnTo>
                    <a:pt x="77" y="57"/>
                  </a:lnTo>
                  <a:lnTo>
                    <a:pt x="76" y="57"/>
                  </a:lnTo>
                  <a:lnTo>
                    <a:pt x="76" y="56"/>
                  </a:lnTo>
                  <a:lnTo>
                    <a:pt x="76" y="55"/>
                  </a:lnTo>
                  <a:lnTo>
                    <a:pt x="75" y="53"/>
                  </a:lnTo>
                  <a:lnTo>
                    <a:pt x="75" y="55"/>
                  </a:lnTo>
                  <a:lnTo>
                    <a:pt x="74" y="55"/>
                  </a:lnTo>
                  <a:lnTo>
                    <a:pt x="74" y="53"/>
                  </a:lnTo>
                  <a:lnTo>
                    <a:pt x="73" y="53"/>
                  </a:lnTo>
                  <a:lnTo>
                    <a:pt x="71" y="53"/>
                  </a:lnTo>
                  <a:lnTo>
                    <a:pt x="71" y="55"/>
                  </a:lnTo>
                  <a:lnTo>
                    <a:pt x="73" y="56"/>
                  </a:lnTo>
                  <a:lnTo>
                    <a:pt x="73" y="57"/>
                  </a:lnTo>
                  <a:lnTo>
                    <a:pt x="73" y="58"/>
                  </a:lnTo>
                  <a:lnTo>
                    <a:pt x="74" y="58"/>
                  </a:lnTo>
                  <a:lnTo>
                    <a:pt x="74" y="59"/>
                  </a:lnTo>
                  <a:lnTo>
                    <a:pt x="75" y="61"/>
                  </a:lnTo>
                  <a:lnTo>
                    <a:pt x="74" y="61"/>
                  </a:lnTo>
                  <a:lnTo>
                    <a:pt x="74" y="62"/>
                  </a:lnTo>
                  <a:lnTo>
                    <a:pt x="73" y="62"/>
                  </a:lnTo>
                  <a:lnTo>
                    <a:pt x="73" y="61"/>
                  </a:lnTo>
                  <a:lnTo>
                    <a:pt x="73" y="59"/>
                  </a:lnTo>
                  <a:lnTo>
                    <a:pt x="71" y="59"/>
                  </a:lnTo>
                  <a:lnTo>
                    <a:pt x="71" y="61"/>
                  </a:lnTo>
                  <a:lnTo>
                    <a:pt x="70" y="61"/>
                  </a:lnTo>
                  <a:lnTo>
                    <a:pt x="71" y="61"/>
                  </a:lnTo>
                  <a:lnTo>
                    <a:pt x="70" y="62"/>
                  </a:lnTo>
                  <a:lnTo>
                    <a:pt x="70" y="63"/>
                  </a:lnTo>
                  <a:lnTo>
                    <a:pt x="71" y="63"/>
                  </a:lnTo>
                  <a:lnTo>
                    <a:pt x="71" y="64"/>
                  </a:lnTo>
                  <a:lnTo>
                    <a:pt x="71" y="65"/>
                  </a:lnTo>
                  <a:lnTo>
                    <a:pt x="73" y="65"/>
                  </a:lnTo>
                  <a:lnTo>
                    <a:pt x="73" y="67"/>
                  </a:lnTo>
                  <a:lnTo>
                    <a:pt x="74" y="67"/>
                  </a:lnTo>
                  <a:lnTo>
                    <a:pt x="74" y="65"/>
                  </a:lnTo>
                  <a:lnTo>
                    <a:pt x="74" y="67"/>
                  </a:lnTo>
                  <a:lnTo>
                    <a:pt x="74" y="68"/>
                  </a:lnTo>
                  <a:lnTo>
                    <a:pt x="73" y="68"/>
                  </a:lnTo>
                  <a:lnTo>
                    <a:pt x="73" y="67"/>
                  </a:lnTo>
                  <a:lnTo>
                    <a:pt x="71" y="68"/>
                  </a:lnTo>
                  <a:lnTo>
                    <a:pt x="70" y="68"/>
                  </a:lnTo>
                  <a:lnTo>
                    <a:pt x="70" y="69"/>
                  </a:lnTo>
                  <a:lnTo>
                    <a:pt x="69" y="69"/>
                  </a:lnTo>
                  <a:lnTo>
                    <a:pt x="69" y="68"/>
                  </a:lnTo>
                  <a:lnTo>
                    <a:pt x="68" y="68"/>
                  </a:lnTo>
                  <a:lnTo>
                    <a:pt x="67" y="68"/>
                  </a:lnTo>
                  <a:lnTo>
                    <a:pt x="65" y="69"/>
                  </a:lnTo>
                  <a:lnTo>
                    <a:pt x="67" y="69"/>
                  </a:lnTo>
                  <a:lnTo>
                    <a:pt x="67" y="70"/>
                  </a:lnTo>
                  <a:lnTo>
                    <a:pt x="65" y="70"/>
                  </a:lnTo>
                  <a:lnTo>
                    <a:pt x="65" y="71"/>
                  </a:lnTo>
                  <a:lnTo>
                    <a:pt x="64" y="71"/>
                  </a:lnTo>
                  <a:lnTo>
                    <a:pt x="63" y="71"/>
                  </a:lnTo>
                  <a:lnTo>
                    <a:pt x="62" y="71"/>
                  </a:lnTo>
                  <a:lnTo>
                    <a:pt x="63" y="71"/>
                  </a:lnTo>
                  <a:lnTo>
                    <a:pt x="63" y="73"/>
                  </a:lnTo>
                  <a:lnTo>
                    <a:pt x="63" y="74"/>
                  </a:lnTo>
                  <a:lnTo>
                    <a:pt x="62" y="75"/>
                  </a:lnTo>
                  <a:lnTo>
                    <a:pt x="62" y="74"/>
                  </a:lnTo>
                  <a:lnTo>
                    <a:pt x="61" y="74"/>
                  </a:lnTo>
                  <a:lnTo>
                    <a:pt x="59" y="73"/>
                  </a:lnTo>
                  <a:lnTo>
                    <a:pt x="58" y="73"/>
                  </a:lnTo>
                  <a:lnTo>
                    <a:pt x="57" y="73"/>
                  </a:lnTo>
                  <a:lnTo>
                    <a:pt x="57" y="74"/>
                  </a:lnTo>
                  <a:lnTo>
                    <a:pt x="57" y="75"/>
                  </a:lnTo>
                  <a:lnTo>
                    <a:pt x="57" y="74"/>
                  </a:lnTo>
                  <a:lnTo>
                    <a:pt x="56" y="74"/>
                  </a:lnTo>
                  <a:lnTo>
                    <a:pt x="55" y="74"/>
                  </a:lnTo>
                  <a:lnTo>
                    <a:pt x="55" y="75"/>
                  </a:lnTo>
                  <a:lnTo>
                    <a:pt x="53" y="75"/>
                  </a:lnTo>
                  <a:lnTo>
                    <a:pt x="53" y="74"/>
                  </a:lnTo>
                  <a:lnTo>
                    <a:pt x="52" y="74"/>
                  </a:lnTo>
                  <a:lnTo>
                    <a:pt x="52" y="75"/>
                  </a:lnTo>
                  <a:lnTo>
                    <a:pt x="52" y="76"/>
                  </a:lnTo>
                  <a:lnTo>
                    <a:pt x="53" y="76"/>
                  </a:lnTo>
                  <a:lnTo>
                    <a:pt x="52" y="77"/>
                  </a:lnTo>
                  <a:lnTo>
                    <a:pt x="53" y="77"/>
                  </a:lnTo>
                  <a:lnTo>
                    <a:pt x="55" y="77"/>
                  </a:lnTo>
                  <a:lnTo>
                    <a:pt x="55" y="79"/>
                  </a:lnTo>
                  <a:lnTo>
                    <a:pt x="55" y="80"/>
                  </a:lnTo>
                  <a:lnTo>
                    <a:pt x="53" y="80"/>
                  </a:lnTo>
                  <a:lnTo>
                    <a:pt x="53" y="79"/>
                  </a:lnTo>
                  <a:lnTo>
                    <a:pt x="52" y="79"/>
                  </a:lnTo>
                  <a:lnTo>
                    <a:pt x="51" y="79"/>
                  </a:lnTo>
                  <a:lnTo>
                    <a:pt x="51" y="77"/>
                  </a:lnTo>
                  <a:lnTo>
                    <a:pt x="51" y="76"/>
                  </a:lnTo>
                  <a:lnTo>
                    <a:pt x="50" y="76"/>
                  </a:lnTo>
                  <a:lnTo>
                    <a:pt x="50" y="77"/>
                  </a:lnTo>
                  <a:lnTo>
                    <a:pt x="50" y="76"/>
                  </a:lnTo>
                  <a:lnTo>
                    <a:pt x="49" y="76"/>
                  </a:lnTo>
                  <a:lnTo>
                    <a:pt x="49" y="75"/>
                  </a:lnTo>
                  <a:lnTo>
                    <a:pt x="49" y="76"/>
                  </a:lnTo>
                  <a:lnTo>
                    <a:pt x="47" y="76"/>
                  </a:lnTo>
                  <a:lnTo>
                    <a:pt x="49" y="76"/>
                  </a:lnTo>
                  <a:lnTo>
                    <a:pt x="49" y="79"/>
                  </a:lnTo>
                  <a:lnTo>
                    <a:pt x="47" y="79"/>
                  </a:lnTo>
                  <a:lnTo>
                    <a:pt x="46" y="79"/>
                  </a:lnTo>
                  <a:lnTo>
                    <a:pt x="46" y="77"/>
                  </a:lnTo>
                  <a:lnTo>
                    <a:pt x="45" y="79"/>
                  </a:lnTo>
                  <a:lnTo>
                    <a:pt x="46" y="79"/>
                  </a:lnTo>
                  <a:lnTo>
                    <a:pt x="46" y="80"/>
                  </a:lnTo>
                  <a:lnTo>
                    <a:pt x="46" y="81"/>
                  </a:lnTo>
                  <a:lnTo>
                    <a:pt x="47" y="81"/>
                  </a:lnTo>
                  <a:lnTo>
                    <a:pt x="49" y="81"/>
                  </a:lnTo>
                  <a:lnTo>
                    <a:pt x="47" y="82"/>
                  </a:lnTo>
                  <a:lnTo>
                    <a:pt x="49" y="82"/>
                  </a:lnTo>
                  <a:lnTo>
                    <a:pt x="49" y="81"/>
                  </a:lnTo>
                  <a:lnTo>
                    <a:pt x="50" y="81"/>
                  </a:lnTo>
                  <a:lnTo>
                    <a:pt x="49" y="82"/>
                  </a:lnTo>
                  <a:lnTo>
                    <a:pt x="50" y="82"/>
                  </a:lnTo>
                  <a:lnTo>
                    <a:pt x="51" y="83"/>
                  </a:lnTo>
                  <a:lnTo>
                    <a:pt x="52" y="83"/>
                  </a:lnTo>
                  <a:lnTo>
                    <a:pt x="53" y="83"/>
                  </a:lnTo>
                  <a:lnTo>
                    <a:pt x="53" y="85"/>
                  </a:lnTo>
                  <a:lnTo>
                    <a:pt x="55" y="85"/>
                  </a:lnTo>
                  <a:lnTo>
                    <a:pt x="55" y="86"/>
                  </a:lnTo>
                  <a:lnTo>
                    <a:pt x="56" y="86"/>
                  </a:lnTo>
                  <a:lnTo>
                    <a:pt x="57" y="87"/>
                  </a:lnTo>
                  <a:lnTo>
                    <a:pt x="58" y="87"/>
                  </a:lnTo>
                  <a:lnTo>
                    <a:pt x="58" y="88"/>
                  </a:lnTo>
                  <a:lnTo>
                    <a:pt x="59" y="88"/>
                  </a:lnTo>
                  <a:lnTo>
                    <a:pt x="57" y="88"/>
                  </a:lnTo>
                  <a:lnTo>
                    <a:pt x="56" y="88"/>
                  </a:lnTo>
                  <a:lnTo>
                    <a:pt x="55" y="89"/>
                  </a:lnTo>
                  <a:lnTo>
                    <a:pt x="53" y="91"/>
                  </a:lnTo>
                  <a:lnTo>
                    <a:pt x="53" y="89"/>
                  </a:lnTo>
                  <a:lnTo>
                    <a:pt x="52" y="89"/>
                  </a:lnTo>
                  <a:lnTo>
                    <a:pt x="52" y="91"/>
                  </a:lnTo>
                  <a:lnTo>
                    <a:pt x="51" y="91"/>
                  </a:lnTo>
                  <a:lnTo>
                    <a:pt x="51" y="89"/>
                  </a:lnTo>
                  <a:lnTo>
                    <a:pt x="50" y="89"/>
                  </a:lnTo>
                  <a:lnTo>
                    <a:pt x="50" y="88"/>
                  </a:lnTo>
                  <a:lnTo>
                    <a:pt x="49" y="88"/>
                  </a:lnTo>
                  <a:lnTo>
                    <a:pt x="49" y="89"/>
                  </a:lnTo>
                  <a:lnTo>
                    <a:pt x="49" y="91"/>
                  </a:lnTo>
                  <a:lnTo>
                    <a:pt x="47" y="91"/>
                  </a:lnTo>
                  <a:lnTo>
                    <a:pt x="46" y="91"/>
                  </a:lnTo>
                  <a:lnTo>
                    <a:pt x="45" y="91"/>
                  </a:lnTo>
                  <a:lnTo>
                    <a:pt x="44" y="91"/>
                  </a:lnTo>
                  <a:lnTo>
                    <a:pt x="43" y="91"/>
                  </a:lnTo>
                  <a:lnTo>
                    <a:pt x="43" y="92"/>
                  </a:lnTo>
                  <a:lnTo>
                    <a:pt x="43" y="91"/>
                  </a:lnTo>
                  <a:lnTo>
                    <a:pt x="41" y="91"/>
                  </a:lnTo>
                  <a:lnTo>
                    <a:pt x="41" y="92"/>
                  </a:lnTo>
                  <a:lnTo>
                    <a:pt x="40" y="92"/>
                  </a:lnTo>
                  <a:lnTo>
                    <a:pt x="40" y="91"/>
                  </a:lnTo>
                  <a:lnTo>
                    <a:pt x="39" y="91"/>
                  </a:lnTo>
                  <a:lnTo>
                    <a:pt x="38" y="91"/>
                  </a:lnTo>
                  <a:lnTo>
                    <a:pt x="39" y="91"/>
                  </a:lnTo>
                  <a:lnTo>
                    <a:pt x="39" y="92"/>
                  </a:lnTo>
                  <a:lnTo>
                    <a:pt x="39" y="93"/>
                  </a:lnTo>
                  <a:lnTo>
                    <a:pt x="39" y="94"/>
                  </a:lnTo>
                  <a:lnTo>
                    <a:pt x="38" y="94"/>
                  </a:lnTo>
                  <a:lnTo>
                    <a:pt x="37" y="95"/>
                  </a:lnTo>
                  <a:lnTo>
                    <a:pt x="38" y="95"/>
                  </a:lnTo>
                  <a:lnTo>
                    <a:pt x="39" y="97"/>
                  </a:lnTo>
                  <a:lnTo>
                    <a:pt x="40" y="98"/>
                  </a:lnTo>
                  <a:lnTo>
                    <a:pt x="40" y="99"/>
                  </a:lnTo>
                  <a:lnTo>
                    <a:pt x="39" y="99"/>
                  </a:lnTo>
                  <a:lnTo>
                    <a:pt x="40" y="99"/>
                  </a:lnTo>
                  <a:lnTo>
                    <a:pt x="39" y="100"/>
                  </a:lnTo>
                  <a:lnTo>
                    <a:pt x="38" y="100"/>
                  </a:lnTo>
                  <a:lnTo>
                    <a:pt x="37" y="99"/>
                  </a:lnTo>
                  <a:lnTo>
                    <a:pt x="37" y="98"/>
                  </a:lnTo>
                  <a:lnTo>
                    <a:pt x="35" y="99"/>
                  </a:lnTo>
                  <a:lnTo>
                    <a:pt x="35" y="98"/>
                  </a:lnTo>
                  <a:lnTo>
                    <a:pt x="35" y="97"/>
                  </a:lnTo>
                  <a:lnTo>
                    <a:pt x="34" y="97"/>
                  </a:lnTo>
                  <a:lnTo>
                    <a:pt x="33" y="97"/>
                  </a:lnTo>
                  <a:lnTo>
                    <a:pt x="32" y="97"/>
                  </a:lnTo>
                  <a:lnTo>
                    <a:pt x="32" y="95"/>
                  </a:lnTo>
                  <a:lnTo>
                    <a:pt x="31" y="97"/>
                  </a:lnTo>
                  <a:lnTo>
                    <a:pt x="31" y="98"/>
                  </a:lnTo>
                  <a:lnTo>
                    <a:pt x="32" y="98"/>
                  </a:lnTo>
                  <a:lnTo>
                    <a:pt x="32" y="99"/>
                  </a:lnTo>
                  <a:lnTo>
                    <a:pt x="33" y="100"/>
                  </a:lnTo>
                  <a:lnTo>
                    <a:pt x="35" y="100"/>
                  </a:lnTo>
                  <a:lnTo>
                    <a:pt x="35" y="101"/>
                  </a:lnTo>
                  <a:lnTo>
                    <a:pt x="35" y="103"/>
                  </a:lnTo>
                  <a:lnTo>
                    <a:pt x="37" y="103"/>
                  </a:lnTo>
                  <a:lnTo>
                    <a:pt x="38" y="104"/>
                  </a:lnTo>
                  <a:lnTo>
                    <a:pt x="38" y="105"/>
                  </a:lnTo>
                  <a:lnTo>
                    <a:pt x="39" y="105"/>
                  </a:lnTo>
                  <a:lnTo>
                    <a:pt x="39" y="106"/>
                  </a:lnTo>
                  <a:lnTo>
                    <a:pt x="40" y="106"/>
                  </a:lnTo>
                  <a:lnTo>
                    <a:pt x="40" y="105"/>
                  </a:lnTo>
                  <a:lnTo>
                    <a:pt x="41" y="105"/>
                  </a:lnTo>
                  <a:lnTo>
                    <a:pt x="43" y="105"/>
                  </a:lnTo>
                  <a:lnTo>
                    <a:pt x="44" y="106"/>
                  </a:lnTo>
                  <a:lnTo>
                    <a:pt x="43" y="106"/>
                  </a:lnTo>
                  <a:lnTo>
                    <a:pt x="41" y="107"/>
                  </a:lnTo>
                  <a:lnTo>
                    <a:pt x="41" y="109"/>
                  </a:lnTo>
                  <a:lnTo>
                    <a:pt x="40" y="109"/>
                  </a:lnTo>
                  <a:lnTo>
                    <a:pt x="40" y="110"/>
                  </a:lnTo>
                  <a:lnTo>
                    <a:pt x="39" y="110"/>
                  </a:lnTo>
                  <a:lnTo>
                    <a:pt x="38" y="110"/>
                  </a:lnTo>
                  <a:lnTo>
                    <a:pt x="37" y="110"/>
                  </a:lnTo>
                  <a:lnTo>
                    <a:pt x="35" y="110"/>
                  </a:lnTo>
                  <a:lnTo>
                    <a:pt x="35" y="111"/>
                  </a:lnTo>
                  <a:lnTo>
                    <a:pt x="37" y="111"/>
                  </a:lnTo>
                  <a:lnTo>
                    <a:pt x="37" y="112"/>
                  </a:lnTo>
                  <a:lnTo>
                    <a:pt x="35" y="112"/>
                  </a:lnTo>
                  <a:lnTo>
                    <a:pt x="37" y="113"/>
                  </a:lnTo>
                  <a:lnTo>
                    <a:pt x="38" y="116"/>
                  </a:lnTo>
                  <a:lnTo>
                    <a:pt x="37" y="117"/>
                  </a:lnTo>
                  <a:lnTo>
                    <a:pt x="37" y="118"/>
                  </a:lnTo>
                  <a:lnTo>
                    <a:pt x="37" y="119"/>
                  </a:lnTo>
                  <a:lnTo>
                    <a:pt x="37" y="121"/>
                  </a:lnTo>
                  <a:lnTo>
                    <a:pt x="35" y="119"/>
                  </a:lnTo>
                  <a:lnTo>
                    <a:pt x="35" y="121"/>
                  </a:lnTo>
                  <a:lnTo>
                    <a:pt x="35" y="122"/>
                  </a:lnTo>
                  <a:lnTo>
                    <a:pt x="33" y="122"/>
                  </a:lnTo>
                  <a:lnTo>
                    <a:pt x="32" y="122"/>
                  </a:lnTo>
                  <a:lnTo>
                    <a:pt x="31" y="122"/>
                  </a:lnTo>
                  <a:lnTo>
                    <a:pt x="31" y="121"/>
                  </a:lnTo>
                  <a:lnTo>
                    <a:pt x="31" y="122"/>
                  </a:lnTo>
                  <a:lnTo>
                    <a:pt x="29" y="122"/>
                  </a:lnTo>
                  <a:lnTo>
                    <a:pt x="28" y="122"/>
                  </a:lnTo>
                  <a:lnTo>
                    <a:pt x="27" y="123"/>
                  </a:lnTo>
                  <a:lnTo>
                    <a:pt x="26" y="123"/>
                  </a:lnTo>
                  <a:lnTo>
                    <a:pt x="25" y="123"/>
                  </a:lnTo>
                  <a:lnTo>
                    <a:pt x="23" y="123"/>
                  </a:lnTo>
                  <a:lnTo>
                    <a:pt x="23" y="122"/>
                  </a:lnTo>
                  <a:lnTo>
                    <a:pt x="23" y="123"/>
                  </a:lnTo>
                  <a:lnTo>
                    <a:pt x="23" y="124"/>
                  </a:lnTo>
                  <a:lnTo>
                    <a:pt x="25" y="125"/>
                  </a:lnTo>
                  <a:lnTo>
                    <a:pt x="25" y="127"/>
                  </a:lnTo>
                  <a:lnTo>
                    <a:pt x="23" y="127"/>
                  </a:lnTo>
                  <a:lnTo>
                    <a:pt x="22" y="127"/>
                  </a:lnTo>
                  <a:lnTo>
                    <a:pt x="21" y="127"/>
                  </a:lnTo>
                  <a:lnTo>
                    <a:pt x="20" y="127"/>
                  </a:lnTo>
                  <a:lnTo>
                    <a:pt x="18" y="127"/>
                  </a:lnTo>
                  <a:lnTo>
                    <a:pt x="16" y="127"/>
                  </a:lnTo>
                  <a:lnTo>
                    <a:pt x="16" y="128"/>
                  </a:lnTo>
                  <a:lnTo>
                    <a:pt x="17" y="128"/>
                  </a:lnTo>
                  <a:lnTo>
                    <a:pt x="17" y="129"/>
                  </a:lnTo>
                  <a:lnTo>
                    <a:pt x="20" y="130"/>
                  </a:lnTo>
                  <a:lnTo>
                    <a:pt x="21" y="130"/>
                  </a:lnTo>
                  <a:lnTo>
                    <a:pt x="21" y="132"/>
                  </a:lnTo>
                  <a:lnTo>
                    <a:pt x="22" y="132"/>
                  </a:lnTo>
                  <a:lnTo>
                    <a:pt x="22" y="133"/>
                  </a:lnTo>
                  <a:lnTo>
                    <a:pt x="23" y="134"/>
                  </a:lnTo>
                  <a:lnTo>
                    <a:pt x="25" y="134"/>
                  </a:lnTo>
                  <a:lnTo>
                    <a:pt x="26" y="133"/>
                  </a:lnTo>
                  <a:lnTo>
                    <a:pt x="26" y="134"/>
                  </a:lnTo>
                  <a:lnTo>
                    <a:pt x="27" y="133"/>
                  </a:lnTo>
                  <a:lnTo>
                    <a:pt x="27" y="134"/>
                  </a:lnTo>
                  <a:lnTo>
                    <a:pt x="28" y="133"/>
                  </a:lnTo>
                  <a:lnTo>
                    <a:pt x="29" y="134"/>
                  </a:lnTo>
                  <a:lnTo>
                    <a:pt x="31" y="133"/>
                  </a:lnTo>
                  <a:lnTo>
                    <a:pt x="31" y="132"/>
                  </a:lnTo>
                  <a:lnTo>
                    <a:pt x="32" y="132"/>
                  </a:lnTo>
                  <a:lnTo>
                    <a:pt x="33" y="132"/>
                  </a:lnTo>
                  <a:lnTo>
                    <a:pt x="33" y="130"/>
                  </a:lnTo>
                  <a:lnTo>
                    <a:pt x="33" y="129"/>
                  </a:lnTo>
                  <a:lnTo>
                    <a:pt x="34" y="129"/>
                  </a:lnTo>
                  <a:lnTo>
                    <a:pt x="34" y="130"/>
                  </a:lnTo>
                  <a:lnTo>
                    <a:pt x="33" y="132"/>
                  </a:lnTo>
                  <a:lnTo>
                    <a:pt x="33" y="133"/>
                  </a:lnTo>
                  <a:lnTo>
                    <a:pt x="34" y="134"/>
                  </a:lnTo>
                  <a:lnTo>
                    <a:pt x="34" y="135"/>
                  </a:lnTo>
                  <a:lnTo>
                    <a:pt x="35" y="134"/>
                  </a:lnTo>
                  <a:lnTo>
                    <a:pt x="37" y="134"/>
                  </a:lnTo>
                  <a:lnTo>
                    <a:pt x="37" y="133"/>
                  </a:lnTo>
                  <a:lnTo>
                    <a:pt x="37" y="132"/>
                  </a:lnTo>
                  <a:lnTo>
                    <a:pt x="38" y="132"/>
                  </a:lnTo>
                  <a:lnTo>
                    <a:pt x="39" y="130"/>
                  </a:lnTo>
                  <a:lnTo>
                    <a:pt x="39" y="132"/>
                  </a:lnTo>
                  <a:lnTo>
                    <a:pt x="40" y="132"/>
                  </a:lnTo>
                  <a:lnTo>
                    <a:pt x="41" y="130"/>
                  </a:lnTo>
                  <a:lnTo>
                    <a:pt x="43" y="130"/>
                  </a:lnTo>
                  <a:lnTo>
                    <a:pt x="44" y="130"/>
                  </a:lnTo>
                  <a:lnTo>
                    <a:pt x="45" y="130"/>
                  </a:lnTo>
                  <a:lnTo>
                    <a:pt x="46" y="132"/>
                  </a:lnTo>
                  <a:lnTo>
                    <a:pt x="47" y="132"/>
                  </a:lnTo>
                  <a:lnTo>
                    <a:pt x="49" y="130"/>
                  </a:lnTo>
                  <a:lnTo>
                    <a:pt x="50" y="130"/>
                  </a:lnTo>
                  <a:lnTo>
                    <a:pt x="50" y="132"/>
                  </a:lnTo>
                  <a:lnTo>
                    <a:pt x="51" y="132"/>
                  </a:lnTo>
                  <a:lnTo>
                    <a:pt x="52" y="133"/>
                  </a:lnTo>
                  <a:lnTo>
                    <a:pt x="53" y="132"/>
                  </a:lnTo>
                  <a:lnTo>
                    <a:pt x="55" y="132"/>
                  </a:lnTo>
                  <a:lnTo>
                    <a:pt x="53" y="130"/>
                  </a:lnTo>
                  <a:lnTo>
                    <a:pt x="55" y="129"/>
                  </a:lnTo>
                  <a:lnTo>
                    <a:pt x="55" y="130"/>
                  </a:lnTo>
                  <a:lnTo>
                    <a:pt x="56" y="130"/>
                  </a:lnTo>
                  <a:lnTo>
                    <a:pt x="57" y="130"/>
                  </a:lnTo>
                  <a:lnTo>
                    <a:pt x="58" y="130"/>
                  </a:lnTo>
                  <a:lnTo>
                    <a:pt x="58" y="132"/>
                  </a:lnTo>
                  <a:lnTo>
                    <a:pt x="58" y="133"/>
                  </a:lnTo>
                  <a:lnTo>
                    <a:pt x="57" y="133"/>
                  </a:lnTo>
                  <a:lnTo>
                    <a:pt x="57" y="132"/>
                  </a:lnTo>
                  <a:lnTo>
                    <a:pt x="57" y="133"/>
                  </a:lnTo>
                  <a:lnTo>
                    <a:pt x="56" y="133"/>
                  </a:lnTo>
                  <a:lnTo>
                    <a:pt x="56" y="134"/>
                  </a:lnTo>
                  <a:lnTo>
                    <a:pt x="56" y="133"/>
                  </a:lnTo>
                  <a:lnTo>
                    <a:pt x="56" y="134"/>
                  </a:lnTo>
                  <a:lnTo>
                    <a:pt x="56" y="135"/>
                  </a:lnTo>
                  <a:lnTo>
                    <a:pt x="56" y="136"/>
                  </a:lnTo>
                  <a:lnTo>
                    <a:pt x="55" y="135"/>
                  </a:lnTo>
                  <a:lnTo>
                    <a:pt x="55" y="136"/>
                  </a:lnTo>
                  <a:lnTo>
                    <a:pt x="56" y="136"/>
                  </a:lnTo>
                  <a:lnTo>
                    <a:pt x="56" y="138"/>
                  </a:lnTo>
                  <a:lnTo>
                    <a:pt x="55" y="138"/>
                  </a:lnTo>
                  <a:lnTo>
                    <a:pt x="53" y="138"/>
                  </a:lnTo>
                  <a:lnTo>
                    <a:pt x="52" y="138"/>
                  </a:lnTo>
                  <a:lnTo>
                    <a:pt x="51" y="139"/>
                  </a:lnTo>
                  <a:lnTo>
                    <a:pt x="50" y="140"/>
                  </a:lnTo>
                  <a:lnTo>
                    <a:pt x="50" y="141"/>
                  </a:lnTo>
                  <a:lnTo>
                    <a:pt x="49" y="141"/>
                  </a:lnTo>
                  <a:lnTo>
                    <a:pt x="47" y="142"/>
                  </a:lnTo>
                  <a:lnTo>
                    <a:pt x="47" y="144"/>
                  </a:lnTo>
                  <a:lnTo>
                    <a:pt x="46" y="144"/>
                  </a:lnTo>
                  <a:lnTo>
                    <a:pt x="45" y="145"/>
                  </a:lnTo>
                  <a:lnTo>
                    <a:pt x="44" y="146"/>
                  </a:lnTo>
                  <a:lnTo>
                    <a:pt x="44" y="145"/>
                  </a:lnTo>
                  <a:lnTo>
                    <a:pt x="43" y="146"/>
                  </a:lnTo>
                  <a:lnTo>
                    <a:pt x="41" y="146"/>
                  </a:lnTo>
                  <a:lnTo>
                    <a:pt x="41" y="147"/>
                  </a:lnTo>
                  <a:lnTo>
                    <a:pt x="40" y="147"/>
                  </a:lnTo>
                  <a:lnTo>
                    <a:pt x="39" y="147"/>
                  </a:lnTo>
                  <a:lnTo>
                    <a:pt x="38" y="147"/>
                  </a:lnTo>
                  <a:lnTo>
                    <a:pt x="38" y="148"/>
                  </a:lnTo>
                  <a:lnTo>
                    <a:pt x="37" y="148"/>
                  </a:lnTo>
                  <a:lnTo>
                    <a:pt x="37" y="150"/>
                  </a:lnTo>
                  <a:lnTo>
                    <a:pt x="37" y="151"/>
                  </a:lnTo>
                  <a:lnTo>
                    <a:pt x="37" y="152"/>
                  </a:lnTo>
                  <a:lnTo>
                    <a:pt x="35" y="152"/>
                  </a:lnTo>
                  <a:lnTo>
                    <a:pt x="37" y="152"/>
                  </a:lnTo>
                  <a:lnTo>
                    <a:pt x="35" y="152"/>
                  </a:lnTo>
                  <a:lnTo>
                    <a:pt x="34" y="153"/>
                  </a:lnTo>
                  <a:lnTo>
                    <a:pt x="33" y="153"/>
                  </a:lnTo>
                  <a:lnTo>
                    <a:pt x="31" y="153"/>
                  </a:lnTo>
                  <a:lnTo>
                    <a:pt x="31" y="154"/>
                  </a:lnTo>
                  <a:lnTo>
                    <a:pt x="28" y="154"/>
                  </a:lnTo>
                  <a:lnTo>
                    <a:pt x="27" y="153"/>
                  </a:lnTo>
                  <a:lnTo>
                    <a:pt x="27" y="154"/>
                  </a:lnTo>
                  <a:lnTo>
                    <a:pt x="26" y="154"/>
                  </a:lnTo>
                  <a:lnTo>
                    <a:pt x="25" y="154"/>
                  </a:lnTo>
                  <a:lnTo>
                    <a:pt x="26" y="157"/>
                  </a:lnTo>
                  <a:lnTo>
                    <a:pt x="27" y="157"/>
                  </a:lnTo>
                  <a:lnTo>
                    <a:pt x="26" y="158"/>
                  </a:lnTo>
                  <a:lnTo>
                    <a:pt x="25" y="158"/>
                  </a:lnTo>
                  <a:lnTo>
                    <a:pt x="25" y="159"/>
                  </a:lnTo>
                  <a:lnTo>
                    <a:pt x="23" y="159"/>
                  </a:lnTo>
                  <a:lnTo>
                    <a:pt x="22" y="159"/>
                  </a:lnTo>
                  <a:lnTo>
                    <a:pt x="23" y="160"/>
                  </a:lnTo>
                  <a:lnTo>
                    <a:pt x="22" y="162"/>
                  </a:lnTo>
                  <a:lnTo>
                    <a:pt x="21" y="162"/>
                  </a:lnTo>
                  <a:lnTo>
                    <a:pt x="20" y="162"/>
                  </a:lnTo>
                  <a:lnTo>
                    <a:pt x="18" y="162"/>
                  </a:lnTo>
                  <a:lnTo>
                    <a:pt x="17" y="162"/>
                  </a:lnTo>
                  <a:lnTo>
                    <a:pt x="16" y="162"/>
                  </a:lnTo>
                  <a:lnTo>
                    <a:pt x="17" y="164"/>
                  </a:lnTo>
                  <a:lnTo>
                    <a:pt x="17" y="165"/>
                  </a:lnTo>
                  <a:lnTo>
                    <a:pt x="18" y="165"/>
                  </a:lnTo>
                  <a:lnTo>
                    <a:pt x="20" y="165"/>
                  </a:lnTo>
                  <a:lnTo>
                    <a:pt x="21" y="166"/>
                  </a:lnTo>
                  <a:lnTo>
                    <a:pt x="20" y="166"/>
                  </a:lnTo>
                  <a:lnTo>
                    <a:pt x="18" y="166"/>
                  </a:lnTo>
                  <a:lnTo>
                    <a:pt x="17" y="168"/>
                  </a:lnTo>
                  <a:lnTo>
                    <a:pt x="17" y="170"/>
                  </a:lnTo>
                  <a:lnTo>
                    <a:pt x="18" y="171"/>
                  </a:lnTo>
                  <a:lnTo>
                    <a:pt x="18" y="172"/>
                  </a:lnTo>
                  <a:lnTo>
                    <a:pt x="18" y="174"/>
                  </a:lnTo>
                  <a:lnTo>
                    <a:pt x="17" y="175"/>
                  </a:lnTo>
                  <a:lnTo>
                    <a:pt x="17" y="176"/>
                  </a:lnTo>
                  <a:lnTo>
                    <a:pt x="18" y="177"/>
                  </a:lnTo>
                  <a:lnTo>
                    <a:pt x="20" y="177"/>
                  </a:lnTo>
                  <a:lnTo>
                    <a:pt x="18" y="178"/>
                  </a:lnTo>
                  <a:lnTo>
                    <a:pt x="18" y="180"/>
                  </a:lnTo>
                  <a:lnTo>
                    <a:pt x="17" y="181"/>
                  </a:lnTo>
                  <a:lnTo>
                    <a:pt x="17" y="180"/>
                  </a:lnTo>
                  <a:lnTo>
                    <a:pt x="16" y="180"/>
                  </a:lnTo>
                  <a:lnTo>
                    <a:pt x="16" y="181"/>
                  </a:lnTo>
                  <a:lnTo>
                    <a:pt x="15" y="181"/>
                  </a:lnTo>
                  <a:lnTo>
                    <a:pt x="16" y="181"/>
                  </a:lnTo>
                  <a:lnTo>
                    <a:pt x="16" y="182"/>
                  </a:lnTo>
                  <a:lnTo>
                    <a:pt x="17" y="182"/>
                  </a:lnTo>
                  <a:lnTo>
                    <a:pt x="18" y="182"/>
                  </a:lnTo>
                  <a:lnTo>
                    <a:pt x="20" y="182"/>
                  </a:lnTo>
                  <a:lnTo>
                    <a:pt x="21" y="182"/>
                  </a:lnTo>
                  <a:lnTo>
                    <a:pt x="21" y="181"/>
                  </a:lnTo>
                  <a:lnTo>
                    <a:pt x="25" y="181"/>
                  </a:lnTo>
                  <a:lnTo>
                    <a:pt x="25" y="180"/>
                  </a:lnTo>
                  <a:lnTo>
                    <a:pt x="26" y="178"/>
                  </a:lnTo>
                  <a:lnTo>
                    <a:pt x="27" y="177"/>
                  </a:lnTo>
                  <a:lnTo>
                    <a:pt x="27" y="176"/>
                  </a:lnTo>
                  <a:lnTo>
                    <a:pt x="27" y="175"/>
                  </a:lnTo>
                  <a:lnTo>
                    <a:pt x="28" y="174"/>
                  </a:lnTo>
                  <a:lnTo>
                    <a:pt x="28" y="172"/>
                  </a:lnTo>
                  <a:lnTo>
                    <a:pt x="29" y="171"/>
                  </a:lnTo>
                  <a:lnTo>
                    <a:pt x="31" y="172"/>
                  </a:lnTo>
                  <a:lnTo>
                    <a:pt x="32" y="172"/>
                  </a:lnTo>
                  <a:lnTo>
                    <a:pt x="33" y="171"/>
                  </a:lnTo>
                  <a:lnTo>
                    <a:pt x="33" y="172"/>
                  </a:lnTo>
                  <a:lnTo>
                    <a:pt x="34" y="172"/>
                  </a:lnTo>
                  <a:lnTo>
                    <a:pt x="35" y="174"/>
                  </a:lnTo>
                  <a:lnTo>
                    <a:pt x="37" y="172"/>
                  </a:lnTo>
                  <a:lnTo>
                    <a:pt x="37" y="171"/>
                  </a:lnTo>
                  <a:lnTo>
                    <a:pt x="35" y="170"/>
                  </a:lnTo>
                  <a:lnTo>
                    <a:pt x="34" y="170"/>
                  </a:lnTo>
                  <a:lnTo>
                    <a:pt x="34" y="169"/>
                  </a:lnTo>
                  <a:lnTo>
                    <a:pt x="34" y="168"/>
                  </a:lnTo>
                  <a:lnTo>
                    <a:pt x="33" y="168"/>
                  </a:lnTo>
                  <a:lnTo>
                    <a:pt x="32" y="168"/>
                  </a:lnTo>
                  <a:lnTo>
                    <a:pt x="32" y="166"/>
                  </a:lnTo>
                  <a:lnTo>
                    <a:pt x="33" y="166"/>
                  </a:lnTo>
                  <a:lnTo>
                    <a:pt x="34" y="166"/>
                  </a:lnTo>
                  <a:lnTo>
                    <a:pt x="35" y="166"/>
                  </a:lnTo>
                  <a:lnTo>
                    <a:pt x="37" y="166"/>
                  </a:lnTo>
                  <a:lnTo>
                    <a:pt x="38" y="165"/>
                  </a:lnTo>
                  <a:lnTo>
                    <a:pt x="39" y="165"/>
                  </a:lnTo>
                  <a:lnTo>
                    <a:pt x="38" y="164"/>
                  </a:lnTo>
                  <a:lnTo>
                    <a:pt x="39" y="164"/>
                  </a:lnTo>
                  <a:lnTo>
                    <a:pt x="40" y="164"/>
                  </a:lnTo>
                  <a:lnTo>
                    <a:pt x="39" y="163"/>
                  </a:lnTo>
                  <a:lnTo>
                    <a:pt x="40" y="163"/>
                  </a:lnTo>
                  <a:lnTo>
                    <a:pt x="41" y="163"/>
                  </a:lnTo>
                  <a:lnTo>
                    <a:pt x="43" y="163"/>
                  </a:lnTo>
                  <a:lnTo>
                    <a:pt x="43" y="164"/>
                  </a:lnTo>
                  <a:lnTo>
                    <a:pt x="44" y="163"/>
                  </a:lnTo>
                  <a:lnTo>
                    <a:pt x="44" y="162"/>
                  </a:lnTo>
                  <a:lnTo>
                    <a:pt x="45" y="162"/>
                  </a:lnTo>
                  <a:lnTo>
                    <a:pt x="46" y="162"/>
                  </a:lnTo>
                  <a:lnTo>
                    <a:pt x="45" y="160"/>
                  </a:lnTo>
                  <a:lnTo>
                    <a:pt x="46" y="160"/>
                  </a:lnTo>
                  <a:lnTo>
                    <a:pt x="47" y="160"/>
                  </a:lnTo>
                  <a:lnTo>
                    <a:pt x="49" y="160"/>
                  </a:lnTo>
                  <a:lnTo>
                    <a:pt x="49" y="159"/>
                  </a:lnTo>
                  <a:lnTo>
                    <a:pt x="50" y="159"/>
                  </a:lnTo>
                  <a:lnTo>
                    <a:pt x="51" y="159"/>
                  </a:lnTo>
                  <a:lnTo>
                    <a:pt x="51" y="158"/>
                  </a:lnTo>
                  <a:lnTo>
                    <a:pt x="51" y="157"/>
                  </a:lnTo>
                  <a:lnTo>
                    <a:pt x="51" y="156"/>
                  </a:lnTo>
                  <a:lnTo>
                    <a:pt x="52" y="154"/>
                  </a:lnTo>
                  <a:lnTo>
                    <a:pt x="53" y="153"/>
                  </a:lnTo>
                  <a:lnTo>
                    <a:pt x="53" y="154"/>
                  </a:lnTo>
                  <a:lnTo>
                    <a:pt x="53" y="156"/>
                  </a:lnTo>
                  <a:lnTo>
                    <a:pt x="55" y="156"/>
                  </a:lnTo>
                  <a:lnTo>
                    <a:pt x="55" y="158"/>
                  </a:lnTo>
                  <a:lnTo>
                    <a:pt x="55" y="157"/>
                  </a:lnTo>
                  <a:lnTo>
                    <a:pt x="53" y="157"/>
                  </a:lnTo>
                  <a:lnTo>
                    <a:pt x="52" y="158"/>
                  </a:lnTo>
                  <a:lnTo>
                    <a:pt x="52" y="159"/>
                  </a:lnTo>
                  <a:lnTo>
                    <a:pt x="52" y="160"/>
                  </a:lnTo>
                  <a:lnTo>
                    <a:pt x="51" y="160"/>
                  </a:lnTo>
                  <a:lnTo>
                    <a:pt x="51" y="162"/>
                  </a:lnTo>
                  <a:lnTo>
                    <a:pt x="52" y="162"/>
                  </a:lnTo>
                  <a:lnTo>
                    <a:pt x="53" y="162"/>
                  </a:lnTo>
                  <a:lnTo>
                    <a:pt x="55" y="160"/>
                  </a:lnTo>
                  <a:lnTo>
                    <a:pt x="56" y="160"/>
                  </a:lnTo>
                  <a:lnTo>
                    <a:pt x="56" y="159"/>
                  </a:lnTo>
                  <a:lnTo>
                    <a:pt x="57" y="159"/>
                  </a:lnTo>
                  <a:lnTo>
                    <a:pt x="58" y="159"/>
                  </a:lnTo>
                  <a:lnTo>
                    <a:pt x="59" y="159"/>
                  </a:lnTo>
                  <a:lnTo>
                    <a:pt x="59" y="158"/>
                  </a:lnTo>
                  <a:lnTo>
                    <a:pt x="61" y="158"/>
                  </a:lnTo>
                  <a:lnTo>
                    <a:pt x="62" y="158"/>
                  </a:lnTo>
                  <a:lnTo>
                    <a:pt x="63" y="158"/>
                  </a:lnTo>
                  <a:lnTo>
                    <a:pt x="65" y="158"/>
                  </a:lnTo>
                  <a:lnTo>
                    <a:pt x="67" y="157"/>
                  </a:lnTo>
                  <a:lnTo>
                    <a:pt x="65" y="157"/>
                  </a:lnTo>
                  <a:lnTo>
                    <a:pt x="67" y="156"/>
                  </a:lnTo>
                  <a:lnTo>
                    <a:pt x="68" y="156"/>
                  </a:lnTo>
                  <a:lnTo>
                    <a:pt x="70" y="154"/>
                  </a:lnTo>
                  <a:lnTo>
                    <a:pt x="69" y="152"/>
                  </a:lnTo>
                  <a:lnTo>
                    <a:pt x="69" y="151"/>
                  </a:lnTo>
                  <a:lnTo>
                    <a:pt x="68" y="151"/>
                  </a:lnTo>
                  <a:lnTo>
                    <a:pt x="69" y="150"/>
                  </a:lnTo>
                  <a:lnTo>
                    <a:pt x="69" y="151"/>
                  </a:lnTo>
                  <a:lnTo>
                    <a:pt x="69" y="152"/>
                  </a:lnTo>
                  <a:lnTo>
                    <a:pt x="70" y="153"/>
                  </a:lnTo>
                  <a:lnTo>
                    <a:pt x="71" y="152"/>
                  </a:lnTo>
                  <a:lnTo>
                    <a:pt x="73" y="152"/>
                  </a:lnTo>
                  <a:lnTo>
                    <a:pt x="74" y="152"/>
                  </a:lnTo>
                  <a:lnTo>
                    <a:pt x="75" y="153"/>
                  </a:lnTo>
                  <a:lnTo>
                    <a:pt x="76" y="153"/>
                  </a:lnTo>
                  <a:lnTo>
                    <a:pt x="77" y="153"/>
                  </a:lnTo>
                  <a:lnTo>
                    <a:pt x="77" y="154"/>
                  </a:lnTo>
                  <a:lnTo>
                    <a:pt x="77" y="157"/>
                  </a:lnTo>
                  <a:lnTo>
                    <a:pt x="77" y="156"/>
                  </a:lnTo>
                  <a:lnTo>
                    <a:pt x="76" y="156"/>
                  </a:lnTo>
                  <a:lnTo>
                    <a:pt x="75" y="157"/>
                  </a:lnTo>
                  <a:lnTo>
                    <a:pt x="75" y="156"/>
                  </a:lnTo>
                  <a:lnTo>
                    <a:pt x="74" y="156"/>
                  </a:lnTo>
                  <a:lnTo>
                    <a:pt x="73" y="156"/>
                  </a:lnTo>
                  <a:lnTo>
                    <a:pt x="73" y="157"/>
                  </a:lnTo>
                  <a:lnTo>
                    <a:pt x="74" y="157"/>
                  </a:lnTo>
                  <a:lnTo>
                    <a:pt x="74" y="158"/>
                  </a:lnTo>
                  <a:lnTo>
                    <a:pt x="73" y="158"/>
                  </a:lnTo>
                  <a:lnTo>
                    <a:pt x="73" y="159"/>
                  </a:lnTo>
                  <a:lnTo>
                    <a:pt x="74" y="158"/>
                  </a:lnTo>
                  <a:lnTo>
                    <a:pt x="75" y="158"/>
                  </a:lnTo>
                  <a:lnTo>
                    <a:pt x="76" y="158"/>
                  </a:lnTo>
                  <a:lnTo>
                    <a:pt x="75" y="159"/>
                  </a:lnTo>
                  <a:lnTo>
                    <a:pt x="74" y="159"/>
                  </a:lnTo>
                  <a:lnTo>
                    <a:pt x="74" y="160"/>
                  </a:lnTo>
                  <a:lnTo>
                    <a:pt x="73" y="160"/>
                  </a:lnTo>
                  <a:lnTo>
                    <a:pt x="71" y="160"/>
                  </a:lnTo>
                  <a:lnTo>
                    <a:pt x="70" y="159"/>
                  </a:lnTo>
                  <a:lnTo>
                    <a:pt x="69" y="159"/>
                  </a:lnTo>
                  <a:lnTo>
                    <a:pt x="68" y="159"/>
                  </a:lnTo>
                  <a:lnTo>
                    <a:pt x="68" y="160"/>
                  </a:lnTo>
                  <a:lnTo>
                    <a:pt x="68" y="162"/>
                  </a:lnTo>
                  <a:lnTo>
                    <a:pt x="67" y="163"/>
                  </a:lnTo>
                  <a:lnTo>
                    <a:pt x="67" y="164"/>
                  </a:lnTo>
                  <a:lnTo>
                    <a:pt x="67" y="165"/>
                  </a:lnTo>
                  <a:lnTo>
                    <a:pt x="65" y="165"/>
                  </a:lnTo>
                  <a:lnTo>
                    <a:pt x="64" y="166"/>
                  </a:lnTo>
                  <a:lnTo>
                    <a:pt x="65" y="166"/>
                  </a:lnTo>
                  <a:lnTo>
                    <a:pt x="64" y="166"/>
                  </a:lnTo>
                  <a:lnTo>
                    <a:pt x="62" y="166"/>
                  </a:lnTo>
                  <a:lnTo>
                    <a:pt x="62" y="168"/>
                  </a:lnTo>
                  <a:lnTo>
                    <a:pt x="61" y="168"/>
                  </a:lnTo>
                  <a:lnTo>
                    <a:pt x="58" y="169"/>
                  </a:lnTo>
                  <a:lnTo>
                    <a:pt x="57" y="168"/>
                  </a:lnTo>
                  <a:lnTo>
                    <a:pt x="56" y="168"/>
                  </a:lnTo>
                  <a:lnTo>
                    <a:pt x="55" y="168"/>
                  </a:lnTo>
                  <a:lnTo>
                    <a:pt x="53" y="168"/>
                  </a:lnTo>
                  <a:lnTo>
                    <a:pt x="53" y="166"/>
                  </a:lnTo>
                  <a:lnTo>
                    <a:pt x="52" y="166"/>
                  </a:lnTo>
                  <a:lnTo>
                    <a:pt x="51" y="168"/>
                  </a:lnTo>
                  <a:lnTo>
                    <a:pt x="50" y="168"/>
                  </a:lnTo>
                  <a:lnTo>
                    <a:pt x="49" y="169"/>
                  </a:lnTo>
                  <a:lnTo>
                    <a:pt x="47" y="170"/>
                  </a:lnTo>
                  <a:lnTo>
                    <a:pt x="46" y="170"/>
                  </a:lnTo>
                  <a:lnTo>
                    <a:pt x="47" y="170"/>
                  </a:lnTo>
                  <a:lnTo>
                    <a:pt x="46" y="171"/>
                  </a:lnTo>
                  <a:lnTo>
                    <a:pt x="47" y="172"/>
                  </a:lnTo>
                  <a:lnTo>
                    <a:pt x="46" y="172"/>
                  </a:lnTo>
                  <a:lnTo>
                    <a:pt x="46" y="174"/>
                  </a:lnTo>
                  <a:lnTo>
                    <a:pt x="47" y="174"/>
                  </a:lnTo>
                  <a:lnTo>
                    <a:pt x="49" y="175"/>
                  </a:lnTo>
                  <a:lnTo>
                    <a:pt x="47" y="175"/>
                  </a:lnTo>
                  <a:lnTo>
                    <a:pt x="46" y="174"/>
                  </a:lnTo>
                  <a:lnTo>
                    <a:pt x="45" y="174"/>
                  </a:lnTo>
                  <a:lnTo>
                    <a:pt x="44" y="172"/>
                  </a:lnTo>
                  <a:lnTo>
                    <a:pt x="44" y="174"/>
                  </a:lnTo>
                  <a:lnTo>
                    <a:pt x="43" y="174"/>
                  </a:lnTo>
                  <a:lnTo>
                    <a:pt x="43" y="175"/>
                  </a:lnTo>
                  <a:lnTo>
                    <a:pt x="43" y="176"/>
                  </a:lnTo>
                  <a:lnTo>
                    <a:pt x="41" y="176"/>
                  </a:lnTo>
                  <a:lnTo>
                    <a:pt x="40" y="178"/>
                  </a:lnTo>
                  <a:lnTo>
                    <a:pt x="39" y="178"/>
                  </a:lnTo>
                  <a:lnTo>
                    <a:pt x="38" y="178"/>
                  </a:lnTo>
                  <a:lnTo>
                    <a:pt x="37" y="177"/>
                  </a:lnTo>
                  <a:lnTo>
                    <a:pt x="37" y="178"/>
                  </a:lnTo>
                  <a:lnTo>
                    <a:pt x="35" y="178"/>
                  </a:lnTo>
                  <a:lnTo>
                    <a:pt x="34" y="178"/>
                  </a:lnTo>
                  <a:lnTo>
                    <a:pt x="34" y="180"/>
                  </a:lnTo>
                  <a:lnTo>
                    <a:pt x="35" y="180"/>
                  </a:lnTo>
                  <a:lnTo>
                    <a:pt x="34" y="181"/>
                  </a:lnTo>
                  <a:lnTo>
                    <a:pt x="35" y="182"/>
                  </a:lnTo>
                  <a:lnTo>
                    <a:pt x="34" y="182"/>
                  </a:lnTo>
                  <a:lnTo>
                    <a:pt x="34" y="183"/>
                  </a:lnTo>
                  <a:lnTo>
                    <a:pt x="34" y="184"/>
                  </a:lnTo>
                  <a:lnTo>
                    <a:pt x="34" y="186"/>
                  </a:lnTo>
                  <a:lnTo>
                    <a:pt x="35" y="186"/>
                  </a:lnTo>
                  <a:lnTo>
                    <a:pt x="34" y="187"/>
                  </a:lnTo>
                  <a:lnTo>
                    <a:pt x="34" y="188"/>
                  </a:lnTo>
                  <a:lnTo>
                    <a:pt x="33" y="188"/>
                  </a:lnTo>
                  <a:lnTo>
                    <a:pt x="33" y="187"/>
                  </a:lnTo>
                  <a:lnTo>
                    <a:pt x="32" y="187"/>
                  </a:lnTo>
                  <a:lnTo>
                    <a:pt x="32" y="188"/>
                  </a:lnTo>
                  <a:lnTo>
                    <a:pt x="31" y="188"/>
                  </a:lnTo>
                  <a:lnTo>
                    <a:pt x="29" y="188"/>
                  </a:lnTo>
                  <a:lnTo>
                    <a:pt x="28" y="189"/>
                  </a:lnTo>
                  <a:lnTo>
                    <a:pt x="28" y="190"/>
                  </a:lnTo>
                  <a:lnTo>
                    <a:pt x="27" y="189"/>
                  </a:lnTo>
                  <a:lnTo>
                    <a:pt x="26" y="190"/>
                  </a:lnTo>
                  <a:lnTo>
                    <a:pt x="25" y="190"/>
                  </a:lnTo>
                  <a:lnTo>
                    <a:pt x="25" y="192"/>
                  </a:lnTo>
                  <a:lnTo>
                    <a:pt x="26" y="193"/>
                  </a:lnTo>
                  <a:lnTo>
                    <a:pt x="25" y="194"/>
                  </a:lnTo>
                  <a:lnTo>
                    <a:pt x="23" y="194"/>
                  </a:lnTo>
                  <a:lnTo>
                    <a:pt x="23" y="195"/>
                  </a:lnTo>
                  <a:lnTo>
                    <a:pt x="21" y="195"/>
                  </a:lnTo>
                  <a:lnTo>
                    <a:pt x="21" y="196"/>
                  </a:lnTo>
                  <a:lnTo>
                    <a:pt x="20" y="198"/>
                  </a:lnTo>
                  <a:lnTo>
                    <a:pt x="18" y="198"/>
                  </a:lnTo>
                  <a:lnTo>
                    <a:pt x="18" y="199"/>
                  </a:lnTo>
                  <a:lnTo>
                    <a:pt x="18" y="200"/>
                  </a:lnTo>
                  <a:lnTo>
                    <a:pt x="18" y="201"/>
                  </a:lnTo>
                  <a:lnTo>
                    <a:pt x="17" y="201"/>
                  </a:lnTo>
                  <a:lnTo>
                    <a:pt x="18" y="202"/>
                  </a:lnTo>
                  <a:lnTo>
                    <a:pt x="17" y="204"/>
                  </a:lnTo>
                  <a:lnTo>
                    <a:pt x="17" y="205"/>
                  </a:lnTo>
                  <a:lnTo>
                    <a:pt x="16" y="205"/>
                  </a:lnTo>
                  <a:lnTo>
                    <a:pt x="17" y="206"/>
                  </a:lnTo>
                  <a:lnTo>
                    <a:pt x="17" y="207"/>
                  </a:lnTo>
                  <a:lnTo>
                    <a:pt x="17" y="208"/>
                  </a:lnTo>
                  <a:lnTo>
                    <a:pt x="17" y="207"/>
                  </a:lnTo>
                  <a:lnTo>
                    <a:pt x="16" y="207"/>
                  </a:lnTo>
                  <a:lnTo>
                    <a:pt x="15" y="210"/>
                  </a:lnTo>
                  <a:lnTo>
                    <a:pt x="14" y="211"/>
                  </a:lnTo>
                  <a:lnTo>
                    <a:pt x="12" y="211"/>
                  </a:lnTo>
                  <a:lnTo>
                    <a:pt x="11" y="211"/>
                  </a:lnTo>
                  <a:lnTo>
                    <a:pt x="12" y="212"/>
                  </a:lnTo>
                  <a:lnTo>
                    <a:pt x="12" y="213"/>
                  </a:lnTo>
                  <a:lnTo>
                    <a:pt x="11" y="213"/>
                  </a:lnTo>
                  <a:lnTo>
                    <a:pt x="10" y="213"/>
                  </a:lnTo>
                  <a:lnTo>
                    <a:pt x="10" y="214"/>
                  </a:lnTo>
                  <a:lnTo>
                    <a:pt x="10" y="216"/>
                  </a:lnTo>
                  <a:lnTo>
                    <a:pt x="9" y="217"/>
                  </a:lnTo>
                  <a:lnTo>
                    <a:pt x="8" y="217"/>
                  </a:lnTo>
                  <a:lnTo>
                    <a:pt x="8" y="218"/>
                  </a:lnTo>
                  <a:lnTo>
                    <a:pt x="8" y="219"/>
                  </a:lnTo>
                  <a:lnTo>
                    <a:pt x="6" y="219"/>
                  </a:lnTo>
                  <a:lnTo>
                    <a:pt x="6" y="220"/>
                  </a:lnTo>
                  <a:lnTo>
                    <a:pt x="6" y="219"/>
                  </a:lnTo>
                  <a:lnTo>
                    <a:pt x="5" y="220"/>
                  </a:lnTo>
                  <a:lnTo>
                    <a:pt x="4" y="219"/>
                  </a:lnTo>
                  <a:lnTo>
                    <a:pt x="3" y="220"/>
                  </a:lnTo>
                  <a:lnTo>
                    <a:pt x="3" y="219"/>
                  </a:lnTo>
                  <a:lnTo>
                    <a:pt x="0" y="219"/>
                  </a:lnTo>
                  <a:lnTo>
                    <a:pt x="0" y="220"/>
                  </a:lnTo>
                  <a:lnTo>
                    <a:pt x="2" y="222"/>
                  </a:lnTo>
                  <a:lnTo>
                    <a:pt x="2" y="223"/>
                  </a:lnTo>
                  <a:lnTo>
                    <a:pt x="3" y="223"/>
                  </a:lnTo>
                  <a:lnTo>
                    <a:pt x="4" y="223"/>
                  </a:lnTo>
                  <a:lnTo>
                    <a:pt x="5" y="223"/>
                  </a:lnTo>
                  <a:lnTo>
                    <a:pt x="5" y="224"/>
                  </a:lnTo>
                  <a:lnTo>
                    <a:pt x="6" y="226"/>
                  </a:lnTo>
                  <a:lnTo>
                    <a:pt x="6" y="228"/>
                  </a:lnTo>
                  <a:lnTo>
                    <a:pt x="6" y="229"/>
                  </a:lnTo>
                  <a:lnTo>
                    <a:pt x="8" y="229"/>
                  </a:lnTo>
                  <a:lnTo>
                    <a:pt x="5" y="230"/>
                  </a:lnTo>
                  <a:lnTo>
                    <a:pt x="5" y="231"/>
                  </a:lnTo>
                  <a:lnTo>
                    <a:pt x="4" y="230"/>
                  </a:lnTo>
                  <a:lnTo>
                    <a:pt x="4" y="231"/>
                  </a:lnTo>
                  <a:lnTo>
                    <a:pt x="4" y="232"/>
                  </a:lnTo>
                  <a:lnTo>
                    <a:pt x="5" y="232"/>
                  </a:lnTo>
                  <a:lnTo>
                    <a:pt x="6" y="232"/>
                  </a:lnTo>
                  <a:lnTo>
                    <a:pt x="8" y="232"/>
                  </a:lnTo>
                  <a:lnTo>
                    <a:pt x="9" y="231"/>
                  </a:lnTo>
                  <a:lnTo>
                    <a:pt x="9" y="230"/>
                  </a:lnTo>
                  <a:lnTo>
                    <a:pt x="10" y="229"/>
                  </a:lnTo>
                  <a:lnTo>
                    <a:pt x="11" y="229"/>
                  </a:lnTo>
                  <a:lnTo>
                    <a:pt x="11" y="228"/>
                  </a:lnTo>
                  <a:lnTo>
                    <a:pt x="11" y="226"/>
                  </a:lnTo>
                  <a:lnTo>
                    <a:pt x="12" y="226"/>
                  </a:lnTo>
                  <a:lnTo>
                    <a:pt x="14" y="226"/>
                  </a:lnTo>
                  <a:lnTo>
                    <a:pt x="15" y="226"/>
                  </a:lnTo>
                  <a:lnTo>
                    <a:pt x="16" y="226"/>
                  </a:lnTo>
                  <a:lnTo>
                    <a:pt x="18" y="226"/>
                  </a:lnTo>
                  <a:lnTo>
                    <a:pt x="17" y="225"/>
                  </a:lnTo>
                  <a:lnTo>
                    <a:pt x="17" y="224"/>
                  </a:lnTo>
                  <a:lnTo>
                    <a:pt x="18" y="225"/>
                  </a:lnTo>
                  <a:lnTo>
                    <a:pt x="20" y="225"/>
                  </a:lnTo>
                  <a:lnTo>
                    <a:pt x="21" y="226"/>
                  </a:lnTo>
                  <a:lnTo>
                    <a:pt x="21" y="228"/>
                  </a:lnTo>
                  <a:lnTo>
                    <a:pt x="21" y="229"/>
                  </a:lnTo>
                  <a:lnTo>
                    <a:pt x="21" y="230"/>
                  </a:lnTo>
                  <a:lnTo>
                    <a:pt x="22" y="230"/>
                  </a:lnTo>
                  <a:lnTo>
                    <a:pt x="22" y="231"/>
                  </a:lnTo>
                  <a:lnTo>
                    <a:pt x="22" y="230"/>
                  </a:lnTo>
                  <a:lnTo>
                    <a:pt x="23" y="231"/>
                  </a:lnTo>
                  <a:lnTo>
                    <a:pt x="25" y="231"/>
                  </a:lnTo>
                  <a:lnTo>
                    <a:pt x="25" y="230"/>
                  </a:lnTo>
                  <a:lnTo>
                    <a:pt x="25" y="229"/>
                  </a:lnTo>
                  <a:lnTo>
                    <a:pt x="26" y="228"/>
                  </a:lnTo>
                  <a:lnTo>
                    <a:pt x="26" y="226"/>
                  </a:lnTo>
                  <a:lnTo>
                    <a:pt x="27" y="226"/>
                  </a:lnTo>
                  <a:lnTo>
                    <a:pt x="28" y="226"/>
                  </a:lnTo>
                  <a:lnTo>
                    <a:pt x="29" y="226"/>
                  </a:lnTo>
                  <a:lnTo>
                    <a:pt x="28" y="226"/>
                  </a:lnTo>
                  <a:lnTo>
                    <a:pt x="28" y="225"/>
                  </a:lnTo>
                  <a:lnTo>
                    <a:pt x="29" y="225"/>
                  </a:lnTo>
                  <a:lnTo>
                    <a:pt x="31" y="225"/>
                  </a:lnTo>
                  <a:lnTo>
                    <a:pt x="31" y="224"/>
                  </a:lnTo>
                  <a:lnTo>
                    <a:pt x="31" y="223"/>
                  </a:lnTo>
                  <a:lnTo>
                    <a:pt x="32" y="223"/>
                  </a:lnTo>
                  <a:lnTo>
                    <a:pt x="32" y="222"/>
                  </a:lnTo>
                  <a:lnTo>
                    <a:pt x="33" y="222"/>
                  </a:lnTo>
                  <a:lnTo>
                    <a:pt x="34" y="224"/>
                  </a:lnTo>
                  <a:lnTo>
                    <a:pt x="35" y="224"/>
                  </a:lnTo>
                  <a:lnTo>
                    <a:pt x="37" y="223"/>
                  </a:lnTo>
                  <a:lnTo>
                    <a:pt x="38" y="223"/>
                  </a:lnTo>
                  <a:lnTo>
                    <a:pt x="38" y="224"/>
                  </a:lnTo>
                  <a:lnTo>
                    <a:pt x="39" y="225"/>
                  </a:lnTo>
                  <a:lnTo>
                    <a:pt x="38" y="226"/>
                  </a:lnTo>
                  <a:lnTo>
                    <a:pt x="37" y="228"/>
                  </a:lnTo>
                  <a:lnTo>
                    <a:pt x="38" y="226"/>
                  </a:lnTo>
                  <a:lnTo>
                    <a:pt x="37" y="226"/>
                  </a:lnTo>
                  <a:lnTo>
                    <a:pt x="35" y="226"/>
                  </a:lnTo>
                  <a:lnTo>
                    <a:pt x="34" y="228"/>
                  </a:lnTo>
                  <a:lnTo>
                    <a:pt x="33" y="228"/>
                  </a:lnTo>
                  <a:lnTo>
                    <a:pt x="32" y="228"/>
                  </a:lnTo>
                  <a:lnTo>
                    <a:pt x="31" y="228"/>
                  </a:lnTo>
                  <a:lnTo>
                    <a:pt x="31" y="229"/>
                  </a:lnTo>
                  <a:lnTo>
                    <a:pt x="31" y="230"/>
                  </a:lnTo>
                  <a:lnTo>
                    <a:pt x="29" y="230"/>
                  </a:lnTo>
                  <a:lnTo>
                    <a:pt x="29" y="231"/>
                  </a:lnTo>
                  <a:lnTo>
                    <a:pt x="28" y="231"/>
                  </a:lnTo>
                  <a:lnTo>
                    <a:pt x="28" y="232"/>
                  </a:lnTo>
                  <a:lnTo>
                    <a:pt x="28" y="234"/>
                  </a:lnTo>
                  <a:lnTo>
                    <a:pt x="28" y="235"/>
                  </a:lnTo>
                  <a:lnTo>
                    <a:pt x="29" y="236"/>
                  </a:lnTo>
                  <a:lnTo>
                    <a:pt x="31" y="236"/>
                  </a:lnTo>
                  <a:lnTo>
                    <a:pt x="31" y="235"/>
                  </a:lnTo>
                  <a:lnTo>
                    <a:pt x="32" y="235"/>
                  </a:lnTo>
                  <a:lnTo>
                    <a:pt x="33" y="235"/>
                  </a:lnTo>
                  <a:lnTo>
                    <a:pt x="33" y="236"/>
                  </a:lnTo>
                  <a:lnTo>
                    <a:pt x="34" y="235"/>
                  </a:lnTo>
                  <a:lnTo>
                    <a:pt x="35" y="236"/>
                  </a:lnTo>
                  <a:lnTo>
                    <a:pt x="35" y="237"/>
                  </a:lnTo>
                  <a:lnTo>
                    <a:pt x="35" y="238"/>
                  </a:lnTo>
                  <a:lnTo>
                    <a:pt x="37" y="237"/>
                  </a:lnTo>
                  <a:lnTo>
                    <a:pt x="38" y="237"/>
                  </a:lnTo>
                  <a:lnTo>
                    <a:pt x="38" y="238"/>
                  </a:lnTo>
                  <a:lnTo>
                    <a:pt x="38" y="237"/>
                  </a:lnTo>
                  <a:lnTo>
                    <a:pt x="39" y="238"/>
                  </a:lnTo>
                  <a:lnTo>
                    <a:pt x="40" y="237"/>
                  </a:lnTo>
                  <a:lnTo>
                    <a:pt x="40" y="238"/>
                  </a:lnTo>
                  <a:lnTo>
                    <a:pt x="41" y="238"/>
                  </a:lnTo>
                  <a:lnTo>
                    <a:pt x="43" y="238"/>
                  </a:lnTo>
                  <a:lnTo>
                    <a:pt x="45" y="237"/>
                  </a:lnTo>
                  <a:lnTo>
                    <a:pt x="45" y="236"/>
                  </a:lnTo>
                  <a:lnTo>
                    <a:pt x="46" y="236"/>
                  </a:lnTo>
                  <a:lnTo>
                    <a:pt x="47" y="236"/>
                  </a:lnTo>
                  <a:lnTo>
                    <a:pt x="47" y="235"/>
                  </a:lnTo>
                  <a:lnTo>
                    <a:pt x="47" y="236"/>
                  </a:lnTo>
                  <a:lnTo>
                    <a:pt x="46" y="237"/>
                  </a:lnTo>
                  <a:lnTo>
                    <a:pt x="45" y="237"/>
                  </a:lnTo>
                  <a:lnTo>
                    <a:pt x="45" y="238"/>
                  </a:lnTo>
                  <a:lnTo>
                    <a:pt x="45" y="240"/>
                  </a:lnTo>
                  <a:lnTo>
                    <a:pt x="46" y="238"/>
                  </a:lnTo>
                  <a:lnTo>
                    <a:pt x="46" y="240"/>
                  </a:lnTo>
                  <a:lnTo>
                    <a:pt x="46" y="241"/>
                  </a:lnTo>
                  <a:lnTo>
                    <a:pt x="45" y="241"/>
                  </a:lnTo>
                  <a:lnTo>
                    <a:pt x="46" y="242"/>
                  </a:lnTo>
                  <a:lnTo>
                    <a:pt x="47" y="242"/>
                  </a:lnTo>
                  <a:lnTo>
                    <a:pt x="49" y="242"/>
                  </a:lnTo>
                  <a:lnTo>
                    <a:pt x="50" y="242"/>
                  </a:lnTo>
                  <a:lnTo>
                    <a:pt x="51" y="242"/>
                  </a:lnTo>
                  <a:lnTo>
                    <a:pt x="51" y="243"/>
                  </a:lnTo>
                  <a:lnTo>
                    <a:pt x="52" y="245"/>
                  </a:lnTo>
                  <a:lnTo>
                    <a:pt x="52" y="243"/>
                  </a:lnTo>
                  <a:lnTo>
                    <a:pt x="53" y="243"/>
                  </a:lnTo>
                  <a:lnTo>
                    <a:pt x="53" y="245"/>
                  </a:lnTo>
                  <a:lnTo>
                    <a:pt x="52" y="246"/>
                  </a:lnTo>
                  <a:lnTo>
                    <a:pt x="52" y="247"/>
                  </a:lnTo>
                  <a:lnTo>
                    <a:pt x="50" y="248"/>
                  </a:lnTo>
                  <a:lnTo>
                    <a:pt x="49" y="248"/>
                  </a:lnTo>
                  <a:lnTo>
                    <a:pt x="49" y="247"/>
                  </a:lnTo>
                  <a:lnTo>
                    <a:pt x="47" y="247"/>
                  </a:lnTo>
                  <a:lnTo>
                    <a:pt x="47" y="248"/>
                  </a:lnTo>
                  <a:lnTo>
                    <a:pt x="46" y="248"/>
                  </a:lnTo>
                  <a:lnTo>
                    <a:pt x="46" y="249"/>
                  </a:lnTo>
                  <a:lnTo>
                    <a:pt x="46" y="251"/>
                  </a:lnTo>
                  <a:lnTo>
                    <a:pt x="46" y="252"/>
                  </a:lnTo>
                  <a:lnTo>
                    <a:pt x="46" y="253"/>
                  </a:lnTo>
                  <a:lnTo>
                    <a:pt x="47" y="253"/>
                  </a:lnTo>
                  <a:lnTo>
                    <a:pt x="49" y="253"/>
                  </a:lnTo>
                  <a:lnTo>
                    <a:pt x="49" y="254"/>
                  </a:lnTo>
                  <a:lnTo>
                    <a:pt x="50" y="254"/>
                  </a:lnTo>
                  <a:lnTo>
                    <a:pt x="49" y="255"/>
                  </a:lnTo>
                  <a:lnTo>
                    <a:pt x="47" y="255"/>
                  </a:lnTo>
                  <a:lnTo>
                    <a:pt x="46" y="254"/>
                  </a:lnTo>
                  <a:lnTo>
                    <a:pt x="45" y="254"/>
                  </a:lnTo>
                  <a:lnTo>
                    <a:pt x="45" y="255"/>
                  </a:lnTo>
                  <a:lnTo>
                    <a:pt x="44" y="257"/>
                  </a:lnTo>
                  <a:lnTo>
                    <a:pt x="44" y="258"/>
                  </a:lnTo>
                  <a:lnTo>
                    <a:pt x="43" y="258"/>
                  </a:lnTo>
                  <a:lnTo>
                    <a:pt x="43" y="259"/>
                  </a:lnTo>
                  <a:lnTo>
                    <a:pt x="43" y="258"/>
                  </a:lnTo>
                  <a:lnTo>
                    <a:pt x="43" y="259"/>
                  </a:lnTo>
                  <a:lnTo>
                    <a:pt x="43" y="260"/>
                  </a:lnTo>
                  <a:lnTo>
                    <a:pt x="44" y="260"/>
                  </a:lnTo>
                  <a:lnTo>
                    <a:pt x="43" y="260"/>
                  </a:lnTo>
                  <a:lnTo>
                    <a:pt x="43" y="261"/>
                  </a:lnTo>
                  <a:lnTo>
                    <a:pt x="44" y="263"/>
                  </a:lnTo>
                  <a:lnTo>
                    <a:pt x="45" y="263"/>
                  </a:lnTo>
                  <a:lnTo>
                    <a:pt x="45" y="261"/>
                  </a:lnTo>
                  <a:lnTo>
                    <a:pt x="46" y="263"/>
                  </a:lnTo>
                  <a:lnTo>
                    <a:pt x="47" y="261"/>
                  </a:lnTo>
                  <a:lnTo>
                    <a:pt x="47" y="263"/>
                  </a:lnTo>
                  <a:lnTo>
                    <a:pt x="49" y="261"/>
                  </a:lnTo>
                  <a:lnTo>
                    <a:pt x="50" y="261"/>
                  </a:lnTo>
                  <a:lnTo>
                    <a:pt x="50" y="260"/>
                  </a:lnTo>
                  <a:lnTo>
                    <a:pt x="51" y="260"/>
                  </a:lnTo>
                  <a:lnTo>
                    <a:pt x="52" y="260"/>
                  </a:lnTo>
                  <a:lnTo>
                    <a:pt x="52" y="259"/>
                  </a:lnTo>
                  <a:lnTo>
                    <a:pt x="53" y="258"/>
                  </a:lnTo>
                  <a:lnTo>
                    <a:pt x="55" y="259"/>
                  </a:lnTo>
                  <a:lnTo>
                    <a:pt x="56" y="259"/>
                  </a:lnTo>
                  <a:lnTo>
                    <a:pt x="56" y="258"/>
                  </a:lnTo>
                  <a:lnTo>
                    <a:pt x="55" y="258"/>
                  </a:lnTo>
                  <a:lnTo>
                    <a:pt x="55" y="255"/>
                  </a:lnTo>
                  <a:lnTo>
                    <a:pt x="53" y="257"/>
                  </a:lnTo>
                  <a:lnTo>
                    <a:pt x="53" y="258"/>
                  </a:lnTo>
                  <a:lnTo>
                    <a:pt x="52" y="258"/>
                  </a:lnTo>
                  <a:lnTo>
                    <a:pt x="52" y="259"/>
                  </a:lnTo>
                  <a:lnTo>
                    <a:pt x="51" y="259"/>
                  </a:lnTo>
                  <a:lnTo>
                    <a:pt x="50" y="259"/>
                  </a:lnTo>
                  <a:lnTo>
                    <a:pt x="49" y="259"/>
                  </a:lnTo>
                  <a:lnTo>
                    <a:pt x="49" y="258"/>
                  </a:lnTo>
                  <a:lnTo>
                    <a:pt x="50" y="257"/>
                  </a:lnTo>
                  <a:lnTo>
                    <a:pt x="50" y="258"/>
                  </a:lnTo>
                  <a:lnTo>
                    <a:pt x="50" y="257"/>
                  </a:lnTo>
                  <a:lnTo>
                    <a:pt x="51" y="257"/>
                  </a:lnTo>
                  <a:lnTo>
                    <a:pt x="51" y="255"/>
                  </a:lnTo>
                  <a:lnTo>
                    <a:pt x="51" y="254"/>
                  </a:lnTo>
                  <a:lnTo>
                    <a:pt x="50" y="254"/>
                  </a:lnTo>
                  <a:lnTo>
                    <a:pt x="51" y="253"/>
                  </a:lnTo>
                  <a:lnTo>
                    <a:pt x="52" y="252"/>
                  </a:lnTo>
                  <a:lnTo>
                    <a:pt x="52" y="251"/>
                  </a:lnTo>
                  <a:lnTo>
                    <a:pt x="53" y="251"/>
                  </a:lnTo>
                  <a:lnTo>
                    <a:pt x="53" y="252"/>
                  </a:lnTo>
                  <a:lnTo>
                    <a:pt x="55" y="252"/>
                  </a:lnTo>
                  <a:lnTo>
                    <a:pt x="53" y="252"/>
                  </a:lnTo>
                  <a:lnTo>
                    <a:pt x="52" y="253"/>
                  </a:lnTo>
                  <a:lnTo>
                    <a:pt x="53" y="253"/>
                  </a:lnTo>
                  <a:lnTo>
                    <a:pt x="55" y="253"/>
                  </a:lnTo>
                  <a:lnTo>
                    <a:pt x="55" y="252"/>
                  </a:lnTo>
                  <a:lnTo>
                    <a:pt x="56" y="252"/>
                  </a:lnTo>
                  <a:lnTo>
                    <a:pt x="56" y="251"/>
                  </a:lnTo>
                  <a:lnTo>
                    <a:pt x="57" y="251"/>
                  </a:lnTo>
                  <a:lnTo>
                    <a:pt x="58" y="249"/>
                  </a:lnTo>
                  <a:lnTo>
                    <a:pt x="59" y="248"/>
                  </a:lnTo>
                  <a:lnTo>
                    <a:pt x="61" y="248"/>
                  </a:lnTo>
                  <a:lnTo>
                    <a:pt x="61" y="247"/>
                  </a:lnTo>
                  <a:lnTo>
                    <a:pt x="59" y="247"/>
                  </a:lnTo>
                  <a:lnTo>
                    <a:pt x="59" y="246"/>
                  </a:lnTo>
                  <a:lnTo>
                    <a:pt x="58" y="245"/>
                  </a:lnTo>
                  <a:lnTo>
                    <a:pt x="59" y="245"/>
                  </a:lnTo>
                  <a:lnTo>
                    <a:pt x="58" y="243"/>
                  </a:lnTo>
                  <a:lnTo>
                    <a:pt x="59" y="243"/>
                  </a:lnTo>
                  <a:lnTo>
                    <a:pt x="59" y="245"/>
                  </a:lnTo>
                  <a:lnTo>
                    <a:pt x="62" y="245"/>
                  </a:lnTo>
                  <a:lnTo>
                    <a:pt x="62" y="243"/>
                  </a:lnTo>
                  <a:lnTo>
                    <a:pt x="63" y="243"/>
                  </a:lnTo>
                  <a:lnTo>
                    <a:pt x="64" y="242"/>
                  </a:lnTo>
                  <a:lnTo>
                    <a:pt x="65" y="242"/>
                  </a:lnTo>
                  <a:lnTo>
                    <a:pt x="67" y="242"/>
                  </a:lnTo>
                  <a:lnTo>
                    <a:pt x="67" y="241"/>
                  </a:lnTo>
                  <a:lnTo>
                    <a:pt x="67" y="240"/>
                  </a:lnTo>
                  <a:lnTo>
                    <a:pt x="68" y="238"/>
                  </a:lnTo>
                  <a:lnTo>
                    <a:pt x="67" y="237"/>
                  </a:lnTo>
                  <a:lnTo>
                    <a:pt x="67" y="238"/>
                  </a:lnTo>
                  <a:lnTo>
                    <a:pt x="65" y="237"/>
                  </a:lnTo>
                  <a:lnTo>
                    <a:pt x="64" y="236"/>
                  </a:lnTo>
                  <a:lnTo>
                    <a:pt x="64" y="237"/>
                  </a:lnTo>
                  <a:lnTo>
                    <a:pt x="64" y="236"/>
                  </a:lnTo>
                  <a:lnTo>
                    <a:pt x="64" y="235"/>
                  </a:lnTo>
                  <a:lnTo>
                    <a:pt x="64" y="236"/>
                  </a:lnTo>
                  <a:lnTo>
                    <a:pt x="64" y="235"/>
                  </a:lnTo>
                  <a:lnTo>
                    <a:pt x="64" y="234"/>
                  </a:lnTo>
                  <a:lnTo>
                    <a:pt x="63" y="232"/>
                  </a:lnTo>
                  <a:lnTo>
                    <a:pt x="63" y="234"/>
                  </a:lnTo>
                  <a:lnTo>
                    <a:pt x="63" y="235"/>
                  </a:lnTo>
                  <a:lnTo>
                    <a:pt x="63" y="236"/>
                  </a:lnTo>
                  <a:lnTo>
                    <a:pt x="62" y="236"/>
                  </a:lnTo>
                  <a:lnTo>
                    <a:pt x="62" y="235"/>
                  </a:lnTo>
                  <a:lnTo>
                    <a:pt x="62" y="236"/>
                  </a:lnTo>
                  <a:lnTo>
                    <a:pt x="63" y="236"/>
                  </a:lnTo>
                  <a:lnTo>
                    <a:pt x="63" y="237"/>
                  </a:lnTo>
                  <a:lnTo>
                    <a:pt x="62" y="237"/>
                  </a:lnTo>
                  <a:lnTo>
                    <a:pt x="61" y="237"/>
                  </a:lnTo>
                  <a:lnTo>
                    <a:pt x="61" y="236"/>
                  </a:lnTo>
                  <a:lnTo>
                    <a:pt x="59" y="237"/>
                  </a:lnTo>
                  <a:lnTo>
                    <a:pt x="61" y="237"/>
                  </a:lnTo>
                  <a:lnTo>
                    <a:pt x="59" y="238"/>
                  </a:lnTo>
                  <a:lnTo>
                    <a:pt x="58" y="238"/>
                  </a:lnTo>
                  <a:lnTo>
                    <a:pt x="57" y="238"/>
                  </a:lnTo>
                  <a:lnTo>
                    <a:pt x="57" y="236"/>
                  </a:lnTo>
                  <a:lnTo>
                    <a:pt x="58" y="236"/>
                  </a:lnTo>
                  <a:lnTo>
                    <a:pt x="57" y="235"/>
                  </a:lnTo>
                  <a:lnTo>
                    <a:pt x="57" y="234"/>
                  </a:lnTo>
                  <a:lnTo>
                    <a:pt x="57" y="232"/>
                  </a:lnTo>
                  <a:lnTo>
                    <a:pt x="58" y="232"/>
                  </a:lnTo>
                  <a:lnTo>
                    <a:pt x="59" y="232"/>
                  </a:lnTo>
                  <a:lnTo>
                    <a:pt x="61" y="232"/>
                  </a:lnTo>
                  <a:lnTo>
                    <a:pt x="62" y="232"/>
                  </a:lnTo>
                  <a:lnTo>
                    <a:pt x="63" y="232"/>
                  </a:lnTo>
                  <a:lnTo>
                    <a:pt x="64" y="232"/>
                  </a:lnTo>
                  <a:lnTo>
                    <a:pt x="65" y="232"/>
                  </a:lnTo>
                  <a:lnTo>
                    <a:pt x="67" y="231"/>
                  </a:lnTo>
                  <a:lnTo>
                    <a:pt x="69" y="230"/>
                  </a:lnTo>
                  <a:lnTo>
                    <a:pt x="70" y="230"/>
                  </a:lnTo>
                  <a:lnTo>
                    <a:pt x="70" y="231"/>
                  </a:lnTo>
                  <a:lnTo>
                    <a:pt x="69" y="231"/>
                  </a:lnTo>
                  <a:lnTo>
                    <a:pt x="70" y="232"/>
                  </a:lnTo>
                  <a:lnTo>
                    <a:pt x="71" y="232"/>
                  </a:lnTo>
                  <a:lnTo>
                    <a:pt x="73" y="234"/>
                  </a:lnTo>
                  <a:lnTo>
                    <a:pt x="74" y="234"/>
                  </a:lnTo>
                  <a:lnTo>
                    <a:pt x="75" y="234"/>
                  </a:lnTo>
                  <a:lnTo>
                    <a:pt x="76" y="234"/>
                  </a:lnTo>
                  <a:lnTo>
                    <a:pt x="76" y="232"/>
                  </a:lnTo>
                  <a:lnTo>
                    <a:pt x="77" y="232"/>
                  </a:lnTo>
                  <a:lnTo>
                    <a:pt x="79" y="234"/>
                  </a:lnTo>
                  <a:lnTo>
                    <a:pt x="80" y="234"/>
                  </a:lnTo>
                  <a:lnTo>
                    <a:pt x="80" y="235"/>
                  </a:lnTo>
                  <a:lnTo>
                    <a:pt x="81" y="235"/>
                  </a:lnTo>
                  <a:lnTo>
                    <a:pt x="81" y="234"/>
                  </a:lnTo>
                  <a:lnTo>
                    <a:pt x="82" y="234"/>
                  </a:lnTo>
                  <a:lnTo>
                    <a:pt x="83" y="235"/>
                  </a:lnTo>
                  <a:lnTo>
                    <a:pt x="85" y="234"/>
                  </a:lnTo>
                  <a:lnTo>
                    <a:pt x="85" y="231"/>
                  </a:lnTo>
                  <a:lnTo>
                    <a:pt x="86" y="231"/>
                  </a:lnTo>
                  <a:lnTo>
                    <a:pt x="87" y="231"/>
                  </a:lnTo>
                  <a:lnTo>
                    <a:pt x="88" y="231"/>
                  </a:lnTo>
                  <a:lnTo>
                    <a:pt x="92" y="232"/>
                  </a:lnTo>
                  <a:lnTo>
                    <a:pt x="93" y="232"/>
                  </a:lnTo>
                  <a:lnTo>
                    <a:pt x="94" y="232"/>
                  </a:lnTo>
                  <a:lnTo>
                    <a:pt x="97" y="232"/>
                  </a:lnTo>
                  <a:lnTo>
                    <a:pt x="98" y="234"/>
                  </a:lnTo>
                  <a:lnTo>
                    <a:pt x="100" y="234"/>
                  </a:lnTo>
                  <a:lnTo>
                    <a:pt x="102" y="234"/>
                  </a:lnTo>
                  <a:lnTo>
                    <a:pt x="103" y="234"/>
                  </a:lnTo>
                  <a:lnTo>
                    <a:pt x="105" y="234"/>
                  </a:lnTo>
                  <a:lnTo>
                    <a:pt x="109" y="234"/>
                  </a:lnTo>
                  <a:lnTo>
                    <a:pt x="110" y="235"/>
                  </a:lnTo>
                  <a:lnTo>
                    <a:pt x="110" y="236"/>
                  </a:lnTo>
                  <a:lnTo>
                    <a:pt x="109" y="236"/>
                  </a:lnTo>
                  <a:lnTo>
                    <a:pt x="109" y="237"/>
                  </a:lnTo>
                  <a:lnTo>
                    <a:pt x="109" y="236"/>
                  </a:lnTo>
                  <a:lnTo>
                    <a:pt x="108" y="237"/>
                  </a:lnTo>
                  <a:lnTo>
                    <a:pt x="106" y="237"/>
                  </a:lnTo>
                  <a:lnTo>
                    <a:pt x="105" y="236"/>
                  </a:lnTo>
                  <a:lnTo>
                    <a:pt x="105" y="237"/>
                  </a:lnTo>
                  <a:lnTo>
                    <a:pt x="104" y="237"/>
                  </a:lnTo>
                  <a:lnTo>
                    <a:pt x="103" y="238"/>
                  </a:lnTo>
                  <a:lnTo>
                    <a:pt x="103" y="240"/>
                  </a:lnTo>
                  <a:lnTo>
                    <a:pt x="102" y="240"/>
                  </a:lnTo>
                  <a:lnTo>
                    <a:pt x="102" y="241"/>
                  </a:lnTo>
                  <a:lnTo>
                    <a:pt x="102" y="242"/>
                  </a:lnTo>
                  <a:lnTo>
                    <a:pt x="102" y="243"/>
                  </a:lnTo>
                  <a:lnTo>
                    <a:pt x="102" y="245"/>
                  </a:lnTo>
                  <a:lnTo>
                    <a:pt x="103" y="246"/>
                  </a:lnTo>
                  <a:lnTo>
                    <a:pt x="104" y="246"/>
                  </a:lnTo>
                  <a:lnTo>
                    <a:pt x="105" y="247"/>
                  </a:lnTo>
                  <a:lnTo>
                    <a:pt x="108" y="247"/>
                  </a:lnTo>
                  <a:lnTo>
                    <a:pt x="106" y="247"/>
                  </a:lnTo>
                  <a:lnTo>
                    <a:pt x="105" y="248"/>
                  </a:lnTo>
                  <a:lnTo>
                    <a:pt x="103" y="248"/>
                  </a:lnTo>
                  <a:lnTo>
                    <a:pt x="98" y="248"/>
                  </a:lnTo>
                  <a:lnTo>
                    <a:pt x="97" y="248"/>
                  </a:lnTo>
                  <a:lnTo>
                    <a:pt x="94" y="248"/>
                  </a:lnTo>
                  <a:lnTo>
                    <a:pt x="92" y="249"/>
                  </a:lnTo>
                  <a:lnTo>
                    <a:pt x="91" y="249"/>
                  </a:lnTo>
                  <a:lnTo>
                    <a:pt x="90" y="249"/>
                  </a:lnTo>
                  <a:lnTo>
                    <a:pt x="90" y="248"/>
                  </a:lnTo>
                  <a:lnTo>
                    <a:pt x="90" y="247"/>
                  </a:lnTo>
                  <a:lnTo>
                    <a:pt x="91" y="248"/>
                  </a:lnTo>
                  <a:lnTo>
                    <a:pt x="91" y="247"/>
                  </a:lnTo>
                  <a:lnTo>
                    <a:pt x="92" y="246"/>
                  </a:lnTo>
                  <a:lnTo>
                    <a:pt x="91" y="246"/>
                  </a:lnTo>
                  <a:lnTo>
                    <a:pt x="88" y="246"/>
                  </a:lnTo>
                  <a:lnTo>
                    <a:pt x="87" y="246"/>
                  </a:lnTo>
                  <a:lnTo>
                    <a:pt x="87" y="247"/>
                  </a:lnTo>
                  <a:lnTo>
                    <a:pt x="86" y="247"/>
                  </a:lnTo>
                  <a:lnTo>
                    <a:pt x="85" y="246"/>
                  </a:lnTo>
                  <a:lnTo>
                    <a:pt x="83" y="246"/>
                  </a:lnTo>
                  <a:lnTo>
                    <a:pt x="83" y="245"/>
                  </a:lnTo>
                  <a:lnTo>
                    <a:pt x="82" y="245"/>
                  </a:lnTo>
                  <a:lnTo>
                    <a:pt x="81" y="243"/>
                  </a:lnTo>
                  <a:lnTo>
                    <a:pt x="80" y="243"/>
                  </a:lnTo>
                  <a:lnTo>
                    <a:pt x="79" y="243"/>
                  </a:lnTo>
                  <a:lnTo>
                    <a:pt x="77" y="243"/>
                  </a:lnTo>
                  <a:lnTo>
                    <a:pt x="76" y="245"/>
                  </a:lnTo>
                  <a:lnTo>
                    <a:pt x="75" y="246"/>
                  </a:lnTo>
                  <a:lnTo>
                    <a:pt x="74" y="247"/>
                  </a:lnTo>
                  <a:lnTo>
                    <a:pt x="74" y="248"/>
                  </a:lnTo>
                  <a:lnTo>
                    <a:pt x="73" y="247"/>
                  </a:lnTo>
                  <a:lnTo>
                    <a:pt x="73" y="248"/>
                  </a:lnTo>
                  <a:lnTo>
                    <a:pt x="71" y="249"/>
                  </a:lnTo>
                  <a:lnTo>
                    <a:pt x="70" y="251"/>
                  </a:lnTo>
                  <a:lnTo>
                    <a:pt x="70" y="249"/>
                  </a:lnTo>
                  <a:lnTo>
                    <a:pt x="69" y="249"/>
                  </a:lnTo>
                  <a:lnTo>
                    <a:pt x="68" y="249"/>
                  </a:lnTo>
                  <a:lnTo>
                    <a:pt x="67" y="249"/>
                  </a:lnTo>
                  <a:lnTo>
                    <a:pt x="65" y="249"/>
                  </a:lnTo>
                  <a:lnTo>
                    <a:pt x="65" y="251"/>
                  </a:lnTo>
                  <a:lnTo>
                    <a:pt x="65" y="252"/>
                  </a:lnTo>
                  <a:lnTo>
                    <a:pt x="64" y="253"/>
                  </a:lnTo>
                  <a:lnTo>
                    <a:pt x="64" y="254"/>
                  </a:lnTo>
                  <a:lnTo>
                    <a:pt x="64" y="255"/>
                  </a:lnTo>
                  <a:lnTo>
                    <a:pt x="65" y="255"/>
                  </a:lnTo>
                  <a:lnTo>
                    <a:pt x="64" y="255"/>
                  </a:lnTo>
                  <a:lnTo>
                    <a:pt x="63" y="257"/>
                  </a:lnTo>
                  <a:lnTo>
                    <a:pt x="62" y="257"/>
                  </a:lnTo>
                  <a:lnTo>
                    <a:pt x="61" y="257"/>
                  </a:lnTo>
                  <a:lnTo>
                    <a:pt x="59" y="258"/>
                  </a:lnTo>
                  <a:lnTo>
                    <a:pt x="59" y="259"/>
                  </a:lnTo>
                  <a:lnTo>
                    <a:pt x="59" y="260"/>
                  </a:lnTo>
                  <a:lnTo>
                    <a:pt x="61" y="261"/>
                  </a:lnTo>
                  <a:lnTo>
                    <a:pt x="59" y="260"/>
                  </a:lnTo>
                  <a:lnTo>
                    <a:pt x="58" y="260"/>
                  </a:lnTo>
                  <a:lnTo>
                    <a:pt x="58" y="261"/>
                  </a:lnTo>
                  <a:lnTo>
                    <a:pt x="58" y="263"/>
                  </a:lnTo>
                  <a:lnTo>
                    <a:pt x="58" y="264"/>
                  </a:lnTo>
                  <a:lnTo>
                    <a:pt x="57" y="265"/>
                  </a:lnTo>
                  <a:lnTo>
                    <a:pt x="56" y="266"/>
                  </a:lnTo>
                  <a:lnTo>
                    <a:pt x="57" y="266"/>
                  </a:lnTo>
                  <a:lnTo>
                    <a:pt x="58" y="266"/>
                  </a:lnTo>
                  <a:lnTo>
                    <a:pt x="58" y="267"/>
                  </a:lnTo>
                  <a:lnTo>
                    <a:pt x="57" y="267"/>
                  </a:lnTo>
                  <a:lnTo>
                    <a:pt x="56" y="270"/>
                  </a:lnTo>
                  <a:lnTo>
                    <a:pt x="57" y="269"/>
                  </a:lnTo>
                  <a:lnTo>
                    <a:pt x="56" y="269"/>
                  </a:lnTo>
                  <a:lnTo>
                    <a:pt x="56" y="270"/>
                  </a:lnTo>
                  <a:lnTo>
                    <a:pt x="55" y="271"/>
                  </a:lnTo>
                  <a:lnTo>
                    <a:pt x="53" y="272"/>
                  </a:lnTo>
                  <a:lnTo>
                    <a:pt x="52" y="272"/>
                  </a:lnTo>
                  <a:lnTo>
                    <a:pt x="52" y="273"/>
                  </a:lnTo>
                  <a:lnTo>
                    <a:pt x="53" y="276"/>
                  </a:lnTo>
                  <a:lnTo>
                    <a:pt x="55" y="277"/>
                  </a:lnTo>
                  <a:lnTo>
                    <a:pt x="56" y="276"/>
                  </a:lnTo>
                  <a:lnTo>
                    <a:pt x="57" y="276"/>
                  </a:lnTo>
                  <a:lnTo>
                    <a:pt x="57" y="275"/>
                  </a:lnTo>
                  <a:lnTo>
                    <a:pt x="58" y="275"/>
                  </a:lnTo>
                  <a:lnTo>
                    <a:pt x="59" y="275"/>
                  </a:lnTo>
                  <a:lnTo>
                    <a:pt x="59" y="273"/>
                  </a:lnTo>
                  <a:lnTo>
                    <a:pt x="61" y="273"/>
                  </a:lnTo>
                  <a:lnTo>
                    <a:pt x="62" y="273"/>
                  </a:lnTo>
                  <a:lnTo>
                    <a:pt x="63" y="272"/>
                  </a:lnTo>
                  <a:lnTo>
                    <a:pt x="63" y="271"/>
                  </a:lnTo>
                  <a:lnTo>
                    <a:pt x="64" y="272"/>
                  </a:lnTo>
                  <a:lnTo>
                    <a:pt x="63" y="272"/>
                  </a:lnTo>
                  <a:lnTo>
                    <a:pt x="64" y="272"/>
                  </a:lnTo>
                  <a:lnTo>
                    <a:pt x="64" y="273"/>
                  </a:lnTo>
                  <a:lnTo>
                    <a:pt x="65" y="273"/>
                  </a:lnTo>
                  <a:lnTo>
                    <a:pt x="64" y="273"/>
                  </a:lnTo>
                  <a:lnTo>
                    <a:pt x="65" y="271"/>
                  </a:lnTo>
                  <a:lnTo>
                    <a:pt x="67" y="271"/>
                  </a:lnTo>
                  <a:lnTo>
                    <a:pt x="67" y="272"/>
                  </a:lnTo>
                  <a:lnTo>
                    <a:pt x="68" y="271"/>
                  </a:lnTo>
                  <a:lnTo>
                    <a:pt x="67" y="271"/>
                  </a:lnTo>
                  <a:lnTo>
                    <a:pt x="68" y="270"/>
                  </a:lnTo>
                  <a:lnTo>
                    <a:pt x="69" y="270"/>
                  </a:lnTo>
                  <a:lnTo>
                    <a:pt x="70" y="270"/>
                  </a:lnTo>
                  <a:lnTo>
                    <a:pt x="71" y="270"/>
                  </a:lnTo>
                  <a:lnTo>
                    <a:pt x="71" y="269"/>
                  </a:lnTo>
                  <a:lnTo>
                    <a:pt x="73" y="269"/>
                  </a:lnTo>
                  <a:lnTo>
                    <a:pt x="73" y="270"/>
                  </a:lnTo>
                  <a:lnTo>
                    <a:pt x="74" y="270"/>
                  </a:lnTo>
                  <a:lnTo>
                    <a:pt x="73" y="271"/>
                  </a:lnTo>
                  <a:lnTo>
                    <a:pt x="71" y="271"/>
                  </a:lnTo>
                  <a:lnTo>
                    <a:pt x="71" y="272"/>
                  </a:lnTo>
                  <a:lnTo>
                    <a:pt x="73" y="271"/>
                  </a:lnTo>
                  <a:lnTo>
                    <a:pt x="73" y="272"/>
                  </a:lnTo>
                  <a:lnTo>
                    <a:pt x="74" y="272"/>
                  </a:lnTo>
                  <a:lnTo>
                    <a:pt x="75" y="272"/>
                  </a:lnTo>
                  <a:lnTo>
                    <a:pt x="76" y="273"/>
                  </a:lnTo>
                  <a:lnTo>
                    <a:pt x="77" y="273"/>
                  </a:lnTo>
                  <a:lnTo>
                    <a:pt x="77" y="275"/>
                  </a:lnTo>
                  <a:lnTo>
                    <a:pt x="79" y="275"/>
                  </a:lnTo>
                  <a:lnTo>
                    <a:pt x="79" y="273"/>
                  </a:lnTo>
                  <a:lnTo>
                    <a:pt x="79" y="275"/>
                  </a:lnTo>
                  <a:lnTo>
                    <a:pt x="77" y="275"/>
                  </a:lnTo>
                  <a:lnTo>
                    <a:pt x="76" y="276"/>
                  </a:lnTo>
                  <a:lnTo>
                    <a:pt x="79" y="276"/>
                  </a:lnTo>
                  <a:lnTo>
                    <a:pt x="80" y="276"/>
                  </a:lnTo>
                  <a:lnTo>
                    <a:pt x="81" y="276"/>
                  </a:lnTo>
                  <a:lnTo>
                    <a:pt x="82" y="276"/>
                  </a:lnTo>
                  <a:lnTo>
                    <a:pt x="83" y="276"/>
                  </a:lnTo>
                  <a:lnTo>
                    <a:pt x="85" y="275"/>
                  </a:lnTo>
                  <a:lnTo>
                    <a:pt x="86" y="276"/>
                  </a:lnTo>
                  <a:lnTo>
                    <a:pt x="85" y="277"/>
                  </a:lnTo>
                  <a:lnTo>
                    <a:pt x="85" y="278"/>
                  </a:lnTo>
                  <a:lnTo>
                    <a:pt x="86" y="277"/>
                  </a:lnTo>
                  <a:lnTo>
                    <a:pt x="87" y="277"/>
                  </a:lnTo>
                  <a:lnTo>
                    <a:pt x="87" y="278"/>
                  </a:lnTo>
                  <a:lnTo>
                    <a:pt x="88" y="278"/>
                  </a:lnTo>
                  <a:lnTo>
                    <a:pt x="88" y="277"/>
                  </a:lnTo>
                  <a:lnTo>
                    <a:pt x="90" y="278"/>
                  </a:lnTo>
                  <a:lnTo>
                    <a:pt x="90" y="277"/>
                  </a:lnTo>
                  <a:lnTo>
                    <a:pt x="90" y="276"/>
                  </a:lnTo>
                  <a:lnTo>
                    <a:pt x="88" y="276"/>
                  </a:lnTo>
                  <a:lnTo>
                    <a:pt x="88" y="275"/>
                  </a:lnTo>
                  <a:lnTo>
                    <a:pt x="88" y="273"/>
                  </a:lnTo>
                  <a:lnTo>
                    <a:pt x="90" y="275"/>
                  </a:lnTo>
                  <a:lnTo>
                    <a:pt x="91" y="275"/>
                  </a:lnTo>
                  <a:lnTo>
                    <a:pt x="91" y="273"/>
                  </a:lnTo>
                  <a:lnTo>
                    <a:pt x="92" y="273"/>
                  </a:lnTo>
                  <a:lnTo>
                    <a:pt x="92" y="272"/>
                  </a:lnTo>
                  <a:lnTo>
                    <a:pt x="92" y="271"/>
                  </a:lnTo>
                  <a:lnTo>
                    <a:pt x="91" y="271"/>
                  </a:lnTo>
                  <a:lnTo>
                    <a:pt x="90" y="271"/>
                  </a:lnTo>
                  <a:lnTo>
                    <a:pt x="88" y="271"/>
                  </a:lnTo>
                  <a:lnTo>
                    <a:pt x="87" y="270"/>
                  </a:lnTo>
                  <a:lnTo>
                    <a:pt x="86" y="270"/>
                  </a:lnTo>
                  <a:lnTo>
                    <a:pt x="86" y="269"/>
                  </a:lnTo>
                  <a:lnTo>
                    <a:pt x="87" y="267"/>
                  </a:lnTo>
                  <a:lnTo>
                    <a:pt x="87" y="266"/>
                  </a:lnTo>
                  <a:lnTo>
                    <a:pt x="86" y="266"/>
                  </a:lnTo>
                  <a:lnTo>
                    <a:pt x="86" y="265"/>
                  </a:lnTo>
                  <a:lnTo>
                    <a:pt x="85" y="264"/>
                  </a:lnTo>
                  <a:lnTo>
                    <a:pt x="86" y="264"/>
                  </a:lnTo>
                  <a:lnTo>
                    <a:pt x="86" y="263"/>
                  </a:lnTo>
                  <a:lnTo>
                    <a:pt x="87" y="263"/>
                  </a:lnTo>
                  <a:lnTo>
                    <a:pt x="88" y="263"/>
                  </a:lnTo>
                  <a:lnTo>
                    <a:pt x="88" y="261"/>
                  </a:lnTo>
                  <a:lnTo>
                    <a:pt x="87" y="260"/>
                  </a:lnTo>
                  <a:lnTo>
                    <a:pt x="87" y="259"/>
                  </a:lnTo>
                  <a:lnTo>
                    <a:pt x="87" y="258"/>
                  </a:lnTo>
                  <a:lnTo>
                    <a:pt x="87" y="259"/>
                  </a:lnTo>
                  <a:lnTo>
                    <a:pt x="87" y="258"/>
                  </a:lnTo>
                  <a:lnTo>
                    <a:pt x="87" y="257"/>
                  </a:lnTo>
                  <a:lnTo>
                    <a:pt x="86" y="257"/>
                  </a:lnTo>
                  <a:lnTo>
                    <a:pt x="87" y="255"/>
                  </a:lnTo>
                  <a:lnTo>
                    <a:pt x="88" y="253"/>
                  </a:lnTo>
                  <a:lnTo>
                    <a:pt x="87" y="252"/>
                  </a:lnTo>
                  <a:lnTo>
                    <a:pt x="88" y="252"/>
                  </a:lnTo>
                  <a:lnTo>
                    <a:pt x="90" y="252"/>
                  </a:lnTo>
                  <a:lnTo>
                    <a:pt x="90" y="253"/>
                  </a:lnTo>
                  <a:lnTo>
                    <a:pt x="91" y="253"/>
                  </a:lnTo>
                  <a:lnTo>
                    <a:pt x="91" y="252"/>
                  </a:lnTo>
                  <a:lnTo>
                    <a:pt x="92" y="251"/>
                  </a:lnTo>
                  <a:lnTo>
                    <a:pt x="97" y="251"/>
                  </a:lnTo>
                  <a:lnTo>
                    <a:pt x="98" y="251"/>
                  </a:lnTo>
                  <a:lnTo>
                    <a:pt x="99" y="249"/>
                  </a:lnTo>
                  <a:lnTo>
                    <a:pt x="102" y="249"/>
                  </a:lnTo>
                  <a:lnTo>
                    <a:pt x="103" y="251"/>
                  </a:lnTo>
                  <a:lnTo>
                    <a:pt x="102" y="251"/>
                  </a:lnTo>
                  <a:lnTo>
                    <a:pt x="103" y="252"/>
                  </a:lnTo>
                  <a:lnTo>
                    <a:pt x="103" y="251"/>
                  </a:lnTo>
                  <a:lnTo>
                    <a:pt x="104" y="252"/>
                  </a:lnTo>
                  <a:lnTo>
                    <a:pt x="105" y="251"/>
                  </a:lnTo>
                  <a:lnTo>
                    <a:pt x="105" y="252"/>
                  </a:lnTo>
                  <a:lnTo>
                    <a:pt x="106" y="253"/>
                  </a:lnTo>
                  <a:lnTo>
                    <a:pt x="108" y="252"/>
                  </a:lnTo>
                  <a:lnTo>
                    <a:pt x="109" y="253"/>
                  </a:lnTo>
                  <a:lnTo>
                    <a:pt x="110" y="254"/>
                  </a:lnTo>
                  <a:lnTo>
                    <a:pt x="111" y="257"/>
                  </a:lnTo>
                  <a:lnTo>
                    <a:pt x="112" y="257"/>
                  </a:lnTo>
                  <a:lnTo>
                    <a:pt x="114" y="257"/>
                  </a:lnTo>
                  <a:lnTo>
                    <a:pt x="114" y="255"/>
                  </a:lnTo>
                  <a:lnTo>
                    <a:pt x="115" y="255"/>
                  </a:lnTo>
                  <a:lnTo>
                    <a:pt x="115" y="254"/>
                  </a:lnTo>
                  <a:lnTo>
                    <a:pt x="116" y="254"/>
                  </a:lnTo>
                  <a:lnTo>
                    <a:pt x="118" y="254"/>
                  </a:lnTo>
                  <a:lnTo>
                    <a:pt x="120" y="254"/>
                  </a:lnTo>
                  <a:lnTo>
                    <a:pt x="122" y="255"/>
                  </a:lnTo>
                  <a:lnTo>
                    <a:pt x="121" y="257"/>
                  </a:lnTo>
                  <a:lnTo>
                    <a:pt x="120" y="255"/>
                  </a:lnTo>
                  <a:lnTo>
                    <a:pt x="118" y="257"/>
                  </a:lnTo>
                  <a:lnTo>
                    <a:pt x="117" y="257"/>
                  </a:lnTo>
                  <a:lnTo>
                    <a:pt x="118" y="257"/>
                  </a:lnTo>
                  <a:lnTo>
                    <a:pt x="118" y="258"/>
                  </a:lnTo>
                  <a:lnTo>
                    <a:pt x="118" y="260"/>
                  </a:lnTo>
                  <a:lnTo>
                    <a:pt x="118" y="261"/>
                  </a:lnTo>
                  <a:lnTo>
                    <a:pt x="117" y="261"/>
                  </a:lnTo>
                  <a:lnTo>
                    <a:pt x="118" y="263"/>
                  </a:lnTo>
                  <a:lnTo>
                    <a:pt x="120" y="264"/>
                  </a:lnTo>
                  <a:lnTo>
                    <a:pt x="118" y="265"/>
                  </a:lnTo>
                  <a:lnTo>
                    <a:pt x="120" y="266"/>
                  </a:lnTo>
                  <a:lnTo>
                    <a:pt x="120" y="265"/>
                  </a:lnTo>
                  <a:lnTo>
                    <a:pt x="121" y="265"/>
                  </a:lnTo>
                  <a:lnTo>
                    <a:pt x="121" y="266"/>
                  </a:lnTo>
                  <a:lnTo>
                    <a:pt x="122" y="266"/>
                  </a:lnTo>
                  <a:lnTo>
                    <a:pt x="120" y="266"/>
                  </a:lnTo>
                  <a:lnTo>
                    <a:pt x="118" y="266"/>
                  </a:lnTo>
                  <a:lnTo>
                    <a:pt x="118" y="267"/>
                  </a:lnTo>
                  <a:lnTo>
                    <a:pt x="120" y="267"/>
                  </a:lnTo>
                  <a:lnTo>
                    <a:pt x="121" y="267"/>
                  </a:lnTo>
                  <a:lnTo>
                    <a:pt x="121" y="269"/>
                  </a:lnTo>
                  <a:lnTo>
                    <a:pt x="122" y="269"/>
                  </a:lnTo>
                  <a:lnTo>
                    <a:pt x="121" y="270"/>
                  </a:lnTo>
                  <a:lnTo>
                    <a:pt x="121" y="271"/>
                  </a:lnTo>
                  <a:lnTo>
                    <a:pt x="122" y="270"/>
                  </a:lnTo>
                  <a:lnTo>
                    <a:pt x="123" y="269"/>
                  </a:lnTo>
                  <a:lnTo>
                    <a:pt x="123" y="270"/>
                  </a:lnTo>
                  <a:lnTo>
                    <a:pt x="123" y="269"/>
                  </a:lnTo>
                  <a:lnTo>
                    <a:pt x="124" y="270"/>
                  </a:lnTo>
                  <a:lnTo>
                    <a:pt x="124" y="269"/>
                  </a:lnTo>
                  <a:lnTo>
                    <a:pt x="126" y="267"/>
                  </a:lnTo>
                  <a:lnTo>
                    <a:pt x="124" y="267"/>
                  </a:lnTo>
                  <a:lnTo>
                    <a:pt x="123" y="269"/>
                  </a:lnTo>
                  <a:lnTo>
                    <a:pt x="124" y="267"/>
                  </a:lnTo>
                  <a:lnTo>
                    <a:pt x="124" y="266"/>
                  </a:lnTo>
                  <a:lnTo>
                    <a:pt x="126" y="266"/>
                  </a:lnTo>
                  <a:lnTo>
                    <a:pt x="124" y="266"/>
                  </a:lnTo>
                  <a:lnTo>
                    <a:pt x="124" y="265"/>
                  </a:lnTo>
                  <a:lnTo>
                    <a:pt x="124" y="264"/>
                  </a:lnTo>
                  <a:lnTo>
                    <a:pt x="126" y="266"/>
                  </a:lnTo>
                  <a:lnTo>
                    <a:pt x="127" y="266"/>
                  </a:lnTo>
                  <a:lnTo>
                    <a:pt x="127" y="267"/>
                  </a:lnTo>
                  <a:lnTo>
                    <a:pt x="129" y="269"/>
                  </a:lnTo>
                  <a:lnTo>
                    <a:pt x="130" y="271"/>
                  </a:lnTo>
                  <a:lnTo>
                    <a:pt x="132" y="273"/>
                  </a:lnTo>
                  <a:lnTo>
                    <a:pt x="129" y="276"/>
                  </a:lnTo>
                  <a:lnTo>
                    <a:pt x="126" y="275"/>
                  </a:lnTo>
                  <a:lnTo>
                    <a:pt x="124" y="275"/>
                  </a:lnTo>
                  <a:lnTo>
                    <a:pt x="122" y="273"/>
                  </a:lnTo>
                  <a:lnTo>
                    <a:pt x="121" y="273"/>
                  </a:lnTo>
                  <a:lnTo>
                    <a:pt x="118" y="273"/>
                  </a:lnTo>
                  <a:lnTo>
                    <a:pt x="115" y="272"/>
                  </a:lnTo>
                  <a:lnTo>
                    <a:pt x="108" y="272"/>
                  </a:lnTo>
                  <a:lnTo>
                    <a:pt x="103" y="271"/>
                  </a:lnTo>
                  <a:lnTo>
                    <a:pt x="102" y="271"/>
                  </a:lnTo>
                  <a:lnTo>
                    <a:pt x="102" y="270"/>
                  </a:lnTo>
                  <a:lnTo>
                    <a:pt x="102" y="271"/>
                  </a:lnTo>
                  <a:lnTo>
                    <a:pt x="100" y="271"/>
                  </a:lnTo>
                  <a:lnTo>
                    <a:pt x="99" y="271"/>
                  </a:lnTo>
                  <a:lnTo>
                    <a:pt x="100" y="272"/>
                  </a:lnTo>
                  <a:lnTo>
                    <a:pt x="103" y="273"/>
                  </a:lnTo>
                  <a:lnTo>
                    <a:pt x="104" y="273"/>
                  </a:lnTo>
                  <a:lnTo>
                    <a:pt x="109" y="273"/>
                  </a:lnTo>
                  <a:lnTo>
                    <a:pt x="111" y="275"/>
                  </a:lnTo>
                  <a:lnTo>
                    <a:pt x="114" y="275"/>
                  </a:lnTo>
                  <a:lnTo>
                    <a:pt x="116" y="275"/>
                  </a:lnTo>
                  <a:lnTo>
                    <a:pt x="118" y="275"/>
                  </a:lnTo>
                  <a:lnTo>
                    <a:pt x="120" y="276"/>
                  </a:lnTo>
                  <a:lnTo>
                    <a:pt x="122" y="277"/>
                  </a:lnTo>
                  <a:lnTo>
                    <a:pt x="126" y="278"/>
                  </a:lnTo>
                  <a:lnTo>
                    <a:pt x="128" y="278"/>
                  </a:lnTo>
                  <a:lnTo>
                    <a:pt x="130" y="279"/>
                  </a:lnTo>
                  <a:lnTo>
                    <a:pt x="130" y="282"/>
                  </a:lnTo>
                  <a:lnTo>
                    <a:pt x="129" y="283"/>
                  </a:lnTo>
                  <a:lnTo>
                    <a:pt x="129" y="284"/>
                  </a:lnTo>
                  <a:lnTo>
                    <a:pt x="129" y="288"/>
                  </a:lnTo>
                  <a:lnTo>
                    <a:pt x="130" y="289"/>
                  </a:lnTo>
                  <a:lnTo>
                    <a:pt x="130" y="293"/>
                  </a:lnTo>
                  <a:lnTo>
                    <a:pt x="132" y="295"/>
                  </a:lnTo>
                  <a:lnTo>
                    <a:pt x="132" y="299"/>
                  </a:lnTo>
                  <a:lnTo>
                    <a:pt x="130" y="303"/>
                  </a:lnTo>
                  <a:lnTo>
                    <a:pt x="130" y="306"/>
                  </a:lnTo>
                  <a:lnTo>
                    <a:pt x="130" y="318"/>
                  </a:lnTo>
                  <a:lnTo>
                    <a:pt x="130" y="321"/>
                  </a:lnTo>
                  <a:lnTo>
                    <a:pt x="130" y="324"/>
                  </a:lnTo>
                  <a:lnTo>
                    <a:pt x="130" y="326"/>
                  </a:lnTo>
                  <a:lnTo>
                    <a:pt x="132" y="327"/>
                  </a:lnTo>
                  <a:lnTo>
                    <a:pt x="133" y="329"/>
                  </a:lnTo>
                  <a:lnTo>
                    <a:pt x="134" y="329"/>
                  </a:lnTo>
                  <a:lnTo>
                    <a:pt x="136" y="329"/>
                  </a:lnTo>
                  <a:lnTo>
                    <a:pt x="141" y="329"/>
                  </a:lnTo>
                  <a:lnTo>
                    <a:pt x="144" y="327"/>
                  </a:lnTo>
                  <a:lnTo>
                    <a:pt x="145" y="326"/>
                  </a:lnTo>
                  <a:lnTo>
                    <a:pt x="145" y="323"/>
                  </a:lnTo>
                  <a:lnTo>
                    <a:pt x="145" y="320"/>
                  </a:lnTo>
                  <a:lnTo>
                    <a:pt x="144" y="317"/>
                  </a:lnTo>
                  <a:lnTo>
                    <a:pt x="144" y="311"/>
                  </a:lnTo>
                  <a:lnTo>
                    <a:pt x="144" y="308"/>
                  </a:lnTo>
                  <a:lnTo>
                    <a:pt x="145" y="307"/>
                  </a:lnTo>
                  <a:lnTo>
                    <a:pt x="144" y="302"/>
                  </a:lnTo>
                  <a:lnTo>
                    <a:pt x="144" y="300"/>
                  </a:lnTo>
                  <a:lnTo>
                    <a:pt x="142" y="294"/>
                  </a:lnTo>
                  <a:lnTo>
                    <a:pt x="142" y="287"/>
                  </a:lnTo>
                  <a:lnTo>
                    <a:pt x="144" y="284"/>
                  </a:lnTo>
                  <a:lnTo>
                    <a:pt x="146" y="283"/>
                  </a:lnTo>
                  <a:lnTo>
                    <a:pt x="152" y="281"/>
                  </a:lnTo>
                  <a:lnTo>
                    <a:pt x="155" y="279"/>
                  </a:lnTo>
                  <a:lnTo>
                    <a:pt x="157" y="277"/>
                  </a:lnTo>
                  <a:lnTo>
                    <a:pt x="161" y="277"/>
                  </a:lnTo>
                  <a:lnTo>
                    <a:pt x="164" y="277"/>
                  </a:lnTo>
                  <a:lnTo>
                    <a:pt x="165" y="277"/>
                  </a:lnTo>
                  <a:lnTo>
                    <a:pt x="167" y="276"/>
                  </a:lnTo>
                  <a:lnTo>
                    <a:pt x="170" y="276"/>
                  </a:lnTo>
                  <a:lnTo>
                    <a:pt x="174" y="275"/>
                  </a:lnTo>
                  <a:lnTo>
                    <a:pt x="176" y="275"/>
                  </a:lnTo>
                  <a:lnTo>
                    <a:pt x="179" y="275"/>
                  </a:lnTo>
                  <a:lnTo>
                    <a:pt x="180" y="275"/>
                  </a:lnTo>
                  <a:lnTo>
                    <a:pt x="181" y="276"/>
                  </a:lnTo>
                  <a:lnTo>
                    <a:pt x="182" y="277"/>
                  </a:lnTo>
                  <a:lnTo>
                    <a:pt x="183" y="278"/>
                  </a:lnTo>
                  <a:lnTo>
                    <a:pt x="185" y="278"/>
                  </a:lnTo>
                  <a:lnTo>
                    <a:pt x="187" y="278"/>
                  </a:lnTo>
                  <a:lnTo>
                    <a:pt x="185" y="276"/>
                  </a:lnTo>
                  <a:lnTo>
                    <a:pt x="181" y="275"/>
                  </a:lnTo>
                  <a:lnTo>
                    <a:pt x="180" y="272"/>
                  </a:lnTo>
                  <a:lnTo>
                    <a:pt x="177" y="271"/>
                  </a:lnTo>
                  <a:lnTo>
                    <a:pt x="179" y="269"/>
                  </a:lnTo>
                  <a:lnTo>
                    <a:pt x="182" y="269"/>
                  </a:lnTo>
                  <a:lnTo>
                    <a:pt x="185" y="270"/>
                  </a:lnTo>
                  <a:lnTo>
                    <a:pt x="187" y="270"/>
                  </a:lnTo>
                  <a:lnTo>
                    <a:pt x="188" y="269"/>
                  </a:lnTo>
                  <a:lnTo>
                    <a:pt x="194" y="270"/>
                  </a:lnTo>
                  <a:lnTo>
                    <a:pt x="198" y="270"/>
                  </a:lnTo>
                  <a:lnTo>
                    <a:pt x="199" y="270"/>
                  </a:lnTo>
                  <a:lnTo>
                    <a:pt x="200" y="270"/>
                  </a:lnTo>
                  <a:lnTo>
                    <a:pt x="201" y="270"/>
                  </a:lnTo>
                  <a:lnTo>
                    <a:pt x="203" y="270"/>
                  </a:lnTo>
                  <a:lnTo>
                    <a:pt x="204" y="270"/>
                  </a:lnTo>
                  <a:lnTo>
                    <a:pt x="204" y="271"/>
                  </a:lnTo>
                  <a:lnTo>
                    <a:pt x="204" y="272"/>
                  </a:lnTo>
                  <a:lnTo>
                    <a:pt x="205" y="273"/>
                  </a:lnTo>
                  <a:lnTo>
                    <a:pt x="208" y="273"/>
                  </a:lnTo>
                  <a:lnTo>
                    <a:pt x="209" y="273"/>
                  </a:lnTo>
                  <a:lnTo>
                    <a:pt x="209" y="275"/>
                  </a:lnTo>
                  <a:lnTo>
                    <a:pt x="209" y="276"/>
                  </a:lnTo>
                  <a:lnTo>
                    <a:pt x="210" y="276"/>
                  </a:lnTo>
                  <a:lnTo>
                    <a:pt x="211" y="277"/>
                  </a:lnTo>
                  <a:lnTo>
                    <a:pt x="212" y="277"/>
                  </a:lnTo>
                  <a:lnTo>
                    <a:pt x="214" y="278"/>
                  </a:lnTo>
                  <a:lnTo>
                    <a:pt x="215" y="278"/>
                  </a:lnTo>
                  <a:lnTo>
                    <a:pt x="216" y="277"/>
                  </a:lnTo>
                  <a:lnTo>
                    <a:pt x="217" y="277"/>
                  </a:lnTo>
                  <a:lnTo>
                    <a:pt x="217" y="276"/>
                  </a:lnTo>
                  <a:lnTo>
                    <a:pt x="220" y="276"/>
                  </a:lnTo>
                  <a:lnTo>
                    <a:pt x="221" y="277"/>
                  </a:lnTo>
                  <a:lnTo>
                    <a:pt x="221" y="278"/>
                  </a:lnTo>
                  <a:lnTo>
                    <a:pt x="222" y="279"/>
                  </a:lnTo>
                  <a:lnTo>
                    <a:pt x="222" y="281"/>
                  </a:lnTo>
                  <a:lnTo>
                    <a:pt x="223" y="281"/>
                  </a:lnTo>
                  <a:lnTo>
                    <a:pt x="224" y="282"/>
                  </a:lnTo>
                  <a:lnTo>
                    <a:pt x="226" y="282"/>
                  </a:lnTo>
                  <a:lnTo>
                    <a:pt x="227" y="281"/>
                  </a:lnTo>
                  <a:lnTo>
                    <a:pt x="228" y="281"/>
                  </a:lnTo>
                  <a:lnTo>
                    <a:pt x="230" y="281"/>
                  </a:lnTo>
                  <a:lnTo>
                    <a:pt x="232" y="282"/>
                  </a:lnTo>
                  <a:lnTo>
                    <a:pt x="232" y="281"/>
                  </a:lnTo>
                  <a:lnTo>
                    <a:pt x="232" y="279"/>
                  </a:lnTo>
                  <a:lnTo>
                    <a:pt x="232" y="278"/>
                  </a:lnTo>
                  <a:lnTo>
                    <a:pt x="232" y="279"/>
                  </a:lnTo>
                  <a:lnTo>
                    <a:pt x="233" y="279"/>
                  </a:lnTo>
                  <a:lnTo>
                    <a:pt x="233" y="278"/>
                  </a:lnTo>
                  <a:lnTo>
                    <a:pt x="233" y="279"/>
                  </a:lnTo>
                  <a:lnTo>
                    <a:pt x="234" y="278"/>
                  </a:lnTo>
                  <a:lnTo>
                    <a:pt x="235" y="279"/>
                  </a:lnTo>
                  <a:lnTo>
                    <a:pt x="236" y="279"/>
                  </a:lnTo>
                  <a:lnTo>
                    <a:pt x="238" y="279"/>
                  </a:lnTo>
                  <a:lnTo>
                    <a:pt x="236" y="278"/>
                  </a:lnTo>
                  <a:lnTo>
                    <a:pt x="238" y="278"/>
                  </a:lnTo>
                  <a:lnTo>
                    <a:pt x="238" y="277"/>
                  </a:lnTo>
                  <a:lnTo>
                    <a:pt x="239" y="277"/>
                  </a:lnTo>
                  <a:lnTo>
                    <a:pt x="240" y="276"/>
                  </a:lnTo>
                  <a:lnTo>
                    <a:pt x="239" y="275"/>
                  </a:lnTo>
                  <a:lnTo>
                    <a:pt x="238" y="276"/>
                  </a:lnTo>
                  <a:lnTo>
                    <a:pt x="236" y="276"/>
                  </a:lnTo>
                  <a:lnTo>
                    <a:pt x="235" y="276"/>
                  </a:lnTo>
                  <a:lnTo>
                    <a:pt x="234" y="277"/>
                  </a:lnTo>
                  <a:lnTo>
                    <a:pt x="233" y="276"/>
                  </a:lnTo>
                  <a:lnTo>
                    <a:pt x="234" y="276"/>
                  </a:lnTo>
                  <a:lnTo>
                    <a:pt x="234" y="275"/>
                  </a:lnTo>
                  <a:lnTo>
                    <a:pt x="234" y="273"/>
                  </a:lnTo>
                  <a:lnTo>
                    <a:pt x="234" y="272"/>
                  </a:lnTo>
                  <a:lnTo>
                    <a:pt x="233" y="272"/>
                  </a:lnTo>
                  <a:lnTo>
                    <a:pt x="233" y="271"/>
                  </a:lnTo>
                  <a:lnTo>
                    <a:pt x="232" y="272"/>
                  </a:lnTo>
                  <a:lnTo>
                    <a:pt x="232" y="271"/>
                  </a:lnTo>
                  <a:lnTo>
                    <a:pt x="230" y="269"/>
                  </a:lnTo>
                  <a:lnTo>
                    <a:pt x="229" y="270"/>
                  </a:lnTo>
                  <a:lnTo>
                    <a:pt x="229" y="269"/>
                  </a:lnTo>
                  <a:lnTo>
                    <a:pt x="227" y="270"/>
                  </a:lnTo>
                  <a:lnTo>
                    <a:pt x="227" y="269"/>
                  </a:lnTo>
                  <a:lnTo>
                    <a:pt x="228" y="269"/>
                  </a:lnTo>
                  <a:lnTo>
                    <a:pt x="228" y="266"/>
                  </a:lnTo>
                  <a:lnTo>
                    <a:pt x="229" y="266"/>
                  </a:lnTo>
                  <a:lnTo>
                    <a:pt x="228" y="266"/>
                  </a:lnTo>
                  <a:lnTo>
                    <a:pt x="228" y="264"/>
                  </a:lnTo>
                  <a:lnTo>
                    <a:pt x="229" y="264"/>
                  </a:lnTo>
                  <a:lnTo>
                    <a:pt x="228" y="263"/>
                  </a:lnTo>
                  <a:lnTo>
                    <a:pt x="227" y="264"/>
                  </a:lnTo>
                  <a:lnTo>
                    <a:pt x="226" y="265"/>
                  </a:lnTo>
                  <a:lnTo>
                    <a:pt x="223" y="265"/>
                  </a:lnTo>
                  <a:lnTo>
                    <a:pt x="222" y="266"/>
                  </a:lnTo>
                  <a:lnTo>
                    <a:pt x="221" y="267"/>
                  </a:lnTo>
                  <a:lnTo>
                    <a:pt x="220" y="266"/>
                  </a:lnTo>
                  <a:lnTo>
                    <a:pt x="221" y="266"/>
                  </a:lnTo>
                  <a:lnTo>
                    <a:pt x="220" y="266"/>
                  </a:lnTo>
                  <a:lnTo>
                    <a:pt x="218" y="265"/>
                  </a:lnTo>
                  <a:lnTo>
                    <a:pt x="217" y="266"/>
                  </a:lnTo>
                  <a:lnTo>
                    <a:pt x="217" y="265"/>
                  </a:lnTo>
                  <a:lnTo>
                    <a:pt x="216" y="265"/>
                  </a:lnTo>
                  <a:lnTo>
                    <a:pt x="215" y="265"/>
                  </a:lnTo>
                  <a:lnTo>
                    <a:pt x="214" y="264"/>
                  </a:lnTo>
                  <a:lnTo>
                    <a:pt x="212" y="265"/>
                  </a:lnTo>
                  <a:lnTo>
                    <a:pt x="212" y="264"/>
                  </a:lnTo>
                  <a:lnTo>
                    <a:pt x="214" y="263"/>
                  </a:lnTo>
                  <a:lnTo>
                    <a:pt x="212" y="261"/>
                  </a:lnTo>
                  <a:lnTo>
                    <a:pt x="211" y="261"/>
                  </a:lnTo>
                  <a:lnTo>
                    <a:pt x="210" y="263"/>
                  </a:lnTo>
                  <a:lnTo>
                    <a:pt x="210" y="261"/>
                  </a:lnTo>
                  <a:lnTo>
                    <a:pt x="210" y="260"/>
                  </a:lnTo>
                  <a:lnTo>
                    <a:pt x="209" y="260"/>
                  </a:lnTo>
                  <a:lnTo>
                    <a:pt x="208" y="259"/>
                  </a:lnTo>
                  <a:lnTo>
                    <a:pt x="206" y="261"/>
                  </a:lnTo>
                  <a:lnTo>
                    <a:pt x="206" y="263"/>
                  </a:lnTo>
                  <a:lnTo>
                    <a:pt x="205" y="263"/>
                  </a:lnTo>
                  <a:lnTo>
                    <a:pt x="205" y="264"/>
                  </a:lnTo>
                  <a:lnTo>
                    <a:pt x="204" y="264"/>
                  </a:lnTo>
                  <a:lnTo>
                    <a:pt x="205" y="265"/>
                  </a:lnTo>
                  <a:lnTo>
                    <a:pt x="204" y="265"/>
                  </a:lnTo>
                  <a:lnTo>
                    <a:pt x="203" y="264"/>
                  </a:lnTo>
                  <a:lnTo>
                    <a:pt x="201" y="265"/>
                  </a:lnTo>
                  <a:lnTo>
                    <a:pt x="203" y="265"/>
                  </a:lnTo>
                  <a:lnTo>
                    <a:pt x="203" y="266"/>
                  </a:lnTo>
                  <a:lnTo>
                    <a:pt x="204" y="266"/>
                  </a:lnTo>
                  <a:lnTo>
                    <a:pt x="204" y="267"/>
                  </a:lnTo>
                  <a:lnTo>
                    <a:pt x="203" y="267"/>
                  </a:lnTo>
                  <a:lnTo>
                    <a:pt x="203" y="269"/>
                  </a:lnTo>
                  <a:lnTo>
                    <a:pt x="201" y="269"/>
                  </a:lnTo>
                  <a:lnTo>
                    <a:pt x="201" y="267"/>
                  </a:lnTo>
                  <a:lnTo>
                    <a:pt x="199" y="267"/>
                  </a:lnTo>
                  <a:lnTo>
                    <a:pt x="198" y="269"/>
                  </a:lnTo>
                  <a:lnTo>
                    <a:pt x="194" y="267"/>
                  </a:lnTo>
                  <a:lnTo>
                    <a:pt x="192" y="267"/>
                  </a:lnTo>
                  <a:lnTo>
                    <a:pt x="188" y="267"/>
                  </a:lnTo>
                  <a:lnTo>
                    <a:pt x="187" y="267"/>
                  </a:lnTo>
                  <a:lnTo>
                    <a:pt x="186" y="267"/>
                  </a:lnTo>
                  <a:lnTo>
                    <a:pt x="185" y="267"/>
                  </a:lnTo>
                  <a:lnTo>
                    <a:pt x="183" y="267"/>
                  </a:lnTo>
                  <a:lnTo>
                    <a:pt x="181" y="267"/>
                  </a:lnTo>
                  <a:lnTo>
                    <a:pt x="180" y="266"/>
                  </a:lnTo>
                  <a:lnTo>
                    <a:pt x="177" y="266"/>
                  </a:lnTo>
                  <a:lnTo>
                    <a:pt x="176" y="265"/>
                  </a:lnTo>
                  <a:lnTo>
                    <a:pt x="175" y="264"/>
                  </a:lnTo>
                  <a:lnTo>
                    <a:pt x="174" y="264"/>
                  </a:lnTo>
                  <a:lnTo>
                    <a:pt x="171" y="265"/>
                  </a:lnTo>
                  <a:lnTo>
                    <a:pt x="170" y="264"/>
                  </a:lnTo>
                  <a:lnTo>
                    <a:pt x="168" y="264"/>
                  </a:lnTo>
                  <a:lnTo>
                    <a:pt x="167" y="261"/>
                  </a:lnTo>
                  <a:lnTo>
                    <a:pt x="167" y="260"/>
                  </a:lnTo>
                  <a:lnTo>
                    <a:pt x="165" y="261"/>
                  </a:lnTo>
                  <a:lnTo>
                    <a:pt x="164" y="260"/>
                  </a:lnTo>
                  <a:lnTo>
                    <a:pt x="163" y="260"/>
                  </a:lnTo>
                  <a:lnTo>
                    <a:pt x="162" y="260"/>
                  </a:lnTo>
                  <a:lnTo>
                    <a:pt x="159" y="259"/>
                  </a:lnTo>
                  <a:lnTo>
                    <a:pt x="158" y="257"/>
                  </a:lnTo>
                  <a:lnTo>
                    <a:pt x="158" y="258"/>
                  </a:lnTo>
                  <a:lnTo>
                    <a:pt x="158" y="257"/>
                  </a:lnTo>
                  <a:lnTo>
                    <a:pt x="159" y="257"/>
                  </a:lnTo>
                  <a:lnTo>
                    <a:pt x="159" y="255"/>
                  </a:lnTo>
                  <a:lnTo>
                    <a:pt x="159" y="254"/>
                  </a:lnTo>
                  <a:lnTo>
                    <a:pt x="161" y="254"/>
                  </a:lnTo>
                  <a:lnTo>
                    <a:pt x="159" y="255"/>
                  </a:lnTo>
                  <a:lnTo>
                    <a:pt x="161" y="255"/>
                  </a:lnTo>
                  <a:lnTo>
                    <a:pt x="161" y="257"/>
                  </a:lnTo>
                  <a:lnTo>
                    <a:pt x="161" y="258"/>
                  </a:lnTo>
                  <a:lnTo>
                    <a:pt x="162" y="258"/>
                  </a:lnTo>
                  <a:lnTo>
                    <a:pt x="163" y="258"/>
                  </a:lnTo>
                  <a:lnTo>
                    <a:pt x="164" y="258"/>
                  </a:lnTo>
                  <a:lnTo>
                    <a:pt x="164" y="257"/>
                  </a:lnTo>
                  <a:lnTo>
                    <a:pt x="165" y="257"/>
                  </a:lnTo>
                  <a:lnTo>
                    <a:pt x="167" y="258"/>
                  </a:lnTo>
                  <a:lnTo>
                    <a:pt x="168" y="257"/>
                  </a:lnTo>
                  <a:lnTo>
                    <a:pt x="169" y="257"/>
                  </a:lnTo>
                  <a:lnTo>
                    <a:pt x="169" y="258"/>
                  </a:lnTo>
                  <a:lnTo>
                    <a:pt x="170" y="258"/>
                  </a:lnTo>
                  <a:lnTo>
                    <a:pt x="171" y="258"/>
                  </a:lnTo>
                  <a:lnTo>
                    <a:pt x="171" y="257"/>
                  </a:lnTo>
                  <a:lnTo>
                    <a:pt x="171" y="255"/>
                  </a:lnTo>
                  <a:lnTo>
                    <a:pt x="170" y="255"/>
                  </a:lnTo>
                  <a:lnTo>
                    <a:pt x="170" y="253"/>
                  </a:lnTo>
                  <a:lnTo>
                    <a:pt x="170" y="252"/>
                  </a:lnTo>
                  <a:lnTo>
                    <a:pt x="169" y="252"/>
                  </a:lnTo>
                  <a:lnTo>
                    <a:pt x="169" y="251"/>
                  </a:lnTo>
                  <a:lnTo>
                    <a:pt x="168" y="252"/>
                  </a:lnTo>
                  <a:lnTo>
                    <a:pt x="168" y="251"/>
                  </a:lnTo>
                  <a:lnTo>
                    <a:pt x="169" y="251"/>
                  </a:lnTo>
                  <a:lnTo>
                    <a:pt x="170" y="251"/>
                  </a:lnTo>
                  <a:lnTo>
                    <a:pt x="171" y="251"/>
                  </a:lnTo>
                  <a:lnTo>
                    <a:pt x="173" y="251"/>
                  </a:lnTo>
                  <a:lnTo>
                    <a:pt x="173" y="249"/>
                  </a:lnTo>
                  <a:lnTo>
                    <a:pt x="171" y="248"/>
                  </a:lnTo>
                  <a:lnTo>
                    <a:pt x="173" y="248"/>
                  </a:lnTo>
                  <a:lnTo>
                    <a:pt x="174" y="247"/>
                  </a:lnTo>
                  <a:lnTo>
                    <a:pt x="173" y="248"/>
                  </a:lnTo>
                  <a:lnTo>
                    <a:pt x="174" y="249"/>
                  </a:lnTo>
                  <a:lnTo>
                    <a:pt x="174" y="248"/>
                  </a:lnTo>
                  <a:lnTo>
                    <a:pt x="175" y="248"/>
                  </a:lnTo>
                  <a:lnTo>
                    <a:pt x="176" y="248"/>
                  </a:lnTo>
                  <a:lnTo>
                    <a:pt x="176" y="251"/>
                  </a:lnTo>
                  <a:lnTo>
                    <a:pt x="177" y="249"/>
                  </a:lnTo>
                  <a:lnTo>
                    <a:pt x="177" y="251"/>
                  </a:lnTo>
                  <a:lnTo>
                    <a:pt x="180" y="252"/>
                  </a:lnTo>
                  <a:lnTo>
                    <a:pt x="181" y="254"/>
                  </a:lnTo>
                  <a:lnTo>
                    <a:pt x="181" y="255"/>
                  </a:lnTo>
                  <a:lnTo>
                    <a:pt x="181" y="254"/>
                  </a:lnTo>
                  <a:lnTo>
                    <a:pt x="180" y="254"/>
                  </a:lnTo>
                  <a:lnTo>
                    <a:pt x="180" y="255"/>
                  </a:lnTo>
                  <a:lnTo>
                    <a:pt x="180" y="257"/>
                  </a:lnTo>
                  <a:lnTo>
                    <a:pt x="181" y="257"/>
                  </a:lnTo>
                  <a:lnTo>
                    <a:pt x="180" y="257"/>
                  </a:lnTo>
                  <a:lnTo>
                    <a:pt x="179" y="255"/>
                  </a:lnTo>
                  <a:lnTo>
                    <a:pt x="179" y="257"/>
                  </a:lnTo>
                  <a:lnTo>
                    <a:pt x="180" y="257"/>
                  </a:lnTo>
                  <a:lnTo>
                    <a:pt x="180" y="258"/>
                  </a:lnTo>
                  <a:lnTo>
                    <a:pt x="179" y="258"/>
                  </a:lnTo>
                  <a:lnTo>
                    <a:pt x="179" y="259"/>
                  </a:lnTo>
                  <a:lnTo>
                    <a:pt x="180" y="259"/>
                  </a:lnTo>
                  <a:lnTo>
                    <a:pt x="181" y="259"/>
                  </a:lnTo>
                  <a:lnTo>
                    <a:pt x="182" y="260"/>
                  </a:lnTo>
                  <a:lnTo>
                    <a:pt x="183" y="260"/>
                  </a:lnTo>
                  <a:lnTo>
                    <a:pt x="182" y="260"/>
                  </a:lnTo>
                  <a:lnTo>
                    <a:pt x="182" y="259"/>
                  </a:lnTo>
                  <a:lnTo>
                    <a:pt x="183" y="258"/>
                  </a:lnTo>
                  <a:lnTo>
                    <a:pt x="183" y="260"/>
                  </a:lnTo>
                  <a:lnTo>
                    <a:pt x="185" y="260"/>
                  </a:lnTo>
                  <a:lnTo>
                    <a:pt x="186" y="259"/>
                  </a:lnTo>
                  <a:lnTo>
                    <a:pt x="186" y="260"/>
                  </a:lnTo>
                  <a:lnTo>
                    <a:pt x="187" y="260"/>
                  </a:lnTo>
                  <a:lnTo>
                    <a:pt x="188" y="260"/>
                  </a:lnTo>
                  <a:lnTo>
                    <a:pt x="189" y="260"/>
                  </a:lnTo>
                  <a:lnTo>
                    <a:pt x="189" y="259"/>
                  </a:lnTo>
                  <a:lnTo>
                    <a:pt x="188" y="258"/>
                  </a:lnTo>
                  <a:lnTo>
                    <a:pt x="187" y="255"/>
                  </a:lnTo>
                  <a:lnTo>
                    <a:pt x="188" y="257"/>
                  </a:lnTo>
                  <a:lnTo>
                    <a:pt x="189" y="257"/>
                  </a:lnTo>
                  <a:lnTo>
                    <a:pt x="191" y="257"/>
                  </a:lnTo>
                  <a:lnTo>
                    <a:pt x="192" y="257"/>
                  </a:lnTo>
                  <a:lnTo>
                    <a:pt x="192" y="255"/>
                  </a:lnTo>
                  <a:lnTo>
                    <a:pt x="193" y="253"/>
                  </a:lnTo>
                  <a:lnTo>
                    <a:pt x="193" y="252"/>
                  </a:lnTo>
                  <a:lnTo>
                    <a:pt x="194" y="249"/>
                  </a:lnTo>
                  <a:lnTo>
                    <a:pt x="194" y="248"/>
                  </a:lnTo>
                  <a:lnTo>
                    <a:pt x="193" y="247"/>
                  </a:lnTo>
                  <a:lnTo>
                    <a:pt x="193" y="248"/>
                  </a:lnTo>
                  <a:lnTo>
                    <a:pt x="192" y="247"/>
                  </a:lnTo>
                  <a:lnTo>
                    <a:pt x="191" y="246"/>
                  </a:lnTo>
                  <a:lnTo>
                    <a:pt x="189" y="247"/>
                  </a:lnTo>
                  <a:lnTo>
                    <a:pt x="189" y="246"/>
                  </a:lnTo>
                  <a:lnTo>
                    <a:pt x="191" y="246"/>
                  </a:lnTo>
                  <a:lnTo>
                    <a:pt x="192" y="246"/>
                  </a:lnTo>
                  <a:lnTo>
                    <a:pt x="193" y="246"/>
                  </a:lnTo>
                  <a:lnTo>
                    <a:pt x="195" y="246"/>
                  </a:lnTo>
                  <a:lnTo>
                    <a:pt x="195" y="247"/>
                  </a:lnTo>
                  <a:lnTo>
                    <a:pt x="194" y="248"/>
                  </a:lnTo>
                  <a:lnTo>
                    <a:pt x="195" y="248"/>
                  </a:lnTo>
                  <a:lnTo>
                    <a:pt x="195" y="249"/>
                  </a:lnTo>
                  <a:lnTo>
                    <a:pt x="197" y="249"/>
                  </a:lnTo>
                  <a:lnTo>
                    <a:pt x="195" y="248"/>
                  </a:lnTo>
                  <a:lnTo>
                    <a:pt x="197" y="248"/>
                  </a:lnTo>
                  <a:lnTo>
                    <a:pt x="198" y="249"/>
                  </a:lnTo>
                  <a:lnTo>
                    <a:pt x="199" y="249"/>
                  </a:lnTo>
                  <a:lnTo>
                    <a:pt x="200" y="249"/>
                  </a:lnTo>
                  <a:lnTo>
                    <a:pt x="200" y="251"/>
                  </a:lnTo>
                  <a:lnTo>
                    <a:pt x="201" y="249"/>
                  </a:lnTo>
                  <a:lnTo>
                    <a:pt x="203" y="251"/>
                  </a:lnTo>
                  <a:lnTo>
                    <a:pt x="204" y="251"/>
                  </a:lnTo>
                  <a:lnTo>
                    <a:pt x="205" y="251"/>
                  </a:lnTo>
                  <a:lnTo>
                    <a:pt x="206" y="249"/>
                  </a:lnTo>
                  <a:lnTo>
                    <a:pt x="208" y="248"/>
                  </a:lnTo>
                  <a:lnTo>
                    <a:pt x="209" y="248"/>
                  </a:lnTo>
                  <a:lnTo>
                    <a:pt x="210" y="248"/>
                  </a:lnTo>
                  <a:lnTo>
                    <a:pt x="211" y="248"/>
                  </a:lnTo>
                  <a:lnTo>
                    <a:pt x="214" y="248"/>
                  </a:lnTo>
                  <a:lnTo>
                    <a:pt x="215" y="247"/>
                  </a:lnTo>
                  <a:lnTo>
                    <a:pt x="216" y="248"/>
                  </a:lnTo>
                  <a:lnTo>
                    <a:pt x="217" y="247"/>
                  </a:lnTo>
                  <a:lnTo>
                    <a:pt x="217" y="248"/>
                  </a:lnTo>
                  <a:lnTo>
                    <a:pt x="218" y="248"/>
                  </a:lnTo>
                  <a:lnTo>
                    <a:pt x="220" y="247"/>
                  </a:lnTo>
                  <a:lnTo>
                    <a:pt x="220" y="248"/>
                  </a:lnTo>
                  <a:lnTo>
                    <a:pt x="221" y="247"/>
                  </a:lnTo>
                  <a:lnTo>
                    <a:pt x="222" y="248"/>
                  </a:lnTo>
                  <a:lnTo>
                    <a:pt x="222" y="249"/>
                  </a:lnTo>
                  <a:lnTo>
                    <a:pt x="221" y="249"/>
                  </a:lnTo>
                  <a:lnTo>
                    <a:pt x="220" y="249"/>
                  </a:lnTo>
                  <a:lnTo>
                    <a:pt x="218" y="249"/>
                  </a:lnTo>
                  <a:lnTo>
                    <a:pt x="218" y="248"/>
                  </a:lnTo>
                  <a:lnTo>
                    <a:pt x="218" y="249"/>
                  </a:lnTo>
                  <a:lnTo>
                    <a:pt x="217" y="248"/>
                  </a:lnTo>
                  <a:lnTo>
                    <a:pt x="217" y="249"/>
                  </a:lnTo>
                  <a:lnTo>
                    <a:pt x="216" y="248"/>
                  </a:lnTo>
                  <a:lnTo>
                    <a:pt x="216" y="249"/>
                  </a:lnTo>
                  <a:lnTo>
                    <a:pt x="215" y="248"/>
                  </a:lnTo>
                  <a:lnTo>
                    <a:pt x="215" y="249"/>
                  </a:lnTo>
                  <a:lnTo>
                    <a:pt x="215" y="251"/>
                  </a:lnTo>
                  <a:lnTo>
                    <a:pt x="214" y="248"/>
                  </a:lnTo>
                  <a:lnTo>
                    <a:pt x="212" y="249"/>
                  </a:lnTo>
                  <a:lnTo>
                    <a:pt x="214" y="249"/>
                  </a:lnTo>
                  <a:lnTo>
                    <a:pt x="214" y="252"/>
                  </a:lnTo>
                  <a:lnTo>
                    <a:pt x="215" y="252"/>
                  </a:lnTo>
                  <a:lnTo>
                    <a:pt x="214" y="252"/>
                  </a:lnTo>
                  <a:lnTo>
                    <a:pt x="214" y="253"/>
                  </a:lnTo>
                  <a:lnTo>
                    <a:pt x="215" y="253"/>
                  </a:lnTo>
                  <a:lnTo>
                    <a:pt x="215" y="252"/>
                  </a:lnTo>
                  <a:lnTo>
                    <a:pt x="216" y="253"/>
                  </a:lnTo>
                  <a:lnTo>
                    <a:pt x="216" y="252"/>
                  </a:lnTo>
                  <a:lnTo>
                    <a:pt x="217" y="253"/>
                  </a:lnTo>
                  <a:lnTo>
                    <a:pt x="218" y="253"/>
                  </a:lnTo>
                  <a:lnTo>
                    <a:pt x="220" y="255"/>
                  </a:lnTo>
                  <a:lnTo>
                    <a:pt x="221" y="255"/>
                  </a:lnTo>
                  <a:lnTo>
                    <a:pt x="222" y="254"/>
                  </a:lnTo>
                  <a:lnTo>
                    <a:pt x="222" y="253"/>
                  </a:lnTo>
                  <a:lnTo>
                    <a:pt x="223" y="253"/>
                  </a:lnTo>
                  <a:lnTo>
                    <a:pt x="222" y="254"/>
                  </a:lnTo>
                  <a:lnTo>
                    <a:pt x="223" y="255"/>
                  </a:lnTo>
                  <a:lnTo>
                    <a:pt x="223" y="254"/>
                  </a:lnTo>
                  <a:lnTo>
                    <a:pt x="223" y="255"/>
                  </a:lnTo>
                  <a:lnTo>
                    <a:pt x="222" y="257"/>
                  </a:lnTo>
                  <a:lnTo>
                    <a:pt x="224" y="257"/>
                  </a:lnTo>
                  <a:lnTo>
                    <a:pt x="223" y="258"/>
                  </a:lnTo>
                  <a:lnTo>
                    <a:pt x="224" y="258"/>
                  </a:lnTo>
                  <a:lnTo>
                    <a:pt x="223" y="259"/>
                  </a:lnTo>
                  <a:lnTo>
                    <a:pt x="224" y="259"/>
                  </a:lnTo>
                  <a:lnTo>
                    <a:pt x="223" y="259"/>
                  </a:lnTo>
                  <a:lnTo>
                    <a:pt x="222" y="260"/>
                  </a:lnTo>
                  <a:lnTo>
                    <a:pt x="222" y="261"/>
                  </a:lnTo>
                  <a:lnTo>
                    <a:pt x="222" y="263"/>
                  </a:lnTo>
                  <a:lnTo>
                    <a:pt x="223" y="263"/>
                  </a:lnTo>
                  <a:lnTo>
                    <a:pt x="224" y="263"/>
                  </a:lnTo>
                  <a:lnTo>
                    <a:pt x="226" y="263"/>
                  </a:lnTo>
                  <a:lnTo>
                    <a:pt x="226" y="261"/>
                  </a:lnTo>
                  <a:lnTo>
                    <a:pt x="228" y="261"/>
                  </a:lnTo>
                  <a:lnTo>
                    <a:pt x="229" y="261"/>
                  </a:lnTo>
                  <a:lnTo>
                    <a:pt x="230" y="261"/>
                  </a:lnTo>
                  <a:lnTo>
                    <a:pt x="232" y="261"/>
                  </a:lnTo>
                  <a:lnTo>
                    <a:pt x="234" y="261"/>
                  </a:lnTo>
                  <a:lnTo>
                    <a:pt x="235" y="261"/>
                  </a:lnTo>
                  <a:lnTo>
                    <a:pt x="236" y="261"/>
                  </a:lnTo>
                  <a:lnTo>
                    <a:pt x="236" y="263"/>
                  </a:lnTo>
                  <a:lnTo>
                    <a:pt x="238" y="264"/>
                  </a:lnTo>
                  <a:lnTo>
                    <a:pt x="239" y="264"/>
                  </a:lnTo>
                  <a:lnTo>
                    <a:pt x="240" y="264"/>
                  </a:lnTo>
                  <a:lnTo>
                    <a:pt x="241" y="264"/>
                  </a:lnTo>
                  <a:lnTo>
                    <a:pt x="241" y="263"/>
                  </a:lnTo>
                  <a:lnTo>
                    <a:pt x="241" y="261"/>
                  </a:lnTo>
                  <a:lnTo>
                    <a:pt x="242" y="260"/>
                  </a:lnTo>
                  <a:lnTo>
                    <a:pt x="244" y="260"/>
                  </a:lnTo>
                  <a:lnTo>
                    <a:pt x="245" y="259"/>
                  </a:lnTo>
                  <a:lnTo>
                    <a:pt x="246" y="258"/>
                  </a:lnTo>
                  <a:lnTo>
                    <a:pt x="246" y="257"/>
                  </a:lnTo>
                  <a:lnTo>
                    <a:pt x="245" y="257"/>
                  </a:lnTo>
                  <a:lnTo>
                    <a:pt x="245" y="258"/>
                  </a:lnTo>
                  <a:lnTo>
                    <a:pt x="244" y="258"/>
                  </a:lnTo>
                  <a:lnTo>
                    <a:pt x="242" y="258"/>
                  </a:lnTo>
                  <a:lnTo>
                    <a:pt x="242" y="257"/>
                  </a:lnTo>
                  <a:lnTo>
                    <a:pt x="242" y="255"/>
                  </a:lnTo>
                  <a:lnTo>
                    <a:pt x="241" y="257"/>
                  </a:lnTo>
                  <a:lnTo>
                    <a:pt x="241" y="255"/>
                  </a:lnTo>
                  <a:lnTo>
                    <a:pt x="240" y="255"/>
                  </a:lnTo>
                  <a:lnTo>
                    <a:pt x="241" y="254"/>
                  </a:lnTo>
                  <a:lnTo>
                    <a:pt x="241" y="253"/>
                  </a:lnTo>
                  <a:lnTo>
                    <a:pt x="239" y="253"/>
                  </a:lnTo>
                  <a:lnTo>
                    <a:pt x="238" y="252"/>
                  </a:lnTo>
                  <a:lnTo>
                    <a:pt x="239" y="251"/>
                  </a:lnTo>
                  <a:lnTo>
                    <a:pt x="240" y="251"/>
                  </a:lnTo>
                  <a:lnTo>
                    <a:pt x="240" y="249"/>
                  </a:lnTo>
                  <a:lnTo>
                    <a:pt x="241" y="249"/>
                  </a:lnTo>
                  <a:lnTo>
                    <a:pt x="240" y="248"/>
                  </a:lnTo>
                  <a:lnTo>
                    <a:pt x="239" y="248"/>
                  </a:lnTo>
                  <a:lnTo>
                    <a:pt x="239" y="247"/>
                  </a:lnTo>
                  <a:lnTo>
                    <a:pt x="239" y="246"/>
                  </a:lnTo>
                  <a:lnTo>
                    <a:pt x="240" y="246"/>
                  </a:lnTo>
                  <a:lnTo>
                    <a:pt x="241" y="246"/>
                  </a:lnTo>
                  <a:lnTo>
                    <a:pt x="242" y="246"/>
                  </a:lnTo>
                  <a:lnTo>
                    <a:pt x="244" y="246"/>
                  </a:lnTo>
                  <a:lnTo>
                    <a:pt x="245" y="247"/>
                  </a:lnTo>
                  <a:lnTo>
                    <a:pt x="245" y="246"/>
                  </a:lnTo>
                  <a:lnTo>
                    <a:pt x="246" y="246"/>
                  </a:lnTo>
                  <a:lnTo>
                    <a:pt x="247" y="246"/>
                  </a:lnTo>
                  <a:lnTo>
                    <a:pt x="248" y="246"/>
                  </a:lnTo>
                  <a:lnTo>
                    <a:pt x="250" y="246"/>
                  </a:lnTo>
                  <a:lnTo>
                    <a:pt x="251" y="246"/>
                  </a:lnTo>
                  <a:lnTo>
                    <a:pt x="252" y="247"/>
                  </a:lnTo>
                  <a:lnTo>
                    <a:pt x="253" y="247"/>
                  </a:lnTo>
                  <a:lnTo>
                    <a:pt x="257" y="247"/>
                  </a:lnTo>
                  <a:lnTo>
                    <a:pt x="258" y="248"/>
                  </a:lnTo>
                  <a:lnTo>
                    <a:pt x="258" y="247"/>
                  </a:lnTo>
                  <a:lnTo>
                    <a:pt x="259" y="247"/>
                  </a:lnTo>
                  <a:lnTo>
                    <a:pt x="260" y="247"/>
                  </a:lnTo>
                  <a:lnTo>
                    <a:pt x="262" y="246"/>
                  </a:lnTo>
                  <a:lnTo>
                    <a:pt x="260" y="245"/>
                  </a:lnTo>
                  <a:lnTo>
                    <a:pt x="259" y="245"/>
                  </a:lnTo>
                  <a:lnTo>
                    <a:pt x="258" y="245"/>
                  </a:lnTo>
                  <a:lnTo>
                    <a:pt x="259" y="245"/>
                  </a:lnTo>
                  <a:lnTo>
                    <a:pt x="259" y="243"/>
                  </a:lnTo>
                  <a:lnTo>
                    <a:pt x="260" y="243"/>
                  </a:lnTo>
                  <a:lnTo>
                    <a:pt x="260" y="242"/>
                  </a:lnTo>
                  <a:lnTo>
                    <a:pt x="262" y="242"/>
                  </a:lnTo>
                  <a:lnTo>
                    <a:pt x="262" y="241"/>
                  </a:lnTo>
                  <a:lnTo>
                    <a:pt x="260" y="240"/>
                  </a:lnTo>
                  <a:lnTo>
                    <a:pt x="259" y="240"/>
                  </a:lnTo>
                  <a:lnTo>
                    <a:pt x="259" y="238"/>
                  </a:lnTo>
                  <a:lnTo>
                    <a:pt x="258" y="238"/>
                  </a:lnTo>
                  <a:lnTo>
                    <a:pt x="258" y="240"/>
                  </a:lnTo>
                  <a:lnTo>
                    <a:pt x="257" y="240"/>
                  </a:lnTo>
                  <a:lnTo>
                    <a:pt x="257" y="238"/>
                  </a:lnTo>
                  <a:lnTo>
                    <a:pt x="256" y="238"/>
                  </a:lnTo>
                  <a:lnTo>
                    <a:pt x="254" y="237"/>
                  </a:lnTo>
                  <a:lnTo>
                    <a:pt x="256" y="236"/>
                  </a:lnTo>
                  <a:lnTo>
                    <a:pt x="257" y="236"/>
                  </a:lnTo>
                  <a:lnTo>
                    <a:pt x="258" y="236"/>
                  </a:lnTo>
                  <a:lnTo>
                    <a:pt x="259" y="236"/>
                  </a:lnTo>
                  <a:lnTo>
                    <a:pt x="260" y="235"/>
                  </a:lnTo>
                  <a:lnTo>
                    <a:pt x="262" y="235"/>
                  </a:lnTo>
                  <a:lnTo>
                    <a:pt x="262" y="234"/>
                  </a:lnTo>
                  <a:lnTo>
                    <a:pt x="263" y="234"/>
                  </a:lnTo>
                  <a:lnTo>
                    <a:pt x="263" y="232"/>
                  </a:lnTo>
                  <a:lnTo>
                    <a:pt x="264" y="231"/>
                  </a:lnTo>
                  <a:lnTo>
                    <a:pt x="263" y="231"/>
                  </a:lnTo>
                  <a:lnTo>
                    <a:pt x="263" y="230"/>
                  </a:lnTo>
                  <a:lnTo>
                    <a:pt x="263" y="231"/>
                  </a:lnTo>
                  <a:lnTo>
                    <a:pt x="262" y="231"/>
                  </a:lnTo>
                  <a:lnTo>
                    <a:pt x="260" y="232"/>
                  </a:lnTo>
                  <a:lnTo>
                    <a:pt x="259" y="232"/>
                  </a:lnTo>
                  <a:lnTo>
                    <a:pt x="260" y="231"/>
                  </a:lnTo>
                  <a:lnTo>
                    <a:pt x="259" y="230"/>
                  </a:lnTo>
                  <a:lnTo>
                    <a:pt x="258" y="231"/>
                  </a:lnTo>
                  <a:lnTo>
                    <a:pt x="257" y="232"/>
                  </a:lnTo>
                  <a:lnTo>
                    <a:pt x="256" y="234"/>
                  </a:lnTo>
                  <a:lnTo>
                    <a:pt x="254" y="234"/>
                  </a:lnTo>
                  <a:lnTo>
                    <a:pt x="252" y="234"/>
                  </a:lnTo>
                  <a:lnTo>
                    <a:pt x="253" y="232"/>
                  </a:lnTo>
                  <a:lnTo>
                    <a:pt x="253" y="231"/>
                  </a:lnTo>
                  <a:lnTo>
                    <a:pt x="253" y="230"/>
                  </a:lnTo>
                  <a:lnTo>
                    <a:pt x="252" y="230"/>
                  </a:lnTo>
                  <a:lnTo>
                    <a:pt x="252" y="231"/>
                  </a:lnTo>
                  <a:lnTo>
                    <a:pt x="251" y="231"/>
                  </a:lnTo>
                  <a:lnTo>
                    <a:pt x="251" y="230"/>
                  </a:lnTo>
                  <a:lnTo>
                    <a:pt x="251" y="229"/>
                  </a:lnTo>
                  <a:lnTo>
                    <a:pt x="252" y="228"/>
                  </a:lnTo>
                  <a:lnTo>
                    <a:pt x="251" y="228"/>
                  </a:lnTo>
                  <a:lnTo>
                    <a:pt x="250" y="228"/>
                  </a:lnTo>
                  <a:lnTo>
                    <a:pt x="248" y="229"/>
                  </a:lnTo>
                  <a:lnTo>
                    <a:pt x="247" y="229"/>
                  </a:lnTo>
                  <a:lnTo>
                    <a:pt x="247" y="228"/>
                  </a:lnTo>
                  <a:lnTo>
                    <a:pt x="246" y="228"/>
                  </a:lnTo>
                  <a:lnTo>
                    <a:pt x="246" y="229"/>
                  </a:lnTo>
                  <a:lnTo>
                    <a:pt x="245" y="229"/>
                  </a:lnTo>
                  <a:lnTo>
                    <a:pt x="245" y="228"/>
                  </a:lnTo>
                  <a:lnTo>
                    <a:pt x="244" y="226"/>
                  </a:lnTo>
                  <a:lnTo>
                    <a:pt x="242" y="226"/>
                  </a:lnTo>
                  <a:lnTo>
                    <a:pt x="244" y="226"/>
                  </a:lnTo>
                  <a:lnTo>
                    <a:pt x="244" y="225"/>
                  </a:lnTo>
                  <a:lnTo>
                    <a:pt x="245" y="225"/>
                  </a:lnTo>
                  <a:lnTo>
                    <a:pt x="245" y="224"/>
                  </a:lnTo>
                  <a:lnTo>
                    <a:pt x="244" y="223"/>
                  </a:lnTo>
                  <a:lnTo>
                    <a:pt x="244" y="224"/>
                  </a:lnTo>
                  <a:lnTo>
                    <a:pt x="242" y="224"/>
                  </a:lnTo>
                  <a:lnTo>
                    <a:pt x="241" y="224"/>
                  </a:lnTo>
                  <a:lnTo>
                    <a:pt x="241" y="225"/>
                  </a:lnTo>
                  <a:lnTo>
                    <a:pt x="241" y="224"/>
                  </a:lnTo>
                  <a:lnTo>
                    <a:pt x="241" y="223"/>
                  </a:lnTo>
                  <a:lnTo>
                    <a:pt x="240" y="223"/>
                  </a:lnTo>
                  <a:lnTo>
                    <a:pt x="240" y="224"/>
                  </a:lnTo>
                  <a:lnTo>
                    <a:pt x="239" y="224"/>
                  </a:lnTo>
                  <a:lnTo>
                    <a:pt x="239" y="223"/>
                  </a:lnTo>
                  <a:lnTo>
                    <a:pt x="240" y="223"/>
                  </a:lnTo>
                  <a:lnTo>
                    <a:pt x="240" y="222"/>
                  </a:lnTo>
                  <a:lnTo>
                    <a:pt x="239" y="222"/>
                  </a:lnTo>
                  <a:lnTo>
                    <a:pt x="239" y="223"/>
                  </a:lnTo>
                  <a:lnTo>
                    <a:pt x="238" y="223"/>
                  </a:lnTo>
                  <a:lnTo>
                    <a:pt x="239" y="222"/>
                  </a:lnTo>
                  <a:lnTo>
                    <a:pt x="239" y="220"/>
                  </a:lnTo>
                  <a:lnTo>
                    <a:pt x="238" y="220"/>
                  </a:lnTo>
                  <a:lnTo>
                    <a:pt x="236" y="220"/>
                  </a:lnTo>
                  <a:lnTo>
                    <a:pt x="236" y="219"/>
                  </a:lnTo>
                  <a:lnTo>
                    <a:pt x="235" y="219"/>
                  </a:lnTo>
                  <a:lnTo>
                    <a:pt x="234" y="219"/>
                  </a:lnTo>
                  <a:lnTo>
                    <a:pt x="232" y="219"/>
                  </a:lnTo>
                  <a:lnTo>
                    <a:pt x="232" y="220"/>
                  </a:lnTo>
                  <a:lnTo>
                    <a:pt x="230" y="220"/>
                  </a:lnTo>
                  <a:lnTo>
                    <a:pt x="229" y="220"/>
                  </a:lnTo>
                  <a:lnTo>
                    <a:pt x="228" y="220"/>
                  </a:lnTo>
                  <a:lnTo>
                    <a:pt x="228" y="219"/>
                  </a:lnTo>
                  <a:lnTo>
                    <a:pt x="227" y="219"/>
                  </a:lnTo>
                  <a:lnTo>
                    <a:pt x="226" y="219"/>
                  </a:lnTo>
                  <a:lnTo>
                    <a:pt x="224" y="219"/>
                  </a:lnTo>
                  <a:lnTo>
                    <a:pt x="224" y="218"/>
                  </a:lnTo>
                  <a:lnTo>
                    <a:pt x="224" y="217"/>
                  </a:lnTo>
                  <a:lnTo>
                    <a:pt x="223" y="217"/>
                  </a:lnTo>
                  <a:lnTo>
                    <a:pt x="223" y="216"/>
                  </a:lnTo>
                  <a:lnTo>
                    <a:pt x="221" y="214"/>
                  </a:lnTo>
                  <a:lnTo>
                    <a:pt x="220" y="213"/>
                  </a:lnTo>
                  <a:lnTo>
                    <a:pt x="221" y="212"/>
                  </a:lnTo>
                  <a:lnTo>
                    <a:pt x="220" y="213"/>
                  </a:lnTo>
                  <a:lnTo>
                    <a:pt x="220" y="212"/>
                  </a:lnTo>
                  <a:lnTo>
                    <a:pt x="218" y="213"/>
                  </a:lnTo>
                  <a:lnTo>
                    <a:pt x="218" y="212"/>
                  </a:lnTo>
                  <a:lnTo>
                    <a:pt x="217" y="212"/>
                  </a:lnTo>
                  <a:lnTo>
                    <a:pt x="216" y="212"/>
                  </a:lnTo>
                  <a:lnTo>
                    <a:pt x="215" y="212"/>
                  </a:lnTo>
                  <a:lnTo>
                    <a:pt x="214" y="212"/>
                  </a:lnTo>
                  <a:lnTo>
                    <a:pt x="212" y="212"/>
                  </a:lnTo>
                  <a:lnTo>
                    <a:pt x="214" y="211"/>
                  </a:lnTo>
                  <a:lnTo>
                    <a:pt x="212" y="211"/>
                  </a:lnTo>
                  <a:lnTo>
                    <a:pt x="212" y="212"/>
                  </a:lnTo>
                  <a:lnTo>
                    <a:pt x="211" y="212"/>
                  </a:lnTo>
                  <a:lnTo>
                    <a:pt x="211" y="211"/>
                  </a:lnTo>
                  <a:lnTo>
                    <a:pt x="210" y="211"/>
                  </a:lnTo>
                  <a:lnTo>
                    <a:pt x="210" y="210"/>
                  </a:lnTo>
                  <a:lnTo>
                    <a:pt x="209" y="210"/>
                  </a:lnTo>
                  <a:lnTo>
                    <a:pt x="208" y="210"/>
                  </a:lnTo>
                  <a:lnTo>
                    <a:pt x="209" y="210"/>
                  </a:lnTo>
                  <a:lnTo>
                    <a:pt x="208" y="208"/>
                  </a:lnTo>
                  <a:lnTo>
                    <a:pt x="206" y="208"/>
                  </a:lnTo>
                  <a:lnTo>
                    <a:pt x="206" y="210"/>
                  </a:lnTo>
                  <a:lnTo>
                    <a:pt x="208" y="210"/>
                  </a:lnTo>
                  <a:lnTo>
                    <a:pt x="206" y="210"/>
                  </a:lnTo>
                  <a:lnTo>
                    <a:pt x="205" y="210"/>
                  </a:lnTo>
                  <a:lnTo>
                    <a:pt x="204" y="211"/>
                  </a:lnTo>
                  <a:lnTo>
                    <a:pt x="204" y="210"/>
                  </a:lnTo>
                  <a:lnTo>
                    <a:pt x="205" y="210"/>
                  </a:lnTo>
                  <a:lnTo>
                    <a:pt x="205" y="208"/>
                  </a:lnTo>
                  <a:lnTo>
                    <a:pt x="204" y="208"/>
                  </a:lnTo>
                  <a:lnTo>
                    <a:pt x="205" y="207"/>
                  </a:lnTo>
                  <a:lnTo>
                    <a:pt x="204" y="207"/>
                  </a:lnTo>
                  <a:lnTo>
                    <a:pt x="204" y="208"/>
                  </a:lnTo>
                  <a:lnTo>
                    <a:pt x="204" y="207"/>
                  </a:lnTo>
                  <a:lnTo>
                    <a:pt x="203" y="206"/>
                  </a:lnTo>
                  <a:lnTo>
                    <a:pt x="204" y="206"/>
                  </a:lnTo>
                  <a:lnTo>
                    <a:pt x="205" y="206"/>
                  </a:lnTo>
                  <a:lnTo>
                    <a:pt x="205" y="207"/>
                  </a:lnTo>
                  <a:lnTo>
                    <a:pt x="206" y="207"/>
                  </a:lnTo>
                  <a:lnTo>
                    <a:pt x="208" y="206"/>
                  </a:lnTo>
                  <a:lnTo>
                    <a:pt x="208" y="205"/>
                  </a:lnTo>
                  <a:lnTo>
                    <a:pt x="209" y="205"/>
                  </a:lnTo>
                  <a:lnTo>
                    <a:pt x="209" y="204"/>
                  </a:lnTo>
                  <a:lnTo>
                    <a:pt x="209" y="205"/>
                  </a:lnTo>
                  <a:lnTo>
                    <a:pt x="210" y="206"/>
                  </a:lnTo>
                  <a:lnTo>
                    <a:pt x="211" y="206"/>
                  </a:lnTo>
                  <a:lnTo>
                    <a:pt x="212" y="206"/>
                  </a:lnTo>
                  <a:lnTo>
                    <a:pt x="214" y="207"/>
                  </a:lnTo>
                  <a:lnTo>
                    <a:pt x="215" y="208"/>
                  </a:lnTo>
                  <a:lnTo>
                    <a:pt x="216" y="208"/>
                  </a:lnTo>
                  <a:lnTo>
                    <a:pt x="216" y="207"/>
                  </a:lnTo>
                  <a:lnTo>
                    <a:pt x="217" y="207"/>
                  </a:lnTo>
                  <a:lnTo>
                    <a:pt x="216" y="207"/>
                  </a:lnTo>
                  <a:lnTo>
                    <a:pt x="216" y="206"/>
                  </a:lnTo>
                  <a:lnTo>
                    <a:pt x="217" y="206"/>
                  </a:lnTo>
                  <a:lnTo>
                    <a:pt x="218" y="206"/>
                  </a:lnTo>
                  <a:lnTo>
                    <a:pt x="220" y="207"/>
                  </a:lnTo>
                  <a:lnTo>
                    <a:pt x="218" y="207"/>
                  </a:lnTo>
                  <a:lnTo>
                    <a:pt x="218" y="208"/>
                  </a:lnTo>
                  <a:lnTo>
                    <a:pt x="220" y="208"/>
                  </a:lnTo>
                  <a:lnTo>
                    <a:pt x="221" y="208"/>
                  </a:lnTo>
                  <a:lnTo>
                    <a:pt x="221" y="210"/>
                  </a:lnTo>
                  <a:lnTo>
                    <a:pt x="222" y="210"/>
                  </a:lnTo>
                  <a:lnTo>
                    <a:pt x="221" y="210"/>
                  </a:lnTo>
                  <a:lnTo>
                    <a:pt x="221" y="211"/>
                  </a:lnTo>
                  <a:lnTo>
                    <a:pt x="222" y="212"/>
                  </a:lnTo>
                  <a:lnTo>
                    <a:pt x="222" y="211"/>
                  </a:lnTo>
                  <a:lnTo>
                    <a:pt x="223" y="211"/>
                  </a:lnTo>
                  <a:lnTo>
                    <a:pt x="222" y="210"/>
                  </a:lnTo>
                  <a:lnTo>
                    <a:pt x="222" y="211"/>
                  </a:lnTo>
                  <a:lnTo>
                    <a:pt x="223" y="210"/>
                  </a:lnTo>
                  <a:lnTo>
                    <a:pt x="223" y="212"/>
                  </a:lnTo>
                  <a:lnTo>
                    <a:pt x="222" y="212"/>
                  </a:lnTo>
                  <a:lnTo>
                    <a:pt x="223" y="213"/>
                  </a:lnTo>
                  <a:lnTo>
                    <a:pt x="224" y="213"/>
                  </a:lnTo>
                  <a:lnTo>
                    <a:pt x="226" y="213"/>
                  </a:lnTo>
                  <a:lnTo>
                    <a:pt x="226" y="212"/>
                  </a:lnTo>
                  <a:lnTo>
                    <a:pt x="224" y="212"/>
                  </a:lnTo>
                  <a:lnTo>
                    <a:pt x="226" y="211"/>
                  </a:lnTo>
                  <a:lnTo>
                    <a:pt x="226" y="210"/>
                  </a:lnTo>
                  <a:lnTo>
                    <a:pt x="224" y="208"/>
                  </a:lnTo>
                  <a:lnTo>
                    <a:pt x="226" y="208"/>
                  </a:lnTo>
                  <a:lnTo>
                    <a:pt x="226" y="210"/>
                  </a:lnTo>
                  <a:lnTo>
                    <a:pt x="227" y="210"/>
                  </a:lnTo>
                  <a:lnTo>
                    <a:pt x="227" y="211"/>
                  </a:lnTo>
                  <a:lnTo>
                    <a:pt x="228" y="211"/>
                  </a:lnTo>
                  <a:lnTo>
                    <a:pt x="229" y="211"/>
                  </a:lnTo>
                  <a:lnTo>
                    <a:pt x="230" y="211"/>
                  </a:lnTo>
                  <a:lnTo>
                    <a:pt x="232" y="211"/>
                  </a:lnTo>
                  <a:lnTo>
                    <a:pt x="233" y="210"/>
                  </a:lnTo>
                  <a:lnTo>
                    <a:pt x="232" y="210"/>
                  </a:lnTo>
                  <a:lnTo>
                    <a:pt x="232" y="208"/>
                  </a:lnTo>
                  <a:lnTo>
                    <a:pt x="230" y="210"/>
                  </a:lnTo>
                  <a:lnTo>
                    <a:pt x="230" y="208"/>
                  </a:lnTo>
                  <a:lnTo>
                    <a:pt x="230" y="207"/>
                  </a:lnTo>
                  <a:lnTo>
                    <a:pt x="230" y="206"/>
                  </a:lnTo>
                  <a:lnTo>
                    <a:pt x="229" y="206"/>
                  </a:lnTo>
                  <a:lnTo>
                    <a:pt x="228" y="205"/>
                  </a:lnTo>
                  <a:lnTo>
                    <a:pt x="228" y="204"/>
                  </a:lnTo>
                  <a:lnTo>
                    <a:pt x="227" y="204"/>
                  </a:lnTo>
                  <a:lnTo>
                    <a:pt x="226" y="204"/>
                  </a:lnTo>
                  <a:lnTo>
                    <a:pt x="226" y="202"/>
                  </a:lnTo>
                  <a:lnTo>
                    <a:pt x="227" y="201"/>
                  </a:lnTo>
                  <a:lnTo>
                    <a:pt x="228" y="201"/>
                  </a:lnTo>
                  <a:lnTo>
                    <a:pt x="228" y="202"/>
                  </a:lnTo>
                  <a:lnTo>
                    <a:pt x="228" y="204"/>
                  </a:lnTo>
                  <a:lnTo>
                    <a:pt x="229" y="204"/>
                  </a:lnTo>
                  <a:lnTo>
                    <a:pt x="230" y="204"/>
                  </a:lnTo>
                  <a:lnTo>
                    <a:pt x="230" y="202"/>
                  </a:lnTo>
                  <a:lnTo>
                    <a:pt x="232" y="202"/>
                  </a:lnTo>
                  <a:lnTo>
                    <a:pt x="233" y="204"/>
                  </a:lnTo>
                  <a:lnTo>
                    <a:pt x="234" y="204"/>
                  </a:lnTo>
                  <a:lnTo>
                    <a:pt x="234" y="205"/>
                  </a:lnTo>
                  <a:lnTo>
                    <a:pt x="235" y="205"/>
                  </a:lnTo>
                  <a:lnTo>
                    <a:pt x="236" y="205"/>
                  </a:lnTo>
                  <a:lnTo>
                    <a:pt x="236" y="204"/>
                  </a:lnTo>
                  <a:lnTo>
                    <a:pt x="238" y="202"/>
                  </a:lnTo>
                  <a:lnTo>
                    <a:pt x="236" y="204"/>
                  </a:lnTo>
                  <a:lnTo>
                    <a:pt x="236" y="202"/>
                  </a:lnTo>
                  <a:lnTo>
                    <a:pt x="235" y="201"/>
                  </a:lnTo>
                  <a:lnTo>
                    <a:pt x="235" y="202"/>
                  </a:lnTo>
                  <a:lnTo>
                    <a:pt x="234" y="201"/>
                  </a:lnTo>
                  <a:lnTo>
                    <a:pt x="235" y="201"/>
                  </a:lnTo>
                  <a:lnTo>
                    <a:pt x="236" y="200"/>
                  </a:lnTo>
                  <a:lnTo>
                    <a:pt x="236" y="199"/>
                  </a:lnTo>
                  <a:lnTo>
                    <a:pt x="236" y="198"/>
                  </a:lnTo>
                  <a:lnTo>
                    <a:pt x="235" y="198"/>
                  </a:lnTo>
                  <a:lnTo>
                    <a:pt x="234" y="198"/>
                  </a:lnTo>
                  <a:lnTo>
                    <a:pt x="233" y="198"/>
                  </a:lnTo>
                  <a:lnTo>
                    <a:pt x="230" y="196"/>
                  </a:lnTo>
                  <a:lnTo>
                    <a:pt x="230" y="195"/>
                  </a:lnTo>
                  <a:lnTo>
                    <a:pt x="230" y="194"/>
                  </a:lnTo>
                  <a:lnTo>
                    <a:pt x="229" y="194"/>
                  </a:lnTo>
                  <a:lnTo>
                    <a:pt x="228" y="193"/>
                  </a:lnTo>
                  <a:lnTo>
                    <a:pt x="227" y="192"/>
                  </a:lnTo>
                  <a:lnTo>
                    <a:pt x="227" y="190"/>
                  </a:lnTo>
                  <a:lnTo>
                    <a:pt x="226" y="190"/>
                  </a:lnTo>
                  <a:lnTo>
                    <a:pt x="224" y="190"/>
                  </a:lnTo>
                  <a:lnTo>
                    <a:pt x="224" y="188"/>
                  </a:lnTo>
                  <a:lnTo>
                    <a:pt x="223" y="187"/>
                  </a:lnTo>
                  <a:lnTo>
                    <a:pt x="223" y="188"/>
                  </a:lnTo>
                  <a:lnTo>
                    <a:pt x="222" y="187"/>
                  </a:lnTo>
                  <a:lnTo>
                    <a:pt x="222" y="188"/>
                  </a:lnTo>
                  <a:lnTo>
                    <a:pt x="221" y="187"/>
                  </a:lnTo>
                  <a:lnTo>
                    <a:pt x="220" y="186"/>
                  </a:lnTo>
                  <a:lnTo>
                    <a:pt x="220" y="187"/>
                  </a:lnTo>
                  <a:lnTo>
                    <a:pt x="218" y="187"/>
                  </a:lnTo>
                  <a:lnTo>
                    <a:pt x="217" y="186"/>
                  </a:lnTo>
                  <a:lnTo>
                    <a:pt x="217" y="187"/>
                  </a:lnTo>
                  <a:lnTo>
                    <a:pt x="217" y="186"/>
                  </a:lnTo>
                  <a:lnTo>
                    <a:pt x="216" y="184"/>
                  </a:lnTo>
                  <a:lnTo>
                    <a:pt x="215" y="184"/>
                  </a:lnTo>
                  <a:lnTo>
                    <a:pt x="215" y="183"/>
                  </a:lnTo>
                  <a:lnTo>
                    <a:pt x="214" y="182"/>
                  </a:lnTo>
                  <a:lnTo>
                    <a:pt x="214" y="183"/>
                  </a:lnTo>
                  <a:lnTo>
                    <a:pt x="214" y="182"/>
                  </a:lnTo>
                  <a:lnTo>
                    <a:pt x="212" y="182"/>
                  </a:lnTo>
                  <a:lnTo>
                    <a:pt x="212" y="181"/>
                  </a:lnTo>
                  <a:lnTo>
                    <a:pt x="211" y="181"/>
                  </a:lnTo>
                  <a:lnTo>
                    <a:pt x="212" y="180"/>
                  </a:lnTo>
                  <a:lnTo>
                    <a:pt x="211" y="178"/>
                  </a:lnTo>
                  <a:lnTo>
                    <a:pt x="212" y="178"/>
                  </a:lnTo>
                  <a:lnTo>
                    <a:pt x="214" y="178"/>
                  </a:lnTo>
                  <a:lnTo>
                    <a:pt x="214" y="180"/>
                  </a:lnTo>
                  <a:lnTo>
                    <a:pt x="215" y="180"/>
                  </a:lnTo>
                  <a:lnTo>
                    <a:pt x="216" y="180"/>
                  </a:lnTo>
                  <a:lnTo>
                    <a:pt x="217" y="180"/>
                  </a:lnTo>
                  <a:lnTo>
                    <a:pt x="218" y="180"/>
                  </a:lnTo>
                  <a:lnTo>
                    <a:pt x="220" y="181"/>
                  </a:lnTo>
                  <a:lnTo>
                    <a:pt x="221" y="181"/>
                  </a:lnTo>
                  <a:lnTo>
                    <a:pt x="222" y="181"/>
                  </a:lnTo>
                  <a:lnTo>
                    <a:pt x="223" y="181"/>
                  </a:lnTo>
                  <a:lnTo>
                    <a:pt x="223" y="182"/>
                  </a:lnTo>
                  <a:lnTo>
                    <a:pt x="224" y="182"/>
                  </a:lnTo>
                  <a:lnTo>
                    <a:pt x="226" y="182"/>
                  </a:lnTo>
                  <a:lnTo>
                    <a:pt x="227" y="183"/>
                  </a:lnTo>
                  <a:lnTo>
                    <a:pt x="228" y="183"/>
                  </a:lnTo>
                  <a:lnTo>
                    <a:pt x="229" y="184"/>
                  </a:lnTo>
                  <a:lnTo>
                    <a:pt x="232" y="186"/>
                  </a:lnTo>
                  <a:lnTo>
                    <a:pt x="233" y="187"/>
                  </a:lnTo>
                  <a:lnTo>
                    <a:pt x="234" y="188"/>
                  </a:lnTo>
                  <a:lnTo>
                    <a:pt x="233" y="188"/>
                  </a:lnTo>
                  <a:lnTo>
                    <a:pt x="232" y="188"/>
                  </a:lnTo>
                  <a:lnTo>
                    <a:pt x="233" y="188"/>
                  </a:lnTo>
                  <a:lnTo>
                    <a:pt x="233" y="189"/>
                  </a:lnTo>
                  <a:lnTo>
                    <a:pt x="232" y="189"/>
                  </a:lnTo>
                  <a:lnTo>
                    <a:pt x="232" y="190"/>
                  </a:lnTo>
                  <a:lnTo>
                    <a:pt x="233" y="192"/>
                  </a:lnTo>
                  <a:lnTo>
                    <a:pt x="232" y="192"/>
                  </a:lnTo>
                  <a:lnTo>
                    <a:pt x="232" y="193"/>
                  </a:lnTo>
                  <a:lnTo>
                    <a:pt x="232" y="194"/>
                  </a:lnTo>
                  <a:lnTo>
                    <a:pt x="232" y="195"/>
                  </a:lnTo>
                  <a:lnTo>
                    <a:pt x="233" y="195"/>
                  </a:lnTo>
                  <a:lnTo>
                    <a:pt x="234" y="195"/>
                  </a:lnTo>
                  <a:lnTo>
                    <a:pt x="234" y="194"/>
                  </a:lnTo>
                  <a:lnTo>
                    <a:pt x="235" y="194"/>
                  </a:lnTo>
                  <a:lnTo>
                    <a:pt x="235" y="196"/>
                  </a:lnTo>
                  <a:lnTo>
                    <a:pt x="235" y="198"/>
                  </a:lnTo>
                  <a:lnTo>
                    <a:pt x="236" y="198"/>
                  </a:lnTo>
                  <a:lnTo>
                    <a:pt x="236" y="199"/>
                  </a:lnTo>
                  <a:lnTo>
                    <a:pt x="238" y="199"/>
                  </a:lnTo>
                  <a:lnTo>
                    <a:pt x="236" y="199"/>
                  </a:lnTo>
                  <a:lnTo>
                    <a:pt x="238" y="199"/>
                  </a:lnTo>
                  <a:lnTo>
                    <a:pt x="238" y="200"/>
                  </a:lnTo>
                  <a:lnTo>
                    <a:pt x="238" y="201"/>
                  </a:lnTo>
                  <a:lnTo>
                    <a:pt x="239" y="200"/>
                  </a:lnTo>
                  <a:lnTo>
                    <a:pt x="240" y="201"/>
                  </a:lnTo>
                  <a:lnTo>
                    <a:pt x="241" y="201"/>
                  </a:lnTo>
                  <a:lnTo>
                    <a:pt x="241" y="202"/>
                  </a:lnTo>
                  <a:lnTo>
                    <a:pt x="242" y="201"/>
                  </a:lnTo>
                  <a:lnTo>
                    <a:pt x="244" y="201"/>
                  </a:lnTo>
                  <a:lnTo>
                    <a:pt x="244" y="200"/>
                  </a:lnTo>
                  <a:lnTo>
                    <a:pt x="242" y="200"/>
                  </a:lnTo>
                  <a:lnTo>
                    <a:pt x="242" y="199"/>
                  </a:lnTo>
                  <a:lnTo>
                    <a:pt x="242" y="200"/>
                  </a:lnTo>
                  <a:lnTo>
                    <a:pt x="242" y="199"/>
                  </a:lnTo>
                  <a:lnTo>
                    <a:pt x="242" y="198"/>
                  </a:lnTo>
                  <a:lnTo>
                    <a:pt x="244" y="198"/>
                  </a:lnTo>
                  <a:lnTo>
                    <a:pt x="245" y="196"/>
                  </a:lnTo>
                  <a:lnTo>
                    <a:pt x="246" y="196"/>
                  </a:lnTo>
                  <a:lnTo>
                    <a:pt x="246" y="198"/>
                  </a:lnTo>
                  <a:lnTo>
                    <a:pt x="247" y="199"/>
                  </a:lnTo>
                  <a:lnTo>
                    <a:pt x="247" y="201"/>
                  </a:lnTo>
                  <a:lnTo>
                    <a:pt x="248" y="201"/>
                  </a:lnTo>
                  <a:lnTo>
                    <a:pt x="250" y="202"/>
                  </a:lnTo>
                  <a:lnTo>
                    <a:pt x="250" y="204"/>
                  </a:lnTo>
                  <a:lnTo>
                    <a:pt x="250" y="205"/>
                  </a:lnTo>
                  <a:lnTo>
                    <a:pt x="251" y="205"/>
                  </a:lnTo>
                  <a:lnTo>
                    <a:pt x="252" y="206"/>
                  </a:lnTo>
                  <a:lnTo>
                    <a:pt x="253" y="206"/>
                  </a:lnTo>
                  <a:lnTo>
                    <a:pt x="253" y="205"/>
                  </a:lnTo>
                  <a:lnTo>
                    <a:pt x="254" y="204"/>
                  </a:lnTo>
                  <a:lnTo>
                    <a:pt x="256" y="204"/>
                  </a:lnTo>
                  <a:lnTo>
                    <a:pt x="257" y="205"/>
                  </a:lnTo>
                  <a:lnTo>
                    <a:pt x="257" y="206"/>
                  </a:lnTo>
                  <a:lnTo>
                    <a:pt x="258" y="206"/>
                  </a:lnTo>
                  <a:lnTo>
                    <a:pt x="258" y="207"/>
                  </a:lnTo>
                  <a:lnTo>
                    <a:pt x="257" y="207"/>
                  </a:lnTo>
                  <a:lnTo>
                    <a:pt x="258" y="207"/>
                  </a:lnTo>
                  <a:lnTo>
                    <a:pt x="257" y="208"/>
                  </a:lnTo>
                  <a:lnTo>
                    <a:pt x="258" y="208"/>
                  </a:lnTo>
                  <a:lnTo>
                    <a:pt x="259" y="207"/>
                  </a:lnTo>
                  <a:lnTo>
                    <a:pt x="259" y="208"/>
                  </a:lnTo>
                  <a:lnTo>
                    <a:pt x="258" y="210"/>
                  </a:lnTo>
                  <a:lnTo>
                    <a:pt x="259" y="210"/>
                  </a:lnTo>
                  <a:lnTo>
                    <a:pt x="260" y="210"/>
                  </a:lnTo>
                  <a:lnTo>
                    <a:pt x="262" y="208"/>
                  </a:lnTo>
                  <a:lnTo>
                    <a:pt x="260" y="208"/>
                  </a:lnTo>
                  <a:lnTo>
                    <a:pt x="262" y="208"/>
                  </a:lnTo>
                  <a:lnTo>
                    <a:pt x="262" y="207"/>
                  </a:lnTo>
                  <a:lnTo>
                    <a:pt x="262" y="208"/>
                  </a:lnTo>
                  <a:lnTo>
                    <a:pt x="263" y="208"/>
                  </a:lnTo>
                  <a:lnTo>
                    <a:pt x="263" y="210"/>
                  </a:lnTo>
                  <a:lnTo>
                    <a:pt x="264" y="210"/>
                  </a:lnTo>
                  <a:lnTo>
                    <a:pt x="264" y="211"/>
                  </a:lnTo>
                  <a:lnTo>
                    <a:pt x="265" y="212"/>
                  </a:lnTo>
                  <a:lnTo>
                    <a:pt x="264" y="212"/>
                  </a:lnTo>
                  <a:lnTo>
                    <a:pt x="264" y="213"/>
                  </a:lnTo>
                  <a:lnTo>
                    <a:pt x="265" y="213"/>
                  </a:lnTo>
                  <a:lnTo>
                    <a:pt x="265" y="214"/>
                  </a:lnTo>
                  <a:lnTo>
                    <a:pt x="267" y="216"/>
                  </a:lnTo>
                  <a:lnTo>
                    <a:pt x="268" y="216"/>
                  </a:lnTo>
                  <a:lnTo>
                    <a:pt x="268" y="214"/>
                  </a:lnTo>
                  <a:lnTo>
                    <a:pt x="269" y="214"/>
                  </a:lnTo>
                  <a:lnTo>
                    <a:pt x="270" y="213"/>
                  </a:lnTo>
                  <a:lnTo>
                    <a:pt x="269" y="213"/>
                  </a:lnTo>
                  <a:lnTo>
                    <a:pt x="270" y="213"/>
                  </a:lnTo>
                  <a:lnTo>
                    <a:pt x="271" y="213"/>
                  </a:lnTo>
                  <a:lnTo>
                    <a:pt x="273" y="214"/>
                  </a:lnTo>
                  <a:lnTo>
                    <a:pt x="273" y="213"/>
                  </a:lnTo>
                  <a:lnTo>
                    <a:pt x="274" y="213"/>
                  </a:lnTo>
                  <a:lnTo>
                    <a:pt x="275" y="213"/>
                  </a:lnTo>
                  <a:lnTo>
                    <a:pt x="276" y="212"/>
                  </a:lnTo>
                  <a:lnTo>
                    <a:pt x="276" y="213"/>
                  </a:lnTo>
                  <a:lnTo>
                    <a:pt x="277" y="212"/>
                  </a:lnTo>
                  <a:lnTo>
                    <a:pt x="276" y="212"/>
                  </a:lnTo>
                  <a:lnTo>
                    <a:pt x="276" y="211"/>
                  </a:lnTo>
                  <a:lnTo>
                    <a:pt x="277" y="211"/>
                  </a:lnTo>
                  <a:lnTo>
                    <a:pt x="280" y="210"/>
                  </a:lnTo>
                  <a:lnTo>
                    <a:pt x="279" y="208"/>
                  </a:lnTo>
                  <a:lnTo>
                    <a:pt x="277" y="208"/>
                  </a:lnTo>
                  <a:lnTo>
                    <a:pt x="279" y="207"/>
                  </a:lnTo>
                  <a:lnTo>
                    <a:pt x="279" y="206"/>
                  </a:lnTo>
                  <a:lnTo>
                    <a:pt x="280" y="205"/>
                  </a:lnTo>
                  <a:lnTo>
                    <a:pt x="279" y="205"/>
                  </a:lnTo>
                  <a:lnTo>
                    <a:pt x="279" y="204"/>
                  </a:lnTo>
                  <a:lnTo>
                    <a:pt x="279" y="205"/>
                  </a:lnTo>
                  <a:lnTo>
                    <a:pt x="277" y="204"/>
                  </a:lnTo>
                  <a:lnTo>
                    <a:pt x="276" y="204"/>
                  </a:lnTo>
                  <a:lnTo>
                    <a:pt x="275" y="204"/>
                  </a:lnTo>
                  <a:lnTo>
                    <a:pt x="275" y="202"/>
                  </a:lnTo>
                  <a:lnTo>
                    <a:pt x="276" y="204"/>
                  </a:lnTo>
                  <a:lnTo>
                    <a:pt x="276" y="202"/>
                  </a:lnTo>
                  <a:lnTo>
                    <a:pt x="277" y="202"/>
                  </a:lnTo>
                  <a:lnTo>
                    <a:pt x="279" y="201"/>
                  </a:lnTo>
                  <a:lnTo>
                    <a:pt x="277" y="200"/>
                  </a:lnTo>
                  <a:lnTo>
                    <a:pt x="276" y="200"/>
                  </a:lnTo>
                  <a:lnTo>
                    <a:pt x="274" y="200"/>
                  </a:lnTo>
                  <a:lnTo>
                    <a:pt x="275" y="199"/>
                  </a:lnTo>
                  <a:lnTo>
                    <a:pt x="275" y="198"/>
                  </a:lnTo>
                  <a:lnTo>
                    <a:pt x="274" y="199"/>
                  </a:lnTo>
                  <a:lnTo>
                    <a:pt x="273" y="199"/>
                  </a:lnTo>
                  <a:lnTo>
                    <a:pt x="271" y="196"/>
                  </a:lnTo>
                  <a:lnTo>
                    <a:pt x="271" y="195"/>
                  </a:lnTo>
                  <a:lnTo>
                    <a:pt x="270" y="194"/>
                  </a:lnTo>
                  <a:lnTo>
                    <a:pt x="269" y="195"/>
                  </a:lnTo>
                  <a:lnTo>
                    <a:pt x="269" y="193"/>
                  </a:lnTo>
                  <a:lnTo>
                    <a:pt x="270" y="192"/>
                  </a:lnTo>
                  <a:lnTo>
                    <a:pt x="270" y="190"/>
                  </a:lnTo>
                  <a:lnTo>
                    <a:pt x="269" y="189"/>
                  </a:lnTo>
                  <a:lnTo>
                    <a:pt x="269" y="190"/>
                  </a:lnTo>
                  <a:lnTo>
                    <a:pt x="268" y="190"/>
                  </a:lnTo>
                  <a:lnTo>
                    <a:pt x="267" y="189"/>
                  </a:lnTo>
                  <a:lnTo>
                    <a:pt x="265" y="188"/>
                  </a:lnTo>
                  <a:lnTo>
                    <a:pt x="264" y="188"/>
                  </a:lnTo>
                  <a:lnTo>
                    <a:pt x="263" y="188"/>
                  </a:lnTo>
                  <a:lnTo>
                    <a:pt x="263" y="187"/>
                  </a:lnTo>
                  <a:lnTo>
                    <a:pt x="264" y="186"/>
                  </a:lnTo>
                  <a:lnTo>
                    <a:pt x="264" y="184"/>
                  </a:lnTo>
                  <a:lnTo>
                    <a:pt x="263" y="184"/>
                  </a:lnTo>
                  <a:lnTo>
                    <a:pt x="262" y="184"/>
                  </a:lnTo>
                  <a:lnTo>
                    <a:pt x="262" y="186"/>
                  </a:lnTo>
                  <a:lnTo>
                    <a:pt x="262" y="184"/>
                  </a:lnTo>
                  <a:lnTo>
                    <a:pt x="260" y="184"/>
                  </a:lnTo>
                  <a:lnTo>
                    <a:pt x="259" y="184"/>
                  </a:lnTo>
                  <a:lnTo>
                    <a:pt x="258" y="184"/>
                  </a:lnTo>
                  <a:lnTo>
                    <a:pt x="258" y="186"/>
                  </a:lnTo>
                  <a:lnTo>
                    <a:pt x="258" y="184"/>
                  </a:lnTo>
                  <a:lnTo>
                    <a:pt x="257" y="184"/>
                  </a:lnTo>
                  <a:lnTo>
                    <a:pt x="257" y="183"/>
                  </a:lnTo>
                  <a:lnTo>
                    <a:pt x="256" y="183"/>
                  </a:lnTo>
                  <a:lnTo>
                    <a:pt x="256" y="182"/>
                  </a:lnTo>
                  <a:lnTo>
                    <a:pt x="257" y="182"/>
                  </a:lnTo>
                  <a:lnTo>
                    <a:pt x="257" y="181"/>
                  </a:lnTo>
                  <a:lnTo>
                    <a:pt x="256" y="181"/>
                  </a:lnTo>
                  <a:lnTo>
                    <a:pt x="256" y="180"/>
                  </a:lnTo>
                  <a:lnTo>
                    <a:pt x="254" y="180"/>
                  </a:lnTo>
                  <a:lnTo>
                    <a:pt x="254" y="178"/>
                  </a:lnTo>
                  <a:lnTo>
                    <a:pt x="253" y="177"/>
                  </a:lnTo>
                  <a:lnTo>
                    <a:pt x="252" y="176"/>
                  </a:lnTo>
                  <a:lnTo>
                    <a:pt x="252" y="175"/>
                  </a:lnTo>
                  <a:lnTo>
                    <a:pt x="251" y="175"/>
                  </a:lnTo>
                  <a:lnTo>
                    <a:pt x="250" y="174"/>
                  </a:lnTo>
                  <a:lnTo>
                    <a:pt x="251" y="174"/>
                  </a:lnTo>
                  <a:lnTo>
                    <a:pt x="251" y="172"/>
                  </a:lnTo>
                  <a:lnTo>
                    <a:pt x="252" y="172"/>
                  </a:lnTo>
                  <a:lnTo>
                    <a:pt x="252" y="171"/>
                  </a:lnTo>
                  <a:lnTo>
                    <a:pt x="251" y="170"/>
                  </a:lnTo>
                  <a:lnTo>
                    <a:pt x="252" y="170"/>
                  </a:lnTo>
                  <a:lnTo>
                    <a:pt x="253" y="170"/>
                  </a:lnTo>
                  <a:lnTo>
                    <a:pt x="253" y="169"/>
                  </a:lnTo>
                  <a:lnTo>
                    <a:pt x="254" y="169"/>
                  </a:lnTo>
                  <a:lnTo>
                    <a:pt x="256" y="169"/>
                  </a:lnTo>
                  <a:lnTo>
                    <a:pt x="256" y="168"/>
                  </a:lnTo>
                  <a:lnTo>
                    <a:pt x="256" y="166"/>
                  </a:lnTo>
                  <a:lnTo>
                    <a:pt x="257" y="166"/>
                  </a:lnTo>
                  <a:lnTo>
                    <a:pt x="258" y="166"/>
                  </a:lnTo>
                  <a:lnTo>
                    <a:pt x="259" y="166"/>
                  </a:lnTo>
                  <a:lnTo>
                    <a:pt x="259" y="165"/>
                  </a:lnTo>
                  <a:lnTo>
                    <a:pt x="259" y="164"/>
                  </a:lnTo>
                  <a:lnTo>
                    <a:pt x="258" y="164"/>
                  </a:lnTo>
                  <a:lnTo>
                    <a:pt x="259" y="164"/>
                  </a:lnTo>
                  <a:lnTo>
                    <a:pt x="260" y="164"/>
                  </a:lnTo>
                  <a:lnTo>
                    <a:pt x="260" y="165"/>
                  </a:lnTo>
                  <a:lnTo>
                    <a:pt x="260" y="166"/>
                  </a:lnTo>
                  <a:lnTo>
                    <a:pt x="262" y="166"/>
                  </a:lnTo>
                  <a:lnTo>
                    <a:pt x="260" y="166"/>
                  </a:lnTo>
                  <a:lnTo>
                    <a:pt x="260" y="168"/>
                  </a:lnTo>
                  <a:lnTo>
                    <a:pt x="262" y="168"/>
                  </a:lnTo>
                  <a:lnTo>
                    <a:pt x="262" y="169"/>
                  </a:lnTo>
                  <a:lnTo>
                    <a:pt x="263" y="170"/>
                  </a:lnTo>
                  <a:lnTo>
                    <a:pt x="264" y="170"/>
                  </a:lnTo>
                  <a:lnTo>
                    <a:pt x="265" y="170"/>
                  </a:lnTo>
                  <a:lnTo>
                    <a:pt x="267" y="170"/>
                  </a:lnTo>
                  <a:lnTo>
                    <a:pt x="267" y="171"/>
                  </a:lnTo>
                  <a:lnTo>
                    <a:pt x="268" y="172"/>
                  </a:lnTo>
                  <a:lnTo>
                    <a:pt x="268" y="171"/>
                  </a:lnTo>
                  <a:lnTo>
                    <a:pt x="268" y="172"/>
                  </a:lnTo>
                  <a:lnTo>
                    <a:pt x="269" y="172"/>
                  </a:lnTo>
                  <a:lnTo>
                    <a:pt x="270" y="172"/>
                  </a:lnTo>
                  <a:lnTo>
                    <a:pt x="271" y="174"/>
                  </a:lnTo>
                  <a:lnTo>
                    <a:pt x="274" y="175"/>
                  </a:lnTo>
                  <a:lnTo>
                    <a:pt x="275" y="175"/>
                  </a:lnTo>
                  <a:lnTo>
                    <a:pt x="276" y="175"/>
                  </a:lnTo>
                  <a:lnTo>
                    <a:pt x="277" y="175"/>
                  </a:lnTo>
                  <a:lnTo>
                    <a:pt x="279" y="175"/>
                  </a:lnTo>
                  <a:lnTo>
                    <a:pt x="280" y="175"/>
                  </a:lnTo>
                  <a:lnTo>
                    <a:pt x="281" y="175"/>
                  </a:lnTo>
                  <a:lnTo>
                    <a:pt x="281" y="174"/>
                  </a:lnTo>
                  <a:lnTo>
                    <a:pt x="282" y="172"/>
                  </a:lnTo>
                  <a:lnTo>
                    <a:pt x="283" y="172"/>
                  </a:lnTo>
                  <a:lnTo>
                    <a:pt x="285" y="171"/>
                  </a:lnTo>
                  <a:lnTo>
                    <a:pt x="286" y="171"/>
                  </a:lnTo>
                  <a:lnTo>
                    <a:pt x="287" y="171"/>
                  </a:lnTo>
                  <a:lnTo>
                    <a:pt x="288" y="171"/>
                  </a:lnTo>
                  <a:lnTo>
                    <a:pt x="287" y="170"/>
                  </a:lnTo>
                  <a:lnTo>
                    <a:pt x="288" y="169"/>
                  </a:lnTo>
                  <a:lnTo>
                    <a:pt x="289" y="169"/>
                  </a:lnTo>
                  <a:lnTo>
                    <a:pt x="291" y="169"/>
                  </a:lnTo>
                  <a:lnTo>
                    <a:pt x="292" y="169"/>
                  </a:lnTo>
                  <a:lnTo>
                    <a:pt x="292" y="168"/>
                  </a:lnTo>
                  <a:lnTo>
                    <a:pt x="293" y="168"/>
                  </a:lnTo>
                  <a:lnTo>
                    <a:pt x="293" y="166"/>
                  </a:lnTo>
                  <a:lnTo>
                    <a:pt x="294" y="166"/>
                  </a:lnTo>
                  <a:lnTo>
                    <a:pt x="294" y="165"/>
                  </a:lnTo>
                  <a:lnTo>
                    <a:pt x="293" y="165"/>
                  </a:lnTo>
                  <a:lnTo>
                    <a:pt x="293" y="164"/>
                  </a:lnTo>
                  <a:lnTo>
                    <a:pt x="293" y="163"/>
                  </a:lnTo>
                  <a:lnTo>
                    <a:pt x="294" y="163"/>
                  </a:lnTo>
                  <a:lnTo>
                    <a:pt x="293" y="162"/>
                  </a:lnTo>
                  <a:lnTo>
                    <a:pt x="292" y="162"/>
                  </a:lnTo>
                  <a:lnTo>
                    <a:pt x="293" y="162"/>
                  </a:lnTo>
                  <a:lnTo>
                    <a:pt x="294" y="162"/>
                  </a:lnTo>
                  <a:lnTo>
                    <a:pt x="295" y="163"/>
                  </a:lnTo>
                  <a:lnTo>
                    <a:pt x="295" y="164"/>
                  </a:lnTo>
                  <a:lnTo>
                    <a:pt x="297" y="164"/>
                  </a:lnTo>
                  <a:lnTo>
                    <a:pt x="298" y="164"/>
                  </a:lnTo>
                  <a:lnTo>
                    <a:pt x="299" y="164"/>
                  </a:lnTo>
                  <a:lnTo>
                    <a:pt x="300" y="164"/>
                  </a:lnTo>
                  <a:lnTo>
                    <a:pt x="301" y="164"/>
                  </a:lnTo>
                  <a:lnTo>
                    <a:pt x="303" y="162"/>
                  </a:lnTo>
                  <a:lnTo>
                    <a:pt x="303" y="160"/>
                  </a:lnTo>
                  <a:lnTo>
                    <a:pt x="305" y="158"/>
                  </a:lnTo>
                  <a:lnTo>
                    <a:pt x="304" y="158"/>
                  </a:lnTo>
                  <a:lnTo>
                    <a:pt x="305" y="157"/>
                  </a:lnTo>
                  <a:lnTo>
                    <a:pt x="305" y="154"/>
                  </a:lnTo>
                  <a:lnTo>
                    <a:pt x="304" y="154"/>
                  </a:lnTo>
                  <a:lnTo>
                    <a:pt x="303" y="1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6" name="Freeform 69"/>
            <p:cNvSpPr>
              <a:spLocks/>
            </p:cNvSpPr>
            <p:nvPr userDrawn="1"/>
          </p:nvSpPr>
          <p:spPr bwMode="auto">
            <a:xfrm>
              <a:off x="5962650" y="6515101"/>
              <a:ext cx="2976563" cy="144463"/>
            </a:xfrm>
            <a:custGeom>
              <a:avLst/>
              <a:gdLst/>
              <a:ahLst/>
              <a:cxnLst>
                <a:cxn ang="0">
                  <a:pos x="25" y="436"/>
                </a:cxn>
                <a:cxn ang="0">
                  <a:pos x="154" y="358"/>
                </a:cxn>
                <a:cxn ang="0">
                  <a:pos x="302" y="286"/>
                </a:cxn>
                <a:cxn ang="0">
                  <a:pos x="395" y="246"/>
                </a:cxn>
                <a:cxn ang="0">
                  <a:pos x="556" y="188"/>
                </a:cxn>
                <a:cxn ang="0">
                  <a:pos x="680" y="150"/>
                </a:cxn>
                <a:cxn ang="0">
                  <a:pos x="888" y="99"/>
                </a:cxn>
                <a:cxn ang="0">
                  <a:pos x="1042" y="71"/>
                </a:cxn>
                <a:cxn ang="0">
                  <a:pos x="1208" y="47"/>
                </a:cxn>
                <a:cxn ang="0">
                  <a:pos x="1387" y="30"/>
                </a:cxn>
                <a:cxn ang="0">
                  <a:pos x="1577" y="21"/>
                </a:cxn>
                <a:cxn ang="0">
                  <a:pos x="2005" y="19"/>
                </a:cxn>
                <a:cxn ang="0">
                  <a:pos x="2476" y="27"/>
                </a:cxn>
                <a:cxn ang="0">
                  <a:pos x="2960" y="44"/>
                </a:cxn>
                <a:cxn ang="0">
                  <a:pos x="3842" y="86"/>
                </a:cxn>
                <a:cxn ang="0">
                  <a:pos x="4485" y="126"/>
                </a:cxn>
                <a:cxn ang="0">
                  <a:pos x="4908" y="114"/>
                </a:cxn>
                <a:cxn ang="0">
                  <a:pos x="5281" y="99"/>
                </a:cxn>
                <a:cxn ang="0">
                  <a:pos x="5621" y="78"/>
                </a:cxn>
                <a:cxn ang="0">
                  <a:pos x="6421" y="17"/>
                </a:cxn>
                <a:cxn ang="0">
                  <a:pos x="6840" y="0"/>
                </a:cxn>
                <a:cxn ang="0">
                  <a:pos x="7011" y="1"/>
                </a:cxn>
                <a:cxn ang="0">
                  <a:pos x="7112" y="8"/>
                </a:cxn>
                <a:cxn ang="0">
                  <a:pos x="7541" y="77"/>
                </a:cxn>
                <a:cxn ang="0">
                  <a:pos x="8314" y="210"/>
                </a:cxn>
                <a:cxn ang="0">
                  <a:pos x="8947" y="326"/>
                </a:cxn>
                <a:cxn ang="0">
                  <a:pos x="9373" y="407"/>
                </a:cxn>
                <a:cxn ang="0">
                  <a:pos x="8201" y="412"/>
                </a:cxn>
                <a:cxn ang="0">
                  <a:pos x="7029" y="418"/>
                </a:cxn>
                <a:cxn ang="0">
                  <a:pos x="5858" y="424"/>
                </a:cxn>
                <a:cxn ang="0">
                  <a:pos x="4686" y="430"/>
                </a:cxn>
                <a:cxn ang="0">
                  <a:pos x="3515" y="435"/>
                </a:cxn>
                <a:cxn ang="0">
                  <a:pos x="2343" y="441"/>
                </a:cxn>
                <a:cxn ang="0">
                  <a:pos x="1172" y="447"/>
                </a:cxn>
                <a:cxn ang="0">
                  <a:pos x="0" y="453"/>
                </a:cxn>
              </a:cxnLst>
              <a:rect l="0" t="0" r="r" b="b"/>
              <a:pathLst>
                <a:path w="9373" h="453">
                  <a:moveTo>
                    <a:pt x="0" y="453"/>
                  </a:moveTo>
                  <a:lnTo>
                    <a:pt x="25" y="436"/>
                  </a:lnTo>
                  <a:lnTo>
                    <a:pt x="99" y="389"/>
                  </a:lnTo>
                  <a:lnTo>
                    <a:pt x="154" y="358"/>
                  </a:lnTo>
                  <a:lnTo>
                    <a:pt x="223" y="323"/>
                  </a:lnTo>
                  <a:lnTo>
                    <a:pt x="302" y="286"/>
                  </a:lnTo>
                  <a:lnTo>
                    <a:pt x="347" y="267"/>
                  </a:lnTo>
                  <a:lnTo>
                    <a:pt x="395" y="246"/>
                  </a:lnTo>
                  <a:lnTo>
                    <a:pt x="500" y="208"/>
                  </a:lnTo>
                  <a:lnTo>
                    <a:pt x="556" y="188"/>
                  </a:lnTo>
                  <a:lnTo>
                    <a:pt x="617" y="169"/>
                  </a:lnTo>
                  <a:lnTo>
                    <a:pt x="680" y="150"/>
                  </a:lnTo>
                  <a:lnTo>
                    <a:pt x="747" y="132"/>
                  </a:lnTo>
                  <a:lnTo>
                    <a:pt x="888" y="99"/>
                  </a:lnTo>
                  <a:lnTo>
                    <a:pt x="963" y="84"/>
                  </a:lnTo>
                  <a:lnTo>
                    <a:pt x="1042" y="71"/>
                  </a:lnTo>
                  <a:lnTo>
                    <a:pt x="1124" y="57"/>
                  </a:lnTo>
                  <a:lnTo>
                    <a:pt x="1208" y="47"/>
                  </a:lnTo>
                  <a:lnTo>
                    <a:pt x="1296" y="38"/>
                  </a:lnTo>
                  <a:lnTo>
                    <a:pt x="1387" y="30"/>
                  </a:lnTo>
                  <a:lnTo>
                    <a:pt x="1481" y="25"/>
                  </a:lnTo>
                  <a:lnTo>
                    <a:pt x="1577" y="21"/>
                  </a:lnTo>
                  <a:lnTo>
                    <a:pt x="1783" y="19"/>
                  </a:lnTo>
                  <a:lnTo>
                    <a:pt x="2005" y="19"/>
                  </a:lnTo>
                  <a:lnTo>
                    <a:pt x="2236" y="23"/>
                  </a:lnTo>
                  <a:lnTo>
                    <a:pt x="2476" y="27"/>
                  </a:lnTo>
                  <a:lnTo>
                    <a:pt x="2718" y="35"/>
                  </a:lnTo>
                  <a:lnTo>
                    <a:pt x="2960" y="44"/>
                  </a:lnTo>
                  <a:lnTo>
                    <a:pt x="3426" y="65"/>
                  </a:lnTo>
                  <a:lnTo>
                    <a:pt x="3842" y="86"/>
                  </a:lnTo>
                  <a:lnTo>
                    <a:pt x="4178" y="107"/>
                  </a:lnTo>
                  <a:lnTo>
                    <a:pt x="4485" y="126"/>
                  </a:lnTo>
                  <a:lnTo>
                    <a:pt x="4608" y="124"/>
                  </a:lnTo>
                  <a:lnTo>
                    <a:pt x="4908" y="114"/>
                  </a:lnTo>
                  <a:lnTo>
                    <a:pt x="5092" y="108"/>
                  </a:lnTo>
                  <a:lnTo>
                    <a:pt x="5281" y="99"/>
                  </a:lnTo>
                  <a:lnTo>
                    <a:pt x="5462" y="89"/>
                  </a:lnTo>
                  <a:lnTo>
                    <a:pt x="5621" y="78"/>
                  </a:lnTo>
                  <a:lnTo>
                    <a:pt x="5982" y="47"/>
                  </a:lnTo>
                  <a:lnTo>
                    <a:pt x="6421" y="17"/>
                  </a:lnTo>
                  <a:lnTo>
                    <a:pt x="6639" y="5"/>
                  </a:lnTo>
                  <a:lnTo>
                    <a:pt x="6840" y="0"/>
                  </a:lnTo>
                  <a:lnTo>
                    <a:pt x="6929" y="0"/>
                  </a:lnTo>
                  <a:lnTo>
                    <a:pt x="7011" y="1"/>
                  </a:lnTo>
                  <a:lnTo>
                    <a:pt x="7081" y="6"/>
                  </a:lnTo>
                  <a:lnTo>
                    <a:pt x="7112" y="8"/>
                  </a:lnTo>
                  <a:lnTo>
                    <a:pt x="7140" y="12"/>
                  </a:lnTo>
                  <a:lnTo>
                    <a:pt x="7541" y="77"/>
                  </a:lnTo>
                  <a:lnTo>
                    <a:pt x="7937" y="144"/>
                  </a:lnTo>
                  <a:lnTo>
                    <a:pt x="8314" y="210"/>
                  </a:lnTo>
                  <a:lnTo>
                    <a:pt x="8656" y="271"/>
                  </a:lnTo>
                  <a:lnTo>
                    <a:pt x="8947" y="326"/>
                  </a:lnTo>
                  <a:lnTo>
                    <a:pt x="9175" y="369"/>
                  </a:lnTo>
                  <a:lnTo>
                    <a:pt x="9373" y="407"/>
                  </a:lnTo>
                  <a:lnTo>
                    <a:pt x="8787" y="410"/>
                  </a:lnTo>
                  <a:lnTo>
                    <a:pt x="8201" y="412"/>
                  </a:lnTo>
                  <a:lnTo>
                    <a:pt x="7614" y="414"/>
                  </a:lnTo>
                  <a:lnTo>
                    <a:pt x="7029" y="418"/>
                  </a:lnTo>
                  <a:lnTo>
                    <a:pt x="6443" y="420"/>
                  </a:lnTo>
                  <a:lnTo>
                    <a:pt x="5858" y="424"/>
                  </a:lnTo>
                  <a:lnTo>
                    <a:pt x="5271" y="426"/>
                  </a:lnTo>
                  <a:lnTo>
                    <a:pt x="4686" y="430"/>
                  </a:lnTo>
                  <a:lnTo>
                    <a:pt x="4100" y="433"/>
                  </a:lnTo>
                  <a:lnTo>
                    <a:pt x="3515" y="435"/>
                  </a:lnTo>
                  <a:lnTo>
                    <a:pt x="2928" y="437"/>
                  </a:lnTo>
                  <a:lnTo>
                    <a:pt x="2343" y="441"/>
                  </a:lnTo>
                  <a:lnTo>
                    <a:pt x="1757" y="443"/>
                  </a:lnTo>
                  <a:lnTo>
                    <a:pt x="1172" y="447"/>
                  </a:lnTo>
                  <a:lnTo>
                    <a:pt x="585" y="449"/>
                  </a:lnTo>
                  <a:lnTo>
                    <a:pt x="0" y="45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7" name="Freeform 70"/>
            <p:cNvSpPr>
              <a:spLocks/>
            </p:cNvSpPr>
            <p:nvPr userDrawn="1"/>
          </p:nvSpPr>
          <p:spPr bwMode="auto">
            <a:xfrm>
              <a:off x="6608763" y="6438901"/>
              <a:ext cx="2020888" cy="225425"/>
            </a:xfrm>
            <a:custGeom>
              <a:avLst/>
              <a:gdLst/>
              <a:ahLst/>
              <a:cxnLst>
                <a:cxn ang="0">
                  <a:pos x="53" y="521"/>
                </a:cxn>
                <a:cxn ang="0">
                  <a:pos x="115" y="517"/>
                </a:cxn>
                <a:cxn ang="0">
                  <a:pos x="205" y="489"/>
                </a:cxn>
                <a:cxn ang="0">
                  <a:pos x="323" y="427"/>
                </a:cxn>
                <a:cxn ang="0">
                  <a:pos x="416" y="380"/>
                </a:cxn>
                <a:cxn ang="0">
                  <a:pos x="480" y="354"/>
                </a:cxn>
                <a:cxn ang="0">
                  <a:pos x="554" y="337"/>
                </a:cxn>
                <a:cxn ang="0">
                  <a:pos x="673" y="330"/>
                </a:cxn>
                <a:cxn ang="0">
                  <a:pos x="923" y="330"/>
                </a:cxn>
                <a:cxn ang="0">
                  <a:pos x="1322" y="341"/>
                </a:cxn>
                <a:cxn ang="0">
                  <a:pos x="1705" y="346"/>
                </a:cxn>
                <a:cxn ang="0">
                  <a:pos x="1948" y="330"/>
                </a:cxn>
                <a:cxn ang="0">
                  <a:pos x="2194" y="296"/>
                </a:cxn>
                <a:cxn ang="0">
                  <a:pos x="3062" y="160"/>
                </a:cxn>
                <a:cxn ang="0">
                  <a:pos x="3779" y="52"/>
                </a:cxn>
                <a:cxn ang="0">
                  <a:pos x="4065" y="16"/>
                </a:cxn>
                <a:cxn ang="0">
                  <a:pos x="4267" y="0"/>
                </a:cxn>
                <a:cxn ang="0">
                  <a:pos x="4399" y="9"/>
                </a:cxn>
                <a:cxn ang="0">
                  <a:pos x="4573" y="35"/>
                </a:cxn>
                <a:cxn ang="0">
                  <a:pos x="4854" y="89"/>
                </a:cxn>
                <a:cxn ang="0">
                  <a:pos x="5322" y="193"/>
                </a:cxn>
                <a:cxn ang="0">
                  <a:pos x="6010" y="349"/>
                </a:cxn>
                <a:cxn ang="0">
                  <a:pos x="6141" y="372"/>
                </a:cxn>
                <a:cxn ang="0">
                  <a:pos x="6197" y="378"/>
                </a:cxn>
                <a:cxn ang="0">
                  <a:pos x="6283" y="374"/>
                </a:cxn>
                <a:cxn ang="0">
                  <a:pos x="6327" y="379"/>
                </a:cxn>
                <a:cxn ang="0">
                  <a:pos x="6354" y="392"/>
                </a:cxn>
                <a:cxn ang="0">
                  <a:pos x="6365" y="412"/>
                </a:cxn>
                <a:cxn ang="0">
                  <a:pos x="6360" y="436"/>
                </a:cxn>
                <a:cxn ang="0">
                  <a:pos x="6344" y="463"/>
                </a:cxn>
                <a:cxn ang="0">
                  <a:pos x="6287" y="526"/>
                </a:cxn>
                <a:cxn ang="0">
                  <a:pos x="6211" y="591"/>
                </a:cxn>
                <a:cxn ang="0">
                  <a:pos x="6048" y="706"/>
                </a:cxn>
                <a:cxn ang="0">
                  <a:pos x="4390" y="691"/>
                </a:cxn>
                <a:cxn ang="0">
                  <a:pos x="2732" y="676"/>
                </a:cxn>
                <a:cxn ang="0">
                  <a:pos x="1739" y="680"/>
                </a:cxn>
                <a:cxn ang="0">
                  <a:pos x="747" y="685"/>
                </a:cxn>
                <a:cxn ang="0">
                  <a:pos x="62" y="529"/>
                </a:cxn>
                <a:cxn ang="0">
                  <a:pos x="0" y="513"/>
                </a:cxn>
              </a:cxnLst>
              <a:rect l="0" t="0" r="r" b="b"/>
              <a:pathLst>
                <a:path w="6365" h="706">
                  <a:moveTo>
                    <a:pt x="21" y="516"/>
                  </a:moveTo>
                  <a:lnTo>
                    <a:pt x="53" y="521"/>
                  </a:lnTo>
                  <a:lnTo>
                    <a:pt x="85" y="521"/>
                  </a:lnTo>
                  <a:lnTo>
                    <a:pt x="115" y="517"/>
                  </a:lnTo>
                  <a:lnTo>
                    <a:pt x="145" y="510"/>
                  </a:lnTo>
                  <a:lnTo>
                    <a:pt x="205" y="489"/>
                  </a:lnTo>
                  <a:lnTo>
                    <a:pt x="264" y="460"/>
                  </a:lnTo>
                  <a:lnTo>
                    <a:pt x="323" y="427"/>
                  </a:lnTo>
                  <a:lnTo>
                    <a:pt x="384" y="395"/>
                  </a:lnTo>
                  <a:lnTo>
                    <a:pt x="416" y="380"/>
                  </a:lnTo>
                  <a:lnTo>
                    <a:pt x="447" y="366"/>
                  </a:lnTo>
                  <a:lnTo>
                    <a:pt x="480" y="354"/>
                  </a:lnTo>
                  <a:lnTo>
                    <a:pt x="513" y="344"/>
                  </a:lnTo>
                  <a:lnTo>
                    <a:pt x="554" y="337"/>
                  </a:lnTo>
                  <a:lnTo>
                    <a:pt x="608" y="332"/>
                  </a:lnTo>
                  <a:lnTo>
                    <a:pt x="673" y="330"/>
                  </a:lnTo>
                  <a:lnTo>
                    <a:pt x="749" y="329"/>
                  </a:lnTo>
                  <a:lnTo>
                    <a:pt x="923" y="330"/>
                  </a:lnTo>
                  <a:lnTo>
                    <a:pt x="1118" y="336"/>
                  </a:lnTo>
                  <a:lnTo>
                    <a:pt x="1322" y="341"/>
                  </a:lnTo>
                  <a:lnTo>
                    <a:pt x="1522" y="346"/>
                  </a:lnTo>
                  <a:lnTo>
                    <a:pt x="1705" y="346"/>
                  </a:lnTo>
                  <a:lnTo>
                    <a:pt x="1861" y="338"/>
                  </a:lnTo>
                  <a:lnTo>
                    <a:pt x="1948" y="330"/>
                  </a:lnTo>
                  <a:lnTo>
                    <a:pt x="2060" y="315"/>
                  </a:lnTo>
                  <a:lnTo>
                    <a:pt x="2194" y="296"/>
                  </a:lnTo>
                  <a:lnTo>
                    <a:pt x="2347" y="273"/>
                  </a:lnTo>
                  <a:lnTo>
                    <a:pt x="3062" y="160"/>
                  </a:lnTo>
                  <a:lnTo>
                    <a:pt x="3434" y="103"/>
                  </a:lnTo>
                  <a:lnTo>
                    <a:pt x="3779" y="52"/>
                  </a:lnTo>
                  <a:lnTo>
                    <a:pt x="3930" y="32"/>
                  </a:lnTo>
                  <a:lnTo>
                    <a:pt x="4065" y="16"/>
                  </a:lnTo>
                  <a:lnTo>
                    <a:pt x="4180" y="5"/>
                  </a:lnTo>
                  <a:lnTo>
                    <a:pt x="4267" y="0"/>
                  </a:lnTo>
                  <a:lnTo>
                    <a:pt x="4349" y="4"/>
                  </a:lnTo>
                  <a:lnTo>
                    <a:pt x="4399" y="9"/>
                  </a:lnTo>
                  <a:lnTo>
                    <a:pt x="4452" y="16"/>
                  </a:lnTo>
                  <a:lnTo>
                    <a:pt x="4573" y="35"/>
                  </a:lnTo>
                  <a:lnTo>
                    <a:pt x="4708" y="59"/>
                  </a:lnTo>
                  <a:lnTo>
                    <a:pt x="4854" y="89"/>
                  </a:lnTo>
                  <a:lnTo>
                    <a:pt x="5007" y="122"/>
                  </a:lnTo>
                  <a:lnTo>
                    <a:pt x="5322" y="193"/>
                  </a:lnTo>
                  <a:lnTo>
                    <a:pt x="5898" y="325"/>
                  </a:lnTo>
                  <a:lnTo>
                    <a:pt x="6010" y="349"/>
                  </a:lnTo>
                  <a:lnTo>
                    <a:pt x="6102" y="366"/>
                  </a:lnTo>
                  <a:lnTo>
                    <a:pt x="6141" y="372"/>
                  </a:lnTo>
                  <a:lnTo>
                    <a:pt x="6172" y="376"/>
                  </a:lnTo>
                  <a:lnTo>
                    <a:pt x="6197" y="378"/>
                  </a:lnTo>
                  <a:lnTo>
                    <a:pt x="6217" y="378"/>
                  </a:lnTo>
                  <a:lnTo>
                    <a:pt x="6283" y="374"/>
                  </a:lnTo>
                  <a:lnTo>
                    <a:pt x="6307" y="376"/>
                  </a:lnTo>
                  <a:lnTo>
                    <a:pt x="6327" y="379"/>
                  </a:lnTo>
                  <a:lnTo>
                    <a:pt x="6343" y="385"/>
                  </a:lnTo>
                  <a:lnTo>
                    <a:pt x="6354" y="392"/>
                  </a:lnTo>
                  <a:lnTo>
                    <a:pt x="6361" y="401"/>
                  </a:lnTo>
                  <a:lnTo>
                    <a:pt x="6365" y="412"/>
                  </a:lnTo>
                  <a:lnTo>
                    <a:pt x="6364" y="422"/>
                  </a:lnTo>
                  <a:lnTo>
                    <a:pt x="6360" y="436"/>
                  </a:lnTo>
                  <a:lnTo>
                    <a:pt x="6354" y="449"/>
                  </a:lnTo>
                  <a:lnTo>
                    <a:pt x="6344" y="463"/>
                  </a:lnTo>
                  <a:lnTo>
                    <a:pt x="6319" y="493"/>
                  </a:lnTo>
                  <a:lnTo>
                    <a:pt x="6287" y="526"/>
                  </a:lnTo>
                  <a:lnTo>
                    <a:pt x="6250" y="559"/>
                  </a:lnTo>
                  <a:lnTo>
                    <a:pt x="6211" y="591"/>
                  </a:lnTo>
                  <a:lnTo>
                    <a:pt x="6132" y="648"/>
                  </a:lnTo>
                  <a:lnTo>
                    <a:pt x="6048" y="706"/>
                  </a:lnTo>
                  <a:lnTo>
                    <a:pt x="5219" y="698"/>
                  </a:lnTo>
                  <a:lnTo>
                    <a:pt x="4390" y="691"/>
                  </a:lnTo>
                  <a:lnTo>
                    <a:pt x="3561" y="683"/>
                  </a:lnTo>
                  <a:lnTo>
                    <a:pt x="2732" y="676"/>
                  </a:lnTo>
                  <a:lnTo>
                    <a:pt x="2235" y="677"/>
                  </a:lnTo>
                  <a:lnTo>
                    <a:pt x="1739" y="680"/>
                  </a:lnTo>
                  <a:lnTo>
                    <a:pt x="1243" y="682"/>
                  </a:lnTo>
                  <a:lnTo>
                    <a:pt x="747" y="685"/>
                  </a:lnTo>
                  <a:lnTo>
                    <a:pt x="319" y="588"/>
                  </a:lnTo>
                  <a:lnTo>
                    <a:pt x="62" y="529"/>
                  </a:lnTo>
                  <a:lnTo>
                    <a:pt x="3" y="515"/>
                  </a:lnTo>
                  <a:lnTo>
                    <a:pt x="0" y="513"/>
                  </a:lnTo>
                  <a:lnTo>
                    <a:pt x="21" y="5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8" name="Freeform 71"/>
            <p:cNvSpPr>
              <a:spLocks/>
            </p:cNvSpPr>
            <p:nvPr userDrawn="1"/>
          </p:nvSpPr>
          <p:spPr bwMode="auto">
            <a:xfrm>
              <a:off x="6940550" y="6437313"/>
              <a:ext cx="165100" cy="203200"/>
            </a:xfrm>
            <a:custGeom>
              <a:avLst/>
              <a:gdLst/>
              <a:ahLst/>
              <a:cxnLst>
                <a:cxn ang="0">
                  <a:pos x="243" y="410"/>
                </a:cxn>
                <a:cxn ang="0">
                  <a:pos x="230" y="392"/>
                </a:cxn>
                <a:cxn ang="0">
                  <a:pos x="227" y="366"/>
                </a:cxn>
                <a:cxn ang="0">
                  <a:pos x="248" y="352"/>
                </a:cxn>
                <a:cxn ang="0">
                  <a:pos x="206" y="384"/>
                </a:cxn>
                <a:cxn ang="0">
                  <a:pos x="225" y="430"/>
                </a:cxn>
                <a:cxn ang="0">
                  <a:pos x="215" y="404"/>
                </a:cxn>
                <a:cxn ang="0">
                  <a:pos x="186" y="412"/>
                </a:cxn>
                <a:cxn ang="0">
                  <a:pos x="157" y="408"/>
                </a:cxn>
                <a:cxn ang="0">
                  <a:pos x="132" y="397"/>
                </a:cxn>
                <a:cxn ang="0">
                  <a:pos x="118" y="409"/>
                </a:cxn>
                <a:cxn ang="0">
                  <a:pos x="100" y="421"/>
                </a:cxn>
                <a:cxn ang="0">
                  <a:pos x="77" y="404"/>
                </a:cxn>
                <a:cxn ang="0">
                  <a:pos x="13" y="419"/>
                </a:cxn>
                <a:cxn ang="0">
                  <a:pos x="43" y="376"/>
                </a:cxn>
                <a:cxn ang="0">
                  <a:pos x="19" y="354"/>
                </a:cxn>
                <a:cxn ang="0">
                  <a:pos x="9" y="329"/>
                </a:cxn>
                <a:cxn ang="0">
                  <a:pos x="6" y="291"/>
                </a:cxn>
                <a:cxn ang="0">
                  <a:pos x="53" y="285"/>
                </a:cxn>
                <a:cxn ang="0">
                  <a:pos x="63" y="261"/>
                </a:cxn>
                <a:cxn ang="0">
                  <a:pos x="96" y="225"/>
                </a:cxn>
                <a:cxn ang="0">
                  <a:pos x="56" y="217"/>
                </a:cxn>
                <a:cxn ang="0">
                  <a:pos x="35" y="208"/>
                </a:cxn>
                <a:cxn ang="0">
                  <a:pos x="27" y="193"/>
                </a:cxn>
                <a:cxn ang="0">
                  <a:pos x="32" y="160"/>
                </a:cxn>
                <a:cxn ang="0">
                  <a:pos x="73" y="124"/>
                </a:cxn>
                <a:cxn ang="0">
                  <a:pos x="97" y="91"/>
                </a:cxn>
                <a:cxn ang="0">
                  <a:pos x="120" y="87"/>
                </a:cxn>
                <a:cxn ang="0">
                  <a:pos x="141" y="100"/>
                </a:cxn>
                <a:cxn ang="0">
                  <a:pos x="191" y="97"/>
                </a:cxn>
                <a:cxn ang="0">
                  <a:pos x="189" y="57"/>
                </a:cxn>
                <a:cxn ang="0">
                  <a:pos x="212" y="69"/>
                </a:cxn>
                <a:cxn ang="0">
                  <a:pos x="232" y="93"/>
                </a:cxn>
                <a:cxn ang="0">
                  <a:pos x="267" y="73"/>
                </a:cxn>
                <a:cxn ang="0">
                  <a:pos x="303" y="89"/>
                </a:cxn>
                <a:cxn ang="0">
                  <a:pos x="320" y="112"/>
                </a:cxn>
                <a:cxn ang="0">
                  <a:pos x="304" y="75"/>
                </a:cxn>
                <a:cxn ang="0">
                  <a:pos x="280" y="49"/>
                </a:cxn>
                <a:cxn ang="0">
                  <a:pos x="292" y="2"/>
                </a:cxn>
                <a:cxn ang="0">
                  <a:pos x="316" y="34"/>
                </a:cxn>
                <a:cxn ang="0">
                  <a:pos x="370" y="39"/>
                </a:cxn>
                <a:cxn ang="0">
                  <a:pos x="362" y="88"/>
                </a:cxn>
                <a:cxn ang="0">
                  <a:pos x="395" y="101"/>
                </a:cxn>
                <a:cxn ang="0">
                  <a:pos x="423" y="87"/>
                </a:cxn>
                <a:cxn ang="0">
                  <a:pos x="467" y="70"/>
                </a:cxn>
                <a:cxn ang="0">
                  <a:pos x="473" y="104"/>
                </a:cxn>
                <a:cxn ang="0">
                  <a:pos x="443" y="136"/>
                </a:cxn>
                <a:cxn ang="0">
                  <a:pos x="425" y="153"/>
                </a:cxn>
                <a:cxn ang="0">
                  <a:pos x="466" y="160"/>
                </a:cxn>
                <a:cxn ang="0">
                  <a:pos x="487" y="186"/>
                </a:cxn>
                <a:cxn ang="0">
                  <a:pos x="522" y="220"/>
                </a:cxn>
                <a:cxn ang="0">
                  <a:pos x="513" y="246"/>
                </a:cxn>
                <a:cxn ang="0">
                  <a:pos x="481" y="264"/>
                </a:cxn>
                <a:cxn ang="0">
                  <a:pos x="451" y="282"/>
                </a:cxn>
                <a:cxn ang="0">
                  <a:pos x="482" y="336"/>
                </a:cxn>
                <a:cxn ang="0">
                  <a:pos x="440" y="331"/>
                </a:cxn>
                <a:cxn ang="0">
                  <a:pos x="434" y="365"/>
                </a:cxn>
                <a:cxn ang="0">
                  <a:pos x="466" y="418"/>
                </a:cxn>
                <a:cxn ang="0">
                  <a:pos x="425" y="442"/>
                </a:cxn>
                <a:cxn ang="0">
                  <a:pos x="380" y="467"/>
                </a:cxn>
                <a:cxn ang="0">
                  <a:pos x="349" y="450"/>
                </a:cxn>
                <a:cxn ang="0">
                  <a:pos x="299" y="438"/>
                </a:cxn>
                <a:cxn ang="0">
                  <a:pos x="279" y="457"/>
                </a:cxn>
              </a:cxnLst>
              <a:rect l="0" t="0" r="r" b="b"/>
              <a:pathLst>
                <a:path w="523" h="640">
                  <a:moveTo>
                    <a:pt x="272" y="640"/>
                  </a:moveTo>
                  <a:lnTo>
                    <a:pt x="255" y="640"/>
                  </a:lnTo>
                  <a:lnTo>
                    <a:pt x="254" y="623"/>
                  </a:lnTo>
                  <a:lnTo>
                    <a:pt x="253" y="614"/>
                  </a:lnTo>
                  <a:lnTo>
                    <a:pt x="253" y="592"/>
                  </a:lnTo>
                  <a:lnTo>
                    <a:pt x="251" y="588"/>
                  </a:lnTo>
                  <a:lnTo>
                    <a:pt x="253" y="584"/>
                  </a:lnTo>
                  <a:lnTo>
                    <a:pt x="256" y="555"/>
                  </a:lnTo>
                  <a:lnTo>
                    <a:pt x="259" y="540"/>
                  </a:lnTo>
                  <a:lnTo>
                    <a:pt x="261" y="525"/>
                  </a:lnTo>
                  <a:lnTo>
                    <a:pt x="263" y="511"/>
                  </a:lnTo>
                  <a:lnTo>
                    <a:pt x="266" y="502"/>
                  </a:lnTo>
                  <a:lnTo>
                    <a:pt x="272" y="490"/>
                  </a:lnTo>
                  <a:lnTo>
                    <a:pt x="274" y="485"/>
                  </a:lnTo>
                  <a:lnTo>
                    <a:pt x="269" y="471"/>
                  </a:lnTo>
                  <a:lnTo>
                    <a:pt x="265" y="461"/>
                  </a:lnTo>
                  <a:lnTo>
                    <a:pt x="266" y="451"/>
                  </a:lnTo>
                  <a:lnTo>
                    <a:pt x="266" y="445"/>
                  </a:lnTo>
                  <a:lnTo>
                    <a:pt x="265" y="438"/>
                  </a:lnTo>
                  <a:lnTo>
                    <a:pt x="265" y="432"/>
                  </a:lnTo>
                  <a:lnTo>
                    <a:pt x="262" y="428"/>
                  </a:lnTo>
                  <a:lnTo>
                    <a:pt x="260" y="426"/>
                  </a:lnTo>
                  <a:lnTo>
                    <a:pt x="260" y="422"/>
                  </a:lnTo>
                  <a:lnTo>
                    <a:pt x="257" y="413"/>
                  </a:lnTo>
                  <a:lnTo>
                    <a:pt x="256" y="410"/>
                  </a:lnTo>
                  <a:lnTo>
                    <a:pt x="255" y="412"/>
                  </a:lnTo>
                  <a:lnTo>
                    <a:pt x="257" y="414"/>
                  </a:lnTo>
                  <a:lnTo>
                    <a:pt x="256" y="415"/>
                  </a:lnTo>
                  <a:lnTo>
                    <a:pt x="256" y="419"/>
                  </a:lnTo>
                  <a:lnTo>
                    <a:pt x="255" y="422"/>
                  </a:lnTo>
                  <a:lnTo>
                    <a:pt x="254" y="420"/>
                  </a:lnTo>
                  <a:lnTo>
                    <a:pt x="254" y="422"/>
                  </a:lnTo>
                  <a:lnTo>
                    <a:pt x="251" y="421"/>
                  </a:lnTo>
                  <a:lnTo>
                    <a:pt x="250" y="421"/>
                  </a:lnTo>
                  <a:lnTo>
                    <a:pt x="249" y="421"/>
                  </a:lnTo>
                  <a:lnTo>
                    <a:pt x="246" y="424"/>
                  </a:lnTo>
                  <a:lnTo>
                    <a:pt x="245" y="425"/>
                  </a:lnTo>
                  <a:lnTo>
                    <a:pt x="245" y="422"/>
                  </a:lnTo>
                  <a:lnTo>
                    <a:pt x="245" y="421"/>
                  </a:lnTo>
                  <a:lnTo>
                    <a:pt x="244" y="421"/>
                  </a:lnTo>
                  <a:lnTo>
                    <a:pt x="243" y="421"/>
                  </a:lnTo>
                  <a:lnTo>
                    <a:pt x="240" y="424"/>
                  </a:lnTo>
                  <a:lnTo>
                    <a:pt x="236" y="426"/>
                  </a:lnTo>
                  <a:lnTo>
                    <a:pt x="234" y="426"/>
                  </a:lnTo>
                  <a:lnTo>
                    <a:pt x="236" y="424"/>
                  </a:lnTo>
                  <a:lnTo>
                    <a:pt x="237" y="421"/>
                  </a:lnTo>
                  <a:lnTo>
                    <a:pt x="238" y="420"/>
                  </a:lnTo>
                  <a:lnTo>
                    <a:pt x="240" y="419"/>
                  </a:lnTo>
                  <a:lnTo>
                    <a:pt x="239" y="419"/>
                  </a:lnTo>
                  <a:lnTo>
                    <a:pt x="237" y="420"/>
                  </a:lnTo>
                  <a:lnTo>
                    <a:pt x="237" y="418"/>
                  </a:lnTo>
                  <a:lnTo>
                    <a:pt x="239" y="416"/>
                  </a:lnTo>
                  <a:lnTo>
                    <a:pt x="240" y="415"/>
                  </a:lnTo>
                  <a:lnTo>
                    <a:pt x="239" y="414"/>
                  </a:lnTo>
                  <a:lnTo>
                    <a:pt x="242" y="414"/>
                  </a:lnTo>
                  <a:lnTo>
                    <a:pt x="243" y="416"/>
                  </a:lnTo>
                  <a:lnTo>
                    <a:pt x="242" y="418"/>
                  </a:lnTo>
                  <a:lnTo>
                    <a:pt x="243" y="419"/>
                  </a:lnTo>
                  <a:lnTo>
                    <a:pt x="244" y="416"/>
                  </a:lnTo>
                  <a:lnTo>
                    <a:pt x="245" y="415"/>
                  </a:lnTo>
                  <a:lnTo>
                    <a:pt x="244" y="414"/>
                  </a:lnTo>
                  <a:lnTo>
                    <a:pt x="244" y="413"/>
                  </a:lnTo>
                  <a:lnTo>
                    <a:pt x="243" y="410"/>
                  </a:lnTo>
                  <a:lnTo>
                    <a:pt x="244" y="409"/>
                  </a:lnTo>
                  <a:lnTo>
                    <a:pt x="243" y="409"/>
                  </a:lnTo>
                  <a:lnTo>
                    <a:pt x="244" y="408"/>
                  </a:lnTo>
                  <a:lnTo>
                    <a:pt x="246" y="406"/>
                  </a:lnTo>
                  <a:lnTo>
                    <a:pt x="250" y="406"/>
                  </a:lnTo>
                  <a:lnTo>
                    <a:pt x="251" y="407"/>
                  </a:lnTo>
                  <a:lnTo>
                    <a:pt x="254" y="403"/>
                  </a:lnTo>
                  <a:lnTo>
                    <a:pt x="256" y="397"/>
                  </a:lnTo>
                  <a:lnTo>
                    <a:pt x="259" y="395"/>
                  </a:lnTo>
                  <a:lnTo>
                    <a:pt x="259" y="394"/>
                  </a:lnTo>
                  <a:lnTo>
                    <a:pt x="260" y="392"/>
                  </a:lnTo>
                  <a:lnTo>
                    <a:pt x="259" y="394"/>
                  </a:lnTo>
                  <a:lnTo>
                    <a:pt x="259" y="392"/>
                  </a:lnTo>
                  <a:lnTo>
                    <a:pt x="257" y="394"/>
                  </a:lnTo>
                  <a:lnTo>
                    <a:pt x="255" y="395"/>
                  </a:lnTo>
                  <a:lnTo>
                    <a:pt x="253" y="395"/>
                  </a:lnTo>
                  <a:lnTo>
                    <a:pt x="253" y="394"/>
                  </a:lnTo>
                  <a:lnTo>
                    <a:pt x="251" y="394"/>
                  </a:lnTo>
                  <a:lnTo>
                    <a:pt x="250" y="395"/>
                  </a:lnTo>
                  <a:lnTo>
                    <a:pt x="251" y="392"/>
                  </a:lnTo>
                  <a:lnTo>
                    <a:pt x="251" y="391"/>
                  </a:lnTo>
                  <a:lnTo>
                    <a:pt x="251" y="390"/>
                  </a:lnTo>
                  <a:lnTo>
                    <a:pt x="254" y="388"/>
                  </a:lnTo>
                  <a:lnTo>
                    <a:pt x="250" y="390"/>
                  </a:lnTo>
                  <a:lnTo>
                    <a:pt x="250" y="389"/>
                  </a:lnTo>
                  <a:lnTo>
                    <a:pt x="250" y="388"/>
                  </a:lnTo>
                  <a:lnTo>
                    <a:pt x="251" y="386"/>
                  </a:lnTo>
                  <a:lnTo>
                    <a:pt x="249" y="386"/>
                  </a:lnTo>
                  <a:lnTo>
                    <a:pt x="248" y="388"/>
                  </a:lnTo>
                  <a:lnTo>
                    <a:pt x="248" y="386"/>
                  </a:lnTo>
                  <a:lnTo>
                    <a:pt x="246" y="384"/>
                  </a:lnTo>
                  <a:lnTo>
                    <a:pt x="246" y="383"/>
                  </a:lnTo>
                  <a:lnTo>
                    <a:pt x="245" y="385"/>
                  </a:lnTo>
                  <a:lnTo>
                    <a:pt x="244" y="386"/>
                  </a:lnTo>
                  <a:lnTo>
                    <a:pt x="243" y="388"/>
                  </a:lnTo>
                  <a:lnTo>
                    <a:pt x="243" y="389"/>
                  </a:lnTo>
                  <a:lnTo>
                    <a:pt x="242" y="390"/>
                  </a:lnTo>
                  <a:lnTo>
                    <a:pt x="243" y="391"/>
                  </a:lnTo>
                  <a:lnTo>
                    <a:pt x="245" y="391"/>
                  </a:lnTo>
                  <a:lnTo>
                    <a:pt x="245" y="392"/>
                  </a:lnTo>
                  <a:lnTo>
                    <a:pt x="245" y="394"/>
                  </a:lnTo>
                  <a:lnTo>
                    <a:pt x="245" y="396"/>
                  </a:lnTo>
                  <a:lnTo>
                    <a:pt x="244" y="395"/>
                  </a:lnTo>
                  <a:lnTo>
                    <a:pt x="243" y="395"/>
                  </a:lnTo>
                  <a:lnTo>
                    <a:pt x="242" y="395"/>
                  </a:lnTo>
                  <a:lnTo>
                    <a:pt x="242" y="396"/>
                  </a:lnTo>
                  <a:lnTo>
                    <a:pt x="240" y="394"/>
                  </a:lnTo>
                  <a:lnTo>
                    <a:pt x="239" y="392"/>
                  </a:lnTo>
                  <a:lnTo>
                    <a:pt x="237" y="394"/>
                  </a:lnTo>
                  <a:lnTo>
                    <a:pt x="237" y="395"/>
                  </a:lnTo>
                  <a:lnTo>
                    <a:pt x="234" y="395"/>
                  </a:lnTo>
                  <a:lnTo>
                    <a:pt x="234" y="397"/>
                  </a:lnTo>
                  <a:lnTo>
                    <a:pt x="232" y="398"/>
                  </a:lnTo>
                  <a:lnTo>
                    <a:pt x="230" y="400"/>
                  </a:lnTo>
                  <a:lnTo>
                    <a:pt x="230" y="398"/>
                  </a:lnTo>
                  <a:lnTo>
                    <a:pt x="232" y="397"/>
                  </a:lnTo>
                  <a:lnTo>
                    <a:pt x="233" y="396"/>
                  </a:lnTo>
                  <a:lnTo>
                    <a:pt x="232" y="396"/>
                  </a:lnTo>
                  <a:lnTo>
                    <a:pt x="232" y="395"/>
                  </a:lnTo>
                  <a:lnTo>
                    <a:pt x="234" y="394"/>
                  </a:lnTo>
                  <a:lnTo>
                    <a:pt x="233" y="392"/>
                  </a:lnTo>
                  <a:lnTo>
                    <a:pt x="232" y="392"/>
                  </a:lnTo>
                  <a:lnTo>
                    <a:pt x="230" y="392"/>
                  </a:lnTo>
                  <a:lnTo>
                    <a:pt x="231" y="390"/>
                  </a:lnTo>
                  <a:lnTo>
                    <a:pt x="232" y="388"/>
                  </a:lnTo>
                  <a:lnTo>
                    <a:pt x="236" y="386"/>
                  </a:lnTo>
                  <a:lnTo>
                    <a:pt x="238" y="388"/>
                  </a:lnTo>
                  <a:lnTo>
                    <a:pt x="237" y="386"/>
                  </a:lnTo>
                  <a:lnTo>
                    <a:pt x="237" y="385"/>
                  </a:lnTo>
                  <a:lnTo>
                    <a:pt x="240" y="385"/>
                  </a:lnTo>
                  <a:lnTo>
                    <a:pt x="240" y="388"/>
                  </a:lnTo>
                  <a:lnTo>
                    <a:pt x="242" y="386"/>
                  </a:lnTo>
                  <a:lnTo>
                    <a:pt x="243" y="385"/>
                  </a:lnTo>
                  <a:lnTo>
                    <a:pt x="245" y="384"/>
                  </a:lnTo>
                  <a:lnTo>
                    <a:pt x="246" y="382"/>
                  </a:lnTo>
                  <a:lnTo>
                    <a:pt x="246" y="379"/>
                  </a:lnTo>
                  <a:lnTo>
                    <a:pt x="245" y="379"/>
                  </a:lnTo>
                  <a:lnTo>
                    <a:pt x="244" y="380"/>
                  </a:lnTo>
                  <a:lnTo>
                    <a:pt x="242" y="380"/>
                  </a:lnTo>
                  <a:lnTo>
                    <a:pt x="243" y="379"/>
                  </a:lnTo>
                  <a:lnTo>
                    <a:pt x="243" y="377"/>
                  </a:lnTo>
                  <a:lnTo>
                    <a:pt x="243" y="374"/>
                  </a:lnTo>
                  <a:lnTo>
                    <a:pt x="244" y="372"/>
                  </a:lnTo>
                  <a:lnTo>
                    <a:pt x="240" y="373"/>
                  </a:lnTo>
                  <a:lnTo>
                    <a:pt x="238" y="374"/>
                  </a:lnTo>
                  <a:lnTo>
                    <a:pt x="237" y="376"/>
                  </a:lnTo>
                  <a:lnTo>
                    <a:pt x="236" y="377"/>
                  </a:lnTo>
                  <a:lnTo>
                    <a:pt x="234" y="380"/>
                  </a:lnTo>
                  <a:lnTo>
                    <a:pt x="233" y="379"/>
                  </a:lnTo>
                  <a:lnTo>
                    <a:pt x="233" y="376"/>
                  </a:lnTo>
                  <a:lnTo>
                    <a:pt x="234" y="376"/>
                  </a:lnTo>
                  <a:lnTo>
                    <a:pt x="237" y="374"/>
                  </a:lnTo>
                  <a:lnTo>
                    <a:pt x="240" y="372"/>
                  </a:lnTo>
                  <a:lnTo>
                    <a:pt x="240" y="370"/>
                  </a:lnTo>
                  <a:lnTo>
                    <a:pt x="239" y="370"/>
                  </a:lnTo>
                  <a:lnTo>
                    <a:pt x="237" y="373"/>
                  </a:lnTo>
                  <a:lnTo>
                    <a:pt x="236" y="373"/>
                  </a:lnTo>
                  <a:lnTo>
                    <a:pt x="238" y="368"/>
                  </a:lnTo>
                  <a:lnTo>
                    <a:pt x="239" y="366"/>
                  </a:lnTo>
                  <a:lnTo>
                    <a:pt x="240" y="364"/>
                  </a:lnTo>
                  <a:lnTo>
                    <a:pt x="242" y="362"/>
                  </a:lnTo>
                  <a:lnTo>
                    <a:pt x="240" y="362"/>
                  </a:lnTo>
                  <a:lnTo>
                    <a:pt x="239" y="364"/>
                  </a:lnTo>
                  <a:lnTo>
                    <a:pt x="239" y="365"/>
                  </a:lnTo>
                  <a:lnTo>
                    <a:pt x="238" y="366"/>
                  </a:lnTo>
                  <a:lnTo>
                    <a:pt x="238" y="365"/>
                  </a:lnTo>
                  <a:lnTo>
                    <a:pt x="238" y="364"/>
                  </a:lnTo>
                  <a:lnTo>
                    <a:pt x="237" y="362"/>
                  </a:lnTo>
                  <a:lnTo>
                    <a:pt x="236" y="361"/>
                  </a:lnTo>
                  <a:lnTo>
                    <a:pt x="233" y="361"/>
                  </a:lnTo>
                  <a:lnTo>
                    <a:pt x="236" y="362"/>
                  </a:lnTo>
                  <a:lnTo>
                    <a:pt x="236" y="365"/>
                  </a:lnTo>
                  <a:lnTo>
                    <a:pt x="234" y="366"/>
                  </a:lnTo>
                  <a:lnTo>
                    <a:pt x="234" y="365"/>
                  </a:lnTo>
                  <a:lnTo>
                    <a:pt x="233" y="366"/>
                  </a:lnTo>
                  <a:lnTo>
                    <a:pt x="233" y="368"/>
                  </a:lnTo>
                  <a:lnTo>
                    <a:pt x="231" y="371"/>
                  </a:lnTo>
                  <a:lnTo>
                    <a:pt x="230" y="373"/>
                  </a:lnTo>
                  <a:lnTo>
                    <a:pt x="230" y="371"/>
                  </a:lnTo>
                  <a:lnTo>
                    <a:pt x="228" y="367"/>
                  </a:lnTo>
                  <a:lnTo>
                    <a:pt x="228" y="368"/>
                  </a:lnTo>
                  <a:lnTo>
                    <a:pt x="230" y="366"/>
                  </a:lnTo>
                  <a:lnTo>
                    <a:pt x="230" y="365"/>
                  </a:lnTo>
                  <a:lnTo>
                    <a:pt x="228" y="366"/>
                  </a:lnTo>
                  <a:lnTo>
                    <a:pt x="228" y="364"/>
                  </a:lnTo>
                  <a:lnTo>
                    <a:pt x="227" y="366"/>
                  </a:lnTo>
                  <a:lnTo>
                    <a:pt x="226" y="366"/>
                  </a:lnTo>
                  <a:lnTo>
                    <a:pt x="225" y="367"/>
                  </a:lnTo>
                  <a:lnTo>
                    <a:pt x="225" y="365"/>
                  </a:lnTo>
                  <a:lnTo>
                    <a:pt x="226" y="362"/>
                  </a:lnTo>
                  <a:lnTo>
                    <a:pt x="224" y="362"/>
                  </a:lnTo>
                  <a:lnTo>
                    <a:pt x="224" y="360"/>
                  </a:lnTo>
                  <a:lnTo>
                    <a:pt x="224" y="359"/>
                  </a:lnTo>
                  <a:lnTo>
                    <a:pt x="224" y="356"/>
                  </a:lnTo>
                  <a:lnTo>
                    <a:pt x="224" y="355"/>
                  </a:lnTo>
                  <a:lnTo>
                    <a:pt x="226" y="353"/>
                  </a:lnTo>
                  <a:lnTo>
                    <a:pt x="226" y="355"/>
                  </a:lnTo>
                  <a:lnTo>
                    <a:pt x="227" y="358"/>
                  </a:lnTo>
                  <a:lnTo>
                    <a:pt x="227" y="359"/>
                  </a:lnTo>
                  <a:lnTo>
                    <a:pt x="227" y="360"/>
                  </a:lnTo>
                  <a:lnTo>
                    <a:pt x="230" y="359"/>
                  </a:lnTo>
                  <a:lnTo>
                    <a:pt x="231" y="358"/>
                  </a:lnTo>
                  <a:lnTo>
                    <a:pt x="232" y="358"/>
                  </a:lnTo>
                  <a:lnTo>
                    <a:pt x="234" y="358"/>
                  </a:lnTo>
                  <a:lnTo>
                    <a:pt x="234" y="359"/>
                  </a:lnTo>
                  <a:lnTo>
                    <a:pt x="237" y="360"/>
                  </a:lnTo>
                  <a:lnTo>
                    <a:pt x="238" y="360"/>
                  </a:lnTo>
                  <a:lnTo>
                    <a:pt x="239" y="360"/>
                  </a:lnTo>
                  <a:lnTo>
                    <a:pt x="239" y="359"/>
                  </a:lnTo>
                  <a:lnTo>
                    <a:pt x="240" y="358"/>
                  </a:lnTo>
                  <a:lnTo>
                    <a:pt x="243" y="358"/>
                  </a:lnTo>
                  <a:lnTo>
                    <a:pt x="244" y="358"/>
                  </a:lnTo>
                  <a:lnTo>
                    <a:pt x="244" y="359"/>
                  </a:lnTo>
                  <a:lnTo>
                    <a:pt x="245" y="359"/>
                  </a:lnTo>
                  <a:lnTo>
                    <a:pt x="246" y="359"/>
                  </a:lnTo>
                  <a:lnTo>
                    <a:pt x="246" y="358"/>
                  </a:lnTo>
                  <a:lnTo>
                    <a:pt x="245" y="356"/>
                  </a:lnTo>
                  <a:lnTo>
                    <a:pt x="244" y="356"/>
                  </a:lnTo>
                  <a:lnTo>
                    <a:pt x="243" y="355"/>
                  </a:lnTo>
                  <a:lnTo>
                    <a:pt x="242" y="356"/>
                  </a:lnTo>
                  <a:lnTo>
                    <a:pt x="240" y="356"/>
                  </a:lnTo>
                  <a:lnTo>
                    <a:pt x="239" y="358"/>
                  </a:lnTo>
                  <a:lnTo>
                    <a:pt x="238" y="359"/>
                  </a:lnTo>
                  <a:lnTo>
                    <a:pt x="237" y="359"/>
                  </a:lnTo>
                  <a:lnTo>
                    <a:pt x="236" y="358"/>
                  </a:lnTo>
                  <a:lnTo>
                    <a:pt x="236" y="356"/>
                  </a:lnTo>
                  <a:lnTo>
                    <a:pt x="237" y="355"/>
                  </a:lnTo>
                  <a:lnTo>
                    <a:pt x="237" y="354"/>
                  </a:lnTo>
                  <a:lnTo>
                    <a:pt x="239" y="354"/>
                  </a:lnTo>
                  <a:lnTo>
                    <a:pt x="240" y="355"/>
                  </a:lnTo>
                  <a:lnTo>
                    <a:pt x="242" y="354"/>
                  </a:lnTo>
                  <a:lnTo>
                    <a:pt x="240" y="354"/>
                  </a:lnTo>
                  <a:lnTo>
                    <a:pt x="242" y="353"/>
                  </a:lnTo>
                  <a:lnTo>
                    <a:pt x="243" y="352"/>
                  </a:lnTo>
                  <a:lnTo>
                    <a:pt x="242" y="352"/>
                  </a:lnTo>
                  <a:lnTo>
                    <a:pt x="239" y="353"/>
                  </a:lnTo>
                  <a:lnTo>
                    <a:pt x="234" y="353"/>
                  </a:lnTo>
                  <a:lnTo>
                    <a:pt x="236" y="352"/>
                  </a:lnTo>
                  <a:lnTo>
                    <a:pt x="238" y="349"/>
                  </a:lnTo>
                  <a:lnTo>
                    <a:pt x="242" y="349"/>
                  </a:lnTo>
                  <a:lnTo>
                    <a:pt x="244" y="349"/>
                  </a:lnTo>
                  <a:lnTo>
                    <a:pt x="245" y="350"/>
                  </a:lnTo>
                  <a:lnTo>
                    <a:pt x="245" y="352"/>
                  </a:lnTo>
                  <a:lnTo>
                    <a:pt x="246" y="353"/>
                  </a:lnTo>
                  <a:lnTo>
                    <a:pt x="245" y="354"/>
                  </a:lnTo>
                  <a:lnTo>
                    <a:pt x="246" y="355"/>
                  </a:lnTo>
                  <a:lnTo>
                    <a:pt x="248" y="354"/>
                  </a:lnTo>
                  <a:lnTo>
                    <a:pt x="249" y="353"/>
                  </a:lnTo>
                  <a:lnTo>
                    <a:pt x="248" y="352"/>
                  </a:lnTo>
                  <a:lnTo>
                    <a:pt x="246" y="352"/>
                  </a:lnTo>
                  <a:lnTo>
                    <a:pt x="248" y="349"/>
                  </a:lnTo>
                  <a:lnTo>
                    <a:pt x="248" y="348"/>
                  </a:lnTo>
                  <a:lnTo>
                    <a:pt x="248" y="347"/>
                  </a:lnTo>
                  <a:lnTo>
                    <a:pt x="246" y="345"/>
                  </a:lnTo>
                  <a:lnTo>
                    <a:pt x="246" y="344"/>
                  </a:lnTo>
                  <a:lnTo>
                    <a:pt x="248" y="344"/>
                  </a:lnTo>
                  <a:lnTo>
                    <a:pt x="245" y="343"/>
                  </a:lnTo>
                  <a:lnTo>
                    <a:pt x="233" y="343"/>
                  </a:lnTo>
                  <a:lnTo>
                    <a:pt x="212" y="347"/>
                  </a:lnTo>
                  <a:lnTo>
                    <a:pt x="201" y="349"/>
                  </a:lnTo>
                  <a:lnTo>
                    <a:pt x="191" y="354"/>
                  </a:lnTo>
                  <a:lnTo>
                    <a:pt x="187" y="354"/>
                  </a:lnTo>
                  <a:lnTo>
                    <a:pt x="192" y="358"/>
                  </a:lnTo>
                  <a:lnTo>
                    <a:pt x="197" y="360"/>
                  </a:lnTo>
                  <a:lnTo>
                    <a:pt x="200" y="364"/>
                  </a:lnTo>
                  <a:lnTo>
                    <a:pt x="202" y="366"/>
                  </a:lnTo>
                  <a:lnTo>
                    <a:pt x="204" y="367"/>
                  </a:lnTo>
                  <a:lnTo>
                    <a:pt x="201" y="366"/>
                  </a:lnTo>
                  <a:lnTo>
                    <a:pt x="200" y="368"/>
                  </a:lnTo>
                  <a:lnTo>
                    <a:pt x="200" y="372"/>
                  </a:lnTo>
                  <a:lnTo>
                    <a:pt x="201" y="376"/>
                  </a:lnTo>
                  <a:lnTo>
                    <a:pt x="203" y="378"/>
                  </a:lnTo>
                  <a:lnTo>
                    <a:pt x="204" y="379"/>
                  </a:lnTo>
                  <a:lnTo>
                    <a:pt x="206" y="380"/>
                  </a:lnTo>
                  <a:lnTo>
                    <a:pt x="207" y="379"/>
                  </a:lnTo>
                  <a:lnTo>
                    <a:pt x="206" y="380"/>
                  </a:lnTo>
                  <a:lnTo>
                    <a:pt x="206" y="382"/>
                  </a:lnTo>
                  <a:lnTo>
                    <a:pt x="207" y="383"/>
                  </a:lnTo>
                  <a:lnTo>
                    <a:pt x="209" y="384"/>
                  </a:lnTo>
                  <a:lnTo>
                    <a:pt x="209" y="383"/>
                  </a:lnTo>
                  <a:lnTo>
                    <a:pt x="209" y="382"/>
                  </a:lnTo>
                  <a:lnTo>
                    <a:pt x="209" y="380"/>
                  </a:lnTo>
                  <a:lnTo>
                    <a:pt x="210" y="382"/>
                  </a:lnTo>
                  <a:lnTo>
                    <a:pt x="213" y="384"/>
                  </a:lnTo>
                  <a:lnTo>
                    <a:pt x="212" y="384"/>
                  </a:lnTo>
                  <a:lnTo>
                    <a:pt x="210" y="385"/>
                  </a:lnTo>
                  <a:lnTo>
                    <a:pt x="212" y="386"/>
                  </a:lnTo>
                  <a:lnTo>
                    <a:pt x="213" y="388"/>
                  </a:lnTo>
                  <a:lnTo>
                    <a:pt x="213" y="390"/>
                  </a:lnTo>
                  <a:lnTo>
                    <a:pt x="212" y="389"/>
                  </a:lnTo>
                  <a:lnTo>
                    <a:pt x="210" y="388"/>
                  </a:lnTo>
                  <a:lnTo>
                    <a:pt x="210" y="389"/>
                  </a:lnTo>
                  <a:lnTo>
                    <a:pt x="210" y="391"/>
                  </a:lnTo>
                  <a:lnTo>
                    <a:pt x="210" y="394"/>
                  </a:lnTo>
                  <a:lnTo>
                    <a:pt x="209" y="390"/>
                  </a:lnTo>
                  <a:lnTo>
                    <a:pt x="209" y="391"/>
                  </a:lnTo>
                  <a:lnTo>
                    <a:pt x="208" y="394"/>
                  </a:lnTo>
                  <a:lnTo>
                    <a:pt x="209" y="390"/>
                  </a:lnTo>
                  <a:lnTo>
                    <a:pt x="208" y="391"/>
                  </a:lnTo>
                  <a:lnTo>
                    <a:pt x="209" y="389"/>
                  </a:lnTo>
                  <a:lnTo>
                    <a:pt x="209" y="388"/>
                  </a:lnTo>
                  <a:lnTo>
                    <a:pt x="209" y="386"/>
                  </a:lnTo>
                  <a:lnTo>
                    <a:pt x="209" y="385"/>
                  </a:lnTo>
                  <a:lnTo>
                    <a:pt x="207" y="384"/>
                  </a:lnTo>
                  <a:lnTo>
                    <a:pt x="204" y="382"/>
                  </a:lnTo>
                  <a:lnTo>
                    <a:pt x="202" y="378"/>
                  </a:lnTo>
                  <a:lnTo>
                    <a:pt x="202" y="377"/>
                  </a:lnTo>
                  <a:lnTo>
                    <a:pt x="202" y="380"/>
                  </a:lnTo>
                  <a:lnTo>
                    <a:pt x="202" y="384"/>
                  </a:lnTo>
                  <a:lnTo>
                    <a:pt x="203" y="386"/>
                  </a:lnTo>
                  <a:lnTo>
                    <a:pt x="203" y="384"/>
                  </a:lnTo>
                  <a:lnTo>
                    <a:pt x="206" y="384"/>
                  </a:lnTo>
                  <a:lnTo>
                    <a:pt x="204" y="385"/>
                  </a:lnTo>
                  <a:lnTo>
                    <a:pt x="204" y="386"/>
                  </a:lnTo>
                  <a:lnTo>
                    <a:pt x="204" y="388"/>
                  </a:lnTo>
                  <a:lnTo>
                    <a:pt x="207" y="386"/>
                  </a:lnTo>
                  <a:lnTo>
                    <a:pt x="206" y="389"/>
                  </a:lnTo>
                  <a:lnTo>
                    <a:pt x="206" y="391"/>
                  </a:lnTo>
                  <a:lnTo>
                    <a:pt x="209" y="395"/>
                  </a:lnTo>
                  <a:lnTo>
                    <a:pt x="210" y="397"/>
                  </a:lnTo>
                  <a:lnTo>
                    <a:pt x="210" y="396"/>
                  </a:lnTo>
                  <a:lnTo>
                    <a:pt x="213" y="396"/>
                  </a:lnTo>
                  <a:lnTo>
                    <a:pt x="213" y="398"/>
                  </a:lnTo>
                  <a:lnTo>
                    <a:pt x="214" y="400"/>
                  </a:lnTo>
                  <a:lnTo>
                    <a:pt x="216" y="400"/>
                  </a:lnTo>
                  <a:lnTo>
                    <a:pt x="216" y="398"/>
                  </a:lnTo>
                  <a:lnTo>
                    <a:pt x="216" y="396"/>
                  </a:lnTo>
                  <a:lnTo>
                    <a:pt x="218" y="395"/>
                  </a:lnTo>
                  <a:lnTo>
                    <a:pt x="220" y="394"/>
                  </a:lnTo>
                  <a:lnTo>
                    <a:pt x="221" y="394"/>
                  </a:lnTo>
                  <a:lnTo>
                    <a:pt x="221" y="396"/>
                  </a:lnTo>
                  <a:lnTo>
                    <a:pt x="220" y="397"/>
                  </a:lnTo>
                  <a:lnTo>
                    <a:pt x="220" y="400"/>
                  </a:lnTo>
                  <a:lnTo>
                    <a:pt x="220" y="401"/>
                  </a:lnTo>
                  <a:lnTo>
                    <a:pt x="222" y="401"/>
                  </a:lnTo>
                  <a:lnTo>
                    <a:pt x="224" y="401"/>
                  </a:lnTo>
                  <a:lnTo>
                    <a:pt x="225" y="398"/>
                  </a:lnTo>
                  <a:lnTo>
                    <a:pt x="224" y="397"/>
                  </a:lnTo>
                  <a:lnTo>
                    <a:pt x="225" y="395"/>
                  </a:lnTo>
                  <a:lnTo>
                    <a:pt x="225" y="397"/>
                  </a:lnTo>
                  <a:lnTo>
                    <a:pt x="225" y="398"/>
                  </a:lnTo>
                  <a:lnTo>
                    <a:pt x="224" y="401"/>
                  </a:lnTo>
                  <a:lnTo>
                    <a:pt x="222" y="402"/>
                  </a:lnTo>
                  <a:lnTo>
                    <a:pt x="225" y="403"/>
                  </a:lnTo>
                  <a:lnTo>
                    <a:pt x="227" y="404"/>
                  </a:lnTo>
                  <a:lnTo>
                    <a:pt x="228" y="407"/>
                  </a:lnTo>
                  <a:lnTo>
                    <a:pt x="226" y="406"/>
                  </a:lnTo>
                  <a:lnTo>
                    <a:pt x="226" y="407"/>
                  </a:lnTo>
                  <a:lnTo>
                    <a:pt x="227" y="410"/>
                  </a:lnTo>
                  <a:lnTo>
                    <a:pt x="225" y="409"/>
                  </a:lnTo>
                  <a:lnTo>
                    <a:pt x="224" y="407"/>
                  </a:lnTo>
                  <a:lnTo>
                    <a:pt x="225" y="406"/>
                  </a:lnTo>
                  <a:lnTo>
                    <a:pt x="224" y="404"/>
                  </a:lnTo>
                  <a:lnTo>
                    <a:pt x="222" y="403"/>
                  </a:lnTo>
                  <a:lnTo>
                    <a:pt x="221" y="402"/>
                  </a:lnTo>
                  <a:lnTo>
                    <a:pt x="220" y="401"/>
                  </a:lnTo>
                  <a:lnTo>
                    <a:pt x="219" y="402"/>
                  </a:lnTo>
                  <a:lnTo>
                    <a:pt x="221" y="404"/>
                  </a:lnTo>
                  <a:lnTo>
                    <a:pt x="221" y="408"/>
                  </a:lnTo>
                  <a:lnTo>
                    <a:pt x="224" y="409"/>
                  </a:lnTo>
                  <a:lnTo>
                    <a:pt x="224" y="413"/>
                  </a:lnTo>
                  <a:lnTo>
                    <a:pt x="225" y="418"/>
                  </a:lnTo>
                  <a:lnTo>
                    <a:pt x="226" y="420"/>
                  </a:lnTo>
                  <a:lnTo>
                    <a:pt x="227" y="421"/>
                  </a:lnTo>
                  <a:lnTo>
                    <a:pt x="230" y="421"/>
                  </a:lnTo>
                  <a:lnTo>
                    <a:pt x="231" y="422"/>
                  </a:lnTo>
                  <a:lnTo>
                    <a:pt x="232" y="425"/>
                  </a:lnTo>
                  <a:lnTo>
                    <a:pt x="230" y="424"/>
                  </a:lnTo>
                  <a:lnTo>
                    <a:pt x="231" y="425"/>
                  </a:lnTo>
                  <a:lnTo>
                    <a:pt x="228" y="427"/>
                  </a:lnTo>
                  <a:lnTo>
                    <a:pt x="228" y="426"/>
                  </a:lnTo>
                  <a:lnTo>
                    <a:pt x="228" y="427"/>
                  </a:lnTo>
                  <a:lnTo>
                    <a:pt x="227" y="426"/>
                  </a:lnTo>
                  <a:lnTo>
                    <a:pt x="226" y="427"/>
                  </a:lnTo>
                  <a:lnTo>
                    <a:pt x="225" y="430"/>
                  </a:lnTo>
                  <a:lnTo>
                    <a:pt x="224" y="428"/>
                  </a:lnTo>
                  <a:lnTo>
                    <a:pt x="222" y="427"/>
                  </a:lnTo>
                  <a:lnTo>
                    <a:pt x="224" y="424"/>
                  </a:lnTo>
                  <a:lnTo>
                    <a:pt x="224" y="421"/>
                  </a:lnTo>
                  <a:lnTo>
                    <a:pt x="224" y="419"/>
                  </a:lnTo>
                  <a:lnTo>
                    <a:pt x="222" y="413"/>
                  </a:lnTo>
                  <a:lnTo>
                    <a:pt x="222" y="414"/>
                  </a:lnTo>
                  <a:lnTo>
                    <a:pt x="221" y="414"/>
                  </a:lnTo>
                  <a:lnTo>
                    <a:pt x="222" y="415"/>
                  </a:lnTo>
                  <a:lnTo>
                    <a:pt x="220" y="415"/>
                  </a:lnTo>
                  <a:lnTo>
                    <a:pt x="218" y="414"/>
                  </a:lnTo>
                  <a:lnTo>
                    <a:pt x="216" y="413"/>
                  </a:lnTo>
                  <a:lnTo>
                    <a:pt x="216" y="414"/>
                  </a:lnTo>
                  <a:lnTo>
                    <a:pt x="216" y="419"/>
                  </a:lnTo>
                  <a:lnTo>
                    <a:pt x="215" y="419"/>
                  </a:lnTo>
                  <a:lnTo>
                    <a:pt x="214" y="416"/>
                  </a:lnTo>
                  <a:lnTo>
                    <a:pt x="214" y="414"/>
                  </a:lnTo>
                  <a:lnTo>
                    <a:pt x="215" y="414"/>
                  </a:lnTo>
                  <a:lnTo>
                    <a:pt x="216" y="413"/>
                  </a:lnTo>
                  <a:lnTo>
                    <a:pt x="216" y="410"/>
                  </a:lnTo>
                  <a:lnTo>
                    <a:pt x="218" y="409"/>
                  </a:lnTo>
                  <a:lnTo>
                    <a:pt x="218" y="408"/>
                  </a:lnTo>
                  <a:lnTo>
                    <a:pt x="216" y="408"/>
                  </a:lnTo>
                  <a:lnTo>
                    <a:pt x="216" y="409"/>
                  </a:lnTo>
                  <a:lnTo>
                    <a:pt x="215" y="408"/>
                  </a:lnTo>
                  <a:lnTo>
                    <a:pt x="215" y="407"/>
                  </a:lnTo>
                  <a:lnTo>
                    <a:pt x="213" y="410"/>
                  </a:lnTo>
                  <a:lnTo>
                    <a:pt x="212" y="414"/>
                  </a:lnTo>
                  <a:lnTo>
                    <a:pt x="209" y="418"/>
                  </a:lnTo>
                  <a:lnTo>
                    <a:pt x="210" y="420"/>
                  </a:lnTo>
                  <a:lnTo>
                    <a:pt x="212" y="420"/>
                  </a:lnTo>
                  <a:lnTo>
                    <a:pt x="213" y="421"/>
                  </a:lnTo>
                  <a:lnTo>
                    <a:pt x="212" y="421"/>
                  </a:lnTo>
                  <a:lnTo>
                    <a:pt x="212" y="425"/>
                  </a:lnTo>
                  <a:lnTo>
                    <a:pt x="210" y="426"/>
                  </a:lnTo>
                  <a:lnTo>
                    <a:pt x="213" y="426"/>
                  </a:lnTo>
                  <a:lnTo>
                    <a:pt x="213" y="428"/>
                  </a:lnTo>
                  <a:lnTo>
                    <a:pt x="212" y="427"/>
                  </a:lnTo>
                  <a:lnTo>
                    <a:pt x="213" y="431"/>
                  </a:lnTo>
                  <a:lnTo>
                    <a:pt x="212" y="433"/>
                  </a:lnTo>
                  <a:lnTo>
                    <a:pt x="209" y="431"/>
                  </a:lnTo>
                  <a:lnTo>
                    <a:pt x="208" y="428"/>
                  </a:lnTo>
                  <a:lnTo>
                    <a:pt x="208" y="430"/>
                  </a:lnTo>
                  <a:lnTo>
                    <a:pt x="206" y="432"/>
                  </a:lnTo>
                  <a:lnTo>
                    <a:pt x="204" y="431"/>
                  </a:lnTo>
                  <a:lnTo>
                    <a:pt x="204" y="430"/>
                  </a:lnTo>
                  <a:lnTo>
                    <a:pt x="203" y="431"/>
                  </a:lnTo>
                  <a:lnTo>
                    <a:pt x="202" y="427"/>
                  </a:lnTo>
                  <a:lnTo>
                    <a:pt x="203" y="425"/>
                  </a:lnTo>
                  <a:lnTo>
                    <a:pt x="202" y="426"/>
                  </a:lnTo>
                  <a:lnTo>
                    <a:pt x="201" y="424"/>
                  </a:lnTo>
                  <a:lnTo>
                    <a:pt x="204" y="420"/>
                  </a:lnTo>
                  <a:lnTo>
                    <a:pt x="204" y="419"/>
                  </a:lnTo>
                  <a:lnTo>
                    <a:pt x="202" y="420"/>
                  </a:lnTo>
                  <a:lnTo>
                    <a:pt x="200" y="422"/>
                  </a:lnTo>
                  <a:lnTo>
                    <a:pt x="200" y="421"/>
                  </a:lnTo>
                  <a:lnTo>
                    <a:pt x="201" y="418"/>
                  </a:lnTo>
                  <a:lnTo>
                    <a:pt x="202" y="416"/>
                  </a:lnTo>
                  <a:lnTo>
                    <a:pt x="204" y="418"/>
                  </a:lnTo>
                  <a:lnTo>
                    <a:pt x="208" y="416"/>
                  </a:lnTo>
                  <a:lnTo>
                    <a:pt x="210" y="413"/>
                  </a:lnTo>
                  <a:lnTo>
                    <a:pt x="214" y="408"/>
                  </a:lnTo>
                  <a:lnTo>
                    <a:pt x="215" y="404"/>
                  </a:lnTo>
                  <a:lnTo>
                    <a:pt x="214" y="404"/>
                  </a:lnTo>
                  <a:lnTo>
                    <a:pt x="214" y="403"/>
                  </a:lnTo>
                  <a:lnTo>
                    <a:pt x="213" y="402"/>
                  </a:lnTo>
                  <a:lnTo>
                    <a:pt x="213" y="404"/>
                  </a:lnTo>
                  <a:lnTo>
                    <a:pt x="210" y="406"/>
                  </a:lnTo>
                  <a:lnTo>
                    <a:pt x="208" y="406"/>
                  </a:lnTo>
                  <a:lnTo>
                    <a:pt x="207" y="407"/>
                  </a:lnTo>
                  <a:lnTo>
                    <a:pt x="203" y="407"/>
                  </a:lnTo>
                  <a:lnTo>
                    <a:pt x="206" y="406"/>
                  </a:lnTo>
                  <a:lnTo>
                    <a:pt x="207" y="404"/>
                  </a:lnTo>
                  <a:lnTo>
                    <a:pt x="208" y="401"/>
                  </a:lnTo>
                  <a:lnTo>
                    <a:pt x="210" y="402"/>
                  </a:lnTo>
                  <a:lnTo>
                    <a:pt x="212" y="402"/>
                  </a:lnTo>
                  <a:lnTo>
                    <a:pt x="212" y="401"/>
                  </a:lnTo>
                  <a:lnTo>
                    <a:pt x="213" y="401"/>
                  </a:lnTo>
                  <a:lnTo>
                    <a:pt x="213" y="400"/>
                  </a:lnTo>
                  <a:lnTo>
                    <a:pt x="212" y="400"/>
                  </a:lnTo>
                  <a:lnTo>
                    <a:pt x="210" y="398"/>
                  </a:lnTo>
                  <a:lnTo>
                    <a:pt x="209" y="397"/>
                  </a:lnTo>
                  <a:lnTo>
                    <a:pt x="209" y="398"/>
                  </a:lnTo>
                  <a:lnTo>
                    <a:pt x="208" y="398"/>
                  </a:lnTo>
                  <a:lnTo>
                    <a:pt x="206" y="397"/>
                  </a:lnTo>
                  <a:lnTo>
                    <a:pt x="204" y="397"/>
                  </a:lnTo>
                  <a:lnTo>
                    <a:pt x="202" y="397"/>
                  </a:lnTo>
                  <a:lnTo>
                    <a:pt x="201" y="395"/>
                  </a:lnTo>
                  <a:lnTo>
                    <a:pt x="200" y="395"/>
                  </a:lnTo>
                  <a:lnTo>
                    <a:pt x="202" y="398"/>
                  </a:lnTo>
                  <a:lnTo>
                    <a:pt x="203" y="400"/>
                  </a:lnTo>
                  <a:lnTo>
                    <a:pt x="202" y="400"/>
                  </a:lnTo>
                  <a:lnTo>
                    <a:pt x="201" y="403"/>
                  </a:lnTo>
                  <a:lnTo>
                    <a:pt x="202" y="404"/>
                  </a:lnTo>
                  <a:lnTo>
                    <a:pt x="200" y="403"/>
                  </a:lnTo>
                  <a:lnTo>
                    <a:pt x="201" y="406"/>
                  </a:lnTo>
                  <a:lnTo>
                    <a:pt x="200" y="408"/>
                  </a:lnTo>
                  <a:lnTo>
                    <a:pt x="198" y="404"/>
                  </a:lnTo>
                  <a:lnTo>
                    <a:pt x="197" y="404"/>
                  </a:lnTo>
                  <a:lnTo>
                    <a:pt x="197" y="406"/>
                  </a:lnTo>
                  <a:lnTo>
                    <a:pt x="196" y="404"/>
                  </a:lnTo>
                  <a:lnTo>
                    <a:pt x="196" y="406"/>
                  </a:lnTo>
                  <a:lnTo>
                    <a:pt x="196" y="409"/>
                  </a:lnTo>
                  <a:lnTo>
                    <a:pt x="195" y="407"/>
                  </a:lnTo>
                  <a:lnTo>
                    <a:pt x="194" y="407"/>
                  </a:lnTo>
                  <a:lnTo>
                    <a:pt x="192" y="408"/>
                  </a:lnTo>
                  <a:lnTo>
                    <a:pt x="192" y="404"/>
                  </a:lnTo>
                  <a:lnTo>
                    <a:pt x="192" y="402"/>
                  </a:lnTo>
                  <a:lnTo>
                    <a:pt x="194" y="400"/>
                  </a:lnTo>
                  <a:lnTo>
                    <a:pt x="192" y="398"/>
                  </a:lnTo>
                  <a:lnTo>
                    <a:pt x="191" y="397"/>
                  </a:lnTo>
                  <a:lnTo>
                    <a:pt x="190" y="397"/>
                  </a:lnTo>
                  <a:lnTo>
                    <a:pt x="187" y="397"/>
                  </a:lnTo>
                  <a:lnTo>
                    <a:pt x="187" y="398"/>
                  </a:lnTo>
                  <a:lnTo>
                    <a:pt x="190" y="400"/>
                  </a:lnTo>
                  <a:lnTo>
                    <a:pt x="190" y="402"/>
                  </a:lnTo>
                  <a:lnTo>
                    <a:pt x="189" y="402"/>
                  </a:lnTo>
                  <a:lnTo>
                    <a:pt x="187" y="404"/>
                  </a:lnTo>
                  <a:lnTo>
                    <a:pt x="186" y="403"/>
                  </a:lnTo>
                  <a:lnTo>
                    <a:pt x="185" y="401"/>
                  </a:lnTo>
                  <a:lnTo>
                    <a:pt x="185" y="400"/>
                  </a:lnTo>
                  <a:lnTo>
                    <a:pt x="184" y="400"/>
                  </a:lnTo>
                  <a:lnTo>
                    <a:pt x="183" y="402"/>
                  </a:lnTo>
                  <a:lnTo>
                    <a:pt x="184" y="403"/>
                  </a:lnTo>
                  <a:lnTo>
                    <a:pt x="186" y="407"/>
                  </a:lnTo>
                  <a:lnTo>
                    <a:pt x="186" y="412"/>
                  </a:lnTo>
                  <a:lnTo>
                    <a:pt x="184" y="408"/>
                  </a:lnTo>
                  <a:lnTo>
                    <a:pt x="183" y="404"/>
                  </a:lnTo>
                  <a:lnTo>
                    <a:pt x="181" y="404"/>
                  </a:lnTo>
                  <a:lnTo>
                    <a:pt x="181" y="407"/>
                  </a:lnTo>
                  <a:lnTo>
                    <a:pt x="180" y="406"/>
                  </a:lnTo>
                  <a:lnTo>
                    <a:pt x="179" y="407"/>
                  </a:lnTo>
                  <a:lnTo>
                    <a:pt x="178" y="409"/>
                  </a:lnTo>
                  <a:lnTo>
                    <a:pt x="179" y="410"/>
                  </a:lnTo>
                  <a:lnTo>
                    <a:pt x="180" y="412"/>
                  </a:lnTo>
                  <a:lnTo>
                    <a:pt x="183" y="412"/>
                  </a:lnTo>
                  <a:lnTo>
                    <a:pt x="184" y="412"/>
                  </a:lnTo>
                  <a:lnTo>
                    <a:pt x="181" y="413"/>
                  </a:lnTo>
                  <a:lnTo>
                    <a:pt x="180" y="413"/>
                  </a:lnTo>
                  <a:lnTo>
                    <a:pt x="179" y="412"/>
                  </a:lnTo>
                  <a:lnTo>
                    <a:pt x="179" y="413"/>
                  </a:lnTo>
                  <a:lnTo>
                    <a:pt x="179" y="415"/>
                  </a:lnTo>
                  <a:lnTo>
                    <a:pt x="179" y="414"/>
                  </a:lnTo>
                  <a:lnTo>
                    <a:pt x="179" y="415"/>
                  </a:lnTo>
                  <a:lnTo>
                    <a:pt x="178" y="416"/>
                  </a:lnTo>
                  <a:lnTo>
                    <a:pt x="177" y="415"/>
                  </a:lnTo>
                  <a:lnTo>
                    <a:pt x="178" y="412"/>
                  </a:lnTo>
                  <a:lnTo>
                    <a:pt x="178" y="410"/>
                  </a:lnTo>
                  <a:lnTo>
                    <a:pt x="177" y="413"/>
                  </a:lnTo>
                  <a:lnTo>
                    <a:pt x="177" y="414"/>
                  </a:lnTo>
                  <a:lnTo>
                    <a:pt x="175" y="413"/>
                  </a:lnTo>
                  <a:lnTo>
                    <a:pt x="175" y="414"/>
                  </a:lnTo>
                  <a:lnTo>
                    <a:pt x="174" y="414"/>
                  </a:lnTo>
                  <a:lnTo>
                    <a:pt x="173" y="412"/>
                  </a:lnTo>
                  <a:lnTo>
                    <a:pt x="174" y="410"/>
                  </a:lnTo>
                  <a:lnTo>
                    <a:pt x="173" y="409"/>
                  </a:lnTo>
                  <a:lnTo>
                    <a:pt x="173" y="410"/>
                  </a:lnTo>
                  <a:lnTo>
                    <a:pt x="172" y="410"/>
                  </a:lnTo>
                  <a:lnTo>
                    <a:pt x="172" y="413"/>
                  </a:lnTo>
                  <a:lnTo>
                    <a:pt x="172" y="415"/>
                  </a:lnTo>
                  <a:lnTo>
                    <a:pt x="169" y="418"/>
                  </a:lnTo>
                  <a:lnTo>
                    <a:pt x="169" y="415"/>
                  </a:lnTo>
                  <a:lnTo>
                    <a:pt x="172" y="413"/>
                  </a:lnTo>
                  <a:lnTo>
                    <a:pt x="171" y="412"/>
                  </a:lnTo>
                  <a:lnTo>
                    <a:pt x="169" y="412"/>
                  </a:lnTo>
                  <a:lnTo>
                    <a:pt x="168" y="412"/>
                  </a:lnTo>
                  <a:lnTo>
                    <a:pt x="167" y="413"/>
                  </a:lnTo>
                  <a:lnTo>
                    <a:pt x="165" y="413"/>
                  </a:lnTo>
                  <a:lnTo>
                    <a:pt x="165" y="414"/>
                  </a:lnTo>
                  <a:lnTo>
                    <a:pt x="167" y="415"/>
                  </a:lnTo>
                  <a:lnTo>
                    <a:pt x="167" y="418"/>
                  </a:lnTo>
                  <a:lnTo>
                    <a:pt x="166" y="419"/>
                  </a:lnTo>
                  <a:lnTo>
                    <a:pt x="163" y="418"/>
                  </a:lnTo>
                  <a:lnTo>
                    <a:pt x="163" y="420"/>
                  </a:lnTo>
                  <a:lnTo>
                    <a:pt x="162" y="421"/>
                  </a:lnTo>
                  <a:lnTo>
                    <a:pt x="161" y="422"/>
                  </a:lnTo>
                  <a:lnTo>
                    <a:pt x="160" y="421"/>
                  </a:lnTo>
                  <a:lnTo>
                    <a:pt x="160" y="420"/>
                  </a:lnTo>
                  <a:lnTo>
                    <a:pt x="159" y="419"/>
                  </a:lnTo>
                  <a:lnTo>
                    <a:pt x="156" y="419"/>
                  </a:lnTo>
                  <a:lnTo>
                    <a:pt x="157" y="416"/>
                  </a:lnTo>
                  <a:lnTo>
                    <a:pt x="159" y="414"/>
                  </a:lnTo>
                  <a:lnTo>
                    <a:pt x="159" y="413"/>
                  </a:lnTo>
                  <a:lnTo>
                    <a:pt x="157" y="413"/>
                  </a:lnTo>
                  <a:lnTo>
                    <a:pt x="156" y="412"/>
                  </a:lnTo>
                  <a:lnTo>
                    <a:pt x="157" y="410"/>
                  </a:lnTo>
                  <a:lnTo>
                    <a:pt x="159" y="409"/>
                  </a:lnTo>
                  <a:lnTo>
                    <a:pt x="159" y="408"/>
                  </a:lnTo>
                  <a:lnTo>
                    <a:pt x="157" y="408"/>
                  </a:lnTo>
                  <a:lnTo>
                    <a:pt x="157" y="409"/>
                  </a:lnTo>
                  <a:lnTo>
                    <a:pt x="156" y="410"/>
                  </a:lnTo>
                  <a:lnTo>
                    <a:pt x="155" y="412"/>
                  </a:lnTo>
                  <a:lnTo>
                    <a:pt x="154" y="410"/>
                  </a:lnTo>
                  <a:lnTo>
                    <a:pt x="153" y="409"/>
                  </a:lnTo>
                  <a:lnTo>
                    <a:pt x="154" y="407"/>
                  </a:lnTo>
                  <a:lnTo>
                    <a:pt x="154" y="404"/>
                  </a:lnTo>
                  <a:lnTo>
                    <a:pt x="153" y="406"/>
                  </a:lnTo>
                  <a:lnTo>
                    <a:pt x="151" y="406"/>
                  </a:lnTo>
                  <a:lnTo>
                    <a:pt x="151" y="403"/>
                  </a:lnTo>
                  <a:lnTo>
                    <a:pt x="150" y="404"/>
                  </a:lnTo>
                  <a:lnTo>
                    <a:pt x="149" y="404"/>
                  </a:lnTo>
                  <a:lnTo>
                    <a:pt x="149" y="406"/>
                  </a:lnTo>
                  <a:lnTo>
                    <a:pt x="151" y="406"/>
                  </a:lnTo>
                  <a:lnTo>
                    <a:pt x="151" y="408"/>
                  </a:lnTo>
                  <a:lnTo>
                    <a:pt x="151" y="407"/>
                  </a:lnTo>
                  <a:lnTo>
                    <a:pt x="150" y="409"/>
                  </a:lnTo>
                  <a:lnTo>
                    <a:pt x="150" y="410"/>
                  </a:lnTo>
                  <a:lnTo>
                    <a:pt x="149" y="408"/>
                  </a:lnTo>
                  <a:lnTo>
                    <a:pt x="147" y="408"/>
                  </a:lnTo>
                  <a:lnTo>
                    <a:pt x="148" y="407"/>
                  </a:lnTo>
                  <a:lnTo>
                    <a:pt x="147" y="407"/>
                  </a:lnTo>
                  <a:lnTo>
                    <a:pt x="145" y="408"/>
                  </a:lnTo>
                  <a:lnTo>
                    <a:pt x="145" y="407"/>
                  </a:lnTo>
                  <a:lnTo>
                    <a:pt x="145" y="406"/>
                  </a:lnTo>
                  <a:lnTo>
                    <a:pt x="145" y="404"/>
                  </a:lnTo>
                  <a:lnTo>
                    <a:pt x="148" y="404"/>
                  </a:lnTo>
                  <a:lnTo>
                    <a:pt x="148" y="403"/>
                  </a:lnTo>
                  <a:lnTo>
                    <a:pt x="147" y="403"/>
                  </a:lnTo>
                  <a:lnTo>
                    <a:pt x="148" y="403"/>
                  </a:lnTo>
                  <a:lnTo>
                    <a:pt x="149" y="402"/>
                  </a:lnTo>
                  <a:lnTo>
                    <a:pt x="150" y="402"/>
                  </a:lnTo>
                  <a:lnTo>
                    <a:pt x="153" y="401"/>
                  </a:lnTo>
                  <a:lnTo>
                    <a:pt x="154" y="398"/>
                  </a:lnTo>
                  <a:lnTo>
                    <a:pt x="153" y="400"/>
                  </a:lnTo>
                  <a:lnTo>
                    <a:pt x="151" y="400"/>
                  </a:lnTo>
                  <a:lnTo>
                    <a:pt x="149" y="398"/>
                  </a:lnTo>
                  <a:lnTo>
                    <a:pt x="151" y="397"/>
                  </a:lnTo>
                  <a:lnTo>
                    <a:pt x="151" y="396"/>
                  </a:lnTo>
                  <a:lnTo>
                    <a:pt x="150" y="396"/>
                  </a:lnTo>
                  <a:lnTo>
                    <a:pt x="148" y="398"/>
                  </a:lnTo>
                  <a:lnTo>
                    <a:pt x="148" y="397"/>
                  </a:lnTo>
                  <a:lnTo>
                    <a:pt x="149" y="395"/>
                  </a:lnTo>
                  <a:lnTo>
                    <a:pt x="150" y="394"/>
                  </a:lnTo>
                  <a:lnTo>
                    <a:pt x="148" y="395"/>
                  </a:lnTo>
                  <a:lnTo>
                    <a:pt x="147" y="396"/>
                  </a:lnTo>
                  <a:lnTo>
                    <a:pt x="144" y="397"/>
                  </a:lnTo>
                  <a:lnTo>
                    <a:pt x="144" y="395"/>
                  </a:lnTo>
                  <a:lnTo>
                    <a:pt x="143" y="396"/>
                  </a:lnTo>
                  <a:lnTo>
                    <a:pt x="143" y="398"/>
                  </a:lnTo>
                  <a:lnTo>
                    <a:pt x="141" y="396"/>
                  </a:lnTo>
                  <a:lnTo>
                    <a:pt x="139" y="395"/>
                  </a:lnTo>
                  <a:lnTo>
                    <a:pt x="138" y="396"/>
                  </a:lnTo>
                  <a:lnTo>
                    <a:pt x="138" y="397"/>
                  </a:lnTo>
                  <a:lnTo>
                    <a:pt x="137" y="396"/>
                  </a:lnTo>
                  <a:lnTo>
                    <a:pt x="136" y="395"/>
                  </a:lnTo>
                  <a:lnTo>
                    <a:pt x="136" y="392"/>
                  </a:lnTo>
                  <a:lnTo>
                    <a:pt x="136" y="391"/>
                  </a:lnTo>
                  <a:lnTo>
                    <a:pt x="137" y="391"/>
                  </a:lnTo>
                  <a:lnTo>
                    <a:pt x="135" y="391"/>
                  </a:lnTo>
                  <a:lnTo>
                    <a:pt x="133" y="392"/>
                  </a:lnTo>
                  <a:lnTo>
                    <a:pt x="133" y="395"/>
                  </a:lnTo>
                  <a:lnTo>
                    <a:pt x="132" y="397"/>
                  </a:lnTo>
                  <a:lnTo>
                    <a:pt x="133" y="398"/>
                  </a:lnTo>
                  <a:lnTo>
                    <a:pt x="136" y="400"/>
                  </a:lnTo>
                  <a:lnTo>
                    <a:pt x="137" y="401"/>
                  </a:lnTo>
                  <a:lnTo>
                    <a:pt x="138" y="401"/>
                  </a:lnTo>
                  <a:lnTo>
                    <a:pt x="138" y="402"/>
                  </a:lnTo>
                  <a:lnTo>
                    <a:pt x="137" y="402"/>
                  </a:lnTo>
                  <a:lnTo>
                    <a:pt x="136" y="403"/>
                  </a:lnTo>
                  <a:lnTo>
                    <a:pt x="139" y="403"/>
                  </a:lnTo>
                  <a:lnTo>
                    <a:pt x="141" y="407"/>
                  </a:lnTo>
                  <a:lnTo>
                    <a:pt x="138" y="407"/>
                  </a:lnTo>
                  <a:lnTo>
                    <a:pt x="136" y="406"/>
                  </a:lnTo>
                  <a:lnTo>
                    <a:pt x="135" y="407"/>
                  </a:lnTo>
                  <a:lnTo>
                    <a:pt x="132" y="404"/>
                  </a:lnTo>
                  <a:lnTo>
                    <a:pt x="131" y="406"/>
                  </a:lnTo>
                  <a:lnTo>
                    <a:pt x="130" y="406"/>
                  </a:lnTo>
                  <a:lnTo>
                    <a:pt x="128" y="409"/>
                  </a:lnTo>
                  <a:lnTo>
                    <a:pt x="128" y="408"/>
                  </a:lnTo>
                  <a:lnTo>
                    <a:pt x="127" y="406"/>
                  </a:lnTo>
                  <a:lnTo>
                    <a:pt x="127" y="403"/>
                  </a:lnTo>
                  <a:lnTo>
                    <a:pt x="126" y="406"/>
                  </a:lnTo>
                  <a:lnTo>
                    <a:pt x="126" y="407"/>
                  </a:lnTo>
                  <a:lnTo>
                    <a:pt x="126" y="408"/>
                  </a:lnTo>
                  <a:lnTo>
                    <a:pt x="125" y="407"/>
                  </a:lnTo>
                  <a:lnTo>
                    <a:pt x="122" y="406"/>
                  </a:lnTo>
                  <a:lnTo>
                    <a:pt x="124" y="408"/>
                  </a:lnTo>
                  <a:lnTo>
                    <a:pt x="124" y="410"/>
                  </a:lnTo>
                  <a:lnTo>
                    <a:pt x="124" y="412"/>
                  </a:lnTo>
                  <a:lnTo>
                    <a:pt x="125" y="413"/>
                  </a:lnTo>
                  <a:lnTo>
                    <a:pt x="126" y="413"/>
                  </a:lnTo>
                  <a:lnTo>
                    <a:pt x="127" y="414"/>
                  </a:lnTo>
                  <a:lnTo>
                    <a:pt x="127" y="416"/>
                  </a:lnTo>
                  <a:lnTo>
                    <a:pt x="128" y="415"/>
                  </a:lnTo>
                  <a:lnTo>
                    <a:pt x="128" y="413"/>
                  </a:lnTo>
                  <a:lnTo>
                    <a:pt x="130" y="412"/>
                  </a:lnTo>
                  <a:lnTo>
                    <a:pt x="130" y="414"/>
                  </a:lnTo>
                  <a:lnTo>
                    <a:pt x="131" y="418"/>
                  </a:lnTo>
                  <a:lnTo>
                    <a:pt x="130" y="420"/>
                  </a:lnTo>
                  <a:lnTo>
                    <a:pt x="128" y="418"/>
                  </a:lnTo>
                  <a:lnTo>
                    <a:pt x="127" y="416"/>
                  </a:lnTo>
                  <a:lnTo>
                    <a:pt x="128" y="420"/>
                  </a:lnTo>
                  <a:lnTo>
                    <a:pt x="127" y="420"/>
                  </a:lnTo>
                  <a:lnTo>
                    <a:pt x="126" y="419"/>
                  </a:lnTo>
                  <a:lnTo>
                    <a:pt x="124" y="419"/>
                  </a:lnTo>
                  <a:lnTo>
                    <a:pt x="125" y="418"/>
                  </a:lnTo>
                  <a:lnTo>
                    <a:pt x="126" y="416"/>
                  </a:lnTo>
                  <a:lnTo>
                    <a:pt x="126" y="415"/>
                  </a:lnTo>
                  <a:lnTo>
                    <a:pt x="125" y="416"/>
                  </a:lnTo>
                  <a:lnTo>
                    <a:pt x="124" y="416"/>
                  </a:lnTo>
                  <a:lnTo>
                    <a:pt x="124" y="415"/>
                  </a:lnTo>
                  <a:lnTo>
                    <a:pt x="121" y="414"/>
                  </a:lnTo>
                  <a:lnTo>
                    <a:pt x="119" y="415"/>
                  </a:lnTo>
                  <a:lnTo>
                    <a:pt x="119" y="413"/>
                  </a:lnTo>
                  <a:lnTo>
                    <a:pt x="121" y="412"/>
                  </a:lnTo>
                  <a:lnTo>
                    <a:pt x="122" y="412"/>
                  </a:lnTo>
                  <a:lnTo>
                    <a:pt x="122" y="410"/>
                  </a:lnTo>
                  <a:lnTo>
                    <a:pt x="121" y="410"/>
                  </a:lnTo>
                  <a:lnTo>
                    <a:pt x="121" y="409"/>
                  </a:lnTo>
                  <a:lnTo>
                    <a:pt x="121" y="408"/>
                  </a:lnTo>
                  <a:lnTo>
                    <a:pt x="121" y="407"/>
                  </a:lnTo>
                  <a:lnTo>
                    <a:pt x="120" y="406"/>
                  </a:lnTo>
                  <a:lnTo>
                    <a:pt x="119" y="407"/>
                  </a:lnTo>
                  <a:lnTo>
                    <a:pt x="119" y="408"/>
                  </a:lnTo>
                  <a:lnTo>
                    <a:pt x="118" y="409"/>
                  </a:lnTo>
                  <a:lnTo>
                    <a:pt x="118" y="410"/>
                  </a:lnTo>
                  <a:lnTo>
                    <a:pt x="116" y="409"/>
                  </a:lnTo>
                  <a:lnTo>
                    <a:pt x="115" y="407"/>
                  </a:lnTo>
                  <a:lnTo>
                    <a:pt x="115" y="406"/>
                  </a:lnTo>
                  <a:lnTo>
                    <a:pt x="114" y="404"/>
                  </a:lnTo>
                  <a:lnTo>
                    <a:pt x="115" y="402"/>
                  </a:lnTo>
                  <a:lnTo>
                    <a:pt x="115" y="401"/>
                  </a:lnTo>
                  <a:lnTo>
                    <a:pt x="114" y="402"/>
                  </a:lnTo>
                  <a:lnTo>
                    <a:pt x="114" y="401"/>
                  </a:lnTo>
                  <a:lnTo>
                    <a:pt x="113" y="401"/>
                  </a:lnTo>
                  <a:lnTo>
                    <a:pt x="112" y="400"/>
                  </a:lnTo>
                  <a:lnTo>
                    <a:pt x="110" y="400"/>
                  </a:lnTo>
                  <a:lnTo>
                    <a:pt x="110" y="398"/>
                  </a:lnTo>
                  <a:lnTo>
                    <a:pt x="110" y="397"/>
                  </a:lnTo>
                  <a:lnTo>
                    <a:pt x="109" y="400"/>
                  </a:lnTo>
                  <a:lnTo>
                    <a:pt x="110" y="401"/>
                  </a:lnTo>
                  <a:lnTo>
                    <a:pt x="112" y="401"/>
                  </a:lnTo>
                  <a:lnTo>
                    <a:pt x="112" y="402"/>
                  </a:lnTo>
                  <a:lnTo>
                    <a:pt x="112" y="403"/>
                  </a:lnTo>
                  <a:lnTo>
                    <a:pt x="110" y="404"/>
                  </a:lnTo>
                  <a:lnTo>
                    <a:pt x="109" y="406"/>
                  </a:lnTo>
                  <a:lnTo>
                    <a:pt x="112" y="406"/>
                  </a:lnTo>
                  <a:lnTo>
                    <a:pt x="113" y="406"/>
                  </a:lnTo>
                  <a:lnTo>
                    <a:pt x="114" y="408"/>
                  </a:lnTo>
                  <a:lnTo>
                    <a:pt x="113" y="409"/>
                  </a:lnTo>
                  <a:lnTo>
                    <a:pt x="112" y="409"/>
                  </a:lnTo>
                  <a:lnTo>
                    <a:pt x="110" y="410"/>
                  </a:lnTo>
                  <a:lnTo>
                    <a:pt x="109" y="412"/>
                  </a:lnTo>
                  <a:lnTo>
                    <a:pt x="108" y="410"/>
                  </a:lnTo>
                  <a:lnTo>
                    <a:pt x="109" y="408"/>
                  </a:lnTo>
                  <a:lnTo>
                    <a:pt x="108" y="407"/>
                  </a:lnTo>
                  <a:lnTo>
                    <a:pt x="108" y="409"/>
                  </a:lnTo>
                  <a:lnTo>
                    <a:pt x="107" y="412"/>
                  </a:lnTo>
                  <a:lnTo>
                    <a:pt x="107" y="410"/>
                  </a:lnTo>
                  <a:lnTo>
                    <a:pt x="106" y="410"/>
                  </a:lnTo>
                  <a:lnTo>
                    <a:pt x="104" y="412"/>
                  </a:lnTo>
                  <a:lnTo>
                    <a:pt x="104" y="409"/>
                  </a:lnTo>
                  <a:lnTo>
                    <a:pt x="103" y="408"/>
                  </a:lnTo>
                  <a:lnTo>
                    <a:pt x="102" y="409"/>
                  </a:lnTo>
                  <a:lnTo>
                    <a:pt x="103" y="410"/>
                  </a:lnTo>
                  <a:lnTo>
                    <a:pt x="102" y="413"/>
                  </a:lnTo>
                  <a:lnTo>
                    <a:pt x="101" y="414"/>
                  </a:lnTo>
                  <a:lnTo>
                    <a:pt x="100" y="413"/>
                  </a:lnTo>
                  <a:lnTo>
                    <a:pt x="98" y="412"/>
                  </a:lnTo>
                  <a:lnTo>
                    <a:pt x="97" y="414"/>
                  </a:lnTo>
                  <a:lnTo>
                    <a:pt x="98" y="415"/>
                  </a:lnTo>
                  <a:lnTo>
                    <a:pt x="100" y="416"/>
                  </a:lnTo>
                  <a:lnTo>
                    <a:pt x="101" y="415"/>
                  </a:lnTo>
                  <a:lnTo>
                    <a:pt x="102" y="418"/>
                  </a:lnTo>
                  <a:lnTo>
                    <a:pt x="103" y="418"/>
                  </a:lnTo>
                  <a:lnTo>
                    <a:pt x="103" y="414"/>
                  </a:lnTo>
                  <a:lnTo>
                    <a:pt x="104" y="413"/>
                  </a:lnTo>
                  <a:lnTo>
                    <a:pt x="104" y="414"/>
                  </a:lnTo>
                  <a:lnTo>
                    <a:pt x="107" y="414"/>
                  </a:lnTo>
                  <a:lnTo>
                    <a:pt x="107" y="416"/>
                  </a:lnTo>
                  <a:lnTo>
                    <a:pt x="104" y="418"/>
                  </a:lnTo>
                  <a:lnTo>
                    <a:pt x="106" y="419"/>
                  </a:lnTo>
                  <a:lnTo>
                    <a:pt x="104" y="419"/>
                  </a:lnTo>
                  <a:lnTo>
                    <a:pt x="103" y="419"/>
                  </a:lnTo>
                  <a:lnTo>
                    <a:pt x="101" y="418"/>
                  </a:lnTo>
                  <a:lnTo>
                    <a:pt x="101" y="419"/>
                  </a:lnTo>
                  <a:lnTo>
                    <a:pt x="101" y="420"/>
                  </a:lnTo>
                  <a:lnTo>
                    <a:pt x="100" y="421"/>
                  </a:lnTo>
                  <a:lnTo>
                    <a:pt x="100" y="422"/>
                  </a:lnTo>
                  <a:lnTo>
                    <a:pt x="98" y="421"/>
                  </a:lnTo>
                  <a:lnTo>
                    <a:pt x="97" y="418"/>
                  </a:lnTo>
                  <a:lnTo>
                    <a:pt x="95" y="418"/>
                  </a:lnTo>
                  <a:lnTo>
                    <a:pt x="95" y="419"/>
                  </a:lnTo>
                  <a:lnTo>
                    <a:pt x="95" y="416"/>
                  </a:lnTo>
                  <a:lnTo>
                    <a:pt x="94" y="419"/>
                  </a:lnTo>
                  <a:lnTo>
                    <a:pt x="92" y="421"/>
                  </a:lnTo>
                  <a:lnTo>
                    <a:pt x="92" y="420"/>
                  </a:lnTo>
                  <a:lnTo>
                    <a:pt x="89" y="422"/>
                  </a:lnTo>
                  <a:lnTo>
                    <a:pt x="89" y="424"/>
                  </a:lnTo>
                  <a:lnTo>
                    <a:pt x="88" y="421"/>
                  </a:lnTo>
                  <a:lnTo>
                    <a:pt x="86" y="421"/>
                  </a:lnTo>
                  <a:lnTo>
                    <a:pt x="84" y="424"/>
                  </a:lnTo>
                  <a:lnTo>
                    <a:pt x="83" y="425"/>
                  </a:lnTo>
                  <a:lnTo>
                    <a:pt x="82" y="422"/>
                  </a:lnTo>
                  <a:lnTo>
                    <a:pt x="80" y="420"/>
                  </a:lnTo>
                  <a:lnTo>
                    <a:pt x="80" y="419"/>
                  </a:lnTo>
                  <a:lnTo>
                    <a:pt x="79" y="420"/>
                  </a:lnTo>
                  <a:lnTo>
                    <a:pt x="79" y="418"/>
                  </a:lnTo>
                  <a:lnTo>
                    <a:pt x="82" y="415"/>
                  </a:lnTo>
                  <a:lnTo>
                    <a:pt x="84" y="414"/>
                  </a:lnTo>
                  <a:lnTo>
                    <a:pt x="85" y="415"/>
                  </a:lnTo>
                  <a:lnTo>
                    <a:pt x="86" y="415"/>
                  </a:lnTo>
                  <a:lnTo>
                    <a:pt x="85" y="414"/>
                  </a:lnTo>
                  <a:lnTo>
                    <a:pt x="85" y="413"/>
                  </a:lnTo>
                  <a:lnTo>
                    <a:pt x="84" y="414"/>
                  </a:lnTo>
                  <a:lnTo>
                    <a:pt x="82" y="413"/>
                  </a:lnTo>
                  <a:lnTo>
                    <a:pt x="79" y="413"/>
                  </a:lnTo>
                  <a:lnTo>
                    <a:pt x="78" y="413"/>
                  </a:lnTo>
                  <a:lnTo>
                    <a:pt x="76" y="414"/>
                  </a:lnTo>
                  <a:lnTo>
                    <a:pt x="73" y="418"/>
                  </a:lnTo>
                  <a:lnTo>
                    <a:pt x="73" y="415"/>
                  </a:lnTo>
                  <a:lnTo>
                    <a:pt x="73" y="413"/>
                  </a:lnTo>
                  <a:lnTo>
                    <a:pt x="74" y="410"/>
                  </a:lnTo>
                  <a:lnTo>
                    <a:pt x="77" y="410"/>
                  </a:lnTo>
                  <a:lnTo>
                    <a:pt x="78" y="410"/>
                  </a:lnTo>
                  <a:lnTo>
                    <a:pt x="82" y="409"/>
                  </a:lnTo>
                  <a:lnTo>
                    <a:pt x="78" y="408"/>
                  </a:lnTo>
                  <a:lnTo>
                    <a:pt x="74" y="409"/>
                  </a:lnTo>
                  <a:lnTo>
                    <a:pt x="73" y="409"/>
                  </a:lnTo>
                  <a:lnTo>
                    <a:pt x="72" y="410"/>
                  </a:lnTo>
                  <a:lnTo>
                    <a:pt x="71" y="410"/>
                  </a:lnTo>
                  <a:lnTo>
                    <a:pt x="72" y="409"/>
                  </a:lnTo>
                  <a:lnTo>
                    <a:pt x="69" y="410"/>
                  </a:lnTo>
                  <a:lnTo>
                    <a:pt x="69" y="409"/>
                  </a:lnTo>
                  <a:lnTo>
                    <a:pt x="72" y="407"/>
                  </a:lnTo>
                  <a:lnTo>
                    <a:pt x="76" y="407"/>
                  </a:lnTo>
                  <a:lnTo>
                    <a:pt x="78" y="408"/>
                  </a:lnTo>
                  <a:lnTo>
                    <a:pt x="80" y="409"/>
                  </a:lnTo>
                  <a:lnTo>
                    <a:pt x="82" y="409"/>
                  </a:lnTo>
                  <a:lnTo>
                    <a:pt x="84" y="408"/>
                  </a:lnTo>
                  <a:lnTo>
                    <a:pt x="88" y="407"/>
                  </a:lnTo>
                  <a:lnTo>
                    <a:pt x="89" y="406"/>
                  </a:lnTo>
                  <a:lnTo>
                    <a:pt x="88" y="407"/>
                  </a:lnTo>
                  <a:lnTo>
                    <a:pt x="85" y="406"/>
                  </a:lnTo>
                  <a:lnTo>
                    <a:pt x="84" y="407"/>
                  </a:lnTo>
                  <a:lnTo>
                    <a:pt x="82" y="407"/>
                  </a:lnTo>
                  <a:lnTo>
                    <a:pt x="79" y="407"/>
                  </a:lnTo>
                  <a:lnTo>
                    <a:pt x="79" y="406"/>
                  </a:lnTo>
                  <a:lnTo>
                    <a:pt x="78" y="404"/>
                  </a:lnTo>
                  <a:lnTo>
                    <a:pt x="79" y="403"/>
                  </a:lnTo>
                  <a:lnTo>
                    <a:pt x="77" y="404"/>
                  </a:lnTo>
                  <a:lnTo>
                    <a:pt x="74" y="404"/>
                  </a:lnTo>
                  <a:lnTo>
                    <a:pt x="73" y="404"/>
                  </a:lnTo>
                  <a:lnTo>
                    <a:pt x="69" y="404"/>
                  </a:lnTo>
                  <a:lnTo>
                    <a:pt x="69" y="403"/>
                  </a:lnTo>
                  <a:lnTo>
                    <a:pt x="71" y="402"/>
                  </a:lnTo>
                  <a:lnTo>
                    <a:pt x="69" y="401"/>
                  </a:lnTo>
                  <a:lnTo>
                    <a:pt x="67" y="401"/>
                  </a:lnTo>
                  <a:lnTo>
                    <a:pt x="68" y="398"/>
                  </a:lnTo>
                  <a:lnTo>
                    <a:pt x="66" y="398"/>
                  </a:lnTo>
                  <a:lnTo>
                    <a:pt x="66" y="397"/>
                  </a:lnTo>
                  <a:lnTo>
                    <a:pt x="65" y="398"/>
                  </a:lnTo>
                  <a:lnTo>
                    <a:pt x="63" y="400"/>
                  </a:lnTo>
                  <a:lnTo>
                    <a:pt x="63" y="398"/>
                  </a:lnTo>
                  <a:lnTo>
                    <a:pt x="61" y="400"/>
                  </a:lnTo>
                  <a:lnTo>
                    <a:pt x="60" y="403"/>
                  </a:lnTo>
                  <a:lnTo>
                    <a:pt x="57" y="407"/>
                  </a:lnTo>
                  <a:lnTo>
                    <a:pt x="56" y="409"/>
                  </a:lnTo>
                  <a:lnTo>
                    <a:pt x="55" y="404"/>
                  </a:lnTo>
                  <a:lnTo>
                    <a:pt x="54" y="406"/>
                  </a:lnTo>
                  <a:lnTo>
                    <a:pt x="53" y="406"/>
                  </a:lnTo>
                  <a:lnTo>
                    <a:pt x="53" y="407"/>
                  </a:lnTo>
                  <a:lnTo>
                    <a:pt x="53" y="408"/>
                  </a:lnTo>
                  <a:lnTo>
                    <a:pt x="53" y="409"/>
                  </a:lnTo>
                  <a:lnTo>
                    <a:pt x="51" y="410"/>
                  </a:lnTo>
                  <a:lnTo>
                    <a:pt x="53" y="409"/>
                  </a:lnTo>
                  <a:lnTo>
                    <a:pt x="55" y="412"/>
                  </a:lnTo>
                  <a:lnTo>
                    <a:pt x="54" y="415"/>
                  </a:lnTo>
                  <a:lnTo>
                    <a:pt x="53" y="414"/>
                  </a:lnTo>
                  <a:lnTo>
                    <a:pt x="50" y="413"/>
                  </a:lnTo>
                  <a:lnTo>
                    <a:pt x="49" y="412"/>
                  </a:lnTo>
                  <a:lnTo>
                    <a:pt x="49" y="413"/>
                  </a:lnTo>
                  <a:lnTo>
                    <a:pt x="49" y="414"/>
                  </a:lnTo>
                  <a:lnTo>
                    <a:pt x="47" y="413"/>
                  </a:lnTo>
                  <a:lnTo>
                    <a:pt x="47" y="412"/>
                  </a:lnTo>
                  <a:lnTo>
                    <a:pt x="45" y="413"/>
                  </a:lnTo>
                  <a:lnTo>
                    <a:pt x="45" y="414"/>
                  </a:lnTo>
                  <a:lnTo>
                    <a:pt x="43" y="415"/>
                  </a:lnTo>
                  <a:lnTo>
                    <a:pt x="42" y="415"/>
                  </a:lnTo>
                  <a:lnTo>
                    <a:pt x="41" y="415"/>
                  </a:lnTo>
                  <a:lnTo>
                    <a:pt x="39" y="418"/>
                  </a:lnTo>
                  <a:lnTo>
                    <a:pt x="38" y="419"/>
                  </a:lnTo>
                  <a:lnTo>
                    <a:pt x="37" y="418"/>
                  </a:lnTo>
                  <a:lnTo>
                    <a:pt x="35" y="418"/>
                  </a:lnTo>
                  <a:lnTo>
                    <a:pt x="33" y="416"/>
                  </a:lnTo>
                  <a:lnTo>
                    <a:pt x="30" y="418"/>
                  </a:lnTo>
                  <a:lnTo>
                    <a:pt x="27" y="419"/>
                  </a:lnTo>
                  <a:lnTo>
                    <a:pt x="26" y="421"/>
                  </a:lnTo>
                  <a:lnTo>
                    <a:pt x="26" y="422"/>
                  </a:lnTo>
                  <a:lnTo>
                    <a:pt x="25" y="424"/>
                  </a:lnTo>
                  <a:lnTo>
                    <a:pt x="24" y="422"/>
                  </a:lnTo>
                  <a:lnTo>
                    <a:pt x="24" y="421"/>
                  </a:lnTo>
                  <a:lnTo>
                    <a:pt x="21" y="421"/>
                  </a:lnTo>
                  <a:lnTo>
                    <a:pt x="23" y="420"/>
                  </a:lnTo>
                  <a:lnTo>
                    <a:pt x="21" y="420"/>
                  </a:lnTo>
                  <a:lnTo>
                    <a:pt x="21" y="419"/>
                  </a:lnTo>
                  <a:lnTo>
                    <a:pt x="20" y="420"/>
                  </a:lnTo>
                  <a:lnTo>
                    <a:pt x="20" y="419"/>
                  </a:lnTo>
                  <a:lnTo>
                    <a:pt x="18" y="419"/>
                  </a:lnTo>
                  <a:lnTo>
                    <a:pt x="15" y="421"/>
                  </a:lnTo>
                  <a:lnTo>
                    <a:pt x="15" y="420"/>
                  </a:lnTo>
                  <a:lnTo>
                    <a:pt x="13" y="421"/>
                  </a:lnTo>
                  <a:lnTo>
                    <a:pt x="10" y="422"/>
                  </a:lnTo>
                  <a:lnTo>
                    <a:pt x="13" y="419"/>
                  </a:lnTo>
                  <a:lnTo>
                    <a:pt x="12" y="419"/>
                  </a:lnTo>
                  <a:lnTo>
                    <a:pt x="14" y="415"/>
                  </a:lnTo>
                  <a:lnTo>
                    <a:pt x="15" y="412"/>
                  </a:lnTo>
                  <a:lnTo>
                    <a:pt x="18" y="412"/>
                  </a:lnTo>
                  <a:lnTo>
                    <a:pt x="17" y="410"/>
                  </a:lnTo>
                  <a:lnTo>
                    <a:pt x="13" y="413"/>
                  </a:lnTo>
                  <a:lnTo>
                    <a:pt x="10" y="416"/>
                  </a:lnTo>
                  <a:lnTo>
                    <a:pt x="13" y="412"/>
                  </a:lnTo>
                  <a:lnTo>
                    <a:pt x="13" y="409"/>
                  </a:lnTo>
                  <a:lnTo>
                    <a:pt x="12" y="407"/>
                  </a:lnTo>
                  <a:lnTo>
                    <a:pt x="14" y="404"/>
                  </a:lnTo>
                  <a:lnTo>
                    <a:pt x="13" y="404"/>
                  </a:lnTo>
                  <a:lnTo>
                    <a:pt x="12" y="406"/>
                  </a:lnTo>
                  <a:lnTo>
                    <a:pt x="8" y="408"/>
                  </a:lnTo>
                  <a:lnTo>
                    <a:pt x="8" y="406"/>
                  </a:lnTo>
                  <a:lnTo>
                    <a:pt x="8" y="402"/>
                  </a:lnTo>
                  <a:lnTo>
                    <a:pt x="10" y="400"/>
                  </a:lnTo>
                  <a:lnTo>
                    <a:pt x="12" y="400"/>
                  </a:lnTo>
                  <a:lnTo>
                    <a:pt x="14" y="400"/>
                  </a:lnTo>
                  <a:lnTo>
                    <a:pt x="18" y="398"/>
                  </a:lnTo>
                  <a:lnTo>
                    <a:pt x="18" y="397"/>
                  </a:lnTo>
                  <a:lnTo>
                    <a:pt x="20" y="396"/>
                  </a:lnTo>
                  <a:lnTo>
                    <a:pt x="21" y="398"/>
                  </a:lnTo>
                  <a:lnTo>
                    <a:pt x="23" y="397"/>
                  </a:lnTo>
                  <a:lnTo>
                    <a:pt x="24" y="397"/>
                  </a:lnTo>
                  <a:lnTo>
                    <a:pt x="26" y="397"/>
                  </a:lnTo>
                  <a:lnTo>
                    <a:pt x="30" y="395"/>
                  </a:lnTo>
                  <a:lnTo>
                    <a:pt x="32" y="396"/>
                  </a:lnTo>
                  <a:lnTo>
                    <a:pt x="31" y="396"/>
                  </a:lnTo>
                  <a:lnTo>
                    <a:pt x="30" y="397"/>
                  </a:lnTo>
                  <a:lnTo>
                    <a:pt x="27" y="398"/>
                  </a:lnTo>
                  <a:lnTo>
                    <a:pt x="27" y="400"/>
                  </a:lnTo>
                  <a:lnTo>
                    <a:pt x="26" y="401"/>
                  </a:lnTo>
                  <a:lnTo>
                    <a:pt x="27" y="401"/>
                  </a:lnTo>
                  <a:lnTo>
                    <a:pt x="30" y="400"/>
                  </a:lnTo>
                  <a:lnTo>
                    <a:pt x="31" y="398"/>
                  </a:lnTo>
                  <a:lnTo>
                    <a:pt x="31" y="397"/>
                  </a:lnTo>
                  <a:lnTo>
                    <a:pt x="33" y="397"/>
                  </a:lnTo>
                  <a:lnTo>
                    <a:pt x="35" y="397"/>
                  </a:lnTo>
                  <a:lnTo>
                    <a:pt x="37" y="396"/>
                  </a:lnTo>
                  <a:lnTo>
                    <a:pt x="36" y="396"/>
                  </a:lnTo>
                  <a:lnTo>
                    <a:pt x="35" y="396"/>
                  </a:lnTo>
                  <a:lnTo>
                    <a:pt x="35" y="395"/>
                  </a:lnTo>
                  <a:lnTo>
                    <a:pt x="36" y="391"/>
                  </a:lnTo>
                  <a:lnTo>
                    <a:pt x="38" y="390"/>
                  </a:lnTo>
                  <a:lnTo>
                    <a:pt x="38" y="389"/>
                  </a:lnTo>
                  <a:lnTo>
                    <a:pt x="39" y="388"/>
                  </a:lnTo>
                  <a:lnTo>
                    <a:pt x="37" y="389"/>
                  </a:lnTo>
                  <a:lnTo>
                    <a:pt x="36" y="390"/>
                  </a:lnTo>
                  <a:lnTo>
                    <a:pt x="37" y="388"/>
                  </a:lnTo>
                  <a:lnTo>
                    <a:pt x="35" y="388"/>
                  </a:lnTo>
                  <a:lnTo>
                    <a:pt x="32" y="391"/>
                  </a:lnTo>
                  <a:lnTo>
                    <a:pt x="35" y="386"/>
                  </a:lnTo>
                  <a:lnTo>
                    <a:pt x="36" y="384"/>
                  </a:lnTo>
                  <a:lnTo>
                    <a:pt x="38" y="382"/>
                  </a:lnTo>
                  <a:lnTo>
                    <a:pt x="38" y="380"/>
                  </a:lnTo>
                  <a:lnTo>
                    <a:pt x="39" y="379"/>
                  </a:lnTo>
                  <a:lnTo>
                    <a:pt x="37" y="378"/>
                  </a:lnTo>
                  <a:lnTo>
                    <a:pt x="33" y="379"/>
                  </a:lnTo>
                  <a:lnTo>
                    <a:pt x="36" y="376"/>
                  </a:lnTo>
                  <a:lnTo>
                    <a:pt x="38" y="374"/>
                  </a:lnTo>
                  <a:lnTo>
                    <a:pt x="42" y="374"/>
                  </a:lnTo>
                  <a:lnTo>
                    <a:pt x="43" y="376"/>
                  </a:lnTo>
                  <a:lnTo>
                    <a:pt x="45" y="377"/>
                  </a:lnTo>
                  <a:lnTo>
                    <a:pt x="45" y="376"/>
                  </a:lnTo>
                  <a:lnTo>
                    <a:pt x="48" y="377"/>
                  </a:lnTo>
                  <a:lnTo>
                    <a:pt x="49" y="377"/>
                  </a:lnTo>
                  <a:lnTo>
                    <a:pt x="48" y="376"/>
                  </a:lnTo>
                  <a:lnTo>
                    <a:pt x="44" y="374"/>
                  </a:lnTo>
                  <a:lnTo>
                    <a:pt x="44" y="373"/>
                  </a:lnTo>
                  <a:lnTo>
                    <a:pt x="45" y="372"/>
                  </a:lnTo>
                  <a:lnTo>
                    <a:pt x="47" y="371"/>
                  </a:lnTo>
                  <a:lnTo>
                    <a:pt x="45" y="370"/>
                  </a:lnTo>
                  <a:lnTo>
                    <a:pt x="44" y="370"/>
                  </a:lnTo>
                  <a:lnTo>
                    <a:pt x="44" y="372"/>
                  </a:lnTo>
                  <a:lnTo>
                    <a:pt x="43" y="371"/>
                  </a:lnTo>
                  <a:lnTo>
                    <a:pt x="43" y="368"/>
                  </a:lnTo>
                  <a:lnTo>
                    <a:pt x="44" y="367"/>
                  </a:lnTo>
                  <a:lnTo>
                    <a:pt x="43" y="367"/>
                  </a:lnTo>
                  <a:lnTo>
                    <a:pt x="43" y="366"/>
                  </a:lnTo>
                  <a:lnTo>
                    <a:pt x="42" y="367"/>
                  </a:lnTo>
                  <a:lnTo>
                    <a:pt x="39" y="368"/>
                  </a:lnTo>
                  <a:lnTo>
                    <a:pt x="39" y="370"/>
                  </a:lnTo>
                  <a:lnTo>
                    <a:pt x="39" y="367"/>
                  </a:lnTo>
                  <a:lnTo>
                    <a:pt x="39" y="366"/>
                  </a:lnTo>
                  <a:lnTo>
                    <a:pt x="38" y="367"/>
                  </a:lnTo>
                  <a:lnTo>
                    <a:pt x="39" y="364"/>
                  </a:lnTo>
                  <a:lnTo>
                    <a:pt x="41" y="362"/>
                  </a:lnTo>
                  <a:lnTo>
                    <a:pt x="43" y="361"/>
                  </a:lnTo>
                  <a:lnTo>
                    <a:pt x="45" y="359"/>
                  </a:lnTo>
                  <a:lnTo>
                    <a:pt x="47" y="356"/>
                  </a:lnTo>
                  <a:lnTo>
                    <a:pt x="45" y="356"/>
                  </a:lnTo>
                  <a:lnTo>
                    <a:pt x="44" y="358"/>
                  </a:lnTo>
                  <a:lnTo>
                    <a:pt x="44" y="356"/>
                  </a:lnTo>
                  <a:lnTo>
                    <a:pt x="43" y="358"/>
                  </a:lnTo>
                  <a:lnTo>
                    <a:pt x="43" y="359"/>
                  </a:lnTo>
                  <a:lnTo>
                    <a:pt x="43" y="358"/>
                  </a:lnTo>
                  <a:lnTo>
                    <a:pt x="42" y="359"/>
                  </a:lnTo>
                  <a:lnTo>
                    <a:pt x="41" y="359"/>
                  </a:lnTo>
                  <a:lnTo>
                    <a:pt x="39" y="359"/>
                  </a:lnTo>
                  <a:lnTo>
                    <a:pt x="38" y="361"/>
                  </a:lnTo>
                  <a:lnTo>
                    <a:pt x="38" y="359"/>
                  </a:lnTo>
                  <a:lnTo>
                    <a:pt x="39" y="356"/>
                  </a:lnTo>
                  <a:lnTo>
                    <a:pt x="38" y="356"/>
                  </a:lnTo>
                  <a:lnTo>
                    <a:pt x="36" y="355"/>
                  </a:lnTo>
                  <a:lnTo>
                    <a:pt x="36" y="353"/>
                  </a:lnTo>
                  <a:lnTo>
                    <a:pt x="37" y="352"/>
                  </a:lnTo>
                  <a:lnTo>
                    <a:pt x="36" y="350"/>
                  </a:lnTo>
                  <a:lnTo>
                    <a:pt x="35" y="349"/>
                  </a:lnTo>
                  <a:lnTo>
                    <a:pt x="30" y="353"/>
                  </a:lnTo>
                  <a:lnTo>
                    <a:pt x="29" y="358"/>
                  </a:lnTo>
                  <a:lnTo>
                    <a:pt x="24" y="364"/>
                  </a:lnTo>
                  <a:lnTo>
                    <a:pt x="27" y="359"/>
                  </a:lnTo>
                  <a:lnTo>
                    <a:pt x="27" y="355"/>
                  </a:lnTo>
                  <a:lnTo>
                    <a:pt x="25" y="356"/>
                  </a:lnTo>
                  <a:lnTo>
                    <a:pt x="23" y="358"/>
                  </a:lnTo>
                  <a:lnTo>
                    <a:pt x="26" y="356"/>
                  </a:lnTo>
                  <a:lnTo>
                    <a:pt x="29" y="354"/>
                  </a:lnTo>
                  <a:lnTo>
                    <a:pt x="29" y="353"/>
                  </a:lnTo>
                  <a:lnTo>
                    <a:pt x="23" y="355"/>
                  </a:lnTo>
                  <a:lnTo>
                    <a:pt x="19" y="359"/>
                  </a:lnTo>
                  <a:lnTo>
                    <a:pt x="21" y="355"/>
                  </a:lnTo>
                  <a:lnTo>
                    <a:pt x="19" y="356"/>
                  </a:lnTo>
                  <a:lnTo>
                    <a:pt x="18" y="355"/>
                  </a:lnTo>
                  <a:lnTo>
                    <a:pt x="20" y="355"/>
                  </a:lnTo>
                  <a:lnTo>
                    <a:pt x="19" y="354"/>
                  </a:lnTo>
                  <a:lnTo>
                    <a:pt x="18" y="354"/>
                  </a:lnTo>
                  <a:lnTo>
                    <a:pt x="15" y="355"/>
                  </a:lnTo>
                  <a:lnTo>
                    <a:pt x="14" y="355"/>
                  </a:lnTo>
                  <a:lnTo>
                    <a:pt x="14" y="354"/>
                  </a:lnTo>
                  <a:lnTo>
                    <a:pt x="13" y="354"/>
                  </a:lnTo>
                  <a:lnTo>
                    <a:pt x="10" y="354"/>
                  </a:lnTo>
                  <a:lnTo>
                    <a:pt x="12" y="352"/>
                  </a:lnTo>
                  <a:lnTo>
                    <a:pt x="13" y="350"/>
                  </a:lnTo>
                  <a:lnTo>
                    <a:pt x="12" y="350"/>
                  </a:lnTo>
                  <a:lnTo>
                    <a:pt x="13" y="349"/>
                  </a:lnTo>
                  <a:lnTo>
                    <a:pt x="12" y="349"/>
                  </a:lnTo>
                  <a:lnTo>
                    <a:pt x="13" y="348"/>
                  </a:lnTo>
                  <a:lnTo>
                    <a:pt x="13" y="347"/>
                  </a:lnTo>
                  <a:lnTo>
                    <a:pt x="17" y="345"/>
                  </a:lnTo>
                  <a:lnTo>
                    <a:pt x="19" y="344"/>
                  </a:lnTo>
                  <a:lnTo>
                    <a:pt x="18" y="344"/>
                  </a:lnTo>
                  <a:lnTo>
                    <a:pt x="19" y="343"/>
                  </a:lnTo>
                  <a:lnTo>
                    <a:pt x="18" y="343"/>
                  </a:lnTo>
                  <a:lnTo>
                    <a:pt x="19" y="342"/>
                  </a:lnTo>
                  <a:lnTo>
                    <a:pt x="20" y="341"/>
                  </a:lnTo>
                  <a:lnTo>
                    <a:pt x="17" y="341"/>
                  </a:lnTo>
                  <a:lnTo>
                    <a:pt x="15" y="341"/>
                  </a:lnTo>
                  <a:lnTo>
                    <a:pt x="13" y="339"/>
                  </a:lnTo>
                  <a:lnTo>
                    <a:pt x="14" y="338"/>
                  </a:lnTo>
                  <a:lnTo>
                    <a:pt x="17" y="337"/>
                  </a:lnTo>
                  <a:lnTo>
                    <a:pt x="19" y="337"/>
                  </a:lnTo>
                  <a:lnTo>
                    <a:pt x="21" y="337"/>
                  </a:lnTo>
                  <a:lnTo>
                    <a:pt x="23" y="339"/>
                  </a:lnTo>
                  <a:lnTo>
                    <a:pt x="25" y="341"/>
                  </a:lnTo>
                  <a:lnTo>
                    <a:pt x="26" y="341"/>
                  </a:lnTo>
                  <a:lnTo>
                    <a:pt x="27" y="339"/>
                  </a:lnTo>
                  <a:lnTo>
                    <a:pt x="29" y="339"/>
                  </a:lnTo>
                  <a:lnTo>
                    <a:pt x="31" y="339"/>
                  </a:lnTo>
                  <a:lnTo>
                    <a:pt x="32" y="338"/>
                  </a:lnTo>
                  <a:lnTo>
                    <a:pt x="33" y="338"/>
                  </a:lnTo>
                  <a:lnTo>
                    <a:pt x="35" y="337"/>
                  </a:lnTo>
                  <a:lnTo>
                    <a:pt x="36" y="337"/>
                  </a:lnTo>
                  <a:lnTo>
                    <a:pt x="36" y="335"/>
                  </a:lnTo>
                  <a:lnTo>
                    <a:pt x="37" y="335"/>
                  </a:lnTo>
                  <a:lnTo>
                    <a:pt x="37" y="332"/>
                  </a:lnTo>
                  <a:lnTo>
                    <a:pt x="38" y="331"/>
                  </a:lnTo>
                  <a:lnTo>
                    <a:pt x="36" y="332"/>
                  </a:lnTo>
                  <a:lnTo>
                    <a:pt x="32" y="335"/>
                  </a:lnTo>
                  <a:lnTo>
                    <a:pt x="31" y="336"/>
                  </a:lnTo>
                  <a:lnTo>
                    <a:pt x="31" y="332"/>
                  </a:lnTo>
                  <a:lnTo>
                    <a:pt x="30" y="330"/>
                  </a:lnTo>
                  <a:lnTo>
                    <a:pt x="30" y="327"/>
                  </a:lnTo>
                  <a:lnTo>
                    <a:pt x="27" y="327"/>
                  </a:lnTo>
                  <a:lnTo>
                    <a:pt x="25" y="329"/>
                  </a:lnTo>
                  <a:lnTo>
                    <a:pt x="24" y="331"/>
                  </a:lnTo>
                  <a:lnTo>
                    <a:pt x="24" y="329"/>
                  </a:lnTo>
                  <a:lnTo>
                    <a:pt x="21" y="329"/>
                  </a:lnTo>
                  <a:lnTo>
                    <a:pt x="20" y="327"/>
                  </a:lnTo>
                  <a:lnTo>
                    <a:pt x="19" y="327"/>
                  </a:lnTo>
                  <a:lnTo>
                    <a:pt x="18" y="326"/>
                  </a:lnTo>
                  <a:lnTo>
                    <a:pt x="18" y="321"/>
                  </a:lnTo>
                  <a:lnTo>
                    <a:pt x="15" y="324"/>
                  </a:lnTo>
                  <a:lnTo>
                    <a:pt x="17" y="327"/>
                  </a:lnTo>
                  <a:lnTo>
                    <a:pt x="17" y="332"/>
                  </a:lnTo>
                  <a:lnTo>
                    <a:pt x="15" y="335"/>
                  </a:lnTo>
                  <a:lnTo>
                    <a:pt x="12" y="329"/>
                  </a:lnTo>
                  <a:lnTo>
                    <a:pt x="10" y="329"/>
                  </a:lnTo>
                  <a:lnTo>
                    <a:pt x="9" y="329"/>
                  </a:lnTo>
                  <a:lnTo>
                    <a:pt x="8" y="331"/>
                  </a:lnTo>
                  <a:lnTo>
                    <a:pt x="8" y="327"/>
                  </a:lnTo>
                  <a:lnTo>
                    <a:pt x="7" y="326"/>
                  </a:lnTo>
                  <a:lnTo>
                    <a:pt x="6" y="326"/>
                  </a:lnTo>
                  <a:lnTo>
                    <a:pt x="4" y="326"/>
                  </a:lnTo>
                  <a:lnTo>
                    <a:pt x="4" y="325"/>
                  </a:lnTo>
                  <a:lnTo>
                    <a:pt x="6" y="323"/>
                  </a:lnTo>
                  <a:lnTo>
                    <a:pt x="8" y="320"/>
                  </a:lnTo>
                  <a:lnTo>
                    <a:pt x="7" y="319"/>
                  </a:lnTo>
                  <a:lnTo>
                    <a:pt x="8" y="317"/>
                  </a:lnTo>
                  <a:lnTo>
                    <a:pt x="8" y="314"/>
                  </a:lnTo>
                  <a:lnTo>
                    <a:pt x="9" y="313"/>
                  </a:lnTo>
                  <a:lnTo>
                    <a:pt x="10" y="314"/>
                  </a:lnTo>
                  <a:lnTo>
                    <a:pt x="10" y="313"/>
                  </a:lnTo>
                  <a:lnTo>
                    <a:pt x="12" y="313"/>
                  </a:lnTo>
                  <a:lnTo>
                    <a:pt x="14" y="311"/>
                  </a:lnTo>
                  <a:lnTo>
                    <a:pt x="15" y="307"/>
                  </a:lnTo>
                  <a:lnTo>
                    <a:pt x="15" y="308"/>
                  </a:lnTo>
                  <a:lnTo>
                    <a:pt x="17" y="308"/>
                  </a:lnTo>
                  <a:lnTo>
                    <a:pt x="18" y="307"/>
                  </a:lnTo>
                  <a:lnTo>
                    <a:pt x="19" y="307"/>
                  </a:lnTo>
                  <a:lnTo>
                    <a:pt x="20" y="306"/>
                  </a:lnTo>
                  <a:lnTo>
                    <a:pt x="23" y="305"/>
                  </a:lnTo>
                  <a:lnTo>
                    <a:pt x="17" y="302"/>
                  </a:lnTo>
                  <a:lnTo>
                    <a:pt x="12" y="300"/>
                  </a:lnTo>
                  <a:lnTo>
                    <a:pt x="10" y="302"/>
                  </a:lnTo>
                  <a:lnTo>
                    <a:pt x="10" y="305"/>
                  </a:lnTo>
                  <a:lnTo>
                    <a:pt x="9" y="305"/>
                  </a:lnTo>
                  <a:lnTo>
                    <a:pt x="8" y="306"/>
                  </a:lnTo>
                  <a:lnTo>
                    <a:pt x="6" y="308"/>
                  </a:lnTo>
                  <a:lnTo>
                    <a:pt x="6" y="306"/>
                  </a:lnTo>
                  <a:lnTo>
                    <a:pt x="6" y="305"/>
                  </a:lnTo>
                  <a:lnTo>
                    <a:pt x="7" y="303"/>
                  </a:lnTo>
                  <a:lnTo>
                    <a:pt x="7" y="301"/>
                  </a:lnTo>
                  <a:lnTo>
                    <a:pt x="8" y="300"/>
                  </a:lnTo>
                  <a:lnTo>
                    <a:pt x="9" y="300"/>
                  </a:lnTo>
                  <a:lnTo>
                    <a:pt x="10" y="300"/>
                  </a:lnTo>
                  <a:lnTo>
                    <a:pt x="8" y="299"/>
                  </a:lnTo>
                  <a:lnTo>
                    <a:pt x="6" y="297"/>
                  </a:lnTo>
                  <a:lnTo>
                    <a:pt x="6" y="296"/>
                  </a:lnTo>
                  <a:lnTo>
                    <a:pt x="7" y="296"/>
                  </a:lnTo>
                  <a:lnTo>
                    <a:pt x="9" y="299"/>
                  </a:lnTo>
                  <a:lnTo>
                    <a:pt x="15" y="301"/>
                  </a:lnTo>
                  <a:lnTo>
                    <a:pt x="24" y="305"/>
                  </a:lnTo>
                  <a:lnTo>
                    <a:pt x="19" y="300"/>
                  </a:lnTo>
                  <a:lnTo>
                    <a:pt x="18" y="300"/>
                  </a:lnTo>
                  <a:lnTo>
                    <a:pt x="18" y="301"/>
                  </a:lnTo>
                  <a:lnTo>
                    <a:pt x="17" y="300"/>
                  </a:lnTo>
                  <a:lnTo>
                    <a:pt x="15" y="297"/>
                  </a:lnTo>
                  <a:lnTo>
                    <a:pt x="12" y="294"/>
                  </a:lnTo>
                  <a:lnTo>
                    <a:pt x="9" y="291"/>
                  </a:lnTo>
                  <a:lnTo>
                    <a:pt x="9" y="294"/>
                  </a:lnTo>
                  <a:lnTo>
                    <a:pt x="9" y="296"/>
                  </a:lnTo>
                  <a:lnTo>
                    <a:pt x="8" y="295"/>
                  </a:lnTo>
                  <a:lnTo>
                    <a:pt x="7" y="295"/>
                  </a:lnTo>
                  <a:lnTo>
                    <a:pt x="7" y="293"/>
                  </a:lnTo>
                  <a:lnTo>
                    <a:pt x="6" y="293"/>
                  </a:lnTo>
                  <a:lnTo>
                    <a:pt x="6" y="294"/>
                  </a:lnTo>
                  <a:lnTo>
                    <a:pt x="2" y="295"/>
                  </a:lnTo>
                  <a:lnTo>
                    <a:pt x="0" y="295"/>
                  </a:lnTo>
                  <a:lnTo>
                    <a:pt x="2" y="293"/>
                  </a:lnTo>
                  <a:lnTo>
                    <a:pt x="2" y="291"/>
                  </a:lnTo>
                  <a:lnTo>
                    <a:pt x="6" y="291"/>
                  </a:lnTo>
                  <a:lnTo>
                    <a:pt x="7" y="291"/>
                  </a:lnTo>
                  <a:lnTo>
                    <a:pt x="8" y="291"/>
                  </a:lnTo>
                  <a:lnTo>
                    <a:pt x="4" y="287"/>
                  </a:lnTo>
                  <a:lnTo>
                    <a:pt x="3" y="285"/>
                  </a:lnTo>
                  <a:lnTo>
                    <a:pt x="0" y="284"/>
                  </a:lnTo>
                  <a:lnTo>
                    <a:pt x="0" y="283"/>
                  </a:lnTo>
                  <a:lnTo>
                    <a:pt x="1" y="283"/>
                  </a:lnTo>
                  <a:lnTo>
                    <a:pt x="3" y="284"/>
                  </a:lnTo>
                  <a:lnTo>
                    <a:pt x="4" y="284"/>
                  </a:lnTo>
                  <a:lnTo>
                    <a:pt x="6" y="284"/>
                  </a:lnTo>
                  <a:lnTo>
                    <a:pt x="9" y="287"/>
                  </a:lnTo>
                  <a:lnTo>
                    <a:pt x="9" y="289"/>
                  </a:lnTo>
                  <a:lnTo>
                    <a:pt x="8" y="288"/>
                  </a:lnTo>
                  <a:lnTo>
                    <a:pt x="8" y="289"/>
                  </a:lnTo>
                  <a:lnTo>
                    <a:pt x="7" y="287"/>
                  </a:lnTo>
                  <a:lnTo>
                    <a:pt x="4" y="287"/>
                  </a:lnTo>
                  <a:lnTo>
                    <a:pt x="8" y="290"/>
                  </a:lnTo>
                  <a:lnTo>
                    <a:pt x="15" y="296"/>
                  </a:lnTo>
                  <a:lnTo>
                    <a:pt x="17" y="296"/>
                  </a:lnTo>
                  <a:lnTo>
                    <a:pt x="19" y="295"/>
                  </a:lnTo>
                  <a:lnTo>
                    <a:pt x="20" y="296"/>
                  </a:lnTo>
                  <a:lnTo>
                    <a:pt x="19" y="297"/>
                  </a:lnTo>
                  <a:lnTo>
                    <a:pt x="19" y="299"/>
                  </a:lnTo>
                  <a:lnTo>
                    <a:pt x="24" y="303"/>
                  </a:lnTo>
                  <a:lnTo>
                    <a:pt x="26" y="303"/>
                  </a:lnTo>
                  <a:lnTo>
                    <a:pt x="27" y="301"/>
                  </a:lnTo>
                  <a:lnTo>
                    <a:pt x="29" y="300"/>
                  </a:lnTo>
                  <a:lnTo>
                    <a:pt x="27" y="297"/>
                  </a:lnTo>
                  <a:lnTo>
                    <a:pt x="30" y="297"/>
                  </a:lnTo>
                  <a:lnTo>
                    <a:pt x="32" y="300"/>
                  </a:lnTo>
                  <a:lnTo>
                    <a:pt x="33" y="301"/>
                  </a:lnTo>
                  <a:lnTo>
                    <a:pt x="36" y="302"/>
                  </a:lnTo>
                  <a:lnTo>
                    <a:pt x="36" y="299"/>
                  </a:lnTo>
                  <a:lnTo>
                    <a:pt x="37" y="295"/>
                  </a:lnTo>
                  <a:lnTo>
                    <a:pt x="41" y="293"/>
                  </a:lnTo>
                  <a:lnTo>
                    <a:pt x="42" y="291"/>
                  </a:lnTo>
                  <a:lnTo>
                    <a:pt x="45" y="291"/>
                  </a:lnTo>
                  <a:lnTo>
                    <a:pt x="47" y="293"/>
                  </a:lnTo>
                  <a:lnTo>
                    <a:pt x="49" y="293"/>
                  </a:lnTo>
                  <a:lnTo>
                    <a:pt x="50" y="294"/>
                  </a:lnTo>
                  <a:lnTo>
                    <a:pt x="49" y="294"/>
                  </a:lnTo>
                  <a:lnTo>
                    <a:pt x="49" y="296"/>
                  </a:lnTo>
                  <a:lnTo>
                    <a:pt x="50" y="296"/>
                  </a:lnTo>
                  <a:lnTo>
                    <a:pt x="53" y="296"/>
                  </a:lnTo>
                  <a:lnTo>
                    <a:pt x="54" y="297"/>
                  </a:lnTo>
                  <a:lnTo>
                    <a:pt x="54" y="296"/>
                  </a:lnTo>
                  <a:lnTo>
                    <a:pt x="54" y="294"/>
                  </a:lnTo>
                  <a:lnTo>
                    <a:pt x="53" y="295"/>
                  </a:lnTo>
                  <a:lnTo>
                    <a:pt x="51" y="295"/>
                  </a:lnTo>
                  <a:lnTo>
                    <a:pt x="53" y="294"/>
                  </a:lnTo>
                  <a:lnTo>
                    <a:pt x="53" y="293"/>
                  </a:lnTo>
                  <a:lnTo>
                    <a:pt x="51" y="293"/>
                  </a:lnTo>
                  <a:lnTo>
                    <a:pt x="50" y="291"/>
                  </a:lnTo>
                  <a:lnTo>
                    <a:pt x="53" y="290"/>
                  </a:lnTo>
                  <a:lnTo>
                    <a:pt x="53" y="289"/>
                  </a:lnTo>
                  <a:lnTo>
                    <a:pt x="54" y="288"/>
                  </a:lnTo>
                  <a:lnTo>
                    <a:pt x="51" y="289"/>
                  </a:lnTo>
                  <a:lnTo>
                    <a:pt x="49" y="288"/>
                  </a:lnTo>
                  <a:lnTo>
                    <a:pt x="51" y="287"/>
                  </a:lnTo>
                  <a:lnTo>
                    <a:pt x="51" y="285"/>
                  </a:lnTo>
                  <a:lnTo>
                    <a:pt x="53" y="287"/>
                  </a:lnTo>
                  <a:lnTo>
                    <a:pt x="55" y="287"/>
                  </a:lnTo>
                  <a:lnTo>
                    <a:pt x="53" y="285"/>
                  </a:lnTo>
                  <a:lnTo>
                    <a:pt x="56" y="285"/>
                  </a:lnTo>
                  <a:lnTo>
                    <a:pt x="59" y="287"/>
                  </a:lnTo>
                  <a:lnTo>
                    <a:pt x="61" y="285"/>
                  </a:lnTo>
                  <a:lnTo>
                    <a:pt x="61" y="283"/>
                  </a:lnTo>
                  <a:lnTo>
                    <a:pt x="62" y="284"/>
                  </a:lnTo>
                  <a:lnTo>
                    <a:pt x="63" y="285"/>
                  </a:lnTo>
                  <a:lnTo>
                    <a:pt x="63" y="288"/>
                  </a:lnTo>
                  <a:lnTo>
                    <a:pt x="65" y="288"/>
                  </a:lnTo>
                  <a:lnTo>
                    <a:pt x="66" y="285"/>
                  </a:lnTo>
                  <a:lnTo>
                    <a:pt x="67" y="282"/>
                  </a:lnTo>
                  <a:lnTo>
                    <a:pt x="66" y="282"/>
                  </a:lnTo>
                  <a:lnTo>
                    <a:pt x="68" y="282"/>
                  </a:lnTo>
                  <a:lnTo>
                    <a:pt x="67" y="281"/>
                  </a:lnTo>
                  <a:lnTo>
                    <a:pt x="69" y="281"/>
                  </a:lnTo>
                  <a:lnTo>
                    <a:pt x="72" y="279"/>
                  </a:lnTo>
                  <a:lnTo>
                    <a:pt x="71" y="281"/>
                  </a:lnTo>
                  <a:lnTo>
                    <a:pt x="71" y="282"/>
                  </a:lnTo>
                  <a:lnTo>
                    <a:pt x="73" y="282"/>
                  </a:lnTo>
                  <a:lnTo>
                    <a:pt x="74" y="279"/>
                  </a:lnTo>
                  <a:lnTo>
                    <a:pt x="77" y="278"/>
                  </a:lnTo>
                  <a:lnTo>
                    <a:pt x="77" y="276"/>
                  </a:lnTo>
                  <a:lnTo>
                    <a:pt x="76" y="275"/>
                  </a:lnTo>
                  <a:lnTo>
                    <a:pt x="74" y="275"/>
                  </a:lnTo>
                  <a:lnTo>
                    <a:pt x="72" y="276"/>
                  </a:lnTo>
                  <a:lnTo>
                    <a:pt x="69" y="276"/>
                  </a:lnTo>
                  <a:lnTo>
                    <a:pt x="69" y="273"/>
                  </a:lnTo>
                  <a:lnTo>
                    <a:pt x="72" y="272"/>
                  </a:lnTo>
                  <a:lnTo>
                    <a:pt x="72" y="271"/>
                  </a:lnTo>
                  <a:lnTo>
                    <a:pt x="72" y="270"/>
                  </a:lnTo>
                  <a:lnTo>
                    <a:pt x="67" y="266"/>
                  </a:lnTo>
                  <a:lnTo>
                    <a:pt x="66" y="267"/>
                  </a:lnTo>
                  <a:lnTo>
                    <a:pt x="65" y="269"/>
                  </a:lnTo>
                  <a:lnTo>
                    <a:pt x="65" y="266"/>
                  </a:lnTo>
                  <a:lnTo>
                    <a:pt x="66" y="266"/>
                  </a:lnTo>
                  <a:lnTo>
                    <a:pt x="65" y="264"/>
                  </a:lnTo>
                  <a:lnTo>
                    <a:pt x="63" y="265"/>
                  </a:lnTo>
                  <a:lnTo>
                    <a:pt x="62" y="266"/>
                  </a:lnTo>
                  <a:lnTo>
                    <a:pt x="60" y="266"/>
                  </a:lnTo>
                  <a:lnTo>
                    <a:pt x="61" y="265"/>
                  </a:lnTo>
                  <a:lnTo>
                    <a:pt x="62" y="264"/>
                  </a:lnTo>
                  <a:lnTo>
                    <a:pt x="61" y="264"/>
                  </a:lnTo>
                  <a:lnTo>
                    <a:pt x="62" y="263"/>
                  </a:lnTo>
                  <a:lnTo>
                    <a:pt x="60" y="264"/>
                  </a:lnTo>
                  <a:lnTo>
                    <a:pt x="57" y="266"/>
                  </a:lnTo>
                  <a:lnTo>
                    <a:pt x="57" y="265"/>
                  </a:lnTo>
                  <a:lnTo>
                    <a:pt x="56" y="265"/>
                  </a:lnTo>
                  <a:lnTo>
                    <a:pt x="53" y="265"/>
                  </a:lnTo>
                  <a:lnTo>
                    <a:pt x="56" y="264"/>
                  </a:lnTo>
                  <a:lnTo>
                    <a:pt x="57" y="263"/>
                  </a:lnTo>
                  <a:lnTo>
                    <a:pt x="60" y="263"/>
                  </a:lnTo>
                  <a:lnTo>
                    <a:pt x="61" y="261"/>
                  </a:lnTo>
                  <a:lnTo>
                    <a:pt x="59" y="258"/>
                  </a:lnTo>
                  <a:lnTo>
                    <a:pt x="59" y="257"/>
                  </a:lnTo>
                  <a:lnTo>
                    <a:pt x="61" y="257"/>
                  </a:lnTo>
                  <a:lnTo>
                    <a:pt x="62" y="255"/>
                  </a:lnTo>
                  <a:lnTo>
                    <a:pt x="65" y="255"/>
                  </a:lnTo>
                  <a:lnTo>
                    <a:pt x="62" y="258"/>
                  </a:lnTo>
                  <a:lnTo>
                    <a:pt x="61" y="260"/>
                  </a:lnTo>
                  <a:lnTo>
                    <a:pt x="61" y="259"/>
                  </a:lnTo>
                  <a:lnTo>
                    <a:pt x="60" y="258"/>
                  </a:lnTo>
                  <a:lnTo>
                    <a:pt x="61" y="261"/>
                  </a:lnTo>
                  <a:lnTo>
                    <a:pt x="62" y="261"/>
                  </a:lnTo>
                  <a:lnTo>
                    <a:pt x="63" y="261"/>
                  </a:lnTo>
                  <a:lnTo>
                    <a:pt x="66" y="261"/>
                  </a:lnTo>
                  <a:lnTo>
                    <a:pt x="65" y="264"/>
                  </a:lnTo>
                  <a:lnTo>
                    <a:pt x="68" y="266"/>
                  </a:lnTo>
                  <a:lnTo>
                    <a:pt x="72" y="269"/>
                  </a:lnTo>
                  <a:lnTo>
                    <a:pt x="73" y="270"/>
                  </a:lnTo>
                  <a:lnTo>
                    <a:pt x="74" y="269"/>
                  </a:lnTo>
                  <a:lnTo>
                    <a:pt x="73" y="267"/>
                  </a:lnTo>
                  <a:lnTo>
                    <a:pt x="73" y="266"/>
                  </a:lnTo>
                  <a:lnTo>
                    <a:pt x="73" y="265"/>
                  </a:lnTo>
                  <a:lnTo>
                    <a:pt x="72" y="264"/>
                  </a:lnTo>
                  <a:lnTo>
                    <a:pt x="73" y="261"/>
                  </a:lnTo>
                  <a:lnTo>
                    <a:pt x="77" y="263"/>
                  </a:lnTo>
                  <a:lnTo>
                    <a:pt x="74" y="260"/>
                  </a:lnTo>
                  <a:lnTo>
                    <a:pt x="71" y="263"/>
                  </a:lnTo>
                  <a:lnTo>
                    <a:pt x="69" y="265"/>
                  </a:lnTo>
                  <a:lnTo>
                    <a:pt x="69" y="263"/>
                  </a:lnTo>
                  <a:lnTo>
                    <a:pt x="69" y="261"/>
                  </a:lnTo>
                  <a:lnTo>
                    <a:pt x="69" y="259"/>
                  </a:lnTo>
                  <a:lnTo>
                    <a:pt x="71" y="258"/>
                  </a:lnTo>
                  <a:lnTo>
                    <a:pt x="72" y="255"/>
                  </a:lnTo>
                  <a:lnTo>
                    <a:pt x="73" y="254"/>
                  </a:lnTo>
                  <a:lnTo>
                    <a:pt x="72" y="253"/>
                  </a:lnTo>
                  <a:lnTo>
                    <a:pt x="74" y="252"/>
                  </a:lnTo>
                  <a:lnTo>
                    <a:pt x="76" y="251"/>
                  </a:lnTo>
                  <a:lnTo>
                    <a:pt x="76" y="249"/>
                  </a:lnTo>
                  <a:lnTo>
                    <a:pt x="74" y="249"/>
                  </a:lnTo>
                  <a:lnTo>
                    <a:pt x="74" y="248"/>
                  </a:lnTo>
                  <a:lnTo>
                    <a:pt x="73" y="248"/>
                  </a:lnTo>
                  <a:lnTo>
                    <a:pt x="74" y="246"/>
                  </a:lnTo>
                  <a:lnTo>
                    <a:pt x="76" y="245"/>
                  </a:lnTo>
                  <a:lnTo>
                    <a:pt x="77" y="243"/>
                  </a:lnTo>
                  <a:lnTo>
                    <a:pt x="76" y="241"/>
                  </a:lnTo>
                  <a:lnTo>
                    <a:pt x="74" y="243"/>
                  </a:lnTo>
                  <a:lnTo>
                    <a:pt x="72" y="245"/>
                  </a:lnTo>
                  <a:lnTo>
                    <a:pt x="72" y="241"/>
                  </a:lnTo>
                  <a:lnTo>
                    <a:pt x="73" y="240"/>
                  </a:lnTo>
                  <a:lnTo>
                    <a:pt x="74" y="238"/>
                  </a:lnTo>
                  <a:lnTo>
                    <a:pt x="73" y="237"/>
                  </a:lnTo>
                  <a:lnTo>
                    <a:pt x="74" y="237"/>
                  </a:lnTo>
                  <a:lnTo>
                    <a:pt x="77" y="236"/>
                  </a:lnTo>
                  <a:lnTo>
                    <a:pt x="76" y="236"/>
                  </a:lnTo>
                  <a:lnTo>
                    <a:pt x="76" y="235"/>
                  </a:lnTo>
                  <a:lnTo>
                    <a:pt x="72" y="236"/>
                  </a:lnTo>
                  <a:lnTo>
                    <a:pt x="73" y="234"/>
                  </a:lnTo>
                  <a:lnTo>
                    <a:pt x="76" y="231"/>
                  </a:lnTo>
                  <a:lnTo>
                    <a:pt x="78" y="231"/>
                  </a:lnTo>
                  <a:lnTo>
                    <a:pt x="79" y="231"/>
                  </a:lnTo>
                  <a:lnTo>
                    <a:pt x="82" y="229"/>
                  </a:lnTo>
                  <a:lnTo>
                    <a:pt x="84" y="230"/>
                  </a:lnTo>
                  <a:lnTo>
                    <a:pt x="86" y="228"/>
                  </a:lnTo>
                  <a:lnTo>
                    <a:pt x="85" y="230"/>
                  </a:lnTo>
                  <a:lnTo>
                    <a:pt x="88" y="231"/>
                  </a:lnTo>
                  <a:lnTo>
                    <a:pt x="89" y="229"/>
                  </a:lnTo>
                  <a:lnTo>
                    <a:pt x="90" y="230"/>
                  </a:lnTo>
                  <a:lnTo>
                    <a:pt x="91" y="229"/>
                  </a:lnTo>
                  <a:lnTo>
                    <a:pt x="90" y="228"/>
                  </a:lnTo>
                  <a:lnTo>
                    <a:pt x="91" y="224"/>
                  </a:lnTo>
                  <a:lnTo>
                    <a:pt x="92" y="223"/>
                  </a:lnTo>
                  <a:lnTo>
                    <a:pt x="94" y="224"/>
                  </a:lnTo>
                  <a:lnTo>
                    <a:pt x="92" y="225"/>
                  </a:lnTo>
                  <a:lnTo>
                    <a:pt x="95" y="226"/>
                  </a:lnTo>
                  <a:lnTo>
                    <a:pt x="96" y="224"/>
                  </a:lnTo>
                  <a:lnTo>
                    <a:pt x="96" y="225"/>
                  </a:lnTo>
                  <a:lnTo>
                    <a:pt x="96" y="224"/>
                  </a:lnTo>
                  <a:lnTo>
                    <a:pt x="95" y="222"/>
                  </a:lnTo>
                  <a:lnTo>
                    <a:pt x="91" y="222"/>
                  </a:lnTo>
                  <a:lnTo>
                    <a:pt x="89" y="224"/>
                  </a:lnTo>
                  <a:lnTo>
                    <a:pt x="89" y="223"/>
                  </a:lnTo>
                  <a:lnTo>
                    <a:pt x="89" y="222"/>
                  </a:lnTo>
                  <a:lnTo>
                    <a:pt x="90" y="220"/>
                  </a:lnTo>
                  <a:lnTo>
                    <a:pt x="89" y="219"/>
                  </a:lnTo>
                  <a:lnTo>
                    <a:pt x="88" y="220"/>
                  </a:lnTo>
                  <a:lnTo>
                    <a:pt x="86" y="220"/>
                  </a:lnTo>
                  <a:lnTo>
                    <a:pt x="86" y="223"/>
                  </a:lnTo>
                  <a:lnTo>
                    <a:pt x="83" y="224"/>
                  </a:lnTo>
                  <a:lnTo>
                    <a:pt x="83" y="225"/>
                  </a:lnTo>
                  <a:lnTo>
                    <a:pt x="82" y="223"/>
                  </a:lnTo>
                  <a:lnTo>
                    <a:pt x="80" y="220"/>
                  </a:lnTo>
                  <a:lnTo>
                    <a:pt x="82" y="220"/>
                  </a:lnTo>
                  <a:lnTo>
                    <a:pt x="82" y="219"/>
                  </a:lnTo>
                  <a:lnTo>
                    <a:pt x="82" y="217"/>
                  </a:lnTo>
                  <a:lnTo>
                    <a:pt x="82" y="218"/>
                  </a:lnTo>
                  <a:lnTo>
                    <a:pt x="80" y="216"/>
                  </a:lnTo>
                  <a:lnTo>
                    <a:pt x="78" y="214"/>
                  </a:lnTo>
                  <a:lnTo>
                    <a:pt x="74" y="218"/>
                  </a:lnTo>
                  <a:lnTo>
                    <a:pt x="73" y="220"/>
                  </a:lnTo>
                  <a:lnTo>
                    <a:pt x="74" y="217"/>
                  </a:lnTo>
                  <a:lnTo>
                    <a:pt x="73" y="213"/>
                  </a:lnTo>
                  <a:lnTo>
                    <a:pt x="72" y="217"/>
                  </a:lnTo>
                  <a:lnTo>
                    <a:pt x="71" y="216"/>
                  </a:lnTo>
                  <a:lnTo>
                    <a:pt x="68" y="217"/>
                  </a:lnTo>
                  <a:lnTo>
                    <a:pt x="68" y="216"/>
                  </a:lnTo>
                  <a:lnTo>
                    <a:pt x="67" y="217"/>
                  </a:lnTo>
                  <a:lnTo>
                    <a:pt x="66" y="219"/>
                  </a:lnTo>
                  <a:lnTo>
                    <a:pt x="66" y="220"/>
                  </a:lnTo>
                  <a:lnTo>
                    <a:pt x="66" y="222"/>
                  </a:lnTo>
                  <a:lnTo>
                    <a:pt x="63" y="224"/>
                  </a:lnTo>
                  <a:lnTo>
                    <a:pt x="62" y="223"/>
                  </a:lnTo>
                  <a:lnTo>
                    <a:pt x="61" y="222"/>
                  </a:lnTo>
                  <a:lnTo>
                    <a:pt x="60" y="224"/>
                  </a:lnTo>
                  <a:lnTo>
                    <a:pt x="60" y="228"/>
                  </a:lnTo>
                  <a:lnTo>
                    <a:pt x="59" y="226"/>
                  </a:lnTo>
                  <a:lnTo>
                    <a:pt x="59" y="223"/>
                  </a:lnTo>
                  <a:lnTo>
                    <a:pt x="57" y="225"/>
                  </a:lnTo>
                  <a:lnTo>
                    <a:pt x="57" y="226"/>
                  </a:lnTo>
                  <a:lnTo>
                    <a:pt x="56" y="226"/>
                  </a:lnTo>
                  <a:lnTo>
                    <a:pt x="54" y="226"/>
                  </a:lnTo>
                  <a:lnTo>
                    <a:pt x="54" y="229"/>
                  </a:lnTo>
                  <a:lnTo>
                    <a:pt x="51" y="230"/>
                  </a:lnTo>
                  <a:lnTo>
                    <a:pt x="51" y="231"/>
                  </a:lnTo>
                  <a:lnTo>
                    <a:pt x="51" y="228"/>
                  </a:lnTo>
                  <a:lnTo>
                    <a:pt x="53" y="225"/>
                  </a:lnTo>
                  <a:lnTo>
                    <a:pt x="50" y="225"/>
                  </a:lnTo>
                  <a:lnTo>
                    <a:pt x="49" y="225"/>
                  </a:lnTo>
                  <a:lnTo>
                    <a:pt x="51" y="224"/>
                  </a:lnTo>
                  <a:lnTo>
                    <a:pt x="53" y="222"/>
                  </a:lnTo>
                  <a:lnTo>
                    <a:pt x="54" y="220"/>
                  </a:lnTo>
                  <a:lnTo>
                    <a:pt x="56" y="219"/>
                  </a:lnTo>
                  <a:lnTo>
                    <a:pt x="59" y="219"/>
                  </a:lnTo>
                  <a:lnTo>
                    <a:pt x="61" y="220"/>
                  </a:lnTo>
                  <a:lnTo>
                    <a:pt x="61" y="218"/>
                  </a:lnTo>
                  <a:lnTo>
                    <a:pt x="59" y="217"/>
                  </a:lnTo>
                  <a:lnTo>
                    <a:pt x="57" y="217"/>
                  </a:lnTo>
                  <a:lnTo>
                    <a:pt x="55" y="219"/>
                  </a:lnTo>
                  <a:lnTo>
                    <a:pt x="55" y="218"/>
                  </a:lnTo>
                  <a:lnTo>
                    <a:pt x="56" y="217"/>
                  </a:lnTo>
                  <a:lnTo>
                    <a:pt x="57" y="214"/>
                  </a:lnTo>
                  <a:lnTo>
                    <a:pt x="55" y="213"/>
                  </a:lnTo>
                  <a:lnTo>
                    <a:pt x="54" y="214"/>
                  </a:lnTo>
                  <a:lnTo>
                    <a:pt x="53" y="213"/>
                  </a:lnTo>
                  <a:lnTo>
                    <a:pt x="53" y="214"/>
                  </a:lnTo>
                  <a:lnTo>
                    <a:pt x="51" y="216"/>
                  </a:lnTo>
                  <a:lnTo>
                    <a:pt x="51" y="217"/>
                  </a:lnTo>
                  <a:lnTo>
                    <a:pt x="53" y="217"/>
                  </a:lnTo>
                  <a:lnTo>
                    <a:pt x="54" y="219"/>
                  </a:lnTo>
                  <a:lnTo>
                    <a:pt x="51" y="220"/>
                  </a:lnTo>
                  <a:lnTo>
                    <a:pt x="51" y="222"/>
                  </a:lnTo>
                  <a:lnTo>
                    <a:pt x="50" y="220"/>
                  </a:lnTo>
                  <a:lnTo>
                    <a:pt x="49" y="222"/>
                  </a:lnTo>
                  <a:lnTo>
                    <a:pt x="45" y="224"/>
                  </a:lnTo>
                  <a:lnTo>
                    <a:pt x="47" y="220"/>
                  </a:lnTo>
                  <a:lnTo>
                    <a:pt x="47" y="218"/>
                  </a:lnTo>
                  <a:lnTo>
                    <a:pt x="45" y="217"/>
                  </a:lnTo>
                  <a:lnTo>
                    <a:pt x="48" y="216"/>
                  </a:lnTo>
                  <a:lnTo>
                    <a:pt x="45" y="214"/>
                  </a:lnTo>
                  <a:lnTo>
                    <a:pt x="47" y="213"/>
                  </a:lnTo>
                  <a:lnTo>
                    <a:pt x="48" y="212"/>
                  </a:lnTo>
                  <a:lnTo>
                    <a:pt x="50" y="213"/>
                  </a:lnTo>
                  <a:lnTo>
                    <a:pt x="50" y="211"/>
                  </a:lnTo>
                  <a:lnTo>
                    <a:pt x="48" y="211"/>
                  </a:lnTo>
                  <a:lnTo>
                    <a:pt x="45" y="211"/>
                  </a:lnTo>
                  <a:lnTo>
                    <a:pt x="42" y="211"/>
                  </a:lnTo>
                  <a:lnTo>
                    <a:pt x="44" y="211"/>
                  </a:lnTo>
                  <a:lnTo>
                    <a:pt x="47" y="208"/>
                  </a:lnTo>
                  <a:lnTo>
                    <a:pt x="48" y="210"/>
                  </a:lnTo>
                  <a:lnTo>
                    <a:pt x="49" y="210"/>
                  </a:lnTo>
                  <a:lnTo>
                    <a:pt x="53" y="211"/>
                  </a:lnTo>
                  <a:lnTo>
                    <a:pt x="54" y="211"/>
                  </a:lnTo>
                  <a:lnTo>
                    <a:pt x="56" y="210"/>
                  </a:lnTo>
                  <a:lnTo>
                    <a:pt x="57" y="207"/>
                  </a:lnTo>
                  <a:lnTo>
                    <a:pt x="55" y="206"/>
                  </a:lnTo>
                  <a:lnTo>
                    <a:pt x="51" y="207"/>
                  </a:lnTo>
                  <a:lnTo>
                    <a:pt x="50" y="208"/>
                  </a:lnTo>
                  <a:lnTo>
                    <a:pt x="49" y="208"/>
                  </a:lnTo>
                  <a:lnTo>
                    <a:pt x="49" y="207"/>
                  </a:lnTo>
                  <a:lnTo>
                    <a:pt x="51" y="205"/>
                  </a:lnTo>
                  <a:lnTo>
                    <a:pt x="51" y="202"/>
                  </a:lnTo>
                  <a:lnTo>
                    <a:pt x="49" y="201"/>
                  </a:lnTo>
                  <a:lnTo>
                    <a:pt x="48" y="200"/>
                  </a:lnTo>
                  <a:lnTo>
                    <a:pt x="49" y="199"/>
                  </a:lnTo>
                  <a:lnTo>
                    <a:pt x="47" y="196"/>
                  </a:lnTo>
                  <a:lnTo>
                    <a:pt x="44" y="195"/>
                  </a:lnTo>
                  <a:lnTo>
                    <a:pt x="45" y="199"/>
                  </a:lnTo>
                  <a:lnTo>
                    <a:pt x="44" y="200"/>
                  </a:lnTo>
                  <a:lnTo>
                    <a:pt x="43" y="198"/>
                  </a:lnTo>
                  <a:lnTo>
                    <a:pt x="42" y="198"/>
                  </a:lnTo>
                  <a:lnTo>
                    <a:pt x="43" y="199"/>
                  </a:lnTo>
                  <a:lnTo>
                    <a:pt x="42" y="199"/>
                  </a:lnTo>
                  <a:lnTo>
                    <a:pt x="42" y="201"/>
                  </a:lnTo>
                  <a:lnTo>
                    <a:pt x="43" y="202"/>
                  </a:lnTo>
                  <a:lnTo>
                    <a:pt x="42" y="206"/>
                  </a:lnTo>
                  <a:lnTo>
                    <a:pt x="43" y="208"/>
                  </a:lnTo>
                  <a:lnTo>
                    <a:pt x="42" y="207"/>
                  </a:lnTo>
                  <a:lnTo>
                    <a:pt x="41" y="208"/>
                  </a:lnTo>
                  <a:lnTo>
                    <a:pt x="39" y="206"/>
                  </a:lnTo>
                  <a:lnTo>
                    <a:pt x="38" y="204"/>
                  </a:lnTo>
                  <a:lnTo>
                    <a:pt x="36" y="204"/>
                  </a:lnTo>
                  <a:lnTo>
                    <a:pt x="37" y="208"/>
                  </a:lnTo>
                  <a:lnTo>
                    <a:pt x="35" y="208"/>
                  </a:lnTo>
                  <a:lnTo>
                    <a:pt x="32" y="210"/>
                  </a:lnTo>
                  <a:lnTo>
                    <a:pt x="33" y="212"/>
                  </a:lnTo>
                  <a:lnTo>
                    <a:pt x="32" y="214"/>
                  </a:lnTo>
                  <a:lnTo>
                    <a:pt x="30" y="217"/>
                  </a:lnTo>
                  <a:lnTo>
                    <a:pt x="30" y="214"/>
                  </a:lnTo>
                  <a:lnTo>
                    <a:pt x="31" y="212"/>
                  </a:lnTo>
                  <a:lnTo>
                    <a:pt x="32" y="211"/>
                  </a:lnTo>
                  <a:lnTo>
                    <a:pt x="31" y="210"/>
                  </a:lnTo>
                  <a:lnTo>
                    <a:pt x="30" y="210"/>
                  </a:lnTo>
                  <a:lnTo>
                    <a:pt x="29" y="208"/>
                  </a:lnTo>
                  <a:lnTo>
                    <a:pt x="27" y="207"/>
                  </a:lnTo>
                  <a:lnTo>
                    <a:pt x="25" y="210"/>
                  </a:lnTo>
                  <a:lnTo>
                    <a:pt x="25" y="207"/>
                  </a:lnTo>
                  <a:lnTo>
                    <a:pt x="24" y="210"/>
                  </a:lnTo>
                  <a:lnTo>
                    <a:pt x="23" y="210"/>
                  </a:lnTo>
                  <a:lnTo>
                    <a:pt x="23" y="208"/>
                  </a:lnTo>
                  <a:lnTo>
                    <a:pt x="21" y="207"/>
                  </a:lnTo>
                  <a:lnTo>
                    <a:pt x="23" y="207"/>
                  </a:lnTo>
                  <a:lnTo>
                    <a:pt x="20" y="206"/>
                  </a:lnTo>
                  <a:lnTo>
                    <a:pt x="23" y="205"/>
                  </a:lnTo>
                  <a:lnTo>
                    <a:pt x="25" y="205"/>
                  </a:lnTo>
                  <a:lnTo>
                    <a:pt x="26" y="204"/>
                  </a:lnTo>
                  <a:lnTo>
                    <a:pt x="27" y="202"/>
                  </a:lnTo>
                  <a:lnTo>
                    <a:pt x="29" y="200"/>
                  </a:lnTo>
                  <a:lnTo>
                    <a:pt x="25" y="200"/>
                  </a:lnTo>
                  <a:lnTo>
                    <a:pt x="24" y="199"/>
                  </a:lnTo>
                  <a:lnTo>
                    <a:pt x="23" y="201"/>
                  </a:lnTo>
                  <a:lnTo>
                    <a:pt x="20" y="199"/>
                  </a:lnTo>
                  <a:lnTo>
                    <a:pt x="19" y="200"/>
                  </a:lnTo>
                  <a:lnTo>
                    <a:pt x="20" y="202"/>
                  </a:lnTo>
                  <a:lnTo>
                    <a:pt x="18" y="205"/>
                  </a:lnTo>
                  <a:lnTo>
                    <a:pt x="15" y="206"/>
                  </a:lnTo>
                  <a:lnTo>
                    <a:pt x="14" y="204"/>
                  </a:lnTo>
                  <a:lnTo>
                    <a:pt x="14" y="200"/>
                  </a:lnTo>
                  <a:lnTo>
                    <a:pt x="15" y="200"/>
                  </a:lnTo>
                  <a:lnTo>
                    <a:pt x="18" y="200"/>
                  </a:lnTo>
                  <a:lnTo>
                    <a:pt x="20" y="199"/>
                  </a:lnTo>
                  <a:lnTo>
                    <a:pt x="21" y="198"/>
                  </a:lnTo>
                  <a:lnTo>
                    <a:pt x="19" y="198"/>
                  </a:lnTo>
                  <a:lnTo>
                    <a:pt x="18" y="196"/>
                  </a:lnTo>
                  <a:lnTo>
                    <a:pt x="17" y="196"/>
                  </a:lnTo>
                  <a:lnTo>
                    <a:pt x="15" y="196"/>
                  </a:lnTo>
                  <a:lnTo>
                    <a:pt x="12" y="198"/>
                  </a:lnTo>
                  <a:lnTo>
                    <a:pt x="13" y="196"/>
                  </a:lnTo>
                  <a:lnTo>
                    <a:pt x="14" y="194"/>
                  </a:lnTo>
                  <a:lnTo>
                    <a:pt x="13" y="194"/>
                  </a:lnTo>
                  <a:lnTo>
                    <a:pt x="12" y="193"/>
                  </a:lnTo>
                  <a:lnTo>
                    <a:pt x="15" y="192"/>
                  </a:lnTo>
                  <a:lnTo>
                    <a:pt x="15" y="194"/>
                  </a:lnTo>
                  <a:lnTo>
                    <a:pt x="18" y="195"/>
                  </a:lnTo>
                  <a:lnTo>
                    <a:pt x="19" y="195"/>
                  </a:lnTo>
                  <a:lnTo>
                    <a:pt x="19" y="193"/>
                  </a:lnTo>
                  <a:lnTo>
                    <a:pt x="18" y="192"/>
                  </a:lnTo>
                  <a:lnTo>
                    <a:pt x="18" y="189"/>
                  </a:lnTo>
                  <a:lnTo>
                    <a:pt x="19" y="190"/>
                  </a:lnTo>
                  <a:lnTo>
                    <a:pt x="19" y="194"/>
                  </a:lnTo>
                  <a:lnTo>
                    <a:pt x="20" y="195"/>
                  </a:lnTo>
                  <a:lnTo>
                    <a:pt x="20" y="194"/>
                  </a:lnTo>
                  <a:lnTo>
                    <a:pt x="20" y="193"/>
                  </a:lnTo>
                  <a:lnTo>
                    <a:pt x="21" y="192"/>
                  </a:lnTo>
                  <a:lnTo>
                    <a:pt x="24" y="193"/>
                  </a:lnTo>
                  <a:lnTo>
                    <a:pt x="27" y="192"/>
                  </a:lnTo>
                  <a:lnTo>
                    <a:pt x="27" y="193"/>
                  </a:lnTo>
                  <a:lnTo>
                    <a:pt x="30" y="194"/>
                  </a:lnTo>
                  <a:lnTo>
                    <a:pt x="33" y="196"/>
                  </a:lnTo>
                  <a:lnTo>
                    <a:pt x="33" y="194"/>
                  </a:lnTo>
                  <a:lnTo>
                    <a:pt x="31" y="194"/>
                  </a:lnTo>
                  <a:lnTo>
                    <a:pt x="33" y="192"/>
                  </a:lnTo>
                  <a:lnTo>
                    <a:pt x="36" y="190"/>
                  </a:lnTo>
                  <a:lnTo>
                    <a:pt x="37" y="188"/>
                  </a:lnTo>
                  <a:lnTo>
                    <a:pt x="37" y="187"/>
                  </a:lnTo>
                  <a:lnTo>
                    <a:pt x="35" y="189"/>
                  </a:lnTo>
                  <a:lnTo>
                    <a:pt x="33" y="192"/>
                  </a:lnTo>
                  <a:lnTo>
                    <a:pt x="30" y="192"/>
                  </a:lnTo>
                  <a:lnTo>
                    <a:pt x="30" y="190"/>
                  </a:lnTo>
                  <a:lnTo>
                    <a:pt x="32" y="187"/>
                  </a:lnTo>
                  <a:lnTo>
                    <a:pt x="33" y="186"/>
                  </a:lnTo>
                  <a:lnTo>
                    <a:pt x="35" y="184"/>
                  </a:lnTo>
                  <a:lnTo>
                    <a:pt x="35" y="186"/>
                  </a:lnTo>
                  <a:lnTo>
                    <a:pt x="36" y="186"/>
                  </a:lnTo>
                  <a:lnTo>
                    <a:pt x="38" y="184"/>
                  </a:lnTo>
                  <a:lnTo>
                    <a:pt x="36" y="182"/>
                  </a:lnTo>
                  <a:lnTo>
                    <a:pt x="32" y="183"/>
                  </a:lnTo>
                  <a:lnTo>
                    <a:pt x="30" y="184"/>
                  </a:lnTo>
                  <a:lnTo>
                    <a:pt x="30" y="182"/>
                  </a:lnTo>
                  <a:lnTo>
                    <a:pt x="26" y="180"/>
                  </a:lnTo>
                  <a:lnTo>
                    <a:pt x="30" y="178"/>
                  </a:lnTo>
                  <a:lnTo>
                    <a:pt x="31" y="175"/>
                  </a:lnTo>
                  <a:lnTo>
                    <a:pt x="29" y="176"/>
                  </a:lnTo>
                  <a:lnTo>
                    <a:pt x="29" y="174"/>
                  </a:lnTo>
                  <a:lnTo>
                    <a:pt x="32" y="171"/>
                  </a:lnTo>
                  <a:lnTo>
                    <a:pt x="35" y="169"/>
                  </a:lnTo>
                  <a:lnTo>
                    <a:pt x="31" y="169"/>
                  </a:lnTo>
                  <a:lnTo>
                    <a:pt x="25" y="170"/>
                  </a:lnTo>
                  <a:lnTo>
                    <a:pt x="20" y="176"/>
                  </a:lnTo>
                  <a:lnTo>
                    <a:pt x="17" y="180"/>
                  </a:lnTo>
                  <a:lnTo>
                    <a:pt x="17" y="178"/>
                  </a:lnTo>
                  <a:lnTo>
                    <a:pt x="18" y="176"/>
                  </a:lnTo>
                  <a:lnTo>
                    <a:pt x="18" y="174"/>
                  </a:lnTo>
                  <a:lnTo>
                    <a:pt x="17" y="175"/>
                  </a:lnTo>
                  <a:lnTo>
                    <a:pt x="18" y="170"/>
                  </a:lnTo>
                  <a:lnTo>
                    <a:pt x="19" y="168"/>
                  </a:lnTo>
                  <a:lnTo>
                    <a:pt x="20" y="166"/>
                  </a:lnTo>
                  <a:lnTo>
                    <a:pt x="23" y="168"/>
                  </a:lnTo>
                  <a:lnTo>
                    <a:pt x="21" y="165"/>
                  </a:lnTo>
                  <a:lnTo>
                    <a:pt x="23" y="165"/>
                  </a:lnTo>
                  <a:lnTo>
                    <a:pt x="25" y="163"/>
                  </a:lnTo>
                  <a:lnTo>
                    <a:pt x="25" y="162"/>
                  </a:lnTo>
                  <a:lnTo>
                    <a:pt x="19" y="162"/>
                  </a:lnTo>
                  <a:lnTo>
                    <a:pt x="13" y="159"/>
                  </a:lnTo>
                  <a:lnTo>
                    <a:pt x="17" y="159"/>
                  </a:lnTo>
                  <a:lnTo>
                    <a:pt x="19" y="159"/>
                  </a:lnTo>
                  <a:lnTo>
                    <a:pt x="19" y="158"/>
                  </a:lnTo>
                  <a:lnTo>
                    <a:pt x="20" y="158"/>
                  </a:lnTo>
                  <a:lnTo>
                    <a:pt x="20" y="157"/>
                  </a:lnTo>
                  <a:lnTo>
                    <a:pt x="21" y="158"/>
                  </a:lnTo>
                  <a:lnTo>
                    <a:pt x="21" y="157"/>
                  </a:lnTo>
                  <a:lnTo>
                    <a:pt x="24" y="157"/>
                  </a:lnTo>
                  <a:lnTo>
                    <a:pt x="26" y="158"/>
                  </a:lnTo>
                  <a:lnTo>
                    <a:pt x="27" y="159"/>
                  </a:lnTo>
                  <a:lnTo>
                    <a:pt x="29" y="162"/>
                  </a:lnTo>
                  <a:lnTo>
                    <a:pt x="29" y="163"/>
                  </a:lnTo>
                  <a:lnTo>
                    <a:pt x="31" y="163"/>
                  </a:lnTo>
                  <a:lnTo>
                    <a:pt x="31" y="162"/>
                  </a:lnTo>
                  <a:lnTo>
                    <a:pt x="31" y="160"/>
                  </a:lnTo>
                  <a:lnTo>
                    <a:pt x="32" y="160"/>
                  </a:lnTo>
                  <a:lnTo>
                    <a:pt x="36" y="159"/>
                  </a:lnTo>
                  <a:lnTo>
                    <a:pt x="39" y="160"/>
                  </a:lnTo>
                  <a:lnTo>
                    <a:pt x="41" y="160"/>
                  </a:lnTo>
                  <a:lnTo>
                    <a:pt x="43" y="160"/>
                  </a:lnTo>
                  <a:lnTo>
                    <a:pt x="45" y="160"/>
                  </a:lnTo>
                  <a:lnTo>
                    <a:pt x="48" y="160"/>
                  </a:lnTo>
                  <a:lnTo>
                    <a:pt x="50" y="160"/>
                  </a:lnTo>
                  <a:lnTo>
                    <a:pt x="50" y="158"/>
                  </a:lnTo>
                  <a:lnTo>
                    <a:pt x="51" y="158"/>
                  </a:lnTo>
                  <a:lnTo>
                    <a:pt x="53" y="160"/>
                  </a:lnTo>
                  <a:lnTo>
                    <a:pt x="54" y="159"/>
                  </a:lnTo>
                  <a:lnTo>
                    <a:pt x="57" y="160"/>
                  </a:lnTo>
                  <a:lnTo>
                    <a:pt x="60" y="160"/>
                  </a:lnTo>
                  <a:lnTo>
                    <a:pt x="62" y="163"/>
                  </a:lnTo>
                  <a:lnTo>
                    <a:pt x="65" y="163"/>
                  </a:lnTo>
                  <a:lnTo>
                    <a:pt x="66" y="163"/>
                  </a:lnTo>
                  <a:lnTo>
                    <a:pt x="67" y="160"/>
                  </a:lnTo>
                  <a:lnTo>
                    <a:pt x="67" y="157"/>
                  </a:lnTo>
                  <a:lnTo>
                    <a:pt x="66" y="158"/>
                  </a:lnTo>
                  <a:lnTo>
                    <a:pt x="65" y="157"/>
                  </a:lnTo>
                  <a:lnTo>
                    <a:pt x="63" y="158"/>
                  </a:lnTo>
                  <a:lnTo>
                    <a:pt x="63" y="157"/>
                  </a:lnTo>
                  <a:lnTo>
                    <a:pt x="61" y="156"/>
                  </a:lnTo>
                  <a:lnTo>
                    <a:pt x="60" y="154"/>
                  </a:lnTo>
                  <a:lnTo>
                    <a:pt x="59" y="156"/>
                  </a:lnTo>
                  <a:lnTo>
                    <a:pt x="57" y="157"/>
                  </a:lnTo>
                  <a:lnTo>
                    <a:pt x="57" y="153"/>
                  </a:lnTo>
                  <a:lnTo>
                    <a:pt x="57" y="151"/>
                  </a:lnTo>
                  <a:lnTo>
                    <a:pt x="55" y="152"/>
                  </a:lnTo>
                  <a:lnTo>
                    <a:pt x="54" y="153"/>
                  </a:lnTo>
                  <a:lnTo>
                    <a:pt x="53" y="152"/>
                  </a:lnTo>
                  <a:lnTo>
                    <a:pt x="50" y="151"/>
                  </a:lnTo>
                  <a:lnTo>
                    <a:pt x="49" y="153"/>
                  </a:lnTo>
                  <a:lnTo>
                    <a:pt x="49" y="151"/>
                  </a:lnTo>
                  <a:lnTo>
                    <a:pt x="50" y="150"/>
                  </a:lnTo>
                  <a:lnTo>
                    <a:pt x="49" y="148"/>
                  </a:lnTo>
                  <a:lnTo>
                    <a:pt x="51" y="147"/>
                  </a:lnTo>
                  <a:lnTo>
                    <a:pt x="54" y="147"/>
                  </a:lnTo>
                  <a:lnTo>
                    <a:pt x="55" y="148"/>
                  </a:lnTo>
                  <a:lnTo>
                    <a:pt x="55" y="147"/>
                  </a:lnTo>
                  <a:lnTo>
                    <a:pt x="55" y="145"/>
                  </a:lnTo>
                  <a:lnTo>
                    <a:pt x="53" y="144"/>
                  </a:lnTo>
                  <a:lnTo>
                    <a:pt x="53" y="142"/>
                  </a:lnTo>
                  <a:lnTo>
                    <a:pt x="51" y="144"/>
                  </a:lnTo>
                  <a:lnTo>
                    <a:pt x="51" y="142"/>
                  </a:lnTo>
                  <a:lnTo>
                    <a:pt x="54" y="140"/>
                  </a:lnTo>
                  <a:lnTo>
                    <a:pt x="57" y="140"/>
                  </a:lnTo>
                  <a:lnTo>
                    <a:pt x="59" y="141"/>
                  </a:lnTo>
                  <a:lnTo>
                    <a:pt x="60" y="140"/>
                  </a:lnTo>
                  <a:lnTo>
                    <a:pt x="61" y="139"/>
                  </a:lnTo>
                  <a:lnTo>
                    <a:pt x="62" y="136"/>
                  </a:lnTo>
                  <a:lnTo>
                    <a:pt x="66" y="136"/>
                  </a:lnTo>
                  <a:lnTo>
                    <a:pt x="65" y="134"/>
                  </a:lnTo>
                  <a:lnTo>
                    <a:pt x="62" y="133"/>
                  </a:lnTo>
                  <a:lnTo>
                    <a:pt x="62" y="131"/>
                  </a:lnTo>
                  <a:lnTo>
                    <a:pt x="65" y="133"/>
                  </a:lnTo>
                  <a:lnTo>
                    <a:pt x="66" y="131"/>
                  </a:lnTo>
                  <a:lnTo>
                    <a:pt x="67" y="130"/>
                  </a:lnTo>
                  <a:lnTo>
                    <a:pt x="69" y="130"/>
                  </a:lnTo>
                  <a:lnTo>
                    <a:pt x="72" y="129"/>
                  </a:lnTo>
                  <a:lnTo>
                    <a:pt x="73" y="128"/>
                  </a:lnTo>
                  <a:lnTo>
                    <a:pt x="74" y="127"/>
                  </a:lnTo>
                  <a:lnTo>
                    <a:pt x="73" y="124"/>
                  </a:lnTo>
                  <a:lnTo>
                    <a:pt x="73" y="122"/>
                  </a:lnTo>
                  <a:lnTo>
                    <a:pt x="71" y="125"/>
                  </a:lnTo>
                  <a:lnTo>
                    <a:pt x="67" y="128"/>
                  </a:lnTo>
                  <a:lnTo>
                    <a:pt x="68" y="125"/>
                  </a:lnTo>
                  <a:lnTo>
                    <a:pt x="72" y="122"/>
                  </a:lnTo>
                  <a:lnTo>
                    <a:pt x="73" y="121"/>
                  </a:lnTo>
                  <a:lnTo>
                    <a:pt x="72" y="121"/>
                  </a:lnTo>
                  <a:lnTo>
                    <a:pt x="72" y="118"/>
                  </a:lnTo>
                  <a:lnTo>
                    <a:pt x="72" y="117"/>
                  </a:lnTo>
                  <a:lnTo>
                    <a:pt x="69" y="118"/>
                  </a:lnTo>
                  <a:lnTo>
                    <a:pt x="66" y="119"/>
                  </a:lnTo>
                  <a:lnTo>
                    <a:pt x="62" y="121"/>
                  </a:lnTo>
                  <a:lnTo>
                    <a:pt x="63" y="118"/>
                  </a:lnTo>
                  <a:lnTo>
                    <a:pt x="65" y="116"/>
                  </a:lnTo>
                  <a:lnTo>
                    <a:pt x="66" y="115"/>
                  </a:lnTo>
                  <a:lnTo>
                    <a:pt x="68" y="113"/>
                  </a:lnTo>
                  <a:lnTo>
                    <a:pt x="72" y="115"/>
                  </a:lnTo>
                  <a:lnTo>
                    <a:pt x="72" y="112"/>
                  </a:lnTo>
                  <a:lnTo>
                    <a:pt x="63" y="112"/>
                  </a:lnTo>
                  <a:lnTo>
                    <a:pt x="62" y="111"/>
                  </a:lnTo>
                  <a:lnTo>
                    <a:pt x="65" y="110"/>
                  </a:lnTo>
                  <a:lnTo>
                    <a:pt x="67" y="109"/>
                  </a:lnTo>
                  <a:lnTo>
                    <a:pt x="68" y="109"/>
                  </a:lnTo>
                  <a:lnTo>
                    <a:pt x="69" y="109"/>
                  </a:lnTo>
                  <a:lnTo>
                    <a:pt x="72" y="109"/>
                  </a:lnTo>
                  <a:lnTo>
                    <a:pt x="74" y="111"/>
                  </a:lnTo>
                  <a:lnTo>
                    <a:pt x="74" y="109"/>
                  </a:lnTo>
                  <a:lnTo>
                    <a:pt x="77" y="109"/>
                  </a:lnTo>
                  <a:lnTo>
                    <a:pt x="77" y="106"/>
                  </a:lnTo>
                  <a:lnTo>
                    <a:pt x="74" y="105"/>
                  </a:lnTo>
                  <a:lnTo>
                    <a:pt x="73" y="104"/>
                  </a:lnTo>
                  <a:lnTo>
                    <a:pt x="72" y="101"/>
                  </a:lnTo>
                  <a:lnTo>
                    <a:pt x="72" y="99"/>
                  </a:lnTo>
                  <a:lnTo>
                    <a:pt x="73" y="97"/>
                  </a:lnTo>
                  <a:lnTo>
                    <a:pt x="74" y="98"/>
                  </a:lnTo>
                  <a:lnTo>
                    <a:pt x="76" y="100"/>
                  </a:lnTo>
                  <a:lnTo>
                    <a:pt x="77" y="99"/>
                  </a:lnTo>
                  <a:lnTo>
                    <a:pt x="78" y="103"/>
                  </a:lnTo>
                  <a:lnTo>
                    <a:pt x="78" y="106"/>
                  </a:lnTo>
                  <a:lnTo>
                    <a:pt x="79" y="109"/>
                  </a:lnTo>
                  <a:lnTo>
                    <a:pt x="80" y="110"/>
                  </a:lnTo>
                  <a:lnTo>
                    <a:pt x="83" y="111"/>
                  </a:lnTo>
                  <a:lnTo>
                    <a:pt x="85" y="111"/>
                  </a:lnTo>
                  <a:lnTo>
                    <a:pt x="88" y="110"/>
                  </a:lnTo>
                  <a:lnTo>
                    <a:pt x="90" y="109"/>
                  </a:lnTo>
                  <a:lnTo>
                    <a:pt x="91" y="109"/>
                  </a:lnTo>
                  <a:lnTo>
                    <a:pt x="92" y="107"/>
                  </a:lnTo>
                  <a:lnTo>
                    <a:pt x="94" y="107"/>
                  </a:lnTo>
                  <a:lnTo>
                    <a:pt x="95" y="106"/>
                  </a:lnTo>
                  <a:lnTo>
                    <a:pt x="95" y="105"/>
                  </a:lnTo>
                  <a:lnTo>
                    <a:pt x="96" y="104"/>
                  </a:lnTo>
                  <a:lnTo>
                    <a:pt x="96" y="101"/>
                  </a:lnTo>
                  <a:lnTo>
                    <a:pt x="95" y="100"/>
                  </a:lnTo>
                  <a:lnTo>
                    <a:pt x="95" y="99"/>
                  </a:lnTo>
                  <a:lnTo>
                    <a:pt x="95" y="98"/>
                  </a:lnTo>
                  <a:lnTo>
                    <a:pt x="96" y="98"/>
                  </a:lnTo>
                  <a:lnTo>
                    <a:pt x="97" y="99"/>
                  </a:lnTo>
                  <a:lnTo>
                    <a:pt x="98" y="98"/>
                  </a:lnTo>
                  <a:lnTo>
                    <a:pt x="97" y="97"/>
                  </a:lnTo>
                  <a:lnTo>
                    <a:pt x="100" y="97"/>
                  </a:lnTo>
                  <a:lnTo>
                    <a:pt x="100" y="95"/>
                  </a:lnTo>
                  <a:lnTo>
                    <a:pt x="98" y="91"/>
                  </a:lnTo>
                  <a:lnTo>
                    <a:pt x="97" y="91"/>
                  </a:lnTo>
                  <a:lnTo>
                    <a:pt x="96" y="92"/>
                  </a:lnTo>
                  <a:lnTo>
                    <a:pt x="95" y="91"/>
                  </a:lnTo>
                  <a:lnTo>
                    <a:pt x="95" y="89"/>
                  </a:lnTo>
                  <a:lnTo>
                    <a:pt x="95" y="88"/>
                  </a:lnTo>
                  <a:lnTo>
                    <a:pt x="96" y="88"/>
                  </a:lnTo>
                  <a:lnTo>
                    <a:pt x="98" y="89"/>
                  </a:lnTo>
                  <a:lnTo>
                    <a:pt x="97" y="87"/>
                  </a:lnTo>
                  <a:lnTo>
                    <a:pt x="97" y="86"/>
                  </a:lnTo>
                  <a:lnTo>
                    <a:pt x="98" y="86"/>
                  </a:lnTo>
                  <a:lnTo>
                    <a:pt x="98" y="85"/>
                  </a:lnTo>
                  <a:lnTo>
                    <a:pt x="98" y="83"/>
                  </a:lnTo>
                  <a:lnTo>
                    <a:pt x="100" y="83"/>
                  </a:lnTo>
                  <a:lnTo>
                    <a:pt x="101" y="83"/>
                  </a:lnTo>
                  <a:lnTo>
                    <a:pt x="101" y="86"/>
                  </a:lnTo>
                  <a:lnTo>
                    <a:pt x="102" y="86"/>
                  </a:lnTo>
                  <a:lnTo>
                    <a:pt x="102" y="87"/>
                  </a:lnTo>
                  <a:lnTo>
                    <a:pt x="100" y="88"/>
                  </a:lnTo>
                  <a:lnTo>
                    <a:pt x="100" y="89"/>
                  </a:lnTo>
                  <a:lnTo>
                    <a:pt x="100" y="92"/>
                  </a:lnTo>
                  <a:lnTo>
                    <a:pt x="100" y="94"/>
                  </a:lnTo>
                  <a:lnTo>
                    <a:pt x="102" y="93"/>
                  </a:lnTo>
                  <a:lnTo>
                    <a:pt x="101" y="92"/>
                  </a:lnTo>
                  <a:lnTo>
                    <a:pt x="101" y="91"/>
                  </a:lnTo>
                  <a:lnTo>
                    <a:pt x="101" y="89"/>
                  </a:lnTo>
                  <a:lnTo>
                    <a:pt x="102" y="89"/>
                  </a:lnTo>
                  <a:lnTo>
                    <a:pt x="104" y="89"/>
                  </a:lnTo>
                  <a:lnTo>
                    <a:pt x="103" y="93"/>
                  </a:lnTo>
                  <a:lnTo>
                    <a:pt x="104" y="94"/>
                  </a:lnTo>
                  <a:lnTo>
                    <a:pt x="106" y="95"/>
                  </a:lnTo>
                  <a:lnTo>
                    <a:pt x="103" y="98"/>
                  </a:lnTo>
                  <a:lnTo>
                    <a:pt x="104" y="98"/>
                  </a:lnTo>
                  <a:lnTo>
                    <a:pt x="106" y="97"/>
                  </a:lnTo>
                  <a:lnTo>
                    <a:pt x="107" y="97"/>
                  </a:lnTo>
                  <a:lnTo>
                    <a:pt x="108" y="95"/>
                  </a:lnTo>
                  <a:lnTo>
                    <a:pt x="109" y="94"/>
                  </a:lnTo>
                  <a:lnTo>
                    <a:pt x="108" y="93"/>
                  </a:lnTo>
                  <a:lnTo>
                    <a:pt x="106" y="93"/>
                  </a:lnTo>
                  <a:lnTo>
                    <a:pt x="106" y="91"/>
                  </a:lnTo>
                  <a:lnTo>
                    <a:pt x="104" y="87"/>
                  </a:lnTo>
                  <a:lnTo>
                    <a:pt x="106" y="88"/>
                  </a:lnTo>
                  <a:lnTo>
                    <a:pt x="106" y="87"/>
                  </a:lnTo>
                  <a:lnTo>
                    <a:pt x="107" y="87"/>
                  </a:lnTo>
                  <a:lnTo>
                    <a:pt x="108" y="87"/>
                  </a:lnTo>
                  <a:lnTo>
                    <a:pt x="109" y="88"/>
                  </a:lnTo>
                  <a:lnTo>
                    <a:pt x="110" y="87"/>
                  </a:lnTo>
                  <a:lnTo>
                    <a:pt x="112" y="88"/>
                  </a:lnTo>
                  <a:lnTo>
                    <a:pt x="113" y="88"/>
                  </a:lnTo>
                  <a:lnTo>
                    <a:pt x="113" y="89"/>
                  </a:lnTo>
                  <a:lnTo>
                    <a:pt x="113" y="92"/>
                  </a:lnTo>
                  <a:lnTo>
                    <a:pt x="114" y="92"/>
                  </a:lnTo>
                  <a:lnTo>
                    <a:pt x="115" y="91"/>
                  </a:lnTo>
                  <a:lnTo>
                    <a:pt x="115" y="93"/>
                  </a:lnTo>
                  <a:lnTo>
                    <a:pt x="115" y="94"/>
                  </a:lnTo>
                  <a:lnTo>
                    <a:pt x="116" y="92"/>
                  </a:lnTo>
                  <a:lnTo>
                    <a:pt x="116" y="93"/>
                  </a:lnTo>
                  <a:lnTo>
                    <a:pt x="119" y="93"/>
                  </a:lnTo>
                  <a:lnTo>
                    <a:pt x="120" y="91"/>
                  </a:lnTo>
                  <a:lnTo>
                    <a:pt x="118" y="92"/>
                  </a:lnTo>
                  <a:lnTo>
                    <a:pt x="118" y="91"/>
                  </a:lnTo>
                  <a:lnTo>
                    <a:pt x="118" y="89"/>
                  </a:lnTo>
                  <a:lnTo>
                    <a:pt x="119" y="89"/>
                  </a:lnTo>
                  <a:lnTo>
                    <a:pt x="119" y="87"/>
                  </a:lnTo>
                  <a:lnTo>
                    <a:pt x="120" y="87"/>
                  </a:lnTo>
                  <a:lnTo>
                    <a:pt x="121" y="87"/>
                  </a:lnTo>
                  <a:lnTo>
                    <a:pt x="121" y="88"/>
                  </a:lnTo>
                  <a:lnTo>
                    <a:pt x="122" y="87"/>
                  </a:lnTo>
                  <a:lnTo>
                    <a:pt x="124" y="86"/>
                  </a:lnTo>
                  <a:lnTo>
                    <a:pt x="124" y="81"/>
                  </a:lnTo>
                  <a:lnTo>
                    <a:pt x="125" y="83"/>
                  </a:lnTo>
                  <a:lnTo>
                    <a:pt x="125" y="85"/>
                  </a:lnTo>
                  <a:lnTo>
                    <a:pt x="126" y="85"/>
                  </a:lnTo>
                  <a:lnTo>
                    <a:pt x="126" y="87"/>
                  </a:lnTo>
                  <a:lnTo>
                    <a:pt x="125" y="88"/>
                  </a:lnTo>
                  <a:lnTo>
                    <a:pt x="125" y="91"/>
                  </a:lnTo>
                  <a:lnTo>
                    <a:pt x="127" y="92"/>
                  </a:lnTo>
                  <a:lnTo>
                    <a:pt x="127" y="91"/>
                  </a:lnTo>
                  <a:lnTo>
                    <a:pt x="130" y="92"/>
                  </a:lnTo>
                  <a:lnTo>
                    <a:pt x="130" y="95"/>
                  </a:lnTo>
                  <a:lnTo>
                    <a:pt x="132" y="93"/>
                  </a:lnTo>
                  <a:lnTo>
                    <a:pt x="133" y="94"/>
                  </a:lnTo>
                  <a:lnTo>
                    <a:pt x="135" y="94"/>
                  </a:lnTo>
                  <a:lnTo>
                    <a:pt x="135" y="95"/>
                  </a:lnTo>
                  <a:lnTo>
                    <a:pt x="136" y="97"/>
                  </a:lnTo>
                  <a:lnTo>
                    <a:pt x="137" y="98"/>
                  </a:lnTo>
                  <a:lnTo>
                    <a:pt x="138" y="100"/>
                  </a:lnTo>
                  <a:lnTo>
                    <a:pt x="138" y="101"/>
                  </a:lnTo>
                  <a:lnTo>
                    <a:pt x="135" y="98"/>
                  </a:lnTo>
                  <a:lnTo>
                    <a:pt x="130" y="97"/>
                  </a:lnTo>
                  <a:lnTo>
                    <a:pt x="128" y="94"/>
                  </a:lnTo>
                  <a:lnTo>
                    <a:pt x="128" y="97"/>
                  </a:lnTo>
                  <a:lnTo>
                    <a:pt x="130" y="98"/>
                  </a:lnTo>
                  <a:lnTo>
                    <a:pt x="131" y="101"/>
                  </a:lnTo>
                  <a:lnTo>
                    <a:pt x="132" y="101"/>
                  </a:lnTo>
                  <a:lnTo>
                    <a:pt x="135" y="103"/>
                  </a:lnTo>
                  <a:lnTo>
                    <a:pt x="132" y="104"/>
                  </a:lnTo>
                  <a:lnTo>
                    <a:pt x="133" y="109"/>
                  </a:lnTo>
                  <a:lnTo>
                    <a:pt x="135" y="111"/>
                  </a:lnTo>
                  <a:lnTo>
                    <a:pt x="137" y="111"/>
                  </a:lnTo>
                  <a:lnTo>
                    <a:pt x="137" y="113"/>
                  </a:lnTo>
                  <a:lnTo>
                    <a:pt x="138" y="113"/>
                  </a:lnTo>
                  <a:lnTo>
                    <a:pt x="139" y="113"/>
                  </a:lnTo>
                  <a:lnTo>
                    <a:pt x="139" y="117"/>
                  </a:lnTo>
                  <a:lnTo>
                    <a:pt x="141" y="118"/>
                  </a:lnTo>
                  <a:lnTo>
                    <a:pt x="142" y="118"/>
                  </a:lnTo>
                  <a:lnTo>
                    <a:pt x="143" y="116"/>
                  </a:lnTo>
                  <a:lnTo>
                    <a:pt x="144" y="115"/>
                  </a:lnTo>
                  <a:lnTo>
                    <a:pt x="145" y="115"/>
                  </a:lnTo>
                  <a:lnTo>
                    <a:pt x="148" y="113"/>
                  </a:lnTo>
                  <a:lnTo>
                    <a:pt x="145" y="112"/>
                  </a:lnTo>
                  <a:lnTo>
                    <a:pt x="143" y="113"/>
                  </a:lnTo>
                  <a:lnTo>
                    <a:pt x="141" y="112"/>
                  </a:lnTo>
                  <a:lnTo>
                    <a:pt x="141" y="111"/>
                  </a:lnTo>
                  <a:lnTo>
                    <a:pt x="142" y="111"/>
                  </a:lnTo>
                  <a:lnTo>
                    <a:pt x="143" y="109"/>
                  </a:lnTo>
                  <a:lnTo>
                    <a:pt x="144" y="109"/>
                  </a:lnTo>
                  <a:lnTo>
                    <a:pt x="145" y="107"/>
                  </a:lnTo>
                  <a:lnTo>
                    <a:pt x="147" y="107"/>
                  </a:lnTo>
                  <a:lnTo>
                    <a:pt x="148" y="106"/>
                  </a:lnTo>
                  <a:lnTo>
                    <a:pt x="148" y="105"/>
                  </a:lnTo>
                  <a:lnTo>
                    <a:pt x="147" y="103"/>
                  </a:lnTo>
                  <a:lnTo>
                    <a:pt x="143" y="105"/>
                  </a:lnTo>
                  <a:lnTo>
                    <a:pt x="142" y="106"/>
                  </a:lnTo>
                  <a:lnTo>
                    <a:pt x="142" y="105"/>
                  </a:lnTo>
                  <a:lnTo>
                    <a:pt x="141" y="104"/>
                  </a:lnTo>
                  <a:lnTo>
                    <a:pt x="141" y="103"/>
                  </a:lnTo>
                  <a:lnTo>
                    <a:pt x="141" y="100"/>
                  </a:lnTo>
                  <a:lnTo>
                    <a:pt x="141" y="99"/>
                  </a:lnTo>
                  <a:lnTo>
                    <a:pt x="138" y="94"/>
                  </a:lnTo>
                  <a:lnTo>
                    <a:pt x="141" y="97"/>
                  </a:lnTo>
                  <a:lnTo>
                    <a:pt x="143" y="95"/>
                  </a:lnTo>
                  <a:lnTo>
                    <a:pt x="144" y="95"/>
                  </a:lnTo>
                  <a:lnTo>
                    <a:pt x="147" y="97"/>
                  </a:lnTo>
                  <a:lnTo>
                    <a:pt x="148" y="93"/>
                  </a:lnTo>
                  <a:lnTo>
                    <a:pt x="147" y="92"/>
                  </a:lnTo>
                  <a:lnTo>
                    <a:pt x="145" y="93"/>
                  </a:lnTo>
                  <a:lnTo>
                    <a:pt x="143" y="93"/>
                  </a:lnTo>
                  <a:lnTo>
                    <a:pt x="143" y="91"/>
                  </a:lnTo>
                  <a:lnTo>
                    <a:pt x="142" y="89"/>
                  </a:lnTo>
                  <a:lnTo>
                    <a:pt x="145" y="89"/>
                  </a:lnTo>
                  <a:lnTo>
                    <a:pt x="148" y="89"/>
                  </a:lnTo>
                  <a:lnTo>
                    <a:pt x="149" y="89"/>
                  </a:lnTo>
                  <a:lnTo>
                    <a:pt x="149" y="88"/>
                  </a:lnTo>
                  <a:lnTo>
                    <a:pt x="150" y="88"/>
                  </a:lnTo>
                  <a:lnTo>
                    <a:pt x="150" y="87"/>
                  </a:lnTo>
                  <a:lnTo>
                    <a:pt x="153" y="89"/>
                  </a:lnTo>
                  <a:lnTo>
                    <a:pt x="153" y="91"/>
                  </a:lnTo>
                  <a:lnTo>
                    <a:pt x="154" y="91"/>
                  </a:lnTo>
                  <a:lnTo>
                    <a:pt x="154" y="92"/>
                  </a:lnTo>
                  <a:lnTo>
                    <a:pt x="156" y="94"/>
                  </a:lnTo>
                  <a:lnTo>
                    <a:pt x="157" y="95"/>
                  </a:lnTo>
                  <a:lnTo>
                    <a:pt x="159" y="97"/>
                  </a:lnTo>
                  <a:lnTo>
                    <a:pt x="159" y="99"/>
                  </a:lnTo>
                  <a:lnTo>
                    <a:pt x="160" y="101"/>
                  </a:lnTo>
                  <a:lnTo>
                    <a:pt x="160" y="103"/>
                  </a:lnTo>
                  <a:lnTo>
                    <a:pt x="161" y="101"/>
                  </a:lnTo>
                  <a:lnTo>
                    <a:pt x="162" y="103"/>
                  </a:lnTo>
                  <a:lnTo>
                    <a:pt x="163" y="101"/>
                  </a:lnTo>
                  <a:lnTo>
                    <a:pt x="165" y="101"/>
                  </a:lnTo>
                  <a:lnTo>
                    <a:pt x="166" y="99"/>
                  </a:lnTo>
                  <a:lnTo>
                    <a:pt x="167" y="100"/>
                  </a:lnTo>
                  <a:lnTo>
                    <a:pt x="169" y="103"/>
                  </a:lnTo>
                  <a:lnTo>
                    <a:pt x="171" y="104"/>
                  </a:lnTo>
                  <a:lnTo>
                    <a:pt x="173" y="105"/>
                  </a:lnTo>
                  <a:lnTo>
                    <a:pt x="173" y="107"/>
                  </a:lnTo>
                  <a:lnTo>
                    <a:pt x="175" y="107"/>
                  </a:lnTo>
                  <a:lnTo>
                    <a:pt x="177" y="106"/>
                  </a:lnTo>
                  <a:lnTo>
                    <a:pt x="175" y="106"/>
                  </a:lnTo>
                  <a:lnTo>
                    <a:pt x="175" y="104"/>
                  </a:lnTo>
                  <a:lnTo>
                    <a:pt x="177" y="103"/>
                  </a:lnTo>
                  <a:lnTo>
                    <a:pt x="178" y="103"/>
                  </a:lnTo>
                  <a:lnTo>
                    <a:pt x="178" y="101"/>
                  </a:lnTo>
                  <a:lnTo>
                    <a:pt x="179" y="100"/>
                  </a:lnTo>
                  <a:lnTo>
                    <a:pt x="181" y="100"/>
                  </a:lnTo>
                  <a:lnTo>
                    <a:pt x="183" y="101"/>
                  </a:lnTo>
                  <a:lnTo>
                    <a:pt x="184" y="101"/>
                  </a:lnTo>
                  <a:lnTo>
                    <a:pt x="185" y="101"/>
                  </a:lnTo>
                  <a:lnTo>
                    <a:pt x="185" y="103"/>
                  </a:lnTo>
                  <a:lnTo>
                    <a:pt x="185" y="105"/>
                  </a:lnTo>
                  <a:lnTo>
                    <a:pt x="186" y="104"/>
                  </a:lnTo>
                  <a:lnTo>
                    <a:pt x="187" y="103"/>
                  </a:lnTo>
                  <a:lnTo>
                    <a:pt x="189" y="101"/>
                  </a:lnTo>
                  <a:lnTo>
                    <a:pt x="191" y="104"/>
                  </a:lnTo>
                  <a:lnTo>
                    <a:pt x="191" y="101"/>
                  </a:lnTo>
                  <a:lnTo>
                    <a:pt x="189" y="101"/>
                  </a:lnTo>
                  <a:lnTo>
                    <a:pt x="187" y="100"/>
                  </a:lnTo>
                  <a:lnTo>
                    <a:pt x="187" y="97"/>
                  </a:lnTo>
                  <a:lnTo>
                    <a:pt x="189" y="98"/>
                  </a:lnTo>
                  <a:lnTo>
                    <a:pt x="190" y="98"/>
                  </a:lnTo>
                  <a:lnTo>
                    <a:pt x="191" y="97"/>
                  </a:lnTo>
                  <a:lnTo>
                    <a:pt x="192" y="95"/>
                  </a:lnTo>
                  <a:lnTo>
                    <a:pt x="194" y="95"/>
                  </a:lnTo>
                  <a:lnTo>
                    <a:pt x="195" y="97"/>
                  </a:lnTo>
                  <a:lnTo>
                    <a:pt x="196" y="98"/>
                  </a:lnTo>
                  <a:lnTo>
                    <a:pt x="197" y="97"/>
                  </a:lnTo>
                  <a:lnTo>
                    <a:pt x="198" y="97"/>
                  </a:lnTo>
                  <a:lnTo>
                    <a:pt x="197" y="95"/>
                  </a:lnTo>
                  <a:lnTo>
                    <a:pt x="197" y="94"/>
                  </a:lnTo>
                  <a:lnTo>
                    <a:pt x="198" y="93"/>
                  </a:lnTo>
                  <a:lnTo>
                    <a:pt x="200" y="92"/>
                  </a:lnTo>
                  <a:lnTo>
                    <a:pt x="201" y="91"/>
                  </a:lnTo>
                  <a:lnTo>
                    <a:pt x="202" y="89"/>
                  </a:lnTo>
                  <a:lnTo>
                    <a:pt x="198" y="91"/>
                  </a:lnTo>
                  <a:lnTo>
                    <a:pt x="196" y="92"/>
                  </a:lnTo>
                  <a:lnTo>
                    <a:pt x="196" y="91"/>
                  </a:lnTo>
                  <a:lnTo>
                    <a:pt x="197" y="88"/>
                  </a:lnTo>
                  <a:lnTo>
                    <a:pt x="198" y="86"/>
                  </a:lnTo>
                  <a:lnTo>
                    <a:pt x="200" y="86"/>
                  </a:lnTo>
                  <a:lnTo>
                    <a:pt x="201" y="85"/>
                  </a:lnTo>
                  <a:lnTo>
                    <a:pt x="201" y="83"/>
                  </a:lnTo>
                  <a:lnTo>
                    <a:pt x="202" y="82"/>
                  </a:lnTo>
                  <a:lnTo>
                    <a:pt x="207" y="83"/>
                  </a:lnTo>
                  <a:lnTo>
                    <a:pt x="208" y="82"/>
                  </a:lnTo>
                  <a:lnTo>
                    <a:pt x="210" y="82"/>
                  </a:lnTo>
                  <a:lnTo>
                    <a:pt x="208" y="77"/>
                  </a:lnTo>
                  <a:lnTo>
                    <a:pt x="208" y="79"/>
                  </a:lnTo>
                  <a:lnTo>
                    <a:pt x="207" y="80"/>
                  </a:lnTo>
                  <a:lnTo>
                    <a:pt x="207" y="77"/>
                  </a:lnTo>
                  <a:lnTo>
                    <a:pt x="204" y="76"/>
                  </a:lnTo>
                  <a:lnTo>
                    <a:pt x="201" y="77"/>
                  </a:lnTo>
                  <a:lnTo>
                    <a:pt x="197" y="77"/>
                  </a:lnTo>
                  <a:lnTo>
                    <a:pt x="197" y="76"/>
                  </a:lnTo>
                  <a:lnTo>
                    <a:pt x="198" y="75"/>
                  </a:lnTo>
                  <a:lnTo>
                    <a:pt x="201" y="75"/>
                  </a:lnTo>
                  <a:lnTo>
                    <a:pt x="203" y="74"/>
                  </a:lnTo>
                  <a:lnTo>
                    <a:pt x="204" y="75"/>
                  </a:lnTo>
                  <a:lnTo>
                    <a:pt x="207" y="76"/>
                  </a:lnTo>
                  <a:lnTo>
                    <a:pt x="208" y="76"/>
                  </a:lnTo>
                  <a:lnTo>
                    <a:pt x="206" y="69"/>
                  </a:lnTo>
                  <a:lnTo>
                    <a:pt x="203" y="65"/>
                  </a:lnTo>
                  <a:lnTo>
                    <a:pt x="203" y="67"/>
                  </a:lnTo>
                  <a:lnTo>
                    <a:pt x="201" y="67"/>
                  </a:lnTo>
                  <a:lnTo>
                    <a:pt x="200" y="68"/>
                  </a:lnTo>
                  <a:lnTo>
                    <a:pt x="200" y="65"/>
                  </a:lnTo>
                  <a:lnTo>
                    <a:pt x="201" y="63"/>
                  </a:lnTo>
                  <a:lnTo>
                    <a:pt x="201" y="64"/>
                  </a:lnTo>
                  <a:lnTo>
                    <a:pt x="202" y="62"/>
                  </a:lnTo>
                  <a:lnTo>
                    <a:pt x="200" y="62"/>
                  </a:lnTo>
                  <a:lnTo>
                    <a:pt x="197" y="63"/>
                  </a:lnTo>
                  <a:lnTo>
                    <a:pt x="195" y="65"/>
                  </a:lnTo>
                  <a:lnTo>
                    <a:pt x="196" y="62"/>
                  </a:lnTo>
                  <a:lnTo>
                    <a:pt x="196" y="61"/>
                  </a:lnTo>
                  <a:lnTo>
                    <a:pt x="197" y="59"/>
                  </a:lnTo>
                  <a:lnTo>
                    <a:pt x="200" y="61"/>
                  </a:lnTo>
                  <a:lnTo>
                    <a:pt x="201" y="62"/>
                  </a:lnTo>
                  <a:lnTo>
                    <a:pt x="198" y="57"/>
                  </a:lnTo>
                  <a:lnTo>
                    <a:pt x="195" y="57"/>
                  </a:lnTo>
                  <a:lnTo>
                    <a:pt x="192" y="59"/>
                  </a:lnTo>
                  <a:lnTo>
                    <a:pt x="192" y="62"/>
                  </a:lnTo>
                  <a:lnTo>
                    <a:pt x="190" y="62"/>
                  </a:lnTo>
                  <a:lnTo>
                    <a:pt x="190" y="61"/>
                  </a:lnTo>
                  <a:lnTo>
                    <a:pt x="189" y="59"/>
                  </a:lnTo>
                  <a:lnTo>
                    <a:pt x="189" y="57"/>
                  </a:lnTo>
                  <a:lnTo>
                    <a:pt x="190" y="56"/>
                  </a:lnTo>
                  <a:lnTo>
                    <a:pt x="192" y="57"/>
                  </a:lnTo>
                  <a:lnTo>
                    <a:pt x="196" y="56"/>
                  </a:lnTo>
                  <a:lnTo>
                    <a:pt x="197" y="56"/>
                  </a:lnTo>
                  <a:lnTo>
                    <a:pt x="195" y="56"/>
                  </a:lnTo>
                  <a:lnTo>
                    <a:pt x="192" y="56"/>
                  </a:lnTo>
                  <a:lnTo>
                    <a:pt x="194" y="55"/>
                  </a:lnTo>
                  <a:lnTo>
                    <a:pt x="195" y="53"/>
                  </a:lnTo>
                  <a:lnTo>
                    <a:pt x="194" y="53"/>
                  </a:lnTo>
                  <a:lnTo>
                    <a:pt x="192" y="53"/>
                  </a:lnTo>
                  <a:lnTo>
                    <a:pt x="191" y="55"/>
                  </a:lnTo>
                  <a:lnTo>
                    <a:pt x="190" y="53"/>
                  </a:lnTo>
                  <a:lnTo>
                    <a:pt x="192" y="52"/>
                  </a:lnTo>
                  <a:lnTo>
                    <a:pt x="195" y="52"/>
                  </a:lnTo>
                  <a:lnTo>
                    <a:pt x="194" y="51"/>
                  </a:lnTo>
                  <a:lnTo>
                    <a:pt x="191" y="51"/>
                  </a:lnTo>
                  <a:lnTo>
                    <a:pt x="189" y="52"/>
                  </a:lnTo>
                  <a:lnTo>
                    <a:pt x="187" y="50"/>
                  </a:lnTo>
                  <a:lnTo>
                    <a:pt x="190" y="49"/>
                  </a:lnTo>
                  <a:lnTo>
                    <a:pt x="191" y="51"/>
                  </a:lnTo>
                  <a:lnTo>
                    <a:pt x="194" y="50"/>
                  </a:lnTo>
                  <a:lnTo>
                    <a:pt x="191" y="49"/>
                  </a:lnTo>
                  <a:lnTo>
                    <a:pt x="189" y="47"/>
                  </a:lnTo>
                  <a:lnTo>
                    <a:pt x="187" y="47"/>
                  </a:lnTo>
                  <a:lnTo>
                    <a:pt x="184" y="46"/>
                  </a:lnTo>
                  <a:lnTo>
                    <a:pt x="186" y="45"/>
                  </a:lnTo>
                  <a:lnTo>
                    <a:pt x="189" y="46"/>
                  </a:lnTo>
                  <a:lnTo>
                    <a:pt x="191" y="47"/>
                  </a:lnTo>
                  <a:lnTo>
                    <a:pt x="194" y="50"/>
                  </a:lnTo>
                  <a:lnTo>
                    <a:pt x="195" y="50"/>
                  </a:lnTo>
                  <a:lnTo>
                    <a:pt x="196" y="49"/>
                  </a:lnTo>
                  <a:lnTo>
                    <a:pt x="195" y="46"/>
                  </a:lnTo>
                  <a:lnTo>
                    <a:pt x="192" y="45"/>
                  </a:lnTo>
                  <a:lnTo>
                    <a:pt x="190" y="45"/>
                  </a:lnTo>
                  <a:lnTo>
                    <a:pt x="187" y="44"/>
                  </a:lnTo>
                  <a:lnTo>
                    <a:pt x="194" y="44"/>
                  </a:lnTo>
                  <a:lnTo>
                    <a:pt x="195" y="45"/>
                  </a:lnTo>
                  <a:lnTo>
                    <a:pt x="196" y="46"/>
                  </a:lnTo>
                  <a:lnTo>
                    <a:pt x="197" y="45"/>
                  </a:lnTo>
                  <a:lnTo>
                    <a:pt x="198" y="45"/>
                  </a:lnTo>
                  <a:lnTo>
                    <a:pt x="198" y="43"/>
                  </a:lnTo>
                  <a:lnTo>
                    <a:pt x="201" y="41"/>
                  </a:lnTo>
                  <a:lnTo>
                    <a:pt x="202" y="41"/>
                  </a:lnTo>
                  <a:lnTo>
                    <a:pt x="204" y="41"/>
                  </a:lnTo>
                  <a:lnTo>
                    <a:pt x="206" y="40"/>
                  </a:lnTo>
                  <a:lnTo>
                    <a:pt x="204" y="44"/>
                  </a:lnTo>
                  <a:lnTo>
                    <a:pt x="201" y="45"/>
                  </a:lnTo>
                  <a:lnTo>
                    <a:pt x="198" y="46"/>
                  </a:lnTo>
                  <a:lnTo>
                    <a:pt x="198" y="47"/>
                  </a:lnTo>
                  <a:lnTo>
                    <a:pt x="198" y="49"/>
                  </a:lnTo>
                  <a:lnTo>
                    <a:pt x="200" y="50"/>
                  </a:lnTo>
                  <a:lnTo>
                    <a:pt x="200" y="51"/>
                  </a:lnTo>
                  <a:lnTo>
                    <a:pt x="198" y="55"/>
                  </a:lnTo>
                  <a:lnTo>
                    <a:pt x="200" y="53"/>
                  </a:lnTo>
                  <a:lnTo>
                    <a:pt x="201" y="55"/>
                  </a:lnTo>
                  <a:lnTo>
                    <a:pt x="201" y="57"/>
                  </a:lnTo>
                  <a:lnTo>
                    <a:pt x="203" y="64"/>
                  </a:lnTo>
                  <a:lnTo>
                    <a:pt x="208" y="75"/>
                  </a:lnTo>
                  <a:lnTo>
                    <a:pt x="210" y="74"/>
                  </a:lnTo>
                  <a:lnTo>
                    <a:pt x="212" y="74"/>
                  </a:lnTo>
                  <a:lnTo>
                    <a:pt x="212" y="71"/>
                  </a:lnTo>
                  <a:lnTo>
                    <a:pt x="212" y="70"/>
                  </a:lnTo>
                  <a:lnTo>
                    <a:pt x="212" y="69"/>
                  </a:lnTo>
                  <a:lnTo>
                    <a:pt x="213" y="69"/>
                  </a:lnTo>
                  <a:lnTo>
                    <a:pt x="214" y="70"/>
                  </a:lnTo>
                  <a:lnTo>
                    <a:pt x="215" y="70"/>
                  </a:lnTo>
                  <a:lnTo>
                    <a:pt x="214" y="68"/>
                  </a:lnTo>
                  <a:lnTo>
                    <a:pt x="216" y="68"/>
                  </a:lnTo>
                  <a:lnTo>
                    <a:pt x="218" y="68"/>
                  </a:lnTo>
                  <a:lnTo>
                    <a:pt x="219" y="67"/>
                  </a:lnTo>
                  <a:lnTo>
                    <a:pt x="221" y="65"/>
                  </a:lnTo>
                  <a:lnTo>
                    <a:pt x="222" y="67"/>
                  </a:lnTo>
                  <a:lnTo>
                    <a:pt x="224" y="68"/>
                  </a:lnTo>
                  <a:lnTo>
                    <a:pt x="222" y="68"/>
                  </a:lnTo>
                  <a:lnTo>
                    <a:pt x="224" y="69"/>
                  </a:lnTo>
                  <a:lnTo>
                    <a:pt x="225" y="69"/>
                  </a:lnTo>
                  <a:lnTo>
                    <a:pt x="225" y="70"/>
                  </a:lnTo>
                  <a:lnTo>
                    <a:pt x="226" y="71"/>
                  </a:lnTo>
                  <a:lnTo>
                    <a:pt x="226" y="73"/>
                  </a:lnTo>
                  <a:lnTo>
                    <a:pt x="227" y="73"/>
                  </a:lnTo>
                  <a:lnTo>
                    <a:pt x="227" y="74"/>
                  </a:lnTo>
                  <a:lnTo>
                    <a:pt x="222" y="73"/>
                  </a:lnTo>
                  <a:lnTo>
                    <a:pt x="219" y="71"/>
                  </a:lnTo>
                  <a:lnTo>
                    <a:pt x="218" y="73"/>
                  </a:lnTo>
                  <a:lnTo>
                    <a:pt x="219" y="74"/>
                  </a:lnTo>
                  <a:lnTo>
                    <a:pt x="218" y="75"/>
                  </a:lnTo>
                  <a:lnTo>
                    <a:pt x="219" y="77"/>
                  </a:lnTo>
                  <a:lnTo>
                    <a:pt x="219" y="79"/>
                  </a:lnTo>
                  <a:lnTo>
                    <a:pt x="220" y="77"/>
                  </a:lnTo>
                  <a:lnTo>
                    <a:pt x="221" y="77"/>
                  </a:lnTo>
                  <a:lnTo>
                    <a:pt x="222" y="77"/>
                  </a:lnTo>
                  <a:lnTo>
                    <a:pt x="222" y="79"/>
                  </a:lnTo>
                  <a:lnTo>
                    <a:pt x="224" y="79"/>
                  </a:lnTo>
                  <a:lnTo>
                    <a:pt x="226" y="79"/>
                  </a:lnTo>
                  <a:lnTo>
                    <a:pt x="227" y="79"/>
                  </a:lnTo>
                  <a:lnTo>
                    <a:pt x="227" y="80"/>
                  </a:lnTo>
                  <a:lnTo>
                    <a:pt x="231" y="81"/>
                  </a:lnTo>
                  <a:lnTo>
                    <a:pt x="227" y="81"/>
                  </a:lnTo>
                  <a:lnTo>
                    <a:pt x="227" y="82"/>
                  </a:lnTo>
                  <a:lnTo>
                    <a:pt x="226" y="83"/>
                  </a:lnTo>
                  <a:lnTo>
                    <a:pt x="227" y="87"/>
                  </a:lnTo>
                  <a:lnTo>
                    <a:pt x="227" y="88"/>
                  </a:lnTo>
                  <a:lnTo>
                    <a:pt x="226" y="89"/>
                  </a:lnTo>
                  <a:lnTo>
                    <a:pt x="225" y="88"/>
                  </a:lnTo>
                  <a:lnTo>
                    <a:pt x="225" y="87"/>
                  </a:lnTo>
                  <a:lnTo>
                    <a:pt x="225" y="86"/>
                  </a:lnTo>
                  <a:lnTo>
                    <a:pt x="222" y="86"/>
                  </a:lnTo>
                  <a:lnTo>
                    <a:pt x="220" y="86"/>
                  </a:lnTo>
                  <a:lnTo>
                    <a:pt x="218" y="85"/>
                  </a:lnTo>
                  <a:lnTo>
                    <a:pt x="216" y="85"/>
                  </a:lnTo>
                  <a:lnTo>
                    <a:pt x="213" y="86"/>
                  </a:lnTo>
                  <a:lnTo>
                    <a:pt x="214" y="91"/>
                  </a:lnTo>
                  <a:lnTo>
                    <a:pt x="215" y="91"/>
                  </a:lnTo>
                  <a:lnTo>
                    <a:pt x="216" y="89"/>
                  </a:lnTo>
                  <a:lnTo>
                    <a:pt x="219" y="88"/>
                  </a:lnTo>
                  <a:lnTo>
                    <a:pt x="221" y="89"/>
                  </a:lnTo>
                  <a:lnTo>
                    <a:pt x="221" y="91"/>
                  </a:lnTo>
                  <a:lnTo>
                    <a:pt x="222" y="91"/>
                  </a:lnTo>
                  <a:lnTo>
                    <a:pt x="224" y="91"/>
                  </a:lnTo>
                  <a:lnTo>
                    <a:pt x="225" y="91"/>
                  </a:lnTo>
                  <a:lnTo>
                    <a:pt x="226" y="92"/>
                  </a:lnTo>
                  <a:lnTo>
                    <a:pt x="228" y="92"/>
                  </a:lnTo>
                  <a:lnTo>
                    <a:pt x="230" y="94"/>
                  </a:lnTo>
                  <a:lnTo>
                    <a:pt x="228" y="94"/>
                  </a:lnTo>
                  <a:lnTo>
                    <a:pt x="231" y="94"/>
                  </a:lnTo>
                  <a:lnTo>
                    <a:pt x="232" y="93"/>
                  </a:lnTo>
                  <a:lnTo>
                    <a:pt x="233" y="92"/>
                  </a:lnTo>
                  <a:lnTo>
                    <a:pt x="233" y="93"/>
                  </a:lnTo>
                  <a:lnTo>
                    <a:pt x="234" y="93"/>
                  </a:lnTo>
                  <a:lnTo>
                    <a:pt x="236" y="93"/>
                  </a:lnTo>
                  <a:lnTo>
                    <a:pt x="236" y="94"/>
                  </a:lnTo>
                  <a:lnTo>
                    <a:pt x="238" y="94"/>
                  </a:lnTo>
                  <a:lnTo>
                    <a:pt x="238" y="93"/>
                  </a:lnTo>
                  <a:lnTo>
                    <a:pt x="239" y="93"/>
                  </a:lnTo>
                  <a:lnTo>
                    <a:pt x="239" y="91"/>
                  </a:lnTo>
                  <a:lnTo>
                    <a:pt x="243" y="88"/>
                  </a:lnTo>
                  <a:lnTo>
                    <a:pt x="243" y="87"/>
                  </a:lnTo>
                  <a:lnTo>
                    <a:pt x="244" y="87"/>
                  </a:lnTo>
                  <a:lnTo>
                    <a:pt x="245" y="86"/>
                  </a:lnTo>
                  <a:lnTo>
                    <a:pt x="246" y="83"/>
                  </a:lnTo>
                  <a:lnTo>
                    <a:pt x="244" y="81"/>
                  </a:lnTo>
                  <a:lnTo>
                    <a:pt x="242" y="76"/>
                  </a:lnTo>
                  <a:lnTo>
                    <a:pt x="243" y="76"/>
                  </a:lnTo>
                  <a:lnTo>
                    <a:pt x="244" y="79"/>
                  </a:lnTo>
                  <a:lnTo>
                    <a:pt x="244" y="77"/>
                  </a:lnTo>
                  <a:lnTo>
                    <a:pt x="245" y="76"/>
                  </a:lnTo>
                  <a:lnTo>
                    <a:pt x="246" y="76"/>
                  </a:lnTo>
                  <a:lnTo>
                    <a:pt x="248" y="76"/>
                  </a:lnTo>
                  <a:lnTo>
                    <a:pt x="248" y="77"/>
                  </a:lnTo>
                  <a:lnTo>
                    <a:pt x="246" y="79"/>
                  </a:lnTo>
                  <a:lnTo>
                    <a:pt x="245" y="80"/>
                  </a:lnTo>
                  <a:lnTo>
                    <a:pt x="245" y="81"/>
                  </a:lnTo>
                  <a:lnTo>
                    <a:pt x="248" y="80"/>
                  </a:lnTo>
                  <a:lnTo>
                    <a:pt x="249" y="79"/>
                  </a:lnTo>
                  <a:lnTo>
                    <a:pt x="249" y="81"/>
                  </a:lnTo>
                  <a:lnTo>
                    <a:pt x="246" y="82"/>
                  </a:lnTo>
                  <a:lnTo>
                    <a:pt x="248" y="85"/>
                  </a:lnTo>
                  <a:lnTo>
                    <a:pt x="250" y="85"/>
                  </a:lnTo>
                  <a:lnTo>
                    <a:pt x="253" y="85"/>
                  </a:lnTo>
                  <a:lnTo>
                    <a:pt x="250" y="83"/>
                  </a:lnTo>
                  <a:lnTo>
                    <a:pt x="251" y="82"/>
                  </a:lnTo>
                  <a:lnTo>
                    <a:pt x="254" y="82"/>
                  </a:lnTo>
                  <a:lnTo>
                    <a:pt x="254" y="85"/>
                  </a:lnTo>
                  <a:lnTo>
                    <a:pt x="255" y="86"/>
                  </a:lnTo>
                  <a:lnTo>
                    <a:pt x="256" y="85"/>
                  </a:lnTo>
                  <a:lnTo>
                    <a:pt x="256" y="82"/>
                  </a:lnTo>
                  <a:lnTo>
                    <a:pt x="255" y="81"/>
                  </a:lnTo>
                  <a:lnTo>
                    <a:pt x="254" y="80"/>
                  </a:lnTo>
                  <a:lnTo>
                    <a:pt x="255" y="81"/>
                  </a:lnTo>
                  <a:lnTo>
                    <a:pt x="255" y="80"/>
                  </a:lnTo>
                  <a:lnTo>
                    <a:pt x="255" y="79"/>
                  </a:lnTo>
                  <a:lnTo>
                    <a:pt x="256" y="77"/>
                  </a:lnTo>
                  <a:lnTo>
                    <a:pt x="257" y="76"/>
                  </a:lnTo>
                  <a:lnTo>
                    <a:pt x="257" y="75"/>
                  </a:lnTo>
                  <a:lnTo>
                    <a:pt x="257" y="74"/>
                  </a:lnTo>
                  <a:lnTo>
                    <a:pt x="260" y="74"/>
                  </a:lnTo>
                  <a:lnTo>
                    <a:pt x="261" y="76"/>
                  </a:lnTo>
                  <a:lnTo>
                    <a:pt x="262" y="76"/>
                  </a:lnTo>
                  <a:lnTo>
                    <a:pt x="263" y="76"/>
                  </a:lnTo>
                  <a:lnTo>
                    <a:pt x="262" y="74"/>
                  </a:lnTo>
                  <a:lnTo>
                    <a:pt x="263" y="73"/>
                  </a:lnTo>
                  <a:lnTo>
                    <a:pt x="263" y="77"/>
                  </a:lnTo>
                  <a:lnTo>
                    <a:pt x="265" y="77"/>
                  </a:lnTo>
                  <a:lnTo>
                    <a:pt x="267" y="79"/>
                  </a:lnTo>
                  <a:lnTo>
                    <a:pt x="268" y="79"/>
                  </a:lnTo>
                  <a:lnTo>
                    <a:pt x="267" y="76"/>
                  </a:lnTo>
                  <a:lnTo>
                    <a:pt x="266" y="75"/>
                  </a:lnTo>
                  <a:lnTo>
                    <a:pt x="267" y="74"/>
                  </a:lnTo>
                  <a:lnTo>
                    <a:pt x="267" y="73"/>
                  </a:lnTo>
                  <a:lnTo>
                    <a:pt x="267" y="71"/>
                  </a:lnTo>
                  <a:lnTo>
                    <a:pt x="267" y="70"/>
                  </a:lnTo>
                  <a:lnTo>
                    <a:pt x="268" y="69"/>
                  </a:lnTo>
                  <a:lnTo>
                    <a:pt x="268" y="68"/>
                  </a:lnTo>
                  <a:lnTo>
                    <a:pt x="269" y="68"/>
                  </a:lnTo>
                  <a:lnTo>
                    <a:pt x="271" y="67"/>
                  </a:lnTo>
                  <a:lnTo>
                    <a:pt x="272" y="68"/>
                  </a:lnTo>
                  <a:lnTo>
                    <a:pt x="272" y="70"/>
                  </a:lnTo>
                  <a:lnTo>
                    <a:pt x="273" y="73"/>
                  </a:lnTo>
                  <a:lnTo>
                    <a:pt x="272" y="74"/>
                  </a:lnTo>
                  <a:lnTo>
                    <a:pt x="273" y="77"/>
                  </a:lnTo>
                  <a:lnTo>
                    <a:pt x="273" y="79"/>
                  </a:lnTo>
                  <a:lnTo>
                    <a:pt x="272" y="79"/>
                  </a:lnTo>
                  <a:lnTo>
                    <a:pt x="271" y="79"/>
                  </a:lnTo>
                  <a:lnTo>
                    <a:pt x="271" y="80"/>
                  </a:lnTo>
                  <a:lnTo>
                    <a:pt x="272" y="80"/>
                  </a:lnTo>
                  <a:lnTo>
                    <a:pt x="273" y="81"/>
                  </a:lnTo>
                  <a:lnTo>
                    <a:pt x="274" y="82"/>
                  </a:lnTo>
                  <a:lnTo>
                    <a:pt x="274" y="83"/>
                  </a:lnTo>
                  <a:lnTo>
                    <a:pt x="275" y="83"/>
                  </a:lnTo>
                  <a:lnTo>
                    <a:pt x="277" y="82"/>
                  </a:lnTo>
                  <a:lnTo>
                    <a:pt x="278" y="83"/>
                  </a:lnTo>
                  <a:lnTo>
                    <a:pt x="279" y="83"/>
                  </a:lnTo>
                  <a:lnTo>
                    <a:pt x="279" y="86"/>
                  </a:lnTo>
                  <a:lnTo>
                    <a:pt x="280" y="86"/>
                  </a:lnTo>
                  <a:lnTo>
                    <a:pt x="281" y="87"/>
                  </a:lnTo>
                  <a:lnTo>
                    <a:pt x="283" y="88"/>
                  </a:lnTo>
                  <a:lnTo>
                    <a:pt x="283" y="89"/>
                  </a:lnTo>
                  <a:lnTo>
                    <a:pt x="284" y="91"/>
                  </a:lnTo>
                  <a:lnTo>
                    <a:pt x="285" y="91"/>
                  </a:lnTo>
                  <a:lnTo>
                    <a:pt x="286" y="92"/>
                  </a:lnTo>
                  <a:lnTo>
                    <a:pt x="287" y="91"/>
                  </a:lnTo>
                  <a:lnTo>
                    <a:pt x="287" y="87"/>
                  </a:lnTo>
                  <a:lnTo>
                    <a:pt x="287" y="85"/>
                  </a:lnTo>
                  <a:lnTo>
                    <a:pt x="287" y="83"/>
                  </a:lnTo>
                  <a:lnTo>
                    <a:pt x="287" y="82"/>
                  </a:lnTo>
                  <a:lnTo>
                    <a:pt x="289" y="82"/>
                  </a:lnTo>
                  <a:lnTo>
                    <a:pt x="289" y="81"/>
                  </a:lnTo>
                  <a:lnTo>
                    <a:pt x="287" y="81"/>
                  </a:lnTo>
                  <a:lnTo>
                    <a:pt x="287" y="79"/>
                  </a:lnTo>
                  <a:lnTo>
                    <a:pt x="287" y="76"/>
                  </a:lnTo>
                  <a:lnTo>
                    <a:pt x="289" y="77"/>
                  </a:lnTo>
                  <a:lnTo>
                    <a:pt x="290" y="77"/>
                  </a:lnTo>
                  <a:lnTo>
                    <a:pt x="290" y="79"/>
                  </a:lnTo>
                  <a:lnTo>
                    <a:pt x="290" y="82"/>
                  </a:lnTo>
                  <a:lnTo>
                    <a:pt x="289" y="82"/>
                  </a:lnTo>
                  <a:lnTo>
                    <a:pt x="291" y="82"/>
                  </a:lnTo>
                  <a:lnTo>
                    <a:pt x="290" y="83"/>
                  </a:lnTo>
                  <a:lnTo>
                    <a:pt x="289" y="87"/>
                  </a:lnTo>
                  <a:lnTo>
                    <a:pt x="287" y="92"/>
                  </a:lnTo>
                  <a:lnTo>
                    <a:pt x="287" y="93"/>
                  </a:lnTo>
                  <a:lnTo>
                    <a:pt x="289" y="92"/>
                  </a:lnTo>
                  <a:lnTo>
                    <a:pt x="291" y="91"/>
                  </a:lnTo>
                  <a:lnTo>
                    <a:pt x="291" y="92"/>
                  </a:lnTo>
                  <a:lnTo>
                    <a:pt x="292" y="92"/>
                  </a:lnTo>
                  <a:lnTo>
                    <a:pt x="293" y="92"/>
                  </a:lnTo>
                  <a:lnTo>
                    <a:pt x="295" y="89"/>
                  </a:lnTo>
                  <a:lnTo>
                    <a:pt x="296" y="88"/>
                  </a:lnTo>
                  <a:lnTo>
                    <a:pt x="297" y="89"/>
                  </a:lnTo>
                  <a:lnTo>
                    <a:pt x="298" y="89"/>
                  </a:lnTo>
                  <a:lnTo>
                    <a:pt x="299" y="89"/>
                  </a:lnTo>
                  <a:lnTo>
                    <a:pt x="302" y="89"/>
                  </a:lnTo>
                  <a:lnTo>
                    <a:pt x="303" y="89"/>
                  </a:lnTo>
                  <a:lnTo>
                    <a:pt x="299" y="92"/>
                  </a:lnTo>
                  <a:lnTo>
                    <a:pt x="296" y="92"/>
                  </a:lnTo>
                  <a:lnTo>
                    <a:pt x="293" y="94"/>
                  </a:lnTo>
                  <a:lnTo>
                    <a:pt x="291" y="97"/>
                  </a:lnTo>
                  <a:lnTo>
                    <a:pt x="287" y="98"/>
                  </a:lnTo>
                  <a:lnTo>
                    <a:pt x="286" y="100"/>
                  </a:lnTo>
                  <a:lnTo>
                    <a:pt x="285" y="101"/>
                  </a:lnTo>
                  <a:lnTo>
                    <a:pt x="286" y="100"/>
                  </a:lnTo>
                  <a:lnTo>
                    <a:pt x="289" y="99"/>
                  </a:lnTo>
                  <a:lnTo>
                    <a:pt x="292" y="97"/>
                  </a:lnTo>
                  <a:lnTo>
                    <a:pt x="290" y="101"/>
                  </a:lnTo>
                  <a:lnTo>
                    <a:pt x="289" y="103"/>
                  </a:lnTo>
                  <a:lnTo>
                    <a:pt x="291" y="104"/>
                  </a:lnTo>
                  <a:lnTo>
                    <a:pt x="293" y="105"/>
                  </a:lnTo>
                  <a:lnTo>
                    <a:pt x="295" y="104"/>
                  </a:lnTo>
                  <a:lnTo>
                    <a:pt x="298" y="104"/>
                  </a:lnTo>
                  <a:lnTo>
                    <a:pt x="299" y="105"/>
                  </a:lnTo>
                  <a:lnTo>
                    <a:pt x="299" y="106"/>
                  </a:lnTo>
                  <a:lnTo>
                    <a:pt x="301" y="107"/>
                  </a:lnTo>
                  <a:lnTo>
                    <a:pt x="301" y="110"/>
                  </a:lnTo>
                  <a:lnTo>
                    <a:pt x="301" y="111"/>
                  </a:lnTo>
                  <a:lnTo>
                    <a:pt x="301" y="112"/>
                  </a:lnTo>
                  <a:lnTo>
                    <a:pt x="301" y="113"/>
                  </a:lnTo>
                  <a:lnTo>
                    <a:pt x="302" y="115"/>
                  </a:lnTo>
                  <a:lnTo>
                    <a:pt x="303" y="112"/>
                  </a:lnTo>
                  <a:lnTo>
                    <a:pt x="303" y="111"/>
                  </a:lnTo>
                  <a:lnTo>
                    <a:pt x="305" y="109"/>
                  </a:lnTo>
                  <a:lnTo>
                    <a:pt x="305" y="112"/>
                  </a:lnTo>
                  <a:lnTo>
                    <a:pt x="307" y="115"/>
                  </a:lnTo>
                  <a:lnTo>
                    <a:pt x="308" y="112"/>
                  </a:lnTo>
                  <a:lnTo>
                    <a:pt x="308" y="115"/>
                  </a:lnTo>
                  <a:lnTo>
                    <a:pt x="309" y="116"/>
                  </a:lnTo>
                  <a:lnTo>
                    <a:pt x="311" y="115"/>
                  </a:lnTo>
                  <a:lnTo>
                    <a:pt x="311" y="117"/>
                  </a:lnTo>
                  <a:lnTo>
                    <a:pt x="313" y="116"/>
                  </a:lnTo>
                  <a:lnTo>
                    <a:pt x="314" y="116"/>
                  </a:lnTo>
                  <a:lnTo>
                    <a:pt x="316" y="117"/>
                  </a:lnTo>
                  <a:lnTo>
                    <a:pt x="313" y="118"/>
                  </a:lnTo>
                  <a:lnTo>
                    <a:pt x="308" y="118"/>
                  </a:lnTo>
                  <a:lnTo>
                    <a:pt x="309" y="119"/>
                  </a:lnTo>
                  <a:lnTo>
                    <a:pt x="310" y="119"/>
                  </a:lnTo>
                  <a:lnTo>
                    <a:pt x="311" y="121"/>
                  </a:lnTo>
                  <a:lnTo>
                    <a:pt x="313" y="119"/>
                  </a:lnTo>
                  <a:lnTo>
                    <a:pt x="314" y="119"/>
                  </a:lnTo>
                  <a:lnTo>
                    <a:pt x="316" y="121"/>
                  </a:lnTo>
                  <a:lnTo>
                    <a:pt x="319" y="121"/>
                  </a:lnTo>
                  <a:lnTo>
                    <a:pt x="319" y="122"/>
                  </a:lnTo>
                  <a:lnTo>
                    <a:pt x="321" y="122"/>
                  </a:lnTo>
                  <a:lnTo>
                    <a:pt x="321" y="121"/>
                  </a:lnTo>
                  <a:lnTo>
                    <a:pt x="322" y="119"/>
                  </a:lnTo>
                  <a:lnTo>
                    <a:pt x="322" y="117"/>
                  </a:lnTo>
                  <a:lnTo>
                    <a:pt x="325" y="116"/>
                  </a:lnTo>
                  <a:lnTo>
                    <a:pt x="324" y="118"/>
                  </a:lnTo>
                  <a:lnTo>
                    <a:pt x="325" y="118"/>
                  </a:lnTo>
                  <a:lnTo>
                    <a:pt x="326" y="118"/>
                  </a:lnTo>
                  <a:lnTo>
                    <a:pt x="327" y="117"/>
                  </a:lnTo>
                  <a:lnTo>
                    <a:pt x="326" y="117"/>
                  </a:lnTo>
                  <a:lnTo>
                    <a:pt x="326" y="116"/>
                  </a:lnTo>
                  <a:lnTo>
                    <a:pt x="326" y="115"/>
                  </a:lnTo>
                  <a:lnTo>
                    <a:pt x="325" y="112"/>
                  </a:lnTo>
                  <a:lnTo>
                    <a:pt x="322" y="113"/>
                  </a:lnTo>
                  <a:lnTo>
                    <a:pt x="320" y="115"/>
                  </a:lnTo>
                  <a:lnTo>
                    <a:pt x="320" y="112"/>
                  </a:lnTo>
                  <a:lnTo>
                    <a:pt x="322" y="110"/>
                  </a:lnTo>
                  <a:lnTo>
                    <a:pt x="324" y="110"/>
                  </a:lnTo>
                  <a:lnTo>
                    <a:pt x="326" y="111"/>
                  </a:lnTo>
                  <a:lnTo>
                    <a:pt x="326" y="112"/>
                  </a:lnTo>
                  <a:lnTo>
                    <a:pt x="328" y="111"/>
                  </a:lnTo>
                  <a:lnTo>
                    <a:pt x="330" y="111"/>
                  </a:lnTo>
                  <a:lnTo>
                    <a:pt x="331" y="111"/>
                  </a:lnTo>
                  <a:lnTo>
                    <a:pt x="332" y="109"/>
                  </a:lnTo>
                  <a:lnTo>
                    <a:pt x="333" y="107"/>
                  </a:lnTo>
                  <a:lnTo>
                    <a:pt x="334" y="107"/>
                  </a:lnTo>
                  <a:lnTo>
                    <a:pt x="336" y="107"/>
                  </a:lnTo>
                  <a:lnTo>
                    <a:pt x="336" y="106"/>
                  </a:lnTo>
                  <a:lnTo>
                    <a:pt x="334" y="105"/>
                  </a:lnTo>
                  <a:lnTo>
                    <a:pt x="333" y="107"/>
                  </a:lnTo>
                  <a:lnTo>
                    <a:pt x="333" y="105"/>
                  </a:lnTo>
                  <a:lnTo>
                    <a:pt x="333" y="104"/>
                  </a:lnTo>
                  <a:lnTo>
                    <a:pt x="332" y="106"/>
                  </a:lnTo>
                  <a:lnTo>
                    <a:pt x="331" y="109"/>
                  </a:lnTo>
                  <a:lnTo>
                    <a:pt x="330" y="109"/>
                  </a:lnTo>
                  <a:lnTo>
                    <a:pt x="328" y="109"/>
                  </a:lnTo>
                  <a:lnTo>
                    <a:pt x="328" y="106"/>
                  </a:lnTo>
                  <a:lnTo>
                    <a:pt x="328" y="105"/>
                  </a:lnTo>
                  <a:lnTo>
                    <a:pt x="331" y="103"/>
                  </a:lnTo>
                  <a:lnTo>
                    <a:pt x="332" y="101"/>
                  </a:lnTo>
                  <a:lnTo>
                    <a:pt x="332" y="100"/>
                  </a:lnTo>
                  <a:lnTo>
                    <a:pt x="333" y="99"/>
                  </a:lnTo>
                  <a:lnTo>
                    <a:pt x="332" y="97"/>
                  </a:lnTo>
                  <a:lnTo>
                    <a:pt x="324" y="89"/>
                  </a:lnTo>
                  <a:lnTo>
                    <a:pt x="318" y="76"/>
                  </a:lnTo>
                  <a:lnTo>
                    <a:pt x="318" y="77"/>
                  </a:lnTo>
                  <a:lnTo>
                    <a:pt x="319" y="81"/>
                  </a:lnTo>
                  <a:lnTo>
                    <a:pt x="319" y="85"/>
                  </a:lnTo>
                  <a:lnTo>
                    <a:pt x="318" y="83"/>
                  </a:lnTo>
                  <a:lnTo>
                    <a:pt x="318" y="82"/>
                  </a:lnTo>
                  <a:lnTo>
                    <a:pt x="318" y="81"/>
                  </a:lnTo>
                  <a:lnTo>
                    <a:pt x="318" y="82"/>
                  </a:lnTo>
                  <a:lnTo>
                    <a:pt x="316" y="85"/>
                  </a:lnTo>
                  <a:lnTo>
                    <a:pt x="318" y="85"/>
                  </a:lnTo>
                  <a:lnTo>
                    <a:pt x="318" y="87"/>
                  </a:lnTo>
                  <a:lnTo>
                    <a:pt x="316" y="89"/>
                  </a:lnTo>
                  <a:lnTo>
                    <a:pt x="316" y="92"/>
                  </a:lnTo>
                  <a:lnTo>
                    <a:pt x="316" y="88"/>
                  </a:lnTo>
                  <a:lnTo>
                    <a:pt x="315" y="86"/>
                  </a:lnTo>
                  <a:lnTo>
                    <a:pt x="314" y="86"/>
                  </a:lnTo>
                  <a:lnTo>
                    <a:pt x="314" y="87"/>
                  </a:lnTo>
                  <a:lnTo>
                    <a:pt x="313" y="86"/>
                  </a:lnTo>
                  <a:lnTo>
                    <a:pt x="313" y="85"/>
                  </a:lnTo>
                  <a:lnTo>
                    <a:pt x="311" y="82"/>
                  </a:lnTo>
                  <a:lnTo>
                    <a:pt x="309" y="83"/>
                  </a:lnTo>
                  <a:lnTo>
                    <a:pt x="308" y="85"/>
                  </a:lnTo>
                  <a:lnTo>
                    <a:pt x="307" y="86"/>
                  </a:lnTo>
                  <a:lnTo>
                    <a:pt x="305" y="87"/>
                  </a:lnTo>
                  <a:lnTo>
                    <a:pt x="305" y="83"/>
                  </a:lnTo>
                  <a:lnTo>
                    <a:pt x="308" y="81"/>
                  </a:lnTo>
                  <a:lnTo>
                    <a:pt x="307" y="81"/>
                  </a:lnTo>
                  <a:lnTo>
                    <a:pt x="303" y="83"/>
                  </a:lnTo>
                  <a:lnTo>
                    <a:pt x="303" y="85"/>
                  </a:lnTo>
                  <a:lnTo>
                    <a:pt x="303" y="81"/>
                  </a:lnTo>
                  <a:lnTo>
                    <a:pt x="302" y="80"/>
                  </a:lnTo>
                  <a:lnTo>
                    <a:pt x="303" y="80"/>
                  </a:lnTo>
                  <a:lnTo>
                    <a:pt x="303" y="77"/>
                  </a:lnTo>
                  <a:lnTo>
                    <a:pt x="303" y="76"/>
                  </a:lnTo>
                  <a:lnTo>
                    <a:pt x="304" y="75"/>
                  </a:lnTo>
                  <a:lnTo>
                    <a:pt x="308" y="75"/>
                  </a:lnTo>
                  <a:lnTo>
                    <a:pt x="308" y="74"/>
                  </a:lnTo>
                  <a:lnTo>
                    <a:pt x="308" y="73"/>
                  </a:lnTo>
                  <a:lnTo>
                    <a:pt x="309" y="70"/>
                  </a:lnTo>
                  <a:lnTo>
                    <a:pt x="310" y="70"/>
                  </a:lnTo>
                  <a:lnTo>
                    <a:pt x="308" y="70"/>
                  </a:lnTo>
                  <a:lnTo>
                    <a:pt x="307" y="71"/>
                  </a:lnTo>
                  <a:lnTo>
                    <a:pt x="307" y="70"/>
                  </a:lnTo>
                  <a:lnTo>
                    <a:pt x="305" y="70"/>
                  </a:lnTo>
                  <a:lnTo>
                    <a:pt x="304" y="69"/>
                  </a:lnTo>
                  <a:lnTo>
                    <a:pt x="303" y="70"/>
                  </a:lnTo>
                  <a:lnTo>
                    <a:pt x="302" y="69"/>
                  </a:lnTo>
                  <a:lnTo>
                    <a:pt x="301" y="69"/>
                  </a:lnTo>
                  <a:lnTo>
                    <a:pt x="301" y="68"/>
                  </a:lnTo>
                  <a:lnTo>
                    <a:pt x="297" y="67"/>
                  </a:lnTo>
                  <a:lnTo>
                    <a:pt x="297" y="65"/>
                  </a:lnTo>
                  <a:lnTo>
                    <a:pt x="299" y="65"/>
                  </a:lnTo>
                  <a:lnTo>
                    <a:pt x="299" y="64"/>
                  </a:lnTo>
                  <a:lnTo>
                    <a:pt x="299" y="63"/>
                  </a:lnTo>
                  <a:lnTo>
                    <a:pt x="301" y="62"/>
                  </a:lnTo>
                  <a:lnTo>
                    <a:pt x="303" y="62"/>
                  </a:lnTo>
                  <a:lnTo>
                    <a:pt x="304" y="62"/>
                  </a:lnTo>
                  <a:lnTo>
                    <a:pt x="303" y="61"/>
                  </a:lnTo>
                  <a:lnTo>
                    <a:pt x="303" y="59"/>
                  </a:lnTo>
                  <a:lnTo>
                    <a:pt x="302" y="58"/>
                  </a:lnTo>
                  <a:lnTo>
                    <a:pt x="302" y="61"/>
                  </a:lnTo>
                  <a:lnTo>
                    <a:pt x="301" y="58"/>
                  </a:lnTo>
                  <a:lnTo>
                    <a:pt x="299" y="56"/>
                  </a:lnTo>
                  <a:lnTo>
                    <a:pt x="298" y="56"/>
                  </a:lnTo>
                  <a:lnTo>
                    <a:pt x="297" y="56"/>
                  </a:lnTo>
                  <a:lnTo>
                    <a:pt x="297" y="52"/>
                  </a:lnTo>
                  <a:lnTo>
                    <a:pt x="298" y="50"/>
                  </a:lnTo>
                  <a:lnTo>
                    <a:pt x="298" y="47"/>
                  </a:lnTo>
                  <a:lnTo>
                    <a:pt x="298" y="46"/>
                  </a:lnTo>
                  <a:lnTo>
                    <a:pt x="297" y="49"/>
                  </a:lnTo>
                  <a:lnTo>
                    <a:pt x="296" y="50"/>
                  </a:lnTo>
                  <a:lnTo>
                    <a:pt x="295" y="53"/>
                  </a:lnTo>
                  <a:lnTo>
                    <a:pt x="295" y="52"/>
                  </a:lnTo>
                  <a:lnTo>
                    <a:pt x="293" y="50"/>
                  </a:lnTo>
                  <a:lnTo>
                    <a:pt x="293" y="47"/>
                  </a:lnTo>
                  <a:lnTo>
                    <a:pt x="293" y="46"/>
                  </a:lnTo>
                  <a:lnTo>
                    <a:pt x="292" y="46"/>
                  </a:lnTo>
                  <a:lnTo>
                    <a:pt x="292" y="50"/>
                  </a:lnTo>
                  <a:lnTo>
                    <a:pt x="291" y="52"/>
                  </a:lnTo>
                  <a:lnTo>
                    <a:pt x="290" y="52"/>
                  </a:lnTo>
                  <a:lnTo>
                    <a:pt x="290" y="53"/>
                  </a:lnTo>
                  <a:lnTo>
                    <a:pt x="290" y="55"/>
                  </a:lnTo>
                  <a:lnTo>
                    <a:pt x="289" y="56"/>
                  </a:lnTo>
                  <a:lnTo>
                    <a:pt x="289" y="55"/>
                  </a:lnTo>
                  <a:lnTo>
                    <a:pt x="289" y="57"/>
                  </a:lnTo>
                  <a:lnTo>
                    <a:pt x="287" y="57"/>
                  </a:lnTo>
                  <a:lnTo>
                    <a:pt x="287" y="56"/>
                  </a:lnTo>
                  <a:lnTo>
                    <a:pt x="286" y="53"/>
                  </a:lnTo>
                  <a:lnTo>
                    <a:pt x="286" y="52"/>
                  </a:lnTo>
                  <a:lnTo>
                    <a:pt x="285" y="53"/>
                  </a:lnTo>
                  <a:lnTo>
                    <a:pt x="284" y="53"/>
                  </a:lnTo>
                  <a:lnTo>
                    <a:pt x="283" y="55"/>
                  </a:lnTo>
                  <a:lnTo>
                    <a:pt x="281" y="56"/>
                  </a:lnTo>
                  <a:lnTo>
                    <a:pt x="280" y="57"/>
                  </a:lnTo>
                  <a:lnTo>
                    <a:pt x="280" y="53"/>
                  </a:lnTo>
                  <a:lnTo>
                    <a:pt x="281" y="51"/>
                  </a:lnTo>
                  <a:lnTo>
                    <a:pt x="281" y="49"/>
                  </a:lnTo>
                  <a:lnTo>
                    <a:pt x="280" y="49"/>
                  </a:lnTo>
                  <a:lnTo>
                    <a:pt x="280" y="46"/>
                  </a:lnTo>
                  <a:lnTo>
                    <a:pt x="281" y="44"/>
                  </a:lnTo>
                  <a:lnTo>
                    <a:pt x="283" y="43"/>
                  </a:lnTo>
                  <a:lnTo>
                    <a:pt x="283" y="41"/>
                  </a:lnTo>
                  <a:lnTo>
                    <a:pt x="284" y="39"/>
                  </a:lnTo>
                  <a:lnTo>
                    <a:pt x="285" y="38"/>
                  </a:lnTo>
                  <a:lnTo>
                    <a:pt x="285" y="37"/>
                  </a:lnTo>
                  <a:lnTo>
                    <a:pt x="284" y="38"/>
                  </a:lnTo>
                  <a:lnTo>
                    <a:pt x="283" y="39"/>
                  </a:lnTo>
                  <a:lnTo>
                    <a:pt x="283" y="38"/>
                  </a:lnTo>
                  <a:lnTo>
                    <a:pt x="280" y="39"/>
                  </a:lnTo>
                  <a:lnTo>
                    <a:pt x="279" y="39"/>
                  </a:lnTo>
                  <a:lnTo>
                    <a:pt x="278" y="38"/>
                  </a:lnTo>
                  <a:lnTo>
                    <a:pt x="275" y="39"/>
                  </a:lnTo>
                  <a:lnTo>
                    <a:pt x="274" y="40"/>
                  </a:lnTo>
                  <a:lnTo>
                    <a:pt x="271" y="45"/>
                  </a:lnTo>
                  <a:lnTo>
                    <a:pt x="269" y="46"/>
                  </a:lnTo>
                  <a:lnTo>
                    <a:pt x="268" y="49"/>
                  </a:lnTo>
                  <a:lnTo>
                    <a:pt x="267" y="46"/>
                  </a:lnTo>
                  <a:lnTo>
                    <a:pt x="267" y="43"/>
                  </a:lnTo>
                  <a:lnTo>
                    <a:pt x="268" y="40"/>
                  </a:lnTo>
                  <a:lnTo>
                    <a:pt x="268" y="38"/>
                  </a:lnTo>
                  <a:lnTo>
                    <a:pt x="269" y="37"/>
                  </a:lnTo>
                  <a:lnTo>
                    <a:pt x="271" y="35"/>
                  </a:lnTo>
                  <a:lnTo>
                    <a:pt x="273" y="37"/>
                  </a:lnTo>
                  <a:lnTo>
                    <a:pt x="277" y="37"/>
                  </a:lnTo>
                  <a:lnTo>
                    <a:pt x="279" y="34"/>
                  </a:lnTo>
                  <a:lnTo>
                    <a:pt x="281" y="33"/>
                  </a:lnTo>
                  <a:lnTo>
                    <a:pt x="281" y="32"/>
                  </a:lnTo>
                  <a:lnTo>
                    <a:pt x="280" y="31"/>
                  </a:lnTo>
                  <a:lnTo>
                    <a:pt x="280" y="28"/>
                  </a:lnTo>
                  <a:lnTo>
                    <a:pt x="279" y="27"/>
                  </a:lnTo>
                  <a:lnTo>
                    <a:pt x="280" y="24"/>
                  </a:lnTo>
                  <a:lnTo>
                    <a:pt x="278" y="24"/>
                  </a:lnTo>
                  <a:lnTo>
                    <a:pt x="277" y="28"/>
                  </a:lnTo>
                  <a:lnTo>
                    <a:pt x="274" y="29"/>
                  </a:lnTo>
                  <a:lnTo>
                    <a:pt x="274" y="27"/>
                  </a:lnTo>
                  <a:lnTo>
                    <a:pt x="274" y="22"/>
                  </a:lnTo>
                  <a:lnTo>
                    <a:pt x="274" y="21"/>
                  </a:lnTo>
                  <a:lnTo>
                    <a:pt x="273" y="21"/>
                  </a:lnTo>
                  <a:lnTo>
                    <a:pt x="274" y="17"/>
                  </a:lnTo>
                  <a:lnTo>
                    <a:pt x="278" y="16"/>
                  </a:lnTo>
                  <a:lnTo>
                    <a:pt x="279" y="14"/>
                  </a:lnTo>
                  <a:lnTo>
                    <a:pt x="280" y="12"/>
                  </a:lnTo>
                  <a:lnTo>
                    <a:pt x="283" y="11"/>
                  </a:lnTo>
                  <a:lnTo>
                    <a:pt x="283" y="9"/>
                  </a:lnTo>
                  <a:lnTo>
                    <a:pt x="279" y="8"/>
                  </a:lnTo>
                  <a:lnTo>
                    <a:pt x="277" y="6"/>
                  </a:lnTo>
                  <a:lnTo>
                    <a:pt x="279" y="6"/>
                  </a:lnTo>
                  <a:lnTo>
                    <a:pt x="281" y="6"/>
                  </a:lnTo>
                  <a:lnTo>
                    <a:pt x="283" y="5"/>
                  </a:lnTo>
                  <a:lnTo>
                    <a:pt x="283" y="4"/>
                  </a:lnTo>
                  <a:lnTo>
                    <a:pt x="283" y="3"/>
                  </a:lnTo>
                  <a:lnTo>
                    <a:pt x="284" y="2"/>
                  </a:lnTo>
                  <a:lnTo>
                    <a:pt x="285" y="0"/>
                  </a:lnTo>
                  <a:lnTo>
                    <a:pt x="286" y="0"/>
                  </a:lnTo>
                  <a:lnTo>
                    <a:pt x="287" y="0"/>
                  </a:lnTo>
                  <a:lnTo>
                    <a:pt x="289" y="0"/>
                  </a:lnTo>
                  <a:lnTo>
                    <a:pt x="289" y="2"/>
                  </a:lnTo>
                  <a:lnTo>
                    <a:pt x="290" y="2"/>
                  </a:lnTo>
                  <a:lnTo>
                    <a:pt x="290" y="3"/>
                  </a:lnTo>
                  <a:lnTo>
                    <a:pt x="291" y="3"/>
                  </a:lnTo>
                  <a:lnTo>
                    <a:pt x="292" y="2"/>
                  </a:lnTo>
                  <a:lnTo>
                    <a:pt x="293" y="2"/>
                  </a:lnTo>
                  <a:lnTo>
                    <a:pt x="295" y="2"/>
                  </a:lnTo>
                  <a:lnTo>
                    <a:pt x="296" y="0"/>
                  </a:lnTo>
                  <a:lnTo>
                    <a:pt x="295" y="4"/>
                  </a:lnTo>
                  <a:lnTo>
                    <a:pt x="292" y="10"/>
                  </a:lnTo>
                  <a:lnTo>
                    <a:pt x="293" y="11"/>
                  </a:lnTo>
                  <a:lnTo>
                    <a:pt x="295" y="9"/>
                  </a:lnTo>
                  <a:lnTo>
                    <a:pt x="296" y="12"/>
                  </a:lnTo>
                  <a:lnTo>
                    <a:pt x="296" y="16"/>
                  </a:lnTo>
                  <a:lnTo>
                    <a:pt x="297" y="18"/>
                  </a:lnTo>
                  <a:lnTo>
                    <a:pt x="297" y="17"/>
                  </a:lnTo>
                  <a:lnTo>
                    <a:pt x="298" y="18"/>
                  </a:lnTo>
                  <a:lnTo>
                    <a:pt x="299" y="17"/>
                  </a:lnTo>
                  <a:lnTo>
                    <a:pt x="298" y="14"/>
                  </a:lnTo>
                  <a:lnTo>
                    <a:pt x="301" y="14"/>
                  </a:lnTo>
                  <a:lnTo>
                    <a:pt x="304" y="15"/>
                  </a:lnTo>
                  <a:lnTo>
                    <a:pt x="305" y="17"/>
                  </a:lnTo>
                  <a:lnTo>
                    <a:pt x="307" y="20"/>
                  </a:lnTo>
                  <a:lnTo>
                    <a:pt x="305" y="20"/>
                  </a:lnTo>
                  <a:lnTo>
                    <a:pt x="304" y="21"/>
                  </a:lnTo>
                  <a:lnTo>
                    <a:pt x="304" y="20"/>
                  </a:lnTo>
                  <a:lnTo>
                    <a:pt x="303" y="21"/>
                  </a:lnTo>
                  <a:lnTo>
                    <a:pt x="302" y="20"/>
                  </a:lnTo>
                  <a:lnTo>
                    <a:pt x="301" y="18"/>
                  </a:lnTo>
                  <a:lnTo>
                    <a:pt x="301" y="21"/>
                  </a:lnTo>
                  <a:lnTo>
                    <a:pt x="302" y="22"/>
                  </a:lnTo>
                  <a:lnTo>
                    <a:pt x="303" y="24"/>
                  </a:lnTo>
                  <a:lnTo>
                    <a:pt x="304" y="26"/>
                  </a:lnTo>
                  <a:lnTo>
                    <a:pt x="305" y="27"/>
                  </a:lnTo>
                  <a:lnTo>
                    <a:pt x="307" y="29"/>
                  </a:lnTo>
                  <a:lnTo>
                    <a:pt x="308" y="31"/>
                  </a:lnTo>
                  <a:lnTo>
                    <a:pt x="309" y="29"/>
                  </a:lnTo>
                  <a:lnTo>
                    <a:pt x="309" y="31"/>
                  </a:lnTo>
                  <a:lnTo>
                    <a:pt x="310" y="31"/>
                  </a:lnTo>
                  <a:lnTo>
                    <a:pt x="311" y="29"/>
                  </a:lnTo>
                  <a:lnTo>
                    <a:pt x="314" y="29"/>
                  </a:lnTo>
                  <a:lnTo>
                    <a:pt x="315" y="31"/>
                  </a:lnTo>
                  <a:lnTo>
                    <a:pt x="315" y="29"/>
                  </a:lnTo>
                  <a:lnTo>
                    <a:pt x="314" y="28"/>
                  </a:lnTo>
                  <a:lnTo>
                    <a:pt x="314" y="24"/>
                  </a:lnTo>
                  <a:lnTo>
                    <a:pt x="315" y="22"/>
                  </a:lnTo>
                  <a:lnTo>
                    <a:pt x="316" y="22"/>
                  </a:lnTo>
                  <a:lnTo>
                    <a:pt x="318" y="21"/>
                  </a:lnTo>
                  <a:lnTo>
                    <a:pt x="319" y="22"/>
                  </a:lnTo>
                  <a:lnTo>
                    <a:pt x="321" y="23"/>
                  </a:lnTo>
                  <a:lnTo>
                    <a:pt x="322" y="24"/>
                  </a:lnTo>
                  <a:lnTo>
                    <a:pt x="325" y="24"/>
                  </a:lnTo>
                  <a:lnTo>
                    <a:pt x="327" y="23"/>
                  </a:lnTo>
                  <a:lnTo>
                    <a:pt x="325" y="24"/>
                  </a:lnTo>
                  <a:lnTo>
                    <a:pt x="324" y="27"/>
                  </a:lnTo>
                  <a:lnTo>
                    <a:pt x="322" y="26"/>
                  </a:lnTo>
                  <a:lnTo>
                    <a:pt x="321" y="26"/>
                  </a:lnTo>
                  <a:lnTo>
                    <a:pt x="319" y="29"/>
                  </a:lnTo>
                  <a:lnTo>
                    <a:pt x="321" y="31"/>
                  </a:lnTo>
                  <a:lnTo>
                    <a:pt x="324" y="32"/>
                  </a:lnTo>
                  <a:lnTo>
                    <a:pt x="326" y="33"/>
                  </a:lnTo>
                  <a:lnTo>
                    <a:pt x="325" y="34"/>
                  </a:lnTo>
                  <a:lnTo>
                    <a:pt x="325" y="37"/>
                  </a:lnTo>
                  <a:lnTo>
                    <a:pt x="324" y="37"/>
                  </a:lnTo>
                  <a:lnTo>
                    <a:pt x="322" y="32"/>
                  </a:lnTo>
                  <a:lnTo>
                    <a:pt x="320" y="31"/>
                  </a:lnTo>
                  <a:lnTo>
                    <a:pt x="318" y="32"/>
                  </a:lnTo>
                  <a:lnTo>
                    <a:pt x="316" y="34"/>
                  </a:lnTo>
                  <a:lnTo>
                    <a:pt x="316" y="37"/>
                  </a:lnTo>
                  <a:lnTo>
                    <a:pt x="318" y="40"/>
                  </a:lnTo>
                  <a:lnTo>
                    <a:pt x="319" y="39"/>
                  </a:lnTo>
                  <a:lnTo>
                    <a:pt x="321" y="41"/>
                  </a:lnTo>
                  <a:lnTo>
                    <a:pt x="322" y="44"/>
                  </a:lnTo>
                  <a:lnTo>
                    <a:pt x="322" y="45"/>
                  </a:lnTo>
                  <a:lnTo>
                    <a:pt x="324" y="46"/>
                  </a:lnTo>
                  <a:lnTo>
                    <a:pt x="324" y="50"/>
                  </a:lnTo>
                  <a:lnTo>
                    <a:pt x="324" y="51"/>
                  </a:lnTo>
                  <a:lnTo>
                    <a:pt x="325" y="53"/>
                  </a:lnTo>
                  <a:lnTo>
                    <a:pt x="325" y="56"/>
                  </a:lnTo>
                  <a:lnTo>
                    <a:pt x="324" y="57"/>
                  </a:lnTo>
                  <a:lnTo>
                    <a:pt x="325" y="59"/>
                  </a:lnTo>
                  <a:lnTo>
                    <a:pt x="326" y="58"/>
                  </a:lnTo>
                  <a:lnTo>
                    <a:pt x="328" y="57"/>
                  </a:lnTo>
                  <a:lnTo>
                    <a:pt x="331" y="57"/>
                  </a:lnTo>
                  <a:lnTo>
                    <a:pt x="332" y="56"/>
                  </a:lnTo>
                  <a:lnTo>
                    <a:pt x="333" y="55"/>
                  </a:lnTo>
                  <a:lnTo>
                    <a:pt x="333" y="53"/>
                  </a:lnTo>
                  <a:lnTo>
                    <a:pt x="336" y="55"/>
                  </a:lnTo>
                  <a:lnTo>
                    <a:pt x="336" y="53"/>
                  </a:lnTo>
                  <a:lnTo>
                    <a:pt x="337" y="55"/>
                  </a:lnTo>
                  <a:lnTo>
                    <a:pt x="338" y="55"/>
                  </a:lnTo>
                  <a:lnTo>
                    <a:pt x="337" y="56"/>
                  </a:lnTo>
                  <a:lnTo>
                    <a:pt x="338" y="55"/>
                  </a:lnTo>
                  <a:lnTo>
                    <a:pt x="339" y="55"/>
                  </a:lnTo>
                  <a:lnTo>
                    <a:pt x="340" y="56"/>
                  </a:lnTo>
                  <a:lnTo>
                    <a:pt x="342" y="56"/>
                  </a:lnTo>
                  <a:lnTo>
                    <a:pt x="344" y="55"/>
                  </a:lnTo>
                  <a:lnTo>
                    <a:pt x="345" y="53"/>
                  </a:lnTo>
                  <a:lnTo>
                    <a:pt x="346" y="53"/>
                  </a:lnTo>
                  <a:lnTo>
                    <a:pt x="346" y="55"/>
                  </a:lnTo>
                  <a:lnTo>
                    <a:pt x="349" y="56"/>
                  </a:lnTo>
                  <a:lnTo>
                    <a:pt x="350" y="55"/>
                  </a:lnTo>
                  <a:lnTo>
                    <a:pt x="350" y="56"/>
                  </a:lnTo>
                  <a:lnTo>
                    <a:pt x="352" y="57"/>
                  </a:lnTo>
                  <a:lnTo>
                    <a:pt x="354" y="58"/>
                  </a:lnTo>
                  <a:lnTo>
                    <a:pt x="355" y="57"/>
                  </a:lnTo>
                  <a:lnTo>
                    <a:pt x="356" y="57"/>
                  </a:lnTo>
                  <a:lnTo>
                    <a:pt x="356" y="56"/>
                  </a:lnTo>
                  <a:lnTo>
                    <a:pt x="357" y="56"/>
                  </a:lnTo>
                  <a:lnTo>
                    <a:pt x="358" y="56"/>
                  </a:lnTo>
                  <a:lnTo>
                    <a:pt x="358" y="55"/>
                  </a:lnTo>
                  <a:lnTo>
                    <a:pt x="360" y="56"/>
                  </a:lnTo>
                  <a:lnTo>
                    <a:pt x="361" y="56"/>
                  </a:lnTo>
                  <a:lnTo>
                    <a:pt x="362" y="57"/>
                  </a:lnTo>
                  <a:lnTo>
                    <a:pt x="363" y="56"/>
                  </a:lnTo>
                  <a:lnTo>
                    <a:pt x="363" y="55"/>
                  </a:lnTo>
                  <a:lnTo>
                    <a:pt x="363" y="52"/>
                  </a:lnTo>
                  <a:lnTo>
                    <a:pt x="364" y="51"/>
                  </a:lnTo>
                  <a:lnTo>
                    <a:pt x="366" y="50"/>
                  </a:lnTo>
                  <a:lnTo>
                    <a:pt x="367" y="49"/>
                  </a:lnTo>
                  <a:lnTo>
                    <a:pt x="369" y="50"/>
                  </a:lnTo>
                  <a:lnTo>
                    <a:pt x="370" y="50"/>
                  </a:lnTo>
                  <a:lnTo>
                    <a:pt x="372" y="50"/>
                  </a:lnTo>
                  <a:lnTo>
                    <a:pt x="372" y="51"/>
                  </a:lnTo>
                  <a:lnTo>
                    <a:pt x="373" y="51"/>
                  </a:lnTo>
                  <a:lnTo>
                    <a:pt x="372" y="46"/>
                  </a:lnTo>
                  <a:lnTo>
                    <a:pt x="370" y="44"/>
                  </a:lnTo>
                  <a:lnTo>
                    <a:pt x="369" y="43"/>
                  </a:lnTo>
                  <a:lnTo>
                    <a:pt x="369" y="41"/>
                  </a:lnTo>
                  <a:lnTo>
                    <a:pt x="369" y="40"/>
                  </a:lnTo>
                  <a:lnTo>
                    <a:pt x="370" y="39"/>
                  </a:lnTo>
                  <a:lnTo>
                    <a:pt x="370" y="40"/>
                  </a:lnTo>
                  <a:lnTo>
                    <a:pt x="372" y="39"/>
                  </a:lnTo>
                  <a:lnTo>
                    <a:pt x="373" y="39"/>
                  </a:lnTo>
                  <a:lnTo>
                    <a:pt x="374" y="39"/>
                  </a:lnTo>
                  <a:lnTo>
                    <a:pt x="377" y="39"/>
                  </a:lnTo>
                  <a:lnTo>
                    <a:pt x="375" y="41"/>
                  </a:lnTo>
                  <a:lnTo>
                    <a:pt x="377" y="41"/>
                  </a:lnTo>
                  <a:lnTo>
                    <a:pt x="378" y="41"/>
                  </a:lnTo>
                  <a:lnTo>
                    <a:pt x="381" y="41"/>
                  </a:lnTo>
                  <a:lnTo>
                    <a:pt x="379" y="44"/>
                  </a:lnTo>
                  <a:lnTo>
                    <a:pt x="378" y="45"/>
                  </a:lnTo>
                  <a:lnTo>
                    <a:pt x="377" y="46"/>
                  </a:lnTo>
                  <a:lnTo>
                    <a:pt x="375" y="47"/>
                  </a:lnTo>
                  <a:lnTo>
                    <a:pt x="377" y="46"/>
                  </a:lnTo>
                  <a:lnTo>
                    <a:pt x="379" y="46"/>
                  </a:lnTo>
                  <a:lnTo>
                    <a:pt x="378" y="46"/>
                  </a:lnTo>
                  <a:lnTo>
                    <a:pt x="379" y="49"/>
                  </a:lnTo>
                  <a:lnTo>
                    <a:pt x="377" y="49"/>
                  </a:lnTo>
                  <a:lnTo>
                    <a:pt x="375" y="50"/>
                  </a:lnTo>
                  <a:lnTo>
                    <a:pt x="377" y="51"/>
                  </a:lnTo>
                  <a:lnTo>
                    <a:pt x="380" y="50"/>
                  </a:lnTo>
                  <a:lnTo>
                    <a:pt x="383" y="50"/>
                  </a:lnTo>
                  <a:lnTo>
                    <a:pt x="385" y="50"/>
                  </a:lnTo>
                  <a:lnTo>
                    <a:pt x="383" y="52"/>
                  </a:lnTo>
                  <a:lnTo>
                    <a:pt x="379" y="55"/>
                  </a:lnTo>
                  <a:lnTo>
                    <a:pt x="377" y="56"/>
                  </a:lnTo>
                  <a:lnTo>
                    <a:pt x="377" y="58"/>
                  </a:lnTo>
                  <a:lnTo>
                    <a:pt x="378" y="58"/>
                  </a:lnTo>
                  <a:lnTo>
                    <a:pt x="380" y="58"/>
                  </a:lnTo>
                  <a:lnTo>
                    <a:pt x="381" y="57"/>
                  </a:lnTo>
                  <a:lnTo>
                    <a:pt x="384" y="56"/>
                  </a:lnTo>
                  <a:lnTo>
                    <a:pt x="385" y="57"/>
                  </a:lnTo>
                  <a:lnTo>
                    <a:pt x="384" y="58"/>
                  </a:lnTo>
                  <a:lnTo>
                    <a:pt x="384" y="61"/>
                  </a:lnTo>
                  <a:lnTo>
                    <a:pt x="385" y="62"/>
                  </a:lnTo>
                  <a:lnTo>
                    <a:pt x="386" y="64"/>
                  </a:lnTo>
                  <a:lnTo>
                    <a:pt x="384" y="64"/>
                  </a:lnTo>
                  <a:lnTo>
                    <a:pt x="385" y="67"/>
                  </a:lnTo>
                  <a:lnTo>
                    <a:pt x="385" y="69"/>
                  </a:lnTo>
                  <a:lnTo>
                    <a:pt x="384" y="70"/>
                  </a:lnTo>
                  <a:lnTo>
                    <a:pt x="384" y="69"/>
                  </a:lnTo>
                  <a:lnTo>
                    <a:pt x="383" y="70"/>
                  </a:lnTo>
                  <a:lnTo>
                    <a:pt x="383" y="73"/>
                  </a:lnTo>
                  <a:lnTo>
                    <a:pt x="381" y="74"/>
                  </a:lnTo>
                  <a:lnTo>
                    <a:pt x="381" y="77"/>
                  </a:lnTo>
                  <a:lnTo>
                    <a:pt x="380" y="77"/>
                  </a:lnTo>
                  <a:lnTo>
                    <a:pt x="378" y="80"/>
                  </a:lnTo>
                  <a:lnTo>
                    <a:pt x="377" y="80"/>
                  </a:lnTo>
                  <a:lnTo>
                    <a:pt x="377" y="82"/>
                  </a:lnTo>
                  <a:lnTo>
                    <a:pt x="374" y="83"/>
                  </a:lnTo>
                  <a:lnTo>
                    <a:pt x="374" y="82"/>
                  </a:lnTo>
                  <a:lnTo>
                    <a:pt x="373" y="81"/>
                  </a:lnTo>
                  <a:lnTo>
                    <a:pt x="372" y="80"/>
                  </a:lnTo>
                  <a:lnTo>
                    <a:pt x="372" y="82"/>
                  </a:lnTo>
                  <a:lnTo>
                    <a:pt x="370" y="85"/>
                  </a:lnTo>
                  <a:lnTo>
                    <a:pt x="370" y="81"/>
                  </a:lnTo>
                  <a:lnTo>
                    <a:pt x="369" y="83"/>
                  </a:lnTo>
                  <a:lnTo>
                    <a:pt x="368" y="81"/>
                  </a:lnTo>
                  <a:lnTo>
                    <a:pt x="367" y="82"/>
                  </a:lnTo>
                  <a:lnTo>
                    <a:pt x="368" y="85"/>
                  </a:lnTo>
                  <a:lnTo>
                    <a:pt x="366" y="86"/>
                  </a:lnTo>
                  <a:lnTo>
                    <a:pt x="363" y="87"/>
                  </a:lnTo>
                  <a:lnTo>
                    <a:pt x="362" y="88"/>
                  </a:lnTo>
                  <a:lnTo>
                    <a:pt x="362" y="89"/>
                  </a:lnTo>
                  <a:lnTo>
                    <a:pt x="364" y="89"/>
                  </a:lnTo>
                  <a:lnTo>
                    <a:pt x="366" y="91"/>
                  </a:lnTo>
                  <a:lnTo>
                    <a:pt x="367" y="92"/>
                  </a:lnTo>
                  <a:lnTo>
                    <a:pt x="366" y="93"/>
                  </a:lnTo>
                  <a:lnTo>
                    <a:pt x="363" y="92"/>
                  </a:lnTo>
                  <a:lnTo>
                    <a:pt x="363" y="91"/>
                  </a:lnTo>
                  <a:lnTo>
                    <a:pt x="362" y="91"/>
                  </a:lnTo>
                  <a:lnTo>
                    <a:pt x="362" y="93"/>
                  </a:lnTo>
                  <a:lnTo>
                    <a:pt x="366" y="94"/>
                  </a:lnTo>
                  <a:lnTo>
                    <a:pt x="366" y="97"/>
                  </a:lnTo>
                  <a:lnTo>
                    <a:pt x="366" y="98"/>
                  </a:lnTo>
                  <a:lnTo>
                    <a:pt x="369" y="97"/>
                  </a:lnTo>
                  <a:lnTo>
                    <a:pt x="373" y="94"/>
                  </a:lnTo>
                  <a:lnTo>
                    <a:pt x="372" y="92"/>
                  </a:lnTo>
                  <a:lnTo>
                    <a:pt x="372" y="89"/>
                  </a:lnTo>
                  <a:lnTo>
                    <a:pt x="374" y="88"/>
                  </a:lnTo>
                  <a:lnTo>
                    <a:pt x="375" y="86"/>
                  </a:lnTo>
                  <a:lnTo>
                    <a:pt x="375" y="88"/>
                  </a:lnTo>
                  <a:lnTo>
                    <a:pt x="377" y="87"/>
                  </a:lnTo>
                  <a:lnTo>
                    <a:pt x="378" y="87"/>
                  </a:lnTo>
                  <a:lnTo>
                    <a:pt x="379" y="86"/>
                  </a:lnTo>
                  <a:lnTo>
                    <a:pt x="380" y="86"/>
                  </a:lnTo>
                  <a:lnTo>
                    <a:pt x="381" y="86"/>
                  </a:lnTo>
                  <a:lnTo>
                    <a:pt x="381" y="88"/>
                  </a:lnTo>
                  <a:lnTo>
                    <a:pt x="380" y="89"/>
                  </a:lnTo>
                  <a:lnTo>
                    <a:pt x="381" y="89"/>
                  </a:lnTo>
                  <a:lnTo>
                    <a:pt x="380" y="91"/>
                  </a:lnTo>
                  <a:lnTo>
                    <a:pt x="381" y="89"/>
                  </a:lnTo>
                  <a:lnTo>
                    <a:pt x="381" y="92"/>
                  </a:lnTo>
                  <a:lnTo>
                    <a:pt x="383" y="92"/>
                  </a:lnTo>
                  <a:lnTo>
                    <a:pt x="384" y="91"/>
                  </a:lnTo>
                  <a:lnTo>
                    <a:pt x="383" y="89"/>
                  </a:lnTo>
                  <a:lnTo>
                    <a:pt x="383" y="87"/>
                  </a:lnTo>
                  <a:lnTo>
                    <a:pt x="385" y="87"/>
                  </a:lnTo>
                  <a:lnTo>
                    <a:pt x="386" y="86"/>
                  </a:lnTo>
                  <a:lnTo>
                    <a:pt x="387" y="87"/>
                  </a:lnTo>
                  <a:lnTo>
                    <a:pt x="389" y="87"/>
                  </a:lnTo>
                  <a:lnTo>
                    <a:pt x="390" y="88"/>
                  </a:lnTo>
                  <a:lnTo>
                    <a:pt x="390" y="91"/>
                  </a:lnTo>
                  <a:lnTo>
                    <a:pt x="387" y="92"/>
                  </a:lnTo>
                  <a:lnTo>
                    <a:pt x="387" y="91"/>
                  </a:lnTo>
                  <a:lnTo>
                    <a:pt x="385" y="91"/>
                  </a:lnTo>
                  <a:lnTo>
                    <a:pt x="380" y="95"/>
                  </a:lnTo>
                  <a:lnTo>
                    <a:pt x="381" y="97"/>
                  </a:lnTo>
                  <a:lnTo>
                    <a:pt x="384" y="95"/>
                  </a:lnTo>
                  <a:lnTo>
                    <a:pt x="384" y="98"/>
                  </a:lnTo>
                  <a:lnTo>
                    <a:pt x="386" y="99"/>
                  </a:lnTo>
                  <a:lnTo>
                    <a:pt x="387" y="100"/>
                  </a:lnTo>
                  <a:lnTo>
                    <a:pt x="387" y="101"/>
                  </a:lnTo>
                  <a:lnTo>
                    <a:pt x="389" y="100"/>
                  </a:lnTo>
                  <a:lnTo>
                    <a:pt x="390" y="101"/>
                  </a:lnTo>
                  <a:lnTo>
                    <a:pt x="391" y="99"/>
                  </a:lnTo>
                  <a:lnTo>
                    <a:pt x="390" y="103"/>
                  </a:lnTo>
                  <a:lnTo>
                    <a:pt x="389" y="105"/>
                  </a:lnTo>
                  <a:lnTo>
                    <a:pt x="389" y="106"/>
                  </a:lnTo>
                  <a:lnTo>
                    <a:pt x="390" y="107"/>
                  </a:lnTo>
                  <a:lnTo>
                    <a:pt x="391" y="107"/>
                  </a:lnTo>
                  <a:lnTo>
                    <a:pt x="392" y="107"/>
                  </a:lnTo>
                  <a:lnTo>
                    <a:pt x="393" y="106"/>
                  </a:lnTo>
                  <a:lnTo>
                    <a:pt x="395" y="104"/>
                  </a:lnTo>
                  <a:lnTo>
                    <a:pt x="395" y="103"/>
                  </a:lnTo>
                  <a:lnTo>
                    <a:pt x="395" y="101"/>
                  </a:lnTo>
                  <a:lnTo>
                    <a:pt x="395" y="99"/>
                  </a:lnTo>
                  <a:lnTo>
                    <a:pt x="396" y="98"/>
                  </a:lnTo>
                  <a:lnTo>
                    <a:pt x="397" y="97"/>
                  </a:lnTo>
                  <a:lnTo>
                    <a:pt x="397" y="95"/>
                  </a:lnTo>
                  <a:lnTo>
                    <a:pt x="398" y="95"/>
                  </a:lnTo>
                  <a:lnTo>
                    <a:pt x="401" y="95"/>
                  </a:lnTo>
                  <a:lnTo>
                    <a:pt x="401" y="97"/>
                  </a:lnTo>
                  <a:lnTo>
                    <a:pt x="402" y="97"/>
                  </a:lnTo>
                  <a:lnTo>
                    <a:pt x="403" y="98"/>
                  </a:lnTo>
                  <a:lnTo>
                    <a:pt x="403" y="99"/>
                  </a:lnTo>
                  <a:lnTo>
                    <a:pt x="402" y="101"/>
                  </a:lnTo>
                  <a:lnTo>
                    <a:pt x="401" y="101"/>
                  </a:lnTo>
                  <a:lnTo>
                    <a:pt x="402" y="103"/>
                  </a:lnTo>
                  <a:lnTo>
                    <a:pt x="401" y="104"/>
                  </a:lnTo>
                  <a:lnTo>
                    <a:pt x="401" y="105"/>
                  </a:lnTo>
                  <a:lnTo>
                    <a:pt x="401" y="106"/>
                  </a:lnTo>
                  <a:lnTo>
                    <a:pt x="402" y="106"/>
                  </a:lnTo>
                  <a:lnTo>
                    <a:pt x="403" y="105"/>
                  </a:lnTo>
                  <a:lnTo>
                    <a:pt x="404" y="105"/>
                  </a:lnTo>
                  <a:lnTo>
                    <a:pt x="404" y="106"/>
                  </a:lnTo>
                  <a:lnTo>
                    <a:pt x="405" y="105"/>
                  </a:lnTo>
                  <a:lnTo>
                    <a:pt x="407" y="105"/>
                  </a:lnTo>
                  <a:lnTo>
                    <a:pt x="409" y="104"/>
                  </a:lnTo>
                  <a:lnTo>
                    <a:pt x="410" y="103"/>
                  </a:lnTo>
                  <a:lnTo>
                    <a:pt x="410" y="101"/>
                  </a:lnTo>
                  <a:lnTo>
                    <a:pt x="409" y="100"/>
                  </a:lnTo>
                  <a:lnTo>
                    <a:pt x="411" y="99"/>
                  </a:lnTo>
                  <a:lnTo>
                    <a:pt x="413" y="99"/>
                  </a:lnTo>
                  <a:lnTo>
                    <a:pt x="411" y="100"/>
                  </a:lnTo>
                  <a:lnTo>
                    <a:pt x="414" y="100"/>
                  </a:lnTo>
                  <a:lnTo>
                    <a:pt x="413" y="99"/>
                  </a:lnTo>
                  <a:lnTo>
                    <a:pt x="409" y="95"/>
                  </a:lnTo>
                  <a:lnTo>
                    <a:pt x="407" y="97"/>
                  </a:lnTo>
                  <a:lnTo>
                    <a:pt x="404" y="95"/>
                  </a:lnTo>
                  <a:lnTo>
                    <a:pt x="405" y="94"/>
                  </a:lnTo>
                  <a:lnTo>
                    <a:pt x="407" y="94"/>
                  </a:lnTo>
                  <a:lnTo>
                    <a:pt x="408" y="94"/>
                  </a:lnTo>
                  <a:lnTo>
                    <a:pt x="408" y="93"/>
                  </a:lnTo>
                  <a:lnTo>
                    <a:pt x="409" y="93"/>
                  </a:lnTo>
                  <a:lnTo>
                    <a:pt x="410" y="94"/>
                  </a:lnTo>
                  <a:lnTo>
                    <a:pt x="411" y="97"/>
                  </a:lnTo>
                  <a:lnTo>
                    <a:pt x="414" y="99"/>
                  </a:lnTo>
                  <a:lnTo>
                    <a:pt x="415" y="99"/>
                  </a:lnTo>
                  <a:lnTo>
                    <a:pt x="416" y="98"/>
                  </a:lnTo>
                  <a:lnTo>
                    <a:pt x="417" y="95"/>
                  </a:lnTo>
                  <a:lnTo>
                    <a:pt x="419" y="97"/>
                  </a:lnTo>
                  <a:lnTo>
                    <a:pt x="420" y="97"/>
                  </a:lnTo>
                  <a:lnTo>
                    <a:pt x="420" y="98"/>
                  </a:lnTo>
                  <a:lnTo>
                    <a:pt x="421" y="100"/>
                  </a:lnTo>
                  <a:lnTo>
                    <a:pt x="421" y="99"/>
                  </a:lnTo>
                  <a:lnTo>
                    <a:pt x="422" y="98"/>
                  </a:lnTo>
                  <a:lnTo>
                    <a:pt x="422" y="97"/>
                  </a:lnTo>
                  <a:lnTo>
                    <a:pt x="425" y="98"/>
                  </a:lnTo>
                  <a:lnTo>
                    <a:pt x="426" y="98"/>
                  </a:lnTo>
                  <a:lnTo>
                    <a:pt x="425" y="94"/>
                  </a:lnTo>
                  <a:lnTo>
                    <a:pt x="420" y="93"/>
                  </a:lnTo>
                  <a:lnTo>
                    <a:pt x="416" y="92"/>
                  </a:lnTo>
                  <a:lnTo>
                    <a:pt x="417" y="91"/>
                  </a:lnTo>
                  <a:lnTo>
                    <a:pt x="419" y="89"/>
                  </a:lnTo>
                  <a:lnTo>
                    <a:pt x="420" y="89"/>
                  </a:lnTo>
                  <a:lnTo>
                    <a:pt x="421" y="88"/>
                  </a:lnTo>
                  <a:lnTo>
                    <a:pt x="422" y="88"/>
                  </a:lnTo>
                  <a:lnTo>
                    <a:pt x="423" y="87"/>
                  </a:lnTo>
                  <a:lnTo>
                    <a:pt x="423" y="88"/>
                  </a:lnTo>
                  <a:lnTo>
                    <a:pt x="425" y="88"/>
                  </a:lnTo>
                  <a:lnTo>
                    <a:pt x="425" y="91"/>
                  </a:lnTo>
                  <a:lnTo>
                    <a:pt x="426" y="94"/>
                  </a:lnTo>
                  <a:lnTo>
                    <a:pt x="427" y="95"/>
                  </a:lnTo>
                  <a:lnTo>
                    <a:pt x="429" y="94"/>
                  </a:lnTo>
                  <a:lnTo>
                    <a:pt x="431" y="93"/>
                  </a:lnTo>
                  <a:lnTo>
                    <a:pt x="432" y="91"/>
                  </a:lnTo>
                  <a:lnTo>
                    <a:pt x="432" y="89"/>
                  </a:lnTo>
                  <a:lnTo>
                    <a:pt x="434" y="88"/>
                  </a:lnTo>
                  <a:lnTo>
                    <a:pt x="434" y="89"/>
                  </a:lnTo>
                  <a:lnTo>
                    <a:pt x="436" y="91"/>
                  </a:lnTo>
                  <a:lnTo>
                    <a:pt x="437" y="92"/>
                  </a:lnTo>
                  <a:lnTo>
                    <a:pt x="438" y="89"/>
                  </a:lnTo>
                  <a:lnTo>
                    <a:pt x="439" y="91"/>
                  </a:lnTo>
                  <a:lnTo>
                    <a:pt x="440" y="92"/>
                  </a:lnTo>
                  <a:lnTo>
                    <a:pt x="442" y="94"/>
                  </a:lnTo>
                  <a:lnTo>
                    <a:pt x="440" y="94"/>
                  </a:lnTo>
                  <a:lnTo>
                    <a:pt x="438" y="94"/>
                  </a:lnTo>
                  <a:lnTo>
                    <a:pt x="437" y="95"/>
                  </a:lnTo>
                  <a:lnTo>
                    <a:pt x="434" y="95"/>
                  </a:lnTo>
                  <a:lnTo>
                    <a:pt x="436" y="95"/>
                  </a:lnTo>
                  <a:lnTo>
                    <a:pt x="433" y="95"/>
                  </a:lnTo>
                  <a:lnTo>
                    <a:pt x="436" y="98"/>
                  </a:lnTo>
                  <a:lnTo>
                    <a:pt x="437" y="100"/>
                  </a:lnTo>
                  <a:lnTo>
                    <a:pt x="438" y="99"/>
                  </a:lnTo>
                  <a:lnTo>
                    <a:pt x="439" y="100"/>
                  </a:lnTo>
                  <a:lnTo>
                    <a:pt x="439" y="99"/>
                  </a:lnTo>
                  <a:lnTo>
                    <a:pt x="442" y="99"/>
                  </a:lnTo>
                  <a:lnTo>
                    <a:pt x="440" y="98"/>
                  </a:lnTo>
                  <a:lnTo>
                    <a:pt x="439" y="95"/>
                  </a:lnTo>
                  <a:lnTo>
                    <a:pt x="440" y="97"/>
                  </a:lnTo>
                  <a:lnTo>
                    <a:pt x="443" y="93"/>
                  </a:lnTo>
                  <a:lnTo>
                    <a:pt x="444" y="92"/>
                  </a:lnTo>
                  <a:lnTo>
                    <a:pt x="445" y="89"/>
                  </a:lnTo>
                  <a:lnTo>
                    <a:pt x="448" y="89"/>
                  </a:lnTo>
                  <a:lnTo>
                    <a:pt x="448" y="88"/>
                  </a:lnTo>
                  <a:lnTo>
                    <a:pt x="448" y="86"/>
                  </a:lnTo>
                  <a:lnTo>
                    <a:pt x="448" y="85"/>
                  </a:lnTo>
                  <a:lnTo>
                    <a:pt x="449" y="83"/>
                  </a:lnTo>
                  <a:lnTo>
                    <a:pt x="448" y="83"/>
                  </a:lnTo>
                  <a:lnTo>
                    <a:pt x="449" y="82"/>
                  </a:lnTo>
                  <a:lnTo>
                    <a:pt x="450" y="82"/>
                  </a:lnTo>
                  <a:lnTo>
                    <a:pt x="450" y="81"/>
                  </a:lnTo>
                  <a:lnTo>
                    <a:pt x="450" y="79"/>
                  </a:lnTo>
                  <a:lnTo>
                    <a:pt x="451" y="77"/>
                  </a:lnTo>
                  <a:lnTo>
                    <a:pt x="452" y="79"/>
                  </a:lnTo>
                  <a:lnTo>
                    <a:pt x="456" y="79"/>
                  </a:lnTo>
                  <a:lnTo>
                    <a:pt x="455" y="76"/>
                  </a:lnTo>
                  <a:lnTo>
                    <a:pt x="454" y="75"/>
                  </a:lnTo>
                  <a:lnTo>
                    <a:pt x="451" y="76"/>
                  </a:lnTo>
                  <a:lnTo>
                    <a:pt x="452" y="75"/>
                  </a:lnTo>
                  <a:lnTo>
                    <a:pt x="454" y="74"/>
                  </a:lnTo>
                  <a:lnTo>
                    <a:pt x="456" y="75"/>
                  </a:lnTo>
                  <a:lnTo>
                    <a:pt x="457" y="74"/>
                  </a:lnTo>
                  <a:lnTo>
                    <a:pt x="458" y="76"/>
                  </a:lnTo>
                  <a:lnTo>
                    <a:pt x="460" y="76"/>
                  </a:lnTo>
                  <a:lnTo>
                    <a:pt x="461" y="77"/>
                  </a:lnTo>
                  <a:lnTo>
                    <a:pt x="464" y="75"/>
                  </a:lnTo>
                  <a:lnTo>
                    <a:pt x="463" y="73"/>
                  </a:lnTo>
                  <a:lnTo>
                    <a:pt x="464" y="71"/>
                  </a:lnTo>
                  <a:lnTo>
                    <a:pt x="466" y="70"/>
                  </a:lnTo>
                  <a:lnTo>
                    <a:pt x="467" y="70"/>
                  </a:lnTo>
                  <a:lnTo>
                    <a:pt x="466" y="73"/>
                  </a:lnTo>
                  <a:lnTo>
                    <a:pt x="467" y="73"/>
                  </a:lnTo>
                  <a:lnTo>
                    <a:pt x="469" y="70"/>
                  </a:lnTo>
                  <a:lnTo>
                    <a:pt x="470" y="71"/>
                  </a:lnTo>
                  <a:lnTo>
                    <a:pt x="472" y="73"/>
                  </a:lnTo>
                  <a:lnTo>
                    <a:pt x="473" y="73"/>
                  </a:lnTo>
                  <a:lnTo>
                    <a:pt x="474" y="73"/>
                  </a:lnTo>
                  <a:lnTo>
                    <a:pt x="472" y="74"/>
                  </a:lnTo>
                  <a:lnTo>
                    <a:pt x="468" y="75"/>
                  </a:lnTo>
                  <a:lnTo>
                    <a:pt x="469" y="77"/>
                  </a:lnTo>
                  <a:lnTo>
                    <a:pt x="470" y="76"/>
                  </a:lnTo>
                  <a:lnTo>
                    <a:pt x="474" y="74"/>
                  </a:lnTo>
                  <a:lnTo>
                    <a:pt x="472" y="77"/>
                  </a:lnTo>
                  <a:lnTo>
                    <a:pt x="473" y="79"/>
                  </a:lnTo>
                  <a:lnTo>
                    <a:pt x="472" y="79"/>
                  </a:lnTo>
                  <a:lnTo>
                    <a:pt x="470" y="80"/>
                  </a:lnTo>
                  <a:lnTo>
                    <a:pt x="472" y="81"/>
                  </a:lnTo>
                  <a:lnTo>
                    <a:pt x="473" y="81"/>
                  </a:lnTo>
                  <a:lnTo>
                    <a:pt x="475" y="82"/>
                  </a:lnTo>
                  <a:lnTo>
                    <a:pt x="476" y="82"/>
                  </a:lnTo>
                  <a:lnTo>
                    <a:pt x="476" y="83"/>
                  </a:lnTo>
                  <a:lnTo>
                    <a:pt x="479" y="83"/>
                  </a:lnTo>
                  <a:lnTo>
                    <a:pt x="480" y="85"/>
                  </a:lnTo>
                  <a:lnTo>
                    <a:pt x="479" y="85"/>
                  </a:lnTo>
                  <a:lnTo>
                    <a:pt x="480" y="86"/>
                  </a:lnTo>
                  <a:lnTo>
                    <a:pt x="480" y="87"/>
                  </a:lnTo>
                  <a:lnTo>
                    <a:pt x="478" y="87"/>
                  </a:lnTo>
                  <a:lnTo>
                    <a:pt x="479" y="88"/>
                  </a:lnTo>
                  <a:lnTo>
                    <a:pt x="480" y="91"/>
                  </a:lnTo>
                  <a:lnTo>
                    <a:pt x="482" y="89"/>
                  </a:lnTo>
                  <a:lnTo>
                    <a:pt x="482" y="91"/>
                  </a:lnTo>
                  <a:lnTo>
                    <a:pt x="482" y="94"/>
                  </a:lnTo>
                  <a:lnTo>
                    <a:pt x="484" y="94"/>
                  </a:lnTo>
                  <a:lnTo>
                    <a:pt x="482" y="97"/>
                  </a:lnTo>
                  <a:lnTo>
                    <a:pt x="484" y="98"/>
                  </a:lnTo>
                  <a:lnTo>
                    <a:pt x="481" y="101"/>
                  </a:lnTo>
                  <a:lnTo>
                    <a:pt x="481" y="97"/>
                  </a:lnTo>
                  <a:lnTo>
                    <a:pt x="480" y="92"/>
                  </a:lnTo>
                  <a:lnTo>
                    <a:pt x="478" y="92"/>
                  </a:lnTo>
                  <a:lnTo>
                    <a:pt x="474" y="89"/>
                  </a:lnTo>
                  <a:lnTo>
                    <a:pt x="474" y="91"/>
                  </a:lnTo>
                  <a:lnTo>
                    <a:pt x="474" y="94"/>
                  </a:lnTo>
                  <a:lnTo>
                    <a:pt x="474" y="95"/>
                  </a:lnTo>
                  <a:lnTo>
                    <a:pt x="473" y="98"/>
                  </a:lnTo>
                  <a:lnTo>
                    <a:pt x="472" y="99"/>
                  </a:lnTo>
                  <a:lnTo>
                    <a:pt x="469" y="99"/>
                  </a:lnTo>
                  <a:lnTo>
                    <a:pt x="468" y="98"/>
                  </a:lnTo>
                  <a:lnTo>
                    <a:pt x="467" y="99"/>
                  </a:lnTo>
                  <a:lnTo>
                    <a:pt x="460" y="100"/>
                  </a:lnTo>
                  <a:lnTo>
                    <a:pt x="457" y="100"/>
                  </a:lnTo>
                  <a:lnTo>
                    <a:pt x="457" y="101"/>
                  </a:lnTo>
                  <a:lnTo>
                    <a:pt x="457" y="103"/>
                  </a:lnTo>
                  <a:lnTo>
                    <a:pt x="460" y="101"/>
                  </a:lnTo>
                  <a:lnTo>
                    <a:pt x="460" y="103"/>
                  </a:lnTo>
                  <a:lnTo>
                    <a:pt x="461" y="103"/>
                  </a:lnTo>
                  <a:lnTo>
                    <a:pt x="464" y="100"/>
                  </a:lnTo>
                  <a:lnTo>
                    <a:pt x="469" y="100"/>
                  </a:lnTo>
                  <a:lnTo>
                    <a:pt x="472" y="100"/>
                  </a:lnTo>
                  <a:lnTo>
                    <a:pt x="474" y="101"/>
                  </a:lnTo>
                  <a:lnTo>
                    <a:pt x="475" y="103"/>
                  </a:lnTo>
                  <a:lnTo>
                    <a:pt x="474" y="103"/>
                  </a:lnTo>
                  <a:lnTo>
                    <a:pt x="472" y="104"/>
                  </a:lnTo>
                  <a:lnTo>
                    <a:pt x="473" y="104"/>
                  </a:lnTo>
                  <a:lnTo>
                    <a:pt x="470" y="105"/>
                  </a:lnTo>
                  <a:lnTo>
                    <a:pt x="469" y="106"/>
                  </a:lnTo>
                  <a:lnTo>
                    <a:pt x="470" y="107"/>
                  </a:lnTo>
                  <a:lnTo>
                    <a:pt x="468" y="107"/>
                  </a:lnTo>
                  <a:lnTo>
                    <a:pt x="469" y="109"/>
                  </a:lnTo>
                  <a:lnTo>
                    <a:pt x="472" y="111"/>
                  </a:lnTo>
                  <a:lnTo>
                    <a:pt x="470" y="111"/>
                  </a:lnTo>
                  <a:lnTo>
                    <a:pt x="470" y="113"/>
                  </a:lnTo>
                  <a:lnTo>
                    <a:pt x="470" y="115"/>
                  </a:lnTo>
                  <a:lnTo>
                    <a:pt x="469" y="112"/>
                  </a:lnTo>
                  <a:lnTo>
                    <a:pt x="469" y="113"/>
                  </a:lnTo>
                  <a:lnTo>
                    <a:pt x="468" y="112"/>
                  </a:lnTo>
                  <a:lnTo>
                    <a:pt x="467" y="113"/>
                  </a:lnTo>
                  <a:lnTo>
                    <a:pt x="466" y="111"/>
                  </a:lnTo>
                  <a:lnTo>
                    <a:pt x="466" y="107"/>
                  </a:lnTo>
                  <a:lnTo>
                    <a:pt x="466" y="106"/>
                  </a:lnTo>
                  <a:lnTo>
                    <a:pt x="463" y="105"/>
                  </a:lnTo>
                  <a:lnTo>
                    <a:pt x="462" y="104"/>
                  </a:lnTo>
                  <a:lnTo>
                    <a:pt x="461" y="106"/>
                  </a:lnTo>
                  <a:lnTo>
                    <a:pt x="460" y="109"/>
                  </a:lnTo>
                  <a:lnTo>
                    <a:pt x="458" y="110"/>
                  </a:lnTo>
                  <a:lnTo>
                    <a:pt x="455" y="115"/>
                  </a:lnTo>
                  <a:lnTo>
                    <a:pt x="455" y="112"/>
                  </a:lnTo>
                  <a:lnTo>
                    <a:pt x="456" y="110"/>
                  </a:lnTo>
                  <a:lnTo>
                    <a:pt x="454" y="112"/>
                  </a:lnTo>
                  <a:lnTo>
                    <a:pt x="450" y="116"/>
                  </a:lnTo>
                  <a:lnTo>
                    <a:pt x="450" y="113"/>
                  </a:lnTo>
                  <a:lnTo>
                    <a:pt x="451" y="112"/>
                  </a:lnTo>
                  <a:lnTo>
                    <a:pt x="451" y="111"/>
                  </a:lnTo>
                  <a:lnTo>
                    <a:pt x="449" y="111"/>
                  </a:lnTo>
                  <a:lnTo>
                    <a:pt x="448" y="113"/>
                  </a:lnTo>
                  <a:lnTo>
                    <a:pt x="446" y="115"/>
                  </a:lnTo>
                  <a:lnTo>
                    <a:pt x="446" y="116"/>
                  </a:lnTo>
                  <a:lnTo>
                    <a:pt x="445" y="118"/>
                  </a:lnTo>
                  <a:lnTo>
                    <a:pt x="444" y="119"/>
                  </a:lnTo>
                  <a:lnTo>
                    <a:pt x="443" y="121"/>
                  </a:lnTo>
                  <a:lnTo>
                    <a:pt x="444" y="122"/>
                  </a:lnTo>
                  <a:lnTo>
                    <a:pt x="445" y="121"/>
                  </a:lnTo>
                  <a:lnTo>
                    <a:pt x="446" y="119"/>
                  </a:lnTo>
                  <a:lnTo>
                    <a:pt x="446" y="122"/>
                  </a:lnTo>
                  <a:lnTo>
                    <a:pt x="445" y="125"/>
                  </a:lnTo>
                  <a:lnTo>
                    <a:pt x="444" y="128"/>
                  </a:lnTo>
                  <a:lnTo>
                    <a:pt x="445" y="128"/>
                  </a:lnTo>
                  <a:lnTo>
                    <a:pt x="444" y="129"/>
                  </a:lnTo>
                  <a:lnTo>
                    <a:pt x="444" y="131"/>
                  </a:lnTo>
                  <a:lnTo>
                    <a:pt x="445" y="130"/>
                  </a:lnTo>
                  <a:lnTo>
                    <a:pt x="448" y="130"/>
                  </a:lnTo>
                  <a:lnTo>
                    <a:pt x="450" y="129"/>
                  </a:lnTo>
                  <a:lnTo>
                    <a:pt x="452" y="130"/>
                  </a:lnTo>
                  <a:lnTo>
                    <a:pt x="454" y="131"/>
                  </a:lnTo>
                  <a:lnTo>
                    <a:pt x="454" y="133"/>
                  </a:lnTo>
                  <a:lnTo>
                    <a:pt x="452" y="133"/>
                  </a:lnTo>
                  <a:lnTo>
                    <a:pt x="452" y="135"/>
                  </a:lnTo>
                  <a:lnTo>
                    <a:pt x="451" y="135"/>
                  </a:lnTo>
                  <a:lnTo>
                    <a:pt x="451" y="138"/>
                  </a:lnTo>
                  <a:lnTo>
                    <a:pt x="449" y="136"/>
                  </a:lnTo>
                  <a:lnTo>
                    <a:pt x="448" y="135"/>
                  </a:lnTo>
                  <a:lnTo>
                    <a:pt x="446" y="134"/>
                  </a:lnTo>
                  <a:lnTo>
                    <a:pt x="445" y="133"/>
                  </a:lnTo>
                  <a:lnTo>
                    <a:pt x="444" y="134"/>
                  </a:lnTo>
                  <a:lnTo>
                    <a:pt x="443" y="135"/>
                  </a:lnTo>
                  <a:lnTo>
                    <a:pt x="445" y="135"/>
                  </a:lnTo>
                  <a:lnTo>
                    <a:pt x="443" y="136"/>
                  </a:lnTo>
                  <a:lnTo>
                    <a:pt x="443" y="138"/>
                  </a:lnTo>
                  <a:lnTo>
                    <a:pt x="445" y="138"/>
                  </a:lnTo>
                  <a:lnTo>
                    <a:pt x="448" y="138"/>
                  </a:lnTo>
                  <a:lnTo>
                    <a:pt x="450" y="138"/>
                  </a:lnTo>
                  <a:lnTo>
                    <a:pt x="450" y="139"/>
                  </a:lnTo>
                  <a:lnTo>
                    <a:pt x="451" y="139"/>
                  </a:lnTo>
                  <a:lnTo>
                    <a:pt x="450" y="139"/>
                  </a:lnTo>
                  <a:lnTo>
                    <a:pt x="451" y="140"/>
                  </a:lnTo>
                  <a:lnTo>
                    <a:pt x="451" y="141"/>
                  </a:lnTo>
                  <a:lnTo>
                    <a:pt x="450" y="141"/>
                  </a:lnTo>
                  <a:lnTo>
                    <a:pt x="451" y="144"/>
                  </a:lnTo>
                  <a:lnTo>
                    <a:pt x="451" y="145"/>
                  </a:lnTo>
                  <a:lnTo>
                    <a:pt x="449" y="141"/>
                  </a:lnTo>
                  <a:lnTo>
                    <a:pt x="446" y="139"/>
                  </a:lnTo>
                  <a:lnTo>
                    <a:pt x="446" y="140"/>
                  </a:lnTo>
                  <a:lnTo>
                    <a:pt x="446" y="141"/>
                  </a:lnTo>
                  <a:lnTo>
                    <a:pt x="445" y="144"/>
                  </a:lnTo>
                  <a:lnTo>
                    <a:pt x="445" y="147"/>
                  </a:lnTo>
                  <a:lnTo>
                    <a:pt x="445" y="145"/>
                  </a:lnTo>
                  <a:lnTo>
                    <a:pt x="444" y="146"/>
                  </a:lnTo>
                  <a:lnTo>
                    <a:pt x="443" y="144"/>
                  </a:lnTo>
                  <a:lnTo>
                    <a:pt x="444" y="140"/>
                  </a:lnTo>
                  <a:lnTo>
                    <a:pt x="443" y="140"/>
                  </a:lnTo>
                  <a:lnTo>
                    <a:pt x="440" y="140"/>
                  </a:lnTo>
                  <a:lnTo>
                    <a:pt x="442" y="141"/>
                  </a:lnTo>
                  <a:lnTo>
                    <a:pt x="440" y="146"/>
                  </a:lnTo>
                  <a:lnTo>
                    <a:pt x="438" y="144"/>
                  </a:lnTo>
                  <a:lnTo>
                    <a:pt x="438" y="141"/>
                  </a:lnTo>
                  <a:lnTo>
                    <a:pt x="438" y="142"/>
                  </a:lnTo>
                  <a:lnTo>
                    <a:pt x="438" y="147"/>
                  </a:lnTo>
                  <a:lnTo>
                    <a:pt x="440" y="150"/>
                  </a:lnTo>
                  <a:lnTo>
                    <a:pt x="440" y="152"/>
                  </a:lnTo>
                  <a:lnTo>
                    <a:pt x="439" y="153"/>
                  </a:lnTo>
                  <a:lnTo>
                    <a:pt x="439" y="154"/>
                  </a:lnTo>
                  <a:lnTo>
                    <a:pt x="438" y="154"/>
                  </a:lnTo>
                  <a:lnTo>
                    <a:pt x="438" y="156"/>
                  </a:lnTo>
                  <a:lnTo>
                    <a:pt x="437" y="156"/>
                  </a:lnTo>
                  <a:lnTo>
                    <a:pt x="437" y="159"/>
                  </a:lnTo>
                  <a:lnTo>
                    <a:pt x="436" y="157"/>
                  </a:lnTo>
                  <a:lnTo>
                    <a:pt x="436" y="156"/>
                  </a:lnTo>
                  <a:lnTo>
                    <a:pt x="434" y="156"/>
                  </a:lnTo>
                  <a:lnTo>
                    <a:pt x="434" y="154"/>
                  </a:lnTo>
                  <a:lnTo>
                    <a:pt x="434" y="152"/>
                  </a:lnTo>
                  <a:lnTo>
                    <a:pt x="433" y="152"/>
                  </a:lnTo>
                  <a:lnTo>
                    <a:pt x="433" y="151"/>
                  </a:lnTo>
                  <a:lnTo>
                    <a:pt x="434" y="148"/>
                  </a:lnTo>
                  <a:lnTo>
                    <a:pt x="437" y="147"/>
                  </a:lnTo>
                  <a:lnTo>
                    <a:pt x="437" y="145"/>
                  </a:lnTo>
                  <a:lnTo>
                    <a:pt x="436" y="145"/>
                  </a:lnTo>
                  <a:lnTo>
                    <a:pt x="434" y="146"/>
                  </a:lnTo>
                  <a:lnTo>
                    <a:pt x="436" y="144"/>
                  </a:lnTo>
                  <a:lnTo>
                    <a:pt x="433" y="145"/>
                  </a:lnTo>
                  <a:lnTo>
                    <a:pt x="432" y="145"/>
                  </a:lnTo>
                  <a:lnTo>
                    <a:pt x="431" y="147"/>
                  </a:lnTo>
                  <a:lnTo>
                    <a:pt x="431" y="145"/>
                  </a:lnTo>
                  <a:lnTo>
                    <a:pt x="429" y="145"/>
                  </a:lnTo>
                  <a:lnTo>
                    <a:pt x="427" y="145"/>
                  </a:lnTo>
                  <a:lnTo>
                    <a:pt x="425" y="145"/>
                  </a:lnTo>
                  <a:lnTo>
                    <a:pt x="427" y="146"/>
                  </a:lnTo>
                  <a:lnTo>
                    <a:pt x="426" y="148"/>
                  </a:lnTo>
                  <a:lnTo>
                    <a:pt x="423" y="151"/>
                  </a:lnTo>
                  <a:lnTo>
                    <a:pt x="422" y="153"/>
                  </a:lnTo>
                  <a:lnTo>
                    <a:pt x="425" y="153"/>
                  </a:lnTo>
                  <a:lnTo>
                    <a:pt x="426" y="154"/>
                  </a:lnTo>
                  <a:lnTo>
                    <a:pt x="425" y="157"/>
                  </a:lnTo>
                  <a:lnTo>
                    <a:pt x="426" y="157"/>
                  </a:lnTo>
                  <a:lnTo>
                    <a:pt x="427" y="158"/>
                  </a:lnTo>
                  <a:lnTo>
                    <a:pt x="427" y="159"/>
                  </a:lnTo>
                  <a:lnTo>
                    <a:pt x="429" y="160"/>
                  </a:lnTo>
                  <a:lnTo>
                    <a:pt x="431" y="160"/>
                  </a:lnTo>
                  <a:lnTo>
                    <a:pt x="429" y="159"/>
                  </a:lnTo>
                  <a:lnTo>
                    <a:pt x="428" y="158"/>
                  </a:lnTo>
                  <a:lnTo>
                    <a:pt x="431" y="157"/>
                  </a:lnTo>
                  <a:lnTo>
                    <a:pt x="433" y="158"/>
                  </a:lnTo>
                  <a:lnTo>
                    <a:pt x="433" y="159"/>
                  </a:lnTo>
                  <a:lnTo>
                    <a:pt x="436" y="159"/>
                  </a:lnTo>
                  <a:lnTo>
                    <a:pt x="437" y="160"/>
                  </a:lnTo>
                  <a:lnTo>
                    <a:pt x="438" y="159"/>
                  </a:lnTo>
                  <a:lnTo>
                    <a:pt x="440" y="158"/>
                  </a:lnTo>
                  <a:lnTo>
                    <a:pt x="443" y="157"/>
                  </a:lnTo>
                  <a:lnTo>
                    <a:pt x="444" y="158"/>
                  </a:lnTo>
                  <a:lnTo>
                    <a:pt x="444" y="160"/>
                  </a:lnTo>
                  <a:lnTo>
                    <a:pt x="445" y="160"/>
                  </a:lnTo>
                  <a:lnTo>
                    <a:pt x="445" y="159"/>
                  </a:lnTo>
                  <a:lnTo>
                    <a:pt x="445" y="158"/>
                  </a:lnTo>
                  <a:lnTo>
                    <a:pt x="446" y="158"/>
                  </a:lnTo>
                  <a:lnTo>
                    <a:pt x="448" y="158"/>
                  </a:lnTo>
                  <a:lnTo>
                    <a:pt x="449" y="158"/>
                  </a:lnTo>
                  <a:lnTo>
                    <a:pt x="450" y="158"/>
                  </a:lnTo>
                  <a:lnTo>
                    <a:pt x="450" y="159"/>
                  </a:lnTo>
                  <a:lnTo>
                    <a:pt x="451" y="158"/>
                  </a:lnTo>
                  <a:lnTo>
                    <a:pt x="449" y="154"/>
                  </a:lnTo>
                  <a:lnTo>
                    <a:pt x="446" y="154"/>
                  </a:lnTo>
                  <a:lnTo>
                    <a:pt x="444" y="156"/>
                  </a:lnTo>
                  <a:lnTo>
                    <a:pt x="444" y="154"/>
                  </a:lnTo>
                  <a:lnTo>
                    <a:pt x="443" y="154"/>
                  </a:lnTo>
                  <a:lnTo>
                    <a:pt x="443" y="153"/>
                  </a:lnTo>
                  <a:lnTo>
                    <a:pt x="445" y="152"/>
                  </a:lnTo>
                  <a:lnTo>
                    <a:pt x="449" y="153"/>
                  </a:lnTo>
                  <a:lnTo>
                    <a:pt x="451" y="152"/>
                  </a:lnTo>
                  <a:lnTo>
                    <a:pt x="450" y="154"/>
                  </a:lnTo>
                  <a:lnTo>
                    <a:pt x="451" y="157"/>
                  </a:lnTo>
                  <a:lnTo>
                    <a:pt x="452" y="157"/>
                  </a:lnTo>
                  <a:lnTo>
                    <a:pt x="454" y="157"/>
                  </a:lnTo>
                  <a:lnTo>
                    <a:pt x="454" y="156"/>
                  </a:lnTo>
                  <a:lnTo>
                    <a:pt x="455" y="154"/>
                  </a:lnTo>
                  <a:lnTo>
                    <a:pt x="456" y="154"/>
                  </a:lnTo>
                  <a:lnTo>
                    <a:pt x="456" y="153"/>
                  </a:lnTo>
                  <a:lnTo>
                    <a:pt x="457" y="153"/>
                  </a:lnTo>
                  <a:lnTo>
                    <a:pt x="457" y="154"/>
                  </a:lnTo>
                  <a:lnTo>
                    <a:pt x="458" y="156"/>
                  </a:lnTo>
                  <a:lnTo>
                    <a:pt x="457" y="157"/>
                  </a:lnTo>
                  <a:lnTo>
                    <a:pt x="457" y="159"/>
                  </a:lnTo>
                  <a:lnTo>
                    <a:pt x="458" y="159"/>
                  </a:lnTo>
                  <a:lnTo>
                    <a:pt x="460" y="158"/>
                  </a:lnTo>
                  <a:lnTo>
                    <a:pt x="462" y="157"/>
                  </a:lnTo>
                  <a:lnTo>
                    <a:pt x="463" y="156"/>
                  </a:lnTo>
                  <a:lnTo>
                    <a:pt x="466" y="154"/>
                  </a:lnTo>
                  <a:lnTo>
                    <a:pt x="462" y="159"/>
                  </a:lnTo>
                  <a:lnTo>
                    <a:pt x="460" y="162"/>
                  </a:lnTo>
                  <a:lnTo>
                    <a:pt x="460" y="168"/>
                  </a:lnTo>
                  <a:lnTo>
                    <a:pt x="461" y="164"/>
                  </a:lnTo>
                  <a:lnTo>
                    <a:pt x="463" y="163"/>
                  </a:lnTo>
                  <a:lnTo>
                    <a:pt x="463" y="162"/>
                  </a:lnTo>
                  <a:lnTo>
                    <a:pt x="464" y="159"/>
                  </a:lnTo>
                  <a:lnTo>
                    <a:pt x="466" y="160"/>
                  </a:lnTo>
                  <a:lnTo>
                    <a:pt x="467" y="162"/>
                  </a:lnTo>
                  <a:lnTo>
                    <a:pt x="468" y="163"/>
                  </a:lnTo>
                  <a:lnTo>
                    <a:pt x="468" y="164"/>
                  </a:lnTo>
                  <a:lnTo>
                    <a:pt x="468" y="165"/>
                  </a:lnTo>
                  <a:lnTo>
                    <a:pt x="466" y="166"/>
                  </a:lnTo>
                  <a:lnTo>
                    <a:pt x="466" y="169"/>
                  </a:lnTo>
                  <a:lnTo>
                    <a:pt x="468" y="168"/>
                  </a:lnTo>
                  <a:lnTo>
                    <a:pt x="469" y="166"/>
                  </a:lnTo>
                  <a:lnTo>
                    <a:pt x="473" y="168"/>
                  </a:lnTo>
                  <a:lnTo>
                    <a:pt x="474" y="168"/>
                  </a:lnTo>
                  <a:lnTo>
                    <a:pt x="476" y="166"/>
                  </a:lnTo>
                  <a:lnTo>
                    <a:pt x="476" y="168"/>
                  </a:lnTo>
                  <a:lnTo>
                    <a:pt x="478" y="168"/>
                  </a:lnTo>
                  <a:lnTo>
                    <a:pt x="475" y="170"/>
                  </a:lnTo>
                  <a:lnTo>
                    <a:pt x="472" y="170"/>
                  </a:lnTo>
                  <a:lnTo>
                    <a:pt x="469" y="170"/>
                  </a:lnTo>
                  <a:lnTo>
                    <a:pt x="467" y="170"/>
                  </a:lnTo>
                  <a:lnTo>
                    <a:pt x="467" y="172"/>
                  </a:lnTo>
                  <a:lnTo>
                    <a:pt x="468" y="171"/>
                  </a:lnTo>
                  <a:lnTo>
                    <a:pt x="470" y="171"/>
                  </a:lnTo>
                  <a:lnTo>
                    <a:pt x="472" y="172"/>
                  </a:lnTo>
                  <a:lnTo>
                    <a:pt x="473" y="171"/>
                  </a:lnTo>
                  <a:lnTo>
                    <a:pt x="474" y="171"/>
                  </a:lnTo>
                  <a:lnTo>
                    <a:pt x="475" y="172"/>
                  </a:lnTo>
                  <a:lnTo>
                    <a:pt x="476" y="172"/>
                  </a:lnTo>
                  <a:lnTo>
                    <a:pt x="478" y="174"/>
                  </a:lnTo>
                  <a:lnTo>
                    <a:pt x="478" y="171"/>
                  </a:lnTo>
                  <a:lnTo>
                    <a:pt x="478" y="169"/>
                  </a:lnTo>
                  <a:lnTo>
                    <a:pt x="480" y="166"/>
                  </a:lnTo>
                  <a:lnTo>
                    <a:pt x="481" y="165"/>
                  </a:lnTo>
                  <a:lnTo>
                    <a:pt x="479" y="165"/>
                  </a:lnTo>
                  <a:lnTo>
                    <a:pt x="479" y="164"/>
                  </a:lnTo>
                  <a:lnTo>
                    <a:pt x="480" y="160"/>
                  </a:lnTo>
                  <a:lnTo>
                    <a:pt x="482" y="160"/>
                  </a:lnTo>
                  <a:lnTo>
                    <a:pt x="484" y="158"/>
                  </a:lnTo>
                  <a:lnTo>
                    <a:pt x="484" y="160"/>
                  </a:lnTo>
                  <a:lnTo>
                    <a:pt x="484" y="162"/>
                  </a:lnTo>
                  <a:lnTo>
                    <a:pt x="485" y="163"/>
                  </a:lnTo>
                  <a:lnTo>
                    <a:pt x="485" y="165"/>
                  </a:lnTo>
                  <a:lnTo>
                    <a:pt x="486" y="168"/>
                  </a:lnTo>
                  <a:lnTo>
                    <a:pt x="487" y="169"/>
                  </a:lnTo>
                  <a:lnTo>
                    <a:pt x="488" y="169"/>
                  </a:lnTo>
                  <a:lnTo>
                    <a:pt x="487" y="170"/>
                  </a:lnTo>
                  <a:lnTo>
                    <a:pt x="488" y="171"/>
                  </a:lnTo>
                  <a:lnTo>
                    <a:pt x="491" y="171"/>
                  </a:lnTo>
                  <a:lnTo>
                    <a:pt x="492" y="171"/>
                  </a:lnTo>
                  <a:lnTo>
                    <a:pt x="493" y="170"/>
                  </a:lnTo>
                  <a:lnTo>
                    <a:pt x="497" y="170"/>
                  </a:lnTo>
                  <a:lnTo>
                    <a:pt x="495" y="171"/>
                  </a:lnTo>
                  <a:lnTo>
                    <a:pt x="493" y="172"/>
                  </a:lnTo>
                  <a:lnTo>
                    <a:pt x="495" y="172"/>
                  </a:lnTo>
                  <a:lnTo>
                    <a:pt x="496" y="174"/>
                  </a:lnTo>
                  <a:lnTo>
                    <a:pt x="498" y="175"/>
                  </a:lnTo>
                  <a:lnTo>
                    <a:pt x="497" y="176"/>
                  </a:lnTo>
                  <a:lnTo>
                    <a:pt x="496" y="178"/>
                  </a:lnTo>
                  <a:lnTo>
                    <a:pt x="496" y="180"/>
                  </a:lnTo>
                  <a:lnTo>
                    <a:pt x="493" y="177"/>
                  </a:lnTo>
                  <a:lnTo>
                    <a:pt x="491" y="178"/>
                  </a:lnTo>
                  <a:lnTo>
                    <a:pt x="490" y="181"/>
                  </a:lnTo>
                  <a:lnTo>
                    <a:pt x="491" y="181"/>
                  </a:lnTo>
                  <a:lnTo>
                    <a:pt x="491" y="182"/>
                  </a:lnTo>
                  <a:lnTo>
                    <a:pt x="488" y="184"/>
                  </a:lnTo>
                  <a:lnTo>
                    <a:pt x="487" y="186"/>
                  </a:lnTo>
                  <a:lnTo>
                    <a:pt x="487" y="188"/>
                  </a:lnTo>
                  <a:lnTo>
                    <a:pt x="488" y="190"/>
                  </a:lnTo>
                  <a:lnTo>
                    <a:pt x="491" y="190"/>
                  </a:lnTo>
                  <a:lnTo>
                    <a:pt x="493" y="189"/>
                  </a:lnTo>
                  <a:lnTo>
                    <a:pt x="496" y="188"/>
                  </a:lnTo>
                  <a:lnTo>
                    <a:pt x="498" y="187"/>
                  </a:lnTo>
                  <a:lnTo>
                    <a:pt x="495" y="189"/>
                  </a:lnTo>
                  <a:lnTo>
                    <a:pt x="492" y="192"/>
                  </a:lnTo>
                  <a:lnTo>
                    <a:pt x="493" y="192"/>
                  </a:lnTo>
                  <a:lnTo>
                    <a:pt x="495" y="193"/>
                  </a:lnTo>
                  <a:lnTo>
                    <a:pt x="498" y="193"/>
                  </a:lnTo>
                  <a:lnTo>
                    <a:pt x="502" y="193"/>
                  </a:lnTo>
                  <a:lnTo>
                    <a:pt x="502" y="192"/>
                  </a:lnTo>
                  <a:lnTo>
                    <a:pt x="503" y="190"/>
                  </a:lnTo>
                  <a:lnTo>
                    <a:pt x="504" y="189"/>
                  </a:lnTo>
                  <a:lnTo>
                    <a:pt x="507" y="187"/>
                  </a:lnTo>
                  <a:lnTo>
                    <a:pt x="509" y="187"/>
                  </a:lnTo>
                  <a:lnTo>
                    <a:pt x="511" y="187"/>
                  </a:lnTo>
                  <a:lnTo>
                    <a:pt x="510" y="188"/>
                  </a:lnTo>
                  <a:lnTo>
                    <a:pt x="507" y="190"/>
                  </a:lnTo>
                  <a:lnTo>
                    <a:pt x="508" y="193"/>
                  </a:lnTo>
                  <a:lnTo>
                    <a:pt x="509" y="194"/>
                  </a:lnTo>
                  <a:lnTo>
                    <a:pt x="510" y="196"/>
                  </a:lnTo>
                  <a:lnTo>
                    <a:pt x="509" y="198"/>
                  </a:lnTo>
                  <a:lnTo>
                    <a:pt x="511" y="199"/>
                  </a:lnTo>
                  <a:lnTo>
                    <a:pt x="511" y="201"/>
                  </a:lnTo>
                  <a:lnTo>
                    <a:pt x="510" y="201"/>
                  </a:lnTo>
                  <a:lnTo>
                    <a:pt x="509" y="205"/>
                  </a:lnTo>
                  <a:lnTo>
                    <a:pt x="509" y="206"/>
                  </a:lnTo>
                  <a:lnTo>
                    <a:pt x="511" y="206"/>
                  </a:lnTo>
                  <a:lnTo>
                    <a:pt x="513" y="205"/>
                  </a:lnTo>
                  <a:lnTo>
                    <a:pt x="515" y="204"/>
                  </a:lnTo>
                  <a:lnTo>
                    <a:pt x="513" y="204"/>
                  </a:lnTo>
                  <a:lnTo>
                    <a:pt x="513" y="201"/>
                  </a:lnTo>
                  <a:lnTo>
                    <a:pt x="516" y="200"/>
                  </a:lnTo>
                  <a:lnTo>
                    <a:pt x="517" y="200"/>
                  </a:lnTo>
                  <a:lnTo>
                    <a:pt x="519" y="199"/>
                  </a:lnTo>
                  <a:lnTo>
                    <a:pt x="519" y="195"/>
                  </a:lnTo>
                  <a:lnTo>
                    <a:pt x="521" y="193"/>
                  </a:lnTo>
                  <a:lnTo>
                    <a:pt x="520" y="198"/>
                  </a:lnTo>
                  <a:lnTo>
                    <a:pt x="521" y="199"/>
                  </a:lnTo>
                  <a:lnTo>
                    <a:pt x="522" y="199"/>
                  </a:lnTo>
                  <a:lnTo>
                    <a:pt x="521" y="200"/>
                  </a:lnTo>
                  <a:lnTo>
                    <a:pt x="520" y="204"/>
                  </a:lnTo>
                  <a:lnTo>
                    <a:pt x="521" y="205"/>
                  </a:lnTo>
                  <a:lnTo>
                    <a:pt x="520" y="207"/>
                  </a:lnTo>
                  <a:lnTo>
                    <a:pt x="522" y="210"/>
                  </a:lnTo>
                  <a:lnTo>
                    <a:pt x="520" y="212"/>
                  </a:lnTo>
                  <a:lnTo>
                    <a:pt x="517" y="212"/>
                  </a:lnTo>
                  <a:lnTo>
                    <a:pt x="514" y="212"/>
                  </a:lnTo>
                  <a:lnTo>
                    <a:pt x="511" y="211"/>
                  </a:lnTo>
                  <a:lnTo>
                    <a:pt x="508" y="213"/>
                  </a:lnTo>
                  <a:lnTo>
                    <a:pt x="507" y="214"/>
                  </a:lnTo>
                  <a:lnTo>
                    <a:pt x="508" y="214"/>
                  </a:lnTo>
                  <a:lnTo>
                    <a:pt x="511" y="214"/>
                  </a:lnTo>
                  <a:lnTo>
                    <a:pt x="511" y="217"/>
                  </a:lnTo>
                  <a:lnTo>
                    <a:pt x="514" y="217"/>
                  </a:lnTo>
                  <a:lnTo>
                    <a:pt x="514" y="218"/>
                  </a:lnTo>
                  <a:lnTo>
                    <a:pt x="516" y="218"/>
                  </a:lnTo>
                  <a:lnTo>
                    <a:pt x="519" y="219"/>
                  </a:lnTo>
                  <a:lnTo>
                    <a:pt x="521" y="219"/>
                  </a:lnTo>
                  <a:lnTo>
                    <a:pt x="522" y="218"/>
                  </a:lnTo>
                  <a:lnTo>
                    <a:pt x="522" y="220"/>
                  </a:lnTo>
                  <a:lnTo>
                    <a:pt x="523" y="222"/>
                  </a:lnTo>
                  <a:lnTo>
                    <a:pt x="521" y="222"/>
                  </a:lnTo>
                  <a:lnTo>
                    <a:pt x="520" y="223"/>
                  </a:lnTo>
                  <a:lnTo>
                    <a:pt x="522" y="225"/>
                  </a:lnTo>
                  <a:lnTo>
                    <a:pt x="521" y="225"/>
                  </a:lnTo>
                  <a:lnTo>
                    <a:pt x="520" y="228"/>
                  </a:lnTo>
                  <a:lnTo>
                    <a:pt x="519" y="228"/>
                  </a:lnTo>
                  <a:lnTo>
                    <a:pt x="517" y="228"/>
                  </a:lnTo>
                  <a:lnTo>
                    <a:pt x="519" y="230"/>
                  </a:lnTo>
                  <a:lnTo>
                    <a:pt x="517" y="229"/>
                  </a:lnTo>
                  <a:lnTo>
                    <a:pt x="516" y="231"/>
                  </a:lnTo>
                  <a:lnTo>
                    <a:pt x="515" y="231"/>
                  </a:lnTo>
                  <a:lnTo>
                    <a:pt x="514" y="231"/>
                  </a:lnTo>
                  <a:lnTo>
                    <a:pt x="514" y="232"/>
                  </a:lnTo>
                  <a:lnTo>
                    <a:pt x="511" y="232"/>
                  </a:lnTo>
                  <a:lnTo>
                    <a:pt x="510" y="231"/>
                  </a:lnTo>
                  <a:lnTo>
                    <a:pt x="510" y="232"/>
                  </a:lnTo>
                  <a:lnTo>
                    <a:pt x="509" y="230"/>
                  </a:lnTo>
                  <a:lnTo>
                    <a:pt x="508" y="231"/>
                  </a:lnTo>
                  <a:lnTo>
                    <a:pt x="509" y="232"/>
                  </a:lnTo>
                  <a:lnTo>
                    <a:pt x="510" y="234"/>
                  </a:lnTo>
                  <a:lnTo>
                    <a:pt x="513" y="235"/>
                  </a:lnTo>
                  <a:lnTo>
                    <a:pt x="514" y="238"/>
                  </a:lnTo>
                  <a:lnTo>
                    <a:pt x="514" y="241"/>
                  </a:lnTo>
                  <a:lnTo>
                    <a:pt x="513" y="237"/>
                  </a:lnTo>
                  <a:lnTo>
                    <a:pt x="510" y="236"/>
                  </a:lnTo>
                  <a:lnTo>
                    <a:pt x="509" y="237"/>
                  </a:lnTo>
                  <a:lnTo>
                    <a:pt x="508" y="236"/>
                  </a:lnTo>
                  <a:lnTo>
                    <a:pt x="507" y="237"/>
                  </a:lnTo>
                  <a:lnTo>
                    <a:pt x="508" y="235"/>
                  </a:lnTo>
                  <a:lnTo>
                    <a:pt x="507" y="234"/>
                  </a:lnTo>
                  <a:lnTo>
                    <a:pt x="505" y="235"/>
                  </a:lnTo>
                  <a:lnTo>
                    <a:pt x="504" y="237"/>
                  </a:lnTo>
                  <a:lnTo>
                    <a:pt x="503" y="236"/>
                  </a:lnTo>
                  <a:lnTo>
                    <a:pt x="502" y="237"/>
                  </a:lnTo>
                  <a:lnTo>
                    <a:pt x="501" y="238"/>
                  </a:lnTo>
                  <a:lnTo>
                    <a:pt x="499" y="235"/>
                  </a:lnTo>
                  <a:lnTo>
                    <a:pt x="499" y="232"/>
                  </a:lnTo>
                  <a:lnTo>
                    <a:pt x="498" y="232"/>
                  </a:lnTo>
                  <a:lnTo>
                    <a:pt x="497" y="231"/>
                  </a:lnTo>
                  <a:lnTo>
                    <a:pt x="498" y="228"/>
                  </a:lnTo>
                  <a:lnTo>
                    <a:pt x="498" y="225"/>
                  </a:lnTo>
                  <a:lnTo>
                    <a:pt x="496" y="226"/>
                  </a:lnTo>
                  <a:lnTo>
                    <a:pt x="492" y="229"/>
                  </a:lnTo>
                  <a:lnTo>
                    <a:pt x="488" y="232"/>
                  </a:lnTo>
                  <a:lnTo>
                    <a:pt x="488" y="234"/>
                  </a:lnTo>
                  <a:lnTo>
                    <a:pt x="490" y="234"/>
                  </a:lnTo>
                  <a:lnTo>
                    <a:pt x="490" y="235"/>
                  </a:lnTo>
                  <a:lnTo>
                    <a:pt x="488" y="236"/>
                  </a:lnTo>
                  <a:lnTo>
                    <a:pt x="491" y="240"/>
                  </a:lnTo>
                  <a:lnTo>
                    <a:pt x="492" y="241"/>
                  </a:lnTo>
                  <a:lnTo>
                    <a:pt x="498" y="246"/>
                  </a:lnTo>
                  <a:lnTo>
                    <a:pt x="499" y="243"/>
                  </a:lnTo>
                  <a:lnTo>
                    <a:pt x="501" y="241"/>
                  </a:lnTo>
                  <a:lnTo>
                    <a:pt x="503" y="242"/>
                  </a:lnTo>
                  <a:lnTo>
                    <a:pt x="502" y="243"/>
                  </a:lnTo>
                  <a:lnTo>
                    <a:pt x="507" y="245"/>
                  </a:lnTo>
                  <a:lnTo>
                    <a:pt x="505" y="248"/>
                  </a:lnTo>
                  <a:lnTo>
                    <a:pt x="507" y="252"/>
                  </a:lnTo>
                  <a:lnTo>
                    <a:pt x="511" y="251"/>
                  </a:lnTo>
                  <a:lnTo>
                    <a:pt x="511" y="249"/>
                  </a:lnTo>
                  <a:lnTo>
                    <a:pt x="510" y="249"/>
                  </a:lnTo>
                  <a:lnTo>
                    <a:pt x="513" y="246"/>
                  </a:lnTo>
                  <a:lnTo>
                    <a:pt x="515" y="246"/>
                  </a:lnTo>
                  <a:lnTo>
                    <a:pt x="517" y="243"/>
                  </a:lnTo>
                  <a:lnTo>
                    <a:pt x="519" y="245"/>
                  </a:lnTo>
                  <a:lnTo>
                    <a:pt x="517" y="247"/>
                  </a:lnTo>
                  <a:lnTo>
                    <a:pt x="515" y="249"/>
                  </a:lnTo>
                  <a:lnTo>
                    <a:pt x="513" y="251"/>
                  </a:lnTo>
                  <a:lnTo>
                    <a:pt x="513" y="252"/>
                  </a:lnTo>
                  <a:lnTo>
                    <a:pt x="507" y="252"/>
                  </a:lnTo>
                  <a:lnTo>
                    <a:pt x="507" y="254"/>
                  </a:lnTo>
                  <a:lnTo>
                    <a:pt x="505" y="254"/>
                  </a:lnTo>
                  <a:lnTo>
                    <a:pt x="504" y="255"/>
                  </a:lnTo>
                  <a:lnTo>
                    <a:pt x="507" y="257"/>
                  </a:lnTo>
                  <a:lnTo>
                    <a:pt x="505" y="259"/>
                  </a:lnTo>
                  <a:lnTo>
                    <a:pt x="504" y="260"/>
                  </a:lnTo>
                  <a:lnTo>
                    <a:pt x="503" y="258"/>
                  </a:lnTo>
                  <a:lnTo>
                    <a:pt x="503" y="255"/>
                  </a:lnTo>
                  <a:lnTo>
                    <a:pt x="503" y="253"/>
                  </a:lnTo>
                  <a:lnTo>
                    <a:pt x="502" y="254"/>
                  </a:lnTo>
                  <a:lnTo>
                    <a:pt x="501" y="257"/>
                  </a:lnTo>
                  <a:lnTo>
                    <a:pt x="498" y="258"/>
                  </a:lnTo>
                  <a:lnTo>
                    <a:pt x="497" y="257"/>
                  </a:lnTo>
                  <a:lnTo>
                    <a:pt x="497" y="253"/>
                  </a:lnTo>
                  <a:lnTo>
                    <a:pt x="496" y="255"/>
                  </a:lnTo>
                  <a:lnTo>
                    <a:pt x="495" y="258"/>
                  </a:lnTo>
                  <a:lnTo>
                    <a:pt x="492" y="259"/>
                  </a:lnTo>
                  <a:lnTo>
                    <a:pt x="492" y="258"/>
                  </a:lnTo>
                  <a:lnTo>
                    <a:pt x="491" y="255"/>
                  </a:lnTo>
                  <a:lnTo>
                    <a:pt x="492" y="253"/>
                  </a:lnTo>
                  <a:lnTo>
                    <a:pt x="491" y="252"/>
                  </a:lnTo>
                  <a:lnTo>
                    <a:pt x="490" y="253"/>
                  </a:lnTo>
                  <a:lnTo>
                    <a:pt x="487" y="253"/>
                  </a:lnTo>
                  <a:lnTo>
                    <a:pt x="487" y="251"/>
                  </a:lnTo>
                  <a:lnTo>
                    <a:pt x="487" y="248"/>
                  </a:lnTo>
                  <a:lnTo>
                    <a:pt x="486" y="248"/>
                  </a:lnTo>
                  <a:lnTo>
                    <a:pt x="487" y="246"/>
                  </a:lnTo>
                  <a:lnTo>
                    <a:pt x="486" y="243"/>
                  </a:lnTo>
                  <a:lnTo>
                    <a:pt x="485" y="243"/>
                  </a:lnTo>
                  <a:lnTo>
                    <a:pt x="484" y="246"/>
                  </a:lnTo>
                  <a:lnTo>
                    <a:pt x="482" y="245"/>
                  </a:lnTo>
                  <a:lnTo>
                    <a:pt x="484" y="242"/>
                  </a:lnTo>
                  <a:lnTo>
                    <a:pt x="481" y="242"/>
                  </a:lnTo>
                  <a:lnTo>
                    <a:pt x="481" y="245"/>
                  </a:lnTo>
                  <a:lnTo>
                    <a:pt x="481" y="247"/>
                  </a:lnTo>
                  <a:lnTo>
                    <a:pt x="481" y="248"/>
                  </a:lnTo>
                  <a:lnTo>
                    <a:pt x="481" y="251"/>
                  </a:lnTo>
                  <a:lnTo>
                    <a:pt x="481" y="252"/>
                  </a:lnTo>
                  <a:lnTo>
                    <a:pt x="482" y="252"/>
                  </a:lnTo>
                  <a:lnTo>
                    <a:pt x="482" y="255"/>
                  </a:lnTo>
                  <a:lnTo>
                    <a:pt x="481" y="258"/>
                  </a:lnTo>
                  <a:lnTo>
                    <a:pt x="484" y="259"/>
                  </a:lnTo>
                  <a:lnTo>
                    <a:pt x="482" y="260"/>
                  </a:lnTo>
                  <a:lnTo>
                    <a:pt x="485" y="261"/>
                  </a:lnTo>
                  <a:lnTo>
                    <a:pt x="486" y="261"/>
                  </a:lnTo>
                  <a:lnTo>
                    <a:pt x="487" y="259"/>
                  </a:lnTo>
                  <a:lnTo>
                    <a:pt x="490" y="259"/>
                  </a:lnTo>
                  <a:lnTo>
                    <a:pt x="491" y="261"/>
                  </a:lnTo>
                  <a:lnTo>
                    <a:pt x="493" y="263"/>
                  </a:lnTo>
                  <a:lnTo>
                    <a:pt x="492" y="264"/>
                  </a:lnTo>
                  <a:lnTo>
                    <a:pt x="495" y="265"/>
                  </a:lnTo>
                  <a:lnTo>
                    <a:pt x="492" y="266"/>
                  </a:lnTo>
                  <a:lnTo>
                    <a:pt x="487" y="265"/>
                  </a:lnTo>
                  <a:lnTo>
                    <a:pt x="485" y="265"/>
                  </a:lnTo>
                  <a:lnTo>
                    <a:pt x="481" y="264"/>
                  </a:lnTo>
                  <a:lnTo>
                    <a:pt x="479" y="265"/>
                  </a:lnTo>
                  <a:lnTo>
                    <a:pt x="475" y="267"/>
                  </a:lnTo>
                  <a:lnTo>
                    <a:pt x="475" y="265"/>
                  </a:lnTo>
                  <a:lnTo>
                    <a:pt x="473" y="267"/>
                  </a:lnTo>
                  <a:lnTo>
                    <a:pt x="473" y="264"/>
                  </a:lnTo>
                  <a:lnTo>
                    <a:pt x="469" y="263"/>
                  </a:lnTo>
                  <a:lnTo>
                    <a:pt x="469" y="265"/>
                  </a:lnTo>
                  <a:lnTo>
                    <a:pt x="470" y="266"/>
                  </a:lnTo>
                  <a:lnTo>
                    <a:pt x="469" y="266"/>
                  </a:lnTo>
                  <a:lnTo>
                    <a:pt x="468" y="269"/>
                  </a:lnTo>
                  <a:lnTo>
                    <a:pt x="469" y="270"/>
                  </a:lnTo>
                  <a:lnTo>
                    <a:pt x="468" y="270"/>
                  </a:lnTo>
                  <a:lnTo>
                    <a:pt x="468" y="272"/>
                  </a:lnTo>
                  <a:lnTo>
                    <a:pt x="467" y="270"/>
                  </a:lnTo>
                  <a:lnTo>
                    <a:pt x="466" y="267"/>
                  </a:lnTo>
                  <a:lnTo>
                    <a:pt x="466" y="269"/>
                  </a:lnTo>
                  <a:lnTo>
                    <a:pt x="466" y="266"/>
                  </a:lnTo>
                  <a:lnTo>
                    <a:pt x="464" y="267"/>
                  </a:lnTo>
                  <a:lnTo>
                    <a:pt x="463" y="269"/>
                  </a:lnTo>
                  <a:lnTo>
                    <a:pt x="463" y="267"/>
                  </a:lnTo>
                  <a:lnTo>
                    <a:pt x="462" y="267"/>
                  </a:lnTo>
                  <a:lnTo>
                    <a:pt x="461" y="266"/>
                  </a:lnTo>
                  <a:lnTo>
                    <a:pt x="460" y="266"/>
                  </a:lnTo>
                  <a:lnTo>
                    <a:pt x="460" y="265"/>
                  </a:lnTo>
                  <a:lnTo>
                    <a:pt x="457" y="265"/>
                  </a:lnTo>
                  <a:lnTo>
                    <a:pt x="456" y="266"/>
                  </a:lnTo>
                  <a:lnTo>
                    <a:pt x="455" y="269"/>
                  </a:lnTo>
                  <a:lnTo>
                    <a:pt x="454" y="270"/>
                  </a:lnTo>
                  <a:lnTo>
                    <a:pt x="452" y="272"/>
                  </a:lnTo>
                  <a:lnTo>
                    <a:pt x="452" y="269"/>
                  </a:lnTo>
                  <a:lnTo>
                    <a:pt x="450" y="269"/>
                  </a:lnTo>
                  <a:lnTo>
                    <a:pt x="448" y="269"/>
                  </a:lnTo>
                  <a:lnTo>
                    <a:pt x="448" y="270"/>
                  </a:lnTo>
                  <a:lnTo>
                    <a:pt x="446" y="269"/>
                  </a:lnTo>
                  <a:lnTo>
                    <a:pt x="444" y="269"/>
                  </a:lnTo>
                  <a:lnTo>
                    <a:pt x="442" y="270"/>
                  </a:lnTo>
                  <a:lnTo>
                    <a:pt x="442" y="273"/>
                  </a:lnTo>
                  <a:lnTo>
                    <a:pt x="440" y="272"/>
                  </a:lnTo>
                  <a:lnTo>
                    <a:pt x="439" y="271"/>
                  </a:lnTo>
                  <a:lnTo>
                    <a:pt x="439" y="272"/>
                  </a:lnTo>
                  <a:lnTo>
                    <a:pt x="438" y="273"/>
                  </a:lnTo>
                  <a:lnTo>
                    <a:pt x="439" y="275"/>
                  </a:lnTo>
                  <a:lnTo>
                    <a:pt x="440" y="275"/>
                  </a:lnTo>
                  <a:lnTo>
                    <a:pt x="439" y="277"/>
                  </a:lnTo>
                  <a:lnTo>
                    <a:pt x="439" y="278"/>
                  </a:lnTo>
                  <a:lnTo>
                    <a:pt x="440" y="278"/>
                  </a:lnTo>
                  <a:lnTo>
                    <a:pt x="443" y="278"/>
                  </a:lnTo>
                  <a:lnTo>
                    <a:pt x="443" y="277"/>
                  </a:lnTo>
                  <a:lnTo>
                    <a:pt x="444" y="278"/>
                  </a:lnTo>
                  <a:lnTo>
                    <a:pt x="445" y="277"/>
                  </a:lnTo>
                  <a:lnTo>
                    <a:pt x="445" y="273"/>
                  </a:lnTo>
                  <a:lnTo>
                    <a:pt x="448" y="276"/>
                  </a:lnTo>
                  <a:lnTo>
                    <a:pt x="448" y="277"/>
                  </a:lnTo>
                  <a:lnTo>
                    <a:pt x="450" y="277"/>
                  </a:lnTo>
                  <a:lnTo>
                    <a:pt x="451" y="279"/>
                  </a:lnTo>
                  <a:lnTo>
                    <a:pt x="450" y="279"/>
                  </a:lnTo>
                  <a:lnTo>
                    <a:pt x="449" y="281"/>
                  </a:lnTo>
                  <a:lnTo>
                    <a:pt x="450" y="282"/>
                  </a:lnTo>
                  <a:lnTo>
                    <a:pt x="449" y="282"/>
                  </a:lnTo>
                  <a:lnTo>
                    <a:pt x="448" y="283"/>
                  </a:lnTo>
                  <a:lnTo>
                    <a:pt x="450" y="284"/>
                  </a:lnTo>
                  <a:lnTo>
                    <a:pt x="451" y="283"/>
                  </a:lnTo>
                  <a:lnTo>
                    <a:pt x="451" y="282"/>
                  </a:lnTo>
                  <a:lnTo>
                    <a:pt x="452" y="284"/>
                  </a:lnTo>
                  <a:lnTo>
                    <a:pt x="451" y="287"/>
                  </a:lnTo>
                  <a:lnTo>
                    <a:pt x="450" y="287"/>
                  </a:lnTo>
                  <a:lnTo>
                    <a:pt x="450" y="288"/>
                  </a:lnTo>
                  <a:lnTo>
                    <a:pt x="452" y="288"/>
                  </a:lnTo>
                  <a:lnTo>
                    <a:pt x="454" y="289"/>
                  </a:lnTo>
                  <a:lnTo>
                    <a:pt x="455" y="289"/>
                  </a:lnTo>
                  <a:lnTo>
                    <a:pt x="456" y="290"/>
                  </a:lnTo>
                  <a:lnTo>
                    <a:pt x="456" y="294"/>
                  </a:lnTo>
                  <a:lnTo>
                    <a:pt x="457" y="295"/>
                  </a:lnTo>
                  <a:lnTo>
                    <a:pt x="458" y="295"/>
                  </a:lnTo>
                  <a:lnTo>
                    <a:pt x="461" y="295"/>
                  </a:lnTo>
                  <a:lnTo>
                    <a:pt x="462" y="295"/>
                  </a:lnTo>
                  <a:lnTo>
                    <a:pt x="462" y="293"/>
                  </a:lnTo>
                  <a:lnTo>
                    <a:pt x="463" y="291"/>
                  </a:lnTo>
                  <a:lnTo>
                    <a:pt x="464" y="290"/>
                  </a:lnTo>
                  <a:lnTo>
                    <a:pt x="467" y="290"/>
                  </a:lnTo>
                  <a:lnTo>
                    <a:pt x="466" y="293"/>
                  </a:lnTo>
                  <a:lnTo>
                    <a:pt x="466" y="294"/>
                  </a:lnTo>
                  <a:lnTo>
                    <a:pt x="467" y="294"/>
                  </a:lnTo>
                  <a:lnTo>
                    <a:pt x="466" y="296"/>
                  </a:lnTo>
                  <a:lnTo>
                    <a:pt x="467" y="299"/>
                  </a:lnTo>
                  <a:lnTo>
                    <a:pt x="468" y="300"/>
                  </a:lnTo>
                  <a:lnTo>
                    <a:pt x="468" y="301"/>
                  </a:lnTo>
                  <a:lnTo>
                    <a:pt x="468" y="300"/>
                  </a:lnTo>
                  <a:lnTo>
                    <a:pt x="469" y="301"/>
                  </a:lnTo>
                  <a:lnTo>
                    <a:pt x="469" y="305"/>
                  </a:lnTo>
                  <a:lnTo>
                    <a:pt x="469" y="307"/>
                  </a:lnTo>
                  <a:lnTo>
                    <a:pt x="472" y="307"/>
                  </a:lnTo>
                  <a:lnTo>
                    <a:pt x="473" y="306"/>
                  </a:lnTo>
                  <a:lnTo>
                    <a:pt x="474" y="306"/>
                  </a:lnTo>
                  <a:lnTo>
                    <a:pt x="475" y="307"/>
                  </a:lnTo>
                  <a:lnTo>
                    <a:pt x="478" y="307"/>
                  </a:lnTo>
                  <a:lnTo>
                    <a:pt x="476" y="307"/>
                  </a:lnTo>
                  <a:lnTo>
                    <a:pt x="478" y="306"/>
                  </a:lnTo>
                  <a:lnTo>
                    <a:pt x="479" y="305"/>
                  </a:lnTo>
                  <a:lnTo>
                    <a:pt x="480" y="305"/>
                  </a:lnTo>
                  <a:lnTo>
                    <a:pt x="481" y="307"/>
                  </a:lnTo>
                  <a:lnTo>
                    <a:pt x="480" y="308"/>
                  </a:lnTo>
                  <a:lnTo>
                    <a:pt x="482" y="309"/>
                  </a:lnTo>
                  <a:lnTo>
                    <a:pt x="486" y="312"/>
                  </a:lnTo>
                  <a:lnTo>
                    <a:pt x="485" y="312"/>
                  </a:lnTo>
                  <a:lnTo>
                    <a:pt x="484" y="313"/>
                  </a:lnTo>
                  <a:lnTo>
                    <a:pt x="485" y="314"/>
                  </a:lnTo>
                  <a:lnTo>
                    <a:pt x="486" y="314"/>
                  </a:lnTo>
                  <a:lnTo>
                    <a:pt x="486" y="319"/>
                  </a:lnTo>
                  <a:lnTo>
                    <a:pt x="484" y="321"/>
                  </a:lnTo>
                  <a:lnTo>
                    <a:pt x="482" y="321"/>
                  </a:lnTo>
                  <a:lnTo>
                    <a:pt x="482" y="323"/>
                  </a:lnTo>
                  <a:lnTo>
                    <a:pt x="479" y="326"/>
                  </a:lnTo>
                  <a:lnTo>
                    <a:pt x="476" y="327"/>
                  </a:lnTo>
                  <a:lnTo>
                    <a:pt x="475" y="329"/>
                  </a:lnTo>
                  <a:lnTo>
                    <a:pt x="474" y="329"/>
                  </a:lnTo>
                  <a:lnTo>
                    <a:pt x="473" y="330"/>
                  </a:lnTo>
                  <a:lnTo>
                    <a:pt x="475" y="331"/>
                  </a:lnTo>
                  <a:lnTo>
                    <a:pt x="481" y="333"/>
                  </a:lnTo>
                  <a:lnTo>
                    <a:pt x="485" y="333"/>
                  </a:lnTo>
                  <a:lnTo>
                    <a:pt x="486" y="335"/>
                  </a:lnTo>
                  <a:lnTo>
                    <a:pt x="488" y="337"/>
                  </a:lnTo>
                  <a:lnTo>
                    <a:pt x="488" y="339"/>
                  </a:lnTo>
                  <a:lnTo>
                    <a:pt x="487" y="338"/>
                  </a:lnTo>
                  <a:lnTo>
                    <a:pt x="485" y="337"/>
                  </a:lnTo>
                  <a:lnTo>
                    <a:pt x="482" y="336"/>
                  </a:lnTo>
                  <a:lnTo>
                    <a:pt x="481" y="336"/>
                  </a:lnTo>
                  <a:lnTo>
                    <a:pt x="481" y="335"/>
                  </a:lnTo>
                  <a:lnTo>
                    <a:pt x="479" y="333"/>
                  </a:lnTo>
                  <a:lnTo>
                    <a:pt x="474" y="332"/>
                  </a:lnTo>
                  <a:lnTo>
                    <a:pt x="474" y="333"/>
                  </a:lnTo>
                  <a:lnTo>
                    <a:pt x="473" y="335"/>
                  </a:lnTo>
                  <a:lnTo>
                    <a:pt x="472" y="336"/>
                  </a:lnTo>
                  <a:lnTo>
                    <a:pt x="472" y="337"/>
                  </a:lnTo>
                  <a:lnTo>
                    <a:pt x="470" y="339"/>
                  </a:lnTo>
                  <a:lnTo>
                    <a:pt x="469" y="339"/>
                  </a:lnTo>
                  <a:lnTo>
                    <a:pt x="468" y="341"/>
                  </a:lnTo>
                  <a:lnTo>
                    <a:pt x="467" y="341"/>
                  </a:lnTo>
                  <a:lnTo>
                    <a:pt x="468" y="337"/>
                  </a:lnTo>
                  <a:lnTo>
                    <a:pt x="468" y="335"/>
                  </a:lnTo>
                  <a:lnTo>
                    <a:pt x="468" y="332"/>
                  </a:lnTo>
                  <a:lnTo>
                    <a:pt x="470" y="331"/>
                  </a:lnTo>
                  <a:lnTo>
                    <a:pt x="472" y="330"/>
                  </a:lnTo>
                  <a:lnTo>
                    <a:pt x="469" y="330"/>
                  </a:lnTo>
                  <a:lnTo>
                    <a:pt x="468" y="330"/>
                  </a:lnTo>
                  <a:lnTo>
                    <a:pt x="467" y="332"/>
                  </a:lnTo>
                  <a:lnTo>
                    <a:pt x="467" y="333"/>
                  </a:lnTo>
                  <a:lnTo>
                    <a:pt x="466" y="335"/>
                  </a:lnTo>
                  <a:lnTo>
                    <a:pt x="466" y="332"/>
                  </a:lnTo>
                  <a:lnTo>
                    <a:pt x="467" y="329"/>
                  </a:lnTo>
                  <a:lnTo>
                    <a:pt x="464" y="330"/>
                  </a:lnTo>
                  <a:lnTo>
                    <a:pt x="464" y="331"/>
                  </a:lnTo>
                  <a:lnTo>
                    <a:pt x="463" y="332"/>
                  </a:lnTo>
                  <a:lnTo>
                    <a:pt x="462" y="330"/>
                  </a:lnTo>
                  <a:lnTo>
                    <a:pt x="461" y="329"/>
                  </a:lnTo>
                  <a:lnTo>
                    <a:pt x="460" y="327"/>
                  </a:lnTo>
                  <a:lnTo>
                    <a:pt x="458" y="327"/>
                  </a:lnTo>
                  <a:lnTo>
                    <a:pt x="457" y="326"/>
                  </a:lnTo>
                  <a:lnTo>
                    <a:pt x="457" y="324"/>
                  </a:lnTo>
                  <a:lnTo>
                    <a:pt x="455" y="325"/>
                  </a:lnTo>
                  <a:lnTo>
                    <a:pt x="454" y="326"/>
                  </a:lnTo>
                  <a:lnTo>
                    <a:pt x="454" y="325"/>
                  </a:lnTo>
                  <a:lnTo>
                    <a:pt x="455" y="323"/>
                  </a:lnTo>
                  <a:lnTo>
                    <a:pt x="454" y="321"/>
                  </a:lnTo>
                  <a:lnTo>
                    <a:pt x="450" y="321"/>
                  </a:lnTo>
                  <a:lnTo>
                    <a:pt x="450" y="319"/>
                  </a:lnTo>
                  <a:lnTo>
                    <a:pt x="449" y="319"/>
                  </a:lnTo>
                  <a:lnTo>
                    <a:pt x="448" y="320"/>
                  </a:lnTo>
                  <a:lnTo>
                    <a:pt x="446" y="319"/>
                  </a:lnTo>
                  <a:lnTo>
                    <a:pt x="450" y="318"/>
                  </a:lnTo>
                  <a:lnTo>
                    <a:pt x="450" y="317"/>
                  </a:lnTo>
                  <a:lnTo>
                    <a:pt x="448" y="315"/>
                  </a:lnTo>
                  <a:lnTo>
                    <a:pt x="449" y="314"/>
                  </a:lnTo>
                  <a:lnTo>
                    <a:pt x="448" y="315"/>
                  </a:lnTo>
                  <a:lnTo>
                    <a:pt x="446" y="314"/>
                  </a:lnTo>
                  <a:lnTo>
                    <a:pt x="445" y="312"/>
                  </a:lnTo>
                  <a:lnTo>
                    <a:pt x="443" y="312"/>
                  </a:lnTo>
                  <a:lnTo>
                    <a:pt x="444" y="317"/>
                  </a:lnTo>
                  <a:lnTo>
                    <a:pt x="444" y="324"/>
                  </a:lnTo>
                  <a:lnTo>
                    <a:pt x="444" y="325"/>
                  </a:lnTo>
                  <a:lnTo>
                    <a:pt x="445" y="327"/>
                  </a:lnTo>
                  <a:lnTo>
                    <a:pt x="445" y="330"/>
                  </a:lnTo>
                  <a:lnTo>
                    <a:pt x="444" y="329"/>
                  </a:lnTo>
                  <a:lnTo>
                    <a:pt x="443" y="325"/>
                  </a:lnTo>
                  <a:lnTo>
                    <a:pt x="443" y="321"/>
                  </a:lnTo>
                  <a:lnTo>
                    <a:pt x="442" y="323"/>
                  </a:lnTo>
                  <a:lnTo>
                    <a:pt x="439" y="326"/>
                  </a:lnTo>
                  <a:lnTo>
                    <a:pt x="439" y="327"/>
                  </a:lnTo>
                  <a:lnTo>
                    <a:pt x="440" y="331"/>
                  </a:lnTo>
                  <a:lnTo>
                    <a:pt x="438" y="333"/>
                  </a:lnTo>
                  <a:lnTo>
                    <a:pt x="434" y="337"/>
                  </a:lnTo>
                  <a:lnTo>
                    <a:pt x="433" y="338"/>
                  </a:lnTo>
                  <a:lnTo>
                    <a:pt x="438" y="343"/>
                  </a:lnTo>
                  <a:lnTo>
                    <a:pt x="440" y="344"/>
                  </a:lnTo>
                  <a:lnTo>
                    <a:pt x="440" y="343"/>
                  </a:lnTo>
                  <a:lnTo>
                    <a:pt x="444" y="344"/>
                  </a:lnTo>
                  <a:lnTo>
                    <a:pt x="445" y="345"/>
                  </a:lnTo>
                  <a:lnTo>
                    <a:pt x="444" y="347"/>
                  </a:lnTo>
                  <a:lnTo>
                    <a:pt x="445" y="347"/>
                  </a:lnTo>
                  <a:lnTo>
                    <a:pt x="446" y="347"/>
                  </a:lnTo>
                  <a:lnTo>
                    <a:pt x="448" y="347"/>
                  </a:lnTo>
                  <a:lnTo>
                    <a:pt x="449" y="344"/>
                  </a:lnTo>
                  <a:lnTo>
                    <a:pt x="449" y="342"/>
                  </a:lnTo>
                  <a:lnTo>
                    <a:pt x="450" y="341"/>
                  </a:lnTo>
                  <a:lnTo>
                    <a:pt x="452" y="343"/>
                  </a:lnTo>
                  <a:lnTo>
                    <a:pt x="451" y="347"/>
                  </a:lnTo>
                  <a:lnTo>
                    <a:pt x="451" y="349"/>
                  </a:lnTo>
                  <a:lnTo>
                    <a:pt x="452" y="347"/>
                  </a:lnTo>
                  <a:lnTo>
                    <a:pt x="454" y="347"/>
                  </a:lnTo>
                  <a:lnTo>
                    <a:pt x="454" y="349"/>
                  </a:lnTo>
                  <a:lnTo>
                    <a:pt x="455" y="348"/>
                  </a:lnTo>
                  <a:lnTo>
                    <a:pt x="456" y="348"/>
                  </a:lnTo>
                  <a:lnTo>
                    <a:pt x="456" y="350"/>
                  </a:lnTo>
                  <a:lnTo>
                    <a:pt x="452" y="350"/>
                  </a:lnTo>
                  <a:lnTo>
                    <a:pt x="452" y="352"/>
                  </a:lnTo>
                  <a:lnTo>
                    <a:pt x="454" y="353"/>
                  </a:lnTo>
                  <a:lnTo>
                    <a:pt x="455" y="354"/>
                  </a:lnTo>
                  <a:lnTo>
                    <a:pt x="456" y="356"/>
                  </a:lnTo>
                  <a:lnTo>
                    <a:pt x="455" y="359"/>
                  </a:lnTo>
                  <a:lnTo>
                    <a:pt x="454" y="358"/>
                  </a:lnTo>
                  <a:lnTo>
                    <a:pt x="454" y="359"/>
                  </a:lnTo>
                  <a:lnTo>
                    <a:pt x="452" y="362"/>
                  </a:lnTo>
                  <a:lnTo>
                    <a:pt x="451" y="361"/>
                  </a:lnTo>
                  <a:lnTo>
                    <a:pt x="449" y="359"/>
                  </a:lnTo>
                  <a:lnTo>
                    <a:pt x="450" y="356"/>
                  </a:lnTo>
                  <a:lnTo>
                    <a:pt x="450" y="353"/>
                  </a:lnTo>
                  <a:lnTo>
                    <a:pt x="449" y="354"/>
                  </a:lnTo>
                  <a:lnTo>
                    <a:pt x="448" y="355"/>
                  </a:lnTo>
                  <a:lnTo>
                    <a:pt x="446" y="355"/>
                  </a:lnTo>
                  <a:lnTo>
                    <a:pt x="446" y="352"/>
                  </a:lnTo>
                  <a:lnTo>
                    <a:pt x="445" y="352"/>
                  </a:lnTo>
                  <a:lnTo>
                    <a:pt x="444" y="352"/>
                  </a:lnTo>
                  <a:lnTo>
                    <a:pt x="443" y="348"/>
                  </a:lnTo>
                  <a:lnTo>
                    <a:pt x="443" y="347"/>
                  </a:lnTo>
                  <a:lnTo>
                    <a:pt x="443" y="349"/>
                  </a:lnTo>
                  <a:lnTo>
                    <a:pt x="439" y="349"/>
                  </a:lnTo>
                  <a:lnTo>
                    <a:pt x="439" y="348"/>
                  </a:lnTo>
                  <a:lnTo>
                    <a:pt x="440" y="347"/>
                  </a:lnTo>
                  <a:lnTo>
                    <a:pt x="440" y="345"/>
                  </a:lnTo>
                  <a:lnTo>
                    <a:pt x="437" y="343"/>
                  </a:lnTo>
                  <a:lnTo>
                    <a:pt x="434" y="341"/>
                  </a:lnTo>
                  <a:lnTo>
                    <a:pt x="433" y="343"/>
                  </a:lnTo>
                  <a:lnTo>
                    <a:pt x="434" y="344"/>
                  </a:lnTo>
                  <a:lnTo>
                    <a:pt x="436" y="348"/>
                  </a:lnTo>
                  <a:lnTo>
                    <a:pt x="437" y="350"/>
                  </a:lnTo>
                  <a:lnTo>
                    <a:pt x="434" y="355"/>
                  </a:lnTo>
                  <a:lnTo>
                    <a:pt x="433" y="356"/>
                  </a:lnTo>
                  <a:lnTo>
                    <a:pt x="433" y="359"/>
                  </a:lnTo>
                  <a:lnTo>
                    <a:pt x="432" y="361"/>
                  </a:lnTo>
                  <a:lnTo>
                    <a:pt x="432" y="362"/>
                  </a:lnTo>
                  <a:lnTo>
                    <a:pt x="433" y="365"/>
                  </a:lnTo>
                  <a:lnTo>
                    <a:pt x="434" y="365"/>
                  </a:lnTo>
                  <a:lnTo>
                    <a:pt x="436" y="362"/>
                  </a:lnTo>
                  <a:lnTo>
                    <a:pt x="437" y="361"/>
                  </a:lnTo>
                  <a:lnTo>
                    <a:pt x="439" y="362"/>
                  </a:lnTo>
                  <a:lnTo>
                    <a:pt x="439" y="365"/>
                  </a:lnTo>
                  <a:lnTo>
                    <a:pt x="442" y="365"/>
                  </a:lnTo>
                  <a:lnTo>
                    <a:pt x="444" y="366"/>
                  </a:lnTo>
                  <a:lnTo>
                    <a:pt x="445" y="367"/>
                  </a:lnTo>
                  <a:lnTo>
                    <a:pt x="446" y="366"/>
                  </a:lnTo>
                  <a:lnTo>
                    <a:pt x="448" y="365"/>
                  </a:lnTo>
                  <a:lnTo>
                    <a:pt x="450" y="364"/>
                  </a:lnTo>
                  <a:lnTo>
                    <a:pt x="452" y="365"/>
                  </a:lnTo>
                  <a:lnTo>
                    <a:pt x="449" y="365"/>
                  </a:lnTo>
                  <a:lnTo>
                    <a:pt x="448" y="367"/>
                  </a:lnTo>
                  <a:lnTo>
                    <a:pt x="448" y="368"/>
                  </a:lnTo>
                  <a:lnTo>
                    <a:pt x="449" y="368"/>
                  </a:lnTo>
                  <a:lnTo>
                    <a:pt x="452" y="368"/>
                  </a:lnTo>
                  <a:lnTo>
                    <a:pt x="454" y="368"/>
                  </a:lnTo>
                  <a:lnTo>
                    <a:pt x="455" y="367"/>
                  </a:lnTo>
                  <a:lnTo>
                    <a:pt x="456" y="367"/>
                  </a:lnTo>
                  <a:lnTo>
                    <a:pt x="458" y="367"/>
                  </a:lnTo>
                  <a:lnTo>
                    <a:pt x="458" y="366"/>
                  </a:lnTo>
                  <a:lnTo>
                    <a:pt x="460" y="367"/>
                  </a:lnTo>
                  <a:lnTo>
                    <a:pt x="460" y="370"/>
                  </a:lnTo>
                  <a:lnTo>
                    <a:pt x="457" y="373"/>
                  </a:lnTo>
                  <a:lnTo>
                    <a:pt x="458" y="374"/>
                  </a:lnTo>
                  <a:lnTo>
                    <a:pt x="460" y="376"/>
                  </a:lnTo>
                  <a:lnTo>
                    <a:pt x="458" y="380"/>
                  </a:lnTo>
                  <a:lnTo>
                    <a:pt x="457" y="384"/>
                  </a:lnTo>
                  <a:lnTo>
                    <a:pt x="456" y="385"/>
                  </a:lnTo>
                  <a:lnTo>
                    <a:pt x="456" y="388"/>
                  </a:lnTo>
                  <a:lnTo>
                    <a:pt x="455" y="389"/>
                  </a:lnTo>
                  <a:lnTo>
                    <a:pt x="457" y="390"/>
                  </a:lnTo>
                  <a:lnTo>
                    <a:pt x="456" y="395"/>
                  </a:lnTo>
                  <a:lnTo>
                    <a:pt x="456" y="396"/>
                  </a:lnTo>
                  <a:lnTo>
                    <a:pt x="454" y="396"/>
                  </a:lnTo>
                  <a:lnTo>
                    <a:pt x="454" y="397"/>
                  </a:lnTo>
                  <a:lnTo>
                    <a:pt x="454" y="400"/>
                  </a:lnTo>
                  <a:lnTo>
                    <a:pt x="452" y="400"/>
                  </a:lnTo>
                  <a:lnTo>
                    <a:pt x="452" y="398"/>
                  </a:lnTo>
                  <a:lnTo>
                    <a:pt x="452" y="401"/>
                  </a:lnTo>
                  <a:lnTo>
                    <a:pt x="454" y="402"/>
                  </a:lnTo>
                  <a:lnTo>
                    <a:pt x="455" y="402"/>
                  </a:lnTo>
                  <a:lnTo>
                    <a:pt x="455" y="400"/>
                  </a:lnTo>
                  <a:lnTo>
                    <a:pt x="455" y="398"/>
                  </a:lnTo>
                  <a:lnTo>
                    <a:pt x="456" y="398"/>
                  </a:lnTo>
                  <a:lnTo>
                    <a:pt x="457" y="402"/>
                  </a:lnTo>
                  <a:lnTo>
                    <a:pt x="457" y="404"/>
                  </a:lnTo>
                  <a:lnTo>
                    <a:pt x="458" y="406"/>
                  </a:lnTo>
                  <a:lnTo>
                    <a:pt x="460" y="407"/>
                  </a:lnTo>
                  <a:lnTo>
                    <a:pt x="461" y="408"/>
                  </a:lnTo>
                  <a:lnTo>
                    <a:pt x="461" y="409"/>
                  </a:lnTo>
                  <a:lnTo>
                    <a:pt x="461" y="410"/>
                  </a:lnTo>
                  <a:lnTo>
                    <a:pt x="462" y="410"/>
                  </a:lnTo>
                  <a:lnTo>
                    <a:pt x="462" y="412"/>
                  </a:lnTo>
                  <a:lnTo>
                    <a:pt x="463" y="412"/>
                  </a:lnTo>
                  <a:lnTo>
                    <a:pt x="464" y="412"/>
                  </a:lnTo>
                  <a:lnTo>
                    <a:pt x="466" y="413"/>
                  </a:lnTo>
                  <a:lnTo>
                    <a:pt x="468" y="415"/>
                  </a:lnTo>
                  <a:lnTo>
                    <a:pt x="466" y="415"/>
                  </a:lnTo>
                  <a:lnTo>
                    <a:pt x="464" y="415"/>
                  </a:lnTo>
                  <a:lnTo>
                    <a:pt x="463" y="414"/>
                  </a:lnTo>
                  <a:lnTo>
                    <a:pt x="463" y="415"/>
                  </a:lnTo>
                  <a:lnTo>
                    <a:pt x="466" y="418"/>
                  </a:lnTo>
                  <a:lnTo>
                    <a:pt x="468" y="419"/>
                  </a:lnTo>
                  <a:lnTo>
                    <a:pt x="468" y="421"/>
                  </a:lnTo>
                  <a:lnTo>
                    <a:pt x="466" y="420"/>
                  </a:lnTo>
                  <a:lnTo>
                    <a:pt x="463" y="418"/>
                  </a:lnTo>
                  <a:lnTo>
                    <a:pt x="463" y="419"/>
                  </a:lnTo>
                  <a:lnTo>
                    <a:pt x="461" y="419"/>
                  </a:lnTo>
                  <a:lnTo>
                    <a:pt x="461" y="420"/>
                  </a:lnTo>
                  <a:lnTo>
                    <a:pt x="458" y="422"/>
                  </a:lnTo>
                  <a:lnTo>
                    <a:pt x="456" y="424"/>
                  </a:lnTo>
                  <a:lnTo>
                    <a:pt x="455" y="425"/>
                  </a:lnTo>
                  <a:lnTo>
                    <a:pt x="455" y="421"/>
                  </a:lnTo>
                  <a:lnTo>
                    <a:pt x="455" y="420"/>
                  </a:lnTo>
                  <a:lnTo>
                    <a:pt x="456" y="418"/>
                  </a:lnTo>
                  <a:lnTo>
                    <a:pt x="457" y="415"/>
                  </a:lnTo>
                  <a:lnTo>
                    <a:pt x="456" y="414"/>
                  </a:lnTo>
                  <a:lnTo>
                    <a:pt x="455" y="416"/>
                  </a:lnTo>
                  <a:lnTo>
                    <a:pt x="454" y="416"/>
                  </a:lnTo>
                  <a:lnTo>
                    <a:pt x="452" y="413"/>
                  </a:lnTo>
                  <a:lnTo>
                    <a:pt x="451" y="412"/>
                  </a:lnTo>
                  <a:lnTo>
                    <a:pt x="451" y="415"/>
                  </a:lnTo>
                  <a:lnTo>
                    <a:pt x="449" y="415"/>
                  </a:lnTo>
                  <a:lnTo>
                    <a:pt x="449" y="418"/>
                  </a:lnTo>
                  <a:lnTo>
                    <a:pt x="450" y="420"/>
                  </a:lnTo>
                  <a:lnTo>
                    <a:pt x="448" y="418"/>
                  </a:lnTo>
                  <a:lnTo>
                    <a:pt x="449" y="420"/>
                  </a:lnTo>
                  <a:lnTo>
                    <a:pt x="450" y="421"/>
                  </a:lnTo>
                  <a:lnTo>
                    <a:pt x="448" y="420"/>
                  </a:lnTo>
                  <a:lnTo>
                    <a:pt x="448" y="421"/>
                  </a:lnTo>
                  <a:lnTo>
                    <a:pt x="446" y="422"/>
                  </a:lnTo>
                  <a:lnTo>
                    <a:pt x="445" y="425"/>
                  </a:lnTo>
                  <a:lnTo>
                    <a:pt x="444" y="426"/>
                  </a:lnTo>
                  <a:lnTo>
                    <a:pt x="443" y="428"/>
                  </a:lnTo>
                  <a:lnTo>
                    <a:pt x="442" y="427"/>
                  </a:lnTo>
                  <a:lnTo>
                    <a:pt x="442" y="425"/>
                  </a:lnTo>
                  <a:lnTo>
                    <a:pt x="440" y="427"/>
                  </a:lnTo>
                  <a:lnTo>
                    <a:pt x="440" y="428"/>
                  </a:lnTo>
                  <a:lnTo>
                    <a:pt x="439" y="426"/>
                  </a:lnTo>
                  <a:lnTo>
                    <a:pt x="438" y="426"/>
                  </a:lnTo>
                  <a:lnTo>
                    <a:pt x="438" y="428"/>
                  </a:lnTo>
                  <a:lnTo>
                    <a:pt x="438" y="431"/>
                  </a:lnTo>
                  <a:lnTo>
                    <a:pt x="437" y="430"/>
                  </a:lnTo>
                  <a:lnTo>
                    <a:pt x="436" y="431"/>
                  </a:lnTo>
                  <a:lnTo>
                    <a:pt x="434" y="432"/>
                  </a:lnTo>
                  <a:lnTo>
                    <a:pt x="433" y="432"/>
                  </a:lnTo>
                  <a:lnTo>
                    <a:pt x="432" y="433"/>
                  </a:lnTo>
                  <a:lnTo>
                    <a:pt x="431" y="432"/>
                  </a:lnTo>
                  <a:lnTo>
                    <a:pt x="431" y="433"/>
                  </a:lnTo>
                  <a:lnTo>
                    <a:pt x="429" y="433"/>
                  </a:lnTo>
                  <a:lnTo>
                    <a:pt x="429" y="431"/>
                  </a:lnTo>
                  <a:lnTo>
                    <a:pt x="428" y="428"/>
                  </a:lnTo>
                  <a:lnTo>
                    <a:pt x="428" y="426"/>
                  </a:lnTo>
                  <a:lnTo>
                    <a:pt x="427" y="426"/>
                  </a:lnTo>
                  <a:lnTo>
                    <a:pt x="427" y="428"/>
                  </a:lnTo>
                  <a:lnTo>
                    <a:pt x="426" y="431"/>
                  </a:lnTo>
                  <a:lnTo>
                    <a:pt x="426" y="433"/>
                  </a:lnTo>
                  <a:lnTo>
                    <a:pt x="428" y="436"/>
                  </a:lnTo>
                  <a:lnTo>
                    <a:pt x="428" y="439"/>
                  </a:lnTo>
                  <a:lnTo>
                    <a:pt x="429" y="440"/>
                  </a:lnTo>
                  <a:lnTo>
                    <a:pt x="428" y="440"/>
                  </a:lnTo>
                  <a:lnTo>
                    <a:pt x="426" y="438"/>
                  </a:lnTo>
                  <a:lnTo>
                    <a:pt x="425" y="438"/>
                  </a:lnTo>
                  <a:lnTo>
                    <a:pt x="423" y="439"/>
                  </a:lnTo>
                  <a:lnTo>
                    <a:pt x="425" y="442"/>
                  </a:lnTo>
                  <a:lnTo>
                    <a:pt x="423" y="444"/>
                  </a:lnTo>
                  <a:lnTo>
                    <a:pt x="423" y="445"/>
                  </a:lnTo>
                  <a:lnTo>
                    <a:pt x="422" y="444"/>
                  </a:lnTo>
                  <a:lnTo>
                    <a:pt x="421" y="445"/>
                  </a:lnTo>
                  <a:lnTo>
                    <a:pt x="419" y="448"/>
                  </a:lnTo>
                  <a:lnTo>
                    <a:pt x="419" y="451"/>
                  </a:lnTo>
                  <a:lnTo>
                    <a:pt x="420" y="455"/>
                  </a:lnTo>
                  <a:lnTo>
                    <a:pt x="422" y="458"/>
                  </a:lnTo>
                  <a:lnTo>
                    <a:pt x="421" y="460"/>
                  </a:lnTo>
                  <a:lnTo>
                    <a:pt x="420" y="461"/>
                  </a:lnTo>
                  <a:lnTo>
                    <a:pt x="419" y="463"/>
                  </a:lnTo>
                  <a:lnTo>
                    <a:pt x="417" y="467"/>
                  </a:lnTo>
                  <a:lnTo>
                    <a:pt x="415" y="469"/>
                  </a:lnTo>
                  <a:lnTo>
                    <a:pt x="414" y="472"/>
                  </a:lnTo>
                  <a:lnTo>
                    <a:pt x="414" y="468"/>
                  </a:lnTo>
                  <a:lnTo>
                    <a:pt x="413" y="466"/>
                  </a:lnTo>
                  <a:lnTo>
                    <a:pt x="411" y="463"/>
                  </a:lnTo>
                  <a:lnTo>
                    <a:pt x="410" y="463"/>
                  </a:lnTo>
                  <a:lnTo>
                    <a:pt x="408" y="465"/>
                  </a:lnTo>
                  <a:lnTo>
                    <a:pt x="409" y="462"/>
                  </a:lnTo>
                  <a:lnTo>
                    <a:pt x="408" y="462"/>
                  </a:lnTo>
                  <a:lnTo>
                    <a:pt x="407" y="465"/>
                  </a:lnTo>
                  <a:lnTo>
                    <a:pt x="405" y="467"/>
                  </a:lnTo>
                  <a:lnTo>
                    <a:pt x="405" y="463"/>
                  </a:lnTo>
                  <a:lnTo>
                    <a:pt x="404" y="461"/>
                  </a:lnTo>
                  <a:lnTo>
                    <a:pt x="405" y="458"/>
                  </a:lnTo>
                  <a:lnTo>
                    <a:pt x="407" y="458"/>
                  </a:lnTo>
                  <a:lnTo>
                    <a:pt x="408" y="460"/>
                  </a:lnTo>
                  <a:lnTo>
                    <a:pt x="409" y="458"/>
                  </a:lnTo>
                  <a:lnTo>
                    <a:pt x="410" y="455"/>
                  </a:lnTo>
                  <a:lnTo>
                    <a:pt x="410" y="451"/>
                  </a:lnTo>
                  <a:lnTo>
                    <a:pt x="411" y="449"/>
                  </a:lnTo>
                  <a:lnTo>
                    <a:pt x="409" y="449"/>
                  </a:lnTo>
                  <a:lnTo>
                    <a:pt x="407" y="448"/>
                  </a:lnTo>
                  <a:lnTo>
                    <a:pt x="405" y="450"/>
                  </a:lnTo>
                  <a:lnTo>
                    <a:pt x="405" y="448"/>
                  </a:lnTo>
                  <a:lnTo>
                    <a:pt x="407" y="446"/>
                  </a:lnTo>
                  <a:lnTo>
                    <a:pt x="404" y="449"/>
                  </a:lnTo>
                  <a:lnTo>
                    <a:pt x="402" y="450"/>
                  </a:lnTo>
                  <a:lnTo>
                    <a:pt x="401" y="454"/>
                  </a:lnTo>
                  <a:lnTo>
                    <a:pt x="398" y="455"/>
                  </a:lnTo>
                  <a:lnTo>
                    <a:pt x="396" y="455"/>
                  </a:lnTo>
                  <a:lnTo>
                    <a:pt x="396" y="454"/>
                  </a:lnTo>
                  <a:lnTo>
                    <a:pt x="396" y="452"/>
                  </a:lnTo>
                  <a:lnTo>
                    <a:pt x="393" y="455"/>
                  </a:lnTo>
                  <a:lnTo>
                    <a:pt x="393" y="456"/>
                  </a:lnTo>
                  <a:lnTo>
                    <a:pt x="393" y="458"/>
                  </a:lnTo>
                  <a:lnTo>
                    <a:pt x="393" y="460"/>
                  </a:lnTo>
                  <a:lnTo>
                    <a:pt x="392" y="462"/>
                  </a:lnTo>
                  <a:lnTo>
                    <a:pt x="391" y="463"/>
                  </a:lnTo>
                  <a:lnTo>
                    <a:pt x="390" y="466"/>
                  </a:lnTo>
                  <a:lnTo>
                    <a:pt x="389" y="467"/>
                  </a:lnTo>
                  <a:lnTo>
                    <a:pt x="387" y="469"/>
                  </a:lnTo>
                  <a:lnTo>
                    <a:pt x="386" y="471"/>
                  </a:lnTo>
                  <a:lnTo>
                    <a:pt x="385" y="473"/>
                  </a:lnTo>
                  <a:lnTo>
                    <a:pt x="385" y="474"/>
                  </a:lnTo>
                  <a:lnTo>
                    <a:pt x="384" y="472"/>
                  </a:lnTo>
                  <a:lnTo>
                    <a:pt x="384" y="473"/>
                  </a:lnTo>
                  <a:lnTo>
                    <a:pt x="381" y="473"/>
                  </a:lnTo>
                  <a:lnTo>
                    <a:pt x="379" y="473"/>
                  </a:lnTo>
                  <a:lnTo>
                    <a:pt x="379" y="472"/>
                  </a:lnTo>
                  <a:lnTo>
                    <a:pt x="381" y="469"/>
                  </a:lnTo>
                  <a:lnTo>
                    <a:pt x="380" y="467"/>
                  </a:lnTo>
                  <a:lnTo>
                    <a:pt x="379" y="467"/>
                  </a:lnTo>
                  <a:lnTo>
                    <a:pt x="381" y="466"/>
                  </a:lnTo>
                  <a:lnTo>
                    <a:pt x="380" y="466"/>
                  </a:lnTo>
                  <a:lnTo>
                    <a:pt x="381" y="465"/>
                  </a:lnTo>
                  <a:lnTo>
                    <a:pt x="383" y="462"/>
                  </a:lnTo>
                  <a:lnTo>
                    <a:pt x="381" y="463"/>
                  </a:lnTo>
                  <a:lnTo>
                    <a:pt x="381" y="461"/>
                  </a:lnTo>
                  <a:lnTo>
                    <a:pt x="383" y="458"/>
                  </a:lnTo>
                  <a:lnTo>
                    <a:pt x="381" y="456"/>
                  </a:lnTo>
                  <a:lnTo>
                    <a:pt x="381" y="449"/>
                  </a:lnTo>
                  <a:lnTo>
                    <a:pt x="383" y="438"/>
                  </a:lnTo>
                  <a:lnTo>
                    <a:pt x="381" y="428"/>
                  </a:lnTo>
                  <a:lnTo>
                    <a:pt x="379" y="432"/>
                  </a:lnTo>
                  <a:lnTo>
                    <a:pt x="378" y="438"/>
                  </a:lnTo>
                  <a:lnTo>
                    <a:pt x="379" y="439"/>
                  </a:lnTo>
                  <a:lnTo>
                    <a:pt x="377" y="438"/>
                  </a:lnTo>
                  <a:lnTo>
                    <a:pt x="370" y="439"/>
                  </a:lnTo>
                  <a:lnTo>
                    <a:pt x="377" y="438"/>
                  </a:lnTo>
                  <a:lnTo>
                    <a:pt x="380" y="430"/>
                  </a:lnTo>
                  <a:lnTo>
                    <a:pt x="378" y="430"/>
                  </a:lnTo>
                  <a:lnTo>
                    <a:pt x="374" y="430"/>
                  </a:lnTo>
                  <a:lnTo>
                    <a:pt x="373" y="430"/>
                  </a:lnTo>
                  <a:lnTo>
                    <a:pt x="370" y="431"/>
                  </a:lnTo>
                  <a:lnTo>
                    <a:pt x="369" y="431"/>
                  </a:lnTo>
                  <a:lnTo>
                    <a:pt x="367" y="430"/>
                  </a:lnTo>
                  <a:lnTo>
                    <a:pt x="366" y="427"/>
                  </a:lnTo>
                  <a:lnTo>
                    <a:pt x="367" y="425"/>
                  </a:lnTo>
                  <a:lnTo>
                    <a:pt x="364" y="426"/>
                  </a:lnTo>
                  <a:lnTo>
                    <a:pt x="362" y="427"/>
                  </a:lnTo>
                  <a:lnTo>
                    <a:pt x="361" y="426"/>
                  </a:lnTo>
                  <a:lnTo>
                    <a:pt x="357" y="427"/>
                  </a:lnTo>
                  <a:lnTo>
                    <a:pt x="358" y="431"/>
                  </a:lnTo>
                  <a:lnTo>
                    <a:pt x="358" y="433"/>
                  </a:lnTo>
                  <a:lnTo>
                    <a:pt x="360" y="434"/>
                  </a:lnTo>
                  <a:lnTo>
                    <a:pt x="360" y="436"/>
                  </a:lnTo>
                  <a:lnTo>
                    <a:pt x="358" y="437"/>
                  </a:lnTo>
                  <a:lnTo>
                    <a:pt x="358" y="439"/>
                  </a:lnTo>
                  <a:lnTo>
                    <a:pt x="360" y="442"/>
                  </a:lnTo>
                  <a:lnTo>
                    <a:pt x="361" y="445"/>
                  </a:lnTo>
                  <a:lnTo>
                    <a:pt x="358" y="440"/>
                  </a:lnTo>
                  <a:lnTo>
                    <a:pt x="357" y="442"/>
                  </a:lnTo>
                  <a:lnTo>
                    <a:pt x="356" y="443"/>
                  </a:lnTo>
                  <a:lnTo>
                    <a:pt x="357" y="448"/>
                  </a:lnTo>
                  <a:lnTo>
                    <a:pt x="355" y="451"/>
                  </a:lnTo>
                  <a:lnTo>
                    <a:pt x="352" y="454"/>
                  </a:lnTo>
                  <a:lnTo>
                    <a:pt x="355" y="449"/>
                  </a:lnTo>
                  <a:lnTo>
                    <a:pt x="355" y="446"/>
                  </a:lnTo>
                  <a:lnTo>
                    <a:pt x="355" y="444"/>
                  </a:lnTo>
                  <a:lnTo>
                    <a:pt x="352" y="444"/>
                  </a:lnTo>
                  <a:lnTo>
                    <a:pt x="352" y="446"/>
                  </a:lnTo>
                  <a:lnTo>
                    <a:pt x="352" y="448"/>
                  </a:lnTo>
                  <a:lnTo>
                    <a:pt x="351" y="450"/>
                  </a:lnTo>
                  <a:lnTo>
                    <a:pt x="351" y="448"/>
                  </a:lnTo>
                  <a:lnTo>
                    <a:pt x="350" y="448"/>
                  </a:lnTo>
                  <a:lnTo>
                    <a:pt x="350" y="450"/>
                  </a:lnTo>
                  <a:lnTo>
                    <a:pt x="350" y="454"/>
                  </a:lnTo>
                  <a:lnTo>
                    <a:pt x="351" y="455"/>
                  </a:lnTo>
                  <a:lnTo>
                    <a:pt x="349" y="460"/>
                  </a:lnTo>
                  <a:lnTo>
                    <a:pt x="346" y="461"/>
                  </a:lnTo>
                  <a:lnTo>
                    <a:pt x="349" y="456"/>
                  </a:lnTo>
                  <a:lnTo>
                    <a:pt x="349" y="454"/>
                  </a:lnTo>
                  <a:lnTo>
                    <a:pt x="349" y="448"/>
                  </a:lnTo>
                  <a:lnTo>
                    <a:pt x="349" y="450"/>
                  </a:lnTo>
                  <a:lnTo>
                    <a:pt x="348" y="452"/>
                  </a:lnTo>
                  <a:lnTo>
                    <a:pt x="346" y="456"/>
                  </a:lnTo>
                  <a:lnTo>
                    <a:pt x="345" y="457"/>
                  </a:lnTo>
                  <a:lnTo>
                    <a:pt x="344" y="458"/>
                  </a:lnTo>
                  <a:lnTo>
                    <a:pt x="343" y="460"/>
                  </a:lnTo>
                  <a:lnTo>
                    <a:pt x="342" y="458"/>
                  </a:lnTo>
                  <a:lnTo>
                    <a:pt x="340" y="457"/>
                  </a:lnTo>
                  <a:lnTo>
                    <a:pt x="340" y="458"/>
                  </a:lnTo>
                  <a:lnTo>
                    <a:pt x="338" y="460"/>
                  </a:lnTo>
                  <a:lnTo>
                    <a:pt x="336" y="462"/>
                  </a:lnTo>
                  <a:lnTo>
                    <a:pt x="334" y="461"/>
                  </a:lnTo>
                  <a:lnTo>
                    <a:pt x="333" y="457"/>
                  </a:lnTo>
                  <a:lnTo>
                    <a:pt x="333" y="455"/>
                  </a:lnTo>
                  <a:lnTo>
                    <a:pt x="336" y="454"/>
                  </a:lnTo>
                  <a:lnTo>
                    <a:pt x="337" y="454"/>
                  </a:lnTo>
                  <a:lnTo>
                    <a:pt x="337" y="451"/>
                  </a:lnTo>
                  <a:lnTo>
                    <a:pt x="336" y="450"/>
                  </a:lnTo>
                  <a:lnTo>
                    <a:pt x="337" y="449"/>
                  </a:lnTo>
                  <a:lnTo>
                    <a:pt x="338" y="446"/>
                  </a:lnTo>
                  <a:lnTo>
                    <a:pt x="337" y="446"/>
                  </a:lnTo>
                  <a:lnTo>
                    <a:pt x="334" y="449"/>
                  </a:lnTo>
                  <a:lnTo>
                    <a:pt x="333" y="452"/>
                  </a:lnTo>
                  <a:lnTo>
                    <a:pt x="332" y="455"/>
                  </a:lnTo>
                  <a:lnTo>
                    <a:pt x="332" y="458"/>
                  </a:lnTo>
                  <a:lnTo>
                    <a:pt x="332" y="457"/>
                  </a:lnTo>
                  <a:lnTo>
                    <a:pt x="330" y="460"/>
                  </a:lnTo>
                  <a:lnTo>
                    <a:pt x="328" y="460"/>
                  </a:lnTo>
                  <a:lnTo>
                    <a:pt x="328" y="457"/>
                  </a:lnTo>
                  <a:lnTo>
                    <a:pt x="327" y="454"/>
                  </a:lnTo>
                  <a:lnTo>
                    <a:pt x="326" y="451"/>
                  </a:lnTo>
                  <a:lnTo>
                    <a:pt x="324" y="452"/>
                  </a:lnTo>
                  <a:lnTo>
                    <a:pt x="322" y="452"/>
                  </a:lnTo>
                  <a:lnTo>
                    <a:pt x="320" y="456"/>
                  </a:lnTo>
                  <a:lnTo>
                    <a:pt x="318" y="456"/>
                  </a:lnTo>
                  <a:lnTo>
                    <a:pt x="319" y="454"/>
                  </a:lnTo>
                  <a:lnTo>
                    <a:pt x="319" y="451"/>
                  </a:lnTo>
                  <a:lnTo>
                    <a:pt x="316" y="451"/>
                  </a:lnTo>
                  <a:lnTo>
                    <a:pt x="318" y="452"/>
                  </a:lnTo>
                  <a:lnTo>
                    <a:pt x="315" y="456"/>
                  </a:lnTo>
                  <a:lnTo>
                    <a:pt x="313" y="457"/>
                  </a:lnTo>
                  <a:lnTo>
                    <a:pt x="310" y="458"/>
                  </a:lnTo>
                  <a:lnTo>
                    <a:pt x="313" y="455"/>
                  </a:lnTo>
                  <a:lnTo>
                    <a:pt x="314" y="452"/>
                  </a:lnTo>
                  <a:lnTo>
                    <a:pt x="314" y="450"/>
                  </a:lnTo>
                  <a:lnTo>
                    <a:pt x="316" y="448"/>
                  </a:lnTo>
                  <a:lnTo>
                    <a:pt x="315" y="446"/>
                  </a:lnTo>
                  <a:lnTo>
                    <a:pt x="314" y="448"/>
                  </a:lnTo>
                  <a:lnTo>
                    <a:pt x="314" y="446"/>
                  </a:lnTo>
                  <a:lnTo>
                    <a:pt x="311" y="446"/>
                  </a:lnTo>
                  <a:lnTo>
                    <a:pt x="311" y="444"/>
                  </a:lnTo>
                  <a:lnTo>
                    <a:pt x="309" y="444"/>
                  </a:lnTo>
                  <a:lnTo>
                    <a:pt x="308" y="445"/>
                  </a:lnTo>
                  <a:lnTo>
                    <a:pt x="309" y="443"/>
                  </a:lnTo>
                  <a:lnTo>
                    <a:pt x="307" y="443"/>
                  </a:lnTo>
                  <a:lnTo>
                    <a:pt x="305" y="444"/>
                  </a:lnTo>
                  <a:lnTo>
                    <a:pt x="305" y="442"/>
                  </a:lnTo>
                  <a:lnTo>
                    <a:pt x="304" y="442"/>
                  </a:lnTo>
                  <a:lnTo>
                    <a:pt x="303" y="439"/>
                  </a:lnTo>
                  <a:lnTo>
                    <a:pt x="303" y="438"/>
                  </a:lnTo>
                  <a:lnTo>
                    <a:pt x="304" y="437"/>
                  </a:lnTo>
                  <a:lnTo>
                    <a:pt x="301" y="439"/>
                  </a:lnTo>
                  <a:lnTo>
                    <a:pt x="298" y="440"/>
                  </a:lnTo>
                  <a:lnTo>
                    <a:pt x="299" y="438"/>
                  </a:lnTo>
                  <a:lnTo>
                    <a:pt x="302" y="437"/>
                  </a:lnTo>
                  <a:lnTo>
                    <a:pt x="304" y="436"/>
                  </a:lnTo>
                  <a:lnTo>
                    <a:pt x="305" y="434"/>
                  </a:lnTo>
                  <a:lnTo>
                    <a:pt x="304" y="434"/>
                  </a:lnTo>
                  <a:lnTo>
                    <a:pt x="302" y="434"/>
                  </a:lnTo>
                  <a:lnTo>
                    <a:pt x="301" y="433"/>
                  </a:lnTo>
                  <a:lnTo>
                    <a:pt x="301" y="434"/>
                  </a:lnTo>
                  <a:lnTo>
                    <a:pt x="299" y="434"/>
                  </a:lnTo>
                  <a:lnTo>
                    <a:pt x="297" y="434"/>
                  </a:lnTo>
                  <a:lnTo>
                    <a:pt x="297" y="436"/>
                  </a:lnTo>
                  <a:lnTo>
                    <a:pt x="295" y="434"/>
                  </a:lnTo>
                  <a:lnTo>
                    <a:pt x="293" y="431"/>
                  </a:lnTo>
                  <a:lnTo>
                    <a:pt x="293" y="428"/>
                  </a:lnTo>
                  <a:lnTo>
                    <a:pt x="293" y="426"/>
                  </a:lnTo>
                  <a:lnTo>
                    <a:pt x="296" y="425"/>
                  </a:lnTo>
                  <a:lnTo>
                    <a:pt x="297" y="425"/>
                  </a:lnTo>
                  <a:lnTo>
                    <a:pt x="298" y="424"/>
                  </a:lnTo>
                  <a:lnTo>
                    <a:pt x="297" y="421"/>
                  </a:lnTo>
                  <a:lnTo>
                    <a:pt x="297" y="419"/>
                  </a:lnTo>
                  <a:lnTo>
                    <a:pt x="295" y="420"/>
                  </a:lnTo>
                  <a:lnTo>
                    <a:pt x="293" y="421"/>
                  </a:lnTo>
                  <a:lnTo>
                    <a:pt x="293" y="419"/>
                  </a:lnTo>
                  <a:lnTo>
                    <a:pt x="292" y="421"/>
                  </a:lnTo>
                  <a:lnTo>
                    <a:pt x="291" y="424"/>
                  </a:lnTo>
                  <a:lnTo>
                    <a:pt x="290" y="422"/>
                  </a:lnTo>
                  <a:lnTo>
                    <a:pt x="290" y="425"/>
                  </a:lnTo>
                  <a:lnTo>
                    <a:pt x="287" y="426"/>
                  </a:lnTo>
                  <a:lnTo>
                    <a:pt x="285" y="428"/>
                  </a:lnTo>
                  <a:lnTo>
                    <a:pt x="285" y="426"/>
                  </a:lnTo>
                  <a:lnTo>
                    <a:pt x="286" y="425"/>
                  </a:lnTo>
                  <a:lnTo>
                    <a:pt x="284" y="426"/>
                  </a:lnTo>
                  <a:lnTo>
                    <a:pt x="284" y="425"/>
                  </a:lnTo>
                  <a:lnTo>
                    <a:pt x="283" y="425"/>
                  </a:lnTo>
                  <a:lnTo>
                    <a:pt x="281" y="424"/>
                  </a:lnTo>
                  <a:lnTo>
                    <a:pt x="280" y="424"/>
                  </a:lnTo>
                  <a:lnTo>
                    <a:pt x="278" y="425"/>
                  </a:lnTo>
                  <a:lnTo>
                    <a:pt x="277" y="424"/>
                  </a:lnTo>
                  <a:lnTo>
                    <a:pt x="279" y="422"/>
                  </a:lnTo>
                  <a:lnTo>
                    <a:pt x="278" y="422"/>
                  </a:lnTo>
                  <a:lnTo>
                    <a:pt x="279" y="421"/>
                  </a:lnTo>
                  <a:lnTo>
                    <a:pt x="280" y="421"/>
                  </a:lnTo>
                  <a:lnTo>
                    <a:pt x="281" y="422"/>
                  </a:lnTo>
                  <a:lnTo>
                    <a:pt x="283" y="420"/>
                  </a:lnTo>
                  <a:lnTo>
                    <a:pt x="281" y="419"/>
                  </a:lnTo>
                  <a:lnTo>
                    <a:pt x="279" y="419"/>
                  </a:lnTo>
                  <a:lnTo>
                    <a:pt x="278" y="418"/>
                  </a:lnTo>
                  <a:lnTo>
                    <a:pt x="277" y="419"/>
                  </a:lnTo>
                  <a:lnTo>
                    <a:pt x="275" y="419"/>
                  </a:lnTo>
                  <a:lnTo>
                    <a:pt x="274" y="419"/>
                  </a:lnTo>
                  <a:lnTo>
                    <a:pt x="274" y="418"/>
                  </a:lnTo>
                  <a:lnTo>
                    <a:pt x="274" y="416"/>
                  </a:lnTo>
                  <a:lnTo>
                    <a:pt x="275" y="415"/>
                  </a:lnTo>
                  <a:lnTo>
                    <a:pt x="278" y="414"/>
                  </a:lnTo>
                  <a:lnTo>
                    <a:pt x="280" y="413"/>
                  </a:lnTo>
                  <a:lnTo>
                    <a:pt x="279" y="413"/>
                  </a:lnTo>
                  <a:lnTo>
                    <a:pt x="278" y="413"/>
                  </a:lnTo>
                  <a:lnTo>
                    <a:pt x="277" y="413"/>
                  </a:lnTo>
                  <a:lnTo>
                    <a:pt x="274" y="415"/>
                  </a:lnTo>
                  <a:lnTo>
                    <a:pt x="272" y="416"/>
                  </a:lnTo>
                  <a:lnTo>
                    <a:pt x="274" y="426"/>
                  </a:lnTo>
                  <a:lnTo>
                    <a:pt x="279" y="439"/>
                  </a:lnTo>
                  <a:lnTo>
                    <a:pt x="278" y="448"/>
                  </a:lnTo>
                  <a:lnTo>
                    <a:pt x="279" y="457"/>
                  </a:lnTo>
                  <a:lnTo>
                    <a:pt x="286" y="473"/>
                  </a:lnTo>
                  <a:lnTo>
                    <a:pt x="291" y="483"/>
                  </a:lnTo>
                  <a:lnTo>
                    <a:pt x="291" y="490"/>
                  </a:lnTo>
                  <a:lnTo>
                    <a:pt x="286" y="498"/>
                  </a:lnTo>
                  <a:lnTo>
                    <a:pt x="280" y="511"/>
                  </a:lnTo>
                  <a:lnTo>
                    <a:pt x="275" y="533"/>
                  </a:lnTo>
                  <a:lnTo>
                    <a:pt x="273" y="553"/>
                  </a:lnTo>
                  <a:lnTo>
                    <a:pt x="271" y="574"/>
                  </a:lnTo>
                  <a:lnTo>
                    <a:pt x="269" y="603"/>
                  </a:lnTo>
                  <a:lnTo>
                    <a:pt x="271" y="630"/>
                  </a:lnTo>
                  <a:lnTo>
                    <a:pt x="272" y="64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9" name="Freeform 72"/>
            <p:cNvSpPr>
              <a:spLocks/>
            </p:cNvSpPr>
            <p:nvPr userDrawn="1"/>
          </p:nvSpPr>
          <p:spPr bwMode="auto">
            <a:xfrm>
              <a:off x="8397875" y="6397626"/>
              <a:ext cx="176213" cy="188913"/>
            </a:xfrm>
            <a:custGeom>
              <a:avLst/>
              <a:gdLst/>
              <a:ahLst/>
              <a:cxnLst>
                <a:cxn ang="0">
                  <a:pos x="71" y="263"/>
                </a:cxn>
                <a:cxn ang="0">
                  <a:pos x="95" y="226"/>
                </a:cxn>
                <a:cxn ang="0">
                  <a:pos x="156" y="203"/>
                </a:cxn>
                <a:cxn ang="0">
                  <a:pos x="154" y="199"/>
                </a:cxn>
                <a:cxn ang="0">
                  <a:pos x="116" y="196"/>
                </a:cxn>
                <a:cxn ang="0">
                  <a:pos x="102" y="173"/>
                </a:cxn>
                <a:cxn ang="0">
                  <a:pos x="120" y="145"/>
                </a:cxn>
                <a:cxn ang="0">
                  <a:pos x="129" y="131"/>
                </a:cxn>
                <a:cxn ang="0">
                  <a:pos x="132" y="88"/>
                </a:cxn>
                <a:cxn ang="0">
                  <a:pos x="167" y="86"/>
                </a:cxn>
                <a:cxn ang="0">
                  <a:pos x="200" y="98"/>
                </a:cxn>
                <a:cxn ang="0">
                  <a:pos x="222" y="101"/>
                </a:cxn>
                <a:cxn ang="0">
                  <a:pos x="248" y="121"/>
                </a:cxn>
                <a:cxn ang="0">
                  <a:pos x="266" y="139"/>
                </a:cxn>
                <a:cxn ang="0">
                  <a:pos x="273" y="125"/>
                </a:cxn>
                <a:cxn ang="0">
                  <a:pos x="252" y="108"/>
                </a:cxn>
                <a:cxn ang="0">
                  <a:pos x="230" y="98"/>
                </a:cxn>
                <a:cxn ang="0">
                  <a:pos x="199" y="74"/>
                </a:cxn>
                <a:cxn ang="0">
                  <a:pos x="206" y="43"/>
                </a:cxn>
                <a:cxn ang="0">
                  <a:pos x="217" y="19"/>
                </a:cxn>
                <a:cxn ang="0">
                  <a:pos x="241" y="13"/>
                </a:cxn>
                <a:cxn ang="0">
                  <a:pos x="271" y="17"/>
                </a:cxn>
                <a:cxn ang="0">
                  <a:pos x="300" y="7"/>
                </a:cxn>
                <a:cxn ang="0">
                  <a:pos x="320" y="8"/>
                </a:cxn>
                <a:cxn ang="0">
                  <a:pos x="336" y="32"/>
                </a:cxn>
                <a:cxn ang="0">
                  <a:pos x="355" y="35"/>
                </a:cxn>
                <a:cxn ang="0">
                  <a:pos x="386" y="43"/>
                </a:cxn>
                <a:cxn ang="0">
                  <a:pos x="402" y="66"/>
                </a:cxn>
                <a:cxn ang="0">
                  <a:pos x="380" y="83"/>
                </a:cxn>
                <a:cxn ang="0">
                  <a:pos x="426" y="108"/>
                </a:cxn>
                <a:cxn ang="0">
                  <a:pos x="459" y="143"/>
                </a:cxn>
                <a:cxn ang="0">
                  <a:pos x="467" y="160"/>
                </a:cxn>
                <a:cxn ang="0">
                  <a:pos x="477" y="193"/>
                </a:cxn>
                <a:cxn ang="0">
                  <a:pos x="495" y="235"/>
                </a:cxn>
                <a:cxn ang="0">
                  <a:pos x="488" y="268"/>
                </a:cxn>
                <a:cxn ang="0">
                  <a:pos x="504" y="312"/>
                </a:cxn>
                <a:cxn ang="0">
                  <a:pos x="456" y="291"/>
                </a:cxn>
                <a:cxn ang="0">
                  <a:pos x="445" y="304"/>
                </a:cxn>
                <a:cxn ang="0">
                  <a:pos x="520" y="358"/>
                </a:cxn>
                <a:cxn ang="0">
                  <a:pos x="536" y="416"/>
                </a:cxn>
                <a:cxn ang="0">
                  <a:pos x="503" y="428"/>
                </a:cxn>
                <a:cxn ang="0">
                  <a:pos x="473" y="461"/>
                </a:cxn>
                <a:cxn ang="0">
                  <a:pos x="439" y="440"/>
                </a:cxn>
                <a:cxn ang="0">
                  <a:pos x="396" y="419"/>
                </a:cxn>
                <a:cxn ang="0">
                  <a:pos x="427" y="454"/>
                </a:cxn>
                <a:cxn ang="0">
                  <a:pos x="426" y="487"/>
                </a:cxn>
                <a:cxn ang="0">
                  <a:pos x="400" y="465"/>
                </a:cxn>
                <a:cxn ang="0">
                  <a:pos x="329" y="484"/>
                </a:cxn>
                <a:cxn ang="0">
                  <a:pos x="225" y="502"/>
                </a:cxn>
                <a:cxn ang="0">
                  <a:pos x="128" y="501"/>
                </a:cxn>
                <a:cxn ang="0">
                  <a:pos x="187" y="487"/>
                </a:cxn>
                <a:cxn ang="0">
                  <a:pos x="237" y="451"/>
                </a:cxn>
                <a:cxn ang="0">
                  <a:pos x="176" y="449"/>
                </a:cxn>
                <a:cxn ang="0">
                  <a:pos x="137" y="473"/>
                </a:cxn>
                <a:cxn ang="0">
                  <a:pos x="82" y="440"/>
                </a:cxn>
                <a:cxn ang="0">
                  <a:pos x="118" y="407"/>
                </a:cxn>
                <a:cxn ang="0">
                  <a:pos x="184" y="376"/>
                </a:cxn>
                <a:cxn ang="0">
                  <a:pos x="138" y="373"/>
                </a:cxn>
                <a:cxn ang="0">
                  <a:pos x="167" y="332"/>
                </a:cxn>
                <a:cxn ang="0">
                  <a:pos x="113" y="363"/>
                </a:cxn>
                <a:cxn ang="0">
                  <a:pos x="48" y="379"/>
                </a:cxn>
                <a:cxn ang="0">
                  <a:pos x="101" y="315"/>
                </a:cxn>
                <a:cxn ang="0">
                  <a:pos x="22" y="300"/>
                </a:cxn>
              </a:cxnLst>
              <a:rect l="0" t="0" r="r" b="b"/>
              <a:pathLst>
                <a:path w="556" h="597">
                  <a:moveTo>
                    <a:pt x="5" y="282"/>
                  </a:moveTo>
                  <a:lnTo>
                    <a:pt x="4" y="281"/>
                  </a:lnTo>
                  <a:lnTo>
                    <a:pt x="6" y="281"/>
                  </a:lnTo>
                  <a:lnTo>
                    <a:pt x="8" y="281"/>
                  </a:lnTo>
                  <a:lnTo>
                    <a:pt x="8" y="282"/>
                  </a:lnTo>
                  <a:lnTo>
                    <a:pt x="10" y="282"/>
                  </a:lnTo>
                  <a:lnTo>
                    <a:pt x="10" y="280"/>
                  </a:lnTo>
                  <a:lnTo>
                    <a:pt x="12" y="280"/>
                  </a:lnTo>
                  <a:lnTo>
                    <a:pt x="12" y="282"/>
                  </a:lnTo>
                  <a:lnTo>
                    <a:pt x="13" y="282"/>
                  </a:lnTo>
                  <a:lnTo>
                    <a:pt x="16" y="284"/>
                  </a:lnTo>
                  <a:lnTo>
                    <a:pt x="13" y="282"/>
                  </a:lnTo>
                  <a:lnTo>
                    <a:pt x="13" y="281"/>
                  </a:lnTo>
                  <a:lnTo>
                    <a:pt x="12" y="278"/>
                  </a:lnTo>
                  <a:lnTo>
                    <a:pt x="13" y="278"/>
                  </a:lnTo>
                  <a:lnTo>
                    <a:pt x="16" y="278"/>
                  </a:lnTo>
                  <a:lnTo>
                    <a:pt x="17" y="279"/>
                  </a:lnTo>
                  <a:lnTo>
                    <a:pt x="17" y="280"/>
                  </a:lnTo>
                  <a:lnTo>
                    <a:pt x="18" y="281"/>
                  </a:lnTo>
                  <a:lnTo>
                    <a:pt x="20" y="282"/>
                  </a:lnTo>
                  <a:lnTo>
                    <a:pt x="20" y="284"/>
                  </a:lnTo>
                  <a:lnTo>
                    <a:pt x="23" y="284"/>
                  </a:lnTo>
                  <a:lnTo>
                    <a:pt x="23" y="281"/>
                  </a:lnTo>
                  <a:lnTo>
                    <a:pt x="24" y="279"/>
                  </a:lnTo>
                  <a:lnTo>
                    <a:pt x="25" y="280"/>
                  </a:lnTo>
                  <a:lnTo>
                    <a:pt x="26" y="281"/>
                  </a:lnTo>
                  <a:lnTo>
                    <a:pt x="29" y="281"/>
                  </a:lnTo>
                  <a:lnTo>
                    <a:pt x="26" y="279"/>
                  </a:lnTo>
                  <a:lnTo>
                    <a:pt x="26" y="276"/>
                  </a:lnTo>
                  <a:lnTo>
                    <a:pt x="25" y="275"/>
                  </a:lnTo>
                  <a:lnTo>
                    <a:pt x="24" y="273"/>
                  </a:lnTo>
                  <a:lnTo>
                    <a:pt x="25" y="270"/>
                  </a:lnTo>
                  <a:lnTo>
                    <a:pt x="26" y="272"/>
                  </a:lnTo>
                  <a:lnTo>
                    <a:pt x="28" y="272"/>
                  </a:lnTo>
                  <a:lnTo>
                    <a:pt x="29" y="273"/>
                  </a:lnTo>
                  <a:lnTo>
                    <a:pt x="30" y="274"/>
                  </a:lnTo>
                  <a:lnTo>
                    <a:pt x="31" y="275"/>
                  </a:lnTo>
                  <a:lnTo>
                    <a:pt x="32" y="275"/>
                  </a:lnTo>
                  <a:lnTo>
                    <a:pt x="34" y="278"/>
                  </a:lnTo>
                  <a:lnTo>
                    <a:pt x="32" y="276"/>
                  </a:lnTo>
                  <a:lnTo>
                    <a:pt x="32" y="274"/>
                  </a:lnTo>
                  <a:lnTo>
                    <a:pt x="35" y="274"/>
                  </a:lnTo>
                  <a:lnTo>
                    <a:pt x="37" y="274"/>
                  </a:lnTo>
                  <a:lnTo>
                    <a:pt x="36" y="273"/>
                  </a:lnTo>
                  <a:lnTo>
                    <a:pt x="37" y="270"/>
                  </a:lnTo>
                  <a:lnTo>
                    <a:pt x="38" y="268"/>
                  </a:lnTo>
                  <a:lnTo>
                    <a:pt x="41" y="269"/>
                  </a:lnTo>
                  <a:lnTo>
                    <a:pt x="43" y="268"/>
                  </a:lnTo>
                  <a:lnTo>
                    <a:pt x="42" y="267"/>
                  </a:lnTo>
                  <a:lnTo>
                    <a:pt x="41" y="264"/>
                  </a:lnTo>
                  <a:lnTo>
                    <a:pt x="42" y="264"/>
                  </a:lnTo>
                  <a:lnTo>
                    <a:pt x="43" y="264"/>
                  </a:lnTo>
                  <a:lnTo>
                    <a:pt x="45" y="264"/>
                  </a:lnTo>
                  <a:lnTo>
                    <a:pt x="46" y="264"/>
                  </a:lnTo>
                  <a:lnTo>
                    <a:pt x="46" y="266"/>
                  </a:lnTo>
                  <a:lnTo>
                    <a:pt x="47" y="267"/>
                  </a:lnTo>
                  <a:lnTo>
                    <a:pt x="48" y="267"/>
                  </a:lnTo>
                  <a:lnTo>
                    <a:pt x="49" y="266"/>
                  </a:lnTo>
                  <a:lnTo>
                    <a:pt x="51" y="267"/>
                  </a:lnTo>
                  <a:lnTo>
                    <a:pt x="49" y="266"/>
                  </a:lnTo>
                  <a:lnTo>
                    <a:pt x="49" y="263"/>
                  </a:lnTo>
                  <a:lnTo>
                    <a:pt x="48" y="262"/>
                  </a:lnTo>
                  <a:lnTo>
                    <a:pt x="48" y="261"/>
                  </a:lnTo>
                  <a:lnTo>
                    <a:pt x="49" y="261"/>
                  </a:lnTo>
                  <a:lnTo>
                    <a:pt x="51" y="262"/>
                  </a:lnTo>
                  <a:lnTo>
                    <a:pt x="52" y="263"/>
                  </a:lnTo>
                  <a:lnTo>
                    <a:pt x="53" y="263"/>
                  </a:lnTo>
                  <a:lnTo>
                    <a:pt x="55" y="263"/>
                  </a:lnTo>
                  <a:lnTo>
                    <a:pt x="55" y="262"/>
                  </a:lnTo>
                  <a:lnTo>
                    <a:pt x="57" y="262"/>
                  </a:lnTo>
                  <a:lnTo>
                    <a:pt x="58" y="263"/>
                  </a:lnTo>
                  <a:lnTo>
                    <a:pt x="59" y="263"/>
                  </a:lnTo>
                  <a:lnTo>
                    <a:pt x="59" y="264"/>
                  </a:lnTo>
                  <a:lnTo>
                    <a:pt x="60" y="264"/>
                  </a:lnTo>
                  <a:lnTo>
                    <a:pt x="61" y="263"/>
                  </a:lnTo>
                  <a:lnTo>
                    <a:pt x="64" y="262"/>
                  </a:lnTo>
                  <a:lnTo>
                    <a:pt x="63" y="261"/>
                  </a:lnTo>
                  <a:lnTo>
                    <a:pt x="63" y="259"/>
                  </a:lnTo>
                  <a:lnTo>
                    <a:pt x="63" y="258"/>
                  </a:lnTo>
                  <a:lnTo>
                    <a:pt x="64" y="258"/>
                  </a:lnTo>
                  <a:lnTo>
                    <a:pt x="65" y="258"/>
                  </a:lnTo>
                  <a:lnTo>
                    <a:pt x="66" y="259"/>
                  </a:lnTo>
                  <a:lnTo>
                    <a:pt x="67" y="261"/>
                  </a:lnTo>
                  <a:lnTo>
                    <a:pt x="69" y="263"/>
                  </a:lnTo>
                  <a:lnTo>
                    <a:pt x="71" y="263"/>
                  </a:lnTo>
                  <a:lnTo>
                    <a:pt x="70" y="261"/>
                  </a:lnTo>
                  <a:lnTo>
                    <a:pt x="70" y="259"/>
                  </a:lnTo>
                  <a:lnTo>
                    <a:pt x="69" y="258"/>
                  </a:lnTo>
                  <a:lnTo>
                    <a:pt x="69" y="256"/>
                  </a:lnTo>
                  <a:lnTo>
                    <a:pt x="69" y="255"/>
                  </a:lnTo>
                  <a:lnTo>
                    <a:pt x="67" y="255"/>
                  </a:lnTo>
                  <a:lnTo>
                    <a:pt x="67" y="253"/>
                  </a:lnTo>
                  <a:lnTo>
                    <a:pt x="69" y="252"/>
                  </a:lnTo>
                  <a:lnTo>
                    <a:pt x="70" y="252"/>
                  </a:lnTo>
                  <a:lnTo>
                    <a:pt x="71" y="253"/>
                  </a:lnTo>
                  <a:lnTo>
                    <a:pt x="72" y="253"/>
                  </a:lnTo>
                  <a:lnTo>
                    <a:pt x="72" y="255"/>
                  </a:lnTo>
                  <a:lnTo>
                    <a:pt x="73" y="256"/>
                  </a:lnTo>
                  <a:lnTo>
                    <a:pt x="75" y="255"/>
                  </a:lnTo>
                  <a:lnTo>
                    <a:pt x="76" y="256"/>
                  </a:lnTo>
                  <a:lnTo>
                    <a:pt x="77" y="255"/>
                  </a:lnTo>
                  <a:lnTo>
                    <a:pt x="78" y="255"/>
                  </a:lnTo>
                  <a:lnTo>
                    <a:pt x="79" y="256"/>
                  </a:lnTo>
                  <a:lnTo>
                    <a:pt x="82" y="256"/>
                  </a:lnTo>
                  <a:lnTo>
                    <a:pt x="84" y="256"/>
                  </a:lnTo>
                  <a:lnTo>
                    <a:pt x="83" y="255"/>
                  </a:lnTo>
                  <a:lnTo>
                    <a:pt x="82" y="253"/>
                  </a:lnTo>
                  <a:lnTo>
                    <a:pt x="81" y="251"/>
                  </a:lnTo>
                  <a:lnTo>
                    <a:pt x="78" y="250"/>
                  </a:lnTo>
                  <a:lnTo>
                    <a:pt x="78" y="249"/>
                  </a:lnTo>
                  <a:lnTo>
                    <a:pt x="79" y="246"/>
                  </a:lnTo>
                  <a:lnTo>
                    <a:pt x="78" y="247"/>
                  </a:lnTo>
                  <a:lnTo>
                    <a:pt x="77" y="247"/>
                  </a:lnTo>
                  <a:lnTo>
                    <a:pt x="76" y="246"/>
                  </a:lnTo>
                  <a:lnTo>
                    <a:pt x="75" y="246"/>
                  </a:lnTo>
                  <a:lnTo>
                    <a:pt x="72" y="245"/>
                  </a:lnTo>
                  <a:lnTo>
                    <a:pt x="71" y="245"/>
                  </a:lnTo>
                  <a:lnTo>
                    <a:pt x="71" y="244"/>
                  </a:lnTo>
                  <a:lnTo>
                    <a:pt x="70" y="244"/>
                  </a:lnTo>
                  <a:lnTo>
                    <a:pt x="69" y="243"/>
                  </a:lnTo>
                  <a:lnTo>
                    <a:pt x="69" y="241"/>
                  </a:lnTo>
                  <a:lnTo>
                    <a:pt x="67" y="241"/>
                  </a:lnTo>
                  <a:lnTo>
                    <a:pt x="66" y="240"/>
                  </a:lnTo>
                  <a:lnTo>
                    <a:pt x="67" y="239"/>
                  </a:lnTo>
                  <a:lnTo>
                    <a:pt x="67" y="238"/>
                  </a:lnTo>
                  <a:lnTo>
                    <a:pt x="66" y="235"/>
                  </a:lnTo>
                  <a:lnTo>
                    <a:pt x="65" y="233"/>
                  </a:lnTo>
                  <a:lnTo>
                    <a:pt x="66" y="233"/>
                  </a:lnTo>
                  <a:lnTo>
                    <a:pt x="67" y="233"/>
                  </a:lnTo>
                  <a:lnTo>
                    <a:pt x="69" y="233"/>
                  </a:lnTo>
                  <a:lnTo>
                    <a:pt x="69" y="234"/>
                  </a:lnTo>
                  <a:lnTo>
                    <a:pt x="70" y="234"/>
                  </a:lnTo>
                  <a:lnTo>
                    <a:pt x="70" y="232"/>
                  </a:lnTo>
                  <a:lnTo>
                    <a:pt x="70" y="231"/>
                  </a:lnTo>
                  <a:lnTo>
                    <a:pt x="72" y="231"/>
                  </a:lnTo>
                  <a:lnTo>
                    <a:pt x="73" y="232"/>
                  </a:lnTo>
                  <a:lnTo>
                    <a:pt x="75" y="233"/>
                  </a:lnTo>
                  <a:lnTo>
                    <a:pt x="75" y="234"/>
                  </a:lnTo>
                  <a:lnTo>
                    <a:pt x="76" y="235"/>
                  </a:lnTo>
                  <a:lnTo>
                    <a:pt x="78" y="234"/>
                  </a:lnTo>
                  <a:lnTo>
                    <a:pt x="77" y="232"/>
                  </a:lnTo>
                  <a:lnTo>
                    <a:pt x="77" y="231"/>
                  </a:lnTo>
                  <a:lnTo>
                    <a:pt x="76" y="231"/>
                  </a:lnTo>
                  <a:lnTo>
                    <a:pt x="78" y="229"/>
                  </a:lnTo>
                  <a:lnTo>
                    <a:pt x="78" y="231"/>
                  </a:lnTo>
                  <a:lnTo>
                    <a:pt x="79" y="229"/>
                  </a:lnTo>
                  <a:lnTo>
                    <a:pt x="79" y="231"/>
                  </a:lnTo>
                  <a:lnTo>
                    <a:pt x="82" y="231"/>
                  </a:lnTo>
                  <a:lnTo>
                    <a:pt x="83" y="232"/>
                  </a:lnTo>
                  <a:lnTo>
                    <a:pt x="84" y="233"/>
                  </a:lnTo>
                  <a:lnTo>
                    <a:pt x="85" y="233"/>
                  </a:lnTo>
                  <a:lnTo>
                    <a:pt x="85" y="232"/>
                  </a:lnTo>
                  <a:lnTo>
                    <a:pt x="85" y="231"/>
                  </a:lnTo>
                  <a:lnTo>
                    <a:pt x="87" y="228"/>
                  </a:lnTo>
                  <a:lnTo>
                    <a:pt x="87" y="227"/>
                  </a:lnTo>
                  <a:lnTo>
                    <a:pt x="89" y="227"/>
                  </a:lnTo>
                  <a:lnTo>
                    <a:pt x="89" y="229"/>
                  </a:lnTo>
                  <a:lnTo>
                    <a:pt x="89" y="231"/>
                  </a:lnTo>
                  <a:lnTo>
                    <a:pt x="90" y="231"/>
                  </a:lnTo>
                  <a:lnTo>
                    <a:pt x="90" y="227"/>
                  </a:lnTo>
                  <a:lnTo>
                    <a:pt x="89" y="225"/>
                  </a:lnTo>
                  <a:lnTo>
                    <a:pt x="90" y="222"/>
                  </a:lnTo>
                  <a:lnTo>
                    <a:pt x="90" y="221"/>
                  </a:lnTo>
                  <a:lnTo>
                    <a:pt x="91" y="222"/>
                  </a:lnTo>
                  <a:lnTo>
                    <a:pt x="93" y="222"/>
                  </a:lnTo>
                  <a:lnTo>
                    <a:pt x="93" y="223"/>
                  </a:lnTo>
                  <a:lnTo>
                    <a:pt x="94" y="222"/>
                  </a:lnTo>
                  <a:lnTo>
                    <a:pt x="94" y="223"/>
                  </a:lnTo>
                  <a:lnTo>
                    <a:pt x="94" y="226"/>
                  </a:lnTo>
                  <a:lnTo>
                    <a:pt x="95" y="226"/>
                  </a:lnTo>
                  <a:lnTo>
                    <a:pt x="96" y="227"/>
                  </a:lnTo>
                  <a:lnTo>
                    <a:pt x="95" y="227"/>
                  </a:lnTo>
                  <a:lnTo>
                    <a:pt x="96" y="227"/>
                  </a:lnTo>
                  <a:lnTo>
                    <a:pt x="97" y="227"/>
                  </a:lnTo>
                  <a:lnTo>
                    <a:pt x="99" y="228"/>
                  </a:lnTo>
                  <a:lnTo>
                    <a:pt x="100" y="228"/>
                  </a:lnTo>
                  <a:lnTo>
                    <a:pt x="101" y="229"/>
                  </a:lnTo>
                  <a:lnTo>
                    <a:pt x="104" y="229"/>
                  </a:lnTo>
                  <a:lnTo>
                    <a:pt x="104" y="231"/>
                  </a:lnTo>
                  <a:lnTo>
                    <a:pt x="105" y="232"/>
                  </a:lnTo>
                  <a:lnTo>
                    <a:pt x="106" y="231"/>
                  </a:lnTo>
                  <a:lnTo>
                    <a:pt x="106" y="229"/>
                  </a:lnTo>
                  <a:lnTo>
                    <a:pt x="105" y="228"/>
                  </a:lnTo>
                  <a:lnTo>
                    <a:pt x="104" y="227"/>
                  </a:lnTo>
                  <a:lnTo>
                    <a:pt x="104" y="225"/>
                  </a:lnTo>
                  <a:lnTo>
                    <a:pt x="105" y="223"/>
                  </a:lnTo>
                  <a:lnTo>
                    <a:pt x="106" y="223"/>
                  </a:lnTo>
                  <a:lnTo>
                    <a:pt x="107" y="225"/>
                  </a:lnTo>
                  <a:lnTo>
                    <a:pt x="107" y="223"/>
                  </a:lnTo>
                  <a:lnTo>
                    <a:pt x="108" y="222"/>
                  </a:lnTo>
                  <a:lnTo>
                    <a:pt x="108" y="223"/>
                  </a:lnTo>
                  <a:lnTo>
                    <a:pt x="110" y="223"/>
                  </a:lnTo>
                  <a:lnTo>
                    <a:pt x="110" y="222"/>
                  </a:lnTo>
                  <a:lnTo>
                    <a:pt x="111" y="222"/>
                  </a:lnTo>
                  <a:lnTo>
                    <a:pt x="111" y="221"/>
                  </a:lnTo>
                  <a:lnTo>
                    <a:pt x="114" y="221"/>
                  </a:lnTo>
                  <a:lnTo>
                    <a:pt x="116" y="221"/>
                  </a:lnTo>
                  <a:lnTo>
                    <a:pt x="117" y="222"/>
                  </a:lnTo>
                  <a:lnTo>
                    <a:pt x="118" y="222"/>
                  </a:lnTo>
                  <a:lnTo>
                    <a:pt x="118" y="223"/>
                  </a:lnTo>
                  <a:lnTo>
                    <a:pt x="119" y="223"/>
                  </a:lnTo>
                  <a:lnTo>
                    <a:pt x="120" y="223"/>
                  </a:lnTo>
                  <a:lnTo>
                    <a:pt x="120" y="222"/>
                  </a:lnTo>
                  <a:lnTo>
                    <a:pt x="122" y="221"/>
                  </a:lnTo>
                  <a:lnTo>
                    <a:pt x="124" y="221"/>
                  </a:lnTo>
                  <a:lnTo>
                    <a:pt x="125" y="220"/>
                  </a:lnTo>
                  <a:lnTo>
                    <a:pt x="126" y="219"/>
                  </a:lnTo>
                  <a:lnTo>
                    <a:pt x="128" y="219"/>
                  </a:lnTo>
                  <a:lnTo>
                    <a:pt x="126" y="220"/>
                  </a:lnTo>
                  <a:lnTo>
                    <a:pt x="126" y="221"/>
                  </a:lnTo>
                  <a:lnTo>
                    <a:pt x="126" y="220"/>
                  </a:lnTo>
                  <a:lnTo>
                    <a:pt x="128" y="220"/>
                  </a:lnTo>
                  <a:lnTo>
                    <a:pt x="129" y="220"/>
                  </a:lnTo>
                  <a:lnTo>
                    <a:pt x="130" y="219"/>
                  </a:lnTo>
                  <a:lnTo>
                    <a:pt x="130" y="217"/>
                  </a:lnTo>
                  <a:lnTo>
                    <a:pt x="129" y="217"/>
                  </a:lnTo>
                  <a:lnTo>
                    <a:pt x="128" y="219"/>
                  </a:lnTo>
                  <a:lnTo>
                    <a:pt x="128" y="217"/>
                  </a:lnTo>
                  <a:lnTo>
                    <a:pt x="128" y="215"/>
                  </a:lnTo>
                  <a:lnTo>
                    <a:pt x="128" y="214"/>
                  </a:lnTo>
                  <a:lnTo>
                    <a:pt x="128" y="213"/>
                  </a:lnTo>
                  <a:lnTo>
                    <a:pt x="128" y="211"/>
                  </a:lnTo>
                  <a:lnTo>
                    <a:pt x="129" y="210"/>
                  </a:lnTo>
                  <a:lnTo>
                    <a:pt x="129" y="211"/>
                  </a:lnTo>
                  <a:lnTo>
                    <a:pt x="131" y="211"/>
                  </a:lnTo>
                  <a:lnTo>
                    <a:pt x="132" y="213"/>
                  </a:lnTo>
                  <a:lnTo>
                    <a:pt x="134" y="211"/>
                  </a:lnTo>
                  <a:lnTo>
                    <a:pt x="136" y="210"/>
                  </a:lnTo>
                  <a:lnTo>
                    <a:pt x="138" y="209"/>
                  </a:lnTo>
                  <a:lnTo>
                    <a:pt x="138" y="208"/>
                  </a:lnTo>
                  <a:lnTo>
                    <a:pt x="138" y="207"/>
                  </a:lnTo>
                  <a:lnTo>
                    <a:pt x="140" y="207"/>
                  </a:lnTo>
                  <a:lnTo>
                    <a:pt x="141" y="207"/>
                  </a:lnTo>
                  <a:lnTo>
                    <a:pt x="141" y="205"/>
                  </a:lnTo>
                  <a:lnTo>
                    <a:pt x="141" y="204"/>
                  </a:lnTo>
                  <a:lnTo>
                    <a:pt x="142" y="205"/>
                  </a:lnTo>
                  <a:lnTo>
                    <a:pt x="143" y="205"/>
                  </a:lnTo>
                  <a:lnTo>
                    <a:pt x="144" y="207"/>
                  </a:lnTo>
                  <a:lnTo>
                    <a:pt x="144" y="205"/>
                  </a:lnTo>
                  <a:lnTo>
                    <a:pt x="146" y="205"/>
                  </a:lnTo>
                  <a:lnTo>
                    <a:pt x="147" y="205"/>
                  </a:lnTo>
                  <a:lnTo>
                    <a:pt x="148" y="205"/>
                  </a:lnTo>
                  <a:lnTo>
                    <a:pt x="149" y="205"/>
                  </a:lnTo>
                  <a:lnTo>
                    <a:pt x="149" y="207"/>
                  </a:lnTo>
                  <a:lnTo>
                    <a:pt x="150" y="205"/>
                  </a:lnTo>
                  <a:lnTo>
                    <a:pt x="152" y="205"/>
                  </a:lnTo>
                  <a:lnTo>
                    <a:pt x="153" y="205"/>
                  </a:lnTo>
                  <a:lnTo>
                    <a:pt x="153" y="204"/>
                  </a:lnTo>
                  <a:lnTo>
                    <a:pt x="155" y="204"/>
                  </a:lnTo>
                  <a:lnTo>
                    <a:pt x="154" y="204"/>
                  </a:lnTo>
                  <a:lnTo>
                    <a:pt x="155" y="204"/>
                  </a:lnTo>
                  <a:lnTo>
                    <a:pt x="155" y="205"/>
                  </a:lnTo>
                  <a:lnTo>
                    <a:pt x="155" y="204"/>
                  </a:lnTo>
                  <a:lnTo>
                    <a:pt x="155" y="203"/>
                  </a:lnTo>
                  <a:lnTo>
                    <a:pt x="156" y="203"/>
                  </a:lnTo>
                  <a:lnTo>
                    <a:pt x="155" y="203"/>
                  </a:lnTo>
                  <a:lnTo>
                    <a:pt x="156" y="202"/>
                  </a:lnTo>
                  <a:lnTo>
                    <a:pt x="158" y="202"/>
                  </a:lnTo>
                  <a:lnTo>
                    <a:pt x="159" y="202"/>
                  </a:lnTo>
                  <a:lnTo>
                    <a:pt x="160" y="202"/>
                  </a:lnTo>
                  <a:lnTo>
                    <a:pt x="160" y="203"/>
                  </a:lnTo>
                  <a:lnTo>
                    <a:pt x="160" y="202"/>
                  </a:lnTo>
                  <a:lnTo>
                    <a:pt x="159" y="201"/>
                  </a:lnTo>
                  <a:lnTo>
                    <a:pt x="160" y="201"/>
                  </a:lnTo>
                  <a:lnTo>
                    <a:pt x="159" y="199"/>
                  </a:lnTo>
                  <a:lnTo>
                    <a:pt x="160" y="199"/>
                  </a:lnTo>
                  <a:lnTo>
                    <a:pt x="161" y="199"/>
                  </a:lnTo>
                  <a:lnTo>
                    <a:pt x="161" y="201"/>
                  </a:lnTo>
                  <a:lnTo>
                    <a:pt x="161" y="199"/>
                  </a:lnTo>
                  <a:lnTo>
                    <a:pt x="163" y="199"/>
                  </a:lnTo>
                  <a:lnTo>
                    <a:pt x="161" y="199"/>
                  </a:lnTo>
                  <a:lnTo>
                    <a:pt x="163" y="198"/>
                  </a:lnTo>
                  <a:lnTo>
                    <a:pt x="163" y="197"/>
                  </a:lnTo>
                  <a:lnTo>
                    <a:pt x="163" y="196"/>
                  </a:lnTo>
                  <a:lnTo>
                    <a:pt x="161" y="196"/>
                  </a:lnTo>
                  <a:lnTo>
                    <a:pt x="163" y="195"/>
                  </a:lnTo>
                  <a:lnTo>
                    <a:pt x="163" y="193"/>
                  </a:lnTo>
                  <a:lnTo>
                    <a:pt x="164" y="195"/>
                  </a:lnTo>
                  <a:lnTo>
                    <a:pt x="164" y="193"/>
                  </a:lnTo>
                  <a:lnTo>
                    <a:pt x="163" y="193"/>
                  </a:lnTo>
                  <a:lnTo>
                    <a:pt x="165" y="192"/>
                  </a:lnTo>
                  <a:lnTo>
                    <a:pt x="166" y="191"/>
                  </a:lnTo>
                  <a:lnTo>
                    <a:pt x="166" y="190"/>
                  </a:lnTo>
                  <a:lnTo>
                    <a:pt x="167" y="190"/>
                  </a:lnTo>
                  <a:lnTo>
                    <a:pt x="167" y="189"/>
                  </a:lnTo>
                  <a:lnTo>
                    <a:pt x="167" y="187"/>
                  </a:lnTo>
                  <a:lnTo>
                    <a:pt x="169" y="187"/>
                  </a:lnTo>
                  <a:lnTo>
                    <a:pt x="169" y="186"/>
                  </a:lnTo>
                  <a:lnTo>
                    <a:pt x="170" y="186"/>
                  </a:lnTo>
                  <a:lnTo>
                    <a:pt x="169" y="186"/>
                  </a:lnTo>
                  <a:lnTo>
                    <a:pt x="169" y="185"/>
                  </a:lnTo>
                  <a:lnTo>
                    <a:pt x="169" y="184"/>
                  </a:lnTo>
                  <a:lnTo>
                    <a:pt x="169" y="183"/>
                  </a:lnTo>
                  <a:lnTo>
                    <a:pt x="167" y="183"/>
                  </a:lnTo>
                  <a:lnTo>
                    <a:pt x="166" y="183"/>
                  </a:lnTo>
                  <a:lnTo>
                    <a:pt x="166" y="184"/>
                  </a:lnTo>
                  <a:lnTo>
                    <a:pt x="166" y="183"/>
                  </a:lnTo>
                  <a:lnTo>
                    <a:pt x="166" y="184"/>
                  </a:lnTo>
                  <a:lnTo>
                    <a:pt x="165" y="183"/>
                  </a:lnTo>
                  <a:lnTo>
                    <a:pt x="164" y="181"/>
                  </a:lnTo>
                  <a:lnTo>
                    <a:pt x="164" y="183"/>
                  </a:lnTo>
                  <a:lnTo>
                    <a:pt x="163" y="183"/>
                  </a:lnTo>
                  <a:lnTo>
                    <a:pt x="161" y="183"/>
                  </a:lnTo>
                  <a:lnTo>
                    <a:pt x="160" y="183"/>
                  </a:lnTo>
                  <a:lnTo>
                    <a:pt x="160" y="181"/>
                  </a:lnTo>
                  <a:lnTo>
                    <a:pt x="159" y="183"/>
                  </a:lnTo>
                  <a:lnTo>
                    <a:pt x="158" y="183"/>
                  </a:lnTo>
                  <a:lnTo>
                    <a:pt x="158" y="184"/>
                  </a:lnTo>
                  <a:lnTo>
                    <a:pt x="156" y="184"/>
                  </a:lnTo>
                  <a:lnTo>
                    <a:pt x="156" y="185"/>
                  </a:lnTo>
                  <a:lnTo>
                    <a:pt x="155" y="185"/>
                  </a:lnTo>
                  <a:lnTo>
                    <a:pt x="155" y="186"/>
                  </a:lnTo>
                  <a:lnTo>
                    <a:pt x="155" y="187"/>
                  </a:lnTo>
                  <a:lnTo>
                    <a:pt x="155" y="189"/>
                  </a:lnTo>
                  <a:lnTo>
                    <a:pt x="156" y="189"/>
                  </a:lnTo>
                  <a:lnTo>
                    <a:pt x="156" y="190"/>
                  </a:lnTo>
                  <a:lnTo>
                    <a:pt x="155" y="191"/>
                  </a:lnTo>
                  <a:lnTo>
                    <a:pt x="155" y="192"/>
                  </a:lnTo>
                  <a:lnTo>
                    <a:pt x="154" y="192"/>
                  </a:lnTo>
                  <a:lnTo>
                    <a:pt x="154" y="193"/>
                  </a:lnTo>
                  <a:lnTo>
                    <a:pt x="153" y="193"/>
                  </a:lnTo>
                  <a:lnTo>
                    <a:pt x="153" y="195"/>
                  </a:lnTo>
                  <a:lnTo>
                    <a:pt x="152" y="195"/>
                  </a:lnTo>
                  <a:lnTo>
                    <a:pt x="152" y="196"/>
                  </a:lnTo>
                  <a:lnTo>
                    <a:pt x="150" y="196"/>
                  </a:lnTo>
                  <a:lnTo>
                    <a:pt x="152" y="196"/>
                  </a:lnTo>
                  <a:lnTo>
                    <a:pt x="150" y="196"/>
                  </a:lnTo>
                  <a:lnTo>
                    <a:pt x="152" y="197"/>
                  </a:lnTo>
                  <a:lnTo>
                    <a:pt x="152" y="196"/>
                  </a:lnTo>
                  <a:lnTo>
                    <a:pt x="153" y="196"/>
                  </a:lnTo>
                  <a:lnTo>
                    <a:pt x="154" y="196"/>
                  </a:lnTo>
                  <a:lnTo>
                    <a:pt x="155" y="197"/>
                  </a:lnTo>
                  <a:lnTo>
                    <a:pt x="156" y="197"/>
                  </a:lnTo>
                  <a:lnTo>
                    <a:pt x="156" y="198"/>
                  </a:lnTo>
                  <a:lnTo>
                    <a:pt x="155" y="198"/>
                  </a:lnTo>
                  <a:lnTo>
                    <a:pt x="156" y="198"/>
                  </a:lnTo>
                  <a:lnTo>
                    <a:pt x="155" y="198"/>
                  </a:lnTo>
                  <a:lnTo>
                    <a:pt x="154" y="199"/>
                  </a:lnTo>
                  <a:lnTo>
                    <a:pt x="154" y="201"/>
                  </a:lnTo>
                  <a:lnTo>
                    <a:pt x="154" y="199"/>
                  </a:lnTo>
                  <a:lnTo>
                    <a:pt x="154" y="201"/>
                  </a:lnTo>
                  <a:lnTo>
                    <a:pt x="153" y="202"/>
                  </a:lnTo>
                  <a:lnTo>
                    <a:pt x="152" y="202"/>
                  </a:lnTo>
                  <a:lnTo>
                    <a:pt x="150" y="201"/>
                  </a:lnTo>
                  <a:lnTo>
                    <a:pt x="150" y="202"/>
                  </a:lnTo>
                  <a:lnTo>
                    <a:pt x="149" y="202"/>
                  </a:lnTo>
                  <a:lnTo>
                    <a:pt x="148" y="202"/>
                  </a:lnTo>
                  <a:lnTo>
                    <a:pt x="147" y="202"/>
                  </a:lnTo>
                  <a:lnTo>
                    <a:pt x="147" y="201"/>
                  </a:lnTo>
                  <a:lnTo>
                    <a:pt x="146" y="201"/>
                  </a:lnTo>
                  <a:lnTo>
                    <a:pt x="144" y="201"/>
                  </a:lnTo>
                  <a:lnTo>
                    <a:pt x="143" y="201"/>
                  </a:lnTo>
                  <a:lnTo>
                    <a:pt x="142" y="201"/>
                  </a:lnTo>
                  <a:lnTo>
                    <a:pt x="142" y="202"/>
                  </a:lnTo>
                  <a:lnTo>
                    <a:pt x="141" y="201"/>
                  </a:lnTo>
                  <a:lnTo>
                    <a:pt x="140" y="201"/>
                  </a:lnTo>
                  <a:lnTo>
                    <a:pt x="140" y="199"/>
                  </a:lnTo>
                  <a:lnTo>
                    <a:pt x="140" y="198"/>
                  </a:lnTo>
                  <a:lnTo>
                    <a:pt x="142" y="198"/>
                  </a:lnTo>
                  <a:lnTo>
                    <a:pt x="142" y="197"/>
                  </a:lnTo>
                  <a:lnTo>
                    <a:pt x="141" y="196"/>
                  </a:lnTo>
                  <a:lnTo>
                    <a:pt x="142" y="196"/>
                  </a:lnTo>
                  <a:lnTo>
                    <a:pt x="143" y="195"/>
                  </a:lnTo>
                  <a:lnTo>
                    <a:pt x="143" y="193"/>
                  </a:lnTo>
                  <a:lnTo>
                    <a:pt x="142" y="193"/>
                  </a:lnTo>
                  <a:lnTo>
                    <a:pt x="142" y="192"/>
                  </a:lnTo>
                  <a:lnTo>
                    <a:pt x="142" y="191"/>
                  </a:lnTo>
                  <a:lnTo>
                    <a:pt x="143" y="190"/>
                  </a:lnTo>
                  <a:lnTo>
                    <a:pt x="142" y="190"/>
                  </a:lnTo>
                  <a:lnTo>
                    <a:pt x="143" y="190"/>
                  </a:lnTo>
                  <a:lnTo>
                    <a:pt x="144" y="190"/>
                  </a:lnTo>
                  <a:lnTo>
                    <a:pt x="146" y="190"/>
                  </a:lnTo>
                  <a:lnTo>
                    <a:pt x="146" y="187"/>
                  </a:lnTo>
                  <a:lnTo>
                    <a:pt x="144" y="187"/>
                  </a:lnTo>
                  <a:lnTo>
                    <a:pt x="143" y="187"/>
                  </a:lnTo>
                  <a:lnTo>
                    <a:pt x="144" y="187"/>
                  </a:lnTo>
                  <a:lnTo>
                    <a:pt x="143" y="187"/>
                  </a:lnTo>
                  <a:lnTo>
                    <a:pt x="142" y="187"/>
                  </a:lnTo>
                  <a:lnTo>
                    <a:pt x="141" y="189"/>
                  </a:lnTo>
                  <a:lnTo>
                    <a:pt x="140" y="189"/>
                  </a:lnTo>
                  <a:lnTo>
                    <a:pt x="140" y="190"/>
                  </a:lnTo>
                  <a:lnTo>
                    <a:pt x="138" y="190"/>
                  </a:lnTo>
                  <a:lnTo>
                    <a:pt x="137" y="190"/>
                  </a:lnTo>
                  <a:lnTo>
                    <a:pt x="137" y="191"/>
                  </a:lnTo>
                  <a:lnTo>
                    <a:pt x="137" y="190"/>
                  </a:lnTo>
                  <a:lnTo>
                    <a:pt x="136" y="190"/>
                  </a:lnTo>
                  <a:lnTo>
                    <a:pt x="135" y="191"/>
                  </a:lnTo>
                  <a:lnTo>
                    <a:pt x="135" y="190"/>
                  </a:lnTo>
                  <a:lnTo>
                    <a:pt x="134" y="190"/>
                  </a:lnTo>
                  <a:lnTo>
                    <a:pt x="134" y="191"/>
                  </a:lnTo>
                  <a:lnTo>
                    <a:pt x="132" y="191"/>
                  </a:lnTo>
                  <a:lnTo>
                    <a:pt x="134" y="191"/>
                  </a:lnTo>
                  <a:lnTo>
                    <a:pt x="134" y="192"/>
                  </a:lnTo>
                  <a:lnTo>
                    <a:pt x="132" y="192"/>
                  </a:lnTo>
                  <a:lnTo>
                    <a:pt x="132" y="191"/>
                  </a:lnTo>
                  <a:lnTo>
                    <a:pt x="131" y="192"/>
                  </a:lnTo>
                  <a:lnTo>
                    <a:pt x="131" y="193"/>
                  </a:lnTo>
                  <a:lnTo>
                    <a:pt x="132" y="193"/>
                  </a:lnTo>
                  <a:lnTo>
                    <a:pt x="131" y="193"/>
                  </a:lnTo>
                  <a:lnTo>
                    <a:pt x="130" y="193"/>
                  </a:lnTo>
                  <a:lnTo>
                    <a:pt x="129" y="193"/>
                  </a:lnTo>
                  <a:lnTo>
                    <a:pt x="128" y="193"/>
                  </a:lnTo>
                  <a:lnTo>
                    <a:pt x="126" y="193"/>
                  </a:lnTo>
                  <a:lnTo>
                    <a:pt x="125" y="193"/>
                  </a:lnTo>
                  <a:lnTo>
                    <a:pt x="125" y="192"/>
                  </a:lnTo>
                  <a:lnTo>
                    <a:pt x="124" y="192"/>
                  </a:lnTo>
                  <a:lnTo>
                    <a:pt x="123" y="192"/>
                  </a:lnTo>
                  <a:lnTo>
                    <a:pt x="123" y="191"/>
                  </a:lnTo>
                  <a:lnTo>
                    <a:pt x="122" y="190"/>
                  </a:lnTo>
                  <a:lnTo>
                    <a:pt x="122" y="191"/>
                  </a:lnTo>
                  <a:lnTo>
                    <a:pt x="122" y="192"/>
                  </a:lnTo>
                  <a:lnTo>
                    <a:pt x="120" y="191"/>
                  </a:lnTo>
                  <a:lnTo>
                    <a:pt x="120" y="192"/>
                  </a:lnTo>
                  <a:lnTo>
                    <a:pt x="120" y="193"/>
                  </a:lnTo>
                  <a:lnTo>
                    <a:pt x="119" y="193"/>
                  </a:lnTo>
                  <a:lnTo>
                    <a:pt x="119" y="195"/>
                  </a:lnTo>
                  <a:lnTo>
                    <a:pt x="118" y="195"/>
                  </a:lnTo>
                  <a:lnTo>
                    <a:pt x="117" y="193"/>
                  </a:lnTo>
                  <a:lnTo>
                    <a:pt x="117" y="192"/>
                  </a:lnTo>
                  <a:lnTo>
                    <a:pt x="117" y="193"/>
                  </a:lnTo>
                  <a:lnTo>
                    <a:pt x="116" y="193"/>
                  </a:lnTo>
                  <a:lnTo>
                    <a:pt x="116" y="195"/>
                  </a:lnTo>
                  <a:lnTo>
                    <a:pt x="116" y="196"/>
                  </a:lnTo>
                  <a:lnTo>
                    <a:pt x="116" y="195"/>
                  </a:lnTo>
                  <a:lnTo>
                    <a:pt x="116" y="196"/>
                  </a:lnTo>
                  <a:lnTo>
                    <a:pt x="114" y="197"/>
                  </a:lnTo>
                  <a:lnTo>
                    <a:pt x="114" y="196"/>
                  </a:lnTo>
                  <a:lnTo>
                    <a:pt x="113" y="196"/>
                  </a:lnTo>
                  <a:lnTo>
                    <a:pt x="113" y="195"/>
                  </a:lnTo>
                  <a:lnTo>
                    <a:pt x="112" y="195"/>
                  </a:lnTo>
                  <a:lnTo>
                    <a:pt x="112" y="196"/>
                  </a:lnTo>
                  <a:lnTo>
                    <a:pt x="111" y="196"/>
                  </a:lnTo>
                  <a:lnTo>
                    <a:pt x="111" y="195"/>
                  </a:lnTo>
                  <a:lnTo>
                    <a:pt x="111" y="193"/>
                  </a:lnTo>
                  <a:lnTo>
                    <a:pt x="111" y="192"/>
                  </a:lnTo>
                  <a:lnTo>
                    <a:pt x="112" y="192"/>
                  </a:lnTo>
                  <a:lnTo>
                    <a:pt x="113" y="192"/>
                  </a:lnTo>
                  <a:lnTo>
                    <a:pt x="114" y="192"/>
                  </a:lnTo>
                  <a:lnTo>
                    <a:pt x="113" y="191"/>
                  </a:lnTo>
                  <a:lnTo>
                    <a:pt x="114" y="191"/>
                  </a:lnTo>
                  <a:lnTo>
                    <a:pt x="113" y="191"/>
                  </a:lnTo>
                  <a:lnTo>
                    <a:pt x="113" y="190"/>
                  </a:lnTo>
                  <a:lnTo>
                    <a:pt x="116" y="190"/>
                  </a:lnTo>
                  <a:lnTo>
                    <a:pt x="114" y="190"/>
                  </a:lnTo>
                  <a:lnTo>
                    <a:pt x="116" y="190"/>
                  </a:lnTo>
                  <a:lnTo>
                    <a:pt x="117" y="190"/>
                  </a:lnTo>
                  <a:lnTo>
                    <a:pt x="117" y="189"/>
                  </a:lnTo>
                  <a:lnTo>
                    <a:pt x="116" y="189"/>
                  </a:lnTo>
                  <a:lnTo>
                    <a:pt x="116" y="187"/>
                  </a:lnTo>
                  <a:lnTo>
                    <a:pt x="114" y="187"/>
                  </a:lnTo>
                  <a:lnTo>
                    <a:pt x="113" y="187"/>
                  </a:lnTo>
                  <a:lnTo>
                    <a:pt x="113" y="189"/>
                  </a:lnTo>
                  <a:lnTo>
                    <a:pt x="111" y="189"/>
                  </a:lnTo>
                  <a:lnTo>
                    <a:pt x="110" y="190"/>
                  </a:lnTo>
                  <a:lnTo>
                    <a:pt x="110" y="191"/>
                  </a:lnTo>
                  <a:lnTo>
                    <a:pt x="110" y="190"/>
                  </a:lnTo>
                  <a:lnTo>
                    <a:pt x="110" y="189"/>
                  </a:lnTo>
                  <a:lnTo>
                    <a:pt x="108" y="190"/>
                  </a:lnTo>
                  <a:lnTo>
                    <a:pt x="107" y="191"/>
                  </a:lnTo>
                  <a:lnTo>
                    <a:pt x="107" y="192"/>
                  </a:lnTo>
                  <a:lnTo>
                    <a:pt x="107" y="191"/>
                  </a:lnTo>
                  <a:lnTo>
                    <a:pt x="106" y="191"/>
                  </a:lnTo>
                  <a:lnTo>
                    <a:pt x="106" y="190"/>
                  </a:lnTo>
                  <a:lnTo>
                    <a:pt x="105" y="190"/>
                  </a:lnTo>
                  <a:lnTo>
                    <a:pt x="104" y="190"/>
                  </a:lnTo>
                  <a:lnTo>
                    <a:pt x="102" y="190"/>
                  </a:lnTo>
                  <a:lnTo>
                    <a:pt x="102" y="189"/>
                  </a:lnTo>
                  <a:lnTo>
                    <a:pt x="101" y="189"/>
                  </a:lnTo>
                  <a:lnTo>
                    <a:pt x="100" y="189"/>
                  </a:lnTo>
                  <a:lnTo>
                    <a:pt x="100" y="187"/>
                  </a:lnTo>
                  <a:lnTo>
                    <a:pt x="99" y="187"/>
                  </a:lnTo>
                  <a:lnTo>
                    <a:pt x="99" y="186"/>
                  </a:lnTo>
                  <a:lnTo>
                    <a:pt x="97" y="186"/>
                  </a:lnTo>
                  <a:lnTo>
                    <a:pt x="96" y="186"/>
                  </a:lnTo>
                  <a:lnTo>
                    <a:pt x="97" y="186"/>
                  </a:lnTo>
                  <a:lnTo>
                    <a:pt x="97" y="185"/>
                  </a:lnTo>
                  <a:lnTo>
                    <a:pt x="96" y="184"/>
                  </a:lnTo>
                  <a:lnTo>
                    <a:pt x="97" y="184"/>
                  </a:lnTo>
                  <a:lnTo>
                    <a:pt x="97" y="183"/>
                  </a:lnTo>
                  <a:lnTo>
                    <a:pt x="96" y="183"/>
                  </a:lnTo>
                  <a:lnTo>
                    <a:pt x="97" y="183"/>
                  </a:lnTo>
                  <a:lnTo>
                    <a:pt x="97" y="181"/>
                  </a:lnTo>
                  <a:lnTo>
                    <a:pt x="97" y="183"/>
                  </a:lnTo>
                  <a:lnTo>
                    <a:pt x="96" y="183"/>
                  </a:lnTo>
                  <a:lnTo>
                    <a:pt x="96" y="181"/>
                  </a:lnTo>
                  <a:lnTo>
                    <a:pt x="95" y="181"/>
                  </a:lnTo>
                  <a:lnTo>
                    <a:pt x="95" y="180"/>
                  </a:lnTo>
                  <a:lnTo>
                    <a:pt x="95" y="179"/>
                  </a:lnTo>
                  <a:lnTo>
                    <a:pt x="94" y="179"/>
                  </a:lnTo>
                  <a:lnTo>
                    <a:pt x="94" y="178"/>
                  </a:lnTo>
                  <a:lnTo>
                    <a:pt x="94" y="177"/>
                  </a:lnTo>
                  <a:lnTo>
                    <a:pt x="94" y="175"/>
                  </a:lnTo>
                  <a:lnTo>
                    <a:pt x="93" y="174"/>
                  </a:lnTo>
                  <a:lnTo>
                    <a:pt x="94" y="174"/>
                  </a:lnTo>
                  <a:lnTo>
                    <a:pt x="94" y="173"/>
                  </a:lnTo>
                  <a:lnTo>
                    <a:pt x="95" y="173"/>
                  </a:lnTo>
                  <a:lnTo>
                    <a:pt x="95" y="174"/>
                  </a:lnTo>
                  <a:lnTo>
                    <a:pt x="96" y="174"/>
                  </a:lnTo>
                  <a:lnTo>
                    <a:pt x="96" y="175"/>
                  </a:lnTo>
                  <a:lnTo>
                    <a:pt x="96" y="174"/>
                  </a:lnTo>
                  <a:lnTo>
                    <a:pt x="97" y="174"/>
                  </a:lnTo>
                  <a:lnTo>
                    <a:pt x="96" y="174"/>
                  </a:lnTo>
                  <a:lnTo>
                    <a:pt x="97" y="174"/>
                  </a:lnTo>
                  <a:lnTo>
                    <a:pt x="99" y="174"/>
                  </a:lnTo>
                  <a:lnTo>
                    <a:pt x="99" y="173"/>
                  </a:lnTo>
                  <a:lnTo>
                    <a:pt x="100" y="173"/>
                  </a:lnTo>
                  <a:lnTo>
                    <a:pt x="100" y="172"/>
                  </a:lnTo>
                  <a:lnTo>
                    <a:pt x="101" y="172"/>
                  </a:lnTo>
                  <a:lnTo>
                    <a:pt x="101" y="173"/>
                  </a:lnTo>
                  <a:lnTo>
                    <a:pt x="102" y="173"/>
                  </a:lnTo>
                  <a:lnTo>
                    <a:pt x="104" y="173"/>
                  </a:lnTo>
                  <a:lnTo>
                    <a:pt x="104" y="172"/>
                  </a:lnTo>
                  <a:lnTo>
                    <a:pt x="104" y="171"/>
                  </a:lnTo>
                  <a:lnTo>
                    <a:pt x="104" y="172"/>
                  </a:lnTo>
                  <a:lnTo>
                    <a:pt x="105" y="172"/>
                  </a:lnTo>
                  <a:lnTo>
                    <a:pt x="106" y="172"/>
                  </a:lnTo>
                  <a:lnTo>
                    <a:pt x="105" y="172"/>
                  </a:lnTo>
                  <a:lnTo>
                    <a:pt x="105" y="171"/>
                  </a:lnTo>
                  <a:lnTo>
                    <a:pt x="105" y="169"/>
                  </a:lnTo>
                  <a:lnTo>
                    <a:pt x="104" y="169"/>
                  </a:lnTo>
                  <a:lnTo>
                    <a:pt x="104" y="168"/>
                  </a:lnTo>
                  <a:lnTo>
                    <a:pt x="102" y="168"/>
                  </a:lnTo>
                  <a:lnTo>
                    <a:pt x="102" y="167"/>
                  </a:lnTo>
                  <a:lnTo>
                    <a:pt x="102" y="166"/>
                  </a:lnTo>
                  <a:lnTo>
                    <a:pt x="104" y="166"/>
                  </a:lnTo>
                  <a:lnTo>
                    <a:pt x="102" y="166"/>
                  </a:lnTo>
                  <a:lnTo>
                    <a:pt x="102" y="165"/>
                  </a:lnTo>
                  <a:lnTo>
                    <a:pt x="101" y="165"/>
                  </a:lnTo>
                  <a:lnTo>
                    <a:pt x="100" y="163"/>
                  </a:lnTo>
                  <a:lnTo>
                    <a:pt x="100" y="162"/>
                  </a:lnTo>
                  <a:lnTo>
                    <a:pt x="100" y="161"/>
                  </a:lnTo>
                  <a:lnTo>
                    <a:pt x="100" y="160"/>
                  </a:lnTo>
                  <a:lnTo>
                    <a:pt x="99" y="160"/>
                  </a:lnTo>
                  <a:lnTo>
                    <a:pt x="99" y="159"/>
                  </a:lnTo>
                  <a:lnTo>
                    <a:pt x="99" y="157"/>
                  </a:lnTo>
                  <a:lnTo>
                    <a:pt x="97" y="157"/>
                  </a:lnTo>
                  <a:lnTo>
                    <a:pt x="97" y="156"/>
                  </a:lnTo>
                  <a:lnTo>
                    <a:pt x="97" y="155"/>
                  </a:lnTo>
                  <a:lnTo>
                    <a:pt x="97" y="154"/>
                  </a:lnTo>
                  <a:lnTo>
                    <a:pt x="97" y="152"/>
                  </a:lnTo>
                  <a:lnTo>
                    <a:pt x="97" y="151"/>
                  </a:lnTo>
                  <a:lnTo>
                    <a:pt x="97" y="150"/>
                  </a:lnTo>
                  <a:lnTo>
                    <a:pt x="97" y="149"/>
                  </a:lnTo>
                  <a:lnTo>
                    <a:pt x="96" y="148"/>
                  </a:lnTo>
                  <a:lnTo>
                    <a:pt x="96" y="146"/>
                  </a:lnTo>
                  <a:lnTo>
                    <a:pt x="97" y="145"/>
                  </a:lnTo>
                  <a:lnTo>
                    <a:pt x="99" y="145"/>
                  </a:lnTo>
                  <a:lnTo>
                    <a:pt x="99" y="146"/>
                  </a:lnTo>
                  <a:lnTo>
                    <a:pt x="99" y="148"/>
                  </a:lnTo>
                  <a:lnTo>
                    <a:pt x="100" y="148"/>
                  </a:lnTo>
                  <a:lnTo>
                    <a:pt x="100" y="149"/>
                  </a:lnTo>
                  <a:lnTo>
                    <a:pt x="101" y="149"/>
                  </a:lnTo>
                  <a:lnTo>
                    <a:pt x="102" y="149"/>
                  </a:lnTo>
                  <a:lnTo>
                    <a:pt x="102" y="150"/>
                  </a:lnTo>
                  <a:lnTo>
                    <a:pt x="104" y="150"/>
                  </a:lnTo>
                  <a:lnTo>
                    <a:pt x="104" y="151"/>
                  </a:lnTo>
                  <a:lnTo>
                    <a:pt x="105" y="151"/>
                  </a:lnTo>
                  <a:lnTo>
                    <a:pt x="105" y="150"/>
                  </a:lnTo>
                  <a:lnTo>
                    <a:pt x="105" y="149"/>
                  </a:lnTo>
                  <a:lnTo>
                    <a:pt x="105" y="148"/>
                  </a:lnTo>
                  <a:lnTo>
                    <a:pt x="105" y="146"/>
                  </a:lnTo>
                  <a:lnTo>
                    <a:pt x="106" y="146"/>
                  </a:lnTo>
                  <a:lnTo>
                    <a:pt x="107" y="146"/>
                  </a:lnTo>
                  <a:lnTo>
                    <a:pt x="107" y="148"/>
                  </a:lnTo>
                  <a:lnTo>
                    <a:pt x="107" y="149"/>
                  </a:lnTo>
                  <a:lnTo>
                    <a:pt x="108" y="149"/>
                  </a:lnTo>
                  <a:lnTo>
                    <a:pt x="108" y="150"/>
                  </a:lnTo>
                  <a:lnTo>
                    <a:pt x="108" y="149"/>
                  </a:lnTo>
                  <a:lnTo>
                    <a:pt x="110" y="148"/>
                  </a:lnTo>
                  <a:lnTo>
                    <a:pt x="111" y="148"/>
                  </a:lnTo>
                  <a:lnTo>
                    <a:pt x="111" y="149"/>
                  </a:lnTo>
                  <a:lnTo>
                    <a:pt x="112" y="149"/>
                  </a:lnTo>
                  <a:lnTo>
                    <a:pt x="112" y="150"/>
                  </a:lnTo>
                  <a:lnTo>
                    <a:pt x="113" y="150"/>
                  </a:lnTo>
                  <a:lnTo>
                    <a:pt x="113" y="151"/>
                  </a:lnTo>
                  <a:lnTo>
                    <a:pt x="114" y="151"/>
                  </a:lnTo>
                  <a:lnTo>
                    <a:pt x="114" y="152"/>
                  </a:lnTo>
                  <a:lnTo>
                    <a:pt x="116" y="152"/>
                  </a:lnTo>
                  <a:lnTo>
                    <a:pt x="116" y="154"/>
                  </a:lnTo>
                  <a:lnTo>
                    <a:pt x="117" y="154"/>
                  </a:lnTo>
                  <a:lnTo>
                    <a:pt x="118" y="154"/>
                  </a:lnTo>
                  <a:lnTo>
                    <a:pt x="118" y="152"/>
                  </a:lnTo>
                  <a:lnTo>
                    <a:pt x="117" y="151"/>
                  </a:lnTo>
                  <a:lnTo>
                    <a:pt x="116" y="151"/>
                  </a:lnTo>
                  <a:lnTo>
                    <a:pt x="116" y="150"/>
                  </a:lnTo>
                  <a:lnTo>
                    <a:pt x="114" y="149"/>
                  </a:lnTo>
                  <a:lnTo>
                    <a:pt x="114" y="148"/>
                  </a:lnTo>
                  <a:lnTo>
                    <a:pt x="114" y="146"/>
                  </a:lnTo>
                  <a:lnTo>
                    <a:pt x="116" y="146"/>
                  </a:lnTo>
                  <a:lnTo>
                    <a:pt x="116" y="145"/>
                  </a:lnTo>
                  <a:lnTo>
                    <a:pt x="117" y="145"/>
                  </a:lnTo>
                  <a:lnTo>
                    <a:pt x="117" y="146"/>
                  </a:lnTo>
                  <a:lnTo>
                    <a:pt x="118" y="146"/>
                  </a:lnTo>
                  <a:lnTo>
                    <a:pt x="119" y="146"/>
                  </a:lnTo>
                  <a:lnTo>
                    <a:pt x="120" y="145"/>
                  </a:lnTo>
                  <a:lnTo>
                    <a:pt x="120" y="146"/>
                  </a:lnTo>
                  <a:lnTo>
                    <a:pt x="122" y="146"/>
                  </a:lnTo>
                  <a:lnTo>
                    <a:pt x="122" y="148"/>
                  </a:lnTo>
                  <a:lnTo>
                    <a:pt x="123" y="148"/>
                  </a:lnTo>
                  <a:lnTo>
                    <a:pt x="125" y="148"/>
                  </a:lnTo>
                  <a:lnTo>
                    <a:pt x="125" y="149"/>
                  </a:lnTo>
                  <a:lnTo>
                    <a:pt x="126" y="149"/>
                  </a:lnTo>
                  <a:lnTo>
                    <a:pt x="128" y="149"/>
                  </a:lnTo>
                  <a:lnTo>
                    <a:pt x="128" y="148"/>
                  </a:lnTo>
                  <a:lnTo>
                    <a:pt x="129" y="146"/>
                  </a:lnTo>
                  <a:lnTo>
                    <a:pt x="129" y="145"/>
                  </a:lnTo>
                  <a:lnTo>
                    <a:pt x="129" y="146"/>
                  </a:lnTo>
                  <a:lnTo>
                    <a:pt x="128" y="145"/>
                  </a:lnTo>
                  <a:lnTo>
                    <a:pt x="128" y="146"/>
                  </a:lnTo>
                  <a:lnTo>
                    <a:pt x="126" y="146"/>
                  </a:lnTo>
                  <a:lnTo>
                    <a:pt x="126" y="145"/>
                  </a:lnTo>
                  <a:lnTo>
                    <a:pt x="125" y="144"/>
                  </a:lnTo>
                  <a:lnTo>
                    <a:pt x="124" y="144"/>
                  </a:lnTo>
                  <a:lnTo>
                    <a:pt x="123" y="144"/>
                  </a:lnTo>
                  <a:lnTo>
                    <a:pt x="123" y="143"/>
                  </a:lnTo>
                  <a:lnTo>
                    <a:pt x="122" y="143"/>
                  </a:lnTo>
                  <a:lnTo>
                    <a:pt x="122" y="140"/>
                  </a:lnTo>
                  <a:lnTo>
                    <a:pt x="120" y="140"/>
                  </a:lnTo>
                  <a:lnTo>
                    <a:pt x="120" y="142"/>
                  </a:lnTo>
                  <a:lnTo>
                    <a:pt x="119" y="142"/>
                  </a:lnTo>
                  <a:lnTo>
                    <a:pt x="118" y="142"/>
                  </a:lnTo>
                  <a:lnTo>
                    <a:pt x="117" y="142"/>
                  </a:lnTo>
                  <a:lnTo>
                    <a:pt x="116" y="142"/>
                  </a:lnTo>
                  <a:lnTo>
                    <a:pt x="116" y="140"/>
                  </a:lnTo>
                  <a:lnTo>
                    <a:pt x="114" y="142"/>
                  </a:lnTo>
                  <a:lnTo>
                    <a:pt x="114" y="140"/>
                  </a:lnTo>
                  <a:lnTo>
                    <a:pt x="114" y="139"/>
                  </a:lnTo>
                  <a:lnTo>
                    <a:pt x="113" y="138"/>
                  </a:lnTo>
                  <a:lnTo>
                    <a:pt x="113" y="137"/>
                  </a:lnTo>
                  <a:lnTo>
                    <a:pt x="112" y="137"/>
                  </a:lnTo>
                  <a:lnTo>
                    <a:pt x="111" y="137"/>
                  </a:lnTo>
                  <a:lnTo>
                    <a:pt x="110" y="137"/>
                  </a:lnTo>
                  <a:lnTo>
                    <a:pt x="110" y="136"/>
                  </a:lnTo>
                  <a:lnTo>
                    <a:pt x="110" y="134"/>
                  </a:lnTo>
                  <a:lnTo>
                    <a:pt x="110" y="133"/>
                  </a:lnTo>
                  <a:lnTo>
                    <a:pt x="110" y="132"/>
                  </a:lnTo>
                  <a:lnTo>
                    <a:pt x="108" y="132"/>
                  </a:lnTo>
                  <a:lnTo>
                    <a:pt x="108" y="131"/>
                  </a:lnTo>
                  <a:lnTo>
                    <a:pt x="107" y="131"/>
                  </a:lnTo>
                  <a:lnTo>
                    <a:pt x="107" y="130"/>
                  </a:lnTo>
                  <a:lnTo>
                    <a:pt x="108" y="130"/>
                  </a:lnTo>
                  <a:lnTo>
                    <a:pt x="108" y="128"/>
                  </a:lnTo>
                  <a:lnTo>
                    <a:pt x="110" y="128"/>
                  </a:lnTo>
                  <a:lnTo>
                    <a:pt x="110" y="130"/>
                  </a:lnTo>
                  <a:lnTo>
                    <a:pt x="111" y="130"/>
                  </a:lnTo>
                  <a:lnTo>
                    <a:pt x="112" y="130"/>
                  </a:lnTo>
                  <a:lnTo>
                    <a:pt x="113" y="130"/>
                  </a:lnTo>
                  <a:lnTo>
                    <a:pt x="113" y="131"/>
                  </a:lnTo>
                  <a:lnTo>
                    <a:pt x="114" y="131"/>
                  </a:lnTo>
                  <a:lnTo>
                    <a:pt x="116" y="131"/>
                  </a:lnTo>
                  <a:lnTo>
                    <a:pt x="116" y="130"/>
                  </a:lnTo>
                  <a:lnTo>
                    <a:pt x="114" y="130"/>
                  </a:lnTo>
                  <a:lnTo>
                    <a:pt x="114" y="128"/>
                  </a:lnTo>
                  <a:lnTo>
                    <a:pt x="114" y="127"/>
                  </a:lnTo>
                  <a:lnTo>
                    <a:pt x="114" y="126"/>
                  </a:lnTo>
                  <a:lnTo>
                    <a:pt x="116" y="126"/>
                  </a:lnTo>
                  <a:lnTo>
                    <a:pt x="116" y="127"/>
                  </a:lnTo>
                  <a:lnTo>
                    <a:pt x="117" y="128"/>
                  </a:lnTo>
                  <a:lnTo>
                    <a:pt x="118" y="128"/>
                  </a:lnTo>
                  <a:lnTo>
                    <a:pt x="119" y="128"/>
                  </a:lnTo>
                  <a:lnTo>
                    <a:pt x="119" y="131"/>
                  </a:lnTo>
                  <a:lnTo>
                    <a:pt x="119" y="132"/>
                  </a:lnTo>
                  <a:lnTo>
                    <a:pt x="120" y="132"/>
                  </a:lnTo>
                  <a:lnTo>
                    <a:pt x="120" y="133"/>
                  </a:lnTo>
                  <a:lnTo>
                    <a:pt x="120" y="132"/>
                  </a:lnTo>
                  <a:lnTo>
                    <a:pt x="122" y="132"/>
                  </a:lnTo>
                  <a:lnTo>
                    <a:pt x="123" y="132"/>
                  </a:lnTo>
                  <a:lnTo>
                    <a:pt x="123" y="131"/>
                  </a:lnTo>
                  <a:lnTo>
                    <a:pt x="124" y="131"/>
                  </a:lnTo>
                  <a:lnTo>
                    <a:pt x="126" y="131"/>
                  </a:lnTo>
                  <a:lnTo>
                    <a:pt x="129" y="131"/>
                  </a:lnTo>
                  <a:lnTo>
                    <a:pt x="129" y="132"/>
                  </a:lnTo>
                  <a:lnTo>
                    <a:pt x="129" y="133"/>
                  </a:lnTo>
                  <a:lnTo>
                    <a:pt x="130" y="133"/>
                  </a:lnTo>
                  <a:lnTo>
                    <a:pt x="130" y="134"/>
                  </a:lnTo>
                  <a:lnTo>
                    <a:pt x="131" y="134"/>
                  </a:lnTo>
                  <a:lnTo>
                    <a:pt x="131" y="133"/>
                  </a:lnTo>
                  <a:lnTo>
                    <a:pt x="130" y="132"/>
                  </a:lnTo>
                  <a:lnTo>
                    <a:pt x="130" y="131"/>
                  </a:lnTo>
                  <a:lnTo>
                    <a:pt x="129" y="131"/>
                  </a:lnTo>
                  <a:lnTo>
                    <a:pt x="129" y="130"/>
                  </a:lnTo>
                  <a:lnTo>
                    <a:pt x="129" y="128"/>
                  </a:lnTo>
                  <a:lnTo>
                    <a:pt x="130" y="127"/>
                  </a:lnTo>
                  <a:lnTo>
                    <a:pt x="130" y="128"/>
                  </a:lnTo>
                  <a:lnTo>
                    <a:pt x="131" y="128"/>
                  </a:lnTo>
                  <a:lnTo>
                    <a:pt x="132" y="130"/>
                  </a:lnTo>
                  <a:lnTo>
                    <a:pt x="132" y="128"/>
                  </a:lnTo>
                  <a:lnTo>
                    <a:pt x="132" y="126"/>
                  </a:lnTo>
                  <a:lnTo>
                    <a:pt x="131" y="125"/>
                  </a:lnTo>
                  <a:lnTo>
                    <a:pt x="131" y="124"/>
                  </a:lnTo>
                  <a:lnTo>
                    <a:pt x="131" y="122"/>
                  </a:lnTo>
                  <a:lnTo>
                    <a:pt x="132" y="122"/>
                  </a:lnTo>
                  <a:lnTo>
                    <a:pt x="132" y="124"/>
                  </a:lnTo>
                  <a:lnTo>
                    <a:pt x="134" y="122"/>
                  </a:lnTo>
                  <a:lnTo>
                    <a:pt x="135" y="122"/>
                  </a:lnTo>
                  <a:lnTo>
                    <a:pt x="136" y="124"/>
                  </a:lnTo>
                  <a:lnTo>
                    <a:pt x="136" y="125"/>
                  </a:lnTo>
                  <a:lnTo>
                    <a:pt x="136" y="124"/>
                  </a:lnTo>
                  <a:lnTo>
                    <a:pt x="137" y="125"/>
                  </a:lnTo>
                  <a:lnTo>
                    <a:pt x="138" y="125"/>
                  </a:lnTo>
                  <a:lnTo>
                    <a:pt x="138" y="124"/>
                  </a:lnTo>
                  <a:lnTo>
                    <a:pt x="140" y="124"/>
                  </a:lnTo>
                  <a:lnTo>
                    <a:pt x="140" y="122"/>
                  </a:lnTo>
                  <a:lnTo>
                    <a:pt x="138" y="122"/>
                  </a:lnTo>
                  <a:lnTo>
                    <a:pt x="140" y="121"/>
                  </a:lnTo>
                  <a:lnTo>
                    <a:pt x="140" y="120"/>
                  </a:lnTo>
                  <a:lnTo>
                    <a:pt x="138" y="120"/>
                  </a:lnTo>
                  <a:lnTo>
                    <a:pt x="138" y="119"/>
                  </a:lnTo>
                  <a:lnTo>
                    <a:pt x="138" y="118"/>
                  </a:lnTo>
                  <a:lnTo>
                    <a:pt x="140" y="118"/>
                  </a:lnTo>
                  <a:lnTo>
                    <a:pt x="140" y="116"/>
                  </a:lnTo>
                  <a:lnTo>
                    <a:pt x="141" y="116"/>
                  </a:lnTo>
                  <a:lnTo>
                    <a:pt x="141" y="118"/>
                  </a:lnTo>
                  <a:lnTo>
                    <a:pt x="142" y="118"/>
                  </a:lnTo>
                  <a:lnTo>
                    <a:pt x="142" y="119"/>
                  </a:lnTo>
                  <a:lnTo>
                    <a:pt x="143" y="119"/>
                  </a:lnTo>
                  <a:lnTo>
                    <a:pt x="143" y="118"/>
                  </a:lnTo>
                  <a:lnTo>
                    <a:pt x="144" y="116"/>
                  </a:lnTo>
                  <a:lnTo>
                    <a:pt x="144" y="115"/>
                  </a:lnTo>
                  <a:lnTo>
                    <a:pt x="146" y="116"/>
                  </a:lnTo>
                  <a:lnTo>
                    <a:pt x="146" y="115"/>
                  </a:lnTo>
                  <a:lnTo>
                    <a:pt x="146" y="114"/>
                  </a:lnTo>
                  <a:lnTo>
                    <a:pt x="144" y="114"/>
                  </a:lnTo>
                  <a:lnTo>
                    <a:pt x="144" y="113"/>
                  </a:lnTo>
                  <a:lnTo>
                    <a:pt x="144" y="112"/>
                  </a:lnTo>
                  <a:lnTo>
                    <a:pt x="143" y="110"/>
                  </a:lnTo>
                  <a:lnTo>
                    <a:pt x="143" y="112"/>
                  </a:lnTo>
                  <a:lnTo>
                    <a:pt x="143" y="110"/>
                  </a:lnTo>
                  <a:lnTo>
                    <a:pt x="142" y="110"/>
                  </a:lnTo>
                  <a:lnTo>
                    <a:pt x="143" y="109"/>
                  </a:lnTo>
                  <a:lnTo>
                    <a:pt x="142" y="109"/>
                  </a:lnTo>
                  <a:lnTo>
                    <a:pt x="142" y="108"/>
                  </a:lnTo>
                  <a:lnTo>
                    <a:pt x="141" y="107"/>
                  </a:lnTo>
                  <a:lnTo>
                    <a:pt x="141" y="108"/>
                  </a:lnTo>
                  <a:lnTo>
                    <a:pt x="141" y="107"/>
                  </a:lnTo>
                  <a:lnTo>
                    <a:pt x="141" y="108"/>
                  </a:lnTo>
                  <a:lnTo>
                    <a:pt x="140" y="108"/>
                  </a:lnTo>
                  <a:lnTo>
                    <a:pt x="138" y="107"/>
                  </a:lnTo>
                  <a:lnTo>
                    <a:pt x="138" y="106"/>
                  </a:lnTo>
                  <a:lnTo>
                    <a:pt x="137" y="106"/>
                  </a:lnTo>
                  <a:lnTo>
                    <a:pt x="136" y="106"/>
                  </a:lnTo>
                  <a:lnTo>
                    <a:pt x="136" y="104"/>
                  </a:lnTo>
                  <a:lnTo>
                    <a:pt x="136" y="103"/>
                  </a:lnTo>
                  <a:lnTo>
                    <a:pt x="136" y="102"/>
                  </a:lnTo>
                  <a:lnTo>
                    <a:pt x="137" y="102"/>
                  </a:lnTo>
                  <a:lnTo>
                    <a:pt x="137" y="103"/>
                  </a:lnTo>
                  <a:lnTo>
                    <a:pt x="138" y="102"/>
                  </a:lnTo>
                  <a:lnTo>
                    <a:pt x="140" y="102"/>
                  </a:lnTo>
                  <a:lnTo>
                    <a:pt x="138" y="101"/>
                  </a:lnTo>
                  <a:lnTo>
                    <a:pt x="137" y="101"/>
                  </a:lnTo>
                  <a:lnTo>
                    <a:pt x="136" y="101"/>
                  </a:lnTo>
                  <a:lnTo>
                    <a:pt x="135" y="101"/>
                  </a:lnTo>
                  <a:lnTo>
                    <a:pt x="135" y="100"/>
                  </a:lnTo>
                  <a:lnTo>
                    <a:pt x="135" y="98"/>
                  </a:lnTo>
                  <a:lnTo>
                    <a:pt x="134" y="98"/>
                  </a:lnTo>
                  <a:lnTo>
                    <a:pt x="132" y="98"/>
                  </a:lnTo>
                  <a:lnTo>
                    <a:pt x="132" y="97"/>
                  </a:lnTo>
                  <a:lnTo>
                    <a:pt x="131" y="97"/>
                  </a:lnTo>
                  <a:lnTo>
                    <a:pt x="132" y="96"/>
                  </a:lnTo>
                  <a:lnTo>
                    <a:pt x="132" y="94"/>
                  </a:lnTo>
                  <a:lnTo>
                    <a:pt x="134" y="92"/>
                  </a:lnTo>
                  <a:lnTo>
                    <a:pt x="132" y="91"/>
                  </a:lnTo>
                  <a:lnTo>
                    <a:pt x="132" y="90"/>
                  </a:lnTo>
                  <a:lnTo>
                    <a:pt x="132" y="89"/>
                  </a:lnTo>
                  <a:lnTo>
                    <a:pt x="132" y="88"/>
                  </a:lnTo>
                  <a:lnTo>
                    <a:pt x="134" y="88"/>
                  </a:lnTo>
                  <a:lnTo>
                    <a:pt x="135" y="88"/>
                  </a:lnTo>
                  <a:lnTo>
                    <a:pt x="135" y="89"/>
                  </a:lnTo>
                  <a:lnTo>
                    <a:pt x="136" y="90"/>
                  </a:lnTo>
                  <a:lnTo>
                    <a:pt x="136" y="89"/>
                  </a:lnTo>
                  <a:lnTo>
                    <a:pt x="137" y="89"/>
                  </a:lnTo>
                  <a:lnTo>
                    <a:pt x="140" y="89"/>
                  </a:lnTo>
                  <a:lnTo>
                    <a:pt x="140" y="88"/>
                  </a:lnTo>
                  <a:lnTo>
                    <a:pt x="141" y="88"/>
                  </a:lnTo>
                  <a:lnTo>
                    <a:pt x="140" y="89"/>
                  </a:lnTo>
                  <a:lnTo>
                    <a:pt x="141" y="89"/>
                  </a:lnTo>
                  <a:lnTo>
                    <a:pt x="141" y="90"/>
                  </a:lnTo>
                  <a:lnTo>
                    <a:pt x="142" y="91"/>
                  </a:lnTo>
                  <a:lnTo>
                    <a:pt x="143" y="92"/>
                  </a:lnTo>
                  <a:lnTo>
                    <a:pt x="143" y="94"/>
                  </a:lnTo>
                  <a:lnTo>
                    <a:pt x="144" y="94"/>
                  </a:lnTo>
                  <a:lnTo>
                    <a:pt x="146" y="94"/>
                  </a:lnTo>
                  <a:lnTo>
                    <a:pt x="147" y="94"/>
                  </a:lnTo>
                  <a:lnTo>
                    <a:pt x="146" y="94"/>
                  </a:lnTo>
                  <a:lnTo>
                    <a:pt x="147" y="92"/>
                  </a:lnTo>
                  <a:lnTo>
                    <a:pt x="148" y="92"/>
                  </a:lnTo>
                  <a:lnTo>
                    <a:pt x="148" y="94"/>
                  </a:lnTo>
                  <a:lnTo>
                    <a:pt x="148" y="95"/>
                  </a:lnTo>
                  <a:lnTo>
                    <a:pt x="149" y="94"/>
                  </a:lnTo>
                  <a:lnTo>
                    <a:pt x="150" y="94"/>
                  </a:lnTo>
                  <a:lnTo>
                    <a:pt x="152" y="94"/>
                  </a:lnTo>
                  <a:lnTo>
                    <a:pt x="152" y="92"/>
                  </a:lnTo>
                  <a:lnTo>
                    <a:pt x="153" y="92"/>
                  </a:lnTo>
                  <a:lnTo>
                    <a:pt x="152" y="92"/>
                  </a:lnTo>
                  <a:lnTo>
                    <a:pt x="150" y="91"/>
                  </a:lnTo>
                  <a:lnTo>
                    <a:pt x="150" y="90"/>
                  </a:lnTo>
                  <a:lnTo>
                    <a:pt x="149" y="90"/>
                  </a:lnTo>
                  <a:lnTo>
                    <a:pt x="149" y="89"/>
                  </a:lnTo>
                  <a:lnTo>
                    <a:pt x="148" y="89"/>
                  </a:lnTo>
                  <a:lnTo>
                    <a:pt x="149" y="89"/>
                  </a:lnTo>
                  <a:lnTo>
                    <a:pt x="149" y="86"/>
                  </a:lnTo>
                  <a:lnTo>
                    <a:pt x="149" y="85"/>
                  </a:lnTo>
                  <a:lnTo>
                    <a:pt x="149" y="84"/>
                  </a:lnTo>
                  <a:lnTo>
                    <a:pt x="150" y="84"/>
                  </a:lnTo>
                  <a:lnTo>
                    <a:pt x="150" y="83"/>
                  </a:lnTo>
                  <a:lnTo>
                    <a:pt x="150" y="82"/>
                  </a:lnTo>
                  <a:lnTo>
                    <a:pt x="150" y="80"/>
                  </a:lnTo>
                  <a:lnTo>
                    <a:pt x="152" y="80"/>
                  </a:lnTo>
                  <a:lnTo>
                    <a:pt x="153" y="80"/>
                  </a:lnTo>
                  <a:lnTo>
                    <a:pt x="154" y="80"/>
                  </a:lnTo>
                  <a:lnTo>
                    <a:pt x="154" y="82"/>
                  </a:lnTo>
                  <a:lnTo>
                    <a:pt x="155" y="83"/>
                  </a:lnTo>
                  <a:lnTo>
                    <a:pt x="155" y="82"/>
                  </a:lnTo>
                  <a:lnTo>
                    <a:pt x="155" y="79"/>
                  </a:lnTo>
                  <a:lnTo>
                    <a:pt x="158" y="79"/>
                  </a:lnTo>
                  <a:lnTo>
                    <a:pt x="158" y="82"/>
                  </a:lnTo>
                  <a:lnTo>
                    <a:pt x="159" y="82"/>
                  </a:lnTo>
                  <a:lnTo>
                    <a:pt x="159" y="83"/>
                  </a:lnTo>
                  <a:lnTo>
                    <a:pt x="160" y="83"/>
                  </a:lnTo>
                  <a:lnTo>
                    <a:pt x="160" y="84"/>
                  </a:lnTo>
                  <a:lnTo>
                    <a:pt x="160" y="85"/>
                  </a:lnTo>
                  <a:lnTo>
                    <a:pt x="160" y="88"/>
                  </a:lnTo>
                  <a:lnTo>
                    <a:pt x="159" y="88"/>
                  </a:lnTo>
                  <a:lnTo>
                    <a:pt x="159" y="89"/>
                  </a:lnTo>
                  <a:lnTo>
                    <a:pt x="159" y="90"/>
                  </a:lnTo>
                  <a:lnTo>
                    <a:pt x="159" y="91"/>
                  </a:lnTo>
                  <a:lnTo>
                    <a:pt x="159" y="92"/>
                  </a:lnTo>
                  <a:lnTo>
                    <a:pt x="160" y="92"/>
                  </a:lnTo>
                  <a:lnTo>
                    <a:pt x="161" y="92"/>
                  </a:lnTo>
                  <a:lnTo>
                    <a:pt x="161" y="91"/>
                  </a:lnTo>
                  <a:lnTo>
                    <a:pt x="163" y="91"/>
                  </a:lnTo>
                  <a:lnTo>
                    <a:pt x="163" y="92"/>
                  </a:lnTo>
                  <a:lnTo>
                    <a:pt x="164" y="92"/>
                  </a:lnTo>
                  <a:lnTo>
                    <a:pt x="164" y="91"/>
                  </a:lnTo>
                  <a:lnTo>
                    <a:pt x="164" y="92"/>
                  </a:lnTo>
                  <a:lnTo>
                    <a:pt x="165" y="92"/>
                  </a:lnTo>
                  <a:lnTo>
                    <a:pt x="166" y="92"/>
                  </a:lnTo>
                  <a:lnTo>
                    <a:pt x="165" y="92"/>
                  </a:lnTo>
                  <a:lnTo>
                    <a:pt x="165" y="91"/>
                  </a:lnTo>
                  <a:lnTo>
                    <a:pt x="164" y="90"/>
                  </a:lnTo>
                  <a:lnTo>
                    <a:pt x="165" y="90"/>
                  </a:lnTo>
                  <a:lnTo>
                    <a:pt x="165" y="89"/>
                  </a:lnTo>
                  <a:lnTo>
                    <a:pt x="164" y="88"/>
                  </a:lnTo>
                  <a:lnTo>
                    <a:pt x="164" y="86"/>
                  </a:lnTo>
                  <a:lnTo>
                    <a:pt x="164" y="85"/>
                  </a:lnTo>
                  <a:lnTo>
                    <a:pt x="164" y="84"/>
                  </a:lnTo>
                  <a:lnTo>
                    <a:pt x="165" y="84"/>
                  </a:lnTo>
                  <a:lnTo>
                    <a:pt x="166" y="83"/>
                  </a:lnTo>
                  <a:lnTo>
                    <a:pt x="166" y="84"/>
                  </a:lnTo>
                  <a:lnTo>
                    <a:pt x="167" y="86"/>
                  </a:lnTo>
                  <a:lnTo>
                    <a:pt x="167" y="85"/>
                  </a:lnTo>
                  <a:lnTo>
                    <a:pt x="169" y="86"/>
                  </a:lnTo>
                  <a:lnTo>
                    <a:pt x="169" y="85"/>
                  </a:lnTo>
                  <a:lnTo>
                    <a:pt x="170" y="85"/>
                  </a:lnTo>
                  <a:lnTo>
                    <a:pt x="170" y="86"/>
                  </a:lnTo>
                  <a:lnTo>
                    <a:pt x="170" y="88"/>
                  </a:lnTo>
                  <a:lnTo>
                    <a:pt x="171" y="89"/>
                  </a:lnTo>
                  <a:lnTo>
                    <a:pt x="172" y="89"/>
                  </a:lnTo>
                  <a:lnTo>
                    <a:pt x="173" y="89"/>
                  </a:lnTo>
                  <a:lnTo>
                    <a:pt x="175" y="89"/>
                  </a:lnTo>
                  <a:lnTo>
                    <a:pt x="175" y="90"/>
                  </a:lnTo>
                  <a:lnTo>
                    <a:pt x="175" y="91"/>
                  </a:lnTo>
                  <a:lnTo>
                    <a:pt x="175" y="92"/>
                  </a:lnTo>
                  <a:lnTo>
                    <a:pt x="173" y="92"/>
                  </a:lnTo>
                  <a:lnTo>
                    <a:pt x="173" y="94"/>
                  </a:lnTo>
                  <a:lnTo>
                    <a:pt x="173" y="95"/>
                  </a:lnTo>
                  <a:lnTo>
                    <a:pt x="173" y="97"/>
                  </a:lnTo>
                  <a:lnTo>
                    <a:pt x="175" y="97"/>
                  </a:lnTo>
                  <a:lnTo>
                    <a:pt x="175" y="98"/>
                  </a:lnTo>
                  <a:lnTo>
                    <a:pt x="175" y="100"/>
                  </a:lnTo>
                  <a:lnTo>
                    <a:pt x="176" y="100"/>
                  </a:lnTo>
                  <a:lnTo>
                    <a:pt x="177" y="100"/>
                  </a:lnTo>
                  <a:lnTo>
                    <a:pt x="178" y="100"/>
                  </a:lnTo>
                  <a:lnTo>
                    <a:pt x="178" y="98"/>
                  </a:lnTo>
                  <a:lnTo>
                    <a:pt x="177" y="98"/>
                  </a:lnTo>
                  <a:lnTo>
                    <a:pt x="177" y="97"/>
                  </a:lnTo>
                  <a:lnTo>
                    <a:pt x="177" y="96"/>
                  </a:lnTo>
                  <a:lnTo>
                    <a:pt x="178" y="96"/>
                  </a:lnTo>
                  <a:lnTo>
                    <a:pt x="178" y="95"/>
                  </a:lnTo>
                  <a:lnTo>
                    <a:pt x="178" y="94"/>
                  </a:lnTo>
                  <a:lnTo>
                    <a:pt x="177" y="92"/>
                  </a:lnTo>
                  <a:lnTo>
                    <a:pt x="177" y="91"/>
                  </a:lnTo>
                  <a:lnTo>
                    <a:pt x="176" y="91"/>
                  </a:lnTo>
                  <a:lnTo>
                    <a:pt x="177" y="90"/>
                  </a:lnTo>
                  <a:lnTo>
                    <a:pt x="177" y="89"/>
                  </a:lnTo>
                  <a:lnTo>
                    <a:pt x="178" y="89"/>
                  </a:lnTo>
                  <a:lnTo>
                    <a:pt x="178" y="90"/>
                  </a:lnTo>
                  <a:lnTo>
                    <a:pt x="179" y="90"/>
                  </a:lnTo>
                  <a:lnTo>
                    <a:pt x="181" y="90"/>
                  </a:lnTo>
                  <a:lnTo>
                    <a:pt x="181" y="89"/>
                  </a:lnTo>
                  <a:lnTo>
                    <a:pt x="182" y="89"/>
                  </a:lnTo>
                  <a:lnTo>
                    <a:pt x="182" y="88"/>
                  </a:lnTo>
                  <a:lnTo>
                    <a:pt x="182" y="86"/>
                  </a:lnTo>
                  <a:lnTo>
                    <a:pt x="182" y="85"/>
                  </a:lnTo>
                  <a:lnTo>
                    <a:pt x="183" y="85"/>
                  </a:lnTo>
                  <a:lnTo>
                    <a:pt x="183" y="86"/>
                  </a:lnTo>
                  <a:lnTo>
                    <a:pt x="184" y="86"/>
                  </a:lnTo>
                  <a:lnTo>
                    <a:pt x="185" y="86"/>
                  </a:lnTo>
                  <a:lnTo>
                    <a:pt x="187" y="86"/>
                  </a:lnTo>
                  <a:lnTo>
                    <a:pt x="187" y="85"/>
                  </a:lnTo>
                  <a:lnTo>
                    <a:pt x="188" y="85"/>
                  </a:lnTo>
                  <a:lnTo>
                    <a:pt x="189" y="85"/>
                  </a:lnTo>
                  <a:lnTo>
                    <a:pt x="189" y="86"/>
                  </a:lnTo>
                  <a:lnTo>
                    <a:pt x="189" y="89"/>
                  </a:lnTo>
                  <a:lnTo>
                    <a:pt x="189" y="90"/>
                  </a:lnTo>
                  <a:lnTo>
                    <a:pt x="190" y="89"/>
                  </a:lnTo>
                  <a:lnTo>
                    <a:pt x="191" y="88"/>
                  </a:lnTo>
                  <a:lnTo>
                    <a:pt x="191" y="89"/>
                  </a:lnTo>
                  <a:lnTo>
                    <a:pt x="191" y="90"/>
                  </a:lnTo>
                  <a:lnTo>
                    <a:pt x="193" y="90"/>
                  </a:lnTo>
                  <a:lnTo>
                    <a:pt x="193" y="91"/>
                  </a:lnTo>
                  <a:lnTo>
                    <a:pt x="194" y="91"/>
                  </a:lnTo>
                  <a:lnTo>
                    <a:pt x="194" y="92"/>
                  </a:lnTo>
                  <a:lnTo>
                    <a:pt x="195" y="92"/>
                  </a:lnTo>
                  <a:lnTo>
                    <a:pt x="195" y="94"/>
                  </a:lnTo>
                  <a:lnTo>
                    <a:pt x="196" y="94"/>
                  </a:lnTo>
                  <a:lnTo>
                    <a:pt x="196" y="95"/>
                  </a:lnTo>
                  <a:lnTo>
                    <a:pt x="195" y="96"/>
                  </a:lnTo>
                  <a:lnTo>
                    <a:pt x="194" y="97"/>
                  </a:lnTo>
                  <a:lnTo>
                    <a:pt x="194" y="98"/>
                  </a:lnTo>
                  <a:lnTo>
                    <a:pt x="194" y="100"/>
                  </a:lnTo>
                  <a:lnTo>
                    <a:pt x="194" y="101"/>
                  </a:lnTo>
                  <a:lnTo>
                    <a:pt x="194" y="102"/>
                  </a:lnTo>
                  <a:lnTo>
                    <a:pt x="194" y="103"/>
                  </a:lnTo>
                  <a:lnTo>
                    <a:pt x="195" y="103"/>
                  </a:lnTo>
                  <a:lnTo>
                    <a:pt x="196" y="104"/>
                  </a:lnTo>
                  <a:lnTo>
                    <a:pt x="196" y="103"/>
                  </a:lnTo>
                  <a:lnTo>
                    <a:pt x="195" y="103"/>
                  </a:lnTo>
                  <a:lnTo>
                    <a:pt x="195" y="102"/>
                  </a:lnTo>
                  <a:lnTo>
                    <a:pt x="196" y="101"/>
                  </a:lnTo>
                  <a:lnTo>
                    <a:pt x="197" y="101"/>
                  </a:lnTo>
                  <a:lnTo>
                    <a:pt x="199" y="100"/>
                  </a:lnTo>
                  <a:lnTo>
                    <a:pt x="200" y="100"/>
                  </a:lnTo>
                  <a:lnTo>
                    <a:pt x="201" y="100"/>
                  </a:lnTo>
                  <a:lnTo>
                    <a:pt x="200" y="98"/>
                  </a:lnTo>
                  <a:lnTo>
                    <a:pt x="201" y="98"/>
                  </a:lnTo>
                  <a:lnTo>
                    <a:pt x="201" y="97"/>
                  </a:lnTo>
                  <a:lnTo>
                    <a:pt x="201" y="96"/>
                  </a:lnTo>
                  <a:lnTo>
                    <a:pt x="202" y="96"/>
                  </a:lnTo>
                  <a:lnTo>
                    <a:pt x="203" y="96"/>
                  </a:lnTo>
                  <a:lnTo>
                    <a:pt x="205" y="96"/>
                  </a:lnTo>
                  <a:lnTo>
                    <a:pt x="205" y="97"/>
                  </a:lnTo>
                  <a:lnTo>
                    <a:pt x="206" y="98"/>
                  </a:lnTo>
                  <a:lnTo>
                    <a:pt x="206" y="100"/>
                  </a:lnTo>
                  <a:lnTo>
                    <a:pt x="205" y="100"/>
                  </a:lnTo>
                  <a:lnTo>
                    <a:pt x="206" y="100"/>
                  </a:lnTo>
                  <a:lnTo>
                    <a:pt x="206" y="98"/>
                  </a:lnTo>
                  <a:lnTo>
                    <a:pt x="207" y="98"/>
                  </a:lnTo>
                  <a:lnTo>
                    <a:pt x="207" y="97"/>
                  </a:lnTo>
                  <a:lnTo>
                    <a:pt x="208" y="97"/>
                  </a:lnTo>
                  <a:lnTo>
                    <a:pt x="208" y="98"/>
                  </a:lnTo>
                  <a:lnTo>
                    <a:pt x="208" y="100"/>
                  </a:lnTo>
                  <a:lnTo>
                    <a:pt x="209" y="100"/>
                  </a:lnTo>
                  <a:lnTo>
                    <a:pt x="209" y="101"/>
                  </a:lnTo>
                  <a:lnTo>
                    <a:pt x="208" y="101"/>
                  </a:lnTo>
                  <a:lnTo>
                    <a:pt x="208" y="102"/>
                  </a:lnTo>
                  <a:lnTo>
                    <a:pt x="207" y="102"/>
                  </a:lnTo>
                  <a:lnTo>
                    <a:pt x="208" y="102"/>
                  </a:lnTo>
                  <a:lnTo>
                    <a:pt x="208" y="103"/>
                  </a:lnTo>
                  <a:lnTo>
                    <a:pt x="208" y="104"/>
                  </a:lnTo>
                  <a:lnTo>
                    <a:pt x="208" y="106"/>
                  </a:lnTo>
                  <a:lnTo>
                    <a:pt x="208" y="107"/>
                  </a:lnTo>
                  <a:lnTo>
                    <a:pt x="208" y="108"/>
                  </a:lnTo>
                  <a:lnTo>
                    <a:pt x="209" y="107"/>
                  </a:lnTo>
                  <a:lnTo>
                    <a:pt x="208" y="106"/>
                  </a:lnTo>
                  <a:lnTo>
                    <a:pt x="208" y="104"/>
                  </a:lnTo>
                  <a:lnTo>
                    <a:pt x="209" y="104"/>
                  </a:lnTo>
                  <a:lnTo>
                    <a:pt x="211" y="104"/>
                  </a:lnTo>
                  <a:lnTo>
                    <a:pt x="211" y="107"/>
                  </a:lnTo>
                  <a:lnTo>
                    <a:pt x="212" y="108"/>
                  </a:lnTo>
                  <a:lnTo>
                    <a:pt x="213" y="108"/>
                  </a:lnTo>
                  <a:lnTo>
                    <a:pt x="213" y="109"/>
                  </a:lnTo>
                  <a:lnTo>
                    <a:pt x="213" y="108"/>
                  </a:lnTo>
                  <a:lnTo>
                    <a:pt x="213" y="107"/>
                  </a:lnTo>
                  <a:lnTo>
                    <a:pt x="213" y="106"/>
                  </a:lnTo>
                  <a:lnTo>
                    <a:pt x="213" y="104"/>
                  </a:lnTo>
                  <a:lnTo>
                    <a:pt x="213" y="103"/>
                  </a:lnTo>
                  <a:lnTo>
                    <a:pt x="214" y="103"/>
                  </a:lnTo>
                  <a:lnTo>
                    <a:pt x="214" y="104"/>
                  </a:lnTo>
                  <a:lnTo>
                    <a:pt x="215" y="104"/>
                  </a:lnTo>
                  <a:lnTo>
                    <a:pt x="215" y="106"/>
                  </a:lnTo>
                  <a:lnTo>
                    <a:pt x="215" y="107"/>
                  </a:lnTo>
                  <a:lnTo>
                    <a:pt x="217" y="108"/>
                  </a:lnTo>
                  <a:lnTo>
                    <a:pt x="217" y="107"/>
                  </a:lnTo>
                  <a:lnTo>
                    <a:pt x="217" y="106"/>
                  </a:lnTo>
                  <a:lnTo>
                    <a:pt x="218" y="106"/>
                  </a:lnTo>
                  <a:lnTo>
                    <a:pt x="218" y="107"/>
                  </a:lnTo>
                  <a:lnTo>
                    <a:pt x="219" y="107"/>
                  </a:lnTo>
                  <a:lnTo>
                    <a:pt x="219" y="108"/>
                  </a:lnTo>
                  <a:lnTo>
                    <a:pt x="219" y="109"/>
                  </a:lnTo>
                  <a:lnTo>
                    <a:pt x="218" y="109"/>
                  </a:lnTo>
                  <a:lnTo>
                    <a:pt x="217" y="110"/>
                  </a:lnTo>
                  <a:lnTo>
                    <a:pt x="215" y="110"/>
                  </a:lnTo>
                  <a:lnTo>
                    <a:pt x="215" y="109"/>
                  </a:lnTo>
                  <a:lnTo>
                    <a:pt x="214" y="109"/>
                  </a:lnTo>
                  <a:lnTo>
                    <a:pt x="214" y="110"/>
                  </a:lnTo>
                  <a:lnTo>
                    <a:pt x="214" y="112"/>
                  </a:lnTo>
                  <a:lnTo>
                    <a:pt x="214" y="110"/>
                  </a:lnTo>
                  <a:lnTo>
                    <a:pt x="215" y="110"/>
                  </a:lnTo>
                  <a:lnTo>
                    <a:pt x="217" y="112"/>
                  </a:lnTo>
                  <a:lnTo>
                    <a:pt x="218" y="112"/>
                  </a:lnTo>
                  <a:lnTo>
                    <a:pt x="219" y="112"/>
                  </a:lnTo>
                  <a:lnTo>
                    <a:pt x="220" y="112"/>
                  </a:lnTo>
                  <a:lnTo>
                    <a:pt x="220" y="110"/>
                  </a:lnTo>
                  <a:lnTo>
                    <a:pt x="220" y="109"/>
                  </a:lnTo>
                  <a:lnTo>
                    <a:pt x="222" y="109"/>
                  </a:lnTo>
                  <a:lnTo>
                    <a:pt x="222" y="108"/>
                  </a:lnTo>
                  <a:lnTo>
                    <a:pt x="220" y="108"/>
                  </a:lnTo>
                  <a:lnTo>
                    <a:pt x="220" y="107"/>
                  </a:lnTo>
                  <a:lnTo>
                    <a:pt x="220" y="106"/>
                  </a:lnTo>
                  <a:lnTo>
                    <a:pt x="219" y="106"/>
                  </a:lnTo>
                  <a:lnTo>
                    <a:pt x="219" y="104"/>
                  </a:lnTo>
                  <a:lnTo>
                    <a:pt x="219" y="103"/>
                  </a:lnTo>
                  <a:lnTo>
                    <a:pt x="219" y="102"/>
                  </a:lnTo>
                  <a:lnTo>
                    <a:pt x="218" y="102"/>
                  </a:lnTo>
                  <a:lnTo>
                    <a:pt x="218" y="101"/>
                  </a:lnTo>
                  <a:lnTo>
                    <a:pt x="219" y="101"/>
                  </a:lnTo>
                  <a:lnTo>
                    <a:pt x="220" y="101"/>
                  </a:lnTo>
                  <a:lnTo>
                    <a:pt x="220" y="102"/>
                  </a:lnTo>
                  <a:lnTo>
                    <a:pt x="222" y="101"/>
                  </a:lnTo>
                  <a:lnTo>
                    <a:pt x="223" y="101"/>
                  </a:lnTo>
                  <a:lnTo>
                    <a:pt x="224" y="101"/>
                  </a:lnTo>
                  <a:lnTo>
                    <a:pt x="224" y="102"/>
                  </a:lnTo>
                  <a:lnTo>
                    <a:pt x="224" y="101"/>
                  </a:lnTo>
                  <a:lnTo>
                    <a:pt x="225" y="101"/>
                  </a:lnTo>
                  <a:lnTo>
                    <a:pt x="224" y="101"/>
                  </a:lnTo>
                  <a:lnTo>
                    <a:pt x="224" y="100"/>
                  </a:lnTo>
                  <a:lnTo>
                    <a:pt x="225" y="100"/>
                  </a:lnTo>
                  <a:lnTo>
                    <a:pt x="225" y="101"/>
                  </a:lnTo>
                  <a:lnTo>
                    <a:pt x="226" y="101"/>
                  </a:lnTo>
                  <a:lnTo>
                    <a:pt x="226" y="102"/>
                  </a:lnTo>
                  <a:lnTo>
                    <a:pt x="225" y="102"/>
                  </a:lnTo>
                  <a:lnTo>
                    <a:pt x="225" y="103"/>
                  </a:lnTo>
                  <a:lnTo>
                    <a:pt x="225" y="104"/>
                  </a:lnTo>
                  <a:lnTo>
                    <a:pt x="224" y="104"/>
                  </a:lnTo>
                  <a:lnTo>
                    <a:pt x="224" y="106"/>
                  </a:lnTo>
                  <a:lnTo>
                    <a:pt x="224" y="107"/>
                  </a:lnTo>
                  <a:lnTo>
                    <a:pt x="223" y="107"/>
                  </a:lnTo>
                  <a:lnTo>
                    <a:pt x="222" y="107"/>
                  </a:lnTo>
                  <a:lnTo>
                    <a:pt x="222" y="108"/>
                  </a:lnTo>
                  <a:lnTo>
                    <a:pt x="223" y="108"/>
                  </a:lnTo>
                  <a:lnTo>
                    <a:pt x="223" y="110"/>
                  </a:lnTo>
                  <a:lnTo>
                    <a:pt x="222" y="110"/>
                  </a:lnTo>
                  <a:lnTo>
                    <a:pt x="223" y="112"/>
                  </a:lnTo>
                  <a:lnTo>
                    <a:pt x="223" y="113"/>
                  </a:lnTo>
                  <a:lnTo>
                    <a:pt x="224" y="113"/>
                  </a:lnTo>
                  <a:lnTo>
                    <a:pt x="224" y="112"/>
                  </a:lnTo>
                  <a:lnTo>
                    <a:pt x="225" y="112"/>
                  </a:lnTo>
                  <a:lnTo>
                    <a:pt x="228" y="112"/>
                  </a:lnTo>
                  <a:lnTo>
                    <a:pt x="229" y="110"/>
                  </a:lnTo>
                  <a:lnTo>
                    <a:pt x="229" y="112"/>
                  </a:lnTo>
                  <a:lnTo>
                    <a:pt x="230" y="112"/>
                  </a:lnTo>
                  <a:lnTo>
                    <a:pt x="231" y="112"/>
                  </a:lnTo>
                  <a:lnTo>
                    <a:pt x="231" y="110"/>
                  </a:lnTo>
                  <a:lnTo>
                    <a:pt x="232" y="110"/>
                  </a:lnTo>
                  <a:lnTo>
                    <a:pt x="232" y="112"/>
                  </a:lnTo>
                  <a:lnTo>
                    <a:pt x="234" y="112"/>
                  </a:lnTo>
                  <a:lnTo>
                    <a:pt x="235" y="113"/>
                  </a:lnTo>
                  <a:lnTo>
                    <a:pt x="235" y="112"/>
                  </a:lnTo>
                  <a:lnTo>
                    <a:pt x="235" y="113"/>
                  </a:lnTo>
                  <a:lnTo>
                    <a:pt x="236" y="113"/>
                  </a:lnTo>
                  <a:lnTo>
                    <a:pt x="237" y="112"/>
                  </a:lnTo>
                  <a:lnTo>
                    <a:pt x="238" y="112"/>
                  </a:lnTo>
                  <a:lnTo>
                    <a:pt x="238" y="113"/>
                  </a:lnTo>
                  <a:lnTo>
                    <a:pt x="240" y="113"/>
                  </a:lnTo>
                  <a:lnTo>
                    <a:pt x="238" y="112"/>
                  </a:lnTo>
                  <a:lnTo>
                    <a:pt x="240" y="110"/>
                  </a:lnTo>
                  <a:lnTo>
                    <a:pt x="238" y="110"/>
                  </a:lnTo>
                  <a:lnTo>
                    <a:pt x="240" y="110"/>
                  </a:lnTo>
                  <a:lnTo>
                    <a:pt x="240" y="112"/>
                  </a:lnTo>
                  <a:lnTo>
                    <a:pt x="240" y="113"/>
                  </a:lnTo>
                  <a:lnTo>
                    <a:pt x="240" y="114"/>
                  </a:lnTo>
                  <a:lnTo>
                    <a:pt x="238" y="115"/>
                  </a:lnTo>
                  <a:lnTo>
                    <a:pt x="238" y="116"/>
                  </a:lnTo>
                  <a:lnTo>
                    <a:pt x="237" y="116"/>
                  </a:lnTo>
                  <a:lnTo>
                    <a:pt x="236" y="116"/>
                  </a:lnTo>
                  <a:lnTo>
                    <a:pt x="237" y="116"/>
                  </a:lnTo>
                  <a:lnTo>
                    <a:pt x="237" y="119"/>
                  </a:lnTo>
                  <a:lnTo>
                    <a:pt x="237" y="120"/>
                  </a:lnTo>
                  <a:lnTo>
                    <a:pt x="236" y="121"/>
                  </a:lnTo>
                  <a:lnTo>
                    <a:pt x="236" y="120"/>
                  </a:lnTo>
                  <a:lnTo>
                    <a:pt x="236" y="121"/>
                  </a:lnTo>
                  <a:lnTo>
                    <a:pt x="236" y="122"/>
                  </a:lnTo>
                  <a:lnTo>
                    <a:pt x="237" y="122"/>
                  </a:lnTo>
                  <a:lnTo>
                    <a:pt x="237" y="121"/>
                  </a:lnTo>
                  <a:lnTo>
                    <a:pt x="237" y="120"/>
                  </a:lnTo>
                  <a:lnTo>
                    <a:pt x="238" y="119"/>
                  </a:lnTo>
                  <a:lnTo>
                    <a:pt x="238" y="120"/>
                  </a:lnTo>
                  <a:lnTo>
                    <a:pt x="240" y="120"/>
                  </a:lnTo>
                  <a:lnTo>
                    <a:pt x="240" y="119"/>
                  </a:lnTo>
                  <a:lnTo>
                    <a:pt x="241" y="119"/>
                  </a:lnTo>
                  <a:lnTo>
                    <a:pt x="241" y="120"/>
                  </a:lnTo>
                  <a:lnTo>
                    <a:pt x="240" y="120"/>
                  </a:lnTo>
                  <a:lnTo>
                    <a:pt x="240" y="121"/>
                  </a:lnTo>
                  <a:lnTo>
                    <a:pt x="240" y="122"/>
                  </a:lnTo>
                  <a:lnTo>
                    <a:pt x="241" y="122"/>
                  </a:lnTo>
                  <a:lnTo>
                    <a:pt x="242" y="122"/>
                  </a:lnTo>
                  <a:lnTo>
                    <a:pt x="242" y="121"/>
                  </a:lnTo>
                  <a:lnTo>
                    <a:pt x="243" y="121"/>
                  </a:lnTo>
                  <a:lnTo>
                    <a:pt x="243" y="120"/>
                  </a:lnTo>
                  <a:lnTo>
                    <a:pt x="244" y="120"/>
                  </a:lnTo>
                  <a:lnTo>
                    <a:pt x="246" y="120"/>
                  </a:lnTo>
                  <a:lnTo>
                    <a:pt x="246" y="121"/>
                  </a:lnTo>
                  <a:lnTo>
                    <a:pt x="247" y="121"/>
                  </a:lnTo>
                  <a:lnTo>
                    <a:pt x="248" y="121"/>
                  </a:lnTo>
                  <a:lnTo>
                    <a:pt x="248" y="122"/>
                  </a:lnTo>
                  <a:lnTo>
                    <a:pt x="249" y="122"/>
                  </a:lnTo>
                  <a:lnTo>
                    <a:pt x="250" y="122"/>
                  </a:lnTo>
                  <a:lnTo>
                    <a:pt x="250" y="121"/>
                  </a:lnTo>
                  <a:lnTo>
                    <a:pt x="252" y="121"/>
                  </a:lnTo>
                  <a:lnTo>
                    <a:pt x="253" y="122"/>
                  </a:lnTo>
                  <a:lnTo>
                    <a:pt x="253" y="124"/>
                  </a:lnTo>
                  <a:lnTo>
                    <a:pt x="254" y="124"/>
                  </a:lnTo>
                  <a:lnTo>
                    <a:pt x="254" y="125"/>
                  </a:lnTo>
                  <a:lnTo>
                    <a:pt x="255" y="125"/>
                  </a:lnTo>
                  <a:lnTo>
                    <a:pt x="256" y="125"/>
                  </a:lnTo>
                  <a:lnTo>
                    <a:pt x="256" y="124"/>
                  </a:lnTo>
                  <a:lnTo>
                    <a:pt x="258" y="124"/>
                  </a:lnTo>
                  <a:lnTo>
                    <a:pt x="258" y="125"/>
                  </a:lnTo>
                  <a:lnTo>
                    <a:pt x="259" y="125"/>
                  </a:lnTo>
                  <a:lnTo>
                    <a:pt x="259" y="126"/>
                  </a:lnTo>
                  <a:lnTo>
                    <a:pt x="259" y="127"/>
                  </a:lnTo>
                  <a:lnTo>
                    <a:pt x="260" y="127"/>
                  </a:lnTo>
                  <a:lnTo>
                    <a:pt x="260" y="126"/>
                  </a:lnTo>
                  <a:lnTo>
                    <a:pt x="261" y="126"/>
                  </a:lnTo>
                  <a:lnTo>
                    <a:pt x="262" y="126"/>
                  </a:lnTo>
                  <a:lnTo>
                    <a:pt x="262" y="127"/>
                  </a:lnTo>
                  <a:lnTo>
                    <a:pt x="261" y="127"/>
                  </a:lnTo>
                  <a:lnTo>
                    <a:pt x="260" y="127"/>
                  </a:lnTo>
                  <a:lnTo>
                    <a:pt x="260" y="128"/>
                  </a:lnTo>
                  <a:lnTo>
                    <a:pt x="260" y="127"/>
                  </a:lnTo>
                  <a:lnTo>
                    <a:pt x="260" y="128"/>
                  </a:lnTo>
                  <a:lnTo>
                    <a:pt x="261" y="128"/>
                  </a:lnTo>
                  <a:lnTo>
                    <a:pt x="260" y="128"/>
                  </a:lnTo>
                  <a:lnTo>
                    <a:pt x="260" y="130"/>
                  </a:lnTo>
                  <a:lnTo>
                    <a:pt x="261" y="130"/>
                  </a:lnTo>
                  <a:lnTo>
                    <a:pt x="262" y="130"/>
                  </a:lnTo>
                  <a:lnTo>
                    <a:pt x="262" y="128"/>
                  </a:lnTo>
                  <a:lnTo>
                    <a:pt x="262" y="130"/>
                  </a:lnTo>
                  <a:lnTo>
                    <a:pt x="264" y="128"/>
                  </a:lnTo>
                  <a:lnTo>
                    <a:pt x="264" y="127"/>
                  </a:lnTo>
                  <a:lnTo>
                    <a:pt x="264" y="126"/>
                  </a:lnTo>
                  <a:lnTo>
                    <a:pt x="264" y="127"/>
                  </a:lnTo>
                  <a:lnTo>
                    <a:pt x="265" y="127"/>
                  </a:lnTo>
                  <a:lnTo>
                    <a:pt x="265" y="128"/>
                  </a:lnTo>
                  <a:lnTo>
                    <a:pt x="264" y="128"/>
                  </a:lnTo>
                  <a:lnTo>
                    <a:pt x="265" y="128"/>
                  </a:lnTo>
                  <a:lnTo>
                    <a:pt x="265" y="130"/>
                  </a:lnTo>
                  <a:lnTo>
                    <a:pt x="265" y="131"/>
                  </a:lnTo>
                  <a:lnTo>
                    <a:pt x="265" y="130"/>
                  </a:lnTo>
                  <a:lnTo>
                    <a:pt x="267" y="130"/>
                  </a:lnTo>
                  <a:lnTo>
                    <a:pt x="268" y="130"/>
                  </a:lnTo>
                  <a:lnTo>
                    <a:pt x="270" y="130"/>
                  </a:lnTo>
                  <a:lnTo>
                    <a:pt x="271" y="130"/>
                  </a:lnTo>
                  <a:lnTo>
                    <a:pt x="271" y="131"/>
                  </a:lnTo>
                  <a:lnTo>
                    <a:pt x="272" y="131"/>
                  </a:lnTo>
                  <a:lnTo>
                    <a:pt x="272" y="132"/>
                  </a:lnTo>
                  <a:lnTo>
                    <a:pt x="272" y="131"/>
                  </a:lnTo>
                  <a:lnTo>
                    <a:pt x="273" y="131"/>
                  </a:lnTo>
                  <a:lnTo>
                    <a:pt x="273" y="132"/>
                  </a:lnTo>
                  <a:lnTo>
                    <a:pt x="274" y="132"/>
                  </a:lnTo>
                  <a:lnTo>
                    <a:pt x="273" y="133"/>
                  </a:lnTo>
                  <a:lnTo>
                    <a:pt x="274" y="133"/>
                  </a:lnTo>
                  <a:lnTo>
                    <a:pt x="274" y="134"/>
                  </a:lnTo>
                  <a:lnTo>
                    <a:pt x="273" y="134"/>
                  </a:lnTo>
                  <a:lnTo>
                    <a:pt x="274" y="134"/>
                  </a:lnTo>
                  <a:lnTo>
                    <a:pt x="274" y="136"/>
                  </a:lnTo>
                  <a:lnTo>
                    <a:pt x="274" y="137"/>
                  </a:lnTo>
                  <a:lnTo>
                    <a:pt x="273" y="138"/>
                  </a:lnTo>
                  <a:lnTo>
                    <a:pt x="274" y="138"/>
                  </a:lnTo>
                  <a:lnTo>
                    <a:pt x="273" y="138"/>
                  </a:lnTo>
                  <a:lnTo>
                    <a:pt x="273" y="139"/>
                  </a:lnTo>
                  <a:lnTo>
                    <a:pt x="272" y="139"/>
                  </a:lnTo>
                  <a:lnTo>
                    <a:pt x="272" y="140"/>
                  </a:lnTo>
                  <a:lnTo>
                    <a:pt x="271" y="140"/>
                  </a:lnTo>
                  <a:lnTo>
                    <a:pt x="270" y="140"/>
                  </a:lnTo>
                  <a:lnTo>
                    <a:pt x="268" y="140"/>
                  </a:lnTo>
                  <a:lnTo>
                    <a:pt x="268" y="139"/>
                  </a:lnTo>
                  <a:lnTo>
                    <a:pt x="268" y="138"/>
                  </a:lnTo>
                  <a:lnTo>
                    <a:pt x="268" y="139"/>
                  </a:lnTo>
                  <a:lnTo>
                    <a:pt x="267" y="140"/>
                  </a:lnTo>
                  <a:lnTo>
                    <a:pt x="267" y="139"/>
                  </a:lnTo>
                  <a:lnTo>
                    <a:pt x="267" y="138"/>
                  </a:lnTo>
                  <a:lnTo>
                    <a:pt x="266" y="138"/>
                  </a:lnTo>
                  <a:lnTo>
                    <a:pt x="265" y="137"/>
                  </a:lnTo>
                  <a:lnTo>
                    <a:pt x="264" y="137"/>
                  </a:lnTo>
                  <a:lnTo>
                    <a:pt x="265" y="138"/>
                  </a:lnTo>
                  <a:lnTo>
                    <a:pt x="265" y="140"/>
                  </a:lnTo>
                  <a:lnTo>
                    <a:pt x="265" y="139"/>
                  </a:lnTo>
                  <a:lnTo>
                    <a:pt x="266" y="139"/>
                  </a:lnTo>
                  <a:lnTo>
                    <a:pt x="266" y="138"/>
                  </a:lnTo>
                  <a:lnTo>
                    <a:pt x="266" y="139"/>
                  </a:lnTo>
                  <a:lnTo>
                    <a:pt x="266" y="140"/>
                  </a:lnTo>
                  <a:lnTo>
                    <a:pt x="265" y="140"/>
                  </a:lnTo>
                  <a:lnTo>
                    <a:pt x="266" y="140"/>
                  </a:lnTo>
                  <a:lnTo>
                    <a:pt x="268" y="140"/>
                  </a:lnTo>
                  <a:lnTo>
                    <a:pt x="270" y="140"/>
                  </a:lnTo>
                  <a:lnTo>
                    <a:pt x="270" y="142"/>
                  </a:lnTo>
                  <a:lnTo>
                    <a:pt x="271" y="143"/>
                  </a:lnTo>
                  <a:lnTo>
                    <a:pt x="271" y="144"/>
                  </a:lnTo>
                  <a:lnTo>
                    <a:pt x="270" y="145"/>
                  </a:lnTo>
                  <a:lnTo>
                    <a:pt x="270" y="146"/>
                  </a:lnTo>
                  <a:lnTo>
                    <a:pt x="271" y="146"/>
                  </a:lnTo>
                  <a:lnTo>
                    <a:pt x="271" y="148"/>
                  </a:lnTo>
                  <a:lnTo>
                    <a:pt x="270" y="148"/>
                  </a:lnTo>
                  <a:lnTo>
                    <a:pt x="271" y="148"/>
                  </a:lnTo>
                  <a:lnTo>
                    <a:pt x="271" y="146"/>
                  </a:lnTo>
                  <a:lnTo>
                    <a:pt x="272" y="146"/>
                  </a:lnTo>
                  <a:lnTo>
                    <a:pt x="272" y="145"/>
                  </a:lnTo>
                  <a:lnTo>
                    <a:pt x="273" y="145"/>
                  </a:lnTo>
                  <a:lnTo>
                    <a:pt x="272" y="144"/>
                  </a:lnTo>
                  <a:lnTo>
                    <a:pt x="271" y="144"/>
                  </a:lnTo>
                  <a:lnTo>
                    <a:pt x="271" y="143"/>
                  </a:lnTo>
                  <a:lnTo>
                    <a:pt x="271" y="142"/>
                  </a:lnTo>
                  <a:lnTo>
                    <a:pt x="272" y="142"/>
                  </a:lnTo>
                  <a:lnTo>
                    <a:pt x="273" y="143"/>
                  </a:lnTo>
                  <a:lnTo>
                    <a:pt x="273" y="142"/>
                  </a:lnTo>
                  <a:lnTo>
                    <a:pt x="274" y="142"/>
                  </a:lnTo>
                  <a:lnTo>
                    <a:pt x="276" y="142"/>
                  </a:lnTo>
                  <a:lnTo>
                    <a:pt x="277" y="143"/>
                  </a:lnTo>
                  <a:lnTo>
                    <a:pt x="278" y="143"/>
                  </a:lnTo>
                  <a:lnTo>
                    <a:pt x="278" y="144"/>
                  </a:lnTo>
                  <a:lnTo>
                    <a:pt x="279" y="144"/>
                  </a:lnTo>
                  <a:lnTo>
                    <a:pt x="279" y="145"/>
                  </a:lnTo>
                  <a:lnTo>
                    <a:pt x="279" y="146"/>
                  </a:lnTo>
                  <a:lnTo>
                    <a:pt x="281" y="148"/>
                  </a:lnTo>
                  <a:lnTo>
                    <a:pt x="282" y="148"/>
                  </a:lnTo>
                  <a:lnTo>
                    <a:pt x="282" y="149"/>
                  </a:lnTo>
                  <a:lnTo>
                    <a:pt x="281" y="149"/>
                  </a:lnTo>
                  <a:lnTo>
                    <a:pt x="282" y="149"/>
                  </a:lnTo>
                  <a:lnTo>
                    <a:pt x="281" y="149"/>
                  </a:lnTo>
                  <a:lnTo>
                    <a:pt x="279" y="150"/>
                  </a:lnTo>
                  <a:lnTo>
                    <a:pt x="279" y="151"/>
                  </a:lnTo>
                  <a:lnTo>
                    <a:pt x="281" y="151"/>
                  </a:lnTo>
                  <a:lnTo>
                    <a:pt x="282" y="151"/>
                  </a:lnTo>
                  <a:lnTo>
                    <a:pt x="283" y="152"/>
                  </a:lnTo>
                  <a:lnTo>
                    <a:pt x="283" y="151"/>
                  </a:lnTo>
                  <a:lnTo>
                    <a:pt x="283" y="152"/>
                  </a:lnTo>
                  <a:lnTo>
                    <a:pt x="284" y="152"/>
                  </a:lnTo>
                  <a:lnTo>
                    <a:pt x="284" y="154"/>
                  </a:lnTo>
                  <a:lnTo>
                    <a:pt x="284" y="152"/>
                  </a:lnTo>
                  <a:lnTo>
                    <a:pt x="284" y="151"/>
                  </a:lnTo>
                  <a:lnTo>
                    <a:pt x="283" y="151"/>
                  </a:lnTo>
                  <a:lnTo>
                    <a:pt x="283" y="150"/>
                  </a:lnTo>
                  <a:lnTo>
                    <a:pt x="282" y="150"/>
                  </a:lnTo>
                  <a:lnTo>
                    <a:pt x="283" y="150"/>
                  </a:lnTo>
                  <a:lnTo>
                    <a:pt x="284" y="149"/>
                  </a:lnTo>
                  <a:lnTo>
                    <a:pt x="283" y="148"/>
                  </a:lnTo>
                  <a:lnTo>
                    <a:pt x="283" y="146"/>
                  </a:lnTo>
                  <a:lnTo>
                    <a:pt x="282" y="146"/>
                  </a:lnTo>
                  <a:lnTo>
                    <a:pt x="282" y="145"/>
                  </a:lnTo>
                  <a:lnTo>
                    <a:pt x="281" y="145"/>
                  </a:lnTo>
                  <a:lnTo>
                    <a:pt x="281" y="144"/>
                  </a:lnTo>
                  <a:lnTo>
                    <a:pt x="282" y="144"/>
                  </a:lnTo>
                  <a:lnTo>
                    <a:pt x="281" y="143"/>
                  </a:lnTo>
                  <a:lnTo>
                    <a:pt x="281" y="142"/>
                  </a:lnTo>
                  <a:lnTo>
                    <a:pt x="279" y="142"/>
                  </a:lnTo>
                  <a:lnTo>
                    <a:pt x="279" y="140"/>
                  </a:lnTo>
                  <a:lnTo>
                    <a:pt x="279" y="139"/>
                  </a:lnTo>
                  <a:lnTo>
                    <a:pt x="279" y="137"/>
                  </a:lnTo>
                  <a:lnTo>
                    <a:pt x="279" y="136"/>
                  </a:lnTo>
                  <a:lnTo>
                    <a:pt x="279" y="134"/>
                  </a:lnTo>
                  <a:lnTo>
                    <a:pt x="278" y="134"/>
                  </a:lnTo>
                  <a:lnTo>
                    <a:pt x="278" y="133"/>
                  </a:lnTo>
                  <a:lnTo>
                    <a:pt x="278" y="132"/>
                  </a:lnTo>
                  <a:lnTo>
                    <a:pt x="278" y="131"/>
                  </a:lnTo>
                  <a:lnTo>
                    <a:pt x="277" y="131"/>
                  </a:lnTo>
                  <a:lnTo>
                    <a:pt x="277" y="130"/>
                  </a:lnTo>
                  <a:lnTo>
                    <a:pt x="277" y="128"/>
                  </a:lnTo>
                  <a:lnTo>
                    <a:pt x="277" y="127"/>
                  </a:lnTo>
                  <a:lnTo>
                    <a:pt x="277" y="126"/>
                  </a:lnTo>
                  <a:lnTo>
                    <a:pt x="276" y="126"/>
                  </a:lnTo>
                  <a:lnTo>
                    <a:pt x="274" y="126"/>
                  </a:lnTo>
                  <a:lnTo>
                    <a:pt x="273" y="126"/>
                  </a:lnTo>
                  <a:lnTo>
                    <a:pt x="273" y="125"/>
                  </a:lnTo>
                  <a:lnTo>
                    <a:pt x="274" y="125"/>
                  </a:lnTo>
                  <a:lnTo>
                    <a:pt x="273" y="125"/>
                  </a:lnTo>
                  <a:lnTo>
                    <a:pt x="273" y="124"/>
                  </a:lnTo>
                  <a:lnTo>
                    <a:pt x="273" y="122"/>
                  </a:lnTo>
                  <a:lnTo>
                    <a:pt x="273" y="124"/>
                  </a:lnTo>
                  <a:lnTo>
                    <a:pt x="274" y="124"/>
                  </a:lnTo>
                  <a:lnTo>
                    <a:pt x="274" y="122"/>
                  </a:lnTo>
                  <a:lnTo>
                    <a:pt x="273" y="122"/>
                  </a:lnTo>
                  <a:lnTo>
                    <a:pt x="273" y="121"/>
                  </a:lnTo>
                  <a:lnTo>
                    <a:pt x="272" y="121"/>
                  </a:lnTo>
                  <a:lnTo>
                    <a:pt x="272" y="122"/>
                  </a:lnTo>
                  <a:lnTo>
                    <a:pt x="272" y="121"/>
                  </a:lnTo>
                  <a:lnTo>
                    <a:pt x="271" y="121"/>
                  </a:lnTo>
                  <a:lnTo>
                    <a:pt x="271" y="122"/>
                  </a:lnTo>
                  <a:lnTo>
                    <a:pt x="270" y="122"/>
                  </a:lnTo>
                  <a:lnTo>
                    <a:pt x="268" y="122"/>
                  </a:lnTo>
                  <a:lnTo>
                    <a:pt x="267" y="122"/>
                  </a:lnTo>
                  <a:lnTo>
                    <a:pt x="267" y="121"/>
                  </a:lnTo>
                  <a:lnTo>
                    <a:pt x="266" y="121"/>
                  </a:lnTo>
                  <a:lnTo>
                    <a:pt x="265" y="121"/>
                  </a:lnTo>
                  <a:lnTo>
                    <a:pt x="265" y="120"/>
                  </a:lnTo>
                  <a:lnTo>
                    <a:pt x="265" y="119"/>
                  </a:lnTo>
                  <a:lnTo>
                    <a:pt x="266" y="118"/>
                  </a:lnTo>
                  <a:lnTo>
                    <a:pt x="266" y="119"/>
                  </a:lnTo>
                  <a:lnTo>
                    <a:pt x="266" y="118"/>
                  </a:lnTo>
                  <a:lnTo>
                    <a:pt x="267" y="119"/>
                  </a:lnTo>
                  <a:lnTo>
                    <a:pt x="267" y="118"/>
                  </a:lnTo>
                  <a:lnTo>
                    <a:pt x="268" y="118"/>
                  </a:lnTo>
                  <a:lnTo>
                    <a:pt x="268" y="116"/>
                  </a:lnTo>
                  <a:lnTo>
                    <a:pt x="270" y="116"/>
                  </a:lnTo>
                  <a:lnTo>
                    <a:pt x="270" y="118"/>
                  </a:lnTo>
                  <a:lnTo>
                    <a:pt x="271" y="118"/>
                  </a:lnTo>
                  <a:lnTo>
                    <a:pt x="271" y="116"/>
                  </a:lnTo>
                  <a:lnTo>
                    <a:pt x="270" y="116"/>
                  </a:lnTo>
                  <a:lnTo>
                    <a:pt x="270" y="115"/>
                  </a:lnTo>
                  <a:lnTo>
                    <a:pt x="268" y="115"/>
                  </a:lnTo>
                  <a:lnTo>
                    <a:pt x="268" y="114"/>
                  </a:lnTo>
                  <a:lnTo>
                    <a:pt x="267" y="114"/>
                  </a:lnTo>
                  <a:lnTo>
                    <a:pt x="267" y="115"/>
                  </a:lnTo>
                  <a:lnTo>
                    <a:pt x="267" y="116"/>
                  </a:lnTo>
                  <a:lnTo>
                    <a:pt x="267" y="118"/>
                  </a:lnTo>
                  <a:lnTo>
                    <a:pt x="267" y="116"/>
                  </a:lnTo>
                  <a:lnTo>
                    <a:pt x="266" y="116"/>
                  </a:lnTo>
                  <a:lnTo>
                    <a:pt x="265" y="118"/>
                  </a:lnTo>
                  <a:lnTo>
                    <a:pt x="264" y="118"/>
                  </a:lnTo>
                  <a:lnTo>
                    <a:pt x="262" y="118"/>
                  </a:lnTo>
                  <a:lnTo>
                    <a:pt x="261" y="116"/>
                  </a:lnTo>
                  <a:lnTo>
                    <a:pt x="261" y="115"/>
                  </a:lnTo>
                  <a:lnTo>
                    <a:pt x="261" y="116"/>
                  </a:lnTo>
                  <a:lnTo>
                    <a:pt x="260" y="116"/>
                  </a:lnTo>
                  <a:lnTo>
                    <a:pt x="259" y="116"/>
                  </a:lnTo>
                  <a:lnTo>
                    <a:pt x="258" y="116"/>
                  </a:lnTo>
                  <a:lnTo>
                    <a:pt x="258" y="115"/>
                  </a:lnTo>
                  <a:lnTo>
                    <a:pt x="256" y="115"/>
                  </a:lnTo>
                  <a:lnTo>
                    <a:pt x="255" y="115"/>
                  </a:lnTo>
                  <a:lnTo>
                    <a:pt x="254" y="115"/>
                  </a:lnTo>
                  <a:lnTo>
                    <a:pt x="253" y="115"/>
                  </a:lnTo>
                  <a:lnTo>
                    <a:pt x="252" y="114"/>
                  </a:lnTo>
                  <a:lnTo>
                    <a:pt x="253" y="114"/>
                  </a:lnTo>
                  <a:lnTo>
                    <a:pt x="253" y="113"/>
                  </a:lnTo>
                  <a:lnTo>
                    <a:pt x="253" y="112"/>
                  </a:lnTo>
                  <a:lnTo>
                    <a:pt x="254" y="112"/>
                  </a:lnTo>
                  <a:lnTo>
                    <a:pt x="255" y="112"/>
                  </a:lnTo>
                  <a:lnTo>
                    <a:pt x="255" y="113"/>
                  </a:lnTo>
                  <a:lnTo>
                    <a:pt x="256" y="113"/>
                  </a:lnTo>
                  <a:lnTo>
                    <a:pt x="256" y="112"/>
                  </a:lnTo>
                  <a:lnTo>
                    <a:pt x="255" y="110"/>
                  </a:lnTo>
                  <a:lnTo>
                    <a:pt x="254" y="110"/>
                  </a:lnTo>
                  <a:lnTo>
                    <a:pt x="253" y="110"/>
                  </a:lnTo>
                  <a:lnTo>
                    <a:pt x="253" y="112"/>
                  </a:lnTo>
                  <a:lnTo>
                    <a:pt x="253" y="110"/>
                  </a:lnTo>
                  <a:lnTo>
                    <a:pt x="252" y="112"/>
                  </a:lnTo>
                  <a:lnTo>
                    <a:pt x="250" y="112"/>
                  </a:lnTo>
                  <a:lnTo>
                    <a:pt x="250" y="113"/>
                  </a:lnTo>
                  <a:lnTo>
                    <a:pt x="249" y="113"/>
                  </a:lnTo>
                  <a:lnTo>
                    <a:pt x="249" y="112"/>
                  </a:lnTo>
                  <a:lnTo>
                    <a:pt x="250" y="112"/>
                  </a:lnTo>
                  <a:lnTo>
                    <a:pt x="250" y="110"/>
                  </a:lnTo>
                  <a:lnTo>
                    <a:pt x="252" y="110"/>
                  </a:lnTo>
                  <a:lnTo>
                    <a:pt x="250" y="110"/>
                  </a:lnTo>
                  <a:lnTo>
                    <a:pt x="250" y="109"/>
                  </a:lnTo>
                  <a:lnTo>
                    <a:pt x="252" y="109"/>
                  </a:lnTo>
                  <a:lnTo>
                    <a:pt x="252" y="108"/>
                  </a:lnTo>
                  <a:lnTo>
                    <a:pt x="250" y="108"/>
                  </a:lnTo>
                  <a:lnTo>
                    <a:pt x="252" y="108"/>
                  </a:lnTo>
                  <a:lnTo>
                    <a:pt x="252" y="107"/>
                  </a:lnTo>
                  <a:lnTo>
                    <a:pt x="250" y="106"/>
                  </a:lnTo>
                  <a:lnTo>
                    <a:pt x="250" y="104"/>
                  </a:lnTo>
                  <a:lnTo>
                    <a:pt x="249" y="104"/>
                  </a:lnTo>
                  <a:lnTo>
                    <a:pt x="248" y="104"/>
                  </a:lnTo>
                  <a:lnTo>
                    <a:pt x="247" y="104"/>
                  </a:lnTo>
                  <a:lnTo>
                    <a:pt x="247" y="106"/>
                  </a:lnTo>
                  <a:lnTo>
                    <a:pt x="248" y="106"/>
                  </a:lnTo>
                  <a:lnTo>
                    <a:pt x="247" y="107"/>
                  </a:lnTo>
                  <a:lnTo>
                    <a:pt x="248" y="107"/>
                  </a:lnTo>
                  <a:lnTo>
                    <a:pt x="249" y="107"/>
                  </a:lnTo>
                  <a:lnTo>
                    <a:pt x="248" y="107"/>
                  </a:lnTo>
                  <a:lnTo>
                    <a:pt x="248" y="108"/>
                  </a:lnTo>
                  <a:lnTo>
                    <a:pt x="249" y="108"/>
                  </a:lnTo>
                  <a:lnTo>
                    <a:pt x="249" y="109"/>
                  </a:lnTo>
                  <a:lnTo>
                    <a:pt x="249" y="108"/>
                  </a:lnTo>
                  <a:lnTo>
                    <a:pt x="248" y="108"/>
                  </a:lnTo>
                  <a:lnTo>
                    <a:pt x="248" y="109"/>
                  </a:lnTo>
                  <a:lnTo>
                    <a:pt x="247" y="109"/>
                  </a:lnTo>
                  <a:lnTo>
                    <a:pt x="246" y="109"/>
                  </a:lnTo>
                  <a:lnTo>
                    <a:pt x="244" y="109"/>
                  </a:lnTo>
                  <a:lnTo>
                    <a:pt x="244" y="110"/>
                  </a:lnTo>
                  <a:lnTo>
                    <a:pt x="243" y="110"/>
                  </a:lnTo>
                  <a:lnTo>
                    <a:pt x="243" y="112"/>
                  </a:lnTo>
                  <a:lnTo>
                    <a:pt x="242" y="112"/>
                  </a:lnTo>
                  <a:lnTo>
                    <a:pt x="241" y="110"/>
                  </a:lnTo>
                  <a:lnTo>
                    <a:pt x="242" y="110"/>
                  </a:lnTo>
                  <a:lnTo>
                    <a:pt x="242" y="109"/>
                  </a:lnTo>
                  <a:lnTo>
                    <a:pt x="241" y="108"/>
                  </a:lnTo>
                  <a:lnTo>
                    <a:pt x="241" y="107"/>
                  </a:lnTo>
                  <a:lnTo>
                    <a:pt x="242" y="107"/>
                  </a:lnTo>
                  <a:lnTo>
                    <a:pt x="242" y="108"/>
                  </a:lnTo>
                  <a:lnTo>
                    <a:pt x="243" y="108"/>
                  </a:lnTo>
                  <a:lnTo>
                    <a:pt x="243" y="109"/>
                  </a:lnTo>
                  <a:lnTo>
                    <a:pt x="244" y="109"/>
                  </a:lnTo>
                  <a:lnTo>
                    <a:pt x="244" y="108"/>
                  </a:lnTo>
                  <a:lnTo>
                    <a:pt x="243" y="109"/>
                  </a:lnTo>
                  <a:lnTo>
                    <a:pt x="243" y="108"/>
                  </a:lnTo>
                  <a:lnTo>
                    <a:pt x="243" y="107"/>
                  </a:lnTo>
                  <a:lnTo>
                    <a:pt x="243" y="106"/>
                  </a:lnTo>
                  <a:lnTo>
                    <a:pt x="243" y="107"/>
                  </a:lnTo>
                  <a:lnTo>
                    <a:pt x="242" y="107"/>
                  </a:lnTo>
                  <a:lnTo>
                    <a:pt x="242" y="106"/>
                  </a:lnTo>
                  <a:lnTo>
                    <a:pt x="242" y="104"/>
                  </a:lnTo>
                  <a:lnTo>
                    <a:pt x="241" y="103"/>
                  </a:lnTo>
                  <a:lnTo>
                    <a:pt x="240" y="103"/>
                  </a:lnTo>
                  <a:lnTo>
                    <a:pt x="241" y="102"/>
                  </a:lnTo>
                  <a:lnTo>
                    <a:pt x="240" y="103"/>
                  </a:lnTo>
                  <a:lnTo>
                    <a:pt x="241" y="104"/>
                  </a:lnTo>
                  <a:lnTo>
                    <a:pt x="240" y="104"/>
                  </a:lnTo>
                  <a:lnTo>
                    <a:pt x="240" y="106"/>
                  </a:lnTo>
                  <a:lnTo>
                    <a:pt x="240" y="104"/>
                  </a:lnTo>
                  <a:lnTo>
                    <a:pt x="240" y="103"/>
                  </a:lnTo>
                  <a:lnTo>
                    <a:pt x="238" y="103"/>
                  </a:lnTo>
                  <a:lnTo>
                    <a:pt x="237" y="103"/>
                  </a:lnTo>
                  <a:lnTo>
                    <a:pt x="237" y="104"/>
                  </a:lnTo>
                  <a:lnTo>
                    <a:pt x="237" y="103"/>
                  </a:lnTo>
                  <a:lnTo>
                    <a:pt x="236" y="103"/>
                  </a:lnTo>
                  <a:lnTo>
                    <a:pt x="236" y="102"/>
                  </a:lnTo>
                  <a:lnTo>
                    <a:pt x="235" y="102"/>
                  </a:lnTo>
                  <a:lnTo>
                    <a:pt x="235" y="103"/>
                  </a:lnTo>
                  <a:lnTo>
                    <a:pt x="234" y="104"/>
                  </a:lnTo>
                  <a:lnTo>
                    <a:pt x="234" y="103"/>
                  </a:lnTo>
                  <a:lnTo>
                    <a:pt x="232" y="104"/>
                  </a:lnTo>
                  <a:lnTo>
                    <a:pt x="234" y="104"/>
                  </a:lnTo>
                  <a:lnTo>
                    <a:pt x="234" y="106"/>
                  </a:lnTo>
                  <a:lnTo>
                    <a:pt x="232" y="106"/>
                  </a:lnTo>
                  <a:lnTo>
                    <a:pt x="232" y="107"/>
                  </a:lnTo>
                  <a:lnTo>
                    <a:pt x="231" y="108"/>
                  </a:lnTo>
                  <a:lnTo>
                    <a:pt x="230" y="108"/>
                  </a:lnTo>
                  <a:lnTo>
                    <a:pt x="228" y="108"/>
                  </a:lnTo>
                  <a:lnTo>
                    <a:pt x="228" y="107"/>
                  </a:lnTo>
                  <a:lnTo>
                    <a:pt x="228" y="106"/>
                  </a:lnTo>
                  <a:lnTo>
                    <a:pt x="229" y="106"/>
                  </a:lnTo>
                  <a:lnTo>
                    <a:pt x="229" y="104"/>
                  </a:lnTo>
                  <a:lnTo>
                    <a:pt x="229" y="106"/>
                  </a:lnTo>
                  <a:lnTo>
                    <a:pt x="228" y="106"/>
                  </a:lnTo>
                  <a:lnTo>
                    <a:pt x="228" y="104"/>
                  </a:lnTo>
                  <a:lnTo>
                    <a:pt x="229" y="104"/>
                  </a:lnTo>
                  <a:lnTo>
                    <a:pt x="229" y="103"/>
                  </a:lnTo>
                  <a:lnTo>
                    <a:pt x="229" y="102"/>
                  </a:lnTo>
                  <a:lnTo>
                    <a:pt x="230" y="102"/>
                  </a:lnTo>
                  <a:lnTo>
                    <a:pt x="230" y="101"/>
                  </a:lnTo>
                  <a:lnTo>
                    <a:pt x="230" y="100"/>
                  </a:lnTo>
                  <a:lnTo>
                    <a:pt x="230" y="98"/>
                  </a:lnTo>
                  <a:lnTo>
                    <a:pt x="229" y="98"/>
                  </a:lnTo>
                  <a:lnTo>
                    <a:pt x="228" y="98"/>
                  </a:lnTo>
                  <a:lnTo>
                    <a:pt x="228" y="100"/>
                  </a:lnTo>
                  <a:lnTo>
                    <a:pt x="226" y="100"/>
                  </a:lnTo>
                  <a:lnTo>
                    <a:pt x="226" y="98"/>
                  </a:lnTo>
                  <a:lnTo>
                    <a:pt x="225" y="98"/>
                  </a:lnTo>
                  <a:lnTo>
                    <a:pt x="224" y="98"/>
                  </a:lnTo>
                  <a:lnTo>
                    <a:pt x="224" y="97"/>
                  </a:lnTo>
                  <a:lnTo>
                    <a:pt x="223" y="97"/>
                  </a:lnTo>
                  <a:lnTo>
                    <a:pt x="222" y="97"/>
                  </a:lnTo>
                  <a:lnTo>
                    <a:pt x="219" y="97"/>
                  </a:lnTo>
                  <a:lnTo>
                    <a:pt x="219" y="98"/>
                  </a:lnTo>
                  <a:lnTo>
                    <a:pt x="220" y="98"/>
                  </a:lnTo>
                  <a:lnTo>
                    <a:pt x="220" y="100"/>
                  </a:lnTo>
                  <a:lnTo>
                    <a:pt x="219" y="100"/>
                  </a:lnTo>
                  <a:lnTo>
                    <a:pt x="219" y="98"/>
                  </a:lnTo>
                  <a:lnTo>
                    <a:pt x="218" y="98"/>
                  </a:lnTo>
                  <a:lnTo>
                    <a:pt x="219" y="97"/>
                  </a:lnTo>
                  <a:lnTo>
                    <a:pt x="218" y="97"/>
                  </a:lnTo>
                  <a:lnTo>
                    <a:pt x="217" y="98"/>
                  </a:lnTo>
                  <a:lnTo>
                    <a:pt x="215" y="98"/>
                  </a:lnTo>
                  <a:lnTo>
                    <a:pt x="214" y="98"/>
                  </a:lnTo>
                  <a:lnTo>
                    <a:pt x="214" y="100"/>
                  </a:lnTo>
                  <a:lnTo>
                    <a:pt x="215" y="100"/>
                  </a:lnTo>
                  <a:lnTo>
                    <a:pt x="215" y="101"/>
                  </a:lnTo>
                  <a:lnTo>
                    <a:pt x="214" y="101"/>
                  </a:lnTo>
                  <a:lnTo>
                    <a:pt x="213" y="102"/>
                  </a:lnTo>
                  <a:lnTo>
                    <a:pt x="213" y="103"/>
                  </a:lnTo>
                  <a:lnTo>
                    <a:pt x="212" y="102"/>
                  </a:lnTo>
                  <a:lnTo>
                    <a:pt x="211" y="101"/>
                  </a:lnTo>
                  <a:lnTo>
                    <a:pt x="211" y="100"/>
                  </a:lnTo>
                  <a:lnTo>
                    <a:pt x="211" y="101"/>
                  </a:lnTo>
                  <a:lnTo>
                    <a:pt x="212" y="100"/>
                  </a:lnTo>
                  <a:lnTo>
                    <a:pt x="213" y="100"/>
                  </a:lnTo>
                  <a:lnTo>
                    <a:pt x="212" y="100"/>
                  </a:lnTo>
                  <a:lnTo>
                    <a:pt x="213" y="98"/>
                  </a:lnTo>
                  <a:lnTo>
                    <a:pt x="213" y="97"/>
                  </a:lnTo>
                  <a:lnTo>
                    <a:pt x="213" y="96"/>
                  </a:lnTo>
                  <a:lnTo>
                    <a:pt x="212" y="96"/>
                  </a:lnTo>
                  <a:lnTo>
                    <a:pt x="212" y="97"/>
                  </a:lnTo>
                  <a:lnTo>
                    <a:pt x="211" y="97"/>
                  </a:lnTo>
                  <a:lnTo>
                    <a:pt x="211" y="96"/>
                  </a:lnTo>
                  <a:lnTo>
                    <a:pt x="209" y="96"/>
                  </a:lnTo>
                  <a:lnTo>
                    <a:pt x="209" y="95"/>
                  </a:lnTo>
                  <a:lnTo>
                    <a:pt x="208" y="95"/>
                  </a:lnTo>
                  <a:lnTo>
                    <a:pt x="208" y="94"/>
                  </a:lnTo>
                  <a:lnTo>
                    <a:pt x="207" y="94"/>
                  </a:lnTo>
                  <a:lnTo>
                    <a:pt x="206" y="92"/>
                  </a:lnTo>
                  <a:lnTo>
                    <a:pt x="205" y="92"/>
                  </a:lnTo>
                  <a:lnTo>
                    <a:pt x="203" y="91"/>
                  </a:lnTo>
                  <a:lnTo>
                    <a:pt x="202" y="91"/>
                  </a:lnTo>
                  <a:lnTo>
                    <a:pt x="202" y="90"/>
                  </a:lnTo>
                  <a:lnTo>
                    <a:pt x="202" y="89"/>
                  </a:lnTo>
                  <a:lnTo>
                    <a:pt x="201" y="89"/>
                  </a:lnTo>
                  <a:lnTo>
                    <a:pt x="200" y="89"/>
                  </a:lnTo>
                  <a:lnTo>
                    <a:pt x="199" y="89"/>
                  </a:lnTo>
                  <a:lnTo>
                    <a:pt x="199" y="88"/>
                  </a:lnTo>
                  <a:lnTo>
                    <a:pt x="197" y="86"/>
                  </a:lnTo>
                  <a:lnTo>
                    <a:pt x="196" y="86"/>
                  </a:lnTo>
                  <a:lnTo>
                    <a:pt x="196" y="85"/>
                  </a:lnTo>
                  <a:lnTo>
                    <a:pt x="196" y="84"/>
                  </a:lnTo>
                  <a:lnTo>
                    <a:pt x="196" y="83"/>
                  </a:lnTo>
                  <a:lnTo>
                    <a:pt x="197" y="82"/>
                  </a:lnTo>
                  <a:lnTo>
                    <a:pt x="196" y="82"/>
                  </a:lnTo>
                  <a:lnTo>
                    <a:pt x="195" y="82"/>
                  </a:lnTo>
                  <a:lnTo>
                    <a:pt x="195" y="80"/>
                  </a:lnTo>
                  <a:lnTo>
                    <a:pt x="194" y="80"/>
                  </a:lnTo>
                  <a:lnTo>
                    <a:pt x="193" y="80"/>
                  </a:lnTo>
                  <a:lnTo>
                    <a:pt x="191" y="80"/>
                  </a:lnTo>
                  <a:lnTo>
                    <a:pt x="191" y="79"/>
                  </a:lnTo>
                  <a:lnTo>
                    <a:pt x="190" y="78"/>
                  </a:lnTo>
                  <a:lnTo>
                    <a:pt x="189" y="78"/>
                  </a:lnTo>
                  <a:lnTo>
                    <a:pt x="190" y="77"/>
                  </a:lnTo>
                  <a:lnTo>
                    <a:pt x="190" y="76"/>
                  </a:lnTo>
                  <a:lnTo>
                    <a:pt x="191" y="76"/>
                  </a:lnTo>
                  <a:lnTo>
                    <a:pt x="193" y="76"/>
                  </a:lnTo>
                  <a:lnTo>
                    <a:pt x="194" y="74"/>
                  </a:lnTo>
                  <a:lnTo>
                    <a:pt x="194" y="73"/>
                  </a:lnTo>
                  <a:lnTo>
                    <a:pt x="195" y="73"/>
                  </a:lnTo>
                  <a:lnTo>
                    <a:pt x="196" y="73"/>
                  </a:lnTo>
                  <a:lnTo>
                    <a:pt x="196" y="74"/>
                  </a:lnTo>
                  <a:lnTo>
                    <a:pt x="197" y="74"/>
                  </a:lnTo>
                  <a:lnTo>
                    <a:pt x="199" y="74"/>
                  </a:lnTo>
                  <a:lnTo>
                    <a:pt x="199" y="76"/>
                  </a:lnTo>
                  <a:lnTo>
                    <a:pt x="199" y="74"/>
                  </a:lnTo>
                  <a:lnTo>
                    <a:pt x="197" y="73"/>
                  </a:lnTo>
                  <a:lnTo>
                    <a:pt x="196" y="73"/>
                  </a:lnTo>
                  <a:lnTo>
                    <a:pt x="196" y="72"/>
                  </a:lnTo>
                  <a:lnTo>
                    <a:pt x="195" y="72"/>
                  </a:lnTo>
                  <a:lnTo>
                    <a:pt x="194" y="72"/>
                  </a:lnTo>
                  <a:lnTo>
                    <a:pt x="194" y="71"/>
                  </a:lnTo>
                  <a:lnTo>
                    <a:pt x="194" y="70"/>
                  </a:lnTo>
                  <a:lnTo>
                    <a:pt x="193" y="70"/>
                  </a:lnTo>
                  <a:lnTo>
                    <a:pt x="193" y="68"/>
                  </a:lnTo>
                  <a:lnTo>
                    <a:pt x="193" y="67"/>
                  </a:lnTo>
                  <a:lnTo>
                    <a:pt x="191" y="67"/>
                  </a:lnTo>
                  <a:lnTo>
                    <a:pt x="191" y="66"/>
                  </a:lnTo>
                  <a:lnTo>
                    <a:pt x="191" y="65"/>
                  </a:lnTo>
                  <a:lnTo>
                    <a:pt x="191" y="64"/>
                  </a:lnTo>
                  <a:lnTo>
                    <a:pt x="193" y="64"/>
                  </a:lnTo>
                  <a:lnTo>
                    <a:pt x="194" y="65"/>
                  </a:lnTo>
                  <a:lnTo>
                    <a:pt x="196" y="65"/>
                  </a:lnTo>
                  <a:lnTo>
                    <a:pt x="197" y="65"/>
                  </a:lnTo>
                  <a:lnTo>
                    <a:pt x="199" y="66"/>
                  </a:lnTo>
                  <a:lnTo>
                    <a:pt x="200" y="66"/>
                  </a:lnTo>
                  <a:lnTo>
                    <a:pt x="201" y="66"/>
                  </a:lnTo>
                  <a:lnTo>
                    <a:pt x="201" y="65"/>
                  </a:lnTo>
                  <a:lnTo>
                    <a:pt x="201" y="64"/>
                  </a:lnTo>
                  <a:lnTo>
                    <a:pt x="200" y="64"/>
                  </a:lnTo>
                  <a:lnTo>
                    <a:pt x="201" y="64"/>
                  </a:lnTo>
                  <a:lnTo>
                    <a:pt x="201" y="62"/>
                  </a:lnTo>
                  <a:lnTo>
                    <a:pt x="200" y="62"/>
                  </a:lnTo>
                  <a:lnTo>
                    <a:pt x="199" y="62"/>
                  </a:lnTo>
                  <a:lnTo>
                    <a:pt x="197" y="62"/>
                  </a:lnTo>
                  <a:lnTo>
                    <a:pt x="196" y="62"/>
                  </a:lnTo>
                  <a:lnTo>
                    <a:pt x="196" y="61"/>
                  </a:lnTo>
                  <a:lnTo>
                    <a:pt x="195" y="61"/>
                  </a:lnTo>
                  <a:lnTo>
                    <a:pt x="196" y="61"/>
                  </a:lnTo>
                  <a:lnTo>
                    <a:pt x="195" y="60"/>
                  </a:lnTo>
                  <a:lnTo>
                    <a:pt x="195" y="59"/>
                  </a:lnTo>
                  <a:lnTo>
                    <a:pt x="195" y="58"/>
                  </a:lnTo>
                  <a:lnTo>
                    <a:pt x="194" y="58"/>
                  </a:lnTo>
                  <a:lnTo>
                    <a:pt x="194" y="56"/>
                  </a:lnTo>
                  <a:lnTo>
                    <a:pt x="194" y="55"/>
                  </a:lnTo>
                  <a:lnTo>
                    <a:pt x="195" y="55"/>
                  </a:lnTo>
                  <a:lnTo>
                    <a:pt x="196" y="55"/>
                  </a:lnTo>
                  <a:lnTo>
                    <a:pt x="196" y="56"/>
                  </a:lnTo>
                  <a:lnTo>
                    <a:pt x="197" y="56"/>
                  </a:lnTo>
                  <a:lnTo>
                    <a:pt x="197" y="58"/>
                  </a:lnTo>
                  <a:lnTo>
                    <a:pt x="199" y="56"/>
                  </a:lnTo>
                  <a:lnTo>
                    <a:pt x="199" y="55"/>
                  </a:lnTo>
                  <a:lnTo>
                    <a:pt x="197" y="55"/>
                  </a:lnTo>
                  <a:lnTo>
                    <a:pt x="197" y="54"/>
                  </a:lnTo>
                  <a:lnTo>
                    <a:pt x="199" y="54"/>
                  </a:lnTo>
                  <a:lnTo>
                    <a:pt x="199" y="53"/>
                  </a:lnTo>
                  <a:lnTo>
                    <a:pt x="197" y="53"/>
                  </a:lnTo>
                  <a:lnTo>
                    <a:pt x="197" y="52"/>
                  </a:lnTo>
                  <a:lnTo>
                    <a:pt x="196" y="52"/>
                  </a:lnTo>
                  <a:lnTo>
                    <a:pt x="197" y="52"/>
                  </a:lnTo>
                  <a:lnTo>
                    <a:pt x="197" y="50"/>
                  </a:lnTo>
                  <a:lnTo>
                    <a:pt x="197" y="49"/>
                  </a:lnTo>
                  <a:lnTo>
                    <a:pt x="199" y="49"/>
                  </a:lnTo>
                  <a:lnTo>
                    <a:pt x="199" y="48"/>
                  </a:lnTo>
                  <a:lnTo>
                    <a:pt x="199" y="47"/>
                  </a:lnTo>
                  <a:lnTo>
                    <a:pt x="197" y="47"/>
                  </a:lnTo>
                  <a:lnTo>
                    <a:pt x="197" y="45"/>
                  </a:lnTo>
                  <a:lnTo>
                    <a:pt x="197" y="44"/>
                  </a:lnTo>
                  <a:lnTo>
                    <a:pt x="199" y="44"/>
                  </a:lnTo>
                  <a:lnTo>
                    <a:pt x="200" y="43"/>
                  </a:lnTo>
                  <a:lnTo>
                    <a:pt x="200" y="44"/>
                  </a:lnTo>
                  <a:lnTo>
                    <a:pt x="201" y="44"/>
                  </a:lnTo>
                  <a:lnTo>
                    <a:pt x="201" y="45"/>
                  </a:lnTo>
                  <a:lnTo>
                    <a:pt x="201" y="47"/>
                  </a:lnTo>
                  <a:lnTo>
                    <a:pt x="201" y="48"/>
                  </a:lnTo>
                  <a:lnTo>
                    <a:pt x="201" y="49"/>
                  </a:lnTo>
                  <a:lnTo>
                    <a:pt x="201" y="50"/>
                  </a:lnTo>
                  <a:lnTo>
                    <a:pt x="202" y="49"/>
                  </a:lnTo>
                  <a:lnTo>
                    <a:pt x="202" y="48"/>
                  </a:lnTo>
                  <a:lnTo>
                    <a:pt x="203" y="48"/>
                  </a:lnTo>
                  <a:lnTo>
                    <a:pt x="203" y="47"/>
                  </a:lnTo>
                  <a:lnTo>
                    <a:pt x="203" y="45"/>
                  </a:lnTo>
                  <a:lnTo>
                    <a:pt x="202" y="45"/>
                  </a:lnTo>
                  <a:lnTo>
                    <a:pt x="202" y="44"/>
                  </a:lnTo>
                  <a:lnTo>
                    <a:pt x="201" y="44"/>
                  </a:lnTo>
                  <a:lnTo>
                    <a:pt x="202" y="43"/>
                  </a:lnTo>
                  <a:lnTo>
                    <a:pt x="202" y="42"/>
                  </a:lnTo>
                  <a:lnTo>
                    <a:pt x="203" y="42"/>
                  </a:lnTo>
                  <a:lnTo>
                    <a:pt x="205" y="42"/>
                  </a:lnTo>
                  <a:lnTo>
                    <a:pt x="205" y="43"/>
                  </a:lnTo>
                  <a:lnTo>
                    <a:pt x="206" y="43"/>
                  </a:lnTo>
                  <a:lnTo>
                    <a:pt x="207" y="43"/>
                  </a:lnTo>
                  <a:lnTo>
                    <a:pt x="207" y="42"/>
                  </a:lnTo>
                  <a:lnTo>
                    <a:pt x="205" y="42"/>
                  </a:lnTo>
                  <a:lnTo>
                    <a:pt x="206" y="42"/>
                  </a:lnTo>
                  <a:lnTo>
                    <a:pt x="205" y="41"/>
                  </a:lnTo>
                  <a:lnTo>
                    <a:pt x="205" y="39"/>
                  </a:lnTo>
                  <a:lnTo>
                    <a:pt x="206" y="38"/>
                  </a:lnTo>
                  <a:lnTo>
                    <a:pt x="207" y="38"/>
                  </a:lnTo>
                  <a:lnTo>
                    <a:pt x="206" y="38"/>
                  </a:lnTo>
                  <a:lnTo>
                    <a:pt x="207" y="37"/>
                  </a:lnTo>
                  <a:lnTo>
                    <a:pt x="206" y="37"/>
                  </a:lnTo>
                  <a:lnTo>
                    <a:pt x="206" y="36"/>
                  </a:lnTo>
                  <a:lnTo>
                    <a:pt x="205" y="36"/>
                  </a:lnTo>
                  <a:lnTo>
                    <a:pt x="203" y="35"/>
                  </a:lnTo>
                  <a:lnTo>
                    <a:pt x="202" y="35"/>
                  </a:lnTo>
                  <a:lnTo>
                    <a:pt x="202" y="33"/>
                  </a:lnTo>
                  <a:lnTo>
                    <a:pt x="203" y="33"/>
                  </a:lnTo>
                  <a:lnTo>
                    <a:pt x="203" y="32"/>
                  </a:lnTo>
                  <a:lnTo>
                    <a:pt x="203" y="31"/>
                  </a:lnTo>
                  <a:lnTo>
                    <a:pt x="205" y="32"/>
                  </a:lnTo>
                  <a:lnTo>
                    <a:pt x="205" y="31"/>
                  </a:lnTo>
                  <a:lnTo>
                    <a:pt x="205" y="30"/>
                  </a:lnTo>
                  <a:lnTo>
                    <a:pt x="205" y="29"/>
                  </a:lnTo>
                  <a:lnTo>
                    <a:pt x="203" y="29"/>
                  </a:lnTo>
                  <a:lnTo>
                    <a:pt x="203" y="27"/>
                  </a:lnTo>
                  <a:lnTo>
                    <a:pt x="205" y="27"/>
                  </a:lnTo>
                  <a:lnTo>
                    <a:pt x="206" y="27"/>
                  </a:lnTo>
                  <a:lnTo>
                    <a:pt x="206" y="26"/>
                  </a:lnTo>
                  <a:lnTo>
                    <a:pt x="207" y="27"/>
                  </a:lnTo>
                  <a:lnTo>
                    <a:pt x="207" y="29"/>
                  </a:lnTo>
                  <a:lnTo>
                    <a:pt x="207" y="30"/>
                  </a:lnTo>
                  <a:lnTo>
                    <a:pt x="208" y="30"/>
                  </a:lnTo>
                  <a:lnTo>
                    <a:pt x="208" y="31"/>
                  </a:lnTo>
                  <a:lnTo>
                    <a:pt x="209" y="31"/>
                  </a:lnTo>
                  <a:lnTo>
                    <a:pt x="209" y="30"/>
                  </a:lnTo>
                  <a:lnTo>
                    <a:pt x="211" y="30"/>
                  </a:lnTo>
                  <a:lnTo>
                    <a:pt x="211" y="31"/>
                  </a:lnTo>
                  <a:lnTo>
                    <a:pt x="211" y="32"/>
                  </a:lnTo>
                  <a:lnTo>
                    <a:pt x="211" y="35"/>
                  </a:lnTo>
                  <a:lnTo>
                    <a:pt x="212" y="35"/>
                  </a:lnTo>
                  <a:lnTo>
                    <a:pt x="213" y="35"/>
                  </a:lnTo>
                  <a:lnTo>
                    <a:pt x="214" y="35"/>
                  </a:lnTo>
                  <a:lnTo>
                    <a:pt x="215" y="35"/>
                  </a:lnTo>
                  <a:lnTo>
                    <a:pt x="215" y="33"/>
                  </a:lnTo>
                  <a:lnTo>
                    <a:pt x="217" y="33"/>
                  </a:lnTo>
                  <a:lnTo>
                    <a:pt x="215" y="33"/>
                  </a:lnTo>
                  <a:lnTo>
                    <a:pt x="214" y="32"/>
                  </a:lnTo>
                  <a:lnTo>
                    <a:pt x="215" y="32"/>
                  </a:lnTo>
                  <a:lnTo>
                    <a:pt x="214" y="32"/>
                  </a:lnTo>
                  <a:lnTo>
                    <a:pt x="214" y="31"/>
                  </a:lnTo>
                  <a:lnTo>
                    <a:pt x="214" y="30"/>
                  </a:lnTo>
                  <a:lnTo>
                    <a:pt x="213" y="30"/>
                  </a:lnTo>
                  <a:lnTo>
                    <a:pt x="214" y="29"/>
                  </a:lnTo>
                  <a:lnTo>
                    <a:pt x="213" y="29"/>
                  </a:lnTo>
                  <a:lnTo>
                    <a:pt x="213" y="27"/>
                  </a:lnTo>
                  <a:lnTo>
                    <a:pt x="213" y="26"/>
                  </a:lnTo>
                  <a:lnTo>
                    <a:pt x="213" y="25"/>
                  </a:lnTo>
                  <a:lnTo>
                    <a:pt x="213" y="24"/>
                  </a:lnTo>
                  <a:lnTo>
                    <a:pt x="212" y="24"/>
                  </a:lnTo>
                  <a:lnTo>
                    <a:pt x="212" y="23"/>
                  </a:lnTo>
                  <a:lnTo>
                    <a:pt x="212" y="21"/>
                  </a:lnTo>
                  <a:lnTo>
                    <a:pt x="211" y="21"/>
                  </a:lnTo>
                  <a:lnTo>
                    <a:pt x="212" y="20"/>
                  </a:lnTo>
                  <a:lnTo>
                    <a:pt x="211" y="20"/>
                  </a:lnTo>
                  <a:lnTo>
                    <a:pt x="211" y="19"/>
                  </a:lnTo>
                  <a:lnTo>
                    <a:pt x="211" y="18"/>
                  </a:lnTo>
                  <a:lnTo>
                    <a:pt x="212" y="18"/>
                  </a:lnTo>
                  <a:lnTo>
                    <a:pt x="212" y="17"/>
                  </a:lnTo>
                  <a:lnTo>
                    <a:pt x="213" y="17"/>
                  </a:lnTo>
                  <a:lnTo>
                    <a:pt x="212" y="18"/>
                  </a:lnTo>
                  <a:lnTo>
                    <a:pt x="213" y="18"/>
                  </a:lnTo>
                  <a:lnTo>
                    <a:pt x="213" y="17"/>
                  </a:lnTo>
                  <a:lnTo>
                    <a:pt x="213" y="15"/>
                  </a:lnTo>
                  <a:lnTo>
                    <a:pt x="213" y="14"/>
                  </a:lnTo>
                  <a:lnTo>
                    <a:pt x="213" y="13"/>
                  </a:lnTo>
                  <a:lnTo>
                    <a:pt x="214" y="12"/>
                  </a:lnTo>
                  <a:lnTo>
                    <a:pt x="214" y="13"/>
                  </a:lnTo>
                  <a:lnTo>
                    <a:pt x="217" y="13"/>
                  </a:lnTo>
                  <a:lnTo>
                    <a:pt x="215" y="13"/>
                  </a:lnTo>
                  <a:lnTo>
                    <a:pt x="215" y="14"/>
                  </a:lnTo>
                  <a:lnTo>
                    <a:pt x="217" y="14"/>
                  </a:lnTo>
                  <a:lnTo>
                    <a:pt x="215" y="15"/>
                  </a:lnTo>
                  <a:lnTo>
                    <a:pt x="217" y="17"/>
                  </a:lnTo>
                  <a:lnTo>
                    <a:pt x="217" y="18"/>
                  </a:lnTo>
                  <a:lnTo>
                    <a:pt x="217" y="19"/>
                  </a:lnTo>
                  <a:lnTo>
                    <a:pt x="218" y="19"/>
                  </a:lnTo>
                  <a:lnTo>
                    <a:pt x="218" y="18"/>
                  </a:lnTo>
                  <a:lnTo>
                    <a:pt x="219" y="18"/>
                  </a:lnTo>
                  <a:lnTo>
                    <a:pt x="220" y="18"/>
                  </a:lnTo>
                  <a:lnTo>
                    <a:pt x="222" y="18"/>
                  </a:lnTo>
                  <a:lnTo>
                    <a:pt x="222" y="19"/>
                  </a:lnTo>
                  <a:lnTo>
                    <a:pt x="223" y="19"/>
                  </a:lnTo>
                  <a:lnTo>
                    <a:pt x="223" y="18"/>
                  </a:lnTo>
                  <a:lnTo>
                    <a:pt x="223" y="17"/>
                  </a:lnTo>
                  <a:lnTo>
                    <a:pt x="223" y="15"/>
                  </a:lnTo>
                  <a:lnTo>
                    <a:pt x="224" y="14"/>
                  </a:lnTo>
                  <a:lnTo>
                    <a:pt x="224" y="15"/>
                  </a:lnTo>
                  <a:lnTo>
                    <a:pt x="225" y="15"/>
                  </a:lnTo>
                  <a:lnTo>
                    <a:pt x="226" y="15"/>
                  </a:lnTo>
                  <a:lnTo>
                    <a:pt x="226" y="17"/>
                  </a:lnTo>
                  <a:lnTo>
                    <a:pt x="226" y="18"/>
                  </a:lnTo>
                  <a:lnTo>
                    <a:pt x="225" y="18"/>
                  </a:lnTo>
                  <a:lnTo>
                    <a:pt x="225" y="19"/>
                  </a:lnTo>
                  <a:lnTo>
                    <a:pt x="225" y="21"/>
                  </a:lnTo>
                  <a:lnTo>
                    <a:pt x="226" y="21"/>
                  </a:lnTo>
                  <a:lnTo>
                    <a:pt x="226" y="23"/>
                  </a:lnTo>
                  <a:lnTo>
                    <a:pt x="228" y="23"/>
                  </a:lnTo>
                  <a:lnTo>
                    <a:pt x="226" y="23"/>
                  </a:lnTo>
                  <a:lnTo>
                    <a:pt x="226" y="24"/>
                  </a:lnTo>
                  <a:lnTo>
                    <a:pt x="225" y="24"/>
                  </a:lnTo>
                  <a:lnTo>
                    <a:pt x="225" y="25"/>
                  </a:lnTo>
                  <a:lnTo>
                    <a:pt x="224" y="26"/>
                  </a:lnTo>
                  <a:lnTo>
                    <a:pt x="224" y="27"/>
                  </a:lnTo>
                  <a:lnTo>
                    <a:pt x="224" y="29"/>
                  </a:lnTo>
                  <a:lnTo>
                    <a:pt x="225" y="29"/>
                  </a:lnTo>
                  <a:lnTo>
                    <a:pt x="225" y="30"/>
                  </a:lnTo>
                  <a:lnTo>
                    <a:pt x="225" y="31"/>
                  </a:lnTo>
                  <a:lnTo>
                    <a:pt x="226" y="30"/>
                  </a:lnTo>
                  <a:lnTo>
                    <a:pt x="226" y="31"/>
                  </a:lnTo>
                  <a:lnTo>
                    <a:pt x="228" y="31"/>
                  </a:lnTo>
                  <a:lnTo>
                    <a:pt x="229" y="32"/>
                  </a:lnTo>
                  <a:lnTo>
                    <a:pt x="229" y="31"/>
                  </a:lnTo>
                  <a:lnTo>
                    <a:pt x="230" y="31"/>
                  </a:lnTo>
                  <a:lnTo>
                    <a:pt x="230" y="30"/>
                  </a:lnTo>
                  <a:lnTo>
                    <a:pt x="230" y="29"/>
                  </a:lnTo>
                  <a:lnTo>
                    <a:pt x="231" y="29"/>
                  </a:lnTo>
                  <a:lnTo>
                    <a:pt x="231" y="27"/>
                  </a:lnTo>
                  <a:lnTo>
                    <a:pt x="231" y="26"/>
                  </a:lnTo>
                  <a:lnTo>
                    <a:pt x="232" y="25"/>
                  </a:lnTo>
                  <a:lnTo>
                    <a:pt x="232" y="23"/>
                  </a:lnTo>
                  <a:lnTo>
                    <a:pt x="232" y="21"/>
                  </a:lnTo>
                  <a:lnTo>
                    <a:pt x="232" y="20"/>
                  </a:lnTo>
                  <a:lnTo>
                    <a:pt x="234" y="20"/>
                  </a:lnTo>
                  <a:lnTo>
                    <a:pt x="235" y="19"/>
                  </a:lnTo>
                  <a:lnTo>
                    <a:pt x="235" y="20"/>
                  </a:lnTo>
                  <a:lnTo>
                    <a:pt x="236" y="20"/>
                  </a:lnTo>
                  <a:lnTo>
                    <a:pt x="236" y="21"/>
                  </a:lnTo>
                  <a:lnTo>
                    <a:pt x="236" y="23"/>
                  </a:lnTo>
                  <a:lnTo>
                    <a:pt x="236" y="24"/>
                  </a:lnTo>
                  <a:lnTo>
                    <a:pt x="237" y="24"/>
                  </a:lnTo>
                  <a:lnTo>
                    <a:pt x="238" y="24"/>
                  </a:lnTo>
                  <a:lnTo>
                    <a:pt x="238" y="25"/>
                  </a:lnTo>
                  <a:lnTo>
                    <a:pt x="238" y="26"/>
                  </a:lnTo>
                  <a:lnTo>
                    <a:pt x="240" y="27"/>
                  </a:lnTo>
                  <a:lnTo>
                    <a:pt x="240" y="26"/>
                  </a:lnTo>
                  <a:lnTo>
                    <a:pt x="241" y="26"/>
                  </a:lnTo>
                  <a:lnTo>
                    <a:pt x="241" y="25"/>
                  </a:lnTo>
                  <a:lnTo>
                    <a:pt x="242" y="26"/>
                  </a:lnTo>
                  <a:lnTo>
                    <a:pt x="243" y="27"/>
                  </a:lnTo>
                  <a:lnTo>
                    <a:pt x="243" y="26"/>
                  </a:lnTo>
                  <a:lnTo>
                    <a:pt x="242" y="26"/>
                  </a:lnTo>
                  <a:lnTo>
                    <a:pt x="242" y="25"/>
                  </a:lnTo>
                  <a:lnTo>
                    <a:pt x="243" y="25"/>
                  </a:lnTo>
                  <a:lnTo>
                    <a:pt x="243" y="24"/>
                  </a:lnTo>
                  <a:lnTo>
                    <a:pt x="243" y="23"/>
                  </a:lnTo>
                  <a:lnTo>
                    <a:pt x="244" y="23"/>
                  </a:lnTo>
                  <a:lnTo>
                    <a:pt x="246" y="21"/>
                  </a:lnTo>
                  <a:lnTo>
                    <a:pt x="244" y="21"/>
                  </a:lnTo>
                  <a:lnTo>
                    <a:pt x="244" y="20"/>
                  </a:lnTo>
                  <a:lnTo>
                    <a:pt x="244" y="19"/>
                  </a:lnTo>
                  <a:lnTo>
                    <a:pt x="244" y="18"/>
                  </a:lnTo>
                  <a:lnTo>
                    <a:pt x="244" y="19"/>
                  </a:lnTo>
                  <a:lnTo>
                    <a:pt x="246" y="19"/>
                  </a:lnTo>
                  <a:lnTo>
                    <a:pt x="244" y="18"/>
                  </a:lnTo>
                  <a:lnTo>
                    <a:pt x="244" y="17"/>
                  </a:lnTo>
                  <a:lnTo>
                    <a:pt x="243" y="17"/>
                  </a:lnTo>
                  <a:lnTo>
                    <a:pt x="242" y="17"/>
                  </a:lnTo>
                  <a:lnTo>
                    <a:pt x="242" y="15"/>
                  </a:lnTo>
                  <a:lnTo>
                    <a:pt x="242" y="14"/>
                  </a:lnTo>
                  <a:lnTo>
                    <a:pt x="241" y="13"/>
                  </a:lnTo>
                  <a:lnTo>
                    <a:pt x="241" y="12"/>
                  </a:lnTo>
                  <a:lnTo>
                    <a:pt x="240" y="11"/>
                  </a:lnTo>
                  <a:lnTo>
                    <a:pt x="241" y="9"/>
                  </a:lnTo>
                  <a:lnTo>
                    <a:pt x="242" y="9"/>
                  </a:lnTo>
                  <a:lnTo>
                    <a:pt x="242" y="11"/>
                  </a:lnTo>
                  <a:lnTo>
                    <a:pt x="243" y="11"/>
                  </a:lnTo>
                  <a:lnTo>
                    <a:pt x="243" y="8"/>
                  </a:lnTo>
                  <a:lnTo>
                    <a:pt x="243" y="7"/>
                  </a:lnTo>
                  <a:lnTo>
                    <a:pt x="244" y="6"/>
                  </a:lnTo>
                  <a:lnTo>
                    <a:pt x="246" y="5"/>
                  </a:lnTo>
                  <a:lnTo>
                    <a:pt x="246" y="6"/>
                  </a:lnTo>
                  <a:lnTo>
                    <a:pt x="247" y="5"/>
                  </a:lnTo>
                  <a:lnTo>
                    <a:pt x="247" y="6"/>
                  </a:lnTo>
                  <a:lnTo>
                    <a:pt x="247" y="7"/>
                  </a:lnTo>
                  <a:lnTo>
                    <a:pt x="247" y="8"/>
                  </a:lnTo>
                  <a:lnTo>
                    <a:pt x="248" y="8"/>
                  </a:lnTo>
                  <a:lnTo>
                    <a:pt x="248" y="9"/>
                  </a:lnTo>
                  <a:lnTo>
                    <a:pt x="249" y="9"/>
                  </a:lnTo>
                  <a:lnTo>
                    <a:pt x="249" y="11"/>
                  </a:lnTo>
                  <a:lnTo>
                    <a:pt x="249" y="12"/>
                  </a:lnTo>
                  <a:lnTo>
                    <a:pt x="248" y="12"/>
                  </a:lnTo>
                  <a:lnTo>
                    <a:pt x="248" y="13"/>
                  </a:lnTo>
                  <a:lnTo>
                    <a:pt x="247" y="13"/>
                  </a:lnTo>
                  <a:lnTo>
                    <a:pt x="247" y="14"/>
                  </a:lnTo>
                  <a:lnTo>
                    <a:pt x="247" y="15"/>
                  </a:lnTo>
                  <a:lnTo>
                    <a:pt x="248" y="15"/>
                  </a:lnTo>
                  <a:lnTo>
                    <a:pt x="248" y="17"/>
                  </a:lnTo>
                  <a:lnTo>
                    <a:pt x="248" y="15"/>
                  </a:lnTo>
                  <a:lnTo>
                    <a:pt x="249" y="15"/>
                  </a:lnTo>
                  <a:lnTo>
                    <a:pt x="250" y="14"/>
                  </a:lnTo>
                  <a:lnTo>
                    <a:pt x="252" y="14"/>
                  </a:lnTo>
                  <a:lnTo>
                    <a:pt x="253" y="14"/>
                  </a:lnTo>
                  <a:lnTo>
                    <a:pt x="253" y="15"/>
                  </a:lnTo>
                  <a:lnTo>
                    <a:pt x="253" y="18"/>
                  </a:lnTo>
                  <a:lnTo>
                    <a:pt x="254" y="18"/>
                  </a:lnTo>
                  <a:lnTo>
                    <a:pt x="254" y="19"/>
                  </a:lnTo>
                  <a:lnTo>
                    <a:pt x="255" y="20"/>
                  </a:lnTo>
                  <a:lnTo>
                    <a:pt x="255" y="18"/>
                  </a:lnTo>
                  <a:lnTo>
                    <a:pt x="256" y="18"/>
                  </a:lnTo>
                  <a:lnTo>
                    <a:pt x="256" y="17"/>
                  </a:lnTo>
                  <a:lnTo>
                    <a:pt x="255" y="17"/>
                  </a:lnTo>
                  <a:lnTo>
                    <a:pt x="255" y="15"/>
                  </a:lnTo>
                  <a:lnTo>
                    <a:pt x="256" y="15"/>
                  </a:lnTo>
                  <a:lnTo>
                    <a:pt x="255" y="13"/>
                  </a:lnTo>
                  <a:lnTo>
                    <a:pt x="255" y="12"/>
                  </a:lnTo>
                  <a:lnTo>
                    <a:pt x="256" y="12"/>
                  </a:lnTo>
                  <a:lnTo>
                    <a:pt x="256" y="11"/>
                  </a:lnTo>
                  <a:lnTo>
                    <a:pt x="258" y="9"/>
                  </a:lnTo>
                  <a:lnTo>
                    <a:pt x="259" y="9"/>
                  </a:lnTo>
                  <a:lnTo>
                    <a:pt x="260" y="11"/>
                  </a:lnTo>
                  <a:lnTo>
                    <a:pt x="260" y="9"/>
                  </a:lnTo>
                  <a:lnTo>
                    <a:pt x="260" y="8"/>
                  </a:lnTo>
                  <a:lnTo>
                    <a:pt x="260" y="7"/>
                  </a:lnTo>
                  <a:lnTo>
                    <a:pt x="261" y="7"/>
                  </a:lnTo>
                  <a:lnTo>
                    <a:pt x="261" y="6"/>
                  </a:lnTo>
                  <a:lnTo>
                    <a:pt x="261" y="3"/>
                  </a:lnTo>
                  <a:lnTo>
                    <a:pt x="264" y="3"/>
                  </a:lnTo>
                  <a:lnTo>
                    <a:pt x="264" y="5"/>
                  </a:lnTo>
                  <a:lnTo>
                    <a:pt x="264" y="6"/>
                  </a:lnTo>
                  <a:lnTo>
                    <a:pt x="265" y="7"/>
                  </a:lnTo>
                  <a:lnTo>
                    <a:pt x="265" y="6"/>
                  </a:lnTo>
                  <a:lnTo>
                    <a:pt x="266" y="5"/>
                  </a:lnTo>
                  <a:lnTo>
                    <a:pt x="266" y="3"/>
                  </a:lnTo>
                  <a:lnTo>
                    <a:pt x="267" y="2"/>
                  </a:lnTo>
                  <a:lnTo>
                    <a:pt x="267" y="0"/>
                  </a:lnTo>
                  <a:lnTo>
                    <a:pt x="268" y="0"/>
                  </a:lnTo>
                  <a:lnTo>
                    <a:pt x="271" y="0"/>
                  </a:lnTo>
                  <a:lnTo>
                    <a:pt x="271" y="1"/>
                  </a:lnTo>
                  <a:lnTo>
                    <a:pt x="271" y="2"/>
                  </a:lnTo>
                  <a:lnTo>
                    <a:pt x="270" y="3"/>
                  </a:lnTo>
                  <a:lnTo>
                    <a:pt x="270" y="5"/>
                  </a:lnTo>
                  <a:lnTo>
                    <a:pt x="271" y="6"/>
                  </a:lnTo>
                  <a:lnTo>
                    <a:pt x="272" y="6"/>
                  </a:lnTo>
                  <a:lnTo>
                    <a:pt x="272" y="7"/>
                  </a:lnTo>
                  <a:lnTo>
                    <a:pt x="271" y="8"/>
                  </a:lnTo>
                  <a:lnTo>
                    <a:pt x="271" y="9"/>
                  </a:lnTo>
                  <a:lnTo>
                    <a:pt x="270" y="11"/>
                  </a:lnTo>
                  <a:lnTo>
                    <a:pt x="271" y="11"/>
                  </a:lnTo>
                  <a:lnTo>
                    <a:pt x="272" y="11"/>
                  </a:lnTo>
                  <a:lnTo>
                    <a:pt x="272" y="12"/>
                  </a:lnTo>
                  <a:lnTo>
                    <a:pt x="272" y="13"/>
                  </a:lnTo>
                  <a:lnTo>
                    <a:pt x="272" y="14"/>
                  </a:lnTo>
                  <a:lnTo>
                    <a:pt x="272" y="15"/>
                  </a:lnTo>
                  <a:lnTo>
                    <a:pt x="271" y="15"/>
                  </a:lnTo>
                  <a:lnTo>
                    <a:pt x="271" y="17"/>
                  </a:lnTo>
                  <a:lnTo>
                    <a:pt x="271" y="18"/>
                  </a:lnTo>
                  <a:lnTo>
                    <a:pt x="270" y="18"/>
                  </a:lnTo>
                  <a:lnTo>
                    <a:pt x="271" y="18"/>
                  </a:lnTo>
                  <a:lnTo>
                    <a:pt x="271" y="19"/>
                  </a:lnTo>
                  <a:lnTo>
                    <a:pt x="271" y="20"/>
                  </a:lnTo>
                  <a:lnTo>
                    <a:pt x="271" y="21"/>
                  </a:lnTo>
                  <a:lnTo>
                    <a:pt x="270" y="23"/>
                  </a:lnTo>
                  <a:lnTo>
                    <a:pt x="270" y="24"/>
                  </a:lnTo>
                  <a:lnTo>
                    <a:pt x="270" y="25"/>
                  </a:lnTo>
                  <a:lnTo>
                    <a:pt x="270" y="26"/>
                  </a:lnTo>
                  <a:lnTo>
                    <a:pt x="270" y="27"/>
                  </a:lnTo>
                  <a:lnTo>
                    <a:pt x="270" y="26"/>
                  </a:lnTo>
                  <a:lnTo>
                    <a:pt x="271" y="25"/>
                  </a:lnTo>
                  <a:lnTo>
                    <a:pt x="272" y="25"/>
                  </a:lnTo>
                  <a:lnTo>
                    <a:pt x="272" y="26"/>
                  </a:lnTo>
                  <a:lnTo>
                    <a:pt x="273" y="26"/>
                  </a:lnTo>
                  <a:lnTo>
                    <a:pt x="274" y="25"/>
                  </a:lnTo>
                  <a:lnTo>
                    <a:pt x="276" y="25"/>
                  </a:lnTo>
                  <a:lnTo>
                    <a:pt x="276" y="24"/>
                  </a:lnTo>
                  <a:lnTo>
                    <a:pt x="277" y="24"/>
                  </a:lnTo>
                  <a:lnTo>
                    <a:pt x="278" y="24"/>
                  </a:lnTo>
                  <a:lnTo>
                    <a:pt x="278" y="25"/>
                  </a:lnTo>
                  <a:lnTo>
                    <a:pt x="278" y="26"/>
                  </a:lnTo>
                  <a:lnTo>
                    <a:pt x="278" y="27"/>
                  </a:lnTo>
                  <a:lnTo>
                    <a:pt x="277" y="29"/>
                  </a:lnTo>
                  <a:lnTo>
                    <a:pt x="277" y="30"/>
                  </a:lnTo>
                  <a:lnTo>
                    <a:pt x="277" y="31"/>
                  </a:lnTo>
                  <a:lnTo>
                    <a:pt x="277" y="32"/>
                  </a:lnTo>
                  <a:lnTo>
                    <a:pt x="277" y="33"/>
                  </a:lnTo>
                  <a:lnTo>
                    <a:pt x="277" y="35"/>
                  </a:lnTo>
                  <a:lnTo>
                    <a:pt x="278" y="35"/>
                  </a:lnTo>
                  <a:lnTo>
                    <a:pt x="278" y="33"/>
                  </a:lnTo>
                  <a:lnTo>
                    <a:pt x="279" y="33"/>
                  </a:lnTo>
                  <a:lnTo>
                    <a:pt x="279" y="32"/>
                  </a:lnTo>
                  <a:lnTo>
                    <a:pt x="279" y="31"/>
                  </a:lnTo>
                  <a:lnTo>
                    <a:pt x="279" y="30"/>
                  </a:lnTo>
                  <a:lnTo>
                    <a:pt x="281" y="29"/>
                  </a:lnTo>
                  <a:lnTo>
                    <a:pt x="283" y="30"/>
                  </a:lnTo>
                  <a:lnTo>
                    <a:pt x="284" y="30"/>
                  </a:lnTo>
                  <a:lnTo>
                    <a:pt x="285" y="30"/>
                  </a:lnTo>
                  <a:lnTo>
                    <a:pt x="284" y="31"/>
                  </a:lnTo>
                  <a:lnTo>
                    <a:pt x="284" y="32"/>
                  </a:lnTo>
                  <a:lnTo>
                    <a:pt x="285" y="31"/>
                  </a:lnTo>
                  <a:lnTo>
                    <a:pt x="288" y="31"/>
                  </a:lnTo>
                  <a:lnTo>
                    <a:pt x="288" y="30"/>
                  </a:lnTo>
                  <a:lnTo>
                    <a:pt x="287" y="30"/>
                  </a:lnTo>
                  <a:lnTo>
                    <a:pt x="287" y="29"/>
                  </a:lnTo>
                  <a:lnTo>
                    <a:pt x="288" y="29"/>
                  </a:lnTo>
                  <a:lnTo>
                    <a:pt x="288" y="27"/>
                  </a:lnTo>
                  <a:lnTo>
                    <a:pt x="287" y="27"/>
                  </a:lnTo>
                  <a:lnTo>
                    <a:pt x="287" y="26"/>
                  </a:lnTo>
                  <a:lnTo>
                    <a:pt x="287" y="24"/>
                  </a:lnTo>
                  <a:lnTo>
                    <a:pt x="287" y="23"/>
                  </a:lnTo>
                  <a:lnTo>
                    <a:pt x="288" y="23"/>
                  </a:lnTo>
                  <a:lnTo>
                    <a:pt x="288" y="24"/>
                  </a:lnTo>
                  <a:lnTo>
                    <a:pt x="289" y="25"/>
                  </a:lnTo>
                  <a:lnTo>
                    <a:pt x="290" y="25"/>
                  </a:lnTo>
                  <a:lnTo>
                    <a:pt x="290" y="26"/>
                  </a:lnTo>
                  <a:lnTo>
                    <a:pt x="291" y="26"/>
                  </a:lnTo>
                  <a:lnTo>
                    <a:pt x="291" y="25"/>
                  </a:lnTo>
                  <a:lnTo>
                    <a:pt x="291" y="24"/>
                  </a:lnTo>
                  <a:lnTo>
                    <a:pt x="293" y="24"/>
                  </a:lnTo>
                  <a:lnTo>
                    <a:pt x="293" y="23"/>
                  </a:lnTo>
                  <a:lnTo>
                    <a:pt x="293" y="21"/>
                  </a:lnTo>
                  <a:lnTo>
                    <a:pt x="294" y="20"/>
                  </a:lnTo>
                  <a:lnTo>
                    <a:pt x="295" y="20"/>
                  </a:lnTo>
                  <a:lnTo>
                    <a:pt x="296" y="19"/>
                  </a:lnTo>
                  <a:lnTo>
                    <a:pt x="295" y="18"/>
                  </a:lnTo>
                  <a:lnTo>
                    <a:pt x="294" y="18"/>
                  </a:lnTo>
                  <a:lnTo>
                    <a:pt x="293" y="17"/>
                  </a:lnTo>
                  <a:lnTo>
                    <a:pt x="293" y="15"/>
                  </a:lnTo>
                  <a:lnTo>
                    <a:pt x="294" y="15"/>
                  </a:lnTo>
                  <a:lnTo>
                    <a:pt x="294" y="14"/>
                  </a:lnTo>
                  <a:lnTo>
                    <a:pt x="295" y="14"/>
                  </a:lnTo>
                  <a:lnTo>
                    <a:pt x="296" y="15"/>
                  </a:lnTo>
                  <a:lnTo>
                    <a:pt x="296" y="14"/>
                  </a:lnTo>
                  <a:lnTo>
                    <a:pt x="296" y="13"/>
                  </a:lnTo>
                  <a:lnTo>
                    <a:pt x="296" y="12"/>
                  </a:lnTo>
                  <a:lnTo>
                    <a:pt x="296" y="11"/>
                  </a:lnTo>
                  <a:lnTo>
                    <a:pt x="296" y="9"/>
                  </a:lnTo>
                  <a:lnTo>
                    <a:pt x="296" y="8"/>
                  </a:lnTo>
                  <a:lnTo>
                    <a:pt x="297" y="8"/>
                  </a:lnTo>
                  <a:lnTo>
                    <a:pt x="299" y="8"/>
                  </a:lnTo>
                  <a:lnTo>
                    <a:pt x="299" y="7"/>
                  </a:lnTo>
                  <a:lnTo>
                    <a:pt x="300" y="7"/>
                  </a:lnTo>
                  <a:lnTo>
                    <a:pt x="300" y="6"/>
                  </a:lnTo>
                  <a:lnTo>
                    <a:pt x="300" y="5"/>
                  </a:lnTo>
                  <a:lnTo>
                    <a:pt x="301" y="5"/>
                  </a:lnTo>
                  <a:lnTo>
                    <a:pt x="301" y="6"/>
                  </a:lnTo>
                  <a:lnTo>
                    <a:pt x="302" y="6"/>
                  </a:lnTo>
                  <a:lnTo>
                    <a:pt x="303" y="6"/>
                  </a:lnTo>
                  <a:lnTo>
                    <a:pt x="303" y="7"/>
                  </a:lnTo>
                  <a:lnTo>
                    <a:pt x="302" y="7"/>
                  </a:lnTo>
                  <a:lnTo>
                    <a:pt x="302" y="8"/>
                  </a:lnTo>
                  <a:lnTo>
                    <a:pt x="302" y="9"/>
                  </a:lnTo>
                  <a:lnTo>
                    <a:pt x="302" y="11"/>
                  </a:lnTo>
                  <a:lnTo>
                    <a:pt x="302" y="12"/>
                  </a:lnTo>
                  <a:lnTo>
                    <a:pt x="302" y="13"/>
                  </a:lnTo>
                  <a:lnTo>
                    <a:pt x="302" y="14"/>
                  </a:lnTo>
                  <a:lnTo>
                    <a:pt x="302" y="15"/>
                  </a:lnTo>
                  <a:lnTo>
                    <a:pt x="302" y="14"/>
                  </a:lnTo>
                  <a:lnTo>
                    <a:pt x="303" y="14"/>
                  </a:lnTo>
                  <a:lnTo>
                    <a:pt x="305" y="14"/>
                  </a:lnTo>
                  <a:lnTo>
                    <a:pt x="305" y="13"/>
                  </a:lnTo>
                  <a:lnTo>
                    <a:pt x="305" y="14"/>
                  </a:lnTo>
                  <a:lnTo>
                    <a:pt x="306" y="14"/>
                  </a:lnTo>
                  <a:lnTo>
                    <a:pt x="306" y="15"/>
                  </a:lnTo>
                  <a:lnTo>
                    <a:pt x="306" y="17"/>
                  </a:lnTo>
                  <a:lnTo>
                    <a:pt x="305" y="17"/>
                  </a:lnTo>
                  <a:lnTo>
                    <a:pt x="303" y="18"/>
                  </a:lnTo>
                  <a:lnTo>
                    <a:pt x="302" y="18"/>
                  </a:lnTo>
                  <a:lnTo>
                    <a:pt x="302" y="19"/>
                  </a:lnTo>
                  <a:lnTo>
                    <a:pt x="301" y="19"/>
                  </a:lnTo>
                  <a:lnTo>
                    <a:pt x="301" y="20"/>
                  </a:lnTo>
                  <a:lnTo>
                    <a:pt x="300" y="21"/>
                  </a:lnTo>
                  <a:lnTo>
                    <a:pt x="299" y="21"/>
                  </a:lnTo>
                  <a:lnTo>
                    <a:pt x="299" y="23"/>
                  </a:lnTo>
                  <a:lnTo>
                    <a:pt x="300" y="23"/>
                  </a:lnTo>
                  <a:lnTo>
                    <a:pt x="300" y="24"/>
                  </a:lnTo>
                  <a:lnTo>
                    <a:pt x="300" y="25"/>
                  </a:lnTo>
                  <a:lnTo>
                    <a:pt x="299" y="25"/>
                  </a:lnTo>
                  <a:lnTo>
                    <a:pt x="299" y="26"/>
                  </a:lnTo>
                  <a:lnTo>
                    <a:pt x="299" y="27"/>
                  </a:lnTo>
                  <a:lnTo>
                    <a:pt x="300" y="27"/>
                  </a:lnTo>
                  <a:lnTo>
                    <a:pt x="300" y="29"/>
                  </a:lnTo>
                  <a:lnTo>
                    <a:pt x="300" y="27"/>
                  </a:lnTo>
                  <a:lnTo>
                    <a:pt x="301" y="26"/>
                  </a:lnTo>
                  <a:lnTo>
                    <a:pt x="300" y="26"/>
                  </a:lnTo>
                  <a:lnTo>
                    <a:pt x="301" y="26"/>
                  </a:lnTo>
                  <a:lnTo>
                    <a:pt x="302" y="26"/>
                  </a:lnTo>
                  <a:lnTo>
                    <a:pt x="302" y="25"/>
                  </a:lnTo>
                  <a:lnTo>
                    <a:pt x="302" y="26"/>
                  </a:lnTo>
                  <a:lnTo>
                    <a:pt x="303" y="26"/>
                  </a:lnTo>
                  <a:lnTo>
                    <a:pt x="305" y="27"/>
                  </a:lnTo>
                  <a:lnTo>
                    <a:pt x="306" y="27"/>
                  </a:lnTo>
                  <a:lnTo>
                    <a:pt x="306" y="26"/>
                  </a:lnTo>
                  <a:lnTo>
                    <a:pt x="306" y="25"/>
                  </a:lnTo>
                  <a:lnTo>
                    <a:pt x="307" y="25"/>
                  </a:lnTo>
                  <a:lnTo>
                    <a:pt x="308" y="25"/>
                  </a:lnTo>
                  <a:lnTo>
                    <a:pt x="308" y="24"/>
                  </a:lnTo>
                  <a:lnTo>
                    <a:pt x="308" y="21"/>
                  </a:lnTo>
                  <a:lnTo>
                    <a:pt x="308" y="20"/>
                  </a:lnTo>
                  <a:lnTo>
                    <a:pt x="308" y="19"/>
                  </a:lnTo>
                  <a:lnTo>
                    <a:pt x="307" y="18"/>
                  </a:lnTo>
                  <a:lnTo>
                    <a:pt x="308" y="18"/>
                  </a:lnTo>
                  <a:lnTo>
                    <a:pt x="308" y="17"/>
                  </a:lnTo>
                  <a:lnTo>
                    <a:pt x="309" y="17"/>
                  </a:lnTo>
                  <a:lnTo>
                    <a:pt x="309" y="15"/>
                  </a:lnTo>
                  <a:lnTo>
                    <a:pt x="311" y="14"/>
                  </a:lnTo>
                  <a:lnTo>
                    <a:pt x="311" y="13"/>
                  </a:lnTo>
                  <a:lnTo>
                    <a:pt x="312" y="13"/>
                  </a:lnTo>
                  <a:lnTo>
                    <a:pt x="312" y="14"/>
                  </a:lnTo>
                  <a:lnTo>
                    <a:pt x="312" y="15"/>
                  </a:lnTo>
                  <a:lnTo>
                    <a:pt x="313" y="18"/>
                  </a:lnTo>
                  <a:lnTo>
                    <a:pt x="313" y="17"/>
                  </a:lnTo>
                  <a:lnTo>
                    <a:pt x="314" y="15"/>
                  </a:lnTo>
                  <a:lnTo>
                    <a:pt x="314" y="14"/>
                  </a:lnTo>
                  <a:lnTo>
                    <a:pt x="314" y="13"/>
                  </a:lnTo>
                  <a:lnTo>
                    <a:pt x="315" y="12"/>
                  </a:lnTo>
                  <a:lnTo>
                    <a:pt x="315" y="11"/>
                  </a:lnTo>
                  <a:lnTo>
                    <a:pt x="317" y="11"/>
                  </a:lnTo>
                  <a:lnTo>
                    <a:pt x="317" y="12"/>
                  </a:lnTo>
                  <a:lnTo>
                    <a:pt x="318" y="12"/>
                  </a:lnTo>
                  <a:lnTo>
                    <a:pt x="318" y="11"/>
                  </a:lnTo>
                  <a:lnTo>
                    <a:pt x="318" y="9"/>
                  </a:lnTo>
                  <a:lnTo>
                    <a:pt x="318" y="8"/>
                  </a:lnTo>
                  <a:lnTo>
                    <a:pt x="319" y="8"/>
                  </a:lnTo>
                  <a:lnTo>
                    <a:pt x="319" y="7"/>
                  </a:lnTo>
                  <a:lnTo>
                    <a:pt x="319" y="8"/>
                  </a:lnTo>
                  <a:lnTo>
                    <a:pt x="320" y="8"/>
                  </a:lnTo>
                  <a:lnTo>
                    <a:pt x="321" y="8"/>
                  </a:lnTo>
                  <a:lnTo>
                    <a:pt x="321" y="9"/>
                  </a:lnTo>
                  <a:lnTo>
                    <a:pt x="320" y="11"/>
                  </a:lnTo>
                  <a:lnTo>
                    <a:pt x="320" y="12"/>
                  </a:lnTo>
                  <a:lnTo>
                    <a:pt x="320" y="13"/>
                  </a:lnTo>
                  <a:lnTo>
                    <a:pt x="321" y="14"/>
                  </a:lnTo>
                  <a:lnTo>
                    <a:pt x="321" y="15"/>
                  </a:lnTo>
                  <a:lnTo>
                    <a:pt x="321" y="17"/>
                  </a:lnTo>
                  <a:lnTo>
                    <a:pt x="320" y="17"/>
                  </a:lnTo>
                  <a:lnTo>
                    <a:pt x="320" y="18"/>
                  </a:lnTo>
                  <a:lnTo>
                    <a:pt x="319" y="18"/>
                  </a:lnTo>
                  <a:lnTo>
                    <a:pt x="319" y="19"/>
                  </a:lnTo>
                  <a:lnTo>
                    <a:pt x="319" y="20"/>
                  </a:lnTo>
                  <a:lnTo>
                    <a:pt x="318" y="20"/>
                  </a:lnTo>
                  <a:lnTo>
                    <a:pt x="317" y="20"/>
                  </a:lnTo>
                  <a:lnTo>
                    <a:pt x="317" y="21"/>
                  </a:lnTo>
                  <a:lnTo>
                    <a:pt x="315" y="21"/>
                  </a:lnTo>
                  <a:lnTo>
                    <a:pt x="314" y="23"/>
                  </a:lnTo>
                  <a:lnTo>
                    <a:pt x="315" y="23"/>
                  </a:lnTo>
                  <a:lnTo>
                    <a:pt x="317" y="23"/>
                  </a:lnTo>
                  <a:lnTo>
                    <a:pt x="317" y="24"/>
                  </a:lnTo>
                  <a:lnTo>
                    <a:pt x="318" y="23"/>
                  </a:lnTo>
                  <a:lnTo>
                    <a:pt x="319" y="23"/>
                  </a:lnTo>
                  <a:lnTo>
                    <a:pt x="320" y="23"/>
                  </a:lnTo>
                  <a:lnTo>
                    <a:pt x="320" y="24"/>
                  </a:lnTo>
                  <a:lnTo>
                    <a:pt x="320" y="25"/>
                  </a:lnTo>
                  <a:lnTo>
                    <a:pt x="321" y="26"/>
                  </a:lnTo>
                  <a:lnTo>
                    <a:pt x="321" y="27"/>
                  </a:lnTo>
                  <a:lnTo>
                    <a:pt x="323" y="27"/>
                  </a:lnTo>
                  <a:lnTo>
                    <a:pt x="323" y="26"/>
                  </a:lnTo>
                  <a:lnTo>
                    <a:pt x="324" y="26"/>
                  </a:lnTo>
                  <a:lnTo>
                    <a:pt x="323" y="25"/>
                  </a:lnTo>
                  <a:lnTo>
                    <a:pt x="324" y="23"/>
                  </a:lnTo>
                  <a:lnTo>
                    <a:pt x="325" y="23"/>
                  </a:lnTo>
                  <a:lnTo>
                    <a:pt x="326" y="24"/>
                  </a:lnTo>
                  <a:lnTo>
                    <a:pt x="326" y="23"/>
                  </a:lnTo>
                  <a:lnTo>
                    <a:pt x="327" y="23"/>
                  </a:lnTo>
                  <a:lnTo>
                    <a:pt x="329" y="21"/>
                  </a:lnTo>
                  <a:lnTo>
                    <a:pt x="330" y="20"/>
                  </a:lnTo>
                  <a:lnTo>
                    <a:pt x="331" y="19"/>
                  </a:lnTo>
                  <a:lnTo>
                    <a:pt x="332" y="21"/>
                  </a:lnTo>
                  <a:lnTo>
                    <a:pt x="332" y="23"/>
                  </a:lnTo>
                  <a:lnTo>
                    <a:pt x="331" y="24"/>
                  </a:lnTo>
                  <a:lnTo>
                    <a:pt x="330" y="25"/>
                  </a:lnTo>
                  <a:lnTo>
                    <a:pt x="330" y="26"/>
                  </a:lnTo>
                  <a:lnTo>
                    <a:pt x="329" y="27"/>
                  </a:lnTo>
                  <a:lnTo>
                    <a:pt x="329" y="30"/>
                  </a:lnTo>
                  <a:lnTo>
                    <a:pt x="327" y="30"/>
                  </a:lnTo>
                  <a:lnTo>
                    <a:pt x="327" y="31"/>
                  </a:lnTo>
                  <a:lnTo>
                    <a:pt x="326" y="37"/>
                  </a:lnTo>
                  <a:lnTo>
                    <a:pt x="326" y="38"/>
                  </a:lnTo>
                  <a:lnTo>
                    <a:pt x="327" y="38"/>
                  </a:lnTo>
                  <a:lnTo>
                    <a:pt x="327" y="39"/>
                  </a:lnTo>
                  <a:lnTo>
                    <a:pt x="327" y="38"/>
                  </a:lnTo>
                  <a:lnTo>
                    <a:pt x="329" y="38"/>
                  </a:lnTo>
                  <a:lnTo>
                    <a:pt x="330" y="38"/>
                  </a:lnTo>
                  <a:lnTo>
                    <a:pt x="329" y="39"/>
                  </a:lnTo>
                  <a:lnTo>
                    <a:pt x="329" y="41"/>
                  </a:lnTo>
                  <a:lnTo>
                    <a:pt x="327" y="41"/>
                  </a:lnTo>
                  <a:lnTo>
                    <a:pt x="327" y="42"/>
                  </a:lnTo>
                  <a:lnTo>
                    <a:pt x="326" y="43"/>
                  </a:lnTo>
                  <a:lnTo>
                    <a:pt x="327" y="43"/>
                  </a:lnTo>
                  <a:lnTo>
                    <a:pt x="327" y="44"/>
                  </a:lnTo>
                  <a:lnTo>
                    <a:pt x="327" y="45"/>
                  </a:lnTo>
                  <a:lnTo>
                    <a:pt x="327" y="47"/>
                  </a:lnTo>
                  <a:lnTo>
                    <a:pt x="329" y="48"/>
                  </a:lnTo>
                  <a:lnTo>
                    <a:pt x="330" y="48"/>
                  </a:lnTo>
                  <a:lnTo>
                    <a:pt x="330" y="47"/>
                  </a:lnTo>
                  <a:lnTo>
                    <a:pt x="331" y="47"/>
                  </a:lnTo>
                  <a:lnTo>
                    <a:pt x="331" y="45"/>
                  </a:lnTo>
                  <a:lnTo>
                    <a:pt x="332" y="45"/>
                  </a:lnTo>
                  <a:lnTo>
                    <a:pt x="332" y="43"/>
                  </a:lnTo>
                  <a:lnTo>
                    <a:pt x="333" y="43"/>
                  </a:lnTo>
                  <a:lnTo>
                    <a:pt x="333" y="42"/>
                  </a:lnTo>
                  <a:lnTo>
                    <a:pt x="333" y="41"/>
                  </a:lnTo>
                  <a:lnTo>
                    <a:pt x="332" y="38"/>
                  </a:lnTo>
                  <a:lnTo>
                    <a:pt x="332" y="37"/>
                  </a:lnTo>
                  <a:lnTo>
                    <a:pt x="333" y="37"/>
                  </a:lnTo>
                  <a:lnTo>
                    <a:pt x="333" y="36"/>
                  </a:lnTo>
                  <a:lnTo>
                    <a:pt x="333" y="35"/>
                  </a:lnTo>
                  <a:lnTo>
                    <a:pt x="332" y="35"/>
                  </a:lnTo>
                  <a:lnTo>
                    <a:pt x="333" y="33"/>
                  </a:lnTo>
                  <a:lnTo>
                    <a:pt x="335" y="33"/>
                  </a:lnTo>
                  <a:lnTo>
                    <a:pt x="336" y="33"/>
                  </a:lnTo>
                  <a:lnTo>
                    <a:pt x="336" y="32"/>
                  </a:lnTo>
                  <a:lnTo>
                    <a:pt x="336" y="31"/>
                  </a:lnTo>
                  <a:lnTo>
                    <a:pt x="336" y="30"/>
                  </a:lnTo>
                  <a:lnTo>
                    <a:pt x="337" y="30"/>
                  </a:lnTo>
                  <a:lnTo>
                    <a:pt x="338" y="30"/>
                  </a:lnTo>
                  <a:lnTo>
                    <a:pt x="340" y="30"/>
                  </a:lnTo>
                  <a:lnTo>
                    <a:pt x="340" y="31"/>
                  </a:lnTo>
                  <a:lnTo>
                    <a:pt x="340" y="32"/>
                  </a:lnTo>
                  <a:lnTo>
                    <a:pt x="340" y="35"/>
                  </a:lnTo>
                  <a:lnTo>
                    <a:pt x="338" y="35"/>
                  </a:lnTo>
                  <a:lnTo>
                    <a:pt x="338" y="36"/>
                  </a:lnTo>
                  <a:lnTo>
                    <a:pt x="338" y="37"/>
                  </a:lnTo>
                  <a:lnTo>
                    <a:pt x="340" y="38"/>
                  </a:lnTo>
                  <a:lnTo>
                    <a:pt x="340" y="37"/>
                  </a:lnTo>
                  <a:lnTo>
                    <a:pt x="341" y="37"/>
                  </a:lnTo>
                  <a:lnTo>
                    <a:pt x="341" y="38"/>
                  </a:lnTo>
                  <a:lnTo>
                    <a:pt x="342" y="38"/>
                  </a:lnTo>
                  <a:lnTo>
                    <a:pt x="341" y="38"/>
                  </a:lnTo>
                  <a:lnTo>
                    <a:pt x="341" y="39"/>
                  </a:lnTo>
                  <a:lnTo>
                    <a:pt x="340" y="39"/>
                  </a:lnTo>
                  <a:lnTo>
                    <a:pt x="340" y="41"/>
                  </a:lnTo>
                  <a:lnTo>
                    <a:pt x="338" y="41"/>
                  </a:lnTo>
                  <a:lnTo>
                    <a:pt x="338" y="42"/>
                  </a:lnTo>
                  <a:lnTo>
                    <a:pt x="337" y="42"/>
                  </a:lnTo>
                  <a:lnTo>
                    <a:pt x="337" y="43"/>
                  </a:lnTo>
                  <a:lnTo>
                    <a:pt x="336" y="43"/>
                  </a:lnTo>
                  <a:lnTo>
                    <a:pt x="336" y="44"/>
                  </a:lnTo>
                  <a:lnTo>
                    <a:pt x="337" y="44"/>
                  </a:lnTo>
                  <a:lnTo>
                    <a:pt x="336" y="44"/>
                  </a:lnTo>
                  <a:lnTo>
                    <a:pt x="337" y="45"/>
                  </a:lnTo>
                  <a:lnTo>
                    <a:pt x="338" y="47"/>
                  </a:lnTo>
                  <a:lnTo>
                    <a:pt x="340" y="47"/>
                  </a:lnTo>
                  <a:lnTo>
                    <a:pt x="341" y="47"/>
                  </a:lnTo>
                  <a:lnTo>
                    <a:pt x="341" y="45"/>
                  </a:lnTo>
                  <a:lnTo>
                    <a:pt x="341" y="44"/>
                  </a:lnTo>
                  <a:lnTo>
                    <a:pt x="342" y="41"/>
                  </a:lnTo>
                  <a:lnTo>
                    <a:pt x="343" y="39"/>
                  </a:lnTo>
                  <a:lnTo>
                    <a:pt x="343" y="41"/>
                  </a:lnTo>
                  <a:lnTo>
                    <a:pt x="344" y="41"/>
                  </a:lnTo>
                  <a:lnTo>
                    <a:pt x="346" y="41"/>
                  </a:lnTo>
                  <a:lnTo>
                    <a:pt x="347" y="41"/>
                  </a:lnTo>
                  <a:lnTo>
                    <a:pt x="348" y="41"/>
                  </a:lnTo>
                  <a:lnTo>
                    <a:pt x="347" y="41"/>
                  </a:lnTo>
                  <a:lnTo>
                    <a:pt x="348" y="39"/>
                  </a:lnTo>
                  <a:lnTo>
                    <a:pt x="347" y="39"/>
                  </a:lnTo>
                  <a:lnTo>
                    <a:pt x="344" y="39"/>
                  </a:lnTo>
                  <a:lnTo>
                    <a:pt x="346" y="39"/>
                  </a:lnTo>
                  <a:lnTo>
                    <a:pt x="344" y="39"/>
                  </a:lnTo>
                  <a:lnTo>
                    <a:pt x="344" y="38"/>
                  </a:lnTo>
                  <a:lnTo>
                    <a:pt x="344" y="37"/>
                  </a:lnTo>
                  <a:lnTo>
                    <a:pt x="343" y="37"/>
                  </a:lnTo>
                  <a:lnTo>
                    <a:pt x="343" y="36"/>
                  </a:lnTo>
                  <a:lnTo>
                    <a:pt x="344" y="35"/>
                  </a:lnTo>
                  <a:lnTo>
                    <a:pt x="344" y="33"/>
                  </a:lnTo>
                  <a:lnTo>
                    <a:pt x="344" y="32"/>
                  </a:lnTo>
                  <a:lnTo>
                    <a:pt x="344" y="31"/>
                  </a:lnTo>
                  <a:lnTo>
                    <a:pt x="346" y="31"/>
                  </a:lnTo>
                  <a:lnTo>
                    <a:pt x="347" y="31"/>
                  </a:lnTo>
                  <a:lnTo>
                    <a:pt x="347" y="32"/>
                  </a:lnTo>
                  <a:lnTo>
                    <a:pt x="348" y="32"/>
                  </a:lnTo>
                  <a:lnTo>
                    <a:pt x="348" y="31"/>
                  </a:lnTo>
                  <a:lnTo>
                    <a:pt x="349" y="31"/>
                  </a:lnTo>
                  <a:lnTo>
                    <a:pt x="349" y="30"/>
                  </a:lnTo>
                  <a:lnTo>
                    <a:pt x="349" y="29"/>
                  </a:lnTo>
                  <a:lnTo>
                    <a:pt x="349" y="27"/>
                  </a:lnTo>
                  <a:lnTo>
                    <a:pt x="350" y="26"/>
                  </a:lnTo>
                  <a:lnTo>
                    <a:pt x="352" y="26"/>
                  </a:lnTo>
                  <a:lnTo>
                    <a:pt x="352" y="25"/>
                  </a:lnTo>
                  <a:lnTo>
                    <a:pt x="352" y="24"/>
                  </a:lnTo>
                  <a:lnTo>
                    <a:pt x="353" y="24"/>
                  </a:lnTo>
                  <a:lnTo>
                    <a:pt x="353" y="23"/>
                  </a:lnTo>
                  <a:lnTo>
                    <a:pt x="354" y="23"/>
                  </a:lnTo>
                  <a:lnTo>
                    <a:pt x="354" y="24"/>
                  </a:lnTo>
                  <a:lnTo>
                    <a:pt x="355" y="24"/>
                  </a:lnTo>
                  <a:lnTo>
                    <a:pt x="356" y="24"/>
                  </a:lnTo>
                  <a:lnTo>
                    <a:pt x="356" y="25"/>
                  </a:lnTo>
                  <a:lnTo>
                    <a:pt x="356" y="26"/>
                  </a:lnTo>
                  <a:lnTo>
                    <a:pt x="356" y="27"/>
                  </a:lnTo>
                  <a:lnTo>
                    <a:pt x="356" y="29"/>
                  </a:lnTo>
                  <a:lnTo>
                    <a:pt x="356" y="30"/>
                  </a:lnTo>
                  <a:lnTo>
                    <a:pt x="358" y="30"/>
                  </a:lnTo>
                  <a:lnTo>
                    <a:pt x="358" y="31"/>
                  </a:lnTo>
                  <a:lnTo>
                    <a:pt x="358" y="32"/>
                  </a:lnTo>
                  <a:lnTo>
                    <a:pt x="356" y="33"/>
                  </a:lnTo>
                  <a:lnTo>
                    <a:pt x="355" y="33"/>
                  </a:lnTo>
                  <a:lnTo>
                    <a:pt x="355" y="35"/>
                  </a:lnTo>
                  <a:lnTo>
                    <a:pt x="356" y="35"/>
                  </a:lnTo>
                  <a:lnTo>
                    <a:pt x="356" y="36"/>
                  </a:lnTo>
                  <a:lnTo>
                    <a:pt x="358" y="36"/>
                  </a:lnTo>
                  <a:lnTo>
                    <a:pt x="358" y="37"/>
                  </a:lnTo>
                  <a:lnTo>
                    <a:pt x="359" y="37"/>
                  </a:lnTo>
                  <a:lnTo>
                    <a:pt x="359" y="38"/>
                  </a:lnTo>
                  <a:lnTo>
                    <a:pt x="358" y="39"/>
                  </a:lnTo>
                  <a:lnTo>
                    <a:pt x="358" y="41"/>
                  </a:lnTo>
                  <a:lnTo>
                    <a:pt x="358" y="42"/>
                  </a:lnTo>
                  <a:lnTo>
                    <a:pt x="356" y="42"/>
                  </a:lnTo>
                  <a:lnTo>
                    <a:pt x="356" y="43"/>
                  </a:lnTo>
                  <a:lnTo>
                    <a:pt x="355" y="43"/>
                  </a:lnTo>
                  <a:lnTo>
                    <a:pt x="355" y="42"/>
                  </a:lnTo>
                  <a:lnTo>
                    <a:pt x="355" y="43"/>
                  </a:lnTo>
                  <a:lnTo>
                    <a:pt x="355" y="44"/>
                  </a:lnTo>
                  <a:lnTo>
                    <a:pt x="356" y="44"/>
                  </a:lnTo>
                  <a:lnTo>
                    <a:pt x="358" y="43"/>
                  </a:lnTo>
                  <a:lnTo>
                    <a:pt x="359" y="42"/>
                  </a:lnTo>
                  <a:lnTo>
                    <a:pt x="359" y="41"/>
                  </a:lnTo>
                  <a:lnTo>
                    <a:pt x="360" y="39"/>
                  </a:lnTo>
                  <a:lnTo>
                    <a:pt x="359" y="39"/>
                  </a:lnTo>
                  <a:lnTo>
                    <a:pt x="360" y="38"/>
                  </a:lnTo>
                  <a:lnTo>
                    <a:pt x="361" y="38"/>
                  </a:lnTo>
                  <a:lnTo>
                    <a:pt x="362" y="38"/>
                  </a:lnTo>
                  <a:lnTo>
                    <a:pt x="362" y="37"/>
                  </a:lnTo>
                  <a:lnTo>
                    <a:pt x="364" y="37"/>
                  </a:lnTo>
                  <a:lnTo>
                    <a:pt x="362" y="36"/>
                  </a:lnTo>
                  <a:lnTo>
                    <a:pt x="362" y="35"/>
                  </a:lnTo>
                  <a:lnTo>
                    <a:pt x="361" y="35"/>
                  </a:lnTo>
                  <a:lnTo>
                    <a:pt x="362" y="33"/>
                  </a:lnTo>
                  <a:lnTo>
                    <a:pt x="361" y="33"/>
                  </a:lnTo>
                  <a:lnTo>
                    <a:pt x="362" y="32"/>
                  </a:lnTo>
                  <a:lnTo>
                    <a:pt x="362" y="31"/>
                  </a:lnTo>
                  <a:lnTo>
                    <a:pt x="362" y="30"/>
                  </a:lnTo>
                  <a:lnTo>
                    <a:pt x="364" y="29"/>
                  </a:lnTo>
                  <a:lnTo>
                    <a:pt x="365" y="29"/>
                  </a:lnTo>
                  <a:lnTo>
                    <a:pt x="365" y="27"/>
                  </a:lnTo>
                  <a:lnTo>
                    <a:pt x="366" y="27"/>
                  </a:lnTo>
                  <a:lnTo>
                    <a:pt x="368" y="27"/>
                  </a:lnTo>
                  <a:lnTo>
                    <a:pt x="370" y="26"/>
                  </a:lnTo>
                  <a:lnTo>
                    <a:pt x="371" y="25"/>
                  </a:lnTo>
                  <a:lnTo>
                    <a:pt x="372" y="25"/>
                  </a:lnTo>
                  <a:lnTo>
                    <a:pt x="372" y="24"/>
                  </a:lnTo>
                  <a:lnTo>
                    <a:pt x="373" y="23"/>
                  </a:lnTo>
                  <a:lnTo>
                    <a:pt x="373" y="21"/>
                  </a:lnTo>
                  <a:lnTo>
                    <a:pt x="374" y="21"/>
                  </a:lnTo>
                  <a:lnTo>
                    <a:pt x="374" y="20"/>
                  </a:lnTo>
                  <a:lnTo>
                    <a:pt x="376" y="21"/>
                  </a:lnTo>
                  <a:lnTo>
                    <a:pt x="377" y="21"/>
                  </a:lnTo>
                  <a:lnTo>
                    <a:pt x="377" y="24"/>
                  </a:lnTo>
                  <a:lnTo>
                    <a:pt x="377" y="25"/>
                  </a:lnTo>
                  <a:lnTo>
                    <a:pt x="377" y="26"/>
                  </a:lnTo>
                  <a:lnTo>
                    <a:pt x="378" y="27"/>
                  </a:lnTo>
                  <a:lnTo>
                    <a:pt x="379" y="27"/>
                  </a:lnTo>
                  <a:lnTo>
                    <a:pt x="379" y="29"/>
                  </a:lnTo>
                  <a:lnTo>
                    <a:pt x="380" y="29"/>
                  </a:lnTo>
                  <a:lnTo>
                    <a:pt x="380" y="30"/>
                  </a:lnTo>
                  <a:lnTo>
                    <a:pt x="379" y="31"/>
                  </a:lnTo>
                  <a:lnTo>
                    <a:pt x="379" y="32"/>
                  </a:lnTo>
                  <a:lnTo>
                    <a:pt x="382" y="32"/>
                  </a:lnTo>
                  <a:lnTo>
                    <a:pt x="382" y="33"/>
                  </a:lnTo>
                  <a:lnTo>
                    <a:pt x="380" y="33"/>
                  </a:lnTo>
                  <a:lnTo>
                    <a:pt x="382" y="33"/>
                  </a:lnTo>
                  <a:lnTo>
                    <a:pt x="382" y="32"/>
                  </a:lnTo>
                  <a:lnTo>
                    <a:pt x="383" y="32"/>
                  </a:lnTo>
                  <a:lnTo>
                    <a:pt x="384" y="32"/>
                  </a:lnTo>
                  <a:lnTo>
                    <a:pt x="385" y="32"/>
                  </a:lnTo>
                  <a:lnTo>
                    <a:pt x="385" y="31"/>
                  </a:lnTo>
                  <a:lnTo>
                    <a:pt x="386" y="31"/>
                  </a:lnTo>
                  <a:lnTo>
                    <a:pt x="386" y="32"/>
                  </a:lnTo>
                  <a:lnTo>
                    <a:pt x="388" y="32"/>
                  </a:lnTo>
                  <a:lnTo>
                    <a:pt x="388" y="33"/>
                  </a:lnTo>
                  <a:lnTo>
                    <a:pt x="389" y="35"/>
                  </a:lnTo>
                  <a:lnTo>
                    <a:pt x="390" y="33"/>
                  </a:lnTo>
                  <a:lnTo>
                    <a:pt x="390" y="35"/>
                  </a:lnTo>
                  <a:lnTo>
                    <a:pt x="390" y="36"/>
                  </a:lnTo>
                  <a:lnTo>
                    <a:pt x="389" y="36"/>
                  </a:lnTo>
                  <a:lnTo>
                    <a:pt x="389" y="37"/>
                  </a:lnTo>
                  <a:lnTo>
                    <a:pt x="389" y="38"/>
                  </a:lnTo>
                  <a:lnTo>
                    <a:pt x="388" y="38"/>
                  </a:lnTo>
                  <a:lnTo>
                    <a:pt x="388" y="39"/>
                  </a:lnTo>
                  <a:lnTo>
                    <a:pt x="388" y="41"/>
                  </a:lnTo>
                  <a:lnTo>
                    <a:pt x="386" y="41"/>
                  </a:lnTo>
                  <a:lnTo>
                    <a:pt x="386" y="42"/>
                  </a:lnTo>
                  <a:lnTo>
                    <a:pt x="386" y="43"/>
                  </a:lnTo>
                  <a:lnTo>
                    <a:pt x="385" y="43"/>
                  </a:lnTo>
                  <a:lnTo>
                    <a:pt x="385" y="44"/>
                  </a:lnTo>
                  <a:lnTo>
                    <a:pt x="384" y="44"/>
                  </a:lnTo>
                  <a:lnTo>
                    <a:pt x="383" y="44"/>
                  </a:lnTo>
                  <a:lnTo>
                    <a:pt x="382" y="45"/>
                  </a:lnTo>
                  <a:lnTo>
                    <a:pt x="380" y="45"/>
                  </a:lnTo>
                  <a:lnTo>
                    <a:pt x="380" y="47"/>
                  </a:lnTo>
                  <a:lnTo>
                    <a:pt x="379" y="45"/>
                  </a:lnTo>
                  <a:lnTo>
                    <a:pt x="378" y="45"/>
                  </a:lnTo>
                  <a:lnTo>
                    <a:pt x="377" y="47"/>
                  </a:lnTo>
                  <a:lnTo>
                    <a:pt x="377" y="48"/>
                  </a:lnTo>
                  <a:lnTo>
                    <a:pt x="376" y="48"/>
                  </a:lnTo>
                  <a:lnTo>
                    <a:pt x="376" y="49"/>
                  </a:lnTo>
                  <a:lnTo>
                    <a:pt x="374" y="50"/>
                  </a:lnTo>
                  <a:lnTo>
                    <a:pt x="374" y="52"/>
                  </a:lnTo>
                  <a:lnTo>
                    <a:pt x="376" y="53"/>
                  </a:lnTo>
                  <a:lnTo>
                    <a:pt x="377" y="53"/>
                  </a:lnTo>
                  <a:lnTo>
                    <a:pt x="378" y="52"/>
                  </a:lnTo>
                  <a:lnTo>
                    <a:pt x="379" y="52"/>
                  </a:lnTo>
                  <a:lnTo>
                    <a:pt x="380" y="52"/>
                  </a:lnTo>
                  <a:lnTo>
                    <a:pt x="382" y="52"/>
                  </a:lnTo>
                  <a:lnTo>
                    <a:pt x="383" y="52"/>
                  </a:lnTo>
                  <a:lnTo>
                    <a:pt x="383" y="50"/>
                  </a:lnTo>
                  <a:lnTo>
                    <a:pt x="384" y="50"/>
                  </a:lnTo>
                  <a:lnTo>
                    <a:pt x="385" y="50"/>
                  </a:lnTo>
                  <a:lnTo>
                    <a:pt x="385" y="49"/>
                  </a:lnTo>
                  <a:lnTo>
                    <a:pt x="385" y="48"/>
                  </a:lnTo>
                  <a:lnTo>
                    <a:pt x="386" y="48"/>
                  </a:lnTo>
                  <a:lnTo>
                    <a:pt x="386" y="47"/>
                  </a:lnTo>
                  <a:lnTo>
                    <a:pt x="389" y="47"/>
                  </a:lnTo>
                  <a:lnTo>
                    <a:pt x="389" y="45"/>
                  </a:lnTo>
                  <a:lnTo>
                    <a:pt x="390" y="45"/>
                  </a:lnTo>
                  <a:lnTo>
                    <a:pt x="390" y="44"/>
                  </a:lnTo>
                  <a:lnTo>
                    <a:pt x="391" y="43"/>
                  </a:lnTo>
                  <a:lnTo>
                    <a:pt x="392" y="43"/>
                  </a:lnTo>
                  <a:lnTo>
                    <a:pt x="392" y="42"/>
                  </a:lnTo>
                  <a:lnTo>
                    <a:pt x="394" y="43"/>
                  </a:lnTo>
                  <a:lnTo>
                    <a:pt x="395" y="43"/>
                  </a:lnTo>
                  <a:lnTo>
                    <a:pt x="396" y="43"/>
                  </a:lnTo>
                  <a:lnTo>
                    <a:pt x="397" y="43"/>
                  </a:lnTo>
                  <a:lnTo>
                    <a:pt x="397" y="42"/>
                  </a:lnTo>
                  <a:lnTo>
                    <a:pt x="398" y="42"/>
                  </a:lnTo>
                  <a:lnTo>
                    <a:pt x="398" y="43"/>
                  </a:lnTo>
                  <a:lnTo>
                    <a:pt x="400" y="43"/>
                  </a:lnTo>
                  <a:lnTo>
                    <a:pt x="401" y="44"/>
                  </a:lnTo>
                  <a:lnTo>
                    <a:pt x="401" y="45"/>
                  </a:lnTo>
                  <a:lnTo>
                    <a:pt x="401" y="47"/>
                  </a:lnTo>
                  <a:lnTo>
                    <a:pt x="401" y="49"/>
                  </a:lnTo>
                  <a:lnTo>
                    <a:pt x="402" y="49"/>
                  </a:lnTo>
                  <a:lnTo>
                    <a:pt x="403" y="49"/>
                  </a:lnTo>
                  <a:lnTo>
                    <a:pt x="403" y="48"/>
                  </a:lnTo>
                  <a:lnTo>
                    <a:pt x="405" y="48"/>
                  </a:lnTo>
                  <a:lnTo>
                    <a:pt x="405" y="47"/>
                  </a:lnTo>
                  <a:lnTo>
                    <a:pt x="406" y="47"/>
                  </a:lnTo>
                  <a:lnTo>
                    <a:pt x="406" y="45"/>
                  </a:lnTo>
                  <a:lnTo>
                    <a:pt x="406" y="44"/>
                  </a:lnTo>
                  <a:lnTo>
                    <a:pt x="407" y="44"/>
                  </a:lnTo>
                  <a:lnTo>
                    <a:pt x="408" y="44"/>
                  </a:lnTo>
                  <a:lnTo>
                    <a:pt x="408" y="45"/>
                  </a:lnTo>
                  <a:lnTo>
                    <a:pt x="408" y="47"/>
                  </a:lnTo>
                  <a:lnTo>
                    <a:pt x="408" y="48"/>
                  </a:lnTo>
                  <a:lnTo>
                    <a:pt x="408" y="49"/>
                  </a:lnTo>
                  <a:lnTo>
                    <a:pt x="408" y="50"/>
                  </a:lnTo>
                  <a:lnTo>
                    <a:pt x="407" y="50"/>
                  </a:lnTo>
                  <a:lnTo>
                    <a:pt x="407" y="52"/>
                  </a:lnTo>
                  <a:lnTo>
                    <a:pt x="407" y="53"/>
                  </a:lnTo>
                  <a:lnTo>
                    <a:pt x="408" y="54"/>
                  </a:lnTo>
                  <a:lnTo>
                    <a:pt x="409" y="54"/>
                  </a:lnTo>
                  <a:lnTo>
                    <a:pt x="409" y="56"/>
                  </a:lnTo>
                  <a:lnTo>
                    <a:pt x="408" y="56"/>
                  </a:lnTo>
                  <a:lnTo>
                    <a:pt x="408" y="58"/>
                  </a:lnTo>
                  <a:lnTo>
                    <a:pt x="407" y="59"/>
                  </a:lnTo>
                  <a:lnTo>
                    <a:pt x="406" y="59"/>
                  </a:lnTo>
                  <a:lnTo>
                    <a:pt x="406" y="60"/>
                  </a:lnTo>
                  <a:lnTo>
                    <a:pt x="405" y="61"/>
                  </a:lnTo>
                  <a:lnTo>
                    <a:pt x="405" y="62"/>
                  </a:lnTo>
                  <a:lnTo>
                    <a:pt x="405" y="61"/>
                  </a:lnTo>
                  <a:lnTo>
                    <a:pt x="406" y="61"/>
                  </a:lnTo>
                  <a:lnTo>
                    <a:pt x="406" y="64"/>
                  </a:lnTo>
                  <a:lnTo>
                    <a:pt x="406" y="65"/>
                  </a:lnTo>
                  <a:lnTo>
                    <a:pt x="405" y="66"/>
                  </a:lnTo>
                  <a:lnTo>
                    <a:pt x="403" y="66"/>
                  </a:lnTo>
                  <a:lnTo>
                    <a:pt x="403" y="67"/>
                  </a:lnTo>
                  <a:lnTo>
                    <a:pt x="402" y="67"/>
                  </a:lnTo>
                  <a:lnTo>
                    <a:pt x="402" y="66"/>
                  </a:lnTo>
                  <a:lnTo>
                    <a:pt x="401" y="67"/>
                  </a:lnTo>
                  <a:lnTo>
                    <a:pt x="401" y="68"/>
                  </a:lnTo>
                  <a:lnTo>
                    <a:pt x="400" y="68"/>
                  </a:lnTo>
                  <a:lnTo>
                    <a:pt x="398" y="68"/>
                  </a:lnTo>
                  <a:lnTo>
                    <a:pt x="397" y="68"/>
                  </a:lnTo>
                  <a:lnTo>
                    <a:pt x="397" y="71"/>
                  </a:lnTo>
                  <a:lnTo>
                    <a:pt x="398" y="71"/>
                  </a:lnTo>
                  <a:lnTo>
                    <a:pt x="398" y="70"/>
                  </a:lnTo>
                  <a:lnTo>
                    <a:pt x="400" y="70"/>
                  </a:lnTo>
                  <a:lnTo>
                    <a:pt x="400" y="68"/>
                  </a:lnTo>
                  <a:lnTo>
                    <a:pt x="401" y="68"/>
                  </a:lnTo>
                  <a:lnTo>
                    <a:pt x="402" y="70"/>
                  </a:lnTo>
                  <a:lnTo>
                    <a:pt x="403" y="70"/>
                  </a:lnTo>
                  <a:lnTo>
                    <a:pt x="403" y="68"/>
                  </a:lnTo>
                  <a:lnTo>
                    <a:pt x="403" y="70"/>
                  </a:lnTo>
                  <a:lnTo>
                    <a:pt x="405" y="70"/>
                  </a:lnTo>
                  <a:lnTo>
                    <a:pt x="405" y="72"/>
                  </a:lnTo>
                  <a:lnTo>
                    <a:pt x="403" y="72"/>
                  </a:lnTo>
                  <a:lnTo>
                    <a:pt x="403" y="73"/>
                  </a:lnTo>
                  <a:lnTo>
                    <a:pt x="402" y="73"/>
                  </a:lnTo>
                  <a:lnTo>
                    <a:pt x="401" y="74"/>
                  </a:lnTo>
                  <a:lnTo>
                    <a:pt x="401" y="76"/>
                  </a:lnTo>
                  <a:lnTo>
                    <a:pt x="400" y="76"/>
                  </a:lnTo>
                  <a:lnTo>
                    <a:pt x="398" y="76"/>
                  </a:lnTo>
                  <a:lnTo>
                    <a:pt x="397" y="76"/>
                  </a:lnTo>
                  <a:lnTo>
                    <a:pt x="396" y="77"/>
                  </a:lnTo>
                  <a:lnTo>
                    <a:pt x="394" y="77"/>
                  </a:lnTo>
                  <a:lnTo>
                    <a:pt x="392" y="76"/>
                  </a:lnTo>
                  <a:lnTo>
                    <a:pt x="391" y="76"/>
                  </a:lnTo>
                  <a:lnTo>
                    <a:pt x="391" y="74"/>
                  </a:lnTo>
                  <a:lnTo>
                    <a:pt x="391" y="73"/>
                  </a:lnTo>
                  <a:lnTo>
                    <a:pt x="391" y="74"/>
                  </a:lnTo>
                  <a:lnTo>
                    <a:pt x="390" y="73"/>
                  </a:lnTo>
                  <a:lnTo>
                    <a:pt x="390" y="74"/>
                  </a:lnTo>
                  <a:lnTo>
                    <a:pt x="391" y="74"/>
                  </a:lnTo>
                  <a:lnTo>
                    <a:pt x="391" y="76"/>
                  </a:lnTo>
                  <a:lnTo>
                    <a:pt x="390" y="76"/>
                  </a:lnTo>
                  <a:lnTo>
                    <a:pt x="390" y="77"/>
                  </a:lnTo>
                  <a:lnTo>
                    <a:pt x="389" y="77"/>
                  </a:lnTo>
                  <a:lnTo>
                    <a:pt x="388" y="78"/>
                  </a:lnTo>
                  <a:lnTo>
                    <a:pt x="386" y="77"/>
                  </a:lnTo>
                  <a:lnTo>
                    <a:pt x="385" y="77"/>
                  </a:lnTo>
                  <a:lnTo>
                    <a:pt x="385" y="76"/>
                  </a:lnTo>
                  <a:lnTo>
                    <a:pt x="385" y="74"/>
                  </a:lnTo>
                  <a:lnTo>
                    <a:pt x="385" y="73"/>
                  </a:lnTo>
                  <a:lnTo>
                    <a:pt x="384" y="72"/>
                  </a:lnTo>
                  <a:lnTo>
                    <a:pt x="384" y="73"/>
                  </a:lnTo>
                  <a:lnTo>
                    <a:pt x="383" y="73"/>
                  </a:lnTo>
                  <a:lnTo>
                    <a:pt x="382" y="74"/>
                  </a:lnTo>
                  <a:lnTo>
                    <a:pt x="380" y="76"/>
                  </a:lnTo>
                  <a:lnTo>
                    <a:pt x="379" y="77"/>
                  </a:lnTo>
                  <a:lnTo>
                    <a:pt x="379" y="78"/>
                  </a:lnTo>
                  <a:lnTo>
                    <a:pt x="380" y="78"/>
                  </a:lnTo>
                  <a:lnTo>
                    <a:pt x="380" y="79"/>
                  </a:lnTo>
                  <a:lnTo>
                    <a:pt x="378" y="78"/>
                  </a:lnTo>
                  <a:lnTo>
                    <a:pt x="379" y="79"/>
                  </a:lnTo>
                  <a:lnTo>
                    <a:pt x="380" y="79"/>
                  </a:lnTo>
                  <a:lnTo>
                    <a:pt x="380" y="80"/>
                  </a:lnTo>
                  <a:lnTo>
                    <a:pt x="382" y="80"/>
                  </a:lnTo>
                  <a:lnTo>
                    <a:pt x="382" y="82"/>
                  </a:lnTo>
                  <a:lnTo>
                    <a:pt x="383" y="82"/>
                  </a:lnTo>
                  <a:lnTo>
                    <a:pt x="383" y="80"/>
                  </a:lnTo>
                  <a:lnTo>
                    <a:pt x="384" y="82"/>
                  </a:lnTo>
                  <a:lnTo>
                    <a:pt x="384" y="83"/>
                  </a:lnTo>
                  <a:lnTo>
                    <a:pt x="386" y="83"/>
                  </a:lnTo>
                  <a:lnTo>
                    <a:pt x="388" y="82"/>
                  </a:lnTo>
                  <a:lnTo>
                    <a:pt x="388" y="83"/>
                  </a:lnTo>
                  <a:lnTo>
                    <a:pt x="389" y="83"/>
                  </a:lnTo>
                  <a:lnTo>
                    <a:pt x="389" y="84"/>
                  </a:lnTo>
                  <a:lnTo>
                    <a:pt x="389" y="85"/>
                  </a:lnTo>
                  <a:lnTo>
                    <a:pt x="388" y="85"/>
                  </a:lnTo>
                  <a:lnTo>
                    <a:pt x="386" y="86"/>
                  </a:lnTo>
                  <a:lnTo>
                    <a:pt x="385" y="86"/>
                  </a:lnTo>
                  <a:lnTo>
                    <a:pt x="385" y="88"/>
                  </a:lnTo>
                  <a:lnTo>
                    <a:pt x="384" y="86"/>
                  </a:lnTo>
                  <a:lnTo>
                    <a:pt x="383" y="86"/>
                  </a:lnTo>
                  <a:lnTo>
                    <a:pt x="383" y="85"/>
                  </a:lnTo>
                  <a:lnTo>
                    <a:pt x="383" y="84"/>
                  </a:lnTo>
                  <a:lnTo>
                    <a:pt x="382" y="83"/>
                  </a:lnTo>
                  <a:lnTo>
                    <a:pt x="382" y="82"/>
                  </a:lnTo>
                  <a:lnTo>
                    <a:pt x="380" y="82"/>
                  </a:lnTo>
                  <a:lnTo>
                    <a:pt x="379" y="80"/>
                  </a:lnTo>
                  <a:lnTo>
                    <a:pt x="378" y="82"/>
                  </a:lnTo>
                  <a:lnTo>
                    <a:pt x="380" y="82"/>
                  </a:lnTo>
                  <a:lnTo>
                    <a:pt x="380" y="83"/>
                  </a:lnTo>
                  <a:lnTo>
                    <a:pt x="379" y="84"/>
                  </a:lnTo>
                  <a:lnTo>
                    <a:pt x="378" y="84"/>
                  </a:lnTo>
                  <a:lnTo>
                    <a:pt x="378" y="85"/>
                  </a:lnTo>
                  <a:lnTo>
                    <a:pt x="378" y="86"/>
                  </a:lnTo>
                  <a:lnTo>
                    <a:pt x="379" y="88"/>
                  </a:lnTo>
                  <a:lnTo>
                    <a:pt x="380" y="88"/>
                  </a:lnTo>
                  <a:lnTo>
                    <a:pt x="382" y="86"/>
                  </a:lnTo>
                  <a:lnTo>
                    <a:pt x="383" y="86"/>
                  </a:lnTo>
                  <a:lnTo>
                    <a:pt x="383" y="88"/>
                  </a:lnTo>
                  <a:lnTo>
                    <a:pt x="383" y="89"/>
                  </a:lnTo>
                  <a:lnTo>
                    <a:pt x="383" y="90"/>
                  </a:lnTo>
                  <a:lnTo>
                    <a:pt x="383" y="91"/>
                  </a:lnTo>
                  <a:lnTo>
                    <a:pt x="384" y="91"/>
                  </a:lnTo>
                  <a:lnTo>
                    <a:pt x="385" y="91"/>
                  </a:lnTo>
                  <a:lnTo>
                    <a:pt x="386" y="91"/>
                  </a:lnTo>
                  <a:lnTo>
                    <a:pt x="386" y="90"/>
                  </a:lnTo>
                  <a:lnTo>
                    <a:pt x="388" y="90"/>
                  </a:lnTo>
                  <a:lnTo>
                    <a:pt x="388" y="89"/>
                  </a:lnTo>
                  <a:lnTo>
                    <a:pt x="389" y="89"/>
                  </a:lnTo>
                  <a:lnTo>
                    <a:pt x="390" y="90"/>
                  </a:lnTo>
                  <a:lnTo>
                    <a:pt x="391" y="92"/>
                  </a:lnTo>
                  <a:lnTo>
                    <a:pt x="392" y="92"/>
                  </a:lnTo>
                  <a:lnTo>
                    <a:pt x="394" y="92"/>
                  </a:lnTo>
                  <a:lnTo>
                    <a:pt x="394" y="94"/>
                  </a:lnTo>
                  <a:lnTo>
                    <a:pt x="395" y="95"/>
                  </a:lnTo>
                  <a:lnTo>
                    <a:pt x="396" y="95"/>
                  </a:lnTo>
                  <a:lnTo>
                    <a:pt x="397" y="95"/>
                  </a:lnTo>
                  <a:lnTo>
                    <a:pt x="398" y="95"/>
                  </a:lnTo>
                  <a:lnTo>
                    <a:pt x="401" y="95"/>
                  </a:lnTo>
                  <a:lnTo>
                    <a:pt x="402" y="96"/>
                  </a:lnTo>
                  <a:lnTo>
                    <a:pt x="403" y="96"/>
                  </a:lnTo>
                  <a:lnTo>
                    <a:pt x="405" y="96"/>
                  </a:lnTo>
                  <a:lnTo>
                    <a:pt x="406" y="96"/>
                  </a:lnTo>
                  <a:lnTo>
                    <a:pt x="406" y="97"/>
                  </a:lnTo>
                  <a:lnTo>
                    <a:pt x="406" y="98"/>
                  </a:lnTo>
                  <a:lnTo>
                    <a:pt x="406" y="102"/>
                  </a:lnTo>
                  <a:lnTo>
                    <a:pt x="406" y="104"/>
                  </a:lnTo>
                  <a:lnTo>
                    <a:pt x="407" y="106"/>
                  </a:lnTo>
                  <a:lnTo>
                    <a:pt x="408" y="106"/>
                  </a:lnTo>
                  <a:lnTo>
                    <a:pt x="408" y="104"/>
                  </a:lnTo>
                  <a:lnTo>
                    <a:pt x="409" y="104"/>
                  </a:lnTo>
                  <a:lnTo>
                    <a:pt x="409" y="103"/>
                  </a:lnTo>
                  <a:lnTo>
                    <a:pt x="408" y="103"/>
                  </a:lnTo>
                  <a:lnTo>
                    <a:pt x="409" y="102"/>
                  </a:lnTo>
                  <a:lnTo>
                    <a:pt x="409" y="100"/>
                  </a:lnTo>
                  <a:lnTo>
                    <a:pt x="411" y="100"/>
                  </a:lnTo>
                  <a:lnTo>
                    <a:pt x="411" y="98"/>
                  </a:lnTo>
                  <a:lnTo>
                    <a:pt x="412" y="98"/>
                  </a:lnTo>
                  <a:lnTo>
                    <a:pt x="413" y="98"/>
                  </a:lnTo>
                  <a:lnTo>
                    <a:pt x="413" y="100"/>
                  </a:lnTo>
                  <a:lnTo>
                    <a:pt x="413" y="101"/>
                  </a:lnTo>
                  <a:lnTo>
                    <a:pt x="414" y="102"/>
                  </a:lnTo>
                  <a:lnTo>
                    <a:pt x="415" y="102"/>
                  </a:lnTo>
                  <a:lnTo>
                    <a:pt x="417" y="101"/>
                  </a:lnTo>
                  <a:lnTo>
                    <a:pt x="417" y="100"/>
                  </a:lnTo>
                  <a:lnTo>
                    <a:pt x="417" y="98"/>
                  </a:lnTo>
                  <a:lnTo>
                    <a:pt x="417" y="97"/>
                  </a:lnTo>
                  <a:lnTo>
                    <a:pt x="418" y="97"/>
                  </a:lnTo>
                  <a:lnTo>
                    <a:pt x="419" y="97"/>
                  </a:lnTo>
                  <a:lnTo>
                    <a:pt x="420" y="97"/>
                  </a:lnTo>
                  <a:lnTo>
                    <a:pt x="421" y="97"/>
                  </a:lnTo>
                  <a:lnTo>
                    <a:pt x="423" y="96"/>
                  </a:lnTo>
                  <a:lnTo>
                    <a:pt x="423" y="95"/>
                  </a:lnTo>
                  <a:lnTo>
                    <a:pt x="424" y="96"/>
                  </a:lnTo>
                  <a:lnTo>
                    <a:pt x="425" y="96"/>
                  </a:lnTo>
                  <a:lnTo>
                    <a:pt x="425" y="97"/>
                  </a:lnTo>
                  <a:lnTo>
                    <a:pt x="425" y="98"/>
                  </a:lnTo>
                  <a:lnTo>
                    <a:pt x="425" y="100"/>
                  </a:lnTo>
                  <a:lnTo>
                    <a:pt x="424" y="100"/>
                  </a:lnTo>
                  <a:lnTo>
                    <a:pt x="424" y="101"/>
                  </a:lnTo>
                  <a:lnTo>
                    <a:pt x="424" y="102"/>
                  </a:lnTo>
                  <a:lnTo>
                    <a:pt x="424" y="103"/>
                  </a:lnTo>
                  <a:lnTo>
                    <a:pt x="423" y="104"/>
                  </a:lnTo>
                  <a:lnTo>
                    <a:pt x="423" y="106"/>
                  </a:lnTo>
                  <a:lnTo>
                    <a:pt x="421" y="106"/>
                  </a:lnTo>
                  <a:lnTo>
                    <a:pt x="420" y="107"/>
                  </a:lnTo>
                  <a:lnTo>
                    <a:pt x="420" y="109"/>
                  </a:lnTo>
                  <a:lnTo>
                    <a:pt x="420" y="110"/>
                  </a:lnTo>
                  <a:lnTo>
                    <a:pt x="421" y="112"/>
                  </a:lnTo>
                  <a:lnTo>
                    <a:pt x="423" y="112"/>
                  </a:lnTo>
                  <a:lnTo>
                    <a:pt x="424" y="110"/>
                  </a:lnTo>
                  <a:lnTo>
                    <a:pt x="424" y="109"/>
                  </a:lnTo>
                  <a:lnTo>
                    <a:pt x="424" y="108"/>
                  </a:lnTo>
                  <a:lnTo>
                    <a:pt x="425" y="108"/>
                  </a:lnTo>
                  <a:lnTo>
                    <a:pt x="426" y="108"/>
                  </a:lnTo>
                  <a:lnTo>
                    <a:pt x="427" y="108"/>
                  </a:lnTo>
                  <a:lnTo>
                    <a:pt x="427" y="109"/>
                  </a:lnTo>
                  <a:lnTo>
                    <a:pt x="427" y="110"/>
                  </a:lnTo>
                  <a:lnTo>
                    <a:pt x="427" y="112"/>
                  </a:lnTo>
                  <a:lnTo>
                    <a:pt x="427" y="113"/>
                  </a:lnTo>
                  <a:lnTo>
                    <a:pt x="426" y="114"/>
                  </a:lnTo>
                  <a:lnTo>
                    <a:pt x="425" y="115"/>
                  </a:lnTo>
                  <a:lnTo>
                    <a:pt x="425" y="116"/>
                  </a:lnTo>
                  <a:lnTo>
                    <a:pt x="425" y="118"/>
                  </a:lnTo>
                  <a:lnTo>
                    <a:pt x="424" y="119"/>
                  </a:lnTo>
                  <a:lnTo>
                    <a:pt x="423" y="119"/>
                  </a:lnTo>
                  <a:lnTo>
                    <a:pt x="421" y="119"/>
                  </a:lnTo>
                  <a:lnTo>
                    <a:pt x="420" y="120"/>
                  </a:lnTo>
                  <a:lnTo>
                    <a:pt x="421" y="120"/>
                  </a:lnTo>
                  <a:lnTo>
                    <a:pt x="421" y="121"/>
                  </a:lnTo>
                  <a:lnTo>
                    <a:pt x="423" y="121"/>
                  </a:lnTo>
                  <a:lnTo>
                    <a:pt x="424" y="121"/>
                  </a:lnTo>
                  <a:lnTo>
                    <a:pt x="425" y="121"/>
                  </a:lnTo>
                  <a:lnTo>
                    <a:pt x="427" y="121"/>
                  </a:lnTo>
                  <a:lnTo>
                    <a:pt x="429" y="121"/>
                  </a:lnTo>
                  <a:lnTo>
                    <a:pt x="429" y="122"/>
                  </a:lnTo>
                  <a:lnTo>
                    <a:pt x="427" y="124"/>
                  </a:lnTo>
                  <a:lnTo>
                    <a:pt x="429" y="124"/>
                  </a:lnTo>
                  <a:lnTo>
                    <a:pt x="430" y="125"/>
                  </a:lnTo>
                  <a:lnTo>
                    <a:pt x="430" y="124"/>
                  </a:lnTo>
                  <a:lnTo>
                    <a:pt x="431" y="124"/>
                  </a:lnTo>
                  <a:lnTo>
                    <a:pt x="431" y="122"/>
                  </a:lnTo>
                  <a:lnTo>
                    <a:pt x="432" y="122"/>
                  </a:lnTo>
                  <a:lnTo>
                    <a:pt x="433" y="122"/>
                  </a:lnTo>
                  <a:lnTo>
                    <a:pt x="435" y="122"/>
                  </a:lnTo>
                  <a:lnTo>
                    <a:pt x="436" y="122"/>
                  </a:lnTo>
                  <a:lnTo>
                    <a:pt x="436" y="124"/>
                  </a:lnTo>
                  <a:lnTo>
                    <a:pt x="435" y="126"/>
                  </a:lnTo>
                  <a:lnTo>
                    <a:pt x="436" y="126"/>
                  </a:lnTo>
                  <a:lnTo>
                    <a:pt x="437" y="126"/>
                  </a:lnTo>
                  <a:lnTo>
                    <a:pt x="437" y="128"/>
                  </a:lnTo>
                  <a:lnTo>
                    <a:pt x="438" y="128"/>
                  </a:lnTo>
                  <a:lnTo>
                    <a:pt x="439" y="128"/>
                  </a:lnTo>
                  <a:lnTo>
                    <a:pt x="442" y="127"/>
                  </a:lnTo>
                  <a:lnTo>
                    <a:pt x="443" y="127"/>
                  </a:lnTo>
                  <a:lnTo>
                    <a:pt x="443" y="128"/>
                  </a:lnTo>
                  <a:lnTo>
                    <a:pt x="443" y="130"/>
                  </a:lnTo>
                  <a:lnTo>
                    <a:pt x="442" y="130"/>
                  </a:lnTo>
                  <a:lnTo>
                    <a:pt x="442" y="131"/>
                  </a:lnTo>
                  <a:lnTo>
                    <a:pt x="441" y="133"/>
                  </a:lnTo>
                  <a:lnTo>
                    <a:pt x="442" y="133"/>
                  </a:lnTo>
                  <a:lnTo>
                    <a:pt x="442" y="134"/>
                  </a:lnTo>
                  <a:lnTo>
                    <a:pt x="443" y="134"/>
                  </a:lnTo>
                  <a:lnTo>
                    <a:pt x="443" y="133"/>
                  </a:lnTo>
                  <a:lnTo>
                    <a:pt x="444" y="133"/>
                  </a:lnTo>
                  <a:lnTo>
                    <a:pt x="444" y="132"/>
                  </a:lnTo>
                  <a:lnTo>
                    <a:pt x="445" y="132"/>
                  </a:lnTo>
                  <a:lnTo>
                    <a:pt x="447" y="132"/>
                  </a:lnTo>
                  <a:lnTo>
                    <a:pt x="448" y="132"/>
                  </a:lnTo>
                  <a:lnTo>
                    <a:pt x="449" y="132"/>
                  </a:lnTo>
                  <a:lnTo>
                    <a:pt x="449" y="131"/>
                  </a:lnTo>
                  <a:lnTo>
                    <a:pt x="450" y="131"/>
                  </a:lnTo>
                  <a:lnTo>
                    <a:pt x="451" y="131"/>
                  </a:lnTo>
                  <a:lnTo>
                    <a:pt x="451" y="132"/>
                  </a:lnTo>
                  <a:lnTo>
                    <a:pt x="451" y="133"/>
                  </a:lnTo>
                  <a:lnTo>
                    <a:pt x="451" y="134"/>
                  </a:lnTo>
                  <a:lnTo>
                    <a:pt x="453" y="133"/>
                  </a:lnTo>
                  <a:lnTo>
                    <a:pt x="454" y="133"/>
                  </a:lnTo>
                  <a:lnTo>
                    <a:pt x="455" y="134"/>
                  </a:lnTo>
                  <a:lnTo>
                    <a:pt x="455" y="133"/>
                  </a:lnTo>
                  <a:lnTo>
                    <a:pt x="455" y="134"/>
                  </a:lnTo>
                  <a:lnTo>
                    <a:pt x="456" y="134"/>
                  </a:lnTo>
                  <a:lnTo>
                    <a:pt x="457" y="134"/>
                  </a:lnTo>
                  <a:lnTo>
                    <a:pt x="459" y="134"/>
                  </a:lnTo>
                  <a:lnTo>
                    <a:pt x="459" y="133"/>
                  </a:lnTo>
                  <a:lnTo>
                    <a:pt x="460" y="133"/>
                  </a:lnTo>
                  <a:lnTo>
                    <a:pt x="461" y="134"/>
                  </a:lnTo>
                  <a:lnTo>
                    <a:pt x="461" y="136"/>
                  </a:lnTo>
                  <a:lnTo>
                    <a:pt x="460" y="136"/>
                  </a:lnTo>
                  <a:lnTo>
                    <a:pt x="460" y="137"/>
                  </a:lnTo>
                  <a:lnTo>
                    <a:pt x="460" y="138"/>
                  </a:lnTo>
                  <a:lnTo>
                    <a:pt x="460" y="139"/>
                  </a:lnTo>
                  <a:lnTo>
                    <a:pt x="459" y="139"/>
                  </a:lnTo>
                  <a:lnTo>
                    <a:pt x="457" y="139"/>
                  </a:lnTo>
                  <a:lnTo>
                    <a:pt x="457" y="140"/>
                  </a:lnTo>
                  <a:lnTo>
                    <a:pt x="456" y="140"/>
                  </a:lnTo>
                  <a:lnTo>
                    <a:pt x="456" y="142"/>
                  </a:lnTo>
                  <a:lnTo>
                    <a:pt x="456" y="143"/>
                  </a:lnTo>
                  <a:lnTo>
                    <a:pt x="457" y="143"/>
                  </a:lnTo>
                  <a:lnTo>
                    <a:pt x="459" y="143"/>
                  </a:lnTo>
                  <a:lnTo>
                    <a:pt x="459" y="142"/>
                  </a:lnTo>
                  <a:lnTo>
                    <a:pt x="461" y="142"/>
                  </a:lnTo>
                  <a:lnTo>
                    <a:pt x="462" y="142"/>
                  </a:lnTo>
                  <a:lnTo>
                    <a:pt x="462" y="140"/>
                  </a:lnTo>
                  <a:lnTo>
                    <a:pt x="462" y="139"/>
                  </a:lnTo>
                  <a:lnTo>
                    <a:pt x="464" y="139"/>
                  </a:lnTo>
                  <a:lnTo>
                    <a:pt x="464" y="138"/>
                  </a:lnTo>
                  <a:lnTo>
                    <a:pt x="465" y="138"/>
                  </a:lnTo>
                  <a:lnTo>
                    <a:pt x="465" y="139"/>
                  </a:lnTo>
                  <a:lnTo>
                    <a:pt x="465" y="138"/>
                  </a:lnTo>
                  <a:lnTo>
                    <a:pt x="466" y="138"/>
                  </a:lnTo>
                  <a:lnTo>
                    <a:pt x="467" y="138"/>
                  </a:lnTo>
                  <a:lnTo>
                    <a:pt x="467" y="137"/>
                  </a:lnTo>
                  <a:lnTo>
                    <a:pt x="468" y="136"/>
                  </a:lnTo>
                  <a:lnTo>
                    <a:pt x="468" y="137"/>
                  </a:lnTo>
                  <a:lnTo>
                    <a:pt x="470" y="137"/>
                  </a:lnTo>
                  <a:lnTo>
                    <a:pt x="468" y="138"/>
                  </a:lnTo>
                  <a:lnTo>
                    <a:pt x="468" y="142"/>
                  </a:lnTo>
                  <a:lnTo>
                    <a:pt x="470" y="140"/>
                  </a:lnTo>
                  <a:lnTo>
                    <a:pt x="471" y="142"/>
                  </a:lnTo>
                  <a:lnTo>
                    <a:pt x="471" y="140"/>
                  </a:lnTo>
                  <a:lnTo>
                    <a:pt x="472" y="139"/>
                  </a:lnTo>
                  <a:lnTo>
                    <a:pt x="473" y="139"/>
                  </a:lnTo>
                  <a:lnTo>
                    <a:pt x="473" y="140"/>
                  </a:lnTo>
                  <a:lnTo>
                    <a:pt x="473" y="142"/>
                  </a:lnTo>
                  <a:lnTo>
                    <a:pt x="472" y="143"/>
                  </a:lnTo>
                  <a:lnTo>
                    <a:pt x="471" y="143"/>
                  </a:lnTo>
                  <a:lnTo>
                    <a:pt x="471" y="144"/>
                  </a:lnTo>
                  <a:lnTo>
                    <a:pt x="471" y="145"/>
                  </a:lnTo>
                  <a:lnTo>
                    <a:pt x="471" y="146"/>
                  </a:lnTo>
                  <a:lnTo>
                    <a:pt x="470" y="146"/>
                  </a:lnTo>
                  <a:lnTo>
                    <a:pt x="467" y="146"/>
                  </a:lnTo>
                  <a:lnTo>
                    <a:pt x="468" y="148"/>
                  </a:lnTo>
                  <a:lnTo>
                    <a:pt x="467" y="146"/>
                  </a:lnTo>
                  <a:lnTo>
                    <a:pt x="466" y="146"/>
                  </a:lnTo>
                  <a:lnTo>
                    <a:pt x="467" y="148"/>
                  </a:lnTo>
                  <a:lnTo>
                    <a:pt x="468" y="148"/>
                  </a:lnTo>
                  <a:lnTo>
                    <a:pt x="467" y="149"/>
                  </a:lnTo>
                  <a:lnTo>
                    <a:pt x="466" y="149"/>
                  </a:lnTo>
                  <a:lnTo>
                    <a:pt x="465" y="149"/>
                  </a:lnTo>
                  <a:lnTo>
                    <a:pt x="464" y="150"/>
                  </a:lnTo>
                  <a:lnTo>
                    <a:pt x="462" y="150"/>
                  </a:lnTo>
                  <a:lnTo>
                    <a:pt x="461" y="150"/>
                  </a:lnTo>
                  <a:lnTo>
                    <a:pt x="460" y="150"/>
                  </a:lnTo>
                  <a:lnTo>
                    <a:pt x="460" y="149"/>
                  </a:lnTo>
                  <a:lnTo>
                    <a:pt x="457" y="150"/>
                  </a:lnTo>
                  <a:lnTo>
                    <a:pt x="459" y="151"/>
                  </a:lnTo>
                  <a:lnTo>
                    <a:pt x="459" y="152"/>
                  </a:lnTo>
                  <a:lnTo>
                    <a:pt x="457" y="152"/>
                  </a:lnTo>
                  <a:lnTo>
                    <a:pt x="456" y="154"/>
                  </a:lnTo>
                  <a:lnTo>
                    <a:pt x="455" y="154"/>
                  </a:lnTo>
                  <a:lnTo>
                    <a:pt x="455" y="155"/>
                  </a:lnTo>
                  <a:lnTo>
                    <a:pt x="454" y="155"/>
                  </a:lnTo>
                  <a:lnTo>
                    <a:pt x="454" y="156"/>
                  </a:lnTo>
                  <a:lnTo>
                    <a:pt x="453" y="156"/>
                  </a:lnTo>
                  <a:lnTo>
                    <a:pt x="453" y="157"/>
                  </a:lnTo>
                  <a:lnTo>
                    <a:pt x="451" y="157"/>
                  </a:lnTo>
                  <a:lnTo>
                    <a:pt x="450" y="159"/>
                  </a:lnTo>
                  <a:lnTo>
                    <a:pt x="449" y="160"/>
                  </a:lnTo>
                  <a:lnTo>
                    <a:pt x="448" y="160"/>
                  </a:lnTo>
                  <a:lnTo>
                    <a:pt x="449" y="160"/>
                  </a:lnTo>
                  <a:lnTo>
                    <a:pt x="451" y="160"/>
                  </a:lnTo>
                  <a:lnTo>
                    <a:pt x="453" y="160"/>
                  </a:lnTo>
                  <a:lnTo>
                    <a:pt x="454" y="160"/>
                  </a:lnTo>
                  <a:lnTo>
                    <a:pt x="455" y="160"/>
                  </a:lnTo>
                  <a:lnTo>
                    <a:pt x="455" y="161"/>
                  </a:lnTo>
                  <a:lnTo>
                    <a:pt x="456" y="161"/>
                  </a:lnTo>
                  <a:lnTo>
                    <a:pt x="456" y="162"/>
                  </a:lnTo>
                  <a:lnTo>
                    <a:pt x="457" y="163"/>
                  </a:lnTo>
                  <a:lnTo>
                    <a:pt x="457" y="162"/>
                  </a:lnTo>
                  <a:lnTo>
                    <a:pt x="459" y="162"/>
                  </a:lnTo>
                  <a:lnTo>
                    <a:pt x="460" y="161"/>
                  </a:lnTo>
                  <a:lnTo>
                    <a:pt x="460" y="162"/>
                  </a:lnTo>
                  <a:lnTo>
                    <a:pt x="461" y="162"/>
                  </a:lnTo>
                  <a:lnTo>
                    <a:pt x="460" y="162"/>
                  </a:lnTo>
                  <a:lnTo>
                    <a:pt x="460" y="163"/>
                  </a:lnTo>
                  <a:lnTo>
                    <a:pt x="461" y="163"/>
                  </a:lnTo>
                  <a:lnTo>
                    <a:pt x="461" y="165"/>
                  </a:lnTo>
                  <a:lnTo>
                    <a:pt x="461" y="163"/>
                  </a:lnTo>
                  <a:lnTo>
                    <a:pt x="462" y="163"/>
                  </a:lnTo>
                  <a:lnTo>
                    <a:pt x="462" y="162"/>
                  </a:lnTo>
                  <a:lnTo>
                    <a:pt x="464" y="162"/>
                  </a:lnTo>
                  <a:lnTo>
                    <a:pt x="464" y="161"/>
                  </a:lnTo>
                  <a:lnTo>
                    <a:pt x="466" y="160"/>
                  </a:lnTo>
                  <a:lnTo>
                    <a:pt x="467" y="160"/>
                  </a:lnTo>
                  <a:lnTo>
                    <a:pt x="468" y="161"/>
                  </a:lnTo>
                  <a:lnTo>
                    <a:pt x="468" y="162"/>
                  </a:lnTo>
                  <a:lnTo>
                    <a:pt x="467" y="162"/>
                  </a:lnTo>
                  <a:lnTo>
                    <a:pt x="467" y="163"/>
                  </a:lnTo>
                  <a:lnTo>
                    <a:pt x="468" y="165"/>
                  </a:lnTo>
                  <a:lnTo>
                    <a:pt x="470" y="165"/>
                  </a:lnTo>
                  <a:lnTo>
                    <a:pt x="471" y="165"/>
                  </a:lnTo>
                  <a:lnTo>
                    <a:pt x="472" y="165"/>
                  </a:lnTo>
                  <a:lnTo>
                    <a:pt x="473" y="165"/>
                  </a:lnTo>
                  <a:lnTo>
                    <a:pt x="473" y="163"/>
                  </a:lnTo>
                  <a:lnTo>
                    <a:pt x="474" y="163"/>
                  </a:lnTo>
                  <a:lnTo>
                    <a:pt x="476" y="163"/>
                  </a:lnTo>
                  <a:lnTo>
                    <a:pt x="477" y="165"/>
                  </a:lnTo>
                  <a:lnTo>
                    <a:pt x="478" y="165"/>
                  </a:lnTo>
                  <a:lnTo>
                    <a:pt x="479" y="165"/>
                  </a:lnTo>
                  <a:lnTo>
                    <a:pt x="480" y="163"/>
                  </a:lnTo>
                  <a:lnTo>
                    <a:pt x="480" y="165"/>
                  </a:lnTo>
                  <a:lnTo>
                    <a:pt x="482" y="165"/>
                  </a:lnTo>
                  <a:lnTo>
                    <a:pt x="483" y="166"/>
                  </a:lnTo>
                  <a:lnTo>
                    <a:pt x="483" y="165"/>
                  </a:lnTo>
                  <a:lnTo>
                    <a:pt x="483" y="163"/>
                  </a:lnTo>
                  <a:lnTo>
                    <a:pt x="484" y="163"/>
                  </a:lnTo>
                  <a:lnTo>
                    <a:pt x="484" y="162"/>
                  </a:lnTo>
                  <a:lnTo>
                    <a:pt x="484" y="165"/>
                  </a:lnTo>
                  <a:lnTo>
                    <a:pt x="485" y="165"/>
                  </a:lnTo>
                  <a:lnTo>
                    <a:pt x="485" y="163"/>
                  </a:lnTo>
                  <a:lnTo>
                    <a:pt x="486" y="163"/>
                  </a:lnTo>
                  <a:lnTo>
                    <a:pt x="485" y="165"/>
                  </a:lnTo>
                  <a:lnTo>
                    <a:pt x="485" y="166"/>
                  </a:lnTo>
                  <a:lnTo>
                    <a:pt x="484" y="166"/>
                  </a:lnTo>
                  <a:lnTo>
                    <a:pt x="484" y="167"/>
                  </a:lnTo>
                  <a:lnTo>
                    <a:pt x="484" y="168"/>
                  </a:lnTo>
                  <a:lnTo>
                    <a:pt x="485" y="168"/>
                  </a:lnTo>
                  <a:lnTo>
                    <a:pt x="485" y="169"/>
                  </a:lnTo>
                  <a:lnTo>
                    <a:pt x="486" y="169"/>
                  </a:lnTo>
                  <a:lnTo>
                    <a:pt x="486" y="171"/>
                  </a:lnTo>
                  <a:lnTo>
                    <a:pt x="488" y="171"/>
                  </a:lnTo>
                  <a:lnTo>
                    <a:pt x="488" y="172"/>
                  </a:lnTo>
                  <a:lnTo>
                    <a:pt x="488" y="173"/>
                  </a:lnTo>
                  <a:lnTo>
                    <a:pt x="484" y="173"/>
                  </a:lnTo>
                  <a:lnTo>
                    <a:pt x="484" y="175"/>
                  </a:lnTo>
                  <a:lnTo>
                    <a:pt x="482" y="177"/>
                  </a:lnTo>
                  <a:lnTo>
                    <a:pt x="483" y="178"/>
                  </a:lnTo>
                  <a:lnTo>
                    <a:pt x="484" y="178"/>
                  </a:lnTo>
                  <a:lnTo>
                    <a:pt x="483" y="180"/>
                  </a:lnTo>
                  <a:lnTo>
                    <a:pt x="485" y="181"/>
                  </a:lnTo>
                  <a:lnTo>
                    <a:pt x="485" y="180"/>
                  </a:lnTo>
                  <a:lnTo>
                    <a:pt x="486" y="180"/>
                  </a:lnTo>
                  <a:lnTo>
                    <a:pt x="489" y="180"/>
                  </a:lnTo>
                  <a:lnTo>
                    <a:pt x="490" y="179"/>
                  </a:lnTo>
                  <a:lnTo>
                    <a:pt x="490" y="178"/>
                  </a:lnTo>
                  <a:lnTo>
                    <a:pt x="491" y="177"/>
                  </a:lnTo>
                  <a:lnTo>
                    <a:pt x="492" y="175"/>
                  </a:lnTo>
                  <a:lnTo>
                    <a:pt x="494" y="175"/>
                  </a:lnTo>
                  <a:lnTo>
                    <a:pt x="494" y="174"/>
                  </a:lnTo>
                  <a:lnTo>
                    <a:pt x="495" y="174"/>
                  </a:lnTo>
                  <a:lnTo>
                    <a:pt x="496" y="174"/>
                  </a:lnTo>
                  <a:lnTo>
                    <a:pt x="497" y="173"/>
                  </a:lnTo>
                  <a:lnTo>
                    <a:pt x="498" y="173"/>
                  </a:lnTo>
                  <a:lnTo>
                    <a:pt x="500" y="174"/>
                  </a:lnTo>
                  <a:lnTo>
                    <a:pt x="500" y="175"/>
                  </a:lnTo>
                  <a:lnTo>
                    <a:pt x="500" y="177"/>
                  </a:lnTo>
                  <a:lnTo>
                    <a:pt x="498" y="178"/>
                  </a:lnTo>
                  <a:lnTo>
                    <a:pt x="498" y="179"/>
                  </a:lnTo>
                  <a:lnTo>
                    <a:pt x="496" y="180"/>
                  </a:lnTo>
                  <a:lnTo>
                    <a:pt x="495" y="180"/>
                  </a:lnTo>
                  <a:lnTo>
                    <a:pt x="492" y="181"/>
                  </a:lnTo>
                  <a:lnTo>
                    <a:pt x="491" y="183"/>
                  </a:lnTo>
                  <a:lnTo>
                    <a:pt x="492" y="185"/>
                  </a:lnTo>
                  <a:lnTo>
                    <a:pt x="491" y="185"/>
                  </a:lnTo>
                  <a:lnTo>
                    <a:pt x="491" y="186"/>
                  </a:lnTo>
                  <a:lnTo>
                    <a:pt x="489" y="186"/>
                  </a:lnTo>
                  <a:lnTo>
                    <a:pt x="488" y="187"/>
                  </a:lnTo>
                  <a:lnTo>
                    <a:pt x="486" y="189"/>
                  </a:lnTo>
                  <a:lnTo>
                    <a:pt x="486" y="190"/>
                  </a:lnTo>
                  <a:lnTo>
                    <a:pt x="485" y="190"/>
                  </a:lnTo>
                  <a:lnTo>
                    <a:pt x="485" y="191"/>
                  </a:lnTo>
                  <a:lnTo>
                    <a:pt x="484" y="191"/>
                  </a:lnTo>
                  <a:lnTo>
                    <a:pt x="483" y="190"/>
                  </a:lnTo>
                  <a:lnTo>
                    <a:pt x="482" y="191"/>
                  </a:lnTo>
                  <a:lnTo>
                    <a:pt x="480" y="190"/>
                  </a:lnTo>
                  <a:lnTo>
                    <a:pt x="478" y="191"/>
                  </a:lnTo>
                  <a:lnTo>
                    <a:pt x="477" y="192"/>
                  </a:lnTo>
                  <a:lnTo>
                    <a:pt x="476" y="192"/>
                  </a:lnTo>
                  <a:lnTo>
                    <a:pt x="477" y="193"/>
                  </a:lnTo>
                  <a:lnTo>
                    <a:pt x="479" y="193"/>
                  </a:lnTo>
                  <a:lnTo>
                    <a:pt x="479" y="196"/>
                  </a:lnTo>
                  <a:lnTo>
                    <a:pt x="480" y="196"/>
                  </a:lnTo>
                  <a:lnTo>
                    <a:pt x="482" y="196"/>
                  </a:lnTo>
                  <a:lnTo>
                    <a:pt x="482" y="197"/>
                  </a:lnTo>
                  <a:lnTo>
                    <a:pt x="482" y="198"/>
                  </a:lnTo>
                  <a:lnTo>
                    <a:pt x="484" y="199"/>
                  </a:lnTo>
                  <a:lnTo>
                    <a:pt x="485" y="198"/>
                  </a:lnTo>
                  <a:lnTo>
                    <a:pt x="488" y="198"/>
                  </a:lnTo>
                  <a:lnTo>
                    <a:pt x="489" y="199"/>
                  </a:lnTo>
                  <a:lnTo>
                    <a:pt x="490" y="198"/>
                  </a:lnTo>
                  <a:lnTo>
                    <a:pt x="491" y="198"/>
                  </a:lnTo>
                  <a:lnTo>
                    <a:pt x="491" y="199"/>
                  </a:lnTo>
                  <a:lnTo>
                    <a:pt x="490" y="201"/>
                  </a:lnTo>
                  <a:lnTo>
                    <a:pt x="489" y="202"/>
                  </a:lnTo>
                  <a:lnTo>
                    <a:pt x="489" y="203"/>
                  </a:lnTo>
                  <a:lnTo>
                    <a:pt x="490" y="202"/>
                  </a:lnTo>
                  <a:lnTo>
                    <a:pt x="491" y="202"/>
                  </a:lnTo>
                  <a:lnTo>
                    <a:pt x="491" y="203"/>
                  </a:lnTo>
                  <a:lnTo>
                    <a:pt x="491" y="204"/>
                  </a:lnTo>
                  <a:lnTo>
                    <a:pt x="490" y="207"/>
                  </a:lnTo>
                  <a:lnTo>
                    <a:pt x="486" y="209"/>
                  </a:lnTo>
                  <a:lnTo>
                    <a:pt x="489" y="210"/>
                  </a:lnTo>
                  <a:lnTo>
                    <a:pt x="489" y="213"/>
                  </a:lnTo>
                  <a:lnTo>
                    <a:pt x="489" y="214"/>
                  </a:lnTo>
                  <a:lnTo>
                    <a:pt x="490" y="214"/>
                  </a:lnTo>
                  <a:lnTo>
                    <a:pt x="490" y="216"/>
                  </a:lnTo>
                  <a:lnTo>
                    <a:pt x="489" y="217"/>
                  </a:lnTo>
                  <a:lnTo>
                    <a:pt x="491" y="217"/>
                  </a:lnTo>
                  <a:lnTo>
                    <a:pt x="491" y="219"/>
                  </a:lnTo>
                  <a:lnTo>
                    <a:pt x="492" y="220"/>
                  </a:lnTo>
                  <a:lnTo>
                    <a:pt x="495" y="220"/>
                  </a:lnTo>
                  <a:lnTo>
                    <a:pt x="496" y="220"/>
                  </a:lnTo>
                  <a:lnTo>
                    <a:pt x="497" y="220"/>
                  </a:lnTo>
                  <a:lnTo>
                    <a:pt x="498" y="220"/>
                  </a:lnTo>
                  <a:lnTo>
                    <a:pt x="500" y="220"/>
                  </a:lnTo>
                  <a:lnTo>
                    <a:pt x="501" y="220"/>
                  </a:lnTo>
                  <a:lnTo>
                    <a:pt x="502" y="220"/>
                  </a:lnTo>
                  <a:lnTo>
                    <a:pt x="506" y="221"/>
                  </a:lnTo>
                  <a:lnTo>
                    <a:pt x="506" y="222"/>
                  </a:lnTo>
                  <a:lnTo>
                    <a:pt x="508" y="222"/>
                  </a:lnTo>
                  <a:lnTo>
                    <a:pt x="509" y="222"/>
                  </a:lnTo>
                  <a:lnTo>
                    <a:pt x="510" y="222"/>
                  </a:lnTo>
                  <a:lnTo>
                    <a:pt x="513" y="221"/>
                  </a:lnTo>
                  <a:lnTo>
                    <a:pt x="514" y="221"/>
                  </a:lnTo>
                  <a:lnTo>
                    <a:pt x="514" y="222"/>
                  </a:lnTo>
                  <a:lnTo>
                    <a:pt x="513" y="223"/>
                  </a:lnTo>
                  <a:lnTo>
                    <a:pt x="512" y="227"/>
                  </a:lnTo>
                  <a:lnTo>
                    <a:pt x="512" y="228"/>
                  </a:lnTo>
                  <a:lnTo>
                    <a:pt x="513" y="228"/>
                  </a:lnTo>
                  <a:lnTo>
                    <a:pt x="515" y="228"/>
                  </a:lnTo>
                  <a:lnTo>
                    <a:pt x="518" y="228"/>
                  </a:lnTo>
                  <a:lnTo>
                    <a:pt x="519" y="229"/>
                  </a:lnTo>
                  <a:lnTo>
                    <a:pt x="521" y="229"/>
                  </a:lnTo>
                  <a:lnTo>
                    <a:pt x="523" y="229"/>
                  </a:lnTo>
                  <a:lnTo>
                    <a:pt x="523" y="228"/>
                  </a:lnTo>
                  <a:lnTo>
                    <a:pt x="525" y="228"/>
                  </a:lnTo>
                  <a:lnTo>
                    <a:pt x="526" y="229"/>
                  </a:lnTo>
                  <a:lnTo>
                    <a:pt x="526" y="231"/>
                  </a:lnTo>
                  <a:lnTo>
                    <a:pt x="525" y="232"/>
                  </a:lnTo>
                  <a:lnTo>
                    <a:pt x="524" y="233"/>
                  </a:lnTo>
                  <a:lnTo>
                    <a:pt x="521" y="235"/>
                  </a:lnTo>
                  <a:lnTo>
                    <a:pt x="519" y="235"/>
                  </a:lnTo>
                  <a:lnTo>
                    <a:pt x="519" y="237"/>
                  </a:lnTo>
                  <a:lnTo>
                    <a:pt x="518" y="237"/>
                  </a:lnTo>
                  <a:lnTo>
                    <a:pt x="516" y="238"/>
                  </a:lnTo>
                  <a:lnTo>
                    <a:pt x="514" y="240"/>
                  </a:lnTo>
                  <a:lnTo>
                    <a:pt x="513" y="241"/>
                  </a:lnTo>
                  <a:lnTo>
                    <a:pt x="512" y="241"/>
                  </a:lnTo>
                  <a:lnTo>
                    <a:pt x="510" y="241"/>
                  </a:lnTo>
                  <a:lnTo>
                    <a:pt x="509" y="240"/>
                  </a:lnTo>
                  <a:lnTo>
                    <a:pt x="508" y="241"/>
                  </a:lnTo>
                  <a:lnTo>
                    <a:pt x="507" y="241"/>
                  </a:lnTo>
                  <a:lnTo>
                    <a:pt x="504" y="241"/>
                  </a:lnTo>
                  <a:lnTo>
                    <a:pt x="502" y="241"/>
                  </a:lnTo>
                  <a:lnTo>
                    <a:pt x="501" y="240"/>
                  </a:lnTo>
                  <a:lnTo>
                    <a:pt x="501" y="239"/>
                  </a:lnTo>
                  <a:lnTo>
                    <a:pt x="500" y="239"/>
                  </a:lnTo>
                  <a:lnTo>
                    <a:pt x="498" y="239"/>
                  </a:lnTo>
                  <a:lnTo>
                    <a:pt x="497" y="238"/>
                  </a:lnTo>
                  <a:lnTo>
                    <a:pt x="496" y="237"/>
                  </a:lnTo>
                  <a:lnTo>
                    <a:pt x="496" y="235"/>
                  </a:lnTo>
                  <a:lnTo>
                    <a:pt x="496" y="234"/>
                  </a:lnTo>
                  <a:lnTo>
                    <a:pt x="494" y="234"/>
                  </a:lnTo>
                  <a:lnTo>
                    <a:pt x="495" y="235"/>
                  </a:lnTo>
                  <a:lnTo>
                    <a:pt x="495" y="238"/>
                  </a:lnTo>
                  <a:lnTo>
                    <a:pt x="496" y="238"/>
                  </a:lnTo>
                  <a:lnTo>
                    <a:pt x="496" y="240"/>
                  </a:lnTo>
                  <a:lnTo>
                    <a:pt x="496" y="241"/>
                  </a:lnTo>
                  <a:lnTo>
                    <a:pt x="495" y="243"/>
                  </a:lnTo>
                  <a:lnTo>
                    <a:pt x="494" y="244"/>
                  </a:lnTo>
                  <a:lnTo>
                    <a:pt x="491" y="243"/>
                  </a:lnTo>
                  <a:lnTo>
                    <a:pt x="490" y="241"/>
                  </a:lnTo>
                  <a:lnTo>
                    <a:pt x="490" y="240"/>
                  </a:lnTo>
                  <a:lnTo>
                    <a:pt x="489" y="240"/>
                  </a:lnTo>
                  <a:lnTo>
                    <a:pt x="489" y="238"/>
                  </a:lnTo>
                  <a:lnTo>
                    <a:pt x="486" y="238"/>
                  </a:lnTo>
                  <a:lnTo>
                    <a:pt x="486" y="237"/>
                  </a:lnTo>
                  <a:lnTo>
                    <a:pt x="485" y="237"/>
                  </a:lnTo>
                  <a:lnTo>
                    <a:pt x="484" y="238"/>
                  </a:lnTo>
                  <a:lnTo>
                    <a:pt x="483" y="238"/>
                  </a:lnTo>
                  <a:lnTo>
                    <a:pt x="483" y="237"/>
                  </a:lnTo>
                  <a:lnTo>
                    <a:pt x="482" y="237"/>
                  </a:lnTo>
                  <a:lnTo>
                    <a:pt x="479" y="234"/>
                  </a:lnTo>
                  <a:lnTo>
                    <a:pt x="477" y="235"/>
                  </a:lnTo>
                  <a:lnTo>
                    <a:pt x="476" y="237"/>
                  </a:lnTo>
                  <a:lnTo>
                    <a:pt x="474" y="235"/>
                  </a:lnTo>
                  <a:lnTo>
                    <a:pt x="472" y="237"/>
                  </a:lnTo>
                  <a:lnTo>
                    <a:pt x="468" y="237"/>
                  </a:lnTo>
                  <a:lnTo>
                    <a:pt x="468" y="235"/>
                  </a:lnTo>
                  <a:lnTo>
                    <a:pt x="467" y="237"/>
                  </a:lnTo>
                  <a:lnTo>
                    <a:pt x="466" y="237"/>
                  </a:lnTo>
                  <a:lnTo>
                    <a:pt x="465" y="238"/>
                  </a:lnTo>
                  <a:lnTo>
                    <a:pt x="462" y="238"/>
                  </a:lnTo>
                  <a:lnTo>
                    <a:pt x="461" y="240"/>
                  </a:lnTo>
                  <a:lnTo>
                    <a:pt x="457" y="238"/>
                  </a:lnTo>
                  <a:lnTo>
                    <a:pt x="457" y="235"/>
                  </a:lnTo>
                  <a:lnTo>
                    <a:pt x="457" y="234"/>
                  </a:lnTo>
                  <a:lnTo>
                    <a:pt x="456" y="234"/>
                  </a:lnTo>
                  <a:lnTo>
                    <a:pt x="454" y="235"/>
                  </a:lnTo>
                  <a:lnTo>
                    <a:pt x="453" y="235"/>
                  </a:lnTo>
                  <a:lnTo>
                    <a:pt x="451" y="235"/>
                  </a:lnTo>
                  <a:lnTo>
                    <a:pt x="450" y="237"/>
                  </a:lnTo>
                  <a:lnTo>
                    <a:pt x="450" y="238"/>
                  </a:lnTo>
                  <a:lnTo>
                    <a:pt x="450" y="240"/>
                  </a:lnTo>
                  <a:lnTo>
                    <a:pt x="451" y="239"/>
                  </a:lnTo>
                  <a:lnTo>
                    <a:pt x="453" y="238"/>
                  </a:lnTo>
                  <a:lnTo>
                    <a:pt x="453" y="239"/>
                  </a:lnTo>
                  <a:lnTo>
                    <a:pt x="453" y="240"/>
                  </a:lnTo>
                  <a:lnTo>
                    <a:pt x="453" y="243"/>
                  </a:lnTo>
                  <a:lnTo>
                    <a:pt x="454" y="240"/>
                  </a:lnTo>
                  <a:lnTo>
                    <a:pt x="454" y="243"/>
                  </a:lnTo>
                  <a:lnTo>
                    <a:pt x="454" y="244"/>
                  </a:lnTo>
                  <a:lnTo>
                    <a:pt x="454" y="245"/>
                  </a:lnTo>
                  <a:lnTo>
                    <a:pt x="455" y="245"/>
                  </a:lnTo>
                  <a:lnTo>
                    <a:pt x="455" y="246"/>
                  </a:lnTo>
                  <a:lnTo>
                    <a:pt x="456" y="245"/>
                  </a:lnTo>
                  <a:lnTo>
                    <a:pt x="456" y="246"/>
                  </a:lnTo>
                  <a:lnTo>
                    <a:pt x="454" y="246"/>
                  </a:lnTo>
                  <a:lnTo>
                    <a:pt x="455" y="249"/>
                  </a:lnTo>
                  <a:lnTo>
                    <a:pt x="456" y="247"/>
                  </a:lnTo>
                  <a:lnTo>
                    <a:pt x="457" y="249"/>
                  </a:lnTo>
                  <a:lnTo>
                    <a:pt x="459" y="249"/>
                  </a:lnTo>
                  <a:lnTo>
                    <a:pt x="460" y="249"/>
                  </a:lnTo>
                  <a:lnTo>
                    <a:pt x="462" y="250"/>
                  </a:lnTo>
                  <a:lnTo>
                    <a:pt x="464" y="250"/>
                  </a:lnTo>
                  <a:lnTo>
                    <a:pt x="464" y="251"/>
                  </a:lnTo>
                  <a:lnTo>
                    <a:pt x="465" y="252"/>
                  </a:lnTo>
                  <a:lnTo>
                    <a:pt x="465" y="253"/>
                  </a:lnTo>
                  <a:lnTo>
                    <a:pt x="465" y="255"/>
                  </a:lnTo>
                  <a:lnTo>
                    <a:pt x="466" y="255"/>
                  </a:lnTo>
                  <a:lnTo>
                    <a:pt x="467" y="256"/>
                  </a:lnTo>
                  <a:lnTo>
                    <a:pt x="470" y="257"/>
                  </a:lnTo>
                  <a:lnTo>
                    <a:pt x="471" y="259"/>
                  </a:lnTo>
                  <a:lnTo>
                    <a:pt x="472" y="259"/>
                  </a:lnTo>
                  <a:lnTo>
                    <a:pt x="473" y="261"/>
                  </a:lnTo>
                  <a:lnTo>
                    <a:pt x="473" y="262"/>
                  </a:lnTo>
                  <a:lnTo>
                    <a:pt x="474" y="262"/>
                  </a:lnTo>
                  <a:lnTo>
                    <a:pt x="474" y="263"/>
                  </a:lnTo>
                  <a:lnTo>
                    <a:pt x="476" y="263"/>
                  </a:lnTo>
                  <a:lnTo>
                    <a:pt x="476" y="262"/>
                  </a:lnTo>
                  <a:lnTo>
                    <a:pt x="479" y="263"/>
                  </a:lnTo>
                  <a:lnTo>
                    <a:pt x="480" y="263"/>
                  </a:lnTo>
                  <a:lnTo>
                    <a:pt x="480" y="264"/>
                  </a:lnTo>
                  <a:lnTo>
                    <a:pt x="482" y="266"/>
                  </a:lnTo>
                  <a:lnTo>
                    <a:pt x="484" y="266"/>
                  </a:lnTo>
                  <a:lnTo>
                    <a:pt x="484" y="267"/>
                  </a:lnTo>
                  <a:lnTo>
                    <a:pt x="486" y="267"/>
                  </a:lnTo>
                  <a:lnTo>
                    <a:pt x="486" y="268"/>
                  </a:lnTo>
                  <a:lnTo>
                    <a:pt x="488" y="268"/>
                  </a:lnTo>
                  <a:lnTo>
                    <a:pt x="489" y="269"/>
                  </a:lnTo>
                  <a:lnTo>
                    <a:pt x="490" y="269"/>
                  </a:lnTo>
                  <a:lnTo>
                    <a:pt x="490" y="270"/>
                  </a:lnTo>
                  <a:lnTo>
                    <a:pt x="489" y="272"/>
                  </a:lnTo>
                  <a:lnTo>
                    <a:pt x="490" y="273"/>
                  </a:lnTo>
                  <a:lnTo>
                    <a:pt x="490" y="274"/>
                  </a:lnTo>
                  <a:lnTo>
                    <a:pt x="491" y="275"/>
                  </a:lnTo>
                  <a:lnTo>
                    <a:pt x="490" y="276"/>
                  </a:lnTo>
                  <a:lnTo>
                    <a:pt x="492" y="276"/>
                  </a:lnTo>
                  <a:lnTo>
                    <a:pt x="496" y="276"/>
                  </a:lnTo>
                  <a:lnTo>
                    <a:pt x="500" y="276"/>
                  </a:lnTo>
                  <a:lnTo>
                    <a:pt x="500" y="279"/>
                  </a:lnTo>
                  <a:lnTo>
                    <a:pt x="501" y="279"/>
                  </a:lnTo>
                  <a:lnTo>
                    <a:pt x="503" y="279"/>
                  </a:lnTo>
                  <a:lnTo>
                    <a:pt x="506" y="279"/>
                  </a:lnTo>
                  <a:lnTo>
                    <a:pt x="507" y="278"/>
                  </a:lnTo>
                  <a:lnTo>
                    <a:pt x="508" y="280"/>
                  </a:lnTo>
                  <a:lnTo>
                    <a:pt x="509" y="280"/>
                  </a:lnTo>
                  <a:lnTo>
                    <a:pt x="510" y="280"/>
                  </a:lnTo>
                  <a:lnTo>
                    <a:pt x="510" y="281"/>
                  </a:lnTo>
                  <a:lnTo>
                    <a:pt x="509" y="284"/>
                  </a:lnTo>
                  <a:lnTo>
                    <a:pt x="508" y="285"/>
                  </a:lnTo>
                  <a:lnTo>
                    <a:pt x="507" y="285"/>
                  </a:lnTo>
                  <a:lnTo>
                    <a:pt x="508" y="286"/>
                  </a:lnTo>
                  <a:lnTo>
                    <a:pt x="510" y="287"/>
                  </a:lnTo>
                  <a:lnTo>
                    <a:pt x="512" y="288"/>
                  </a:lnTo>
                  <a:lnTo>
                    <a:pt x="514" y="288"/>
                  </a:lnTo>
                  <a:lnTo>
                    <a:pt x="515" y="288"/>
                  </a:lnTo>
                  <a:lnTo>
                    <a:pt x="514" y="291"/>
                  </a:lnTo>
                  <a:lnTo>
                    <a:pt x="516" y="292"/>
                  </a:lnTo>
                  <a:lnTo>
                    <a:pt x="519" y="293"/>
                  </a:lnTo>
                  <a:lnTo>
                    <a:pt x="520" y="293"/>
                  </a:lnTo>
                  <a:lnTo>
                    <a:pt x="521" y="293"/>
                  </a:lnTo>
                  <a:lnTo>
                    <a:pt x="523" y="293"/>
                  </a:lnTo>
                  <a:lnTo>
                    <a:pt x="525" y="293"/>
                  </a:lnTo>
                  <a:lnTo>
                    <a:pt x="526" y="293"/>
                  </a:lnTo>
                  <a:lnTo>
                    <a:pt x="525" y="297"/>
                  </a:lnTo>
                  <a:lnTo>
                    <a:pt x="524" y="298"/>
                  </a:lnTo>
                  <a:lnTo>
                    <a:pt x="523" y="299"/>
                  </a:lnTo>
                  <a:lnTo>
                    <a:pt x="521" y="300"/>
                  </a:lnTo>
                  <a:lnTo>
                    <a:pt x="520" y="300"/>
                  </a:lnTo>
                  <a:lnTo>
                    <a:pt x="518" y="302"/>
                  </a:lnTo>
                  <a:lnTo>
                    <a:pt x="520" y="302"/>
                  </a:lnTo>
                  <a:lnTo>
                    <a:pt x="523" y="302"/>
                  </a:lnTo>
                  <a:lnTo>
                    <a:pt x="524" y="304"/>
                  </a:lnTo>
                  <a:lnTo>
                    <a:pt x="526" y="305"/>
                  </a:lnTo>
                  <a:lnTo>
                    <a:pt x="525" y="308"/>
                  </a:lnTo>
                  <a:lnTo>
                    <a:pt x="524" y="309"/>
                  </a:lnTo>
                  <a:lnTo>
                    <a:pt x="523" y="310"/>
                  </a:lnTo>
                  <a:lnTo>
                    <a:pt x="523" y="311"/>
                  </a:lnTo>
                  <a:lnTo>
                    <a:pt x="523" y="312"/>
                  </a:lnTo>
                  <a:lnTo>
                    <a:pt x="523" y="314"/>
                  </a:lnTo>
                  <a:lnTo>
                    <a:pt x="523" y="315"/>
                  </a:lnTo>
                  <a:lnTo>
                    <a:pt x="525" y="316"/>
                  </a:lnTo>
                  <a:lnTo>
                    <a:pt x="525" y="317"/>
                  </a:lnTo>
                  <a:lnTo>
                    <a:pt x="525" y="320"/>
                  </a:lnTo>
                  <a:lnTo>
                    <a:pt x="524" y="320"/>
                  </a:lnTo>
                  <a:lnTo>
                    <a:pt x="524" y="321"/>
                  </a:lnTo>
                  <a:lnTo>
                    <a:pt x="521" y="321"/>
                  </a:lnTo>
                  <a:lnTo>
                    <a:pt x="519" y="321"/>
                  </a:lnTo>
                  <a:lnTo>
                    <a:pt x="521" y="324"/>
                  </a:lnTo>
                  <a:lnTo>
                    <a:pt x="523" y="326"/>
                  </a:lnTo>
                  <a:lnTo>
                    <a:pt x="524" y="327"/>
                  </a:lnTo>
                  <a:lnTo>
                    <a:pt x="524" y="326"/>
                  </a:lnTo>
                  <a:lnTo>
                    <a:pt x="525" y="326"/>
                  </a:lnTo>
                  <a:lnTo>
                    <a:pt x="526" y="326"/>
                  </a:lnTo>
                  <a:lnTo>
                    <a:pt x="526" y="327"/>
                  </a:lnTo>
                  <a:lnTo>
                    <a:pt x="527" y="327"/>
                  </a:lnTo>
                  <a:lnTo>
                    <a:pt x="527" y="328"/>
                  </a:lnTo>
                  <a:lnTo>
                    <a:pt x="526" y="329"/>
                  </a:lnTo>
                  <a:lnTo>
                    <a:pt x="525" y="330"/>
                  </a:lnTo>
                  <a:lnTo>
                    <a:pt x="523" y="330"/>
                  </a:lnTo>
                  <a:lnTo>
                    <a:pt x="520" y="330"/>
                  </a:lnTo>
                  <a:lnTo>
                    <a:pt x="520" y="329"/>
                  </a:lnTo>
                  <a:lnTo>
                    <a:pt x="518" y="329"/>
                  </a:lnTo>
                  <a:lnTo>
                    <a:pt x="516" y="328"/>
                  </a:lnTo>
                  <a:lnTo>
                    <a:pt x="512" y="327"/>
                  </a:lnTo>
                  <a:lnTo>
                    <a:pt x="510" y="324"/>
                  </a:lnTo>
                  <a:lnTo>
                    <a:pt x="509" y="323"/>
                  </a:lnTo>
                  <a:lnTo>
                    <a:pt x="508" y="321"/>
                  </a:lnTo>
                  <a:lnTo>
                    <a:pt x="507" y="318"/>
                  </a:lnTo>
                  <a:lnTo>
                    <a:pt x="506" y="317"/>
                  </a:lnTo>
                  <a:lnTo>
                    <a:pt x="506" y="315"/>
                  </a:lnTo>
                  <a:lnTo>
                    <a:pt x="504" y="315"/>
                  </a:lnTo>
                  <a:lnTo>
                    <a:pt x="504" y="312"/>
                  </a:lnTo>
                  <a:lnTo>
                    <a:pt x="502" y="311"/>
                  </a:lnTo>
                  <a:lnTo>
                    <a:pt x="501" y="311"/>
                  </a:lnTo>
                  <a:lnTo>
                    <a:pt x="500" y="312"/>
                  </a:lnTo>
                  <a:lnTo>
                    <a:pt x="498" y="312"/>
                  </a:lnTo>
                  <a:lnTo>
                    <a:pt x="497" y="311"/>
                  </a:lnTo>
                  <a:lnTo>
                    <a:pt x="496" y="311"/>
                  </a:lnTo>
                  <a:lnTo>
                    <a:pt x="495" y="311"/>
                  </a:lnTo>
                  <a:lnTo>
                    <a:pt x="494" y="312"/>
                  </a:lnTo>
                  <a:lnTo>
                    <a:pt x="492" y="314"/>
                  </a:lnTo>
                  <a:lnTo>
                    <a:pt x="490" y="312"/>
                  </a:lnTo>
                  <a:lnTo>
                    <a:pt x="490" y="310"/>
                  </a:lnTo>
                  <a:lnTo>
                    <a:pt x="490" y="309"/>
                  </a:lnTo>
                  <a:lnTo>
                    <a:pt x="491" y="308"/>
                  </a:lnTo>
                  <a:lnTo>
                    <a:pt x="492" y="308"/>
                  </a:lnTo>
                  <a:lnTo>
                    <a:pt x="494" y="308"/>
                  </a:lnTo>
                  <a:lnTo>
                    <a:pt x="494" y="306"/>
                  </a:lnTo>
                  <a:lnTo>
                    <a:pt x="492" y="305"/>
                  </a:lnTo>
                  <a:lnTo>
                    <a:pt x="494" y="304"/>
                  </a:lnTo>
                  <a:lnTo>
                    <a:pt x="495" y="304"/>
                  </a:lnTo>
                  <a:lnTo>
                    <a:pt x="496" y="304"/>
                  </a:lnTo>
                  <a:lnTo>
                    <a:pt x="497" y="304"/>
                  </a:lnTo>
                  <a:lnTo>
                    <a:pt x="497" y="302"/>
                  </a:lnTo>
                  <a:lnTo>
                    <a:pt x="495" y="303"/>
                  </a:lnTo>
                  <a:lnTo>
                    <a:pt x="495" y="302"/>
                  </a:lnTo>
                  <a:lnTo>
                    <a:pt x="494" y="302"/>
                  </a:lnTo>
                  <a:lnTo>
                    <a:pt x="491" y="302"/>
                  </a:lnTo>
                  <a:lnTo>
                    <a:pt x="490" y="302"/>
                  </a:lnTo>
                  <a:lnTo>
                    <a:pt x="488" y="300"/>
                  </a:lnTo>
                  <a:lnTo>
                    <a:pt x="486" y="299"/>
                  </a:lnTo>
                  <a:lnTo>
                    <a:pt x="484" y="299"/>
                  </a:lnTo>
                  <a:lnTo>
                    <a:pt x="486" y="298"/>
                  </a:lnTo>
                  <a:lnTo>
                    <a:pt x="484" y="298"/>
                  </a:lnTo>
                  <a:lnTo>
                    <a:pt x="484" y="296"/>
                  </a:lnTo>
                  <a:lnTo>
                    <a:pt x="484" y="294"/>
                  </a:lnTo>
                  <a:lnTo>
                    <a:pt x="483" y="294"/>
                  </a:lnTo>
                  <a:lnTo>
                    <a:pt x="483" y="296"/>
                  </a:lnTo>
                  <a:lnTo>
                    <a:pt x="480" y="296"/>
                  </a:lnTo>
                  <a:lnTo>
                    <a:pt x="479" y="296"/>
                  </a:lnTo>
                  <a:lnTo>
                    <a:pt x="478" y="297"/>
                  </a:lnTo>
                  <a:lnTo>
                    <a:pt x="477" y="296"/>
                  </a:lnTo>
                  <a:lnTo>
                    <a:pt x="476" y="294"/>
                  </a:lnTo>
                  <a:lnTo>
                    <a:pt x="476" y="293"/>
                  </a:lnTo>
                  <a:lnTo>
                    <a:pt x="473" y="293"/>
                  </a:lnTo>
                  <a:lnTo>
                    <a:pt x="472" y="292"/>
                  </a:lnTo>
                  <a:lnTo>
                    <a:pt x="473" y="291"/>
                  </a:lnTo>
                  <a:lnTo>
                    <a:pt x="472" y="291"/>
                  </a:lnTo>
                  <a:lnTo>
                    <a:pt x="471" y="291"/>
                  </a:lnTo>
                  <a:lnTo>
                    <a:pt x="470" y="290"/>
                  </a:lnTo>
                  <a:lnTo>
                    <a:pt x="468" y="290"/>
                  </a:lnTo>
                  <a:lnTo>
                    <a:pt x="467" y="290"/>
                  </a:lnTo>
                  <a:lnTo>
                    <a:pt x="466" y="288"/>
                  </a:lnTo>
                  <a:lnTo>
                    <a:pt x="465" y="290"/>
                  </a:lnTo>
                  <a:lnTo>
                    <a:pt x="464" y="287"/>
                  </a:lnTo>
                  <a:lnTo>
                    <a:pt x="464" y="286"/>
                  </a:lnTo>
                  <a:lnTo>
                    <a:pt x="462" y="286"/>
                  </a:lnTo>
                  <a:lnTo>
                    <a:pt x="462" y="285"/>
                  </a:lnTo>
                  <a:lnTo>
                    <a:pt x="462" y="282"/>
                  </a:lnTo>
                  <a:lnTo>
                    <a:pt x="464" y="282"/>
                  </a:lnTo>
                  <a:lnTo>
                    <a:pt x="462" y="282"/>
                  </a:lnTo>
                  <a:lnTo>
                    <a:pt x="462" y="281"/>
                  </a:lnTo>
                  <a:lnTo>
                    <a:pt x="461" y="280"/>
                  </a:lnTo>
                  <a:lnTo>
                    <a:pt x="460" y="279"/>
                  </a:lnTo>
                  <a:lnTo>
                    <a:pt x="459" y="278"/>
                  </a:lnTo>
                  <a:lnTo>
                    <a:pt x="459" y="279"/>
                  </a:lnTo>
                  <a:lnTo>
                    <a:pt x="459" y="280"/>
                  </a:lnTo>
                  <a:lnTo>
                    <a:pt x="459" y="281"/>
                  </a:lnTo>
                  <a:lnTo>
                    <a:pt x="457" y="282"/>
                  </a:lnTo>
                  <a:lnTo>
                    <a:pt x="455" y="282"/>
                  </a:lnTo>
                  <a:lnTo>
                    <a:pt x="455" y="284"/>
                  </a:lnTo>
                  <a:lnTo>
                    <a:pt x="456" y="285"/>
                  </a:lnTo>
                  <a:lnTo>
                    <a:pt x="457" y="285"/>
                  </a:lnTo>
                  <a:lnTo>
                    <a:pt x="459" y="285"/>
                  </a:lnTo>
                  <a:lnTo>
                    <a:pt x="460" y="285"/>
                  </a:lnTo>
                  <a:lnTo>
                    <a:pt x="460" y="287"/>
                  </a:lnTo>
                  <a:lnTo>
                    <a:pt x="461" y="287"/>
                  </a:lnTo>
                  <a:lnTo>
                    <a:pt x="461" y="288"/>
                  </a:lnTo>
                  <a:lnTo>
                    <a:pt x="461" y="290"/>
                  </a:lnTo>
                  <a:lnTo>
                    <a:pt x="461" y="291"/>
                  </a:lnTo>
                  <a:lnTo>
                    <a:pt x="462" y="292"/>
                  </a:lnTo>
                  <a:lnTo>
                    <a:pt x="462" y="293"/>
                  </a:lnTo>
                  <a:lnTo>
                    <a:pt x="460" y="292"/>
                  </a:lnTo>
                  <a:lnTo>
                    <a:pt x="460" y="293"/>
                  </a:lnTo>
                  <a:lnTo>
                    <a:pt x="459" y="292"/>
                  </a:lnTo>
                  <a:lnTo>
                    <a:pt x="457" y="291"/>
                  </a:lnTo>
                  <a:lnTo>
                    <a:pt x="456" y="291"/>
                  </a:lnTo>
                  <a:lnTo>
                    <a:pt x="456" y="290"/>
                  </a:lnTo>
                  <a:lnTo>
                    <a:pt x="455" y="290"/>
                  </a:lnTo>
                  <a:lnTo>
                    <a:pt x="455" y="288"/>
                  </a:lnTo>
                  <a:lnTo>
                    <a:pt x="451" y="288"/>
                  </a:lnTo>
                  <a:lnTo>
                    <a:pt x="450" y="287"/>
                  </a:lnTo>
                  <a:lnTo>
                    <a:pt x="449" y="287"/>
                  </a:lnTo>
                  <a:lnTo>
                    <a:pt x="447" y="287"/>
                  </a:lnTo>
                  <a:lnTo>
                    <a:pt x="445" y="287"/>
                  </a:lnTo>
                  <a:lnTo>
                    <a:pt x="444" y="286"/>
                  </a:lnTo>
                  <a:lnTo>
                    <a:pt x="441" y="286"/>
                  </a:lnTo>
                  <a:lnTo>
                    <a:pt x="438" y="285"/>
                  </a:lnTo>
                  <a:lnTo>
                    <a:pt x="437" y="285"/>
                  </a:lnTo>
                  <a:lnTo>
                    <a:pt x="435" y="285"/>
                  </a:lnTo>
                  <a:lnTo>
                    <a:pt x="436" y="284"/>
                  </a:lnTo>
                  <a:lnTo>
                    <a:pt x="433" y="282"/>
                  </a:lnTo>
                  <a:lnTo>
                    <a:pt x="432" y="282"/>
                  </a:lnTo>
                  <a:lnTo>
                    <a:pt x="429" y="279"/>
                  </a:lnTo>
                  <a:lnTo>
                    <a:pt x="430" y="276"/>
                  </a:lnTo>
                  <a:lnTo>
                    <a:pt x="431" y="274"/>
                  </a:lnTo>
                  <a:lnTo>
                    <a:pt x="431" y="272"/>
                  </a:lnTo>
                  <a:lnTo>
                    <a:pt x="431" y="273"/>
                  </a:lnTo>
                  <a:lnTo>
                    <a:pt x="430" y="273"/>
                  </a:lnTo>
                  <a:lnTo>
                    <a:pt x="430" y="274"/>
                  </a:lnTo>
                  <a:lnTo>
                    <a:pt x="430" y="275"/>
                  </a:lnTo>
                  <a:lnTo>
                    <a:pt x="429" y="276"/>
                  </a:lnTo>
                  <a:lnTo>
                    <a:pt x="426" y="275"/>
                  </a:lnTo>
                  <a:lnTo>
                    <a:pt x="425" y="275"/>
                  </a:lnTo>
                  <a:lnTo>
                    <a:pt x="424" y="274"/>
                  </a:lnTo>
                  <a:lnTo>
                    <a:pt x="421" y="275"/>
                  </a:lnTo>
                  <a:lnTo>
                    <a:pt x="420" y="278"/>
                  </a:lnTo>
                  <a:lnTo>
                    <a:pt x="418" y="279"/>
                  </a:lnTo>
                  <a:lnTo>
                    <a:pt x="418" y="278"/>
                  </a:lnTo>
                  <a:lnTo>
                    <a:pt x="417" y="278"/>
                  </a:lnTo>
                  <a:lnTo>
                    <a:pt x="415" y="278"/>
                  </a:lnTo>
                  <a:lnTo>
                    <a:pt x="414" y="279"/>
                  </a:lnTo>
                  <a:lnTo>
                    <a:pt x="414" y="282"/>
                  </a:lnTo>
                  <a:lnTo>
                    <a:pt x="415" y="281"/>
                  </a:lnTo>
                  <a:lnTo>
                    <a:pt x="417" y="281"/>
                  </a:lnTo>
                  <a:lnTo>
                    <a:pt x="418" y="282"/>
                  </a:lnTo>
                  <a:lnTo>
                    <a:pt x="419" y="284"/>
                  </a:lnTo>
                  <a:lnTo>
                    <a:pt x="419" y="281"/>
                  </a:lnTo>
                  <a:lnTo>
                    <a:pt x="420" y="281"/>
                  </a:lnTo>
                  <a:lnTo>
                    <a:pt x="423" y="281"/>
                  </a:lnTo>
                  <a:lnTo>
                    <a:pt x="424" y="281"/>
                  </a:lnTo>
                  <a:lnTo>
                    <a:pt x="423" y="282"/>
                  </a:lnTo>
                  <a:lnTo>
                    <a:pt x="423" y="284"/>
                  </a:lnTo>
                  <a:lnTo>
                    <a:pt x="423" y="285"/>
                  </a:lnTo>
                  <a:lnTo>
                    <a:pt x="423" y="287"/>
                  </a:lnTo>
                  <a:lnTo>
                    <a:pt x="424" y="287"/>
                  </a:lnTo>
                  <a:lnTo>
                    <a:pt x="421" y="287"/>
                  </a:lnTo>
                  <a:lnTo>
                    <a:pt x="420" y="287"/>
                  </a:lnTo>
                  <a:lnTo>
                    <a:pt x="419" y="286"/>
                  </a:lnTo>
                  <a:lnTo>
                    <a:pt x="419" y="285"/>
                  </a:lnTo>
                  <a:lnTo>
                    <a:pt x="418" y="285"/>
                  </a:lnTo>
                  <a:lnTo>
                    <a:pt x="418" y="287"/>
                  </a:lnTo>
                  <a:lnTo>
                    <a:pt x="419" y="287"/>
                  </a:lnTo>
                  <a:lnTo>
                    <a:pt x="421" y="288"/>
                  </a:lnTo>
                  <a:lnTo>
                    <a:pt x="421" y="290"/>
                  </a:lnTo>
                  <a:lnTo>
                    <a:pt x="425" y="291"/>
                  </a:lnTo>
                  <a:lnTo>
                    <a:pt x="425" y="290"/>
                  </a:lnTo>
                  <a:lnTo>
                    <a:pt x="426" y="290"/>
                  </a:lnTo>
                  <a:lnTo>
                    <a:pt x="429" y="288"/>
                  </a:lnTo>
                  <a:lnTo>
                    <a:pt x="429" y="287"/>
                  </a:lnTo>
                  <a:lnTo>
                    <a:pt x="430" y="287"/>
                  </a:lnTo>
                  <a:lnTo>
                    <a:pt x="431" y="288"/>
                  </a:lnTo>
                  <a:lnTo>
                    <a:pt x="432" y="290"/>
                  </a:lnTo>
                  <a:lnTo>
                    <a:pt x="431" y="290"/>
                  </a:lnTo>
                  <a:lnTo>
                    <a:pt x="432" y="291"/>
                  </a:lnTo>
                  <a:lnTo>
                    <a:pt x="431" y="292"/>
                  </a:lnTo>
                  <a:lnTo>
                    <a:pt x="433" y="293"/>
                  </a:lnTo>
                  <a:lnTo>
                    <a:pt x="435" y="294"/>
                  </a:lnTo>
                  <a:lnTo>
                    <a:pt x="435" y="296"/>
                  </a:lnTo>
                  <a:lnTo>
                    <a:pt x="433" y="296"/>
                  </a:lnTo>
                  <a:lnTo>
                    <a:pt x="435" y="296"/>
                  </a:lnTo>
                  <a:lnTo>
                    <a:pt x="433" y="298"/>
                  </a:lnTo>
                  <a:lnTo>
                    <a:pt x="435" y="299"/>
                  </a:lnTo>
                  <a:lnTo>
                    <a:pt x="436" y="298"/>
                  </a:lnTo>
                  <a:lnTo>
                    <a:pt x="437" y="299"/>
                  </a:lnTo>
                  <a:lnTo>
                    <a:pt x="438" y="300"/>
                  </a:lnTo>
                  <a:lnTo>
                    <a:pt x="437" y="302"/>
                  </a:lnTo>
                  <a:lnTo>
                    <a:pt x="439" y="302"/>
                  </a:lnTo>
                  <a:lnTo>
                    <a:pt x="443" y="302"/>
                  </a:lnTo>
                  <a:lnTo>
                    <a:pt x="444" y="303"/>
                  </a:lnTo>
                  <a:lnTo>
                    <a:pt x="444" y="304"/>
                  </a:lnTo>
                  <a:lnTo>
                    <a:pt x="445" y="304"/>
                  </a:lnTo>
                  <a:lnTo>
                    <a:pt x="449" y="305"/>
                  </a:lnTo>
                  <a:lnTo>
                    <a:pt x="451" y="304"/>
                  </a:lnTo>
                  <a:lnTo>
                    <a:pt x="453" y="303"/>
                  </a:lnTo>
                  <a:lnTo>
                    <a:pt x="454" y="303"/>
                  </a:lnTo>
                  <a:lnTo>
                    <a:pt x="455" y="304"/>
                  </a:lnTo>
                  <a:lnTo>
                    <a:pt x="456" y="304"/>
                  </a:lnTo>
                  <a:lnTo>
                    <a:pt x="457" y="304"/>
                  </a:lnTo>
                  <a:lnTo>
                    <a:pt x="460" y="304"/>
                  </a:lnTo>
                  <a:lnTo>
                    <a:pt x="459" y="303"/>
                  </a:lnTo>
                  <a:lnTo>
                    <a:pt x="460" y="302"/>
                  </a:lnTo>
                  <a:lnTo>
                    <a:pt x="460" y="303"/>
                  </a:lnTo>
                  <a:lnTo>
                    <a:pt x="464" y="303"/>
                  </a:lnTo>
                  <a:lnTo>
                    <a:pt x="462" y="303"/>
                  </a:lnTo>
                  <a:lnTo>
                    <a:pt x="465" y="304"/>
                  </a:lnTo>
                  <a:lnTo>
                    <a:pt x="467" y="305"/>
                  </a:lnTo>
                  <a:lnTo>
                    <a:pt x="468" y="305"/>
                  </a:lnTo>
                  <a:lnTo>
                    <a:pt x="468" y="306"/>
                  </a:lnTo>
                  <a:lnTo>
                    <a:pt x="470" y="306"/>
                  </a:lnTo>
                  <a:lnTo>
                    <a:pt x="472" y="308"/>
                  </a:lnTo>
                  <a:lnTo>
                    <a:pt x="472" y="309"/>
                  </a:lnTo>
                  <a:lnTo>
                    <a:pt x="471" y="309"/>
                  </a:lnTo>
                  <a:lnTo>
                    <a:pt x="471" y="310"/>
                  </a:lnTo>
                  <a:lnTo>
                    <a:pt x="471" y="311"/>
                  </a:lnTo>
                  <a:lnTo>
                    <a:pt x="471" y="315"/>
                  </a:lnTo>
                  <a:lnTo>
                    <a:pt x="468" y="315"/>
                  </a:lnTo>
                  <a:lnTo>
                    <a:pt x="467" y="316"/>
                  </a:lnTo>
                  <a:lnTo>
                    <a:pt x="467" y="317"/>
                  </a:lnTo>
                  <a:lnTo>
                    <a:pt x="470" y="317"/>
                  </a:lnTo>
                  <a:lnTo>
                    <a:pt x="470" y="316"/>
                  </a:lnTo>
                  <a:lnTo>
                    <a:pt x="471" y="315"/>
                  </a:lnTo>
                  <a:lnTo>
                    <a:pt x="472" y="314"/>
                  </a:lnTo>
                  <a:lnTo>
                    <a:pt x="473" y="314"/>
                  </a:lnTo>
                  <a:lnTo>
                    <a:pt x="474" y="314"/>
                  </a:lnTo>
                  <a:lnTo>
                    <a:pt x="476" y="314"/>
                  </a:lnTo>
                  <a:lnTo>
                    <a:pt x="476" y="312"/>
                  </a:lnTo>
                  <a:lnTo>
                    <a:pt x="477" y="315"/>
                  </a:lnTo>
                  <a:lnTo>
                    <a:pt x="477" y="314"/>
                  </a:lnTo>
                  <a:lnTo>
                    <a:pt x="477" y="315"/>
                  </a:lnTo>
                  <a:lnTo>
                    <a:pt x="478" y="315"/>
                  </a:lnTo>
                  <a:lnTo>
                    <a:pt x="478" y="316"/>
                  </a:lnTo>
                  <a:lnTo>
                    <a:pt x="479" y="317"/>
                  </a:lnTo>
                  <a:lnTo>
                    <a:pt x="479" y="318"/>
                  </a:lnTo>
                  <a:lnTo>
                    <a:pt x="480" y="320"/>
                  </a:lnTo>
                  <a:lnTo>
                    <a:pt x="482" y="320"/>
                  </a:lnTo>
                  <a:lnTo>
                    <a:pt x="484" y="322"/>
                  </a:lnTo>
                  <a:lnTo>
                    <a:pt x="484" y="323"/>
                  </a:lnTo>
                  <a:lnTo>
                    <a:pt x="485" y="323"/>
                  </a:lnTo>
                  <a:lnTo>
                    <a:pt x="486" y="323"/>
                  </a:lnTo>
                  <a:lnTo>
                    <a:pt x="488" y="322"/>
                  </a:lnTo>
                  <a:lnTo>
                    <a:pt x="490" y="322"/>
                  </a:lnTo>
                  <a:lnTo>
                    <a:pt x="489" y="323"/>
                  </a:lnTo>
                  <a:lnTo>
                    <a:pt x="490" y="323"/>
                  </a:lnTo>
                  <a:lnTo>
                    <a:pt x="491" y="323"/>
                  </a:lnTo>
                  <a:lnTo>
                    <a:pt x="492" y="323"/>
                  </a:lnTo>
                  <a:lnTo>
                    <a:pt x="492" y="324"/>
                  </a:lnTo>
                  <a:lnTo>
                    <a:pt x="492" y="328"/>
                  </a:lnTo>
                  <a:lnTo>
                    <a:pt x="492" y="330"/>
                  </a:lnTo>
                  <a:lnTo>
                    <a:pt x="494" y="330"/>
                  </a:lnTo>
                  <a:lnTo>
                    <a:pt x="494" y="333"/>
                  </a:lnTo>
                  <a:lnTo>
                    <a:pt x="494" y="335"/>
                  </a:lnTo>
                  <a:lnTo>
                    <a:pt x="492" y="336"/>
                  </a:lnTo>
                  <a:lnTo>
                    <a:pt x="492" y="339"/>
                  </a:lnTo>
                  <a:lnTo>
                    <a:pt x="494" y="339"/>
                  </a:lnTo>
                  <a:lnTo>
                    <a:pt x="495" y="340"/>
                  </a:lnTo>
                  <a:lnTo>
                    <a:pt x="496" y="340"/>
                  </a:lnTo>
                  <a:lnTo>
                    <a:pt x="497" y="340"/>
                  </a:lnTo>
                  <a:lnTo>
                    <a:pt x="498" y="339"/>
                  </a:lnTo>
                  <a:lnTo>
                    <a:pt x="498" y="340"/>
                  </a:lnTo>
                  <a:lnTo>
                    <a:pt x="500" y="340"/>
                  </a:lnTo>
                  <a:lnTo>
                    <a:pt x="503" y="341"/>
                  </a:lnTo>
                  <a:lnTo>
                    <a:pt x="503" y="342"/>
                  </a:lnTo>
                  <a:lnTo>
                    <a:pt x="504" y="344"/>
                  </a:lnTo>
                  <a:lnTo>
                    <a:pt x="508" y="344"/>
                  </a:lnTo>
                  <a:lnTo>
                    <a:pt x="509" y="344"/>
                  </a:lnTo>
                  <a:lnTo>
                    <a:pt x="510" y="345"/>
                  </a:lnTo>
                  <a:lnTo>
                    <a:pt x="510" y="348"/>
                  </a:lnTo>
                  <a:lnTo>
                    <a:pt x="509" y="350"/>
                  </a:lnTo>
                  <a:lnTo>
                    <a:pt x="512" y="351"/>
                  </a:lnTo>
                  <a:lnTo>
                    <a:pt x="512" y="352"/>
                  </a:lnTo>
                  <a:lnTo>
                    <a:pt x="513" y="352"/>
                  </a:lnTo>
                  <a:lnTo>
                    <a:pt x="514" y="354"/>
                  </a:lnTo>
                  <a:lnTo>
                    <a:pt x="518" y="354"/>
                  </a:lnTo>
                  <a:lnTo>
                    <a:pt x="519" y="357"/>
                  </a:lnTo>
                  <a:lnTo>
                    <a:pt x="519" y="358"/>
                  </a:lnTo>
                  <a:lnTo>
                    <a:pt x="520" y="358"/>
                  </a:lnTo>
                  <a:lnTo>
                    <a:pt x="521" y="358"/>
                  </a:lnTo>
                  <a:lnTo>
                    <a:pt x="523" y="358"/>
                  </a:lnTo>
                  <a:lnTo>
                    <a:pt x="521" y="359"/>
                  </a:lnTo>
                  <a:lnTo>
                    <a:pt x="521" y="360"/>
                  </a:lnTo>
                  <a:lnTo>
                    <a:pt x="521" y="362"/>
                  </a:lnTo>
                  <a:lnTo>
                    <a:pt x="521" y="364"/>
                  </a:lnTo>
                  <a:lnTo>
                    <a:pt x="523" y="365"/>
                  </a:lnTo>
                  <a:lnTo>
                    <a:pt x="524" y="365"/>
                  </a:lnTo>
                  <a:lnTo>
                    <a:pt x="521" y="366"/>
                  </a:lnTo>
                  <a:lnTo>
                    <a:pt x="523" y="368"/>
                  </a:lnTo>
                  <a:lnTo>
                    <a:pt x="524" y="369"/>
                  </a:lnTo>
                  <a:lnTo>
                    <a:pt x="525" y="370"/>
                  </a:lnTo>
                  <a:lnTo>
                    <a:pt x="526" y="371"/>
                  </a:lnTo>
                  <a:lnTo>
                    <a:pt x="525" y="373"/>
                  </a:lnTo>
                  <a:lnTo>
                    <a:pt x="524" y="375"/>
                  </a:lnTo>
                  <a:lnTo>
                    <a:pt x="525" y="377"/>
                  </a:lnTo>
                  <a:lnTo>
                    <a:pt x="525" y="376"/>
                  </a:lnTo>
                  <a:lnTo>
                    <a:pt x="527" y="376"/>
                  </a:lnTo>
                  <a:lnTo>
                    <a:pt x="530" y="380"/>
                  </a:lnTo>
                  <a:lnTo>
                    <a:pt x="530" y="381"/>
                  </a:lnTo>
                  <a:lnTo>
                    <a:pt x="532" y="381"/>
                  </a:lnTo>
                  <a:lnTo>
                    <a:pt x="533" y="381"/>
                  </a:lnTo>
                  <a:lnTo>
                    <a:pt x="533" y="382"/>
                  </a:lnTo>
                  <a:lnTo>
                    <a:pt x="536" y="382"/>
                  </a:lnTo>
                  <a:lnTo>
                    <a:pt x="535" y="385"/>
                  </a:lnTo>
                  <a:lnTo>
                    <a:pt x="533" y="386"/>
                  </a:lnTo>
                  <a:lnTo>
                    <a:pt x="532" y="387"/>
                  </a:lnTo>
                  <a:lnTo>
                    <a:pt x="535" y="388"/>
                  </a:lnTo>
                  <a:lnTo>
                    <a:pt x="535" y="387"/>
                  </a:lnTo>
                  <a:lnTo>
                    <a:pt x="536" y="387"/>
                  </a:lnTo>
                  <a:lnTo>
                    <a:pt x="536" y="388"/>
                  </a:lnTo>
                  <a:lnTo>
                    <a:pt x="537" y="388"/>
                  </a:lnTo>
                  <a:lnTo>
                    <a:pt x="537" y="389"/>
                  </a:lnTo>
                  <a:lnTo>
                    <a:pt x="537" y="391"/>
                  </a:lnTo>
                  <a:lnTo>
                    <a:pt x="538" y="391"/>
                  </a:lnTo>
                  <a:lnTo>
                    <a:pt x="539" y="393"/>
                  </a:lnTo>
                  <a:lnTo>
                    <a:pt x="539" y="392"/>
                  </a:lnTo>
                  <a:lnTo>
                    <a:pt x="542" y="394"/>
                  </a:lnTo>
                  <a:lnTo>
                    <a:pt x="542" y="395"/>
                  </a:lnTo>
                  <a:lnTo>
                    <a:pt x="541" y="397"/>
                  </a:lnTo>
                  <a:lnTo>
                    <a:pt x="543" y="398"/>
                  </a:lnTo>
                  <a:lnTo>
                    <a:pt x="544" y="399"/>
                  </a:lnTo>
                  <a:lnTo>
                    <a:pt x="545" y="400"/>
                  </a:lnTo>
                  <a:lnTo>
                    <a:pt x="547" y="399"/>
                  </a:lnTo>
                  <a:lnTo>
                    <a:pt x="548" y="398"/>
                  </a:lnTo>
                  <a:lnTo>
                    <a:pt x="549" y="398"/>
                  </a:lnTo>
                  <a:lnTo>
                    <a:pt x="550" y="399"/>
                  </a:lnTo>
                  <a:lnTo>
                    <a:pt x="550" y="400"/>
                  </a:lnTo>
                  <a:lnTo>
                    <a:pt x="551" y="399"/>
                  </a:lnTo>
                  <a:lnTo>
                    <a:pt x="554" y="398"/>
                  </a:lnTo>
                  <a:lnTo>
                    <a:pt x="556" y="399"/>
                  </a:lnTo>
                  <a:lnTo>
                    <a:pt x="555" y="400"/>
                  </a:lnTo>
                  <a:lnTo>
                    <a:pt x="555" y="401"/>
                  </a:lnTo>
                  <a:lnTo>
                    <a:pt x="554" y="403"/>
                  </a:lnTo>
                  <a:lnTo>
                    <a:pt x="553" y="401"/>
                  </a:lnTo>
                  <a:lnTo>
                    <a:pt x="553" y="403"/>
                  </a:lnTo>
                  <a:lnTo>
                    <a:pt x="550" y="404"/>
                  </a:lnTo>
                  <a:lnTo>
                    <a:pt x="549" y="404"/>
                  </a:lnTo>
                  <a:lnTo>
                    <a:pt x="548" y="405"/>
                  </a:lnTo>
                  <a:lnTo>
                    <a:pt x="547" y="404"/>
                  </a:lnTo>
                  <a:lnTo>
                    <a:pt x="547" y="405"/>
                  </a:lnTo>
                  <a:lnTo>
                    <a:pt x="545" y="406"/>
                  </a:lnTo>
                  <a:lnTo>
                    <a:pt x="547" y="407"/>
                  </a:lnTo>
                  <a:lnTo>
                    <a:pt x="544" y="410"/>
                  </a:lnTo>
                  <a:lnTo>
                    <a:pt x="544" y="411"/>
                  </a:lnTo>
                  <a:lnTo>
                    <a:pt x="543" y="412"/>
                  </a:lnTo>
                  <a:lnTo>
                    <a:pt x="544" y="413"/>
                  </a:lnTo>
                  <a:lnTo>
                    <a:pt x="544" y="415"/>
                  </a:lnTo>
                  <a:lnTo>
                    <a:pt x="543" y="416"/>
                  </a:lnTo>
                  <a:lnTo>
                    <a:pt x="545" y="417"/>
                  </a:lnTo>
                  <a:lnTo>
                    <a:pt x="547" y="418"/>
                  </a:lnTo>
                  <a:lnTo>
                    <a:pt x="548" y="418"/>
                  </a:lnTo>
                  <a:lnTo>
                    <a:pt x="549" y="419"/>
                  </a:lnTo>
                  <a:lnTo>
                    <a:pt x="549" y="421"/>
                  </a:lnTo>
                  <a:lnTo>
                    <a:pt x="547" y="421"/>
                  </a:lnTo>
                  <a:lnTo>
                    <a:pt x="547" y="422"/>
                  </a:lnTo>
                  <a:lnTo>
                    <a:pt x="545" y="422"/>
                  </a:lnTo>
                  <a:lnTo>
                    <a:pt x="544" y="422"/>
                  </a:lnTo>
                  <a:lnTo>
                    <a:pt x="544" y="421"/>
                  </a:lnTo>
                  <a:lnTo>
                    <a:pt x="542" y="421"/>
                  </a:lnTo>
                  <a:lnTo>
                    <a:pt x="541" y="419"/>
                  </a:lnTo>
                  <a:lnTo>
                    <a:pt x="541" y="418"/>
                  </a:lnTo>
                  <a:lnTo>
                    <a:pt x="539" y="418"/>
                  </a:lnTo>
                  <a:lnTo>
                    <a:pt x="538" y="416"/>
                  </a:lnTo>
                  <a:lnTo>
                    <a:pt x="536" y="416"/>
                  </a:lnTo>
                  <a:lnTo>
                    <a:pt x="535" y="413"/>
                  </a:lnTo>
                  <a:lnTo>
                    <a:pt x="535" y="412"/>
                  </a:lnTo>
                  <a:lnTo>
                    <a:pt x="535" y="411"/>
                  </a:lnTo>
                  <a:lnTo>
                    <a:pt x="533" y="411"/>
                  </a:lnTo>
                  <a:lnTo>
                    <a:pt x="532" y="411"/>
                  </a:lnTo>
                  <a:lnTo>
                    <a:pt x="530" y="411"/>
                  </a:lnTo>
                  <a:lnTo>
                    <a:pt x="527" y="411"/>
                  </a:lnTo>
                  <a:lnTo>
                    <a:pt x="523" y="411"/>
                  </a:lnTo>
                  <a:lnTo>
                    <a:pt x="524" y="410"/>
                  </a:lnTo>
                  <a:lnTo>
                    <a:pt x="524" y="407"/>
                  </a:lnTo>
                  <a:lnTo>
                    <a:pt x="524" y="405"/>
                  </a:lnTo>
                  <a:lnTo>
                    <a:pt x="523" y="407"/>
                  </a:lnTo>
                  <a:lnTo>
                    <a:pt x="523" y="409"/>
                  </a:lnTo>
                  <a:lnTo>
                    <a:pt x="520" y="410"/>
                  </a:lnTo>
                  <a:lnTo>
                    <a:pt x="518" y="411"/>
                  </a:lnTo>
                  <a:lnTo>
                    <a:pt x="516" y="411"/>
                  </a:lnTo>
                  <a:lnTo>
                    <a:pt x="516" y="413"/>
                  </a:lnTo>
                  <a:lnTo>
                    <a:pt x="518" y="413"/>
                  </a:lnTo>
                  <a:lnTo>
                    <a:pt x="518" y="416"/>
                  </a:lnTo>
                  <a:lnTo>
                    <a:pt x="518" y="417"/>
                  </a:lnTo>
                  <a:lnTo>
                    <a:pt x="516" y="418"/>
                  </a:lnTo>
                  <a:lnTo>
                    <a:pt x="516" y="417"/>
                  </a:lnTo>
                  <a:lnTo>
                    <a:pt x="515" y="418"/>
                  </a:lnTo>
                  <a:lnTo>
                    <a:pt x="514" y="418"/>
                  </a:lnTo>
                  <a:lnTo>
                    <a:pt x="513" y="418"/>
                  </a:lnTo>
                  <a:lnTo>
                    <a:pt x="512" y="419"/>
                  </a:lnTo>
                  <a:lnTo>
                    <a:pt x="510" y="419"/>
                  </a:lnTo>
                  <a:lnTo>
                    <a:pt x="512" y="418"/>
                  </a:lnTo>
                  <a:lnTo>
                    <a:pt x="512" y="416"/>
                  </a:lnTo>
                  <a:lnTo>
                    <a:pt x="510" y="416"/>
                  </a:lnTo>
                  <a:lnTo>
                    <a:pt x="510" y="415"/>
                  </a:lnTo>
                  <a:lnTo>
                    <a:pt x="509" y="413"/>
                  </a:lnTo>
                  <a:lnTo>
                    <a:pt x="509" y="412"/>
                  </a:lnTo>
                  <a:lnTo>
                    <a:pt x="508" y="411"/>
                  </a:lnTo>
                  <a:lnTo>
                    <a:pt x="507" y="411"/>
                  </a:lnTo>
                  <a:lnTo>
                    <a:pt x="506" y="411"/>
                  </a:lnTo>
                  <a:lnTo>
                    <a:pt x="504" y="411"/>
                  </a:lnTo>
                  <a:lnTo>
                    <a:pt x="503" y="410"/>
                  </a:lnTo>
                  <a:lnTo>
                    <a:pt x="504" y="409"/>
                  </a:lnTo>
                  <a:lnTo>
                    <a:pt x="503" y="409"/>
                  </a:lnTo>
                  <a:lnTo>
                    <a:pt x="501" y="407"/>
                  </a:lnTo>
                  <a:lnTo>
                    <a:pt x="500" y="406"/>
                  </a:lnTo>
                  <a:lnTo>
                    <a:pt x="500" y="405"/>
                  </a:lnTo>
                  <a:lnTo>
                    <a:pt x="498" y="404"/>
                  </a:lnTo>
                  <a:lnTo>
                    <a:pt x="497" y="403"/>
                  </a:lnTo>
                  <a:lnTo>
                    <a:pt x="496" y="403"/>
                  </a:lnTo>
                  <a:lnTo>
                    <a:pt x="495" y="405"/>
                  </a:lnTo>
                  <a:lnTo>
                    <a:pt x="494" y="405"/>
                  </a:lnTo>
                  <a:lnTo>
                    <a:pt x="494" y="406"/>
                  </a:lnTo>
                  <a:lnTo>
                    <a:pt x="491" y="406"/>
                  </a:lnTo>
                  <a:lnTo>
                    <a:pt x="490" y="404"/>
                  </a:lnTo>
                  <a:lnTo>
                    <a:pt x="488" y="405"/>
                  </a:lnTo>
                  <a:lnTo>
                    <a:pt x="488" y="406"/>
                  </a:lnTo>
                  <a:lnTo>
                    <a:pt x="486" y="406"/>
                  </a:lnTo>
                  <a:lnTo>
                    <a:pt x="485" y="407"/>
                  </a:lnTo>
                  <a:lnTo>
                    <a:pt x="484" y="410"/>
                  </a:lnTo>
                  <a:lnTo>
                    <a:pt x="486" y="410"/>
                  </a:lnTo>
                  <a:lnTo>
                    <a:pt x="488" y="411"/>
                  </a:lnTo>
                  <a:lnTo>
                    <a:pt x="489" y="412"/>
                  </a:lnTo>
                  <a:lnTo>
                    <a:pt x="488" y="411"/>
                  </a:lnTo>
                  <a:lnTo>
                    <a:pt x="490" y="411"/>
                  </a:lnTo>
                  <a:lnTo>
                    <a:pt x="491" y="411"/>
                  </a:lnTo>
                  <a:lnTo>
                    <a:pt x="492" y="411"/>
                  </a:lnTo>
                  <a:lnTo>
                    <a:pt x="494" y="413"/>
                  </a:lnTo>
                  <a:lnTo>
                    <a:pt x="494" y="412"/>
                  </a:lnTo>
                  <a:lnTo>
                    <a:pt x="495" y="412"/>
                  </a:lnTo>
                  <a:lnTo>
                    <a:pt x="497" y="412"/>
                  </a:lnTo>
                  <a:lnTo>
                    <a:pt x="498" y="412"/>
                  </a:lnTo>
                  <a:lnTo>
                    <a:pt x="498" y="413"/>
                  </a:lnTo>
                  <a:lnTo>
                    <a:pt x="500" y="413"/>
                  </a:lnTo>
                  <a:lnTo>
                    <a:pt x="500" y="415"/>
                  </a:lnTo>
                  <a:lnTo>
                    <a:pt x="501" y="415"/>
                  </a:lnTo>
                  <a:lnTo>
                    <a:pt x="501" y="416"/>
                  </a:lnTo>
                  <a:lnTo>
                    <a:pt x="501" y="417"/>
                  </a:lnTo>
                  <a:lnTo>
                    <a:pt x="502" y="417"/>
                  </a:lnTo>
                  <a:lnTo>
                    <a:pt x="502" y="418"/>
                  </a:lnTo>
                  <a:lnTo>
                    <a:pt x="504" y="419"/>
                  </a:lnTo>
                  <a:lnTo>
                    <a:pt x="506" y="419"/>
                  </a:lnTo>
                  <a:lnTo>
                    <a:pt x="506" y="421"/>
                  </a:lnTo>
                  <a:lnTo>
                    <a:pt x="504" y="421"/>
                  </a:lnTo>
                  <a:lnTo>
                    <a:pt x="504" y="422"/>
                  </a:lnTo>
                  <a:lnTo>
                    <a:pt x="504" y="423"/>
                  </a:lnTo>
                  <a:lnTo>
                    <a:pt x="504" y="425"/>
                  </a:lnTo>
                  <a:lnTo>
                    <a:pt x="504" y="427"/>
                  </a:lnTo>
                  <a:lnTo>
                    <a:pt x="503" y="428"/>
                  </a:lnTo>
                  <a:lnTo>
                    <a:pt x="502" y="427"/>
                  </a:lnTo>
                  <a:lnTo>
                    <a:pt x="500" y="428"/>
                  </a:lnTo>
                  <a:lnTo>
                    <a:pt x="500" y="427"/>
                  </a:lnTo>
                  <a:lnTo>
                    <a:pt x="497" y="427"/>
                  </a:lnTo>
                  <a:lnTo>
                    <a:pt x="496" y="427"/>
                  </a:lnTo>
                  <a:lnTo>
                    <a:pt x="495" y="427"/>
                  </a:lnTo>
                  <a:lnTo>
                    <a:pt x="495" y="428"/>
                  </a:lnTo>
                  <a:lnTo>
                    <a:pt x="492" y="427"/>
                  </a:lnTo>
                  <a:lnTo>
                    <a:pt x="491" y="428"/>
                  </a:lnTo>
                  <a:lnTo>
                    <a:pt x="491" y="429"/>
                  </a:lnTo>
                  <a:lnTo>
                    <a:pt x="490" y="430"/>
                  </a:lnTo>
                  <a:lnTo>
                    <a:pt x="491" y="431"/>
                  </a:lnTo>
                  <a:lnTo>
                    <a:pt x="490" y="431"/>
                  </a:lnTo>
                  <a:lnTo>
                    <a:pt x="489" y="431"/>
                  </a:lnTo>
                  <a:lnTo>
                    <a:pt x="488" y="430"/>
                  </a:lnTo>
                  <a:lnTo>
                    <a:pt x="488" y="433"/>
                  </a:lnTo>
                  <a:lnTo>
                    <a:pt x="486" y="430"/>
                  </a:lnTo>
                  <a:lnTo>
                    <a:pt x="488" y="431"/>
                  </a:lnTo>
                  <a:lnTo>
                    <a:pt x="486" y="433"/>
                  </a:lnTo>
                  <a:lnTo>
                    <a:pt x="485" y="431"/>
                  </a:lnTo>
                  <a:lnTo>
                    <a:pt x="484" y="431"/>
                  </a:lnTo>
                  <a:lnTo>
                    <a:pt x="483" y="431"/>
                  </a:lnTo>
                  <a:lnTo>
                    <a:pt x="482" y="433"/>
                  </a:lnTo>
                  <a:lnTo>
                    <a:pt x="480" y="431"/>
                  </a:lnTo>
                  <a:lnTo>
                    <a:pt x="478" y="431"/>
                  </a:lnTo>
                  <a:lnTo>
                    <a:pt x="474" y="430"/>
                  </a:lnTo>
                  <a:lnTo>
                    <a:pt x="473" y="429"/>
                  </a:lnTo>
                  <a:lnTo>
                    <a:pt x="472" y="429"/>
                  </a:lnTo>
                  <a:lnTo>
                    <a:pt x="471" y="429"/>
                  </a:lnTo>
                  <a:lnTo>
                    <a:pt x="471" y="428"/>
                  </a:lnTo>
                  <a:lnTo>
                    <a:pt x="470" y="427"/>
                  </a:lnTo>
                  <a:lnTo>
                    <a:pt x="468" y="428"/>
                  </a:lnTo>
                  <a:lnTo>
                    <a:pt x="470" y="429"/>
                  </a:lnTo>
                  <a:lnTo>
                    <a:pt x="472" y="429"/>
                  </a:lnTo>
                  <a:lnTo>
                    <a:pt x="473" y="430"/>
                  </a:lnTo>
                  <a:lnTo>
                    <a:pt x="474" y="431"/>
                  </a:lnTo>
                  <a:lnTo>
                    <a:pt x="473" y="433"/>
                  </a:lnTo>
                  <a:lnTo>
                    <a:pt x="473" y="435"/>
                  </a:lnTo>
                  <a:lnTo>
                    <a:pt x="473" y="433"/>
                  </a:lnTo>
                  <a:lnTo>
                    <a:pt x="472" y="435"/>
                  </a:lnTo>
                  <a:lnTo>
                    <a:pt x="471" y="436"/>
                  </a:lnTo>
                  <a:lnTo>
                    <a:pt x="473" y="437"/>
                  </a:lnTo>
                  <a:lnTo>
                    <a:pt x="471" y="439"/>
                  </a:lnTo>
                  <a:lnTo>
                    <a:pt x="470" y="439"/>
                  </a:lnTo>
                  <a:lnTo>
                    <a:pt x="468" y="440"/>
                  </a:lnTo>
                  <a:lnTo>
                    <a:pt x="467" y="440"/>
                  </a:lnTo>
                  <a:lnTo>
                    <a:pt x="466" y="439"/>
                  </a:lnTo>
                  <a:lnTo>
                    <a:pt x="465" y="440"/>
                  </a:lnTo>
                  <a:lnTo>
                    <a:pt x="464" y="440"/>
                  </a:lnTo>
                  <a:lnTo>
                    <a:pt x="462" y="441"/>
                  </a:lnTo>
                  <a:lnTo>
                    <a:pt x="464" y="442"/>
                  </a:lnTo>
                  <a:lnTo>
                    <a:pt x="462" y="443"/>
                  </a:lnTo>
                  <a:lnTo>
                    <a:pt x="460" y="441"/>
                  </a:lnTo>
                  <a:lnTo>
                    <a:pt x="459" y="441"/>
                  </a:lnTo>
                  <a:lnTo>
                    <a:pt x="460" y="443"/>
                  </a:lnTo>
                  <a:lnTo>
                    <a:pt x="460" y="445"/>
                  </a:lnTo>
                  <a:lnTo>
                    <a:pt x="461" y="446"/>
                  </a:lnTo>
                  <a:lnTo>
                    <a:pt x="460" y="447"/>
                  </a:lnTo>
                  <a:lnTo>
                    <a:pt x="461" y="448"/>
                  </a:lnTo>
                  <a:lnTo>
                    <a:pt x="462" y="449"/>
                  </a:lnTo>
                  <a:lnTo>
                    <a:pt x="465" y="449"/>
                  </a:lnTo>
                  <a:lnTo>
                    <a:pt x="466" y="449"/>
                  </a:lnTo>
                  <a:lnTo>
                    <a:pt x="468" y="449"/>
                  </a:lnTo>
                  <a:lnTo>
                    <a:pt x="467" y="448"/>
                  </a:lnTo>
                  <a:lnTo>
                    <a:pt x="468" y="448"/>
                  </a:lnTo>
                  <a:lnTo>
                    <a:pt x="470" y="447"/>
                  </a:lnTo>
                  <a:lnTo>
                    <a:pt x="471" y="447"/>
                  </a:lnTo>
                  <a:lnTo>
                    <a:pt x="470" y="449"/>
                  </a:lnTo>
                  <a:lnTo>
                    <a:pt x="471" y="449"/>
                  </a:lnTo>
                  <a:lnTo>
                    <a:pt x="472" y="451"/>
                  </a:lnTo>
                  <a:lnTo>
                    <a:pt x="472" y="452"/>
                  </a:lnTo>
                  <a:lnTo>
                    <a:pt x="471" y="453"/>
                  </a:lnTo>
                  <a:lnTo>
                    <a:pt x="471" y="455"/>
                  </a:lnTo>
                  <a:lnTo>
                    <a:pt x="473" y="457"/>
                  </a:lnTo>
                  <a:lnTo>
                    <a:pt x="471" y="459"/>
                  </a:lnTo>
                  <a:lnTo>
                    <a:pt x="470" y="459"/>
                  </a:lnTo>
                  <a:lnTo>
                    <a:pt x="470" y="458"/>
                  </a:lnTo>
                  <a:lnTo>
                    <a:pt x="468" y="458"/>
                  </a:lnTo>
                  <a:lnTo>
                    <a:pt x="468" y="459"/>
                  </a:lnTo>
                  <a:lnTo>
                    <a:pt x="468" y="461"/>
                  </a:lnTo>
                  <a:lnTo>
                    <a:pt x="466" y="461"/>
                  </a:lnTo>
                  <a:lnTo>
                    <a:pt x="467" y="463"/>
                  </a:lnTo>
                  <a:lnTo>
                    <a:pt x="470" y="463"/>
                  </a:lnTo>
                  <a:lnTo>
                    <a:pt x="472" y="461"/>
                  </a:lnTo>
                  <a:lnTo>
                    <a:pt x="473" y="461"/>
                  </a:lnTo>
                  <a:lnTo>
                    <a:pt x="473" y="463"/>
                  </a:lnTo>
                  <a:lnTo>
                    <a:pt x="473" y="464"/>
                  </a:lnTo>
                  <a:lnTo>
                    <a:pt x="476" y="466"/>
                  </a:lnTo>
                  <a:lnTo>
                    <a:pt x="476" y="467"/>
                  </a:lnTo>
                  <a:lnTo>
                    <a:pt x="477" y="467"/>
                  </a:lnTo>
                  <a:lnTo>
                    <a:pt x="478" y="467"/>
                  </a:lnTo>
                  <a:lnTo>
                    <a:pt x="478" y="469"/>
                  </a:lnTo>
                  <a:lnTo>
                    <a:pt x="479" y="470"/>
                  </a:lnTo>
                  <a:lnTo>
                    <a:pt x="479" y="471"/>
                  </a:lnTo>
                  <a:lnTo>
                    <a:pt x="478" y="471"/>
                  </a:lnTo>
                  <a:lnTo>
                    <a:pt x="476" y="472"/>
                  </a:lnTo>
                  <a:lnTo>
                    <a:pt x="478" y="472"/>
                  </a:lnTo>
                  <a:lnTo>
                    <a:pt x="477" y="473"/>
                  </a:lnTo>
                  <a:lnTo>
                    <a:pt x="477" y="475"/>
                  </a:lnTo>
                  <a:lnTo>
                    <a:pt x="476" y="476"/>
                  </a:lnTo>
                  <a:lnTo>
                    <a:pt x="473" y="475"/>
                  </a:lnTo>
                  <a:lnTo>
                    <a:pt x="472" y="476"/>
                  </a:lnTo>
                  <a:lnTo>
                    <a:pt x="471" y="473"/>
                  </a:lnTo>
                  <a:lnTo>
                    <a:pt x="470" y="475"/>
                  </a:lnTo>
                  <a:lnTo>
                    <a:pt x="467" y="475"/>
                  </a:lnTo>
                  <a:lnTo>
                    <a:pt x="466" y="475"/>
                  </a:lnTo>
                  <a:lnTo>
                    <a:pt x="466" y="473"/>
                  </a:lnTo>
                  <a:lnTo>
                    <a:pt x="465" y="472"/>
                  </a:lnTo>
                  <a:lnTo>
                    <a:pt x="464" y="472"/>
                  </a:lnTo>
                  <a:lnTo>
                    <a:pt x="461" y="472"/>
                  </a:lnTo>
                  <a:lnTo>
                    <a:pt x="460" y="470"/>
                  </a:lnTo>
                  <a:lnTo>
                    <a:pt x="459" y="469"/>
                  </a:lnTo>
                  <a:lnTo>
                    <a:pt x="456" y="469"/>
                  </a:lnTo>
                  <a:lnTo>
                    <a:pt x="454" y="469"/>
                  </a:lnTo>
                  <a:lnTo>
                    <a:pt x="454" y="467"/>
                  </a:lnTo>
                  <a:lnTo>
                    <a:pt x="457" y="467"/>
                  </a:lnTo>
                  <a:lnTo>
                    <a:pt x="456" y="465"/>
                  </a:lnTo>
                  <a:lnTo>
                    <a:pt x="457" y="464"/>
                  </a:lnTo>
                  <a:lnTo>
                    <a:pt x="459" y="465"/>
                  </a:lnTo>
                  <a:lnTo>
                    <a:pt x="460" y="466"/>
                  </a:lnTo>
                  <a:lnTo>
                    <a:pt x="461" y="469"/>
                  </a:lnTo>
                  <a:lnTo>
                    <a:pt x="464" y="470"/>
                  </a:lnTo>
                  <a:lnTo>
                    <a:pt x="465" y="470"/>
                  </a:lnTo>
                  <a:lnTo>
                    <a:pt x="465" y="469"/>
                  </a:lnTo>
                  <a:lnTo>
                    <a:pt x="466" y="469"/>
                  </a:lnTo>
                  <a:lnTo>
                    <a:pt x="467" y="469"/>
                  </a:lnTo>
                  <a:lnTo>
                    <a:pt x="465" y="466"/>
                  </a:lnTo>
                  <a:lnTo>
                    <a:pt x="465" y="467"/>
                  </a:lnTo>
                  <a:lnTo>
                    <a:pt x="465" y="466"/>
                  </a:lnTo>
                  <a:lnTo>
                    <a:pt x="464" y="465"/>
                  </a:lnTo>
                  <a:lnTo>
                    <a:pt x="464" y="463"/>
                  </a:lnTo>
                  <a:lnTo>
                    <a:pt x="462" y="461"/>
                  </a:lnTo>
                  <a:lnTo>
                    <a:pt x="465" y="460"/>
                  </a:lnTo>
                  <a:lnTo>
                    <a:pt x="462" y="460"/>
                  </a:lnTo>
                  <a:lnTo>
                    <a:pt x="462" y="458"/>
                  </a:lnTo>
                  <a:lnTo>
                    <a:pt x="461" y="458"/>
                  </a:lnTo>
                  <a:lnTo>
                    <a:pt x="460" y="457"/>
                  </a:lnTo>
                  <a:lnTo>
                    <a:pt x="461" y="455"/>
                  </a:lnTo>
                  <a:lnTo>
                    <a:pt x="457" y="455"/>
                  </a:lnTo>
                  <a:lnTo>
                    <a:pt x="457" y="457"/>
                  </a:lnTo>
                  <a:lnTo>
                    <a:pt x="459" y="457"/>
                  </a:lnTo>
                  <a:lnTo>
                    <a:pt x="459" y="458"/>
                  </a:lnTo>
                  <a:lnTo>
                    <a:pt x="460" y="458"/>
                  </a:lnTo>
                  <a:lnTo>
                    <a:pt x="461" y="458"/>
                  </a:lnTo>
                  <a:lnTo>
                    <a:pt x="459" y="460"/>
                  </a:lnTo>
                  <a:lnTo>
                    <a:pt x="456" y="458"/>
                  </a:lnTo>
                  <a:lnTo>
                    <a:pt x="455" y="457"/>
                  </a:lnTo>
                  <a:lnTo>
                    <a:pt x="454" y="457"/>
                  </a:lnTo>
                  <a:lnTo>
                    <a:pt x="454" y="455"/>
                  </a:lnTo>
                  <a:lnTo>
                    <a:pt x="451" y="454"/>
                  </a:lnTo>
                  <a:lnTo>
                    <a:pt x="450" y="453"/>
                  </a:lnTo>
                  <a:lnTo>
                    <a:pt x="449" y="452"/>
                  </a:lnTo>
                  <a:lnTo>
                    <a:pt x="448" y="451"/>
                  </a:lnTo>
                  <a:lnTo>
                    <a:pt x="445" y="449"/>
                  </a:lnTo>
                  <a:lnTo>
                    <a:pt x="445" y="447"/>
                  </a:lnTo>
                  <a:lnTo>
                    <a:pt x="447" y="447"/>
                  </a:lnTo>
                  <a:lnTo>
                    <a:pt x="448" y="447"/>
                  </a:lnTo>
                  <a:lnTo>
                    <a:pt x="448" y="446"/>
                  </a:lnTo>
                  <a:lnTo>
                    <a:pt x="449" y="446"/>
                  </a:lnTo>
                  <a:lnTo>
                    <a:pt x="449" y="445"/>
                  </a:lnTo>
                  <a:lnTo>
                    <a:pt x="448" y="443"/>
                  </a:lnTo>
                  <a:lnTo>
                    <a:pt x="449" y="442"/>
                  </a:lnTo>
                  <a:lnTo>
                    <a:pt x="448" y="440"/>
                  </a:lnTo>
                  <a:lnTo>
                    <a:pt x="448" y="442"/>
                  </a:lnTo>
                  <a:lnTo>
                    <a:pt x="448" y="443"/>
                  </a:lnTo>
                  <a:lnTo>
                    <a:pt x="444" y="443"/>
                  </a:lnTo>
                  <a:lnTo>
                    <a:pt x="443" y="442"/>
                  </a:lnTo>
                  <a:lnTo>
                    <a:pt x="442" y="441"/>
                  </a:lnTo>
                  <a:lnTo>
                    <a:pt x="441" y="441"/>
                  </a:lnTo>
                  <a:lnTo>
                    <a:pt x="439" y="440"/>
                  </a:lnTo>
                  <a:lnTo>
                    <a:pt x="438" y="440"/>
                  </a:lnTo>
                  <a:lnTo>
                    <a:pt x="437" y="440"/>
                  </a:lnTo>
                  <a:lnTo>
                    <a:pt x="436" y="440"/>
                  </a:lnTo>
                  <a:lnTo>
                    <a:pt x="435" y="439"/>
                  </a:lnTo>
                  <a:lnTo>
                    <a:pt x="435" y="437"/>
                  </a:lnTo>
                  <a:lnTo>
                    <a:pt x="435" y="435"/>
                  </a:lnTo>
                  <a:lnTo>
                    <a:pt x="433" y="433"/>
                  </a:lnTo>
                  <a:lnTo>
                    <a:pt x="435" y="430"/>
                  </a:lnTo>
                  <a:lnTo>
                    <a:pt x="436" y="431"/>
                  </a:lnTo>
                  <a:lnTo>
                    <a:pt x="435" y="430"/>
                  </a:lnTo>
                  <a:lnTo>
                    <a:pt x="436" y="431"/>
                  </a:lnTo>
                  <a:lnTo>
                    <a:pt x="437" y="430"/>
                  </a:lnTo>
                  <a:lnTo>
                    <a:pt x="438" y="429"/>
                  </a:lnTo>
                  <a:lnTo>
                    <a:pt x="439" y="429"/>
                  </a:lnTo>
                  <a:lnTo>
                    <a:pt x="438" y="429"/>
                  </a:lnTo>
                  <a:lnTo>
                    <a:pt x="438" y="428"/>
                  </a:lnTo>
                  <a:lnTo>
                    <a:pt x="438" y="427"/>
                  </a:lnTo>
                  <a:lnTo>
                    <a:pt x="439" y="428"/>
                  </a:lnTo>
                  <a:lnTo>
                    <a:pt x="438" y="425"/>
                  </a:lnTo>
                  <a:lnTo>
                    <a:pt x="438" y="424"/>
                  </a:lnTo>
                  <a:lnTo>
                    <a:pt x="441" y="421"/>
                  </a:lnTo>
                  <a:lnTo>
                    <a:pt x="441" y="423"/>
                  </a:lnTo>
                  <a:lnTo>
                    <a:pt x="442" y="423"/>
                  </a:lnTo>
                  <a:lnTo>
                    <a:pt x="442" y="424"/>
                  </a:lnTo>
                  <a:lnTo>
                    <a:pt x="442" y="425"/>
                  </a:lnTo>
                  <a:lnTo>
                    <a:pt x="442" y="427"/>
                  </a:lnTo>
                  <a:lnTo>
                    <a:pt x="443" y="428"/>
                  </a:lnTo>
                  <a:lnTo>
                    <a:pt x="443" y="427"/>
                  </a:lnTo>
                  <a:lnTo>
                    <a:pt x="444" y="429"/>
                  </a:lnTo>
                  <a:lnTo>
                    <a:pt x="442" y="429"/>
                  </a:lnTo>
                  <a:lnTo>
                    <a:pt x="441" y="429"/>
                  </a:lnTo>
                  <a:lnTo>
                    <a:pt x="442" y="430"/>
                  </a:lnTo>
                  <a:lnTo>
                    <a:pt x="442" y="431"/>
                  </a:lnTo>
                  <a:lnTo>
                    <a:pt x="444" y="431"/>
                  </a:lnTo>
                  <a:lnTo>
                    <a:pt x="444" y="430"/>
                  </a:lnTo>
                  <a:lnTo>
                    <a:pt x="445" y="429"/>
                  </a:lnTo>
                  <a:lnTo>
                    <a:pt x="447" y="429"/>
                  </a:lnTo>
                  <a:lnTo>
                    <a:pt x="447" y="431"/>
                  </a:lnTo>
                  <a:lnTo>
                    <a:pt x="448" y="433"/>
                  </a:lnTo>
                  <a:lnTo>
                    <a:pt x="450" y="434"/>
                  </a:lnTo>
                  <a:lnTo>
                    <a:pt x="451" y="431"/>
                  </a:lnTo>
                  <a:lnTo>
                    <a:pt x="451" y="429"/>
                  </a:lnTo>
                  <a:lnTo>
                    <a:pt x="451" y="428"/>
                  </a:lnTo>
                  <a:lnTo>
                    <a:pt x="450" y="428"/>
                  </a:lnTo>
                  <a:lnTo>
                    <a:pt x="451" y="425"/>
                  </a:lnTo>
                  <a:lnTo>
                    <a:pt x="453" y="424"/>
                  </a:lnTo>
                  <a:lnTo>
                    <a:pt x="451" y="422"/>
                  </a:lnTo>
                  <a:lnTo>
                    <a:pt x="450" y="421"/>
                  </a:lnTo>
                  <a:lnTo>
                    <a:pt x="448" y="421"/>
                  </a:lnTo>
                  <a:lnTo>
                    <a:pt x="445" y="421"/>
                  </a:lnTo>
                  <a:lnTo>
                    <a:pt x="442" y="421"/>
                  </a:lnTo>
                  <a:lnTo>
                    <a:pt x="441" y="421"/>
                  </a:lnTo>
                  <a:lnTo>
                    <a:pt x="438" y="422"/>
                  </a:lnTo>
                  <a:lnTo>
                    <a:pt x="436" y="422"/>
                  </a:lnTo>
                  <a:lnTo>
                    <a:pt x="435" y="421"/>
                  </a:lnTo>
                  <a:lnTo>
                    <a:pt x="431" y="418"/>
                  </a:lnTo>
                  <a:lnTo>
                    <a:pt x="429" y="418"/>
                  </a:lnTo>
                  <a:lnTo>
                    <a:pt x="427" y="418"/>
                  </a:lnTo>
                  <a:lnTo>
                    <a:pt x="427" y="419"/>
                  </a:lnTo>
                  <a:lnTo>
                    <a:pt x="429" y="421"/>
                  </a:lnTo>
                  <a:lnTo>
                    <a:pt x="430" y="419"/>
                  </a:lnTo>
                  <a:lnTo>
                    <a:pt x="429" y="421"/>
                  </a:lnTo>
                  <a:lnTo>
                    <a:pt x="429" y="422"/>
                  </a:lnTo>
                  <a:lnTo>
                    <a:pt x="427" y="421"/>
                  </a:lnTo>
                  <a:lnTo>
                    <a:pt x="425" y="422"/>
                  </a:lnTo>
                  <a:lnTo>
                    <a:pt x="424" y="424"/>
                  </a:lnTo>
                  <a:lnTo>
                    <a:pt x="421" y="424"/>
                  </a:lnTo>
                  <a:lnTo>
                    <a:pt x="419" y="424"/>
                  </a:lnTo>
                  <a:lnTo>
                    <a:pt x="418" y="423"/>
                  </a:lnTo>
                  <a:lnTo>
                    <a:pt x="417" y="422"/>
                  </a:lnTo>
                  <a:lnTo>
                    <a:pt x="415" y="422"/>
                  </a:lnTo>
                  <a:lnTo>
                    <a:pt x="414" y="422"/>
                  </a:lnTo>
                  <a:lnTo>
                    <a:pt x="413" y="423"/>
                  </a:lnTo>
                  <a:lnTo>
                    <a:pt x="412" y="423"/>
                  </a:lnTo>
                  <a:lnTo>
                    <a:pt x="411" y="424"/>
                  </a:lnTo>
                  <a:lnTo>
                    <a:pt x="411" y="425"/>
                  </a:lnTo>
                  <a:lnTo>
                    <a:pt x="408" y="425"/>
                  </a:lnTo>
                  <a:lnTo>
                    <a:pt x="407" y="424"/>
                  </a:lnTo>
                  <a:lnTo>
                    <a:pt x="406" y="423"/>
                  </a:lnTo>
                  <a:lnTo>
                    <a:pt x="403" y="425"/>
                  </a:lnTo>
                  <a:lnTo>
                    <a:pt x="402" y="424"/>
                  </a:lnTo>
                  <a:lnTo>
                    <a:pt x="401" y="419"/>
                  </a:lnTo>
                  <a:lnTo>
                    <a:pt x="400" y="418"/>
                  </a:lnTo>
                  <a:lnTo>
                    <a:pt x="397" y="419"/>
                  </a:lnTo>
                  <a:lnTo>
                    <a:pt x="396" y="419"/>
                  </a:lnTo>
                  <a:lnTo>
                    <a:pt x="389" y="421"/>
                  </a:lnTo>
                  <a:lnTo>
                    <a:pt x="386" y="421"/>
                  </a:lnTo>
                  <a:lnTo>
                    <a:pt x="385" y="421"/>
                  </a:lnTo>
                  <a:lnTo>
                    <a:pt x="384" y="422"/>
                  </a:lnTo>
                  <a:lnTo>
                    <a:pt x="380" y="423"/>
                  </a:lnTo>
                  <a:lnTo>
                    <a:pt x="377" y="423"/>
                  </a:lnTo>
                  <a:lnTo>
                    <a:pt x="374" y="423"/>
                  </a:lnTo>
                  <a:lnTo>
                    <a:pt x="374" y="424"/>
                  </a:lnTo>
                  <a:lnTo>
                    <a:pt x="370" y="424"/>
                  </a:lnTo>
                  <a:lnTo>
                    <a:pt x="368" y="423"/>
                  </a:lnTo>
                  <a:lnTo>
                    <a:pt x="364" y="424"/>
                  </a:lnTo>
                  <a:lnTo>
                    <a:pt x="358" y="424"/>
                  </a:lnTo>
                  <a:lnTo>
                    <a:pt x="355" y="425"/>
                  </a:lnTo>
                  <a:lnTo>
                    <a:pt x="355" y="428"/>
                  </a:lnTo>
                  <a:lnTo>
                    <a:pt x="358" y="428"/>
                  </a:lnTo>
                  <a:lnTo>
                    <a:pt x="358" y="430"/>
                  </a:lnTo>
                  <a:lnTo>
                    <a:pt x="359" y="430"/>
                  </a:lnTo>
                  <a:lnTo>
                    <a:pt x="361" y="430"/>
                  </a:lnTo>
                  <a:lnTo>
                    <a:pt x="362" y="430"/>
                  </a:lnTo>
                  <a:lnTo>
                    <a:pt x="364" y="429"/>
                  </a:lnTo>
                  <a:lnTo>
                    <a:pt x="364" y="430"/>
                  </a:lnTo>
                  <a:lnTo>
                    <a:pt x="365" y="429"/>
                  </a:lnTo>
                  <a:lnTo>
                    <a:pt x="366" y="431"/>
                  </a:lnTo>
                  <a:lnTo>
                    <a:pt x="366" y="430"/>
                  </a:lnTo>
                  <a:lnTo>
                    <a:pt x="367" y="431"/>
                  </a:lnTo>
                  <a:lnTo>
                    <a:pt x="367" y="433"/>
                  </a:lnTo>
                  <a:lnTo>
                    <a:pt x="370" y="434"/>
                  </a:lnTo>
                  <a:lnTo>
                    <a:pt x="372" y="435"/>
                  </a:lnTo>
                  <a:lnTo>
                    <a:pt x="372" y="436"/>
                  </a:lnTo>
                  <a:lnTo>
                    <a:pt x="371" y="436"/>
                  </a:lnTo>
                  <a:lnTo>
                    <a:pt x="371" y="439"/>
                  </a:lnTo>
                  <a:lnTo>
                    <a:pt x="371" y="440"/>
                  </a:lnTo>
                  <a:lnTo>
                    <a:pt x="371" y="442"/>
                  </a:lnTo>
                  <a:lnTo>
                    <a:pt x="371" y="443"/>
                  </a:lnTo>
                  <a:lnTo>
                    <a:pt x="370" y="445"/>
                  </a:lnTo>
                  <a:lnTo>
                    <a:pt x="367" y="446"/>
                  </a:lnTo>
                  <a:lnTo>
                    <a:pt x="367" y="447"/>
                  </a:lnTo>
                  <a:lnTo>
                    <a:pt x="366" y="447"/>
                  </a:lnTo>
                  <a:lnTo>
                    <a:pt x="365" y="447"/>
                  </a:lnTo>
                  <a:lnTo>
                    <a:pt x="364" y="447"/>
                  </a:lnTo>
                  <a:lnTo>
                    <a:pt x="361" y="447"/>
                  </a:lnTo>
                  <a:lnTo>
                    <a:pt x="362" y="448"/>
                  </a:lnTo>
                  <a:lnTo>
                    <a:pt x="365" y="449"/>
                  </a:lnTo>
                  <a:lnTo>
                    <a:pt x="368" y="449"/>
                  </a:lnTo>
                  <a:lnTo>
                    <a:pt x="378" y="449"/>
                  </a:lnTo>
                  <a:lnTo>
                    <a:pt x="379" y="449"/>
                  </a:lnTo>
                  <a:lnTo>
                    <a:pt x="379" y="451"/>
                  </a:lnTo>
                  <a:lnTo>
                    <a:pt x="383" y="451"/>
                  </a:lnTo>
                  <a:lnTo>
                    <a:pt x="388" y="452"/>
                  </a:lnTo>
                  <a:lnTo>
                    <a:pt x="389" y="452"/>
                  </a:lnTo>
                  <a:lnTo>
                    <a:pt x="391" y="452"/>
                  </a:lnTo>
                  <a:lnTo>
                    <a:pt x="392" y="452"/>
                  </a:lnTo>
                  <a:lnTo>
                    <a:pt x="392" y="449"/>
                  </a:lnTo>
                  <a:lnTo>
                    <a:pt x="392" y="448"/>
                  </a:lnTo>
                  <a:lnTo>
                    <a:pt x="391" y="449"/>
                  </a:lnTo>
                  <a:lnTo>
                    <a:pt x="390" y="449"/>
                  </a:lnTo>
                  <a:lnTo>
                    <a:pt x="390" y="448"/>
                  </a:lnTo>
                  <a:lnTo>
                    <a:pt x="390" y="447"/>
                  </a:lnTo>
                  <a:lnTo>
                    <a:pt x="391" y="446"/>
                  </a:lnTo>
                  <a:lnTo>
                    <a:pt x="396" y="447"/>
                  </a:lnTo>
                  <a:lnTo>
                    <a:pt x="396" y="446"/>
                  </a:lnTo>
                  <a:lnTo>
                    <a:pt x="398" y="446"/>
                  </a:lnTo>
                  <a:lnTo>
                    <a:pt x="397" y="447"/>
                  </a:lnTo>
                  <a:lnTo>
                    <a:pt x="400" y="448"/>
                  </a:lnTo>
                  <a:lnTo>
                    <a:pt x="401" y="446"/>
                  </a:lnTo>
                  <a:lnTo>
                    <a:pt x="405" y="445"/>
                  </a:lnTo>
                  <a:lnTo>
                    <a:pt x="403" y="443"/>
                  </a:lnTo>
                  <a:lnTo>
                    <a:pt x="405" y="443"/>
                  </a:lnTo>
                  <a:lnTo>
                    <a:pt x="407" y="442"/>
                  </a:lnTo>
                  <a:lnTo>
                    <a:pt x="408" y="442"/>
                  </a:lnTo>
                  <a:lnTo>
                    <a:pt x="409" y="441"/>
                  </a:lnTo>
                  <a:lnTo>
                    <a:pt x="413" y="441"/>
                  </a:lnTo>
                  <a:lnTo>
                    <a:pt x="414" y="442"/>
                  </a:lnTo>
                  <a:lnTo>
                    <a:pt x="415" y="442"/>
                  </a:lnTo>
                  <a:lnTo>
                    <a:pt x="417" y="443"/>
                  </a:lnTo>
                  <a:lnTo>
                    <a:pt x="418" y="445"/>
                  </a:lnTo>
                  <a:lnTo>
                    <a:pt x="419" y="445"/>
                  </a:lnTo>
                  <a:lnTo>
                    <a:pt x="419" y="447"/>
                  </a:lnTo>
                  <a:lnTo>
                    <a:pt x="421" y="448"/>
                  </a:lnTo>
                  <a:lnTo>
                    <a:pt x="421" y="449"/>
                  </a:lnTo>
                  <a:lnTo>
                    <a:pt x="423" y="448"/>
                  </a:lnTo>
                  <a:lnTo>
                    <a:pt x="423" y="451"/>
                  </a:lnTo>
                  <a:lnTo>
                    <a:pt x="424" y="451"/>
                  </a:lnTo>
                  <a:lnTo>
                    <a:pt x="426" y="452"/>
                  </a:lnTo>
                  <a:lnTo>
                    <a:pt x="427" y="454"/>
                  </a:lnTo>
                  <a:lnTo>
                    <a:pt x="429" y="453"/>
                  </a:lnTo>
                  <a:lnTo>
                    <a:pt x="430" y="452"/>
                  </a:lnTo>
                  <a:lnTo>
                    <a:pt x="432" y="452"/>
                  </a:lnTo>
                  <a:lnTo>
                    <a:pt x="432" y="453"/>
                  </a:lnTo>
                  <a:lnTo>
                    <a:pt x="433" y="453"/>
                  </a:lnTo>
                  <a:lnTo>
                    <a:pt x="436" y="453"/>
                  </a:lnTo>
                  <a:lnTo>
                    <a:pt x="437" y="454"/>
                  </a:lnTo>
                  <a:lnTo>
                    <a:pt x="437" y="455"/>
                  </a:lnTo>
                  <a:lnTo>
                    <a:pt x="437" y="458"/>
                  </a:lnTo>
                  <a:lnTo>
                    <a:pt x="439" y="458"/>
                  </a:lnTo>
                  <a:lnTo>
                    <a:pt x="439" y="459"/>
                  </a:lnTo>
                  <a:lnTo>
                    <a:pt x="438" y="461"/>
                  </a:lnTo>
                  <a:lnTo>
                    <a:pt x="438" y="463"/>
                  </a:lnTo>
                  <a:lnTo>
                    <a:pt x="437" y="463"/>
                  </a:lnTo>
                  <a:lnTo>
                    <a:pt x="439" y="464"/>
                  </a:lnTo>
                  <a:lnTo>
                    <a:pt x="442" y="466"/>
                  </a:lnTo>
                  <a:lnTo>
                    <a:pt x="443" y="466"/>
                  </a:lnTo>
                  <a:lnTo>
                    <a:pt x="444" y="466"/>
                  </a:lnTo>
                  <a:lnTo>
                    <a:pt x="445" y="465"/>
                  </a:lnTo>
                  <a:lnTo>
                    <a:pt x="447" y="466"/>
                  </a:lnTo>
                  <a:lnTo>
                    <a:pt x="447" y="467"/>
                  </a:lnTo>
                  <a:lnTo>
                    <a:pt x="449" y="470"/>
                  </a:lnTo>
                  <a:lnTo>
                    <a:pt x="447" y="471"/>
                  </a:lnTo>
                  <a:lnTo>
                    <a:pt x="447" y="472"/>
                  </a:lnTo>
                  <a:lnTo>
                    <a:pt x="447" y="473"/>
                  </a:lnTo>
                  <a:lnTo>
                    <a:pt x="448" y="472"/>
                  </a:lnTo>
                  <a:lnTo>
                    <a:pt x="449" y="472"/>
                  </a:lnTo>
                  <a:lnTo>
                    <a:pt x="450" y="475"/>
                  </a:lnTo>
                  <a:lnTo>
                    <a:pt x="450" y="476"/>
                  </a:lnTo>
                  <a:lnTo>
                    <a:pt x="450" y="478"/>
                  </a:lnTo>
                  <a:lnTo>
                    <a:pt x="451" y="480"/>
                  </a:lnTo>
                  <a:lnTo>
                    <a:pt x="453" y="481"/>
                  </a:lnTo>
                  <a:lnTo>
                    <a:pt x="453" y="482"/>
                  </a:lnTo>
                  <a:lnTo>
                    <a:pt x="455" y="483"/>
                  </a:lnTo>
                  <a:lnTo>
                    <a:pt x="453" y="482"/>
                  </a:lnTo>
                  <a:lnTo>
                    <a:pt x="453" y="483"/>
                  </a:lnTo>
                  <a:lnTo>
                    <a:pt x="453" y="484"/>
                  </a:lnTo>
                  <a:lnTo>
                    <a:pt x="450" y="482"/>
                  </a:lnTo>
                  <a:lnTo>
                    <a:pt x="450" y="484"/>
                  </a:lnTo>
                  <a:lnTo>
                    <a:pt x="451" y="486"/>
                  </a:lnTo>
                  <a:lnTo>
                    <a:pt x="453" y="488"/>
                  </a:lnTo>
                  <a:lnTo>
                    <a:pt x="454" y="488"/>
                  </a:lnTo>
                  <a:lnTo>
                    <a:pt x="455" y="489"/>
                  </a:lnTo>
                  <a:lnTo>
                    <a:pt x="456" y="492"/>
                  </a:lnTo>
                  <a:lnTo>
                    <a:pt x="459" y="494"/>
                  </a:lnTo>
                  <a:lnTo>
                    <a:pt x="460" y="494"/>
                  </a:lnTo>
                  <a:lnTo>
                    <a:pt x="460" y="496"/>
                  </a:lnTo>
                  <a:lnTo>
                    <a:pt x="459" y="498"/>
                  </a:lnTo>
                  <a:lnTo>
                    <a:pt x="459" y="501"/>
                  </a:lnTo>
                  <a:lnTo>
                    <a:pt x="456" y="501"/>
                  </a:lnTo>
                  <a:lnTo>
                    <a:pt x="454" y="501"/>
                  </a:lnTo>
                  <a:lnTo>
                    <a:pt x="453" y="501"/>
                  </a:lnTo>
                  <a:lnTo>
                    <a:pt x="451" y="500"/>
                  </a:lnTo>
                  <a:lnTo>
                    <a:pt x="451" y="499"/>
                  </a:lnTo>
                  <a:lnTo>
                    <a:pt x="450" y="499"/>
                  </a:lnTo>
                  <a:lnTo>
                    <a:pt x="449" y="499"/>
                  </a:lnTo>
                  <a:lnTo>
                    <a:pt x="447" y="496"/>
                  </a:lnTo>
                  <a:lnTo>
                    <a:pt x="445" y="496"/>
                  </a:lnTo>
                  <a:lnTo>
                    <a:pt x="444" y="496"/>
                  </a:lnTo>
                  <a:lnTo>
                    <a:pt x="443" y="496"/>
                  </a:lnTo>
                  <a:lnTo>
                    <a:pt x="443" y="495"/>
                  </a:lnTo>
                  <a:lnTo>
                    <a:pt x="442" y="494"/>
                  </a:lnTo>
                  <a:lnTo>
                    <a:pt x="442" y="492"/>
                  </a:lnTo>
                  <a:lnTo>
                    <a:pt x="441" y="492"/>
                  </a:lnTo>
                  <a:lnTo>
                    <a:pt x="439" y="493"/>
                  </a:lnTo>
                  <a:lnTo>
                    <a:pt x="442" y="494"/>
                  </a:lnTo>
                  <a:lnTo>
                    <a:pt x="442" y="495"/>
                  </a:lnTo>
                  <a:lnTo>
                    <a:pt x="438" y="494"/>
                  </a:lnTo>
                  <a:lnTo>
                    <a:pt x="439" y="495"/>
                  </a:lnTo>
                  <a:lnTo>
                    <a:pt x="436" y="496"/>
                  </a:lnTo>
                  <a:lnTo>
                    <a:pt x="438" y="495"/>
                  </a:lnTo>
                  <a:lnTo>
                    <a:pt x="436" y="492"/>
                  </a:lnTo>
                  <a:lnTo>
                    <a:pt x="436" y="493"/>
                  </a:lnTo>
                  <a:lnTo>
                    <a:pt x="435" y="492"/>
                  </a:lnTo>
                  <a:lnTo>
                    <a:pt x="435" y="493"/>
                  </a:lnTo>
                  <a:lnTo>
                    <a:pt x="432" y="492"/>
                  </a:lnTo>
                  <a:lnTo>
                    <a:pt x="433" y="492"/>
                  </a:lnTo>
                  <a:lnTo>
                    <a:pt x="432" y="490"/>
                  </a:lnTo>
                  <a:lnTo>
                    <a:pt x="431" y="490"/>
                  </a:lnTo>
                  <a:lnTo>
                    <a:pt x="429" y="489"/>
                  </a:lnTo>
                  <a:lnTo>
                    <a:pt x="429" y="490"/>
                  </a:lnTo>
                  <a:lnTo>
                    <a:pt x="426" y="489"/>
                  </a:lnTo>
                  <a:lnTo>
                    <a:pt x="425" y="489"/>
                  </a:lnTo>
                  <a:lnTo>
                    <a:pt x="426" y="489"/>
                  </a:lnTo>
                  <a:lnTo>
                    <a:pt x="426" y="487"/>
                  </a:lnTo>
                  <a:lnTo>
                    <a:pt x="425" y="488"/>
                  </a:lnTo>
                  <a:lnTo>
                    <a:pt x="424" y="489"/>
                  </a:lnTo>
                  <a:lnTo>
                    <a:pt x="423" y="489"/>
                  </a:lnTo>
                  <a:lnTo>
                    <a:pt x="424" y="490"/>
                  </a:lnTo>
                  <a:lnTo>
                    <a:pt x="425" y="493"/>
                  </a:lnTo>
                  <a:lnTo>
                    <a:pt x="426" y="494"/>
                  </a:lnTo>
                  <a:lnTo>
                    <a:pt x="424" y="493"/>
                  </a:lnTo>
                  <a:lnTo>
                    <a:pt x="423" y="494"/>
                  </a:lnTo>
                  <a:lnTo>
                    <a:pt x="421" y="493"/>
                  </a:lnTo>
                  <a:lnTo>
                    <a:pt x="419" y="494"/>
                  </a:lnTo>
                  <a:lnTo>
                    <a:pt x="418" y="496"/>
                  </a:lnTo>
                  <a:lnTo>
                    <a:pt x="415" y="496"/>
                  </a:lnTo>
                  <a:lnTo>
                    <a:pt x="414" y="498"/>
                  </a:lnTo>
                  <a:lnTo>
                    <a:pt x="413" y="498"/>
                  </a:lnTo>
                  <a:lnTo>
                    <a:pt x="413" y="496"/>
                  </a:lnTo>
                  <a:lnTo>
                    <a:pt x="413" y="498"/>
                  </a:lnTo>
                  <a:lnTo>
                    <a:pt x="413" y="499"/>
                  </a:lnTo>
                  <a:lnTo>
                    <a:pt x="414" y="499"/>
                  </a:lnTo>
                  <a:lnTo>
                    <a:pt x="417" y="500"/>
                  </a:lnTo>
                  <a:lnTo>
                    <a:pt x="415" y="501"/>
                  </a:lnTo>
                  <a:lnTo>
                    <a:pt x="413" y="500"/>
                  </a:lnTo>
                  <a:lnTo>
                    <a:pt x="412" y="501"/>
                  </a:lnTo>
                  <a:lnTo>
                    <a:pt x="411" y="501"/>
                  </a:lnTo>
                  <a:lnTo>
                    <a:pt x="409" y="501"/>
                  </a:lnTo>
                  <a:lnTo>
                    <a:pt x="408" y="500"/>
                  </a:lnTo>
                  <a:lnTo>
                    <a:pt x="406" y="501"/>
                  </a:lnTo>
                  <a:lnTo>
                    <a:pt x="405" y="500"/>
                  </a:lnTo>
                  <a:lnTo>
                    <a:pt x="402" y="499"/>
                  </a:lnTo>
                  <a:lnTo>
                    <a:pt x="400" y="500"/>
                  </a:lnTo>
                  <a:lnTo>
                    <a:pt x="401" y="502"/>
                  </a:lnTo>
                  <a:lnTo>
                    <a:pt x="401" y="504"/>
                  </a:lnTo>
                  <a:lnTo>
                    <a:pt x="398" y="504"/>
                  </a:lnTo>
                  <a:lnTo>
                    <a:pt x="397" y="502"/>
                  </a:lnTo>
                  <a:lnTo>
                    <a:pt x="396" y="505"/>
                  </a:lnTo>
                  <a:lnTo>
                    <a:pt x="396" y="504"/>
                  </a:lnTo>
                  <a:lnTo>
                    <a:pt x="395" y="504"/>
                  </a:lnTo>
                  <a:lnTo>
                    <a:pt x="394" y="504"/>
                  </a:lnTo>
                  <a:lnTo>
                    <a:pt x="394" y="505"/>
                  </a:lnTo>
                  <a:lnTo>
                    <a:pt x="392" y="502"/>
                  </a:lnTo>
                  <a:lnTo>
                    <a:pt x="392" y="501"/>
                  </a:lnTo>
                  <a:lnTo>
                    <a:pt x="392" y="499"/>
                  </a:lnTo>
                  <a:lnTo>
                    <a:pt x="395" y="500"/>
                  </a:lnTo>
                  <a:lnTo>
                    <a:pt x="395" y="498"/>
                  </a:lnTo>
                  <a:lnTo>
                    <a:pt x="395" y="496"/>
                  </a:lnTo>
                  <a:lnTo>
                    <a:pt x="394" y="498"/>
                  </a:lnTo>
                  <a:lnTo>
                    <a:pt x="394" y="499"/>
                  </a:lnTo>
                  <a:lnTo>
                    <a:pt x="391" y="498"/>
                  </a:lnTo>
                  <a:lnTo>
                    <a:pt x="390" y="495"/>
                  </a:lnTo>
                  <a:lnTo>
                    <a:pt x="389" y="495"/>
                  </a:lnTo>
                  <a:lnTo>
                    <a:pt x="388" y="493"/>
                  </a:lnTo>
                  <a:lnTo>
                    <a:pt x="389" y="492"/>
                  </a:lnTo>
                  <a:lnTo>
                    <a:pt x="390" y="493"/>
                  </a:lnTo>
                  <a:lnTo>
                    <a:pt x="390" y="492"/>
                  </a:lnTo>
                  <a:lnTo>
                    <a:pt x="391" y="492"/>
                  </a:lnTo>
                  <a:lnTo>
                    <a:pt x="392" y="492"/>
                  </a:lnTo>
                  <a:lnTo>
                    <a:pt x="396" y="493"/>
                  </a:lnTo>
                  <a:lnTo>
                    <a:pt x="395" y="490"/>
                  </a:lnTo>
                  <a:lnTo>
                    <a:pt x="396" y="490"/>
                  </a:lnTo>
                  <a:lnTo>
                    <a:pt x="396" y="489"/>
                  </a:lnTo>
                  <a:lnTo>
                    <a:pt x="397" y="488"/>
                  </a:lnTo>
                  <a:lnTo>
                    <a:pt x="398" y="489"/>
                  </a:lnTo>
                  <a:lnTo>
                    <a:pt x="398" y="487"/>
                  </a:lnTo>
                  <a:lnTo>
                    <a:pt x="397" y="486"/>
                  </a:lnTo>
                  <a:lnTo>
                    <a:pt x="398" y="484"/>
                  </a:lnTo>
                  <a:lnTo>
                    <a:pt x="398" y="483"/>
                  </a:lnTo>
                  <a:lnTo>
                    <a:pt x="398" y="482"/>
                  </a:lnTo>
                  <a:lnTo>
                    <a:pt x="400" y="480"/>
                  </a:lnTo>
                  <a:lnTo>
                    <a:pt x="402" y="477"/>
                  </a:lnTo>
                  <a:lnTo>
                    <a:pt x="401" y="477"/>
                  </a:lnTo>
                  <a:lnTo>
                    <a:pt x="400" y="478"/>
                  </a:lnTo>
                  <a:lnTo>
                    <a:pt x="398" y="476"/>
                  </a:lnTo>
                  <a:lnTo>
                    <a:pt x="397" y="476"/>
                  </a:lnTo>
                  <a:lnTo>
                    <a:pt x="394" y="475"/>
                  </a:lnTo>
                  <a:lnTo>
                    <a:pt x="395" y="473"/>
                  </a:lnTo>
                  <a:lnTo>
                    <a:pt x="395" y="472"/>
                  </a:lnTo>
                  <a:lnTo>
                    <a:pt x="396" y="473"/>
                  </a:lnTo>
                  <a:lnTo>
                    <a:pt x="397" y="471"/>
                  </a:lnTo>
                  <a:lnTo>
                    <a:pt x="397" y="472"/>
                  </a:lnTo>
                  <a:lnTo>
                    <a:pt x="396" y="470"/>
                  </a:lnTo>
                  <a:lnTo>
                    <a:pt x="396" y="469"/>
                  </a:lnTo>
                  <a:lnTo>
                    <a:pt x="397" y="469"/>
                  </a:lnTo>
                  <a:lnTo>
                    <a:pt x="397" y="467"/>
                  </a:lnTo>
                  <a:lnTo>
                    <a:pt x="397" y="466"/>
                  </a:lnTo>
                  <a:lnTo>
                    <a:pt x="398" y="465"/>
                  </a:lnTo>
                  <a:lnTo>
                    <a:pt x="400" y="465"/>
                  </a:lnTo>
                  <a:lnTo>
                    <a:pt x="398" y="465"/>
                  </a:lnTo>
                  <a:lnTo>
                    <a:pt x="397" y="464"/>
                  </a:lnTo>
                  <a:lnTo>
                    <a:pt x="397" y="463"/>
                  </a:lnTo>
                  <a:lnTo>
                    <a:pt x="395" y="459"/>
                  </a:lnTo>
                  <a:lnTo>
                    <a:pt x="397" y="458"/>
                  </a:lnTo>
                  <a:lnTo>
                    <a:pt x="395" y="457"/>
                  </a:lnTo>
                  <a:lnTo>
                    <a:pt x="394" y="458"/>
                  </a:lnTo>
                  <a:lnTo>
                    <a:pt x="392" y="459"/>
                  </a:lnTo>
                  <a:lnTo>
                    <a:pt x="392" y="458"/>
                  </a:lnTo>
                  <a:lnTo>
                    <a:pt x="391" y="458"/>
                  </a:lnTo>
                  <a:lnTo>
                    <a:pt x="391" y="455"/>
                  </a:lnTo>
                  <a:lnTo>
                    <a:pt x="389" y="455"/>
                  </a:lnTo>
                  <a:lnTo>
                    <a:pt x="379" y="453"/>
                  </a:lnTo>
                  <a:lnTo>
                    <a:pt x="377" y="453"/>
                  </a:lnTo>
                  <a:lnTo>
                    <a:pt x="376" y="453"/>
                  </a:lnTo>
                  <a:lnTo>
                    <a:pt x="372" y="453"/>
                  </a:lnTo>
                  <a:lnTo>
                    <a:pt x="370" y="454"/>
                  </a:lnTo>
                  <a:lnTo>
                    <a:pt x="371" y="455"/>
                  </a:lnTo>
                  <a:lnTo>
                    <a:pt x="370" y="455"/>
                  </a:lnTo>
                  <a:lnTo>
                    <a:pt x="368" y="455"/>
                  </a:lnTo>
                  <a:lnTo>
                    <a:pt x="366" y="455"/>
                  </a:lnTo>
                  <a:lnTo>
                    <a:pt x="365" y="455"/>
                  </a:lnTo>
                  <a:lnTo>
                    <a:pt x="364" y="455"/>
                  </a:lnTo>
                  <a:lnTo>
                    <a:pt x="365" y="457"/>
                  </a:lnTo>
                  <a:lnTo>
                    <a:pt x="362" y="458"/>
                  </a:lnTo>
                  <a:lnTo>
                    <a:pt x="360" y="458"/>
                  </a:lnTo>
                  <a:lnTo>
                    <a:pt x="358" y="458"/>
                  </a:lnTo>
                  <a:lnTo>
                    <a:pt x="356" y="460"/>
                  </a:lnTo>
                  <a:lnTo>
                    <a:pt x="355" y="460"/>
                  </a:lnTo>
                  <a:lnTo>
                    <a:pt x="354" y="464"/>
                  </a:lnTo>
                  <a:lnTo>
                    <a:pt x="350" y="464"/>
                  </a:lnTo>
                  <a:lnTo>
                    <a:pt x="349" y="465"/>
                  </a:lnTo>
                  <a:lnTo>
                    <a:pt x="349" y="464"/>
                  </a:lnTo>
                  <a:lnTo>
                    <a:pt x="348" y="463"/>
                  </a:lnTo>
                  <a:lnTo>
                    <a:pt x="347" y="461"/>
                  </a:lnTo>
                  <a:lnTo>
                    <a:pt x="344" y="460"/>
                  </a:lnTo>
                  <a:lnTo>
                    <a:pt x="341" y="460"/>
                  </a:lnTo>
                  <a:lnTo>
                    <a:pt x="338" y="461"/>
                  </a:lnTo>
                  <a:lnTo>
                    <a:pt x="336" y="463"/>
                  </a:lnTo>
                  <a:lnTo>
                    <a:pt x="333" y="464"/>
                  </a:lnTo>
                  <a:lnTo>
                    <a:pt x="337" y="465"/>
                  </a:lnTo>
                  <a:lnTo>
                    <a:pt x="338" y="463"/>
                  </a:lnTo>
                  <a:lnTo>
                    <a:pt x="341" y="464"/>
                  </a:lnTo>
                  <a:lnTo>
                    <a:pt x="342" y="465"/>
                  </a:lnTo>
                  <a:lnTo>
                    <a:pt x="341" y="466"/>
                  </a:lnTo>
                  <a:lnTo>
                    <a:pt x="340" y="467"/>
                  </a:lnTo>
                  <a:lnTo>
                    <a:pt x="341" y="469"/>
                  </a:lnTo>
                  <a:lnTo>
                    <a:pt x="341" y="471"/>
                  </a:lnTo>
                  <a:lnTo>
                    <a:pt x="341" y="472"/>
                  </a:lnTo>
                  <a:lnTo>
                    <a:pt x="340" y="473"/>
                  </a:lnTo>
                  <a:lnTo>
                    <a:pt x="341" y="473"/>
                  </a:lnTo>
                  <a:lnTo>
                    <a:pt x="342" y="473"/>
                  </a:lnTo>
                  <a:lnTo>
                    <a:pt x="342" y="476"/>
                  </a:lnTo>
                  <a:lnTo>
                    <a:pt x="342" y="477"/>
                  </a:lnTo>
                  <a:lnTo>
                    <a:pt x="340" y="477"/>
                  </a:lnTo>
                  <a:lnTo>
                    <a:pt x="338" y="478"/>
                  </a:lnTo>
                  <a:lnTo>
                    <a:pt x="341" y="481"/>
                  </a:lnTo>
                  <a:lnTo>
                    <a:pt x="338" y="482"/>
                  </a:lnTo>
                  <a:lnTo>
                    <a:pt x="337" y="482"/>
                  </a:lnTo>
                  <a:lnTo>
                    <a:pt x="336" y="481"/>
                  </a:lnTo>
                  <a:lnTo>
                    <a:pt x="336" y="482"/>
                  </a:lnTo>
                  <a:lnTo>
                    <a:pt x="335" y="483"/>
                  </a:lnTo>
                  <a:lnTo>
                    <a:pt x="337" y="483"/>
                  </a:lnTo>
                  <a:lnTo>
                    <a:pt x="340" y="483"/>
                  </a:lnTo>
                  <a:lnTo>
                    <a:pt x="340" y="484"/>
                  </a:lnTo>
                  <a:lnTo>
                    <a:pt x="338" y="484"/>
                  </a:lnTo>
                  <a:lnTo>
                    <a:pt x="336" y="486"/>
                  </a:lnTo>
                  <a:lnTo>
                    <a:pt x="336" y="487"/>
                  </a:lnTo>
                  <a:lnTo>
                    <a:pt x="335" y="488"/>
                  </a:lnTo>
                  <a:lnTo>
                    <a:pt x="336" y="488"/>
                  </a:lnTo>
                  <a:lnTo>
                    <a:pt x="336" y="489"/>
                  </a:lnTo>
                  <a:lnTo>
                    <a:pt x="336" y="490"/>
                  </a:lnTo>
                  <a:lnTo>
                    <a:pt x="335" y="490"/>
                  </a:lnTo>
                  <a:lnTo>
                    <a:pt x="332" y="490"/>
                  </a:lnTo>
                  <a:lnTo>
                    <a:pt x="332" y="487"/>
                  </a:lnTo>
                  <a:lnTo>
                    <a:pt x="331" y="488"/>
                  </a:lnTo>
                  <a:lnTo>
                    <a:pt x="329" y="489"/>
                  </a:lnTo>
                  <a:lnTo>
                    <a:pt x="329" y="488"/>
                  </a:lnTo>
                  <a:lnTo>
                    <a:pt x="329" y="487"/>
                  </a:lnTo>
                  <a:lnTo>
                    <a:pt x="326" y="486"/>
                  </a:lnTo>
                  <a:lnTo>
                    <a:pt x="329" y="486"/>
                  </a:lnTo>
                  <a:lnTo>
                    <a:pt x="331" y="487"/>
                  </a:lnTo>
                  <a:lnTo>
                    <a:pt x="330" y="486"/>
                  </a:lnTo>
                  <a:lnTo>
                    <a:pt x="330" y="483"/>
                  </a:lnTo>
                  <a:lnTo>
                    <a:pt x="329" y="484"/>
                  </a:lnTo>
                  <a:lnTo>
                    <a:pt x="329" y="482"/>
                  </a:lnTo>
                  <a:lnTo>
                    <a:pt x="329" y="481"/>
                  </a:lnTo>
                  <a:lnTo>
                    <a:pt x="330" y="480"/>
                  </a:lnTo>
                  <a:lnTo>
                    <a:pt x="327" y="482"/>
                  </a:lnTo>
                  <a:lnTo>
                    <a:pt x="325" y="483"/>
                  </a:lnTo>
                  <a:lnTo>
                    <a:pt x="324" y="484"/>
                  </a:lnTo>
                  <a:lnTo>
                    <a:pt x="321" y="487"/>
                  </a:lnTo>
                  <a:lnTo>
                    <a:pt x="318" y="492"/>
                  </a:lnTo>
                  <a:lnTo>
                    <a:pt x="317" y="496"/>
                  </a:lnTo>
                  <a:lnTo>
                    <a:pt x="320" y="500"/>
                  </a:lnTo>
                  <a:lnTo>
                    <a:pt x="326" y="499"/>
                  </a:lnTo>
                  <a:lnTo>
                    <a:pt x="330" y="498"/>
                  </a:lnTo>
                  <a:lnTo>
                    <a:pt x="332" y="496"/>
                  </a:lnTo>
                  <a:lnTo>
                    <a:pt x="336" y="496"/>
                  </a:lnTo>
                  <a:lnTo>
                    <a:pt x="340" y="496"/>
                  </a:lnTo>
                  <a:lnTo>
                    <a:pt x="346" y="494"/>
                  </a:lnTo>
                  <a:lnTo>
                    <a:pt x="360" y="494"/>
                  </a:lnTo>
                  <a:lnTo>
                    <a:pt x="368" y="493"/>
                  </a:lnTo>
                  <a:lnTo>
                    <a:pt x="370" y="492"/>
                  </a:lnTo>
                  <a:lnTo>
                    <a:pt x="371" y="489"/>
                  </a:lnTo>
                  <a:lnTo>
                    <a:pt x="372" y="489"/>
                  </a:lnTo>
                  <a:lnTo>
                    <a:pt x="372" y="492"/>
                  </a:lnTo>
                  <a:lnTo>
                    <a:pt x="374" y="492"/>
                  </a:lnTo>
                  <a:lnTo>
                    <a:pt x="376" y="493"/>
                  </a:lnTo>
                  <a:lnTo>
                    <a:pt x="373" y="494"/>
                  </a:lnTo>
                  <a:lnTo>
                    <a:pt x="370" y="495"/>
                  </a:lnTo>
                  <a:lnTo>
                    <a:pt x="366" y="496"/>
                  </a:lnTo>
                  <a:lnTo>
                    <a:pt x="358" y="496"/>
                  </a:lnTo>
                  <a:lnTo>
                    <a:pt x="353" y="498"/>
                  </a:lnTo>
                  <a:lnTo>
                    <a:pt x="348" y="498"/>
                  </a:lnTo>
                  <a:lnTo>
                    <a:pt x="344" y="499"/>
                  </a:lnTo>
                  <a:lnTo>
                    <a:pt x="341" y="499"/>
                  </a:lnTo>
                  <a:lnTo>
                    <a:pt x="338" y="501"/>
                  </a:lnTo>
                  <a:lnTo>
                    <a:pt x="333" y="502"/>
                  </a:lnTo>
                  <a:lnTo>
                    <a:pt x="329" y="504"/>
                  </a:lnTo>
                  <a:lnTo>
                    <a:pt x="324" y="506"/>
                  </a:lnTo>
                  <a:lnTo>
                    <a:pt x="318" y="508"/>
                  </a:lnTo>
                  <a:lnTo>
                    <a:pt x="319" y="512"/>
                  </a:lnTo>
                  <a:lnTo>
                    <a:pt x="319" y="514"/>
                  </a:lnTo>
                  <a:lnTo>
                    <a:pt x="320" y="517"/>
                  </a:lnTo>
                  <a:lnTo>
                    <a:pt x="320" y="522"/>
                  </a:lnTo>
                  <a:lnTo>
                    <a:pt x="319" y="524"/>
                  </a:lnTo>
                  <a:lnTo>
                    <a:pt x="318" y="531"/>
                  </a:lnTo>
                  <a:lnTo>
                    <a:pt x="317" y="536"/>
                  </a:lnTo>
                  <a:lnTo>
                    <a:pt x="317" y="541"/>
                  </a:lnTo>
                  <a:lnTo>
                    <a:pt x="318" y="550"/>
                  </a:lnTo>
                  <a:lnTo>
                    <a:pt x="318" y="554"/>
                  </a:lnTo>
                  <a:lnTo>
                    <a:pt x="318" y="576"/>
                  </a:lnTo>
                  <a:lnTo>
                    <a:pt x="318" y="583"/>
                  </a:lnTo>
                  <a:lnTo>
                    <a:pt x="318" y="589"/>
                  </a:lnTo>
                  <a:lnTo>
                    <a:pt x="318" y="591"/>
                  </a:lnTo>
                  <a:lnTo>
                    <a:pt x="317" y="594"/>
                  </a:lnTo>
                  <a:lnTo>
                    <a:pt x="314" y="596"/>
                  </a:lnTo>
                  <a:lnTo>
                    <a:pt x="312" y="596"/>
                  </a:lnTo>
                  <a:lnTo>
                    <a:pt x="307" y="597"/>
                  </a:lnTo>
                  <a:lnTo>
                    <a:pt x="300" y="597"/>
                  </a:lnTo>
                  <a:lnTo>
                    <a:pt x="294" y="595"/>
                  </a:lnTo>
                  <a:lnTo>
                    <a:pt x="291" y="593"/>
                  </a:lnTo>
                  <a:lnTo>
                    <a:pt x="293" y="586"/>
                  </a:lnTo>
                  <a:lnTo>
                    <a:pt x="294" y="580"/>
                  </a:lnTo>
                  <a:lnTo>
                    <a:pt x="294" y="574"/>
                  </a:lnTo>
                  <a:lnTo>
                    <a:pt x="294" y="564"/>
                  </a:lnTo>
                  <a:lnTo>
                    <a:pt x="294" y="560"/>
                  </a:lnTo>
                  <a:lnTo>
                    <a:pt x="294" y="558"/>
                  </a:lnTo>
                  <a:lnTo>
                    <a:pt x="295" y="548"/>
                  </a:lnTo>
                  <a:lnTo>
                    <a:pt x="295" y="543"/>
                  </a:lnTo>
                  <a:lnTo>
                    <a:pt x="296" y="532"/>
                  </a:lnTo>
                  <a:lnTo>
                    <a:pt x="296" y="520"/>
                  </a:lnTo>
                  <a:lnTo>
                    <a:pt x="295" y="516"/>
                  </a:lnTo>
                  <a:lnTo>
                    <a:pt x="289" y="513"/>
                  </a:lnTo>
                  <a:lnTo>
                    <a:pt x="279" y="508"/>
                  </a:lnTo>
                  <a:lnTo>
                    <a:pt x="273" y="506"/>
                  </a:lnTo>
                  <a:lnTo>
                    <a:pt x="270" y="504"/>
                  </a:lnTo>
                  <a:lnTo>
                    <a:pt x="265" y="501"/>
                  </a:lnTo>
                  <a:lnTo>
                    <a:pt x="258" y="501"/>
                  </a:lnTo>
                  <a:lnTo>
                    <a:pt x="255" y="501"/>
                  </a:lnTo>
                  <a:lnTo>
                    <a:pt x="252" y="501"/>
                  </a:lnTo>
                  <a:lnTo>
                    <a:pt x="246" y="500"/>
                  </a:lnTo>
                  <a:lnTo>
                    <a:pt x="240" y="499"/>
                  </a:lnTo>
                  <a:lnTo>
                    <a:pt x="235" y="499"/>
                  </a:lnTo>
                  <a:lnTo>
                    <a:pt x="231" y="499"/>
                  </a:lnTo>
                  <a:lnTo>
                    <a:pt x="230" y="499"/>
                  </a:lnTo>
                  <a:lnTo>
                    <a:pt x="229" y="499"/>
                  </a:lnTo>
                  <a:lnTo>
                    <a:pt x="226" y="500"/>
                  </a:lnTo>
                  <a:lnTo>
                    <a:pt x="225" y="502"/>
                  </a:lnTo>
                  <a:lnTo>
                    <a:pt x="222" y="504"/>
                  </a:lnTo>
                  <a:lnTo>
                    <a:pt x="219" y="506"/>
                  </a:lnTo>
                  <a:lnTo>
                    <a:pt x="217" y="506"/>
                  </a:lnTo>
                  <a:lnTo>
                    <a:pt x="215" y="504"/>
                  </a:lnTo>
                  <a:lnTo>
                    <a:pt x="220" y="501"/>
                  </a:lnTo>
                  <a:lnTo>
                    <a:pt x="225" y="498"/>
                  </a:lnTo>
                  <a:lnTo>
                    <a:pt x="229" y="494"/>
                  </a:lnTo>
                  <a:lnTo>
                    <a:pt x="231" y="493"/>
                  </a:lnTo>
                  <a:lnTo>
                    <a:pt x="232" y="490"/>
                  </a:lnTo>
                  <a:lnTo>
                    <a:pt x="232" y="488"/>
                  </a:lnTo>
                  <a:lnTo>
                    <a:pt x="230" y="487"/>
                  </a:lnTo>
                  <a:lnTo>
                    <a:pt x="225" y="488"/>
                  </a:lnTo>
                  <a:lnTo>
                    <a:pt x="219" y="488"/>
                  </a:lnTo>
                  <a:lnTo>
                    <a:pt x="217" y="488"/>
                  </a:lnTo>
                  <a:lnTo>
                    <a:pt x="213" y="488"/>
                  </a:lnTo>
                  <a:lnTo>
                    <a:pt x="203" y="489"/>
                  </a:lnTo>
                  <a:lnTo>
                    <a:pt x="196" y="489"/>
                  </a:lnTo>
                  <a:lnTo>
                    <a:pt x="194" y="489"/>
                  </a:lnTo>
                  <a:lnTo>
                    <a:pt x="191" y="490"/>
                  </a:lnTo>
                  <a:lnTo>
                    <a:pt x="188" y="490"/>
                  </a:lnTo>
                  <a:lnTo>
                    <a:pt x="187" y="490"/>
                  </a:lnTo>
                  <a:lnTo>
                    <a:pt x="185" y="489"/>
                  </a:lnTo>
                  <a:lnTo>
                    <a:pt x="184" y="492"/>
                  </a:lnTo>
                  <a:lnTo>
                    <a:pt x="184" y="495"/>
                  </a:lnTo>
                  <a:lnTo>
                    <a:pt x="182" y="496"/>
                  </a:lnTo>
                  <a:lnTo>
                    <a:pt x="179" y="496"/>
                  </a:lnTo>
                  <a:lnTo>
                    <a:pt x="177" y="496"/>
                  </a:lnTo>
                  <a:lnTo>
                    <a:pt x="176" y="495"/>
                  </a:lnTo>
                  <a:lnTo>
                    <a:pt x="176" y="496"/>
                  </a:lnTo>
                  <a:lnTo>
                    <a:pt x="176" y="499"/>
                  </a:lnTo>
                  <a:lnTo>
                    <a:pt x="176" y="500"/>
                  </a:lnTo>
                  <a:lnTo>
                    <a:pt x="173" y="501"/>
                  </a:lnTo>
                  <a:lnTo>
                    <a:pt x="171" y="502"/>
                  </a:lnTo>
                  <a:lnTo>
                    <a:pt x="169" y="504"/>
                  </a:lnTo>
                  <a:lnTo>
                    <a:pt x="167" y="505"/>
                  </a:lnTo>
                  <a:lnTo>
                    <a:pt x="166" y="504"/>
                  </a:lnTo>
                  <a:lnTo>
                    <a:pt x="164" y="505"/>
                  </a:lnTo>
                  <a:lnTo>
                    <a:pt x="164" y="502"/>
                  </a:lnTo>
                  <a:lnTo>
                    <a:pt x="161" y="502"/>
                  </a:lnTo>
                  <a:lnTo>
                    <a:pt x="160" y="501"/>
                  </a:lnTo>
                  <a:lnTo>
                    <a:pt x="158" y="501"/>
                  </a:lnTo>
                  <a:lnTo>
                    <a:pt x="156" y="500"/>
                  </a:lnTo>
                  <a:lnTo>
                    <a:pt x="156" y="501"/>
                  </a:lnTo>
                  <a:lnTo>
                    <a:pt x="154" y="502"/>
                  </a:lnTo>
                  <a:lnTo>
                    <a:pt x="153" y="506"/>
                  </a:lnTo>
                  <a:lnTo>
                    <a:pt x="152" y="507"/>
                  </a:lnTo>
                  <a:lnTo>
                    <a:pt x="152" y="508"/>
                  </a:lnTo>
                  <a:lnTo>
                    <a:pt x="152" y="510"/>
                  </a:lnTo>
                  <a:lnTo>
                    <a:pt x="149" y="510"/>
                  </a:lnTo>
                  <a:lnTo>
                    <a:pt x="148" y="512"/>
                  </a:lnTo>
                  <a:lnTo>
                    <a:pt x="147" y="512"/>
                  </a:lnTo>
                  <a:lnTo>
                    <a:pt x="146" y="511"/>
                  </a:lnTo>
                  <a:lnTo>
                    <a:pt x="146" y="510"/>
                  </a:lnTo>
                  <a:lnTo>
                    <a:pt x="143" y="508"/>
                  </a:lnTo>
                  <a:lnTo>
                    <a:pt x="142" y="510"/>
                  </a:lnTo>
                  <a:lnTo>
                    <a:pt x="142" y="508"/>
                  </a:lnTo>
                  <a:lnTo>
                    <a:pt x="141" y="508"/>
                  </a:lnTo>
                  <a:lnTo>
                    <a:pt x="137" y="508"/>
                  </a:lnTo>
                  <a:lnTo>
                    <a:pt x="136" y="510"/>
                  </a:lnTo>
                  <a:lnTo>
                    <a:pt x="135" y="511"/>
                  </a:lnTo>
                  <a:lnTo>
                    <a:pt x="135" y="510"/>
                  </a:lnTo>
                  <a:lnTo>
                    <a:pt x="135" y="507"/>
                  </a:lnTo>
                  <a:lnTo>
                    <a:pt x="136" y="506"/>
                  </a:lnTo>
                  <a:lnTo>
                    <a:pt x="135" y="507"/>
                  </a:lnTo>
                  <a:lnTo>
                    <a:pt x="132" y="506"/>
                  </a:lnTo>
                  <a:lnTo>
                    <a:pt x="134" y="505"/>
                  </a:lnTo>
                  <a:lnTo>
                    <a:pt x="131" y="506"/>
                  </a:lnTo>
                  <a:lnTo>
                    <a:pt x="130" y="505"/>
                  </a:lnTo>
                  <a:lnTo>
                    <a:pt x="129" y="507"/>
                  </a:lnTo>
                  <a:lnTo>
                    <a:pt x="125" y="508"/>
                  </a:lnTo>
                  <a:lnTo>
                    <a:pt x="123" y="507"/>
                  </a:lnTo>
                  <a:lnTo>
                    <a:pt x="126" y="506"/>
                  </a:lnTo>
                  <a:lnTo>
                    <a:pt x="124" y="504"/>
                  </a:lnTo>
                  <a:lnTo>
                    <a:pt x="123" y="502"/>
                  </a:lnTo>
                  <a:lnTo>
                    <a:pt x="122" y="501"/>
                  </a:lnTo>
                  <a:lnTo>
                    <a:pt x="120" y="501"/>
                  </a:lnTo>
                  <a:lnTo>
                    <a:pt x="120" y="500"/>
                  </a:lnTo>
                  <a:lnTo>
                    <a:pt x="120" y="499"/>
                  </a:lnTo>
                  <a:lnTo>
                    <a:pt x="122" y="498"/>
                  </a:lnTo>
                  <a:lnTo>
                    <a:pt x="122" y="499"/>
                  </a:lnTo>
                  <a:lnTo>
                    <a:pt x="124" y="500"/>
                  </a:lnTo>
                  <a:lnTo>
                    <a:pt x="125" y="500"/>
                  </a:lnTo>
                  <a:lnTo>
                    <a:pt x="126" y="501"/>
                  </a:lnTo>
                  <a:lnTo>
                    <a:pt x="126" y="500"/>
                  </a:lnTo>
                  <a:lnTo>
                    <a:pt x="128" y="501"/>
                  </a:lnTo>
                  <a:lnTo>
                    <a:pt x="128" y="500"/>
                  </a:lnTo>
                  <a:lnTo>
                    <a:pt x="128" y="501"/>
                  </a:lnTo>
                  <a:lnTo>
                    <a:pt x="129" y="501"/>
                  </a:lnTo>
                  <a:lnTo>
                    <a:pt x="131" y="502"/>
                  </a:lnTo>
                  <a:lnTo>
                    <a:pt x="131" y="501"/>
                  </a:lnTo>
                  <a:lnTo>
                    <a:pt x="130" y="500"/>
                  </a:lnTo>
                  <a:lnTo>
                    <a:pt x="130" y="499"/>
                  </a:lnTo>
                  <a:lnTo>
                    <a:pt x="130" y="498"/>
                  </a:lnTo>
                  <a:lnTo>
                    <a:pt x="131" y="495"/>
                  </a:lnTo>
                  <a:lnTo>
                    <a:pt x="131" y="494"/>
                  </a:lnTo>
                  <a:lnTo>
                    <a:pt x="132" y="493"/>
                  </a:lnTo>
                  <a:lnTo>
                    <a:pt x="134" y="493"/>
                  </a:lnTo>
                  <a:lnTo>
                    <a:pt x="135" y="492"/>
                  </a:lnTo>
                  <a:lnTo>
                    <a:pt x="136" y="489"/>
                  </a:lnTo>
                  <a:lnTo>
                    <a:pt x="137" y="488"/>
                  </a:lnTo>
                  <a:lnTo>
                    <a:pt x="138" y="489"/>
                  </a:lnTo>
                  <a:lnTo>
                    <a:pt x="140" y="488"/>
                  </a:lnTo>
                  <a:lnTo>
                    <a:pt x="142" y="490"/>
                  </a:lnTo>
                  <a:lnTo>
                    <a:pt x="143" y="488"/>
                  </a:lnTo>
                  <a:lnTo>
                    <a:pt x="141" y="488"/>
                  </a:lnTo>
                  <a:lnTo>
                    <a:pt x="142" y="487"/>
                  </a:lnTo>
                  <a:lnTo>
                    <a:pt x="140" y="486"/>
                  </a:lnTo>
                  <a:lnTo>
                    <a:pt x="141" y="483"/>
                  </a:lnTo>
                  <a:lnTo>
                    <a:pt x="140" y="483"/>
                  </a:lnTo>
                  <a:lnTo>
                    <a:pt x="141" y="482"/>
                  </a:lnTo>
                  <a:lnTo>
                    <a:pt x="141" y="480"/>
                  </a:lnTo>
                  <a:lnTo>
                    <a:pt x="138" y="478"/>
                  </a:lnTo>
                  <a:lnTo>
                    <a:pt x="140" y="477"/>
                  </a:lnTo>
                  <a:lnTo>
                    <a:pt x="141" y="477"/>
                  </a:lnTo>
                  <a:lnTo>
                    <a:pt x="141" y="476"/>
                  </a:lnTo>
                  <a:lnTo>
                    <a:pt x="143" y="478"/>
                  </a:lnTo>
                  <a:lnTo>
                    <a:pt x="144" y="480"/>
                  </a:lnTo>
                  <a:lnTo>
                    <a:pt x="146" y="481"/>
                  </a:lnTo>
                  <a:lnTo>
                    <a:pt x="147" y="480"/>
                  </a:lnTo>
                  <a:lnTo>
                    <a:pt x="149" y="482"/>
                  </a:lnTo>
                  <a:lnTo>
                    <a:pt x="152" y="482"/>
                  </a:lnTo>
                  <a:lnTo>
                    <a:pt x="152" y="483"/>
                  </a:lnTo>
                  <a:lnTo>
                    <a:pt x="154" y="484"/>
                  </a:lnTo>
                  <a:lnTo>
                    <a:pt x="155" y="483"/>
                  </a:lnTo>
                  <a:lnTo>
                    <a:pt x="155" y="482"/>
                  </a:lnTo>
                  <a:lnTo>
                    <a:pt x="156" y="483"/>
                  </a:lnTo>
                  <a:lnTo>
                    <a:pt x="159" y="482"/>
                  </a:lnTo>
                  <a:lnTo>
                    <a:pt x="160" y="484"/>
                  </a:lnTo>
                  <a:lnTo>
                    <a:pt x="160" y="482"/>
                  </a:lnTo>
                  <a:lnTo>
                    <a:pt x="160" y="481"/>
                  </a:lnTo>
                  <a:lnTo>
                    <a:pt x="161" y="481"/>
                  </a:lnTo>
                  <a:lnTo>
                    <a:pt x="161" y="480"/>
                  </a:lnTo>
                  <a:lnTo>
                    <a:pt x="163" y="480"/>
                  </a:lnTo>
                  <a:lnTo>
                    <a:pt x="164" y="481"/>
                  </a:lnTo>
                  <a:lnTo>
                    <a:pt x="164" y="480"/>
                  </a:lnTo>
                  <a:lnTo>
                    <a:pt x="166" y="481"/>
                  </a:lnTo>
                  <a:lnTo>
                    <a:pt x="167" y="480"/>
                  </a:lnTo>
                  <a:lnTo>
                    <a:pt x="170" y="482"/>
                  </a:lnTo>
                  <a:lnTo>
                    <a:pt x="170" y="478"/>
                  </a:lnTo>
                  <a:lnTo>
                    <a:pt x="169" y="478"/>
                  </a:lnTo>
                  <a:lnTo>
                    <a:pt x="169" y="477"/>
                  </a:lnTo>
                  <a:lnTo>
                    <a:pt x="167" y="476"/>
                  </a:lnTo>
                  <a:lnTo>
                    <a:pt x="169" y="475"/>
                  </a:lnTo>
                  <a:lnTo>
                    <a:pt x="171" y="473"/>
                  </a:lnTo>
                  <a:lnTo>
                    <a:pt x="172" y="475"/>
                  </a:lnTo>
                  <a:lnTo>
                    <a:pt x="173" y="476"/>
                  </a:lnTo>
                  <a:lnTo>
                    <a:pt x="175" y="476"/>
                  </a:lnTo>
                  <a:lnTo>
                    <a:pt x="175" y="475"/>
                  </a:lnTo>
                  <a:lnTo>
                    <a:pt x="175" y="473"/>
                  </a:lnTo>
                  <a:lnTo>
                    <a:pt x="175" y="471"/>
                  </a:lnTo>
                  <a:lnTo>
                    <a:pt x="176" y="471"/>
                  </a:lnTo>
                  <a:lnTo>
                    <a:pt x="178" y="470"/>
                  </a:lnTo>
                  <a:lnTo>
                    <a:pt x="179" y="473"/>
                  </a:lnTo>
                  <a:lnTo>
                    <a:pt x="179" y="476"/>
                  </a:lnTo>
                  <a:lnTo>
                    <a:pt x="181" y="476"/>
                  </a:lnTo>
                  <a:lnTo>
                    <a:pt x="183" y="477"/>
                  </a:lnTo>
                  <a:lnTo>
                    <a:pt x="183" y="478"/>
                  </a:lnTo>
                  <a:lnTo>
                    <a:pt x="184" y="478"/>
                  </a:lnTo>
                  <a:lnTo>
                    <a:pt x="184" y="480"/>
                  </a:lnTo>
                  <a:lnTo>
                    <a:pt x="185" y="480"/>
                  </a:lnTo>
                  <a:lnTo>
                    <a:pt x="187" y="480"/>
                  </a:lnTo>
                  <a:lnTo>
                    <a:pt x="189" y="480"/>
                  </a:lnTo>
                  <a:lnTo>
                    <a:pt x="188" y="481"/>
                  </a:lnTo>
                  <a:lnTo>
                    <a:pt x="187" y="482"/>
                  </a:lnTo>
                  <a:lnTo>
                    <a:pt x="187" y="483"/>
                  </a:lnTo>
                  <a:lnTo>
                    <a:pt x="185" y="483"/>
                  </a:lnTo>
                  <a:lnTo>
                    <a:pt x="185" y="484"/>
                  </a:lnTo>
                  <a:lnTo>
                    <a:pt x="185" y="486"/>
                  </a:lnTo>
                  <a:lnTo>
                    <a:pt x="188" y="486"/>
                  </a:lnTo>
                  <a:lnTo>
                    <a:pt x="187" y="487"/>
                  </a:lnTo>
                  <a:lnTo>
                    <a:pt x="187" y="488"/>
                  </a:lnTo>
                  <a:lnTo>
                    <a:pt x="188" y="487"/>
                  </a:lnTo>
                  <a:lnTo>
                    <a:pt x="189" y="487"/>
                  </a:lnTo>
                  <a:lnTo>
                    <a:pt x="190" y="486"/>
                  </a:lnTo>
                  <a:lnTo>
                    <a:pt x="193" y="484"/>
                  </a:lnTo>
                  <a:lnTo>
                    <a:pt x="194" y="484"/>
                  </a:lnTo>
                  <a:lnTo>
                    <a:pt x="195" y="486"/>
                  </a:lnTo>
                  <a:lnTo>
                    <a:pt x="196" y="487"/>
                  </a:lnTo>
                  <a:lnTo>
                    <a:pt x="201" y="486"/>
                  </a:lnTo>
                  <a:lnTo>
                    <a:pt x="207" y="486"/>
                  </a:lnTo>
                  <a:lnTo>
                    <a:pt x="213" y="486"/>
                  </a:lnTo>
                  <a:lnTo>
                    <a:pt x="215" y="486"/>
                  </a:lnTo>
                  <a:lnTo>
                    <a:pt x="218" y="484"/>
                  </a:lnTo>
                  <a:lnTo>
                    <a:pt x="219" y="484"/>
                  </a:lnTo>
                  <a:lnTo>
                    <a:pt x="220" y="484"/>
                  </a:lnTo>
                  <a:lnTo>
                    <a:pt x="223" y="484"/>
                  </a:lnTo>
                  <a:lnTo>
                    <a:pt x="226" y="484"/>
                  </a:lnTo>
                  <a:lnTo>
                    <a:pt x="228" y="484"/>
                  </a:lnTo>
                  <a:lnTo>
                    <a:pt x="234" y="482"/>
                  </a:lnTo>
                  <a:lnTo>
                    <a:pt x="236" y="481"/>
                  </a:lnTo>
                  <a:lnTo>
                    <a:pt x="236" y="478"/>
                  </a:lnTo>
                  <a:lnTo>
                    <a:pt x="238" y="478"/>
                  </a:lnTo>
                  <a:lnTo>
                    <a:pt x="241" y="480"/>
                  </a:lnTo>
                  <a:lnTo>
                    <a:pt x="243" y="481"/>
                  </a:lnTo>
                  <a:lnTo>
                    <a:pt x="247" y="480"/>
                  </a:lnTo>
                  <a:lnTo>
                    <a:pt x="250" y="478"/>
                  </a:lnTo>
                  <a:lnTo>
                    <a:pt x="252" y="477"/>
                  </a:lnTo>
                  <a:lnTo>
                    <a:pt x="252" y="475"/>
                  </a:lnTo>
                  <a:lnTo>
                    <a:pt x="252" y="473"/>
                  </a:lnTo>
                  <a:lnTo>
                    <a:pt x="254" y="473"/>
                  </a:lnTo>
                  <a:lnTo>
                    <a:pt x="258" y="472"/>
                  </a:lnTo>
                  <a:lnTo>
                    <a:pt x="259" y="471"/>
                  </a:lnTo>
                  <a:lnTo>
                    <a:pt x="262" y="471"/>
                  </a:lnTo>
                  <a:lnTo>
                    <a:pt x="265" y="470"/>
                  </a:lnTo>
                  <a:lnTo>
                    <a:pt x="267" y="469"/>
                  </a:lnTo>
                  <a:lnTo>
                    <a:pt x="270" y="466"/>
                  </a:lnTo>
                  <a:lnTo>
                    <a:pt x="268" y="467"/>
                  </a:lnTo>
                  <a:lnTo>
                    <a:pt x="267" y="466"/>
                  </a:lnTo>
                  <a:lnTo>
                    <a:pt x="266" y="466"/>
                  </a:lnTo>
                  <a:lnTo>
                    <a:pt x="266" y="463"/>
                  </a:lnTo>
                  <a:lnTo>
                    <a:pt x="267" y="461"/>
                  </a:lnTo>
                  <a:lnTo>
                    <a:pt x="266" y="461"/>
                  </a:lnTo>
                  <a:lnTo>
                    <a:pt x="266" y="460"/>
                  </a:lnTo>
                  <a:lnTo>
                    <a:pt x="264" y="460"/>
                  </a:lnTo>
                  <a:lnTo>
                    <a:pt x="264" y="461"/>
                  </a:lnTo>
                  <a:lnTo>
                    <a:pt x="265" y="463"/>
                  </a:lnTo>
                  <a:lnTo>
                    <a:pt x="264" y="464"/>
                  </a:lnTo>
                  <a:lnTo>
                    <a:pt x="264" y="465"/>
                  </a:lnTo>
                  <a:lnTo>
                    <a:pt x="264" y="467"/>
                  </a:lnTo>
                  <a:lnTo>
                    <a:pt x="262" y="467"/>
                  </a:lnTo>
                  <a:lnTo>
                    <a:pt x="260" y="469"/>
                  </a:lnTo>
                  <a:lnTo>
                    <a:pt x="258" y="466"/>
                  </a:lnTo>
                  <a:lnTo>
                    <a:pt x="258" y="465"/>
                  </a:lnTo>
                  <a:lnTo>
                    <a:pt x="255" y="466"/>
                  </a:lnTo>
                  <a:lnTo>
                    <a:pt x="253" y="466"/>
                  </a:lnTo>
                  <a:lnTo>
                    <a:pt x="249" y="465"/>
                  </a:lnTo>
                  <a:lnTo>
                    <a:pt x="248" y="466"/>
                  </a:lnTo>
                  <a:lnTo>
                    <a:pt x="248" y="467"/>
                  </a:lnTo>
                  <a:lnTo>
                    <a:pt x="246" y="469"/>
                  </a:lnTo>
                  <a:lnTo>
                    <a:pt x="244" y="469"/>
                  </a:lnTo>
                  <a:lnTo>
                    <a:pt x="244" y="467"/>
                  </a:lnTo>
                  <a:lnTo>
                    <a:pt x="244" y="465"/>
                  </a:lnTo>
                  <a:lnTo>
                    <a:pt x="246" y="464"/>
                  </a:lnTo>
                  <a:lnTo>
                    <a:pt x="247" y="464"/>
                  </a:lnTo>
                  <a:lnTo>
                    <a:pt x="247" y="463"/>
                  </a:lnTo>
                  <a:lnTo>
                    <a:pt x="247" y="459"/>
                  </a:lnTo>
                  <a:lnTo>
                    <a:pt x="247" y="458"/>
                  </a:lnTo>
                  <a:lnTo>
                    <a:pt x="248" y="455"/>
                  </a:lnTo>
                  <a:lnTo>
                    <a:pt x="249" y="455"/>
                  </a:lnTo>
                  <a:lnTo>
                    <a:pt x="250" y="457"/>
                  </a:lnTo>
                  <a:lnTo>
                    <a:pt x="250" y="454"/>
                  </a:lnTo>
                  <a:lnTo>
                    <a:pt x="249" y="453"/>
                  </a:lnTo>
                  <a:lnTo>
                    <a:pt x="248" y="454"/>
                  </a:lnTo>
                  <a:lnTo>
                    <a:pt x="247" y="454"/>
                  </a:lnTo>
                  <a:lnTo>
                    <a:pt x="246" y="454"/>
                  </a:lnTo>
                  <a:lnTo>
                    <a:pt x="244" y="453"/>
                  </a:lnTo>
                  <a:lnTo>
                    <a:pt x="242" y="453"/>
                  </a:lnTo>
                  <a:lnTo>
                    <a:pt x="242" y="452"/>
                  </a:lnTo>
                  <a:lnTo>
                    <a:pt x="243" y="451"/>
                  </a:lnTo>
                  <a:lnTo>
                    <a:pt x="242" y="449"/>
                  </a:lnTo>
                  <a:lnTo>
                    <a:pt x="240" y="448"/>
                  </a:lnTo>
                  <a:lnTo>
                    <a:pt x="241" y="451"/>
                  </a:lnTo>
                  <a:lnTo>
                    <a:pt x="240" y="452"/>
                  </a:lnTo>
                  <a:lnTo>
                    <a:pt x="238" y="451"/>
                  </a:lnTo>
                  <a:lnTo>
                    <a:pt x="237" y="451"/>
                  </a:lnTo>
                  <a:lnTo>
                    <a:pt x="235" y="451"/>
                  </a:lnTo>
                  <a:lnTo>
                    <a:pt x="235" y="454"/>
                  </a:lnTo>
                  <a:lnTo>
                    <a:pt x="234" y="453"/>
                  </a:lnTo>
                  <a:lnTo>
                    <a:pt x="232" y="454"/>
                  </a:lnTo>
                  <a:lnTo>
                    <a:pt x="231" y="457"/>
                  </a:lnTo>
                  <a:lnTo>
                    <a:pt x="229" y="458"/>
                  </a:lnTo>
                  <a:lnTo>
                    <a:pt x="228" y="460"/>
                  </a:lnTo>
                  <a:lnTo>
                    <a:pt x="226" y="463"/>
                  </a:lnTo>
                  <a:lnTo>
                    <a:pt x="228" y="461"/>
                  </a:lnTo>
                  <a:lnTo>
                    <a:pt x="229" y="461"/>
                  </a:lnTo>
                  <a:lnTo>
                    <a:pt x="229" y="463"/>
                  </a:lnTo>
                  <a:lnTo>
                    <a:pt x="229" y="464"/>
                  </a:lnTo>
                  <a:lnTo>
                    <a:pt x="228" y="465"/>
                  </a:lnTo>
                  <a:lnTo>
                    <a:pt x="229" y="465"/>
                  </a:lnTo>
                  <a:lnTo>
                    <a:pt x="230" y="464"/>
                  </a:lnTo>
                  <a:lnTo>
                    <a:pt x="230" y="465"/>
                  </a:lnTo>
                  <a:lnTo>
                    <a:pt x="230" y="466"/>
                  </a:lnTo>
                  <a:lnTo>
                    <a:pt x="229" y="469"/>
                  </a:lnTo>
                  <a:lnTo>
                    <a:pt x="230" y="467"/>
                  </a:lnTo>
                  <a:lnTo>
                    <a:pt x="231" y="469"/>
                  </a:lnTo>
                  <a:lnTo>
                    <a:pt x="229" y="470"/>
                  </a:lnTo>
                  <a:lnTo>
                    <a:pt x="228" y="471"/>
                  </a:lnTo>
                  <a:lnTo>
                    <a:pt x="226" y="472"/>
                  </a:lnTo>
                  <a:lnTo>
                    <a:pt x="224" y="472"/>
                  </a:lnTo>
                  <a:lnTo>
                    <a:pt x="223" y="472"/>
                  </a:lnTo>
                  <a:lnTo>
                    <a:pt x="224" y="471"/>
                  </a:lnTo>
                  <a:lnTo>
                    <a:pt x="224" y="469"/>
                  </a:lnTo>
                  <a:lnTo>
                    <a:pt x="223" y="469"/>
                  </a:lnTo>
                  <a:lnTo>
                    <a:pt x="222" y="472"/>
                  </a:lnTo>
                  <a:lnTo>
                    <a:pt x="219" y="472"/>
                  </a:lnTo>
                  <a:lnTo>
                    <a:pt x="219" y="470"/>
                  </a:lnTo>
                  <a:lnTo>
                    <a:pt x="218" y="471"/>
                  </a:lnTo>
                  <a:lnTo>
                    <a:pt x="217" y="471"/>
                  </a:lnTo>
                  <a:lnTo>
                    <a:pt x="214" y="471"/>
                  </a:lnTo>
                  <a:lnTo>
                    <a:pt x="214" y="472"/>
                  </a:lnTo>
                  <a:lnTo>
                    <a:pt x="213" y="471"/>
                  </a:lnTo>
                  <a:lnTo>
                    <a:pt x="211" y="471"/>
                  </a:lnTo>
                  <a:lnTo>
                    <a:pt x="211" y="470"/>
                  </a:lnTo>
                  <a:lnTo>
                    <a:pt x="213" y="466"/>
                  </a:lnTo>
                  <a:lnTo>
                    <a:pt x="214" y="464"/>
                  </a:lnTo>
                  <a:lnTo>
                    <a:pt x="212" y="466"/>
                  </a:lnTo>
                  <a:lnTo>
                    <a:pt x="211" y="466"/>
                  </a:lnTo>
                  <a:lnTo>
                    <a:pt x="209" y="465"/>
                  </a:lnTo>
                  <a:lnTo>
                    <a:pt x="208" y="465"/>
                  </a:lnTo>
                  <a:lnTo>
                    <a:pt x="207" y="464"/>
                  </a:lnTo>
                  <a:lnTo>
                    <a:pt x="207" y="463"/>
                  </a:lnTo>
                  <a:lnTo>
                    <a:pt x="206" y="463"/>
                  </a:lnTo>
                  <a:lnTo>
                    <a:pt x="206" y="458"/>
                  </a:lnTo>
                  <a:lnTo>
                    <a:pt x="206" y="455"/>
                  </a:lnTo>
                  <a:lnTo>
                    <a:pt x="203" y="453"/>
                  </a:lnTo>
                  <a:lnTo>
                    <a:pt x="203" y="449"/>
                  </a:lnTo>
                  <a:lnTo>
                    <a:pt x="205" y="451"/>
                  </a:lnTo>
                  <a:lnTo>
                    <a:pt x="206" y="448"/>
                  </a:lnTo>
                  <a:lnTo>
                    <a:pt x="208" y="447"/>
                  </a:lnTo>
                  <a:lnTo>
                    <a:pt x="211" y="447"/>
                  </a:lnTo>
                  <a:lnTo>
                    <a:pt x="211" y="445"/>
                  </a:lnTo>
                  <a:lnTo>
                    <a:pt x="208" y="445"/>
                  </a:lnTo>
                  <a:lnTo>
                    <a:pt x="207" y="446"/>
                  </a:lnTo>
                  <a:lnTo>
                    <a:pt x="205" y="446"/>
                  </a:lnTo>
                  <a:lnTo>
                    <a:pt x="203" y="445"/>
                  </a:lnTo>
                  <a:lnTo>
                    <a:pt x="201" y="446"/>
                  </a:lnTo>
                  <a:lnTo>
                    <a:pt x="201" y="448"/>
                  </a:lnTo>
                  <a:lnTo>
                    <a:pt x="202" y="449"/>
                  </a:lnTo>
                  <a:lnTo>
                    <a:pt x="201" y="451"/>
                  </a:lnTo>
                  <a:lnTo>
                    <a:pt x="200" y="452"/>
                  </a:lnTo>
                  <a:lnTo>
                    <a:pt x="200" y="453"/>
                  </a:lnTo>
                  <a:lnTo>
                    <a:pt x="199" y="453"/>
                  </a:lnTo>
                  <a:lnTo>
                    <a:pt x="200" y="449"/>
                  </a:lnTo>
                  <a:lnTo>
                    <a:pt x="197" y="449"/>
                  </a:lnTo>
                  <a:lnTo>
                    <a:pt x="196" y="452"/>
                  </a:lnTo>
                  <a:lnTo>
                    <a:pt x="194" y="452"/>
                  </a:lnTo>
                  <a:lnTo>
                    <a:pt x="191" y="452"/>
                  </a:lnTo>
                  <a:lnTo>
                    <a:pt x="190" y="452"/>
                  </a:lnTo>
                  <a:lnTo>
                    <a:pt x="190" y="453"/>
                  </a:lnTo>
                  <a:lnTo>
                    <a:pt x="189" y="453"/>
                  </a:lnTo>
                  <a:lnTo>
                    <a:pt x="188" y="454"/>
                  </a:lnTo>
                  <a:lnTo>
                    <a:pt x="185" y="455"/>
                  </a:lnTo>
                  <a:lnTo>
                    <a:pt x="185" y="454"/>
                  </a:lnTo>
                  <a:lnTo>
                    <a:pt x="184" y="455"/>
                  </a:lnTo>
                  <a:lnTo>
                    <a:pt x="183" y="454"/>
                  </a:lnTo>
                  <a:lnTo>
                    <a:pt x="182" y="453"/>
                  </a:lnTo>
                  <a:lnTo>
                    <a:pt x="181" y="453"/>
                  </a:lnTo>
                  <a:lnTo>
                    <a:pt x="178" y="452"/>
                  </a:lnTo>
                  <a:lnTo>
                    <a:pt x="178" y="449"/>
                  </a:lnTo>
                  <a:lnTo>
                    <a:pt x="176" y="449"/>
                  </a:lnTo>
                  <a:lnTo>
                    <a:pt x="175" y="449"/>
                  </a:lnTo>
                  <a:lnTo>
                    <a:pt x="172" y="451"/>
                  </a:lnTo>
                  <a:lnTo>
                    <a:pt x="171" y="451"/>
                  </a:lnTo>
                  <a:lnTo>
                    <a:pt x="167" y="449"/>
                  </a:lnTo>
                  <a:lnTo>
                    <a:pt x="167" y="448"/>
                  </a:lnTo>
                  <a:lnTo>
                    <a:pt x="166" y="448"/>
                  </a:lnTo>
                  <a:lnTo>
                    <a:pt x="164" y="449"/>
                  </a:lnTo>
                  <a:lnTo>
                    <a:pt x="161" y="448"/>
                  </a:lnTo>
                  <a:lnTo>
                    <a:pt x="161" y="449"/>
                  </a:lnTo>
                  <a:lnTo>
                    <a:pt x="159" y="449"/>
                  </a:lnTo>
                  <a:lnTo>
                    <a:pt x="158" y="448"/>
                  </a:lnTo>
                  <a:lnTo>
                    <a:pt x="156" y="448"/>
                  </a:lnTo>
                  <a:lnTo>
                    <a:pt x="155" y="449"/>
                  </a:lnTo>
                  <a:lnTo>
                    <a:pt x="154" y="448"/>
                  </a:lnTo>
                  <a:lnTo>
                    <a:pt x="152" y="449"/>
                  </a:lnTo>
                  <a:lnTo>
                    <a:pt x="152" y="451"/>
                  </a:lnTo>
                  <a:lnTo>
                    <a:pt x="152" y="452"/>
                  </a:lnTo>
                  <a:lnTo>
                    <a:pt x="152" y="453"/>
                  </a:lnTo>
                  <a:lnTo>
                    <a:pt x="152" y="452"/>
                  </a:lnTo>
                  <a:lnTo>
                    <a:pt x="154" y="452"/>
                  </a:lnTo>
                  <a:lnTo>
                    <a:pt x="155" y="452"/>
                  </a:lnTo>
                  <a:lnTo>
                    <a:pt x="156" y="452"/>
                  </a:lnTo>
                  <a:lnTo>
                    <a:pt x="158" y="452"/>
                  </a:lnTo>
                  <a:lnTo>
                    <a:pt x="159" y="452"/>
                  </a:lnTo>
                  <a:lnTo>
                    <a:pt x="158" y="452"/>
                  </a:lnTo>
                  <a:lnTo>
                    <a:pt x="159" y="449"/>
                  </a:lnTo>
                  <a:lnTo>
                    <a:pt x="159" y="451"/>
                  </a:lnTo>
                  <a:lnTo>
                    <a:pt x="159" y="452"/>
                  </a:lnTo>
                  <a:lnTo>
                    <a:pt x="160" y="451"/>
                  </a:lnTo>
                  <a:lnTo>
                    <a:pt x="161" y="451"/>
                  </a:lnTo>
                  <a:lnTo>
                    <a:pt x="161" y="452"/>
                  </a:lnTo>
                  <a:lnTo>
                    <a:pt x="163" y="451"/>
                  </a:lnTo>
                  <a:lnTo>
                    <a:pt x="164" y="452"/>
                  </a:lnTo>
                  <a:lnTo>
                    <a:pt x="164" y="451"/>
                  </a:lnTo>
                  <a:lnTo>
                    <a:pt x="164" y="452"/>
                  </a:lnTo>
                  <a:lnTo>
                    <a:pt x="165" y="452"/>
                  </a:lnTo>
                  <a:lnTo>
                    <a:pt x="166" y="453"/>
                  </a:lnTo>
                  <a:lnTo>
                    <a:pt x="166" y="454"/>
                  </a:lnTo>
                  <a:lnTo>
                    <a:pt x="166" y="452"/>
                  </a:lnTo>
                  <a:lnTo>
                    <a:pt x="167" y="451"/>
                  </a:lnTo>
                  <a:lnTo>
                    <a:pt x="169" y="451"/>
                  </a:lnTo>
                  <a:lnTo>
                    <a:pt x="169" y="453"/>
                  </a:lnTo>
                  <a:lnTo>
                    <a:pt x="167" y="457"/>
                  </a:lnTo>
                  <a:lnTo>
                    <a:pt x="166" y="457"/>
                  </a:lnTo>
                  <a:lnTo>
                    <a:pt x="165" y="457"/>
                  </a:lnTo>
                  <a:lnTo>
                    <a:pt x="166" y="457"/>
                  </a:lnTo>
                  <a:lnTo>
                    <a:pt x="166" y="459"/>
                  </a:lnTo>
                  <a:lnTo>
                    <a:pt x="166" y="458"/>
                  </a:lnTo>
                  <a:lnTo>
                    <a:pt x="165" y="458"/>
                  </a:lnTo>
                  <a:lnTo>
                    <a:pt x="164" y="458"/>
                  </a:lnTo>
                  <a:lnTo>
                    <a:pt x="163" y="458"/>
                  </a:lnTo>
                  <a:lnTo>
                    <a:pt x="161" y="458"/>
                  </a:lnTo>
                  <a:lnTo>
                    <a:pt x="159" y="459"/>
                  </a:lnTo>
                  <a:lnTo>
                    <a:pt x="156" y="464"/>
                  </a:lnTo>
                  <a:lnTo>
                    <a:pt x="154" y="464"/>
                  </a:lnTo>
                  <a:lnTo>
                    <a:pt x="154" y="463"/>
                  </a:lnTo>
                  <a:lnTo>
                    <a:pt x="153" y="460"/>
                  </a:lnTo>
                  <a:lnTo>
                    <a:pt x="152" y="458"/>
                  </a:lnTo>
                  <a:lnTo>
                    <a:pt x="150" y="458"/>
                  </a:lnTo>
                  <a:lnTo>
                    <a:pt x="152" y="461"/>
                  </a:lnTo>
                  <a:lnTo>
                    <a:pt x="152" y="463"/>
                  </a:lnTo>
                  <a:lnTo>
                    <a:pt x="150" y="463"/>
                  </a:lnTo>
                  <a:lnTo>
                    <a:pt x="150" y="461"/>
                  </a:lnTo>
                  <a:lnTo>
                    <a:pt x="149" y="464"/>
                  </a:lnTo>
                  <a:lnTo>
                    <a:pt x="150" y="465"/>
                  </a:lnTo>
                  <a:lnTo>
                    <a:pt x="148" y="464"/>
                  </a:lnTo>
                  <a:lnTo>
                    <a:pt x="149" y="466"/>
                  </a:lnTo>
                  <a:lnTo>
                    <a:pt x="148" y="466"/>
                  </a:lnTo>
                  <a:lnTo>
                    <a:pt x="149" y="469"/>
                  </a:lnTo>
                  <a:lnTo>
                    <a:pt x="147" y="470"/>
                  </a:lnTo>
                  <a:lnTo>
                    <a:pt x="149" y="471"/>
                  </a:lnTo>
                  <a:lnTo>
                    <a:pt x="150" y="470"/>
                  </a:lnTo>
                  <a:lnTo>
                    <a:pt x="150" y="471"/>
                  </a:lnTo>
                  <a:lnTo>
                    <a:pt x="152" y="471"/>
                  </a:lnTo>
                  <a:lnTo>
                    <a:pt x="152" y="473"/>
                  </a:lnTo>
                  <a:lnTo>
                    <a:pt x="152" y="476"/>
                  </a:lnTo>
                  <a:lnTo>
                    <a:pt x="150" y="477"/>
                  </a:lnTo>
                  <a:lnTo>
                    <a:pt x="150" y="476"/>
                  </a:lnTo>
                  <a:lnTo>
                    <a:pt x="148" y="477"/>
                  </a:lnTo>
                  <a:lnTo>
                    <a:pt x="147" y="477"/>
                  </a:lnTo>
                  <a:lnTo>
                    <a:pt x="147" y="476"/>
                  </a:lnTo>
                  <a:lnTo>
                    <a:pt x="144" y="475"/>
                  </a:lnTo>
                  <a:lnTo>
                    <a:pt x="141" y="473"/>
                  </a:lnTo>
                  <a:lnTo>
                    <a:pt x="138" y="473"/>
                  </a:lnTo>
                  <a:lnTo>
                    <a:pt x="137" y="473"/>
                  </a:lnTo>
                  <a:lnTo>
                    <a:pt x="136" y="475"/>
                  </a:lnTo>
                  <a:lnTo>
                    <a:pt x="130" y="475"/>
                  </a:lnTo>
                  <a:lnTo>
                    <a:pt x="129" y="473"/>
                  </a:lnTo>
                  <a:lnTo>
                    <a:pt x="126" y="475"/>
                  </a:lnTo>
                  <a:lnTo>
                    <a:pt x="125" y="476"/>
                  </a:lnTo>
                  <a:lnTo>
                    <a:pt x="124" y="478"/>
                  </a:lnTo>
                  <a:lnTo>
                    <a:pt x="122" y="478"/>
                  </a:lnTo>
                  <a:lnTo>
                    <a:pt x="119" y="480"/>
                  </a:lnTo>
                  <a:lnTo>
                    <a:pt x="118" y="478"/>
                  </a:lnTo>
                  <a:lnTo>
                    <a:pt x="117" y="476"/>
                  </a:lnTo>
                  <a:lnTo>
                    <a:pt x="117" y="475"/>
                  </a:lnTo>
                  <a:lnTo>
                    <a:pt x="114" y="472"/>
                  </a:lnTo>
                  <a:lnTo>
                    <a:pt x="112" y="472"/>
                  </a:lnTo>
                  <a:lnTo>
                    <a:pt x="112" y="470"/>
                  </a:lnTo>
                  <a:lnTo>
                    <a:pt x="110" y="469"/>
                  </a:lnTo>
                  <a:lnTo>
                    <a:pt x="108" y="466"/>
                  </a:lnTo>
                  <a:lnTo>
                    <a:pt x="108" y="465"/>
                  </a:lnTo>
                  <a:lnTo>
                    <a:pt x="110" y="466"/>
                  </a:lnTo>
                  <a:lnTo>
                    <a:pt x="111" y="466"/>
                  </a:lnTo>
                  <a:lnTo>
                    <a:pt x="111" y="467"/>
                  </a:lnTo>
                  <a:lnTo>
                    <a:pt x="112" y="466"/>
                  </a:lnTo>
                  <a:lnTo>
                    <a:pt x="113" y="466"/>
                  </a:lnTo>
                  <a:lnTo>
                    <a:pt x="113" y="467"/>
                  </a:lnTo>
                  <a:lnTo>
                    <a:pt x="114" y="466"/>
                  </a:lnTo>
                  <a:lnTo>
                    <a:pt x="114" y="465"/>
                  </a:lnTo>
                  <a:lnTo>
                    <a:pt x="116" y="464"/>
                  </a:lnTo>
                  <a:lnTo>
                    <a:pt x="117" y="465"/>
                  </a:lnTo>
                  <a:lnTo>
                    <a:pt x="117" y="464"/>
                  </a:lnTo>
                  <a:lnTo>
                    <a:pt x="118" y="464"/>
                  </a:lnTo>
                  <a:lnTo>
                    <a:pt x="119" y="463"/>
                  </a:lnTo>
                  <a:lnTo>
                    <a:pt x="117" y="460"/>
                  </a:lnTo>
                  <a:lnTo>
                    <a:pt x="117" y="459"/>
                  </a:lnTo>
                  <a:lnTo>
                    <a:pt x="118" y="459"/>
                  </a:lnTo>
                  <a:lnTo>
                    <a:pt x="122" y="459"/>
                  </a:lnTo>
                  <a:lnTo>
                    <a:pt x="123" y="458"/>
                  </a:lnTo>
                  <a:lnTo>
                    <a:pt x="123" y="457"/>
                  </a:lnTo>
                  <a:lnTo>
                    <a:pt x="120" y="455"/>
                  </a:lnTo>
                  <a:lnTo>
                    <a:pt x="120" y="454"/>
                  </a:lnTo>
                  <a:lnTo>
                    <a:pt x="119" y="454"/>
                  </a:lnTo>
                  <a:lnTo>
                    <a:pt x="119" y="453"/>
                  </a:lnTo>
                  <a:lnTo>
                    <a:pt x="117" y="452"/>
                  </a:lnTo>
                  <a:lnTo>
                    <a:pt x="118" y="452"/>
                  </a:lnTo>
                  <a:lnTo>
                    <a:pt x="118" y="451"/>
                  </a:lnTo>
                  <a:lnTo>
                    <a:pt x="119" y="449"/>
                  </a:lnTo>
                  <a:lnTo>
                    <a:pt x="122" y="451"/>
                  </a:lnTo>
                  <a:lnTo>
                    <a:pt x="123" y="451"/>
                  </a:lnTo>
                  <a:lnTo>
                    <a:pt x="122" y="449"/>
                  </a:lnTo>
                  <a:lnTo>
                    <a:pt x="122" y="447"/>
                  </a:lnTo>
                  <a:lnTo>
                    <a:pt x="122" y="445"/>
                  </a:lnTo>
                  <a:lnTo>
                    <a:pt x="120" y="446"/>
                  </a:lnTo>
                  <a:lnTo>
                    <a:pt x="118" y="446"/>
                  </a:lnTo>
                  <a:lnTo>
                    <a:pt x="117" y="446"/>
                  </a:lnTo>
                  <a:lnTo>
                    <a:pt x="116" y="446"/>
                  </a:lnTo>
                  <a:lnTo>
                    <a:pt x="114" y="445"/>
                  </a:lnTo>
                  <a:lnTo>
                    <a:pt x="113" y="445"/>
                  </a:lnTo>
                  <a:lnTo>
                    <a:pt x="112" y="446"/>
                  </a:lnTo>
                  <a:lnTo>
                    <a:pt x="112" y="447"/>
                  </a:lnTo>
                  <a:lnTo>
                    <a:pt x="110" y="447"/>
                  </a:lnTo>
                  <a:lnTo>
                    <a:pt x="110" y="446"/>
                  </a:lnTo>
                  <a:lnTo>
                    <a:pt x="108" y="447"/>
                  </a:lnTo>
                  <a:lnTo>
                    <a:pt x="107" y="446"/>
                  </a:lnTo>
                  <a:lnTo>
                    <a:pt x="106" y="446"/>
                  </a:lnTo>
                  <a:lnTo>
                    <a:pt x="105" y="446"/>
                  </a:lnTo>
                  <a:lnTo>
                    <a:pt x="102" y="445"/>
                  </a:lnTo>
                  <a:lnTo>
                    <a:pt x="101" y="446"/>
                  </a:lnTo>
                  <a:lnTo>
                    <a:pt x="100" y="446"/>
                  </a:lnTo>
                  <a:lnTo>
                    <a:pt x="97" y="447"/>
                  </a:lnTo>
                  <a:lnTo>
                    <a:pt x="97" y="448"/>
                  </a:lnTo>
                  <a:lnTo>
                    <a:pt x="96" y="448"/>
                  </a:lnTo>
                  <a:lnTo>
                    <a:pt x="89" y="447"/>
                  </a:lnTo>
                  <a:lnTo>
                    <a:pt x="87" y="449"/>
                  </a:lnTo>
                  <a:lnTo>
                    <a:pt x="85" y="449"/>
                  </a:lnTo>
                  <a:lnTo>
                    <a:pt x="84" y="447"/>
                  </a:lnTo>
                  <a:lnTo>
                    <a:pt x="83" y="447"/>
                  </a:lnTo>
                  <a:lnTo>
                    <a:pt x="81" y="446"/>
                  </a:lnTo>
                  <a:lnTo>
                    <a:pt x="79" y="445"/>
                  </a:lnTo>
                  <a:lnTo>
                    <a:pt x="81" y="443"/>
                  </a:lnTo>
                  <a:lnTo>
                    <a:pt x="82" y="443"/>
                  </a:lnTo>
                  <a:lnTo>
                    <a:pt x="82" y="445"/>
                  </a:lnTo>
                  <a:lnTo>
                    <a:pt x="84" y="445"/>
                  </a:lnTo>
                  <a:lnTo>
                    <a:pt x="85" y="443"/>
                  </a:lnTo>
                  <a:lnTo>
                    <a:pt x="84" y="443"/>
                  </a:lnTo>
                  <a:lnTo>
                    <a:pt x="84" y="442"/>
                  </a:lnTo>
                  <a:lnTo>
                    <a:pt x="82" y="441"/>
                  </a:lnTo>
                  <a:lnTo>
                    <a:pt x="82" y="440"/>
                  </a:lnTo>
                  <a:lnTo>
                    <a:pt x="81" y="440"/>
                  </a:lnTo>
                  <a:lnTo>
                    <a:pt x="79" y="440"/>
                  </a:lnTo>
                  <a:lnTo>
                    <a:pt x="81" y="436"/>
                  </a:lnTo>
                  <a:lnTo>
                    <a:pt x="82" y="434"/>
                  </a:lnTo>
                  <a:lnTo>
                    <a:pt x="83" y="434"/>
                  </a:lnTo>
                  <a:lnTo>
                    <a:pt x="84" y="434"/>
                  </a:lnTo>
                  <a:lnTo>
                    <a:pt x="85" y="433"/>
                  </a:lnTo>
                  <a:lnTo>
                    <a:pt x="87" y="434"/>
                  </a:lnTo>
                  <a:lnTo>
                    <a:pt x="89" y="435"/>
                  </a:lnTo>
                  <a:lnTo>
                    <a:pt x="89" y="433"/>
                  </a:lnTo>
                  <a:lnTo>
                    <a:pt x="89" y="431"/>
                  </a:lnTo>
                  <a:lnTo>
                    <a:pt x="90" y="431"/>
                  </a:lnTo>
                  <a:lnTo>
                    <a:pt x="93" y="430"/>
                  </a:lnTo>
                  <a:lnTo>
                    <a:pt x="90" y="428"/>
                  </a:lnTo>
                  <a:lnTo>
                    <a:pt x="89" y="429"/>
                  </a:lnTo>
                  <a:lnTo>
                    <a:pt x="85" y="428"/>
                  </a:lnTo>
                  <a:lnTo>
                    <a:pt x="84" y="428"/>
                  </a:lnTo>
                  <a:lnTo>
                    <a:pt x="83" y="427"/>
                  </a:lnTo>
                  <a:lnTo>
                    <a:pt x="79" y="425"/>
                  </a:lnTo>
                  <a:lnTo>
                    <a:pt x="79" y="424"/>
                  </a:lnTo>
                  <a:lnTo>
                    <a:pt x="78" y="423"/>
                  </a:lnTo>
                  <a:lnTo>
                    <a:pt x="78" y="422"/>
                  </a:lnTo>
                  <a:lnTo>
                    <a:pt x="76" y="419"/>
                  </a:lnTo>
                  <a:lnTo>
                    <a:pt x="77" y="419"/>
                  </a:lnTo>
                  <a:lnTo>
                    <a:pt x="77" y="418"/>
                  </a:lnTo>
                  <a:lnTo>
                    <a:pt x="78" y="418"/>
                  </a:lnTo>
                  <a:lnTo>
                    <a:pt x="78" y="419"/>
                  </a:lnTo>
                  <a:lnTo>
                    <a:pt x="81" y="419"/>
                  </a:lnTo>
                  <a:lnTo>
                    <a:pt x="81" y="421"/>
                  </a:lnTo>
                  <a:lnTo>
                    <a:pt x="82" y="421"/>
                  </a:lnTo>
                  <a:lnTo>
                    <a:pt x="83" y="422"/>
                  </a:lnTo>
                  <a:lnTo>
                    <a:pt x="83" y="419"/>
                  </a:lnTo>
                  <a:lnTo>
                    <a:pt x="83" y="418"/>
                  </a:lnTo>
                  <a:lnTo>
                    <a:pt x="85" y="417"/>
                  </a:lnTo>
                  <a:lnTo>
                    <a:pt x="85" y="418"/>
                  </a:lnTo>
                  <a:lnTo>
                    <a:pt x="87" y="419"/>
                  </a:lnTo>
                  <a:lnTo>
                    <a:pt x="88" y="422"/>
                  </a:lnTo>
                  <a:lnTo>
                    <a:pt x="89" y="422"/>
                  </a:lnTo>
                  <a:lnTo>
                    <a:pt x="90" y="423"/>
                  </a:lnTo>
                  <a:lnTo>
                    <a:pt x="90" y="424"/>
                  </a:lnTo>
                  <a:lnTo>
                    <a:pt x="93" y="424"/>
                  </a:lnTo>
                  <a:lnTo>
                    <a:pt x="97" y="424"/>
                  </a:lnTo>
                  <a:lnTo>
                    <a:pt x="96" y="422"/>
                  </a:lnTo>
                  <a:lnTo>
                    <a:pt x="95" y="421"/>
                  </a:lnTo>
                  <a:lnTo>
                    <a:pt x="94" y="419"/>
                  </a:lnTo>
                  <a:lnTo>
                    <a:pt x="95" y="418"/>
                  </a:lnTo>
                  <a:lnTo>
                    <a:pt x="95" y="417"/>
                  </a:lnTo>
                  <a:lnTo>
                    <a:pt x="96" y="418"/>
                  </a:lnTo>
                  <a:lnTo>
                    <a:pt x="97" y="418"/>
                  </a:lnTo>
                  <a:lnTo>
                    <a:pt x="99" y="418"/>
                  </a:lnTo>
                  <a:lnTo>
                    <a:pt x="99" y="421"/>
                  </a:lnTo>
                  <a:lnTo>
                    <a:pt x="100" y="421"/>
                  </a:lnTo>
                  <a:lnTo>
                    <a:pt x="100" y="419"/>
                  </a:lnTo>
                  <a:lnTo>
                    <a:pt x="100" y="418"/>
                  </a:lnTo>
                  <a:lnTo>
                    <a:pt x="99" y="417"/>
                  </a:lnTo>
                  <a:lnTo>
                    <a:pt x="100" y="416"/>
                  </a:lnTo>
                  <a:lnTo>
                    <a:pt x="99" y="416"/>
                  </a:lnTo>
                  <a:lnTo>
                    <a:pt x="97" y="413"/>
                  </a:lnTo>
                  <a:lnTo>
                    <a:pt x="100" y="413"/>
                  </a:lnTo>
                  <a:lnTo>
                    <a:pt x="101" y="413"/>
                  </a:lnTo>
                  <a:lnTo>
                    <a:pt x="104" y="415"/>
                  </a:lnTo>
                  <a:lnTo>
                    <a:pt x="104" y="416"/>
                  </a:lnTo>
                  <a:lnTo>
                    <a:pt x="106" y="416"/>
                  </a:lnTo>
                  <a:lnTo>
                    <a:pt x="106" y="415"/>
                  </a:lnTo>
                  <a:lnTo>
                    <a:pt x="106" y="413"/>
                  </a:lnTo>
                  <a:lnTo>
                    <a:pt x="107" y="412"/>
                  </a:lnTo>
                  <a:lnTo>
                    <a:pt x="108" y="413"/>
                  </a:lnTo>
                  <a:lnTo>
                    <a:pt x="110" y="413"/>
                  </a:lnTo>
                  <a:lnTo>
                    <a:pt x="110" y="415"/>
                  </a:lnTo>
                  <a:lnTo>
                    <a:pt x="111" y="413"/>
                  </a:lnTo>
                  <a:lnTo>
                    <a:pt x="111" y="412"/>
                  </a:lnTo>
                  <a:lnTo>
                    <a:pt x="112" y="411"/>
                  </a:lnTo>
                  <a:lnTo>
                    <a:pt x="114" y="411"/>
                  </a:lnTo>
                  <a:lnTo>
                    <a:pt x="113" y="410"/>
                  </a:lnTo>
                  <a:lnTo>
                    <a:pt x="113" y="409"/>
                  </a:lnTo>
                  <a:lnTo>
                    <a:pt x="112" y="409"/>
                  </a:lnTo>
                  <a:lnTo>
                    <a:pt x="111" y="407"/>
                  </a:lnTo>
                  <a:lnTo>
                    <a:pt x="112" y="405"/>
                  </a:lnTo>
                  <a:lnTo>
                    <a:pt x="113" y="405"/>
                  </a:lnTo>
                  <a:lnTo>
                    <a:pt x="113" y="404"/>
                  </a:lnTo>
                  <a:lnTo>
                    <a:pt x="113" y="405"/>
                  </a:lnTo>
                  <a:lnTo>
                    <a:pt x="114" y="406"/>
                  </a:lnTo>
                  <a:lnTo>
                    <a:pt x="116" y="406"/>
                  </a:lnTo>
                  <a:lnTo>
                    <a:pt x="117" y="407"/>
                  </a:lnTo>
                  <a:lnTo>
                    <a:pt x="118" y="407"/>
                  </a:lnTo>
                  <a:lnTo>
                    <a:pt x="118" y="405"/>
                  </a:lnTo>
                  <a:lnTo>
                    <a:pt x="117" y="405"/>
                  </a:lnTo>
                  <a:lnTo>
                    <a:pt x="118" y="405"/>
                  </a:lnTo>
                  <a:lnTo>
                    <a:pt x="119" y="404"/>
                  </a:lnTo>
                  <a:lnTo>
                    <a:pt x="120" y="406"/>
                  </a:lnTo>
                  <a:lnTo>
                    <a:pt x="120" y="405"/>
                  </a:lnTo>
                  <a:lnTo>
                    <a:pt x="120" y="404"/>
                  </a:lnTo>
                  <a:lnTo>
                    <a:pt x="120" y="403"/>
                  </a:lnTo>
                  <a:lnTo>
                    <a:pt x="122" y="403"/>
                  </a:lnTo>
                  <a:lnTo>
                    <a:pt x="123" y="404"/>
                  </a:lnTo>
                  <a:lnTo>
                    <a:pt x="124" y="404"/>
                  </a:lnTo>
                  <a:lnTo>
                    <a:pt x="122" y="403"/>
                  </a:lnTo>
                  <a:lnTo>
                    <a:pt x="122" y="400"/>
                  </a:lnTo>
                  <a:lnTo>
                    <a:pt x="123" y="399"/>
                  </a:lnTo>
                  <a:lnTo>
                    <a:pt x="124" y="400"/>
                  </a:lnTo>
                  <a:lnTo>
                    <a:pt x="125" y="399"/>
                  </a:lnTo>
                  <a:lnTo>
                    <a:pt x="126" y="399"/>
                  </a:lnTo>
                  <a:lnTo>
                    <a:pt x="128" y="398"/>
                  </a:lnTo>
                  <a:lnTo>
                    <a:pt x="129" y="398"/>
                  </a:lnTo>
                  <a:lnTo>
                    <a:pt x="130" y="398"/>
                  </a:lnTo>
                  <a:lnTo>
                    <a:pt x="131" y="398"/>
                  </a:lnTo>
                  <a:lnTo>
                    <a:pt x="135" y="399"/>
                  </a:lnTo>
                  <a:lnTo>
                    <a:pt x="135" y="400"/>
                  </a:lnTo>
                  <a:lnTo>
                    <a:pt x="137" y="400"/>
                  </a:lnTo>
                  <a:lnTo>
                    <a:pt x="140" y="400"/>
                  </a:lnTo>
                  <a:lnTo>
                    <a:pt x="141" y="400"/>
                  </a:lnTo>
                  <a:lnTo>
                    <a:pt x="142" y="399"/>
                  </a:lnTo>
                  <a:lnTo>
                    <a:pt x="141" y="398"/>
                  </a:lnTo>
                  <a:lnTo>
                    <a:pt x="141" y="397"/>
                  </a:lnTo>
                  <a:lnTo>
                    <a:pt x="142" y="397"/>
                  </a:lnTo>
                  <a:lnTo>
                    <a:pt x="146" y="398"/>
                  </a:lnTo>
                  <a:lnTo>
                    <a:pt x="147" y="397"/>
                  </a:lnTo>
                  <a:lnTo>
                    <a:pt x="148" y="394"/>
                  </a:lnTo>
                  <a:lnTo>
                    <a:pt x="148" y="393"/>
                  </a:lnTo>
                  <a:lnTo>
                    <a:pt x="149" y="393"/>
                  </a:lnTo>
                  <a:lnTo>
                    <a:pt x="150" y="391"/>
                  </a:lnTo>
                  <a:lnTo>
                    <a:pt x="154" y="389"/>
                  </a:lnTo>
                  <a:lnTo>
                    <a:pt x="154" y="388"/>
                  </a:lnTo>
                  <a:lnTo>
                    <a:pt x="155" y="387"/>
                  </a:lnTo>
                  <a:lnTo>
                    <a:pt x="155" y="385"/>
                  </a:lnTo>
                  <a:lnTo>
                    <a:pt x="156" y="386"/>
                  </a:lnTo>
                  <a:lnTo>
                    <a:pt x="158" y="386"/>
                  </a:lnTo>
                  <a:lnTo>
                    <a:pt x="159" y="386"/>
                  </a:lnTo>
                  <a:lnTo>
                    <a:pt x="160" y="385"/>
                  </a:lnTo>
                  <a:lnTo>
                    <a:pt x="161" y="385"/>
                  </a:lnTo>
                  <a:lnTo>
                    <a:pt x="163" y="385"/>
                  </a:lnTo>
                  <a:lnTo>
                    <a:pt x="164" y="385"/>
                  </a:lnTo>
                  <a:lnTo>
                    <a:pt x="165" y="385"/>
                  </a:lnTo>
                  <a:lnTo>
                    <a:pt x="166" y="385"/>
                  </a:lnTo>
                  <a:lnTo>
                    <a:pt x="167" y="385"/>
                  </a:lnTo>
                  <a:lnTo>
                    <a:pt x="169" y="385"/>
                  </a:lnTo>
                  <a:lnTo>
                    <a:pt x="169" y="383"/>
                  </a:lnTo>
                  <a:lnTo>
                    <a:pt x="169" y="382"/>
                  </a:lnTo>
                  <a:lnTo>
                    <a:pt x="170" y="382"/>
                  </a:lnTo>
                  <a:lnTo>
                    <a:pt x="170" y="383"/>
                  </a:lnTo>
                  <a:lnTo>
                    <a:pt x="170" y="385"/>
                  </a:lnTo>
                  <a:lnTo>
                    <a:pt x="172" y="383"/>
                  </a:lnTo>
                  <a:lnTo>
                    <a:pt x="171" y="382"/>
                  </a:lnTo>
                  <a:lnTo>
                    <a:pt x="172" y="382"/>
                  </a:lnTo>
                  <a:lnTo>
                    <a:pt x="173" y="381"/>
                  </a:lnTo>
                  <a:lnTo>
                    <a:pt x="175" y="380"/>
                  </a:lnTo>
                  <a:lnTo>
                    <a:pt x="175" y="381"/>
                  </a:lnTo>
                  <a:lnTo>
                    <a:pt x="177" y="381"/>
                  </a:lnTo>
                  <a:lnTo>
                    <a:pt x="177" y="380"/>
                  </a:lnTo>
                  <a:lnTo>
                    <a:pt x="176" y="380"/>
                  </a:lnTo>
                  <a:lnTo>
                    <a:pt x="177" y="380"/>
                  </a:lnTo>
                  <a:lnTo>
                    <a:pt x="177" y="379"/>
                  </a:lnTo>
                  <a:lnTo>
                    <a:pt x="178" y="379"/>
                  </a:lnTo>
                  <a:lnTo>
                    <a:pt x="179" y="379"/>
                  </a:lnTo>
                  <a:lnTo>
                    <a:pt x="179" y="381"/>
                  </a:lnTo>
                  <a:lnTo>
                    <a:pt x="181" y="381"/>
                  </a:lnTo>
                  <a:lnTo>
                    <a:pt x="181" y="380"/>
                  </a:lnTo>
                  <a:lnTo>
                    <a:pt x="183" y="381"/>
                  </a:lnTo>
                  <a:lnTo>
                    <a:pt x="184" y="381"/>
                  </a:lnTo>
                  <a:lnTo>
                    <a:pt x="184" y="380"/>
                  </a:lnTo>
                  <a:lnTo>
                    <a:pt x="183" y="380"/>
                  </a:lnTo>
                  <a:lnTo>
                    <a:pt x="182" y="380"/>
                  </a:lnTo>
                  <a:lnTo>
                    <a:pt x="182" y="379"/>
                  </a:lnTo>
                  <a:lnTo>
                    <a:pt x="183" y="379"/>
                  </a:lnTo>
                  <a:lnTo>
                    <a:pt x="183" y="377"/>
                  </a:lnTo>
                  <a:lnTo>
                    <a:pt x="184" y="377"/>
                  </a:lnTo>
                  <a:lnTo>
                    <a:pt x="184" y="376"/>
                  </a:lnTo>
                  <a:lnTo>
                    <a:pt x="185" y="377"/>
                  </a:lnTo>
                  <a:lnTo>
                    <a:pt x="185" y="376"/>
                  </a:lnTo>
                  <a:lnTo>
                    <a:pt x="184" y="376"/>
                  </a:lnTo>
                  <a:lnTo>
                    <a:pt x="187" y="374"/>
                  </a:lnTo>
                  <a:lnTo>
                    <a:pt x="185" y="374"/>
                  </a:lnTo>
                  <a:lnTo>
                    <a:pt x="185" y="373"/>
                  </a:lnTo>
                  <a:lnTo>
                    <a:pt x="184" y="374"/>
                  </a:lnTo>
                  <a:lnTo>
                    <a:pt x="184" y="375"/>
                  </a:lnTo>
                  <a:lnTo>
                    <a:pt x="183" y="375"/>
                  </a:lnTo>
                  <a:lnTo>
                    <a:pt x="183" y="376"/>
                  </a:lnTo>
                  <a:lnTo>
                    <a:pt x="182" y="376"/>
                  </a:lnTo>
                  <a:lnTo>
                    <a:pt x="179" y="376"/>
                  </a:lnTo>
                  <a:lnTo>
                    <a:pt x="179" y="374"/>
                  </a:lnTo>
                  <a:lnTo>
                    <a:pt x="179" y="373"/>
                  </a:lnTo>
                  <a:lnTo>
                    <a:pt x="177" y="371"/>
                  </a:lnTo>
                  <a:lnTo>
                    <a:pt x="176" y="371"/>
                  </a:lnTo>
                  <a:lnTo>
                    <a:pt x="176" y="370"/>
                  </a:lnTo>
                  <a:lnTo>
                    <a:pt x="176" y="373"/>
                  </a:lnTo>
                  <a:lnTo>
                    <a:pt x="175" y="374"/>
                  </a:lnTo>
                  <a:lnTo>
                    <a:pt x="172" y="374"/>
                  </a:lnTo>
                  <a:lnTo>
                    <a:pt x="171" y="374"/>
                  </a:lnTo>
                  <a:lnTo>
                    <a:pt x="169" y="374"/>
                  </a:lnTo>
                  <a:lnTo>
                    <a:pt x="169" y="376"/>
                  </a:lnTo>
                  <a:lnTo>
                    <a:pt x="166" y="376"/>
                  </a:lnTo>
                  <a:lnTo>
                    <a:pt x="165" y="377"/>
                  </a:lnTo>
                  <a:lnTo>
                    <a:pt x="164" y="377"/>
                  </a:lnTo>
                  <a:lnTo>
                    <a:pt x="163" y="377"/>
                  </a:lnTo>
                  <a:lnTo>
                    <a:pt x="163" y="376"/>
                  </a:lnTo>
                  <a:lnTo>
                    <a:pt x="161" y="375"/>
                  </a:lnTo>
                  <a:lnTo>
                    <a:pt x="163" y="375"/>
                  </a:lnTo>
                  <a:lnTo>
                    <a:pt x="163" y="374"/>
                  </a:lnTo>
                  <a:lnTo>
                    <a:pt x="160" y="374"/>
                  </a:lnTo>
                  <a:lnTo>
                    <a:pt x="159" y="375"/>
                  </a:lnTo>
                  <a:lnTo>
                    <a:pt x="158" y="376"/>
                  </a:lnTo>
                  <a:lnTo>
                    <a:pt x="158" y="377"/>
                  </a:lnTo>
                  <a:lnTo>
                    <a:pt x="158" y="376"/>
                  </a:lnTo>
                  <a:lnTo>
                    <a:pt x="159" y="376"/>
                  </a:lnTo>
                  <a:lnTo>
                    <a:pt x="158" y="377"/>
                  </a:lnTo>
                  <a:lnTo>
                    <a:pt x="155" y="379"/>
                  </a:lnTo>
                  <a:lnTo>
                    <a:pt x="154" y="379"/>
                  </a:lnTo>
                  <a:lnTo>
                    <a:pt x="154" y="380"/>
                  </a:lnTo>
                  <a:lnTo>
                    <a:pt x="153" y="380"/>
                  </a:lnTo>
                  <a:lnTo>
                    <a:pt x="153" y="381"/>
                  </a:lnTo>
                  <a:lnTo>
                    <a:pt x="154" y="382"/>
                  </a:lnTo>
                  <a:lnTo>
                    <a:pt x="154" y="383"/>
                  </a:lnTo>
                  <a:lnTo>
                    <a:pt x="152" y="383"/>
                  </a:lnTo>
                  <a:lnTo>
                    <a:pt x="153" y="382"/>
                  </a:lnTo>
                  <a:lnTo>
                    <a:pt x="150" y="383"/>
                  </a:lnTo>
                  <a:lnTo>
                    <a:pt x="152" y="381"/>
                  </a:lnTo>
                  <a:lnTo>
                    <a:pt x="150" y="381"/>
                  </a:lnTo>
                  <a:lnTo>
                    <a:pt x="150" y="383"/>
                  </a:lnTo>
                  <a:lnTo>
                    <a:pt x="152" y="385"/>
                  </a:lnTo>
                  <a:lnTo>
                    <a:pt x="150" y="386"/>
                  </a:lnTo>
                  <a:lnTo>
                    <a:pt x="149" y="386"/>
                  </a:lnTo>
                  <a:lnTo>
                    <a:pt x="148" y="387"/>
                  </a:lnTo>
                  <a:lnTo>
                    <a:pt x="147" y="387"/>
                  </a:lnTo>
                  <a:lnTo>
                    <a:pt x="146" y="385"/>
                  </a:lnTo>
                  <a:lnTo>
                    <a:pt x="147" y="383"/>
                  </a:lnTo>
                  <a:lnTo>
                    <a:pt x="144" y="382"/>
                  </a:lnTo>
                  <a:lnTo>
                    <a:pt x="146" y="381"/>
                  </a:lnTo>
                  <a:lnTo>
                    <a:pt x="146" y="380"/>
                  </a:lnTo>
                  <a:lnTo>
                    <a:pt x="147" y="379"/>
                  </a:lnTo>
                  <a:lnTo>
                    <a:pt x="146" y="377"/>
                  </a:lnTo>
                  <a:lnTo>
                    <a:pt x="146" y="380"/>
                  </a:lnTo>
                  <a:lnTo>
                    <a:pt x="144" y="380"/>
                  </a:lnTo>
                  <a:lnTo>
                    <a:pt x="143" y="380"/>
                  </a:lnTo>
                  <a:lnTo>
                    <a:pt x="143" y="382"/>
                  </a:lnTo>
                  <a:lnTo>
                    <a:pt x="142" y="383"/>
                  </a:lnTo>
                  <a:lnTo>
                    <a:pt x="141" y="383"/>
                  </a:lnTo>
                  <a:lnTo>
                    <a:pt x="141" y="382"/>
                  </a:lnTo>
                  <a:lnTo>
                    <a:pt x="141" y="383"/>
                  </a:lnTo>
                  <a:lnTo>
                    <a:pt x="138" y="382"/>
                  </a:lnTo>
                  <a:lnTo>
                    <a:pt x="137" y="383"/>
                  </a:lnTo>
                  <a:lnTo>
                    <a:pt x="137" y="382"/>
                  </a:lnTo>
                  <a:lnTo>
                    <a:pt x="136" y="383"/>
                  </a:lnTo>
                  <a:lnTo>
                    <a:pt x="135" y="383"/>
                  </a:lnTo>
                  <a:lnTo>
                    <a:pt x="135" y="382"/>
                  </a:lnTo>
                  <a:lnTo>
                    <a:pt x="134" y="382"/>
                  </a:lnTo>
                  <a:lnTo>
                    <a:pt x="132" y="381"/>
                  </a:lnTo>
                  <a:lnTo>
                    <a:pt x="134" y="380"/>
                  </a:lnTo>
                  <a:lnTo>
                    <a:pt x="134" y="379"/>
                  </a:lnTo>
                  <a:lnTo>
                    <a:pt x="135" y="379"/>
                  </a:lnTo>
                  <a:lnTo>
                    <a:pt x="136" y="379"/>
                  </a:lnTo>
                  <a:lnTo>
                    <a:pt x="136" y="377"/>
                  </a:lnTo>
                  <a:lnTo>
                    <a:pt x="136" y="376"/>
                  </a:lnTo>
                  <a:lnTo>
                    <a:pt x="136" y="375"/>
                  </a:lnTo>
                  <a:lnTo>
                    <a:pt x="137" y="374"/>
                  </a:lnTo>
                  <a:lnTo>
                    <a:pt x="138" y="373"/>
                  </a:lnTo>
                  <a:lnTo>
                    <a:pt x="138" y="374"/>
                  </a:lnTo>
                  <a:lnTo>
                    <a:pt x="140" y="373"/>
                  </a:lnTo>
                  <a:lnTo>
                    <a:pt x="141" y="373"/>
                  </a:lnTo>
                  <a:lnTo>
                    <a:pt x="142" y="371"/>
                  </a:lnTo>
                  <a:lnTo>
                    <a:pt x="142" y="370"/>
                  </a:lnTo>
                  <a:lnTo>
                    <a:pt x="142" y="369"/>
                  </a:lnTo>
                  <a:lnTo>
                    <a:pt x="143" y="369"/>
                  </a:lnTo>
                  <a:lnTo>
                    <a:pt x="144" y="369"/>
                  </a:lnTo>
                  <a:lnTo>
                    <a:pt x="146" y="369"/>
                  </a:lnTo>
                  <a:lnTo>
                    <a:pt x="144" y="368"/>
                  </a:lnTo>
                  <a:lnTo>
                    <a:pt x="144" y="366"/>
                  </a:lnTo>
                  <a:lnTo>
                    <a:pt x="143" y="365"/>
                  </a:lnTo>
                  <a:lnTo>
                    <a:pt x="142" y="365"/>
                  </a:lnTo>
                  <a:lnTo>
                    <a:pt x="142" y="366"/>
                  </a:lnTo>
                  <a:lnTo>
                    <a:pt x="141" y="368"/>
                  </a:lnTo>
                  <a:lnTo>
                    <a:pt x="140" y="369"/>
                  </a:lnTo>
                  <a:lnTo>
                    <a:pt x="138" y="369"/>
                  </a:lnTo>
                  <a:lnTo>
                    <a:pt x="136" y="369"/>
                  </a:lnTo>
                  <a:lnTo>
                    <a:pt x="136" y="368"/>
                  </a:lnTo>
                  <a:lnTo>
                    <a:pt x="135" y="368"/>
                  </a:lnTo>
                  <a:lnTo>
                    <a:pt x="134" y="368"/>
                  </a:lnTo>
                  <a:lnTo>
                    <a:pt x="132" y="369"/>
                  </a:lnTo>
                  <a:lnTo>
                    <a:pt x="131" y="369"/>
                  </a:lnTo>
                  <a:lnTo>
                    <a:pt x="130" y="369"/>
                  </a:lnTo>
                  <a:lnTo>
                    <a:pt x="129" y="370"/>
                  </a:lnTo>
                  <a:lnTo>
                    <a:pt x="128" y="370"/>
                  </a:lnTo>
                  <a:lnTo>
                    <a:pt x="126" y="371"/>
                  </a:lnTo>
                  <a:lnTo>
                    <a:pt x="125" y="370"/>
                  </a:lnTo>
                  <a:lnTo>
                    <a:pt x="124" y="370"/>
                  </a:lnTo>
                  <a:lnTo>
                    <a:pt x="125" y="369"/>
                  </a:lnTo>
                  <a:lnTo>
                    <a:pt x="124" y="368"/>
                  </a:lnTo>
                  <a:lnTo>
                    <a:pt x="126" y="368"/>
                  </a:lnTo>
                  <a:lnTo>
                    <a:pt x="126" y="366"/>
                  </a:lnTo>
                  <a:lnTo>
                    <a:pt x="128" y="365"/>
                  </a:lnTo>
                  <a:lnTo>
                    <a:pt x="128" y="366"/>
                  </a:lnTo>
                  <a:lnTo>
                    <a:pt x="129" y="366"/>
                  </a:lnTo>
                  <a:lnTo>
                    <a:pt x="129" y="365"/>
                  </a:lnTo>
                  <a:lnTo>
                    <a:pt x="128" y="364"/>
                  </a:lnTo>
                  <a:lnTo>
                    <a:pt x="126" y="363"/>
                  </a:lnTo>
                  <a:lnTo>
                    <a:pt x="126" y="362"/>
                  </a:lnTo>
                  <a:lnTo>
                    <a:pt x="126" y="360"/>
                  </a:lnTo>
                  <a:lnTo>
                    <a:pt x="126" y="359"/>
                  </a:lnTo>
                  <a:lnTo>
                    <a:pt x="128" y="358"/>
                  </a:lnTo>
                  <a:lnTo>
                    <a:pt x="129" y="358"/>
                  </a:lnTo>
                  <a:lnTo>
                    <a:pt x="130" y="358"/>
                  </a:lnTo>
                  <a:lnTo>
                    <a:pt x="132" y="358"/>
                  </a:lnTo>
                  <a:lnTo>
                    <a:pt x="136" y="357"/>
                  </a:lnTo>
                  <a:lnTo>
                    <a:pt x="136" y="354"/>
                  </a:lnTo>
                  <a:lnTo>
                    <a:pt x="136" y="352"/>
                  </a:lnTo>
                  <a:lnTo>
                    <a:pt x="137" y="351"/>
                  </a:lnTo>
                  <a:lnTo>
                    <a:pt x="138" y="351"/>
                  </a:lnTo>
                  <a:lnTo>
                    <a:pt x="140" y="351"/>
                  </a:lnTo>
                  <a:lnTo>
                    <a:pt x="141" y="350"/>
                  </a:lnTo>
                  <a:lnTo>
                    <a:pt x="142" y="348"/>
                  </a:lnTo>
                  <a:lnTo>
                    <a:pt x="142" y="347"/>
                  </a:lnTo>
                  <a:lnTo>
                    <a:pt x="142" y="345"/>
                  </a:lnTo>
                  <a:lnTo>
                    <a:pt x="144" y="345"/>
                  </a:lnTo>
                  <a:lnTo>
                    <a:pt x="144" y="346"/>
                  </a:lnTo>
                  <a:lnTo>
                    <a:pt x="144" y="345"/>
                  </a:lnTo>
                  <a:lnTo>
                    <a:pt x="146" y="345"/>
                  </a:lnTo>
                  <a:lnTo>
                    <a:pt x="147" y="345"/>
                  </a:lnTo>
                  <a:lnTo>
                    <a:pt x="148" y="341"/>
                  </a:lnTo>
                  <a:lnTo>
                    <a:pt x="148" y="340"/>
                  </a:lnTo>
                  <a:lnTo>
                    <a:pt x="149" y="339"/>
                  </a:lnTo>
                  <a:lnTo>
                    <a:pt x="150" y="340"/>
                  </a:lnTo>
                  <a:lnTo>
                    <a:pt x="150" y="339"/>
                  </a:lnTo>
                  <a:lnTo>
                    <a:pt x="152" y="338"/>
                  </a:lnTo>
                  <a:lnTo>
                    <a:pt x="153" y="339"/>
                  </a:lnTo>
                  <a:lnTo>
                    <a:pt x="153" y="340"/>
                  </a:lnTo>
                  <a:lnTo>
                    <a:pt x="154" y="339"/>
                  </a:lnTo>
                  <a:lnTo>
                    <a:pt x="155" y="338"/>
                  </a:lnTo>
                  <a:lnTo>
                    <a:pt x="156" y="336"/>
                  </a:lnTo>
                  <a:lnTo>
                    <a:pt x="156" y="338"/>
                  </a:lnTo>
                  <a:lnTo>
                    <a:pt x="158" y="338"/>
                  </a:lnTo>
                  <a:lnTo>
                    <a:pt x="160" y="336"/>
                  </a:lnTo>
                  <a:lnTo>
                    <a:pt x="160" y="339"/>
                  </a:lnTo>
                  <a:lnTo>
                    <a:pt x="161" y="336"/>
                  </a:lnTo>
                  <a:lnTo>
                    <a:pt x="161" y="335"/>
                  </a:lnTo>
                  <a:lnTo>
                    <a:pt x="163" y="334"/>
                  </a:lnTo>
                  <a:lnTo>
                    <a:pt x="165" y="334"/>
                  </a:lnTo>
                  <a:lnTo>
                    <a:pt x="166" y="334"/>
                  </a:lnTo>
                  <a:lnTo>
                    <a:pt x="165" y="333"/>
                  </a:lnTo>
                  <a:lnTo>
                    <a:pt x="166" y="332"/>
                  </a:lnTo>
                  <a:lnTo>
                    <a:pt x="167" y="330"/>
                  </a:lnTo>
                  <a:lnTo>
                    <a:pt x="167" y="332"/>
                  </a:lnTo>
                  <a:lnTo>
                    <a:pt x="167" y="329"/>
                  </a:lnTo>
                  <a:lnTo>
                    <a:pt x="170" y="329"/>
                  </a:lnTo>
                  <a:lnTo>
                    <a:pt x="169" y="328"/>
                  </a:lnTo>
                  <a:lnTo>
                    <a:pt x="169" y="327"/>
                  </a:lnTo>
                  <a:lnTo>
                    <a:pt x="170" y="328"/>
                  </a:lnTo>
                  <a:lnTo>
                    <a:pt x="170" y="327"/>
                  </a:lnTo>
                  <a:lnTo>
                    <a:pt x="172" y="327"/>
                  </a:lnTo>
                  <a:lnTo>
                    <a:pt x="170" y="324"/>
                  </a:lnTo>
                  <a:lnTo>
                    <a:pt x="171" y="323"/>
                  </a:lnTo>
                  <a:lnTo>
                    <a:pt x="171" y="324"/>
                  </a:lnTo>
                  <a:lnTo>
                    <a:pt x="172" y="323"/>
                  </a:lnTo>
                  <a:lnTo>
                    <a:pt x="170" y="323"/>
                  </a:lnTo>
                  <a:lnTo>
                    <a:pt x="169" y="323"/>
                  </a:lnTo>
                  <a:lnTo>
                    <a:pt x="167" y="324"/>
                  </a:lnTo>
                  <a:lnTo>
                    <a:pt x="166" y="324"/>
                  </a:lnTo>
                  <a:lnTo>
                    <a:pt x="165" y="324"/>
                  </a:lnTo>
                  <a:lnTo>
                    <a:pt x="164" y="324"/>
                  </a:lnTo>
                  <a:lnTo>
                    <a:pt x="161" y="326"/>
                  </a:lnTo>
                  <a:lnTo>
                    <a:pt x="160" y="326"/>
                  </a:lnTo>
                  <a:lnTo>
                    <a:pt x="158" y="326"/>
                  </a:lnTo>
                  <a:lnTo>
                    <a:pt x="156" y="327"/>
                  </a:lnTo>
                  <a:lnTo>
                    <a:pt x="154" y="328"/>
                  </a:lnTo>
                  <a:lnTo>
                    <a:pt x="155" y="328"/>
                  </a:lnTo>
                  <a:lnTo>
                    <a:pt x="154" y="328"/>
                  </a:lnTo>
                  <a:lnTo>
                    <a:pt x="153" y="328"/>
                  </a:lnTo>
                  <a:lnTo>
                    <a:pt x="150" y="328"/>
                  </a:lnTo>
                  <a:lnTo>
                    <a:pt x="149" y="329"/>
                  </a:lnTo>
                  <a:lnTo>
                    <a:pt x="148" y="329"/>
                  </a:lnTo>
                  <a:lnTo>
                    <a:pt x="147" y="329"/>
                  </a:lnTo>
                  <a:lnTo>
                    <a:pt x="147" y="330"/>
                  </a:lnTo>
                  <a:lnTo>
                    <a:pt x="146" y="330"/>
                  </a:lnTo>
                  <a:lnTo>
                    <a:pt x="143" y="332"/>
                  </a:lnTo>
                  <a:lnTo>
                    <a:pt x="141" y="333"/>
                  </a:lnTo>
                  <a:lnTo>
                    <a:pt x="140" y="333"/>
                  </a:lnTo>
                  <a:lnTo>
                    <a:pt x="138" y="334"/>
                  </a:lnTo>
                  <a:lnTo>
                    <a:pt x="135" y="335"/>
                  </a:lnTo>
                  <a:lnTo>
                    <a:pt x="134" y="336"/>
                  </a:lnTo>
                  <a:lnTo>
                    <a:pt x="132" y="338"/>
                  </a:lnTo>
                  <a:lnTo>
                    <a:pt x="130" y="340"/>
                  </a:lnTo>
                  <a:lnTo>
                    <a:pt x="130" y="341"/>
                  </a:lnTo>
                  <a:lnTo>
                    <a:pt x="130" y="340"/>
                  </a:lnTo>
                  <a:lnTo>
                    <a:pt x="131" y="340"/>
                  </a:lnTo>
                  <a:lnTo>
                    <a:pt x="132" y="340"/>
                  </a:lnTo>
                  <a:lnTo>
                    <a:pt x="134" y="341"/>
                  </a:lnTo>
                  <a:lnTo>
                    <a:pt x="132" y="341"/>
                  </a:lnTo>
                  <a:lnTo>
                    <a:pt x="134" y="342"/>
                  </a:lnTo>
                  <a:lnTo>
                    <a:pt x="135" y="342"/>
                  </a:lnTo>
                  <a:lnTo>
                    <a:pt x="134" y="342"/>
                  </a:lnTo>
                  <a:lnTo>
                    <a:pt x="135" y="344"/>
                  </a:lnTo>
                  <a:lnTo>
                    <a:pt x="135" y="345"/>
                  </a:lnTo>
                  <a:lnTo>
                    <a:pt x="134" y="345"/>
                  </a:lnTo>
                  <a:lnTo>
                    <a:pt x="132" y="347"/>
                  </a:lnTo>
                  <a:lnTo>
                    <a:pt x="135" y="347"/>
                  </a:lnTo>
                  <a:lnTo>
                    <a:pt x="136" y="348"/>
                  </a:lnTo>
                  <a:lnTo>
                    <a:pt x="135" y="348"/>
                  </a:lnTo>
                  <a:lnTo>
                    <a:pt x="135" y="350"/>
                  </a:lnTo>
                  <a:lnTo>
                    <a:pt x="135" y="351"/>
                  </a:lnTo>
                  <a:lnTo>
                    <a:pt x="135" y="352"/>
                  </a:lnTo>
                  <a:lnTo>
                    <a:pt x="135" y="353"/>
                  </a:lnTo>
                  <a:lnTo>
                    <a:pt x="134" y="353"/>
                  </a:lnTo>
                  <a:lnTo>
                    <a:pt x="132" y="354"/>
                  </a:lnTo>
                  <a:lnTo>
                    <a:pt x="130" y="354"/>
                  </a:lnTo>
                  <a:lnTo>
                    <a:pt x="131" y="353"/>
                  </a:lnTo>
                  <a:lnTo>
                    <a:pt x="128" y="352"/>
                  </a:lnTo>
                  <a:lnTo>
                    <a:pt x="128" y="356"/>
                  </a:lnTo>
                  <a:lnTo>
                    <a:pt x="126" y="358"/>
                  </a:lnTo>
                  <a:lnTo>
                    <a:pt x="126" y="359"/>
                  </a:lnTo>
                  <a:lnTo>
                    <a:pt x="125" y="359"/>
                  </a:lnTo>
                  <a:lnTo>
                    <a:pt x="124" y="360"/>
                  </a:lnTo>
                  <a:lnTo>
                    <a:pt x="125" y="362"/>
                  </a:lnTo>
                  <a:lnTo>
                    <a:pt x="123" y="360"/>
                  </a:lnTo>
                  <a:lnTo>
                    <a:pt x="124" y="362"/>
                  </a:lnTo>
                  <a:lnTo>
                    <a:pt x="124" y="363"/>
                  </a:lnTo>
                  <a:lnTo>
                    <a:pt x="123" y="364"/>
                  </a:lnTo>
                  <a:lnTo>
                    <a:pt x="122" y="364"/>
                  </a:lnTo>
                  <a:lnTo>
                    <a:pt x="120" y="363"/>
                  </a:lnTo>
                  <a:lnTo>
                    <a:pt x="119" y="364"/>
                  </a:lnTo>
                  <a:lnTo>
                    <a:pt x="119" y="365"/>
                  </a:lnTo>
                  <a:lnTo>
                    <a:pt x="118" y="365"/>
                  </a:lnTo>
                  <a:lnTo>
                    <a:pt x="117" y="365"/>
                  </a:lnTo>
                  <a:lnTo>
                    <a:pt x="117" y="366"/>
                  </a:lnTo>
                  <a:lnTo>
                    <a:pt x="114" y="365"/>
                  </a:lnTo>
                  <a:lnTo>
                    <a:pt x="113" y="365"/>
                  </a:lnTo>
                  <a:lnTo>
                    <a:pt x="113" y="364"/>
                  </a:lnTo>
                  <a:lnTo>
                    <a:pt x="113" y="363"/>
                  </a:lnTo>
                  <a:lnTo>
                    <a:pt x="114" y="362"/>
                  </a:lnTo>
                  <a:lnTo>
                    <a:pt x="114" y="360"/>
                  </a:lnTo>
                  <a:lnTo>
                    <a:pt x="116" y="359"/>
                  </a:lnTo>
                  <a:lnTo>
                    <a:pt x="114" y="358"/>
                  </a:lnTo>
                  <a:lnTo>
                    <a:pt x="113" y="357"/>
                  </a:lnTo>
                  <a:lnTo>
                    <a:pt x="111" y="356"/>
                  </a:lnTo>
                  <a:lnTo>
                    <a:pt x="110" y="357"/>
                  </a:lnTo>
                  <a:lnTo>
                    <a:pt x="108" y="358"/>
                  </a:lnTo>
                  <a:lnTo>
                    <a:pt x="106" y="360"/>
                  </a:lnTo>
                  <a:lnTo>
                    <a:pt x="105" y="364"/>
                  </a:lnTo>
                  <a:lnTo>
                    <a:pt x="104" y="365"/>
                  </a:lnTo>
                  <a:lnTo>
                    <a:pt x="102" y="366"/>
                  </a:lnTo>
                  <a:lnTo>
                    <a:pt x="102" y="368"/>
                  </a:lnTo>
                  <a:lnTo>
                    <a:pt x="102" y="370"/>
                  </a:lnTo>
                  <a:lnTo>
                    <a:pt x="101" y="370"/>
                  </a:lnTo>
                  <a:lnTo>
                    <a:pt x="100" y="371"/>
                  </a:lnTo>
                  <a:lnTo>
                    <a:pt x="99" y="371"/>
                  </a:lnTo>
                  <a:lnTo>
                    <a:pt x="99" y="373"/>
                  </a:lnTo>
                  <a:lnTo>
                    <a:pt x="96" y="373"/>
                  </a:lnTo>
                  <a:lnTo>
                    <a:pt x="95" y="373"/>
                  </a:lnTo>
                  <a:lnTo>
                    <a:pt x="95" y="371"/>
                  </a:lnTo>
                  <a:lnTo>
                    <a:pt x="95" y="370"/>
                  </a:lnTo>
                  <a:lnTo>
                    <a:pt x="94" y="370"/>
                  </a:lnTo>
                  <a:lnTo>
                    <a:pt x="93" y="370"/>
                  </a:lnTo>
                  <a:lnTo>
                    <a:pt x="93" y="369"/>
                  </a:lnTo>
                  <a:lnTo>
                    <a:pt x="91" y="369"/>
                  </a:lnTo>
                  <a:lnTo>
                    <a:pt x="91" y="370"/>
                  </a:lnTo>
                  <a:lnTo>
                    <a:pt x="89" y="370"/>
                  </a:lnTo>
                  <a:lnTo>
                    <a:pt x="89" y="371"/>
                  </a:lnTo>
                  <a:lnTo>
                    <a:pt x="88" y="373"/>
                  </a:lnTo>
                  <a:lnTo>
                    <a:pt x="88" y="374"/>
                  </a:lnTo>
                  <a:lnTo>
                    <a:pt x="88" y="375"/>
                  </a:lnTo>
                  <a:lnTo>
                    <a:pt x="87" y="376"/>
                  </a:lnTo>
                  <a:lnTo>
                    <a:pt x="88" y="376"/>
                  </a:lnTo>
                  <a:lnTo>
                    <a:pt x="87" y="376"/>
                  </a:lnTo>
                  <a:lnTo>
                    <a:pt x="89" y="377"/>
                  </a:lnTo>
                  <a:lnTo>
                    <a:pt x="87" y="379"/>
                  </a:lnTo>
                  <a:lnTo>
                    <a:pt x="87" y="377"/>
                  </a:lnTo>
                  <a:lnTo>
                    <a:pt x="85" y="376"/>
                  </a:lnTo>
                  <a:lnTo>
                    <a:pt x="84" y="377"/>
                  </a:lnTo>
                  <a:lnTo>
                    <a:pt x="85" y="380"/>
                  </a:lnTo>
                  <a:lnTo>
                    <a:pt x="84" y="380"/>
                  </a:lnTo>
                  <a:lnTo>
                    <a:pt x="83" y="380"/>
                  </a:lnTo>
                  <a:lnTo>
                    <a:pt x="81" y="380"/>
                  </a:lnTo>
                  <a:lnTo>
                    <a:pt x="79" y="379"/>
                  </a:lnTo>
                  <a:lnTo>
                    <a:pt x="83" y="377"/>
                  </a:lnTo>
                  <a:lnTo>
                    <a:pt x="81" y="377"/>
                  </a:lnTo>
                  <a:lnTo>
                    <a:pt x="79" y="376"/>
                  </a:lnTo>
                  <a:lnTo>
                    <a:pt x="79" y="379"/>
                  </a:lnTo>
                  <a:lnTo>
                    <a:pt x="78" y="379"/>
                  </a:lnTo>
                  <a:lnTo>
                    <a:pt x="76" y="381"/>
                  </a:lnTo>
                  <a:lnTo>
                    <a:pt x="75" y="381"/>
                  </a:lnTo>
                  <a:lnTo>
                    <a:pt x="75" y="382"/>
                  </a:lnTo>
                  <a:lnTo>
                    <a:pt x="75" y="383"/>
                  </a:lnTo>
                  <a:lnTo>
                    <a:pt x="73" y="383"/>
                  </a:lnTo>
                  <a:lnTo>
                    <a:pt x="75" y="385"/>
                  </a:lnTo>
                  <a:lnTo>
                    <a:pt x="76" y="385"/>
                  </a:lnTo>
                  <a:lnTo>
                    <a:pt x="76" y="386"/>
                  </a:lnTo>
                  <a:lnTo>
                    <a:pt x="73" y="387"/>
                  </a:lnTo>
                  <a:lnTo>
                    <a:pt x="73" y="388"/>
                  </a:lnTo>
                  <a:lnTo>
                    <a:pt x="72" y="389"/>
                  </a:lnTo>
                  <a:lnTo>
                    <a:pt x="71" y="391"/>
                  </a:lnTo>
                  <a:lnTo>
                    <a:pt x="70" y="391"/>
                  </a:lnTo>
                  <a:lnTo>
                    <a:pt x="69" y="391"/>
                  </a:lnTo>
                  <a:lnTo>
                    <a:pt x="67" y="389"/>
                  </a:lnTo>
                  <a:lnTo>
                    <a:pt x="66" y="388"/>
                  </a:lnTo>
                  <a:lnTo>
                    <a:pt x="65" y="387"/>
                  </a:lnTo>
                  <a:lnTo>
                    <a:pt x="67" y="387"/>
                  </a:lnTo>
                  <a:lnTo>
                    <a:pt x="64" y="386"/>
                  </a:lnTo>
                  <a:lnTo>
                    <a:pt x="61" y="387"/>
                  </a:lnTo>
                  <a:lnTo>
                    <a:pt x="60" y="388"/>
                  </a:lnTo>
                  <a:lnTo>
                    <a:pt x="59" y="387"/>
                  </a:lnTo>
                  <a:lnTo>
                    <a:pt x="58" y="387"/>
                  </a:lnTo>
                  <a:lnTo>
                    <a:pt x="57" y="387"/>
                  </a:lnTo>
                  <a:lnTo>
                    <a:pt x="54" y="387"/>
                  </a:lnTo>
                  <a:lnTo>
                    <a:pt x="54" y="386"/>
                  </a:lnTo>
                  <a:lnTo>
                    <a:pt x="52" y="385"/>
                  </a:lnTo>
                  <a:lnTo>
                    <a:pt x="53" y="385"/>
                  </a:lnTo>
                  <a:lnTo>
                    <a:pt x="53" y="383"/>
                  </a:lnTo>
                  <a:lnTo>
                    <a:pt x="53" y="382"/>
                  </a:lnTo>
                  <a:lnTo>
                    <a:pt x="52" y="382"/>
                  </a:lnTo>
                  <a:lnTo>
                    <a:pt x="51" y="382"/>
                  </a:lnTo>
                  <a:lnTo>
                    <a:pt x="51" y="381"/>
                  </a:lnTo>
                  <a:lnTo>
                    <a:pt x="47" y="380"/>
                  </a:lnTo>
                  <a:lnTo>
                    <a:pt x="48" y="379"/>
                  </a:lnTo>
                  <a:lnTo>
                    <a:pt x="53" y="379"/>
                  </a:lnTo>
                  <a:lnTo>
                    <a:pt x="52" y="377"/>
                  </a:lnTo>
                  <a:lnTo>
                    <a:pt x="49" y="376"/>
                  </a:lnTo>
                  <a:lnTo>
                    <a:pt x="48" y="374"/>
                  </a:lnTo>
                  <a:lnTo>
                    <a:pt x="47" y="373"/>
                  </a:lnTo>
                  <a:lnTo>
                    <a:pt x="47" y="371"/>
                  </a:lnTo>
                  <a:lnTo>
                    <a:pt x="48" y="370"/>
                  </a:lnTo>
                  <a:lnTo>
                    <a:pt x="49" y="370"/>
                  </a:lnTo>
                  <a:lnTo>
                    <a:pt x="49" y="371"/>
                  </a:lnTo>
                  <a:lnTo>
                    <a:pt x="52" y="370"/>
                  </a:lnTo>
                  <a:lnTo>
                    <a:pt x="52" y="369"/>
                  </a:lnTo>
                  <a:lnTo>
                    <a:pt x="54" y="369"/>
                  </a:lnTo>
                  <a:lnTo>
                    <a:pt x="55" y="369"/>
                  </a:lnTo>
                  <a:lnTo>
                    <a:pt x="57" y="368"/>
                  </a:lnTo>
                  <a:lnTo>
                    <a:pt x="54" y="369"/>
                  </a:lnTo>
                  <a:lnTo>
                    <a:pt x="54" y="368"/>
                  </a:lnTo>
                  <a:lnTo>
                    <a:pt x="53" y="368"/>
                  </a:lnTo>
                  <a:lnTo>
                    <a:pt x="52" y="366"/>
                  </a:lnTo>
                  <a:lnTo>
                    <a:pt x="51" y="364"/>
                  </a:lnTo>
                  <a:lnTo>
                    <a:pt x="49" y="364"/>
                  </a:lnTo>
                  <a:lnTo>
                    <a:pt x="51" y="363"/>
                  </a:lnTo>
                  <a:lnTo>
                    <a:pt x="52" y="363"/>
                  </a:lnTo>
                  <a:lnTo>
                    <a:pt x="53" y="363"/>
                  </a:lnTo>
                  <a:lnTo>
                    <a:pt x="54" y="363"/>
                  </a:lnTo>
                  <a:lnTo>
                    <a:pt x="57" y="363"/>
                  </a:lnTo>
                  <a:lnTo>
                    <a:pt x="55" y="362"/>
                  </a:lnTo>
                  <a:lnTo>
                    <a:pt x="57" y="359"/>
                  </a:lnTo>
                  <a:lnTo>
                    <a:pt x="59" y="359"/>
                  </a:lnTo>
                  <a:lnTo>
                    <a:pt x="60" y="360"/>
                  </a:lnTo>
                  <a:lnTo>
                    <a:pt x="61" y="359"/>
                  </a:lnTo>
                  <a:lnTo>
                    <a:pt x="61" y="357"/>
                  </a:lnTo>
                  <a:lnTo>
                    <a:pt x="61" y="356"/>
                  </a:lnTo>
                  <a:lnTo>
                    <a:pt x="61" y="354"/>
                  </a:lnTo>
                  <a:lnTo>
                    <a:pt x="63" y="354"/>
                  </a:lnTo>
                  <a:lnTo>
                    <a:pt x="65" y="352"/>
                  </a:lnTo>
                  <a:lnTo>
                    <a:pt x="67" y="353"/>
                  </a:lnTo>
                  <a:lnTo>
                    <a:pt x="67" y="351"/>
                  </a:lnTo>
                  <a:lnTo>
                    <a:pt x="65" y="347"/>
                  </a:lnTo>
                  <a:lnTo>
                    <a:pt x="64" y="346"/>
                  </a:lnTo>
                  <a:lnTo>
                    <a:pt x="65" y="345"/>
                  </a:lnTo>
                  <a:lnTo>
                    <a:pt x="66" y="344"/>
                  </a:lnTo>
                  <a:lnTo>
                    <a:pt x="67" y="345"/>
                  </a:lnTo>
                  <a:lnTo>
                    <a:pt x="69" y="345"/>
                  </a:lnTo>
                  <a:lnTo>
                    <a:pt x="70" y="344"/>
                  </a:lnTo>
                  <a:lnTo>
                    <a:pt x="71" y="344"/>
                  </a:lnTo>
                  <a:lnTo>
                    <a:pt x="72" y="342"/>
                  </a:lnTo>
                  <a:lnTo>
                    <a:pt x="73" y="341"/>
                  </a:lnTo>
                  <a:lnTo>
                    <a:pt x="76" y="341"/>
                  </a:lnTo>
                  <a:lnTo>
                    <a:pt x="76" y="340"/>
                  </a:lnTo>
                  <a:lnTo>
                    <a:pt x="77" y="340"/>
                  </a:lnTo>
                  <a:lnTo>
                    <a:pt x="78" y="340"/>
                  </a:lnTo>
                  <a:lnTo>
                    <a:pt x="77" y="339"/>
                  </a:lnTo>
                  <a:lnTo>
                    <a:pt x="76" y="336"/>
                  </a:lnTo>
                  <a:lnTo>
                    <a:pt x="76" y="334"/>
                  </a:lnTo>
                  <a:lnTo>
                    <a:pt x="77" y="335"/>
                  </a:lnTo>
                  <a:lnTo>
                    <a:pt x="77" y="334"/>
                  </a:lnTo>
                  <a:lnTo>
                    <a:pt x="78" y="334"/>
                  </a:lnTo>
                  <a:lnTo>
                    <a:pt x="79" y="334"/>
                  </a:lnTo>
                  <a:lnTo>
                    <a:pt x="81" y="335"/>
                  </a:lnTo>
                  <a:lnTo>
                    <a:pt x="81" y="334"/>
                  </a:lnTo>
                  <a:lnTo>
                    <a:pt x="83" y="333"/>
                  </a:lnTo>
                  <a:lnTo>
                    <a:pt x="85" y="334"/>
                  </a:lnTo>
                  <a:lnTo>
                    <a:pt x="87" y="334"/>
                  </a:lnTo>
                  <a:lnTo>
                    <a:pt x="87" y="336"/>
                  </a:lnTo>
                  <a:lnTo>
                    <a:pt x="87" y="335"/>
                  </a:lnTo>
                  <a:lnTo>
                    <a:pt x="88" y="334"/>
                  </a:lnTo>
                  <a:lnTo>
                    <a:pt x="88" y="333"/>
                  </a:lnTo>
                  <a:lnTo>
                    <a:pt x="89" y="333"/>
                  </a:lnTo>
                  <a:lnTo>
                    <a:pt x="90" y="332"/>
                  </a:lnTo>
                  <a:lnTo>
                    <a:pt x="90" y="330"/>
                  </a:lnTo>
                  <a:lnTo>
                    <a:pt x="89" y="329"/>
                  </a:lnTo>
                  <a:lnTo>
                    <a:pt x="89" y="328"/>
                  </a:lnTo>
                  <a:lnTo>
                    <a:pt x="90" y="328"/>
                  </a:lnTo>
                  <a:lnTo>
                    <a:pt x="90" y="327"/>
                  </a:lnTo>
                  <a:lnTo>
                    <a:pt x="91" y="326"/>
                  </a:lnTo>
                  <a:lnTo>
                    <a:pt x="93" y="324"/>
                  </a:lnTo>
                  <a:lnTo>
                    <a:pt x="93" y="323"/>
                  </a:lnTo>
                  <a:lnTo>
                    <a:pt x="94" y="322"/>
                  </a:lnTo>
                  <a:lnTo>
                    <a:pt x="96" y="321"/>
                  </a:lnTo>
                  <a:lnTo>
                    <a:pt x="96" y="320"/>
                  </a:lnTo>
                  <a:lnTo>
                    <a:pt x="97" y="318"/>
                  </a:lnTo>
                  <a:lnTo>
                    <a:pt x="97" y="317"/>
                  </a:lnTo>
                  <a:lnTo>
                    <a:pt x="99" y="316"/>
                  </a:lnTo>
                  <a:lnTo>
                    <a:pt x="100" y="316"/>
                  </a:lnTo>
                  <a:lnTo>
                    <a:pt x="101" y="315"/>
                  </a:lnTo>
                  <a:lnTo>
                    <a:pt x="99" y="314"/>
                  </a:lnTo>
                  <a:lnTo>
                    <a:pt x="99" y="312"/>
                  </a:lnTo>
                  <a:lnTo>
                    <a:pt x="100" y="312"/>
                  </a:lnTo>
                  <a:lnTo>
                    <a:pt x="99" y="312"/>
                  </a:lnTo>
                  <a:lnTo>
                    <a:pt x="97" y="311"/>
                  </a:lnTo>
                  <a:lnTo>
                    <a:pt x="97" y="310"/>
                  </a:lnTo>
                  <a:lnTo>
                    <a:pt x="99" y="309"/>
                  </a:lnTo>
                  <a:lnTo>
                    <a:pt x="97" y="308"/>
                  </a:lnTo>
                  <a:lnTo>
                    <a:pt x="96" y="308"/>
                  </a:lnTo>
                  <a:lnTo>
                    <a:pt x="96" y="306"/>
                  </a:lnTo>
                  <a:lnTo>
                    <a:pt x="95" y="306"/>
                  </a:lnTo>
                  <a:lnTo>
                    <a:pt x="94" y="306"/>
                  </a:lnTo>
                  <a:lnTo>
                    <a:pt x="90" y="305"/>
                  </a:lnTo>
                  <a:lnTo>
                    <a:pt x="91" y="304"/>
                  </a:lnTo>
                  <a:lnTo>
                    <a:pt x="90" y="302"/>
                  </a:lnTo>
                  <a:lnTo>
                    <a:pt x="89" y="302"/>
                  </a:lnTo>
                  <a:lnTo>
                    <a:pt x="88" y="302"/>
                  </a:lnTo>
                  <a:lnTo>
                    <a:pt x="87" y="302"/>
                  </a:lnTo>
                  <a:lnTo>
                    <a:pt x="84" y="300"/>
                  </a:lnTo>
                  <a:lnTo>
                    <a:pt x="84" y="299"/>
                  </a:lnTo>
                  <a:lnTo>
                    <a:pt x="85" y="298"/>
                  </a:lnTo>
                  <a:lnTo>
                    <a:pt x="85" y="297"/>
                  </a:lnTo>
                  <a:lnTo>
                    <a:pt x="84" y="298"/>
                  </a:lnTo>
                  <a:lnTo>
                    <a:pt x="82" y="297"/>
                  </a:lnTo>
                  <a:lnTo>
                    <a:pt x="82" y="298"/>
                  </a:lnTo>
                  <a:lnTo>
                    <a:pt x="82" y="299"/>
                  </a:lnTo>
                  <a:lnTo>
                    <a:pt x="83" y="300"/>
                  </a:lnTo>
                  <a:lnTo>
                    <a:pt x="82" y="302"/>
                  </a:lnTo>
                  <a:lnTo>
                    <a:pt x="81" y="302"/>
                  </a:lnTo>
                  <a:lnTo>
                    <a:pt x="82" y="302"/>
                  </a:lnTo>
                  <a:lnTo>
                    <a:pt x="82" y="303"/>
                  </a:lnTo>
                  <a:lnTo>
                    <a:pt x="81" y="303"/>
                  </a:lnTo>
                  <a:lnTo>
                    <a:pt x="81" y="304"/>
                  </a:lnTo>
                  <a:lnTo>
                    <a:pt x="79" y="305"/>
                  </a:lnTo>
                  <a:lnTo>
                    <a:pt x="78" y="308"/>
                  </a:lnTo>
                  <a:lnTo>
                    <a:pt x="77" y="309"/>
                  </a:lnTo>
                  <a:lnTo>
                    <a:pt x="76" y="308"/>
                  </a:lnTo>
                  <a:lnTo>
                    <a:pt x="75" y="308"/>
                  </a:lnTo>
                  <a:lnTo>
                    <a:pt x="72" y="308"/>
                  </a:lnTo>
                  <a:lnTo>
                    <a:pt x="71" y="308"/>
                  </a:lnTo>
                  <a:lnTo>
                    <a:pt x="71" y="310"/>
                  </a:lnTo>
                  <a:lnTo>
                    <a:pt x="70" y="311"/>
                  </a:lnTo>
                  <a:lnTo>
                    <a:pt x="69" y="311"/>
                  </a:lnTo>
                  <a:lnTo>
                    <a:pt x="66" y="311"/>
                  </a:lnTo>
                  <a:lnTo>
                    <a:pt x="64" y="312"/>
                  </a:lnTo>
                  <a:lnTo>
                    <a:pt x="63" y="315"/>
                  </a:lnTo>
                  <a:lnTo>
                    <a:pt x="61" y="314"/>
                  </a:lnTo>
                  <a:lnTo>
                    <a:pt x="60" y="315"/>
                  </a:lnTo>
                  <a:lnTo>
                    <a:pt x="58" y="316"/>
                  </a:lnTo>
                  <a:lnTo>
                    <a:pt x="57" y="316"/>
                  </a:lnTo>
                  <a:lnTo>
                    <a:pt x="55" y="316"/>
                  </a:lnTo>
                  <a:lnTo>
                    <a:pt x="53" y="316"/>
                  </a:lnTo>
                  <a:lnTo>
                    <a:pt x="52" y="316"/>
                  </a:lnTo>
                  <a:lnTo>
                    <a:pt x="51" y="316"/>
                  </a:lnTo>
                  <a:lnTo>
                    <a:pt x="49" y="317"/>
                  </a:lnTo>
                  <a:lnTo>
                    <a:pt x="47" y="316"/>
                  </a:lnTo>
                  <a:lnTo>
                    <a:pt x="45" y="317"/>
                  </a:lnTo>
                  <a:lnTo>
                    <a:pt x="45" y="316"/>
                  </a:lnTo>
                  <a:lnTo>
                    <a:pt x="45" y="315"/>
                  </a:lnTo>
                  <a:lnTo>
                    <a:pt x="43" y="315"/>
                  </a:lnTo>
                  <a:lnTo>
                    <a:pt x="43" y="314"/>
                  </a:lnTo>
                  <a:lnTo>
                    <a:pt x="42" y="312"/>
                  </a:lnTo>
                  <a:lnTo>
                    <a:pt x="41" y="311"/>
                  </a:lnTo>
                  <a:lnTo>
                    <a:pt x="40" y="310"/>
                  </a:lnTo>
                  <a:lnTo>
                    <a:pt x="38" y="310"/>
                  </a:lnTo>
                  <a:lnTo>
                    <a:pt x="37" y="311"/>
                  </a:lnTo>
                  <a:lnTo>
                    <a:pt x="37" y="310"/>
                  </a:lnTo>
                  <a:lnTo>
                    <a:pt x="36" y="310"/>
                  </a:lnTo>
                  <a:lnTo>
                    <a:pt x="34" y="310"/>
                  </a:lnTo>
                  <a:lnTo>
                    <a:pt x="35" y="309"/>
                  </a:lnTo>
                  <a:lnTo>
                    <a:pt x="32" y="309"/>
                  </a:lnTo>
                  <a:lnTo>
                    <a:pt x="32" y="308"/>
                  </a:lnTo>
                  <a:lnTo>
                    <a:pt x="31" y="306"/>
                  </a:lnTo>
                  <a:lnTo>
                    <a:pt x="31" y="305"/>
                  </a:lnTo>
                  <a:lnTo>
                    <a:pt x="30" y="305"/>
                  </a:lnTo>
                  <a:lnTo>
                    <a:pt x="29" y="305"/>
                  </a:lnTo>
                  <a:lnTo>
                    <a:pt x="29" y="306"/>
                  </a:lnTo>
                  <a:lnTo>
                    <a:pt x="28" y="305"/>
                  </a:lnTo>
                  <a:lnTo>
                    <a:pt x="25" y="305"/>
                  </a:lnTo>
                  <a:lnTo>
                    <a:pt x="25" y="304"/>
                  </a:lnTo>
                  <a:lnTo>
                    <a:pt x="24" y="304"/>
                  </a:lnTo>
                  <a:lnTo>
                    <a:pt x="23" y="302"/>
                  </a:lnTo>
                  <a:lnTo>
                    <a:pt x="22" y="302"/>
                  </a:lnTo>
                  <a:lnTo>
                    <a:pt x="20" y="302"/>
                  </a:lnTo>
                  <a:lnTo>
                    <a:pt x="22" y="300"/>
                  </a:lnTo>
                  <a:lnTo>
                    <a:pt x="22" y="299"/>
                  </a:lnTo>
                  <a:lnTo>
                    <a:pt x="23" y="299"/>
                  </a:lnTo>
                  <a:lnTo>
                    <a:pt x="23" y="298"/>
                  </a:lnTo>
                  <a:lnTo>
                    <a:pt x="24" y="297"/>
                  </a:lnTo>
                  <a:lnTo>
                    <a:pt x="23" y="296"/>
                  </a:lnTo>
                  <a:lnTo>
                    <a:pt x="20" y="294"/>
                  </a:lnTo>
                  <a:lnTo>
                    <a:pt x="23" y="293"/>
                  </a:lnTo>
                  <a:lnTo>
                    <a:pt x="24" y="292"/>
                  </a:lnTo>
                  <a:lnTo>
                    <a:pt x="25" y="292"/>
                  </a:lnTo>
                  <a:lnTo>
                    <a:pt x="23" y="292"/>
                  </a:lnTo>
                  <a:lnTo>
                    <a:pt x="19" y="293"/>
                  </a:lnTo>
                  <a:lnTo>
                    <a:pt x="19" y="296"/>
                  </a:lnTo>
                  <a:lnTo>
                    <a:pt x="18" y="296"/>
                  </a:lnTo>
                  <a:lnTo>
                    <a:pt x="18" y="297"/>
                  </a:lnTo>
                  <a:lnTo>
                    <a:pt x="17" y="297"/>
                  </a:lnTo>
                  <a:lnTo>
                    <a:pt x="14" y="298"/>
                  </a:lnTo>
                  <a:lnTo>
                    <a:pt x="12" y="297"/>
                  </a:lnTo>
                  <a:lnTo>
                    <a:pt x="11" y="298"/>
                  </a:lnTo>
                  <a:lnTo>
                    <a:pt x="10" y="297"/>
                  </a:lnTo>
                  <a:lnTo>
                    <a:pt x="10" y="298"/>
                  </a:lnTo>
                  <a:lnTo>
                    <a:pt x="8" y="297"/>
                  </a:lnTo>
                  <a:lnTo>
                    <a:pt x="7" y="296"/>
                  </a:lnTo>
                  <a:lnTo>
                    <a:pt x="6" y="293"/>
                  </a:lnTo>
                  <a:lnTo>
                    <a:pt x="5" y="293"/>
                  </a:lnTo>
                  <a:lnTo>
                    <a:pt x="5" y="292"/>
                  </a:lnTo>
                  <a:lnTo>
                    <a:pt x="5" y="290"/>
                  </a:lnTo>
                  <a:lnTo>
                    <a:pt x="1" y="287"/>
                  </a:lnTo>
                  <a:lnTo>
                    <a:pt x="2" y="285"/>
                  </a:lnTo>
                  <a:lnTo>
                    <a:pt x="1" y="284"/>
                  </a:lnTo>
                  <a:lnTo>
                    <a:pt x="0" y="280"/>
                  </a:lnTo>
                  <a:lnTo>
                    <a:pt x="2" y="279"/>
                  </a:lnTo>
                  <a:lnTo>
                    <a:pt x="2" y="280"/>
                  </a:lnTo>
                  <a:lnTo>
                    <a:pt x="5" y="281"/>
                  </a:lnTo>
                  <a:lnTo>
                    <a:pt x="5" y="28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0" name="Freeform 73"/>
            <p:cNvSpPr>
              <a:spLocks/>
            </p:cNvSpPr>
            <p:nvPr userDrawn="1"/>
          </p:nvSpPr>
          <p:spPr bwMode="auto">
            <a:xfrm>
              <a:off x="7435850" y="6467476"/>
              <a:ext cx="103188" cy="111125"/>
            </a:xfrm>
            <a:custGeom>
              <a:avLst/>
              <a:gdLst/>
              <a:ahLst/>
              <a:cxnLst>
                <a:cxn ang="0">
                  <a:pos x="37" y="151"/>
                </a:cxn>
                <a:cxn ang="0">
                  <a:pos x="52" y="131"/>
                </a:cxn>
                <a:cxn ang="0">
                  <a:pos x="90" y="120"/>
                </a:cxn>
                <a:cxn ang="0">
                  <a:pos x="82" y="116"/>
                </a:cxn>
                <a:cxn ang="0">
                  <a:pos x="61" y="112"/>
                </a:cxn>
                <a:cxn ang="0">
                  <a:pos x="64" y="87"/>
                </a:cxn>
                <a:cxn ang="0">
                  <a:pos x="75" y="77"/>
                </a:cxn>
                <a:cxn ang="0">
                  <a:pos x="78" y="52"/>
                </a:cxn>
                <a:cxn ang="0">
                  <a:pos x="103" y="58"/>
                </a:cxn>
                <a:cxn ang="0">
                  <a:pos x="122" y="62"/>
                </a:cxn>
                <a:cxn ang="0">
                  <a:pos x="139" y="65"/>
                </a:cxn>
                <a:cxn ang="0">
                  <a:pos x="158" y="77"/>
                </a:cxn>
                <a:cxn ang="0">
                  <a:pos x="165" y="88"/>
                </a:cxn>
                <a:cxn ang="0">
                  <a:pos x="150" y="66"/>
                </a:cxn>
                <a:cxn ang="0">
                  <a:pos x="133" y="60"/>
                </a:cxn>
                <a:cxn ang="0">
                  <a:pos x="116" y="44"/>
                </a:cxn>
                <a:cxn ang="0">
                  <a:pos x="120" y="23"/>
                </a:cxn>
                <a:cxn ang="0">
                  <a:pos x="133" y="13"/>
                </a:cxn>
                <a:cxn ang="0">
                  <a:pos x="146" y="9"/>
                </a:cxn>
                <a:cxn ang="0">
                  <a:pos x="162" y="18"/>
                </a:cxn>
                <a:cxn ang="0">
                  <a:pos x="174" y="15"/>
                </a:cxn>
                <a:cxn ang="0">
                  <a:pos x="192" y="13"/>
                </a:cxn>
                <a:cxn ang="0">
                  <a:pos x="200" y="22"/>
                </a:cxn>
                <a:cxn ang="0">
                  <a:pos x="220" y="15"/>
                </a:cxn>
                <a:cxn ang="0">
                  <a:pos x="238" y="31"/>
                </a:cxn>
                <a:cxn ang="0">
                  <a:pos x="223" y="50"/>
                </a:cxn>
                <a:cxn ang="0">
                  <a:pos x="245" y="64"/>
                </a:cxn>
                <a:cxn ang="0">
                  <a:pos x="268" y="83"/>
                </a:cxn>
                <a:cxn ang="0">
                  <a:pos x="276" y="96"/>
                </a:cxn>
                <a:cxn ang="0">
                  <a:pos x="282" y="117"/>
                </a:cxn>
                <a:cxn ang="0">
                  <a:pos x="289" y="140"/>
                </a:cxn>
                <a:cxn ang="0">
                  <a:pos x="275" y="153"/>
                </a:cxn>
                <a:cxn ang="0">
                  <a:pos x="305" y="187"/>
                </a:cxn>
                <a:cxn ang="0">
                  <a:pos x="274" y="170"/>
                </a:cxn>
                <a:cxn ang="0">
                  <a:pos x="246" y="164"/>
                </a:cxn>
                <a:cxn ang="0">
                  <a:pos x="275" y="183"/>
                </a:cxn>
                <a:cxn ang="0">
                  <a:pos x="311" y="223"/>
                </a:cxn>
                <a:cxn ang="0">
                  <a:pos x="301" y="239"/>
                </a:cxn>
                <a:cxn ang="0">
                  <a:pos x="283" y="253"/>
                </a:cxn>
                <a:cxn ang="0">
                  <a:pos x="279" y="274"/>
                </a:cxn>
                <a:cxn ang="0">
                  <a:pos x="255" y="256"/>
                </a:cxn>
                <a:cxn ang="0">
                  <a:pos x="234" y="245"/>
                </a:cxn>
                <a:cxn ang="0">
                  <a:pos x="241" y="259"/>
                </a:cxn>
                <a:cxn ang="0">
                  <a:pos x="257" y="289"/>
                </a:cxn>
                <a:cxn ang="0">
                  <a:pos x="232" y="285"/>
                </a:cxn>
                <a:cxn ang="0">
                  <a:pos x="199" y="278"/>
                </a:cxn>
                <a:cxn ang="0">
                  <a:pos x="186" y="296"/>
                </a:cxn>
                <a:cxn ang="0">
                  <a:pos x="118" y="285"/>
                </a:cxn>
                <a:cxn ang="0">
                  <a:pos x="76" y="289"/>
                </a:cxn>
                <a:cxn ang="0">
                  <a:pos x="121" y="283"/>
                </a:cxn>
                <a:cxn ang="0">
                  <a:pos x="139" y="262"/>
                </a:cxn>
                <a:cxn ang="0">
                  <a:pos x="106" y="265"/>
                </a:cxn>
                <a:cxn ang="0">
                  <a:pos x="79" y="277"/>
                </a:cxn>
                <a:cxn ang="0">
                  <a:pos x="50" y="258"/>
                </a:cxn>
                <a:cxn ang="0">
                  <a:pos x="65" y="236"/>
                </a:cxn>
                <a:cxn ang="0">
                  <a:pos x="105" y="220"/>
                </a:cxn>
                <a:cxn ang="0">
                  <a:pos x="84" y="224"/>
                </a:cxn>
                <a:cxn ang="0">
                  <a:pos x="84" y="202"/>
                </a:cxn>
                <a:cxn ang="0">
                  <a:pos x="79" y="202"/>
                </a:cxn>
                <a:cxn ang="0">
                  <a:pos x="44" y="223"/>
                </a:cxn>
                <a:cxn ang="0">
                  <a:pos x="46" y="199"/>
                </a:cxn>
                <a:cxn ang="0">
                  <a:pos x="43" y="179"/>
                </a:cxn>
                <a:cxn ang="0">
                  <a:pos x="2" y="167"/>
                </a:cxn>
              </a:cxnLst>
              <a:rect l="0" t="0" r="r" b="b"/>
              <a:pathLst>
                <a:path w="324" h="349">
                  <a:moveTo>
                    <a:pt x="3" y="165"/>
                  </a:moveTo>
                  <a:lnTo>
                    <a:pt x="3" y="164"/>
                  </a:lnTo>
                  <a:lnTo>
                    <a:pt x="4" y="165"/>
                  </a:lnTo>
                  <a:lnTo>
                    <a:pt x="5" y="164"/>
                  </a:lnTo>
                  <a:lnTo>
                    <a:pt x="5" y="165"/>
                  </a:lnTo>
                  <a:lnTo>
                    <a:pt x="5" y="164"/>
                  </a:lnTo>
                  <a:lnTo>
                    <a:pt x="8" y="164"/>
                  </a:lnTo>
                  <a:lnTo>
                    <a:pt x="8" y="165"/>
                  </a:lnTo>
                  <a:lnTo>
                    <a:pt x="9" y="165"/>
                  </a:lnTo>
                  <a:lnTo>
                    <a:pt x="8" y="165"/>
                  </a:lnTo>
                  <a:lnTo>
                    <a:pt x="8" y="164"/>
                  </a:lnTo>
                  <a:lnTo>
                    <a:pt x="8" y="163"/>
                  </a:lnTo>
                  <a:lnTo>
                    <a:pt x="9" y="163"/>
                  </a:lnTo>
                  <a:lnTo>
                    <a:pt x="10" y="163"/>
                  </a:lnTo>
                  <a:lnTo>
                    <a:pt x="10" y="164"/>
                  </a:lnTo>
                  <a:lnTo>
                    <a:pt x="10" y="165"/>
                  </a:lnTo>
                  <a:lnTo>
                    <a:pt x="13" y="165"/>
                  </a:lnTo>
                  <a:lnTo>
                    <a:pt x="13" y="166"/>
                  </a:lnTo>
                  <a:lnTo>
                    <a:pt x="14" y="166"/>
                  </a:lnTo>
                  <a:lnTo>
                    <a:pt x="14" y="164"/>
                  </a:lnTo>
                  <a:lnTo>
                    <a:pt x="15" y="164"/>
                  </a:lnTo>
                  <a:lnTo>
                    <a:pt x="16" y="164"/>
                  </a:lnTo>
                  <a:lnTo>
                    <a:pt x="17" y="165"/>
                  </a:lnTo>
                  <a:lnTo>
                    <a:pt x="16" y="163"/>
                  </a:lnTo>
                  <a:lnTo>
                    <a:pt x="16" y="161"/>
                  </a:lnTo>
                  <a:lnTo>
                    <a:pt x="15" y="160"/>
                  </a:lnTo>
                  <a:lnTo>
                    <a:pt x="15" y="158"/>
                  </a:lnTo>
                  <a:lnTo>
                    <a:pt x="16" y="159"/>
                  </a:lnTo>
                  <a:lnTo>
                    <a:pt x="17" y="159"/>
                  </a:lnTo>
                  <a:lnTo>
                    <a:pt x="17" y="160"/>
                  </a:lnTo>
                  <a:lnTo>
                    <a:pt x="19" y="161"/>
                  </a:lnTo>
                  <a:lnTo>
                    <a:pt x="20" y="163"/>
                  </a:lnTo>
                  <a:lnTo>
                    <a:pt x="20" y="161"/>
                  </a:lnTo>
                  <a:lnTo>
                    <a:pt x="20" y="160"/>
                  </a:lnTo>
                  <a:lnTo>
                    <a:pt x="21" y="160"/>
                  </a:lnTo>
                  <a:lnTo>
                    <a:pt x="22" y="160"/>
                  </a:lnTo>
                  <a:lnTo>
                    <a:pt x="21" y="159"/>
                  </a:lnTo>
                  <a:lnTo>
                    <a:pt x="23" y="157"/>
                  </a:lnTo>
                  <a:lnTo>
                    <a:pt x="23" y="158"/>
                  </a:lnTo>
                  <a:lnTo>
                    <a:pt x="26" y="157"/>
                  </a:lnTo>
                  <a:lnTo>
                    <a:pt x="25" y="155"/>
                  </a:lnTo>
                  <a:lnTo>
                    <a:pt x="25" y="154"/>
                  </a:lnTo>
                  <a:lnTo>
                    <a:pt x="26" y="154"/>
                  </a:lnTo>
                  <a:lnTo>
                    <a:pt x="27" y="154"/>
                  </a:lnTo>
                  <a:lnTo>
                    <a:pt x="27" y="155"/>
                  </a:lnTo>
                  <a:lnTo>
                    <a:pt x="28" y="155"/>
                  </a:lnTo>
                  <a:lnTo>
                    <a:pt x="29" y="157"/>
                  </a:lnTo>
                  <a:lnTo>
                    <a:pt x="29" y="155"/>
                  </a:lnTo>
                  <a:lnTo>
                    <a:pt x="28" y="154"/>
                  </a:lnTo>
                  <a:lnTo>
                    <a:pt x="28" y="153"/>
                  </a:lnTo>
                  <a:lnTo>
                    <a:pt x="28" y="152"/>
                  </a:lnTo>
                  <a:lnTo>
                    <a:pt x="29" y="153"/>
                  </a:lnTo>
                  <a:lnTo>
                    <a:pt x="31" y="154"/>
                  </a:lnTo>
                  <a:lnTo>
                    <a:pt x="32" y="154"/>
                  </a:lnTo>
                  <a:lnTo>
                    <a:pt x="33" y="153"/>
                  </a:lnTo>
                  <a:lnTo>
                    <a:pt x="34" y="154"/>
                  </a:lnTo>
                  <a:lnTo>
                    <a:pt x="35" y="154"/>
                  </a:lnTo>
                  <a:lnTo>
                    <a:pt x="37" y="154"/>
                  </a:lnTo>
                  <a:lnTo>
                    <a:pt x="37" y="153"/>
                  </a:lnTo>
                  <a:lnTo>
                    <a:pt x="37" y="152"/>
                  </a:lnTo>
                  <a:lnTo>
                    <a:pt x="37" y="151"/>
                  </a:lnTo>
                  <a:lnTo>
                    <a:pt x="38" y="151"/>
                  </a:lnTo>
                  <a:lnTo>
                    <a:pt x="39" y="152"/>
                  </a:lnTo>
                  <a:lnTo>
                    <a:pt x="39" y="153"/>
                  </a:lnTo>
                  <a:lnTo>
                    <a:pt x="40" y="154"/>
                  </a:lnTo>
                  <a:lnTo>
                    <a:pt x="41" y="154"/>
                  </a:lnTo>
                  <a:lnTo>
                    <a:pt x="41" y="153"/>
                  </a:lnTo>
                  <a:lnTo>
                    <a:pt x="40" y="152"/>
                  </a:lnTo>
                  <a:lnTo>
                    <a:pt x="40" y="149"/>
                  </a:lnTo>
                  <a:lnTo>
                    <a:pt x="39" y="148"/>
                  </a:lnTo>
                  <a:lnTo>
                    <a:pt x="40" y="148"/>
                  </a:lnTo>
                  <a:lnTo>
                    <a:pt x="40" y="147"/>
                  </a:lnTo>
                  <a:lnTo>
                    <a:pt x="41" y="148"/>
                  </a:lnTo>
                  <a:lnTo>
                    <a:pt x="43" y="148"/>
                  </a:lnTo>
                  <a:lnTo>
                    <a:pt x="44" y="149"/>
                  </a:lnTo>
                  <a:lnTo>
                    <a:pt x="44" y="148"/>
                  </a:lnTo>
                  <a:lnTo>
                    <a:pt x="45" y="149"/>
                  </a:lnTo>
                  <a:lnTo>
                    <a:pt x="46" y="149"/>
                  </a:lnTo>
                  <a:lnTo>
                    <a:pt x="47" y="149"/>
                  </a:lnTo>
                  <a:lnTo>
                    <a:pt x="49" y="149"/>
                  </a:lnTo>
                  <a:lnTo>
                    <a:pt x="47" y="148"/>
                  </a:lnTo>
                  <a:lnTo>
                    <a:pt x="47" y="147"/>
                  </a:lnTo>
                  <a:lnTo>
                    <a:pt x="45" y="146"/>
                  </a:lnTo>
                  <a:lnTo>
                    <a:pt x="46" y="146"/>
                  </a:lnTo>
                  <a:lnTo>
                    <a:pt x="46" y="144"/>
                  </a:lnTo>
                  <a:lnTo>
                    <a:pt x="45" y="144"/>
                  </a:lnTo>
                  <a:lnTo>
                    <a:pt x="45" y="146"/>
                  </a:lnTo>
                  <a:lnTo>
                    <a:pt x="45" y="144"/>
                  </a:lnTo>
                  <a:lnTo>
                    <a:pt x="44" y="143"/>
                  </a:lnTo>
                  <a:lnTo>
                    <a:pt x="43" y="143"/>
                  </a:lnTo>
                  <a:lnTo>
                    <a:pt x="41" y="143"/>
                  </a:lnTo>
                  <a:lnTo>
                    <a:pt x="40" y="142"/>
                  </a:lnTo>
                  <a:lnTo>
                    <a:pt x="39" y="141"/>
                  </a:lnTo>
                  <a:lnTo>
                    <a:pt x="40" y="141"/>
                  </a:lnTo>
                  <a:lnTo>
                    <a:pt x="39" y="141"/>
                  </a:lnTo>
                  <a:lnTo>
                    <a:pt x="39" y="140"/>
                  </a:lnTo>
                  <a:lnTo>
                    <a:pt x="39" y="138"/>
                  </a:lnTo>
                  <a:lnTo>
                    <a:pt x="38" y="136"/>
                  </a:lnTo>
                  <a:lnTo>
                    <a:pt x="39" y="136"/>
                  </a:lnTo>
                  <a:lnTo>
                    <a:pt x="40" y="136"/>
                  </a:lnTo>
                  <a:lnTo>
                    <a:pt x="40" y="137"/>
                  </a:lnTo>
                  <a:lnTo>
                    <a:pt x="41" y="136"/>
                  </a:lnTo>
                  <a:lnTo>
                    <a:pt x="41" y="135"/>
                  </a:lnTo>
                  <a:lnTo>
                    <a:pt x="43" y="135"/>
                  </a:lnTo>
                  <a:lnTo>
                    <a:pt x="43" y="136"/>
                  </a:lnTo>
                  <a:lnTo>
                    <a:pt x="44" y="136"/>
                  </a:lnTo>
                  <a:lnTo>
                    <a:pt x="44" y="137"/>
                  </a:lnTo>
                  <a:lnTo>
                    <a:pt x="46" y="137"/>
                  </a:lnTo>
                  <a:lnTo>
                    <a:pt x="45" y="136"/>
                  </a:lnTo>
                  <a:lnTo>
                    <a:pt x="45" y="135"/>
                  </a:lnTo>
                  <a:lnTo>
                    <a:pt x="46" y="134"/>
                  </a:lnTo>
                  <a:lnTo>
                    <a:pt x="46" y="135"/>
                  </a:lnTo>
                  <a:lnTo>
                    <a:pt x="49" y="135"/>
                  </a:lnTo>
                  <a:lnTo>
                    <a:pt x="49" y="136"/>
                  </a:lnTo>
                  <a:lnTo>
                    <a:pt x="50" y="136"/>
                  </a:lnTo>
                  <a:lnTo>
                    <a:pt x="50" y="135"/>
                  </a:lnTo>
                  <a:lnTo>
                    <a:pt x="51" y="134"/>
                  </a:lnTo>
                  <a:lnTo>
                    <a:pt x="52" y="134"/>
                  </a:lnTo>
                  <a:lnTo>
                    <a:pt x="52" y="135"/>
                  </a:lnTo>
                  <a:lnTo>
                    <a:pt x="53" y="135"/>
                  </a:lnTo>
                  <a:lnTo>
                    <a:pt x="52" y="132"/>
                  </a:lnTo>
                  <a:lnTo>
                    <a:pt x="52" y="131"/>
                  </a:lnTo>
                  <a:lnTo>
                    <a:pt x="52" y="130"/>
                  </a:lnTo>
                  <a:lnTo>
                    <a:pt x="53" y="130"/>
                  </a:lnTo>
                  <a:lnTo>
                    <a:pt x="55" y="130"/>
                  </a:lnTo>
                  <a:lnTo>
                    <a:pt x="55" y="131"/>
                  </a:lnTo>
                  <a:lnTo>
                    <a:pt x="55" y="130"/>
                  </a:lnTo>
                  <a:lnTo>
                    <a:pt x="55" y="131"/>
                  </a:lnTo>
                  <a:lnTo>
                    <a:pt x="55" y="132"/>
                  </a:lnTo>
                  <a:lnTo>
                    <a:pt x="56" y="131"/>
                  </a:lnTo>
                  <a:lnTo>
                    <a:pt x="56" y="132"/>
                  </a:lnTo>
                  <a:lnTo>
                    <a:pt x="56" y="134"/>
                  </a:lnTo>
                  <a:lnTo>
                    <a:pt x="56" y="132"/>
                  </a:lnTo>
                  <a:lnTo>
                    <a:pt x="57" y="132"/>
                  </a:lnTo>
                  <a:lnTo>
                    <a:pt x="58" y="134"/>
                  </a:lnTo>
                  <a:lnTo>
                    <a:pt x="59" y="134"/>
                  </a:lnTo>
                  <a:lnTo>
                    <a:pt x="61" y="135"/>
                  </a:lnTo>
                  <a:lnTo>
                    <a:pt x="61" y="136"/>
                  </a:lnTo>
                  <a:lnTo>
                    <a:pt x="62" y="135"/>
                  </a:lnTo>
                  <a:lnTo>
                    <a:pt x="62" y="134"/>
                  </a:lnTo>
                  <a:lnTo>
                    <a:pt x="61" y="134"/>
                  </a:lnTo>
                  <a:lnTo>
                    <a:pt x="61" y="131"/>
                  </a:lnTo>
                  <a:lnTo>
                    <a:pt x="62" y="130"/>
                  </a:lnTo>
                  <a:lnTo>
                    <a:pt x="62" y="131"/>
                  </a:lnTo>
                  <a:lnTo>
                    <a:pt x="63" y="131"/>
                  </a:lnTo>
                  <a:lnTo>
                    <a:pt x="62" y="131"/>
                  </a:lnTo>
                  <a:lnTo>
                    <a:pt x="63" y="130"/>
                  </a:lnTo>
                  <a:lnTo>
                    <a:pt x="64" y="130"/>
                  </a:lnTo>
                  <a:lnTo>
                    <a:pt x="65" y="130"/>
                  </a:lnTo>
                  <a:lnTo>
                    <a:pt x="67" y="129"/>
                  </a:lnTo>
                  <a:lnTo>
                    <a:pt x="68" y="129"/>
                  </a:lnTo>
                  <a:lnTo>
                    <a:pt x="68" y="130"/>
                  </a:lnTo>
                  <a:lnTo>
                    <a:pt x="69" y="130"/>
                  </a:lnTo>
                  <a:lnTo>
                    <a:pt x="69" y="131"/>
                  </a:lnTo>
                  <a:lnTo>
                    <a:pt x="70" y="131"/>
                  </a:lnTo>
                  <a:lnTo>
                    <a:pt x="70" y="130"/>
                  </a:lnTo>
                  <a:lnTo>
                    <a:pt x="72" y="129"/>
                  </a:lnTo>
                  <a:lnTo>
                    <a:pt x="73" y="129"/>
                  </a:lnTo>
                  <a:lnTo>
                    <a:pt x="74" y="129"/>
                  </a:lnTo>
                  <a:lnTo>
                    <a:pt x="74" y="128"/>
                  </a:lnTo>
                  <a:lnTo>
                    <a:pt x="74" y="129"/>
                  </a:lnTo>
                  <a:lnTo>
                    <a:pt x="75" y="129"/>
                  </a:lnTo>
                  <a:lnTo>
                    <a:pt x="75" y="128"/>
                  </a:lnTo>
                  <a:lnTo>
                    <a:pt x="75" y="126"/>
                  </a:lnTo>
                  <a:lnTo>
                    <a:pt x="74" y="125"/>
                  </a:lnTo>
                  <a:lnTo>
                    <a:pt x="75" y="124"/>
                  </a:lnTo>
                  <a:lnTo>
                    <a:pt x="75" y="123"/>
                  </a:lnTo>
                  <a:lnTo>
                    <a:pt x="75" y="124"/>
                  </a:lnTo>
                  <a:lnTo>
                    <a:pt x="76" y="124"/>
                  </a:lnTo>
                  <a:lnTo>
                    <a:pt x="78" y="124"/>
                  </a:lnTo>
                  <a:lnTo>
                    <a:pt x="81" y="123"/>
                  </a:lnTo>
                  <a:lnTo>
                    <a:pt x="80" y="122"/>
                  </a:lnTo>
                  <a:lnTo>
                    <a:pt x="81" y="122"/>
                  </a:lnTo>
                  <a:lnTo>
                    <a:pt x="82" y="122"/>
                  </a:lnTo>
                  <a:lnTo>
                    <a:pt x="82" y="120"/>
                  </a:lnTo>
                  <a:lnTo>
                    <a:pt x="82" y="119"/>
                  </a:lnTo>
                  <a:lnTo>
                    <a:pt x="84" y="120"/>
                  </a:lnTo>
                  <a:lnTo>
                    <a:pt x="84" y="122"/>
                  </a:lnTo>
                  <a:lnTo>
                    <a:pt x="85" y="120"/>
                  </a:lnTo>
                  <a:lnTo>
                    <a:pt x="86" y="120"/>
                  </a:lnTo>
                  <a:lnTo>
                    <a:pt x="87" y="120"/>
                  </a:lnTo>
                  <a:lnTo>
                    <a:pt x="88" y="120"/>
                  </a:lnTo>
                  <a:lnTo>
                    <a:pt x="90" y="120"/>
                  </a:lnTo>
                  <a:lnTo>
                    <a:pt x="90" y="119"/>
                  </a:lnTo>
                  <a:lnTo>
                    <a:pt x="91" y="119"/>
                  </a:lnTo>
                  <a:lnTo>
                    <a:pt x="91" y="120"/>
                  </a:lnTo>
                  <a:lnTo>
                    <a:pt x="91" y="119"/>
                  </a:lnTo>
                  <a:lnTo>
                    <a:pt x="91" y="118"/>
                  </a:lnTo>
                  <a:lnTo>
                    <a:pt x="92" y="118"/>
                  </a:lnTo>
                  <a:lnTo>
                    <a:pt x="93" y="118"/>
                  </a:lnTo>
                  <a:lnTo>
                    <a:pt x="93" y="117"/>
                  </a:lnTo>
                  <a:lnTo>
                    <a:pt x="94" y="117"/>
                  </a:lnTo>
                  <a:lnTo>
                    <a:pt x="94" y="116"/>
                  </a:lnTo>
                  <a:lnTo>
                    <a:pt x="96" y="116"/>
                  </a:lnTo>
                  <a:lnTo>
                    <a:pt x="94" y="116"/>
                  </a:lnTo>
                  <a:lnTo>
                    <a:pt x="94" y="114"/>
                  </a:lnTo>
                  <a:lnTo>
                    <a:pt x="94" y="113"/>
                  </a:lnTo>
                  <a:lnTo>
                    <a:pt x="96" y="113"/>
                  </a:lnTo>
                  <a:lnTo>
                    <a:pt x="94" y="113"/>
                  </a:lnTo>
                  <a:lnTo>
                    <a:pt x="96" y="113"/>
                  </a:lnTo>
                  <a:lnTo>
                    <a:pt x="97" y="113"/>
                  </a:lnTo>
                  <a:lnTo>
                    <a:pt x="96" y="112"/>
                  </a:lnTo>
                  <a:lnTo>
                    <a:pt x="97" y="112"/>
                  </a:lnTo>
                  <a:lnTo>
                    <a:pt x="97" y="111"/>
                  </a:lnTo>
                  <a:lnTo>
                    <a:pt x="98" y="110"/>
                  </a:lnTo>
                  <a:lnTo>
                    <a:pt x="99" y="108"/>
                  </a:lnTo>
                  <a:lnTo>
                    <a:pt x="98" y="108"/>
                  </a:lnTo>
                  <a:lnTo>
                    <a:pt x="98" y="107"/>
                  </a:lnTo>
                  <a:lnTo>
                    <a:pt x="97" y="107"/>
                  </a:lnTo>
                  <a:lnTo>
                    <a:pt x="96" y="107"/>
                  </a:lnTo>
                  <a:lnTo>
                    <a:pt x="96" y="106"/>
                  </a:lnTo>
                  <a:lnTo>
                    <a:pt x="96" y="107"/>
                  </a:lnTo>
                  <a:lnTo>
                    <a:pt x="94" y="107"/>
                  </a:lnTo>
                  <a:lnTo>
                    <a:pt x="93" y="107"/>
                  </a:lnTo>
                  <a:lnTo>
                    <a:pt x="92" y="107"/>
                  </a:lnTo>
                  <a:lnTo>
                    <a:pt x="91" y="107"/>
                  </a:lnTo>
                  <a:lnTo>
                    <a:pt x="91" y="108"/>
                  </a:lnTo>
                  <a:lnTo>
                    <a:pt x="91" y="110"/>
                  </a:lnTo>
                  <a:lnTo>
                    <a:pt x="91" y="111"/>
                  </a:lnTo>
                  <a:lnTo>
                    <a:pt x="92" y="111"/>
                  </a:lnTo>
                  <a:lnTo>
                    <a:pt x="91" y="112"/>
                  </a:lnTo>
                  <a:lnTo>
                    <a:pt x="91" y="113"/>
                  </a:lnTo>
                  <a:lnTo>
                    <a:pt x="90" y="113"/>
                  </a:lnTo>
                  <a:lnTo>
                    <a:pt x="88" y="114"/>
                  </a:lnTo>
                  <a:lnTo>
                    <a:pt x="88" y="116"/>
                  </a:lnTo>
                  <a:lnTo>
                    <a:pt x="88" y="114"/>
                  </a:lnTo>
                  <a:lnTo>
                    <a:pt x="90" y="114"/>
                  </a:lnTo>
                  <a:lnTo>
                    <a:pt x="91" y="116"/>
                  </a:lnTo>
                  <a:lnTo>
                    <a:pt x="92" y="116"/>
                  </a:lnTo>
                  <a:lnTo>
                    <a:pt x="91" y="116"/>
                  </a:lnTo>
                  <a:lnTo>
                    <a:pt x="91" y="117"/>
                  </a:lnTo>
                  <a:lnTo>
                    <a:pt x="90" y="117"/>
                  </a:lnTo>
                  <a:lnTo>
                    <a:pt x="90" y="118"/>
                  </a:lnTo>
                  <a:lnTo>
                    <a:pt x="88" y="118"/>
                  </a:lnTo>
                  <a:lnTo>
                    <a:pt x="87" y="118"/>
                  </a:lnTo>
                  <a:lnTo>
                    <a:pt x="86" y="118"/>
                  </a:lnTo>
                  <a:lnTo>
                    <a:pt x="85" y="118"/>
                  </a:lnTo>
                  <a:lnTo>
                    <a:pt x="84" y="118"/>
                  </a:lnTo>
                  <a:lnTo>
                    <a:pt x="84" y="117"/>
                  </a:lnTo>
                  <a:lnTo>
                    <a:pt x="82" y="117"/>
                  </a:lnTo>
                  <a:lnTo>
                    <a:pt x="82" y="118"/>
                  </a:lnTo>
                  <a:lnTo>
                    <a:pt x="82" y="117"/>
                  </a:lnTo>
                  <a:lnTo>
                    <a:pt x="81" y="117"/>
                  </a:lnTo>
                  <a:lnTo>
                    <a:pt x="82" y="116"/>
                  </a:lnTo>
                  <a:lnTo>
                    <a:pt x="82" y="114"/>
                  </a:lnTo>
                  <a:lnTo>
                    <a:pt x="84" y="114"/>
                  </a:lnTo>
                  <a:lnTo>
                    <a:pt x="84" y="113"/>
                  </a:lnTo>
                  <a:lnTo>
                    <a:pt x="82" y="112"/>
                  </a:lnTo>
                  <a:lnTo>
                    <a:pt x="84" y="112"/>
                  </a:lnTo>
                  <a:lnTo>
                    <a:pt x="84" y="111"/>
                  </a:lnTo>
                  <a:lnTo>
                    <a:pt x="85" y="111"/>
                  </a:lnTo>
                  <a:lnTo>
                    <a:pt x="85" y="110"/>
                  </a:lnTo>
                  <a:lnTo>
                    <a:pt x="84" y="110"/>
                  </a:lnTo>
                  <a:lnTo>
                    <a:pt x="82" y="110"/>
                  </a:lnTo>
                  <a:lnTo>
                    <a:pt x="82" y="111"/>
                  </a:lnTo>
                  <a:lnTo>
                    <a:pt x="81" y="111"/>
                  </a:lnTo>
                  <a:lnTo>
                    <a:pt x="80" y="111"/>
                  </a:lnTo>
                  <a:lnTo>
                    <a:pt x="80" y="112"/>
                  </a:lnTo>
                  <a:lnTo>
                    <a:pt x="80" y="111"/>
                  </a:lnTo>
                  <a:lnTo>
                    <a:pt x="79" y="111"/>
                  </a:lnTo>
                  <a:lnTo>
                    <a:pt x="79" y="112"/>
                  </a:lnTo>
                  <a:lnTo>
                    <a:pt x="79" y="111"/>
                  </a:lnTo>
                  <a:lnTo>
                    <a:pt x="78" y="111"/>
                  </a:lnTo>
                  <a:lnTo>
                    <a:pt x="78" y="112"/>
                  </a:lnTo>
                  <a:lnTo>
                    <a:pt x="76" y="112"/>
                  </a:lnTo>
                  <a:lnTo>
                    <a:pt x="76" y="113"/>
                  </a:lnTo>
                  <a:lnTo>
                    <a:pt x="78" y="113"/>
                  </a:lnTo>
                  <a:lnTo>
                    <a:pt x="76" y="113"/>
                  </a:lnTo>
                  <a:lnTo>
                    <a:pt x="75" y="113"/>
                  </a:lnTo>
                  <a:lnTo>
                    <a:pt x="74" y="113"/>
                  </a:lnTo>
                  <a:lnTo>
                    <a:pt x="73" y="113"/>
                  </a:lnTo>
                  <a:lnTo>
                    <a:pt x="73" y="112"/>
                  </a:lnTo>
                  <a:lnTo>
                    <a:pt x="72" y="112"/>
                  </a:lnTo>
                  <a:lnTo>
                    <a:pt x="70" y="112"/>
                  </a:lnTo>
                  <a:lnTo>
                    <a:pt x="70" y="113"/>
                  </a:lnTo>
                  <a:lnTo>
                    <a:pt x="69" y="113"/>
                  </a:lnTo>
                  <a:lnTo>
                    <a:pt x="69" y="114"/>
                  </a:lnTo>
                  <a:lnTo>
                    <a:pt x="69" y="113"/>
                  </a:lnTo>
                  <a:lnTo>
                    <a:pt x="68" y="113"/>
                  </a:lnTo>
                  <a:lnTo>
                    <a:pt x="68" y="114"/>
                  </a:lnTo>
                  <a:lnTo>
                    <a:pt x="67" y="114"/>
                  </a:lnTo>
                  <a:lnTo>
                    <a:pt x="67" y="116"/>
                  </a:lnTo>
                  <a:lnTo>
                    <a:pt x="67" y="114"/>
                  </a:lnTo>
                  <a:lnTo>
                    <a:pt x="65" y="114"/>
                  </a:lnTo>
                  <a:lnTo>
                    <a:pt x="64" y="114"/>
                  </a:lnTo>
                  <a:lnTo>
                    <a:pt x="64" y="113"/>
                  </a:lnTo>
                  <a:lnTo>
                    <a:pt x="64" y="112"/>
                  </a:lnTo>
                  <a:lnTo>
                    <a:pt x="65" y="112"/>
                  </a:lnTo>
                  <a:lnTo>
                    <a:pt x="65" y="113"/>
                  </a:lnTo>
                  <a:lnTo>
                    <a:pt x="67" y="113"/>
                  </a:lnTo>
                  <a:lnTo>
                    <a:pt x="67" y="112"/>
                  </a:lnTo>
                  <a:lnTo>
                    <a:pt x="67" y="111"/>
                  </a:lnTo>
                  <a:lnTo>
                    <a:pt x="68" y="111"/>
                  </a:lnTo>
                  <a:lnTo>
                    <a:pt x="67" y="110"/>
                  </a:lnTo>
                  <a:lnTo>
                    <a:pt x="67" y="111"/>
                  </a:lnTo>
                  <a:lnTo>
                    <a:pt x="65" y="111"/>
                  </a:lnTo>
                  <a:lnTo>
                    <a:pt x="64" y="111"/>
                  </a:lnTo>
                  <a:lnTo>
                    <a:pt x="64" y="112"/>
                  </a:lnTo>
                  <a:lnTo>
                    <a:pt x="64" y="111"/>
                  </a:lnTo>
                  <a:lnTo>
                    <a:pt x="63" y="111"/>
                  </a:lnTo>
                  <a:lnTo>
                    <a:pt x="63" y="112"/>
                  </a:lnTo>
                  <a:lnTo>
                    <a:pt x="63" y="113"/>
                  </a:lnTo>
                  <a:lnTo>
                    <a:pt x="63" y="112"/>
                  </a:lnTo>
                  <a:lnTo>
                    <a:pt x="62" y="112"/>
                  </a:lnTo>
                  <a:lnTo>
                    <a:pt x="61" y="112"/>
                  </a:lnTo>
                  <a:lnTo>
                    <a:pt x="61" y="111"/>
                  </a:lnTo>
                  <a:lnTo>
                    <a:pt x="59" y="111"/>
                  </a:lnTo>
                  <a:lnTo>
                    <a:pt x="58" y="111"/>
                  </a:lnTo>
                  <a:lnTo>
                    <a:pt x="58" y="110"/>
                  </a:lnTo>
                  <a:lnTo>
                    <a:pt x="57" y="110"/>
                  </a:lnTo>
                  <a:lnTo>
                    <a:pt x="57" y="108"/>
                  </a:lnTo>
                  <a:lnTo>
                    <a:pt x="56" y="107"/>
                  </a:lnTo>
                  <a:lnTo>
                    <a:pt x="57" y="107"/>
                  </a:lnTo>
                  <a:lnTo>
                    <a:pt x="57" y="106"/>
                  </a:lnTo>
                  <a:lnTo>
                    <a:pt x="57" y="107"/>
                  </a:lnTo>
                  <a:lnTo>
                    <a:pt x="56" y="106"/>
                  </a:lnTo>
                  <a:lnTo>
                    <a:pt x="56" y="105"/>
                  </a:lnTo>
                  <a:lnTo>
                    <a:pt x="55" y="105"/>
                  </a:lnTo>
                  <a:lnTo>
                    <a:pt x="55" y="104"/>
                  </a:lnTo>
                  <a:lnTo>
                    <a:pt x="55" y="102"/>
                  </a:lnTo>
                  <a:lnTo>
                    <a:pt x="55" y="101"/>
                  </a:lnTo>
                  <a:lnTo>
                    <a:pt x="56" y="101"/>
                  </a:lnTo>
                  <a:lnTo>
                    <a:pt x="56" y="102"/>
                  </a:lnTo>
                  <a:lnTo>
                    <a:pt x="57" y="102"/>
                  </a:lnTo>
                  <a:lnTo>
                    <a:pt x="58" y="102"/>
                  </a:lnTo>
                  <a:lnTo>
                    <a:pt x="58" y="101"/>
                  </a:lnTo>
                  <a:lnTo>
                    <a:pt x="59" y="101"/>
                  </a:lnTo>
                  <a:lnTo>
                    <a:pt x="61" y="101"/>
                  </a:lnTo>
                  <a:lnTo>
                    <a:pt x="61" y="100"/>
                  </a:lnTo>
                  <a:lnTo>
                    <a:pt x="61" y="101"/>
                  </a:lnTo>
                  <a:lnTo>
                    <a:pt x="62" y="101"/>
                  </a:lnTo>
                  <a:lnTo>
                    <a:pt x="62" y="100"/>
                  </a:lnTo>
                  <a:lnTo>
                    <a:pt x="61" y="100"/>
                  </a:lnTo>
                  <a:lnTo>
                    <a:pt x="61" y="99"/>
                  </a:lnTo>
                  <a:lnTo>
                    <a:pt x="59" y="99"/>
                  </a:lnTo>
                  <a:lnTo>
                    <a:pt x="59" y="98"/>
                  </a:lnTo>
                  <a:lnTo>
                    <a:pt x="61" y="98"/>
                  </a:lnTo>
                  <a:lnTo>
                    <a:pt x="59" y="98"/>
                  </a:lnTo>
                  <a:lnTo>
                    <a:pt x="59" y="96"/>
                  </a:lnTo>
                  <a:lnTo>
                    <a:pt x="58" y="96"/>
                  </a:lnTo>
                  <a:lnTo>
                    <a:pt x="58" y="95"/>
                  </a:lnTo>
                  <a:lnTo>
                    <a:pt x="58" y="94"/>
                  </a:lnTo>
                  <a:lnTo>
                    <a:pt x="58" y="93"/>
                  </a:lnTo>
                  <a:lnTo>
                    <a:pt x="57" y="93"/>
                  </a:lnTo>
                  <a:lnTo>
                    <a:pt x="57" y="92"/>
                  </a:lnTo>
                  <a:lnTo>
                    <a:pt x="57" y="90"/>
                  </a:lnTo>
                  <a:lnTo>
                    <a:pt x="57" y="89"/>
                  </a:lnTo>
                  <a:lnTo>
                    <a:pt x="57" y="88"/>
                  </a:lnTo>
                  <a:lnTo>
                    <a:pt x="57" y="87"/>
                  </a:lnTo>
                  <a:lnTo>
                    <a:pt x="56" y="87"/>
                  </a:lnTo>
                  <a:lnTo>
                    <a:pt x="57" y="87"/>
                  </a:lnTo>
                  <a:lnTo>
                    <a:pt x="57" y="86"/>
                  </a:lnTo>
                  <a:lnTo>
                    <a:pt x="58" y="86"/>
                  </a:lnTo>
                  <a:lnTo>
                    <a:pt x="58" y="87"/>
                  </a:lnTo>
                  <a:lnTo>
                    <a:pt x="59" y="87"/>
                  </a:lnTo>
                  <a:lnTo>
                    <a:pt x="59" y="88"/>
                  </a:lnTo>
                  <a:lnTo>
                    <a:pt x="61" y="88"/>
                  </a:lnTo>
                  <a:lnTo>
                    <a:pt x="61" y="89"/>
                  </a:lnTo>
                  <a:lnTo>
                    <a:pt x="61" y="88"/>
                  </a:lnTo>
                  <a:lnTo>
                    <a:pt x="61" y="87"/>
                  </a:lnTo>
                  <a:lnTo>
                    <a:pt x="62" y="87"/>
                  </a:lnTo>
                  <a:lnTo>
                    <a:pt x="62" y="86"/>
                  </a:lnTo>
                  <a:lnTo>
                    <a:pt x="63" y="87"/>
                  </a:lnTo>
                  <a:lnTo>
                    <a:pt x="63" y="88"/>
                  </a:lnTo>
                  <a:lnTo>
                    <a:pt x="63" y="87"/>
                  </a:lnTo>
                  <a:lnTo>
                    <a:pt x="64" y="87"/>
                  </a:lnTo>
                  <a:lnTo>
                    <a:pt x="65" y="87"/>
                  </a:lnTo>
                  <a:lnTo>
                    <a:pt x="65" y="88"/>
                  </a:lnTo>
                  <a:lnTo>
                    <a:pt x="67" y="88"/>
                  </a:lnTo>
                  <a:lnTo>
                    <a:pt x="67" y="89"/>
                  </a:lnTo>
                  <a:lnTo>
                    <a:pt x="68" y="90"/>
                  </a:lnTo>
                  <a:lnTo>
                    <a:pt x="69" y="90"/>
                  </a:lnTo>
                  <a:lnTo>
                    <a:pt x="69" y="89"/>
                  </a:lnTo>
                  <a:lnTo>
                    <a:pt x="68" y="89"/>
                  </a:lnTo>
                  <a:lnTo>
                    <a:pt x="68" y="88"/>
                  </a:lnTo>
                  <a:lnTo>
                    <a:pt x="67" y="88"/>
                  </a:lnTo>
                  <a:lnTo>
                    <a:pt x="67" y="87"/>
                  </a:lnTo>
                  <a:lnTo>
                    <a:pt x="67" y="86"/>
                  </a:lnTo>
                  <a:lnTo>
                    <a:pt x="68" y="86"/>
                  </a:lnTo>
                  <a:lnTo>
                    <a:pt x="69" y="86"/>
                  </a:lnTo>
                  <a:lnTo>
                    <a:pt x="70" y="86"/>
                  </a:lnTo>
                  <a:lnTo>
                    <a:pt x="70" y="87"/>
                  </a:lnTo>
                  <a:lnTo>
                    <a:pt x="72" y="87"/>
                  </a:lnTo>
                  <a:lnTo>
                    <a:pt x="73" y="87"/>
                  </a:lnTo>
                  <a:lnTo>
                    <a:pt x="74" y="87"/>
                  </a:lnTo>
                  <a:lnTo>
                    <a:pt x="75" y="87"/>
                  </a:lnTo>
                  <a:lnTo>
                    <a:pt x="75" y="86"/>
                  </a:lnTo>
                  <a:lnTo>
                    <a:pt x="74" y="86"/>
                  </a:lnTo>
                  <a:lnTo>
                    <a:pt x="74" y="84"/>
                  </a:lnTo>
                  <a:lnTo>
                    <a:pt x="73" y="84"/>
                  </a:lnTo>
                  <a:lnTo>
                    <a:pt x="72" y="84"/>
                  </a:lnTo>
                  <a:lnTo>
                    <a:pt x="72" y="83"/>
                  </a:lnTo>
                  <a:lnTo>
                    <a:pt x="70" y="83"/>
                  </a:lnTo>
                  <a:lnTo>
                    <a:pt x="69" y="83"/>
                  </a:lnTo>
                  <a:lnTo>
                    <a:pt x="68" y="83"/>
                  </a:lnTo>
                  <a:lnTo>
                    <a:pt x="67" y="83"/>
                  </a:lnTo>
                  <a:lnTo>
                    <a:pt x="67" y="82"/>
                  </a:lnTo>
                  <a:lnTo>
                    <a:pt x="67" y="81"/>
                  </a:lnTo>
                  <a:lnTo>
                    <a:pt x="65" y="81"/>
                  </a:lnTo>
                  <a:lnTo>
                    <a:pt x="64" y="81"/>
                  </a:lnTo>
                  <a:lnTo>
                    <a:pt x="64" y="80"/>
                  </a:lnTo>
                  <a:lnTo>
                    <a:pt x="64" y="78"/>
                  </a:lnTo>
                  <a:lnTo>
                    <a:pt x="64" y="77"/>
                  </a:lnTo>
                  <a:lnTo>
                    <a:pt x="63" y="77"/>
                  </a:lnTo>
                  <a:lnTo>
                    <a:pt x="62" y="77"/>
                  </a:lnTo>
                  <a:lnTo>
                    <a:pt x="63" y="76"/>
                  </a:lnTo>
                  <a:lnTo>
                    <a:pt x="64" y="76"/>
                  </a:lnTo>
                  <a:lnTo>
                    <a:pt x="65" y="76"/>
                  </a:lnTo>
                  <a:lnTo>
                    <a:pt x="67" y="76"/>
                  </a:lnTo>
                  <a:lnTo>
                    <a:pt x="67" y="77"/>
                  </a:lnTo>
                  <a:lnTo>
                    <a:pt x="67" y="76"/>
                  </a:lnTo>
                  <a:lnTo>
                    <a:pt x="67" y="75"/>
                  </a:lnTo>
                  <a:lnTo>
                    <a:pt x="67" y="74"/>
                  </a:lnTo>
                  <a:lnTo>
                    <a:pt x="68" y="74"/>
                  </a:lnTo>
                  <a:lnTo>
                    <a:pt x="68" y="75"/>
                  </a:lnTo>
                  <a:lnTo>
                    <a:pt x="68" y="76"/>
                  </a:lnTo>
                  <a:lnTo>
                    <a:pt x="69" y="76"/>
                  </a:lnTo>
                  <a:lnTo>
                    <a:pt x="69" y="75"/>
                  </a:lnTo>
                  <a:lnTo>
                    <a:pt x="70" y="76"/>
                  </a:lnTo>
                  <a:lnTo>
                    <a:pt x="69" y="76"/>
                  </a:lnTo>
                  <a:lnTo>
                    <a:pt x="69" y="77"/>
                  </a:lnTo>
                  <a:lnTo>
                    <a:pt x="70" y="77"/>
                  </a:lnTo>
                  <a:lnTo>
                    <a:pt x="70" y="78"/>
                  </a:lnTo>
                  <a:lnTo>
                    <a:pt x="72" y="77"/>
                  </a:lnTo>
                  <a:lnTo>
                    <a:pt x="73" y="77"/>
                  </a:lnTo>
                  <a:lnTo>
                    <a:pt x="74" y="77"/>
                  </a:lnTo>
                  <a:lnTo>
                    <a:pt x="75" y="77"/>
                  </a:lnTo>
                  <a:lnTo>
                    <a:pt x="75" y="78"/>
                  </a:lnTo>
                  <a:lnTo>
                    <a:pt x="76" y="78"/>
                  </a:lnTo>
                  <a:lnTo>
                    <a:pt x="76" y="80"/>
                  </a:lnTo>
                  <a:lnTo>
                    <a:pt x="76" y="78"/>
                  </a:lnTo>
                  <a:lnTo>
                    <a:pt x="76" y="77"/>
                  </a:lnTo>
                  <a:lnTo>
                    <a:pt x="75" y="77"/>
                  </a:lnTo>
                  <a:lnTo>
                    <a:pt x="75" y="76"/>
                  </a:lnTo>
                  <a:lnTo>
                    <a:pt x="75" y="75"/>
                  </a:lnTo>
                  <a:lnTo>
                    <a:pt x="76" y="75"/>
                  </a:lnTo>
                  <a:lnTo>
                    <a:pt x="76" y="76"/>
                  </a:lnTo>
                  <a:lnTo>
                    <a:pt x="78" y="76"/>
                  </a:lnTo>
                  <a:lnTo>
                    <a:pt x="78" y="75"/>
                  </a:lnTo>
                  <a:lnTo>
                    <a:pt x="78" y="74"/>
                  </a:lnTo>
                  <a:lnTo>
                    <a:pt x="76" y="74"/>
                  </a:lnTo>
                  <a:lnTo>
                    <a:pt x="76" y="72"/>
                  </a:lnTo>
                  <a:lnTo>
                    <a:pt x="78" y="72"/>
                  </a:lnTo>
                  <a:lnTo>
                    <a:pt x="79" y="72"/>
                  </a:lnTo>
                  <a:lnTo>
                    <a:pt x="80" y="72"/>
                  </a:lnTo>
                  <a:lnTo>
                    <a:pt x="80" y="74"/>
                  </a:lnTo>
                  <a:lnTo>
                    <a:pt x="81" y="74"/>
                  </a:lnTo>
                  <a:lnTo>
                    <a:pt x="81" y="72"/>
                  </a:lnTo>
                  <a:lnTo>
                    <a:pt x="81" y="71"/>
                  </a:lnTo>
                  <a:lnTo>
                    <a:pt x="82" y="71"/>
                  </a:lnTo>
                  <a:lnTo>
                    <a:pt x="81" y="71"/>
                  </a:lnTo>
                  <a:lnTo>
                    <a:pt x="81" y="70"/>
                  </a:lnTo>
                  <a:lnTo>
                    <a:pt x="81" y="69"/>
                  </a:lnTo>
                  <a:lnTo>
                    <a:pt x="82" y="69"/>
                  </a:lnTo>
                  <a:lnTo>
                    <a:pt x="82" y="70"/>
                  </a:lnTo>
                  <a:lnTo>
                    <a:pt x="84" y="70"/>
                  </a:lnTo>
                  <a:lnTo>
                    <a:pt x="84" y="69"/>
                  </a:lnTo>
                  <a:lnTo>
                    <a:pt x="85" y="69"/>
                  </a:lnTo>
                  <a:lnTo>
                    <a:pt x="85" y="68"/>
                  </a:lnTo>
                  <a:lnTo>
                    <a:pt x="85" y="69"/>
                  </a:lnTo>
                  <a:lnTo>
                    <a:pt x="85" y="68"/>
                  </a:lnTo>
                  <a:lnTo>
                    <a:pt x="85" y="66"/>
                  </a:lnTo>
                  <a:lnTo>
                    <a:pt x="84" y="65"/>
                  </a:lnTo>
                  <a:lnTo>
                    <a:pt x="84" y="64"/>
                  </a:lnTo>
                  <a:lnTo>
                    <a:pt x="82" y="64"/>
                  </a:lnTo>
                  <a:lnTo>
                    <a:pt x="84" y="64"/>
                  </a:lnTo>
                  <a:lnTo>
                    <a:pt x="82" y="63"/>
                  </a:lnTo>
                  <a:lnTo>
                    <a:pt x="82" y="64"/>
                  </a:lnTo>
                  <a:lnTo>
                    <a:pt x="81" y="64"/>
                  </a:lnTo>
                  <a:lnTo>
                    <a:pt x="81" y="63"/>
                  </a:lnTo>
                  <a:lnTo>
                    <a:pt x="80" y="63"/>
                  </a:lnTo>
                  <a:lnTo>
                    <a:pt x="80" y="62"/>
                  </a:lnTo>
                  <a:lnTo>
                    <a:pt x="79" y="62"/>
                  </a:lnTo>
                  <a:lnTo>
                    <a:pt x="80" y="62"/>
                  </a:lnTo>
                  <a:lnTo>
                    <a:pt x="80" y="60"/>
                  </a:lnTo>
                  <a:lnTo>
                    <a:pt x="81" y="60"/>
                  </a:lnTo>
                  <a:lnTo>
                    <a:pt x="81" y="59"/>
                  </a:lnTo>
                  <a:lnTo>
                    <a:pt x="80" y="59"/>
                  </a:lnTo>
                  <a:lnTo>
                    <a:pt x="79" y="59"/>
                  </a:lnTo>
                  <a:lnTo>
                    <a:pt x="79" y="58"/>
                  </a:lnTo>
                  <a:lnTo>
                    <a:pt x="78" y="58"/>
                  </a:lnTo>
                  <a:lnTo>
                    <a:pt x="78" y="57"/>
                  </a:lnTo>
                  <a:lnTo>
                    <a:pt x="76" y="57"/>
                  </a:lnTo>
                  <a:lnTo>
                    <a:pt x="78" y="57"/>
                  </a:lnTo>
                  <a:lnTo>
                    <a:pt x="78" y="56"/>
                  </a:lnTo>
                  <a:lnTo>
                    <a:pt x="78" y="54"/>
                  </a:lnTo>
                  <a:lnTo>
                    <a:pt x="78" y="53"/>
                  </a:lnTo>
                  <a:lnTo>
                    <a:pt x="78" y="52"/>
                  </a:lnTo>
                  <a:lnTo>
                    <a:pt x="79" y="52"/>
                  </a:lnTo>
                  <a:lnTo>
                    <a:pt x="79" y="53"/>
                  </a:lnTo>
                  <a:lnTo>
                    <a:pt x="80" y="53"/>
                  </a:lnTo>
                  <a:lnTo>
                    <a:pt x="80" y="52"/>
                  </a:lnTo>
                  <a:lnTo>
                    <a:pt x="81" y="52"/>
                  </a:lnTo>
                  <a:lnTo>
                    <a:pt x="82" y="52"/>
                  </a:lnTo>
                  <a:lnTo>
                    <a:pt x="82" y="53"/>
                  </a:lnTo>
                  <a:lnTo>
                    <a:pt x="84" y="54"/>
                  </a:lnTo>
                  <a:lnTo>
                    <a:pt x="84" y="56"/>
                  </a:lnTo>
                  <a:lnTo>
                    <a:pt x="85" y="56"/>
                  </a:lnTo>
                  <a:lnTo>
                    <a:pt x="86" y="56"/>
                  </a:lnTo>
                  <a:lnTo>
                    <a:pt x="85" y="54"/>
                  </a:lnTo>
                  <a:lnTo>
                    <a:pt x="86" y="54"/>
                  </a:lnTo>
                  <a:lnTo>
                    <a:pt x="86" y="56"/>
                  </a:lnTo>
                  <a:lnTo>
                    <a:pt x="87" y="56"/>
                  </a:lnTo>
                  <a:lnTo>
                    <a:pt x="88" y="56"/>
                  </a:lnTo>
                  <a:lnTo>
                    <a:pt x="88" y="54"/>
                  </a:lnTo>
                  <a:lnTo>
                    <a:pt x="87" y="53"/>
                  </a:lnTo>
                  <a:lnTo>
                    <a:pt x="87" y="52"/>
                  </a:lnTo>
                  <a:lnTo>
                    <a:pt x="87" y="51"/>
                  </a:lnTo>
                  <a:lnTo>
                    <a:pt x="87" y="50"/>
                  </a:lnTo>
                  <a:lnTo>
                    <a:pt x="88" y="50"/>
                  </a:lnTo>
                  <a:lnTo>
                    <a:pt x="88" y="48"/>
                  </a:lnTo>
                  <a:lnTo>
                    <a:pt x="88" y="47"/>
                  </a:lnTo>
                  <a:lnTo>
                    <a:pt x="90" y="47"/>
                  </a:lnTo>
                  <a:lnTo>
                    <a:pt x="90" y="48"/>
                  </a:lnTo>
                  <a:lnTo>
                    <a:pt x="91" y="48"/>
                  </a:lnTo>
                  <a:lnTo>
                    <a:pt x="91" y="50"/>
                  </a:lnTo>
                  <a:lnTo>
                    <a:pt x="91" y="48"/>
                  </a:lnTo>
                  <a:lnTo>
                    <a:pt x="91" y="47"/>
                  </a:lnTo>
                  <a:lnTo>
                    <a:pt x="92" y="47"/>
                  </a:lnTo>
                  <a:lnTo>
                    <a:pt x="92" y="48"/>
                  </a:lnTo>
                  <a:lnTo>
                    <a:pt x="93" y="48"/>
                  </a:lnTo>
                  <a:lnTo>
                    <a:pt x="93" y="50"/>
                  </a:lnTo>
                  <a:lnTo>
                    <a:pt x="93" y="51"/>
                  </a:lnTo>
                  <a:lnTo>
                    <a:pt x="93" y="52"/>
                  </a:lnTo>
                  <a:lnTo>
                    <a:pt x="93" y="53"/>
                  </a:lnTo>
                  <a:lnTo>
                    <a:pt x="93" y="54"/>
                  </a:lnTo>
                  <a:lnTo>
                    <a:pt x="94" y="54"/>
                  </a:lnTo>
                  <a:lnTo>
                    <a:pt x="96" y="54"/>
                  </a:lnTo>
                  <a:lnTo>
                    <a:pt x="97" y="54"/>
                  </a:lnTo>
                  <a:lnTo>
                    <a:pt x="96" y="53"/>
                  </a:lnTo>
                  <a:lnTo>
                    <a:pt x="96" y="52"/>
                  </a:lnTo>
                  <a:lnTo>
                    <a:pt x="96" y="51"/>
                  </a:lnTo>
                  <a:lnTo>
                    <a:pt x="96" y="50"/>
                  </a:lnTo>
                  <a:lnTo>
                    <a:pt x="97" y="50"/>
                  </a:lnTo>
                  <a:lnTo>
                    <a:pt x="97" y="51"/>
                  </a:lnTo>
                  <a:lnTo>
                    <a:pt x="98" y="51"/>
                  </a:lnTo>
                  <a:lnTo>
                    <a:pt x="99" y="51"/>
                  </a:lnTo>
                  <a:lnTo>
                    <a:pt x="99" y="52"/>
                  </a:lnTo>
                  <a:lnTo>
                    <a:pt x="100" y="52"/>
                  </a:lnTo>
                  <a:lnTo>
                    <a:pt x="102" y="52"/>
                  </a:lnTo>
                  <a:lnTo>
                    <a:pt x="102" y="53"/>
                  </a:lnTo>
                  <a:lnTo>
                    <a:pt x="102" y="54"/>
                  </a:lnTo>
                  <a:lnTo>
                    <a:pt x="102" y="56"/>
                  </a:lnTo>
                  <a:lnTo>
                    <a:pt x="102" y="57"/>
                  </a:lnTo>
                  <a:lnTo>
                    <a:pt x="102" y="58"/>
                  </a:lnTo>
                  <a:lnTo>
                    <a:pt x="103" y="59"/>
                  </a:lnTo>
                  <a:lnTo>
                    <a:pt x="104" y="59"/>
                  </a:lnTo>
                  <a:lnTo>
                    <a:pt x="104" y="58"/>
                  </a:lnTo>
                  <a:lnTo>
                    <a:pt x="103" y="58"/>
                  </a:lnTo>
                  <a:lnTo>
                    <a:pt x="103" y="57"/>
                  </a:lnTo>
                  <a:lnTo>
                    <a:pt x="104" y="57"/>
                  </a:lnTo>
                  <a:lnTo>
                    <a:pt x="104" y="56"/>
                  </a:lnTo>
                  <a:lnTo>
                    <a:pt x="104" y="54"/>
                  </a:lnTo>
                  <a:lnTo>
                    <a:pt x="103" y="54"/>
                  </a:lnTo>
                  <a:lnTo>
                    <a:pt x="103" y="53"/>
                  </a:lnTo>
                  <a:lnTo>
                    <a:pt x="104" y="53"/>
                  </a:lnTo>
                  <a:lnTo>
                    <a:pt x="105" y="53"/>
                  </a:lnTo>
                  <a:lnTo>
                    <a:pt x="105" y="52"/>
                  </a:lnTo>
                  <a:lnTo>
                    <a:pt x="106" y="52"/>
                  </a:lnTo>
                  <a:lnTo>
                    <a:pt x="105" y="51"/>
                  </a:lnTo>
                  <a:lnTo>
                    <a:pt x="106" y="51"/>
                  </a:lnTo>
                  <a:lnTo>
                    <a:pt x="108" y="51"/>
                  </a:lnTo>
                  <a:lnTo>
                    <a:pt x="109" y="51"/>
                  </a:lnTo>
                  <a:lnTo>
                    <a:pt x="110" y="51"/>
                  </a:lnTo>
                  <a:lnTo>
                    <a:pt x="110" y="52"/>
                  </a:lnTo>
                  <a:lnTo>
                    <a:pt x="110" y="53"/>
                  </a:lnTo>
                  <a:lnTo>
                    <a:pt x="110" y="52"/>
                  </a:lnTo>
                  <a:lnTo>
                    <a:pt x="111" y="52"/>
                  </a:lnTo>
                  <a:lnTo>
                    <a:pt x="111" y="53"/>
                  </a:lnTo>
                  <a:lnTo>
                    <a:pt x="112" y="53"/>
                  </a:lnTo>
                  <a:lnTo>
                    <a:pt x="112" y="54"/>
                  </a:lnTo>
                  <a:lnTo>
                    <a:pt x="114" y="54"/>
                  </a:lnTo>
                  <a:lnTo>
                    <a:pt x="114" y="56"/>
                  </a:lnTo>
                  <a:lnTo>
                    <a:pt x="115" y="56"/>
                  </a:lnTo>
                  <a:lnTo>
                    <a:pt x="114" y="57"/>
                  </a:lnTo>
                  <a:lnTo>
                    <a:pt x="112" y="57"/>
                  </a:lnTo>
                  <a:lnTo>
                    <a:pt x="112" y="58"/>
                  </a:lnTo>
                  <a:lnTo>
                    <a:pt x="112" y="59"/>
                  </a:lnTo>
                  <a:lnTo>
                    <a:pt x="112" y="60"/>
                  </a:lnTo>
                  <a:lnTo>
                    <a:pt x="114" y="60"/>
                  </a:lnTo>
                  <a:lnTo>
                    <a:pt x="114" y="62"/>
                  </a:lnTo>
                  <a:lnTo>
                    <a:pt x="115" y="62"/>
                  </a:lnTo>
                  <a:lnTo>
                    <a:pt x="114" y="62"/>
                  </a:lnTo>
                  <a:lnTo>
                    <a:pt x="114" y="60"/>
                  </a:lnTo>
                  <a:lnTo>
                    <a:pt x="115" y="60"/>
                  </a:lnTo>
                  <a:lnTo>
                    <a:pt x="115" y="59"/>
                  </a:lnTo>
                  <a:lnTo>
                    <a:pt x="116" y="59"/>
                  </a:lnTo>
                  <a:lnTo>
                    <a:pt x="116" y="58"/>
                  </a:lnTo>
                  <a:lnTo>
                    <a:pt x="117" y="58"/>
                  </a:lnTo>
                  <a:lnTo>
                    <a:pt x="117" y="57"/>
                  </a:lnTo>
                  <a:lnTo>
                    <a:pt x="118" y="57"/>
                  </a:lnTo>
                  <a:lnTo>
                    <a:pt x="120" y="57"/>
                  </a:lnTo>
                  <a:lnTo>
                    <a:pt x="120" y="58"/>
                  </a:lnTo>
                  <a:lnTo>
                    <a:pt x="120" y="59"/>
                  </a:lnTo>
                  <a:lnTo>
                    <a:pt x="121" y="59"/>
                  </a:lnTo>
                  <a:lnTo>
                    <a:pt x="121" y="58"/>
                  </a:lnTo>
                  <a:lnTo>
                    <a:pt x="120" y="58"/>
                  </a:lnTo>
                  <a:lnTo>
                    <a:pt x="121" y="58"/>
                  </a:lnTo>
                  <a:lnTo>
                    <a:pt x="122" y="58"/>
                  </a:lnTo>
                  <a:lnTo>
                    <a:pt x="122" y="59"/>
                  </a:lnTo>
                  <a:lnTo>
                    <a:pt x="122" y="60"/>
                  </a:lnTo>
                  <a:lnTo>
                    <a:pt x="121" y="60"/>
                  </a:lnTo>
                  <a:lnTo>
                    <a:pt x="122" y="60"/>
                  </a:lnTo>
                  <a:lnTo>
                    <a:pt x="121" y="60"/>
                  </a:lnTo>
                  <a:lnTo>
                    <a:pt x="121" y="62"/>
                  </a:lnTo>
                  <a:lnTo>
                    <a:pt x="121" y="63"/>
                  </a:lnTo>
                  <a:lnTo>
                    <a:pt x="122" y="63"/>
                  </a:lnTo>
                  <a:lnTo>
                    <a:pt x="122" y="64"/>
                  </a:lnTo>
                  <a:lnTo>
                    <a:pt x="122" y="63"/>
                  </a:lnTo>
                  <a:lnTo>
                    <a:pt x="122" y="62"/>
                  </a:lnTo>
                  <a:lnTo>
                    <a:pt x="123" y="62"/>
                  </a:lnTo>
                  <a:lnTo>
                    <a:pt x="123" y="63"/>
                  </a:lnTo>
                  <a:lnTo>
                    <a:pt x="123" y="64"/>
                  </a:lnTo>
                  <a:lnTo>
                    <a:pt x="124" y="64"/>
                  </a:lnTo>
                  <a:lnTo>
                    <a:pt x="124" y="63"/>
                  </a:lnTo>
                  <a:lnTo>
                    <a:pt x="124" y="62"/>
                  </a:lnTo>
                  <a:lnTo>
                    <a:pt x="126" y="62"/>
                  </a:lnTo>
                  <a:lnTo>
                    <a:pt x="126" y="63"/>
                  </a:lnTo>
                  <a:lnTo>
                    <a:pt x="126" y="64"/>
                  </a:lnTo>
                  <a:lnTo>
                    <a:pt x="127" y="63"/>
                  </a:lnTo>
                  <a:lnTo>
                    <a:pt x="127" y="62"/>
                  </a:lnTo>
                  <a:lnTo>
                    <a:pt x="127" y="63"/>
                  </a:lnTo>
                  <a:lnTo>
                    <a:pt x="128" y="63"/>
                  </a:lnTo>
                  <a:lnTo>
                    <a:pt x="128" y="64"/>
                  </a:lnTo>
                  <a:lnTo>
                    <a:pt x="127" y="64"/>
                  </a:lnTo>
                  <a:lnTo>
                    <a:pt x="127" y="65"/>
                  </a:lnTo>
                  <a:lnTo>
                    <a:pt x="126" y="65"/>
                  </a:lnTo>
                  <a:lnTo>
                    <a:pt x="126" y="64"/>
                  </a:lnTo>
                  <a:lnTo>
                    <a:pt x="124" y="64"/>
                  </a:lnTo>
                  <a:lnTo>
                    <a:pt x="124" y="65"/>
                  </a:lnTo>
                  <a:lnTo>
                    <a:pt x="126" y="65"/>
                  </a:lnTo>
                  <a:lnTo>
                    <a:pt x="127" y="65"/>
                  </a:lnTo>
                  <a:lnTo>
                    <a:pt x="127" y="66"/>
                  </a:lnTo>
                  <a:lnTo>
                    <a:pt x="128" y="66"/>
                  </a:lnTo>
                  <a:lnTo>
                    <a:pt x="128" y="65"/>
                  </a:lnTo>
                  <a:lnTo>
                    <a:pt x="129" y="65"/>
                  </a:lnTo>
                  <a:lnTo>
                    <a:pt x="129" y="64"/>
                  </a:lnTo>
                  <a:lnTo>
                    <a:pt x="129" y="63"/>
                  </a:lnTo>
                  <a:lnTo>
                    <a:pt x="128" y="63"/>
                  </a:lnTo>
                  <a:lnTo>
                    <a:pt x="128" y="62"/>
                  </a:lnTo>
                  <a:lnTo>
                    <a:pt x="128" y="60"/>
                  </a:lnTo>
                  <a:lnTo>
                    <a:pt x="127" y="60"/>
                  </a:lnTo>
                  <a:lnTo>
                    <a:pt x="127" y="59"/>
                  </a:lnTo>
                  <a:lnTo>
                    <a:pt x="128" y="59"/>
                  </a:lnTo>
                  <a:lnTo>
                    <a:pt x="128" y="60"/>
                  </a:lnTo>
                  <a:lnTo>
                    <a:pt x="129" y="59"/>
                  </a:lnTo>
                  <a:lnTo>
                    <a:pt x="131" y="59"/>
                  </a:lnTo>
                  <a:lnTo>
                    <a:pt x="131" y="60"/>
                  </a:lnTo>
                  <a:lnTo>
                    <a:pt x="131" y="59"/>
                  </a:lnTo>
                  <a:lnTo>
                    <a:pt x="132" y="59"/>
                  </a:lnTo>
                  <a:lnTo>
                    <a:pt x="132" y="60"/>
                  </a:lnTo>
                  <a:lnTo>
                    <a:pt x="131" y="60"/>
                  </a:lnTo>
                  <a:lnTo>
                    <a:pt x="131" y="62"/>
                  </a:lnTo>
                  <a:lnTo>
                    <a:pt x="131" y="63"/>
                  </a:lnTo>
                  <a:lnTo>
                    <a:pt x="129" y="63"/>
                  </a:lnTo>
                  <a:lnTo>
                    <a:pt x="129" y="64"/>
                  </a:lnTo>
                  <a:lnTo>
                    <a:pt x="129" y="65"/>
                  </a:lnTo>
                  <a:lnTo>
                    <a:pt x="129" y="66"/>
                  </a:lnTo>
                  <a:lnTo>
                    <a:pt x="131" y="66"/>
                  </a:lnTo>
                  <a:lnTo>
                    <a:pt x="131" y="65"/>
                  </a:lnTo>
                  <a:lnTo>
                    <a:pt x="132" y="65"/>
                  </a:lnTo>
                  <a:lnTo>
                    <a:pt x="133" y="65"/>
                  </a:lnTo>
                  <a:lnTo>
                    <a:pt x="134" y="65"/>
                  </a:lnTo>
                  <a:lnTo>
                    <a:pt x="135" y="65"/>
                  </a:lnTo>
                  <a:lnTo>
                    <a:pt x="137" y="66"/>
                  </a:lnTo>
                  <a:lnTo>
                    <a:pt x="137" y="65"/>
                  </a:lnTo>
                  <a:lnTo>
                    <a:pt x="138" y="66"/>
                  </a:lnTo>
                  <a:lnTo>
                    <a:pt x="138" y="65"/>
                  </a:lnTo>
                  <a:lnTo>
                    <a:pt x="139" y="65"/>
                  </a:lnTo>
                  <a:lnTo>
                    <a:pt x="139" y="66"/>
                  </a:lnTo>
                  <a:lnTo>
                    <a:pt x="139" y="65"/>
                  </a:lnTo>
                  <a:lnTo>
                    <a:pt x="139" y="66"/>
                  </a:lnTo>
                  <a:lnTo>
                    <a:pt x="139" y="65"/>
                  </a:lnTo>
                  <a:lnTo>
                    <a:pt x="140" y="65"/>
                  </a:lnTo>
                  <a:lnTo>
                    <a:pt x="140" y="66"/>
                  </a:lnTo>
                  <a:lnTo>
                    <a:pt x="140" y="68"/>
                  </a:lnTo>
                  <a:lnTo>
                    <a:pt x="139" y="68"/>
                  </a:lnTo>
                  <a:lnTo>
                    <a:pt x="139" y="69"/>
                  </a:lnTo>
                  <a:lnTo>
                    <a:pt x="138" y="69"/>
                  </a:lnTo>
                  <a:lnTo>
                    <a:pt x="138" y="70"/>
                  </a:lnTo>
                  <a:lnTo>
                    <a:pt x="139" y="70"/>
                  </a:lnTo>
                  <a:lnTo>
                    <a:pt x="138" y="71"/>
                  </a:lnTo>
                  <a:lnTo>
                    <a:pt x="138" y="72"/>
                  </a:lnTo>
                  <a:lnTo>
                    <a:pt x="138" y="71"/>
                  </a:lnTo>
                  <a:lnTo>
                    <a:pt x="139" y="70"/>
                  </a:lnTo>
                  <a:lnTo>
                    <a:pt x="139" y="71"/>
                  </a:lnTo>
                  <a:lnTo>
                    <a:pt x="140" y="70"/>
                  </a:lnTo>
                  <a:lnTo>
                    <a:pt x="139" y="70"/>
                  </a:lnTo>
                  <a:lnTo>
                    <a:pt x="140" y="70"/>
                  </a:lnTo>
                  <a:lnTo>
                    <a:pt x="140" y="71"/>
                  </a:lnTo>
                  <a:lnTo>
                    <a:pt x="140" y="72"/>
                  </a:lnTo>
                  <a:lnTo>
                    <a:pt x="141" y="72"/>
                  </a:lnTo>
                  <a:lnTo>
                    <a:pt x="141" y="71"/>
                  </a:lnTo>
                  <a:lnTo>
                    <a:pt x="143" y="70"/>
                  </a:lnTo>
                  <a:lnTo>
                    <a:pt x="143" y="71"/>
                  </a:lnTo>
                  <a:lnTo>
                    <a:pt x="144" y="71"/>
                  </a:lnTo>
                  <a:lnTo>
                    <a:pt x="145" y="71"/>
                  </a:lnTo>
                  <a:lnTo>
                    <a:pt x="145" y="72"/>
                  </a:lnTo>
                  <a:lnTo>
                    <a:pt x="146" y="71"/>
                  </a:lnTo>
                  <a:lnTo>
                    <a:pt x="147" y="71"/>
                  </a:lnTo>
                  <a:lnTo>
                    <a:pt x="147" y="72"/>
                  </a:lnTo>
                  <a:lnTo>
                    <a:pt x="147" y="74"/>
                  </a:lnTo>
                  <a:lnTo>
                    <a:pt x="149" y="74"/>
                  </a:lnTo>
                  <a:lnTo>
                    <a:pt x="150" y="74"/>
                  </a:lnTo>
                  <a:lnTo>
                    <a:pt x="151" y="74"/>
                  </a:lnTo>
                  <a:lnTo>
                    <a:pt x="151" y="75"/>
                  </a:lnTo>
                  <a:lnTo>
                    <a:pt x="152" y="75"/>
                  </a:lnTo>
                  <a:lnTo>
                    <a:pt x="151" y="75"/>
                  </a:lnTo>
                  <a:lnTo>
                    <a:pt x="151" y="74"/>
                  </a:lnTo>
                  <a:lnTo>
                    <a:pt x="152" y="74"/>
                  </a:lnTo>
                  <a:lnTo>
                    <a:pt x="152" y="75"/>
                  </a:lnTo>
                  <a:lnTo>
                    <a:pt x="152" y="74"/>
                  </a:lnTo>
                  <a:lnTo>
                    <a:pt x="153" y="75"/>
                  </a:lnTo>
                  <a:lnTo>
                    <a:pt x="152" y="75"/>
                  </a:lnTo>
                  <a:lnTo>
                    <a:pt x="151" y="75"/>
                  </a:lnTo>
                  <a:lnTo>
                    <a:pt x="152" y="75"/>
                  </a:lnTo>
                  <a:lnTo>
                    <a:pt x="152" y="76"/>
                  </a:lnTo>
                  <a:lnTo>
                    <a:pt x="153" y="76"/>
                  </a:lnTo>
                  <a:lnTo>
                    <a:pt x="153" y="75"/>
                  </a:lnTo>
                  <a:lnTo>
                    <a:pt x="153" y="74"/>
                  </a:lnTo>
                  <a:lnTo>
                    <a:pt x="153" y="75"/>
                  </a:lnTo>
                  <a:lnTo>
                    <a:pt x="155" y="75"/>
                  </a:lnTo>
                  <a:lnTo>
                    <a:pt x="153" y="76"/>
                  </a:lnTo>
                  <a:lnTo>
                    <a:pt x="155" y="76"/>
                  </a:lnTo>
                  <a:lnTo>
                    <a:pt x="155" y="77"/>
                  </a:lnTo>
                  <a:lnTo>
                    <a:pt x="155" y="76"/>
                  </a:lnTo>
                  <a:lnTo>
                    <a:pt x="156" y="76"/>
                  </a:lnTo>
                  <a:lnTo>
                    <a:pt x="157" y="76"/>
                  </a:lnTo>
                  <a:lnTo>
                    <a:pt x="158" y="76"/>
                  </a:lnTo>
                  <a:lnTo>
                    <a:pt x="158" y="77"/>
                  </a:lnTo>
                  <a:lnTo>
                    <a:pt x="158" y="78"/>
                  </a:lnTo>
                  <a:lnTo>
                    <a:pt x="158" y="77"/>
                  </a:lnTo>
                  <a:lnTo>
                    <a:pt x="159" y="77"/>
                  </a:lnTo>
                  <a:lnTo>
                    <a:pt x="159" y="78"/>
                  </a:lnTo>
                  <a:lnTo>
                    <a:pt x="159" y="80"/>
                  </a:lnTo>
                  <a:lnTo>
                    <a:pt x="161" y="80"/>
                  </a:lnTo>
                  <a:lnTo>
                    <a:pt x="159" y="80"/>
                  </a:lnTo>
                  <a:lnTo>
                    <a:pt x="161" y="80"/>
                  </a:lnTo>
                  <a:lnTo>
                    <a:pt x="159" y="81"/>
                  </a:lnTo>
                  <a:lnTo>
                    <a:pt x="159" y="82"/>
                  </a:lnTo>
                  <a:lnTo>
                    <a:pt x="158" y="82"/>
                  </a:lnTo>
                  <a:lnTo>
                    <a:pt x="157" y="82"/>
                  </a:lnTo>
                  <a:lnTo>
                    <a:pt x="157" y="83"/>
                  </a:lnTo>
                  <a:lnTo>
                    <a:pt x="156" y="83"/>
                  </a:lnTo>
                  <a:lnTo>
                    <a:pt x="156" y="82"/>
                  </a:lnTo>
                  <a:lnTo>
                    <a:pt x="157" y="82"/>
                  </a:lnTo>
                  <a:lnTo>
                    <a:pt x="157" y="81"/>
                  </a:lnTo>
                  <a:lnTo>
                    <a:pt x="157" y="82"/>
                  </a:lnTo>
                  <a:lnTo>
                    <a:pt x="156" y="82"/>
                  </a:lnTo>
                  <a:lnTo>
                    <a:pt x="156" y="83"/>
                  </a:lnTo>
                  <a:lnTo>
                    <a:pt x="156" y="82"/>
                  </a:lnTo>
                  <a:lnTo>
                    <a:pt x="156" y="81"/>
                  </a:lnTo>
                  <a:lnTo>
                    <a:pt x="155" y="81"/>
                  </a:lnTo>
                  <a:lnTo>
                    <a:pt x="153" y="81"/>
                  </a:lnTo>
                  <a:lnTo>
                    <a:pt x="155" y="82"/>
                  </a:lnTo>
                  <a:lnTo>
                    <a:pt x="155" y="81"/>
                  </a:lnTo>
                  <a:lnTo>
                    <a:pt x="155" y="82"/>
                  </a:lnTo>
                  <a:lnTo>
                    <a:pt x="156" y="82"/>
                  </a:lnTo>
                  <a:lnTo>
                    <a:pt x="155" y="82"/>
                  </a:lnTo>
                  <a:lnTo>
                    <a:pt x="156" y="82"/>
                  </a:lnTo>
                  <a:lnTo>
                    <a:pt x="155" y="83"/>
                  </a:lnTo>
                  <a:lnTo>
                    <a:pt x="157" y="83"/>
                  </a:lnTo>
                  <a:lnTo>
                    <a:pt x="158" y="83"/>
                  </a:lnTo>
                  <a:lnTo>
                    <a:pt x="158" y="84"/>
                  </a:lnTo>
                  <a:lnTo>
                    <a:pt x="157" y="86"/>
                  </a:lnTo>
                  <a:lnTo>
                    <a:pt x="158" y="86"/>
                  </a:lnTo>
                  <a:lnTo>
                    <a:pt x="158" y="87"/>
                  </a:lnTo>
                  <a:lnTo>
                    <a:pt x="157" y="87"/>
                  </a:lnTo>
                  <a:lnTo>
                    <a:pt x="158" y="87"/>
                  </a:lnTo>
                  <a:lnTo>
                    <a:pt x="158" y="86"/>
                  </a:lnTo>
                  <a:lnTo>
                    <a:pt x="159" y="86"/>
                  </a:lnTo>
                  <a:lnTo>
                    <a:pt x="159" y="84"/>
                  </a:lnTo>
                  <a:lnTo>
                    <a:pt x="158" y="84"/>
                  </a:lnTo>
                  <a:lnTo>
                    <a:pt x="158" y="83"/>
                  </a:lnTo>
                  <a:lnTo>
                    <a:pt x="159" y="83"/>
                  </a:lnTo>
                  <a:lnTo>
                    <a:pt x="159" y="84"/>
                  </a:lnTo>
                  <a:lnTo>
                    <a:pt x="159" y="83"/>
                  </a:lnTo>
                  <a:lnTo>
                    <a:pt x="161" y="83"/>
                  </a:lnTo>
                  <a:lnTo>
                    <a:pt x="161" y="84"/>
                  </a:lnTo>
                  <a:lnTo>
                    <a:pt x="162" y="84"/>
                  </a:lnTo>
                  <a:lnTo>
                    <a:pt x="163" y="84"/>
                  </a:lnTo>
                  <a:lnTo>
                    <a:pt x="163" y="86"/>
                  </a:lnTo>
                  <a:lnTo>
                    <a:pt x="163" y="87"/>
                  </a:lnTo>
                  <a:lnTo>
                    <a:pt x="164" y="87"/>
                  </a:lnTo>
                  <a:lnTo>
                    <a:pt x="164" y="88"/>
                  </a:lnTo>
                  <a:lnTo>
                    <a:pt x="163" y="87"/>
                  </a:lnTo>
                  <a:lnTo>
                    <a:pt x="163" y="88"/>
                  </a:lnTo>
                  <a:lnTo>
                    <a:pt x="163" y="89"/>
                  </a:lnTo>
                  <a:lnTo>
                    <a:pt x="164" y="89"/>
                  </a:lnTo>
                  <a:lnTo>
                    <a:pt x="165" y="89"/>
                  </a:lnTo>
                  <a:lnTo>
                    <a:pt x="165" y="90"/>
                  </a:lnTo>
                  <a:lnTo>
                    <a:pt x="165" y="89"/>
                  </a:lnTo>
                  <a:lnTo>
                    <a:pt x="165" y="88"/>
                  </a:lnTo>
                  <a:lnTo>
                    <a:pt x="164" y="88"/>
                  </a:lnTo>
                  <a:lnTo>
                    <a:pt x="165" y="88"/>
                  </a:lnTo>
                  <a:lnTo>
                    <a:pt x="165" y="87"/>
                  </a:lnTo>
                  <a:lnTo>
                    <a:pt x="164" y="87"/>
                  </a:lnTo>
                  <a:lnTo>
                    <a:pt x="164" y="86"/>
                  </a:lnTo>
                  <a:lnTo>
                    <a:pt x="163" y="86"/>
                  </a:lnTo>
                  <a:lnTo>
                    <a:pt x="163" y="84"/>
                  </a:lnTo>
                  <a:lnTo>
                    <a:pt x="164" y="84"/>
                  </a:lnTo>
                  <a:lnTo>
                    <a:pt x="164" y="83"/>
                  </a:lnTo>
                  <a:lnTo>
                    <a:pt x="163" y="83"/>
                  </a:lnTo>
                  <a:lnTo>
                    <a:pt x="163" y="82"/>
                  </a:lnTo>
                  <a:lnTo>
                    <a:pt x="163" y="81"/>
                  </a:lnTo>
                  <a:lnTo>
                    <a:pt x="163" y="80"/>
                  </a:lnTo>
                  <a:lnTo>
                    <a:pt x="162" y="80"/>
                  </a:lnTo>
                  <a:lnTo>
                    <a:pt x="162" y="78"/>
                  </a:lnTo>
                  <a:lnTo>
                    <a:pt x="162" y="77"/>
                  </a:lnTo>
                  <a:lnTo>
                    <a:pt x="162" y="76"/>
                  </a:lnTo>
                  <a:lnTo>
                    <a:pt x="162" y="75"/>
                  </a:lnTo>
                  <a:lnTo>
                    <a:pt x="161" y="75"/>
                  </a:lnTo>
                  <a:lnTo>
                    <a:pt x="162" y="75"/>
                  </a:lnTo>
                  <a:lnTo>
                    <a:pt x="161" y="75"/>
                  </a:lnTo>
                  <a:lnTo>
                    <a:pt x="161" y="74"/>
                  </a:lnTo>
                  <a:lnTo>
                    <a:pt x="161" y="75"/>
                  </a:lnTo>
                  <a:lnTo>
                    <a:pt x="159" y="75"/>
                  </a:lnTo>
                  <a:lnTo>
                    <a:pt x="159" y="74"/>
                  </a:lnTo>
                  <a:lnTo>
                    <a:pt x="159" y="72"/>
                  </a:lnTo>
                  <a:lnTo>
                    <a:pt x="161" y="72"/>
                  </a:lnTo>
                  <a:lnTo>
                    <a:pt x="159" y="72"/>
                  </a:lnTo>
                  <a:lnTo>
                    <a:pt x="159" y="71"/>
                  </a:lnTo>
                  <a:lnTo>
                    <a:pt x="159" y="72"/>
                  </a:lnTo>
                  <a:lnTo>
                    <a:pt x="158" y="71"/>
                  </a:lnTo>
                  <a:lnTo>
                    <a:pt x="157" y="72"/>
                  </a:lnTo>
                  <a:lnTo>
                    <a:pt x="156" y="72"/>
                  </a:lnTo>
                  <a:lnTo>
                    <a:pt x="156" y="71"/>
                  </a:lnTo>
                  <a:lnTo>
                    <a:pt x="155" y="71"/>
                  </a:lnTo>
                  <a:lnTo>
                    <a:pt x="155" y="70"/>
                  </a:lnTo>
                  <a:lnTo>
                    <a:pt x="156" y="70"/>
                  </a:lnTo>
                  <a:lnTo>
                    <a:pt x="156" y="69"/>
                  </a:lnTo>
                  <a:lnTo>
                    <a:pt x="157" y="69"/>
                  </a:lnTo>
                  <a:lnTo>
                    <a:pt x="158" y="69"/>
                  </a:lnTo>
                  <a:lnTo>
                    <a:pt x="157" y="69"/>
                  </a:lnTo>
                  <a:lnTo>
                    <a:pt x="157" y="68"/>
                  </a:lnTo>
                  <a:lnTo>
                    <a:pt x="156" y="68"/>
                  </a:lnTo>
                  <a:lnTo>
                    <a:pt x="156" y="69"/>
                  </a:lnTo>
                  <a:lnTo>
                    <a:pt x="155" y="69"/>
                  </a:lnTo>
                  <a:lnTo>
                    <a:pt x="153" y="69"/>
                  </a:lnTo>
                  <a:lnTo>
                    <a:pt x="152" y="69"/>
                  </a:lnTo>
                  <a:lnTo>
                    <a:pt x="152" y="68"/>
                  </a:lnTo>
                  <a:lnTo>
                    <a:pt x="152" y="69"/>
                  </a:lnTo>
                  <a:lnTo>
                    <a:pt x="151" y="69"/>
                  </a:lnTo>
                  <a:lnTo>
                    <a:pt x="150" y="69"/>
                  </a:lnTo>
                  <a:lnTo>
                    <a:pt x="150" y="68"/>
                  </a:lnTo>
                  <a:lnTo>
                    <a:pt x="149" y="68"/>
                  </a:lnTo>
                  <a:lnTo>
                    <a:pt x="147" y="68"/>
                  </a:lnTo>
                  <a:lnTo>
                    <a:pt x="146" y="68"/>
                  </a:lnTo>
                  <a:lnTo>
                    <a:pt x="147" y="68"/>
                  </a:lnTo>
                  <a:lnTo>
                    <a:pt x="147" y="66"/>
                  </a:lnTo>
                  <a:lnTo>
                    <a:pt x="147" y="65"/>
                  </a:lnTo>
                  <a:lnTo>
                    <a:pt x="149" y="65"/>
                  </a:lnTo>
                  <a:lnTo>
                    <a:pt x="149" y="66"/>
                  </a:lnTo>
                  <a:lnTo>
                    <a:pt x="150" y="66"/>
                  </a:lnTo>
                  <a:lnTo>
                    <a:pt x="150" y="65"/>
                  </a:lnTo>
                  <a:lnTo>
                    <a:pt x="149" y="65"/>
                  </a:lnTo>
                  <a:lnTo>
                    <a:pt x="147" y="65"/>
                  </a:lnTo>
                  <a:lnTo>
                    <a:pt x="146" y="65"/>
                  </a:lnTo>
                  <a:lnTo>
                    <a:pt x="146" y="66"/>
                  </a:lnTo>
                  <a:lnTo>
                    <a:pt x="145" y="66"/>
                  </a:lnTo>
                  <a:lnTo>
                    <a:pt x="146" y="65"/>
                  </a:lnTo>
                  <a:lnTo>
                    <a:pt x="147" y="65"/>
                  </a:lnTo>
                  <a:lnTo>
                    <a:pt x="146" y="65"/>
                  </a:lnTo>
                  <a:lnTo>
                    <a:pt x="146" y="64"/>
                  </a:lnTo>
                  <a:lnTo>
                    <a:pt x="146" y="63"/>
                  </a:lnTo>
                  <a:lnTo>
                    <a:pt x="146" y="62"/>
                  </a:lnTo>
                  <a:lnTo>
                    <a:pt x="145" y="62"/>
                  </a:lnTo>
                  <a:lnTo>
                    <a:pt x="144" y="62"/>
                  </a:lnTo>
                  <a:lnTo>
                    <a:pt x="144" y="63"/>
                  </a:lnTo>
                  <a:lnTo>
                    <a:pt x="145" y="63"/>
                  </a:lnTo>
                  <a:lnTo>
                    <a:pt x="144" y="63"/>
                  </a:lnTo>
                  <a:lnTo>
                    <a:pt x="145" y="63"/>
                  </a:lnTo>
                  <a:lnTo>
                    <a:pt x="145" y="64"/>
                  </a:lnTo>
                  <a:lnTo>
                    <a:pt x="144" y="64"/>
                  </a:lnTo>
                  <a:lnTo>
                    <a:pt x="143" y="64"/>
                  </a:lnTo>
                  <a:lnTo>
                    <a:pt x="143" y="65"/>
                  </a:lnTo>
                  <a:lnTo>
                    <a:pt x="141" y="65"/>
                  </a:lnTo>
                  <a:lnTo>
                    <a:pt x="141" y="66"/>
                  </a:lnTo>
                  <a:lnTo>
                    <a:pt x="141" y="65"/>
                  </a:lnTo>
                  <a:lnTo>
                    <a:pt x="140" y="65"/>
                  </a:lnTo>
                  <a:lnTo>
                    <a:pt x="141" y="65"/>
                  </a:lnTo>
                  <a:lnTo>
                    <a:pt x="141" y="64"/>
                  </a:lnTo>
                  <a:lnTo>
                    <a:pt x="140" y="64"/>
                  </a:lnTo>
                  <a:lnTo>
                    <a:pt x="140" y="63"/>
                  </a:lnTo>
                  <a:lnTo>
                    <a:pt x="141" y="63"/>
                  </a:lnTo>
                  <a:lnTo>
                    <a:pt x="141" y="64"/>
                  </a:lnTo>
                  <a:lnTo>
                    <a:pt x="143" y="64"/>
                  </a:lnTo>
                  <a:lnTo>
                    <a:pt x="141" y="64"/>
                  </a:lnTo>
                  <a:lnTo>
                    <a:pt x="141" y="63"/>
                  </a:lnTo>
                  <a:lnTo>
                    <a:pt x="141" y="62"/>
                  </a:lnTo>
                  <a:lnTo>
                    <a:pt x="140" y="62"/>
                  </a:lnTo>
                  <a:lnTo>
                    <a:pt x="140" y="60"/>
                  </a:lnTo>
                  <a:lnTo>
                    <a:pt x="140" y="62"/>
                  </a:lnTo>
                  <a:lnTo>
                    <a:pt x="139" y="62"/>
                  </a:lnTo>
                  <a:lnTo>
                    <a:pt x="138" y="62"/>
                  </a:lnTo>
                  <a:lnTo>
                    <a:pt x="138" y="60"/>
                  </a:lnTo>
                  <a:lnTo>
                    <a:pt x="137" y="60"/>
                  </a:lnTo>
                  <a:lnTo>
                    <a:pt x="137" y="62"/>
                  </a:lnTo>
                  <a:lnTo>
                    <a:pt x="135" y="62"/>
                  </a:lnTo>
                  <a:lnTo>
                    <a:pt x="137" y="60"/>
                  </a:lnTo>
                  <a:lnTo>
                    <a:pt x="135" y="62"/>
                  </a:lnTo>
                  <a:lnTo>
                    <a:pt x="137" y="62"/>
                  </a:lnTo>
                  <a:lnTo>
                    <a:pt x="135" y="62"/>
                  </a:lnTo>
                  <a:lnTo>
                    <a:pt x="135" y="63"/>
                  </a:lnTo>
                  <a:lnTo>
                    <a:pt x="135" y="64"/>
                  </a:lnTo>
                  <a:lnTo>
                    <a:pt x="135" y="63"/>
                  </a:lnTo>
                  <a:lnTo>
                    <a:pt x="134" y="64"/>
                  </a:lnTo>
                  <a:lnTo>
                    <a:pt x="133" y="64"/>
                  </a:lnTo>
                  <a:lnTo>
                    <a:pt x="133" y="63"/>
                  </a:lnTo>
                  <a:lnTo>
                    <a:pt x="134" y="62"/>
                  </a:lnTo>
                  <a:lnTo>
                    <a:pt x="133" y="62"/>
                  </a:lnTo>
                  <a:lnTo>
                    <a:pt x="133" y="63"/>
                  </a:lnTo>
                  <a:lnTo>
                    <a:pt x="133" y="62"/>
                  </a:lnTo>
                  <a:lnTo>
                    <a:pt x="134" y="60"/>
                  </a:lnTo>
                  <a:lnTo>
                    <a:pt x="133" y="60"/>
                  </a:lnTo>
                  <a:lnTo>
                    <a:pt x="134" y="60"/>
                  </a:lnTo>
                  <a:lnTo>
                    <a:pt x="134" y="59"/>
                  </a:lnTo>
                  <a:lnTo>
                    <a:pt x="134" y="58"/>
                  </a:lnTo>
                  <a:lnTo>
                    <a:pt x="133" y="58"/>
                  </a:lnTo>
                  <a:lnTo>
                    <a:pt x="133" y="59"/>
                  </a:lnTo>
                  <a:lnTo>
                    <a:pt x="132" y="59"/>
                  </a:lnTo>
                  <a:lnTo>
                    <a:pt x="132" y="58"/>
                  </a:lnTo>
                  <a:lnTo>
                    <a:pt x="131" y="58"/>
                  </a:lnTo>
                  <a:lnTo>
                    <a:pt x="129" y="58"/>
                  </a:lnTo>
                  <a:lnTo>
                    <a:pt x="128" y="58"/>
                  </a:lnTo>
                  <a:lnTo>
                    <a:pt x="128" y="59"/>
                  </a:lnTo>
                  <a:lnTo>
                    <a:pt x="127" y="58"/>
                  </a:lnTo>
                  <a:lnTo>
                    <a:pt x="128" y="58"/>
                  </a:lnTo>
                  <a:lnTo>
                    <a:pt x="127" y="58"/>
                  </a:lnTo>
                  <a:lnTo>
                    <a:pt x="126" y="58"/>
                  </a:lnTo>
                  <a:lnTo>
                    <a:pt x="124" y="58"/>
                  </a:lnTo>
                  <a:lnTo>
                    <a:pt x="124" y="59"/>
                  </a:lnTo>
                  <a:lnTo>
                    <a:pt x="126" y="59"/>
                  </a:lnTo>
                  <a:lnTo>
                    <a:pt x="124" y="59"/>
                  </a:lnTo>
                  <a:lnTo>
                    <a:pt x="124" y="60"/>
                  </a:lnTo>
                  <a:lnTo>
                    <a:pt x="123" y="60"/>
                  </a:lnTo>
                  <a:lnTo>
                    <a:pt x="123" y="59"/>
                  </a:lnTo>
                  <a:lnTo>
                    <a:pt x="124" y="59"/>
                  </a:lnTo>
                  <a:lnTo>
                    <a:pt x="123" y="59"/>
                  </a:lnTo>
                  <a:lnTo>
                    <a:pt x="124" y="58"/>
                  </a:lnTo>
                  <a:lnTo>
                    <a:pt x="124" y="57"/>
                  </a:lnTo>
                  <a:lnTo>
                    <a:pt x="123" y="57"/>
                  </a:lnTo>
                  <a:lnTo>
                    <a:pt x="123" y="58"/>
                  </a:lnTo>
                  <a:lnTo>
                    <a:pt x="123" y="57"/>
                  </a:lnTo>
                  <a:lnTo>
                    <a:pt x="122" y="57"/>
                  </a:lnTo>
                  <a:lnTo>
                    <a:pt x="122" y="56"/>
                  </a:lnTo>
                  <a:lnTo>
                    <a:pt x="121" y="56"/>
                  </a:lnTo>
                  <a:lnTo>
                    <a:pt x="120" y="54"/>
                  </a:lnTo>
                  <a:lnTo>
                    <a:pt x="118" y="54"/>
                  </a:lnTo>
                  <a:lnTo>
                    <a:pt x="118" y="53"/>
                  </a:lnTo>
                  <a:lnTo>
                    <a:pt x="117" y="53"/>
                  </a:lnTo>
                  <a:lnTo>
                    <a:pt x="118" y="53"/>
                  </a:lnTo>
                  <a:lnTo>
                    <a:pt x="117" y="53"/>
                  </a:lnTo>
                  <a:lnTo>
                    <a:pt x="116" y="52"/>
                  </a:lnTo>
                  <a:lnTo>
                    <a:pt x="115" y="51"/>
                  </a:lnTo>
                  <a:lnTo>
                    <a:pt x="114" y="51"/>
                  </a:lnTo>
                  <a:lnTo>
                    <a:pt x="115" y="50"/>
                  </a:lnTo>
                  <a:lnTo>
                    <a:pt x="115" y="48"/>
                  </a:lnTo>
                  <a:lnTo>
                    <a:pt x="114" y="48"/>
                  </a:lnTo>
                  <a:lnTo>
                    <a:pt x="114" y="47"/>
                  </a:lnTo>
                  <a:lnTo>
                    <a:pt x="114" y="48"/>
                  </a:lnTo>
                  <a:lnTo>
                    <a:pt x="114" y="47"/>
                  </a:lnTo>
                  <a:lnTo>
                    <a:pt x="112" y="47"/>
                  </a:lnTo>
                  <a:lnTo>
                    <a:pt x="112" y="48"/>
                  </a:lnTo>
                  <a:lnTo>
                    <a:pt x="112" y="47"/>
                  </a:lnTo>
                  <a:lnTo>
                    <a:pt x="111" y="47"/>
                  </a:lnTo>
                  <a:lnTo>
                    <a:pt x="111" y="46"/>
                  </a:lnTo>
                  <a:lnTo>
                    <a:pt x="110" y="46"/>
                  </a:lnTo>
                  <a:lnTo>
                    <a:pt x="111" y="46"/>
                  </a:lnTo>
                  <a:lnTo>
                    <a:pt x="111" y="45"/>
                  </a:lnTo>
                  <a:lnTo>
                    <a:pt x="112" y="45"/>
                  </a:lnTo>
                  <a:lnTo>
                    <a:pt x="112" y="44"/>
                  </a:lnTo>
                  <a:lnTo>
                    <a:pt x="114" y="44"/>
                  </a:lnTo>
                  <a:lnTo>
                    <a:pt x="115" y="44"/>
                  </a:lnTo>
                  <a:lnTo>
                    <a:pt x="116" y="45"/>
                  </a:lnTo>
                  <a:lnTo>
                    <a:pt x="116" y="44"/>
                  </a:lnTo>
                  <a:lnTo>
                    <a:pt x="115" y="44"/>
                  </a:lnTo>
                  <a:lnTo>
                    <a:pt x="114" y="42"/>
                  </a:lnTo>
                  <a:lnTo>
                    <a:pt x="114" y="44"/>
                  </a:lnTo>
                  <a:lnTo>
                    <a:pt x="114" y="42"/>
                  </a:lnTo>
                  <a:lnTo>
                    <a:pt x="112" y="42"/>
                  </a:lnTo>
                  <a:lnTo>
                    <a:pt x="112" y="41"/>
                  </a:lnTo>
                  <a:lnTo>
                    <a:pt x="112" y="40"/>
                  </a:lnTo>
                  <a:lnTo>
                    <a:pt x="111" y="40"/>
                  </a:lnTo>
                  <a:lnTo>
                    <a:pt x="111" y="39"/>
                  </a:lnTo>
                  <a:lnTo>
                    <a:pt x="111" y="37"/>
                  </a:lnTo>
                  <a:lnTo>
                    <a:pt x="112" y="37"/>
                  </a:lnTo>
                  <a:lnTo>
                    <a:pt x="112" y="39"/>
                  </a:lnTo>
                  <a:lnTo>
                    <a:pt x="114" y="39"/>
                  </a:lnTo>
                  <a:lnTo>
                    <a:pt x="115" y="39"/>
                  </a:lnTo>
                  <a:lnTo>
                    <a:pt x="116" y="39"/>
                  </a:lnTo>
                  <a:lnTo>
                    <a:pt x="117" y="39"/>
                  </a:lnTo>
                  <a:lnTo>
                    <a:pt x="117" y="37"/>
                  </a:lnTo>
                  <a:lnTo>
                    <a:pt x="116" y="37"/>
                  </a:lnTo>
                  <a:lnTo>
                    <a:pt x="115" y="37"/>
                  </a:lnTo>
                  <a:lnTo>
                    <a:pt x="115" y="36"/>
                  </a:lnTo>
                  <a:lnTo>
                    <a:pt x="115" y="37"/>
                  </a:lnTo>
                  <a:lnTo>
                    <a:pt x="115" y="36"/>
                  </a:lnTo>
                  <a:lnTo>
                    <a:pt x="114" y="36"/>
                  </a:lnTo>
                  <a:lnTo>
                    <a:pt x="114" y="35"/>
                  </a:lnTo>
                  <a:lnTo>
                    <a:pt x="114" y="34"/>
                  </a:lnTo>
                  <a:lnTo>
                    <a:pt x="112" y="34"/>
                  </a:lnTo>
                  <a:lnTo>
                    <a:pt x="112" y="33"/>
                  </a:lnTo>
                  <a:lnTo>
                    <a:pt x="114" y="33"/>
                  </a:lnTo>
                  <a:lnTo>
                    <a:pt x="115" y="33"/>
                  </a:lnTo>
                  <a:lnTo>
                    <a:pt x="115" y="34"/>
                  </a:lnTo>
                  <a:lnTo>
                    <a:pt x="116" y="34"/>
                  </a:lnTo>
                  <a:lnTo>
                    <a:pt x="116" y="33"/>
                  </a:lnTo>
                  <a:lnTo>
                    <a:pt x="115" y="33"/>
                  </a:lnTo>
                  <a:lnTo>
                    <a:pt x="116" y="33"/>
                  </a:lnTo>
                  <a:lnTo>
                    <a:pt x="116" y="31"/>
                  </a:lnTo>
                  <a:lnTo>
                    <a:pt x="115" y="31"/>
                  </a:lnTo>
                  <a:lnTo>
                    <a:pt x="115" y="30"/>
                  </a:lnTo>
                  <a:lnTo>
                    <a:pt x="115" y="29"/>
                  </a:lnTo>
                  <a:lnTo>
                    <a:pt x="116" y="29"/>
                  </a:lnTo>
                  <a:lnTo>
                    <a:pt x="116" y="28"/>
                  </a:lnTo>
                  <a:lnTo>
                    <a:pt x="115" y="28"/>
                  </a:lnTo>
                  <a:lnTo>
                    <a:pt x="115" y="27"/>
                  </a:lnTo>
                  <a:lnTo>
                    <a:pt x="116" y="27"/>
                  </a:lnTo>
                  <a:lnTo>
                    <a:pt x="117" y="27"/>
                  </a:lnTo>
                  <a:lnTo>
                    <a:pt x="117" y="28"/>
                  </a:lnTo>
                  <a:lnTo>
                    <a:pt x="117" y="29"/>
                  </a:lnTo>
                  <a:lnTo>
                    <a:pt x="117" y="30"/>
                  </a:lnTo>
                  <a:lnTo>
                    <a:pt x="117" y="29"/>
                  </a:lnTo>
                  <a:lnTo>
                    <a:pt x="118" y="29"/>
                  </a:lnTo>
                  <a:lnTo>
                    <a:pt x="118" y="28"/>
                  </a:lnTo>
                  <a:lnTo>
                    <a:pt x="118" y="27"/>
                  </a:lnTo>
                  <a:lnTo>
                    <a:pt x="117" y="27"/>
                  </a:lnTo>
                  <a:lnTo>
                    <a:pt x="117" y="25"/>
                  </a:lnTo>
                  <a:lnTo>
                    <a:pt x="118" y="25"/>
                  </a:lnTo>
                  <a:lnTo>
                    <a:pt x="118" y="24"/>
                  </a:lnTo>
                  <a:lnTo>
                    <a:pt x="118" y="25"/>
                  </a:lnTo>
                  <a:lnTo>
                    <a:pt x="120" y="25"/>
                  </a:lnTo>
                  <a:lnTo>
                    <a:pt x="121" y="25"/>
                  </a:lnTo>
                  <a:lnTo>
                    <a:pt x="120" y="25"/>
                  </a:lnTo>
                  <a:lnTo>
                    <a:pt x="120" y="24"/>
                  </a:lnTo>
                  <a:lnTo>
                    <a:pt x="120" y="23"/>
                  </a:lnTo>
                  <a:lnTo>
                    <a:pt x="121" y="23"/>
                  </a:lnTo>
                  <a:lnTo>
                    <a:pt x="120" y="22"/>
                  </a:lnTo>
                  <a:lnTo>
                    <a:pt x="121" y="22"/>
                  </a:lnTo>
                  <a:lnTo>
                    <a:pt x="120" y="22"/>
                  </a:lnTo>
                  <a:lnTo>
                    <a:pt x="118" y="21"/>
                  </a:lnTo>
                  <a:lnTo>
                    <a:pt x="118" y="19"/>
                  </a:lnTo>
                  <a:lnTo>
                    <a:pt x="120" y="19"/>
                  </a:lnTo>
                  <a:lnTo>
                    <a:pt x="120" y="18"/>
                  </a:lnTo>
                  <a:lnTo>
                    <a:pt x="120" y="17"/>
                  </a:lnTo>
                  <a:lnTo>
                    <a:pt x="118" y="17"/>
                  </a:lnTo>
                  <a:lnTo>
                    <a:pt x="120" y="17"/>
                  </a:lnTo>
                  <a:lnTo>
                    <a:pt x="120" y="16"/>
                  </a:lnTo>
                  <a:lnTo>
                    <a:pt x="120" y="17"/>
                  </a:lnTo>
                  <a:lnTo>
                    <a:pt x="120" y="16"/>
                  </a:lnTo>
                  <a:lnTo>
                    <a:pt x="121" y="16"/>
                  </a:lnTo>
                  <a:lnTo>
                    <a:pt x="121" y="17"/>
                  </a:lnTo>
                  <a:lnTo>
                    <a:pt x="121" y="18"/>
                  </a:lnTo>
                  <a:lnTo>
                    <a:pt x="122" y="18"/>
                  </a:lnTo>
                  <a:lnTo>
                    <a:pt x="123" y="18"/>
                  </a:lnTo>
                  <a:lnTo>
                    <a:pt x="123" y="19"/>
                  </a:lnTo>
                  <a:lnTo>
                    <a:pt x="123" y="21"/>
                  </a:lnTo>
                  <a:lnTo>
                    <a:pt x="124" y="21"/>
                  </a:lnTo>
                  <a:lnTo>
                    <a:pt x="126" y="21"/>
                  </a:lnTo>
                  <a:lnTo>
                    <a:pt x="126" y="19"/>
                  </a:lnTo>
                  <a:lnTo>
                    <a:pt x="126" y="21"/>
                  </a:lnTo>
                  <a:lnTo>
                    <a:pt x="126" y="19"/>
                  </a:lnTo>
                  <a:lnTo>
                    <a:pt x="124" y="19"/>
                  </a:lnTo>
                  <a:lnTo>
                    <a:pt x="126" y="19"/>
                  </a:lnTo>
                  <a:lnTo>
                    <a:pt x="124" y="19"/>
                  </a:lnTo>
                  <a:lnTo>
                    <a:pt x="124" y="18"/>
                  </a:lnTo>
                  <a:lnTo>
                    <a:pt x="124" y="17"/>
                  </a:lnTo>
                  <a:lnTo>
                    <a:pt x="124" y="16"/>
                  </a:lnTo>
                  <a:lnTo>
                    <a:pt x="124" y="15"/>
                  </a:lnTo>
                  <a:lnTo>
                    <a:pt x="123" y="15"/>
                  </a:lnTo>
                  <a:lnTo>
                    <a:pt x="123" y="13"/>
                  </a:lnTo>
                  <a:lnTo>
                    <a:pt x="123" y="12"/>
                  </a:lnTo>
                  <a:lnTo>
                    <a:pt x="123" y="11"/>
                  </a:lnTo>
                  <a:lnTo>
                    <a:pt x="124" y="11"/>
                  </a:lnTo>
                  <a:lnTo>
                    <a:pt x="123" y="11"/>
                  </a:lnTo>
                  <a:lnTo>
                    <a:pt x="124" y="11"/>
                  </a:lnTo>
                  <a:lnTo>
                    <a:pt x="124" y="10"/>
                  </a:lnTo>
                  <a:lnTo>
                    <a:pt x="124" y="9"/>
                  </a:lnTo>
                  <a:lnTo>
                    <a:pt x="124" y="7"/>
                  </a:lnTo>
                  <a:lnTo>
                    <a:pt x="124" y="9"/>
                  </a:lnTo>
                  <a:lnTo>
                    <a:pt x="126" y="9"/>
                  </a:lnTo>
                  <a:lnTo>
                    <a:pt x="126" y="10"/>
                  </a:lnTo>
                  <a:lnTo>
                    <a:pt x="127" y="10"/>
                  </a:lnTo>
                  <a:lnTo>
                    <a:pt x="127" y="11"/>
                  </a:lnTo>
                  <a:lnTo>
                    <a:pt x="127" y="12"/>
                  </a:lnTo>
                  <a:lnTo>
                    <a:pt x="127" y="11"/>
                  </a:lnTo>
                  <a:lnTo>
                    <a:pt x="128" y="11"/>
                  </a:lnTo>
                  <a:lnTo>
                    <a:pt x="129" y="11"/>
                  </a:lnTo>
                  <a:lnTo>
                    <a:pt x="129" y="12"/>
                  </a:lnTo>
                  <a:lnTo>
                    <a:pt x="129" y="11"/>
                  </a:lnTo>
                  <a:lnTo>
                    <a:pt x="131" y="11"/>
                  </a:lnTo>
                  <a:lnTo>
                    <a:pt x="131" y="10"/>
                  </a:lnTo>
                  <a:lnTo>
                    <a:pt x="132" y="10"/>
                  </a:lnTo>
                  <a:lnTo>
                    <a:pt x="132" y="11"/>
                  </a:lnTo>
                  <a:lnTo>
                    <a:pt x="132" y="12"/>
                  </a:lnTo>
                  <a:lnTo>
                    <a:pt x="132" y="13"/>
                  </a:lnTo>
                  <a:lnTo>
                    <a:pt x="133" y="13"/>
                  </a:lnTo>
                  <a:lnTo>
                    <a:pt x="132" y="15"/>
                  </a:lnTo>
                  <a:lnTo>
                    <a:pt x="131" y="16"/>
                  </a:lnTo>
                  <a:lnTo>
                    <a:pt x="131" y="17"/>
                  </a:lnTo>
                  <a:lnTo>
                    <a:pt x="131" y="18"/>
                  </a:lnTo>
                  <a:lnTo>
                    <a:pt x="132" y="18"/>
                  </a:lnTo>
                  <a:lnTo>
                    <a:pt x="133" y="18"/>
                  </a:lnTo>
                  <a:lnTo>
                    <a:pt x="133" y="19"/>
                  </a:lnTo>
                  <a:lnTo>
                    <a:pt x="134" y="19"/>
                  </a:lnTo>
                  <a:lnTo>
                    <a:pt x="133" y="19"/>
                  </a:lnTo>
                  <a:lnTo>
                    <a:pt x="134" y="19"/>
                  </a:lnTo>
                  <a:lnTo>
                    <a:pt x="134" y="18"/>
                  </a:lnTo>
                  <a:lnTo>
                    <a:pt x="134" y="17"/>
                  </a:lnTo>
                  <a:lnTo>
                    <a:pt x="134" y="16"/>
                  </a:lnTo>
                  <a:lnTo>
                    <a:pt x="135" y="16"/>
                  </a:lnTo>
                  <a:lnTo>
                    <a:pt x="135" y="15"/>
                  </a:lnTo>
                  <a:lnTo>
                    <a:pt x="135" y="13"/>
                  </a:lnTo>
                  <a:lnTo>
                    <a:pt x="135" y="12"/>
                  </a:lnTo>
                  <a:lnTo>
                    <a:pt x="137" y="12"/>
                  </a:lnTo>
                  <a:lnTo>
                    <a:pt x="138" y="12"/>
                  </a:lnTo>
                  <a:lnTo>
                    <a:pt x="138" y="13"/>
                  </a:lnTo>
                  <a:lnTo>
                    <a:pt x="138" y="15"/>
                  </a:lnTo>
                  <a:lnTo>
                    <a:pt x="139" y="15"/>
                  </a:lnTo>
                  <a:lnTo>
                    <a:pt x="139" y="16"/>
                  </a:lnTo>
                  <a:lnTo>
                    <a:pt x="140" y="17"/>
                  </a:lnTo>
                  <a:lnTo>
                    <a:pt x="140" y="16"/>
                  </a:lnTo>
                  <a:lnTo>
                    <a:pt x="141" y="16"/>
                  </a:lnTo>
                  <a:lnTo>
                    <a:pt x="141" y="17"/>
                  </a:lnTo>
                  <a:lnTo>
                    <a:pt x="143" y="17"/>
                  </a:lnTo>
                  <a:lnTo>
                    <a:pt x="141" y="16"/>
                  </a:lnTo>
                  <a:lnTo>
                    <a:pt x="141" y="15"/>
                  </a:lnTo>
                  <a:lnTo>
                    <a:pt x="143" y="15"/>
                  </a:lnTo>
                  <a:lnTo>
                    <a:pt x="143" y="13"/>
                  </a:lnTo>
                  <a:lnTo>
                    <a:pt x="143" y="12"/>
                  </a:lnTo>
                  <a:lnTo>
                    <a:pt x="143" y="11"/>
                  </a:lnTo>
                  <a:lnTo>
                    <a:pt x="143" y="12"/>
                  </a:lnTo>
                  <a:lnTo>
                    <a:pt x="144" y="11"/>
                  </a:lnTo>
                  <a:lnTo>
                    <a:pt x="143" y="11"/>
                  </a:lnTo>
                  <a:lnTo>
                    <a:pt x="141" y="10"/>
                  </a:lnTo>
                  <a:lnTo>
                    <a:pt x="141" y="11"/>
                  </a:lnTo>
                  <a:lnTo>
                    <a:pt x="141" y="10"/>
                  </a:lnTo>
                  <a:lnTo>
                    <a:pt x="141" y="9"/>
                  </a:lnTo>
                  <a:lnTo>
                    <a:pt x="140" y="9"/>
                  </a:lnTo>
                  <a:lnTo>
                    <a:pt x="140" y="7"/>
                  </a:lnTo>
                  <a:lnTo>
                    <a:pt x="139" y="7"/>
                  </a:lnTo>
                  <a:lnTo>
                    <a:pt x="140" y="6"/>
                  </a:lnTo>
                  <a:lnTo>
                    <a:pt x="141" y="6"/>
                  </a:lnTo>
                  <a:lnTo>
                    <a:pt x="141" y="7"/>
                  </a:lnTo>
                  <a:lnTo>
                    <a:pt x="141" y="6"/>
                  </a:lnTo>
                  <a:lnTo>
                    <a:pt x="141" y="5"/>
                  </a:lnTo>
                  <a:lnTo>
                    <a:pt x="143" y="4"/>
                  </a:lnTo>
                  <a:lnTo>
                    <a:pt x="144" y="4"/>
                  </a:lnTo>
                  <a:lnTo>
                    <a:pt x="144" y="5"/>
                  </a:lnTo>
                  <a:lnTo>
                    <a:pt x="145" y="5"/>
                  </a:lnTo>
                  <a:lnTo>
                    <a:pt x="145" y="6"/>
                  </a:lnTo>
                  <a:lnTo>
                    <a:pt x="145" y="7"/>
                  </a:lnTo>
                  <a:lnTo>
                    <a:pt x="145" y="9"/>
                  </a:lnTo>
                  <a:lnTo>
                    <a:pt x="144" y="9"/>
                  </a:lnTo>
                  <a:lnTo>
                    <a:pt x="144" y="10"/>
                  </a:lnTo>
                  <a:lnTo>
                    <a:pt x="145" y="10"/>
                  </a:lnTo>
                  <a:lnTo>
                    <a:pt x="146" y="10"/>
                  </a:lnTo>
                  <a:lnTo>
                    <a:pt x="146" y="9"/>
                  </a:lnTo>
                  <a:lnTo>
                    <a:pt x="147" y="9"/>
                  </a:lnTo>
                  <a:lnTo>
                    <a:pt x="147" y="10"/>
                  </a:lnTo>
                  <a:lnTo>
                    <a:pt x="147" y="11"/>
                  </a:lnTo>
                  <a:lnTo>
                    <a:pt x="149" y="11"/>
                  </a:lnTo>
                  <a:lnTo>
                    <a:pt x="149" y="12"/>
                  </a:lnTo>
                  <a:lnTo>
                    <a:pt x="149" y="11"/>
                  </a:lnTo>
                  <a:lnTo>
                    <a:pt x="150" y="11"/>
                  </a:lnTo>
                  <a:lnTo>
                    <a:pt x="149" y="10"/>
                  </a:lnTo>
                  <a:lnTo>
                    <a:pt x="150" y="10"/>
                  </a:lnTo>
                  <a:lnTo>
                    <a:pt x="149" y="9"/>
                  </a:lnTo>
                  <a:lnTo>
                    <a:pt x="149" y="7"/>
                  </a:lnTo>
                  <a:lnTo>
                    <a:pt x="150" y="7"/>
                  </a:lnTo>
                  <a:lnTo>
                    <a:pt x="150" y="6"/>
                  </a:lnTo>
                  <a:lnTo>
                    <a:pt x="151" y="6"/>
                  </a:lnTo>
                  <a:lnTo>
                    <a:pt x="151" y="7"/>
                  </a:lnTo>
                  <a:lnTo>
                    <a:pt x="151" y="6"/>
                  </a:lnTo>
                  <a:lnTo>
                    <a:pt x="152" y="6"/>
                  </a:lnTo>
                  <a:lnTo>
                    <a:pt x="152" y="5"/>
                  </a:lnTo>
                  <a:lnTo>
                    <a:pt x="152" y="4"/>
                  </a:lnTo>
                  <a:lnTo>
                    <a:pt x="152" y="3"/>
                  </a:lnTo>
                  <a:lnTo>
                    <a:pt x="153" y="3"/>
                  </a:lnTo>
                  <a:lnTo>
                    <a:pt x="153" y="4"/>
                  </a:lnTo>
                  <a:lnTo>
                    <a:pt x="155" y="5"/>
                  </a:lnTo>
                  <a:lnTo>
                    <a:pt x="155" y="4"/>
                  </a:lnTo>
                  <a:lnTo>
                    <a:pt x="155" y="3"/>
                  </a:lnTo>
                  <a:lnTo>
                    <a:pt x="156" y="3"/>
                  </a:lnTo>
                  <a:lnTo>
                    <a:pt x="156" y="1"/>
                  </a:lnTo>
                  <a:lnTo>
                    <a:pt x="156" y="0"/>
                  </a:lnTo>
                  <a:lnTo>
                    <a:pt x="157" y="0"/>
                  </a:lnTo>
                  <a:lnTo>
                    <a:pt x="158" y="0"/>
                  </a:lnTo>
                  <a:lnTo>
                    <a:pt x="158" y="1"/>
                  </a:lnTo>
                  <a:lnTo>
                    <a:pt x="158" y="3"/>
                  </a:lnTo>
                  <a:lnTo>
                    <a:pt x="157" y="3"/>
                  </a:lnTo>
                  <a:lnTo>
                    <a:pt x="157" y="4"/>
                  </a:lnTo>
                  <a:lnTo>
                    <a:pt x="158" y="4"/>
                  </a:lnTo>
                  <a:lnTo>
                    <a:pt x="158" y="5"/>
                  </a:lnTo>
                  <a:lnTo>
                    <a:pt x="158" y="6"/>
                  </a:lnTo>
                  <a:lnTo>
                    <a:pt x="157" y="6"/>
                  </a:lnTo>
                  <a:lnTo>
                    <a:pt x="158" y="7"/>
                  </a:lnTo>
                  <a:lnTo>
                    <a:pt x="159" y="7"/>
                  </a:lnTo>
                  <a:lnTo>
                    <a:pt x="159" y="9"/>
                  </a:lnTo>
                  <a:lnTo>
                    <a:pt x="158" y="9"/>
                  </a:lnTo>
                  <a:lnTo>
                    <a:pt x="158" y="10"/>
                  </a:lnTo>
                  <a:lnTo>
                    <a:pt x="158" y="11"/>
                  </a:lnTo>
                  <a:lnTo>
                    <a:pt x="157" y="11"/>
                  </a:lnTo>
                  <a:lnTo>
                    <a:pt x="158" y="11"/>
                  </a:lnTo>
                  <a:lnTo>
                    <a:pt x="158" y="12"/>
                  </a:lnTo>
                  <a:lnTo>
                    <a:pt x="158" y="13"/>
                  </a:lnTo>
                  <a:lnTo>
                    <a:pt x="157" y="13"/>
                  </a:lnTo>
                  <a:lnTo>
                    <a:pt x="157" y="15"/>
                  </a:lnTo>
                  <a:lnTo>
                    <a:pt x="157" y="16"/>
                  </a:lnTo>
                  <a:lnTo>
                    <a:pt x="157" y="17"/>
                  </a:lnTo>
                  <a:lnTo>
                    <a:pt x="157" y="16"/>
                  </a:lnTo>
                  <a:lnTo>
                    <a:pt x="158" y="16"/>
                  </a:lnTo>
                  <a:lnTo>
                    <a:pt x="159" y="16"/>
                  </a:lnTo>
                  <a:lnTo>
                    <a:pt x="161" y="16"/>
                  </a:lnTo>
                  <a:lnTo>
                    <a:pt x="161" y="15"/>
                  </a:lnTo>
                  <a:lnTo>
                    <a:pt x="162" y="15"/>
                  </a:lnTo>
                  <a:lnTo>
                    <a:pt x="162" y="16"/>
                  </a:lnTo>
                  <a:lnTo>
                    <a:pt x="162" y="17"/>
                  </a:lnTo>
                  <a:lnTo>
                    <a:pt x="162" y="18"/>
                  </a:lnTo>
                  <a:lnTo>
                    <a:pt x="162" y="19"/>
                  </a:lnTo>
                  <a:lnTo>
                    <a:pt x="162" y="21"/>
                  </a:lnTo>
                  <a:lnTo>
                    <a:pt x="163" y="21"/>
                  </a:lnTo>
                  <a:lnTo>
                    <a:pt x="163" y="19"/>
                  </a:lnTo>
                  <a:lnTo>
                    <a:pt x="163" y="18"/>
                  </a:lnTo>
                  <a:lnTo>
                    <a:pt x="163" y="17"/>
                  </a:lnTo>
                  <a:lnTo>
                    <a:pt x="164" y="17"/>
                  </a:lnTo>
                  <a:lnTo>
                    <a:pt x="164" y="18"/>
                  </a:lnTo>
                  <a:lnTo>
                    <a:pt x="165" y="18"/>
                  </a:lnTo>
                  <a:lnTo>
                    <a:pt x="165" y="19"/>
                  </a:lnTo>
                  <a:lnTo>
                    <a:pt x="167" y="19"/>
                  </a:lnTo>
                  <a:lnTo>
                    <a:pt x="167" y="18"/>
                  </a:lnTo>
                  <a:lnTo>
                    <a:pt x="168" y="18"/>
                  </a:lnTo>
                  <a:lnTo>
                    <a:pt x="168" y="17"/>
                  </a:lnTo>
                  <a:lnTo>
                    <a:pt x="167" y="17"/>
                  </a:lnTo>
                  <a:lnTo>
                    <a:pt x="167" y="16"/>
                  </a:lnTo>
                  <a:lnTo>
                    <a:pt x="167" y="15"/>
                  </a:lnTo>
                  <a:lnTo>
                    <a:pt x="168" y="15"/>
                  </a:lnTo>
                  <a:lnTo>
                    <a:pt x="168" y="16"/>
                  </a:lnTo>
                  <a:lnTo>
                    <a:pt x="169" y="16"/>
                  </a:lnTo>
                  <a:lnTo>
                    <a:pt x="170" y="16"/>
                  </a:lnTo>
                  <a:lnTo>
                    <a:pt x="170" y="15"/>
                  </a:lnTo>
                  <a:lnTo>
                    <a:pt x="170" y="13"/>
                  </a:lnTo>
                  <a:lnTo>
                    <a:pt x="171" y="12"/>
                  </a:lnTo>
                  <a:lnTo>
                    <a:pt x="173" y="12"/>
                  </a:lnTo>
                  <a:lnTo>
                    <a:pt x="173" y="11"/>
                  </a:lnTo>
                  <a:lnTo>
                    <a:pt x="171" y="11"/>
                  </a:lnTo>
                  <a:lnTo>
                    <a:pt x="173" y="11"/>
                  </a:lnTo>
                  <a:lnTo>
                    <a:pt x="171" y="11"/>
                  </a:lnTo>
                  <a:lnTo>
                    <a:pt x="170" y="10"/>
                  </a:lnTo>
                  <a:lnTo>
                    <a:pt x="171" y="10"/>
                  </a:lnTo>
                  <a:lnTo>
                    <a:pt x="171" y="9"/>
                  </a:lnTo>
                  <a:lnTo>
                    <a:pt x="171" y="10"/>
                  </a:lnTo>
                  <a:lnTo>
                    <a:pt x="173" y="10"/>
                  </a:lnTo>
                  <a:lnTo>
                    <a:pt x="173" y="9"/>
                  </a:lnTo>
                  <a:lnTo>
                    <a:pt x="173" y="7"/>
                  </a:lnTo>
                  <a:lnTo>
                    <a:pt x="173" y="6"/>
                  </a:lnTo>
                  <a:lnTo>
                    <a:pt x="173" y="5"/>
                  </a:lnTo>
                  <a:lnTo>
                    <a:pt x="174" y="5"/>
                  </a:lnTo>
                  <a:lnTo>
                    <a:pt x="175" y="5"/>
                  </a:lnTo>
                  <a:lnTo>
                    <a:pt x="175" y="4"/>
                  </a:lnTo>
                  <a:lnTo>
                    <a:pt x="176" y="4"/>
                  </a:lnTo>
                  <a:lnTo>
                    <a:pt x="176" y="5"/>
                  </a:lnTo>
                  <a:lnTo>
                    <a:pt x="176" y="6"/>
                  </a:lnTo>
                  <a:lnTo>
                    <a:pt x="176" y="7"/>
                  </a:lnTo>
                  <a:lnTo>
                    <a:pt x="176" y="9"/>
                  </a:lnTo>
                  <a:lnTo>
                    <a:pt x="176" y="10"/>
                  </a:lnTo>
                  <a:lnTo>
                    <a:pt x="176" y="9"/>
                  </a:lnTo>
                  <a:lnTo>
                    <a:pt x="177" y="10"/>
                  </a:lnTo>
                  <a:lnTo>
                    <a:pt x="177" y="9"/>
                  </a:lnTo>
                  <a:lnTo>
                    <a:pt x="179" y="10"/>
                  </a:lnTo>
                  <a:lnTo>
                    <a:pt x="177" y="10"/>
                  </a:lnTo>
                  <a:lnTo>
                    <a:pt x="177" y="11"/>
                  </a:lnTo>
                  <a:lnTo>
                    <a:pt x="176" y="11"/>
                  </a:lnTo>
                  <a:lnTo>
                    <a:pt x="176" y="12"/>
                  </a:lnTo>
                  <a:lnTo>
                    <a:pt x="175" y="12"/>
                  </a:lnTo>
                  <a:lnTo>
                    <a:pt x="175" y="13"/>
                  </a:lnTo>
                  <a:lnTo>
                    <a:pt x="174" y="13"/>
                  </a:lnTo>
                  <a:lnTo>
                    <a:pt x="175" y="13"/>
                  </a:lnTo>
                  <a:lnTo>
                    <a:pt x="175" y="15"/>
                  </a:lnTo>
                  <a:lnTo>
                    <a:pt x="174" y="15"/>
                  </a:lnTo>
                  <a:lnTo>
                    <a:pt x="175" y="15"/>
                  </a:lnTo>
                  <a:lnTo>
                    <a:pt x="175" y="16"/>
                  </a:lnTo>
                  <a:lnTo>
                    <a:pt x="174" y="16"/>
                  </a:lnTo>
                  <a:lnTo>
                    <a:pt x="174" y="17"/>
                  </a:lnTo>
                  <a:lnTo>
                    <a:pt x="175" y="17"/>
                  </a:lnTo>
                  <a:lnTo>
                    <a:pt x="175" y="16"/>
                  </a:lnTo>
                  <a:lnTo>
                    <a:pt x="176" y="16"/>
                  </a:lnTo>
                  <a:lnTo>
                    <a:pt x="177" y="16"/>
                  </a:lnTo>
                  <a:lnTo>
                    <a:pt x="177" y="17"/>
                  </a:lnTo>
                  <a:lnTo>
                    <a:pt x="179" y="17"/>
                  </a:lnTo>
                  <a:lnTo>
                    <a:pt x="179" y="16"/>
                  </a:lnTo>
                  <a:lnTo>
                    <a:pt x="179" y="15"/>
                  </a:lnTo>
                  <a:lnTo>
                    <a:pt x="180" y="15"/>
                  </a:lnTo>
                  <a:lnTo>
                    <a:pt x="180" y="13"/>
                  </a:lnTo>
                  <a:lnTo>
                    <a:pt x="180" y="12"/>
                  </a:lnTo>
                  <a:lnTo>
                    <a:pt x="179" y="11"/>
                  </a:lnTo>
                  <a:lnTo>
                    <a:pt x="180" y="11"/>
                  </a:lnTo>
                  <a:lnTo>
                    <a:pt x="180" y="10"/>
                  </a:lnTo>
                  <a:lnTo>
                    <a:pt x="181" y="9"/>
                  </a:lnTo>
                  <a:lnTo>
                    <a:pt x="182" y="9"/>
                  </a:lnTo>
                  <a:lnTo>
                    <a:pt x="182" y="10"/>
                  </a:lnTo>
                  <a:lnTo>
                    <a:pt x="181" y="10"/>
                  </a:lnTo>
                  <a:lnTo>
                    <a:pt x="182" y="10"/>
                  </a:lnTo>
                  <a:lnTo>
                    <a:pt x="182" y="11"/>
                  </a:lnTo>
                  <a:lnTo>
                    <a:pt x="182" y="10"/>
                  </a:lnTo>
                  <a:lnTo>
                    <a:pt x="183" y="10"/>
                  </a:lnTo>
                  <a:lnTo>
                    <a:pt x="183" y="9"/>
                  </a:lnTo>
                  <a:lnTo>
                    <a:pt x="183" y="7"/>
                  </a:lnTo>
                  <a:lnTo>
                    <a:pt x="185" y="6"/>
                  </a:lnTo>
                  <a:lnTo>
                    <a:pt x="185" y="7"/>
                  </a:lnTo>
                  <a:lnTo>
                    <a:pt x="185" y="6"/>
                  </a:lnTo>
                  <a:lnTo>
                    <a:pt x="186" y="6"/>
                  </a:lnTo>
                  <a:lnTo>
                    <a:pt x="186" y="5"/>
                  </a:lnTo>
                  <a:lnTo>
                    <a:pt x="187" y="6"/>
                  </a:lnTo>
                  <a:lnTo>
                    <a:pt x="187" y="7"/>
                  </a:lnTo>
                  <a:lnTo>
                    <a:pt x="187" y="9"/>
                  </a:lnTo>
                  <a:lnTo>
                    <a:pt x="187" y="10"/>
                  </a:lnTo>
                  <a:lnTo>
                    <a:pt x="187" y="11"/>
                  </a:lnTo>
                  <a:lnTo>
                    <a:pt x="187" y="10"/>
                  </a:lnTo>
                  <a:lnTo>
                    <a:pt x="187" y="11"/>
                  </a:lnTo>
                  <a:lnTo>
                    <a:pt x="186" y="11"/>
                  </a:lnTo>
                  <a:lnTo>
                    <a:pt x="186" y="12"/>
                  </a:lnTo>
                  <a:lnTo>
                    <a:pt x="185" y="12"/>
                  </a:lnTo>
                  <a:lnTo>
                    <a:pt x="185" y="13"/>
                  </a:lnTo>
                  <a:lnTo>
                    <a:pt x="183" y="13"/>
                  </a:lnTo>
                  <a:lnTo>
                    <a:pt x="183" y="15"/>
                  </a:lnTo>
                  <a:lnTo>
                    <a:pt x="185" y="15"/>
                  </a:lnTo>
                  <a:lnTo>
                    <a:pt x="186" y="15"/>
                  </a:lnTo>
                  <a:lnTo>
                    <a:pt x="186" y="13"/>
                  </a:lnTo>
                  <a:lnTo>
                    <a:pt x="186" y="15"/>
                  </a:lnTo>
                  <a:lnTo>
                    <a:pt x="187" y="15"/>
                  </a:lnTo>
                  <a:lnTo>
                    <a:pt x="187" y="16"/>
                  </a:lnTo>
                  <a:lnTo>
                    <a:pt x="187" y="17"/>
                  </a:lnTo>
                  <a:lnTo>
                    <a:pt x="188" y="16"/>
                  </a:lnTo>
                  <a:lnTo>
                    <a:pt x="188" y="15"/>
                  </a:lnTo>
                  <a:lnTo>
                    <a:pt x="188" y="13"/>
                  </a:lnTo>
                  <a:lnTo>
                    <a:pt x="189" y="13"/>
                  </a:lnTo>
                  <a:lnTo>
                    <a:pt x="189" y="15"/>
                  </a:lnTo>
                  <a:lnTo>
                    <a:pt x="191" y="15"/>
                  </a:lnTo>
                  <a:lnTo>
                    <a:pt x="191" y="13"/>
                  </a:lnTo>
                  <a:lnTo>
                    <a:pt x="192" y="13"/>
                  </a:lnTo>
                  <a:lnTo>
                    <a:pt x="192" y="12"/>
                  </a:lnTo>
                  <a:lnTo>
                    <a:pt x="193" y="12"/>
                  </a:lnTo>
                  <a:lnTo>
                    <a:pt x="193" y="13"/>
                  </a:lnTo>
                  <a:lnTo>
                    <a:pt x="193" y="15"/>
                  </a:lnTo>
                  <a:lnTo>
                    <a:pt x="192" y="16"/>
                  </a:lnTo>
                  <a:lnTo>
                    <a:pt x="192" y="17"/>
                  </a:lnTo>
                  <a:lnTo>
                    <a:pt x="192" y="18"/>
                  </a:lnTo>
                  <a:lnTo>
                    <a:pt x="191" y="18"/>
                  </a:lnTo>
                  <a:lnTo>
                    <a:pt x="191" y="22"/>
                  </a:lnTo>
                  <a:lnTo>
                    <a:pt x="191" y="23"/>
                  </a:lnTo>
                  <a:lnTo>
                    <a:pt x="191" y="24"/>
                  </a:lnTo>
                  <a:lnTo>
                    <a:pt x="191" y="23"/>
                  </a:lnTo>
                  <a:lnTo>
                    <a:pt x="192" y="23"/>
                  </a:lnTo>
                  <a:lnTo>
                    <a:pt x="192" y="24"/>
                  </a:lnTo>
                  <a:lnTo>
                    <a:pt x="191" y="24"/>
                  </a:lnTo>
                  <a:lnTo>
                    <a:pt x="191" y="25"/>
                  </a:lnTo>
                  <a:lnTo>
                    <a:pt x="191" y="27"/>
                  </a:lnTo>
                  <a:lnTo>
                    <a:pt x="191" y="28"/>
                  </a:lnTo>
                  <a:lnTo>
                    <a:pt x="192" y="28"/>
                  </a:lnTo>
                  <a:lnTo>
                    <a:pt x="193" y="28"/>
                  </a:lnTo>
                  <a:lnTo>
                    <a:pt x="193" y="27"/>
                  </a:lnTo>
                  <a:lnTo>
                    <a:pt x="193" y="25"/>
                  </a:lnTo>
                  <a:lnTo>
                    <a:pt x="194" y="25"/>
                  </a:lnTo>
                  <a:lnTo>
                    <a:pt x="194" y="24"/>
                  </a:lnTo>
                  <a:lnTo>
                    <a:pt x="194" y="23"/>
                  </a:lnTo>
                  <a:lnTo>
                    <a:pt x="194" y="22"/>
                  </a:lnTo>
                  <a:lnTo>
                    <a:pt x="194" y="21"/>
                  </a:lnTo>
                  <a:lnTo>
                    <a:pt x="196" y="21"/>
                  </a:lnTo>
                  <a:lnTo>
                    <a:pt x="196" y="19"/>
                  </a:lnTo>
                  <a:lnTo>
                    <a:pt x="196" y="18"/>
                  </a:lnTo>
                  <a:lnTo>
                    <a:pt x="197" y="18"/>
                  </a:lnTo>
                  <a:lnTo>
                    <a:pt x="198" y="18"/>
                  </a:lnTo>
                  <a:lnTo>
                    <a:pt x="198" y="19"/>
                  </a:lnTo>
                  <a:lnTo>
                    <a:pt x="198" y="21"/>
                  </a:lnTo>
                  <a:lnTo>
                    <a:pt x="197" y="21"/>
                  </a:lnTo>
                  <a:lnTo>
                    <a:pt x="197" y="22"/>
                  </a:lnTo>
                  <a:lnTo>
                    <a:pt x="197" y="23"/>
                  </a:lnTo>
                  <a:lnTo>
                    <a:pt x="198" y="23"/>
                  </a:lnTo>
                  <a:lnTo>
                    <a:pt x="198" y="22"/>
                  </a:lnTo>
                  <a:lnTo>
                    <a:pt x="199" y="22"/>
                  </a:lnTo>
                  <a:lnTo>
                    <a:pt x="199" y="23"/>
                  </a:lnTo>
                  <a:lnTo>
                    <a:pt x="198" y="24"/>
                  </a:lnTo>
                  <a:lnTo>
                    <a:pt x="197" y="24"/>
                  </a:lnTo>
                  <a:lnTo>
                    <a:pt x="197" y="25"/>
                  </a:lnTo>
                  <a:lnTo>
                    <a:pt x="196" y="25"/>
                  </a:lnTo>
                  <a:lnTo>
                    <a:pt x="196" y="27"/>
                  </a:lnTo>
                  <a:lnTo>
                    <a:pt x="197" y="27"/>
                  </a:lnTo>
                  <a:lnTo>
                    <a:pt x="196" y="27"/>
                  </a:lnTo>
                  <a:lnTo>
                    <a:pt x="197" y="27"/>
                  </a:lnTo>
                  <a:lnTo>
                    <a:pt x="197" y="28"/>
                  </a:lnTo>
                  <a:lnTo>
                    <a:pt x="198" y="28"/>
                  </a:lnTo>
                  <a:lnTo>
                    <a:pt x="199" y="27"/>
                  </a:lnTo>
                  <a:lnTo>
                    <a:pt x="199" y="24"/>
                  </a:lnTo>
                  <a:lnTo>
                    <a:pt x="200" y="24"/>
                  </a:lnTo>
                  <a:lnTo>
                    <a:pt x="202" y="24"/>
                  </a:lnTo>
                  <a:lnTo>
                    <a:pt x="203" y="24"/>
                  </a:lnTo>
                  <a:lnTo>
                    <a:pt x="202" y="24"/>
                  </a:lnTo>
                  <a:lnTo>
                    <a:pt x="200" y="24"/>
                  </a:lnTo>
                  <a:lnTo>
                    <a:pt x="202" y="23"/>
                  </a:lnTo>
                  <a:lnTo>
                    <a:pt x="200" y="23"/>
                  </a:lnTo>
                  <a:lnTo>
                    <a:pt x="200" y="22"/>
                  </a:lnTo>
                  <a:lnTo>
                    <a:pt x="200" y="21"/>
                  </a:lnTo>
                  <a:lnTo>
                    <a:pt x="200" y="19"/>
                  </a:lnTo>
                  <a:lnTo>
                    <a:pt x="202" y="18"/>
                  </a:lnTo>
                  <a:lnTo>
                    <a:pt x="203" y="18"/>
                  </a:lnTo>
                  <a:lnTo>
                    <a:pt x="203" y="19"/>
                  </a:lnTo>
                  <a:lnTo>
                    <a:pt x="203" y="18"/>
                  </a:lnTo>
                  <a:lnTo>
                    <a:pt x="204" y="18"/>
                  </a:lnTo>
                  <a:lnTo>
                    <a:pt x="204" y="17"/>
                  </a:lnTo>
                  <a:lnTo>
                    <a:pt x="203" y="17"/>
                  </a:lnTo>
                  <a:lnTo>
                    <a:pt x="204" y="17"/>
                  </a:lnTo>
                  <a:lnTo>
                    <a:pt x="204" y="16"/>
                  </a:lnTo>
                  <a:lnTo>
                    <a:pt x="205" y="16"/>
                  </a:lnTo>
                  <a:lnTo>
                    <a:pt x="205" y="15"/>
                  </a:lnTo>
                  <a:lnTo>
                    <a:pt x="205" y="13"/>
                  </a:lnTo>
                  <a:lnTo>
                    <a:pt x="206" y="13"/>
                  </a:lnTo>
                  <a:lnTo>
                    <a:pt x="206" y="15"/>
                  </a:lnTo>
                  <a:lnTo>
                    <a:pt x="208" y="15"/>
                  </a:lnTo>
                  <a:lnTo>
                    <a:pt x="208" y="16"/>
                  </a:lnTo>
                  <a:lnTo>
                    <a:pt x="208" y="17"/>
                  </a:lnTo>
                  <a:lnTo>
                    <a:pt x="208" y="18"/>
                  </a:lnTo>
                  <a:lnTo>
                    <a:pt x="208" y="19"/>
                  </a:lnTo>
                  <a:lnTo>
                    <a:pt x="208" y="21"/>
                  </a:lnTo>
                  <a:lnTo>
                    <a:pt x="206" y="21"/>
                  </a:lnTo>
                  <a:lnTo>
                    <a:pt x="208" y="21"/>
                  </a:lnTo>
                  <a:lnTo>
                    <a:pt x="208" y="22"/>
                  </a:lnTo>
                  <a:lnTo>
                    <a:pt x="209" y="22"/>
                  </a:lnTo>
                  <a:lnTo>
                    <a:pt x="209" y="23"/>
                  </a:lnTo>
                  <a:lnTo>
                    <a:pt x="209" y="24"/>
                  </a:lnTo>
                  <a:lnTo>
                    <a:pt x="209" y="25"/>
                  </a:lnTo>
                  <a:lnTo>
                    <a:pt x="208" y="25"/>
                  </a:lnTo>
                  <a:lnTo>
                    <a:pt x="206" y="25"/>
                  </a:lnTo>
                  <a:lnTo>
                    <a:pt x="208" y="27"/>
                  </a:lnTo>
                  <a:lnTo>
                    <a:pt x="209" y="27"/>
                  </a:lnTo>
                  <a:lnTo>
                    <a:pt x="209" y="25"/>
                  </a:lnTo>
                  <a:lnTo>
                    <a:pt x="209" y="24"/>
                  </a:lnTo>
                  <a:lnTo>
                    <a:pt x="210" y="24"/>
                  </a:lnTo>
                  <a:lnTo>
                    <a:pt x="209" y="24"/>
                  </a:lnTo>
                  <a:lnTo>
                    <a:pt x="210" y="23"/>
                  </a:lnTo>
                  <a:lnTo>
                    <a:pt x="211" y="23"/>
                  </a:lnTo>
                  <a:lnTo>
                    <a:pt x="211" y="22"/>
                  </a:lnTo>
                  <a:lnTo>
                    <a:pt x="211" y="23"/>
                  </a:lnTo>
                  <a:lnTo>
                    <a:pt x="211" y="22"/>
                  </a:lnTo>
                  <a:lnTo>
                    <a:pt x="211" y="21"/>
                  </a:lnTo>
                  <a:lnTo>
                    <a:pt x="211" y="19"/>
                  </a:lnTo>
                  <a:lnTo>
                    <a:pt x="210" y="19"/>
                  </a:lnTo>
                  <a:lnTo>
                    <a:pt x="211" y="19"/>
                  </a:lnTo>
                  <a:lnTo>
                    <a:pt x="211" y="18"/>
                  </a:lnTo>
                  <a:lnTo>
                    <a:pt x="211" y="17"/>
                  </a:lnTo>
                  <a:lnTo>
                    <a:pt x="212" y="17"/>
                  </a:lnTo>
                  <a:lnTo>
                    <a:pt x="214" y="17"/>
                  </a:lnTo>
                  <a:lnTo>
                    <a:pt x="215" y="17"/>
                  </a:lnTo>
                  <a:lnTo>
                    <a:pt x="215" y="16"/>
                  </a:lnTo>
                  <a:lnTo>
                    <a:pt x="216" y="16"/>
                  </a:lnTo>
                  <a:lnTo>
                    <a:pt x="216" y="15"/>
                  </a:lnTo>
                  <a:lnTo>
                    <a:pt x="217" y="15"/>
                  </a:lnTo>
                  <a:lnTo>
                    <a:pt x="217" y="13"/>
                  </a:lnTo>
                  <a:lnTo>
                    <a:pt x="218" y="13"/>
                  </a:lnTo>
                  <a:lnTo>
                    <a:pt x="218" y="12"/>
                  </a:lnTo>
                  <a:lnTo>
                    <a:pt x="218" y="13"/>
                  </a:lnTo>
                  <a:lnTo>
                    <a:pt x="220" y="13"/>
                  </a:lnTo>
                  <a:lnTo>
                    <a:pt x="220" y="15"/>
                  </a:lnTo>
                  <a:lnTo>
                    <a:pt x="220" y="16"/>
                  </a:lnTo>
                  <a:lnTo>
                    <a:pt x="220" y="17"/>
                  </a:lnTo>
                  <a:lnTo>
                    <a:pt x="221" y="17"/>
                  </a:lnTo>
                  <a:lnTo>
                    <a:pt x="222" y="18"/>
                  </a:lnTo>
                  <a:lnTo>
                    <a:pt x="221" y="18"/>
                  </a:lnTo>
                  <a:lnTo>
                    <a:pt x="221" y="19"/>
                  </a:lnTo>
                  <a:lnTo>
                    <a:pt x="222" y="19"/>
                  </a:lnTo>
                  <a:lnTo>
                    <a:pt x="222" y="21"/>
                  </a:lnTo>
                  <a:lnTo>
                    <a:pt x="222" y="19"/>
                  </a:lnTo>
                  <a:lnTo>
                    <a:pt x="223" y="19"/>
                  </a:lnTo>
                  <a:lnTo>
                    <a:pt x="224" y="19"/>
                  </a:lnTo>
                  <a:lnTo>
                    <a:pt x="224" y="18"/>
                  </a:lnTo>
                  <a:lnTo>
                    <a:pt x="226" y="18"/>
                  </a:lnTo>
                  <a:lnTo>
                    <a:pt x="226" y="19"/>
                  </a:lnTo>
                  <a:lnTo>
                    <a:pt x="226" y="21"/>
                  </a:lnTo>
                  <a:lnTo>
                    <a:pt x="227" y="21"/>
                  </a:lnTo>
                  <a:lnTo>
                    <a:pt x="227" y="22"/>
                  </a:lnTo>
                  <a:lnTo>
                    <a:pt x="227" y="23"/>
                  </a:lnTo>
                  <a:lnTo>
                    <a:pt x="226" y="23"/>
                  </a:lnTo>
                  <a:lnTo>
                    <a:pt x="226" y="24"/>
                  </a:lnTo>
                  <a:lnTo>
                    <a:pt x="224" y="25"/>
                  </a:lnTo>
                  <a:lnTo>
                    <a:pt x="224" y="27"/>
                  </a:lnTo>
                  <a:lnTo>
                    <a:pt x="223" y="27"/>
                  </a:lnTo>
                  <a:lnTo>
                    <a:pt x="222" y="27"/>
                  </a:lnTo>
                  <a:lnTo>
                    <a:pt x="222" y="28"/>
                  </a:lnTo>
                  <a:lnTo>
                    <a:pt x="221" y="28"/>
                  </a:lnTo>
                  <a:lnTo>
                    <a:pt x="220" y="27"/>
                  </a:lnTo>
                  <a:lnTo>
                    <a:pt x="220" y="28"/>
                  </a:lnTo>
                  <a:lnTo>
                    <a:pt x="220" y="29"/>
                  </a:lnTo>
                  <a:lnTo>
                    <a:pt x="218" y="29"/>
                  </a:lnTo>
                  <a:lnTo>
                    <a:pt x="218" y="30"/>
                  </a:lnTo>
                  <a:lnTo>
                    <a:pt x="220" y="31"/>
                  </a:lnTo>
                  <a:lnTo>
                    <a:pt x="220" y="30"/>
                  </a:lnTo>
                  <a:lnTo>
                    <a:pt x="221" y="30"/>
                  </a:lnTo>
                  <a:lnTo>
                    <a:pt x="222" y="30"/>
                  </a:lnTo>
                  <a:lnTo>
                    <a:pt x="223" y="30"/>
                  </a:lnTo>
                  <a:lnTo>
                    <a:pt x="224" y="30"/>
                  </a:lnTo>
                  <a:lnTo>
                    <a:pt x="224" y="29"/>
                  </a:lnTo>
                  <a:lnTo>
                    <a:pt x="224" y="28"/>
                  </a:lnTo>
                  <a:lnTo>
                    <a:pt x="226" y="28"/>
                  </a:lnTo>
                  <a:lnTo>
                    <a:pt x="227" y="28"/>
                  </a:lnTo>
                  <a:lnTo>
                    <a:pt x="227" y="27"/>
                  </a:lnTo>
                  <a:lnTo>
                    <a:pt x="228" y="27"/>
                  </a:lnTo>
                  <a:lnTo>
                    <a:pt x="228" y="25"/>
                  </a:lnTo>
                  <a:lnTo>
                    <a:pt x="229" y="25"/>
                  </a:lnTo>
                  <a:lnTo>
                    <a:pt x="230" y="25"/>
                  </a:lnTo>
                  <a:lnTo>
                    <a:pt x="232" y="25"/>
                  </a:lnTo>
                  <a:lnTo>
                    <a:pt x="233" y="25"/>
                  </a:lnTo>
                  <a:lnTo>
                    <a:pt x="233" y="27"/>
                  </a:lnTo>
                  <a:lnTo>
                    <a:pt x="234" y="28"/>
                  </a:lnTo>
                  <a:lnTo>
                    <a:pt x="234" y="29"/>
                  </a:lnTo>
                  <a:lnTo>
                    <a:pt x="235" y="29"/>
                  </a:lnTo>
                  <a:lnTo>
                    <a:pt x="235" y="28"/>
                  </a:lnTo>
                  <a:lnTo>
                    <a:pt x="236" y="28"/>
                  </a:lnTo>
                  <a:lnTo>
                    <a:pt x="236" y="27"/>
                  </a:lnTo>
                  <a:lnTo>
                    <a:pt x="238" y="27"/>
                  </a:lnTo>
                  <a:lnTo>
                    <a:pt x="238" y="28"/>
                  </a:lnTo>
                  <a:lnTo>
                    <a:pt x="238" y="29"/>
                  </a:lnTo>
                  <a:lnTo>
                    <a:pt x="238" y="30"/>
                  </a:lnTo>
                  <a:lnTo>
                    <a:pt x="236" y="31"/>
                  </a:lnTo>
                  <a:lnTo>
                    <a:pt x="238" y="31"/>
                  </a:lnTo>
                  <a:lnTo>
                    <a:pt x="238" y="33"/>
                  </a:lnTo>
                  <a:lnTo>
                    <a:pt x="239" y="33"/>
                  </a:lnTo>
                  <a:lnTo>
                    <a:pt x="239" y="34"/>
                  </a:lnTo>
                  <a:lnTo>
                    <a:pt x="238" y="34"/>
                  </a:lnTo>
                  <a:lnTo>
                    <a:pt x="238" y="35"/>
                  </a:lnTo>
                  <a:lnTo>
                    <a:pt x="236" y="35"/>
                  </a:lnTo>
                  <a:lnTo>
                    <a:pt x="236" y="36"/>
                  </a:lnTo>
                  <a:lnTo>
                    <a:pt x="235" y="36"/>
                  </a:lnTo>
                  <a:lnTo>
                    <a:pt x="236" y="36"/>
                  </a:lnTo>
                  <a:lnTo>
                    <a:pt x="236" y="37"/>
                  </a:lnTo>
                  <a:lnTo>
                    <a:pt x="236" y="39"/>
                  </a:lnTo>
                  <a:lnTo>
                    <a:pt x="235" y="39"/>
                  </a:lnTo>
                  <a:lnTo>
                    <a:pt x="235" y="40"/>
                  </a:lnTo>
                  <a:lnTo>
                    <a:pt x="234" y="40"/>
                  </a:lnTo>
                  <a:lnTo>
                    <a:pt x="233" y="40"/>
                  </a:lnTo>
                  <a:lnTo>
                    <a:pt x="233" y="41"/>
                  </a:lnTo>
                  <a:lnTo>
                    <a:pt x="232" y="40"/>
                  </a:lnTo>
                  <a:lnTo>
                    <a:pt x="232" y="41"/>
                  </a:lnTo>
                  <a:lnTo>
                    <a:pt x="232" y="42"/>
                  </a:lnTo>
                  <a:lnTo>
                    <a:pt x="232" y="41"/>
                  </a:lnTo>
                  <a:lnTo>
                    <a:pt x="233" y="41"/>
                  </a:lnTo>
                  <a:lnTo>
                    <a:pt x="234" y="41"/>
                  </a:lnTo>
                  <a:lnTo>
                    <a:pt x="235" y="41"/>
                  </a:lnTo>
                  <a:lnTo>
                    <a:pt x="235" y="42"/>
                  </a:lnTo>
                  <a:lnTo>
                    <a:pt x="235" y="44"/>
                  </a:lnTo>
                  <a:lnTo>
                    <a:pt x="234" y="44"/>
                  </a:lnTo>
                  <a:lnTo>
                    <a:pt x="234" y="45"/>
                  </a:lnTo>
                  <a:lnTo>
                    <a:pt x="233" y="45"/>
                  </a:lnTo>
                  <a:lnTo>
                    <a:pt x="232" y="45"/>
                  </a:lnTo>
                  <a:lnTo>
                    <a:pt x="230" y="45"/>
                  </a:lnTo>
                  <a:lnTo>
                    <a:pt x="229" y="45"/>
                  </a:lnTo>
                  <a:lnTo>
                    <a:pt x="228" y="45"/>
                  </a:lnTo>
                  <a:lnTo>
                    <a:pt x="228" y="44"/>
                  </a:lnTo>
                  <a:lnTo>
                    <a:pt x="227" y="44"/>
                  </a:lnTo>
                  <a:lnTo>
                    <a:pt x="228" y="44"/>
                  </a:lnTo>
                  <a:lnTo>
                    <a:pt x="228" y="45"/>
                  </a:lnTo>
                  <a:lnTo>
                    <a:pt x="227" y="46"/>
                  </a:lnTo>
                  <a:lnTo>
                    <a:pt x="226" y="46"/>
                  </a:lnTo>
                  <a:lnTo>
                    <a:pt x="224" y="46"/>
                  </a:lnTo>
                  <a:lnTo>
                    <a:pt x="224" y="45"/>
                  </a:lnTo>
                  <a:lnTo>
                    <a:pt x="224" y="44"/>
                  </a:lnTo>
                  <a:lnTo>
                    <a:pt x="223" y="42"/>
                  </a:lnTo>
                  <a:lnTo>
                    <a:pt x="223" y="44"/>
                  </a:lnTo>
                  <a:lnTo>
                    <a:pt x="222" y="45"/>
                  </a:lnTo>
                  <a:lnTo>
                    <a:pt x="221" y="45"/>
                  </a:lnTo>
                  <a:lnTo>
                    <a:pt x="221" y="46"/>
                  </a:lnTo>
                  <a:lnTo>
                    <a:pt x="222" y="47"/>
                  </a:lnTo>
                  <a:lnTo>
                    <a:pt x="221" y="46"/>
                  </a:lnTo>
                  <a:lnTo>
                    <a:pt x="221" y="47"/>
                  </a:lnTo>
                  <a:lnTo>
                    <a:pt x="222" y="47"/>
                  </a:lnTo>
                  <a:lnTo>
                    <a:pt x="222" y="48"/>
                  </a:lnTo>
                  <a:lnTo>
                    <a:pt x="223" y="48"/>
                  </a:lnTo>
                  <a:lnTo>
                    <a:pt x="224" y="48"/>
                  </a:lnTo>
                  <a:lnTo>
                    <a:pt x="226" y="48"/>
                  </a:lnTo>
                  <a:lnTo>
                    <a:pt x="227" y="50"/>
                  </a:lnTo>
                  <a:lnTo>
                    <a:pt x="226" y="51"/>
                  </a:lnTo>
                  <a:lnTo>
                    <a:pt x="224" y="51"/>
                  </a:lnTo>
                  <a:lnTo>
                    <a:pt x="224" y="52"/>
                  </a:lnTo>
                  <a:lnTo>
                    <a:pt x="224" y="51"/>
                  </a:lnTo>
                  <a:lnTo>
                    <a:pt x="223" y="51"/>
                  </a:lnTo>
                  <a:lnTo>
                    <a:pt x="223" y="50"/>
                  </a:lnTo>
                  <a:lnTo>
                    <a:pt x="222" y="50"/>
                  </a:lnTo>
                  <a:lnTo>
                    <a:pt x="222" y="48"/>
                  </a:lnTo>
                  <a:lnTo>
                    <a:pt x="221" y="48"/>
                  </a:lnTo>
                  <a:lnTo>
                    <a:pt x="221" y="47"/>
                  </a:lnTo>
                  <a:lnTo>
                    <a:pt x="221" y="48"/>
                  </a:lnTo>
                  <a:lnTo>
                    <a:pt x="222" y="48"/>
                  </a:lnTo>
                  <a:lnTo>
                    <a:pt x="222" y="50"/>
                  </a:lnTo>
                  <a:lnTo>
                    <a:pt x="221" y="50"/>
                  </a:lnTo>
                  <a:lnTo>
                    <a:pt x="221" y="51"/>
                  </a:lnTo>
                  <a:lnTo>
                    <a:pt x="220" y="51"/>
                  </a:lnTo>
                  <a:lnTo>
                    <a:pt x="221" y="52"/>
                  </a:lnTo>
                  <a:lnTo>
                    <a:pt x="222" y="52"/>
                  </a:lnTo>
                  <a:lnTo>
                    <a:pt x="222" y="51"/>
                  </a:lnTo>
                  <a:lnTo>
                    <a:pt x="223" y="51"/>
                  </a:lnTo>
                  <a:lnTo>
                    <a:pt x="223" y="52"/>
                  </a:lnTo>
                  <a:lnTo>
                    <a:pt x="223" y="53"/>
                  </a:lnTo>
                  <a:lnTo>
                    <a:pt x="223" y="54"/>
                  </a:lnTo>
                  <a:lnTo>
                    <a:pt x="224" y="54"/>
                  </a:lnTo>
                  <a:lnTo>
                    <a:pt x="226" y="54"/>
                  </a:lnTo>
                  <a:lnTo>
                    <a:pt x="226" y="53"/>
                  </a:lnTo>
                  <a:lnTo>
                    <a:pt x="227" y="53"/>
                  </a:lnTo>
                  <a:lnTo>
                    <a:pt x="228" y="54"/>
                  </a:lnTo>
                  <a:lnTo>
                    <a:pt x="229" y="54"/>
                  </a:lnTo>
                  <a:lnTo>
                    <a:pt x="229" y="56"/>
                  </a:lnTo>
                  <a:lnTo>
                    <a:pt x="230" y="56"/>
                  </a:lnTo>
                  <a:lnTo>
                    <a:pt x="232" y="56"/>
                  </a:lnTo>
                  <a:lnTo>
                    <a:pt x="233" y="56"/>
                  </a:lnTo>
                  <a:lnTo>
                    <a:pt x="234" y="56"/>
                  </a:lnTo>
                  <a:lnTo>
                    <a:pt x="234" y="57"/>
                  </a:lnTo>
                  <a:lnTo>
                    <a:pt x="235" y="57"/>
                  </a:lnTo>
                  <a:lnTo>
                    <a:pt x="236" y="57"/>
                  </a:lnTo>
                  <a:lnTo>
                    <a:pt x="236" y="58"/>
                  </a:lnTo>
                  <a:lnTo>
                    <a:pt x="236" y="60"/>
                  </a:lnTo>
                  <a:lnTo>
                    <a:pt x="236" y="62"/>
                  </a:lnTo>
                  <a:lnTo>
                    <a:pt x="238" y="62"/>
                  </a:lnTo>
                  <a:lnTo>
                    <a:pt x="239" y="62"/>
                  </a:lnTo>
                  <a:lnTo>
                    <a:pt x="238" y="60"/>
                  </a:lnTo>
                  <a:lnTo>
                    <a:pt x="239" y="60"/>
                  </a:lnTo>
                  <a:lnTo>
                    <a:pt x="239" y="59"/>
                  </a:lnTo>
                  <a:lnTo>
                    <a:pt x="239" y="58"/>
                  </a:lnTo>
                  <a:lnTo>
                    <a:pt x="240" y="58"/>
                  </a:lnTo>
                  <a:lnTo>
                    <a:pt x="240" y="59"/>
                  </a:lnTo>
                  <a:lnTo>
                    <a:pt x="241" y="59"/>
                  </a:lnTo>
                  <a:lnTo>
                    <a:pt x="241" y="60"/>
                  </a:lnTo>
                  <a:lnTo>
                    <a:pt x="242" y="60"/>
                  </a:lnTo>
                  <a:lnTo>
                    <a:pt x="242" y="59"/>
                  </a:lnTo>
                  <a:lnTo>
                    <a:pt x="242" y="58"/>
                  </a:lnTo>
                  <a:lnTo>
                    <a:pt x="244" y="57"/>
                  </a:lnTo>
                  <a:lnTo>
                    <a:pt x="244" y="58"/>
                  </a:lnTo>
                  <a:lnTo>
                    <a:pt x="245" y="58"/>
                  </a:lnTo>
                  <a:lnTo>
                    <a:pt x="246" y="58"/>
                  </a:lnTo>
                  <a:lnTo>
                    <a:pt x="246" y="57"/>
                  </a:lnTo>
                  <a:lnTo>
                    <a:pt x="247" y="57"/>
                  </a:lnTo>
                  <a:lnTo>
                    <a:pt x="247" y="58"/>
                  </a:lnTo>
                  <a:lnTo>
                    <a:pt x="247" y="59"/>
                  </a:lnTo>
                  <a:lnTo>
                    <a:pt x="247" y="60"/>
                  </a:lnTo>
                  <a:lnTo>
                    <a:pt x="247" y="62"/>
                  </a:lnTo>
                  <a:lnTo>
                    <a:pt x="246" y="62"/>
                  </a:lnTo>
                  <a:lnTo>
                    <a:pt x="246" y="63"/>
                  </a:lnTo>
                  <a:lnTo>
                    <a:pt x="245" y="63"/>
                  </a:lnTo>
                  <a:lnTo>
                    <a:pt x="245" y="64"/>
                  </a:lnTo>
                  <a:lnTo>
                    <a:pt x="245" y="65"/>
                  </a:lnTo>
                  <a:lnTo>
                    <a:pt x="246" y="65"/>
                  </a:lnTo>
                  <a:lnTo>
                    <a:pt x="246" y="66"/>
                  </a:lnTo>
                  <a:lnTo>
                    <a:pt x="246" y="65"/>
                  </a:lnTo>
                  <a:lnTo>
                    <a:pt x="247" y="64"/>
                  </a:lnTo>
                  <a:lnTo>
                    <a:pt x="247" y="63"/>
                  </a:lnTo>
                  <a:lnTo>
                    <a:pt x="248" y="63"/>
                  </a:lnTo>
                  <a:lnTo>
                    <a:pt x="248" y="64"/>
                  </a:lnTo>
                  <a:lnTo>
                    <a:pt x="248" y="65"/>
                  </a:lnTo>
                  <a:lnTo>
                    <a:pt x="248" y="66"/>
                  </a:lnTo>
                  <a:lnTo>
                    <a:pt x="248" y="68"/>
                  </a:lnTo>
                  <a:lnTo>
                    <a:pt x="247" y="68"/>
                  </a:lnTo>
                  <a:lnTo>
                    <a:pt x="247" y="69"/>
                  </a:lnTo>
                  <a:lnTo>
                    <a:pt x="247" y="70"/>
                  </a:lnTo>
                  <a:lnTo>
                    <a:pt x="246" y="70"/>
                  </a:lnTo>
                  <a:lnTo>
                    <a:pt x="245" y="70"/>
                  </a:lnTo>
                  <a:lnTo>
                    <a:pt x="245" y="71"/>
                  </a:lnTo>
                  <a:lnTo>
                    <a:pt x="245" y="70"/>
                  </a:lnTo>
                  <a:lnTo>
                    <a:pt x="246" y="71"/>
                  </a:lnTo>
                  <a:lnTo>
                    <a:pt x="247" y="71"/>
                  </a:lnTo>
                  <a:lnTo>
                    <a:pt x="248" y="71"/>
                  </a:lnTo>
                  <a:lnTo>
                    <a:pt x="250" y="71"/>
                  </a:lnTo>
                  <a:lnTo>
                    <a:pt x="250" y="72"/>
                  </a:lnTo>
                  <a:lnTo>
                    <a:pt x="250" y="74"/>
                  </a:lnTo>
                  <a:lnTo>
                    <a:pt x="251" y="72"/>
                  </a:lnTo>
                  <a:lnTo>
                    <a:pt x="252" y="72"/>
                  </a:lnTo>
                  <a:lnTo>
                    <a:pt x="253" y="72"/>
                  </a:lnTo>
                  <a:lnTo>
                    <a:pt x="253" y="74"/>
                  </a:lnTo>
                  <a:lnTo>
                    <a:pt x="255" y="74"/>
                  </a:lnTo>
                  <a:lnTo>
                    <a:pt x="255" y="75"/>
                  </a:lnTo>
                  <a:lnTo>
                    <a:pt x="255" y="76"/>
                  </a:lnTo>
                  <a:lnTo>
                    <a:pt x="255" y="75"/>
                  </a:lnTo>
                  <a:lnTo>
                    <a:pt x="256" y="75"/>
                  </a:lnTo>
                  <a:lnTo>
                    <a:pt x="257" y="75"/>
                  </a:lnTo>
                  <a:lnTo>
                    <a:pt x="258" y="75"/>
                  </a:lnTo>
                  <a:lnTo>
                    <a:pt x="258" y="76"/>
                  </a:lnTo>
                  <a:lnTo>
                    <a:pt x="257" y="77"/>
                  </a:lnTo>
                  <a:lnTo>
                    <a:pt x="257" y="78"/>
                  </a:lnTo>
                  <a:lnTo>
                    <a:pt x="258" y="78"/>
                  </a:lnTo>
                  <a:lnTo>
                    <a:pt x="259" y="78"/>
                  </a:lnTo>
                  <a:lnTo>
                    <a:pt x="259" y="77"/>
                  </a:lnTo>
                  <a:lnTo>
                    <a:pt x="261" y="77"/>
                  </a:lnTo>
                  <a:lnTo>
                    <a:pt x="262" y="77"/>
                  </a:lnTo>
                  <a:lnTo>
                    <a:pt x="263" y="77"/>
                  </a:lnTo>
                  <a:lnTo>
                    <a:pt x="263" y="78"/>
                  </a:lnTo>
                  <a:lnTo>
                    <a:pt x="264" y="78"/>
                  </a:lnTo>
                  <a:lnTo>
                    <a:pt x="265" y="78"/>
                  </a:lnTo>
                  <a:lnTo>
                    <a:pt x="267" y="78"/>
                  </a:lnTo>
                  <a:lnTo>
                    <a:pt x="267" y="80"/>
                  </a:lnTo>
                  <a:lnTo>
                    <a:pt x="267" y="78"/>
                  </a:lnTo>
                  <a:lnTo>
                    <a:pt x="268" y="78"/>
                  </a:lnTo>
                  <a:lnTo>
                    <a:pt x="269" y="78"/>
                  </a:lnTo>
                  <a:lnTo>
                    <a:pt x="269" y="80"/>
                  </a:lnTo>
                  <a:lnTo>
                    <a:pt x="268" y="80"/>
                  </a:lnTo>
                  <a:lnTo>
                    <a:pt x="268" y="81"/>
                  </a:lnTo>
                  <a:lnTo>
                    <a:pt x="268" y="82"/>
                  </a:lnTo>
                  <a:lnTo>
                    <a:pt x="267" y="82"/>
                  </a:lnTo>
                  <a:lnTo>
                    <a:pt x="265" y="83"/>
                  </a:lnTo>
                  <a:lnTo>
                    <a:pt x="267" y="84"/>
                  </a:lnTo>
                  <a:lnTo>
                    <a:pt x="267" y="83"/>
                  </a:lnTo>
                  <a:lnTo>
                    <a:pt x="268" y="83"/>
                  </a:lnTo>
                  <a:lnTo>
                    <a:pt x="269" y="83"/>
                  </a:lnTo>
                  <a:lnTo>
                    <a:pt x="269" y="82"/>
                  </a:lnTo>
                  <a:lnTo>
                    <a:pt x="270" y="82"/>
                  </a:lnTo>
                  <a:lnTo>
                    <a:pt x="270" y="81"/>
                  </a:lnTo>
                  <a:lnTo>
                    <a:pt x="270" y="82"/>
                  </a:lnTo>
                  <a:lnTo>
                    <a:pt x="271" y="82"/>
                  </a:lnTo>
                  <a:lnTo>
                    <a:pt x="271" y="81"/>
                  </a:lnTo>
                  <a:lnTo>
                    <a:pt x="273" y="81"/>
                  </a:lnTo>
                  <a:lnTo>
                    <a:pt x="273" y="80"/>
                  </a:lnTo>
                  <a:lnTo>
                    <a:pt x="273" y="81"/>
                  </a:lnTo>
                  <a:lnTo>
                    <a:pt x="274" y="81"/>
                  </a:lnTo>
                  <a:lnTo>
                    <a:pt x="273" y="81"/>
                  </a:lnTo>
                  <a:lnTo>
                    <a:pt x="273" y="83"/>
                  </a:lnTo>
                  <a:lnTo>
                    <a:pt x="274" y="83"/>
                  </a:lnTo>
                  <a:lnTo>
                    <a:pt x="275" y="83"/>
                  </a:lnTo>
                  <a:lnTo>
                    <a:pt x="275" y="82"/>
                  </a:lnTo>
                  <a:lnTo>
                    <a:pt x="275" y="83"/>
                  </a:lnTo>
                  <a:lnTo>
                    <a:pt x="275" y="84"/>
                  </a:lnTo>
                  <a:lnTo>
                    <a:pt x="275" y="86"/>
                  </a:lnTo>
                  <a:lnTo>
                    <a:pt x="274" y="86"/>
                  </a:lnTo>
                  <a:lnTo>
                    <a:pt x="273" y="86"/>
                  </a:lnTo>
                  <a:lnTo>
                    <a:pt x="273" y="87"/>
                  </a:lnTo>
                  <a:lnTo>
                    <a:pt x="271" y="86"/>
                  </a:lnTo>
                  <a:lnTo>
                    <a:pt x="271" y="87"/>
                  </a:lnTo>
                  <a:lnTo>
                    <a:pt x="273" y="87"/>
                  </a:lnTo>
                  <a:lnTo>
                    <a:pt x="271" y="87"/>
                  </a:lnTo>
                  <a:lnTo>
                    <a:pt x="271" y="88"/>
                  </a:lnTo>
                  <a:lnTo>
                    <a:pt x="270" y="88"/>
                  </a:lnTo>
                  <a:lnTo>
                    <a:pt x="269" y="88"/>
                  </a:lnTo>
                  <a:lnTo>
                    <a:pt x="268" y="88"/>
                  </a:lnTo>
                  <a:lnTo>
                    <a:pt x="267" y="88"/>
                  </a:lnTo>
                  <a:lnTo>
                    <a:pt x="267" y="89"/>
                  </a:lnTo>
                  <a:lnTo>
                    <a:pt x="267" y="90"/>
                  </a:lnTo>
                  <a:lnTo>
                    <a:pt x="265" y="90"/>
                  </a:lnTo>
                  <a:lnTo>
                    <a:pt x="264" y="90"/>
                  </a:lnTo>
                  <a:lnTo>
                    <a:pt x="264" y="92"/>
                  </a:lnTo>
                  <a:lnTo>
                    <a:pt x="263" y="92"/>
                  </a:lnTo>
                  <a:lnTo>
                    <a:pt x="263" y="93"/>
                  </a:lnTo>
                  <a:lnTo>
                    <a:pt x="262" y="93"/>
                  </a:lnTo>
                  <a:lnTo>
                    <a:pt x="262" y="94"/>
                  </a:lnTo>
                  <a:lnTo>
                    <a:pt x="261" y="94"/>
                  </a:lnTo>
                  <a:lnTo>
                    <a:pt x="262" y="94"/>
                  </a:lnTo>
                  <a:lnTo>
                    <a:pt x="263" y="94"/>
                  </a:lnTo>
                  <a:lnTo>
                    <a:pt x="264" y="94"/>
                  </a:lnTo>
                  <a:lnTo>
                    <a:pt x="265" y="94"/>
                  </a:lnTo>
                  <a:lnTo>
                    <a:pt x="265" y="95"/>
                  </a:lnTo>
                  <a:lnTo>
                    <a:pt x="267" y="95"/>
                  </a:lnTo>
                  <a:lnTo>
                    <a:pt x="268" y="95"/>
                  </a:lnTo>
                  <a:lnTo>
                    <a:pt x="268" y="94"/>
                  </a:lnTo>
                  <a:lnTo>
                    <a:pt x="268" y="95"/>
                  </a:lnTo>
                  <a:lnTo>
                    <a:pt x="268" y="96"/>
                  </a:lnTo>
                  <a:lnTo>
                    <a:pt x="269" y="95"/>
                  </a:lnTo>
                  <a:lnTo>
                    <a:pt x="270" y="95"/>
                  </a:lnTo>
                  <a:lnTo>
                    <a:pt x="270" y="94"/>
                  </a:lnTo>
                  <a:lnTo>
                    <a:pt x="271" y="94"/>
                  </a:lnTo>
                  <a:lnTo>
                    <a:pt x="273" y="94"/>
                  </a:lnTo>
                  <a:lnTo>
                    <a:pt x="273" y="95"/>
                  </a:lnTo>
                  <a:lnTo>
                    <a:pt x="273" y="96"/>
                  </a:lnTo>
                  <a:lnTo>
                    <a:pt x="274" y="96"/>
                  </a:lnTo>
                  <a:lnTo>
                    <a:pt x="275" y="96"/>
                  </a:lnTo>
                  <a:lnTo>
                    <a:pt x="276" y="96"/>
                  </a:lnTo>
                  <a:lnTo>
                    <a:pt x="277" y="96"/>
                  </a:lnTo>
                  <a:lnTo>
                    <a:pt x="279" y="96"/>
                  </a:lnTo>
                  <a:lnTo>
                    <a:pt x="280" y="95"/>
                  </a:lnTo>
                  <a:lnTo>
                    <a:pt x="280" y="96"/>
                  </a:lnTo>
                  <a:lnTo>
                    <a:pt x="281" y="96"/>
                  </a:lnTo>
                  <a:lnTo>
                    <a:pt x="281" y="98"/>
                  </a:lnTo>
                  <a:lnTo>
                    <a:pt x="281" y="96"/>
                  </a:lnTo>
                  <a:lnTo>
                    <a:pt x="281" y="95"/>
                  </a:lnTo>
                  <a:lnTo>
                    <a:pt x="282" y="95"/>
                  </a:lnTo>
                  <a:lnTo>
                    <a:pt x="282" y="96"/>
                  </a:lnTo>
                  <a:lnTo>
                    <a:pt x="282" y="95"/>
                  </a:lnTo>
                  <a:lnTo>
                    <a:pt x="283" y="96"/>
                  </a:lnTo>
                  <a:lnTo>
                    <a:pt x="282" y="96"/>
                  </a:lnTo>
                  <a:lnTo>
                    <a:pt x="282" y="98"/>
                  </a:lnTo>
                  <a:lnTo>
                    <a:pt x="282" y="99"/>
                  </a:lnTo>
                  <a:lnTo>
                    <a:pt x="283" y="99"/>
                  </a:lnTo>
                  <a:lnTo>
                    <a:pt x="283" y="100"/>
                  </a:lnTo>
                  <a:lnTo>
                    <a:pt x="285" y="100"/>
                  </a:lnTo>
                  <a:lnTo>
                    <a:pt x="285" y="101"/>
                  </a:lnTo>
                  <a:lnTo>
                    <a:pt x="283" y="101"/>
                  </a:lnTo>
                  <a:lnTo>
                    <a:pt x="282" y="101"/>
                  </a:lnTo>
                  <a:lnTo>
                    <a:pt x="282" y="102"/>
                  </a:lnTo>
                  <a:lnTo>
                    <a:pt x="281" y="104"/>
                  </a:lnTo>
                  <a:lnTo>
                    <a:pt x="281" y="105"/>
                  </a:lnTo>
                  <a:lnTo>
                    <a:pt x="282" y="105"/>
                  </a:lnTo>
                  <a:lnTo>
                    <a:pt x="281" y="105"/>
                  </a:lnTo>
                  <a:lnTo>
                    <a:pt x="282" y="106"/>
                  </a:lnTo>
                  <a:lnTo>
                    <a:pt x="283" y="106"/>
                  </a:lnTo>
                  <a:lnTo>
                    <a:pt x="285" y="105"/>
                  </a:lnTo>
                  <a:lnTo>
                    <a:pt x="286" y="105"/>
                  </a:lnTo>
                  <a:lnTo>
                    <a:pt x="286" y="104"/>
                  </a:lnTo>
                  <a:lnTo>
                    <a:pt x="286" y="105"/>
                  </a:lnTo>
                  <a:lnTo>
                    <a:pt x="286" y="104"/>
                  </a:lnTo>
                  <a:lnTo>
                    <a:pt x="287" y="104"/>
                  </a:lnTo>
                  <a:lnTo>
                    <a:pt x="287" y="102"/>
                  </a:lnTo>
                  <a:lnTo>
                    <a:pt x="288" y="102"/>
                  </a:lnTo>
                  <a:lnTo>
                    <a:pt x="289" y="102"/>
                  </a:lnTo>
                  <a:lnTo>
                    <a:pt x="289" y="101"/>
                  </a:lnTo>
                  <a:lnTo>
                    <a:pt x="291" y="101"/>
                  </a:lnTo>
                  <a:lnTo>
                    <a:pt x="291" y="102"/>
                  </a:lnTo>
                  <a:lnTo>
                    <a:pt x="291" y="104"/>
                  </a:lnTo>
                  <a:lnTo>
                    <a:pt x="291" y="105"/>
                  </a:lnTo>
                  <a:lnTo>
                    <a:pt x="289" y="106"/>
                  </a:lnTo>
                  <a:lnTo>
                    <a:pt x="288" y="106"/>
                  </a:lnTo>
                  <a:lnTo>
                    <a:pt x="287" y="106"/>
                  </a:lnTo>
                  <a:lnTo>
                    <a:pt x="286" y="107"/>
                  </a:lnTo>
                  <a:lnTo>
                    <a:pt x="287" y="108"/>
                  </a:lnTo>
                  <a:lnTo>
                    <a:pt x="286" y="108"/>
                  </a:lnTo>
                  <a:lnTo>
                    <a:pt x="285" y="108"/>
                  </a:lnTo>
                  <a:lnTo>
                    <a:pt x="283" y="110"/>
                  </a:lnTo>
                  <a:lnTo>
                    <a:pt x="283" y="111"/>
                  </a:lnTo>
                  <a:lnTo>
                    <a:pt x="282" y="112"/>
                  </a:lnTo>
                  <a:lnTo>
                    <a:pt x="281" y="112"/>
                  </a:lnTo>
                  <a:lnTo>
                    <a:pt x="280" y="111"/>
                  </a:lnTo>
                  <a:lnTo>
                    <a:pt x="279" y="112"/>
                  </a:lnTo>
                  <a:lnTo>
                    <a:pt x="277" y="112"/>
                  </a:lnTo>
                  <a:lnTo>
                    <a:pt x="279" y="113"/>
                  </a:lnTo>
                  <a:lnTo>
                    <a:pt x="280" y="113"/>
                  </a:lnTo>
                  <a:lnTo>
                    <a:pt x="280" y="114"/>
                  </a:lnTo>
                  <a:lnTo>
                    <a:pt x="281" y="116"/>
                  </a:lnTo>
                  <a:lnTo>
                    <a:pt x="282" y="117"/>
                  </a:lnTo>
                  <a:lnTo>
                    <a:pt x="283" y="117"/>
                  </a:lnTo>
                  <a:lnTo>
                    <a:pt x="285" y="117"/>
                  </a:lnTo>
                  <a:lnTo>
                    <a:pt x="286" y="117"/>
                  </a:lnTo>
                  <a:lnTo>
                    <a:pt x="286" y="118"/>
                  </a:lnTo>
                  <a:lnTo>
                    <a:pt x="285" y="118"/>
                  </a:lnTo>
                  <a:lnTo>
                    <a:pt x="285" y="119"/>
                  </a:lnTo>
                  <a:lnTo>
                    <a:pt x="286" y="118"/>
                  </a:lnTo>
                  <a:lnTo>
                    <a:pt x="286" y="119"/>
                  </a:lnTo>
                  <a:lnTo>
                    <a:pt x="286" y="120"/>
                  </a:lnTo>
                  <a:lnTo>
                    <a:pt x="283" y="123"/>
                  </a:lnTo>
                  <a:lnTo>
                    <a:pt x="285" y="123"/>
                  </a:lnTo>
                  <a:lnTo>
                    <a:pt x="285" y="125"/>
                  </a:lnTo>
                  <a:lnTo>
                    <a:pt x="285" y="126"/>
                  </a:lnTo>
                  <a:lnTo>
                    <a:pt x="285" y="128"/>
                  </a:lnTo>
                  <a:lnTo>
                    <a:pt x="286" y="126"/>
                  </a:lnTo>
                  <a:lnTo>
                    <a:pt x="287" y="128"/>
                  </a:lnTo>
                  <a:lnTo>
                    <a:pt x="287" y="129"/>
                  </a:lnTo>
                  <a:lnTo>
                    <a:pt x="288" y="129"/>
                  </a:lnTo>
                  <a:lnTo>
                    <a:pt x="289" y="129"/>
                  </a:lnTo>
                  <a:lnTo>
                    <a:pt x="291" y="129"/>
                  </a:lnTo>
                  <a:lnTo>
                    <a:pt x="292" y="129"/>
                  </a:lnTo>
                  <a:lnTo>
                    <a:pt x="293" y="129"/>
                  </a:lnTo>
                  <a:lnTo>
                    <a:pt x="294" y="129"/>
                  </a:lnTo>
                  <a:lnTo>
                    <a:pt x="294" y="130"/>
                  </a:lnTo>
                  <a:lnTo>
                    <a:pt x="295" y="130"/>
                  </a:lnTo>
                  <a:lnTo>
                    <a:pt x="297" y="130"/>
                  </a:lnTo>
                  <a:lnTo>
                    <a:pt x="299" y="130"/>
                  </a:lnTo>
                  <a:lnTo>
                    <a:pt x="299" y="129"/>
                  </a:lnTo>
                  <a:lnTo>
                    <a:pt x="299" y="130"/>
                  </a:lnTo>
                  <a:lnTo>
                    <a:pt x="299" y="131"/>
                  </a:lnTo>
                  <a:lnTo>
                    <a:pt x="298" y="132"/>
                  </a:lnTo>
                  <a:lnTo>
                    <a:pt x="298" y="134"/>
                  </a:lnTo>
                  <a:lnTo>
                    <a:pt x="299" y="134"/>
                  </a:lnTo>
                  <a:lnTo>
                    <a:pt x="300" y="134"/>
                  </a:lnTo>
                  <a:lnTo>
                    <a:pt x="301" y="134"/>
                  </a:lnTo>
                  <a:lnTo>
                    <a:pt x="301" y="135"/>
                  </a:lnTo>
                  <a:lnTo>
                    <a:pt x="303" y="134"/>
                  </a:lnTo>
                  <a:lnTo>
                    <a:pt x="304" y="135"/>
                  </a:lnTo>
                  <a:lnTo>
                    <a:pt x="304" y="134"/>
                  </a:lnTo>
                  <a:lnTo>
                    <a:pt x="306" y="135"/>
                  </a:lnTo>
                  <a:lnTo>
                    <a:pt x="306" y="136"/>
                  </a:lnTo>
                  <a:lnTo>
                    <a:pt x="305" y="136"/>
                  </a:lnTo>
                  <a:lnTo>
                    <a:pt x="304" y="138"/>
                  </a:lnTo>
                  <a:lnTo>
                    <a:pt x="303" y="138"/>
                  </a:lnTo>
                  <a:lnTo>
                    <a:pt x="301" y="138"/>
                  </a:lnTo>
                  <a:lnTo>
                    <a:pt x="300" y="140"/>
                  </a:lnTo>
                  <a:lnTo>
                    <a:pt x="299" y="141"/>
                  </a:lnTo>
                  <a:lnTo>
                    <a:pt x="298" y="141"/>
                  </a:lnTo>
                  <a:lnTo>
                    <a:pt x="297" y="141"/>
                  </a:lnTo>
                  <a:lnTo>
                    <a:pt x="295" y="141"/>
                  </a:lnTo>
                  <a:lnTo>
                    <a:pt x="294" y="141"/>
                  </a:lnTo>
                  <a:lnTo>
                    <a:pt x="293" y="141"/>
                  </a:lnTo>
                  <a:lnTo>
                    <a:pt x="292" y="141"/>
                  </a:lnTo>
                  <a:lnTo>
                    <a:pt x="292" y="140"/>
                  </a:lnTo>
                  <a:lnTo>
                    <a:pt x="291" y="140"/>
                  </a:lnTo>
                  <a:lnTo>
                    <a:pt x="289" y="140"/>
                  </a:lnTo>
                  <a:lnTo>
                    <a:pt x="289" y="138"/>
                  </a:lnTo>
                  <a:lnTo>
                    <a:pt x="289" y="137"/>
                  </a:lnTo>
                  <a:lnTo>
                    <a:pt x="287" y="137"/>
                  </a:lnTo>
                  <a:lnTo>
                    <a:pt x="288" y="138"/>
                  </a:lnTo>
                  <a:lnTo>
                    <a:pt x="289" y="140"/>
                  </a:lnTo>
                  <a:lnTo>
                    <a:pt x="289" y="141"/>
                  </a:lnTo>
                  <a:lnTo>
                    <a:pt x="288" y="141"/>
                  </a:lnTo>
                  <a:lnTo>
                    <a:pt x="288" y="142"/>
                  </a:lnTo>
                  <a:lnTo>
                    <a:pt x="287" y="142"/>
                  </a:lnTo>
                  <a:lnTo>
                    <a:pt x="286" y="142"/>
                  </a:lnTo>
                  <a:lnTo>
                    <a:pt x="286" y="141"/>
                  </a:lnTo>
                  <a:lnTo>
                    <a:pt x="285" y="141"/>
                  </a:lnTo>
                  <a:lnTo>
                    <a:pt x="285" y="140"/>
                  </a:lnTo>
                  <a:lnTo>
                    <a:pt x="283" y="140"/>
                  </a:lnTo>
                  <a:lnTo>
                    <a:pt x="283" y="138"/>
                  </a:lnTo>
                  <a:lnTo>
                    <a:pt x="282" y="138"/>
                  </a:lnTo>
                  <a:lnTo>
                    <a:pt x="282" y="140"/>
                  </a:lnTo>
                  <a:lnTo>
                    <a:pt x="281" y="138"/>
                  </a:lnTo>
                  <a:lnTo>
                    <a:pt x="279" y="137"/>
                  </a:lnTo>
                  <a:lnTo>
                    <a:pt x="277" y="137"/>
                  </a:lnTo>
                  <a:lnTo>
                    <a:pt x="277" y="138"/>
                  </a:lnTo>
                  <a:lnTo>
                    <a:pt x="276" y="138"/>
                  </a:lnTo>
                  <a:lnTo>
                    <a:pt x="275" y="138"/>
                  </a:lnTo>
                  <a:lnTo>
                    <a:pt x="273" y="138"/>
                  </a:lnTo>
                  <a:lnTo>
                    <a:pt x="273" y="137"/>
                  </a:lnTo>
                  <a:lnTo>
                    <a:pt x="273" y="138"/>
                  </a:lnTo>
                  <a:lnTo>
                    <a:pt x="271" y="138"/>
                  </a:lnTo>
                  <a:lnTo>
                    <a:pt x="270" y="138"/>
                  </a:lnTo>
                  <a:lnTo>
                    <a:pt x="269" y="140"/>
                  </a:lnTo>
                  <a:lnTo>
                    <a:pt x="268" y="141"/>
                  </a:lnTo>
                  <a:lnTo>
                    <a:pt x="267" y="140"/>
                  </a:lnTo>
                  <a:lnTo>
                    <a:pt x="267" y="138"/>
                  </a:lnTo>
                  <a:lnTo>
                    <a:pt x="267" y="137"/>
                  </a:lnTo>
                  <a:lnTo>
                    <a:pt x="265" y="137"/>
                  </a:lnTo>
                  <a:lnTo>
                    <a:pt x="264" y="137"/>
                  </a:lnTo>
                  <a:lnTo>
                    <a:pt x="264" y="138"/>
                  </a:lnTo>
                  <a:lnTo>
                    <a:pt x="263" y="137"/>
                  </a:lnTo>
                  <a:lnTo>
                    <a:pt x="263" y="138"/>
                  </a:lnTo>
                  <a:lnTo>
                    <a:pt x="263" y="140"/>
                  </a:lnTo>
                  <a:lnTo>
                    <a:pt x="263" y="141"/>
                  </a:lnTo>
                  <a:lnTo>
                    <a:pt x="263" y="140"/>
                  </a:lnTo>
                  <a:lnTo>
                    <a:pt x="264" y="140"/>
                  </a:lnTo>
                  <a:lnTo>
                    <a:pt x="264" y="141"/>
                  </a:lnTo>
                  <a:lnTo>
                    <a:pt x="264" y="142"/>
                  </a:lnTo>
                  <a:lnTo>
                    <a:pt x="264" y="141"/>
                  </a:lnTo>
                  <a:lnTo>
                    <a:pt x="264" y="142"/>
                  </a:lnTo>
                  <a:lnTo>
                    <a:pt x="264" y="143"/>
                  </a:lnTo>
                  <a:lnTo>
                    <a:pt x="265" y="143"/>
                  </a:lnTo>
                  <a:lnTo>
                    <a:pt x="264" y="144"/>
                  </a:lnTo>
                  <a:lnTo>
                    <a:pt x="265" y="144"/>
                  </a:lnTo>
                  <a:lnTo>
                    <a:pt x="265" y="143"/>
                  </a:lnTo>
                  <a:lnTo>
                    <a:pt x="267" y="144"/>
                  </a:lnTo>
                  <a:lnTo>
                    <a:pt x="264" y="144"/>
                  </a:lnTo>
                  <a:lnTo>
                    <a:pt x="265" y="146"/>
                  </a:lnTo>
                  <a:lnTo>
                    <a:pt x="265" y="144"/>
                  </a:lnTo>
                  <a:lnTo>
                    <a:pt x="267" y="146"/>
                  </a:lnTo>
                  <a:lnTo>
                    <a:pt x="268" y="146"/>
                  </a:lnTo>
                  <a:lnTo>
                    <a:pt x="269" y="146"/>
                  </a:lnTo>
                  <a:lnTo>
                    <a:pt x="270" y="147"/>
                  </a:lnTo>
                  <a:lnTo>
                    <a:pt x="270" y="148"/>
                  </a:lnTo>
                  <a:lnTo>
                    <a:pt x="271" y="148"/>
                  </a:lnTo>
                  <a:lnTo>
                    <a:pt x="271" y="149"/>
                  </a:lnTo>
                  <a:lnTo>
                    <a:pt x="273" y="151"/>
                  </a:lnTo>
                  <a:lnTo>
                    <a:pt x="274" y="152"/>
                  </a:lnTo>
                  <a:lnTo>
                    <a:pt x="275" y="152"/>
                  </a:lnTo>
                  <a:lnTo>
                    <a:pt x="275" y="153"/>
                  </a:lnTo>
                  <a:lnTo>
                    <a:pt x="276" y="153"/>
                  </a:lnTo>
                  <a:lnTo>
                    <a:pt x="276" y="154"/>
                  </a:lnTo>
                  <a:lnTo>
                    <a:pt x="277" y="154"/>
                  </a:lnTo>
                  <a:lnTo>
                    <a:pt x="277" y="153"/>
                  </a:lnTo>
                  <a:lnTo>
                    <a:pt x="279" y="154"/>
                  </a:lnTo>
                  <a:lnTo>
                    <a:pt x="280" y="154"/>
                  </a:lnTo>
                  <a:lnTo>
                    <a:pt x="280" y="155"/>
                  </a:lnTo>
                  <a:lnTo>
                    <a:pt x="281" y="155"/>
                  </a:lnTo>
                  <a:lnTo>
                    <a:pt x="282" y="155"/>
                  </a:lnTo>
                  <a:lnTo>
                    <a:pt x="283" y="155"/>
                  </a:lnTo>
                  <a:lnTo>
                    <a:pt x="283" y="157"/>
                  </a:lnTo>
                  <a:lnTo>
                    <a:pt x="285" y="158"/>
                  </a:lnTo>
                  <a:lnTo>
                    <a:pt x="286" y="158"/>
                  </a:lnTo>
                  <a:lnTo>
                    <a:pt x="285" y="159"/>
                  </a:lnTo>
                  <a:lnTo>
                    <a:pt x="285" y="160"/>
                  </a:lnTo>
                  <a:lnTo>
                    <a:pt x="286" y="160"/>
                  </a:lnTo>
                  <a:lnTo>
                    <a:pt x="286" y="161"/>
                  </a:lnTo>
                  <a:lnTo>
                    <a:pt x="287" y="161"/>
                  </a:lnTo>
                  <a:lnTo>
                    <a:pt x="289" y="161"/>
                  </a:lnTo>
                  <a:lnTo>
                    <a:pt x="291" y="161"/>
                  </a:lnTo>
                  <a:lnTo>
                    <a:pt x="291" y="163"/>
                  </a:lnTo>
                  <a:lnTo>
                    <a:pt x="292" y="163"/>
                  </a:lnTo>
                  <a:lnTo>
                    <a:pt x="293" y="163"/>
                  </a:lnTo>
                  <a:lnTo>
                    <a:pt x="294" y="163"/>
                  </a:lnTo>
                  <a:lnTo>
                    <a:pt x="295" y="163"/>
                  </a:lnTo>
                  <a:lnTo>
                    <a:pt x="295" y="164"/>
                  </a:lnTo>
                  <a:lnTo>
                    <a:pt x="297" y="164"/>
                  </a:lnTo>
                  <a:lnTo>
                    <a:pt x="298" y="164"/>
                  </a:lnTo>
                  <a:lnTo>
                    <a:pt x="297" y="166"/>
                  </a:lnTo>
                  <a:lnTo>
                    <a:pt x="295" y="166"/>
                  </a:lnTo>
                  <a:lnTo>
                    <a:pt x="297" y="167"/>
                  </a:lnTo>
                  <a:lnTo>
                    <a:pt x="298" y="167"/>
                  </a:lnTo>
                  <a:lnTo>
                    <a:pt x="298" y="169"/>
                  </a:lnTo>
                  <a:lnTo>
                    <a:pt x="299" y="169"/>
                  </a:lnTo>
                  <a:lnTo>
                    <a:pt x="300" y="169"/>
                  </a:lnTo>
                  <a:lnTo>
                    <a:pt x="299" y="170"/>
                  </a:lnTo>
                  <a:lnTo>
                    <a:pt x="300" y="171"/>
                  </a:lnTo>
                  <a:lnTo>
                    <a:pt x="301" y="171"/>
                  </a:lnTo>
                  <a:lnTo>
                    <a:pt x="303" y="171"/>
                  </a:lnTo>
                  <a:lnTo>
                    <a:pt x="304" y="171"/>
                  </a:lnTo>
                  <a:lnTo>
                    <a:pt x="305" y="171"/>
                  </a:lnTo>
                  <a:lnTo>
                    <a:pt x="306" y="171"/>
                  </a:lnTo>
                  <a:lnTo>
                    <a:pt x="305" y="173"/>
                  </a:lnTo>
                  <a:lnTo>
                    <a:pt x="305" y="175"/>
                  </a:lnTo>
                  <a:lnTo>
                    <a:pt x="304" y="176"/>
                  </a:lnTo>
                  <a:lnTo>
                    <a:pt x="303" y="176"/>
                  </a:lnTo>
                  <a:lnTo>
                    <a:pt x="301" y="176"/>
                  </a:lnTo>
                  <a:lnTo>
                    <a:pt x="303" y="177"/>
                  </a:lnTo>
                  <a:lnTo>
                    <a:pt x="304" y="176"/>
                  </a:lnTo>
                  <a:lnTo>
                    <a:pt x="305" y="177"/>
                  </a:lnTo>
                  <a:lnTo>
                    <a:pt x="306" y="179"/>
                  </a:lnTo>
                  <a:lnTo>
                    <a:pt x="305" y="179"/>
                  </a:lnTo>
                  <a:lnTo>
                    <a:pt x="305" y="181"/>
                  </a:lnTo>
                  <a:lnTo>
                    <a:pt x="304" y="182"/>
                  </a:lnTo>
                  <a:lnTo>
                    <a:pt x="304" y="183"/>
                  </a:lnTo>
                  <a:lnTo>
                    <a:pt x="305" y="183"/>
                  </a:lnTo>
                  <a:lnTo>
                    <a:pt x="305" y="184"/>
                  </a:lnTo>
                  <a:lnTo>
                    <a:pt x="305" y="185"/>
                  </a:lnTo>
                  <a:lnTo>
                    <a:pt x="306" y="185"/>
                  </a:lnTo>
                  <a:lnTo>
                    <a:pt x="306" y="187"/>
                  </a:lnTo>
                  <a:lnTo>
                    <a:pt x="305" y="187"/>
                  </a:lnTo>
                  <a:lnTo>
                    <a:pt x="304" y="187"/>
                  </a:lnTo>
                  <a:lnTo>
                    <a:pt x="303" y="188"/>
                  </a:lnTo>
                  <a:lnTo>
                    <a:pt x="304" y="189"/>
                  </a:lnTo>
                  <a:lnTo>
                    <a:pt x="305" y="190"/>
                  </a:lnTo>
                  <a:lnTo>
                    <a:pt x="305" y="191"/>
                  </a:lnTo>
                  <a:lnTo>
                    <a:pt x="305" y="190"/>
                  </a:lnTo>
                  <a:lnTo>
                    <a:pt x="306" y="190"/>
                  </a:lnTo>
                  <a:lnTo>
                    <a:pt x="306" y="191"/>
                  </a:lnTo>
                  <a:lnTo>
                    <a:pt x="307" y="191"/>
                  </a:lnTo>
                  <a:lnTo>
                    <a:pt x="306" y="193"/>
                  </a:lnTo>
                  <a:lnTo>
                    <a:pt x="305" y="193"/>
                  </a:lnTo>
                  <a:lnTo>
                    <a:pt x="304" y="193"/>
                  </a:lnTo>
                  <a:lnTo>
                    <a:pt x="303" y="193"/>
                  </a:lnTo>
                  <a:lnTo>
                    <a:pt x="301" y="193"/>
                  </a:lnTo>
                  <a:lnTo>
                    <a:pt x="301" y="191"/>
                  </a:lnTo>
                  <a:lnTo>
                    <a:pt x="298" y="191"/>
                  </a:lnTo>
                  <a:lnTo>
                    <a:pt x="298" y="190"/>
                  </a:lnTo>
                  <a:lnTo>
                    <a:pt x="297" y="189"/>
                  </a:lnTo>
                  <a:lnTo>
                    <a:pt x="295" y="188"/>
                  </a:lnTo>
                  <a:lnTo>
                    <a:pt x="295" y="187"/>
                  </a:lnTo>
                  <a:lnTo>
                    <a:pt x="294" y="185"/>
                  </a:lnTo>
                  <a:lnTo>
                    <a:pt x="294" y="184"/>
                  </a:lnTo>
                  <a:lnTo>
                    <a:pt x="293" y="183"/>
                  </a:lnTo>
                  <a:lnTo>
                    <a:pt x="293" y="182"/>
                  </a:lnTo>
                  <a:lnTo>
                    <a:pt x="292" y="182"/>
                  </a:lnTo>
                  <a:lnTo>
                    <a:pt x="292" y="183"/>
                  </a:lnTo>
                  <a:lnTo>
                    <a:pt x="291" y="183"/>
                  </a:lnTo>
                  <a:lnTo>
                    <a:pt x="289" y="182"/>
                  </a:lnTo>
                  <a:lnTo>
                    <a:pt x="288" y="182"/>
                  </a:lnTo>
                  <a:lnTo>
                    <a:pt x="288" y="183"/>
                  </a:lnTo>
                  <a:lnTo>
                    <a:pt x="287" y="183"/>
                  </a:lnTo>
                  <a:lnTo>
                    <a:pt x="285" y="182"/>
                  </a:lnTo>
                  <a:lnTo>
                    <a:pt x="285" y="181"/>
                  </a:lnTo>
                  <a:lnTo>
                    <a:pt x="286" y="181"/>
                  </a:lnTo>
                  <a:lnTo>
                    <a:pt x="286" y="179"/>
                  </a:lnTo>
                  <a:lnTo>
                    <a:pt x="287" y="179"/>
                  </a:lnTo>
                  <a:lnTo>
                    <a:pt x="288" y="179"/>
                  </a:lnTo>
                  <a:lnTo>
                    <a:pt x="287" y="178"/>
                  </a:lnTo>
                  <a:lnTo>
                    <a:pt x="288" y="178"/>
                  </a:lnTo>
                  <a:lnTo>
                    <a:pt x="289" y="178"/>
                  </a:lnTo>
                  <a:lnTo>
                    <a:pt x="289" y="177"/>
                  </a:lnTo>
                  <a:lnTo>
                    <a:pt x="288" y="177"/>
                  </a:lnTo>
                  <a:lnTo>
                    <a:pt x="288" y="176"/>
                  </a:lnTo>
                  <a:lnTo>
                    <a:pt x="287" y="176"/>
                  </a:lnTo>
                  <a:lnTo>
                    <a:pt x="286" y="176"/>
                  </a:lnTo>
                  <a:lnTo>
                    <a:pt x="285" y="176"/>
                  </a:lnTo>
                  <a:lnTo>
                    <a:pt x="283" y="175"/>
                  </a:lnTo>
                  <a:lnTo>
                    <a:pt x="282" y="175"/>
                  </a:lnTo>
                  <a:lnTo>
                    <a:pt x="283" y="175"/>
                  </a:lnTo>
                  <a:lnTo>
                    <a:pt x="282" y="173"/>
                  </a:lnTo>
                  <a:lnTo>
                    <a:pt x="281" y="173"/>
                  </a:lnTo>
                  <a:lnTo>
                    <a:pt x="282" y="172"/>
                  </a:lnTo>
                  <a:lnTo>
                    <a:pt x="281" y="172"/>
                  </a:lnTo>
                  <a:lnTo>
                    <a:pt x="280" y="173"/>
                  </a:lnTo>
                  <a:lnTo>
                    <a:pt x="279" y="173"/>
                  </a:lnTo>
                  <a:lnTo>
                    <a:pt x="277" y="172"/>
                  </a:lnTo>
                  <a:lnTo>
                    <a:pt x="277" y="171"/>
                  </a:lnTo>
                  <a:lnTo>
                    <a:pt x="276" y="171"/>
                  </a:lnTo>
                  <a:lnTo>
                    <a:pt x="275" y="171"/>
                  </a:lnTo>
                  <a:lnTo>
                    <a:pt x="275" y="170"/>
                  </a:lnTo>
                  <a:lnTo>
                    <a:pt x="274" y="170"/>
                  </a:lnTo>
                  <a:lnTo>
                    <a:pt x="273" y="170"/>
                  </a:lnTo>
                  <a:lnTo>
                    <a:pt x="271" y="169"/>
                  </a:lnTo>
                  <a:lnTo>
                    <a:pt x="270" y="169"/>
                  </a:lnTo>
                  <a:lnTo>
                    <a:pt x="270" y="167"/>
                  </a:lnTo>
                  <a:lnTo>
                    <a:pt x="269" y="167"/>
                  </a:lnTo>
                  <a:lnTo>
                    <a:pt x="270" y="166"/>
                  </a:lnTo>
                  <a:lnTo>
                    <a:pt x="270" y="165"/>
                  </a:lnTo>
                  <a:lnTo>
                    <a:pt x="269" y="165"/>
                  </a:lnTo>
                  <a:lnTo>
                    <a:pt x="269" y="164"/>
                  </a:lnTo>
                  <a:lnTo>
                    <a:pt x="268" y="163"/>
                  </a:lnTo>
                  <a:lnTo>
                    <a:pt x="267" y="163"/>
                  </a:lnTo>
                  <a:lnTo>
                    <a:pt x="267" y="164"/>
                  </a:lnTo>
                  <a:lnTo>
                    <a:pt x="267" y="165"/>
                  </a:lnTo>
                  <a:lnTo>
                    <a:pt x="265" y="165"/>
                  </a:lnTo>
                  <a:lnTo>
                    <a:pt x="265" y="166"/>
                  </a:lnTo>
                  <a:lnTo>
                    <a:pt x="267" y="166"/>
                  </a:lnTo>
                  <a:lnTo>
                    <a:pt x="268" y="166"/>
                  </a:lnTo>
                  <a:lnTo>
                    <a:pt x="268" y="167"/>
                  </a:lnTo>
                  <a:lnTo>
                    <a:pt x="269" y="167"/>
                  </a:lnTo>
                  <a:lnTo>
                    <a:pt x="269" y="169"/>
                  </a:lnTo>
                  <a:lnTo>
                    <a:pt x="269" y="170"/>
                  </a:lnTo>
                  <a:lnTo>
                    <a:pt x="270" y="171"/>
                  </a:lnTo>
                  <a:lnTo>
                    <a:pt x="269" y="171"/>
                  </a:lnTo>
                  <a:lnTo>
                    <a:pt x="268" y="171"/>
                  </a:lnTo>
                  <a:lnTo>
                    <a:pt x="267" y="170"/>
                  </a:lnTo>
                  <a:lnTo>
                    <a:pt x="265" y="170"/>
                  </a:lnTo>
                  <a:lnTo>
                    <a:pt x="265" y="169"/>
                  </a:lnTo>
                  <a:lnTo>
                    <a:pt x="263" y="169"/>
                  </a:lnTo>
                  <a:lnTo>
                    <a:pt x="262" y="169"/>
                  </a:lnTo>
                  <a:lnTo>
                    <a:pt x="261" y="169"/>
                  </a:lnTo>
                  <a:lnTo>
                    <a:pt x="261" y="167"/>
                  </a:lnTo>
                  <a:lnTo>
                    <a:pt x="259" y="167"/>
                  </a:lnTo>
                  <a:lnTo>
                    <a:pt x="258" y="167"/>
                  </a:lnTo>
                  <a:lnTo>
                    <a:pt x="257" y="167"/>
                  </a:lnTo>
                  <a:lnTo>
                    <a:pt x="255" y="167"/>
                  </a:lnTo>
                  <a:lnTo>
                    <a:pt x="255" y="166"/>
                  </a:lnTo>
                  <a:lnTo>
                    <a:pt x="253" y="166"/>
                  </a:lnTo>
                  <a:lnTo>
                    <a:pt x="255" y="166"/>
                  </a:lnTo>
                  <a:lnTo>
                    <a:pt x="252" y="165"/>
                  </a:lnTo>
                  <a:lnTo>
                    <a:pt x="250" y="163"/>
                  </a:lnTo>
                  <a:lnTo>
                    <a:pt x="250" y="161"/>
                  </a:lnTo>
                  <a:lnTo>
                    <a:pt x="251" y="160"/>
                  </a:lnTo>
                  <a:lnTo>
                    <a:pt x="251" y="159"/>
                  </a:lnTo>
                  <a:lnTo>
                    <a:pt x="251" y="160"/>
                  </a:lnTo>
                  <a:lnTo>
                    <a:pt x="250" y="160"/>
                  </a:lnTo>
                  <a:lnTo>
                    <a:pt x="250" y="161"/>
                  </a:lnTo>
                  <a:lnTo>
                    <a:pt x="248" y="161"/>
                  </a:lnTo>
                  <a:lnTo>
                    <a:pt x="247" y="161"/>
                  </a:lnTo>
                  <a:lnTo>
                    <a:pt x="247" y="160"/>
                  </a:lnTo>
                  <a:lnTo>
                    <a:pt x="246" y="161"/>
                  </a:lnTo>
                  <a:lnTo>
                    <a:pt x="245" y="163"/>
                  </a:lnTo>
                  <a:lnTo>
                    <a:pt x="244" y="163"/>
                  </a:lnTo>
                  <a:lnTo>
                    <a:pt x="242" y="163"/>
                  </a:lnTo>
                  <a:lnTo>
                    <a:pt x="241" y="163"/>
                  </a:lnTo>
                  <a:lnTo>
                    <a:pt x="241" y="164"/>
                  </a:lnTo>
                  <a:lnTo>
                    <a:pt x="241" y="165"/>
                  </a:lnTo>
                  <a:lnTo>
                    <a:pt x="242" y="165"/>
                  </a:lnTo>
                  <a:lnTo>
                    <a:pt x="244" y="165"/>
                  </a:lnTo>
                  <a:lnTo>
                    <a:pt x="245" y="165"/>
                  </a:lnTo>
                  <a:lnTo>
                    <a:pt x="245" y="164"/>
                  </a:lnTo>
                  <a:lnTo>
                    <a:pt x="246" y="164"/>
                  </a:lnTo>
                  <a:lnTo>
                    <a:pt x="247" y="164"/>
                  </a:lnTo>
                  <a:lnTo>
                    <a:pt x="247" y="165"/>
                  </a:lnTo>
                  <a:lnTo>
                    <a:pt x="246" y="165"/>
                  </a:lnTo>
                  <a:lnTo>
                    <a:pt x="246" y="166"/>
                  </a:lnTo>
                  <a:lnTo>
                    <a:pt x="246" y="167"/>
                  </a:lnTo>
                  <a:lnTo>
                    <a:pt x="246" y="169"/>
                  </a:lnTo>
                  <a:lnTo>
                    <a:pt x="246" y="167"/>
                  </a:lnTo>
                  <a:lnTo>
                    <a:pt x="245" y="167"/>
                  </a:lnTo>
                  <a:lnTo>
                    <a:pt x="244" y="167"/>
                  </a:lnTo>
                  <a:lnTo>
                    <a:pt x="244" y="166"/>
                  </a:lnTo>
                  <a:lnTo>
                    <a:pt x="244" y="167"/>
                  </a:lnTo>
                  <a:lnTo>
                    <a:pt x="244" y="169"/>
                  </a:lnTo>
                  <a:lnTo>
                    <a:pt x="245" y="169"/>
                  </a:lnTo>
                  <a:lnTo>
                    <a:pt x="246" y="169"/>
                  </a:lnTo>
                  <a:lnTo>
                    <a:pt x="246" y="170"/>
                  </a:lnTo>
                  <a:lnTo>
                    <a:pt x="247" y="170"/>
                  </a:lnTo>
                  <a:lnTo>
                    <a:pt x="248" y="170"/>
                  </a:lnTo>
                  <a:lnTo>
                    <a:pt x="250" y="169"/>
                  </a:lnTo>
                  <a:lnTo>
                    <a:pt x="251" y="169"/>
                  </a:lnTo>
                  <a:lnTo>
                    <a:pt x="252" y="169"/>
                  </a:lnTo>
                  <a:lnTo>
                    <a:pt x="251" y="170"/>
                  </a:lnTo>
                  <a:lnTo>
                    <a:pt x="252" y="170"/>
                  </a:lnTo>
                  <a:lnTo>
                    <a:pt x="251" y="171"/>
                  </a:lnTo>
                  <a:lnTo>
                    <a:pt x="252" y="172"/>
                  </a:lnTo>
                  <a:lnTo>
                    <a:pt x="253" y="172"/>
                  </a:lnTo>
                  <a:lnTo>
                    <a:pt x="253" y="173"/>
                  </a:lnTo>
                  <a:lnTo>
                    <a:pt x="252" y="173"/>
                  </a:lnTo>
                  <a:lnTo>
                    <a:pt x="252" y="175"/>
                  </a:lnTo>
                  <a:lnTo>
                    <a:pt x="253" y="175"/>
                  </a:lnTo>
                  <a:lnTo>
                    <a:pt x="255" y="175"/>
                  </a:lnTo>
                  <a:lnTo>
                    <a:pt x="255" y="176"/>
                  </a:lnTo>
                  <a:lnTo>
                    <a:pt x="256" y="176"/>
                  </a:lnTo>
                  <a:lnTo>
                    <a:pt x="258" y="176"/>
                  </a:lnTo>
                  <a:lnTo>
                    <a:pt x="258" y="177"/>
                  </a:lnTo>
                  <a:lnTo>
                    <a:pt x="259" y="177"/>
                  </a:lnTo>
                  <a:lnTo>
                    <a:pt x="262" y="178"/>
                  </a:lnTo>
                  <a:lnTo>
                    <a:pt x="263" y="177"/>
                  </a:lnTo>
                  <a:lnTo>
                    <a:pt x="264" y="177"/>
                  </a:lnTo>
                  <a:lnTo>
                    <a:pt x="265" y="177"/>
                  </a:lnTo>
                  <a:lnTo>
                    <a:pt x="267" y="178"/>
                  </a:lnTo>
                  <a:lnTo>
                    <a:pt x="268" y="178"/>
                  </a:lnTo>
                  <a:lnTo>
                    <a:pt x="268" y="177"/>
                  </a:lnTo>
                  <a:lnTo>
                    <a:pt x="267" y="177"/>
                  </a:lnTo>
                  <a:lnTo>
                    <a:pt x="268" y="176"/>
                  </a:lnTo>
                  <a:lnTo>
                    <a:pt x="268" y="177"/>
                  </a:lnTo>
                  <a:lnTo>
                    <a:pt x="270" y="177"/>
                  </a:lnTo>
                  <a:lnTo>
                    <a:pt x="269" y="177"/>
                  </a:lnTo>
                  <a:lnTo>
                    <a:pt x="270" y="178"/>
                  </a:lnTo>
                  <a:lnTo>
                    <a:pt x="273" y="178"/>
                  </a:lnTo>
                  <a:lnTo>
                    <a:pt x="273" y="179"/>
                  </a:lnTo>
                  <a:lnTo>
                    <a:pt x="274" y="179"/>
                  </a:lnTo>
                  <a:lnTo>
                    <a:pt x="275" y="179"/>
                  </a:lnTo>
                  <a:lnTo>
                    <a:pt x="275" y="181"/>
                  </a:lnTo>
                  <a:lnTo>
                    <a:pt x="274" y="181"/>
                  </a:lnTo>
                  <a:lnTo>
                    <a:pt x="274" y="182"/>
                  </a:lnTo>
                  <a:lnTo>
                    <a:pt x="274" y="184"/>
                  </a:lnTo>
                  <a:lnTo>
                    <a:pt x="273" y="184"/>
                  </a:lnTo>
                  <a:lnTo>
                    <a:pt x="274" y="185"/>
                  </a:lnTo>
                  <a:lnTo>
                    <a:pt x="274" y="184"/>
                  </a:lnTo>
                  <a:lnTo>
                    <a:pt x="275" y="184"/>
                  </a:lnTo>
                  <a:lnTo>
                    <a:pt x="275" y="183"/>
                  </a:lnTo>
                  <a:lnTo>
                    <a:pt x="276" y="183"/>
                  </a:lnTo>
                  <a:lnTo>
                    <a:pt x="277" y="183"/>
                  </a:lnTo>
                  <a:lnTo>
                    <a:pt x="277" y="184"/>
                  </a:lnTo>
                  <a:lnTo>
                    <a:pt x="277" y="183"/>
                  </a:lnTo>
                  <a:lnTo>
                    <a:pt x="277" y="184"/>
                  </a:lnTo>
                  <a:lnTo>
                    <a:pt x="279" y="184"/>
                  </a:lnTo>
                  <a:lnTo>
                    <a:pt x="280" y="185"/>
                  </a:lnTo>
                  <a:lnTo>
                    <a:pt x="279" y="187"/>
                  </a:lnTo>
                  <a:lnTo>
                    <a:pt x="280" y="187"/>
                  </a:lnTo>
                  <a:lnTo>
                    <a:pt x="281" y="187"/>
                  </a:lnTo>
                  <a:lnTo>
                    <a:pt x="282" y="188"/>
                  </a:lnTo>
                  <a:lnTo>
                    <a:pt x="282" y="189"/>
                  </a:lnTo>
                  <a:lnTo>
                    <a:pt x="283" y="189"/>
                  </a:lnTo>
                  <a:lnTo>
                    <a:pt x="285" y="188"/>
                  </a:lnTo>
                  <a:lnTo>
                    <a:pt x="285" y="189"/>
                  </a:lnTo>
                  <a:lnTo>
                    <a:pt x="286" y="189"/>
                  </a:lnTo>
                  <a:lnTo>
                    <a:pt x="287" y="189"/>
                  </a:lnTo>
                  <a:lnTo>
                    <a:pt x="287" y="190"/>
                  </a:lnTo>
                  <a:lnTo>
                    <a:pt x="287" y="191"/>
                  </a:lnTo>
                  <a:lnTo>
                    <a:pt x="287" y="193"/>
                  </a:lnTo>
                  <a:lnTo>
                    <a:pt x="287" y="194"/>
                  </a:lnTo>
                  <a:lnTo>
                    <a:pt x="287" y="195"/>
                  </a:lnTo>
                  <a:lnTo>
                    <a:pt x="287" y="196"/>
                  </a:lnTo>
                  <a:lnTo>
                    <a:pt x="287" y="197"/>
                  </a:lnTo>
                  <a:lnTo>
                    <a:pt x="287" y="199"/>
                  </a:lnTo>
                  <a:lnTo>
                    <a:pt x="288" y="199"/>
                  </a:lnTo>
                  <a:lnTo>
                    <a:pt x="289" y="199"/>
                  </a:lnTo>
                  <a:lnTo>
                    <a:pt x="291" y="199"/>
                  </a:lnTo>
                  <a:lnTo>
                    <a:pt x="293" y="199"/>
                  </a:lnTo>
                  <a:lnTo>
                    <a:pt x="293" y="200"/>
                  </a:lnTo>
                  <a:lnTo>
                    <a:pt x="294" y="201"/>
                  </a:lnTo>
                  <a:lnTo>
                    <a:pt x="295" y="201"/>
                  </a:lnTo>
                  <a:lnTo>
                    <a:pt x="297" y="201"/>
                  </a:lnTo>
                  <a:lnTo>
                    <a:pt x="298" y="202"/>
                  </a:lnTo>
                  <a:lnTo>
                    <a:pt x="298" y="203"/>
                  </a:lnTo>
                  <a:lnTo>
                    <a:pt x="297" y="205"/>
                  </a:lnTo>
                  <a:lnTo>
                    <a:pt x="298" y="205"/>
                  </a:lnTo>
                  <a:lnTo>
                    <a:pt x="298" y="206"/>
                  </a:lnTo>
                  <a:lnTo>
                    <a:pt x="299" y="206"/>
                  </a:lnTo>
                  <a:lnTo>
                    <a:pt x="299" y="207"/>
                  </a:lnTo>
                  <a:lnTo>
                    <a:pt x="301" y="207"/>
                  </a:lnTo>
                  <a:lnTo>
                    <a:pt x="301" y="208"/>
                  </a:lnTo>
                  <a:lnTo>
                    <a:pt x="303" y="209"/>
                  </a:lnTo>
                  <a:lnTo>
                    <a:pt x="304" y="209"/>
                  </a:lnTo>
                  <a:lnTo>
                    <a:pt x="304" y="211"/>
                  </a:lnTo>
                  <a:lnTo>
                    <a:pt x="304" y="212"/>
                  </a:lnTo>
                  <a:lnTo>
                    <a:pt x="304" y="213"/>
                  </a:lnTo>
                  <a:lnTo>
                    <a:pt x="305" y="213"/>
                  </a:lnTo>
                  <a:lnTo>
                    <a:pt x="304" y="214"/>
                  </a:lnTo>
                  <a:lnTo>
                    <a:pt x="305" y="214"/>
                  </a:lnTo>
                  <a:lnTo>
                    <a:pt x="305" y="215"/>
                  </a:lnTo>
                  <a:lnTo>
                    <a:pt x="306" y="217"/>
                  </a:lnTo>
                  <a:lnTo>
                    <a:pt x="306" y="218"/>
                  </a:lnTo>
                  <a:lnTo>
                    <a:pt x="305" y="219"/>
                  </a:lnTo>
                  <a:lnTo>
                    <a:pt x="305" y="220"/>
                  </a:lnTo>
                  <a:lnTo>
                    <a:pt x="306" y="220"/>
                  </a:lnTo>
                  <a:lnTo>
                    <a:pt x="307" y="220"/>
                  </a:lnTo>
                  <a:lnTo>
                    <a:pt x="309" y="221"/>
                  </a:lnTo>
                  <a:lnTo>
                    <a:pt x="309" y="223"/>
                  </a:lnTo>
                  <a:lnTo>
                    <a:pt x="310" y="223"/>
                  </a:lnTo>
                  <a:lnTo>
                    <a:pt x="311" y="223"/>
                  </a:lnTo>
                  <a:lnTo>
                    <a:pt x="312" y="224"/>
                  </a:lnTo>
                  <a:lnTo>
                    <a:pt x="311" y="224"/>
                  </a:lnTo>
                  <a:lnTo>
                    <a:pt x="311" y="225"/>
                  </a:lnTo>
                  <a:lnTo>
                    <a:pt x="310" y="226"/>
                  </a:lnTo>
                  <a:lnTo>
                    <a:pt x="311" y="226"/>
                  </a:lnTo>
                  <a:lnTo>
                    <a:pt x="312" y="226"/>
                  </a:lnTo>
                  <a:lnTo>
                    <a:pt x="312" y="227"/>
                  </a:lnTo>
                  <a:lnTo>
                    <a:pt x="314" y="229"/>
                  </a:lnTo>
                  <a:lnTo>
                    <a:pt x="315" y="229"/>
                  </a:lnTo>
                  <a:lnTo>
                    <a:pt x="316" y="230"/>
                  </a:lnTo>
                  <a:lnTo>
                    <a:pt x="315" y="231"/>
                  </a:lnTo>
                  <a:lnTo>
                    <a:pt x="316" y="232"/>
                  </a:lnTo>
                  <a:lnTo>
                    <a:pt x="317" y="232"/>
                  </a:lnTo>
                  <a:lnTo>
                    <a:pt x="317" y="233"/>
                  </a:lnTo>
                  <a:lnTo>
                    <a:pt x="317" y="232"/>
                  </a:lnTo>
                  <a:lnTo>
                    <a:pt x="317" y="233"/>
                  </a:lnTo>
                  <a:lnTo>
                    <a:pt x="318" y="233"/>
                  </a:lnTo>
                  <a:lnTo>
                    <a:pt x="320" y="232"/>
                  </a:lnTo>
                  <a:lnTo>
                    <a:pt x="321" y="233"/>
                  </a:lnTo>
                  <a:lnTo>
                    <a:pt x="321" y="232"/>
                  </a:lnTo>
                  <a:lnTo>
                    <a:pt x="323" y="232"/>
                  </a:lnTo>
                  <a:lnTo>
                    <a:pt x="324" y="232"/>
                  </a:lnTo>
                  <a:lnTo>
                    <a:pt x="323" y="233"/>
                  </a:lnTo>
                  <a:lnTo>
                    <a:pt x="322" y="235"/>
                  </a:lnTo>
                  <a:lnTo>
                    <a:pt x="322" y="236"/>
                  </a:lnTo>
                  <a:lnTo>
                    <a:pt x="321" y="236"/>
                  </a:lnTo>
                  <a:lnTo>
                    <a:pt x="320" y="236"/>
                  </a:lnTo>
                  <a:lnTo>
                    <a:pt x="318" y="236"/>
                  </a:lnTo>
                  <a:lnTo>
                    <a:pt x="317" y="237"/>
                  </a:lnTo>
                  <a:lnTo>
                    <a:pt x="318" y="238"/>
                  </a:lnTo>
                  <a:lnTo>
                    <a:pt x="317" y="239"/>
                  </a:lnTo>
                  <a:lnTo>
                    <a:pt x="317" y="241"/>
                  </a:lnTo>
                  <a:lnTo>
                    <a:pt x="316" y="241"/>
                  </a:lnTo>
                  <a:lnTo>
                    <a:pt x="317" y="241"/>
                  </a:lnTo>
                  <a:lnTo>
                    <a:pt x="317" y="242"/>
                  </a:lnTo>
                  <a:lnTo>
                    <a:pt x="316" y="243"/>
                  </a:lnTo>
                  <a:lnTo>
                    <a:pt x="318" y="243"/>
                  </a:lnTo>
                  <a:lnTo>
                    <a:pt x="318" y="244"/>
                  </a:lnTo>
                  <a:lnTo>
                    <a:pt x="320" y="244"/>
                  </a:lnTo>
                  <a:lnTo>
                    <a:pt x="320" y="245"/>
                  </a:lnTo>
                  <a:lnTo>
                    <a:pt x="318" y="245"/>
                  </a:lnTo>
                  <a:lnTo>
                    <a:pt x="317" y="247"/>
                  </a:lnTo>
                  <a:lnTo>
                    <a:pt x="317" y="245"/>
                  </a:lnTo>
                  <a:lnTo>
                    <a:pt x="316" y="245"/>
                  </a:lnTo>
                  <a:lnTo>
                    <a:pt x="315" y="244"/>
                  </a:lnTo>
                  <a:lnTo>
                    <a:pt x="314" y="243"/>
                  </a:lnTo>
                  <a:lnTo>
                    <a:pt x="312" y="243"/>
                  </a:lnTo>
                  <a:lnTo>
                    <a:pt x="312" y="242"/>
                  </a:lnTo>
                  <a:lnTo>
                    <a:pt x="311" y="242"/>
                  </a:lnTo>
                  <a:lnTo>
                    <a:pt x="311" y="241"/>
                  </a:lnTo>
                  <a:lnTo>
                    <a:pt x="311" y="239"/>
                  </a:lnTo>
                  <a:lnTo>
                    <a:pt x="310" y="241"/>
                  </a:lnTo>
                  <a:lnTo>
                    <a:pt x="309" y="241"/>
                  </a:lnTo>
                  <a:lnTo>
                    <a:pt x="307" y="239"/>
                  </a:lnTo>
                  <a:lnTo>
                    <a:pt x="305" y="239"/>
                  </a:lnTo>
                  <a:lnTo>
                    <a:pt x="305" y="238"/>
                  </a:lnTo>
                  <a:lnTo>
                    <a:pt x="305" y="237"/>
                  </a:lnTo>
                  <a:lnTo>
                    <a:pt x="305" y="238"/>
                  </a:lnTo>
                  <a:lnTo>
                    <a:pt x="304" y="238"/>
                  </a:lnTo>
                  <a:lnTo>
                    <a:pt x="303" y="239"/>
                  </a:lnTo>
                  <a:lnTo>
                    <a:pt x="301" y="239"/>
                  </a:lnTo>
                  <a:lnTo>
                    <a:pt x="301" y="241"/>
                  </a:lnTo>
                  <a:lnTo>
                    <a:pt x="301" y="242"/>
                  </a:lnTo>
                  <a:lnTo>
                    <a:pt x="301" y="241"/>
                  </a:lnTo>
                  <a:lnTo>
                    <a:pt x="301" y="243"/>
                  </a:lnTo>
                  <a:lnTo>
                    <a:pt x="301" y="244"/>
                  </a:lnTo>
                  <a:lnTo>
                    <a:pt x="300" y="244"/>
                  </a:lnTo>
                  <a:lnTo>
                    <a:pt x="299" y="244"/>
                  </a:lnTo>
                  <a:lnTo>
                    <a:pt x="298" y="244"/>
                  </a:lnTo>
                  <a:lnTo>
                    <a:pt x="298" y="245"/>
                  </a:lnTo>
                  <a:lnTo>
                    <a:pt x="298" y="244"/>
                  </a:lnTo>
                  <a:lnTo>
                    <a:pt x="298" y="243"/>
                  </a:lnTo>
                  <a:lnTo>
                    <a:pt x="297" y="242"/>
                  </a:lnTo>
                  <a:lnTo>
                    <a:pt x="297" y="241"/>
                  </a:lnTo>
                  <a:lnTo>
                    <a:pt x="295" y="239"/>
                  </a:lnTo>
                  <a:lnTo>
                    <a:pt x="295" y="241"/>
                  </a:lnTo>
                  <a:lnTo>
                    <a:pt x="294" y="239"/>
                  </a:lnTo>
                  <a:lnTo>
                    <a:pt x="294" y="241"/>
                  </a:lnTo>
                  <a:lnTo>
                    <a:pt x="293" y="239"/>
                  </a:lnTo>
                  <a:lnTo>
                    <a:pt x="293" y="238"/>
                  </a:lnTo>
                  <a:lnTo>
                    <a:pt x="292" y="238"/>
                  </a:lnTo>
                  <a:lnTo>
                    <a:pt x="291" y="237"/>
                  </a:lnTo>
                  <a:lnTo>
                    <a:pt x="291" y="236"/>
                  </a:lnTo>
                  <a:lnTo>
                    <a:pt x="289" y="235"/>
                  </a:lnTo>
                  <a:lnTo>
                    <a:pt x="288" y="235"/>
                  </a:lnTo>
                  <a:lnTo>
                    <a:pt x="288" y="237"/>
                  </a:lnTo>
                  <a:lnTo>
                    <a:pt x="287" y="237"/>
                  </a:lnTo>
                  <a:lnTo>
                    <a:pt x="286" y="237"/>
                  </a:lnTo>
                  <a:lnTo>
                    <a:pt x="285" y="236"/>
                  </a:lnTo>
                  <a:lnTo>
                    <a:pt x="283" y="237"/>
                  </a:lnTo>
                  <a:lnTo>
                    <a:pt x="282" y="238"/>
                  </a:lnTo>
                  <a:lnTo>
                    <a:pt x="283" y="239"/>
                  </a:lnTo>
                  <a:lnTo>
                    <a:pt x="285" y="241"/>
                  </a:lnTo>
                  <a:lnTo>
                    <a:pt x="285" y="239"/>
                  </a:lnTo>
                  <a:lnTo>
                    <a:pt x="286" y="241"/>
                  </a:lnTo>
                  <a:lnTo>
                    <a:pt x="286" y="239"/>
                  </a:lnTo>
                  <a:lnTo>
                    <a:pt x="287" y="239"/>
                  </a:lnTo>
                  <a:lnTo>
                    <a:pt x="287" y="241"/>
                  </a:lnTo>
                  <a:lnTo>
                    <a:pt x="288" y="241"/>
                  </a:lnTo>
                  <a:lnTo>
                    <a:pt x="289" y="241"/>
                  </a:lnTo>
                  <a:lnTo>
                    <a:pt x="291" y="242"/>
                  </a:lnTo>
                  <a:lnTo>
                    <a:pt x="292" y="242"/>
                  </a:lnTo>
                  <a:lnTo>
                    <a:pt x="292" y="243"/>
                  </a:lnTo>
                  <a:lnTo>
                    <a:pt x="293" y="243"/>
                  </a:lnTo>
                  <a:lnTo>
                    <a:pt x="293" y="244"/>
                  </a:lnTo>
                  <a:lnTo>
                    <a:pt x="294" y="244"/>
                  </a:lnTo>
                  <a:lnTo>
                    <a:pt x="294" y="245"/>
                  </a:lnTo>
                  <a:lnTo>
                    <a:pt x="293" y="247"/>
                  </a:lnTo>
                  <a:lnTo>
                    <a:pt x="294" y="247"/>
                  </a:lnTo>
                  <a:lnTo>
                    <a:pt x="293" y="247"/>
                  </a:lnTo>
                  <a:lnTo>
                    <a:pt x="294" y="247"/>
                  </a:lnTo>
                  <a:lnTo>
                    <a:pt x="294" y="248"/>
                  </a:lnTo>
                  <a:lnTo>
                    <a:pt x="293" y="249"/>
                  </a:lnTo>
                  <a:lnTo>
                    <a:pt x="292" y="249"/>
                  </a:lnTo>
                  <a:lnTo>
                    <a:pt x="291" y="249"/>
                  </a:lnTo>
                  <a:lnTo>
                    <a:pt x="289" y="249"/>
                  </a:lnTo>
                  <a:lnTo>
                    <a:pt x="288" y="249"/>
                  </a:lnTo>
                  <a:lnTo>
                    <a:pt x="287" y="249"/>
                  </a:lnTo>
                  <a:lnTo>
                    <a:pt x="286" y="250"/>
                  </a:lnTo>
                  <a:lnTo>
                    <a:pt x="286" y="251"/>
                  </a:lnTo>
                  <a:lnTo>
                    <a:pt x="285" y="251"/>
                  </a:lnTo>
                  <a:lnTo>
                    <a:pt x="283" y="253"/>
                  </a:lnTo>
                  <a:lnTo>
                    <a:pt x="283" y="251"/>
                  </a:lnTo>
                  <a:lnTo>
                    <a:pt x="283" y="253"/>
                  </a:lnTo>
                  <a:lnTo>
                    <a:pt x="282" y="251"/>
                  </a:lnTo>
                  <a:lnTo>
                    <a:pt x="281" y="251"/>
                  </a:lnTo>
                  <a:lnTo>
                    <a:pt x="280" y="253"/>
                  </a:lnTo>
                  <a:lnTo>
                    <a:pt x="280" y="251"/>
                  </a:lnTo>
                  <a:lnTo>
                    <a:pt x="279" y="253"/>
                  </a:lnTo>
                  <a:lnTo>
                    <a:pt x="276" y="251"/>
                  </a:lnTo>
                  <a:lnTo>
                    <a:pt x="276" y="250"/>
                  </a:lnTo>
                  <a:lnTo>
                    <a:pt x="275" y="250"/>
                  </a:lnTo>
                  <a:lnTo>
                    <a:pt x="274" y="250"/>
                  </a:lnTo>
                  <a:lnTo>
                    <a:pt x="274" y="249"/>
                  </a:lnTo>
                  <a:lnTo>
                    <a:pt x="273" y="250"/>
                  </a:lnTo>
                  <a:lnTo>
                    <a:pt x="274" y="250"/>
                  </a:lnTo>
                  <a:lnTo>
                    <a:pt x="275" y="250"/>
                  </a:lnTo>
                  <a:lnTo>
                    <a:pt x="276" y="251"/>
                  </a:lnTo>
                  <a:lnTo>
                    <a:pt x="276" y="253"/>
                  </a:lnTo>
                  <a:lnTo>
                    <a:pt x="275" y="254"/>
                  </a:lnTo>
                  <a:lnTo>
                    <a:pt x="275" y="253"/>
                  </a:lnTo>
                  <a:lnTo>
                    <a:pt x="275" y="254"/>
                  </a:lnTo>
                  <a:lnTo>
                    <a:pt x="274" y="255"/>
                  </a:lnTo>
                  <a:lnTo>
                    <a:pt x="275" y="255"/>
                  </a:lnTo>
                  <a:lnTo>
                    <a:pt x="274" y="256"/>
                  </a:lnTo>
                  <a:lnTo>
                    <a:pt x="273" y="256"/>
                  </a:lnTo>
                  <a:lnTo>
                    <a:pt x="271" y="256"/>
                  </a:lnTo>
                  <a:lnTo>
                    <a:pt x="270" y="256"/>
                  </a:lnTo>
                  <a:lnTo>
                    <a:pt x="269" y="258"/>
                  </a:lnTo>
                  <a:lnTo>
                    <a:pt x="269" y="259"/>
                  </a:lnTo>
                  <a:lnTo>
                    <a:pt x="268" y="258"/>
                  </a:lnTo>
                  <a:lnTo>
                    <a:pt x="268" y="259"/>
                  </a:lnTo>
                  <a:lnTo>
                    <a:pt x="268" y="260"/>
                  </a:lnTo>
                  <a:lnTo>
                    <a:pt x="269" y="260"/>
                  </a:lnTo>
                  <a:lnTo>
                    <a:pt x="268" y="261"/>
                  </a:lnTo>
                  <a:lnTo>
                    <a:pt x="269" y="261"/>
                  </a:lnTo>
                  <a:lnTo>
                    <a:pt x="269" y="262"/>
                  </a:lnTo>
                  <a:lnTo>
                    <a:pt x="270" y="262"/>
                  </a:lnTo>
                  <a:lnTo>
                    <a:pt x="271" y="262"/>
                  </a:lnTo>
                  <a:lnTo>
                    <a:pt x="273" y="262"/>
                  </a:lnTo>
                  <a:lnTo>
                    <a:pt x="273" y="261"/>
                  </a:lnTo>
                  <a:lnTo>
                    <a:pt x="274" y="261"/>
                  </a:lnTo>
                  <a:lnTo>
                    <a:pt x="274" y="262"/>
                  </a:lnTo>
                  <a:lnTo>
                    <a:pt x="275" y="262"/>
                  </a:lnTo>
                  <a:lnTo>
                    <a:pt x="275" y="264"/>
                  </a:lnTo>
                  <a:lnTo>
                    <a:pt x="274" y="265"/>
                  </a:lnTo>
                  <a:lnTo>
                    <a:pt x="274" y="266"/>
                  </a:lnTo>
                  <a:lnTo>
                    <a:pt x="275" y="267"/>
                  </a:lnTo>
                  <a:lnTo>
                    <a:pt x="274" y="268"/>
                  </a:lnTo>
                  <a:lnTo>
                    <a:pt x="274" y="267"/>
                  </a:lnTo>
                  <a:lnTo>
                    <a:pt x="273" y="267"/>
                  </a:lnTo>
                  <a:lnTo>
                    <a:pt x="273" y="268"/>
                  </a:lnTo>
                  <a:lnTo>
                    <a:pt x="273" y="270"/>
                  </a:lnTo>
                  <a:lnTo>
                    <a:pt x="271" y="270"/>
                  </a:lnTo>
                  <a:lnTo>
                    <a:pt x="273" y="271"/>
                  </a:lnTo>
                  <a:lnTo>
                    <a:pt x="274" y="270"/>
                  </a:lnTo>
                  <a:lnTo>
                    <a:pt x="275" y="270"/>
                  </a:lnTo>
                  <a:lnTo>
                    <a:pt x="276" y="270"/>
                  </a:lnTo>
                  <a:lnTo>
                    <a:pt x="275" y="271"/>
                  </a:lnTo>
                  <a:lnTo>
                    <a:pt x="276" y="272"/>
                  </a:lnTo>
                  <a:lnTo>
                    <a:pt x="277" y="273"/>
                  </a:lnTo>
                  <a:lnTo>
                    <a:pt x="279" y="273"/>
                  </a:lnTo>
                  <a:lnTo>
                    <a:pt x="279" y="274"/>
                  </a:lnTo>
                  <a:lnTo>
                    <a:pt x="277" y="276"/>
                  </a:lnTo>
                  <a:lnTo>
                    <a:pt x="279" y="276"/>
                  </a:lnTo>
                  <a:lnTo>
                    <a:pt x="277" y="277"/>
                  </a:lnTo>
                  <a:lnTo>
                    <a:pt x="276" y="278"/>
                  </a:lnTo>
                  <a:lnTo>
                    <a:pt x="276" y="277"/>
                  </a:lnTo>
                  <a:lnTo>
                    <a:pt x="275" y="278"/>
                  </a:lnTo>
                  <a:lnTo>
                    <a:pt x="274" y="277"/>
                  </a:lnTo>
                  <a:lnTo>
                    <a:pt x="273" y="277"/>
                  </a:lnTo>
                  <a:lnTo>
                    <a:pt x="271" y="277"/>
                  </a:lnTo>
                  <a:lnTo>
                    <a:pt x="270" y="276"/>
                  </a:lnTo>
                  <a:lnTo>
                    <a:pt x="269" y="276"/>
                  </a:lnTo>
                  <a:lnTo>
                    <a:pt x="268" y="274"/>
                  </a:lnTo>
                  <a:lnTo>
                    <a:pt x="267" y="273"/>
                  </a:lnTo>
                  <a:lnTo>
                    <a:pt x="267" y="274"/>
                  </a:lnTo>
                  <a:lnTo>
                    <a:pt x="264" y="273"/>
                  </a:lnTo>
                  <a:lnTo>
                    <a:pt x="267" y="273"/>
                  </a:lnTo>
                  <a:lnTo>
                    <a:pt x="267" y="271"/>
                  </a:lnTo>
                  <a:lnTo>
                    <a:pt x="268" y="271"/>
                  </a:lnTo>
                  <a:lnTo>
                    <a:pt x="268" y="272"/>
                  </a:lnTo>
                  <a:lnTo>
                    <a:pt x="268" y="273"/>
                  </a:lnTo>
                  <a:lnTo>
                    <a:pt x="269" y="273"/>
                  </a:lnTo>
                  <a:lnTo>
                    <a:pt x="270" y="274"/>
                  </a:lnTo>
                  <a:lnTo>
                    <a:pt x="271" y="273"/>
                  </a:lnTo>
                  <a:lnTo>
                    <a:pt x="273" y="273"/>
                  </a:lnTo>
                  <a:lnTo>
                    <a:pt x="271" y="272"/>
                  </a:lnTo>
                  <a:lnTo>
                    <a:pt x="270" y="273"/>
                  </a:lnTo>
                  <a:lnTo>
                    <a:pt x="270" y="272"/>
                  </a:lnTo>
                  <a:lnTo>
                    <a:pt x="270" y="271"/>
                  </a:lnTo>
                  <a:lnTo>
                    <a:pt x="270" y="270"/>
                  </a:lnTo>
                  <a:lnTo>
                    <a:pt x="269" y="270"/>
                  </a:lnTo>
                  <a:lnTo>
                    <a:pt x="270" y="268"/>
                  </a:lnTo>
                  <a:lnTo>
                    <a:pt x="269" y="268"/>
                  </a:lnTo>
                  <a:lnTo>
                    <a:pt x="269" y="267"/>
                  </a:lnTo>
                  <a:lnTo>
                    <a:pt x="268" y="266"/>
                  </a:lnTo>
                  <a:lnTo>
                    <a:pt x="269" y="266"/>
                  </a:lnTo>
                  <a:lnTo>
                    <a:pt x="267" y="266"/>
                  </a:lnTo>
                  <a:lnTo>
                    <a:pt x="267" y="267"/>
                  </a:lnTo>
                  <a:lnTo>
                    <a:pt x="268" y="267"/>
                  </a:lnTo>
                  <a:lnTo>
                    <a:pt x="269" y="267"/>
                  </a:lnTo>
                  <a:lnTo>
                    <a:pt x="267" y="268"/>
                  </a:lnTo>
                  <a:lnTo>
                    <a:pt x="267" y="267"/>
                  </a:lnTo>
                  <a:lnTo>
                    <a:pt x="265" y="267"/>
                  </a:lnTo>
                  <a:lnTo>
                    <a:pt x="264" y="266"/>
                  </a:lnTo>
                  <a:lnTo>
                    <a:pt x="263" y="265"/>
                  </a:lnTo>
                  <a:lnTo>
                    <a:pt x="262" y="264"/>
                  </a:lnTo>
                  <a:lnTo>
                    <a:pt x="261" y="264"/>
                  </a:lnTo>
                  <a:lnTo>
                    <a:pt x="261" y="262"/>
                  </a:lnTo>
                  <a:lnTo>
                    <a:pt x="259" y="262"/>
                  </a:lnTo>
                  <a:lnTo>
                    <a:pt x="259" y="261"/>
                  </a:lnTo>
                  <a:lnTo>
                    <a:pt x="261" y="261"/>
                  </a:lnTo>
                  <a:lnTo>
                    <a:pt x="262" y="261"/>
                  </a:lnTo>
                  <a:lnTo>
                    <a:pt x="262" y="260"/>
                  </a:lnTo>
                  <a:lnTo>
                    <a:pt x="261" y="259"/>
                  </a:lnTo>
                  <a:lnTo>
                    <a:pt x="262" y="258"/>
                  </a:lnTo>
                  <a:lnTo>
                    <a:pt x="261" y="258"/>
                  </a:lnTo>
                  <a:lnTo>
                    <a:pt x="261" y="259"/>
                  </a:lnTo>
                  <a:lnTo>
                    <a:pt x="258" y="259"/>
                  </a:lnTo>
                  <a:lnTo>
                    <a:pt x="258" y="258"/>
                  </a:lnTo>
                  <a:lnTo>
                    <a:pt x="257" y="258"/>
                  </a:lnTo>
                  <a:lnTo>
                    <a:pt x="256" y="256"/>
                  </a:lnTo>
                  <a:lnTo>
                    <a:pt x="255" y="256"/>
                  </a:lnTo>
                  <a:lnTo>
                    <a:pt x="253" y="256"/>
                  </a:lnTo>
                  <a:lnTo>
                    <a:pt x="253" y="255"/>
                  </a:lnTo>
                  <a:lnTo>
                    <a:pt x="253" y="254"/>
                  </a:lnTo>
                  <a:lnTo>
                    <a:pt x="252" y="253"/>
                  </a:lnTo>
                  <a:lnTo>
                    <a:pt x="253" y="251"/>
                  </a:lnTo>
                  <a:lnTo>
                    <a:pt x="255" y="251"/>
                  </a:lnTo>
                  <a:lnTo>
                    <a:pt x="255" y="250"/>
                  </a:lnTo>
                  <a:lnTo>
                    <a:pt x="256" y="250"/>
                  </a:lnTo>
                  <a:lnTo>
                    <a:pt x="255" y="249"/>
                  </a:lnTo>
                  <a:lnTo>
                    <a:pt x="256" y="249"/>
                  </a:lnTo>
                  <a:lnTo>
                    <a:pt x="256" y="248"/>
                  </a:lnTo>
                  <a:lnTo>
                    <a:pt x="257" y="245"/>
                  </a:lnTo>
                  <a:lnTo>
                    <a:pt x="257" y="247"/>
                  </a:lnTo>
                  <a:lnTo>
                    <a:pt x="257" y="248"/>
                  </a:lnTo>
                  <a:lnTo>
                    <a:pt x="257" y="249"/>
                  </a:lnTo>
                  <a:lnTo>
                    <a:pt x="258" y="249"/>
                  </a:lnTo>
                  <a:lnTo>
                    <a:pt x="258" y="250"/>
                  </a:lnTo>
                  <a:lnTo>
                    <a:pt x="257" y="250"/>
                  </a:lnTo>
                  <a:lnTo>
                    <a:pt x="257" y="251"/>
                  </a:lnTo>
                  <a:lnTo>
                    <a:pt x="258" y="251"/>
                  </a:lnTo>
                  <a:lnTo>
                    <a:pt x="259" y="251"/>
                  </a:lnTo>
                  <a:lnTo>
                    <a:pt x="259" y="250"/>
                  </a:lnTo>
                  <a:lnTo>
                    <a:pt x="261" y="250"/>
                  </a:lnTo>
                  <a:lnTo>
                    <a:pt x="261" y="251"/>
                  </a:lnTo>
                  <a:lnTo>
                    <a:pt x="261" y="253"/>
                  </a:lnTo>
                  <a:lnTo>
                    <a:pt x="262" y="253"/>
                  </a:lnTo>
                  <a:lnTo>
                    <a:pt x="263" y="253"/>
                  </a:lnTo>
                  <a:lnTo>
                    <a:pt x="263" y="250"/>
                  </a:lnTo>
                  <a:lnTo>
                    <a:pt x="263" y="249"/>
                  </a:lnTo>
                  <a:lnTo>
                    <a:pt x="263" y="248"/>
                  </a:lnTo>
                  <a:lnTo>
                    <a:pt x="263" y="247"/>
                  </a:lnTo>
                  <a:lnTo>
                    <a:pt x="262" y="245"/>
                  </a:lnTo>
                  <a:lnTo>
                    <a:pt x="261" y="245"/>
                  </a:lnTo>
                  <a:lnTo>
                    <a:pt x="259" y="245"/>
                  </a:lnTo>
                  <a:lnTo>
                    <a:pt x="258" y="245"/>
                  </a:lnTo>
                  <a:lnTo>
                    <a:pt x="257" y="245"/>
                  </a:lnTo>
                  <a:lnTo>
                    <a:pt x="256" y="245"/>
                  </a:lnTo>
                  <a:lnTo>
                    <a:pt x="255" y="247"/>
                  </a:lnTo>
                  <a:lnTo>
                    <a:pt x="253" y="245"/>
                  </a:lnTo>
                  <a:lnTo>
                    <a:pt x="251" y="244"/>
                  </a:lnTo>
                  <a:lnTo>
                    <a:pt x="250" y="244"/>
                  </a:lnTo>
                  <a:lnTo>
                    <a:pt x="250" y="245"/>
                  </a:lnTo>
                  <a:lnTo>
                    <a:pt x="251" y="244"/>
                  </a:lnTo>
                  <a:lnTo>
                    <a:pt x="250" y="245"/>
                  </a:lnTo>
                  <a:lnTo>
                    <a:pt x="248" y="245"/>
                  </a:lnTo>
                  <a:lnTo>
                    <a:pt x="247" y="247"/>
                  </a:lnTo>
                  <a:lnTo>
                    <a:pt x="247" y="248"/>
                  </a:lnTo>
                  <a:lnTo>
                    <a:pt x="245" y="247"/>
                  </a:lnTo>
                  <a:lnTo>
                    <a:pt x="244" y="248"/>
                  </a:lnTo>
                  <a:lnTo>
                    <a:pt x="244" y="247"/>
                  </a:lnTo>
                  <a:lnTo>
                    <a:pt x="242" y="247"/>
                  </a:lnTo>
                  <a:lnTo>
                    <a:pt x="241" y="247"/>
                  </a:lnTo>
                  <a:lnTo>
                    <a:pt x="240" y="247"/>
                  </a:lnTo>
                  <a:lnTo>
                    <a:pt x="239" y="248"/>
                  </a:lnTo>
                  <a:lnTo>
                    <a:pt x="239" y="249"/>
                  </a:lnTo>
                  <a:lnTo>
                    <a:pt x="238" y="249"/>
                  </a:lnTo>
                  <a:lnTo>
                    <a:pt x="238" y="248"/>
                  </a:lnTo>
                  <a:lnTo>
                    <a:pt x="236" y="247"/>
                  </a:lnTo>
                  <a:lnTo>
                    <a:pt x="235" y="248"/>
                  </a:lnTo>
                  <a:lnTo>
                    <a:pt x="234" y="248"/>
                  </a:lnTo>
                  <a:lnTo>
                    <a:pt x="234" y="245"/>
                  </a:lnTo>
                  <a:lnTo>
                    <a:pt x="233" y="244"/>
                  </a:lnTo>
                  <a:lnTo>
                    <a:pt x="232" y="244"/>
                  </a:lnTo>
                  <a:lnTo>
                    <a:pt x="230" y="244"/>
                  </a:lnTo>
                  <a:lnTo>
                    <a:pt x="227" y="245"/>
                  </a:lnTo>
                  <a:lnTo>
                    <a:pt x="224" y="245"/>
                  </a:lnTo>
                  <a:lnTo>
                    <a:pt x="223" y="247"/>
                  </a:lnTo>
                  <a:lnTo>
                    <a:pt x="222" y="247"/>
                  </a:lnTo>
                  <a:lnTo>
                    <a:pt x="220" y="247"/>
                  </a:lnTo>
                  <a:lnTo>
                    <a:pt x="218" y="247"/>
                  </a:lnTo>
                  <a:lnTo>
                    <a:pt x="218" y="248"/>
                  </a:lnTo>
                  <a:lnTo>
                    <a:pt x="216" y="248"/>
                  </a:lnTo>
                  <a:lnTo>
                    <a:pt x="215" y="247"/>
                  </a:lnTo>
                  <a:lnTo>
                    <a:pt x="212" y="248"/>
                  </a:lnTo>
                  <a:lnTo>
                    <a:pt x="208" y="248"/>
                  </a:lnTo>
                  <a:lnTo>
                    <a:pt x="208" y="250"/>
                  </a:lnTo>
                  <a:lnTo>
                    <a:pt x="209" y="251"/>
                  </a:lnTo>
                  <a:lnTo>
                    <a:pt x="210" y="250"/>
                  </a:lnTo>
                  <a:lnTo>
                    <a:pt x="211" y="250"/>
                  </a:lnTo>
                  <a:lnTo>
                    <a:pt x="212" y="250"/>
                  </a:lnTo>
                  <a:lnTo>
                    <a:pt x="212" y="251"/>
                  </a:lnTo>
                  <a:lnTo>
                    <a:pt x="212" y="250"/>
                  </a:lnTo>
                  <a:lnTo>
                    <a:pt x="214" y="251"/>
                  </a:lnTo>
                  <a:lnTo>
                    <a:pt x="215" y="253"/>
                  </a:lnTo>
                  <a:lnTo>
                    <a:pt x="215" y="254"/>
                  </a:lnTo>
                  <a:lnTo>
                    <a:pt x="216" y="254"/>
                  </a:lnTo>
                  <a:lnTo>
                    <a:pt x="216" y="255"/>
                  </a:lnTo>
                  <a:lnTo>
                    <a:pt x="216" y="256"/>
                  </a:lnTo>
                  <a:lnTo>
                    <a:pt x="216" y="258"/>
                  </a:lnTo>
                  <a:lnTo>
                    <a:pt x="216" y="259"/>
                  </a:lnTo>
                  <a:lnTo>
                    <a:pt x="216" y="260"/>
                  </a:lnTo>
                  <a:lnTo>
                    <a:pt x="215" y="260"/>
                  </a:lnTo>
                  <a:lnTo>
                    <a:pt x="214" y="261"/>
                  </a:lnTo>
                  <a:lnTo>
                    <a:pt x="212" y="261"/>
                  </a:lnTo>
                  <a:lnTo>
                    <a:pt x="210" y="261"/>
                  </a:lnTo>
                  <a:lnTo>
                    <a:pt x="211" y="262"/>
                  </a:lnTo>
                  <a:lnTo>
                    <a:pt x="212" y="262"/>
                  </a:lnTo>
                  <a:lnTo>
                    <a:pt x="215" y="262"/>
                  </a:lnTo>
                  <a:lnTo>
                    <a:pt x="220" y="262"/>
                  </a:lnTo>
                  <a:lnTo>
                    <a:pt x="221" y="262"/>
                  </a:lnTo>
                  <a:lnTo>
                    <a:pt x="223" y="264"/>
                  </a:lnTo>
                  <a:lnTo>
                    <a:pt x="226" y="264"/>
                  </a:lnTo>
                  <a:lnTo>
                    <a:pt x="227" y="264"/>
                  </a:lnTo>
                  <a:lnTo>
                    <a:pt x="228" y="264"/>
                  </a:lnTo>
                  <a:lnTo>
                    <a:pt x="229" y="264"/>
                  </a:lnTo>
                  <a:lnTo>
                    <a:pt x="228" y="262"/>
                  </a:lnTo>
                  <a:lnTo>
                    <a:pt x="227" y="262"/>
                  </a:lnTo>
                  <a:lnTo>
                    <a:pt x="227" y="261"/>
                  </a:lnTo>
                  <a:lnTo>
                    <a:pt x="228" y="260"/>
                  </a:lnTo>
                  <a:lnTo>
                    <a:pt x="230" y="261"/>
                  </a:lnTo>
                  <a:lnTo>
                    <a:pt x="230" y="260"/>
                  </a:lnTo>
                  <a:lnTo>
                    <a:pt x="232" y="260"/>
                  </a:lnTo>
                  <a:lnTo>
                    <a:pt x="232" y="261"/>
                  </a:lnTo>
                  <a:lnTo>
                    <a:pt x="233" y="261"/>
                  </a:lnTo>
                  <a:lnTo>
                    <a:pt x="233" y="260"/>
                  </a:lnTo>
                  <a:lnTo>
                    <a:pt x="235" y="260"/>
                  </a:lnTo>
                  <a:lnTo>
                    <a:pt x="235" y="259"/>
                  </a:lnTo>
                  <a:lnTo>
                    <a:pt x="236" y="259"/>
                  </a:lnTo>
                  <a:lnTo>
                    <a:pt x="238" y="258"/>
                  </a:lnTo>
                  <a:lnTo>
                    <a:pt x="239" y="258"/>
                  </a:lnTo>
                  <a:lnTo>
                    <a:pt x="240" y="258"/>
                  </a:lnTo>
                  <a:lnTo>
                    <a:pt x="241" y="259"/>
                  </a:lnTo>
                  <a:lnTo>
                    <a:pt x="242" y="259"/>
                  </a:lnTo>
                  <a:lnTo>
                    <a:pt x="244" y="259"/>
                  </a:lnTo>
                  <a:lnTo>
                    <a:pt x="244" y="260"/>
                  </a:lnTo>
                  <a:lnTo>
                    <a:pt x="245" y="261"/>
                  </a:lnTo>
                  <a:lnTo>
                    <a:pt x="246" y="262"/>
                  </a:lnTo>
                  <a:lnTo>
                    <a:pt x="246" y="264"/>
                  </a:lnTo>
                  <a:lnTo>
                    <a:pt x="247" y="264"/>
                  </a:lnTo>
                  <a:lnTo>
                    <a:pt x="248" y="264"/>
                  </a:lnTo>
                  <a:lnTo>
                    <a:pt x="248" y="265"/>
                  </a:lnTo>
                  <a:lnTo>
                    <a:pt x="250" y="265"/>
                  </a:lnTo>
                  <a:lnTo>
                    <a:pt x="251" y="264"/>
                  </a:lnTo>
                  <a:lnTo>
                    <a:pt x="252" y="264"/>
                  </a:lnTo>
                  <a:lnTo>
                    <a:pt x="252" y="265"/>
                  </a:lnTo>
                  <a:lnTo>
                    <a:pt x="255" y="265"/>
                  </a:lnTo>
                  <a:lnTo>
                    <a:pt x="255" y="266"/>
                  </a:lnTo>
                  <a:lnTo>
                    <a:pt x="256" y="267"/>
                  </a:lnTo>
                  <a:lnTo>
                    <a:pt x="256" y="268"/>
                  </a:lnTo>
                  <a:lnTo>
                    <a:pt x="256" y="270"/>
                  </a:lnTo>
                  <a:lnTo>
                    <a:pt x="255" y="270"/>
                  </a:lnTo>
                  <a:lnTo>
                    <a:pt x="256" y="271"/>
                  </a:lnTo>
                  <a:lnTo>
                    <a:pt x="257" y="272"/>
                  </a:lnTo>
                  <a:lnTo>
                    <a:pt x="258" y="272"/>
                  </a:lnTo>
                  <a:lnTo>
                    <a:pt x="259" y="272"/>
                  </a:lnTo>
                  <a:lnTo>
                    <a:pt x="261" y="273"/>
                  </a:lnTo>
                  <a:lnTo>
                    <a:pt x="262" y="274"/>
                  </a:lnTo>
                  <a:lnTo>
                    <a:pt x="261" y="276"/>
                  </a:lnTo>
                  <a:lnTo>
                    <a:pt x="259" y="277"/>
                  </a:lnTo>
                  <a:lnTo>
                    <a:pt x="261" y="276"/>
                  </a:lnTo>
                  <a:lnTo>
                    <a:pt x="262" y="276"/>
                  </a:lnTo>
                  <a:lnTo>
                    <a:pt x="262" y="277"/>
                  </a:lnTo>
                  <a:lnTo>
                    <a:pt x="263" y="278"/>
                  </a:lnTo>
                  <a:lnTo>
                    <a:pt x="263" y="279"/>
                  </a:lnTo>
                  <a:lnTo>
                    <a:pt x="263" y="280"/>
                  </a:lnTo>
                  <a:lnTo>
                    <a:pt x="264" y="280"/>
                  </a:lnTo>
                  <a:lnTo>
                    <a:pt x="265" y="282"/>
                  </a:lnTo>
                  <a:lnTo>
                    <a:pt x="264" y="282"/>
                  </a:lnTo>
                  <a:lnTo>
                    <a:pt x="263" y="283"/>
                  </a:lnTo>
                  <a:lnTo>
                    <a:pt x="262" y="282"/>
                  </a:lnTo>
                  <a:lnTo>
                    <a:pt x="262" y="283"/>
                  </a:lnTo>
                  <a:lnTo>
                    <a:pt x="263" y="283"/>
                  </a:lnTo>
                  <a:lnTo>
                    <a:pt x="264" y="285"/>
                  </a:lnTo>
                  <a:lnTo>
                    <a:pt x="264" y="284"/>
                  </a:lnTo>
                  <a:lnTo>
                    <a:pt x="264" y="285"/>
                  </a:lnTo>
                  <a:lnTo>
                    <a:pt x="265" y="285"/>
                  </a:lnTo>
                  <a:lnTo>
                    <a:pt x="265" y="286"/>
                  </a:lnTo>
                  <a:lnTo>
                    <a:pt x="267" y="288"/>
                  </a:lnTo>
                  <a:lnTo>
                    <a:pt x="268" y="289"/>
                  </a:lnTo>
                  <a:lnTo>
                    <a:pt x="268" y="290"/>
                  </a:lnTo>
                  <a:lnTo>
                    <a:pt x="268" y="292"/>
                  </a:lnTo>
                  <a:lnTo>
                    <a:pt x="265" y="292"/>
                  </a:lnTo>
                  <a:lnTo>
                    <a:pt x="264" y="292"/>
                  </a:lnTo>
                  <a:lnTo>
                    <a:pt x="263" y="292"/>
                  </a:lnTo>
                  <a:lnTo>
                    <a:pt x="263" y="291"/>
                  </a:lnTo>
                  <a:lnTo>
                    <a:pt x="262" y="291"/>
                  </a:lnTo>
                  <a:lnTo>
                    <a:pt x="261" y="290"/>
                  </a:lnTo>
                  <a:lnTo>
                    <a:pt x="259" y="290"/>
                  </a:lnTo>
                  <a:lnTo>
                    <a:pt x="258" y="289"/>
                  </a:lnTo>
                  <a:lnTo>
                    <a:pt x="257" y="288"/>
                  </a:lnTo>
                  <a:lnTo>
                    <a:pt x="257" y="286"/>
                  </a:lnTo>
                  <a:lnTo>
                    <a:pt x="256" y="288"/>
                  </a:lnTo>
                  <a:lnTo>
                    <a:pt x="257" y="289"/>
                  </a:lnTo>
                  <a:lnTo>
                    <a:pt x="256" y="288"/>
                  </a:lnTo>
                  <a:lnTo>
                    <a:pt x="256" y="289"/>
                  </a:lnTo>
                  <a:lnTo>
                    <a:pt x="255" y="290"/>
                  </a:lnTo>
                  <a:lnTo>
                    <a:pt x="256" y="289"/>
                  </a:lnTo>
                  <a:lnTo>
                    <a:pt x="255" y="288"/>
                  </a:lnTo>
                  <a:lnTo>
                    <a:pt x="253" y="286"/>
                  </a:lnTo>
                  <a:lnTo>
                    <a:pt x="253" y="288"/>
                  </a:lnTo>
                  <a:lnTo>
                    <a:pt x="252" y="288"/>
                  </a:lnTo>
                  <a:lnTo>
                    <a:pt x="251" y="286"/>
                  </a:lnTo>
                  <a:lnTo>
                    <a:pt x="250" y="285"/>
                  </a:lnTo>
                  <a:lnTo>
                    <a:pt x="250" y="286"/>
                  </a:lnTo>
                  <a:lnTo>
                    <a:pt x="248" y="285"/>
                  </a:lnTo>
                  <a:lnTo>
                    <a:pt x="247" y="285"/>
                  </a:lnTo>
                  <a:lnTo>
                    <a:pt x="248" y="285"/>
                  </a:lnTo>
                  <a:lnTo>
                    <a:pt x="248" y="284"/>
                  </a:lnTo>
                  <a:lnTo>
                    <a:pt x="247" y="285"/>
                  </a:lnTo>
                  <a:lnTo>
                    <a:pt x="246" y="285"/>
                  </a:lnTo>
                  <a:lnTo>
                    <a:pt x="246" y="286"/>
                  </a:lnTo>
                  <a:lnTo>
                    <a:pt x="247" y="288"/>
                  </a:lnTo>
                  <a:lnTo>
                    <a:pt x="248" y="289"/>
                  </a:lnTo>
                  <a:lnTo>
                    <a:pt x="247" y="288"/>
                  </a:lnTo>
                  <a:lnTo>
                    <a:pt x="246" y="288"/>
                  </a:lnTo>
                  <a:lnTo>
                    <a:pt x="245" y="289"/>
                  </a:lnTo>
                  <a:lnTo>
                    <a:pt x="244" y="290"/>
                  </a:lnTo>
                  <a:lnTo>
                    <a:pt x="242" y="290"/>
                  </a:lnTo>
                  <a:lnTo>
                    <a:pt x="241" y="290"/>
                  </a:lnTo>
                  <a:lnTo>
                    <a:pt x="240" y="290"/>
                  </a:lnTo>
                  <a:lnTo>
                    <a:pt x="241" y="291"/>
                  </a:lnTo>
                  <a:lnTo>
                    <a:pt x="242" y="291"/>
                  </a:lnTo>
                  <a:lnTo>
                    <a:pt x="240" y="292"/>
                  </a:lnTo>
                  <a:lnTo>
                    <a:pt x="239" y="292"/>
                  </a:lnTo>
                  <a:lnTo>
                    <a:pt x="238" y="291"/>
                  </a:lnTo>
                  <a:lnTo>
                    <a:pt x="236" y="292"/>
                  </a:lnTo>
                  <a:lnTo>
                    <a:pt x="235" y="291"/>
                  </a:lnTo>
                  <a:lnTo>
                    <a:pt x="234" y="291"/>
                  </a:lnTo>
                  <a:lnTo>
                    <a:pt x="233" y="291"/>
                  </a:lnTo>
                  <a:lnTo>
                    <a:pt x="233" y="292"/>
                  </a:lnTo>
                  <a:lnTo>
                    <a:pt x="234" y="294"/>
                  </a:lnTo>
                  <a:lnTo>
                    <a:pt x="233" y="294"/>
                  </a:lnTo>
                  <a:lnTo>
                    <a:pt x="232" y="294"/>
                  </a:lnTo>
                  <a:lnTo>
                    <a:pt x="230" y="295"/>
                  </a:lnTo>
                  <a:lnTo>
                    <a:pt x="230" y="294"/>
                  </a:lnTo>
                  <a:lnTo>
                    <a:pt x="229" y="294"/>
                  </a:lnTo>
                  <a:lnTo>
                    <a:pt x="229" y="295"/>
                  </a:lnTo>
                  <a:lnTo>
                    <a:pt x="228" y="294"/>
                  </a:lnTo>
                  <a:lnTo>
                    <a:pt x="228" y="292"/>
                  </a:lnTo>
                  <a:lnTo>
                    <a:pt x="229" y="291"/>
                  </a:lnTo>
                  <a:lnTo>
                    <a:pt x="230" y="291"/>
                  </a:lnTo>
                  <a:lnTo>
                    <a:pt x="230" y="290"/>
                  </a:lnTo>
                  <a:lnTo>
                    <a:pt x="229" y="291"/>
                  </a:lnTo>
                  <a:lnTo>
                    <a:pt x="228" y="290"/>
                  </a:lnTo>
                  <a:lnTo>
                    <a:pt x="227" y="289"/>
                  </a:lnTo>
                  <a:lnTo>
                    <a:pt x="226" y="288"/>
                  </a:lnTo>
                  <a:lnTo>
                    <a:pt x="227" y="288"/>
                  </a:lnTo>
                  <a:lnTo>
                    <a:pt x="227" y="286"/>
                  </a:lnTo>
                  <a:lnTo>
                    <a:pt x="228" y="286"/>
                  </a:lnTo>
                  <a:lnTo>
                    <a:pt x="228" y="288"/>
                  </a:lnTo>
                  <a:lnTo>
                    <a:pt x="230" y="288"/>
                  </a:lnTo>
                  <a:lnTo>
                    <a:pt x="230" y="286"/>
                  </a:lnTo>
                  <a:lnTo>
                    <a:pt x="230" y="285"/>
                  </a:lnTo>
                  <a:lnTo>
                    <a:pt x="232" y="285"/>
                  </a:lnTo>
                  <a:lnTo>
                    <a:pt x="233" y="285"/>
                  </a:lnTo>
                  <a:lnTo>
                    <a:pt x="232" y="284"/>
                  </a:lnTo>
                  <a:lnTo>
                    <a:pt x="232" y="283"/>
                  </a:lnTo>
                  <a:lnTo>
                    <a:pt x="232" y="282"/>
                  </a:lnTo>
                  <a:lnTo>
                    <a:pt x="233" y="282"/>
                  </a:lnTo>
                  <a:lnTo>
                    <a:pt x="233" y="280"/>
                  </a:lnTo>
                  <a:lnTo>
                    <a:pt x="234" y="279"/>
                  </a:lnTo>
                  <a:lnTo>
                    <a:pt x="233" y="279"/>
                  </a:lnTo>
                  <a:lnTo>
                    <a:pt x="233" y="278"/>
                  </a:lnTo>
                  <a:lnTo>
                    <a:pt x="232" y="278"/>
                  </a:lnTo>
                  <a:lnTo>
                    <a:pt x="229" y="277"/>
                  </a:lnTo>
                  <a:lnTo>
                    <a:pt x="230" y="276"/>
                  </a:lnTo>
                  <a:lnTo>
                    <a:pt x="232" y="276"/>
                  </a:lnTo>
                  <a:lnTo>
                    <a:pt x="232" y="274"/>
                  </a:lnTo>
                  <a:lnTo>
                    <a:pt x="232" y="273"/>
                  </a:lnTo>
                  <a:lnTo>
                    <a:pt x="232" y="272"/>
                  </a:lnTo>
                  <a:lnTo>
                    <a:pt x="233" y="272"/>
                  </a:lnTo>
                  <a:lnTo>
                    <a:pt x="232" y="271"/>
                  </a:lnTo>
                  <a:lnTo>
                    <a:pt x="232" y="270"/>
                  </a:lnTo>
                  <a:lnTo>
                    <a:pt x="230" y="268"/>
                  </a:lnTo>
                  <a:lnTo>
                    <a:pt x="232" y="267"/>
                  </a:lnTo>
                  <a:lnTo>
                    <a:pt x="229" y="267"/>
                  </a:lnTo>
                  <a:lnTo>
                    <a:pt x="229" y="268"/>
                  </a:lnTo>
                  <a:lnTo>
                    <a:pt x="228" y="267"/>
                  </a:lnTo>
                  <a:lnTo>
                    <a:pt x="228" y="266"/>
                  </a:lnTo>
                  <a:lnTo>
                    <a:pt x="227" y="266"/>
                  </a:lnTo>
                  <a:lnTo>
                    <a:pt x="221" y="265"/>
                  </a:lnTo>
                  <a:lnTo>
                    <a:pt x="220" y="265"/>
                  </a:lnTo>
                  <a:lnTo>
                    <a:pt x="218" y="265"/>
                  </a:lnTo>
                  <a:lnTo>
                    <a:pt x="217" y="265"/>
                  </a:lnTo>
                  <a:lnTo>
                    <a:pt x="215" y="265"/>
                  </a:lnTo>
                  <a:lnTo>
                    <a:pt x="216" y="266"/>
                  </a:lnTo>
                  <a:lnTo>
                    <a:pt x="215" y="266"/>
                  </a:lnTo>
                  <a:lnTo>
                    <a:pt x="214" y="266"/>
                  </a:lnTo>
                  <a:lnTo>
                    <a:pt x="212" y="266"/>
                  </a:lnTo>
                  <a:lnTo>
                    <a:pt x="212" y="267"/>
                  </a:lnTo>
                  <a:lnTo>
                    <a:pt x="211" y="267"/>
                  </a:lnTo>
                  <a:lnTo>
                    <a:pt x="210" y="267"/>
                  </a:lnTo>
                  <a:lnTo>
                    <a:pt x="208" y="267"/>
                  </a:lnTo>
                  <a:lnTo>
                    <a:pt x="208" y="268"/>
                  </a:lnTo>
                  <a:lnTo>
                    <a:pt x="206" y="268"/>
                  </a:lnTo>
                  <a:lnTo>
                    <a:pt x="206" y="271"/>
                  </a:lnTo>
                  <a:lnTo>
                    <a:pt x="204" y="271"/>
                  </a:lnTo>
                  <a:lnTo>
                    <a:pt x="204" y="272"/>
                  </a:lnTo>
                  <a:lnTo>
                    <a:pt x="204" y="271"/>
                  </a:lnTo>
                  <a:lnTo>
                    <a:pt x="203" y="271"/>
                  </a:lnTo>
                  <a:lnTo>
                    <a:pt x="202" y="270"/>
                  </a:lnTo>
                  <a:lnTo>
                    <a:pt x="200" y="268"/>
                  </a:lnTo>
                  <a:lnTo>
                    <a:pt x="199" y="268"/>
                  </a:lnTo>
                  <a:lnTo>
                    <a:pt x="197" y="270"/>
                  </a:lnTo>
                  <a:lnTo>
                    <a:pt x="194" y="271"/>
                  </a:lnTo>
                  <a:lnTo>
                    <a:pt x="197" y="270"/>
                  </a:lnTo>
                  <a:lnTo>
                    <a:pt x="199" y="271"/>
                  </a:lnTo>
                  <a:lnTo>
                    <a:pt x="199" y="272"/>
                  </a:lnTo>
                  <a:lnTo>
                    <a:pt x="198" y="272"/>
                  </a:lnTo>
                  <a:lnTo>
                    <a:pt x="198" y="273"/>
                  </a:lnTo>
                  <a:lnTo>
                    <a:pt x="199" y="276"/>
                  </a:lnTo>
                  <a:lnTo>
                    <a:pt x="198" y="276"/>
                  </a:lnTo>
                  <a:lnTo>
                    <a:pt x="198" y="277"/>
                  </a:lnTo>
                  <a:lnTo>
                    <a:pt x="199" y="277"/>
                  </a:lnTo>
                  <a:lnTo>
                    <a:pt x="199" y="278"/>
                  </a:lnTo>
                  <a:lnTo>
                    <a:pt x="198" y="279"/>
                  </a:lnTo>
                  <a:lnTo>
                    <a:pt x="199" y="280"/>
                  </a:lnTo>
                  <a:lnTo>
                    <a:pt x="198" y="282"/>
                  </a:lnTo>
                  <a:lnTo>
                    <a:pt x="197" y="280"/>
                  </a:lnTo>
                  <a:lnTo>
                    <a:pt x="196" y="280"/>
                  </a:lnTo>
                  <a:lnTo>
                    <a:pt x="196" y="282"/>
                  </a:lnTo>
                  <a:lnTo>
                    <a:pt x="198" y="282"/>
                  </a:lnTo>
                  <a:lnTo>
                    <a:pt x="198" y="283"/>
                  </a:lnTo>
                  <a:lnTo>
                    <a:pt x="197" y="283"/>
                  </a:lnTo>
                  <a:lnTo>
                    <a:pt x="196" y="284"/>
                  </a:lnTo>
                  <a:lnTo>
                    <a:pt x="196" y="283"/>
                  </a:lnTo>
                  <a:lnTo>
                    <a:pt x="196" y="284"/>
                  </a:lnTo>
                  <a:lnTo>
                    <a:pt x="194" y="284"/>
                  </a:lnTo>
                  <a:lnTo>
                    <a:pt x="196" y="285"/>
                  </a:lnTo>
                  <a:lnTo>
                    <a:pt x="196" y="286"/>
                  </a:lnTo>
                  <a:lnTo>
                    <a:pt x="194" y="286"/>
                  </a:lnTo>
                  <a:lnTo>
                    <a:pt x="193" y="284"/>
                  </a:lnTo>
                  <a:lnTo>
                    <a:pt x="193" y="285"/>
                  </a:lnTo>
                  <a:lnTo>
                    <a:pt x="192" y="285"/>
                  </a:lnTo>
                  <a:lnTo>
                    <a:pt x="192" y="284"/>
                  </a:lnTo>
                  <a:lnTo>
                    <a:pt x="191" y="283"/>
                  </a:lnTo>
                  <a:lnTo>
                    <a:pt x="192" y="283"/>
                  </a:lnTo>
                  <a:lnTo>
                    <a:pt x="193" y="284"/>
                  </a:lnTo>
                  <a:lnTo>
                    <a:pt x="192" y="283"/>
                  </a:lnTo>
                  <a:lnTo>
                    <a:pt x="192" y="282"/>
                  </a:lnTo>
                  <a:lnTo>
                    <a:pt x="191" y="283"/>
                  </a:lnTo>
                  <a:lnTo>
                    <a:pt x="192" y="282"/>
                  </a:lnTo>
                  <a:lnTo>
                    <a:pt x="192" y="280"/>
                  </a:lnTo>
                  <a:lnTo>
                    <a:pt x="191" y="282"/>
                  </a:lnTo>
                  <a:lnTo>
                    <a:pt x="189" y="282"/>
                  </a:lnTo>
                  <a:lnTo>
                    <a:pt x="188" y="283"/>
                  </a:lnTo>
                  <a:lnTo>
                    <a:pt x="187" y="284"/>
                  </a:lnTo>
                  <a:lnTo>
                    <a:pt x="186" y="288"/>
                  </a:lnTo>
                  <a:lnTo>
                    <a:pt x="185" y="290"/>
                  </a:lnTo>
                  <a:lnTo>
                    <a:pt x="187" y="291"/>
                  </a:lnTo>
                  <a:lnTo>
                    <a:pt x="191" y="291"/>
                  </a:lnTo>
                  <a:lnTo>
                    <a:pt x="192" y="290"/>
                  </a:lnTo>
                  <a:lnTo>
                    <a:pt x="194" y="290"/>
                  </a:lnTo>
                  <a:lnTo>
                    <a:pt x="196" y="290"/>
                  </a:lnTo>
                  <a:lnTo>
                    <a:pt x="198" y="289"/>
                  </a:lnTo>
                  <a:lnTo>
                    <a:pt x="202" y="289"/>
                  </a:lnTo>
                  <a:lnTo>
                    <a:pt x="210" y="288"/>
                  </a:lnTo>
                  <a:lnTo>
                    <a:pt x="215" y="288"/>
                  </a:lnTo>
                  <a:lnTo>
                    <a:pt x="216" y="286"/>
                  </a:lnTo>
                  <a:lnTo>
                    <a:pt x="216" y="285"/>
                  </a:lnTo>
                  <a:lnTo>
                    <a:pt x="216" y="286"/>
                  </a:lnTo>
                  <a:lnTo>
                    <a:pt x="218" y="286"/>
                  </a:lnTo>
                  <a:lnTo>
                    <a:pt x="218" y="288"/>
                  </a:lnTo>
                  <a:lnTo>
                    <a:pt x="217" y="289"/>
                  </a:lnTo>
                  <a:lnTo>
                    <a:pt x="215" y="289"/>
                  </a:lnTo>
                  <a:lnTo>
                    <a:pt x="214" y="290"/>
                  </a:lnTo>
                  <a:lnTo>
                    <a:pt x="209" y="290"/>
                  </a:lnTo>
                  <a:lnTo>
                    <a:pt x="205" y="290"/>
                  </a:lnTo>
                  <a:lnTo>
                    <a:pt x="203" y="290"/>
                  </a:lnTo>
                  <a:lnTo>
                    <a:pt x="200" y="291"/>
                  </a:lnTo>
                  <a:lnTo>
                    <a:pt x="199" y="291"/>
                  </a:lnTo>
                  <a:lnTo>
                    <a:pt x="197" y="292"/>
                  </a:lnTo>
                  <a:lnTo>
                    <a:pt x="194" y="294"/>
                  </a:lnTo>
                  <a:lnTo>
                    <a:pt x="191" y="294"/>
                  </a:lnTo>
                  <a:lnTo>
                    <a:pt x="188" y="295"/>
                  </a:lnTo>
                  <a:lnTo>
                    <a:pt x="186" y="296"/>
                  </a:lnTo>
                  <a:lnTo>
                    <a:pt x="186" y="298"/>
                  </a:lnTo>
                  <a:lnTo>
                    <a:pt x="186" y="300"/>
                  </a:lnTo>
                  <a:lnTo>
                    <a:pt x="187" y="301"/>
                  </a:lnTo>
                  <a:lnTo>
                    <a:pt x="187" y="304"/>
                  </a:lnTo>
                  <a:lnTo>
                    <a:pt x="186" y="306"/>
                  </a:lnTo>
                  <a:lnTo>
                    <a:pt x="185" y="309"/>
                  </a:lnTo>
                  <a:lnTo>
                    <a:pt x="185" y="313"/>
                  </a:lnTo>
                  <a:lnTo>
                    <a:pt x="185" y="315"/>
                  </a:lnTo>
                  <a:lnTo>
                    <a:pt x="185" y="321"/>
                  </a:lnTo>
                  <a:lnTo>
                    <a:pt x="185" y="324"/>
                  </a:lnTo>
                  <a:lnTo>
                    <a:pt x="186" y="336"/>
                  </a:lnTo>
                  <a:lnTo>
                    <a:pt x="186" y="340"/>
                  </a:lnTo>
                  <a:lnTo>
                    <a:pt x="185" y="343"/>
                  </a:lnTo>
                  <a:lnTo>
                    <a:pt x="185" y="345"/>
                  </a:lnTo>
                  <a:lnTo>
                    <a:pt x="185" y="346"/>
                  </a:lnTo>
                  <a:lnTo>
                    <a:pt x="183" y="348"/>
                  </a:lnTo>
                  <a:lnTo>
                    <a:pt x="182" y="348"/>
                  </a:lnTo>
                  <a:lnTo>
                    <a:pt x="179" y="349"/>
                  </a:lnTo>
                  <a:lnTo>
                    <a:pt x="175" y="348"/>
                  </a:lnTo>
                  <a:lnTo>
                    <a:pt x="171" y="348"/>
                  </a:lnTo>
                  <a:lnTo>
                    <a:pt x="170" y="345"/>
                  </a:lnTo>
                  <a:lnTo>
                    <a:pt x="170" y="342"/>
                  </a:lnTo>
                  <a:lnTo>
                    <a:pt x="171" y="338"/>
                  </a:lnTo>
                  <a:lnTo>
                    <a:pt x="171" y="336"/>
                  </a:lnTo>
                  <a:lnTo>
                    <a:pt x="171" y="328"/>
                  </a:lnTo>
                  <a:lnTo>
                    <a:pt x="171" y="327"/>
                  </a:lnTo>
                  <a:lnTo>
                    <a:pt x="171" y="325"/>
                  </a:lnTo>
                  <a:lnTo>
                    <a:pt x="171" y="320"/>
                  </a:lnTo>
                  <a:lnTo>
                    <a:pt x="173" y="318"/>
                  </a:lnTo>
                  <a:lnTo>
                    <a:pt x="173" y="310"/>
                  </a:lnTo>
                  <a:lnTo>
                    <a:pt x="173" y="304"/>
                  </a:lnTo>
                  <a:lnTo>
                    <a:pt x="171" y="301"/>
                  </a:lnTo>
                  <a:lnTo>
                    <a:pt x="168" y="300"/>
                  </a:lnTo>
                  <a:lnTo>
                    <a:pt x="163" y="297"/>
                  </a:lnTo>
                  <a:lnTo>
                    <a:pt x="159" y="295"/>
                  </a:lnTo>
                  <a:lnTo>
                    <a:pt x="157" y="294"/>
                  </a:lnTo>
                  <a:lnTo>
                    <a:pt x="155" y="292"/>
                  </a:lnTo>
                  <a:lnTo>
                    <a:pt x="151" y="292"/>
                  </a:lnTo>
                  <a:lnTo>
                    <a:pt x="149" y="292"/>
                  </a:lnTo>
                  <a:lnTo>
                    <a:pt x="147" y="292"/>
                  </a:lnTo>
                  <a:lnTo>
                    <a:pt x="144" y="291"/>
                  </a:lnTo>
                  <a:lnTo>
                    <a:pt x="140" y="291"/>
                  </a:lnTo>
                  <a:lnTo>
                    <a:pt x="137" y="291"/>
                  </a:lnTo>
                  <a:lnTo>
                    <a:pt x="135" y="291"/>
                  </a:lnTo>
                  <a:lnTo>
                    <a:pt x="134" y="291"/>
                  </a:lnTo>
                  <a:lnTo>
                    <a:pt x="133" y="291"/>
                  </a:lnTo>
                  <a:lnTo>
                    <a:pt x="132" y="292"/>
                  </a:lnTo>
                  <a:lnTo>
                    <a:pt x="131" y="292"/>
                  </a:lnTo>
                  <a:lnTo>
                    <a:pt x="129" y="294"/>
                  </a:lnTo>
                  <a:lnTo>
                    <a:pt x="128" y="295"/>
                  </a:lnTo>
                  <a:lnTo>
                    <a:pt x="126" y="294"/>
                  </a:lnTo>
                  <a:lnTo>
                    <a:pt x="128" y="292"/>
                  </a:lnTo>
                  <a:lnTo>
                    <a:pt x="132" y="290"/>
                  </a:lnTo>
                  <a:lnTo>
                    <a:pt x="133" y="288"/>
                  </a:lnTo>
                  <a:lnTo>
                    <a:pt x="135" y="286"/>
                  </a:lnTo>
                  <a:lnTo>
                    <a:pt x="134" y="284"/>
                  </a:lnTo>
                  <a:lnTo>
                    <a:pt x="132" y="285"/>
                  </a:lnTo>
                  <a:lnTo>
                    <a:pt x="128" y="285"/>
                  </a:lnTo>
                  <a:lnTo>
                    <a:pt x="126" y="285"/>
                  </a:lnTo>
                  <a:lnTo>
                    <a:pt x="124" y="285"/>
                  </a:lnTo>
                  <a:lnTo>
                    <a:pt x="118" y="285"/>
                  </a:lnTo>
                  <a:lnTo>
                    <a:pt x="115" y="285"/>
                  </a:lnTo>
                  <a:lnTo>
                    <a:pt x="112" y="285"/>
                  </a:lnTo>
                  <a:lnTo>
                    <a:pt x="111" y="286"/>
                  </a:lnTo>
                  <a:lnTo>
                    <a:pt x="110" y="286"/>
                  </a:lnTo>
                  <a:lnTo>
                    <a:pt x="109" y="286"/>
                  </a:lnTo>
                  <a:lnTo>
                    <a:pt x="108" y="285"/>
                  </a:lnTo>
                  <a:lnTo>
                    <a:pt x="108" y="288"/>
                  </a:lnTo>
                  <a:lnTo>
                    <a:pt x="108" y="289"/>
                  </a:lnTo>
                  <a:lnTo>
                    <a:pt x="106" y="289"/>
                  </a:lnTo>
                  <a:lnTo>
                    <a:pt x="104" y="290"/>
                  </a:lnTo>
                  <a:lnTo>
                    <a:pt x="103" y="289"/>
                  </a:lnTo>
                  <a:lnTo>
                    <a:pt x="103" y="291"/>
                  </a:lnTo>
                  <a:lnTo>
                    <a:pt x="103" y="292"/>
                  </a:lnTo>
                  <a:lnTo>
                    <a:pt x="102" y="292"/>
                  </a:lnTo>
                  <a:lnTo>
                    <a:pt x="100" y="294"/>
                  </a:lnTo>
                  <a:lnTo>
                    <a:pt x="98" y="294"/>
                  </a:lnTo>
                  <a:lnTo>
                    <a:pt x="98" y="295"/>
                  </a:lnTo>
                  <a:lnTo>
                    <a:pt x="97" y="294"/>
                  </a:lnTo>
                  <a:lnTo>
                    <a:pt x="96" y="295"/>
                  </a:lnTo>
                  <a:lnTo>
                    <a:pt x="96" y="292"/>
                  </a:lnTo>
                  <a:lnTo>
                    <a:pt x="94" y="294"/>
                  </a:lnTo>
                  <a:lnTo>
                    <a:pt x="93" y="292"/>
                  </a:lnTo>
                  <a:lnTo>
                    <a:pt x="92" y="292"/>
                  </a:lnTo>
                  <a:lnTo>
                    <a:pt x="91" y="292"/>
                  </a:lnTo>
                  <a:lnTo>
                    <a:pt x="90" y="294"/>
                  </a:lnTo>
                  <a:lnTo>
                    <a:pt x="90" y="295"/>
                  </a:lnTo>
                  <a:lnTo>
                    <a:pt x="88" y="296"/>
                  </a:lnTo>
                  <a:lnTo>
                    <a:pt x="88" y="297"/>
                  </a:lnTo>
                  <a:lnTo>
                    <a:pt x="87" y="297"/>
                  </a:lnTo>
                  <a:lnTo>
                    <a:pt x="86" y="298"/>
                  </a:lnTo>
                  <a:lnTo>
                    <a:pt x="85" y="298"/>
                  </a:lnTo>
                  <a:lnTo>
                    <a:pt x="84" y="297"/>
                  </a:lnTo>
                  <a:lnTo>
                    <a:pt x="82" y="297"/>
                  </a:lnTo>
                  <a:lnTo>
                    <a:pt x="82" y="296"/>
                  </a:lnTo>
                  <a:lnTo>
                    <a:pt x="82" y="297"/>
                  </a:lnTo>
                  <a:lnTo>
                    <a:pt x="80" y="297"/>
                  </a:lnTo>
                  <a:lnTo>
                    <a:pt x="79" y="297"/>
                  </a:lnTo>
                  <a:lnTo>
                    <a:pt x="79" y="296"/>
                  </a:lnTo>
                  <a:lnTo>
                    <a:pt x="79" y="295"/>
                  </a:lnTo>
                  <a:lnTo>
                    <a:pt x="79" y="296"/>
                  </a:lnTo>
                  <a:lnTo>
                    <a:pt x="78" y="295"/>
                  </a:lnTo>
                  <a:lnTo>
                    <a:pt x="76" y="295"/>
                  </a:lnTo>
                  <a:lnTo>
                    <a:pt x="75" y="296"/>
                  </a:lnTo>
                  <a:lnTo>
                    <a:pt x="74" y="296"/>
                  </a:lnTo>
                  <a:lnTo>
                    <a:pt x="72" y="296"/>
                  </a:lnTo>
                  <a:lnTo>
                    <a:pt x="74" y="295"/>
                  </a:lnTo>
                  <a:lnTo>
                    <a:pt x="73" y="294"/>
                  </a:lnTo>
                  <a:lnTo>
                    <a:pt x="72" y="294"/>
                  </a:lnTo>
                  <a:lnTo>
                    <a:pt x="72" y="292"/>
                  </a:lnTo>
                  <a:lnTo>
                    <a:pt x="70" y="291"/>
                  </a:lnTo>
                  <a:lnTo>
                    <a:pt x="72" y="290"/>
                  </a:lnTo>
                  <a:lnTo>
                    <a:pt x="72" y="291"/>
                  </a:lnTo>
                  <a:lnTo>
                    <a:pt x="73" y="292"/>
                  </a:lnTo>
                  <a:lnTo>
                    <a:pt x="74" y="292"/>
                  </a:lnTo>
                  <a:lnTo>
                    <a:pt x="75" y="292"/>
                  </a:lnTo>
                  <a:lnTo>
                    <a:pt x="76" y="294"/>
                  </a:lnTo>
                  <a:lnTo>
                    <a:pt x="78" y="292"/>
                  </a:lnTo>
                  <a:lnTo>
                    <a:pt x="76" y="292"/>
                  </a:lnTo>
                  <a:lnTo>
                    <a:pt x="76" y="291"/>
                  </a:lnTo>
                  <a:lnTo>
                    <a:pt x="76" y="290"/>
                  </a:lnTo>
                  <a:lnTo>
                    <a:pt x="76" y="289"/>
                  </a:lnTo>
                  <a:lnTo>
                    <a:pt x="76" y="288"/>
                  </a:lnTo>
                  <a:lnTo>
                    <a:pt x="76" y="289"/>
                  </a:lnTo>
                  <a:lnTo>
                    <a:pt x="78" y="288"/>
                  </a:lnTo>
                  <a:lnTo>
                    <a:pt x="79" y="288"/>
                  </a:lnTo>
                  <a:lnTo>
                    <a:pt x="80" y="285"/>
                  </a:lnTo>
                  <a:lnTo>
                    <a:pt x="81" y="285"/>
                  </a:lnTo>
                  <a:lnTo>
                    <a:pt x="84" y="286"/>
                  </a:lnTo>
                  <a:lnTo>
                    <a:pt x="84" y="285"/>
                  </a:lnTo>
                  <a:lnTo>
                    <a:pt x="82" y="284"/>
                  </a:lnTo>
                  <a:lnTo>
                    <a:pt x="82" y="282"/>
                  </a:lnTo>
                  <a:lnTo>
                    <a:pt x="81" y="282"/>
                  </a:lnTo>
                  <a:lnTo>
                    <a:pt x="82" y="282"/>
                  </a:lnTo>
                  <a:lnTo>
                    <a:pt x="82" y="280"/>
                  </a:lnTo>
                  <a:lnTo>
                    <a:pt x="81" y="279"/>
                  </a:lnTo>
                  <a:lnTo>
                    <a:pt x="82" y="278"/>
                  </a:lnTo>
                  <a:lnTo>
                    <a:pt x="84" y="279"/>
                  </a:lnTo>
                  <a:lnTo>
                    <a:pt x="85" y="279"/>
                  </a:lnTo>
                  <a:lnTo>
                    <a:pt x="85" y="280"/>
                  </a:lnTo>
                  <a:lnTo>
                    <a:pt x="86" y="280"/>
                  </a:lnTo>
                  <a:lnTo>
                    <a:pt x="87" y="280"/>
                  </a:lnTo>
                  <a:lnTo>
                    <a:pt x="88" y="282"/>
                  </a:lnTo>
                  <a:lnTo>
                    <a:pt x="90" y="283"/>
                  </a:lnTo>
                  <a:lnTo>
                    <a:pt x="91" y="282"/>
                  </a:lnTo>
                  <a:lnTo>
                    <a:pt x="92" y="282"/>
                  </a:lnTo>
                  <a:lnTo>
                    <a:pt x="93" y="283"/>
                  </a:lnTo>
                  <a:lnTo>
                    <a:pt x="93" y="282"/>
                  </a:lnTo>
                  <a:lnTo>
                    <a:pt x="93" y="280"/>
                  </a:lnTo>
                  <a:lnTo>
                    <a:pt x="94" y="280"/>
                  </a:lnTo>
                  <a:lnTo>
                    <a:pt x="96" y="280"/>
                  </a:lnTo>
                  <a:lnTo>
                    <a:pt x="97" y="280"/>
                  </a:lnTo>
                  <a:lnTo>
                    <a:pt x="98" y="279"/>
                  </a:lnTo>
                  <a:lnTo>
                    <a:pt x="99" y="280"/>
                  </a:lnTo>
                  <a:lnTo>
                    <a:pt x="99" y="279"/>
                  </a:lnTo>
                  <a:lnTo>
                    <a:pt x="98" y="279"/>
                  </a:lnTo>
                  <a:lnTo>
                    <a:pt x="98" y="278"/>
                  </a:lnTo>
                  <a:lnTo>
                    <a:pt x="98" y="277"/>
                  </a:lnTo>
                  <a:lnTo>
                    <a:pt x="99" y="277"/>
                  </a:lnTo>
                  <a:lnTo>
                    <a:pt x="100" y="277"/>
                  </a:lnTo>
                  <a:lnTo>
                    <a:pt x="102" y="278"/>
                  </a:lnTo>
                  <a:lnTo>
                    <a:pt x="102" y="277"/>
                  </a:lnTo>
                  <a:lnTo>
                    <a:pt x="102" y="276"/>
                  </a:lnTo>
                  <a:lnTo>
                    <a:pt x="103" y="276"/>
                  </a:lnTo>
                  <a:lnTo>
                    <a:pt x="104" y="274"/>
                  </a:lnTo>
                  <a:lnTo>
                    <a:pt x="105" y="277"/>
                  </a:lnTo>
                  <a:lnTo>
                    <a:pt x="105" y="278"/>
                  </a:lnTo>
                  <a:lnTo>
                    <a:pt x="106" y="278"/>
                  </a:lnTo>
                  <a:lnTo>
                    <a:pt x="106" y="279"/>
                  </a:lnTo>
                  <a:lnTo>
                    <a:pt x="108" y="279"/>
                  </a:lnTo>
                  <a:lnTo>
                    <a:pt x="108" y="280"/>
                  </a:lnTo>
                  <a:lnTo>
                    <a:pt x="109" y="279"/>
                  </a:lnTo>
                  <a:lnTo>
                    <a:pt x="110" y="280"/>
                  </a:lnTo>
                  <a:lnTo>
                    <a:pt x="109" y="282"/>
                  </a:lnTo>
                  <a:lnTo>
                    <a:pt x="109" y="283"/>
                  </a:lnTo>
                  <a:lnTo>
                    <a:pt x="109" y="284"/>
                  </a:lnTo>
                  <a:lnTo>
                    <a:pt x="110" y="284"/>
                  </a:lnTo>
                  <a:lnTo>
                    <a:pt x="111" y="284"/>
                  </a:lnTo>
                  <a:lnTo>
                    <a:pt x="112" y="283"/>
                  </a:lnTo>
                  <a:lnTo>
                    <a:pt x="114" y="283"/>
                  </a:lnTo>
                  <a:lnTo>
                    <a:pt x="115" y="284"/>
                  </a:lnTo>
                  <a:lnTo>
                    <a:pt x="117" y="283"/>
                  </a:lnTo>
                  <a:lnTo>
                    <a:pt x="121" y="283"/>
                  </a:lnTo>
                  <a:lnTo>
                    <a:pt x="124" y="283"/>
                  </a:lnTo>
                  <a:lnTo>
                    <a:pt x="126" y="283"/>
                  </a:lnTo>
                  <a:lnTo>
                    <a:pt x="127" y="283"/>
                  </a:lnTo>
                  <a:lnTo>
                    <a:pt x="128" y="283"/>
                  </a:lnTo>
                  <a:lnTo>
                    <a:pt x="129" y="283"/>
                  </a:lnTo>
                  <a:lnTo>
                    <a:pt x="132" y="283"/>
                  </a:lnTo>
                  <a:lnTo>
                    <a:pt x="133" y="283"/>
                  </a:lnTo>
                  <a:lnTo>
                    <a:pt x="137" y="282"/>
                  </a:lnTo>
                  <a:lnTo>
                    <a:pt x="138" y="280"/>
                  </a:lnTo>
                  <a:lnTo>
                    <a:pt x="138" y="279"/>
                  </a:lnTo>
                  <a:lnTo>
                    <a:pt x="140" y="279"/>
                  </a:lnTo>
                  <a:lnTo>
                    <a:pt x="143" y="280"/>
                  </a:lnTo>
                  <a:lnTo>
                    <a:pt x="144" y="279"/>
                  </a:lnTo>
                  <a:lnTo>
                    <a:pt x="147" y="277"/>
                  </a:lnTo>
                  <a:lnTo>
                    <a:pt x="147" y="276"/>
                  </a:lnTo>
                  <a:lnTo>
                    <a:pt x="149" y="277"/>
                  </a:lnTo>
                  <a:lnTo>
                    <a:pt x="150" y="276"/>
                  </a:lnTo>
                  <a:lnTo>
                    <a:pt x="151" y="276"/>
                  </a:lnTo>
                  <a:lnTo>
                    <a:pt x="152" y="274"/>
                  </a:lnTo>
                  <a:lnTo>
                    <a:pt x="155" y="274"/>
                  </a:lnTo>
                  <a:lnTo>
                    <a:pt x="156" y="273"/>
                  </a:lnTo>
                  <a:lnTo>
                    <a:pt x="157" y="272"/>
                  </a:lnTo>
                  <a:lnTo>
                    <a:pt x="156" y="273"/>
                  </a:lnTo>
                  <a:lnTo>
                    <a:pt x="156" y="272"/>
                  </a:lnTo>
                  <a:lnTo>
                    <a:pt x="155" y="272"/>
                  </a:lnTo>
                  <a:lnTo>
                    <a:pt x="156" y="271"/>
                  </a:lnTo>
                  <a:lnTo>
                    <a:pt x="156" y="270"/>
                  </a:lnTo>
                  <a:lnTo>
                    <a:pt x="155" y="270"/>
                  </a:lnTo>
                  <a:lnTo>
                    <a:pt x="155" y="268"/>
                  </a:lnTo>
                  <a:lnTo>
                    <a:pt x="153" y="268"/>
                  </a:lnTo>
                  <a:lnTo>
                    <a:pt x="153" y="270"/>
                  </a:lnTo>
                  <a:lnTo>
                    <a:pt x="155" y="271"/>
                  </a:lnTo>
                  <a:lnTo>
                    <a:pt x="153" y="271"/>
                  </a:lnTo>
                  <a:lnTo>
                    <a:pt x="153" y="273"/>
                  </a:lnTo>
                  <a:lnTo>
                    <a:pt x="151" y="273"/>
                  </a:lnTo>
                  <a:lnTo>
                    <a:pt x="150" y="272"/>
                  </a:lnTo>
                  <a:lnTo>
                    <a:pt x="150" y="271"/>
                  </a:lnTo>
                  <a:lnTo>
                    <a:pt x="149" y="272"/>
                  </a:lnTo>
                  <a:lnTo>
                    <a:pt x="147" y="272"/>
                  </a:lnTo>
                  <a:lnTo>
                    <a:pt x="146" y="272"/>
                  </a:lnTo>
                  <a:lnTo>
                    <a:pt x="145" y="272"/>
                  </a:lnTo>
                  <a:lnTo>
                    <a:pt x="144" y="273"/>
                  </a:lnTo>
                  <a:lnTo>
                    <a:pt x="143" y="273"/>
                  </a:lnTo>
                  <a:lnTo>
                    <a:pt x="143" y="272"/>
                  </a:lnTo>
                  <a:lnTo>
                    <a:pt x="143" y="271"/>
                  </a:lnTo>
                  <a:lnTo>
                    <a:pt x="144" y="271"/>
                  </a:lnTo>
                  <a:lnTo>
                    <a:pt x="144" y="270"/>
                  </a:lnTo>
                  <a:lnTo>
                    <a:pt x="144" y="268"/>
                  </a:lnTo>
                  <a:lnTo>
                    <a:pt x="144" y="267"/>
                  </a:lnTo>
                  <a:lnTo>
                    <a:pt x="145" y="266"/>
                  </a:lnTo>
                  <a:lnTo>
                    <a:pt x="146" y="266"/>
                  </a:lnTo>
                  <a:lnTo>
                    <a:pt x="146" y="265"/>
                  </a:lnTo>
                  <a:lnTo>
                    <a:pt x="145" y="265"/>
                  </a:lnTo>
                  <a:lnTo>
                    <a:pt x="144" y="265"/>
                  </a:lnTo>
                  <a:lnTo>
                    <a:pt x="143" y="265"/>
                  </a:lnTo>
                  <a:lnTo>
                    <a:pt x="141" y="265"/>
                  </a:lnTo>
                  <a:lnTo>
                    <a:pt x="141" y="264"/>
                  </a:lnTo>
                  <a:lnTo>
                    <a:pt x="141" y="262"/>
                  </a:lnTo>
                  <a:lnTo>
                    <a:pt x="140" y="262"/>
                  </a:lnTo>
                  <a:lnTo>
                    <a:pt x="140" y="264"/>
                  </a:lnTo>
                  <a:lnTo>
                    <a:pt x="139" y="262"/>
                  </a:lnTo>
                  <a:lnTo>
                    <a:pt x="138" y="264"/>
                  </a:lnTo>
                  <a:lnTo>
                    <a:pt x="137" y="264"/>
                  </a:lnTo>
                  <a:lnTo>
                    <a:pt x="137" y="265"/>
                  </a:lnTo>
                  <a:lnTo>
                    <a:pt x="135" y="265"/>
                  </a:lnTo>
                  <a:lnTo>
                    <a:pt x="133" y="267"/>
                  </a:lnTo>
                  <a:lnTo>
                    <a:pt x="133" y="268"/>
                  </a:lnTo>
                  <a:lnTo>
                    <a:pt x="132" y="270"/>
                  </a:lnTo>
                  <a:lnTo>
                    <a:pt x="133" y="270"/>
                  </a:lnTo>
                  <a:lnTo>
                    <a:pt x="133" y="271"/>
                  </a:lnTo>
                  <a:lnTo>
                    <a:pt x="134" y="271"/>
                  </a:lnTo>
                  <a:lnTo>
                    <a:pt x="134" y="272"/>
                  </a:lnTo>
                  <a:lnTo>
                    <a:pt x="133" y="273"/>
                  </a:lnTo>
                  <a:lnTo>
                    <a:pt x="134" y="273"/>
                  </a:lnTo>
                  <a:lnTo>
                    <a:pt x="134" y="274"/>
                  </a:lnTo>
                  <a:lnTo>
                    <a:pt x="133" y="274"/>
                  </a:lnTo>
                  <a:lnTo>
                    <a:pt x="131" y="276"/>
                  </a:lnTo>
                  <a:lnTo>
                    <a:pt x="129" y="276"/>
                  </a:lnTo>
                  <a:lnTo>
                    <a:pt x="131" y="274"/>
                  </a:lnTo>
                  <a:lnTo>
                    <a:pt x="131" y="273"/>
                  </a:lnTo>
                  <a:lnTo>
                    <a:pt x="129" y="273"/>
                  </a:lnTo>
                  <a:lnTo>
                    <a:pt x="129" y="276"/>
                  </a:lnTo>
                  <a:lnTo>
                    <a:pt x="128" y="276"/>
                  </a:lnTo>
                  <a:lnTo>
                    <a:pt x="127" y="274"/>
                  </a:lnTo>
                  <a:lnTo>
                    <a:pt x="127" y="276"/>
                  </a:lnTo>
                  <a:lnTo>
                    <a:pt x="126" y="276"/>
                  </a:lnTo>
                  <a:lnTo>
                    <a:pt x="124" y="276"/>
                  </a:lnTo>
                  <a:lnTo>
                    <a:pt x="123" y="274"/>
                  </a:lnTo>
                  <a:lnTo>
                    <a:pt x="124" y="272"/>
                  </a:lnTo>
                  <a:lnTo>
                    <a:pt x="126" y="271"/>
                  </a:lnTo>
                  <a:lnTo>
                    <a:pt x="123" y="272"/>
                  </a:lnTo>
                  <a:lnTo>
                    <a:pt x="122" y="272"/>
                  </a:lnTo>
                  <a:lnTo>
                    <a:pt x="121" y="272"/>
                  </a:lnTo>
                  <a:lnTo>
                    <a:pt x="121" y="271"/>
                  </a:lnTo>
                  <a:lnTo>
                    <a:pt x="120" y="270"/>
                  </a:lnTo>
                  <a:lnTo>
                    <a:pt x="120" y="267"/>
                  </a:lnTo>
                  <a:lnTo>
                    <a:pt x="120" y="266"/>
                  </a:lnTo>
                  <a:lnTo>
                    <a:pt x="118" y="265"/>
                  </a:lnTo>
                  <a:lnTo>
                    <a:pt x="118" y="262"/>
                  </a:lnTo>
                  <a:lnTo>
                    <a:pt x="120" y="262"/>
                  </a:lnTo>
                  <a:lnTo>
                    <a:pt x="120" y="261"/>
                  </a:lnTo>
                  <a:lnTo>
                    <a:pt x="121" y="261"/>
                  </a:lnTo>
                  <a:lnTo>
                    <a:pt x="123" y="261"/>
                  </a:lnTo>
                  <a:lnTo>
                    <a:pt x="122" y="260"/>
                  </a:lnTo>
                  <a:lnTo>
                    <a:pt x="121" y="260"/>
                  </a:lnTo>
                  <a:lnTo>
                    <a:pt x="118" y="260"/>
                  </a:lnTo>
                  <a:lnTo>
                    <a:pt x="117" y="261"/>
                  </a:lnTo>
                  <a:lnTo>
                    <a:pt x="118" y="262"/>
                  </a:lnTo>
                  <a:lnTo>
                    <a:pt x="117" y="264"/>
                  </a:lnTo>
                  <a:lnTo>
                    <a:pt x="116" y="264"/>
                  </a:lnTo>
                  <a:lnTo>
                    <a:pt x="116" y="265"/>
                  </a:lnTo>
                  <a:lnTo>
                    <a:pt x="116" y="262"/>
                  </a:lnTo>
                  <a:lnTo>
                    <a:pt x="115" y="262"/>
                  </a:lnTo>
                  <a:lnTo>
                    <a:pt x="115" y="264"/>
                  </a:lnTo>
                  <a:lnTo>
                    <a:pt x="112" y="264"/>
                  </a:lnTo>
                  <a:lnTo>
                    <a:pt x="111" y="264"/>
                  </a:lnTo>
                  <a:lnTo>
                    <a:pt x="110" y="265"/>
                  </a:lnTo>
                  <a:lnTo>
                    <a:pt x="109" y="265"/>
                  </a:lnTo>
                  <a:lnTo>
                    <a:pt x="109" y="266"/>
                  </a:lnTo>
                  <a:lnTo>
                    <a:pt x="109" y="265"/>
                  </a:lnTo>
                  <a:lnTo>
                    <a:pt x="108" y="266"/>
                  </a:lnTo>
                  <a:lnTo>
                    <a:pt x="106" y="265"/>
                  </a:lnTo>
                  <a:lnTo>
                    <a:pt x="105" y="265"/>
                  </a:lnTo>
                  <a:lnTo>
                    <a:pt x="104" y="262"/>
                  </a:lnTo>
                  <a:lnTo>
                    <a:pt x="103" y="262"/>
                  </a:lnTo>
                  <a:lnTo>
                    <a:pt x="102" y="262"/>
                  </a:lnTo>
                  <a:lnTo>
                    <a:pt x="100" y="262"/>
                  </a:lnTo>
                  <a:lnTo>
                    <a:pt x="99" y="264"/>
                  </a:lnTo>
                  <a:lnTo>
                    <a:pt x="98" y="262"/>
                  </a:lnTo>
                  <a:lnTo>
                    <a:pt x="97" y="261"/>
                  </a:lnTo>
                  <a:lnTo>
                    <a:pt x="96" y="262"/>
                  </a:lnTo>
                  <a:lnTo>
                    <a:pt x="94" y="262"/>
                  </a:lnTo>
                  <a:lnTo>
                    <a:pt x="93" y="262"/>
                  </a:lnTo>
                  <a:lnTo>
                    <a:pt x="92" y="262"/>
                  </a:lnTo>
                  <a:lnTo>
                    <a:pt x="91" y="262"/>
                  </a:lnTo>
                  <a:lnTo>
                    <a:pt x="90" y="262"/>
                  </a:lnTo>
                  <a:lnTo>
                    <a:pt x="88" y="262"/>
                  </a:lnTo>
                  <a:lnTo>
                    <a:pt x="88" y="264"/>
                  </a:lnTo>
                  <a:lnTo>
                    <a:pt x="90" y="264"/>
                  </a:lnTo>
                  <a:lnTo>
                    <a:pt x="91" y="264"/>
                  </a:lnTo>
                  <a:lnTo>
                    <a:pt x="92" y="264"/>
                  </a:lnTo>
                  <a:lnTo>
                    <a:pt x="92" y="262"/>
                  </a:lnTo>
                  <a:lnTo>
                    <a:pt x="93" y="262"/>
                  </a:lnTo>
                  <a:lnTo>
                    <a:pt x="93" y="264"/>
                  </a:lnTo>
                  <a:lnTo>
                    <a:pt x="94" y="264"/>
                  </a:lnTo>
                  <a:lnTo>
                    <a:pt x="96" y="264"/>
                  </a:lnTo>
                  <a:lnTo>
                    <a:pt x="97" y="265"/>
                  </a:lnTo>
                  <a:lnTo>
                    <a:pt x="98" y="264"/>
                  </a:lnTo>
                  <a:lnTo>
                    <a:pt x="99" y="264"/>
                  </a:lnTo>
                  <a:lnTo>
                    <a:pt x="98" y="265"/>
                  </a:lnTo>
                  <a:lnTo>
                    <a:pt x="98" y="266"/>
                  </a:lnTo>
                  <a:lnTo>
                    <a:pt x="97" y="266"/>
                  </a:lnTo>
                  <a:lnTo>
                    <a:pt x="97" y="267"/>
                  </a:lnTo>
                  <a:lnTo>
                    <a:pt x="96" y="267"/>
                  </a:lnTo>
                  <a:lnTo>
                    <a:pt x="94" y="267"/>
                  </a:lnTo>
                  <a:lnTo>
                    <a:pt x="93" y="268"/>
                  </a:lnTo>
                  <a:lnTo>
                    <a:pt x="92" y="271"/>
                  </a:lnTo>
                  <a:lnTo>
                    <a:pt x="90" y="271"/>
                  </a:lnTo>
                  <a:lnTo>
                    <a:pt x="90" y="270"/>
                  </a:lnTo>
                  <a:lnTo>
                    <a:pt x="88" y="268"/>
                  </a:lnTo>
                  <a:lnTo>
                    <a:pt x="88" y="267"/>
                  </a:lnTo>
                  <a:lnTo>
                    <a:pt x="87" y="267"/>
                  </a:lnTo>
                  <a:lnTo>
                    <a:pt x="88" y="270"/>
                  </a:lnTo>
                  <a:lnTo>
                    <a:pt x="87" y="270"/>
                  </a:lnTo>
                  <a:lnTo>
                    <a:pt x="88" y="270"/>
                  </a:lnTo>
                  <a:lnTo>
                    <a:pt x="87" y="271"/>
                  </a:lnTo>
                  <a:lnTo>
                    <a:pt x="88" y="271"/>
                  </a:lnTo>
                  <a:lnTo>
                    <a:pt x="87" y="271"/>
                  </a:lnTo>
                  <a:lnTo>
                    <a:pt x="87" y="272"/>
                  </a:lnTo>
                  <a:lnTo>
                    <a:pt x="86" y="272"/>
                  </a:lnTo>
                  <a:lnTo>
                    <a:pt x="87" y="273"/>
                  </a:lnTo>
                  <a:lnTo>
                    <a:pt x="86" y="274"/>
                  </a:lnTo>
                  <a:lnTo>
                    <a:pt x="87" y="274"/>
                  </a:lnTo>
                  <a:lnTo>
                    <a:pt x="88" y="274"/>
                  </a:lnTo>
                  <a:lnTo>
                    <a:pt x="88" y="277"/>
                  </a:lnTo>
                  <a:lnTo>
                    <a:pt x="88" y="278"/>
                  </a:lnTo>
                  <a:lnTo>
                    <a:pt x="87" y="278"/>
                  </a:lnTo>
                  <a:lnTo>
                    <a:pt x="86" y="278"/>
                  </a:lnTo>
                  <a:lnTo>
                    <a:pt x="85" y="277"/>
                  </a:lnTo>
                  <a:lnTo>
                    <a:pt x="82" y="277"/>
                  </a:lnTo>
                  <a:lnTo>
                    <a:pt x="81" y="277"/>
                  </a:lnTo>
                  <a:lnTo>
                    <a:pt x="80" y="277"/>
                  </a:lnTo>
                  <a:lnTo>
                    <a:pt x="79" y="277"/>
                  </a:lnTo>
                  <a:lnTo>
                    <a:pt x="76" y="277"/>
                  </a:lnTo>
                  <a:lnTo>
                    <a:pt x="75" y="277"/>
                  </a:lnTo>
                  <a:lnTo>
                    <a:pt x="74" y="277"/>
                  </a:lnTo>
                  <a:lnTo>
                    <a:pt x="73" y="278"/>
                  </a:lnTo>
                  <a:lnTo>
                    <a:pt x="72" y="279"/>
                  </a:lnTo>
                  <a:lnTo>
                    <a:pt x="70" y="279"/>
                  </a:lnTo>
                  <a:lnTo>
                    <a:pt x="69" y="279"/>
                  </a:lnTo>
                  <a:lnTo>
                    <a:pt x="68" y="278"/>
                  </a:lnTo>
                  <a:lnTo>
                    <a:pt x="68" y="277"/>
                  </a:lnTo>
                  <a:lnTo>
                    <a:pt x="67" y="276"/>
                  </a:lnTo>
                  <a:lnTo>
                    <a:pt x="65" y="276"/>
                  </a:lnTo>
                  <a:lnTo>
                    <a:pt x="65" y="274"/>
                  </a:lnTo>
                  <a:lnTo>
                    <a:pt x="64" y="273"/>
                  </a:lnTo>
                  <a:lnTo>
                    <a:pt x="63" y="272"/>
                  </a:lnTo>
                  <a:lnTo>
                    <a:pt x="64" y="272"/>
                  </a:lnTo>
                  <a:lnTo>
                    <a:pt x="65" y="272"/>
                  </a:lnTo>
                  <a:lnTo>
                    <a:pt x="67" y="273"/>
                  </a:lnTo>
                  <a:lnTo>
                    <a:pt x="67" y="272"/>
                  </a:lnTo>
                  <a:lnTo>
                    <a:pt x="68" y="271"/>
                  </a:lnTo>
                  <a:lnTo>
                    <a:pt x="69" y="271"/>
                  </a:lnTo>
                  <a:lnTo>
                    <a:pt x="68" y="268"/>
                  </a:lnTo>
                  <a:lnTo>
                    <a:pt x="69" y="268"/>
                  </a:lnTo>
                  <a:lnTo>
                    <a:pt x="70" y="268"/>
                  </a:lnTo>
                  <a:lnTo>
                    <a:pt x="72" y="267"/>
                  </a:lnTo>
                  <a:lnTo>
                    <a:pt x="70" y="266"/>
                  </a:lnTo>
                  <a:lnTo>
                    <a:pt x="70" y="265"/>
                  </a:lnTo>
                  <a:lnTo>
                    <a:pt x="69" y="265"/>
                  </a:lnTo>
                  <a:lnTo>
                    <a:pt x="68" y="264"/>
                  </a:lnTo>
                  <a:lnTo>
                    <a:pt x="69" y="264"/>
                  </a:lnTo>
                  <a:lnTo>
                    <a:pt x="70" y="262"/>
                  </a:lnTo>
                  <a:lnTo>
                    <a:pt x="72" y="264"/>
                  </a:lnTo>
                  <a:lnTo>
                    <a:pt x="72" y="262"/>
                  </a:lnTo>
                  <a:lnTo>
                    <a:pt x="70" y="262"/>
                  </a:lnTo>
                  <a:lnTo>
                    <a:pt x="72" y="261"/>
                  </a:lnTo>
                  <a:lnTo>
                    <a:pt x="70" y="260"/>
                  </a:lnTo>
                  <a:lnTo>
                    <a:pt x="69" y="260"/>
                  </a:lnTo>
                  <a:lnTo>
                    <a:pt x="68" y="260"/>
                  </a:lnTo>
                  <a:lnTo>
                    <a:pt x="67" y="260"/>
                  </a:lnTo>
                  <a:lnTo>
                    <a:pt x="65" y="260"/>
                  </a:lnTo>
                  <a:lnTo>
                    <a:pt x="65" y="261"/>
                  </a:lnTo>
                  <a:lnTo>
                    <a:pt x="64" y="261"/>
                  </a:lnTo>
                  <a:lnTo>
                    <a:pt x="64" y="260"/>
                  </a:lnTo>
                  <a:lnTo>
                    <a:pt x="63" y="261"/>
                  </a:lnTo>
                  <a:lnTo>
                    <a:pt x="63" y="260"/>
                  </a:lnTo>
                  <a:lnTo>
                    <a:pt x="62" y="261"/>
                  </a:lnTo>
                  <a:lnTo>
                    <a:pt x="61" y="260"/>
                  </a:lnTo>
                  <a:lnTo>
                    <a:pt x="59" y="260"/>
                  </a:lnTo>
                  <a:lnTo>
                    <a:pt x="58" y="260"/>
                  </a:lnTo>
                  <a:lnTo>
                    <a:pt x="57" y="261"/>
                  </a:lnTo>
                  <a:lnTo>
                    <a:pt x="57" y="262"/>
                  </a:lnTo>
                  <a:lnTo>
                    <a:pt x="56" y="261"/>
                  </a:lnTo>
                  <a:lnTo>
                    <a:pt x="52" y="261"/>
                  </a:lnTo>
                  <a:lnTo>
                    <a:pt x="51" y="262"/>
                  </a:lnTo>
                  <a:lnTo>
                    <a:pt x="50" y="262"/>
                  </a:lnTo>
                  <a:lnTo>
                    <a:pt x="50" y="261"/>
                  </a:lnTo>
                  <a:lnTo>
                    <a:pt x="49" y="261"/>
                  </a:lnTo>
                  <a:lnTo>
                    <a:pt x="47" y="260"/>
                  </a:lnTo>
                  <a:lnTo>
                    <a:pt x="46" y="260"/>
                  </a:lnTo>
                  <a:lnTo>
                    <a:pt x="47" y="259"/>
                  </a:lnTo>
                  <a:lnTo>
                    <a:pt x="50" y="259"/>
                  </a:lnTo>
                  <a:lnTo>
                    <a:pt x="50" y="258"/>
                  </a:lnTo>
                  <a:lnTo>
                    <a:pt x="49" y="258"/>
                  </a:lnTo>
                  <a:lnTo>
                    <a:pt x="47" y="258"/>
                  </a:lnTo>
                  <a:lnTo>
                    <a:pt x="47" y="256"/>
                  </a:lnTo>
                  <a:lnTo>
                    <a:pt x="46" y="256"/>
                  </a:lnTo>
                  <a:lnTo>
                    <a:pt x="47" y="255"/>
                  </a:lnTo>
                  <a:lnTo>
                    <a:pt x="49" y="253"/>
                  </a:lnTo>
                  <a:lnTo>
                    <a:pt x="49" y="254"/>
                  </a:lnTo>
                  <a:lnTo>
                    <a:pt x="50" y="253"/>
                  </a:lnTo>
                  <a:lnTo>
                    <a:pt x="51" y="254"/>
                  </a:lnTo>
                  <a:lnTo>
                    <a:pt x="52" y="254"/>
                  </a:lnTo>
                  <a:lnTo>
                    <a:pt x="52" y="253"/>
                  </a:lnTo>
                  <a:lnTo>
                    <a:pt x="52" y="251"/>
                  </a:lnTo>
                  <a:lnTo>
                    <a:pt x="55" y="251"/>
                  </a:lnTo>
                  <a:lnTo>
                    <a:pt x="53" y="250"/>
                  </a:lnTo>
                  <a:lnTo>
                    <a:pt x="52" y="250"/>
                  </a:lnTo>
                  <a:lnTo>
                    <a:pt x="50" y="250"/>
                  </a:lnTo>
                  <a:lnTo>
                    <a:pt x="50" y="249"/>
                  </a:lnTo>
                  <a:lnTo>
                    <a:pt x="49" y="249"/>
                  </a:lnTo>
                  <a:lnTo>
                    <a:pt x="46" y="248"/>
                  </a:lnTo>
                  <a:lnTo>
                    <a:pt x="46" y="247"/>
                  </a:lnTo>
                  <a:lnTo>
                    <a:pt x="45" y="244"/>
                  </a:lnTo>
                  <a:lnTo>
                    <a:pt x="46" y="244"/>
                  </a:lnTo>
                  <a:lnTo>
                    <a:pt x="47" y="245"/>
                  </a:lnTo>
                  <a:lnTo>
                    <a:pt x="49" y="245"/>
                  </a:lnTo>
                  <a:lnTo>
                    <a:pt x="49" y="244"/>
                  </a:lnTo>
                  <a:lnTo>
                    <a:pt x="50" y="243"/>
                  </a:lnTo>
                  <a:lnTo>
                    <a:pt x="50" y="244"/>
                  </a:lnTo>
                  <a:lnTo>
                    <a:pt x="51" y="245"/>
                  </a:lnTo>
                  <a:lnTo>
                    <a:pt x="52" y="245"/>
                  </a:lnTo>
                  <a:lnTo>
                    <a:pt x="52" y="247"/>
                  </a:lnTo>
                  <a:lnTo>
                    <a:pt x="53" y="248"/>
                  </a:lnTo>
                  <a:lnTo>
                    <a:pt x="57" y="248"/>
                  </a:lnTo>
                  <a:lnTo>
                    <a:pt x="56" y="247"/>
                  </a:lnTo>
                  <a:lnTo>
                    <a:pt x="56" y="245"/>
                  </a:lnTo>
                  <a:lnTo>
                    <a:pt x="56" y="244"/>
                  </a:lnTo>
                  <a:lnTo>
                    <a:pt x="56" y="243"/>
                  </a:lnTo>
                  <a:lnTo>
                    <a:pt x="56" y="244"/>
                  </a:lnTo>
                  <a:lnTo>
                    <a:pt x="57" y="244"/>
                  </a:lnTo>
                  <a:lnTo>
                    <a:pt x="58" y="245"/>
                  </a:lnTo>
                  <a:lnTo>
                    <a:pt x="58" y="244"/>
                  </a:lnTo>
                  <a:lnTo>
                    <a:pt x="58" y="243"/>
                  </a:lnTo>
                  <a:lnTo>
                    <a:pt x="58" y="242"/>
                  </a:lnTo>
                  <a:lnTo>
                    <a:pt x="57" y="241"/>
                  </a:lnTo>
                  <a:lnTo>
                    <a:pt x="58" y="241"/>
                  </a:lnTo>
                  <a:lnTo>
                    <a:pt x="59" y="241"/>
                  </a:lnTo>
                  <a:lnTo>
                    <a:pt x="61" y="242"/>
                  </a:lnTo>
                  <a:lnTo>
                    <a:pt x="61" y="243"/>
                  </a:lnTo>
                  <a:lnTo>
                    <a:pt x="62" y="243"/>
                  </a:lnTo>
                  <a:lnTo>
                    <a:pt x="62" y="242"/>
                  </a:lnTo>
                  <a:lnTo>
                    <a:pt x="62" y="241"/>
                  </a:lnTo>
                  <a:lnTo>
                    <a:pt x="63" y="241"/>
                  </a:lnTo>
                  <a:lnTo>
                    <a:pt x="64" y="242"/>
                  </a:lnTo>
                  <a:lnTo>
                    <a:pt x="65" y="242"/>
                  </a:lnTo>
                  <a:lnTo>
                    <a:pt x="64" y="241"/>
                  </a:lnTo>
                  <a:lnTo>
                    <a:pt x="65" y="241"/>
                  </a:lnTo>
                  <a:lnTo>
                    <a:pt x="67" y="241"/>
                  </a:lnTo>
                  <a:lnTo>
                    <a:pt x="67" y="239"/>
                  </a:lnTo>
                  <a:lnTo>
                    <a:pt x="65" y="239"/>
                  </a:lnTo>
                  <a:lnTo>
                    <a:pt x="65" y="238"/>
                  </a:lnTo>
                  <a:lnTo>
                    <a:pt x="65" y="237"/>
                  </a:lnTo>
                  <a:lnTo>
                    <a:pt x="65" y="236"/>
                  </a:lnTo>
                  <a:lnTo>
                    <a:pt x="67" y="236"/>
                  </a:lnTo>
                  <a:lnTo>
                    <a:pt x="65" y="237"/>
                  </a:lnTo>
                  <a:lnTo>
                    <a:pt x="67" y="237"/>
                  </a:lnTo>
                  <a:lnTo>
                    <a:pt x="68" y="237"/>
                  </a:lnTo>
                  <a:lnTo>
                    <a:pt x="68" y="238"/>
                  </a:lnTo>
                  <a:lnTo>
                    <a:pt x="69" y="237"/>
                  </a:lnTo>
                  <a:lnTo>
                    <a:pt x="68" y="236"/>
                  </a:lnTo>
                  <a:lnTo>
                    <a:pt x="69" y="236"/>
                  </a:lnTo>
                  <a:lnTo>
                    <a:pt x="70" y="237"/>
                  </a:lnTo>
                  <a:lnTo>
                    <a:pt x="70" y="236"/>
                  </a:lnTo>
                  <a:lnTo>
                    <a:pt x="70" y="235"/>
                  </a:lnTo>
                  <a:lnTo>
                    <a:pt x="72" y="236"/>
                  </a:lnTo>
                  <a:lnTo>
                    <a:pt x="73" y="236"/>
                  </a:lnTo>
                  <a:lnTo>
                    <a:pt x="72" y="235"/>
                  </a:lnTo>
                  <a:lnTo>
                    <a:pt x="70" y="233"/>
                  </a:lnTo>
                  <a:lnTo>
                    <a:pt x="72" y="232"/>
                  </a:lnTo>
                  <a:lnTo>
                    <a:pt x="73" y="233"/>
                  </a:lnTo>
                  <a:lnTo>
                    <a:pt x="73" y="232"/>
                  </a:lnTo>
                  <a:lnTo>
                    <a:pt x="74" y="232"/>
                  </a:lnTo>
                  <a:lnTo>
                    <a:pt x="75" y="232"/>
                  </a:lnTo>
                  <a:lnTo>
                    <a:pt x="76" y="232"/>
                  </a:lnTo>
                  <a:lnTo>
                    <a:pt x="79" y="232"/>
                  </a:lnTo>
                  <a:lnTo>
                    <a:pt x="79" y="233"/>
                  </a:lnTo>
                  <a:lnTo>
                    <a:pt x="80" y="233"/>
                  </a:lnTo>
                  <a:lnTo>
                    <a:pt x="81" y="233"/>
                  </a:lnTo>
                  <a:lnTo>
                    <a:pt x="82" y="233"/>
                  </a:lnTo>
                  <a:lnTo>
                    <a:pt x="82" y="232"/>
                  </a:lnTo>
                  <a:lnTo>
                    <a:pt x="82" y="231"/>
                  </a:lnTo>
                  <a:lnTo>
                    <a:pt x="84" y="232"/>
                  </a:lnTo>
                  <a:lnTo>
                    <a:pt x="85" y="232"/>
                  </a:lnTo>
                  <a:lnTo>
                    <a:pt x="86" y="231"/>
                  </a:lnTo>
                  <a:lnTo>
                    <a:pt x="86" y="230"/>
                  </a:lnTo>
                  <a:lnTo>
                    <a:pt x="87" y="229"/>
                  </a:lnTo>
                  <a:lnTo>
                    <a:pt x="88" y="229"/>
                  </a:lnTo>
                  <a:lnTo>
                    <a:pt x="90" y="227"/>
                  </a:lnTo>
                  <a:lnTo>
                    <a:pt x="90" y="226"/>
                  </a:lnTo>
                  <a:lnTo>
                    <a:pt x="91" y="226"/>
                  </a:lnTo>
                  <a:lnTo>
                    <a:pt x="91" y="225"/>
                  </a:lnTo>
                  <a:lnTo>
                    <a:pt x="92" y="225"/>
                  </a:lnTo>
                  <a:lnTo>
                    <a:pt x="93" y="225"/>
                  </a:lnTo>
                  <a:lnTo>
                    <a:pt x="93" y="224"/>
                  </a:lnTo>
                  <a:lnTo>
                    <a:pt x="94" y="225"/>
                  </a:lnTo>
                  <a:lnTo>
                    <a:pt x="96" y="225"/>
                  </a:lnTo>
                  <a:lnTo>
                    <a:pt x="96" y="224"/>
                  </a:lnTo>
                  <a:lnTo>
                    <a:pt x="96" y="225"/>
                  </a:lnTo>
                  <a:lnTo>
                    <a:pt x="97" y="224"/>
                  </a:lnTo>
                  <a:lnTo>
                    <a:pt x="97" y="225"/>
                  </a:lnTo>
                  <a:lnTo>
                    <a:pt x="98" y="225"/>
                  </a:lnTo>
                  <a:lnTo>
                    <a:pt x="98" y="224"/>
                  </a:lnTo>
                  <a:lnTo>
                    <a:pt x="99" y="223"/>
                  </a:lnTo>
                  <a:lnTo>
                    <a:pt x="99" y="224"/>
                  </a:lnTo>
                  <a:lnTo>
                    <a:pt x="100" y="224"/>
                  </a:lnTo>
                  <a:lnTo>
                    <a:pt x="100" y="223"/>
                  </a:lnTo>
                  <a:lnTo>
                    <a:pt x="102" y="223"/>
                  </a:lnTo>
                  <a:lnTo>
                    <a:pt x="102" y="221"/>
                  </a:lnTo>
                  <a:lnTo>
                    <a:pt x="102" y="223"/>
                  </a:lnTo>
                  <a:lnTo>
                    <a:pt x="103" y="223"/>
                  </a:lnTo>
                  <a:lnTo>
                    <a:pt x="104" y="221"/>
                  </a:lnTo>
                  <a:lnTo>
                    <a:pt x="103" y="221"/>
                  </a:lnTo>
                  <a:lnTo>
                    <a:pt x="104" y="221"/>
                  </a:lnTo>
                  <a:lnTo>
                    <a:pt x="105" y="220"/>
                  </a:lnTo>
                  <a:lnTo>
                    <a:pt x="105" y="221"/>
                  </a:lnTo>
                  <a:lnTo>
                    <a:pt x="104" y="223"/>
                  </a:lnTo>
                  <a:lnTo>
                    <a:pt x="105" y="223"/>
                  </a:lnTo>
                  <a:lnTo>
                    <a:pt x="105" y="221"/>
                  </a:lnTo>
                  <a:lnTo>
                    <a:pt x="105" y="223"/>
                  </a:lnTo>
                  <a:lnTo>
                    <a:pt x="106" y="223"/>
                  </a:lnTo>
                  <a:lnTo>
                    <a:pt x="108" y="223"/>
                  </a:lnTo>
                  <a:lnTo>
                    <a:pt x="108" y="221"/>
                  </a:lnTo>
                  <a:lnTo>
                    <a:pt x="106" y="221"/>
                  </a:lnTo>
                  <a:lnTo>
                    <a:pt x="106" y="220"/>
                  </a:lnTo>
                  <a:lnTo>
                    <a:pt x="108" y="220"/>
                  </a:lnTo>
                  <a:lnTo>
                    <a:pt x="108" y="219"/>
                  </a:lnTo>
                  <a:lnTo>
                    <a:pt x="109" y="219"/>
                  </a:lnTo>
                  <a:lnTo>
                    <a:pt x="109" y="218"/>
                  </a:lnTo>
                  <a:lnTo>
                    <a:pt x="108" y="218"/>
                  </a:lnTo>
                  <a:lnTo>
                    <a:pt x="108" y="219"/>
                  </a:lnTo>
                  <a:lnTo>
                    <a:pt x="106" y="219"/>
                  </a:lnTo>
                  <a:lnTo>
                    <a:pt x="105" y="219"/>
                  </a:lnTo>
                  <a:lnTo>
                    <a:pt x="105" y="220"/>
                  </a:lnTo>
                  <a:lnTo>
                    <a:pt x="104" y="218"/>
                  </a:lnTo>
                  <a:lnTo>
                    <a:pt x="103" y="217"/>
                  </a:lnTo>
                  <a:lnTo>
                    <a:pt x="103" y="218"/>
                  </a:lnTo>
                  <a:lnTo>
                    <a:pt x="102" y="218"/>
                  </a:lnTo>
                  <a:lnTo>
                    <a:pt x="100" y="218"/>
                  </a:lnTo>
                  <a:lnTo>
                    <a:pt x="98" y="219"/>
                  </a:lnTo>
                  <a:lnTo>
                    <a:pt x="99" y="219"/>
                  </a:lnTo>
                  <a:lnTo>
                    <a:pt x="98" y="220"/>
                  </a:lnTo>
                  <a:lnTo>
                    <a:pt x="98" y="219"/>
                  </a:lnTo>
                  <a:lnTo>
                    <a:pt x="97" y="219"/>
                  </a:lnTo>
                  <a:lnTo>
                    <a:pt x="96" y="220"/>
                  </a:lnTo>
                  <a:lnTo>
                    <a:pt x="97" y="220"/>
                  </a:lnTo>
                  <a:lnTo>
                    <a:pt x="96" y="220"/>
                  </a:lnTo>
                  <a:lnTo>
                    <a:pt x="94" y="220"/>
                  </a:lnTo>
                  <a:lnTo>
                    <a:pt x="94" y="219"/>
                  </a:lnTo>
                  <a:lnTo>
                    <a:pt x="93" y="219"/>
                  </a:lnTo>
                  <a:lnTo>
                    <a:pt x="92" y="219"/>
                  </a:lnTo>
                  <a:lnTo>
                    <a:pt x="92" y="220"/>
                  </a:lnTo>
                  <a:lnTo>
                    <a:pt x="91" y="220"/>
                  </a:lnTo>
                  <a:lnTo>
                    <a:pt x="91" y="221"/>
                  </a:lnTo>
                  <a:lnTo>
                    <a:pt x="90" y="221"/>
                  </a:lnTo>
                  <a:lnTo>
                    <a:pt x="90" y="223"/>
                  </a:lnTo>
                  <a:lnTo>
                    <a:pt x="90" y="224"/>
                  </a:lnTo>
                  <a:lnTo>
                    <a:pt x="88" y="224"/>
                  </a:lnTo>
                  <a:lnTo>
                    <a:pt x="90" y="224"/>
                  </a:lnTo>
                  <a:lnTo>
                    <a:pt x="88" y="224"/>
                  </a:lnTo>
                  <a:lnTo>
                    <a:pt x="88" y="223"/>
                  </a:lnTo>
                  <a:lnTo>
                    <a:pt x="88" y="224"/>
                  </a:lnTo>
                  <a:lnTo>
                    <a:pt x="88" y="225"/>
                  </a:lnTo>
                  <a:lnTo>
                    <a:pt x="87" y="225"/>
                  </a:lnTo>
                  <a:lnTo>
                    <a:pt x="87" y="226"/>
                  </a:lnTo>
                  <a:lnTo>
                    <a:pt x="86" y="225"/>
                  </a:lnTo>
                  <a:lnTo>
                    <a:pt x="85" y="225"/>
                  </a:lnTo>
                  <a:lnTo>
                    <a:pt x="86" y="224"/>
                  </a:lnTo>
                  <a:lnTo>
                    <a:pt x="85" y="223"/>
                  </a:lnTo>
                  <a:lnTo>
                    <a:pt x="85" y="221"/>
                  </a:lnTo>
                  <a:lnTo>
                    <a:pt x="86" y="221"/>
                  </a:lnTo>
                  <a:lnTo>
                    <a:pt x="85" y="220"/>
                  </a:lnTo>
                  <a:lnTo>
                    <a:pt x="85" y="221"/>
                  </a:lnTo>
                  <a:lnTo>
                    <a:pt x="84" y="221"/>
                  </a:lnTo>
                  <a:lnTo>
                    <a:pt x="84" y="223"/>
                  </a:lnTo>
                  <a:lnTo>
                    <a:pt x="84" y="224"/>
                  </a:lnTo>
                  <a:lnTo>
                    <a:pt x="82" y="224"/>
                  </a:lnTo>
                  <a:lnTo>
                    <a:pt x="81" y="224"/>
                  </a:lnTo>
                  <a:lnTo>
                    <a:pt x="80" y="224"/>
                  </a:lnTo>
                  <a:lnTo>
                    <a:pt x="80" y="223"/>
                  </a:lnTo>
                  <a:lnTo>
                    <a:pt x="80" y="224"/>
                  </a:lnTo>
                  <a:lnTo>
                    <a:pt x="79" y="224"/>
                  </a:lnTo>
                  <a:lnTo>
                    <a:pt x="79" y="223"/>
                  </a:lnTo>
                  <a:lnTo>
                    <a:pt x="78" y="223"/>
                  </a:lnTo>
                  <a:lnTo>
                    <a:pt x="78" y="221"/>
                  </a:lnTo>
                  <a:lnTo>
                    <a:pt x="79" y="221"/>
                  </a:lnTo>
                  <a:lnTo>
                    <a:pt x="80" y="221"/>
                  </a:lnTo>
                  <a:lnTo>
                    <a:pt x="80" y="220"/>
                  </a:lnTo>
                  <a:lnTo>
                    <a:pt x="79" y="220"/>
                  </a:lnTo>
                  <a:lnTo>
                    <a:pt x="80" y="220"/>
                  </a:lnTo>
                  <a:lnTo>
                    <a:pt x="80" y="219"/>
                  </a:lnTo>
                  <a:lnTo>
                    <a:pt x="80" y="218"/>
                  </a:lnTo>
                  <a:lnTo>
                    <a:pt x="81" y="218"/>
                  </a:lnTo>
                  <a:lnTo>
                    <a:pt x="82" y="218"/>
                  </a:lnTo>
                  <a:lnTo>
                    <a:pt x="82" y="217"/>
                  </a:lnTo>
                  <a:lnTo>
                    <a:pt x="82" y="215"/>
                  </a:lnTo>
                  <a:lnTo>
                    <a:pt x="84" y="215"/>
                  </a:lnTo>
                  <a:lnTo>
                    <a:pt x="85" y="215"/>
                  </a:lnTo>
                  <a:lnTo>
                    <a:pt x="85" y="214"/>
                  </a:lnTo>
                  <a:lnTo>
                    <a:pt x="84" y="213"/>
                  </a:lnTo>
                  <a:lnTo>
                    <a:pt x="82" y="213"/>
                  </a:lnTo>
                  <a:lnTo>
                    <a:pt x="82" y="214"/>
                  </a:lnTo>
                  <a:lnTo>
                    <a:pt x="82" y="215"/>
                  </a:lnTo>
                  <a:lnTo>
                    <a:pt x="81" y="215"/>
                  </a:lnTo>
                  <a:lnTo>
                    <a:pt x="80" y="215"/>
                  </a:lnTo>
                  <a:lnTo>
                    <a:pt x="79" y="214"/>
                  </a:lnTo>
                  <a:lnTo>
                    <a:pt x="79" y="215"/>
                  </a:lnTo>
                  <a:lnTo>
                    <a:pt x="78" y="214"/>
                  </a:lnTo>
                  <a:lnTo>
                    <a:pt x="78" y="215"/>
                  </a:lnTo>
                  <a:lnTo>
                    <a:pt x="76" y="215"/>
                  </a:lnTo>
                  <a:lnTo>
                    <a:pt x="75" y="215"/>
                  </a:lnTo>
                  <a:lnTo>
                    <a:pt x="75" y="217"/>
                  </a:lnTo>
                  <a:lnTo>
                    <a:pt x="74" y="217"/>
                  </a:lnTo>
                  <a:lnTo>
                    <a:pt x="73" y="217"/>
                  </a:lnTo>
                  <a:lnTo>
                    <a:pt x="73" y="215"/>
                  </a:lnTo>
                  <a:lnTo>
                    <a:pt x="74" y="215"/>
                  </a:lnTo>
                  <a:lnTo>
                    <a:pt x="74" y="214"/>
                  </a:lnTo>
                  <a:lnTo>
                    <a:pt x="74" y="213"/>
                  </a:lnTo>
                  <a:lnTo>
                    <a:pt x="74" y="214"/>
                  </a:lnTo>
                  <a:lnTo>
                    <a:pt x="75" y="214"/>
                  </a:lnTo>
                  <a:lnTo>
                    <a:pt x="75" y="213"/>
                  </a:lnTo>
                  <a:lnTo>
                    <a:pt x="74" y="212"/>
                  </a:lnTo>
                  <a:lnTo>
                    <a:pt x="74" y="211"/>
                  </a:lnTo>
                  <a:lnTo>
                    <a:pt x="74" y="209"/>
                  </a:lnTo>
                  <a:lnTo>
                    <a:pt x="75" y="209"/>
                  </a:lnTo>
                  <a:lnTo>
                    <a:pt x="76" y="209"/>
                  </a:lnTo>
                  <a:lnTo>
                    <a:pt x="78" y="209"/>
                  </a:lnTo>
                  <a:lnTo>
                    <a:pt x="80" y="208"/>
                  </a:lnTo>
                  <a:lnTo>
                    <a:pt x="79" y="207"/>
                  </a:lnTo>
                  <a:lnTo>
                    <a:pt x="79" y="206"/>
                  </a:lnTo>
                  <a:lnTo>
                    <a:pt x="80" y="206"/>
                  </a:lnTo>
                  <a:lnTo>
                    <a:pt x="81" y="206"/>
                  </a:lnTo>
                  <a:lnTo>
                    <a:pt x="81" y="205"/>
                  </a:lnTo>
                  <a:lnTo>
                    <a:pt x="82" y="205"/>
                  </a:lnTo>
                  <a:lnTo>
                    <a:pt x="82" y="203"/>
                  </a:lnTo>
                  <a:lnTo>
                    <a:pt x="84" y="203"/>
                  </a:lnTo>
                  <a:lnTo>
                    <a:pt x="84" y="202"/>
                  </a:lnTo>
                  <a:lnTo>
                    <a:pt x="84" y="201"/>
                  </a:lnTo>
                  <a:lnTo>
                    <a:pt x="85" y="202"/>
                  </a:lnTo>
                  <a:lnTo>
                    <a:pt x="85" y="201"/>
                  </a:lnTo>
                  <a:lnTo>
                    <a:pt x="86" y="201"/>
                  </a:lnTo>
                  <a:lnTo>
                    <a:pt x="87" y="200"/>
                  </a:lnTo>
                  <a:lnTo>
                    <a:pt x="86" y="199"/>
                  </a:lnTo>
                  <a:lnTo>
                    <a:pt x="87" y="197"/>
                  </a:lnTo>
                  <a:lnTo>
                    <a:pt x="87" y="199"/>
                  </a:lnTo>
                  <a:lnTo>
                    <a:pt x="88" y="197"/>
                  </a:lnTo>
                  <a:lnTo>
                    <a:pt x="90" y="199"/>
                  </a:lnTo>
                  <a:lnTo>
                    <a:pt x="91" y="197"/>
                  </a:lnTo>
                  <a:lnTo>
                    <a:pt x="91" y="196"/>
                  </a:lnTo>
                  <a:lnTo>
                    <a:pt x="92" y="197"/>
                  </a:lnTo>
                  <a:lnTo>
                    <a:pt x="93" y="196"/>
                  </a:lnTo>
                  <a:lnTo>
                    <a:pt x="93" y="197"/>
                  </a:lnTo>
                  <a:lnTo>
                    <a:pt x="94" y="197"/>
                  </a:lnTo>
                  <a:lnTo>
                    <a:pt x="94" y="196"/>
                  </a:lnTo>
                  <a:lnTo>
                    <a:pt x="94" y="195"/>
                  </a:lnTo>
                  <a:lnTo>
                    <a:pt x="96" y="195"/>
                  </a:lnTo>
                  <a:lnTo>
                    <a:pt x="97" y="195"/>
                  </a:lnTo>
                  <a:lnTo>
                    <a:pt x="97" y="194"/>
                  </a:lnTo>
                  <a:lnTo>
                    <a:pt x="97" y="193"/>
                  </a:lnTo>
                  <a:lnTo>
                    <a:pt x="97" y="194"/>
                  </a:lnTo>
                  <a:lnTo>
                    <a:pt x="98" y="194"/>
                  </a:lnTo>
                  <a:lnTo>
                    <a:pt x="98" y="193"/>
                  </a:lnTo>
                  <a:lnTo>
                    <a:pt x="99" y="193"/>
                  </a:lnTo>
                  <a:lnTo>
                    <a:pt x="98" y="191"/>
                  </a:lnTo>
                  <a:lnTo>
                    <a:pt x="99" y="191"/>
                  </a:lnTo>
                  <a:lnTo>
                    <a:pt x="100" y="191"/>
                  </a:lnTo>
                  <a:lnTo>
                    <a:pt x="99" y="190"/>
                  </a:lnTo>
                  <a:lnTo>
                    <a:pt x="99" y="189"/>
                  </a:lnTo>
                  <a:lnTo>
                    <a:pt x="100" y="189"/>
                  </a:lnTo>
                  <a:lnTo>
                    <a:pt x="99" y="189"/>
                  </a:lnTo>
                  <a:lnTo>
                    <a:pt x="98" y="189"/>
                  </a:lnTo>
                  <a:lnTo>
                    <a:pt x="97" y="190"/>
                  </a:lnTo>
                  <a:lnTo>
                    <a:pt x="96" y="190"/>
                  </a:lnTo>
                  <a:lnTo>
                    <a:pt x="94" y="190"/>
                  </a:lnTo>
                  <a:lnTo>
                    <a:pt x="93" y="190"/>
                  </a:lnTo>
                  <a:lnTo>
                    <a:pt x="92" y="190"/>
                  </a:lnTo>
                  <a:lnTo>
                    <a:pt x="91" y="191"/>
                  </a:lnTo>
                  <a:lnTo>
                    <a:pt x="90" y="191"/>
                  </a:lnTo>
                  <a:lnTo>
                    <a:pt x="88" y="191"/>
                  </a:lnTo>
                  <a:lnTo>
                    <a:pt x="87" y="193"/>
                  </a:lnTo>
                  <a:lnTo>
                    <a:pt x="86" y="193"/>
                  </a:lnTo>
                  <a:lnTo>
                    <a:pt x="85" y="193"/>
                  </a:lnTo>
                  <a:lnTo>
                    <a:pt x="84" y="194"/>
                  </a:lnTo>
                  <a:lnTo>
                    <a:pt x="82" y="194"/>
                  </a:lnTo>
                  <a:lnTo>
                    <a:pt x="81" y="195"/>
                  </a:lnTo>
                  <a:lnTo>
                    <a:pt x="80" y="195"/>
                  </a:lnTo>
                  <a:lnTo>
                    <a:pt x="79" y="196"/>
                  </a:lnTo>
                  <a:lnTo>
                    <a:pt x="78" y="197"/>
                  </a:lnTo>
                  <a:lnTo>
                    <a:pt x="75" y="199"/>
                  </a:lnTo>
                  <a:lnTo>
                    <a:pt x="76" y="199"/>
                  </a:lnTo>
                  <a:lnTo>
                    <a:pt x="78" y="199"/>
                  </a:lnTo>
                  <a:lnTo>
                    <a:pt x="78" y="200"/>
                  </a:lnTo>
                  <a:lnTo>
                    <a:pt x="79" y="200"/>
                  </a:lnTo>
                  <a:lnTo>
                    <a:pt x="79" y="201"/>
                  </a:lnTo>
                  <a:lnTo>
                    <a:pt x="78" y="201"/>
                  </a:lnTo>
                  <a:lnTo>
                    <a:pt x="79" y="201"/>
                  </a:lnTo>
                  <a:lnTo>
                    <a:pt x="78" y="202"/>
                  </a:lnTo>
                  <a:lnTo>
                    <a:pt x="79" y="202"/>
                  </a:lnTo>
                  <a:lnTo>
                    <a:pt x="79" y="203"/>
                  </a:lnTo>
                  <a:lnTo>
                    <a:pt x="79" y="205"/>
                  </a:lnTo>
                  <a:lnTo>
                    <a:pt x="79" y="206"/>
                  </a:lnTo>
                  <a:lnTo>
                    <a:pt x="78" y="207"/>
                  </a:lnTo>
                  <a:lnTo>
                    <a:pt x="76" y="207"/>
                  </a:lnTo>
                  <a:lnTo>
                    <a:pt x="76" y="206"/>
                  </a:lnTo>
                  <a:lnTo>
                    <a:pt x="75" y="206"/>
                  </a:lnTo>
                  <a:lnTo>
                    <a:pt x="74" y="208"/>
                  </a:lnTo>
                  <a:lnTo>
                    <a:pt x="74" y="209"/>
                  </a:lnTo>
                  <a:lnTo>
                    <a:pt x="73" y="211"/>
                  </a:lnTo>
                  <a:lnTo>
                    <a:pt x="72" y="211"/>
                  </a:lnTo>
                  <a:lnTo>
                    <a:pt x="73" y="211"/>
                  </a:lnTo>
                  <a:lnTo>
                    <a:pt x="72" y="212"/>
                  </a:lnTo>
                  <a:lnTo>
                    <a:pt x="72" y="213"/>
                  </a:lnTo>
                  <a:lnTo>
                    <a:pt x="70" y="212"/>
                  </a:lnTo>
                  <a:lnTo>
                    <a:pt x="69" y="213"/>
                  </a:lnTo>
                  <a:lnTo>
                    <a:pt x="68" y="213"/>
                  </a:lnTo>
                  <a:lnTo>
                    <a:pt x="68" y="214"/>
                  </a:lnTo>
                  <a:lnTo>
                    <a:pt x="67" y="213"/>
                  </a:lnTo>
                  <a:lnTo>
                    <a:pt x="65" y="212"/>
                  </a:lnTo>
                  <a:lnTo>
                    <a:pt x="67" y="212"/>
                  </a:lnTo>
                  <a:lnTo>
                    <a:pt x="67" y="211"/>
                  </a:lnTo>
                  <a:lnTo>
                    <a:pt x="67" y="212"/>
                  </a:lnTo>
                  <a:lnTo>
                    <a:pt x="67" y="211"/>
                  </a:lnTo>
                  <a:lnTo>
                    <a:pt x="67" y="209"/>
                  </a:lnTo>
                  <a:lnTo>
                    <a:pt x="65" y="208"/>
                  </a:lnTo>
                  <a:lnTo>
                    <a:pt x="64" y="208"/>
                  </a:lnTo>
                  <a:lnTo>
                    <a:pt x="63" y="209"/>
                  </a:lnTo>
                  <a:lnTo>
                    <a:pt x="62" y="211"/>
                  </a:lnTo>
                  <a:lnTo>
                    <a:pt x="62" y="213"/>
                  </a:lnTo>
                  <a:lnTo>
                    <a:pt x="61" y="213"/>
                  </a:lnTo>
                  <a:lnTo>
                    <a:pt x="59" y="214"/>
                  </a:lnTo>
                  <a:lnTo>
                    <a:pt x="59" y="215"/>
                  </a:lnTo>
                  <a:lnTo>
                    <a:pt x="59" y="217"/>
                  </a:lnTo>
                  <a:lnTo>
                    <a:pt x="58" y="217"/>
                  </a:lnTo>
                  <a:lnTo>
                    <a:pt x="57" y="218"/>
                  </a:lnTo>
                  <a:lnTo>
                    <a:pt x="56" y="218"/>
                  </a:lnTo>
                  <a:lnTo>
                    <a:pt x="56" y="217"/>
                  </a:lnTo>
                  <a:lnTo>
                    <a:pt x="55" y="217"/>
                  </a:lnTo>
                  <a:lnTo>
                    <a:pt x="55" y="215"/>
                  </a:lnTo>
                  <a:lnTo>
                    <a:pt x="53" y="215"/>
                  </a:lnTo>
                  <a:lnTo>
                    <a:pt x="53" y="217"/>
                  </a:lnTo>
                  <a:lnTo>
                    <a:pt x="52" y="217"/>
                  </a:lnTo>
                  <a:lnTo>
                    <a:pt x="51" y="218"/>
                  </a:lnTo>
                  <a:lnTo>
                    <a:pt x="51" y="219"/>
                  </a:lnTo>
                  <a:lnTo>
                    <a:pt x="52" y="220"/>
                  </a:lnTo>
                  <a:lnTo>
                    <a:pt x="51" y="220"/>
                  </a:lnTo>
                  <a:lnTo>
                    <a:pt x="52" y="220"/>
                  </a:lnTo>
                  <a:lnTo>
                    <a:pt x="51" y="220"/>
                  </a:lnTo>
                  <a:lnTo>
                    <a:pt x="50" y="220"/>
                  </a:lnTo>
                  <a:lnTo>
                    <a:pt x="50" y="221"/>
                  </a:lnTo>
                  <a:lnTo>
                    <a:pt x="49" y="221"/>
                  </a:lnTo>
                  <a:lnTo>
                    <a:pt x="47" y="221"/>
                  </a:lnTo>
                  <a:lnTo>
                    <a:pt x="46" y="221"/>
                  </a:lnTo>
                  <a:lnTo>
                    <a:pt x="49" y="220"/>
                  </a:lnTo>
                  <a:lnTo>
                    <a:pt x="47" y="220"/>
                  </a:lnTo>
                  <a:lnTo>
                    <a:pt x="46" y="220"/>
                  </a:lnTo>
                  <a:lnTo>
                    <a:pt x="46" y="221"/>
                  </a:lnTo>
                  <a:lnTo>
                    <a:pt x="45" y="221"/>
                  </a:lnTo>
                  <a:lnTo>
                    <a:pt x="45" y="223"/>
                  </a:lnTo>
                  <a:lnTo>
                    <a:pt x="44" y="223"/>
                  </a:lnTo>
                  <a:lnTo>
                    <a:pt x="44" y="224"/>
                  </a:lnTo>
                  <a:lnTo>
                    <a:pt x="43" y="224"/>
                  </a:lnTo>
                  <a:lnTo>
                    <a:pt x="44" y="224"/>
                  </a:lnTo>
                  <a:lnTo>
                    <a:pt x="45" y="225"/>
                  </a:lnTo>
                  <a:lnTo>
                    <a:pt x="43" y="226"/>
                  </a:lnTo>
                  <a:lnTo>
                    <a:pt x="43" y="227"/>
                  </a:lnTo>
                  <a:lnTo>
                    <a:pt x="41" y="229"/>
                  </a:lnTo>
                  <a:lnTo>
                    <a:pt x="41" y="227"/>
                  </a:lnTo>
                  <a:lnTo>
                    <a:pt x="40" y="227"/>
                  </a:lnTo>
                  <a:lnTo>
                    <a:pt x="39" y="227"/>
                  </a:lnTo>
                  <a:lnTo>
                    <a:pt x="38" y="226"/>
                  </a:lnTo>
                  <a:lnTo>
                    <a:pt x="39" y="226"/>
                  </a:lnTo>
                  <a:lnTo>
                    <a:pt x="38" y="225"/>
                  </a:lnTo>
                  <a:lnTo>
                    <a:pt x="35" y="226"/>
                  </a:lnTo>
                  <a:lnTo>
                    <a:pt x="35" y="227"/>
                  </a:lnTo>
                  <a:lnTo>
                    <a:pt x="35" y="226"/>
                  </a:lnTo>
                  <a:lnTo>
                    <a:pt x="34" y="226"/>
                  </a:lnTo>
                  <a:lnTo>
                    <a:pt x="33" y="226"/>
                  </a:lnTo>
                  <a:lnTo>
                    <a:pt x="32" y="225"/>
                  </a:lnTo>
                  <a:lnTo>
                    <a:pt x="31" y="225"/>
                  </a:lnTo>
                  <a:lnTo>
                    <a:pt x="31" y="224"/>
                  </a:lnTo>
                  <a:lnTo>
                    <a:pt x="29" y="223"/>
                  </a:lnTo>
                  <a:lnTo>
                    <a:pt x="28" y="221"/>
                  </a:lnTo>
                  <a:lnTo>
                    <a:pt x="31" y="221"/>
                  </a:lnTo>
                  <a:lnTo>
                    <a:pt x="31" y="220"/>
                  </a:lnTo>
                  <a:lnTo>
                    <a:pt x="29" y="219"/>
                  </a:lnTo>
                  <a:lnTo>
                    <a:pt x="27" y="217"/>
                  </a:lnTo>
                  <a:lnTo>
                    <a:pt x="28" y="217"/>
                  </a:lnTo>
                  <a:lnTo>
                    <a:pt x="29" y="217"/>
                  </a:lnTo>
                  <a:lnTo>
                    <a:pt x="31" y="217"/>
                  </a:lnTo>
                  <a:lnTo>
                    <a:pt x="31" y="215"/>
                  </a:lnTo>
                  <a:lnTo>
                    <a:pt x="32" y="215"/>
                  </a:lnTo>
                  <a:lnTo>
                    <a:pt x="33" y="215"/>
                  </a:lnTo>
                  <a:lnTo>
                    <a:pt x="33" y="214"/>
                  </a:lnTo>
                  <a:lnTo>
                    <a:pt x="32" y="215"/>
                  </a:lnTo>
                  <a:lnTo>
                    <a:pt x="32" y="214"/>
                  </a:lnTo>
                  <a:lnTo>
                    <a:pt x="31" y="214"/>
                  </a:lnTo>
                  <a:lnTo>
                    <a:pt x="29" y="213"/>
                  </a:lnTo>
                  <a:lnTo>
                    <a:pt x="29" y="212"/>
                  </a:lnTo>
                  <a:lnTo>
                    <a:pt x="31" y="212"/>
                  </a:lnTo>
                  <a:lnTo>
                    <a:pt x="32" y="212"/>
                  </a:lnTo>
                  <a:lnTo>
                    <a:pt x="33" y="212"/>
                  </a:lnTo>
                  <a:lnTo>
                    <a:pt x="33" y="211"/>
                  </a:lnTo>
                  <a:lnTo>
                    <a:pt x="33" y="209"/>
                  </a:lnTo>
                  <a:lnTo>
                    <a:pt x="34" y="211"/>
                  </a:lnTo>
                  <a:lnTo>
                    <a:pt x="35" y="211"/>
                  </a:lnTo>
                  <a:lnTo>
                    <a:pt x="35" y="208"/>
                  </a:lnTo>
                  <a:lnTo>
                    <a:pt x="37" y="207"/>
                  </a:lnTo>
                  <a:lnTo>
                    <a:pt x="38" y="206"/>
                  </a:lnTo>
                  <a:lnTo>
                    <a:pt x="39" y="207"/>
                  </a:lnTo>
                  <a:lnTo>
                    <a:pt x="39" y="205"/>
                  </a:lnTo>
                  <a:lnTo>
                    <a:pt x="38" y="203"/>
                  </a:lnTo>
                  <a:lnTo>
                    <a:pt x="38" y="202"/>
                  </a:lnTo>
                  <a:lnTo>
                    <a:pt x="38" y="201"/>
                  </a:lnTo>
                  <a:lnTo>
                    <a:pt x="39" y="201"/>
                  </a:lnTo>
                  <a:lnTo>
                    <a:pt x="40" y="201"/>
                  </a:lnTo>
                  <a:lnTo>
                    <a:pt x="41" y="201"/>
                  </a:lnTo>
                  <a:lnTo>
                    <a:pt x="43" y="200"/>
                  </a:lnTo>
                  <a:lnTo>
                    <a:pt x="44" y="200"/>
                  </a:lnTo>
                  <a:lnTo>
                    <a:pt x="45" y="199"/>
                  </a:lnTo>
                  <a:lnTo>
                    <a:pt x="46" y="199"/>
                  </a:lnTo>
                  <a:lnTo>
                    <a:pt x="45" y="199"/>
                  </a:lnTo>
                  <a:lnTo>
                    <a:pt x="45" y="197"/>
                  </a:lnTo>
                  <a:lnTo>
                    <a:pt x="44" y="196"/>
                  </a:lnTo>
                  <a:lnTo>
                    <a:pt x="44" y="195"/>
                  </a:lnTo>
                  <a:lnTo>
                    <a:pt x="45" y="195"/>
                  </a:lnTo>
                  <a:lnTo>
                    <a:pt x="46" y="195"/>
                  </a:lnTo>
                  <a:lnTo>
                    <a:pt x="47" y="196"/>
                  </a:lnTo>
                  <a:lnTo>
                    <a:pt x="47" y="195"/>
                  </a:lnTo>
                  <a:lnTo>
                    <a:pt x="49" y="195"/>
                  </a:lnTo>
                  <a:lnTo>
                    <a:pt x="50" y="195"/>
                  </a:lnTo>
                  <a:lnTo>
                    <a:pt x="51" y="196"/>
                  </a:lnTo>
                  <a:lnTo>
                    <a:pt x="51" y="195"/>
                  </a:lnTo>
                  <a:lnTo>
                    <a:pt x="52" y="194"/>
                  </a:lnTo>
                  <a:lnTo>
                    <a:pt x="52" y="193"/>
                  </a:lnTo>
                  <a:lnTo>
                    <a:pt x="52" y="191"/>
                  </a:lnTo>
                  <a:lnTo>
                    <a:pt x="53" y="191"/>
                  </a:lnTo>
                  <a:lnTo>
                    <a:pt x="53" y="190"/>
                  </a:lnTo>
                  <a:lnTo>
                    <a:pt x="55" y="190"/>
                  </a:lnTo>
                  <a:lnTo>
                    <a:pt x="55" y="189"/>
                  </a:lnTo>
                  <a:lnTo>
                    <a:pt x="55" y="188"/>
                  </a:lnTo>
                  <a:lnTo>
                    <a:pt x="56" y="188"/>
                  </a:lnTo>
                  <a:lnTo>
                    <a:pt x="56" y="187"/>
                  </a:lnTo>
                  <a:lnTo>
                    <a:pt x="57" y="185"/>
                  </a:lnTo>
                  <a:lnTo>
                    <a:pt x="57" y="184"/>
                  </a:lnTo>
                  <a:lnTo>
                    <a:pt x="58" y="184"/>
                  </a:lnTo>
                  <a:lnTo>
                    <a:pt x="59" y="184"/>
                  </a:lnTo>
                  <a:lnTo>
                    <a:pt x="58" y="184"/>
                  </a:lnTo>
                  <a:lnTo>
                    <a:pt x="58" y="183"/>
                  </a:lnTo>
                  <a:lnTo>
                    <a:pt x="58" y="182"/>
                  </a:lnTo>
                  <a:lnTo>
                    <a:pt x="57" y="183"/>
                  </a:lnTo>
                  <a:lnTo>
                    <a:pt x="57" y="182"/>
                  </a:lnTo>
                  <a:lnTo>
                    <a:pt x="57" y="181"/>
                  </a:lnTo>
                  <a:lnTo>
                    <a:pt x="58" y="181"/>
                  </a:lnTo>
                  <a:lnTo>
                    <a:pt x="57" y="181"/>
                  </a:lnTo>
                  <a:lnTo>
                    <a:pt x="56" y="179"/>
                  </a:lnTo>
                  <a:lnTo>
                    <a:pt x="55" y="178"/>
                  </a:lnTo>
                  <a:lnTo>
                    <a:pt x="55" y="179"/>
                  </a:lnTo>
                  <a:lnTo>
                    <a:pt x="53" y="178"/>
                  </a:lnTo>
                  <a:lnTo>
                    <a:pt x="52" y="177"/>
                  </a:lnTo>
                  <a:lnTo>
                    <a:pt x="52" y="176"/>
                  </a:lnTo>
                  <a:lnTo>
                    <a:pt x="51" y="176"/>
                  </a:lnTo>
                  <a:lnTo>
                    <a:pt x="50" y="176"/>
                  </a:lnTo>
                  <a:lnTo>
                    <a:pt x="50" y="175"/>
                  </a:lnTo>
                  <a:lnTo>
                    <a:pt x="49" y="175"/>
                  </a:lnTo>
                  <a:lnTo>
                    <a:pt x="50" y="175"/>
                  </a:lnTo>
                  <a:lnTo>
                    <a:pt x="50" y="173"/>
                  </a:lnTo>
                  <a:lnTo>
                    <a:pt x="49" y="175"/>
                  </a:lnTo>
                  <a:lnTo>
                    <a:pt x="47" y="173"/>
                  </a:lnTo>
                  <a:lnTo>
                    <a:pt x="47" y="175"/>
                  </a:lnTo>
                  <a:lnTo>
                    <a:pt x="49" y="176"/>
                  </a:lnTo>
                  <a:lnTo>
                    <a:pt x="47" y="176"/>
                  </a:lnTo>
                  <a:lnTo>
                    <a:pt x="47" y="177"/>
                  </a:lnTo>
                  <a:lnTo>
                    <a:pt x="47" y="176"/>
                  </a:lnTo>
                  <a:lnTo>
                    <a:pt x="47" y="177"/>
                  </a:lnTo>
                  <a:lnTo>
                    <a:pt x="47" y="178"/>
                  </a:lnTo>
                  <a:lnTo>
                    <a:pt x="46" y="178"/>
                  </a:lnTo>
                  <a:lnTo>
                    <a:pt x="46" y="179"/>
                  </a:lnTo>
                  <a:lnTo>
                    <a:pt x="45" y="181"/>
                  </a:lnTo>
                  <a:lnTo>
                    <a:pt x="45" y="179"/>
                  </a:lnTo>
                  <a:lnTo>
                    <a:pt x="44" y="179"/>
                  </a:lnTo>
                  <a:lnTo>
                    <a:pt x="43" y="179"/>
                  </a:lnTo>
                  <a:lnTo>
                    <a:pt x="41" y="181"/>
                  </a:lnTo>
                  <a:lnTo>
                    <a:pt x="40" y="182"/>
                  </a:lnTo>
                  <a:lnTo>
                    <a:pt x="39" y="182"/>
                  </a:lnTo>
                  <a:lnTo>
                    <a:pt x="38" y="183"/>
                  </a:lnTo>
                  <a:lnTo>
                    <a:pt x="37" y="184"/>
                  </a:lnTo>
                  <a:lnTo>
                    <a:pt x="37" y="183"/>
                  </a:lnTo>
                  <a:lnTo>
                    <a:pt x="34" y="184"/>
                  </a:lnTo>
                  <a:lnTo>
                    <a:pt x="33" y="185"/>
                  </a:lnTo>
                  <a:lnTo>
                    <a:pt x="32" y="184"/>
                  </a:lnTo>
                  <a:lnTo>
                    <a:pt x="32" y="185"/>
                  </a:lnTo>
                  <a:lnTo>
                    <a:pt x="31" y="185"/>
                  </a:lnTo>
                  <a:lnTo>
                    <a:pt x="29" y="184"/>
                  </a:lnTo>
                  <a:lnTo>
                    <a:pt x="29" y="185"/>
                  </a:lnTo>
                  <a:lnTo>
                    <a:pt x="28" y="185"/>
                  </a:lnTo>
                  <a:lnTo>
                    <a:pt x="27" y="185"/>
                  </a:lnTo>
                  <a:lnTo>
                    <a:pt x="27" y="184"/>
                  </a:lnTo>
                  <a:lnTo>
                    <a:pt x="26" y="184"/>
                  </a:lnTo>
                  <a:lnTo>
                    <a:pt x="26" y="183"/>
                  </a:lnTo>
                  <a:lnTo>
                    <a:pt x="25" y="183"/>
                  </a:lnTo>
                  <a:lnTo>
                    <a:pt x="23" y="182"/>
                  </a:lnTo>
                  <a:lnTo>
                    <a:pt x="23" y="181"/>
                  </a:lnTo>
                  <a:lnTo>
                    <a:pt x="22" y="181"/>
                  </a:lnTo>
                  <a:lnTo>
                    <a:pt x="22" y="182"/>
                  </a:lnTo>
                  <a:lnTo>
                    <a:pt x="22" y="181"/>
                  </a:lnTo>
                  <a:lnTo>
                    <a:pt x="21" y="181"/>
                  </a:lnTo>
                  <a:lnTo>
                    <a:pt x="20" y="181"/>
                  </a:lnTo>
                  <a:lnTo>
                    <a:pt x="21" y="181"/>
                  </a:lnTo>
                  <a:lnTo>
                    <a:pt x="20" y="181"/>
                  </a:lnTo>
                  <a:lnTo>
                    <a:pt x="20" y="179"/>
                  </a:lnTo>
                  <a:lnTo>
                    <a:pt x="19" y="178"/>
                  </a:lnTo>
                  <a:lnTo>
                    <a:pt x="17" y="178"/>
                  </a:lnTo>
                  <a:lnTo>
                    <a:pt x="17" y="179"/>
                  </a:lnTo>
                  <a:lnTo>
                    <a:pt x="16" y="178"/>
                  </a:lnTo>
                  <a:lnTo>
                    <a:pt x="15" y="178"/>
                  </a:lnTo>
                  <a:lnTo>
                    <a:pt x="14" y="177"/>
                  </a:lnTo>
                  <a:lnTo>
                    <a:pt x="13" y="176"/>
                  </a:lnTo>
                  <a:lnTo>
                    <a:pt x="11" y="176"/>
                  </a:lnTo>
                  <a:lnTo>
                    <a:pt x="13" y="176"/>
                  </a:lnTo>
                  <a:lnTo>
                    <a:pt x="13" y="175"/>
                  </a:lnTo>
                  <a:lnTo>
                    <a:pt x="14" y="175"/>
                  </a:lnTo>
                  <a:lnTo>
                    <a:pt x="14" y="173"/>
                  </a:lnTo>
                  <a:lnTo>
                    <a:pt x="14" y="172"/>
                  </a:lnTo>
                  <a:lnTo>
                    <a:pt x="13" y="172"/>
                  </a:lnTo>
                  <a:lnTo>
                    <a:pt x="14" y="171"/>
                  </a:lnTo>
                  <a:lnTo>
                    <a:pt x="15" y="171"/>
                  </a:lnTo>
                  <a:lnTo>
                    <a:pt x="14" y="171"/>
                  </a:lnTo>
                  <a:lnTo>
                    <a:pt x="11" y="171"/>
                  </a:lnTo>
                  <a:lnTo>
                    <a:pt x="11" y="172"/>
                  </a:lnTo>
                  <a:lnTo>
                    <a:pt x="11" y="173"/>
                  </a:lnTo>
                  <a:lnTo>
                    <a:pt x="10" y="173"/>
                  </a:lnTo>
                  <a:lnTo>
                    <a:pt x="9" y="173"/>
                  </a:lnTo>
                  <a:lnTo>
                    <a:pt x="8" y="173"/>
                  </a:lnTo>
                  <a:lnTo>
                    <a:pt x="6" y="175"/>
                  </a:lnTo>
                  <a:lnTo>
                    <a:pt x="6" y="173"/>
                  </a:lnTo>
                  <a:lnTo>
                    <a:pt x="5" y="175"/>
                  </a:lnTo>
                  <a:lnTo>
                    <a:pt x="5" y="173"/>
                  </a:lnTo>
                  <a:lnTo>
                    <a:pt x="4" y="173"/>
                  </a:lnTo>
                  <a:lnTo>
                    <a:pt x="4" y="171"/>
                  </a:lnTo>
                  <a:lnTo>
                    <a:pt x="3" y="171"/>
                  </a:lnTo>
                  <a:lnTo>
                    <a:pt x="3" y="170"/>
                  </a:lnTo>
                  <a:lnTo>
                    <a:pt x="2" y="167"/>
                  </a:lnTo>
                  <a:lnTo>
                    <a:pt x="2" y="166"/>
                  </a:lnTo>
                  <a:lnTo>
                    <a:pt x="0" y="165"/>
                  </a:lnTo>
                  <a:lnTo>
                    <a:pt x="0" y="164"/>
                  </a:lnTo>
                  <a:lnTo>
                    <a:pt x="2" y="164"/>
                  </a:lnTo>
                  <a:lnTo>
                    <a:pt x="3" y="165"/>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1" name="Freeform 74"/>
            <p:cNvSpPr>
              <a:spLocks/>
            </p:cNvSpPr>
            <p:nvPr userDrawn="1"/>
          </p:nvSpPr>
          <p:spPr bwMode="auto">
            <a:xfrm>
              <a:off x="6119813" y="6311901"/>
              <a:ext cx="219075" cy="266700"/>
            </a:xfrm>
            <a:custGeom>
              <a:avLst/>
              <a:gdLst/>
              <a:ahLst/>
              <a:cxnLst>
                <a:cxn ang="0">
                  <a:pos x="392" y="612"/>
                </a:cxn>
                <a:cxn ang="0">
                  <a:pos x="399" y="597"/>
                </a:cxn>
                <a:cxn ang="0">
                  <a:pos x="395" y="664"/>
                </a:cxn>
                <a:cxn ang="0">
                  <a:pos x="436" y="642"/>
                </a:cxn>
                <a:cxn ang="0">
                  <a:pos x="423" y="662"/>
                </a:cxn>
                <a:cxn ang="0">
                  <a:pos x="452" y="694"/>
                </a:cxn>
                <a:cxn ang="0">
                  <a:pos x="500" y="722"/>
                </a:cxn>
                <a:cxn ang="0">
                  <a:pos x="590" y="685"/>
                </a:cxn>
                <a:cxn ang="0">
                  <a:pos x="581" y="640"/>
                </a:cxn>
                <a:cxn ang="0">
                  <a:pos x="509" y="626"/>
                </a:cxn>
                <a:cxn ang="0">
                  <a:pos x="559" y="599"/>
                </a:cxn>
                <a:cxn ang="0">
                  <a:pos x="546" y="566"/>
                </a:cxn>
                <a:cxn ang="0">
                  <a:pos x="513" y="518"/>
                </a:cxn>
                <a:cxn ang="0">
                  <a:pos x="472" y="457"/>
                </a:cxn>
                <a:cxn ang="0">
                  <a:pos x="534" y="450"/>
                </a:cxn>
                <a:cxn ang="0">
                  <a:pos x="619" y="395"/>
                </a:cxn>
                <a:cxn ang="0">
                  <a:pos x="670" y="329"/>
                </a:cxn>
                <a:cxn ang="0">
                  <a:pos x="605" y="261"/>
                </a:cxn>
                <a:cxn ang="0">
                  <a:pos x="619" y="228"/>
                </a:cxn>
                <a:cxn ang="0">
                  <a:pos x="599" y="156"/>
                </a:cxn>
                <a:cxn ang="0">
                  <a:pos x="572" y="114"/>
                </a:cxn>
                <a:cxn ang="0">
                  <a:pos x="513" y="30"/>
                </a:cxn>
                <a:cxn ang="0">
                  <a:pos x="457" y="46"/>
                </a:cxn>
                <a:cxn ang="0">
                  <a:pos x="431" y="73"/>
                </a:cxn>
                <a:cxn ang="0">
                  <a:pos x="424" y="103"/>
                </a:cxn>
                <a:cxn ang="0">
                  <a:pos x="403" y="114"/>
                </a:cxn>
                <a:cxn ang="0">
                  <a:pos x="415" y="77"/>
                </a:cxn>
                <a:cxn ang="0">
                  <a:pos x="327" y="54"/>
                </a:cxn>
                <a:cxn ang="0">
                  <a:pos x="310" y="17"/>
                </a:cxn>
                <a:cxn ang="0">
                  <a:pos x="293" y="67"/>
                </a:cxn>
                <a:cxn ang="0">
                  <a:pos x="255" y="76"/>
                </a:cxn>
                <a:cxn ang="0">
                  <a:pos x="210" y="62"/>
                </a:cxn>
                <a:cxn ang="0">
                  <a:pos x="208" y="107"/>
                </a:cxn>
                <a:cxn ang="0">
                  <a:pos x="176" y="121"/>
                </a:cxn>
                <a:cxn ang="0">
                  <a:pos x="180" y="167"/>
                </a:cxn>
                <a:cxn ang="0">
                  <a:pos x="239" y="183"/>
                </a:cxn>
                <a:cxn ang="0">
                  <a:pos x="262" y="180"/>
                </a:cxn>
                <a:cxn ang="0">
                  <a:pos x="259" y="219"/>
                </a:cxn>
                <a:cxn ang="0">
                  <a:pos x="194" y="255"/>
                </a:cxn>
                <a:cxn ang="0">
                  <a:pos x="140" y="219"/>
                </a:cxn>
                <a:cxn ang="0">
                  <a:pos x="91" y="233"/>
                </a:cxn>
                <a:cxn ang="0">
                  <a:pos x="124" y="305"/>
                </a:cxn>
                <a:cxn ang="0">
                  <a:pos x="117" y="344"/>
                </a:cxn>
                <a:cxn ang="0">
                  <a:pos x="52" y="345"/>
                </a:cxn>
                <a:cxn ang="0">
                  <a:pos x="12" y="355"/>
                </a:cxn>
                <a:cxn ang="0">
                  <a:pos x="25" y="393"/>
                </a:cxn>
                <a:cxn ang="0">
                  <a:pos x="40" y="445"/>
                </a:cxn>
                <a:cxn ang="0">
                  <a:pos x="80" y="440"/>
                </a:cxn>
                <a:cxn ang="0">
                  <a:pos x="126" y="424"/>
                </a:cxn>
                <a:cxn ang="0">
                  <a:pos x="124" y="469"/>
                </a:cxn>
                <a:cxn ang="0">
                  <a:pos x="76" y="514"/>
                </a:cxn>
                <a:cxn ang="0">
                  <a:pos x="82" y="555"/>
                </a:cxn>
                <a:cxn ang="0">
                  <a:pos x="165" y="543"/>
                </a:cxn>
                <a:cxn ang="0">
                  <a:pos x="173" y="566"/>
                </a:cxn>
                <a:cxn ang="0">
                  <a:pos x="134" y="608"/>
                </a:cxn>
                <a:cxn ang="0">
                  <a:pos x="199" y="637"/>
                </a:cxn>
                <a:cxn ang="0">
                  <a:pos x="229" y="578"/>
                </a:cxn>
                <a:cxn ang="0">
                  <a:pos x="227" y="530"/>
                </a:cxn>
                <a:cxn ang="0">
                  <a:pos x="273" y="591"/>
                </a:cxn>
                <a:cxn ang="0">
                  <a:pos x="279" y="520"/>
                </a:cxn>
                <a:cxn ang="0">
                  <a:pos x="288" y="543"/>
                </a:cxn>
                <a:cxn ang="0">
                  <a:pos x="328" y="531"/>
                </a:cxn>
                <a:cxn ang="0">
                  <a:pos x="350" y="551"/>
                </a:cxn>
              </a:cxnLst>
              <a:rect l="0" t="0" r="r" b="b"/>
              <a:pathLst>
                <a:path w="688" h="840">
                  <a:moveTo>
                    <a:pt x="457" y="834"/>
                  </a:moveTo>
                  <a:lnTo>
                    <a:pt x="452" y="834"/>
                  </a:lnTo>
                  <a:lnTo>
                    <a:pt x="423" y="835"/>
                  </a:lnTo>
                  <a:lnTo>
                    <a:pt x="406" y="833"/>
                  </a:lnTo>
                  <a:lnTo>
                    <a:pt x="404" y="821"/>
                  </a:lnTo>
                  <a:lnTo>
                    <a:pt x="403" y="811"/>
                  </a:lnTo>
                  <a:lnTo>
                    <a:pt x="401" y="807"/>
                  </a:lnTo>
                  <a:lnTo>
                    <a:pt x="400" y="786"/>
                  </a:lnTo>
                  <a:lnTo>
                    <a:pt x="394" y="725"/>
                  </a:lnTo>
                  <a:lnTo>
                    <a:pt x="393" y="715"/>
                  </a:lnTo>
                  <a:lnTo>
                    <a:pt x="392" y="696"/>
                  </a:lnTo>
                  <a:lnTo>
                    <a:pt x="391" y="683"/>
                  </a:lnTo>
                  <a:lnTo>
                    <a:pt x="389" y="672"/>
                  </a:lnTo>
                  <a:lnTo>
                    <a:pt x="388" y="661"/>
                  </a:lnTo>
                  <a:lnTo>
                    <a:pt x="387" y="649"/>
                  </a:lnTo>
                  <a:lnTo>
                    <a:pt x="387" y="644"/>
                  </a:lnTo>
                  <a:lnTo>
                    <a:pt x="388" y="644"/>
                  </a:lnTo>
                  <a:lnTo>
                    <a:pt x="391" y="646"/>
                  </a:lnTo>
                  <a:lnTo>
                    <a:pt x="392" y="647"/>
                  </a:lnTo>
                  <a:lnTo>
                    <a:pt x="393" y="646"/>
                  </a:lnTo>
                  <a:lnTo>
                    <a:pt x="393" y="644"/>
                  </a:lnTo>
                  <a:lnTo>
                    <a:pt x="393" y="642"/>
                  </a:lnTo>
                  <a:lnTo>
                    <a:pt x="392" y="641"/>
                  </a:lnTo>
                  <a:lnTo>
                    <a:pt x="391" y="640"/>
                  </a:lnTo>
                  <a:lnTo>
                    <a:pt x="388" y="640"/>
                  </a:lnTo>
                  <a:lnTo>
                    <a:pt x="388" y="637"/>
                  </a:lnTo>
                  <a:lnTo>
                    <a:pt x="389" y="636"/>
                  </a:lnTo>
                  <a:lnTo>
                    <a:pt x="391" y="636"/>
                  </a:lnTo>
                  <a:lnTo>
                    <a:pt x="392" y="636"/>
                  </a:lnTo>
                  <a:lnTo>
                    <a:pt x="393" y="636"/>
                  </a:lnTo>
                  <a:lnTo>
                    <a:pt x="393" y="635"/>
                  </a:lnTo>
                  <a:lnTo>
                    <a:pt x="394" y="632"/>
                  </a:lnTo>
                  <a:lnTo>
                    <a:pt x="397" y="630"/>
                  </a:lnTo>
                  <a:lnTo>
                    <a:pt x="397" y="626"/>
                  </a:lnTo>
                  <a:lnTo>
                    <a:pt x="395" y="627"/>
                  </a:lnTo>
                  <a:lnTo>
                    <a:pt x="394" y="629"/>
                  </a:lnTo>
                  <a:lnTo>
                    <a:pt x="392" y="631"/>
                  </a:lnTo>
                  <a:lnTo>
                    <a:pt x="391" y="632"/>
                  </a:lnTo>
                  <a:lnTo>
                    <a:pt x="388" y="632"/>
                  </a:lnTo>
                  <a:lnTo>
                    <a:pt x="387" y="633"/>
                  </a:lnTo>
                  <a:lnTo>
                    <a:pt x="387" y="632"/>
                  </a:lnTo>
                  <a:lnTo>
                    <a:pt x="386" y="627"/>
                  </a:lnTo>
                  <a:lnTo>
                    <a:pt x="385" y="611"/>
                  </a:lnTo>
                  <a:lnTo>
                    <a:pt x="386" y="606"/>
                  </a:lnTo>
                  <a:lnTo>
                    <a:pt x="387" y="605"/>
                  </a:lnTo>
                  <a:lnTo>
                    <a:pt x="389" y="603"/>
                  </a:lnTo>
                  <a:lnTo>
                    <a:pt x="389" y="601"/>
                  </a:lnTo>
                  <a:lnTo>
                    <a:pt x="387" y="599"/>
                  </a:lnTo>
                  <a:lnTo>
                    <a:pt x="386" y="597"/>
                  </a:lnTo>
                  <a:lnTo>
                    <a:pt x="386" y="590"/>
                  </a:lnTo>
                  <a:lnTo>
                    <a:pt x="385" y="585"/>
                  </a:lnTo>
                  <a:lnTo>
                    <a:pt x="385" y="583"/>
                  </a:lnTo>
                  <a:lnTo>
                    <a:pt x="387" y="582"/>
                  </a:lnTo>
                  <a:lnTo>
                    <a:pt x="386" y="579"/>
                  </a:lnTo>
                  <a:lnTo>
                    <a:pt x="385" y="578"/>
                  </a:lnTo>
                  <a:lnTo>
                    <a:pt x="385" y="576"/>
                  </a:lnTo>
                  <a:lnTo>
                    <a:pt x="385" y="572"/>
                  </a:lnTo>
                  <a:lnTo>
                    <a:pt x="385" y="570"/>
                  </a:lnTo>
                  <a:lnTo>
                    <a:pt x="383" y="567"/>
                  </a:lnTo>
                  <a:lnTo>
                    <a:pt x="386" y="563"/>
                  </a:lnTo>
                  <a:lnTo>
                    <a:pt x="387" y="565"/>
                  </a:lnTo>
                  <a:lnTo>
                    <a:pt x="387" y="567"/>
                  </a:lnTo>
                  <a:lnTo>
                    <a:pt x="388" y="567"/>
                  </a:lnTo>
                  <a:lnTo>
                    <a:pt x="388" y="565"/>
                  </a:lnTo>
                  <a:lnTo>
                    <a:pt x="389" y="563"/>
                  </a:lnTo>
                  <a:lnTo>
                    <a:pt x="388" y="561"/>
                  </a:lnTo>
                  <a:lnTo>
                    <a:pt x="386" y="560"/>
                  </a:lnTo>
                  <a:lnTo>
                    <a:pt x="386" y="559"/>
                  </a:lnTo>
                  <a:lnTo>
                    <a:pt x="386" y="551"/>
                  </a:lnTo>
                  <a:lnTo>
                    <a:pt x="385" y="547"/>
                  </a:lnTo>
                  <a:lnTo>
                    <a:pt x="386" y="543"/>
                  </a:lnTo>
                  <a:lnTo>
                    <a:pt x="387" y="540"/>
                  </a:lnTo>
                  <a:lnTo>
                    <a:pt x="388" y="537"/>
                  </a:lnTo>
                  <a:lnTo>
                    <a:pt x="391" y="535"/>
                  </a:lnTo>
                  <a:lnTo>
                    <a:pt x="393" y="534"/>
                  </a:lnTo>
                  <a:lnTo>
                    <a:pt x="394" y="536"/>
                  </a:lnTo>
                  <a:lnTo>
                    <a:pt x="395" y="539"/>
                  </a:lnTo>
                  <a:lnTo>
                    <a:pt x="394" y="542"/>
                  </a:lnTo>
                  <a:lnTo>
                    <a:pt x="393" y="543"/>
                  </a:lnTo>
                  <a:lnTo>
                    <a:pt x="392" y="546"/>
                  </a:lnTo>
                  <a:lnTo>
                    <a:pt x="392" y="549"/>
                  </a:lnTo>
                  <a:lnTo>
                    <a:pt x="392" y="557"/>
                  </a:lnTo>
                  <a:lnTo>
                    <a:pt x="392" y="567"/>
                  </a:lnTo>
                  <a:lnTo>
                    <a:pt x="391" y="572"/>
                  </a:lnTo>
                  <a:lnTo>
                    <a:pt x="391" y="577"/>
                  </a:lnTo>
                  <a:lnTo>
                    <a:pt x="391" y="581"/>
                  </a:lnTo>
                  <a:lnTo>
                    <a:pt x="389" y="584"/>
                  </a:lnTo>
                  <a:lnTo>
                    <a:pt x="391" y="585"/>
                  </a:lnTo>
                  <a:lnTo>
                    <a:pt x="391" y="587"/>
                  </a:lnTo>
                  <a:lnTo>
                    <a:pt x="389" y="587"/>
                  </a:lnTo>
                  <a:lnTo>
                    <a:pt x="391" y="589"/>
                  </a:lnTo>
                  <a:lnTo>
                    <a:pt x="392" y="590"/>
                  </a:lnTo>
                  <a:lnTo>
                    <a:pt x="391" y="594"/>
                  </a:lnTo>
                  <a:lnTo>
                    <a:pt x="391" y="596"/>
                  </a:lnTo>
                  <a:lnTo>
                    <a:pt x="391" y="599"/>
                  </a:lnTo>
                  <a:lnTo>
                    <a:pt x="392" y="601"/>
                  </a:lnTo>
                  <a:lnTo>
                    <a:pt x="392" y="603"/>
                  </a:lnTo>
                  <a:lnTo>
                    <a:pt x="392" y="605"/>
                  </a:lnTo>
                  <a:lnTo>
                    <a:pt x="391" y="607"/>
                  </a:lnTo>
                  <a:lnTo>
                    <a:pt x="391" y="608"/>
                  </a:lnTo>
                  <a:lnTo>
                    <a:pt x="392" y="612"/>
                  </a:lnTo>
                  <a:lnTo>
                    <a:pt x="392" y="614"/>
                  </a:lnTo>
                  <a:lnTo>
                    <a:pt x="391" y="615"/>
                  </a:lnTo>
                  <a:lnTo>
                    <a:pt x="389" y="618"/>
                  </a:lnTo>
                  <a:lnTo>
                    <a:pt x="388" y="619"/>
                  </a:lnTo>
                  <a:lnTo>
                    <a:pt x="388" y="623"/>
                  </a:lnTo>
                  <a:lnTo>
                    <a:pt x="391" y="625"/>
                  </a:lnTo>
                  <a:lnTo>
                    <a:pt x="392" y="629"/>
                  </a:lnTo>
                  <a:lnTo>
                    <a:pt x="393" y="629"/>
                  </a:lnTo>
                  <a:lnTo>
                    <a:pt x="393" y="626"/>
                  </a:lnTo>
                  <a:lnTo>
                    <a:pt x="393" y="624"/>
                  </a:lnTo>
                  <a:lnTo>
                    <a:pt x="393" y="621"/>
                  </a:lnTo>
                  <a:lnTo>
                    <a:pt x="393" y="620"/>
                  </a:lnTo>
                  <a:lnTo>
                    <a:pt x="394" y="620"/>
                  </a:lnTo>
                  <a:lnTo>
                    <a:pt x="395" y="624"/>
                  </a:lnTo>
                  <a:lnTo>
                    <a:pt x="397" y="623"/>
                  </a:lnTo>
                  <a:lnTo>
                    <a:pt x="397" y="619"/>
                  </a:lnTo>
                  <a:lnTo>
                    <a:pt x="397" y="618"/>
                  </a:lnTo>
                  <a:lnTo>
                    <a:pt x="397" y="615"/>
                  </a:lnTo>
                  <a:lnTo>
                    <a:pt x="397" y="613"/>
                  </a:lnTo>
                  <a:lnTo>
                    <a:pt x="397" y="611"/>
                  </a:lnTo>
                  <a:lnTo>
                    <a:pt x="395" y="609"/>
                  </a:lnTo>
                  <a:lnTo>
                    <a:pt x="394" y="608"/>
                  </a:lnTo>
                  <a:lnTo>
                    <a:pt x="395" y="609"/>
                  </a:lnTo>
                  <a:lnTo>
                    <a:pt x="399" y="612"/>
                  </a:lnTo>
                  <a:lnTo>
                    <a:pt x="400" y="612"/>
                  </a:lnTo>
                  <a:lnTo>
                    <a:pt x="401" y="613"/>
                  </a:lnTo>
                  <a:lnTo>
                    <a:pt x="400" y="615"/>
                  </a:lnTo>
                  <a:lnTo>
                    <a:pt x="399" y="618"/>
                  </a:lnTo>
                  <a:lnTo>
                    <a:pt x="400" y="618"/>
                  </a:lnTo>
                  <a:lnTo>
                    <a:pt x="401" y="617"/>
                  </a:lnTo>
                  <a:lnTo>
                    <a:pt x="404" y="618"/>
                  </a:lnTo>
                  <a:lnTo>
                    <a:pt x="406" y="620"/>
                  </a:lnTo>
                  <a:lnTo>
                    <a:pt x="409" y="620"/>
                  </a:lnTo>
                  <a:lnTo>
                    <a:pt x="410" y="619"/>
                  </a:lnTo>
                  <a:lnTo>
                    <a:pt x="407" y="617"/>
                  </a:lnTo>
                  <a:lnTo>
                    <a:pt x="406" y="617"/>
                  </a:lnTo>
                  <a:lnTo>
                    <a:pt x="406" y="614"/>
                  </a:lnTo>
                  <a:lnTo>
                    <a:pt x="409" y="615"/>
                  </a:lnTo>
                  <a:lnTo>
                    <a:pt x="410" y="615"/>
                  </a:lnTo>
                  <a:lnTo>
                    <a:pt x="411" y="614"/>
                  </a:lnTo>
                  <a:lnTo>
                    <a:pt x="412" y="613"/>
                  </a:lnTo>
                  <a:lnTo>
                    <a:pt x="412" y="609"/>
                  </a:lnTo>
                  <a:lnTo>
                    <a:pt x="411" y="608"/>
                  </a:lnTo>
                  <a:lnTo>
                    <a:pt x="410" y="612"/>
                  </a:lnTo>
                  <a:lnTo>
                    <a:pt x="409" y="612"/>
                  </a:lnTo>
                  <a:lnTo>
                    <a:pt x="409" y="611"/>
                  </a:lnTo>
                  <a:lnTo>
                    <a:pt x="407" y="609"/>
                  </a:lnTo>
                  <a:lnTo>
                    <a:pt x="405" y="611"/>
                  </a:lnTo>
                  <a:lnTo>
                    <a:pt x="404" y="611"/>
                  </a:lnTo>
                  <a:lnTo>
                    <a:pt x="403" y="609"/>
                  </a:lnTo>
                  <a:lnTo>
                    <a:pt x="404" y="608"/>
                  </a:lnTo>
                  <a:lnTo>
                    <a:pt x="405" y="607"/>
                  </a:lnTo>
                  <a:lnTo>
                    <a:pt x="404" y="606"/>
                  </a:lnTo>
                  <a:lnTo>
                    <a:pt x="401" y="605"/>
                  </a:lnTo>
                  <a:lnTo>
                    <a:pt x="399" y="607"/>
                  </a:lnTo>
                  <a:lnTo>
                    <a:pt x="398" y="607"/>
                  </a:lnTo>
                  <a:lnTo>
                    <a:pt x="398" y="606"/>
                  </a:lnTo>
                  <a:lnTo>
                    <a:pt x="398" y="605"/>
                  </a:lnTo>
                  <a:lnTo>
                    <a:pt x="397" y="603"/>
                  </a:lnTo>
                  <a:lnTo>
                    <a:pt x="397" y="601"/>
                  </a:lnTo>
                  <a:lnTo>
                    <a:pt x="395" y="600"/>
                  </a:lnTo>
                  <a:lnTo>
                    <a:pt x="395" y="597"/>
                  </a:lnTo>
                  <a:lnTo>
                    <a:pt x="395" y="594"/>
                  </a:lnTo>
                  <a:lnTo>
                    <a:pt x="395" y="593"/>
                  </a:lnTo>
                  <a:lnTo>
                    <a:pt x="397" y="597"/>
                  </a:lnTo>
                  <a:lnTo>
                    <a:pt x="397" y="599"/>
                  </a:lnTo>
                  <a:lnTo>
                    <a:pt x="398" y="599"/>
                  </a:lnTo>
                  <a:lnTo>
                    <a:pt x="398" y="595"/>
                  </a:lnTo>
                  <a:lnTo>
                    <a:pt x="398" y="593"/>
                  </a:lnTo>
                  <a:lnTo>
                    <a:pt x="398" y="590"/>
                  </a:lnTo>
                  <a:lnTo>
                    <a:pt x="397" y="588"/>
                  </a:lnTo>
                  <a:lnTo>
                    <a:pt x="394" y="588"/>
                  </a:lnTo>
                  <a:lnTo>
                    <a:pt x="394" y="587"/>
                  </a:lnTo>
                  <a:lnTo>
                    <a:pt x="394" y="585"/>
                  </a:lnTo>
                  <a:lnTo>
                    <a:pt x="395" y="583"/>
                  </a:lnTo>
                  <a:lnTo>
                    <a:pt x="393" y="579"/>
                  </a:lnTo>
                  <a:lnTo>
                    <a:pt x="393" y="576"/>
                  </a:lnTo>
                  <a:lnTo>
                    <a:pt x="393" y="573"/>
                  </a:lnTo>
                  <a:lnTo>
                    <a:pt x="394" y="573"/>
                  </a:lnTo>
                  <a:lnTo>
                    <a:pt x="397" y="575"/>
                  </a:lnTo>
                  <a:lnTo>
                    <a:pt x="398" y="577"/>
                  </a:lnTo>
                  <a:lnTo>
                    <a:pt x="400" y="579"/>
                  </a:lnTo>
                  <a:lnTo>
                    <a:pt x="401" y="582"/>
                  </a:lnTo>
                  <a:lnTo>
                    <a:pt x="403" y="583"/>
                  </a:lnTo>
                  <a:lnTo>
                    <a:pt x="405" y="585"/>
                  </a:lnTo>
                  <a:lnTo>
                    <a:pt x="404" y="587"/>
                  </a:lnTo>
                  <a:lnTo>
                    <a:pt x="401" y="585"/>
                  </a:lnTo>
                  <a:lnTo>
                    <a:pt x="400" y="585"/>
                  </a:lnTo>
                  <a:lnTo>
                    <a:pt x="400" y="587"/>
                  </a:lnTo>
                  <a:lnTo>
                    <a:pt x="400" y="589"/>
                  </a:lnTo>
                  <a:lnTo>
                    <a:pt x="401" y="591"/>
                  </a:lnTo>
                  <a:lnTo>
                    <a:pt x="400" y="593"/>
                  </a:lnTo>
                  <a:lnTo>
                    <a:pt x="401" y="595"/>
                  </a:lnTo>
                  <a:lnTo>
                    <a:pt x="404" y="593"/>
                  </a:lnTo>
                  <a:lnTo>
                    <a:pt x="405" y="591"/>
                  </a:lnTo>
                  <a:lnTo>
                    <a:pt x="406" y="590"/>
                  </a:lnTo>
                  <a:lnTo>
                    <a:pt x="409" y="591"/>
                  </a:lnTo>
                  <a:lnTo>
                    <a:pt x="407" y="593"/>
                  </a:lnTo>
                  <a:lnTo>
                    <a:pt x="406" y="594"/>
                  </a:lnTo>
                  <a:lnTo>
                    <a:pt x="404" y="595"/>
                  </a:lnTo>
                  <a:lnTo>
                    <a:pt x="399" y="597"/>
                  </a:lnTo>
                  <a:lnTo>
                    <a:pt x="399" y="600"/>
                  </a:lnTo>
                  <a:lnTo>
                    <a:pt x="403" y="600"/>
                  </a:lnTo>
                  <a:lnTo>
                    <a:pt x="404" y="597"/>
                  </a:lnTo>
                  <a:lnTo>
                    <a:pt x="406" y="597"/>
                  </a:lnTo>
                  <a:lnTo>
                    <a:pt x="409" y="596"/>
                  </a:lnTo>
                  <a:lnTo>
                    <a:pt x="411" y="596"/>
                  </a:lnTo>
                  <a:lnTo>
                    <a:pt x="413" y="595"/>
                  </a:lnTo>
                  <a:lnTo>
                    <a:pt x="416" y="594"/>
                  </a:lnTo>
                  <a:lnTo>
                    <a:pt x="418" y="596"/>
                  </a:lnTo>
                  <a:lnTo>
                    <a:pt x="417" y="597"/>
                  </a:lnTo>
                  <a:lnTo>
                    <a:pt x="415" y="599"/>
                  </a:lnTo>
                  <a:lnTo>
                    <a:pt x="413" y="599"/>
                  </a:lnTo>
                  <a:lnTo>
                    <a:pt x="410" y="599"/>
                  </a:lnTo>
                  <a:lnTo>
                    <a:pt x="410" y="600"/>
                  </a:lnTo>
                  <a:lnTo>
                    <a:pt x="411" y="601"/>
                  </a:lnTo>
                  <a:lnTo>
                    <a:pt x="413" y="602"/>
                  </a:lnTo>
                  <a:lnTo>
                    <a:pt x="416" y="601"/>
                  </a:lnTo>
                  <a:lnTo>
                    <a:pt x="417" y="602"/>
                  </a:lnTo>
                  <a:lnTo>
                    <a:pt x="415" y="605"/>
                  </a:lnTo>
                  <a:lnTo>
                    <a:pt x="412" y="605"/>
                  </a:lnTo>
                  <a:lnTo>
                    <a:pt x="411" y="603"/>
                  </a:lnTo>
                  <a:lnTo>
                    <a:pt x="411" y="602"/>
                  </a:lnTo>
                  <a:lnTo>
                    <a:pt x="410" y="601"/>
                  </a:lnTo>
                  <a:lnTo>
                    <a:pt x="409" y="602"/>
                  </a:lnTo>
                  <a:lnTo>
                    <a:pt x="406" y="602"/>
                  </a:lnTo>
                  <a:lnTo>
                    <a:pt x="405" y="602"/>
                  </a:lnTo>
                  <a:lnTo>
                    <a:pt x="404" y="602"/>
                  </a:lnTo>
                  <a:lnTo>
                    <a:pt x="403" y="601"/>
                  </a:lnTo>
                  <a:lnTo>
                    <a:pt x="401" y="602"/>
                  </a:lnTo>
                  <a:lnTo>
                    <a:pt x="401" y="603"/>
                  </a:lnTo>
                  <a:lnTo>
                    <a:pt x="404" y="603"/>
                  </a:lnTo>
                  <a:lnTo>
                    <a:pt x="406" y="605"/>
                  </a:lnTo>
                  <a:lnTo>
                    <a:pt x="407" y="606"/>
                  </a:lnTo>
                  <a:lnTo>
                    <a:pt x="406" y="607"/>
                  </a:lnTo>
                  <a:lnTo>
                    <a:pt x="409" y="607"/>
                  </a:lnTo>
                  <a:lnTo>
                    <a:pt x="409" y="606"/>
                  </a:lnTo>
                  <a:lnTo>
                    <a:pt x="410" y="607"/>
                  </a:lnTo>
                  <a:lnTo>
                    <a:pt x="411" y="607"/>
                  </a:lnTo>
                  <a:lnTo>
                    <a:pt x="413" y="608"/>
                  </a:lnTo>
                  <a:lnTo>
                    <a:pt x="415" y="609"/>
                  </a:lnTo>
                  <a:lnTo>
                    <a:pt x="415" y="611"/>
                  </a:lnTo>
                  <a:lnTo>
                    <a:pt x="413" y="612"/>
                  </a:lnTo>
                  <a:lnTo>
                    <a:pt x="413" y="613"/>
                  </a:lnTo>
                  <a:lnTo>
                    <a:pt x="413" y="615"/>
                  </a:lnTo>
                  <a:lnTo>
                    <a:pt x="415" y="615"/>
                  </a:lnTo>
                  <a:lnTo>
                    <a:pt x="416" y="614"/>
                  </a:lnTo>
                  <a:lnTo>
                    <a:pt x="416" y="613"/>
                  </a:lnTo>
                  <a:lnTo>
                    <a:pt x="416" y="612"/>
                  </a:lnTo>
                  <a:lnTo>
                    <a:pt x="417" y="611"/>
                  </a:lnTo>
                  <a:lnTo>
                    <a:pt x="419" y="608"/>
                  </a:lnTo>
                  <a:lnTo>
                    <a:pt x="419" y="607"/>
                  </a:lnTo>
                  <a:lnTo>
                    <a:pt x="421" y="607"/>
                  </a:lnTo>
                  <a:lnTo>
                    <a:pt x="423" y="607"/>
                  </a:lnTo>
                  <a:lnTo>
                    <a:pt x="424" y="606"/>
                  </a:lnTo>
                  <a:lnTo>
                    <a:pt x="424" y="608"/>
                  </a:lnTo>
                  <a:lnTo>
                    <a:pt x="423" y="609"/>
                  </a:lnTo>
                  <a:lnTo>
                    <a:pt x="421" y="611"/>
                  </a:lnTo>
                  <a:lnTo>
                    <a:pt x="421" y="612"/>
                  </a:lnTo>
                  <a:lnTo>
                    <a:pt x="421" y="613"/>
                  </a:lnTo>
                  <a:lnTo>
                    <a:pt x="422" y="614"/>
                  </a:lnTo>
                  <a:lnTo>
                    <a:pt x="419" y="614"/>
                  </a:lnTo>
                  <a:lnTo>
                    <a:pt x="418" y="612"/>
                  </a:lnTo>
                  <a:lnTo>
                    <a:pt x="417" y="614"/>
                  </a:lnTo>
                  <a:lnTo>
                    <a:pt x="417" y="617"/>
                  </a:lnTo>
                  <a:lnTo>
                    <a:pt x="417" y="619"/>
                  </a:lnTo>
                  <a:lnTo>
                    <a:pt x="416" y="621"/>
                  </a:lnTo>
                  <a:lnTo>
                    <a:pt x="413" y="624"/>
                  </a:lnTo>
                  <a:lnTo>
                    <a:pt x="410" y="626"/>
                  </a:lnTo>
                  <a:lnTo>
                    <a:pt x="405" y="631"/>
                  </a:lnTo>
                  <a:lnTo>
                    <a:pt x="405" y="635"/>
                  </a:lnTo>
                  <a:lnTo>
                    <a:pt x="405" y="637"/>
                  </a:lnTo>
                  <a:lnTo>
                    <a:pt x="404" y="640"/>
                  </a:lnTo>
                  <a:lnTo>
                    <a:pt x="403" y="643"/>
                  </a:lnTo>
                  <a:lnTo>
                    <a:pt x="400" y="646"/>
                  </a:lnTo>
                  <a:lnTo>
                    <a:pt x="398" y="646"/>
                  </a:lnTo>
                  <a:lnTo>
                    <a:pt x="397" y="646"/>
                  </a:lnTo>
                  <a:lnTo>
                    <a:pt x="394" y="647"/>
                  </a:lnTo>
                  <a:lnTo>
                    <a:pt x="394" y="648"/>
                  </a:lnTo>
                  <a:lnTo>
                    <a:pt x="393" y="650"/>
                  </a:lnTo>
                  <a:lnTo>
                    <a:pt x="394" y="653"/>
                  </a:lnTo>
                  <a:lnTo>
                    <a:pt x="395" y="654"/>
                  </a:lnTo>
                  <a:lnTo>
                    <a:pt x="393" y="658"/>
                  </a:lnTo>
                  <a:lnTo>
                    <a:pt x="392" y="660"/>
                  </a:lnTo>
                  <a:lnTo>
                    <a:pt x="391" y="661"/>
                  </a:lnTo>
                  <a:lnTo>
                    <a:pt x="389" y="664"/>
                  </a:lnTo>
                  <a:lnTo>
                    <a:pt x="391" y="664"/>
                  </a:lnTo>
                  <a:lnTo>
                    <a:pt x="392" y="662"/>
                  </a:lnTo>
                  <a:lnTo>
                    <a:pt x="393" y="661"/>
                  </a:lnTo>
                  <a:lnTo>
                    <a:pt x="392" y="666"/>
                  </a:lnTo>
                  <a:lnTo>
                    <a:pt x="392" y="668"/>
                  </a:lnTo>
                  <a:lnTo>
                    <a:pt x="392" y="671"/>
                  </a:lnTo>
                  <a:lnTo>
                    <a:pt x="392" y="674"/>
                  </a:lnTo>
                  <a:lnTo>
                    <a:pt x="392" y="677"/>
                  </a:lnTo>
                  <a:lnTo>
                    <a:pt x="392" y="678"/>
                  </a:lnTo>
                  <a:lnTo>
                    <a:pt x="393" y="677"/>
                  </a:lnTo>
                  <a:lnTo>
                    <a:pt x="393" y="673"/>
                  </a:lnTo>
                  <a:lnTo>
                    <a:pt x="393" y="671"/>
                  </a:lnTo>
                  <a:lnTo>
                    <a:pt x="394" y="670"/>
                  </a:lnTo>
                  <a:lnTo>
                    <a:pt x="394" y="668"/>
                  </a:lnTo>
                  <a:lnTo>
                    <a:pt x="394" y="665"/>
                  </a:lnTo>
                  <a:lnTo>
                    <a:pt x="395" y="664"/>
                  </a:lnTo>
                  <a:lnTo>
                    <a:pt x="397" y="664"/>
                  </a:lnTo>
                  <a:lnTo>
                    <a:pt x="398" y="661"/>
                  </a:lnTo>
                  <a:lnTo>
                    <a:pt x="398" y="660"/>
                  </a:lnTo>
                  <a:lnTo>
                    <a:pt x="398" y="658"/>
                  </a:lnTo>
                  <a:lnTo>
                    <a:pt x="399" y="653"/>
                  </a:lnTo>
                  <a:lnTo>
                    <a:pt x="399" y="652"/>
                  </a:lnTo>
                  <a:lnTo>
                    <a:pt x="400" y="652"/>
                  </a:lnTo>
                  <a:lnTo>
                    <a:pt x="400" y="655"/>
                  </a:lnTo>
                  <a:lnTo>
                    <a:pt x="399" y="658"/>
                  </a:lnTo>
                  <a:lnTo>
                    <a:pt x="400" y="660"/>
                  </a:lnTo>
                  <a:lnTo>
                    <a:pt x="403" y="662"/>
                  </a:lnTo>
                  <a:lnTo>
                    <a:pt x="404" y="662"/>
                  </a:lnTo>
                  <a:lnTo>
                    <a:pt x="405" y="661"/>
                  </a:lnTo>
                  <a:lnTo>
                    <a:pt x="406" y="659"/>
                  </a:lnTo>
                  <a:lnTo>
                    <a:pt x="406" y="656"/>
                  </a:lnTo>
                  <a:lnTo>
                    <a:pt x="405" y="655"/>
                  </a:lnTo>
                  <a:lnTo>
                    <a:pt x="405" y="653"/>
                  </a:lnTo>
                  <a:lnTo>
                    <a:pt x="405" y="649"/>
                  </a:lnTo>
                  <a:lnTo>
                    <a:pt x="405" y="647"/>
                  </a:lnTo>
                  <a:lnTo>
                    <a:pt x="404" y="646"/>
                  </a:lnTo>
                  <a:lnTo>
                    <a:pt x="404" y="643"/>
                  </a:lnTo>
                  <a:lnTo>
                    <a:pt x="406" y="641"/>
                  </a:lnTo>
                  <a:lnTo>
                    <a:pt x="407" y="638"/>
                  </a:lnTo>
                  <a:lnTo>
                    <a:pt x="409" y="637"/>
                  </a:lnTo>
                  <a:lnTo>
                    <a:pt x="411" y="633"/>
                  </a:lnTo>
                  <a:lnTo>
                    <a:pt x="412" y="632"/>
                  </a:lnTo>
                  <a:lnTo>
                    <a:pt x="415" y="629"/>
                  </a:lnTo>
                  <a:lnTo>
                    <a:pt x="413" y="632"/>
                  </a:lnTo>
                  <a:lnTo>
                    <a:pt x="412" y="635"/>
                  </a:lnTo>
                  <a:lnTo>
                    <a:pt x="410" y="636"/>
                  </a:lnTo>
                  <a:lnTo>
                    <a:pt x="410" y="638"/>
                  </a:lnTo>
                  <a:lnTo>
                    <a:pt x="410" y="641"/>
                  </a:lnTo>
                  <a:lnTo>
                    <a:pt x="409" y="641"/>
                  </a:lnTo>
                  <a:lnTo>
                    <a:pt x="407" y="641"/>
                  </a:lnTo>
                  <a:lnTo>
                    <a:pt x="407" y="642"/>
                  </a:lnTo>
                  <a:lnTo>
                    <a:pt x="406" y="647"/>
                  </a:lnTo>
                  <a:lnTo>
                    <a:pt x="406" y="652"/>
                  </a:lnTo>
                  <a:lnTo>
                    <a:pt x="406" y="654"/>
                  </a:lnTo>
                  <a:lnTo>
                    <a:pt x="407" y="655"/>
                  </a:lnTo>
                  <a:lnTo>
                    <a:pt x="409" y="654"/>
                  </a:lnTo>
                  <a:lnTo>
                    <a:pt x="409" y="650"/>
                  </a:lnTo>
                  <a:lnTo>
                    <a:pt x="410" y="650"/>
                  </a:lnTo>
                  <a:lnTo>
                    <a:pt x="411" y="654"/>
                  </a:lnTo>
                  <a:lnTo>
                    <a:pt x="412" y="653"/>
                  </a:lnTo>
                  <a:lnTo>
                    <a:pt x="412" y="649"/>
                  </a:lnTo>
                  <a:lnTo>
                    <a:pt x="412" y="648"/>
                  </a:lnTo>
                  <a:lnTo>
                    <a:pt x="411" y="647"/>
                  </a:lnTo>
                  <a:lnTo>
                    <a:pt x="409" y="646"/>
                  </a:lnTo>
                  <a:lnTo>
                    <a:pt x="409" y="643"/>
                  </a:lnTo>
                  <a:lnTo>
                    <a:pt x="409" y="642"/>
                  </a:lnTo>
                  <a:lnTo>
                    <a:pt x="411" y="640"/>
                  </a:lnTo>
                  <a:lnTo>
                    <a:pt x="412" y="638"/>
                  </a:lnTo>
                  <a:lnTo>
                    <a:pt x="412" y="636"/>
                  </a:lnTo>
                  <a:lnTo>
                    <a:pt x="413" y="635"/>
                  </a:lnTo>
                  <a:lnTo>
                    <a:pt x="415" y="632"/>
                  </a:lnTo>
                  <a:lnTo>
                    <a:pt x="416" y="630"/>
                  </a:lnTo>
                  <a:lnTo>
                    <a:pt x="417" y="629"/>
                  </a:lnTo>
                  <a:lnTo>
                    <a:pt x="418" y="627"/>
                  </a:lnTo>
                  <a:lnTo>
                    <a:pt x="419" y="626"/>
                  </a:lnTo>
                  <a:lnTo>
                    <a:pt x="419" y="629"/>
                  </a:lnTo>
                  <a:lnTo>
                    <a:pt x="421" y="630"/>
                  </a:lnTo>
                  <a:lnTo>
                    <a:pt x="419" y="631"/>
                  </a:lnTo>
                  <a:lnTo>
                    <a:pt x="417" y="631"/>
                  </a:lnTo>
                  <a:lnTo>
                    <a:pt x="417" y="632"/>
                  </a:lnTo>
                  <a:lnTo>
                    <a:pt x="418" y="633"/>
                  </a:lnTo>
                  <a:lnTo>
                    <a:pt x="419" y="633"/>
                  </a:lnTo>
                  <a:lnTo>
                    <a:pt x="419" y="635"/>
                  </a:lnTo>
                  <a:lnTo>
                    <a:pt x="419" y="636"/>
                  </a:lnTo>
                  <a:lnTo>
                    <a:pt x="417" y="637"/>
                  </a:lnTo>
                  <a:lnTo>
                    <a:pt x="417" y="641"/>
                  </a:lnTo>
                  <a:lnTo>
                    <a:pt x="417" y="646"/>
                  </a:lnTo>
                  <a:lnTo>
                    <a:pt x="417" y="649"/>
                  </a:lnTo>
                  <a:lnTo>
                    <a:pt x="418" y="647"/>
                  </a:lnTo>
                  <a:lnTo>
                    <a:pt x="419" y="642"/>
                  </a:lnTo>
                  <a:lnTo>
                    <a:pt x="419" y="640"/>
                  </a:lnTo>
                  <a:lnTo>
                    <a:pt x="421" y="638"/>
                  </a:lnTo>
                  <a:lnTo>
                    <a:pt x="422" y="638"/>
                  </a:lnTo>
                  <a:lnTo>
                    <a:pt x="423" y="635"/>
                  </a:lnTo>
                  <a:lnTo>
                    <a:pt x="423" y="631"/>
                  </a:lnTo>
                  <a:lnTo>
                    <a:pt x="422" y="629"/>
                  </a:lnTo>
                  <a:lnTo>
                    <a:pt x="422" y="627"/>
                  </a:lnTo>
                  <a:lnTo>
                    <a:pt x="422" y="623"/>
                  </a:lnTo>
                  <a:lnTo>
                    <a:pt x="423" y="625"/>
                  </a:lnTo>
                  <a:lnTo>
                    <a:pt x="423" y="626"/>
                  </a:lnTo>
                  <a:lnTo>
                    <a:pt x="424" y="627"/>
                  </a:lnTo>
                  <a:lnTo>
                    <a:pt x="424" y="629"/>
                  </a:lnTo>
                  <a:lnTo>
                    <a:pt x="424" y="632"/>
                  </a:lnTo>
                  <a:lnTo>
                    <a:pt x="425" y="631"/>
                  </a:lnTo>
                  <a:lnTo>
                    <a:pt x="427" y="630"/>
                  </a:lnTo>
                  <a:lnTo>
                    <a:pt x="425" y="633"/>
                  </a:lnTo>
                  <a:lnTo>
                    <a:pt x="425" y="636"/>
                  </a:lnTo>
                  <a:lnTo>
                    <a:pt x="424" y="637"/>
                  </a:lnTo>
                  <a:lnTo>
                    <a:pt x="424" y="640"/>
                  </a:lnTo>
                  <a:lnTo>
                    <a:pt x="425" y="640"/>
                  </a:lnTo>
                  <a:lnTo>
                    <a:pt x="428" y="640"/>
                  </a:lnTo>
                  <a:lnTo>
                    <a:pt x="430" y="638"/>
                  </a:lnTo>
                  <a:lnTo>
                    <a:pt x="431" y="637"/>
                  </a:lnTo>
                  <a:lnTo>
                    <a:pt x="431" y="636"/>
                  </a:lnTo>
                  <a:lnTo>
                    <a:pt x="431" y="637"/>
                  </a:lnTo>
                  <a:lnTo>
                    <a:pt x="433" y="640"/>
                  </a:lnTo>
                  <a:lnTo>
                    <a:pt x="436" y="642"/>
                  </a:lnTo>
                  <a:lnTo>
                    <a:pt x="439" y="643"/>
                  </a:lnTo>
                  <a:lnTo>
                    <a:pt x="440" y="642"/>
                  </a:lnTo>
                  <a:lnTo>
                    <a:pt x="438" y="640"/>
                  </a:lnTo>
                  <a:lnTo>
                    <a:pt x="436" y="637"/>
                  </a:lnTo>
                  <a:lnTo>
                    <a:pt x="438" y="637"/>
                  </a:lnTo>
                  <a:lnTo>
                    <a:pt x="440" y="640"/>
                  </a:lnTo>
                  <a:lnTo>
                    <a:pt x="442" y="640"/>
                  </a:lnTo>
                  <a:lnTo>
                    <a:pt x="444" y="640"/>
                  </a:lnTo>
                  <a:lnTo>
                    <a:pt x="447" y="637"/>
                  </a:lnTo>
                  <a:lnTo>
                    <a:pt x="447" y="636"/>
                  </a:lnTo>
                  <a:lnTo>
                    <a:pt x="445" y="636"/>
                  </a:lnTo>
                  <a:lnTo>
                    <a:pt x="442" y="636"/>
                  </a:lnTo>
                  <a:lnTo>
                    <a:pt x="439" y="635"/>
                  </a:lnTo>
                  <a:lnTo>
                    <a:pt x="438" y="633"/>
                  </a:lnTo>
                  <a:lnTo>
                    <a:pt x="435" y="632"/>
                  </a:lnTo>
                  <a:lnTo>
                    <a:pt x="434" y="630"/>
                  </a:lnTo>
                  <a:lnTo>
                    <a:pt x="433" y="630"/>
                  </a:lnTo>
                  <a:lnTo>
                    <a:pt x="430" y="627"/>
                  </a:lnTo>
                  <a:lnTo>
                    <a:pt x="429" y="625"/>
                  </a:lnTo>
                  <a:lnTo>
                    <a:pt x="427" y="624"/>
                  </a:lnTo>
                  <a:lnTo>
                    <a:pt x="424" y="623"/>
                  </a:lnTo>
                  <a:lnTo>
                    <a:pt x="425" y="619"/>
                  </a:lnTo>
                  <a:lnTo>
                    <a:pt x="428" y="617"/>
                  </a:lnTo>
                  <a:lnTo>
                    <a:pt x="431" y="614"/>
                  </a:lnTo>
                  <a:lnTo>
                    <a:pt x="434" y="613"/>
                  </a:lnTo>
                  <a:lnTo>
                    <a:pt x="438" y="611"/>
                  </a:lnTo>
                  <a:lnTo>
                    <a:pt x="440" y="608"/>
                  </a:lnTo>
                  <a:lnTo>
                    <a:pt x="444" y="606"/>
                  </a:lnTo>
                  <a:lnTo>
                    <a:pt x="446" y="606"/>
                  </a:lnTo>
                  <a:lnTo>
                    <a:pt x="448" y="609"/>
                  </a:lnTo>
                  <a:lnTo>
                    <a:pt x="448" y="614"/>
                  </a:lnTo>
                  <a:lnTo>
                    <a:pt x="446" y="618"/>
                  </a:lnTo>
                  <a:lnTo>
                    <a:pt x="442" y="621"/>
                  </a:lnTo>
                  <a:lnTo>
                    <a:pt x="440" y="624"/>
                  </a:lnTo>
                  <a:lnTo>
                    <a:pt x="438" y="626"/>
                  </a:lnTo>
                  <a:lnTo>
                    <a:pt x="434" y="626"/>
                  </a:lnTo>
                  <a:lnTo>
                    <a:pt x="433" y="627"/>
                  </a:lnTo>
                  <a:lnTo>
                    <a:pt x="435" y="629"/>
                  </a:lnTo>
                  <a:lnTo>
                    <a:pt x="438" y="627"/>
                  </a:lnTo>
                  <a:lnTo>
                    <a:pt x="441" y="625"/>
                  </a:lnTo>
                  <a:lnTo>
                    <a:pt x="444" y="623"/>
                  </a:lnTo>
                  <a:lnTo>
                    <a:pt x="446" y="620"/>
                  </a:lnTo>
                  <a:lnTo>
                    <a:pt x="448" y="619"/>
                  </a:lnTo>
                  <a:lnTo>
                    <a:pt x="446" y="623"/>
                  </a:lnTo>
                  <a:lnTo>
                    <a:pt x="446" y="625"/>
                  </a:lnTo>
                  <a:lnTo>
                    <a:pt x="446" y="627"/>
                  </a:lnTo>
                  <a:lnTo>
                    <a:pt x="447" y="632"/>
                  </a:lnTo>
                  <a:lnTo>
                    <a:pt x="448" y="632"/>
                  </a:lnTo>
                  <a:lnTo>
                    <a:pt x="448" y="629"/>
                  </a:lnTo>
                  <a:lnTo>
                    <a:pt x="448" y="626"/>
                  </a:lnTo>
                  <a:lnTo>
                    <a:pt x="448" y="624"/>
                  </a:lnTo>
                  <a:lnTo>
                    <a:pt x="448" y="623"/>
                  </a:lnTo>
                  <a:lnTo>
                    <a:pt x="450" y="621"/>
                  </a:lnTo>
                  <a:lnTo>
                    <a:pt x="450" y="619"/>
                  </a:lnTo>
                  <a:lnTo>
                    <a:pt x="451" y="618"/>
                  </a:lnTo>
                  <a:lnTo>
                    <a:pt x="452" y="619"/>
                  </a:lnTo>
                  <a:lnTo>
                    <a:pt x="453" y="617"/>
                  </a:lnTo>
                  <a:lnTo>
                    <a:pt x="453" y="615"/>
                  </a:lnTo>
                  <a:lnTo>
                    <a:pt x="452" y="613"/>
                  </a:lnTo>
                  <a:lnTo>
                    <a:pt x="451" y="611"/>
                  </a:lnTo>
                  <a:lnTo>
                    <a:pt x="453" y="612"/>
                  </a:lnTo>
                  <a:lnTo>
                    <a:pt x="456" y="615"/>
                  </a:lnTo>
                  <a:lnTo>
                    <a:pt x="458" y="617"/>
                  </a:lnTo>
                  <a:lnTo>
                    <a:pt x="459" y="619"/>
                  </a:lnTo>
                  <a:lnTo>
                    <a:pt x="458" y="624"/>
                  </a:lnTo>
                  <a:lnTo>
                    <a:pt x="456" y="629"/>
                  </a:lnTo>
                  <a:lnTo>
                    <a:pt x="451" y="638"/>
                  </a:lnTo>
                  <a:lnTo>
                    <a:pt x="444" y="644"/>
                  </a:lnTo>
                  <a:lnTo>
                    <a:pt x="441" y="648"/>
                  </a:lnTo>
                  <a:lnTo>
                    <a:pt x="440" y="650"/>
                  </a:lnTo>
                  <a:lnTo>
                    <a:pt x="438" y="653"/>
                  </a:lnTo>
                  <a:lnTo>
                    <a:pt x="436" y="653"/>
                  </a:lnTo>
                  <a:lnTo>
                    <a:pt x="434" y="653"/>
                  </a:lnTo>
                  <a:lnTo>
                    <a:pt x="431" y="653"/>
                  </a:lnTo>
                  <a:lnTo>
                    <a:pt x="428" y="652"/>
                  </a:lnTo>
                  <a:lnTo>
                    <a:pt x="425" y="649"/>
                  </a:lnTo>
                  <a:lnTo>
                    <a:pt x="424" y="648"/>
                  </a:lnTo>
                  <a:lnTo>
                    <a:pt x="423" y="644"/>
                  </a:lnTo>
                  <a:lnTo>
                    <a:pt x="423" y="642"/>
                  </a:lnTo>
                  <a:lnTo>
                    <a:pt x="422" y="642"/>
                  </a:lnTo>
                  <a:lnTo>
                    <a:pt x="421" y="644"/>
                  </a:lnTo>
                  <a:lnTo>
                    <a:pt x="421" y="647"/>
                  </a:lnTo>
                  <a:lnTo>
                    <a:pt x="422" y="648"/>
                  </a:lnTo>
                  <a:lnTo>
                    <a:pt x="424" y="650"/>
                  </a:lnTo>
                  <a:lnTo>
                    <a:pt x="427" y="653"/>
                  </a:lnTo>
                  <a:lnTo>
                    <a:pt x="428" y="654"/>
                  </a:lnTo>
                  <a:lnTo>
                    <a:pt x="430" y="655"/>
                  </a:lnTo>
                  <a:lnTo>
                    <a:pt x="433" y="658"/>
                  </a:lnTo>
                  <a:lnTo>
                    <a:pt x="433" y="660"/>
                  </a:lnTo>
                  <a:lnTo>
                    <a:pt x="430" y="658"/>
                  </a:lnTo>
                  <a:lnTo>
                    <a:pt x="428" y="655"/>
                  </a:lnTo>
                  <a:lnTo>
                    <a:pt x="425" y="655"/>
                  </a:lnTo>
                  <a:lnTo>
                    <a:pt x="423" y="655"/>
                  </a:lnTo>
                  <a:lnTo>
                    <a:pt x="423" y="658"/>
                  </a:lnTo>
                  <a:lnTo>
                    <a:pt x="425" y="659"/>
                  </a:lnTo>
                  <a:lnTo>
                    <a:pt x="424" y="660"/>
                  </a:lnTo>
                  <a:lnTo>
                    <a:pt x="423" y="659"/>
                  </a:lnTo>
                  <a:lnTo>
                    <a:pt x="421" y="658"/>
                  </a:lnTo>
                  <a:lnTo>
                    <a:pt x="419" y="658"/>
                  </a:lnTo>
                  <a:lnTo>
                    <a:pt x="422" y="660"/>
                  </a:lnTo>
                  <a:lnTo>
                    <a:pt x="423" y="662"/>
                  </a:lnTo>
                  <a:lnTo>
                    <a:pt x="422" y="664"/>
                  </a:lnTo>
                  <a:lnTo>
                    <a:pt x="421" y="666"/>
                  </a:lnTo>
                  <a:lnTo>
                    <a:pt x="419" y="666"/>
                  </a:lnTo>
                  <a:lnTo>
                    <a:pt x="418" y="666"/>
                  </a:lnTo>
                  <a:lnTo>
                    <a:pt x="416" y="665"/>
                  </a:lnTo>
                  <a:lnTo>
                    <a:pt x="416" y="666"/>
                  </a:lnTo>
                  <a:lnTo>
                    <a:pt x="417" y="667"/>
                  </a:lnTo>
                  <a:lnTo>
                    <a:pt x="412" y="673"/>
                  </a:lnTo>
                  <a:lnTo>
                    <a:pt x="409" y="674"/>
                  </a:lnTo>
                  <a:lnTo>
                    <a:pt x="406" y="678"/>
                  </a:lnTo>
                  <a:lnTo>
                    <a:pt x="404" y="680"/>
                  </a:lnTo>
                  <a:lnTo>
                    <a:pt x="403" y="684"/>
                  </a:lnTo>
                  <a:lnTo>
                    <a:pt x="403" y="688"/>
                  </a:lnTo>
                  <a:lnTo>
                    <a:pt x="404" y="688"/>
                  </a:lnTo>
                  <a:lnTo>
                    <a:pt x="405" y="685"/>
                  </a:lnTo>
                  <a:lnTo>
                    <a:pt x="405" y="683"/>
                  </a:lnTo>
                  <a:lnTo>
                    <a:pt x="407" y="680"/>
                  </a:lnTo>
                  <a:lnTo>
                    <a:pt x="410" y="679"/>
                  </a:lnTo>
                  <a:lnTo>
                    <a:pt x="412" y="676"/>
                  </a:lnTo>
                  <a:lnTo>
                    <a:pt x="415" y="673"/>
                  </a:lnTo>
                  <a:lnTo>
                    <a:pt x="417" y="671"/>
                  </a:lnTo>
                  <a:lnTo>
                    <a:pt x="419" y="670"/>
                  </a:lnTo>
                  <a:lnTo>
                    <a:pt x="422" y="667"/>
                  </a:lnTo>
                  <a:lnTo>
                    <a:pt x="424" y="665"/>
                  </a:lnTo>
                  <a:lnTo>
                    <a:pt x="427" y="666"/>
                  </a:lnTo>
                  <a:lnTo>
                    <a:pt x="428" y="667"/>
                  </a:lnTo>
                  <a:lnTo>
                    <a:pt x="425" y="671"/>
                  </a:lnTo>
                  <a:lnTo>
                    <a:pt x="424" y="673"/>
                  </a:lnTo>
                  <a:lnTo>
                    <a:pt x="423" y="674"/>
                  </a:lnTo>
                  <a:lnTo>
                    <a:pt x="425" y="674"/>
                  </a:lnTo>
                  <a:lnTo>
                    <a:pt x="428" y="671"/>
                  </a:lnTo>
                  <a:lnTo>
                    <a:pt x="429" y="670"/>
                  </a:lnTo>
                  <a:lnTo>
                    <a:pt x="430" y="670"/>
                  </a:lnTo>
                  <a:lnTo>
                    <a:pt x="433" y="667"/>
                  </a:lnTo>
                  <a:lnTo>
                    <a:pt x="431" y="665"/>
                  </a:lnTo>
                  <a:lnTo>
                    <a:pt x="431" y="662"/>
                  </a:lnTo>
                  <a:lnTo>
                    <a:pt x="434" y="662"/>
                  </a:lnTo>
                  <a:lnTo>
                    <a:pt x="438" y="664"/>
                  </a:lnTo>
                  <a:lnTo>
                    <a:pt x="439" y="666"/>
                  </a:lnTo>
                  <a:lnTo>
                    <a:pt x="439" y="668"/>
                  </a:lnTo>
                  <a:lnTo>
                    <a:pt x="438" y="670"/>
                  </a:lnTo>
                  <a:lnTo>
                    <a:pt x="436" y="668"/>
                  </a:lnTo>
                  <a:lnTo>
                    <a:pt x="434" y="668"/>
                  </a:lnTo>
                  <a:lnTo>
                    <a:pt x="433" y="670"/>
                  </a:lnTo>
                  <a:lnTo>
                    <a:pt x="431" y="671"/>
                  </a:lnTo>
                  <a:lnTo>
                    <a:pt x="429" y="672"/>
                  </a:lnTo>
                  <a:lnTo>
                    <a:pt x="427" y="674"/>
                  </a:lnTo>
                  <a:lnTo>
                    <a:pt x="427" y="678"/>
                  </a:lnTo>
                  <a:lnTo>
                    <a:pt x="425" y="679"/>
                  </a:lnTo>
                  <a:lnTo>
                    <a:pt x="423" y="678"/>
                  </a:lnTo>
                  <a:lnTo>
                    <a:pt x="422" y="680"/>
                  </a:lnTo>
                  <a:lnTo>
                    <a:pt x="423" y="682"/>
                  </a:lnTo>
                  <a:lnTo>
                    <a:pt x="428" y="682"/>
                  </a:lnTo>
                  <a:lnTo>
                    <a:pt x="430" y="679"/>
                  </a:lnTo>
                  <a:lnTo>
                    <a:pt x="431" y="677"/>
                  </a:lnTo>
                  <a:lnTo>
                    <a:pt x="434" y="677"/>
                  </a:lnTo>
                  <a:lnTo>
                    <a:pt x="436" y="676"/>
                  </a:lnTo>
                  <a:lnTo>
                    <a:pt x="438" y="674"/>
                  </a:lnTo>
                  <a:lnTo>
                    <a:pt x="439" y="674"/>
                  </a:lnTo>
                  <a:lnTo>
                    <a:pt x="439" y="676"/>
                  </a:lnTo>
                  <a:lnTo>
                    <a:pt x="435" y="679"/>
                  </a:lnTo>
                  <a:lnTo>
                    <a:pt x="434" y="680"/>
                  </a:lnTo>
                  <a:lnTo>
                    <a:pt x="431" y="682"/>
                  </a:lnTo>
                  <a:lnTo>
                    <a:pt x="429" y="684"/>
                  </a:lnTo>
                  <a:lnTo>
                    <a:pt x="427" y="685"/>
                  </a:lnTo>
                  <a:lnTo>
                    <a:pt x="428" y="686"/>
                  </a:lnTo>
                  <a:lnTo>
                    <a:pt x="429" y="688"/>
                  </a:lnTo>
                  <a:lnTo>
                    <a:pt x="431" y="688"/>
                  </a:lnTo>
                  <a:lnTo>
                    <a:pt x="434" y="691"/>
                  </a:lnTo>
                  <a:lnTo>
                    <a:pt x="436" y="694"/>
                  </a:lnTo>
                  <a:lnTo>
                    <a:pt x="439" y="696"/>
                  </a:lnTo>
                  <a:lnTo>
                    <a:pt x="438" y="698"/>
                  </a:lnTo>
                  <a:lnTo>
                    <a:pt x="436" y="700"/>
                  </a:lnTo>
                  <a:lnTo>
                    <a:pt x="435" y="696"/>
                  </a:lnTo>
                  <a:lnTo>
                    <a:pt x="434" y="694"/>
                  </a:lnTo>
                  <a:lnTo>
                    <a:pt x="431" y="694"/>
                  </a:lnTo>
                  <a:lnTo>
                    <a:pt x="429" y="692"/>
                  </a:lnTo>
                  <a:lnTo>
                    <a:pt x="429" y="694"/>
                  </a:lnTo>
                  <a:lnTo>
                    <a:pt x="431" y="697"/>
                  </a:lnTo>
                  <a:lnTo>
                    <a:pt x="431" y="698"/>
                  </a:lnTo>
                  <a:lnTo>
                    <a:pt x="428" y="700"/>
                  </a:lnTo>
                  <a:lnTo>
                    <a:pt x="427" y="701"/>
                  </a:lnTo>
                  <a:lnTo>
                    <a:pt x="429" y="704"/>
                  </a:lnTo>
                  <a:lnTo>
                    <a:pt x="431" y="704"/>
                  </a:lnTo>
                  <a:lnTo>
                    <a:pt x="431" y="707"/>
                  </a:lnTo>
                  <a:lnTo>
                    <a:pt x="434" y="708"/>
                  </a:lnTo>
                  <a:lnTo>
                    <a:pt x="436" y="707"/>
                  </a:lnTo>
                  <a:lnTo>
                    <a:pt x="438" y="704"/>
                  </a:lnTo>
                  <a:lnTo>
                    <a:pt x="440" y="706"/>
                  </a:lnTo>
                  <a:lnTo>
                    <a:pt x="442" y="706"/>
                  </a:lnTo>
                  <a:lnTo>
                    <a:pt x="442" y="704"/>
                  </a:lnTo>
                  <a:lnTo>
                    <a:pt x="442" y="702"/>
                  </a:lnTo>
                  <a:lnTo>
                    <a:pt x="441" y="701"/>
                  </a:lnTo>
                  <a:lnTo>
                    <a:pt x="440" y="700"/>
                  </a:lnTo>
                  <a:lnTo>
                    <a:pt x="441" y="700"/>
                  </a:lnTo>
                  <a:lnTo>
                    <a:pt x="442" y="701"/>
                  </a:lnTo>
                  <a:lnTo>
                    <a:pt x="445" y="700"/>
                  </a:lnTo>
                  <a:lnTo>
                    <a:pt x="446" y="696"/>
                  </a:lnTo>
                  <a:lnTo>
                    <a:pt x="447" y="695"/>
                  </a:lnTo>
                  <a:lnTo>
                    <a:pt x="450" y="694"/>
                  </a:lnTo>
                  <a:lnTo>
                    <a:pt x="452" y="694"/>
                  </a:lnTo>
                  <a:lnTo>
                    <a:pt x="453" y="692"/>
                  </a:lnTo>
                  <a:lnTo>
                    <a:pt x="456" y="691"/>
                  </a:lnTo>
                  <a:lnTo>
                    <a:pt x="458" y="691"/>
                  </a:lnTo>
                  <a:lnTo>
                    <a:pt x="458" y="694"/>
                  </a:lnTo>
                  <a:lnTo>
                    <a:pt x="457" y="695"/>
                  </a:lnTo>
                  <a:lnTo>
                    <a:pt x="456" y="696"/>
                  </a:lnTo>
                  <a:lnTo>
                    <a:pt x="454" y="698"/>
                  </a:lnTo>
                  <a:lnTo>
                    <a:pt x="453" y="697"/>
                  </a:lnTo>
                  <a:lnTo>
                    <a:pt x="452" y="696"/>
                  </a:lnTo>
                  <a:lnTo>
                    <a:pt x="450" y="696"/>
                  </a:lnTo>
                  <a:lnTo>
                    <a:pt x="448" y="698"/>
                  </a:lnTo>
                  <a:lnTo>
                    <a:pt x="447" y="701"/>
                  </a:lnTo>
                  <a:lnTo>
                    <a:pt x="448" y="703"/>
                  </a:lnTo>
                  <a:lnTo>
                    <a:pt x="450" y="706"/>
                  </a:lnTo>
                  <a:lnTo>
                    <a:pt x="451" y="706"/>
                  </a:lnTo>
                  <a:lnTo>
                    <a:pt x="453" y="704"/>
                  </a:lnTo>
                  <a:lnTo>
                    <a:pt x="454" y="702"/>
                  </a:lnTo>
                  <a:lnTo>
                    <a:pt x="458" y="703"/>
                  </a:lnTo>
                  <a:lnTo>
                    <a:pt x="459" y="702"/>
                  </a:lnTo>
                  <a:lnTo>
                    <a:pt x="459" y="703"/>
                  </a:lnTo>
                  <a:lnTo>
                    <a:pt x="457" y="706"/>
                  </a:lnTo>
                  <a:lnTo>
                    <a:pt x="454" y="707"/>
                  </a:lnTo>
                  <a:lnTo>
                    <a:pt x="453" y="708"/>
                  </a:lnTo>
                  <a:lnTo>
                    <a:pt x="452" y="708"/>
                  </a:lnTo>
                  <a:lnTo>
                    <a:pt x="453" y="710"/>
                  </a:lnTo>
                  <a:lnTo>
                    <a:pt x="453" y="713"/>
                  </a:lnTo>
                  <a:lnTo>
                    <a:pt x="453" y="714"/>
                  </a:lnTo>
                  <a:lnTo>
                    <a:pt x="451" y="713"/>
                  </a:lnTo>
                  <a:lnTo>
                    <a:pt x="450" y="713"/>
                  </a:lnTo>
                  <a:lnTo>
                    <a:pt x="447" y="713"/>
                  </a:lnTo>
                  <a:lnTo>
                    <a:pt x="447" y="709"/>
                  </a:lnTo>
                  <a:lnTo>
                    <a:pt x="447" y="707"/>
                  </a:lnTo>
                  <a:lnTo>
                    <a:pt x="444" y="708"/>
                  </a:lnTo>
                  <a:lnTo>
                    <a:pt x="446" y="710"/>
                  </a:lnTo>
                  <a:lnTo>
                    <a:pt x="445" y="714"/>
                  </a:lnTo>
                  <a:lnTo>
                    <a:pt x="445" y="713"/>
                  </a:lnTo>
                  <a:lnTo>
                    <a:pt x="444" y="714"/>
                  </a:lnTo>
                  <a:lnTo>
                    <a:pt x="442" y="715"/>
                  </a:lnTo>
                  <a:lnTo>
                    <a:pt x="441" y="718"/>
                  </a:lnTo>
                  <a:lnTo>
                    <a:pt x="442" y="719"/>
                  </a:lnTo>
                  <a:lnTo>
                    <a:pt x="444" y="721"/>
                  </a:lnTo>
                  <a:lnTo>
                    <a:pt x="444" y="724"/>
                  </a:lnTo>
                  <a:lnTo>
                    <a:pt x="445" y="724"/>
                  </a:lnTo>
                  <a:lnTo>
                    <a:pt x="447" y="720"/>
                  </a:lnTo>
                  <a:lnTo>
                    <a:pt x="450" y="719"/>
                  </a:lnTo>
                  <a:lnTo>
                    <a:pt x="453" y="718"/>
                  </a:lnTo>
                  <a:lnTo>
                    <a:pt x="456" y="716"/>
                  </a:lnTo>
                  <a:lnTo>
                    <a:pt x="456" y="719"/>
                  </a:lnTo>
                  <a:lnTo>
                    <a:pt x="459" y="719"/>
                  </a:lnTo>
                  <a:lnTo>
                    <a:pt x="459" y="718"/>
                  </a:lnTo>
                  <a:lnTo>
                    <a:pt x="458" y="715"/>
                  </a:lnTo>
                  <a:lnTo>
                    <a:pt x="457" y="714"/>
                  </a:lnTo>
                  <a:lnTo>
                    <a:pt x="457" y="713"/>
                  </a:lnTo>
                  <a:lnTo>
                    <a:pt x="459" y="712"/>
                  </a:lnTo>
                  <a:lnTo>
                    <a:pt x="460" y="714"/>
                  </a:lnTo>
                  <a:lnTo>
                    <a:pt x="460" y="718"/>
                  </a:lnTo>
                  <a:lnTo>
                    <a:pt x="463" y="719"/>
                  </a:lnTo>
                  <a:lnTo>
                    <a:pt x="464" y="718"/>
                  </a:lnTo>
                  <a:lnTo>
                    <a:pt x="464" y="715"/>
                  </a:lnTo>
                  <a:lnTo>
                    <a:pt x="462" y="712"/>
                  </a:lnTo>
                  <a:lnTo>
                    <a:pt x="464" y="712"/>
                  </a:lnTo>
                  <a:lnTo>
                    <a:pt x="466" y="712"/>
                  </a:lnTo>
                  <a:lnTo>
                    <a:pt x="470" y="712"/>
                  </a:lnTo>
                  <a:lnTo>
                    <a:pt x="471" y="712"/>
                  </a:lnTo>
                  <a:lnTo>
                    <a:pt x="474" y="712"/>
                  </a:lnTo>
                  <a:lnTo>
                    <a:pt x="475" y="713"/>
                  </a:lnTo>
                  <a:lnTo>
                    <a:pt x="474" y="716"/>
                  </a:lnTo>
                  <a:lnTo>
                    <a:pt x="471" y="719"/>
                  </a:lnTo>
                  <a:lnTo>
                    <a:pt x="470" y="720"/>
                  </a:lnTo>
                  <a:lnTo>
                    <a:pt x="468" y="720"/>
                  </a:lnTo>
                  <a:lnTo>
                    <a:pt x="466" y="721"/>
                  </a:lnTo>
                  <a:lnTo>
                    <a:pt x="469" y="724"/>
                  </a:lnTo>
                  <a:lnTo>
                    <a:pt x="471" y="722"/>
                  </a:lnTo>
                  <a:lnTo>
                    <a:pt x="474" y="721"/>
                  </a:lnTo>
                  <a:lnTo>
                    <a:pt x="476" y="722"/>
                  </a:lnTo>
                  <a:lnTo>
                    <a:pt x="476" y="725"/>
                  </a:lnTo>
                  <a:lnTo>
                    <a:pt x="475" y="727"/>
                  </a:lnTo>
                  <a:lnTo>
                    <a:pt x="474" y="728"/>
                  </a:lnTo>
                  <a:lnTo>
                    <a:pt x="471" y="728"/>
                  </a:lnTo>
                  <a:lnTo>
                    <a:pt x="469" y="727"/>
                  </a:lnTo>
                  <a:lnTo>
                    <a:pt x="469" y="730"/>
                  </a:lnTo>
                  <a:lnTo>
                    <a:pt x="472" y="733"/>
                  </a:lnTo>
                  <a:lnTo>
                    <a:pt x="474" y="733"/>
                  </a:lnTo>
                  <a:lnTo>
                    <a:pt x="476" y="734"/>
                  </a:lnTo>
                  <a:lnTo>
                    <a:pt x="477" y="734"/>
                  </a:lnTo>
                  <a:lnTo>
                    <a:pt x="480" y="736"/>
                  </a:lnTo>
                  <a:lnTo>
                    <a:pt x="480" y="733"/>
                  </a:lnTo>
                  <a:lnTo>
                    <a:pt x="481" y="731"/>
                  </a:lnTo>
                  <a:lnTo>
                    <a:pt x="481" y="730"/>
                  </a:lnTo>
                  <a:lnTo>
                    <a:pt x="482" y="724"/>
                  </a:lnTo>
                  <a:lnTo>
                    <a:pt x="482" y="722"/>
                  </a:lnTo>
                  <a:lnTo>
                    <a:pt x="484" y="724"/>
                  </a:lnTo>
                  <a:lnTo>
                    <a:pt x="486" y="721"/>
                  </a:lnTo>
                  <a:lnTo>
                    <a:pt x="488" y="720"/>
                  </a:lnTo>
                  <a:lnTo>
                    <a:pt x="490" y="720"/>
                  </a:lnTo>
                  <a:lnTo>
                    <a:pt x="492" y="719"/>
                  </a:lnTo>
                  <a:lnTo>
                    <a:pt x="495" y="718"/>
                  </a:lnTo>
                  <a:lnTo>
                    <a:pt x="498" y="715"/>
                  </a:lnTo>
                  <a:lnTo>
                    <a:pt x="499" y="714"/>
                  </a:lnTo>
                  <a:lnTo>
                    <a:pt x="500" y="718"/>
                  </a:lnTo>
                  <a:lnTo>
                    <a:pt x="500" y="722"/>
                  </a:lnTo>
                  <a:lnTo>
                    <a:pt x="503" y="726"/>
                  </a:lnTo>
                  <a:lnTo>
                    <a:pt x="507" y="726"/>
                  </a:lnTo>
                  <a:lnTo>
                    <a:pt x="510" y="724"/>
                  </a:lnTo>
                  <a:lnTo>
                    <a:pt x="512" y="721"/>
                  </a:lnTo>
                  <a:lnTo>
                    <a:pt x="512" y="719"/>
                  </a:lnTo>
                  <a:lnTo>
                    <a:pt x="512" y="716"/>
                  </a:lnTo>
                  <a:lnTo>
                    <a:pt x="513" y="715"/>
                  </a:lnTo>
                  <a:lnTo>
                    <a:pt x="513" y="714"/>
                  </a:lnTo>
                  <a:lnTo>
                    <a:pt x="516" y="715"/>
                  </a:lnTo>
                  <a:lnTo>
                    <a:pt x="515" y="718"/>
                  </a:lnTo>
                  <a:lnTo>
                    <a:pt x="515" y="724"/>
                  </a:lnTo>
                  <a:lnTo>
                    <a:pt x="518" y="722"/>
                  </a:lnTo>
                  <a:lnTo>
                    <a:pt x="519" y="721"/>
                  </a:lnTo>
                  <a:lnTo>
                    <a:pt x="519" y="724"/>
                  </a:lnTo>
                  <a:lnTo>
                    <a:pt x="519" y="732"/>
                  </a:lnTo>
                  <a:lnTo>
                    <a:pt x="522" y="734"/>
                  </a:lnTo>
                  <a:lnTo>
                    <a:pt x="525" y="736"/>
                  </a:lnTo>
                  <a:lnTo>
                    <a:pt x="527" y="736"/>
                  </a:lnTo>
                  <a:lnTo>
                    <a:pt x="528" y="733"/>
                  </a:lnTo>
                  <a:lnTo>
                    <a:pt x="529" y="731"/>
                  </a:lnTo>
                  <a:lnTo>
                    <a:pt x="528" y="731"/>
                  </a:lnTo>
                  <a:lnTo>
                    <a:pt x="525" y="730"/>
                  </a:lnTo>
                  <a:lnTo>
                    <a:pt x="523" y="730"/>
                  </a:lnTo>
                  <a:lnTo>
                    <a:pt x="522" y="728"/>
                  </a:lnTo>
                  <a:lnTo>
                    <a:pt x="522" y="726"/>
                  </a:lnTo>
                  <a:lnTo>
                    <a:pt x="522" y="724"/>
                  </a:lnTo>
                  <a:lnTo>
                    <a:pt x="523" y="724"/>
                  </a:lnTo>
                  <a:lnTo>
                    <a:pt x="527" y="726"/>
                  </a:lnTo>
                  <a:lnTo>
                    <a:pt x="529" y="727"/>
                  </a:lnTo>
                  <a:lnTo>
                    <a:pt x="531" y="727"/>
                  </a:lnTo>
                  <a:lnTo>
                    <a:pt x="534" y="728"/>
                  </a:lnTo>
                  <a:lnTo>
                    <a:pt x="535" y="728"/>
                  </a:lnTo>
                  <a:lnTo>
                    <a:pt x="537" y="726"/>
                  </a:lnTo>
                  <a:lnTo>
                    <a:pt x="535" y="724"/>
                  </a:lnTo>
                  <a:lnTo>
                    <a:pt x="536" y="724"/>
                  </a:lnTo>
                  <a:lnTo>
                    <a:pt x="537" y="724"/>
                  </a:lnTo>
                  <a:lnTo>
                    <a:pt x="540" y="725"/>
                  </a:lnTo>
                  <a:lnTo>
                    <a:pt x="541" y="724"/>
                  </a:lnTo>
                  <a:lnTo>
                    <a:pt x="537" y="720"/>
                  </a:lnTo>
                  <a:lnTo>
                    <a:pt x="537" y="719"/>
                  </a:lnTo>
                  <a:lnTo>
                    <a:pt x="540" y="719"/>
                  </a:lnTo>
                  <a:lnTo>
                    <a:pt x="545" y="720"/>
                  </a:lnTo>
                  <a:lnTo>
                    <a:pt x="547" y="720"/>
                  </a:lnTo>
                  <a:lnTo>
                    <a:pt x="548" y="719"/>
                  </a:lnTo>
                  <a:lnTo>
                    <a:pt x="548" y="718"/>
                  </a:lnTo>
                  <a:lnTo>
                    <a:pt x="551" y="715"/>
                  </a:lnTo>
                  <a:lnTo>
                    <a:pt x="551" y="713"/>
                  </a:lnTo>
                  <a:lnTo>
                    <a:pt x="553" y="713"/>
                  </a:lnTo>
                  <a:lnTo>
                    <a:pt x="554" y="713"/>
                  </a:lnTo>
                  <a:lnTo>
                    <a:pt x="557" y="710"/>
                  </a:lnTo>
                  <a:lnTo>
                    <a:pt x="557" y="708"/>
                  </a:lnTo>
                  <a:lnTo>
                    <a:pt x="558" y="706"/>
                  </a:lnTo>
                  <a:lnTo>
                    <a:pt x="563" y="707"/>
                  </a:lnTo>
                  <a:lnTo>
                    <a:pt x="565" y="706"/>
                  </a:lnTo>
                  <a:lnTo>
                    <a:pt x="566" y="703"/>
                  </a:lnTo>
                  <a:lnTo>
                    <a:pt x="566" y="707"/>
                  </a:lnTo>
                  <a:lnTo>
                    <a:pt x="566" y="710"/>
                  </a:lnTo>
                  <a:lnTo>
                    <a:pt x="568" y="713"/>
                  </a:lnTo>
                  <a:lnTo>
                    <a:pt x="570" y="716"/>
                  </a:lnTo>
                  <a:lnTo>
                    <a:pt x="572" y="715"/>
                  </a:lnTo>
                  <a:lnTo>
                    <a:pt x="576" y="713"/>
                  </a:lnTo>
                  <a:lnTo>
                    <a:pt x="574" y="716"/>
                  </a:lnTo>
                  <a:lnTo>
                    <a:pt x="572" y="719"/>
                  </a:lnTo>
                  <a:lnTo>
                    <a:pt x="574" y="721"/>
                  </a:lnTo>
                  <a:lnTo>
                    <a:pt x="576" y="721"/>
                  </a:lnTo>
                  <a:lnTo>
                    <a:pt x="578" y="721"/>
                  </a:lnTo>
                  <a:lnTo>
                    <a:pt x="580" y="720"/>
                  </a:lnTo>
                  <a:lnTo>
                    <a:pt x="583" y="719"/>
                  </a:lnTo>
                  <a:lnTo>
                    <a:pt x="583" y="718"/>
                  </a:lnTo>
                  <a:lnTo>
                    <a:pt x="586" y="715"/>
                  </a:lnTo>
                  <a:lnTo>
                    <a:pt x="590" y="713"/>
                  </a:lnTo>
                  <a:lnTo>
                    <a:pt x="593" y="710"/>
                  </a:lnTo>
                  <a:lnTo>
                    <a:pt x="595" y="709"/>
                  </a:lnTo>
                  <a:lnTo>
                    <a:pt x="595" y="708"/>
                  </a:lnTo>
                  <a:lnTo>
                    <a:pt x="593" y="707"/>
                  </a:lnTo>
                  <a:lnTo>
                    <a:pt x="595" y="706"/>
                  </a:lnTo>
                  <a:lnTo>
                    <a:pt x="598" y="706"/>
                  </a:lnTo>
                  <a:lnTo>
                    <a:pt x="601" y="704"/>
                  </a:lnTo>
                  <a:lnTo>
                    <a:pt x="601" y="703"/>
                  </a:lnTo>
                  <a:lnTo>
                    <a:pt x="601" y="701"/>
                  </a:lnTo>
                  <a:lnTo>
                    <a:pt x="600" y="700"/>
                  </a:lnTo>
                  <a:lnTo>
                    <a:pt x="601" y="697"/>
                  </a:lnTo>
                  <a:lnTo>
                    <a:pt x="601" y="695"/>
                  </a:lnTo>
                  <a:lnTo>
                    <a:pt x="600" y="694"/>
                  </a:lnTo>
                  <a:lnTo>
                    <a:pt x="601" y="692"/>
                  </a:lnTo>
                  <a:lnTo>
                    <a:pt x="604" y="691"/>
                  </a:lnTo>
                  <a:lnTo>
                    <a:pt x="605" y="689"/>
                  </a:lnTo>
                  <a:lnTo>
                    <a:pt x="606" y="686"/>
                  </a:lnTo>
                  <a:lnTo>
                    <a:pt x="604" y="685"/>
                  </a:lnTo>
                  <a:lnTo>
                    <a:pt x="602" y="683"/>
                  </a:lnTo>
                  <a:lnTo>
                    <a:pt x="601" y="683"/>
                  </a:lnTo>
                  <a:lnTo>
                    <a:pt x="600" y="684"/>
                  </a:lnTo>
                  <a:lnTo>
                    <a:pt x="598" y="686"/>
                  </a:lnTo>
                  <a:lnTo>
                    <a:pt x="595" y="688"/>
                  </a:lnTo>
                  <a:lnTo>
                    <a:pt x="596" y="685"/>
                  </a:lnTo>
                  <a:lnTo>
                    <a:pt x="596" y="683"/>
                  </a:lnTo>
                  <a:lnTo>
                    <a:pt x="594" y="683"/>
                  </a:lnTo>
                  <a:lnTo>
                    <a:pt x="593" y="682"/>
                  </a:lnTo>
                  <a:lnTo>
                    <a:pt x="592" y="680"/>
                  </a:lnTo>
                  <a:lnTo>
                    <a:pt x="590" y="682"/>
                  </a:lnTo>
                  <a:lnTo>
                    <a:pt x="590" y="685"/>
                  </a:lnTo>
                  <a:lnTo>
                    <a:pt x="588" y="685"/>
                  </a:lnTo>
                  <a:lnTo>
                    <a:pt x="587" y="690"/>
                  </a:lnTo>
                  <a:lnTo>
                    <a:pt x="587" y="689"/>
                  </a:lnTo>
                  <a:lnTo>
                    <a:pt x="586" y="685"/>
                  </a:lnTo>
                  <a:lnTo>
                    <a:pt x="583" y="688"/>
                  </a:lnTo>
                  <a:lnTo>
                    <a:pt x="582" y="690"/>
                  </a:lnTo>
                  <a:lnTo>
                    <a:pt x="581" y="691"/>
                  </a:lnTo>
                  <a:lnTo>
                    <a:pt x="580" y="691"/>
                  </a:lnTo>
                  <a:lnTo>
                    <a:pt x="581" y="688"/>
                  </a:lnTo>
                  <a:lnTo>
                    <a:pt x="581" y="685"/>
                  </a:lnTo>
                  <a:lnTo>
                    <a:pt x="578" y="686"/>
                  </a:lnTo>
                  <a:lnTo>
                    <a:pt x="578" y="684"/>
                  </a:lnTo>
                  <a:lnTo>
                    <a:pt x="576" y="684"/>
                  </a:lnTo>
                  <a:lnTo>
                    <a:pt x="575" y="686"/>
                  </a:lnTo>
                  <a:lnTo>
                    <a:pt x="574" y="688"/>
                  </a:lnTo>
                  <a:lnTo>
                    <a:pt x="571" y="688"/>
                  </a:lnTo>
                  <a:lnTo>
                    <a:pt x="569" y="689"/>
                  </a:lnTo>
                  <a:lnTo>
                    <a:pt x="568" y="688"/>
                  </a:lnTo>
                  <a:lnTo>
                    <a:pt x="570" y="685"/>
                  </a:lnTo>
                  <a:lnTo>
                    <a:pt x="572" y="684"/>
                  </a:lnTo>
                  <a:lnTo>
                    <a:pt x="572" y="683"/>
                  </a:lnTo>
                  <a:lnTo>
                    <a:pt x="571" y="679"/>
                  </a:lnTo>
                  <a:lnTo>
                    <a:pt x="569" y="677"/>
                  </a:lnTo>
                  <a:lnTo>
                    <a:pt x="568" y="677"/>
                  </a:lnTo>
                  <a:lnTo>
                    <a:pt x="566" y="678"/>
                  </a:lnTo>
                  <a:lnTo>
                    <a:pt x="566" y="677"/>
                  </a:lnTo>
                  <a:lnTo>
                    <a:pt x="566" y="674"/>
                  </a:lnTo>
                  <a:lnTo>
                    <a:pt x="565" y="673"/>
                  </a:lnTo>
                  <a:lnTo>
                    <a:pt x="564" y="672"/>
                  </a:lnTo>
                  <a:lnTo>
                    <a:pt x="564" y="671"/>
                  </a:lnTo>
                  <a:lnTo>
                    <a:pt x="563" y="668"/>
                  </a:lnTo>
                  <a:lnTo>
                    <a:pt x="562" y="667"/>
                  </a:lnTo>
                  <a:lnTo>
                    <a:pt x="558" y="667"/>
                  </a:lnTo>
                  <a:lnTo>
                    <a:pt x="556" y="667"/>
                  </a:lnTo>
                  <a:lnTo>
                    <a:pt x="549" y="667"/>
                  </a:lnTo>
                  <a:lnTo>
                    <a:pt x="551" y="666"/>
                  </a:lnTo>
                  <a:lnTo>
                    <a:pt x="548" y="662"/>
                  </a:lnTo>
                  <a:lnTo>
                    <a:pt x="548" y="661"/>
                  </a:lnTo>
                  <a:lnTo>
                    <a:pt x="548" y="660"/>
                  </a:lnTo>
                  <a:lnTo>
                    <a:pt x="546" y="659"/>
                  </a:lnTo>
                  <a:lnTo>
                    <a:pt x="543" y="658"/>
                  </a:lnTo>
                  <a:lnTo>
                    <a:pt x="543" y="656"/>
                  </a:lnTo>
                  <a:lnTo>
                    <a:pt x="543" y="653"/>
                  </a:lnTo>
                  <a:lnTo>
                    <a:pt x="545" y="653"/>
                  </a:lnTo>
                  <a:lnTo>
                    <a:pt x="546" y="654"/>
                  </a:lnTo>
                  <a:lnTo>
                    <a:pt x="547" y="655"/>
                  </a:lnTo>
                  <a:lnTo>
                    <a:pt x="548" y="656"/>
                  </a:lnTo>
                  <a:lnTo>
                    <a:pt x="551" y="660"/>
                  </a:lnTo>
                  <a:lnTo>
                    <a:pt x="551" y="662"/>
                  </a:lnTo>
                  <a:lnTo>
                    <a:pt x="553" y="665"/>
                  </a:lnTo>
                  <a:lnTo>
                    <a:pt x="556" y="665"/>
                  </a:lnTo>
                  <a:lnTo>
                    <a:pt x="557" y="664"/>
                  </a:lnTo>
                  <a:lnTo>
                    <a:pt x="557" y="661"/>
                  </a:lnTo>
                  <a:lnTo>
                    <a:pt x="556" y="659"/>
                  </a:lnTo>
                  <a:lnTo>
                    <a:pt x="553" y="656"/>
                  </a:lnTo>
                  <a:lnTo>
                    <a:pt x="552" y="655"/>
                  </a:lnTo>
                  <a:lnTo>
                    <a:pt x="548" y="653"/>
                  </a:lnTo>
                  <a:lnTo>
                    <a:pt x="547" y="650"/>
                  </a:lnTo>
                  <a:lnTo>
                    <a:pt x="546" y="649"/>
                  </a:lnTo>
                  <a:lnTo>
                    <a:pt x="545" y="649"/>
                  </a:lnTo>
                  <a:lnTo>
                    <a:pt x="543" y="648"/>
                  </a:lnTo>
                  <a:lnTo>
                    <a:pt x="543" y="647"/>
                  </a:lnTo>
                  <a:lnTo>
                    <a:pt x="545" y="646"/>
                  </a:lnTo>
                  <a:lnTo>
                    <a:pt x="546" y="644"/>
                  </a:lnTo>
                  <a:lnTo>
                    <a:pt x="547" y="646"/>
                  </a:lnTo>
                  <a:lnTo>
                    <a:pt x="549" y="647"/>
                  </a:lnTo>
                  <a:lnTo>
                    <a:pt x="552" y="649"/>
                  </a:lnTo>
                  <a:lnTo>
                    <a:pt x="556" y="652"/>
                  </a:lnTo>
                  <a:lnTo>
                    <a:pt x="558" y="653"/>
                  </a:lnTo>
                  <a:lnTo>
                    <a:pt x="559" y="654"/>
                  </a:lnTo>
                  <a:lnTo>
                    <a:pt x="558" y="656"/>
                  </a:lnTo>
                  <a:lnTo>
                    <a:pt x="557" y="658"/>
                  </a:lnTo>
                  <a:lnTo>
                    <a:pt x="558" y="659"/>
                  </a:lnTo>
                  <a:lnTo>
                    <a:pt x="559" y="658"/>
                  </a:lnTo>
                  <a:lnTo>
                    <a:pt x="562" y="656"/>
                  </a:lnTo>
                  <a:lnTo>
                    <a:pt x="562" y="655"/>
                  </a:lnTo>
                  <a:lnTo>
                    <a:pt x="564" y="655"/>
                  </a:lnTo>
                  <a:lnTo>
                    <a:pt x="564" y="656"/>
                  </a:lnTo>
                  <a:lnTo>
                    <a:pt x="564" y="658"/>
                  </a:lnTo>
                  <a:lnTo>
                    <a:pt x="568" y="655"/>
                  </a:lnTo>
                  <a:lnTo>
                    <a:pt x="569" y="654"/>
                  </a:lnTo>
                  <a:lnTo>
                    <a:pt x="571" y="654"/>
                  </a:lnTo>
                  <a:lnTo>
                    <a:pt x="572" y="656"/>
                  </a:lnTo>
                  <a:lnTo>
                    <a:pt x="575" y="658"/>
                  </a:lnTo>
                  <a:lnTo>
                    <a:pt x="578" y="659"/>
                  </a:lnTo>
                  <a:lnTo>
                    <a:pt x="580" y="658"/>
                  </a:lnTo>
                  <a:lnTo>
                    <a:pt x="581" y="655"/>
                  </a:lnTo>
                  <a:lnTo>
                    <a:pt x="580" y="654"/>
                  </a:lnTo>
                  <a:lnTo>
                    <a:pt x="578" y="653"/>
                  </a:lnTo>
                  <a:lnTo>
                    <a:pt x="580" y="650"/>
                  </a:lnTo>
                  <a:lnTo>
                    <a:pt x="581" y="650"/>
                  </a:lnTo>
                  <a:lnTo>
                    <a:pt x="578" y="650"/>
                  </a:lnTo>
                  <a:lnTo>
                    <a:pt x="575" y="650"/>
                  </a:lnTo>
                  <a:lnTo>
                    <a:pt x="576" y="647"/>
                  </a:lnTo>
                  <a:lnTo>
                    <a:pt x="576" y="644"/>
                  </a:lnTo>
                  <a:lnTo>
                    <a:pt x="578" y="646"/>
                  </a:lnTo>
                  <a:lnTo>
                    <a:pt x="581" y="647"/>
                  </a:lnTo>
                  <a:lnTo>
                    <a:pt x="581" y="646"/>
                  </a:lnTo>
                  <a:lnTo>
                    <a:pt x="582" y="643"/>
                  </a:lnTo>
                  <a:lnTo>
                    <a:pt x="582" y="642"/>
                  </a:lnTo>
                  <a:lnTo>
                    <a:pt x="581" y="640"/>
                  </a:lnTo>
                  <a:lnTo>
                    <a:pt x="581" y="638"/>
                  </a:lnTo>
                  <a:lnTo>
                    <a:pt x="582" y="638"/>
                  </a:lnTo>
                  <a:lnTo>
                    <a:pt x="582" y="637"/>
                  </a:lnTo>
                  <a:lnTo>
                    <a:pt x="582" y="635"/>
                  </a:lnTo>
                  <a:lnTo>
                    <a:pt x="580" y="635"/>
                  </a:lnTo>
                  <a:lnTo>
                    <a:pt x="578" y="636"/>
                  </a:lnTo>
                  <a:lnTo>
                    <a:pt x="576" y="635"/>
                  </a:lnTo>
                  <a:lnTo>
                    <a:pt x="576" y="637"/>
                  </a:lnTo>
                  <a:lnTo>
                    <a:pt x="575" y="638"/>
                  </a:lnTo>
                  <a:lnTo>
                    <a:pt x="572" y="638"/>
                  </a:lnTo>
                  <a:lnTo>
                    <a:pt x="571" y="638"/>
                  </a:lnTo>
                  <a:lnTo>
                    <a:pt x="570" y="641"/>
                  </a:lnTo>
                  <a:lnTo>
                    <a:pt x="569" y="640"/>
                  </a:lnTo>
                  <a:lnTo>
                    <a:pt x="568" y="641"/>
                  </a:lnTo>
                  <a:lnTo>
                    <a:pt x="565" y="641"/>
                  </a:lnTo>
                  <a:lnTo>
                    <a:pt x="563" y="641"/>
                  </a:lnTo>
                  <a:lnTo>
                    <a:pt x="562" y="640"/>
                  </a:lnTo>
                  <a:lnTo>
                    <a:pt x="563" y="638"/>
                  </a:lnTo>
                  <a:lnTo>
                    <a:pt x="565" y="636"/>
                  </a:lnTo>
                  <a:lnTo>
                    <a:pt x="569" y="636"/>
                  </a:lnTo>
                  <a:lnTo>
                    <a:pt x="571" y="636"/>
                  </a:lnTo>
                  <a:lnTo>
                    <a:pt x="572" y="635"/>
                  </a:lnTo>
                  <a:lnTo>
                    <a:pt x="571" y="633"/>
                  </a:lnTo>
                  <a:lnTo>
                    <a:pt x="572" y="632"/>
                  </a:lnTo>
                  <a:lnTo>
                    <a:pt x="574" y="632"/>
                  </a:lnTo>
                  <a:lnTo>
                    <a:pt x="576" y="631"/>
                  </a:lnTo>
                  <a:lnTo>
                    <a:pt x="578" y="630"/>
                  </a:lnTo>
                  <a:lnTo>
                    <a:pt x="581" y="629"/>
                  </a:lnTo>
                  <a:lnTo>
                    <a:pt x="583" y="629"/>
                  </a:lnTo>
                  <a:lnTo>
                    <a:pt x="588" y="629"/>
                  </a:lnTo>
                  <a:lnTo>
                    <a:pt x="589" y="626"/>
                  </a:lnTo>
                  <a:lnTo>
                    <a:pt x="589" y="624"/>
                  </a:lnTo>
                  <a:lnTo>
                    <a:pt x="588" y="623"/>
                  </a:lnTo>
                  <a:lnTo>
                    <a:pt x="587" y="620"/>
                  </a:lnTo>
                  <a:lnTo>
                    <a:pt x="586" y="618"/>
                  </a:lnTo>
                  <a:lnTo>
                    <a:pt x="583" y="619"/>
                  </a:lnTo>
                  <a:lnTo>
                    <a:pt x="581" y="619"/>
                  </a:lnTo>
                  <a:lnTo>
                    <a:pt x="578" y="619"/>
                  </a:lnTo>
                  <a:lnTo>
                    <a:pt x="577" y="621"/>
                  </a:lnTo>
                  <a:lnTo>
                    <a:pt x="576" y="624"/>
                  </a:lnTo>
                  <a:lnTo>
                    <a:pt x="576" y="625"/>
                  </a:lnTo>
                  <a:lnTo>
                    <a:pt x="574" y="627"/>
                  </a:lnTo>
                  <a:lnTo>
                    <a:pt x="571" y="630"/>
                  </a:lnTo>
                  <a:lnTo>
                    <a:pt x="570" y="631"/>
                  </a:lnTo>
                  <a:lnTo>
                    <a:pt x="568" y="632"/>
                  </a:lnTo>
                  <a:lnTo>
                    <a:pt x="564" y="633"/>
                  </a:lnTo>
                  <a:lnTo>
                    <a:pt x="558" y="637"/>
                  </a:lnTo>
                  <a:lnTo>
                    <a:pt x="556" y="637"/>
                  </a:lnTo>
                  <a:lnTo>
                    <a:pt x="552" y="638"/>
                  </a:lnTo>
                  <a:lnTo>
                    <a:pt x="551" y="637"/>
                  </a:lnTo>
                  <a:lnTo>
                    <a:pt x="549" y="637"/>
                  </a:lnTo>
                  <a:lnTo>
                    <a:pt x="552" y="635"/>
                  </a:lnTo>
                  <a:lnTo>
                    <a:pt x="553" y="633"/>
                  </a:lnTo>
                  <a:lnTo>
                    <a:pt x="556" y="632"/>
                  </a:lnTo>
                  <a:lnTo>
                    <a:pt x="556" y="630"/>
                  </a:lnTo>
                  <a:lnTo>
                    <a:pt x="554" y="629"/>
                  </a:lnTo>
                  <a:lnTo>
                    <a:pt x="553" y="629"/>
                  </a:lnTo>
                  <a:lnTo>
                    <a:pt x="551" y="627"/>
                  </a:lnTo>
                  <a:lnTo>
                    <a:pt x="549" y="630"/>
                  </a:lnTo>
                  <a:lnTo>
                    <a:pt x="546" y="631"/>
                  </a:lnTo>
                  <a:lnTo>
                    <a:pt x="542" y="633"/>
                  </a:lnTo>
                  <a:lnTo>
                    <a:pt x="543" y="631"/>
                  </a:lnTo>
                  <a:lnTo>
                    <a:pt x="546" y="629"/>
                  </a:lnTo>
                  <a:lnTo>
                    <a:pt x="547" y="626"/>
                  </a:lnTo>
                  <a:lnTo>
                    <a:pt x="546" y="625"/>
                  </a:lnTo>
                  <a:lnTo>
                    <a:pt x="543" y="626"/>
                  </a:lnTo>
                  <a:lnTo>
                    <a:pt x="542" y="627"/>
                  </a:lnTo>
                  <a:lnTo>
                    <a:pt x="542" y="630"/>
                  </a:lnTo>
                  <a:lnTo>
                    <a:pt x="541" y="632"/>
                  </a:lnTo>
                  <a:lnTo>
                    <a:pt x="540" y="632"/>
                  </a:lnTo>
                  <a:lnTo>
                    <a:pt x="540" y="629"/>
                  </a:lnTo>
                  <a:lnTo>
                    <a:pt x="537" y="629"/>
                  </a:lnTo>
                  <a:lnTo>
                    <a:pt x="536" y="630"/>
                  </a:lnTo>
                  <a:lnTo>
                    <a:pt x="534" y="630"/>
                  </a:lnTo>
                  <a:lnTo>
                    <a:pt x="534" y="631"/>
                  </a:lnTo>
                  <a:lnTo>
                    <a:pt x="533" y="635"/>
                  </a:lnTo>
                  <a:lnTo>
                    <a:pt x="533" y="636"/>
                  </a:lnTo>
                  <a:lnTo>
                    <a:pt x="530" y="637"/>
                  </a:lnTo>
                  <a:lnTo>
                    <a:pt x="530" y="635"/>
                  </a:lnTo>
                  <a:lnTo>
                    <a:pt x="528" y="633"/>
                  </a:lnTo>
                  <a:lnTo>
                    <a:pt x="528" y="635"/>
                  </a:lnTo>
                  <a:lnTo>
                    <a:pt x="527" y="633"/>
                  </a:lnTo>
                  <a:lnTo>
                    <a:pt x="524" y="632"/>
                  </a:lnTo>
                  <a:lnTo>
                    <a:pt x="523" y="631"/>
                  </a:lnTo>
                  <a:lnTo>
                    <a:pt x="525" y="629"/>
                  </a:lnTo>
                  <a:lnTo>
                    <a:pt x="527" y="627"/>
                  </a:lnTo>
                  <a:lnTo>
                    <a:pt x="530" y="625"/>
                  </a:lnTo>
                  <a:lnTo>
                    <a:pt x="529" y="623"/>
                  </a:lnTo>
                  <a:lnTo>
                    <a:pt x="528" y="621"/>
                  </a:lnTo>
                  <a:lnTo>
                    <a:pt x="525" y="621"/>
                  </a:lnTo>
                  <a:lnTo>
                    <a:pt x="522" y="621"/>
                  </a:lnTo>
                  <a:lnTo>
                    <a:pt x="522" y="624"/>
                  </a:lnTo>
                  <a:lnTo>
                    <a:pt x="522" y="626"/>
                  </a:lnTo>
                  <a:lnTo>
                    <a:pt x="521" y="624"/>
                  </a:lnTo>
                  <a:lnTo>
                    <a:pt x="518" y="624"/>
                  </a:lnTo>
                  <a:lnTo>
                    <a:pt x="517" y="624"/>
                  </a:lnTo>
                  <a:lnTo>
                    <a:pt x="516" y="624"/>
                  </a:lnTo>
                  <a:lnTo>
                    <a:pt x="513" y="624"/>
                  </a:lnTo>
                  <a:lnTo>
                    <a:pt x="513" y="621"/>
                  </a:lnTo>
                  <a:lnTo>
                    <a:pt x="512" y="623"/>
                  </a:lnTo>
                  <a:lnTo>
                    <a:pt x="509" y="626"/>
                  </a:lnTo>
                  <a:lnTo>
                    <a:pt x="509" y="627"/>
                  </a:lnTo>
                  <a:lnTo>
                    <a:pt x="506" y="625"/>
                  </a:lnTo>
                  <a:lnTo>
                    <a:pt x="504" y="625"/>
                  </a:lnTo>
                  <a:lnTo>
                    <a:pt x="504" y="623"/>
                  </a:lnTo>
                  <a:lnTo>
                    <a:pt x="505" y="623"/>
                  </a:lnTo>
                  <a:lnTo>
                    <a:pt x="507" y="623"/>
                  </a:lnTo>
                  <a:lnTo>
                    <a:pt x="510" y="621"/>
                  </a:lnTo>
                  <a:lnTo>
                    <a:pt x="511" y="619"/>
                  </a:lnTo>
                  <a:lnTo>
                    <a:pt x="513" y="617"/>
                  </a:lnTo>
                  <a:lnTo>
                    <a:pt x="512" y="615"/>
                  </a:lnTo>
                  <a:lnTo>
                    <a:pt x="511" y="614"/>
                  </a:lnTo>
                  <a:lnTo>
                    <a:pt x="511" y="613"/>
                  </a:lnTo>
                  <a:lnTo>
                    <a:pt x="513" y="612"/>
                  </a:lnTo>
                  <a:lnTo>
                    <a:pt x="516" y="611"/>
                  </a:lnTo>
                  <a:lnTo>
                    <a:pt x="516" y="609"/>
                  </a:lnTo>
                  <a:lnTo>
                    <a:pt x="516" y="608"/>
                  </a:lnTo>
                  <a:lnTo>
                    <a:pt x="515" y="608"/>
                  </a:lnTo>
                  <a:lnTo>
                    <a:pt x="511" y="608"/>
                  </a:lnTo>
                  <a:lnTo>
                    <a:pt x="509" y="607"/>
                  </a:lnTo>
                  <a:lnTo>
                    <a:pt x="509" y="606"/>
                  </a:lnTo>
                  <a:lnTo>
                    <a:pt x="511" y="606"/>
                  </a:lnTo>
                  <a:lnTo>
                    <a:pt x="513" y="606"/>
                  </a:lnTo>
                  <a:lnTo>
                    <a:pt x="516" y="606"/>
                  </a:lnTo>
                  <a:lnTo>
                    <a:pt x="517" y="607"/>
                  </a:lnTo>
                  <a:lnTo>
                    <a:pt x="518" y="605"/>
                  </a:lnTo>
                  <a:lnTo>
                    <a:pt x="519" y="605"/>
                  </a:lnTo>
                  <a:lnTo>
                    <a:pt x="524" y="607"/>
                  </a:lnTo>
                  <a:lnTo>
                    <a:pt x="525" y="608"/>
                  </a:lnTo>
                  <a:lnTo>
                    <a:pt x="528" y="612"/>
                  </a:lnTo>
                  <a:lnTo>
                    <a:pt x="528" y="615"/>
                  </a:lnTo>
                  <a:lnTo>
                    <a:pt x="529" y="618"/>
                  </a:lnTo>
                  <a:lnTo>
                    <a:pt x="533" y="618"/>
                  </a:lnTo>
                  <a:lnTo>
                    <a:pt x="534" y="617"/>
                  </a:lnTo>
                  <a:lnTo>
                    <a:pt x="535" y="617"/>
                  </a:lnTo>
                  <a:lnTo>
                    <a:pt x="537" y="615"/>
                  </a:lnTo>
                  <a:lnTo>
                    <a:pt x="539" y="617"/>
                  </a:lnTo>
                  <a:lnTo>
                    <a:pt x="541" y="617"/>
                  </a:lnTo>
                  <a:lnTo>
                    <a:pt x="542" y="617"/>
                  </a:lnTo>
                  <a:lnTo>
                    <a:pt x="547" y="617"/>
                  </a:lnTo>
                  <a:lnTo>
                    <a:pt x="549" y="615"/>
                  </a:lnTo>
                  <a:lnTo>
                    <a:pt x="551" y="613"/>
                  </a:lnTo>
                  <a:lnTo>
                    <a:pt x="551" y="612"/>
                  </a:lnTo>
                  <a:lnTo>
                    <a:pt x="549" y="611"/>
                  </a:lnTo>
                  <a:lnTo>
                    <a:pt x="546" y="613"/>
                  </a:lnTo>
                  <a:lnTo>
                    <a:pt x="543" y="612"/>
                  </a:lnTo>
                  <a:lnTo>
                    <a:pt x="541" y="612"/>
                  </a:lnTo>
                  <a:lnTo>
                    <a:pt x="540" y="612"/>
                  </a:lnTo>
                  <a:lnTo>
                    <a:pt x="539" y="611"/>
                  </a:lnTo>
                  <a:lnTo>
                    <a:pt x="535" y="611"/>
                  </a:lnTo>
                  <a:lnTo>
                    <a:pt x="535" y="608"/>
                  </a:lnTo>
                  <a:lnTo>
                    <a:pt x="533" y="608"/>
                  </a:lnTo>
                  <a:lnTo>
                    <a:pt x="531" y="607"/>
                  </a:lnTo>
                  <a:lnTo>
                    <a:pt x="528" y="606"/>
                  </a:lnTo>
                  <a:lnTo>
                    <a:pt x="524" y="603"/>
                  </a:lnTo>
                  <a:lnTo>
                    <a:pt x="528" y="603"/>
                  </a:lnTo>
                  <a:lnTo>
                    <a:pt x="531" y="603"/>
                  </a:lnTo>
                  <a:lnTo>
                    <a:pt x="531" y="601"/>
                  </a:lnTo>
                  <a:lnTo>
                    <a:pt x="528" y="600"/>
                  </a:lnTo>
                  <a:lnTo>
                    <a:pt x="527" y="597"/>
                  </a:lnTo>
                  <a:lnTo>
                    <a:pt x="527" y="596"/>
                  </a:lnTo>
                  <a:lnTo>
                    <a:pt x="525" y="595"/>
                  </a:lnTo>
                  <a:lnTo>
                    <a:pt x="523" y="595"/>
                  </a:lnTo>
                  <a:lnTo>
                    <a:pt x="521" y="595"/>
                  </a:lnTo>
                  <a:lnTo>
                    <a:pt x="517" y="594"/>
                  </a:lnTo>
                  <a:lnTo>
                    <a:pt x="516" y="591"/>
                  </a:lnTo>
                  <a:lnTo>
                    <a:pt x="515" y="589"/>
                  </a:lnTo>
                  <a:lnTo>
                    <a:pt x="513" y="585"/>
                  </a:lnTo>
                  <a:lnTo>
                    <a:pt x="515" y="588"/>
                  </a:lnTo>
                  <a:lnTo>
                    <a:pt x="518" y="591"/>
                  </a:lnTo>
                  <a:lnTo>
                    <a:pt x="521" y="594"/>
                  </a:lnTo>
                  <a:lnTo>
                    <a:pt x="522" y="591"/>
                  </a:lnTo>
                  <a:lnTo>
                    <a:pt x="521" y="590"/>
                  </a:lnTo>
                  <a:lnTo>
                    <a:pt x="521" y="589"/>
                  </a:lnTo>
                  <a:lnTo>
                    <a:pt x="524" y="590"/>
                  </a:lnTo>
                  <a:lnTo>
                    <a:pt x="525" y="591"/>
                  </a:lnTo>
                  <a:lnTo>
                    <a:pt x="528" y="594"/>
                  </a:lnTo>
                  <a:lnTo>
                    <a:pt x="531" y="595"/>
                  </a:lnTo>
                  <a:lnTo>
                    <a:pt x="533" y="597"/>
                  </a:lnTo>
                  <a:lnTo>
                    <a:pt x="535" y="600"/>
                  </a:lnTo>
                  <a:lnTo>
                    <a:pt x="537" y="602"/>
                  </a:lnTo>
                  <a:lnTo>
                    <a:pt x="537" y="603"/>
                  </a:lnTo>
                  <a:lnTo>
                    <a:pt x="535" y="603"/>
                  </a:lnTo>
                  <a:lnTo>
                    <a:pt x="534" y="602"/>
                  </a:lnTo>
                  <a:lnTo>
                    <a:pt x="534" y="605"/>
                  </a:lnTo>
                  <a:lnTo>
                    <a:pt x="535" y="606"/>
                  </a:lnTo>
                  <a:lnTo>
                    <a:pt x="537" y="608"/>
                  </a:lnTo>
                  <a:lnTo>
                    <a:pt x="541" y="608"/>
                  </a:lnTo>
                  <a:lnTo>
                    <a:pt x="543" y="609"/>
                  </a:lnTo>
                  <a:lnTo>
                    <a:pt x="547" y="608"/>
                  </a:lnTo>
                  <a:lnTo>
                    <a:pt x="549" y="608"/>
                  </a:lnTo>
                  <a:lnTo>
                    <a:pt x="552" y="607"/>
                  </a:lnTo>
                  <a:lnTo>
                    <a:pt x="549" y="606"/>
                  </a:lnTo>
                  <a:lnTo>
                    <a:pt x="547" y="605"/>
                  </a:lnTo>
                  <a:lnTo>
                    <a:pt x="547" y="603"/>
                  </a:lnTo>
                  <a:lnTo>
                    <a:pt x="549" y="603"/>
                  </a:lnTo>
                  <a:lnTo>
                    <a:pt x="553" y="605"/>
                  </a:lnTo>
                  <a:lnTo>
                    <a:pt x="559" y="605"/>
                  </a:lnTo>
                  <a:lnTo>
                    <a:pt x="560" y="603"/>
                  </a:lnTo>
                  <a:lnTo>
                    <a:pt x="562" y="600"/>
                  </a:lnTo>
                  <a:lnTo>
                    <a:pt x="562" y="599"/>
                  </a:lnTo>
                  <a:lnTo>
                    <a:pt x="559" y="599"/>
                  </a:lnTo>
                  <a:lnTo>
                    <a:pt x="557" y="599"/>
                  </a:lnTo>
                  <a:lnTo>
                    <a:pt x="553" y="597"/>
                  </a:lnTo>
                  <a:lnTo>
                    <a:pt x="551" y="597"/>
                  </a:lnTo>
                  <a:lnTo>
                    <a:pt x="547" y="595"/>
                  </a:lnTo>
                  <a:lnTo>
                    <a:pt x="545" y="595"/>
                  </a:lnTo>
                  <a:lnTo>
                    <a:pt x="540" y="593"/>
                  </a:lnTo>
                  <a:lnTo>
                    <a:pt x="537" y="593"/>
                  </a:lnTo>
                  <a:lnTo>
                    <a:pt x="534" y="590"/>
                  </a:lnTo>
                  <a:lnTo>
                    <a:pt x="531" y="590"/>
                  </a:lnTo>
                  <a:lnTo>
                    <a:pt x="530" y="588"/>
                  </a:lnTo>
                  <a:lnTo>
                    <a:pt x="527" y="585"/>
                  </a:lnTo>
                  <a:lnTo>
                    <a:pt x="525" y="584"/>
                  </a:lnTo>
                  <a:lnTo>
                    <a:pt x="524" y="582"/>
                  </a:lnTo>
                  <a:lnTo>
                    <a:pt x="523" y="579"/>
                  </a:lnTo>
                  <a:lnTo>
                    <a:pt x="523" y="578"/>
                  </a:lnTo>
                  <a:lnTo>
                    <a:pt x="521" y="577"/>
                  </a:lnTo>
                  <a:lnTo>
                    <a:pt x="519" y="576"/>
                  </a:lnTo>
                  <a:lnTo>
                    <a:pt x="518" y="576"/>
                  </a:lnTo>
                  <a:lnTo>
                    <a:pt x="515" y="576"/>
                  </a:lnTo>
                  <a:lnTo>
                    <a:pt x="513" y="576"/>
                  </a:lnTo>
                  <a:lnTo>
                    <a:pt x="513" y="573"/>
                  </a:lnTo>
                  <a:lnTo>
                    <a:pt x="513" y="572"/>
                  </a:lnTo>
                  <a:lnTo>
                    <a:pt x="513" y="570"/>
                  </a:lnTo>
                  <a:lnTo>
                    <a:pt x="515" y="570"/>
                  </a:lnTo>
                  <a:lnTo>
                    <a:pt x="518" y="572"/>
                  </a:lnTo>
                  <a:lnTo>
                    <a:pt x="521" y="572"/>
                  </a:lnTo>
                  <a:lnTo>
                    <a:pt x="522" y="572"/>
                  </a:lnTo>
                  <a:lnTo>
                    <a:pt x="524" y="572"/>
                  </a:lnTo>
                  <a:lnTo>
                    <a:pt x="525" y="577"/>
                  </a:lnTo>
                  <a:lnTo>
                    <a:pt x="525" y="579"/>
                  </a:lnTo>
                  <a:lnTo>
                    <a:pt x="527" y="581"/>
                  </a:lnTo>
                  <a:lnTo>
                    <a:pt x="528" y="581"/>
                  </a:lnTo>
                  <a:lnTo>
                    <a:pt x="529" y="583"/>
                  </a:lnTo>
                  <a:lnTo>
                    <a:pt x="530" y="585"/>
                  </a:lnTo>
                  <a:lnTo>
                    <a:pt x="533" y="585"/>
                  </a:lnTo>
                  <a:lnTo>
                    <a:pt x="534" y="587"/>
                  </a:lnTo>
                  <a:lnTo>
                    <a:pt x="535" y="589"/>
                  </a:lnTo>
                  <a:lnTo>
                    <a:pt x="539" y="589"/>
                  </a:lnTo>
                  <a:lnTo>
                    <a:pt x="542" y="590"/>
                  </a:lnTo>
                  <a:lnTo>
                    <a:pt x="543" y="591"/>
                  </a:lnTo>
                  <a:lnTo>
                    <a:pt x="546" y="593"/>
                  </a:lnTo>
                  <a:lnTo>
                    <a:pt x="548" y="593"/>
                  </a:lnTo>
                  <a:lnTo>
                    <a:pt x="551" y="591"/>
                  </a:lnTo>
                  <a:lnTo>
                    <a:pt x="553" y="594"/>
                  </a:lnTo>
                  <a:lnTo>
                    <a:pt x="556" y="596"/>
                  </a:lnTo>
                  <a:lnTo>
                    <a:pt x="558" y="596"/>
                  </a:lnTo>
                  <a:lnTo>
                    <a:pt x="563" y="595"/>
                  </a:lnTo>
                  <a:lnTo>
                    <a:pt x="563" y="594"/>
                  </a:lnTo>
                  <a:lnTo>
                    <a:pt x="560" y="593"/>
                  </a:lnTo>
                  <a:lnTo>
                    <a:pt x="558" y="593"/>
                  </a:lnTo>
                  <a:lnTo>
                    <a:pt x="554" y="590"/>
                  </a:lnTo>
                  <a:lnTo>
                    <a:pt x="552" y="590"/>
                  </a:lnTo>
                  <a:lnTo>
                    <a:pt x="556" y="589"/>
                  </a:lnTo>
                  <a:lnTo>
                    <a:pt x="558" y="589"/>
                  </a:lnTo>
                  <a:lnTo>
                    <a:pt x="560" y="589"/>
                  </a:lnTo>
                  <a:lnTo>
                    <a:pt x="563" y="587"/>
                  </a:lnTo>
                  <a:lnTo>
                    <a:pt x="565" y="583"/>
                  </a:lnTo>
                  <a:lnTo>
                    <a:pt x="565" y="582"/>
                  </a:lnTo>
                  <a:lnTo>
                    <a:pt x="565" y="578"/>
                  </a:lnTo>
                  <a:lnTo>
                    <a:pt x="563" y="579"/>
                  </a:lnTo>
                  <a:lnTo>
                    <a:pt x="563" y="577"/>
                  </a:lnTo>
                  <a:lnTo>
                    <a:pt x="562" y="577"/>
                  </a:lnTo>
                  <a:lnTo>
                    <a:pt x="560" y="579"/>
                  </a:lnTo>
                  <a:lnTo>
                    <a:pt x="562" y="579"/>
                  </a:lnTo>
                  <a:lnTo>
                    <a:pt x="560" y="579"/>
                  </a:lnTo>
                  <a:lnTo>
                    <a:pt x="559" y="582"/>
                  </a:lnTo>
                  <a:lnTo>
                    <a:pt x="554" y="582"/>
                  </a:lnTo>
                  <a:lnTo>
                    <a:pt x="554" y="583"/>
                  </a:lnTo>
                  <a:lnTo>
                    <a:pt x="554" y="582"/>
                  </a:lnTo>
                  <a:lnTo>
                    <a:pt x="553" y="579"/>
                  </a:lnTo>
                  <a:lnTo>
                    <a:pt x="552" y="579"/>
                  </a:lnTo>
                  <a:lnTo>
                    <a:pt x="551" y="581"/>
                  </a:lnTo>
                  <a:lnTo>
                    <a:pt x="551" y="584"/>
                  </a:lnTo>
                  <a:lnTo>
                    <a:pt x="551" y="585"/>
                  </a:lnTo>
                  <a:lnTo>
                    <a:pt x="549" y="587"/>
                  </a:lnTo>
                  <a:lnTo>
                    <a:pt x="548" y="584"/>
                  </a:lnTo>
                  <a:lnTo>
                    <a:pt x="547" y="582"/>
                  </a:lnTo>
                  <a:lnTo>
                    <a:pt x="545" y="582"/>
                  </a:lnTo>
                  <a:lnTo>
                    <a:pt x="542" y="579"/>
                  </a:lnTo>
                  <a:lnTo>
                    <a:pt x="542" y="577"/>
                  </a:lnTo>
                  <a:lnTo>
                    <a:pt x="541" y="577"/>
                  </a:lnTo>
                  <a:lnTo>
                    <a:pt x="540" y="575"/>
                  </a:lnTo>
                  <a:lnTo>
                    <a:pt x="540" y="573"/>
                  </a:lnTo>
                  <a:lnTo>
                    <a:pt x="536" y="572"/>
                  </a:lnTo>
                  <a:lnTo>
                    <a:pt x="534" y="571"/>
                  </a:lnTo>
                  <a:lnTo>
                    <a:pt x="534" y="570"/>
                  </a:lnTo>
                  <a:lnTo>
                    <a:pt x="535" y="567"/>
                  </a:lnTo>
                  <a:lnTo>
                    <a:pt x="537" y="567"/>
                  </a:lnTo>
                  <a:lnTo>
                    <a:pt x="540" y="569"/>
                  </a:lnTo>
                  <a:lnTo>
                    <a:pt x="543" y="570"/>
                  </a:lnTo>
                  <a:lnTo>
                    <a:pt x="546" y="571"/>
                  </a:lnTo>
                  <a:lnTo>
                    <a:pt x="549" y="572"/>
                  </a:lnTo>
                  <a:lnTo>
                    <a:pt x="552" y="573"/>
                  </a:lnTo>
                  <a:lnTo>
                    <a:pt x="556" y="573"/>
                  </a:lnTo>
                  <a:lnTo>
                    <a:pt x="557" y="572"/>
                  </a:lnTo>
                  <a:lnTo>
                    <a:pt x="557" y="569"/>
                  </a:lnTo>
                  <a:lnTo>
                    <a:pt x="554" y="569"/>
                  </a:lnTo>
                  <a:lnTo>
                    <a:pt x="552" y="569"/>
                  </a:lnTo>
                  <a:lnTo>
                    <a:pt x="549" y="569"/>
                  </a:lnTo>
                  <a:lnTo>
                    <a:pt x="546" y="567"/>
                  </a:lnTo>
                  <a:lnTo>
                    <a:pt x="546" y="566"/>
                  </a:lnTo>
                  <a:lnTo>
                    <a:pt x="547" y="566"/>
                  </a:lnTo>
                  <a:lnTo>
                    <a:pt x="551" y="567"/>
                  </a:lnTo>
                  <a:lnTo>
                    <a:pt x="552" y="566"/>
                  </a:lnTo>
                  <a:lnTo>
                    <a:pt x="553" y="565"/>
                  </a:lnTo>
                  <a:lnTo>
                    <a:pt x="553" y="564"/>
                  </a:lnTo>
                  <a:lnTo>
                    <a:pt x="554" y="564"/>
                  </a:lnTo>
                  <a:lnTo>
                    <a:pt x="556" y="565"/>
                  </a:lnTo>
                  <a:lnTo>
                    <a:pt x="558" y="567"/>
                  </a:lnTo>
                  <a:lnTo>
                    <a:pt x="560" y="570"/>
                  </a:lnTo>
                  <a:lnTo>
                    <a:pt x="562" y="569"/>
                  </a:lnTo>
                  <a:lnTo>
                    <a:pt x="563" y="566"/>
                  </a:lnTo>
                  <a:lnTo>
                    <a:pt x="563" y="563"/>
                  </a:lnTo>
                  <a:lnTo>
                    <a:pt x="562" y="560"/>
                  </a:lnTo>
                  <a:lnTo>
                    <a:pt x="558" y="560"/>
                  </a:lnTo>
                  <a:lnTo>
                    <a:pt x="557" y="559"/>
                  </a:lnTo>
                  <a:lnTo>
                    <a:pt x="556" y="560"/>
                  </a:lnTo>
                  <a:lnTo>
                    <a:pt x="554" y="560"/>
                  </a:lnTo>
                  <a:lnTo>
                    <a:pt x="552" y="559"/>
                  </a:lnTo>
                  <a:lnTo>
                    <a:pt x="551" y="560"/>
                  </a:lnTo>
                  <a:lnTo>
                    <a:pt x="547" y="560"/>
                  </a:lnTo>
                  <a:lnTo>
                    <a:pt x="547" y="559"/>
                  </a:lnTo>
                  <a:lnTo>
                    <a:pt x="549" y="558"/>
                  </a:lnTo>
                  <a:lnTo>
                    <a:pt x="549" y="555"/>
                  </a:lnTo>
                  <a:lnTo>
                    <a:pt x="548" y="555"/>
                  </a:lnTo>
                  <a:lnTo>
                    <a:pt x="542" y="555"/>
                  </a:lnTo>
                  <a:lnTo>
                    <a:pt x="540" y="557"/>
                  </a:lnTo>
                  <a:lnTo>
                    <a:pt x="539" y="558"/>
                  </a:lnTo>
                  <a:lnTo>
                    <a:pt x="537" y="557"/>
                  </a:lnTo>
                  <a:lnTo>
                    <a:pt x="540" y="553"/>
                  </a:lnTo>
                  <a:lnTo>
                    <a:pt x="542" y="552"/>
                  </a:lnTo>
                  <a:lnTo>
                    <a:pt x="545" y="551"/>
                  </a:lnTo>
                  <a:lnTo>
                    <a:pt x="547" y="549"/>
                  </a:lnTo>
                  <a:lnTo>
                    <a:pt x="547" y="547"/>
                  </a:lnTo>
                  <a:lnTo>
                    <a:pt x="549" y="547"/>
                  </a:lnTo>
                  <a:lnTo>
                    <a:pt x="552" y="546"/>
                  </a:lnTo>
                  <a:lnTo>
                    <a:pt x="554" y="546"/>
                  </a:lnTo>
                  <a:lnTo>
                    <a:pt x="557" y="543"/>
                  </a:lnTo>
                  <a:lnTo>
                    <a:pt x="558" y="542"/>
                  </a:lnTo>
                  <a:lnTo>
                    <a:pt x="559" y="541"/>
                  </a:lnTo>
                  <a:lnTo>
                    <a:pt x="559" y="539"/>
                  </a:lnTo>
                  <a:lnTo>
                    <a:pt x="557" y="536"/>
                  </a:lnTo>
                  <a:lnTo>
                    <a:pt x="556" y="536"/>
                  </a:lnTo>
                  <a:lnTo>
                    <a:pt x="552" y="537"/>
                  </a:lnTo>
                  <a:lnTo>
                    <a:pt x="551" y="539"/>
                  </a:lnTo>
                  <a:lnTo>
                    <a:pt x="549" y="537"/>
                  </a:lnTo>
                  <a:lnTo>
                    <a:pt x="549" y="536"/>
                  </a:lnTo>
                  <a:lnTo>
                    <a:pt x="551" y="535"/>
                  </a:lnTo>
                  <a:lnTo>
                    <a:pt x="548" y="534"/>
                  </a:lnTo>
                  <a:lnTo>
                    <a:pt x="547" y="534"/>
                  </a:lnTo>
                  <a:lnTo>
                    <a:pt x="546" y="537"/>
                  </a:lnTo>
                  <a:lnTo>
                    <a:pt x="545" y="540"/>
                  </a:lnTo>
                  <a:lnTo>
                    <a:pt x="545" y="537"/>
                  </a:lnTo>
                  <a:lnTo>
                    <a:pt x="545" y="535"/>
                  </a:lnTo>
                  <a:lnTo>
                    <a:pt x="543" y="534"/>
                  </a:lnTo>
                  <a:lnTo>
                    <a:pt x="542" y="536"/>
                  </a:lnTo>
                  <a:lnTo>
                    <a:pt x="541" y="537"/>
                  </a:lnTo>
                  <a:lnTo>
                    <a:pt x="537" y="540"/>
                  </a:lnTo>
                  <a:lnTo>
                    <a:pt x="535" y="540"/>
                  </a:lnTo>
                  <a:lnTo>
                    <a:pt x="535" y="539"/>
                  </a:lnTo>
                  <a:lnTo>
                    <a:pt x="537" y="537"/>
                  </a:lnTo>
                  <a:lnTo>
                    <a:pt x="539" y="536"/>
                  </a:lnTo>
                  <a:lnTo>
                    <a:pt x="540" y="534"/>
                  </a:lnTo>
                  <a:lnTo>
                    <a:pt x="537" y="533"/>
                  </a:lnTo>
                  <a:lnTo>
                    <a:pt x="536" y="533"/>
                  </a:lnTo>
                  <a:lnTo>
                    <a:pt x="535" y="530"/>
                  </a:lnTo>
                  <a:lnTo>
                    <a:pt x="534" y="528"/>
                  </a:lnTo>
                  <a:lnTo>
                    <a:pt x="535" y="525"/>
                  </a:lnTo>
                  <a:lnTo>
                    <a:pt x="537" y="529"/>
                  </a:lnTo>
                  <a:lnTo>
                    <a:pt x="540" y="529"/>
                  </a:lnTo>
                  <a:lnTo>
                    <a:pt x="541" y="529"/>
                  </a:lnTo>
                  <a:lnTo>
                    <a:pt x="543" y="528"/>
                  </a:lnTo>
                  <a:lnTo>
                    <a:pt x="545" y="526"/>
                  </a:lnTo>
                  <a:lnTo>
                    <a:pt x="545" y="523"/>
                  </a:lnTo>
                  <a:lnTo>
                    <a:pt x="542" y="522"/>
                  </a:lnTo>
                  <a:lnTo>
                    <a:pt x="539" y="519"/>
                  </a:lnTo>
                  <a:lnTo>
                    <a:pt x="537" y="518"/>
                  </a:lnTo>
                  <a:lnTo>
                    <a:pt x="536" y="520"/>
                  </a:lnTo>
                  <a:lnTo>
                    <a:pt x="535" y="522"/>
                  </a:lnTo>
                  <a:lnTo>
                    <a:pt x="531" y="520"/>
                  </a:lnTo>
                  <a:lnTo>
                    <a:pt x="529" y="520"/>
                  </a:lnTo>
                  <a:lnTo>
                    <a:pt x="529" y="522"/>
                  </a:lnTo>
                  <a:lnTo>
                    <a:pt x="527" y="522"/>
                  </a:lnTo>
                  <a:lnTo>
                    <a:pt x="525" y="523"/>
                  </a:lnTo>
                  <a:lnTo>
                    <a:pt x="524" y="523"/>
                  </a:lnTo>
                  <a:lnTo>
                    <a:pt x="527" y="526"/>
                  </a:lnTo>
                  <a:lnTo>
                    <a:pt x="529" y="528"/>
                  </a:lnTo>
                  <a:lnTo>
                    <a:pt x="529" y="530"/>
                  </a:lnTo>
                  <a:lnTo>
                    <a:pt x="528" y="531"/>
                  </a:lnTo>
                  <a:lnTo>
                    <a:pt x="527" y="529"/>
                  </a:lnTo>
                  <a:lnTo>
                    <a:pt x="524" y="529"/>
                  </a:lnTo>
                  <a:lnTo>
                    <a:pt x="523" y="526"/>
                  </a:lnTo>
                  <a:lnTo>
                    <a:pt x="522" y="526"/>
                  </a:lnTo>
                  <a:lnTo>
                    <a:pt x="521" y="524"/>
                  </a:lnTo>
                  <a:lnTo>
                    <a:pt x="523" y="522"/>
                  </a:lnTo>
                  <a:lnTo>
                    <a:pt x="524" y="519"/>
                  </a:lnTo>
                  <a:lnTo>
                    <a:pt x="524" y="518"/>
                  </a:lnTo>
                  <a:lnTo>
                    <a:pt x="522" y="516"/>
                  </a:lnTo>
                  <a:lnTo>
                    <a:pt x="521" y="514"/>
                  </a:lnTo>
                  <a:lnTo>
                    <a:pt x="518" y="516"/>
                  </a:lnTo>
                  <a:lnTo>
                    <a:pt x="516" y="517"/>
                  </a:lnTo>
                  <a:lnTo>
                    <a:pt x="513" y="518"/>
                  </a:lnTo>
                  <a:lnTo>
                    <a:pt x="513" y="520"/>
                  </a:lnTo>
                  <a:lnTo>
                    <a:pt x="513" y="523"/>
                  </a:lnTo>
                  <a:lnTo>
                    <a:pt x="511" y="522"/>
                  </a:lnTo>
                  <a:lnTo>
                    <a:pt x="510" y="520"/>
                  </a:lnTo>
                  <a:lnTo>
                    <a:pt x="511" y="517"/>
                  </a:lnTo>
                  <a:lnTo>
                    <a:pt x="512" y="516"/>
                  </a:lnTo>
                  <a:lnTo>
                    <a:pt x="515" y="514"/>
                  </a:lnTo>
                  <a:lnTo>
                    <a:pt x="519" y="513"/>
                  </a:lnTo>
                  <a:lnTo>
                    <a:pt x="521" y="511"/>
                  </a:lnTo>
                  <a:lnTo>
                    <a:pt x="519" y="510"/>
                  </a:lnTo>
                  <a:lnTo>
                    <a:pt x="518" y="510"/>
                  </a:lnTo>
                  <a:lnTo>
                    <a:pt x="518" y="508"/>
                  </a:lnTo>
                  <a:lnTo>
                    <a:pt x="519" y="507"/>
                  </a:lnTo>
                  <a:lnTo>
                    <a:pt x="523" y="507"/>
                  </a:lnTo>
                  <a:lnTo>
                    <a:pt x="525" y="506"/>
                  </a:lnTo>
                  <a:lnTo>
                    <a:pt x="527" y="504"/>
                  </a:lnTo>
                  <a:lnTo>
                    <a:pt x="528" y="501"/>
                  </a:lnTo>
                  <a:lnTo>
                    <a:pt x="529" y="499"/>
                  </a:lnTo>
                  <a:lnTo>
                    <a:pt x="531" y="498"/>
                  </a:lnTo>
                  <a:lnTo>
                    <a:pt x="533" y="496"/>
                  </a:lnTo>
                  <a:lnTo>
                    <a:pt x="533" y="495"/>
                  </a:lnTo>
                  <a:lnTo>
                    <a:pt x="531" y="494"/>
                  </a:lnTo>
                  <a:lnTo>
                    <a:pt x="530" y="493"/>
                  </a:lnTo>
                  <a:lnTo>
                    <a:pt x="529" y="492"/>
                  </a:lnTo>
                  <a:lnTo>
                    <a:pt x="528" y="494"/>
                  </a:lnTo>
                  <a:lnTo>
                    <a:pt x="527" y="495"/>
                  </a:lnTo>
                  <a:lnTo>
                    <a:pt x="525" y="494"/>
                  </a:lnTo>
                  <a:lnTo>
                    <a:pt x="523" y="493"/>
                  </a:lnTo>
                  <a:lnTo>
                    <a:pt x="522" y="494"/>
                  </a:lnTo>
                  <a:lnTo>
                    <a:pt x="522" y="495"/>
                  </a:lnTo>
                  <a:lnTo>
                    <a:pt x="521" y="496"/>
                  </a:lnTo>
                  <a:lnTo>
                    <a:pt x="519" y="496"/>
                  </a:lnTo>
                  <a:lnTo>
                    <a:pt x="517" y="498"/>
                  </a:lnTo>
                  <a:lnTo>
                    <a:pt x="516" y="496"/>
                  </a:lnTo>
                  <a:lnTo>
                    <a:pt x="516" y="495"/>
                  </a:lnTo>
                  <a:lnTo>
                    <a:pt x="518" y="493"/>
                  </a:lnTo>
                  <a:lnTo>
                    <a:pt x="521" y="492"/>
                  </a:lnTo>
                  <a:lnTo>
                    <a:pt x="522" y="489"/>
                  </a:lnTo>
                  <a:lnTo>
                    <a:pt x="521" y="487"/>
                  </a:lnTo>
                  <a:lnTo>
                    <a:pt x="518" y="487"/>
                  </a:lnTo>
                  <a:lnTo>
                    <a:pt x="517" y="489"/>
                  </a:lnTo>
                  <a:lnTo>
                    <a:pt x="516" y="487"/>
                  </a:lnTo>
                  <a:lnTo>
                    <a:pt x="515" y="483"/>
                  </a:lnTo>
                  <a:lnTo>
                    <a:pt x="513" y="483"/>
                  </a:lnTo>
                  <a:lnTo>
                    <a:pt x="512" y="486"/>
                  </a:lnTo>
                  <a:lnTo>
                    <a:pt x="511" y="487"/>
                  </a:lnTo>
                  <a:lnTo>
                    <a:pt x="509" y="486"/>
                  </a:lnTo>
                  <a:lnTo>
                    <a:pt x="505" y="483"/>
                  </a:lnTo>
                  <a:lnTo>
                    <a:pt x="504" y="483"/>
                  </a:lnTo>
                  <a:lnTo>
                    <a:pt x="503" y="483"/>
                  </a:lnTo>
                  <a:lnTo>
                    <a:pt x="501" y="481"/>
                  </a:lnTo>
                  <a:lnTo>
                    <a:pt x="499" y="481"/>
                  </a:lnTo>
                  <a:lnTo>
                    <a:pt x="498" y="481"/>
                  </a:lnTo>
                  <a:lnTo>
                    <a:pt x="498" y="478"/>
                  </a:lnTo>
                  <a:lnTo>
                    <a:pt x="498" y="477"/>
                  </a:lnTo>
                  <a:lnTo>
                    <a:pt x="495" y="476"/>
                  </a:lnTo>
                  <a:lnTo>
                    <a:pt x="498" y="476"/>
                  </a:lnTo>
                  <a:lnTo>
                    <a:pt x="499" y="478"/>
                  </a:lnTo>
                  <a:lnTo>
                    <a:pt x="500" y="480"/>
                  </a:lnTo>
                  <a:lnTo>
                    <a:pt x="503" y="480"/>
                  </a:lnTo>
                  <a:lnTo>
                    <a:pt x="504" y="480"/>
                  </a:lnTo>
                  <a:lnTo>
                    <a:pt x="505" y="480"/>
                  </a:lnTo>
                  <a:lnTo>
                    <a:pt x="506" y="481"/>
                  </a:lnTo>
                  <a:lnTo>
                    <a:pt x="510" y="481"/>
                  </a:lnTo>
                  <a:lnTo>
                    <a:pt x="511" y="477"/>
                  </a:lnTo>
                  <a:lnTo>
                    <a:pt x="512" y="478"/>
                  </a:lnTo>
                  <a:lnTo>
                    <a:pt x="515" y="480"/>
                  </a:lnTo>
                  <a:lnTo>
                    <a:pt x="516" y="478"/>
                  </a:lnTo>
                  <a:lnTo>
                    <a:pt x="518" y="476"/>
                  </a:lnTo>
                  <a:lnTo>
                    <a:pt x="521" y="476"/>
                  </a:lnTo>
                  <a:lnTo>
                    <a:pt x="523" y="475"/>
                  </a:lnTo>
                  <a:lnTo>
                    <a:pt x="525" y="475"/>
                  </a:lnTo>
                  <a:lnTo>
                    <a:pt x="528" y="474"/>
                  </a:lnTo>
                  <a:lnTo>
                    <a:pt x="529" y="471"/>
                  </a:lnTo>
                  <a:lnTo>
                    <a:pt x="527" y="469"/>
                  </a:lnTo>
                  <a:lnTo>
                    <a:pt x="525" y="468"/>
                  </a:lnTo>
                  <a:lnTo>
                    <a:pt x="525" y="466"/>
                  </a:lnTo>
                  <a:lnTo>
                    <a:pt x="523" y="469"/>
                  </a:lnTo>
                  <a:lnTo>
                    <a:pt x="521" y="466"/>
                  </a:lnTo>
                  <a:lnTo>
                    <a:pt x="519" y="469"/>
                  </a:lnTo>
                  <a:lnTo>
                    <a:pt x="518" y="469"/>
                  </a:lnTo>
                  <a:lnTo>
                    <a:pt x="516" y="468"/>
                  </a:lnTo>
                  <a:lnTo>
                    <a:pt x="515" y="469"/>
                  </a:lnTo>
                  <a:lnTo>
                    <a:pt x="513" y="468"/>
                  </a:lnTo>
                  <a:lnTo>
                    <a:pt x="510" y="469"/>
                  </a:lnTo>
                  <a:lnTo>
                    <a:pt x="507" y="469"/>
                  </a:lnTo>
                  <a:lnTo>
                    <a:pt x="507" y="465"/>
                  </a:lnTo>
                  <a:lnTo>
                    <a:pt x="504" y="465"/>
                  </a:lnTo>
                  <a:lnTo>
                    <a:pt x="500" y="464"/>
                  </a:lnTo>
                  <a:lnTo>
                    <a:pt x="499" y="462"/>
                  </a:lnTo>
                  <a:lnTo>
                    <a:pt x="498" y="462"/>
                  </a:lnTo>
                  <a:lnTo>
                    <a:pt x="495" y="463"/>
                  </a:lnTo>
                  <a:lnTo>
                    <a:pt x="494" y="460"/>
                  </a:lnTo>
                  <a:lnTo>
                    <a:pt x="493" y="460"/>
                  </a:lnTo>
                  <a:lnTo>
                    <a:pt x="489" y="460"/>
                  </a:lnTo>
                  <a:lnTo>
                    <a:pt x="487" y="459"/>
                  </a:lnTo>
                  <a:lnTo>
                    <a:pt x="486" y="457"/>
                  </a:lnTo>
                  <a:lnTo>
                    <a:pt x="482" y="454"/>
                  </a:lnTo>
                  <a:lnTo>
                    <a:pt x="481" y="456"/>
                  </a:lnTo>
                  <a:lnTo>
                    <a:pt x="477" y="456"/>
                  </a:lnTo>
                  <a:lnTo>
                    <a:pt x="472" y="457"/>
                  </a:lnTo>
                  <a:lnTo>
                    <a:pt x="471" y="456"/>
                  </a:lnTo>
                  <a:lnTo>
                    <a:pt x="475" y="454"/>
                  </a:lnTo>
                  <a:lnTo>
                    <a:pt x="477" y="454"/>
                  </a:lnTo>
                  <a:lnTo>
                    <a:pt x="480" y="453"/>
                  </a:lnTo>
                  <a:lnTo>
                    <a:pt x="483" y="453"/>
                  </a:lnTo>
                  <a:lnTo>
                    <a:pt x="484" y="453"/>
                  </a:lnTo>
                  <a:lnTo>
                    <a:pt x="486" y="453"/>
                  </a:lnTo>
                  <a:lnTo>
                    <a:pt x="484" y="451"/>
                  </a:lnTo>
                  <a:lnTo>
                    <a:pt x="482" y="450"/>
                  </a:lnTo>
                  <a:lnTo>
                    <a:pt x="482" y="448"/>
                  </a:lnTo>
                  <a:lnTo>
                    <a:pt x="480" y="446"/>
                  </a:lnTo>
                  <a:lnTo>
                    <a:pt x="477" y="447"/>
                  </a:lnTo>
                  <a:lnTo>
                    <a:pt x="477" y="450"/>
                  </a:lnTo>
                  <a:lnTo>
                    <a:pt x="476" y="450"/>
                  </a:lnTo>
                  <a:lnTo>
                    <a:pt x="475" y="448"/>
                  </a:lnTo>
                  <a:lnTo>
                    <a:pt x="474" y="446"/>
                  </a:lnTo>
                  <a:lnTo>
                    <a:pt x="474" y="445"/>
                  </a:lnTo>
                  <a:lnTo>
                    <a:pt x="475" y="442"/>
                  </a:lnTo>
                  <a:lnTo>
                    <a:pt x="474" y="440"/>
                  </a:lnTo>
                  <a:lnTo>
                    <a:pt x="476" y="440"/>
                  </a:lnTo>
                  <a:lnTo>
                    <a:pt x="478" y="441"/>
                  </a:lnTo>
                  <a:lnTo>
                    <a:pt x="480" y="442"/>
                  </a:lnTo>
                  <a:lnTo>
                    <a:pt x="482" y="444"/>
                  </a:lnTo>
                  <a:lnTo>
                    <a:pt x="482" y="441"/>
                  </a:lnTo>
                  <a:lnTo>
                    <a:pt x="482" y="440"/>
                  </a:lnTo>
                  <a:lnTo>
                    <a:pt x="481" y="439"/>
                  </a:lnTo>
                  <a:lnTo>
                    <a:pt x="478" y="438"/>
                  </a:lnTo>
                  <a:lnTo>
                    <a:pt x="477" y="436"/>
                  </a:lnTo>
                  <a:lnTo>
                    <a:pt x="476" y="435"/>
                  </a:lnTo>
                  <a:lnTo>
                    <a:pt x="474" y="435"/>
                  </a:lnTo>
                  <a:lnTo>
                    <a:pt x="475" y="433"/>
                  </a:lnTo>
                  <a:lnTo>
                    <a:pt x="478" y="432"/>
                  </a:lnTo>
                  <a:lnTo>
                    <a:pt x="481" y="430"/>
                  </a:lnTo>
                  <a:lnTo>
                    <a:pt x="482" y="429"/>
                  </a:lnTo>
                  <a:lnTo>
                    <a:pt x="482" y="428"/>
                  </a:lnTo>
                  <a:lnTo>
                    <a:pt x="478" y="429"/>
                  </a:lnTo>
                  <a:lnTo>
                    <a:pt x="477" y="430"/>
                  </a:lnTo>
                  <a:lnTo>
                    <a:pt x="476" y="430"/>
                  </a:lnTo>
                  <a:lnTo>
                    <a:pt x="475" y="429"/>
                  </a:lnTo>
                  <a:lnTo>
                    <a:pt x="472" y="429"/>
                  </a:lnTo>
                  <a:lnTo>
                    <a:pt x="472" y="430"/>
                  </a:lnTo>
                  <a:lnTo>
                    <a:pt x="470" y="432"/>
                  </a:lnTo>
                  <a:lnTo>
                    <a:pt x="468" y="429"/>
                  </a:lnTo>
                  <a:lnTo>
                    <a:pt x="465" y="426"/>
                  </a:lnTo>
                  <a:lnTo>
                    <a:pt x="465" y="424"/>
                  </a:lnTo>
                  <a:lnTo>
                    <a:pt x="468" y="423"/>
                  </a:lnTo>
                  <a:lnTo>
                    <a:pt x="470" y="422"/>
                  </a:lnTo>
                  <a:lnTo>
                    <a:pt x="471" y="421"/>
                  </a:lnTo>
                  <a:lnTo>
                    <a:pt x="474" y="421"/>
                  </a:lnTo>
                  <a:lnTo>
                    <a:pt x="475" y="419"/>
                  </a:lnTo>
                  <a:lnTo>
                    <a:pt x="476" y="419"/>
                  </a:lnTo>
                  <a:lnTo>
                    <a:pt x="477" y="422"/>
                  </a:lnTo>
                  <a:lnTo>
                    <a:pt x="478" y="423"/>
                  </a:lnTo>
                  <a:lnTo>
                    <a:pt x="483" y="423"/>
                  </a:lnTo>
                  <a:lnTo>
                    <a:pt x="484" y="421"/>
                  </a:lnTo>
                  <a:lnTo>
                    <a:pt x="487" y="422"/>
                  </a:lnTo>
                  <a:lnTo>
                    <a:pt x="489" y="423"/>
                  </a:lnTo>
                  <a:lnTo>
                    <a:pt x="492" y="422"/>
                  </a:lnTo>
                  <a:lnTo>
                    <a:pt x="495" y="422"/>
                  </a:lnTo>
                  <a:lnTo>
                    <a:pt x="493" y="424"/>
                  </a:lnTo>
                  <a:lnTo>
                    <a:pt x="493" y="427"/>
                  </a:lnTo>
                  <a:lnTo>
                    <a:pt x="490" y="428"/>
                  </a:lnTo>
                  <a:lnTo>
                    <a:pt x="492" y="430"/>
                  </a:lnTo>
                  <a:lnTo>
                    <a:pt x="492" y="432"/>
                  </a:lnTo>
                  <a:lnTo>
                    <a:pt x="490" y="432"/>
                  </a:lnTo>
                  <a:lnTo>
                    <a:pt x="488" y="429"/>
                  </a:lnTo>
                  <a:lnTo>
                    <a:pt x="484" y="430"/>
                  </a:lnTo>
                  <a:lnTo>
                    <a:pt x="484" y="433"/>
                  </a:lnTo>
                  <a:lnTo>
                    <a:pt x="483" y="434"/>
                  </a:lnTo>
                  <a:lnTo>
                    <a:pt x="487" y="434"/>
                  </a:lnTo>
                  <a:lnTo>
                    <a:pt x="492" y="433"/>
                  </a:lnTo>
                  <a:lnTo>
                    <a:pt x="494" y="432"/>
                  </a:lnTo>
                  <a:lnTo>
                    <a:pt x="489" y="434"/>
                  </a:lnTo>
                  <a:lnTo>
                    <a:pt x="489" y="435"/>
                  </a:lnTo>
                  <a:lnTo>
                    <a:pt x="489" y="436"/>
                  </a:lnTo>
                  <a:lnTo>
                    <a:pt x="494" y="435"/>
                  </a:lnTo>
                  <a:lnTo>
                    <a:pt x="498" y="435"/>
                  </a:lnTo>
                  <a:lnTo>
                    <a:pt x="494" y="438"/>
                  </a:lnTo>
                  <a:lnTo>
                    <a:pt x="492" y="440"/>
                  </a:lnTo>
                  <a:lnTo>
                    <a:pt x="492" y="442"/>
                  </a:lnTo>
                  <a:lnTo>
                    <a:pt x="495" y="442"/>
                  </a:lnTo>
                  <a:lnTo>
                    <a:pt x="497" y="440"/>
                  </a:lnTo>
                  <a:lnTo>
                    <a:pt x="499" y="440"/>
                  </a:lnTo>
                  <a:lnTo>
                    <a:pt x="500" y="442"/>
                  </a:lnTo>
                  <a:lnTo>
                    <a:pt x="503" y="444"/>
                  </a:lnTo>
                  <a:lnTo>
                    <a:pt x="504" y="446"/>
                  </a:lnTo>
                  <a:lnTo>
                    <a:pt x="506" y="446"/>
                  </a:lnTo>
                  <a:lnTo>
                    <a:pt x="509" y="444"/>
                  </a:lnTo>
                  <a:lnTo>
                    <a:pt x="512" y="446"/>
                  </a:lnTo>
                  <a:lnTo>
                    <a:pt x="515" y="446"/>
                  </a:lnTo>
                  <a:lnTo>
                    <a:pt x="518" y="446"/>
                  </a:lnTo>
                  <a:lnTo>
                    <a:pt x="521" y="444"/>
                  </a:lnTo>
                  <a:lnTo>
                    <a:pt x="522" y="442"/>
                  </a:lnTo>
                  <a:lnTo>
                    <a:pt x="521" y="441"/>
                  </a:lnTo>
                  <a:lnTo>
                    <a:pt x="522" y="442"/>
                  </a:lnTo>
                  <a:lnTo>
                    <a:pt x="525" y="446"/>
                  </a:lnTo>
                  <a:lnTo>
                    <a:pt x="527" y="450"/>
                  </a:lnTo>
                  <a:lnTo>
                    <a:pt x="529" y="452"/>
                  </a:lnTo>
                  <a:lnTo>
                    <a:pt x="533" y="456"/>
                  </a:lnTo>
                  <a:lnTo>
                    <a:pt x="534" y="454"/>
                  </a:lnTo>
                  <a:lnTo>
                    <a:pt x="534" y="450"/>
                  </a:lnTo>
                  <a:lnTo>
                    <a:pt x="531" y="447"/>
                  </a:lnTo>
                  <a:lnTo>
                    <a:pt x="533" y="446"/>
                  </a:lnTo>
                  <a:lnTo>
                    <a:pt x="534" y="445"/>
                  </a:lnTo>
                  <a:lnTo>
                    <a:pt x="536" y="446"/>
                  </a:lnTo>
                  <a:lnTo>
                    <a:pt x="541" y="448"/>
                  </a:lnTo>
                  <a:lnTo>
                    <a:pt x="542" y="448"/>
                  </a:lnTo>
                  <a:lnTo>
                    <a:pt x="545" y="454"/>
                  </a:lnTo>
                  <a:lnTo>
                    <a:pt x="547" y="458"/>
                  </a:lnTo>
                  <a:lnTo>
                    <a:pt x="546" y="464"/>
                  </a:lnTo>
                  <a:lnTo>
                    <a:pt x="549" y="465"/>
                  </a:lnTo>
                  <a:lnTo>
                    <a:pt x="553" y="466"/>
                  </a:lnTo>
                  <a:lnTo>
                    <a:pt x="553" y="468"/>
                  </a:lnTo>
                  <a:lnTo>
                    <a:pt x="557" y="469"/>
                  </a:lnTo>
                  <a:lnTo>
                    <a:pt x="562" y="470"/>
                  </a:lnTo>
                  <a:lnTo>
                    <a:pt x="563" y="470"/>
                  </a:lnTo>
                  <a:lnTo>
                    <a:pt x="565" y="468"/>
                  </a:lnTo>
                  <a:lnTo>
                    <a:pt x="565" y="465"/>
                  </a:lnTo>
                  <a:lnTo>
                    <a:pt x="564" y="465"/>
                  </a:lnTo>
                  <a:lnTo>
                    <a:pt x="562" y="465"/>
                  </a:lnTo>
                  <a:lnTo>
                    <a:pt x="562" y="462"/>
                  </a:lnTo>
                  <a:lnTo>
                    <a:pt x="560" y="460"/>
                  </a:lnTo>
                  <a:lnTo>
                    <a:pt x="557" y="459"/>
                  </a:lnTo>
                  <a:lnTo>
                    <a:pt x="556" y="458"/>
                  </a:lnTo>
                  <a:lnTo>
                    <a:pt x="553" y="456"/>
                  </a:lnTo>
                  <a:lnTo>
                    <a:pt x="556" y="453"/>
                  </a:lnTo>
                  <a:lnTo>
                    <a:pt x="559" y="452"/>
                  </a:lnTo>
                  <a:lnTo>
                    <a:pt x="560" y="450"/>
                  </a:lnTo>
                  <a:lnTo>
                    <a:pt x="558" y="447"/>
                  </a:lnTo>
                  <a:lnTo>
                    <a:pt x="554" y="447"/>
                  </a:lnTo>
                  <a:lnTo>
                    <a:pt x="552" y="446"/>
                  </a:lnTo>
                  <a:lnTo>
                    <a:pt x="551" y="442"/>
                  </a:lnTo>
                  <a:lnTo>
                    <a:pt x="549" y="439"/>
                  </a:lnTo>
                  <a:lnTo>
                    <a:pt x="545" y="436"/>
                  </a:lnTo>
                  <a:lnTo>
                    <a:pt x="545" y="434"/>
                  </a:lnTo>
                  <a:lnTo>
                    <a:pt x="547" y="436"/>
                  </a:lnTo>
                  <a:lnTo>
                    <a:pt x="552" y="441"/>
                  </a:lnTo>
                  <a:lnTo>
                    <a:pt x="556" y="444"/>
                  </a:lnTo>
                  <a:lnTo>
                    <a:pt x="560" y="446"/>
                  </a:lnTo>
                  <a:lnTo>
                    <a:pt x="562" y="446"/>
                  </a:lnTo>
                  <a:lnTo>
                    <a:pt x="564" y="441"/>
                  </a:lnTo>
                  <a:lnTo>
                    <a:pt x="564" y="445"/>
                  </a:lnTo>
                  <a:lnTo>
                    <a:pt x="566" y="448"/>
                  </a:lnTo>
                  <a:lnTo>
                    <a:pt x="569" y="448"/>
                  </a:lnTo>
                  <a:lnTo>
                    <a:pt x="571" y="447"/>
                  </a:lnTo>
                  <a:lnTo>
                    <a:pt x="571" y="445"/>
                  </a:lnTo>
                  <a:lnTo>
                    <a:pt x="572" y="445"/>
                  </a:lnTo>
                  <a:lnTo>
                    <a:pt x="576" y="447"/>
                  </a:lnTo>
                  <a:lnTo>
                    <a:pt x="582" y="447"/>
                  </a:lnTo>
                  <a:lnTo>
                    <a:pt x="586" y="447"/>
                  </a:lnTo>
                  <a:lnTo>
                    <a:pt x="587" y="445"/>
                  </a:lnTo>
                  <a:lnTo>
                    <a:pt x="589" y="445"/>
                  </a:lnTo>
                  <a:lnTo>
                    <a:pt x="589" y="442"/>
                  </a:lnTo>
                  <a:lnTo>
                    <a:pt x="592" y="440"/>
                  </a:lnTo>
                  <a:lnTo>
                    <a:pt x="598" y="441"/>
                  </a:lnTo>
                  <a:lnTo>
                    <a:pt x="598" y="438"/>
                  </a:lnTo>
                  <a:lnTo>
                    <a:pt x="599" y="436"/>
                  </a:lnTo>
                  <a:lnTo>
                    <a:pt x="600" y="436"/>
                  </a:lnTo>
                  <a:lnTo>
                    <a:pt x="602" y="438"/>
                  </a:lnTo>
                  <a:lnTo>
                    <a:pt x="604" y="435"/>
                  </a:lnTo>
                  <a:lnTo>
                    <a:pt x="610" y="435"/>
                  </a:lnTo>
                  <a:lnTo>
                    <a:pt x="612" y="434"/>
                  </a:lnTo>
                  <a:lnTo>
                    <a:pt x="613" y="434"/>
                  </a:lnTo>
                  <a:lnTo>
                    <a:pt x="615" y="432"/>
                  </a:lnTo>
                  <a:lnTo>
                    <a:pt x="615" y="429"/>
                  </a:lnTo>
                  <a:lnTo>
                    <a:pt x="617" y="429"/>
                  </a:lnTo>
                  <a:lnTo>
                    <a:pt x="621" y="432"/>
                  </a:lnTo>
                  <a:lnTo>
                    <a:pt x="623" y="432"/>
                  </a:lnTo>
                  <a:lnTo>
                    <a:pt x="622" y="428"/>
                  </a:lnTo>
                  <a:lnTo>
                    <a:pt x="622" y="426"/>
                  </a:lnTo>
                  <a:lnTo>
                    <a:pt x="622" y="423"/>
                  </a:lnTo>
                  <a:lnTo>
                    <a:pt x="623" y="421"/>
                  </a:lnTo>
                  <a:lnTo>
                    <a:pt x="629" y="423"/>
                  </a:lnTo>
                  <a:lnTo>
                    <a:pt x="633" y="419"/>
                  </a:lnTo>
                  <a:lnTo>
                    <a:pt x="634" y="419"/>
                  </a:lnTo>
                  <a:lnTo>
                    <a:pt x="637" y="419"/>
                  </a:lnTo>
                  <a:lnTo>
                    <a:pt x="640" y="418"/>
                  </a:lnTo>
                  <a:lnTo>
                    <a:pt x="643" y="417"/>
                  </a:lnTo>
                  <a:lnTo>
                    <a:pt x="643" y="415"/>
                  </a:lnTo>
                  <a:lnTo>
                    <a:pt x="642" y="412"/>
                  </a:lnTo>
                  <a:lnTo>
                    <a:pt x="642" y="410"/>
                  </a:lnTo>
                  <a:lnTo>
                    <a:pt x="643" y="407"/>
                  </a:lnTo>
                  <a:lnTo>
                    <a:pt x="642" y="405"/>
                  </a:lnTo>
                  <a:lnTo>
                    <a:pt x="637" y="405"/>
                  </a:lnTo>
                  <a:lnTo>
                    <a:pt x="636" y="406"/>
                  </a:lnTo>
                  <a:lnTo>
                    <a:pt x="630" y="406"/>
                  </a:lnTo>
                  <a:lnTo>
                    <a:pt x="631" y="406"/>
                  </a:lnTo>
                  <a:lnTo>
                    <a:pt x="629" y="406"/>
                  </a:lnTo>
                  <a:lnTo>
                    <a:pt x="623" y="409"/>
                  </a:lnTo>
                  <a:lnTo>
                    <a:pt x="623" y="407"/>
                  </a:lnTo>
                  <a:lnTo>
                    <a:pt x="621" y="410"/>
                  </a:lnTo>
                  <a:lnTo>
                    <a:pt x="618" y="410"/>
                  </a:lnTo>
                  <a:lnTo>
                    <a:pt x="619" y="407"/>
                  </a:lnTo>
                  <a:lnTo>
                    <a:pt x="622" y="404"/>
                  </a:lnTo>
                  <a:lnTo>
                    <a:pt x="623" y="400"/>
                  </a:lnTo>
                  <a:lnTo>
                    <a:pt x="622" y="399"/>
                  </a:lnTo>
                  <a:lnTo>
                    <a:pt x="621" y="398"/>
                  </a:lnTo>
                  <a:lnTo>
                    <a:pt x="619" y="399"/>
                  </a:lnTo>
                  <a:lnTo>
                    <a:pt x="617" y="401"/>
                  </a:lnTo>
                  <a:lnTo>
                    <a:pt x="613" y="399"/>
                  </a:lnTo>
                  <a:lnTo>
                    <a:pt x="615" y="397"/>
                  </a:lnTo>
                  <a:lnTo>
                    <a:pt x="619" y="395"/>
                  </a:lnTo>
                  <a:lnTo>
                    <a:pt x="621" y="394"/>
                  </a:lnTo>
                  <a:lnTo>
                    <a:pt x="624" y="393"/>
                  </a:lnTo>
                  <a:lnTo>
                    <a:pt x="625" y="391"/>
                  </a:lnTo>
                  <a:lnTo>
                    <a:pt x="625" y="388"/>
                  </a:lnTo>
                  <a:lnTo>
                    <a:pt x="628" y="386"/>
                  </a:lnTo>
                  <a:lnTo>
                    <a:pt x="629" y="386"/>
                  </a:lnTo>
                  <a:lnTo>
                    <a:pt x="630" y="389"/>
                  </a:lnTo>
                  <a:lnTo>
                    <a:pt x="634" y="389"/>
                  </a:lnTo>
                  <a:lnTo>
                    <a:pt x="637" y="389"/>
                  </a:lnTo>
                  <a:lnTo>
                    <a:pt x="639" y="387"/>
                  </a:lnTo>
                  <a:lnTo>
                    <a:pt x="640" y="383"/>
                  </a:lnTo>
                  <a:lnTo>
                    <a:pt x="637" y="383"/>
                  </a:lnTo>
                  <a:lnTo>
                    <a:pt x="634" y="383"/>
                  </a:lnTo>
                  <a:lnTo>
                    <a:pt x="633" y="383"/>
                  </a:lnTo>
                  <a:lnTo>
                    <a:pt x="630" y="382"/>
                  </a:lnTo>
                  <a:lnTo>
                    <a:pt x="631" y="380"/>
                  </a:lnTo>
                  <a:lnTo>
                    <a:pt x="634" y="379"/>
                  </a:lnTo>
                  <a:lnTo>
                    <a:pt x="634" y="376"/>
                  </a:lnTo>
                  <a:lnTo>
                    <a:pt x="634" y="373"/>
                  </a:lnTo>
                  <a:lnTo>
                    <a:pt x="636" y="376"/>
                  </a:lnTo>
                  <a:lnTo>
                    <a:pt x="637" y="377"/>
                  </a:lnTo>
                  <a:lnTo>
                    <a:pt x="640" y="379"/>
                  </a:lnTo>
                  <a:lnTo>
                    <a:pt x="643" y="381"/>
                  </a:lnTo>
                  <a:lnTo>
                    <a:pt x="648" y="381"/>
                  </a:lnTo>
                  <a:lnTo>
                    <a:pt x="653" y="381"/>
                  </a:lnTo>
                  <a:lnTo>
                    <a:pt x="654" y="379"/>
                  </a:lnTo>
                  <a:lnTo>
                    <a:pt x="655" y="375"/>
                  </a:lnTo>
                  <a:lnTo>
                    <a:pt x="654" y="373"/>
                  </a:lnTo>
                  <a:lnTo>
                    <a:pt x="649" y="375"/>
                  </a:lnTo>
                  <a:lnTo>
                    <a:pt x="646" y="374"/>
                  </a:lnTo>
                  <a:lnTo>
                    <a:pt x="645" y="374"/>
                  </a:lnTo>
                  <a:lnTo>
                    <a:pt x="643" y="373"/>
                  </a:lnTo>
                  <a:lnTo>
                    <a:pt x="642" y="370"/>
                  </a:lnTo>
                  <a:lnTo>
                    <a:pt x="641" y="370"/>
                  </a:lnTo>
                  <a:lnTo>
                    <a:pt x="640" y="374"/>
                  </a:lnTo>
                  <a:lnTo>
                    <a:pt x="639" y="371"/>
                  </a:lnTo>
                  <a:lnTo>
                    <a:pt x="637" y="370"/>
                  </a:lnTo>
                  <a:lnTo>
                    <a:pt x="636" y="368"/>
                  </a:lnTo>
                  <a:lnTo>
                    <a:pt x="635" y="364"/>
                  </a:lnTo>
                  <a:lnTo>
                    <a:pt x="637" y="362"/>
                  </a:lnTo>
                  <a:lnTo>
                    <a:pt x="640" y="361"/>
                  </a:lnTo>
                  <a:lnTo>
                    <a:pt x="642" y="364"/>
                  </a:lnTo>
                  <a:lnTo>
                    <a:pt x="643" y="367"/>
                  </a:lnTo>
                  <a:lnTo>
                    <a:pt x="646" y="370"/>
                  </a:lnTo>
                  <a:lnTo>
                    <a:pt x="649" y="371"/>
                  </a:lnTo>
                  <a:lnTo>
                    <a:pt x="652" y="369"/>
                  </a:lnTo>
                  <a:lnTo>
                    <a:pt x="651" y="368"/>
                  </a:lnTo>
                  <a:lnTo>
                    <a:pt x="651" y="367"/>
                  </a:lnTo>
                  <a:lnTo>
                    <a:pt x="653" y="368"/>
                  </a:lnTo>
                  <a:lnTo>
                    <a:pt x="655" y="369"/>
                  </a:lnTo>
                  <a:lnTo>
                    <a:pt x="660" y="369"/>
                  </a:lnTo>
                  <a:lnTo>
                    <a:pt x="660" y="367"/>
                  </a:lnTo>
                  <a:lnTo>
                    <a:pt x="658" y="365"/>
                  </a:lnTo>
                  <a:lnTo>
                    <a:pt x="655" y="364"/>
                  </a:lnTo>
                  <a:lnTo>
                    <a:pt x="653" y="364"/>
                  </a:lnTo>
                  <a:lnTo>
                    <a:pt x="648" y="363"/>
                  </a:lnTo>
                  <a:lnTo>
                    <a:pt x="648" y="362"/>
                  </a:lnTo>
                  <a:lnTo>
                    <a:pt x="651" y="359"/>
                  </a:lnTo>
                  <a:lnTo>
                    <a:pt x="654" y="359"/>
                  </a:lnTo>
                  <a:lnTo>
                    <a:pt x="658" y="362"/>
                  </a:lnTo>
                  <a:lnTo>
                    <a:pt x="659" y="364"/>
                  </a:lnTo>
                  <a:lnTo>
                    <a:pt x="661" y="369"/>
                  </a:lnTo>
                  <a:lnTo>
                    <a:pt x="664" y="369"/>
                  </a:lnTo>
                  <a:lnTo>
                    <a:pt x="667" y="367"/>
                  </a:lnTo>
                  <a:lnTo>
                    <a:pt x="670" y="367"/>
                  </a:lnTo>
                  <a:lnTo>
                    <a:pt x="671" y="367"/>
                  </a:lnTo>
                  <a:lnTo>
                    <a:pt x="672" y="363"/>
                  </a:lnTo>
                  <a:lnTo>
                    <a:pt x="671" y="363"/>
                  </a:lnTo>
                  <a:lnTo>
                    <a:pt x="670" y="362"/>
                  </a:lnTo>
                  <a:lnTo>
                    <a:pt x="666" y="362"/>
                  </a:lnTo>
                  <a:lnTo>
                    <a:pt x="664" y="362"/>
                  </a:lnTo>
                  <a:lnTo>
                    <a:pt x="661" y="364"/>
                  </a:lnTo>
                  <a:lnTo>
                    <a:pt x="660" y="364"/>
                  </a:lnTo>
                  <a:lnTo>
                    <a:pt x="660" y="362"/>
                  </a:lnTo>
                  <a:lnTo>
                    <a:pt x="661" y="361"/>
                  </a:lnTo>
                  <a:lnTo>
                    <a:pt x="664" y="358"/>
                  </a:lnTo>
                  <a:lnTo>
                    <a:pt x="667" y="357"/>
                  </a:lnTo>
                  <a:lnTo>
                    <a:pt x="667" y="356"/>
                  </a:lnTo>
                  <a:lnTo>
                    <a:pt x="669" y="353"/>
                  </a:lnTo>
                  <a:lnTo>
                    <a:pt x="671" y="352"/>
                  </a:lnTo>
                  <a:lnTo>
                    <a:pt x="675" y="353"/>
                  </a:lnTo>
                  <a:lnTo>
                    <a:pt x="677" y="352"/>
                  </a:lnTo>
                  <a:lnTo>
                    <a:pt x="678" y="350"/>
                  </a:lnTo>
                  <a:lnTo>
                    <a:pt x="678" y="345"/>
                  </a:lnTo>
                  <a:lnTo>
                    <a:pt x="678" y="343"/>
                  </a:lnTo>
                  <a:lnTo>
                    <a:pt x="681" y="343"/>
                  </a:lnTo>
                  <a:lnTo>
                    <a:pt x="684" y="340"/>
                  </a:lnTo>
                  <a:lnTo>
                    <a:pt x="686" y="337"/>
                  </a:lnTo>
                  <a:lnTo>
                    <a:pt x="688" y="334"/>
                  </a:lnTo>
                  <a:lnTo>
                    <a:pt x="687" y="332"/>
                  </a:lnTo>
                  <a:lnTo>
                    <a:pt x="684" y="329"/>
                  </a:lnTo>
                  <a:lnTo>
                    <a:pt x="682" y="331"/>
                  </a:lnTo>
                  <a:lnTo>
                    <a:pt x="680" y="334"/>
                  </a:lnTo>
                  <a:lnTo>
                    <a:pt x="678" y="335"/>
                  </a:lnTo>
                  <a:lnTo>
                    <a:pt x="676" y="338"/>
                  </a:lnTo>
                  <a:lnTo>
                    <a:pt x="676" y="337"/>
                  </a:lnTo>
                  <a:lnTo>
                    <a:pt x="676" y="334"/>
                  </a:lnTo>
                  <a:lnTo>
                    <a:pt x="677" y="333"/>
                  </a:lnTo>
                  <a:lnTo>
                    <a:pt x="676" y="331"/>
                  </a:lnTo>
                  <a:lnTo>
                    <a:pt x="672" y="331"/>
                  </a:lnTo>
                  <a:lnTo>
                    <a:pt x="670" y="329"/>
                  </a:lnTo>
                  <a:lnTo>
                    <a:pt x="670" y="328"/>
                  </a:lnTo>
                  <a:lnTo>
                    <a:pt x="667" y="327"/>
                  </a:lnTo>
                  <a:lnTo>
                    <a:pt x="667" y="325"/>
                  </a:lnTo>
                  <a:lnTo>
                    <a:pt x="665" y="323"/>
                  </a:lnTo>
                  <a:lnTo>
                    <a:pt x="661" y="325"/>
                  </a:lnTo>
                  <a:lnTo>
                    <a:pt x="659" y="327"/>
                  </a:lnTo>
                  <a:lnTo>
                    <a:pt x="655" y="328"/>
                  </a:lnTo>
                  <a:lnTo>
                    <a:pt x="652" y="328"/>
                  </a:lnTo>
                  <a:lnTo>
                    <a:pt x="651" y="326"/>
                  </a:lnTo>
                  <a:lnTo>
                    <a:pt x="649" y="328"/>
                  </a:lnTo>
                  <a:lnTo>
                    <a:pt x="646" y="328"/>
                  </a:lnTo>
                  <a:lnTo>
                    <a:pt x="643" y="327"/>
                  </a:lnTo>
                  <a:lnTo>
                    <a:pt x="641" y="326"/>
                  </a:lnTo>
                  <a:lnTo>
                    <a:pt x="640" y="323"/>
                  </a:lnTo>
                  <a:lnTo>
                    <a:pt x="637" y="323"/>
                  </a:lnTo>
                  <a:lnTo>
                    <a:pt x="637" y="328"/>
                  </a:lnTo>
                  <a:lnTo>
                    <a:pt x="635" y="327"/>
                  </a:lnTo>
                  <a:lnTo>
                    <a:pt x="633" y="327"/>
                  </a:lnTo>
                  <a:lnTo>
                    <a:pt x="631" y="328"/>
                  </a:lnTo>
                  <a:lnTo>
                    <a:pt x="628" y="328"/>
                  </a:lnTo>
                  <a:lnTo>
                    <a:pt x="624" y="326"/>
                  </a:lnTo>
                  <a:lnTo>
                    <a:pt x="622" y="326"/>
                  </a:lnTo>
                  <a:lnTo>
                    <a:pt x="622" y="323"/>
                  </a:lnTo>
                  <a:lnTo>
                    <a:pt x="623" y="321"/>
                  </a:lnTo>
                  <a:lnTo>
                    <a:pt x="621" y="320"/>
                  </a:lnTo>
                  <a:lnTo>
                    <a:pt x="618" y="321"/>
                  </a:lnTo>
                  <a:lnTo>
                    <a:pt x="615" y="321"/>
                  </a:lnTo>
                  <a:lnTo>
                    <a:pt x="611" y="319"/>
                  </a:lnTo>
                  <a:lnTo>
                    <a:pt x="608" y="321"/>
                  </a:lnTo>
                  <a:lnTo>
                    <a:pt x="607" y="321"/>
                  </a:lnTo>
                  <a:lnTo>
                    <a:pt x="605" y="319"/>
                  </a:lnTo>
                  <a:lnTo>
                    <a:pt x="604" y="314"/>
                  </a:lnTo>
                  <a:lnTo>
                    <a:pt x="601" y="315"/>
                  </a:lnTo>
                  <a:lnTo>
                    <a:pt x="601" y="317"/>
                  </a:lnTo>
                  <a:lnTo>
                    <a:pt x="599" y="319"/>
                  </a:lnTo>
                  <a:lnTo>
                    <a:pt x="596" y="317"/>
                  </a:lnTo>
                  <a:lnTo>
                    <a:pt x="594" y="320"/>
                  </a:lnTo>
                  <a:lnTo>
                    <a:pt x="593" y="319"/>
                  </a:lnTo>
                  <a:lnTo>
                    <a:pt x="593" y="315"/>
                  </a:lnTo>
                  <a:lnTo>
                    <a:pt x="594" y="314"/>
                  </a:lnTo>
                  <a:lnTo>
                    <a:pt x="594" y="311"/>
                  </a:lnTo>
                  <a:lnTo>
                    <a:pt x="593" y="311"/>
                  </a:lnTo>
                  <a:lnTo>
                    <a:pt x="588" y="312"/>
                  </a:lnTo>
                  <a:lnTo>
                    <a:pt x="587" y="312"/>
                  </a:lnTo>
                  <a:lnTo>
                    <a:pt x="588" y="309"/>
                  </a:lnTo>
                  <a:lnTo>
                    <a:pt x="592" y="306"/>
                  </a:lnTo>
                  <a:lnTo>
                    <a:pt x="593" y="308"/>
                  </a:lnTo>
                  <a:lnTo>
                    <a:pt x="595" y="309"/>
                  </a:lnTo>
                  <a:lnTo>
                    <a:pt x="596" y="310"/>
                  </a:lnTo>
                  <a:lnTo>
                    <a:pt x="600" y="309"/>
                  </a:lnTo>
                  <a:lnTo>
                    <a:pt x="600" y="306"/>
                  </a:lnTo>
                  <a:lnTo>
                    <a:pt x="600" y="305"/>
                  </a:lnTo>
                  <a:lnTo>
                    <a:pt x="598" y="304"/>
                  </a:lnTo>
                  <a:lnTo>
                    <a:pt x="596" y="303"/>
                  </a:lnTo>
                  <a:lnTo>
                    <a:pt x="598" y="302"/>
                  </a:lnTo>
                  <a:lnTo>
                    <a:pt x="600" y="302"/>
                  </a:lnTo>
                  <a:lnTo>
                    <a:pt x="602" y="300"/>
                  </a:lnTo>
                  <a:lnTo>
                    <a:pt x="605" y="300"/>
                  </a:lnTo>
                  <a:lnTo>
                    <a:pt x="606" y="303"/>
                  </a:lnTo>
                  <a:lnTo>
                    <a:pt x="608" y="304"/>
                  </a:lnTo>
                  <a:lnTo>
                    <a:pt x="610" y="304"/>
                  </a:lnTo>
                  <a:lnTo>
                    <a:pt x="615" y="303"/>
                  </a:lnTo>
                  <a:lnTo>
                    <a:pt x="615" y="300"/>
                  </a:lnTo>
                  <a:lnTo>
                    <a:pt x="616" y="298"/>
                  </a:lnTo>
                  <a:lnTo>
                    <a:pt x="617" y="298"/>
                  </a:lnTo>
                  <a:lnTo>
                    <a:pt x="619" y="297"/>
                  </a:lnTo>
                  <a:lnTo>
                    <a:pt x="622" y="298"/>
                  </a:lnTo>
                  <a:lnTo>
                    <a:pt x="624" y="296"/>
                  </a:lnTo>
                  <a:lnTo>
                    <a:pt x="627" y="293"/>
                  </a:lnTo>
                  <a:lnTo>
                    <a:pt x="627" y="292"/>
                  </a:lnTo>
                  <a:lnTo>
                    <a:pt x="625" y="290"/>
                  </a:lnTo>
                  <a:lnTo>
                    <a:pt x="624" y="288"/>
                  </a:lnTo>
                  <a:lnTo>
                    <a:pt x="622" y="287"/>
                  </a:lnTo>
                  <a:lnTo>
                    <a:pt x="621" y="290"/>
                  </a:lnTo>
                  <a:lnTo>
                    <a:pt x="618" y="291"/>
                  </a:lnTo>
                  <a:lnTo>
                    <a:pt x="616" y="292"/>
                  </a:lnTo>
                  <a:lnTo>
                    <a:pt x="613" y="291"/>
                  </a:lnTo>
                  <a:lnTo>
                    <a:pt x="611" y="288"/>
                  </a:lnTo>
                  <a:lnTo>
                    <a:pt x="610" y="288"/>
                  </a:lnTo>
                  <a:lnTo>
                    <a:pt x="607" y="291"/>
                  </a:lnTo>
                  <a:lnTo>
                    <a:pt x="605" y="290"/>
                  </a:lnTo>
                  <a:lnTo>
                    <a:pt x="604" y="287"/>
                  </a:lnTo>
                  <a:lnTo>
                    <a:pt x="601" y="287"/>
                  </a:lnTo>
                  <a:lnTo>
                    <a:pt x="599" y="290"/>
                  </a:lnTo>
                  <a:lnTo>
                    <a:pt x="598" y="290"/>
                  </a:lnTo>
                  <a:lnTo>
                    <a:pt x="596" y="287"/>
                  </a:lnTo>
                  <a:lnTo>
                    <a:pt x="600" y="286"/>
                  </a:lnTo>
                  <a:lnTo>
                    <a:pt x="600" y="284"/>
                  </a:lnTo>
                  <a:lnTo>
                    <a:pt x="598" y="281"/>
                  </a:lnTo>
                  <a:lnTo>
                    <a:pt x="595" y="280"/>
                  </a:lnTo>
                  <a:lnTo>
                    <a:pt x="595" y="279"/>
                  </a:lnTo>
                  <a:lnTo>
                    <a:pt x="596" y="278"/>
                  </a:lnTo>
                  <a:lnTo>
                    <a:pt x="600" y="275"/>
                  </a:lnTo>
                  <a:lnTo>
                    <a:pt x="605" y="274"/>
                  </a:lnTo>
                  <a:lnTo>
                    <a:pt x="605" y="272"/>
                  </a:lnTo>
                  <a:lnTo>
                    <a:pt x="605" y="267"/>
                  </a:lnTo>
                  <a:lnTo>
                    <a:pt x="602" y="267"/>
                  </a:lnTo>
                  <a:lnTo>
                    <a:pt x="600" y="266"/>
                  </a:lnTo>
                  <a:lnTo>
                    <a:pt x="601" y="263"/>
                  </a:lnTo>
                  <a:lnTo>
                    <a:pt x="602" y="261"/>
                  </a:lnTo>
                  <a:lnTo>
                    <a:pt x="605" y="261"/>
                  </a:lnTo>
                  <a:lnTo>
                    <a:pt x="610" y="260"/>
                  </a:lnTo>
                  <a:lnTo>
                    <a:pt x="612" y="258"/>
                  </a:lnTo>
                  <a:lnTo>
                    <a:pt x="615" y="256"/>
                  </a:lnTo>
                  <a:lnTo>
                    <a:pt x="617" y="256"/>
                  </a:lnTo>
                  <a:lnTo>
                    <a:pt x="618" y="255"/>
                  </a:lnTo>
                  <a:lnTo>
                    <a:pt x="617" y="252"/>
                  </a:lnTo>
                  <a:lnTo>
                    <a:pt x="616" y="250"/>
                  </a:lnTo>
                  <a:lnTo>
                    <a:pt x="616" y="248"/>
                  </a:lnTo>
                  <a:lnTo>
                    <a:pt x="615" y="246"/>
                  </a:lnTo>
                  <a:lnTo>
                    <a:pt x="612" y="245"/>
                  </a:lnTo>
                  <a:lnTo>
                    <a:pt x="611" y="246"/>
                  </a:lnTo>
                  <a:lnTo>
                    <a:pt x="610" y="248"/>
                  </a:lnTo>
                  <a:lnTo>
                    <a:pt x="608" y="249"/>
                  </a:lnTo>
                  <a:lnTo>
                    <a:pt x="607" y="250"/>
                  </a:lnTo>
                  <a:lnTo>
                    <a:pt x="605" y="250"/>
                  </a:lnTo>
                  <a:lnTo>
                    <a:pt x="601" y="249"/>
                  </a:lnTo>
                  <a:lnTo>
                    <a:pt x="601" y="246"/>
                  </a:lnTo>
                  <a:lnTo>
                    <a:pt x="602" y="245"/>
                  </a:lnTo>
                  <a:lnTo>
                    <a:pt x="601" y="243"/>
                  </a:lnTo>
                  <a:lnTo>
                    <a:pt x="600" y="244"/>
                  </a:lnTo>
                  <a:lnTo>
                    <a:pt x="598" y="245"/>
                  </a:lnTo>
                  <a:lnTo>
                    <a:pt x="596" y="246"/>
                  </a:lnTo>
                  <a:lnTo>
                    <a:pt x="593" y="245"/>
                  </a:lnTo>
                  <a:lnTo>
                    <a:pt x="590" y="244"/>
                  </a:lnTo>
                  <a:lnTo>
                    <a:pt x="590" y="242"/>
                  </a:lnTo>
                  <a:lnTo>
                    <a:pt x="588" y="240"/>
                  </a:lnTo>
                  <a:lnTo>
                    <a:pt x="587" y="240"/>
                  </a:lnTo>
                  <a:lnTo>
                    <a:pt x="586" y="239"/>
                  </a:lnTo>
                  <a:lnTo>
                    <a:pt x="584" y="240"/>
                  </a:lnTo>
                  <a:lnTo>
                    <a:pt x="583" y="243"/>
                  </a:lnTo>
                  <a:lnTo>
                    <a:pt x="582" y="243"/>
                  </a:lnTo>
                  <a:lnTo>
                    <a:pt x="582" y="239"/>
                  </a:lnTo>
                  <a:lnTo>
                    <a:pt x="582" y="238"/>
                  </a:lnTo>
                  <a:lnTo>
                    <a:pt x="580" y="240"/>
                  </a:lnTo>
                  <a:lnTo>
                    <a:pt x="577" y="242"/>
                  </a:lnTo>
                  <a:lnTo>
                    <a:pt x="576" y="239"/>
                  </a:lnTo>
                  <a:lnTo>
                    <a:pt x="577" y="237"/>
                  </a:lnTo>
                  <a:lnTo>
                    <a:pt x="576" y="236"/>
                  </a:lnTo>
                  <a:lnTo>
                    <a:pt x="574" y="236"/>
                  </a:lnTo>
                  <a:lnTo>
                    <a:pt x="572" y="237"/>
                  </a:lnTo>
                  <a:lnTo>
                    <a:pt x="570" y="236"/>
                  </a:lnTo>
                  <a:lnTo>
                    <a:pt x="568" y="234"/>
                  </a:lnTo>
                  <a:lnTo>
                    <a:pt x="571" y="234"/>
                  </a:lnTo>
                  <a:lnTo>
                    <a:pt x="572" y="233"/>
                  </a:lnTo>
                  <a:lnTo>
                    <a:pt x="571" y="231"/>
                  </a:lnTo>
                  <a:lnTo>
                    <a:pt x="571" y="230"/>
                  </a:lnTo>
                  <a:lnTo>
                    <a:pt x="571" y="226"/>
                  </a:lnTo>
                  <a:lnTo>
                    <a:pt x="574" y="225"/>
                  </a:lnTo>
                  <a:lnTo>
                    <a:pt x="572" y="230"/>
                  </a:lnTo>
                  <a:lnTo>
                    <a:pt x="574" y="231"/>
                  </a:lnTo>
                  <a:lnTo>
                    <a:pt x="575" y="231"/>
                  </a:lnTo>
                  <a:lnTo>
                    <a:pt x="576" y="234"/>
                  </a:lnTo>
                  <a:lnTo>
                    <a:pt x="577" y="234"/>
                  </a:lnTo>
                  <a:lnTo>
                    <a:pt x="580" y="232"/>
                  </a:lnTo>
                  <a:lnTo>
                    <a:pt x="581" y="231"/>
                  </a:lnTo>
                  <a:lnTo>
                    <a:pt x="580" y="228"/>
                  </a:lnTo>
                  <a:lnTo>
                    <a:pt x="577" y="225"/>
                  </a:lnTo>
                  <a:lnTo>
                    <a:pt x="580" y="225"/>
                  </a:lnTo>
                  <a:lnTo>
                    <a:pt x="582" y="231"/>
                  </a:lnTo>
                  <a:lnTo>
                    <a:pt x="583" y="230"/>
                  </a:lnTo>
                  <a:lnTo>
                    <a:pt x="584" y="232"/>
                  </a:lnTo>
                  <a:lnTo>
                    <a:pt x="584" y="234"/>
                  </a:lnTo>
                  <a:lnTo>
                    <a:pt x="586" y="236"/>
                  </a:lnTo>
                  <a:lnTo>
                    <a:pt x="589" y="237"/>
                  </a:lnTo>
                  <a:lnTo>
                    <a:pt x="590" y="237"/>
                  </a:lnTo>
                  <a:lnTo>
                    <a:pt x="593" y="236"/>
                  </a:lnTo>
                  <a:lnTo>
                    <a:pt x="593" y="234"/>
                  </a:lnTo>
                  <a:lnTo>
                    <a:pt x="593" y="233"/>
                  </a:lnTo>
                  <a:lnTo>
                    <a:pt x="590" y="232"/>
                  </a:lnTo>
                  <a:lnTo>
                    <a:pt x="590" y="231"/>
                  </a:lnTo>
                  <a:lnTo>
                    <a:pt x="590" y="227"/>
                  </a:lnTo>
                  <a:lnTo>
                    <a:pt x="587" y="227"/>
                  </a:lnTo>
                  <a:lnTo>
                    <a:pt x="587" y="226"/>
                  </a:lnTo>
                  <a:lnTo>
                    <a:pt x="586" y="225"/>
                  </a:lnTo>
                  <a:lnTo>
                    <a:pt x="584" y="224"/>
                  </a:lnTo>
                  <a:lnTo>
                    <a:pt x="583" y="224"/>
                  </a:lnTo>
                  <a:lnTo>
                    <a:pt x="581" y="221"/>
                  </a:lnTo>
                  <a:lnTo>
                    <a:pt x="582" y="219"/>
                  </a:lnTo>
                  <a:lnTo>
                    <a:pt x="583" y="216"/>
                  </a:lnTo>
                  <a:lnTo>
                    <a:pt x="584" y="218"/>
                  </a:lnTo>
                  <a:lnTo>
                    <a:pt x="584" y="221"/>
                  </a:lnTo>
                  <a:lnTo>
                    <a:pt x="584" y="222"/>
                  </a:lnTo>
                  <a:lnTo>
                    <a:pt x="587" y="224"/>
                  </a:lnTo>
                  <a:lnTo>
                    <a:pt x="593" y="221"/>
                  </a:lnTo>
                  <a:lnTo>
                    <a:pt x="590" y="221"/>
                  </a:lnTo>
                  <a:lnTo>
                    <a:pt x="589" y="220"/>
                  </a:lnTo>
                  <a:lnTo>
                    <a:pt x="593" y="219"/>
                  </a:lnTo>
                  <a:lnTo>
                    <a:pt x="594" y="221"/>
                  </a:lnTo>
                  <a:lnTo>
                    <a:pt x="593" y="224"/>
                  </a:lnTo>
                  <a:lnTo>
                    <a:pt x="596" y="225"/>
                  </a:lnTo>
                  <a:lnTo>
                    <a:pt x="598" y="224"/>
                  </a:lnTo>
                  <a:lnTo>
                    <a:pt x="599" y="224"/>
                  </a:lnTo>
                  <a:lnTo>
                    <a:pt x="600" y="221"/>
                  </a:lnTo>
                  <a:lnTo>
                    <a:pt x="601" y="222"/>
                  </a:lnTo>
                  <a:lnTo>
                    <a:pt x="605" y="222"/>
                  </a:lnTo>
                  <a:lnTo>
                    <a:pt x="607" y="222"/>
                  </a:lnTo>
                  <a:lnTo>
                    <a:pt x="610" y="221"/>
                  </a:lnTo>
                  <a:lnTo>
                    <a:pt x="612" y="221"/>
                  </a:lnTo>
                  <a:lnTo>
                    <a:pt x="613" y="225"/>
                  </a:lnTo>
                  <a:lnTo>
                    <a:pt x="618" y="227"/>
                  </a:lnTo>
                  <a:lnTo>
                    <a:pt x="619" y="228"/>
                  </a:lnTo>
                  <a:lnTo>
                    <a:pt x="622" y="226"/>
                  </a:lnTo>
                  <a:lnTo>
                    <a:pt x="627" y="222"/>
                  </a:lnTo>
                  <a:lnTo>
                    <a:pt x="628" y="220"/>
                  </a:lnTo>
                  <a:lnTo>
                    <a:pt x="629" y="218"/>
                  </a:lnTo>
                  <a:lnTo>
                    <a:pt x="625" y="216"/>
                  </a:lnTo>
                  <a:lnTo>
                    <a:pt x="628" y="214"/>
                  </a:lnTo>
                  <a:lnTo>
                    <a:pt x="630" y="213"/>
                  </a:lnTo>
                  <a:lnTo>
                    <a:pt x="631" y="210"/>
                  </a:lnTo>
                  <a:lnTo>
                    <a:pt x="634" y="209"/>
                  </a:lnTo>
                  <a:lnTo>
                    <a:pt x="635" y="208"/>
                  </a:lnTo>
                  <a:lnTo>
                    <a:pt x="640" y="207"/>
                  </a:lnTo>
                  <a:lnTo>
                    <a:pt x="642" y="205"/>
                  </a:lnTo>
                  <a:lnTo>
                    <a:pt x="643" y="203"/>
                  </a:lnTo>
                  <a:lnTo>
                    <a:pt x="647" y="201"/>
                  </a:lnTo>
                  <a:lnTo>
                    <a:pt x="649" y="196"/>
                  </a:lnTo>
                  <a:lnTo>
                    <a:pt x="651" y="195"/>
                  </a:lnTo>
                  <a:lnTo>
                    <a:pt x="651" y="193"/>
                  </a:lnTo>
                  <a:lnTo>
                    <a:pt x="649" y="192"/>
                  </a:lnTo>
                  <a:lnTo>
                    <a:pt x="643" y="192"/>
                  </a:lnTo>
                  <a:lnTo>
                    <a:pt x="641" y="193"/>
                  </a:lnTo>
                  <a:lnTo>
                    <a:pt x="637" y="192"/>
                  </a:lnTo>
                  <a:lnTo>
                    <a:pt x="634" y="195"/>
                  </a:lnTo>
                  <a:lnTo>
                    <a:pt x="629" y="193"/>
                  </a:lnTo>
                  <a:lnTo>
                    <a:pt x="634" y="192"/>
                  </a:lnTo>
                  <a:lnTo>
                    <a:pt x="635" y="190"/>
                  </a:lnTo>
                  <a:lnTo>
                    <a:pt x="634" y="189"/>
                  </a:lnTo>
                  <a:lnTo>
                    <a:pt x="631" y="187"/>
                  </a:lnTo>
                  <a:lnTo>
                    <a:pt x="634" y="184"/>
                  </a:lnTo>
                  <a:lnTo>
                    <a:pt x="637" y="183"/>
                  </a:lnTo>
                  <a:lnTo>
                    <a:pt x="637" y="178"/>
                  </a:lnTo>
                  <a:lnTo>
                    <a:pt x="635" y="177"/>
                  </a:lnTo>
                  <a:lnTo>
                    <a:pt x="634" y="177"/>
                  </a:lnTo>
                  <a:lnTo>
                    <a:pt x="631" y="180"/>
                  </a:lnTo>
                  <a:lnTo>
                    <a:pt x="629" y="181"/>
                  </a:lnTo>
                  <a:lnTo>
                    <a:pt x="628" y="179"/>
                  </a:lnTo>
                  <a:lnTo>
                    <a:pt x="625" y="181"/>
                  </a:lnTo>
                  <a:lnTo>
                    <a:pt x="623" y="183"/>
                  </a:lnTo>
                  <a:lnTo>
                    <a:pt x="624" y="180"/>
                  </a:lnTo>
                  <a:lnTo>
                    <a:pt x="625" y="177"/>
                  </a:lnTo>
                  <a:lnTo>
                    <a:pt x="628" y="178"/>
                  </a:lnTo>
                  <a:lnTo>
                    <a:pt x="629" y="177"/>
                  </a:lnTo>
                  <a:lnTo>
                    <a:pt x="630" y="175"/>
                  </a:lnTo>
                  <a:lnTo>
                    <a:pt x="631" y="177"/>
                  </a:lnTo>
                  <a:lnTo>
                    <a:pt x="634" y="175"/>
                  </a:lnTo>
                  <a:lnTo>
                    <a:pt x="634" y="172"/>
                  </a:lnTo>
                  <a:lnTo>
                    <a:pt x="631" y="171"/>
                  </a:lnTo>
                  <a:lnTo>
                    <a:pt x="629" y="169"/>
                  </a:lnTo>
                  <a:lnTo>
                    <a:pt x="627" y="171"/>
                  </a:lnTo>
                  <a:lnTo>
                    <a:pt x="624" y="172"/>
                  </a:lnTo>
                  <a:lnTo>
                    <a:pt x="623" y="172"/>
                  </a:lnTo>
                  <a:lnTo>
                    <a:pt x="624" y="171"/>
                  </a:lnTo>
                  <a:lnTo>
                    <a:pt x="631" y="167"/>
                  </a:lnTo>
                  <a:lnTo>
                    <a:pt x="633" y="167"/>
                  </a:lnTo>
                  <a:lnTo>
                    <a:pt x="635" y="165"/>
                  </a:lnTo>
                  <a:lnTo>
                    <a:pt x="636" y="162"/>
                  </a:lnTo>
                  <a:lnTo>
                    <a:pt x="637" y="160"/>
                  </a:lnTo>
                  <a:lnTo>
                    <a:pt x="639" y="157"/>
                  </a:lnTo>
                  <a:lnTo>
                    <a:pt x="636" y="155"/>
                  </a:lnTo>
                  <a:lnTo>
                    <a:pt x="634" y="155"/>
                  </a:lnTo>
                  <a:lnTo>
                    <a:pt x="634" y="157"/>
                  </a:lnTo>
                  <a:lnTo>
                    <a:pt x="631" y="157"/>
                  </a:lnTo>
                  <a:lnTo>
                    <a:pt x="630" y="157"/>
                  </a:lnTo>
                  <a:lnTo>
                    <a:pt x="628" y="159"/>
                  </a:lnTo>
                  <a:lnTo>
                    <a:pt x="625" y="161"/>
                  </a:lnTo>
                  <a:lnTo>
                    <a:pt x="624" y="160"/>
                  </a:lnTo>
                  <a:lnTo>
                    <a:pt x="619" y="161"/>
                  </a:lnTo>
                  <a:lnTo>
                    <a:pt x="618" y="165"/>
                  </a:lnTo>
                  <a:lnTo>
                    <a:pt x="616" y="163"/>
                  </a:lnTo>
                  <a:lnTo>
                    <a:pt x="616" y="162"/>
                  </a:lnTo>
                  <a:lnTo>
                    <a:pt x="617" y="160"/>
                  </a:lnTo>
                  <a:lnTo>
                    <a:pt x="618" y="159"/>
                  </a:lnTo>
                  <a:lnTo>
                    <a:pt x="623" y="159"/>
                  </a:lnTo>
                  <a:lnTo>
                    <a:pt x="628" y="157"/>
                  </a:lnTo>
                  <a:lnTo>
                    <a:pt x="629" y="155"/>
                  </a:lnTo>
                  <a:lnTo>
                    <a:pt x="630" y="150"/>
                  </a:lnTo>
                  <a:lnTo>
                    <a:pt x="633" y="148"/>
                  </a:lnTo>
                  <a:lnTo>
                    <a:pt x="631" y="143"/>
                  </a:lnTo>
                  <a:lnTo>
                    <a:pt x="631" y="141"/>
                  </a:lnTo>
                  <a:lnTo>
                    <a:pt x="629" y="138"/>
                  </a:lnTo>
                  <a:lnTo>
                    <a:pt x="628" y="138"/>
                  </a:lnTo>
                  <a:lnTo>
                    <a:pt x="627" y="138"/>
                  </a:lnTo>
                  <a:lnTo>
                    <a:pt x="624" y="138"/>
                  </a:lnTo>
                  <a:lnTo>
                    <a:pt x="624" y="141"/>
                  </a:lnTo>
                  <a:lnTo>
                    <a:pt x="625" y="144"/>
                  </a:lnTo>
                  <a:lnTo>
                    <a:pt x="623" y="147"/>
                  </a:lnTo>
                  <a:lnTo>
                    <a:pt x="622" y="149"/>
                  </a:lnTo>
                  <a:lnTo>
                    <a:pt x="621" y="150"/>
                  </a:lnTo>
                  <a:lnTo>
                    <a:pt x="618" y="149"/>
                  </a:lnTo>
                  <a:lnTo>
                    <a:pt x="615" y="148"/>
                  </a:lnTo>
                  <a:lnTo>
                    <a:pt x="612" y="148"/>
                  </a:lnTo>
                  <a:lnTo>
                    <a:pt x="608" y="149"/>
                  </a:lnTo>
                  <a:lnTo>
                    <a:pt x="610" y="153"/>
                  </a:lnTo>
                  <a:lnTo>
                    <a:pt x="610" y="156"/>
                  </a:lnTo>
                  <a:lnTo>
                    <a:pt x="612" y="162"/>
                  </a:lnTo>
                  <a:lnTo>
                    <a:pt x="610" y="161"/>
                  </a:lnTo>
                  <a:lnTo>
                    <a:pt x="608" y="159"/>
                  </a:lnTo>
                  <a:lnTo>
                    <a:pt x="607" y="154"/>
                  </a:lnTo>
                  <a:lnTo>
                    <a:pt x="604" y="151"/>
                  </a:lnTo>
                  <a:lnTo>
                    <a:pt x="600" y="151"/>
                  </a:lnTo>
                  <a:lnTo>
                    <a:pt x="598" y="154"/>
                  </a:lnTo>
                  <a:lnTo>
                    <a:pt x="599" y="156"/>
                  </a:lnTo>
                  <a:lnTo>
                    <a:pt x="596" y="157"/>
                  </a:lnTo>
                  <a:lnTo>
                    <a:pt x="594" y="160"/>
                  </a:lnTo>
                  <a:lnTo>
                    <a:pt x="594" y="162"/>
                  </a:lnTo>
                  <a:lnTo>
                    <a:pt x="594" y="165"/>
                  </a:lnTo>
                  <a:lnTo>
                    <a:pt x="594" y="166"/>
                  </a:lnTo>
                  <a:lnTo>
                    <a:pt x="593" y="165"/>
                  </a:lnTo>
                  <a:lnTo>
                    <a:pt x="592" y="161"/>
                  </a:lnTo>
                  <a:lnTo>
                    <a:pt x="589" y="163"/>
                  </a:lnTo>
                  <a:lnTo>
                    <a:pt x="586" y="163"/>
                  </a:lnTo>
                  <a:lnTo>
                    <a:pt x="583" y="167"/>
                  </a:lnTo>
                  <a:lnTo>
                    <a:pt x="582" y="169"/>
                  </a:lnTo>
                  <a:lnTo>
                    <a:pt x="580" y="169"/>
                  </a:lnTo>
                  <a:lnTo>
                    <a:pt x="577" y="168"/>
                  </a:lnTo>
                  <a:lnTo>
                    <a:pt x="576" y="168"/>
                  </a:lnTo>
                  <a:lnTo>
                    <a:pt x="575" y="165"/>
                  </a:lnTo>
                  <a:lnTo>
                    <a:pt x="574" y="162"/>
                  </a:lnTo>
                  <a:lnTo>
                    <a:pt x="570" y="161"/>
                  </a:lnTo>
                  <a:lnTo>
                    <a:pt x="565" y="160"/>
                  </a:lnTo>
                  <a:lnTo>
                    <a:pt x="566" y="159"/>
                  </a:lnTo>
                  <a:lnTo>
                    <a:pt x="570" y="161"/>
                  </a:lnTo>
                  <a:lnTo>
                    <a:pt x="571" y="159"/>
                  </a:lnTo>
                  <a:lnTo>
                    <a:pt x="572" y="156"/>
                  </a:lnTo>
                  <a:lnTo>
                    <a:pt x="576" y="154"/>
                  </a:lnTo>
                  <a:lnTo>
                    <a:pt x="577" y="153"/>
                  </a:lnTo>
                  <a:lnTo>
                    <a:pt x="576" y="149"/>
                  </a:lnTo>
                  <a:lnTo>
                    <a:pt x="575" y="147"/>
                  </a:lnTo>
                  <a:lnTo>
                    <a:pt x="576" y="148"/>
                  </a:lnTo>
                  <a:lnTo>
                    <a:pt x="577" y="147"/>
                  </a:lnTo>
                  <a:lnTo>
                    <a:pt x="577" y="142"/>
                  </a:lnTo>
                  <a:lnTo>
                    <a:pt x="578" y="139"/>
                  </a:lnTo>
                  <a:lnTo>
                    <a:pt x="582" y="136"/>
                  </a:lnTo>
                  <a:lnTo>
                    <a:pt x="587" y="135"/>
                  </a:lnTo>
                  <a:lnTo>
                    <a:pt x="589" y="137"/>
                  </a:lnTo>
                  <a:lnTo>
                    <a:pt x="588" y="139"/>
                  </a:lnTo>
                  <a:lnTo>
                    <a:pt x="588" y="138"/>
                  </a:lnTo>
                  <a:lnTo>
                    <a:pt x="586" y="138"/>
                  </a:lnTo>
                  <a:lnTo>
                    <a:pt x="581" y="141"/>
                  </a:lnTo>
                  <a:lnTo>
                    <a:pt x="578" y="144"/>
                  </a:lnTo>
                  <a:lnTo>
                    <a:pt x="580" y="148"/>
                  </a:lnTo>
                  <a:lnTo>
                    <a:pt x="583" y="150"/>
                  </a:lnTo>
                  <a:lnTo>
                    <a:pt x="587" y="151"/>
                  </a:lnTo>
                  <a:lnTo>
                    <a:pt x="588" y="149"/>
                  </a:lnTo>
                  <a:lnTo>
                    <a:pt x="590" y="150"/>
                  </a:lnTo>
                  <a:lnTo>
                    <a:pt x="593" y="149"/>
                  </a:lnTo>
                  <a:lnTo>
                    <a:pt x="593" y="148"/>
                  </a:lnTo>
                  <a:lnTo>
                    <a:pt x="596" y="149"/>
                  </a:lnTo>
                  <a:lnTo>
                    <a:pt x="598" y="147"/>
                  </a:lnTo>
                  <a:lnTo>
                    <a:pt x="600" y="145"/>
                  </a:lnTo>
                  <a:lnTo>
                    <a:pt x="601" y="143"/>
                  </a:lnTo>
                  <a:lnTo>
                    <a:pt x="599" y="142"/>
                  </a:lnTo>
                  <a:lnTo>
                    <a:pt x="598" y="139"/>
                  </a:lnTo>
                  <a:lnTo>
                    <a:pt x="599" y="138"/>
                  </a:lnTo>
                  <a:lnTo>
                    <a:pt x="602" y="135"/>
                  </a:lnTo>
                  <a:lnTo>
                    <a:pt x="602" y="139"/>
                  </a:lnTo>
                  <a:lnTo>
                    <a:pt x="606" y="138"/>
                  </a:lnTo>
                  <a:lnTo>
                    <a:pt x="606" y="136"/>
                  </a:lnTo>
                  <a:lnTo>
                    <a:pt x="608" y="135"/>
                  </a:lnTo>
                  <a:lnTo>
                    <a:pt x="612" y="133"/>
                  </a:lnTo>
                  <a:lnTo>
                    <a:pt x="615" y="132"/>
                  </a:lnTo>
                  <a:lnTo>
                    <a:pt x="612" y="131"/>
                  </a:lnTo>
                  <a:lnTo>
                    <a:pt x="611" y="130"/>
                  </a:lnTo>
                  <a:lnTo>
                    <a:pt x="611" y="127"/>
                  </a:lnTo>
                  <a:lnTo>
                    <a:pt x="612" y="126"/>
                  </a:lnTo>
                  <a:lnTo>
                    <a:pt x="613" y="125"/>
                  </a:lnTo>
                  <a:lnTo>
                    <a:pt x="613" y="123"/>
                  </a:lnTo>
                  <a:lnTo>
                    <a:pt x="611" y="121"/>
                  </a:lnTo>
                  <a:lnTo>
                    <a:pt x="610" y="121"/>
                  </a:lnTo>
                  <a:lnTo>
                    <a:pt x="610" y="118"/>
                  </a:lnTo>
                  <a:lnTo>
                    <a:pt x="607" y="118"/>
                  </a:lnTo>
                  <a:lnTo>
                    <a:pt x="607" y="120"/>
                  </a:lnTo>
                  <a:lnTo>
                    <a:pt x="607" y="124"/>
                  </a:lnTo>
                  <a:lnTo>
                    <a:pt x="605" y="123"/>
                  </a:lnTo>
                  <a:lnTo>
                    <a:pt x="602" y="120"/>
                  </a:lnTo>
                  <a:lnTo>
                    <a:pt x="601" y="120"/>
                  </a:lnTo>
                  <a:lnTo>
                    <a:pt x="602" y="127"/>
                  </a:lnTo>
                  <a:lnTo>
                    <a:pt x="605" y="130"/>
                  </a:lnTo>
                  <a:lnTo>
                    <a:pt x="602" y="131"/>
                  </a:lnTo>
                  <a:lnTo>
                    <a:pt x="601" y="130"/>
                  </a:lnTo>
                  <a:lnTo>
                    <a:pt x="601" y="126"/>
                  </a:lnTo>
                  <a:lnTo>
                    <a:pt x="599" y="124"/>
                  </a:lnTo>
                  <a:lnTo>
                    <a:pt x="598" y="125"/>
                  </a:lnTo>
                  <a:lnTo>
                    <a:pt x="595" y="126"/>
                  </a:lnTo>
                  <a:lnTo>
                    <a:pt x="593" y="125"/>
                  </a:lnTo>
                  <a:lnTo>
                    <a:pt x="593" y="124"/>
                  </a:lnTo>
                  <a:lnTo>
                    <a:pt x="592" y="125"/>
                  </a:lnTo>
                  <a:lnTo>
                    <a:pt x="589" y="126"/>
                  </a:lnTo>
                  <a:lnTo>
                    <a:pt x="587" y="126"/>
                  </a:lnTo>
                  <a:lnTo>
                    <a:pt x="587" y="127"/>
                  </a:lnTo>
                  <a:lnTo>
                    <a:pt x="586" y="129"/>
                  </a:lnTo>
                  <a:lnTo>
                    <a:pt x="584" y="131"/>
                  </a:lnTo>
                  <a:lnTo>
                    <a:pt x="584" y="130"/>
                  </a:lnTo>
                  <a:lnTo>
                    <a:pt x="584" y="125"/>
                  </a:lnTo>
                  <a:lnTo>
                    <a:pt x="581" y="121"/>
                  </a:lnTo>
                  <a:lnTo>
                    <a:pt x="580" y="120"/>
                  </a:lnTo>
                  <a:lnTo>
                    <a:pt x="578" y="125"/>
                  </a:lnTo>
                  <a:lnTo>
                    <a:pt x="576" y="124"/>
                  </a:lnTo>
                  <a:lnTo>
                    <a:pt x="575" y="123"/>
                  </a:lnTo>
                  <a:lnTo>
                    <a:pt x="575" y="121"/>
                  </a:lnTo>
                  <a:lnTo>
                    <a:pt x="576" y="119"/>
                  </a:lnTo>
                  <a:lnTo>
                    <a:pt x="575" y="117"/>
                  </a:lnTo>
                  <a:lnTo>
                    <a:pt x="572" y="114"/>
                  </a:lnTo>
                  <a:lnTo>
                    <a:pt x="571" y="115"/>
                  </a:lnTo>
                  <a:lnTo>
                    <a:pt x="570" y="117"/>
                  </a:lnTo>
                  <a:lnTo>
                    <a:pt x="568" y="114"/>
                  </a:lnTo>
                  <a:lnTo>
                    <a:pt x="563" y="111"/>
                  </a:lnTo>
                  <a:lnTo>
                    <a:pt x="563" y="109"/>
                  </a:lnTo>
                  <a:lnTo>
                    <a:pt x="562" y="107"/>
                  </a:lnTo>
                  <a:lnTo>
                    <a:pt x="562" y="105"/>
                  </a:lnTo>
                  <a:lnTo>
                    <a:pt x="562" y="102"/>
                  </a:lnTo>
                  <a:lnTo>
                    <a:pt x="559" y="101"/>
                  </a:lnTo>
                  <a:lnTo>
                    <a:pt x="558" y="101"/>
                  </a:lnTo>
                  <a:lnTo>
                    <a:pt x="556" y="100"/>
                  </a:lnTo>
                  <a:lnTo>
                    <a:pt x="557" y="97"/>
                  </a:lnTo>
                  <a:lnTo>
                    <a:pt x="559" y="100"/>
                  </a:lnTo>
                  <a:lnTo>
                    <a:pt x="562" y="98"/>
                  </a:lnTo>
                  <a:lnTo>
                    <a:pt x="564" y="96"/>
                  </a:lnTo>
                  <a:lnTo>
                    <a:pt x="565" y="95"/>
                  </a:lnTo>
                  <a:lnTo>
                    <a:pt x="566" y="91"/>
                  </a:lnTo>
                  <a:lnTo>
                    <a:pt x="568" y="88"/>
                  </a:lnTo>
                  <a:lnTo>
                    <a:pt x="566" y="86"/>
                  </a:lnTo>
                  <a:lnTo>
                    <a:pt x="565" y="85"/>
                  </a:lnTo>
                  <a:lnTo>
                    <a:pt x="562" y="85"/>
                  </a:lnTo>
                  <a:lnTo>
                    <a:pt x="562" y="89"/>
                  </a:lnTo>
                  <a:lnTo>
                    <a:pt x="560" y="90"/>
                  </a:lnTo>
                  <a:lnTo>
                    <a:pt x="558" y="89"/>
                  </a:lnTo>
                  <a:lnTo>
                    <a:pt x="554" y="90"/>
                  </a:lnTo>
                  <a:lnTo>
                    <a:pt x="554" y="94"/>
                  </a:lnTo>
                  <a:lnTo>
                    <a:pt x="552" y="96"/>
                  </a:lnTo>
                  <a:lnTo>
                    <a:pt x="551" y="95"/>
                  </a:lnTo>
                  <a:lnTo>
                    <a:pt x="552" y="90"/>
                  </a:lnTo>
                  <a:lnTo>
                    <a:pt x="551" y="90"/>
                  </a:lnTo>
                  <a:lnTo>
                    <a:pt x="554" y="86"/>
                  </a:lnTo>
                  <a:lnTo>
                    <a:pt x="553" y="85"/>
                  </a:lnTo>
                  <a:lnTo>
                    <a:pt x="552" y="83"/>
                  </a:lnTo>
                  <a:lnTo>
                    <a:pt x="547" y="84"/>
                  </a:lnTo>
                  <a:lnTo>
                    <a:pt x="547" y="88"/>
                  </a:lnTo>
                  <a:lnTo>
                    <a:pt x="543" y="90"/>
                  </a:lnTo>
                  <a:lnTo>
                    <a:pt x="541" y="90"/>
                  </a:lnTo>
                  <a:lnTo>
                    <a:pt x="543" y="85"/>
                  </a:lnTo>
                  <a:lnTo>
                    <a:pt x="545" y="83"/>
                  </a:lnTo>
                  <a:lnTo>
                    <a:pt x="547" y="79"/>
                  </a:lnTo>
                  <a:lnTo>
                    <a:pt x="546" y="78"/>
                  </a:lnTo>
                  <a:lnTo>
                    <a:pt x="543" y="78"/>
                  </a:lnTo>
                  <a:lnTo>
                    <a:pt x="543" y="77"/>
                  </a:lnTo>
                  <a:lnTo>
                    <a:pt x="542" y="78"/>
                  </a:lnTo>
                  <a:lnTo>
                    <a:pt x="541" y="80"/>
                  </a:lnTo>
                  <a:lnTo>
                    <a:pt x="540" y="82"/>
                  </a:lnTo>
                  <a:lnTo>
                    <a:pt x="537" y="80"/>
                  </a:lnTo>
                  <a:lnTo>
                    <a:pt x="536" y="83"/>
                  </a:lnTo>
                  <a:lnTo>
                    <a:pt x="534" y="85"/>
                  </a:lnTo>
                  <a:lnTo>
                    <a:pt x="530" y="86"/>
                  </a:lnTo>
                  <a:lnTo>
                    <a:pt x="529" y="86"/>
                  </a:lnTo>
                  <a:lnTo>
                    <a:pt x="530" y="82"/>
                  </a:lnTo>
                  <a:lnTo>
                    <a:pt x="528" y="82"/>
                  </a:lnTo>
                  <a:lnTo>
                    <a:pt x="527" y="82"/>
                  </a:lnTo>
                  <a:lnTo>
                    <a:pt x="525" y="79"/>
                  </a:lnTo>
                  <a:lnTo>
                    <a:pt x="522" y="79"/>
                  </a:lnTo>
                  <a:lnTo>
                    <a:pt x="522" y="77"/>
                  </a:lnTo>
                  <a:lnTo>
                    <a:pt x="524" y="76"/>
                  </a:lnTo>
                  <a:lnTo>
                    <a:pt x="528" y="74"/>
                  </a:lnTo>
                  <a:lnTo>
                    <a:pt x="529" y="73"/>
                  </a:lnTo>
                  <a:lnTo>
                    <a:pt x="528" y="71"/>
                  </a:lnTo>
                  <a:lnTo>
                    <a:pt x="523" y="71"/>
                  </a:lnTo>
                  <a:lnTo>
                    <a:pt x="521" y="71"/>
                  </a:lnTo>
                  <a:lnTo>
                    <a:pt x="522" y="68"/>
                  </a:lnTo>
                  <a:lnTo>
                    <a:pt x="525" y="67"/>
                  </a:lnTo>
                  <a:lnTo>
                    <a:pt x="528" y="64"/>
                  </a:lnTo>
                  <a:lnTo>
                    <a:pt x="528" y="61"/>
                  </a:lnTo>
                  <a:lnTo>
                    <a:pt x="529" y="59"/>
                  </a:lnTo>
                  <a:lnTo>
                    <a:pt x="527" y="58"/>
                  </a:lnTo>
                  <a:lnTo>
                    <a:pt x="523" y="61"/>
                  </a:lnTo>
                  <a:lnTo>
                    <a:pt x="522" y="64"/>
                  </a:lnTo>
                  <a:lnTo>
                    <a:pt x="519" y="62"/>
                  </a:lnTo>
                  <a:lnTo>
                    <a:pt x="518" y="59"/>
                  </a:lnTo>
                  <a:lnTo>
                    <a:pt x="521" y="56"/>
                  </a:lnTo>
                  <a:lnTo>
                    <a:pt x="522" y="55"/>
                  </a:lnTo>
                  <a:lnTo>
                    <a:pt x="522" y="54"/>
                  </a:lnTo>
                  <a:lnTo>
                    <a:pt x="521" y="52"/>
                  </a:lnTo>
                  <a:lnTo>
                    <a:pt x="519" y="50"/>
                  </a:lnTo>
                  <a:lnTo>
                    <a:pt x="519" y="49"/>
                  </a:lnTo>
                  <a:lnTo>
                    <a:pt x="515" y="50"/>
                  </a:lnTo>
                  <a:lnTo>
                    <a:pt x="513" y="49"/>
                  </a:lnTo>
                  <a:lnTo>
                    <a:pt x="516" y="47"/>
                  </a:lnTo>
                  <a:lnTo>
                    <a:pt x="519" y="46"/>
                  </a:lnTo>
                  <a:lnTo>
                    <a:pt x="521" y="43"/>
                  </a:lnTo>
                  <a:lnTo>
                    <a:pt x="519" y="41"/>
                  </a:lnTo>
                  <a:lnTo>
                    <a:pt x="518" y="40"/>
                  </a:lnTo>
                  <a:lnTo>
                    <a:pt x="513" y="41"/>
                  </a:lnTo>
                  <a:lnTo>
                    <a:pt x="512" y="43"/>
                  </a:lnTo>
                  <a:lnTo>
                    <a:pt x="510" y="42"/>
                  </a:lnTo>
                  <a:lnTo>
                    <a:pt x="509" y="40"/>
                  </a:lnTo>
                  <a:lnTo>
                    <a:pt x="506" y="38"/>
                  </a:lnTo>
                  <a:lnTo>
                    <a:pt x="503" y="41"/>
                  </a:lnTo>
                  <a:lnTo>
                    <a:pt x="498" y="42"/>
                  </a:lnTo>
                  <a:lnTo>
                    <a:pt x="495" y="41"/>
                  </a:lnTo>
                  <a:lnTo>
                    <a:pt x="495" y="40"/>
                  </a:lnTo>
                  <a:lnTo>
                    <a:pt x="501" y="37"/>
                  </a:lnTo>
                  <a:lnTo>
                    <a:pt x="501" y="35"/>
                  </a:lnTo>
                  <a:lnTo>
                    <a:pt x="506" y="35"/>
                  </a:lnTo>
                  <a:lnTo>
                    <a:pt x="510" y="32"/>
                  </a:lnTo>
                  <a:lnTo>
                    <a:pt x="511" y="32"/>
                  </a:lnTo>
                  <a:lnTo>
                    <a:pt x="513" y="30"/>
                  </a:lnTo>
                  <a:lnTo>
                    <a:pt x="511" y="26"/>
                  </a:lnTo>
                  <a:lnTo>
                    <a:pt x="506" y="26"/>
                  </a:lnTo>
                  <a:lnTo>
                    <a:pt x="506" y="24"/>
                  </a:lnTo>
                  <a:lnTo>
                    <a:pt x="505" y="23"/>
                  </a:lnTo>
                  <a:lnTo>
                    <a:pt x="501" y="22"/>
                  </a:lnTo>
                  <a:lnTo>
                    <a:pt x="499" y="25"/>
                  </a:lnTo>
                  <a:lnTo>
                    <a:pt x="497" y="26"/>
                  </a:lnTo>
                  <a:lnTo>
                    <a:pt x="497" y="23"/>
                  </a:lnTo>
                  <a:lnTo>
                    <a:pt x="497" y="22"/>
                  </a:lnTo>
                  <a:lnTo>
                    <a:pt x="495" y="22"/>
                  </a:lnTo>
                  <a:lnTo>
                    <a:pt x="490" y="22"/>
                  </a:lnTo>
                  <a:lnTo>
                    <a:pt x="489" y="26"/>
                  </a:lnTo>
                  <a:lnTo>
                    <a:pt x="488" y="26"/>
                  </a:lnTo>
                  <a:lnTo>
                    <a:pt x="488" y="22"/>
                  </a:lnTo>
                  <a:lnTo>
                    <a:pt x="487" y="18"/>
                  </a:lnTo>
                  <a:lnTo>
                    <a:pt x="486" y="14"/>
                  </a:lnTo>
                  <a:lnTo>
                    <a:pt x="486" y="12"/>
                  </a:lnTo>
                  <a:lnTo>
                    <a:pt x="483" y="12"/>
                  </a:lnTo>
                  <a:lnTo>
                    <a:pt x="482" y="12"/>
                  </a:lnTo>
                  <a:lnTo>
                    <a:pt x="480" y="13"/>
                  </a:lnTo>
                  <a:lnTo>
                    <a:pt x="478" y="14"/>
                  </a:lnTo>
                  <a:lnTo>
                    <a:pt x="476" y="13"/>
                  </a:lnTo>
                  <a:lnTo>
                    <a:pt x="475" y="13"/>
                  </a:lnTo>
                  <a:lnTo>
                    <a:pt x="475" y="11"/>
                  </a:lnTo>
                  <a:lnTo>
                    <a:pt x="476" y="10"/>
                  </a:lnTo>
                  <a:lnTo>
                    <a:pt x="477" y="7"/>
                  </a:lnTo>
                  <a:lnTo>
                    <a:pt x="477" y="6"/>
                  </a:lnTo>
                  <a:lnTo>
                    <a:pt x="477" y="4"/>
                  </a:lnTo>
                  <a:lnTo>
                    <a:pt x="478" y="2"/>
                  </a:lnTo>
                  <a:lnTo>
                    <a:pt x="477" y="1"/>
                  </a:lnTo>
                  <a:lnTo>
                    <a:pt x="477" y="0"/>
                  </a:lnTo>
                  <a:lnTo>
                    <a:pt x="476" y="0"/>
                  </a:lnTo>
                  <a:lnTo>
                    <a:pt x="474" y="1"/>
                  </a:lnTo>
                  <a:lnTo>
                    <a:pt x="474" y="2"/>
                  </a:lnTo>
                  <a:lnTo>
                    <a:pt x="474" y="5"/>
                  </a:lnTo>
                  <a:lnTo>
                    <a:pt x="471" y="6"/>
                  </a:lnTo>
                  <a:lnTo>
                    <a:pt x="471" y="5"/>
                  </a:lnTo>
                  <a:lnTo>
                    <a:pt x="471" y="2"/>
                  </a:lnTo>
                  <a:lnTo>
                    <a:pt x="471" y="1"/>
                  </a:lnTo>
                  <a:lnTo>
                    <a:pt x="469" y="0"/>
                  </a:lnTo>
                  <a:lnTo>
                    <a:pt x="466" y="0"/>
                  </a:lnTo>
                  <a:lnTo>
                    <a:pt x="466" y="2"/>
                  </a:lnTo>
                  <a:lnTo>
                    <a:pt x="465" y="4"/>
                  </a:lnTo>
                  <a:lnTo>
                    <a:pt x="464" y="5"/>
                  </a:lnTo>
                  <a:lnTo>
                    <a:pt x="462" y="6"/>
                  </a:lnTo>
                  <a:lnTo>
                    <a:pt x="462" y="8"/>
                  </a:lnTo>
                  <a:lnTo>
                    <a:pt x="462" y="11"/>
                  </a:lnTo>
                  <a:lnTo>
                    <a:pt x="463" y="12"/>
                  </a:lnTo>
                  <a:lnTo>
                    <a:pt x="463" y="13"/>
                  </a:lnTo>
                  <a:lnTo>
                    <a:pt x="462" y="13"/>
                  </a:lnTo>
                  <a:lnTo>
                    <a:pt x="460" y="13"/>
                  </a:lnTo>
                  <a:lnTo>
                    <a:pt x="460" y="16"/>
                  </a:lnTo>
                  <a:lnTo>
                    <a:pt x="460" y="18"/>
                  </a:lnTo>
                  <a:lnTo>
                    <a:pt x="459" y="19"/>
                  </a:lnTo>
                  <a:lnTo>
                    <a:pt x="458" y="22"/>
                  </a:lnTo>
                  <a:lnTo>
                    <a:pt x="457" y="20"/>
                  </a:lnTo>
                  <a:lnTo>
                    <a:pt x="456" y="19"/>
                  </a:lnTo>
                  <a:lnTo>
                    <a:pt x="454" y="19"/>
                  </a:lnTo>
                  <a:lnTo>
                    <a:pt x="453" y="19"/>
                  </a:lnTo>
                  <a:lnTo>
                    <a:pt x="451" y="20"/>
                  </a:lnTo>
                  <a:lnTo>
                    <a:pt x="451" y="22"/>
                  </a:lnTo>
                  <a:lnTo>
                    <a:pt x="452" y="23"/>
                  </a:lnTo>
                  <a:lnTo>
                    <a:pt x="452" y="25"/>
                  </a:lnTo>
                  <a:lnTo>
                    <a:pt x="453" y="26"/>
                  </a:lnTo>
                  <a:lnTo>
                    <a:pt x="456" y="28"/>
                  </a:lnTo>
                  <a:lnTo>
                    <a:pt x="458" y="28"/>
                  </a:lnTo>
                  <a:lnTo>
                    <a:pt x="459" y="28"/>
                  </a:lnTo>
                  <a:lnTo>
                    <a:pt x="460" y="30"/>
                  </a:lnTo>
                  <a:lnTo>
                    <a:pt x="460" y="32"/>
                  </a:lnTo>
                  <a:lnTo>
                    <a:pt x="459" y="32"/>
                  </a:lnTo>
                  <a:lnTo>
                    <a:pt x="457" y="32"/>
                  </a:lnTo>
                  <a:lnTo>
                    <a:pt x="456" y="31"/>
                  </a:lnTo>
                  <a:lnTo>
                    <a:pt x="453" y="29"/>
                  </a:lnTo>
                  <a:lnTo>
                    <a:pt x="452" y="28"/>
                  </a:lnTo>
                  <a:lnTo>
                    <a:pt x="451" y="25"/>
                  </a:lnTo>
                  <a:lnTo>
                    <a:pt x="450" y="23"/>
                  </a:lnTo>
                  <a:lnTo>
                    <a:pt x="448" y="22"/>
                  </a:lnTo>
                  <a:lnTo>
                    <a:pt x="446" y="20"/>
                  </a:lnTo>
                  <a:lnTo>
                    <a:pt x="445" y="20"/>
                  </a:lnTo>
                  <a:lnTo>
                    <a:pt x="444" y="22"/>
                  </a:lnTo>
                  <a:lnTo>
                    <a:pt x="442" y="24"/>
                  </a:lnTo>
                  <a:lnTo>
                    <a:pt x="444" y="26"/>
                  </a:lnTo>
                  <a:lnTo>
                    <a:pt x="445" y="29"/>
                  </a:lnTo>
                  <a:lnTo>
                    <a:pt x="447" y="34"/>
                  </a:lnTo>
                  <a:lnTo>
                    <a:pt x="450" y="35"/>
                  </a:lnTo>
                  <a:lnTo>
                    <a:pt x="451" y="36"/>
                  </a:lnTo>
                  <a:lnTo>
                    <a:pt x="450" y="37"/>
                  </a:lnTo>
                  <a:lnTo>
                    <a:pt x="448" y="37"/>
                  </a:lnTo>
                  <a:lnTo>
                    <a:pt x="448" y="38"/>
                  </a:lnTo>
                  <a:lnTo>
                    <a:pt x="448" y="40"/>
                  </a:lnTo>
                  <a:lnTo>
                    <a:pt x="450" y="40"/>
                  </a:lnTo>
                  <a:lnTo>
                    <a:pt x="451" y="41"/>
                  </a:lnTo>
                  <a:lnTo>
                    <a:pt x="453" y="41"/>
                  </a:lnTo>
                  <a:lnTo>
                    <a:pt x="454" y="40"/>
                  </a:lnTo>
                  <a:lnTo>
                    <a:pt x="456" y="40"/>
                  </a:lnTo>
                  <a:lnTo>
                    <a:pt x="456" y="41"/>
                  </a:lnTo>
                  <a:lnTo>
                    <a:pt x="454" y="41"/>
                  </a:lnTo>
                  <a:lnTo>
                    <a:pt x="453" y="42"/>
                  </a:lnTo>
                  <a:lnTo>
                    <a:pt x="456" y="43"/>
                  </a:lnTo>
                  <a:lnTo>
                    <a:pt x="457" y="43"/>
                  </a:lnTo>
                  <a:lnTo>
                    <a:pt x="457" y="46"/>
                  </a:lnTo>
                  <a:lnTo>
                    <a:pt x="454" y="46"/>
                  </a:lnTo>
                  <a:lnTo>
                    <a:pt x="452" y="46"/>
                  </a:lnTo>
                  <a:lnTo>
                    <a:pt x="450" y="46"/>
                  </a:lnTo>
                  <a:lnTo>
                    <a:pt x="448" y="44"/>
                  </a:lnTo>
                  <a:lnTo>
                    <a:pt x="448" y="43"/>
                  </a:lnTo>
                  <a:lnTo>
                    <a:pt x="447" y="43"/>
                  </a:lnTo>
                  <a:lnTo>
                    <a:pt x="446" y="43"/>
                  </a:lnTo>
                  <a:lnTo>
                    <a:pt x="445" y="44"/>
                  </a:lnTo>
                  <a:lnTo>
                    <a:pt x="444" y="46"/>
                  </a:lnTo>
                  <a:lnTo>
                    <a:pt x="446" y="50"/>
                  </a:lnTo>
                  <a:lnTo>
                    <a:pt x="448" y="52"/>
                  </a:lnTo>
                  <a:lnTo>
                    <a:pt x="450" y="53"/>
                  </a:lnTo>
                  <a:lnTo>
                    <a:pt x="452" y="54"/>
                  </a:lnTo>
                  <a:lnTo>
                    <a:pt x="453" y="53"/>
                  </a:lnTo>
                  <a:lnTo>
                    <a:pt x="456" y="52"/>
                  </a:lnTo>
                  <a:lnTo>
                    <a:pt x="457" y="49"/>
                  </a:lnTo>
                  <a:lnTo>
                    <a:pt x="459" y="49"/>
                  </a:lnTo>
                  <a:lnTo>
                    <a:pt x="462" y="49"/>
                  </a:lnTo>
                  <a:lnTo>
                    <a:pt x="464" y="49"/>
                  </a:lnTo>
                  <a:lnTo>
                    <a:pt x="464" y="50"/>
                  </a:lnTo>
                  <a:lnTo>
                    <a:pt x="463" y="52"/>
                  </a:lnTo>
                  <a:lnTo>
                    <a:pt x="462" y="52"/>
                  </a:lnTo>
                  <a:lnTo>
                    <a:pt x="459" y="52"/>
                  </a:lnTo>
                  <a:lnTo>
                    <a:pt x="458" y="52"/>
                  </a:lnTo>
                  <a:lnTo>
                    <a:pt x="457" y="52"/>
                  </a:lnTo>
                  <a:lnTo>
                    <a:pt x="457" y="53"/>
                  </a:lnTo>
                  <a:lnTo>
                    <a:pt x="458" y="54"/>
                  </a:lnTo>
                  <a:lnTo>
                    <a:pt x="459" y="54"/>
                  </a:lnTo>
                  <a:lnTo>
                    <a:pt x="462" y="54"/>
                  </a:lnTo>
                  <a:lnTo>
                    <a:pt x="460" y="55"/>
                  </a:lnTo>
                  <a:lnTo>
                    <a:pt x="460" y="56"/>
                  </a:lnTo>
                  <a:lnTo>
                    <a:pt x="460" y="59"/>
                  </a:lnTo>
                  <a:lnTo>
                    <a:pt x="463" y="59"/>
                  </a:lnTo>
                  <a:lnTo>
                    <a:pt x="464" y="59"/>
                  </a:lnTo>
                  <a:lnTo>
                    <a:pt x="465" y="58"/>
                  </a:lnTo>
                  <a:lnTo>
                    <a:pt x="465" y="56"/>
                  </a:lnTo>
                  <a:lnTo>
                    <a:pt x="465" y="55"/>
                  </a:lnTo>
                  <a:lnTo>
                    <a:pt x="465" y="54"/>
                  </a:lnTo>
                  <a:lnTo>
                    <a:pt x="465" y="53"/>
                  </a:lnTo>
                  <a:lnTo>
                    <a:pt x="466" y="53"/>
                  </a:lnTo>
                  <a:lnTo>
                    <a:pt x="469" y="53"/>
                  </a:lnTo>
                  <a:lnTo>
                    <a:pt x="470" y="53"/>
                  </a:lnTo>
                  <a:lnTo>
                    <a:pt x="470" y="54"/>
                  </a:lnTo>
                  <a:lnTo>
                    <a:pt x="470" y="55"/>
                  </a:lnTo>
                  <a:lnTo>
                    <a:pt x="469" y="55"/>
                  </a:lnTo>
                  <a:lnTo>
                    <a:pt x="468" y="54"/>
                  </a:lnTo>
                  <a:lnTo>
                    <a:pt x="466" y="55"/>
                  </a:lnTo>
                  <a:lnTo>
                    <a:pt x="468" y="56"/>
                  </a:lnTo>
                  <a:lnTo>
                    <a:pt x="466" y="58"/>
                  </a:lnTo>
                  <a:lnTo>
                    <a:pt x="466" y="59"/>
                  </a:lnTo>
                  <a:lnTo>
                    <a:pt x="465" y="59"/>
                  </a:lnTo>
                  <a:lnTo>
                    <a:pt x="464" y="60"/>
                  </a:lnTo>
                  <a:lnTo>
                    <a:pt x="463" y="60"/>
                  </a:lnTo>
                  <a:lnTo>
                    <a:pt x="462" y="60"/>
                  </a:lnTo>
                  <a:lnTo>
                    <a:pt x="460" y="60"/>
                  </a:lnTo>
                  <a:lnTo>
                    <a:pt x="460" y="61"/>
                  </a:lnTo>
                  <a:lnTo>
                    <a:pt x="462" y="61"/>
                  </a:lnTo>
                  <a:lnTo>
                    <a:pt x="464" y="64"/>
                  </a:lnTo>
                  <a:lnTo>
                    <a:pt x="465" y="65"/>
                  </a:lnTo>
                  <a:lnTo>
                    <a:pt x="464" y="66"/>
                  </a:lnTo>
                  <a:lnTo>
                    <a:pt x="462" y="66"/>
                  </a:lnTo>
                  <a:lnTo>
                    <a:pt x="460" y="65"/>
                  </a:lnTo>
                  <a:lnTo>
                    <a:pt x="459" y="65"/>
                  </a:lnTo>
                  <a:lnTo>
                    <a:pt x="459" y="66"/>
                  </a:lnTo>
                  <a:lnTo>
                    <a:pt x="459" y="67"/>
                  </a:lnTo>
                  <a:lnTo>
                    <a:pt x="458" y="67"/>
                  </a:lnTo>
                  <a:lnTo>
                    <a:pt x="457" y="67"/>
                  </a:lnTo>
                  <a:lnTo>
                    <a:pt x="456" y="67"/>
                  </a:lnTo>
                  <a:lnTo>
                    <a:pt x="454" y="67"/>
                  </a:lnTo>
                  <a:lnTo>
                    <a:pt x="453" y="68"/>
                  </a:lnTo>
                  <a:lnTo>
                    <a:pt x="453" y="67"/>
                  </a:lnTo>
                  <a:lnTo>
                    <a:pt x="453" y="66"/>
                  </a:lnTo>
                  <a:lnTo>
                    <a:pt x="452" y="66"/>
                  </a:lnTo>
                  <a:lnTo>
                    <a:pt x="452" y="65"/>
                  </a:lnTo>
                  <a:lnTo>
                    <a:pt x="451" y="65"/>
                  </a:lnTo>
                  <a:lnTo>
                    <a:pt x="450" y="65"/>
                  </a:lnTo>
                  <a:lnTo>
                    <a:pt x="448" y="65"/>
                  </a:lnTo>
                  <a:lnTo>
                    <a:pt x="447" y="65"/>
                  </a:lnTo>
                  <a:lnTo>
                    <a:pt x="446" y="66"/>
                  </a:lnTo>
                  <a:lnTo>
                    <a:pt x="445" y="66"/>
                  </a:lnTo>
                  <a:lnTo>
                    <a:pt x="441" y="66"/>
                  </a:lnTo>
                  <a:lnTo>
                    <a:pt x="441" y="65"/>
                  </a:lnTo>
                  <a:lnTo>
                    <a:pt x="440" y="64"/>
                  </a:lnTo>
                  <a:lnTo>
                    <a:pt x="440" y="62"/>
                  </a:lnTo>
                  <a:lnTo>
                    <a:pt x="439" y="61"/>
                  </a:lnTo>
                  <a:lnTo>
                    <a:pt x="436" y="61"/>
                  </a:lnTo>
                  <a:lnTo>
                    <a:pt x="435" y="62"/>
                  </a:lnTo>
                  <a:lnTo>
                    <a:pt x="434" y="64"/>
                  </a:lnTo>
                  <a:lnTo>
                    <a:pt x="434" y="65"/>
                  </a:lnTo>
                  <a:lnTo>
                    <a:pt x="434" y="66"/>
                  </a:lnTo>
                  <a:lnTo>
                    <a:pt x="433" y="65"/>
                  </a:lnTo>
                  <a:lnTo>
                    <a:pt x="431" y="64"/>
                  </a:lnTo>
                  <a:lnTo>
                    <a:pt x="429" y="65"/>
                  </a:lnTo>
                  <a:lnTo>
                    <a:pt x="428" y="65"/>
                  </a:lnTo>
                  <a:lnTo>
                    <a:pt x="427" y="66"/>
                  </a:lnTo>
                  <a:lnTo>
                    <a:pt x="427" y="67"/>
                  </a:lnTo>
                  <a:lnTo>
                    <a:pt x="428" y="68"/>
                  </a:lnTo>
                  <a:lnTo>
                    <a:pt x="429" y="70"/>
                  </a:lnTo>
                  <a:lnTo>
                    <a:pt x="430" y="71"/>
                  </a:lnTo>
                  <a:lnTo>
                    <a:pt x="430" y="72"/>
                  </a:lnTo>
                  <a:lnTo>
                    <a:pt x="431" y="73"/>
                  </a:lnTo>
                  <a:lnTo>
                    <a:pt x="433" y="73"/>
                  </a:lnTo>
                  <a:lnTo>
                    <a:pt x="434" y="72"/>
                  </a:lnTo>
                  <a:lnTo>
                    <a:pt x="436" y="73"/>
                  </a:lnTo>
                  <a:lnTo>
                    <a:pt x="438" y="74"/>
                  </a:lnTo>
                  <a:lnTo>
                    <a:pt x="439" y="77"/>
                  </a:lnTo>
                  <a:lnTo>
                    <a:pt x="440" y="77"/>
                  </a:lnTo>
                  <a:lnTo>
                    <a:pt x="441" y="79"/>
                  </a:lnTo>
                  <a:lnTo>
                    <a:pt x="442" y="79"/>
                  </a:lnTo>
                  <a:lnTo>
                    <a:pt x="445" y="80"/>
                  </a:lnTo>
                  <a:lnTo>
                    <a:pt x="447" y="79"/>
                  </a:lnTo>
                  <a:lnTo>
                    <a:pt x="448" y="79"/>
                  </a:lnTo>
                  <a:lnTo>
                    <a:pt x="450" y="80"/>
                  </a:lnTo>
                  <a:lnTo>
                    <a:pt x="450" y="82"/>
                  </a:lnTo>
                  <a:lnTo>
                    <a:pt x="450" y="83"/>
                  </a:lnTo>
                  <a:lnTo>
                    <a:pt x="450" y="84"/>
                  </a:lnTo>
                  <a:lnTo>
                    <a:pt x="452" y="85"/>
                  </a:lnTo>
                  <a:lnTo>
                    <a:pt x="453" y="84"/>
                  </a:lnTo>
                  <a:lnTo>
                    <a:pt x="454" y="84"/>
                  </a:lnTo>
                  <a:lnTo>
                    <a:pt x="456" y="82"/>
                  </a:lnTo>
                  <a:lnTo>
                    <a:pt x="454" y="80"/>
                  </a:lnTo>
                  <a:lnTo>
                    <a:pt x="457" y="80"/>
                  </a:lnTo>
                  <a:lnTo>
                    <a:pt x="459" y="80"/>
                  </a:lnTo>
                  <a:lnTo>
                    <a:pt x="460" y="82"/>
                  </a:lnTo>
                  <a:lnTo>
                    <a:pt x="460" y="83"/>
                  </a:lnTo>
                  <a:lnTo>
                    <a:pt x="462" y="85"/>
                  </a:lnTo>
                  <a:lnTo>
                    <a:pt x="460" y="86"/>
                  </a:lnTo>
                  <a:lnTo>
                    <a:pt x="458" y="85"/>
                  </a:lnTo>
                  <a:lnTo>
                    <a:pt x="458" y="84"/>
                  </a:lnTo>
                  <a:lnTo>
                    <a:pt x="457" y="84"/>
                  </a:lnTo>
                  <a:lnTo>
                    <a:pt x="454" y="85"/>
                  </a:lnTo>
                  <a:lnTo>
                    <a:pt x="453" y="85"/>
                  </a:lnTo>
                  <a:lnTo>
                    <a:pt x="452" y="88"/>
                  </a:lnTo>
                  <a:lnTo>
                    <a:pt x="453" y="89"/>
                  </a:lnTo>
                  <a:lnTo>
                    <a:pt x="453" y="91"/>
                  </a:lnTo>
                  <a:lnTo>
                    <a:pt x="454" y="92"/>
                  </a:lnTo>
                  <a:lnTo>
                    <a:pt x="456" y="94"/>
                  </a:lnTo>
                  <a:lnTo>
                    <a:pt x="456" y="96"/>
                  </a:lnTo>
                  <a:lnTo>
                    <a:pt x="456" y="97"/>
                  </a:lnTo>
                  <a:lnTo>
                    <a:pt x="453" y="96"/>
                  </a:lnTo>
                  <a:lnTo>
                    <a:pt x="453" y="94"/>
                  </a:lnTo>
                  <a:lnTo>
                    <a:pt x="452" y="94"/>
                  </a:lnTo>
                  <a:lnTo>
                    <a:pt x="451" y="96"/>
                  </a:lnTo>
                  <a:lnTo>
                    <a:pt x="451" y="97"/>
                  </a:lnTo>
                  <a:lnTo>
                    <a:pt x="448" y="97"/>
                  </a:lnTo>
                  <a:lnTo>
                    <a:pt x="448" y="96"/>
                  </a:lnTo>
                  <a:lnTo>
                    <a:pt x="448" y="94"/>
                  </a:lnTo>
                  <a:lnTo>
                    <a:pt x="447" y="94"/>
                  </a:lnTo>
                  <a:lnTo>
                    <a:pt x="446" y="96"/>
                  </a:lnTo>
                  <a:lnTo>
                    <a:pt x="445" y="96"/>
                  </a:lnTo>
                  <a:lnTo>
                    <a:pt x="445" y="94"/>
                  </a:lnTo>
                  <a:lnTo>
                    <a:pt x="444" y="92"/>
                  </a:lnTo>
                  <a:lnTo>
                    <a:pt x="442" y="92"/>
                  </a:lnTo>
                  <a:lnTo>
                    <a:pt x="441" y="92"/>
                  </a:lnTo>
                  <a:lnTo>
                    <a:pt x="440" y="92"/>
                  </a:lnTo>
                  <a:lnTo>
                    <a:pt x="440" y="94"/>
                  </a:lnTo>
                  <a:lnTo>
                    <a:pt x="439" y="92"/>
                  </a:lnTo>
                  <a:lnTo>
                    <a:pt x="440" y="90"/>
                  </a:lnTo>
                  <a:lnTo>
                    <a:pt x="440" y="89"/>
                  </a:lnTo>
                  <a:lnTo>
                    <a:pt x="441" y="86"/>
                  </a:lnTo>
                  <a:lnTo>
                    <a:pt x="441" y="84"/>
                  </a:lnTo>
                  <a:lnTo>
                    <a:pt x="441" y="83"/>
                  </a:lnTo>
                  <a:lnTo>
                    <a:pt x="441" y="82"/>
                  </a:lnTo>
                  <a:lnTo>
                    <a:pt x="439" y="83"/>
                  </a:lnTo>
                  <a:lnTo>
                    <a:pt x="438" y="82"/>
                  </a:lnTo>
                  <a:lnTo>
                    <a:pt x="436" y="82"/>
                  </a:lnTo>
                  <a:lnTo>
                    <a:pt x="435" y="83"/>
                  </a:lnTo>
                  <a:lnTo>
                    <a:pt x="435" y="85"/>
                  </a:lnTo>
                  <a:lnTo>
                    <a:pt x="434" y="88"/>
                  </a:lnTo>
                  <a:lnTo>
                    <a:pt x="434" y="91"/>
                  </a:lnTo>
                  <a:lnTo>
                    <a:pt x="434" y="92"/>
                  </a:lnTo>
                  <a:lnTo>
                    <a:pt x="433" y="94"/>
                  </a:lnTo>
                  <a:lnTo>
                    <a:pt x="433" y="91"/>
                  </a:lnTo>
                  <a:lnTo>
                    <a:pt x="433" y="89"/>
                  </a:lnTo>
                  <a:lnTo>
                    <a:pt x="433" y="85"/>
                  </a:lnTo>
                  <a:lnTo>
                    <a:pt x="433" y="83"/>
                  </a:lnTo>
                  <a:lnTo>
                    <a:pt x="433" y="80"/>
                  </a:lnTo>
                  <a:lnTo>
                    <a:pt x="431" y="79"/>
                  </a:lnTo>
                  <a:lnTo>
                    <a:pt x="429" y="80"/>
                  </a:lnTo>
                  <a:lnTo>
                    <a:pt x="429" y="82"/>
                  </a:lnTo>
                  <a:lnTo>
                    <a:pt x="428" y="83"/>
                  </a:lnTo>
                  <a:lnTo>
                    <a:pt x="427" y="82"/>
                  </a:lnTo>
                  <a:lnTo>
                    <a:pt x="425" y="82"/>
                  </a:lnTo>
                  <a:lnTo>
                    <a:pt x="424" y="82"/>
                  </a:lnTo>
                  <a:lnTo>
                    <a:pt x="424" y="83"/>
                  </a:lnTo>
                  <a:lnTo>
                    <a:pt x="423" y="84"/>
                  </a:lnTo>
                  <a:lnTo>
                    <a:pt x="423" y="83"/>
                  </a:lnTo>
                  <a:lnTo>
                    <a:pt x="422" y="82"/>
                  </a:lnTo>
                  <a:lnTo>
                    <a:pt x="421" y="82"/>
                  </a:lnTo>
                  <a:lnTo>
                    <a:pt x="422" y="84"/>
                  </a:lnTo>
                  <a:lnTo>
                    <a:pt x="422" y="88"/>
                  </a:lnTo>
                  <a:lnTo>
                    <a:pt x="422" y="89"/>
                  </a:lnTo>
                  <a:lnTo>
                    <a:pt x="423" y="91"/>
                  </a:lnTo>
                  <a:lnTo>
                    <a:pt x="424" y="92"/>
                  </a:lnTo>
                  <a:lnTo>
                    <a:pt x="424" y="95"/>
                  </a:lnTo>
                  <a:lnTo>
                    <a:pt x="424" y="97"/>
                  </a:lnTo>
                  <a:lnTo>
                    <a:pt x="425" y="98"/>
                  </a:lnTo>
                  <a:lnTo>
                    <a:pt x="427" y="100"/>
                  </a:lnTo>
                  <a:lnTo>
                    <a:pt x="427" y="101"/>
                  </a:lnTo>
                  <a:lnTo>
                    <a:pt x="425" y="101"/>
                  </a:lnTo>
                  <a:lnTo>
                    <a:pt x="424" y="101"/>
                  </a:lnTo>
                  <a:lnTo>
                    <a:pt x="424" y="103"/>
                  </a:lnTo>
                  <a:lnTo>
                    <a:pt x="424" y="105"/>
                  </a:lnTo>
                  <a:lnTo>
                    <a:pt x="424" y="107"/>
                  </a:lnTo>
                  <a:lnTo>
                    <a:pt x="424" y="109"/>
                  </a:lnTo>
                  <a:lnTo>
                    <a:pt x="425" y="112"/>
                  </a:lnTo>
                  <a:lnTo>
                    <a:pt x="425" y="113"/>
                  </a:lnTo>
                  <a:lnTo>
                    <a:pt x="424" y="114"/>
                  </a:lnTo>
                  <a:lnTo>
                    <a:pt x="423" y="113"/>
                  </a:lnTo>
                  <a:lnTo>
                    <a:pt x="422" y="112"/>
                  </a:lnTo>
                  <a:lnTo>
                    <a:pt x="422" y="111"/>
                  </a:lnTo>
                  <a:lnTo>
                    <a:pt x="422" y="109"/>
                  </a:lnTo>
                  <a:lnTo>
                    <a:pt x="422" y="108"/>
                  </a:lnTo>
                  <a:lnTo>
                    <a:pt x="422" y="106"/>
                  </a:lnTo>
                  <a:lnTo>
                    <a:pt x="422" y="105"/>
                  </a:lnTo>
                  <a:lnTo>
                    <a:pt x="422" y="103"/>
                  </a:lnTo>
                  <a:lnTo>
                    <a:pt x="421" y="103"/>
                  </a:lnTo>
                  <a:lnTo>
                    <a:pt x="419" y="103"/>
                  </a:lnTo>
                  <a:lnTo>
                    <a:pt x="419" y="106"/>
                  </a:lnTo>
                  <a:lnTo>
                    <a:pt x="418" y="107"/>
                  </a:lnTo>
                  <a:lnTo>
                    <a:pt x="417" y="108"/>
                  </a:lnTo>
                  <a:lnTo>
                    <a:pt x="416" y="107"/>
                  </a:lnTo>
                  <a:lnTo>
                    <a:pt x="417" y="106"/>
                  </a:lnTo>
                  <a:lnTo>
                    <a:pt x="418" y="105"/>
                  </a:lnTo>
                  <a:lnTo>
                    <a:pt x="418" y="103"/>
                  </a:lnTo>
                  <a:lnTo>
                    <a:pt x="418" y="102"/>
                  </a:lnTo>
                  <a:lnTo>
                    <a:pt x="417" y="102"/>
                  </a:lnTo>
                  <a:lnTo>
                    <a:pt x="416" y="101"/>
                  </a:lnTo>
                  <a:lnTo>
                    <a:pt x="416" y="100"/>
                  </a:lnTo>
                  <a:lnTo>
                    <a:pt x="415" y="100"/>
                  </a:lnTo>
                  <a:lnTo>
                    <a:pt x="413" y="101"/>
                  </a:lnTo>
                  <a:lnTo>
                    <a:pt x="413" y="102"/>
                  </a:lnTo>
                  <a:lnTo>
                    <a:pt x="411" y="102"/>
                  </a:lnTo>
                  <a:lnTo>
                    <a:pt x="411" y="101"/>
                  </a:lnTo>
                  <a:lnTo>
                    <a:pt x="411" y="100"/>
                  </a:lnTo>
                  <a:lnTo>
                    <a:pt x="410" y="98"/>
                  </a:lnTo>
                  <a:lnTo>
                    <a:pt x="410" y="97"/>
                  </a:lnTo>
                  <a:lnTo>
                    <a:pt x="409" y="96"/>
                  </a:lnTo>
                  <a:lnTo>
                    <a:pt x="407" y="96"/>
                  </a:lnTo>
                  <a:lnTo>
                    <a:pt x="405" y="96"/>
                  </a:lnTo>
                  <a:lnTo>
                    <a:pt x="405" y="97"/>
                  </a:lnTo>
                  <a:lnTo>
                    <a:pt x="404" y="100"/>
                  </a:lnTo>
                  <a:lnTo>
                    <a:pt x="404" y="101"/>
                  </a:lnTo>
                  <a:lnTo>
                    <a:pt x="404" y="102"/>
                  </a:lnTo>
                  <a:lnTo>
                    <a:pt x="405" y="103"/>
                  </a:lnTo>
                  <a:lnTo>
                    <a:pt x="406" y="106"/>
                  </a:lnTo>
                  <a:lnTo>
                    <a:pt x="404" y="106"/>
                  </a:lnTo>
                  <a:lnTo>
                    <a:pt x="403" y="107"/>
                  </a:lnTo>
                  <a:lnTo>
                    <a:pt x="403" y="109"/>
                  </a:lnTo>
                  <a:lnTo>
                    <a:pt x="404" y="109"/>
                  </a:lnTo>
                  <a:lnTo>
                    <a:pt x="405" y="111"/>
                  </a:lnTo>
                  <a:lnTo>
                    <a:pt x="406" y="111"/>
                  </a:lnTo>
                  <a:lnTo>
                    <a:pt x="406" y="112"/>
                  </a:lnTo>
                  <a:lnTo>
                    <a:pt x="406" y="113"/>
                  </a:lnTo>
                  <a:lnTo>
                    <a:pt x="407" y="113"/>
                  </a:lnTo>
                  <a:lnTo>
                    <a:pt x="409" y="112"/>
                  </a:lnTo>
                  <a:lnTo>
                    <a:pt x="410" y="113"/>
                  </a:lnTo>
                  <a:lnTo>
                    <a:pt x="410" y="115"/>
                  </a:lnTo>
                  <a:lnTo>
                    <a:pt x="412" y="115"/>
                  </a:lnTo>
                  <a:lnTo>
                    <a:pt x="411" y="118"/>
                  </a:lnTo>
                  <a:lnTo>
                    <a:pt x="411" y="119"/>
                  </a:lnTo>
                  <a:lnTo>
                    <a:pt x="412" y="119"/>
                  </a:lnTo>
                  <a:lnTo>
                    <a:pt x="413" y="120"/>
                  </a:lnTo>
                  <a:lnTo>
                    <a:pt x="415" y="120"/>
                  </a:lnTo>
                  <a:lnTo>
                    <a:pt x="413" y="123"/>
                  </a:lnTo>
                  <a:lnTo>
                    <a:pt x="415" y="124"/>
                  </a:lnTo>
                  <a:lnTo>
                    <a:pt x="416" y="124"/>
                  </a:lnTo>
                  <a:lnTo>
                    <a:pt x="417" y="123"/>
                  </a:lnTo>
                  <a:lnTo>
                    <a:pt x="419" y="123"/>
                  </a:lnTo>
                  <a:lnTo>
                    <a:pt x="418" y="124"/>
                  </a:lnTo>
                  <a:lnTo>
                    <a:pt x="418" y="126"/>
                  </a:lnTo>
                  <a:lnTo>
                    <a:pt x="418" y="127"/>
                  </a:lnTo>
                  <a:lnTo>
                    <a:pt x="417" y="126"/>
                  </a:lnTo>
                  <a:lnTo>
                    <a:pt x="416" y="126"/>
                  </a:lnTo>
                  <a:lnTo>
                    <a:pt x="415" y="126"/>
                  </a:lnTo>
                  <a:lnTo>
                    <a:pt x="413" y="126"/>
                  </a:lnTo>
                  <a:lnTo>
                    <a:pt x="412" y="125"/>
                  </a:lnTo>
                  <a:lnTo>
                    <a:pt x="412" y="123"/>
                  </a:lnTo>
                  <a:lnTo>
                    <a:pt x="411" y="121"/>
                  </a:lnTo>
                  <a:lnTo>
                    <a:pt x="410" y="120"/>
                  </a:lnTo>
                  <a:lnTo>
                    <a:pt x="409" y="119"/>
                  </a:lnTo>
                  <a:lnTo>
                    <a:pt x="409" y="118"/>
                  </a:lnTo>
                  <a:lnTo>
                    <a:pt x="409" y="117"/>
                  </a:lnTo>
                  <a:lnTo>
                    <a:pt x="407" y="115"/>
                  </a:lnTo>
                  <a:lnTo>
                    <a:pt x="407" y="114"/>
                  </a:lnTo>
                  <a:lnTo>
                    <a:pt x="406" y="114"/>
                  </a:lnTo>
                  <a:lnTo>
                    <a:pt x="405" y="115"/>
                  </a:lnTo>
                  <a:lnTo>
                    <a:pt x="405" y="117"/>
                  </a:lnTo>
                  <a:lnTo>
                    <a:pt x="404" y="117"/>
                  </a:lnTo>
                  <a:lnTo>
                    <a:pt x="404" y="118"/>
                  </a:lnTo>
                  <a:lnTo>
                    <a:pt x="406" y="120"/>
                  </a:lnTo>
                  <a:lnTo>
                    <a:pt x="406" y="121"/>
                  </a:lnTo>
                  <a:lnTo>
                    <a:pt x="406" y="123"/>
                  </a:lnTo>
                  <a:lnTo>
                    <a:pt x="409" y="124"/>
                  </a:lnTo>
                  <a:lnTo>
                    <a:pt x="407" y="125"/>
                  </a:lnTo>
                  <a:lnTo>
                    <a:pt x="406" y="125"/>
                  </a:lnTo>
                  <a:lnTo>
                    <a:pt x="405" y="125"/>
                  </a:lnTo>
                  <a:lnTo>
                    <a:pt x="404" y="124"/>
                  </a:lnTo>
                  <a:lnTo>
                    <a:pt x="404" y="123"/>
                  </a:lnTo>
                  <a:lnTo>
                    <a:pt x="404" y="120"/>
                  </a:lnTo>
                  <a:lnTo>
                    <a:pt x="404" y="119"/>
                  </a:lnTo>
                  <a:lnTo>
                    <a:pt x="403" y="117"/>
                  </a:lnTo>
                  <a:lnTo>
                    <a:pt x="403" y="114"/>
                  </a:lnTo>
                  <a:lnTo>
                    <a:pt x="404" y="113"/>
                  </a:lnTo>
                  <a:lnTo>
                    <a:pt x="403" y="112"/>
                  </a:lnTo>
                  <a:lnTo>
                    <a:pt x="401" y="111"/>
                  </a:lnTo>
                  <a:lnTo>
                    <a:pt x="400" y="109"/>
                  </a:lnTo>
                  <a:lnTo>
                    <a:pt x="399" y="111"/>
                  </a:lnTo>
                  <a:lnTo>
                    <a:pt x="399" y="112"/>
                  </a:lnTo>
                  <a:lnTo>
                    <a:pt x="398" y="112"/>
                  </a:lnTo>
                  <a:lnTo>
                    <a:pt x="398" y="113"/>
                  </a:lnTo>
                  <a:lnTo>
                    <a:pt x="399" y="115"/>
                  </a:lnTo>
                  <a:lnTo>
                    <a:pt x="400" y="117"/>
                  </a:lnTo>
                  <a:lnTo>
                    <a:pt x="400" y="118"/>
                  </a:lnTo>
                  <a:lnTo>
                    <a:pt x="399" y="120"/>
                  </a:lnTo>
                  <a:lnTo>
                    <a:pt x="399" y="123"/>
                  </a:lnTo>
                  <a:lnTo>
                    <a:pt x="399" y="125"/>
                  </a:lnTo>
                  <a:lnTo>
                    <a:pt x="398" y="125"/>
                  </a:lnTo>
                  <a:lnTo>
                    <a:pt x="397" y="124"/>
                  </a:lnTo>
                  <a:lnTo>
                    <a:pt x="397" y="123"/>
                  </a:lnTo>
                  <a:lnTo>
                    <a:pt x="395" y="121"/>
                  </a:lnTo>
                  <a:lnTo>
                    <a:pt x="395" y="120"/>
                  </a:lnTo>
                  <a:lnTo>
                    <a:pt x="397" y="118"/>
                  </a:lnTo>
                  <a:lnTo>
                    <a:pt x="395" y="118"/>
                  </a:lnTo>
                  <a:lnTo>
                    <a:pt x="393" y="117"/>
                  </a:lnTo>
                  <a:lnTo>
                    <a:pt x="392" y="117"/>
                  </a:lnTo>
                  <a:lnTo>
                    <a:pt x="391" y="118"/>
                  </a:lnTo>
                  <a:lnTo>
                    <a:pt x="391" y="119"/>
                  </a:lnTo>
                  <a:lnTo>
                    <a:pt x="391" y="120"/>
                  </a:lnTo>
                  <a:lnTo>
                    <a:pt x="392" y="123"/>
                  </a:lnTo>
                  <a:lnTo>
                    <a:pt x="393" y="124"/>
                  </a:lnTo>
                  <a:lnTo>
                    <a:pt x="392" y="124"/>
                  </a:lnTo>
                  <a:lnTo>
                    <a:pt x="391" y="121"/>
                  </a:lnTo>
                  <a:lnTo>
                    <a:pt x="391" y="120"/>
                  </a:lnTo>
                  <a:lnTo>
                    <a:pt x="391" y="119"/>
                  </a:lnTo>
                  <a:lnTo>
                    <a:pt x="389" y="118"/>
                  </a:lnTo>
                  <a:lnTo>
                    <a:pt x="388" y="118"/>
                  </a:lnTo>
                  <a:lnTo>
                    <a:pt x="386" y="119"/>
                  </a:lnTo>
                  <a:lnTo>
                    <a:pt x="385" y="119"/>
                  </a:lnTo>
                  <a:lnTo>
                    <a:pt x="385" y="117"/>
                  </a:lnTo>
                  <a:lnTo>
                    <a:pt x="385" y="115"/>
                  </a:lnTo>
                  <a:lnTo>
                    <a:pt x="386" y="114"/>
                  </a:lnTo>
                  <a:lnTo>
                    <a:pt x="387" y="113"/>
                  </a:lnTo>
                  <a:lnTo>
                    <a:pt x="387" y="112"/>
                  </a:lnTo>
                  <a:lnTo>
                    <a:pt x="388" y="112"/>
                  </a:lnTo>
                  <a:lnTo>
                    <a:pt x="388" y="111"/>
                  </a:lnTo>
                  <a:lnTo>
                    <a:pt x="389" y="109"/>
                  </a:lnTo>
                  <a:lnTo>
                    <a:pt x="389" y="108"/>
                  </a:lnTo>
                  <a:lnTo>
                    <a:pt x="388" y="107"/>
                  </a:lnTo>
                  <a:lnTo>
                    <a:pt x="387" y="106"/>
                  </a:lnTo>
                  <a:lnTo>
                    <a:pt x="385" y="107"/>
                  </a:lnTo>
                  <a:lnTo>
                    <a:pt x="383" y="107"/>
                  </a:lnTo>
                  <a:lnTo>
                    <a:pt x="382" y="107"/>
                  </a:lnTo>
                  <a:lnTo>
                    <a:pt x="383" y="106"/>
                  </a:lnTo>
                  <a:lnTo>
                    <a:pt x="385" y="105"/>
                  </a:lnTo>
                  <a:lnTo>
                    <a:pt x="387" y="105"/>
                  </a:lnTo>
                  <a:lnTo>
                    <a:pt x="388" y="103"/>
                  </a:lnTo>
                  <a:lnTo>
                    <a:pt x="389" y="103"/>
                  </a:lnTo>
                  <a:lnTo>
                    <a:pt x="389" y="105"/>
                  </a:lnTo>
                  <a:lnTo>
                    <a:pt x="389" y="106"/>
                  </a:lnTo>
                  <a:lnTo>
                    <a:pt x="391" y="106"/>
                  </a:lnTo>
                  <a:lnTo>
                    <a:pt x="392" y="105"/>
                  </a:lnTo>
                  <a:lnTo>
                    <a:pt x="393" y="103"/>
                  </a:lnTo>
                  <a:lnTo>
                    <a:pt x="394" y="103"/>
                  </a:lnTo>
                  <a:lnTo>
                    <a:pt x="397" y="102"/>
                  </a:lnTo>
                  <a:lnTo>
                    <a:pt x="397" y="100"/>
                  </a:lnTo>
                  <a:lnTo>
                    <a:pt x="395" y="100"/>
                  </a:lnTo>
                  <a:lnTo>
                    <a:pt x="394" y="98"/>
                  </a:lnTo>
                  <a:lnTo>
                    <a:pt x="393" y="98"/>
                  </a:lnTo>
                  <a:lnTo>
                    <a:pt x="393" y="100"/>
                  </a:lnTo>
                  <a:lnTo>
                    <a:pt x="391" y="100"/>
                  </a:lnTo>
                  <a:lnTo>
                    <a:pt x="389" y="97"/>
                  </a:lnTo>
                  <a:lnTo>
                    <a:pt x="389" y="96"/>
                  </a:lnTo>
                  <a:lnTo>
                    <a:pt x="388" y="96"/>
                  </a:lnTo>
                  <a:lnTo>
                    <a:pt x="387" y="97"/>
                  </a:lnTo>
                  <a:lnTo>
                    <a:pt x="386" y="97"/>
                  </a:lnTo>
                  <a:lnTo>
                    <a:pt x="386" y="96"/>
                  </a:lnTo>
                  <a:lnTo>
                    <a:pt x="388" y="94"/>
                  </a:lnTo>
                  <a:lnTo>
                    <a:pt x="389" y="92"/>
                  </a:lnTo>
                  <a:lnTo>
                    <a:pt x="392" y="92"/>
                  </a:lnTo>
                  <a:lnTo>
                    <a:pt x="393" y="90"/>
                  </a:lnTo>
                  <a:lnTo>
                    <a:pt x="395" y="89"/>
                  </a:lnTo>
                  <a:lnTo>
                    <a:pt x="398" y="89"/>
                  </a:lnTo>
                  <a:lnTo>
                    <a:pt x="399" y="89"/>
                  </a:lnTo>
                  <a:lnTo>
                    <a:pt x="400" y="89"/>
                  </a:lnTo>
                  <a:lnTo>
                    <a:pt x="401" y="88"/>
                  </a:lnTo>
                  <a:lnTo>
                    <a:pt x="401" y="86"/>
                  </a:lnTo>
                  <a:lnTo>
                    <a:pt x="403" y="88"/>
                  </a:lnTo>
                  <a:lnTo>
                    <a:pt x="404" y="89"/>
                  </a:lnTo>
                  <a:lnTo>
                    <a:pt x="405" y="89"/>
                  </a:lnTo>
                  <a:lnTo>
                    <a:pt x="406" y="88"/>
                  </a:lnTo>
                  <a:lnTo>
                    <a:pt x="406" y="85"/>
                  </a:lnTo>
                  <a:lnTo>
                    <a:pt x="407" y="88"/>
                  </a:lnTo>
                  <a:lnTo>
                    <a:pt x="410" y="88"/>
                  </a:lnTo>
                  <a:lnTo>
                    <a:pt x="412" y="88"/>
                  </a:lnTo>
                  <a:lnTo>
                    <a:pt x="413" y="86"/>
                  </a:lnTo>
                  <a:lnTo>
                    <a:pt x="415" y="85"/>
                  </a:lnTo>
                  <a:lnTo>
                    <a:pt x="416" y="84"/>
                  </a:lnTo>
                  <a:lnTo>
                    <a:pt x="416" y="83"/>
                  </a:lnTo>
                  <a:lnTo>
                    <a:pt x="416" y="82"/>
                  </a:lnTo>
                  <a:lnTo>
                    <a:pt x="416" y="80"/>
                  </a:lnTo>
                  <a:lnTo>
                    <a:pt x="416" y="79"/>
                  </a:lnTo>
                  <a:lnTo>
                    <a:pt x="416" y="77"/>
                  </a:lnTo>
                  <a:lnTo>
                    <a:pt x="415" y="77"/>
                  </a:lnTo>
                  <a:lnTo>
                    <a:pt x="412" y="77"/>
                  </a:lnTo>
                  <a:lnTo>
                    <a:pt x="410" y="78"/>
                  </a:lnTo>
                  <a:lnTo>
                    <a:pt x="410" y="80"/>
                  </a:lnTo>
                  <a:lnTo>
                    <a:pt x="409" y="82"/>
                  </a:lnTo>
                  <a:lnTo>
                    <a:pt x="407" y="83"/>
                  </a:lnTo>
                  <a:lnTo>
                    <a:pt x="406" y="82"/>
                  </a:lnTo>
                  <a:lnTo>
                    <a:pt x="407" y="80"/>
                  </a:lnTo>
                  <a:lnTo>
                    <a:pt x="409" y="79"/>
                  </a:lnTo>
                  <a:lnTo>
                    <a:pt x="409" y="78"/>
                  </a:lnTo>
                  <a:lnTo>
                    <a:pt x="407" y="77"/>
                  </a:lnTo>
                  <a:lnTo>
                    <a:pt x="406" y="78"/>
                  </a:lnTo>
                  <a:lnTo>
                    <a:pt x="405" y="76"/>
                  </a:lnTo>
                  <a:lnTo>
                    <a:pt x="404" y="77"/>
                  </a:lnTo>
                  <a:lnTo>
                    <a:pt x="404" y="79"/>
                  </a:lnTo>
                  <a:lnTo>
                    <a:pt x="401" y="80"/>
                  </a:lnTo>
                  <a:lnTo>
                    <a:pt x="400" y="80"/>
                  </a:lnTo>
                  <a:lnTo>
                    <a:pt x="398" y="80"/>
                  </a:lnTo>
                  <a:lnTo>
                    <a:pt x="397" y="80"/>
                  </a:lnTo>
                  <a:lnTo>
                    <a:pt x="400" y="78"/>
                  </a:lnTo>
                  <a:lnTo>
                    <a:pt x="401" y="77"/>
                  </a:lnTo>
                  <a:lnTo>
                    <a:pt x="401" y="76"/>
                  </a:lnTo>
                  <a:lnTo>
                    <a:pt x="401" y="74"/>
                  </a:lnTo>
                  <a:lnTo>
                    <a:pt x="403" y="72"/>
                  </a:lnTo>
                  <a:lnTo>
                    <a:pt x="403" y="71"/>
                  </a:lnTo>
                  <a:lnTo>
                    <a:pt x="401" y="68"/>
                  </a:lnTo>
                  <a:lnTo>
                    <a:pt x="400" y="70"/>
                  </a:lnTo>
                  <a:lnTo>
                    <a:pt x="399" y="68"/>
                  </a:lnTo>
                  <a:lnTo>
                    <a:pt x="398" y="70"/>
                  </a:lnTo>
                  <a:lnTo>
                    <a:pt x="398" y="71"/>
                  </a:lnTo>
                  <a:lnTo>
                    <a:pt x="397" y="72"/>
                  </a:lnTo>
                  <a:lnTo>
                    <a:pt x="397" y="73"/>
                  </a:lnTo>
                  <a:lnTo>
                    <a:pt x="395" y="73"/>
                  </a:lnTo>
                  <a:lnTo>
                    <a:pt x="395" y="74"/>
                  </a:lnTo>
                  <a:lnTo>
                    <a:pt x="395" y="77"/>
                  </a:lnTo>
                  <a:lnTo>
                    <a:pt x="394" y="77"/>
                  </a:lnTo>
                  <a:lnTo>
                    <a:pt x="393" y="78"/>
                  </a:lnTo>
                  <a:lnTo>
                    <a:pt x="393" y="79"/>
                  </a:lnTo>
                  <a:lnTo>
                    <a:pt x="391" y="80"/>
                  </a:lnTo>
                  <a:lnTo>
                    <a:pt x="391" y="78"/>
                  </a:lnTo>
                  <a:lnTo>
                    <a:pt x="392" y="76"/>
                  </a:lnTo>
                  <a:lnTo>
                    <a:pt x="393" y="74"/>
                  </a:lnTo>
                  <a:lnTo>
                    <a:pt x="394" y="71"/>
                  </a:lnTo>
                  <a:lnTo>
                    <a:pt x="394" y="68"/>
                  </a:lnTo>
                  <a:lnTo>
                    <a:pt x="393" y="68"/>
                  </a:lnTo>
                  <a:lnTo>
                    <a:pt x="391" y="68"/>
                  </a:lnTo>
                  <a:lnTo>
                    <a:pt x="391" y="70"/>
                  </a:lnTo>
                  <a:lnTo>
                    <a:pt x="389" y="71"/>
                  </a:lnTo>
                  <a:lnTo>
                    <a:pt x="388" y="71"/>
                  </a:lnTo>
                  <a:lnTo>
                    <a:pt x="386" y="71"/>
                  </a:lnTo>
                  <a:lnTo>
                    <a:pt x="385" y="71"/>
                  </a:lnTo>
                  <a:lnTo>
                    <a:pt x="382" y="73"/>
                  </a:lnTo>
                  <a:lnTo>
                    <a:pt x="380" y="74"/>
                  </a:lnTo>
                  <a:lnTo>
                    <a:pt x="379" y="74"/>
                  </a:lnTo>
                  <a:lnTo>
                    <a:pt x="379" y="72"/>
                  </a:lnTo>
                  <a:lnTo>
                    <a:pt x="377" y="71"/>
                  </a:lnTo>
                  <a:lnTo>
                    <a:pt x="375" y="71"/>
                  </a:lnTo>
                  <a:lnTo>
                    <a:pt x="377" y="68"/>
                  </a:lnTo>
                  <a:lnTo>
                    <a:pt x="379" y="67"/>
                  </a:lnTo>
                  <a:lnTo>
                    <a:pt x="376" y="65"/>
                  </a:lnTo>
                  <a:lnTo>
                    <a:pt x="374" y="64"/>
                  </a:lnTo>
                  <a:lnTo>
                    <a:pt x="372" y="65"/>
                  </a:lnTo>
                  <a:lnTo>
                    <a:pt x="371" y="67"/>
                  </a:lnTo>
                  <a:lnTo>
                    <a:pt x="370" y="70"/>
                  </a:lnTo>
                  <a:lnTo>
                    <a:pt x="368" y="71"/>
                  </a:lnTo>
                  <a:lnTo>
                    <a:pt x="364" y="72"/>
                  </a:lnTo>
                  <a:lnTo>
                    <a:pt x="362" y="71"/>
                  </a:lnTo>
                  <a:lnTo>
                    <a:pt x="362" y="70"/>
                  </a:lnTo>
                  <a:lnTo>
                    <a:pt x="362" y="67"/>
                  </a:lnTo>
                  <a:lnTo>
                    <a:pt x="363" y="66"/>
                  </a:lnTo>
                  <a:lnTo>
                    <a:pt x="364" y="64"/>
                  </a:lnTo>
                  <a:lnTo>
                    <a:pt x="364" y="61"/>
                  </a:lnTo>
                  <a:lnTo>
                    <a:pt x="362" y="59"/>
                  </a:lnTo>
                  <a:lnTo>
                    <a:pt x="362" y="58"/>
                  </a:lnTo>
                  <a:lnTo>
                    <a:pt x="360" y="55"/>
                  </a:lnTo>
                  <a:lnTo>
                    <a:pt x="359" y="55"/>
                  </a:lnTo>
                  <a:lnTo>
                    <a:pt x="358" y="55"/>
                  </a:lnTo>
                  <a:lnTo>
                    <a:pt x="357" y="56"/>
                  </a:lnTo>
                  <a:lnTo>
                    <a:pt x="354" y="58"/>
                  </a:lnTo>
                  <a:lnTo>
                    <a:pt x="353" y="58"/>
                  </a:lnTo>
                  <a:lnTo>
                    <a:pt x="351" y="58"/>
                  </a:lnTo>
                  <a:lnTo>
                    <a:pt x="351" y="59"/>
                  </a:lnTo>
                  <a:lnTo>
                    <a:pt x="347" y="60"/>
                  </a:lnTo>
                  <a:lnTo>
                    <a:pt x="347" y="58"/>
                  </a:lnTo>
                  <a:lnTo>
                    <a:pt x="348" y="56"/>
                  </a:lnTo>
                  <a:lnTo>
                    <a:pt x="347" y="54"/>
                  </a:lnTo>
                  <a:lnTo>
                    <a:pt x="345" y="54"/>
                  </a:lnTo>
                  <a:lnTo>
                    <a:pt x="344" y="55"/>
                  </a:lnTo>
                  <a:lnTo>
                    <a:pt x="342" y="56"/>
                  </a:lnTo>
                  <a:lnTo>
                    <a:pt x="342" y="59"/>
                  </a:lnTo>
                  <a:lnTo>
                    <a:pt x="340" y="58"/>
                  </a:lnTo>
                  <a:lnTo>
                    <a:pt x="339" y="56"/>
                  </a:lnTo>
                  <a:lnTo>
                    <a:pt x="338" y="55"/>
                  </a:lnTo>
                  <a:lnTo>
                    <a:pt x="336" y="55"/>
                  </a:lnTo>
                  <a:lnTo>
                    <a:pt x="334" y="54"/>
                  </a:lnTo>
                  <a:lnTo>
                    <a:pt x="334" y="56"/>
                  </a:lnTo>
                  <a:lnTo>
                    <a:pt x="333" y="58"/>
                  </a:lnTo>
                  <a:lnTo>
                    <a:pt x="333" y="56"/>
                  </a:lnTo>
                  <a:lnTo>
                    <a:pt x="330" y="55"/>
                  </a:lnTo>
                  <a:lnTo>
                    <a:pt x="329" y="55"/>
                  </a:lnTo>
                  <a:lnTo>
                    <a:pt x="327" y="55"/>
                  </a:lnTo>
                  <a:lnTo>
                    <a:pt x="327" y="54"/>
                  </a:lnTo>
                  <a:lnTo>
                    <a:pt x="327" y="53"/>
                  </a:lnTo>
                  <a:lnTo>
                    <a:pt x="329" y="53"/>
                  </a:lnTo>
                  <a:lnTo>
                    <a:pt x="330" y="53"/>
                  </a:lnTo>
                  <a:lnTo>
                    <a:pt x="332" y="53"/>
                  </a:lnTo>
                  <a:lnTo>
                    <a:pt x="333" y="53"/>
                  </a:lnTo>
                  <a:lnTo>
                    <a:pt x="335" y="52"/>
                  </a:lnTo>
                  <a:lnTo>
                    <a:pt x="336" y="52"/>
                  </a:lnTo>
                  <a:lnTo>
                    <a:pt x="338" y="52"/>
                  </a:lnTo>
                  <a:lnTo>
                    <a:pt x="339" y="52"/>
                  </a:lnTo>
                  <a:lnTo>
                    <a:pt x="341" y="52"/>
                  </a:lnTo>
                  <a:lnTo>
                    <a:pt x="342" y="52"/>
                  </a:lnTo>
                  <a:lnTo>
                    <a:pt x="346" y="52"/>
                  </a:lnTo>
                  <a:lnTo>
                    <a:pt x="347" y="52"/>
                  </a:lnTo>
                  <a:lnTo>
                    <a:pt x="348" y="50"/>
                  </a:lnTo>
                  <a:lnTo>
                    <a:pt x="350" y="49"/>
                  </a:lnTo>
                  <a:lnTo>
                    <a:pt x="351" y="48"/>
                  </a:lnTo>
                  <a:lnTo>
                    <a:pt x="350" y="46"/>
                  </a:lnTo>
                  <a:lnTo>
                    <a:pt x="348" y="46"/>
                  </a:lnTo>
                  <a:lnTo>
                    <a:pt x="347" y="44"/>
                  </a:lnTo>
                  <a:lnTo>
                    <a:pt x="346" y="46"/>
                  </a:lnTo>
                  <a:lnTo>
                    <a:pt x="345" y="47"/>
                  </a:lnTo>
                  <a:lnTo>
                    <a:pt x="344" y="48"/>
                  </a:lnTo>
                  <a:lnTo>
                    <a:pt x="342" y="48"/>
                  </a:lnTo>
                  <a:lnTo>
                    <a:pt x="341" y="47"/>
                  </a:lnTo>
                  <a:lnTo>
                    <a:pt x="344" y="46"/>
                  </a:lnTo>
                  <a:lnTo>
                    <a:pt x="342" y="44"/>
                  </a:lnTo>
                  <a:lnTo>
                    <a:pt x="342" y="43"/>
                  </a:lnTo>
                  <a:lnTo>
                    <a:pt x="342" y="41"/>
                  </a:lnTo>
                  <a:lnTo>
                    <a:pt x="344" y="42"/>
                  </a:lnTo>
                  <a:lnTo>
                    <a:pt x="345" y="43"/>
                  </a:lnTo>
                  <a:lnTo>
                    <a:pt x="347" y="43"/>
                  </a:lnTo>
                  <a:lnTo>
                    <a:pt x="348" y="42"/>
                  </a:lnTo>
                  <a:lnTo>
                    <a:pt x="350" y="40"/>
                  </a:lnTo>
                  <a:lnTo>
                    <a:pt x="351" y="41"/>
                  </a:lnTo>
                  <a:lnTo>
                    <a:pt x="352" y="42"/>
                  </a:lnTo>
                  <a:lnTo>
                    <a:pt x="353" y="42"/>
                  </a:lnTo>
                  <a:lnTo>
                    <a:pt x="354" y="41"/>
                  </a:lnTo>
                  <a:lnTo>
                    <a:pt x="357" y="40"/>
                  </a:lnTo>
                  <a:lnTo>
                    <a:pt x="357" y="38"/>
                  </a:lnTo>
                  <a:lnTo>
                    <a:pt x="359" y="36"/>
                  </a:lnTo>
                  <a:lnTo>
                    <a:pt x="359" y="34"/>
                  </a:lnTo>
                  <a:lnTo>
                    <a:pt x="359" y="32"/>
                  </a:lnTo>
                  <a:lnTo>
                    <a:pt x="357" y="31"/>
                  </a:lnTo>
                  <a:lnTo>
                    <a:pt x="354" y="31"/>
                  </a:lnTo>
                  <a:lnTo>
                    <a:pt x="354" y="34"/>
                  </a:lnTo>
                  <a:lnTo>
                    <a:pt x="353" y="35"/>
                  </a:lnTo>
                  <a:lnTo>
                    <a:pt x="352" y="35"/>
                  </a:lnTo>
                  <a:lnTo>
                    <a:pt x="352" y="32"/>
                  </a:lnTo>
                  <a:lnTo>
                    <a:pt x="352" y="30"/>
                  </a:lnTo>
                  <a:lnTo>
                    <a:pt x="353" y="28"/>
                  </a:lnTo>
                  <a:lnTo>
                    <a:pt x="356" y="25"/>
                  </a:lnTo>
                  <a:lnTo>
                    <a:pt x="356" y="23"/>
                  </a:lnTo>
                  <a:lnTo>
                    <a:pt x="354" y="20"/>
                  </a:lnTo>
                  <a:lnTo>
                    <a:pt x="352" y="20"/>
                  </a:lnTo>
                  <a:lnTo>
                    <a:pt x="351" y="20"/>
                  </a:lnTo>
                  <a:lnTo>
                    <a:pt x="347" y="23"/>
                  </a:lnTo>
                  <a:lnTo>
                    <a:pt x="347" y="24"/>
                  </a:lnTo>
                  <a:lnTo>
                    <a:pt x="347" y="26"/>
                  </a:lnTo>
                  <a:lnTo>
                    <a:pt x="347" y="29"/>
                  </a:lnTo>
                  <a:lnTo>
                    <a:pt x="346" y="29"/>
                  </a:lnTo>
                  <a:lnTo>
                    <a:pt x="345" y="28"/>
                  </a:lnTo>
                  <a:lnTo>
                    <a:pt x="345" y="26"/>
                  </a:lnTo>
                  <a:lnTo>
                    <a:pt x="345" y="24"/>
                  </a:lnTo>
                  <a:lnTo>
                    <a:pt x="345" y="23"/>
                  </a:lnTo>
                  <a:lnTo>
                    <a:pt x="344" y="20"/>
                  </a:lnTo>
                  <a:lnTo>
                    <a:pt x="342" y="20"/>
                  </a:lnTo>
                  <a:lnTo>
                    <a:pt x="341" y="22"/>
                  </a:lnTo>
                  <a:lnTo>
                    <a:pt x="340" y="24"/>
                  </a:lnTo>
                  <a:lnTo>
                    <a:pt x="339" y="25"/>
                  </a:lnTo>
                  <a:lnTo>
                    <a:pt x="338" y="26"/>
                  </a:lnTo>
                  <a:lnTo>
                    <a:pt x="336" y="26"/>
                  </a:lnTo>
                  <a:lnTo>
                    <a:pt x="334" y="28"/>
                  </a:lnTo>
                  <a:lnTo>
                    <a:pt x="332" y="29"/>
                  </a:lnTo>
                  <a:lnTo>
                    <a:pt x="330" y="29"/>
                  </a:lnTo>
                  <a:lnTo>
                    <a:pt x="330" y="30"/>
                  </a:lnTo>
                  <a:lnTo>
                    <a:pt x="330" y="31"/>
                  </a:lnTo>
                  <a:lnTo>
                    <a:pt x="332" y="32"/>
                  </a:lnTo>
                  <a:lnTo>
                    <a:pt x="330" y="34"/>
                  </a:lnTo>
                  <a:lnTo>
                    <a:pt x="329" y="35"/>
                  </a:lnTo>
                  <a:lnTo>
                    <a:pt x="328" y="34"/>
                  </a:lnTo>
                  <a:lnTo>
                    <a:pt x="327" y="32"/>
                  </a:lnTo>
                  <a:lnTo>
                    <a:pt x="326" y="30"/>
                  </a:lnTo>
                  <a:lnTo>
                    <a:pt x="326" y="29"/>
                  </a:lnTo>
                  <a:lnTo>
                    <a:pt x="324" y="26"/>
                  </a:lnTo>
                  <a:lnTo>
                    <a:pt x="323" y="24"/>
                  </a:lnTo>
                  <a:lnTo>
                    <a:pt x="322" y="24"/>
                  </a:lnTo>
                  <a:lnTo>
                    <a:pt x="321" y="24"/>
                  </a:lnTo>
                  <a:lnTo>
                    <a:pt x="320" y="24"/>
                  </a:lnTo>
                  <a:lnTo>
                    <a:pt x="318" y="25"/>
                  </a:lnTo>
                  <a:lnTo>
                    <a:pt x="317" y="28"/>
                  </a:lnTo>
                  <a:lnTo>
                    <a:pt x="316" y="28"/>
                  </a:lnTo>
                  <a:lnTo>
                    <a:pt x="316" y="25"/>
                  </a:lnTo>
                  <a:lnTo>
                    <a:pt x="316" y="23"/>
                  </a:lnTo>
                  <a:lnTo>
                    <a:pt x="316" y="20"/>
                  </a:lnTo>
                  <a:lnTo>
                    <a:pt x="317" y="19"/>
                  </a:lnTo>
                  <a:lnTo>
                    <a:pt x="316" y="17"/>
                  </a:lnTo>
                  <a:lnTo>
                    <a:pt x="315" y="14"/>
                  </a:lnTo>
                  <a:lnTo>
                    <a:pt x="314" y="13"/>
                  </a:lnTo>
                  <a:lnTo>
                    <a:pt x="311" y="13"/>
                  </a:lnTo>
                  <a:lnTo>
                    <a:pt x="310" y="14"/>
                  </a:lnTo>
                  <a:lnTo>
                    <a:pt x="310" y="17"/>
                  </a:lnTo>
                  <a:lnTo>
                    <a:pt x="309" y="19"/>
                  </a:lnTo>
                  <a:lnTo>
                    <a:pt x="309" y="22"/>
                  </a:lnTo>
                  <a:lnTo>
                    <a:pt x="307" y="23"/>
                  </a:lnTo>
                  <a:lnTo>
                    <a:pt x="306" y="22"/>
                  </a:lnTo>
                  <a:lnTo>
                    <a:pt x="306" y="20"/>
                  </a:lnTo>
                  <a:lnTo>
                    <a:pt x="305" y="18"/>
                  </a:lnTo>
                  <a:lnTo>
                    <a:pt x="305" y="17"/>
                  </a:lnTo>
                  <a:lnTo>
                    <a:pt x="304" y="16"/>
                  </a:lnTo>
                  <a:lnTo>
                    <a:pt x="303" y="14"/>
                  </a:lnTo>
                  <a:lnTo>
                    <a:pt x="304" y="13"/>
                  </a:lnTo>
                  <a:lnTo>
                    <a:pt x="305" y="11"/>
                  </a:lnTo>
                  <a:lnTo>
                    <a:pt x="304" y="10"/>
                  </a:lnTo>
                  <a:lnTo>
                    <a:pt x="300" y="8"/>
                  </a:lnTo>
                  <a:lnTo>
                    <a:pt x="299" y="8"/>
                  </a:lnTo>
                  <a:lnTo>
                    <a:pt x="298" y="10"/>
                  </a:lnTo>
                  <a:lnTo>
                    <a:pt x="297" y="12"/>
                  </a:lnTo>
                  <a:lnTo>
                    <a:pt x="295" y="14"/>
                  </a:lnTo>
                  <a:lnTo>
                    <a:pt x="293" y="16"/>
                  </a:lnTo>
                  <a:lnTo>
                    <a:pt x="293" y="17"/>
                  </a:lnTo>
                  <a:lnTo>
                    <a:pt x="292" y="19"/>
                  </a:lnTo>
                  <a:lnTo>
                    <a:pt x="293" y="20"/>
                  </a:lnTo>
                  <a:lnTo>
                    <a:pt x="295" y="22"/>
                  </a:lnTo>
                  <a:lnTo>
                    <a:pt x="297" y="23"/>
                  </a:lnTo>
                  <a:lnTo>
                    <a:pt x="299" y="24"/>
                  </a:lnTo>
                  <a:lnTo>
                    <a:pt x="299" y="25"/>
                  </a:lnTo>
                  <a:lnTo>
                    <a:pt x="298" y="26"/>
                  </a:lnTo>
                  <a:lnTo>
                    <a:pt x="297" y="26"/>
                  </a:lnTo>
                  <a:lnTo>
                    <a:pt x="295" y="28"/>
                  </a:lnTo>
                  <a:lnTo>
                    <a:pt x="297" y="29"/>
                  </a:lnTo>
                  <a:lnTo>
                    <a:pt x="297" y="30"/>
                  </a:lnTo>
                  <a:lnTo>
                    <a:pt x="295" y="30"/>
                  </a:lnTo>
                  <a:lnTo>
                    <a:pt x="295" y="29"/>
                  </a:lnTo>
                  <a:lnTo>
                    <a:pt x="294" y="28"/>
                  </a:lnTo>
                  <a:lnTo>
                    <a:pt x="293" y="25"/>
                  </a:lnTo>
                  <a:lnTo>
                    <a:pt x="292" y="24"/>
                  </a:lnTo>
                  <a:lnTo>
                    <a:pt x="291" y="24"/>
                  </a:lnTo>
                  <a:lnTo>
                    <a:pt x="289" y="23"/>
                  </a:lnTo>
                  <a:lnTo>
                    <a:pt x="288" y="20"/>
                  </a:lnTo>
                  <a:lnTo>
                    <a:pt x="287" y="20"/>
                  </a:lnTo>
                  <a:lnTo>
                    <a:pt x="286" y="22"/>
                  </a:lnTo>
                  <a:lnTo>
                    <a:pt x="285" y="22"/>
                  </a:lnTo>
                  <a:lnTo>
                    <a:pt x="282" y="22"/>
                  </a:lnTo>
                  <a:lnTo>
                    <a:pt x="282" y="24"/>
                  </a:lnTo>
                  <a:lnTo>
                    <a:pt x="283" y="25"/>
                  </a:lnTo>
                  <a:lnTo>
                    <a:pt x="283" y="28"/>
                  </a:lnTo>
                  <a:lnTo>
                    <a:pt x="282" y="29"/>
                  </a:lnTo>
                  <a:lnTo>
                    <a:pt x="282" y="30"/>
                  </a:lnTo>
                  <a:lnTo>
                    <a:pt x="285" y="32"/>
                  </a:lnTo>
                  <a:lnTo>
                    <a:pt x="287" y="32"/>
                  </a:lnTo>
                  <a:lnTo>
                    <a:pt x="288" y="31"/>
                  </a:lnTo>
                  <a:lnTo>
                    <a:pt x="289" y="32"/>
                  </a:lnTo>
                  <a:lnTo>
                    <a:pt x="289" y="34"/>
                  </a:lnTo>
                  <a:lnTo>
                    <a:pt x="288" y="36"/>
                  </a:lnTo>
                  <a:lnTo>
                    <a:pt x="291" y="36"/>
                  </a:lnTo>
                  <a:lnTo>
                    <a:pt x="292" y="36"/>
                  </a:lnTo>
                  <a:lnTo>
                    <a:pt x="293" y="37"/>
                  </a:lnTo>
                  <a:lnTo>
                    <a:pt x="294" y="38"/>
                  </a:lnTo>
                  <a:lnTo>
                    <a:pt x="295" y="38"/>
                  </a:lnTo>
                  <a:lnTo>
                    <a:pt x="298" y="40"/>
                  </a:lnTo>
                  <a:lnTo>
                    <a:pt x="298" y="42"/>
                  </a:lnTo>
                  <a:lnTo>
                    <a:pt x="297" y="43"/>
                  </a:lnTo>
                  <a:lnTo>
                    <a:pt x="294" y="43"/>
                  </a:lnTo>
                  <a:lnTo>
                    <a:pt x="293" y="41"/>
                  </a:lnTo>
                  <a:lnTo>
                    <a:pt x="293" y="40"/>
                  </a:lnTo>
                  <a:lnTo>
                    <a:pt x="291" y="38"/>
                  </a:lnTo>
                  <a:lnTo>
                    <a:pt x="289" y="38"/>
                  </a:lnTo>
                  <a:lnTo>
                    <a:pt x="288" y="40"/>
                  </a:lnTo>
                  <a:lnTo>
                    <a:pt x="287" y="42"/>
                  </a:lnTo>
                  <a:lnTo>
                    <a:pt x="286" y="42"/>
                  </a:lnTo>
                  <a:lnTo>
                    <a:pt x="283" y="41"/>
                  </a:lnTo>
                  <a:lnTo>
                    <a:pt x="281" y="41"/>
                  </a:lnTo>
                  <a:lnTo>
                    <a:pt x="281" y="40"/>
                  </a:lnTo>
                  <a:lnTo>
                    <a:pt x="279" y="38"/>
                  </a:lnTo>
                  <a:lnTo>
                    <a:pt x="277" y="38"/>
                  </a:lnTo>
                  <a:lnTo>
                    <a:pt x="276" y="41"/>
                  </a:lnTo>
                  <a:lnTo>
                    <a:pt x="277" y="44"/>
                  </a:lnTo>
                  <a:lnTo>
                    <a:pt x="279" y="47"/>
                  </a:lnTo>
                  <a:lnTo>
                    <a:pt x="280" y="49"/>
                  </a:lnTo>
                  <a:lnTo>
                    <a:pt x="281" y="49"/>
                  </a:lnTo>
                  <a:lnTo>
                    <a:pt x="285" y="49"/>
                  </a:lnTo>
                  <a:lnTo>
                    <a:pt x="286" y="49"/>
                  </a:lnTo>
                  <a:lnTo>
                    <a:pt x="288" y="50"/>
                  </a:lnTo>
                  <a:lnTo>
                    <a:pt x="289" y="50"/>
                  </a:lnTo>
                  <a:lnTo>
                    <a:pt x="292" y="50"/>
                  </a:lnTo>
                  <a:lnTo>
                    <a:pt x="293" y="52"/>
                  </a:lnTo>
                  <a:lnTo>
                    <a:pt x="292" y="53"/>
                  </a:lnTo>
                  <a:lnTo>
                    <a:pt x="289" y="53"/>
                  </a:lnTo>
                  <a:lnTo>
                    <a:pt x="287" y="53"/>
                  </a:lnTo>
                  <a:lnTo>
                    <a:pt x="287" y="54"/>
                  </a:lnTo>
                  <a:lnTo>
                    <a:pt x="288" y="55"/>
                  </a:lnTo>
                  <a:lnTo>
                    <a:pt x="288" y="56"/>
                  </a:lnTo>
                  <a:lnTo>
                    <a:pt x="287" y="58"/>
                  </a:lnTo>
                  <a:lnTo>
                    <a:pt x="286" y="58"/>
                  </a:lnTo>
                  <a:lnTo>
                    <a:pt x="283" y="58"/>
                  </a:lnTo>
                  <a:lnTo>
                    <a:pt x="283" y="59"/>
                  </a:lnTo>
                  <a:lnTo>
                    <a:pt x="285" y="62"/>
                  </a:lnTo>
                  <a:lnTo>
                    <a:pt x="287" y="65"/>
                  </a:lnTo>
                  <a:lnTo>
                    <a:pt x="289" y="66"/>
                  </a:lnTo>
                  <a:lnTo>
                    <a:pt x="292" y="65"/>
                  </a:lnTo>
                  <a:lnTo>
                    <a:pt x="293" y="65"/>
                  </a:lnTo>
                  <a:lnTo>
                    <a:pt x="293" y="67"/>
                  </a:lnTo>
                  <a:lnTo>
                    <a:pt x="294" y="68"/>
                  </a:lnTo>
                  <a:lnTo>
                    <a:pt x="297" y="68"/>
                  </a:lnTo>
                  <a:lnTo>
                    <a:pt x="298" y="67"/>
                  </a:lnTo>
                  <a:lnTo>
                    <a:pt x="299" y="66"/>
                  </a:lnTo>
                  <a:lnTo>
                    <a:pt x="299" y="65"/>
                  </a:lnTo>
                  <a:lnTo>
                    <a:pt x="299" y="62"/>
                  </a:lnTo>
                  <a:lnTo>
                    <a:pt x="299" y="61"/>
                  </a:lnTo>
                  <a:lnTo>
                    <a:pt x="301" y="62"/>
                  </a:lnTo>
                  <a:lnTo>
                    <a:pt x="301" y="64"/>
                  </a:lnTo>
                  <a:lnTo>
                    <a:pt x="303" y="64"/>
                  </a:lnTo>
                  <a:lnTo>
                    <a:pt x="304" y="64"/>
                  </a:lnTo>
                  <a:lnTo>
                    <a:pt x="305" y="62"/>
                  </a:lnTo>
                  <a:lnTo>
                    <a:pt x="305" y="61"/>
                  </a:lnTo>
                  <a:lnTo>
                    <a:pt x="307" y="62"/>
                  </a:lnTo>
                  <a:lnTo>
                    <a:pt x="307" y="64"/>
                  </a:lnTo>
                  <a:lnTo>
                    <a:pt x="309" y="65"/>
                  </a:lnTo>
                  <a:lnTo>
                    <a:pt x="307" y="65"/>
                  </a:lnTo>
                  <a:lnTo>
                    <a:pt x="305" y="65"/>
                  </a:lnTo>
                  <a:lnTo>
                    <a:pt x="303" y="66"/>
                  </a:lnTo>
                  <a:lnTo>
                    <a:pt x="301" y="66"/>
                  </a:lnTo>
                  <a:lnTo>
                    <a:pt x="300" y="68"/>
                  </a:lnTo>
                  <a:lnTo>
                    <a:pt x="299" y="71"/>
                  </a:lnTo>
                  <a:lnTo>
                    <a:pt x="299" y="72"/>
                  </a:lnTo>
                  <a:lnTo>
                    <a:pt x="301" y="74"/>
                  </a:lnTo>
                  <a:lnTo>
                    <a:pt x="304" y="76"/>
                  </a:lnTo>
                  <a:lnTo>
                    <a:pt x="306" y="76"/>
                  </a:lnTo>
                  <a:lnTo>
                    <a:pt x="309" y="76"/>
                  </a:lnTo>
                  <a:lnTo>
                    <a:pt x="309" y="74"/>
                  </a:lnTo>
                  <a:lnTo>
                    <a:pt x="310" y="73"/>
                  </a:lnTo>
                  <a:lnTo>
                    <a:pt x="311" y="71"/>
                  </a:lnTo>
                  <a:lnTo>
                    <a:pt x="311" y="70"/>
                  </a:lnTo>
                  <a:lnTo>
                    <a:pt x="314" y="71"/>
                  </a:lnTo>
                  <a:lnTo>
                    <a:pt x="315" y="72"/>
                  </a:lnTo>
                  <a:lnTo>
                    <a:pt x="316" y="73"/>
                  </a:lnTo>
                  <a:lnTo>
                    <a:pt x="312" y="76"/>
                  </a:lnTo>
                  <a:lnTo>
                    <a:pt x="311" y="77"/>
                  </a:lnTo>
                  <a:lnTo>
                    <a:pt x="310" y="79"/>
                  </a:lnTo>
                  <a:lnTo>
                    <a:pt x="311" y="83"/>
                  </a:lnTo>
                  <a:lnTo>
                    <a:pt x="312" y="85"/>
                  </a:lnTo>
                  <a:lnTo>
                    <a:pt x="314" y="89"/>
                  </a:lnTo>
                  <a:lnTo>
                    <a:pt x="316" y="92"/>
                  </a:lnTo>
                  <a:lnTo>
                    <a:pt x="315" y="94"/>
                  </a:lnTo>
                  <a:lnTo>
                    <a:pt x="315" y="92"/>
                  </a:lnTo>
                  <a:lnTo>
                    <a:pt x="314" y="91"/>
                  </a:lnTo>
                  <a:lnTo>
                    <a:pt x="312" y="89"/>
                  </a:lnTo>
                  <a:lnTo>
                    <a:pt x="311" y="88"/>
                  </a:lnTo>
                  <a:lnTo>
                    <a:pt x="309" y="85"/>
                  </a:lnTo>
                  <a:lnTo>
                    <a:pt x="307" y="84"/>
                  </a:lnTo>
                  <a:lnTo>
                    <a:pt x="306" y="83"/>
                  </a:lnTo>
                  <a:lnTo>
                    <a:pt x="306" y="85"/>
                  </a:lnTo>
                  <a:lnTo>
                    <a:pt x="305" y="86"/>
                  </a:lnTo>
                  <a:lnTo>
                    <a:pt x="304" y="88"/>
                  </a:lnTo>
                  <a:lnTo>
                    <a:pt x="303" y="89"/>
                  </a:lnTo>
                  <a:lnTo>
                    <a:pt x="301" y="90"/>
                  </a:lnTo>
                  <a:lnTo>
                    <a:pt x="301" y="91"/>
                  </a:lnTo>
                  <a:lnTo>
                    <a:pt x="300" y="91"/>
                  </a:lnTo>
                  <a:lnTo>
                    <a:pt x="300" y="89"/>
                  </a:lnTo>
                  <a:lnTo>
                    <a:pt x="300" y="86"/>
                  </a:lnTo>
                  <a:lnTo>
                    <a:pt x="299" y="86"/>
                  </a:lnTo>
                  <a:lnTo>
                    <a:pt x="298" y="86"/>
                  </a:lnTo>
                  <a:lnTo>
                    <a:pt x="298" y="88"/>
                  </a:lnTo>
                  <a:lnTo>
                    <a:pt x="297" y="90"/>
                  </a:lnTo>
                  <a:lnTo>
                    <a:pt x="297" y="91"/>
                  </a:lnTo>
                  <a:lnTo>
                    <a:pt x="295" y="91"/>
                  </a:lnTo>
                  <a:lnTo>
                    <a:pt x="294" y="90"/>
                  </a:lnTo>
                  <a:lnTo>
                    <a:pt x="294" y="89"/>
                  </a:lnTo>
                  <a:lnTo>
                    <a:pt x="294" y="86"/>
                  </a:lnTo>
                  <a:lnTo>
                    <a:pt x="293" y="85"/>
                  </a:lnTo>
                  <a:lnTo>
                    <a:pt x="293" y="83"/>
                  </a:lnTo>
                  <a:lnTo>
                    <a:pt x="292" y="82"/>
                  </a:lnTo>
                  <a:lnTo>
                    <a:pt x="291" y="80"/>
                  </a:lnTo>
                  <a:lnTo>
                    <a:pt x="287" y="82"/>
                  </a:lnTo>
                  <a:lnTo>
                    <a:pt x="286" y="83"/>
                  </a:lnTo>
                  <a:lnTo>
                    <a:pt x="286" y="85"/>
                  </a:lnTo>
                  <a:lnTo>
                    <a:pt x="286" y="89"/>
                  </a:lnTo>
                  <a:lnTo>
                    <a:pt x="286" y="91"/>
                  </a:lnTo>
                  <a:lnTo>
                    <a:pt x="283" y="92"/>
                  </a:lnTo>
                  <a:lnTo>
                    <a:pt x="283" y="91"/>
                  </a:lnTo>
                  <a:lnTo>
                    <a:pt x="283" y="89"/>
                  </a:lnTo>
                  <a:lnTo>
                    <a:pt x="281" y="89"/>
                  </a:lnTo>
                  <a:lnTo>
                    <a:pt x="280" y="91"/>
                  </a:lnTo>
                  <a:lnTo>
                    <a:pt x="280" y="92"/>
                  </a:lnTo>
                  <a:lnTo>
                    <a:pt x="277" y="92"/>
                  </a:lnTo>
                  <a:lnTo>
                    <a:pt x="277" y="91"/>
                  </a:lnTo>
                  <a:lnTo>
                    <a:pt x="275" y="90"/>
                  </a:lnTo>
                  <a:lnTo>
                    <a:pt x="273" y="86"/>
                  </a:lnTo>
                  <a:lnTo>
                    <a:pt x="273" y="84"/>
                  </a:lnTo>
                  <a:lnTo>
                    <a:pt x="271" y="83"/>
                  </a:lnTo>
                  <a:lnTo>
                    <a:pt x="270" y="79"/>
                  </a:lnTo>
                  <a:lnTo>
                    <a:pt x="270" y="78"/>
                  </a:lnTo>
                  <a:lnTo>
                    <a:pt x="268" y="76"/>
                  </a:lnTo>
                  <a:lnTo>
                    <a:pt x="265" y="77"/>
                  </a:lnTo>
                  <a:lnTo>
                    <a:pt x="265" y="78"/>
                  </a:lnTo>
                  <a:lnTo>
                    <a:pt x="263" y="80"/>
                  </a:lnTo>
                  <a:lnTo>
                    <a:pt x="261" y="83"/>
                  </a:lnTo>
                  <a:lnTo>
                    <a:pt x="258" y="82"/>
                  </a:lnTo>
                  <a:lnTo>
                    <a:pt x="258" y="79"/>
                  </a:lnTo>
                  <a:lnTo>
                    <a:pt x="259" y="76"/>
                  </a:lnTo>
                  <a:lnTo>
                    <a:pt x="257" y="74"/>
                  </a:lnTo>
                  <a:lnTo>
                    <a:pt x="256" y="76"/>
                  </a:lnTo>
                  <a:lnTo>
                    <a:pt x="255" y="76"/>
                  </a:lnTo>
                  <a:lnTo>
                    <a:pt x="253" y="79"/>
                  </a:lnTo>
                  <a:lnTo>
                    <a:pt x="251" y="82"/>
                  </a:lnTo>
                  <a:lnTo>
                    <a:pt x="247" y="82"/>
                  </a:lnTo>
                  <a:lnTo>
                    <a:pt x="247" y="79"/>
                  </a:lnTo>
                  <a:lnTo>
                    <a:pt x="250" y="77"/>
                  </a:lnTo>
                  <a:lnTo>
                    <a:pt x="251" y="76"/>
                  </a:lnTo>
                  <a:lnTo>
                    <a:pt x="252" y="73"/>
                  </a:lnTo>
                  <a:lnTo>
                    <a:pt x="251" y="73"/>
                  </a:lnTo>
                  <a:lnTo>
                    <a:pt x="250" y="72"/>
                  </a:lnTo>
                  <a:lnTo>
                    <a:pt x="251" y="71"/>
                  </a:lnTo>
                  <a:lnTo>
                    <a:pt x="251" y="70"/>
                  </a:lnTo>
                  <a:lnTo>
                    <a:pt x="250" y="67"/>
                  </a:lnTo>
                  <a:lnTo>
                    <a:pt x="247" y="66"/>
                  </a:lnTo>
                  <a:lnTo>
                    <a:pt x="244" y="65"/>
                  </a:lnTo>
                  <a:lnTo>
                    <a:pt x="244" y="64"/>
                  </a:lnTo>
                  <a:lnTo>
                    <a:pt x="244" y="61"/>
                  </a:lnTo>
                  <a:lnTo>
                    <a:pt x="244" y="59"/>
                  </a:lnTo>
                  <a:lnTo>
                    <a:pt x="241" y="58"/>
                  </a:lnTo>
                  <a:lnTo>
                    <a:pt x="240" y="56"/>
                  </a:lnTo>
                  <a:lnTo>
                    <a:pt x="238" y="55"/>
                  </a:lnTo>
                  <a:lnTo>
                    <a:pt x="236" y="56"/>
                  </a:lnTo>
                  <a:lnTo>
                    <a:pt x="236" y="58"/>
                  </a:lnTo>
                  <a:lnTo>
                    <a:pt x="234" y="60"/>
                  </a:lnTo>
                  <a:lnTo>
                    <a:pt x="233" y="62"/>
                  </a:lnTo>
                  <a:lnTo>
                    <a:pt x="230" y="66"/>
                  </a:lnTo>
                  <a:lnTo>
                    <a:pt x="228" y="65"/>
                  </a:lnTo>
                  <a:lnTo>
                    <a:pt x="229" y="64"/>
                  </a:lnTo>
                  <a:lnTo>
                    <a:pt x="230" y="62"/>
                  </a:lnTo>
                  <a:lnTo>
                    <a:pt x="230" y="61"/>
                  </a:lnTo>
                  <a:lnTo>
                    <a:pt x="229" y="61"/>
                  </a:lnTo>
                  <a:lnTo>
                    <a:pt x="230" y="60"/>
                  </a:lnTo>
                  <a:lnTo>
                    <a:pt x="232" y="59"/>
                  </a:lnTo>
                  <a:lnTo>
                    <a:pt x="230" y="58"/>
                  </a:lnTo>
                  <a:lnTo>
                    <a:pt x="232" y="56"/>
                  </a:lnTo>
                  <a:lnTo>
                    <a:pt x="233" y="56"/>
                  </a:lnTo>
                  <a:lnTo>
                    <a:pt x="232" y="54"/>
                  </a:lnTo>
                  <a:lnTo>
                    <a:pt x="234" y="54"/>
                  </a:lnTo>
                  <a:lnTo>
                    <a:pt x="235" y="52"/>
                  </a:lnTo>
                  <a:lnTo>
                    <a:pt x="234" y="52"/>
                  </a:lnTo>
                  <a:lnTo>
                    <a:pt x="235" y="50"/>
                  </a:lnTo>
                  <a:lnTo>
                    <a:pt x="236" y="49"/>
                  </a:lnTo>
                  <a:lnTo>
                    <a:pt x="238" y="48"/>
                  </a:lnTo>
                  <a:lnTo>
                    <a:pt x="236" y="46"/>
                  </a:lnTo>
                  <a:lnTo>
                    <a:pt x="234" y="44"/>
                  </a:lnTo>
                  <a:lnTo>
                    <a:pt x="233" y="43"/>
                  </a:lnTo>
                  <a:lnTo>
                    <a:pt x="232" y="43"/>
                  </a:lnTo>
                  <a:lnTo>
                    <a:pt x="230" y="44"/>
                  </a:lnTo>
                  <a:lnTo>
                    <a:pt x="230" y="48"/>
                  </a:lnTo>
                  <a:lnTo>
                    <a:pt x="228" y="47"/>
                  </a:lnTo>
                  <a:lnTo>
                    <a:pt x="228" y="48"/>
                  </a:lnTo>
                  <a:lnTo>
                    <a:pt x="228" y="50"/>
                  </a:lnTo>
                  <a:lnTo>
                    <a:pt x="227" y="53"/>
                  </a:lnTo>
                  <a:lnTo>
                    <a:pt x="226" y="53"/>
                  </a:lnTo>
                  <a:lnTo>
                    <a:pt x="226" y="54"/>
                  </a:lnTo>
                  <a:lnTo>
                    <a:pt x="226" y="56"/>
                  </a:lnTo>
                  <a:lnTo>
                    <a:pt x="224" y="56"/>
                  </a:lnTo>
                  <a:lnTo>
                    <a:pt x="223" y="54"/>
                  </a:lnTo>
                  <a:lnTo>
                    <a:pt x="224" y="52"/>
                  </a:lnTo>
                  <a:lnTo>
                    <a:pt x="224" y="49"/>
                  </a:lnTo>
                  <a:lnTo>
                    <a:pt x="224" y="48"/>
                  </a:lnTo>
                  <a:lnTo>
                    <a:pt x="223" y="47"/>
                  </a:lnTo>
                  <a:lnTo>
                    <a:pt x="224" y="46"/>
                  </a:lnTo>
                  <a:lnTo>
                    <a:pt x="226" y="43"/>
                  </a:lnTo>
                  <a:lnTo>
                    <a:pt x="224" y="41"/>
                  </a:lnTo>
                  <a:lnTo>
                    <a:pt x="223" y="40"/>
                  </a:lnTo>
                  <a:lnTo>
                    <a:pt x="221" y="40"/>
                  </a:lnTo>
                  <a:lnTo>
                    <a:pt x="220" y="41"/>
                  </a:lnTo>
                  <a:lnTo>
                    <a:pt x="220" y="43"/>
                  </a:lnTo>
                  <a:lnTo>
                    <a:pt x="218" y="43"/>
                  </a:lnTo>
                  <a:lnTo>
                    <a:pt x="217" y="41"/>
                  </a:lnTo>
                  <a:lnTo>
                    <a:pt x="217" y="40"/>
                  </a:lnTo>
                  <a:lnTo>
                    <a:pt x="216" y="41"/>
                  </a:lnTo>
                  <a:lnTo>
                    <a:pt x="215" y="40"/>
                  </a:lnTo>
                  <a:lnTo>
                    <a:pt x="215" y="37"/>
                  </a:lnTo>
                  <a:lnTo>
                    <a:pt x="214" y="37"/>
                  </a:lnTo>
                  <a:lnTo>
                    <a:pt x="214" y="35"/>
                  </a:lnTo>
                  <a:lnTo>
                    <a:pt x="212" y="34"/>
                  </a:lnTo>
                  <a:lnTo>
                    <a:pt x="210" y="32"/>
                  </a:lnTo>
                  <a:lnTo>
                    <a:pt x="209" y="31"/>
                  </a:lnTo>
                  <a:lnTo>
                    <a:pt x="206" y="32"/>
                  </a:lnTo>
                  <a:lnTo>
                    <a:pt x="206" y="36"/>
                  </a:lnTo>
                  <a:lnTo>
                    <a:pt x="206" y="37"/>
                  </a:lnTo>
                  <a:lnTo>
                    <a:pt x="209" y="40"/>
                  </a:lnTo>
                  <a:lnTo>
                    <a:pt x="206" y="41"/>
                  </a:lnTo>
                  <a:lnTo>
                    <a:pt x="205" y="41"/>
                  </a:lnTo>
                  <a:lnTo>
                    <a:pt x="205" y="43"/>
                  </a:lnTo>
                  <a:lnTo>
                    <a:pt x="208" y="44"/>
                  </a:lnTo>
                  <a:lnTo>
                    <a:pt x="210" y="47"/>
                  </a:lnTo>
                  <a:lnTo>
                    <a:pt x="211" y="48"/>
                  </a:lnTo>
                  <a:lnTo>
                    <a:pt x="214" y="50"/>
                  </a:lnTo>
                  <a:lnTo>
                    <a:pt x="214" y="52"/>
                  </a:lnTo>
                  <a:lnTo>
                    <a:pt x="212" y="52"/>
                  </a:lnTo>
                  <a:lnTo>
                    <a:pt x="209" y="50"/>
                  </a:lnTo>
                  <a:lnTo>
                    <a:pt x="206" y="50"/>
                  </a:lnTo>
                  <a:lnTo>
                    <a:pt x="205" y="52"/>
                  </a:lnTo>
                  <a:lnTo>
                    <a:pt x="206" y="53"/>
                  </a:lnTo>
                  <a:lnTo>
                    <a:pt x="208" y="55"/>
                  </a:lnTo>
                  <a:lnTo>
                    <a:pt x="209" y="56"/>
                  </a:lnTo>
                  <a:lnTo>
                    <a:pt x="210" y="60"/>
                  </a:lnTo>
                  <a:lnTo>
                    <a:pt x="211" y="61"/>
                  </a:lnTo>
                  <a:lnTo>
                    <a:pt x="210" y="62"/>
                  </a:lnTo>
                  <a:lnTo>
                    <a:pt x="208" y="62"/>
                  </a:lnTo>
                  <a:lnTo>
                    <a:pt x="205" y="62"/>
                  </a:lnTo>
                  <a:lnTo>
                    <a:pt x="204" y="61"/>
                  </a:lnTo>
                  <a:lnTo>
                    <a:pt x="204" y="60"/>
                  </a:lnTo>
                  <a:lnTo>
                    <a:pt x="203" y="60"/>
                  </a:lnTo>
                  <a:lnTo>
                    <a:pt x="199" y="61"/>
                  </a:lnTo>
                  <a:lnTo>
                    <a:pt x="197" y="64"/>
                  </a:lnTo>
                  <a:lnTo>
                    <a:pt x="196" y="66"/>
                  </a:lnTo>
                  <a:lnTo>
                    <a:pt x="197" y="66"/>
                  </a:lnTo>
                  <a:lnTo>
                    <a:pt x="198" y="68"/>
                  </a:lnTo>
                  <a:lnTo>
                    <a:pt x="199" y="71"/>
                  </a:lnTo>
                  <a:lnTo>
                    <a:pt x="200" y="72"/>
                  </a:lnTo>
                  <a:lnTo>
                    <a:pt x="203" y="73"/>
                  </a:lnTo>
                  <a:lnTo>
                    <a:pt x="204" y="76"/>
                  </a:lnTo>
                  <a:lnTo>
                    <a:pt x="205" y="77"/>
                  </a:lnTo>
                  <a:lnTo>
                    <a:pt x="208" y="78"/>
                  </a:lnTo>
                  <a:lnTo>
                    <a:pt x="209" y="79"/>
                  </a:lnTo>
                  <a:lnTo>
                    <a:pt x="210" y="78"/>
                  </a:lnTo>
                  <a:lnTo>
                    <a:pt x="211" y="77"/>
                  </a:lnTo>
                  <a:lnTo>
                    <a:pt x="212" y="77"/>
                  </a:lnTo>
                  <a:lnTo>
                    <a:pt x="215" y="77"/>
                  </a:lnTo>
                  <a:lnTo>
                    <a:pt x="217" y="78"/>
                  </a:lnTo>
                  <a:lnTo>
                    <a:pt x="217" y="79"/>
                  </a:lnTo>
                  <a:lnTo>
                    <a:pt x="216" y="82"/>
                  </a:lnTo>
                  <a:lnTo>
                    <a:pt x="215" y="80"/>
                  </a:lnTo>
                  <a:lnTo>
                    <a:pt x="214" y="79"/>
                  </a:lnTo>
                  <a:lnTo>
                    <a:pt x="211" y="79"/>
                  </a:lnTo>
                  <a:lnTo>
                    <a:pt x="209" y="79"/>
                  </a:lnTo>
                  <a:lnTo>
                    <a:pt x="206" y="80"/>
                  </a:lnTo>
                  <a:lnTo>
                    <a:pt x="205" y="79"/>
                  </a:lnTo>
                  <a:lnTo>
                    <a:pt x="204" y="78"/>
                  </a:lnTo>
                  <a:lnTo>
                    <a:pt x="200" y="77"/>
                  </a:lnTo>
                  <a:lnTo>
                    <a:pt x="200" y="79"/>
                  </a:lnTo>
                  <a:lnTo>
                    <a:pt x="199" y="80"/>
                  </a:lnTo>
                  <a:lnTo>
                    <a:pt x="200" y="82"/>
                  </a:lnTo>
                  <a:lnTo>
                    <a:pt x="203" y="84"/>
                  </a:lnTo>
                  <a:lnTo>
                    <a:pt x="205" y="85"/>
                  </a:lnTo>
                  <a:lnTo>
                    <a:pt x="205" y="88"/>
                  </a:lnTo>
                  <a:lnTo>
                    <a:pt x="203" y="89"/>
                  </a:lnTo>
                  <a:lnTo>
                    <a:pt x="203" y="90"/>
                  </a:lnTo>
                  <a:lnTo>
                    <a:pt x="204" y="90"/>
                  </a:lnTo>
                  <a:lnTo>
                    <a:pt x="205" y="91"/>
                  </a:lnTo>
                  <a:lnTo>
                    <a:pt x="208" y="94"/>
                  </a:lnTo>
                  <a:lnTo>
                    <a:pt x="206" y="95"/>
                  </a:lnTo>
                  <a:lnTo>
                    <a:pt x="205" y="95"/>
                  </a:lnTo>
                  <a:lnTo>
                    <a:pt x="205" y="94"/>
                  </a:lnTo>
                  <a:lnTo>
                    <a:pt x="204" y="91"/>
                  </a:lnTo>
                  <a:lnTo>
                    <a:pt x="203" y="91"/>
                  </a:lnTo>
                  <a:lnTo>
                    <a:pt x="202" y="94"/>
                  </a:lnTo>
                  <a:lnTo>
                    <a:pt x="200" y="95"/>
                  </a:lnTo>
                  <a:lnTo>
                    <a:pt x="199" y="96"/>
                  </a:lnTo>
                  <a:lnTo>
                    <a:pt x="199" y="97"/>
                  </a:lnTo>
                  <a:lnTo>
                    <a:pt x="202" y="98"/>
                  </a:lnTo>
                  <a:lnTo>
                    <a:pt x="203" y="98"/>
                  </a:lnTo>
                  <a:lnTo>
                    <a:pt x="204" y="98"/>
                  </a:lnTo>
                  <a:lnTo>
                    <a:pt x="205" y="101"/>
                  </a:lnTo>
                  <a:lnTo>
                    <a:pt x="208" y="101"/>
                  </a:lnTo>
                  <a:lnTo>
                    <a:pt x="209" y="100"/>
                  </a:lnTo>
                  <a:lnTo>
                    <a:pt x="210" y="98"/>
                  </a:lnTo>
                  <a:lnTo>
                    <a:pt x="211" y="98"/>
                  </a:lnTo>
                  <a:lnTo>
                    <a:pt x="215" y="98"/>
                  </a:lnTo>
                  <a:lnTo>
                    <a:pt x="216" y="98"/>
                  </a:lnTo>
                  <a:lnTo>
                    <a:pt x="218" y="98"/>
                  </a:lnTo>
                  <a:lnTo>
                    <a:pt x="220" y="98"/>
                  </a:lnTo>
                  <a:lnTo>
                    <a:pt x="222" y="101"/>
                  </a:lnTo>
                  <a:lnTo>
                    <a:pt x="222" y="102"/>
                  </a:lnTo>
                  <a:lnTo>
                    <a:pt x="223" y="103"/>
                  </a:lnTo>
                  <a:lnTo>
                    <a:pt x="224" y="103"/>
                  </a:lnTo>
                  <a:lnTo>
                    <a:pt x="226" y="103"/>
                  </a:lnTo>
                  <a:lnTo>
                    <a:pt x="227" y="102"/>
                  </a:lnTo>
                  <a:lnTo>
                    <a:pt x="228" y="101"/>
                  </a:lnTo>
                  <a:lnTo>
                    <a:pt x="230" y="102"/>
                  </a:lnTo>
                  <a:lnTo>
                    <a:pt x="232" y="102"/>
                  </a:lnTo>
                  <a:lnTo>
                    <a:pt x="234" y="103"/>
                  </a:lnTo>
                  <a:lnTo>
                    <a:pt x="235" y="106"/>
                  </a:lnTo>
                  <a:lnTo>
                    <a:pt x="233" y="107"/>
                  </a:lnTo>
                  <a:lnTo>
                    <a:pt x="232" y="106"/>
                  </a:lnTo>
                  <a:lnTo>
                    <a:pt x="229" y="106"/>
                  </a:lnTo>
                  <a:lnTo>
                    <a:pt x="228" y="105"/>
                  </a:lnTo>
                  <a:lnTo>
                    <a:pt x="228" y="103"/>
                  </a:lnTo>
                  <a:lnTo>
                    <a:pt x="227" y="105"/>
                  </a:lnTo>
                  <a:lnTo>
                    <a:pt x="226" y="106"/>
                  </a:lnTo>
                  <a:lnTo>
                    <a:pt x="224" y="107"/>
                  </a:lnTo>
                  <a:lnTo>
                    <a:pt x="222" y="107"/>
                  </a:lnTo>
                  <a:lnTo>
                    <a:pt x="220" y="108"/>
                  </a:lnTo>
                  <a:lnTo>
                    <a:pt x="217" y="107"/>
                  </a:lnTo>
                  <a:lnTo>
                    <a:pt x="217" y="106"/>
                  </a:lnTo>
                  <a:lnTo>
                    <a:pt x="217" y="105"/>
                  </a:lnTo>
                  <a:lnTo>
                    <a:pt x="216" y="103"/>
                  </a:lnTo>
                  <a:lnTo>
                    <a:pt x="215" y="103"/>
                  </a:lnTo>
                  <a:lnTo>
                    <a:pt x="215" y="105"/>
                  </a:lnTo>
                  <a:lnTo>
                    <a:pt x="214" y="105"/>
                  </a:lnTo>
                  <a:lnTo>
                    <a:pt x="212" y="106"/>
                  </a:lnTo>
                  <a:lnTo>
                    <a:pt x="214" y="107"/>
                  </a:lnTo>
                  <a:lnTo>
                    <a:pt x="214" y="109"/>
                  </a:lnTo>
                  <a:lnTo>
                    <a:pt x="212" y="109"/>
                  </a:lnTo>
                  <a:lnTo>
                    <a:pt x="211" y="109"/>
                  </a:lnTo>
                  <a:lnTo>
                    <a:pt x="211" y="108"/>
                  </a:lnTo>
                  <a:lnTo>
                    <a:pt x="211" y="106"/>
                  </a:lnTo>
                  <a:lnTo>
                    <a:pt x="209" y="107"/>
                  </a:lnTo>
                  <a:lnTo>
                    <a:pt x="208" y="107"/>
                  </a:lnTo>
                  <a:lnTo>
                    <a:pt x="208" y="105"/>
                  </a:lnTo>
                  <a:lnTo>
                    <a:pt x="208" y="103"/>
                  </a:lnTo>
                  <a:lnTo>
                    <a:pt x="206" y="102"/>
                  </a:lnTo>
                  <a:lnTo>
                    <a:pt x="204" y="102"/>
                  </a:lnTo>
                  <a:lnTo>
                    <a:pt x="202" y="103"/>
                  </a:lnTo>
                  <a:lnTo>
                    <a:pt x="199" y="103"/>
                  </a:lnTo>
                  <a:lnTo>
                    <a:pt x="198" y="105"/>
                  </a:lnTo>
                  <a:lnTo>
                    <a:pt x="197" y="105"/>
                  </a:lnTo>
                  <a:lnTo>
                    <a:pt x="198" y="107"/>
                  </a:lnTo>
                  <a:lnTo>
                    <a:pt x="199" y="109"/>
                  </a:lnTo>
                  <a:lnTo>
                    <a:pt x="200" y="111"/>
                  </a:lnTo>
                  <a:lnTo>
                    <a:pt x="202" y="112"/>
                  </a:lnTo>
                  <a:lnTo>
                    <a:pt x="203" y="113"/>
                  </a:lnTo>
                  <a:lnTo>
                    <a:pt x="203" y="114"/>
                  </a:lnTo>
                  <a:lnTo>
                    <a:pt x="204" y="115"/>
                  </a:lnTo>
                  <a:lnTo>
                    <a:pt x="206" y="117"/>
                  </a:lnTo>
                  <a:lnTo>
                    <a:pt x="208" y="118"/>
                  </a:lnTo>
                  <a:lnTo>
                    <a:pt x="205" y="119"/>
                  </a:lnTo>
                  <a:lnTo>
                    <a:pt x="204" y="120"/>
                  </a:lnTo>
                  <a:lnTo>
                    <a:pt x="203" y="118"/>
                  </a:lnTo>
                  <a:lnTo>
                    <a:pt x="200" y="118"/>
                  </a:lnTo>
                  <a:lnTo>
                    <a:pt x="200" y="119"/>
                  </a:lnTo>
                  <a:lnTo>
                    <a:pt x="199" y="120"/>
                  </a:lnTo>
                  <a:lnTo>
                    <a:pt x="198" y="120"/>
                  </a:lnTo>
                  <a:lnTo>
                    <a:pt x="197" y="119"/>
                  </a:lnTo>
                  <a:lnTo>
                    <a:pt x="197" y="117"/>
                  </a:lnTo>
                  <a:lnTo>
                    <a:pt x="196" y="117"/>
                  </a:lnTo>
                  <a:lnTo>
                    <a:pt x="194" y="117"/>
                  </a:lnTo>
                  <a:lnTo>
                    <a:pt x="193" y="117"/>
                  </a:lnTo>
                  <a:lnTo>
                    <a:pt x="192" y="118"/>
                  </a:lnTo>
                  <a:lnTo>
                    <a:pt x="191" y="118"/>
                  </a:lnTo>
                  <a:lnTo>
                    <a:pt x="191" y="119"/>
                  </a:lnTo>
                  <a:lnTo>
                    <a:pt x="191" y="121"/>
                  </a:lnTo>
                  <a:lnTo>
                    <a:pt x="192" y="121"/>
                  </a:lnTo>
                  <a:lnTo>
                    <a:pt x="194" y="124"/>
                  </a:lnTo>
                  <a:lnTo>
                    <a:pt x="196" y="126"/>
                  </a:lnTo>
                  <a:lnTo>
                    <a:pt x="198" y="125"/>
                  </a:lnTo>
                  <a:lnTo>
                    <a:pt x="199" y="125"/>
                  </a:lnTo>
                  <a:lnTo>
                    <a:pt x="202" y="125"/>
                  </a:lnTo>
                  <a:lnTo>
                    <a:pt x="203" y="125"/>
                  </a:lnTo>
                  <a:lnTo>
                    <a:pt x="204" y="125"/>
                  </a:lnTo>
                  <a:lnTo>
                    <a:pt x="206" y="125"/>
                  </a:lnTo>
                  <a:lnTo>
                    <a:pt x="208" y="125"/>
                  </a:lnTo>
                  <a:lnTo>
                    <a:pt x="209" y="124"/>
                  </a:lnTo>
                  <a:lnTo>
                    <a:pt x="209" y="123"/>
                  </a:lnTo>
                  <a:lnTo>
                    <a:pt x="210" y="120"/>
                  </a:lnTo>
                  <a:lnTo>
                    <a:pt x="211" y="119"/>
                  </a:lnTo>
                  <a:lnTo>
                    <a:pt x="212" y="119"/>
                  </a:lnTo>
                  <a:lnTo>
                    <a:pt x="216" y="118"/>
                  </a:lnTo>
                  <a:lnTo>
                    <a:pt x="218" y="117"/>
                  </a:lnTo>
                  <a:lnTo>
                    <a:pt x="220" y="115"/>
                  </a:lnTo>
                  <a:lnTo>
                    <a:pt x="221" y="114"/>
                  </a:lnTo>
                  <a:lnTo>
                    <a:pt x="222" y="113"/>
                  </a:lnTo>
                  <a:lnTo>
                    <a:pt x="224" y="114"/>
                  </a:lnTo>
                  <a:lnTo>
                    <a:pt x="226" y="115"/>
                  </a:lnTo>
                  <a:lnTo>
                    <a:pt x="226" y="118"/>
                  </a:lnTo>
                  <a:lnTo>
                    <a:pt x="224" y="118"/>
                  </a:lnTo>
                  <a:lnTo>
                    <a:pt x="223" y="117"/>
                  </a:lnTo>
                  <a:lnTo>
                    <a:pt x="221" y="118"/>
                  </a:lnTo>
                  <a:lnTo>
                    <a:pt x="218" y="119"/>
                  </a:lnTo>
                  <a:lnTo>
                    <a:pt x="218" y="121"/>
                  </a:lnTo>
                  <a:lnTo>
                    <a:pt x="217" y="123"/>
                  </a:lnTo>
                  <a:lnTo>
                    <a:pt x="217" y="124"/>
                  </a:lnTo>
                  <a:lnTo>
                    <a:pt x="215" y="124"/>
                  </a:lnTo>
                  <a:lnTo>
                    <a:pt x="215" y="121"/>
                  </a:lnTo>
                  <a:lnTo>
                    <a:pt x="214" y="123"/>
                  </a:lnTo>
                  <a:lnTo>
                    <a:pt x="212" y="124"/>
                  </a:lnTo>
                  <a:lnTo>
                    <a:pt x="212" y="126"/>
                  </a:lnTo>
                  <a:lnTo>
                    <a:pt x="211" y="127"/>
                  </a:lnTo>
                  <a:lnTo>
                    <a:pt x="209" y="130"/>
                  </a:lnTo>
                  <a:lnTo>
                    <a:pt x="208" y="129"/>
                  </a:lnTo>
                  <a:lnTo>
                    <a:pt x="208" y="127"/>
                  </a:lnTo>
                  <a:lnTo>
                    <a:pt x="206" y="127"/>
                  </a:lnTo>
                  <a:lnTo>
                    <a:pt x="204" y="129"/>
                  </a:lnTo>
                  <a:lnTo>
                    <a:pt x="204" y="130"/>
                  </a:lnTo>
                  <a:lnTo>
                    <a:pt x="202" y="130"/>
                  </a:lnTo>
                  <a:lnTo>
                    <a:pt x="200" y="129"/>
                  </a:lnTo>
                  <a:lnTo>
                    <a:pt x="198" y="129"/>
                  </a:lnTo>
                  <a:lnTo>
                    <a:pt x="197" y="127"/>
                  </a:lnTo>
                  <a:lnTo>
                    <a:pt x="194" y="127"/>
                  </a:lnTo>
                  <a:lnTo>
                    <a:pt x="194" y="126"/>
                  </a:lnTo>
                  <a:lnTo>
                    <a:pt x="193" y="126"/>
                  </a:lnTo>
                  <a:lnTo>
                    <a:pt x="193" y="125"/>
                  </a:lnTo>
                  <a:lnTo>
                    <a:pt x="191" y="124"/>
                  </a:lnTo>
                  <a:lnTo>
                    <a:pt x="189" y="125"/>
                  </a:lnTo>
                  <a:lnTo>
                    <a:pt x="188" y="126"/>
                  </a:lnTo>
                  <a:lnTo>
                    <a:pt x="187" y="124"/>
                  </a:lnTo>
                  <a:lnTo>
                    <a:pt x="186" y="123"/>
                  </a:lnTo>
                  <a:lnTo>
                    <a:pt x="185" y="120"/>
                  </a:lnTo>
                  <a:lnTo>
                    <a:pt x="183" y="119"/>
                  </a:lnTo>
                  <a:lnTo>
                    <a:pt x="182" y="118"/>
                  </a:lnTo>
                  <a:lnTo>
                    <a:pt x="180" y="117"/>
                  </a:lnTo>
                  <a:lnTo>
                    <a:pt x="180" y="114"/>
                  </a:lnTo>
                  <a:lnTo>
                    <a:pt x="180" y="113"/>
                  </a:lnTo>
                  <a:lnTo>
                    <a:pt x="177" y="112"/>
                  </a:lnTo>
                  <a:lnTo>
                    <a:pt x="175" y="113"/>
                  </a:lnTo>
                  <a:lnTo>
                    <a:pt x="175" y="114"/>
                  </a:lnTo>
                  <a:lnTo>
                    <a:pt x="175" y="115"/>
                  </a:lnTo>
                  <a:lnTo>
                    <a:pt x="175" y="117"/>
                  </a:lnTo>
                  <a:lnTo>
                    <a:pt x="176" y="120"/>
                  </a:lnTo>
                  <a:lnTo>
                    <a:pt x="176" y="121"/>
                  </a:lnTo>
                  <a:lnTo>
                    <a:pt x="175" y="123"/>
                  </a:lnTo>
                  <a:lnTo>
                    <a:pt x="173" y="121"/>
                  </a:lnTo>
                  <a:lnTo>
                    <a:pt x="171" y="120"/>
                  </a:lnTo>
                  <a:lnTo>
                    <a:pt x="170" y="119"/>
                  </a:lnTo>
                  <a:lnTo>
                    <a:pt x="169" y="119"/>
                  </a:lnTo>
                  <a:lnTo>
                    <a:pt x="168" y="119"/>
                  </a:lnTo>
                  <a:lnTo>
                    <a:pt x="165" y="119"/>
                  </a:lnTo>
                  <a:lnTo>
                    <a:pt x="163" y="118"/>
                  </a:lnTo>
                  <a:lnTo>
                    <a:pt x="162" y="118"/>
                  </a:lnTo>
                  <a:lnTo>
                    <a:pt x="161" y="117"/>
                  </a:lnTo>
                  <a:lnTo>
                    <a:pt x="157" y="118"/>
                  </a:lnTo>
                  <a:lnTo>
                    <a:pt x="157" y="117"/>
                  </a:lnTo>
                  <a:lnTo>
                    <a:pt x="156" y="115"/>
                  </a:lnTo>
                  <a:lnTo>
                    <a:pt x="155" y="114"/>
                  </a:lnTo>
                  <a:lnTo>
                    <a:pt x="155" y="113"/>
                  </a:lnTo>
                  <a:lnTo>
                    <a:pt x="152" y="112"/>
                  </a:lnTo>
                  <a:lnTo>
                    <a:pt x="151" y="111"/>
                  </a:lnTo>
                  <a:lnTo>
                    <a:pt x="151" y="112"/>
                  </a:lnTo>
                  <a:lnTo>
                    <a:pt x="149" y="112"/>
                  </a:lnTo>
                  <a:lnTo>
                    <a:pt x="147" y="113"/>
                  </a:lnTo>
                  <a:lnTo>
                    <a:pt x="147" y="115"/>
                  </a:lnTo>
                  <a:lnTo>
                    <a:pt x="150" y="117"/>
                  </a:lnTo>
                  <a:lnTo>
                    <a:pt x="150" y="118"/>
                  </a:lnTo>
                  <a:lnTo>
                    <a:pt x="147" y="119"/>
                  </a:lnTo>
                  <a:lnTo>
                    <a:pt x="146" y="118"/>
                  </a:lnTo>
                  <a:lnTo>
                    <a:pt x="145" y="117"/>
                  </a:lnTo>
                  <a:lnTo>
                    <a:pt x="145" y="114"/>
                  </a:lnTo>
                  <a:lnTo>
                    <a:pt x="144" y="113"/>
                  </a:lnTo>
                  <a:lnTo>
                    <a:pt x="143" y="114"/>
                  </a:lnTo>
                  <a:lnTo>
                    <a:pt x="140" y="115"/>
                  </a:lnTo>
                  <a:lnTo>
                    <a:pt x="139" y="115"/>
                  </a:lnTo>
                  <a:lnTo>
                    <a:pt x="138" y="117"/>
                  </a:lnTo>
                  <a:lnTo>
                    <a:pt x="139" y="119"/>
                  </a:lnTo>
                  <a:lnTo>
                    <a:pt x="140" y="120"/>
                  </a:lnTo>
                  <a:lnTo>
                    <a:pt x="143" y="120"/>
                  </a:lnTo>
                  <a:lnTo>
                    <a:pt x="143" y="123"/>
                  </a:lnTo>
                  <a:lnTo>
                    <a:pt x="143" y="125"/>
                  </a:lnTo>
                  <a:lnTo>
                    <a:pt x="144" y="126"/>
                  </a:lnTo>
                  <a:lnTo>
                    <a:pt x="145" y="125"/>
                  </a:lnTo>
                  <a:lnTo>
                    <a:pt x="146" y="125"/>
                  </a:lnTo>
                  <a:lnTo>
                    <a:pt x="149" y="125"/>
                  </a:lnTo>
                  <a:lnTo>
                    <a:pt x="147" y="126"/>
                  </a:lnTo>
                  <a:lnTo>
                    <a:pt x="145" y="127"/>
                  </a:lnTo>
                  <a:lnTo>
                    <a:pt x="143" y="129"/>
                  </a:lnTo>
                  <a:lnTo>
                    <a:pt x="141" y="129"/>
                  </a:lnTo>
                  <a:lnTo>
                    <a:pt x="143" y="131"/>
                  </a:lnTo>
                  <a:lnTo>
                    <a:pt x="145" y="131"/>
                  </a:lnTo>
                  <a:lnTo>
                    <a:pt x="147" y="132"/>
                  </a:lnTo>
                  <a:lnTo>
                    <a:pt x="149" y="133"/>
                  </a:lnTo>
                  <a:lnTo>
                    <a:pt x="150" y="135"/>
                  </a:lnTo>
                  <a:lnTo>
                    <a:pt x="151" y="133"/>
                  </a:lnTo>
                  <a:lnTo>
                    <a:pt x="152" y="132"/>
                  </a:lnTo>
                  <a:lnTo>
                    <a:pt x="155" y="132"/>
                  </a:lnTo>
                  <a:lnTo>
                    <a:pt x="156" y="132"/>
                  </a:lnTo>
                  <a:lnTo>
                    <a:pt x="157" y="132"/>
                  </a:lnTo>
                  <a:lnTo>
                    <a:pt x="158" y="133"/>
                  </a:lnTo>
                  <a:lnTo>
                    <a:pt x="158" y="136"/>
                  </a:lnTo>
                  <a:lnTo>
                    <a:pt x="159" y="138"/>
                  </a:lnTo>
                  <a:lnTo>
                    <a:pt x="162" y="138"/>
                  </a:lnTo>
                  <a:lnTo>
                    <a:pt x="164" y="138"/>
                  </a:lnTo>
                  <a:lnTo>
                    <a:pt x="165" y="137"/>
                  </a:lnTo>
                  <a:lnTo>
                    <a:pt x="167" y="137"/>
                  </a:lnTo>
                  <a:lnTo>
                    <a:pt x="168" y="137"/>
                  </a:lnTo>
                  <a:lnTo>
                    <a:pt x="170" y="138"/>
                  </a:lnTo>
                  <a:lnTo>
                    <a:pt x="171" y="138"/>
                  </a:lnTo>
                  <a:lnTo>
                    <a:pt x="174" y="138"/>
                  </a:lnTo>
                  <a:lnTo>
                    <a:pt x="175" y="136"/>
                  </a:lnTo>
                  <a:lnTo>
                    <a:pt x="175" y="133"/>
                  </a:lnTo>
                  <a:lnTo>
                    <a:pt x="175" y="135"/>
                  </a:lnTo>
                  <a:lnTo>
                    <a:pt x="176" y="135"/>
                  </a:lnTo>
                  <a:lnTo>
                    <a:pt x="177" y="136"/>
                  </a:lnTo>
                  <a:lnTo>
                    <a:pt x="179" y="137"/>
                  </a:lnTo>
                  <a:lnTo>
                    <a:pt x="181" y="138"/>
                  </a:lnTo>
                  <a:lnTo>
                    <a:pt x="180" y="139"/>
                  </a:lnTo>
                  <a:lnTo>
                    <a:pt x="179" y="141"/>
                  </a:lnTo>
                  <a:lnTo>
                    <a:pt x="181" y="142"/>
                  </a:lnTo>
                  <a:lnTo>
                    <a:pt x="180" y="143"/>
                  </a:lnTo>
                  <a:lnTo>
                    <a:pt x="179" y="143"/>
                  </a:lnTo>
                  <a:lnTo>
                    <a:pt x="176" y="144"/>
                  </a:lnTo>
                  <a:lnTo>
                    <a:pt x="174" y="147"/>
                  </a:lnTo>
                  <a:lnTo>
                    <a:pt x="175" y="149"/>
                  </a:lnTo>
                  <a:lnTo>
                    <a:pt x="176" y="150"/>
                  </a:lnTo>
                  <a:lnTo>
                    <a:pt x="179" y="151"/>
                  </a:lnTo>
                  <a:lnTo>
                    <a:pt x="180" y="151"/>
                  </a:lnTo>
                  <a:lnTo>
                    <a:pt x="181" y="153"/>
                  </a:lnTo>
                  <a:lnTo>
                    <a:pt x="181" y="155"/>
                  </a:lnTo>
                  <a:lnTo>
                    <a:pt x="180" y="156"/>
                  </a:lnTo>
                  <a:lnTo>
                    <a:pt x="182" y="157"/>
                  </a:lnTo>
                  <a:lnTo>
                    <a:pt x="183" y="157"/>
                  </a:lnTo>
                  <a:lnTo>
                    <a:pt x="185" y="157"/>
                  </a:lnTo>
                  <a:lnTo>
                    <a:pt x="186" y="159"/>
                  </a:lnTo>
                  <a:lnTo>
                    <a:pt x="185" y="160"/>
                  </a:lnTo>
                  <a:lnTo>
                    <a:pt x="185" y="162"/>
                  </a:lnTo>
                  <a:lnTo>
                    <a:pt x="186" y="163"/>
                  </a:lnTo>
                  <a:lnTo>
                    <a:pt x="185" y="163"/>
                  </a:lnTo>
                  <a:lnTo>
                    <a:pt x="182" y="163"/>
                  </a:lnTo>
                  <a:lnTo>
                    <a:pt x="181" y="163"/>
                  </a:lnTo>
                  <a:lnTo>
                    <a:pt x="181" y="165"/>
                  </a:lnTo>
                  <a:lnTo>
                    <a:pt x="180" y="165"/>
                  </a:lnTo>
                  <a:lnTo>
                    <a:pt x="179" y="166"/>
                  </a:lnTo>
                  <a:lnTo>
                    <a:pt x="180" y="167"/>
                  </a:lnTo>
                  <a:lnTo>
                    <a:pt x="181" y="168"/>
                  </a:lnTo>
                  <a:lnTo>
                    <a:pt x="182" y="169"/>
                  </a:lnTo>
                  <a:lnTo>
                    <a:pt x="183" y="171"/>
                  </a:lnTo>
                  <a:lnTo>
                    <a:pt x="185" y="171"/>
                  </a:lnTo>
                  <a:lnTo>
                    <a:pt x="187" y="171"/>
                  </a:lnTo>
                  <a:lnTo>
                    <a:pt x="188" y="171"/>
                  </a:lnTo>
                  <a:lnTo>
                    <a:pt x="188" y="172"/>
                  </a:lnTo>
                  <a:lnTo>
                    <a:pt x="189" y="174"/>
                  </a:lnTo>
                  <a:lnTo>
                    <a:pt x="192" y="174"/>
                  </a:lnTo>
                  <a:lnTo>
                    <a:pt x="194" y="175"/>
                  </a:lnTo>
                  <a:lnTo>
                    <a:pt x="194" y="174"/>
                  </a:lnTo>
                  <a:lnTo>
                    <a:pt x="196" y="174"/>
                  </a:lnTo>
                  <a:lnTo>
                    <a:pt x="197" y="173"/>
                  </a:lnTo>
                  <a:lnTo>
                    <a:pt x="199" y="172"/>
                  </a:lnTo>
                  <a:lnTo>
                    <a:pt x="200" y="171"/>
                  </a:lnTo>
                  <a:lnTo>
                    <a:pt x="203" y="168"/>
                  </a:lnTo>
                  <a:lnTo>
                    <a:pt x="205" y="168"/>
                  </a:lnTo>
                  <a:lnTo>
                    <a:pt x="206" y="169"/>
                  </a:lnTo>
                  <a:lnTo>
                    <a:pt x="208" y="168"/>
                  </a:lnTo>
                  <a:lnTo>
                    <a:pt x="209" y="168"/>
                  </a:lnTo>
                  <a:lnTo>
                    <a:pt x="210" y="169"/>
                  </a:lnTo>
                  <a:lnTo>
                    <a:pt x="211" y="171"/>
                  </a:lnTo>
                  <a:lnTo>
                    <a:pt x="214" y="171"/>
                  </a:lnTo>
                  <a:lnTo>
                    <a:pt x="216" y="171"/>
                  </a:lnTo>
                  <a:lnTo>
                    <a:pt x="217" y="171"/>
                  </a:lnTo>
                  <a:lnTo>
                    <a:pt x="217" y="168"/>
                  </a:lnTo>
                  <a:lnTo>
                    <a:pt x="218" y="167"/>
                  </a:lnTo>
                  <a:lnTo>
                    <a:pt x="220" y="169"/>
                  </a:lnTo>
                  <a:lnTo>
                    <a:pt x="222" y="168"/>
                  </a:lnTo>
                  <a:lnTo>
                    <a:pt x="223" y="168"/>
                  </a:lnTo>
                  <a:lnTo>
                    <a:pt x="224" y="166"/>
                  </a:lnTo>
                  <a:lnTo>
                    <a:pt x="227" y="165"/>
                  </a:lnTo>
                  <a:lnTo>
                    <a:pt x="227" y="163"/>
                  </a:lnTo>
                  <a:lnTo>
                    <a:pt x="228" y="161"/>
                  </a:lnTo>
                  <a:lnTo>
                    <a:pt x="229" y="161"/>
                  </a:lnTo>
                  <a:lnTo>
                    <a:pt x="232" y="162"/>
                  </a:lnTo>
                  <a:lnTo>
                    <a:pt x="233" y="163"/>
                  </a:lnTo>
                  <a:lnTo>
                    <a:pt x="235" y="163"/>
                  </a:lnTo>
                  <a:lnTo>
                    <a:pt x="238" y="163"/>
                  </a:lnTo>
                  <a:lnTo>
                    <a:pt x="240" y="163"/>
                  </a:lnTo>
                  <a:lnTo>
                    <a:pt x="241" y="163"/>
                  </a:lnTo>
                  <a:lnTo>
                    <a:pt x="242" y="163"/>
                  </a:lnTo>
                  <a:lnTo>
                    <a:pt x="242" y="165"/>
                  </a:lnTo>
                  <a:lnTo>
                    <a:pt x="242" y="166"/>
                  </a:lnTo>
                  <a:lnTo>
                    <a:pt x="241" y="167"/>
                  </a:lnTo>
                  <a:lnTo>
                    <a:pt x="240" y="167"/>
                  </a:lnTo>
                  <a:lnTo>
                    <a:pt x="239" y="167"/>
                  </a:lnTo>
                  <a:lnTo>
                    <a:pt x="239" y="168"/>
                  </a:lnTo>
                  <a:lnTo>
                    <a:pt x="238" y="168"/>
                  </a:lnTo>
                  <a:lnTo>
                    <a:pt x="238" y="171"/>
                  </a:lnTo>
                  <a:lnTo>
                    <a:pt x="236" y="171"/>
                  </a:lnTo>
                  <a:lnTo>
                    <a:pt x="235" y="172"/>
                  </a:lnTo>
                  <a:lnTo>
                    <a:pt x="234" y="172"/>
                  </a:lnTo>
                  <a:lnTo>
                    <a:pt x="232" y="172"/>
                  </a:lnTo>
                  <a:lnTo>
                    <a:pt x="230" y="173"/>
                  </a:lnTo>
                  <a:lnTo>
                    <a:pt x="230" y="174"/>
                  </a:lnTo>
                  <a:lnTo>
                    <a:pt x="229" y="174"/>
                  </a:lnTo>
                  <a:lnTo>
                    <a:pt x="228" y="175"/>
                  </a:lnTo>
                  <a:lnTo>
                    <a:pt x="227" y="175"/>
                  </a:lnTo>
                  <a:lnTo>
                    <a:pt x="227" y="177"/>
                  </a:lnTo>
                  <a:lnTo>
                    <a:pt x="226" y="178"/>
                  </a:lnTo>
                  <a:lnTo>
                    <a:pt x="226" y="180"/>
                  </a:lnTo>
                  <a:lnTo>
                    <a:pt x="228" y="180"/>
                  </a:lnTo>
                  <a:lnTo>
                    <a:pt x="230" y="180"/>
                  </a:lnTo>
                  <a:lnTo>
                    <a:pt x="230" y="179"/>
                  </a:lnTo>
                  <a:lnTo>
                    <a:pt x="232" y="178"/>
                  </a:lnTo>
                  <a:lnTo>
                    <a:pt x="233" y="177"/>
                  </a:lnTo>
                  <a:lnTo>
                    <a:pt x="234" y="177"/>
                  </a:lnTo>
                  <a:lnTo>
                    <a:pt x="235" y="175"/>
                  </a:lnTo>
                  <a:lnTo>
                    <a:pt x="236" y="174"/>
                  </a:lnTo>
                  <a:lnTo>
                    <a:pt x="239" y="173"/>
                  </a:lnTo>
                  <a:lnTo>
                    <a:pt x="241" y="172"/>
                  </a:lnTo>
                  <a:lnTo>
                    <a:pt x="244" y="171"/>
                  </a:lnTo>
                  <a:lnTo>
                    <a:pt x="246" y="171"/>
                  </a:lnTo>
                  <a:lnTo>
                    <a:pt x="245" y="172"/>
                  </a:lnTo>
                  <a:lnTo>
                    <a:pt x="244" y="173"/>
                  </a:lnTo>
                  <a:lnTo>
                    <a:pt x="241" y="174"/>
                  </a:lnTo>
                  <a:lnTo>
                    <a:pt x="240" y="174"/>
                  </a:lnTo>
                  <a:lnTo>
                    <a:pt x="241" y="177"/>
                  </a:lnTo>
                  <a:lnTo>
                    <a:pt x="242" y="175"/>
                  </a:lnTo>
                  <a:lnTo>
                    <a:pt x="244" y="174"/>
                  </a:lnTo>
                  <a:lnTo>
                    <a:pt x="245" y="174"/>
                  </a:lnTo>
                  <a:lnTo>
                    <a:pt x="246" y="173"/>
                  </a:lnTo>
                  <a:lnTo>
                    <a:pt x="247" y="172"/>
                  </a:lnTo>
                  <a:lnTo>
                    <a:pt x="250" y="171"/>
                  </a:lnTo>
                  <a:lnTo>
                    <a:pt x="251" y="171"/>
                  </a:lnTo>
                  <a:lnTo>
                    <a:pt x="251" y="173"/>
                  </a:lnTo>
                  <a:lnTo>
                    <a:pt x="248" y="174"/>
                  </a:lnTo>
                  <a:lnTo>
                    <a:pt x="247" y="175"/>
                  </a:lnTo>
                  <a:lnTo>
                    <a:pt x="247" y="177"/>
                  </a:lnTo>
                  <a:lnTo>
                    <a:pt x="248" y="178"/>
                  </a:lnTo>
                  <a:lnTo>
                    <a:pt x="247" y="179"/>
                  </a:lnTo>
                  <a:lnTo>
                    <a:pt x="246" y="179"/>
                  </a:lnTo>
                  <a:lnTo>
                    <a:pt x="244" y="179"/>
                  </a:lnTo>
                  <a:lnTo>
                    <a:pt x="242" y="181"/>
                  </a:lnTo>
                  <a:lnTo>
                    <a:pt x="241" y="183"/>
                  </a:lnTo>
                  <a:lnTo>
                    <a:pt x="240" y="181"/>
                  </a:lnTo>
                  <a:lnTo>
                    <a:pt x="239" y="180"/>
                  </a:lnTo>
                  <a:lnTo>
                    <a:pt x="236" y="180"/>
                  </a:lnTo>
                  <a:lnTo>
                    <a:pt x="238" y="181"/>
                  </a:lnTo>
                  <a:lnTo>
                    <a:pt x="239" y="183"/>
                  </a:lnTo>
                  <a:lnTo>
                    <a:pt x="239" y="185"/>
                  </a:lnTo>
                  <a:lnTo>
                    <a:pt x="239" y="186"/>
                  </a:lnTo>
                  <a:lnTo>
                    <a:pt x="238" y="189"/>
                  </a:lnTo>
                  <a:lnTo>
                    <a:pt x="238" y="190"/>
                  </a:lnTo>
                  <a:lnTo>
                    <a:pt x="236" y="191"/>
                  </a:lnTo>
                  <a:lnTo>
                    <a:pt x="235" y="192"/>
                  </a:lnTo>
                  <a:lnTo>
                    <a:pt x="234" y="193"/>
                  </a:lnTo>
                  <a:lnTo>
                    <a:pt x="235" y="193"/>
                  </a:lnTo>
                  <a:lnTo>
                    <a:pt x="238" y="195"/>
                  </a:lnTo>
                  <a:lnTo>
                    <a:pt x="240" y="195"/>
                  </a:lnTo>
                  <a:lnTo>
                    <a:pt x="242" y="195"/>
                  </a:lnTo>
                  <a:lnTo>
                    <a:pt x="244" y="193"/>
                  </a:lnTo>
                  <a:lnTo>
                    <a:pt x="246" y="193"/>
                  </a:lnTo>
                  <a:lnTo>
                    <a:pt x="248" y="193"/>
                  </a:lnTo>
                  <a:lnTo>
                    <a:pt x="250" y="192"/>
                  </a:lnTo>
                  <a:lnTo>
                    <a:pt x="251" y="192"/>
                  </a:lnTo>
                  <a:lnTo>
                    <a:pt x="252" y="191"/>
                  </a:lnTo>
                  <a:lnTo>
                    <a:pt x="252" y="190"/>
                  </a:lnTo>
                  <a:lnTo>
                    <a:pt x="251" y="187"/>
                  </a:lnTo>
                  <a:lnTo>
                    <a:pt x="250" y="187"/>
                  </a:lnTo>
                  <a:lnTo>
                    <a:pt x="250" y="185"/>
                  </a:lnTo>
                  <a:lnTo>
                    <a:pt x="250" y="184"/>
                  </a:lnTo>
                  <a:lnTo>
                    <a:pt x="251" y="183"/>
                  </a:lnTo>
                  <a:lnTo>
                    <a:pt x="252" y="183"/>
                  </a:lnTo>
                  <a:lnTo>
                    <a:pt x="252" y="181"/>
                  </a:lnTo>
                  <a:lnTo>
                    <a:pt x="252" y="180"/>
                  </a:lnTo>
                  <a:lnTo>
                    <a:pt x="252" y="179"/>
                  </a:lnTo>
                  <a:lnTo>
                    <a:pt x="251" y="178"/>
                  </a:lnTo>
                  <a:lnTo>
                    <a:pt x="253" y="178"/>
                  </a:lnTo>
                  <a:lnTo>
                    <a:pt x="253" y="177"/>
                  </a:lnTo>
                  <a:lnTo>
                    <a:pt x="253" y="175"/>
                  </a:lnTo>
                  <a:lnTo>
                    <a:pt x="253" y="174"/>
                  </a:lnTo>
                  <a:lnTo>
                    <a:pt x="253" y="173"/>
                  </a:lnTo>
                  <a:lnTo>
                    <a:pt x="255" y="169"/>
                  </a:lnTo>
                  <a:lnTo>
                    <a:pt x="256" y="169"/>
                  </a:lnTo>
                  <a:lnTo>
                    <a:pt x="258" y="168"/>
                  </a:lnTo>
                  <a:lnTo>
                    <a:pt x="257" y="167"/>
                  </a:lnTo>
                  <a:lnTo>
                    <a:pt x="257" y="166"/>
                  </a:lnTo>
                  <a:lnTo>
                    <a:pt x="256" y="165"/>
                  </a:lnTo>
                  <a:lnTo>
                    <a:pt x="255" y="163"/>
                  </a:lnTo>
                  <a:lnTo>
                    <a:pt x="256" y="161"/>
                  </a:lnTo>
                  <a:lnTo>
                    <a:pt x="257" y="161"/>
                  </a:lnTo>
                  <a:lnTo>
                    <a:pt x="258" y="161"/>
                  </a:lnTo>
                  <a:lnTo>
                    <a:pt x="258" y="162"/>
                  </a:lnTo>
                  <a:lnTo>
                    <a:pt x="259" y="162"/>
                  </a:lnTo>
                  <a:lnTo>
                    <a:pt x="261" y="161"/>
                  </a:lnTo>
                  <a:lnTo>
                    <a:pt x="263" y="160"/>
                  </a:lnTo>
                  <a:lnTo>
                    <a:pt x="264" y="160"/>
                  </a:lnTo>
                  <a:lnTo>
                    <a:pt x="267" y="159"/>
                  </a:lnTo>
                  <a:lnTo>
                    <a:pt x="269" y="159"/>
                  </a:lnTo>
                  <a:lnTo>
                    <a:pt x="274" y="159"/>
                  </a:lnTo>
                  <a:lnTo>
                    <a:pt x="276" y="160"/>
                  </a:lnTo>
                  <a:lnTo>
                    <a:pt x="277" y="161"/>
                  </a:lnTo>
                  <a:lnTo>
                    <a:pt x="279" y="162"/>
                  </a:lnTo>
                  <a:lnTo>
                    <a:pt x="280" y="162"/>
                  </a:lnTo>
                  <a:lnTo>
                    <a:pt x="282" y="162"/>
                  </a:lnTo>
                  <a:lnTo>
                    <a:pt x="283" y="161"/>
                  </a:lnTo>
                  <a:lnTo>
                    <a:pt x="285" y="162"/>
                  </a:lnTo>
                  <a:lnTo>
                    <a:pt x="282" y="163"/>
                  </a:lnTo>
                  <a:lnTo>
                    <a:pt x="281" y="163"/>
                  </a:lnTo>
                  <a:lnTo>
                    <a:pt x="280" y="165"/>
                  </a:lnTo>
                  <a:lnTo>
                    <a:pt x="280" y="166"/>
                  </a:lnTo>
                  <a:lnTo>
                    <a:pt x="281" y="167"/>
                  </a:lnTo>
                  <a:lnTo>
                    <a:pt x="282" y="167"/>
                  </a:lnTo>
                  <a:lnTo>
                    <a:pt x="283" y="166"/>
                  </a:lnTo>
                  <a:lnTo>
                    <a:pt x="285" y="166"/>
                  </a:lnTo>
                  <a:lnTo>
                    <a:pt x="287" y="165"/>
                  </a:lnTo>
                  <a:lnTo>
                    <a:pt x="287" y="167"/>
                  </a:lnTo>
                  <a:lnTo>
                    <a:pt x="286" y="168"/>
                  </a:lnTo>
                  <a:lnTo>
                    <a:pt x="285" y="168"/>
                  </a:lnTo>
                  <a:lnTo>
                    <a:pt x="283" y="171"/>
                  </a:lnTo>
                  <a:lnTo>
                    <a:pt x="281" y="172"/>
                  </a:lnTo>
                  <a:lnTo>
                    <a:pt x="280" y="171"/>
                  </a:lnTo>
                  <a:lnTo>
                    <a:pt x="279" y="172"/>
                  </a:lnTo>
                  <a:lnTo>
                    <a:pt x="277" y="173"/>
                  </a:lnTo>
                  <a:lnTo>
                    <a:pt x="277" y="174"/>
                  </a:lnTo>
                  <a:lnTo>
                    <a:pt x="276" y="178"/>
                  </a:lnTo>
                  <a:lnTo>
                    <a:pt x="275" y="177"/>
                  </a:lnTo>
                  <a:lnTo>
                    <a:pt x="275" y="174"/>
                  </a:lnTo>
                  <a:lnTo>
                    <a:pt x="274" y="174"/>
                  </a:lnTo>
                  <a:lnTo>
                    <a:pt x="274" y="175"/>
                  </a:lnTo>
                  <a:lnTo>
                    <a:pt x="273" y="178"/>
                  </a:lnTo>
                  <a:lnTo>
                    <a:pt x="271" y="178"/>
                  </a:lnTo>
                  <a:lnTo>
                    <a:pt x="270" y="177"/>
                  </a:lnTo>
                  <a:lnTo>
                    <a:pt x="270" y="174"/>
                  </a:lnTo>
                  <a:lnTo>
                    <a:pt x="269" y="172"/>
                  </a:lnTo>
                  <a:lnTo>
                    <a:pt x="268" y="172"/>
                  </a:lnTo>
                  <a:lnTo>
                    <a:pt x="267" y="174"/>
                  </a:lnTo>
                  <a:lnTo>
                    <a:pt x="265" y="175"/>
                  </a:lnTo>
                  <a:lnTo>
                    <a:pt x="264" y="174"/>
                  </a:lnTo>
                  <a:lnTo>
                    <a:pt x="262" y="172"/>
                  </a:lnTo>
                  <a:lnTo>
                    <a:pt x="261" y="173"/>
                  </a:lnTo>
                  <a:lnTo>
                    <a:pt x="261" y="174"/>
                  </a:lnTo>
                  <a:lnTo>
                    <a:pt x="262" y="175"/>
                  </a:lnTo>
                  <a:lnTo>
                    <a:pt x="263" y="177"/>
                  </a:lnTo>
                  <a:lnTo>
                    <a:pt x="264" y="177"/>
                  </a:lnTo>
                  <a:lnTo>
                    <a:pt x="267" y="178"/>
                  </a:lnTo>
                  <a:lnTo>
                    <a:pt x="268" y="179"/>
                  </a:lnTo>
                  <a:lnTo>
                    <a:pt x="267" y="180"/>
                  </a:lnTo>
                  <a:lnTo>
                    <a:pt x="263" y="180"/>
                  </a:lnTo>
                  <a:lnTo>
                    <a:pt x="262" y="180"/>
                  </a:lnTo>
                  <a:lnTo>
                    <a:pt x="261" y="181"/>
                  </a:lnTo>
                  <a:lnTo>
                    <a:pt x="261" y="183"/>
                  </a:lnTo>
                  <a:lnTo>
                    <a:pt x="262" y="184"/>
                  </a:lnTo>
                  <a:lnTo>
                    <a:pt x="264" y="184"/>
                  </a:lnTo>
                  <a:lnTo>
                    <a:pt x="267" y="184"/>
                  </a:lnTo>
                  <a:lnTo>
                    <a:pt x="268" y="184"/>
                  </a:lnTo>
                  <a:lnTo>
                    <a:pt x="269" y="183"/>
                  </a:lnTo>
                  <a:lnTo>
                    <a:pt x="270" y="181"/>
                  </a:lnTo>
                  <a:lnTo>
                    <a:pt x="271" y="180"/>
                  </a:lnTo>
                  <a:lnTo>
                    <a:pt x="274" y="179"/>
                  </a:lnTo>
                  <a:lnTo>
                    <a:pt x="275" y="179"/>
                  </a:lnTo>
                  <a:lnTo>
                    <a:pt x="275" y="181"/>
                  </a:lnTo>
                  <a:lnTo>
                    <a:pt x="274" y="183"/>
                  </a:lnTo>
                  <a:lnTo>
                    <a:pt x="275" y="183"/>
                  </a:lnTo>
                  <a:lnTo>
                    <a:pt x="276" y="183"/>
                  </a:lnTo>
                  <a:lnTo>
                    <a:pt x="277" y="181"/>
                  </a:lnTo>
                  <a:lnTo>
                    <a:pt x="279" y="180"/>
                  </a:lnTo>
                  <a:lnTo>
                    <a:pt x="282" y="180"/>
                  </a:lnTo>
                  <a:lnTo>
                    <a:pt x="283" y="179"/>
                  </a:lnTo>
                  <a:lnTo>
                    <a:pt x="283" y="177"/>
                  </a:lnTo>
                  <a:lnTo>
                    <a:pt x="283" y="175"/>
                  </a:lnTo>
                  <a:lnTo>
                    <a:pt x="283" y="174"/>
                  </a:lnTo>
                  <a:lnTo>
                    <a:pt x="283" y="173"/>
                  </a:lnTo>
                  <a:lnTo>
                    <a:pt x="285" y="172"/>
                  </a:lnTo>
                  <a:lnTo>
                    <a:pt x="286" y="171"/>
                  </a:lnTo>
                  <a:lnTo>
                    <a:pt x="287" y="169"/>
                  </a:lnTo>
                  <a:lnTo>
                    <a:pt x="289" y="167"/>
                  </a:lnTo>
                  <a:lnTo>
                    <a:pt x="291" y="166"/>
                  </a:lnTo>
                  <a:lnTo>
                    <a:pt x="292" y="166"/>
                  </a:lnTo>
                  <a:lnTo>
                    <a:pt x="293" y="167"/>
                  </a:lnTo>
                  <a:lnTo>
                    <a:pt x="292" y="168"/>
                  </a:lnTo>
                  <a:lnTo>
                    <a:pt x="292" y="169"/>
                  </a:lnTo>
                  <a:lnTo>
                    <a:pt x="291" y="172"/>
                  </a:lnTo>
                  <a:lnTo>
                    <a:pt x="291" y="174"/>
                  </a:lnTo>
                  <a:lnTo>
                    <a:pt x="292" y="177"/>
                  </a:lnTo>
                  <a:lnTo>
                    <a:pt x="293" y="178"/>
                  </a:lnTo>
                  <a:lnTo>
                    <a:pt x="297" y="180"/>
                  </a:lnTo>
                  <a:lnTo>
                    <a:pt x="301" y="181"/>
                  </a:lnTo>
                  <a:lnTo>
                    <a:pt x="300" y="183"/>
                  </a:lnTo>
                  <a:lnTo>
                    <a:pt x="299" y="183"/>
                  </a:lnTo>
                  <a:lnTo>
                    <a:pt x="297" y="183"/>
                  </a:lnTo>
                  <a:lnTo>
                    <a:pt x="294" y="184"/>
                  </a:lnTo>
                  <a:lnTo>
                    <a:pt x="293" y="184"/>
                  </a:lnTo>
                  <a:lnTo>
                    <a:pt x="289" y="185"/>
                  </a:lnTo>
                  <a:lnTo>
                    <a:pt x="289" y="187"/>
                  </a:lnTo>
                  <a:lnTo>
                    <a:pt x="291" y="189"/>
                  </a:lnTo>
                  <a:lnTo>
                    <a:pt x="293" y="187"/>
                  </a:lnTo>
                  <a:lnTo>
                    <a:pt x="295" y="186"/>
                  </a:lnTo>
                  <a:lnTo>
                    <a:pt x="294" y="189"/>
                  </a:lnTo>
                  <a:lnTo>
                    <a:pt x="292" y="190"/>
                  </a:lnTo>
                  <a:lnTo>
                    <a:pt x="289" y="190"/>
                  </a:lnTo>
                  <a:lnTo>
                    <a:pt x="286" y="191"/>
                  </a:lnTo>
                  <a:lnTo>
                    <a:pt x="283" y="193"/>
                  </a:lnTo>
                  <a:lnTo>
                    <a:pt x="282" y="195"/>
                  </a:lnTo>
                  <a:lnTo>
                    <a:pt x="280" y="197"/>
                  </a:lnTo>
                  <a:lnTo>
                    <a:pt x="279" y="199"/>
                  </a:lnTo>
                  <a:lnTo>
                    <a:pt x="277" y="202"/>
                  </a:lnTo>
                  <a:lnTo>
                    <a:pt x="276" y="203"/>
                  </a:lnTo>
                  <a:lnTo>
                    <a:pt x="275" y="204"/>
                  </a:lnTo>
                  <a:lnTo>
                    <a:pt x="273" y="203"/>
                  </a:lnTo>
                  <a:lnTo>
                    <a:pt x="273" y="201"/>
                  </a:lnTo>
                  <a:lnTo>
                    <a:pt x="271" y="201"/>
                  </a:lnTo>
                  <a:lnTo>
                    <a:pt x="270" y="201"/>
                  </a:lnTo>
                  <a:lnTo>
                    <a:pt x="269" y="202"/>
                  </a:lnTo>
                  <a:lnTo>
                    <a:pt x="268" y="202"/>
                  </a:lnTo>
                  <a:lnTo>
                    <a:pt x="268" y="203"/>
                  </a:lnTo>
                  <a:lnTo>
                    <a:pt x="269" y="204"/>
                  </a:lnTo>
                  <a:lnTo>
                    <a:pt x="270" y="207"/>
                  </a:lnTo>
                  <a:lnTo>
                    <a:pt x="269" y="207"/>
                  </a:lnTo>
                  <a:lnTo>
                    <a:pt x="268" y="208"/>
                  </a:lnTo>
                  <a:lnTo>
                    <a:pt x="267" y="209"/>
                  </a:lnTo>
                  <a:lnTo>
                    <a:pt x="265" y="209"/>
                  </a:lnTo>
                  <a:lnTo>
                    <a:pt x="264" y="208"/>
                  </a:lnTo>
                  <a:lnTo>
                    <a:pt x="262" y="207"/>
                  </a:lnTo>
                  <a:lnTo>
                    <a:pt x="261" y="207"/>
                  </a:lnTo>
                  <a:lnTo>
                    <a:pt x="259" y="205"/>
                  </a:lnTo>
                  <a:lnTo>
                    <a:pt x="259" y="203"/>
                  </a:lnTo>
                  <a:lnTo>
                    <a:pt x="257" y="203"/>
                  </a:lnTo>
                  <a:lnTo>
                    <a:pt x="257" y="204"/>
                  </a:lnTo>
                  <a:lnTo>
                    <a:pt x="257" y="205"/>
                  </a:lnTo>
                  <a:lnTo>
                    <a:pt x="255" y="205"/>
                  </a:lnTo>
                  <a:lnTo>
                    <a:pt x="252" y="205"/>
                  </a:lnTo>
                  <a:lnTo>
                    <a:pt x="252" y="208"/>
                  </a:lnTo>
                  <a:lnTo>
                    <a:pt x="253" y="210"/>
                  </a:lnTo>
                  <a:lnTo>
                    <a:pt x="256" y="210"/>
                  </a:lnTo>
                  <a:lnTo>
                    <a:pt x="258" y="210"/>
                  </a:lnTo>
                  <a:lnTo>
                    <a:pt x="263" y="210"/>
                  </a:lnTo>
                  <a:lnTo>
                    <a:pt x="264" y="210"/>
                  </a:lnTo>
                  <a:lnTo>
                    <a:pt x="261" y="212"/>
                  </a:lnTo>
                  <a:lnTo>
                    <a:pt x="257" y="213"/>
                  </a:lnTo>
                  <a:lnTo>
                    <a:pt x="256" y="213"/>
                  </a:lnTo>
                  <a:lnTo>
                    <a:pt x="253" y="215"/>
                  </a:lnTo>
                  <a:lnTo>
                    <a:pt x="253" y="216"/>
                  </a:lnTo>
                  <a:lnTo>
                    <a:pt x="255" y="218"/>
                  </a:lnTo>
                  <a:lnTo>
                    <a:pt x="256" y="218"/>
                  </a:lnTo>
                  <a:lnTo>
                    <a:pt x="258" y="218"/>
                  </a:lnTo>
                  <a:lnTo>
                    <a:pt x="261" y="216"/>
                  </a:lnTo>
                  <a:lnTo>
                    <a:pt x="262" y="216"/>
                  </a:lnTo>
                  <a:lnTo>
                    <a:pt x="263" y="219"/>
                  </a:lnTo>
                  <a:lnTo>
                    <a:pt x="261" y="219"/>
                  </a:lnTo>
                  <a:lnTo>
                    <a:pt x="259" y="219"/>
                  </a:lnTo>
                  <a:lnTo>
                    <a:pt x="256" y="219"/>
                  </a:lnTo>
                  <a:lnTo>
                    <a:pt x="253" y="219"/>
                  </a:lnTo>
                  <a:lnTo>
                    <a:pt x="252" y="219"/>
                  </a:lnTo>
                  <a:lnTo>
                    <a:pt x="251" y="220"/>
                  </a:lnTo>
                  <a:lnTo>
                    <a:pt x="251" y="222"/>
                  </a:lnTo>
                  <a:lnTo>
                    <a:pt x="253" y="222"/>
                  </a:lnTo>
                  <a:lnTo>
                    <a:pt x="255" y="224"/>
                  </a:lnTo>
                  <a:lnTo>
                    <a:pt x="253" y="225"/>
                  </a:lnTo>
                  <a:lnTo>
                    <a:pt x="256" y="226"/>
                  </a:lnTo>
                  <a:lnTo>
                    <a:pt x="256" y="225"/>
                  </a:lnTo>
                  <a:lnTo>
                    <a:pt x="253" y="227"/>
                  </a:lnTo>
                  <a:lnTo>
                    <a:pt x="253" y="228"/>
                  </a:lnTo>
                  <a:lnTo>
                    <a:pt x="255" y="228"/>
                  </a:lnTo>
                  <a:lnTo>
                    <a:pt x="256" y="231"/>
                  </a:lnTo>
                  <a:lnTo>
                    <a:pt x="255" y="231"/>
                  </a:lnTo>
                  <a:lnTo>
                    <a:pt x="253" y="231"/>
                  </a:lnTo>
                  <a:lnTo>
                    <a:pt x="252" y="232"/>
                  </a:lnTo>
                  <a:lnTo>
                    <a:pt x="252" y="234"/>
                  </a:lnTo>
                  <a:lnTo>
                    <a:pt x="251" y="233"/>
                  </a:lnTo>
                  <a:lnTo>
                    <a:pt x="250" y="233"/>
                  </a:lnTo>
                  <a:lnTo>
                    <a:pt x="250" y="236"/>
                  </a:lnTo>
                  <a:lnTo>
                    <a:pt x="248" y="237"/>
                  </a:lnTo>
                  <a:lnTo>
                    <a:pt x="247" y="237"/>
                  </a:lnTo>
                  <a:lnTo>
                    <a:pt x="245" y="236"/>
                  </a:lnTo>
                  <a:lnTo>
                    <a:pt x="245" y="234"/>
                  </a:lnTo>
                  <a:lnTo>
                    <a:pt x="244" y="233"/>
                  </a:lnTo>
                  <a:lnTo>
                    <a:pt x="242" y="233"/>
                  </a:lnTo>
                  <a:lnTo>
                    <a:pt x="241" y="233"/>
                  </a:lnTo>
                  <a:lnTo>
                    <a:pt x="241" y="234"/>
                  </a:lnTo>
                  <a:lnTo>
                    <a:pt x="240" y="237"/>
                  </a:lnTo>
                  <a:lnTo>
                    <a:pt x="239" y="237"/>
                  </a:lnTo>
                  <a:lnTo>
                    <a:pt x="239" y="236"/>
                  </a:lnTo>
                  <a:lnTo>
                    <a:pt x="238" y="234"/>
                  </a:lnTo>
                  <a:lnTo>
                    <a:pt x="236" y="236"/>
                  </a:lnTo>
                  <a:lnTo>
                    <a:pt x="235" y="237"/>
                  </a:lnTo>
                  <a:lnTo>
                    <a:pt x="236" y="238"/>
                  </a:lnTo>
                  <a:lnTo>
                    <a:pt x="235" y="238"/>
                  </a:lnTo>
                  <a:lnTo>
                    <a:pt x="234" y="237"/>
                  </a:lnTo>
                  <a:lnTo>
                    <a:pt x="233" y="236"/>
                  </a:lnTo>
                  <a:lnTo>
                    <a:pt x="230" y="236"/>
                  </a:lnTo>
                  <a:lnTo>
                    <a:pt x="230" y="239"/>
                  </a:lnTo>
                  <a:lnTo>
                    <a:pt x="230" y="240"/>
                  </a:lnTo>
                  <a:lnTo>
                    <a:pt x="228" y="239"/>
                  </a:lnTo>
                  <a:lnTo>
                    <a:pt x="227" y="238"/>
                  </a:lnTo>
                  <a:lnTo>
                    <a:pt x="224" y="239"/>
                  </a:lnTo>
                  <a:lnTo>
                    <a:pt x="224" y="240"/>
                  </a:lnTo>
                  <a:lnTo>
                    <a:pt x="224" y="242"/>
                  </a:lnTo>
                  <a:lnTo>
                    <a:pt x="223" y="240"/>
                  </a:lnTo>
                  <a:lnTo>
                    <a:pt x="221" y="240"/>
                  </a:lnTo>
                  <a:lnTo>
                    <a:pt x="220" y="240"/>
                  </a:lnTo>
                  <a:lnTo>
                    <a:pt x="217" y="239"/>
                  </a:lnTo>
                  <a:lnTo>
                    <a:pt x="217" y="240"/>
                  </a:lnTo>
                  <a:lnTo>
                    <a:pt x="215" y="240"/>
                  </a:lnTo>
                  <a:lnTo>
                    <a:pt x="214" y="240"/>
                  </a:lnTo>
                  <a:lnTo>
                    <a:pt x="210" y="239"/>
                  </a:lnTo>
                  <a:lnTo>
                    <a:pt x="210" y="240"/>
                  </a:lnTo>
                  <a:lnTo>
                    <a:pt x="209" y="243"/>
                  </a:lnTo>
                  <a:lnTo>
                    <a:pt x="210" y="243"/>
                  </a:lnTo>
                  <a:lnTo>
                    <a:pt x="212" y="245"/>
                  </a:lnTo>
                  <a:lnTo>
                    <a:pt x="212" y="246"/>
                  </a:lnTo>
                  <a:lnTo>
                    <a:pt x="211" y="248"/>
                  </a:lnTo>
                  <a:lnTo>
                    <a:pt x="212" y="249"/>
                  </a:lnTo>
                  <a:lnTo>
                    <a:pt x="214" y="250"/>
                  </a:lnTo>
                  <a:lnTo>
                    <a:pt x="215" y="252"/>
                  </a:lnTo>
                  <a:lnTo>
                    <a:pt x="217" y="254"/>
                  </a:lnTo>
                  <a:lnTo>
                    <a:pt x="217" y="255"/>
                  </a:lnTo>
                  <a:lnTo>
                    <a:pt x="215" y="255"/>
                  </a:lnTo>
                  <a:lnTo>
                    <a:pt x="212" y="255"/>
                  </a:lnTo>
                  <a:lnTo>
                    <a:pt x="210" y="255"/>
                  </a:lnTo>
                  <a:lnTo>
                    <a:pt x="209" y="254"/>
                  </a:lnTo>
                  <a:lnTo>
                    <a:pt x="211" y="254"/>
                  </a:lnTo>
                  <a:lnTo>
                    <a:pt x="211" y="251"/>
                  </a:lnTo>
                  <a:lnTo>
                    <a:pt x="212" y="250"/>
                  </a:lnTo>
                  <a:lnTo>
                    <a:pt x="211" y="250"/>
                  </a:lnTo>
                  <a:lnTo>
                    <a:pt x="210" y="250"/>
                  </a:lnTo>
                  <a:lnTo>
                    <a:pt x="209" y="251"/>
                  </a:lnTo>
                  <a:lnTo>
                    <a:pt x="208" y="251"/>
                  </a:lnTo>
                  <a:lnTo>
                    <a:pt x="209" y="250"/>
                  </a:lnTo>
                  <a:lnTo>
                    <a:pt x="209" y="249"/>
                  </a:lnTo>
                  <a:lnTo>
                    <a:pt x="209" y="246"/>
                  </a:lnTo>
                  <a:lnTo>
                    <a:pt x="209" y="245"/>
                  </a:lnTo>
                  <a:lnTo>
                    <a:pt x="208" y="244"/>
                  </a:lnTo>
                  <a:lnTo>
                    <a:pt x="206" y="244"/>
                  </a:lnTo>
                  <a:lnTo>
                    <a:pt x="206" y="246"/>
                  </a:lnTo>
                  <a:lnTo>
                    <a:pt x="206" y="249"/>
                  </a:lnTo>
                  <a:lnTo>
                    <a:pt x="204" y="249"/>
                  </a:lnTo>
                  <a:lnTo>
                    <a:pt x="204" y="248"/>
                  </a:lnTo>
                  <a:lnTo>
                    <a:pt x="203" y="246"/>
                  </a:lnTo>
                  <a:lnTo>
                    <a:pt x="202" y="248"/>
                  </a:lnTo>
                  <a:lnTo>
                    <a:pt x="202" y="249"/>
                  </a:lnTo>
                  <a:lnTo>
                    <a:pt x="199" y="250"/>
                  </a:lnTo>
                  <a:lnTo>
                    <a:pt x="198" y="249"/>
                  </a:lnTo>
                  <a:lnTo>
                    <a:pt x="198" y="248"/>
                  </a:lnTo>
                  <a:lnTo>
                    <a:pt x="197" y="246"/>
                  </a:lnTo>
                  <a:lnTo>
                    <a:pt x="196" y="246"/>
                  </a:lnTo>
                  <a:lnTo>
                    <a:pt x="194" y="248"/>
                  </a:lnTo>
                  <a:lnTo>
                    <a:pt x="193" y="250"/>
                  </a:lnTo>
                  <a:lnTo>
                    <a:pt x="192" y="251"/>
                  </a:lnTo>
                  <a:lnTo>
                    <a:pt x="192" y="254"/>
                  </a:lnTo>
                  <a:lnTo>
                    <a:pt x="193" y="255"/>
                  </a:lnTo>
                  <a:lnTo>
                    <a:pt x="194" y="255"/>
                  </a:lnTo>
                  <a:lnTo>
                    <a:pt x="197" y="257"/>
                  </a:lnTo>
                  <a:lnTo>
                    <a:pt x="198" y="260"/>
                  </a:lnTo>
                  <a:lnTo>
                    <a:pt x="196" y="260"/>
                  </a:lnTo>
                  <a:lnTo>
                    <a:pt x="194" y="258"/>
                  </a:lnTo>
                  <a:lnTo>
                    <a:pt x="193" y="256"/>
                  </a:lnTo>
                  <a:lnTo>
                    <a:pt x="192" y="255"/>
                  </a:lnTo>
                  <a:lnTo>
                    <a:pt x="189" y="256"/>
                  </a:lnTo>
                  <a:lnTo>
                    <a:pt x="189" y="255"/>
                  </a:lnTo>
                  <a:lnTo>
                    <a:pt x="188" y="254"/>
                  </a:lnTo>
                  <a:lnTo>
                    <a:pt x="189" y="251"/>
                  </a:lnTo>
                  <a:lnTo>
                    <a:pt x="189" y="250"/>
                  </a:lnTo>
                  <a:lnTo>
                    <a:pt x="191" y="250"/>
                  </a:lnTo>
                  <a:lnTo>
                    <a:pt x="192" y="248"/>
                  </a:lnTo>
                  <a:lnTo>
                    <a:pt x="192" y="245"/>
                  </a:lnTo>
                  <a:lnTo>
                    <a:pt x="192" y="244"/>
                  </a:lnTo>
                  <a:lnTo>
                    <a:pt x="192" y="243"/>
                  </a:lnTo>
                  <a:lnTo>
                    <a:pt x="189" y="242"/>
                  </a:lnTo>
                  <a:lnTo>
                    <a:pt x="189" y="240"/>
                  </a:lnTo>
                  <a:lnTo>
                    <a:pt x="191" y="238"/>
                  </a:lnTo>
                  <a:lnTo>
                    <a:pt x="189" y="236"/>
                  </a:lnTo>
                  <a:lnTo>
                    <a:pt x="189" y="234"/>
                  </a:lnTo>
                  <a:lnTo>
                    <a:pt x="185" y="238"/>
                  </a:lnTo>
                  <a:lnTo>
                    <a:pt x="183" y="239"/>
                  </a:lnTo>
                  <a:lnTo>
                    <a:pt x="182" y="239"/>
                  </a:lnTo>
                  <a:lnTo>
                    <a:pt x="181" y="239"/>
                  </a:lnTo>
                  <a:lnTo>
                    <a:pt x="181" y="237"/>
                  </a:lnTo>
                  <a:lnTo>
                    <a:pt x="180" y="237"/>
                  </a:lnTo>
                  <a:lnTo>
                    <a:pt x="179" y="233"/>
                  </a:lnTo>
                  <a:lnTo>
                    <a:pt x="177" y="233"/>
                  </a:lnTo>
                  <a:lnTo>
                    <a:pt x="176" y="234"/>
                  </a:lnTo>
                  <a:lnTo>
                    <a:pt x="175" y="234"/>
                  </a:lnTo>
                  <a:lnTo>
                    <a:pt x="174" y="233"/>
                  </a:lnTo>
                  <a:lnTo>
                    <a:pt x="174" y="232"/>
                  </a:lnTo>
                  <a:lnTo>
                    <a:pt x="175" y="230"/>
                  </a:lnTo>
                  <a:lnTo>
                    <a:pt x="176" y="227"/>
                  </a:lnTo>
                  <a:lnTo>
                    <a:pt x="176" y="225"/>
                  </a:lnTo>
                  <a:lnTo>
                    <a:pt x="174" y="222"/>
                  </a:lnTo>
                  <a:lnTo>
                    <a:pt x="174" y="221"/>
                  </a:lnTo>
                  <a:lnTo>
                    <a:pt x="171" y="222"/>
                  </a:lnTo>
                  <a:lnTo>
                    <a:pt x="170" y="222"/>
                  </a:lnTo>
                  <a:lnTo>
                    <a:pt x="168" y="222"/>
                  </a:lnTo>
                  <a:lnTo>
                    <a:pt x="167" y="222"/>
                  </a:lnTo>
                  <a:lnTo>
                    <a:pt x="167" y="225"/>
                  </a:lnTo>
                  <a:lnTo>
                    <a:pt x="165" y="226"/>
                  </a:lnTo>
                  <a:lnTo>
                    <a:pt x="167" y="227"/>
                  </a:lnTo>
                  <a:lnTo>
                    <a:pt x="168" y="228"/>
                  </a:lnTo>
                  <a:lnTo>
                    <a:pt x="165" y="230"/>
                  </a:lnTo>
                  <a:lnTo>
                    <a:pt x="165" y="231"/>
                  </a:lnTo>
                  <a:lnTo>
                    <a:pt x="167" y="233"/>
                  </a:lnTo>
                  <a:lnTo>
                    <a:pt x="168" y="233"/>
                  </a:lnTo>
                  <a:lnTo>
                    <a:pt x="168" y="236"/>
                  </a:lnTo>
                  <a:lnTo>
                    <a:pt x="168" y="237"/>
                  </a:lnTo>
                  <a:lnTo>
                    <a:pt x="168" y="239"/>
                  </a:lnTo>
                  <a:lnTo>
                    <a:pt x="168" y="242"/>
                  </a:lnTo>
                  <a:lnTo>
                    <a:pt x="171" y="242"/>
                  </a:lnTo>
                  <a:lnTo>
                    <a:pt x="170" y="243"/>
                  </a:lnTo>
                  <a:lnTo>
                    <a:pt x="169" y="244"/>
                  </a:lnTo>
                  <a:lnTo>
                    <a:pt x="170" y="246"/>
                  </a:lnTo>
                  <a:lnTo>
                    <a:pt x="170" y="249"/>
                  </a:lnTo>
                  <a:lnTo>
                    <a:pt x="169" y="248"/>
                  </a:lnTo>
                  <a:lnTo>
                    <a:pt x="168" y="245"/>
                  </a:lnTo>
                  <a:lnTo>
                    <a:pt x="168" y="243"/>
                  </a:lnTo>
                  <a:lnTo>
                    <a:pt x="165" y="242"/>
                  </a:lnTo>
                  <a:lnTo>
                    <a:pt x="165" y="239"/>
                  </a:lnTo>
                  <a:lnTo>
                    <a:pt x="163" y="238"/>
                  </a:lnTo>
                  <a:lnTo>
                    <a:pt x="163" y="236"/>
                  </a:lnTo>
                  <a:lnTo>
                    <a:pt x="162" y="234"/>
                  </a:lnTo>
                  <a:lnTo>
                    <a:pt x="161" y="232"/>
                  </a:lnTo>
                  <a:lnTo>
                    <a:pt x="159" y="233"/>
                  </a:lnTo>
                  <a:lnTo>
                    <a:pt x="158" y="233"/>
                  </a:lnTo>
                  <a:lnTo>
                    <a:pt x="158" y="234"/>
                  </a:lnTo>
                  <a:lnTo>
                    <a:pt x="158" y="236"/>
                  </a:lnTo>
                  <a:lnTo>
                    <a:pt x="158" y="239"/>
                  </a:lnTo>
                  <a:lnTo>
                    <a:pt x="159" y="240"/>
                  </a:lnTo>
                  <a:lnTo>
                    <a:pt x="162" y="242"/>
                  </a:lnTo>
                  <a:lnTo>
                    <a:pt x="163" y="243"/>
                  </a:lnTo>
                  <a:lnTo>
                    <a:pt x="162" y="244"/>
                  </a:lnTo>
                  <a:lnTo>
                    <a:pt x="161" y="244"/>
                  </a:lnTo>
                  <a:lnTo>
                    <a:pt x="158" y="243"/>
                  </a:lnTo>
                  <a:lnTo>
                    <a:pt x="157" y="242"/>
                  </a:lnTo>
                  <a:lnTo>
                    <a:pt x="157" y="240"/>
                  </a:lnTo>
                  <a:lnTo>
                    <a:pt x="156" y="239"/>
                  </a:lnTo>
                  <a:lnTo>
                    <a:pt x="155" y="238"/>
                  </a:lnTo>
                  <a:lnTo>
                    <a:pt x="155" y="237"/>
                  </a:lnTo>
                  <a:lnTo>
                    <a:pt x="153" y="236"/>
                  </a:lnTo>
                  <a:lnTo>
                    <a:pt x="152" y="234"/>
                  </a:lnTo>
                  <a:lnTo>
                    <a:pt x="152" y="233"/>
                  </a:lnTo>
                  <a:lnTo>
                    <a:pt x="153" y="232"/>
                  </a:lnTo>
                  <a:lnTo>
                    <a:pt x="155" y="231"/>
                  </a:lnTo>
                  <a:lnTo>
                    <a:pt x="155" y="228"/>
                  </a:lnTo>
                  <a:lnTo>
                    <a:pt x="153" y="227"/>
                  </a:lnTo>
                  <a:lnTo>
                    <a:pt x="151" y="227"/>
                  </a:lnTo>
                  <a:lnTo>
                    <a:pt x="150" y="227"/>
                  </a:lnTo>
                  <a:lnTo>
                    <a:pt x="149" y="228"/>
                  </a:lnTo>
                  <a:lnTo>
                    <a:pt x="147" y="228"/>
                  </a:lnTo>
                  <a:lnTo>
                    <a:pt x="145" y="227"/>
                  </a:lnTo>
                  <a:lnTo>
                    <a:pt x="145" y="225"/>
                  </a:lnTo>
                  <a:lnTo>
                    <a:pt x="144" y="224"/>
                  </a:lnTo>
                  <a:lnTo>
                    <a:pt x="141" y="222"/>
                  </a:lnTo>
                  <a:lnTo>
                    <a:pt x="141" y="221"/>
                  </a:lnTo>
                  <a:lnTo>
                    <a:pt x="140" y="219"/>
                  </a:lnTo>
                  <a:lnTo>
                    <a:pt x="139" y="218"/>
                  </a:lnTo>
                  <a:lnTo>
                    <a:pt x="137" y="216"/>
                  </a:lnTo>
                  <a:lnTo>
                    <a:pt x="134" y="216"/>
                  </a:lnTo>
                  <a:lnTo>
                    <a:pt x="134" y="219"/>
                  </a:lnTo>
                  <a:lnTo>
                    <a:pt x="134" y="220"/>
                  </a:lnTo>
                  <a:lnTo>
                    <a:pt x="133" y="221"/>
                  </a:lnTo>
                  <a:lnTo>
                    <a:pt x="133" y="224"/>
                  </a:lnTo>
                  <a:lnTo>
                    <a:pt x="135" y="225"/>
                  </a:lnTo>
                  <a:lnTo>
                    <a:pt x="137" y="227"/>
                  </a:lnTo>
                  <a:lnTo>
                    <a:pt x="139" y="228"/>
                  </a:lnTo>
                  <a:lnTo>
                    <a:pt x="140" y="230"/>
                  </a:lnTo>
                  <a:lnTo>
                    <a:pt x="141" y="230"/>
                  </a:lnTo>
                  <a:lnTo>
                    <a:pt x="144" y="231"/>
                  </a:lnTo>
                  <a:lnTo>
                    <a:pt x="144" y="232"/>
                  </a:lnTo>
                  <a:lnTo>
                    <a:pt x="143" y="233"/>
                  </a:lnTo>
                  <a:lnTo>
                    <a:pt x="141" y="233"/>
                  </a:lnTo>
                  <a:lnTo>
                    <a:pt x="139" y="231"/>
                  </a:lnTo>
                  <a:lnTo>
                    <a:pt x="138" y="228"/>
                  </a:lnTo>
                  <a:lnTo>
                    <a:pt x="137" y="231"/>
                  </a:lnTo>
                  <a:lnTo>
                    <a:pt x="135" y="232"/>
                  </a:lnTo>
                  <a:lnTo>
                    <a:pt x="134" y="228"/>
                  </a:lnTo>
                  <a:lnTo>
                    <a:pt x="133" y="226"/>
                  </a:lnTo>
                  <a:lnTo>
                    <a:pt x="130" y="227"/>
                  </a:lnTo>
                  <a:lnTo>
                    <a:pt x="130" y="228"/>
                  </a:lnTo>
                  <a:lnTo>
                    <a:pt x="129" y="227"/>
                  </a:lnTo>
                  <a:lnTo>
                    <a:pt x="127" y="225"/>
                  </a:lnTo>
                  <a:lnTo>
                    <a:pt x="127" y="222"/>
                  </a:lnTo>
                  <a:lnTo>
                    <a:pt x="124" y="222"/>
                  </a:lnTo>
                  <a:lnTo>
                    <a:pt x="123" y="225"/>
                  </a:lnTo>
                  <a:lnTo>
                    <a:pt x="122" y="224"/>
                  </a:lnTo>
                  <a:lnTo>
                    <a:pt x="121" y="222"/>
                  </a:lnTo>
                  <a:lnTo>
                    <a:pt x="122" y="219"/>
                  </a:lnTo>
                  <a:lnTo>
                    <a:pt x="122" y="218"/>
                  </a:lnTo>
                  <a:lnTo>
                    <a:pt x="120" y="215"/>
                  </a:lnTo>
                  <a:lnTo>
                    <a:pt x="117" y="216"/>
                  </a:lnTo>
                  <a:lnTo>
                    <a:pt x="115" y="218"/>
                  </a:lnTo>
                  <a:lnTo>
                    <a:pt x="111" y="218"/>
                  </a:lnTo>
                  <a:lnTo>
                    <a:pt x="110" y="216"/>
                  </a:lnTo>
                  <a:lnTo>
                    <a:pt x="109" y="215"/>
                  </a:lnTo>
                  <a:lnTo>
                    <a:pt x="108" y="214"/>
                  </a:lnTo>
                  <a:lnTo>
                    <a:pt x="105" y="213"/>
                  </a:lnTo>
                  <a:lnTo>
                    <a:pt x="103" y="213"/>
                  </a:lnTo>
                  <a:lnTo>
                    <a:pt x="102" y="214"/>
                  </a:lnTo>
                  <a:lnTo>
                    <a:pt x="103" y="215"/>
                  </a:lnTo>
                  <a:lnTo>
                    <a:pt x="102" y="216"/>
                  </a:lnTo>
                  <a:lnTo>
                    <a:pt x="99" y="216"/>
                  </a:lnTo>
                  <a:lnTo>
                    <a:pt x="98" y="215"/>
                  </a:lnTo>
                  <a:lnTo>
                    <a:pt x="98" y="214"/>
                  </a:lnTo>
                  <a:lnTo>
                    <a:pt x="98" y="213"/>
                  </a:lnTo>
                  <a:lnTo>
                    <a:pt x="98" y="212"/>
                  </a:lnTo>
                  <a:lnTo>
                    <a:pt x="97" y="209"/>
                  </a:lnTo>
                  <a:lnTo>
                    <a:pt x="94" y="209"/>
                  </a:lnTo>
                  <a:lnTo>
                    <a:pt x="92" y="207"/>
                  </a:lnTo>
                  <a:lnTo>
                    <a:pt x="92" y="205"/>
                  </a:lnTo>
                  <a:lnTo>
                    <a:pt x="92" y="204"/>
                  </a:lnTo>
                  <a:lnTo>
                    <a:pt x="91" y="202"/>
                  </a:lnTo>
                  <a:lnTo>
                    <a:pt x="88" y="202"/>
                  </a:lnTo>
                  <a:lnTo>
                    <a:pt x="88" y="203"/>
                  </a:lnTo>
                  <a:lnTo>
                    <a:pt x="88" y="205"/>
                  </a:lnTo>
                  <a:lnTo>
                    <a:pt x="87" y="204"/>
                  </a:lnTo>
                  <a:lnTo>
                    <a:pt x="86" y="203"/>
                  </a:lnTo>
                  <a:lnTo>
                    <a:pt x="85" y="202"/>
                  </a:lnTo>
                  <a:lnTo>
                    <a:pt x="84" y="202"/>
                  </a:lnTo>
                  <a:lnTo>
                    <a:pt x="81" y="201"/>
                  </a:lnTo>
                  <a:lnTo>
                    <a:pt x="80" y="201"/>
                  </a:lnTo>
                  <a:lnTo>
                    <a:pt x="79" y="201"/>
                  </a:lnTo>
                  <a:lnTo>
                    <a:pt x="78" y="201"/>
                  </a:lnTo>
                  <a:lnTo>
                    <a:pt x="76" y="201"/>
                  </a:lnTo>
                  <a:lnTo>
                    <a:pt x="75" y="201"/>
                  </a:lnTo>
                  <a:lnTo>
                    <a:pt x="75" y="204"/>
                  </a:lnTo>
                  <a:lnTo>
                    <a:pt x="78" y="207"/>
                  </a:lnTo>
                  <a:lnTo>
                    <a:pt x="80" y="209"/>
                  </a:lnTo>
                  <a:lnTo>
                    <a:pt x="80" y="212"/>
                  </a:lnTo>
                  <a:lnTo>
                    <a:pt x="79" y="212"/>
                  </a:lnTo>
                  <a:lnTo>
                    <a:pt x="79" y="213"/>
                  </a:lnTo>
                  <a:lnTo>
                    <a:pt x="79" y="215"/>
                  </a:lnTo>
                  <a:lnTo>
                    <a:pt x="80" y="216"/>
                  </a:lnTo>
                  <a:lnTo>
                    <a:pt x="81" y="216"/>
                  </a:lnTo>
                  <a:lnTo>
                    <a:pt x="82" y="219"/>
                  </a:lnTo>
                  <a:lnTo>
                    <a:pt x="84" y="219"/>
                  </a:lnTo>
                  <a:lnTo>
                    <a:pt x="87" y="219"/>
                  </a:lnTo>
                  <a:lnTo>
                    <a:pt x="88" y="220"/>
                  </a:lnTo>
                  <a:lnTo>
                    <a:pt x="88" y="221"/>
                  </a:lnTo>
                  <a:lnTo>
                    <a:pt x="87" y="221"/>
                  </a:lnTo>
                  <a:lnTo>
                    <a:pt x="86" y="221"/>
                  </a:lnTo>
                  <a:lnTo>
                    <a:pt x="84" y="222"/>
                  </a:lnTo>
                  <a:lnTo>
                    <a:pt x="82" y="224"/>
                  </a:lnTo>
                  <a:lnTo>
                    <a:pt x="84" y="226"/>
                  </a:lnTo>
                  <a:lnTo>
                    <a:pt x="86" y="226"/>
                  </a:lnTo>
                  <a:lnTo>
                    <a:pt x="87" y="227"/>
                  </a:lnTo>
                  <a:lnTo>
                    <a:pt x="86" y="228"/>
                  </a:lnTo>
                  <a:lnTo>
                    <a:pt x="88" y="230"/>
                  </a:lnTo>
                  <a:lnTo>
                    <a:pt x="90" y="230"/>
                  </a:lnTo>
                  <a:lnTo>
                    <a:pt x="91" y="231"/>
                  </a:lnTo>
                  <a:lnTo>
                    <a:pt x="93" y="231"/>
                  </a:lnTo>
                  <a:lnTo>
                    <a:pt x="94" y="232"/>
                  </a:lnTo>
                  <a:lnTo>
                    <a:pt x="96" y="232"/>
                  </a:lnTo>
                  <a:lnTo>
                    <a:pt x="96" y="233"/>
                  </a:lnTo>
                  <a:lnTo>
                    <a:pt x="94" y="234"/>
                  </a:lnTo>
                  <a:lnTo>
                    <a:pt x="93" y="234"/>
                  </a:lnTo>
                  <a:lnTo>
                    <a:pt x="91" y="233"/>
                  </a:lnTo>
                  <a:lnTo>
                    <a:pt x="90" y="232"/>
                  </a:lnTo>
                  <a:lnTo>
                    <a:pt x="87" y="232"/>
                  </a:lnTo>
                  <a:lnTo>
                    <a:pt x="86" y="231"/>
                  </a:lnTo>
                  <a:lnTo>
                    <a:pt x="86" y="230"/>
                  </a:lnTo>
                  <a:lnTo>
                    <a:pt x="84" y="230"/>
                  </a:lnTo>
                  <a:lnTo>
                    <a:pt x="84" y="231"/>
                  </a:lnTo>
                  <a:lnTo>
                    <a:pt x="82" y="230"/>
                  </a:lnTo>
                  <a:lnTo>
                    <a:pt x="80" y="228"/>
                  </a:lnTo>
                  <a:lnTo>
                    <a:pt x="80" y="230"/>
                  </a:lnTo>
                  <a:lnTo>
                    <a:pt x="79" y="230"/>
                  </a:lnTo>
                  <a:lnTo>
                    <a:pt x="76" y="230"/>
                  </a:lnTo>
                  <a:lnTo>
                    <a:pt x="76" y="231"/>
                  </a:lnTo>
                  <a:lnTo>
                    <a:pt x="74" y="233"/>
                  </a:lnTo>
                  <a:lnTo>
                    <a:pt x="73" y="234"/>
                  </a:lnTo>
                  <a:lnTo>
                    <a:pt x="75" y="237"/>
                  </a:lnTo>
                  <a:lnTo>
                    <a:pt x="78" y="237"/>
                  </a:lnTo>
                  <a:lnTo>
                    <a:pt x="78" y="239"/>
                  </a:lnTo>
                  <a:lnTo>
                    <a:pt x="81" y="240"/>
                  </a:lnTo>
                  <a:lnTo>
                    <a:pt x="84" y="240"/>
                  </a:lnTo>
                  <a:lnTo>
                    <a:pt x="87" y="240"/>
                  </a:lnTo>
                  <a:lnTo>
                    <a:pt x="90" y="242"/>
                  </a:lnTo>
                  <a:lnTo>
                    <a:pt x="91" y="243"/>
                  </a:lnTo>
                  <a:lnTo>
                    <a:pt x="91" y="245"/>
                  </a:lnTo>
                  <a:lnTo>
                    <a:pt x="92" y="248"/>
                  </a:lnTo>
                  <a:lnTo>
                    <a:pt x="94" y="249"/>
                  </a:lnTo>
                  <a:lnTo>
                    <a:pt x="97" y="249"/>
                  </a:lnTo>
                  <a:lnTo>
                    <a:pt x="98" y="248"/>
                  </a:lnTo>
                  <a:lnTo>
                    <a:pt x="100" y="248"/>
                  </a:lnTo>
                  <a:lnTo>
                    <a:pt x="102" y="248"/>
                  </a:lnTo>
                  <a:lnTo>
                    <a:pt x="104" y="250"/>
                  </a:lnTo>
                  <a:lnTo>
                    <a:pt x="106" y="251"/>
                  </a:lnTo>
                  <a:lnTo>
                    <a:pt x="108" y="251"/>
                  </a:lnTo>
                  <a:lnTo>
                    <a:pt x="109" y="250"/>
                  </a:lnTo>
                  <a:lnTo>
                    <a:pt x="110" y="250"/>
                  </a:lnTo>
                  <a:lnTo>
                    <a:pt x="111" y="251"/>
                  </a:lnTo>
                  <a:lnTo>
                    <a:pt x="111" y="255"/>
                  </a:lnTo>
                  <a:lnTo>
                    <a:pt x="109" y="256"/>
                  </a:lnTo>
                  <a:lnTo>
                    <a:pt x="106" y="256"/>
                  </a:lnTo>
                  <a:lnTo>
                    <a:pt x="104" y="256"/>
                  </a:lnTo>
                  <a:lnTo>
                    <a:pt x="103" y="258"/>
                  </a:lnTo>
                  <a:lnTo>
                    <a:pt x="103" y="260"/>
                  </a:lnTo>
                  <a:lnTo>
                    <a:pt x="105" y="261"/>
                  </a:lnTo>
                  <a:lnTo>
                    <a:pt x="108" y="261"/>
                  </a:lnTo>
                  <a:lnTo>
                    <a:pt x="110" y="263"/>
                  </a:lnTo>
                  <a:lnTo>
                    <a:pt x="111" y="262"/>
                  </a:lnTo>
                  <a:lnTo>
                    <a:pt x="112" y="261"/>
                  </a:lnTo>
                  <a:lnTo>
                    <a:pt x="114" y="260"/>
                  </a:lnTo>
                  <a:lnTo>
                    <a:pt x="115" y="260"/>
                  </a:lnTo>
                  <a:lnTo>
                    <a:pt x="116" y="260"/>
                  </a:lnTo>
                  <a:lnTo>
                    <a:pt x="118" y="260"/>
                  </a:lnTo>
                  <a:lnTo>
                    <a:pt x="122" y="260"/>
                  </a:lnTo>
                  <a:lnTo>
                    <a:pt x="124" y="262"/>
                  </a:lnTo>
                  <a:lnTo>
                    <a:pt x="124" y="263"/>
                  </a:lnTo>
                  <a:lnTo>
                    <a:pt x="124" y="266"/>
                  </a:lnTo>
                  <a:lnTo>
                    <a:pt x="122" y="266"/>
                  </a:lnTo>
                  <a:lnTo>
                    <a:pt x="121" y="264"/>
                  </a:lnTo>
                  <a:lnTo>
                    <a:pt x="120" y="264"/>
                  </a:lnTo>
                  <a:lnTo>
                    <a:pt x="118" y="264"/>
                  </a:lnTo>
                  <a:lnTo>
                    <a:pt x="117" y="264"/>
                  </a:lnTo>
                  <a:lnTo>
                    <a:pt x="116" y="266"/>
                  </a:lnTo>
                  <a:lnTo>
                    <a:pt x="115" y="267"/>
                  </a:lnTo>
                  <a:lnTo>
                    <a:pt x="112" y="267"/>
                  </a:lnTo>
                  <a:lnTo>
                    <a:pt x="111" y="267"/>
                  </a:lnTo>
                  <a:lnTo>
                    <a:pt x="109" y="267"/>
                  </a:lnTo>
                  <a:lnTo>
                    <a:pt x="106" y="269"/>
                  </a:lnTo>
                  <a:lnTo>
                    <a:pt x="106" y="274"/>
                  </a:lnTo>
                  <a:lnTo>
                    <a:pt x="108" y="274"/>
                  </a:lnTo>
                  <a:lnTo>
                    <a:pt x="109" y="274"/>
                  </a:lnTo>
                  <a:lnTo>
                    <a:pt x="111" y="275"/>
                  </a:lnTo>
                  <a:lnTo>
                    <a:pt x="114" y="275"/>
                  </a:lnTo>
                  <a:lnTo>
                    <a:pt x="116" y="275"/>
                  </a:lnTo>
                  <a:lnTo>
                    <a:pt x="117" y="275"/>
                  </a:lnTo>
                  <a:lnTo>
                    <a:pt x="118" y="274"/>
                  </a:lnTo>
                  <a:lnTo>
                    <a:pt x="120" y="272"/>
                  </a:lnTo>
                  <a:lnTo>
                    <a:pt x="122" y="272"/>
                  </a:lnTo>
                  <a:lnTo>
                    <a:pt x="123" y="273"/>
                  </a:lnTo>
                  <a:lnTo>
                    <a:pt x="122" y="275"/>
                  </a:lnTo>
                  <a:lnTo>
                    <a:pt x="121" y="275"/>
                  </a:lnTo>
                  <a:lnTo>
                    <a:pt x="120" y="275"/>
                  </a:lnTo>
                  <a:lnTo>
                    <a:pt x="118" y="278"/>
                  </a:lnTo>
                  <a:lnTo>
                    <a:pt x="118" y="279"/>
                  </a:lnTo>
                  <a:lnTo>
                    <a:pt x="121" y="280"/>
                  </a:lnTo>
                  <a:lnTo>
                    <a:pt x="123" y="280"/>
                  </a:lnTo>
                  <a:lnTo>
                    <a:pt x="124" y="282"/>
                  </a:lnTo>
                  <a:lnTo>
                    <a:pt x="126" y="284"/>
                  </a:lnTo>
                  <a:lnTo>
                    <a:pt x="127" y="284"/>
                  </a:lnTo>
                  <a:lnTo>
                    <a:pt x="128" y="285"/>
                  </a:lnTo>
                  <a:lnTo>
                    <a:pt x="128" y="287"/>
                  </a:lnTo>
                  <a:lnTo>
                    <a:pt x="126" y="287"/>
                  </a:lnTo>
                  <a:lnTo>
                    <a:pt x="123" y="286"/>
                  </a:lnTo>
                  <a:lnTo>
                    <a:pt x="120" y="287"/>
                  </a:lnTo>
                  <a:lnTo>
                    <a:pt x="121" y="291"/>
                  </a:lnTo>
                  <a:lnTo>
                    <a:pt x="121" y="292"/>
                  </a:lnTo>
                  <a:lnTo>
                    <a:pt x="122" y="294"/>
                  </a:lnTo>
                  <a:lnTo>
                    <a:pt x="120" y="296"/>
                  </a:lnTo>
                  <a:lnTo>
                    <a:pt x="118" y="297"/>
                  </a:lnTo>
                  <a:lnTo>
                    <a:pt x="120" y="299"/>
                  </a:lnTo>
                  <a:lnTo>
                    <a:pt x="122" y="299"/>
                  </a:lnTo>
                  <a:lnTo>
                    <a:pt x="124" y="300"/>
                  </a:lnTo>
                  <a:lnTo>
                    <a:pt x="126" y="303"/>
                  </a:lnTo>
                  <a:lnTo>
                    <a:pt x="124" y="305"/>
                  </a:lnTo>
                  <a:lnTo>
                    <a:pt x="122" y="308"/>
                  </a:lnTo>
                  <a:lnTo>
                    <a:pt x="121" y="309"/>
                  </a:lnTo>
                  <a:lnTo>
                    <a:pt x="122" y="310"/>
                  </a:lnTo>
                  <a:lnTo>
                    <a:pt x="124" y="310"/>
                  </a:lnTo>
                  <a:lnTo>
                    <a:pt x="126" y="309"/>
                  </a:lnTo>
                  <a:lnTo>
                    <a:pt x="128" y="311"/>
                  </a:lnTo>
                  <a:lnTo>
                    <a:pt x="129" y="312"/>
                  </a:lnTo>
                  <a:lnTo>
                    <a:pt x="133" y="315"/>
                  </a:lnTo>
                  <a:lnTo>
                    <a:pt x="132" y="317"/>
                  </a:lnTo>
                  <a:lnTo>
                    <a:pt x="129" y="317"/>
                  </a:lnTo>
                  <a:lnTo>
                    <a:pt x="128" y="319"/>
                  </a:lnTo>
                  <a:lnTo>
                    <a:pt x="126" y="320"/>
                  </a:lnTo>
                  <a:lnTo>
                    <a:pt x="123" y="322"/>
                  </a:lnTo>
                  <a:lnTo>
                    <a:pt x="122" y="323"/>
                  </a:lnTo>
                  <a:lnTo>
                    <a:pt x="121" y="322"/>
                  </a:lnTo>
                  <a:lnTo>
                    <a:pt x="120" y="321"/>
                  </a:lnTo>
                  <a:lnTo>
                    <a:pt x="118" y="321"/>
                  </a:lnTo>
                  <a:lnTo>
                    <a:pt x="118" y="323"/>
                  </a:lnTo>
                  <a:lnTo>
                    <a:pt x="118" y="326"/>
                  </a:lnTo>
                  <a:lnTo>
                    <a:pt x="121" y="327"/>
                  </a:lnTo>
                  <a:lnTo>
                    <a:pt x="118" y="328"/>
                  </a:lnTo>
                  <a:lnTo>
                    <a:pt x="117" y="329"/>
                  </a:lnTo>
                  <a:lnTo>
                    <a:pt x="115" y="331"/>
                  </a:lnTo>
                  <a:lnTo>
                    <a:pt x="115" y="328"/>
                  </a:lnTo>
                  <a:lnTo>
                    <a:pt x="112" y="328"/>
                  </a:lnTo>
                  <a:lnTo>
                    <a:pt x="111" y="328"/>
                  </a:lnTo>
                  <a:lnTo>
                    <a:pt x="111" y="331"/>
                  </a:lnTo>
                  <a:lnTo>
                    <a:pt x="111" y="333"/>
                  </a:lnTo>
                  <a:lnTo>
                    <a:pt x="109" y="333"/>
                  </a:lnTo>
                  <a:lnTo>
                    <a:pt x="108" y="331"/>
                  </a:lnTo>
                  <a:lnTo>
                    <a:pt x="106" y="331"/>
                  </a:lnTo>
                  <a:lnTo>
                    <a:pt x="104" y="331"/>
                  </a:lnTo>
                  <a:lnTo>
                    <a:pt x="103" y="332"/>
                  </a:lnTo>
                  <a:lnTo>
                    <a:pt x="103" y="334"/>
                  </a:lnTo>
                  <a:lnTo>
                    <a:pt x="100" y="334"/>
                  </a:lnTo>
                  <a:lnTo>
                    <a:pt x="100" y="335"/>
                  </a:lnTo>
                  <a:lnTo>
                    <a:pt x="99" y="338"/>
                  </a:lnTo>
                  <a:lnTo>
                    <a:pt x="96" y="338"/>
                  </a:lnTo>
                  <a:lnTo>
                    <a:pt x="94" y="337"/>
                  </a:lnTo>
                  <a:lnTo>
                    <a:pt x="93" y="337"/>
                  </a:lnTo>
                  <a:lnTo>
                    <a:pt x="90" y="337"/>
                  </a:lnTo>
                  <a:lnTo>
                    <a:pt x="88" y="334"/>
                  </a:lnTo>
                  <a:lnTo>
                    <a:pt x="87" y="334"/>
                  </a:lnTo>
                  <a:lnTo>
                    <a:pt x="86" y="333"/>
                  </a:lnTo>
                  <a:lnTo>
                    <a:pt x="84" y="333"/>
                  </a:lnTo>
                  <a:lnTo>
                    <a:pt x="84" y="334"/>
                  </a:lnTo>
                  <a:lnTo>
                    <a:pt x="82" y="335"/>
                  </a:lnTo>
                  <a:lnTo>
                    <a:pt x="86" y="338"/>
                  </a:lnTo>
                  <a:lnTo>
                    <a:pt x="86" y="340"/>
                  </a:lnTo>
                  <a:lnTo>
                    <a:pt x="86" y="343"/>
                  </a:lnTo>
                  <a:lnTo>
                    <a:pt x="88" y="344"/>
                  </a:lnTo>
                  <a:lnTo>
                    <a:pt x="90" y="344"/>
                  </a:lnTo>
                  <a:lnTo>
                    <a:pt x="91" y="344"/>
                  </a:lnTo>
                  <a:lnTo>
                    <a:pt x="91" y="346"/>
                  </a:lnTo>
                  <a:lnTo>
                    <a:pt x="88" y="346"/>
                  </a:lnTo>
                  <a:lnTo>
                    <a:pt x="87" y="347"/>
                  </a:lnTo>
                  <a:lnTo>
                    <a:pt x="87" y="349"/>
                  </a:lnTo>
                  <a:lnTo>
                    <a:pt x="87" y="350"/>
                  </a:lnTo>
                  <a:lnTo>
                    <a:pt x="90" y="349"/>
                  </a:lnTo>
                  <a:lnTo>
                    <a:pt x="91" y="350"/>
                  </a:lnTo>
                  <a:lnTo>
                    <a:pt x="92" y="351"/>
                  </a:lnTo>
                  <a:lnTo>
                    <a:pt x="93" y="351"/>
                  </a:lnTo>
                  <a:lnTo>
                    <a:pt x="96" y="351"/>
                  </a:lnTo>
                  <a:lnTo>
                    <a:pt x="97" y="350"/>
                  </a:lnTo>
                  <a:lnTo>
                    <a:pt x="98" y="350"/>
                  </a:lnTo>
                  <a:lnTo>
                    <a:pt x="99" y="349"/>
                  </a:lnTo>
                  <a:lnTo>
                    <a:pt x="99" y="347"/>
                  </a:lnTo>
                  <a:lnTo>
                    <a:pt x="99" y="346"/>
                  </a:lnTo>
                  <a:lnTo>
                    <a:pt x="97" y="345"/>
                  </a:lnTo>
                  <a:lnTo>
                    <a:pt x="94" y="345"/>
                  </a:lnTo>
                  <a:lnTo>
                    <a:pt x="94" y="344"/>
                  </a:lnTo>
                  <a:lnTo>
                    <a:pt x="97" y="343"/>
                  </a:lnTo>
                  <a:lnTo>
                    <a:pt x="98" y="343"/>
                  </a:lnTo>
                  <a:lnTo>
                    <a:pt x="99" y="344"/>
                  </a:lnTo>
                  <a:lnTo>
                    <a:pt x="100" y="343"/>
                  </a:lnTo>
                  <a:lnTo>
                    <a:pt x="102" y="341"/>
                  </a:lnTo>
                  <a:lnTo>
                    <a:pt x="102" y="340"/>
                  </a:lnTo>
                  <a:lnTo>
                    <a:pt x="104" y="339"/>
                  </a:lnTo>
                  <a:lnTo>
                    <a:pt x="105" y="337"/>
                  </a:lnTo>
                  <a:lnTo>
                    <a:pt x="108" y="338"/>
                  </a:lnTo>
                  <a:lnTo>
                    <a:pt x="110" y="338"/>
                  </a:lnTo>
                  <a:lnTo>
                    <a:pt x="111" y="338"/>
                  </a:lnTo>
                  <a:lnTo>
                    <a:pt x="112" y="338"/>
                  </a:lnTo>
                  <a:lnTo>
                    <a:pt x="115" y="338"/>
                  </a:lnTo>
                  <a:lnTo>
                    <a:pt x="116" y="338"/>
                  </a:lnTo>
                  <a:lnTo>
                    <a:pt x="117" y="338"/>
                  </a:lnTo>
                  <a:lnTo>
                    <a:pt x="118" y="337"/>
                  </a:lnTo>
                  <a:lnTo>
                    <a:pt x="120" y="335"/>
                  </a:lnTo>
                  <a:lnTo>
                    <a:pt x="122" y="335"/>
                  </a:lnTo>
                  <a:lnTo>
                    <a:pt x="122" y="337"/>
                  </a:lnTo>
                  <a:lnTo>
                    <a:pt x="126" y="338"/>
                  </a:lnTo>
                  <a:lnTo>
                    <a:pt x="127" y="340"/>
                  </a:lnTo>
                  <a:lnTo>
                    <a:pt x="130" y="340"/>
                  </a:lnTo>
                  <a:lnTo>
                    <a:pt x="132" y="341"/>
                  </a:lnTo>
                  <a:lnTo>
                    <a:pt x="129" y="341"/>
                  </a:lnTo>
                  <a:lnTo>
                    <a:pt x="126" y="341"/>
                  </a:lnTo>
                  <a:lnTo>
                    <a:pt x="124" y="343"/>
                  </a:lnTo>
                  <a:lnTo>
                    <a:pt x="123" y="344"/>
                  </a:lnTo>
                  <a:lnTo>
                    <a:pt x="122" y="344"/>
                  </a:lnTo>
                  <a:lnTo>
                    <a:pt x="120" y="344"/>
                  </a:lnTo>
                  <a:lnTo>
                    <a:pt x="117" y="344"/>
                  </a:lnTo>
                  <a:lnTo>
                    <a:pt x="116" y="344"/>
                  </a:lnTo>
                  <a:lnTo>
                    <a:pt x="115" y="341"/>
                  </a:lnTo>
                  <a:lnTo>
                    <a:pt x="112" y="341"/>
                  </a:lnTo>
                  <a:lnTo>
                    <a:pt x="111" y="341"/>
                  </a:lnTo>
                  <a:lnTo>
                    <a:pt x="109" y="341"/>
                  </a:lnTo>
                  <a:lnTo>
                    <a:pt x="106" y="341"/>
                  </a:lnTo>
                  <a:lnTo>
                    <a:pt x="105" y="341"/>
                  </a:lnTo>
                  <a:lnTo>
                    <a:pt x="103" y="344"/>
                  </a:lnTo>
                  <a:lnTo>
                    <a:pt x="102" y="345"/>
                  </a:lnTo>
                  <a:lnTo>
                    <a:pt x="102" y="346"/>
                  </a:lnTo>
                  <a:lnTo>
                    <a:pt x="102" y="347"/>
                  </a:lnTo>
                  <a:lnTo>
                    <a:pt x="104" y="347"/>
                  </a:lnTo>
                  <a:lnTo>
                    <a:pt x="105" y="347"/>
                  </a:lnTo>
                  <a:lnTo>
                    <a:pt x="106" y="347"/>
                  </a:lnTo>
                  <a:lnTo>
                    <a:pt x="108" y="347"/>
                  </a:lnTo>
                  <a:lnTo>
                    <a:pt x="109" y="345"/>
                  </a:lnTo>
                  <a:lnTo>
                    <a:pt x="110" y="345"/>
                  </a:lnTo>
                  <a:lnTo>
                    <a:pt x="110" y="347"/>
                  </a:lnTo>
                  <a:lnTo>
                    <a:pt x="112" y="347"/>
                  </a:lnTo>
                  <a:lnTo>
                    <a:pt x="111" y="349"/>
                  </a:lnTo>
                  <a:lnTo>
                    <a:pt x="110" y="349"/>
                  </a:lnTo>
                  <a:lnTo>
                    <a:pt x="109" y="349"/>
                  </a:lnTo>
                  <a:lnTo>
                    <a:pt x="109" y="352"/>
                  </a:lnTo>
                  <a:lnTo>
                    <a:pt x="108" y="352"/>
                  </a:lnTo>
                  <a:lnTo>
                    <a:pt x="108" y="351"/>
                  </a:lnTo>
                  <a:lnTo>
                    <a:pt x="106" y="350"/>
                  </a:lnTo>
                  <a:lnTo>
                    <a:pt x="104" y="349"/>
                  </a:lnTo>
                  <a:lnTo>
                    <a:pt x="104" y="350"/>
                  </a:lnTo>
                  <a:lnTo>
                    <a:pt x="103" y="351"/>
                  </a:lnTo>
                  <a:lnTo>
                    <a:pt x="104" y="352"/>
                  </a:lnTo>
                  <a:lnTo>
                    <a:pt x="104" y="353"/>
                  </a:lnTo>
                  <a:lnTo>
                    <a:pt x="102" y="355"/>
                  </a:lnTo>
                  <a:lnTo>
                    <a:pt x="103" y="356"/>
                  </a:lnTo>
                  <a:lnTo>
                    <a:pt x="104" y="356"/>
                  </a:lnTo>
                  <a:lnTo>
                    <a:pt x="104" y="357"/>
                  </a:lnTo>
                  <a:lnTo>
                    <a:pt x="102" y="358"/>
                  </a:lnTo>
                  <a:lnTo>
                    <a:pt x="99" y="362"/>
                  </a:lnTo>
                  <a:lnTo>
                    <a:pt x="98" y="361"/>
                  </a:lnTo>
                  <a:lnTo>
                    <a:pt x="97" y="359"/>
                  </a:lnTo>
                  <a:lnTo>
                    <a:pt x="96" y="357"/>
                  </a:lnTo>
                  <a:lnTo>
                    <a:pt x="96" y="356"/>
                  </a:lnTo>
                  <a:lnTo>
                    <a:pt x="93" y="356"/>
                  </a:lnTo>
                  <a:lnTo>
                    <a:pt x="93" y="359"/>
                  </a:lnTo>
                  <a:lnTo>
                    <a:pt x="92" y="361"/>
                  </a:lnTo>
                  <a:lnTo>
                    <a:pt x="91" y="359"/>
                  </a:lnTo>
                  <a:lnTo>
                    <a:pt x="91" y="358"/>
                  </a:lnTo>
                  <a:lnTo>
                    <a:pt x="90" y="356"/>
                  </a:lnTo>
                  <a:lnTo>
                    <a:pt x="88" y="355"/>
                  </a:lnTo>
                  <a:lnTo>
                    <a:pt x="87" y="355"/>
                  </a:lnTo>
                  <a:lnTo>
                    <a:pt x="86" y="355"/>
                  </a:lnTo>
                  <a:lnTo>
                    <a:pt x="84" y="356"/>
                  </a:lnTo>
                  <a:lnTo>
                    <a:pt x="82" y="357"/>
                  </a:lnTo>
                  <a:lnTo>
                    <a:pt x="81" y="357"/>
                  </a:lnTo>
                  <a:lnTo>
                    <a:pt x="80" y="358"/>
                  </a:lnTo>
                  <a:lnTo>
                    <a:pt x="79" y="358"/>
                  </a:lnTo>
                  <a:lnTo>
                    <a:pt x="78" y="357"/>
                  </a:lnTo>
                  <a:lnTo>
                    <a:pt x="78" y="356"/>
                  </a:lnTo>
                  <a:lnTo>
                    <a:pt x="79" y="356"/>
                  </a:lnTo>
                  <a:lnTo>
                    <a:pt x="80" y="355"/>
                  </a:lnTo>
                  <a:lnTo>
                    <a:pt x="81" y="355"/>
                  </a:lnTo>
                  <a:lnTo>
                    <a:pt x="82" y="355"/>
                  </a:lnTo>
                  <a:lnTo>
                    <a:pt x="84" y="353"/>
                  </a:lnTo>
                  <a:lnTo>
                    <a:pt x="84" y="352"/>
                  </a:lnTo>
                  <a:lnTo>
                    <a:pt x="82" y="351"/>
                  </a:lnTo>
                  <a:lnTo>
                    <a:pt x="80" y="351"/>
                  </a:lnTo>
                  <a:lnTo>
                    <a:pt x="79" y="350"/>
                  </a:lnTo>
                  <a:lnTo>
                    <a:pt x="76" y="349"/>
                  </a:lnTo>
                  <a:lnTo>
                    <a:pt x="75" y="347"/>
                  </a:lnTo>
                  <a:lnTo>
                    <a:pt x="75" y="346"/>
                  </a:lnTo>
                  <a:lnTo>
                    <a:pt x="74" y="346"/>
                  </a:lnTo>
                  <a:lnTo>
                    <a:pt x="74" y="347"/>
                  </a:lnTo>
                  <a:lnTo>
                    <a:pt x="71" y="347"/>
                  </a:lnTo>
                  <a:lnTo>
                    <a:pt x="71" y="349"/>
                  </a:lnTo>
                  <a:lnTo>
                    <a:pt x="71" y="351"/>
                  </a:lnTo>
                  <a:lnTo>
                    <a:pt x="73" y="352"/>
                  </a:lnTo>
                  <a:lnTo>
                    <a:pt x="71" y="353"/>
                  </a:lnTo>
                  <a:lnTo>
                    <a:pt x="70" y="355"/>
                  </a:lnTo>
                  <a:lnTo>
                    <a:pt x="68" y="356"/>
                  </a:lnTo>
                  <a:lnTo>
                    <a:pt x="68" y="355"/>
                  </a:lnTo>
                  <a:lnTo>
                    <a:pt x="68" y="353"/>
                  </a:lnTo>
                  <a:lnTo>
                    <a:pt x="68" y="352"/>
                  </a:lnTo>
                  <a:lnTo>
                    <a:pt x="65" y="352"/>
                  </a:lnTo>
                  <a:lnTo>
                    <a:pt x="65" y="351"/>
                  </a:lnTo>
                  <a:lnTo>
                    <a:pt x="65" y="350"/>
                  </a:lnTo>
                  <a:lnTo>
                    <a:pt x="67" y="347"/>
                  </a:lnTo>
                  <a:lnTo>
                    <a:pt x="67" y="346"/>
                  </a:lnTo>
                  <a:lnTo>
                    <a:pt x="65" y="344"/>
                  </a:lnTo>
                  <a:lnTo>
                    <a:pt x="64" y="344"/>
                  </a:lnTo>
                  <a:lnTo>
                    <a:pt x="62" y="344"/>
                  </a:lnTo>
                  <a:lnTo>
                    <a:pt x="61" y="341"/>
                  </a:lnTo>
                  <a:lnTo>
                    <a:pt x="61" y="340"/>
                  </a:lnTo>
                  <a:lnTo>
                    <a:pt x="61" y="339"/>
                  </a:lnTo>
                  <a:lnTo>
                    <a:pt x="59" y="338"/>
                  </a:lnTo>
                  <a:lnTo>
                    <a:pt x="57" y="338"/>
                  </a:lnTo>
                  <a:lnTo>
                    <a:pt x="56" y="338"/>
                  </a:lnTo>
                  <a:lnTo>
                    <a:pt x="56" y="339"/>
                  </a:lnTo>
                  <a:lnTo>
                    <a:pt x="56" y="341"/>
                  </a:lnTo>
                  <a:lnTo>
                    <a:pt x="56" y="343"/>
                  </a:lnTo>
                  <a:lnTo>
                    <a:pt x="55" y="344"/>
                  </a:lnTo>
                  <a:lnTo>
                    <a:pt x="55" y="345"/>
                  </a:lnTo>
                  <a:lnTo>
                    <a:pt x="52" y="345"/>
                  </a:lnTo>
                  <a:lnTo>
                    <a:pt x="52" y="346"/>
                  </a:lnTo>
                  <a:lnTo>
                    <a:pt x="53" y="346"/>
                  </a:lnTo>
                  <a:lnTo>
                    <a:pt x="55" y="347"/>
                  </a:lnTo>
                  <a:lnTo>
                    <a:pt x="56" y="349"/>
                  </a:lnTo>
                  <a:lnTo>
                    <a:pt x="56" y="350"/>
                  </a:lnTo>
                  <a:lnTo>
                    <a:pt x="56" y="351"/>
                  </a:lnTo>
                  <a:lnTo>
                    <a:pt x="59" y="352"/>
                  </a:lnTo>
                  <a:lnTo>
                    <a:pt x="61" y="352"/>
                  </a:lnTo>
                  <a:lnTo>
                    <a:pt x="61" y="355"/>
                  </a:lnTo>
                  <a:lnTo>
                    <a:pt x="59" y="355"/>
                  </a:lnTo>
                  <a:lnTo>
                    <a:pt x="59" y="356"/>
                  </a:lnTo>
                  <a:lnTo>
                    <a:pt x="61" y="357"/>
                  </a:lnTo>
                  <a:lnTo>
                    <a:pt x="63" y="358"/>
                  </a:lnTo>
                  <a:lnTo>
                    <a:pt x="62" y="359"/>
                  </a:lnTo>
                  <a:lnTo>
                    <a:pt x="61" y="359"/>
                  </a:lnTo>
                  <a:lnTo>
                    <a:pt x="59" y="358"/>
                  </a:lnTo>
                  <a:lnTo>
                    <a:pt x="58" y="356"/>
                  </a:lnTo>
                  <a:lnTo>
                    <a:pt x="57" y="356"/>
                  </a:lnTo>
                  <a:lnTo>
                    <a:pt x="57" y="357"/>
                  </a:lnTo>
                  <a:lnTo>
                    <a:pt x="57" y="358"/>
                  </a:lnTo>
                  <a:lnTo>
                    <a:pt x="58" y="361"/>
                  </a:lnTo>
                  <a:lnTo>
                    <a:pt x="59" y="362"/>
                  </a:lnTo>
                  <a:lnTo>
                    <a:pt x="61" y="364"/>
                  </a:lnTo>
                  <a:lnTo>
                    <a:pt x="61" y="365"/>
                  </a:lnTo>
                  <a:lnTo>
                    <a:pt x="59" y="365"/>
                  </a:lnTo>
                  <a:lnTo>
                    <a:pt x="58" y="365"/>
                  </a:lnTo>
                  <a:lnTo>
                    <a:pt x="57" y="363"/>
                  </a:lnTo>
                  <a:lnTo>
                    <a:pt x="56" y="361"/>
                  </a:lnTo>
                  <a:lnTo>
                    <a:pt x="55" y="362"/>
                  </a:lnTo>
                  <a:lnTo>
                    <a:pt x="55" y="363"/>
                  </a:lnTo>
                  <a:lnTo>
                    <a:pt x="53" y="364"/>
                  </a:lnTo>
                  <a:lnTo>
                    <a:pt x="52" y="364"/>
                  </a:lnTo>
                  <a:lnTo>
                    <a:pt x="52" y="361"/>
                  </a:lnTo>
                  <a:lnTo>
                    <a:pt x="55" y="359"/>
                  </a:lnTo>
                  <a:lnTo>
                    <a:pt x="55" y="358"/>
                  </a:lnTo>
                  <a:lnTo>
                    <a:pt x="52" y="357"/>
                  </a:lnTo>
                  <a:lnTo>
                    <a:pt x="51" y="356"/>
                  </a:lnTo>
                  <a:lnTo>
                    <a:pt x="50" y="355"/>
                  </a:lnTo>
                  <a:lnTo>
                    <a:pt x="50" y="353"/>
                  </a:lnTo>
                  <a:lnTo>
                    <a:pt x="47" y="353"/>
                  </a:lnTo>
                  <a:lnTo>
                    <a:pt x="47" y="355"/>
                  </a:lnTo>
                  <a:lnTo>
                    <a:pt x="47" y="357"/>
                  </a:lnTo>
                  <a:lnTo>
                    <a:pt x="45" y="357"/>
                  </a:lnTo>
                  <a:lnTo>
                    <a:pt x="45" y="356"/>
                  </a:lnTo>
                  <a:lnTo>
                    <a:pt x="44" y="357"/>
                  </a:lnTo>
                  <a:lnTo>
                    <a:pt x="44" y="358"/>
                  </a:lnTo>
                  <a:lnTo>
                    <a:pt x="46" y="359"/>
                  </a:lnTo>
                  <a:lnTo>
                    <a:pt x="45" y="361"/>
                  </a:lnTo>
                  <a:lnTo>
                    <a:pt x="44" y="359"/>
                  </a:lnTo>
                  <a:lnTo>
                    <a:pt x="43" y="359"/>
                  </a:lnTo>
                  <a:lnTo>
                    <a:pt x="41" y="358"/>
                  </a:lnTo>
                  <a:lnTo>
                    <a:pt x="39" y="358"/>
                  </a:lnTo>
                  <a:lnTo>
                    <a:pt x="38" y="358"/>
                  </a:lnTo>
                  <a:lnTo>
                    <a:pt x="38" y="357"/>
                  </a:lnTo>
                  <a:lnTo>
                    <a:pt x="38" y="356"/>
                  </a:lnTo>
                  <a:lnTo>
                    <a:pt x="39" y="355"/>
                  </a:lnTo>
                  <a:lnTo>
                    <a:pt x="38" y="355"/>
                  </a:lnTo>
                  <a:lnTo>
                    <a:pt x="38" y="352"/>
                  </a:lnTo>
                  <a:lnTo>
                    <a:pt x="35" y="351"/>
                  </a:lnTo>
                  <a:lnTo>
                    <a:pt x="34" y="352"/>
                  </a:lnTo>
                  <a:lnTo>
                    <a:pt x="34" y="355"/>
                  </a:lnTo>
                  <a:lnTo>
                    <a:pt x="34" y="357"/>
                  </a:lnTo>
                  <a:lnTo>
                    <a:pt x="33" y="356"/>
                  </a:lnTo>
                  <a:lnTo>
                    <a:pt x="32" y="353"/>
                  </a:lnTo>
                  <a:lnTo>
                    <a:pt x="32" y="352"/>
                  </a:lnTo>
                  <a:lnTo>
                    <a:pt x="31" y="352"/>
                  </a:lnTo>
                  <a:lnTo>
                    <a:pt x="29" y="351"/>
                  </a:lnTo>
                  <a:lnTo>
                    <a:pt x="27" y="349"/>
                  </a:lnTo>
                  <a:lnTo>
                    <a:pt x="26" y="350"/>
                  </a:lnTo>
                  <a:lnTo>
                    <a:pt x="25" y="352"/>
                  </a:lnTo>
                  <a:lnTo>
                    <a:pt x="23" y="351"/>
                  </a:lnTo>
                  <a:lnTo>
                    <a:pt x="23" y="353"/>
                  </a:lnTo>
                  <a:lnTo>
                    <a:pt x="25" y="355"/>
                  </a:lnTo>
                  <a:lnTo>
                    <a:pt x="27" y="356"/>
                  </a:lnTo>
                  <a:lnTo>
                    <a:pt x="28" y="358"/>
                  </a:lnTo>
                  <a:lnTo>
                    <a:pt x="28" y="359"/>
                  </a:lnTo>
                  <a:lnTo>
                    <a:pt x="28" y="362"/>
                  </a:lnTo>
                  <a:lnTo>
                    <a:pt x="27" y="362"/>
                  </a:lnTo>
                  <a:lnTo>
                    <a:pt x="26" y="362"/>
                  </a:lnTo>
                  <a:lnTo>
                    <a:pt x="26" y="359"/>
                  </a:lnTo>
                  <a:lnTo>
                    <a:pt x="26" y="357"/>
                  </a:lnTo>
                  <a:lnTo>
                    <a:pt x="25" y="356"/>
                  </a:lnTo>
                  <a:lnTo>
                    <a:pt x="23" y="355"/>
                  </a:lnTo>
                  <a:lnTo>
                    <a:pt x="22" y="355"/>
                  </a:lnTo>
                  <a:lnTo>
                    <a:pt x="21" y="353"/>
                  </a:lnTo>
                  <a:lnTo>
                    <a:pt x="21" y="352"/>
                  </a:lnTo>
                  <a:lnTo>
                    <a:pt x="20" y="352"/>
                  </a:lnTo>
                  <a:lnTo>
                    <a:pt x="19" y="355"/>
                  </a:lnTo>
                  <a:lnTo>
                    <a:pt x="19" y="356"/>
                  </a:lnTo>
                  <a:lnTo>
                    <a:pt x="17" y="355"/>
                  </a:lnTo>
                  <a:lnTo>
                    <a:pt x="19" y="352"/>
                  </a:lnTo>
                  <a:lnTo>
                    <a:pt x="20" y="351"/>
                  </a:lnTo>
                  <a:lnTo>
                    <a:pt x="20" y="350"/>
                  </a:lnTo>
                  <a:lnTo>
                    <a:pt x="19" y="349"/>
                  </a:lnTo>
                  <a:lnTo>
                    <a:pt x="19" y="347"/>
                  </a:lnTo>
                  <a:lnTo>
                    <a:pt x="15" y="347"/>
                  </a:lnTo>
                  <a:lnTo>
                    <a:pt x="14" y="347"/>
                  </a:lnTo>
                  <a:lnTo>
                    <a:pt x="14" y="349"/>
                  </a:lnTo>
                  <a:lnTo>
                    <a:pt x="14" y="351"/>
                  </a:lnTo>
                  <a:lnTo>
                    <a:pt x="14" y="352"/>
                  </a:lnTo>
                  <a:lnTo>
                    <a:pt x="12" y="355"/>
                  </a:lnTo>
                  <a:lnTo>
                    <a:pt x="12" y="352"/>
                  </a:lnTo>
                  <a:lnTo>
                    <a:pt x="12" y="351"/>
                  </a:lnTo>
                  <a:lnTo>
                    <a:pt x="12" y="350"/>
                  </a:lnTo>
                  <a:lnTo>
                    <a:pt x="10" y="349"/>
                  </a:lnTo>
                  <a:lnTo>
                    <a:pt x="8" y="349"/>
                  </a:lnTo>
                  <a:lnTo>
                    <a:pt x="8" y="347"/>
                  </a:lnTo>
                  <a:lnTo>
                    <a:pt x="6" y="347"/>
                  </a:lnTo>
                  <a:lnTo>
                    <a:pt x="5" y="346"/>
                  </a:lnTo>
                  <a:lnTo>
                    <a:pt x="5" y="347"/>
                  </a:lnTo>
                  <a:lnTo>
                    <a:pt x="2" y="349"/>
                  </a:lnTo>
                  <a:lnTo>
                    <a:pt x="0" y="349"/>
                  </a:lnTo>
                  <a:lnTo>
                    <a:pt x="0" y="350"/>
                  </a:lnTo>
                  <a:lnTo>
                    <a:pt x="0" y="351"/>
                  </a:lnTo>
                  <a:lnTo>
                    <a:pt x="3" y="353"/>
                  </a:lnTo>
                  <a:lnTo>
                    <a:pt x="4" y="353"/>
                  </a:lnTo>
                  <a:lnTo>
                    <a:pt x="3" y="355"/>
                  </a:lnTo>
                  <a:lnTo>
                    <a:pt x="3" y="356"/>
                  </a:lnTo>
                  <a:lnTo>
                    <a:pt x="5" y="358"/>
                  </a:lnTo>
                  <a:lnTo>
                    <a:pt x="6" y="358"/>
                  </a:lnTo>
                  <a:lnTo>
                    <a:pt x="8" y="357"/>
                  </a:lnTo>
                  <a:lnTo>
                    <a:pt x="8" y="359"/>
                  </a:lnTo>
                  <a:lnTo>
                    <a:pt x="9" y="361"/>
                  </a:lnTo>
                  <a:lnTo>
                    <a:pt x="10" y="361"/>
                  </a:lnTo>
                  <a:lnTo>
                    <a:pt x="12" y="362"/>
                  </a:lnTo>
                  <a:lnTo>
                    <a:pt x="11" y="363"/>
                  </a:lnTo>
                  <a:lnTo>
                    <a:pt x="10" y="364"/>
                  </a:lnTo>
                  <a:lnTo>
                    <a:pt x="11" y="367"/>
                  </a:lnTo>
                  <a:lnTo>
                    <a:pt x="10" y="368"/>
                  </a:lnTo>
                  <a:lnTo>
                    <a:pt x="9" y="369"/>
                  </a:lnTo>
                  <a:lnTo>
                    <a:pt x="11" y="371"/>
                  </a:lnTo>
                  <a:lnTo>
                    <a:pt x="11" y="374"/>
                  </a:lnTo>
                  <a:lnTo>
                    <a:pt x="12" y="375"/>
                  </a:lnTo>
                  <a:lnTo>
                    <a:pt x="14" y="376"/>
                  </a:lnTo>
                  <a:lnTo>
                    <a:pt x="16" y="377"/>
                  </a:lnTo>
                  <a:lnTo>
                    <a:pt x="17" y="377"/>
                  </a:lnTo>
                  <a:lnTo>
                    <a:pt x="20" y="377"/>
                  </a:lnTo>
                  <a:lnTo>
                    <a:pt x="21" y="377"/>
                  </a:lnTo>
                  <a:lnTo>
                    <a:pt x="22" y="377"/>
                  </a:lnTo>
                  <a:lnTo>
                    <a:pt x="25" y="377"/>
                  </a:lnTo>
                  <a:lnTo>
                    <a:pt x="26" y="376"/>
                  </a:lnTo>
                  <a:lnTo>
                    <a:pt x="28" y="375"/>
                  </a:lnTo>
                  <a:lnTo>
                    <a:pt x="29" y="376"/>
                  </a:lnTo>
                  <a:lnTo>
                    <a:pt x="28" y="377"/>
                  </a:lnTo>
                  <a:lnTo>
                    <a:pt x="29" y="379"/>
                  </a:lnTo>
                  <a:lnTo>
                    <a:pt x="32" y="379"/>
                  </a:lnTo>
                  <a:lnTo>
                    <a:pt x="34" y="377"/>
                  </a:lnTo>
                  <a:lnTo>
                    <a:pt x="35" y="379"/>
                  </a:lnTo>
                  <a:lnTo>
                    <a:pt x="37" y="379"/>
                  </a:lnTo>
                  <a:lnTo>
                    <a:pt x="38" y="377"/>
                  </a:lnTo>
                  <a:lnTo>
                    <a:pt x="39" y="377"/>
                  </a:lnTo>
                  <a:lnTo>
                    <a:pt x="37" y="380"/>
                  </a:lnTo>
                  <a:lnTo>
                    <a:pt x="34" y="380"/>
                  </a:lnTo>
                  <a:lnTo>
                    <a:pt x="33" y="380"/>
                  </a:lnTo>
                  <a:lnTo>
                    <a:pt x="32" y="381"/>
                  </a:lnTo>
                  <a:lnTo>
                    <a:pt x="31" y="381"/>
                  </a:lnTo>
                  <a:lnTo>
                    <a:pt x="29" y="380"/>
                  </a:lnTo>
                  <a:lnTo>
                    <a:pt x="28" y="379"/>
                  </a:lnTo>
                  <a:lnTo>
                    <a:pt x="27" y="379"/>
                  </a:lnTo>
                  <a:lnTo>
                    <a:pt x="26" y="379"/>
                  </a:lnTo>
                  <a:lnTo>
                    <a:pt x="25" y="380"/>
                  </a:lnTo>
                  <a:lnTo>
                    <a:pt x="23" y="380"/>
                  </a:lnTo>
                  <a:lnTo>
                    <a:pt x="21" y="380"/>
                  </a:lnTo>
                  <a:lnTo>
                    <a:pt x="17" y="380"/>
                  </a:lnTo>
                  <a:lnTo>
                    <a:pt x="16" y="380"/>
                  </a:lnTo>
                  <a:lnTo>
                    <a:pt x="15" y="381"/>
                  </a:lnTo>
                  <a:lnTo>
                    <a:pt x="14" y="383"/>
                  </a:lnTo>
                  <a:lnTo>
                    <a:pt x="15" y="385"/>
                  </a:lnTo>
                  <a:lnTo>
                    <a:pt x="16" y="385"/>
                  </a:lnTo>
                  <a:lnTo>
                    <a:pt x="17" y="386"/>
                  </a:lnTo>
                  <a:lnTo>
                    <a:pt x="19" y="386"/>
                  </a:lnTo>
                  <a:lnTo>
                    <a:pt x="20" y="388"/>
                  </a:lnTo>
                  <a:lnTo>
                    <a:pt x="21" y="386"/>
                  </a:lnTo>
                  <a:lnTo>
                    <a:pt x="22" y="385"/>
                  </a:lnTo>
                  <a:lnTo>
                    <a:pt x="23" y="386"/>
                  </a:lnTo>
                  <a:lnTo>
                    <a:pt x="25" y="387"/>
                  </a:lnTo>
                  <a:lnTo>
                    <a:pt x="26" y="387"/>
                  </a:lnTo>
                  <a:lnTo>
                    <a:pt x="27" y="387"/>
                  </a:lnTo>
                  <a:lnTo>
                    <a:pt x="28" y="387"/>
                  </a:lnTo>
                  <a:lnTo>
                    <a:pt x="31" y="387"/>
                  </a:lnTo>
                  <a:lnTo>
                    <a:pt x="32" y="387"/>
                  </a:lnTo>
                  <a:lnTo>
                    <a:pt x="33" y="387"/>
                  </a:lnTo>
                  <a:lnTo>
                    <a:pt x="34" y="386"/>
                  </a:lnTo>
                  <a:lnTo>
                    <a:pt x="35" y="386"/>
                  </a:lnTo>
                  <a:lnTo>
                    <a:pt x="38" y="387"/>
                  </a:lnTo>
                  <a:lnTo>
                    <a:pt x="38" y="389"/>
                  </a:lnTo>
                  <a:lnTo>
                    <a:pt x="37" y="388"/>
                  </a:lnTo>
                  <a:lnTo>
                    <a:pt x="34" y="387"/>
                  </a:lnTo>
                  <a:lnTo>
                    <a:pt x="32" y="388"/>
                  </a:lnTo>
                  <a:lnTo>
                    <a:pt x="31" y="388"/>
                  </a:lnTo>
                  <a:lnTo>
                    <a:pt x="31" y="389"/>
                  </a:lnTo>
                  <a:lnTo>
                    <a:pt x="33" y="391"/>
                  </a:lnTo>
                  <a:lnTo>
                    <a:pt x="34" y="392"/>
                  </a:lnTo>
                  <a:lnTo>
                    <a:pt x="34" y="393"/>
                  </a:lnTo>
                  <a:lnTo>
                    <a:pt x="33" y="394"/>
                  </a:lnTo>
                  <a:lnTo>
                    <a:pt x="32" y="394"/>
                  </a:lnTo>
                  <a:lnTo>
                    <a:pt x="29" y="393"/>
                  </a:lnTo>
                  <a:lnTo>
                    <a:pt x="29" y="392"/>
                  </a:lnTo>
                  <a:lnTo>
                    <a:pt x="27" y="391"/>
                  </a:lnTo>
                  <a:lnTo>
                    <a:pt x="27" y="392"/>
                  </a:lnTo>
                  <a:lnTo>
                    <a:pt x="26" y="394"/>
                  </a:lnTo>
                  <a:lnTo>
                    <a:pt x="25" y="393"/>
                  </a:lnTo>
                  <a:lnTo>
                    <a:pt x="23" y="392"/>
                  </a:lnTo>
                  <a:lnTo>
                    <a:pt x="22" y="393"/>
                  </a:lnTo>
                  <a:lnTo>
                    <a:pt x="22" y="394"/>
                  </a:lnTo>
                  <a:lnTo>
                    <a:pt x="20" y="394"/>
                  </a:lnTo>
                  <a:lnTo>
                    <a:pt x="20" y="395"/>
                  </a:lnTo>
                  <a:lnTo>
                    <a:pt x="22" y="398"/>
                  </a:lnTo>
                  <a:lnTo>
                    <a:pt x="25" y="399"/>
                  </a:lnTo>
                  <a:lnTo>
                    <a:pt x="26" y="401"/>
                  </a:lnTo>
                  <a:lnTo>
                    <a:pt x="27" y="401"/>
                  </a:lnTo>
                  <a:lnTo>
                    <a:pt x="26" y="403"/>
                  </a:lnTo>
                  <a:lnTo>
                    <a:pt x="23" y="401"/>
                  </a:lnTo>
                  <a:lnTo>
                    <a:pt x="22" y="401"/>
                  </a:lnTo>
                  <a:lnTo>
                    <a:pt x="21" y="401"/>
                  </a:lnTo>
                  <a:lnTo>
                    <a:pt x="20" y="401"/>
                  </a:lnTo>
                  <a:lnTo>
                    <a:pt x="20" y="404"/>
                  </a:lnTo>
                  <a:lnTo>
                    <a:pt x="21" y="406"/>
                  </a:lnTo>
                  <a:lnTo>
                    <a:pt x="22" y="407"/>
                  </a:lnTo>
                  <a:lnTo>
                    <a:pt x="20" y="407"/>
                  </a:lnTo>
                  <a:lnTo>
                    <a:pt x="17" y="406"/>
                  </a:lnTo>
                  <a:lnTo>
                    <a:pt x="19" y="410"/>
                  </a:lnTo>
                  <a:lnTo>
                    <a:pt x="19" y="411"/>
                  </a:lnTo>
                  <a:lnTo>
                    <a:pt x="20" y="412"/>
                  </a:lnTo>
                  <a:lnTo>
                    <a:pt x="19" y="412"/>
                  </a:lnTo>
                  <a:lnTo>
                    <a:pt x="17" y="411"/>
                  </a:lnTo>
                  <a:lnTo>
                    <a:pt x="17" y="410"/>
                  </a:lnTo>
                  <a:lnTo>
                    <a:pt x="16" y="407"/>
                  </a:lnTo>
                  <a:lnTo>
                    <a:pt x="15" y="407"/>
                  </a:lnTo>
                  <a:lnTo>
                    <a:pt x="14" y="407"/>
                  </a:lnTo>
                  <a:lnTo>
                    <a:pt x="12" y="409"/>
                  </a:lnTo>
                  <a:lnTo>
                    <a:pt x="12" y="411"/>
                  </a:lnTo>
                  <a:lnTo>
                    <a:pt x="11" y="412"/>
                  </a:lnTo>
                  <a:lnTo>
                    <a:pt x="10" y="411"/>
                  </a:lnTo>
                  <a:lnTo>
                    <a:pt x="10" y="410"/>
                  </a:lnTo>
                  <a:lnTo>
                    <a:pt x="10" y="409"/>
                  </a:lnTo>
                  <a:lnTo>
                    <a:pt x="9" y="409"/>
                  </a:lnTo>
                  <a:lnTo>
                    <a:pt x="6" y="409"/>
                  </a:lnTo>
                  <a:lnTo>
                    <a:pt x="5" y="410"/>
                  </a:lnTo>
                  <a:lnTo>
                    <a:pt x="4" y="411"/>
                  </a:lnTo>
                  <a:lnTo>
                    <a:pt x="2" y="412"/>
                  </a:lnTo>
                  <a:lnTo>
                    <a:pt x="2" y="413"/>
                  </a:lnTo>
                  <a:lnTo>
                    <a:pt x="3" y="416"/>
                  </a:lnTo>
                  <a:lnTo>
                    <a:pt x="3" y="417"/>
                  </a:lnTo>
                  <a:lnTo>
                    <a:pt x="5" y="418"/>
                  </a:lnTo>
                  <a:lnTo>
                    <a:pt x="9" y="422"/>
                  </a:lnTo>
                  <a:lnTo>
                    <a:pt x="10" y="422"/>
                  </a:lnTo>
                  <a:lnTo>
                    <a:pt x="11" y="423"/>
                  </a:lnTo>
                  <a:lnTo>
                    <a:pt x="12" y="424"/>
                  </a:lnTo>
                  <a:lnTo>
                    <a:pt x="16" y="424"/>
                  </a:lnTo>
                  <a:lnTo>
                    <a:pt x="15" y="426"/>
                  </a:lnTo>
                  <a:lnTo>
                    <a:pt x="12" y="426"/>
                  </a:lnTo>
                  <a:lnTo>
                    <a:pt x="11" y="426"/>
                  </a:lnTo>
                  <a:lnTo>
                    <a:pt x="9" y="426"/>
                  </a:lnTo>
                  <a:lnTo>
                    <a:pt x="9" y="428"/>
                  </a:lnTo>
                  <a:lnTo>
                    <a:pt x="10" y="429"/>
                  </a:lnTo>
                  <a:lnTo>
                    <a:pt x="8" y="430"/>
                  </a:lnTo>
                  <a:lnTo>
                    <a:pt x="6" y="430"/>
                  </a:lnTo>
                  <a:lnTo>
                    <a:pt x="10" y="434"/>
                  </a:lnTo>
                  <a:lnTo>
                    <a:pt x="11" y="434"/>
                  </a:lnTo>
                  <a:lnTo>
                    <a:pt x="12" y="433"/>
                  </a:lnTo>
                  <a:lnTo>
                    <a:pt x="14" y="434"/>
                  </a:lnTo>
                  <a:lnTo>
                    <a:pt x="14" y="435"/>
                  </a:lnTo>
                  <a:lnTo>
                    <a:pt x="15" y="435"/>
                  </a:lnTo>
                  <a:lnTo>
                    <a:pt x="17" y="435"/>
                  </a:lnTo>
                  <a:lnTo>
                    <a:pt x="19" y="434"/>
                  </a:lnTo>
                  <a:lnTo>
                    <a:pt x="21" y="434"/>
                  </a:lnTo>
                  <a:lnTo>
                    <a:pt x="22" y="433"/>
                  </a:lnTo>
                  <a:lnTo>
                    <a:pt x="23" y="432"/>
                  </a:lnTo>
                  <a:lnTo>
                    <a:pt x="26" y="429"/>
                  </a:lnTo>
                  <a:lnTo>
                    <a:pt x="28" y="429"/>
                  </a:lnTo>
                  <a:lnTo>
                    <a:pt x="31" y="429"/>
                  </a:lnTo>
                  <a:lnTo>
                    <a:pt x="32" y="429"/>
                  </a:lnTo>
                  <a:lnTo>
                    <a:pt x="32" y="430"/>
                  </a:lnTo>
                  <a:lnTo>
                    <a:pt x="32" y="432"/>
                  </a:lnTo>
                  <a:lnTo>
                    <a:pt x="31" y="432"/>
                  </a:lnTo>
                  <a:lnTo>
                    <a:pt x="28" y="433"/>
                  </a:lnTo>
                  <a:lnTo>
                    <a:pt x="27" y="432"/>
                  </a:lnTo>
                  <a:lnTo>
                    <a:pt x="26" y="432"/>
                  </a:lnTo>
                  <a:lnTo>
                    <a:pt x="25" y="433"/>
                  </a:lnTo>
                  <a:lnTo>
                    <a:pt x="23" y="435"/>
                  </a:lnTo>
                  <a:lnTo>
                    <a:pt x="25" y="436"/>
                  </a:lnTo>
                  <a:lnTo>
                    <a:pt x="27" y="439"/>
                  </a:lnTo>
                  <a:lnTo>
                    <a:pt x="31" y="439"/>
                  </a:lnTo>
                  <a:lnTo>
                    <a:pt x="32" y="438"/>
                  </a:lnTo>
                  <a:lnTo>
                    <a:pt x="32" y="436"/>
                  </a:lnTo>
                  <a:lnTo>
                    <a:pt x="33" y="436"/>
                  </a:lnTo>
                  <a:lnTo>
                    <a:pt x="34" y="435"/>
                  </a:lnTo>
                  <a:lnTo>
                    <a:pt x="35" y="438"/>
                  </a:lnTo>
                  <a:lnTo>
                    <a:pt x="37" y="438"/>
                  </a:lnTo>
                  <a:lnTo>
                    <a:pt x="39" y="438"/>
                  </a:lnTo>
                  <a:lnTo>
                    <a:pt x="39" y="436"/>
                  </a:lnTo>
                  <a:lnTo>
                    <a:pt x="41" y="435"/>
                  </a:lnTo>
                  <a:lnTo>
                    <a:pt x="43" y="435"/>
                  </a:lnTo>
                  <a:lnTo>
                    <a:pt x="44" y="433"/>
                  </a:lnTo>
                  <a:lnTo>
                    <a:pt x="45" y="434"/>
                  </a:lnTo>
                  <a:lnTo>
                    <a:pt x="47" y="435"/>
                  </a:lnTo>
                  <a:lnTo>
                    <a:pt x="49" y="438"/>
                  </a:lnTo>
                  <a:lnTo>
                    <a:pt x="47" y="440"/>
                  </a:lnTo>
                  <a:lnTo>
                    <a:pt x="45" y="442"/>
                  </a:lnTo>
                  <a:lnTo>
                    <a:pt x="44" y="444"/>
                  </a:lnTo>
                  <a:lnTo>
                    <a:pt x="41" y="445"/>
                  </a:lnTo>
                  <a:lnTo>
                    <a:pt x="40" y="445"/>
                  </a:lnTo>
                  <a:lnTo>
                    <a:pt x="39" y="445"/>
                  </a:lnTo>
                  <a:lnTo>
                    <a:pt x="38" y="445"/>
                  </a:lnTo>
                  <a:lnTo>
                    <a:pt x="37" y="444"/>
                  </a:lnTo>
                  <a:lnTo>
                    <a:pt x="37" y="446"/>
                  </a:lnTo>
                  <a:lnTo>
                    <a:pt x="37" y="447"/>
                  </a:lnTo>
                  <a:lnTo>
                    <a:pt x="35" y="448"/>
                  </a:lnTo>
                  <a:lnTo>
                    <a:pt x="34" y="450"/>
                  </a:lnTo>
                  <a:lnTo>
                    <a:pt x="33" y="451"/>
                  </a:lnTo>
                  <a:lnTo>
                    <a:pt x="33" y="450"/>
                  </a:lnTo>
                  <a:lnTo>
                    <a:pt x="32" y="450"/>
                  </a:lnTo>
                  <a:lnTo>
                    <a:pt x="31" y="450"/>
                  </a:lnTo>
                  <a:lnTo>
                    <a:pt x="29" y="450"/>
                  </a:lnTo>
                  <a:lnTo>
                    <a:pt x="28" y="452"/>
                  </a:lnTo>
                  <a:lnTo>
                    <a:pt x="27" y="452"/>
                  </a:lnTo>
                  <a:lnTo>
                    <a:pt x="27" y="456"/>
                  </a:lnTo>
                  <a:lnTo>
                    <a:pt x="29" y="456"/>
                  </a:lnTo>
                  <a:lnTo>
                    <a:pt x="31" y="456"/>
                  </a:lnTo>
                  <a:lnTo>
                    <a:pt x="32" y="456"/>
                  </a:lnTo>
                  <a:lnTo>
                    <a:pt x="33" y="456"/>
                  </a:lnTo>
                  <a:lnTo>
                    <a:pt x="34" y="457"/>
                  </a:lnTo>
                  <a:lnTo>
                    <a:pt x="35" y="457"/>
                  </a:lnTo>
                  <a:lnTo>
                    <a:pt x="39" y="457"/>
                  </a:lnTo>
                  <a:lnTo>
                    <a:pt x="39" y="456"/>
                  </a:lnTo>
                  <a:lnTo>
                    <a:pt x="40" y="454"/>
                  </a:lnTo>
                  <a:lnTo>
                    <a:pt x="41" y="453"/>
                  </a:lnTo>
                  <a:lnTo>
                    <a:pt x="43" y="453"/>
                  </a:lnTo>
                  <a:lnTo>
                    <a:pt x="44" y="453"/>
                  </a:lnTo>
                  <a:lnTo>
                    <a:pt x="45" y="451"/>
                  </a:lnTo>
                  <a:lnTo>
                    <a:pt x="46" y="450"/>
                  </a:lnTo>
                  <a:lnTo>
                    <a:pt x="47" y="448"/>
                  </a:lnTo>
                  <a:lnTo>
                    <a:pt x="47" y="446"/>
                  </a:lnTo>
                  <a:lnTo>
                    <a:pt x="47" y="445"/>
                  </a:lnTo>
                  <a:lnTo>
                    <a:pt x="49" y="444"/>
                  </a:lnTo>
                  <a:lnTo>
                    <a:pt x="50" y="441"/>
                  </a:lnTo>
                  <a:lnTo>
                    <a:pt x="50" y="440"/>
                  </a:lnTo>
                  <a:lnTo>
                    <a:pt x="51" y="441"/>
                  </a:lnTo>
                  <a:lnTo>
                    <a:pt x="51" y="442"/>
                  </a:lnTo>
                  <a:lnTo>
                    <a:pt x="50" y="445"/>
                  </a:lnTo>
                  <a:lnTo>
                    <a:pt x="50" y="446"/>
                  </a:lnTo>
                  <a:lnTo>
                    <a:pt x="51" y="446"/>
                  </a:lnTo>
                  <a:lnTo>
                    <a:pt x="53" y="446"/>
                  </a:lnTo>
                  <a:lnTo>
                    <a:pt x="55" y="446"/>
                  </a:lnTo>
                  <a:lnTo>
                    <a:pt x="56" y="445"/>
                  </a:lnTo>
                  <a:lnTo>
                    <a:pt x="56" y="442"/>
                  </a:lnTo>
                  <a:lnTo>
                    <a:pt x="55" y="442"/>
                  </a:lnTo>
                  <a:lnTo>
                    <a:pt x="55" y="441"/>
                  </a:lnTo>
                  <a:lnTo>
                    <a:pt x="56" y="440"/>
                  </a:lnTo>
                  <a:lnTo>
                    <a:pt x="57" y="440"/>
                  </a:lnTo>
                  <a:lnTo>
                    <a:pt x="58" y="439"/>
                  </a:lnTo>
                  <a:lnTo>
                    <a:pt x="59" y="438"/>
                  </a:lnTo>
                  <a:lnTo>
                    <a:pt x="59" y="436"/>
                  </a:lnTo>
                  <a:lnTo>
                    <a:pt x="61" y="435"/>
                  </a:lnTo>
                  <a:lnTo>
                    <a:pt x="61" y="434"/>
                  </a:lnTo>
                  <a:lnTo>
                    <a:pt x="62" y="432"/>
                  </a:lnTo>
                  <a:lnTo>
                    <a:pt x="63" y="432"/>
                  </a:lnTo>
                  <a:lnTo>
                    <a:pt x="64" y="433"/>
                  </a:lnTo>
                  <a:lnTo>
                    <a:pt x="65" y="433"/>
                  </a:lnTo>
                  <a:lnTo>
                    <a:pt x="65" y="434"/>
                  </a:lnTo>
                  <a:lnTo>
                    <a:pt x="67" y="434"/>
                  </a:lnTo>
                  <a:lnTo>
                    <a:pt x="68" y="433"/>
                  </a:lnTo>
                  <a:lnTo>
                    <a:pt x="69" y="433"/>
                  </a:lnTo>
                  <a:lnTo>
                    <a:pt x="70" y="433"/>
                  </a:lnTo>
                  <a:lnTo>
                    <a:pt x="71" y="433"/>
                  </a:lnTo>
                  <a:lnTo>
                    <a:pt x="71" y="434"/>
                  </a:lnTo>
                  <a:lnTo>
                    <a:pt x="69" y="435"/>
                  </a:lnTo>
                  <a:lnTo>
                    <a:pt x="69" y="436"/>
                  </a:lnTo>
                  <a:lnTo>
                    <a:pt x="68" y="436"/>
                  </a:lnTo>
                  <a:lnTo>
                    <a:pt x="65" y="439"/>
                  </a:lnTo>
                  <a:lnTo>
                    <a:pt x="64" y="439"/>
                  </a:lnTo>
                  <a:lnTo>
                    <a:pt x="64" y="438"/>
                  </a:lnTo>
                  <a:lnTo>
                    <a:pt x="64" y="436"/>
                  </a:lnTo>
                  <a:lnTo>
                    <a:pt x="63" y="435"/>
                  </a:lnTo>
                  <a:lnTo>
                    <a:pt x="61" y="438"/>
                  </a:lnTo>
                  <a:lnTo>
                    <a:pt x="58" y="440"/>
                  </a:lnTo>
                  <a:lnTo>
                    <a:pt x="61" y="442"/>
                  </a:lnTo>
                  <a:lnTo>
                    <a:pt x="63" y="442"/>
                  </a:lnTo>
                  <a:lnTo>
                    <a:pt x="64" y="444"/>
                  </a:lnTo>
                  <a:lnTo>
                    <a:pt x="65" y="445"/>
                  </a:lnTo>
                  <a:lnTo>
                    <a:pt x="68" y="446"/>
                  </a:lnTo>
                  <a:lnTo>
                    <a:pt x="70" y="446"/>
                  </a:lnTo>
                  <a:lnTo>
                    <a:pt x="71" y="446"/>
                  </a:lnTo>
                  <a:lnTo>
                    <a:pt x="74" y="444"/>
                  </a:lnTo>
                  <a:lnTo>
                    <a:pt x="75" y="442"/>
                  </a:lnTo>
                  <a:lnTo>
                    <a:pt x="76" y="441"/>
                  </a:lnTo>
                  <a:lnTo>
                    <a:pt x="78" y="440"/>
                  </a:lnTo>
                  <a:lnTo>
                    <a:pt x="79" y="439"/>
                  </a:lnTo>
                  <a:lnTo>
                    <a:pt x="81" y="438"/>
                  </a:lnTo>
                  <a:lnTo>
                    <a:pt x="82" y="436"/>
                  </a:lnTo>
                  <a:lnTo>
                    <a:pt x="82" y="434"/>
                  </a:lnTo>
                  <a:lnTo>
                    <a:pt x="84" y="433"/>
                  </a:lnTo>
                  <a:lnTo>
                    <a:pt x="85" y="434"/>
                  </a:lnTo>
                  <a:lnTo>
                    <a:pt x="86" y="433"/>
                  </a:lnTo>
                  <a:lnTo>
                    <a:pt x="87" y="433"/>
                  </a:lnTo>
                  <a:lnTo>
                    <a:pt x="87" y="434"/>
                  </a:lnTo>
                  <a:lnTo>
                    <a:pt x="85" y="435"/>
                  </a:lnTo>
                  <a:lnTo>
                    <a:pt x="84" y="436"/>
                  </a:lnTo>
                  <a:lnTo>
                    <a:pt x="85" y="438"/>
                  </a:lnTo>
                  <a:lnTo>
                    <a:pt x="84" y="438"/>
                  </a:lnTo>
                  <a:lnTo>
                    <a:pt x="82" y="439"/>
                  </a:lnTo>
                  <a:lnTo>
                    <a:pt x="81" y="439"/>
                  </a:lnTo>
                  <a:lnTo>
                    <a:pt x="80" y="440"/>
                  </a:lnTo>
                  <a:lnTo>
                    <a:pt x="79" y="441"/>
                  </a:lnTo>
                  <a:lnTo>
                    <a:pt x="79" y="442"/>
                  </a:lnTo>
                  <a:lnTo>
                    <a:pt x="82" y="444"/>
                  </a:lnTo>
                  <a:lnTo>
                    <a:pt x="86" y="445"/>
                  </a:lnTo>
                  <a:lnTo>
                    <a:pt x="88" y="445"/>
                  </a:lnTo>
                  <a:lnTo>
                    <a:pt x="88" y="446"/>
                  </a:lnTo>
                  <a:lnTo>
                    <a:pt x="91" y="447"/>
                  </a:lnTo>
                  <a:lnTo>
                    <a:pt x="92" y="448"/>
                  </a:lnTo>
                  <a:lnTo>
                    <a:pt x="93" y="450"/>
                  </a:lnTo>
                  <a:lnTo>
                    <a:pt x="92" y="450"/>
                  </a:lnTo>
                  <a:lnTo>
                    <a:pt x="88" y="452"/>
                  </a:lnTo>
                  <a:lnTo>
                    <a:pt x="87" y="452"/>
                  </a:lnTo>
                  <a:lnTo>
                    <a:pt x="85" y="453"/>
                  </a:lnTo>
                  <a:lnTo>
                    <a:pt x="82" y="453"/>
                  </a:lnTo>
                  <a:lnTo>
                    <a:pt x="80" y="454"/>
                  </a:lnTo>
                  <a:lnTo>
                    <a:pt x="81" y="457"/>
                  </a:lnTo>
                  <a:lnTo>
                    <a:pt x="82" y="458"/>
                  </a:lnTo>
                  <a:lnTo>
                    <a:pt x="81" y="459"/>
                  </a:lnTo>
                  <a:lnTo>
                    <a:pt x="80" y="459"/>
                  </a:lnTo>
                  <a:lnTo>
                    <a:pt x="81" y="460"/>
                  </a:lnTo>
                  <a:lnTo>
                    <a:pt x="82" y="460"/>
                  </a:lnTo>
                  <a:lnTo>
                    <a:pt x="84" y="460"/>
                  </a:lnTo>
                  <a:lnTo>
                    <a:pt x="86" y="460"/>
                  </a:lnTo>
                  <a:lnTo>
                    <a:pt x="88" y="460"/>
                  </a:lnTo>
                  <a:lnTo>
                    <a:pt x="90" y="459"/>
                  </a:lnTo>
                  <a:lnTo>
                    <a:pt x="91" y="458"/>
                  </a:lnTo>
                  <a:lnTo>
                    <a:pt x="91" y="457"/>
                  </a:lnTo>
                  <a:lnTo>
                    <a:pt x="92" y="456"/>
                  </a:lnTo>
                  <a:lnTo>
                    <a:pt x="93" y="457"/>
                  </a:lnTo>
                  <a:lnTo>
                    <a:pt x="94" y="457"/>
                  </a:lnTo>
                  <a:lnTo>
                    <a:pt x="94" y="454"/>
                  </a:lnTo>
                  <a:lnTo>
                    <a:pt x="94" y="453"/>
                  </a:lnTo>
                  <a:lnTo>
                    <a:pt x="94" y="452"/>
                  </a:lnTo>
                  <a:lnTo>
                    <a:pt x="97" y="450"/>
                  </a:lnTo>
                  <a:lnTo>
                    <a:pt x="98" y="447"/>
                  </a:lnTo>
                  <a:lnTo>
                    <a:pt x="98" y="445"/>
                  </a:lnTo>
                  <a:lnTo>
                    <a:pt x="99" y="444"/>
                  </a:lnTo>
                  <a:lnTo>
                    <a:pt x="99" y="442"/>
                  </a:lnTo>
                  <a:lnTo>
                    <a:pt x="102" y="442"/>
                  </a:lnTo>
                  <a:lnTo>
                    <a:pt x="102" y="444"/>
                  </a:lnTo>
                  <a:lnTo>
                    <a:pt x="102" y="446"/>
                  </a:lnTo>
                  <a:lnTo>
                    <a:pt x="105" y="446"/>
                  </a:lnTo>
                  <a:lnTo>
                    <a:pt x="106" y="445"/>
                  </a:lnTo>
                  <a:lnTo>
                    <a:pt x="108" y="444"/>
                  </a:lnTo>
                  <a:lnTo>
                    <a:pt x="109" y="442"/>
                  </a:lnTo>
                  <a:lnTo>
                    <a:pt x="111" y="441"/>
                  </a:lnTo>
                  <a:lnTo>
                    <a:pt x="112" y="440"/>
                  </a:lnTo>
                  <a:lnTo>
                    <a:pt x="112" y="441"/>
                  </a:lnTo>
                  <a:lnTo>
                    <a:pt x="111" y="442"/>
                  </a:lnTo>
                  <a:lnTo>
                    <a:pt x="109" y="444"/>
                  </a:lnTo>
                  <a:lnTo>
                    <a:pt x="106" y="446"/>
                  </a:lnTo>
                  <a:lnTo>
                    <a:pt x="105" y="447"/>
                  </a:lnTo>
                  <a:lnTo>
                    <a:pt x="103" y="448"/>
                  </a:lnTo>
                  <a:lnTo>
                    <a:pt x="102" y="450"/>
                  </a:lnTo>
                  <a:lnTo>
                    <a:pt x="103" y="452"/>
                  </a:lnTo>
                  <a:lnTo>
                    <a:pt x="105" y="451"/>
                  </a:lnTo>
                  <a:lnTo>
                    <a:pt x="109" y="448"/>
                  </a:lnTo>
                  <a:lnTo>
                    <a:pt x="110" y="447"/>
                  </a:lnTo>
                  <a:lnTo>
                    <a:pt x="112" y="446"/>
                  </a:lnTo>
                  <a:lnTo>
                    <a:pt x="115" y="445"/>
                  </a:lnTo>
                  <a:lnTo>
                    <a:pt x="116" y="446"/>
                  </a:lnTo>
                  <a:lnTo>
                    <a:pt x="116" y="448"/>
                  </a:lnTo>
                  <a:lnTo>
                    <a:pt x="117" y="450"/>
                  </a:lnTo>
                  <a:lnTo>
                    <a:pt x="118" y="448"/>
                  </a:lnTo>
                  <a:lnTo>
                    <a:pt x="120" y="447"/>
                  </a:lnTo>
                  <a:lnTo>
                    <a:pt x="120" y="445"/>
                  </a:lnTo>
                  <a:lnTo>
                    <a:pt x="120" y="444"/>
                  </a:lnTo>
                  <a:lnTo>
                    <a:pt x="120" y="442"/>
                  </a:lnTo>
                  <a:lnTo>
                    <a:pt x="121" y="442"/>
                  </a:lnTo>
                  <a:lnTo>
                    <a:pt x="122" y="442"/>
                  </a:lnTo>
                  <a:lnTo>
                    <a:pt x="124" y="444"/>
                  </a:lnTo>
                  <a:lnTo>
                    <a:pt x="126" y="445"/>
                  </a:lnTo>
                  <a:lnTo>
                    <a:pt x="128" y="445"/>
                  </a:lnTo>
                  <a:lnTo>
                    <a:pt x="129" y="445"/>
                  </a:lnTo>
                  <a:lnTo>
                    <a:pt x="132" y="444"/>
                  </a:lnTo>
                  <a:lnTo>
                    <a:pt x="133" y="442"/>
                  </a:lnTo>
                  <a:lnTo>
                    <a:pt x="133" y="440"/>
                  </a:lnTo>
                  <a:lnTo>
                    <a:pt x="132" y="439"/>
                  </a:lnTo>
                  <a:lnTo>
                    <a:pt x="132" y="438"/>
                  </a:lnTo>
                  <a:lnTo>
                    <a:pt x="130" y="438"/>
                  </a:lnTo>
                  <a:lnTo>
                    <a:pt x="128" y="439"/>
                  </a:lnTo>
                  <a:lnTo>
                    <a:pt x="126" y="439"/>
                  </a:lnTo>
                  <a:lnTo>
                    <a:pt x="124" y="438"/>
                  </a:lnTo>
                  <a:lnTo>
                    <a:pt x="124" y="436"/>
                  </a:lnTo>
                  <a:lnTo>
                    <a:pt x="123" y="436"/>
                  </a:lnTo>
                  <a:lnTo>
                    <a:pt x="121" y="435"/>
                  </a:lnTo>
                  <a:lnTo>
                    <a:pt x="120" y="435"/>
                  </a:lnTo>
                  <a:lnTo>
                    <a:pt x="122" y="434"/>
                  </a:lnTo>
                  <a:lnTo>
                    <a:pt x="124" y="434"/>
                  </a:lnTo>
                  <a:lnTo>
                    <a:pt x="124" y="435"/>
                  </a:lnTo>
                  <a:lnTo>
                    <a:pt x="126" y="436"/>
                  </a:lnTo>
                  <a:lnTo>
                    <a:pt x="128" y="436"/>
                  </a:lnTo>
                  <a:lnTo>
                    <a:pt x="129" y="434"/>
                  </a:lnTo>
                  <a:lnTo>
                    <a:pt x="129" y="433"/>
                  </a:lnTo>
                  <a:lnTo>
                    <a:pt x="129" y="432"/>
                  </a:lnTo>
                  <a:lnTo>
                    <a:pt x="128" y="430"/>
                  </a:lnTo>
                  <a:lnTo>
                    <a:pt x="124" y="429"/>
                  </a:lnTo>
                  <a:lnTo>
                    <a:pt x="123" y="429"/>
                  </a:lnTo>
                  <a:lnTo>
                    <a:pt x="123" y="427"/>
                  </a:lnTo>
                  <a:lnTo>
                    <a:pt x="124" y="426"/>
                  </a:lnTo>
                  <a:lnTo>
                    <a:pt x="126" y="424"/>
                  </a:lnTo>
                  <a:lnTo>
                    <a:pt x="127" y="424"/>
                  </a:lnTo>
                  <a:lnTo>
                    <a:pt x="128" y="426"/>
                  </a:lnTo>
                  <a:lnTo>
                    <a:pt x="128" y="428"/>
                  </a:lnTo>
                  <a:lnTo>
                    <a:pt x="129" y="429"/>
                  </a:lnTo>
                  <a:lnTo>
                    <a:pt x="132" y="430"/>
                  </a:lnTo>
                  <a:lnTo>
                    <a:pt x="133" y="432"/>
                  </a:lnTo>
                  <a:lnTo>
                    <a:pt x="135" y="433"/>
                  </a:lnTo>
                  <a:lnTo>
                    <a:pt x="138" y="433"/>
                  </a:lnTo>
                  <a:lnTo>
                    <a:pt x="139" y="433"/>
                  </a:lnTo>
                  <a:lnTo>
                    <a:pt x="140" y="435"/>
                  </a:lnTo>
                  <a:lnTo>
                    <a:pt x="139" y="435"/>
                  </a:lnTo>
                  <a:lnTo>
                    <a:pt x="137" y="434"/>
                  </a:lnTo>
                  <a:lnTo>
                    <a:pt x="137" y="436"/>
                  </a:lnTo>
                  <a:lnTo>
                    <a:pt x="137" y="438"/>
                  </a:lnTo>
                  <a:lnTo>
                    <a:pt x="139" y="438"/>
                  </a:lnTo>
                  <a:lnTo>
                    <a:pt x="141" y="440"/>
                  </a:lnTo>
                  <a:lnTo>
                    <a:pt x="143" y="444"/>
                  </a:lnTo>
                  <a:lnTo>
                    <a:pt x="144" y="446"/>
                  </a:lnTo>
                  <a:lnTo>
                    <a:pt x="144" y="448"/>
                  </a:lnTo>
                  <a:lnTo>
                    <a:pt x="141" y="448"/>
                  </a:lnTo>
                  <a:lnTo>
                    <a:pt x="141" y="446"/>
                  </a:lnTo>
                  <a:lnTo>
                    <a:pt x="139" y="442"/>
                  </a:lnTo>
                  <a:lnTo>
                    <a:pt x="138" y="442"/>
                  </a:lnTo>
                  <a:lnTo>
                    <a:pt x="139" y="445"/>
                  </a:lnTo>
                  <a:lnTo>
                    <a:pt x="139" y="446"/>
                  </a:lnTo>
                  <a:lnTo>
                    <a:pt x="139" y="448"/>
                  </a:lnTo>
                  <a:lnTo>
                    <a:pt x="138" y="448"/>
                  </a:lnTo>
                  <a:lnTo>
                    <a:pt x="137" y="451"/>
                  </a:lnTo>
                  <a:lnTo>
                    <a:pt x="137" y="452"/>
                  </a:lnTo>
                  <a:lnTo>
                    <a:pt x="139" y="453"/>
                  </a:lnTo>
                  <a:lnTo>
                    <a:pt x="140" y="452"/>
                  </a:lnTo>
                  <a:lnTo>
                    <a:pt x="143" y="452"/>
                  </a:lnTo>
                  <a:lnTo>
                    <a:pt x="141" y="453"/>
                  </a:lnTo>
                  <a:lnTo>
                    <a:pt x="140" y="454"/>
                  </a:lnTo>
                  <a:lnTo>
                    <a:pt x="139" y="454"/>
                  </a:lnTo>
                  <a:lnTo>
                    <a:pt x="138" y="456"/>
                  </a:lnTo>
                  <a:lnTo>
                    <a:pt x="137" y="456"/>
                  </a:lnTo>
                  <a:lnTo>
                    <a:pt x="135" y="458"/>
                  </a:lnTo>
                  <a:lnTo>
                    <a:pt x="135" y="460"/>
                  </a:lnTo>
                  <a:lnTo>
                    <a:pt x="137" y="460"/>
                  </a:lnTo>
                  <a:lnTo>
                    <a:pt x="134" y="462"/>
                  </a:lnTo>
                  <a:lnTo>
                    <a:pt x="133" y="462"/>
                  </a:lnTo>
                  <a:lnTo>
                    <a:pt x="132" y="459"/>
                  </a:lnTo>
                  <a:lnTo>
                    <a:pt x="129" y="459"/>
                  </a:lnTo>
                  <a:lnTo>
                    <a:pt x="128" y="460"/>
                  </a:lnTo>
                  <a:lnTo>
                    <a:pt x="128" y="463"/>
                  </a:lnTo>
                  <a:lnTo>
                    <a:pt x="128" y="464"/>
                  </a:lnTo>
                  <a:lnTo>
                    <a:pt x="128" y="466"/>
                  </a:lnTo>
                  <a:lnTo>
                    <a:pt x="129" y="466"/>
                  </a:lnTo>
                  <a:lnTo>
                    <a:pt x="132" y="466"/>
                  </a:lnTo>
                  <a:lnTo>
                    <a:pt x="133" y="466"/>
                  </a:lnTo>
                  <a:lnTo>
                    <a:pt x="134" y="466"/>
                  </a:lnTo>
                  <a:lnTo>
                    <a:pt x="135" y="465"/>
                  </a:lnTo>
                  <a:lnTo>
                    <a:pt x="135" y="464"/>
                  </a:lnTo>
                  <a:lnTo>
                    <a:pt x="137" y="465"/>
                  </a:lnTo>
                  <a:lnTo>
                    <a:pt x="138" y="466"/>
                  </a:lnTo>
                  <a:lnTo>
                    <a:pt x="141" y="466"/>
                  </a:lnTo>
                  <a:lnTo>
                    <a:pt x="143" y="465"/>
                  </a:lnTo>
                  <a:lnTo>
                    <a:pt x="144" y="466"/>
                  </a:lnTo>
                  <a:lnTo>
                    <a:pt x="144" y="468"/>
                  </a:lnTo>
                  <a:lnTo>
                    <a:pt x="145" y="469"/>
                  </a:lnTo>
                  <a:lnTo>
                    <a:pt x="147" y="468"/>
                  </a:lnTo>
                  <a:lnTo>
                    <a:pt x="147" y="466"/>
                  </a:lnTo>
                  <a:lnTo>
                    <a:pt x="150" y="465"/>
                  </a:lnTo>
                  <a:lnTo>
                    <a:pt x="152" y="464"/>
                  </a:lnTo>
                  <a:lnTo>
                    <a:pt x="152" y="463"/>
                  </a:lnTo>
                  <a:lnTo>
                    <a:pt x="151" y="463"/>
                  </a:lnTo>
                  <a:lnTo>
                    <a:pt x="149" y="463"/>
                  </a:lnTo>
                  <a:lnTo>
                    <a:pt x="146" y="463"/>
                  </a:lnTo>
                  <a:lnTo>
                    <a:pt x="149" y="460"/>
                  </a:lnTo>
                  <a:lnTo>
                    <a:pt x="150" y="459"/>
                  </a:lnTo>
                  <a:lnTo>
                    <a:pt x="151" y="458"/>
                  </a:lnTo>
                  <a:lnTo>
                    <a:pt x="152" y="458"/>
                  </a:lnTo>
                  <a:lnTo>
                    <a:pt x="153" y="458"/>
                  </a:lnTo>
                  <a:lnTo>
                    <a:pt x="155" y="460"/>
                  </a:lnTo>
                  <a:lnTo>
                    <a:pt x="155" y="462"/>
                  </a:lnTo>
                  <a:lnTo>
                    <a:pt x="155" y="463"/>
                  </a:lnTo>
                  <a:lnTo>
                    <a:pt x="156" y="462"/>
                  </a:lnTo>
                  <a:lnTo>
                    <a:pt x="157" y="464"/>
                  </a:lnTo>
                  <a:lnTo>
                    <a:pt x="158" y="465"/>
                  </a:lnTo>
                  <a:lnTo>
                    <a:pt x="156" y="465"/>
                  </a:lnTo>
                  <a:lnTo>
                    <a:pt x="153" y="465"/>
                  </a:lnTo>
                  <a:lnTo>
                    <a:pt x="151" y="466"/>
                  </a:lnTo>
                  <a:lnTo>
                    <a:pt x="150" y="468"/>
                  </a:lnTo>
                  <a:lnTo>
                    <a:pt x="149" y="469"/>
                  </a:lnTo>
                  <a:lnTo>
                    <a:pt x="147" y="470"/>
                  </a:lnTo>
                  <a:lnTo>
                    <a:pt x="144" y="472"/>
                  </a:lnTo>
                  <a:lnTo>
                    <a:pt x="143" y="470"/>
                  </a:lnTo>
                  <a:lnTo>
                    <a:pt x="141" y="469"/>
                  </a:lnTo>
                  <a:lnTo>
                    <a:pt x="140" y="469"/>
                  </a:lnTo>
                  <a:lnTo>
                    <a:pt x="138" y="468"/>
                  </a:lnTo>
                  <a:lnTo>
                    <a:pt x="137" y="468"/>
                  </a:lnTo>
                  <a:lnTo>
                    <a:pt x="137" y="470"/>
                  </a:lnTo>
                  <a:lnTo>
                    <a:pt x="135" y="470"/>
                  </a:lnTo>
                  <a:lnTo>
                    <a:pt x="133" y="470"/>
                  </a:lnTo>
                  <a:lnTo>
                    <a:pt x="133" y="469"/>
                  </a:lnTo>
                  <a:lnTo>
                    <a:pt x="132" y="469"/>
                  </a:lnTo>
                  <a:lnTo>
                    <a:pt x="130" y="470"/>
                  </a:lnTo>
                  <a:lnTo>
                    <a:pt x="128" y="471"/>
                  </a:lnTo>
                  <a:lnTo>
                    <a:pt x="126" y="471"/>
                  </a:lnTo>
                  <a:lnTo>
                    <a:pt x="124" y="469"/>
                  </a:lnTo>
                  <a:lnTo>
                    <a:pt x="122" y="468"/>
                  </a:lnTo>
                  <a:lnTo>
                    <a:pt x="121" y="469"/>
                  </a:lnTo>
                  <a:lnTo>
                    <a:pt x="121" y="471"/>
                  </a:lnTo>
                  <a:lnTo>
                    <a:pt x="120" y="471"/>
                  </a:lnTo>
                  <a:lnTo>
                    <a:pt x="118" y="472"/>
                  </a:lnTo>
                  <a:lnTo>
                    <a:pt x="117" y="475"/>
                  </a:lnTo>
                  <a:lnTo>
                    <a:pt x="115" y="472"/>
                  </a:lnTo>
                  <a:lnTo>
                    <a:pt x="114" y="472"/>
                  </a:lnTo>
                  <a:lnTo>
                    <a:pt x="112" y="474"/>
                  </a:lnTo>
                  <a:lnTo>
                    <a:pt x="114" y="476"/>
                  </a:lnTo>
                  <a:lnTo>
                    <a:pt x="110" y="476"/>
                  </a:lnTo>
                  <a:lnTo>
                    <a:pt x="110" y="477"/>
                  </a:lnTo>
                  <a:lnTo>
                    <a:pt x="112" y="478"/>
                  </a:lnTo>
                  <a:lnTo>
                    <a:pt x="114" y="480"/>
                  </a:lnTo>
                  <a:lnTo>
                    <a:pt x="115" y="480"/>
                  </a:lnTo>
                  <a:lnTo>
                    <a:pt x="115" y="481"/>
                  </a:lnTo>
                  <a:lnTo>
                    <a:pt x="117" y="481"/>
                  </a:lnTo>
                  <a:lnTo>
                    <a:pt x="118" y="481"/>
                  </a:lnTo>
                  <a:lnTo>
                    <a:pt x="121" y="480"/>
                  </a:lnTo>
                  <a:lnTo>
                    <a:pt x="123" y="480"/>
                  </a:lnTo>
                  <a:lnTo>
                    <a:pt x="123" y="478"/>
                  </a:lnTo>
                  <a:lnTo>
                    <a:pt x="124" y="477"/>
                  </a:lnTo>
                  <a:lnTo>
                    <a:pt x="126" y="478"/>
                  </a:lnTo>
                  <a:lnTo>
                    <a:pt x="127" y="478"/>
                  </a:lnTo>
                  <a:lnTo>
                    <a:pt x="128" y="477"/>
                  </a:lnTo>
                  <a:lnTo>
                    <a:pt x="128" y="476"/>
                  </a:lnTo>
                  <a:lnTo>
                    <a:pt x="128" y="478"/>
                  </a:lnTo>
                  <a:lnTo>
                    <a:pt x="127" y="480"/>
                  </a:lnTo>
                  <a:lnTo>
                    <a:pt x="124" y="482"/>
                  </a:lnTo>
                  <a:lnTo>
                    <a:pt x="123" y="483"/>
                  </a:lnTo>
                  <a:lnTo>
                    <a:pt x="122" y="483"/>
                  </a:lnTo>
                  <a:lnTo>
                    <a:pt x="120" y="483"/>
                  </a:lnTo>
                  <a:lnTo>
                    <a:pt x="118" y="484"/>
                  </a:lnTo>
                  <a:lnTo>
                    <a:pt x="116" y="486"/>
                  </a:lnTo>
                  <a:lnTo>
                    <a:pt x="115" y="487"/>
                  </a:lnTo>
                  <a:lnTo>
                    <a:pt x="114" y="488"/>
                  </a:lnTo>
                  <a:lnTo>
                    <a:pt x="112" y="486"/>
                  </a:lnTo>
                  <a:lnTo>
                    <a:pt x="112" y="484"/>
                  </a:lnTo>
                  <a:lnTo>
                    <a:pt x="111" y="486"/>
                  </a:lnTo>
                  <a:lnTo>
                    <a:pt x="109" y="486"/>
                  </a:lnTo>
                  <a:lnTo>
                    <a:pt x="106" y="488"/>
                  </a:lnTo>
                  <a:lnTo>
                    <a:pt x="105" y="488"/>
                  </a:lnTo>
                  <a:lnTo>
                    <a:pt x="103" y="489"/>
                  </a:lnTo>
                  <a:lnTo>
                    <a:pt x="102" y="489"/>
                  </a:lnTo>
                  <a:lnTo>
                    <a:pt x="100" y="489"/>
                  </a:lnTo>
                  <a:lnTo>
                    <a:pt x="96" y="492"/>
                  </a:lnTo>
                  <a:lnTo>
                    <a:pt x="96" y="493"/>
                  </a:lnTo>
                  <a:lnTo>
                    <a:pt x="94" y="494"/>
                  </a:lnTo>
                  <a:lnTo>
                    <a:pt x="94" y="495"/>
                  </a:lnTo>
                  <a:lnTo>
                    <a:pt x="93" y="496"/>
                  </a:lnTo>
                  <a:lnTo>
                    <a:pt x="91" y="496"/>
                  </a:lnTo>
                  <a:lnTo>
                    <a:pt x="88" y="498"/>
                  </a:lnTo>
                  <a:lnTo>
                    <a:pt x="87" y="498"/>
                  </a:lnTo>
                  <a:lnTo>
                    <a:pt x="85" y="498"/>
                  </a:lnTo>
                  <a:lnTo>
                    <a:pt x="81" y="498"/>
                  </a:lnTo>
                  <a:lnTo>
                    <a:pt x="81" y="499"/>
                  </a:lnTo>
                  <a:lnTo>
                    <a:pt x="80" y="500"/>
                  </a:lnTo>
                  <a:lnTo>
                    <a:pt x="79" y="498"/>
                  </a:lnTo>
                  <a:lnTo>
                    <a:pt x="76" y="499"/>
                  </a:lnTo>
                  <a:lnTo>
                    <a:pt x="76" y="500"/>
                  </a:lnTo>
                  <a:lnTo>
                    <a:pt x="73" y="500"/>
                  </a:lnTo>
                  <a:lnTo>
                    <a:pt x="73" y="502"/>
                  </a:lnTo>
                  <a:lnTo>
                    <a:pt x="71" y="502"/>
                  </a:lnTo>
                  <a:lnTo>
                    <a:pt x="71" y="501"/>
                  </a:lnTo>
                  <a:lnTo>
                    <a:pt x="70" y="499"/>
                  </a:lnTo>
                  <a:lnTo>
                    <a:pt x="67" y="499"/>
                  </a:lnTo>
                  <a:lnTo>
                    <a:pt x="67" y="498"/>
                  </a:lnTo>
                  <a:lnTo>
                    <a:pt x="65" y="495"/>
                  </a:lnTo>
                  <a:lnTo>
                    <a:pt x="64" y="495"/>
                  </a:lnTo>
                  <a:lnTo>
                    <a:pt x="63" y="496"/>
                  </a:lnTo>
                  <a:lnTo>
                    <a:pt x="62" y="498"/>
                  </a:lnTo>
                  <a:lnTo>
                    <a:pt x="61" y="498"/>
                  </a:lnTo>
                  <a:lnTo>
                    <a:pt x="61" y="499"/>
                  </a:lnTo>
                  <a:lnTo>
                    <a:pt x="61" y="501"/>
                  </a:lnTo>
                  <a:lnTo>
                    <a:pt x="62" y="502"/>
                  </a:lnTo>
                  <a:lnTo>
                    <a:pt x="62" y="504"/>
                  </a:lnTo>
                  <a:lnTo>
                    <a:pt x="62" y="505"/>
                  </a:lnTo>
                  <a:lnTo>
                    <a:pt x="63" y="506"/>
                  </a:lnTo>
                  <a:lnTo>
                    <a:pt x="64" y="506"/>
                  </a:lnTo>
                  <a:lnTo>
                    <a:pt x="63" y="508"/>
                  </a:lnTo>
                  <a:lnTo>
                    <a:pt x="62" y="510"/>
                  </a:lnTo>
                  <a:lnTo>
                    <a:pt x="62" y="511"/>
                  </a:lnTo>
                  <a:lnTo>
                    <a:pt x="64" y="511"/>
                  </a:lnTo>
                  <a:lnTo>
                    <a:pt x="67" y="511"/>
                  </a:lnTo>
                  <a:lnTo>
                    <a:pt x="68" y="512"/>
                  </a:lnTo>
                  <a:lnTo>
                    <a:pt x="69" y="513"/>
                  </a:lnTo>
                  <a:lnTo>
                    <a:pt x="70" y="512"/>
                  </a:lnTo>
                  <a:lnTo>
                    <a:pt x="73" y="512"/>
                  </a:lnTo>
                  <a:lnTo>
                    <a:pt x="75" y="511"/>
                  </a:lnTo>
                  <a:lnTo>
                    <a:pt x="76" y="511"/>
                  </a:lnTo>
                  <a:lnTo>
                    <a:pt x="79" y="511"/>
                  </a:lnTo>
                  <a:lnTo>
                    <a:pt x="80" y="511"/>
                  </a:lnTo>
                  <a:lnTo>
                    <a:pt x="82" y="513"/>
                  </a:lnTo>
                  <a:lnTo>
                    <a:pt x="85" y="517"/>
                  </a:lnTo>
                  <a:lnTo>
                    <a:pt x="84" y="517"/>
                  </a:lnTo>
                  <a:lnTo>
                    <a:pt x="82" y="516"/>
                  </a:lnTo>
                  <a:lnTo>
                    <a:pt x="81" y="516"/>
                  </a:lnTo>
                  <a:lnTo>
                    <a:pt x="80" y="517"/>
                  </a:lnTo>
                  <a:lnTo>
                    <a:pt x="79" y="517"/>
                  </a:lnTo>
                  <a:lnTo>
                    <a:pt x="78" y="516"/>
                  </a:lnTo>
                  <a:lnTo>
                    <a:pt x="76" y="514"/>
                  </a:lnTo>
                  <a:lnTo>
                    <a:pt x="74" y="514"/>
                  </a:lnTo>
                  <a:lnTo>
                    <a:pt x="71" y="514"/>
                  </a:lnTo>
                  <a:lnTo>
                    <a:pt x="70" y="514"/>
                  </a:lnTo>
                  <a:lnTo>
                    <a:pt x="69" y="516"/>
                  </a:lnTo>
                  <a:lnTo>
                    <a:pt x="71" y="517"/>
                  </a:lnTo>
                  <a:lnTo>
                    <a:pt x="73" y="518"/>
                  </a:lnTo>
                  <a:lnTo>
                    <a:pt x="71" y="520"/>
                  </a:lnTo>
                  <a:lnTo>
                    <a:pt x="74" y="522"/>
                  </a:lnTo>
                  <a:lnTo>
                    <a:pt x="75" y="522"/>
                  </a:lnTo>
                  <a:lnTo>
                    <a:pt x="78" y="523"/>
                  </a:lnTo>
                  <a:lnTo>
                    <a:pt x="78" y="525"/>
                  </a:lnTo>
                  <a:lnTo>
                    <a:pt x="76" y="525"/>
                  </a:lnTo>
                  <a:lnTo>
                    <a:pt x="75" y="526"/>
                  </a:lnTo>
                  <a:lnTo>
                    <a:pt x="76" y="526"/>
                  </a:lnTo>
                  <a:lnTo>
                    <a:pt x="80" y="526"/>
                  </a:lnTo>
                  <a:lnTo>
                    <a:pt x="81" y="525"/>
                  </a:lnTo>
                  <a:lnTo>
                    <a:pt x="81" y="524"/>
                  </a:lnTo>
                  <a:lnTo>
                    <a:pt x="84" y="523"/>
                  </a:lnTo>
                  <a:lnTo>
                    <a:pt x="84" y="524"/>
                  </a:lnTo>
                  <a:lnTo>
                    <a:pt x="82" y="526"/>
                  </a:lnTo>
                  <a:lnTo>
                    <a:pt x="81" y="529"/>
                  </a:lnTo>
                  <a:lnTo>
                    <a:pt x="79" y="530"/>
                  </a:lnTo>
                  <a:lnTo>
                    <a:pt x="76" y="530"/>
                  </a:lnTo>
                  <a:lnTo>
                    <a:pt x="75" y="530"/>
                  </a:lnTo>
                  <a:lnTo>
                    <a:pt x="73" y="529"/>
                  </a:lnTo>
                  <a:lnTo>
                    <a:pt x="73" y="526"/>
                  </a:lnTo>
                  <a:lnTo>
                    <a:pt x="74" y="524"/>
                  </a:lnTo>
                  <a:lnTo>
                    <a:pt x="73" y="523"/>
                  </a:lnTo>
                  <a:lnTo>
                    <a:pt x="70" y="522"/>
                  </a:lnTo>
                  <a:lnTo>
                    <a:pt x="70" y="520"/>
                  </a:lnTo>
                  <a:lnTo>
                    <a:pt x="70" y="519"/>
                  </a:lnTo>
                  <a:lnTo>
                    <a:pt x="69" y="518"/>
                  </a:lnTo>
                  <a:lnTo>
                    <a:pt x="67" y="517"/>
                  </a:lnTo>
                  <a:lnTo>
                    <a:pt x="65" y="517"/>
                  </a:lnTo>
                  <a:lnTo>
                    <a:pt x="64" y="518"/>
                  </a:lnTo>
                  <a:lnTo>
                    <a:pt x="63" y="518"/>
                  </a:lnTo>
                  <a:lnTo>
                    <a:pt x="62" y="519"/>
                  </a:lnTo>
                  <a:lnTo>
                    <a:pt x="59" y="520"/>
                  </a:lnTo>
                  <a:lnTo>
                    <a:pt x="57" y="522"/>
                  </a:lnTo>
                  <a:lnTo>
                    <a:pt x="56" y="522"/>
                  </a:lnTo>
                  <a:lnTo>
                    <a:pt x="55" y="524"/>
                  </a:lnTo>
                  <a:lnTo>
                    <a:pt x="55" y="526"/>
                  </a:lnTo>
                  <a:lnTo>
                    <a:pt x="57" y="526"/>
                  </a:lnTo>
                  <a:lnTo>
                    <a:pt x="59" y="528"/>
                  </a:lnTo>
                  <a:lnTo>
                    <a:pt x="61" y="529"/>
                  </a:lnTo>
                  <a:lnTo>
                    <a:pt x="62" y="530"/>
                  </a:lnTo>
                  <a:lnTo>
                    <a:pt x="61" y="531"/>
                  </a:lnTo>
                  <a:lnTo>
                    <a:pt x="59" y="534"/>
                  </a:lnTo>
                  <a:lnTo>
                    <a:pt x="61" y="534"/>
                  </a:lnTo>
                  <a:lnTo>
                    <a:pt x="62" y="536"/>
                  </a:lnTo>
                  <a:lnTo>
                    <a:pt x="63" y="537"/>
                  </a:lnTo>
                  <a:lnTo>
                    <a:pt x="67" y="541"/>
                  </a:lnTo>
                  <a:lnTo>
                    <a:pt x="68" y="541"/>
                  </a:lnTo>
                  <a:lnTo>
                    <a:pt x="70" y="542"/>
                  </a:lnTo>
                  <a:lnTo>
                    <a:pt x="71" y="542"/>
                  </a:lnTo>
                  <a:lnTo>
                    <a:pt x="75" y="541"/>
                  </a:lnTo>
                  <a:lnTo>
                    <a:pt x="76" y="541"/>
                  </a:lnTo>
                  <a:lnTo>
                    <a:pt x="79" y="540"/>
                  </a:lnTo>
                  <a:lnTo>
                    <a:pt x="81" y="540"/>
                  </a:lnTo>
                  <a:lnTo>
                    <a:pt x="82" y="539"/>
                  </a:lnTo>
                  <a:lnTo>
                    <a:pt x="84" y="536"/>
                  </a:lnTo>
                  <a:lnTo>
                    <a:pt x="86" y="535"/>
                  </a:lnTo>
                  <a:lnTo>
                    <a:pt x="87" y="535"/>
                  </a:lnTo>
                  <a:lnTo>
                    <a:pt x="88" y="534"/>
                  </a:lnTo>
                  <a:lnTo>
                    <a:pt x="91" y="535"/>
                  </a:lnTo>
                  <a:lnTo>
                    <a:pt x="92" y="536"/>
                  </a:lnTo>
                  <a:lnTo>
                    <a:pt x="90" y="536"/>
                  </a:lnTo>
                  <a:lnTo>
                    <a:pt x="87" y="537"/>
                  </a:lnTo>
                  <a:lnTo>
                    <a:pt x="85" y="539"/>
                  </a:lnTo>
                  <a:lnTo>
                    <a:pt x="84" y="540"/>
                  </a:lnTo>
                  <a:lnTo>
                    <a:pt x="84" y="541"/>
                  </a:lnTo>
                  <a:lnTo>
                    <a:pt x="85" y="543"/>
                  </a:lnTo>
                  <a:lnTo>
                    <a:pt x="86" y="545"/>
                  </a:lnTo>
                  <a:lnTo>
                    <a:pt x="81" y="545"/>
                  </a:lnTo>
                  <a:lnTo>
                    <a:pt x="80" y="545"/>
                  </a:lnTo>
                  <a:lnTo>
                    <a:pt x="79" y="546"/>
                  </a:lnTo>
                  <a:lnTo>
                    <a:pt x="78" y="546"/>
                  </a:lnTo>
                  <a:lnTo>
                    <a:pt x="76" y="548"/>
                  </a:lnTo>
                  <a:lnTo>
                    <a:pt x="78" y="549"/>
                  </a:lnTo>
                  <a:lnTo>
                    <a:pt x="80" y="549"/>
                  </a:lnTo>
                  <a:lnTo>
                    <a:pt x="81" y="551"/>
                  </a:lnTo>
                  <a:lnTo>
                    <a:pt x="79" y="551"/>
                  </a:lnTo>
                  <a:lnTo>
                    <a:pt x="76" y="552"/>
                  </a:lnTo>
                  <a:lnTo>
                    <a:pt x="75" y="551"/>
                  </a:lnTo>
                  <a:lnTo>
                    <a:pt x="74" y="548"/>
                  </a:lnTo>
                  <a:lnTo>
                    <a:pt x="74" y="547"/>
                  </a:lnTo>
                  <a:lnTo>
                    <a:pt x="73" y="548"/>
                  </a:lnTo>
                  <a:lnTo>
                    <a:pt x="71" y="551"/>
                  </a:lnTo>
                  <a:lnTo>
                    <a:pt x="69" y="553"/>
                  </a:lnTo>
                  <a:lnTo>
                    <a:pt x="67" y="554"/>
                  </a:lnTo>
                  <a:lnTo>
                    <a:pt x="68" y="555"/>
                  </a:lnTo>
                  <a:lnTo>
                    <a:pt x="69" y="558"/>
                  </a:lnTo>
                  <a:lnTo>
                    <a:pt x="70" y="557"/>
                  </a:lnTo>
                  <a:lnTo>
                    <a:pt x="73" y="558"/>
                  </a:lnTo>
                  <a:lnTo>
                    <a:pt x="74" y="557"/>
                  </a:lnTo>
                  <a:lnTo>
                    <a:pt x="75" y="555"/>
                  </a:lnTo>
                  <a:lnTo>
                    <a:pt x="75" y="557"/>
                  </a:lnTo>
                  <a:lnTo>
                    <a:pt x="78" y="558"/>
                  </a:lnTo>
                  <a:lnTo>
                    <a:pt x="79" y="558"/>
                  </a:lnTo>
                  <a:lnTo>
                    <a:pt x="81" y="557"/>
                  </a:lnTo>
                  <a:lnTo>
                    <a:pt x="82" y="555"/>
                  </a:lnTo>
                  <a:lnTo>
                    <a:pt x="84" y="554"/>
                  </a:lnTo>
                  <a:lnTo>
                    <a:pt x="85" y="553"/>
                  </a:lnTo>
                  <a:lnTo>
                    <a:pt x="87" y="553"/>
                  </a:lnTo>
                  <a:lnTo>
                    <a:pt x="88" y="552"/>
                  </a:lnTo>
                  <a:lnTo>
                    <a:pt x="90" y="551"/>
                  </a:lnTo>
                  <a:lnTo>
                    <a:pt x="90" y="552"/>
                  </a:lnTo>
                  <a:lnTo>
                    <a:pt x="91" y="557"/>
                  </a:lnTo>
                  <a:lnTo>
                    <a:pt x="91" y="559"/>
                  </a:lnTo>
                  <a:lnTo>
                    <a:pt x="94" y="560"/>
                  </a:lnTo>
                  <a:lnTo>
                    <a:pt x="96" y="559"/>
                  </a:lnTo>
                  <a:lnTo>
                    <a:pt x="99" y="558"/>
                  </a:lnTo>
                  <a:lnTo>
                    <a:pt x="100" y="557"/>
                  </a:lnTo>
                  <a:lnTo>
                    <a:pt x="100" y="554"/>
                  </a:lnTo>
                  <a:lnTo>
                    <a:pt x="102" y="554"/>
                  </a:lnTo>
                  <a:lnTo>
                    <a:pt x="100" y="554"/>
                  </a:lnTo>
                  <a:lnTo>
                    <a:pt x="98" y="557"/>
                  </a:lnTo>
                  <a:lnTo>
                    <a:pt x="96" y="557"/>
                  </a:lnTo>
                  <a:lnTo>
                    <a:pt x="97" y="554"/>
                  </a:lnTo>
                  <a:lnTo>
                    <a:pt x="98" y="553"/>
                  </a:lnTo>
                  <a:lnTo>
                    <a:pt x="99" y="553"/>
                  </a:lnTo>
                  <a:lnTo>
                    <a:pt x="102" y="552"/>
                  </a:lnTo>
                  <a:lnTo>
                    <a:pt x="103" y="551"/>
                  </a:lnTo>
                  <a:lnTo>
                    <a:pt x="103" y="549"/>
                  </a:lnTo>
                  <a:lnTo>
                    <a:pt x="99" y="548"/>
                  </a:lnTo>
                  <a:lnTo>
                    <a:pt x="98" y="548"/>
                  </a:lnTo>
                  <a:lnTo>
                    <a:pt x="99" y="547"/>
                  </a:lnTo>
                  <a:lnTo>
                    <a:pt x="103" y="548"/>
                  </a:lnTo>
                  <a:lnTo>
                    <a:pt x="104" y="547"/>
                  </a:lnTo>
                  <a:lnTo>
                    <a:pt x="105" y="546"/>
                  </a:lnTo>
                  <a:lnTo>
                    <a:pt x="105" y="543"/>
                  </a:lnTo>
                  <a:lnTo>
                    <a:pt x="105" y="542"/>
                  </a:lnTo>
                  <a:lnTo>
                    <a:pt x="104" y="541"/>
                  </a:lnTo>
                  <a:lnTo>
                    <a:pt x="103" y="540"/>
                  </a:lnTo>
                  <a:lnTo>
                    <a:pt x="104" y="539"/>
                  </a:lnTo>
                  <a:lnTo>
                    <a:pt x="103" y="536"/>
                  </a:lnTo>
                  <a:lnTo>
                    <a:pt x="102" y="535"/>
                  </a:lnTo>
                  <a:lnTo>
                    <a:pt x="104" y="534"/>
                  </a:lnTo>
                  <a:lnTo>
                    <a:pt x="105" y="533"/>
                  </a:lnTo>
                  <a:lnTo>
                    <a:pt x="105" y="534"/>
                  </a:lnTo>
                  <a:lnTo>
                    <a:pt x="105" y="535"/>
                  </a:lnTo>
                  <a:lnTo>
                    <a:pt x="105" y="536"/>
                  </a:lnTo>
                  <a:lnTo>
                    <a:pt x="106" y="537"/>
                  </a:lnTo>
                  <a:lnTo>
                    <a:pt x="108" y="537"/>
                  </a:lnTo>
                  <a:lnTo>
                    <a:pt x="109" y="539"/>
                  </a:lnTo>
                  <a:lnTo>
                    <a:pt x="110" y="540"/>
                  </a:lnTo>
                  <a:lnTo>
                    <a:pt x="112" y="539"/>
                  </a:lnTo>
                  <a:lnTo>
                    <a:pt x="112" y="540"/>
                  </a:lnTo>
                  <a:lnTo>
                    <a:pt x="114" y="542"/>
                  </a:lnTo>
                  <a:lnTo>
                    <a:pt x="116" y="542"/>
                  </a:lnTo>
                  <a:lnTo>
                    <a:pt x="117" y="541"/>
                  </a:lnTo>
                  <a:lnTo>
                    <a:pt x="118" y="540"/>
                  </a:lnTo>
                  <a:lnTo>
                    <a:pt x="120" y="539"/>
                  </a:lnTo>
                  <a:lnTo>
                    <a:pt x="121" y="535"/>
                  </a:lnTo>
                  <a:lnTo>
                    <a:pt x="121" y="534"/>
                  </a:lnTo>
                  <a:lnTo>
                    <a:pt x="120" y="533"/>
                  </a:lnTo>
                  <a:lnTo>
                    <a:pt x="121" y="531"/>
                  </a:lnTo>
                  <a:lnTo>
                    <a:pt x="122" y="528"/>
                  </a:lnTo>
                  <a:lnTo>
                    <a:pt x="123" y="529"/>
                  </a:lnTo>
                  <a:lnTo>
                    <a:pt x="122" y="531"/>
                  </a:lnTo>
                  <a:lnTo>
                    <a:pt x="122" y="533"/>
                  </a:lnTo>
                  <a:lnTo>
                    <a:pt x="122" y="534"/>
                  </a:lnTo>
                  <a:lnTo>
                    <a:pt x="123" y="535"/>
                  </a:lnTo>
                  <a:lnTo>
                    <a:pt x="124" y="536"/>
                  </a:lnTo>
                  <a:lnTo>
                    <a:pt x="124" y="540"/>
                  </a:lnTo>
                  <a:lnTo>
                    <a:pt x="126" y="542"/>
                  </a:lnTo>
                  <a:lnTo>
                    <a:pt x="127" y="542"/>
                  </a:lnTo>
                  <a:lnTo>
                    <a:pt x="128" y="537"/>
                  </a:lnTo>
                  <a:lnTo>
                    <a:pt x="129" y="536"/>
                  </a:lnTo>
                  <a:lnTo>
                    <a:pt x="129" y="539"/>
                  </a:lnTo>
                  <a:lnTo>
                    <a:pt x="129" y="542"/>
                  </a:lnTo>
                  <a:lnTo>
                    <a:pt x="129" y="546"/>
                  </a:lnTo>
                  <a:lnTo>
                    <a:pt x="130" y="546"/>
                  </a:lnTo>
                  <a:lnTo>
                    <a:pt x="133" y="545"/>
                  </a:lnTo>
                  <a:lnTo>
                    <a:pt x="134" y="542"/>
                  </a:lnTo>
                  <a:lnTo>
                    <a:pt x="135" y="541"/>
                  </a:lnTo>
                  <a:lnTo>
                    <a:pt x="137" y="540"/>
                  </a:lnTo>
                  <a:lnTo>
                    <a:pt x="138" y="541"/>
                  </a:lnTo>
                  <a:lnTo>
                    <a:pt x="138" y="542"/>
                  </a:lnTo>
                  <a:lnTo>
                    <a:pt x="140" y="542"/>
                  </a:lnTo>
                  <a:lnTo>
                    <a:pt x="144" y="542"/>
                  </a:lnTo>
                  <a:lnTo>
                    <a:pt x="144" y="541"/>
                  </a:lnTo>
                  <a:lnTo>
                    <a:pt x="145" y="540"/>
                  </a:lnTo>
                  <a:lnTo>
                    <a:pt x="145" y="539"/>
                  </a:lnTo>
                  <a:lnTo>
                    <a:pt x="146" y="539"/>
                  </a:lnTo>
                  <a:lnTo>
                    <a:pt x="149" y="539"/>
                  </a:lnTo>
                  <a:lnTo>
                    <a:pt x="151" y="540"/>
                  </a:lnTo>
                  <a:lnTo>
                    <a:pt x="152" y="539"/>
                  </a:lnTo>
                  <a:lnTo>
                    <a:pt x="152" y="537"/>
                  </a:lnTo>
                  <a:lnTo>
                    <a:pt x="155" y="539"/>
                  </a:lnTo>
                  <a:lnTo>
                    <a:pt x="156" y="539"/>
                  </a:lnTo>
                  <a:lnTo>
                    <a:pt x="157" y="537"/>
                  </a:lnTo>
                  <a:lnTo>
                    <a:pt x="157" y="536"/>
                  </a:lnTo>
                  <a:lnTo>
                    <a:pt x="157" y="535"/>
                  </a:lnTo>
                  <a:lnTo>
                    <a:pt x="157" y="534"/>
                  </a:lnTo>
                  <a:lnTo>
                    <a:pt x="159" y="534"/>
                  </a:lnTo>
                  <a:lnTo>
                    <a:pt x="159" y="536"/>
                  </a:lnTo>
                  <a:lnTo>
                    <a:pt x="162" y="536"/>
                  </a:lnTo>
                  <a:lnTo>
                    <a:pt x="163" y="537"/>
                  </a:lnTo>
                  <a:lnTo>
                    <a:pt x="164" y="539"/>
                  </a:lnTo>
                  <a:lnTo>
                    <a:pt x="164" y="541"/>
                  </a:lnTo>
                  <a:lnTo>
                    <a:pt x="165" y="543"/>
                  </a:lnTo>
                  <a:lnTo>
                    <a:pt x="164" y="546"/>
                  </a:lnTo>
                  <a:lnTo>
                    <a:pt x="163" y="547"/>
                  </a:lnTo>
                  <a:lnTo>
                    <a:pt x="162" y="546"/>
                  </a:lnTo>
                  <a:lnTo>
                    <a:pt x="161" y="545"/>
                  </a:lnTo>
                  <a:lnTo>
                    <a:pt x="159" y="543"/>
                  </a:lnTo>
                  <a:lnTo>
                    <a:pt x="157" y="543"/>
                  </a:lnTo>
                  <a:lnTo>
                    <a:pt x="156" y="545"/>
                  </a:lnTo>
                  <a:lnTo>
                    <a:pt x="157" y="546"/>
                  </a:lnTo>
                  <a:lnTo>
                    <a:pt x="157" y="548"/>
                  </a:lnTo>
                  <a:lnTo>
                    <a:pt x="158" y="549"/>
                  </a:lnTo>
                  <a:lnTo>
                    <a:pt x="157" y="549"/>
                  </a:lnTo>
                  <a:lnTo>
                    <a:pt x="156" y="548"/>
                  </a:lnTo>
                  <a:lnTo>
                    <a:pt x="156" y="547"/>
                  </a:lnTo>
                  <a:lnTo>
                    <a:pt x="155" y="546"/>
                  </a:lnTo>
                  <a:lnTo>
                    <a:pt x="153" y="546"/>
                  </a:lnTo>
                  <a:lnTo>
                    <a:pt x="152" y="546"/>
                  </a:lnTo>
                  <a:lnTo>
                    <a:pt x="152" y="547"/>
                  </a:lnTo>
                  <a:lnTo>
                    <a:pt x="152" y="548"/>
                  </a:lnTo>
                  <a:lnTo>
                    <a:pt x="152" y="549"/>
                  </a:lnTo>
                  <a:lnTo>
                    <a:pt x="152" y="551"/>
                  </a:lnTo>
                  <a:lnTo>
                    <a:pt x="152" y="553"/>
                  </a:lnTo>
                  <a:lnTo>
                    <a:pt x="151" y="553"/>
                  </a:lnTo>
                  <a:lnTo>
                    <a:pt x="150" y="552"/>
                  </a:lnTo>
                  <a:lnTo>
                    <a:pt x="149" y="551"/>
                  </a:lnTo>
                  <a:lnTo>
                    <a:pt x="149" y="553"/>
                  </a:lnTo>
                  <a:lnTo>
                    <a:pt x="150" y="555"/>
                  </a:lnTo>
                  <a:lnTo>
                    <a:pt x="153" y="557"/>
                  </a:lnTo>
                  <a:lnTo>
                    <a:pt x="155" y="557"/>
                  </a:lnTo>
                  <a:lnTo>
                    <a:pt x="157" y="554"/>
                  </a:lnTo>
                  <a:lnTo>
                    <a:pt x="158" y="553"/>
                  </a:lnTo>
                  <a:lnTo>
                    <a:pt x="159" y="553"/>
                  </a:lnTo>
                  <a:lnTo>
                    <a:pt x="162" y="552"/>
                  </a:lnTo>
                  <a:lnTo>
                    <a:pt x="162" y="553"/>
                  </a:lnTo>
                  <a:lnTo>
                    <a:pt x="165" y="553"/>
                  </a:lnTo>
                  <a:lnTo>
                    <a:pt x="168" y="553"/>
                  </a:lnTo>
                  <a:lnTo>
                    <a:pt x="169" y="552"/>
                  </a:lnTo>
                  <a:lnTo>
                    <a:pt x="170" y="551"/>
                  </a:lnTo>
                  <a:lnTo>
                    <a:pt x="171" y="549"/>
                  </a:lnTo>
                  <a:lnTo>
                    <a:pt x="170" y="548"/>
                  </a:lnTo>
                  <a:lnTo>
                    <a:pt x="170" y="547"/>
                  </a:lnTo>
                  <a:lnTo>
                    <a:pt x="171" y="545"/>
                  </a:lnTo>
                  <a:lnTo>
                    <a:pt x="174" y="543"/>
                  </a:lnTo>
                  <a:lnTo>
                    <a:pt x="177" y="543"/>
                  </a:lnTo>
                  <a:lnTo>
                    <a:pt x="180" y="543"/>
                  </a:lnTo>
                  <a:lnTo>
                    <a:pt x="182" y="545"/>
                  </a:lnTo>
                  <a:lnTo>
                    <a:pt x="183" y="545"/>
                  </a:lnTo>
                  <a:lnTo>
                    <a:pt x="186" y="545"/>
                  </a:lnTo>
                  <a:lnTo>
                    <a:pt x="185" y="547"/>
                  </a:lnTo>
                  <a:lnTo>
                    <a:pt x="183" y="547"/>
                  </a:lnTo>
                  <a:lnTo>
                    <a:pt x="181" y="548"/>
                  </a:lnTo>
                  <a:lnTo>
                    <a:pt x="180" y="547"/>
                  </a:lnTo>
                  <a:lnTo>
                    <a:pt x="179" y="548"/>
                  </a:lnTo>
                  <a:lnTo>
                    <a:pt x="177" y="549"/>
                  </a:lnTo>
                  <a:lnTo>
                    <a:pt x="177" y="551"/>
                  </a:lnTo>
                  <a:lnTo>
                    <a:pt x="176" y="551"/>
                  </a:lnTo>
                  <a:lnTo>
                    <a:pt x="174" y="551"/>
                  </a:lnTo>
                  <a:lnTo>
                    <a:pt x="174" y="552"/>
                  </a:lnTo>
                  <a:lnTo>
                    <a:pt x="175" y="555"/>
                  </a:lnTo>
                  <a:lnTo>
                    <a:pt x="177" y="557"/>
                  </a:lnTo>
                  <a:lnTo>
                    <a:pt x="179" y="557"/>
                  </a:lnTo>
                  <a:lnTo>
                    <a:pt x="181" y="557"/>
                  </a:lnTo>
                  <a:lnTo>
                    <a:pt x="182" y="554"/>
                  </a:lnTo>
                  <a:lnTo>
                    <a:pt x="183" y="553"/>
                  </a:lnTo>
                  <a:lnTo>
                    <a:pt x="183" y="552"/>
                  </a:lnTo>
                  <a:lnTo>
                    <a:pt x="183" y="551"/>
                  </a:lnTo>
                  <a:lnTo>
                    <a:pt x="186" y="549"/>
                  </a:lnTo>
                  <a:lnTo>
                    <a:pt x="187" y="548"/>
                  </a:lnTo>
                  <a:lnTo>
                    <a:pt x="189" y="546"/>
                  </a:lnTo>
                  <a:lnTo>
                    <a:pt x="191" y="546"/>
                  </a:lnTo>
                  <a:lnTo>
                    <a:pt x="193" y="546"/>
                  </a:lnTo>
                  <a:lnTo>
                    <a:pt x="193" y="547"/>
                  </a:lnTo>
                  <a:lnTo>
                    <a:pt x="189" y="549"/>
                  </a:lnTo>
                  <a:lnTo>
                    <a:pt x="189" y="551"/>
                  </a:lnTo>
                  <a:lnTo>
                    <a:pt x="189" y="552"/>
                  </a:lnTo>
                  <a:lnTo>
                    <a:pt x="191" y="553"/>
                  </a:lnTo>
                  <a:lnTo>
                    <a:pt x="193" y="551"/>
                  </a:lnTo>
                  <a:lnTo>
                    <a:pt x="196" y="549"/>
                  </a:lnTo>
                  <a:lnTo>
                    <a:pt x="193" y="553"/>
                  </a:lnTo>
                  <a:lnTo>
                    <a:pt x="192" y="553"/>
                  </a:lnTo>
                  <a:lnTo>
                    <a:pt x="189" y="555"/>
                  </a:lnTo>
                  <a:lnTo>
                    <a:pt x="188" y="557"/>
                  </a:lnTo>
                  <a:lnTo>
                    <a:pt x="186" y="558"/>
                  </a:lnTo>
                  <a:lnTo>
                    <a:pt x="185" y="558"/>
                  </a:lnTo>
                  <a:lnTo>
                    <a:pt x="182" y="558"/>
                  </a:lnTo>
                  <a:lnTo>
                    <a:pt x="182" y="559"/>
                  </a:lnTo>
                  <a:lnTo>
                    <a:pt x="182" y="560"/>
                  </a:lnTo>
                  <a:lnTo>
                    <a:pt x="181" y="561"/>
                  </a:lnTo>
                  <a:lnTo>
                    <a:pt x="180" y="563"/>
                  </a:lnTo>
                  <a:lnTo>
                    <a:pt x="177" y="564"/>
                  </a:lnTo>
                  <a:lnTo>
                    <a:pt x="176" y="564"/>
                  </a:lnTo>
                  <a:lnTo>
                    <a:pt x="175" y="563"/>
                  </a:lnTo>
                  <a:lnTo>
                    <a:pt x="174" y="563"/>
                  </a:lnTo>
                  <a:lnTo>
                    <a:pt x="173" y="561"/>
                  </a:lnTo>
                  <a:lnTo>
                    <a:pt x="170" y="560"/>
                  </a:lnTo>
                  <a:lnTo>
                    <a:pt x="170" y="559"/>
                  </a:lnTo>
                  <a:lnTo>
                    <a:pt x="168" y="559"/>
                  </a:lnTo>
                  <a:lnTo>
                    <a:pt x="168" y="561"/>
                  </a:lnTo>
                  <a:lnTo>
                    <a:pt x="169" y="563"/>
                  </a:lnTo>
                  <a:lnTo>
                    <a:pt x="170" y="564"/>
                  </a:lnTo>
                  <a:lnTo>
                    <a:pt x="170" y="565"/>
                  </a:lnTo>
                  <a:lnTo>
                    <a:pt x="173" y="566"/>
                  </a:lnTo>
                  <a:lnTo>
                    <a:pt x="174" y="567"/>
                  </a:lnTo>
                  <a:lnTo>
                    <a:pt x="173" y="570"/>
                  </a:lnTo>
                  <a:lnTo>
                    <a:pt x="171" y="569"/>
                  </a:lnTo>
                  <a:lnTo>
                    <a:pt x="171" y="566"/>
                  </a:lnTo>
                  <a:lnTo>
                    <a:pt x="170" y="565"/>
                  </a:lnTo>
                  <a:lnTo>
                    <a:pt x="165" y="565"/>
                  </a:lnTo>
                  <a:lnTo>
                    <a:pt x="164" y="566"/>
                  </a:lnTo>
                  <a:lnTo>
                    <a:pt x="162" y="569"/>
                  </a:lnTo>
                  <a:lnTo>
                    <a:pt x="161" y="569"/>
                  </a:lnTo>
                  <a:lnTo>
                    <a:pt x="159" y="567"/>
                  </a:lnTo>
                  <a:lnTo>
                    <a:pt x="159" y="566"/>
                  </a:lnTo>
                  <a:lnTo>
                    <a:pt x="158" y="566"/>
                  </a:lnTo>
                  <a:lnTo>
                    <a:pt x="158" y="567"/>
                  </a:lnTo>
                  <a:lnTo>
                    <a:pt x="157" y="567"/>
                  </a:lnTo>
                  <a:lnTo>
                    <a:pt x="156" y="566"/>
                  </a:lnTo>
                  <a:lnTo>
                    <a:pt x="155" y="567"/>
                  </a:lnTo>
                  <a:lnTo>
                    <a:pt x="155" y="570"/>
                  </a:lnTo>
                  <a:lnTo>
                    <a:pt x="155" y="572"/>
                  </a:lnTo>
                  <a:lnTo>
                    <a:pt x="152" y="575"/>
                  </a:lnTo>
                  <a:lnTo>
                    <a:pt x="151" y="576"/>
                  </a:lnTo>
                  <a:lnTo>
                    <a:pt x="151" y="573"/>
                  </a:lnTo>
                  <a:lnTo>
                    <a:pt x="152" y="572"/>
                  </a:lnTo>
                  <a:lnTo>
                    <a:pt x="151" y="571"/>
                  </a:lnTo>
                  <a:lnTo>
                    <a:pt x="149" y="571"/>
                  </a:lnTo>
                  <a:lnTo>
                    <a:pt x="147" y="572"/>
                  </a:lnTo>
                  <a:lnTo>
                    <a:pt x="146" y="570"/>
                  </a:lnTo>
                  <a:lnTo>
                    <a:pt x="145" y="570"/>
                  </a:lnTo>
                  <a:lnTo>
                    <a:pt x="144" y="569"/>
                  </a:lnTo>
                  <a:lnTo>
                    <a:pt x="141" y="570"/>
                  </a:lnTo>
                  <a:lnTo>
                    <a:pt x="140" y="571"/>
                  </a:lnTo>
                  <a:lnTo>
                    <a:pt x="138" y="572"/>
                  </a:lnTo>
                  <a:lnTo>
                    <a:pt x="134" y="572"/>
                  </a:lnTo>
                  <a:lnTo>
                    <a:pt x="132" y="573"/>
                  </a:lnTo>
                  <a:lnTo>
                    <a:pt x="130" y="572"/>
                  </a:lnTo>
                  <a:lnTo>
                    <a:pt x="129" y="571"/>
                  </a:lnTo>
                  <a:lnTo>
                    <a:pt x="128" y="572"/>
                  </a:lnTo>
                  <a:lnTo>
                    <a:pt x="127" y="571"/>
                  </a:lnTo>
                  <a:lnTo>
                    <a:pt x="126" y="572"/>
                  </a:lnTo>
                  <a:lnTo>
                    <a:pt x="124" y="575"/>
                  </a:lnTo>
                  <a:lnTo>
                    <a:pt x="123" y="575"/>
                  </a:lnTo>
                  <a:lnTo>
                    <a:pt x="124" y="578"/>
                  </a:lnTo>
                  <a:lnTo>
                    <a:pt x="127" y="578"/>
                  </a:lnTo>
                  <a:lnTo>
                    <a:pt x="128" y="578"/>
                  </a:lnTo>
                  <a:lnTo>
                    <a:pt x="128" y="579"/>
                  </a:lnTo>
                  <a:lnTo>
                    <a:pt x="130" y="579"/>
                  </a:lnTo>
                  <a:lnTo>
                    <a:pt x="130" y="578"/>
                  </a:lnTo>
                  <a:lnTo>
                    <a:pt x="132" y="581"/>
                  </a:lnTo>
                  <a:lnTo>
                    <a:pt x="133" y="582"/>
                  </a:lnTo>
                  <a:lnTo>
                    <a:pt x="133" y="583"/>
                  </a:lnTo>
                  <a:lnTo>
                    <a:pt x="132" y="584"/>
                  </a:lnTo>
                  <a:lnTo>
                    <a:pt x="134" y="585"/>
                  </a:lnTo>
                  <a:lnTo>
                    <a:pt x="137" y="585"/>
                  </a:lnTo>
                  <a:lnTo>
                    <a:pt x="137" y="587"/>
                  </a:lnTo>
                  <a:lnTo>
                    <a:pt x="138" y="585"/>
                  </a:lnTo>
                  <a:lnTo>
                    <a:pt x="138" y="584"/>
                  </a:lnTo>
                  <a:lnTo>
                    <a:pt x="137" y="583"/>
                  </a:lnTo>
                  <a:lnTo>
                    <a:pt x="137" y="581"/>
                  </a:lnTo>
                  <a:lnTo>
                    <a:pt x="138" y="579"/>
                  </a:lnTo>
                  <a:lnTo>
                    <a:pt x="139" y="581"/>
                  </a:lnTo>
                  <a:lnTo>
                    <a:pt x="140" y="583"/>
                  </a:lnTo>
                  <a:lnTo>
                    <a:pt x="141" y="583"/>
                  </a:lnTo>
                  <a:lnTo>
                    <a:pt x="144" y="583"/>
                  </a:lnTo>
                  <a:lnTo>
                    <a:pt x="146" y="582"/>
                  </a:lnTo>
                  <a:lnTo>
                    <a:pt x="149" y="582"/>
                  </a:lnTo>
                  <a:lnTo>
                    <a:pt x="146" y="584"/>
                  </a:lnTo>
                  <a:lnTo>
                    <a:pt x="145" y="585"/>
                  </a:lnTo>
                  <a:lnTo>
                    <a:pt x="143" y="585"/>
                  </a:lnTo>
                  <a:lnTo>
                    <a:pt x="141" y="587"/>
                  </a:lnTo>
                  <a:lnTo>
                    <a:pt x="141" y="588"/>
                  </a:lnTo>
                  <a:lnTo>
                    <a:pt x="144" y="589"/>
                  </a:lnTo>
                  <a:lnTo>
                    <a:pt x="145" y="589"/>
                  </a:lnTo>
                  <a:lnTo>
                    <a:pt x="146" y="589"/>
                  </a:lnTo>
                  <a:lnTo>
                    <a:pt x="149" y="589"/>
                  </a:lnTo>
                  <a:lnTo>
                    <a:pt x="150" y="587"/>
                  </a:lnTo>
                  <a:lnTo>
                    <a:pt x="152" y="585"/>
                  </a:lnTo>
                  <a:lnTo>
                    <a:pt x="153" y="584"/>
                  </a:lnTo>
                  <a:lnTo>
                    <a:pt x="155" y="584"/>
                  </a:lnTo>
                  <a:lnTo>
                    <a:pt x="157" y="584"/>
                  </a:lnTo>
                  <a:lnTo>
                    <a:pt x="156" y="585"/>
                  </a:lnTo>
                  <a:lnTo>
                    <a:pt x="156" y="588"/>
                  </a:lnTo>
                  <a:lnTo>
                    <a:pt x="153" y="589"/>
                  </a:lnTo>
                  <a:lnTo>
                    <a:pt x="152" y="591"/>
                  </a:lnTo>
                  <a:lnTo>
                    <a:pt x="151" y="591"/>
                  </a:lnTo>
                  <a:lnTo>
                    <a:pt x="149" y="593"/>
                  </a:lnTo>
                  <a:lnTo>
                    <a:pt x="149" y="595"/>
                  </a:lnTo>
                  <a:lnTo>
                    <a:pt x="150" y="596"/>
                  </a:lnTo>
                  <a:lnTo>
                    <a:pt x="149" y="600"/>
                  </a:lnTo>
                  <a:lnTo>
                    <a:pt x="147" y="599"/>
                  </a:lnTo>
                  <a:lnTo>
                    <a:pt x="146" y="597"/>
                  </a:lnTo>
                  <a:lnTo>
                    <a:pt x="144" y="597"/>
                  </a:lnTo>
                  <a:lnTo>
                    <a:pt x="144" y="599"/>
                  </a:lnTo>
                  <a:lnTo>
                    <a:pt x="143" y="601"/>
                  </a:lnTo>
                  <a:lnTo>
                    <a:pt x="145" y="603"/>
                  </a:lnTo>
                  <a:lnTo>
                    <a:pt x="143" y="603"/>
                  </a:lnTo>
                  <a:lnTo>
                    <a:pt x="140" y="603"/>
                  </a:lnTo>
                  <a:lnTo>
                    <a:pt x="140" y="606"/>
                  </a:lnTo>
                  <a:lnTo>
                    <a:pt x="139" y="607"/>
                  </a:lnTo>
                  <a:lnTo>
                    <a:pt x="138" y="608"/>
                  </a:lnTo>
                  <a:lnTo>
                    <a:pt x="137" y="608"/>
                  </a:lnTo>
                  <a:lnTo>
                    <a:pt x="134" y="607"/>
                  </a:lnTo>
                  <a:lnTo>
                    <a:pt x="134" y="608"/>
                  </a:lnTo>
                  <a:lnTo>
                    <a:pt x="134" y="609"/>
                  </a:lnTo>
                  <a:lnTo>
                    <a:pt x="133" y="612"/>
                  </a:lnTo>
                  <a:lnTo>
                    <a:pt x="135" y="615"/>
                  </a:lnTo>
                  <a:lnTo>
                    <a:pt x="138" y="617"/>
                  </a:lnTo>
                  <a:lnTo>
                    <a:pt x="138" y="618"/>
                  </a:lnTo>
                  <a:lnTo>
                    <a:pt x="134" y="618"/>
                  </a:lnTo>
                  <a:lnTo>
                    <a:pt x="133" y="615"/>
                  </a:lnTo>
                  <a:lnTo>
                    <a:pt x="132" y="615"/>
                  </a:lnTo>
                  <a:lnTo>
                    <a:pt x="130" y="615"/>
                  </a:lnTo>
                  <a:lnTo>
                    <a:pt x="129" y="615"/>
                  </a:lnTo>
                  <a:lnTo>
                    <a:pt x="127" y="614"/>
                  </a:lnTo>
                  <a:lnTo>
                    <a:pt x="126" y="614"/>
                  </a:lnTo>
                  <a:lnTo>
                    <a:pt x="126" y="617"/>
                  </a:lnTo>
                  <a:lnTo>
                    <a:pt x="124" y="618"/>
                  </a:lnTo>
                  <a:lnTo>
                    <a:pt x="124" y="620"/>
                  </a:lnTo>
                  <a:lnTo>
                    <a:pt x="127" y="620"/>
                  </a:lnTo>
                  <a:lnTo>
                    <a:pt x="128" y="620"/>
                  </a:lnTo>
                  <a:lnTo>
                    <a:pt x="129" y="621"/>
                  </a:lnTo>
                  <a:lnTo>
                    <a:pt x="129" y="623"/>
                  </a:lnTo>
                  <a:lnTo>
                    <a:pt x="132" y="624"/>
                  </a:lnTo>
                  <a:lnTo>
                    <a:pt x="133" y="624"/>
                  </a:lnTo>
                  <a:lnTo>
                    <a:pt x="134" y="623"/>
                  </a:lnTo>
                  <a:lnTo>
                    <a:pt x="135" y="623"/>
                  </a:lnTo>
                  <a:lnTo>
                    <a:pt x="139" y="623"/>
                  </a:lnTo>
                  <a:lnTo>
                    <a:pt x="140" y="623"/>
                  </a:lnTo>
                  <a:lnTo>
                    <a:pt x="143" y="623"/>
                  </a:lnTo>
                  <a:lnTo>
                    <a:pt x="146" y="623"/>
                  </a:lnTo>
                  <a:lnTo>
                    <a:pt x="147" y="624"/>
                  </a:lnTo>
                  <a:lnTo>
                    <a:pt x="149" y="625"/>
                  </a:lnTo>
                  <a:lnTo>
                    <a:pt x="152" y="626"/>
                  </a:lnTo>
                  <a:lnTo>
                    <a:pt x="153" y="625"/>
                  </a:lnTo>
                  <a:lnTo>
                    <a:pt x="155" y="625"/>
                  </a:lnTo>
                  <a:lnTo>
                    <a:pt x="156" y="625"/>
                  </a:lnTo>
                  <a:lnTo>
                    <a:pt x="157" y="625"/>
                  </a:lnTo>
                  <a:lnTo>
                    <a:pt x="158" y="624"/>
                  </a:lnTo>
                  <a:lnTo>
                    <a:pt x="158" y="623"/>
                  </a:lnTo>
                  <a:lnTo>
                    <a:pt x="159" y="623"/>
                  </a:lnTo>
                  <a:lnTo>
                    <a:pt x="162" y="623"/>
                  </a:lnTo>
                  <a:lnTo>
                    <a:pt x="162" y="625"/>
                  </a:lnTo>
                  <a:lnTo>
                    <a:pt x="159" y="626"/>
                  </a:lnTo>
                  <a:lnTo>
                    <a:pt x="158" y="627"/>
                  </a:lnTo>
                  <a:lnTo>
                    <a:pt x="158" y="629"/>
                  </a:lnTo>
                  <a:lnTo>
                    <a:pt x="159" y="630"/>
                  </a:lnTo>
                  <a:lnTo>
                    <a:pt x="163" y="630"/>
                  </a:lnTo>
                  <a:lnTo>
                    <a:pt x="163" y="631"/>
                  </a:lnTo>
                  <a:lnTo>
                    <a:pt x="162" y="632"/>
                  </a:lnTo>
                  <a:lnTo>
                    <a:pt x="159" y="633"/>
                  </a:lnTo>
                  <a:lnTo>
                    <a:pt x="158" y="633"/>
                  </a:lnTo>
                  <a:lnTo>
                    <a:pt x="157" y="633"/>
                  </a:lnTo>
                  <a:lnTo>
                    <a:pt x="156" y="632"/>
                  </a:lnTo>
                  <a:lnTo>
                    <a:pt x="155" y="631"/>
                  </a:lnTo>
                  <a:lnTo>
                    <a:pt x="153" y="632"/>
                  </a:lnTo>
                  <a:lnTo>
                    <a:pt x="153" y="635"/>
                  </a:lnTo>
                  <a:lnTo>
                    <a:pt x="151" y="636"/>
                  </a:lnTo>
                  <a:lnTo>
                    <a:pt x="151" y="637"/>
                  </a:lnTo>
                  <a:lnTo>
                    <a:pt x="152" y="638"/>
                  </a:lnTo>
                  <a:lnTo>
                    <a:pt x="155" y="640"/>
                  </a:lnTo>
                  <a:lnTo>
                    <a:pt x="155" y="641"/>
                  </a:lnTo>
                  <a:lnTo>
                    <a:pt x="157" y="642"/>
                  </a:lnTo>
                  <a:lnTo>
                    <a:pt x="158" y="642"/>
                  </a:lnTo>
                  <a:lnTo>
                    <a:pt x="159" y="643"/>
                  </a:lnTo>
                  <a:lnTo>
                    <a:pt x="162" y="642"/>
                  </a:lnTo>
                  <a:lnTo>
                    <a:pt x="163" y="642"/>
                  </a:lnTo>
                  <a:lnTo>
                    <a:pt x="165" y="641"/>
                  </a:lnTo>
                  <a:lnTo>
                    <a:pt x="168" y="638"/>
                  </a:lnTo>
                  <a:lnTo>
                    <a:pt x="168" y="637"/>
                  </a:lnTo>
                  <a:lnTo>
                    <a:pt x="169" y="635"/>
                  </a:lnTo>
                  <a:lnTo>
                    <a:pt x="171" y="632"/>
                  </a:lnTo>
                  <a:lnTo>
                    <a:pt x="173" y="630"/>
                  </a:lnTo>
                  <a:lnTo>
                    <a:pt x="174" y="627"/>
                  </a:lnTo>
                  <a:lnTo>
                    <a:pt x="175" y="624"/>
                  </a:lnTo>
                  <a:lnTo>
                    <a:pt x="176" y="621"/>
                  </a:lnTo>
                  <a:lnTo>
                    <a:pt x="177" y="620"/>
                  </a:lnTo>
                  <a:lnTo>
                    <a:pt x="180" y="623"/>
                  </a:lnTo>
                  <a:lnTo>
                    <a:pt x="179" y="625"/>
                  </a:lnTo>
                  <a:lnTo>
                    <a:pt x="177" y="626"/>
                  </a:lnTo>
                  <a:lnTo>
                    <a:pt x="177" y="629"/>
                  </a:lnTo>
                  <a:lnTo>
                    <a:pt x="176" y="630"/>
                  </a:lnTo>
                  <a:lnTo>
                    <a:pt x="176" y="631"/>
                  </a:lnTo>
                  <a:lnTo>
                    <a:pt x="177" y="633"/>
                  </a:lnTo>
                  <a:lnTo>
                    <a:pt x="180" y="633"/>
                  </a:lnTo>
                  <a:lnTo>
                    <a:pt x="181" y="633"/>
                  </a:lnTo>
                  <a:lnTo>
                    <a:pt x="181" y="635"/>
                  </a:lnTo>
                  <a:lnTo>
                    <a:pt x="183" y="635"/>
                  </a:lnTo>
                  <a:lnTo>
                    <a:pt x="185" y="635"/>
                  </a:lnTo>
                  <a:lnTo>
                    <a:pt x="186" y="633"/>
                  </a:lnTo>
                  <a:lnTo>
                    <a:pt x="187" y="632"/>
                  </a:lnTo>
                  <a:lnTo>
                    <a:pt x="187" y="631"/>
                  </a:lnTo>
                  <a:lnTo>
                    <a:pt x="186" y="629"/>
                  </a:lnTo>
                  <a:lnTo>
                    <a:pt x="187" y="629"/>
                  </a:lnTo>
                  <a:lnTo>
                    <a:pt x="188" y="630"/>
                  </a:lnTo>
                  <a:lnTo>
                    <a:pt x="189" y="631"/>
                  </a:lnTo>
                  <a:lnTo>
                    <a:pt x="192" y="631"/>
                  </a:lnTo>
                  <a:lnTo>
                    <a:pt x="193" y="632"/>
                  </a:lnTo>
                  <a:lnTo>
                    <a:pt x="193" y="635"/>
                  </a:lnTo>
                  <a:lnTo>
                    <a:pt x="193" y="637"/>
                  </a:lnTo>
                  <a:lnTo>
                    <a:pt x="193" y="640"/>
                  </a:lnTo>
                  <a:lnTo>
                    <a:pt x="196" y="640"/>
                  </a:lnTo>
                  <a:lnTo>
                    <a:pt x="197" y="638"/>
                  </a:lnTo>
                  <a:lnTo>
                    <a:pt x="198" y="638"/>
                  </a:lnTo>
                  <a:lnTo>
                    <a:pt x="199" y="637"/>
                  </a:lnTo>
                  <a:lnTo>
                    <a:pt x="200" y="636"/>
                  </a:lnTo>
                  <a:lnTo>
                    <a:pt x="203" y="636"/>
                  </a:lnTo>
                  <a:lnTo>
                    <a:pt x="204" y="635"/>
                  </a:lnTo>
                  <a:lnTo>
                    <a:pt x="205" y="632"/>
                  </a:lnTo>
                  <a:lnTo>
                    <a:pt x="206" y="631"/>
                  </a:lnTo>
                  <a:lnTo>
                    <a:pt x="206" y="629"/>
                  </a:lnTo>
                  <a:lnTo>
                    <a:pt x="205" y="629"/>
                  </a:lnTo>
                  <a:lnTo>
                    <a:pt x="204" y="630"/>
                  </a:lnTo>
                  <a:lnTo>
                    <a:pt x="200" y="631"/>
                  </a:lnTo>
                  <a:lnTo>
                    <a:pt x="202" y="629"/>
                  </a:lnTo>
                  <a:lnTo>
                    <a:pt x="203" y="627"/>
                  </a:lnTo>
                  <a:lnTo>
                    <a:pt x="205" y="626"/>
                  </a:lnTo>
                  <a:lnTo>
                    <a:pt x="208" y="626"/>
                  </a:lnTo>
                  <a:lnTo>
                    <a:pt x="209" y="626"/>
                  </a:lnTo>
                  <a:lnTo>
                    <a:pt x="209" y="624"/>
                  </a:lnTo>
                  <a:lnTo>
                    <a:pt x="209" y="621"/>
                  </a:lnTo>
                  <a:lnTo>
                    <a:pt x="208" y="620"/>
                  </a:lnTo>
                  <a:lnTo>
                    <a:pt x="209" y="619"/>
                  </a:lnTo>
                  <a:lnTo>
                    <a:pt x="210" y="618"/>
                  </a:lnTo>
                  <a:lnTo>
                    <a:pt x="210" y="617"/>
                  </a:lnTo>
                  <a:lnTo>
                    <a:pt x="210" y="615"/>
                  </a:lnTo>
                  <a:lnTo>
                    <a:pt x="210" y="613"/>
                  </a:lnTo>
                  <a:lnTo>
                    <a:pt x="210" y="612"/>
                  </a:lnTo>
                  <a:lnTo>
                    <a:pt x="211" y="613"/>
                  </a:lnTo>
                  <a:lnTo>
                    <a:pt x="212" y="613"/>
                  </a:lnTo>
                  <a:lnTo>
                    <a:pt x="214" y="611"/>
                  </a:lnTo>
                  <a:lnTo>
                    <a:pt x="215" y="609"/>
                  </a:lnTo>
                  <a:lnTo>
                    <a:pt x="215" y="608"/>
                  </a:lnTo>
                  <a:lnTo>
                    <a:pt x="215" y="607"/>
                  </a:lnTo>
                  <a:lnTo>
                    <a:pt x="214" y="606"/>
                  </a:lnTo>
                  <a:lnTo>
                    <a:pt x="212" y="606"/>
                  </a:lnTo>
                  <a:lnTo>
                    <a:pt x="212" y="605"/>
                  </a:lnTo>
                  <a:lnTo>
                    <a:pt x="214" y="603"/>
                  </a:lnTo>
                  <a:lnTo>
                    <a:pt x="215" y="603"/>
                  </a:lnTo>
                  <a:lnTo>
                    <a:pt x="216" y="605"/>
                  </a:lnTo>
                  <a:lnTo>
                    <a:pt x="217" y="606"/>
                  </a:lnTo>
                  <a:lnTo>
                    <a:pt x="217" y="607"/>
                  </a:lnTo>
                  <a:lnTo>
                    <a:pt x="217" y="609"/>
                  </a:lnTo>
                  <a:lnTo>
                    <a:pt x="218" y="612"/>
                  </a:lnTo>
                  <a:lnTo>
                    <a:pt x="221" y="614"/>
                  </a:lnTo>
                  <a:lnTo>
                    <a:pt x="222" y="615"/>
                  </a:lnTo>
                  <a:lnTo>
                    <a:pt x="226" y="617"/>
                  </a:lnTo>
                  <a:lnTo>
                    <a:pt x="227" y="617"/>
                  </a:lnTo>
                  <a:lnTo>
                    <a:pt x="229" y="615"/>
                  </a:lnTo>
                  <a:lnTo>
                    <a:pt x="230" y="614"/>
                  </a:lnTo>
                  <a:lnTo>
                    <a:pt x="230" y="612"/>
                  </a:lnTo>
                  <a:lnTo>
                    <a:pt x="229" y="611"/>
                  </a:lnTo>
                  <a:lnTo>
                    <a:pt x="228" y="611"/>
                  </a:lnTo>
                  <a:lnTo>
                    <a:pt x="226" y="608"/>
                  </a:lnTo>
                  <a:lnTo>
                    <a:pt x="223" y="607"/>
                  </a:lnTo>
                  <a:lnTo>
                    <a:pt x="221" y="605"/>
                  </a:lnTo>
                  <a:lnTo>
                    <a:pt x="220" y="603"/>
                  </a:lnTo>
                  <a:lnTo>
                    <a:pt x="218" y="602"/>
                  </a:lnTo>
                  <a:lnTo>
                    <a:pt x="217" y="600"/>
                  </a:lnTo>
                  <a:lnTo>
                    <a:pt x="218" y="600"/>
                  </a:lnTo>
                  <a:lnTo>
                    <a:pt x="220" y="599"/>
                  </a:lnTo>
                  <a:lnTo>
                    <a:pt x="222" y="597"/>
                  </a:lnTo>
                  <a:lnTo>
                    <a:pt x="224" y="595"/>
                  </a:lnTo>
                  <a:lnTo>
                    <a:pt x="226" y="595"/>
                  </a:lnTo>
                  <a:lnTo>
                    <a:pt x="228" y="594"/>
                  </a:lnTo>
                  <a:lnTo>
                    <a:pt x="229" y="593"/>
                  </a:lnTo>
                  <a:lnTo>
                    <a:pt x="229" y="591"/>
                  </a:lnTo>
                  <a:lnTo>
                    <a:pt x="227" y="593"/>
                  </a:lnTo>
                  <a:lnTo>
                    <a:pt x="226" y="593"/>
                  </a:lnTo>
                  <a:lnTo>
                    <a:pt x="223" y="594"/>
                  </a:lnTo>
                  <a:lnTo>
                    <a:pt x="223" y="593"/>
                  </a:lnTo>
                  <a:lnTo>
                    <a:pt x="223" y="591"/>
                  </a:lnTo>
                  <a:lnTo>
                    <a:pt x="226" y="591"/>
                  </a:lnTo>
                  <a:lnTo>
                    <a:pt x="228" y="590"/>
                  </a:lnTo>
                  <a:lnTo>
                    <a:pt x="230" y="590"/>
                  </a:lnTo>
                  <a:lnTo>
                    <a:pt x="232" y="590"/>
                  </a:lnTo>
                  <a:lnTo>
                    <a:pt x="233" y="591"/>
                  </a:lnTo>
                  <a:lnTo>
                    <a:pt x="234" y="593"/>
                  </a:lnTo>
                  <a:lnTo>
                    <a:pt x="235" y="593"/>
                  </a:lnTo>
                  <a:lnTo>
                    <a:pt x="236" y="591"/>
                  </a:lnTo>
                  <a:lnTo>
                    <a:pt x="236" y="590"/>
                  </a:lnTo>
                  <a:lnTo>
                    <a:pt x="236" y="589"/>
                  </a:lnTo>
                  <a:lnTo>
                    <a:pt x="234" y="589"/>
                  </a:lnTo>
                  <a:lnTo>
                    <a:pt x="233" y="589"/>
                  </a:lnTo>
                  <a:lnTo>
                    <a:pt x="233" y="588"/>
                  </a:lnTo>
                  <a:lnTo>
                    <a:pt x="234" y="587"/>
                  </a:lnTo>
                  <a:lnTo>
                    <a:pt x="235" y="587"/>
                  </a:lnTo>
                  <a:lnTo>
                    <a:pt x="236" y="587"/>
                  </a:lnTo>
                  <a:lnTo>
                    <a:pt x="238" y="589"/>
                  </a:lnTo>
                  <a:lnTo>
                    <a:pt x="240" y="590"/>
                  </a:lnTo>
                  <a:lnTo>
                    <a:pt x="242" y="590"/>
                  </a:lnTo>
                  <a:lnTo>
                    <a:pt x="245" y="589"/>
                  </a:lnTo>
                  <a:lnTo>
                    <a:pt x="246" y="587"/>
                  </a:lnTo>
                  <a:lnTo>
                    <a:pt x="245" y="585"/>
                  </a:lnTo>
                  <a:lnTo>
                    <a:pt x="244" y="584"/>
                  </a:lnTo>
                  <a:lnTo>
                    <a:pt x="242" y="583"/>
                  </a:lnTo>
                  <a:lnTo>
                    <a:pt x="240" y="582"/>
                  </a:lnTo>
                  <a:lnTo>
                    <a:pt x="239" y="583"/>
                  </a:lnTo>
                  <a:lnTo>
                    <a:pt x="238" y="583"/>
                  </a:lnTo>
                  <a:lnTo>
                    <a:pt x="236" y="582"/>
                  </a:lnTo>
                  <a:lnTo>
                    <a:pt x="235" y="581"/>
                  </a:lnTo>
                  <a:lnTo>
                    <a:pt x="234" y="581"/>
                  </a:lnTo>
                  <a:lnTo>
                    <a:pt x="232" y="582"/>
                  </a:lnTo>
                  <a:lnTo>
                    <a:pt x="229" y="581"/>
                  </a:lnTo>
                  <a:lnTo>
                    <a:pt x="229" y="579"/>
                  </a:lnTo>
                  <a:lnTo>
                    <a:pt x="229" y="578"/>
                  </a:lnTo>
                  <a:lnTo>
                    <a:pt x="230" y="578"/>
                  </a:lnTo>
                  <a:lnTo>
                    <a:pt x="234" y="581"/>
                  </a:lnTo>
                  <a:lnTo>
                    <a:pt x="235" y="579"/>
                  </a:lnTo>
                  <a:lnTo>
                    <a:pt x="238" y="578"/>
                  </a:lnTo>
                  <a:lnTo>
                    <a:pt x="240" y="578"/>
                  </a:lnTo>
                  <a:lnTo>
                    <a:pt x="240" y="577"/>
                  </a:lnTo>
                  <a:lnTo>
                    <a:pt x="240" y="575"/>
                  </a:lnTo>
                  <a:lnTo>
                    <a:pt x="240" y="572"/>
                  </a:lnTo>
                  <a:lnTo>
                    <a:pt x="240" y="571"/>
                  </a:lnTo>
                  <a:lnTo>
                    <a:pt x="239" y="572"/>
                  </a:lnTo>
                  <a:lnTo>
                    <a:pt x="238" y="573"/>
                  </a:lnTo>
                  <a:lnTo>
                    <a:pt x="236" y="572"/>
                  </a:lnTo>
                  <a:lnTo>
                    <a:pt x="235" y="572"/>
                  </a:lnTo>
                  <a:lnTo>
                    <a:pt x="234" y="573"/>
                  </a:lnTo>
                  <a:lnTo>
                    <a:pt x="233" y="573"/>
                  </a:lnTo>
                  <a:lnTo>
                    <a:pt x="230" y="575"/>
                  </a:lnTo>
                  <a:lnTo>
                    <a:pt x="228" y="576"/>
                  </a:lnTo>
                  <a:lnTo>
                    <a:pt x="227" y="577"/>
                  </a:lnTo>
                  <a:lnTo>
                    <a:pt x="227" y="578"/>
                  </a:lnTo>
                  <a:lnTo>
                    <a:pt x="226" y="581"/>
                  </a:lnTo>
                  <a:lnTo>
                    <a:pt x="224" y="579"/>
                  </a:lnTo>
                  <a:lnTo>
                    <a:pt x="226" y="577"/>
                  </a:lnTo>
                  <a:lnTo>
                    <a:pt x="227" y="576"/>
                  </a:lnTo>
                  <a:lnTo>
                    <a:pt x="228" y="573"/>
                  </a:lnTo>
                  <a:lnTo>
                    <a:pt x="230" y="572"/>
                  </a:lnTo>
                  <a:lnTo>
                    <a:pt x="232" y="572"/>
                  </a:lnTo>
                  <a:lnTo>
                    <a:pt x="232" y="570"/>
                  </a:lnTo>
                  <a:lnTo>
                    <a:pt x="230" y="569"/>
                  </a:lnTo>
                  <a:lnTo>
                    <a:pt x="229" y="567"/>
                  </a:lnTo>
                  <a:lnTo>
                    <a:pt x="227" y="571"/>
                  </a:lnTo>
                  <a:lnTo>
                    <a:pt x="227" y="572"/>
                  </a:lnTo>
                  <a:lnTo>
                    <a:pt x="226" y="570"/>
                  </a:lnTo>
                  <a:lnTo>
                    <a:pt x="227" y="569"/>
                  </a:lnTo>
                  <a:lnTo>
                    <a:pt x="227" y="567"/>
                  </a:lnTo>
                  <a:lnTo>
                    <a:pt x="226" y="567"/>
                  </a:lnTo>
                  <a:lnTo>
                    <a:pt x="224" y="566"/>
                  </a:lnTo>
                  <a:lnTo>
                    <a:pt x="223" y="567"/>
                  </a:lnTo>
                  <a:lnTo>
                    <a:pt x="223" y="569"/>
                  </a:lnTo>
                  <a:lnTo>
                    <a:pt x="223" y="570"/>
                  </a:lnTo>
                  <a:lnTo>
                    <a:pt x="222" y="570"/>
                  </a:lnTo>
                  <a:lnTo>
                    <a:pt x="221" y="566"/>
                  </a:lnTo>
                  <a:lnTo>
                    <a:pt x="218" y="565"/>
                  </a:lnTo>
                  <a:lnTo>
                    <a:pt x="218" y="564"/>
                  </a:lnTo>
                  <a:lnTo>
                    <a:pt x="217" y="563"/>
                  </a:lnTo>
                  <a:lnTo>
                    <a:pt x="216" y="561"/>
                  </a:lnTo>
                  <a:lnTo>
                    <a:pt x="215" y="560"/>
                  </a:lnTo>
                  <a:lnTo>
                    <a:pt x="215" y="559"/>
                  </a:lnTo>
                  <a:lnTo>
                    <a:pt x="216" y="557"/>
                  </a:lnTo>
                  <a:lnTo>
                    <a:pt x="217" y="555"/>
                  </a:lnTo>
                  <a:lnTo>
                    <a:pt x="218" y="555"/>
                  </a:lnTo>
                  <a:lnTo>
                    <a:pt x="220" y="557"/>
                  </a:lnTo>
                  <a:lnTo>
                    <a:pt x="221" y="557"/>
                  </a:lnTo>
                  <a:lnTo>
                    <a:pt x="223" y="558"/>
                  </a:lnTo>
                  <a:lnTo>
                    <a:pt x="224" y="559"/>
                  </a:lnTo>
                  <a:lnTo>
                    <a:pt x="228" y="560"/>
                  </a:lnTo>
                  <a:lnTo>
                    <a:pt x="229" y="559"/>
                  </a:lnTo>
                  <a:lnTo>
                    <a:pt x="229" y="558"/>
                  </a:lnTo>
                  <a:lnTo>
                    <a:pt x="230" y="557"/>
                  </a:lnTo>
                  <a:lnTo>
                    <a:pt x="230" y="554"/>
                  </a:lnTo>
                  <a:lnTo>
                    <a:pt x="229" y="553"/>
                  </a:lnTo>
                  <a:lnTo>
                    <a:pt x="227" y="554"/>
                  </a:lnTo>
                  <a:lnTo>
                    <a:pt x="223" y="554"/>
                  </a:lnTo>
                  <a:lnTo>
                    <a:pt x="221" y="553"/>
                  </a:lnTo>
                  <a:lnTo>
                    <a:pt x="218" y="552"/>
                  </a:lnTo>
                  <a:lnTo>
                    <a:pt x="217" y="551"/>
                  </a:lnTo>
                  <a:lnTo>
                    <a:pt x="216" y="551"/>
                  </a:lnTo>
                  <a:lnTo>
                    <a:pt x="216" y="548"/>
                  </a:lnTo>
                  <a:lnTo>
                    <a:pt x="216" y="547"/>
                  </a:lnTo>
                  <a:lnTo>
                    <a:pt x="216" y="545"/>
                  </a:lnTo>
                  <a:lnTo>
                    <a:pt x="212" y="543"/>
                  </a:lnTo>
                  <a:lnTo>
                    <a:pt x="211" y="543"/>
                  </a:lnTo>
                  <a:lnTo>
                    <a:pt x="210" y="541"/>
                  </a:lnTo>
                  <a:lnTo>
                    <a:pt x="209" y="541"/>
                  </a:lnTo>
                  <a:lnTo>
                    <a:pt x="209" y="539"/>
                  </a:lnTo>
                  <a:lnTo>
                    <a:pt x="209" y="536"/>
                  </a:lnTo>
                  <a:lnTo>
                    <a:pt x="210" y="534"/>
                  </a:lnTo>
                  <a:lnTo>
                    <a:pt x="210" y="533"/>
                  </a:lnTo>
                  <a:lnTo>
                    <a:pt x="210" y="529"/>
                  </a:lnTo>
                  <a:lnTo>
                    <a:pt x="211" y="526"/>
                  </a:lnTo>
                  <a:lnTo>
                    <a:pt x="212" y="525"/>
                  </a:lnTo>
                  <a:lnTo>
                    <a:pt x="214" y="523"/>
                  </a:lnTo>
                  <a:lnTo>
                    <a:pt x="215" y="522"/>
                  </a:lnTo>
                  <a:lnTo>
                    <a:pt x="217" y="524"/>
                  </a:lnTo>
                  <a:lnTo>
                    <a:pt x="220" y="525"/>
                  </a:lnTo>
                  <a:lnTo>
                    <a:pt x="222" y="526"/>
                  </a:lnTo>
                  <a:lnTo>
                    <a:pt x="220" y="528"/>
                  </a:lnTo>
                  <a:lnTo>
                    <a:pt x="218" y="528"/>
                  </a:lnTo>
                  <a:lnTo>
                    <a:pt x="217" y="526"/>
                  </a:lnTo>
                  <a:lnTo>
                    <a:pt x="216" y="526"/>
                  </a:lnTo>
                  <a:lnTo>
                    <a:pt x="216" y="529"/>
                  </a:lnTo>
                  <a:lnTo>
                    <a:pt x="214" y="529"/>
                  </a:lnTo>
                  <a:lnTo>
                    <a:pt x="214" y="530"/>
                  </a:lnTo>
                  <a:lnTo>
                    <a:pt x="215" y="530"/>
                  </a:lnTo>
                  <a:lnTo>
                    <a:pt x="214" y="534"/>
                  </a:lnTo>
                  <a:lnTo>
                    <a:pt x="215" y="535"/>
                  </a:lnTo>
                  <a:lnTo>
                    <a:pt x="216" y="535"/>
                  </a:lnTo>
                  <a:lnTo>
                    <a:pt x="218" y="534"/>
                  </a:lnTo>
                  <a:lnTo>
                    <a:pt x="220" y="533"/>
                  </a:lnTo>
                  <a:lnTo>
                    <a:pt x="221" y="530"/>
                  </a:lnTo>
                  <a:lnTo>
                    <a:pt x="222" y="530"/>
                  </a:lnTo>
                  <a:lnTo>
                    <a:pt x="227" y="530"/>
                  </a:lnTo>
                  <a:lnTo>
                    <a:pt x="229" y="530"/>
                  </a:lnTo>
                  <a:lnTo>
                    <a:pt x="232" y="530"/>
                  </a:lnTo>
                  <a:lnTo>
                    <a:pt x="233" y="531"/>
                  </a:lnTo>
                  <a:lnTo>
                    <a:pt x="233" y="534"/>
                  </a:lnTo>
                  <a:lnTo>
                    <a:pt x="232" y="536"/>
                  </a:lnTo>
                  <a:lnTo>
                    <a:pt x="229" y="536"/>
                  </a:lnTo>
                  <a:lnTo>
                    <a:pt x="228" y="535"/>
                  </a:lnTo>
                  <a:lnTo>
                    <a:pt x="226" y="535"/>
                  </a:lnTo>
                  <a:lnTo>
                    <a:pt x="224" y="535"/>
                  </a:lnTo>
                  <a:lnTo>
                    <a:pt x="224" y="537"/>
                  </a:lnTo>
                  <a:lnTo>
                    <a:pt x="226" y="540"/>
                  </a:lnTo>
                  <a:lnTo>
                    <a:pt x="227" y="541"/>
                  </a:lnTo>
                  <a:lnTo>
                    <a:pt x="230" y="543"/>
                  </a:lnTo>
                  <a:lnTo>
                    <a:pt x="232" y="543"/>
                  </a:lnTo>
                  <a:lnTo>
                    <a:pt x="234" y="543"/>
                  </a:lnTo>
                  <a:lnTo>
                    <a:pt x="233" y="541"/>
                  </a:lnTo>
                  <a:lnTo>
                    <a:pt x="234" y="540"/>
                  </a:lnTo>
                  <a:lnTo>
                    <a:pt x="235" y="537"/>
                  </a:lnTo>
                  <a:lnTo>
                    <a:pt x="235" y="534"/>
                  </a:lnTo>
                  <a:lnTo>
                    <a:pt x="238" y="533"/>
                  </a:lnTo>
                  <a:lnTo>
                    <a:pt x="239" y="534"/>
                  </a:lnTo>
                  <a:lnTo>
                    <a:pt x="240" y="536"/>
                  </a:lnTo>
                  <a:lnTo>
                    <a:pt x="244" y="536"/>
                  </a:lnTo>
                  <a:lnTo>
                    <a:pt x="247" y="535"/>
                  </a:lnTo>
                  <a:lnTo>
                    <a:pt x="248" y="534"/>
                  </a:lnTo>
                  <a:lnTo>
                    <a:pt x="250" y="533"/>
                  </a:lnTo>
                  <a:lnTo>
                    <a:pt x="250" y="531"/>
                  </a:lnTo>
                  <a:lnTo>
                    <a:pt x="248" y="530"/>
                  </a:lnTo>
                  <a:lnTo>
                    <a:pt x="246" y="530"/>
                  </a:lnTo>
                  <a:lnTo>
                    <a:pt x="244" y="529"/>
                  </a:lnTo>
                  <a:lnTo>
                    <a:pt x="247" y="529"/>
                  </a:lnTo>
                  <a:lnTo>
                    <a:pt x="250" y="529"/>
                  </a:lnTo>
                  <a:lnTo>
                    <a:pt x="252" y="528"/>
                  </a:lnTo>
                  <a:lnTo>
                    <a:pt x="253" y="528"/>
                  </a:lnTo>
                  <a:lnTo>
                    <a:pt x="257" y="528"/>
                  </a:lnTo>
                  <a:lnTo>
                    <a:pt x="258" y="528"/>
                  </a:lnTo>
                  <a:lnTo>
                    <a:pt x="259" y="528"/>
                  </a:lnTo>
                  <a:lnTo>
                    <a:pt x="259" y="526"/>
                  </a:lnTo>
                  <a:lnTo>
                    <a:pt x="257" y="525"/>
                  </a:lnTo>
                  <a:lnTo>
                    <a:pt x="258" y="524"/>
                  </a:lnTo>
                  <a:lnTo>
                    <a:pt x="261" y="524"/>
                  </a:lnTo>
                  <a:lnTo>
                    <a:pt x="262" y="524"/>
                  </a:lnTo>
                  <a:lnTo>
                    <a:pt x="264" y="524"/>
                  </a:lnTo>
                  <a:lnTo>
                    <a:pt x="262" y="526"/>
                  </a:lnTo>
                  <a:lnTo>
                    <a:pt x="261" y="528"/>
                  </a:lnTo>
                  <a:lnTo>
                    <a:pt x="263" y="529"/>
                  </a:lnTo>
                  <a:lnTo>
                    <a:pt x="264" y="528"/>
                  </a:lnTo>
                  <a:lnTo>
                    <a:pt x="265" y="525"/>
                  </a:lnTo>
                  <a:lnTo>
                    <a:pt x="265" y="524"/>
                  </a:lnTo>
                  <a:lnTo>
                    <a:pt x="264" y="522"/>
                  </a:lnTo>
                  <a:lnTo>
                    <a:pt x="264" y="520"/>
                  </a:lnTo>
                  <a:lnTo>
                    <a:pt x="265" y="520"/>
                  </a:lnTo>
                  <a:lnTo>
                    <a:pt x="267" y="522"/>
                  </a:lnTo>
                  <a:lnTo>
                    <a:pt x="267" y="523"/>
                  </a:lnTo>
                  <a:lnTo>
                    <a:pt x="268" y="524"/>
                  </a:lnTo>
                  <a:lnTo>
                    <a:pt x="267" y="526"/>
                  </a:lnTo>
                  <a:lnTo>
                    <a:pt x="265" y="530"/>
                  </a:lnTo>
                  <a:lnTo>
                    <a:pt x="264" y="530"/>
                  </a:lnTo>
                  <a:lnTo>
                    <a:pt x="262" y="533"/>
                  </a:lnTo>
                  <a:lnTo>
                    <a:pt x="261" y="534"/>
                  </a:lnTo>
                  <a:lnTo>
                    <a:pt x="264" y="534"/>
                  </a:lnTo>
                  <a:lnTo>
                    <a:pt x="265" y="533"/>
                  </a:lnTo>
                  <a:lnTo>
                    <a:pt x="265" y="534"/>
                  </a:lnTo>
                  <a:lnTo>
                    <a:pt x="264" y="535"/>
                  </a:lnTo>
                  <a:lnTo>
                    <a:pt x="263" y="536"/>
                  </a:lnTo>
                  <a:lnTo>
                    <a:pt x="264" y="537"/>
                  </a:lnTo>
                  <a:lnTo>
                    <a:pt x="267" y="536"/>
                  </a:lnTo>
                  <a:lnTo>
                    <a:pt x="267" y="540"/>
                  </a:lnTo>
                  <a:lnTo>
                    <a:pt x="265" y="541"/>
                  </a:lnTo>
                  <a:lnTo>
                    <a:pt x="263" y="552"/>
                  </a:lnTo>
                  <a:lnTo>
                    <a:pt x="263" y="554"/>
                  </a:lnTo>
                  <a:lnTo>
                    <a:pt x="263" y="555"/>
                  </a:lnTo>
                  <a:lnTo>
                    <a:pt x="263" y="557"/>
                  </a:lnTo>
                  <a:lnTo>
                    <a:pt x="263" y="559"/>
                  </a:lnTo>
                  <a:lnTo>
                    <a:pt x="262" y="563"/>
                  </a:lnTo>
                  <a:lnTo>
                    <a:pt x="264" y="564"/>
                  </a:lnTo>
                  <a:lnTo>
                    <a:pt x="264" y="566"/>
                  </a:lnTo>
                  <a:lnTo>
                    <a:pt x="263" y="566"/>
                  </a:lnTo>
                  <a:lnTo>
                    <a:pt x="265" y="569"/>
                  </a:lnTo>
                  <a:lnTo>
                    <a:pt x="267" y="569"/>
                  </a:lnTo>
                  <a:lnTo>
                    <a:pt x="268" y="571"/>
                  </a:lnTo>
                  <a:lnTo>
                    <a:pt x="270" y="573"/>
                  </a:lnTo>
                  <a:lnTo>
                    <a:pt x="271" y="576"/>
                  </a:lnTo>
                  <a:lnTo>
                    <a:pt x="271" y="579"/>
                  </a:lnTo>
                  <a:lnTo>
                    <a:pt x="273" y="582"/>
                  </a:lnTo>
                  <a:lnTo>
                    <a:pt x="273" y="583"/>
                  </a:lnTo>
                  <a:lnTo>
                    <a:pt x="271" y="588"/>
                  </a:lnTo>
                  <a:lnTo>
                    <a:pt x="271" y="593"/>
                  </a:lnTo>
                  <a:lnTo>
                    <a:pt x="269" y="595"/>
                  </a:lnTo>
                  <a:lnTo>
                    <a:pt x="269" y="596"/>
                  </a:lnTo>
                  <a:lnTo>
                    <a:pt x="269" y="600"/>
                  </a:lnTo>
                  <a:lnTo>
                    <a:pt x="269" y="602"/>
                  </a:lnTo>
                  <a:lnTo>
                    <a:pt x="271" y="602"/>
                  </a:lnTo>
                  <a:lnTo>
                    <a:pt x="273" y="601"/>
                  </a:lnTo>
                  <a:lnTo>
                    <a:pt x="273" y="600"/>
                  </a:lnTo>
                  <a:lnTo>
                    <a:pt x="270" y="600"/>
                  </a:lnTo>
                  <a:lnTo>
                    <a:pt x="270" y="599"/>
                  </a:lnTo>
                  <a:lnTo>
                    <a:pt x="270" y="596"/>
                  </a:lnTo>
                  <a:lnTo>
                    <a:pt x="271" y="595"/>
                  </a:lnTo>
                  <a:lnTo>
                    <a:pt x="273" y="594"/>
                  </a:lnTo>
                  <a:lnTo>
                    <a:pt x="273" y="591"/>
                  </a:lnTo>
                  <a:lnTo>
                    <a:pt x="274" y="591"/>
                  </a:lnTo>
                  <a:lnTo>
                    <a:pt x="275" y="593"/>
                  </a:lnTo>
                  <a:lnTo>
                    <a:pt x="276" y="595"/>
                  </a:lnTo>
                  <a:lnTo>
                    <a:pt x="277" y="597"/>
                  </a:lnTo>
                  <a:lnTo>
                    <a:pt x="279" y="600"/>
                  </a:lnTo>
                  <a:lnTo>
                    <a:pt x="279" y="601"/>
                  </a:lnTo>
                  <a:lnTo>
                    <a:pt x="281" y="603"/>
                  </a:lnTo>
                  <a:lnTo>
                    <a:pt x="281" y="606"/>
                  </a:lnTo>
                  <a:lnTo>
                    <a:pt x="282" y="608"/>
                  </a:lnTo>
                  <a:lnTo>
                    <a:pt x="283" y="611"/>
                  </a:lnTo>
                  <a:lnTo>
                    <a:pt x="285" y="612"/>
                  </a:lnTo>
                  <a:lnTo>
                    <a:pt x="286" y="614"/>
                  </a:lnTo>
                  <a:lnTo>
                    <a:pt x="287" y="617"/>
                  </a:lnTo>
                  <a:lnTo>
                    <a:pt x="288" y="618"/>
                  </a:lnTo>
                  <a:lnTo>
                    <a:pt x="289" y="621"/>
                  </a:lnTo>
                  <a:lnTo>
                    <a:pt x="291" y="621"/>
                  </a:lnTo>
                  <a:lnTo>
                    <a:pt x="291" y="620"/>
                  </a:lnTo>
                  <a:lnTo>
                    <a:pt x="291" y="617"/>
                  </a:lnTo>
                  <a:lnTo>
                    <a:pt x="289" y="614"/>
                  </a:lnTo>
                  <a:lnTo>
                    <a:pt x="285" y="607"/>
                  </a:lnTo>
                  <a:lnTo>
                    <a:pt x="282" y="603"/>
                  </a:lnTo>
                  <a:lnTo>
                    <a:pt x="281" y="600"/>
                  </a:lnTo>
                  <a:lnTo>
                    <a:pt x="279" y="596"/>
                  </a:lnTo>
                  <a:lnTo>
                    <a:pt x="277" y="593"/>
                  </a:lnTo>
                  <a:lnTo>
                    <a:pt x="276" y="590"/>
                  </a:lnTo>
                  <a:lnTo>
                    <a:pt x="275" y="585"/>
                  </a:lnTo>
                  <a:lnTo>
                    <a:pt x="275" y="583"/>
                  </a:lnTo>
                  <a:lnTo>
                    <a:pt x="274" y="576"/>
                  </a:lnTo>
                  <a:lnTo>
                    <a:pt x="270" y="569"/>
                  </a:lnTo>
                  <a:lnTo>
                    <a:pt x="268" y="564"/>
                  </a:lnTo>
                  <a:lnTo>
                    <a:pt x="265" y="559"/>
                  </a:lnTo>
                  <a:lnTo>
                    <a:pt x="265" y="555"/>
                  </a:lnTo>
                  <a:lnTo>
                    <a:pt x="267" y="551"/>
                  </a:lnTo>
                  <a:lnTo>
                    <a:pt x="268" y="545"/>
                  </a:lnTo>
                  <a:lnTo>
                    <a:pt x="270" y="539"/>
                  </a:lnTo>
                  <a:lnTo>
                    <a:pt x="270" y="533"/>
                  </a:lnTo>
                  <a:lnTo>
                    <a:pt x="270" y="524"/>
                  </a:lnTo>
                  <a:lnTo>
                    <a:pt x="271" y="522"/>
                  </a:lnTo>
                  <a:lnTo>
                    <a:pt x="273" y="519"/>
                  </a:lnTo>
                  <a:lnTo>
                    <a:pt x="274" y="510"/>
                  </a:lnTo>
                  <a:lnTo>
                    <a:pt x="275" y="508"/>
                  </a:lnTo>
                  <a:lnTo>
                    <a:pt x="277" y="507"/>
                  </a:lnTo>
                  <a:lnTo>
                    <a:pt x="277" y="511"/>
                  </a:lnTo>
                  <a:lnTo>
                    <a:pt x="277" y="512"/>
                  </a:lnTo>
                  <a:lnTo>
                    <a:pt x="277" y="513"/>
                  </a:lnTo>
                  <a:lnTo>
                    <a:pt x="276" y="514"/>
                  </a:lnTo>
                  <a:lnTo>
                    <a:pt x="276" y="516"/>
                  </a:lnTo>
                  <a:lnTo>
                    <a:pt x="275" y="517"/>
                  </a:lnTo>
                  <a:lnTo>
                    <a:pt x="275" y="518"/>
                  </a:lnTo>
                  <a:lnTo>
                    <a:pt x="274" y="520"/>
                  </a:lnTo>
                  <a:lnTo>
                    <a:pt x="273" y="524"/>
                  </a:lnTo>
                  <a:lnTo>
                    <a:pt x="273" y="525"/>
                  </a:lnTo>
                  <a:lnTo>
                    <a:pt x="271" y="528"/>
                  </a:lnTo>
                  <a:lnTo>
                    <a:pt x="271" y="531"/>
                  </a:lnTo>
                  <a:lnTo>
                    <a:pt x="271" y="534"/>
                  </a:lnTo>
                  <a:lnTo>
                    <a:pt x="271" y="536"/>
                  </a:lnTo>
                  <a:lnTo>
                    <a:pt x="271" y="539"/>
                  </a:lnTo>
                  <a:lnTo>
                    <a:pt x="271" y="541"/>
                  </a:lnTo>
                  <a:lnTo>
                    <a:pt x="270" y="545"/>
                  </a:lnTo>
                  <a:lnTo>
                    <a:pt x="271" y="547"/>
                  </a:lnTo>
                  <a:lnTo>
                    <a:pt x="270" y="548"/>
                  </a:lnTo>
                  <a:lnTo>
                    <a:pt x="269" y="551"/>
                  </a:lnTo>
                  <a:lnTo>
                    <a:pt x="269" y="552"/>
                  </a:lnTo>
                  <a:lnTo>
                    <a:pt x="270" y="555"/>
                  </a:lnTo>
                  <a:lnTo>
                    <a:pt x="269" y="557"/>
                  </a:lnTo>
                  <a:lnTo>
                    <a:pt x="268" y="558"/>
                  </a:lnTo>
                  <a:lnTo>
                    <a:pt x="270" y="559"/>
                  </a:lnTo>
                  <a:lnTo>
                    <a:pt x="270" y="560"/>
                  </a:lnTo>
                  <a:lnTo>
                    <a:pt x="269" y="561"/>
                  </a:lnTo>
                  <a:lnTo>
                    <a:pt x="269" y="563"/>
                  </a:lnTo>
                  <a:lnTo>
                    <a:pt x="271" y="564"/>
                  </a:lnTo>
                  <a:lnTo>
                    <a:pt x="273" y="564"/>
                  </a:lnTo>
                  <a:lnTo>
                    <a:pt x="274" y="564"/>
                  </a:lnTo>
                  <a:lnTo>
                    <a:pt x="275" y="563"/>
                  </a:lnTo>
                  <a:lnTo>
                    <a:pt x="274" y="561"/>
                  </a:lnTo>
                  <a:lnTo>
                    <a:pt x="273" y="561"/>
                  </a:lnTo>
                  <a:lnTo>
                    <a:pt x="274" y="559"/>
                  </a:lnTo>
                  <a:lnTo>
                    <a:pt x="275" y="559"/>
                  </a:lnTo>
                  <a:lnTo>
                    <a:pt x="276" y="559"/>
                  </a:lnTo>
                  <a:lnTo>
                    <a:pt x="280" y="558"/>
                  </a:lnTo>
                  <a:lnTo>
                    <a:pt x="279" y="557"/>
                  </a:lnTo>
                  <a:lnTo>
                    <a:pt x="276" y="557"/>
                  </a:lnTo>
                  <a:lnTo>
                    <a:pt x="275" y="555"/>
                  </a:lnTo>
                  <a:lnTo>
                    <a:pt x="276" y="555"/>
                  </a:lnTo>
                  <a:lnTo>
                    <a:pt x="277" y="554"/>
                  </a:lnTo>
                  <a:lnTo>
                    <a:pt x="277" y="553"/>
                  </a:lnTo>
                  <a:lnTo>
                    <a:pt x="276" y="552"/>
                  </a:lnTo>
                  <a:lnTo>
                    <a:pt x="275" y="551"/>
                  </a:lnTo>
                  <a:lnTo>
                    <a:pt x="275" y="549"/>
                  </a:lnTo>
                  <a:lnTo>
                    <a:pt x="274" y="547"/>
                  </a:lnTo>
                  <a:lnTo>
                    <a:pt x="274" y="546"/>
                  </a:lnTo>
                  <a:lnTo>
                    <a:pt x="273" y="543"/>
                  </a:lnTo>
                  <a:lnTo>
                    <a:pt x="273" y="540"/>
                  </a:lnTo>
                  <a:lnTo>
                    <a:pt x="273" y="536"/>
                  </a:lnTo>
                  <a:lnTo>
                    <a:pt x="273" y="531"/>
                  </a:lnTo>
                  <a:lnTo>
                    <a:pt x="274" y="526"/>
                  </a:lnTo>
                  <a:lnTo>
                    <a:pt x="275" y="522"/>
                  </a:lnTo>
                  <a:lnTo>
                    <a:pt x="276" y="519"/>
                  </a:lnTo>
                  <a:lnTo>
                    <a:pt x="277" y="518"/>
                  </a:lnTo>
                  <a:lnTo>
                    <a:pt x="277" y="519"/>
                  </a:lnTo>
                  <a:lnTo>
                    <a:pt x="279" y="520"/>
                  </a:lnTo>
                  <a:lnTo>
                    <a:pt x="280" y="522"/>
                  </a:lnTo>
                  <a:lnTo>
                    <a:pt x="280" y="523"/>
                  </a:lnTo>
                  <a:lnTo>
                    <a:pt x="279" y="525"/>
                  </a:lnTo>
                  <a:lnTo>
                    <a:pt x="279" y="529"/>
                  </a:lnTo>
                  <a:lnTo>
                    <a:pt x="279" y="530"/>
                  </a:lnTo>
                  <a:lnTo>
                    <a:pt x="280" y="528"/>
                  </a:lnTo>
                  <a:lnTo>
                    <a:pt x="280" y="525"/>
                  </a:lnTo>
                  <a:lnTo>
                    <a:pt x="280" y="524"/>
                  </a:lnTo>
                  <a:lnTo>
                    <a:pt x="281" y="524"/>
                  </a:lnTo>
                  <a:lnTo>
                    <a:pt x="281" y="528"/>
                  </a:lnTo>
                  <a:lnTo>
                    <a:pt x="281" y="531"/>
                  </a:lnTo>
                  <a:lnTo>
                    <a:pt x="281" y="534"/>
                  </a:lnTo>
                  <a:lnTo>
                    <a:pt x="280" y="537"/>
                  </a:lnTo>
                  <a:lnTo>
                    <a:pt x="279" y="539"/>
                  </a:lnTo>
                  <a:lnTo>
                    <a:pt x="277" y="539"/>
                  </a:lnTo>
                  <a:lnTo>
                    <a:pt x="281" y="540"/>
                  </a:lnTo>
                  <a:lnTo>
                    <a:pt x="282" y="539"/>
                  </a:lnTo>
                  <a:lnTo>
                    <a:pt x="282" y="537"/>
                  </a:lnTo>
                  <a:lnTo>
                    <a:pt x="283" y="535"/>
                  </a:lnTo>
                  <a:lnTo>
                    <a:pt x="285" y="536"/>
                  </a:lnTo>
                  <a:lnTo>
                    <a:pt x="285" y="539"/>
                  </a:lnTo>
                  <a:lnTo>
                    <a:pt x="285" y="541"/>
                  </a:lnTo>
                  <a:lnTo>
                    <a:pt x="286" y="542"/>
                  </a:lnTo>
                  <a:lnTo>
                    <a:pt x="287" y="542"/>
                  </a:lnTo>
                  <a:lnTo>
                    <a:pt x="287" y="539"/>
                  </a:lnTo>
                  <a:lnTo>
                    <a:pt x="288" y="537"/>
                  </a:lnTo>
                  <a:lnTo>
                    <a:pt x="287" y="536"/>
                  </a:lnTo>
                  <a:lnTo>
                    <a:pt x="286" y="534"/>
                  </a:lnTo>
                  <a:lnTo>
                    <a:pt x="283" y="533"/>
                  </a:lnTo>
                  <a:lnTo>
                    <a:pt x="282" y="530"/>
                  </a:lnTo>
                  <a:lnTo>
                    <a:pt x="282" y="528"/>
                  </a:lnTo>
                  <a:lnTo>
                    <a:pt x="282" y="524"/>
                  </a:lnTo>
                  <a:lnTo>
                    <a:pt x="282" y="522"/>
                  </a:lnTo>
                  <a:lnTo>
                    <a:pt x="282" y="519"/>
                  </a:lnTo>
                  <a:lnTo>
                    <a:pt x="280" y="518"/>
                  </a:lnTo>
                  <a:lnTo>
                    <a:pt x="279" y="517"/>
                  </a:lnTo>
                  <a:lnTo>
                    <a:pt x="279" y="516"/>
                  </a:lnTo>
                  <a:lnTo>
                    <a:pt x="279" y="513"/>
                  </a:lnTo>
                  <a:lnTo>
                    <a:pt x="279" y="511"/>
                  </a:lnTo>
                  <a:lnTo>
                    <a:pt x="279" y="508"/>
                  </a:lnTo>
                  <a:lnTo>
                    <a:pt x="281" y="511"/>
                  </a:lnTo>
                  <a:lnTo>
                    <a:pt x="282" y="513"/>
                  </a:lnTo>
                  <a:lnTo>
                    <a:pt x="283" y="513"/>
                  </a:lnTo>
                  <a:lnTo>
                    <a:pt x="283" y="514"/>
                  </a:lnTo>
                  <a:lnTo>
                    <a:pt x="282" y="514"/>
                  </a:lnTo>
                  <a:lnTo>
                    <a:pt x="281" y="516"/>
                  </a:lnTo>
                  <a:lnTo>
                    <a:pt x="281" y="517"/>
                  </a:lnTo>
                  <a:lnTo>
                    <a:pt x="283" y="518"/>
                  </a:lnTo>
                  <a:lnTo>
                    <a:pt x="286" y="518"/>
                  </a:lnTo>
                  <a:lnTo>
                    <a:pt x="287" y="517"/>
                  </a:lnTo>
                  <a:lnTo>
                    <a:pt x="287" y="516"/>
                  </a:lnTo>
                  <a:lnTo>
                    <a:pt x="286" y="514"/>
                  </a:lnTo>
                  <a:lnTo>
                    <a:pt x="287" y="513"/>
                  </a:lnTo>
                  <a:lnTo>
                    <a:pt x="288" y="514"/>
                  </a:lnTo>
                  <a:lnTo>
                    <a:pt x="289" y="517"/>
                  </a:lnTo>
                  <a:lnTo>
                    <a:pt x="289" y="519"/>
                  </a:lnTo>
                  <a:lnTo>
                    <a:pt x="287" y="518"/>
                  </a:lnTo>
                  <a:lnTo>
                    <a:pt x="287" y="519"/>
                  </a:lnTo>
                  <a:lnTo>
                    <a:pt x="286" y="520"/>
                  </a:lnTo>
                  <a:lnTo>
                    <a:pt x="287" y="523"/>
                  </a:lnTo>
                  <a:lnTo>
                    <a:pt x="289" y="523"/>
                  </a:lnTo>
                  <a:lnTo>
                    <a:pt x="292" y="523"/>
                  </a:lnTo>
                  <a:lnTo>
                    <a:pt x="293" y="522"/>
                  </a:lnTo>
                  <a:lnTo>
                    <a:pt x="298" y="520"/>
                  </a:lnTo>
                  <a:lnTo>
                    <a:pt x="298" y="522"/>
                  </a:lnTo>
                  <a:lnTo>
                    <a:pt x="299" y="519"/>
                  </a:lnTo>
                  <a:lnTo>
                    <a:pt x="300" y="518"/>
                  </a:lnTo>
                  <a:lnTo>
                    <a:pt x="300" y="517"/>
                  </a:lnTo>
                  <a:lnTo>
                    <a:pt x="301" y="520"/>
                  </a:lnTo>
                  <a:lnTo>
                    <a:pt x="304" y="520"/>
                  </a:lnTo>
                  <a:lnTo>
                    <a:pt x="305" y="522"/>
                  </a:lnTo>
                  <a:lnTo>
                    <a:pt x="303" y="522"/>
                  </a:lnTo>
                  <a:lnTo>
                    <a:pt x="301" y="523"/>
                  </a:lnTo>
                  <a:lnTo>
                    <a:pt x="299" y="523"/>
                  </a:lnTo>
                  <a:lnTo>
                    <a:pt x="298" y="523"/>
                  </a:lnTo>
                  <a:lnTo>
                    <a:pt x="298" y="524"/>
                  </a:lnTo>
                  <a:lnTo>
                    <a:pt x="300" y="525"/>
                  </a:lnTo>
                  <a:lnTo>
                    <a:pt x="299" y="528"/>
                  </a:lnTo>
                  <a:lnTo>
                    <a:pt x="298" y="528"/>
                  </a:lnTo>
                  <a:lnTo>
                    <a:pt x="298" y="530"/>
                  </a:lnTo>
                  <a:lnTo>
                    <a:pt x="297" y="533"/>
                  </a:lnTo>
                  <a:lnTo>
                    <a:pt x="295" y="531"/>
                  </a:lnTo>
                  <a:lnTo>
                    <a:pt x="295" y="529"/>
                  </a:lnTo>
                  <a:lnTo>
                    <a:pt x="293" y="530"/>
                  </a:lnTo>
                  <a:lnTo>
                    <a:pt x="292" y="531"/>
                  </a:lnTo>
                  <a:lnTo>
                    <a:pt x="292" y="534"/>
                  </a:lnTo>
                  <a:lnTo>
                    <a:pt x="291" y="535"/>
                  </a:lnTo>
                  <a:lnTo>
                    <a:pt x="291" y="536"/>
                  </a:lnTo>
                  <a:lnTo>
                    <a:pt x="293" y="536"/>
                  </a:lnTo>
                  <a:lnTo>
                    <a:pt x="294" y="536"/>
                  </a:lnTo>
                  <a:lnTo>
                    <a:pt x="295" y="539"/>
                  </a:lnTo>
                  <a:lnTo>
                    <a:pt x="298" y="539"/>
                  </a:lnTo>
                  <a:lnTo>
                    <a:pt x="297" y="540"/>
                  </a:lnTo>
                  <a:lnTo>
                    <a:pt x="295" y="540"/>
                  </a:lnTo>
                  <a:lnTo>
                    <a:pt x="294" y="540"/>
                  </a:lnTo>
                  <a:lnTo>
                    <a:pt x="293" y="540"/>
                  </a:lnTo>
                  <a:lnTo>
                    <a:pt x="292" y="540"/>
                  </a:lnTo>
                  <a:lnTo>
                    <a:pt x="291" y="540"/>
                  </a:lnTo>
                  <a:lnTo>
                    <a:pt x="289" y="541"/>
                  </a:lnTo>
                  <a:lnTo>
                    <a:pt x="288" y="542"/>
                  </a:lnTo>
                  <a:lnTo>
                    <a:pt x="288" y="543"/>
                  </a:lnTo>
                  <a:lnTo>
                    <a:pt x="287" y="545"/>
                  </a:lnTo>
                  <a:lnTo>
                    <a:pt x="286" y="545"/>
                  </a:lnTo>
                  <a:lnTo>
                    <a:pt x="285" y="543"/>
                  </a:lnTo>
                  <a:lnTo>
                    <a:pt x="282" y="543"/>
                  </a:lnTo>
                  <a:lnTo>
                    <a:pt x="282" y="545"/>
                  </a:lnTo>
                  <a:lnTo>
                    <a:pt x="282" y="547"/>
                  </a:lnTo>
                  <a:lnTo>
                    <a:pt x="283" y="548"/>
                  </a:lnTo>
                  <a:lnTo>
                    <a:pt x="285" y="548"/>
                  </a:lnTo>
                  <a:lnTo>
                    <a:pt x="287" y="548"/>
                  </a:lnTo>
                  <a:lnTo>
                    <a:pt x="286" y="549"/>
                  </a:lnTo>
                  <a:lnTo>
                    <a:pt x="286" y="552"/>
                  </a:lnTo>
                  <a:lnTo>
                    <a:pt x="287" y="554"/>
                  </a:lnTo>
                  <a:lnTo>
                    <a:pt x="288" y="554"/>
                  </a:lnTo>
                  <a:lnTo>
                    <a:pt x="289" y="553"/>
                  </a:lnTo>
                  <a:lnTo>
                    <a:pt x="289" y="551"/>
                  </a:lnTo>
                  <a:lnTo>
                    <a:pt x="291" y="549"/>
                  </a:lnTo>
                  <a:lnTo>
                    <a:pt x="292" y="548"/>
                  </a:lnTo>
                  <a:lnTo>
                    <a:pt x="294" y="548"/>
                  </a:lnTo>
                  <a:lnTo>
                    <a:pt x="295" y="546"/>
                  </a:lnTo>
                  <a:lnTo>
                    <a:pt x="297" y="545"/>
                  </a:lnTo>
                  <a:lnTo>
                    <a:pt x="299" y="545"/>
                  </a:lnTo>
                  <a:lnTo>
                    <a:pt x="300" y="545"/>
                  </a:lnTo>
                  <a:lnTo>
                    <a:pt x="300" y="542"/>
                  </a:lnTo>
                  <a:lnTo>
                    <a:pt x="300" y="541"/>
                  </a:lnTo>
                  <a:lnTo>
                    <a:pt x="300" y="540"/>
                  </a:lnTo>
                  <a:lnTo>
                    <a:pt x="303" y="537"/>
                  </a:lnTo>
                  <a:lnTo>
                    <a:pt x="304" y="534"/>
                  </a:lnTo>
                  <a:lnTo>
                    <a:pt x="305" y="533"/>
                  </a:lnTo>
                  <a:lnTo>
                    <a:pt x="304" y="530"/>
                  </a:lnTo>
                  <a:lnTo>
                    <a:pt x="304" y="529"/>
                  </a:lnTo>
                  <a:lnTo>
                    <a:pt x="304" y="526"/>
                  </a:lnTo>
                  <a:lnTo>
                    <a:pt x="305" y="525"/>
                  </a:lnTo>
                  <a:lnTo>
                    <a:pt x="307" y="525"/>
                  </a:lnTo>
                  <a:lnTo>
                    <a:pt x="310" y="525"/>
                  </a:lnTo>
                  <a:lnTo>
                    <a:pt x="311" y="525"/>
                  </a:lnTo>
                  <a:lnTo>
                    <a:pt x="312" y="528"/>
                  </a:lnTo>
                  <a:lnTo>
                    <a:pt x="310" y="529"/>
                  </a:lnTo>
                  <a:lnTo>
                    <a:pt x="309" y="528"/>
                  </a:lnTo>
                  <a:lnTo>
                    <a:pt x="306" y="528"/>
                  </a:lnTo>
                  <a:lnTo>
                    <a:pt x="305" y="529"/>
                  </a:lnTo>
                  <a:lnTo>
                    <a:pt x="306" y="530"/>
                  </a:lnTo>
                  <a:lnTo>
                    <a:pt x="305" y="533"/>
                  </a:lnTo>
                  <a:lnTo>
                    <a:pt x="305" y="535"/>
                  </a:lnTo>
                  <a:lnTo>
                    <a:pt x="304" y="537"/>
                  </a:lnTo>
                  <a:lnTo>
                    <a:pt x="304" y="540"/>
                  </a:lnTo>
                  <a:lnTo>
                    <a:pt x="303" y="540"/>
                  </a:lnTo>
                  <a:lnTo>
                    <a:pt x="301" y="542"/>
                  </a:lnTo>
                  <a:lnTo>
                    <a:pt x="300" y="546"/>
                  </a:lnTo>
                  <a:lnTo>
                    <a:pt x="300" y="548"/>
                  </a:lnTo>
                  <a:lnTo>
                    <a:pt x="299" y="551"/>
                  </a:lnTo>
                  <a:lnTo>
                    <a:pt x="301" y="552"/>
                  </a:lnTo>
                  <a:lnTo>
                    <a:pt x="304" y="551"/>
                  </a:lnTo>
                  <a:lnTo>
                    <a:pt x="305" y="551"/>
                  </a:lnTo>
                  <a:lnTo>
                    <a:pt x="306" y="549"/>
                  </a:lnTo>
                  <a:lnTo>
                    <a:pt x="307" y="548"/>
                  </a:lnTo>
                  <a:lnTo>
                    <a:pt x="310" y="548"/>
                  </a:lnTo>
                  <a:lnTo>
                    <a:pt x="310" y="549"/>
                  </a:lnTo>
                  <a:lnTo>
                    <a:pt x="309" y="551"/>
                  </a:lnTo>
                  <a:lnTo>
                    <a:pt x="310" y="551"/>
                  </a:lnTo>
                  <a:lnTo>
                    <a:pt x="311" y="549"/>
                  </a:lnTo>
                  <a:lnTo>
                    <a:pt x="312" y="549"/>
                  </a:lnTo>
                  <a:lnTo>
                    <a:pt x="314" y="547"/>
                  </a:lnTo>
                  <a:lnTo>
                    <a:pt x="315" y="547"/>
                  </a:lnTo>
                  <a:lnTo>
                    <a:pt x="315" y="546"/>
                  </a:lnTo>
                  <a:lnTo>
                    <a:pt x="316" y="543"/>
                  </a:lnTo>
                  <a:lnTo>
                    <a:pt x="317" y="542"/>
                  </a:lnTo>
                  <a:lnTo>
                    <a:pt x="320" y="543"/>
                  </a:lnTo>
                  <a:lnTo>
                    <a:pt x="321" y="541"/>
                  </a:lnTo>
                  <a:lnTo>
                    <a:pt x="321" y="540"/>
                  </a:lnTo>
                  <a:lnTo>
                    <a:pt x="321" y="537"/>
                  </a:lnTo>
                  <a:lnTo>
                    <a:pt x="322" y="536"/>
                  </a:lnTo>
                  <a:lnTo>
                    <a:pt x="323" y="537"/>
                  </a:lnTo>
                  <a:lnTo>
                    <a:pt x="322" y="540"/>
                  </a:lnTo>
                  <a:lnTo>
                    <a:pt x="322" y="541"/>
                  </a:lnTo>
                  <a:lnTo>
                    <a:pt x="321" y="546"/>
                  </a:lnTo>
                  <a:lnTo>
                    <a:pt x="323" y="546"/>
                  </a:lnTo>
                  <a:lnTo>
                    <a:pt x="326" y="546"/>
                  </a:lnTo>
                  <a:lnTo>
                    <a:pt x="328" y="546"/>
                  </a:lnTo>
                  <a:lnTo>
                    <a:pt x="328" y="543"/>
                  </a:lnTo>
                  <a:lnTo>
                    <a:pt x="326" y="541"/>
                  </a:lnTo>
                  <a:lnTo>
                    <a:pt x="326" y="540"/>
                  </a:lnTo>
                  <a:lnTo>
                    <a:pt x="328" y="540"/>
                  </a:lnTo>
                  <a:lnTo>
                    <a:pt x="329" y="542"/>
                  </a:lnTo>
                  <a:lnTo>
                    <a:pt x="329" y="545"/>
                  </a:lnTo>
                  <a:lnTo>
                    <a:pt x="330" y="543"/>
                  </a:lnTo>
                  <a:lnTo>
                    <a:pt x="330" y="541"/>
                  </a:lnTo>
                  <a:lnTo>
                    <a:pt x="332" y="540"/>
                  </a:lnTo>
                  <a:lnTo>
                    <a:pt x="335" y="540"/>
                  </a:lnTo>
                  <a:lnTo>
                    <a:pt x="338" y="537"/>
                  </a:lnTo>
                  <a:lnTo>
                    <a:pt x="339" y="535"/>
                  </a:lnTo>
                  <a:lnTo>
                    <a:pt x="339" y="534"/>
                  </a:lnTo>
                  <a:lnTo>
                    <a:pt x="338" y="533"/>
                  </a:lnTo>
                  <a:lnTo>
                    <a:pt x="336" y="533"/>
                  </a:lnTo>
                  <a:lnTo>
                    <a:pt x="334" y="534"/>
                  </a:lnTo>
                  <a:lnTo>
                    <a:pt x="333" y="533"/>
                  </a:lnTo>
                  <a:lnTo>
                    <a:pt x="333" y="531"/>
                  </a:lnTo>
                  <a:lnTo>
                    <a:pt x="333" y="533"/>
                  </a:lnTo>
                  <a:lnTo>
                    <a:pt x="332" y="535"/>
                  </a:lnTo>
                  <a:lnTo>
                    <a:pt x="330" y="535"/>
                  </a:lnTo>
                  <a:lnTo>
                    <a:pt x="327" y="534"/>
                  </a:lnTo>
                  <a:lnTo>
                    <a:pt x="328" y="531"/>
                  </a:lnTo>
                  <a:lnTo>
                    <a:pt x="329" y="529"/>
                  </a:lnTo>
                  <a:lnTo>
                    <a:pt x="330" y="530"/>
                  </a:lnTo>
                  <a:lnTo>
                    <a:pt x="332" y="530"/>
                  </a:lnTo>
                  <a:lnTo>
                    <a:pt x="334" y="530"/>
                  </a:lnTo>
                  <a:lnTo>
                    <a:pt x="334" y="528"/>
                  </a:lnTo>
                  <a:lnTo>
                    <a:pt x="334" y="525"/>
                  </a:lnTo>
                  <a:lnTo>
                    <a:pt x="334" y="522"/>
                  </a:lnTo>
                  <a:lnTo>
                    <a:pt x="333" y="522"/>
                  </a:lnTo>
                  <a:lnTo>
                    <a:pt x="330" y="522"/>
                  </a:lnTo>
                  <a:lnTo>
                    <a:pt x="330" y="524"/>
                  </a:lnTo>
                  <a:lnTo>
                    <a:pt x="329" y="525"/>
                  </a:lnTo>
                  <a:lnTo>
                    <a:pt x="328" y="525"/>
                  </a:lnTo>
                  <a:lnTo>
                    <a:pt x="327" y="526"/>
                  </a:lnTo>
                  <a:lnTo>
                    <a:pt x="327" y="529"/>
                  </a:lnTo>
                  <a:lnTo>
                    <a:pt x="324" y="529"/>
                  </a:lnTo>
                  <a:lnTo>
                    <a:pt x="324" y="528"/>
                  </a:lnTo>
                  <a:lnTo>
                    <a:pt x="327" y="525"/>
                  </a:lnTo>
                  <a:lnTo>
                    <a:pt x="327" y="524"/>
                  </a:lnTo>
                  <a:lnTo>
                    <a:pt x="329" y="522"/>
                  </a:lnTo>
                  <a:lnTo>
                    <a:pt x="332" y="520"/>
                  </a:lnTo>
                  <a:lnTo>
                    <a:pt x="333" y="520"/>
                  </a:lnTo>
                  <a:lnTo>
                    <a:pt x="335" y="518"/>
                  </a:lnTo>
                  <a:lnTo>
                    <a:pt x="336" y="517"/>
                  </a:lnTo>
                  <a:lnTo>
                    <a:pt x="338" y="517"/>
                  </a:lnTo>
                  <a:lnTo>
                    <a:pt x="339" y="518"/>
                  </a:lnTo>
                  <a:lnTo>
                    <a:pt x="339" y="522"/>
                  </a:lnTo>
                  <a:lnTo>
                    <a:pt x="336" y="523"/>
                  </a:lnTo>
                  <a:lnTo>
                    <a:pt x="336" y="525"/>
                  </a:lnTo>
                  <a:lnTo>
                    <a:pt x="335" y="528"/>
                  </a:lnTo>
                  <a:lnTo>
                    <a:pt x="335" y="529"/>
                  </a:lnTo>
                  <a:lnTo>
                    <a:pt x="338" y="526"/>
                  </a:lnTo>
                  <a:lnTo>
                    <a:pt x="339" y="524"/>
                  </a:lnTo>
                  <a:lnTo>
                    <a:pt x="341" y="520"/>
                  </a:lnTo>
                  <a:lnTo>
                    <a:pt x="341" y="518"/>
                  </a:lnTo>
                  <a:lnTo>
                    <a:pt x="342" y="517"/>
                  </a:lnTo>
                  <a:lnTo>
                    <a:pt x="345" y="517"/>
                  </a:lnTo>
                  <a:lnTo>
                    <a:pt x="346" y="516"/>
                  </a:lnTo>
                  <a:lnTo>
                    <a:pt x="347" y="514"/>
                  </a:lnTo>
                  <a:lnTo>
                    <a:pt x="350" y="513"/>
                  </a:lnTo>
                  <a:lnTo>
                    <a:pt x="351" y="513"/>
                  </a:lnTo>
                  <a:lnTo>
                    <a:pt x="353" y="511"/>
                  </a:lnTo>
                  <a:lnTo>
                    <a:pt x="353" y="510"/>
                  </a:lnTo>
                  <a:lnTo>
                    <a:pt x="354" y="510"/>
                  </a:lnTo>
                  <a:lnTo>
                    <a:pt x="356" y="514"/>
                  </a:lnTo>
                  <a:lnTo>
                    <a:pt x="356" y="516"/>
                  </a:lnTo>
                  <a:lnTo>
                    <a:pt x="356" y="517"/>
                  </a:lnTo>
                  <a:lnTo>
                    <a:pt x="354" y="518"/>
                  </a:lnTo>
                  <a:lnTo>
                    <a:pt x="352" y="519"/>
                  </a:lnTo>
                  <a:lnTo>
                    <a:pt x="351" y="517"/>
                  </a:lnTo>
                  <a:lnTo>
                    <a:pt x="351" y="516"/>
                  </a:lnTo>
                  <a:lnTo>
                    <a:pt x="348" y="516"/>
                  </a:lnTo>
                  <a:lnTo>
                    <a:pt x="348" y="517"/>
                  </a:lnTo>
                  <a:lnTo>
                    <a:pt x="348" y="519"/>
                  </a:lnTo>
                  <a:lnTo>
                    <a:pt x="351" y="520"/>
                  </a:lnTo>
                  <a:lnTo>
                    <a:pt x="352" y="522"/>
                  </a:lnTo>
                  <a:lnTo>
                    <a:pt x="354" y="523"/>
                  </a:lnTo>
                  <a:lnTo>
                    <a:pt x="354" y="522"/>
                  </a:lnTo>
                  <a:lnTo>
                    <a:pt x="354" y="523"/>
                  </a:lnTo>
                  <a:lnTo>
                    <a:pt x="353" y="525"/>
                  </a:lnTo>
                  <a:lnTo>
                    <a:pt x="350" y="528"/>
                  </a:lnTo>
                  <a:lnTo>
                    <a:pt x="348" y="529"/>
                  </a:lnTo>
                  <a:lnTo>
                    <a:pt x="347" y="531"/>
                  </a:lnTo>
                  <a:lnTo>
                    <a:pt x="346" y="534"/>
                  </a:lnTo>
                  <a:lnTo>
                    <a:pt x="345" y="536"/>
                  </a:lnTo>
                  <a:lnTo>
                    <a:pt x="344" y="537"/>
                  </a:lnTo>
                  <a:lnTo>
                    <a:pt x="342" y="541"/>
                  </a:lnTo>
                  <a:lnTo>
                    <a:pt x="340" y="545"/>
                  </a:lnTo>
                  <a:lnTo>
                    <a:pt x="339" y="545"/>
                  </a:lnTo>
                  <a:lnTo>
                    <a:pt x="336" y="546"/>
                  </a:lnTo>
                  <a:lnTo>
                    <a:pt x="335" y="546"/>
                  </a:lnTo>
                  <a:lnTo>
                    <a:pt x="334" y="545"/>
                  </a:lnTo>
                  <a:lnTo>
                    <a:pt x="333" y="545"/>
                  </a:lnTo>
                  <a:lnTo>
                    <a:pt x="333" y="546"/>
                  </a:lnTo>
                  <a:lnTo>
                    <a:pt x="330" y="547"/>
                  </a:lnTo>
                  <a:lnTo>
                    <a:pt x="330" y="549"/>
                  </a:lnTo>
                  <a:lnTo>
                    <a:pt x="333" y="551"/>
                  </a:lnTo>
                  <a:lnTo>
                    <a:pt x="334" y="551"/>
                  </a:lnTo>
                  <a:lnTo>
                    <a:pt x="334" y="548"/>
                  </a:lnTo>
                  <a:lnTo>
                    <a:pt x="335" y="547"/>
                  </a:lnTo>
                  <a:lnTo>
                    <a:pt x="339" y="547"/>
                  </a:lnTo>
                  <a:lnTo>
                    <a:pt x="341" y="546"/>
                  </a:lnTo>
                  <a:lnTo>
                    <a:pt x="345" y="543"/>
                  </a:lnTo>
                  <a:lnTo>
                    <a:pt x="345" y="541"/>
                  </a:lnTo>
                  <a:lnTo>
                    <a:pt x="345" y="545"/>
                  </a:lnTo>
                  <a:lnTo>
                    <a:pt x="344" y="547"/>
                  </a:lnTo>
                  <a:lnTo>
                    <a:pt x="342" y="549"/>
                  </a:lnTo>
                  <a:lnTo>
                    <a:pt x="340" y="553"/>
                  </a:lnTo>
                  <a:lnTo>
                    <a:pt x="339" y="557"/>
                  </a:lnTo>
                  <a:lnTo>
                    <a:pt x="336" y="558"/>
                  </a:lnTo>
                  <a:lnTo>
                    <a:pt x="338" y="560"/>
                  </a:lnTo>
                  <a:lnTo>
                    <a:pt x="340" y="557"/>
                  </a:lnTo>
                  <a:lnTo>
                    <a:pt x="341" y="554"/>
                  </a:lnTo>
                  <a:lnTo>
                    <a:pt x="344" y="552"/>
                  </a:lnTo>
                  <a:lnTo>
                    <a:pt x="345" y="549"/>
                  </a:lnTo>
                  <a:lnTo>
                    <a:pt x="346" y="547"/>
                  </a:lnTo>
                  <a:lnTo>
                    <a:pt x="347" y="545"/>
                  </a:lnTo>
                  <a:lnTo>
                    <a:pt x="347" y="551"/>
                  </a:lnTo>
                  <a:lnTo>
                    <a:pt x="348" y="552"/>
                  </a:lnTo>
                  <a:lnTo>
                    <a:pt x="350" y="553"/>
                  </a:lnTo>
                  <a:lnTo>
                    <a:pt x="351" y="553"/>
                  </a:lnTo>
                  <a:lnTo>
                    <a:pt x="350" y="551"/>
                  </a:lnTo>
                  <a:lnTo>
                    <a:pt x="350" y="549"/>
                  </a:lnTo>
                  <a:lnTo>
                    <a:pt x="350" y="548"/>
                  </a:lnTo>
                  <a:lnTo>
                    <a:pt x="348" y="546"/>
                  </a:lnTo>
                  <a:lnTo>
                    <a:pt x="348" y="543"/>
                  </a:lnTo>
                  <a:lnTo>
                    <a:pt x="348" y="541"/>
                  </a:lnTo>
                  <a:lnTo>
                    <a:pt x="347" y="539"/>
                  </a:lnTo>
                  <a:lnTo>
                    <a:pt x="347" y="537"/>
                  </a:lnTo>
                  <a:lnTo>
                    <a:pt x="351" y="539"/>
                  </a:lnTo>
                  <a:lnTo>
                    <a:pt x="352" y="542"/>
                  </a:lnTo>
                  <a:lnTo>
                    <a:pt x="354" y="545"/>
                  </a:lnTo>
                  <a:lnTo>
                    <a:pt x="354" y="542"/>
                  </a:lnTo>
                  <a:lnTo>
                    <a:pt x="353" y="541"/>
                  </a:lnTo>
                  <a:lnTo>
                    <a:pt x="352" y="539"/>
                  </a:lnTo>
                  <a:lnTo>
                    <a:pt x="351" y="537"/>
                  </a:lnTo>
                  <a:lnTo>
                    <a:pt x="348" y="536"/>
                  </a:lnTo>
                  <a:lnTo>
                    <a:pt x="348" y="534"/>
                  </a:lnTo>
                  <a:lnTo>
                    <a:pt x="350" y="531"/>
                  </a:lnTo>
                  <a:lnTo>
                    <a:pt x="351" y="529"/>
                  </a:lnTo>
                  <a:lnTo>
                    <a:pt x="352" y="528"/>
                  </a:lnTo>
                  <a:lnTo>
                    <a:pt x="353" y="526"/>
                  </a:lnTo>
                  <a:lnTo>
                    <a:pt x="356" y="525"/>
                  </a:lnTo>
                  <a:lnTo>
                    <a:pt x="357" y="528"/>
                  </a:lnTo>
                  <a:lnTo>
                    <a:pt x="357" y="536"/>
                  </a:lnTo>
                  <a:lnTo>
                    <a:pt x="357" y="552"/>
                  </a:lnTo>
                  <a:lnTo>
                    <a:pt x="358" y="566"/>
                  </a:lnTo>
                  <a:lnTo>
                    <a:pt x="358" y="583"/>
                  </a:lnTo>
                  <a:lnTo>
                    <a:pt x="359" y="593"/>
                  </a:lnTo>
                  <a:lnTo>
                    <a:pt x="357" y="593"/>
                  </a:lnTo>
                  <a:lnTo>
                    <a:pt x="356" y="591"/>
                  </a:lnTo>
                  <a:lnTo>
                    <a:pt x="354" y="590"/>
                  </a:lnTo>
                  <a:lnTo>
                    <a:pt x="353" y="588"/>
                  </a:lnTo>
                  <a:lnTo>
                    <a:pt x="353" y="587"/>
                  </a:lnTo>
                  <a:lnTo>
                    <a:pt x="352" y="587"/>
                  </a:lnTo>
                  <a:lnTo>
                    <a:pt x="351" y="587"/>
                  </a:lnTo>
                  <a:lnTo>
                    <a:pt x="351" y="588"/>
                  </a:lnTo>
                  <a:lnTo>
                    <a:pt x="350" y="591"/>
                  </a:lnTo>
                  <a:lnTo>
                    <a:pt x="348" y="590"/>
                  </a:lnTo>
                  <a:lnTo>
                    <a:pt x="348" y="588"/>
                  </a:lnTo>
                  <a:lnTo>
                    <a:pt x="347" y="588"/>
                  </a:lnTo>
                  <a:lnTo>
                    <a:pt x="347" y="589"/>
                  </a:lnTo>
                  <a:lnTo>
                    <a:pt x="346" y="590"/>
                  </a:lnTo>
                  <a:lnTo>
                    <a:pt x="345" y="589"/>
                  </a:lnTo>
                  <a:lnTo>
                    <a:pt x="344" y="589"/>
                  </a:lnTo>
                  <a:lnTo>
                    <a:pt x="344" y="590"/>
                  </a:lnTo>
                  <a:lnTo>
                    <a:pt x="342" y="590"/>
                  </a:lnTo>
                  <a:lnTo>
                    <a:pt x="341" y="591"/>
                  </a:lnTo>
                  <a:lnTo>
                    <a:pt x="341" y="594"/>
                  </a:lnTo>
                  <a:lnTo>
                    <a:pt x="339" y="595"/>
                  </a:lnTo>
                  <a:lnTo>
                    <a:pt x="339" y="596"/>
                  </a:lnTo>
                  <a:lnTo>
                    <a:pt x="340" y="597"/>
                  </a:lnTo>
                  <a:lnTo>
                    <a:pt x="342" y="597"/>
                  </a:lnTo>
                  <a:lnTo>
                    <a:pt x="345" y="599"/>
                  </a:lnTo>
                  <a:lnTo>
                    <a:pt x="346" y="600"/>
                  </a:lnTo>
                  <a:lnTo>
                    <a:pt x="347" y="600"/>
                  </a:lnTo>
                  <a:lnTo>
                    <a:pt x="350" y="597"/>
                  </a:lnTo>
                  <a:lnTo>
                    <a:pt x="352" y="596"/>
                  </a:lnTo>
                  <a:lnTo>
                    <a:pt x="353" y="599"/>
                  </a:lnTo>
                  <a:lnTo>
                    <a:pt x="356" y="602"/>
                  </a:lnTo>
                  <a:lnTo>
                    <a:pt x="358" y="605"/>
                  </a:lnTo>
                  <a:lnTo>
                    <a:pt x="358" y="612"/>
                  </a:lnTo>
                  <a:lnTo>
                    <a:pt x="358" y="624"/>
                  </a:lnTo>
                  <a:lnTo>
                    <a:pt x="358" y="640"/>
                  </a:lnTo>
                  <a:lnTo>
                    <a:pt x="358" y="656"/>
                  </a:lnTo>
                  <a:lnTo>
                    <a:pt x="359" y="674"/>
                  </a:lnTo>
                  <a:lnTo>
                    <a:pt x="360" y="694"/>
                  </a:lnTo>
                  <a:lnTo>
                    <a:pt x="362" y="713"/>
                  </a:lnTo>
                  <a:lnTo>
                    <a:pt x="362" y="734"/>
                  </a:lnTo>
                  <a:lnTo>
                    <a:pt x="363" y="781"/>
                  </a:lnTo>
                  <a:lnTo>
                    <a:pt x="364" y="805"/>
                  </a:lnTo>
                  <a:lnTo>
                    <a:pt x="365" y="831"/>
                  </a:lnTo>
                  <a:lnTo>
                    <a:pt x="360" y="834"/>
                  </a:lnTo>
                  <a:lnTo>
                    <a:pt x="353" y="838"/>
                  </a:lnTo>
                  <a:lnTo>
                    <a:pt x="345" y="839"/>
                  </a:lnTo>
                  <a:lnTo>
                    <a:pt x="328" y="840"/>
                  </a:lnTo>
                  <a:lnTo>
                    <a:pt x="326" y="840"/>
                  </a:lnTo>
                  <a:lnTo>
                    <a:pt x="354" y="840"/>
                  </a:lnTo>
                  <a:lnTo>
                    <a:pt x="374" y="838"/>
                  </a:lnTo>
                  <a:lnTo>
                    <a:pt x="383" y="839"/>
                  </a:lnTo>
                  <a:lnTo>
                    <a:pt x="388" y="839"/>
                  </a:lnTo>
                  <a:lnTo>
                    <a:pt x="401" y="837"/>
                  </a:lnTo>
                  <a:lnTo>
                    <a:pt x="412" y="839"/>
                  </a:lnTo>
                  <a:lnTo>
                    <a:pt x="425" y="840"/>
                  </a:lnTo>
                  <a:lnTo>
                    <a:pt x="439" y="839"/>
                  </a:lnTo>
                  <a:lnTo>
                    <a:pt x="453" y="838"/>
                  </a:lnTo>
                  <a:lnTo>
                    <a:pt x="458" y="837"/>
                  </a:lnTo>
                  <a:lnTo>
                    <a:pt x="457" y="834"/>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2" name="Freeform 75"/>
            <p:cNvSpPr>
              <a:spLocks/>
            </p:cNvSpPr>
            <p:nvPr userDrawn="1"/>
          </p:nvSpPr>
          <p:spPr bwMode="auto">
            <a:xfrm>
              <a:off x="6286500" y="6189663"/>
              <a:ext cx="244475" cy="395288"/>
            </a:xfrm>
            <a:custGeom>
              <a:avLst/>
              <a:gdLst/>
              <a:ahLst/>
              <a:cxnLst>
                <a:cxn ang="0">
                  <a:pos x="365" y="103"/>
                </a:cxn>
                <a:cxn ang="0">
                  <a:pos x="307" y="192"/>
                </a:cxn>
                <a:cxn ang="0">
                  <a:pos x="259" y="239"/>
                </a:cxn>
                <a:cxn ang="0">
                  <a:pos x="283" y="292"/>
                </a:cxn>
                <a:cxn ang="0">
                  <a:pos x="239" y="317"/>
                </a:cxn>
                <a:cxn ang="0">
                  <a:pos x="204" y="418"/>
                </a:cxn>
                <a:cxn ang="0">
                  <a:pos x="211" y="442"/>
                </a:cxn>
                <a:cxn ang="0">
                  <a:pos x="147" y="505"/>
                </a:cxn>
                <a:cxn ang="0">
                  <a:pos x="174" y="535"/>
                </a:cxn>
                <a:cxn ang="0">
                  <a:pos x="126" y="561"/>
                </a:cxn>
                <a:cxn ang="0">
                  <a:pos x="156" y="571"/>
                </a:cxn>
                <a:cxn ang="0">
                  <a:pos x="194" y="583"/>
                </a:cxn>
                <a:cxn ang="0">
                  <a:pos x="117" y="610"/>
                </a:cxn>
                <a:cxn ang="0">
                  <a:pos x="88" y="635"/>
                </a:cxn>
                <a:cxn ang="0">
                  <a:pos x="88" y="670"/>
                </a:cxn>
                <a:cxn ang="0">
                  <a:pos x="77" y="697"/>
                </a:cxn>
                <a:cxn ang="0">
                  <a:pos x="111" y="730"/>
                </a:cxn>
                <a:cxn ang="0">
                  <a:pos x="146" y="754"/>
                </a:cxn>
                <a:cxn ang="0">
                  <a:pos x="183" y="760"/>
                </a:cxn>
                <a:cxn ang="0">
                  <a:pos x="216" y="753"/>
                </a:cxn>
                <a:cxn ang="0">
                  <a:pos x="159" y="804"/>
                </a:cxn>
                <a:cxn ang="0">
                  <a:pos x="100" y="826"/>
                </a:cxn>
                <a:cxn ang="0">
                  <a:pos x="99" y="869"/>
                </a:cxn>
                <a:cxn ang="0">
                  <a:pos x="45" y="902"/>
                </a:cxn>
                <a:cxn ang="0">
                  <a:pos x="82" y="920"/>
                </a:cxn>
                <a:cxn ang="0">
                  <a:pos x="15" y="931"/>
                </a:cxn>
                <a:cxn ang="0">
                  <a:pos x="49" y="983"/>
                </a:cxn>
                <a:cxn ang="0">
                  <a:pos x="81" y="1003"/>
                </a:cxn>
                <a:cxn ang="0">
                  <a:pos x="90" y="1066"/>
                </a:cxn>
                <a:cxn ang="0">
                  <a:pos x="163" y="1129"/>
                </a:cxn>
                <a:cxn ang="0">
                  <a:pos x="264" y="1119"/>
                </a:cxn>
                <a:cxn ang="0">
                  <a:pos x="357" y="1247"/>
                </a:cxn>
                <a:cxn ang="0">
                  <a:pos x="493" y="1140"/>
                </a:cxn>
                <a:cxn ang="0">
                  <a:pos x="586" y="1184"/>
                </a:cxn>
                <a:cxn ang="0">
                  <a:pos x="669" y="1155"/>
                </a:cxn>
                <a:cxn ang="0">
                  <a:pos x="753" y="1066"/>
                </a:cxn>
                <a:cxn ang="0">
                  <a:pos x="689" y="1009"/>
                </a:cxn>
                <a:cxn ang="0">
                  <a:pos x="673" y="963"/>
                </a:cxn>
                <a:cxn ang="0">
                  <a:pos x="654" y="949"/>
                </a:cxn>
                <a:cxn ang="0">
                  <a:pos x="673" y="908"/>
                </a:cxn>
                <a:cxn ang="0">
                  <a:pos x="699" y="857"/>
                </a:cxn>
                <a:cxn ang="0">
                  <a:pos x="700" y="805"/>
                </a:cxn>
                <a:cxn ang="0">
                  <a:pos x="553" y="761"/>
                </a:cxn>
                <a:cxn ang="0">
                  <a:pos x="618" y="761"/>
                </a:cxn>
                <a:cxn ang="0">
                  <a:pos x="666" y="724"/>
                </a:cxn>
                <a:cxn ang="0">
                  <a:pos x="694" y="686"/>
                </a:cxn>
                <a:cxn ang="0">
                  <a:pos x="671" y="638"/>
                </a:cxn>
                <a:cxn ang="0">
                  <a:pos x="652" y="581"/>
                </a:cxn>
                <a:cxn ang="0">
                  <a:pos x="569" y="510"/>
                </a:cxn>
                <a:cxn ang="0">
                  <a:pos x="620" y="494"/>
                </a:cxn>
                <a:cxn ang="0">
                  <a:pos x="547" y="423"/>
                </a:cxn>
                <a:cxn ang="0">
                  <a:pos x="589" y="424"/>
                </a:cxn>
                <a:cxn ang="0">
                  <a:pos x="427" y="353"/>
                </a:cxn>
                <a:cxn ang="0">
                  <a:pos x="506" y="311"/>
                </a:cxn>
                <a:cxn ang="0">
                  <a:pos x="523" y="254"/>
                </a:cxn>
                <a:cxn ang="0">
                  <a:pos x="472" y="224"/>
                </a:cxn>
                <a:cxn ang="0">
                  <a:pos x="498" y="192"/>
                </a:cxn>
                <a:cxn ang="0">
                  <a:pos x="446" y="145"/>
                </a:cxn>
                <a:cxn ang="0">
                  <a:pos x="451" y="126"/>
                </a:cxn>
                <a:cxn ang="0">
                  <a:pos x="441" y="107"/>
                </a:cxn>
                <a:cxn ang="0">
                  <a:pos x="425" y="101"/>
                </a:cxn>
                <a:cxn ang="0">
                  <a:pos x="425" y="38"/>
                </a:cxn>
                <a:cxn ang="0">
                  <a:pos x="399" y="28"/>
                </a:cxn>
              </a:cxnLst>
              <a:rect l="0" t="0" r="r" b="b"/>
              <a:pathLst>
                <a:path w="766" h="1247">
                  <a:moveTo>
                    <a:pt x="384" y="20"/>
                  </a:moveTo>
                  <a:lnTo>
                    <a:pt x="381" y="13"/>
                  </a:lnTo>
                  <a:lnTo>
                    <a:pt x="377" y="0"/>
                  </a:lnTo>
                  <a:lnTo>
                    <a:pt x="376" y="0"/>
                  </a:lnTo>
                  <a:lnTo>
                    <a:pt x="377" y="6"/>
                  </a:lnTo>
                  <a:lnTo>
                    <a:pt x="380" y="14"/>
                  </a:lnTo>
                  <a:lnTo>
                    <a:pt x="383" y="20"/>
                  </a:lnTo>
                  <a:lnTo>
                    <a:pt x="383" y="24"/>
                  </a:lnTo>
                  <a:lnTo>
                    <a:pt x="380" y="17"/>
                  </a:lnTo>
                  <a:lnTo>
                    <a:pt x="378" y="17"/>
                  </a:lnTo>
                  <a:lnTo>
                    <a:pt x="382" y="24"/>
                  </a:lnTo>
                  <a:lnTo>
                    <a:pt x="381" y="25"/>
                  </a:lnTo>
                  <a:lnTo>
                    <a:pt x="371" y="19"/>
                  </a:lnTo>
                  <a:lnTo>
                    <a:pt x="370" y="20"/>
                  </a:lnTo>
                  <a:lnTo>
                    <a:pt x="383" y="29"/>
                  </a:lnTo>
                  <a:lnTo>
                    <a:pt x="383" y="31"/>
                  </a:lnTo>
                  <a:lnTo>
                    <a:pt x="382" y="31"/>
                  </a:lnTo>
                  <a:lnTo>
                    <a:pt x="378" y="28"/>
                  </a:lnTo>
                  <a:lnTo>
                    <a:pt x="377" y="29"/>
                  </a:lnTo>
                  <a:lnTo>
                    <a:pt x="381" y="34"/>
                  </a:lnTo>
                  <a:lnTo>
                    <a:pt x="381" y="35"/>
                  </a:lnTo>
                  <a:lnTo>
                    <a:pt x="374" y="35"/>
                  </a:lnTo>
                  <a:lnTo>
                    <a:pt x="381" y="36"/>
                  </a:lnTo>
                  <a:lnTo>
                    <a:pt x="382" y="37"/>
                  </a:lnTo>
                  <a:lnTo>
                    <a:pt x="382" y="41"/>
                  </a:lnTo>
                  <a:lnTo>
                    <a:pt x="376" y="41"/>
                  </a:lnTo>
                  <a:lnTo>
                    <a:pt x="376" y="42"/>
                  </a:lnTo>
                  <a:lnTo>
                    <a:pt x="382" y="43"/>
                  </a:lnTo>
                  <a:lnTo>
                    <a:pt x="378" y="44"/>
                  </a:lnTo>
                  <a:lnTo>
                    <a:pt x="382" y="44"/>
                  </a:lnTo>
                  <a:lnTo>
                    <a:pt x="382" y="47"/>
                  </a:lnTo>
                  <a:lnTo>
                    <a:pt x="380" y="47"/>
                  </a:lnTo>
                  <a:lnTo>
                    <a:pt x="380" y="44"/>
                  </a:lnTo>
                  <a:lnTo>
                    <a:pt x="378" y="47"/>
                  </a:lnTo>
                  <a:lnTo>
                    <a:pt x="377" y="46"/>
                  </a:lnTo>
                  <a:lnTo>
                    <a:pt x="374" y="40"/>
                  </a:lnTo>
                  <a:lnTo>
                    <a:pt x="376" y="47"/>
                  </a:lnTo>
                  <a:lnTo>
                    <a:pt x="374" y="47"/>
                  </a:lnTo>
                  <a:lnTo>
                    <a:pt x="371" y="46"/>
                  </a:lnTo>
                  <a:lnTo>
                    <a:pt x="370" y="46"/>
                  </a:lnTo>
                  <a:lnTo>
                    <a:pt x="372" y="47"/>
                  </a:lnTo>
                  <a:lnTo>
                    <a:pt x="375" y="48"/>
                  </a:lnTo>
                  <a:lnTo>
                    <a:pt x="375" y="49"/>
                  </a:lnTo>
                  <a:lnTo>
                    <a:pt x="371" y="48"/>
                  </a:lnTo>
                  <a:lnTo>
                    <a:pt x="371" y="49"/>
                  </a:lnTo>
                  <a:lnTo>
                    <a:pt x="376" y="50"/>
                  </a:lnTo>
                  <a:lnTo>
                    <a:pt x="376" y="52"/>
                  </a:lnTo>
                  <a:lnTo>
                    <a:pt x="375" y="54"/>
                  </a:lnTo>
                  <a:lnTo>
                    <a:pt x="374" y="54"/>
                  </a:lnTo>
                  <a:lnTo>
                    <a:pt x="371" y="52"/>
                  </a:lnTo>
                  <a:lnTo>
                    <a:pt x="364" y="47"/>
                  </a:lnTo>
                  <a:lnTo>
                    <a:pt x="366" y="50"/>
                  </a:lnTo>
                  <a:lnTo>
                    <a:pt x="363" y="50"/>
                  </a:lnTo>
                  <a:lnTo>
                    <a:pt x="359" y="50"/>
                  </a:lnTo>
                  <a:lnTo>
                    <a:pt x="362" y="52"/>
                  </a:lnTo>
                  <a:lnTo>
                    <a:pt x="369" y="53"/>
                  </a:lnTo>
                  <a:lnTo>
                    <a:pt x="369" y="54"/>
                  </a:lnTo>
                  <a:lnTo>
                    <a:pt x="363" y="59"/>
                  </a:lnTo>
                  <a:lnTo>
                    <a:pt x="370" y="54"/>
                  </a:lnTo>
                  <a:lnTo>
                    <a:pt x="371" y="55"/>
                  </a:lnTo>
                  <a:lnTo>
                    <a:pt x="369" y="57"/>
                  </a:lnTo>
                  <a:lnTo>
                    <a:pt x="372" y="55"/>
                  </a:lnTo>
                  <a:lnTo>
                    <a:pt x="374" y="57"/>
                  </a:lnTo>
                  <a:lnTo>
                    <a:pt x="375" y="58"/>
                  </a:lnTo>
                  <a:lnTo>
                    <a:pt x="374" y="60"/>
                  </a:lnTo>
                  <a:lnTo>
                    <a:pt x="377" y="57"/>
                  </a:lnTo>
                  <a:lnTo>
                    <a:pt x="384" y="61"/>
                  </a:lnTo>
                  <a:lnTo>
                    <a:pt x="384" y="66"/>
                  </a:lnTo>
                  <a:lnTo>
                    <a:pt x="382" y="67"/>
                  </a:lnTo>
                  <a:lnTo>
                    <a:pt x="380" y="66"/>
                  </a:lnTo>
                  <a:lnTo>
                    <a:pt x="377" y="64"/>
                  </a:lnTo>
                  <a:lnTo>
                    <a:pt x="377" y="66"/>
                  </a:lnTo>
                  <a:lnTo>
                    <a:pt x="374" y="66"/>
                  </a:lnTo>
                  <a:lnTo>
                    <a:pt x="372" y="65"/>
                  </a:lnTo>
                  <a:lnTo>
                    <a:pt x="370" y="63"/>
                  </a:lnTo>
                  <a:lnTo>
                    <a:pt x="372" y="67"/>
                  </a:lnTo>
                  <a:lnTo>
                    <a:pt x="366" y="67"/>
                  </a:lnTo>
                  <a:lnTo>
                    <a:pt x="368" y="69"/>
                  </a:lnTo>
                  <a:lnTo>
                    <a:pt x="372" y="69"/>
                  </a:lnTo>
                  <a:lnTo>
                    <a:pt x="372" y="70"/>
                  </a:lnTo>
                  <a:lnTo>
                    <a:pt x="370" y="73"/>
                  </a:lnTo>
                  <a:lnTo>
                    <a:pt x="375" y="70"/>
                  </a:lnTo>
                  <a:lnTo>
                    <a:pt x="377" y="70"/>
                  </a:lnTo>
                  <a:lnTo>
                    <a:pt x="378" y="69"/>
                  </a:lnTo>
                  <a:lnTo>
                    <a:pt x="381" y="69"/>
                  </a:lnTo>
                  <a:lnTo>
                    <a:pt x="380" y="71"/>
                  </a:lnTo>
                  <a:lnTo>
                    <a:pt x="375" y="71"/>
                  </a:lnTo>
                  <a:lnTo>
                    <a:pt x="376" y="71"/>
                  </a:lnTo>
                  <a:lnTo>
                    <a:pt x="378" y="72"/>
                  </a:lnTo>
                  <a:lnTo>
                    <a:pt x="377" y="73"/>
                  </a:lnTo>
                  <a:lnTo>
                    <a:pt x="372" y="76"/>
                  </a:lnTo>
                  <a:lnTo>
                    <a:pt x="374" y="76"/>
                  </a:lnTo>
                  <a:lnTo>
                    <a:pt x="378" y="77"/>
                  </a:lnTo>
                  <a:lnTo>
                    <a:pt x="377" y="78"/>
                  </a:lnTo>
                  <a:lnTo>
                    <a:pt x="372" y="83"/>
                  </a:lnTo>
                  <a:lnTo>
                    <a:pt x="372" y="84"/>
                  </a:lnTo>
                  <a:lnTo>
                    <a:pt x="375" y="85"/>
                  </a:lnTo>
                  <a:lnTo>
                    <a:pt x="376" y="87"/>
                  </a:lnTo>
                  <a:lnTo>
                    <a:pt x="375" y="87"/>
                  </a:lnTo>
                  <a:lnTo>
                    <a:pt x="375" y="88"/>
                  </a:lnTo>
                  <a:lnTo>
                    <a:pt x="376" y="89"/>
                  </a:lnTo>
                  <a:lnTo>
                    <a:pt x="377" y="89"/>
                  </a:lnTo>
                  <a:lnTo>
                    <a:pt x="377" y="90"/>
                  </a:lnTo>
                  <a:lnTo>
                    <a:pt x="374" y="90"/>
                  </a:lnTo>
                  <a:lnTo>
                    <a:pt x="371" y="89"/>
                  </a:lnTo>
                  <a:lnTo>
                    <a:pt x="372" y="91"/>
                  </a:lnTo>
                  <a:lnTo>
                    <a:pt x="370" y="96"/>
                  </a:lnTo>
                  <a:lnTo>
                    <a:pt x="371" y="96"/>
                  </a:lnTo>
                  <a:lnTo>
                    <a:pt x="374" y="91"/>
                  </a:lnTo>
                  <a:lnTo>
                    <a:pt x="377" y="93"/>
                  </a:lnTo>
                  <a:lnTo>
                    <a:pt x="375" y="95"/>
                  </a:lnTo>
                  <a:lnTo>
                    <a:pt x="371" y="99"/>
                  </a:lnTo>
                  <a:lnTo>
                    <a:pt x="365" y="103"/>
                  </a:lnTo>
                  <a:lnTo>
                    <a:pt x="356" y="108"/>
                  </a:lnTo>
                  <a:lnTo>
                    <a:pt x="352" y="108"/>
                  </a:lnTo>
                  <a:lnTo>
                    <a:pt x="354" y="109"/>
                  </a:lnTo>
                  <a:lnTo>
                    <a:pt x="353" y="111"/>
                  </a:lnTo>
                  <a:lnTo>
                    <a:pt x="348" y="108"/>
                  </a:lnTo>
                  <a:lnTo>
                    <a:pt x="352" y="111"/>
                  </a:lnTo>
                  <a:lnTo>
                    <a:pt x="346" y="113"/>
                  </a:lnTo>
                  <a:lnTo>
                    <a:pt x="346" y="114"/>
                  </a:lnTo>
                  <a:lnTo>
                    <a:pt x="353" y="113"/>
                  </a:lnTo>
                  <a:lnTo>
                    <a:pt x="352" y="115"/>
                  </a:lnTo>
                  <a:lnTo>
                    <a:pt x="353" y="119"/>
                  </a:lnTo>
                  <a:lnTo>
                    <a:pt x="354" y="119"/>
                  </a:lnTo>
                  <a:lnTo>
                    <a:pt x="354" y="115"/>
                  </a:lnTo>
                  <a:lnTo>
                    <a:pt x="356" y="114"/>
                  </a:lnTo>
                  <a:lnTo>
                    <a:pt x="356" y="112"/>
                  </a:lnTo>
                  <a:lnTo>
                    <a:pt x="357" y="112"/>
                  </a:lnTo>
                  <a:lnTo>
                    <a:pt x="358" y="115"/>
                  </a:lnTo>
                  <a:lnTo>
                    <a:pt x="358" y="111"/>
                  </a:lnTo>
                  <a:lnTo>
                    <a:pt x="363" y="108"/>
                  </a:lnTo>
                  <a:lnTo>
                    <a:pt x="363" y="111"/>
                  </a:lnTo>
                  <a:lnTo>
                    <a:pt x="360" y="114"/>
                  </a:lnTo>
                  <a:lnTo>
                    <a:pt x="360" y="115"/>
                  </a:lnTo>
                  <a:lnTo>
                    <a:pt x="362" y="118"/>
                  </a:lnTo>
                  <a:lnTo>
                    <a:pt x="363" y="120"/>
                  </a:lnTo>
                  <a:lnTo>
                    <a:pt x="364" y="121"/>
                  </a:lnTo>
                  <a:lnTo>
                    <a:pt x="360" y="124"/>
                  </a:lnTo>
                  <a:lnTo>
                    <a:pt x="358" y="123"/>
                  </a:lnTo>
                  <a:lnTo>
                    <a:pt x="357" y="123"/>
                  </a:lnTo>
                  <a:lnTo>
                    <a:pt x="358" y="124"/>
                  </a:lnTo>
                  <a:lnTo>
                    <a:pt x="356" y="124"/>
                  </a:lnTo>
                  <a:lnTo>
                    <a:pt x="353" y="125"/>
                  </a:lnTo>
                  <a:lnTo>
                    <a:pt x="357" y="126"/>
                  </a:lnTo>
                  <a:lnTo>
                    <a:pt x="358" y="125"/>
                  </a:lnTo>
                  <a:lnTo>
                    <a:pt x="359" y="126"/>
                  </a:lnTo>
                  <a:lnTo>
                    <a:pt x="357" y="127"/>
                  </a:lnTo>
                  <a:lnTo>
                    <a:pt x="353" y="130"/>
                  </a:lnTo>
                  <a:lnTo>
                    <a:pt x="352" y="132"/>
                  </a:lnTo>
                  <a:lnTo>
                    <a:pt x="353" y="132"/>
                  </a:lnTo>
                  <a:lnTo>
                    <a:pt x="354" y="132"/>
                  </a:lnTo>
                  <a:lnTo>
                    <a:pt x="356" y="132"/>
                  </a:lnTo>
                  <a:lnTo>
                    <a:pt x="356" y="133"/>
                  </a:lnTo>
                  <a:lnTo>
                    <a:pt x="356" y="135"/>
                  </a:lnTo>
                  <a:lnTo>
                    <a:pt x="353" y="135"/>
                  </a:lnTo>
                  <a:lnTo>
                    <a:pt x="352" y="133"/>
                  </a:lnTo>
                  <a:lnTo>
                    <a:pt x="347" y="133"/>
                  </a:lnTo>
                  <a:lnTo>
                    <a:pt x="346" y="135"/>
                  </a:lnTo>
                  <a:lnTo>
                    <a:pt x="345" y="137"/>
                  </a:lnTo>
                  <a:lnTo>
                    <a:pt x="344" y="139"/>
                  </a:lnTo>
                  <a:lnTo>
                    <a:pt x="339" y="139"/>
                  </a:lnTo>
                  <a:lnTo>
                    <a:pt x="333" y="142"/>
                  </a:lnTo>
                  <a:lnTo>
                    <a:pt x="329" y="144"/>
                  </a:lnTo>
                  <a:lnTo>
                    <a:pt x="329" y="147"/>
                  </a:lnTo>
                  <a:lnTo>
                    <a:pt x="325" y="147"/>
                  </a:lnTo>
                  <a:lnTo>
                    <a:pt x="327" y="145"/>
                  </a:lnTo>
                  <a:lnTo>
                    <a:pt x="324" y="145"/>
                  </a:lnTo>
                  <a:lnTo>
                    <a:pt x="321" y="147"/>
                  </a:lnTo>
                  <a:lnTo>
                    <a:pt x="319" y="149"/>
                  </a:lnTo>
                  <a:lnTo>
                    <a:pt x="311" y="155"/>
                  </a:lnTo>
                  <a:lnTo>
                    <a:pt x="307" y="156"/>
                  </a:lnTo>
                  <a:lnTo>
                    <a:pt x="305" y="156"/>
                  </a:lnTo>
                  <a:lnTo>
                    <a:pt x="306" y="157"/>
                  </a:lnTo>
                  <a:lnTo>
                    <a:pt x="305" y="159"/>
                  </a:lnTo>
                  <a:lnTo>
                    <a:pt x="303" y="160"/>
                  </a:lnTo>
                  <a:lnTo>
                    <a:pt x="301" y="160"/>
                  </a:lnTo>
                  <a:lnTo>
                    <a:pt x="300" y="162"/>
                  </a:lnTo>
                  <a:lnTo>
                    <a:pt x="298" y="164"/>
                  </a:lnTo>
                  <a:lnTo>
                    <a:pt x="299" y="164"/>
                  </a:lnTo>
                  <a:lnTo>
                    <a:pt x="298" y="165"/>
                  </a:lnTo>
                  <a:lnTo>
                    <a:pt x="295" y="165"/>
                  </a:lnTo>
                  <a:lnTo>
                    <a:pt x="295" y="166"/>
                  </a:lnTo>
                  <a:lnTo>
                    <a:pt x="297" y="166"/>
                  </a:lnTo>
                  <a:lnTo>
                    <a:pt x="293" y="170"/>
                  </a:lnTo>
                  <a:lnTo>
                    <a:pt x="298" y="167"/>
                  </a:lnTo>
                  <a:lnTo>
                    <a:pt x="299" y="171"/>
                  </a:lnTo>
                  <a:lnTo>
                    <a:pt x="299" y="166"/>
                  </a:lnTo>
                  <a:lnTo>
                    <a:pt x="300" y="166"/>
                  </a:lnTo>
                  <a:lnTo>
                    <a:pt x="301" y="167"/>
                  </a:lnTo>
                  <a:lnTo>
                    <a:pt x="301" y="166"/>
                  </a:lnTo>
                  <a:lnTo>
                    <a:pt x="303" y="164"/>
                  </a:lnTo>
                  <a:lnTo>
                    <a:pt x="307" y="159"/>
                  </a:lnTo>
                  <a:lnTo>
                    <a:pt x="307" y="165"/>
                  </a:lnTo>
                  <a:lnTo>
                    <a:pt x="309" y="166"/>
                  </a:lnTo>
                  <a:lnTo>
                    <a:pt x="309" y="168"/>
                  </a:lnTo>
                  <a:lnTo>
                    <a:pt x="310" y="170"/>
                  </a:lnTo>
                  <a:lnTo>
                    <a:pt x="311" y="166"/>
                  </a:lnTo>
                  <a:lnTo>
                    <a:pt x="310" y="159"/>
                  </a:lnTo>
                  <a:lnTo>
                    <a:pt x="310" y="157"/>
                  </a:lnTo>
                  <a:lnTo>
                    <a:pt x="311" y="161"/>
                  </a:lnTo>
                  <a:lnTo>
                    <a:pt x="311" y="168"/>
                  </a:lnTo>
                  <a:lnTo>
                    <a:pt x="312" y="168"/>
                  </a:lnTo>
                  <a:lnTo>
                    <a:pt x="312" y="170"/>
                  </a:lnTo>
                  <a:lnTo>
                    <a:pt x="313" y="171"/>
                  </a:lnTo>
                  <a:lnTo>
                    <a:pt x="315" y="171"/>
                  </a:lnTo>
                  <a:lnTo>
                    <a:pt x="313" y="172"/>
                  </a:lnTo>
                  <a:lnTo>
                    <a:pt x="310" y="173"/>
                  </a:lnTo>
                  <a:lnTo>
                    <a:pt x="311" y="174"/>
                  </a:lnTo>
                  <a:lnTo>
                    <a:pt x="311" y="176"/>
                  </a:lnTo>
                  <a:lnTo>
                    <a:pt x="309" y="176"/>
                  </a:lnTo>
                  <a:lnTo>
                    <a:pt x="309" y="178"/>
                  </a:lnTo>
                  <a:lnTo>
                    <a:pt x="311" y="178"/>
                  </a:lnTo>
                  <a:lnTo>
                    <a:pt x="310" y="179"/>
                  </a:lnTo>
                  <a:lnTo>
                    <a:pt x="309" y="180"/>
                  </a:lnTo>
                  <a:lnTo>
                    <a:pt x="309" y="182"/>
                  </a:lnTo>
                  <a:lnTo>
                    <a:pt x="309" y="183"/>
                  </a:lnTo>
                  <a:lnTo>
                    <a:pt x="309" y="186"/>
                  </a:lnTo>
                  <a:lnTo>
                    <a:pt x="309" y="188"/>
                  </a:lnTo>
                  <a:lnTo>
                    <a:pt x="309" y="189"/>
                  </a:lnTo>
                  <a:lnTo>
                    <a:pt x="310" y="190"/>
                  </a:lnTo>
                  <a:lnTo>
                    <a:pt x="313" y="190"/>
                  </a:lnTo>
                  <a:lnTo>
                    <a:pt x="313" y="191"/>
                  </a:lnTo>
                  <a:lnTo>
                    <a:pt x="312" y="191"/>
                  </a:lnTo>
                  <a:lnTo>
                    <a:pt x="309" y="192"/>
                  </a:lnTo>
                  <a:lnTo>
                    <a:pt x="307" y="192"/>
                  </a:lnTo>
                  <a:lnTo>
                    <a:pt x="307" y="194"/>
                  </a:lnTo>
                  <a:lnTo>
                    <a:pt x="307" y="195"/>
                  </a:lnTo>
                  <a:lnTo>
                    <a:pt x="305" y="195"/>
                  </a:lnTo>
                  <a:lnTo>
                    <a:pt x="303" y="194"/>
                  </a:lnTo>
                  <a:lnTo>
                    <a:pt x="301" y="194"/>
                  </a:lnTo>
                  <a:lnTo>
                    <a:pt x="301" y="195"/>
                  </a:lnTo>
                  <a:lnTo>
                    <a:pt x="304" y="196"/>
                  </a:lnTo>
                  <a:lnTo>
                    <a:pt x="301" y="197"/>
                  </a:lnTo>
                  <a:lnTo>
                    <a:pt x="300" y="197"/>
                  </a:lnTo>
                  <a:lnTo>
                    <a:pt x="300" y="196"/>
                  </a:lnTo>
                  <a:lnTo>
                    <a:pt x="298" y="196"/>
                  </a:lnTo>
                  <a:lnTo>
                    <a:pt x="298" y="197"/>
                  </a:lnTo>
                  <a:lnTo>
                    <a:pt x="294" y="197"/>
                  </a:lnTo>
                  <a:lnTo>
                    <a:pt x="294" y="198"/>
                  </a:lnTo>
                  <a:lnTo>
                    <a:pt x="289" y="201"/>
                  </a:lnTo>
                  <a:lnTo>
                    <a:pt x="291" y="201"/>
                  </a:lnTo>
                  <a:lnTo>
                    <a:pt x="294" y="200"/>
                  </a:lnTo>
                  <a:lnTo>
                    <a:pt x="295" y="201"/>
                  </a:lnTo>
                  <a:lnTo>
                    <a:pt x="294" y="207"/>
                  </a:lnTo>
                  <a:lnTo>
                    <a:pt x="297" y="201"/>
                  </a:lnTo>
                  <a:lnTo>
                    <a:pt x="298" y="200"/>
                  </a:lnTo>
                  <a:lnTo>
                    <a:pt x="298" y="201"/>
                  </a:lnTo>
                  <a:lnTo>
                    <a:pt x="298" y="204"/>
                  </a:lnTo>
                  <a:lnTo>
                    <a:pt x="299" y="204"/>
                  </a:lnTo>
                  <a:lnTo>
                    <a:pt x="301" y="202"/>
                  </a:lnTo>
                  <a:lnTo>
                    <a:pt x="303" y="198"/>
                  </a:lnTo>
                  <a:lnTo>
                    <a:pt x="304" y="198"/>
                  </a:lnTo>
                  <a:lnTo>
                    <a:pt x="304" y="201"/>
                  </a:lnTo>
                  <a:lnTo>
                    <a:pt x="304" y="202"/>
                  </a:lnTo>
                  <a:lnTo>
                    <a:pt x="305" y="203"/>
                  </a:lnTo>
                  <a:lnTo>
                    <a:pt x="307" y="210"/>
                  </a:lnTo>
                  <a:lnTo>
                    <a:pt x="309" y="212"/>
                  </a:lnTo>
                  <a:lnTo>
                    <a:pt x="310" y="209"/>
                  </a:lnTo>
                  <a:lnTo>
                    <a:pt x="310" y="210"/>
                  </a:lnTo>
                  <a:lnTo>
                    <a:pt x="311" y="212"/>
                  </a:lnTo>
                  <a:lnTo>
                    <a:pt x="312" y="213"/>
                  </a:lnTo>
                  <a:lnTo>
                    <a:pt x="311" y="209"/>
                  </a:lnTo>
                  <a:lnTo>
                    <a:pt x="312" y="209"/>
                  </a:lnTo>
                  <a:lnTo>
                    <a:pt x="313" y="210"/>
                  </a:lnTo>
                  <a:lnTo>
                    <a:pt x="315" y="208"/>
                  </a:lnTo>
                  <a:lnTo>
                    <a:pt x="316" y="208"/>
                  </a:lnTo>
                  <a:lnTo>
                    <a:pt x="316" y="212"/>
                  </a:lnTo>
                  <a:lnTo>
                    <a:pt x="317" y="212"/>
                  </a:lnTo>
                  <a:lnTo>
                    <a:pt x="317" y="213"/>
                  </a:lnTo>
                  <a:lnTo>
                    <a:pt x="317" y="208"/>
                  </a:lnTo>
                  <a:lnTo>
                    <a:pt x="317" y="207"/>
                  </a:lnTo>
                  <a:lnTo>
                    <a:pt x="318" y="206"/>
                  </a:lnTo>
                  <a:lnTo>
                    <a:pt x="318" y="208"/>
                  </a:lnTo>
                  <a:lnTo>
                    <a:pt x="319" y="208"/>
                  </a:lnTo>
                  <a:lnTo>
                    <a:pt x="319" y="209"/>
                  </a:lnTo>
                  <a:lnTo>
                    <a:pt x="321" y="209"/>
                  </a:lnTo>
                  <a:lnTo>
                    <a:pt x="321" y="204"/>
                  </a:lnTo>
                  <a:lnTo>
                    <a:pt x="322" y="206"/>
                  </a:lnTo>
                  <a:lnTo>
                    <a:pt x="322" y="207"/>
                  </a:lnTo>
                  <a:lnTo>
                    <a:pt x="323" y="209"/>
                  </a:lnTo>
                  <a:lnTo>
                    <a:pt x="324" y="210"/>
                  </a:lnTo>
                  <a:lnTo>
                    <a:pt x="324" y="214"/>
                  </a:lnTo>
                  <a:lnTo>
                    <a:pt x="323" y="216"/>
                  </a:lnTo>
                  <a:lnTo>
                    <a:pt x="321" y="216"/>
                  </a:lnTo>
                  <a:lnTo>
                    <a:pt x="317" y="219"/>
                  </a:lnTo>
                  <a:lnTo>
                    <a:pt x="315" y="222"/>
                  </a:lnTo>
                  <a:lnTo>
                    <a:pt x="309" y="222"/>
                  </a:lnTo>
                  <a:lnTo>
                    <a:pt x="306" y="224"/>
                  </a:lnTo>
                  <a:lnTo>
                    <a:pt x="299" y="225"/>
                  </a:lnTo>
                  <a:lnTo>
                    <a:pt x="298" y="226"/>
                  </a:lnTo>
                  <a:lnTo>
                    <a:pt x="294" y="226"/>
                  </a:lnTo>
                  <a:lnTo>
                    <a:pt x="292" y="225"/>
                  </a:lnTo>
                  <a:lnTo>
                    <a:pt x="292" y="226"/>
                  </a:lnTo>
                  <a:lnTo>
                    <a:pt x="289" y="226"/>
                  </a:lnTo>
                  <a:lnTo>
                    <a:pt x="286" y="222"/>
                  </a:lnTo>
                  <a:lnTo>
                    <a:pt x="286" y="224"/>
                  </a:lnTo>
                  <a:lnTo>
                    <a:pt x="288" y="225"/>
                  </a:lnTo>
                  <a:lnTo>
                    <a:pt x="288" y="226"/>
                  </a:lnTo>
                  <a:lnTo>
                    <a:pt x="286" y="226"/>
                  </a:lnTo>
                  <a:lnTo>
                    <a:pt x="286" y="225"/>
                  </a:lnTo>
                  <a:lnTo>
                    <a:pt x="283" y="225"/>
                  </a:lnTo>
                  <a:lnTo>
                    <a:pt x="277" y="221"/>
                  </a:lnTo>
                  <a:lnTo>
                    <a:pt x="276" y="221"/>
                  </a:lnTo>
                  <a:lnTo>
                    <a:pt x="281" y="226"/>
                  </a:lnTo>
                  <a:lnTo>
                    <a:pt x="270" y="226"/>
                  </a:lnTo>
                  <a:lnTo>
                    <a:pt x="270" y="227"/>
                  </a:lnTo>
                  <a:lnTo>
                    <a:pt x="280" y="228"/>
                  </a:lnTo>
                  <a:lnTo>
                    <a:pt x="281" y="227"/>
                  </a:lnTo>
                  <a:lnTo>
                    <a:pt x="280" y="230"/>
                  </a:lnTo>
                  <a:lnTo>
                    <a:pt x="286" y="227"/>
                  </a:lnTo>
                  <a:lnTo>
                    <a:pt x="287" y="227"/>
                  </a:lnTo>
                  <a:lnTo>
                    <a:pt x="288" y="228"/>
                  </a:lnTo>
                  <a:lnTo>
                    <a:pt x="287" y="231"/>
                  </a:lnTo>
                  <a:lnTo>
                    <a:pt x="287" y="232"/>
                  </a:lnTo>
                  <a:lnTo>
                    <a:pt x="287" y="234"/>
                  </a:lnTo>
                  <a:lnTo>
                    <a:pt x="289" y="238"/>
                  </a:lnTo>
                  <a:lnTo>
                    <a:pt x="291" y="239"/>
                  </a:lnTo>
                  <a:lnTo>
                    <a:pt x="287" y="240"/>
                  </a:lnTo>
                  <a:lnTo>
                    <a:pt x="287" y="242"/>
                  </a:lnTo>
                  <a:lnTo>
                    <a:pt x="288" y="242"/>
                  </a:lnTo>
                  <a:lnTo>
                    <a:pt x="288" y="243"/>
                  </a:lnTo>
                  <a:lnTo>
                    <a:pt x="286" y="244"/>
                  </a:lnTo>
                  <a:lnTo>
                    <a:pt x="285" y="246"/>
                  </a:lnTo>
                  <a:lnTo>
                    <a:pt x="285" y="249"/>
                  </a:lnTo>
                  <a:lnTo>
                    <a:pt x="283" y="249"/>
                  </a:lnTo>
                  <a:lnTo>
                    <a:pt x="282" y="246"/>
                  </a:lnTo>
                  <a:lnTo>
                    <a:pt x="282" y="245"/>
                  </a:lnTo>
                  <a:lnTo>
                    <a:pt x="281" y="243"/>
                  </a:lnTo>
                  <a:lnTo>
                    <a:pt x="280" y="243"/>
                  </a:lnTo>
                  <a:lnTo>
                    <a:pt x="280" y="245"/>
                  </a:lnTo>
                  <a:lnTo>
                    <a:pt x="279" y="248"/>
                  </a:lnTo>
                  <a:lnTo>
                    <a:pt x="271" y="242"/>
                  </a:lnTo>
                  <a:lnTo>
                    <a:pt x="269" y="240"/>
                  </a:lnTo>
                  <a:lnTo>
                    <a:pt x="262" y="236"/>
                  </a:lnTo>
                  <a:lnTo>
                    <a:pt x="260" y="236"/>
                  </a:lnTo>
                  <a:lnTo>
                    <a:pt x="265" y="240"/>
                  </a:lnTo>
                  <a:lnTo>
                    <a:pt x="264" y="240"/>
                  </a:lnTo>
                  <a:lnTo>
                    <a:pt x="259" y="239"/>
                  </a:lnTo>
                  <a:lnTo>
                    <a:pt x="262" y="240"/>
                  </a:lnTo>
                  <a:lnTo>
                    <a:pt x="262" y="242"/>
                  </a:lnTo>
                  <a:lnTo>
                    <a:pt x="264" y="243"/>
                  </a:lnTo>
                  <a:lnTo>
                    <a:pt x="265" y="244"/>
                  </a:lnTo>
                  <a:lnTo>
                    <a:pt x="264" y="245"/>
                  </a:lnTo>
                  <a:lnTo>
                    <a:pt x="264" y="246"/>
                  </a:lnTo>
                  <a:lnTo>
                    <a:pt x="266" y="245"/>
                  </a:lnTo>
                  <a:lnTo>
                    <a:pt x="268" y="245"/>
                  </a:lnTo>
                  <a:lnTo>
                    <a:pt x="269" y="244"/>
                  </a:lnTo>
                  <a:lnTo>
                    <a:pt x="269" y="245"/>
                  </a:lnTo>
                  <a:lnTo>
                    <a:pt x="266" y="248"/>
                  </a:lnTo>
                  <a:lnTo>
                    <a:pt x="269" y="248"/>
                  </a:lnTo>
                  <a:lnTo>
                    <a:pt x="271" y="245"/>
                  </a:lnTo>
                  <a:lnTo>
                    <a:pt x="275" y="248"/>
                  </a:lnTo>
                  <a:lnTo>
                    <a:pt x="271" y="248"/>
                  </a:lnTo>
                  <a:lnTo>
                    <a:pt x="269" y="249"/>
                  </a:lnTo>
                  <a:lnTo>
                    <a:pt x="268" y="251"/>
                  </a:lnTo>
                  <a:lnTo>
                    <a:pt x="268" y="252"/>
                  </a:lnTo>
                  <a:lnTo>
                    <a:pt x="269" y="251"/>
                  </a:lnTo>
                  <a:lnTo>
                    <a:pt x="270" y="250"/>
                  </a:lnTo>
                  <a:lnTo>
                    <a:pt x="271" y="250"/>
                  </a:lnTo>
                  <a:lnTo>
                    <a:pt x="274" y="250"/>
                  </a:lnTo>
                  <a:lnTo>
                    <a:pt x="275" y="250"/>
                  </a:lnTo>
                  <a:lnTo>
                    <a:pt x="275" y="254"/>
                  </a:lnTo>
                  <a:lnTo>
                    <a:pt x="277" y="252"/>
                  </a:lnTo>
                  <a:lnTo>
                    <a:pt x="280" y="252"/>
                  </a:lnTo>
                  <a:lnTo>
                    <a:pt x="281" y="254"/>
                  </a:lnTo>
                  <a:lnTo>
                    <a:pt x="280" y="254"/>
                  </a:lnTo>
                  <a:lnTo>
                    <a:pt x="277" y="255"/>
                  </a:lnTo>
                  <a:lnTo>
                    <a:pt x="273" y="258"/>
                  </a:lnTo>
                  <a:lnTo>
                    <a:pt x="268" y="261"/>
                  </a:lnTo>
                  <a:lnTo>
                    <a:pt x="262" y="261"/>
                  </a:lnTo>
                  <a:lnTo>
                    <a:pt x="262" y="262"/>
                  </a:lnTo>
                  <a:lnTo>
                    <a:pt x="266" y="263"/>
                  </a:lnTo>
                  <a:lnTo>
                    <a:pt x="266" y="264"/>
                  </a:lnTo>
                  <a:lnTo>
                    <a:pt x="259" y="268"/>
                  </a:lnTo>
                  <a:lnTo>
                    <a:pt x="260" y="268"/>
                  </a:lnTo>
                  <a:lnTo>
                    <a:pt x="268" y="266"/>
                  </a:lnTo>
                  <a:lnTo>
                    <a:pt x="269" y="266"/>
                  </a:lnTo>
                  <a:lnTo>
                    <a:pt x="268" y="267"/>
                  </a:lnTo>
                  <a:lnTo>
                    <a:pt x="268" y="269"/>
                  </a:lnTo>
                  <a:lnTo>
                    <a:pt x="269" y="269"/>
                  </a:lnTo>
                  <a:lnTo>
                    <a:pt x="269" y="268"/>
                  </a:lnTo>
                  <a:lnTo>
                    <a:pt x="270" y="264"/>
                  </a:lnTo>
                  <a:lnTo>
                    <a:pt x="271" y="264"/>
                  </a:lnTo>
                  <a:lnTo>
                    <a:pt x="276" y="271"/>
                  </a:lnTo>
                  <a:lnTo>
                    <a:pt x="276" y="268"/>
                  </a:lnTo>
                  <a:lnTo>
                    <a:pt x="277" y="268"/>
                  </a:lnTo>
                  <a:lnTo>
                    <a:pt x="279" y="269"/>
                  </a:lnTo>
                  <a:lnTo>
                    <a:pt x="279" y="271"/>
                  </a:lnTo>
                  <a:lnTo>
                    <a:pt x="277" y="272"/>
                  </a:lnTo>
                  <a:lnTo>
                    <a:pt x="277" y="273"/>
                  </a:lnTo>
                  <a:lnTo>
                    <a:pt x="275" y="273"/>
                  </a:lnTo>
                  <a:lnTo>
                    <a:pt x="273" y="274"/>
                  </a:lnTo>
                  <a:lnTo>
                    <a:pt x="271" y="278"/>
                  </a:lnTo>
                  <a:lnTo>
                    <a:pt x="273" y="279"/>
                  </a:lnTo>
                  <a:lnTo>
                    <a:pt x="269" y="281"/>
                  </a:lnTo>
                  <a:lnTo>
                    <a:pt x="269" y="284"/>
                  </a:lnTo>
                  <a:lnTo>
                    <a:pt x="266" y="285"/>
                  </a:lnTo>
                  <a:lnTo>
                    <a:pt x="265" y="285"/>
                  </a:lnTo>
                  <a:lnTo>
                    <a:pt x="264" y="284"/>
                  </a:lnTo>
                  <a:lnTo>
                    <a:pt x="264" y="285"/>
                  </a:lnTo>
                  <a:lnTo>
                    <a:pt x="264" y="286"/>
                  </a:lnTo>
                  <a:lnTo>
                    <a:pt x="264" y="287"/>
                  </a:lnTo>
                  <a:lnTo>
                    <a:pt x="260" y="289"/>
                  </a:lnTo>
                  <a:lnTo>
                    <a:pt x="259" y="287"/>
                  </a:lnTo>
                  <a:lnTo>
                    <a:pt x="258" y="289"/>
                  </a:lnTo>
                  <a:lnTo>
                    <a:pt x="256" y="289"/>
                  </a:lnTo>
                  <a:lnTo>
                    <a:pt x="254" y="290"/>
                  </a:lnTo>
                  <a:lnTo>
                    <a:pt x="252" y="290"/>
                  </a:lnTo>
                  <a:lnTo>
                    <a:pt x="252" y="291"/>
                  </a:lnTo>
                  <a:lnTo>
                    <a:pt x="256" y="291"/>
                  </a:lnTo>
                  <a:lnTo>
                    <a:pt x="256" y="292"/>
                  </a:lnTo>
                  <a:lnTo>
                    <a:pt x="253" y="293"/>
                  </a:lnTo>
                  <a:lnTo>
                    <a:pt x="253" y="296"/>
                  </a:lnTo>
                  <a:lnTo>
                    <a:pt x="254" y="297"/>
                  </a:lnTo>
                  <a:lnTo>
                    <a:pt x="256" y="297"/>
                  </a:lnTo>
                  <a:lnTo>
                    <a:pt x="257" y="295"/>
                  </a:lnTo>
                  <a:lnTo>
                    <a:pt x="257" y="297"/>
                  </a:lnTo>
                  <a:lnTo>
                    <a:pt x="258" y="292"/>
                  </a:lnTo>
                  <a:lnTo>
                    <a:pt x="260" y="291"/>
                  </a:lnTo>
                  <a:lnTo>
                    <a:pt x="259" y="293"/>
                  </a:lnTo>
                  <a:lnTo>
                    <a:pt x="260" y="293"/>
                  </a:lnTo>
                  <a:lnTo>
                    <a:pt x="260" y="291"/>
                  </a:lnTo>
                  <a:lnTo>
                    <a:pt x="263" y="291"/>
                  </a:lnTo>
                  <a:lnTo>
                    <a:pt x="264" y="290"/>
                  </a:lnTo>
                  <a:lnTo>
                    <a:pt x="264" y="291"/>
                  </a:lnTo>
                  <a:lnTo>
                    <a:pt x="264" y="292"/>
                  </a:lnTo>
                  <a:lnTo>
                    <a:pt x="264" y="293"/>
                  </a:lnTo>
                  <a:lnTo>
                    <a:pt x="264" y="296"/>
                  </a:lnTo>
                  <a:lnTo>
                    <a:pt x="264" y="298"/>
                  </a:lnTo>
                  <a:lnTo>
                    <a:pt x="265" y="301"/>
                  </a:lnTo>
                  <a:lnTo>
                    <a:pt x="266" y="302"/>
                  </a:lnTo>
                  <a:lnTo>
                    <a:pt x="268" y="298"/>
                  </a:lnTo>
                  <a:lnTo>
                    <a:pt x="266" y="295"/>
                  </a:lnTo>
                  <a:lnTo>
                    <a:pt x="268" y="295"/>
                  </a:lnTo>
                  <a:lnTo>
                    <a:pt x="269" y="295"/>
                  </a:lnTo>
                  <a:lnTo>
                    <a:pt x="269" y="301"/>
                  </a:lnTo>
                  <a:lnTo>
                    <a:pt x="270" y="301"/>
                  </a:lnTo>
                  <a:lnTo>
                    <a:pt x="273" y="297"/>
                  </a:lnTo>
                  <a:lnTo>
                    <a:pt x="273" y="295"/>
                  </a:lnTo>
                  <a:lnTo>
                    <a:pt x="275" y="293"/>
                  </a:lnTo>
                  <a:lnTo>
                    <a:pt x="275" y="295"/>
                  </a:lnTo>
                  <a:lnTo>
                    <a:pt x="276" y="295"/>
                  </a:lnTo>
                  <a:lnTo>
                    <a:pt x="277" y="293"/>
                  </a:lnTo>
                  <a:lnTo>
                    <a:pt x="279" y="295"/>
                  </a:lnTo>
                  <a:lnTo>
                    <a:pt x="280" y="293"/>
                  </a:lnTo>
                  <a:lnTo>
                    <a:pt x="279" y="292"/>
                  </a:lnTo>
                  <a:lnTo>
                    <a:pt x="279" y="289"/>
                  </a:lnTo>
                  <a:lnTo>
                    <a:pt x="279" y="287"/>
                  </a:lnTo>
                  <a:lnTo>
                    <a:pt x="280" y="287"/>
                  </a:lnTo>
                  <a:lnTo>
                    <a:pt x="282" y="291"/>
                  </a:lnTo>
                  <a:lnTo>
                    <a:pt x="283" y="292"/>
                  </a:lnTo>
                  <a:lnTo>
                    <a:pt x="285" y="292"/>
                  </a:lnTo>
                  <a:lnTo>
                    <a:pt x="285" y="290"/>
                  </a:lnTo>
                  <a:lnTo>
                    <a:pt x="285" y="289"/>
                  </a:lnTo>
                  <a:lnTo>
                    <a:pt x="285" y="285"/>
                  </a:lnTo>
                  <a:lnTo>
                    <a:pt x="285" y="284"/>
                  </a:lnTo>
                  <a:lnTo>
                    <a:pt x="286" y="284"/>
                  </a:lnTo>
                  <a:lnTo>
                    <a:pt x="287" y="285"/>
                  </a:lnTo>
                  <a:lnTo>
                    <a:pt x="287" y="286"/>
                  </a:lnTo>
                  <a:lnTo>
                    <a:pt x="287" y="287"/>
                  </a:lnTo>
                  <a:lnTo>
                    <a:pt x="287" y="289"/>
                  </a:lnTo>
                  <a:lnTo>
                    <a:pt x="288" y="291"/>
                  </a:lnTo>
                  <a:lnTo>
                    <a:pt x="289" y="289"/>
                  </a:lnTo>
                  <a:lnTo>
                    <a:pt x="289" y="285"/>
                  </a:lnTo>
                  <a:lnTo>
                    <a:pt x="289" y="284"/>
                  </a:lnTo>
                  <a:lnTo>
                    <a:pt x="289" y="283"/>
                  </a:lnTo>
                  <a:lnTo>
                    <a:pt x="289" y="281"/>
                  </a:lnTo>
                  <a:lnTo>
                    <a:pt x="288" y="280"/>
                  </a:lnTo>
                  <a:lnTo>
                    <a:pt x="288" y="279"/>
                  </a:lnTo>
                  <a:lnTo>
                    <a:pt x="291" y="279"/>
                  </a:lnTo>
                  <a:lnTo>
                    <a:pt x="292" y="279"/>
                  </a:lnTo>
                  <a:lnTo>
                    <a:pt x="292" y="280"/>
                  </a:lnTo>
                  <a:lnTo>
                    <a:pt x="291" y="283"/>
                  </a:lnTo>
                  <a:lnTo>
                    <a:pt x="291" y="285"/>
                  </a:lnTo>
                  <a:lnTo>
                    <a:pt x="292" y="286"/>
                  </a:lnTo>
                  <a:lnTo>
                    <a:pt x="292" y="287"/>
                  </a:lnTo>
                  <a:lnTo>
                    <a:pt x="292" y="289"/>
                  </a:lnTo>
                  <a:lnTo>
                    <a:pt x="289" y="290"/>
                  </a:lnTo>
                  <a:lnTo>
                    <a:pt x="288" y="291"/>
                  </a:lnTo>
                  <a:lnTo>
                    <a:pt x="286" y="293"/>
                  </a:lnTo>
                  <a:lnTo>
                    <a:pt x="283" y="296"/>
                  </a:lnTo>
                  <a:lnTo>
                    <a:pt x="281" y="297"/>
                  </a:lnTo>
                  <a:lnTo>
                    <a:pt x="280" y="299"/>
                  </a:lnTo>
                  <a:lnTo>
                    <a:pt x="279" y="299"/>
                  </a:lnTo>
                  <a:lnTo>
                    <a:pt x="277" y="297"/>
                  </a:lnTo>
                  <a:lnTo>
                    <a:pt x="276" y="299"/>
                  </a:lnTo>
                  <a:lnTo>
                    <a:pt x="277" y="299"/>
                  </a:lnTo>
                  <a:lnTo>
                    <a:pt x="274" y="302"/>
                  </a:lnTo>
                  <a:lnTo>
                    <a:pt x="271" y="304"/>
                  </a:lnTo>
                  <a:lnTo>
                    <a:pt x="269" y="304"/>
                  </a:lnTo>
                  <a:lnTo>
                    <a:pt x="266" y="303"/>
                  </a:lnTo>
                  <a:lnTo>
                    <a:pt x="265" y="303"/>
                  </a:lnTo>
                  <a:lnTo>
                    <a:pt x="263" y="302"/>
                  </a:lnTo>
                  <a:lnTo>
                    <a:pt x="262" y="303"/>
                  </a:lnTo>
                  <a:lnTo>
                    <a:pt x="260" y="303"/>
                  </a:lnTo>
                  <a:lnTo>
                    <a:pt x="256" y="301"/>
                  </a:lnTo>
                  <a:lnTo>
                    <a:pt x="254" y="299"/>
                  </a:lnTo>
                  <a:lnTo>
                    <a:pt x="252" y="297"/>
                  </a:lnTo>
                  <a:lnTo>
                    <a:pt x="251" y="296"/>
                  </a:lnTo>
                  <a:lnTo>
                    <a:pt x="247" y="293"/>
                  </a:lnTo>
                  <a:lnTo>
                    <a:pt x="246" y="290"/>
                  </a:lnTo>
                  <a:lnTo>
                    <a:pt x="247" y="289"/>
                  </a:lnTo>
                  <a:lnTo>
                    <a:pt x="247" y="287"/>
                  </a:lnTo>
                  <a:lnTo>
                    <a:pt x="245" y="290"/>
                  </a:lnTo>
                  <a:lnTo>
                    <a:pt x="244" y="289"/>
                  </a:lnTo>
                  <a:lnTo>
                    <a:pt x="248" y="284"/>
                  </a:lnTo>
                  <a:lnTo>
                    <a:pt x="247" y="283"/>
                  </a:lnTo>
                  <a:lnTo>
                    <a:pt x="245" y="284"/>
                  </a:lnTo>
                  <a:lnTo>
                    <a:pt x="242" y="283"/>
                  </a:lnTo>
                  <a:lnTo>
                    <a:pt x="244" y="285"/>
                  </a:lnTo>
                  <a:lnTo>
                    <a:pt x="242" y="286"/>
                  </a:lnTo>
                  <a:lnTo>
                    <a:pt x="233" y="277"/>
                  </a:lnTo>
                  <a:lnTo>
                    <a:pt x="232" y="277"/>
                  </a:lnTo>
                  <a:lnTo>
                    <a:pt x="234" y="280"/>
                  </a:lnTo>
                  <a:lnTo>
                    <a:pt x="233" y="280"/>
                  </a:lnTo>
                  <a:lnTo>
                    <a:pt x="227" y="279"/>
                  </a:lnTo>
                  <a:lnTo>
                    <a:pt x="227" y="280"/>
                  </a:lnTo>
                  <a:lnTo>
                    <a:pt x="232" y="283"/>
                  </a:lnTo>
                  <a:lnTo>
                    <a:pt x="230" y="283"/>
                  </a:lnTo>
                  <a:lnTo>
                    <a:pt x="234" y="284"/>
                  </a:lnTo>
                  <a:lnTo>
                    <a:pt x="232" y="286"/>
                  </a:lnTo>
                  <a:lnTo>
                    <a:pt x="234" y="285"/>
                  </a:lnTo>
                  <a:lnTo>
                    <a:pt x="235" y="285"/>
                  </a:lnTo>
                  <a:lnTo>
                    <a:pt x="239" y="286"/>
                  </a:lnTo>
                  <a:lnTo>
                    <a:pt x="239" y="287"/>
                  </a:lnTo>
                  <a:lnTo>
                    <a:pt x="233" y="291"/>
                  </a:lnTo>
                  <a:lnTo>
                    <a:pt x="234" y="291"/>
                  </a:lnTo>
                  <a:lnTo>
                    <a:pt x="239" y="290"/>
                  </a:lnTo>
                  <a:lnTo>
                    <a:pt x="239" y="291"/>
                  </a:lnTo>
                  <a:lnTo>
                    <a:pt x="239" y="292"/>
                  </a:lnTo>
                  <a:lnTo>
                    <a:pt x="241" y="292"/>
                  </a:lnTo>
                  <a:lnTo>
                    <a:pt x="244" y="292"/>
                  </a:lnTo>
                  <a:lnTo>
                    <a:pt x="242" y="295"/>
                  </a:lnTo>
                  <a:lnTo>
                    <a:pt x="245" y="295"/>
                  </a:lnTo>
                  <a:lnTo>
                    <a:pt x="239" y="301"/>
                  </a:lnTo>
                  <a:lnTo>
                    <a:pt x="245" y="297"/>
                  </a:lnTo>
                  <a:lnTo>
                    <a:pt x="247" y="296"/>
                  </a:lnTo>
                  <a:lnTo>
                    <a:pt x="247" y="297"/>
                  </a:lnTo>
                  <a:lnTo>
                    <a:pt x="244" y="299"/>
                  </a:lnTo>
                  <a:lnTo>
                    <a:pt x="241" y="301"/>
                  </a:lnTo>
                  <a:lnTo>
                    <a:pt x="239" y="302"/>
                  </a:lnTo>
                  <a:lnTo>
                    <a:pt x="242" y="305"/>
                  </a:lnTo>
                  <a:lnTo>
                    <a:pt x="239" y="307"/>
                  </a:lnTo>
                  <a:lnTo>
                    <a:pt x="239" y="309"/>
                  </a:lnTo>
                  <a:lnTo>
                    <a:pt x="241" y="310"/>
                  </a:lnTo>
                  <a:lnTo>
                    <a:pt x="239" y="314"/>
                  </a:lnTo>
                  <a:lnTo>
                    <a:pt x="242" y="316"/>
                  </a:lnTo>
                  <a:lnTo>
                    <a:pt x="245" y="315"/>
                  </a:lnTo>
                  <a:lnTo>
                    <a:pt x="245" y="314"/>
                  </a:lnTo>
                  <a:lnTo>
                    <a:pt x="246" y="311"/>
                  </a:lnTo>
                  <a:lnTo>
                    <a:pt x="246" y="309"/>
                  </a:lnTo>
                  <a:lnTo>
                    <a:pt x="246" y="308"/>
                  </a:lnTo>
                  <a:lnTo>
                    <a:pt x="247" y="308"/>
                  </a:lnTo>
                  <a:lnTo>
                    <a:pt x="247" y="309"/>
                  </a:lnTo>
                  <a:lnTo>
                    <a:pt x="247" y="311"/>
                  </a:lnTo>
                  <a:lnTo>
                    <a:pt x="248" y="314"/>
                  </a:lnTo>
                  <a:lnTo>
                    <a:pt x="251" y="315"/>
                  </a:lnTo>
                  <a:lnTo>
                    <a:pt x="250" y="317"/>
                  </a:lnTo>
                  <a:lnTo>
                    <a:pt x="248" y="317"/>
                  </a:lnTo>
                  <a:lnTo>
                    <a:pt x="247" y="315"/>
                  </a:lnTo>
                  <a:lnTo>
                    <a:pt x="246" y="317"/>
                  </a:lnTo>
                  <a:lnTo>
                    <a:pt x="245" y="320"/>
                  </a:lnTo>
                  <a:lnTo>
                    <a:pt x="244" y="320"/>
                  </a:lnTo>
                  <a:lnTo>
                    <a:pt x="239" y="317"/>
                  </a:lnTo>
                  <a:lnTo>
                    <a:pt x="239" y="319"/>
                  </a:lnTo>
                  <a:lnTo>
                    <a:pt x="234" y="322"/>
                  </a:lnTo>
                  <a:lnTo>
                    <a:pt x="236" y="322"/>
                  </a:lnTo>
                  <a:lnTo>
                    <a:pt x="239" y="322"/>
                  </a:lnTo>
                  <a:lnTo>
                    <a:pt x="242" y="321"/>
                  </a:lnTo>
                  <a:lnTo>
                    <a:pt x="242" y="323"/>
                  </a:lnTo>
                  <a:lnTo>
                    <a:pt x="239" y="325"/>
                  </a:lnTo>
                  <a:lnTo>
                    <a:pt x="239" y="326"/>
                  </a:lnTo>
                  <a:lnTo>
                    <a:pt x="242" y="326"/>
                  </a:lnTo>
                  <a:lnTo>
                    <a:pt x="244" y="327"/>
                  </a:lnTo>
                  <a:lnTo>
                    <a:pt x="245" y="325"/>
                  </a:lnTo>
                  <a:lnTo>
                    <a:pt x="247" y="325"/>
                  </a:lnTo>
                  <a:lnTo>
                    <a:pt x="245" y="329"/>
                  </a:lnTo>
                  <a:lnTo>
                    <a:pt x="246" y="331"/>
                  </a:lnTo>
                  <a:lnTo>
                    <a:pt x="248" y="328"/>
                  </a:lnTo>
                  <a:lnTo>
                    <a:pt x="250" y="328"/>
                  </a:lnTo>
                  <a:lnTo>
                    <a:pt x="251" y="327"/>
                  </a:lnTo>
                  <a:lnTo>
                    <a:pt x="252" y="327"/>
                  </a:lnTo>
                  <a:lnTo>
                    <a:pt x="252" y="329"/>
                  </a:lnTo>
                  <a:lnTo>
                    <a:pt x="253" y="329"/>
                  </a:lnTo>
                  <a:lnTo>
                    <a:pt x="253" y="326"/>
                  </a:lnTo>
                  <a:lnTo>
                    <a:pt x="254" y="326"/>
                  </a:lnTo>
                  <a:lnTo>
                    <a:pt x="254" y="329"/>
                  </a:lnTo>
                  <a:lnTo>
                    <a:pt x="256" y="329"/>
                  </a:lnTo>
                  <a:lnTo>
                    <a:pt x="257" y="332"/>
                  </a:lnTo>
                  <a:lnTo>
                    <a:pt x="257" y="334"/>
                  </a:lnTo>
                  <a:lnTo>
                    <a:pt x="253" y="334"/>
                  </a:lnTo>
                  <a:lnTo>
                    <a:pt x="253" y="337"/>
                  </a:lnTo>
                  <a:lnTo>
                    <a:pt x="256" y="337"/>
                  </a:lnTo>
                  <a:lnTo>
                    <a:pt x="256" y="338"/>
                  </a:lnTo>
                  <a:lnTo>
                    <a:pt x="248" y="338"/>
                  </a:lnTo>
                  <a:lnTo>
                    <a:pt x="250" y="340"/>
                  </a:lnTo>
                  <a:lnTo>
                    <a:pt x="248" y="341"/>
                  </a:lnTo>
                  <a:lnTo>
                    <a:pt x="247" y="341"/>
                  </a:lnTo>
                  <a:lnTo>
                    <a:pt x="246" y="340"/>
                  </a:lnTo>
                  <a:lnTo>
                    <a:pt x="245" y="340"/>
                  </a:lnTo>
                  <a:lnTo>
                    <a:pt x="245" y="345"/>
                  </a:lnTo>
                  <a:lnTo>
                    <a:pt x="239" y="350"/>
                  </a:lnTo>
                  <a:lnTo>
                    <a:pt x="239" y="347"/>
                  </a:lnTo>
                  <a:lnTo>
                    <a:pt x="235" y="347"/>
                  </a:lnTo>
                  <a:lnTo>
                    <a:pt x="236" y="350"/>
                  </a:lnTo>
                  <a:lnTo>
                    <a:pt x="234" y="349"/>
                  </a:lnTo>
                  <a:lnTo>
                    <a:pt x="232" y="347"/>
                  </a:lnTo>
                  <a:lnTo>
                    <a:pt x="230" y="347"/>
                  </a:lnTo>
                  <a:lnTo>
                    <a:pt x="228" y="350"/>
                  </a:lnTo>
                  <a:lnTo>
                    <a:pt x="232" y="350"/>
                  </a:lnTo>
                  <a:lnTo>
                    <a:pt x="232" y="353"/>
                  </a:lnTo>
                  <a:lnTo>
                    <a:pt x="230" y="355"/>
                  </a:lnTo>
                  <a:lnTo>
                    <a:pt x="232" y="355"/>
                  </a:lnTo>
                  <a:lnTo>
                    <a:pt x="233" y="352"/>
                  </a:lnTo>
                  <a:lnTo>
                    <a:pt x="234" y="351"/>
                  </a:lnTo>
                  <a:lnTo>
                    <a:pt x="235" y="351"/>
                  </a:lnTo>
                  <a:lnTo>
                    <a:pt x="233" y="355"/>
                  </a:lnTo>
                  <a:lnTo>
                    <a:pt x="234" y="355"/>
                  </a:lnTo>
                  <a:lnTo>
                    <a:pt x="235" y="353"/>
                  </a:lnTo>
                  <a:lnTo>
                    <a:pt x="239" y="355"/>
                  </a:lnTo>
                  <a:lnTo>
                    <a:pt x="235" y="356"/>
                  </a:lnTo>
                  <a:lnTo>
                    <a:pt x="234" y="358"/>
                  </a:lnTo>
                  <a:lnTo>
                    <a:pt x="235" y="359"/>
                  </a:lnTo>
                  <a:lnTo>
                    <a:pt x="235" y="362"/>
                  </a:lnTo>
                  <a:lnTo>
                    <a:pt x="235" y="364"/>
                  </a:lnTo>
                  <a:lnTo>
                    <a:pt x="233" y="367"/>
                  </a:lnTo>
                  <a:lnTo>
                    <a:pt x="233" y="368"/>
                  </a:lnTo>
                  <a:lnTo>
                    <a:pt x="232" y="368"/>
                  </a:lnTo>
                  <a:lnTo>
                    <a:pt x="229" y="368"/>
                  </a:lnTo>
                  <a:lnTo>
                    <a:pt x="228" y="370"/>
                  </a:lnTo>
                  <a:lnTo>
                    <a:pt x="226" y="373"/>
                  </a:lnTo>
                  <a:lnTo>
                    <a:pt x="222" y="370"/>
                  </a:lnTo>
                  <a:lnTo>
                    <a:pt x="224" y="374"/>
                  </a:lnTo>
                  <a:lnTo>
                    <a:pt x="217" y="381"/>
                  </a:lnTo>
                  <a:lnTo>
                    <a:pt x="217" y="384"/>
                  </a:lnTo>
                  <a:lnTo>
                    <a:pt x="216" y="384"/>
                  </a:lnTo>
                  <a:lnTo>
                    <a:pt x="211" y="388"/>
                  </a:lnTo>
                  <a:lnTo>
                    <a:pt x="209" y="390"/>
                  </a:lnTo>
                  <a:lnTo>
                    <a:pt x="205" y="391"/>
                  </a:lnTo>
                  <a:lnTo>
                    <a:pt x="206" y="392"/>
                  </a:lnTo>
                  <a:lnTo>
                    <a:pt x="205" y="393"/>
                  </a:lnTo>
                  <a:lnTo>
                    <a:pt x="206" y="393"/>
                  </a:lnTo>
                  <a:lnTo>
                    <a:pt x="200" y="397"/>
                  </a:lnTo>
                  <a:lnTo>
                    <a:pt x="201" y="398"/>
                  </a:lnTo>
                  <a:lnTo>
                    <a:pt x="209" y="396"/>
                  </a:lnTo>
                  <a:lnTo>
                    <a:pt x="210" y="396"/>
                  </a:lnTo>
                  <a:lnTo>
                    <a:pt x="201" y="403"/>
                  </a:lnTo>
                  <a:lnTo>
                    <a:pt x="199" y="402"/>
                  </a:lnTo>
                  <a:lnTo>
                    <a:pt x="199" y="405"/>
                  </a:lnTo>
                  <a:lnTo>
                    <a:pt x="194" y="406"/>
                  </a:lnTo>
                  <a:lnTo>
                    <a:pt x="198" y="408"/>
                  </a:lnTo>
                  <a:lnTo>
                    <a:pt x="197" y="409"/>
                  </a:lnTo>
                  <a:lnTo>
                    <a:pt x="191" y="409"/>
                  </a:lnTo>
                  <a:lnTo>
                    <a:pt x="187" y="414"/>
                  </a:lnTo>
                  <a:lnTo>
                    <a:pt x="185" y="415"/>
                  </a:lnTo>
                  <a:lnTo>
                    <a:pt x="187" y="415"/>
                  </a:lnTo>
                  <a:lnTo>
                    <a:pt x="182" y="421"/>
                  </a:lnTo>
                  <a:lnTo>
                    <a:pt x="182" y="422"/>
                  </a:lnTo>
                  <a:lnTo>
                    <a:pt x="187" y="417"/>
                  </a:lnTo>
                  <a:lnTo>
                    <a:pt x="188" y="418"/>
                  </a:lnTo>
                  <a:lnTo>
                    <a:pt x="191" y="420"/>
                  </a:lnTo>
                  <a:lnTo>
                    <a:pt x="191" y="418"/>
                  </a:lnTo>
                  <a:lnTo>
                    <a:pt x="191" y="421"/>
                  </a:lnTo>
                  <a:lnTo>
                    <a:pt x="193" y="421"/>
                  </a:lnTo>
                  <a:lnTo>
                    <a:pt x="193" y="417"/>
                  </a:lnTo>
                  <a:lnTo>
                    <a:pt x="192" y="416"/>
                  </a:lnTo>
                  <a:lnTo>
                    <a:pt x="193" y="416"/>
                  </a:lnTo>
                  <a:lnTo>
                    <a:pt x="194" y="415"/>
                  </a:lnTo>
                  <a:lnTo>
                    <a:pt x="194" y="412"/>
                  </a:lnTo>
                  <a:lnTo>
                    <a:pt x="197" y="412"/>
                  </a:lnTo>
                  <a:lnTo>
                    <a:pt x="197" y="415"/>
                  </a:lnTo>
                  <a:lnTo>
                    <a:pt x="198" y="410"/>
                  </a:lnTo>
                  <a:lnTo>
                    <a:pt x="199" y="410"/>
                  </a:lnTo>
                  <a:lnTo>
                    <a:pt x="199" y="421"/>
                  </a:lnTo>
                  <a:lnTo>
                    <a:pt x="200" y="422"/>
                  </a:lnTo>
                  <a:lnTo>
                    <a:pt x="201" y="418"/>
                  </a:lnTo>
                  <a:lnTo>
                    <a:pt x="204" y="418"/>
                  </a:lnTo>
                  <a:lnTo>
                    <a:pt x="204" y="422"/>
                  </a:lnTo>
                  <a:lnTo>
                    <a:pt x="205" y="421"/>
                  </a:lnTo>
                  <a:lnTo>
                    <a:pt x="207" y="421"/>
                  </a:lnTo>
                  <a:lnTo>
                    <a:pt x="207" y="417"/>
                  </a:lnTo>
                  <a:lnTo>
                    <a:pt x="207" y="415"/>
                  </a:lnTo>
                  <a:lnTo>
                    <a:pt x="207" y="412"/>
                  </a:lnTo>
                  <a:lnTo>
                    <a:pt x="209" y="412"/>
                  </a:lnTo>
                  <a:lnTo>
                    <a:pt x="210" y="412"/>
                  </a:lnTo>
                  <a:lnTo>
                    <a:pt x="211" y="406"/>
                  </a:lnTo>
                  <a:lnTo>
                    <a:pt x="214" y="406"/>
                  </a:lnTo>
                  <a:lnTo>
                    <a:pt x="215" y="406"/>
                  </a:lnTo>
                  <a:lnTo>
                    <a:pt x="216" y="409"/>
                  </a:lnTo>
                  <a:lnTo>
                    <a:pt x="217" y="411"/>
                  </a:lnTo>
                  <a:lnTo>
                    <a:pt x="218" y="410"/>
                  </a:lnTo>
                  <a:lnTo>
                    <a:pt x="218" y="408"/>
                  </a:lnTo>
                  <a:lnTo>
                    <a:pt x="218" y="404"/>
                  </a:lnTo>
                  <a:lnTo>
                    <a:pt x="220" y="403"/>
                  </a:lnTo>
                  <a:lnTo>
                    <a:pt x="221" y="405"/>
                  </a:lnTo>
                  <a:lnTo>
                    <a:pt x="222" y="405"/>
                  </a:lnTo>
                  <a:lnTo>
                    <a:pt x="222" y="404"/>
                  </a:lnTo>
                  <a:lnTo>
                    <a:pt x="224" y="404"/>
                  </a:lnTo>
                  <a:lnTo>
                    <a:pt x="224" y="405"/>
                  </a:lnTo>
                  <a:lnTo>
                    <a:pt x="223" y="409"/>
                  </a:lnTo>
                  <a:lnTo>
                    <a:pt x="220" y="412"/>
                  </a:lnTo>
                  <a:lnTo>
                    <a:pt x="215" y="414"/>
                  </a:lnTo>
                  <a:lnTo>
                    <a:pt x="218" y="415"/>
                  </a:lnTo>
                  <a:lnTo>
                    <a:pt x="215" y="420"/>
                  </a:lnTo>
                  <a:lnTo>
                    <a:pt x="212" y="421"/>
                  </a:lnTo>
                  <a:lnTo>
                    <a:pt x="210" y="426"/>
                  </a:lnTo>
                  <a:lnTo>
                    <a:pt x="204" y="429"/>
                  </a:lnTo>
                  <a:lnTo>
                    <a:pt x="204" y="430"/>
                  </a:lnTo>
                  <a:lnTo>
                    <a:pt x="199" y="435"/>
                  </a:lnTo>
                  <a:lnTo>
                    <a:pt x="199" y="436"/>
                  </a:lnTo>
                  <a:lnTo>
                    <a:pt x="203" y="434"/>
                  </a:lnTo>
                  <a:lnTo>
                    <a:pt x="203" y="435"/>
                  </a:lnTo>
                  <a:lnTo>
                    <a:pt x="198" y="440"/>
                  </a:lnTo>
                  <a:lnTo>
                    <a:pt x="204" y="436"/>
                  </a:lnTo>
                  <a:lnTo>
                    <a:pt x="205" y="436"/>
                  </a:lnTo>
                  <a:lnTo>
                    <a:pt x="206" y="440"/>
                  </a:lnTo>
                  <a:lnTo>
                    <a:pt x="205" y="434"/>
                  </a:lnTo>
                  <a:lnTo>
                    <a:pt x="206" y="433"/>
                  </a:lnTo>
                  <a:lnTo>
                    <a:pt x="210" y="436"/>
                  </a:lnTo>
                  <a:lnTo>
                    <a:pt x="209" y="432"/>
                  </a:lnTo>
                  <a:lnTo>
                    <a:pt x="210" y="430"/>
                  </a:lnTo>
                  <a:lnTo>
                    <a:pt x="211" y="433"/>
                  </a:lnTo>
                  <a:lnTo>
                    <a:pt x="212" y="436"/>
                  </a:lnTo>
                  <a:lnTo>
                    <a:pt x="214" y="427"/>
                  </a:lnTo>
                  <a:lnTo>
                    <a:pt x="215" y="436"/>
                  </a:lnTo>
                  <a:lnTo>
                    <a:pt x="215" y="439"/>
                  </a:lnTo>
                  <a:lnTo>
                    <a:pt x="216" y="439"/>
                  </a:lnTo>
                  <a:lnTo>
                    <a:pt x="217" y="436"/>
                  </a:lnTo>
                  <a:lnTo>
                    <a:pt x="216" y="429"/>
                  </a:lnTo>
                  <a:lnTo>
                    <a:pt x="218" y="432"/>
                  </a:lnTo>
                  <a:lnTo>
                    <a:pt x="220" y="430"/>
                  </a:lnTo>
                  <a:lnTo>
                    <a:pt x="217" y="421"/>
                  </a:lnTo>
                  <a:lnTo>
                    <a:pt x="218" y="418"/>
                  </a:lnTo>
                  <a:lnTo>
                    <a:pt x="218" y="423"/>
                  </a:lnTo>
                  <a:lnTo>
                    <a:pt x="220" y="428"/>
                  </a:lnTo>
                  <a:lnTo>
                    <a:pt x="222" y="428"/>
                  </a:lnTo>
                  <a:lnTo>
                    <a:pt x="220" y="418"/>
                  </a:lnTo>
                  <a:lnTo>
                    <a:pt x="221" y="417"/>
                  </a:lnTo>
                  <a:lnTo>
                    <a:pt x="222" y="422"/>
                  </a:lnTo>
                  <a:lnTo>
                    <a:pt x="222" y="424"/>
                  </a:lnTo>
                  <a:lnTo>
                    <a:pt x="223" y="424"/>
                  </a:lnTo>
                  <a:lnTo>
                    <a:pt x="222" y="414"/>
                  </a:lnTo>
                  <a:lnTo>
                    <a:pt x="223" y="412"/>
                  </a:lnTo>
                  <a:lnTo>
                    <a:pt x="223" y="422"/>
                  </a:lnTo>
                  <a:lnTo>
                    <a:pt x="223" y="424"/>
                  </a:lnTo>
                  <a:lnTo>
                    <a:pt x="224" y="426"/>
                  </a:lnTo>
                  <a:lnTo>
                    <a:pt x="227" y="427"/>
                  </a:lnTo>
                  <a:lnTo>
                    <a:pt x="229" y="426"/>
                  </a:lnTo>
                  <a:lnTo>
                    <a:pt x="229" y="418"/>
                  </a:lnTo>
                  <a:lnTo>
                    <a:pt x="229" y="417"/>
                  </a:lnTo>
                  <a:lnTo>
                    <a:pt x="232" y="416"/>
                  </a:lnTo>
                  <a:lnTo>
                    <a:pt x="234" y="417"/>
                  </a:lnTo>
                  <a:lnTo>
                    <a:pt x="234" y="414"/>
                  </a:lnTo>
                  <a:lnTo>
                    <a:pt x="233" y="410"/>
                  </a:lnTo>
                  <a:lnTo>
                    <a:pt x="234" y="409"/>
                  </a:lnTo>
                  <a:lnTo>
                    <a:pt x="234" y="410"/>
                  </a:lnTo>
                  <a:lnTo>
                    <a:pt x="235" y="412"/>
                  </a:lnTo>
                  <a:lnTo>
                    <a:pt x="236" y="416"/>
                  </a:lnTo>
                  <a:lnTo>
                    <a:pt x="239" y="416"/>
                  </a:lnTo>
                  <a:lnTo>
                    <a:pt x="239" y="412"/>
                  </a:lnTo>
                  <a:lnTo>
                    <a:pt x="242" y="412"/>
                  </a:lnTo>
                  <a:lnTo>
                    <a:pt x="244" y="414"/>
                  </a:lnTo>
                  <a:lnTo>
                    <a:pt x="244" y="416"/>
                  </a:lnTo>
                  <a:lnTo>
                    <a:pt x="241" y="418"/>
                  </a:lnTo>
                  <a:lnTo>
                    <a:pt x="239" y="422"/>
                  </a:lnTo>
                  <a:lnTo>
                    <a:pt x="241" y="421"/>
                  </a:lnTo>
                  <a:lnTo>
                    <a:pt x="239" y="423"/>
                  </a:lnTo>
                  <a:lnTo>
                    <a:pt x="239" y="426"/>
                  </a:lnTo>
                  <a:lnTo>
                    <a:pt x="234" y="430"/>
                  </a:lnTo>
                  <a:lnTo>
                    <a:pt x="232" y="433"/>
                  </a:lnTo>
                  <a:lnTo>
                    <a:pt x="228" y="433"/>
                  </a:lnTo>
                  <a:lnTo>
                    <a:pt x="230" y="434"/>
                  </a:lnTo>
                  <a:lnTo>
                    <a:pt x="230" y="435"/>
                  </a:lnTo>
                  <a:lnTo>
                    <a:pt x="224" y="436"/>
                  </a:lnTo>
                  <a:lnTo>
                    <a:pt x="223" y="438"/>
                  </a:lnTo>
                  <a:lnTo>
                    <a:pt x="224" y="438"/>
                  </a:lnTo>
                  <a:lnTo>
                    <a:pt x="226" y="438"/>
                  </a:lnTo>
                  <a:lnTo>
                    <a:pt x="226" y="439"/>
                  </a:lnTo>
                  <a:lnTo>
                    <a:pt x="224" y="439"/>
                  </a:lnTo>
                  <a:lnTo>
                    <a:pt x="224" y="440"/>
                  </a:lnTo>
                  <a:lnTo>
                    <a:pt x="222" y="442"/>
                  </a:lnTo>
                  <a:lnTo>
                    <a:pt x="222" y="444"/>
                  </a:lnTo>
                  <a:lnTo>
                    <a:pt x="221" y="444"/>
                  </a:lnTo>
                  <a:lnTo>
                    <a:pt x="220" y="444"/>
                  </a:lnTo>
                  <a:lnTo>
                    <a:pt x="218" y="441"/>
                  </a:lnTo>
                  <a:lnTo>
                    <a:pt x="217" y="440"/>
                  </a:lnTo>
                  <a:lnTo>
                    <a:pt x="217" y="441"/>
                  </a:lnTo>
                  <a:lnTo>
                    <a:pt x="217" y="444"/>
                  </a:lnTo>
                  <a:lnTo>
                    <a:pt x="212" y="442"/>
                  </a:lnTo>
                  <a:lnTo>
                    <a:pt x="211" y="442"/>
                  </a:lnTo>
                  <a:lnTo>
                    <a:pt x="211" y="444"/>
                  </a:lnTo>
                  <a:lnTo>
                    <a:pt x="215" y="445"/>
                  </a:lnTo>
                  <a:lnTo>
                    <a:pt x="216" y="445"/>
                  </a:lnTo>
                  <a:lnTo>
                    <a:pt x="215" y="446"/>
                  </a:lnTo>
                  <a:lnTo>
                    <a:pt x="211" y="448"/>
                  </a:lnTo>
                  <a:lnTo>
                    <a:pt x="215" y="450"/>
                  </a:lnTo>
                  <a:lnTo>
                    <a:pt x="214" y="451"/>
                  </a:lnTo>
                  <a:lnTo>
                    <a:pt x="212" y="452"/>
                  </a:lnTo>
                  <a:lnTo>
                    <a:pt x="211" y="452"/>
                  </a:lnTo>
                  <a:lnTo>
                    <a:pt x="210" y="452"/>
                  </a:lnTo>
                  <a:lnTo>
                    <a:pt x="209" y="451"/>
                  </a:lnTo>
                  <a:lnTo>
                    <a:pt x="209" y="452"/>
                  </a:lnTo>
                  <a:lnTo>
                    <a:pt x="209" y="453"/>
                  </a:lnTo>
                  <a:lnTo>
                    <a:pt x="210" y="453"/>
                  </a:lnTo>
                  <a:lnTo>
                    <a:pt x="209" y="454"/>
                  </a:lnTo>
                  <a:lnTo>
                    <a:pt x="207" y="454"/>
                  </a:lnTo>
                  <a:lnTo>
                    <a:pt x="204" y="453"/>
                  </a:lnTo>
                  <a:lnTo>
                    <a:pt x="203" y="453"/>
                  </a:lnTo>
                  <a:lnTo>
                    <a:pt x="203" y="454"/>
                  </a:lnTo>
                  <a:lnTo>
                    <a:pt x="206" y="456"/>
                  </a:lnTo>
                  <a:lnTo>
                    <a:pt x="207" y="456"/>
                  </a:lnTo>
                  <a:lnTo>
                    <a:pt x="206" y="457"/>
                  </a:lnTo>
                  <a:lnTo>
                    <a:pt x="203" y="460"/>
                  </a:lnTo>
                  <a:lnTo>
                    <a:pt x="209" y="457"/>
                  </a:lnTo>
                  <a:lnTo>
                    <a:pt x="210" y="457"/>
                  </a:lnTo>
                  <a:lnTo>
                    <a:pt x="210" y="458"/>
                  </a:lnTo>
                  <a:lnTo>
                    <a:pt x="210" y="462"/>
                  </a:lnTo>
                  <a:lnTo>
                    <a:pt x="209" y="463"/>
                  </a:lnTo>
                  <a:lnTo>
                    <a:pt x="205" y="463"/>
                  </a:lnTo>
                  <a:lnTo>
                    <a:pt x="203" y="463"/>
                  </a:lnTo>
                  <a:lnTo>
                    <a:pt x="199" y="464"/>
                  </a:lnTo>
                  <a:lnTo>
                    <a:pt x="197" y="464"/>
                  </a:lnTo>
                  <a:lnTo>
                    <a:pt x="194" y="464"/>
                  </a:lnTo>
                  <a:lnTo>
                    <a:pt x="193" y="465"/>
                  </a:lnTo>
                  <a:lnTo>
                    <a:pt x="199" y="465"/>
                  </a:lnTo>
                  <a:lnTo>
                    <a:pt x="199" y="466"/>
                  </a:lnTo>
                  <a:lnTo>
                    <a:pt x="195" y="468"/>
                  </a:lnTo>
                  <a:lnTo>
                    <a:pt x="194" y="468"/>
                  </a:lnTo>
                  <a:lnTo>
                    <a:pt x="199" y="469"/>
                  </a:lnTo>
                  <a:lnTo>
                    <a:pt x="200" y="469"/>
                  </a:lnTo>
                  <a:lnTo>
                    <a:pt x="201" y="470"/>
                  </a:lnTo>
                  <a:lnTo>
                    <a:pt x="201" y="472"/>
                  </a:lnTo>
                  <a:lnTo>
                    <a:pt x="201" y="474"/>
                  </a:lnTo>
                  <a:lnTo>
                    <a:pt x="203" y="474"/>
                  </a:lnTo>
                  <a:lnTo>
                    <a:pt x="203" y="472"/>
                  </a:lnTo>
                  <a:lnTo>
                    <a:pt x="203" y="468"/>
                  </a:lnTo>
                  <a:lnTo>
                    <a:pt x="201" y="468"/>
                  </a:lnTo>
                  <a:lnTo>
                    <a:pt x="203" y="466"/>
                  </a:lnTo>
                  <a:lnTo>
                    <a:pt x="204" y="466"/>
                  </a:lnTo>
                  <a:lnTo>
                    <a:pt x="204" y="471"/>
                  </a:lnTo>
                  <a:lnTo>
                    <a:pt x="205" y="469"/>
                  </a:lnTo>
                  <a:lnTo>
                    <a:pt x="206" y="468"/>
                  </a:lnTo>
                  <a:lnTo>
                    <a:pt x="206" y="466"/>
                  </a:lnTo>
                  <a:lnTo>
                    <a:pt x="207" y="465"/>
                  </a:lnTo>
                  <a:lnTo>
                    <a:pt x="207" y="470"/>
                  </a:lnTo>
                  <a:lnTo>
                    <a:pt x="209" y="470"/>
                  </a:lnTo>
                  <a:lnTo>
                    <a:pt x="209" y="471"/>
                  </a:lnTo>
                  <a:lnTo>
                    <a:pt x="206" y="471"/>
                  </a:lnTo>
                  <a:lnTo>
                    <a:pt x="205" y="474"/>
                  </a:lnTo>
                  <a:lnTo>
                    <a:pt x="205" y="475"/>
                  </a:lnTo>
                  <a:lnTo>
                    <a:pt x="206" y="476"/>
                  </a:lnTo>
                  <a:lnTo>
                    <a:pt x="203" y="476"/>
                  </a:lnTo>
                  <a:lnTo>
                    <a:pt x="201" y="476"/>
                  </a:lnTo>
                  <a:lnTo>
                    <a:pt x="199" y="475"/>
                  </a:lnTo>
                  <a:lnTo>
                    <a:pt x="198" y="475"/>
                  </a:lnTo>
                  <a:lnTo>
                    <a:pt x="197" y="476"/>
                  </a:lnTo>
                  <a:lnTo>
                    <a:pt x="193" y="471"/>
                  </a:lnTo>
                  <a:lnTo>
                    <a:pt x="192" y="472"/>
                  </a:lnTo>
                  <a:lnTo>
                    <a:pt x="194" y="476"/>
                  </a:lnTo>
                  <a:lnTo>
                    <a:pt x="192" y="476"/>
                  </a:lnTo>
                  <a:lnTo>
                    <a:pt x="191" y="474"/>
                  </a:lnTo>
                  <a:lnTo>
                    <a:pt x="189" y="474"/>
                  </a:lnTo>
                  <a:lnTo>
                    <a:pt x="188" y="475"/>
                  </a:lnTo>
                  <a:lnTo>
                    <a:pt x="188" y="476"/>
                  </a:lnTo>
                  <a:lnTo>
                    <a:pt x="187" y="478"/>
                  </a:lnTo>
                  <a:lnTo>
                    <a:pt x="186" y="478"/>
                  </a:lnTo>
                  <a:lnTo>
                    <a:pt x="188" y="480"/>
                  </a:lnTo>
                  <a:lnTo>
                    <a:pt x="189" y="478"/>
                  </a:lnTo>
                  <a:lnTo>
                    <a:pt x="191" y="478"/>
                  </a:lnTo>
                  <a:lnTo>
                    <a:pt x="192" y="477"/>
                  </a:lnTo>
                  <a:lnTo>
                    <a:pt x="193" y="478"/>
                  </a:lnTo>
                  <a:lnTo>
                    <a:pt x="193" y="480"/>
                  </a:lnTo>
                  <a:lnTo>
                    <a:pt x="191" y="483"/>
                  </a:lnTo>
                  <a:lnTo>
                    <a:pt x="186" y="484"/>
                  </a:lnTo>
                  <a:lnTo>
                    <a:pt x="182" y="482"/>
                  </a:lnTo>
                  <a:lnTo>
                    <a:pt x="176" y="482"/>
                  </a:lnTo>
                  <a:lnTo>
                    <a:pt x="173" y="486"/>
                  </a:lnTo>
                  <a:lnTo>
                    <a:pt x="171" y="487"/>
                  </a:lnTo>
                  <a:lnTo>
                    <a:pt x="169" y="487"/>
                  </a:lnTo>
                  <a:lnTo>
                    <a:pt x="168" y="488"/>
                  </a:lnTo>
                  <a:lnTo>
                    <a:pt x="167" y="487"/>
                  </a:lnTo>
                  <a:lnTo>
                    <a:pt x="165" y="489"/>
                  </a:lnTo>
                  <a:lnTo>
                    <a:pt x="163" y="492"/>
                  </a:lnTo>
                  <a:lnTo>
                    <a:pt x="163" y="493"/>
                  </a:lnTo>
                  <a:lnTo>
                    <a:pt x="161" y="493"/>
                  </a:lnTo>
                  <a:lnTo>
                    <a:pt x="158" y="493"/>
                  </a:lnTo>
                  <a:lnTo>
                    <a:pt x="158" y="492"/>
                  </a:lnTo>
                  <a:lnTo>
                    <a:pt x="158" y="489"/>
                  </a:lnTo>
                  <a:lnTo>
                    <a:pt x="156" y="488"/>
                  </a:lnTo>
                  <a:lnTo>
                    <a:pt x="156" y="489"/>
                  </a:lnTo>
                  <a:lnTo>
                    <a:pt x="156" y="491"/>
                  </a:lnTo>
                  <a:lnTo>
                    <a:pt x="157" y="493"/>
                  </a:lnTo>
                  <a:lnTo>
                    <a:pt x="158" y="495"/>
                  </a:lnTo>
                  <a:lnTo>
                    <a:pt x="157" y="497"/>
                  </a:lnTo>
                  <a:lnTo>
                    <a:pt x="156" y="498"/>
                  </a:lnTo>
                  <a:lnTo>
                    <a:pt x="153" y="498"/>
                  </a:lnTo>
                  <a:lnTo>
                    <a:pt x="152" y="497"/>
                  </a:lnTo>
                  <a:lnTo>
                    <a:pt x="150" y="497"/>
                  </a:lnTo>
                  <a:lnTo>
                    <a:pt x="147" y="499"/>
                  </a:lnTo>
                  <a:lnTo>
                    <a:pt x="150" y="499"/>
                  </a:lnTo>
                  <a:lnTo>
                    <a:pt x="153" y="499"/>
                  </a:lnTo>
                  <a:lnTo>
                    <a:pt x="152" y="500"/>
                  </a:lnTo>
                  <a:lnTo>
                    <a:pt x="147" y="505"/>
                  </a:lnTo>
                  <a:lnTo>
                    <a:pt x="146" y="504"/>
                  </a:lnTo>
                  <a:lnTo>
                    <a:pt x="145" y="505"/>
                  </a:lnTo>
                  <a:lnTo>
                    <a:pt x="144" y="506"/>
                  </a:lnTo>
                  <a:lnTo>
                    <a:pt x="138" y="506"/>
                  </a:lnTo>
                  <a:lnTo>
                    <a:pt x="134" y="506"/>
                  </a:lnTo>
                  <a:lnTo>
                    <a:pt x="133" y="506"/>
                  </a:lnTo>
                  <a:lnTo>
                    <a:pt x="130" y="506"/>
                  </a:lnTo>
                  <a:lnTo>
                    <a:pt x="130" y="507"/>
                  </a:lnTo>
                  <a:lnTo>
                    <a:pt x="133" y="507"/>
                  </a:lnTo>
                  <a:lnTo>
                    <a:pt x="135" y="509"/>
                  </a:lnTo>
                  <a:lnTo>
                    <a:pt x="132" y="512"/>
                  </a:lnTo>
                  <a:lnTo>
                    <a:pt x="132" y="513"/>
                  </a:lnTo>
                  <a:lnTo>
                    <a:pt x="133" y="513"/>
                  </a:lnTo>
                  <a:lnTo>
                    <a:pt x="136" y="510"/>
                  </a:lnTo>
                  <a:lnTo>
                    <a:pt x="138" y="510"/>
                  </a:lnTo>
                  <a:lnTo>
                    <a:pt x="139" y="510"/>
                  </a:lnTo>
                  <a:lnTo>
                    <a:pt x="139" y="511"/>
                  </a:lnTo>
                  <a:lnTo>
                    <a:pt x="138" y="512"/>
                  </a:lnTo>
                  <a:lnTo>
                    <a:pt x="138" y="513"/>
                  </a:lnTo>
                  <a:lnTo>
                    <a:pt x="139" y="513"/>
                  </a:lnTo>
                  <a:lnTo>
                    <a:pt x="140" y="511"/>
                  </a:lnTo>
                  <a:lnTo>
                    <a:pt x="140" y="510"/>
                  </a:lnTo>
                  <a:lnTo>
                    <a:pt x="142" y="507"/>
                  </a:lnTo>
                  <a:lnTo>
                    <a:pt x="146" y="507"/>
                  </a:lnTo>
                  <a:lnTo>
                    <a:pt x="146" y="510"/>
                  </a:lnTo>
                  <a:lnTo>
                    <a:pt x="141" y="513"/>
                  </a:lnTo>
                  <a:lnTo>
                    <a:pt x="140" y="516"/>
                  </a:lnTo>
                  <a:lnTo>
                    <a:pt x="133" y="521"/>
                  </a:lnTo>
                  <a:lnTo>
                    <a:pt x="133" y="522"/>
                  </a:lnTo>
                  <a:lnTo>
                    <a:pt x="138" y="519"/>
                  </a:lnTo>
                  <a:lnTo>
                    <a:pt x="139" y="519"/>
                  </a:lnTo>
                  <a:lnTo>
                    <a:pt x="139" y="522"/>
                  </a:lnTo>
                  <a:lnTo>
                    <a:pt x="140" y="522"/>
                  </a:lnTo>
                  <a:lnTo>
                    <a:pt x="140" y="518"/>
                  </a:lnTo>
                  <a:lnTo>
                    <a:pt x="141" y="517"/>
                  </a:lnTo>
                  <a:lnTo>
                    <a:pt x="142" y="517"/>
                  </a:lnTo>
                  <a:lnTo>
                    <a:pt x="144" y="522"/>
                  </a:lnTo>
                  <a:lnTo>
                    <a:pt x="145" y="525"/>
                  </a:lnTo>
                  <a:lnTo>
                    <a:pt x="146" y="527"/>
                  </a:lnTo>
                  <a:lnTo>
                    <a:pt x="147" y="527"/>
                  </a:lnTo>
                  <a:lnTo>
                    <a:pt x="149" y="528"/>
                  </a:lnTo>
                  <a:lnTo>
                    <a:pt x="149" y="523"/>
                  </a:lnTo>
                  <a:lnTo>
                    <a:pt x="152" y="522"/>
                  </a:lnTo>
                  <a:lnTo>
                    <a:pt x="153" y="521"/>
                  </a:lnTo>
                  <a:lnTo>
                    <a:pt x="153" y="518"/>
                  </a:lnTo>
                  <a:lnTo>
                    <a:pt x="155" y="517"/>
                  </a:lnTo>
                  <a:lnTo>
                    <a:pt x="155" y="518"/>
                  </a:lnTo>
                  <a:lnTo>
                    <a:pt x="157" y="519"/>
                  </a:lnTo>
                  <a:lnTo>
                    <a:pt x="158" y="522"/>
                  </a:lnTo>
                  <a:lnTo>
                    <a:pt x="159" y="523"/>
                  </a:lnTo>
                  <a:lnTo>
                    <a:pt x="159" y="528"/>
                  </a:lnTo>
                  <a:lnTo>
                    <a:pt x="161" y="528"/>
                  </a:lnTo>
                  <a:lnTo>
                    <a:pt x="162" y="528"/>
                  </a:lnTo>
                  <a:lnTo>
                    <a:pt x="162" y="527"/>
                  </a:lnTo>
                  <a:lnTo>
                    <a:pt x="162" y="519"/>
                  </a:lnTo>
                  <a:lnTo>
                    <a:pt x="163" y="518"/>
                  </a:lnTo>
                  <a:lnTo>
                    <a:pt x="163" y="524"/>
                  </a:lnTo>
                  <a:lnTo>
                    <a:pt x="164" y="524"/>
                  </a:lnTo>
                  <a:lnTo>
                    <a:pt x="164" y="523"/>
                  </a:lnTo>
                  <a:lnTo>
                    <a:pt x="165" y="521"/>
                  </a:lnTo>
                  <a:lnTo>
                    <a:pt x="165" y="519"/>
                  </a:lnTo>
                  <a:lnTo>
                    <a:pt x="167" y="519"/>
                  </a:lnTo>
                  <a:lnTo>
                    <a:pt x="168" y="521"/>
                  </a:lnTo>
                  <a:lnTo>
                    <a:pt x="168" y="522"/>
                  </a:lnTo>
                  <a:lnTo>
                    <a:pt x="169" y="521"/>
                  </a:lnTo>
                  <a:lnTo>
                    <a:pt x="170" y="519"/>
                  </a:lnTo>
                  <a:lnTo>
                    <a:pt x="169" y="518"/>
                  </a:lnTo>
                  <a:lnTo>
                    <a:pt x="168" y="516"/>
                  </a:lnTo>
                  <a:lnTo>
                    <a:pt x="169" y="515"/>
                  </a:lnTo>
                  <a:lnTo>
                    <a:pt x="169" y="512"/>
                  </a:lnTo>
                  <a:lnTo>
                    <a:pt x="169" y="511"/>
                  </a:lnTo>
                  <a:lnTo>
                    <a:pt x="170" y="511"/>
                  </a:lnTo>
                  <a:lnTo>
                    <a:pt x="171" y="511"/>
                  </a:lnTo>
                  <a:lnTo>
                    <a:pt x="170" y="512"/>
                  </a:lnTo>
                  <a:lnTo>
                    <a:pt x="170" y="513"/>
                  </a:lnTo>
                  <a:lnTo>
                    <a:pt x="170" y="515"/>
                  </a:lnTo>
                  <a:lnTo>
                    <a:pt x="169" y="516"/>
                  </a:lnTo>
                  <a:lnTo>
                    <a:pt x="170" y="518"/>
                  </a:lnTo>
                  <a:lnTo>
                    <a:pt x="170" y="519"/>
                  </a:lnTo>
                  <a:lnTo>
                    <a:pt x="171" y="519"/>
                  </a:lnTo>
                  <a:lnTo>
                    <a:pt x="171" y="521"/>
                  </a:lnTo>
                  <a:lnTo>
                    <a:pt x="170" y="524"/>
                  </a:lnTo>
                  <a:lnTo>
                    <a:pt x="170" y="528"/>
                  </a:lnTo>
                  <a:lnTo>
                    <a:pt x="171" y="528"/>
                  </a:lnTo>
                  <a:lnTo>
                    <a:pt x="173" y="525"/>
                  </a:lnTo>
                  <a:lnTo>
                    <a:pt x="173" y="524"/>
                  </a:lnTo>
                  <a:lnTo>
                    <a:pt x="174" y="523"/>
                  </a:lnTo>
                  <a:lnTo>
                    <a:pt x="175" y="522"/>
                  </a:lnTo>
                  <a:lnTo>
                    <a:pt x="175" y="517"/>
                  </a:lnTo>
                  <a:lnTo>
                    <a:pt x="175" y="516"/>
                  </a:lnTo>
                  <a:lnTo>
                    <a:pt x="176" y="516"/>
                  </a:lnTo>
                  <a:lnTo>
                    <a:pt x="176" y="517"/>
                  </a:lnTo>
                  <a:lnTo>
                    <a:pt x="179" y="519"/>
                  </a:lnTo>
                  <a:lnTo>
                    <a:pt x="179" y="521"/>
                  </a:lnTo>
                  <a:lnTo>
                    <a:pt x="180" y="522"/>
                  </a:lnTo>
                  <a:lnTo>
                    <a:pt x="181" y="523"/>
                  </a:lnTo>
                  <a:lnTo>
                    <a:pt x="181" y="524"/>
                  </a:lnTo>
                  <a:lnTo>
                    <a:pt x="180" y="527"/>
                  </a:lnTo>
                  <a:lnTo>
                    <a:pt x="179" y="527"/>
                  </a:lnTo>
                  <a:lnTo>
                    <a:pt x="176" y="528"/>
                  </a:lnTo>
                  <a:lnTo>
                    <a:pt x="175" y="528"/>
                  </a:lnTo>
                  <a:lnTo>
                    <a:pt x="173" y="530"/>
                  </a:lnTo>
                  <a:lnTo>
                    <a:pt x="171" y="531"/>
                  </a:lnTo>
                  <a:lnTo>
                    <a:pt x="173" y="531"/>
                  </a:lnTo>
                  <a:lnTo>
                    <a:pt x="174" y="531"/>
                  </a:lnTo>
                  <a:lnTo>
                    <a:pt x="176" y="531"/>
                  </a:lnTo>
                  <a:lnTo>
                    <a:pt x="176" y="530"/>
                  </a:lnTo>
                  <a:lnTo>
                    <a:pt x="177" y="530"/>
                  </a:lnTo>
                  <a:lnTo>
                    <a:pt x="177" y="531"/>
                  </a:lnTo>
                  <a:lnTo>
                    <a:pt x="177" y="533"/>
                  </a:lnTo>
                  <a:lnTo>
                    <a:pt x="176" y="534"/>
                  </a:lnTo>
                  <a:lnTo>
                    <a:pt x="175" y="535"/>
                  </a:lnTo>
                  <a:lnTo>
                    <a:pt x="174" y="535"/>
                  </a:lnTo>
                  <a:lnTo>
                    <a:pt x="173" y="535"/>
                  </a:lnTo>
                  <a:lnTo>
                    <a:pt x="171" y="533"/>
                  </a:lnTo>
                  <a:lnTo>
                    <a:pt x="170" y="533"/>
                  </a:lnTo>
                  <a:lnTo>
                    <a:pt x="170" y="534"/>
                  </a:lnTo>
                  <a:lnTo>
                    <a:pt x="170" y="535"/>
                  </a:lnTo>
                  <a:lnTo>
                    <a:pt x="165" y="535"/>
                  </a:lnTo>
                  <a:lnTo>
                    <a:pt x="164" y="534"/>
                  </a:lnTo>
                  <a:lnTo>
                    <a:pt x="162" y="534"/>
                  </a:lnTo>
                  <a:lnTo>
                    <a:pt x="162" y="533"/>
                  </a:lnTo>
                  <a:lnTo>
                    <a:pt x="161" y="533"/>
                  </a:lnTo>
                  <a:lnTo>
                    <a:pt x="159" y="534"/>
                  </a:lnTo>
                  <a:lnTo>
                    <a:pt x="151" y="535"/>
                  </a:lnTo>
                  <a:lnTo>
                    <a:pt x="150" y="534"/>
                  </a:lnTo>
                  <a:lnTo>
                    <a:pt x="149" y="534"/>
                  </a:lnTo>
                  <a:lnTo>
                    <a:pt x="146" y="535"/>
                  </a:lnTo>
                  <a:lnTo>
                    <a:pt x="145" y="535"/>
                  </a:lnTo>
                  <a:lnTo>
                    <a:pt x="144" y="534"/>
                  </a:lnTo>
                  <a:lnTo>
                    <a:pt x="142" y="534"/>
                  </a:lnTo>
                  <a:lnTo>
                    <a:pt x="141" y="534"/>
                  </a:lnTo>
                  <a:lnTo>
                    <a:pt x="138" y="534"/>
                  </a:lnTo>
                  <a:lnTo>
                    <a:pt x="136" y="535"/>
                  </a:lnTo>
                  <a:lnTo>
                    <a:pt x="133" y="536"/>
                  </a:lnTo>
                  <a:lnTo>
                    <a:pt x="132" y="535"/>
                  </a:lnTo>
                  <a:lnTo>
                    <a:pt x="129" y="535"/>
                  </a:lnTo>
                  <a:lnTo>
                    <a:pt x="127" y="536"/>
                  </a:lnTo>
                  <a:lnTo>
                    <a:pt x="124" y="537"/>
                  </a:lnTo>
                  <a:lnTo>
                    <a:pt x="123" y="537"/>
                  </a:lnTo>
                  <a:lnTo>
                    <a:pt x="122" y="539"/>
                  </a:lnTo>
                  <a:lnTo>
                    <a:pt x="118" y="539"/>
                  </a:lnTo>
                  <a:lnTo>
                    <a:pt x="117" y="540"/>
                  </a:lnTo>
                  <a:lnTo>
                    <a:pt x="116" y="541"/>
                  </a:lnTo>
                  <a:lnTo>
                    <a:pt x="112" y="541"/>
                  </a:lnTo>
                  <a:lnTo>
                    <a:pt x="111" y="542"/>
                  </a:lnTo>
                  <a:lnTo>
                    <a:pt x="110" y="542"/>
                  </a:lnTo>
                  <a:lnTo>
                    <a:pt x="109" y="543"/>
                  </a:lnTo>
                  <a:lnTo>
                    <a:pt x="108" y="545"/>
                  </a:lnTo>
                  <a:lnTo>
                    <a:pt x="106" y="546"/>
                  </a:lnTo>
                  <a:lnTo>
                    <a:pt x="105" y="547"/>
                  </a:lnTo>
                  <a:lnTo>
                    <a:pt x="103" y="547"/>
                  </a:lnTo>
                  <a:lnTo>
                    <a:pt x="100" y="546"/>
                  </a:lnTo>
                  <a:lnTo>
                    <a:pt x="99" y="546"/>
                  </a:lnTo>
                  <a:lnTo>
                    <a:pt x="98" y="547"/>
                  </a:lnTo>
                  <a:lnTo>
                    <a:pt x="97" y="547"/>
                  </a:lnTo>
                  <a:lnTo>
                    <a:pt x="94" y="546"/>
                  </a:lnTo>
                  <a:lnTo>
                    <a:pt x="93" y="546"/>
                  </a:lnTo>
                  <a:lnTo>
                    <a:pt x="97" y="548"/>
                  </a:lnTo>
                  <a:lnTo>
                    <a:pt x="96" y="549"/>
                  </a:lnTo>
                  <a:lnTo>
                    <a:pt x="90" y="553"/>
                  </a:lnTo>
                  <a:lnTo>
                    <a:pt x="96" y="552"/>
                  </a:lnTo>
                  <a:lnTo>
                    <a:pt x="97" y="552"/>
                  </a:lnTo>
                  <a:lnTo>
                    <a:pt x="98" y="553"/>
                  </a:lnTo>
                  <a:lnTo>
                    <a:pt x="97" y="555"/>
                  </a:lnTo>
                  <a:lnTo>
                    <a:pt x="99" y="554"/>
                  </a:lnTo>
                  <a:lnTo>
                    <a:pt x="99" y="553"/>
                  </a:lnTo>
                  <a:lnTo>
                    <a:pt x="99" y="551"/>
                  </a:lnTo>
                  <a:lnTo>
                    <a:pt x="100" y="551"/>
                  </a:lnTo>
                  <a:lnTo>
                    <a:pt x="100" y="552"/>
                  </a:lnTo>
                  <a:lnTo>
                    <a:pt x="102" y="553"/>
                  </a:lnTo>
                  <a:lnTo>
                    <a:pt x="103" y="549"/>
                  </a:lnTo>
                  <a:lnTo>
                    <a:pt x="104" y="549"/>
                  </a:lnTo>
                  <a:lnTo>
                    <a:pt x="104" y="553"/>
                  </a:lnTo>
                  <a:lnTo>
                    <a:pt x="105" y="554"/>
                  </a:lnTo>
                  <a:lnTo>
                    <a:pt x="106" y="555"/>
                  </a:lnTo>
                  <a:lnTo>
                    <a:pt x="106" y="558"/>
                  </a:lnTo>
                  <a:lnTo>
                    <a:pt x="108" y="558"/>
                  </a:lnTo>
                  <a:lnTo>
                    <a:pt x="109" y="559"/>
                  </a:lnTo>
                  <a:lnTo>
                    <a:pt x="110" y="560"/>
                  </a:lnTo>
                  <a:lnTo>
                    <a:pt x="110" y="563"/>
                  </a:lnTo>
                  <a:lnTo>
                    <a:pt x="111" y="564"/>
                  </a:lnTo>
                  <a:lnTo>
                    <a:pt x="112" y="563"/>
                  </a:lnTo>
                  <a:lnTo>
                    <a:pt x="114" y="561"/>
                  </a:lnTo>
                  <a:lnTo>
                    <a:pt x="114" y="559"/>
                  </a:lnTo>
                  <a:lnTo>
                    <a:pt x="111" y="558"/>
                  </a:lnTo>
                  <a:lnTo>
                    <a:pt x="114" y="557"/>
                  </a:lnTo>
                  <a:lnTo>
                    <a:pt x="114" y="555"/>
                  </a:lnTo>
                  <a:lnTo>
                    <a:pt x="112" y="553"/>
                  </a:lnTo>
                  <a:lnTo>
                    <a:pt x="112" y="551"/>
                  </a:lnTo>
                  <a:lnTo>
                    <a:pt x="114" y="549"/>
                  </a:lnTo>
                  <a:lnTo>
                    <a:pt x="112" y="547"/>
                  </a:lnTo>
                  <a:lnTo>
                    <a:pt x="114" y="546"/>
                  </a:lnTo>
                  <a:lnTo>
                    <a:pt x="115" y="545"/>
                  </a:lnTo>
                  <a:lnTo>
                    <a:pt x="116" y="545"/>
                  </a:lnTo>
                  <a:lnTo>
                    <a:pt x="116" y="546"/>
                  </a:lnTo>
                  <a:lnTo>
                    <a:pt x="115" y="547"/>
                  </a:lnTo>
                  <a:lnTo>
                    <a:pt x="115" y="549"/>
                  </a:lnTo>
                  <a:lnTo>
                    <a:pt x="116" y="549"/>
                  </a:lnTo>
                  <a:lnTo>
                    <a:pt x="117" y="549"/>
                  </a:lnTo>
                  <a:lnTo>
                    <a:pt x="117" y="551"/>
                  </a:lnTo>
                  <a:lnTo>
                    <a:pt x="117" y="552"/>
                  </a:lnTo>
                  <a:lnTo>
                    <a:pt x="116" y="553"/>
                  </a:lnTo>
                  <a:lnTo>
                    <a:pt x="116" y="555"/>
                  </a:lnTo>
                  <a:lnTo>
                    <a:pt x="116" y="558"/>
                  </a:lnTo>
                  <a:lnTo>
                    <a:pt x="117" y="558"/>
                  </a:lnTo>
                  <a:lnTo>
                    <a:pt x="117" y="555"/>
                  </a:lnTo>
                  <a:lnTo>
                    <a:pt x="118" y="553"/>
                  </a:lnTo>
                  <a:lnTo>
                    <a:pt x="120" y="553"/>
                  </a:lnTo>
                  <a:lnTo>
                    <a:pt x="120" y="555"/>
                  </a:lnTo>
                  <a:lnTo>
                    <a:pt x="121" y="557"/>
                  </a:lnTo>
                  <a:lnTo>
                    <a:pt x="122" y="555"/>
                  </a:lnTo>
                  <a:lnTo>
                    <a:pt x="121" y="554"/>
                  </a:lnTo>
                  <a:lnTo>
                    <a:pt x="122" y="553"/>
                  </a:lnTo>
                  <a:lnTo>
                    <a:pt x="122" y="552"/>
                  </a:lnTo>
                  <a:lnTo>
                    <a:pt x="123" y="551"/>
                  </a:lnTo>
                  <a:lnTo>
                    <a:pt x="124" y="552"/>
                  </a:lnTo>
                  <a:lnTo>
                    <a:pt x="124" y="553"/>
                  </a:lnTo>
                  <a:lnTo>
                    <a:pt x="124" y="554"/>
                  </a:lnTo>
                  <a:lnTo>
                    <a:pt x="124" y="557"/>
                  </a:lnTo>
                  <a:lnTo>
                    <a:pt x="123" y="558"/>
                  </a:lnTo>
                  <a:lnTo>
                    <a:pt x="123" y="563"/>
                  </a:lnTo>
                  <a:lnTo>
                    <a:pt x="123" y="565"/>
                  </a:lnTo>
                  <a:lnTo>
                    <a:pt x="124" y="564"/>
                  </a:lnTo>
                  <a:lnTo>
                    <a:pt x="126" y="564"/>
                  </a:lnTo>
                  <a:lnTo>
                    <a:pt x="126" y="561"/>
                  </a:lnTo>
                  <a:lnTo>
                    <a:pt x="126" y="560"/>
                  </a:lnTo>
                  <a:lnTo>
                    <a:pt x="127" y="559"/>
                  </a:lnTo>
                  <a:lnTo>
                    <a:pt x="127" y="558"/>
                  </a:lnTo>
                  <a:lnTo>
                    <a:pt x="128" y="557"/>
                  </a:lnTo>
                  <a:lnTo>
                    <a:pt x="128" y="552"/>
                  </a:lnTo>
                  <a:lnTo>
                    <a:pt x="129" y="553"/>
                  </a:lnTo>
                  <a:lnTo>
                    <a:pt x="130" y="553"/>
                  </a:lnTo>
                  <a:lnTo>
                    <a:pt x="130" y="552"/>
                  </a:lnTo>
                  <a:lnTo>
                    <a:pt x="132" y="552"/>
                  </a:lnTo>
                  <a:lnTo>
                    <a:pt x="132" y="549"/>
                  </a:lnTo>
                  <a:lnTo>
                    <a:pt x="132" y="547"/>
                  </a:lnTo>
                  <a:lnTo>
                    <a:pt x="133" y="549"/>
                  </a:lnTo>
                  <a:lnTo>
                    <a:pt x="133" y="552"/>
                  </a:lnTo>
                  <a:lnTo>
                    <a:pt x="133" y="554"/>
                  </a:lnTo>
                  <a:lnTo>
                    <a:pt x="132" y="554"/>
                  </a:lnTo>
                  <a:lnTo>
                    <a:pt x="132" y="557"/>
                  </a:lnTo>
                  <a:lnTo>
                    <a:pt x="132" y="558"/>
                  </a:lnTo>
                  <a:lnTo>
                    <a:pt x="133" y="557"/>
                  </a:lnTo>
                  <a:lnTo>
                    <a:pt x="134" y="557"/>
                  </a:lnTo>
                  <a:lnTo>
                    <a:pt x="135" y="557"/>
                  </a:lnTo>
                  <a:lnTo>
                    <a:pt x="135" y="555"/>
                  </a:lnTo>
                  <a:lnTo>
                    <a:pt x="136" y="560"/>
                  </a:lnTo>
                  <a:lnTo>
                    <a:pt x="136" y="561"/>
                  </a:lnTo>
                  <a:lnTo>
                    <a:pt x="138" y="561"/>
                  </a:lnTo>
                  <a:lnTo>
                    <a:pt x="138" y="555"/>
                  </a:lnTo>
                  <a:lnTo>
                    <a:pt x="139" y="555"/>
                  </a:lnTo>
                  <a:lnTo>
                    <a:pt x="139" y="558"/>
                  </a:lnTo>
                  <a:lnTo>
                    <a:pt x="139" y="559"/>
                  </a:lnTo>
                  <a:lnTo>
                    <a:pt x="140" y="559"/>
                  </a:lnTo>
                  <a:lnTo>
                    <a:pt x="140" y="560"/>
                  </a:lnTo>
                  <a:lnTo>
                    <a:pt x="141" y="561"/>
                  </a:lnTo>
                  <a:lnTo>
                    <a:pt x="141" y="563"/>
                  </a:lnTo>
                  <a:lnTo>
                    <a:pt x="141" y="565"/>
                  </a:lnTo>
                  <a:lnTo>
                    <a:pt x="142" y="565"/>
                  </a:lnTo>
                  <a:lnTo>
                    <a:pt x="142" y="566"/>
                  </a:lnTo>
                  <a:lnTo>
                    <a:pt x="144" y="567"/>
                  </a:lnTo>
                  <a:lnTo>
                    <a:pt x="145" y="567"/>
                  </a:lnTo>
                  <a:lnTo>
                    <a:pt x="145" y="566"/>
                  </a:lnTo>
                  <a:lnTo>
                    <a:pt x="146" y="566"/>
                  </a:lnTo>
                  <a:lnTo>
                    <a:pt x="146" y="565"/>
                  </a:lnTo>
                  <a:lnTo>
                    <a:pt x="146" y="564"/>
                  </a:lnTo>
                  <a:lnTo>
                    <a:pt x="146" y="563"/>
                  </a:lnTo>
                  <a:lnTo>
                    <a:pt x="147" y="561"/>
                  </a:lnTo>
                  <a:lnTo>
                    <a:pt x="147" y="560"/>
                  </a:lnTo>
                  <a:lnTo>
                    <a:pt x="149" y="561"/>
                  </a:lnTo>
                  <a:lnTo>
                    <a:pt x="149" y="560"/>
                  </a:lnTo>
                  <a:lnTo>
                    <a:pt x="149" y="559"/>
                  </a:lnTo>
                  <a:lnTo>
                    <a:pt x="149" y="558"/>
                  </a:lnTo>
                  <a:lnTo>
                    <a:pt x="149" y="557"/>
                  </a:lnTo>
                  <a:lnTo>
                    <a:pt x="150" y="557"/>
                  </a:lnTo>
                  <a:lnTo>
                    <a:pt x="151" y="557"/>
                  </a:lnTo>
                  <a:lnTo>
                    <a:pt x="151" y="558"/>
                  </a:lnTo>
                  <a:lnTo>
                    <a:pt x="152" y="559"/>
                  </a:lnTo>
                  <a:lnTo>
                    <a:pt x="152" y="558"/>
                  </a:lnTo>
                  <a:lnTo>
                    <a:pt x="153" y="559"/>
                  </a:lnTo>
                  <a:lnTo>
                    <a:pt x="153" y="560"/>
                  </a:lnTo>
                  <a:lnTo>
                    <a:pt x="153" y="561"/>
                  </a:lnTo>
                  <a:lnTo>
                    <a:pt x="152" y="563"/>
                  </a:lnTo>
                  <a:lnTo>
                    <a:pt x="153" y="564"/>
                  </a:lnTo>
                  <a:lnTo>
                    <a:pt x="152" y="565"/>
                  </a:lnTo>
                  <a:lnTo>
                    <a:pt x="152" y="566"/>
                  </a:lnTo>
                  <a:lnTo>
                    <a:pt x="152" y="567"/>
                  </a:lnTo>
                  <a:lnTo>
                    <a:pt x="153" y="567"/>
                  </a:lnTo>
                  <a:lnTo>
                    <a:pt x="153" y="566"/>
                  </a:lnTo>
                  <a:lnTo>
                    <a:pt x="155" y="566"/>
                  </a:lnTo>
                  <a:lnTo>
                    <a:pt x="156" y="565"/>
                  </a:lnTo>
                  <a:lnTo>
                    <a:pt x="157" y="565"/>
                  </a:lnTo>
                  <a:lnTo>
                    <a:pt x="158" y="565"/>
                  </a:lnTo>
                  <a:lnTo>
                    <a:pt x="159" y="565"/>
                  </a:lnTo>
                  <a:lnTo>
                    <a:pt x="159" y="566"/>
                  </a:lnTo>
                  <a:lnTo>
                    <a:pt x="161" y="566"/>
                  </a:lnTo>
                  <a:lnTo>
                    <a:pt x="162" y="565"/>
                  </a:lnTo>
                  <a:lnTo>
                    <a:pt x="162" y="563"/>
                  </a:lnTo>
                  <a:lnTo>
                    <a:pt x="162" y="561"/>
                  </a:lnTo>
                  <a:lnTo>
                    <a:pt x="163" y="563"/>
                  </a:lnTo>
                  <a:lnTo>
                    <a:pt x="164" y="563"/>
                  </a:lnTo>
                  <a:lnTo>
                    <a:pt x="163" y="564"/>
                  </a:lnTo>
                  <a:lnTo>
                    <a:pt x="163" y="565"/>
                  </a:lnTo>
                  <a:lnTo>
                    <a:pt x="163" y="566"/>
                  </a:lnTo>
                  <a:lnTo>
                    <a:pt x="164" y="566"/>
                  </a:lnTo>
                  <a:lnTo>
                    <a:pt x="165" y="566"/>
                  </a:lnTo>
                  <a:lnTo>
                    <a:pt x="167" y="566"/>
                  </a:lnTo>
                  <a:lnTo>
                    <a:pt x="168" y="565"/>
                  </a:lnTo>
                  <a:lnTo>
                    <a:pt x="168" y="564"/>
                  </a:lnTo>
                  <a:lnTo>
                    <a:pt x="169" y="564"/>
                  </a:lnTo>
                  <a:lnTo>
                    <a:pt x="170" y="563"/>
                  </a:lnTo>
                  <a:lnTo>
                    <a:pt x="171" y="564"/>
                  </a:lnTo>
                  <a:lnTo>
                    <a:pt x="171" y="565"/>
                  </a:lnTo>
                  <a:lnTo>
                    <a:pt x="173" y="565"/>
                  </a:lnTo>
                  <a:lnTo>
                    <a:pt x="173" y="566"/>
                  </a:lnTo>
                  <a:lnTo>
                    <a:pt x="174" y="567"/>
                  </a:lnTo>
                  <a:lnTo>
                    <a:pt x="173" y="567"/>
                  </a:lnTo>
                  <a:lnTo>
                    <a:pt x="170" y="567"/>
                  </a:lnTo>
                  <a:lnTo>
                    <a:pt x="170" y="569"/>
                  </a:lnTo>
                  <a:lnTo>
                    <a:pt x="169" y="569"/>
                  </a:lnTo>
                  <a:lnTo>
                    <a:pt x="168" y="569"/>
                  </a:lnTo>
                  <a:lnTo>
                    <a:pt x="167" y="569"/>
                  </a:lnTo>
                  <a:lnTo>
                    <a:pt x="167" y="566"/>
                  </a:lnTo>
                  <a:lnTo>
                    <a:pt x="165" y="567"/>
                  </a:lnTo>
                  <a:lnTo>
                    <a:pt x="164" y="567"/>
                  </a:lnTo>
                  <a:lnTo>
                    <a:pt x="163" y="567"/>
                  </a:lnTo>
                  <a:lnTo>
                    <a:pt x="162" y="567"/>
                  </a:lnTo>
                  <a:lnTo>
                    <a:pt x="161" y="569"/>
                  </a:lnTo>
                  <a:lnTo>
                    <a:pt x="159" y="569"/>
                  </a:lnTo>
                  <a:lnTo>
                    <a:pt x="158" y="569"/>
                  </a:lnTo>
                  <a:lnTo>
                    <a:pt x="157" y="569"/>
                  </a:lnTo>
                  <a:lnTo>
                    <a:pt x="151" y="569"/>
                  </a:lnTo>
                  <a:lnTo>
                    <a:pt x="150" y="570"/>
                  </a:lnTo>
                  <a:lnTo>
                    <a:pt x="151" y="570"/>
                  </a:lnTo>
                  <a:lnTo>
                    <a:pt x="153" y="570"/>
                  </a:lnTo>
                  <a:lnTo>
                    <a:pt x="153" y="571"/>
                  </a:lnTo>
                  <a:lnTo>
                    <a:pt x="155" y="571"/>
                  </a:lnTo>
                  <a:lnTo>
                    <a:pt x="156" y="571"/>
                  </a:lnTo>
                  <a:lnTo>
                    <a:pt x="156" y="572"/>
                  </a:lnTo>
                  <a:lnTo>
                    <a:pt x="155" y="573"/>
                  </a:lnTo>
                  <a:lnTo>
                    <a:pt x="153" y="575"/>
                  </a:lnTo>
                  <a:lnTo>
                    <a:pt x="153" y="576"/>
                  </a:lnTo>
                  <a:lnTo>
                    <a:pt x="155" y="576"/>
                  </a:lnTo>
                  <a:lnTo>
                    <a:pt x="156" y="575"/>
                  </a:lnTo>
                  <a:lnTo>
                    <a:pt x="157" y="573"/>
                  </a:lnTo>
                  <a:lnTo>
                    <a:pt x="157" y="572"/>
                  </a:lnTo>
                  <a:lnTo>
                    <a:pt x="158" y="571"/>
                  </a:lnTo>
                  <a:lnTo>
                    <a:pt x="159" y="571"/>
                  </a:lnTo>
                  <a:lnTo>
                    <a:pt x="159" y="572"/>
                  </a:lnTo>
                  <a:lnTo>
                    <a:pt x="159" y="573"/>
                  </a:lnTo>
                  <a:lnTo>
                    <a:pt x="158" y="575"/>
                  </a:lnTo>
                  <a:lnTo>
                    <a:pt x="159" y="575"/>
                  </a:lnTo>
                  <a:lnTo>
                    <a:pt x="161" y="575"/>
                  </a:lnTo>
                  <a:lnTo>
                    <a:pt x="161" y="572"/>
                  </a:lnTo>
                  <a:lnTo>
                    <a:pt x="162" y="571"/>
                  </a:lnTo>
                  <a:lnTo>
                    <a:pt x="162" y="572"/>
                  </a:lnTo>
                  <a:lnTo>
                    <a:pt x="163" y="572"/>
                  </a:lnTo>
                  <a:lnTo>
                    <a:pt x="163" y="571"/>
                  </a:lnTo>
                  <a:lnTo>
                    <a:pt x="164" y="571"/>
                  </a:lnTo>
                  <a:lnTo>
                    <a:pt x="164" y="570"/>
                  </a:lnTo>
                  <a:lnTo>
                    <a:pt x="165" y="570"/>
                  </a:lnTo>
                  <a:lnTo>
                    <a:pt x="165" y="571"/>
                  </a:lnTo>
                  <a:lnTo>
                    <a:pt x="164" y="572"/>
                  </a:lnTo>
                  <a:lnTo>
                    <a:pt x="164" y="573"/>
                  </a:lnTo>
                  <a:lnTo>
                    <a:pt x="164" y="575"/>
                  </a:lnTo>
                  <a:lnTo>
                    <a:pt x="164" y="576"/>
                  </a:lnTo>
                  <a:lnTo>
                    <a:pt x="163" y="577"/>
                  </a:lnTo>
                  <a:lnTo>
                    <a:pt x="163" y="578"/>
                  </a:lnTo>
                  <a:lnTo>
                    <a:pt x="163" y="579"/>
                  </a:lnTo>
                  <a:lnTo>
                    <a:pt x="164" y="579"/>
                  </a:lnTo>
                  <a:lnTo>
                    <a:pt x="165" y="578"/>
                  </a:lnTo>
                  <a:lnTo>
                    <a:pt x="167" y="577"/>
                  </a:lnTo>
                  <a:lnTo>
                    <a:pt x="167" y="576"/>
                  </a:lnTo>
                  <a:lnTo>
                    <a:pt x="167" y="575"/>
                  </a:lnTo>
                  <a:lnTo>
                    <a:pt x="168" y="573"/>
                  </a:lnTo>
                  <a:lnTo>
                    <a:pt x="168" y="572"/>
                  </a:lnTo>
                  <a:lnTo>
                    <a:pt x="169" y="572"/>
                  </a:lnTo>
                  <a:lnTo>
                    <a:pt x="169" y="571"/>
                  </a:lnTo>
                  <a:lnTo>
                    <a:pt x="170" y="571"/>
                  </a:lnTo>
                  <a:lnTo>
                    <a:pt x="171" y="572"/>
                  </a:lnTo>
                  <a:lnTo>
                    <a:pt x="170" y="575"/>
                  </a:lnTo>
                  <a:lnTo>
                    <a:pt x="170" y="576"/>
                  </a:lnTo>
                  <a:lnTo>
                    <a:pt x="170" y="577"/>
                  </a:lnTo>
                  <a:lnTo>
                    <a:pt x="171" y="576"/>
                  </a:lnTo>
                  <a:lnTo>
                    <a:pt x="171" y="575"/>
                  </a:lnTo>
                  <a:lnTo>
                    <a:pt x="173" y="573"/>
                  </a:lnTo>
                  <a:lnTo>
                    <a:pt x="174" y="572"/>
                  </a:lnTo>
                  <a:lnTo>
                    <a:pt x="175" y="572"/>
                  </a:lnTo>
                  <a:lnTo>
                    <a:pt x="175" y="573"/>
                  </a:lnTo>
                  <a:lnTo>
                    <a:pt x="174" y="575"/>
                  </a:lnTo>
                  <a:lnTo>
                    <a:pt x="174" y="576"/>
                  </a:lnTo>
                  <a:lnTo>
                    <a:pt x="174" y="577"/>
                  </a:lnTo>
                  <a:lnTo>
                    <a:pt x="174" y="578"/>
                  </a:lnTo>
                  <a:lnTo>
                    <a:pt x="175" y="578"/>
                  </a:lnTo>
                  <a:lnTo>
                    <a:pt x="175" y="579"/>
                  </a:lnTo>
                  <a:lnTo>
                    <a:pt x="174" y="581"/>
                  </a:lnTo>
                  <a:lnTo>
                    <a:pt x="175" y="582"/>
                  </a:lnTo>
                  <a:lnTo>
                    <a:pt x="176" y="581"/>
                  </a:lnTo>
                  <a:lnTo>
                    <a:pt x="176" y="579"/>
                  </a:lnTo>
                  <a:lnTo>
                    <a:pt x="177" y="578"/>
                  </a:lnTo>
                  <a:lnTo>
                    <a:pt x="177" y="577"/>
                  </a:lnTo>
                  <a:lnTo>
                    <a:pt x="177" y="576"/>
                  </a:lnTo>
                  <a:lnTo>
                    <a:pt x="179" y="577"/>
                  </a:lnTo>
                  <a:lnTo>
                    <a:pt x="179" y="578"/>
                  </a:lnTo>
                  <a:lnTo>
                    <a:pt x="180" y="578"/>
                  </a:lnTo>
                  <a:lnTo>
                    <a:pt x="180" y="577"/>
                  </a:lnTo>
                  <a:lnTo>
                    <a:pt x="180" y="576"/>
                  </a:lnTo>
                  <a:lnTo>
                    <a:pt x="180" y="575"/>
                  </a:lnTo>
                  <a:lnTo>
                    <a:pt x="180" y="573"/>
                  </a:lnTo>
                  <a:lnTo>
                    <a:pt x="181" y="572"/>
                  </a:lnTo>
                  <a:lnTo>
                    <a:pt x="181" y="570"/>
                  </a:lnTo>
                  <a:lnTo>
                    <a:pt x="181" y="569"/>
                  </a:lnTo>
                  <a:lnTo>
                    <a:pt x="181" y="565"/>
                  </a:lnTo>
                  <a:lnTo>
                    <a:pt x="180" y="564"/>
                  </a:lnTo>
                  <a:lnTo>
                    <a:pt x="179" y="561"/>
                  </a:lnTo>
                  <a:lnTo>
                    <a:pt x="180" y="561"/>
                  </a:lnTo>
                  <a:lnTo>
                    <a:pt x="180" y="563"/>
                  </a:lnTo>
                  <a:lnTo>
                    <a:pt x="181" y="565"/>
                  </a:lnTo>
                  <a:lnTo>
                    <a:pt x="181" y="566"/>
                  </a:lnTo>
                  <a:lnTo>
                    <a:pt x="182" y="567"/>
                  </a:lnTo>
                  <a:lnTo>
                    <a:pt x="182" y="569"/>
                  </a:lnTo>
                  <a:lnTo>
                    <a:pt x="183" y="570"/>
                  </a:lnTo>
                  <a:lnTo>
                    <a:pt x="182" y="572"/>
                  </a:lnTo>
                  <a:lnTo>
                    <a:pt x="182" y="573"/>
                  </a:lnTo>
                  <a:lnTo>
                    <a:pt x="182" y="576"/>
                  </a:lnTo>
                  <a:lnTo>
                    <a:pt x="182" y="577"/>
                  </a:lnTo>
                  <a:lnTo>
                    <a:pt x="181" y="578"/>
                  </a:lnTo>
                  <a:lnTo>
                    <a:pt x="181" y="579"/>
                  </a:lnTo>
                  <a:lnTo>
                    <a:pt x="181" y="581"/>
                  </a:lnTo>
                  <a:lnTo>
                    <a:pt x="181" y="582"/>
                  </a:lnTo>
                  <a:lnTo>
                    <a:pt x="182" y="583"/>
                  </a:lnTo>
                  <a:lnTo>
                    <a:pt x="183" y="583"/>
                  </a:lnTo>
                  <a:lnTo>
                    <a:pt x="185" y="582"/>
                  </a:lnTo>
                  <a:lnTo>
                    <a:pt x="185" y="581"/>
                  </a:lnTo>
                  <a:lnTo>
                    <a:pt x="185" y="579"/>
                  </a:lnTo>
                  <a:lnTo>
                    <a:pt x="185" y="578"/>
                  </a:lnTo>
                  <a:lnTo>
                    <a:pt x="186" y="578"/>
                  </a:lnTo>
                  <a:lnTo>
                    <a:pt x="186" y="579"/>
                  </a:lnTo>
                  <a:lnTo>
                    <a:pt x="186" y="581"/>
                  </a:lnTo>
                  <a:lnTo>
                    <a:pt x="186" y="582"/>
                  </a:lnTo>
                  <a:lnTo>
                    <a:pt x="187" y="582"/>
                  </a:lnTo>
                  <a:lnTo>
                    <a:pt x="188" y="582"/>
                  </a:lnTo>
                  <a:lnTo>
                    <a:pt x="188" y="581"/>
                  </a:lnTo>
                  <a:lnTo>
                    <a:pt x="189" y="581"/>
                  </a:lnTo>
                  <a:lnTo>
                    <a:pt x="189" y="579"/>
                  </a:lnTo>
                  <a:lnTo>
                    <a:pt x="191" y="581"/>
                  </a:lnTo>
                  <a:lnTo>
                    <a:pt x="192" y="581"/>
                  </a:lnTo>
                  <a:lnTo>
                    <a:pt x="192" y="582"/>
                  </a:lnTo>
                  <a:lnTo>
                    <a:pt x="192" y="583"/>
                  </a:lnTo>
                  <a:lnTo>
                    <a:pt x="193" y="583"/>
                  </a:lnTo>
                  <a:lnTo>
                    <a:pt x="194" y="583"/>
                  </a:lnTo>
                  <a:lnTo>
                    <a:pt x="194" y="584"/>
                  </a:lnTo>
                  <a:lnTo>
                    <a:pt x="193" y="585"/>
                  </a:lnTo>
                  <a:lnTo>
                    <a:pt x="193" y="587"/>
                  </a:lnTo>
                  <a:lnTo>
                    <a:pt x="191" y="588"/>
                  </a:lnTo>
                  <a:lnTo>
                    <a:pt x="191" y="589"/>
                  </a:lnTo>
                  <a:lnTo>
                    <a:pt x="191" y="590"/>
                  </a:lnTo>
                  <a:lnTo>
                    <a:pt x="192" y="590"/>
                  </a:lnTo>
                  <a:lnTo>
                    <a:pt x="193" y="590"/>
                  </a:lnTo>
                  <a:lnTo>
                    <a:pt x="194" y="589"/>
                  </a:lnTo>
                  <a:lnTo>
                    <a:pt x="195" y="588"/>
                  </a:lnTo>
                  <a:lnTo>
                    <a:pt x="197" y="588"/>
                  </a:lnTo>
                  <a:lnTo>
                    <a:pt x="197" y="587"/>
                  </a:lnTo>
                  <a:lnTo>
                    <a:pt x="198" y="585"/>
                  </a:lnTo>
                  <a:lnTo>
                    <a:pt x="199" y="585"/>
                  </a:lnTo>
                  <a:lnTo>
                    <a:pt x="199" y="587"/>
                  </a:lnTo>
                  <a:lnTo>
                    <a:pt x="200" y="588"/>
                  </a:lnTo>
                  <a:lnTo>
                    <a:pt x="200" y="589"/>
                  </a:lnTo>
                  <a:lnTo>
                    <a:pt x="200" y="590"/>
                  </a:lnTo>
                  <a:lnTo>
                    <a:pt x="199" y="591"/>
                  </a:lnTo>
                  <a:lnTo>
                    <a:pt x="199" y="593"/>
                  </a:lnTo>
                  <a:lnTo>
                    <a:pt x="199" y="594"/>
                  </a:lnTo>
                  <a:lnTo>
                    <a:pt x="197" y="594"/>
                  </a:lnTo>
                  <a:lnTo>
                    <a:pt x="195" y="594"/>
                  </a:lnTo>
                  <a:lnTo>
                    <a:pt x="193" y="594"/>
                  </a:lnTo>
                  <a:lnTo>
                    <a:pt x="192" y="594"/>
                  </a:lnTo>
                  <a:lnTo>
                    <a:pt x="191" y="594"/>
                  </a:lnTo>
                  <a:lnTo>
                    <a:pt x="191" y="595"/>
                  </a:lnTo>
                  <a:lnTo>
                    <a:pt x="189" y="595"/>
                  </a:lnTo>
                  <a:lnTo>
                    <a:pt x="188" y="595"/>
                  </a:lnTo>
                  <a:lnTo>
                    <a:pt x="186" y="595"/>
                  </a:lnTo>
                  <a:lnTo>
                    <a:pt x="183" y="595"/>
                  </a:lnTo>
                  <a:lnTo>
                    <a:pt x="182" y="595"/>
                  </a:lnTo>
                  <a:lnTo>
                    <a:pt x="182" y="596"/>
                  </a:lnTo>
                  <a:lnTo>
                    <a:pt x="181" y="596"/>
                  </a:lnTo>
                  <a:lnTo>
                    <a:pt x="180" y="598"/>
                  </a:lnTo>
                  <a:lnTo>
                    <a:pt x="179" y="598"/>
                  </a:lnTo>
                  <a:lnTo>
                    <a:pt x="177" y="598"/>
                  </a:lnTo>
                  <a:lnTo>
                    <a:pt x="176" y="598"/>
                  </a:lnTo>
                  <a:lnTo>
                    <a:pt x="175" y="598"/>
                  </a:lnTo>
                  <a:lnTo>
                    <a:pt x="174" y="598"/>
                  </a:lnTo>
                  <a:lnTo>
                    <a:pt x="173" y="599"/>
                  </a:lnTo>
                  <a:lnTo>
                    <a:pt x="171" y="599"/>
                  </a:lnTo>
                  <a:lnTo>
                    <a:pt x="171" y="600"/>
                  </a:lnTo>
                  <a:lnTo>
                    <a:pt x="170" y="599"/>
                  </a:lnTo>
                  <a:lnTo>
                    <a:pt x="169" y="599"/>
                  </a:lnTo>
                  <a:lnTo>
                    <a:pt x="168" y="599"/>
                  </a:lnTo>
                  <a:lnTo>
                    <a:pt x="161" y="600"/>
                  </a:lnTo>
                  <a:lnTo>
                    <a:pt x="159" y="599"/>
                  </a:lnTo>
                  <a:lnTo>
                    <a:pt x="158" y="599"/>
                  </a:lnTo>
                  <a:lnTo>
                    <a:pt x="157" y="600"/>
                  </a:lnTo>
                  <a:lnTo>
                    <a:pt x="155" y="600"/>
                  </a:lnTo>
                  <a:lnTo>
                    <a:pt x="153" y="600"/>
                  </a:lnTo>
                  <a:lnTo>
                    <a:pt x="151" y="600"/>
                  </a:lnTo>
                  <a:lnTo>
                    <a:pt x="150" y="600"/>
                  </a:lnTo>
                  <a:lnTo>
                    <a:pt x="149" y="600"/>
                  </a:lnTo>
                  <a:lnTo>
                    <a:pt x="147" y="600"/>
                  </a:lnTo>
                  <a:lnTo>
                    <a:pt x="145" y="600"/>
                  </a:lnTo>
                  <a:lnTo>
                    <a:pt x="145" y="601"/>
                  </a:lnTo>
                  <a:lnTo>
                    <a:pt x="142" y="600"/>
                  </a:lnTo>
                  <a:lnTo>
                    <a:pt x="141" y="600"/>
                  </a:lnTo>
                  <a:lnTo>
                    <a:pt x="141" y="599"/>
                  </a:lnTo>
                  <a:lnTo>
                    <a:pt x="142" y="599"/>
                  </a:lnTo>
                  <a:lnTo>
                    <a:pt x="142" y="598"/>
                  </a:lnTo>
                  <a:lnTo>
                    <a:pt x="141" y="598"/>
                  </a:lnTo>
                  <a:lnTo>
                    <a:pt x="140" y="598"/>
                  </a:lnTo>
                  <a:lnTo>
                    <a:pt x="140" y="599"/>
                  </a:lnTo>
                  <a:lnTo>
                    <a:pt x="139" y="600"/>
                  </a:lnTo>
                  <a:lnTo>
                    <a:pt x="136" y="600"/>
                  </a:lnTo>
                  <a:lnTo>
                    <a:pt x="138" y="600"/>
                  </a:lnTo>
                  <a:lnTo>
                    <a:pt x="138" y="601"/>
                  </a:lnTo>
                  <a:lnTo>
                    <a:pt x="136" y="602"/>
                  </a:lnTo>
                  <a:lnTo>
                    <a:pt x="135" y="602"/>
                  </a:lnTo>
                  <a:lnTo>
                    <a:pt x="134" y="604"/>
                  </a:lnTo>
                  <a:lnTo>
                    <a:pt x="133" y="604"/>
                  </a:lnTo>
                  <a:lnTo>
                    <a:pt x="133" y="602"/>
                  </a:lnTo>
                  <a:lnTo>
                    <a:pt x="130" y="602"/>
                  </a:lnTo>
                  <a:lnTo>
                    <a:pt x="129" y="604"/>
                  </a:lnTo>
                  <a:lnTo>
                    <a:pt x="129" y="602"/>
                  </a:lnTo>
                  <a:lnTo>
                    <a:pt x="128" y="601"/>
                  </a:lnTo>
                  <a:lnTo>
                    <a:pt x="127" y="601"/>
                  </a:lnTo>
                  <a:lnTo>
                    <a:pt x="127" y="602"/>
                  </a:lnTo>
                  <a:lnTo>
                    <a:pt x="128" y="602"/>
                  </a:lnTo>
                  <a:lnTo>
                    <a:pt x="128" y="604"/>
                  </a:lnTo>
                  <a:lnTo>
                    <a:pt x="127" y="605"/>
                  </a:lnTo>
                  <a:lnTo>
                    <a:pt x="126" y="605"/>
                  </a:lnTo>
                  <a:lnTo>
                    <a:pt x="126" y="606"/>
                  </a:lnTo>
                  <a:lnTo>
                    <a:pt x="124" y="606"/>
                  </a:lnTo>
                  <a:lnTo>
                    <a:pt x="123" y="606"/>
                  </a:lnTo>
                  <a:lnTo>
                    <a:pt x="123" y="605"/>
                  </a:lnTo>
                  <a:lnTo>
                    <a:pt x="122" y="605"/>
                  </a:lnTo>
                  <a:lnTo>
                    <a:pt x="121" y="606"/>
                  </a:lnTo>
                  <a:lnTo>
                    <a:pt x="120" y="606"/>
                  </a:lnTo>
                  <a:lnTo>
                    <a:pt x="117" y="605"/>
                  </a:lnTo>
                  <a:lnTo>
                    <a:pt x="115" y="606"/>
                  </a:lnTo>
                  <a:lnTo>
                    <a:pt x="112" y="606"/>
                  </a:lnTo>
                  <a:lnTo>
                    <a:pt x="111" y="606"/>
                  </a:lnTo>
                  <a:lnTo>
                    <a:pt x="106" y="605"/>
                  </a:lnTo>
                  <a:lnTo>
                    <a:pt x="105" y="606"/>
                  </a:lnTo>
                  <a:lnTo>
                    <a:pt x="106" y="606"/>
                  </a:lnTo>
                  <a:lnTo>
                    <a:pt x="106" y="607"/>
                  </a:lnTo>
                  <a:lnTo>
                    <a:pt x="108" y="607"/>
                  </a:lnTo>
                  <a:lnTo>
                    <a:pt x="111" y="607"/>
                  </a:lnTo>
                  <a:lnTo>
                    <a:pt x="114" y="607"/>
                  </a:lnTo>
                  <a:lnTo>
                    <a:pt x="115" y="607"/>
                  </a:lnTo>
                  <a:lnTo>
                    <a:pt x="116" y="607"/>
                  </a:lnTo>
                  <a:lnTo>
                    <a:pt x="116" y="608"/>
                  </a:lnTo>
                  <a:lnTo>
                    <a:pt x="115" y="610"/>
                  </a:lnTo>
                  <a:lnTo>
                    <a:pt x="115" y="611"/>
                  </a:lnTo>
                  <a:lnTo>
                    <a:pt x="115" y="613"/>
                  </a:lnTo>
                  <a:lnTo>
                    <a:pt x="116" y="612"/>
                  </a:lnTo>
                  <a:lnTo>
                    <a:pt x="116" y="611"/>
                  </a:lnTo>
                  <a:lnTo>
                    <a:pt x="117" y="611"/>
                  </a:lnTo>
                  <a:lnTo>
                    <a:pt x="117" y="610"/>
                  </a:lnTo>
                  <a:lnTo>
                    <a:pt x="118" y="608"/>
                  </a:lnTo>
                  <a:lnTo>
                    <a:pt x="120" y="607"/>
                  </a:lnTo>
                  <a:lnTo>
                    <a:pt x="121" y="608"/>
                  </a:lnTo>
                  <a:lnTo>
                    <a:pt x="122" y="608"/>
                  </a:lnTo>
                  <a:lnTo>
                    <a:pt x="121" y="610"/>
                  </a:lnTo>
                  <a:lnTo>
                    <a:pt x="121" y="611"/>
                  </a:lnTo>
                  <a:lnTo>
                    <a:pt x="121" y="612"/>
                  </a:lnTo>
                  <a:lnTo>
                    <a:pt x="122" y="613"/>
                  </a:lnTo>
                  <a:lnTo>
                    <a:pt x="122" y="612"/>
                  </a:lnTo>
                  <a:lnTo>
                    <a:pt x="123" y="611"/>
                  </a:lnTo>
                  <a:lnTo>
                    <a:pt x="123" y="610"/>
                  </a:lnTo>
                  <a:lnTo>
                    <a:pt x="124" y="608"/>
                  </a:lnTo>
                  <a:lnTo>
                    <a:pt x="126" y="607"/>
                  </a:lnTo>
                  <a:lnTo>
                    <a:pt x="127" y="607"/>
                  </a:lnTo>
                  <a:lnTo>
                    <a:pt x="127" y="608"/>
                  </a:lnTo>
                  <a:lnTo>
                    <a:pt x="127" y="610"/>
                  </a:lnTo>
                  <a:lnTo>
                    <a:pt x="127" y="612"/>
                  </a:lnTo>
                  <a:lnTo>
                    <a:pt x="127" y="613"/>
                  </a:lnTo>
                  <a:lnTo>
                    <a:pt x="126" y="614"/>
                  </a:lnTo>
                  <a:lnTo>
                    <a:pt x="127" y="616"/>
                  </a:lnTo>
                  <a:lnTo>
                    <a:pt x="127" y="617"/>
                  </a:lnTo>
                  <a:lnTo>
                    <a:pt x="127" y="618"/>
                  </a:lnTo>
                  <a:lnTo>
                    <a:pt x="127" y="619"/>
                  </a:lnTo>
                  <a:lnTo>
                    <a:pt x="127" y="620"/>
                  </a:lnTo>
                  <a:lnTo>
                    <a:pt x="126" y="622"/>
                  </a:lnTo>
                  <a:lnTo>
                    <a:pt x="127" y="622"/>
                  </a:lnTo>
                  <a:lnTo>
                    <a:pt x="128" y="622"/>
                  </a:lnTo>
                  <a:lnTo>
                    <a:pt x="127" y="623"/>
                  </a:lnTo>
                  <a:lnTo>
                    <a:pt x="127" y="624"/>
                  </a:lnTo>
                  <a:lnTo>
                    <a:pt x="126" y="624"/>
                  </a:lnTo>
                  <a:lnTo>
                    <a:pt x="124" y="623"/>
                  </a:lnTo>
                  <a:lnTo>
                    <a:pt x="123" y="623"/>
                  </a:lnTo>
                  <a:lnTo>
                    <a:pt x="122" y="624"/>
                  </a:lnTo>
                  <a:lnTo>
                    <a:pt x="121" y="624"/>
                  </a:lnTo>
                  <a:lnTo>
                    <a:pt x="120" y="623"/>
                  </a:lnTo>
                  <a:lnTo>
                    <a:pt x="117" y="623"/>
                  </a:lnTo>
                  <a:lnTo>
                    <a:pt x="116" y="623"/>
                  </a:lnTo>
                  <a:lnTo>
                    <a:pt x="115" y="622"/>
                  </a:lnTo>
                  <a:lnTo>
                    <a:pt x="114" y="622"/>
                  </a:lnTo>
                  <a:lnTo>
                    <a:pt x="112" y="620"/>
                  </a:lnTo>
                  <a:lnTo>
                    <a:pt x="111" y="620"/>
                  </a:lnTo>
                  <a:lnTo>
                    <a:pt x="110" y="620"/>
                  </a:lnTo>
                  <a:lnTo>
                    <a:pt x="108" y="620"/>
                  </a:lnTo>
                  <a:lnTo>
                    <a:pt x="106" y="620"/>
                  </a:lnTo>
                  <a:lnTo>
                    <a:pt x="105" y="620"/>
                  </a:lnTo>
                  <a:lnTo>
                    <a:pt x="104" y="619"/>
                  </a:lnTo>
                  <a:lnTo>
                    <a:pt x="103" y="619"/>
                  </a:lnTo>
                  <a:lnTo>
                    <a:pt x="102" y="619"/>
                  </a:lnTo>
                  <a:lnTo>
                    <a:pt x="102" y="620"/>
                  </a:lnTo>
                  <a:lnTo>
                    <a:pt x="99" y="620"/>
                  </a:lnTo>
                  <a:lnTo>
                    <a:pt x="97" y="620"/>
                  </a:lnTo>
                  <a:lnTo>
                    <a:pt x="96" y="620"/>
                  </a:lnTo>
                  <a:lnTo>
                    <a:pt x="94" y="620"/>
                  </a:lnTo>
                  <a:lnTo>
                    <a:pt x="93" y="619"/>
                  </a:lnTo>
                  <a:lnTo>
                    <a:pt x="92" y="618"/>
                  </a:lnTo>
                  <a:lnTo>
                    <a:pt x="90" y="617"/>
                  </a:lnTo>
                  <a:lnTo>
                    <a:pt x="88" y="617"/>
                  </a:lnTo>
                  <a:lnTo>
                    <a:pt x="87" y="617"/>
                  </a:lnTo>
                  <a:lnTo>
                    <a:pt x="88" y="618"/>
                  </a:lnTo>
                  <a:lnTo>
                    <a:pt x="90" y="619"/>
                  </a:lnTo>
                  <a:lnTo>
                    <a:pt x="91" y="619"/>
                  </a:lnTo>
                  <a:lnTo>
                    <a:pt x="92" y="620"/>
                  </a:lnTo>
                  <a:lnTo>
                    <a:pt x="93" y="620"/>
                  </a:lnTo>
                  <a:lnTo>
                    <a:pt x="93" y="622"/>
                  </a:lnTo>
                  <a:lnTo>
                    <a:pt x="92" y="623"/>
                  </a:lnTo>
                  <a:lnTo>
                    <a:pt x="91" y="623"/>
                  </a:lnTo>
                  <a:lnTo>
                    <a:pt x="90" y="623"/>
                  </a:lnTo>
                  <a:lnTo>
                    <a:pt x="87" y="623"/>
                  </a:lnTo>
                  <a:lnTo>
                    <a:pt x="86" y="623"/>
                  </a:lnTo>
                  <a:lnTo>
                    <a:pt x="85" y="624"/>
                  </a:lnTo>
                  <a:lnTo>
                    <a:pt x="83" y="624"/>
                  </a:lnTo>
                  <a:lnTo>
                    <a:pt x="83" y="625"/>
                  </a:lnTo>
                  <a:lnTo>
                    <a:pt x="86" y="625"/>
                  </a:lnTo>
                  <a:lnTo>
                    <a:pt x="88" y="625"/>
                  </a:lnTo>
                  <a:lnTo>
                    <a:pt x="87" y="626"/>
                  </a:lnTo>
                  <a:lnTo>
                    <a:pt x="86" y="626"/>
                  </a:lnTo>
                  <a:lnTo>
                    <a:pt x="85" y="628"/>
                  </a:lnTo>
                  <a:lnTo>
                    <a:pt x="83" y="628"/>
                  </a:lnTo>
                  <a:lnTo>
                    <a:pt x="82" y="629"/>
                  </a:lnTo>
                  <a:lnTo>
                    <a:pt x="81" y="629"/>
                  </a:lnTo>
                  <a:lnTo>
                    <a:pt x="80" y="628"/>
                  </a:lnTo>
                  <a:lnTo>
                    <a:pt x="79" y="628"/>
                  </a:lnTo>
                  <a:lnTo>
                    <a:pt x="77" y="628"/>
                  </a:lnTo>
                  <a:lnTo>
                    <a:pt x="76" y="628"/>
                  </a:lnTo>
                  <a:lnTo>
                    <a:pt x="76" y="629"/>
                  </a:lnTo>
                  <a:lnTo>
                    <a:pt x="77" y="629"/>
                  </a:lnTo>
                  <a:lnTo>
                    <a:pt x="79" y="629"/>
                  </a:lnTo>
                  <a:lnTo>
                    <a:pt x="79" y="630"/>
                  </a:lnTo>
                  <a:lnTo>
                    <a:pt x="73" y="630"/>
                  </a:lnTo>
                  <a:lnTo>
                    <a:pt x="73" y="631"/>
                  </a:lnTo>
                  <a:lnTo>
                    <a:pt x="74" y="631"/>
                  </a:lnTo>
                  <a:lnTo>
                    <a:pt x="76" y="631"/>
                  </a:lnTo>
                  <a:lnTo>
                    <a:pt x="77" y="631"/>
                  </a:lnTo>
                  <a:lnTo>
                    <a:pt x="79" y="631"/>
                  </a:lnTo>
                  <a:lnTo>
                    <a:pt x="79" y="632"/>
                  </a:lnTo>
                  <a:lnTo>
                    <a:pt x="80" y="632"/>
                  </a:lnTo>
                  <a:lnTo>
                    <a:pt x="81" y="631"/>
                  </a:lnTo>
                  <a:lnTo>
                    <a:pt x="82" y="631"/>
                  </a:lnTo>
                  <a:lnTo>
                    <a:pt x="82" y="630"/>
                  </a:lnTo>
                  <a:lnTo>
                    <a:pt x="83" y="631"/>
                  </a:lnTo>
                  <a:lnTo>
                    <a:pt x="83" y="632"/>
                  </a:lnTo>
                  <a:lnTo>
                    <a:pt x="82" y="636"/>
                  </a:lnTo>
                  <a:lnTo>
                    <a:pt x="82" y="640"/>
                  </a:lnTo>
                  <a:lnTo>
                    <a:pt x="83" y="641"/>
                  </a:lnTo>
                  <a:lnTo>
                    <a:pt x="85" y="641"/>
                  </a:lnTo>
                  <a:lnTo>
                    <a:pt x="86" y="640"/>
                  </a:lnTo>
                  <a:lnTo>
                    <a:pt x="86" y="637"/>
                  </a:lnTo>
                  <a:lnTo>
                    <a:pt x="87" y="640"/>
                  </a:lnTo>
                  <a:lnTo>
                    <a:pt x="86" y="641"/>
                  </a:lnTo>
                  <a:lnTo>
                    <a:pt x="87" y="642"/>
                  </a:lnTo>
                  <a:lnTo>
                    <a:pt x="88" y="641"/>
                  </a:lnTo>
                  <a:lnTo>
                    <a:pt x="88" y="638"/>
                  </a:lnTo>
                  <a:lnTo>
                    <a:pt x="88" y="635"/>
                  </a:lnTo>
                  <a:lnTo>
                    <a:pt x="88" y="632"/>
                  </a:lnTo>
                  <a:lnTo>
                    <a:pt x="88" y="630"/>
                  </a:lnTo>
                  <a:lnTo>
                    <a:pt x="90" y="629"/>
                  </a:lnTo>
                  <a:lnTo>
                    <a:pt x="91" y="628"/>
                  </a:lnTo>
                  <a:lnTo>
                    <a:pt x="92" y="628"/>
                  </a:lnTo>
                  <a:lnTo>
                    <a:pt x="93" y="628"/>
                  </a:lnTo>
                  <a:lnTo>
                    <a:pt x="92" y="629"/>
                  </a:lnTo>
                  <a:lnTo>
                    <a:pt x="92" y="630"/>
                  </a:lnTo>
                  <a:lnTo>
                    <a:pt x="91" y="631"/>
                  </a:lnTo>
                  <a:lnTo>
                    <a:pt x="90" y="632"/>
                  </a:lnTo>
                  <a:lnTo>
                    <a:pt x="90" y="634"/>
                  </a:lnTo>
                  <a:lnTo>
                    <a:pt x="90" y="636"/>
                  </a:lnTo>
                  <a:lnTo>
                    <a:pt x="90" y="637"/>
                  </a:lnTo>
                  <a:lnTo>
                    <a:pt x="90" y="640"/>
                  </a:lnTo>
                  <a:lnTo>
                    <a:pt x="90" y="641"/>
                  </a:lnTo>
                  <a:lnTo>
                    <a:pt x="90" y="642"/>
                  </a:lnTo>
                  <a:lnTo>
                    <a:pt x="91" y="647"/>
                  </a:lnTo>
                  <a:lnTo>
                    <a:pt x="91" y="648"/>
                  </a:lnTo>
                  <a:lnTo>
                    <a:pt x="92" y="647"/>
                  </a:lnTo>
                  <a:lnTo>
                    <a:pt x="92" y="646"/>
                  </a:lnTo>
                  <a:lnTo>
                    <a:pt x="92" y="635"/>
                  </a:lnTo>
                  <a:lnTo>
                    <a:pt x="93" y="635"/>
                  </a:lnTo>
                  <a:lnTo>
                    <a:pt x="93" y="636"/>
                  </a:lnTo>
                  <a:lnTo>
                    <a:pt x="93" y="637"/>
                  </a:lnTo>
                  <a:lnTo>
                    <a:pt x="93" y="638"/>
                  </a:lnTo>
                  <a:lnTo>
                    <a:pt x="94" y="638"/>
                  </a:lnTo>
                  <a:lnTo>
                    <a:pt x="94" y="640"/>
                  </a:lnTo>
                  <a:lnTo>
                    <a:pt x="93" y="640"/>
                  </a:lnTo>
                  <a:lnTo>
                    <a:pt x="93" y="641"/>
                  </a:lnTo>
                  <a:lnTo>
                    <a:pt x="93" y="642"/>
                  </a:lnTo>
                  <a:lnTo>
                    <a:pt x="94" y="642"/>
                  </a:lnTo>
                  <a:lnTo>
                    <a:pt x="93" y="643"/>
                  </a:lnTo>
                  <a:lnTo>
                    <a:pt x="93" y="644"/>
                  </a:lnTo>
                  <a:lnTo>
                    <a:pt x="94" y="646"/>
                  </a:lnTo>
                  <a:lnTo>
                    <a:pt x="94" y="650"/>
                  </a:lnTo>
                  <a:lnTo>
                    <a:pt x="94" y="652"/>
                  </a:lnTo>
                  <a:lnTo>
                    <a:pt x="96" y="652"/>
                  </a:lnTo>
                  <a:lnTo>
                    <a:pt x="96" y="653"/>
                  </a:lnTo>
                  <a:lnTo>
                    <a:pt x="96" y="652"/>
                  </a:lnTo>
                  <a:lnTo>
                    <a:pt x="96" y="650"/>
                  </a:lnTo>
                  <a:lnTo>
                    <a:pt x="96" y="640"/>
                  </a:lnTo>
                  <a:lnTo>
                    <a:pt x="97" y="640"/>
                  </a:lnTo>
                  <a:lnTo>
                    <a:pt x="97" y="638"/>
                  </a:lnTo>
                  <a:lnTo>
                    <a:pt x="98" y="638"/>
                  </a:lnTo>
                  <a:lnTo>
                    <a:pt x="98" y="641"/>
                  </a:lnTo>
                  <a:lnTo>
                    <a:pt x="98" y="642"/>
                  </a:lnTo>
                  <a:lnTo>
                    <a:pt x="99" y="642"/>
                  </a:lnTo>
                  <a:lnTo>
                    <a:pt x="100" y="642"/>
                  </a:lnTo>
                  <a:lnTo>
                    <a:pt x="100" y="641"/>
                  </a:lnTo>
                  <a:lnTo>
                    <a:pt x="100" y="640"/>
                  </a:lnTo>
                  <a:lnTo>
                    <a:pt x="102" y="638"/>
                  </a:lnTo>
                  <a:lnTo>
                    <a:pt x="103" y="638"/>
                  </a:lnTo>
                  <a:lnTo>
                    <a:pt x="104" y="638"/>
                  </a:lnTo>
                  <a:lnTo>
                    <a:pt x="104" y="640"/>
                  </a:lnTo>
                  <a:lnTo>
                    <a:pt x="106" y="640"/>
                  </a:lnTo>
                  <a:lnTo>
                    <a:pt x="105" y="638"/>
                  </a:lnTo>
                  <a:lnTo>
                    <a:pt x="105" y="637"/>
                  </a:lnTo>
                  <a:lnTo>
                    <a:pt x="105" y="636"/>
                  </a:lnTo>
                  <a:lnTo>
                    <a:pt x="105" y="635"/>
                  </a:lnTo>
                  <a:lnTo>
                    <a:pt x="105" y="634"/>
                  </a:lnTo>
                  <a:lnTo>
                    <a:pt x="105" y="632"/>
                  </a:lnTo>
                  <a:lnTo>
                    <a:pt x="106" y="632"/>
                  </a:lnTo>
                  <a:lnTo>
                    <a:pt x="106" y="634"/>
                  </a:lnTo>
                  <a:lnTo>
                    <a:pt x="108" y="634"/>
                  </a:lnTo>
                  <a:lnTo>
                    <a:pt x="109" y="634"/>
                  </a:lnTo>
                  <a:lnTo>
                    <a:pt x="109" y="635"/>
                  </a:lnTo>
                  <a:lnTo>
                    <a:pt x="109" y="636"/>
                  </a:lnTo>
                  <a:lnTo>
                    <a:pt x="108" y="637"/>
                  </a:lnTo>
                  <a:lnTo>
                    <a:pt x="108" y="638"/>
                  </a:lnTo>
                  <a:lnTo>
                    <a:pt x="108" y="640"/>
                  </a:lnTo>
                  <a:lnTo>
                    <a:pt x="108" y="641"/>
                  </a:lnTo>
                  <a:lnTo>
                    <a:pt x="105" y="642"/>
                  </a:lnTo>
                  <a:lnTo>
                    <a:pt x="105" y="643"/>
                  </a:lnTo>
                  <a:lnTo>
                    <a:pt x="106" y="643"/>
                  </a:lnTo>
                  <a:lnTo>
                    <a:pt x="108" y="642"/>
                  </a:lnTo>
                  <a:lnTo>
                    <a:pt x="108" y="643"/>
                  </a:lnTo>
                  <a:lnTo>
                    <a:pt x="108" y="644"/>
                  </a:lnTo>
                  <a:lnTo>
                    <a:pt x="109" y="646"/>
                  </a:lnTo>
                  <a:lnTo>
                    <a:pt x="108" y="647"/>
                  </a:lnTo>
                  <a:lnTo>
                    <a:pt x="108" y="648"/>
                  </a:lnTo>
                  <a:lnTo>
                    <a:pt x="109" y="648"/>
                  </a:lnTo>
                  <a:lnTo>
                    <a:pt x="110" y="647"/>
                  </a:lnTo>
                  <a:lnTo>
                    <a:pt x="110" y="646"/>
                  </a:lnTo>
                  <a:lnTo>
                    <a:pt x="110" y="644"/>
                  </a:lnTo>
                  <a:lnTo>
                    <a:pt x="111" y="644"/>
                  </a:lnTo>
                  <a:lnTo>
                    <a:pt x="112" y="644"/>
                  </a:lnTo>
                  <a:lnTo>
                    <a:pt x="112" y="647"/>
                  </a:lnTo>
                  <a:lnTo>
                    <a:pt x="112" y="648"/>
                  </a:lnTo>
                  <a:lnTo>
                    <a:pt x="111" y="649"/>
                  </a:lnTo>
                  <a:lnTo>
                    <a:pt x="110" y="650"/>
                  </a:lnTo>
                  <a:lnTo>
                    <a:pt x="110" y="652"/>
                  </a:lnTo>
                  <a:lnTo>
                    <a:pt x="110" y="653"/>
                  </a:lnTo>
                  <a:lnTo>
                    <a:pt x="109" y="654"/>
                  </a:lnTo>
                  <a:lnTo>
                    <a:pt x="110" y="656"/>
                  </a:lnTo>
                  <a:lnTo>
                    <a:pt x="111" y="658"/>
                  </a:lnTo>
                  <a:lnTo>
                    <a:pt x="110" y="658"/>
                  </a:lnTo>
                  <a:lnTo>
                    <a:pt x="109" y="658"/>
                  </a:lnTo>
                  <a:lnTo>
                    <a:pt x="108" y="659"/>
                  </a:lnTo>
                  <a:lnTo>
                    <a:pt x="106" y="660"/>
                  </a:lnTo>
                  <a:lnTo>
                    <a:pt x="105" y="661"/>
                  </a:lnTo>
                  <a:lnTo>
                    <a:pt x="104" y="662"/>
                  </a:lnTo>
                  <a:lnTo>
                    <a:pt x="103" y="664"/>
                  </a:lnTo>
                  <a:lnTo>
                    <a:pt x="102" y="664"/>
                  </a:lnTo>
                  <a:lnTo>
                    <a:pt x="102" y="665"/>
                  </a:lnTo>
                  <a:lnTo>
                    <a:pt x="100" y="666"/>
                  </a:lnTo>
                  <a:lnTo>
                    <a:pt x="100" y="667"/>
                  </a:lnTo>
                  <a:lnTo>
                    <a:pt x="99" y="667"/>
                  </a:lnTo>
                  <a:lnTo>
                    <a:pt x="96" y="667"/>
                  </a:lnTo>
                  <a:lnTo>
                    <a:pt x="94" y="667"/>
                  </a:lnTo>
                  <a:lnTo>
                    <a:pt x="93" y="668"/>
                  </a:lnTo>
                  <a:lnTo>
                    <a:pt x="92" y="670"/>
                  </a:lnTo>
                  <a:lnTo>
                    <a:pt x="90" y="671"/>
                  </a:lnTo>
                  <a:lnTo>
                    <a:pt x="88" y="670"/>
                  </a:lnTo>
                  <a:lnTo>
                    <a:pt x="87" y="670"/>
                  </a:lnTo>
                  <a:lnTo>
                    <a:pt x="86" y="668"/>
                  </a:lnTo>
                  <a:lnTo>
                    <a:pt x="85" y="668"/>
                  </a:lnTo>
                  <a:lnTo>
                    <a:pt x="82" y="668"/>
                  </a:lnTo>
                  <a:lnTo>
                    <a:pt x="83" y="668"/>
                  </a:lnTo>
                  <a:lnTo>
                    <a:pt x="85" y="670"/>
                  </a:lnTo>
                  <a:lnTo>
                    <a:pt x="85" y="671"/>
                  </a:lnTo>
                  <a:lnTo>
                    <a:pt x="83" y="671"/>
                  </a:lnTo>
                  <a:lnTo>
                    <a:pt x="82" y="671"/>
                  </a:lnTo>
                  <a:lnTo>
                    <a:pt x="81" y="672"/>
                  </a:lnTo>
                  <a:lnTo>
                    <a:pt x="80" y="672"/>
                  </a:lnTo>
                  <a:lnTo>
                    <a:pt x="81" y="673"/>
                  </a:lnTo>
                  <a:lnTo>
                    <a:pt x="82" y="673"/>
                  </a:lnTo>
                  <a:lnTo>
                    <a:pt x="83" y="672"/>
                  </a:lnTo>
                  <a:lnTo>
                    <a:pt x="85" y="672"/>
                  </a:lnTo>
                  <a:lnTo>
                    <a:pt x="86" y="672"/>
                  </a:lnTo>
                  <a:lnTo>
                    <a:pt x="86" y="673"/>
                  </a:lnTo>
                  <a:lnTo>
                    <a:pt x="86" y="674"/>
                  </a:lnTo>
                  <a:lnTo>
                    <a:pt x="85" y="676"/>
                  </a:lnTo>
                  <a:lnTo>
                    <a:pt x="85" y="677"/>
                  </a:lnTo>
                  <a:lnTo>
                    <a:pt x="86" y="676"/>
                  </a:lnTo>
                  <a:lnTo>
                    <a:pt x="87" y="674"/>
                  </a:lnTo>
                  <a:lnTo>
                    <a:pt x="87" y="673"/>
                  </a:lnTo>
                  <a:lnTo>
                    <a:pt x="88" y="673"/>
                  </a:lnTo>
                  <a:lnTo>
                    <a:pt x="90" y="673"/>
                  </a:lnTo>
                  <a:lnTo>
                    <a:pt x="90" y="676"/>
                  </a:lnTo>
                  <a:lnTo>
                    <a:pt x="90" y="677"/>
                  </a:lnTo>
                  <a:lnTo>
                    <a:pt x="91" y="676"/>
                  </a:lnTo>
                  <a:lnTo>
                    <a:pt x="91" y="674"/>
                  </a:lnTo>
                  <a:lnTo>
                    <a:pt x="91" y="673"/>
                  </a:lnTo>
                  <a:lnTo>
                    <a:pt x="91" y="671"/>
                  </a:lnTo>
                  <a:lnTo>
                    <a:pt x="92" y="671"/>
                  </a:lnTo>
                  <a:lnTo>
                    <a:pt x="92" y="672"/>
                  </a:lnTo>
                  <a:lnTo>
                    <a:pt x="92" y="673"/>
                  </a:lnTo>
                  <a:lnTo>
                    <a:pt x="92" y="676"/>
                  </a:lnTo>
                  <a:lnTo>
                    <a:pt x="92" y="677"/>
                  </a:lnTo>
                  <a:lnTo>
                    <a:pt x="93" y="678"/>
                  </a:lnTo>
                  <a:lnTo>
                    <a:pt x="92" y="680"/>
                  </a:lnTo>
                  <a:lnTo>
                    <a:pt x="91" y="682"/>
                  </a:lnTo>
                  <a:lnTo>
                    <a:pt x="88" y="682"/>
                  </a:lnTo>
                  <a:lnTo>
                    <a:pt x="85" y="682"/>
                  </a:lnTo>
                  <a:lnTo>
                    <a:pt x="83" y="680"/>
                  </a:lnTo>
                  <a:lnTo>
                    <a:pt x="82" y="679"/>
                  </a:lnTo>
                  <a:lnTo>
                    <a:pt x="81" y="679"/>
                  </a:lnTo>
                  <a:lnTo>
                    <a:pt x="81" y="680"/>
                  </a:lnTo>
                  <a:lnTo>
                    <a:pt x="80" y="680"/>
                  </a:lnTo>
                  <a:lnTo>
                    <a:pt x="79" y="679"/>
                  </a:lnTo>
                  <a:lnTo>
                    <a:pt x="79" y="678"/>
                  </a:lnTo>
                  <a:lnTo>
                    <a:pt x="79" y="679"/>
                  </a:lnTo>
                  <a:lnTo>
                    <a:pt x="79" y="680"/>
                  </a:lnTo>
                  <a:lnTo>
                    <a:pt x="77" y="679"/>
                  </a:lnTo>
                  <a:lnTo>
                    <a:pt x="76" y="678"/>
                  </a:lnTo>
                  <a:lnTo>
                    <a:pt x="76" y="677"/>
                  </a:lnTo>
                  <a:lnTo>
                    <a:pt x="75" y="678"/>
                  </a:lnTo>
                  <a:lnTo>
                    <a:pt x="75" y="679"/>
                  </a:lnTo>
                  <a:lnTo>
                    <a:pt x="73" y="679"/>
                  </a:lnTo>
                  <a:lnTo>
                    <a:pt x="70" y="678"/>
                  </a:lnTo>
                  <a:lnTo>
                    <a:pt x="69" y="678"/>
                  </a:lnTo>
                  <a:lnTo>
                    <a:pt x="69" y="679"/>
                  </a:lnTo>
                  <a:lnTo>
                    <a:pt x="70" y="679"/>
                  </a:lnTo>
                  <a:lnTo>
                    <a:pt x="71" y="679"/>
                  </a:lnTo>
                  <a:lnTo>
                    <a:pt x="73" y="680"/>
                  </a:lnTo>
                  <a:lnTo>
                    <a:pt x="73" y="682"/>
                  </a:lnTo>
                  <a:lnTo>
                    <a:pt x="73" y="683"/>
                  </a:lnTo>
                  <a:lnTo>
                    <a:pt x="74" y="683"/>
                  </a:lnTo>
                  <a:lnTo>
                    <a:pt x="75" y="683"/>
                  </a:lnTo>
                  <a:lnTo>
                    <a:pt x="76" y="684"/>
                  </a:lnTo>
                  <a:lnTo>
                    <a:pt x="76" y="683"/>
                  </a:lnTo>
                  <a:lnTo>
                    <a:pt x="77" y="682"/>
                  </a:lnTo>
                  <a:lnTo>
                    <a:pt x="79" y="682"/>
                  </a:lnTo>
                  <a:lnTo>
                    <a:pt x="79" y="683"/>
                  </a:lnTo>
                  <a:lnTo>
                    <a:pt x="77" y="683"/>
                  </a:lnTo>
                  <a:lnTo>
                    <a:pt x="77" y="684"/>
                  </a:lnTo>
                  <a:lnTo>
                    <a:pt x="77" y="685"/>
                  </a:lnTo>
                  <a:lnTo>
                    <a:pt x="79" y="684"/>
                  </a:lnTo>
                  <a:lnTo>
                    <a:pt x="80" y="685"/>
                  </a:lnTo>
                  <a:lnTo>
                    <a:pt x="79" y="685"/>
                  </a:lnTo>
                  <a:lnTo>
                    <a:pt x="79" y="688"/>
                  </a:lnTo>
                  <a:lnTo>
                    <a:pt x="80" y="688"/>
                  </a:lnTo>
                  <a:lnTo>
                    <a:pt x="80" y="686"/>
                  </a:lnTo>
                  <a:lnTo>
                    <a:pt x="80" y="685"/>
                  </a:lnTo>
                  <a:lnTo>
                    <a:pt x="80" y="684"/>
                  </a:lnTo>
                  <a:lnTo>
                    <a:pt x="80" y="683"/>
                  </a:lnTo>
                  <a:lnTo>
                    <a:pt x="82" y="683"/>
                  </a:lnTo>
                  <a:lnTo>
                    <a:pt x="83" y="683"/>
                  </a:lnTo>
                  <a:lnTo>
                    <a:pt x="82" y="685"/>
                  </a:lnTo>
                  <a:lnTo>
                    <a:pt x="81" y="685"/>
                  </a:lnTo>
                  <a:lnTo>
                    <a:pt x="81" y="686"/>
                  </a:lnTo>
                  <a:lnTo>
                    <a:pt x="81" y="688"/>
                  </a:lnTo>
                  <a:lnTo>
                    <a:pt x="82" y="688"/>
                  </a:lnTo>
                  <a:lnTo>
                    <a:pt x="82" y="686"/>
                  </a:lnTo>
                  <a:lnTo>
                    <a:pt x="83" y="686"/>
                  </a:lnTo>
                  <a:lnTo>
                    <a:pt x="83" y="685"/>
                  </a:lnTo>
                  <a:lnTo>
                    <a:pt x="85" y="684"/>
                  </a:lnTo>
                  <a:lnTo>
                    <a:pt x="87" y="684"/>
                  </a:lnTo>
                  <a:lnTo>
                    <a:pt x="87" y="685"/>
                  </a:lnTo>
                  <a:lnTo>
                    <a:pt x="86" y="685"/>
                  </a:lnTo>
                  <a:lnTo>
                    <a:pt x="86" y="688"/>
                  </a:lnTo>
                  <a:lnTo>
                    <a:pt x="85" y="689"/>
                  </a:lnTo>
                  <a:lnTo>
                    <a:pt x="85" y="690"/>
                  </a:lnTo>
                  <a:lnTo>
                    <a:pt x="85" y="691"/>
                  </a:lnTo>
                  <a:lnTo>
                    <a:pt x="85" y="692"/>
                  </a:lnTo>
                  <a:lnTo>
                    <a:pt x="85" y="694"/>
                  </a:lnTo>
                  <a:lnTo>
                    <a:pt x="83" y="694"/>
                  </a:lnTo>
                  <a:lnTo>
                    <a:pt x="81" y="692"/>
                  </a:lnTo>
                  <a:lnTo>
                    <a:pt x="80" y="691"/>
                  </a:lnTo>
                  <a:lnTo>
                    <a:pt x="80" y="692"/>
                  </a:lnTo>
                  <a:lnTo>
                    <a:pt x="81" y="692"/>
                  </a:lnTo>
                  <a:lnTo>
                    <a:pt x="81" y="694"/>
                  </a:lnTo>
                  <a:lnTo>
                    <a:pt x="82" y="695"/>
                  </a:lnTo>
                  <a:lnTo>
                    <a:pt x="81" y="695"/>
                  </a:lnTo>
                  <a:lnTo>
                    <a:pt x="80" y="696"/>
                  </a:lnTo>
                  <a:lnTo>
                    <a:pt x="77" y="697"/>
                  </a:lnTo>
                  <a:lnTo>
                    <a:pt x="75" y="697"/>
                  </a:lnTo>
                  <a:lnTo>
                    <a:pt x="74" y="698"/>
                  </a:lnTo>
                  <a:lnTo>
                    <a:pt x="75" y="698"/>
                  </a:lnTo>
                  <a:lnTo>
                    <a:pt x="76" y="698"/>
                  </a:lnTo>
                  <a:lnTo>
                    <a:pt x="77" y="698"/>
                  </a:lnTo>
                  <a:lnTo>
                    <a:pt x="79" y="698"/>
                  </a:lnTo>
                  <a:lnTo>
                    <a:pt x="80" y="698"/>
                  </a:lnTo>
                  <a:lnTo>
                    <a:pt x="80" y="697"/>
                  </a:lnTo>
                  <a:lnTo>
                    <a:pt x="81" y="697"/>
                  </a:lnTo>
                  <a:lnTo>
                    <a:pt x="82" y="698"/>
                  </a:lnTo>
                  <a:lnTo>
                    <a:pt x="81" y="698"/>
                  </a:lnTo>
                  <a:lnTo>
                    <a:pt x="80" y="700"/>
                  </a:lnTo>
                  <a:lnTo>
                    <a:pt x="79" y="701"/>
                  </a:lnTo>
                  <a:lnTo>
                    <a:pt x="79" y="702"/>
                  </a:lnTo>
                  <a:lnTo>
                    <a:pt x="77" y="702"/>
                  </a:lnTo>
                  <a:lnTo>
                    <a:pt x="77" y="703"/>
                  </a:lnTo>
                  <a:lnTo>
                    <a:pt x="79" y="703"/>
                  </a:lnTo>
                  <a:lnTo>
                    <a:pt x="80" y="702"/>
                  </a:lnTo>
                  <a:lnTo>
                    <a:pt x="81" y="702"/>
                  </a:lnTo>
                  <a:lnTo>
                    <a:pt x="81" y="705"/>
                  </a:lnTo>
                  <a:lnTo>
                    <a:pt x="81" y="706"/>
                  </a:lnTo>
                  <a:lnTo>
                    <a:pt x="81" y="707"/>
                  </a:lnTo>
                  <a:lnTo>
                    <a:pt x="82" y="706"/>
                  </a:lnTo>
                  <a:lnTo>
                    <a:pt x="82" y="703"/>
                  </a:lnTo>
                  <a:lnTo>
                    <a:pt x="83" y="702"/>
                  </a:lnTo>
                  <a:lnTo>
                    <a:pt x="83" y="701"/>
                  </a:lnTo>
                  <a:lnTo>
                    <a:pt x="85" y="700"/>
                  </a:lnTo>
                  <a:lnTo>
                    <a:pt x="86" y="701"/>
                  </a:lnTo>
                  <a:lnTo>
                    <a:pt x="86" y="702"/>
                  </a:lnTo>
                  <a:lnTo>
                    <a:pt x="85" y="703"/>
                  </a:lnTo>
                  <a:lnTo>
                    <a:pt x="85" y="705"/>
                  </a:lnTo>
                  <a:lnTo>
                    <a:pt x="86" y="705"/>
                  </a:lnTo>
                  <a:lnTo>
                    <a:pt x="87" y="705"/>
                  </a:lnTo>
                  <a:lnTo>
                    <a:pt x="87" y="714"/>
                  </a:lnTo>
                  <a:lnTo>
                    <a:pt x="87" y="715"/>
                  </a:lnTo>
                  <a:lnTo>
                    <a:pt x="88" y="717"/>
                  </a:lnTo>
                  <a:lnTo>
                    <a:pt x="90" y="717"/>
                  </a:lnTo>
                  <a:lnTo>
                    <a:pt x="90" y="715"/>
                  </a:lnTo>
                  <a:lnTo>
                    <a:pt x="90" y="714"/>
                  </a:lnTo>
                  <a:lnTo>
                    <a:pt x="91" y="711"/>
                  </a:lnTo>
                  <a:lnTo>
                    <a:pt x="91" y="713"/>
                  </a:lnTo>
                  <a:lnTo>
                    <a:pt x="92" y="714"/>
                  </a:lnTo>
                  <a:lnTo>
                    <a:pt x="92" y="712"/>
                  </a:lnTo>
                  <a:lnTo>
                    <a:pt x="93" y="711"/>
                  </a:lnTo>
                  <a:lnTo>
                    <a:pt x="93" y="709"/>
                  </a:lnTo>
                  <a:lnTo>
                    <a:pt x="94" y="708"/>
                  </a:lnTo>
                  <a:lnTo>
                    <a:pt x="96" y="707"/>
                  </a:lnTo>
                  <a:lnTo>
                    <a:pt x="97" y="708"/>
                  </a:lnTo>
                  <a:lnTo>
                    <a:pt x="98" y="709"/>
                  </a:lnTo>
                  <a:lnTo>
                    <a:pt x="99" y="708"/>
                  </a:lnTo>
                  <a:lnTo>
                    <a:pt x="100" y="708"/>
                  </a:lnTo>
                  <a:lnTo>
                    <a:pt x="100" y="711"/>
                  </a:lnTo>
                  <a:lnTo>
                    <a:pt x="102" y="712"/>
                  </a:lnTo>
                  <a:lnTo>
                    <a:pt x="103" y="713"/>
                  </a:lnTo>
                  <a:lnTo>
                    <a:pt x="102" y="714"/>
                  </a:lnTo>
                  <a:lnTo>
                    <a:pt x="100" y="715"/>
                  </a:lnTo>
                  <a:lnTo>
                    <a:pt x="100" y="717"/>
                  </a:lnTo>
                  <a:lnTo>
                    <a:pt x="100" y="718"/>
                  </a:lnTo>
                  <a:lnTo>
                    <a:pt x="99" y="718"/>
                  </a:lnTo>
                  <a:lnTo>
                    <a:pt x="99" y="719"/>
                  </a:lnTo>
                  <a:lnTo>
                    <a:pt x="99" y="720"/>
                  </a:lnTo>
                  <a:lnTo>
                    <a:pt x="100" y="720"/>
                  </a:lnTo>
                  <a:lnTo>
                    <a:pt x="100" y="719"/>
                  </a:lnTo>
                  <a:lnTo>
                    <a:pt x="102" y="719"/>
                  </a:lnTo>
                  <a:lnTo>
                    <a:pt x="102" y="718"/>
                  </a:lnTo>
                  <a:lnTo>
                    <a:pt x="102" y="717"/>
                  </a:lnTo>
                  <a:lnTo>
                    <a:pt x="103" y="717"/>
                  </a:lnTo>
                  <a:lnTo>
                    <a:pt x="103" y="719"/>
                  </a:lnTo>
                  <a:lnTo>
                    <a:pt x="103" y="720"/>
                  </a:lnTo>
                  <a:lnTo>
                    <a:pt x="104" y="720"/>
                  </a:lnTo>
                  <a:lnTo>
                    <a:pt x="105" y="718"/>
                  </a:lnTo>
                  <a:lnTo>
                    <a:pt x="105" y="717"/>
                  </a:lnTo>
                  <a:lnTo>
                    <a:pt x="106" y="715"/>
                  </a:lnTo>
                  <a:lnTo>
                    <a:pt x="106" y="717"/>
                  </a:lnTo>
                  <a:lnTo>
                    <a:pt x="108" y="715"/>
                  </a:lnTo>
                  <a:lnTo>
                    <a:pt x="108" y="713"/>
                  </a:lnTo>
                  <a:lnTo>
                    <a:pt x="109" y="713"/>
                  </a:lnTo>
                  <a:lnTo>
                    <a:pt x="109" y="714"/>
                  </a:lnTo>
                  <a:lnTo>
                    <a:pt x="110" y="714"/>
                  </a:lnTo>
                  <a:lnTo>
                    <a:pt x="111" y="714"/>
                  </a:lnTo>
                  <a:lnTo>
                    <a:pt x="111" y="715"/>
                  </a:lnTo>
                  <a:lnTo>
                    <a:pt x="112" y="717"/>
                  </a:lnTo>
                  <a:lnTo>
                    <a:pt x="114" y="717"/>
                  </a:lnTo>
                  <a:lnTo>
                    <a:pt x="114" y="718"/>
                  </a:lnTo>
                  <a:lnTo>
                    <a:pt x="114" y="719"/>
                  </a:lnTo>
                  <a:lnTo>
                    <a:pt x="116" y="719"/>
                  </a:lnTo>
                  <a:lnTo>
                    <a:pt x="115" y="718"/>
                  </a:lnTo>
                  <a:lnTo>
                    <a:pt x="116" y="714"/>
                  </a:lnTo>
                  <a:lnTo>
                    <a:pt x="117" y="715"/>
                  </a:lnTo>
                  <a:lnTo>
                    <a:pt x="118" y="717"/>
                  </a:lnTo>
                  <a:lnTo>
                    <a:pt x="120" y="717"/>
                  </a:lnTo>
                  <a:lnTo>
                    <a:pt x="118" y="718"/>
                  </a:lnTo>
                  <a:lnTo>
                    <a:pt x="118" y="720"/>
                  </a:lnTo>
                  <a:lnTo>
                    <a:pt x="117" y="721"/>
                  </a:lnTo>
                  <a:lnTo>
                    <a:pt x="117" y="723"/>
                  </a:lnTo>
                  <a:lnTo>
                    <a:pt x="118" y="723"/>
                  </a:lnTo>
                  <a:lnTo>
                    <a:pt x="120" y="721"/>
                  </a:lnTo>
                  <a:lnTo>
                    <a:pt x="121" y="721"/>
                  </a:lnTo>
                  <a:lnTo>
                    <a:pt x="122" y="723"/>
                  </a:lnTo>
                  <a:lnTo>
                    <a:pt x="124" y="725"/>
                  </a:lnTo>
                  <a:lnTo>
                    <a:pt x="124" y="726"/>
                  </a:lnTo>
                  <a:lnTo>
                    <a:pt x="126" y="727"/>
                  </a:lnTo>
                  <a:lnTo>
                    <a:pt x="126" y="730"/>
                  </a:lnTo>
                  <a:lnTo>
                    <a:pt x="124" y="731"/>
                  </a:lnTo>
                  <a:lnTo>
                    <a:pt x="123" y="731"/>
                  </a:lnTo>
                  <a:lnTo>
                    <a:pt x="121" y="732"/>
                  </a:lnTo>
                  <a:lnTo>
                    <a:pt x="120" y="731"/>
                  </a:lnTo>
                  <a:lnTo>
                    <a:pt x="118" y="731"/>
                  </a:lnTo>
                  <a:lnTo>
                    <a:pt x="117" y="732"/>
                  </a:lnTo>
                  <a:lnTo>
                    <a:pt x="116" y="732"/>
                  </a:lnTo>
                  <a:lnTo>
                    <a:pt x="114" y="732"/>
                  </a:lnTo>
                  <a:lnTo>
                    <a:pt x="112" y="731"/>
                  </a:lnTo>
                  <a:lnTo>
                    <a:pt x="111" y="730"/>
                  </a:lnTo>
                  <a:lnTo>
                    <a:pt x="109" y="730"/>
                  </a:lnTo>
                  <a:lnTo>
                    <a:pt x="108" y="730"/>
                  </a:lnTo>
                  <a:lnTo>
                    <a:pt x="104" y="730"/>
                  </a:lnTo>
                  <a:lnTo>
                    <a:pt x="103" y="729"/>
                  </a:lnTo>
                  <a:lnTo>
                    <a:pt x="100" y="729"/>
                  </a:lnTo>
                  <a:lnTo>
                    <a:pt x="100" y="730"/>
                  </a:lnTo>
                  <a:lnTo>
                    <a:pt x="102" y="730"/>
                  </a:lnTo>
                  <a:lnTo>
                    <a:pt x="103" y="730"/>
                  </a:lnTo>
                  <a:lnTo>
                    <a:pt x="104" y="731"/>
                  </a:lnTo>
                  <a:lnTo>
                    <a:pt x="105" y="732"/>
                  </a:lnTo>
                  <a:lnTo>
                    <a:pt x="104" y="733"/>
                  </a:lnTo>
                  <a:lnTo>
                    <a:pt x="104" y="735"/>
                  </a:lnTo>
                  <a:lnTo>
                    <a:pt x="105" y="735"/>
                  </a:lnTo>
                  <a:lnTo>
                    <a:pt x="106" y="735"/>
                  </a:lnTo>
                  <a:lnTo>
                    <a:pt x="108" y="733"/>
                  </a:lnTo>
                  <a:lnTo>
                    <a:pt x="109" y="732"/>
                  </a:lnTo>
                  <a:lnTo>
                    <a:pt x="110" y="732"/>
                  </a:lnTo>
                  <a:lnTo>
                    <a:pt x="112" y="733"/>
                  </a:lnTo>
                  <a:lnTo>
                    <a:pt x="111" y="735"/>
                  </a:lnTo>
                  <a:lnTo>
                    <a:pt x="111" y="736"/>
                  </a:lnTo>
                  <a:lnTo>
                    <a:pt x="110" y="738"/>
                  </a:lnTo>
                  <a:lnTo>
                    <a:pt x="111" y="738"/>
                  </a:lnTo>
                  <a:lnTo>
                    <a:pt x="112" y="738"/>
                  </a:lnTo>
                  <a:lnTo>
                    <a:pt x="114" y="736"/>
                  </a:lnTo>
                  <a:lnTo>
                    <a:pt x="114" y="735"/>
                  </a:lnTo>
                  <a:lnTo>
                    <a:pt x="114" y="733"/>
                  </a:lnTo>
                  <a:lnTo>
                    <a:pt x="115" y="733"/>
                  </a:lnTo>
                  <a:lnTo>
                    <a:pt x="117" y="733"/>
                  </a:lnTo>
                  <a:lnTo>
                    <a:pt x="118" y="733"/>
                  </a:lnTo>
                  <a:lnTo>
                    <a:pt x="117" y="736"/>
                  </a:lnTo>
                  <a:lnTo>
                    <a:pt x="116" y="737"/>
                  </a:lnTo>
                  <a:lnTo>
                    <a:pt x="116" y="739"/>
                  </a:lnTo>
                  <a:lnTo>
                    <a:pt x="116" y="742"/>
                  </a:lnTo>
                  <a:lnTo>
                    <a:pt x="116" y="743"/>
                  </a:lnTo>
                  <a:lnTo>
                    <a:pt x="116" y="744"/>
                  </a:lnTo>
                  <a:lnTo>
                    <a:pt x="116" y="747"/>
                  </a:lnTo>
                  <a:lnTo>
                    <a:pt x="116" y="749"/>
                  </a:lnTo>
                  <a:lnTo>
                    <a:pt x="117" y="750"/>
                  </a:lnTo>
                  <a:lnTo>
                    <a:pt x="118" y="750"/>
                  </a:lnTo>
                  <a:lnTo>
                    <a:pt x="120" y="750"/>
                  </a:lnTo>
                  <a:lnTo>
                    <a:pt x="120" y="749"/>
                  </a:lnTo>
                  <a:lnTo>
                    <a:pt x="120" y="745"/>
                  </a:lnTo>
                  <a:lnTo>
                    <a:pt x="120" y="743"/>
                  </a:lnTo>
                  <a:lnTo>
                    <a:pt x="120" y="741"/>
                  </a:lnTo>
                  <a:lnTo>
                    <a:pt x="120" y="738"/>
                  </a:lnTo>
                  <a:lnTo>
                    <a:pt x="121" y="737"/>
                  </a:lnTo>
                  <a:lnTo>
                    <a:pt x="122" y="736"/>
                  </a:lnTo>
                  <a:lnTo>
                    <a:pt x="122" y="735"/>
                  </a:lnTo>
                  <a:lnTo>
                    <a:pt x="123" y="732"/>
                  </a:lnTo>
                  <a:lnTo>
                    <a:pt x="123" y="735"/>
                  </a:lnTo>
                  <a:lnTo>
                    <a:pt x="122" y="737"/>
                  </a:lnTo>
                  <a:lnTo>
                    <a:pt x="123" y="736"/>
                  </a:lnTo>
                  <a:lnTo>
                    <a:pt x="124" y="735"/>
                  </a:lnTo>
                  <a:lnTo>
                    <a:pt x="124" y="736"/>
                  </a:lnTo>
                  <a:lnTo>
                    <a:pt x="124" y="739"/>
                  </a:lnTo>
                  <a:lnTo>
                    <a:pt x="124" y="742"/>
                  </a:lnTo>
                  <a:lnTo>
                    <a:pt x="123" y="743"/>
                  </a:lnTo>
                  <a:lnTo>
                    <a:pt x="123" y="744"/>
                  </a:lnTo>
                  <a:lnTo>
                    <a:pt x="123" y="747"/>
                  </a:lnTo>
                  <a:lnTo>
                    <a:pt x="124" y="748"/>
                  </a:lnTo>
                  <a:lnTo>
                    <a:pt x="124" y="749"/>
                  </a:lnTo>
                  <a:lnTo>
                    <a:pt x="126" y="749"/>
                  </a:lnTo>
                  <a:lnTo>
                    <a:pt x="126" y="748"/>
                  </a:lnTo>
                  <a:lnTo>
                    <a:pt x="127" y="744"/>
                  </a:lnTo>
                  <a:lnTo>
                    <a:pt x="127" y="741"/>
                  </a:lnTo>
                  <a:lnTo>
                    <a:pt x="127" y="738"/>
                  </a:lnTo>
                  <a:lnTo>
                    <a:pt x="127" y="736"/>
                  </a:lnTo>
                  <a:lnTo>
                    <a:pt x="127" y="733"/>
                  </a:lnTo>
                  <a:lnTo>
                    <a:pt x="128" y="732"/>
                  </a:lnTo>
                  <a:lnTo>
                    <a:pt x="129" y="732"/>
                  </a:lnTo>
                  <a:lnTo>
                    <a:pt x="128" y="735"/>
                  </a:lnTo>
                  <a:lnTo>
                    <a:pt x="127" y="738"/>
                  </a:lnTo>
                  <a:lnTo>
                    <a:pt x="127" y="739"/>
                  </a:lnTo>
                  <a:lnTo>
                    <a:pt x="127" y="742"/>
                  </a:lnTo>
                  <a:lnTo>
                    <a:pt x="128" y="744"/>
                  </a:lnTo>
                  <a:lnTo>
                    <a:pt x="129" y="743"/>
                  </a:lnTo>
                  <a:lnTo>
                    <a:pt x="130" y="743"/>
                  </a:lnTo>
                  <a:lnTo>
                    <a:pt x="129" y="745"/>
                  </a:lnTo>
                  <a:lnTo>
                    <a:pt x="129" y="748"/>
                  </a:lnTo>
                  <a:lnTo>
                    <a:pt x="129" y="750"/>
                  </a:lnTo>
                  <a:lnTo>
                    <a:pt x="129" y="751"/>
                  </a:lnTo>
                  <a:lnTo>
                    <a:pt x="129" y="753"/>
                  </a:lnTo>
                  <a:lnTo>
                    <a:pt x="130" y="753"/>
                  </a:lnTo>
                  <a:lnTo>
                    <a:pt x="130" y="751"/>
                  </a:lnTo>
                  <a:lnTo>
                    <a:pt x="132" y="749"/>
                  </a:lnTo>
                  <a:lnTo>
                    <a:pt x="132" y="748"/>
                  </a:lnTo>
                  <a:lnTo>
                    <a:pt x="133" y="748"/>
                  </a:lnTo>
                  <a:lnTo>
                    <a:pt x="133" y="747"/>
                  </a:lnTo>
                  <a:lnTo>
                    <a:pt x="134" y="747"/>
                  </a:lnTo>
                  <a:lnTo>
                    <a:pt x="134" y="748"/>
                  </a:lnTo>
                  <a:lnTo>
                    <a:pt x="134" y="749"/>
                  </a:lnTo>
                  <a:lnTo>
                    <a:pt x="134" y="750"/>
                  </a:lnTo>
                  <a:lnTo>
                    <a:pt x="134" y="751"/>
                  </a:lnTo>
                  <a:lnTo>
                    <a:pt x="134" y="753"/>
                  </a:lnTo>
                  <a:lnTo>
                    <a:pt x="135" y="754"/>
                  </a:lnTo>
                  <a:lnTo>
                    <a:pt x="135" y="753"/>
                  </a:lnTo>
                  <a:lnTo>
                    <a:pt x="136" y="750"/>
                  </a:lnTo>
                  <a:lnTo>
                    <a:pt x="136" y="748"/>
                  </a:lnTo>
                  <a:lnTo>
                    <a:pt x="136" y="747"/>
                  </a:lnTo>
                  <a:lnTo>
                    <a:pt x="138" y="747"/>
                  </a:lnTo>
                  <a:lnTo>
                    <a:pt x="139" y="745"/>
                  </a:lnTo>
                  <a:lnTo>
                    <a:pt x="140" y="745"/>
                  </a:lnTo>
                  <a:lnTo>
                    <a:pt x="140" y="749"/>
                  </a:lnTo>
                  <a:lnTo>
                    <a:pt x="140" y="751"/>
                  </a:lnTo>
                  <a:lnTo>
                    <a:pt x="141" y="753"/>
                  </a:lnTo>
                  <a:lnTo>
                    <a:pt x="142" y="751"/>
                  </a:lnTo>
                  <a:lnTo>
                    <a:pt x="142" y="749"/>
                  </a:lnTo>
                  <a:lnTo>
                    <a:pt x="144" y="748"/>
                  </a:lnTo>
                  <a:lnTo>
                    <a:pt x="144" y="749"/>
                  </a:lnTo>
                  <a:lnTo>
                    <a:pt x="145" y="751"/>
                  </a:lnTo>
                  <a:lnTo>
                    <a:pt x="146" y="751"/>
                  </a:lnTo>
                  <a:lnTo>
                    <a:pt x="146" y="753"/>
                  </a:lnTo>
                  <a:lnTo>
                    <a:pt x="146" y="754"/>
                  </a:lnTo>
                  <a:lnTo>
                    <a:pt x="146" y="755"/>
                  </a:lnTo>
                  <a:lnTo>
                    <a:pt x="145" y="756"/>
                  </a:lnTo>
                  <a:lnTo>
                    <a:pt x="144" y="757"/>
                  </a:lnTo>
                  <a:lnTo>
                    <a:pt x="144" y="760"/>
                  </a:lnTo>
                  <a:lnTo>
                    <a:pt x="144" y="761"/>
                  </a:lnTo>
                  <a:lnTo>
                    <a:pt x="144" y="762"/>
                  </a:lnTo>
                  <a:lnTo>
                    <a:pt x="145" y="763"/>
                  </a:lnTo>
                  <a:lnTo>
                    <a:pt x="145" y="765"/>
                  </a:lnTo>
                  <a:lnTo>
                    <a:pt x="146" y="765"/>
                  </a:lnTo>
                  <a:lnTo>
                    <a:pt x="146" y="763"/>
                  </a:lnTo>
                  <a:lnTo>
                    <a:pt x="146" y="761"/>
                  </a:lnTo>
                  <a:lnTo>
                    <a:pt x="147" y="759"/>
                  </a:lnTo>
                  <a:lnTo>
                    <a:pt x="149" y="756"/>
                  </a:lnTo>
                  <a:lnTo>
                    <a:pt x="149" y="755"/>
                  </a:lnTo>
                  <a:lnTo>
                    <a:pt x="151" y="755"/>
                  </a:lnTo>
                  <a:lnTo>
                    <a:pt x="152" y="756"/>
                  </a:lnTo>
                  <a:lnTo>
                    <a:pt x="152" y="757"/>
                  </a:lnTo>
                  <a:lnTo>
                    <a:pt x="151" y="760"/>
                  </a:lnTo>
                  <a:lnTo>
                    <a:pt x="151" y="762"/>
                  </a:lnTo>
                  <a:lnTo>
                    <a:pt x="152" y="763"/>
                  </a:lnTo>
                  <a:lnTo>
                    <a:pt x="153" y="765"/>
                  </a:lnTo>
                  <a:lnTo>
                    <a:pt x="155" y="763"/>
                  </a:lnTo>
                  <a:lnTo>
                    <a:pt x="153" y="762"/>
                  </a:lnTo>
                  <a:lnTo>
                    <a:pt x="153" y="760"/>
                  </a:lnTo>
                  <a:lnTo>
                    <a:pt x="155" y="759"/>
                  </a:lnTo>
                  <a:lnTo>
                    <a:pt x="156" y="760"/>
                  </a:lnTo>
                  <a:lnTo>
                    <a:pt x="157" y="760"/>
                  </a:lnTo>
                  <a:lnTo>
                    <a:pt x="157" y="759"/>
                  </a:lnTo>
                  <a:lnTo>
                    <a:pt x="157" y="757"/>
                  </a:lnTo>
                  <a:lnTo>
                    <a:pt x="157" y="756"/>
                  </a:lnTo>
                  <a:lnTo>
                    <a:pt x="158" y="756"/>
                  </a:lnTo>
                  <a:lnTo>
                    <a:pt x="158" y="755"/>
                  </a:lnTo>
                  <a:lnTo>
                    <a:pt x="159" y="753"/>
                  </a:lnTo>
                  <a:lnTo>
                    <a:pt x="159" y="751"/>
                  </a:lnTo>
                  <a:lnTo>
                    <a:pt x="161" y="748"/>
                  </a:lnTo>
                  <a:lnTo>
                    <a:pt x="161" y="747"/>
                  </a:lnTo>
                  <a:lnTo>
                    <a:pt x="161" y="748"/>
                  </a:lnTo>
                  <a:lnTo>
                    <a:pt x="161" y="750"/>
                  </a:lnTo>
                  <a:lnTo>
                    <a:pt x="159" y="754"/>
                  </a:lnTo>
                  <a:lnTo>
                    <a:pt x="159" y="756"/>
                  </a:lnTo>
                  <a:lnTo>
                    <a:pt x="159" y="757"/>
                  </a:lnTo>
                  <a:lnTo>
                    <a:pt x="161" y="755"/>
                  </a:lnTo>
                  <a:lnTo>
                    <a:pt x="161" y="754"/>
                  </a:lnTo>
                  <a:lnTo>
                    <a:pt x="161" y="757"/>
                  </a:lnTo>
                  <a:lnTo>
                    <a:pt x="161" y="759"/>
                  </a:lnTo>
                  <a:lnTo>
                    <a:pt x="161" y="761"/>
                  </a:lnTo>
                  <a:lnTo>
                    <a:pt x="161" y="762"/>
                  </a:lnTo>
                  <a:lnTo>
                    <a:pt x="159" y="765"/>
                  </a:lnTo>
                  <a:lnTo>
                    <a:pt x="159" y="766"/>
                  </a:lnTo>
                  <a:lnTo>
                    <a:pt x="159" y="767"/>
                  </a:lnTo>
                  <a:lnTo>
                    <a:pt x="159" y="768"/>
                  </a:lnTo>
                  <a:lnTo>
                    <a:pt x="161" y="769"/>
                  </a:lnTo>
                  <a:lnTo>
                    <a:pt x="162" y="767"/>
                  </a:lnTo>
                  <a:lnTo>
                    <a:pt x="162" y="766"/>
                  </a:lnTo>
                  <a:lnTo>
                    <a:pt x="162" y="765"/>
                  </a:lnTo>
                  <a:lnTo>
                    <a:pt x="163" y="765"/>
                  </a:lnTo>
                  <a:lnTo>
                    <a:pt x="163" y="766"/>
                  </a:lnTo>
                  <a:lnTo>
                    <a:pt x="164" y="767"/>
                  </a:lnTo>
                  <a:lnTo>
                    <a:pt x="165" y="768"/>
                  </a:lnTo>
                  <a:lnTo>
                    <a:pt x="165" y="769"/>
                  </a:lnTo>
                  <a:lnTo>
                    <a:pt x="167" y="769"/>
                  </a:lnTo>
                  <a:lnTo>
                    <a:pt x="167" y="768"/>
                  </a:lnTo>
                  <a:lnTo>
                    <a:pt x="168" y="767"/>
                  </a:lnTo>
                  <a:lnTo>
                    <a:pt x="168" y="766"/>
                  </a:lnTo>
                  <a:lnTo>
                    <a:pt x="168" y="765"/>
                  </a:lnTo>
                  <a:lnTo>
                    <a:pt x="169" y="763"/>
                  </a:lnTo>
                  <a:lnTo>
                    <a:pt x="170" y="765"/>
                  </a:lnTo>
                  <a:lnTo>
                    <a:pt x="170" y="767"/>
                  </a:lnTo>
                  <a:lnTo>
                    <a:pt x="170" y="772"/>
                  </a:lnTo>
                  <a:lnTo>
                    <a:pt x="171" y="771"/>
                  </a:lnTo>
                  <a:lnTo>
                    <a:pt x="171" y="769"/>
                  </a:lnTo>
                  <a:lnTo>
                    <a:pt x="171" y="766"/>
                  </a:lnTo>
                  <a:lnTo>
                    <a:pt x="173" y="766"/>
                  </a:lnTo>
                  <a:lnTo>
                    <a:pt x="173" y="763"/>
                  </a:lnTo>
                  <a:lnTo>
                    <a:pt x="173" y="762"/>
                  </a:lnTo>
                  <a:lnTo>
                    <a:pt x="174" y="763"/>
                  </a:lnTo>
                  <a:lnTo>
                    <a:pt x="175" y="763"/>
                  </a:lnTo>
                  <a:lnTo>
                    <a:pt x="175" y="762"/>
                  </a:lnTo>
                  <a:lnTo>
                    <a:pt x="175" y="761"/>
                  </a:lnTo>
                  <a:lnTo>
                    <a:pt x="175" y="759"/>
                  </a:lnTo>
                  <a:lnTo>
                    <a:pt x="176" y="757"/>
                  </a:lnTo>
                  <a:lnTo>
                    <a:pt x="176" y="760"/>
                  </a:lnTo>
                  <a:lnTo>
                    <a:pt x="177" y="760"/>
                  </a:lnTo>
                  <a:lnTo>
                    <a:pt x="179" y="761"/>
                  </a:lnTo>
                  <a:lnTo>
                    <a:pt x="179" y="762"/>
                  </a:lnTo>
                  <a:lnTo>
                    <a:pt x="177" y="763"/>
                  </a:lnTo>
                  <a:lnTo>
                    <a:pt x="176" y="765"/>
                  </a:lnTo>
                  <a:lnTo>
                    <a:pt x="177" y="765"/>
                  </a:lnTo>
                  <a:lnTo>
                    <a:pt x="179" y="763"/>
                  </a:lnTo>
                  <a:lnTo>
                    <a:pt x="179" y="766"/>
                  </a:lnTo>
                  <a:lnTo>
                    <a:pt x="179" y="767"/>
                  </a:lnTo>
                  <a:lnTo>
                    <a:pt x="180" y="767"/>
                  </a:lnTo>
                  <a:lnTo>
                    <a:pt x="180" y="765"/>
                  </a:lnTo>
                  <a:lnTo>
                    <a:pt x="180" y="762"/>
                  </a:lnTo>
                  <a:lnTo>
                    <a:pt x="181" y="762"/>
                  </a:lnTo>
                  <a:lnTo>
                    <a:pt x="181" y="761"/>
                  </a:lnTo>
                  <a:lnTo>
                    <a:pt x="181" y="759"/>
                  </a:lnTo>
                  <a:lnTo>
                    <a:pt x="181" y="757"/>
                  </a:lnTo>
                  <a:lnTo>
                    <a:pt x="181" y="756"/>
                  </a:lnTo>
                  <a:lnTo>
                    <a:pt x="182" y="755"/>
                  </a:lnTo>
                  <a:lnTo>
                    <a:pt x="181" y="757"/>
                  </a:lnTo>
                  <a:lnTo>
                    <a:pt x="181" y="759"/>
                  </a:lnTo>
                  <a:lnTo>
                    <a:pt x="182" y="760"/>
                  </a:lnTo>
                  <a:lnTo>
                    <a:pt x="182" y="759"/>
                  </a:lnTo>
                  <a:lnTo>
                    <a:pt x="182" y="760"/>
                  </a:lnTo>
                  <a:lnTo>
                    <a:pt x="182" y="762"/>
                  </a:lnTo>
                  <a:lnTo>
                    <a:pt x="182" y="763"/>
                  </a:lnTo>
                  <a:lnTo>
                    <a:pt x="182" y="765"/>
                  </a:lnTo>
                  <a:lnTo>
                    <a:pt x="183" y="765"/>
                  </a:lnTo>
                  <a:lnTo>
                    <a:pt x="185" y="763"/>
                  </a:lnTo>
                  <a:lnTo>
                    <a:pt x="183" y="762"/>
                  </a:lnTo>
                  <a:lnTo>
                    <a:pt x="183" y="761"/>
                  </a:lnTo>
                  <a:lnTo>
                    <a:pt x="183" y="760"/>
                  </a:lnTo>
                  <a:lnTo>
                    <a:pt x="183" y="759"/>
                  </a:lnTo>
                  <a:lnTo>
                    <a:pt x="185" y="757"/>
                  </a:lnTo>
                  <a:lnTo>
                    <a:pt x="186" y="756"/>
                  </a:lnTo>
                  <a:lnTo>
                    <a:pt x="186" y="755"/>
                  </a:lnTo>
                  <a:lnTo>
                    <a:pt x="186" y="753"/>
                  </a:lnTo>
                  <a:lnTo>
                    <a:pt x="185" y="753"/>
                  </a:lnTo>
                  <a:lnTo>
                    <a:pt x="186" y="751"/>
                  </a:lnTo>
                  <a:lnTo>
                    <a:pt x="187" y="750"/>
                  </a:lnTo>
                  <a:lnTo>
                    <a:pt x="187" y="749"/>
                  </a:lnTo>
                  <a:lnTo>
                    <a:pt x="188" y="748"/>
                  </a:lnTo>
                  <a:lnTo>
                    <a:pt x="188" y="747"/>
                  </a:lnTo>
                  <a:lnTo>
                    <a:pt x="189" y="747"/>
                  </a:lnTo>
                  <a:lnTo>
                    <a:pt x="188" y="748"/>
                  </a:lnTo>
                  <a:lnTo>
                    <a:pt x="188" y="750"/>
                  </a:lnTo>
                  <a:lnTo>
                    <a:pt x="187" y="751"/>
                  </a:lnTo>
                  <a:lnTo>
                    <a:pt x="187" y="753"/>
                  </a:lnTo>
                  <a:lnTo>
                    <a:pt x="188" y="753"/>
                  </a:lnTo>
                  <a:lnTo>
                    <a:pt x="187" y="754"/>
                  </a:lnTo>
                  <a:lnTo>
                    <a:pt x="186" y="755"/>
                  </a:lnTo>
                  <a:lnTo>
                    <a:pt x="187" y="755"/>
                  </a:lnTo>
                  <a:lnTo>
                    <a:pt x="188" y="755"/>
                  </a:lnTo>
                  <a:lnTo>
                    <a:pt x="188" y="756"/>
                  </a:lnTo>
                  <a:lnTo>
                    <a:pt x="187" y="756"/>
                  </a:lnTo>
                  <a:lnTo>
                    <a:pt x="186" y="757"/>
                  </a:lnTo>
                  <a:lnTo>
                    <a:pt x="185" y="759"/>
                  </a:lnTo>
                  <a:lnTo>
                    <a:pt x="186" y="760"/>
                  </a:lnTo>
                  <a:lnTo>
                    <a:pt x="185" y="760"/>
                  </a:lnTo>
                  <a:lnTo>
                    <a:pt x="183" y="760"/>
                  </a:lnTo>
                  <a:lnTo>
                    <a:pt x="185" y="761"/>
                  </a:lnTo>
                  <a:lnTo>
                    <a:pt x="185" y="762"/>
                  </a:lnTo>
                  <a:lnTo>
                    <a:pt x="186" y="762"/>
                  </a:lnTo>
                  <a:lnTo>
                    <a:pt x="187" y="761"/>
                  </a:lnTo>
                  <a:lnTo>
                    <a:pt x="186" y="760"/>
                  </a:lnTo>
                  <a:lnTo>
                    <a:pt x="187" y="759"/>
                  </a:lnTo>
                  <a:lnTo>
                    <a:pt x="188" y="757"/>
                  </a:lnTo>
                  <a:lnTo>
                    <a:pt x="189" y="759"/>
                  </a:lnTo>
                  <a:lnTo>
                    <a:pt x="189" y="760"/>
                  </a:lnTo>
                  <a:lnTo>
                    <a:pt x="189" y="761"/>
                  </a:lnTo>
                  <a:lnTo>
                    <a:pt x="188" y="761"/>
                  </a:lnTo>
                  <a:lnTo>
                    <a:pt x="188" y="762"/>
                  </a:lnTo>
                  <a:lnTo>
                    <a:pt x="188" y="763"/>
                  </a:lnTo>
                  <a:lnTo>
                    <a:pt x="189" y="762"/>
                  </a:lnTo>
                  <a:lnTo>
                    <a:pt x="191" y="762"/>
                  </a:lnTo>
                  <a:lnTo>
                    <a:pt x="191" y="763"/>
                  </a:lnTo>
                  <a:lnTo>
                    <a:pt x="189" y="767"/>
                  </a:lnTo>
                  <a:lnTo>
                    <a:pt x="188" y="768"/>
                  </a:lnTo>
                  <a:lnTo>
                    <a:pt x="189" y="768"/>
                  </a:lnTo>
                  <a:lnTo>
                    <a:pt x="191" y="767"/>
                  </a:lnTo>
                  <a:lnTo>
                    <a:pt x="192" y="768"/>
                  </a:lnTo>
                  <a:lnTo>
                    <a:pt x="191" y="771"/>
                  </a:lnTo>
                  <a:lnTo>
                    <a:pt x="191" y="772"/>
                  </a:lnTo>
                  <a:lnTo>
                    <a:pt x="189" y="775"/>
                  </a:lnTo>
                  <a:lnTo>
                    <a:pt x="191" y="779"/>
                  </a:lnTo>
                  <a:lnTo>
                    <a:pt x="191" y="778"/>
                  </a:lnTo>
                  <a:lnTo>
                    <a:pt x="191" y="777"/>
                  </a:lnTo>
                  <a:lnTo>
                    <a:pt x="192" y="773"/>
                  </a:lnTo>
                  <a:lnTo>
                    <a:pt x="193" y="771"/>
                  </a:lnTo>
                  <a:lnTo>
                    <a:pt x="193" y="772"/>
                  </a:lnTo>
                  <a:lnTo>
                    <a:pt x="194" y="773"/>
                  </a:lnTo>
                  <a:lnTo>
                    <a:pt x="195" y="773"/>
                  </a:lnTo>
                  <a:lnTo>
                    <a:pt x="194" y="774"/>
                  </a:lnTo>
                  <a:lnTo>
                    <a:pt x="193" y="777"/>
                  </a:lnTo>
                  <a:lnTo>
                    <a:pt x="194" y="775"/>
                  </a:lnTo>
                  <a:lnTo>
                    <a:pt x="195" y="775"/>
                  </a:lnTo>
                  <a:lnTo>
                    <a:pt x="195" y="778"/>
                  </a:lnTo>
                  <a:lnTo>
                    <a:pt x="195" y="780"/>
                  </a:lnTo>
                  <a:lnTo>
                    <a:pt x="197" y="780"/>
                  </a:lnTo>
                  <a:lnTo>
                    <a:pt x="197" y="777"/>
                  </a:lnTo>
                  <a:lnTo>
                    <a:pt x="197" y="774"/>
                  </a:lnTo>
                  <a:lnTo>
                    <a:pt x="198" y="773"/>
                  </a:lnTo>
                  <a:lnTo>
                    <a:pt x="199" y="771"/>
                  </a:lnTo>
                  <a:lnTo>
                    <a:pt x="199" y="768"/>
                  </a:lnTo>
                  <a:lnTo>
                    <a:pt x="199" y="765"/>
                  </a:lnTo>
                  <a:lnTo>
                    <a:pt x="199" y="762"/>
                  </a:lnTo>
                  <a:lnTo>
                    <a:pt x="200" y="759"/>
                  </a:lnTo>
                  <a:lnTo>
                    <a:pt x="201" y="759"/>
                  </a:lnTo>
                  <a:lnTo>
                    <a:pt x="203" y="760"/>
                  </a:lnTo>
                  <a:lnTo>
                    <a:pt x="204" y="762"/>
                  </a:lnTo>
                  <a:lnTo>
                    <a:pt x="204" y="767"/>
                  </a:lnTo>
                  <a:lnTo>
                    <a:pt x="204" y="771"/>
                  </a:lnTo>
                  <a:lnTo>
                    <a:pt x="204" y="773"/>
                  </a:lnTo>
                  <a:lnTo>
                    <a:pt x="203" y="777"/>
                  </a:lnTo>
                  <a:lnTo>
                    <a:pt x="201" y="778"/>
                  </a:lnTo>
                  <a:lnTo>
                    <a:pt x="203" y="780"/>
                  </a:lnTo>
                  <a:lnTo>
                    <a:pt x="204" y="778"/>
                  </a:lnTo>
                  <a:lnTo>
                    <a:pt x="205" y="775"/>
                  </a:lnTo>
                  <a:lnTo>
                    <a:pt x="205" y="773"/>
                  </a:lnTo>
                  <a:lnTo>
                    <a:pt x="206" y="769"/>
                  </a:lnTo>
                  <a:lnTo>
                    <a:pt x="206" y="767"/>
                  </a:lnTo>
                  <a:lnTo>
                    <a:pt x="207" y="766"/>
                  </a:lnTo>
                  <a:lnTo>
                    <a:pt x="207" y="769"/>
                  </a:lnTo>
                  <a:lnTo>
                    <a:pt x="209" y="768"/>
                  </a:lnTo>
                  <a:lnTo>
                    <a:pt x="210" y="768"/>
                  </a:lnTo>
                  <a:lnTo>
                    <a:pt x="210" y="772"/>
                  </a:lnTo>
                  <a:lnTo>
                    <a:pt x="210" y="773"/>
                  </a:lnTo>
                  <a:lnTo>
                    <a:pt x="207" y="779"/>
                  </a:lnTo>
                  <a:lnTo>
                    <a:pt x="207" y="781"/>
                  </a:lnTo>
                  <a:lnTo>
                    <a:pt x="209" y="784"/>
                  </a:lnTo>
                  <a:lnTo>
                    <a:pt x="210" y="784"/>
                  </a:lnTo>
                  <a:lnTo>
                    <a:pt x="210" y="781"/>
                  </a:lnTo>
                  <a:lnTo>
                    <a:pt x="211" y="780"/>
                  </a:lnTo>
                  <a:lnTo>
                    <a:pt x="211" y="783"/>
                  </a:lnTo>
                  <a:lnTo>
                    <a:pt x="212" y="784"/>
                  </a:lnTo>
                  <a:lnTo>
                    <a:pt x="214" y="780"/>
                  </a:lnTo>
                  <a:lnTo>
                    <a:pt x="214" y="778"/>
                  </a:lnTo>
                  <a:lnTo>
                    <a:pt x="214" y="775"/>
                  </a:lnTo>
                  <a:lnTo>
                    <a:pt x="212" y="769"/>
                  </a:lnTo>
                  <a:lnTo>
                    <a:pt x="211" y="767"/>
                  </a:lnTo>
                  <a:lnTo>
                    <a:pt x="212" y="765"/>
                  </a:lnTo>
                  <a:lnTo>
                    <a:pt x="212" y="762"/>
                  </a:lnTo>
                  <a:lnTo>
                    <a:pt x="212" y="759"/>
                  </a:lnTo>
                  <a:lnTo>
                    <a:pt x="214" y="755"/>
                  </a:lnTo>
                  <a:lnTo>
                    <a:pt x="216" y="753"/>
                  </a:lnTo>
                  <a:lnTo>
                    <a:pt x="217" y="749"/>
                  </a:lnTo>
                  <a:lnTo>
                    <a:pt x="217" y="753"/>
                  </a:lnTo>
                  <a:lnTo>
                    <a:pt x="218" y="756"/>
                  </a:lnTo>
                  <a:lnTo>
                    <a:pt x="220" y="755"/>
                  </a:lnTo>
                  <a:lnTo>
                    <a:pt x="221" y="755"/>
                  </a:lnTo>
                  <a:lnTo>
                    <a:pt x="222" y="759"/>
                  </a:lnTo>
                  <a:lnTo>
                    <a:pt x="223" y="762"/>
                  </a:lnTo>
                  <a:lnTo>
                    <a:pt x="223" y="761"/>
                  </a:lnTo>
                  <a:lnTo>
                    <a:pt x="223" y="756"/>
                  </a:lnTo>
                  <a:lnTo>
                    <a:pt x="224" y="750"/>
                  </a:lnTo>
                  <a:lnTo>
                    <a:pt x="224" y="744"/>
                  </a:lnTo>
                  <a:lnTo>
                    <a:pt x="226" y="743"/>
                  </a:lnTo>
                  <a:lnTo>
                    <a:pt x="226" y="751"/>
                  </a:lnTo>
                  <a:lnTo>
                    <a:pt x="227" y="753"/>
                  </a:lnTo>
                  <a:lnTo>
                    <a:pt x="228" y="749"/>
                  </a:lnTo>
                  <a:lnTo>
                    <a:pt x="229" y="748"/>
                  </a:lnTo>
                  <a:lnTo>
                    <a:pt x="229" y="744"/>
                  </a:lnTo>
                  <a:lnTo>
                    <a:pt x="229" y="741"/>
                  </a:lnTo>
                  <a:lnTo>
                    <a:pt x="230" y="741"/>
                  </a:lnTo>
                  <a:lnTo>
                    <a:pt x="232" y="744"/>
                  </a:lnTo>
                  <a:lnTo>
                    <a:pt x="232" y="748"/>
                  </a:lnTo>
                  <a:lnTo>
                    <a:pt x="232" y="743"/>
                  </a:lnTo>
                  <a:lnTo>
                    <a:pt x="234" y="739"/>
                  </a:lnTo>
                  <a:lnTo>
                    <a:pt x="234" y="736"/>
                  </a:lnTo>
                  <a:lnTo>
                    <a:pt x="234" y="733"/>
                  </a:lnTo>
                  <a:lnTo>
                    <a:pt x="235" y="730"/>
                  </a:lnTo>
                  <a:lnTo>
                    <a:pt x="239" y="731"/>
                  </a:lnTo>
                  <a:lnTo>
                    <a:pt x="240" y="732"/>
                  </a:lnTo>
                  <a:lnTo>
                    <a:pt x="239" y="735"/>
                  </a:lnTo>
                  <a:lnTo>
                    <a:pt x="235" y="738"/>
                  </a:lnTo>
                  <a:lnTo>
                    <a:pt x="234" y="741"/>
                  </a:lnTo>
                  <a:lnTo>
                    <a:pt x="234" y="743"/>
                  </a:lnTo>
                  <a:lnTo>
                    <a:pt x="234" y="745"/>
                  </a:lnTo>
                  <a:lnTo>
                    <a:pt x="234" y="748"/>
                  </a:lnTo>
                  <a:lnTo>
                    <a:pt x="235" y="749"/>
                  </a:lnTo>
                  <a:lnTo>
                    <a:pt x="239" y="749"/>
                  </a:lnTo>
                  <a:lnTo>
                    <a:pt x="239" y="750"/>
                  </a:lnTo>
                  <a:lnTo>
                    <a:pt x="239" y="754"/>
                  </a:lnTo>
                  <a:lnTo>
                    <a:pt x="239" y="755"/>
                  </a:lnTo>
                  <a:lnTo>
                    <a:pt x="235" y="755"/>
                  </a:lnTo>
                  <a:lnTo>
                    <a:pt x="234" y="756"/>
                  </a:lnTo>
                  <a:lnTo>
                    <a:pt x="233" y="753"/>
                  </a:lnTo>
                  <a:lnTo>
                    <a:pt x="232" y="754"/>
                  </a:lnTo>
                  <a:lnTo>
                    <a:pt x="232" y="756"/>
                  </a:lnTo>
                  <a:lnTo>
                    <a:pt x="229" y="756"/>
                  </a:lnTo>
                  <a:lnTo>
                    <a:pt x="227" y="757"/>
                  </a:lnTo>
                  <a:lnTo>
                    <a:pt x="226" y="761"/>
                  </a:lnTo>
                  <a:lnTo>
                    <a:pt x="228" y="761"/>
                  </a:lnTo>
                  <a:lnTo>
                    <a:pt x="230" y="760"/>
                  </a:lnTo>
                  <a:lnTo>
                    <a:pt x="230" y="761"/>
                  </a:lnTo>
                  <a:lnTo>
                    <a:pt x="233" y="761"/>
                  </a:lnTo>
                  <a:lnTo>
                    <a:pt x="233" y="762"/>
                  </a:lnTo>
                  <a:lnTo>
                    <a:pt x="233" y="767"/>
                  </a:lnTo>
                  <a:lnTo>
                    <a:pt x="232" y="771"/>
                  </a:lnTo>
                  <a:lnTo>
                    <a:pt x="232" y="774"/>
                  </a:lnTo>
                  <a:lnTo>
                    <a:pt x="230" y="777"/>
                  </a:lnTo>
                  <a:lnTo>
                    <a:pt x="229" y="779"/>
                  </a:lnTo>
                  <a:lnTo>
                    <a:pt x="226" y="781"/>
                  </a:lnTo>
                  <a:lnTo>
                    <a:pt x="224" y="784"/>
                  </a:lnTo>
                  <a:lnTo>
                    <a:pt x="221" y="783"/>
                  </a:lnTo>
                  <a:lnTo>
                    <a:pt x="218" y="784"/>
                  </a:lnTo>
                  <a:lnTo>
                    <a:pt x="217" y="785"/>
                  </a:lnTo>
                  <a:lnTo>
                    <a:pt x="214" y="785"/>
                  </a:lnTo>
                  <a:lnTo>
                    <a:pt x="207" y="786"/>
                  </a:lnTo>
                  <a:lnTo>
                    <a:pt x="201" y="787"/>
                  </a:lnTo>
                  <a:lnTo>
                    <a:pt x="199" y="789"/>
                  </a:lnTo>
                  <a:lnTo>
                    <a:pt x="194" y="789"/>
                  </a:lnTo>
                  <a:lnTo>
                    <a:pt x="187" y="792"/>
                  </a:lnTo>
                  <a:lnTo>
                    <a:pt x="183" y="792"/>
                  </a:lnTo>
                  <a:lnTo>
                    <a:pt x="182" y="793"/>
                  </a:lnTo>
                  <a:lnTo>
                    <a:pt x="182" y="795"/>
                  </a:lnTo>
                  <a:lnTo>
                    <a:pt x="186" y="793"/>
                  </a:lnTo>
                  <a:lnTo>
                    <a:pt x="189" y="792"/>
                  </a:lnTo>
                  <a:lnTo>
                    <a:pt x="188" y="795"/>
                  </a:lnTo>
                  <a:lnTo>
                    <a:pt x="188" y="796"/>
                  </a:lnTo>
                  <a:lnTo>
                    <a:pt x="188" y="797"/>
                  </a:lnTo>
                  <a:lnTo>
                    <a:pt x="189" y="796"/>
                  </a:lnTo>
                  <a:lnTo>
                    <a:pt x="192" y="793"/>
                  </a:lnTo>
                  <a:lnTo>
                    <a:pt x="193" y="792"/>
                  </a:lnTo>
                  <a:lnTo>
                    <a:pt x="194" y="792"/>
                  </a:lnTo>
                  <a:lnTo>
                    <a:pt x="193" y="796"/>
                  </a:lnTo>
                  <a:lnTo>
                    <a:pt x="191" y="797"/>
                  </a:lnTo>
                  <a:lnTo>
                    <a:pt x="193" y="797"/>
                  </a:lnTo>
                  <a:lnTo>
                    <a:pt x="195" y="797"/>
                  </a:lnTo>
                  <a:lnTo>
                    <a:pt x="197" y="796"/>
                  </a:lnTo>
                  <a:lnTo>
                    <a:pt x="198" y="795"/>
                  </a:lnTo>
                  <a:lnTo>
                    <a:pt x="198" y="797"/>
                  </a:lnTo>
                  <a:lnTo>
                    <a:pt x="199" y="797"/>
                  </a:lnTo>
                  <a:lnTo>
                    <a:pt x="201" y="797"/>
                  </a:lnTo>
                  <a:lnTo>
                    <a:pt x="203" y="797"/>
                  </a:lnTo>
                  <a:lnTo>
                    <a:pt x="205" y="797"/>
                  </a:lnTo>
                  <a:lnTo>
                    <a:pt x="204" y="798"/>
                  </a:lnTo>
                  <a:lnTo>
                    <a:pt x="201" y="798"/>
                  </a:lnTo>
                  <a:lnTo>
                    <a:pt x="199" y="798"/>
                  </a:lnTo>
                  <a:lnTo>
                    <a:pt x="194" y="798"/>
                  </a:lnTo>
                  <a:lnTo>
                    <a:pt x="192" y="799"/>
                  </a:lnTo>
                  <a:lnTo>
                    <a:pt x="188" y="801"/>
                  </a:lnTo>
                  <a:lnTo>
                    <a:pt x="187" y="803"/>
                  </a:lnTo>
                  <a:lnTo>
                    <a:pt x="185" y="803"/>
                  </a:lnTo>
                  <a:lnTo>
                    <a:pt x="180" y="801"/>
                  </a:lnTo>
                  <a:lnTo>
                    <a:pt x="179" y="801"/>
                  </a:lnTo>
                  <a:lnTo>
                    <a:pt x="179" y="802"/>
                  </a:lnTo>
                  <a:lnTo>
                    <a:pt x="177" y="802"/>
                  </a:lnTo>
                  <a:lnTo>
                    <a:pt x="177" y="804"/>
                  </a:lnTo>
                  <a:lnTo>
                    <a:pt x="181" y="804"/>
                  </a:lnTo>
                  <a:lnTo>
                    <a:pt x="179" y="805"/>
                  </a:lnTo>
                  <a:lnTo>
                    <a:pt x="176" y="807"/>
                  </a:lnTo>
                  <a:lnTo>
                    <a:pt x="174" y="807"/>
                  </a:lnTo>
                  <a:lnTo>
                    <a:pt x="170" y="805"/>
                  </a:lnTo>
                  <a:lnTo>
                    <a:pt x="167" y="803"/>
                  </a:lnTo>
                  <a:lnTo>
                    <a:pt x="163" y="803"/>
                  </a:lnTo>
                  <a:lnTo>
                    <a:pt x="159" y="803"/>
                  </a:lnTo>
                  <a:lnTo>
                    <a:pt x="159" y="804"/>
                  </a:lnTo>
                  <a:lnTo>
                    <a:pt x="158" y="804"/>
                  </a:lnTo>
                  <a:lnTo>
                    <a:pt x="156" y="803"/>
                  </a:lnTo>
                  <a:lnTo>
                    <a:pt x="152" y="801"/>
                  </a:lnTo>
                  <a:lnTo>
                    <a:pt x="147" y="799"/>
                  </a:lnTo>
                  <a:lnTo>
                    <a:pt x="146" y="798"/>
                  </a:lnTo>
                  <a:lnTo>
                    <a:pt x="145" y="797"/>
                  </a:lnTo>
                  <a:lnTo>
                    <a:pt x="146" y="798"/>
                  </a:lnTo>
                  <a:lnTo>
                    <a:pt x="146" y="799"/>
                  </a:lnTo>
                  <a:lnTo>
                    <a:pt x="144" y="799"/>
                  </a:lnTo>
                  <a:lnTo>
                    <a:pt x="142" y="798"/>
                  </a:lnTo>
                  <a:lnTo>
                    <a:pt x="142" y="797"/>
                  </a:lnTo>
                  <a:lnTo>
                    <a:pt x="140" y="797"/>
                  </a:lnTo>
                  <a:lnTo>
                    <a:pt x="138" y="797"/>
                  </a:lnTo>
                  <a:lnTo>
                    <a:pt x="136" y="797"/>
                  </a:lnTo>
                  <a:lnTo>
                    <a:pt x="135" y="796"/>
                  </a:lnTo>
                  <a:lnTo>
                    <a:pt x="132" y="795"/>
                  </a:lnTo>
                  <a:lnTo>
                    <a:pt x="130" y="796"/>
                  </a:lnTo>
                  <a:lnTo>
                    <a:pt x="129" y="795"/>
                  </a:lnTo>
                  <a:lnTo>
                    <a:pt x="130" y="792"/>
                  </a:lnTo>
                  <a:lnTo>
                    <a:pt x="128" y="792"/>
                  </a:lnTo>
                  <a:lnTo>
                    <a:pt x="127" y="793"/>
                  </a:lnTo>
                  <a:lnTo>
                    <a:pt x="126" y="793"/>
                  </a:lnTo>
                  <a:lnTo>
                    <a:pt x="124" y="793"/>
                  </a:lnTo>
                  <a:lnTo>
                    <a:pt x="124" y="791"/>
                  </a:lnTo>
                  <a:lnTo>
                    <a:pt x="123" y="789"/>
                  </a:lnTo>
                  <a:lnTo>
                    <a:pt x="122" y="791"/>
                  </a:lnTo>
                  <a:lnTo>
                    <a:pt x="121" y="792"/>
                  </a:lnTo>
                  <a:lnTo>
                    <a:pt x="118" y="792"/>
                  </a:lnTo>
                  <a:lnTo>
                    <a:pt x="117" y="791"/>
                  </a:lnTo>
                  <a:lnTo>
                    <a:pt x="116" y="791"/>
                  </a:lnTo>
                  <a:lnTo>
                    <a:pt x="114" y="791"/>
                  </a:lnTo>
                  <a:lnTo>
                    <a:pt x="112" y="791"/>
                  </a:lnTo>
                  <a:lnTo>
                    <a:pt x="112" y="790"/>
                  </a:lnTo>
                  <a:lnTo>
                    <a:pt x="110" y="789"/>
                  </a:lnTo>
                  <a:lnTo>
                    <a:pt x="108" y="789"/>
                  </a:lnTo>
                  <a:lnTo>
                    <a:pt x="103" y="785"/>
                  </a:lnTo>
                  <a:lnTo>
                    <a:pt x="104" y="787"/>
                  </a:lnTo>
                  <a:lnTo>
                    <a:pt x="104" y="790"/>
                  </a:lnTo>
                  <a:lnTo>
                    <a:pt x="102" y="789"/>
                  </a:lnTo>
                  <a:lnTo>
                    <a:pt x="100" y="787"/>
                  </a:lnTo>
                  <a:lnTo>
                    <a:pt x="102" y="790"/>
                  </a:lnTo>
                  <a:lnTo>
                    <a:pt x="103" y="790"/>
                  </a:lnTo>
                  <a:lnTo>
                    <a:pt x="99" y="791"/>
                  </a:lnTo>
                  <a:lnTo>
                    <a:pt x="97" y="792"/>
                  </a:lnTo>
                  <a:lnTo>
                    <a:pt x="100" y="792"/>
                  </a:lnTo>
                  <a:lnTo>
                    <a:pt x="103" y="792"/>
                  </a:lnTo>
                  <a:lnTo>
                    <a:pt x="106" y="791"/>
                  </a:lnTo>
                  <a:lnTo>
                    <a:pt x="105" y="796"/>
                  </a:lnTo>
                  <a:lnTo>
                    <a:pt x="105" y="797"/>
                  </a:lnTo>
                  <a:lnTo>
                    <a:pt x="106" y="796"/>
                  </a:lnTo>
                  <a:lnTo>
                    <a:pt x="109" y="793"/>
                  </a:lnTo>
                  <a:lnTo>
                    <a:pt x="109" y="792"/>
                  </a:lnTo>
                  <a:lnTo>
                    <a:pt x="111" y="792"/>
                  </a:lnTo>
                  <a:lnTo>
                    <a:pt x="111" y="795"/>
                  </a:lnTo>
                  <a:lnTo>
                    <a:pt x="111" y="793"/>
                  </a:lnTo>
                  <a:lnTo>
                    <a:pt x="112" y="793"/>
                  </a:lnTo>
                  <a:lnTo>
                    <a:pt x="115" y="793"/>
                  </a:lnTo>
                  <a:lnTo>
                    <a:pt x="115" y="795"/>
                  </a:lnTo>
                  <a:lnTo>
                    <a:pt x="112" y="797"/>
                  </a:lnTo>
                  <a:lnTo>
                    <a:pt x="111" y="799"/>
                  </a:lnTo>
                  <a:lnTo>
                    <a:pt x="111" y="803"/>
                  </a:lnTo>
                  <a:lnTo>
                    <a:pt x="111" y="807"/>
                  </a:lnTo>
                  <a:lnTo>
                    <a:pt x="114" y="810"/>
                  </a:lnTo>
                  <a:lnTo>
                    <a:pt x="115" y="812"/>
                  </a:lnTo>
                  <a:lnTo>
                    <a:pt x="115" y="809"/>
                  </a:lnTo>
                  <a:lnTo>
                    <a:pt x="115" y="805"/>
                  </a:lnTo>
                  <a:lnTo>
                    <a:pt x="116" y="804"/>
                  </a:lnTo>
                  <a:lnTo>
                    <a:pt x="116" y="807"/>
                  </a:lnTo>
                  <a:lnTo>
                    <a:pt x="117" y="808"/>
                  </a:lnTo>
                  <a:lnTo>
                    <a:pt x="117" y="810"/>
                  </a:lnTo>
                  <a:lnTo>
                    <a:pt x="116" y="813"/>
                  </a:lnTo>
                  <a:lnTo>
                    <a:pt x="117" y="813"/>
                  </a:lnTo>
                  <a:lnTo>
                    <a:pt x="118" y="813"/>
                  </a:lnTo>
                  <a:lnTo>
                    <a:pt x="121" y="814"/>
                  </a:lnTo>
                  <a:lnTo>
                    <a:pt x="121" y="818"/>
                  </a:lnTo>
                  <a:lnTo>
                    <a:pt x="123" y="820"/>
                  </a:lnTo>
                  <a:lnTo>
                    <a:pt x="123" y="821"/>
                  </a:lnTo>
                  <a:lnTo>
                    <a:pt x="122" y="821"/>
                  </a:lnTo>
                  <a:lnTo>
                    <a:pt x="120" y="819"/>
                  </a:lnTo>
                  <a:lnTo>
                    <a:pt x="117" y="819"/>
                  </a:lnTo>
                  <a:lnTo>
                    <a:pt x="115" y="819"/>
                  </a:lnTo>
                  <a:lnTo>
                    <a:pt x="114" y="820"/>
                  </a:lnTo>
                  <a:lnTo>
                    <a:pt x="111" y="819"/>
                  </a:lnTo>
                  <a:lnTo>
                    <a:pt x="109" y="819"/>
                  </a:lnTo>
                  <a:lnTo>
                    <a:pt x="106" y="819"/>
                  </a:lnTo>
                  <a:lnTo>
                    <a:pt x="104" y="821"/>
                  </a:lnTo>
                  <a:lnTo>
                    <a:pt x="105" y="821"/>
                  </a:lnTo>
                  <a:lnTo>
                    <a:pt x="108" y="821"/>
                  </a:lnTo>
                  <a:lnTo>
                    <a:pt x="109" y="822"/>
                  </a:lnTo>
                  <a:lnTo>
                    <a:pt x="110" y="821"/>
                  </a:lnTo>
                  <a:lnTo>
                    <a:pt x="111" y="821"/>
                  </a:lnTo>
                  <a:lnTo>
                    <a:pt x="112" y="821"/>
                  </a:lnTo>
                  <a:lnTo>
                    <a:pt x="115" y="820"/>
                  </a:lnTo>
                  <a:lnTo>
                    <a:pt x="115" y="822"/>
                  </a:lnTo>
                  <a:lnTo>
                    <a:pt x="114" y="824"/>
                  </a:lnTo>
                  <a:lnTo>
                    <a:pt x="112" y="825"/>
                  </a:lnTo>
                  <a:lnTo>
                    <a:pt x="114" y="825"/>
                  </a:lnTo>
                  <a:lnTo>
                    <a:pt x="116" y="825"/>
                  </a:lnTo>
                  <a:lnTo>
                    <a:pt x="116" y="824"/>
                  </a:lnTo>
                  <a:lnTo>
                    <a:pt x="117" y="824"/>
                  </a:lnTo>
                  <a:lnTo>
                    <a:pt x="118" y="822"/>
                  </a:lnTo>
                  <a:lnTo>
                    <a:pt x="120" y="824"/>
                  </a:lnTo>
                  <a:lnTo>
                    <a:pt x="118" y="825"/>
                  </a:lnTo>
                  <a:lnTo>
                    <a:pt x="117" y="826"/>
                  </a:lnTo>
                  <a:lnTo>
                    <a:pt x="118" y="827"/>
                  </a:lnTo>
                  <a:lnTo>
                    <a:pt x="117" y="828"/>
                  </a:lnTo>
                  <a:lnTo>
                    <a:pt x="116" y="827"/>
                  </a:lnTo>
                  <a:lnTo>
                    <a:pt x="114" y="826"/>
                  </a:lnTo>
                  <a:lnTo>
                    <a:pt x="112" y="826"/>
                  </a:lnTo>
                  <a:lnTo>
                    <a:pt x="109" y="826"/>
                  </a:lnTo>
                  <a:lnTo>
                    <a:pt x="106" y="826"/>
                  </a:lnTo>
                  <a:lnTo>
                    <a:pt x="102" y="825"/>
                  </a:lnTo>
                  <a:lnTo>
                    <a:pt x="100" y="826"/>
                  </a:lnTo>
                  <a:lnTo>
                    <a:pt x="102" y="826"/>
                  </a:lnTo>
                  <a:lnTo>
                    <a:pt x="103" y="827"/>
                  </a:lnTo>
                  <a:lnTo>
                    <a:pt x="103" y="828"/>
                  </a:lnTo>
                  <a:lnTo>
                    <a:pt x="99" y="827"/>
                  </a:lnTo>
                  <a:lnTo>
                    <a:pt x="99" y="830"/>
                  </a:lnTo>
                  <a:lnTo>
                    <a:pt x="100" y="830"/>
                  </a:lnTo>
                  <a:lnTo>
                    <a:pt x="103" y="828"/>
                  </a:lnTo>
                  <a:lnTo>
                    <a:pt x="104" y="828"/>
                  </a:lnTo>
                  <a:lnTo>
                    <a:pt x="105" y="831"/>
                  </a:lnTo>
                  <a:lnTo>
                    <a:pt x="104" y="832"/>
                  </a:lnTo>
                  <a:lnTo>
                    <a:pt x="102" y="832"/>
                  </a:lnTo>
                  <a:lnTo>
                    <a:pt x="98" y="832"/>
                  </a:lnTo>
                  <a:lnTo>
                    <a:pt x="96" y="831"/>
                  </a:lnTo>
                  <a:lnTo>
                    <a:pt x="90" y="827"/>
                  </a:lnTo>
                  <a:lnTo>
                    <a:pt x="88" y="826"/>
                  </a:lnTo>
                  <a:lnTo>
                    <a:pt x="88" y="827"/>
                  </a:lnTo>
                  <a:lnTo>
                    <a:pt x="88" y="830"/>
                  </a:lnTo>
                  <a:lnTo>
                    <a:pt x="87" y="828"/>
                  </a:lnTo>
                  <a:lnTo>
                    <a:pt x="85" y="828"/>
                  </a:lnTo>
                  <a:lnTo>
                    <a:pt x="83" y="827"/>
                  </a:lnTo>
                  <a:lnTo>
                    <a:pt x="81" y="826"/>
                  </a:lnTo>
                  <a:lnTo>
                    <a:pt x="79" y="824"/>
                  </a:lnTo>
                  <a:lnTo>
                    <a:pt x="77" y="825"/>
                  </a:lnTo>
                  <a:lnTo>
                    <a:pt x="76" y="826"/>
                  </a:lnTo>
                  <a:lnTo>
                    <a:pt x="74" y="824"/>
                  </a:lnTo>
                  <a:lnTo>
                    <a:pt x="71" y="824"/>
                  </a:lnTo>
                  <a:lnTo>
                    <a:pt x="70" y="824"/>
                  </a:lnTo>
                  <a:lnTo>
                    <a:pt x="73" y="826"/>
                  </a:lnTo>
                  <a:lnTo>
                    <a:pt x="75" y="827"/>
                  </a:lnTo>
                  <a:lnTo>
                    <a:pt x="75" y="828"/>
                  </a:lnTo>
                  <a:lnTo>
                    <a:pt x="73" y="830"/>
                  </a:lnTo>
                  <a:lnTo>
                    <a:pt x="71" y="831"/>
                  </a:lnTo>
                  <a:lnTo>
                    <a:pt x="71" y="832"/>
                  </a:lnTo>
                  <a:lnTo>
                    <a:pt x="74" y="831"/>
                  </a:lnTo>
                  <a:lnTo>
                    <a:pt x="75" y="830"/>
                  </a:lnTo>
                  <a:lnTo>
                    <a:pt x="77" y="828"/>
                  </a:lnTo>
                  <a:lnTo>
                    <a:pt x="81" y="828"/>
                  </a:lnTo>
                  <a:lnTo>
                    <a:pt x="79" y="832"/>
                  </a:lnTo>
                  <a:lnTo>
                    <a:pt x="77" y="834"/>
                  </a:lnTo>
                  <a:lnTo>
                    <a:pt x="79" y="833"/>
                  </a:lnTo>
                  <a:lnTo>
                    <a:pt x="80" y="832"/>
                  </a:lnTo>
                  <a:lnTo>
                    <a:pt x="81" y="831"/>
                  </a:lnTo>
                  <a:lnTo>
                    <a:pt x="82" y="830"/>
                  </a:lnTo>
                  <a:lnTo>
                    <a:pt x="83" y="830"/>
                  </a:lnTo>
                  <a:lnTo>
                    <a:pt x="85" y="831"/>
                  </a:lnTo>
                  <a:lnTo>
                    <a:pt x="83" y="834"/>
                  </a:lnTo>
                  <a:lnTo>
                    <a:pt x="82" y="837"/>
                  </a:lnTo>
                  <a:lnTo>
                    <a:pt x="81" y="838"/>
                  </a:lnTo>
                  <a:lnTo>
                    <a:pt x="82" y="839"/>
                  </a:lnTo>
                  <a:lnTo>
                    <a:pt x="83" y="839"/>
                  </a:lnTo>
                  <a:lnTo>
                    <a:pt x="82" y="840"/>
                  </a:lnTo>
                  <a:lnTo>
                    <a:pt x="81" y="842"/>
                  </a:lnTo>
                  <a:lnTo>
                    <a:pt x="79" y="842"/>
                  </a:lnTo>
                  <a:lnTo>
                    <a:pt x="76" y="840"/>
                  </a:lnTo>
                  <a:lnTo>
                    <a:pt x="74" y="838"/>
                  </a:lnTo>
                  <a:lnTo>
                    <a:pt x="73" y="838"/>
                  </a:lnTo>
                  <a:lnTo>
                    <a:pt x="73" y="839"/>
                  </a:lnTo>
                  <a:lnTo>
                    <a:pt x="69" y="839"/>
                  </a:lnTo>
                  <a:lnTo>
                    <a:pt x="68" y="838"/>
                  </a:lnTo>
                  <a:lnTo>
                    <a:pt x="65" y="839"/>
                  </a:lnTo>
                  <a:lnTo>
                    <a:pt x="70" y="840"/>
                  </a:lnTo>
                  <a:lnTo>
                    <a:pt x="73" y="840"/>
                  </a:lnTo>
                  <a:lnTo>
                    <a:pt x="71" y="843"/>
                  </a:lnTo>
                  <a:lnTo>
                    <a:pt x="71" y="844"/>
                  </a:lnTo>
                  <a:lnTo>
                    <a:pt x="73" y="845"/>
                  </a:lnTo>
                  <a:lnTo>
                    <a:pt x="74" y="844"/>
                  </a:lnTo>
                  <a:lnTo>
                    <a:pt x="75" y="843"/>
                  </a:lnTo>
                  <a:lnTo>
                    <a:pt x="77" y="842"/>
                  </a:lnTo>
                  <a:lnTo>
                    <a:pt x="77" y="843"/>
                  </a:lnTo>
                  <a:lnTo>
                    <a:pt x="77" y="845"/>
                  </a:lnTo>
                  <a:lnTo>
                    <a:pt x="77" y="846"/>
                  </a:lnTo>
                  <a:lnTo>
                    <a:pt x="79" y="845"/>
                  </a:lnTo>
                  <a:lnTo>
                    <a:pt x="80" y="844"/>
                  </a:lnTo>
                  <a:lnTo>
                    <a:pt x="81" y="844"/>
                  </a:lnTo>
                  <a:lnTo>
                    <a:pt x="81" y="845"/>
                  </a:lnTo>
                  <a:lnTo>
                    <a:pt x="80" y="848"/>
                  </a:lnTo>
                  <a:lnTo>
                    <a:pt x="81" y="848"/>
                  </a:lnTo>
                  <a:lnTo>
                    <a:pt x="81" y="845"/>
                  </a:lnTo>
                  <a:lnTo>
                    <a:pt x="83" y="844"/>
                  </a:lnTo>
                  <a:lnTo>
                    <a:pt x="85" y="844"/>
                  </a:lnTo>
                  <a:lnTo>
                    <a:pt x="86" y="845"/>
                  </a:lnTo>
                  <a:lnTo>
                    <a:pt x="82" y="849"/>
                  </a:lnTo>
                  <a:lnTo>
                    <a:pt x="83" y="850"/>
                  </a:lnTo>
                  <a:lnTo>
                    <a:pt x="86" y="848"/>
                  </a:lnTo>
                  <a:lnTo>
                    <a:pt x="87" y="846"/>
                  </a:lnTo>
                  <a:lnTo>
                    <a:pt x="88" y="846"/>
                  </a:lnTo>
                  <a:lnTo>
                    <a:pt x="88" y="849"/>
                  </a:lnTo>
                  <a:lnTo>
                    <a:pt x="88" y="850"/>
                  </a:lnTo>
                  <a:lnTo>
                    <a:pt x="88" y="854"/>
                  </a:lnTo>
                  <a:lnTo>
                    <a:pt x="90" y="852"/>
                  </a:lnTo>
                  <a:lnTo>
                    <a:pt x="91" y="852"/>
                  </a:lnTo>
                  <a:lnTo>
                    <a:pt x="91" y="854"/>
                  </a:lnTo>
                  <a:lnTo>
                    <a:pt x="92" y="857"/>
                  </a:lnTo>
                  <a:lnTo>
                    <a:pt x="91" y="861"/>
                  </a:lnTo>
                  <a:lnTo>
                    <a:pt x="91" y="860"/>
                  </a:lnTo>
                  <a:lnTo>
                    <a:pt x="94" y="860"/>
                  </a:lnTo>
                  <a:lnTo>
                    <a:pt x="96" y="858"/>
                  </a:lnTo>
                  <a:lnTo>
                    <a:pt x="96" y="861"/>
                  </a:lnTo>
                  <a:lnTo>
                    <a:pt x="93" y="862"/>
                  </a:lnTo>
                  <a:lnTo>
                    <a:pt x="90" y="862"/>
                  </a:lnTo>
                  <a:lnTo>
                    <a:pt x="91" y="863"/>
                  </a:lnTo>
                  <a:lnTo>
                    <a:pt x="93" y="864"/>
                  </a:lnTo>
                  <a:lnTo>
                    <a:pt x="94" y="866"/>
                  </a:lnTo>
                  <a:lnTo>
                    <a:pt x="91" y="868"/>
                  </a:lnTo>
                  <a:lnTo>
                    <a:pt x="88" y="869"/>
                  </a:lnTo>
                  <a:lnTo>
                    <a:pt x="90" y="872"/>
                  </a:lnTo>
                  <a:lnTo>
                    <a:pt x="91" y="870"/>
                  </a:lnTo>
                  <a:lnTo>
                    <a:pt x="93" y="869"/>
                  </a:lnTo>
                  <a:lnTo>
                    <a:pt x="94" y="868"/>
                  </a:lnTo>
                  <a:lnTo>
                    <a:pt x="96" y="869"/>
                  </a:lnTo>
                  <a:lnTo>
                    <a:pt x="98" y="868"/>
                  </a:lnTo>
                  <a:lnTo>
                    <a:pt x="99" y="867"/>
                  </a:lnTo>
                  <a:lnTo>
                    <a:pt x="99" y="869"/>
                  </a:lnTo>
                  <a:lnTo>
                    <a:pt x="99" y="870"/>
                  </a:lnTo>
                  <a:lnTo>
                    <a:pt x="99" y="872"/>
                  </a:lnTo>
                  <a:lnTo>
                    <a:pt x="97" y="872"/>
                  </a:lnTo>
                  <a:lnTo>
                    <a:pt x="93" y="872"/>
                  </a:lnTo>
                  <a:lnTo>
                    <a:pt x="91" y="872"/>
                  </a:lnTo>
                  <a:lnTo>
                    <a:pt x="87" y="872"/>
                  </a:lnTo>
                  <a:lnTo>
                    <a:pt x="83" y="872"/>
                  </a:lnTo>
                  <a:lnTo>
                    <a:pt x="82" y="872"/>
                  </a:lnTo>
                  <a:lnTo>
                    <a:pt x="79" y="870"/>
                  </a:lnTo>
                  <a:lnTo>
                    <a:pt x="76" y="870"/>
                  </a:lnTo>
                  <a:lnTo>
                    <a:pt x="74" y="872"/>
                  </a:lnTo>
                  <a:lnTo>
                    <a:pt x="71" y="870"/>
                  </a:lnTo>
                  <a:lnTo>
                    <a:pt x="71" y="873"/>
                  </a:lnTo>
                  <a:lnTo>
                    <a:pt x="74" y="875"/>
                  </a:lnTo>
                  <a:lnTo>
                    <a:pt x="75" y="876"/>
                  </a:lnTo>
                  <a:lnTo>
                    <a:pt x="76" y="875"/>
                  </a:lnTo>
                  <a:lnTo>
                    <a:pt x="77" y="875"/>
                  </a:lnTo>
                  <a:lnTo>
                    <a:pt x="77" y="879"/>
                  </a:lnTo>
                  <a:lnTo>
                    <a:pt x="79" y="881"/>
                  </a:lnTo>
                  <a:lnTo>
                    <a:pt x="79" y="879"/>
                  </a:lnTo>
                  <a:lnTo>
                    <a:pt x="80" y="878"/>
                  </a:lnTo>
                  <a:lnTo>
                    <a:pt x="80" y="875"/>
                  </a:lnTo>
                  <a:lnTo>
                    <a:pt x="81" y="875"/>
                  </a:lnTo>
                  <a:lnTo>
                    <a:pt x="81" y="879"/>
                  </a:lnTo>
                  <a:lnTo>
                    <a:pt x="80" y="881"/>
                  </a:lnTo>
                  <a:lnTo>
                    <a:pt x="80" y="885"/>
                  </a:lnTo>
                  <a:lnTo>
                    <a:pt x="80" y="890"/>
                  </a:lnTo>
                  <a:lnTo>
                    <a:pt x="81" y="891"/>
                  </a:lnTo>
                  <a:lnTo>
                    <a:pt x="82" y="888"/>
                  </a:lnTo>
                  <a:lnTo>
                    <a:pt x="82" y="887"/>
                  </a:lnTo>
                  <a:lnTo>
                    <a:pt x="83" y="882"/>
                  </a:lnTo>
                  <a:lnTo>
                    <a:pt x="83" y="881"/>
                  </a:lnTo>
                  <a:lnTo>
                    <a:pt x="85" y="879"/>
                  </a:lnTo>
                  <a:lnTo>
                    <a:pt x="86" y="879"/>
                  </a:lnTo>
                  <a:lnTo>
                    <a:pt x="86" y="880"/>
                  </a:lnTo>
                  <a:lnTo>
                    <a:pt x="86" y="881"/>
                  </a:lnTo>
                  <a:lnTo>
                    <a:pt x="86" y="884"/>
                  </a:lnTo>
                  <a:lnTo>
                    <a:pt x="86" y="886"/>
                  </a:lnTo>
                  <a:lnTo>
                    <a:pt x="87" y="886"/>
                  </a:lnTo>
                  <a:lnTo>
                    <a:pt x="88" y="884"/>
                  </a:lnTo>
                  <a:lnTo>
                    <a:pt x="90" y="882"/>
                  </a:lnTo>
                  <a:lnTo>
                    <a:pt x="91" y="881"/>
                  </a:lnTo>
                  <a:lnTo>
                    <a:pt x="92" y="880"/>
                  </a:lnTo>
                  <a:lnTo>
                    <a:pt x="92" y="882"/>
                  </a:lnTo>
                  <a:lnTo>
                    <a:pt x="92" y="884"/>
                  </a:lnTo>
                  <a:lnTo>
                    <a:pt x="91" y="886"/>
                  </a:lnTo>
                  <a:lnTo>
                    <a:pt x="91" y="887"/>
                  </a:lnTo>
                  <a:lnTo>
                    <a:pt x="90" y="888"/>
                  </a:lnTo>
                  <a:lnTo>
                    <a:pt x="88" y="891"/>
                  </a:lnTo>
                  <a:lnTo>
                    <a:pt x="87" y="893"/>
                  </a:lnTo>
                  <a:lnTo>
                    <a:pt x="87" y="894"/>
                  </a:lnTo>
                  <a:lnTo>
                    <a:pt x="88" y="893"/>
                  </a:lnTo>
                  <a:lnTo>
                    <a:pt x="90" y="893"/>
                  </a:lnTo>
                  <a:lnTo>
                    <a:pt x="92" y="893"/>
                  </a:lnTo>
                  <a:lnTo>
                    <a:pt x="93" y="893"/>
                  </a:lnTo>
                  <a:lnTo>
                    <a:pt x="92" y="894"/>
                  </a:lnTo>
                  <a:lnTo>
                    <a:pt x="91" y="896"/>
                  </a:lnTo>
                  <a:lnTo>
                    <a:pt x="90" y="896"/>
                  </a:lnTo>
                  <a:lnTo>
                    <a:pt x="87" y="894"/>
                  </a:lnTo>
                  <a:lnTo>
                    <a:pt x="86" y="894"/>
                  </a:lnTo>
                  <a:lnTo>
                    <a:pt x="83" y="894"/>
                  </a:lnTo>
                  <a:lnTo>
                    <a:pt x="81" y="893"/>
                  </a:lnTo>
                  <a:lnTo>
                    <a:pt x="79" y="892"/>
                  </a:lnTo>
                  <a:lnTo>
                    <a:pt x="76" y="891"/>
                  </a:lnTo>
                  <a:lnTo>
                    <a:pt x="74" y="891"/>
                  </a:lnTo>
                  <a:lnTo>
                    <a:pt x="70" y="891"/>
                  </a:lnTo>
                  <a:lnTo>
                    <a:pt x="65" y="888"/>
                  </a:lnTo>
                  <a:lnTo>
                    <a:pt x="63" y="888"/>
                  </a:lnTo>
                  <a:lnTo>
                    <a:pt x="62" y="890"/>
                  </a:lnTo>
                  <a:lnTo>
                    <a:pt x="59" y="888"/>
                  </a:lnTo>
                  <a:lnTo>
                    <a:pt x="57" y="887"/>
                  </a:lnTo>
                  <a:lnTo>
                    <a:pt x="55" y="886"/>
                  </a:lnTo>
                  <a:lnTo>
                    <a:pt x="51" y="886"/>
                  </a:lnTo>
                  <a:lnTo>
                    <a:pt x="50" y="886"/>
                  </a:lnTo>
                  <a:lnTo>
                    <a:pt x="47" y="885"/>
                  </a:lnTo>
                  <a:lnTo>
                    <a:pt x="46" y="885"/>
                  </a:lnTo>
                  <a:lnTo>
                    <a:pt x="46" y="886"/>
                  </a:lnTo>
                  <a:lnTo>
                    <a:pt x="47" y="887"/>
                  </a:lnTo>
                  <a:lnTo>
                    <a:pt x="45" y="887"/>
                  </a:lnTo>
                  <a:lnTo>
                    <a:pt x="44" y="886"/>
                  </a:lnTo>
                  <a:lnTo>
                    <a:pt x="43" y="885"/>
                  </a:lnTo>
                  <a:lnTo>
                    <a:pt x="43" y="886"/>
                  </a:lnTo>
                  <a:lnTo>
                    <a:pt x="41" y="885"/>
                  </a:lnTo>
                  <a:lnTo>
                    <a:pt x="40" y="884"/>
                  </a:lnTo>
                  <a:lnTo>
                    <a:pt x="37" y="881"/>
                  </a:lnTo>
                  <a:lnTo>
                    <a:pt x="35" y="884"/>
                  </a:lnTo>
                  <a:lnTo>
                    <a:pt x="37" y="885"/>
                  </a:lnTo>
                  <a:lnTo>
                    <a:pt x="31" y="884"/>
                  </a:lnTo>
                  <a:lnTo>
                    <a:pt x="32" y="885"/>
                  </a:lnTo>
                  <a:lnTo>
                    <a:pt x="34" y="886"/>
                  </a:lnTo>
                  <a:lnTo>
                    <a:pt x="37" y="886"/>
                  </a:lnTo>
                  <a:lnTo>
                    <a:pt x="37" y="887"/>
                  </a:lnTo>
                  <a:lnTo>
                    <a:pt x="34" y="890"/>
                  </a:lnTo>
                  <a:lnTo>
                    <a:pt x="32" y="891"/>
                  </a:lnTo>
                  <a:lnTo>
                    <a:pt x="33" y="891"/>
                  </a:lnTo>
                  <a:lnTo>
                    <a:pt x="34" y="891"/>
                  </a:lnTo>
                  <a:lnTo>
                    <a:pt x="38" y="888"/>
                  </a:lnTo>
                  <a:lnTo>
                    <a:pt x="40" y="888"/>
                  </a:lnTo>
                  <a:lnTo>
                    <a:pt x="41" y="888"/>
                  </a:lnTo>
                  <a:lnTo>
                    <a:pt x="41" y="890"/>
                  </a:lnTo>
                  <a:lnTo>
                    <a:pt x="40" y="892"/>
                  </a:lnTo>
                  <a:lnTo>
                    <a:pt x="40" y="893"/>
                  </a:lnTo>
                  <a:lnTo>
                    <a:pt x="41" y="893"/>
                  </a:lnTo>
                  <a:lnTo>
                    <a:pt x="43" y="892"/>
                  </a:lnTo>
                  <a:lnTo>
                    <a:pt x="43" y="890"/>
                  </a:lnTo>
                  <a:lnTo>
                    <a:pt x="44" y="888"/>
                  </a:lnTo>
                  <a:lnTo>
                    <a:pt x="47" y="888"/>
                  </a:lnTo>
                  <a:lnTo>
                    <a:pt x="49" y="890"/>
                  </a:lnTo>
                  <a:lnTo>
                    <a:pt x="47" y="892"/>
                  </a:lnTo>
                  <a:lnTo>
                    <a:pt x="46" y="893"/>
                  </a:lnTo>
                  <a:lnTo>
                    <a:pt x="45" y="894"/>
                  </a:lnTo>
                  <a:lnTo>
                    <a:pt x="44" y="897"/>
                  </a:lnTo>
                  <a:lnTo>
                    <a:pt x="45" y="902"/>
                  </a:lnTo>
                  <a:lnTo>
                    <a:pt x="45" y="904"/>
                  </a:lnTo>
                  <a:lnTo>
                    <a:pt x="46" y="906"/>
                  </a:lnTo>
                  <a:lnTo>
                    <a:pt x="46" y="909"/>
                  </a:lnTo>
                  <a:lnTo>
                    <a:pt x="47" y="909"/>
                  </a:lnTo>
                  <a:lnTo>
                    <a:pt x="47" y="906"/>
                  </a:lnTo>
                  <a:lnTo>
                    <a:pt x="49" y="905"/>
                  </a:lnTo>
                  <a:lnTo>
                    <a:pt x="50" y="903"/>
                  </a:lnTo>
                  <a:lnTo>
                    <a:pt x="50" y="902"/>
                  </a:lnTo>
                  <a:lnTo>
                    <a:pt x="50" y="898"/>
                  </a:lnTo>
                  <a:lnTo>
                    <a:pt x="51" y="900"/>
                  </a:lnTo>
                  <a:lnTo>
                    <a:pt x="51" y="902"/>
                  </a:lnTo>
                  <a:lnTo>
                    <a:pt x="51" y="900"/>
                  </a:lnTo>
                  <a:lnTo>
                    <a:pt x="52" y="898"/>
                  </a:lnTo>
                  <a:lnTo>
                    <a:pt x="52" y="896"/>
                  </a:lnTo>
                  <a:lnTo>
                    <a:pt x="55" y="893"/>
                  </a:lnTo>
                  <a:lnTo>
                    <a:pt x="55" y="892"/>
                  </a:lnTo>
                  <a:lnTo>
                    <a:pt x="55" y="894"/>
                  </a:lnTo>
                  <a:lnTo>
                    <a:pt x="53" y="896"/>
                  </a:lnTo>
                  <a:lnTo>
                    <a:pt x="55" y="896"/>
                  </a:lnTo>
                  <a:lnTo>
                    <a:pt x="56" y="896"/>
                  </a:lnTo>
                  <a:lnTo>
                    <a:pt x="57" y="894"/>
                  </a:lnTo>
                  <a:lnTo>
                    <a:pt x="58" y="893"/>
                  </a:lnTo>
                  <a:lnTo>
                    <a:pt x="58" y="892"/>
                  </a:lnTo>
                  <a:lnTo>
                    <a:pt x="58" y="894"/>
                  </a:lnTo>
                  <a:lnTo>
                    <a:pt x="57" y="897"/>
                  </a:lnTo>
                  <a:lnTo>
                    <a:pt x="56" y="899"/>
                  </a:lnTo>
                  <a:lnTo>
                    <a:pt x="57" y="900"/>
                  </a:lnTo>
                  <a:lnTo>
                    <a:pt x="58" y="900"/>
                  </a:lnTo>
                  <a:lnTo>
                    <a:pt x="59" y="898"/>
                  </a:lnTo>
                  <a:lnTo>
                    <a:pt x="61" y="897"/>
                  </a:lnTo>
                  <a:lnTo>
                    <a:pt x="62" y="899"/>
                  </a:lnTo>
                  <a:lnTo>
                    <a:pt x="59" y="902"/>
                  </a:lnTo>
                  <a:lnTo>
                    <a:pt x="59" y="903"/>
                  </a:lnTo>
                  <a:lnTo>
                    <a:pt x="57" y="905"/>
                  </a:lnTo>
                  <a:lnTo>
                    <a:pt x="58" y="909"/>
                  </a:lnTo>
                  <a:lnTo>
                    <a:pt x="58" y="910"/>
                  </a:lnTo>
                  <a:lnTo>
                    <a:pt x="59" y="908"/>
                  </a:lnTo>
                  <a:lnTo>
                    <a:pt x="61" y="905"/>
                  </a:lnTo>
                  <a:lnTo>
                    <a:pt x="62" y="903"/>
                  </a:lnTo>
                  <a:lnTo>
                    <a:pt x="63" y="900"/>
                  </a:lnTo>
                  <a:lnTo>
                    <a:pt x="64" y="900"/>
                  </a:lnTo>
                  <a:lnTo>
                    <a:pt x="64" y="903"/>
                  </a:lnTo>
                  <a:lnTo>
                    <a:pt x="65" y="903"/>
                  </a:lnTo>
                  <a:lnTo>
                    <a:pt x="65" y="904"/>
                  </a:lnTo>
                  <a:lnTo>
                    <a:pt x="65" y="906"/>
                  </a:lnTo>
                  <a:lnTo>
                    <a:pt x="65" y="908"/>
                  </a:lnTo>
                  <a:lnTo>
                    <a:pt x="67" y="908"/>
                  </a:lnTo>
                  <a:lnTo>
                    <a:pt x="68" y="904"/>
                  </a:lnTo>
                  <a:lnTo>
                    <a:pt x="68" y="903"/>
                  </a:lnTo>
                  <a:lnTo>
                    <a:pt x="69" y="902"/>
                  </a:lnTo>
                  <a:lnTo>
                    <a:pt x="70" y="902"/>
                  </a:lnTo>
                  <a:lnTo>
                    <a:pt x="71" y="903"/>
                  </a:lnTo>
                  <a:lnTo>
                    <a:pt x="70" y="904"/>
                  </a:lnTo>
                  <a:lnTo>
                    <a:pt x="69" y="905"/>
                  </a:lnTo>
                  <a:lnTo>
                    <a:pt x="68" y="908"/>
                  </a:lnTo>
                  <a:lnTo>
                    <a:pt x="67" y="910"/>
                  </a:lnTo>
                  <a:lnTo>
                    <a:pt x="68" y="910"/>
                  </a:lnTo>
                  <a:lnTo>
                    <a:pt x="70" y="908"/>
                  </a:lnTo>
                  <a:lnTo>
                    <a:pt x="69" y="911"/>
                  </a:lnTo>
                  <a:lnTo>
                    <a:pt x="68" y="914"/>
                  </a:lnTo>
                  <a:lnTo>
                    <a:pt x="67" y="915"/>
                  </a:lnTo>
                  <a:lnTo>
                    <a:pt x="65" y="916"/>
                  </a:lnTo>
                  <a:lnTo>
                    <a:pt x="58" y="920"/>
                  </a:lnTo>
                  <a:lnTo>
                    <a:pt x="58" y="921"/>
                  </a:lnTo>
                  <a:lnTo>
                    <a:pt x="61" y="921"/>
                  </a:lnTo>
                  <a:lnTo>
                    <a:pt x="62" y="920"/>
                  </a:lnTo>
                  <a:lnTo>
                    <a:pt x="62" y="922"/>
                  </a:lnTo>
                  <a:lnTo>
                    <a:pt x="62" y="923"/>
                  </a:lnTo>
                  <a:lnTo>
                    <a:pt x="63" y="923"/>
                  </a:lnTo>
                  <a:lnTo>
                    <a:pt x="63" y="922"/>
                  </a:lnTo>
                  <a:lnTo>
                    <a:pt x="64" y="921"/>
                  </a:lnTo>
                  <a:lnTo>
                    <a:pt x="65" y="919"/>
                  </a:lnTo>
                  <a:lnTo>
                    <a:pt x="67" y="919"/>
                  </a:lnTo>
                  <a:lnTo>
                    <a:pt x="67" y="920"/>
                  </a:lnTo>
                  <a:lnTo>
                    <a:pt x="67" y="922"/>
                  </a:lnTo>
                  <a:lnTo>
                    <a:pt x="67" y="925"/>
                  </a:lnTo>
                  <a:lnTo>
                    <a:pt x="68" y="926"/>
                  </a:lnTo>
                  <a:lnTo>
                    <a:pt x="68" y="925"/>
                  </a:lnTo>
                  <a:lnTo>
                    <a:pt x="69" y="925"/>
                  </a:lnTo>
                  <a:lnTo>
                    <a:pt x="69" y="923"/>
                  </a:lnTo>
                  <a:lnTo>
                    <a:pt x="70" y="923"/>
                  </a:lnTo>
                  <a:lnTo>
                    <a:pt x="71" y="925"/>
                  </a:lnTo>
                  <a:lnTo>
                    <a:pt x="74" y="923"/>
                  </a:lnTo>
                  <a:lnTo>
                    <a:pt x="73" y="921"/>
                  </a:lnTo>
                  <a:lnTo>
                    <a:pt x="71" y="920"/>
                  </a:lnTo>
                  <a:lnTo>
                    <a:pt x="71" y="917"/>
                  </a:lnTo>
                  <a:lnTo>
                    <a:pt x="73" y="915"/>
                  </a:lnTo>
                  <a:lnTo>
                    <a:pt x="74" y="916"/>
                  </a:lnTo>
                  <a:lnTo>
                    <a:pt x="74" y="917"/>
                  </a:lnTo>
                  <a:lnTo>
                    <a:pt x="75" y="916"/>
                  </a:lnTo>
                  <a:lnTo>
                    <a:pt x="76" y="916"/>
                  </a:lnTo>
                  <a:lnTo>
                    <a:pt x="76" y="920"/>
                  </a:lnTo>
                  <a:lnTo>
                    <a:pt x="77" y="920"/>
                  </a:lnTo>
                  <a:lnTo>
                    <a:pt x="79" y="921"/>
                  </a:lnTo>
                  <a:lnTo>
                    <a:pt x="79" y="920"/>
                  </a:lnTo>
                  <a:lnTo>
                    <a:pt x="79" y="916"/>
                  </a:lnTo>
                  <a:lnTo>
                    <a:pt x="79" y="914"/>
                  </a:lnTo>
                  <a:lnTo>
                    <a:pt x="80" y="911"/>
                  </a:lnTo>
                  <a:lnTo>
                    <a:pt x="80" y="909"/>
                  </a:lnTo>
                  <a:lnTo>
                    <a:pt x="80" y="908"/>
                  </a:lnTo>
                  <a:lnTo>
                    <a:pt x="81" y="910"/>
                  </a:lnTo>
                  <a:lnTo>
                    <a:pt x="81" y="911"/>
                  </a:lnTo>
                  <a:lnTo>
                    <a:pt x="82" y="910"/>
                  </a:lnTo>
                  <a:lnTo>
                    <a:pt x="82" y="909"/>
                  </a:lnTo>
                  <a:lnTo>
                    <a:pt x="82" y="910"/>
                  </a:lnTo>
                  <a:lnTo>
                    <a:pt x="82" y="911"/>
                  </a:lnTo>
                  <a:lnTo>
                    <a:pt x="82" y="914"/>
                  </a:lnTo>
                  <a:lnTo>
                    <a:pt x="83" y="914"/>
                  </a:lnTo>
                  <a:lnTo>
                    <a:pt x="83" y="915"/>
                  </a:lnTo>
                  <a:lnTo>
                    <a:pt x="83" y="917"/>
                  </a:lnTo>
                  <a:lnTo>
                    <a:pt x="85" y="919"/>
                  </a:lnTo>
                  <a:lnTo>
                    <a:pt x="83" y="920"/>
                  </a:lnTo>
                  <a:lnTo>
                    <a:pt x="82" y="920"/>
                  </a:lnTo>
                  <a:lnTo>
                    <a:pt x="80" y="921"/>
                  </a:lnTo>
                  <a:lnTo>
                    <a:pt x="80" y="922"/>
                  </a:lnTo>
                  <a:lnTo>
                    <a:pt x="81" y="922"/>
                  </a:lnTo>
                  <a:lnTo>
                    <a:pt x="79" y="923"/>
                  </a:lnTo>
                  <a:lnTo>
                    <a:pt x="79" y="926"/>
                  </a:lnTo>
                  <a:lnTo>
                    <a:pt x="76" y="926"/>
                  </a:lnTo>
                  <a:lnTo>
                    <a:pt x="73" y="928"/>
                  </a:lnTo>
                  <a:lnTo>
                    <a:pt x="71" y="928"/>
                  </a:lnTo>
                  <a:lnTo>
                    <a:pt x="69" y="928"/>
                  </a:lnTo>
                  <a:lnTo>
                    <a:pt x="67" y="928"/>
                  </a:lnTo>
                  <a:lnTo>
                    <a:pt x="64" y="928"/>
                  </a:lnTo>
                  <a:lnTo>
                    <a:pt x="62" y="928"/>
                  </a:lnTo>
                  <a:lnTo>
                    <a:pt x="62" y="929"/>
                  </a:lnTo>
                  <a:lnTo>
                    <a:pt x="62" y="931"/>
                  </a:lnTo>
                  <a:lnTo>
                    <a:pt x="61" y="931"/>
                  </a:lnTo>
                  <a:lnTo>
                    <a:pt x="59" y="932"/>
                  </a:lnTo>
                  <a:lnTo>
                    <a:pt x="62" y="932"/>
                  </a:lnTo>
                  <a:lnTo>
                    <a:pt x="64" y="932"/>
                  </a:lnTo>
                  <a:lnTo>
                    <a:pt x="65" y="933"/>
                  </a:lnTo>
                  <a:lnTo>
                    <a:pt x="65" y="935"/>
                  </a:lnTo>
                  <a:lnTo>
                    <a:pt x="65" y="934"/>
                  </a:lnTo>
                  <a:lnTo>
                    <a:pt x="67" y="933"/>
                  </a:lnTo>
                  <a:lnTo>
                    <a:pt x="67" y="931"/>
                  </a:lnTo>
                  <a:lnTo>
                    <a:pt x="69" y="931"/>
                  </a:lnTo>
                  <a:lnTo>
                    <a:pt x="70" y="931"/>
                  </a:lnTo>
                  <a:lnTo>
                    <a:pt x="69" y="933"/>
                  </a:lnTo>
                  <a:lnTo>
                    <a:pt x="68" y="934"/>
                  </a:lnTo>
                  <a:lnTo>
                    <a:pt x="67" y="938"/>
                  </a:lnTo>
                  <a:lnTo>
                    <a:pt x="68" y="939"/>
                  </a:lnTo>
                  <a:lnTo>
                    <a:pt x="69" y="938"/>
                  </a:lnTo>
                  <a:lnTo>
                    <a:pt x="70" y="937"/>
                  </a:lnTo>
                  <a:lnTo>
                    <a:pt x="73" y="934"/>
                  </a:lnTo>
                  <a:lnTo>
                    <a:pt x="73" y="933"/>
                  </a:lnTo>
                  <a:lnTo>
                    <a:pt x="75" y="931"/>
                  </a:lnTo>
                  <a:lnTo>
                    <a:pt x="75" y="929"/>
                  </a:lnTo>
                  <a:lnTo>
                    <a:pt x="77" y="929"/>
                  </a:lnTo>
                  <a:lnTo>
                    <a:pt x="77" y="931"/>
                  </a:lnTo>
                  <a:lnTo>
                    <a:pt x="77" y="933"/>
                  </a:lnTo>
                  <a:lnTo>
                    <a:pt x="76" y="934"/>
                  </a:lnTo>
                  <a:lnTo>
                    <a:pt x="76" y="937"/>
                  </a:lnTo>
                  <a:lnTo>
                    <a:pt x="76" y="939"/>
                  </a:lnTo>
                  <a:lnTo>
                    <a:pt x="76" y="941"/>
                  </a:lnTo>
                  <a:lnTo>
                    <a:pt x="77" y="941"/>
                  </a:lnTo>
                  <a:lnTo>
                    <a:pt x="77" y="940"/>
                  </a:lnTo>
                  <a:lnTo>
                    <a:pt x="79" y="938"/>
                  </a:lnTo>
                  <a:lnTo>
                    <a:pt x="79" y="935"/>
                  </a:lnTo>
                  <a:lnTo>
                    <a:pt x="80" y="934"/>
                  </a:lnTo>
                  <a:lnTo>
                    <a:pt x="80" y="937"/>
                  </a:lnTo>
                  <a:lnTo>
                    <a:pt x="80" y="938"/>
                  </a:lnTo>
                  <a:lnTo>
                    <a:pt x="80" y="937"/>
                  </a:lnTo>
                  <a:lnTo>
                    <a:pt x="81" y="935"/>
                  </a:lnTo>
                  <a:lnTo>
                    <a:pt x="81" y="934"/>
                  </a:lnTo>
                  <a:lnTo>
                    <a:pt x="82" y="932"/>
                  </a:lnTo>
                  <a:lnTo>
                    <a:pt x="83" y="931"/>
                  </a:lnTo>
                  <a:lnTo>
                    <a:pt x="83" y="932"/>
                  </a:lnTo>
                  <a:lnTo>
                    <a:pt x="83" y="935"/>
                  </a:lnTo>
                  <a:lnTo>
                    <a:pt x="83" y="937"/>
                  </a:lnTo>
                  <a:lnTo>
                    <a:pt x="85" y="935"/>
                  </a:lnTo>
                  <a:lnTo>
                    <a:pt x="86" y="933"/>
                  </a:lnTo>
                  <a:lnTo>
                    <a:pt x="87" y="931"/>
                  </a:lnTo>
                  <a:lnTo>
                    <a:pt x="87" y="932"/>
                  </a:lnTo>
                  <a:lnTo>
                    <a:pt x="86" y="935"/>
                  </a:lnTo>
                  <a:lnTo>
                    <a:pt x="86" y="938"/>
                  </a:lnTo>
                  <a:lnTo>
                    <a:pt x="86" y="939"/>
                  </a:lnTo>
                  <a:lnTo>
                    <a:pt x="87" y="941"/>
                  </a:lnTo>
                  <a:lnTo>
                    <a:pt x="86" y="944"/>
                  </a:lnTo>
                  <a:lnTo>
                    <a:pt x="85" y="947"/>
                  </a:lnTo>
                  <a:lnTo>
                    <a:pt x="85" y="950"/>
                  </a:lnTo>
                  <a:lnTo>
                    <a:pt x="83" y="953"/>
                  </a:lnTo>
                  <a:lnTo>
                    <a:pt x="86" y="952"/>
                  </a:lnTo>
                  <a:lnTo>
                    <a:pt x="86" y="953"/>
                  </a:lnTo>
                  <a:lnTo>
                    <a:pt x="85" y="955"/>
                  </a:lnTo>
                  <a:lnTo>
                    <a:pt x="82" y="955"/>
                  </a:lnTo>
                  <a:lnTo>
                    <a:pt x="81" y="955"/>
                  </a:lnTo>
                  <a:lnTo>
                    <a:pt x="79" y="955"/>
                  </a:lnTo>
                  <a:lnTo>
                    <a:pt x="77" y="953"/>
                  </a:lnTo>
                  <a:lnTo>
                    <a:pt x="74" y="953"/>
                  </a:lnTo>
                  <a:lnTo>
                    <a:pt x="71" y="953"/>
                  </a:lnTo>
                  <a:lnTo>
                    <a:pt x="69" y="950"/>
                  </a:lnTo>
                  <a:lnTo>
                    <a:pt x="67" y="949"/>
                  </a:lnTo>
                  <a:lnTo>
                    <a:pt x="64" y="946"/>
                  </a:lnTo>
                  <a:lnTo>
                    <a:pt x="63" y="945"/>
                  </a:lnTo>
                  <a:lnTo>
                    <a:pt x="62" y="945"/>
                  </a:lnTo>
                  <a:lnTo>
                    <a:pt x="62" y="943"/>
                  </a:lnTo>
                  <a:lnTo>
                    <a:pt x="59" y="944"/>
                  </a:lnTo>
                  <a:lnTo>
                    <a:pt x="58" y="943"/>
                  </a:lnTo>
                  <a:lnTo>
                    <a:pt x="58" y="940"/>
                  </a:lnTo>
                  <a:lnTo>
                    <a:pt x="57" y="941"/>
                  </a:lnTo>
                  <a:lnTo>
                    <a:pt x="56" y="940"/>
                  </a:lnTo>
                  <a:lnTo>
                    <a:pt x="55" y="943"/>
                  </a:lnTo>
                  <a:lnTo>
                    <a:pt x="53" y="944"/>
                  </a:lnTo>
                  <a:lnTo>
                    <a:pt x="51" y="945"/>
                  </a:lnTo>
                  <a:lnTo>
                    <a:pt x="52" y="946"/>
                  </a:lnTo>
                  <a:lnTo>
                    <a:pt x="55" y="947"/>
                  </a:lnTo>
                  <a:lnTo>
                    <a:pt x="56" y="949"/>
                  </a:lnTo>
                  <a:lnTo>
                    <a:pt x="59" y="951"/>
                  </a:lnTo>
                  <a:lnTo>
                    <a:pt x="61" y="950"/>
                  </a:lnTo>
                  <a:lnTo>
                    <a:pt x="59" y="952"/>
                  </a:lnTo>
                  <a:lnTo>
                    <a:pt x="58" y="953"/>
                  </a:lnTo>
                  <a:lnTo>
                    <a:pt x="56" y="953"/>
                  </a:lnTo>
                  <a:lnTo>
                    <a:pt x="53" y="952"/>
                  </a:lnTo>
                  <a:lnTo>
                    <a:pt x="51" y="951"/>
                  </a:lnTo>
                  <a:lnTo>
                    <a:pt x="47" y="951"/>
                  </a:lnTo>
                  <a:lnTo>
                    <a:pt x="45" y="949"/>
                  </a:lnTo>
                  <a:lnTo>
                    <a:pt x="41" y="947"/>
                  </a:lnTo>
                  <a:lnTo>
                    <a:pt x="38" y="945"/>
                  </a:lnTo>
                  <a:lnTo>
                    <a:pt x="34" y="941"/>
                  </a:lnTo>
                  <a:lnTo>
                    <a:pt x="27" y="937"/>
                  </a:lnTo>
                  <a:lnTo>
                    <a:pt x="21" y="934"/>
                  </a:lnTo>
                  <a:lnTo>
                    <a:pt x="18" y="932"/>
                  </a:lnTo>
                  <a:lnTo>
                    <a:pt x="17" y="932"/>
                  </a:lnTo>
                  <a:lnTo>
                    <a:pt x="16" y="932"/>
                  </a:lnTo>
                  <a:lnTo>
                    <a:pt x="15" y="931"/>
                  </a:lnTo>
                  <a:lnTo>
                    <a:pt x="12" y="928"/>
                  </a:lnTo>
                  <a:lnTo>
                    <a:pt x="10" y="928"/>
                  </a:lnTo>
                  <a:lnTo>
                    <a:pt x="8" y="927"/>
                  </a:lnTo>
                  <a:lnTo>
                    <a:pt x="0" y="925"/>
                  </a:lnTo>
                  <a:lnTo>
                    <a:pt x="0" y="927"/>
                  </a:lnTo>
                  <a:lnTo>
                    <a:pt x="2" y="927"/>
                  </a:lnTo>
                  <a:lnTo>
                    <a:pt x="5" y="929"/>
                  </a:lnTo>
                  <a:lnTo>
                    <a:pt x="5" y="931"/>
                  </a:lnTo>
                  <a:lnTo>
                    <a:pt x="5" y="932"/>
                  </a:lnTo>
                  <a:lnTo>
                    <a:pt x="6" y="933"/>
                  </a:lnTo>
                  <a:lnTo>
                    <a:pt x="9" y="931"/>
                  </a:lnTo>
                  <a:lnTo>
                    <a:pt x="11" y="932"/>
                  </a:lnTo>
                  <a:lnTo>
                    <a:pt x="9" y="933"/>
                  </a:lnTo>
                  <a:lnTo>
                    <a:pt x="8" y="934"/>
                  </a:lnTo>
                  <a:lnTo>
                    <a:pt x="10" y="935"/>
                  </a:lnTo>
                  <a:lnTo>
                    <a:pt x="12" y="935"/>
                  </a:lnTo>
                  <a:lnTo>
                    <a:pt x="15" y="935"/>
                  </a:lnTo>
                  <a:lnTo>
                    <a:pt x="12" y="938"/>
                  </a:lnTo>
                  <a:lnTo>
                    <a:pt x="14" y="940"/>
                  </a:lnTo>
                  <a:lnTo>
                    <a:pt x="15" y="938"/>
                  </a:lnTo>
                  <a:lnTo>
                    <a:pt x="17" y="937"/>
                  </a:lnTo>
                  <a:lnTo>
                    <a:pt x="17" y="938"/>
                  </a:lnTo>
                  <a:lnTo>
                    <a:pt x="15" y="941"/>
                  </a:lnTo>
                  <a:lnTo>
                    <a:pt x="16" y="943"/>
                  </a:lnTo>
                  <a:lnTo>
                    <a:pt x="17" y="941"/>
                  </a:lnTo>
                  <a:lnTo>
                    <a:pt x="20" y="939"/>
                  </a:lnTo>
                  <a:lnTo>
                    <a:pt x="21" y="938"/>
                  </a:lnTo>
                  <a:lnTo>
                    <a:pt x="22" y="939"/>
                  </a:lnTo>
                  <a:lnTo>
                    <a:pt x="21" y="943"/>
                  </a:lnTo>
                  <a:lnTo>
                    <a:pt x="20" y="943"/>
                  </a:lnTo>
                  <a:lnTo>
                    <a:pt x="18" y="944"/>
                  </a:lnTo>
                  <a:lnTo>
                    <a:pt x="20" y="944"/>
                  </a:lnTo>
                  <a:lnTo>
                    <a:pt x="18" y="946"/>
                  </a:lnTo>
                  <a:lnTo>
                    <a:pt x="17" y="946"/>
                  </a:lnTo>
                  <a:lnTo>
                    <a:pt x="17" y="949"/>
                  </a:lnTo>
                  <a:lnTo>
                    <a:pt x="22" y="947"/>
                  </a:lnTo>
                  <a:lnTo>
                    <a:pt x="23" y="945"/>
                  </a:lnTo>
                  <a:lnTo>
                    <a:pt x="26" y="944"/>
                  </a:lnTo>
                  <a:lnTo>
                    <a:pt x="24" y="946"/>
                  </a:lnTo>
                  <a:lnTo>
                    <a:pt x="24" y="950"/>
                  </a:lnTo>
                  <a:lnTo>
                    <a:pt x="26" y="949"/>
                  </a:lnTo>
                  <a:lnTo>
                    <a:pt x="28" y="945"/>
                  </a:lnTo>
                  <a:lnTo>
                    <a:pt x="28" y="946"/>
                  </a:lnTo>
                  <a:lnTo>
                    <a:pt x="27" y="950"/>
                  </a:lnTo>
                  <a:lnTo>
                    <a:pt x="24" y="953"/>
                  </a:lnTo>
                  <a:lnTo>
                    <a:pt x="23" y="958"/>
                  </a:lnTo>
                  <a:lnTo>
                    <a:pt x="23" y="961"/>
                  </a:lnTo>
                  <a:lnTo>
                    <a:pt x="23" y="964"/>
                  </a:lnTo>
                  <a:lnTo>
                    <a:pt x="26" y="962"/>
                  </a:lnTo>
                  <a:lnTo>
                    <a:pt x="27" y="961"/>
                  </a:lnTo>
                  <a:lnTo>
                    <a:pt x="28" y="959"/>
                  </a:lnTo>
                  <a:lnTo>
                    <a:pt x="28" y="957"/>
                  </a:lnTo>
                  <a:lnTo>
                    <a:pt x="29" y="956"/>
                  </a:lnTo>
                  <a:lnTo>
                    <a:pt x="31" y="956"/>
                  </a:lnTo>
                  <a:lnTo>
                    <a:pt x="32" y="956"/>
                  </a:lnTo>
                  <a:lnTo>
                    <a:pt x="31" y="958"/>
                  </a:lnTo>
                  <a:lnTo>
                    <a:pt x="29" y="961"/>
                  </a:lnTo>
                  <a:lnTo>
                    <a:pt x="28" y="962"/>
                  </a:lnTo>
                  <a:lnTo>
                    <a:pt x="28" y="963"/>
                  </a:lnTo>
                  <a:lnTo>
                    <a:pt x="29" y="963"/>
                  </a:lnTo>
                  <a:lnTo>
                    <a:pt x="29" y="964"/>
                  </a:lnTo>
                  <a:lnTo>
                    <a:pt x="29" y="965"/>
                  </a:lnTo>
                  <a:lnTo>
                    <a:pt x="29" y="967"/>
                  </a:lnTo>
                  <a:lnTo>
                    <a:pt x="29" y="968"/>
                  </a:lnTo>
                  <a:lnTo>
                    <a:pt x="31" y="968"/>
                  </a:lnTo>
                  <a:lnTo>
                    <a:pt x="31" y="967"/>
                  </a:lnTo>
                  <a:lnTo>
                    <a:pt x="32" y="965"/>
                  </a:lnTo>
                  <a:lnTo>
                    <a:pt x="33" y="964"/>
                  </a:lnTo>
                  <a:lnTo>
                    <a:pt x="34" y="964"/>
                  </a:lnTo>
                  <a:lnTo>
                    <a:pt x="33" y="968"/>
                  </a:lnTo>
                  <a:lnTo>
                    <a:pt x="33" y="971"/>
                  </a:lnTo>
                  <a:lnTo>
                    <a:pt x="35" y="971"/>
                  </a:lnTo>
                  <a:lnTo>
                    <a:pt x="37" y="971"/>
                  </a:lnTo>
                  <a:lnTo>
                    <a:pt x="37" y="969"/>
                  </a:lnTo>
                  <a:lnTo>
                    <a:pt x="37" y="967"/>
                  </a:lnTo>
                  <a:lnTo>
                    <a:pt x="37" y="964"/>
                  </a:lnTo>
                  <a:lnTo>
                    <a:pt x="38" y="963"/>
                  </a:lnTo>
                  <a:lnTo>
                    <a:pt x="38" y="965"/>
                  </a:lnTo>
                  <a:lnTo>
                    <a:pt x="39" y="969"/>
                  </a:lnTo>
                  <a:lnTo>
                    <a:pt x="40" y="969"/>
                  </a:lnTo>
                  <a:lnTo>
                    <a:pt x="40" y="965"/>
                  </a:lnTo>
                  <a:lnTo>
                    <a:pt x="41" y="964"/>
                  </a:lnTo>
                  <a:lnTo>
                    <a:pt x="41" y="963"/>
                  </a:lnTo>
                  <a:lnTo>
                    <a:pt x="43" y="964"/>
                  </a:lnTo>
                  <a:lnTo>
                    <a:pt x="43" y="967"/>
                  </a:lnTo>
                  <a:lnTo>
                    <a:pt x="43" y="968"/>
                  </a:lnTo>
                  <a:lnTo>
                    <a:pt x="44" y="969"/>
                  </a:lnTo>
                  <a:lnTo>
                    <a:pt x="44" y="971"/>
                  </a:lnTo>
                  <a:lnTo>
                    <a:pt x="43" y="974"/>
                  </a:lnTo>
                  <a:lnTo>
                    <a:pt x="43" y="976"/>
                  </a:lnTo>
                  <a:lnTo>
                    <a:pt x="44" y="977"/>
                  </a:lnTo>
                  <a:lnTo>
                    <a:pt x="44" y="980"/>
                  </a:lnTo>
                  <a:lnTo>
                    <a:pt x="43" y="982"/>
                  </a:lnTo>
                  <a:lnTo>
                    <a:pt x="44" y="983"/>
                  </a:lnTo>
                  <a:lnTo>
                    <a:pt x="45" y="982"/>
                  </a:lnTo>
                  <a:lnTo>
                    <a:pt x="46" y="981"/>
                  </a:lnTo>
                  <a:lnTo>
                    <a:pt x="46" y="979"/>
                  </a:lnTo>
                  <a:lnTo>
                    <a:pt x="46" y="977"/>
                  </a:lnTo>
                  <a:lnTo>
                    <a:pt x="46" y="975"/>
                  </a:lnTo>
                  <a:lnTo>
                    <a:pt x="49" y="976"/>
                  </a:lnTo>
                  <a:lnTo>
                    <a:pt x="49" y="975"/>
                  </a:lnTo>
                  <a:lnTo>
                    <a:pt x="50" y="975"/>
                  </a:lnTo>
                  <a:lnTo>
                    <a:pt x="51" y="975"/>
                  </a:lnTo>
                  <a:lnTo>
                    <a:pt x="51" y="976"/>
                  </a:lnTo>
                  <a:lnTo>
                    <a:pt x="50" y="979"/>
                  </a:lnTo>
                  <a:lnTo>
                    <a:pt x="51" y="977"/>
                  </a:lnTo>
                  <a:lnTo>
                    <a:pt x="53" y="976"/>
                  </a:lnTo>
                  <a:lnTo>
                    <a:pt x="53" y="975"/>
                  </a:lnTo>
                  <a:lnTo>
                    <a:pt x="55" y="974"/>
                  </a:lnTo>
                  <a:lnTo>
                    <a:pt x="53" y="977"/>
                  </a:lnTo>
                  <a:lnTo>
                    <a:pt x="53" y="979"/>
                  </a:lnTo>
                  <a:lnTo>
                    <a:pt x="51" y="981"/>
                  </a:lnTo>
                  <a:lnTo>
                    <a:pt x="49" y="983"/>
                  </a:lnTo>
                  <a:lnTo>
                    <a:pt x="44" y="985"/>
                  </a:lnTo>
                  <a:lnTo>
                    <a:pt x="43" y="986"/>
                  </a:lnTo>
                  <a:lnTo>
                    <a:pt x="40" y="988"/>
                  </a:lnTo>
                  <a:lnTo>
                    <a:pt x="38" y="988"/>
                  </a:lnTo>
                  <a:lnTo>
                    <a:pt x="31" y="985"/>
                  </a:lnTo>
                  <a:lnTo>
                    <a:pt x="29" y="986"/>
                  </a:lnTo>
                  <a:lnTo>
                    <a:pt x="35" y="988"/>
                  </a:lnTo>
                  <a:lnTo>
                    <a:pt x="37" y="989"/>
                  </a:lnTo>
                  <a:lnTo>
                    <a:pt x="32" y="993"/>
                  </a:lnTo>
                  <a:lnTo>
                    <a:pt x="32" y="994"/>
                  </a:lnTo>
                  <a:lnTo>
                    <a:pt x="32" y="995"/>
                  </a:lnTo>
                  <a:lnTo>
                    <a:pt x="34" y="993"/>
                  </a:lnTo>
                  <a:lnTo>
                    <a:pt x="35" y="993"/>
                  </a:lnTo>
                  <a:lnTo>
                    <a:pt x="35" y="998"/>
                  </a:lnTo>
                  <a:lnTo>
                    <a:pt x="37" y="997"/>
                  </a:lnTo>
                  <a:lnTo>
                    <a:pt x="37" y="994"/>
                  </a:lnTo>
                  <a:lnTo>
                    <a:pt x="38" y="993"/>
                  </a:lnTo>
                  <a:lnTo>
                    <a:pt x="39" y="991"/>
                  </a:lnTo>
                  <a:lnTo>
                    <a:pt x="40" y="991"/>
                  </a:lnTo>
                  <a:lnTo>
                    <a:pt x="40" y="993"/>
                  </a:lnTo>
                  <a:lnTo>
                    <a:pt x="40" y="997"/>
                  </a:lnTo>
                  <a:lnTo>
                    <a:pt x="41" y="997"/>
                  </a:lnTo>
                  <a:lnTo>
                    <a:pt x="43" y="997"/>
                  </a:lnTo>
                  <a:lnTo>
                    <a:pt x="43" y="994"/>
                  </a:lnTo>
                  <a:lnTo>
                    <a:pt x="41" y="994"/>
                  </a:lnTo>
                  <a:lnTo>
                    <a:pt x="43" y="992"/>
                  </a:lnTo>
                  <a:lnTo>
                    <a:pt x="44" y="992"/>
                  </a:lnTo>
                  <a:lnTo>
                    <a:pt x="45" y="992"/>
                  </a:lnTo>
                  <a:lnTo>
                    <a:pt x="47" y="992"/>
                  </a:lnTo>
                  <a:lnTo>
                    <a:pt x="45" y="994"/>
                  </a:lnTo>
                  <a:lnTo>
                    <a:pt x="43" y="997"/>
                  </a:lnTo>
                  <a:lnTo>
                    <a:pt x="41" y="999"/>
                  </a:lnTo>
                  <a:lnTo>
                    <a:pt x="43" y="1000"/>
                  </a:lnTo>
                  <a:lnTo>
                    <a:pt x="45" y="998"/>
                  </a:lnTo>
                  <a:lnTo>
                    <a:pt x="45" y="999"/>
                  </a:lnTo>
                  <a:lnTo>
                    <a:pt x="43" y="1003"/>
                  </a:lnTo>
                  <a:lnTo>
                    <a:pt x="44" y="1005"/>
                  </a:lnTo>
                  <a:lnTo>
                    <a:pt x="45" y="1004"/>
                  </a:lnTo>
                  <a:lnTo>
                    <a:pt x="46" y="1001"/>
                  </a:lnTo>
                  <a:lnTo>
                    <a:pt x="49" y="999"/>
                  </a:lnTo>
                  <a:lnTo>
                    <a:pt x="50" y="997"/>
                  </a:lnTo>
                  <a:lnTo>
                    <a:pt x="53" y="993"/>
                  </a:lnTo>
                  <a:lnTo>
                    <a:pt x="56" y="994"/>
                  </a:lnTo>
                  <a:lnTo>
                    <a:pt x="59" y="994"/>
                  </a:lnTo>
                  <a:lnTo>
                    <a:pt x="58" y="998"/>
                  </a:lnTo>
                  <a:lnTo>
                    <a:pt x="55" y="1001"/>
                  </a:lnTo>
                  <a:lnTo>
                    <a:pt x="55" y="1004"/>
                  </a:lnTo>
                  <a:lnTo>
                    <a:pt x="52" y="1005"/>
                  </a:lnTo>
                  <a:lnTo>
                    <a:pt x="49" y="1006"/>
                  </a:lnTo>
                  <a:lnTo>
                    <a:pt x="45" y="1010"/>
                  </a:lnTo>
                  <a:lnTo>
                    <a:pt x="44" y="1012"/>
                  </a:lnTo>
                  <a:lnTo>
                    <a:pt x="45" y="1012"/>
                  </a:lnTo>
                  <a:lnTo>
                    <a:pt x="47" y="1012"/>
                  </a:lnTo>
                  <a:lnTo>
                    <a:pt x="49" y="1012"/>
                  </a:lnTo>
                  <a:lnTo>
                    <a:pt x="50" y="1011"/>
                  </a:lnTo>
                  <a:lnTo>
                    <a:pt x="51" y="1009"/>
                  </a:lnTo>
                  <a:lnTo>
                    <a:pt x="53" y="1006"/>
                  </a:lnTo>
                  <a:lnTo>
                    <a:pt x="56" y="1005"/>
                  </a:lnTo>
                  <a:lnTo>
                    <a:pt x="55" y="1007"/>
                  </a:lnTo>
                  <a:lnTo>
                    <a:pt x="53" y="1012"/>
                  </a:lnTo>
                  <a:lnTo>
                    <a:pt x="56" y="1012"/>
                  </a:lnTo>
                  <a:lnTo>
                    <a:pt x="58" y="1011"/>
                  </a:lnTo>
                  <a:lnTo>
                    <a:pt x="57" y="1013"/>
                  </a:lnTo>
                  <a:lnTo>
                    <a:pt x="58" y="1015"/>
                  </a:lnTo>
                  <a:lnTo>
                    <a:pt x="59" y="1012"/>
                  </a:lnTo>
                  <a:lnTo>
                    <a:pt x="61" y="1011"/>
                  </a:lnTo>
                  <a:lnTo>
                    <a:pt x="61" y="1009"/>
                  </a:lnTo>
                  <a:lnTo>
                    <a:pt x="62" y="1005"/>
                  </a:lnTo>
                  <a:lnTo>
                    <a:pt x="63" y="1003"/>
                  </a:lnTo>
                  <a:lnTo>
                    <a:pt x="63" y="1005"/>
                  </a:lnTo>
                  <a:lnTo>
                    <a:pt x="63" y="1006"/>
                  </a:lnTo>
                  <a:lnTo>
                    <a:pt x="63" y="1005"/>
                  </a:lnTo>
                  <a:lnTo>
                    <a:pt x="63" y="1000"/>
                  </a:lnTo>
                  <a:lnTo>
                    <a:pt x="64" y="999"/>
                  </a:lnTo>
                  <a:lnTo>
                    <a:pt x="65" y="998"/>
                  </a:lnTo>
                  <a:lnTo>
                    <a:pt x="65" y="1000"/>
                  </a:lnTo>
                  <a:lnTo>
                    <a:pt x="67" y="997"/>
                  </a:lnTo>
                  <a:lnTo>
                    <a:pt x="67" y="995"/>
                  </a:lnTo>
                  <a:lnTo>
                    <a:pt x="69" y="995"/>
                  </a:lnTo>
                  <a:lnTo>
                    <a:pt x="68" y="998"/>
                  </a:lnTo>
                  <a:lnTo>
                    <a:pt x="68" y="1000"/>
                  </a:lnTo>
                  <a:lnTo>
                    <a:pt x="67" y="1004"/>
                  </a:lnTo>
                  <a:lnTo>
                    <a:pt x="67" y="1007"/>
                  </a:lnTo>
                  <a:lnTo>
                    <a:pt x="67" y="1009"/>
                  </a:lnTo>
                  <a:lnTo>
                    <a:pt x="65" y="1011"/>
                  </a:lnTo>
                  <a:lnTo>
                    <a:pt x="65" y="1013"/>
                  </a:lnTo>
                  <a:lnTo>
                    <a:pt x="65" y="1015"/>
                  </a:lnTo>
                  <a:lnTo>
                    <a:pt x="67" y="1019"/>
                  </a:lnTo>
                  <a:lnTo>
                    <a:pt x="67" y="1018"/>
                  </a:lnTo>
                  <a:lnTo>
                    <a:pt x="69" y="1017"/>
                  </a:lnTo>
                  <a:lnTo>
                    <a:pt x="70" y="1016"/>
                  </a:lnTo>
                  <a:lnTo>
                    <a:pt x="71" y="1015"/>
                  </a:lnTo>
                  <a:lnTo>
                    <a:pt x="71" y="1010"/>
                  </a:lnTo>
                  <a:lnTo>
                    <a:pt x="71" y="1009"/>
                  </a:lnTo>
                  <a:lnTo>
                    <a:pt x="73" y="1009"/>
                  </a:lnTo>
                  <a:lnTo>
                    <a:pt x="73" y="1011"/>
                  </a:lnTo>
                  <a:lnTo>
                    <a:pt x="73" y="1013"/>
                  </a:lnTo>
                  <a:lnTo>
                    <a:pt x="73" y="1016"/>
                  </a:lnTo>
                  <a:lnTo>
                    <a:pt x="73" y="1019"/>
                  </a:lnTo>
                  <a:lnTo>
                    <a:pt x="74" y="1022"/>
                  </a:lnTo>
                  <a:lnTo>
                    <a:pt x="74" y="1021"/>
                  </a:lnTo>
                  <a:lnTo>
                    <a:pt x="75" y="1022"/>
                  </a:lnTo>
                  <a:lnTo>
                    <a:pt x="76" y="1024"/>
                  </a:lnTo>
                  <a:lnTo>
                    <a:pt x="77" y="1024"/>
                  </a:lnTo>
                  <a:lnTo>
                    <a:pt x="77" y="1019"/>
                  </a:lnTo>
                  <a:lnTo>
                    <a:pt x="76" y="1015"/>
                  </a:lnTo>
                  <a:lnTo>
                    <a:pt x="77" y="1011"/>
                  </a:lnTo>
                  <a:lnTo>
                    <a:pt x="77" y="1006"/>
                  </a:lnTo>
                  <a:lnTo>
                    <a:pt x="79" y="1013"/>
                  </a:lnTo>
                  <a:lnTo>
                    <a:pt x="80" y="1013"/>
                  </a:lnTo>
                  <a:lnTo>
                    <a:pt x="80" y="1010"/>
                  </a:lnTo>
                  <a:lnTo>
                    <a:pt x="80" y="1005"/>
                  </a:lnTo>
                  <a:lnTo>
                    <a:pt x="81" y="1003"/>
                  </a:lnTo>
                  <a:lnTo>
                    <a:pt x="81" y="998"/>
                  </a:lnTo>
                  <a:lnTo>
                    <a:pt x="83" y="997"/>
                  </a:lnTo>
                  <a:lnTo>
                    <a:pt x="83" y="1000"/>
                  </a:lnTo>
                  <a:lnTo>
                    <a:pt x="83" y="1006"/>
                  </a:lnTo>
                  <a:lnTo>
                    <a:pt x="81" y="1010"/>
                  </a:lnTo>
                  <a:lnTo>
                    <a:pt x="81" y="1013"/>
                  </a:lnTo>
                  <a:lnTo>
                    <a:pt x="80" y="1017"/>
                  </a:lnTo>
                  <a:lnTo>
                    <a:pt x="79" y="1019"/>
                  </a:lnTo>
                  <a:lnTo>
                    <a:pt x="80" y="1021"/>
                  </a:lnTo>
                  <a:lnTo>
                    <a:pt x="81" y="1022"/>
                  </a:lnTo>
                  <a:lnTo>
                    <a:pt x="82" y="1021"/>
                  </a:lnTo>
                  <a:lnTo>
                    <a:pt x="82" y="1019"/>
                  </a:lnTo>
                  <a:lnTo>
                    <a:pt x="83" y="1017"/>
                  </a:lnTo>
                  <a:lnTo>
                    <a:pt x="83" y="1015"/>
                  </a:lnTo>
                  <a:lnTo>
                    <a:pt x="85" y="1013"/>
                  </a:lnTo>
                  <a:lnTo>
                    <a:pt x="83" y="1012"/>
                  </a:lnTo>
                  <a:lnTo>
                    <a:pt x="85" y="1009"/>
                  </a:lnTo>
                  <a:lnTo>
                    <a:pt x="86" y="1009"/>
                  </a:lnTo>
                  <a:lnTo>
                    <a:pt x="86" y="1013"/>
                  </a:lnTo>
                  <a:lnTo>
                    <a:pt x="86" y="1015"/>
                  </a:lnTo>
                  <a:lnTo>
                    <a:pt x="87" y="1016"/>
                  </a:lnTo>
                  <a:lnTo>
                    <a:pt x="88" y="1012"/>
                  </a:lnTo>
                  <a:lnTo>
                    <a:pt x="90" y="1010"/>
                  </a:lnTo>
                  <a:lnTo>
                    <a:pt x="90" y="1009"/>
                  </a:lnTo>
                  <a:lnTo>
                    <a:pt x="92" y="1004"/>
                  </a:lnTo>
                  <a:lnTo>
                    <a:pt x="92" y="1006"/>
                  </a:lnTo>
                  <a:lnTo>
                    <a:pt x="92" y="1009"/>
                  </a:lnTo>
                  <a:lnTo>
                    <a:pt x="91" y="1012"/>
                  </a:lnTo>
                  <a:lnTo>
                    <a:pt x="91" y="1016"/>
                  </a:lnTo>
                  <a:lnTo>
                    <a:pt x="92" y="1016"/>
                  </a:lnTo>
                  <a:lnTo>
                    <a:pt x="91" y="1018"/>
                  </a:lnTo>
                  <a:lnTo>
                    <a:pt x="93" y="1019"/>
                  </a:lnTo>
                  <a:lnTo>
                    <a:pt x="93" y="1018"/>
                  </a:lnTo>
                  <a:lnTo>
                    <a:pt x="93" y="1021"/>
                  </a:lnTo>
                  <a:lnTo>
                    <a:pt x="92" y="1023"/>
                  </a:lnTo>
                  <a:lnTo>
                    <a:pt x="91" y="1024"/>
                  </a:lnTo>
                  <a:lnTo>
                    <a:pt x="88" y="1027"/>
                  </a:lnTo>
                  <a:lnTo>
                    <a:pt x="90" y="1027"/>
                  </a:lnTo>
                  <a:lnTo>
                    <a:pt x="92" y="1026"/>
                  </a:lnTo>
                  <a:lnTo>
                    <a:pt x="91" y="1028"/>
                  </a:lnTo>
                  <a:lnTo>
                    <a:pt x="91" y="1029"/>
                  </a:lnTo>
                  <a:lnTo>
                    <a:pt x="91" y="1030"/>
                  </a:lnTo>
                  <a:lnTo>
                    <a:pt x="92" y="1032"/>
                  </a:lnTo>
                  <a:lnTo>
                    <a:pt x="94" y="1032"/>
                  </a:lnTo>
                  <a:lnTo>
                    <a:pt x="98" y="1024"/>
                  </a:lnTo>
                  <a:lnTo>
                    <a:pt x="98" y="1022"/>
                  </a:lnTo>
                  <a:lnTo>
                    <a:pt x="99" y="1021"/>
                  </a:lnTo>
                  <a:lnTo>
                    <a:pt x="99" y="1013"/>
                  </a:lnTo>
                  <a:lnTo>
                    <a:pt x="99" y="1010"/>
                  </a:lnTo>
                  <a:lnTo>
                    <a:pt x="99" y="1005"/>
                  </a:lnTo>
                  <a:lnTo>
                    <a:pt x="99" y="1004"/>
                  </a:lnTo>
                  <a:lnTo>
                    <a:pt x="100" y="1005"/>
                  </a:lnTo>
                  <a:lnTo>
                    <a:pt x="100" y="1006"/>
                  </a:lnTo>
                  <a:lnTo>
                    <a:pt x="100" y="1009"/>
                  </a:lnTo>
                  <a:lnTo>
                    <a:pt x="103" y="1010"/>
                  </a:lnTo>
                  <a:lnTo>
                    <a:pt x="103" y="1012"/>
                  </a:lnTo>
                  <a:lnTo>
                    <a:pt x="102" y="1016"/>
                  </a:lnTo>
                  <a:lnTo>
                    <a:pt x="102" y="1019"/>
                  </a:lnTo>
                  <a:lnTo>
                    <a:pt x="102" y="1021"/>
                  </a:lnTo>
                  <a:lnTo>
                    <a:pt x="102" y="1022"/>
                  </a:lnTo>
                  <a:lnTo>
                    <a:pt x="100" y="1024"/>
                  </a:lnTo>
                  <a:lnTo>
                    <a:pt x="99" y="1026"/>
                  </a:lnTo>
                  <a:lnTo>
                    <a:pt x="98" y="1028"/>
                  </a:lnTo>
                  <a:lnTo>
                    <a:pt x="97" y="1030"/>
                  </a:lnTo>
                  <a:lnTo>
                    <a:pt x="97" y="1034"/>
                  </a:lnTo>
                  <a:lnTo>
                    <a:pt x="98" y="1035"/>
                  </a:lnTo>
                  <a:lnTo>
                    <a:pt x="98" y="1038"/>
                  </a:lnTo>
                  <a:lnTo>
                    <a:pt x="98" y="1040"/>
                  </a:lnTo>
                  <a:lnTo>
                    <a:pt x="97" y="1042"/>
                  </a:lnTo>
                  <a:lnTo>
                    <a:pt x="97" y="1045"/>
                  </a:lnTo>
                  <a:lnTo>
                    <a:pt x="96" y="1047"/>
                  </a:lnTo>
                  <a:lnTo>
                    <a:pt x="92" y="1047"/>
                  </a:lnTo>
                  <a:lnTo>
                    <a:pt x="88" y="1046"/>
                  </a:lnTo>
                  <a:lnTo>
                    <a:pt x="85" y="1044"/>
                  </a:lnTo>
                  <a:lnTo>
                    <a:pt x="80" y="1042"/>
                  </a:lnTo>
                  <a:lnTo>
                    <a:pt x="79" y="1041"/>
                  </a:lnTo>
                  <a:lnTo>
                    <a:pt x="77" y="1041"/>
                  </a:lnTo>
                  <a:lnTo>
                    <a:pt x="74" y="1040"/>
                  </a:lnTo>
                  <a:lnTo>
                    <a:pt x="71" y="1040"/>
                  </a:lnTo>
                  <a:lnTo>
                    <a:pt x="69" y="1039"/>
                  </a:lnTo>
                  <a:lnTo>
                    <a:pt x="68" y="1041"/>
                  </a:lnTo>
                  <a:lnTo>
                    <a:pt x="70" y="1042"/>
                  </a:lnTo>
                  <a:lnTo>
                    <a:pt x="70" y="1045"/>
                  </a:lnTo>
                  <a:lnTo>
                    <a:pt x="73" y="1044"/>
                  </a:lnTo>
                  <a:lnTo>
                    <a:pt x="71" y="1046"/>
                  </a:lnTo>
                  <a:lnTo>
                    <a:pt x="73" y="1047"/>
                  </a:lnTo>
                  <a:lnTo>
                    <a:pt x="74" y="1046"/>
                  </a:lnTo>
                  <a:lnTo>
                    <a:pt x="75" y="1046"/>
                  </a:lnTo>
                  <a:lnTo>
                    <a:pt x="76" y="1045"/>
                  </a:lnTo>
                  <a:lnTo>
                    <a:pt x="77" y="1046"/>
                  </a:lnTo>
                  <a:lnTo>
                    <a:pt x="74" y="1048"/>
                  </a:lnTo>
                  <a:lnTo>
                    <a:pt x="74" y="1050"/>
                  </a:lnTo>
                  <a:lnTo>
                    <a:pt x="75" y="1051"/>
                  </a:lnTo>
                  <a:lnTo>
                    <a:pt x="76" y="1052"/>
                  </a:lnTo>
                  <a:lnTo>
                    <a:pt x="79" y="1051"/>
                  </a:lnTo>
                  <a:lnTo>
                    <a:pt x="80" y="1050"/>
                  </a:lnTo>
                  <a:lnTo>
                    <a:pt x="79" y="1052"/>
                  </a:lnTo>
                  <a:lnTo>
                    <a:pt x="79" y="1054"/>
                  </a:lnTo>
                  <a:lnTo>
                    <a:pt x="79" y="1056"/>
                  </a:lnTo>
                  <a:lnTo>
                    <a:pt x="80" y="1056"/>
                  </a:lnTo>
                  <a:lnTo>
                    <a:pt x="80" y="1057"/>
                  </a:lnTo>
                  <a:lnTo>
                    <a:pt x="80" y="1058"/>
                  </a:lnTo>
                  <a:lnTo>
                    <a:pt x="81" y="1060"/>
                  </a:lnTo>
                  <a:lnTo>
                    <a:pt x="82" y="1060"/>
                  </a:lnTo>
                  <a:lnTo>
                    <a:pt x="85" y="1060"/>
                  </a:lnTo>
                  <a:lnTo>
                    <a:pt x="85" y="1062"/>
                  </a:lnTo>
                  <a:lnTo>
                    <a:pt x="87" y="1064"/>
                  </a:lnTo>
                  <a:lnTo>
                    <a:pt x="85" y="1065"/>
                  </a:lnTo>
                  <a:lnTo>
                    <a:pt x="85" y="1066"/>
                  </a:lnTo>
                  <a:lnTo>
                    <a:pt x="86" y="1066"/>
                  </a:lnTo>
                  <a:lnTo>
                    <a:pt x="87" y="1069"/>
                  </a:lnTo>
                  <a:lnTo>
                    <a:pt x="88" y="1068"/>
                  </a:lnTo>
                  <a:lnTo>
                    <a:pt x="90" y="1066"/>
                  </a:lnTo>
                  <a:lnTo>
                    <a:pt x="91" y="1068"/>
                  </a:lnTo>
                  <a:lnTo>
                    <a:pt x="92" y="1066"/>
                  </a:lnTo>
                  <a:lnTo>
                    <a:pt x="93" y="1064"/>
                  </a:lnTo>
                  <a:lnTo>
                    <a:pt x="93" y="1062"/>
                  </a:lnTo>
                  <a:lnTo>
                    <a:pt x="94" y="1063"/>
                  </a:lnTo>
                  <a:lnTo>
                    <a:pt x="93" y="1066"/>
                  </a:lnTo>
                  <a:lnTo>
                    <a:pt x="92" y="1068"/>
                  </a:lnTo>
                  <a:lnTo>
                    <a:pt x="92" y="1070"/>
                  </a:lnTo>
                  <a:lnTo>
                    <a:pt x="93" y="1070"/>
                  </a:lnTo>
                  <a:lnTo>
                    <a:pt x="93" y="1071"/>
                  </a:lnTo>
                  <a:lnTo>
                    <a:pt x="93" y="1074"/>
                  </a:lnTo>
                  <a:lnTo>
                    <a:pt x="96" y="1074"/>
                  </a:lnTo>
                  <a:lnTo>
                    <a:pt x="98" y="1074"/>
                  </a:lnTo>
                  <a:lnTo>
                    <a:pt x="100" y="1074"/>
                  </a:lnTo>
                  <a:lnTo>
                    <a:pt x="102" y="1075"/>
                  </a:lnTo>
                  <a:lnTo>
                    <a:pt x="104" y="1074"/>
                  </a:lnTo>
                  <a:lnTo>
                    <a:pt x="105" y="1072"/>
                  </a:lnTo>
                  <a:lnTo>
                    <a:pt x="106" y="1075"/>
                  </a:lnTo>
                  <a:lnTo>
                    <a:pt x="108" y="1075"/>
                  </a:lnTo>
                  <a:lnTo>
                    <a:pt x="109" y="1074"/>
                  </a:lnTo>
                  <a:lnTo>
                    <a:pt x="110" y="1072"/>
                  </a:lnTo>
                  <a:lnTo>
                    <a:pt x="112" y="1072"/>
                  </a:lnTo>
                  <a:lnTo>
                    <a:pt x="114" y="1071"/>
                  </a:lnTo>
                  <a:lnTo>
                    <a:pt x="115" y="1071"/>
                  </a:lnTo>
                  <a:lnTo>
                    <a:pt x="116" y="1074"/>
                  </a:lnTo>
                  <a:lnTo>
                    <a:pt x="117" y="1074"/>
                  </a:lnTo>
                  <a:lnTo>
                    <a:pt x="120" y="1072"/>
                  </a:lnTo>
                  <a:lnTo>
                    <a:pt x="121" y="1072"/>
                  </a:lnTo>
                  <a:lnTo>
                    <a:pt x="122" y="1072"/>
                  </a:lnTo>
                  <a:lnTo>
                    <a:pt x="122" y="1074"/>
                  </a:lnTo>
                  <a:lnTo>
                    <a:pt x="124" y="1074"/>
                  </a:lnTo>
                  <a:lnTo>
                    <a:pt x="126" y="1074"/>
                  </a:lnTo>
                  <a:lnTo>
                    <a:pt x="128" y="1074"/>
                  </a:lnTo>
                  <a:lnTo>
                    <a:pt x="128" y="1075"/>
                  </a:lnTo>
                  <a:lnTo>
                    <a:pt x="129" y="1074"/>
                  </a:lnTo>
                  <a:lnTo>
                    <a:pt x="130" y="1072"/>
                  </a:lnTo>
                  <a:lnTo>
                    <a:pt x="132" y="1072"/>
                  </a:lnTo>
                  <a:lnTo>
                    <a:pt x="133" y="1075"/>
                  </a:lnTo>
                  <a:lnTo>
                    <a:pt x="134" y="1075"/>
                  </a:lnTo>
                  <a:lnTo>
                    <a:pt x="135" y="1075"/>
                  </a:lnTo>
                  <a:lnTo>
                    <a:pt x="136" y="1074"/>
                  </a:lnTo>
                  <a:lnTo>
                    <a:pt x="136" y="1075"/>
                  </a:lnTo>
                  <a:lnTo>
                    <a:pt x="138" y="1075"/>
                  </a:lnTo>
                  <a:lnTo>
                    <a:pt x="140" y="1076"/>
                  </a:lnTo>
                  <a:lnTo>
                    <a:pt x="141" y="1077"/>
                  </a:lnTo>
                  <a:lnTo>
                    <a:pt x="142" y="1080"/>
                  </a:lnTo>
                  <a:lnTo>
                    <a:pt x="142" y="1081"/>
                  </a:lnTo>
                  <a:lnTo>
                    <a:pt x="144" y="1082"/>
                  </a:lnTo>
                  <a:lnTo>
                    <a:pt x="146" y="1083"/>
                  </a:lnTo>
                  <a:lnTo>
                    <a:pt x="149" y="1083"/>
                  </a:lnTo>
                  <a:lnTo>
                    <a:pt x="150" y="1082"/>
                  </a:lnTo>
                  <a:lnTo>
                    <a:pt x="147" y="1084"/>
                  </a:lnTo>
                  <a:lnTo>
                    <a:pt x="146" y="1086"/>
                  </a:lnTo>
                  <a:lnTo>
                    <a:pt x="146" y="1087"/>
                  </a:lnTo>
                  <a:lnTo>
                    <a:pt x="147" y="1086"/>
                  </a:lnTo>
                  <a:lnTo>
                    <a:pt x="150" y="1086"/>
                  </a:lnTo>
                  <a:lnTo>
                    <a:pt x="151" y="1086"/>
                  </a:lnTo>
                  <a:lnTo>
                    <a:pt x="151" y="1087"/>
                  </a:lnTo>
                  <a:lnTo>
                    <a:pt x="149" y="1087"/>
                  </a:lnTo>
                  <a:lnTo>
                    <a:pt x="149" y="1089"/>
                  </a:lnTo>
                  <a:lnTo>
                    <a:pt x="150" y="1089"/>
                  </a:lnTo>
                  <a:lnTo>
                    <a:pt x="149" y="1092"/>
                  </a:lnTo>
                  <a:lnTo>
                    <a:pt x="150" y="1092"/>
                  </a:lnTo>
                  <a:lnTo>
                    <a:pt x="151" y="1090"/>
                  </a:lnTo>
                  <a:lnTo>
                    <a:pt x="152" y="1090"/>
                  </a:lnTo>
                  <a:lnTo>
                    <a:pt x="152" y="1092"/>
                  </a:lnTo>
                  <a:lnTo>
                    <a:pt x="152" y="1093"/>
                  </a:lnTo>
                  <a:lnTo>
                    <a:pt x="153" y="1094"/>
                  </a:lnTo>
                  <a:lnTo>
                    <a:pt x="153" y="1093"/>
                  </a:lnTo>
                  <a:lnTo>
                    <a:pt x="155" y="1093"/>
                  </a:lnTo>
                  <a:lnTo>
                    <a:pt x="155" y="1095"/>
                  </a:lnTo>
                  <a:lnTo>
                    <a:pt x="156" y="1096"/>
                  </a:lnTo>
                  <a:lnTo>
                    <a:pt x="157" y="1094"/>
                  </a:lnTo>
                  <a:lnTo>
                    <a:pt x="158" y="1094"/>
                  </a:lnTo>
                  <a:lnTo>
                    <a:pt x="157" y="1096"/>
                  </a:lnTo>
                  <a:lnTo>
                    <a:pt x="156" y="1098"/>
                  </a:lnTo>
                  <a:lnTo>
                    <a:pt x="155" y="1100"/>
                  </a:lnTo>
                  <a:lnTo>
                    <a:pt x="156" y="1101"/>
                  </a:lnTo>
                  <a:lnTo>
                    <a:pt x="157" y="1100"/>
                  </a:lnTo>
                  <a:lnTo>
                    <a:pt x="158" y="1098"/>
                  </a:lnTo>
                  <a:lnTo>
                    <a:pt x="159" y="1095"/>
                  </a:lnTo>
                  <a:lnTo>
                    <a:pt x="159" y="1096"/>
                  </a:lnTo>
                  <a:lnTo>
                    <a:pt x="159" y="1100"/>
                  </a:lnTo>
                  <a:lnTo>
                    <a:pt x="159" y="1101"/>
                  </a:lnTo>
                  <a:lnTo>
                    <a:pt x="159" y="1102"/>
                  </a:lnTo>
                  <a:lnTo>
                    <a:pt x="158" y="1105"/>
                  </a:lnTo>
                  <a:lnTo>
                    <a:pt x="158" y="1108"/>
                  </a:lnTo>
                  <a:lnTo>
                    <a:pt x="157" y="1110"/>
                  </a:lnTo>
                  <a:lnTo>
                    <a:pt x="156" y="1112"/>
                  </a:lnTo>
                  <a:lnTo>
                    <a:pt x="155" y="1114"/>
                  </a:lnTo>
                  <a:lnTo>
                    <a:pt x="153" y="1118"/>
                  </a:lnTo>
                  <a:lnTo>
                    <a:pt x="151" y="1122"/>
                  </a:lnTo>
                  <a:lnTo>
                    <a:pt x="149" y="1124"/>
                  </a:lnTo>
                  <a:lnTo>
                    <a:pt x="147" y="1125"/>
                  </a:lnTo>
                  <a:lnTo>
                    <a:pt x="149" y="1128"/>
                  </a:lnTo>
                  <a:lnTo>
                    <a:pt x="150" y="1129"/>
                  </a:lnTo>
                  <a:lnTo>
                    <a:pt x="150" y="1130"/>
                  </a:lnTo>
                  <a:lnTo>
                    <a:pt x="150" y="1133"/>
                  </a:lnTo>
                  <a:lnTo>
                    <a:pt x="151" y="1134"/>
                  </a:lnTo>
                  <a:lnTo>
                    <a:pt x="152" y="1133"/>
                  </a:lnTo>
                  <a:lnTo>
                    <a:pt x="153" y="1134"/>
                  </a:lnTo>
                  <a:lnTo>
                    <a:pt x="153" y="1135"/>
                  </a:lnTo>
                  <a:lnTo>
                    <a:pt x="156" y="1135"/>
                  </a:lnTo>
                  <a:lnTo>
                    <a:pt x="153" y="1137"/>
                  </a:lnTo>
                  <a:lnTo>
                    <a:pt x="152" y="1140"/>
                  </a:lnTo>
                  <a:lnTo>
                    <a:pt x="153" y="1139"/>
                  </a:lnTo>
                  <a:lnTo>
                    <a:pt x="155" y="1137"/>
                  </a:lnTo>
                  <a:lnTo>
                    <a:pt x="156" y="1135"/>
                  </a:lnTo>
                  <a:lnTo>
                    <a:pt x="158" y="1133"/>
                  </a:lnTo>
                  <a:lnTo>
                    <a:pt x="159" y="1131"/>
                  </a:lnTo>
                  <a:lnTo>
                    <a:pt x="161" y="1130"/>
                  </a:lnTo>
                  <a:lnTo>
                    <a:pt x="163" y="1128"/>
                  </a:lnTo>
                  <a:lnTo>
                    <a:pt x="163" y="1129"/>
                  </a:lnTo>
                  <a:lnTo>
                    <a:pt x="164" y="1130"/>
                  </a:lnTo>
                  <a:lnTo>
                    <a:pt x="165" y="1131"/>
                  </a:lnTo>
                  <a:lnTo>
                    <a:pt x="168" y="1133"/>
                  </a:lnTo>
                  <a:lnTo>
                    <a:pt x="170" y="1133"/>
                  </a:lnTo>
                  <a:lnTo>
                    <a:pt x="170" y="1135"/>
                  </a:lnTo>
                  <a:lnTo>
                    <a:pt x="171" y="1136"/>
                  </a:lnTo>
                  <a:lnTo>
                    <a:pt x="171" y="1137"/>
                  </a:lnTo>
                  <a:lnTo>
                    <a:pt x="173" y="1136"/>
                  </a:lnTo>
                  <a:lnTo>
                    <a:pt x="174" y="1136"/>
                  </a:lnTo>
                  <a:lnTo>
                    <a:pt x="175" y="1139"/>
                  </a:lnTo>
                  <a:lnTo>
                    <a:pt x="174" y="1140"/>
                  </a:lnTo>
                  <a:lnTo>
                    <a:pt x="175" y="1141"/>
                  </a:lnTo>
                  <a:lnTo>
                    <a:pt x="176" y="1141"/>
                  </a:lnTo>
                  <a:lnTo>
                    <a:pt x="177" y="1141"/>
                  </a:lnTo>
                  <a:lnTo>
                    <a:pt x="177" y="1142"/>
                  </a:lnTo>
                  <a:lnTo>
                    <a:pt x="177" y="1145"/>
                  </a:lnTo>
                  <a:lnTo>
                    <a:pt x="179" y="1143"/>
                  </a:lnTo>
                  <a:lnTo>
                    <a:pt x="180" y="1143"/>
                  </a:lnTo>
                  <a:lnTo>
                    <a:pt x="181" y="1145"/>
                  </a:lnTo>
                  <a:lnTo>
                    <a:pt x="182" y="1145"/>
                  </a:lnTo>
                  <a:lnTo>
                    <a:pt x="183" y="1145"/>
                  </a:lnTo>
                  <a:lnTo>
                    <a:pt x="186" y="1145"/>
                  </a:lnTo>
                  <a:lnTo>
                    <a:pt x="186" y="1143"/>
                  </a:lnTo>
                  <a:lnTo>
                    <a:pt x="186" y="1140"/>
                  </a:lnTo>
                  <a:lnTo>
                    <a:pt x="187" y="1137"/>
                  </a:lnTo>
                  <a:lnTo>
                    <a:pt x="187" y="1135"/>
                  </a:lnTo>
                  <a:lnTo>
                    <a:pt x="187" y="1134"/>
                  </a:lnTo>
                  <a:lnTo>
                    <a:pt x="187" y="1131"/>
                  </a:lnTo>
                  <a:lnTo>
                    <a:pt x="187" y="1129"/>
                  </a:lnTo>
                  <a:lnTo>
                    <a:pt x="186" y="1126"/>
                  </a:lnTo>
                  <a:lnTo>
                    <a:pt x="185" y="1125"/>
                  </a:lnTo>
                  <a:lnTo>
                    <a:pt x="183" y="1125"/>
                  </a:lnTo>
                  <a:lnTo>
                    <a:pt x="182" y="1124"/>
                  </a:lnTo>
                  <a:lnTo>
                    <a:pt x="183" y="1122"/>
                  </a:lnTo>
                  <a:lnTo>
                    <a:pt x="186" y="1118"/>
                  </a:lnTo>
                  <a:lnTo>
                    <a:pt x="187" y="1117"/>
                  </a:lnTo>
                  <a:lnTo>
                    <a:pt x="191" y="1117"/>
                  </a:lnTo>
                  <a:lnTo>
                    <a:pt x="192" y="1116"/>
                  </a:lnTo>
                  <a:lnTo>
                    <a:pt x="193" y="1113"/>
                  </a:lnTo>
                  <a:lnTo>
                    <a:pt x="194" y="1114"/>
                  </a:lnTo>
                  <a:lnTo>
                    <a:pt x="197" y="1114"/>
                  </a:lnTo>
                  <a:lnTo>
                    <a:pt x="199" y="1114"/>
                  </a:lnTo>
                  <a:lnTo>
                    <a:pt x="200" y="1114"/>
                  </a:lnTo>
                  <a:lnTo>
                    <a:pt x="201" y="1116"/>
                  </a:lnTo>
                  <a:lnTo>
                    <a:pt x="203" y="1116"/>
                  </a:lnTo>
                  <a:lnTo>
                    <a:pt x="205" y="1117"/>
                  </a:lnTo>
                  <a:lnTo>
                    <a:pt x="206" y="1116"/>
                  </a:lnTo>
                  <a:lnTo>
                    <a:pt x="207" y="1114"/>
                  </a:lnTo>
                  <a:lnTo>
                    <a:pt x="207" y="1116"/>
                  </a:lnTo>
                  <a:lnTo>
                    <a:pt x="209" y="1114"/>
                  </a:lnTo>
                  <a:lnTo>
                    <a:pt x="209" y="1113"/>
                  </a:lnTo>
                  <a:lnTo>
                    <a:pt x="210" y="1112"/>
                  </a:lnTo>
                  <a:lnTo>
                    <a:pt x="211" y="1112"/>
                  </a:lnTo>
                  <a:lnTo>
                    <a:pt x="214" y="1111"/>
                  </a:lnTo>
                  <a:lnTo>
                    <a:pt x="214" y="1110"/>
                  </a:lnTo>
                  <a:lnTo>
                    <a:pt x="215" y="1107"/>
                  </a:lnTo>
                  <a:lnTo>
                    <a:pt x="218" y="1107"/>
                  </a:lnTo>
                  <a:lnTo>
                    <a:pt x="220" y="1106"/>
                  </a:lnTo>
                  <a:lnTo>
                    <a:pt x="220" y="1108"/>
                  </a:lnTo>
                  <a:lnTo>
                    <a:pt x="221" y="1111"/>
                  </a:lnTo>
                  <a:lnTo>
                    <a:pt x="223" y="1110"/>
                  </a:lnTo>
                  <a:lnTo>
                    <a:pt x="223" y="1108"/>
                  </a:lnTo>
                  <a:lnTo>
                    <a:pt x="223" y="1107"/>
                  </a:lnTo>
                  <a:lnTo>
                    <a:pt x="223" y="1105"/>
                  </a:lnTo>
                  <a:lnTo>
                    <a:pt x="223" y="1102"/>
                  </a:lnTo>
                  <a:lnTo>
                    <a:pt x="224" y="1105"/>
                  </a:lnTo>
                  <a:lnTo>
                    <a:pt x="224" y="1107"/>
                  </a:lnTo>
                  <a:lnTo>
                    <a:pt x="224" y="1108"/>
                  </a:lnTo>
                  <a:lnTo>
                    <a:pt x="226" y="1108"/>
                  </a:lnTo>
                  <a:lnTo>
                    <a:pt x="226" y="1111"/>
                  </a:lnTo>
                  <a:lnTo>
                    <a:pt x="224" y="1112"/>
                  </a:lnTo>
                  <a:lnTo>
                    <a:pt x="226" y="1113"/>
                  </a:lnTo>
                  <a:lnTo>
                    <a:pt x="227" y="1112"/>
                  </a:lnTo>
                  <a:lnTo>
                    <a:pt x="228" y="1112"/>
                  </a:lnTo>
                  <a:lnTo>
                    <a:pt x="229" y="1112"/>
                  </a:lnTo>
                  <a:lnTo>
                    <a:pt x="229" y="1113"/>
                  </a:lnTo>
                  <a:lnTo>
                    <a:pt x="230" y="1113"/>
                  </a:lnTo>
                  <a:lnTo>
                    <a:pt x="230" y="1112"/>
                  </a:lnTo>
                  <a:lnTo>
                    <a:pt x="230" y="1110"/>
                  </a:lnTo>
                  <a:lnTo>
                    <a:pt x="232" y="1110"/>
                  </a:lnTo>
                  <a:lnTo>
                    <a:pt x="233" y="1112"/>
                  </a:lnTo>
                  <a:lnTo>
                    <a:pt x="233" y="1114"/>
                  </a:lnTo>
                  <a:lnTo>
                    <a:pt x="233" y="1116"/>
                  </a:lnTo>
                  <a:lnTo>
                    <a:pt x="234" y="1116"/>
                  </a:lnTo>
                  <a:lnTo>
                    <a:pt x="235" y="1117"/>
                  </a:lnTo>
                  <a:lnTo>
                    <a:pt x="239" y="1114"/>
                  </a:lnTo>
                  <a:lnTo>
                    <a:pt x="239" y="1119"/>
                  </a:lnTo>
                  <a:lnTo>
                    <a:pt x="240" y="1116"/>
                  </a:lnTo>
                  <a:lnTo>
                    <a:pt x="239" y="1113"/>
                  </a:lnTo>
                  <a:lnTo>
                    <a:pt x="242" y="1116"/>
                  </a:lnTo>
                  <a:lnTo>
                    <a:pt x="242" y="1117"/>
                  </a:lnTo>
                  <a:lnTo>
                    <a:pt x="242" y="1118"/>
                  </a:lnTo>
                  <a:lnTo>
                    <a:pt x="242" y="1119"/>
                  </a:lnTo>
                  <a:lnTo>
                    <a:pt x="242" y="1122"/>
                  </a:lnTo>
                  <a:lnTo>
                    <a:pt x="244" y="1120"/>
                  </a:lnTo>
                  <a:lnTo>
                    <a:pt x="245" y="1119"/>
                  </a:lnTo>
                  <a:lnTo>
                    <a:pt x="247" y="1118"/>
                  </a:lnTo>
                  <a:lnTo>
                    <a:pt x="248" y="1117"/>
                  </a:lnTo>
                  <a:lnTo>
                    <a:pt x="248" y="1119"/>
                  </a:lnTo>
                  <a:lnTo>
                    <a:pt x="250" y="1120"/>
                  </a:lnTo>
                  <a:lnTo>
                    <a:pt x="251" y="1122"/>
                  </a:lnTo>
                  <a:lnTo>
                    <a:pt x="252" y="1122"/>
                  </a:lnTo>
                  <a:lnTo>
                    <a:pt x="253" y="1120"/>
                  </a:lnTo>
                  <a:lnTo>
                    <a:pt x="256" y="1119"/>
                  </a:lnTo>
                  <a:lnTo>
                    <a:pt x="257" y="1118"/>
                  </a:lnTo>
                  <a:lnTo>
                    <a:pt x="259" y="1117"/>
                  </a:lnTo>
                  <a:lnTo>
                    <a:pt x="260" y="1116"/>
                  </a:lnTo>
                  <a:lnTo>
                    <a:pt x="260" y="1114"/>
                  </a:lnTo>
                  <a:lnTo>
                    <a:pt x="262" y="1113"/>
                  </a:lnTo>
                  <a:lnTo>
                    <a:pt x="262" y="1116"/>
                  </a:lnTo>
                  <a:lnTo>
                    <a:pt x="262" y="1118"/>
                  </a:lnTo>
                  <a:lnTo>
                    <a:pt x="263" y="1118"/>
                  </a:lnTo>
                  <a:lnTo>
                    <a:pt x="264" y="1119"/>
                  </a:lnTo>
                  <a:lnTo>
                    <a:pt x="266" y="1120"/>
                  </a:lnTo>
                  <a:lnTo>
                    <a:pt x="268" y="1122"/>
                  </a:lnTo>
                  <a:lnTo>
                    <a:pt x="269" y="1123"/>
                  </a:lnTo>
                  <a:lnTo>
                    <a:pt x="269" y="1124"/>
                  </a:lnTo>
                  <a:lnTo>
                    <a:pt x="270" y="1125"/>
                  </a:lnTo>
                  <a:lnTo>
                    <a:pt x="273" y="1125"/>
                  </a:lnTo>
                  <a:lnTo>
                    <a:pt x="271" y="1128"/>
                  </a:lnTo>
                  <a:lnTo>
                    <a:pt x="271" y="1129"/>
                  </a:lnTo>
                  <a:lnTo>
                    <a:pt x="273" y="1128"/>
                  </a:lnTo>
                  <a:lnTo>
                    <a:pt x="274" y="1128"/>
                  </a:lnTo>
                  <a:lnTo>
                    <a:pt x="274" y="1130"/>
                  </a:lnTo>
                  <a:lnTo>
                    <a:pt x="274" y="1133"/>
                  </a:lnTo>
                  <a:lnTo>
                    <a:pt x="275" y="1133"/>
                  </a:lnTo>
                  <a:lnTo>
                    <a:pt x="276" y="1133"/>
                  </a:lnTo>
                  <a:lnTo>
                    <a:pt x="279" y="1131"/>
                  </a:lnTo>
                  <a:lnTo>
                    <a:pt x="279" y="1133"/>
                  </a:lnTo>
                  <a:lnTo>
                    <a:pt x="276" y="1134"/>
                  </a:lnTo>
                  <a:lnTo>
                    <a:pt x="275" y="1136"/>
                  </a:lnTo>
                  <a:lnTo>
                    <a:pt x="276" y="1136"/>
                  </a:lnTo>
                  <a:lnTo>
                    <a:pt x="277" y="1136"/>
                  </a:lnTo>
                  <a:lnTo>
                    <a:pt x="280" y="1135"/>
                  </a:lnTo>
                  <a:lnTo>
                    <a:pt x="282" y="1133"/>
                  </a:lnTo>
                  <a:lnTo>
                    <a:pt x="285" y="1131"/>
                  </a:lnTo>
                  <a:lnTo>
                    <a:pt x="286" y="1131"/>
                  </a:lnTo>
                  <a:lnTo>
                    <a:pt x="287" y="1130"/>
                  </a:lnTo>
                  <a:lnTo>
                    <a:pt x="289" y="1130"/>
                  </a:lnTo>
                  <a:lnTo>
                    <a:pt x="291" y="1130"/>
                  </a:lnTo>
                  <a:lnTo>
                    <a:pt x="292" y="1129"/>
                  </a:lnTo>
                  <a:lnTo>
                    <a:pt x="293" y="1128"/>
                  </a:lnTo>
                  <a:lnTo>
                    <a:pt x="294" y="1129"/>
                  </a:lnTo>
                  <a:lnTo>
                    <a:pt x="295" y="1129"/>
                  </a:lnTo>
                  <a:lnTo>
                    <a:pt x="297" y="1128"/>
                  </a:lnTo>
                  <a:lnTo>
                    <a:pt x="298" y="1128"/>
                  </a:lnTo>
                  <a:lnTo>
                    <a:pt x="300" y="1128"/>
                  </a:lnTo>
                  <a:lnTo>
                    <a:pt x="301" y="1128"/>
                  </a:lnTo>
                  <a:lnTo>
                    <a:pt x="303" y="1129"/>
                  </a:lnTo>
                  <a:lnTo>
                    <a:pt x="303" y="1130"/>
                  </a:lnTo>
                  <a:lnTo>
                    <a:pt x="304" y="1130"/>
                  </a:lnTo>
                  <a:lnTo>
                    <a:pt x="305" y="1130"/>
                  </a:lnTo>
                  <a:lnTo>
                    <a:pt x="305" y="1129"/>
                  </a:lnTo>
                  <a:lnTo>
                    <a:pt x="306" y="1129"/>
                  </a:lnTo>
                  <a:lnTo>
                    <a:pt x="307" y="1126"/>
                  </a:lnTo>
                  <a:lnTo>
                    <a:pt x="307" y="1124"/>
                  </a:lnTo>
                  <a:lnTo>
                    <a:pt x="307" y="1122"/>
                  </a:lnTo>
                  <a:lnTo>
                    <a:pt x="309" y="1123"/>
                  </a:lnTo>
                  <a:lnTo>
                    <a:pt x="309" y="1125"/>
                  </a:lnTo>
                  <a:lnTo>
                    <a:pt x="309" y="1126"/>
                  </a:lnTo>
                  <a:lnTo>
                    <a:pt x="309" y="1130"/>
                  </a:lnTo>
                  <a:lnTo>
                    <a:pt x="310" y="1130"/>
                  </a:lnTo>
                  <a:lnTo>
                    <a:pt x="310" y="1131"/>
                  </a:lnTo>
                  <a:lnTo>
                    <a:pt x="310" y="1133"/>
                  </a:lnTo>
                  <a:lnTo>
                    <a:pt x="311" y="1135"/>
                  </a:lnTo>
                  <a:lnTo>
                    <a:pt x="311" y="1136"/>
                  </a:lnTo>
                  <a:lnTo>
                    <a:pt x="311" y="1139"/>
                  </a:lnTo>
                  <a:lnTo>
                    <a:pt x="312" y="1140"/>
                  </a:lnTo>
                  <a:lnTo>
                    <a:pt x="313" y="1141"/>
                  </a:lnTo>
                  <a:lnTo>
                    <a:pt x="312" y="1145"/>
                  </a:lnTo>
                  <a:lnTo>
                    <a:pt x="313" y="1146"/>
                  </a:lnTo>
                  <a:lnTo>
                    <a:pt x="313" y="1147"/>
                  </a:lnTo>
                  <a:lnTo>
                    <a:pt x="313" y="1149"/>
                  </a:lnTo>
                  <a:lnTo>
                    <a:pt x="315" y="1151"/>
                  </a:lnTo>
                  <a:lnTo>
                    <a:pt x="316" y="1152"/>
                  </a:lnTo>
                  <a:lnTo>
                    <a:pt x="317" y="1155"/>
                  </a:lnTo>
                  <a:lnTo>
                    <a:pt x="317" y="1157"/>
                  </a:lnTo>
                  <a:lnTo>
                    <a:pt x="318" y="1159"/>
                  </a:lnTo>
                  <a:lnTo>
                    <a:pt x="319" y="1161"/>
                  </a:lnTo>
                  <a:lnTo>
                    <a:pt x="322" y="1163"/>
                  </a:lnTo>
                  <a:lnTo>
                    <a:pt x="325" y="1164"/>
                  </a:lnTo>
                  <a:lnTo>
                    <a:pt x="327" y="1163"/>
                  </a:lnTo>
                  <a:lnTo>
                    <a:pt x="328" y="1163"/>
                  </a:lnTo>
                  <a:lnTo>
                    <a:pt x="329" y="1163"/>
                  </a:lnTo>
                  <a:lnTo>
                    <a:pt x="330" y="1161"/>
                  </a:lnTo>
                  <a:lnTo>
                    <a:pt x="333" y="1161"/>
                  </a:lnTo>
                  <a:lnTo>
                    <a:pt x="333" y="1159"/>
                  </a:lnTo>
                  <a:lnTo>
                    <a:pt x="334" y="1159"/>
                  </a:lnTo>
                  <a:lnTo>
                    <a:pt x="336" y="1159"/>
                  </a:lnTo>
                  <a:lnTo>
                    <a:pt x="338" y="1158"/>
                  </a:lnTo>
                  <a:lnTo>
                    <a:pt x="338" y="1157"/>
                  </a:lnTo>
                  <a:lnTo>
                    <a:pt x="339" y="1157"/>
                  </a:lnTo>
                  <a:lnTo>
                    <a:pt x="340" y="1157"/>
                  </a:lnTo>
                  <a:lnTo>
                    <a:pt x="341" y="1157"/>
                  </a:lnTo>
                  <a:lnTo>
                    <a:pt x="342" y="1158"/>
                  </a:lnTo>
                  <a:lnTo>
                    <a:pt x="342" y="1160"/>
                  </a:lnTo>
                  <a:lnTo>
                    <a:pt x="342" y="1161"/>
                  </a:lnTo>
                  <a:lnTo>
                    <a:pt x="344" y="1160"/>
                  </a:lnTo>
                  <a:lnTo>
                    <a:pt x="344" y="1161"/>
                  </a:lnTo>
                  <a:lnTo>
                    <a:pt x="344" y="1163"/>
                  </a:lnTo>
                  <a:lnTo>
                    <a:pt x="345" y="1164"/>
                  </a:lnTo>
                  <a:lnTo>
                    <a:pt x="345" y="1163"/>
                  </a:lnTo>
                  <a:lnTo>
                    <a:pt x="346" y="1163"/>
                  </a:lnTo>
                  <a:lnTo>
                    <a:pt x="346" y="1164"/>
                  </a:lnTo>
                  <a:lnTo>
                    <a:pt x="346" y="1166"/>
                  </a:lnTo>
                  <a:lnTo>
                    <a:pt x="347" y="1165"/>
                  </a:lnTo>
                  <a:lnTo>
                    <a:pt x="347" y="1166"/>
                  </a:lnTo>
                  <a:lnTo>
                    <a:pt x="347" y="1169"/>
                  </a:lnTo>
                  <a:lnTo>
                    <a:pt x="347" y="1170"/>
                  </a:lnTo>
                  <a:lnTo>
                    <a:pt x="347" y="1171"/>
                  </a:lnTo>
                  <a:lnTo>
                    <a:pt x="348" y="1172"/>
                  </a:lnTo>
                  <a:lnTo>
                    <a:pt x="350" y="1172"/>
                  </a:lnTo>
                  <a:lnTo>
                    <a:pt x="348" y="1173"/>
                  </a:lnTo>
                  <a:lnTo>
                    <a:pt x="350" y="1176"/>
                  </a:lnTo>
                  <a:lnTo>
                    <a:pt x="350" y="1177"/>
                  </a:lnTo>
                  <a:lnTo>
                    <a:pt x="350" y="1179"/>
                  </a:lnTo>
                  <a:lnTo>
                    <a:pt x="350" y="1181"/>
                  </a:lnTo>
                  <a:lnTo>
                    <a:pt x="351" y="1182"/>
                  </a:lnTo>
                  <a:lnTo>
                    <a:pt x="351" y="1194"/>
                  </a:lnTo>
                  <a:lnTo>
                    <a:pt x="351" y="1207"/>
                  </a:lnTo>
                  <a:lnTo>
                    <a:pt x="351" y="1220"/>
                  </a:lnTo>
                  <a:lnTo>
                    <a:pt x="351" y="1237"/>
                  </a:lnTo>
                  <a:lnTo>
                    <a:pt x="351" y="1241"/>
                  </a:lnTo>
                  <a:lnTo>
                    <a:pt x="351" y="1244"/>
                  </a:lnTo>
                  <a:lnTo>
                    <a:pt x="353" y="1247"/>
                  </a:lnTo>
                  <a:lnTo>
                    <a:pt x="357" y="1247"/>
                  </a:lnTo>
                  <a:lnTo>
                    <a:pt x="386" y="1247"/>
                  </a:lnTo>
                  <a:lnTo>
                    <a:pt x="387" y="1221"/>
                  </a:lnTo>
                  <a:lnTo>
                    <a:pt x="387" y="1199"/>
                  </a:lnTo>
                  <a:lnTo>
                    <a:pt x="388" y="1175"/>
                  </a:lnTo>
                  <a:lnTo>
                    <a:pt x="388" y="1169"/>
                  </a:lnTo>
                  <a:lnTo>
                    <a:pt x="391" y="1167"/>
                  </a:lnTo>
                  <a:lnTo>
                    <a:pt x="392" y="1166"/>
                  </a:lnTo>
                  <a:lnTo>
                    <a:pt x="394" y="1166"/>
                  </a:lnTo>
                  <a:lnTo>
                    <a:pt x="395" y="1165"/>
                  </a:lnTo>
                  <a:lnTo>
                    <a:pt x="397" y="1164"/>
                  </a:lnTo>
                  <a:lnTo>
                    <a:pt x="398" y="1163"/>
                  </a:lnTo>
                  <a:lnTo>
                    <a:pt x="399" y="1161"/>
                  </a:lnTo>
                  <a:lnTo>
                    <a:pt x="400" y="1160"/>
                  </a:lnTo>
                  <a:lnTo>
                    <a:pt x="401" y="1159"/>
                  </a:lnTo>
                  <a:lnTo>
                    <a:pt x="403" y="1158"/>
                  </a:lnTo>
                  <a:lnTo>
                    <a:pt x="401" y="1158"/>
                  </a:lnTo>
                  <a:lnTo>
                    <a:pt x="401" y="1157"/>
                  </a:lnTo>
                  <a:lnTo>
                    <a:pt x="400" y="1154"/>
                  </a:lnTo>
                  <a:lnTo>
                    <a:pt x="400" y="1153"/>
                  </a:lnTo>
                  <a:lnTo>
                    <a:pt x="400" y="1152"/>
                  </a:lnTo>
                  <a:lnTo>
                    <a:pt x="400" y="1151"/>
                  </a:lnTo>
                  <a:lnTo>
                    <a:pt x="399" y="1148"/>
                  </a:lnTo>
                  <a:lnTo>
                    <a:pt x="398" y="1149"/>
                  </a:lnTo>
                  <a:lnTo>
                    <a:pt x="398" y="1148"/>
                  </a:lnTo>
                  <a:lnTo>
                    <a:pt x="397" y="1147"/>
                  </a:lnTo>
                  <a:lnTo>
                    <a:pt x="398" y="1146"/>
                  </a:lnTo>
                  <a:lnTo>
                    <a:pt x="398" y="1145"/>
                  </a:lnTo>
                  <a:lnTo>
                    <a:pt x="398" y="1142"/>
                  </a:lnTo>
                  <a:lnTo>
                    <a:pt x="399" y="1141"/>
                  </a:lnTo>
                  <a:lnTo>
                    <a:pt x="400" y="1139"/>
                  </a:lnTo>
                  <a:lnTo>
                    <a:pt x="401" y="1137"/>
                  </a:lnTo>
                  <a:lnTo>
                    <a:pt x="404" y="1137"/>
                  </a:lnTo>
                  <a:lnTo>
                    <a:pt x="405" y="1137"/>
                  </a:lnTo>
                  <a:lnTo>
                    <a:pt x="406" y="1137"/>
                  </a:lnTo>
                  <a:lnTo>
                    <a:pt x="410" y="1140"/>
                  </a:lnTo>
                  <a:lnTo>
                    <a:pt x="412" y="1140"/>
                  </a:lnTo>
                  <a:lnTo>
                    <a:pt x="415" y="1141"/>
                  </a:lnTo>
                  <a:lnTo>
                    <a:pt x="417" y="1141"/>
                  </a:lnTo>
                  <a:lnTo>
                    <a:pt x="417" y="1140"/>
                  </a:lnTo>
                  <a:lnTo>
                    <a:pt x="418" y="1140"/>
                  </a:lnTo>
                  <a:lnTo>
                    <a:pt x="418" y="1141"/>
                  </a:lnTo>
                  <a:lnTo>
                    <a:pt x="419" y="1142"/>
                  </a:lnTo>
                  <a:lnTo>
                    <a:pt x="421" y="1141"/>
                  </a:lnTo>
                  <a:lnTo>
                    <a:pt x="422" y="1142"/>
                  </a:lnTo>
                  <a:lnTo>
                    <a:pt x="423" y="1145"/>
                  </a:lnTo>
                  <a:lnTo>
                    <a:pt x="425" y="1146"/>
                  </a:lnTo>
                  <a:lnTo>
                    <a:pt x="427" y="1148"/>
                  </a:lnTo>
                  <a:lnTo>
                    <a:pt x="429" y="1149"/>
                  </a:lnTo>
                  <a:lnTo>
                    <a:pt x="430" y="1149"/>
                  </a:lnTo>
                  <a:lnTo>
                    <a:pt x="430" y="1152"/>
                  </a:lnTo>
                  <a:lnTo>
                    <a:pt x="430" y="1153"/>
                  </a:lnTo>
                  <a:lnTo>
                    <a:pt x="430" y="1154"/>
                  </a:lnTo>
                  <a:lnTo>
                    <a:pt x="431" y="1153"/>
                  </a:lnTo>
                  <a:lnTo>
                    <a:pt x="433" y="1154"/>
                  </a:lnTo>
                  <a:lnTo>
                    <a:pt x="434" y="1154"/>
                  </a:lnTo>
                  <a:lnTo>
                    <a:pt x="434" y="1155"/>
                  </a:lnTo>
                  <a:lnTo>
                    <a:pt x="435" y="1158"/>
                  </a:lnTo>
                  <a:lnTo>
                    <a:pt x="436" y="1155"/>
                  </a:lnTo>
                  <a:lnTo>
                    <a:pt x="436" y="1158"/>
                  </a:lnTo>
                  <a:lnTo>
                    <a:pt x="436" y="1159"/>
                  </a:lnTo>
                  <a:lnTo>
                    <a:pt x="436" y="1160"/>
                  </a:lnTo>
                  <a:lnTo>
                    <a:pt x="439" y="1160"/>
                  </a:lnTo>
                  <a:lnTo>
                    <a:pt x="439" y="1159"/>
                  </a:lnTo>
                  <a:lnTo>
                    <a:pt x="440" y="1159"/>
                  </a:lnTo>
                  <a:lnTo>
                    <a:pt x="441" y="1160"/>
                  </a:lnTo>
                  <a:lnTo>
                    <a:pt x="442" y="1160"/>
                  </a:lnTo>
                  <a:lnTo>
                    <a:pt x="442" y="1159"/>
                  </a:lnTo>
                  <a:lnTo>
                    <a:pt x="443" y="1159"/>
                  </a:lnTo>
                  <a:lnTo>
                    <a:pt x="443" y="1160"/>
                  </a:lnTo>
                  <a:lnTo>
                    <a:pt x="446" y="1160"/>
                  </a:lnTo>
                  <a:lnTo>
                    <a:pt x="450" y="1159"/>
                  </a:lnTo>
                  <a:lnTo>
                    <a:pt x="452" y="1157"/>
                  </a:lnTo>
                  <a:lnTo>
                    <a:pt x="454" y="1155"/>
                  </a:lnTo>
                  <a:lnTo>
                    <a:pt x="456" y="1152"/>
                  </a:lnTo>
                  <a:lnTo>
                    <a:pt x="457" y="1153"/>
                  </a:lnTo>
                  <a:lnTo>
                    <a:pt x="457" y="1155"/>
                  </a:lnTo>
                  <a:lnTo>
                    <a:pt x="457" y="1157"/>
                  </a:lnTo>
                  <a:lnTo>
                    <a:pt x="459" y="1155"/>
                  </a:lnTo>
                  <a:lnTo>
                    <a:pt x="459" y="1154"/>
                  </a:lnTo>
                  <a:lnTo>
                    <a:pt x="460" y="1155"/>
                  </a:lnTo>
                  <a:lnTo>
                    <a:pt x="462" y="1157"/>
                  </a:lnTo>
                  <a:lnTo>
                    <a:pt x="463" y="1157"/>
                  </a:lnTo>
                  <a:lnTo>
                    <a:pt x="463" y="1154"/>
                  </a:lnTo>
                  <a:lnTo>
                    <a:pt x="464" y="1154"/>
                  </a:lnTo>
                  <a:lnTo>
                    <a:pt x="465" y="1155"/>
                  </a:lnTo>
                  <a:lnTo>
                    <a:pt x="466" y="1155"/>
                  </a:lnTo>
                  <a:lnTo>
                    <a:pt x="466" y="1154"/>
                  </a:lnTo>
                  <a:lnTo>
                    <a:pt x="468" y="1153"/>
                  </a:lnTo>
                  <a:lnTo>
                    <a:pt x="469" y="1153"/>
                  </a:lnTo>
                  <a:lnTo>
                    <a:pt x="470" y="1151"/>
                  </a:lnTo>
                  <a:lnTo>
                    <a:pt x="471" y="1149"/>
                  </a:lnTo>
                  <a:lnTo>
                    <a:pt x="472" y="1148"/>
                  </a:lnTo>
                  <a:lnTo>
                    <a:pt x="472" y="1146"/>
                  </a:lnTo>
                  <a:lnTo>
                    <a:pt x="474" y="1145"/>
                  </a:lnTo>
                  <a:lnTo>
                    <a:pt x="474" y="1143"/>
                  </a:lnTo>
                  <a:lnTo>
                    <a:pt x="475" y="1141"/>
                  </a:lnTo>
                  <a:lnTo>
                    <a:pt x="477" y="1141"/>
                  </a:lnTo>
                  <a:lnTo>
                    <a:pt x="480" y="1140"/>
                  </a:lnTo>
                  <a:lnTo>
                    <a:pt x="481" y="1139"/>
                  </a:lnTo>
                  <a:lnTo>
                    <a:pt x="481" y="1136"/>
                  </a:lnTo>
                  <a:lnTo>
                    <a:pt x="482" y="1135"/>
                  </a:lnTo>
                  <a:lnTo>
                    <a:pt x="482" y="1137"/>
                  </a:lnTo>
                  <a:lnTo>
                    <a:pt x="483" y="1139"/>
                  </a:lnTo>
                  <a:lnTo>
                    <a:pt x="484" y="1137"/>
                  </a:lnTo>
                  <a:lnTo>
                    <a:pt x="486" y="1137"/>
                  </a:lnTo>
                  <a:lnTo>
                    <a:pt x="487" y="1137"/>
                  </a:lnTo>
                  <a:lnTo>
                    <a:pt x="488" y="1137"/>
                  </a:lnTo>
                  <a:lnTo>
                    <a:pt x="488" y="1136"/>
                  </a:lnTo>
                  <a:lnTo>
                    <a:pt x="489" y="1137"/>
                  </a:lnTo>
                  <a:lnTo>
                    <a:pt x="490" y="1137"/>
                  </a:lnTo>
                  <a:lnTo>
                    <a:pt x="492" y="1139"/>
                  </a:lnTo>
                  <a:lnTo>
                    <a:pt x="492" y="1140"/>
                  </a:lnTo>
                  <a:lnTo>
                    <a:pt x="493" y="1140"/>
                  </a:lnTo>
                  <a:lnTo>
                    <a:pt x="494" y="1139"/>
                  </a:lnTo>
                  <a:lnTo>
                    <a:pt x="495" y="1137"/>
                  </a:lnTo>
                  <a:lnTo>
                    <a:pt x="496" y="1139"/>
                  </a:lnTo>
                  <a:lnTo>
                    <a:pt x="496" y="1137"/>
                  </a:lnTo>
                  <a:lnTo>
                    <a:pt x="498" y="1137"/>
                  </a:lnTo>
                  <a:lnTo>
                    <a:pt x="499" y="1137"/>
                  </a:lnTo>
                  <a:lnTo>
                    <a:pt x="501" y="1137"/>
                  </a:lnTo>
                  <a:lnTo>
                    <a:pt x="502" y="1139"/>
                  </a:lnTo>
                  <a:lnTo>
                    <a:pt x="507" y="1142"/>
                  </a:lnTo>
                  <a:lnTo>
                    <a:pt x="509" y="1146"/>
                  </a:lnTo>
                  <a:lnTo>
                    <a:pt x="510" y="1147"/>
                  </a:lnTo>
                  <a:lnTo>
                    <a:pt x="511" y="1149"/>
                  </a:lnTo>
                  <a:lnTo>
                    <a:pt x="512" y="1151"/>
                  </a:lnTo>
                  <a:lnTo>
                    <a:pt x="516" y="1152"/>
                  </a:lnTo>
                  <a:lnTo>
                    <a:pt x="518" y="1153"/>
                  </a:lnTo>
                  <a:lnTo>
                    <a:pt x="521" y="1152"/>
                  </a:lnTo>
                  <a:lnTo>
                    <a:pt x="523" y="1151"/>
                  </a:lnTo>
                  <a:lnTo>
                    <a:pt x="523" y="1149"/>
                  </a:lnTo>
                  <a:lnTo>
                    <a:pt x="524" y="1147"/>
                  </a:lnTo>
                  <a:lnTo>
                    <a:pt x="524" y="1146"/>
                  </a:lnTo>
                  <a:lnTo>
                    <a:pt x="523" y="1141"/>
                  </a:lnTo>
                  <a:lnTo>
                    <a:pt x="523" y="1139"/>
                  </a:lnTo>
                  <a:lnTo>
                    <a:pt x="524" y="1139"/>
                  </a:lnTo>
                  <a:lnTo>
                    <a:pt x="524" y="1140"/>
                  </a:lnTo>
                  <a:lnTo>
                    <a:pt x="524" y="1145"/>
                  </a:lnTo>
                  <a:lnTo>
                    <a:pt x="524" y="1147"/>
                  </a:lnTo>
                  <a:lnTo>
                    <a:pt x="525" y="1148"/>
                  </a:lnTo>
                  <a:lnTo>
                    <a:pt x="527" y="1148"/>
                  </a:lnTo>
                  <a:lnTo>
                    <a:pt x="528" y="1148"/>
                  </a:lnTo>
                  <a:lnTo>
                    <a:pt x="529" y="1147"/>
                  </a:lnTo>
                  <a:lnTo>
                    <a:pt x="529" y="1146"/>
                  </a:lnTo>
                  <a:lnTo>
                    <a:pt x="529" y="1142"/>
                  </a:lnTo>
                  <a:lnTo>
                    <a:pt x="529" y="1139"/>
                  </a:lnTo>
                  <a:lnTo>
                    <a:pt x="530" y="1141"/>
                  </a:lnTo>
                  <a:lnTo>
                    <a:pt x="530" y="1142"/>
                  </a:lnTo>
                  <a:lnTo>
                    <a:pt x="530" y="1145"/>
                  </a:lnTo>
                  <a:lnTo>
                    <a:pt x="530" y="1147"/>
                  </a:lnTo>
                  <a:lnTo>
                    <a:pt x="531" y="1148"/>
                  </a:lnTo>
                  <a:lnTo>
                    <a:pt x="533" y="1149"/>
                  </a:lnTo>
                  <a:lnTo>
                    <a:pt x="533" y="1147"/>
                  </a:lnTo>
                  <a:lnTo>
                    <a:pt x="533" y="1146"/>
                  </a:lnTo>
                  <a:lnTo>
                    <a:pt x="534" y="1145"/>
                  </a:lnTo>
                  <a:lnTo>
                    <a:pt x="535" y="1145"/>
                  </a:lnTo>
                  <a:lnTo>
                    <a:pt x="535" y="1148"/>
                  </a:lnTo>
                  <a:lnTo>
                    <a:pt x="535" y="1149"/>
                  </a:lnTo>
                  <a:lnTo>
                    <a:pt x="536" y="1149"/>
                  </a:lnTo>
                  <a:lnTo>
                    <a:pt x="537" y="1149"/>
                  </a:lnTo>
                  <a:lnTo>
                    <a:pt x="537" y="1148"/>
                  </a:lnTo>
                  <a:lnTo>
                    <a:pt x="537" y="1147"/>
                  </a:lnTo>
                  <a:lnTo>
                    <a:pt x="539" y="1146"/>
                  </a:lnTo>
                  <a:lnTo>
                    <a:pt x="539" y="1143"/>
                  </a:lnTo>
                  <a:lnTo>
                    <a:pt x="539" y="1142"/>
                  </a:lnTo>
                  <a:lnTo>
                    <a:pt x="540" y="1142"/>
                  </a:lnTo>
                  <a:lnTo>
                    <a:pt x="540" y="1143"/>
                  </a:lnTo>
                  <a:lnTo>
                    <a:pt x="542" y="1147"/>
                  </a:lnTo>
                  <a:lnTo>
                    <a:pt x="545" y="1148"/>
                  </a:lnTo>
                  <a:lnTo>
                    <a:pt x="547" y="1147"/>
                  </a:lnTo>
                  <a:lnTo>
                    <a:pt x="547" y="1145"/>
                  </a:lnTo>
                  <a:lnTo>
                    <a:pt x="548" y="1146"/>
                  </a:lnTo>
                  <a:lnTo>
                    <a:pt x="548" y="1147"/>
                  </a:lnTo>
                  <a:lnTo>
                    <a:pt x="548" y="1148"/>
                  </a:lnTo>
                  <a:lnTo>
                    <a:pt x="549" y="1151"/>
                  </a:lnTo>
                  <a:lnTo>
                    <a:pt x="549" y="1149"/>
                  </a:lnTo>
                  <a:lnTo>
                    <a:pt x="551" y="1148"/>
                  </a:lnTo>
                  <a:lnTo>
                    <a:pt x="552" y="1148"/>
                  </a:lnTo>
                  <a:lnTo>
                    <a:pt x="551" y="1151"/>
                  </a:lnTo>
                  <a:lnTo>
                    <a:pt x="552" y="1151"/>
                  </a:lnTo>
                  <a:lnTo>
                    <a:pt x="552" y="1152"/>
                  </a:lnTo>
                  <a:lnTo>
                    <a:pt x="552" y="1154"/>
                  </a:lnTo>
                  <a:lnTo>
                    <a:pt x="552" y="1155"/>
                  </a:lnTo>
                  <a:lnTo>
                    <a:pt x="553" y="1154"/>
                  </a:lnTo>
                  <a:lnTo>
                    <a:pt x="554" y="1155"/>
                  </a:lnTo>
                  <a:lnTo>
                    <a:pt x="553" y="1157"/>
                  </a:lnTo>
                  <a:lnTo>
                    <a:pt x="554" y="1159"/>
                  </a:lnTo>
                  <a:lnTo>
                    <a:pt x="555" y="1159"/>
                  </a:lnTo>
                  <a:lnTo>
                    <a:pt x="557" y="1160"/>
                  </a:lnTo>
                  <a:lnTo>
                    <a:pt x="558" y="1160"/>
                  </a:lnTo>
                  <a:lnTo>
                    <a:pt x="559" y="1161"/>
                  </a:lnTo>
                  <a:lnTo>
                    <a:pt x="559" y="1163"/>
                  </a:lnTo>
                  <a:lnTo>
                    <a:pt x="560" y="1164"/>
                  </a:lnTo>
                  <a:lnTo>
                    <a:pt x="560" y="1166"/>
                  </a:lnTo>
                  <a:lnTo>
                    <a:pt x="561" y="1166"/>
                  </a:lnTo>
                  <a:lnTo>
                    <a:pt x="561" y="1169"/>
                  </a:lnTo>
                  <a:lnTo>
                    <a:pt x="564" y="1171"/>
                  </a:lnTo>
                  <a:lnTo>
                    <a:pt x="564" y="1172"/>
                  </a:lnTo>
                  <a:lnTo>
                    <a:pt x="564" y="1173"/>
                  </a:lnTo>
                  <a:lnTo>
                    <a:pt x="564" y="1175"/>
                  </a:lnTo>
                  <a:lnTo>
                    <a:pt x="566" y="1177"/>
                  </a:lnTo>
                  <a:lnTo>
                    <a:pt x="567" y="1178"/>
                  </a:lnTo>
                  <a:lnTo>
                    <a:pt x="570" y="1181"/>
                  </a:lnTo>
                  <a:lnTo>
                    <a:pt x="572" y="1182"/>
                  </a:lnTo>
                  <a:lnTo>
                    <a:pt x="574" y="1182"/>
                  </a:lnTo>
                  <a:lnTo>
                    <a:pt x="575" y="1181"/>
                  </a:lnTo>
                  <a:lnTo>
                    <a:pt x="575" y="1179"/>
                  </a:lnTo>
                  <a:lnTo>
                    <a:pt x="575" y="1177"/>
                  </a:lnTo>
                  <a:lnTo>
                    <a:pt x="575" y="1175"/>
                  </a:lnTo>
                  <a:lnTo>
                    <a:pt x="575" y="1173"/>
                  </a:lnTo>
                  <a:lnTo>
                    <a:pt x="575" y="1172"/>
                  </a:lnTo>
                  <a:lnTo>
                    <a:pt x="575" y="1175"/>
                  </a:lnTo>
                  <a:lnTo>
                    <a:pt x="576" y="1177"/>
                  </a:lnTo>
                  <a:lnTo>
                    <a:pt x="576" y="1178"/>
                  </a:lnTo>
                  <a:lnTo>
                    <a:pt x="576" y="1179"/>
                  </a:lnTo>
                  <a:lnTo>
                    <a:pt x="576" y="1183"/>
                  </a:lnTo>
                  <a:lnTo>
                    <a:pt x="576" y="1184"/>
                  </a:lnTo>
                  <a:lnTo>
                    <a:pt x="577" y="1185"/>
                  </a:lnTo>
                  <a:lnTo>
                    <a:pt x="577" y="1187"/>
                  </a:lnTo>
                  <a:lnTo>
                    <a:pt x="580" y="1187"/>
                  </a:lnTo>
                  <a:lnTo>
                    <a:pt x="581" y="1187"/>
                  </a:lnTo>
                  <a:lnTo>
                    <a:pt x="582" y="1188"/>
                  </a:lnTo>
                  <a:lnTo>
                    <a:pt x="583" y="1188"/>
                  </a:lnTo>
                  <a:lnTo>
                    <a:pt x="584" y="1187"/>
                  </a:lnTo>
                  <a:lnTo>
                    <a:pt x="584" y="1185"/>
                  </a:lnTo>
                  <a:lnTo>
                    <a:pt x="586" y="1184"/>
                  </a:lnTo>
                  <a:lnTo>
                    <a:pt x="587" y="1185"/>
                  </a:lnTo>
                  <a:lnTo>
                    <a:pt x="587" y="1184"/>
                  </a:lnTo>
                  <a:lnTo>
                    <a:pt x="587" y="1183"/>
                  </a:lnTo>
                  <a:lnTo>
                    <a:pt x="588" y="1183"/>
                  </a:lnTo>
                  <a:lnTo>
                    <a:pt x="588" y="1182"/>
                  </a:lnTo>
                  <a:lnTo>
                    <a:pt x="589" y="1181"/>
                  </a:lnTo>
                  <a:lnTo>
                    <a:pt x="590" y="1178"/>
                  </a:lnTo>
                  <a:lnTo>
                    <a:pt x="592" y="1177"/>
                  </a:lnTo>
                  <a:lnTo>
                    <a:pt x="593" y="1178"/>
                  </a:lnTo>
                  <a:lnTo>
                    <a:pt x="592" y="1179"/>
                  </a:lnTo>
                  <a:lnTo>
                    <a:pt x="593" y="1181"/>
                  </a:lnTo>
                  <a:lnTo>
                    <a:pt x="594" y="1181"/>
                  </a:lnTo>
                  <a:lnTo>
                    <a:pt x="594" y="1182"/>
                  </a:lnTo>
                  <a:lnTo>
                    <a:pt x="594" y="1183"/>
                  </a:lnTo>
                  <a:lnTo>
                    <a:pt x="593" y="1183"/>
                  </a:lnTo>
                  <a:lnTo>
                    <a:pt x="592" y="1185"/>
                  </a:lnTo>
                  <a:lnTo>
                    <a:pt x="593" y="1185"/>
                  </a:lnTo>
                  <a:lnTo>
                    <a:pt x="594" y="1185"/>
                  </a:lnTo>
                  <a:lnTo>
                    <a:pt x="593" y="1187"/>
                  </a:lnTo>
                  <a:lnTo>
                    <a:pt x="592" y="1187"/>
                  </a:lnTo>
                  <a:lnTo>
                    <a:pt x="592" y="1189"/>
                  </a:lnTo>
                  <a:lnTo>
                    <a:pt x="593" y="1190"/>
                  </a:lnTo>
                  <a:lnTo>
                    <a:pt x="593" y="1193"/>
                  </a:lnTo>
                  <a:lnTo>
                    <a:pt x="593" y="1195"/>
                  </a:lnTo>
                  <a:lnTo>
                    <a:pt x="594" y="1195"/>
                  </a:lnTo>
                  <a:lnTo>
                    <a:pt x="594" y="1196"/>
                  </a:lnTo>
                  <a:lnTo>
                    <a:pt x="593" y="1197"/>
                  </a:lnTo>
                  <a:lnTo>
                    <a:pt x="593" y="1199"/>
                  </a:lnTo>
                  <a:lnTo>
                    <a:pt x="595" y="1199"/>
                  </a:lnTo>
                  <a:lnTo>
                    <a:pt x="595" y="1197"/>
                  </a:lnTo>
                  <a:lnTo>
                    <a:pt x="595" y="1199"/>
                  </a:lnTo>
                  <a:lnTo>
                    <a:pt x="595" y="1200"/>
                  </a:lnTo>
                  <a:lnTo>
                    <a:pt x="598" y="1201"/>
                  </a:lnTo>
                  <a:lnTo>
                    <a:pt x="599" y="1201"/>
                  </a:lnTo>
                  <a:lnTo>
                    <a:pt x="599" y="1202"/>
                  </a:lnTo>
                  <a:lnTo>
                    <a:pt x="601" y="1203"/>
                  </a:lnTo>
                  <a:lnTo>
                    <a:pt x="601" y="1202"/>
                  </a:lnTo>
                  <a:lnTo>
                    <a:pt x="601" y="1205"/>
                  </a:lnTo>
                  <a:lnTo>
                    <a:pt x="604" y="1205"/>
                  </a:lnTo>
                  <a:lnTo>
                    <a:pt x="604" y="1206"/>
                  </a:lnTo>
                  <a:lnTo>
                    <a:pt x="605" y="1207"/>
                  </a:lnTo>
                  <a:lnTo>
                    <a:pt x="606" y="1207"/>
                  </a:lnTo>
                  <a:lnTo>
                    <a:pt x="608" y="1207"/>
                  </a:lnTo>
                  <a:lnTo>
                    <a:pt x="608" y="1205"/>
                  </a:lnTo>
                  <a:lnTo>
                    <a:pt x="607" y="1202"/>
                  </a:lnTo>
                  <a:lnTo>
                    <a:pt x="607" y="1201"/>
                  </a:lnTo>
                  <a:lnTo>
                    <a:pt x="608" y="1201"/>
                  </a:lnTo>
                  <a:lnTo>
                    <a:pt x="610" y="1200"/>
                  </a:lnTo>
                  <a:lnTo>
                    <a:pt x="611" y="1199"/>
                  </a:lnTo>
                  <a:lnTo>
                    <a:pt x="612" y="1197"/>
                  </a:lnTo>
                  <a:lnTo>
                    <a:pt x="614" y="1196"/>
                  </a:lnTo>
                  <a:lnTo>
                    <a:pt x="616" y="1197"/>
                  </a:lnTo>
                  <a:lnTo>
                    <a:pt x="616" y="1195"/>
                  </a:lnTo>
                  <a:lnTo>
                    <a:pt x="617" y="1194"/>
                  </a:lnTo>
                  <a:lnTo>
                    <a:pt x="617" y="1193"/>
                  </a:lnTo>
                  <a:lnTo>
                    <a:pt x="618" y="1191"/>
                  </a:lnTo>
                  <a:lnTo>
                    <a:pt x="619" y="1190"/>
                  </a:lnTo>
                  <a:lnTo>
                    <a:pt x="620" y="1190"/>
                  </a:lnTo>
                  <a:lnTo>
                    <a:pt x="622" y="1189"/>
                  </a:lnTo>
                  <a:lnTo>
                    <a:pt x="623" y="1190"/>
                  </a:lnTo>
                  <a:lnTo>
                    <a:pt x="623" y="1189"/>
                  </a:lnTo>
                  <a:lnTo>
                    <a:pt x="624" y="1189"/>
                  </a:lnTo>
                  <a:lnTo>
                    <a:pt x="625" y="1189"/>
                  </a:lnTo>
                  <a:lnTo>
                    <a:pt x="631" y="1189"/>
                  </a:lnTo>
                  <a:lnTo>
                    <a:pt x="634" y="1187"/>
                  </a:lnTo>
                  <a:lnTo>
                    <a:pt x="634" y="1185"/>
                  </a:lnTo>
                  <a:lnTo>
                    <a:pt x="635" y="1185"/>
                  </a:lnTo>
                  <a:lnTo>
                    <a:pt x="635" y="1187"/>
                  </a:lnTo>
                  <a:lnTo>
                    <a:pt x="637" y="1187"/>
                  </a:lnTo>
                  <a:lnTo>
                    <a:pt x="637" y="1188"/>
                  </a:lnTo>
                  <a:lnTo>
                    <a:pt x="639" y="1188"/>
                  </a:lnTo>
                  <a:lnTo>
                    <a:pt x="640" y="1188"/>
                  </a:lnTo>
                  <a:lnTo>
                    <a:pt x="641" y="1188"/>
                  </a:lnTo>
                  <a:lnTo>
                    <a:pt x="643" y="1188"/>
                  </a:lnTo>
                  <a:lnTo>
                    <a:pt x="645" y="1188"/>
                  </a:lnTo>
                  <a:lnTo>
                    <a:pt x="645" y="1185"/>
                  </a:lnTo>
                  <a:lnTo>
                    <a:pt x="645" y="1184"/>
                  </a:lnTo>
                  <a:lnTo>
                    <a:pt x="646" y="1184"/>
                  </a:lnTo>
                  <a:lnTo>
                    <a:pt x="648" y="1184"/>
                  </a:lnTo>
                  <a:lnTo>
                    <a:pt x="649" y="1183"/>
                  </a:lnTo>
                  <a:lnTo>
                    <a:pt x="651" y="1183"/>
                  </a:lnTo>
                  <a:lnTo>
                    <a:pt x="651" y="1181"/>
                  </a:lnTo>
                  <a:lnTo>
                    <a:pt x="652" y="1178"/>
                  </a:lnTo>
                  <a:lnTo>
                    <a:pt x="652" y="1181"/>
                  </a:lnTo>
                  <a:lnTo>
                    <a:pt x="653" y="1181"/>
                  </a:lnTo>
                  <a:lnTo>
                    <a:pt x="653" y="1179"/>
                  </a:lnTo>
                  <a:lnTo>
                    <a:pt x="657" y="1177"/>
                  </a:lnTo>
                  <a:lnTo>
                    <a:pt x="657" y="1175"/>
                  </a:lnTo>
                  <a:lnTo>
                    <a:pt x="658" y="1173"/>
                  </a:lnTo>
                  <a:lnTo>
                    <a:pt x="659" y="1171"/>
                  </a:lnTo>
                  <a:lnTo>
                    <a:pt x="659" y="1170"/>
                  </a:lnTo>
                  <a:lnTo>
                    <a:pt x="659" y="1167"/>
                  </a:lnTo>
                  <a:lnTo>
                    <a:pt x="658" y="1169"/>
                  </a:lnTo>
                  <a:lnTo>
                    <a:pt x="658" y="1166"/>
                  </a:lnTo>
                  <a:lnTo>
                    <a:pt x="658" y="1164"/>
                  </a:lnTo>
                  <a:lnTo>
                    <a:pt x="658" y="1163"/>
                  </a:lnTo>
                  <a:lnTo>
                    <a:pt x="658" y="1165"/>
                  </a:lnTo>
                  <a:lnTo>
                    <a:pt x="659" y="1165"/>
                  </a:lnTo>
                  <a:lnTo>
                    <a:pt x="660" y="1166"/>
                  </a:lnTo>
                  <a:lnTo>
                    <a:pt x="661" y="1167"/>
                  </a:lnTo>
                  <a:lnTo>
                    <a:pt x="661" y="1166"/>
                  </a:lnTo>
                  <a:lnTo>
                    <a:pt x="663" y="1165"/>
                  </a:lnTo>
                  <a:lnTo>
                    <a:pt x="663" y="1164"/>
                  </a:lnTo>
                  <a:lnTo>
                    <a:pt x="663" y="1161"/>
                  </a:lnTo>
                  <a:lnTo>
                    <a:pt x="664" y="1161"/>
                  </a:lnTo>
                  <a:lnTo>
                    <a:pt x="665" y="1161"/>
                  </a:lnTo>
                  <a:lnTo>
                    <a:pt x="666" y="1161"/>
                  </a:lnTo>
                  <a:lnTo>
                    <a:pt x="667" y="1161"/>
                  </a:lnTo>
                  <a:lnTo>
                    <a:pt x="667" y="1160"/>
                  </a:lnTo>
                  <a:lnTo>
                    <a:pt x="669" y="1159"/>
                  </a:lnTo>
                  <a:lnTo>
                    <a:pt x="669" y="1158"/>
                  </a:lnTo>
                  <a:lnTo>
                    <a:pt x="669" y="1157"/>
                  </a:lnTo>
                  <a:lnTo>
                    <a:pt x="669" y="1155"/>
                  </a:lnTo>
                  <a:lnTo>
                    <a:pt x="669" y="1154"/>
                  </a:lnTo>
                  <a:lnTo>
                    <a:pt x="670" y="1154"/>
                  </a:lnTo>
                  <a:lnTo>
                    <a:pt x="671" y="1153"/>
                  </a:lnTo>
                  <a:lnTo>
                    <a:pt x="673" y="1153"/>
                  </a:lnTo>
                  <a:lnTo>
                    <a:pt x="673" y="1152"/>
                  </a:lnTo>
                  <a:lnTo>
                    <a:pt x="673" y="1151"/>
                  </a:lnTo>
                  <a:lnTo>
                    <a:pt x="675" y="1148"/>
                  </a:lnTo>
                  <a:lnTo>
                    <a:pt x="675" y="1146"/>
                  </a:lnTo>
                  <a:lnTo>
                    <a:pt x="673" y="1146"/>
                  </a:lnTo>
                  <a:lnTo>
                    <a:pt x="672" y="1145"/>
                  </a:lnTo>
                  <a:lnTo>
                    <a:pt x="672" y="1143"/>
                  </a:lnTo>
                  <a:lnTo>
                    <a:pt x="673" y="1142"/>
                  </a:lnTo>
                  <a:lnTo>
                    <a:pt x="673" y="1141"/>
                  </a:lnTo>
                  <a:lnTo>
                    <a:pt x="675" y="1141"/>
                  </a:lnTo>
                  <a:lnTo>
                    <a:pt x="676" y="1140"/>
                  </a:lnTo>
                  <a:lnTo>
                    <a:pt x="677" y="1141"/>
                  </a:lnTo>
                  <a:lnTo>
                    <a:pt x="678" y="1141"/>
                  </a:lnTo>
                  <a:lnTo>
                    <a:pt x="681" y="1137"/>
                  </a:lnTo>
                  <a:lnTo>
                    <a:pt x="682" y="1136"/>
                  </a:lnTo>
                  <a:lnTo>
                    <a:pt x="682" y="1135"/>
                  </a:lnTo>
                  <a:lnTo>
                    <a:pt x="683" y="1135"/>
                  </a:lnTo>
                  <a:lnTo>
                    <a:pt x="683" y="1136"/>
                  </a:lnTo>
                  <a:lnTo>
                    <a:pt x="684" y="1136"/>
                  </a:lnTo>
                  <a:lnTo>
                    <a:pt x="685" y="1136"/>
                  </a:lnTo>
                  <a:lnTo>
                    <a:pt x="685" y="1137"/>
                  </a:lnTo>
                  <a:lnTo>
                    <a:pt x="687" y="1137"/>
                  </a:lnTo>
                  <a:lnTo>
                    <a:pt x="688" y="1136"/>
                  </a:lnTo>
                  <a:lnTo>
                    <a:pt x="689" y="1136"/>
                  </a:lnTo>
                  <a:lnTo>
                    <a:pt x="690" y="1135"/>
                  </a:lnTo>
                  <a:lnTo>
                    <a:pt x="692" y="1135"/>
                  </a:lnTo>
                  <a:lnTo>
                    <a:pt x="694" y="1134"/>
                  </a:lnTo>
                  <a:lnTo>
                    <a:pt x="695" y="1135"/>
                  </a:lnTo>
                  <a:lnTo>
                    <a:pt x="696" y="1135"/>
                  </a:lnTo>
                  <a:lnTo>
                    <a:pt x="698" y="1135"/>
                  </a:lnTo>
                  <a:lnTo>
                    <a:pt x="699" y="1134"/>
                  </a:lnTo>
                  <a:lnTo>
                    <a:pt x="700" y="1134"/>
                  </a:lnTo>
                  <a:lnTo>
                    <a:pt x="701" y="1134"/>
                  </a:lnTo>
                  <a:lnTo>
                    <a:pt x="702" y="1134"/>
                  </a:lnTo>
                  <a:lnTo>
                    <a:pt x="702" y="1133"/>
                  </a:lnTo>
                  <a:lnTo>
                    <a:pt x="702" y="1130"/>
                  </a:lnTo>
                  <a:lnTo>
                    <a:pt x="701" y="1129"/>
                  </a:lnTo>
                  <a:lnTo>
                    <a:pt x="702" y="1129"/>
                  </a:lnTo>
                  <a:lnTo>
                    <a:pt x="702" y="1126"/>
                  </a:lnTo>
                  <a:lnTo>
                    <a:pt x="702" y="1125"/>
                  </a:lnTo>
                  <a:lnTo>
                    <a:pt x="704" y="1124"/>
                  </a:lnTo>
                  <a:lnTo>
                    <a:pt x="705" y="1123"/>
                  </a:lnTo>
                  <a:lnTo>
                    <a:pt x="705" y="1122"/>
                  </a:lnTo>
                  <a:lnTo>
                    <a:pt x="706" y="1119"/>
                  </a:lnTo>
                  <a:lnTo>
                    <a:pt x="707" y="1120"/>
                  </a:lnTo>
                  <a:lnTo>
                    <a:pt x="707" y="1122"/>
                  </a:lnTo>
                  <a:lnTo>
                    <a:pt x="708" y="1119"/>
                  </a:lnTo>
                  <a:lnTo>
                    <a:pt x="708" y="1118"/>
                  </a:lnTo>
                  <a:lnTo>
                    <a:pt x="710" y="1118"/>
                  </a:lnTo>
                  <a:lnTo>
                    <a:pt x="710" y="1119"/>
                  </a:lnTo>
                  <a:lnTo>
                    <a:pt x="711" y="1119"/>
                  </a:lnTo>
                  <a:lnTo>
                    <a:pt x="712" y="1119"/>
                  </a:lnTo>
                  <a:lnTo>
                    <a:pt x="713" y="1119"/>
                  </a:lnTo>
                  <a:lnTo>
                    <a:pt x="714" y="1119"/>
                  </a:lnTo>
                  <a:lnTo>
                    <a:pt x="716" y="1119"/>
                  </a:lnTo>
                  <a:lnTo>
                    <a:pt x="717" y="1119"/>
                  </a:lnTo>
                  <a:lnTo>
                    <a:pt x="718" y="1119"/>
                  </a:lnTo>
                  <a:lnTo>
                    <a:pt x="719" y="1120"/>
                  </a:lnTo>
                  <a:lnTo>
                    <a:pt x="719" y="1119"/>
                  </a:lnTo>
                  <a:lnTo>
                    <a:pt x="720" y="1120"/>
                  </a:lnTo>
                  <a:lnTo>
                    <a:pt x="722" y="1120"/>
                  </a:lnTo>
                  <a:lnTo>
                    <a:pt x="723" y="1119"/>
                  </a:lnTo>
                  <a:lnTo>
                    <a:pt x="724" y="1118"/>
                  </a:lnTo>
                  <a:lnTo>
                    <a:pt x="725" y="1118"/>
                  </a:lnTo>
                  <a:lnTo>
                    <a:pt x="725" y="1117"/>
                  </a:lnTo>
                  <a:lnTo>
                    <a:pt x="726" y="1116"/>
                  </a:lnTo>
                  <a:lnTo>
                    <a:pt x="726" y="1114"/>
                  </a:lnTo>
                  <a:lnTo>
                    <a:pt x="726" y="1113"/>
                  </a:lnTo>
                  <a:lnTo>
                    <a:pt x="726" y="1112"/>
                  </a:lnTo>
                  <a:lnTo>
                    <a:pt x="728" y="1111"/>
                  </a:lnTo>
                  <a:lnTo>
                    <a:pt x="728" y="1113"/>
                  </a:lnTo>
                  <a:lnTo>
                    <a:pt x="729" y="1113"/>
                  </a:lnTo>
                  <a:lnTo>
                    <a:pt x="729" y="1111"/>
                  </a:lnTo>
                  <a:lnTo>
                    <a:pt x="729" y="1110"/>
                  </a:lnTo>
                  <a:lnTo>
                    <a:pt x="730" y="1108"/>
                  </a:lnTo>
                  <a:lnTo>
                    <a:pt x="731" y="1108"/>
                  </a:lnTo>
                  <a:lnTo>
                    <a:pt x="732" y="1107"/>
                  </a:lnTo>
                  <a:lnTo>
                    <a:pt x="734" y="1106"/>
                  </a:lnTo>
                  <a:lnTo>
                    <a:pt x="735" y="1106"/>
                  </a:lnTo>
                  <a:lnTo>
                    <a:pt x="736" y="1105"/>
                  </a:lnTo>
                  <a:lnTo>
                    <a:pt x="738" y="1105"/>
                  </a:lnTo>
                  <a:lnTo>
                    <a:pt x="740" y="1104"/>
                  </a:lnTo>
                  <a:lnTo>
                    <a:pt x="743" y="1104"/>
                  </a:lnTo>
                  <a:lnTo>
                    <a:pt x="746" y="1102"/>
                  </a:lnTo>
                  <a:lnTo>
                    <a:pt x="748" y="1101"/>
                  </a:lnTo>
                  <a:lnTo>
                    <a:pt x="751" y="1100"/>
                  </a:lnTo>
                  <a:lnTo>
                    <a:pt x="749" y="1099"/>
                  </a:lnTo>
                  <a:lnTo>
                    <a:pt x="748" y="1098"/>
                  </a:lnTo>
                  <a:lnTo>
                    <a:pt x="747" y="1096"/>
                  </a:lnTo>
                  <a:lnTo>
                    <a:pt x="749" y="1098"/>
                  </a:lnTo>
                  <a:lnTo>
                    <a:pt x="751" y="1098"/>
                  </a:lnTo>
                  <a:lnTo>
                    <a:pt x="751" y="1095"/>
                  </a:lnTo>
                  <a:lnTo>
                    <a:pt x="752" y="1094"/>
                  </a:lnTo>
                  <a:lnTo>
                    <a:pt x="752" y="1093"/>
                  </a:lnTo>
                  <a:lnTo>
                    <a:pt x="751" y="1089"/>
                  </a:lnTo>
                  <a:lnTo>
                    <a:pt x="751" y="1088"/>
                  </a:lnTo>
                  <a:lnTo>
                    <a:pt x="749" y="1087"/>
                  </a:lnTo>
                  <a:lnTo>
                    <a:pt x="751" y="1087"/>
                  </a:lnTo>
                  <a:lnTo>
                    <a:pt x="751" y="1086"/>
                  </a:lnTo>
                  <a:lnTo>
                    <a:pt x="751" y="1084"/>
                  </a:lnTo>
                  <a:lnTo>
                    <a:pt x="751" y="1082"/>
                  </a:lnTo>
                  <a:lnTo>
                    <a:pt x="752" y="1081"/>
                  </a:lnTo>
                  <a:lnTo>
                    <a:pt x="753" y="1080"/>
                  </a:lnTo>
                  <a:lnTo>
                    <a:pt x="753" y="1078"/>
                  </a:lnTo>
                  <a:lnTo>
                    <a:pt x="752" y="1077"/>
                  </a:lnTo>
                  <a:lnTo>
                    <a:pt x="753" y="1070"/>
                  </a:lnTo>
                  <a:lnTo>
                    <a:pt x="753" y="1068"/>
                  </a:lnTo>
                  <a:lnTo>
                    <a:pt x="754" y="1068"/>
                  </a:lnTo>
                  <a:lnTo>
                    <a:pt x="753" y="1066"/>
                  </a:lnTo>
                  <a:lnTo>
                    <a:pt x="754" y="1066"/>
                  </a:lnTo>
                  <a:lnTo>
                    <a:pt x="754" y="1065"/>
                  </a:lnTo>
                  <a:lnTo>
                    <a:pt x="755" y="1066"/>
                  </a:lnTo>
                  <a:lnTo>
                    <a:pt x="755" y="1065"/>
                  </a:lnTo>
                  <a:lnTo>
                    <a:pt x="757" y="1065"/>
                  </a:lnTo>
                  <a:lnTo>
                    <a:pt x="758" y="1064"/>
                  </a:lnTo>
                  <a:lnTo>
                    <a:pt x="759" y="1064"/>
                  </a:lnTo>
                  <a:lnTo>
                    <a:pt x="760" y="1063"/>
                  </a:lnTo>
                  <a:lnTo>
                    <a:pt x="760" y="1062"/>
                  </a:lnTo>
                  <a:lnTo>
                    <a:pt x="761" y="1062"/>
                  </a:lnTo>
                  <a:lnTo>
                    <a:pt x="764" y="1059"/>
                  </a:lnTo>
                  <a:lnTo>
                    <a:pt x="765" y="1058"/>
                  </a:lnTo>
                  <a:lnTo>
                    <a:pt x="766" y="1058"/>
                  </a:lnTo>
                  <a:lnTo>
                    <a:pt x="766" y="1056"/>
                  </a:lnTo>
                  <a:lnTo>
                    <a:pt x="765" y="1054"/>
                  </a:lnTo>
                  <a:lnTo>
                    <a:pt x="763" y="1056"/>
                  </a:lnTo>
                  <a:lnTo>
                    <a:pt x="760" y="1056"/>
                  </a:lnTo>
                  <a:lnTo>
                    <a:pt x="757" y="1057"/>
                  </a:lnTo>
                  <a:lnTo>
                    <a:pt x="752" y="1058"/>
                  </a:lnTo>
                  <a:lnTo>
                    <a:pt x="748" y="1060"/>
                  </a:lnTo>
                  <a:lnTo>
                    <a:pt x="743" y="1062"/>
                  </a:lnTo>
                  <a:lnTo>
                    <a:pt x="741" y="1064"/>
                  </a:lnTo>
                  <a:lnTo>
                    <a:pt x="735" y="1065"/>
                  </a:lnTo>
                  <a:lnTo>
                    <a:pt x="730" y="1066"/>
                  </a:lnTo>
                  <a:lnTo>
                    <a:pt x="726" y="1068"/>
                  </a:lnTo>
                  <a:lnTo>
                    <a:pt x="722" y="1069"/>
                  </a:lnTo>
                  <a:lnTo>
                    <a:pt x="719" y="1069"/>
                  </a:lnTo>
                  <a:lnTo>
                    <a:pt x="712" y="1070"/>
                  </a:lnTo>
                  <a:lnTo>
                    <a:pt x="706" y="1069"/>
                  </a:lnTo>
                  <a:lnTo>
                    <a:pt x="701" y="1069"/>
                  </a:lnTo>
                  <a:lnTo>
                    <a:pt x="695" y="1068"/>
                  </a:lnTo>
                  <a:lnTo>
                    <a:pt x="692" y="1068"/>
                  </a:lnTo>
                  <a:lnTo>
                    <a:pt x="688" y="1066"/>
                  </a:lnTo>
                  <a:lnTo>
                    <a:pt x="677" y="1066"/>
                  </a:lnTo>
                  <a:lnTo>
                    <a:pt x="676" y="1065"/>
                  </a:lnTo>
                  <a:lnTo>
                    <a:pt x="672" y="1064"/>
                  </a:lnTo>
                  <a:lnTo>
                    <a:pt x="670" y="1062"/>
                  </a:lnTo>
                  <a:lnTo>
                    <a:pt x="670" y="1059"/>
                  </a:lnTo>
                  <a:lnTo>
                    <a:pt x="669" y="1057"/>
                  </a:lnTo>
                  <a:lnTo>
                    <a:pt x="669" y="1056"/>
                  </a:lnTo>
                  <a:lnTo>
                    <a:pt x="667" y="1054"/>
                  </a:lnTo>
                  <a:lnTo>
                    <a:pt x="667" y="1052"/>
                  </a:lnTo>
                  <a:lnTo>
                    <a:pt x="669" y="1052"/>
                  </a:lnTo>
                  <a:lnTo>
                    <a:pt x="670" y="1054"/>
                  </a:lnTo>
                  <a:lnTo>
                    <a:pt x="671" y="1053"/>
                  </a:lnTo>
                  <a:lnTo>
                    <a:pt x="672" y="1053"/>
                  </a:lnTo>
                  <a:lnTo>
                    <a:pt x="673" y="1052"/>
                  </a:lnTo>
                  <a:lnTo>
                    <a:pt x="675" y="1052"/>
                  </a:lnTo>
                  <a:lnTo>
                    <a:pt x="676" y="1051"/>
                  </a:lnTo>
                  <a:lnTo>
                    <a:pt x="676" y="1050"/>
                  </a:lnTo>
                  <a:lnTo>
                    <a:pt x="677" y="1048"/>
                  </a:lnTo>
                  <a:lnTo>
                    <a:pt x="678" y="1048"/>
                  </a:lnTo>
                  <a:lnTo>
                    <a:pt x="679" y="1048"/>
                  </a:lnTo>
                  <a:lnTo>
                    <a:pt x="681" y="1047"/>
                  </a:lnTo>
                  <a:lnTo>
                    <a:pt x="681" y="1048"/>
                  </a:lnTo>
                  <a:lnTo>
                    <a:pt x="682" y="1048"/>
                  </a:lnTo>
                  <a:lnTo>
                    <a:pt x="684" y="1048"/>
                  </a:lnTo>
                  <a:lnTo>
                    <a:pt x="685" y="1048"/>
                  </a:lnTo>
                  <a:lnTo>
                    <a:pt x="688" y="1047"/>
                  </a:lnTo>
                  <a:lnTo>
                    <a:pt x="689" y="1047"/>
                  </a:lnTo>
                  <a:lnTo>
                    <a:pt x="690" y="1046"/>
                  </a:lnTo>
                  <a:lnTo>
                    <a:pt x="690" y="1044"/>
                  </a:lnTo>
                  <a:lnTo>
                    <a:pt x="692" y="1042"/>
                  </a:lnTo>
                  <a:lnTo>
                    <a:pt x="692" y="1044"/>
                  </a:lnTo>
                  <a:lnTo>
                    <a:pt x="692" y="1045"/>
                  </a:lnTo>
                  <a:lnTo>
                    <a:pt x="692" y="1046"/>
                  </a:lnTo>
                  <a:lnTo>
                    <a:pt x="693" y="1045"/>
                  </a:lnTo>
                  <a:lnTo>
                    <a:pt x="694" y="1044"/>
                  </a:lnTo>
                  <a:lnTo>
                    <a:pt x="694" y="1042"/>
                  </a:lnTo>
                  <a:lnTo>
                    <a:pt x="695" y="1041"/>
                  </a:lnTo>
                  <a:lnTo>
                    <a:pt x="695" y="1044"/>
                  </a:lnTo>
                  <a:lnTo>
                    <a:pt x="696" y="1044"/>
                  </a:lnTo>
                  <a:lnTo>
                    <a:pt x="696" y="1042"/>
                  </a:lnTo>
                  <a:lnTo>
                    <a:pt x="698" y="1042"/>
                  </a:lnTo>
                  <a:lnTo>
                    <a:pt x="700" y="1041"/>
                  </a:lnTo>
                  <a:lnTo>
                    <a:pt x="701" y="1040"/>
                  </a:lnTo>
                  <a:lnTo>
                    <a:pt x="701" y="1038"/>
                  </a:lnTo>
                  <a:lnTo>
                    <a:pt x="702" y="1038"/>
                  </a:lnTo>
                  <a:lnTo>
                    <a:pt x="702" y="1035"/>
                  </a:lnTo>
                  <a:lnTo>
                    <a:pt x="704" y="1034"/>
                  </a:lnTo>
                  <a:lnTo>
                    <a:pt x="705" y="1034"/>
                  </a:lnTo>
                  <a:lnTo>
                    <a:pt x="706" y="1033"/>
                  </a:lnTo>
                  <a:lnTo>
                    <a:pt x="706" y="1030"/>
                  </a:lnTo>
                  <a:lnTo>
                    <a:pt x="707" y="1029"/>
                  </a:lnTo>
                  <a:lnTo>
                    <a:pt x="708" y="1029"/>
                  </a:lnTo>
                  <a:lnTo>
                    <a:pt x="710" y="1028"/>
                  </a:lnTo>
                  <a:lnTo>
                    <a:pt x="710" y="1027"/>
                  </a:lnTo>
                  <a:lnTo>
                    <a:pt x="710" y="1026"/>
                  </a:lnTo>
                  <a:lnTo>
                    <a:pt x="710" y="1027"/>
                  </a:lnTo>
                  <a:lnTo>
                    <a:pt x="711" y="1026"/>
                  </a:lnTo>
                  <a:lnTo>
                    <a:pt x="711" y="1024"/>
                  </a:lnTo>
                  <a:lnTo>
                    <a:pt x="711" y="1023"/>
                  </a:lnTo>
                  <a:lnTo>
                    <a:pt x="712" y="1022"/>
                  </a:lnTo>
                  <a:lnTo>
                    <a:pt x="712" y="1021"/>
                  </a:lnTo>
                  <a:lnTo>
                    <a:pt x="711" y="1019"/>
                  </a:lnTo>
                  <a:lnTo>
                    <a:pt x="708" y="1021"/>
                  </a:lnTo>
                  <a:lnTo>
                    <a:pt x="706" y="1021"/>
                  </a:lnTo>
                  <a:lnTo>
                    <a:pt x="699" y="1021"/>
                  </a:lnTo>
                  <a:lnTo>
                    <a:pt x="693" y="1022"/>
                  </a:lnTo>
                  <a:lnTo>
                    <a:pt x="690" y="1022"/>
                  </a:lnTo>
                  <a:lnTo>
                    <a:pt x="687" y="1022"/>
                  </a:lnTo>
                  <a:lnTo>
                    <a:pt x="684" y="1022"/>
                  </a:lnTo>
                  <a:lnTo>
                    <a:pt x="682" y="1019"/>
                  </a:lnTo>
                  <a:lnTo>
                    <a:pt x="682" y="1018"/>
                  </a:lnTo>
                  <a:lnTo>
                    <a:pt x="681" y="1017"/>
                  </a:lnTo>
                  <a:lnTo>
                    <a:pt x="682" y="1016"/>
                  </a:lnTo>
                  <a:lnTo>
                    <a:pt x="682" y="1013"/>
                  </a:lnTo>
                  <a:lnTo>
                    <a:pt x="683" y="1012"/>
                  </a:lnTo>
                  <a:lnTo>
                    <a:pt x="684" y="1011"/>
                  </a:lnTo>
                  <a:lnTo>
                    <a:pt x="685" y="1010"/>
                  </a:lnTo>
                  <a:lnTo>
                    <a:pt x="687" y="1009"/>
                  </a:lnTo>
                  <a:lnTo>
                    <a:pt x="688" y="1010"/>
                  </a:lnTo>
                  <a:lnTo>
                    <a:pt x="689" y="1009"/>
                  </a:lnTo>
                  <a:lnTo>
                    <a:pt x="689" y="1007"/>
                  </a:lnTo>
                  <a:lnTo>
                    <a:pt x="690" y="1007"/>
                  </a:lnTo>
                  <a:lnTo>
                    <a:pt x="690" y="1006"/>
                  </a:lnTo>
                  <a:lnTo>
                    <a:pt x="692" y="1006"/>
                  </a:lnTo>
                  <a:lnTo>
                    <a:pt x="693" y="1006"/>
                  </a:lnTo>
                  <a:lnTo>
                    <a:pt x="694" y="1006"/>
                  </a:lnTo>
                  <a:lnTo>
                    <a:pt x="695" y="1006"/>
                  </a:lnTo>
                  <a:lnTo>
                    <a:pt x="695" y="1005"/>
                  </a:lnTo>
                  <a:lnTo>
                    <a:pt x="696" y="1005"/>
                  </a:lnTo>
                  <a:lnTo>
                    <a:pt x="699" y="1004"/>
                  </a:lnTo>
                  <a:lnTo>
                    <a:pt x="699" y="1003"/>
                  </a:lnTo>
                  <a:lnTo>
                    <a:pt x="700" y="1003"/>
                  </a:lnTo>
                  <a:lnTo>
                    <a:pt x="701" y="1001"/>
                  </a:lnTo>
                  <a:lnTo>
                    <a:pt x="701" y="1000"/>
                  </a:lnTo>
                  <a:lnTo>
                    <a:pt x="704" y="1000"/>
                  </a:lnTo>
                  <a:lnTo>
                    <a:pt x="704" y="999"/>
                  </a:lnTo>
                  <a:lnTo>
                    <a:pt x="706" y="998"/>
                  </a:lnTo>
                  <a:lnTo>
                    <a:pt x="707" y="997"/>
                  </a:lnTo>
                  <a:lnTo>
                    <a:pt x="708" y="997"/>
                  </a:lnTo>
                  <a:lnTo>
                    <a:pt x="711" y="995"/>
                  </a:lnTo>
                  <a:lnTo>
                    <a:pt x="711" y="994"/>
                  </a:lnTo>
                  <a:lnTo>
                    <a:pt x="711" y="993"/>
                  </a:lnTo>
                  <a:lnTo>
                    <a:pt x="713" y="991"/>
                  </a:lnTo>
                  <a:lnTo>
                    <a:pt x="714" y="989"/>
                  </a:lnTo>
                  <a:lnTo>
                    <a:pt x="716" y="988"/>
                  </a:lnTo>
                  <a:lnTo>
                    <a:pt x="716" y="987"/>
                  </a:lnTo>
                  <a:lnTo>
                    <a:pt x="716" y="985"/>
                  </a:lnTo>
                  <a:lnTo>
                    <a:pt x="716" y="982"/>
                  </a:lnTo>
                  <a:lnTo>
                    <a:pt x="717" y="981"/>
                  </a:lnTo>
                  <a:lnTo>
                    <a:pt x="718" y="979"/>
                  </a:lnTo>
                  <a:lnTo>
                    <a:pt x="719" y="977"/>
                  </a:lnTo>
                  <a:lnTo>
                    <a:pt x="719" y="976"/>
                  </a:lnTo>
                  <a:lnTo>
                    <a:pt x="719" y="975"/>
                  </a:lnTo>
                  <a:lnTo>
                    <a:pt x="719" y="974"/>
                  </a:lnTo>
                  <a:lnTo>
                    <a:pt x="718" y="974"/>
                  </a:lnTo>
                  <a:lnTo>
                    <a:pt x="716" y="976"/>
                  </a:lnTo>
                  <a:lnTo>
                    <a:pt x="713" y="977"/>
                  </a:lnTo>
                  <a:lnTo>
                    <a:pt x="712" y="977"/>
                  </a:lnTo>
                  <a:lnTo>
                    <a:pt x="711" y="977"/>
                  </a:lnTo>
                  <a:lnTo>
                    <a:pt x="712" y="976"/>
                  </a:lnTo>
                  <a:lnTo>
                    <a:pt x="713" y="976"/>
                  </a:lnTo>
                  <a:lnTo>
                    <a:pt x="714" y="975"/>
                  </a:lnTo>
                  <a:lnTo>
                    <a:pt x="716" y="975"/>
                  </a:lnTo>
                  <a:lnTo>
                    <a:pt x="717" y="974"/>
                  </a:lnTo>
                  <a:lnTo>
                    <a:pt x="718" y="973"/>
                  </a:lnTo>
                  <a:lnTo>
                    <a:pt x="717" y="973"/>
                  </a:lnTo>
                  <a:lnTo>
                    <a:pt x="714" y="971"/>
                  </a:lnTo>
                  <a:lnTo>
                    <a:pt x="714" y="970"/>
                  </a:lnTo>
                  <a:lnTo>
                    <a:pt x="713" y="970"/>
                  </a:lnTo>
                  <a:lnTo>
                    <a:pt x="711" y="969"/>
                  </a:lnTo>
                  <a:lnTo>
                    <a:pt x="710" y="968"/>
                  </a:lnTo>
                  <a:lnTo>
                    <a:pt x="710" y="967"/>
                  </a:lnTo>
                  <a:lnTo>
                    <a:pt x="711" y="968"/>
                  </a:lnTo>
                  <a:lnTo>
                    <a:pt x="713" y="968"/>
                  </a:lnTo>
                  <a:lnTo>
                    <a:pt x="714" y="967"/>
                  </a:lnTo>
                  <a:lnTo>
                    <a:pt x="716" y="965"/>
                  </a:lnTo>
                  <a:lnTo>
                    <a:pt x="717" y="964"/>
                  </a:lnTo>
                  <a:lnTo>
                    <a:pt x="714" y="965"/>
                  </a:lnTo>
                  <a:lnTo>
                    <a:pt x="713" y="965"/>
                  </a:lnTo>
                  <a:lnTo>
                    <a:pt x="713" y="964"/>
                  </a:lnTo>
                  <a:lnTo>
                    <a:pt x="714" y="963"/>
                  </a:lnTo>
                  <a:lnTo>
                    <a:pt x="716" y="963"/>
                  </a:lnTo>
                  <a:lnTo>
                    <a:pt x="717" y="962"/>
                  </a:lnTo>
                  <a:lnTo>
                    <a:pt x="714" y="962"/>
                  </a:lnTo>
                  <a:lnTo>
                    <a:pt x="714" y="961"/>
                  </a:lnTo>
                  <a:lnTo>
                    <a:pt x="714" y="959"/>
                  </a:lnTo>
                  <a:lnTo>
                    <a:pt x="713" y="958"/>
                  </a:lnTo>
                  <a:lnTo>
                    <a:pt x="712" y="959"/>
                  </a:lnTo>
                  <a:lnTo>
                    <a:pt x="711" y="959"/>
                  </a:lnTo>
                  <a:lnTo>
                    <a:pt x="710" y="958"/>
                  </a:lnTo>
                  <a:lnTo>
                    <a:pt x="708" y="958"/>
                  </a:lnTo>
                  <a:lnTo>
                    <a:pt x="708" y="961"/>
                  </a:lnTo>
                  <a:lnTo>
                    <a:pt x="708" y="964"/>
                  </a:lnTo>
                  <a:lnTo>
                    <a:pt x="707" y="965"/>
                  </a:lnTo>
                  <a:lnTo>
                    <a:pt x="705" y="967"/>
                  </a:lnTo>
                  <a:lnTo>
                    <a:pt x="704" y="969"/>
                  </a:lnTo>
                  <a:lnTo>
                    <a:pt x="704" y="970"/>
                  </a:lnTo>
                  <a:lnTo>
                    <a:pt x="701" y="971"/>
                  </a:lnTo>
                  <a:lnTo>
                    <a:pt x="699" y="971"/>
                  </a:lnTo>
                  <a:lnTo>
                    <a:pt x="698" y="973"/>
                  </a:lnTo>
                  <a:lnTo>
                    <a:pt x="696" y="974"/>
                  </a:lnTo>
                  <a:lnTo>
                    <a:pt x="695" y="974"/>
                  </a:lnTo>
                  <a:lnTo>
                    <a:pt x="693" y="975"/>
                  </a:lnTo>
                  <a:lnTo>
                    <a:pt x="690" y="976"/>
                  </a:lnTo>
                  <a:lnTo>
                    <a:pt x="689" y="976"/>
                  </a:lnTo>
                  <a:lnTo>
                    <a:pt x="685" y="977"/>
                  </a:lnTo>
                  <a:lnTo>
                    <a:pt x="684" y="977"/>
                  </a:lnTo>
                  <a:lnTo>
                    <a:pt x="682" y="979"/>
                  </a:lnTo>
                  <a:lnTo>
                    <a:pt x="681" y="977"/>
                  </a:lnTo>
                  <a:lnTo>
                    <a:pt x="682" y="977"/>
                  </a:lnTo>
                  <a:lnTo>
                    <a:pt x="683" y="975"/>
                  </a:lnTo>
                  <a:lnTo>
                    <a:pt x="683" y="974"/>
                  </a:lnTo>
                  <a:lnTo>
                    <a:pt x="682" y="973"/>
                  </a:lnTo>
                  <a:lnTo>
                    <a:pt x="682" y="971"/>
                  </a:lnTo>
                  <a:lnTo>
                    <a:pt x="681" y="970"/>
                  </a:lnTo>
                  <a:lnTo>
                    <a:pt x="679" y="969"/>
                  </a:lnTo>
                  <a:lnTo>
                    <a:pt x="681" y="969"/>
                  </a:lnTo>
                  <a:lnTo>
                    <a:pt x="682" y="969"/>
                  </a:lnTo>
                  <a:lnTo>
                    <a:pt x="682" y="968"/>
                  </a:lnTo>
                  <a:lnTo>
                    <a:pt x="683" y="968"/>
                  </a:lnTo>
                  <a:lnTo>
                    <a:pt x="684" y="968"/>
                  </a:lnTo>
                  <a:lnTo>
                    <a:pt x="684" y="967"/>
                  </a:lnTo>
                  <a:lnTo>
                    <a:pt x="682" y="965"/>
                  </a:lnTo>
                  <a:lnTo>
                    <a:pt x="683" y="964"/>
                  </a:lnTo>
                  <a:lnTo>
                    <a:pt x="683" y="962"/>
                  </a:lnTo>
                  <a:lnTo>
                    <a:pt x="683" y="961"/>
                  </a:lnTo>
                  <a:lnTo>
                    <a:pt x="682" y="962"/>
                  </a:lnTo>
                  <a:lnTo>
                    <a:pt x="681" y="962"/>
                  </a:lnTo>
                  <a:lnTo>
                    <a:pt x="679" y="962"/>
                  </a:lnTo>
                  <a:lnTo>
                    <a:pt x="678" y="962"/>
                  </a:lnTo>
                  <a:lnTo>
                    <a:pt x="677" y="962"/>
                  </a:lnTo>
                  <a:lnTo>
                    <a:pt x="675" y="963"/>
                  </a:lnTo>
                  <a:lnTo>
                    <a:pt x="673" y="963"/>
                  </a:lnTo>
                  <a:lnTo>
                    <a:pt x="672" y="963"/>
                  </a:lnTo>
                  <a:lnTo>
                    <a:pt x="673" y="962"/>
                  </a:lnTo>
                  <a:lnTo>
                    <a:pt x="675" y="962"/>
                  </a:lnTo>
                  <a:lnTo>
                    <a:pt x="675" y="961"/>
                  </a:lnTo>
                  <a:lnTo>
                    <a:pt x="675" y="959"/>
                  </a:lnTo>
                  <a:lnTo>
                    <a:pt x="673" y="958"/>
                  </a:lnTo>
                  <a:lnTo>
                    <a:pt x="673" y="956"/>
                  </a:lnTo>
                  <a:lnTo>
                    <a:pt x="672" y="953"/>
                  </a:lnTo>
                  <a:lnTo>
                    <a:pt x="671" y="952"/>
                  </a:lnTo>
                  <a:lnTo>
                    <a:pt x="670" y="952"/>
                  </a:lnTo>
                  <a:lnTo>
                    <a:pt x="670" y="951"/>
                  </a:lnTo>
                  <a:lnTo>
                    <a:pt x="669" y="952"/>
                  </a:lnTo>
                  <a:lnTo>
                    <a:pt x="669" y="953"/>
                  </a:lnTo>
                  <a:lnTo>
                    <a:pt x="669" y="955"/>
                  </a:lnTo>
                  <a:lnTo>
                    <a:pt x="667" y="956"/>
                  </a:lnTo>
                  <a:lnTo>
                    <a:pt x="667" y="957"/>
                  </a:lnTo>
                  <a:lnTo>
                    <a:pt x="666" y="958"/>
                  </a:lnTo>
                  <a:lnTo>
                    <a:pt x="665" y="958"/>
                  </a:lnTo>
                  <a:lnTo>
                    <a:pt x="665" y="957"/>
                  </a:lnTo>
                  <a:lnTo>
                    <a:pt x="664" y="959"/>
                  </a:lnTo>
                  <a:lnTo>
                    <a:pt x="663" y="959"/>
                  </a:lnTo>
                  <a:lnTo>
                    <a:pt x="661" y="962"/>
                  </a:lnTo>
                  <a:lnTo>
                    <a:pt x="663" y="962"/>
                  </a:lnTo>
                  <a:lnTo>
                    <a:pt x="665" y="961"/>
                  </a:lnTo>
                  <a:lnTo>
                    <a:pt x="665" y="962"/>
                  </a:lnTo>
                  <a:lnTo>
                    <a:pt x="664" y="962"/>
                  </a:lnTo>
                  <a:lnTo>
                    <a:pt x="663" y="963"/>
                  </a:lnTo>
                  <a:lnTo>
                    <a:pt x="663" y="965"/>
                  </a:lnTo>
                  <a:lnTo>
                    <a:pt x="664" y="965"/>
                  </a:lnTo>
                  <a:lnTo>
                    <a:pt x="664" y="967"/>
                  </a:lnTo>
                  <a:lnTo>
                    <a:pt x="663" y="967"/>
                  </a:lnTo>
                  <a:lnTo>
                    <a:pt x="663" y="969"/>
                  </a:lnTo>
                  <a:lnTo>
                    <a:pt x="661" y="970"/>
                  </a:lnTo>
                  <a:lnTo>
                    <a:pt x="659" y="970"/>
                  </a:lnTo>
                  <a:lnTo>
                    <a:pt x="659" y="971"/>
                  </a:lnTo>
                  <a:lnTo>
                    <a:pt x="660" y="971"/>
                  </a:lnTo>
                  <a:lnTo>
                    <a:pt x="661" y="973"/>
                  </a:lnTo>
                  <a:lnTo>
                    <a:pt x="663" y="973"/>
                  </a:lnTo>
                  <a:lnTo>
                    <a:pt x="663" y="974"/>
                  </a:lnTo>
                  <a:lnTo>
                    <a:pt x="663" y="975"/>
                  </a:lnTo>
                  <a:lnTo>
                    <a:pt x="661" y="975"/>
                  </a:lnTo>
                  <a:lnTo>
                    <a:pt x="660" y="974"/>
                  </a:lnTo>
                  <a:lnTo>
                    <a:pt x="660" y="976"/>
                  </a:lnTo>
                  <a:lnTo>
                    <a:pt x="659" y="976"/>
                  </a:lnTo>
                  <a:lnTo>
                    <a:pt x="655" y="977"/>
                  </a:lnTo>
                  <a:lnTo>
                    <a:pt x="654" y="979"/>
                  </a:lnTo>
                  <a:lnTo>
                    <a:pt x="651" y="979"/>
                  </a:lnTo>
                  <a:lnTo>
                    <a:pt x="649" y="979"/>
                  </a:lnTo>
                  <a:lnTo>
                    <a:pt x="646" y="980"/>
                  </a:lnTo>
                  <a:lnTo>
                    <a:pt x="642" y="980"/>
                  </a:lnTo>
                  <a:lnTo>
                    <a:pt x="639" y="979"/>
                  </a:lnTo>
                  <a:lnTo>
                    <a:pt x="636" y="979"/>
                  </a:lnTo>
                  <a:lnTo>
                    <a:pt x="634" y="977"/>
                  </a:lnTo>
                  <a:lnTo>
                    <a:pt x="631" y="977"/>
                  </a:lnTo>
                  <a:lnTo>
                    <a:pt x="628" y="976"/>
                  </a:lnTo>
                  <a:lnTo>
                    <a:pt x="626" y="975"/>
                  </a:lnTo>
                  <a:lnTo>
                    <a:pt x="625" y="973"/>
                  </a:lnTo>
                  <a:lnTo>
                    <a:pt x="625" y="971"/>
                  </a:lnTo>
                  <a:lnTo>
                    <a:pt x="628" y="973"/>
                  </a:lnTo>
                  <a:lnTo>
                    <a:pt x="628" y="971"/>
                  </a:lnTo>
                  <a:lnTo>
                    <a:pt x="629" y="969"/>
                  </a:lnTo>
                  <a:lnTo>
                    <a:pt x="630" y="971"/>
                  </a:lnTo>
                  <a:lnTo>
                    <a:pt x="631" y="973"/>
                  </a:lnTo>
                  <a:lnTo>
                    <a:pt x="633" y="975"/>
                  </a:lnTo>
                  <a:lnTo>
                    <a:pt x="634" y="976"/>
                  </a:lnTo>
                  <a:lnTo>
                    <a:pt x="635" y="976"/>
                  </a:lnTo>
                  <a:lnTo>
                    <a:pt x="635" y="975"/>
                  </a:lnTo>
                  <a:lnTo>
                    <a:pt x="633" y="971"/>
                  </a:lnTo>
                  <a:lnTo>
                    <a:pt x="631" y="969"/>
                  </a:lnTo>
                  <a:lnTo>
                    <a:pt x="630" y="968"/>
                  </a:lnTo>
                  <a:lnTo>
                    <a:pt x="630" y="965"/>
                  </a:lnTo>
                  <a:lnTo>
                    <a:pt x="630" y="964"/>
                  </a:lnTo>
                  <a:lnTo>
                    <a:pt x="631" y="967"/>
                  </a:lnTo>
                  <a:lnTo>
                    <a:pt x="631" y="968"/>
                  </a:lnTo>
                  <a:lnTo>
                    <a:pt x="633" y="968"/>
                  </a:lnTo>
                  <a:lnTo>
                    <a:pt x="633" y="965"/>
                  </a:lnTo>
                  <a:lnTo>
                    <a:pt x="634" y="965"/>
                  </a:lnTo>
                  <a:lnTo>
                    <a:pt x="635" y="965"/>
                  </a:lnTo>
                  <a:lnTo>
                    <a:pt x="636" y="968"/>
                  </a:lnTo>
                  <a:lnTo>
                    <a:pt x="636" y="967"/>
                  </a:lnTo>
                  <a:lnTo>
                    <a:pt x="637" y="965"/>
                  </a:lnTo>
                  <a:lnTo>
                    <a:pt x="637" y="964"/>
                  </a:lnTo>
                  <a:lnTo>
                    <a:pt x="636" y="962"/>
                  </a:lnTo>
                  <a:lnTo>
                    <a:pt x="634" y="959"/>
                  </a:lnTo>
                  <a:lnTo>
                    <a:pt x="633" y="958"/>
                  </a:lnTo>
                  <a:lnTo>
                    <a:pt x="634" y="956"/>
                  </a:lnTo>
                  <a:lnTo>
                    <a:pt x="635" y="957"/>
                  </a:lnTo>
                  <a:lnTo>
                    <a:pt x="635" y="958"/>
                  </a:lnTo>
                  <a:lnTo>
                    <a:pt x="636" y="959"/>
                  </a:lnTo>
                  <a:lnTo>
                    <a:pt x="637" y="959"/>
                  </a:lnTo>
                  <a:lnTo>
                    <a:pt x="639" y="959"/>
                  </a:lnTo>
                  <a:lnTo>
                    <a:pt x="639" y="958"/>
                  </a:lnTo>
                  <a:lnTo>
                    <a:pt x="640" y="958"/>
                  </a:lnTo>
                  <a:lnTo>
                    <a:pt x="641" y="959"/>
                  </a:lnTo>
                  <a:lnTo>
                    <a:pt x="642" y="961"/>
                  </a:lnTo>
                  <a:lnTo>
                    <a:pt x="643" y="959"/>
                  </a:lnTo>
                  <a:lnTo>
                    <a:pt x="643" y="958"/>
                  </a:lnTo>
                  <a:lnTo>
                    <a:pt x="645" y="957"/>
                  </a:lnTo>
                  <a:lnTo>
                    <a:pt x="645" y="956"/>
                  </a:lnTo>
                  <a:lnTo>
                    <a:pt x="645" y="955"/>
                  </a:lnTo>
                  <a:lnTo>
                    <a:pt x="643" y="952"/>
                  </a:lnTo>
                  <a:lnTo>
                    <a:pt x="642" y="951"/>
                  </a:lnTo>
                  <a:lnTo>
                    <a:pt x="642" y="950"/>
                  </a:lnTo>
                  <a:lnTo>
                    <a:pt x="642" y="949"/>
                  </a:lnTo>
                  <a:lnTo>
                    <a:pt x="643" y="949"/>
                  </a:lnTo>
                  <a:lnTo>
                    <a:pt x="645" y="950"/>
                  </a:lnTo>
                  <a:lnTo>
                    <a:pt x="647" y="949"/>
                  </a:lnTo>
                  <a:lnTo>
                    <a:pt x="649" y="950"/>
                  </a:lnTo>
                  <a:lnTo>
                    <a:pt x="651" y="951"/>
                  </a:lnTo>
                  <a:lnTo>
                    <a:pt x="652" y="951"/>
                  </a:lnTo>
                  <a:lnTo>
                    <a:pt x="652" y="950"/>
                  </a:lnTo>
                  <a:lnTo>
                    <a:pt x="653" y="949"/>
                  </a:lnTo>
                  <a:lnTo>
                    <a:pt x="654" y="949"/>
                  </a:lnTo>
                  <a:lnTo>
                    <a:pt x="654" y="947"/>
                  </a:lnTo>
                  <a:lnTo>
                    <a:pt x="652" y="946"/>
                  </a:lnTo>
                  <a:lnTo>
                    <a:pt x="649" y="946"/>
                  </a:lnTo>
                  <a:lnTo>
                    <a:pt x="648" y="946"/>
                  </a:lnTo>
                  <a:lnTo>
                    <a:pt x="646" y="944"/>
                  </a:lnTo>
                  <a:lnTo>
                    <a:pt x="645" y="941"/>
                  </a:lnTo>
                  <a:lnTo>
                    <a:pt x="643" y="940"/>
                  </a:lnTo>
                  <a:lnTo>
                    <a:pt x="643" y="939"/>
                  </a:lnTo>
                  <a:lnTo>
                    <a:pt x="645" y="939"/>
                  </a:lnTo>
                  <a:lnTo>
                    <a:pt x="646" y="940"/>
                  </a:lnTo>
                  <a:lnTo>
                    <a:pt x="647" y="941"/>
                  </a:lnTo>
                  <a:lnTo>
                    <a:pt x="649" y="943"/>
                  </a:lnTo>
                  <a:lnTo>
                    <a:pt x="651" y="944"/>
                  </a:lnTo>
                  <a:lnTo>
                    <a:pt x="652" y="944"/>
                  </a:lnTo>
                  <a:lnTo>
                    <a:pt x="653" y="943"/>
                  </a:lnTo>
                  <a:lnTo>
                    <a:pt x="652" y="941"/>
                  </a:lnTo>
                  <a:lnTo>
                    <a:pt x="649" y="940"/>
                  </a:lnTo>
                  <a:lnTo>
                    <a:pt x="647" y="939"/>
                  </a:lnTo>
                  <a:lnTo>
                    <a:pt x="646" y="938"/>
                  </a:lnTo>
                  <a:lnTo>
                    <a:pt x="643" y="937"/>
                  </a:lnTo>
                  <a:lnTo>
                    <a:pt x="642" y="935"/>
                  </a:lnTo>
                  <a:lnTo>
                    <a:pt x="641" y="934"/>
                  </a:lnTo>
                  <a:lnTo>
                    <a:pt x="641" y="933"/>
                  </a:lnTo>
                  <a:lnTo>
                    <a:pt x="642" y="934"/>
                  </a:lnTo>
                  <a:lnTo>
                    <a:pt x="643" y="935"/>
                  </a:lnTo>
                  <a:lnTo>
                    <a:pt x="645" y="937"/>
                  </a:lnTo>
                  <a:lnTo>
                    <a:pt x="646" y="937"/>
                  </a:lnTo>
                  <a:lnTo>
                    <a:pt x="647" y="937"/>
                  </a:lnTo>
                  <a:lnTo>
                    <a:pt x="649" y="935"/>
                  </a:lnTo>
                  <a:lnTo>
                    <a:pt x="651" y="935"/>
                  </a:lnTo>
                  <a:lnTo>
                    <a:pt x="652" y="935"/>
                  </a:lnTo>
                  <a:lnTo>
                    <a:pt x="651" y="934"/>
                  </a:lnTo>
                  <a:lnTo>
                    <a:pt x="649" y="933"/>
                  </a:lnTo>
                  <a:lnTo>
                    <a:pt x="651" y="931"/>
                  </a:lnTo>
                  <a:lnTo>
                    <a:pt x="653" y="932"/>
                  </a:lnTo>
                  <a:lnTo>
                    <a:pt x="651" y="929"/>
                  </a:lnTo>
                  <a:lnTo>
                    <a:pt x="651" y="928"/>
                  </a:lnTo>
                  <a:lnTo>
                    <a:pt x="653" y="927"/>
                  </a:lnTo>
                  <a:lnTo>
                    <a:pt x="654" y="926"/>
                  </a:lnTo>
                  <a:lnTo>
                    <a:pt x="653" y="923"/>
                  </a:lnTo>
                  <a:lnTo>
                    <a:pt x="651" y="925"/>
                  </a:lnTo>
                  <a:lnTo>
                    <a:pt x="649" y="925"/>
                  </a:lnTo>
                  <a:lnTo>
                    <a:pt x="646" y="923"/>
                  </a:lnTo>
                  <a:lnTo>
                    <a:pt x="642" y="919"/>
                  </a:lnTo>
                  <a:lnTo>
                    <a:pt x="639" y="916"/>
                  </a:lnTo>
                  <a:lnTo>
                    <a:pt x="637" y="915"/>
                  </a:lnTo>
                  <a:lnTo>
                    <a:pt x="639" y="909"/>
                  </a:lnTo>
                  <a:lnTo>
                    <a:pt x="639" y="905"/>
                  </a:lnTo>
                  <a:lnTo>
                    <a:pt x="640" y="906"/>
                  </a:lnTo>
                  <a:lnTo>
                    <a:pt x="641" y="910"/>
                  </a:lnTo>
                  <a:lnTo>
                    <a:pt x="641" y="915"/>
                  </a:lnTo>
                  <a:lnTo>
                    <a:pt x="642" y="914"/>
                  </a:lnTo>
                  <a:lnTo>
                    <a:pt x="642" y="912"/>
                  </a:lnTo>
                  <a:lnTo>
                    <a:pt x="643" y="914"/>
                  </a:lnTo>
                  <a:lnTo>
                    <a:pt x="645" y="911"/>
                  </a:lnTo>
                  <a:lnTo>
                    <a:pt x="643" y="908"/>
                  </a:lnTo>
                  <a:lnTo>
                    <a:pt x="645" y="908"/>
                  </a:lnTo>
                  <a:lnTo>
                    <a:pt x="646" y="908"/>
                  </a:lnTo>
                  <a:lnTo>
                    <a:pt x="646" y="914"/>
                  </a:lnTo>
                  <a:lnTo>
                    <a:pt x="646" y="915"/>
                  </a:lnTo>
                  <a:lnTo>
                    <a:pt x="648" y="917"/>
                  </a:lnTo>
                  <a:lnTo>
                    <a:pt x="651" y="919"/>
                  </a:lnTo>
                  <a:lnTo>
                    <a:pt x="651" y="916"/>
                  </a:lnTo>
                  <a:lnTo>
                    <a:pt x="649" y="912"/>
                  </a:lnTo>
                  <a:lnTo>
                    <a:pt x="648" y="911"/>
                  </a:lnTo>
                  <a:lnTo>
                    <a:pt x="648" y="910"/>
                  </a:lnTo>
                  <a:lnTo>
                    <a:pt x="647" y="908"/>
                  </a:lnTo>
                  <a:lnTo>
                    <a:pt x="645" y="905"/>
                  </a:lnTo>
                  <a:lnTo>
                    <a:pt x="643" y="903"/>
                  </a:lnTo>
                  <a:lnTo>
                    <a:pt x="643" y="900"/>
                  </a:lnTo>
                  <a:lnTo>
                    <a:pt x="645" y="903"/>
                  </a:lnTo>
                  <a:lnTo>
                    <a:pt x="646" y="903"/>
                  </a:lnTo>
                  <a:lnTo>
                    <a:pt x="646" y="900"/>
                  </a:lnTo>
                  <a:lnTo>
                    <a:pt x="646" y="899"/>
                  </a:lnTo>
                  <a:lnTo>
                    <a:pt x="647" y="899"/>
                  </a:lnTo>
                  <a:lnTo>
                    <a:pt x="647" y="902"/>
                  </a:lnTo>
                  <a:lnTo>
                    <a:pt x="648" y="904"/>
                  </a:lnTo>
                  <a:lnTo>
                    <a:pt x="648" y="906"/>
                  </a:lnTo>
                  <a:lnTo>
                    <a:pt x="649" y="908"/>
                  </a:lnTo>
                  <a:lnTo>
                    <a:pt x="651" y="909"/>
                  </a:lnTo>
                  <a:lnTo>
                    <a:pt x="652" y="910"/>
                  </a:lnTo>
                  <a:lnTo>
                    <a:pt x="652" y="906"/>
                  </a:lnTo>
                  <a:lnTo>
                    <a:pt x="652" y="904"/>
                  </a:lnTo>
                  <a:lnTo>
                    <a:pt x="654" y="903"/>
                  </a:lnTo>
                  <a:lnTo>
                    <a:pt x="653" y="900"/>
                  </a:lnTo>
                  <a:lnTo>
                    <a:pt x="652" y="899"/>
                  </a:lnTo>
                  <a:lnTo>
                    <a:pt x="651" y="898"/>
                  </a:lnTo>
                  <a:lnTo>
                    <a:pt x="651" y="896"/>
                  </a:lnTo>
                  <a:lnTo>
                    <a:pt x="652" y="896"/>
                  </a:lnTo>
                  <a:lnTo>
                    <a:pt x="653" y="899"/>
                  </a:lnTo>
                  <a:lnTo>
                    <a:pt x="654" y="900"/>
                  </a:lnTo>
                  <a:lnTo>
                    <a:pt x="655" y="900"/>
                  </a:lnTo>
                  <a:lnTo>
                    <a:pt x="657" y="902"/>
                  </a:lnTo>
                  <a:lnTo>
                    <a:pt x="658" y="905"/>
                  </a:lnTo>
                  <a:lnTo>
                    <a:pt x="659" y="905"/>
                  </a:lnTo>
                  <a:lnTo>
                    <a:pt x="660" y="905"/>
                  </a:lnTo>
                  <a:lnTo>
                    <a:pt x="661" y="905"/>
                  </a:lnTo>
                  <a:lnTo>
                    <a:pt x="661" y="908"/>
                  </a:lnTo>
                  <a:lnTo>
                    <a:pt x="663" y="908"/>
                  </a:lnTo>
                  <a:lnTo>
                    <a:pt x="664" y="906"/>
                  </a:lnTo>
                  <a:lnTo>
                    <a:pt x="664" y="905"/>
                  </a:lnTo>
                  <a:lnTo>
                    <a:pt x="664" y="902"/>
                  </a:lnTo>
                  <a:lnTo>
                    <a:pt x="665" y="902"/>
                  </a:lnTo>
                  <a:lnTo>
                    <a:pt x="666" y="909"/>
                  </a:lnTo>
                  <a:lnTo>
                    <a:pt x="666" y="911"/>
                  </a:lnTo>
                  <a:lnTo>
                    <a:pt x="667" y="912"/>
                  </a:lnTo>
                  <a:lnTo>
                    <a:pt x="669" y="911"/>
                  </a:lnTo>
                  <a:lnTo>
                    <a:pt x="669" y="908"/>
                  </a:lnTo>
                  <a:lnTo>
                    <a:pt x="669" y="905"/>
                  </a:lnTo>
                  <a:lnTo>
                    <a:pt x="670" y="902"/>
                  </a:lnTo>
                  <a:lnTo>
                    <a:pt x="671" y="903"/>
                  </a:lnTo>
                  <a:lnTo>
                    <a:pt x="672" y="908"/>
                  </a:lnTo>
                  <a:lnTo>
                    <a:pt x="673" y="908"/>
                  </a:lnTo>
                  <a:lnTo>
                    <a:pt x="675" y="905"/>
                  </a:lnTo>
                  <a:lnTo>
                    <a:pt x="675" y="909"/>
                  </a:lnTo>
                  <a:lnTo>
                    <a:pt x="676" y="910"/>
                  </a:lnTo>
                  <a:lnTo>
                    <a:pt x="677" y="910"/>
                  </a:lnTo>
                  <a:lnTo>
                    <a:pt x="677" y="908"/>
                  </a:lnTo>
                  <a:lnTo>
                    <a:pt x="677" y="903"/>
                  </a:lnTo>
                  <a:lnTo>
                    <a:pt x="678" y="902"/>
                  </a:lnTo>
                  <a:lnTo>
                    <a:pt x="679" y="900"/>
                  </a:lnTo>
                  <a:lnTo>
                    <a:pt x="679" y="899"/>
                  </a:lnTo>
                  <a:lnTo>
                    <a:pt x="678" y="897"/>
                  </a:lnTo>
                  <a:lnTo>
                    <a:pt x="676" y="894"/>
                  </a:lnTo>
                  <a:lnTo>
                    <a:pt x="677" y="893"/>
                  </a:lnTo>
                  <a:lnTo>
                    <a:pt x="681" y="893"/>
                  </a:lnTo>
                  <a:lnTo>
                    <a:pt x="681" y="892"/>
                  </a:lnTo>
                  <a:lnTo>
                    <a:pt x="683" y="892"/>
                  </a:lnTo>
                  <a:lnTo>
                    <a:pt x="683" y="896"/>
                  </a:lnTo>
                  <a:lnTo>
                    <a:pt x="685" y="898"/>
                  </a:lnTo>
                  <a:lnTo>
                    <a:pt x="685" y="896"/>
                  </a:lnTo>
                  <a:lnTo>
                    <a:pt x="687" y="894"/>
                  </a:lnTo>
                  <a:lnTo>
                    <a:pt x="689" y="896"/>
                  </a:lnTo>
                  <a:lnTo>
                    <a:pt x="694" y="899"/>
                  </a:lnTo>
                  <a:lnTo>
                    <a:pt x="696" y="899"/>
                  </a:lnTo>
                  <a:lnTo>
                    <a:pt x="694" y="897"/>
                  </a:lnTo>
                  <a:lnTo>
                    <a:pt x="693" y="894"/>
                  </a:lnTo>
                  <a:lnTo>
                    <a:pt x="690" y="893"/>
                  </a:lnTo>
                  <a:lnTo>
                    <a:pt x="684" y="891"/>
                  </a:lnTo>
                  <a:lnTo>
                    <a:pt x="683" y="888"/>
                  </a:lnTo>
                  <a:lnTo>
                    <a:pt x="681" y="886"/>
                  </a:lnTo>
                  <a:lnTo>
                    <a:pt x="678" y="884"/>
                  </a:lnTo>
                  <a:lnTo>
                    <a:pt x="678" y="881"/>
                  </a:lnTo>
                  <a:lnTo>
                    <a:pt x="678" y="880"/>
                  </a:lnTo>
                  <a:lnTo>
                    <a:pt x="679" y="880"/>
                  </a:lnTo>
                  <a:lnTo>
                    <a:pt x="681" y="884"/>
                  </a:lnTo>
                  <a:lnTo>
                    <a:pt x="682" y="885"/>
                  </a:lnTo>
                  <a:lnTo>
                    <a:pt x="683" y="886"/>
                  </a:lnTo>
                  <a:lnTo>
                    <a:pt x="685" y="886"/>
                  </a:lnTo>
                  <a:lnTo>
                    <a:pt x="687" y="886"/>
                  </a:lnTo>
                  <a:lnTo>
                    <a:pt x="687" y="887"/>
                  </a:lnTo>
                  <a:lnTo>
                    <a:pt x="688" y="885"/>
                  </a:lnTo>
                  <a:lnTo>
                    <a:pt x="688" y="881"/>
                  </a:lnTo>
                  <a:lnTo>
                    <a:pt x="688" y="879"/>
                  </a:lnTo>
                  <a:lnTo>
                    <a:pt x="689" y="881"/>
                  </a:lnTo>
                  <a:lnTo>
                    <a:pt x="689" y="884"/>
                  </a:lnTo>
                  <a:lnTo>
                    <a:pt x="689" y="887"/>
                  </a:lnTo>
                  <a:lnTo>
                    <a:pt x="690" y="887"/>
                  </a:lnTo>
                  <a:lnTo>
                    <a:pt x="690" y="890"/>
                  </a:lnTo>
                  <a:lnTo>
                    <a:pt x="690" y="891"/>
                  </a:lnTo>
                  <a:lnTo>
                    <a:pt x="692" y="892"/>
                  </a:lnTo>
                  <a:lnTo>
                    <a:pt x="692" y="891"/>
                  </a:lnTo>
                  <a:lnTo>
                    <a:pt x="693" y="890"/>
                  </a:lnTo>
                  <a:lnTo>
                    <a:pt x="693" y="888"/>
                  </a:lnTo>
                  <a:lnTo>
                    <a:pt x="692" y="886"/>
                  </a:lnTo>
                  <a:lnTo>
                    <a:pt x="693" y="884"/>
                  </a:lnTo>
                  <a:lnTo>
                    <a:pt x="694" y="882"/>
                  </a:lnTo>
                  <a:lnTo>
                    <a:pt x="694" y="886"/>
                  </a:lnTo>
                  <a:lnTo>
                    <a:pt x="694" y="887"/>
                  </a:lnTo>
                  <a:lnTo>
                    <a:pt x="695" y="888"/>
                  </a:lnTo>
                  <a:lnTo>
                    <a:pt x="695" y="892"/>
                  </a:lnTo>
                  <a:lnTo>
                    <a:pt x="696" y="891"/>
                  </a:lnTo>
                  <a:lnTo>
                    <a:pt x="696" y="888"/>
                  </a:lnTo>
                  <a:lnTo>
                    <a:pt x="696" y="886"/>
                  </a:lnTo>
                  <a:lnTo>
                    <a:pt x="696" y="882"/>
                  </a:lnTo>
                  <a:lnTo>
                    <a:pt x="696" y="880"/>
                  </a:lnTo>
                  <a:lnTo>
                    <a:pt x="698" y="884"/>
                  </a:lnTo>
                  <a:lnTo>
                    <a:pt x="700" y="884"/>
                  </a:lnTo>
                  <a:lnTo>
                    <a:pt x="701" y="886"/>
                  </a:lnTo>
                  <a:lnTo>
                    <a:pt x="701" y="891"/>
                  </a:lnTo>
                  <a:lnTo>
                    <a:pt x="702" y="891"/>
                  </a:lnTo>
                  <a:lnTo>
                    <a:pt x="704" y="888"/>
                  </a:lnTo>
                  <a:lnTo>
                    <a:pt x="705" y="886"/>
                  </a:lnTo>
                  <a:lnTo>
                    <a:pt x="705" y="882"/>
                  </a:lnTo>
                  <a:lnTo>
                    <a:pt x="704" y="880"/>
                  </a:lnTo>
                  <a:lnTo>
                    <a:pt x="705" y="876"/>
                  </a:lnTo>
                  <a:lnTo>
                    <a:pt x="704" y="875"/>
                  </a:lnTo>
                  <a:lnTo>
                    <a:pt x="704" y="873"/>
                  </a:lnTo>
                  <a:lnTo>
                    <a:pt x="705" y="873"/>
                  </a:lnTo>
                  <a:lnTo>
                    <a:pt x="706" y="876"/>
                  </a:lnTo>
                  <a:lnTo>
                    <a:pt x="706" y="878"/>
                  </a:lnTo>
                  <a:lnTo>
                    <a:pt x="707" y="881"/>
                  </a:lnTo>
                  <a:lnTo>
                    <a:pt x="708" y="882"/>
                  </a:lnTo>
                  <a:lnTo>
                    <a:pt x="711" y="880"/>
                  </a:lnTo>
                  <a:lnTo>
                    <a:pt x="710" y="876"/>
                  </a:lnTo>
                  <a:lnTo>
                    <a:pt x="710" y="874"/>
                  </a:lnTo>
                  <a:lnTo>
                    <a:pt x="711" y="872"/>
                  </a:lnTo>
                  <a:lnTo>
                    <a:pt x="712" y="869"/>
                  </a:lnTo>
                  <a:lnTo>
                    <a:pt x="713" y="872"/>
                  </a:lnTo>
                  <a:lnTo>
                    <a:pt x="716" y="878"/>
                  </a:lnTo>
                  <a:lnTo>
                    <a:pt x="716" y="880"/>
                  </a:lnTo>
                  <a:lnTo>
                    <a:pt x="719" y="879"/>
                  </a:lnTo>
                  <a:lnTo>
                    <a:pt x="719" y="875"/>
                  </a:lnTo>
                  <a:lnTo>
                    <a:pt x="720" y="875"/>
                  </a:lnTo>
                  <a:lnTo>
                    <a:pt x="720" y="878"/>
                  </a:lnTo>
                  <a:lnTo>
                    <a:pt x="720" y="881"/>
                  </a:lnTo>
                  <a:lnTo>
                    <a:pt x="720" y="886"/>
                  </a:lnTo>
                  <a:lnTo>
                    <a:pt x="722" y="887"/>
                  </a:lnTo>
                  <a:lnTo>
                    <a:pt x="723" y="885"/>
                  </a:lnTo>
                  <a:lnTo>
                    <a:pt x="723" y="882"/>
                  </a:lnTo>
                  <a:lnTo>
                    <a:pt x="724" y="884"/>
                  </a:lnTo>
                  <a:lnTo>
                    <a:pt x="725" y="884"/>
                  </a:lnTo>
                  <a:lnTo>
                    <a:pt x="728" y="882"/>
                  </a:lnTo>
                  <a:lnTo>
                    <a:pt x="728" y="879"/>
                  </a:lnTo>
                  <a:lnTo>
                    <a:pt x="729" y="875"/>
                  </a:lnTo>
                  <a:lnTo>
                    <a:pt x="731" y="875"/>
                  </a:lnTo>
                  <a:lnTo>
                    <a:pt x="732" y="876"/>
                  </a:lnTo>
                  <a:lnTo>
                    <a:pt x="735" y="876"/>
                  </a:lnTo>
                  <a:lnTo>
                    <a:pt x="732" y="874"/>
                  </a:lnTo>
                  <a:lnTo>
                    <a:pt x="731" y="872"/>
                  </a:lnTo>
                  <a:lnTo>
                    <a:pt x="729" y="869"/>
                  </a:lnTo>
                  <a:lnTo>
                    <a:pt x="725" y="866"/>
                  </a:lnTo>
                  <a:lnTo>
                    <a:pt x="717" y="862"/>
                  </a:lnTo>
                  <a:lnTo>
                    <a:pt x="712" y="858"/>
                  </a:lnTo>
                  <a:lnTo>
                    <a:pt x="704" y="857"/>
                  </a:lnTo>
                  <a:lnTo>
                    <a:pt x="699" y="857"/>
                  </a:lnTo>
                  <a:lnTo>
                    <a:pt x="695" y="858"/>
                  </a:lnTo>
                  <a:lnTo>
                    <a:pt x="694" y="858"/>
                  </a:lnTo>
                  <a:lnTo>
                    <a:pt x="692" y="858"/>
                  </a:lnTo>
                  <a:lnTo>
                    <a:pt x="690" y="857"/>
                  </a:lnTo>
                  <a:lnTo>
                    <a:pt x="688" y="858"/>
                  </a:lnTo>
                  <a:lnTo>
                    <a:pt x="683" y="856"/>
                  </a:lnTo>
                  <a:lnTo>
                    <a:pt x="679" y="855"/>
                  </a:lnTo>
                  <a:lnTo>
                    <a:pt x="676" y="852"/>
                  </a:lnTo>
                  <a:lnTo>
                    <a:pt x="676" y="851"/>
                  </a:lnTo>
                  <a:lnTo>
                    <a:pt x="678" y="850"/>
                  </a:lnTo>
                  <a:lnTo>
                    <a:pt x="679" y="850"/>
                  </a:lnTo>
                  <a:lnTo>
                    <a:pt x="684" y="852"/>
                  </a:lnTo>
                  <a:lnTo>
                    <a:pt x="685" y="851"/>
                  </a:lnTo>
                  <a:lnTo>
                    <a:pt x="683" y="850"/>
                  </a:lnTo>
                  <a:lnTo>
                    <a:pt x="681" y="849"/>
                  </a:lnTo>
                  <a:lnTo>
                    <a:pt x="684" y="846"/>
                  </a:lnTo>
                  <a:lnTo>
                    <a:pt x="684" y="845"/>
                  </a:lnTo>
                  <a:lnTo>
                    <a:pt x="679" y="846"/>
                  </a:lnTo>
                  <a:lnTo>
                    <a:pt x="678" y="846"/>
                  </a:lnTo>
                  <a:lnTo>
                    <a:pt x="677" y="848"/>
                  </a:lnTo>
                  <a:lnTo>
                    <a:pt x="676" y="848"/>
                  </a:lnTo>
                  <a:lnTo>
                    <a:pt x="675" y="849"/>
                  </a:lnTo>
                  <a:lnTo>
                    <a:pt x="672" y="851"/>
                  </a:lnTo>
                  <a:lnTo>
                    <a:pt x="670" y="850"/>
                  </a:lnTo>
                  <a:lnTo>
                    <a:pt x="667" y="852"/>
                  </a:lnTo>
                  <a:lnTo>
                    <a:pt x="666" y="855"/>
                  </a:lnTo>
                  <a:lnTo>
                    <a:pt x="661" y="852"/>
                  </a:lnTo>
                  <a:lnTo>
                    <a:pt x="655" y="849"/>
                  </a:lnTo>
                  <a:lnTo>
                    <a:pt x="648" y="846"/>
                  </a:lnTo>
                  <a:lnTo>
                    <a:pt x="646" y="848"/>
                  </a:lnTo>
                  <a:lnTo>
                    <a:pt x="645" y="846"/>
                  </a:lnTo>
                  <a:lnTo>
                    <a:pt x="643" y="845"/>
                  </a:lnTo>
                  <a:lnTo>
                    <a:pt x="646" y="844"/>
                  </a:lnTo>
                  <a:lnTo>
                    <a:pt x="646" y="842"/>
                  </a:lnTo>
                  <a:lnTo>
                    <a:pt x="645" y="839"/>
                  </a:lnTo>
                  <a:lnTo>
                    <a:pt x="646" y="836"/>
                  </a:lnTo>
                  <a:lnTo>
                    <a:pt x="647" y="837"/>
                  </a:lnTo>
                  <a:lnTo>
                    <a:pt x="648" y="840"/>
                  </a:lnTo>
                  <a:lnTo>
                    <a:pt x="649" y="840"/>
                  </a:lnTo>
                  <a:lnTo>
                    <a:pt x="651" y="837"/>
                  </a:lnTo>
                  <a:lnTo>
                    <a:pt x="651" y="836"/>
                  </a:lnTo>
                  <a:lnTo>
                    <a:pt x="651" y="834"/>
                  </a:lnTo>
                  <a:lnTo>
                    <a:pt x="653" y="836"/>
                  </a:lnTo>
                  <a:lnTo>
                    <a:pt x="654" y="837"/>
                  </a:lnTo>
                  <a:lnTo>
                    <a:pt x="655" y="836"/>
                  </a:lnTo>
                  <a:lnTo>
                    <a:pt x="657" y="834"/>
                  </a:lnTo>
                  <a:lnTo>
                    <a:pt x="657" y="836"/>
                  </a:lnTo>
                  <a:lnTo>
                    <a:pt x="658" y="836"/>
                  </a:lnTo>
                  <a:lnTo>
                    <a:pt x="659" y="833"/>
                  </a:lnTo>
                  <a:lnTo>
                    <a:pt x="661" y="832"/>
                  </a:lnTo>
                  <a:lnTo>
                    <a:pt x="664" y="831"/>
                  </a:lnTo>
                  <a:lnTo>
                    <a:pt x="669" y="828"/>
                  </a:lnTo>
                  <a:lnTo>
                    <a:pt x="669" y="825"/>
                  </a:lnTo>
                  <a:lnTo>
                    <a:pt x="670" y="824"/>
                  </a:lnTo>
                  <a:lnTo>
                    <a:pt x="671" y="824"/>
                  </a:lnTo>
                  <a:lnTo>
                    <a:pt x="673" y="824"/>
                  </a:lnTo>
                  <a:lnTo>
                    <a:pt x="675" y="822"/>
                  </a:lnTo>
                  <a:lnTo>
                    <a:pt x="673" y="820"/>
                  </a:lnTo>
                  <a:lnTo>
                    <a:pt x="672" y="816"/>
                  </a:lnTo>
                  <a:lnTo>
                    <a:pt x="675" y="816"/>
                  </a:lnTo>
                  <a:lnTo>
                    <a:pt x="676" y="816"/>
                  </a:lnTo>
                  <a:lnTo>
                    <a:pt x="676" y="821"/>
                  </a:lnTo>
                  <a:lnTo>
                    <a:pt x="677" y="824"/>
                  </a:lnTo>
                  <a:lnTo>
                    <a:pt x="678" y="825"/>
                  </a:lnTo>
                  <a:lnTo>
                    <a:pt x="678" y="822"/>
                  </a:lnTo>
                  <a:lnTo>
                    <a:pt x="678" y="819"/>
                  </a:lnTo>
                  <a:lnTo>
                    <a:pt x="679" y="816"/>
                  </a:lnTo>
                  <a:lnTo>
                    <a:pt x="681" y="816"/>
                  </a:lnTo>
                  <a:lnTo>
                    <a:pt x="681" y="818"/>
                  </a:lnTo>
                  <a:lnTo>
                    <a:pt x="682" y="822"/>
                  </a:lnTo>
                  <a:lnTo>
                    <a:pt x="681" y="826"/>
                  </a:lnTo>
                  <a:lnTo>
                    <a:pt x="682" y="830"/>
                  </a:lnTo>
                  <a:lnTo>
                    <a:pt x="682" y="826"/>
                  </a:lnTo>
                  <a:lnTo>
                    <a:pt x="683" y="822"/>
                  </a:lnTo>
                  <a:lnTo>
                    <a:pt x="684" y="821"/>
                  </a:lnTo>
                  <a:lnTo>
                    <a:pt x="684" y="819"/>
                  </a:lnTo>
                  <a:lnTo>
                    <a:pt x="683" y="816"/>
                  </a:lnTo>
                  <a:lnTo>
                    <a:pt x="682" y="814"/>
                  </a:lnTo>
                  <a:lnTo>
                    <a:pt x="684" y="812"/>
                  </a:lnTo>
                  <a:lnTo>
                    <a:pt x="684" y="809"/>
                  </a:lnTo>
                  <a:lnTo>
                    <a:pt x="685" y="808"/>
                  </a:lnTo>
                  <a:lnTo>
                    <a:pt x="687" y="810"/>
                  </a:lnTo>
                  <a:lnTo>
                    <a:pt x="689" y="812"/>
                  </a:lnTo>
                  <a:lnTo>
                    <a:pt x="689" y="809"/>
                  </a:lnTo>
                  <a:lnTo>
                    <a:pt x="689" y="807"/>
                  </a:lnTo>
                  <a:lnTo>
                    <a:pt x="690" y="805"/>
                  </a:lnTo>
                  <a:lnTo>
                    <a:pt x="690" y="803"/>
                  </a:lnTo>
                  <a:lnTo>
                    <a:pt x="689" y="799"/>
                  </a:lnTo>
                  <a:lnTo>
                    <a:pt x="688" y="797"/>
                  </a:lnTo>
                  <a:lnTo>
                    <a:pt x="688" y="796"/>
                  </a:lnTo>
                  <a:lnTo>
                    <a:pt x="690" y="796"/>
                  </a:lnTo>
                  <a:lnTo>
                    <a:pt x="693" y="797"/>
                  </a:lnTo>
                  <a:lnTo>
                    <a:pt x="693" y="799"/>
                  </a:lnTo>
                  <a:lnTo>
                    <a:pt x="692" y="803"/>
                  </a:lnTo>
                  <a:lnTo>
                    <a:pt x="692" y="807"/>
                  </a:lnTo>
                  <a:lnTo>
                    <a:pt x="692" y="810"/>
                  </a:lnTo>
                  <a:lnTo>
                    <a:pt x="693" y="813"/>
                  </a:lnTo>
                  <a:lnTo>
                    <a:pt x="694" y="809"/>
                  </a:lnTo>
                  <a:lnTo>
                    <a:pt x="694" y="804"/>
                  </a:lnTo>
                  <a:lnTo>
                    <a:pt x="694" y="807"/>
                  </a:lnTo>
                  <a:lnTo>
                    <a:pt x="694" y="809"/>
                  </a:lnTo>
                  <a:lnTo>
                    <a:pt x="695" y="809"/>
                  </a:lnTo>
                  <a:lnTo>
                    <a:pt x="696" y="808"/>
                  </a:lnTo>
                  <a:lnTo>
                    <a:pt x="696" y="804"/>
                  </a:lnTo>
                  <a:lnTo>
                    <a:pt x="696" y="801"/>
                  </a:lnTo>
                  <a:lnTo>
                    <a:pt x="696" y="798"/>
                  </a:lnTo>
                  <a:lnTo>
                    <a:pt x="698" y="798"/>
                  </a:lnTo>
                  <a:lnTo>
                    <a:pt x="698" y="802"/>
                  </a:lnTo>
                  <a:lnTo>
                    <a:pt x="698" y="810"/>
                  </a:lnTo>
                  <a:lnTo>
                    <a:pt x="699" y="812"/>
                  </a:lnTo>
                  <a:lnTo>
                    <a:pt x="700" y="814"/>
                  </a:lnTo>
                  <a:lnTo>
                    <a:pt x="700" y="812"/>
                  </a:lnTo>
                  <a:lnTo>
                    <a:pt x="700" y="805"/>
                  </a:lnTo>
                  <a:lnTo>
                    <a:pt x="700" y="803"/>
                  </a:lnTo>
                  <a:lnTo>
                    <a:pt x="701" y="805"/>
                  </a:lnTo>
                  <a:lnTo>
                    <a:pt x="701" y="809"/>
                  </a:lnTo>
                  <a:lnTo>
                    <a:pt x="701" y="814"/>
                  </a:lnTo>
                  <a:lnTo>
                    <a:pt x="702" y="815"/>
                  </a:lnTo>
                  <a:lnTo>
                    <a:pt x="704" y="813"/>
                  </a:lnTo>
                  <a:lnTo>
                    <a:pt x="704" y="809"/>
                  </a:lnTo>
                  <a:lnTo>
                    <a:pt x="705" y="805"/>
                  </a:lnTo>
                  <a:lnTo>
                    <a:pt x="705" y="804"/>
                  </a:lnTo>
                  <a:lnTo>
                    <a:pt x="706" y="805"/>
                  </a:lnTo>
                  <a:lnTo>
                    <a:pt x="707" y="804"/>
                  </a:lnTo>
                  <a:lnTo>
                    <a:pt x="708" y="804"/>
                  </a:lnTo>
                  <a:lnTo>
                    <a:pt x="710" y="807"/>
                  </a:lnTo>
                  <a:lnTo>
                    <a:pt x="711" y="808"/>
                  </a:lnTo>
                  <a:lnTo>
                    <a:pt x="711" y="809"/>
                  </a:lnTo>
                  <a:lnTo>
                    <a:pt x="713" y="812"/>
                  </a:lnTo>
                  <a:lnTo>
                    <a:pt x="713" y="808"/>
                  </a:lnTo>
                  <a:lnTo>
                    <a:pt x="712" y="805"/>
                  </a:lnTo>
                  <a:lnTo>
                    <a:pt x="714" y="807"/>
                  </a:lnTo>
                  <a:lnTo>
                    <a:pt x="718" y="807"/>
                  </a:lnTo>
                  <a:lnTo>
                    <a:pt x="717" y="805"/>
                  </a:lnTo>
                  <a:lnTo>
                    <a:pt x="713" y="803"/>
                  </a:lnTo>
                  <a:lnTo>
                    <a:pt x="713" y="802"/>
                  </a:lnTo>
                  <a:lnTo>
                    <a:pt x="711" y="802"/>
                  </a:lnTo>
                  <a:lnTo>
                    <a:pt x="710" y="802"/>
                  </a:lnTo>
                  <a:lnTo>
                    <a:pt x="708" y="801"/>
                  </a:lnTo>
                  <a:lnTo>
                    <a:pt x="706" y="802"/>
                  </a:lnTo>
                  <a:lnTo>
                    <a:pt x="705" y="799"/>
                  </a:lnTo>
                  <a:lnTo>
                    <a:pt x="701" y="797"/>
                  </a:lnTo>
                  <a:lnTo>
                    <a:pt x="696" y="795"/>
                  </a:lnTo>
                  <a:lnTo>
                    <a:pt x="694" y="793"/>
                  </a:lnTo>
                  <a:lnTo>
                    <a:pt x="693" y="795"/>
                  </a:lnTo>
                  <a:lnTo>
                    <a:pt x="688" y="793"/>
                  </a:lnTo>
                  <a:lnTo>
                    <a:pt x="687" y="793"/>
                  </a:lnTo>
                  <a:lnTo>
                    <a:pt x="684" y="793"/>
                  </a:lnTo>
                  <a:lnTo>
                    <a:pt x="679" y="793"/>
                  </a:lnTo>
                  <a:lnTo>
                    <a:pt x="676" y="793"/>
                  </a:lnTo>
                  <a:lnTo>
                    <a:pt x="675" y="795"/>
                  </a:lnTo>
                  <a:lnTo>
                    <a:pt x="671" y="795"/>
                  </a:lnTo>
                  <a:lnTo>
                    <a:pt x="669" y="796"/>
                  </a:lnTo>
                  <a:lnTo>
                    <a:pt x="667" y="796"/>
                  </a:lnTo>
                  <a:lnTo>
                    <a:pt x="664" y="797"/>
                  </a:lnTo>
                  <a:lnTo>
                    <a:pt x="661" y="798"/>
                  </a:lnTo>
                  <a:lnTo>
                    <a:pt x="657" y="798"/>
                  </a:lnTo>
                  <a:lnTo>
                    <a:pt x="651" y="798"/>
                  </a:lnTo>
                  <a:lnTo>
                    <a:pt x="651" y="799"/>
                  </a:lnTo>
                  <a:lnTo>
                    <a:pt x="649" y="799"/>
                  </a:lnTo>
                  <a:lnTo>
                    <a:pt x="648" y="798"/>
                  </a:lnTo>
                  <a:lnTo>
                    <a:pt x="646" y="798"/>
                  </a:lnTo>
                  <a:lnTo>
                    <a:pt x="645" y="799"/>
                  </a:lnTo>
                  <a:lnTo>
                    <a:pt x="641" y="799"/>
                  </a:lnTo>
                  <a:lnTo>
                    <a:pt x="641" y="801"/>
                  </a:lnTo>
                  <a:lnTo>
                    <a:pt x="640" y="801"/>
                  </a:lnTo>
                  <a:lnTo>
                    <a:pt x="637" y="799"/>
                  </a:lnTo>
                  <a:lnTo>
                    <a:pt x="631" y="799"/>
                  </a:lnTo>
                  <a:lnTo>
                    <a:pt x="626" y="799"/>
                  </a:lnTo>
                  <a:lnTo>
                    <a:pt x="624" y="798"/>
                  </a:lnTo>
                  <a:lnTo>
                    <a:pt x="623" y="799"/>
                  </a:lnTo>
                  <a:lnTo>
                    <a:pt x="622" y="799"/>
                  </a:lnTo>
                  <a:lnTo>
                    <a:pt x="620" y="802"/>
                  </a:lnTo>
                  <a:lnTo>
                    <a:pt x="619" y="801"/>
                  </a:lnTo>
                  <a:lnTo>
                    <a:pt x="618" y="801"/>
                  </a:lnTo>
                  <a:lnTo>
                    <a:pt x="617" y="801"/>
                  </a:lnTo>
                  <a:lnTo>
                    <a:pt x="616" y="799"/>
                  </a:lnTo>
                  <a:lnTo>
                    <a:pt x="614" y="797"/>
                  </a:lnTo>
                  <a:lnTo>
                    <a:pt x="611" y="796"/>
                  </a:lnTo>
                  <a:lnTo>
                    <a:pt x="608" y="796"/>
                  </a:lnTo>
                  <a:lnTo>
                    <a:pt x="604" y="795"/>
                  </a:lnTo>
                  <a:lnTo>
                    <a:pt x="599" y="792"/>
                  </a:lnTo>
                  <a:lnTo>
                    <a:pt x="595" y="790"/>
                  </a:lnTo>
                  <a:lnTo>
                    <a:pt x="595" y="789"/>
                  </a:lnTo>
                  <a:lnTo>
                    <a:pt x="598" y="790"/>
                  </a:lnTo>
                  <a:lnTo>
                    <a:pt x="601" y="792"/>
                  </a:lnTo>
                  <a:lnTo>
                    <a:pt x="601" y="791"/>
                  </a:lnTo>
                  <a:lnTo>
                    <a:pt x="596" y="787"/>
                  </a:lnTo>
                  <a:lnTo>
                    <a:pt x="598" y="786"/>
                  </a:lnTo>
                  <a:lnTo>
                    <a:pt x="602" y="786"/>
                  </a:lnTo>
                  <a:lnTo>
                    <a:pt x="604" y="786"/>
                  </a:lnTo>
                  <a:lnTo>
                    <a:pt x="598" y="785"/>
                  </a:lnTo>
                  <a:lnTo>
                    <a:pt x="595" y="784"/>
                  </a:lnTo>
                  <a:lnTo>
                    <a:pt x="595" y="783"/>
                  </a:lnTo>
                  <a:lnTo>
                    <a:pt x="594" y="781"/>
                  </a:lnTo>
                  <a:lnTo>
                    <a:pt x="593" y="781"/>
                  </a:lnTo>
                  <a:lnTo>
                    <a:pt x="590" y="781"/>
                  </a:lnTo>
                  <a:lnTo>
                    <a:pt x="592" y="783"/>
                  </a:lnTo>
                  <a:lnTo>
                    <a:pt x="592" y="784"/>
                  </a:lnTo>
                  <a:lnTo>
                    <a:pt x="592" y="785"/>
                  </a:lnTo>
                  <a:lnTo>
                    <a:pt x="588" y="787"/>
                  </a:lnTo>
                  <a:lnTo>
                    <a:pt x="587" y="789"/>
                  </a:lnTo>
                  <a:lnTo>
                    <a:pt x="583" y="789"/>
                  </a:lnTo>
                  <a:lnTo>
                    <a:pt x="580" y="786"/>
                  </a:lnTo>
                  <a:lnTo>
                    <a:pt x="572" y="784"/>
                  </a:lnTo>
                  <a:lnTo>
                    <a:pt x="571" y="784"/>
                  </a:lnTo>
                  <a:lnTo>
                    <a:pt x="570" y="785"/>
                  </a:lnTo>
                  <a:lnTo>
                    <a:pt x="569" y="785"/>
                  </a:lnTo>
                  <a:lnTo>
                    <a:pt x="565" y="786"/>
                  </a:lnTo>
                  <a:lnTo>
                    <a:pt x="563" y="785"/>
                  </a:lnTo>
                  <a:lnTo>
                    <a:pt x="560" y="784"/>
                  </a:lnTo>
                  <a:lnTo>
                    <a:pt x="560" y="781"/>
                  </a:lnTo>
                  <a:lnTo>
                    <a:pt x="558" y="781"/>
                  </a:lnTo>
                  <a:lnTo>
                    <a:pt x="554" y="781"/>
                  </a:lnTo>
                  <a:lnTo>
                    <a:pt x="553" y="780"/>
                  </a:lnTo>
                  <a:lnTo>
                    <a:pt x="551" y="780"/>
                  </a:lnTo>
                  <a:lnTo>
                    <a:pt x="548" y="779"/>
                  </a:lnTo>
                  <a:lnTo>
                    <a:pt x="546" y="769"/>
                  </a:lnTo>
                  <a:lnTo>
                    <a:pt x="543" y="767"/>
                  </a:lnTo>
                  <a:lnTo>
                    <a:pt x="543" y="765"/>
                  </a:lnTo>
                  <a:lnTo>
                    <a:pt x="545" y="761"/>
                  </a:lnTo>
                  <a:lnTo>
                    <a:pt x="545" y="756"/>
                  </a:lnTo>
                  <a:lnTo>
                    <a:pt x="546" y="756"/>
                  </a:lnTo>
                  <a:lnTo>
                    <a:pt x="549" y="759"/>
                  </a:lnTo>
                  <a:lnTo>
                    <a:pt x="552" y="759"/>
                  </a:lnTo>
                  <a:lnTo>
                    <a:pt x="553" y="761"/>
                  </a:lnTo>
                  <a:lnTo>
                    <a:pt x="554" y="762"/>
                  </a:lnTo>
                  <a:lnTo>
                    <a:pt x="555" y="765"/>
                  </a:lnTo>
                  <a:lnTo>
                    <a:pt x="555" y="768"/>
                  </a:lnTo>
                  <a:lnTo>
                    <a:pt x="557" y="772"/>
                  </a:lnTo>
                  <a:lnTo>
                    <a:pt x="558" y="772"/>
                  </a:lnTo>
                  <a:lnTo>
                    <a:pt x="559" y="769"/>
                  </a:lnTo>
                  <a:lnTo>
                    <a:pt x="559" y="767"/>
                  </a:lnTo>
                  <a:lnTo>
                    <a:pt x="558" y="765"/>
                  </a:lnTo>
                  <a:lnTo>
                    <a:pt x="560" y="762"/>
                  </a:lnTo>
                  <a:lnTo>
                    <a:pt x="561" y="765"/>
                  </a:lnTo>
                  <a:lnTo>
                    <a:pt x="561" y="767"/>
                  </a:lnTo>
                  <a:lnTo>
                    <a:pt x="563" y="769"/>
                  </a:lnTo>
                  <a:lnTo>
                    <a:pt x="563" y="771"/>
                  </a:lnTo>
                  <a:lnTo>
                    <a:pt x="564" y="769"/>
                  </a:lnTo>
                  <a:lnTo>
                    <a:pt x="565" y="767"/>
                  </a:lnTo>
                  <a:lnTo>
                    <a:pt x="564" y="765"/>
                  </a:lnTo>
                  <a:lnTo>
                    <a:pt x="565" y="763"/>
                  </a:lnTo>
                  <a:lnTo>
                    <a:pt x="565" y="762"/>
                  </a:lnTo>
                  <a:lnTo>
                    <a:pt x="564" y="761"/>
                  </a:lnTo>
                  <a:lnTo>
                    <a:pt x="565" y="759"/>
                  </a:lnTo>
                  <a:lnTo>
                    <a:pt x="566" y="761"/>
                  </a:lnTo>
                  <a:lnTo>
                    <a:pt x="566" y="759"/>
                  </a:lnTo>
                  <a:lnTo>
                    <a:pt x="567" y="759"/>
                  </a:lnTo>
                  <a:lnTo>
                    <a:pt x="569" y="760"/>
                  </a:lnTo>
                  <a:lnTo>
                    <a:pt x="571" y="759"/>
                  </a:lnTo>
                  <a:lnTo>
                    <a:pt x="570" y="757"/>
                  </a:lnTo>
                  <a:lnTo>
                    <a:pt x="571" y="756"/>
                  </a:lnTo>
                  <a:lnTo>
                    <a:pt x="571" y="759"/>
                  </a:lnTo>
                  <a:lnTo>
                    <a:pt x="572" y="761"/>
                  </a:lnTo>
                  <a:lnTo>
                    <a:pt x="571" y="765"/>
                  </a:lnTo>
                  <a:lnTo>
                    <a:pt x="572" y="767"/>
                  </a:lnTo>
                  <a:lnTo>
                    <a:pt x="572" y="765"/>
                  </a:lnTo>
                  <a:lnTo>
                    <a:pt x="574" y="762"/>
                  </a:lnTo>
                  <a:lnTo>
                    <a:pt x="575" y="761"/>
                  </a:lnTo>
                  <a:lnTo>
                    <a:pt x="574" y="759"/>
                  </a:lnTo>
                  <a:lnTo>
                    <a:pt x="574" y="755"/>
                  </a:lnTo>
                  <a:lnTo>
                    <a:pt x="575" y="753"/>
                  </a:lnTo>
                  <a:lnTo>
                    <a:pt x="575" y="755"/>
                  </a:lnTo>
                  <a:lnTo>
                    <a:pt x="576" y="756"/>
                  </a:lnTo>
                  <a:lnTo>
                    <a:pt x="578" y="756"/>
                  </a:lnTo>
                  <a:lnTo>
                    <a:pt x="578" y="759"/>
                  </a:lnTo>
                  <a:lnTo>
                    <a:pt x="578" y="765"/>
                  </a:lnTo>
                  <a:lnTo>
                    <a:pt x="578" y="769"/>
                  </a:lnTo>
                  <a:lnTo>
                    <a:pt x="580" y="765"/>
                  </a:lnTo>
                  <a:lnTo>
                    <a:pt x="580" y="761"/>
                  </a:lnTo>
                  <a:lnTo>
                    <a:pt x="580" y="756"/>
                  </a:lnTo>
                  <a:lnTo>
                    <a:pt x="580" y="753"/>
                  </a:lnTo>
                  <a:lnTo>
                    <a:pt x="581" y="753"/>
                  </a:lnTo>
                  <a:lnTo>
                    <a:pt x="582" y="759"/>
                  </a:lnTo>
                  <a:lnTo>
                    <a:pt x="583" y="760"/>
                  </a:lnTo>
                  <a:lnTo>
                    <a:pt x="583" y="757"/>
                  </a:lnTo>
                  <a:lnTo>
                    <a:pt x="584" y="757"/>
                  </a:lnTo>
                  <a:lnTo>
                    <a:pt x="584" y="760"/>
                  </a:lnTo>
                  <a:lnTo>
                    <a:pt x="586" y="766"/>
                  </a:lnTo>
                  <a:lnTo>
                    <a:pt x="587" y="762"/>
                  </a:lnTo>
                  <a:lnTo>
                    <a:pt x="587" y="760"/>
                  </a:lnTo>
                  <a:lnTo>
                    <a:pt x="587" y="756"/>
                  </a:lnTo>
                  <a:lnTo>
                    <a:pt x="587" y="747"/>
                  </a:lnTo>
                  <a:lnTo>
                    <a:pt x="588" y="747"/>
                  </a:lnTo>
                  <a:lnTo>
                    <a:pt x="590" y="750"/>
                  </a:lnTo>
                  <a:lnTo>
                    <a:pt x="590" y="754"/>
                  </a:lnTo>
                  <a:lnTo>
                    <a:pt x="589" y="757"/>
                  </a:lnTo>
                  <a:lnTo>
                    <a:pt x="588" y="763"/>
                  </a:lnTo>
                  <a:lnTo>
                    <a:pt x="589" y="767"/>
                  </a:lnTo>
                  <a:lnTo>
                    <a:pt x="590" y="766"/>
                  </a:lnTo>
                  <a:lnTo>
                    <a:pt x="592" y="762"/>
                  </a:lnTo>
                  <a:lnTo>
                    <a:pt x="593" y="762"/>
                  </a:lnTo>
                  <a:lnTo>
                    <a:pt x="593" y="763"/>
                  </a:lnTo>
                  <a:lnTo>
                    <a:pt x="594" y="763"/>
                  </a:lnTo>
                  <a:lnTo>
                    <a:pt x="595" y="761"/>
                  </a:lnTo>
                  <a:lnTo>
                    <a:pt x="594" y="757"/>
                  </a:lnTo>
                  <a:lnTo>
                    <a:pt x="594" y="754"/>
                  </a:lnTo>
                  <a:lnTo>
                    <a:pt x="594" y="750"/>
                  </a:lnTo>
                  <a:lnTo>
                    <a:pt x="595" y="750"/>
                  </a:lnTo>
                  <a:lnTo>
                    <a:pt x="595" y="754"/>
                  </a:lnTo>
                  <a:lnTo>
                    <a:pt x="595" y="760"/>
                  </a:lnTo>
                  <a:lnTo>
                    <a:pt x="596" y="762"/>
                  </a:lnTo>
                  <a:lnTo>
                    <a:pt x="598" y="763"/>
                  </a:lnTo>
                  <a:lnTo>
                    <a:pt x="598" y="760"/>
                  </a:lnTo>
                  <a:lnTo>
                    <a:pt x="599" y="759"/>
                  </a:lnTo>
                  <a:lnTo>
                    <a:pt x="600" y="762"/>
                  </a:lnTo>
                  <a:lnTo>
                    <a:pt x="600" y="765"/>
                  </a:lnTo>
                  <a:lnTo>
                    <a:pt x="599" y="767"/>
                  </a:lnTo>
                  <a:lnTo>
                    <a:pt x="600" y="771"/>
                  </a:lnTo>
                  <a:lnTo>
                    <a:pt x="601" y="767"/>
                  </a:lnTo>
                  <a:lnTo>
                    <a:pt x="601" y="769"/>
                  </a:lnTo>
                  <a:lnTo>
                    <a:pt x="601" y="771"/>
                  </a:lnTo>
                  <a:lnTo>
                    <a:pt x="602" y="772"/>
                  </a:lnTo>
                  <a:lnTo>
                    <a:pt x="605" y="773"/>
                  </a:lnTo>
                  <a:lnTo>
                    <a:pt x="604" y="767"/>
                  </a:lnTo>
                  <a:lnTo>
                    <a:pt x="604" y="765"/>
                  </a:lnTo>
                  <a:lnTo>
                    <a:pt x="604" y="761"/>
                  </a:lnTo>
                  <a:lnTo>
                    <a:pt x="606" y="759"/>
                  </a:lnTo>
                  <a:lnTo>
                    <a:pt x="606" y="760"/>
                  </a:lnTo>
                  <a:lnTo>
                    <a:pt x="606" y="762"/>
                  </a:lnTo>
                  <a:lnTo>
                    <a:pt x="606" y="765"/>
                  </a:lnTo>
                  <a:lnTo>
                    <a:pt x="606" y="768"/>
                  </a:lnTo>
                  <a:lnTo>
                    <a:pt x="606" y="772"/>
                  </a:lnTo>
                  <a:lnTo>
                    <a:pt x="606" y="773"/>
                  </a:lnTo>
                  <a:lnTo>
                    <a:pt x="607" y="773"/>
                  </a:lnTo>
                  <a:lnTo>
                    <a:pt x="607" y="771"/>
                  </a:lnTo>
                  <a:lnTo>
                    <a:pt x="607" y="768"/>
                  </a:lnTo>
                  <a:lnTo>
                    <a:pt x="610" y="766"/>
                  </a:lnTo>
                  <a:lnTo>
                    <a:pt x="610" y="762"/>
                  </a:lnTo>
                  <a:lnTo>
                    <a:pt x="611" y="762"/>
                  </a:lnTo>
                  <a:lnTo>
                    <a:pt x="613" y="765"/>
                  </a:lnTo>
                  <a:lnTo>
                    <a:pt x="614" y="768"/>
                  </a:lnTo>
                  <a:lnTo>
                    <a:pt x="614" y="771"/>
                  </a:lnTo>
                  <a:lnTo>
                    <a:pt x="617" y="766"/>
                  </a:lnTo>
                  <a:lnTo>
                    <a:pt x="624" y="768"/>
                  </a:lnTo>
                  <a:lnTo>
                    <a:pt x="622" y="766"/>
                  </a:lnTo>
                  <a:lnTo>
                    <a:pt x="618" y="763"/>
                  </a:lnTo>
                  <a:lnTo>
                    <a:pt x="618" y="761"/>
                  </a:lnTo>
                  <a:lnTo>
                    <a:pt x="616" y="761"/>
                  </a:lnTo>
                  <a:lnTo>
                    <a:pt x="614" y="760"/>
                  </a:lnTo>
                  <a:lnTo>
                    <a:pt x="610" y="759"/>
                  </a:lnTo>
                  <a:lnTo>
                    <a:pt x="607" y="755"/>
                  </a:lnTo>
                  <a:lnTo>
                    <a:pt x="605" y="754"/>
                  </a:lnTo>
                  <a:lnTo>
                    <a:pt x="602" y="750"/>
                  </a:lnTo>
                  <a:lnTo>
                    <a:pt x="599" y="749"/>
                  </a:lnTo>
                  <a:lnTo>
                    <a:pt x="587" y="743"/>
                  </a:lnTo>
                  <a:lnTo>
                    <a:pt x="586" y="742"/>
                  </a:lnTo>
                  <a:lnTo>
                    <a:pt x="588" y="741"/>
                  </a:lnTo>
                  <a:lnTo>
                    <a:pt x="589" y="741"/>
                  </a:lnTo>
                  <a:lnTo>
                    <a:pt x="592" y="743"/>
                  </a:lnTo>
                  <a:lnTo>
                    <a:pt x="592" y="742"/>
                  </a:lnTo>
                  <a:lnTo>
                    <a:pt x="593" y="742"/>
                  </a:lnTo>
                  <a:lnTo>
                    <a:pt x="596" y="744"/>
                  </a:lnTo>
                  <a:lnTo>
                    <a:pt x="598" y="745"/>
                  </a:lnTo>
                  <a:lnTo>
                    <a:pt x="598" y="743"/>
                  </a:lnTo>
                  <a:lnTo>
                    <a:pt x="599" y="741"/>
                  </a:lnTo>
                  <a:lnTo>
                    <a:pt x="599" y="738"/>
                  </a:lnTo>
                  <a:lnTo>
                    <a:pt x="600" y="738"/>
                  </a:lnTo>
                  <a:lnTo>
                    <a:pt x="599" y="736"/>
                  </a:lnTo>
                  <a:lnTo>
                    <a:pt x="598" y="732"/>
                  </a:lnTo>
                  <a:lnTo>
                    <a:pt x="595" y="731"/>
                  </a:lnTo>
                  <a:lnTo>
                    <a:pt x="595" y="730"/>
                  </a:lnTo>
                  <a:lnTo>
                    <a:pt x="596" y="726"/>
                  </a:lnTo>
                  <a:lnTo>
                    <a:pt x="598" y="723"/>
                  </a:lnTo>
                  <a:lnTo>
                    <a:pt x="599" y="723"/>
                  </a:lnTo>
                  <a:lnTo>
                    <a:pt x="599" y="727"/>
                  </a:lnTo>
                  <a:lnTo>
                    <a:pt x="599" y="731"/>
                  </a:lnTo>
                  <a:lnTo>
                    <a:pt x="601" y="731"/>
                  </a:lnTo>
                  <a:lnTo>
                    <a:pt x="601" y="729"/>
                  </a:lnTo>
                  <a:lnTo>
                    <a:pt x="604" y="729"/>
                  </a:lnTo>
                  <a:lnTo>
                    <a:pt x="605" y="730"/>
                  </a:lnTo>
                  <a:lnTo>
                    <a:pt x="606" y="730"/>
                  </a:lnTo>
                  <a:lnTo>
                    <a:pt x="607" y="731"/>
                  </a:lnTo>
                  <a:lnTo>
                    <a:pt x="608" y="731"/>
                  </a:lnTo>
                  <a:lnTo>
                    <a:pt x="611" y="730"/>
                  </a:lnTo>
                  <a:lnTo>
                    <a:pt x="610" y="729"/>
                  </a:lnTo>
                  <a:lnTo>
                    <a:pt x="607" y="726"/>
                  </a:lnTo>
                  <a:lnTo>
                    <a:pt x="606" y="724"/>
                  </a:lnTo>
                  <a:lnTo>
                    <a:pt x="606" y="721"/>
                  </a:lnTo>
                  <a:lnTo>
                    <a:pt x="607" y="718"/>
                  </a:lnTo>
                  <a:lnTo>
                    <a:pt x="608" y="719"/>
                  </a:lnTo>
                  <a:lnTo>
                    <a:pt x="610" y="721"/>
                  </a:lnTo>
                  <a:lnTo>
                    <a:pt x="611" y="725"/>
                  </a:lnTo>
                  <a:lnTo>
                    <a:pt x="611" y="726"/>
                  </a:lnTo>
                  <a:lnTo>
                    <a:pt x="614" y="725"/>
                  </a:lnTo>
                  <a:lnTo>
                    <a:pt x="614" y="724"/>
                  </a:lnTo>
                  <a:lnTo>
                    <a:pt x="616" y="727"/>
                  </a:lnTo>
                  <a:lnTo>
                    <a:pt x="616" y="732"/>
                  </a:lnTo>
                  <a:lnTo>
                    <a:pt x="617" y="735"/>
                  </a:lnTo>
                  <a:lnTo>
                    <a:pt x="618" y="732"/>
                  </a:lnTo>
                  <a:lnTo>
                    <a:pt x="618" y="729"/>
                  </a:lnTo>
                  <a:lnTo>
                    <a:pt x="619" y="726"/>
                  </a:lnTo>
                  <a:lnTo>
                    <a:pt x="619" y="721"/>
                  </a:lnTo>
                  <a:lnTo>
                    <a:pt x="622" y="718"/>
                  </a:lnTo>
                  <a:lnTo>
                    <a:pt x="623" y="718"/>
                  </a:lnTo>
                  <a:lnTo>
                    <a:pt x="626" y="719"/>
                  </a:lnTo>
                  <a:lnTo>
                    <a:pt x="626" y="725"/>
                  </a:lnTo>
                  <a:lnTo>
                    <a:pt x="626" y="732"/>
                  </a:lnTo>
                  <a:lnTo>
                    <a:pt x="628" y="731"/>
                  </a:lnTo>
                  <a:lnTo>
                    <a:pt x="629" y="725"/>
                  </a:lnTo>
                  <a:lnTo>
                    <a:pt x="629" y="719"/>
                  </a:lnTo>
                  <a:lnTo>
                    <a:pt x="629" y="718"/>
                  </a:lnTo>
                  <a:lnTo>
                    <a:pt x="630" y="718"/>
                  </a:lnTo>
                  <a:lnTo>
                    <a:pt x="630" y="719"/>
                  </a:lnTo>
                  <a:lnTo>
                    <a:pt x="630" y="724"/>
                  </a:lnTo>
                  <a:lnTo>
                    <a:pt x="631" y="724"/>
                  </a:lnTo>
                  <a:lnTo>
                    <a:pt x="631" y="726"/>
                  </a:lnTo>
                  <a:lnTo>
                    <a:pt x="633" y="726"/>
                  </a:lnTo>
                  <a:lnTo>
                    <a:pt x="634" y="724"/>
                  </a:lnTo>
                  <a:lnTo>
                    <a:pt x="635" y="719"/>
                  </a:lnTo>
                  <a:lnTo>
                    <a:pt x="636" y="721"/>
                  </a:lnTo>
                  <a:lnTo>
                    <a:pt x="637" y="725"/>
                  </a:lnTo>
                  <a:lnTo>
                    <a:pt x="640" y="724"/>
                  </a:lnTo>
                  <a:lnTo>
                    <a:pt x="641" y="723"/>
                  </a:lnTo>
                  <a:lnTo>
                    <a:pt x="641" y="720"/>
                  </a:lnTo>
                  <a:lnTo>
                    <a:pt x="642" y="719"/>
                  </a:lnTo>
                  <a:lnTo>
                    <a:pt x="646" y="721"/>
                  </a:lnTo>
                  <a:lnTo>
                    <a:pt x="648" y="721"/>
                  </a:lnTo>
                  <a:lnTo>
                    <a:pt x="651" y="721"/>
                  </a:lnTo>
                  <a:lnTo>
                    <a:pt x="649" y="724"/>
                  </a:lnTo>
                  <a:lnTo>
                    <a:pt x="652" y="720"/>
                  </a:lnTo>
                  <a:lnTo>
                    <a:pt x="654" y="721"/>
                  </a:lnTo>
                  <a:lnTo>
                    <a:pt x="655" y="718"/>
                  </a:lnTo>
                  <a:lnTo>
                    <a:pt x="654" y="714"/>
                  </a:lnTo>
                  <a:lnTo>
                    <a:pt x="655" y="713"/>
                  </a:lnTo>
                  <a:lnTo>
                    <a:pt x="654" y="711"/>
                  </a:lnTo>
                  <a:lnTo>
                    <a:pt x="655" y="711"/>
                  </a:lnTo>
                  <a:lnTo>
                    <a:pt x="657" y="713"/>
                  </a:lnTo>
                  <a:lnTo>
                    <a:pt x="655" y="715"/>
                  </a:lnTo>
                  <a:lnTo>
                    <a:pt x="657" y="718"/>
                  </a:lnTo>
                  <a:lnTo>
                    <a:pt x="655" y="721"/>
                  </a:lnTo>
                  <a:lnTo>
                    <a:pt x="657" y="726"/>
                  </a:lnTo>
                  <a:lnTo>
                    <a:pt x="659" y="727"/>
                  </a:lnTo>
                  <a:lnTo>
                    <a:pt x="659" y="726"/>
                  </a:lnTo>
                  <a:lnTo>
                    <a:pt x="659" y="720"/>
                  </a:lnTo>
                  <a:lnTo>
                    <a:pt x="659" y="718"/>
                  </a:lnTo>
                  <a:lnTo>
                    <a:pt x="660" y="715"/>
                  </a:lnTo>
                  <a:lnTo>
                    <a:pt x="661" y="718"/>
                  </a:lnTo>
                  <a:lnTo>
                    <a:pt x="661" y="723"/>
                  </a:lnTo>
                  <a:lnTo>
                    <a:pt x="661" y="725"/>
                  </a:lnTo>
                  <a:lnTo>
                    <a:pt x="661" y="727"/>
                  </a:lnTo>
                  <a:lnTo>
                    <a:pt x="663" y="730"/>
                  </a:lnTo>
                  <a:lnTo>
                    <a:pt x="664" y="729"/>
                  </a:lnTo>
                  <a:lnTo>
                    <a:pt x="664" y="727"/>
                  </a:lnTo>
                  <a:lnTo>
                    <a:pt x="664" y="724"/>
                  </a:lnTo>
                  <a:lnTo>
                    <a:pt x="664" y="719"/>
                  </a:lnTo>
                  <a:lnTo>
                    <a:pt x="664" y="718"/>
                  </a:lnTo>
                  <a:lnTo>
                    <a:pt x="664" y="717"/>
                  </a:lnTo>
                  <a:lnTo>
                    <a:pt x="665" y="718"/>
                  </a:lnTo>
                  <a:lnTo>
                    <a:pt x="666" y="723"/>
                  </a:lnTo>
                  <a:lnTo>
                    <a:pt x="666" y="724"/>
                  </a:lnTo>
                  <a:lnTo>
                    <a:pt x="666" y="726"/>
                  </a:lnTo>
                  <a:lnTo>
                    <a:pt x="669" y="725"/>
                  </a:lnTo>
                  <a:lnTo>
                    <a:pt x="667" y="726"/>
                  </a:lnTo>
                  <a:lnTo>
                    <a:pt x="667" y="732"/>
                  </a:lnTo>
                  <a:lnTo>
                    <a:pt x="667" y="736"/>
                  </a:lnTo>
                  <a:lnTo>
                    <a:pt x="669" y="735"/>
                  </a:lnTo>
                  <a:lnTo>
                    <a:pt x="669" y="733"/>
                  </a:lnTo>
                  <a:lnTo>
                    <a:pt x="670" y="733"/>
                  </a:lnTo>
                  <a:lnTo>
                    <a:pt x="671" y="735"/>
                  </a:lnTo>
                  <a:lnTo>
                    <a:pt x="672" y="731"/>
                  </a:lnTo>
                  <a:lnTo>
                    <a:pt x="672" y="729"/>
                  </a:lnTo>
                  <a:lnTo>
                    <a:pt x="676" y="730"/>
                  </a:lnTo>
                  <a:lnTo>
                    <a:pt x="677" y="729"/>
                  </a:lnTo>
                  <a:lnTo>
                    <a:pt x="677" y="727"/>
                  </a:lnTo>
                  <a:lnTo>
                    <a:pt x="675" y="726"/>
                  </a:lnTo>
                  <a:lnTo>
                    <a:pt x="676" y="724"/>
                  </a:lnTo>
                  <a:lnTo>
                    <a:pt x="677" y="723"/>
                  </a:lnTo>
                  <a:lnTo>
                    <a:pt x="676" y="723"/>
                  </a:lnTo>
                  <a:lnTo>
                    <a:pt x="673" y="723"/>
                  </a:lnTo>
                  <a:lnTo>
                    <a:pt x="669" y="721"/>
                  </a:lnTo>
                  <a:lnTo>
                    <a:pt x="667" y="717"/>
                  </a:lnTo>
                  <a:lnTo>
                    <a:pt x="671" y="717"/>
                  </a:lnTo>
                  <a:lnTo>
                    <a:pt x="669" y="715"/>
                  </a:lnTo>
                  <a:lnTo>
                    <a:pt x="665" y="713"/>
                  </a:lnTo>
                  <a:lnTo>
                    <a:pt x="664" y="712"/>
                  </a:lnTo>
                  <a:lnTo>
                    <a:pt x="658" y="709"/>
                  </a:lnTo>
                  <a:lnTo>
                    <a:pt x="655" y="705"/>
                  </a:lnTo>
                  <a:lnTo>
                    <a:pt x="652" y="703"/>
                  </a:lnTo>
                  <a:lnTo>
                    <a:pt x="647" y="703"/>
                  </a:lnTo>
                  <a:lnTo>
                    <a:pt x="641" y="702"/>
                  </a:lnTo>
                  <a:lnTo>
                    <a:pt x="637" y="702"/>
                  </a:lnTo>
                  <a:lnTo>
                    <a:pt x="637" y="700"/>
                  </a:lnTo>
                  <a:lnTo>
                    <a:pt x="639" y="698"/>
                  </a:lnTo>
                  <a:lnTo>
                    <a:pt x="636" y="697"/>
                  </a:lnTo>
                  <a:lnTo>
                    <a:pt x="635" y="697"/>
                  </a:lnTo>
                  <a:lnTo>
                    <a:pt x="634" y="697"/>
                  </a:lnTo>
                  <a:lnTo>
                    <a:pt x="630" y="697"/>
                  </a:lnTo>
                  <a:lnTo>
                    <a:pt x="629" y="697"/>
                  </a:lnTo>
                  <a:lnTo>
                    <a:pt x="629" y="692"/>
                  </a:lnTo>
                  <a:lnTo>
                    <a:pt x="630" y="690"/>
                  </a:lnTo>
                  <a:lnTo>
                    <a:pt x="634" y="689"/>
                  </a:lnTo>
                  <a:lnTo>
                    <a:pt x="635" y="689"/>
                  </a:lnTo>
                  <a:lnTo>
                    <a:pt x="634" y="692"/>
                  </a:lnTo>
                  <a:lnTo>
                    <a:pt x="635" y="692"/>
                  </a:lnTo>
                  <a:lnTo>
                    <a:pt x="637" y="689"/>
                  </a:lnTo>
                  <a:lnTo>
                    <a:pt x="637" y="690"/>
                  </a:lnTo>
                  <a:lnTo>
                    <a:pt x="639" y="692"/>
                  </a:lnTo>
                  <a:lnTo>
                    <a:pt x="640" y="692"/>
                  </a:lnTo>
                  <a:lnTo>
                    <a:pt x="640" y="691"/>
                  </a:lnTo>
                  <a:lnTo>
                    <a:pt x="641" y="690"/>
                  </a:lnTo>
                  <a:lnTo>
                    <a:pt x="641" y="694"/>
                  </a:lnTo>
                  <a:lnTo>
                    <a:pt x="642" y="695"/>
                  </a:lnTo>
                  <a:lnTo>
                    <a:pt x="642" y="698"/>
                  </a:lnTo>
                  <a:lnTo>
                    <a:pt x="645" y="700"/>
                  </a:lnTo>
                  <a:lnTo>
                    <a:pt x="645" y="701"/>
                  </a:lnTo>
                  <a:lnTo>
                    <a:pt x="646" y="701"/>
                  </a:lnTo>
                  <a:lnTo>
                    <a:pt x="646" y="697"/>
                  </a:lnTo>
                  <a:lnTo>
                    <a:pt x="646" y="695"/>
                  </a:lnTo>
                  <a:lnTo>
                    <a:pt x="647" y="692"/>
                  </a:lnTo>
                  <a:lnTo>
                    <a:pt x="648" y="691"/>
                  </a:lnTo>
                  <a:lnTo>
                    <a:pt x="649" y="690"/>
                  </a:lnTo>
                  <a:lnTo>
                    <a:pt x="652" y="692"/>
                  </a:lnTo>
                  <a:lnTo>
                    <a:pt x="653" y="694"/>
                  </a:lnTo>
                  <a:lnTo>
                    <a:pt x="655" y="697"/>
                  </a:lnTo>
                  <a:lnTo>
                    <a:pt x="657" y="697"/>
                  </a:lnTo>
                  <a:lnTo>
                    <a:pt x="658" y="698"/>
                  </a:lnTo>
                  <a:lnTo>
                    <a:pt x="659" y="696"/>
                  </a:lnTo>
                  <a:lnTo>
                    <a:pt x="659" y="695"/>
                  </a:lnTo>
                  <a:lnTo>
                    <a:pt x="659" y="697"/>
                  </a:lnTo>
                  <a:lnTo>
                    <a:pt x="661" y="698"/>
                  </a:lnTo>
                  <a:lnTo>
                    <a:pt x="661" y="700"/>
                  </a:lnTo>
                  <a:lnTo>
                    <a:pt x="663" y="700"/>
                  </a:lnTo>
                  <a:lnTo>
                    <a:pt x="664" y="696"/>
                  </a:lnTo>
                  <a:lnTo>
                    <a:pt x="664" y="692"/>
                  </a:lnTo>
                  <a:lnTo>
                    <a:pt x="664" y="694"/>
                  </a:lnTo>
                  <a:lnTo>
                    <a:pt x="665" y="692"/>
                  </a:lnTo>
                  <a:lnTo>
                    <a:pt x="666" y="691"/>
                  </a:lnTo>
                  <a:lnTo>
                    <a:pt x="667" y="691"/>
                  </a:lnTo>
                  <a:lnTo>
                    <a:pt x="669" y="695"/>
                  </a:lnTo>
                  <a:lnTo>
                    <a:pt x="670" y="697"/>
                  </a:lnTo>
                  <a:lnTo>
                    <a:pt x="670" y="702"/>
                  </a:lnTo>
                  <a:lnTo>
                    <a:pt x="672" y="705"/>
                  </a:lnTo>
                  <a:lnTo>
                    <a:pt x="673" y="703"/>
                  </a:lnTo>
                  <a:lnTo>
                    <a:pt x="673" y="700"/>
                  </a:lnTo>
                  <a:lnTo>
                    <a:pt x="673" y="695"/>
                  </a:lnTo>
                  <a:lnTo>
                    <a:pt x="675" y="691"/>
                  </a:lnTo>
                  <a:lnTo>
                    <a:pt x="676" y="692"/>
                  </a:lnTo>
                  <a:lnTo>
                    <a:pt x="676" y="696"/>
                  </a:lnTo>
                  <a:lnTo>
                    <a:pt x="676" y="700"/>
                  </a:lnTo>
                  <a:lnTo>
                    <a:pt x="676" y="702"/>
                  </a:lnTo>
                  <a:lnTo>
                    <a:pt x="677" y="701"/>
                  </a:lnTo>
                  <a:lnTo>
                    <a:pt x="678" y="698"/>
                  </a:lnTo>
                  <a:lnTo>
                    <a:pt x="679" y="695"/>
                  </a:lnTo>
                  <a:lnTo>
                    <a:pt x="681" y="692"/>
                  </a:lnTo>
                  <a:lnTo>
                    <a:pt x="683" y="695"/>
                  </a:lnTo>
                  <a:lnTo>
                    <a:pt x="685" y="696"/>
                  </a:lnTo>
                  <a:lnTo>
                    <a:pt x="687" y="696"/>
                  </a:lnTo>
                  <a:lnTo>
                    <a:pt x="688" y="696"/>
                  </a:lnTo>
                  <a:lnTo>
                    <a:pt x="690" y="697"/>
                  </a:lnTo>
                  <a:lnTo>
                    <a:pt x="692" y="701"/>
                  </a:lnTo>
                  <a:lnTo>
                    <a:pt x="693" y="705"/>
                  </a:lnTo>
                  <a:lnTo>
                    <a:pt x="694" y="707"/>
                  </a:lnTo>
                  <a:lnTo>
                    <a:pt x="695" y="706"/>
                  </a:lnTo>
                  <a:lnTo>
                    <a:pt x="696" y="706"/>
                  </a:lnTo>
                  <a:lnTo>
                    <a:pt x="696" y="703"/>
                  </a:lnTo>
                  <a:lnTo>
                    <a:pt x="698" y="700"/>
                  </a:lnTo>
                  <a:lnTo>
                    <a:pt x="700" y="701"/>
                  </a:lnTo>
                  <a:lnTo>
                    <a:pt x="701" y="702"/>
                  </a:lnTo>
                  <a:lnTo>
                    <a:pt x="702" y="701"/>
                  </a:lnTo>
                  <a:lnTo>
                    <a:pt x="700" y="697"/>
                  </a:lnTo>
                  <a:lnTo>
                    <a:pt x="698" y="692"/>
                  </a:lnTo>
                  <a:lnTo>
                    <a:pt x="695" y="690"/>
                  </a:lnTo>
                  <a:lnTo>
                    <a:pt x="694" y="686"/>
                  </a:lnTo>
                  <a:lnTo>
                    <a:pt x="693" y="683"/>
                  </a:lnTo>
                  <a:lnTo>
                    <a:pt x="693" y="679"/>
                  </a:lnTo>
                  <a:lnTo>
                    <a:pt x="694" y="680"/>
                  </a:lnTo>
                  <a:lnTo>
                    <a:pt x="695" y="686"/>
                  </a:lnTo>
                  <a:lnTo>
                    <a:pt x="696" y="684"/>
                  </a:lnTo>
                  <a:lnTo>
                    <a:pt x="696" y="680"/>
                  </a:lnTo>
                  <a:lnTo>
                    <a:pt x="698" y="679"/>
                  </a:lnTo>
                  <a:lnTo>
                    <a:pt x="699" y="676"/>
                  </a:lnTo>
                  <a:lnTo>
                    <a:pt x="698" y="673"/>
                  </a:lnTo>
                  <a:lnTo>
                    <a:pt x="695" y="670"/>
                  </a:lnTo>
                  <a:lnTo>
                    <a:pt x="694" y="667"/>
                  </a:lnTo>
                  <a:lnTo>
                    <a:pt x="695" y="666"/>
                  </a:lnTo>
                  <a:lnTo>
                    <a:pt x="699" y="667"/>
                  </a:lnTo>
                  <a:lnTo>
                    <a:pt x="700" y="667"/>
                  </a:lnTo>
                  <a:lnTo>
                    <a:pt x="700" y="676"/>
                  </a:lnTo>
                  <a:lnTo>
                    <a:pt x="701" y="682"/>
                  </a:lnTo>
                  <a:lnTo>
                    <a:pt x="702" y="683"/>
                  </a:lnTo>
                  <a:lnTo>
                    <a:pt x="702" y="680"/>
                  </a:lnTo>
                  <a:lnTo>
                    <a:pt x="702" y="677"/>
                  </a:lnTo>
                  <a:lnTo>
                    <a:pt x="704" y="672"/>
                  </a:lnTo>
                  <a:lnTo>
                    <a:pt x="704" y="668"/>
                  </a:lnTo>
                  <a:lnTo>
                    <a:pt x="705" y="672"/>
                  </a:lnTo>
                  <a:lnTo>
                    <a:pt x="705" y="676"/>
                  </a:lnTo>
                  <a:lnTo>
                    <a:pt x="706" y="678"/>
                  </a:lnTo>
                  <a:lnTo>
                    <a:pt x="706" y="680"/>
                  </a:lnTo>
                  <a:lnTo>
                    <a:pt x="706" y="685"/>
                  </a:lnTo>
                  <a:lnTo>
                    <a:pt x="706" y="686"/>
                  </a:lnTo>
                  <a:lnTo>
                    <a:pt x="708" y="686"/>
                  </a:lnTo>
                  <a:lnTo>
                    <a:pt x="710" y="683"/>
                  </a:lnTo>
                  <a:lnTo>
                    <a:pt x="710" y="678"/>
                  </a:lnTo>
                  <a:lnTo>
                    <a:pt x="710" y="676"/>
                  </a:lnTo>
                  <a:lnTo>
                    <a:pt x="711" y="674"/>
                  </a:lnTo>
                  <a:lnTo>
                    <a:pt x="712" y="673"/>
                  </a:lnTo>
                  <a:lnTo>
                    <a:pt x="713" y="677"/>
                  </a:lnTo>
                  <a:lnTo>
                    <a:pt x="716" y="677"/>
                  </a:lnTo>
                  <a:lnTo>
                    <a:pt x="716" y="674"/>
                  </a:lnTo>
                  <a:lnTo>
                    <a:pt x="716" y="673"/>
                  </a:lnTo>
                  <a:lnTo>
                    <a:pt x="718" y="673"/>
                  </a:lnTo>
                  <a:lnTo>
                    <a:pt x="719" y="676"/>
                  </a:lnTo>
                  <a:lnTo>
                    <a:pt x="720" y="674"/>
                  </a:lnTo>
                  <a:lnTo>
                    <a:pt x="720" y="672"/>
                  </a:lnTo>
                  <a:lnTo>
                    <a:pt x="719" y="670"/>
                  </a:lnTo>
                  <a:lnTo>
                    <a:pt x="716" y="671"/>
                  </a:lnTo>
                  <a:lnTo>
                    <a:pt x="713" y="670"/>
                  </a:lnTo>
                  <a:lnTo>
                    <a:pt x="711" y="667"/>
                  </a:lnTo>
                  <a:lnTo>
                    <a:pt x="707" y="665"/>
                  </a:lnTo>
                  <a:lnTo>
                    <a:pt x="706" y="665"/>
                  </a:lnTo>
                  <a:lnTo>
                    <a:pt x="702" y="665"/>
                  </a:lnTo>
                  <a:lnTo>
                    <a:pt x="700" y="664"/>
                  </a:lnTo>
                  <a:lnTo>
                    <a:pt x="695" y="662"/>
                  </a:lnTo>
                  <a:lnTo>
                    <a:pt x="692" y="662"/>
                  </a:lnTo>
                  <a:lnTo>
                    <a:pt x="690" y="661"/>
                  </a:lnTo>
                  <a:lnTo>
                    <a:pt x="689" y="661"/>
                  </a:lnTo>
                  <a:lnTo>
                    <a:pt x="685" y="660"/>
                  </a:lnTo>
                  <a:lnTo>
                    <a:pt x="679" y="659"/>
                  </a:lnTo>
                  <a:lnTo>
                    <a:pt x="681" y="658"/>
                  </a:lnTo>
                  <a:lnTo>
                    <a:pt x="679" y="658"/>
                  </a:lnTo>
                  <a:lnTo>
                    <a:pt x="677" y="659"/>
                  </a:lnTo>
                  <a:lnTo>
                    <a:pt x="676" y="659"/>
                  </a:lnTo>
                  <a:lnTo>
                    <a:pt x="672" y="658"/>
                  </a:lnTo>
                  <a:lnTo>
                    <a:pt x="673" y="655"/>
                  </a:lnTo>
                  <a:lnTo>
                    <a:pt x="671" y="656"/>
                  </a:lnTo>
                  <a:lnTo>
                    <a:pt x="669" y="658"/>
                  </a:lnTo>
                  <a:lnTo>
                    <a:pt x="665" y="656"/>
                  </a:lnTo>
                  <a:lnTo>
                    <a:pt x="657" y="655"/>
                  </a:lnTo>
                  <a:lnTo>
                    <a:pt x="651" y="654"/>
                  </a:lnTo>
                  <a:lnTo>
                    <a:pt x="646" y="654"/>
                  </a:lnTo>
                  <a:lnTo>
                    <a:pt x="641" y="654"/>
                  </a:lnTo>
                  <a:lnTo>
                    <a:pt x="639" y="653"/>
                  </a:lnTo>
                  <a:lnTo>
                    <a:pt x="640" y="652"/>
                  </a:lnTo>
                  <a:lnTo>
                    <a:pt x="642" y="650"/>
                  </a:lnTo>
                  <a:lnTo>
                    <a:pt x="641" y="649"/>
                  </a:lnTo>
                  <a:lnTo>
                    <a:pt x="641" y="647"/>
                  </a:lnTo>
                  <a:lnTo>
                    <a:pt x="639" y="644"/>
                  </a:lnTo>
                  <a:lnTo>
                    <a:pt x="637" y="642"/>
                  </a:lnTo>
                  <a:lnTo>
                    <a:pt x="640" y="640"/>
                  </a:lnTo>
                  <a:lnTo>
                    <a:pt x="641" y="636"/>
                  </a:lnTo>
                  <a:lnTo>
                    <a:pt x="641" y="635"/>
                  </a:lnTo>
                  <a:lnTo>
                    <a:pt x="642" y="635"/>
                  </a:lnTo>
                  <a:lnTo>
                    <a:pt x="642" y="637"/>
                  </a:lnTo>
                  <a:lnTo>
                    <a:pt x="646" y="638"/>
                  </a:lnTo>
                  <a:lnTo>
                    <a:pt x="646" y="642"/>
                  </a:lnTo>
                  <a:lnTo>
                    <a:pt x="647" y="647"/>
                  </a:lnTo>
                  <a:lnTo>
                    <a:pt x="648" y="649"/>
                  </a:lnTo>
                  <a:lnTo>
                    <a:pt x="649" y="648"/>
                  </a:lnTo>
                  <a:lnTo>
                    <a:pt x="651" y="648"/>
                  </a:lnTo>
                  <a:lnTo>
                    <a:pt x="653" y="647"/>
                  </a:lnTo>
                  <a:lnTo>
                    <a:pt x="653" y="646"/>
                  </a:lnTo>
                  <a:lnTo>
                    <a:pt x="654" y="642"/>
                  </a:lnTo>
                  <a:lnTo>
                    <a:pt x="654" y="646"/>
                  </a:lnTo>
                  <a:lnTo>
                    <a:pt x="655" y="647"/>
                  </a:lnTo>
                  <a:lnTo>
                    <a:pt x="655" y="644"/>
                  </a:lnTo>
                  <a:lnTo>
                    <a:pt x="657" y="643"/>
                  </a:lnTo>
                  <a:lnTo>
                    <a:pt x="659" y="643"/>
                  </a:lnTo>
                  <a:lnTo>
                    <a:pt x="663" y="646"/>
                  </a:lnTo>
                  <a:lnTo>
                    <a:pt x="663" y="644"/>
                  </a:lnTo>
                  <a:lnTo>
                    <a:pt x="661" y="642"/>
                  </a:lnTo>
                  <a:lnTo>
                    <a:pt x="658" y="640"/>
                  </a:lnTo>
                  <a:lnTo>
                    <a:pt x="657" y="637"/>
                  </a:lnTo>
                  <a:lnTo>
                    <a:pt x="657" y="635"/>
                  </a:lnTo>
                  <a:lnTo>
                    <a:pt x="658" y="631"/>
                  </a:lnTo>
                  <a:lnTo>
                    <a:pt x="659" y="629"/>
                  </a:lnTo>
                  <a:lnTo>
                    <a:pt x="661" y="629"/>
                  </a:lnTo>
                  <a:lnTo>
                    <a:pt x="663" y="629"/>
                  </a:lnTo>
                  <a:lnTo>
                    <a:pt x="663" y="630"/>
                  </a:lnTo>
                  <a:lnTo>
                    <a:pt x="664" y="630"/>
                  </a:lnTo>
                  <a:lnTo>
                    <a:pt x="667" y="628"/>
                  </a:lnTo>
                  <a:lnTo>
                    <a:pt x="670" y="624"/>
                  </a:lnTo>
                  <a:lnTo>
                    <a:pt x="669" y="628"/>
                  </a:lnTo>
                  <a:lnTo>
                    <a:pt x="667" y="631"/>
                  </a:lnTo>
                  <a:lnTo>
                    <a:pt x="667" y="632"/>
                  </a:lnTo>
                  <a:lnTo>
                    <a:pt x="669" y="637"/>
                  </a:lnTo>
                  <a:lnTo>
                    <a:pt x="671" y="638"/>
                  </a:lnTo>
                  <a:lnTo>
                    <a:pt x="670" y="641"/>
                  </a:lnTo>
                  <a:lnTo>
                    <a:pt x="670" y="643"/>
                  </a:lnTo>
                  <a:lnTo>
                    <a:pt x="671" y="642"/>
                  </a:lnTo>
                  <a:lnTo>
                    <a:pt x="672" y="644"/>
                  </a:lnTo>
                  <a:lnTo>
                    <a:pt x="675" y="644"/>
                  </a:lnTo>
                  <a:lnTo>
                    <a:pt x="676" y="643"/>
                  </a:lnTo>
                  <a:lnTo>
                    <a:pt x="677" y="643"/>
                  </a:lnTo>
                  <a:lnTo>
                    <a:pt x="679" y="644"/>
                  </a:lnTo>
                  <a:lnTo>
                    <a:pt x="682" y="643"/>
                  </a:lnTo>
                  <a:lnTo>
                    <a:pt x="682" y="641"/>
                  </a:lnTo>
                  <a:lnTo>
                    <a:pt x="682" y="638"/>
                  </a:lnTo>
                  <a:lnTo>
                    <a:pt x="684" y="640"/>
                  </a:lnTo>
                  <a:lnTo>
                    <a:pt x="688" y="637"/>
                  </a:lnTo>
                  <a:lnTo>
                    <a:pt x="685" y="636"/>
                  </a:lnTo>
                  <a:lnTo>
                    <a:pt x="682" y="634"/>
                  </a:lnTo>
                  <a:lnTo>
                    <a:pt x="678" y="630"/>
                  </a:lnTo>
                  <a:lnTo>
                    <a:pt x="677" y="628"/>
                  </a:lnTo>
                  <a:lnTo>
                    <a:pt x="676" y="624"/>
                  </a:lnTo>
                  <a:lnTo>
                    <a:pt x="673" y="620"/>
                  </a:lnTo>
                  <a:lnTo>
                    <a:pt x="675" y="619"/>
                  </a:lnTo>
                  <a:lnTo>
                    <a:pt x="672" y="618"/>
                  </a:lnTo>
                  <a:lnTo>
                    <a:pt x="671" y="618"/>
                  </a:lnTo>
                  <a:lnTo>
                    <a:pt x="669" y="616"/>
                  </a:lnTo>
                  <a:lnTo>
                    <a:pt x="666" y="614"/>
                  </a:lnTo>
                  <a:lnTo>
                    <a:pt x="664" y="613"/>
                  </a:lnTo>
                  <a:lnTo>
                    <a:pt x="660" y="612"/>
                  </a:lnTo>
                  <a:lnTo>
                    <a:pt x="655" y="611"/>
                  </a:lnTo>
                  <a:lnTo>
                    <a:pt x="649" y="610"/>
                  </a:lnTo>
                  <a:lnTo>
                    <a:pt x="647" y="610"/>
                  </a:lnTo>
                  <a:lnTo>
                    <a:pt x="646" y="606"/>
                  </a:lnTo>
                  <a:lnTo>
                    <a:pt x="647" y="605"/>
                  </a:lnTo>
                  <a:lnTo>
                    <a:pt x="649" y="604"/>
                  </a:lnTo>
                  <a:lnTo>
                    <a:pt x="648" y="602"/>
                  </a:lnTo>
                  <a:lnTo>
                    <a:pt x="649" y="599"/>
                  </a:lnTo>
                  <a:lnTo>
                    <a:pt x="651" y="599"/>
                  </a:lnTo>
                  <a:lnTo>
                    <a:pt x="653" y="600"/>
                  </a:lnTo>
                  <a:lnTo>
                    <a:pt x="654" y="605"/>
                  </a:lnTo>
                  <a:lnTo>
                    <a:pt x="655" y="605"/>
                  </a:lnTo>
                  <a:lnTo>
                    <a:pt x="657" y="605"/>
                  </a:lnTo>
                  <a:lnTo>
                    <a:pt x="654" y="601"/>
                  </a:lnTo>
                  <a:lnTo>
                    <a:pt x="655" y="599"/>
                  </a:lnTo>
                  <a:lnTo>
                    <a:pt x="658" y="599"/>
                  </a:lnTo>
                  <a:lnTo>
                    <a:pt x="660" y="599"/>
                  </a:lnTo>
                  <a:lnTo>
                    <a:pt x="658" y="598"/>
                  </a:lnTo>
                  <a:lnTo>
                    <a:pt x="657" y="596"/>
                  </a:lnTo>
                  <a:lnTo>
                    <a:pt x="654" y="594"/>
                  </a:lnTo>
                  <a:lnTo>
                    <a:pt x="652" y="595"/>
                  </a:lnTo>
                  <a:lnTo>
                    <a:pt x="649" y="594"/>
                  </a:lnTo>
                  <a:lnTo>
                    <a:pt x="648" y="595"/>
                  </a:lnTo>
                  <a:lnTo>
                    <a:pt x="646" y="595"/>
                  </a:lnTo>
                  <a:lnTo>
                    <a:pt x="643" y="594"/>
                  </a:lnTo>
                  <a:lnTo>
                    <a:pt x="641" y="593"/>
                  </a:lnTo>
                  <a:lnTo>
                    <a:pt x="640" y="593"/>
                  </a:lnTo>
                  <a:lnTo>
                    <a:pt x="637" y="591"/>
                  </a:lnTo>
                  <a:lnTo>
                    <a:pt x="636" y="590"/>
                  </a:lnTo>
                  <a:lnTo>
                    <a:pt x="635" y="588"/>
                  </a:lnTo>
                  <a:lnTo>
                    <a:pt x="634" y="585"/>
                  </a:lnTo>
                  <a:lnTo>
                    <a:pt x="633" y="584"/>
                  </a:lnTo>
                  <a:lnTo>
                    <a:pt x="631" y="587"/>
                  </a:lnTo>
                  <a:lnTo>
                    <a:pt x="630" y="585"/>
                  </a:lnTo>
                  <a:lnTo>
                    <a:pt x="630" y="581"/>
                  </a:lnTo>
                  <a:lnTo>
                    <a:pt x="631" y="581"/>
                  </a:lnTo>
                  <a:lnTo>
                    <a:pt x="633" y="581"/>
                  </a:lnTo>
                  <a:lnTo>
                    <a:pt x="630" y="578"/>
                  </a:lnTo>
                  <a:lnTo>
                    <a:pt x="628" y="576"/>
                  </a:lnTo>
                  <a:lnTo>
                    <a:pt x="623" y="569"/>
                  </a:lnTo>
                  <a:lnTo>
                    <a:pt x="620" y="567"/>
                  </a:lnTo>
                  <a:lnTo>
                    <a:pt x="618" y="565"/>
                  </a:lnTo>
                  <a:lnTo>
                    <a:pt x="618" y="563"/>
                  </a:lnTo>
                  <a:lnTo>
                    <a:pt x="620" y="560"/>
                  </a:lnTo>
                  <a:lnTo>
                    <a:pt x="623" y="559"/>
                  </a:lnTo>
                  <a:lnTo>
                    <a:pt x="623" y="561"/>
                  </a:lnTo>
                  <a:lnTo>
                    <a:pt x="623" y="564"/>
                  </a:lnTo>
                  <a:lnTo>
                    <a:pt x="625" y="564"/>
                  </a:lnTo>
                  <a:lnTo>
                    <a:pt x="625" y="565"/>
                  </a:lnTo>
                  <a:lnTo>
                    <a:pt x="625" y="569"/>
                  </a:lnTo>
                  <a:lnTo>
                    <a:pt x="626" y="570"/>
                  </a:lnTo>
                  <a:lnTo>
                    <a:pt x="626" y="572"/>
                  </a:lnTo>
                  <a:lnTo>
                    <a:pt x="628" y="572"/>
                  </a:lnTo>
                  <a:lnTo>
                    <a:pt x="629" y="571"/>
                  </a:lnTo>
                  <a:lnTo>
                    <a:pt x="630" y="567"/>
                  </a:lnTo>
                  <a:lnTo>
                    <a:pt x="630" y="566"/>
                  </a:lnTo>
                  <a:lnTo>
                    <a:pt x="629" y="564"/>
                  </a:lnTo>
                  <a:lnTo>
                    <a:pt x="630" y="561"/>
                  </a:lnTo>
                  <a:lnTo>
                    <a:pt x="631" y="561"/>
                  </a:lnTo>
                  <a:lnTo>
                    <a:pt x="633" y="564"/>
                  </a:lnTo>
                  <a:lnTo>
                    <a:pt x="634" y="565"/>
                  </a:lnTo>
                  <a:lnTo>
                    <a:pt x="634" y="570"/>
                  </a:lnTo>
                  <a:lnTo>
                    <a:pt x="635" y="573"/>
                  </a:lnTo>
                  <a:lnTo>
                    <a:pt x="636" y="571"/>
                  </a:lnTo>
                  <a:lnTo>
                    <a:pt x="636" y="570"/>
                  </a:lnTo>
                  <a:lnTo>
                    <a:pt x="636" y="565"/>
                  </a:lnTo>
                  <a:lnTo>
                    <a:pt x="637" y="566"/>
                  </a:lnTo>
                  <a:lnTo>
                    <a:pt x="639" y="567"/>
                  </a:lnTo>
                  <a:lnTo>
                    <a:pt x="639" y="565"/>
                  </a:lnTo>
                  <a:lnTo>
                    <a:pt x="641" y="567"/>
                  </a:lnTo>
                  <a:lnTo>
                    <a:pt x="641" y="570"/>
                  </a:lnTo>
                  <a:lnTo>
                    <a:pt x="642" y="571"/>
                  </a:lnTo>
                  <a:lnTo>
                    <a:pt x="643" y="570"/>
                  </a:lnTo>
                  <a:lnTo>
                    <a:pt x="643" y="565"/>
                  </a:lnTo>
                  <a:lnTo>
                    <a:pt x="643" y="561"/>
                  </a:lnTo>
                  <a:lnTo>
                    <a:pt x="645" y="561"/>
                  </a:lnTo>
                  <a:lnTo>
                    <a:pt x="647" y="563"/>
                  </a:lnTo>
                  <a:lnTo>
                    <a:pt x="646" y="567"/>
                  </a:lnTo>
                  <a:lnTo>
                    <a:pt x="645" y="570"/>
                  </a:lnTo>
                  <a:lnTo>
                    <a:pt x="646" y="571"/>
                  </a:lnTo>
                  <a:lnTo>
                    <a:pt x="646" y="576"/>
                  </a:lnTo>
                  <a:lnTo>
                    <a:pt x="646" y="577"/>
                  </a:lnTo>
                  <a:lnTo>
                    <a:pt x="647" y="578"/>
                  </a:lnTo>
                  <a:lnTo>
                    <a:pt x="648" y="579"/>
                  </a:lnTo>
                  <a:lnTo>
                    <a:pt x="649" y="577"/>
                  </a:lnTo>
                  <a:lnTo>
                    <a:pt x="649" y="581"/>
                  </a:lnTo>
                  <a:lnTo>
                    <a:pt x="652" y="581"/>
                  </a:lnTo>
                  <a:lnTo>
                    <a:pt x="653" y="582"/>
                  </a:lnTo>
                  <a:lnTo>
                    <a:pt x="653" y="577"/>
                  </a:lnTo>
                  <a:lnTo>
                    <a:pt x="653" y="573"/>
                  </a:lnTo>
                  <a:lnTo>
                    <a:pt x="653" y="571"/>
                  </a:lnTo>
                  <a:lnTo>
                    <a:pt x="651" y="567"/>
                  </a:lnTo>
                  <a:lnTo>
                    <a:pt x="651" y="566"/>
                  </a:lnTo>
                  <a:lnTo>
                    <a:pt x="649" y="561"/>
                  </a:lnTo>
                  <a:lnTo>
                    <a:pt x="649" y="557"/>
                  </a:lnTo>
                  <a:lnTo>
                    <a:pt x="649" y="551"/>
                  </a:lnTo>
                  <a:lnTo>
                    <a:pt x="651" y="551"/>
                  </a:lnTo>
                  <a:lnTo>
                    <a:pt x="653" y="551"/>
                  </a:lnTo>
                  <a:lnTo>
                    <a:pt x="653" y="554"/>
                  </a:lnTo>
                  <a:lnTo>
                    <a:pt x="653" y="557"/>
                  </a:lnTo>
                  <a:lnTo>
                    <a:pt x="655" y="557"/>
                  </a:lnTo>
                  <a:lnTo>
                    <a:pt x="657" y="555"/>
                  </a:lnTo>
                  <a:lnTo>
                    <a:pt x="657" y="552"/>
                  </a:lnTo>
                  <a:lnTo>
                    <a:pt x="659" y="548"/>
                  </a:lnTo>
                  <a:lnTo>
                    <a:pt x="660" y="547"/>
                  </a:lnTo>
                  <a:lnTo>
                    <a:pt x="659" y="554"/>
                  </a:lnTo>
                  <a:lnTo>
                    <a:pt x="660" y="557"/>
                  </a:lnTo>
                  <a:lnTo>
                    <a:pt x="663" y="555"/>
                  </a:lnTo>
                  <a:lnTo>
                    <a:pt x="664" y="552"/>
                  </a:lnTo>
                  <a:lnTo>
                    <a:pt x="664" y="548"/>
                  </a:lnTo>
                  <a:lnTo>
                    <a:pt x="665" y="546"/>
                  </a:lnTo>
                  <a:lnTo>
                    <a:pt x="665" y="549"/>
                  </a:lnTo>
                  <a:lnTo>
                    <a:pt x="665" y="555"/>
                  </a:lnTo>
                  <a:lnTo>
                    <a:pt x="666" y="558"/>
                  </a:lnTo>
                  <a:lnTo>
                    <a:pt x="667" y="557"/>
                  </a:lnTo>
                  <a:lnTo>
                    <a:pt x="669" y="552"/>
                  </a:lnTo>
                  <a:lnTo>
                    <a:pt x="669" y="548"/>
                  </a:lnTo>
                  <a:lnTo>
                    <a:pt x="669" y="545"/>
                  </a:lnTo>
                  <a:lnTo>
                    <a:pt x="669" y="541"/>
                  </a:lnTo>
                  <a:lnTo>
                    <a:pt x="667" y="536"/>
                  </a:lnTo>
                  <a:lnTo>
                    <a:pt x="669" y="536"/>
                  </a:lnTo>
                  <a:lnTo>
                    <a:pt x="671" y="536"/>
                  </a:lnTo>
                  <a:lnTo>
                    <a:pt x="673" y="537"/>
                  </a:lnTo>
                  <a:lnTo>
                    <a:pt x="672" y="535"/>
                  </a:lnTo>
                  <a:lnTo>
                    <a:pt x="672" y="533"/>
                  </a:lnTo>
                  <a:lnTo>
                    <a:pt x="675" y="533"/>
                  </a:lnTo>
                  <a:lnTo>
                    <a:pt x="676" y="533"/>
                  </a:lnTo>
                  <a:lnTo>
                    <a:pt x="677" y="531"/>
                  </a:lnTo>
                  <a:lnTo>
                    <a:pt x="675" y="531"/>
                  </a:lnTo>
                  <a:lnTo>
                    <a:pt x="673" y="529"/>
                  </a:lnTo>
                  <a:lnTo>
                    <a:pt x="672" y="528"/>
                  </a:lnTo>
                  <a:lnTo>
                    <a:pt x="671" y="528"/>
                  </a:lnTo>
                  <a:lnTo>
                    <a:pt x="671" y="530"/>
                  </a:lnTo>
                  <a:lnTo>
                    <a:pt x="669" y="531"/>
                  </a:lnTo>
                  <a:lnTo>
                    <a:pt x="669" y="530"/>
                  </a:lnTo>
                  <a:lnTo>
                    <a:pt x="667" y="530"/>
                  </a:lnTo>
                  <a:lnTo>
                    <a:pt x="666" y="531"/>
                  </a:lnTo>
                  <a:lnTo>
                    <a:pt x="665" y="531"/>
                  </a:lnTo>
                  <a:lnTo>
                    <a:pt x="663" y="531"/>
                  </a:lnTo>
                  <a:lnTo>
                    <a:pt x="663" y="530"/>
                  </a:lnTo>
                  <a:lnTo>
                    <a:pt x="661" y="530"/>
                  </a:lnTo>
                  <a:lnTo>
                    <a:pt x="661" y="534"/>
                  </a:lnTo>
                  <a:lnTo>
                    <a:pt x="659" y="534"/>
                  </a:lnTo>
                  <a:lnTo>
                    <a:pt x="658" y="533"/>
                  </a:lnTo>
                  <a:lnTo>
                    <a:pt x="657" y="534"/>
                  </a:lnTo>
                  <a:lnTo>
                    <a:pt x="655" y="535"/>
                  </a:lnTo>
                  <a:lnTo>
                    <a:pt x="653" y="537"/>
                  </a:lnTo>
                  <a:lnTo>
                    <a:pt x="652" y="539"/>
                  </a:lnTo>
                  <a:lnTo>
                    <a:pt x="645" y="539"/>
                  </a:lnTo>
                  <a:lnTo>
                    <a:pt x="641" y="539"/>
                  </a:lnTo>
                  <a:lnTo>
                    <a:pt x="637" y="540"/>
                  </a:lnTo>
                  <a:lnTo>
                    <a:pt x="633" y="541"/>
                  </a:lnTo>
                  <a:lnTo>
                    <a:pt x="626" y="541"/>
                  </a:lnTo>
                  <a:lnTo>
                    <a:pt x="623" y="541"/>
                  </a:lnTo>
                  <a:lnTo>
                    <a:pt x="618" y="542"/>
                  </a:lnTo>
                  <a:lnTo>
                    <a:pt x="614" y="541"/>
                  </a:lnTo>
                  <a:lnTo>
                    <a:pt x="612" y="542"/>
                  </a:lnTo>
                  <a:lnTo>
                    <a:pt x="607" y="545"/>
                  </a:lnTo>
                  <a:lnTo>
                    <a:pt x="601" y="543"/>
                  </a:lnTo>
                  <a:lnTo>
                    <a:pt x="599" y="543"/>
                  </a:lnTo>
                  <a:lnTo>
                    <a:pt x="595" y="541"/>
                  </a:lnTo>
                  <a:lnTo>
                    <a:pt x="593" y="541"/>
                  </a:lnTo>
                  <a:lnTo>
                    <a:pt x="590" y="537"/>
                  </a:lnTo>
                  <a:lnTo>
                    <a:pt x="589" y="535"/>
                  </a:lnTo>
                  <a:lnTo>
                    <a:pt x="588" y="534"/>
                  </a:lnTo>
                  <a:lnTo>
                    <a:pt x="584" y="534"/>
                  </a:lnTo>
                  <a:lnTo>
                    <a:pt x="581" y="536"/>
                  </a:lnTo>
                  <a:lnTo>
                    <a:pt x="580" y="537"/>
                  </a:lnTo>
                  <a:lnTo>
                    <a:pt x="577" y="537"/>
                  </a:lnTo>
                  <a:lnTo>
                    <a:pt x="575" y="537"/>
                  </a:lnTo>
                  <a:lnTo>
                    <a:pt x="571" y="535"/>
                  </a:lnTo>
                  <a:lnTo>
                    <a:pt x="567" y="531"/>
                  </a:lnTo>
                  <a:lnTo>
                    <a:pt x="563" y="527"/>
                  </a:lnTo>
                  <a:lnTo>
                    <a:pt x="559" y="524"/>
                  </a:lnTo>
                  <a:lnTo>
                    <a:pt x="555" y="521"/>
                  </a:lnTo>
                  <a:lnTo>
                    <a:pt x="552" y="516"/>
                  </a:lnTo>
                  <a:lnTo>
                    <a:pt x="552" y="515"/>
                  </a:lnTo>
                  <a:lnTo>
                    <a:pt x="555" y="515"/>
                  </a:lnTo>
                  <a:lnTo>
                    <a:pt x="555" y="513"/>
                  </a:lnTo>
                  <a:lnTo>
                    <a:pt x="553" y="512"/>
                  </a:lnTo>
                  <a:lnTo>
                    <a:pt x="552" y="510"/>
                  </a:lnTo>
                  <a:lnTo>
                    <a:pt x="551" y="505"/>
                  </a:lnTo>
                  <a:lnTo>
                    <a:pt x="552" y="505"/>
                  </a:lnTo>
                  <a:lnTo>
                    <a:pt x="553" y="507"/>
                  </a:lnTo>
                  <a:lnTo>
                    <a:pt x="554" y="510"/>
                  </a:lnTo>
                  <a:lnTo>
                    <a:pt x="557" y="511"/>
                  </a:lnTo>
                  <a:lnTo>
                    <a:pt x="557" y="510"/>
                  </a:lnTo>
                  <a:lnTo>
                    <a:pt x="559" y="507"/>
                  </a:lnTo>
                  <a:lnTo>
                    <a:pt x="560" y="507"/>
                  </a:lnTo>
                  <a:lnTo>
                    <a:pt x="559" y="510"/>
                  </a:lnTo>
                  <a:lnTo>
                    <a:pt x="560" y="512"/>
                  </a:lnTo>
                  <a:lnTo>
                    <a:pt x="559" y="518"/>
                  </a:lnTo>
                  <a:lnTo>
                    <a:pt x="561" y="521"/>
                  </a:lnTo>
                  <a:lnTo>
                    <a:pt x="561" y="518"/>
                  </a:lnTo>
                  <a:lnTo>
                    <a:pt x="563" y="515"/>
                  </a:lnTo>
                  <a:lnTo>
                    <a:pt x="564" y="513"/>
                  </a:lnTo>
                  <a:lnTo>
                    <a:pt x="565" y="515"/>
                  </a:lnTo>
                  <a:lnTo>
                    <a:pt x="565" y="513"/>
                  </a:lnTo>
                  <a:lnTo>
                    <a:pt x="566" y="511"/>
                  </a:lnTo>
                  <a:lnTo>
                    <a:pt x="569" y="510"/>
                  </a:lnTo>
                  <a:lnTo>
                    <a:pt x="569" y="511"/>
                  </a:lnTo>
                  <a:lnTo>
                    <a:pt x="570" y="516"/>
                  </a:lnTo>
                  <a:lnTo>
                    <a:pt x="570" y="517"/>
                  </a:lnTo>
                  <a:lnTo>
                    <a:pt x="571" y="518"/>
                  </a:lnTo>
                  <a:lnTo>
                    <a:pt x="572" y="517"/>
                  </a:lnTo>
                  <a:lnTo>
                    <a:pt x="572" y="512"/>
                  </a:lnTo>
                  <a:lnTo>
                    <a:pt x="574" y="510"/>
                  </a:lnTo>
                  <a:lnTo>
                    <a:pt x="575" y="511"/>
                  </a:lnTo>
                  <a:lnTo>
                    <a:pt x="575" y="513"/>
                  </a:lnTo>
                  <a:lnTo>
                    <a:pt x="576" y="509"/>
                  </a:lnTo>
                  <a:lnTo>
                    <a:pt x="577" y="507"/>
                  </a:lnTo>
                  <a:lnTo>
                    <a:pt x="577" y="515"/>
                  </a:lnTo>
                  <a:lnTo>
                    <a:pt x="577" y="518"/>
                  </a:lnTo>
                  <a:lnTo>
                    <a:pt x="580" y="517"/>
                  </a:lnTo>
                  <a:lnTo>
                    <a:pt x="582" y="512"/>
                  </a:lnTo>
                  <a:lnTo>
                    <a:pt x="584" y="510"/>
                  </a:lnTo>
                  <a:lnTo>
                    <a:pt x="584" y="516"/>
                  </a:lnTo>
                  <a:lnTo>
                    <a:pt x="583" y="519"/>
                  </a:lnTo>
                  <a:lnTo>
                    <a:pt x="586" y="517"/>
                  </a:lnTo>
                  <a:lnTo>
                    <a:pt x="587" y="513"/>
                  </a:lnTo>
                  <a:lnTo>
                    <a:pt x="588" y="510"/>
                  </a:lnTo>
                  <a:lnTo>
                    <a:pt x="590" y="506"/>
                  </a:lnTo>
                  <a:lnTo>
                    <a:pt x="589" y="515"/>
                  </a:lnTo>
                  <a:lnTo>
                    <a:pt x="588" y="518"/>
                  </a:lnTo>
                  <a:lnTo>
                    <a:pt x="592" y="516"/>
                  </a:lnTo>
                  <a:lnTo>
                    <a:pt x="593" y="512"/>
                  </a:lnTo>
                  <a:lnTo>
                    <a:pt x="592" y="518"/>
                  </a:lnTo>
                  <a:lnTo>
                    <a:pt x="592" y="521"/>
                  </a:lnTo>
                  <a:lnTo>
                    <a:pt x="594" y="521"/>
                  </a:lnTo>
                  <a:lnTo>
                    <a:pt x="594" y="517"/>
                  </a:lnTo>
                  <a:lnTo>
                    <a:pt x="595" y="516"/>
                  </a:lnTo>
                  <a:lnTo>
                    <a:pt x="599" y="516"/>
                  </a:lnTo>
                  <a:lnTo>
                    <a:pt x="600" y="513"/>
                  </a:lnTo>
                  <a:lnTo>
                    <a:pt x="600" y="516"/>
                  </a:lnTo>
                  <a:lnTo>
                    <a:pt x="598" y="519"/>
                  </a:lnTo>
                  <a:lnTo>
                    <a:pt x="598" y="522"/>
                  </a:lnTo>
                  <a:lnTo>
                    <a:pt x="601" y="518"/>
                  </a:lnTo>
                  <a:lnTo>
                    <a:pt x="602" y="517"/>
                  </a:lnTo>
                  <a:lnTo>
                    <a:pt x="604" y="523"/>
                  </a:lnTo>
                  <a:lnTo>
                    <a:pt x="606" y="525"/>
                  </a:lnTo>
                  <a:lnTo>
                    <a:pt x="607" y="527"/>
                  </a:lnTo>
                  <a:lnTo>
                    <a:pt x="611" y="525"/>
                  </a:lnTo>
                  <a:lnTo>
                    <a:pt x="611" y="524"/>
                  </a:lnTo>
                  <a:lnTo>
                    <a:pt x="612" y="525"/>
                  </a:lnTo>
                  <a:lnTo>
                    <a:pt x="611" y="528"/>
                  </a:lnTo>
                  <a:lnTo>
                    <a:pt x="611" y="531"/>
                  </a:lnTo>
                  <a:lnTo>
                    <a:pt x="612" y="535"/>
                  </a:lnTo>
                  <a:lnTo>
                    <a:pt x="613" y="535"/>
                  </a:lnTo>
                  <a:lnTo>
                    <a:pt x="613" y="531"/>
                  </a:lnTo>
                  <a:lnTo>
                    <a:pt x="614" y="529"/>
                  </a:lnTo>
                  <a:lnTo>
                    <a:pt x="616" y="525"/>
                  </a:lnTo>
                  <a:lnTo>
                    <a:pt x="616" y="528"/>
                  </a:lnTo>
                  <a:lnTo>
                    <a:pt x="617" y="529"/>
                  </a:lnTo>
                  <a:lnTo>
                    <a:pt x="618" y="527"/>
                  </a:lnTo>
                  <a:lnTo>
                    <a:pt x="619" y="523"/>
                  </a:lnTo>
                  <a:lnTo>
                    <a:pt x="620" y="518"/>
                  </a:lnTo>
                  <a:lnTo>
                    <a:pt x="619" y="525"/>
                  </a:lnTo>
                  <a:lnTo>
                    <a:pt x="620" y="530"/>
                  </a:lnTo>
                  <a:lnTo>
                    <a:pt x="620" y="533"/>
                  </a:lnTo>
                  <a:lnTo>
                    <a:pt x="623" y="535"/>
                  </a:lnTo>
                  <a:lnTo>
                    <a:pt x="624" y="536"/>
                  </a:lnTo>
                  <a:lnTo>
                    <a:pt x="626" y="535"/>
                  </a:lnTo>
                  <a:lnTo>
                    <a:pt x="628" y="533"/>
                  </a:lnTo>
                  <a:lnTo>
                    <a:pt x="628" y="529"/>
                  </a:lnTo>
                  <a:lnTo>
                    <a:pt x="628" y="525"/>
                  </a:lnTo>
                  <a:lnTo>
                    <a:pt x="629" y="529"/>
                  </a:lnTo>
                  <a:lnTo>
                    <a:pt x="629" y="531"/>
                  </a:lnTo>
                  <a:lnTo>
                    <a:pt x="630" y="529"/>
                  </a:lnTo>
                  <a:lnTo>
                    <a:pt x="633" y="529"/>
                  </a:lnTo>
                  <a:lnTo>
                    <a:pt x="633" y="533"/>
                  </a:lnTo>
                  <a:lnTo>
                    <a:pt x="634" y="535"/>
                  </a:lnTo>
                  <a:lnTo>
                    <a:pt x="635" y="533"/>
                  </a:lnTo>
                  <a:lnTo>
                    <a:pt x="635" y="530"/>
                  </a:lnTo>
                  <a:lnTo>
                    <a:pt x="641" y="534"/>
                  </a:lnTo>
                  <a:lnTo>
                    <a:pt x="640" y="531"/>
                  </a:lnTo>
                  <a:lnTo>
                    <a:pt x="637" y="530"/>
                  </a:lnTo>
                  <a:lnTo>
                    <a:pt x="640" y="528"/>
                  </a:lnTo>
                  <a:lnTo>
                    <a:pt x="637" y="528"/>
                  </a:lnTo>
                  <a:lnTo>
                    <a:pt x="634" y="528"/>
                  </a:lnTo>
                  <a:lnTo>
                    <a:pt x="631" y="527"/>
                  </a:lnTo>
                  <a:lnTo>
                    <a:pt x="636" y="525"/>
                  </a:lnTo>
                  <a:lnTo>
                    <a:pt x="635" y="524"/>
                  </a:lnTo>
                  <a:lnTo>
                    <a:pt x="631" y="524"/>
                  </a:lnTo>
                  <a:lnTo>
                    <a:pt x="629" y="524"/>
                  </a:lnTo>
                  <a:lnTo>
                    <a:pt x="628" y="522"/>
                  </a:lnTo>
                  <a:lnTo>
                    <a:pt x="629" y="521"/>
                  </a:lnTo>
                  <a:lnTo>
                    <a:pt x="628" y="519"/>
                  </a:lnTo>
                  <a:lnTo>
                    <a:pt x="626" y="518"/>
                  </a:lnTo>
                  <a:lnTo>
                    <a:pt x="624" y="517"/>
                  </a:lnTo>
                  <a:lnTo>
                    <a:pt x="620" y="515"/>
                  </a:lnTo>
                  <a:lnTo>
                    <a:pt x="620" y="513"/>
                  </a:lnTo>
                  <a:lnTo>
                    <a:pt x="620" y="512"/>
                  </a:lnTo>
                  <a:lnTo>
                    <a:pt x="618" y="510"/>
                  </a:lnTo>
                  <a:lnTo>
                    <a:pt x="617" y="507"/>
                  </a:lnTo>
                  <a:lnTo>
                    <a:pt x="614" y="506"/>
                  </a:lnTo>
                  <a:lnTo>
                    <a:pt x="612" y="504"/>
                  </a:lnTo>
                  <a:lnTo>
                    <a:pt x="612" y="501"/>
                  </a:lnTo>
                  <a:lnTo>
                    <a:pt x="613" y="500"/>
                  </a:lnTo>
                  <a:lnTo>
                    <a:pt x="614" y="498"/>
                  </a:lnTo>
                  <a:lnTo>
                    <a:pt x="616" y="500"/>
                  </a:lnTo>
                  <a:lnTo>
                    <a:pt x="617" y="504"/>
                  </a:lnTo>
                  <a:lnTo>
                    <a:pt x="618" y="505"/>
                  </a:lnTo>
                  <a:lnTo>
                    <a:pt x="619" y="507"/>
                  </a:lnTo>
                  <a:lnTo>
                    <a:pt x="620" y="506"/>
                  </a:lnTo>
                  <a:lnTo>
                    <a:pt x="620" y="504"/>
                  </a:lnTo>
                  <a:lnTo>
                    <a:pt x="622" y="504"/>
                  </a:lnTo>
                  <a:lnTo>
                    <a:pt x="623" y="503"/>
                  </a:lnTo>
                  <a:lnTo>
                    <a:pt x="623" y="501"/>
                  </a:lnTo>
                  <a:lnTo>
                    <a:pt x="624" y="500"/>
                  </a:lnTo>
                  <a:lnTo>
                    <a:pt x="622" y="499"/>
                  </a:lnTo>
                  <a:lnTo>
                    <a:pt x="619" y="498"/>
                  </a:lnTo>
                  <a:lnTo>
                    <a:pt x="616" y="494"/>
                  </a:lnTo>
                  <a:lnTo>
                    <a:pt x="620" y="494"/>
                  </a:lnTo>
                  <a:lnTo>
                    <a:pt x="622" y="493"/>
                  </a:lnTo>
                  <a:lnTo>
                    <a:pt x="618" y="492"/>
                  </a:lnTo>
                  <a:lnTo>
                    <a:pt x="616" y="492"/>
                  </a:lnTo>
                  <a:lnTo>
                    <a:pt x="611" y="492"/>
                  </a:lnTo>
                  <a:lnTo>
                    <a:pt x="606" y="489"/>
                  </a:lnTo>
                  <a:lnTo>
                    <a:pt x="600" y="487"/>
                  </a:lnTo>
                  <a:lnTo>
                    <a:pt x="596" y="484"/>
                  </a:lnTo>
                  <a:lnTo>
                    <a:pt x="589" y="481"/>
                  </a:lnTo>
                  <a:lnTo>
                    <a:pt x="586" y="480"/>
                  </a:lnTo>
                  <a:lnTo>
                    <a:pt x="581" y="477"/>
                  </a:lnTo>
                  <a:lnTo>
                    <a:pt x="577" y="477"/>
                  </a:lnTo>
                  <a:lnTo>
                    <a:pt x="572" y="475"/>
                  </a:lnTo>
                  <a:lnTo>
                    <a:pt x="569" y="475"/>
                  </a:lnTo>
                  <a:lnTo>
                    <a:pt x="569" y="474"/>
                  </a:lnTo>
                  <a:lnTo>
                    <a:pt x="570" y="472"/>
                  </a:lnTo>
                  <a:lnTo>
                    <a:pt x="572" y="471"/>
                  </a:lnTo>
                  <a:lnTo>
                    <a:pt x="567" y="470"/>
                  </a:lnTo>
                  <a:lnTo>
                    <a:pt x="564" y="469"/>
                  </a:lnTo>
                  <a:lnTo>
                    <a:pt x="561" y="468"/>
                  </a:lnTo>
                  <a:lnTo>
                    <a:pt x="558" y="468"/>
                  </a:lnTo>
                  <a:lnTo>
                    <a:pt x="558" y="464"/>
                  </a:lnTo>
                  <a:lnTo>
                    <a:pt x="558" y="460"/>
                  </a:lnTo>
                  <a:lnTo>
                    <a:pt x="558" y="457"/>
                  </a:lnTo>
                  <a:lnTo>
                    <a:pt x="560" y="453"/>
                  </a:lnTo>
                  <a:lnTo>
                    <a:pt x="563" y="450"/>
                  </a:lnTo>
                  <a:lnTo>
                    <a:pt x="563" y="453"/>
                  </a:lnTo>
                  <a:lnTo>
                    <a:pt x="563" y="454"/>
                  </a:lnTo>
                  <a:lnTo>
                    <a:pt x="565" y="456"/>
                  </a:lnTo>
                  <a:lnTo>
                    <a:pt x="567" y="456"/>
                  </a:lnTo>
                  <a:lnTo>
                    <a:pt x="567" y="457"/>
                  </a:lnTo>
                  <a:lnTo>
                    <a:pt x="570" y="458"/>
                  </a:lnTo>
                  <a:lnTo>
                    <a:pt x="571" y="458"/>
                  </a:lnTo>
                  <a:lnTo>
                    <a:pt x="572" y="454"/>
                  </a:lnTo>
                  <a:lnTo>
                    <a:pt x="574" y="452"/>
                  </a:lnTo>
                  <a:lnTo>
                    <a:pt x="572" y="458"/>
                  </a:lnTo>
                  <a:lnTo>
                    <a:pt x="575" y="460"/>
                  </a:lnTo>
                  <a:lnTo>
                    <a:pt x="576" y="459"/>
                  </a:lnTo>
                  <a:lnTo>
                    <a:pt x="576" y="456"/>
                  </a:lnTo>
                  <a:lnTo>
                    <a:pt x="578" y="452"/>
                  </a:lnTo>
                  <a:lnTo>
                    <a:pt x="578" y="456"/>
                  </a:lnTo>
                  <a:lnTo>
                    <a:pt x="581" y="458"/>
                  </a:lnTo>
                  <a:lnTo>
                    <a:pt x="581" y="454"/>
                  </a:lnTo>
                  <a:lnTo>
                    <a:pt x="583" y="453"/>
                  </a:lnTo>
                  <a:lnTo>
                    <a:pt x="582" y="458"/>
                  </a:lnTo>
                  <a:lnTo>
                    <a:pt x="582" y="463"/>
                  </a:lnTo>
                  <a:lnTo>
                    <a:pt x="584" y="464"/>
                  </a:lnTo>
                  <a:lnTo>
                    <a:pt x="587" y="464"/>
                  </a:lnTo>
                  <a:lnTo>
                    <a:pt x="587" y="460"/>
                  </a:lnTo>
                  <a:lnTo>
                    <a:pt x="587" y="458"/>
                  </a:lnTo>
                  <a:lnTo>
                    <a:pt x="588" y="456"/>
                  </a:lnTo>
                  <a:lnTo>
                    <a:pt x="589" y="457"/>
                  </a:lnTo>
                  <a:lnTo>
                    <a:pt x="588" y="462"/>
                  </a:lnTo>
                  <a:lnTo>
                    <a:pt x="592" y="460"/>
                  </a:lnTo>
                  <a:lnTo>
                    <a:pt x="592" y="458"/>
                  </a:lnTo>
                  <a:lnTo>
                    <a:pt x="593" y="459"/>
                  </a:lnTo>
                  <a:lnTo>
                    <a:pt x="594" y="457"/>
                  </a:lnTo>
                  <a:lnTo>
                    <a:pt x="595" y="456"/>
                  </a:lnTo>
                  <a:lnTo>
                    <a:pt x="595" y="460"/>
                  </a:lnTo>
                  <a:lnTo>
                    <a:pt x="596" y="460"/>
                  </a:lnTo>
                  <a:lnTo>
                    <a:pt x="599" y="463"/>
                  </a:lnTo>
                  <a:lnTo>
                    <a:pt x="600" y="460"/>
                  </a:lnTo>
                  <a:lnTo>
                    <a:pt x="600" y="466"/>
                  </a:lnTo>
                  <a:lnTo>
                    <a:pt x="600" y="470"/>
                  </a:lnTo>
                  <a:lnTo>
                    <a:pt x="602" y="469"/>
                  </a:lnTo>
                  <a:lnTo>
                    <a:pt x="604" y="466"/>
                  </a:lnTo>
                  <a:lnTo>
                    <a:pt x="605" y="465"/>
                  </a:lnTo>
                  <a:lnTo>
                    <a:pt x="606" y="460"/>
                  </a:lnTo>
                  <a:lnTo>
                    <a:pt x="607" y="459"/>
                  </a:lnTo>
                  <a:lnTo>
                    <a:pt x="610" y="462"/>
                  </a:lnTo>
                  <a:lnTo>
                    <a:pt x="611" y="459"/>
                  </a:lnTo>
                  <a:lnTo>
                    <a:pt x="612" y="458"/>
                  </a:lnTo>
                  <a:lnTo>
                    <a:pt x="614" y="459"/>
                  </a:lnTo>
                  <a:lnTo>
                    <a:pt x="614" y="463"/>
                  </a:lnTo>
                  <a:lnTo>
                    <a:pt x="616" y="462"/>
                  </a:lnTo>
                  <a:lnTo>
                    <a:pt x="619" y="462"/>
                  </a:lnTo>
                  <a:lnTo>
                    <a:pt x="623" y="462"/>
                  </a:lnTo>
                  <a:lnTo>
                    <a:pt x="623" y="460"/>
                  </a:lnTo>
                  <a:lnTo>
                    <a:pt x="618" y="458"/>
                  </a:lnTo>
                  <a:lnTo>
                    <a:pt x="612" y="454"/>
                  </a:lnTo>
                  <a:lnTo>
                    <a:pt x="612" y="452"/>
                  </a:lnTo>
                  <a:lnTo>
                    <a:pt x="610" y="453"/>
                  </a:lnTo>
                  <a:lnTo>
                    <a:pt x="605" y="452"/>
                  </a:lnTo>
                  <a:lnTo>
                    <a:pt x="602" y="451"/>
                  </a:lnTo>
                  <a:lnTo>
                    <a:pt x="601" y="448"/>
                  </a:lnTo>
                  <a:lnTo>
                    <a:pt x="606" y="448"/>
                  </a:lnTo>
                  <a:lnTo>
                    <a:pt x="610" y="450"/>
                  </a:lnTo>
                  <a:lnTo>
                    <a:pt x="607" y="448"/>
                  </a:lnTo>
                  <a:lnTo>
                    <a:pt x="601" y="445"/>
                  </a:lnTo>
                  <a:lnTo>
                    <a:pt x="600" y="445"/>
                  </a:lnTo>
                  <a:lnTo>
                    <a:pt x="605" y="444"/>
                  </a:lnTo>
                  <a:lnTo>
                    <a:pt x="605" y="442"/>
                  </a:lnTo>
                  <a:lnTo>
                    <a:pt x="600" y="442"/>
                  </a:lnTo>
                  <a:lnTo>
                    <a:pt x="594" y="441"/>
                  </a:lnTo>
                  <a:lnTo>
                    <a:pt x="594" y="439"/>
                  </a:lnTo>
                  <a:lnTo>
                    <a:pt x="592" y="439"/>
                  </a:lnTo>
                  <a:lnTo>
                    <a:pt x="589" y="438"/>
                  </a:lnTo>
                  <a:lnTo>
                    <a:pt x="590" y="436"/>
                  </a:lnTo>
                  <a:lnTo>
                    <a:pt x="588" y="436"/>
                  </a:lnTo>
                  <a:lnTo>
                    <a:pt x="582" y="436"/>
                  </a:lnTo>
                  <a:lnTo>
                    <a:pt x="582" y="433"/>
                  </a:lnTo>
                  <a:lnTo>
                    <a:pt x="581" y="432"/>
                  </a:lnTo>
                  <a:lnTo>
                    <a:pt x="578" y="434"/>
                  </a:lnTo>
                  <a:lnTo>
                    <a:pt x="575" y="433"/>
                  </a:lnTo>
                  <a:lnTo>
                    <a:pt x="574" y="432"/>
                  </a:lnTo>
                  <a:lnTo>
                    <a:pt x="574" y="429"/>
                  </a:lnTo>
                  <a:lnTo>
                    <a:pt x="571" y="430"/>
                  </a:lnTo>
                  <a:lnTo>
                    <a:pt x="570" y="428"/>
                  </a:lnTo>
                  <a:lnTo>
                    <a:pt x="566" y="428"/>
                  </a:lnTo>
                  <a:lnTo>
                    <a:pt x="563" y="429"/>
                  </a:lnTo>
                  <a:lnTo>
                    <a:pt x="560" y="429"/>
                  </a:lnTo>
                  <a:lnTo>
                    <a:pt x="559" y="428"/>
                  </a:lnTo>
                  <a:lnTo>
                    <a:pt x="552" y="424"/>
                  </a:lnTo>
                  <a:lnTo>
                    <a:pt x="547" y="423"/>
                  </a:lnTo>
                  <a:lnTo>
                    <a:pt x="543" y="421"/>
                  </a:lnTo>
                  <a:lnTo>
                    <a:pt x="541" y="421"/>
                  </a:lnTo>
                  <a:lnTo>
                    <a:pt x="539" y="421"/>
                  </a:lnTo>
                  <a:lnTo>
                    <a:pt x="534" y="420"/>
                  </a:lnTo>
                  <a:lnTo>
                    <a:pt x="530" y="418"/>
                  </a:lnTo>
                  <a:lnTo>
                    <a:pt x="528" y="418"/>
                  </a:lnTo>
                  <a:lnTo>
                    <a:pt x="525" y="418"/>
                  </a:lnTo>
                  <a:lnTo>
                    <a:pt x="523" y="416"/>
                  </a:lnTo>
                  <a:lnTo>
                    <a:pt x="521" y="418"/>
                  </a:lnTo>
                  <a:lnTo>
                    <a:pt x="519" y="415"/>
                  </a:lnTo>
                  <a:lnTo>
                    <a:pt x="517" y="415"/>
                  </a:lnTo>
                  <a:lnTo>
                    <a:pt x="515" y="415"/>
                  </a:lnTo>
                  <a:lnTo>
                    <a:pt x="511" y="417"/>
                  </a:lnTo>
                  <a:lnTo>
                    <a:pt x="510" y="416"/>
                  </a:lnTo>
                  <a:lnTo>
                    <a:pt x="507" y="416"/>
                  </a:lnTo>
                  <a:lnTo>
                    <a:pt x="505" y="415"/>
                  </a:lnTo>
                  <a:lnTo>
                    <a:pt x="502" y="415"/>
                  </a:lnTo>
                  <a:lnTo>
                    <a:pt x="501" y="414"/>
                  </a:lnTo>
                  <a:lnTo>
                    <a:pt x="496" y="411"/>
                  </a:lnTo>
                  <a:lnTo>
                    <a:pt x="494" y="410"/>
                  </a:lnTo>
                  <a:lnTo>
                    <a:pt x="493" y="411"/>
                  </a:lnTo>
                  <a:lnTo>
                    <a:pt x="493" y="409"/>
                  </a:lnTo>
                  <a:lnTo>
                    <a:pt x="495" y="409"/>
                  </a:lnTo>
                  <a:lnTo>
                    <a:pt x="498" y="410"/>
                  </a:lnTo>
                  <a:lnTo>
                    <a:pt x="501" y="412"/>
                  </a:lnTo>
                  <a:lnTo>
                    <a:pt x="504" y="414"/>
                  </a:lnTo>
                  <a:lnTo>
                    <a:pt x="506" y="414"/>
                  </a:lnTo>
                  <a:lnTo>
                    <a:pt x="507" y="412"/>
                  </a:lnTo>
                  <a:lnTo>
                    <a:pt x="509" y="412"/>
                  </a:lnTo>
                  <a:lnTo>
                    <a:pt x="510" y="415"/>
                  </a:lnTo>
                  <a:lnTo>
                    <a:pt x="511" y="415"/>
                  </a:lnTo>
                  <a:lnTo>
                    <a:pt x="512" y="415"/>
                  </a:lnTo>
                  <a:lnTo>
                    <a:pt x="515" y="411"/>
                  </a:lnTo>
                  <a:lnTo>
                    <a:pt x="515" y="410"/>
                  </a:lnTo>
                  <a:lnTo>
                    <a:pt x="516" y="410"/>
                  </a:lnTo>
                  <a:lnTo>
                    <a:pt x="516" y="411"/>
                  </a:lnTo>
                  <a:lnTo>
                    <a:pt x="517" y="414"/>
                  </a:lnTo>
                  <a:lnTo>
                    <a:pt x="518" y="414"/>
                  </a:lnTo>
                  <a:lnTo>
                    <a:pt x="519" y="414"/>
                  </a:lnTo>
                  <a:lnTo>
                    <a:pt x="521" y="412"/>
                  </a:lnTo>
                  <a:lnTo>
                    <a:pt x="521" y="415"/>
                  </a:lnTo>
                  <a:lnTo>
                    <a:pt x="523" y="415"/>
                  </a:lnTo>
                  <a:lnTo>
                    <a:pt x="525" y="415"/>
                  </a:lnTo>
                  <a:lnTo>
                    <a:pt x="527" y="415"/>
                  </a:lnTo>
                  <a:lnTo>
                    <a:pt x="529" y="416"/>
                  </a:lnTo>
                  <a:lnTo>
                    <a:pt x="530" y="417"/>
                  </a:lnTo>
                  <a:lnTo>
                    <a:pt x="533" y="416"/>
                  </a:lnTo>
                  <a:lnTo>
                    <a:pt x="533" y="415"/>
                  </a:lnTo>
                  <a:lnTo>
                    <a:pt x="534" y="414"/>
                  </a:lnTo>
                  <a:lnTo>
                    <a:pt x="533" y="411"/>
                  </a:lnTo>
                  <a:lnTo>
                    <a:pt x="535" y="414"/>
                  </a:lnTo>
                  <a:lnTo>
                    <a:pt x="537" y="416"/>
                  </a:lnTo>
                  <a:lnTo>
                    <a:pt x="537" y="415"/>
                  </a:lnTo>
                  <a:lnTo>
                    <a:pt x="539" y="418"/>
                  </a:lnTo>
                  <a:lnTo>
                    <a:pt x="540" y="418"/>
                  </a:lnTo>
                  <a:lnTo>
                    <a:pt x="540" y="417"/>
                  </a:lnTo>
                  <a:lnTo>
                    <a:pt x="541" y="416"/>
                  </a:lnTo>
                  <a:lnTo>
                    <a:pt x="543" y="418"/>
                  </a:lnTo>
                  <a:lnTo>
                    <a:pt x="543" y="420"/>
                  </a:lnTo>
                  <a:lnTo>
                    <a:pt x="546" y="418"/>
                  </a:lnTo>
                  <a:lnTo>
                    <a:pt x="547" y="416"/>
                  </a:lnTo>
                  <a:lnTo>
                    <a:pt x="546" y="420"/>
                  </a:lnTo>
                  <a:lnTo>
                    <a:pt x="547" y="421"/>
                  </a:lnTo>
                  <a:lnTo>
                    <a:pt x="549" y="421"/>
                  </a:lnTo>
                  <a:lnTo>
                    <a:pt x="553" y="420"/>
                  </a:lnTo>
                  <a:lnTo>
                    <a:pt x="553" y="418"/>
                  </a:lnTo>
                  <a:lnTo>
                    <a:pt x="557" y="423"/>
                  </a:lnTo>
                  <a:lnTo>
                    <a:pt x="557" y="422"/>
                  </a:lnTo>
                  <a:lnTo>
                    <a:pt x="557" y="420"/>
                  </a:lnTo>
                  <a:lnTo>
                    <a:pt x="554" y="417"/>
                  </a:lnTo>
                  <a:lnTo>
                    <a:pt x="555" y="416"/>
                  </a:lnTo>
                  <a:lnTo>
                    <a:pt x="555" y="417"/>
                  </a:lnTo>
                  <a:lnTo>
                    <a:pt x="557" y="417"/>
                  </a:lnTo>
                  <a:lnTo>
                    <a:pt x="557" y="415"/>
                  </a:lnTo>
                  <a:lnTo>
                    <a:pt x="558" y="415"/>
                  </a:lnTo>
                  <a:lnTo>
                    <a:pt x="559" y="416"/>
                  </a:lnTo>
                  <a:lnTo>
                    <a:pt x="559" y="420"/>
                  </a:lnTo>
                  <a:lnTo>
                    <a:pt x="559" y="421"/>
                  </a:lnTo>
                  <a:lnTo>
                    <a:pt x="560" y="421"/>
                  </a:lnTo>
                  <a:lnTo>
                    <a:pt x="561" y="423"/>
                  </a:lnTo>
                  <a:lnTo>
                    <a:pt x="561" y="426"/>
                  </a:lnTo>
                  <a:lnTo>
                    <a:pt x="563" y="427"/>
                  </a:lnTo>
                  <a:lnTo>
                    <a:pt x="564" y="424"/>
                  </a:lnTo>
                  <a:lnTo>
                    <a:pt x="564" y="421"/>
                  </a:lnTo>
                  <a:lnTo>
                    <a:pt x="564" y="417"/>
                  </a:lnTo>
                  <a:lnTo>
                    <a:pt x="565" y="418"/>
                  </a:lnTo>
                  <a:lnTo>
                    <a:pt x="566" y="426"/>
                  </a:lnTo>
                  <a:lnTo>
                    <a:pt x="567" y="424"/>
                  </a:lnTo>
                  <a:lnTo>
                    <a:pt x="567" y="422"/>
                  </a:lnTo>
                  <a:lnTo>
                    <a:pt x="569" y="420"/>
                  </a:lnTo>
                  <a:lnTo>
                    <a:pt x="570" y="420"/>
                  </a:lnTo>
                  <a:lnTo>
                    <a:pt x="570" y="416"/>
                  </a:lnTo>
                  <a:lnTo>
                    <a:pt x="570" y="415"/>
                  </a:lnTo>
                  <a:lnTo>
                    <a:pt x="571" y="420"/>
                  </a:lnTo>
                  <a:lnTo>
                    <a:pt x="571" y="423"/>
                  </a:lnTo>
                  <a:lnTo>
                    <a:pt x="574" y="424"/>
                  </a:lnTo>
                  <a:lnTo>
                    <a:pt x="576" y="424"/>
                  </a:lnTo>
                  <a:lnTo>
                    <a:pt x="577" y="420"/>
                  </a:lnTo>
                  <a:lnTo>
                    <a:pt x="577" y="424"/>
                  </a:lnTo>
                  <a:lnTo>
                    <a:pt x="578" y="428"/>
                  </a:lnTo>
                  <a:lnTo>
                    <a:pt x="577" y="429"/>
                  </a:lnTo>
                  <a:lnTo>
                    <a:pt x="580" y="430"/>
                  </a:lnTo>
                  <a:lnTo>
                    <a:pt x="581" y="429"/>
                  </a:lnTo>
                  <a:lnTo>
                    <a:pt x="581" y="428"/>
                  </a:lnTo>
                  <a:lnTo>
                    <a:pt x="582" y="427"/>
                  </a:lnTo>
                  <a:lnTo>
                    <a:pt x="583" y="424"/>
                  </a:lnTo>
                  <a:lnTo>
                    <a:pt x="584" y="423"/>
                  </a:lnTo>
                  <a:lnTo>
                    <a:pt x="584" y="420"/>
                  </a:lnTo>
                  <a:lnTo>
                    <a:pt x="584" y="418"/>
                  </a:lnTo>
                  <a:lnTo>
                    <a:pt x="587" y="420"/>
                  </a:lnTo>
                  <a:lnTo>
                    <a:pt x="587" y="422"/>
                  </a:lnTo>
                  <a:lnTo>
                    <a:pt x="588" y="426"/>
                  </a:lnTo>
                  <a:lnTo>
                    <a:pt x="589" y="424"/>
                  </a:lnTo>
                  <a:lnTo>
                    <a:pt x="590" y="422"/>
                  </a:lnTo>
                  <a:lnTo>
                    <a:pt x="592" y="424"/>
                  </a:lnTo>
                  <a:lnTo>
                    <a:pt x="592" y="427"/>
                  </a:lnTo>
                  <a:lnTo>
                    <a:pt x="593" y="429"/>
                  </a:lnTo>
                  <a:lnTo>
                    <a:pt x="595" y="426"/>
                  </a:lnTo>
                  <a:lnTo>
                    <a:pt x="598" y="426"/>
                  </a:lnTo>
                  <a:lnTo>
                    <a:pt x="598" y="427"/>
                  </a:lnTo>
                  <a:lnTo>
                    <a:pt x="599" y="427"/>
                  </a:lnTo>
                  <a:lnTo>
                    <a:pt x="599" y="424"/>
                  </a:lnTo>
                  <a:lnTo>
                    <a:pt x="601" y="420"/>
                  </a:lnTo>
                  <a:lnTo>
                    <a:pt x="602" y="418"/>
                  </a:lnTo>
                  <a:lnTo>
                    <a:pt x="604" y="420"/>
                  </a:lnTo>
                  <a:lnTo>
                    <a:pt x="606" y="420"/>
                  </a:lnTo>
                  <a:lnTo>
                    <a:pt x="606" y="422"/>
                  </a:lnTo>
                  <a:lnTo>
                    <a:pt x="607" y="426"/>
                  </a:lnTo>
                  <a:lnTo>
                    <a:pt x="610" y="424"/>
                  </a:lnTo>
                  <a:lnTo>
                    <a:pt x="610" y="422"/>
                  </a:lnTo>
                  <a:lnTo>
                    <a:pt x="616" y="424"/>
                  </a:lnTo>
                  <a:lnTo>
                    <a:pt x="616" y="423"/>
                  </a:lnTo>
                  <a:lnTo>
                    <a:pt x="612" y="421"/>
                  </a:lnTo>
                  <a:lnTo>
                    <a:pt x="610" y="421"/>
                  </a:lnTo>
                  <a:lnTo>
                    <a:pt x="612" y="418"/>
                  </a:lnTo>
                  <a:lnTo>
                    <a:pt x="612" y="417"/>
                  </a:lnTo>
                  <a:lnTo>
                    <a:pt x="608" y="417"/>
                  </a:lnTo>
                  <a:lnTo>
                    <a:pt x="610" y="417"/>
                  </a:lnTo>
                  <a:lnTo>
                    <a:pt x="608" y="415"/>
                  </a:lnTo>
                  <a:lnTo>
                    <a:pt x="606" y="415"/>
                  </a:lnTo>
                  <a:lnTo>
                    <a:pt x="602" y="414"/>
                  </a:lnTo>
                  <a:lnTo>
                    <a:pt x="600" y="412"/>
                  </a:lnTo>
                  <a:lnTo>
                    <a:pt x="598" y="411"/>
                  </a:lnTo>
                  <a:lnTo>
                    <a:pt x="595" y="410"/>
                  </a:lnTo>
                  <a:lnTo>
                    <a:pt x="593" y="406"/>
                  </a:lnTo>
                  <a:lnTo>
                    <a:pt x="592" y="405"/>
                  </a:lnTo>
                  <a:lnTo>
                    <a:pt x="590" y="402"/>
                  </a:lnTo>
                  <a:lnTo>
                    <a:pt x="592" y="402"/>
                  </a:lnTo>
                  <a:lnTo>
                    <a:pt x="596" y="403"/>
                  </a:lnTo>
                  <a:lnTo>
                    <a:pt x="595" y="400"/>
                  </a:lnTo>
                  <a:lnTo>
                    <a:pt x="593" y="399"/>
                  </a:lnTo>
                  <a:lnTo>
                    <a:pt x="592" y="396"/>
                  </a:lnTo>
                  <a:lnTo>
                    <a:pt x="590" y="397"/>
                  </a:lnTo>
                  <a:lnTo>
                    <a:pt x="589" y="398"/>
                  </a:lnTo>
                  <a:lnTo>
                    <a:pt x="587" y="398"/>
                  </a:lnTo>
                  <a:lnTo>
                    <a:pt x="583" y="398"/>
                  </a:lnTo>
                  <a:lnTo>
                    <a:pt x="575" y="396"/>
                  </a:lnTo>
                  <a:lnTo>
                    <a:pt x="570" y="394"/>
                  </a:lnTo>
                  <a:lnTo>
                    <a:pt x="570" y="392"/>
                  </a:lnTo>
                  <a:lnTo>
                    <a:pt x="569" y="393"/>
                  </a:lnTo>
                  <a:lnTo>
                    <a:pt x="565" y="393"/>
                  </a:lnTo>
                  <a:lnTo>
                    <a:pt x="564" y="392"/>
                  </a:lnTo>
                  <a:lnTo>
                    <a:pt x="563" y="391"/>
                  </a:lnTo>
                  <a:lnTo>
                    <a:pt x="560" y="390"/>
                  </a:lnTo>
                  <a:lnTo>
                    <a:pt x="553" y="390"/>
                  </a:lnTo>
                  <a:lnTo>
                    <a:pt x="548" y="390"/>
                  </a:lnTo>
                  <a:lnTo>
                    <a:pt x="546" y="388"/>
                  </a:lnTo>
                  <a:lnTo>
                    <a:pt x="545" y="387"/>
                  </a:lnTo>
                  <a:lnTo>
                    <a:pt x="542" y="387"/>
                  </a:lnTo>
                  <a:lnTo>
                    <a:pt x="537" y="386"/>
                  </a:lnTo>
                  <a:lnTo>
                    <a:pt x="535" y="385"/>
                  </a:lnTo>
                  <a:lnTo>
                    <a:pt x="534" y="381"/>
                  </a:lnTo>
                  <a:lnTo>
                    <a:pt x="530" y="380"/>
                  </a:lnTo>
                  <a:lnTo>
                    <a:pt x="528" y="380"/>
                  </a:lnTo>
                  <a:lnTo>
                    <a:pt x="523" y="378"/>
                  </a:lnTo>
                  <a:lnTo>
                    <a:pt x="521" y="378"/>
                  </a:lnTo>
                  <a:lnTo>
                    <a:pt x="518" y="378"/>
                  </a:lnTo>
                  <a:lnTo>
                    <a:pt x="513" y="378"/>
                  </a:lnTo>
                  <a:lnTo>
                    <a:pt x="515" y="375"/>
                  </a:lnTo>
                  <a:lnTo>
                    <a:pt x="511" y="376"/>
                  </a:lnTo>
                  <a:lnTo>
                    <a:pt x="509" y="378"/>
                  </a:lnTo>
                  <a:lnTo>
                    <a:pt x="502" y="378"/>
                  </a:lnTo>
                  <a:lnTo>
                    <a:pt x="501" y="376"/>
                  </a:lnTo>
                  <a:lnTo>
                    <a:pt x="495" y="375"/>
                  </a:lnTo>
                  <a:lnTo>
                    <a:pt x="492" y="374"/>
                  </a:lnTo>
                  <a:lnTo>
                    <a:pt x="487" y="374"/>
                  </a:lnTo>
                  <a:lnTo>
                    <a:pt x="482" y="371"/>
                  </a:lnTo>
                  <a:lnTo>
                    <a:pt x="476" y="371"/>
                  </a:lnTo>
                  <a:lnTo>
                    <a:pt x="472" y="369"/>
                  </a:lnTo>
                  <a:lnTo>
                    <a:pt x="469" y="368"/>
                  </a:lnTo>
                  <a:lnTo>
                    <a:pt x="470" y="369"/>
                  </a:lnTo>
                  <a:lnTo>
                    <a:pt x="468" y="371"/>
                  </a:lnTo>
                  <a:lnTo>
                    <a:pt x="465" y="371"/>
                  </a:lnTo>
                  <a:lnTo>
                    <a:pt x="463" y="370"/>
                  </a:lnTo>
                  <a:lnTo>
                    <a:pt x="459" y="369"/>
                  </a:lnTo>
                  <a:lnTo>
                    <a:pt x="457" y="368"/>
                  </a:lnTo>
                  <a:lnTo>
                    <a:pt x="453" y="369"/>
                  </a:lnTo>
                  <a:lnTo>
                    <a:pt x="452" y="370"/>
                  </a:lnTo>
                  <a:lnTo>
                    <a:pt x="448" y="368"/>
                  </a:lnTo>
                  <a:lnTo>
                    <a:pt x="446" y="367"/>
                  </a:lnTo>
                  <a:lnTo>
                    <a:pt x="442" y="365"/>
                  </a:lnTo>
                  <a:lnTo>
                    <a:pt x="437" y="367"/>
                  </a:lnTo>
                  <a:lnTo>
                    <a:pt x="437" y="364"/>
                  </a:lnTo>
                  <a:lnTo>
                    <a:pt x="436" y="362"/>
                  </a:lnTo>
                  <a:lnTo>
                    <a:pt x="433" y="361"/>
                  </a:lnTo>
                  <a:lnTo>
                    <a:pt x="430" y="359"/>
                  </a:lnTo>
                  <a:lnTo>
                    <a:pt x="428" y="357"/>
                  </a:lnTo>
                  <a:lnTo>
                    <a:pt x="424" y="355"/>
                  </a:lnTo>
                  <a:lnTo>
                    <a:pt x="419" y="351"/>
                  </a:lnTo>
                  <a:lnTo>
                    <a:pt x="417" y="349"/>
                  </a:lnTo>
                  <a:lnTo>
                    <a:pt x="417" y="339"/>
                  </a:lnTo>
                  <a:lnTo>
                    <a:pt x="418" y="337"/>
                  </a:lnTo>
                  <a:lnTo>
                    <a:pt x="418" y="335"/>
                  </a:lnTo>
                  <a:lnTo>
                    <a:pt x="419" y="340"/>
                  </a:lnTo>
                  <a:lnTo>
                    <a:pt x="421" y="340"/>
                  </a:lnTo>
                  <a:lnTo>
                    <a:pt x="423" y="339"/>
                  </a:lnTo>
                  <a:lnTo>
                    <a:pt x="422" y="335"/>
                  </a:lnTo>
                  <a:lnTo>
                    <a:pt x="423" y="334"/>
                  </a:lnTo>
                  <a:lnTo>
                    <a:pt x="424" y="337"/>
                  </a:lnTo>
                  <a:lnTo>
                    <a:pt x="423" y="340"/>
                  </a:lnTo>
                  <a:lnTo>
                    <a:pt x="423" y="344"/>
                  </a:lnTo>
                  <a:lnTo>
                    <a:pt x="422" y="346"/>
                  </a:lnTo>
                  <a:lnTo>
                    <a:pt x="422" y="349"/>
                  </a:lnTo>
                  <a:lnTo>
                    <a:pt x="423" y="350"/>
                  </a:lnTo>
                  <a:lnTo>
                    <a:pt x="424" y="351"/>
                  </a:lnTo>
                  <a:lnTo>
                    <a:pt x="427" y="353"/>
                  </a:lnTo>
                  <a:lnTo>
                    <a:pt x="428" y="355"/>
                  </a:lnTo>
                  <a:lnTo>
                    <a:pt x="430" y="357"/>
                  </a:lnTo>
                  <a:lnTo>
                    <a:pt x="431" y="356"/>
                  </a:lnTo>
                  <a:lnTo>
                    <a:pt x="433" y="358"/>
                  </a:lnTo>
                  <a:lnTo>
                    <a:pt x="434" y="358"/>
                  </a:lnTo>
                  <a:lnTo>
                    <a:pt x="436" y="358"/>
                  </a:lnTo>
                  <a:lnTo>
                    <a:pt x="437" y="361"/>
                  </a:lnTo>
                  <a:lnTo>
                    <a:pt x="439" y="359"/>
                  </a:lnTo>
                  <a:lnTo>
                    <a:pt x="439" y="357"/>
                  </a:lnTo>
                  <a:lnTo>
                    <a:pt x="436" y="355"/>
                  </a:lnTo>
                  <a:lnTo>
                    <a:pt x="436" y="353"/>
                  </a:lnTo>
                  <a:lnTo>
                    <a:pt x="436" y="349"/>
                  </a:lnTo>
                  <a:lnTo>
                    <a:pt x="435" y="345"/>
                  </a:lnTo>
                  <a:lnTo>
                    <a:pt x="436" y="341"/>
                  </a:lnTo>
                  <a:lnTo>
                    <a:pt x="436" y="338"/>
                  </a:lnTo>
                  <a:lnTo>
                    <a:pt x="437" y="338"/>
                  </a:lnTo>
                  <a:lnTo>
                    <a:pt x="437" y="339"/>
                  </a:lnTo>
                  <a:lnTo>
                    <a:pt x="436" y="343"/>
                  </a:lnTo>
                  <a:lnTo>
                    <a:pt x="439" y="343"/>
                  </a:lnTo>
                  <a:lnTo>
                    <a:pt x="440" y="344"/>
                  </a:lnTo>
                  <a:lnTo>
                    <a:pt x="437" y="346"/>
                  </a:lnTo>
                  <a:lnTo>
                    <a:pt x="439" y="347"/>
                  </a:lnTo>
                  <a:lnTo>
                    <a:pt x="440" y="347"/>
                  </a:lnTo>
                  <a:lnTo>
                    <a:pt x="441" y="345"/>
                  </a:lnTo>
                  <a:lnTo>
                    <a:pt x="441" y="343"/>
                  </a:lnTo>
                  <a:lnTo>
                    <a:pt x="441" y="340"/>
                  </a:lnTo>
                  <a:lnTo>
                    <a:pt x="443" y="340"/>
                  </a:lnTo>
                  <a:lnTo>
                    <a:pt x="443" y="345"/>
                  </a:lnTo>
                  <a:lnTo>
                    <a:pt x="443" y="347"/>
                  </a:lnTo>
                  <a:lnTo>
                    <a:pt x="445" y="349"/>
                  </a:lnTo>
                  <a:lnTo>
                    <a:pt x="446" y="349"/>
                  </a:lnTo>
                  <a:lnTo>
                    <a:pt x="448" y="347"/>
                  </a:lnTo>
                  <a:lnTo>
                    <a:pt x="448" y="349"/>
                  </a:lnTo>
                  <a:lnTo>
                    <a:pt x="448" y="351"/>
                  </a:lnTo>
                  <a:lnTo>
                    <a:pt x="450" y="352"/>
                  </a:lnTo>
                  <a:lnTo>
                    <a:pt x="451" y="351"/>
                  </a:lnTo>
                  <a:lnTo>
                    <a:pt x="451" y="353"/>
                  </a:lnTo>
                  <a:lnTo>
                    <a:pt x="452" y="353"/>
                  </a:lnTo>
                  <a:lnTo>
                    <a:pt x="453" y="352"/>
                  </a:lnTo>
                  <a:lnTo>
                    <a:pt x="454" y="350"/>
                  </a:lnTo>
                  <a:lnTo>
                    <a:pt x="456" y="349"/>
                  </a:lnTo>
                  <a:lnTo>
                    <a:pt x="454" y="353"/>
                  </a:lnTo>
                  <a:lnTo>
                    <a:pt x="454" y="358"/>
                  </a:lnTo>
                  <a:lnTo>
                    <a:pt x="456" y="358"/>
                  </a:lnTo>
                  <a:lnTo>
                    <a:pt x="457" y="356"/>
                  </a:lnTo>
                  <a:lnTo>
                    <a:pt x="457" y="353"/>
                  </a:lnTo>
                  <a:lnTo>
                    <a:pt x="457" y="350"/>
                  </a:lnTo>
                  <a:lnTo>
                    <a:pt x="459" y="349"/>
                  </a:lnTo>
                  <a:lnTo>
                    <a:pt x="458" y="353"/>
                  </a:lnTo>
                  <a:lnTo>
                    <a:pt x="458" y="358"/>
                  </a:lnTo>
                  <a:lnTo>
                    <a:pt x="458" y="359"/>
                  </a:lnTo>
                  <a:lnTo>
                    <a:pt x="459" y="359"/>
                  </a:lnTo>
                  <a:lnTo>
                    <a:pt x="459" y="358"/>
                  </a:lnTo>
                  <a:lnTo>
                    <a:pt x="460" y="359"/>
                  </a:lnTo>
                  <a:lnTo>
                    <a:pt x="460" y="362"/>
                  </a:lnTo>
                  <a:lnTo>
                    <a:pt x="462" y="364"/>
                  </a:lnTo>
                  <a:lnTo>
                    <a:pt x="463" y="364"/>
                  </a:lnTo>
                  <a:lnTo>
                    <a:pt x="463" y="359"/>
                  </a:lnTo>
                  <a:lnTo>
                    <a:pt x="463" y="358"/>
                  </a:lnTo>
                  <a:lnTo>
                    <a:pt x="465" y="357"/>
                  </a:lnTo>
                  <a:lnTo>
                    <a:pt x="468" y="356"/>
                  </a:lnTo>
                  <a:lnTo>
                    <a:pt x="469" y="355"/>
                  </a:lnTo>
                  <a:lnTo>
                    <a:pt x="465" y="351"/>
                  </a:lnTo>
                  <a:lnTo>
                    <a:pt x="464" y="347"/>
                  </a:lnTo>
                  <a:lnTo>
                    <a:pt x="464" y="346"/>
                  </a:lnTo>
                  <a:lnTo>
                    <a:pt x="466" y="346"/>
                  </a:lnTo>
                  <a:lnTo>
                    <a:pt x="465" y="347"/>
                  </a:lnTo>
                  <a:lnTo>
                    <a:pt x="466" y="349"/>
                  </a:lnTo>
                  <a:lnTo>
                    <a:pt x="470" y="347"/>
                  </a:lnTo>
                  <a:lnTo>
                    <a:pt x="471" y="346"/>
                  </a:lnTo>
                  <a:lnTo>
                    <a:pt x="471" y="343"/>
                  </a:lnTo>
                  <a:lnTo>
                    <a:pt x="471" y="341"/>
                  </a:lnTo>
                  <a:lnTo>
                    <a:pt x="472" y="343"/>
                  </a:lnTo>
                  <a:lnTo>
                    <a:pt x="474" y="345"/>
                  </a:lnTo>
                  <a:lnTo>
                    <a:pt x="475" y="344"/>
                  </a:lnTo>
                  <a:lnTo>
                    <a:pt x="475" y="341"/>
                  </a:lnTo>
                  <a:lnTo>
                    <a:pt x="477" y="340"/>
                  </a:lnTo>
                  <a:lnTo>
                    <a:pt x="477" y="339"/>
                  </a:lnTo>
                  <a:lnTo>
                    <a:pt x="476" y="335"/>
                  </a:lnTo>
                  <a:lnTo>
                    <a:pt x="480" y="337"/>
                  </a:lnTo>
                  <a:lnTo>
                    <a:pt x="481" y="334"/>
                  </a:lnTo>
                  <a:lnTo>
                    <a:pt x="480" y="326"/>
                  </a:lnTo>
                  <a:lnTo>
                    <a:pt x="481" y="321"/>
                  </a:lnTo>
                  <a:lnTo>
                    <a:pt x="481" y="320"/>
                  </a:lnTo>
                  <a:lnTo>
                    <a:pt x="482" y="323"/>
                  </a:lnTo>
                  <a:lnTo>
                    <a:pt x="483" y="323"/>
                  </a:lnTo>
                  <a:lnTo>
                    <a:pt x="483" y="320"/>
                  </a:lnTo>
                  <a:lnTo>
                    <a:pt x="483" y="317"/>
                  </a:lnTo>
                  <a:lnTo>
                    <a:pt x="484" y="319"/>
                  </a:lnTo>
                  <a:lnTo>
                    <a:pt x="486" y="317"/>
                  </a:lnTo>
                  <a:lnTo>
                    <a:pt x="488" y="317"/>
                  </a:lnTo>
                  <a:lnTo>
                    <a:pt x="489" y="319"/>
                  </a:lnTo>
                  <a:lnTo>
                    <a:pt x="490" y="321"/>
                  </a:lnTo>
                  <a:lnTo>
                    <a:pt x="490" y="325"/>
                  </a:lnTo>
                  <a:lnTo>
                    <a:pt x="490" y="326"/>
                  </a:lnTo>
                  <a:lnTo>
                    <a:pt x="492" y="326"/>
                  </a:lnTo>
                  <a:lnTo>
                    <a:pt x="492" y="328"/>
                  </a:lnTo>
                  <a:lnTo>
                    <a:pt x="493" y="326"/>
                  </a:lnTo>
                  <a:lnTo>
                    <a:pt x="493" y="320"/>
                  </a:lnTo>
                  <a:lnTo>
                    <a:pt x="492" y="317"/>
                  </a:lnTo>
                  <a:lnTo>
                    <a:pt x="493" y="315"/>
                  </a:lnTo>
                  <a:lnTo>
                    <a:pt x="495" y="313"/>
                  </a:lnTo>
                  <a:lnTo>
                    <a:pt x="495" y="310"/>
                  </a:lnTo>
                  <a:lnTo>
                    <a:pt x="494" y="307"/>
                  </a:lnTo>
                  <a:lnTo>
                    <a:pt x="495" y="303"/>
                  </a:lnTo>
                  <a:lnTo>
                    <a:pt x="496" y="301"/>
                  </a:lnTo>
                  <a:lnTo>
                    <a:pt x="498" y="304"/>
                  </a:lnTo>
                  <a:lnTo>
                    <a:pt x="501" y="303"/>
                  </a:lnTo>
                  <a:lnTo>
                    <a:pt x="502" y="305"/>
                  </a:lnTo>
                  <a:lnTo>
                    <a:pt x="504" y="304"/>
                  </a:lnTo>
                  <a:lnTo>
                    <a:pt x="505" y="303"/>
                  </a:lnTo>
                  <a:lnTo>
                    <a:pt x="505" y="310"/>
                  </a:lnTo>
                  <a:lnTo>
                    <a:pt x="506" y="311"/>
                  </a:lnTo>
                  <a:lnTo>
                    <a:pt x="509" y="311"/>
                  </a:lnTo>
                  <a:lnTo>
                    <a:pt x="509" y="309"/>
                  </a:lnTo>
                  <a:lnTo>
                    <a:pt x="507" y="304"/>
                  </a:lnTo>
                  <a:lnTo>
                    <a:pt x="507" y="299"/>
                  </a:lnTo>
                  <a:lnTo>
                    <a:pt x="509" y="298"/>
                  </a:lnTo>
                  <a:lnTo>
                    <a:pt x="510" y="297"/>
                  </a:lnTo>
                  <a:lnTo>
                    <a:pt x="510" y="293"/>
                  </a:lnTo>
                  <a:lnTo>
                    <a:pt x="512" y="295"/>
                  </a:lnTo>
                  <a:lnTo>
                    <a:pt x="512" y="292"/>
                  </a:lnTo>
                  <a:lnTo>
                    <a:pt x="512" y="289"/>
                  </a:lnTo>
                  <a:lnTo>
                    <a:pt x="513" y="289"/>
                  </a:lnTo>
                  <a:lnTo>
                    <a:pt x="515" y="291"/>
                  </a:lnTo>
                  <a:lnTo>
                    <a:pt x="518" y="291"/>
                  </a:lnTo>
                  <a:lnTo>
                    <a:pt x="519" y="289"/>
                  </a:lnTo>
                  <a:lnTo>
                    <a:pt x="521" y="286"/>
                  </a:lnTo>
                  <a:lnTo>
                    <a:pt x="519" y="284"/>
                  </a:lnTo>
                  <a:lnTo>
                    <a:pt x="519" y="280"/>
                  </a:lnTo>
                  <a:lnTo>
                    <a:pt x="519" y="279"/>
                  </a:lnTo>
                  <a:lnTo>
                    <a:pt x="521" y="279"/>
                  </a:lnTo>
                  <a:lnTo>
                    <a:pt x="523" y="280"/>
                  </a:lnTo>
                  <a:lnTo>
                    <a:pt x="523" y="279"/>
                  </a:lnTo>
                  <a:lnTo>
                    <a:pt x="521" y="278"/>
                  </a:lnTo>
                  <a:lnTo>
                    <a:pt x="521" y="275"/>
                  </a:lnTo>
                  <a:lnTo>
                    <a:pt x="518" y="274"/>
                  </a:lnTo>
                  <a:lnTo>
                    <a:pt x="516" y="274"/>
                  </a:lnTo>
                  <a:lnTo>
                    <a:pt x="515" y="273"/>
                  </a:lnTo>
                  <a:lnTo>
                    <a:pt x="516" y="272"/>
                  </a:lnTo>
                  <a:lnTo>
                    <a:pt x="518" y="272"/>
                  </a:lnTo>
                  <a:lnTo>
                    <a:pt x="521" y="272"/>
                  </a:lnTo>
                  <a:lnTo>
                    <a:pt x="522" y="274"/>
                  </a:lnTo>
                  <a:lnTo>
                    <a:pt x="523" y="277"/>
                  </a:lnTo>
                  <a:lnTo>
                    <a:pt x="523" y="278"/>
                  </a:lnTo>
                  <a:lnTo>
                    <a:pt x="523" y="277"/>
                  </a:lnTo>
                  <a:lnTo>
                    <a:pt x="524" y="275"/>
                  </a:lnTo>
                  <a:lnTo>
                    <a:pt x="525" y="278"/>
                  </a:lnTo>
                  <a:lnTo>
                    <a:pt x="525" y="277"/>
                  </a:lnTo>
                  <a:lnTo>
                    <a:pt x="525" y="275"/>
                  </a:lnTo>
                  <a:lnTo>
                    <a:pt x="524" y="273"/>
                  </a:lnTo>
                  <a:lnTo>
                    <a:pt x="527" y="272"/>
                  </a:lnTo>
                  <a:lnTo>
                    <a:pt x="528" y="272"/>
                  </a:lnTo>
                  <a:lnTo>
                    <a:pt x="529" y="271"/>
                  </a:lnTo>
                  <a:lnTo>
                    <a:pt x="530" y="269"/>
                  </a:lnTo>
                  <a:lnTo>
                    <a:pt x="528" y="269"/>
                  </a:lnTo>
                  <a:lnTo>
                    <a:pt x="527" y="269"/>
                  </a:lnTo>
                  <a:lnTo>
                    <a:pt x="525" y="269"/>
                  </a:lnTo>
                  <a:lnTo>
                    <a:pt x="524" y="269"/>
                  </a:lnTo>
                  <a:lnTo>
                    <a:pt x="523" y="268"/>
                  </a:lnTo>
                  <a:lnTo>
                    <a:pt x="522" y="267"/>
                  </a:lnTo>
                  <a:lnTo>
                    <a:pt x="525" y="266"/>
                  </a:lnTo>
                  <a:lnTo>
                    <a:pt x="527" y="264"/>
                  </a:lnTo>
                  <a:lnTo>
                    <a:pt x="523" y="263"/>
                  </a:lnTo>
                  <a:lnTo>
                    <a:pt x="527" y="262"/>
                  </a:lnTo>
                  <a:lnTo>
                    <a:pt x="528" y="261"/>
                  </a:lnTo>
                  <a:lnTo>
                    <a:pt x="530" y="262"/>
                  </a:lnTo>
                  <a:lnTo>
                    <a:pt x="530" y="260"/>
                  </a:lnTo>
                  <a:lnTo>
                    <a:pt x="531" y="260"/>
                  </a:lnTo>
                  <a:lnTo>
                    <a:pt x="533" y="261"/>
                  </a:lnTo>
                  <a:lnTo>
                    <a:pt x="534" y="261"/>
                  </a:lnTo>
                  <a:lnTo>
                    <a:pt x="535" y="261"/>
                  </a:lnTo>
                  <a:lnTo>
                    <a:pt x="534" y="260"/>
                  </a:lnTo>
                  <a:lnTo>
                    <a:pt x="533" y="258"/>
                  </a:lnTo>
                  <a:lnTo>
                    <a:pt x="535" y="257"/>
                  </a:lnTo>
                  <a:lnTo>
                    <a:pt x="536" y="258"/>
                  </a:lnTo>
                  <a:lnTo>
                    <a:pt x="539" y="260"/>
                  </a:lnTo>
                  <a:lnTo>
                    <a:pt x="540" y="258"/>
                  </a:lnTo>
                  <a:lnTo>
                    <a:pt x="536" y="256"/>
                  </a:lnTo>
                  <a:lnTo>
                    <a:pt x="535" y="255"/>
                  </a:lnTo>
                  <a:lnTo>
                    <a:pt x="540" y="255"/>
                  </a:lnTo>
                  <a:lnTo>
                    <a:pt x="541" y="254"/>
                  </a:lnTo>
                  <a:lnTo>
                    <a:pt x="535" y="254"/>
                  </a:lnTo>
                  <a:lnTo>
                    <a:pt x="534" y="254"/>
                  </a:lnTo>
                  <a:lnTo>
                    <a:pt x="533" y="252"/>
                  </a:lnTo>
                  <a:lnTo>
                    <a:pt x="533" y="251"/>
                  </a:lnTo>
                  <a:lnTo>
                    <a:pt x="531" y="250"/>
                  </a:lnTo>
                  <a:lnTo>
                    <a:pt x="530" y="255"/>
                  </a:lnTo>
                  <a:lnTo>
                    <a:pt x="529" y="255"/>
                  </a:lnTo>
                  <a:lnTo>
                    <a:pt x="528" y="256"/>
                  </a:lnTo>
                  <a:lnTo>
                    <a:pt x="528" y="257"/>
                  </a:lnTo>
                  <a:lnTo>
                    <a:pt x="527" y="257"/>
                  </a:lnTo>
                  <a:lnTo>
                    <a:pt x="525" y="258"/>
                  </a:lnTo>
                  <a:lnTo>
                    <a:pt x="524" y="258"/>
                  </a:lnTo>
                  <a:lnTo>
                    <a:pt x="523" y="257"/>
                  </a:lnTo>
                  <a:lnTo>
                    <a:pt x="523" y="255"/>
                  </a:lnTo>
                  <a:lnTo>
                    <a:pt x="522" y="255"/>
                  </a:lnTo>
                  <a:lnTo>
                    <a:pt x="522" y="256"/>
                  </a:lnTo>
                  <a:lnTo>
                    <a:pt x="522" y="257"/>
                  </a:lnTo>
                  <a:lnTo>
                    <a:pt x="519" y="258"/>
                  </a:lnTo>
                  <a:lnTo>
                    <a:pt x="519" y="260"/>
                  </a:lnTo>
                  <a:lnTo>
                    <a:pt x="521" y="262"/>
                  </a:lnTo>
                  <a:lnTo>
                    <a:pt x="519" y="262"/>
                  </a:lnTo>
                  <a:lnTo>
                    <a:pt x="518" y="263"/>
                  </a:lnTo>
                  <a:lnTo>
                    <a:pt x="518" y="262"/>
                  </a:lnTo>
                  <a:lnTo>
                    <a:pt x="517" y="260"/>
                  </a:lnTo>
                  <a:lnTo>
                    <a:pt x="516" y="260"/>
                  </a:lnTo>
                  <a:lnTo>
                    <a:pt x="515" y="260"/>
                  </a:lnTo>
                  <a:lnTo>
                    <a:pt x="513" y="260"/>
                  </a:lnTo>
                  <a:lnTo>
                    <a:pt x="511" y="260"/>
                  </a:lnTo>
                  <a:lnTo>
                    <a:pt x="511" y="258"/>
                  </a:lnTo>
                  <a:lnTo>
                    <a:pt x="512" y="257"/>
                  </a:lnTo>
                  <a:lnTo>
                    <a:pt x="513" y="257"/>
                  </a:lnTo>
                  <a:lnTo>
                    <a:pt x="515" y="256"/>
                  </a:lnTo>
                  <a:lnTo>
                    <a:pt x="516" y="255"/>
                  </a:lnTo>
                  <a:lnTo>
                    <a:pt x="516" y="254"/>
                  </a:lnTo>
                  <a:lnTo>
                    <a:pt x="518" y="252"/>
                  </a:lnTo>
                  <a:lnTo>
                    <a:pt x="519" y="252"/>
                  </a:lnTo>
                  <a:lnTo>
                    <a:pt x="521" y="252"/>
                  </a:lnTo>
                  <a:lnTo>
                    <a:pt x="519" y="251"/>
                  </a:lnTo>
                  <a:lnTo>
                    <a:pt x="521" y="250"/>
                  </a:lnTo>
                  <a:lnTo>
                    <a:pt x="522" y="251"/>
                  </a:lnTo>
                  <a:lnTo>
                    <a:pt x="523" y="251"/>
                  </a:lnTo>
                  <a:lnTo>
                    <a:pt x="522" y="252"/>
                  </a:lnTo>
                  <a:lnTo>
                    <a:pt x="522" y="254"/>
                  </a:lnTo>
                  <a:lnTo>
                    <a:pt x="523" y="254"/>
                  </a:lnTo>
                  <a:lnTo>
                    <a:pt x="524" y="252"/>
                  </a:lnTo>
                  <a:lnTo>
                    <a:pt x="524" y="251"/>
                  </a:lnTo>
                  <a:lnTo>
                    <a:pt x="525" y="251"/>
                  </a:lnTo>
                  <a:lnTo>
                    <a:pt x="527" y="252"/>
                  </a:lnTo>
                  <a:lnTo>
                    <a:pt x="527" y="251"/>
                  </a:lnTo>
                  <a:lnTo>
                    <a:pt x="524" y="250"/>
                  </a:lnTo>
                  <a:lnTo>
                    <a:pt x="523" y="249"/>
                  </a:lnTo>
                  <a:lnTo>
                    <a:pt x="525" y="248"/>
                  </a:lnTo>
                  <a:lnTo>
                    <a:pt x="528" y="248"/>
                  </a:lnTo>
                  <a:lnTo>
                    <a:pt x="528" y="246"/>
                  </a:lnTo>
                  <a:lnTo>
                    <a:pt x="530" y="246"/>
                  </a:lnTo>
                  <a:lnTo>
                    <a:pt x="524" y="246"/>
                  </a:lnTo>
                  <a:lnTo>
                    <a:pt x="522" y="248"/>
                  </a:lnTo>
                  <a:lnTo>
                    <a:pt x="517" y="249"/>
                  </a:lnTo>
                  <a:lnTo>
                    <a:pt x="515" y="251"/>
                  </a:lnTo>
                  <a:lnTo>
                    <a:pt x="515" y="254"/>
                  </a:lnTo>
                  <a:lnTo>
                    <a:pt x="513" y="255"/>
                  </a:lnTo>
                  <a:lnTo>
                    <a:pt x="511" y="255"/>
                  </a:lnTo>
                  <a:lnTo>
                    <a:pt x="510" y="252"/>
                  </a:lnTo>
                  <a:lnTo>
                    <a:pt x="510" y="251"/>
                  </a:lnTo>
                  <a:lnTo>
                    <a:pt x="513" y="251"/>
                  </a:lnTo>
                  <a:lnTo>
                    <a:pt x="509" y="251"/>
                  </a:lnTo>
                  <a:lnTo>
                    <a:pt x="509" y="248"/>
                  </a:lnTo>
                  <a:lnTo>
                    <a:pt x="507" y="249"/>
                  </a:lnTo>
                  <a:lnTo>
                    <a:pt x="507" y="251"/>
                  </a:lnTo>
                  <a:lnTo>
                    <a:pt x="507" y="252"/>
                  </a:lnTo>
                  <a:lnTo>
                    <a:pt x="507" y="256"/>
                  </a:lnTo>
                  <a:lnTo>
                    <a:pt x="505" y="258"/>
                  </a:lnTo>
                  <a:lnTo>
                    <a:pt x="502" y="260"/>
                  </a:lnTo>
                  <a:lnTo>
                    <a:pt x="500" y="260"/>
                  </a:lnTo>
                  <a:lnTo>
                    <a:pt x="500" y="261"/>
                  </a:lnTo>
                  <a:lnTo>
                    <a:pt x="498" y="261"/>
                  </a:lnTo>
                  <a:lnTo>
                    <a:pt x="498" y="260"/>
                  </a:lnTo>
                  <a:lnTo>
                    <a:pt x="498" y="257"/>
                  </a:lnTo>
                  <a:lnTo>
                    <a:pt x="496" y="257"/>
                  </a:lnTo>
                  <a:lnTo>
                    <a:pt x="495" y="258"/>
                  </a:lnTo>
                  <a:lnTo>
                    <a:pt x="494" y="258"/>
                  </a:lnTo>
                  <a:lnTo>
                    <a:pt x="494" y="256"/>
                  </a:lnTo>
                  <a:lnTo>
                    <a:pt x="494" y="255"/>
                  </a:lnTo>
                  <a:lnTo>
                    <a:pt x="493" y="257"/>
                  </a:lnTo>
                  <a:lnTo>
                    <a:pt x="492" y="256"/>
                  </a:lnTo>
                  <a:lnTo>
                    <a:pt x="489" y="255"/>
                  </a:lnTo>
                  <a:lnTo>
                    <a:pt x="488" y="252"/>
                  </a:lnTo>
                  <a:lnTo>
                    <a:pt x="489" y="251"/>
                  </a:lnTo>
                  <a:lnTo>
                    <a:pt x="490" y="251"/>
                  </a:lnTo>
                  <a:lnTo>
                    <a:pt x="492" y="251"/>
                  </a:lnTo>
                  <a:lnTo>
                    <a:pt x="493" y="250"/>
                  </a:lnTo>
                  <a:lnTo>
                    <a:pt x="493" y="249"/>
                  </a:lnTo>
                  <a:lnTo>
                    <a:pt x="494" y="248"/>
                  </a:lnTo>
                  <a:lnTo>
                    <a:pt x="495" y="246"/>
                  </a:lnTo>
                  <a:lnTo>
                    <a:pt x="498" y="245"/>
                  </a:lnTo>
                  <a:lnTo>
                    <a:pt x="499" y="245"/>
                  </a:lnTo>
                  <a:lnTo>
                    <a:pt x="500" y="245"/>
                  </a:lnTo>
                  <a:lnTo>
                    <a:pt x="500" y="243"/>
                  </a:lnTo>
                  <a:lnTo>
                    <a:pt x="501" y="243"/>
                  </a:lnTo>
                  <a:lnTo>
                    <a:pt x="504" y="244"/>
                  </a:lnTo>
                  <a:lnTo>
                    <a:pt x="506" y="244"/>
                  </a:lnTo>
                  <a:lnTo>
                    <a:pt x="506" y="243"/>
                  </a:lnTo>
                  <a:lnTo>
                    <a:pt x="502" y="242"/>
                  </a:lnTo>
                  <a:lnTo>
                    <a:pt x="502" y="240"/>
                  </a:lnTo>
                  <a:lnTo>
                    <a:pt x="501" y="240"/>
                  </a:lnTo>
                  <a:lnTo>
                    <a:pt x="504" y="239"/>
                  </a:lnTo>
                  <a:lnTo>
                    <a:pt x="501" y="239"/>
                  </a:lnTo>
                  <a:lnTo>
                    <a:pt x="500" y="238"/>
                  </a:lnTo>
                  <a:lnTo>
                    <a:pt x="501" y="237"/>
                  </a:lnTo>
                  <a:lnTo>
                    <a:pt x="502" y="234"/>
                  </a:lnTo>
                  <a:lnTo>
                    <a:pt x="502" y="233"/>
                  </a:lnTo>
                  <a:lnTo>
                    <a:pt x="499" y="238"/>
                  </a:lnTo>
                  <a:lnTo>
                    <a:pt x="498" y="238"/>
                  </a:lnTo>
                  <a:lnTo>
                    <a:pt x="498" y="237"/>
                  </a:lnTo>
                  <a:lnTo>
                    <a:pt x="496" y="238"/>
                  </a:lnTo>
                  <a:lnTo>
                    <a:pt x="495" y="239"/>
                  </a:lnTo>
                  <a:lnTo>
                    <a:pt x="494" y="239"/>
                  </a:lnTo>
                  <a:lnTo>
                    <a:pt x="493" y="242"/>
                  </a:lnTo>
                  <a:lnTo>
                    <a:pt x="492" y="243"/>
                  </a:lnTo>
                  <a:lnTo>
                    <a:pt x="490" y="243"/>
                  </a:lnTo>
                  <a:lnTo>
                    <a:pt x="489" y="242"/>
                  </a:lnTo>
                  <a:lnTo>
                    <a:pt x="488" y="240"/>
                  </a:lnTo>
                  <a:lnTo>
                    <a:pt x="487" y="242"/>
                  </a:lnTo>
                  <a:lnTo>
                    <a:pt x="486" y="244"/>
                  </a:lnTo>
                  <a:lnTo>
                    <a:pt x="484" y="244"/>
                  </a:lnTo>
                  <a:lnTo>
                    <a:pt x="483" y="243"/>
                  </a:lnTo>
                  <a:lnTo>
                    <a:pt x="482" y="243"/>
                  </a:lnTo>
                  <a:lnTo>
                    <a:pt x="482" y="245"/>
                  </a:lnTo>
                  <a:lnTo>
                    <a:pt x="481" y="248"/>
                  </a:lnTo>
                  <a:lnTo>
                    <a:pt x="478" y="248"/>
                  </a:lnTo>
                  <a:lnTo>
                    <a:pt x="474" y="245"/>
                  </a:lnTo>
                  <a:lnTo>
                    <a:pt x="472" y="244"/>
                  </a:lnTo>
                  <a:lnTo>
                    <a:pt x="470" y="242"/>
                  </a:lnTo>
                  <a:lnTo>
                    <a:pt x="469" y="239"/>
                  </a:lnTo>
                  <a:lnTo>
                    <a:pt x="468" y="237"/>
                  </a:lnTo>
                  <a:lnTo>
                    <a:pt x="469" y="237"/>
                  </a:lnTo>
                  <a:lnTo>
                    <a:pt x="470" y="236"/>
                  </a:lnTo>
                  <a:lnTo>
                    <a:pt x="468" y="234"/>
                  </a:lnTo>
                  <a:lnTo>
                    <a:pt x="466" y="234"/>
                  </a:lnTo>
                  <a:lnTo>
                    <a:pt x="466" y="233"/>
                  </a:lnTo>
                  <a:lnTo>
                    <a:pt x="470" y="233"/>
                  </a:lnTo>
                  <a:lnTo>
                    <a:pt x="471" y="233"/>
                  </a:lnTo>
                  <a:lnTo>
                    <a:pt x="471" y="232"/>
                  </a:lnTo>
                  <a:lnTo>
                    <a:pt x="470" y="231"/>
                  </a:lnTo>
                  <a:lnTo>
                    <a:pt x="466" y="231"/>
                  </a:lnTo>
                  <a:lnTo>
                    <a:pt x="465" y="230"/>
                  </a:lnTo>
                  <a:lnTo>
                    <a:pt x="465" y="226"/>
                  </a:lnTo>
                  <a:lnTo>
                    <a:pt x="466" y="226"/>
                  </a:lnTo>
                  <a:lnTo>
                    <a:pt x="468" y="226"/>
                  </a:lnTo>
                  <a:lnTo>
                    <a:pt x="469" y="226"/>
                  </a:lnTo>
                  <a:lnTo>
                    <a:pt x="469" y="230"/>
                  </a:lnTo>
                  <a:lnTo>
                    <a:pt x="470" y="228"/>
                  </a:lnTo>
                  <a:lnTo>
                    <a:pt x="470" y="226"/>
                  </a:lnTo>
                  <a:lnTo>
                    <a:pt x="471" y="226"/>
                  </a:lnTo>
                  <a:lnTo>
                    <a:pt x="472" y="226"/>
                  </a:lnTo>
                  <a:lnTo>
                    <a:pt x="474" y="225"/>
                  </a:lnTo>
                  <a:lnTo>
                    <a:pt x="472" y="224"/>
                  </a:lnTo>
                  <a:lnTo>
                    <a:pt x="474" y="224"/>
                  </a:lnTo>
                  <a:lnTo>
                    <a:pt x="475" y="225"/>
                  </a:lnTo>
                  <a:lnTo>
                    <a:pt x="474" y="226"/>
                  </a:lnTo>
                  <a:lnTo>
                    <a:pt x="475" y="227"/>
                  </a:lnTo>
                  <a:lnTo>
                    <a:pt x="476" y="225"/>
                  </a:lnTo>
                  <a:lnTo>
                    <a:pt x="477" y="225"/>
                  </a:lnTo>
                  <a:lnTo>
                    <a:pt x="477" y="226"/>
                  </a:lnTo>
                  <a:lnTo>
                    <a:pt x="478" y="226"/>
                  </a:lnTo>
                  <a:lnTo>
                    <a:pt x="480" y="224"/>
                  </a:lnTo>
                  <a:lnTo>
                    <a:pt x="481" y="224"/>
                  </a:lnTo>
                  <a:lnTo>
                    <a:pt x="481" y="219"/>
                  </a:lnTo>
                  <a:lnTo>
                    <a:pt x="482" y="219"/>
                  </a:lnTo>
                  <a:lnTo>
                    <a:pt x="482" y="220"/>
                  </a:lnTo>
                  <a:lnTo>
                    <a:pt x="482" y="221"/>
                  </a:lnTo>
                  <a:lnTo>
                    <a:pt x="483" y="221"/>
                  </a:lnTo>
                  <a:lnTo>
                    <a:pt x="484" y="221"/>
                  </a:lnTo>
                  <a:lnTo>
                    <a:pt x="484" y="220"/>
                  </a:lnTo>
                  <a:lnTo>
                    <a:pt x="486" y="220"/>
                  </a:lnTo>
                  <a:lnTo>
                    <a:pt x="487" y="220"/>
                  </a:lnTo>
                  <a:lnTo>
                    <a:pt x="488" y="219"/>
                  </a:lnTo>
                  <a:lnTo>
                    <a:pt x="488" y="216"/>
                  </a:lnTo>
                  <a:lnTo>
                    <a:pt x="489" y="214"/>
                  </a:lnTo>
                  <a:lnTo>
                    <a:pt x="490" y="213"/>
                  </a:lnTo>
                  <a:lnTo>
                    <a:pt x="492" y="213"/>
                  </a:lnTo>
                  <a:lnTo>
                    <a:pt x="490" y="212"/>
                  </a:lnTo>
                  <a:lnTo>
                    <a:pt x="490" y="210"/>
                  </a:lnTo>
                  <a:lnTo>
                    <a:pt x="492" y="209"/>
                  </a:lnTo>
                  <a:lnTo>
                    <a:pt x="493" y="210"/>
                  </a:lnTo>
                  <a:lnTo>
                    <a:pt x="494" y="210"/>
                  </a:lnTo>
                  <a:lnTo>
                    <a:pt x="493" y="209"/>
                  </a:lnTo>
                  <a:lnTo>
                    <a:pt x="490" y="208"/>
                  </a:lnTo>
                  <a:lnTo>
                    <a:pt x="490" y="206"/>
                  </a:lnTo>
                  <a:lnTo>
                    <a:pt x="492" y="206"/>
                  </a:lnTo>
                  <a:lnTo>
                    <a:pt x="492" y="208"/>
                  </a:lnTo>
                  <a:lnTo>
                    <a:pt x="493" y="208"/>
                  </a:lnTo>
                  <a:lnTo>
                    <a:pt x="494" y="207"/>
                  </a:lnTo>
                  <a:lnTo>
                    <a:pt x="495" y="208"/>
                  </a:lnTo>
                  <a:lnTo>
                    <a:pt x="496" y="208"/>
                  </a:lnTo>
                  <a:lnTo>
                    <a:pt x="498" y="208"/>
                  </a:lnTo>
                  <a:lnTo>
                    <a:pt x="496" y="207"/>
                  </a:lnTo>
                  <a:lnTo>
                    <a:pt x="498" y="207"/>
                  </a:lnTo>
                  <a:lnTo>
                    <a:pt x="499" y="208"/>
                  </a:lnTo>
                  <a:lnTo>
                    <a:pt x="499" y="207"/>
                  </a:lnTo>
                  <a:lnTo>
                    <a:pt x="500" y="207"/>
                  </a:lnTo>
                  <a:lnTo>
                    <a:pt x="499" y="206"/>
                  </a:lnTo>
                  <a:lnTo>
                    <a:pt x="496" y="203"/>
                  </a:lnTo>
                  <a:lnTo>
                    <a:pt x="495" y="202"/>
                  </a:lnTo>
                  <a:lnTo>
                    <a:pt x="494" y="202"/>
                  </a:lnTo>
                  <a:lnTo>
                    <a:pt x="492" y="201"/>
                  </a:lnTo>
                  <a:lnTo>
                    <a:pt x="495" y="201"/>
                  </a:lnTo>
                  <a:lnTo>
                    <a:pt x="495" y="200"/>
                  </a:lnTo>
                  <a:lnTo>
                    <a:pt x="498" y="200"/>
                  </a:lnTo>
                  <a:lnTo>
                    <a:pt x="500" y="202"/>
                  </a:lnTo>
                  <a:lnTo>
                    <a:pt x="501" y="202"/>
                  </a:lnTo>
                  <a:lnTo>
                    <a:pt x="501" y="201"/>
                  </a:lnTo>
                  <a:lnTo>
                    <a:pt x="498" y="198"/>
                  </a:lnTo>
                  <a:lnTo>
                    <a:pt x="499" y="197"/>
                  </a:lnTo>
                  <a:lnTo>
                    <a:pt x="500" y="196"/>
                  </a:lnTo>
                  <a:lnTo>
                    <a:pt x="501" y="196"/>
                  </a:lnTo>
                  <a:lnTo>
                    <a:pt x="505" y="200"/>
                  </a:lnTo>
                  <a:lnTo>
                    <a:pt x="507" y="200"/>
                  </a:lnTo>
                  <a:lnTo>
                    <a:pt x="507" y="198"/>
                  </a:lnTo>
                  <a:lnTo>
                    <a:pt x="504" y="196"/>
                  </a:lnTo>
                  <a:lnTo>
                    <a:pt x="502" y="195"/>
                  </a:lnTo>
                  <a:lnTo>
                    <a:pt x="505" y="195"/>
                  </a:lnTo>
                  <a:lnTo>
                    <a:pt x="510" y="195"/>
                  </a:lnTo>
                  <a:lnTo>
                    <a:pt x="510" y="196"/>
                  </a:lnTo>
                  <a:lnTo>
                    <a:pt x="511" y="196"/>
                  </a:lnTo>
                  <a:lnTo>
                    <a:pt x="511" y="195"/>
                  </a:lnTo>
                  <a:lnTo>
                    <a:pt x="510" y="194"/>
                  </a:lnTo>
                  <a:lnTo>
                    <a:pt x="511" y="194"/>
                  </a:lnTo>
                  <a:lnTo>
                    <a:pt x="511" y="190"/>
                  </a:lnTo>
                  <a:lnTo>
                    <a:pt x="515" y="190"/>
                  </a:lnTo>
                  <a:lnTo>
                    <a:pt x="515" y="191"/>
                  </a:lnTo>
                  <a:lnTo>
                    <a:pt x="517" y="191"/>
                  </a:lnTo>
                  <a:lnTo>
                    <a:pt x="517" y="190"/>
                  </a:lnTo>
                  <a:lnTo>
                    <a:pt x="516" y="190"/>
                  </a:lnTo>
                  <a:lnTo>
                    <a:pt x="515" y="189"/>
                  </a:lnTo>
                  <a:lnTo>
                    <a:pt x="515" y="188"/>
                  </a:lnTo>
                  <a:lnTo>
                    <a:pt x="516" y="186"/>
                  </a:lnTo>
                  <a:lnTo>
                    <a:pt x="521" y="188"/>
                  </a:lnTo>
                  <a:lnTo>
                    <a:pt x="522" y="188"/>
                  </a:lnTo>
                  <a:lnTo>
                    <a:pt x="523" y="188"/>
                  </a:lnTo>
                  <a:lnTo>
                    <a:pt x="523" y="186"/>
                  </a:lnTo>
                  <a:lnTo>
                    <a:pt x="519" y="185"/>
                  </a:lnTo>
                  <a:lnTo>
                    <a:pt x="519" y="184"/>
                  </a:lnTo>
                  <a:lnTo>
                    <a:pt x="521" y="182"/>
                  </a:lnTo>
                  <a:lnTo>
                    <a:pt x="523" y="180"/>
                  </a:lnTo>
                  <a:lnTo>
                    <a:pt x="522" y="179"/>
                  </a:lnTo>
                  <a:lnTo>
                    <a:pt x="521" y="180"/>
                  </a:lnTo>
                  <a:lnTo>
                    <a:pt x="518" y="182"/>
                  </a:lnTo>
                  <a:lnTo>
                    <a:pt x="513" y="184"/>
                  </a:lnTo>
                  <a:lnTo>
                    <a:pt x="512" y="185"/>
                  </a:lnTo>
                  <a:lnTo>
                    <a:pt x="512" y="188"/>
                  </a:lnTo>
                  <a:lnTo>
                    <a:pt x="511" y="188"/>
                  </a:lnTo>
                  <a:lnTo>
                    <a:pt x="510" y="188"/>
                  </a:lnTo>
                  <a:lnTo>
                    <a:pt x="511" y="185"/>
                  </a:lnTo>
                  <a:lnTo>
                    <a:pt x="511" y="184"/>
                  </a:lnTo>
                  <a:lnTo>
                    <a:pt x="510" y="186"/>
                  </a:lnTo>
                  <a:lnTo>
                    <a:pt x="509" y="188"/>
                  </a:lnTo>
                  <a:lnTo>
                    <a:pt x="507" y="189"/>
                  </a:lnTo>
                  <a:lnTo>
                    <a:pt x="506" y="189"/>
                  </a:lnTo>
                  <a:lnTo>
                    <a:pt x="505" y="190"/>
                  </a:lnTo>
                  <a:lnTo>
                    <a:pt x="504" y="189"/>
                  </a:lnTo>
                  <a:lnTo>
                    <a:pt x="504" y="188"/>
                  </a:lnTo>
                  <a:lnTo>
                    <a:pt x="504" y="186"/>
                  </a:lnTo>
                  <a:lnTo>
                    <a:pt x="502" y="185"/>
                  </a:lnTo>
                  <a:lnTo>
                    <a:pt x="501" y="186"/>
                  </a:lnTo>
                  <a:lnTo>
                    <a:pt x="501" y="190"/>
                  </a:lnTo>
                  <a:lnTo>
                    <a:pt x="501" y="194"/>
                  </a:lnTo>
                  <a:lnTo>
                    <a:pt x="499" y="195"/>
                  </a:lnTo>
                  <a:lnTo>
                    <a:pt x="498" y="191"/>
                  </a:lnTo>
                  <a:lnTo>
                    <a:pt x="498" y="192"/>
                  </a:lnTo>
                  <a:lnTo>
                    <a:pt x="496" y="194"/>
                  </a:lnTo>
                  <a:lnTo>
                    <a:pt x="495" y="194"/>
                  </a:lnTo>
                  <a:lnTo>
                    <a:pt x="494" y="195"/>
                  </a:lnTo>
                  <a:lnTo>
                    <a:pt x="494" y="196"/>
                  </a:lnTo>
                  <a:lnTo>
                    <a:pt x="490" y="197"/>
                  </a:lnTo>
                  <a:lnTo>
                    <a:pt x="488" y="195"/>
                  </a:lnTo>
                  <a:lnTo>
                    <a:pt x="488" y="196"/>
                  </a:lnTo>
                  <a:lnTo>
                    <a:pt x="488" y="197"/>
                  </a:lnTo>
                  <a:lnTo>
                    <a:pt x="478" y="204"/>
                  </a:lnTo>
                  <a:lnTo>
                    <a:pt x="476" y="206"/>
                  </a:lnTo>
                  <a:lnTo>
                    <a:pt x="474" y="206"/>
                  </a:lnTo>
                  <a:lnTo>
                    <a:pt x="472" y="207"/>
                  </a:lnTo>
                  <a:lnTo>
                    <a:pt x="471" y="208"/>
                  </a:lnTo>
                  <a:lnTo>
                    <a:pt x="470" y="209"/>
                  </a:lnTo>
                  <a:lnTo>
                    <a:pt x="468" y="209"/>
                  </a:lnTo>
                  <a:lnTo>
                    <a:pt x="466" y="208"/>
                  </a:lnTo>
                  <a:lnTo>
                    <a:pt x="465" y="208"/>
                  </a:lnTo>
                  <a:lnTo>
                    <a:pt x="464" y="209"/>
                  </a:lnTo>
                  <a:lnTo>
                    <a:pt x="462" y="209"/>
                  </a:lnTo>
                  <a:lnTo>
                    <a:pt x="460" y="208"/>
                  </a:lnTo>
                  <a:lnTo>
                    <a:pt x="457" y="207"/>
                  </a:lnTo>
                  <a:lnTo>
                    <a:pt x="453" y="204"/>
                  </a:lnTo>
                  <a:lnTo>
                    <a:pt x="452" y="204"/>
                  </a:lnTo>
                  <a:lnTo>
                    <a:pt x="451" y="204"/>
                  </a:lnTo>
                  <a:lnTo>
                    <a:pt x="446" y="206"/>
                  </a:lnTo>
                  <a:lnTo>
                    <a:pt x="443" y="204"/>
                  </a:lnTo>
                  <a:lnTo>
                    <a:pt x="443" y="202"/>
                  </a:lnTo>
                  <a:lnTo>
                    <a:pt x="443" y="200"/>
                  </a:lnTo>
                  <a:lnTo>
                    <a:pt x="442" y="197"/>
                  </a:lnTo>
                  <a:lnTo>
                    <a:pt x="443" y="197"/>
                  </a:lnTo>
                  <a:lnTo>
                    <a:pt x="445" y="198"/>
                  </a:lnTo>
                  <a:lnTo>
                    <a:pt x="448" y="201"/>
                  </a:lnTo>
                  <a:lnTo>
                    <a:pt x="450" y="201"/>
                  </a:lnTo>
                  <a:lnTo>
                    <a:pt x="451" y="200"/>
                  </a:lnTo>
                  <a:lnTo>
                    <a:pt x="448" y="200"/>
                  </a:lnTo>
                  <a:lnTo>
                    <a:pt x="447" y="197"/>
                  </a:lnTo>
                  <a:lnTo>
                    <a:pt x="445" y="196"/>
                  </a:lnTo>
                  <a:lnTo>
                    <a:pt x="442" y="195"/>
                  </a:lnTo>
                  <a:lnTo>
                    <a:pt x="443" y="194"/>
                  </a:lnTo>
                  <a:lnTo>
                    <a:pt x="445" y="194"/>
                  </a:lnTo>
                  <a:lnTo>
                    <a:pt x="446" y="192"/>
                  </a:lnTo>
                  <a:lnTo>
                    <a:pt x="443" y="192"/>
                  </a:lnTo>
                  <a:lnTo>
                    <a:pt x="442" y="190"/>
                  </a:lnTo>
                  <a:lnTo>
                    <a:pt x="443" y="189"/>
                  </a:lnTo>
                  <a:lnTo>
                    <a:pt x="446" y="189"/>
                  </a:lnTo>
                  <a:lnTo>
                    <a:pt x="448" y="188"/>
                  </a:lnTo>
                  <a:lnTo>
                    <a:pt x="450" y="186"/>
                  </a:lnTo>
                  <a:lnTo>
                    <a:pt x="448" y="186"/>
                  </a:lnTo>
                  <a:lnTo>
                    <a:pt x="445" y="186"/>
                  </a:lnTo>
                  <a:lnTo>
                    <a:pt x="441" y="188"/>
                  </a:lnTo>
                  <a:lnTo>
                    <a:pt x="439" y="189"/>
                  </a:lnTo>
                  <a:lnTo>
                    <a:pt x="433" y="183"/>
                  </a:lnTo>
                  <a:lnTo>
                    <a:pt x="431" y="183"/>
                  </a:lnTo>
                  <a:lnTo>
                    <a:pt x="429" y="180"/>
                  </a:lnTo>
                  <a:lnTo>
                    <a:pt x="429" y="179"/>
                  </a:lnTo>
                  <a:lnTo>
                    <a:pt x="428" y="178"/>
                  </a:lnTo>
                  <a:lnTo>
                    <a:pt x="427" y="178"/>
                  </a:lnTo>
                  <a:lnTo>
                    <a:pt x="425" y="176"/>
                  </a:lnTo>
                  <a:lnTo>
                    <a:pt x="424" y="176"/>
                  </a:lnTo>
                  <a:lnTo>
                    <a:pt x="423" y="174"/>
                  </a:lnTo>
                  <a:lnTo>
                    <a:pt x="422" y="172"/>
                  </a:lnTo>
                  <a:lnTo>
                    <a:pt x="422" y="168"/>
                  </a:lnTo>
                  <a:lnTo>
                    <a:pt x="423" y="167"/>
                  </a:lnTo>
                  <a:lnTo>
                    <a:pt x="424" y="167"/>
                  </a:lnTo>
                  <a:lnTo>
                    <a:pt x="423" y="166"/>
                  </a:lnTo>
                  <a:lnTo>
                    <a:pt x="423" y="165"/>
                  </a:lnTo>
                  <a:lnTo>
                    <a:pt x="424" y="162"/>
                  </a:lnTo>
                  <a:lnTo>
                    <a:pt x="425" y="161"/>
                  </a:lnTo>
                  <a:lnTo>
                    <a:pt x="427" y="162"/>
                  </a:lnTo>
                  <a:lnTo>
                    <a:pt x="428" y="164"/>
                  </a:lnTo>
                  <a:lnTo>
                    <a:pt x="429" y="164"/>
                  </a:lnTo>
                  <a:lnTo>
                    <a:pt x="429" y="166"/>
                  </a:lnTo>
                  <a:lnTo>
                    <a:pt x="430" y="166"/>
                  </a:lnTo>
                  <a:lnTo>
                    <a:pt x="431" y="165"/>
                  </a:lnTo>
                  <a:lnTo>
                    <a:pt x="431" y="168"/>
                  </a:lnTo>
                  <a:lnTo>
                    <a:pt x="433" y="168"/>
                  </a:lnTo>
                  <a:lnTo>
                    <a:pt x="433" y="167"/>
                  </a:lnTo>
                  <a:lnTo>
                    <a:pt x="433" y="165"/>
                  </a:lnTo>
                  <a:lnTo>
                    <a:pt x="433" y="164"/>
                  </a:lnTo>
                  <a:lnTo>
                    <a:pt x="434" y="165"/>
                  </a:lnTo>
                  <a:lnTo>
                    <a:pt x="437" y="168"/>
                  </a:lnTo>
                  <a:lnTo>
                    <a:pt x="440" y="168"/>
                  </a:lnTo>
                  <a:lnTo>
                    <a:pt x="439" y="167"/>
                  </a:lnTo>
                  <a:lnTo>
                    <a:pt x="435" y="164"/>
                  </a:lnTo>
                  <a:lnTo>
                    <a:pt x="435" y="161"/>
                  </a:lnTo>
                  <a:lnTo>
                    <a:pt x="436" y="161"/>
                  </a:lnTo>
                  <a:lnTo>
                    <a:pt x="437" y="162"/>
                  </a:lnTo>
                  <a:lnTo>
                    <a:pt x="439" y="162"/>
                  </a:lnTo>
                  <a:lnTo>
                    <a:pt x="440" y="164"/>
                  </a:lnTo>
                  <a:lnTo>
                    <a:pt x="441" y="164"/>
                  </a:lnTo>
                  <a:lnTo>
                    <a:pt x="442" y="162"/>
                  </a:lnTo>
                  <a:lnTo>
                    <a:pt x="442" y="160"/>
                  </a:lnTo>
                  <a:lnTo>
                    <a:pt x="442" y="159"/>
                  </a:lnTo>
                  <a:lnTo>
                    <a:pt x="442" y="157"/>
                  </a:lnTo>
                  <a:lnTo>
                    <a:pt x="443" y="157"/>
                  </a:lnTo>
                  <a:lnTo>
                    <a:pt x="442" y="156"/>
                  </a:lnTo>
                  <a:lnTo>
                    <a:pt x="442" y="155"/>
                  </a:lnTo>
                  <a:lnTo>
                    <a:pt x="445" y="154"/>
                  </a:lnTo>
                  <a:lnTo>
                    <a:pt x="445" y="153"/>
                  </a:lnTo>
                  <a:lnTo>
                    <a:pt x="443" y="151"/>
                  </a:lnTo>
                  <a:lnTo>
                    <a:pt x="442" y="151"/>
                  </a:lnTo>
                  <a:lnTo>
                    <a:pt x="442" y="150"/>
                  </a:lnTo>
                  <a:lnTo>
                    <a:pt x="441" y="154"/>
                  </a:lnTo>
                  <a:lnTo>
                    <a:pt x="441" y="153"/>
                  </a:lnTo>
                  <a:lnTo>
                    <a:pt x="441" y="151"/>
                  </a:lnTo>
                  <a:lnTo>
                    <a:pt x="442" y="149"/>
                  </a:lnTo>
                  <a:lnTo>
                    <a:pt x="442" y="147"/>
                  </a:lnTo>
                  <a:lnTo>
                    <a:pt x="445" y="145"/>
                  </a:lnTo>
                  <a:lnTo>
                    <a:pt x="446" y="148"/>
                  </a:lnTo>
                  <a:lnTo>
                    <a:pt x="448" y="149"/>
                  </a:lnTo>
                  <a:lnTo>
                    <a:pt x="448" y="148"/>
                  </a:lnTo>
                  <a:lnTo>
                    <a:pt x="447" y="147"/>
                  </a:lnTo>
                  <a:lnTo>
                    <a:pt x="446" y="145"/>
                  </a:lnTo>
                  <a:lnTo>
                    <a:pt x="446" y="144"/>
                  </a:lnTo>
                  <a:lnTo>
                    <a:pt x="447" y="144"/>
                  </a:lnTo>
                  <a:lnTo>
                    <a:pt x="448" y="144"/>
                  </a:lnTo>
                  <a:lnTo>
                    <a:pt x="448" y="138"/>
                  </a:lnTo>
                  <a:lnTo>
                    <a:pt x="450" y="138"/>
                  </a:lnTo>
                  <a:lnTo>
                    <a:pt x="450" y="139"/>
                  </a:lnTo>
                  <a:lnTo>
                    <a:pt x="451" y="141"/>
                  </a:lnTo>
                  <a:lnTo>
                    <a:pt x="452" y="142"/>
                  </a:lnTo>
                  <a:lnTo>
                    <a:pt x="452" y="144"/>
                  </a:lnTo>
                  <a:lnTo>
                    <a:pt x="453" y="144"/>
                  </a:lnTo>
                  <a:lnTo>
                    <a:pt x="454" y="143"/>
                  </a:lnTo>
                  <a:lnTo>
                    <a:pt x="454" y="142"/>
                  </a:lnTo>
                  <a:lnTo>
                    <a:pt x="454" y="141"/>
                  </a:lnTo>
                  <a:lnTo>
                    <a:pt x="456" y="139"/>
                  </a:lnTo>
                  <a:lnTo>
                    <a:pt x="454" y="138"/>
                  </a:lnTo>
                  <a:lnTo>
                    <a:pt x="453" y="139"/>
                  </a:lnTo>
                  <a:lnTo>
                    <a:pt x="452" y="138"/>
                  </a:lnTo>
                  <a:lnTo>
                    <a:pt x="451" y="137"/>
                  </a:lnTo>
                  <a:lnTo>
                    <a:pt x="453" y="137"/>
                  </a:lnTo>
                  <a:lnTo>
                    <a:pt x="454" y="137"/>
                  </a:lnTo>
                  <a:lnTo>
                    <a:pt x="456" y="136"/>
                  </a:lnTo>
                  <a:lnTo>
                    <a:pt x="451" y="136"/>
                  </a:lnTo>
                  <a:lnTo>
                    <a:pt x="448" y="135"/>
                  </a:lnTo>
                  <a:lnTo>
                    <a:pt x="448" y="133"/>
                  </a:lnTo>
                  <a:lnTo>
                    <a:pt x="451" y="132"/>
                  </a:lnTo>
                  <a:lnTo>
                    <a:pt x="453" y="133"/>
                  </a:lnTo>
                  <a:lnTo>
                    <a:pt x="456" y="133"/>
                  </a:lnTo>
                  <a:lnTo>
                    <a:pt x="452" y="131"/>
                  </a:lnTo>
                  <a:lnTo>
                    <a:pt x="454" y="130"/>
                  </a:lnTo>
                  <a:lnTo>
                    <a:pt x="458" y="132"/>
                  </a:lnTo>
                  <a:lnTo>
                    <a:pt x="459" y="132"/>
                  </a:lnTo>
                  <a:lnTo>
                    <a:pt x="459" y="131"/>
                  </a:lnTo>
                  <a:lnTo>
                    <a:pt x="457" y="129"/>
                  </a:lnTo>
                  <a:lnTo>
                    <a:pt x="457" y="127"/>
                  </a:lnTo>
                  <a:lnTo>
                    <a:pt x="458" y="127"/>
                  </a:lnTo>
                  <a:lnTo>
                    <a:pt x="459" y="127"/>
                  </a:lnTo>
                  <a:lnTo>
                    <a:pt x="459" y="126"/>
                  </a:lnTo>
                  <a:lnTo>
                    <a:pt x="460" y="126"/>
                  </a:lnTo>
                  <a:lnTo>
                    <a:pt x="462" y="126"/>
                  </a:lnTo>
                  <a:lnTo>
                    <a:pt x="465" y="127"/>
                  </a:lnTo>
                  <a:lnTo>
                    <a:pt x="466" y="127"/>
                  </a:lnTo>
                  <a:lnTo>
                    <a:pt x="468" y="129"/>
                  </a:lnTo>
                  <a:lnTo>
                    <a:pt x="469" y="127"/>
                  </a:lnTo>
                  <a:lnTo>
                    <a:pt x="469" y="125"/>
                  </a:lnTo>
                  <a:lnTo>
                    <a:pt x="468" y="124"/>
                  </a:lnTo>
                  <a:lnTo>
                    <a:pt x="466" y="124"/>
                  </a:lnTo>
                  <a:lnTo>
                    <a:pt x="466" y="123"/>
                  </a:lnTo>
                  <a:lnTo>
                    <a:pt x="465" y="124"/>
                  </a:lnTo>
                  <a:lnTo>
                    <a:pt x="463" y="124"/>
                  </a:lnTo>
                  <a:lnTo>
                    <a:pt x="463" y="123"/>
                  </a:lnTo>
                  <a:lnTo>
                    <a:pt x="466" y="120"/>
                  </a:lnTo>
                  <a:lnTo>
                    <a:pt x="468" y="121"/>
                  </a:lnTo>
                  <a:lnTo>
                    <a:pt x="469" y="123"/>
                  </a:lnTo>
                  <a:lnTo>
                    <a:pt x="470" y="123"/>
                  </a:lnTo>
                  <a:lnTo>
                    <a:pt x="471" y="123"/>
                  </a:lnTo>
                  <a:lnTo>
                    <a:pt x="471" y="121"/>
                  </a:lnTo>
                  <a:lnTo>
                    <a:pt x="470" y="120"/>
                  </a:lnTo>
                  <a:lnTo>
                    <a:pt x="469" y="120"/>
                  </a:lnTo>
                  <a:lnTo>
                    <a:pt x="470" y="119"/>
                  </a:lnTo>
                  <a:lnTo>
                    <a:pt x="471" y="119"/>
                  </a:lnTo>
                  <a:lnTo>
                    <a:pt x="474" y="120"/>
                  </a:lnTo>
                  <a:lnTo>
                    <a:pt x="475" y="121"/>
                  </a:lnTo>
                  <a:lnTo>
                    <a:pt x="476" y="120"/>
                  </a:lnTo>
                  <a:lnTo>
                    <a:pt x="475" y="120"/>
                  </a:lnTo>
                  <a:lnTo>
                    <a:pt x="474" y="119"/>
                  </a:lnTo>
                  <a:lnTo>
                    <a:pt x="475" y="118"/>
                  </a:lnTo>
                  <a:lnTo>
                    <a:pt x="476" y="118"/>
                  </a:lnTo>
                  <a:lnTo>
                    <a:pt x="478" y="119"/>
                  </a:lnTo>
                  <a:lnTo>
                    <a:pt x="480" y="118"/>
                  </a:lnTo>
                  <a:lnTo>
                    <a:pt x="481" y="119"/>
                  </a:lnTo>
                  <a:lnTo>
                    <a:pt x="482" y="119"/>
                  </a:lnTo>
                  <a:lnTo>
                    <a:pt x="483" y="119"/>
                  </a:lnTo>
                  <a:lnTo>
                    <a:pt x="481" y="117"/>
                  </a:lnTo>
                  <a:lnTo>
                    <a:pt x="478" y="115"/>
                  </a:lnTo>
                  <a:lnTo>
                    <a:pt x="488" y="109"/>
                  </a:lnTo>
                  <a:lnTo>
                    <a:pt x="489" y="108"/>
                  </a:lnTo>
                  <a:lnTo>
                    <a:pt x="486" y="109"/>
                  </a:lnTo>
                  <a:lnTo>
                    <a:pt x="480" y="113"/>
                  </a:lnTo>
                  <a:lnTo>
                    <a:pt x="478" y="114"/>
                  </a:lnTo>
                  <a:lnTo>
                    <a:pt x="477" y="114"/>
                  </a:lnTo>
                  <a:lnTo>
                    <a:pt x="478" y="111"/>
                  </a:lnTo>
                  <a:lnTo>
                    <a:pt x="480" y="109"/>
                  </a:lnTo>
                  <a:lnTo>
                    <a:pt x="478" y="109"/>
                  </a:lnTo>
                  <a:lnTo>
                    <a:pt x="475" y="112"/>
                  </a:lnTo>
                  <a:lnTo>
                    <a:pt x="474" y="114"/>
                  </a:lnTo>
                  <a:lnTo>
                    <a:pt x="472" y="114"/>
                  </a:lnTo>
                  <a:lnTo>
                    <a:pt x="471" y="113"/>
                  </a:lnTo>
                  <a:lnTo>
                    <a:pt x="471" y="114"/>
                  </a:lnTo>
                  <a:lnTo>
                    <a:pt x="470" y="115"/>
                  </a:lnTo>
                  <a:lnTo>
                    <a:pt x="469" y="117"/>
                  </a:lnTo>
                  <a:lnTo>
                    <a:pt x="468" y="115"/>
                  </a:lnTo>
                  <a:lnTo>
                    <a:pt x="466" y="118"/>
                  </a:lnTo>
                  <a:lnTo>
                    <a:pt x="465" y="119"/>
                  </a:lnTo>
                  <a:lnTo>
                    <a:pt x="464" y="120"/>
                  </a:lnTo>
                  <a:lnTo>
                    <a:pt x="463" y="120"/>
                  </a:lnTo>
                  <a:lnTo>
                    <a:pt x="462" y="120"/>
                  </a:lnTo>
                  <a:lnTo>
                    <a:pt x="463" y="119"/>
                  </a:lnTo>
                  <a:lnTo>
                    <a:pt x="464" y="118"/>
                  </a:lnTo>
                  <a:lnTo>
                    <a:pt x="463" y="117"/>
                  </a:lnTo>
                  <a:lnTo>
                    <a:pt x="463" y="115"/>
                  </a:lnTo>
                  <a:lnTo>
                    <a:pt x="462" y="115"/>
                  </a:lnTo>
                  <a:lnTo>
                    <a:pt x="460" y="117"/>
                  </a:lnTo>
                  <a:lnTo>
                    <a:pt x="459" y="118"/>
                  </a:lnTo>
                  <a:lnTo>
                    <a:pt x="458" y="119"/>
                  </a:lnTo>
                  <a:lnTo>
                    <a:pt x="457" y="120"/>
                  </a:lnTo>
                  <a:lnTo>
                    <a:pt x="457" y="121"/>
                  </a:lnTo>
                  <a:lnTo>
                    <a:pt x="456" y="123"/>
                  </a:lnTo>
                  <a:lnTo>
                    <a:pt x="456" y="125"/>
                  </a:lnTo>
                  <a:lnTo>
                    <a:pt x="453" y="127"/>
                  </a:lnTo>
                  <a:lnTo>
                    <a:pt x="453" y="123"/>
                  </a:lnTo>
                  <a:lnTo>
                    <a:pt x="452" y="123"/>
                  </a:lnTo>
                  <a:lnTo>
                    <a:pt x="451" y="124"/>
                  </a:lnTo>
                  <a:lnTo>
                    <a:pt x="451" y="126"/>
                  </a:lnTo>
                  <a:lnTo>
                    <a:pt x="452" y="127"/>
                  </a:lnTo>
                  <a:lnTo>
                    <a:pt x="451" y="129"/>
                  </a:lnTo>
                  <a:lnTo>
                    <a:pt x="450" y="129"/>
                  </a:lnTo>
                  <a:lnTo>
                    <a:pt x="450" y="131"/>
                  </a:lnTo>
                  <a:lnTo>
                    <a:pt x="447" y="132"/>
                  </a:lnTo>
                  <a:lnTo>
                    <a:pt x="446" y="132"/>
                  </a:lnTo>
                  <a:lnTo>
                    <a:pt x="445" y="132"/>
                  </a:lnTo>
                  <a:lnTo>
                    <a:pt x="443" y="131"/>
                  </a:lnTo>
                  <a:lnTo>
                    <a:pt x="443" y="130"/>
                  </a:lnTo>
                  <a:lnTo>
                    <a:pt x="445" y="131"/>
                  </a:lnTo>
                  <a:lnTo>
                    <a:pt x="446" y="131"/>
                  </a:lnTo>
                  <a:lnTo>
                    <a:pt x="447" y="130"/>
                  </a:lnTo>
                  <a:lnTo>
                    <a:pt x="446" y="129"/>
                  </a:lnTo>
                  <a:lnTo>
                    <a:pt x="445" y="129"/>
                  </a:lnTo>
                  <a:lnTo>
                    <a:pt x="445" y="127"/>
                  </a:lnTo>
                  <a:lnTo>
                    <a:pt x="446" y="126"/>
                  </a:lnTo>
                  <a:lnTo>
                    <a:pt x="445" y="125"/>
                  </a:lnTo>
                  <a:lnTo>
                    <a:pt x="443" y="126"/>
                  </a:lnTo>
                  <a:lnTo>
                    <a:pt x="442" y="129"/>
                  </a:lnTo>
                  <a:lnTo>
                    <a:pt x="442" y="127"/>
                  </a:lnTo>
                  <a:lnTo>
                    <a:pt x="441" y="125"/>
                  </a:lnTo>
                  <a:lnTo>
                    <a:pt x="440" y="125"/>
                  </a:lnTo>
                  <a:lnTo>
                    <a:pt x="439" y="125"/>
                  </a:lnTo>
                  <a:lnTo>
                    <a:pt x="440" y="126"/>
                  </a:lnTo>
                  <a:lnTo>
                    <a:pt x="440" y="127"/>
                  </a:lnTo>
                  <a:lnTo>
                    <a:pt x="441" y="129"/>
                  </a:lnTo>
                  <a:lnTo>
                    <a:pt x="440" y="129"/>
                  </a:lnTo>
                  <a:lnTo>
                    <a:pt x="439" y="130"/>
                  </a:lnTo>
                  <a:lnTo>
                    <a:pt x="439" y="131"/>
                  </a:lnTo>
                  <a:lnTo>
                    <a:pt x="440" y="130"/>
                  </a:lnTo>
                  <a:lnTo>
                    <a:pt x="441" y="131"/>
                  </a:lnTo>
                  <a:lnTo>
                    <a:pt x="442" y="132"/>
                  </a:lnTo>
                  <a:lnTo>
                    <a:pt x="442" y="133"/>
                  </a:lnTo>
                  <a:lnTo>
                    <a:pt x="442" y="136"/>
                  </a:lnTo>
                  <a:lnTo>
                    <a:pt x="441" y="136"/>
                  </a:lnTo>
                  <a:lnTo>
                    <a:pt x="440" y="137"/>
                  </a:lnTo>
                  <a:lnTo>
                    <a:pt x="437" y="138"/>
                  </a:lnTo>
                  <a:lnTo>
                    <a:pt x="436" y="139"/>
                  </a:lnTo>
                  <a:lnTo>
                    <a:pt x="435" y="141"/>
                  </a:lnTo>
                  <a:lnTo>
                    <a:pt x="434" y="142"/>
                  </a:lnTo>
                  <a:lnTo>
                    <a:pt x="430" y="144"/>
                  </a:lnTo>
                  <a:lnTo>
                    <a:pt x="429" y="147"/>
                  </a:lnTo>
                  <a:lnTo>
                    <a:pt x="427" y="147"/>
                  </a:lnTo>
                  <a:lnTo>
                    <a:pt x="424" y="147"/>
                  </a:lnTo>
                  <a:lnTo>
                    <a:pt x="424" y="144"/>
                  </a:lnTo>
                  <a:lnTo>
                    <a:pt x="422" y="142"/>
                  </a:lnTo>
                  <a:lnTo>
                    <a:pt x="421" y="139"/>
                  </a:lnTo>
                  <a:lnTo>
                    <a:pt x="421" y="138"/>
                  </a:lnTo>
                  <a:lnTo>
                    <a:pt x="422" y="138"/>
                  </a:lnTo>
                  <a:lnTo>
                    <a:pt x="423" y="139"/>
                  </a:lnTo>
                  <a:lnTo>
                    <a:pt x="427" y="138"/>
                  </a:lnTo>
                  <a:lnTo>
                    <a:pt x="427" y="137"/>
                  </a:lnTo>
                  <a:lnTo>
                    <a:pt x="424" y="137"/>
                  </a:lnTo>
                  <a:lnTo>
                    <a:pt x="422" y="137"/>
                  </a:lnTo>
                  <a:lnTo>
                    <a:pt x="421" y="137"/>
                  </a:lnTo>
                  <a:lnTo>
                    <a:pt x="419" y="135"/>
                  </a:lnTo>
                  <a:lnTo>
                    <a:pt x="421" y="135"/>
                  </a:lnTo>
                  <a:lnTo>
                    <a:pt x="424" y="133"/>
                  </a:lnTo>
                  <a:lnTo>
                    <a:pt x="425" y="132"/>
                  </a:lnTo>
                  <a:lnTo>
                    <a:pt x="425" y="131"/>
                  </a:lnTo>
                  <a:lnTo>
                    <a:pt x="427" y="129"/>
                  </a:lnTo>
                  <a:lnTo>
                    <a:pt x="428" y="129"/>
                  </a:lnTo>
                  <a:lnTo>
                    <a:pt x="425" y="127"/>
                  </a:lnTo>
                  <a:lnTo>
                    <a:pt x="423" y="127"/>
                  </a:lnTo>
                  <a:lnTo>
                    <a:pt x="421" y="127"/>
                  </a:lnTo>
                  <a:lnTo>
                    <a:pt x="418" y="126"/>
                  </a:lnTo>
                  <a:lnTo>
                    <a:pt x="418" y="125"/>
                  </a:lnTo>
                  <a:lnTo>
                    <a:pt x="419" y="124"/>
                  </a:lnTo>
                  <a:lnTo>
                    <a:pt x="421" y="124"/>
                  </a:lnTo>
                  <a:lnTo>
                    <a:pt x="422" y="124"/>
                  </a:lnTo>
                  <a:lnTo>
                    <a:pt x="423" y="124"/>
                  </a:lnTo>
                  <a:lnTo>
                    <a:pt x="423" y="121"/>
                  </a:lnTo>
                  <a:lnTo>
                    <a:pt x="424" y="121"/>
                  </a:lnTo>
                  <a:lnTo>
                    <a:pt x="427" y="121"/>
                  </a:lnTo>
                  <a:lnTo>
                    <a:pt x="427" y="120"/>
                  </a:lnTo>
                  <a:lnTo>
                    <a:pt x="425" y="120"/>
                  </a:lnTo>
                  <a:lnTo>
                    <a:pt x="423" y="119"/>
                  </a:lnTo>
                  <a:lnTo>
                    <a:pt x="423" y="118"/>
                  </a:lnTo>
                  <a:lnTo>
                    <a:pt x="424" y="118"/>
                  </a:lnTo>
                  <a:lnTo>
                    <a:pt x="425" y="118"/>
                  </a:lnTo>
                  <a:lnTo>
                    <a:pt x="428" y="119"/>
                  </a:lnTo>
                  <a:lnTo>
                    <a:pt x="429" y="118"/>
                  </a:lnTo>
                  <a:lnTo>
                    <a:pt x="431" y="119"/>
                  </a:lnTo>
                  <a:lnTo>
                    <a:pt x="433" y="120"/>
                  </a:lnTo>
                  <a:lnTo>
                    <a:pt x="434" y="121"/>
                  </a:lnTo>
                  <a:lnTo>
                    <a:pt x="435" y="120"/>
                  </a:lnTo>
                  <a:lnTo>
                    <a:pt x="435" y="119"/>
                  </a:lnTo>
                  <a:lnTo>
                    <a:pt x="434" y="119"/>
                  </a:lnTo>
                  <a:lnTo>
                    <a:pt x="431" y="115"/>
                  </a:lnTo>
                  <a:lnTo>
                    <a:pt x="433" y="115"/>
                  </a:lnTo>
                  <a:lnTo>
                    <a:pt x="434" y="117"/>
                  </a:lnTo>
                  <a:lnTo>
                    <a:pt x="435" y="115"/>
                  </a:lnTo>
                  <a:lnTo>
                    <a:pt x="433" y="113"/>
                  </a:lnTo>
                  <a:lnTo>
                    <a:pt x="433" y="112"/>
                  </a:lnTo>
                  <a:lnTo>
                    <a:pt x="434" y="111"/>
                  </a:lnTo>
                  <a:lnTo>
                    <a:pt x="435" y="111"/>
                  </a:lnTo>
                  <a:lnTo>
                    <a:pt x="435" y="112"/>
                  </a:lnTo>
                  <a:lnTo>
                    <a:pt x="436" y="112"/>
                  </a:lnTo>
                  <a:lnTo>
                    <a:pt x="436" y="115"/>
                  </a:lnTo>
                  <a:lnTo>
                    <a:pt x="436" y="117"/>
                  </a:lnTo>
                  <a:lnTo>
                    <a:pt x="437" y="117"/>
                  </a:lnTo>
                  <a:lnTo>
                    <a:pt x="439" y="114"/>
                  </a:lnTo>
                  <a:lnTo>
                    <a:pt x="439" y="113"/>
                  </a:lnTo>
                  <a:lnTo>
                    <a:pt x="440" y="113"/>
                  </a:lnTo>
                  <a:lnTo>
                    <a:pt x="442" y="112"/>
                  </a:lnTo>
                  <a:lnTo>
                    <a:pt x="441" y="111"/>
                  </a:lnTo>
                  <a:lnTo>
                    <a:pt x="440" y="111"/>
                  </a:lnTo>
                  <a:lnTo>
                    <a:pt x="437" y="111"/>
                  </a:lnTo>
                  <a:lnTo>
                    <a:pt x="439" y="109"/>
                  </a:lnTo>
                  <a:lnTo>
                    <a:pt x="440" y="109"/>
                  </a:lnTo>
                  <a:lnTo>
                    <a:pt x="440" y="108"/>
                  </a:lnTo>
                  <a:lnTo>
                    <a:pt x="441" y="108"/>
                  </a:lnTo>
                  <a:lnTo>
                    <a:pt x="441" y="107"/>
                  </a:lnTo>
                  <a:lnTo>
                    <a:pt x="442" y="106"/>
                  </a:lnTo>
                  <a:lnTo>
                    <a:pt x="445" y="105"/>
                  </a:lnTo>
                  <a:lnTo>
                    <a:pt x="446" y="105"/>
                  </a:lnTo>
                  <a:lnTo>
                    <a:pt x="446" y="103"/>
                  </a:lnTo>
                  <a:lnTo>
                    <a:pt x="448" y="103"/>
                  </a:lnTo>
                  <a:lnTo>
                    <a:pt x="450" y="103"/>
                  </a:lnTo>
                  <a:lnTo>
                    <a:pt x="447" y="102"/>
                  </a:lnTo>
                  <a:lnTo>
                    <a:pt x="447" y="101"/>
                  </a:lnTo>
                  <a:lnTo>
                    <a:pt x="446" y="100"/>
                  </a:lnTo>
                  <a:lnTo>
                    <a:pt x="446" y="99"/>
                  </a:lnTo>
                  <a:lnTo>
                    <a:pt x="447" y="99"/>
                  </a:lnTo>
                  <a:lnTo>
                    <a:pt x="448" y="97"/>
                  </a:lnTo>
                  <a:lnTo>
                    <a:pt x="448" y="99"/>
                  </a:lnTo>
                  <a:lnTo>
                    <a:pt x="450" y="99"/>
                  </a:lnTo>
                  <a:lnTo>
                    <a:pt x="453" y="99"/>
                  </a:lnTo>
                  <a:lnTo>
                    <a:pt x="454" y="99"/>
                  </a:lnTo>
                  <a:lnTo>
                    <a:pt x="458" y="99"/>
                  </a:lnTo>
                  <a:lnTo>
                    <a:pt x="459" y="100"/>
                  </a:lnTo>
                  <a:lnTo>
                    <a:pt x="460" y="99"/>
                  </a:lnTo>
                  <a:lnTo>
                    <a:pt x="460" y="97"/>
                  </a:lnTo>
                  <a:lnTo>
                    <a:pt x="459" y="96"/>
                  </a:lnTo>
                  <a:lnTo>
                    <a:pt x="458" y="96"/>
                  </a:lnTo>
                  <a:lnTo>
                    <a:pt x="457" y="95"/>
                  </a:lnTo>
                  <a:lnTo>
                    <a:pt x="457" y="96"/>
                  </a:lnTo>
                  <a:lnTo>
                    <a:pt x="456" y="96"/>
                  </a:lnTo>
                  <a:lnTo>
                    <a:pt x="456" y="95"/>
                  </a:lnTo>
                  <a:lnTo>
                    <a:pt x="457" y="94"/>
                  </a:lnTo>
                  <a:lnTo>
                    <a:pt x="458" y="94"/>
                  </a:lnTo>
                  <a:lnTo>
                    <a:pt x="458" y="95"/>
                  </a:lnTo>
                  <a:lnTo>
                    <a:pt x="462" y="97"/>
                  </a:lnTo>
                  <a:lnTo>
                    <a:pt x="462" y="96"/>
                  </a:lnTo>
                  <a:lnTo>
                    <a:pt x="462" y="95"/>
                  </a:lnTo>
                  <a:lnTo>
                    <a:pt x="460" y="95"/>
                  </a:lnTo>
                  <a:lnTo>
                    <a:pt x="459" y="95"/>
                  </a:lnTo>
                  <a:lnTo>
                    <a:pt x="459" y="94"/>
                  </a:lnTo>
                  <a:lnTo>
                    <a:pt x="459" y="93"/>
                  </a:lnTo>
                  <a:lnTo>
                    <a:pt x="459" y="91"/>
                  </a:lnTo>
                  <a:lnTo>
                    <a:pt x="460" y="91"/>
                  </a:lnTo>
                  <a:lnTo>
                    <a:pt x="462" y="91"/>
                  </a:lnTo>
                  <a:lnTo>
                    <a:pt x="463" y="93"/>
                  </a:lnTo>
                  <a:lnTo>
                    <a:pt x="464" y="95"/>
                  </a:lnTo>
                  <a:lnTo>
                    <a:pt x="465" y="95"/>
                  </a:lnTo>
                  <a:lnTo>
                    <a:pt x="465" y="93"/>
                  </a:lnTo>
                  <a:lnTo>
                    <a:pt x="464" y="93"/>
                  </a:lnTo>
                  <a:lnTo>
                    <a:pt x="464" y="91"/>
                  </a:lnTo>
                  <a:lnTo>
                    <a:pt x="464" y="90"/>
                  </a:lnTo>
                  <a:lnTo>
                    <a:pt x="464" y="89"/>
                  </a:lnTo>
                  <a:lnTo>
                    <a:pt x="465" y="90"/>
                  </a:lnTo>
                  <a:lnTo>
                    <a:pt x="466" y="90"/>
                  </a:lnTo>
                  <a:lnTo>
                    <a:pt x="469" y="91"/>
                  </a:lnTo>
                  <a:lnTo>
                    <a:pt x="471" y="91"/>
                  </a:lnTo>
                  <a:lnTo>
                    <a:pt x="471" y="90"/>
                  </a:lnTo>
                  <a:lnTo>
                    <a:pt x="470" y="90"/>
                  </a:lnTo>
                  <a:lnTo>
                    <a:pt x="470" y="89"/>
                  </a:lnTo>
                  <a:lnTo>
                    <a:pt x="469" y="88"/>
                  </a:lnTo>
                  <a:lnTo>
                    <a:pt x="468" y="88"/>
                  </a:lnTo>
                  <a:lnTo>
                    <a:pt x="468" y="87"/>
                  </a:lnTo>
                  <a:lnTo>
                    <a:pt x="469" y="87"/>
                  </a:lnTo>
                  <a:lnTo>
                    <a:pt x="475" y="83"/>
                  </a:lnTo>
                  <a:lnTo>
                    <a:pt x="476" y="82"/>
                  </a:lnTo>
                  <a:lnTo>
                    <a:pt x="475" y="82"/>
                  </a:lnTo>
                  <a:lnTo>
                    <a:pt x="472" y="84"/>
                  </a:lnTo>
                  <a:lnTo>
                    <a:pt x="468" y="85"/>
                  </a:lnTo>
                  <a:lnTo>
                    <a:pt x="469" y="84"/>
                  </a:lnTo>
                  <a:lnTo>
                    <a:pt x="469" y="83"/>
                  </a:lnTo>
                  <a:lnTo>
                    <a:pt x="469" y="82"/>
                  </a:lnTo>
                  <a:lnTo>
                    <a:pt x="468" y="82"/>
                  </a:lnTo>
                  <a:lnTo>
                    <a:pt x="465" y="84"/>
                  </a:lnTo>
                  <a:lnTo>
                    <a:pt x="464" y="85"/>
                  </a:lnTo>
                  <a:lnTo>
                    <a:pt x="462" y="87"/>
                  </a:lnTo>
                  <a:lnTo>
                    <a:pt x="460" y="88"/>
                  </a:lnTo>
                  <a:lnTo>
                    <a:pt x="459" y="88"/>
                  </a:lnTo>
                  <a:lnTo>
                    <a:pt x="458" y="88"/>
                  </a:lnTo>
                  <a:lnTo>
                    <a:pt x="458" y="87"/>
                  </a:lnTo>
                  <a:lnTo>
                    <a:pt x="457" y="85"/>
                  </a:lnTo>
                  <a:lnTo>
                    <a:pt x="456" y="87"/>
                  </a:lnTo>
                  <a:lnTo>
                    <a:pt x="456" y="88"/>
                  </a:lnTo>
                  <a:lnTo>
                    <a:pt x="454" y="89"/>
                  </a:lnTo>
                  <a:lnTo>
                    <a:pt x="452" y="90"/>
                  </a:lnTo>
                  <a:lnTo>
                    <a:pt x="451" y="91"/>
                  </a:lnTo>
                  <a:lnTo>
                    <a:pt x="451" y="90"/>
                  </a:lnTo>
                  <a:lnTo>
                    <a:pt x="452" y="89"/>
                  </a:lnTo>
                  <a:lnTo>
                    <a:pt x="453" y="88"/>
                  </a:lnTo>
                  <a:lnTo>
                    <a:pt x="452" y="88"/>
                  </a:lnTo>
                  <a:lnTo>
                    <a:pt x="451" y="87"/>
                  </a:lnTo>
                  <a:lnTo>
                    <a:pt x="450" y="87"/>
                  </a:lnTo>
                  <a:lnTo>
                    <a:pt x="448" y="88"/>
                  </a:lnTo>
                  <a:lnTo>
                    <a:pt x="447" y="89"/>
                  </a:lnTo>
                  <a:lnTo>
                    <a:pt x="447" y="90"/>
                  </a:lnTo>
                  <a:lnTo>
                    <a:pt x="447" y="91"/>
                  </a:lnTo>
                  <a:lnTo>
                    <a:pt x="448" y="90"/>
                  </a:lnTo>
                  <a:lnTo>
                    <a:pt x="448" y="91"/>
                  </a:lnTo>
                  <a:lnTo>
                    <a:pt x="447" y="93"/>
                  </a:lnTo>
                  <a:lnTo>
                    <a:pt x="446" y="91"/>
                  </a:lnTo>
                  <a:lnTo>
                    <a:pt x="446" y="93"/>
                  </a:lnTo>
                  <a:lnTo>
                    <a:pt x="445" y="93"/>
                  </a:lnTo>
                  <a:lnTo>
                    <a:pt x="442" y="94"/>
                  </a:lnTo>
                  <a:lnTo>
                    <a:pt x="442" y="95"/>
                  </a:lnTo>
                  <a:lnTo>
                    <a:pt x="441" y="95"/>
                  </a:lnTo>
                  <a:lnTo>
                    <a:pt x="440" y="96"/>
                  </a:lnTo>
                  <a:lnTo>
                    <a:pt x="439" y="96"/>
                  </a:lnTo>
                  <a:lnTo>
                    <a:pt x="437" y="96"/>
                  </a:lnTo>
                  <a:lnTo>
                    <a:pt x="435" y="96"/>
                  </a:lnTo>
                  <a:lnTo>
                    <a:pt x="434" y="97"/>
                  </a:lnTo>
                  <a:lnTo>
                    <a:pt x="433" y="100"/>
                  </a:lnTo>
                  <a:lnTo>
                    <a:pt x="431" y="101"/>
                  </a:lnTo>
                  <a:lnTo>
                    <a:pt x="429" y="102"/>
                  </a:lnTo>
                  <a:lnTo>
                    <a:pt x="428" y="103"/>
                  </a:lnTo>
                  <a:lnTo>
                    <a:pt x="427" y="105"/>
                  </a:lnTo>
                  <a:lnTo>
                    <a:pt x="425" y="105"/>
                  </a:lnTo>
                  <a:lnTo>
                    <a:pt x="427" y="103"/>
                  </a:lnTo>
                  <a:lnTo>
                    <a:pt x="425" y="102"/>
                  </a:lnTo>
                  <a:lnTo>
                    <a:pt x="425" y="101"/>
                  </a:lnTo>
                  <a:lnTo>
                    <a:pt x="427" y="100"/>
                  </a:lnTo>
                  <a:lnTo>
                    <a:pt x="425" y="99"/>
                  </a:lnTo>
                  <a:lnTo>
                    <a:pt x="425" y="97"/>
                  </a:lnTo>
                  <a:lnTo>
                    <a:pt x="427" y="97"/>
                  </a:lnTo>
                  <a:lnTo>
                    <a:pt x="431" y="97"/>
                  </a:lnTo>
                  <a:lnTo>
                    <a:pt x="431" y="96"/>
                  </a:lnTo>
                  <a:lnTo>
                    <a:pt x="430" y="96"/>
                  </a:lnTo>
                  <a:lnTo>
                    <a:pt x="433" y="95"/>
                  </a:lnTo>
                  <a:lnTo>
                    <a:pt x="431" y="94"/>
                  </a:lnTo>
                  <a:lnTo>
                    <a:pt x="430" y="95"/>
                  </a:lnTo>
                  <a:lnTo>
                    <a:pt x="427" y="95"/>
                  </a:lnTo>
                  <a:lnTo>
                    <a:pt x="425" y="94"/>
                  </a:lnTo>
                  <a:lnTo>
                    <a:pt x="425" y="93"/>
                  </a:lnTo>
                  <a:lnTo>
                    <a:pt x="424" y="91"/>
                  </a:lnTo>
                  <a:lnTo>
                    <a:pt x="423" y="91"/>
                  </a:lnTo>
                  <a:lnTo>
                    <a:pt x="423" y="93"/>
                  </a:lnTo>
                  <a:lnTo>
                    <a:pt x="421" y="93"/>
                  </a:lnTo>
                  <a:lnTo>
                    <a:pt x="419" y="93"/>
                  </a:lnTo>
                  <a:lnTo>
                    <a:pt x="417" y="94"/>
                  </a:lnTo>
                  <a:lnTo>
                    <a:pt x="416" y="94"/>
                  </a:lnTo>
                  <a:lnTo>
                    <a:pt x="413" y="94"/>
                  </a:lnTo>
                  <a:lnTo>
                    <a:pt x="411" y="93"/>
                  </a:lnTo>
                  <a:lnTo>
                    <a:pt x="410" y="91"/>
                  </a:lnTo>
                  <a:lnTo>
                    <a:pt x="411" y="90"/>
                  </a:lnTo>
                  <a:lnTo>
                    <a:pt x="411" y="89"/>
                  </a:lnTo>
                  <a:lnTo>
                    <a:pt x="411" y="87"/>
                  </a:lnTo>
                  <a:lnTo>
                    <a:pt x="410" y="85"/>
                  </a:lnTo>
                  <a:lnTo>
                    <a:pt x="410" y="84"/>
                  </a:lnTo>
                  <a:lnTo>
                    <a:pt x="412" y="85"/>
                  </a:lnTo>
                  <a:lnTo>
                    <a:pt x="413" y="87"/>
                  </a:lnTo>
                  <a:lnTo>
                    <a:pt x="413" y="88"/>
                  </a:lnTo>
                  <a:lnTo>
                    <a:pt x="415" y="89"/>
                  </a:lnTo>
                  <a:lnTo>
                    <a:pt x="416" y="88"/>
                  </a:lnTo>
                  <a:lnTo>
                    <a:pt x="416" y="90"/>
                  </a:lnTo>
                  <a:lnTo>
                    <a:pt x="417" y="91"/>
                  </a:lnTo>
                  <a:lnTo>
                    <a:pt x="418" y="91"/>
                  </a:lnTo>
                  <a:lnTo>
                    <a:pt x="418" y="90"/>
                  </a:lnTo>
                  <a:lnTo>
                    <a:pt x="419" y="89"/>
                  </a:lnTo>
                  <a:lnTo>
                    <a:pt x="421" y="90"/>
                  </a:lnTo>
                  <a:lnTo>
                    <a:pt x="423" y="90"/>
                  </a:lnTo>
                  <a:lnTo>
                    <a:pt x="422" y="89"/>
                  </a:lnTo>
                  <a:lnTo>
                    <a:pt x="421" y="88"/>
                  </a:lnTo>
                  <a:lnTo>
                    <a:pt x="422" y="88"/>
                  </a:lnTo>
                  <a:lnTo>
                    <a:pt x="424" y="87"/>
                  </a:lnTo>
                  <a:lnTo>
                    <a:pt x="423" y="85"/>
                  </a:lnTo>
                  <a:lnTo>
                    <a:pt x="421" y="85"/>
                  </a:lnTo>
                  <a:lnTo>
                    <a:pt x="418" y="87"/>
                  </a:lnTo>
                  <a:lnTo>
                    <a:pt x="417" y="85"/>
                  </a:lnTo>
                  <a:lnTo>
                    <a:pt x="415" y="83"/>
                  </a:lnTo>
                  <a:lnTo>
                    <a:pt x="413" y="83"/>
                  </a:lnTo>
                  <a:lnTo>
                    <a:pt x="411" y="82"/>
                  </a:lnTo>
                  <a:lnTo>
                    <a:pt x="407" y="79"/>
                  </a:lnTo>
                  <a:lnTo>
                    <a:pt x="405" y="78"/>
                  </a:lnTo>
                  <a:lnTo>
                    <a:pt x="406" y="77"/>
                  </a:lnTo>
                  <a:lnTo>
                    <a:pt x="405" y="75"/>
                  </a:lnTo>
                  <a:lnTo>
                    <a:pt x="406" y="75"/>
                  </a:lnTo>
                  <a:lnTo>
                    <a:pt x="406" y="72"/>
                  </a:lnTo>
                  <a:lnTo>
                    <a:pt x="409" y="71"/>
                  </a:lnTo>
                  <a:lnTo>
                    <a:pt x="410" y="66"/>
                  </a:lnTo>
                  <a:lnTo>
                    <a:pt x="410" y="64"/>
                  </a:lnTo>
                  <a:lnTo>
                    <a:pt x="411" y="61"/>
                  </a:lnTo>
                  <a:lnTo>
                    <a:pt x="411" y="60"/>
                  </a:lnTo>
                  <a:lnTo>
                    <a:pt x="412" y="59"/>
                  </a:lnTo>
                  <a:lnTo>
                    <a:pt x="413" y="59"/>
                  </a:lnTo>
                  <a:lnTo>
                    <a:pt x="412" y="58"/>
                  </a:lnTo>
                  <a:lnTo>
                    <a:pt x="410" y="58"/>
                  </a:lnTo>
                  <a:lnTo>
                    <a:pt x="407" y="58"/>
                  </a:lnTo>
                  <a:lnTo>
                    <a:pt x="407" y="57"/>
                  </a:lnTo>
                  <a:lnTo>
                    <a:pt x="409" y="55"/>
                  </a:lnTo>
                  <a:lnTo>
                    <a:pt x="410" y="55"/>
                  </a:lnTo>
                  <a:lnTo>
                    <a:pt x="411" y="54"/>
                  </a:lnTo>
                  <a:lnTo>
                    <a:pt x="412" y="54"/>
                  </a:lnTo>
                  <a:lnTo>
                    <a:pt x="412" y="55"/>
                  </a:lnTo>
                  <a:lnTo>
                    <a:pt x="415" y="55"/>
                  </a:lnTo>
                  <a:lnTo>
                    <a:pt x="416" y="54"/>
                  </a:lnTo>
                  <a:lnTo>
                    <a:pt x="415" y="53"/>
                  </a:lnTo>
                  <a:lnTo>
                    <a:pt x="413" y="52"/>
                  </a:lnTo>
                  <a:lnTo>
                    <a:pt x="415" y="50"/>
                  </a:lnTo>
                  <a:lnTo>
                    <a:pt x="413" y="49"/>
                  </a:lnTo>
                  <a:lnTo>
                    <a:pt x="412" y="49"/>
                  </a:lnTo>
                  <a:lnTo>
                    <a:pt x="410" y="49"/>
                  </a:lnTo>
                  <a:lnTo>
                    <a:pt x="409" y="50"/>
                  </a:lnTo>
                  <a:lnTo>
                    <a:pt x="407" y="50"/>
                  </a:lnTo>
                  <a:lnTo>
                    <a:pt x="406" y="49"/>
                  </a:lnTo>
                  <a:lnTo>
                    <a:pt x="405" y="49"/>
                  </a:lnTo>
                  <a:lnTo>
                    <a:pt x="406" y="47"/>
                  </a:lnTo>
                  <a:lnTo>
                    <a:pt x="409" y="46"/>
                  </a:lnTo>
                  <a:lnTo>
                    <a:pt x="411" y="46"/>
                  </a:lnTo>
                  <a:lnTo>
                    <a:pt x="413" y="44"/>
                  </a:lnTo>
                  <a:lnTo>
                    <a:pt x="415" y="47"/>
                  </a:lnTo>
                  <a:lnTo>
                    <a:pt x="416" y="46"/>
                  </a:lnTo>
                  <a:lnTo>
                    <a:pt x="415" y="44"/>
                  </a:lnTo>
                  <a:lnTo>
                    <a:pt x="415" y="43"/>
                  </a:lnTo>
                  <a:lnTo>
                    <a:pt x="416" y="44"/>
                  </a:lnTo>
                  <a:lnTo>
                    <a:pt x="417" y="46"/>
                  </a:lnTo>
                  <a:lnTo>
                    <a:pt x="418" y="46"/>
                  </a:lnTo>
                  <a:lnTo>
                    <a:pt x="418" y="43"/>
                  </a:lnTo>
                  <a:lnTo>
                    <a:pt x="417" y="42"/>
                  </a:lnTo>
                  <a:lnTo>
                    <a:pt x="419" y="42"/>
                  </a:lnTo>
                  <a:lnTo>
                    <a:pt x="421" y="42"/>
                  </a:lnTo>
                  <a:lnTo>
                    <a:pt x="422" y="43"/>
                  </a:lnTo>
                  <a:lnTo>
                    <a:pt x="423" y="46"/>
                  </a:lnTo>
                  <a:lnTo>
                    <a:pt x="424" y="46"/>
                  </a:lnTo>
                  <a:lnTo>
                    <a:pt x="424" y="44"/>
                  </a:lnTo>
                  <a:lnTo>
                    <a:pt x="423" y="43"/>
                  </a:lnTo>
                  <a:lnTo>
                    <a:pt x="423" y="42"/>
                  </a:lnTo>
                  <a:lnTo>
                    <a:pt x="424" y="41"/>
                  </a:lnTo>
                  <a:lnTo>
                    <a:pt x="427" y="41"/>
                  </a:lnTo>
                  <a:lnTo>
                    <a:pt x="429" y="40"/>
                  </a:lnTo>
                  <a:lnTo>
                    <a:pt x="430" y="40"/>
                  </a:lnTo>
                  <a:lnTo>
                    <a:pt x="429" y="38"/>
                  </a:lnTo>
                  <a:lnTo>
                    <a:pt x="428" y="38"/>
                  </a:lnTo>
                  <a:lnTo>
                    <a:pt x="425" y="38"/>
                  </a:lnTo>
                  <a:lnTo>
                    <a:pt x="427" y="37"/>
                  </a:lnTo>
                  <a:lnTo>
                    <a:pt x="425" y="37"/>
                  </a:lnTo>
                  <a:lnTo>
                    <a:pt x="424" y="37"/>
                  </a:lnTo>
                  <a:lnTo>
                    <a:pt x="421" y="38"/>
                  </a:lnTo>
                  <a:lnTo>
                    <a:pt x="419" y="40"/>
                  </a:lnTo>
                  <a:lnTo>
                    <a:pt x="419" y="38"/>
                  </a:lnTo>
                  <a:lnTo>
                    <a:pt x="419" y="37"/>
                  </a:lnTo>
                  <a:lnTo>
                    <a:pt x="421" y="36"/>
                  </a:lnTo>
                  <a:lnTo>
                    <a:pt x="419" y="35"/>
                  </a:lnTo>
                  <a:lnTo>
                    <a:pt x="418" y="36"/>
                  </a:lnTo>
                  <a:lnTo>
                    <a:pt x="418" y="37"/>
                  </a:lnTo>
                  <a:lnTo>
                    <a:pt x="417" y="38"/>
                  </a:lnTo>
                  <a:lnTo>
                    <a:pt x="416" y="40"/>
                  </a:lnTo>
                  <a:lnTo>
                    <a:pt x="413" y="40"/>
                  </a:lnTo>
                  <a:lnTo>
                    <a:pt x="412" y="42"/>
                  </a:lnTo>
                  <a:lnTo>
                    <a:pt x="412" y="43"/>
                  </a:lnTo>
                  <a:lnTo>
                    <a:pt x="410" y="43"/>
                  </a:lnTo>
                  <a:lnTo>
                    <a:pt x="409" y="42"/>
                  </a:lnTo>
                  <a:lnTo>
                    <a:pt x="410" y="40"/>
                  </a:lnTo>
                  <a:lnTo>
                    <a:pt x="411" y="41"/>
                  </a:lnTo>
                  <a:lnTo>
                    <a:pt x="412" y="41"/>
                  </a:lnTo>
                  <a:lnTo>
                    <a:pt x="412" y="40"/>
                  </a:lnTo>
                  <a:lnTo>
                    <a:pt x="412" y="38"/>
                  </a:lnTo>
                  <a:lnTo>
                    <a:pt x="413" y="38"/>
                  </a:lnTo>
                  <a:lnTo>
                    <a:pt x="413" y="37"/>
                  </a:lnTo>
                  <a:lnTo>
                    <a:pt x="412" y="37"/>
                  </a:lnTo>
                  <a:lnTo>
                    <a:pt x="413" y="36"/>
                  </a:lnTo>
                  <a:lnTo>
                    <a:pt x="413" y="35"/>
                  </a:lnTo>
                  <a:lnTo>
                    <a:pt x="412" y="35"/>
                  </a:lnTo>
                  <a:lnTo>
                    <a:pt x="411" y="35"/>
                  </a:lnTo>
                  <a:lnTo>
                    <a:pt x="412" y="34"/>
                  </a:lnTo>
                  <a:lnTo>
                    <a:pt x="412" y="32"/>
                  </a:lnTo>
                  <a:lnTo>
                    <a:pt x="413" y="34"/>
                  </a:lnTo>
                  <a:lnTo>
                    <a:pt x="415" y="34"/>
                  </a:lnTo>
                  <a:lnTo>
                    <a:pt x="419" y="34"/>
                  </a:lnTo>
                  <a:lnTo>
                    <a:pt x="421" y="32"/>
                  </a:lnTo>
                  <a:lnTo>
                    <a:pt x="419" y="31"/>
                  </a:lnTo>
                  <a:lnTo>
                    <a:pt x="413" y="31"/>
                  </a:lnTo>
                  <a:lnTo>
                    <a:pt x="416" y="30"/>
                  </a:lnTo>
                  <a:lnTo>
                    <a:pt x="417" y="30"/>
                  </a:lnTo>
                  <a:lnTo>
                    <a:pt x="418" y="29"/>
                  </a:lnTo>
                  <a:lnTo>
                    <a:pt x="421" y="28"/>
                  </a:lnTo>
                  <a:lnTo>
                    <a:pt x="419" y="26"/>
                  </a:lnTo>
                  <a:lnTo>
                    <a:pt x="418" y="26"/>
                  </a:lnTo>
                  <a:lnTo>
                    <a:pt x="417" y="28"/>
                  </a:lnTo>
                  <a:lnTo>
                    <a:pt x="416" y="29"/>
                  </a:lnTo>
                  <a:lnTo>
                    <a:pt x="415" y="28"/>
                  </a:lnTo>
                  <a:lnTo>
                    <a:pt x="421" y="22"/>
                  </a:lnTo>
                  <a:lnTo>
                    <a:pt x="423" y="19"/>
                  </a:lnTo>
                  <a:lnTo>
                    <a:pt x="427" y="16"/>
                  </a:lnTo>
                  <a:lnTo>
                    <a:pt x="429" y="13"/>
                  </a:lnTo>
                  <a:lnTo>
                    <a:pt x="429" y="11"/>
                  </a:lnTo>
                  <a:lnTo>
                    <a:pt x="427" y="12"/>
                  </a:lnTo>
                  <a:lnTo>
                    <a:pt x="424" y="13"/>
                  </a:lnTo>
                  <a:lnTo>
                    <a:pt x="422" y="17"/>
                  </a:lnTo>
                  <a:lnTo>
                    <a:pt x="418" y="20"/>
                  </a:lnTo>
                  <a:lnTo>
                    <a:pt x="416" y="24"/>
                  </a:lnTo>
                  <a:lnTo>
                    <a:pt x="413" y="26"/>
                  </a:lnTo>
                  <a:lnTo>
                    <a:pt x="412" y="29"/>
                  </a:lnTo>
                  <a:lnTo>
                    <a:pt x="411" y="30"/>
                  </a:lnTo>
                  <a:lnTo>
                    <a:pt x="410" y="30"/>
                  </a:lnTo>
                  <a:lnTo>
                    <a:pt x="409" y="29"/>
                  </a:lnTo>
                  <a:lnTo>
                    <a:pt x="407" y="26"/>
                  </a:lnTo>
                  <a:lnTo>
                    <a:pt x="405" y="24"/>
                  </a:lnTo>
                  <a:lnTo>
                    <a:pt x="404" y="23"/>
                  </a:lnTo>
                  <a:lnTo>
                    <a:pt x="403" y="23"/>
                  </a:lnTo>
                  <a:lnTo>
                    <a:pt x="401" y="23"/>
                  </a:lnTo>
                  <a:lnTo>
                    <a:pt x="403" y="25"/>
                  </a:lnTo>
                  <a:lnTo>
                    <a:pt x="404" y="25"/>
                  </a:lnTo>
                  <a:lnTo>
                    <a:pt x="405" y="25"/>
                  </a:lnTo>
                  <a:lnTo>
                    <a:pt x="406" y="26"/>
                  </a:lnTo>
                  <a:lnTo>
                    <a:pt x="407" y="28"/>
                  </a:lnTo>
                  <a:lnTo>
                    <a:pt x="409" y="30"/>
                  </a:lnTo>
                  <a:lnTo>
                    <a:pt x="410" y="31"/>
                  </a:lnTo>
                  <a:lnTo>
                    <a:pt x="410" y="34"/>
                  </a:lnTo>
                  <a:lnTo>
                    <a:pt x="410" y="35"/>
                  </a:lnTo>
                  <a:lnTo>
                    <a:pt x="407" y="34"/>
                  </a:lnTo>
                  <a:lnTo>
                    <a:pt x="406" y="32"/>
                  </a:lnTo>
                  <a:lnTo>
                    <a:pt x="405" y="31"/>
                  </a:lnTo>
                  <a:lnTo>
                    <a:pt x="404" y="32"/>
                  </a:lnTo>
                  <a:lnTo>
                    <a:pt x="405" y="34"/>
                  </a:lnTo>
                  <a:lnTo>
                    <a:pt x="406" y="35"/>
                  </a:lnTo>
                  <a:lnTo>
                    <a:pt x="407" y="35"/>
                  </a:lnTo>
                  <a:lnTo>
                    <a:pt x="407" y="37"/>
                  </a:lnTo>
                  <a:lnTo>
                    <a:pt x="406" y="37"/>
                  </a:lnTo>
                  <a:lnTo>
                    <a:pt x="404" y="36"/>
                  </a:lnTo>
                  <a:lnTo>
                    <a:pt x="403" y="36"/>
                  </a:lnTo>
                  <a:lnTo>
                    <a:pt x="404" y="37"/>
                  </a:lnTo>
                  <a:lnTo>
                    <a:pt x="405" y="40"/>
                  </a:lnTo>
                  <a:lnTo>
                    <a:pt x="406" y="41"/>
                  </a:lnTo>
                  <a:lnTo>
                    <a:pt x="406" y="42"/>
                  </a:lnTo>
                  <a:lnTo>
                    <a:pt x="406" y="43"/>
                  </a:lnTo>
                  <a:lnTo>
                    <a:pt x="405" y="43"/>
                  </a:lnTo>
                  <a:lnTo>
                    <a:pt x="404" y="42"/>
                  </a:lnTo>
                  <a:lnTo>
                    <a:pt x="403" y="41"/>
                  </a:lnTo>
                  <a:lnTo>
                    <a:pt x="401" y="40"/>
                  </a:lnTo>
                  <a:lnTo>
                    <a:pt x="400" y="38"/>
                  </a:lnTo>
                  <a:lnTo>
                    <a:pt x="400" y="37"/>
                  </a:lnTo>
                  <a:lnTo>
                    <a:pt x="400" y="36"/>
                  </a:lnTo>
                  <a:lnTo>
                    <a:pt x="401" y="35"/>
                  </a:lnTo>
                  <a:lnTo>
                    <a:pt x="401" y="34"/>
                  </a:lnTo>
                  <a:lnTo>
                    <a:pt x="400" y="34"/>
                  </a:lnTo>
                  <a:lnTo>
                    <a:pt x="399" y="34"/>
                  </a:lnTo>
                  <a:lnTo>
                    <a:pt x="399" y="31"/>
                  </a:lnTo>
                  <a:lnTo>
                    <a:pt x="399" y="30"/>
                  </a:lnTo>
                  <a:lnTo>
                    <a:pt x="400" y="30"/>
                  </a:lnTo>
                  <a:lnTo>
                    <a:pt x="403" y="30"/>
                  </a:lnTo>
                  <a:lnTo>
                    <a:pt x="405" y="29"/>
                  </a:lnTo>
                  <a:lnTo>
                    <a:pt x="406" y="29"/>
                  </a:lnTo>
                  <a:lnTo>
                    <a:pt x="405" y="28"/>
                  </a:lnTo>
                  <a:lnTo>
                    <a:pt x="404" y="28"/>
                  </a:lnTo>
                  <a:lnTo>
                    <a:pt x="400" y="28"/>
                  </a:lnTo>
                  <a:lnTo>
                    <a:pt x="399" y="28"/>
                  </a:lnTo>
                  <a:lnTo>
                    <a:pt x="399" y="25"/>
                  </a:lnTo>
                  <a:lnTo>
                    <a:pt x="398" y="24"/>
                  </a:lnTo>
                  <a:lnTo>
                    <a:pt x="398" y="22"/>
                  </a:lnTo>
                  <a:lnTo>
                    <a:pt x="397" y="18"/>
                  </a:lnTo>
                  <a:lnTo>
                    <a:pt x="397" y="14"/>
                  </a:lnTo>
                  <a:lnTo>
                    <a:pt x="397" y="13"/>
                  </a:lnTo>
                  <a:lnTo>
                    <a:pt x="397" y="14"/>
                  </a:lnTo>
                  <a:lnTo>
                    <a:pt x="397" y="22"/>
                  </a:lnTo>
                  <a:lnTo>
                    <a:pt x="397" y="26"/>
                  </a:lnTo>
                  <a:lnTo>
                    <a:pt x="395" y="30"/>
                  </a:lnTo>
                  <a:lnTo>
                    <a:pt x="397" y="31"/>
                  </a:lnTo>
                  <a:lnTo>
                    <a:pt x="398" y="34"/>
                  </a:lnTo>
                  <a:lnTo>
                    <a:pt x="398" y="36"/>
                  </a:lnTo>
                  <a:lnTo>
                    <a:pt x="397" y="36"/>
                  </a:lnTo>
                  <a:lnTo>
                    <a:pt x="395" y="34"/>
                  </a:lnTo>
                  <a:lnTo>
                    <a:pt x="394" y="34"/>
                  </a:lnTo>
                  <a:lnTo>
                    <a:pt x="394" y="35"/>
                  </a:lnTo>
                  <a:lnTo>
                    <a:pt x="393" y="37"/>
                  </a:lnTo>
                  <a:lnTo>
                    <a:pt x="393" y="38"/>
                  </a:lnTo>
                  <a:lnTo>
                    <a:pt x="391" y="38"/>
                  </a:lnTo>
                  <a:lnTo>
                    <a:pt x="391" y="37"/>
                  </a:lnTo>
                  <a:lnTo>
                    <a:pt x="388" y="36"/>
                  </a:lnTo>
                  <a:lnTo>
                    <a:pt x="388" y="35"/>
                  </a:lnTo>
                  <a:lnTo>
                    <a:pt x="389" y="34"/>
                  </a:lnTo>
                  <a:lnTo>
                    <a:pt x="392" y="32"/>
                  </a:lnTo>
                  <a:lnTo>
                    <a:pt x="392" y="31"/>
                  </a:lnTo>
                  <a:lnTo>
                    <a:pt x="391" y="30"/>
                  </a:lnTo>
                  <a:lnTo>
                    <a:pt x="389" y="31"/>
                  </a:lnTo>
                  <a:lnTo>
                    <a:pt x="387" y="32"/>
                  </a:lnTo>
                  <a:lnTo>
                    <a:pt x="388" y="31"/>
                  </a:lnTo>
                  <a:lnTo>
                    <a:pt x="388" y="30"/>
                  </a:lnTo>
                  <a:lnTo>
                    <a:pt x="387" y="30"/>
                  </a:lnTo>
                  <a:lnTo>
                    <a:pt x="386" y="30"/>
                  </a:lnTo>
                  <a:lnTo>
                    <a:pt x="387" y="29"/>
                  </a:lnTo>
                  <a:lnTo>
                    <a:pt x="388" y="26"/>
                  </a:lnTo>
                  <a:lnTo>
                    <a:pt x="387" y="25"/>
                  </a:lnTo>
                  <a:lnTo>
                    <a:pt x="386" y="26"/>
                  </a:lnTo>
                  <a:lnTo>
                    <a:pt x="386" y="25"/>
                  </a:lnTo>
                  <a:lnTo>
                    <a:pt x="386" y="24"/>
                  </a:lnTo>
                  <a:lnTo>
                    <a:pt x="388" y="23"/>
                  </a:lnTo>
                  <a:lnTo>
                    <a:pt x="391" y="20"/>
                  </a:lnTo>
                  <a:lnTo>
                    <a:pt x="394" y="16"/>
                  </a:lnTo>
                  <a:lnTo>
                    <a:pt x="394" y="14"/>
                  </a:lnTo>
                  <a:lnTo>
                    <a:pt x="393" y="16"/>
                  </a:lnTo>
                  <a:lnTo>
                    <a:pt x="392" y="17"/>
                  </a:lnTo>
                  <a:lnTo>
                    <a:pt x="387" y="22"/>
                  </a:lnTo>
                  <a:lnTo>
                    <a:pt x="386" y="20"/>
                  </a:lnTo>
                  <a:lnTo>
                    <a:pt x="387" y="19"/>
                  </a:lnTo>
                  <a:lnTo>
                    <a:pt x="387" y="17"/>
                  </a:lnTo>
                  <a:lnTo>
                    <a:pt x="388" y="16"/>
                  </a:lnTo>
                  <a:lnTo>
                    <a:pt x="388" y="14"/>
                  </a:lnTo>
                  <a:lnTo>
                    <a:pt x="387" y="13"/>
                  </a:lnTo>
                  <a:lnTo>
                    <a:pt x="387" y="14"/>
                  </a:lnTo>
                  <a:lnTo>
                    <a:pt x="386" y="16"/>
                  </a:lnTo>
                  <a:lnTo>
                    <a:pt x="386" y="17"/>
                  </a:lnTo>
                  <a:lnTo>
                    <a:pt x="386" y="13"/>
                  </a:lnTo>
                  <a:lnTo>
                    <a:pt x="386" y="11"/>
                  </a:lnTo>
                  <a:lnTo>
                    <a:pt x="386" y="8"/>
                  </a:lnTo>
                  <a:lnTo>
                    <a:pt x="384" y="7"/>
                  </a:lnTo>
                  <a:lnTo>
                    <a:pt x="384" y="8"/>
                  </a:lnTo>
                  <a:lnTo>
                    <a:pt x="384" y="10"/>
                  </a:lnTo>
                  <a:lnTo>
                    <a:pt x="384" y="12"/>
                  </a:lnTo>
                  <a:lnTo>
                    <a:pt x="384" y="16"/>
                  </a:lnTo>
                  <a:lnTo>
                    <a:pt x="384" y="18"/>
                  </a:lnTo>
                  <a:lnTo>
                    <a:pt x="384" y="19"/>
                  </a:lnTo>
                  <a:lnTo>
                    <a:pt x="384" y="2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3" name="Freeform 76"/>
            <p:cNvSpPr>
              <a:spLocks/>
            </p:cNvSpPr>
            <p:nvPr userDrawn="1"/>
          </p:nvSpPr>
          <p:spPr bwMode="auto">
            <a:xfrm>
              <a:off x="8283575" y="6400801"/>
              <a:ext cx="142875" cy="174625"/>
            </a:xfrm>
            <a:custGeom>
              <a:avLst/>
              <a:gdLst/>
              <a:ahLst/>
              <a:cxnLst>
                <a:cxn ang="0">
                  <a:pos x="210" y="353"/>
                </a:cxn>
                <a:cxn ang="0">
                  <a:pos x="201" y="337"/>
                </a:cxn>
                <a:cxn ang="0">
                  <a:pos x="196" y="313"/>
                </a:cxn>
                <a:cxn ang="0">
                  <a:pos x="213" y="303"/>
                </a:cxn>
                <a:cxn ang="0">
                  <a:pos x="177" y="328"/>
                </a:cxn>
                <a:cxn ang="0">
                  <a:pos x="195" y="364"/>
                </a:cxn>
                <a:cxn ang="0">
                  <a:pos x="178" y="356"/>
                </a:cxn>
                <a:cxn ang="0">
                  <a:pos x="157" y="344"/>
                </a:cxn>
                <a:cxn ang="0">
                  <a:pos x="137" y="349"/>
                </a:cxn>
                <a:cxn ang="0">
                  <a:pos x="115" y="335"/>
                </a:cxn>
                <a:cxn ang="0">
                  <a:pos x="102" y="349"/>
                </a:cxn>
                <a:cxn ang="0">
                  <a:pos x="86" y="361"/>
                </a:cxn>
                <a:cxn ang="0">
                  <a:pos x="67" y="345"/>
                </a:cxn>
                <a:cxn ang="0">
                  <a:pos x="9" y="361"/>
                </a:cxn>
                <a:cxn ang="0">
                  <a:pos x="29" y="323"/>
                </a:cxn>
                <a:cxn ang="0">
                  <a:pos x="17" y="307"/>
                </a:cxn>
                <a:cxn ang="0">
                  <a:pos x="14" y="286"/>
                </a:cxn>
                <a:cxn ang="0">
                  <a:pos x="5" y="249"/>
                </a:cxn>
                <a:cxn ang="0">
                  <a:pos x="48" y="244"/>
                </a:cxn>
                <a:cxn ang="0">
                  <a:pos x="54" y="224"/>
                </a:cxn>
                <a:cxn ang="0">
                  <a:pos x="83" y="192"/>
                </a:cxn>
                <a:cxn ang="0">
                  <a:pos x="49" y="184"/>
                </a:cxn>
                <a:cxn ang="0">
                  <a:pos x="30" y="180"/>
                </a:cxn>
                <a:cxn ang="0">
                  <a:pos x="26" y="166"/>
                </a:cxn>
                <a:cxn ang="0">
                  <a:pos x="32" y="136"/>
                </a:cxn>
                <a:cxn ang="0">
                  <a:pos x="65" y="108"/>
                </a:cxn>
                <a:cxn ang="0">
                  <a:pos x="85" y="83"/>
                </a:cxn>
                <a:cxn ang="0">
                  <a:pos x="101" y="76"/>
                </a:cxn>
                <a:cxn ang="0">
                  <a:pos x="126" y="88"/>
                </a:cxn>
                <a:cxn ang="0">
                  <a:pos x="162" y="87"/>
                </a:cxn>
                <a:cxn ang="0">
                  <a:pos x="171" y="51"/>
                </a:cxn>
                <a:cxn ang="0">
                  <a:pos x="171" y="43"/>
                </a:cxn>
                <a:cxn ang="0">
                  <a:pos x="190" y="76"/>
                </a:cxn>
                <a:cxn ang="0">
                  <a:pos x="225" y="65"/>
                </a:cxn>
                <a:cxn ang="0">
                  <a:pos x="251" y="78"/>
                </a:cxn>
                <a:cxn ang="0">
                  <a:pos x="278" y="99"/>
                </a:cxn>
                <a:cxn ang="0">
                  <a:pos x="263" y="73"/>
                </a:cxn>
                <a:cxn ang="0">
                  <a:pos x="247" y="47"/>
                </a:cxn>
                <a:cxn ang="0">
                  <a:pos x="243" y="2"/>
                </a:cxn>
                <a:cxn ang="0">
                  <a:pos x="278" y="26"/>
                </a:cxn>
                <a:cxn ang="0">
                  <a:pos x="319" y="43"/>
                </a:cxn>
                <a:cxn ang="0">
                  <a:pos x="318" y="69"/>
                </a:cxn>
                <a:cxn ang="0">
                  <a:pos x="333" y="90"/>
                </a:cxn>
                <a:cxn ang="0">
                  <a:pos x="363" y="83"/>
                </a:cxn>
                <a:cxn ang="0">
                  <a:pos x="386" y="65"/>
                </a:cxn>
                <a:cxn ang="0">
                  <a:pos x="392" y="87"/>
                </a:cxn>
                <a:cxn ang="0">
                  <a:pos x="387" y="113"/>
                </a:cxn>
                <a:cxn ang="0">
                  <a:pos x="371" y="124"/>
                </a:cxn>
                <a:cxn ang="0">
                  <a:pos x="396" y="133"/>
                </a:cxn>
                <a:cxn ang="0">
                  <a:pos x="424" y="147"/>
                </a:cxn>
                <a:cxn ang="0">
                  <a:pos x="446" y="174"/>
                </a:cxn>
                <a:cxn ang="0">
                  <a:pos x="419" y="198"/>
                </a:cxn>
                <a:cxn ang="0">
                  <a:pos x="413" y="209"/>
                </a:cxn>
                <a:cxn ang="0">
                  <a:pos x="377" y="234"/>
                </a:cxn>
                <a:cxn ang="0">
                  <a:pos x="415" y="266"/>
                </a:cxn>
                <a:cxn ang="0">
                  <a:pos x="385" y="273"/>
                </a:cxn>
                <a:cxn ang="0">
                  <a:pos x="384" y="304"/>
                </a:cxn>
                <a:cxn ang="0">
                  <a:pos x="389" y="339"/>
                </a:cxn>
                <a:cxn ang="0">
                  <a:pos x="375" y="364"/>
                </a:cxn>
                <a:cxn ang="0">
                  <a:pos x="348" y="384"/>
                </a:cxn>
                <a:cxn ang="0">
                  <a:pos x="308" y="372"/>
                </a:cxn>
                <a:cxn ang="0">
                  <a:pos x="277" y="387"/>
                </a:cxn>
                <a:cxn ang="0">
                  <a:pos x="242" y="363"/>
                </a:cxn>
              </a:cxnLst>
              <a:rect l="0" t="0" r="r" b="b"/>
              <a:pathLst>
                <a:path w="448" h="547">
                  <a:moveTo>
                    <a:pt x="233" y="547"/>
                  </a:moveTo>
                  <a:lnTo>
                    <a:pt x="219" y="547"/>
                  </a:lnTo>
                  <a:lnTo>
                    <a:pt x="218" y="533"/>
                  </a:lnTo>
                  <a:lnTo>
                    <a:pt x="216" y="524"/>
                  </a:lnTo>
                  <a:lnTo>
                    <a:pt x="216" y="506"/>
                  </a:lnTo>
                  <a:lnTo>
                    <a:pt x="216" y="503"/>
                  </a:lnTo>
                  <a:lnTo>
                    <a:pt x="216" y="499"/>
                  </a:lnTo>
                  <a:lnTo>
                    <a:pt x="220" y="474"/>
                  </a:lnTo>
                  <a:lnTo>
                    <a:pt x="221" y="462"/>
                  </a:lnTo>
                  <a:lnTo>
                    <a:pt x="224" y="448"/>
                  </a:lnTo>
                  <a:lnTo>
                    <a:pt x="226" y="438"/>
                  </a:lnTo>
                  <a:lnTo>
                    <a:pt x="229" y="429"/>
                  </a:lnTo>
                  <a:lnTo>
                    <a:pt x="233" y="420"/>
                  </a:lnTo>
                  <a:lnTo>
                    <a:pt x="236" y="417"/>
                  </a:lnTo>
                  <a:lnTo>
                    <a:pt x="236" y="415"/>
                  </a:lnTo>
                  <a:lnTo>
                    <a:pt x="231" y="402"/>
                  </a:lnTo>
                  <a:lnTo>
                    <a:pt x="229" y="398"/>
                  </a:lnTo>
                  <a:lnTo>
                    <a:pt x="227" y="394"/>
                  </a:lnTo>
                  <a:lnTo>
                    <a:pt x="229" y="386"/>
                  </a:lnTo>
                  <a:lnTo>
                    <a:pt x="229" y="380"/>
                  </a:lnTo>
                  <a:lnTo>
                    <a:pt x="227" y="374"/>
                  </a:lnTo>
                  <a:lnTo>
                    <a:pt x="225" y="367"/>
                  </a:lnTo>
                  <a:lnTo>
                    <a:pt x="224" y="361"/>
                  </a:lnTo>
                  <a:lnTo>
                    <a:pt x="221" y="353"/>
                  </a:lnTo>
                  <a:lnTo>
                    <a:pt x="220" y="351"/>
                  </a:lnTo>
                  <a:lnTo>
                    <a:pt x="219" y="351"/>
                  </a:lnTo>
                  <a:lnTo>
                    <a:pt x="220" y="355"/>
                  </a:lnTo>
                  <a:lnTo>
                    <a:pt x="220" y="356"/>
                  </a:lnTo>
                  <a:lnTo>
                    <a:pt x="219" y="358"/>
                  </a:lnTo>
                  <a:lnTo>
                    <a:pt x="219" y="361"/>
                  </a:lnTo>
                  <a:lnTo>
                    <a:pt x="218" y="360"/>
                  </a:lnTo>
                  <a:lnTo>
                    <a:pt x="218" y="361"/>
                  </a:lnTo>
                  <a:lnTo>
                    <a:pt x="216" y="361"/>
                  </a:lnTo>
                  <a:lnTo>
                    <a:pt x="215" y="360"/>
                  </a:lnTo>
                  <a:lnTo>
                    <a:pt x="214" y="361"/>
                  </a:lnTo>
                  <a:lnTo>
                    <a:pt x="212" y="362"/>
                  </a:lnTo>
                  <a:lnTo>
                    <a:pt x="212" y="363"/>
                  </a:lnTo>
                  <a:lnTo>
                    <a:pt x="210" y="361"/>
                  </a:lnTo>
                  <a:lnTo>
                    <a:pt x="210" y="360"/>
                  </a:lnTo>
                  <a:lnTo>
                    <a:pt x="209" y="360"/>
                  </a:lnTo>
                  <a:lnTo>
                    <a:pt x="208" y="361"/>
                  </a:lnTo>
                  <a:lnTo>
                    <a:pt x="207" y="362"/>
                  </a:lnTo>
                  <a:lnTo>
                    <a:pt x="202" y="364"/>
                  </a:lnTo>
                  <a:lnTo>
                    <a:pt x="201" y="364"/>
                  </a:lnTo>
                  <a:lnTo>
                    <a:pt x="202" y="362"/>
                  </a:lnTo>
                  <a:lnTo>
                    <a:pt x="204" y="361"/>
                  </a:lnTo>
                  <a:lnTo>
                    <a:pt x="204" y="358"/>
                  </a:lnTo>
                  <a:lnTo>
                    <a:pt x="206" y="358"/>
                  </a:lnTo>
                  <a:lnTo>
                    <a:pt x="206" y="357"/>
                  </a:lnTo>
                  <a:lnTo>
                    <a:pt x="203" y="358"/>
                  </a:lnTo>
                  <a:lnTo>
                    <a:pt x="203" y="357"/>
                  </a:lnTo>
                  <a:lnTo>
                    <a:pt x="206" y="356"/>
                  </a:lnTo>
                  <a:lnTo>
                    <a:pt x="207" y="355"/>
                  </a:lnTo>
                  <a:lnTo>
                    <a:pt x="206" y="355"/>
                  </a:lnTo>
                  <a:lnTo>
                    <a:pt x="207" y="353"/>
                  </a:lnTo>
                  <a:lnTo>
                    <a:pt x="208" y="356"/>
                  </a:lnTo>
                  <a:lnTo>
                    <a:pt x="207" y="357"/>
                  </a:lnTo>
                  <a:lnTo>
                    <a:pt x="208" y="358"/>
                  </a:lnTo>
                  <a:lnTo>
                    <a:pt x="209" y="356"/>
                  </a:lnTo>
                  <a:lnTo>
                    <a:pt x="210" y="356"/>
                  </a:lnTo>
                  <a:lnTo>
                    <a:pt x="210" y="353"/>
                  </a:lnTo>
                  <a:lnTo>
                    <a:pt x="209" y="353"/>
                  </a:lnTo>
                  <a:lnTo>
                    <a:pt x="209" y="351"/>
                  </a:lnTo>
                  <a:lnTo>
                    <a:pt x="209" y="350"/>
                  </a:lnTo>
                  <a:lnTo>
                    <a:pt x="208" y="350"/>
                  </a:lnTo>
                  <a:lnTo>
                    <a:pt x="209" y="349"/>
                  </a:lnTo>
                  <a:lnTo>
                    <a:pt x="212" y="347"/>
                  </a:lnTo>
                  <a:lnTo>
                    <a:pt x="214" y="347"/>
                  </a:lnTo>
                  <a:lnTo>
                    <a:pt x="215" y="347"/>
                  </a:lnTo>
                  <a:lnTo>
                    <a:pt x="218" y="344"/>
                  </a:lnTo>
                  <a:lnTo>
                    <a:pt x="220" y="340"/>
                  </a:lnTo>
                  <a:lnTo>
                    <a:pt x="223" y="338"/>
                  </a:lnTo>
                  <a:lnTo>
                    <a:pt x="223" y="337"/>
                  </a:lnTo>
                  <a:lnTo>
                    <a:pt x="223" y="335"/>
                  </a:lnTo>
                  <a:lnTo>
                    <a:pt x="221" y="337"/>
                  </a:lnTo>
                  <a:lnTo>
                    <a:pt x="221" y="335"/>
                  </a:lnTo>
                  <a:lnTo>
                    <a:pt x="220" y="337"/>
                  </a:lnTo>
                  <a:lnTo>
                    <a:pt x="219" y="338"/>
                  </a:lnTo>
                  <a:lnTo>
                    <a:pt x="216" y="338"/>
                  </a:lnTo>
                  <a:lnTo>
                    <a:pt x="216" y="337"/>
                  </a:lnTo>
                  <a:lnTo>
                    <a:pt x="215" y="338"/>
                  </a:lnTo>
                  <a:lnTo>
                    <a:pt x="215" y="335"/>
                  </a:lnTo>
                  <a:lnTo>
                    <a:pt x="215" y="334"/>
                  </a:lnTo>
                  <a:lnTo>
                    <a:pt x="216" y="333"/>
                  </a:lnTo>
                  <a:lnTo>
                    <a:pt x="219" y="332"/>
                  </a:lnTo>
                  <a:lnTo>
                    <a:pt x="215" y="334"/>
                  </a:lnTo>
                  <a:lnTo>
                    <a:pt x="215" y="332"/>
                  </a:lnTo>
                  <a:lnTo>
                    <a:pt x="215" y="331"/>
                  </a:lnTo>
                  <a:lnTo>
                    <a:pt x="215" y="329"/>
                  </a:lnTo>
                  <a:lnTo>
                    <a:pt x="214" y="329"/>
                  </a:lnTo>
                  <a:lnTo>
                    <a:pt x="213" y="332"/>
                  </a:lnTo>
                  <a:lnTo>
                    <a:pt x="213" y="329"/>
                  </a:lnTo>
                  <a:lnTo>
                    <a:pt x="212" y="328"/>
                  </a:lnTo>
                  <a:lnTo>
                    <a:pt x="212" y="327"/>
                  </a:lnTo>
                  <a:lnTo>
                    <a:pt x="210" y="329"/>
                  </a:lnTo>
                  <a:lnTo>
                    <a:pt x="209" y="329"/>
                  </a:lnTo>
                  <a:lnTo>
                    <a:pt x="209" y="331"/>
                  </a:lnTo>
                  <a:lnTo>
                    <a:pt x="209" y="333"/>
                  </a:lnTo>
                  <a:lnTo>
                    <a:pt x="208" y="333"/>
                  </a:lnTo>
                  <a:lnTo>
                    <a:pt x="208" y="334"/>
                  </a:lnTo>
                  <a:lnTo>
                    <a:pt x="210" y="334"/>
                  </a:lnTo>
                  <a:lnTo>
                    <a:pt x="210" y="335"/>
                  </a:lnTo>
                  <a:lnTo>
                    <a:pt x="212" y="337"/>
                  </a:lnTo>
                  <a:lnTo>
                    <a:pt x="210" y="339"/>
                  </a:lnTo>
                  <a:lnTo>
                    <a:pt x="209" y="338"/>
                  </a:lnTo>
                  <a:lnTo>
                    <a:pt x="209" y="337"/>
                  </a:lnTo>
                  <a:lnTo>
                    <a:pt x="208" y="338"/>
                  </a:lnTo>
                  <a:lnTo>
                    <a:pt x="208" y="339"/>
                  </a:lnTo>
                  <a:lnTo>
                    <a:pt x="207" y="337"/>
                  </a:lnTo>
                  <a:lnTo>
                    <a:pt x="206" y="335"/>
                  </a:lnTo>
                  <a:lnTo>
                    <a:pt x="204" y="335"/>
                  </a:lnTo>
                  <a:lnTo>
                    <a:pt x="204" y="337"/>
                  </a:lnTo>
                  <a:lnTo>
                    <a:pt x="203" y="337"/>
                  </a:lnTo>
                  <a:lnTo>
                    <a:pt x="202" y="338"/>
                  </a:lnTo>
                  <a:lnTo>
                    <a:pt x="201" y="339"/>
                  </a:lnTo>
                  <a:lnTo>
                    <a:pt x="200" y="340"/>
                  </a:lnTo>
                  <a:lnTo>
                    <a:pt x="197" y="341"/>
                  </a:lnTo>
                  <a:lnTo>
                    <a:pt x="197" y="340"/>
                  </a:lnTo>
                  <a:lnTo>
                    <a:pt x="200" y="339"/>
                  </a:lnTo>
                  <a:lnTo>
                    <a:pt x="200" y="338"/>
                  </a:lnTo>
                  <a:lnTo>
                    <a:pt x="200" y="337"/>
                  </a:lnTo>
                  <a:lnTo>
                    <a:pt x="201" y="337"/>
                  </a:lnTo>
                  <a:lnTo>
                    <a:pt x="200" y="335"/>
                  </a:lnTo>
                  <a:lnTo>
                    <a:pt x="197" y="335"/>
                  </a:lnTo>
                  <a:lnTo>
                    <a:pt x="198" y="334"/>
                  </a:lnTo>
                  <a:lnTo>
                    <a:pt x="200" y="331"/>
                  </a:lnTo>
                  <a:lnTo>
                    <a:pt x="203" y="331"/>
                  </a:lnTo>
                  <a:lnTo>
                    <a:pt x="204" y="332"/>
                  </a:lnTo>
                  <a:lnTo>
                    <a:pt x="203" y="329"/>
                  </a:lnTo>
                  <a:lnTo>
                    <a:pt x="204" y="329"/>
                  </a:lnTo>
                  <a:lnTo>
                    <a:pt x="207" y="329"/>
                  </a:lnTo>
                  <a:lnTo>
                    <a:pt x="207" y="331"/>
                  </a:lnTo>
                  <a:lnTo>
                    <a:pt x="208" y="329"/>
                  </a:lnTo>
                  <a:lnTo>
                    <a:pt x="210" y="328"/>
                  </a:lnTo>
                  <a:lnTo>
                    <a:pt x="212" y="326"/>
                  </a:lnTo>
                  <a:lnTo>
                    <a:pt x="212" y="325"/>
                  </a:lnTo>
                  <a:lnTo>
                    <a:pt x="210" y="325"/>
                  </a:lnTo>
                  <a:lnTo>
                    <a:pt x="209" y="325"/>
                  </a:lnTo>
                  <a:lnTo>
                    <a:pt x="207" y="325"/>
                  </a:lnTo>
                  <a:lnTo>
                    <a:pt x="209" y="323"/>
                  </a:lnTo>
                  <a:lnTo>
                    <a:pt x="208" y="322"/>
                  </a:lnTo>
                  <a:lnTo>
                    <a:pt x="209" y="320"/>
                  </a:lnTo>
                  <a:lnTo>
                    <a:pt x="209" y="317"/>
                  </a:lnTo>
                  <a:lnTo>
                    <a:pt x="209" y="319"/>
                  </a:lnTo>
                  <a:lnTo>
                    <a:pt x="207" y="319"/>
                  </a:lnTo>
                  <a:lnTo>
                    <a:pt x="204" y="320"/>
                  </a:lnTo>
                  <a:lnTo>
                    <a:pt x="203" y="321"/>
                  </a:lnTo>
                  <a:lnTo>
                    <a:pt x="202" y="322"/>
                  </a:lnTo>
                  <a:lnTo>
                    <a:pt x="201" y="325"/>
                  </a:lnTo>
                  <a:lnTo>
                    <a:pt x="201" y="323"/>
                  </a:lnTo>
                  <a:lnTo>
                    <a:pt x="200" y="321"/>
                  </a:lnTo>
                  <a:lnTo>
                    <a:pt x="202" y="321"/>
                  </a:lnTo>
                  <a:lnTo>
                    <a:pt x="203" y="320"/>
                  </a:lnTo>
                  <a:lnTo>
                    <a:pt x="207" y="317"/>
                  </a:lnTo>
                  <a:lnTo>
                    <a:pt x="207" y="316"/>
                  </a:lnTo>
                  <a:lnTo>
                    <a:pt x="206" y="316"/>
                  </a:lnTo>
                  <a:lnTo>
                    <a:pt x="204" y="319"/>
                  </a:lnTo>
                  <a:lnTo>
                    <a:pt x="203" y="319"/>
                  </a:lnTo>
                  <a:lnTo>
                    <a:pt x="204" y="315"/>
                  </a:lnTo>
                  <a:lnTo>
                    <a:pt x="206" y="313"/>
                  </a:lnTo>
                  <a:lnTo>
                    <a:pt x="207" y="311"/>
                  </a:lnTo>
                  <a:lnTo>
                    <a:pt x="208" y="310"/>
                  </a:lnTo>
                  <a:lnTo>
                    <a:pt x="207" y="310"/>
                  </a:lnTo>
                  <a:lnTo>
                    <a:pt x="206" y="311"/>
                  </a:lnTo>
                  <a:lnTo>
                    <a:pt x="204" y="313"/>
                  </a:lnTo>
                  <a:lnTo>
                    <a:pt x="204" y="310"/>
                  </a:lnTo>
                  <a:lnTo>
                    <a:pt x="203" y="309"/>
                  </a:lnTo>
                  <a:lnTo>
                    <a:pt x="202" y="308"/>
                  </a:lnTo>
                  <a:lnTo>
                    <a:pt x="201" y="309"/>
                  </a:lnTo>
                  <a:lnTo>
                    <a:pt x="203" y="310"/>
                  </a:lnTo>
                  <a:lnTo>
                    <a:pt x="202" y="311"/>
                  </a:lnTo>
                  <a:lnTo>
                    <a:pt x="202" y="313"/>
                  </a:lnTo>
                  <a:lnTo>
                    <a:pt x="201" y="311"/>
                  </a:lnTo>
                  <a:lnTo>
                    <a:pt x="201" y="313"/>
                  </a:lnTo>
                  <a:lnTo>
                    <a:pt x="201" y="315"/>
                  </a:lnTo>
                  <a:lnTo>
                    <a:pt x="198" y="317"/>
                  </a:lnTo>
                  <a:lnTo>
                    <a:pt x="197" y="319"/>
                  </a:lnTo>
                  <a:lnTo>
                    <a:pt x="197" y="316"/>
                  </a:lnTo>
                  <a:lnTo>
                    <a:pt x="197" y="314"/>
                  </a:lnTo>
                  <a:lnTo>
                    <a:pt x="196" y="315"/>
                  </a:lnTo>
                  <a:lnTo>
                    <a:pt x="197" y="313"/>
                  </a:lnTo>
                  <a:lnTo>
                    <a:pt x="197" y="311"/>
                  </a:lnTo>
                  <a:lnTo>
                    <a:pt x="196" y="313"/>
                  </a:lnTo>
                  <a:lnTo>
                    <a:pt x="196" y="310"/>
                  </a:lnTo>
                  <a:lnTo>
                    <a:pt x="196" y="313"/>
                  </a:lnTo>
                  <a:lnTo>
                    <a:pt x="194" y="313"/>
                  </a:lnTo>
                  <a:lnTo>
                    <a:pt x="192" y="314"/>
                  </a:lnTo>
                  <a:lnTo>
                    <a:pt x="194" y="311"/>
                  </a:lnTo>
                  <a:lnTo>
                    <a:pt x="195" y="310"/>
                  </a:lnTo>
                  <a:lnTo>
                    <a:pt x="195" y="309"/>
                  </a:lnTo>
                  <a:lnTo>
                    <a:pt x="192" y="309"/>
                  </a:lnTo>
                  <a:lnTo>
                    <a:pt x="192" y="308"/>
                  </a:lnTo>
                  <a:lnTo>
                    <a:pt x="192" y="307"/>
                  </a:lnTo>
                  <a:lnTo>
                    <a:pt x="192" y="304"/>
                  </a:lnTo>
                  <a:lnTo>
                    <a:pt x="194" y="302"/>
                  </a:lnTo>
                  <a:lnTo>
                    <a:pt x="195" y="303"/>
                  </a:lnTo>
                  <a:lnTo>
                    <a:pt x="195" y="305"/>
                  </a:lnTo>
                  <a:lnTo>
                    <a:pt x="195" y="307"/>
                  </a:lnTo>
                  <a:lnTo>
                    <a:pt x="196" y="308"/>
                  </a:lnTo>
                  <a:lnTo>
                    <a:pt x="197" y="307"/>
                  </a:lnTo>
                  <a:lnTo>
                    <a:pt x="198" y="305"/>
                  </a:lnTo>
                  <a:lnTo>
                    <a:pt x="200" y="305"/>
                  </a:lnTo>
                  <a:lnTo>
                    <a:pt x="201" y="305"/>
                  </a:lnTo>
                  <a:lnTo>
                    <a:pt x="202" y="307"/>
                  </a:lnTo>
                  <a:lnTo>
                    <a:pt x="203" y="308"/>
                  </a:lnTo>
                  <a:lnTo>
                    <a:pt x="204" y="308"/>
                  </a:lnTo>
                  <a:lnTo>
                    <a:pt x="206" y="308"/>
                  </a:lnTo>
                  <a:lnTo>
                    <a:pt x="206" y="307"/>
                  </a:lnTo>
                  <a:lnTo>
                    <a:pt x="207" y="305"/>
                  </a:lnTo>
                  <a:lnTo>
                    <a:pt x="208" y="305"/>
                  </a:lnTo>
                  <a:lnTo>
                    <a:pt x="209" y="305"/>
                  </a:lnTo>
                  <a:lnTo>
                    <a:pt x="209" y="307"/>
                  </a:lnTo>
                  <a:lnTo>
                    <a:pt x="210" y="307"/>
                  </a:lnTo>
                  <a:lnTo>
                    <a:pt x="212" y="307"/>
                  </a:lnTo>
                  <a:lnTo>
                    <a:pt x="212" y="305"/>
                  </a:lnTo>
                  <a:lnTo>
                    <a:pt x="210" y="304"/>
                  </a:lnTo>
                  <a:lnTo>
                    <a:pt x="209" y="304"/>
                  </a:lnTo>
                  <a:lnTo>
                    <a:pt x="208" y="304"/>
                  </a:lnTo>
                  <a:lnTo>
                    <a:pt x="207" y="304"/>
                  </a:lnTo>
                  <a:lnTo>
                    <a:pt x="207" y="305"/>
                  </a:lnTo>
                  <a:lnTo>
                    <a:pt x="206" y="305"/>
                  </a:lnTo>
                  <a:lnTo>
                    <a:pt x="204" y="307"/>
                  </a:lnTo>
                  <a:lnTo>
                    <a:pt x="203" y="307"/>
                  </a:lnTo>
                  <a:lnTo>
                    <a:pt x="202" y="305"/>
                  </a:lnTo>
                  <a:lnTo>
                    <a:pt x="202" y="304"/>
                  </a:lnTo>
                  <a:lnTo>
                    <a:pt x="203" y="303"/>
                  </a:lnTo>
                  <a:lnTo>
                    <a:pt x="206" y="303"/>
                  </a:lnTo>
                  <a:lnTo>
                    <a:pt x="207" y="303"/>
                  </a:lnTo>
                  <a:lnTo>
                    <a:pt x="207" y="302"/>
                  </a:lnTo>
                  <a:lnTo>
                    <a:pt x="207" y="301"/>
                  </a:lnTo>
                  <a:lnTo>
                    <a:pt x="208" y="301"/>
                  </a:lnTo>
                  <a:lnTo>
                    <a:pt x="209" y="301"/>
                  </a:lnTo>
                  <a:lnTo>
                    <a:pt x="207" y="301"/>
                  </a:lnTo>
                  <a:lnTo>
                    <a:pt x="206" y="302"/>
                  </a:lnTo>
                  <a:lnTo>
                    <a:pt x="201" y="302"/>
                  </a:lnTo>
                  <a:lnTo>
                    <a:pt x="202" y="301"/>
                  </a:lnTo>
                  <a:lnTo>
                    <a:pt x="204" y="298"/>
                  </a:lnTo>
                  <a:lnTo>
                    <a:pt x="207" y="298"/>
                  </a:lnTo>
                  <a:lnTo>
                    <a:pt x="209" y="298"/>
                  </a:lnTo>
                  <a:lnTo>
                    <a:pt x="210" y="299"/>
                  </a:lnTo>
                  <a:lnTo>
                    <a:pt x="210" y="301"/>
                  </a:lnTo>
                  <a:lnTo>
                    <a:pt x="212" y="302"/>
                  </a:lnTo>
                  <a:lnTo>
                    <a:pt x="212" y="303"/>
                  </a:lnTo>
                  <a:lnTo>
                    <a:pt x="213" y="303"/>
                  </a:lnTo>
                  <a:lnTo>
                    <a:pt x="214" y="302"/>
                  </a:lnTo>
                  <a:lnTo>
                    <a:pt x="213" y="301"/>
                  </a:lnTo>
                  <a:lnTo>
                    <a:pt x="212" y="301"/>
                  </a:lnTo>
                  <a:lnTo>
                    <a:pt x="213" y="298"/>
                  </a:lnTo>
                  <a:lnTo>
                    <a:pt x="213" y="297"/>
                  </a:lnTo>
                  <a:lnTo>
                    <a:pt x="213" y="296"/>
                  </a:lnTo>
                  <a:lnTo>
                    <a:pt x="212" y="295"/>
                  </a:lnTo>
                  <a:lnTo>
                    <a:pt x="213" y="293"/>
                  </a:lnTo>
                  <a:lnTo>
                    <a:pt x="210" y="293"/>
                  </a:lnTo>
                  <a:lnTo>
                    <a:pt x="201" y="293"/>
                  </a:lnTo>
                  <a:lnTo>
                    <a:pt x="182" y="296"/>
                  </a:lnTo>
                  <a:lnTo>
                    <a:pt x="172" y="298"/>
                  </a:lnTo>
                  <a:lnTo>
                    <a:pt x="164" y="302"/>
                  </a:lnTo>
                  <a:lnTo>
                    <a:pt x="161" y="303"/>
                  </a:lnTo>
                  <a:lnTo>
                    <a:pt x="165" y="305"/>
                  </a:lnTo>
                  <a:lnTo>
                    <a:pt x="170" y="308"/>
                  </a:lnTo>
                  <a:lnTo>
                    <a:pt x="171" y="310"/>
                  </a:lnTo>
                  <a:lnTo>
                    <a:pt x="173" y="313"/>
                  </a:lnTo>
                  <a:lnTo>
                    <a:pt x="176" y="314"/>
                  </a:lnTo>
                  <a:lnTo>
                    <a:pt x="173" y="313"/>
                  </a:lnTo>
                  <a:lnTo>
                    <a:pt x="172" y="315"/>
                  </a:lnTo>
                  <a:lnTo>
                    <a:pt x="171" y="317"/>
                  </a:lnTo>
                  <a:lnTo>
                    <a:pt x="173" y="321"/>
                  </a:lnTo>
                  <a:lnTo>
                    <a:pt x="174" y="322"/>
                  </a:lnTo>
                  <a:lnTo>
                    <a:pt x="176" y="325"/>
                  </a:lnTo>
                  <a:lnTo>
                    <a:pt x="177" y="325"/>
                  </a:lnTo>
                  <a:lnTo>
                    <a:pt x="177" y="326"/>
                  </a:lnTo>
                  <a:lnTo>
                    <a:pt x="178" y="327"/>
                  </a:lnTo>
                  <a:lnTo>
                    <a:pt x="179" y="328"/>
                  </a:lnTo>
                  <a:lnTo>
                    <a:pt x="180" y="327"/>
                  </a:lnTo>
                  <a:lnTo>
                    <a:pt x="179" y="327"/>
                  </a:lnTo>
                  <a:lnTo>
                    <a:pt x="179" y="325"/>
                  </a:lnTo>
                  <a:lnTo>
                    <a:pt x="182" y="326"/>
                  </a:lnTo>
                  <a:lnTo>
                    <a:pt x="183" y="328"/>
                  </a:lnTo>
                  <a:lnTo>
                    <a:pt x="182" y="328"/>
                  </a:lnTo>
                  <a:lnTo>
                    <a:pt x="180" y="328"/>
                  </a:lnTo>
                  <a:lnTo>
                    <a:pt x="182" y="331"/>
                  </a:lnTo>
                  <a:lnTo>
                    <a:pt x="183" y="332"/>
                  </a:lnTo>
                  <a:lnTo>
                    <a:pt x="183" y="334"/>
                  </a:lnTo>
                  <a:lnTo>
                    <a:pt x="182" y="332"/>
                  </a:lnTo>
                  <a:lnTo>
                    <a:pt x="180" y="331"/>
                  </a:lnTo>
                  <a:lnTo>
                    <a:pt x="180" y="332"/>
                  </a:lnTo>
                  <a:lnTo>
                    <a:pt x="180" y="334"/>
                  </a:lnTo>
                  <a:lnTo>
                    <a:pt x="180" y="337"/>
                  </a:lnTo>
                  <a:lnTo>
                    <a:pt x="180" y="333"/>
                  </a:lnTo>
                  <a:lnTo>
                    <a:pt x="179" y="334"/>
                  </a:lnTo>
                  <a:lnTo>
                    <a:pt x="179" y="335"/>
                  </a:lnTo>
                  <a:lnTo>
                    <a:pt x="179" y="333"/>
                  </a:lnTo>
                  <a:lnTo>
                    <a:pt x="178" y="334"/>
                  </a:lnTo>
                  <a:lnTo>
                    <a:pt x="179" y="332"/>
                  </a:lnTo>
                  <a:lnTo>
                    <a:pt x="179" y="331"/>
                  </a:lnTo>
                  <a:lnTo>
                    <a:pt x="180" y="329"/>
                  </a:lnTo>
                  <a:lnTo>
                    <a:pt x="178" y="328"/>
                  </a:lnTo>
                  <a:lnTo>
                    <a:pt x="176" y="326"/>
                  </a:lnTo>
                  <a:lnTo>
                    <a:pt x="174" y="322"/>
                  </a:lnTo>
                  <a:lnTo>
                    <a:pt x="173" y="322"/>
                  </a:lnTo>
                  <a:lnTo>
                    <a:pt x="173" y="326"/>
                  </a:lnTo>
                  <a:lnTo>
                    <a:pt x="174" y="328"/>
                  </a:lnTo>
                  <a:lnTo>
                    <a:pt x="174" y="329"/>
                  </a:lnTo>
                  <a:lnTo>
                    <a:pt x="174" y="328"/>
                  </a:lnTo>
                  <a:lnTo>
                    <a:pt x="177" y="328"/>
                  </a:lnTo>
                  <a:lnTo>
                    <a:pt x="176" y="329"/>
                  </a:lnTo>
                  <a:lnTo>
                    <a:pt x="176" y="331"/>
                  </a:lnTo>
                  <a:lnTo>
                    <a:pt x="177" y="331"/>
                  </a:lnTo>
                  <a:lnTo>
                    <a:pt x="177" y="332"/>
                  </a:lnTo>
                  <a:lnTo>
                    <a:pt x="177" y="333"/>
                  </a:lnTo>
                  <a:lnTo>
                    <a:pt x="177" y="334"/>
                  </a:lnTo>
                  <a:lnTo>
                    <a:pt x="179" y="338"/>
                  </a:lnTo>
                  <a:lnTo>
                    <a:pt x="182" y="339"/>
                  </a:lnTo>
                  <a:lnTo>
                    <a:pt x="180" y="338"/>
                  </a:lnTo>
                  <a:lnTo>
                    <a:pt x="183" y="339"/>
                  </a:lnTo>
                  <a:lnTo>
                    <a:pt x="183" y="341"/>
                  </a:lnTo>
                  <a:lnTo>
                    <a:pt x="184" y="341"/>
                  </a:lnTo>
                  <a:lnTo>
                    <a:pt x="185" y="341"/>
                  </a:lnTo>
                  <a:lnTo>
                    <a:pt x="186" y="340"/>
                  </a:lnTo>
                  <a:lnTo>
                    <a:pt x="186" y="339"/>
                  </a:lnTo>
                  <a:lnTo>
                    <a:pt x="186" y="337"/>
                  </a:lnTo>
                  <a:lnTo>
                    <a:pt x="189" y="337"/>
                  </a:lnTo>
                  <a:lnTo>
                    <a:pt x="190" y="337"/>
                  </a:lnTo>
                  <a:lnTo>
                    <a:pt x="190" y="338"/>
                  </a:lnTo>
                  <a:lnTo>
                    <a:pt x="189" y="340"/>
                  </a:lnTo>
                  <a:lnTo>
                    <a:pt x="189" y="341"/>
                  </a:lnTo>
                  <a:lnTo>
                    <a:pt x="189" y="343"/>
                  </a:lnTo>
                  <a:lnTo>
                    <a:pt x="190" y="343"/>
                  </a:lnTo>
                  <a:lnTo>
                    <a:pt x="191" y="343"/>
                  </a:lnTo>
                  <a:lnTo>
                    <a:pt x="192" y="340"/>
                  </a:lnTo>
                  <a:lnTo>
                    <a:pt x="192" y="338"/>
                  </a:lnTo>
                  <a:lnTo>
                    <a:pt x="194" y="339"/>
                  </a:lnTo>
                  <a:lnTo>
                    <a:pt x="194" y="340"/>
                  </a:lnTo>
                  <a:lnTo>
                    <a:pt x="192" y="343"/>
                  </a:lnTo>
                  <a:lnTo>
                    <a:pt x="191" y="343"/>
                  </a:lnTo>
                  <a:lnTo>
                    <a:pt x="192" y="344"/>
                  </a:lnTo>
                  <a:lnTo>
                    <a:pt x="194" y="345"/>
                  </a:lnTo>
                  <a:lnTo>
                    <a:pt x="196" y="346"/>
                  </a:lnTo>
                  <a:lnTo>
                    <a:pt x="196" y="347"/>
                  </a:lnTo>
                  <a:lnTo>
                    <a:pt x="195" y="347"/>
                  </a:lnTo>
                  <a:lnTo>
                    <a:pt x="194" y="347"/>
                  </a:lnTo>
                  <a:lnTo>
                    <a:pt x="195" y="351"/>
                  </a:lnTo>
                  <a:lnTo>
                    <a:pt x="192" y="350"/>
                  </a:lnTo>
                  <a:lnTo>
                    <a:pt x="192" y="347"/>
                  </a:lnTo>
                  <a:lnTo>
                    <a:pt x="194" y="346"/>
                  </a:lnTo>
                  <a:lnTo>
                    <a:pt x="192" y="346"/>
                  </a:lnTo>
                  <a:lnTo>
                    <a:pt x="191" y="345"/>
                  </a:lnTo>
                  <a:lnTo>
                    <a:pt x="190" y="344"/>
                  </a:lnTo>
                  <a:lnTo>
                    <a:pt x="189" y="343"/>
                  </a:lnTo>
                  <a:lnTo>
                    <a:pt x="188" y="344"/>
                  </a:lnTo>
                  <a:lnTo>
                    <a:pt x="190" y="345"/>
                  </a:lnTo>
                  <a:lnTo>
                    <a:pt x="190" y="349"/>
                  </a:lnTo>
                  <a:lnTo>
                    <a:pt x="192" y="350"/>
                  </a:lnTo>
                  <a:lnTo>
                    <a:pt x="192" y="352"/>
                  </a:lnTo>
                  <a:lnTo>
                    <a:pt x="192" y="357"/>
                  </a:lnTo>
                  <a:lnTo>
                    <a:pt x="195" y="358"/>
                  </a:lnTo>
                  <a:lnTo>
                    <a:pt x="195" y="360"/>
                  </a:lnTo>
                  <a:lnTo>
                    <a:pt x="197" y="361"/>
                  </a:lnTo>
                  <a:lnTo>
                    <a:pt x="198" y="361"/>
                  </a:lnTo>
                  <a:lnTo>
                    <a:pt x="200" y="363"/>
                  </a:lnTo>
                  <a:lnTo>
                    <a:pt x="197" y="362"/>
                  </a:lnTo>
                  <a:lnTo>
                    <a:pt x="198" y="363"/>
                  </a:lnTo>
                  <a:lnTo>
                    <a:pt x="197" y="366"/>
                  </a:lnTo>
                  <a:lnTo>
                    <a:pt x="196" y="364"/>
                  </a:lnTo>
                  <a:lnTo>
                    <a:pt x="196" y="366"/>
                  </a:lnTo>
                  <a:lnTo>
                    <a:pt x="195" y="364"/>
                  </a:lnTo>
                  <a:lnTo>
                    <a:pt x="195" y="366"/>
                  </a:lnTo>
                  <a:lnTo>
                    <a:pt x="192" y="368"/>
                  </a:lnTo>
                  <a:lnTo>
                    <a:pt x="192" y="366"/>
                  </a:lnTo>
                  <a:lnTo>
                    <a:pt x="191" y="366"/>
                  </a:lnTo>
                  <a:lnTo>
                    <a:pt x="192" y="362"/>
                  </a:lnTo>
                  <a:lnTo>
                    <a:pt x="191" y="361"/>
                  </a:lnTo>
                  <a:lnTo>
                    <a:pt x="192" y="358"/>
                  </a:lnTo>
                  <a:lnTo>
                    <a:pt x="191" y="352"/>
                  </a:lnTo>
                  <a:lnTo>
                    <a:pt x="191" y="353"/>
                  </a:lnTo>
                  <a:lnTo>
                    <a:pt x="190" y="353"/>
                  </a:lnTo>
                  <a:lnTo>
                    <a:pt x="191" y="356"/>
                  </a:lnTo>
                  <a:lnTo>
                    <a:pt x="189" y="355"/>
                  </a:lnTo>
                  <a:lnTo>
                    <a:pt x="186" y="353"/>
                  </a:lnTo>
                  <a:lnTo>
                    <a:pt x="185" y="353"/>
                  </a:lnTo>
                  <a:lnTo>
                    <a:pt x="186" y="355"/>
                  </a:lnTo>
                  <a:lnTo>
                    <a:pt x="185" y="357"/>
                  </a:lnTo>
                  <a:lnTo>
                    <a:pt x="185" y="358"/>
                  </a:lnTo>
                  <a:lnTo>
                    <a:pt x="184" y="356"/>
                  </a:lnTo>
                  <a:lnTo>
                    <a:pt x="184" y="355"/>
                  </a:lnTo>
                  <a:lnTo>
                    <a:pt x="185" y="353"/>
                  </a:lnTo>
                  <a:lnTo>
                    <a:pt x="185" y="352"/>
                  </a:lnTo>
                  <a:lnTo>
                    <a:pt x="186" y="351"/>
                  </a:lnTo>
                  <a:lnTo>
                    <a:pt x="188" y="350"/>
                  </a:lnTo>
                  <a:lnTo>
                    <a:pt x="188" y="349"/>
                  </a:lnTo>
                  <a:lnTo>
                    <a:pt x="186" y="349"/>
                  </a:lnTo>
                  <a:lnTo>
                    <a:pt x="185" y="350"/>
                  </a:lnTo>
                  <a:lnTo>
                    <a:pt x="185" y="349"/>
                  </a:lnTo>
                  <a:lnTo>
                    <a:pt x="185" y="347"/>
                  </a:lnTo>
                  <a:lnTo>
                    <a:pt x="183" y="351"/>
                  </a:lnTo>
                  <a:lnTo>
                    <a:pt x="182" y="353"/>
                  </a:lnTo>
                  <a:lnTo>
                    <a:pt x="179" y="357"/>
                  </a:lnTo>
                  <a:lnTo>
                    <a:pt x="182" y="360"/>
                  </a:lnTo>
                  <a:lnTo>
                    <a:pt x="183" y="361"/>
                  </a:lnTo>
                  <a:lnTo>
                    <a:pt x="182" y="361"/>
                  </a:lnTo>
                  <a:lnTo>
                    <a:pt x="182" y="363"/>
                  </a:lnTo>
                  <a:lnTo>
                    <a:pt x="182" y="364"/>
                  </a:lnTo>
                  <a:lnTo>
                    <a:pt x="183" y="364"/>
                  </a:lnTo>
                  <a:lnTo>
                    <a:pt x="183" y="366"/>
                  </a:lnTo>
                  <a:lnTo>
                    <a:pt x="182" y="366"/>
                  </a:lnTo>
                  <a:lnTo>
                    <a:pt x="183" y="369"/>
                  </a:lnTo>
                  <a:lnTo>
                    <a:pt x="182" y="370"/>
                  </a:lnTo>
                  <a:lnTo>
                    <a:pt x="180" y="368"/>
                  </a:lnTo>
                  <a:lnTo>
                    <a:pt x="179" y="366"/>
                  </a:lnTo>
                  <a:lnTo>
                    <a:pt x="178" y="368"/>
                  </a:lnTo>
                  <a:lnTo>
                    <a:pt x="177" y="370"/>
                  </a:lnTo>
                  <a:lnTo>
                    <a:pt x="176" y="369"/>
                  </a:lnTo>
                  <a:lnTo>
                    <a:pt x="176" y="367"/>
                  </a:lnTo>
                  <a:lnTo>
                    <a:pt x="174" y="368"/>
                  </a:lnTo>
                  <a:lnTo>
                    <a:pt x="174" y="366"/>
                  </a:lnTo>
                  <a:lnTo>
                    <a:pt x="174" y="363"/>
                  </a:lnTo>
                  <a:lnTo>
                    <a:pt x="173" y="364"/>
                  </a:lnTo>
                  <a:lnTo>
                    <a:pt x="173" y="362"/>
                  </a:lnTo>
                  <a:lnTo>
                    <a:pt x="176" y="360"/>
                  </a:lnTo>
                  <a:lnTo>
                    <a:pt x="176" y="358"/>
                  </a:lnTo>
                  <a:lnTo>
                    <a:pt x="173" y="358"/>
                  </a:lnTo>
                  <a:lnTo>
                    <a:pt x="172" y="361"/>
                  </a:lnTo>
                  <a:lnTo>
                    <a:pt x="171" y="361"/>
                  </a:lnTo>
                  <a:lnTo>
                    <a:pt x="172" y="357"/>
                  </a:lnTo>
                  <a:lnTo>
                    <a:pt x="174" y="356"/>
                  </a:lnTo>
                  <a:lnTo>
                    <a:pt x="176" y="357"/>
                  </a:lnTo>
                  <a:lnTo>
                    <a:pt x="178" y="356"/>
                  </a:lnTo>
                  <a:lnTo>
                    <a:pt x="182" y="353"/>
                  </a:lnTo>
                  <a:lnTo>
                    <a:pt x="184" y="349"/>
                  </a:lnTo>
                  <a:lnTo>
                    <a:pt x="185" y="346"/>
                  </a:lnTo>
                  <a:lnTo>
                    <a:pt x="184" y="346"/>
                  </a:lnTo>
                  <a:lnTo>
                    <a:pt x="184" y="345"/>
                  </a:lnTo>
                  <a:lnTo>
                    <a:pt x="183" y="344"/>
                  </a:lnTo>
                  <a:lnTo>
                    <a:pt x="183" y="345"/>
                  </a:lnTo>
                  <a:lnTo>
                    <a:pt x="180" y="346"/>
                  </a:lnTo>
                  <a:lnTo>
                    <a:pt x="179" y="346"/>
                  </a:lnTo>
                  <a:lnTo>
                    <a:pt x="178" y="347"/>
                  </a:lnTo>
                  <a:lnTo>
                    <a:pt x="174" y="347"/>
                  </a:lnTo>
                  <a:lnTo>
                    <a:pt x="177" y="346"/>
                  </a:lnTo>
                  <a:lnTo>
                    <a:pt x="178" y="345"/>
                  </a:lnTo>
                  <a:lnTo>
                    <a:pt x="178" y="343"/>
                  </a:lnTo>
                  <a:lnTo>
                    <a:pt x="180" y="343"/>
                  </a:lnTo>
                  <a:lnTo>
                    <a:pt x="182" y="344"/>
                  </a:lnTo>
                  <a:lnTo>
                    <a:pt x="182" y="343"/>
                  </a:lnTo>
                  <a:lnTo>
                    <a:pt x="183" y="343"/>
                  </a:lnTo>
                  <a:lnTo>
                    <a:pt x="183" y="341"/>
                  </a:lnTo>
                  <a:lnTo>
                    <a:pt x="182" y="341"/>
                  </a:lnTo>
                  <a:lnTo>
                    <a:pt x="180" y="340"/>
                  </a:lnTo>
                  <a:lnTo>
                    <a:pt x="180" y="339"/>
                  </a:lnTo>
                  <a:lnTo>
                    <a:pt x="180" y="340"/>
                  </a:lnTo>
                  <a:lnTo>
                    <a:pt x="178" y="340"/>
                  </a:lnTo>
                  <a:lnTo>
                    <a:pt x="177" y="340"/>
                  </a:lnTo>
                  <a:lnTo>
                    <a:pt x="176" y="340"/>
                  </a:lnTo>
                  <a:lnTo>
                    <a:pt x="173" y="339"/>
                  </a:lnTo>
                  <a:lnTo>
                    <a:pt x="173" y="337"/>
                  </a:lnTo>
                  <a:lnTo>
                    <a:pt x="172" y="338"/>
                  </a:lnTo>
                  <a:lnTo>
                    <a:pt x="173" y="340"/>
                  </a:lnTo>
                  <a:lnTo>
                    <a:pt x="174" y="341"/>
                  </a:lnTo>
                  <a:lnTo>
                    <a:pt x="173" y="341"/>
                  </a:lnTo>
                  <a:lnTo>
                    <a:pt x="173" y="344"/>
                  </a:lnTo>
                  <a:lnTo>
                    <a:pt x="173" y="346"/>
                  </a:lnTo>
                  <a:lnTo>
                    <a:pt x="172" y="345"/>
                  </a:lnTo>
                  <a:lnTo>
                    <a:pt x="172" y="346"/>
                  </a:lnTo>
                  <a:lnTo>
                    <a:pt x="172" y="349"/>
                  </a:lnTo>
                  <a:lnTo>
                    <a:pt x="171" y="346"/>
                  </a:lnTo>
                  <a:lnTo>
                    <a:pt x="170" y="346"/>
                  </a:lnTo>
                  <a:lnTo>
                    <a:pt x="168" y="345"/>
                  </a:lnTo>
                  <a:lnTo>
                    <a:pt x="168" y="347"/>
                  </a:lnTo>
                  <a:lnTo>
                    <a:pt x="168" y="350"/>
                  </a:lnTo>
                  <a:lnTo>
                    <a:pt x="167" y="347"/>
                  </a:lnTo>
                  <a:lnTo>
                    <a:pt x="166" y="347"/>
                  </a:lnTo>
                  <a:lnTo>
                    <a:pt x="165" y="349"/>
                  </a:lnTo>
                  <a:lnTo>
                    <a:pt x="165" y="346"/>
                  </a:lnTo>
                  <a:lnTo>
                    <a:pt x="165" y="344"/>
                  </a:lnTo>
                  <a:lnTo>
                    <a:pt x="166" y="341"/>
                  </a:lnTo>
                  <a:lnTo>
                    <a:pt x="166" y="340"/>
                  </a:lnTo>
                  <a:lnTo>
                    <a:pt x="165" y="339"/>
                  </a:lnTo>
                  <a:lnTo>
                    <a:pt x="164" y="340"/>
                  </a:lnTo>
                  <a:lnTo>
                    <a:pt x="162" y="339"/>
                  </a:lnTo>
                  <a:lnTo>
                    <a:pt x="161" y="339"/>
                  </a:lnTo>
                  <a:lnTo>
                    <a:pt x="161" y="340"/>
                  </a:lnTo>
                  <a:lnTo>
                    <a:pt x="162" y="341"/>
                  </a:lnTo>
                  <a:lnTo>
                    <a:pt x="162" y="344"/>
                  </a:lnTo>
                  <a:lnTo>
                    <a:pt x="161" y="345"/>
                  </a:lnTo>
                  <a:lnTo>
                    <a:pt x="160" y="343"/>
                  </a:lnTo>
                  <a:lnTo>
                    <a:pt x="159" y="341"/>
                  </a:lnTo>
                  <a:lnTo>
                    <a:pt x="157" y="341"/>
                  </a:lnTo>
                  <a:lnTo>
                    <a:pt x="157" y="344"/>
                  </a:lnTo>
                  <a:lnTo>
                    <a:pt x="159" y="345"/>
                  </a:lnTo>
                  <a:lnTo>
                    <a:pt x="160" y="347"/>
                  </a:lnTo>
                  <a:lnTo>
                    <a:pt x="160" y="351"/>
                  </a:lnTo>
                  <a:lnTo>
                    <a:pt x="159" y="349"/>
                  </a:lnTo>
                  <a:lnTo>
                    <a:pt x="157" y="346"/>
                  </a:lnTo>
                  <a:lnTo>
                    <a:pt x="156" y="346"/>
                  </a:lnTo>
                  <a:lnTo>
                    <a:pt x="155" y="347"/>
                  </a:lnTo>
                  <a:lnTo>
                    <a:pt x="155" y="346"/>
                  </a:lnTo>
                  <a:lnTo>
                    <a:pt x="154" y="347"/>
                  </a:lnTo>
                  <a:lnTo>
                    <a:pt x="153" y="350"/>
                  </a:lnTo>
                  <a:lnTo>
                    <a:pt x="154" y="351"/>
                  </a:lnTo>
                  <a:lnTo>
                    <a:pt x="155" y="351"/>
                  </a:lnTo>
                  <a:lnTo>
                    <a:pt x="156" y="351"/>
                  </a:lnTo>
                  <a:lnTo>
                    <a:pt x="157" y="352"/>
                  </a:lnTo>
                  <a:lnTo>
                    <a:pt x="156" y="352"/>
                  </a:lnTo>
                  <a:lnTo>
                    <a:pt x="155" y="352"/>
                  </a:lnTo>
                  <a:lnTo>
                    <a:pt x="154" y="352"/>
                  </a:lnTo>
                  <a:lnTo>
                    <a:pt x="154" y="353"/>
                  </a:lnTo>
                  <a:lnTo>
                    <a:pt x="154" y="355"/>
                  </a:lnTo>
                  <a:lnTo>
                    <a:pt x="154" y="356"/>
                  </a:lnTo>
                  <a:lnTo>
                    <a:pt x="153" y="356"/>
                  </a:lnTo>
                  <a:lnTo>
                    <a:pt x="153" y="355"/>
                  </a:lnTo>
                  <a:lnTo>
                    <a:pt x="153" y="352"/>
                  </a:lnTo>
                  <a:lnTo>
                    <a:pt x="153" y="351"/>
                  </a:lnTo>
                  <a:lnTo>
                    <a:pt x="151" y="352"/>
                  </a:lnTo>
                  <a:lnTo>
                    <a:pt x="151" y="355"/>
                  </a:lnTo>
                  <a:lnTo>
                    <a:pt x="151" y="352"/>
                  </a:lnTo>
                  <a:lnTo>
                    <a:pt x="150" y="353"/>
                  </a:lnTo>
                  <a:lnTo>
                    <a:pt x="149" y="352"/>
                  </a:lnTo>
                  <a:lnTo>
                    <a:pt x="149" y="351"/>
                  </a:lnTo>
                  <a:lnTo>
                    <a:pt x="149" y="350"/>
                  </a:lnTo>
                  <a:lnTo>
                    <a:pt x="149" y="351"/>
                  </a:lnTo>
                  <a:lnTo>
                    <a:pt x="148" y="351"/>
                  </a:lnTo>
                  <a:lnTo>
                    <a:pt x="148" y="352"/>
                  </a:lnTo>
                  <a:lnTo>
                    <a:pt x="148" y="355"/>
                  </a:lnTo>
                  <a:lnTo>
                    <a:pt x="145" y="357"/>
                  </a:lnTo>
                  <a:lnTo>
                    <a:pt x="147" y="355"/>
                  </a:lnTo>
                  <a:lnTo>
                    <a:pt x="148" y="352"/>
                  </a:lnTo>
                  <a:lnTo>
                    <a:pt x="147" y="351"/>
                  </a:lnTo>
                  <a:lnTo>
                    <a:pt x="145" y="352"/>
                  </a:lnTo>
                  <a:lnTo>
                    <a:pt x="144" y="352"/>
                  </a:lnTo>
                  <a:lnTo>
                    <a:pt x="142" y="352"/>
                  </a:lnTo>
                  <a:lnTo>
                    <a:pt x="142" y="353"/>
                  </a:lnTo>
                  <a:lnTo>
                    <a:pt x="144" y="356"/>
                  </a:lnTo>
                  <a:lnTo>
                    <a:pt x="143" y="357"/>
                  </a:lnTo>
                  <a:lnTo>
                    <a:pt x="142" y="358"/>
                  </a:lnTo>
                  <a:lnTo>
                    <a:pt x="141" y="357"/>
                  </a:lnTo>
                  <a:lnTo>
                    <a:pt x="141" y="358"/>
                  </a:lnTo>
                  <a:lnTo>
                    <a:pt x="139" y="360"/>
                  </a:lnTo>
                  <a:lnTo>
                    <a:pt x="139" y="361"/>
                  </a:lnTo>
                  <a:lnTo>
                    <a:pt x="138" y="361"/>
                  </a:lnTo>
                  <a:lnTo>
                    <a:pt x="137" y="358"/>
                  </a:lnTo>
                  <a:lnTo>
                    <a:pt x="135" y="358"/>
                  </a:lnTo>
                  <a:lnTo>
                    <a:pt x="136" y="356"/>
                  </a:lnTo>
                  <a:lnTo>
                    <a:pt x="136" y="353"/>
                  </a:lnTo>
                  <a:lnTo>
                    <a:pt x="137" y="353"/>
                  </a:lnTo>
                  <a:lnTo>
                    <a:pt x="136" y="352"/>
                  </a:lnTo>
                  <a:lnTo>
                    <a:pt x="135" y="352"/>
                  </a:lnTo>
                  <a:lnTo>
                    <a:pt x="136" y="351"/>
                  </a:lnTo>
                  <a:lnTo>
                    <a:pt x="137" y="350"/>
                  </a:lnTo>
                  <a:lnTo>
                    <a:pt x="137" y="349"/>
                  </a:lnTo>
                  <a:lnTo>
                    <a:pt x="136" y="349"/>
                  </a:lnTo>
                  <a:lnTo>
                    <a:pt x="136" y="350"/>
                  </a:lnTo>
                  <a:lnTo>
                    <a:pt x="135" y="351"/>
                  </a:lnTo>
                  <a:lnTo>
                    <a:pt x="133" y="352"/>
                  </a:lnTo>
                  <a:lnTo>
                    <a:pt x="132" y="351"/>
                  </a:lnTo>
                  <a:lnTo>
                    <a:pt x="131" y="350"/>
                  </a:lnTo>
                  <a:lnTo>
                    <a:pt x="132" y="349"/>
                  </a:lnTo>
                  <a:lnTo>
                    <a:pt x="132" y="346"/>
                  </a:lnTo>
                  <a:lnTo>
                    <a:pt x="131" y="347"/>
                  </a:lnTo>
                  <a:lnTo>
                    <a:pt x="130" y="346"/>
                  </a:lnTo>
                  <a:lnTo>
                    <a:pt x="130" y="345"/>
                  </a:lnTo>
                  <a:lnTo>
                    <a:pt x="130" y="346"/>
                  </a:lnTo>
                  <a:lnTo>
                    <a:pt x="129" y="346"/>
                  </a:lnTo>
                  <a:lnTo>
                    <a:pt x="127" y="346"/>
                  </a:lnTo>
                  <a:lnTo>
                    <a:pt x="129" y="347"/>
                  </a:lnTo>
                  <a:lnTo>
                    <a:pt x="130" y="347"/>
                  </a:lnTo>
                  <a:lnTo>
                    <a:pt x="131" y="349"/>
                  </a:lnTo>
                  <a:lnTo>
                    <a:pt x="130" y="349"/>
                  </a:lnTo>
                  <a:lnTo>
                    <a:pt x="129" y="350"/>
                  </a:lnTo>
                  <a:lnTo>
                    <a:pt x="129" y="351"/>
                  </a:lnTo>
                  <a:lnTo>
                    <a:pt x="127" y="349"/>
                  </a:lnTo>
                  <a:lnTo>
                    <a:pt x="126" y="349"/>
                  </a:lnTo>
                  <a:lnTo>
                    <a:pt x="127" y="347"/>
                  </a:lnTo>
                  <a:lnTo>
                    <a:pt x="126" y="347"/>
                  </a:lnTo>
                  <a:lnTo>
                    <a:pt x="125" y="349"/>
                  </a:lnTo>
                  <a:lnTo>
                    <a:pt x="125" y="347"/>
                  </a:lnTo>
                  <a:lnTo>
                    <a:pt x="125" y="346"/>
                  </a:lnTo>
                  <a:lnTo>
                    <a:pt x="127" y="345"/>
                  </a:lnTo>
                  <a:lnTo>
                    <a:pt x="126" y="345"/>
                  </a:lnTo>
                  <a:lnTo>
                    <a:pt x="127" y="344"/>
                  </a:lnTo>
                  <a:lnTo>
                    <a:pt x="129" y="344"/>
                  </a:lnTo>
                  <a:lnTo>
                    <a:pt x="129" y="343"/>
                  </a:lnTo>
                  <a:lnTo>
                    <a:pt x="131" y="343"/>
                  </a:lnTo>
                  <a:lnTo>
                    <a:pt x="132" y="341"/>
                  </a:lnTo>
                  <a:lnTo>
                    <a:pt x="132" y="340"/>
                  </a:lnTo>
                  <a:lnTo>
                    <a:pt x="132" y="341"/>
                  </a:lnTo>
                  <a:lnTo>
                    <a:pt x="131" y="341"/>
                  </a:lnTo>
                  <a:lnTo>
                    <a:pt x="130" y="341"/>
                  </a:lnTo>
                  <a:lnTo>
                    <a:pt x="129" y="341"/>
                  </a:lnTo>
                  <a:lnTo>
                    <a:pt x="130" y="340"/>
                  </a:lnTo>
                  <a:lnTo>
                    <a:pt x="131" y="339"/>
                  </a:lnTo>
                  <a:lnTo>
                    <a:pt x="130" y="338"/>
                  </a:lnTo>
                  <a:lnTo>
                    <a:pt x="127" y="340"/>
                  </a:lnTo>
                  <a:lnTo>
                    <a:pt x="127" y="339"/>
                  </a:lnTo>
                  <a:lnTo>
                    <a:pt x="129" y="338"/>
                  </a:lnTo>
                  <a:lnTo>
                    <a:pt x="129" y="337"/>
                  </a:lnTo>
                  <a:lnTo>
                    <a:pt x="127" y="338"/>
                  </a:lnTo>
                  <a:lnTo>
                    <a:pt x="126" y="339"/>
                  </a:lnTo>
                  <a:lnTo>
                    <a:pt x="124" y="339"/>
                  </a:lnTo>
                  <a:lnTo>
                    <a:pt x="124" y="338"/>
                  </a:lnTo>
                  <a:lnTo>
                    <a:pt x="123" y="338"/>
                  </a:lnTo>
                  <a:lnTo>
                    <a:pt x="123" y="340"/>
                  </a:lnTo>
                  <a:lnTo>
                    <a:pt x="121" y="338"/>
                  </a:lnTo>
                  <a:lnTo>
                    <a:pt x="120" y="338"/>
                  </a:lnTo>
                  <a:lnTo>
                    <a:pt x="119" y="339"/>
                  </a:lnTo>
                  <a:lnTo>
                    <a:pt x="118" y="338"/>
                  </a:lnTo>
                  <a:lnTo>
                    <a:pt x="117" y="337"/>
                  </a:lnTo>
                  <a:lnTo>
                    <a:pt x="117" y="335"/>
                  </a:lnTo>
                  <a:lnTo>
                    <a:pt x="118" y="334"/>
                  </a:lnTo>
                  <a:lnTo>
                    <a:pt x="117" y="334"/>
                  </a:lnTo>
                  <a:lnTo>
                    <a:pt x="115" y="335"/>
                  </a:lnTo>
                  <a:lnTo>
                    <a:pt x="114" y="337"/>
                  </a:lnTo>
                  <a:lnTo>
                    <a:pt x="114" y="339"/>
                  </a:lnTo>
                  <a:lnTo>
                    <a:pt x="115" y="340"/>
                  </a:lnTo>
                  <a:lnTo>
                    <a:pt x="117" y="341"/>
                  </a:lnTo>
                  <a:lnTo>
                    <a:pt x="118" y="343"/>
                  </a:lnTo>
                  <a:lnTo>
                    <a:pt x="119" y="343"/>
                  </a:lnTo>
                  <a:lnTo>
                    <a:pt x="119" y="344"/>
                  </a:lnTo>
                  <a:lnTo>
                    <a:pt x="118" y="344"/>
                  </a:lnTo>
                  <a:lnTo>
                    <a:pt x="117" y="345"/>
                  </a:lnTo>
                  <a:lnTo>
                    <a:pt x="119" y="345"/>
                  </a:lnTo>
                  <a:lnTo>
                    <a:pt x="121" y="347"/>
                  </a:lnTo>
                  <a:lnTo>
                    <a:pt x="119" y="347"/>
                  </a:lnTo>
                  <a:lnTo>
                    <a:pt x="118" y="346"/>
                  </a:lnTo>
                  <a:lnTo>
                    <a:pt x="118" y="347"/>
                  </a:lnTo>
                  <a:lnTo>
                    <a:pt x="117" y="347"/>
                  </a:lnTo>
                  <a:lnTo>
                    <a:pt x="113" y="346"/>
                  </a:lnTo>
                  <a:lnTo>
                    <a:pt x="112" y="347"/>
                  </a:lnTo>
                  <a:lnTo>
                    <a:pt x="112" y="350"/>
                  </a:lnTo>
                  <a:lnTo>
                    <a:pt x="111" y="349"/>
                  </a:lnTo>
                  <a:lnTo>
                    <a:pt x="109" y="346"/>
                  </a:lnTo>
                  <a:lnTo>
                    <a:pt x="109" y="345"/>
                  </a:lnTo>
                  <a:lnTo>
                    <a:pt x="108" y="346"/>
                  </a:lnTo>
                  <a:lnTo>
                    <a:pt x="108" y="347"/>
                  </a:lnTo>
                  <a:lnTo>
                    <a:pt x="109" y="349"/>
                  </a:lnTo>
                  <a:lnTo>
                    <a:pt x="107" y="347"/>
                  </a:lnTo>
                  <a:lnTo>
                    <a:pt x="106" y="347"/>
                  </a:lnTo>
                  <a:lnTo>
                    <a:pt x="107" y="349"/>
                  </a:lnTo>
                  <a:lnTo>
                    <a:pt x="107" y="350"/>
                  </a:lnTo>
                  <a:lnTo>
                    <a:pt x="107" y="351"/>
                  </a:lnTo>
                  <a:lnTo>
                    <a:pt x="108" y="352"/>
                  </a:lnTo>
                  <a:lnTo>
                    <a:pt x="109" y="352"/>
                  </a:lnTo>
                  <a:lnTo>
                    <a:pt x="109" y="355"/>
                  </a:lnTo>
                  <a:lnTo>
                    <a:pt x="109" y="356"/>
                  </a:lnTo>
                  <a:lnTo>
                    <a:pt x="111" y="355"/>
                  </a:lnTo>
                  <a:lnTo>
                    <a:pt x="111" y="352"/>
                  </a:lnTo>
                  <a:lnTo>
                    <a:pt x="112" y="352"/>
                  </a:lnTo>
                  <a:lnTo>
                    <a:pt x="112" y="355"/>
                  </a:lnTo>
                  <a:lnTo>
                    <a:pt x="113" y="357"/>
                  </a:lnTo>
                  <a:lnTo>
                    <a:pt x="112" y="360"/>
                  </a:lnTo>
                  <a:lnTo>
                    <a:pt x="111" y="357"/>
                  </a:lnTo>
                  <a:lnTo>
                    <a:pt x="111" y="356"/>
                  </a:lnTo>
                  <a:lnTo>
                    <a:pt x="111" y="358"/>
                  </a:lnTo>
                  <a:lnTo>
                    <a:pt x="109" y="360"/>
                  </a:lnTo>
                  <a:lnTo>
                    <a:pt x="108" y="358"/>
                  </a:lnTo>
                  <a:lnTo>
                    <a:pt x="107" y="357"/>
                  </a:lnTo>
                  <a:lnTo>
                    <a:pt x="108" y="357"/>
                  </a:lnTo>
                  <a:lnTo>
                    <a:pt x="109" y="356"/>
                  </a:lnTo>
                  <a:lnTo>
                    <a:pt x="107" y="356"/>
                  </a:lnTo>
                  <a:lnTo>
                    <a:pt x="106" y="355"/>
                  </a:lnTo>
                  <a:lnTo>
                    <a:pt x="105" y="353"/>
                  </a:lnTo>
                  <a:lnTo>
                    <a:pt x="102" y="355"/>
                  </a:lnTo>
                  <a:lnTo>
                    <a:pt x="103" y="353"/>
                  </a:lnTo>
                  <a:lnTo>
                    <a:pt x="105" y="352"/>
                  </a:lnTo>
                  <a:lnTo>
                    <a:pt x="106" y="351"/>
                  </a:lnTo>
                  <a:lnTo>
                    <a:pt x="105" y="351"/>
                  </a:lnTo>
                  <a:lnTo>
                    <a:pt x="105" y="350"/>
                  </a:lnTo>
                  <a:lnTo>
                    <a:pt x="105" y="349"/>
                  </a:lnTo>
                  <a:lnTo>
                    <a:pt x="105" y="347"/>
                  </a:lnTo>
                  <a:lnTo>
                    <a:pt x="103" y="346"/>
                  </a:lnTo>
                  <a:lnTo>
                    <a:pt x="103" y="347"/>
                  </a:lnTo>
                  <a:lnTo>
                    <a:pt x="102" y="349"/>
                  </a:lnTo>
                  <a:lnTo>
                    <a:pt x="102" y="350"/>
                  </a:lnTo>
                  <a:lnTo>
                    <a:pt x="102" y="351"/>
                  </a:lnTo>
                  <a:lnTo>
                    <a:pt x="100" y="350"/>
                  </a:lnTo>
                  <a:lnTo>
                    <a:pt x="100" y="347"/>
                  </a:lnTo>
                  <a:lnTo>
                    <a:pt x="98" y="346"/>
                  </a:lnTo>
                  <a:lnTo>
                    <a:pt x="98" y="345"/>
                  </a:lnTo>
                  <a:lnTo>
                    <a:pt x="100" y="344"/>
                  </a:lnTo>
                  <a:lnTo>
                    <a:pt x="98" y="343"/>
                  </a:lnTo>
                  <a:lnTo>
                    <a:pt x="98" y="344"/>
                  </a:lnTo>
                  <a:lnTo>
                    <a:pt x="98" y="343"/>
                  </a:lnTo>
                  <a:lnTo>
                    <a:pt x="97" y="343"/>
                  </a:lnTo>
                  <a:lnTo>
                    <a:pt x="96" y="341"/>
                  </a:lnTo>
                  <a:lnTo>
                    <a:pt x="95" y="341"/>
                  </a:lnTo>
                  <a:lnTo>
                    <a:pt x="95" y="339"/>
                  </a:lnTo>
                  <a:lnTo>
                    <a:pt x="95" y="341"/>
                  </a:lnTo>
                  <a:lnTo>
                    <a:pt x="95" y="343"/>
                  </a:lnTo>
                  <a:lnTo>
                    <a:pt x="97" y="343"/>
                  </a:lnTo>
                  <a:lnTo>
                    <a:pt x="96" y="344"/>
                  </a:lnTo>
                  <a:lnTo>
                    <a:pt x="96" y="345"/>
                  </a:lnTo>
                  <a:lnTo>
                    <a:pt x="95" y="345"/>
                  </a:lnTo>
                  <a:lnTo>
                    <a:pt x="95" y="347"/>
                  </a:lnTo>
                  <a:lnTo>
                    <a:pt x="96" y="346"/>
                  </a:lnTo>
                  <a:lnTo>
                    <a:pt x="97" y="346"/>
                  </a:lnTo>
                  <a:lnTo>
                    <a:pt x="97" y="349"/>
                  </a:lnTo>
                  <a:lnTo>
                    <a:pt x="97" y="350"/>
                  </a:lnTo>
                  <a:lnTo>
                    <a:pt x="96" y="350"/>
                  </a:lnTo>
                  <a:lnTo>
                    <a:pt x="95" y="351"/>
                  </a:lnTo>
                  <a:lnTo>
                    <a:pt x="94" y="351"/>
                  </a:lnTo>
                  <a:lnTo>
                    <a:pt x="94" y="349"/>
                  </a:lnTo>
                  <a:lnTo>
                    <a:pt x="92" y="347"/>
                  </a:lnTo>
                  <a:lnTo>
                    <a:pt x="92" y="350"/>
                  </a:lnTo>
                  <a:lnTo>
                    <a:pt x="92" y="352"/>
                  </a:lnTo>
                  <a:lnTo>
                    <a:pt x="92" y="350"/>
                  </a:lnTo>
                  <a:lnTo>
                    <a:pt x="91" y="351"/>
                  </a:lnTo>
                  <a:lnTo>
                    <a:pt x="90" y="352"/>
                  </a:lnTo>
                  <a:lnTo>
                    <a:pt x="90" y="350"/>
                  </a:lnTo>
                  <a:lnTo>
                    <a:pt x="89" y="349"/>
                  </a:lnTo>
                  <a:lnTo>
                    <a:pt x="89" y="350"/>
                  </a:lnTo>
                  <a:lnTo>
                    <a:pt x="89" y="351"/>
                  </a:lnTo>
                  <a:lnTo>
                    <a:pt x="88" y="353"/>
                  </a:lnTo>
                  <a:lnTo>
                    <a:pt x="86" y="355"/>
                  </a:lnTo>
                  <a:lnTo>
                    <a:pt x="86" y="352"/>
                  </a:lnTo>
                  <a:lnTo>
                    <a:pt x="85" y="352"/>
                  </a:lnTo>
                  <a:lnTo>
                    <a:pt x="84" y="353"/>
                  </a:lnTo>
                  <a:lnTo>
                    <a:pt x="85" y="356"/>
                  </a:lnTo>
                  <a:lnTo>
                    <a:pt x="88" y="356"/>
                  </a:lnTo>
                  <a:lnTo>
                    <a:pt x="88" y="357"/>
                  </a:lnTo>
                  <a:lnTo>
                    <a:pt x="89" y="357"/>
                  </a:lnTo>
                  <a:lnTo>
                    <a:pt x="89" y="355"/>
                  </a:lnTo>
                  <a:lnTo>
                    <a:pt x="90" y="352"/>
                  </a:lnTo>
                  <a:lnTo>
                    <a:pt x="90" y="353"/>
                  </a:lnTo>
                  <a:lnTo>
                    <a:pt x="92" y="355"/>
                  </a:lnTo>
                  <a:lnTo>
                    <a:pt x="91" y="356"/>
                  </a:lnTo>
                  <a:lnTo>
                    <a:pt x="90" y="357"/>
                  </a:lnTo>
                  <a:lnTo>
                    <a:pt x="91" y="358"/>
                  </a:lnTo>
                  <a:lnTo>
                    <a:pt x="90" y="358"/>
                  </a:lnTo>
                  <a:lnTo>
                    <a:pt x="89" y="357"/>
                  </a:lnTo>
                  <a:lnTo>
                    <a:pt x="86" y="357"/>
                  </a:lnTo>
                  <a:lnTo>
                    <a:pt x="88" y="358"/>
                  </a:lnTo>
                  <a:lnTo>
                    <a:pt x="86" y="360"/>
                  </a:lnTo>
                  <a:lnTo>
                    <a:pt x="86" y="361"/>
                  </a:lnTo>
                  <a:lnTo>
                    <a:pt x="85" y="360"/>
                  </a:lnTo>
                  <a:lnTo>
                    <a:pt x="84" y="357"/>
                  </a:lnTo>
                  <a:lnTo>
                    <a:pt x="83" y="357"/>
                  </a:lnTo>
                  <a:lnTo>
                    <a:pt x="82" y="358"/>
                  </a:lnTo>
                  <a:lnTo>
                    <a:pt x="82" y="356"/>
                  </a:lnTo>
                  <a:lnTo>
                    <a:pt x="80" y="358"/>
                  </a:lnTo>
                  <a:lnTo>
                    <a:pt x="80" y="360"/>
                  </a:lnTo>
                  <a:lnTo>
                    <a:pt x="79" y="358"/>
                  </a:lnTo>
                  <a:lnTo>
                    <a:pt x="77" y="361"/>
                  </a:lnTo>
                  <a:lnTo>
                    <a:pt x="77" y="362"/>
                  </a:lnTo>
                  <a:lnTo>
                    <a:pt x="76" y="361"/>
                  </a:lnTo>
                  <a:lnTo>
                    <a:pt x="74" y="360"/>
                  </a:lnTo>
                  <a:lnTo>
                    <a:pt x="72" y="362"/>
                  </a:lnTo>
                  <a:lnTo>
                    <a:pt x="72" y="363"/>
                  </a:lnTo>
                  <a:lnTo>
                    <a:pt x="71" y="361"/>
                  </a:lnTo>
                  <a:lnTo>
                    <a:pt x="70" y="360"/>
                  </a:lnTo>
                  <a:lnTo>
                    <a:pt x="70" y="358"/>
                  </a:lnTo>
                  <a:lnTo>
                    <a:pt x="68" y="360"/>
                  </a:lnTo>
                  <a:lnTo>
                    <a:pt x="68" y="357"/>
                  </a:lnTo>
                  <a:lnTo>
                    <a:pt x="71" y="355"/>
                  </a:lnTo>
                  <a:lnTo>
                    <a:pt x="72" y="355"/>
                  </a:lnTo>
                  <a:lnTo>
                    <a:pt x="74" y="355"/>
                  </a:lnTo>
                  <a:lnTo>
                    <a:pt x="74" y="353"/>
                  </a:lnTo>
                  <a:lnTo>
                    <a:pt x="73" y="353"/>
                  </a:lnTo>
                  <a:lnTo>
                    <a:pt x="71" y="353"/>
                  </a:lnTo>
                  <a:lnTo>
                    <a:pt x="68" y="352"/>
                  </a:lnTo>
                  <a:lnTo>
                    <a:pt x="67" y="353"/>
                  </a:lnTo>
                  <a:lnTo>
                    <a:pt x="65" y="355"/>
                  </a:lnTo>
                  <a:lnTo>
                    <a:pt x="64" y="357"/>
                  </a:lnTo>
                  <a:lnTo>
                    <a:pt x="62" y="355"/>
                  </a:lnTo>
                  <a:lnTo>
                    <a:pt x="64" y="353"/>
                  </a:lnTo>
                  <a:lnTo>
                    <a:pt x="65" y="351"/>
                  </a:lnTo>
                  <a:lnTo>
                    <a:pt x="67" y="351"/>
                  </a:lnTo>
                  <a:lnTo>
                    <a:pt x="68" y="351"/>
                  </a:lnTo>
                  <a:lnTo>
                    <a:pt x="70" y="350"/>
                  </a:lnTo>
                  <a:lnTo>
                    <a:pt x="67" y="349"/>
                  </a:lnTo>
                  <a:lnTo>
                    <a:pt x="65" y="350"/>
                  </a:lnTo>
                  <a:lnTo>
                    <a:pt x="64" y="350"/>
                  </a:lnTo>
                  <a:lnTo>
                    <a:pt x="62" y="351"/>
                  </a:lnTo>
                  <a:lnTo>
                    <a:pt x="61" y="351"/>
                  </a:lnTo>
                  <a:lnTo>
                    <a:pt x="62" y="350"/>
                  </a:lnTo>
                  <a:lnTo>
                    <a:pt x="61" y="351"/>
                  </a:lnTo>
                  <a:lnTo>
                    <a:pt x="60" y="351"/>
                  </a:lnTo>
                  <a:lnTo>
                    <a:pt x="60" y="350"/>
                  </a:lnTo>
                  <a:lnTo>
                    <a:pt x="62" y="347"/>
                  </a:lnTo>
                  <a:lnTo>
                    <a:pt x="66" y="347"/>
                  </a:lnTo>
                  <a:lnTo>
                    <a:pt x="67" y="349"/>
                  </a:lnTo>
                  <a:lnTo>
                    <a:pt x="70" y="350"/>
                  </a:lnTo>
                  <a:lnTo>
                    <a:pt x="71" y="350"/>
                  </a:lnTo>
                  <a:lnTo>
                    <a:pt x="73" y="349"/>
                  </a:lnTo>
                  <a:lnTo>
                    <a:pt x="76" y="347"/>
                  </a:lnTo>
                  <a:lnTo>
                    <a:pt x="77" y="347"/>
                  </a:lnTo>
                  <a:lnTo>
                    <a:pt x="76" y="347"/>
                  </a:lnTo>
                  <a:lnTo>
                    <a:pt x="74" y="346"/>
                  </a:lnTo>
                  <a:lnTo>
                    <a:pt x="72" y="347"/>
                  </a:lnTo>
                  <a:lnTo>
                    <a:pt x="71" y="349"/>
                  </a:lnTo>
                  <a:lnTo>
                    <a:pt x="68" y="347"/>
                  </a:lnTo>
                  <a:lnTo>
                    <a:pt x="68" y="346"/>
                  </a:lnTo>
                  <a:lnTo>
                    <a:pt x="67" y="346"/>
                  </a:lnTo>
                  <a:lnTo>
                    <a:pt x="68" y="345"/>
                  </a:lnTo>
                  <a:lnTo>
                    <a:pt x="67" y="345"/>
                  </a:lnTo>
                  <a:lnTo>
                    <a:pt x="65" y="346"/>
                  </a:lnTo>
                  <a:lnTo>
                    <a:pt x="62" y="345"/>
                  </a:lnTo>
                  <a:lnTo>
                    <a:pt x="60" y="346"/>
                  </a:lnTo>
                  <a:lnTo>
                    <a:pt x="60" y="345"/>
                  </a:lnTo>
                  <a:lnTo>
                    <a:pt x="61" y="344"/>
                  </a:lnTo>
                  <a:lnTo>
                    <a:pt x="60" y="343"/>
                  </a:lnTo>
                  <a:lnTo>
                    <a:pt x="59" y="343"/>
                  </a:lnTo>
                  <a:lnTo>
                    <a:pt x="59" y="340"/>
                  </a:lnTo>
                  <a:lnTo>
                    <a:pt x="58" y="340"/>
                  </a:lnTo>
                  <a:lnTo>
                    <a:pt x="56" y="340"/>
                  </a:lnTo>
                  <a:lnTo>
                    <a:pt x="55" y="341"/>
                  </a:lnTo>
                  <a:lnTo>
                    <a:pt x="55" y="340"/>
                  </a:lnTo>
                  <a:lnTo>
                    <a:pt x="54" y="341"/>
                  </a:lnTo>
                  <a:lnTo>
                    <a:pt x="52" y="344"/>
                  </a:lnTo>
                  <a:lnTo>
                    <a:pt x="50" y="347"/>
                  </a:lnTo>
                  <a:lnTo>
                    <a:pt x="49" y="350"/>
                  </a:lnTo>
                  <a:lnTo>
                    <a:pt x="48" y="346"/>
                  </a:lnTo>
                  <a:lnTo>
                    <a:pt x="47" y="346"/>
                  </a:lnTo>
                  <a:lnTo>
                    <a:pt x="46" y="346"/>
                  </a:lnTo>
                  <a:lnTo>
                    <a:pt x="47" y="347"/>
                  </a:lnTo>
                  <a:lnTo>
                    <a:pt x="46" y="349"/>
                  </a:lnTo>
                  <a:lnTo>
                    <a:pt x="46" y="350"/>
                  </a:lnTo>
                  <a:lnTo>
                    <a:pt x="44" y="351"/>
                  </a:lnTo>
                  <a:lnTo>
                    <a:pt x="47" y="350"/>
                  </a:lnTo>
                  <a:lnTo>
                    <a:pt x="48" y="352"/>
                  </a:lnTo>
                  <a:lnTo>
                    <a:pt x="47" y="355"/>
                  </a:lnTo>
                  <a:lnTo>
                    <a:pt x="46" y="353"/>
                  </a:lnTo>
                  <a:lnTo>
                    <a:pt x="43" y="353"/>
                  </a:lnTo>
                  <a:lnTo>
                    <a:pt x="43" y="352"/>
                  </a:lnTo>
                  <a:lnTo>
                    <a:pt x="42" y="352"/>
                  </a:lnTo>
                  <a:lnTo>
                    <a:pt x="42" y="355"/>
                  </a:lnTo>
                  <a:lnTo>
                    <a:pt x="41" y="353"/>
                  </a:lnTo>
                  <a:lnTo>
                    <a:pt x="41" y="352"/>
                  </a:lnTo>
                  <a:lnTo>
                    <a:pt x="39" y="353"/>
                  </a:lnTo>
                  <a:lnTo>
                    <a:pt x="39" y="355"/>
                  </a:lnTo>
                  <a:lnTo>
                    <a:pt x="37" y="355"/>
                  </a:lnTo>
                  <a:lnTo>
                    <a:pt x="36" y="355"/>
                  </a:lnTo>
                  <a:lnTo>
                    <a:pt x="35" y="357"/>
                  </a:lnTo>
                  <a:lnTo>
                    <a:pt x="33" y="358"/>
                  </a:lnTo>
                  <a:lnTo>
                    <a:pt x="32" y="357"/>
                  </a:lnTo>
                  <a:lnTo>
                    <a:pt x="31" y="357"/>
                  </a:lnTo>
                  <a:lnTo>
                    <a:pt x="30" y="356"/>
                  </a:lnTo>
                  <a:lnTo>
                    <a:pt x="26" y="357"/>
                  </a:lnTo>
                  <a:lnTo>
                    <a:pt x="25" y="358"/>
                  </a:lnTo>
                  <a:lnTo>
                    <a:pt x="24" y="360"/>
                  </a:lnTo>
                  <a:lnTo>
                    <a:pt x="23" y="361"/>
                  </a:lnTo>
                  <a:lnTo>
                    <a:pt x="23" y="363"/>
                  </a:lnTo>
                  <a:lnTo>
                    <a:pt x="21" y="362"/>
                  </a:lnTo>
                  <a:lnTo>
                    <a:pt x="21" y="361"/>
                  </a:lnTo>
                  <a:lnTo>
                    <a:pt x="21" y="360"/>
                  </a:lnTo>
                  <a:lnTo>
                    <a:pt x="19" y="361"/>
                  </a:lnTo>
                  <a:lnTo>
                    <a:pt x="19" y="360"/>
                  </a:lnTo>
                  <a:lnTo>
                    <a:pt x="20" y="358"/>
                  </a:lnTo>
                  <a:lnTo>
                    <a:pt x="19" y="360"/>
                  </a:lnTo>
                  <a:lnTo>
                    <a:pt x="19" y="357"/>
                  </a:lnTo>
                  <a:lnTo>
                    <a:pt x="18" y="358"/>
                  </a:lnTo>
                  <a:lnTo>
                    <a:pt x="15" y="358"/>
                  </a:lnTo>
                  <a:lnTo>
                    <a:pt x="13" y="360"/>
                  </a:lnTo>
                  <a:lnTo>
                    <a:pt x="13" y="358"/>
                  </a:lnTo>
                  <a:lnTo>
                    <a:pt x="12" y="360"/>
                  </a:lnTo>
                  <a:lnTo>
                    <a:pt x="9" y="361"/>
                  </a:lnTo>
                  <a:lnTo>
                    <a:pt x="12" y="358"/>
                  </a:lnTo>
                  <a:lnTo>
                    <a:pt x="12" y="357"/>
                  </a:lnTo>
                  <a:lnTo>
                    <a:pt x="11" y="358"/>
                  </a:lnTo>
                  <a:lnTo>
                    <a:pt x="12" y="355"/>
                  </a:lnTo>
                  <a:lnTo>
                    <a:pt x="14" y="352"/>
                  </a:lnTo>
                  <a:lnTo>
                    <a:pt x="15" y="351"/>
                  </a:lnTo>
                  <a:lnTo>
                    <a:pt x="14" y="351"/>
                  </a:lnTo>
                  <a:lnTo>
                    <a:pt x="12" y="353"/>
                  </a:lnTo>
                  <a:lnTo>
                    <a:pt x="9" y="356"/>
                  </a:lnTo>
                  <a:lnTo>
                    <a:pt x="12" y="351"/>
                  </a:lnTo>
                  <a:lnTo>
                    <a:pt x="12" y="350"/>
                  </a:lnTo>
                  <a:lnTo>
                    <a:pt x="11" y="349"/>
                  </a:lnTo>
                  <a:lnTo>
                    <a:pt x="13" y="346"/>
                  </a:lnTo>
                  <a:lnTo>
                    <a:pt x="12" y="345"/>
                  </a:lnTo>
                  <a:lnTo>
                    <a:pt x="11" y="347"/>
                  </a:lnTo>
                  <a:lnTo>
                    <a:pt x="8" y="349"/>
                  </a:lnTo>
                  <a:lnTo>
                    <a:pt x="8" y="346"/>
                  </a:lnTo>
                  <a:lnTo>
                    <a:pt x="7" y="344"/>
                  </a:lnTo>
                  <a:lnTo>
                    <a:pt x="9" y="341"/>
                  </a:lnTo>
                  <a:lnTo>
                    <a:pt x="11" y="341"/>
                  </a:lnTo>
                  <a:lnTo>
                    <a:pt x="13" y="341"/>
                  </a:lnTo>
                  <a:lnTo>
                    <a:pt x="15" y="340"/>
                  </a:lnTo>
                  <a:lnTo>
                    <a:pt x="17" y="339"/>
                  </a:lnTo>
                  <a:lnTo>
                    <a:pt x="18" y="338"/>
                  </a:lnTo>
                  <a:lnTo>
                    <a:pt x="18" y="339"/>
                  </a:lnTo>
                  <a:lnTo>
                    <a:pt x="19" y="341"/>
                  </a:lnTo>
                  <a:lnTo>
                    <a:pt x="20" y="340"/>
                  </a:lnTo>
                  <a:lnTo>
                    <a:pt x="21" y="340"/>
                  </a:lnTo>
                  <a:lnTo>
                    <a:pt x="23" y="339"/>
                  </a:lnTo>
                  <a:lnTo>
                    <a:pt x="26" y="338"/>
                  </a:lnTo>
                  <a:lnTo>
                    <a:pt x="29" y="338"/>
                  </a:lnTo>
                  <a:lnTo>
                    <a:pt x="27" y="339"/>
                  </a:lnTo>
                  <a:lnTo>
                    <a:pt x="26" y="339"/>
                  </a:lnTo>
                  <a:lnTo>
                    <a:pt x="24" y="340"/>
                  </a:lnTo>
                  <a:lnTo>
                    <a:pt x="24" y="341"/>
                  </a:lnTo>
                  <a:lnTo>
                    <a:pt x="24" y="343"/>
                  </a:lnTo>
                  <a:lnTo>
                    <a:pt x="26" y="341"/>
                  </a:lnTo>
                  <a:lnTo>
                    <a:pt x="27" y="341"/>
                  </a:lnTo>
                  <a:lnTo>
                    <a:pt x="27" y="340"/>
                  </a:lnTo>
                  <a:lnTo>
                    <a:pt x="29" y="339"/>
                  </a:lnTo>
                  <a:lnTo>
                    <a:pt x="31" y="339"/>
                  </a:lnTo>
                  <a:lnTo>
                    <a:pt x="32" y="338"/>
                  </a:lnTo>
                  <a:lnTo>
                    <a:pt x="31" y="338"/>
                  </a:lnTo>
                  <a:lnTo>
                    <a:pt x="30" y="339"/>
                  </a:lnTo>
                  <a:lnTo>
                    <a:pt x="30" y="338"/>
                  </a:lnTo>
                  <a:lnTo>
                    <a:pt x="31" y="334"/>
                  </a:lnTo>
                  <a:lnTo>
                    <a:pt x="33" y="333"/>
                  </a:lnTo>
                  <a:lnTo>
                    <a:pt x="33" y="332"/>
                  </a:lnTo>
                  <a:lnTo>
                    <a:pt x="35" y="331"/>
                  </a:lnTo>
                  <a:lnTo>
                    <a:pt x="32" y="332"/>
                  </a:lnTo>
                  <a:lnTo>
                    <a:pt x="31" y="333"/>
                  </a:lnTo>
                  <a:lnTo>
                    <a:pt x="32" y="332"/>
                  </a:lnTo>
                  <a:lnTo>
                    <a:pt x="31" y="332"/>
                  </a:lnTo>
                  <a:lnTo>
                    <a:pt x="27" y="334"/>
                  </a:lnTo>
                  <a:lnTo>
                    <a:pt x="30" y="329"/>
                  </a:lnTo>
                  <a:lnTo>
                    <a:pt x="31" y="328"/>
                  </a:lnTo>
                  <a:lnTo>
                    <a:pt x="33" y="327"/>
                  </a:lnTo>
                  <a:lnTo>
                    <a:pt x="33" y="325"/>
                  </a:lnTo>
                  <a:lnTo>
                    <a:pt x="33" y="323"/>
                  </a:lnTo>
                  <a:lnTo>
                    <a:pt x="32" y="323"/>
                  </a:lnTo>
                  <a:lnTo>
                    <a:pt x="29" y="323"/>
                  </a:lnTo>
                  <a:lnTo>
                    <a:pt x="31" y="321"/>
                  </a:lnTo>
                  <a:lnTo>
                    <a:pt x="33" y="320"/>
                  </a:lnTo>
                  <a:lnTo>
                    <a:pt x="36" y="320"/>
                  </a:lnTo>
                  <a:lnTo>
                    <a:pt x="37" y="321"/>
                  </a:lnTo>
                  <a:lnTo>
                    <a:pt x="39" y="321"/>
                  </a:lnTo>
                  <a:lnTo>
                    <a:pt x="41" y="321"/>
                  </a:lnTo>
                  <a:lnTo>
                    <a:pt x="43" y="321"/>
                  </a:lnTo>
                  <a:lnTo>
                    <a:pt x="42" y="321"/>
                  </a:lnTo>
                  <a:lnTo>
                    <a:pt x="39" y="320"/>
                  </a:lnTo>
                  <a:lnTo>
                    <a:pt x="38" y="319"/>
                  </a:lnTo>
                  <a:lnTo>
                    <a:pt x="39" y="319"/>
                  </a:lnTo>
                  <a:lnTo>
                    <a:pt x="41" y="317"/>
                  </a:lnTo>
                  <a:lnTo>
                    <a:pt x="39" y="316"/>
                  </a:lnTo>
                  <a:lnTo>
                    <a:pt x="38" y="317"/>
                  </a:lnTo>
                  <a:lnTo>
                    <a:pt x="38" y="316"/>
                  </a:lnTo>
                  <a:lnTo>
                    <a:pt x="37" y="315"/>
                  </a:lnTo>
                  <a:lnTo>
                    <a:pt x="38" y="314"/>
                  </a:lnTo>
                  <a:lnTo>
                    <a:pt x="37" y="314"/>
                  </a:lnTo>
                  <a:lnTo>
                    <a:pt x="37" y="313"/>
                  </a:lnTo>
                  <a:lnTo>
                    <a:pt x="36" y="314"/>
                  </a:lnTo>
                  <a:lnTo>
                    <a:pt x="35" y="315"/>
                  </a:lnTo>
                  <a:lnTo>
                    <a:pt x="35" y="316"/>
                  </a:lnTo>
                  <a:lnTo>
                    <a:pt x="35" y="314"/>
                  </a:lnTo>
                  <a:lnTo>
                    <a:pt x="35" y="313"/>
                  </a:lnTo>
                  <a:lnTo>
                    <a:pt x="33" y="314"/>
                  </a:lnTo>
                  <a:lnTo>
                    <a:pt x="35" y="311"/>
                  </a:lnTo>
                  <a:lnTo>
                    <a:pt x="36" y="310"/>
                  </a:lnTo>
                  <a:lnTo>
                    <a:pt x="37" y="309"/>
                  </a:lnTo>
                  <a:lnTo>
                    <a:pt x="39" y="307"/>
                  </a:lnTo>
                  <a:lnTo>
                    <a:pt x="41" y="304"/>
                  </a:lnTo>
                  <a:lnTo>
                    <a:pt x="39" y="304"/>
                  </a:lnTo>
                  <a:lnTo>
                    <a:pt x="38" y="305"/>
                  </a:lnTo>
                  <a:lnTo>
                    <a:pt x="38" y="304"/>
                  </a:lnTo>
                  <a:lnTo>
                    <a:pt x="38" y="305"/>
                  </a:lnTo>
                  <a:lnTo>
                    <a:pt x="37" y="307"/>
                  </a:lnTo>
                  <a:lnTo>
                    <a:pt x="37" y="305"/>
                  </a:lnTo>
                  <a:lnTo>
                    <a:pt x="37" y="307"/>
                  </a:lnTo>
                  <a:lnTo>
                    <a:pt x="36" y="307"/>
                  </a:lnTo>
                  <a:lnTo>
                    <a:pt x="35" y="307"/>
                  </a:lnTo>
                  <a:lnTo>
                    <a:pt x="33" y="309"/>
                  </a:lnTo>
                  <a:lnTo>
                    <a:pt x="33" y="307"/>
                  </a:lnTo>
                  <a:lnTo>
                    <a:pt x="35" y="304"/>
                  </a:lnTo>
                  <a:lnTo>
                    <a:pt x="33" y="304"/>
                  </a:lnTo>
                  <a:lnTo>
                    <a:pt x="32" y="303"/>
                  </a:lnTo>
                  <a:lnTo>
                    <a:pt x="31" y="302"/>
                  </a:lnTo>
                  <a:lnTo>
                    <a:pt x="32" y="301"/>
                  </a:lnTo>
                  <a:lnTo>
                    <a:pt x="31" y="299"/>
                  </a:lnTo>
                  <a:lnTo>
                    <a:pt x="30" y="298"/>
                  </a:lnTo>
                  <a:lnTo>
                    <a:pt x="26" y="301"/>
                  </a:lnTo>
                  <a:lnTo>
                    <a:pt x="25" y="305"/>
                  </a:lnTo>
                  <a:lnTo>
                    <a:pt x="23" y="309"/>
                  </a:lnTo>
                  <a:lnTo>
                    <a:pt x="21" y="311"/>
                  </a:lnTo>
                  <a:lnTo>
                    <a:pt x="24" y="307"/>
                  </a:lnTo>
                  <a:lnTo>
                    <a:pt x="25" y="304"/>
                  </a:lnTo>
                  <a:lnTo>
                    <a:pt x="23" y="305"/>
                  </a:lnTo>
                  <a:lnTo>
                    <a:pt x="20" y="305"/>
                  </a:lnTo>
                  <a:lnTo>
                    <a:pt x="23" y="304"/>
                  </a:lnTo>
                  <a:lnTo>
                    <a:pt x="25" y="302"/>
                  </a:lnTo>
                  <a:lnTo>
                    <a:pt x="25" y="301"/>
                  </a:lnTo>
                  <a:lnTo>
                    <a:pt x="20" y="303"/>
                  </a:lnTo>
                  <a:lnTo>
                    <a:pt x="17" y="307"/>
                  </a:lnTo>
                  <a:lnTo>
                    <a:pt x="19" y="303"/>
                  </a:lnTo>
                  <a:lnTo>
                    <a:pt x="17" y="304"/>
                  </a:lnTo>
                  <a:lnTo>
                    <a:pt x="15" y="304"/>
                  </a:lnTo>
                  <a:lnTo>
                    <a:pt x="18" y="303"/>
                  </a:lnTo>
                  <a:lnTo>
                    <a:pt x="15" y="303"/>
                  </a:lnTo>
                  <a:lnTo>
                    <a:pt x="14" y="303"/>
                  </a:lnTo>
                  <a:lnTo>
                    <a:pt x="13" y="304"/>
                  </a:lnTo>
                  <a:lnTo>
                    <a:pt x="13" y="302"/>
                  </a:lnTo>
                  <a:lnTo>
                    <a:pt x="12" y="302"/>
                  </a:lnTo>
                  <a:lnTo>
                    <a:pt x="11" y="303"/>
                  </a:lnTo>
                  <a:lnTo>
                    <a:pt x="11" y="301"/>
                  </a:lnTo>
                  <a:lnTo>
                    <a:pt x="12" y="299"/>
                  </a:lnTo>
                  <a:lnTo>
                    <a:pt x="11" y="299"/>
                  </a:lnTo>
                  <a:lnTo>
                    <a:pt x="12" y="298"/>
                  </a:lnTo>
                  <a:lnTo>
                    <a:pt x="11" y="298"/>
                  </a:lnTo>
                  <a:lnTo>
                    <a:pt x="12" y="297"/>
                  </a:lnTo>
                  <a:lnTo>
                    <a:pt x="12" y="296"/>
                  </a:lnTo>
                  <a:lnTo>
                    <a:pt x="14" y="295"/>
                  </a:lnTo>
                  <a:lnTo>
                    <a:pt x="17" y="295"/>
                  </a:lnTo>
                  <a:lnTo>
                    <a:pt x="17" y="293"/>
                  </a:lnTo>
                  <a:lnTo>
                    <a:pt x="17" y="292"/>
                  </a:lnTo>
                  <a:lnTo>
                    <a:pt x="18" y="291"/>
                  </a:lnTo>
                  <a:lnTo>
                    <a:pt x="15" y="291"/>
                  </a:lnTo>
                  <a:lnTo>
                    <a:pt x="14" y="291"/>
                  </a:lnTo>
                  <a:lnTo>
                    <a:pt x="12" y="290"/>
                  </a:lnTo>
                  <a:lnTo>
                    <a:pt x="13" y="289"/>
                  </a:lnTo>
                  <a:lnTo>
                    <a:pt x="14" y="289"/>
                  </a:lnTo>
                  <a:lnTo>
                    <a:pt x="17" y="287"/>
                  </a:lnTo>
                  <a:lnTo>
                    <a:pt x="19" y="287"/>
                  </a:lnTo>
                  <a:lnTo>
                    <a:pt x="20" y="290"/>
                  </a:lnTo>
                  <a:lnTo>
                    <a:pt x="21" y="291"/>
                  </a:lnTo>
                  <a:lnTo>
                    <a:pt x="24" y="291"/>
                  </a:lnTo>
                  <a:lnTo>
                    <a:pt x="24" y="290"/>
                  </a:lnTo>
                  <a:lnTo>
                    <a:pt x="25" y="290"/>
                  </a:lnTo>
                  <a:lnTo>
                    <a:pt x="26" y="290"/>
                  </a:lnTo>
                  <a:lnTo>
                    <a:pt x="27" y="289"/>
                  </a:lnTo>
                  <a:lnTo>
                    <a:pt x="29" y="289"/>
                  </a:lnTo>
                  <a:lnTo>
                    <a:pt x="30" y="289"/>
                  </a:lnTo>
                  <a:lnTo>
                    <a:pt x="31" y="287"/>
                  </a:lnTo>
                  <a:lnTo>
                    <a:pt x="31" y="286"/>
                  </a:lnTo>
                  <a:lnTo>
                    <a:pt x="32" y="286"/>
                  </a:lnTo>
                  <a:lnTo>
                    <a:pt x="32" y="285"/>
                  </a:lnTo>
                  <a:lnTo>
                    <a:pt x="33" y="283"/>
                  </a:lnTo>
                  <a:lnTo>
                    <a:pt x="31" y="284"/>
                  </a:lnTo>
                  <a:lnTo>
                    <a:pt x="29" y="286"/>
                  </a:lnTo>
                  <a:lnTo>
                    <a:pt x="27" y="287"/>
                  </a:lnTo>
                  <a:lnTo>
                    <a:pt x="27" y="284"/>
                  </a:lnTo>
                  <a:lnTo>
                    <a:pt x="26" y="281"/>
                  </a:lnTo>
                  <a:lnTo>
                    <a:pt x="26" y="280"/>
                  </a:lnTo>
                  <a:lnTo>
                    <a:pt x="24" y="280"/>
                  </a:lnTo>
                  <a:lnTo>
                    <a:pt x="21" y="281"/>
                  </a:lnTo>
                  <a:lnTo>
                    <a:pt x="21" y="283"/>
                  </a:lnTo>
                  <a:lnTo>
                    <a:pt x="20" y="280"/>
                  </a:lnTo>
                  <a:lnTo>
                    <a:pt x="19" y="280"/>
                  </a:lnTo>
                  <a:lnTo>
                    <a:pt x="17" y="279"/>
                  </a:lnTo>
                  <a:lnTo>
                    <a:pt x="15" y="279"/>
                  </a:lnTo>
                  <a:lnTo>
                    <a:pt x="15" y="275"/>
                  </a:lnTo>
                  <a:lnTo>
                    <a:pt x="14" y="277"/>
                  </a:lnTo>
                  <a:lnTo>
                    <a:pt x="14" y="280"/>
                  </a:lnTo>
                  <a:lnTo>
                    <a:pt x="14" y="284"/>
                  </a:lnTo>
                  <a:lnTo>
                    <a:pt x="14" y="286"/>
                  </a:lnTo>
                  <a:lnTo>
                    <a:pt x="11" y="281"/>
                  </a:lnTo>
                  <a:lnTo>
                    <a:pt x="9" y="280"/>
                  </a:lnTo>
                  <a:lnTo>
                    <a:pt x="8" y="281"/>
                  </a:lnTo>
                  <a:lnTo>
                    <a:pt x="7" y="283"/>
                  </a:lnTo>
                  <a:lnTo>
                    <a:pt x="7" y="280"/>
                  </a:lnTo>
                  <a:lnTo>
                    <a:pt x="7" y="279"/>
                  </a:lnTo>
                  <a:lnTo>
                    <a:pt x="6" y="279"/>
                  </a:lnTo>
                  <a:lnTo>
                    <a:pt x="5" y="279"/>
                  </a:lnTo>
                  <a:lnTo>
                    <a:pt x="5" y="278"/>
                  </a:lnTo>
                  <a:lnTo>
                    <a:pt x="5" y="275"/>
                  </a:lnTo>
                  <a:lnTo>
                    <a:pt x="7" y="273"/>
                  </a:lnTo>
                  <a:lnTo>
                    <a:pt x="7" y="271"/>
                  </a:lnTo>
                  <a:lnTo>
                    <a:pt x="8" y="269"/>
                  </a:lnTo>
                  <a:lnTo>
                    <a:pt x="9" y="268"/>
                  </a:lnTo>
                  <a:lnTo>
                    <a:pt x="11" y="268"/>
                  </a:lnTo>
                  <a:lnTo>
                    <a:pt x="11" y="267"/>
                  </a:lnTo>
                  <a:lnTo>
                    <a:pt x="12" y="266"/>
                  </a:lnTo>
                  <a:lnTo>
                    <a:pt x="14" y="263"/>
                  </a:lnTo>
                  <a:lnTo>
                    <a:pt x="15" y="263"/>
                  </a:lnTo>
                  <a:lnTo>
                    <a:pt x="17" y="262"/>
                  </a:lnTo>
                  <a:lnTo>
                    <a:pt x="18" y="261"/>
                  </a:lnTo>
                  <a:lnTo>
                    <a:pt x="20" y="261"/>
                  </a:lnTo>
                  <a:lnTo>
                    <a:pt x="14" y="259"/>
                  </a:lnTo>
                  <a:lnTo>
                    <a:pt x="11" y="256"/>
                  </a:lnTo>
                  <a:lnTo>
                    <a:pt x="11" y="257"/>
                  </a:lnTo>
                  <a:lnTo>
                    <a:pt x="9" y="260"/>
                  </a:lnTo>
                  <a:lnTo>
                    <a:pt x="8" y="260"/>
                  </a:lnTo>
                  <a:lnTo>
                    <a:pt x="8" y="262"/>
                  </a:lnTo>
                  <a:lnTo>
                    <a:pt x="6" y="263"/>
                  </a:lnTo>
                  <a:lnTo>
                    <a:pt x="6" y="261"/>
                  </a:lnTo>
                  <a:lnTo>
                    <a:pt x="6" y="260"/>
                  </a:lnTo>
                  <a:lnTo>
                    <a:pt x="7" y="260"/>
                  </a:lnTo>
                  <a:lnTo>
                    <a:pt x="7" y="257"/>
                  </a:lnTo>
                  <a:lnTo>
                    <a:pt x="7" y="256"/>
                  </a:lnTo>
                  <a:lnTo>
                    <a:pt x="8" y="256"/>
                  </a:lnTo>
                  <a:lnTo>
                    <a:pt x="9" y="256"/>
                  </a:lnTo>
                  <a:lnTo>
                    <a:pt x="8" y="255"/>
                  </a:lnTo>
                  <a:lnTo>
                    <a:pt x="6" y="255"/>
                  </a:lnTo>
                  <a:lnTo>
                    <a:pt x="6" y="254"/>
                  </a:lnTo>
                  <a:lnTo>
                    <a:pt x="7" y="254"/>
                  </a:lnTo>
                  <a:lnTo>
                    <a:pt x="9" y="255"/>
                  </a:lnTo>
                  <a:lnTo>
                    <a:pt x="13" y="257"/>
                  </a:lnTo>
                  <a:lnTo>
                    <a:pt x="21" y="260"/>
                  </a:lnTo>
                  <a:lnTo>
                    <a:pt x="18" y="256"/>
                  </a:lnTo>
                  <a:lnTo>
                    <a:pt x="17" y="256"/>
                  </a:lnTo>
                  <a:lnTo>
                    <a:pt x="17" y="257"/>
                  </a:lnTo>
                  <a:lnTo>
                    <a:pt x="14" y="256"/>
                  </a:lnTo>
                  <a:lnTo>
                    <a:pt x="14" y="254"/>
                  </a:lnTo>
                  <a:lnTo>
                    <a:pt x="11" y="251"/>
                  </a:lnTo>
                  <a:lnTo>
                    <a:pt x="8" y="249"/>
                  </a:lnTo>
                  <a:lnTo>
                    <a:pt x="8" y="250"/>
                  </a:lnTo>
                  <a:lnTo>
                    <a:pt x="8" y="253"/>
                  </a:lnTo>
                  <a:lnTo>
                    <a:pt x="7" y="251"/>
                  </a:lnTo>
                  <a:lnTo>
                    <a:pt x="7" y="250"/>
                  </a:lnTo>
                  <a:lnTo>
                    <a:pt x="6" y="250"/>
                  </a:lnTo>
                  <a:lnTo>
                    <a:pt x="6" y="251"/>
                  </a:lnTo>
                  <a:lnTo>
                    <a:pt x="2" y="251"/>
                  </a:lnTo>
                  <a:lnTo>
                    <a:pt x="1" y="251"/>
                  </a:lnTo>
                  <a:lnTo>
                    <a:pt x="2" y="250"/>
                  </a:lnTo>
                  <a:lnTo>
                    <a:pt x="2" y="249"/>
                  </a:lnTo>
                  <a:lnTo>
                    <a:pt x="5" y="249"/>
                  </a:lnTo>
                  <a:lnTo>
                    <a:pt x="7" y="249"/>
                  </a:lnTo>
                  <a:lnTo>
                    <a:pt x="8" y="249"/>
                  </a:lnTo>
                  <a:lnTo>
                    <a:pt x="5" y="244"/>
                  </a:lnTo>
                  <a:lnTo>
                    <a:pt x="3" y="244"/>
                  </a:lnTo>
                  <a:lnTo>
                    <a:pt x="1" y="243"/>
                  </a:lnTo>
                  <a:lnTo>
                    <a:pt x="0" y="242"/>
                  </a:lnTo>
                  <a:lnTo>
                    <a:pt x="2" y="242"/>
                  </a:lnTo>
                  <a:lnTo>
                    <a:pt x="3" y="243"/>
                  </a:lnTo>
                  <a:lnTo>
                    <a:pt x="5" y="243"/>
                  </a:lnTo>
                  <a:lnTo>
                    <a:pt x="6" y="243"/>
                  </a:lnTo>
                  <a:lnTo>
                    <a:pt x="8" y="244"/>
                  </a:lnTo>
                  <a:lnTo>
                    <a:pt x="9" y="246"/>
                  </a:lnTo>
                  <a:lnTo>
                    <a:pt x="8" y="245"/>
                  </a:lnTo>
                  <a:lnTo>
                    <a:pt x="8" y="246"/>
                  </a:lnTo>
                  <a:lnTo>
                    <a:pt x="6" y="245"/>
                  </a:lnTo>
                  <a:lnTo>
                    <a:pt x="5" y="244"/>
                  </a:lnTo>
                  <a:lnTo>
                    <a:pt x="8" y="248"/>
                  </a:lnTo>
                  <a:lnTo>
                    <a:pt x="14" y="254"/>
                  </a:lnTo>
                  <a:lnTo>
                    <a:pt x="15" y="254"/>
                  </a:lnTo>
                  <a:lnTo>
                    <a:pt x="17" y="253"/>
                  </a:lnTo>
                  <a:lnTo>
                    <a:pt x="18" y="253"/>
                  </a:lnTo>
                  <a:lnTo>
                    <a:pt x="17" y="254"/>
                  </a:lnTo>
                  <a:lnTo>
                    <a:pt x="17" y="255"/>
                  </a:lnTo>
                  <a:lnTo>
                    <a:pt x="21" y="260"/>
                  </a:lnTo>
                  <a:lnTo>
                    <a:pt x="23" y="260"/>
                  </a:lnTo>
                  <a:lnTo>
                    <a:pt x="24" y="257"/>
                  </a:lnTo>
                  <a:lnTo>
                    <a:pt x="25" y="256"/>
                  </a:lnTo>
                  <a:lnTo>
                    <a:pt x="25" y="255"/>
                  </a:lnTo>
                  <a:lnTo>
                    <a:pt x="26" y="255"/>
                  </a:lnTo>
                  <a:lnTo>
                    <a:pt x="29" y="256"/>
                  </a:lnTo>
                  <a:lnTo>
                    <a:pt x="29" y="257"/>
                  </a:lnTo>
                  <a:lnTo>
                    <a:pt x="31" y="257"/>
                  </a:lnTo>
                  <a:lnTo>
                    <a:pt x="31" y="255"/>
                  </a:lnTo>
                  <a:lnTo>
                    <a:pt x="32" y="253"/>
                  </a:lnTo>
                  <a:lnTo>
                    <a:pt x="35" y="250"/>
                  </a:lnTo>
                  <a:lnTo>
                    <a:pt x="37" y="249"/>
                  </a:lnTo>
                  <a:lnTo>
                    <a:pt x="39" y="249"/>
                  </a:lnTo>
                  <a:lnTo>
                    <a:pt x="41" y="250"/>
                  </a:lnTo>
                  <a:lnTo>
                    <a:pt x="43" y="250"/>
                  </a:lnTo>
                  <a:lnTo>
                    <a:pt x="44" y="251"/>
                  </a:lnTo>
                  <a:lnTo>
                    <a:pt x="42" y="251"/>
                  </a:lnTo>
                  <a:lnTo>
                    <a:pt x="43" y="253"/>
                  </a:lnTo>
                  <a:lnTo>
                    <a:pt x="44" y="253"/>
                  </a:lnTo>
                  <a:lnTo>
                    <a:pt x="46" y="254"/>
                  </a:lnTo>
                  <a:lnTo>
                    <a:pt x="47" y="254"/>
                  </a:lnTo>
                  <a:lnTo>
                    <a:pt x="47" y="253"/>
                  </a:lnTo>
                  <a:lnTo>
                    <a:pt x="47" y="251"/>
                  </a:lnTo>
                  <a:lnTo>
                    <a:pt x="46" y="253"/>
                  </a:lnTo>
                  <a:lnTo>
                    <a:pt x="44" y="251"/>
                  </a:lnTo>
                  <a:lnTo>
                    <a:pt x="46" y="251"/>
                  </a:lnTo>
                  <a:lnTo>
                    <a:pt x="46" y="250"/>
                  </a:lnTo>
                  <a:lnTo>
                    <a:pt x="44" y="250"/>
                  </a:lnTo>
                  <a:lnTo>
                    <a:pt x="44" y="249"/>
                  </a:lnTo>
                  <a:lnTo>
                    <a:pt x="46" y="248"/>
                  </a:lnTo>
                  <a:lnTo>
                    <a:pt x="47" y="246"/>
                  </a:lnTo>
                  <a:lnTo>
                    <a:pt x="44" y="246"/>
                  </a:lnTo>
                  <a:lnTo>
                    <a:pt x="42" y="245"/>
                  </a:lnTo>
                  <a:lnTo>
                    <a:pt x="44" y="245"/>
                  </a:lnTo>
                  <a:lnTo>
                    <a:pt x="44" y="244"/>
                  </a:lnTo>
                  <a:lnTo>
                    <a:pt x="46" y="245"/>
                  </a:lnTo>
                  <a:lnTo>
                    <a:pt x="48" y="244"/>
                  </a:lnTo>
                  <a:lnTo>
                    <a:pt x="47" y="244"/>
                  </a:lnTo>
                  <a:lnTo>
                    <a:pt x="49" y="244"/>
                  </a:lnTo>
                  <a:lnTo>
                    <a:pt x="50" y="245"/>
                  </a:lnTo>
                  <a:lnTo>
                    <a:pt x="53" y="244"/>
                  </a:lnTo>
                  <a:lnTo>
                    <a:pt x="53" y="242"/>
                  </a:lnTo>
                  <a:lnTo>
                    <a:pt x="54" y="243"/>
                  </a:lnTo>
                  <a:lnTo>
                    <a:pt x="55" y="244"/>
                  </a:lnTo>
                  <a:lnTo>
                    <a:pt x="55" y="246"/>
                  </a:lnTo>
                  <a:lnTo>
                    <a:pt x="56" y="245"/>
                  </a:lnTo>
                  <a:lnTo>
                    <a:pt x="58" y="243"/>
                  </a:lnTo>
                  <a:lnTo>
                    <a:pt x="59" y="240"/>
                  </a:lnTo>
                  <a:lnTo>
                    <a:pt x="58" y="240"/>
                  </a:lnTo>
                  <a:lnTo>
                    <a:pt x="59" y="240"/>
                  </a:lnTo>
                  <a:lnTo>
                    <a:pt x="59" y="239"/>
                  </a:lnTo>
                  <a:lnTo>
                    <a:pt x="60" y="239"/>
                  </a:lnTo>
                  <a:lnTo>
                    <a:pt x="62" y="238"/>
                  </a:lnTo>
                  <a:lnTo>
                    <a:pt x="61" y="239"/>
                  </a:lnTo>
                  <a:lnTo>
                    <a:pt x="61" y="240"/>
                  </a:lnTo>
                  <a:lnTo>
                    <a:pt x="64" y="240"/>
                  </a:lnTo>
                  <a:lnTo>
                    <a:pt x="64" y="239"/>
                  </a:lnTo>
                  <a:lnTo>
                    <a:pt x="66" y="237"/>
                  </a:lnTo>
                  <a:lnTo>
                    <a:pt x="67" y="236"/>
                  </a:lnTo>
                  <a:lnTo>
                    <a:pt x="66" y="234"/>
                  </a:lnTo>
                  <a:lnTo>
                    <a:pt x="64" y="234"/>
                  </a:lnTo>
                  <a:lnTo>
                    <a:pt x="62" y="236"/>
                  </a:lnTo>
                  <a:lnTo>
                    <a:pt x="60" y="236"/>
                  </a:lnTo>
                  <a:lnTo>
                    <a:pt x="61" y="234"/>
                  </a:lnTo>
                  <a:lnTo>
                    <a:pt x="62" y="233"/>
                  </a:lnTo>
                  <a:lnTo>
                    <a:pt x="62" y="232"/>
                  </a:lnTo>
                  <a:lnTo>
                    <a:pt x="62" y="230"/>
                  </a:lnTo>
                  <a:lnTo>
                    <a:pt x="59" y="227"/>
                  </a:lnTo>
                  <a:lnTo>
                    <a:pt x="56" y="228"/>
                  </a:lnTo>
                  <a:lnTo>
                    <a:pt x="56" y="230"/>
                  </a:lnTo>
                  <a:lnTo>
                    <a:pt x="56" y="227"/>
                  </a:lnTo>
                  <a:lnTo>
                    <a:pt x="58" y="227"/>
                  </a:lnTo>
                  <a:lnTo>
                    <a:pt x="56" y="226"/>
                  </a:lnTo>
                  <a:lnTo>
                    <a:pt x="55" y="226"/>
                  </a:lnTo>
                  <a:lnTo>
                    <a:pt x="54" y="227"/>
                  </a:lnTo>
                  <a:lnTo>
                    <a:pt x="53" y="227"/>
                  </a:lnTo>
                  <a:lnTo>
                    <a:pt x="53" y="226"/>
                  </a:lnTo>
                  <a:lnTo>
                    <a:pt x="54" y="226"/>
                  </a:lnTo>
                  <a:lnTo>
                    <a:pt x="54" y="225"/>
                  </a:lnTo>
                  <a:lnTo>
                    <a:pt x="54" y="224"/>
                  </a:lnTo>
                  <a:lnTo>
                    <a:pt x="52" y="225"/>
                  </a:lnTo>
                  <a:lnTo>
                    <a:pt x="50" y="227"/>
                  </a:lnTo>
                  <a:lnTo>
                    <a:pt x="50" y="226"/>
                  </a:lnTo>
                  <a:lnTo>
                    <a:pt x="49" y="226"/>
                  </a:lnTo>
                  <a:lnTo>
                    <a:pt x="47" y="226"/>
                  </a:lnTo>
                  <a:lnTo>
                    <a:pt x="49" y="225"/>
                  </a:lnTo>
                  <a:lnTo>
                    <a:pt x="49" y="224"/>
                  </a:lnTo>
                  <a:lnTo>
                    <a:pt x="52" y="224"/>
                  </a:lnTo>
                  <a:lnTo>
                    <a:pt x="53" y="224"/>
                  </a:lnTo>
                  <a:lnTo>
                    <a:pt x="52" y="220"/>
                  </a:lnTo>
                  <a:lnTo>
                    <a:pt x="52" y="219"/>
                  </a:lnTo>
                  <a:lnTo>
                    <a:pt x="53" y="219"/>
                  </a:lnTo>
                  <a:lnTo>
                    <a:pt x="54" y="218"/>
                  </a:lnTo>
                  <a:lnTo>
                    <a:pt x="56" y="219"/>
                  </a:lnTo>
                  <a:lnTo>
                    <a:pt x="54" y="220"/>
                  </a:lnTo>
                  <a:lnTo>
                    <a:pt x="53" y="221"/>
                  </a:lnTo>
                  <a:lnTo>
                    <a:pt x="52" y="220"/>
                  </a:lnTo>
                  <a:lnTo>
                    <a:pt x="54" y="224"/>
                  </a:lnTo>
                  <a:lnTo>
                    <a:pt x="55" y="224"/>
                  </a:lnTo>
                  <a:lnTo>
                    <a:pt x="56" y="222"/>
                  </a:lnTo>
                  <a:lnTo>
                    <a:pt x="56" y="225"/>
                  </a:lnTo>
                  <a:lnTo>
                    <a:pt x="59" y="227"/>
                  </a:lnTo>
                  <a:lnTo>
                    <a:pt x="62" y="230"/>
                  </a:lnTo>
                  <a:lnTo>
                    <a:pt x="64" y="231"/>
                  </a:lnTo>
                  <a:lnTo>
                    <a:pt x="65" y="230"/>
                  </a:lnTo>
                  <a:lnTo>
                    <a:pt x="64" y="228"/>
                  </a:lnTo>
                  <a:lnTo>
                    <a:pt x="64" y="227"/>
                  </a:lnTo>
                  <a:lnTo>
                    <a:pt x="62" y="225"/>
                  </a:lnTo>
                  <a:lnTo>
                    <a:pt x="62" y="224"/>
                  </a:lnTo>
                  <a:lnTo>
                    <a:pt x="66" y="224"/>
                  </a:lnTo>
                  <a:lnTo>
                    <a:pt x="64" y="222"/>
                  </a:lnTo>
                  <a:lnTo>
                    <a:pt x="61" y="224"/>
                  </a:lnTo>
                  <a:lnTo>
                    <a:pt x="60" y="226"/>
                  </a:lnTo>
                  <a:lnTo>
                    <a:pt x="60" y="225"/>
                  </a:lnTo>
                  <a:lnTo>
                    <a:pt x="60" y="224"/>
                  </a:lnTo>
                  <a:lnTo>
                    <a:pt x="60" y="221"/>
                  </a:lnTo>
                  <a:lnTo>
                    <a:pt x="61" y="220"/>
                  </a:lnTo>
                  <a:lnTo>
                    <a:pt x="61" y="218"/>
                  </a:lnTo>
                  <a:lnTo>
                    <a:pt x="64" y="216"/>
                  </a:lnTo>
                  <a:lnTo>
                    <a:pt x="62" y="216"/>
                  </a:lnTo>
                  <a:lnTo>
                    <a:pt x="64" y="215"/>
                  </a:lnTo>
                  <a:lnTo>
                    <a:pt x="66" y="214"/>
                  </a:lnTo>
                  <a:lnTo>
                    <a:pt x="65" y="213"/>
                  </a:lnTo>
                  <a:lnTo>
                    <a:pt x="64" y="213"/>
                  </a:lnTo>
                  <a:lnTo>
                    <a:pt x="64" y="212"/>
                  </a:lnTo>
                  <a:lnTo>
                    <a:pt x="65" y="210"/>
                  </a:lnTo>
                  <a:lnTo>
                    <a:pt x="65" y="209"/>
                  </a:lnTo>
                  <a:lnTo>
                    <a:pt x="66" y="208"/>
                  </a:lnTo>
                  <a:lnTo>
                    <a:pt x="66" y="206"/>
                  </a:lnTo>
                  <a:lnTo>
                    <a:pt x="65" y="208"/>
                  </a:lnTo>
                  <a:lnTo>
                    <a:pt x="62" y="209"/>
                  </a:lnTo>
                  <a:lnTo>
                    <a:pt x="62" y="206"/>
                  </a:lnTo>
                  <a:lnTo>
                    <a:pt x="64" y="204"/>
                  </a:lnTo>
                  <a:lnTo>
                    <a:pt x="64" y="203"/>
                  </a:lnTo>
                  <a:lnTo>
                    <a:pt x="65" y="202"/>
                  </a:lnTo>
                  <a:lnTo>
                    <a:pt x="67" y="202"/>
                  </a:lnTo>
                  <a:lnTo>
                    <a:pt x="65" y="201"/>
                  </a:lnTo>
                  <a:lnTo>
                    <a:pt x="62" y="201"/>
                  </a:lnTo>
                  <a:lnTo>
                    <a:pt x="64" y="200"/>
                  </a:lnTo>
                  <a:lnTo>
                    <a:pt x="66" y="198"/>
                  </a:lnTo>
                  <a:lnTo>
                    <a:pt x="66" y="197"/>
                  </a:lnTo>
                  <a:lnTo>
                    <a:pt x="67" y="197"/>
                  </a:lnTo>
                  <a:lnTo>
                    <a:pt x="68" y="197"/>
                  </a:lnTo>
                  <a:lnTo>
                    <a:pt x="71" y="196"/>
                  </a:lnTo>
                  <a:lnTo>
                    <a:pt x="72" y="196"/>
                  </a:lnTo>
                  <a:lnTo>
                    <a:pt x="74" y="195"/>
                  </a:lnTo>
                  <a:lnTo>
                    <a:pt x="74" y="197"/>
                  </a:lnTo>
                  <a:lnTo>
                    <a:pt x="76" y="197"/>
                  </a:lnTo>
                  <a:lnTo>
                    <a:pt x="77" y="196"/>
                  </a:lnTo>
                  <a:lnTo>
                    <a:pt x="78" y="196"/>
                  </a:lnTo>
                  <a:lnTo>
                    <a:pt x="78" y="195"/>
                  </a:lnTo>
                  <a:lnTo>
                    <a:pt x="78" y="194"/>
                  </a:lnTo>
                  <a:lnTo>
                    <a:pt x="79" y="191"/>
                  </a:lnTo>
                  <a:lnTo>
                    <a:pt x="80" y="190"/>
                  </a:lnTo>
                  <a:lnTo>
                    <a:pt x="80" y="191"/>
                  </a:lnTo>
                  <a:lnTo>
                    <a:pt x="80" y="192"/>
                  </a:lnTo>
                  <a:lnTo>
                    <a:pt x="82" y="194"/>
                  </a:lnTo>
                  <a:lnTo>
                    <a:pt x="83" y="191"/>
                  </a:lnTo>
                  <a:lnTo>
                    <a:pt x="83" y="192"/>
                  </a:lnTo>
                  <a:lnTo>
                    <a:pt x="83" y="191"/>
                  </a:lnTo>
                  <a:lnTo>
                    <a:pt x="82" y="189"/>
                  </a:lnTo>
                  <a:lnTo>
                    <a:pt x="79" y="189"/>
                  </a:lnTo>
                  <a:lnTo>
                    <a:pt x="77" y="191"/>
                  </a:lnTo>
                  <a:lnTo>
                    <a:pt x="77" y="190"/>
                  </a:lnTo>
                  <a:lnTo>
                    <a:pt x="77" y="189"/>
                  </a:lnTo>
                  <a:lnTo>
                    <a:pt x="77" y="188"/>
                  </a:lnTo>
                  <a:lnTo>
                    <a:pt x="76" y="188"/>
                  </a:lnTo>
                  <a:lnTo>
                    <a:pt x="74" y="188"/>
                  </a:lnTo>
                  <a:lnTo>
                    <a:pt x="74" y="190"/>
                  </a:lnTo>
                  <a:lnTo>
                    <a:pt x="72" y="191"/>
                  </a:lnTo>
                  <a:lnTo>
                    <a:pt x="71" y="192"/>
                  </a:lnTo>
                  <a:lnTo>
                    <a:pt x="71" y="190"/>
                  </a:lnTo>
                  <a:lnTo>
                    <a:pt x="70" y="189"/>
                  </a:lnTo>
                  <a:lnTo>
                    <a:pt x="71" y="189"/>
                  </a:lnTo>
                  <a:lnTo>
                    <a:pt x="71" y="188"/>
                  </a:lnTo>
                  <a:lnTo>
                    <a:pt x="71" y="186"/>
                  </a:lnTo>
                  <a:lnTo>
                    <a:pt x="71" y="185"/>
                  </a:lnTo>
                  <a:lnTo>
                    <a:pt x="70" y="185"/>
                  </a:lnTo>
                  <a:lnTo>
                    <a:pt x="70" y="184"/>
                  </a:lnTo>
                  <a:lnTo>
                    <a:pt x="67" y="183"/>
                  </a:lnTo>
                  <a:lnTo>
                    <a:pt x="65" y="186"/>
                  </a:lnTo>
                  <a:lnTo>
                    <a:pt x="64" y="188"/>
                  </a:lnTo>
                  <a:lnTo>
                    <a:pt x="64" y="185"/>
                  </a:lnTo>
                  <a:lnTo>
                    <a:pt x="64" y="183"/>
                  </a:lnTo>
                  <a:lnTo>
                    <a:pt x="62" y="185"/>
                  </a:lnTo>
                  <a:lnTo>
                    <a:pt x="61" y="184"/>
                  </a:lnTo>
                  <a:lnTo>
                    <a:pt x="60" y="185"/>
                  </a:lnTo>
                  <a:lnTo>
                    <a:pt x="59" y="184"/>
                  </a:lnTo>
                  <a:lnTo>
                    <a:pt x="59" y="185"/>
                  </a:lnTo>
                  <a:lnTo>
                    <a:pt x="58" y="188"/>
                  </a:lnTo>
                  <a:lnTo>
                    <a:pt x="56" y="189"/>
                  </a:lnTo>
                  <a:lnTo>
                    <a:pt x="55" y="191"/>
                  </a:lnTo>
                  <a:lnTo>
                    <a:pt x="54" y="190"/>
                  </a:lnTo>
                  <a:lnTo>
                    <a:pt x="53" y="190"/>
                  </a:lnTo>
                  <a:lnTo>
                    <a:pt x="53" y="191"/>
                  </a:lnTo>
                  <a:lnTo>
                    <a:pt x="52" y="195"/>
                  </a:lnTo>
                  <a:lnTo>
                    <a:pt x="52" y="192"/>
                  </a:lnTo>
                  <a:lnTo>
                    <a:pt x="50" y="191"/>
                  </a:lnTo>
                  <a:lnTo>
                    <a:pt x="50" y="192"/>
                  </a:lnTo>
                  <a:lnTo>
                    <a:pt x="49" y="194"/>
                  </a:lnTo>
                  <a:lnTo>
                    <a:pt x="47" y="194"/>
                  </a:lnTo>
                  <a:lnTo>
                    <a:pt x="47" y="195"/>
                  </a:lnTo>
                  <a:lnTo>
                    <a:pt x="46" y="196"/>
                  </a:lnTo>
                  <a:lnTo>
                    <a:pt x="44" y="197"/>
                  </a:lnTo>
                  <a:lnTo>
                    <a:pt x="44" y="195"/>
                  </a:lnTo>
                  <a:lnTo>
                    <a:pt x="46" y="192"/>
                  </a:lnTo>
                  <a:lnTo>
                    <a:pt x="44" y="192"/>
                  </a:lnTo>
                  <a:lnTo>
                    <a:pt x="43" y="192"/>
                  </a:lnTo>
                  <a:lnTo>
                    <a:pt x="44" y="191"/>
                  </a:lnTo>
                  <a:lnTo>
                    <a:pt x="46" y="190"/>
                  </a:lnTo>
                  <a:lnTo>
                    <a:pt x="47" y="188"/>
                  </a:lnTo>
                  <a:lnTo>
                    <a:pt x="49" y="188"/>
                  </a:lnTo>
                  <a:lnTo>
                    <a:pt x="50" y="188"/>
                  </a:lnTo>
                  <a:lnTo>
                    <a:pt x="53" y="188"/>
                  </a:lnTo>
                  <a:lnTo>
                    <a:pt x="53" y="186"/>
                  </a:lnTo>
                  <a:lnTo>
                    <a:pt x="52" y="185"/>
                  </a:lnTo>
                  <a:lnTo>
                    <a:pt x="50" y="185"/>
                  </a:lnTo>
                  <a:lnTo>
                    <a:pt x="48" y="186"/>
                  </a:lnTo>
                  <a:lnTo>
                    <a:pt x="49" y="185"/>
                  </a:lnTo>
                  <a:lnTo>
                    <a:pt x="49" y="184"/>
                  </a:lnTo>
                  <a:lnTo>
                    <a:pt x="48" y="183"/>
                  </a:lnTo>
                  <a:lnTo>
                    <a:pt x="47" y="183"/>
                  </a:lnTo>
                  <a:lnTo>
                    <a:pt x="46" y="183"/>
                  </a:lnTo>
                  <a:lnTo>
                    <a:pt x="44" y="184"/>
                  </a:lnTo>
                  <a:lnTo>
                    <a:pt x="44" y="185"/>
                  </a:lnTo>
                  <a:lnTo>
                    <a:pt x="47" y="185"/>
                  </a:lnTo>
                  <a:lnTo>
                    <a:pt x="47" y="186"/>
                  </a:lnTo>
                  <a:lnTo>
                    <a:pt x="46" y="188"/>
                  </a:lnTo>
                  <a:lnTo>
                    <a:pt x="44" y="189"/>
                  </a:lnTo>
                  <a:lnTo>
                    <a:pt x="43" y="189"/>
                  </a:lnTo>
                  <a:lnTo>
                    <a:pt x="39" y="191"/>
                  </a:lnTo>
                  <a:lnTo>
                    <a:pt x="41" y="189"/>
                  </a:lnTo>
                  <a:lnTo>
                    <a:pt x="41" y="186"/>
                  </a:lnTo>
                  <a:lnTo>
                    <a:pt x="39" y="185"/>
                  </a:lnTo>
                  <a:lnTo>
                    <a:pt x="41" y="184"/>
                  </a:lnTo>
                  <a:lnTo>
                    <a:pt x="39" y="184"/>
                  </a:lnTo>
                  <a:lnTo>
                    <a:pt x="41" y="182"/>
                  </a:lnTo>
                  <a:lnTo>
                    <a:pt x="42" y="182"/>
                  </a:lnTo>
                  <a:lnTo>
                    <a:pt x="43" y="182"/>
                  </a:lnTo>
                  <a:lnTo>
                    <a:pt x="44" y="180"/>
                  </a:lnTo>
                  <a:lnTo>
                    <a:pt x="41" y="179"/>
                  </a:lnTo>
                  <a:lnTo>
                    <a:pt x="39" y="180"/>
                  </a:lnTo>
                  <a:lnTo>
                    <a:pt x="37" y="180"/>
                  </a:lnTo>
                  <a:lnTo>
                    <a:pt x="38" y="179"/>
                  </a:lnTo>
                  <a:lnTo>
                    <a:pt x="41" y="178"/>
                  </a:lnTo>
                  <a:lnTo>
                    <a:pt x="41" y="179"/>
                  </a:lnTo>
                  <a:lnTo>
                    <a:pt x="43" y="179"/>
                  </a:lnTo>
                  <a:lnTo>
                    <a:pt x="46" y="180"/>
                  </a:lnTo>
                  <a:lnTo>
                    <a:pt x="47" y="180"/>
                  </a:lnTo>
                  <a:lnTo>
                    <a:pt x="49" y="179"/>
                  </a:lnTo>
                  <a:lnTo>
                    <a:pt x="49" y="177"/>
                  </a:lnTo>
                  <a:lnTo>
                    <a:pt x="48" y="176"/>
                  </a:lnTo>
                  <a:lnTo>
                    <a:pt x="46" y="178"/>
                  </a:lnTo>
                  <a:lnTo>
                    <a:pt x="44" y="178"/>
                  </a:lnTo>
                  <a:lnTo>
                    <a:pt x="43" y="178"/>
                  </a:lnTo>
                  <a:lnTo>
                    <a:pt x="43" y="177"/>
                  </a:lnTo>
                  <a:lnTo>
                    <a:pt x="44" y="174"/>
                  </a:lnTo>
                  <a:lnTo>
                    <a:pt x="44" y="173"/>
                  </a:lnTo>
                  <a:lnTo>
                    <a:pt x="43" y="172"/>
                  </a:lnTo>
                  <a:lnTo>
                    <a:pt x="42" y="171"/>
                  </a:lnTo>
                  <a:lnTo>
                    <a:pt x="42" y="170"/>
                  </a:lnTo>
                  <a:lnTo>
                    <a:pt x="41" y="168"/>
                  </a:lnTo>
                  <a:lnTo>
                    <a:pt x="39" y="167"/>
                  </a:lnTo>
                  <a:lnTo>
                    <a:pt x="39" y="170"/>
                  </a:lnTo>
                  <a:lnTo>
                    <a:pt x="39" y="171"/>
                  </a:lnTo>
                  <a:lnTo>
                    <a:pt x="37" y="168"/>
                  </a:lnTo>
                  <a:lnTo>
                    <a:pt x="36" y="168"/>
                  </a:lnTo>
                  <a:lnTo>
                    <a:pt x="37" y="170"/>
                  </a:lnTo>
                  <a:lnTo>
                    <a:pt x="36" y="171"/>
                  </a:lnTo>
                  <a:lnTo>
                    <a:pt x="37" y="173"/>
                  </a:lnTo>
                  <a:lnTo>
                    <a:pt x="36" y="176"/>
                  </a:lnTo>
                  <a:lnTo>
                    <a:pt x="37" y="178"/>
                  </a:lnTo>
                  <a:lnTo>
                    <a:pt x="36" y="177"/>
                  </a:lnTo>
                  <a:lnTo>
                    <a:pt x="36" y="178"/>
                  </a:lnTo>
                  <a:lnTo>
                    <a:pt x="35" y="177"/>
                  </a:lnTo>
                  <a:lnTo>
                    <a:pt x="33" y="174"/>
                  </a:lnTo>
                  <a:lnTo>
                    <a:pt x="31" y="174"/>
                  </a:lnTo>
                  <a:lnTo>
                    <a:pt x="32" y="178"/>
                  </a:lnTo>
                  <a:lnTo>
                    <a:pt x="30" y="178"/>
                  </a:lnTo>
                  <a:lnTo>
                    <a:pt x="29" y="178"/>
                  </a:lnTo>
                  <a:lnTo>
                    <a:pt x="30" y="180"/>
                  </a:lnTo>
                  <a:lnTo>
                    <a:pt x="27" y="183"/>
                  </a:lnTo>
                  <a:lnTo>
                    <a:pt x="26" y="185"/>
                  </a:lnTo>
                  <a:lnTo>
                    <a:pt x="26" y="184"/>
                  </a:lnTo>
                  <a:lnTo>
                    <a:pt x="27" y="182"/>
                  </a:lnTo>
                  <a:lnTo>
                    <a:pt x="29" y="180"/>
                  </a:lnTo>
                  <a:lnTo>
                    <a:pt x="27" y="179"/>
                  </a:lnTo>
                  <a:lnTo>
                    <a:pt x="26" y="179"/>
                  </a:lnTo>
                  <a:lnTo>
                    <a:pt x="25" y="178"/>
                  </a:lnTo>
                  <a:lnTo>
                    <a:pt x="24" y="177"/>
                  </a:lnTo>
                  <a:lnTo>
                    <a:pt x="21" y="179"/>
                  </a:lnTo>
                  <a:lnTo>
                    <a:pt x="23" y="177"/>
                  </a:lnTo>
                  <a:lnTo>
                    <a:pt x="20" y="179"/>
                  </a:lnTo>
                  <a:lnTo>
                    <a:pt x="19" y="179"/>
                  </a:lnTo>
                  <a:lnTo>
                    <a:pt x="20" y="178"/>
                  </a:lnTo>
                  <a:lnTo>
                    <a:pt x="19" y="177"/>
                  </a:lnTo>
                  <a:lnTo>
                    <a:pt x="18" y="176"/>
                  </a:lnTo>
                  <a:lnTo>
                    <a:pt x="20" y="174"/>
                  </a:lnTo>
                  <a:lnTo>
                    <a:pt x="23" y="174"/>
                  </a:lnTo>
                  <a:lnTo>
                    <a:pt x="23" y="173"/>
                  </a:lnTo>
                  <a:lnTo>
                    <a:pt x="25" y="172"/>
                  </a:lnTo>
                  <a:lnTo>
                    <a:pt x="25" y="171"/>
                  </a:lnTo>
                  <a:lnTo>
                    <a:pt x="23" y="171"/>
                  </a:lnTo>
                  <a:lnTo>
                    <a:pt x="20" y="170"/>
                  </a:lnTo>
                  <a:lnTo>
                    <a:pt x="20" y="172"/>
                  </a:lnTo>
                  <a:lnTo>
                    <a:pt x="18" y="170"/>
                  </a:lnTo>
                  <a:lnTo>
                    <a:pt x="17" y="171"/>
                  </a:lnTo>
                  <a:lnTo>
                    <a:pt x="18" y="172"/>
                  </a:lnTo>
                  <a:lnTo>
                    <a:pt x="17" y="174"/>
                  </a:lnTo>
                  <a:lnTo>
                    <a:pt x="13" y="177"/>
                  </a:lnTo>
                  <a:lnTo>
                    <a:pt x="13" y="174"/>
                  </a:lnTo>
                  <a:lnTo>
                    <a:pt x="13" y="171"/>
                  </a:lnTo>
                  <a:lnTo>
                    <a:pt x="14" y="171"/>
                  </a:lnTo>
                  <a:lnTo>
                    <a:pt x="15" y="171"/>
                  </a:lnTo>
                  <a:lnTo>
                    <a:pt x="18" y="170"/>
                  </a:lnTo>
                  <a:lnTo>
                    <a:pt x="19" y="168"/>
                  </a:lnTo>
                  <a:lnTo>
                    <a:pt x="18" y="168"/>
                  </a:lnTo>
                  <a:lnTo>
                    <a:pt x="15" y="168"/>
                  </a:lnTo>
                  <a:lnTo>
                    <a:pt x="15" y="167"/>
                  </a:lnTo>
                  <a:lnTo>
                    <a:pt x="14" y="167"/>
                  </a:lnTo>
                  <a:lnTo>
                    <a:pt x="13" y="167"/>
                  </a:lnTo>
                  <a:lnTo>
                    <a:pt x="11" y="168"/>
                  </a:lnTo>
                  <a:lnTo>
                    <a:pt x="12" y="167"/>
                  </a:lnTo>
                  <a:lnTo>
                    <a:pt x="13" y="166"/>
                  </a:lnTo>
                  <a:lnTo>
                    <a:pt x="12" y="166"/>
                  </a:lnTo>
                  <a:lnTo>
                    <a:pt x="12" y="165"/>
                  </a:lnTo>
                  <a:lnTo>
                    <a:pt x="13" y="164"/>
                  </a:lnTo>
                  <a:lnTo>
                    <a:pt x="14" y="166"/>
                  </a:lnTo>
                  <a:lnTo>
                    <a:pt x="15" y="167"/>
                  </a:lnTo>
                  <a:lnTo>
                    <a:pt x="17" y="167"/>
                  </a:lnTo>
                  <a:lnTo>
                    <a:pt x="17" y="165"/>
                  </a:lnTo>
                  <a:lnTo>
                    <a:pt x="15" y="164"/>
                  </a:lnTo>
                  <a:lnTo>
                    <a:pt x="15" y="161"/>
                  </a:lnTo>
                  <a:lnTo>
                    <a:pt x="17" y="162"/>
                  </a:lnTo>
                  <a:lnTo>
                    <a:pt x="17" y="166"/>
                  </a:lnTo>
                  <a:lnTo>
                    <a:pt x="18" y="166"/>
                  </a:lnTo>
                  <a:lnTo>
                    <a:pt x="18" y="165"/>
                  </a:lnTo>
                  <a:lnTo>
                    <a:pt x="19" y="164"/>
                  </a:lnTo>
                  <a:lnTo>
                    <a:pt x="21" y="165"/>
                  </a:lnTo>
                  <a:lnTo>
                    <a:pt x="24" y="164"/>
                  </a:lnTo>
                  <a:lnTo>
                    <a:pt x="24" y="165"/>
                  </a:lnTo>
                  <a:lnTo>
                    <a:pt x="26" y="166"/>
                  </a:lnTo>
                  <a:lnTo>
                    <a:pt x="29" y="167"/>
                  </a:lnTo>
                  <a:lnTo>
                    <a:pt x="29" y="166"/>
                  </a:lnTo>
                  <a:lnTo>
                    <a:pt x="27" y="166"/>
                  </a:lnTo>
                  <a:lnTo>
                    <a:pt x="29" y="164"/>
                  </a:lnTo>
                  <a:lnTo>
                    <a:pt x="31" y="162"/>
                  </a:lnTo>
                  <a:lnTo>
                    <a:pt x="32" y="161"/>
                  </a:lnTo>
                  <a:lnTo>
                    <a:pt x="32" y="160"/>
                  </a:lnTo>
                  <a:lnTo>
                    <a:pt x="31" y="161"/>
                  </a:lnTo>
                  <a:lnTo>
                    <a:pt x="29" y="164"/>
                  </a:lnTo>
                  <a:lnTo>
                    <a:pt x="26" y="164"/>
                  </a:lnTo>
                  <a:lnTo>
                    <a:pt x="26" y="162"/>
                  </a:lnTo>
                  <a:lnTo>
                    <a:pt x="27" y="160"/>
                  </a:lnTo>
                  <a:lnTo>
                    <a:pt x="29" y="159"/>
                  </a:lnTo>
                  <a:lnTo>
                    <a:pt x="30" y="158"/>
                  </a:lnTo>
                  <a:lnTo>
                    <a:pt x="30" y="159"/>
                  </a:lnTo>
                  <a:lnTo>
                    <a:pt x="31" y="158"/>
                  </a:lnTo>
                  <a:lnTo>
                    <a:pt x="33" y="158"/>
                  </a:lnTo>
                  <a:lnTo>
                    <a:pt x="31" y="155"/>
                  </a:lnTo>
                  <a:lnTo>
                    <a:pt x="29" y="156"/>
                  </a:lnTo>
                  <a:lnTo>
                    <a:pt x="26" y="158"/>
                  </a:lnTo>
                  <a:lnTo>
                    <a:pt x="26" y="155"/>
                  </a:lnTo>
                  <a:lnTo>
                    <a:pt x="23" y="153"/>
                  </a:lnTo>
                  <a:lnTo>
                    <a:pt x="26" y="153"/>
                  </a:lnTo>
                  <a:lnTo>
                    <a:pt x="27" y="149"/>
                  </a:lnTo>
                  <a:lnTo>
                    <a:pt x="25" y="150"/>
                  </a:lnTo>
                  <a:lnTo>
                    <a:pt x="25" y="149"/>
                  </a:lnTo>
                  <a:lnTo>
                    <a:pt x="27" y="146"/>
                  </a:lnTo>
                  <a:lnTo>
                    <a:pt x="30" y="144"/>
                  </a:lnTo>
                  <a:lnTo>
                    <a:pt x="27" y="143"/>
                  </a:lnTo>
                  <a:lnTo>
                    <a:pt x="23" y="146"/>
                  </a:lnTo>
                  <a:lnTo>
                    <a:pt x="18" y="150"/>
                  </a:lnTo>
                  <a:lnTo>
                    <a:pt x="15" y="154"/>
                  </a:lnTo>
                  <a:lnTo>
                    <a:pt x="15" y="152"/>
                  </a:lnTo>
                  <a:lnTo>
                    <a:pt x="15" y="150"/>
                  </a:lnTo>
                  <a:lnTo>
                    <a:pt x="17" y="148"/>
                  </a:lnTo>
                  <a:lnTo>
                    <a:pt x="14" y="149"/>
                  </a:lnTo>
                  <a:lnTo>
                    <a:pt x="17" y="144"/>
                  </a:lnTo>
                  <a:lnTo>
                    <a:pt x="18" y="142"/>
                  </a:lnTo>
                  <a:lnTo>
                    <a:pt x="20" y="143"/>
                  </a:lnTo>
                  <a:lnTo>
                    <a:pt x="19" y="142"/>
                  </a:lnTo>
                  <a:lnTo>
                    <a:pt x="20" y="141"/>
                  </a:lnTo>
                  <a:lnTo>
                    <a:pt x="21" y="139"/>
                  </a:lnTo>
                  <a:lnTo>
                    <a:pt x="23" y="137"/>
                  </a:lnTo>
                  <a:lnTo>
                    <a:pt x="17" y="137"/>
                  </a:lnTo>
                  <a:lnTo>
                    <a:pt x="12" y="136"/>
                  </a:lnTo>
                  <a:lnTo>
                    <a:pt x="15" y="136"/>
                  </a:lnTo>
                  <a:lnTo>
                    <a:pt x="17" y="136"/>
                  </a:lnTo>
                  <a:lnTo>
                    <a:pt x="17" y="135"/>
                  </a:lnTo>
                  <a:lnTo>
                    <a:pt x="18" y="135"/>
                  </a:lnTo>
                  <a:lnTo>
                    <a:pt x="19" y="135"/>
                  </a:lnTo>
                  <a:lnTo>
                    <a:pt x="19" y="133"/>
                  </a:lnTo>
                  <a:lnTo>
                    <a:pt x="20" y="133"/>
                  </a:lnTo>
                  <a:lnTo>
                    <a:pt x="21" y="133"/>
                  </a:lnTo>
                  <a:lnTo>
                    <a:pt x="23" y="135"/>
                  </a:lnTo>
                  <a:lnTo>
                    <a:pt x="24" y="136"/>
                  </a:lnTo>
                  <a:lnTo>
                    <a:pt x="25" y="137"/>
                  </a:lnTo>
                  <a:lnTo>
                    <a:pt x="25" y="138"/>
                  </a:lnTo>
                  <a:lnTo>
                    <a:pt x="26" y="138"/>
                  </a:lnTo>
                  <a:lnTo>
                    <a:pt x="27" y="137"/>
                  </a:lnTo>
                  <a:lnTo>
                    <a:pt x="29" y="136"/>
                  </a:lnTo>
                  <a:lnTo>
                    <a:pt x="32" y="136"/>
                  </a:lnTo>
                  <a:lnTo>
                    <a:pt x="33" y="137"/>
                  </a:lnTo>
                  <a:lnTo>
                    <a:pt x="36" y="137"/>
                  </a:lnTo>
                  <a:lnTo>
                    <a:pt x="37" y="137"/>
                  </a:lnTo>
                  <a:lnTo>
                    <a:pt x="39" y="136"/>
                  </a:lnTo>
                  <a:lnTo>
                    <a:pt x="42" y="137"/>
                  </a:lnTo>
                  <a:lnTo>
                    <a:pt x="44" y="137"/>
                  </a:lnTo>
                  <a:lnTo>
                    <a:pt x="44" y="135"/>
                  </a:lnTo>
                  <a:lnTo>
                    <a:pt x="46" y="135"/>
                  </a:lnTo>
                  <a:lnTo>
                    <a:pt x="46" y="137"/>
                  </a:lnTo>
                  <a:lnTo>
                    <a:pt x="47" y="136"/>
                  </a:lnTo>
                  <a:lnTo>
                    <a:pt x="50" y="137"/>
                  </a:lnTo>
                  <a:lnTo>
                    <a:pt x="53" y="137"/>
                  </a:lnTo>
                  <a:lnTo>
                    <a:pt x="54" y="138"/>
                  </a:lnTo>
                  <a:lnTo>
                    <a:pt x="56" y="139"/>
                  </a:lnTo>
                  <a:lnTo>
                    <a:pt x="58" y="138"/>
                  </a:lnTo>
                  <a:lnTo>
                    <a:pt x="58" y="137"/>
                  </a:lnTo>
                  <a:lnTo>
                    <a:pt x="59" y="133"/>
                  </a:lnTo>
                  <a:lnTo>
                    <a:pt x="56" y="135"/>
                  </a:lnTo>
                  <a:lnTo>
                    <a:pt x="56" y="133"/>
                  </a:lnTo>
                  <a:lnTo>
                    <a:pt x="55" y="135"/>
                  </a:lnTo>
                  <a:lnTo>
                    <a:pt x="55" y="133"/>
                  </a:lnTo>
                  <a:lnTo>
                    <a:pt x="53" y="133"/>
                  </a:lnTo>
                  <a:lnTo>
                    <a:pt x="52" y="132"/>
                  </a:lnTo>
                  <a:lnTo>
                    <a:pt x="50" y="132"/>
                  </a:lnTo>
                  <a:lnTo>
                    <a:pt x="50" y="133"/>
                  </a:lnTo>
                  <a:lnTo>
                    <a:pt x="50" y="131"/>
                  </a:lnTo>
                  <a:lnTo>
                    <a:pt x="50" y="129"/>
                  </a:lnTo>
                  <a:lnTo>
                    <a:pt x="48" y="130"/>
                  </a:lnTo>
                  <a:lnTo>
                    <a:pt x="47" y="131"/>
                  </a:lnTo>
                  <a:lnTo>
                    <a:pt x="46" y="130"/>
                  </a:lnTo>
                  <a:lnTo>
                    <a:pt x="44" y="129"/>
                  </a:lnTo>
                  <a:lnTo>
                    <a:pt x="43" y="131"/>
                  </a:lnTo>
                  <a:lnTo>
                    <a:pt x="43" y="129"/>
                  </a:lnTo>
                  <a:lnTo>
                    <a:pt x="43" y="127"/>
                  </a:lnTo>
                  <a:lnTo>
                    <a:pt x="43" y="126"/>
                  </a:lnTo>
                  <a:lnTo>
                    <a:pt x="44" y="126"/>
                  </a:lnTo>
                  <a:lnTo>
                    <a:pt x="47" y="126"/>
                  </a:lnTo>
                  <a:lnTo>
                    <a:pt x="48" y="126"/>
                  </a:lnTo>
                  <a:lnTo>
                    <a:pt x="48" y="125"/>
                  </a:lnTo>
                  <a:lnTo>
                    <a:pt x="48" y="124"/>
                  </a:lnTo>
                  <a:lnTo>
                    <a:pt x="47" y="123"/>
                  </a:lnTo>
                  <a:lnTo>
                    <a:pt x="47" y="121"/>
                  </a:lnTo>
                  <a:lnTo>
                    <a:pt x="44" y="123"/>
                  </a:lnTo>
                  <a:lnTo>
                    <a:pt x="46" y="121"/>
                  </a:lnTo>
                  <a:lnTo>
                    <a:pt x="47" y="119"/>
                  </a:lnTo>
                  <a:lnTo>
                    <a:pt x="49" y="119"/>
                  </a:lnTo>
                  <a:lnTo>
                    <a:pt x="50" y="120"/>
                  </a:lnTo>
                  <a:lnTo>
                    <a:pt x="52" y="119"/>
                  </a:lnTo>
                  <a:lnTo>
                    <a:pt x="53" y="118"/>
                  </a:lnTo>
                  <a:lnTo>
                    <a:pt x="54" y="117"/>
                  </a:lnTo>
                  <a:lnTo>
                    <a:pt x="56" y="117"/>
                  </a:lnTo>
                  <a:lnTo>
                    <a:pt x="56" y="114"/>
                  </a:lnTo>
                  <a:lnTo>
                    <a:pt x="54" y="113"/>
                  </a:lnTo>
                  <a:lnTo>
                    <a:pt x="54" y="112"/>
                  </a:lnTo>
                  <a:lnTo>
                    <a:pt x="56" y="113"/>
                  </a:lnTo>
                  <a:lnTo>
                    <a:pt x="58" y="112"/>
                  </a:lnTo>
                  <a:lnTo>
                    <a:pt x="58" y="111"/>
                  </a:lnTo>
                  <a:lnTo>
                    <a:pt x="60" y="111"/>
                  </a:lnTo>
                  <a:lnTo>
                    <a:pt x="62" y="109"/>
                  </a:lnTo>
                  <a:lnTo>
                    <a:pt x="64" y="109"/>
                  </a:lnTo>
                  <a:lnTo>
                    <a:pt x="65" y="108"/>
                  </a:lnTo>
                  <a:lnTo>
                    <a:pt x="64" y="106"/>
                  </a:lnTo>
                  <a:lnTo>
                    <a:pt x="64" y="105"/>
                  </a:lnTo>
                  <a:lnTo>
                    <a:pt x="61" y="107"/>
                  </a:lnTo>
                  <a:lnTo>
                    <a:pt x="59" y="108"/>
                  </a:lnTo>
                  <a:lnTo>
                    <a:pt x="60" y="107"/>
                  </a:lnTo>
                  <a:lnTo>
                    <a:pt x="62" y="103"/>
                  </a:lnTo>
                  <a:lnTo>
                    <a:pt x="64" y="103"/>
                  </a:lnTo>
                  <a:lnTo>
                    <a:pt x="62" y="102"/>
                  </a:lnTo>
                  <a:lnTo>
                    <a:pt x="62" y="101"/>
                  </a:lnTo>
                  <a:lnTo>
                    <a:pt x="62" y="100"/>
                  </a:lnTo>
                  <a:lnTo>
                    <a:pt x="60" y="101"/>
                  </a:lnTo>
                  <a:lnTo>
                    <a:pt x="58" y="102"/>
                  </a:lnTo>
                  <a:lnTo>
                    <a:pt x="54" y="103"/>
                  </a:lnTo>
                  <a:lnTo>
                    <a:pt x="55" y="101"/>
                  </a:lnTo>
                  <a:lnTo>
                    <a:pt x="56" y="99"/>
                  </a:lnTo>
                  <a:lnTo>
                    <a:pt x="58" y="97"/>
                  </a:lnTo>
                  <a:lnTo>
                    <a:pt x="60" y="96"/>
                  </a:lnTo>
                  <a:lnTo>
                    <a:pt x="62" y="97"/>
                  </a:lnTo>
                  <a:lnTo>
                    <a:pt x="62" y="96"/>
                  </a:lnTo>
                  <a:lnTo>
                    <a:pt x="55" y="95"/>
                  </a:lnTo>
                  <a:lnTo>
                    <a:pt x="54" y="94"/>
                  </a:lnTo>
                  <a:lnTo>
                    <a:pt x="56" y="94"/>
                  </a:lnTo>
                  <a:lnTo>
                    <a:pt x="58" y="93"/>
                  </a:lnTo>
                  <a:lnTo>
                    <a:pt x="60" y="93"/>
                  </a:lnTo>
                  <a:lnTo>
                    <a:pt x="62" y="93"/>
                  </a:lnTo>
                  <a:lnTo>
                    <a:pt x="65" y="94"/>
                  </a:lnTo>
                  <a:lnTo>
                    <a:pt x="65" y="93"/>
                  </a:lnTo>
                  <a:lnTo>
                    <a:pt x="66" y="93"/>
                  </a:lnTo>
                  <a:lnTo>
                    <a:pt x="67" y="91"/>
                  </a:lnTo>
                  <a:lnTo>
                    <a:pt x="64" y="90"/>
                  </a:lnTo>
                  <a:lnTo>
                    <a:pt x="64" y="88"/>
                  </a:lnTo>
                  <a:lnTo>
                    <a:pt x="62" y="87"/>
                  </a:lnTo>
                  <a:lnTo>
                    <a:pt x="62" y="85"/>
                  </a:lnTo>
                  <a:lnTo>
                    <a:pt x="62" y="84"/>
                  </a:lnTo>
                  <a:lnTo>
                    <a:pt x="62" y="83"/>
                  </a:lnTo>
                  <a:lnTo>
                    <a:pt x="64" y="83"/>
                  </a:lnTo>
                  <a:lnTo>
                    <a:pt x="65" y="83"/>
                  </a:lnTo>
                  <a:lnTo>
                    <a:pt x="66" y="85"/>
                  </a:lnTo>
                  <a:lnTo>
                    <a:pt x="67" y="85"/>
                  </a:lnTo>
                  <a:lnTo>
                    <a:pt x="67" y="88"/>
                  </a:lnTo>
                  <a:lnTo>
                    <a:pt x="67" y="90"/>
                  </a:lnTo>
                  <a:lnTo>
                    <a:pt x="68" y="93"/>
                  </a:lnTo>
                  <a:lnTo>
                    <a:pt x="70" y="94"/>
                  </a:lnTo>
                  <a:lnTo>
                    <a:pt x="72" y="95"/>
                  </a:lnTo>
                  <a:lnTo>
                    <a:pt x="73" y="95"/>
                  </a:lnTo>
                  <a:lnTo>
                    <a:pt x="76" y="94"/>
                  </a:lnTo>
                  <a:lnTo>
                    <a:pt x="77" y="93"/>
                  </a:lnTo>
                  <a:lnTo>
                    <a:pt x="78" y="93"/>
                  </a:lnTo>
                  <a:lnTo>
                    <a:pt x="79" y="93"/>
                  </a:lnTo>
                  <a:lnTo>
                    <a:pt x="80" y="91"/>
                  </a:lnTo>
                  <a:lnTo>
                    <a:pt x="82" y="90"/>
                  </a:lnTo>
                  <a:lnTo>
                    <a:pt x="83" y="89"/>
                  </a:lnTo>
                  <a:lnTo>
                    <a:pt x="83" y="88"/>
                  </a:lnTo>
                  <a:lnTo>
                    <a:pt x="83" y="87"/>
                  </a:lnTo>
                  <a:lnTo>
                    <a:pt x="83" y="85"/>
                  </a:lnTo>
                  <a:lnTo>
                    <a:pt x="82" y="84"/>
                  </a:lnTo>
                  <a:lnTo>
                    <a:pt x="82" y="83"/>
                  </a:lnTo>
                  <a:lnTo>
                    <a:pt x="83" y="84"/>
                  </a:lnTo>
                  <a:lnTo>
                    <a:pt x="84" y="84"/>
                  </a:lnTo>
                  <a:lnTo>
                    <a:pt x="84" y="83"/>
                  </a:lnTo>
                  <a:lnTo>
                    <a:pt x="85" y="83"/>
                  </a:lnTo>
                  <a:lnTo>
                    <a:pt x="86" y="81"/>
                  </a:lnTo>
                  <a:lnTo>
                    <a:pt x="85" y="77"/>
                  </a:lnTo>
                  <a:lnTo>
                    <a:pt x="85" y="78"/>
                  </a:lnTo>
                  <a:lnTo>
                    <a:pt x="84" y="77"/>
                  </a:lnTo>
                  <a:lnTo>
                    <a:pt x="83" y="78"/>
                  </a:lnTo>
                  <a:lnTo>
                    <a:pt x="82" y="77"/>
                  </a:lnTo>
                  <a:lnTo>
                    <a:pt x="82" y="76"/>
                  </a:lnTo>
                  <a:lnTo>
                    <a:pt x="83" y="76"/>
                  </a:lnTo>
                  <a:lnTo>
                    <a:pt x="84" y="77"/>
                  </a:lnTo>
                  <a:lnTo>
                    <a:pt x="84" y="75"/>
                  </a:lnTo>
                  <a:lnTo>
                    <a:pt x="84" y="73"/>
                  </a:lnTo>
                  <a:lnTo>
                    <a:pt x="84" y="72"/>
                  </a:lnTo>
                  <a:lnTo>
                    <a:pt x="85" y="71"/>
                  </a:lnTo>
                  <a:lnTo>
                    <a:pt x="86" y="71"/>
                  </a:lnTo>
                  <a:lnTo>
                    <a:pt x="86" y="73"/>
                  </a:lnTo>
                  <a:lnTo>
                    <a:pt x="88" y="73"/>
                  </a:lnTo>
                  <a:lnTo>
                    <a:pt x="89" y="75"/>
                  </a:lnTo>
                  <a:lnTo>
                    <a:pt x="86" y="75"/>
                  </a:lnTo>
                  <a:lnTo>
                    <a:pt x="86" y="76"/>
                  </a:lnTo>
                  <a:lnTo>
                    <a:pt x="86" y="78"/>
                  </a:lnTo>
                  <a:lnTo>
                    <a:pt x="86" y="79"/>
                  </a:lnTo>
                  <a:lnTo>
                    <a:pt x="88" y="79"/>
                  </a:lnTo>
                  <a:lnTo>
                    <a:pt x="88" y="78"/>
                  </a:lnTo>
                  <a:lnTo>
                    <a:pt x="88" y="77"/>
                  </a:lnTo>
                  <a:lnTo>
                    <a:pt x="88" y="76"/>
                  </a:lnTo>
                  <a:lnTo>
                    <a:pt x="89" y="76"/>
                  </a:lnTo>
                  <a:lnTo>
                    <a:pt x="90" y="76"/>
                  </a:lnTo>
                  <a:lnTo>
                    <a:pt x="89" y="78"/>
                  </a:lnTo>
                  <a:lnTo>
                    <a:pt x="90" y="79"/>
                  </a:lnTo>
                  <a:lnTo>
                    <a:pt x="91" y="82"/>
                  </a:lnTo>
                  <a:lnTo>
                    <a:pt x="89" y="83"/>
                  </a:lnTo>
                  <a:lnTo>
                    <a:pt x="90" y="83"/>
                  </a:lnTo>
                  <a:lnTo>
                    <a:pt x="91" y="83"/>
                  </a:lnTo>
                  <a:lnTo>
                    <a:pt x="92" y="82"/>
                  </a:lnTo>
                  <a:lnTo>
                    <a:pt x="94" y="82"/>
                  </a:lnTo>
                  <a:lnTo>
                    <a:pt x="95" y="81"/>
                  </a:lnTo>
                  <a:lnTo>
                    <a:pt x="94" y="79"/>
                  </a:lnTo>
                  <a:lnTo>
                    <a:pt x="91" y="79"/>
                  </a:lnTo>
                  <a:lnTo>
                    <a:pt x="91" y="77"/>
                  </a:lnTo>
                  <a:lnTo>
                    <a:pt x="90" y="75"/>
                  </a:lnTo>
                  <a:lnTo>
                    <a:pt x="91" y="75"/>
                  </a:lnTo>
                  <a:lnTo>
                    <a:pt x="92" y="75"/>
                  </a:lnTo>
                  <a:lnTo>
                    <a:pt x="94" y="75"/>
                  </a:lnTo>
                  <a:lnTo>
                    <a:pt x="94" y="76"/>
                  </a:lnTo>
                  <a:lnTo>
                    <a:pt x="95" y="75"/>
                  </a:lnTo>
                  <a:lnTo>
                    <a:pt x="96" y="75"/>
                  </a:lnTo>
                  <a:lnTo>
                    <a:pt x="97" y="75"/>
                  </a:lnTo>
                  <a:lnTo>
                    <a:pt x="97" y="76"/>
                  </a:lnTo>
                  <a:lnTo>
                    <a:pt x="97" y="78"/>
                  </a:lnTo>
                  <a:lnTo>
                    <a:pt x="98" y="78"/>
                  </a:lnTo>
                  <a:lnTo>
                    <a:pt x="100" y="77"/>
                  </a:lnTo>
                  <a:lnTo>
                    <a:pt x="98" y="79"/>
                  </a:lnTo>
                  <a:lnTo>
                    <a:pt x="100" y="81"/>
                  </a:lnTo>
                  <a:lnTo>
                    <a:pt x="101" y="78"/>
                  </a:lnTo>
                  <a:lnTo>
                    <a:pt x="101" y="79"/>
                  </a:lnTo>
                  <a:lnTo>
                    <a:pt x="102" y="79"/>
                  </a:lnTo>
                  <a:lnTo>
                    <a:pt x="103" y="77"/>
                  </a:lnTo>
                  <a:lnTo>
                    <a:pt x="102" y="78"/>
                  </a:lnTo>
                  <a:lnTo>
                    <a:pt x="102" y="77"/>
                  </a:lnTo>
                  <a:lnTo>
                    <a:pt x="101" y="77"/>
                  </a:lnTo>
                  <a:lnTo>
                    <a:pt x="101" y="76"/>
                  </a:lnTo>
                  <a:lnTo>
                    <a:pt x="102" y="76"/>
                  </a:lnTo>
                  <a:lnTo>
                    <a:pt x="102" y="75"/>
                  </a:lnTo>
                  <a:lnTo>
                    <a:pt x="103" y="75"/>
                  </a:lnTo>
                  <a:lnTo>
                    <a:pt x="105" y="75"/>
                  </a:lnTo>
                  <a:lnTo>
                    <a:pt x="105" y="76"/>
                  </a:lnTo>
                  <a:lnTo>
                    <a:pt x="106" y="75"/>
                  </a:lnTo>
                  <a:lnTo>
                    <a:pt x="106" y="73"/>
                  </a:lnTo>
                  <a:lnTo>
                    <a:pt x="107" y="69"/>
                  </a:lnTo>
                  <a:lnTo>
                    <a:pt x="107" y="71"/>
                  </a:lnTo>
                  <a:lnTo>
                    <a:pt x="107" y="72"/>
                  </a:lnTo>
                  <a:lnTo>
                    <a:pt x="109" y="72"/>
                  </a:lnTo>
                  <a:lnTo>
                    <a:pt x="109" y="73"/>
                  </a:lnTo>
                  <a:lnTo>
                    <a:pt x="108" y="75"/>
                  </a:lnTo>
                  <a:lnTo>
                    <a:pt x="108" y="77"/>
                  </a:lnTo>
                  <a:lnTo>
                    <a:pt x="109" y="78"/>
                  </a:lnTo>
                  <a:lnTo>
                    <a:pt x="109" y="77"/>
                  </a:lnTo>
                  <a:lnTo>
                    <a:pt x="112" y="78"/>
                  </a:lnTo>
                  <a:lnTo>
                    <a:pt x="112" y="81"/>
                  </a:lnTo>
                  <a:lnTo>
                    <a:pt x="114" y="79"/>
                  </a:lnTo>
                  <a:lnTo>
                    <a:pt x="114" y="81"/>
                  </a:lnTo>
                  <a:lnTo>
                    <a:pt x="115" y="81"/>
                  </a:lnTo>
                  <a:lnTo>
                    <a:pt x="117" y="82"/>
                  </a:lnTo>
                  <a:lnTo>
                    <a:pt x="118" y="83"/>
                  </a:lnTo>
                  <a:lnTo>
                    <a:pt x="119" y="85"/>
                  </a:lnTo>
                  <a:lnTo>
                    <a:pt x="119" y="87"/>
                  </a:lnTo>
                  <a:lnTo>
                    <a:pt x="115" y="84"/>
                  </a:lnTo>
                  <a:lnTo>
                    <a:pt x="112" y="82"/>
                  </a:lnTo>
                  <a:lnTo>
                    <a:pt x="111" y="81"/>
                  </a:lnTo>
                  <a:lnTo>
                    <a:pt x="111" y="82"/>
                  </a:lnTo>
                  <a:lnTo>
                    <a:pt x="112" y="83"/>
                  </a:lnTo>
                  <a:lnTo>
                    <a:pt x="113" y="85"/>
                  </a:lnTo>
                  <a:lnTo>
                    <a:pt x="114" y="87"/>
                  </a:lnTo>
                  <a:lnTo>
                    <a:pt x="115" y="88"/>
                  </a:lnTo>
                  <a:lnTo>
                    <a:pt x="114" y="88"/>
                  </a:lnTo>
                  <a:lnTo>
                    <a:pt x="115" y="93"/>
                  </a:lnTo>
                  <a:lnTo>
                    <a:pt x="117" y="95"/>
                  </a:lnTo>
                  <a:lnTo>
                    <a:pt x="118" y="95"/>
                  </a:lnTo>
                  <a:lnTo>
                    <a:pt x="118" y="96"/>
                  </a:lnTo>
                  <a:lnTo>
                    <a:pt x="119" y="96"/>
                  </a:lnTo>
                  <a:lnTo>
                    <a:pt x="119" y="97"/>
                  </a:lnTo>
                  <a:lnTo>
                    <a:pt x="120" y="96"/>
                  </a:lnTo>
                  <a:lnTo>
                    <a:pt x="120" y="100"/>
                  </a:lnTo>
                  <a:lnTo>
                    <a:pt x="120" y="101"/>
                  </a:lnTo>
                  <a:lnTo>
                    <a:pt x="121" y="101"/>
                  </a:lnTo>
                  <a:lnTo>
                    <a:pt x="123" y="101"/>
                  </a:lnTo>
                  <a:lnTo>
                    <a:pt x="123" y="100"/>
                  </a:lnTo>
                  <a:lnTo>
                    <a:pt x="124" y="99"/>
                  </a:lnTo>
                  <a:lnTo>
                    <a:pt x="125" y="97"/>
                  </a:lnTo>
                  <a:lnTo>
                    <a:pt x="127" y="96"/>
                  </a:lnTo>
                  <a:lnTo>
                    <a:pt x="125" y="96"/>
                  </a:lnTo>
                  <a:lnTo>
                    <a:pt x="123" y="97"/>
                  </a:lnTo>
                  <a:lnTo>
                    <a:pt x="121" y="96"/>
                  </a:lnTo>
                  <a:lnTo>
                    <a:pt x="121" y="95"/>
                  </a:lnTo>
                  <a:lnTo>
                    <a:pt x="123" y="94"/>
                  </a:lnTo>
                  <a:lnTo>
                    <a:pt x="123" y="93"/>
                  </a:lnTo>
                  <a:lnTo>
                    <a:pt x="124" y="93"/>
                  </a:lnTo>
                  <a:lnTo>
                    <a:pt x="125" y="91"/>
                  </a:lnTo>
                  <a:lnTo>
                    <a:pt x="126" y="91"/>
                  </a:lnTo>
                  <a:lnTo>
                    <a:pt x="127" y="90"/>
                  </a:lnTo>
                  <a:lnTo>
                    <a:pt x="126" y="89"/>
                  </a:lnTo>
                  <a:lnTo>
                    <a:pt x="126" y="88"/>
                  </a:lnTo>
                  <a:lnTo>
                    <a:pt x="123" y="90"/>
                  </a:lnTo>
                  <a:lnTo>
                    <a:pt x="121" y="90"/>
                  </a:lnTo>
                  <a:lnTo>
                    <a:pt x="123" y="89"/>
                  </a:lnTo>
                  <a:lnTo>
                    <a:pt x="121" y="89"/>
                  </a:lnTo>
                  <a:lnTo>
                    <a:pt x="121" y="88"/>
                  </a:lnTo>
                  <a:lnTo>
                    <a:pt x="121" y="85"/>
                  </a:lnTo>
                  <a:lnTo>
                    <a:pt x="121" y="84"/>
                  </a:lnTo>
                  <a:lnTo>
                    <a:pt x="119" y="81"/>
                  </a:lnTo>
                  <a:lnTo>
                    <a:pt x="121" y="82"/>
                  </a:lnTo>
                  <a:lnTo>
                    <a:pt x="123" y="82"/>
                  </a:lnTo>
                  <a:lnTo>
                    <a:pt x="125" y="82"/>
                  </a:lnTo>
                  <a:lnTo>
                    <a:pt x="126" y="82"/>
                  </a:lnTo>
                  <a:lnTo>
                    <a:pt x="127" y="79"/>
                  </a:lnTo>
                  <a:lnTo>
                    <a:pt x="126" y="78"/>
                  </a:lnTo>
                  <a:lnTo>
                    <a:pt x="125" y="79"/>
                  </a:lnTo>
                  <a:lnTo>
                    <a:pt x="124" y="79"/>
                  </a:lnTo>
                  <a:lnTo>
                    <a:pt x="123" y="77"/>
                  </a:lnTo>
                  <a:lnTo>
                    <a:pt x="123" y="76"/>
                  </a:lnTo>
                  <a:lnTo>
                    <a:pt x="125" y="76"/>
                  </a:lnTo>
                  <a:lnTo>
                    <a:pt x="127" y="77"/>
                  </a:lnTo>
                  <a:lnTo>
                    <a:pt x="127" y="76"/>
                  </a:lnTo>
                  <a:lnTo>
                    <a:pt x="129" y="76"/>
                  </a:lnTo>
                  <a:lnTo>
                    <a:pt x="130" y="75"/>
                  </a:lnTo>
                  <a:lnTo>
                    <a:pt x="130" y="73"/>
                  </a:lnTo>
                  <a:lnTo>
                    <a:pt x="131" y="76"/>
                  </a:lnTo>
                  <a:lnTo>
                    <a:pt x="131" y="78"/>
                  </a:lnTo>
                  <a:lnTo>
                    <a:pt x="132" y="77"/>
                  </a:lnTo>
                  <a:lnTo>
                    <a:pt x="132" y="78"/>
                  </a:lnTo>
                  <a:lnTo>
                    <a:pt x="133" y="79"/>
                  </a:lnTo>
                  <a:lnTo>
                    <a:pt x="135" y="81"/>
                  </a:lnTo>
                  <a:lnTo>
                    <a:pt x="136" y="82"/>
                  </a:lnTo>
                  <a:lnTo>
                    <a:pt x="137" y="85"/>
                  </a:lnTo>
                  <a:lnTo>
                    <a:pt x="137" y="87"/>
                  </a:lnTo>
                  <a:lnTo>
                    <a:pt x="138" y="88"/>
                  </a:lnTo>
                  <a:lnTo>
                    <a:pt x="138" y="87"/>
                  </a:lnTo>
                  <a:lnTo>
                    <a:pt x="139" y="88"/>
                  </a:lnTo>
                  <a:lnTo>
                    <a:pt x="141" y="87"/>
                  </a:lnTo>
                  <a:lnTo>
                    <a:pt x="142" y="87"/>
                  </a:lnTo>
                  <a:lnTo>
                    <a:pt x="142" y="84"/>
                  </a:lnTo>
                  <a:lnTo>
                    <a:pt x="144" y="85"/>
                  </a:lnTo>
                  <a:lnTo>
                    <a:pt x="145" y="87"/>
                  </a:lnTo>
                  <a:lnTo>
                    <a:pt x="147" y="89"/>
                  </a:lnTo>
                  <a:lnTo>
                    <a:pt x="148" y="89"/>
                  </a:lnTo>
                  <a:lnTo>
                    <a:pt x="149" y="91"/>
                  </a:lnTo>
                  <a:lnTo>
                    <a:pt x="150" y="91"/>
                  </a:lnTo>
                  <a:lnTo>
                    <a:pt x="153" y="90"/>
                  </a:lnTo>
                  <a:lnTo>
                    <a:pt x="150" y="90"/>
                  </a:lnTo>
                  <a:lnTo>
                    <a:pt x="151" y="89"/>
                  </a:lnTo>
                  <a:lnTo>
                    <a:pt x="151" y="88"/>
                  </a:lnTo>
                  <a:lnTo>
                    <a:pt x="153" y="88"/>
                  </a:lnTo>
                  <a:lnTo>
                    <a:pt x="154" y="87"/>
                  </a:lnTo>
                  <a:lnTo>
                    <a:pt x="154" y="85"/>
                  </a:lnTo>
                  <a:lnTo>
                    <a:pt x="156" y="85"/>
                  </a:lnTo>
                  <a:lnTo>
                    <a:pt x="156" y="87"/>
                  </a:lnTo>
                  <a:lnTo>
                    <a:pt x="159" y="87"/>
                  </a:lnTo>
                  <a:lnTo>
                    <a:pt x="160" y="88"/>
                  </a:lnTo>
                  <a:lnTo>
                    <a:pt x="160" y="89"/>
                  </a:lnTo>
                  <a:lnTo>
                    <a:pt x="160" y="88"/>
                  </a:lnTo>
                  <a:lnTo>
                    <a:pt x="161" y="88"/>
                  </a:lnTo>
                  <a:lnTo>
                    <a:pt x="161" y="87"/>
                  </a:lnTo>
                  <a:lnTo>
                    <a:pt x="162" y="87"/>
                  </a:lnTo>
                  <a:lnTo>
                    <a:pt x="164" y="88"/>
                  </a:lnTo>
                  <a:lnTo>
                    <a:pt x="165" y="87"/>
                  </a:lnTo>
                  <a:lnTo>
                    <a:pt x="162" y="87"/>
                  </a:lnTo>
                  <a:lnTo>
                    <a:pt x="161" y="85"/>
                  </a:lnTo>
                  <a:lnTo>
                    <a:pt x="161" y="83"/>
                  </a:lnTo>
                  <a:lnTo>
                    <a:pt x="162" y="84"/>
                  </a:lnTo>
                  <a:lnTo>
                    <a:pt x="164" y="83"/>
                  </a:lnTo>
                  <a:lnTo>
                    <a:pt x="165" y="82"/>
                  </a:lnTo>
                  <a:lnTo>
                    <a:pt x="165" y="81"/>
                  </a:lnTo>
                  <a:lnTo>
                    <a:pt x="166" y="82"/>
                  </a:lnTo>
                  <a:lnTo>
                    <a:pt x="167" y="82"/>
                  </a:lnTo>
                  <a:lnTo>
                    <a:pt x="168" y="83"/>
                  </a:lnTo>
                  <a:lnTo>
                    <a:pt x="170" y="83"/>
                  </a:lnTo>
                  <a:lnTo>
                    <a:pt x="171" y="82"/>
                  </a:lnTo>
                  <a:lnTo>
                    <a:pt x="170" y="81"/>
                  </a:lnTo>
                  <a:lnTo>
                    <a:pt x="170" y="79"/>
                  </a:lnTo>
                  <a:lnTo>
                    <a:pt x="172" y="78"/>
                  </a:lnTo>
                  <a:lnTo>
                    <a:pt x="172" y="77"/>
                  </a:lnTo>
                  <a:lnTo>
                    <a:pt x="173" y="77"/>
                  </a:lnTo>
                  <a:lnTo>
                    <a:pt x="171" y="77"/>
                  </a:lnTo>
                  <a:lnTo>
                    <a:pt x="168" y="78"/>
                  </a:lnTo>
                  <a:lnTo>
                    <a:pt x="168" y="77"/>
                  </a:lnTo>
                  <a:lnTo>
                    <a:pt x="170" y="75"/>
                  </a:lnTo>
                  <a:lnTo>
                    <a:pt x="171" y="73"/>
                  </a:lnTo>
                  <a:lnTo>
                    <a:pt x="172" y="73"/>
                  </a:lnTo>
                  <a:lnTo>
                    <a:pt x="172" y="71"/>
                  </a:lnTo>
                  <a:lnTo>
                    <a:pt x="173" y="71"/>
                  </a:lnTo>
                  <a:lnTo>
                    <a:pt x="174" y="70"/>
                  </a:lnTo>
                  <a:lnTo>
                    <a:pt x="178" y="71"/>
                  </a:lnTo>
                  <a:lnTo>
                    <a:pt x="179" y="70"/>
                  </a:lnTo>
                  <a:lnTo>
                    <a:pt x="180" y="70"/>
                  </a:lnTo>
                  <a:lnTo>
                    <a:pt x="179" y="66"/>
                  </a:lnTo>
                  <a:lnTo>
                    <a:pt x="178" y="67"/>
                  </a:lnTo>
                  <a:lnTo>
                    <a:pt x="178" y="69"/>
                  </a:lnTo>
                  <a:lnTo>
                    <a:pt x="178" y="66"/>
                  </a:lnTo>
                  <a:lnTo>
                    <a:pt x="178" y="65"/>
                  </a:lnTo>
                  <a:lnTo>
                    <a:pt x="176" y="65"/>
                  </a:lnTo>
                  <a:lnTo>
                    <a:pt x="172" y="65"/>
                  </a:lnTo>
                  <a:lnTo>
                    <a:pt x="170" y="65"/>
                  </a:lnTo>
                  <a:lnTo>
                    <a:pt x="171" y="64"/>
                  </a:lnTo>
                  <a:lnTo>
                    <a:pt x="172" y="64"/>
                  </a:lnTo>
                  <a:lnTo>
                    <a:pt x="174" y="63"/>
                  </a:lnTo>
                  <a:lnTo>
                    <a:pt x="176" y="64"/>
                  </a:lnTo>
                  <a:lnTo>
                    <a:pt x="178" y="65"/>
                  </a:lnTo>
                  <a:lnTo>
                    <a:pt x="179" y="65"/>
                  </a:lnTo>
                  <a:lnTo>
                    <a:pt x="177" y="59"/>
                  </a:lnTo>
                  <a:lnTo>
                    <a:pt x="174" y="55"/>
                  </a:lnTo>
                  <a:lnTo>
                    <a:pt x="174" y="57"/>
                  </a:lnTo>
                  <a:lnTo>
                    <a:pt x="172" y="57"/>
                  </a:lnTo>
                  <a:lnTo>
                    <a:pt x="172" y="58"/>
                  </a:lnTo>
                  <a:lnTo>
                    <a:pt x="172" y="55"/>
                  </a:lnTo>
                  <a:lnTo>
                    <a:pt x="172" y="54"/>
                  </a:lnTo>
                  <a:lnTo>
                    <a:pt x="173" y="54"/>
                  </a:lnTo>
                  <a:lnTo>
                    <a:pt x="173" y="53"/>
                  </a:lnTo>
                  <a:lnTo>
                    <a:pt x="171" y="53"/>
                  </a:lnTo>
                  <a:lnTo>
                    <a:pt x="170" y="54"/>
                  </a:lnTo>
                  <a:lnTo>
                    <a:pt x="168" y="55"/>
                  </a:lnTo>
                  <a:lnTo>
                    <a:pt x="168" y="53"/>
                  </a:lnTo>
                  <a:lnTo>
                    <a:pt x="168" y="52"/>
                  </a:lnTo>
                  <a:lnTo>
                    <a:pt x="170" y="51"/>
                  </a:lnTo>
                  <a:lnTo>
                    <a:pt x="171" y="51"/>
                  </a:lnTo>
                  <a:lnTo>
                    <a:pt x="173" y="52"/>
                  </a:lnTo>
                  <a:lnTo>
                    <a:pt x="171" y="48"/>
                  </a:lnTo>
                  <a:lnTo>
                    <a:pt x="168" y="48"/>
                  </a:lnTo>
                  <a:lnTo>
                    <a:pt x="165" y="51"/>
                  </a:lnTo>
                  <a:lnTo>
                    <a:pt x="165" y="52"/>
                  </a:lnTo>
                  <a:lnTo>
                    <a:pt x="164" y="53"/>
                  </a:lnTo>
                  <a:lnTo>
                    <a:pt x="164" y="52"/>
                  </a:lnTo>
                  <a:lnTo>
                    <a:pt x="162" y="51"/>
                  </a:lnTo>
                  <a:lnTo>
                    <a:pt x="162" y="48"/>
                  </a:lnTo>
                  <a:lnTo>
                    <a:pt x="164" y="47"/>
                  </a:lnTo>
                  <a:lnTo>
                    <a:pt x="165" y="48"/>
                  </a:lnTo>
                  <a:lnTo>
                    <a:pt x="168" y="48"/>
                  </a:lnTo>
                  <a:lnTo>
                    <a:pt x="170" y="47"/>
                  </a:lnTo>
                  <a:lnTo>
                    <a:pt x="167" y="47"/>
                  </a:lnTo>
                  <a:lnTo>
                    <a:pt x="166" y="47"/>
                  </a:lnTo>
                  <a:lnTo>
                    <a:pt x="166" y="46"/>
                  </a:lnTo>
                  <a:lnTo>
                    <a:pt x="167" y="46"/>
                  </a:lnTo>
                  <a:lnTo>
                    <a:pt x="168" y="45"/>
                  </a:lnTo>
                  <a:lnTo>
                    <a:pt x="166" y="45"/>
                  </a:lnTo>
                  <a:lnTo>
                    <a:pt x="165" y="46"/>
                  </a:lnTo>
                  <a:lnTo>
                    <a:pt x="164" y="46"/>
                  </a:lnTo>
                  <a:lnTo>
                    <a:pt x="164" y="45"/>
                  </a:lnTo>
                  <a:lnTo>
                    <a:pt x="165" y="45"/>
                  </a:lnTo>
                  <a:lnTo>
                    <a:pt x="167" y="45"/>
                  </a:lnTo>
                  <a:lnTo>
                    <a:pt x="166" y="43"/>
                  </a:lnTo>
                  <a:lnTo>
                    <a:pt x="165" y="43"/>
                  </a:lnTo>
                  <a:lnTo>
                    <a:pt x="162" y="45"/>
                  </a:lnTo>
                  <a:lnTo>
                    <a:pt x="161" y="42"/>
                  </a:lnTo>
                  <a:lnTo>
                    <a:pt x="164" y="41"/>
                  </a:lnTo>
                  <a:lnTo>
                    <a:pt x="165" y="43"/>
                  </a:lnTo>
                  <a:lnTo>
                    <a:pt x="166" y="42"/>
                  </a:lnTo>
                  <a:lnTo>
                    <a:pt x="164" y="41"/>
                  </a:lnTo>
                  <a:lnTo>
                    <a:pt x="162" y="41"/>
                  </a:lnTo>
                  <a:lnTo>
                    <a:pt x="161" y="40"/>
                  </a:lnTo>
                  <a:lnTo>
                    <a:pt x="157" y="39"/>
                  </a:lnTo>
                  <a:lnTo>
                    <a:pt x="160" y="39"/>
                  </a:lnTo>
                  <a:lnTo>
                    <a:pt x="162" y="40"/>
                  </a:lnTo>
                  <a:lnTo>
                    <a:pt x="165" y="40"/>
                  </a:lnTo>
                  <a:lnTo>
                    <a:pt x="167" y="42"/>
                  </a:lnTo>
                  <a:lnTo>
                    <a:pt x="168" y="41"/>
                  </a:lnTo>
                  <a:lnTo>
                    <a:pt x="167" y="39"/>
                  </a:lnTo>
                  <a:lnTo>
                    <a:pt x="166" y="39"/>
                  </a:lnTo>
                  <a:lnTo>
                    <a:pt x="162" y="37"/>
                  </a:lnTo>
                  <a:lnTo>
                    <a:pt x="161" y="36"/>
                  </a:lnTo>
                  <a:lnTo>
                    <a:pt x="167" y="37"/>
                  </a:lnTo>
                  <a:lnTo>
                    <a:pt x="167" y="39"/>
                  </a:lnTo>
                  <a:lnTo>
                    <a:pt x="168" y="40"/>
                  </a:lnTo>
                  <a:lnTo>
                    <a:pt x="170" y="39"/>
                  </a:lnTo>
                  <a:lnTo>
                    <a:pt x="171" y="37"/>
                  </a:lnTo>
                  <a:lnTo>
                    <a:pt x="171" y="36"/>
                  </a:lnTo>
                  <a:lnTo>
                    <a:pt x="172" y="35"/>
                  </a:lnTo>
                  <a:lnTo>
                    <a:pt x="174" y="35"/>
                  </a:lnTo>
                  <a:lnTo>
                    <a:pt x="176" y="35"/>
                  </a:lnTo>
                  <a:lnTo>
                    <a:pt x="177" y="35"/>
                  </a:lnTo>
                  <a:lnTo>
                    <a:pt x="176" y="37"/>
                  </a:lnTo>
                  <a:lnTo>
                    <a:pt x="172" y="37"/>
                  </a:lnTo>
                  <a:lnTo>
                    <a:pt x="171" y="39"/>
                  </a:lnTo>
                  <a:lnTo>
                    <a:pt x="171" y="41"/>
                  </a:lnTo>
                  <a:lnTo>
                    <a:pt x="170" y="41"/>
                  </a:lnTo>
                  <a:lnTo>
                    <a:pt x="172" y="42"/>
                  </a:lnTo>
                  <a:lnTo>
                    <a:pt x="171" y="43"/>
                  </a:lnTo>
                  <a:lnTo>
                    <a:pt x="171" y="46"/>
                  </a:lnTo>
                  <a:lnTo>
                    <a:pt x="172" y="46"/>
                  </a:lnTo>
                  <a:lnTo>
                    <a:pt x="172" y="47"/>
                  </a:lnTo>
                  <a:lnTo>
                    <a:pt x="172" y="49"/>
                  </a:lnTo>
                  <a:lnTo>
                    <a:pt x="174" y="54"/>
                  </a:lnTo>
                  <a:lnTo>
                    <a:pt x="179" y="64"/>
                  </a:lnTo>
                  <a:lnTo>
                    <a:pt x="180" y="64"/>
                  </a:lnTo>
                  <a:lnTo>
                    <a:pt x="182" y="63"/>
                  </a:lnTo>
                  <a:lnTo>
                    <a:pt x="182" y="60"/>
                  </a:lnTo>
                  <a:lnTo>
                    <a:pt x="182" y="59"/>
                  </a:lnTo>
                  <a:lnTo>
                    <a:pt x="183" y="59"/>
                  </a:lnTo>
                  <a:lnTo>
                    <a:pt x="184" y="60"/>
                  </a:lnTo>
                  <a:lnTo>
                    <a:pt x="185" y="60"/>
                  </a:lnTo>
                  <a:lnTo>
                    <a:pt x="184" y="58"/>
                  </a:lnTo>
                  <a:lnTo>
                    <a:pt x="185" y="58"/>
                  </a:lnTo>
                  <a:lnTo>
                    <a:pt x="188" y="58"/>
                  </a:lnTo>
                  <a:lnTo>
                    <a:pt x="189" y="57"/>
                  </a:lnTo>
                  <a:lnTo>
                    <a:pt x="190" y="55"/>
                  </a:lnTo>
                  <a:lnTo>
                    <a:pt x="191" y="57"/>
                  </a:lnTo>
                  <a:lnTo>
                    <a:pt x="192" y="58"/>
                  </a:lnTo>
                  <a:lnTo>
                    <a:pt x="191" y="58"/>
                  </a:lnTo>
                  <a:lnTo>
                    <a:pt x="191" y="59"/>
                  </a:lnTo>
                  <a:lnTo>
                    <a:pt x="194" y="59"/>
                  </a:lnTo>
                  <a:lnTo>
                    <a:pt x="194" y="60"/>
                  </a:lnTo>
                  <a:lnTo>
                    <a:pt x="194" y="61"/>
                  </a:lnTo>
                  <a:lnTo>
                    <a:pt x="195" y="61"/>
                  </a:lnTo>
                  <a:lnTo>
                    <a:pt x="195" y="63"/>
                  </a:lnTo>
                  <a:lnTo>
                    <a:pt x="196" y="63"/>
                  </a:lnTo>
                  <a:lnTo>
                    <a:pt x="191" y="61"/>
                  </a:lnTo>
                  <a:lnTo>
                    <a:pt x="188" y="61"/>
                  </a:lnTo>
                  <a:lnTo>
                    <a:pt x="188" y="63"/>
                  </a:lnTo>
                  <a:lnTo>
                    <a:pt x="188" y="64"/>
                  </a:lnTo>
                  <a:lnTo>
                    <a:pt x="188" y="65"/>
                  </a:lnTo>
                  <a:lnTo>
                    <a:pt x="188" y="67"/>
                  </a:lnTo>
                  <a:lnTo>
                    <a:pt x="190" y="66"/>
                  </a:lnTo>
                  <a:lnTo>
                    <a:pt x="191" y="66"/>
                  </a:lnTo>
                  <a:lnTo>
                    <a:pt x="191" y="67"/>
                  </a:lnTo>
                  <a:lnTo>
                    <a:pt x="192" y="67"/>
                  </a:lnTo>
                  <a:lnTo>
                    <a:pt x="194" y="66"/>
                  </a:lnTo>
                  <a:lnTo>
                    <a:pt x="194" y="67"/>
                  </a:lnTo>
                  <a:lnTo>
                    <a:pt x="195" y="67"/>
                  </a:lnTo>
                  <a:lnTo>
                    <a:pt x="195" y="69"/>
                  </a:lnTo>
                  <a:lnTo>
                    <a:pt x="198" y="69"/>
                  </a:lnTo>
                  <a:lnTo>
                    <a:pt x="196" y="69"/>
                  </a:lnTo>
                  <a:lnTo>
                    <a:pt x="195" y="70"/>
                  </a:lnTo>
                  <a:lnTo>
                    <a:pt x="195" y="71"/>
                  </a:lnTo>
                  <a:lnTo>
                    <a:pt x="195" y="73"/>
                  </a:lnTo>
                  <a:lnTo>
                    <a:pt x="195" y="76"/>
                  </a:lnTo>
                  <a:lnTo>
                    <a:pt x="194" y="75"/>
                  </a:lnTo>
                  <a:lnTo>
                    <a:pt x="194" y="73"/>
                  </a:lnTo>
                  <a:lnTo>
                    <a:pt x="192" y="73"/>
                  </a:lnTo>
                  <a:lnTo>
                    <a:pt x="191" y="73"/>
                  </a:lnTo>
                  <a:lnTo>
                    <a:pt x="189" y="73"/>
                  </a:lnTo>
                  <a:lnTo>
                    <a:pt x="188" y="72"/>
                  </a:lnTo>
                  <a:lnTo>
                    <a:pt x="186" y="72"/>
                  </a:lnTo>
                  <a:lnTo>
                    <a:pt x="183" y="73"/>
                  </a:lnTo>
                  <a:lnTo>
                    <a:pt x="184" y="77"/>
                  </a:lnTo>
                  <a:lnTo>
                    <a:pt x="185" y="77"/>
                  </a:lnTo>
                  <a:lnTo>
                    <a:pt x="186" y="76"/>
                  </a:lnTo>
                  <a:lnTo>
                    <a:pt x="188" y="76"/>
                  </a:lnTo>
                  <a:lnTo>
                    <a:pt x="190" y="76"/>
                  </a:lnTo>
                  <a:lnTo>
                    <a:pt x="190" y="77"/>
                  </a:lnTo>
                  <a:lnTo>
                    <a:pt x="191" y="77"/>
                  </a:lnTo>
                  <a:lnTo>
                    <a:pt x="192" y="77"/>
                  </a:lnTo>
                  <a:lnTo>
                    <a:pt x="192" y="78"/>
                  </a:lnTo>
                  <a:lnTo>
                    <a:pt x="194" y="78"/>
                  </a:lnTo>
                  <a:lnTo>
                    <a:pt x="196" y="78"/>
                  </a:lnTo>
                  <a:lnTo>
                    <a:pt x="197" y="79"/>
                  </a:lnTo>
                  <a:lnTo>
                    <a:pt x="197" y="81"/>
                  </a:lnTo>
                  <a:lnTo>
                    <a:pt x="200" y="79"/>
                  </a:lnTo>
                  <a:lnTo>
                    <a:pt x="201" y="78"/>
                  </a:lnTo>
                  <a:lnTo>
                    <a:pt x="201" y="79"/>
                  </a:lnTo>
                  <a:lnTo>
                    <a:pt x="202" y="79"/>
                  </a:lnTo>
                  <a:lnTo>
                    <a:pt x="203" y="81"/>
                  </a:lnTo>
                  <a:lnTo>
                    <a:pt x="204" y="79"/>
                  </a:lnTo>
                  <a:lnTo>
                    <a:pt x="206" y="79"/>
                  </a:lnTo>
                  <a:lnTo>
                    <a:pt x="206" y="78"/>
                  </a:lnTo>
                  <a:lnTo>
                    <a:pt x="206" y="77"/>
                  </a:lnTo>
                  <a:lnTo>
                    <a:pt x="208" y="76"/>
                  </a:lnTo>
                  <a:lnTo>
                    <a:pt x="208" y="75"/>
                  </a:lnTo>
                  <a:lnTo>
                    <a:pt x="209" y="73"/>
                  </a:lnTo>
                  <a:lnTo>
                    <a:pt x="210" y="72"/>
                  </a:lnTo>
                  <a:lnTo>
                    <a:pt x="212" y="71"/>
                  </a:lnTo>
                  <a:lnTo>
                    <a:pt x="209" y="70"/>
                  </a:lnTo>
                  <a:lnTo>
                    <a:pt x="208" y="65"/>
                  </a:lnTo>
                  <a:lnTo>
                    <a:pt x="209" y="67"/>
                  </a:lnTo>
                  <a:lnTo>
                    <a:pt x="210" y="66"/>
                  </a:lnTo>
                  <a:lnTo>
                    <a:pt x="210" y="65"/>
                  </a:lnTo>
                  <a:lnTo>
                    <a:pt x="212" y="65"/>
                  </a:lnTo>
                  <a:lnTo>
                    <a:pt x="213" y="65"/>
                  </a:lnTo>
                  <a:lnTo>
                    <a:pt x="213" y="66"/>
                  </a:lnTo>
                  <a:lnTo>
                    <a:pt x="212" y="66"/>
                  </a:lnTo>
                  <a:lnTo>
                    <a:pt x="210" y="69"/>
                  </a:lnTo>
                  <a:lnTo>
                    <a:pt x="210" y="70"/>
                  </a:lnTo>
                  <a:lnTo>
                    <a:pt x="212" y="69"/>
                  </a:lnTo>
                  <a:lnTo>
                    <a:pt x="212" y="67"/>
                  </a:lnTo>
                  <a:lnTo>
                    <a:pt x="213" y="67"/>
                  </a:lnTo>
                  <a:lnTo>
                    <a:pt x="213" y="70"/>
                  </a:lnTo>
                  <a:lnTo>
                    <a:pt x="212" y="70"/>
                  </a:lnTo>
                  <a:lnTo>
                    <a:pt x="213" y="71"/>
                  </a:lnTo>
                  <a:lnTo>
                    <a:pt x="215" y="72"/>
                  </a:lnTo>
                  <a:lnTo>
                    <a:pt x="216" y="72"/>
                  </a:lnTo>
                  <a:lnTo>
                    <a:pt x="215" y="71"/>
                  </a:lnTo>
                  <a:lnTo>
                    <a:pt x="215" y="70"/>
                  </a:lnTo>
                  <a:lnTo>
                    <a:pt x="218" y="70"/>
                  </a:lnTo>
                  <a:lnTo>
                    <a:pt x="218" y="71"/>
                  </a:lnTo>
                  <a:lnTo>
                    <a:pt x="219" y="73"/>
                  </a:lnTo>
                  <a:lnTo>
                    <a:pt x="220" y="72"/>
                  </a:lnTo>
                  <a:lnTo>
                    <a:pt x="220" y="70"/>
                  </a:lnTo>
                  <a:lnTo>
                    <a:pt x="219" y="70"/>
                  </a:lnTo>
                  <a:lnTo>
                    <a:pt x="218" y="67"/>
                  </a:lnTo>
                  <a:lnTo>
                    <a:pt x="219" y="69"/>
                  </a:lnTo>
                  <a:lnTo>
                    <a:pt x="219" y="67"/>
                  </a:lnTo>
                  <a:lnTo>
                    <a:pt x="219" y="66"/>
                  </a:lnTo>
                  <a:lnTo>
                    <a:pt x="220" y="66"/>
                  </a:lnTo>
                  <a:lnTo>
                    <a:pt x="221" y="65"/>
                  </a:lnTo>
                  <a:lnTo>
                    <a:pt x="221" y="64"/>
                  </a:lnTo>
                  <a:lnTo>
                    <a:pt x="221" y="63"/>
                  </a:lnTo>
                  <a:lnTo>
                    <a:pt x="223" y="63"/>
                  </a:lnTo>
                  <a:lnTo>
                    <a:pt x="224" y="63"/>
                  </a:lnTo>
                  <a:lnTo>
                    <a:pt x="224" y="65"/>
                  </a:lnTo>
                  <a:lnTo>
                    <a:pt x="225" y="65"/>
                  </a:lnTo>
                  <a:lnTo>
                    <a:pt x="226" y="65"/>
                  </a:lnTo>
                  <a:lnTo>
                    <a:pt x="225" y="63"/>
                  </a:lnTo>
                  <a:lnTo>
                    <a:pt x="226" y="63"/>
                  </a:lnTo>
                  <a:lnTo>
                    <a:pt x="226" y="61"/>
                  </a:lnTo>
                  <a:lnTo>
                    <a:pt x="226" y="66"/>
                  </a:lnTo>
                  <a:lnTo>
                    <a:pt x="227" y="66"/>
                  </a:lnTo>
                  <a:lnTo>
                    <a:pt x="230" y="67"/>
                  </a:lnTo>
                  <a:lnTo>
                    <a:pt x="230" y="66"/>
                  </a:lnTo>
                  <a:lnTo>
                    <a:pt x="229" y="65"/>
                  </a:lnTo>
                  <a:lnTo>
                    <a:pt x="229" y="64"/>
                  </a:lnTo>
                  <a:lnTo>
                    <a:pt x="229" y="63"/>
                  </a:lnTo>
                  <a:lnTo>
                    <a:pt x="229" y="61"/>
                  </a:lnTo>
                  <a:lnTo>
                    <a:pt x="230" y="60"/>
                  </a:lnTo>
                  <a:lnTo>
                    <a:pt x="229" y="59"/>
                  </a:lnTo>
                  <a:lnTo>
                    <a:pt x="230" y="59"/>
                  </a:lnTo>
                  <a:lnTo>
                    <a:pt x="231" y="58"/>
                  </a:lnTo>
                  <a:lnTo>
                    <a:pt x="232" y="57"/>
                  </a:lnTo>
                  <a:lnTo>
                    <a:pt x="233" y="58"/>
                  </a:lnTo>
                  <a:lnTo>
                    <a:pt x="233" y="60"/>
                  </a:lnTo>
                  <a:lnTo>
                    <a:pt x="235" y="61"/>
                  </a:lnTo>
                  <a:lnTo>
                    <a:pt x="233" y="63"/>
                  </a:lnTo>
                  <a:lnTo>
                    <a:pt x="235" y="66"/>
                  </a:lnTo>
                  <a:lnTo>
                    <a:pt x="233" y="67"/>
                  </a:lnTo>
                  <a:lnTo>
                    <a:pt x="232" y="66"/>
                  </a:lnTo>
                  <a:lnTo>
                    <a:pt x="232" y="67"/>
                  </a:lnTo>
                  <a:lnTo>
                    <a:pt x="233" y="69"/>
                  </a:lnTo>
                  <a:lnTo>
                    <a:pt x="235" y="69"/>
                  </a:lnTo>
                  <a:lnTo>
                    <a:pt x="236" y="70"/>
                  </a:lnTo>
                  <a:lnTo>
                    <a:pt x="236" y="71"/>
                  </a:lnTo>
                  <a:lnTo>
                    <a:pt x="238" y="71"/>
                  </a:lnTo>
                  <a:lnTo>
                    <a:pt x="239" y="71"/>
                  </a:lnTo>
                  <a:lnTo>
                    <a:pt x="239" y="72"/>
                  </a:lnTo>
                  <a:lnTo>
                    <a:pt x="241" y="73"/>
                  </a:lnTo>
                  <a:lnTo>
                    <a:pt x="242" y="75"/>
                  </a:lnTo>
                  <a:lnTo>
                    <a:pt x="243" y="75"/>
                  </a:lnTo>
                  <a:lnTo>
                    <a:pt x="242" y="77"/>
                  </a:lnTo>
                  <a:lnTo>
                    <a:pt x="243" y="78"/>
                  </a:lnTo>
                  <a:lnTo>
                    <a:pt x="244" y="77"/>
                  </a:lnTo>
                  <a:lnTo>
                    <a:pt x="245" y="78"/>
                  </a:lnTo>
                  <a:lnTo>
                    <a:pt x="247" y="77"/>
                  </a:lnTo>
                  <a:lnTo>
                    <a:pt x="247" y="75"/>
                  </a:lnTo>
                  <a:lnTo>
                    <a:pt x="247" y="72"/>
                  </a:lnTo>
                  <a:lnTo>
                    <a:pt x="247" y="71"/>
                  </a:lnTo>
                  <a:lnTo>
                    <a:pt x="247" y="70"/>
                  </a:lnTo>
                  <a:lnTo>
                    <a:pt x="248" y="70"/>
                  </a:lnTo>
                  <a:lnTo>
                    <a:pt x="247" y="69"/>
                  </a:lnTo>
                  <a:lnTo>
                    <a:pt x="247" y="66"/>
                  </a:lnTo>
                  <a:lnTo>
                    <a:pt x="247" y="65"/>
                  </a:lnTo>
                  <a:lnTo>
                    <a:pt x="248" y="66"/>
                  </a:lnTo>
                  <a:lnTo>
                    <a:pt x="249" y="66"/>
                  </a:lnTo>
                  <a:lnTo>
                    <a:pt x="249" y="67"/>
                  </a:lnTo>
                  <a:lnTo>
                    <a:pt x="248" y="70"/>
                  </a:lnTo>
                  <a:lnTo>
                    <a:pt x="249" y="70"/>
                  </a:lnTo>
                  <a:lnTo>
                    <a:pt x="249" y="71"/>
                  </a:lnTo>
                  <a:lnTo>
                    <a:pt x="248" y="73"/>
                  </a:lnTo>
                  <a:lnTo>
                    <a:pt x="247" y="78"/>
                  </a:lnTo>
                  <a:lnTo>
                    <a:pt x="247" y="79"/>
                  </a:lnTo>
                  <a:lnTo>
                    <a:pt x="248" y="78"/>
                  </a:lnTo>
                  <a:lnTo>
                    <a:pt x="250" y="77"/>
                  </a:lnTo>
                  <a:lnTo>
                    <a:pt x="250" y="78"/>
                  </a:lnTo>
                  <a:lnTo>
                    <a:pt x="251" y="78"/>
                  </a:lnTo>
                  <a:lnTo>
                    <a:pt x="254" y="76"/>
                  </a:lnTo>
                  <a:lnTo>
                    <a:pt x="254" y="75"/>
                  </a:lnTo>
                  <a:lnTo>
                    <a:pt x="255" y="76"/>
                  </a:lnTo>
                  <a:lnTo>
                    <a:pt x="256" y="77"/>
                  </a:lnTo>
                  <a:lnTo>
                    <a:pt x="257" y="76"/>
                  </a:lnTo>
                  <a:lnTo>
                    <a:pt x="259" y="76"/>
                  </a:lnTo>
                  <a:lnTo>
                    <a:pt x="260" y="76"/>
                  </a:lnTo>
                  <a:lnTo>
                    <a:pt x="256" y="78"/>
                  </a:lnTo>
                  <a:lnTo>
                    <a:pt x="254" y="78"/>
                  </a:lnTo>
                  <a:lnTo>
                    <a:pt x="251" y="81"/>
                  </a:lnTo>
                  <a:lnTo>
                    <a:pt x="249" y="82"/>
                  </a:lnTo>
                  <a:lnTo>
                    <a:pt x="247" y="83"/>
                  </a:lnTo>
                  <a:lnTo>
                    <a:pt x="245" y="85"/>
                  </a:lnTo>
                  <a:lnTo>
                    <a:pt x="245" y="87"/>
                  </a:lnTo>
                  <a:lnTo>
                    <a:pt x="247" y="85"/>
                  </a:lnTo>
                  <a:lnTo>
                    <a:pt x="248" y="84"/>
                  </a:lnTo>
                  <a:lnTo>
                    <a:pt x="251" y="83"/>
                  </a:lnTo>
                  <a:lnTo>
                    <a:pt x="249" y="87"/>
                  </a:lnTo>
                  <a:lnTo>
                    <a:pt x="248" y="87"/>
                  </a:lnTo>
                  <a:lnTo>
                    <a:pt x="250" y="88"/>
                  </a:lnTo>
                  <a:lnTo>
                    <a:pt x="251" y="90"/>
                  </a:lnTo>
                  <a:lnTo>
                    <a:pt x="253" y="89"/>
                  </a:lnTo>
                  <a:lnTo>
                    <a:pt x="256" y="89"/>
                  </a:lnTo>
                  <a:lnTo>
                    <a:pt x="257" y="89"/>
                  </a:lnTo>
                  <a:lnTo>
                    <a:pt x="257" y="90"/>
                  </a:lnTo>
                  <a:lnTo>
                    <a:pt x="257" y="91"/>
                  </a:lnTo>
                  <a:lnTo>
                    <a:pt x="257" y="94"/>
                  </a:lnTo>
                  <a:lnTo>
                    <a:pt x="259" y="94"/>
                  </a:lnTo>
                  <a:lnTo>
                    <a:pt x="259" y="96"/>
                  </a:lnTo>
                  <a:lnTo>
                    <a:pt x="259" y="97"/>
                  </a:lnTo>
                  <a:lnTo>
                    <a:pt x="260" y="97"/>
                  </a:lnTo>
                  <a:lnTo>
                    <a:pt x="260" y="96"/>
                  </a:lnTo>
                  <a:lnTo>
                    <a:pt x="261" y="95"/>
                  </a:lnTo>
                  <a:lnTo>
                    <a:pt x="262" y="93"/>
                  </a:lnTo>
                  <a:lnTo>
                    <a:pt x="262" y="96"/>
                  </a:lnTo>
                  <a:lnTo>
                    <a:pt x="262" y="97"/>
                  </a:lnTo>
                  <a:lnTo>
                    <a:pt x="265" y="96"/>
                  </a:lnTo>
                  <a:lnTo>
                    <a:pt x="265" y="97"/>
                  </a:lnTo>
                  <a:lnTo>
                    <a:pt x="265" y="99"/>
                  </a:lnTo>
                  <a:lnTo>
                    <a:pt x="266" y="99"/>
                  </a:lnTo>
                  <a:lnTo>
                    <a:pt x="267" y="99"/>
                  </a:lnTo>
                  <a:lnTo>
                    <a:pt x="267" y="100"/>
                  </a:lnTo>
                  <a:lnTo>
                    <a:pt x="268" y="99"/>
                  </a:lnTo>
                  <a:lnTo>
                    <a:pt x="268" y="100"/>
                  </a:lnTo>
                  <a:lnTo>
                    <a:pt x="269" y="99"/>
                  </a:lnTo>
                  <a:lnTo>
                    <a:pt x="272" y="100"/>
                  </a:lnTo>
                  <a:lnTo>
                    <a:pt x="268" y="101"/>
                  </a:lnTo>
                  <a:lnTo>
                    <a:pt x="263" y="100"/>
                  </a:lnTo>
                  <a:lnTo>
                    <a:pt x="265" y="102"/>
                  </a:lnTo>
                  <a:lnTo>
                    <a:pt x="266" y="102"/>
                  </a:lnTo>
                  <a:lnTo>
                    <a:pt x="267" y="102"/>
                  </a:lnTo>
                  <a:lnTo>
                    <a:pt x="268" y="102"/>
                  </a:lnTo>
                  <a:lnTo>
                    <a:pt x="269" y="102"/>
                  </a:lnTo>
                  <a:lnTo>
                    <a:pt x="271" y="102"/>
                  </a:lnTo>
                  <a:lnTo>
                    <a:pt x="273" y="103"/>
                  </a:lnTo>
                  <a:lnTo>
                    <a:pt x="274" y="103"/>
                  </a:lnTo>
                  <a:lnTo>
                    <a:pt x="275" y="105"/>
                  </a:lnTo>
                  <a:lnTo>
                    <a:pt x="275" y="102"/>
                  </a:lnTo>
                  <a:lnTo>
                    <a:pt x="277" y="101"/>
                  </a:lnTo>
                  <a:lnTo>
                    <a:pt x="277" y="100"/>
                  </a:lnTo>
                  <a:lnTo>
                    <a:pt x="278" y="99"/>
                  </a:lnTo>
                  <a:lnTo>
                    <a:pt x="279" y="99"/>
                  </a:lnTo>
                  <a:lnTo>
                    <a:pt x="278" y="100"/>
                  </a:lnTo>
                  <a:lnTo>
                    <a:pt x="278" y="101"/>
                  </a:lnTo>
                  <a:lnTo>
                    <a:pt x="279" y="101"/>
                  </a:lnTo>
                  <a:lnTo>
                    <a:pt x="280" y="100"/>
                  </a:lnTo>
                  <a:lnTo>
                    <a:pt x="280" y="99"/>
                  </a:lnTo>
                  <a:lnTo>
                    <a:pt x="280" y="97"/>
                  </a:lnTo>
                  <a:lnTo>
                    <a:pt x="279" y="96"/>
                  </a:lnTo>
                  <a:lnTo>
                    <a:pt x="277" y="96"/>
                  </a:lnTo>
                  <a:lnTo>
                    <a:pt x="274" y="97"/>
                  </a:lnTo>
                  <a:lnTo>
                    <a:pt x="274" y="95"/>
                  </a:lnTo>
                  <a:lnTo>
                    <a:pt x="277" y="94"/>
                  </a:lnTo>
                  <a:lnTo>
                    <a:pt x="278" y="94"/>
                  </a:lnTo>
                  <a:lnTo>
                    <a:pt x="279" y="94"/>
                  </a:lnTo>
                  <a:lnTo>
                    <a:pt x="280" y="95"/>
                  </a:lnTo>
                  <a:lnTo>
                    <a:pt x="282" y="95"/>
                  </a:lnTo>
                  <a:lnTo>
                    <a:pt x="283" y="94"/>
                  </a:lnTo>
                  <a:lnTo>
                    <a:pt x="284" y="94"/>
                  </a:lnTo>
                  <a:lnTo>
                    <a:pt x="285" y="93"/>
                  </a:lnTo>
                  <a:lnTo>
                    <a:pt x="285" y="91"/>
                  </a:lnTo>
                  <a:lnTo>
                    <a:pt x="286" y="91"/>
                  </a:lnTo>
                  <a:lnTo>
                    <a:pt x="288" y="91"/>
                  </a:lnTo>
                  <a:lnTo>
                    <a:pt x="289" y="91"/>
                  </a:lnTo>
                  <a:lnTo>
                    <a:pt x="289" y="90"/>
                  </a:lnTo>
                  <a:lnTo>
                    <a:pt x="288" y="90"/>
                  </a:lnTo>
                  <a:lnTo>
                    <a:pt x="285" y="91"/>
                  </a:lnTo>
                  <a:lnTo>
                    <a:pt x="285" y="90"/>
                  </a:lnTo>
                  <a:lnTo>
                    <a:pt x="286" y="89"/>
                  </a:lnTo>
                  <a:lnTo>
                    <a:pt x="285" y="90"/>
                  </a:lnTo>
                  <a:lnTo>
                    <a:pt x="284" y="93"/>
                  </a:lnTo>
                  <a:lnTo>
                    <a:pt x="283" y="93"/>
                  </a:lnTo>
                  <a:lnTo>
                    <a:pt x="282" y="93"/>
                  </a:lnTo>
                  <a:lnTo>
                    <a:pt x="282" y="90"/>
                  </a:lnTo>
                  <a:lnTo>
                    <a:pt x="282" y="89"/>
                  </a:lnTo>
                  <a:lnTo>
                    <a:pt x="284" y="88"/>
                  </a:lnTo>
                  <a:lnTo>
                    <a:pt x="284" y="87"/>
                  </a:lnTo>
                  <a:lnTo>
                    <a:pt x="285" y="85"/>
                  </a:lnTo>
                  <a:lnTo>
                    <a:pt x="286" y="84"/>
                  </a:lnTo>
                  <a:lnTo>
                    <a:pt x="285" y="83"/>
                  </a:lnTo>
                  <a:lnTo>
                    <a:pt x="278" y="76"/>
                  </a:lnTo>
                  <a:lnTo>
                    <a:pt x="273" y="65"/>
                  </a:lnTo>
                  <a:lnTo>
                    <a:pt x="272" y="65"/>
                  </a:lnTo>
                  <a:lnTo>
                    <a:pt x="273" y="69"/>
                  </a:lnTo>
                  <a:lnTo>
                    <a:pt x="273" y="72"/>
                  </a:lnTo>
                  <a:lnTo>
                    <a:pt x="273" y="71"/>
                  </a:lnTo>
                  <a:lnTo>
                    <a:pt x="272" y="70"/>
                  </a:lnTo>
                  <a:lnTo>
                    <a:pt x="272" y="72"/>
                  </a:lnTo>
                  <a:lnTo>
                    <a:pt x="273" y="72"/>
                  </a:lnTo>
                  <a:lnTo>
                    <a:pt x="273" y="75"/>
                  </a:lnTo>
                  <a:lnTo>
                    <a:pt x="272" y="77"/>
                  </a:lnTo>
                  <a:lnTo>
                    <a:pt x="272" y="78"/>
                  </a:lnTo>
                  <a:lnTo>
                    <a:pt x="271" y="76"/>
                  </a:lnTo>
                  <a:lnTo>
                    <a:pt x="271" y="73"/>
                  </a:lnTo>
                  <a:lnTo>
                    <a:pt x="269" y="73"/>
                  </a:lnTo>
                  <a:lnTo>
                    <a:pt x="269" y="75"/>
                  </a:lnTo>
                  <a:lnTo>
                    <a:pt x="268" y="73"/>
                  </a:lnTo>
                  <a:lnTo>
                    <a:pt x="268" y="72"/>
                  </a:lnTo>
                  <a:lnTo>
                    <a:pt x="267" y="70"/>
                  </a:lnTo>
                  <a:lnTo>
                    <a:pt x="266" y="71"/>
                  </a:lnTo>
                  <a:lnTo>
                    <a:pt x="265" y="71"/>
                  </a:lnTo>
                  <a:lnTo>
                    <a:pt x="263" y="73"/>
                  </a:lnTo>
                  <a:lnTo>
                    <a:pt x="262" y="73"/>
                  </a:lnTo>
                  <a:lnTo>
                    <a:pt x="262" y="71"/>
                  </a:lnTo>
                  <a:lnTo>
                    <a:pt x="263" y="69"/>
                  </a:lnTo>
                  <a:lnTo>
                    <a:pt x="261" y="71"/>
                  </a:lnTo>
                  <a:lnTo>
                    <a:pt x="260" y="72"/>
                  </a:lnTo>
                  <a:lnTo>
                    <a:pt x="260" y="69"/>
                  </a:lnTo>
                  <a:lnTo>
                    <a:pt x="260" y="67"/>
                  </a:lnTo>
                  <a:lnTo>
                    <a:pt x="260" y="66"/>
                  </a:lnTo>
                  <a:lnTo>
                    <a:pt x="260" y="65"/>
                  </a:lnTo>
                  <a:lnTo>
                    <a:pt x="261" y="64"/>
                  </a:lnTo>
                  <a:lnTo>
                    <a:pt x="263" y="64"/>
                  </a:lnTo>
                  <a:lnTo>
                    <a:pt x="263" y="63"/>
                  </a:lnTo>
                  <a:lnTo>
                    <a:pt x="266" y="60"/>
                  </a:lnTo>
                  <a:lnTo>
                    <a:pt x="266" y="59"/>
                  </a:lnTo>
                  <a:lnTo>
                    <a:pt x="265" y="60"/>
                  </a:lnTo>
                  <a:lnTo>
                    <a:pt x="263" y="61"/>
                  </a:lnTo>
                  <a:lnTo>
                    <a:pt x="263" y="59"/>
                  </a:lnTo>
                  <a:lnTo>
                    <a:pt x="262" y="59"/>
                  </a:lnTo>
                  <a:lnTo>
                    <a:pt x="261" y="59"/>
                  </a:lnTo>
                  <a:lnTo>
                    <a:pt x="260" y="59"/>
                  </a:lnTo>
                  <a:lnTo>
                    <a:pt x="259" y="59"/>
                  </a:lnTo>
                  <a:lnTo>
                    <a:pt x="257" y="59"/>
                  </a:lnTo>
                  <a:lnTo>
                    <a:pt x="259" y="58"/>
                  </a:lnTo>
                  <a:lnTo>
                    <a:pt x="257" y="58"/>
                  </a:lnTo>
                  <a:lnTo>
                    <a:pt x="255" y="57"/>
                  </a:lnTo>
                  <a:lnTo>
                    <a:pt x="255" y="55"/>
                  </a:lnTo>
                  <a:lnTo>
                    <a:pt x="256" y="55"/>
                  </a:lnTo>
                  <a:lnTo>
                    <a:pt x="257" y="54"/>
                  </a:lnTo>
                  <a:lnTo>
                    <a:pt x="257" y="53"/>
                  </a:lnTo>
                  <a:lnTo>
                    <a:pt x="259" y="52"/>
                  </a:lnTo>
                  <a:lnTo>
                    <a:pt x="260" y="53"/>
                  </a:lnTo>
                  <a:lnTo>
                    <a:pt x="261" y="53"/>
                  </a:lnTo>
                  <a:lnTo>
                    <a:pt x="260" y="52"/>
                  </a:lnTo>
                  <a:lnTo>
                    <a:pt x="260" y="51"/>
                  </a:lnTo>
                  <a:lnTo>
                    <a:pt x="260" y="49"/>
                  </a:lnTo>
                  <a:lnTo>
                    <a:pt x="260" y="52"/>
                  </a:lnTo>
                  <a:lnTo>
                    <a:pt x="257" y="49"/>
                  </a:lnTo>
                  <a:lnTo>
                    <a:pt x="257" y="47"/>
                  </a:lnTo>
                  <a:lnTo>
                    <a:pt x="255" y="47"/>
                  </a:lnTo>
                  <a:lnTo>
                    <a:pt x="255" y="45"/>
                  </a:lnTo>
                  <a:lnTo>
                    <a:pt x="255" y="42"/>
                  </a:lnTo>
                  <a:lnTo>
                    <a:pt x="256" y="42"/>
                  </a:lnTo>
                  <a:lnTo>
                    <a:pt x="255" y="41"/>
                  </a:lnTo>
                  <a:lnTo>
                    <a:pt x="256" y="39"/>
                  </a:lnTo>
                  <a:lnTo>
                    <a:pt x="255" y="41"/>
                  </a:lnTo>
                  <a:lnTo>
                    <a:pt x="254" y="42"/>
                  </a:lnTo>
                  <a:lnTo>
                    <a:pt x="254" y="45"/>
                  </a:lnTo>
                  <a:lnTo>
                    <a:pt x="253" y="43"/>
                  </a:lnTo>
                  <a:lnTo>
                    <a:pt x="253" y="42"/>
                  </a:lnTo>
                  <a:lnTo>
                    <a:pt x="253" y="41"/>
                  </a:lnTo>
                  <a:lnTo>
                    <a:pt x="251" y="40"/>
                  </a:lnTo>
                  <a:lnTo>
                    <a:pt x="250" y="40"/>
                  </a:lnTo>
                  <a:lnTo>
                    <a:pt x="250" y="42"/>
                  </a:lnTo>
                  <a:lnTo>
                    <a:pt x="250" y="45"/>
                  </a:lnTo>
                  <a:lnTo>
                    <a:pt x="249" y="45"/>
                  </a:lnTo>
                  <a:lnTo>
                    <a:pt x="249" y="46"/>
                  </a:lnTo>
                  <a:lnTo>
                    <a:pt x="249" y="47"/>
                  </a:lnTo>
                  <a:lnTo>
                    <a:pt x="248" y="47"/>
                  </a:lnTo>
                  <a:lnTo>
                    <a:pt x="248" y="48"/>
                  </a:lnTo>
                  <a:lnTo>
                    <a:pt x="247" y="48"/>
                  </a:lnTo>
                  <a:lnTo>
                    <a:pt x="247" y="47"/>
                  </a:lnTo>
                  <a:lnTo>
                    <a:pt x="247" y="45"/>
                  </a:lnTo>
                  <a:lnTo>
                    <a:pt x="245" y="45"/>
                  </a:lnTo>
                  <a:lnTo>
                    <a:pt x="244" y="45"/>
                  </a:lnTo>
                  <a:lnTo>
                    <a:pt x="242" y="46"/>
                  </a:lnTo>
                  <a:lnTo>
                    <a:pt x="242" y="48"/>
                  </a:lnTo>
                  <a:lnTo>
                    <a:pt x="241" y="48"/>
                  </a:lnTo>
                  <a:lnTo>
                    <a:pt x="241" y="46"/>
                  </a:lnTo>
                  <a:lnTo>
                    <a:pt x="242" y="43"/>
                  </a:lnTo>
                  <a:lnTo>
                    <a:pt x="242" y="42"/>
                  </a:lnTo>
                  <a:lnTo>
                    <a:pt x="242" y="41"/>
                  </a:lnTo>
                  <a:lnTo>
                    <a:pt x="241" y="41"/>
                  </a:lnTo>
                  <a:lnTo>
                    <a:pt x="241" y="40"/>
                  </a:lnTo>
                  <a:lnTo>
                    <a:pt x="242" y="37"/>
                  </a:lnTo>
                  <a:lnTo>
                    <a:pt x="242" y="36"/>
                  </a:lnTo>
                  <a:lnTo>
                    <a:pt x="243" y="35"/>
                  </a:lnTo>
                  <a:lnTo>
                    <a:pt x="244" y="34"/>
                  </a:lnTo>
                  <a:lnTo>
                    <a:pt x="244" y="32"/>
                  </a:lnTo>
                  <a:lnTo>
                    <a:pt x="244" y="30"/>
                  </a:lnTo>
                  <a:lnTo>
                    <a:pt x="243" y="32"/>
                  </a:lnTo>
                  <a:lnTo>
                    <a:pt x="243" y="31"/>
                  </a:lnTo>
                  <a:lnTo>
                    <a:pt x="241" y="32"/>
                  </a:lnTo>
                  <a:lnTo>
                    <a:pt x="239" y="32"/>
                  </a:lnTo>
                  <a:lnTo>
                    <a:pt x="236" y="32"/>
                  </a:lnTo>
                  <a:lnTo>
                    <a:pt x="235" y="34"/>
                  </a:lnTo>
                  <a:lnTo>
                    <a:pt x="233" y="39"/>
                  </a:lnTo>
                  <a:lnTo>
                    <a:pt x="231" y="40"/>
                  </a:lnTo>
                  <a:lnTo>
                    <a:pt x="230" y="41"/>
                  </a:lnTo>
                  <a:lnTo>
                    <a:pt x="229" y="40"/>
                  </a:lnTo>
                  <a:lnTo>
                    <a:pt x="230" y="36"/>
                  </a:lnTo>
                  <a:lnTo>
                    <a:pt x="231" y="34"/>
                  </a:lnTo>
                  <a:lnTo>
                    <a:pt x="230" y="32"/>
                  </a:lnTo>
                  <a:lnTo>
                    <a:pt x="231" y="31"/>
                  </a:lnTo>
                  <a:lnTo>
                    <a:pt x="232" y="30"/>
                  </a:lnTo>
                  <a:lnTo>
                    <a:pt x="235" y="31"/>
                  </a:lnTo>
                  <a:lnTo>
                    <a:pt x="237" y="30"/>
                  </a:lnTo>
                  <a:lnTo>
                    <a:pt x="239" y="29"/>
                  </a:lnTo>
                  <a:lnTo>
                    <a:pt x="242" y="28"/>
                  </a:lnTo>
                  <a:lnTo>
                    <a:pt x="242" y="26"/>
                  </a:lnTo>
                  <a:lnTo>
                    <a:pt x="241" y="25"/>
                  </a:lnTo>
                  <a:lnTo>
                    <a:pt x="241" y="23"/>
                  </a:lnTo>
                  <a:lnTo>
                    <a:pt x="239" y="23"/>
                  </a:lnTo>
                  <a:lnTo>
                    <a:pt x="241" y="20"/>
                  </a:lnTo>
                  <a:lnTo>
                    <a:pt x="239" y="20"/>
                  </a:lnTo>
                  <a:lnTo>
                    <a:pt x="237" y="24"/>
                  </a:lnTo>
                  <a:lnTo>
                    <a:pt x="236" y="25"/>
                  </a:lnTo>
                  <a:lnTo>
                    <a:pt x="236" y="23"/>
                  </a:lnTo>
                  <a:lnTo>
                    <a:pt x="235" y="18"/>
                  </a:lnTo>
                  <a:lnTo>
                    <a:pt x="236" y="17"/>
                  </a:lnTo>
                  <a:lnTo>
                    <a:pt x="235" y="18"/>
                  </a:lnTo>
                  <a:lnTo>
                    <a:pt x="236" y="14"/>
                  </a:lnTo>
                  <a:lnTo>
                    <a:pt x="238" y="13"/>
                  </a:lnTo>
                  <a:lnTo>
                    <a:pt x="239" y="12"/>
                  </a:lnTo>
                  <a:lnTo>
                    <a:pt x="241" y="11"/>
                  </a:lnTo>
                  <a:lnTo>
                    <a:pt x="243" y="10"/>
                  </a:lnTo>
                  <a:lnTo>
                    <a:pt x="243" y="7"/>
                  </a:lnTo>
                  <a:lnTo>
                    <a:pt x="239" y="6"/>
                  </a:lnTo>
                  <a:lnTo>
                    <a:pt x="237" y="6"/>
                  </a:lnTo>
                  <a:lnTo>
                    <a:pt x="239" y="6"/>
                  </a:lnTo>
                  <a:lnTo>
                    <a:pt x="241" y="5"/>
                  </a:lnTo>
                  <a:lnTo>
                    <a:pt x="243" y="4"/>
                  </a:lnTo>
                  <a:lnTo>
                    <a:pt x="243" y="2"/>
                  </a:lnTo>
                  <a:lnTo>
                    <a:pt x="243" y="1"/>
                  </a:lnTo>
                  <a:lnTo>
                    <a:pt x="244" y="0"/>
                  </a:lnTo>
                  <a:lnTo>
                    <a:pt x="247" y="0"/>
                  </a:lnTo>
                  <a:lnTo>
                    <a:pt x="248" y="0"/>
                  </a:lnTo>
                  <a:lnTo>
                    <a:pt x="248" y="1"/>
                  </a:lnTo>
                  <a:lnTo>
                    <a:pt x="249" y="1"/>
                  </a:lnTo>
                  <a:lnTo>
                    <a:pt x="249" y="2"/>
                  </a:lnTo>
                  <a:lnTo>
                    <a:pt x="250" y="1"/>
                  </a:lnTo>
                  <a:lnTo>
                    <a:pt x="251" y="1"/>
                  </a:lnTo>
                  <a:lnTo>
                    <a:pt x="253" y="1"/>
                  </a:lnTo>
                  <a:lnTo>
                    <a:pt x="254" y="0"/>
                  </a:lnTo>
                  <a:lnTo>
                    <a:pt x="253" y="4"/>
                  </a:lnTo>
                  <a:lnTo>
                    <a:pt x="251" y="8"/>
                  </a:lnTo>
                  <a:lnTo>
                    <a:pt x="251" y="10"/>
                  </a:lnTo>
                  <a:lnTo>
                    <a:pt x="253" y="7"/>
                  </a:lnTo>
                  <a:lnTo>
                    <a:pt x="254" y="11"/>
                  </a:lnTo>
                  <a:lnTo>
                    <a:pt x="254" y="13"/>
                  </a:lnTo>
                  <a:lnTo>
                    <a:pt x="255" y="16"/>
                  </a:lnTo>
                  <a:lnTo>
                    <a:pt x="255" y="14"/>
                  </a:lnTo>
                  <a:lnTo>
                    <a:pt x="256" y="16"/>
                  </a:lnTo>
                  <a:lnTo>
                    <a:pt x="256" y="14"/>
                  </a:lnTo>
                  <a:lnTo>
                    <a:pt x="256" y="12"/>
                  </a:lnTo>
                  <a:lnTo>
                    <a:pt x="259" y="11"/>
                  </a:lnTo>
                  <a:lnTo>
                    <a:pt x="261" y="12"/>
                  </a:lnTo>
                  <a:lnTo>
                    <a:pt x="262" y="14"/>
                  </a:lnTo>
                  <a:lnTo>
                    <a:pt x="262" y="16"/>
                  </a:lnTo>
                  <a:lnTo>
                    <a:pt x="262" y="17"/>
                  </a:lnTo>
                  <a:lnTo>
                    <a:pt x="261" y="17"/>
                  </a:lnTo>
                  <a:lnTo>
                    <a:pt x="260" y="17"/>
                  </a:lnTo>
                  <a:lnTo>
                    <a:pt x="259" y="17"/>
                  </a:lnTo>
                  <a:lnTo>
                    <a:pt x="259" y="16"/>
                  </a:lnTo>
                  <a:lnTo>
                    <a:pt x="259" y="17"/>
                  </a:lnTo>
                  <a:lnTo>
                    <a:pt x="259" y="19"/>
                  </a:lnTo>
                  <a:lnTo>
                    <a:pt x="260" y="20"/>
                  </a:lnTo>
                  <a:lnTo>
                    <a:pt x="261" y="22"/>
                  </a:lnTo>
                  <a:lnTo>
                    <a:pt x="262" y="23"/>
                  </a:lnTo>
                  <a:lnTo>
                    <a:pt x="262" y="25"/>
                  </a:lnTo>
                  <a:lnTo>
                    <a:pt x="265" y="25"/>
                  </a:lnTo>
                  <a:lnTo>
                    <a:pt x="266" y="26"/>
                  </a:lnTo>
                  <a:lnTo>
                    <a:pt x="266" y="25"/>
                  </a:lnTo>
                  <a:lnTo>
                    <a:pt x="267" y="24"/>
                  </a:lnTo>
                  <a:lnTo>
                    <a:pt x="267" y="25"/>
                  </a:lnTo>
                  <a:lnTo>
                    <a:pt x="269" y="25"/>
                  </a:lnTo>
                  <a:lnTo>
                    <a:pt x="271" y="25"/>
                  </a:lnTo>
                  <a:lnTo>
                    <a:pt x="269" y="23"/>
                  </a:lnTo>
                  <a:lnTo>
                    <a:pt x="269" y="20"/>
                  </a:lnTo>
                  <a:lnTo>
                    <a:pt x="271" y="19"/>
                  </a:lnTo>
                  <a:lnTo>
                    <a:pt x="272" y="19"/>
                  </a:lnTo>
                  <a:lnTo>
                    <a:pt x="272" y="18"/>
                  </a:lnTo>
                  <a:lnTo>
                    <a:pt x="274" y="18"/>
                  </a:lnTo>
                  <a:lnTo>
                    <a:pt x="275" y="19"/>
                  </a:lnTo>
                  <a:lnTo>
                    <a:pt x="277" y="20"/>
                  </a:lnTo>
                  <a:lnTo>
                    <a:pt x="278" y="20"/>
                  </a:lnTo>
                  <a:lnTo>
                    <a:pt x="280" y="19"/>
                  </a:lnTo>
                  <a:lnTo>
                    <a:pt x="279" y="20"/>
                  </a:lnTo>
                  <a:lnTo>
                    <a:pt x="278" y="23"/>
                  </a:lnTo>
                  <a:lnTo>
                    <a:pt x="277" y="22"/>
                  </a:lnTo>
                  <a:lnTo>
                    <a:pt x="275" y="22"/>
                  </a:lnTo>
                  <a:lnTo>
                    <a:pt x="273" y="25"/>
                  </a:lnTo>
                  <a:lnTo>
                    <a:pt x="275" y="25"/>
                  </a:lnTo>
                  <a:lnTo>
                    <a:pt x="278" y="26"/>
                  </a:lnTo>
                  <a:lnTo>
                    <a:pt x="280" y="28"/>
                  </a:lnTo>
                  <a:lnTo>
                    <a:pt x="279" y="29"/>
                  </a:lnTo>
                  <a:lnTo>
                    <a:pt x="279" y="31"/>
                  </a:lnTo>
                  <a:lnTo>
                    <a:pt x="278" y="30"/>
                  </a:lnTo>
                  <a:lnTo>
                    <a:pt x="277" y="26"/>
                  </a:lnTo>
                  <a:lnTo>
                    <a:pt x="274" y="26"/>
                  </a:lnTo>
                  <a:lnTo>
                    <a:pt x="272" y="26"/>
                  </a:lnTo>
                  <a:lnTo>
                    <a:pt x="272" y="29"/>
                  </a:lnTo>
                  <a:lnTo>
                    <a:pt x="271" y="30"/>
                  </a:lnTo>
                  <a:lnTo>
                    <a:pt x="272" y="34"/>
                  </a:lnTo>
                  <a:lnTo>
                    <a:pt x="273" y="34"/>
                  </a:lnTo>
                  <a:lnTo>
                    <a:pt x="275" y="35"/>
                  </a:lnTo>
                  <a:lnTo>
                    <a:pt x="277" y="36"/>
                  </a:lnTo>
                  <a:lnTo>
                    <a:pt x="277" y="37"/>
                  </a:lnTo>
                  <a:lnTo>
                    <a:pt x="278" y="39"/>
                  </a:lnTo>
                  <a:lnTo>
                    <a:pt x="278" y="42"/>
                  </a:lnTo>
                  <a:lnTo>
                    <a:pt x="278" y="43"/>
                  </a:lnTo>
                  <a:lnTo>
                    <a:pt x="279" y="45"/>
                  </a:lnTo>
                  <a:lnTo>
                    <a:pt x="278" y="47"/>
                  </a:lnTo>
                  <a:lnTo>
                    <a:pt x="278" y="48"/>
                  </a:lnTo>
                  <a:lnTo>
                    <a:pt x="279" y="51"/>
                  </a:lnTo>
                  <a:lnTo>
                    <a:pt x="280" y="49"/>
                  </a:lnTo>
                  <a:lnTo>
                    <a:pt x="282" y="48"/>
                  </a:lnTo>
                  <a:lnTo>
                    <a:pt x="284" y="48"/>
                  </a:lnTo>
                  <a:lnTo>
                    <a:pt x="284" y="47"/>
                  </a:lnTo>
                  <a:lnTo>
                    <a:pt x="286" y="47"/>
                  </a:lnTo>
                  <a:lnTo>
                    <a:pt x="286" y="46"/>
                  </a:lnTo>
                  <a:lnTo>
                    <a:pt x="288" y="46"/>
                  </a:lnTo>
                  <a:lnTo>
                    <a:pt x="289" y="46"/>
                  </a:lnTo>
                  <a:lnTo>
                    <a:pt x="290" y="46"/>
                  </a:lnTo>
                  <a:lnTo>
                    <a:pt x="289" y="47"/>
                  </a:lnTo>
                  <a:lnTo>
                    <a:pt x="290" y="47"/>
                  </a:lnTo>
                  <a:lnTo>
                    <a:pt x="291" y="47"/>
                  </a:lnTo>
                  <a:lnTo>
                    <a:pt x="292" y="47"/>
                  </a:lnTo>
                  <a:lnTo>
                    <a:pt x="294" y="47"/>
                  </a:lnTo>
                  <a:lnTo>
                    <a:pt x="295" y="47"/>
                  </a:lnTo>
                  <a:lnTo>
                    <a:pt x="296" y="45"/>
                  </a:lnTo>
                  <a:lnTo>
                    <a:pt x="297" y="46"/>
                  </a:lnTo>
                  <a:lnTo>
                    <a:pt x="297" y="47"/>
                  </a:lnTo>
                  <a:lnTo>
                    <a:pt x="298" y="47"/>
                  </a:lnTo>
                  <a:lnTo>
                    <a:pt x="301" y="47"/>
                  </a:lnTo>
                  <a:lnTo>
                    <a:pt x="300" y="48"/>
                  </a:lnTo>
                  <a:lnTo>
                    <a:pt x="302" y="48"/>
                  </a:lnTo>
                  <a:lnTo>
                    <a:pt x="303" y="49"/>
                  </a:lnTo>
                  <a:lnTo>
                    <a:pt x="304" y="48"/>
                  </a:lnTo>
                  <a:lnTo>
                    <a:pt x="306" y="48"/>
                  </a:lnTo>
                  <a:lnTo>
                    <a:pt x="307" y="47"/>
                  </a:lnTo>
                  <a:lnTo>
                    <a:pt x="308" y="46"/>
                  </a:lnTo>
                  <a:lnTo>
                    <a:pt x="309" y="47"/>
                  </a:lnTo>
                  <a:lnTo>
                    <a:pt x="310" y="47"/>
                  </a:lnTo>
                  <a:lnTo>
                    <a:pt x="310" y="49"/>
                  </a:lnTo>
                  <a:lnTo>
                    <a:pt x="312" y="48"/>
                  </a:lnTo>
                  <a:lnTo>
                    <a:pt x="312" y="46"/>
                  </a:lnTo>
                  <a:lnTo>
                    <a:pt x="312" y="45"/>
                  </a:lnTo>
                  <a:lnTo>
                    <a:pt x="313" y="43"/>
                  </a:lnTo>
                  <a:lnTo>
                    <a:pt x="313" y="42"/>
                  </a:lnTo>
                  <a:lnTo>
                    <a:pt x="315" y="41"/>
                  </a:lnTo>
                  <a:lnTo>
                    <a:pt x="316" y="42"/>
                  </a:lnTo>
                  <a:lnTo>
                    <a:pt x="318" y="42"/>
                  </a:lnTo>
                  <a:lnTo>
                    <a:pt x="319" y="42"/>
                  </a:lnTo>
                  <a:lnTo>
                    <a:pt x="319" y="43"/>
                  </a:lnTo>
                  <a:lnTo>
                    <a:pt x="319" y="39"/>
                  </a:lnTo>
                  <a:lnTo>
                    <a:pt x="318" y="37"/>
                  </a:lnTo>
                  <a:lnTo>
                    <a:pt x="316" y="36"/>
                  </a:lnTo>
                  <a:lnTo>
                    <a:pt x="316" y="35"/>
                  </a:lnTo>
                  <a:lnTo>
                    <a:pt x="316" y="34"/>
                  </a:lnTo>
                  <a:lnTo>
                    <a:pt x="318" y="34"/>
                  </a:lnTo>
                  <a:lnTo>
                    <a:pt x="319" y="32"/>
                  </a:lnTo>
                  <a:lnTo>
                    <a:pt x="320" y="32"/>
                  </a:lnTo>
                  <a:lnTo>
                    <a:pt x="321" y="32"/>
                  </a:lnTo>
                  <a:lnTo>
                    <a:pt x="322" y="32"/>
                  </a:lnTo>
                  <a:lnTo>
                    <a:pt x="321" y="35"/>
                  </a:lnTo>
                  <a:lnTo>
                    <a:pt x="322" y="35"/>
                  </a:lnTo>
                  <a:lnTo>
                    <a:pt x="325" y="35"/>
                  </a:lnTo>
                  <a:lnTo>
                    <a:pt x="327" y="35"/>
                  </a:lnTo>
                  <a:lnTo>
                    <a:pt x="326" y="36"/>
                  </a:lnTo>
                  <a:lnTo>
                    <a:pt x="324" y="39"/>
                  </a:lnTo>
                  <a:lnTo>
                    <a:pt x="322" y="39"/>
                  </a:lnTo>
                  <a:lnTo>
                    <a:pt x="322" y="40"/>
                  </a:lnTo>
                  <a:lnTo>
                    <a:pt x="324" y="39"/>
                  </a:lnTo>
                  <a:lnTo>
                    <a:pt x="325" y="39"/>
                  </a:lnTo>
                  <a:lnTo>
                    <a:pt x="324" y="40"/>
                  </a:lnTo>
                  <a:lnTo>
                    <a:pt x="325" y="41"/>
                  </a:lnTo>
                  <a:lnTo>
                    <a:pt x="324" y="42"/>
                  </a:lnTo>
                  <a:lnTo>
                    <a:pt x="322" y="42"/>
                  </a:lnTo>
                  <a:lnTo>
                    <a:pt x="324" y="43"/>
                  </a:lnTo>
                  <a:lnTo>
                    <a:pt x="326" y="42"/>
                  </a:lnTo>
                  <a:lnTo>
                    <a:pt x="328" y="42"/>
                  </a:lnTo>
                  <a:lnTo>
                    <a:pt x="330" y="42"/>
                  </a:lnTo>
                  <a:lnTo>
                    <a:pt x="327" y="45"/>
                  </a:lnTo>
                  <a:lnTo>
                    <a:pt x="325" y="46"/>
                  </a:lnTo>
                  <a:lnTo>
                    <a:pt x="324" y="47"/>
                  </a:lnTo>
                  <a:lnTo>
                    <a:pt x="322" y="49"/>
                  </a:lnTo>
                  <a:lnTo>
                    <a:pt x="325" y="49"/>
                  </a:lnTo>
                  <a:lnTo>
                    <a:pt x="326" y="49"/>
                  </a:lnTo>
                  <a:lnTo>
                    <a:pt x="327" y="48"/>
                  </a:lnTo>
                  <a:lnTo>
                    <a:pt x="328" y="48"/>
                  </a:lnTo>
                  <a:lnTo>
                    <a:pt x="331" y="48"/>
                  </a:lnTo>
                  <a:lnTo>
                    <a:pt x="330" y="49"/>
                  </a:lnTo>
                  <a:lnTo>
                    <a:pt x="330" y="52"/>
                  </a:lnTo>
                  <a:lnTo>
                    <a:pt x="331" y="53"/>
                  </a:lnTo>
                  <a:lnTo>
                    <a:pt x="332" y="54"/>
                  </a:lnTo>
                  <a:lnTo>
                    <a:pt x="330" y="55"/>
                  </a:lnTo>
                  <a:lnTo>
                    <a:pt x="330" y="57"/>
                  </a:lnTo>
                  <a:lnTo>
                    <a:pt x="330" y="59"/>
                  </a:lnTo>
                  <a:lnTo>
                    <a:pt x="330" y="60"/>
                  </a:lnTo>
                  <a:lnTo>
                    <a:pt x="328" y="59"/>
                  </a:lnTo>
                  <a:lnTo>
                    <a:pt x="328" y="60"/>
                  </a:lnTo>
                  <a:lnTo>
                    <a:pt x="328" y="63"/>
                  </a:lnTo>
                  <a:lnTo>
                    <a:pt x="327" y="64"/>
                  </a:lnTo>
                  <a:lnTo>
                    <a:pt x="327" y="66"/>
                  </a:lnTo>
                  <a:lnTo>
                    <a:pt x="326" y="66"/>
                  </a:lnTo>
                  <a:lnTo>
                    <a:pt x="325" y="69"/>
                  </a:lnTo>
                  <a:lnTo>
                    <a:pt x="324" y="69"/>
                  </a:lnTo>
                  <a:lnTo>
                    <a:pt x="322" y="70"/>
                  </a:lnTo>
                  <a:lnTo>
                    <a:pt x="321" y="71"/>
                  </a:lnTo>
                  <a:lnTo>
                    <a:pt x="320" y="70"/>
                  </a:lnTo>
                  <a:lnTo>
                    <a:pt x="320" y="69"/>
                  </a:lnTo>
                  <a:lnTo>
                    <a:pt x="319" y="67"/>
                  </a:lnTo>
                  <a:lnTo>
                    <a:pt x="319" y="70"/>
                  </a:lnTo>
                  <a:lnTo>
                    <a:pt x="318" y="72"/>
                  </a:lnTo>
                  <a:lnTo>
                    <a:pt x="318" y="69"/>
                  </a:lnTo>
                  <a:lnTo>
                    <a:pt x="316" y="71"/>
                  </a:lnTo>
                  <a:lnTo>
                    <a:pt x="316" y="69"/>
                  </a:lnTo>
                  <a:lnTo>
                    <a:pt x="315" y="70"/>
                  </a:lnTo>
                  <a:lnTo>
                    <a:pt x="315" y="72"/>
                  </a:lnTo>
                  <a:lnTo>
                    <a:pt x="316" y="72"/>
                  </a:lnTo>
                  <a:lnTo>
                    <a:pt x="314" y="73"/>
                  </a:lnTo>
                  <a:lnTo>
                    <a:pt x="312" y="73"/>
                  </a:lnTo>
                  <a:lnTo>
                    <a:pt x="310" y="76"/>
                  </a:lnTo>
                  <a:lnTo>
                    <a:pt x="313" y="77"/>
                  </a:lnTo>
                  <a:lnTo>
                    <a:pt x="314" y="77"/>
                  </a:lnTo>
                  <a:lnTo>
                    <a:pt x="314" y="78"/>
                  </a:lnTo>
                  <a:lnTo>
                    <a:pt x="313" y="79"/>
                  </a:lnTo>
                  <a:lnTo>
                    <a:pt x="312" y="78"/>
                  </a:lnTo>
                  <a:lnTo>
                    <a:pt x="312" y="77"/>
                  </a:lnTo>
                  <a:lnTo>
                    <a:pt x="310" y="77"/>
                  </a:lnTo>
                  <a:lnTo>
                    <a:pt x="310" y="79"/>
                  </a:lnTo>
                  <a:lnTo>
                    <a:pt x="313" y="81"/>
                  </a:lnTo>
                  <a:lnTo>
                    <a:pt x="314" y="83"/>
                  </a:lnTo>
                  <a:lnTo>
                    <a:pt x="316" y="82"/>
                  </a:lnTo>
                  <a:lnTo>
                    <a:pt x="320" y="79"/>
                  </a:lnTo>
                  <a:lnTo>
                    <a:pt x="319" y="78"/>
                  </a:lnTo>
                  <a:lnTo>
                    <a:pt x="319" y="76"/>
                  </a:lnTo>
                  <a:lnTo>
                    <a:pt x="320" y="75"/>
                  </a:lnTo>
                  <a:lnTo>
                    <a:pt x="322" y="73"/>
                  </a:lnTo>
                  <a:lnTo>
                    <a:pt x="322" y="75"/>
                  </a:lnTo>
                  <a:lnTo>
                    <a:pt x="324" y="75"/>
                  </a:lnTo>
                  <a:lnTo>
                    <a:pt x="325" y="73"/>
                  </a:lnTo>
                  <a:lnTo>
                    <a:pt x="326" y="73"/>
                  </a:lnTo>
                  <a:lnTo>
                    <a:pt x="327" y="73"/>
                  </a:lnTo>
                  <a:lnTo>
                    <a:pt x="327" y="75"/>
                  </a:lnTo>
                  <a:lnTo>
                    <a:pt x="326" y="76"/>
                  </a:lnTo>
                  <a:lnTo>
                    <a:pt x="327" y="76"/>
                  </a:lnTo>
                  <a:lnTo>
                    <a:pt x="326" y="77"/>
                  </a:lnTo>
                  <a:lnTo>
                    <a:pt x="327" y="77"/>
                  </a:lnTo>
                  <a:lnTo>
                    <a:pt x="327" y="78"/>
                  </a:lnTo>
                  <a:lnTo>
                    <a:pt x="328" y="78"/>
                  </a:lnTo>
                  <a:lnTo>
                    <a:pt x="328" y="77"/>
                  </a:lnTo>
                  <a:lnTo>
                    <a:pt x="327" y="76"/>
                  </a:lnTo>
                  <a:lnTo>
                    <a:pt x="328" y="73"/>
                  </a:lnTo>
                  <a:lnTo>
                    <a:pt x="330" y="75"/>
                  </a:lnTo>
                  <a:lnTo>
                    <a:pt x="331" y="73"/>
                  </a:lnTo>
                  <a:lnTo>
                    <a:pt x="332" y="73"/>
                  </a:lnTo>
                  <a:lnTo>
                    <a:pt x="333" y="75"/>
                  </a:lnTo>
                  <a:lnTo>
                    <a:pt x="334" y="76"/>
                  </a:lnTo>
                  <a:lnTo>
                    <a:pt x="334" y="77"/>
                  </a:lnTo>
                  <a:lnTo>
                    <a:pt x="332" y="78"/>
                  </a:lnTo>
                  <a:lnTo>
                    <a:pt x="332" y="77"/>
                  </a:lnTo>
                  <a:lnTo>
                    <a:pt x="331" y="77"/>
                  </a:lnTo>
                  <a:lnTo>
                    <a:pt x="326" y="81"/>
                  </a:lnTo>
                  <a:lnTo>
                    <a:pt x="327" y="82"/>
                  </a:lnTo>
                  <a:lnTo>
                    <a:pt x="328" y="82"/>
                  </a:lnTo>
                  <a:lnTo>
                    <a:pt x="328" y="83"/>
                  </a:lnTo>
                  <a:lnTo>
                    <a:pt x="331" y="84"/>
                  </a:lnTo>
                  <a:lnTo>
                    <a:pt x="332" y="85"/>
                  </a:lnTo>
                  <a:lnTo>
                    <a:pt x="332" y="87"/>
                  </a:lnTo>
                  <a:lnTo>
                    <a:pt x="333" y="85"/>
                  </a:lnTo>
                  <a:lnTo>
                    <a:pt x="334" y="87"/>
                  </a:lnTo>
                  <a:lnTo>
                    <a:pt x="336" y="85"/>
                  </a:lnTo>
                  <a:lnTo>
                    <a:pt x="334" y="88"/>
                  </a:lnTo>
                  <a:lnTo>
                    <a:pt x="333" y="89"/>
                  </a:lnTo>
                  <a:lnTo>
                    <a:pt x="333" y="90"/>
                  </a:lnTo>
                  <a:lnTo>
                    <a:pt x="334" y="91"/>
                  </a:lnTo>
                  <a:lnTo>
                    <a:pt x="336" y="91"/>
                  </a:lnTo>
                  <a:lnTo>
                    <a:pt x="337" y="91"/>
                  </a:lnTo>
                  <a:lnTo>
                    <a:pt x="338" y="90"/>
                  </a:lnTo>
                  <a:lnTo>
                    <a:pt x="338" y="88"/>
                  </a:lnTo>
                  <a:lnTo>
                    <a:pt x="339" y="87"/>
                  </a:lnTo>
                  <a:lnTo>
                    <a:pt x="338" y="87"/>
                  </a:lnTo>
                  <a:lnTo>
                    <a:pt x="338" y="84"/>
                  </a:lnTo>
                  <a:lnTo>
                    <a:pt x="339" y="83"/>
                  </a:lnTo>
                  <a:lnTo>
                    <a:pt x="341" y="82"/>
                  </a:lnTo>
                  <a:lnTo>
                    <a:pt x="342" y="82"/>
                  </a:lnTo>
                  <a:lnTo>
                    <a:pt x="343" y="82"/>
                  </a:lnTo>
                  <a:lnTo>
                    <a:pt x="344" y="82"/>
                  </a:lnTo>
                  <a:lnTo>
                    <a:pt x="345" y="82"/>
                  </a:lnTo>
                  <a:lnTo>
                    <a:pt x="345" y="83"/>
                  </a:lnTo>
                  <a:lnTo>
                    <a:pt x="345" y="84"/>
                  </a:lnTo>
                  <a:lnTo>
                    <a:pt x="345" y="87"/>
                  </a:lnTo>
                  <a:lnTo>
                    <a:pt x="343" y="87"/>
                  </a:lnTo>
                  <a:lnTo>
                    <a:pt x="344" y="88"/>
                  </a:lnTo>
                  <a:lnTo>
                    <a:pt x="343" y="89"/>
                  </a:lnTo>
                  <a:lnTo>
                    <a:pt x="343" y="90"/>
                  </a:lnTo>
                  <a:lnTo>
                    <a:pt x="344" y="91"/>
                  </a:lnTo>
                  <a:lnTo>
                    <a:pt x="344" y="90"/>
                  </a:lnTo>
                  <a:lnTo>
                    <a:pt x="345" y="90"/>
                  </a:lnTo>
                  <a:lnTo>
                    <a:pt x="345" y="89"/>
                  </a:lnTo>
                  <a:lnTo>
                    <a:pt x="347" y="89"/>
                  </a:lnTo>
                  <a:lnTo>
                    <a:pt x="347" y="90"/>
                  </a:lnTo>
                  <a:lnTo>
                    <a:pt x="348" y="90"/>
                  </a:lnTo>
                  <a:lnTo>
                    <a:pt x="349" y="89"/>
                  </a:lnTo>
                  <a:lnTo>
                    <a:pt x="350" y="88"/>
                  </a:lnTo>
                  <a:lnTo>
                    <a:pt x="351" y="87"/>
                  </a:lnTo>
                  <a:lnTo>
                    <a:pt x="353" y="87"/>
                  </a:lnTo>
                  <a:lnTo>
                    <a:pt x="351" y="85"/>
                  </a:lnTo>
                  <a:lnTo>
                    <a:pt x="353" y="84"/>
                  </a:lnTo>
                  <a:lnTo>
                    <a:pt x="354" y="84"/>
                  </a:lnTo>
                  <a:lnTo>
                    <a:pt x="353" y="85"/>
                  </a:lnTo>
                  <a:lnTo>
                    <a:pt x="355" y="85"/>
                  </a:lnTo>
                  <a:lnTo>
                    <a:pt x="354" y="84"/>
                  </a:lnTo>
                  <a:lnTo>
                    <a:pt x="351" y="82"/>
                  </a:lnTo>
                  <a:lnTo>
                    <a:pt x="349" y="82"/>
                  </a:lnTo>
                  <a:lnTo>
                    <a:pt x="347" y="82"/>
                  </a:lnTo>
                  <a:lnTo>
                    <a:pt x="347" y="81"/>
                  </a:lnTo>
                  <a:lnTo>
                    <a:pt x="348" y="81"/>
                  </a:lnTo>
                  <a:lnTo>
                    <a:pt x="349" y="81"/>
                  </a:lnTo>
                  <a:lnTo>
                    <a:pt x="349" y="79"/>
                  </a:lnTo>
                  <a:lnTo>
                    <a:pt x="349" y="81"/>
                  </a:lnTo>
                  <a:lnTo>
                    <a:pt x="350" y="79"/>
                  </a:lnTo>
                  <a:lnTo>
                    <a:pt x="351" y="79"/>
                  </a:lnTo>
                  <a:lnTo>
                    <a:pt x="351" y="81"/>
                  </a:lnTo>
                  <a:lnTo>
                    <a:pt x="353" y="82"/>
                  </a:lnTo>
                  <a:lnTo>
                    <a:pt x="355" y="84"/>
                  </a:lnTo>
                  <a:lnTo>
                    <a:pt x="356" y="84"/>
                  </a:lnTo>
                  <a:lnTo>
                    <a:pt x="357" y="83"/>
                  </a:lnTo>
                  <a:lnTo>
                    <a:pt x="357" y="82"/>
                  </a:lnTo>
                  <a:lnTo>
                    <a:pt x="359" y="82"/>
                  </a:lnTo>
                  <a:lnTo>
                    <a:pt x="360" y="83"/>
                  </a:lnTo>
                  <a:lnTo>
                    <a:pt x="360" y="84"/>
                  </a:lnTo>
                  <a:lnTo>
                    <a:pt x="361" y="85"/>
                  </a:lnTo>
                  <a:lnTo>
                    <a:pt x="361" y="84"/>
                  </a:lnTo>
                  <a:lnTo>
                    <a:pt x="362" y="83"/>
                  </a:lnTo>
                  <a:lnTo>
                    <a:pt x="363" y="83"/>
                  </a:lnTo>
                  <a:lnTo>
                    <a:pt x="365" y="83"/>
                  </a:lnTo>
                  <a:lnTo>
                    <a:pt x="365" y="81"/>
                  </a:lnTo>
                  <a:lnTo>
                    <a:pt x="361" y="79"/>
                  </a:lnTo>
                  <a:lnTo>
                    <a:pt x="356" y="78"/>
                  </a:lnTo>
                  <a:lnTo>
                    <a:pt x="357" y="77"/>
                  </a:lnTo>
                  <a:lnTo>
                    <a:pt x="359" y="76"/>
                  </a:lnTo>
                  <a:lnTo>
                    <a:pt x="360" y="76"/>
                  </a:lnTo>
                  <a:lnTo>
                    <a:pt x="361" y="76"/>
                  </a:lnTo>
                  <a:lnTo>
                    <a:pt x="362" y="76"/>
                  </a:lnTo>
                  <a:lnTo>
                    <a:pt x="363" y="75"/>
                  </a:lnTo>
                  <a:lnTo>
                    <a:pt x="365" y="76"/>
                  </a:lnTo>
                  <a:lnTo>
                    <a:pt x="365" y="77"/>
                  </a:lnTo>
                  <a:lnTo>
                    <a:pt x="366" y="81"/>
                  </a:lnTo>
                  <a:lnTo>
                    <a:pt x="367" y="82"/>
                  </a:lnTo>
                  <a:lnTo>
                    <a:pt x="368" y="81"/>
                  </a:lnTo>
                  <a:lnTo>
                    <a:pt x="369" y="79"/>
                  </a:lnTo>
                  <a:lnTo>
                    <a:pt x="371" y="77"/>
                  </a:lnTo>
                  <a:lnTo>
                    <a:pt x="371" y="76"/>
                  </a:lnTo>
                  <a:lnTo>
                    <a:pt x="372" y="75"/>
                  </a:lnTo>
                  <a:lnTo>
                    <a:pt x="373" y="76"/>
                  </a:lnTo>
                  <a:lnTo>
                    <a:pt x="373" y="77"/>
                  </a:lnTo>
                  <a:lnTo>
                    <a:pt x="374" y="78"/>
                  </a:lnTo>
                  <a:lnTo>
                    <a:pt x="375" y="77"/>
                  </a:lnTo>
                  <a:lnTo>
                    <a:pt x="377" y="77"/>
                  </a:lnTo>
                  <a:lnTo>
                    <a:pt x="378" y="78"/>
                  </a:lnTo>
                  <a:lnTo>
                    <a:pt x="379" y="79"/>
                  </a:lnTo>
                  <a:lnTo>
                    <a:pt x="377" y="81"/>
                  </a:lnTo>
                  <a:lnTo>
                    <a:pt x="375" y="81"/>
                  </a:lnTo>
                  <a:lnTo>
                    <a:pt x="374" y="81"/>
                  </a:lnTo>
                  <a:lnTo>
                    <a:pt x="373" y="81"/>
                  </a:lnTo>
                  <a:lnTo>
                    <a:pt x="373" y="82"/>
                  </a:lnTo>
                  <a:lnTo>
                    <a:pt x="372" y="82"/>
                  </a:lnTo>
                  <a:lnTo>
                    <a:pt x="373" y="83"/>
                  </a:lnTo>
                  <a:lnTo>
                    <a:pt x="374" y="85"/>
                  </a:lnTo>
                  <a:lnTo>
                    <a:pt x="375" y="84"/>
                  </a:lnTo>
                  <a:lnTo>
                    <a:pt x="377" y="85"/>
                  </a:lnTo>
                  <a:lnTo>
                    <a:pt x="377" y="84"/>
                  </a:lnTo>
                  <a:lnTo>
                    <a:pt x="379" y="84"/>
                  </a:lnTo>
                  <a:lnTo>
                    <a:pt x="378" y="83"/>
                  </a:lnTo>
                  <a:lnTo>
                    <a:pt x="377" y="82"/>
                  </a:lnTo>
                  <a:lnTo>
                    <a:pt x="378" y="82"/>
                  </a:lnTo>
                  <a:lnTo>
                    <a:pt x="380" y="79"/>
                  </a:lnTo>
                  <a:lnTo>
                    <a:pt x="381" y="78"/>
                  </a:lnTo>
                  <a:lnTo>
                    <a:pt x="381" y="76"/>
                  </a:lnTo>
                  <a:lnTo>
                    <a:pt x="384" y="77"/>
                  </a:lnTo>
                  <a:lnTo>
                    <a:pt x="384" y="76"/>
                  </a:lnTo>
                  <a:lnTo>
                    <a:pt x="384" y="75"/>
                  </a:lnTo>
                  <a:lnTo>
                    <a:pt x="384" y="73"/>
                  </a:lnTo>
                  <a:lnTo>
                    <a:pt x="384" y="72"/>
                  </a:lnTo>
                  <a:lnTo>
                    <a:pt x="385" y="71"/>
                  </a:lnTo>
                  <a:lnTo>
                    <a:pt x="384" y="71"/>
                  </a:lnTo>
                  <a:lnTo>
                    <a:pt x="385" y="70"/>
                  </a:lnTo>
                  <a:lnTo>
                    <a:pt x="386" y="70"/>
                  </a:lnTo>
                  <a:lnTo>
                    <a:pt x="385" y="69"/>
                  </a:lnTo>
                  <a:lnTo>
                    <a:pt x="386" y="67"/>
                  </a:lnTo>
                  <a:lnTo>
                    <a:pt x="387" y="66"/>
                  </a:lnTo>
                  <a:lnTo>
                    <a:pt x="389" y="66"/>
                  </a:lnTo>
                  <a:lnTo>
                    <a:pt x="391" y="66"/>
                  </a:lnTo>
                  <a:lnTo>
                    <a:pt x="390" y="65"/>
                  </a:lnTo>
                  <a:lnTo>
                    <a:pt x="389" y="64"/>
                  </a:lnTo>
                  <a:lnTo>
                    <a:pt x="386" y="65"/>
                  </a:lnTo>
                  <a:lnTo>
                    <a:pt x="387" y="64"/>
                  </a:lnTo>
                  <a:lnTo>
                    <a:pt x="389" y="63"/>
                  </a:lnTo>
                  <a:lnTo>
                    <a:pt x="391" y="64"/>
                  </a:lnTo>
                  <a:lnTo>
                    <a:pt x="392" y="64"/>
                  </a:lnTo>
                  <a:lnTo>
                    <a:pt x="392" y="65"/>
                  </a:lnTo>
                  <a:lnTo>
                    <a:pt x="395" y="65"/>
                  </a:lnTo>
                  <a:lnTo>
                    <a:pt x="395" y="66"/>
                  </a:lnTo>
                  <a:lnTo>
                    <a:pt x="397" y="64"/>
                  </a:lnTo>
                  <a:lnTo>
                    <a:pt x="397" y="61"/>
                  </a:lnTo>
                  <a:lnTo>
                    <a:pt x="398" y="60"/>
                  </a:lnTo>
                  <a:lnTo>
                    <a:pt x="399" y="60"/>
                  </a:lnTo>
                  <a:lnTo>
                    <a:pt x="399" y="63"/>
                  </a:lnTo>
                  <a:lnTo>
                    <a:pt x="401" y="61"/>
                  </a:lnTo>
                  <a:lnTo>
                    <a:pt x="402" y="60"/>
                  </a:lnTo>
                  <a:lnTo>
                    <a:pt x="403" y="60"/>
                  </a:lnTo>
                  <a:lnTo>
                    <a:pt x="404" y="61"/>
                  </a:lnTo>
                  <a:lnTo>
                    <a:pt x="406" y="61"/>
                  </a:lnTo>
                  <a:lnTo>
                    <a:pt x="407" y="61"/>
                  </a:lnTo>
                  <a:lnTo>
                    <a:pt x="404" y="63"/>
                  </a:lnTo>
                  <a:lnTo>
                    <a:pt x="401" y="64"/>
                  </a:lnTo>
                  <a:lnTo>
                    <a:pt x="402" y="66"/>
                  </a:lnTo>
                  <a:lnTo>
                    <a:pt x="403" y="65"/>
                  </a:lnTo>
                  <a:lnTo>
                    <a:pt x="407" y="63"/>
                  </a:lnTo>
                  <a:lnTo>
                    <a:pt x="404" y="65"/>
                  </a:lnTo>
                  <a:lnTo>
                    <a:pt x="406" y="67"/>
                  </a:lnTo>
                  <a:lnTo>
                    <a:pt x="404" y="67"/>
                  </a:lnTo>
                  <a:lnTo>
                    <a:pt x="403" y="69"/>
                  </a:lnTo>
                  <a:lnTo>
                    <a:pt x="404" y="69"/>
                  </a:lnTo>
                  <a:lnTo>
                    <a:pt x="406" y="70"/>
                  </a:lnTo>
                  <a:lnTo>
                    <a:pt x="408" y="70"/>
                  </a:lnTo>
                  <a:lnTo>
                    <a:pt x="408" y="71"/>
                  </a:lnTo>
                  <a:lnTo>
                    <a:pt x="410" y="71"/>
                  </a:lnTo>
                  <a:lnTo>
                    <a:pt x="412" y="72"/>
                  </a:lnTo>
                  <a:lnTo>
                    <a:pt x="410" y="72"/>
                  </a:lnTo>
                  <a:lnTo>
                    <a:pt x="412" y="72"/>
                  </a:lnTo>
                  <a:lnTo>
                    <a:pt x="412" y="75"/>
                  </a:lnTo>
                  <a:lnTo>
                    <a:pt x="409" y="75"/>
                  </a:lnTo>
                  <a:lnTo>
                    <a:pt x="410" y="76"/>
                  </a:lnTo>
                  <a:lnTo>
                    <a:pt x="412" y="77"/>
                  </a:lnTo>
                  <a:lnTo>
                    <a:pt x="413" y="76"/>
                  </a:lnTo>
                  <a:lnTo>
                    <a:pt x="414" y="77"/>
                  </a:lnTo>
                  <a:lnTo>
                    <a:pt x="414" y="79"/>
                  </a:lnTo>
                  <a:lnTo>
                    <a:pt x="415" y="81"/>
                  </a:lnTo>
                  <a:lnTo>
                    <a:pt x="414" y="82"/>
                  </a:lnTo>
                  <a:lnTo>
                    <a:pt x="414" y="84"/>
                  </a:lnTo>
                  <a:lnTo>
                    <a:pt x="413" y="85"/>
                  </a:lnTo>
                  <a:lnTo>
                    <a:pt x="413" y="82"/>
                  </a:lnTo>
                  <a:lnTo>
                    <a:pt x="412" y="78"/>
                  </a:lnTo>
                  <a:lnTo>
                    <a:pt x="409" y="78"/>
                  </a:lnTo>
                  <a:lnTo>
                    <a:pt x="407" y="76"/>
                  </a:lnTo>
                  <a:lnTo>
                    <a:pt x="407" y="77"/>
                  </a:lnTo>
                  <a:lnTo>
                    <a:pt x="407" y="79"/>
                  </a:lnTo>
                  <a:lnTo>
                    <a:pt x="407" y="82"/>
                  </a:lnTo>
                  <a:lnTo>
                    <a:pt x="406" y="83"/>
                  </a:lnTo>
                  <a:lnTo>
                    <a:pt x="404" y="84"/>
                  </a:lnTo>
                  <a:lnTo>
                    <a:pt x="402" y="84"/>
                  </a:lnTo>
                  <a:lnTo>
                    <a:pt x="402" y="83"/>
                  </a:lnTo>
                  <a:lnTo>
                    <a:pt x="399" y="84"/>
                  </a:lnTo>
                  <a:lnTo>
                    <a:pt x="395" y="85"/>
                  </a:lnTo>
                  <a:lnTo>
                    <a:pt x="392" y="85"/>
                  </a:lnTo>
                  <a:lnTo>
                    <a:pt x="392" y="87"/>
                  </a:lnTo>
                  <a:lnTo>
                    <a:pt x="392" y="88"/>
                  </a:lnTo>
                  <a:lnTo>
                    <a:pt x="395" y="87"/>
                  </a:lnTo>
                  <a:lnTo>
                    <a:pt x="393" y="88"/>
                  </a:lnTo>
                  <a:lnTo>
                    <a:pt x="396" y="87"/>
                  </a:lnTo>
                  <a:lnTo>
                    <a:pt x="398" y="85"/>
                  </a:lnTo>
                  <a:lnTo>
                    <a:pt x="402" y="85"/>
                  </a:lnTo>
                  <a:lnTo>
                    <a:pt x="404" y="85"/>
                  </a:lnTo>
                  <a:lnTo>
                    <a:pt x="407" y="85"/>
                  </a:lnTo>
                  <a:lnTo>
                    <a:pt x="407" y="88"/>
                  </a:lnTo>
                  <a:lnTo>
                    <a:pt x="406" y="88"/>
                  </a:lnTo>
                  <a:lnTo>
                    <a:pt x="404" y="88"/>
                  </a:lnTo>
                  <a:lnTo>
                    <a:pt x="406" y="89"/>
                  </a:lnTo>
                  <a:lnTo>
                    <a:pt x="403" y="89"/>
                  </a:lnTo>
                  <a:lnTo>
                    <a:pt x="403" y="90"/>
                  </a:lnTo>
                  <a:lnTo>
                    <a:pt x="403" y="91"/>
                  </a:lnTo>
                  <a:lnTo>
                    <a:pt x="401" y="91"/>
                  </a:lnTo>
                  <a:lnTo>
                    <a:pt x="402" y="93"/>
                  </a:lnTo>
                  <a:lnTo>
                    <a:pt x="404" y="94"/>
                  </a:lnTo>
                  <a:lnTo>
                    <a:pt x="404" y="95"/>
                  </a:lnTo>
                  <a:lnTo>
                    <a:pt x="403" y="96"/>
                  </a:lnTo>
                  <a:lnTo>
                    <a:pt x="403" y="97"/>
                  </a:lnTo>
                  <a:lnTo>
                    <a:pt x="402" y="96"/>
                  </a:lnTo>
                  <a:lnTo>
                    <a:pt x="401" y="96"/>
                  </a:lnTo>
                  <a:lnTo>
                    <a:pt x="399" y="95"/>
                  </a:lnTo>
                  <a:lnTo>
                    <a:pt x="398" y="91"/>
                  </a:lnTo>
                  <a:lnTo>
                    <a:pt x="398" y="90"/>
                  </a:lnTo>
                  <a:lnTo>
                    <a:pt x="397" y="89"/>
                  </a:lnTo>
                  <a:lnTo>
                    <a:pt x="396" y="89"/>
                  </a:lnTo>
                  <a:lnTo>
                    <a:pt x="395" y="90"/>
                  </a:lnTo>
                  <a:lnTo>
                    <a:pt x="395" y="93"/>
                  </a:lnTo>
                  <a:lnTo>
                    <a:pt x="393" y="94"/>
                  </a:lnTo>
                  <a:lnTo>
                    <a:pt x="390" y="97"/>
                  </a:lnTo>
                  <a:lnTo>
                    <a:pt x="390" y="95"/>
                  </a:lnTo>
                  <a:lnTo>
                    <a:pt x="391" y="94"/>
                  </a:lnTo>
                  <a:lnTo>
                    <a:pt x="389" y="95"/>
                  </a:lnTo>
                  <a:lnTo>
                    <a:pt x="385" y="100"/>
                  </a:lnTo>
                  <a:lnTo>
                    <a:pt x="386" y="96"/>
                  </a:lnTo>
                  <a:lnTo>
                    <a:pt x="386" y="95"/>
                  </a:lnTo>
                  <a:lnTo>
                    <a:pt x="386" y="94"/>
                  </a:lnTo>
                  <a:lnTo>
                    <a:pt x="385" y="94"/>
                  </a:lnTo>
                  <a:lnTo>
                    <a:pt x="384" y="96"/>
                  </a:lnTo>
                  <a:lnTo>
                    <a:pt x="383" y="97"/>
                  </a:lnTo>
                  <a:lnTo>
                    <a:pt x="383" y="100"/>
                  </a:lnTo>
                  <a:lnTo>
                    <a:pt x="381" y="101"/>
                  </a:lnTo>
                  <a:lnTo>
                    <a:pt x="381" y="102"/>
                  </a:lnTo>
                  <a:lnTo>
                    <a:pt x="380" y="103"/>
                  </a:lnTo>
                  <a:lnTo>
                    <a:pt x="381" y="102"/>
                  </a:lnTo>
                  <a:lnTo>
                    <a:pt x="383" y="103"/>
                  </a:lnTo>
                  <a:lnTo>
                    <a:pt x="383" y="102"/>
                  </a:lnTo>
                  <a:lnTo>
                    <a:pt x="383" y="105"/>
                  </a:lnTo>
                  <a:lnTo>
                    <a:pt x="381" y="107"/>
                  </a:lnTo>
                  <a:lnTo>
                    <a:pt x="381" y="108"/>
                  </a:lnTo>
                  <a:lnTo>
                    <a:pt x="380" y="109"/>
                  </a:lnTo>
                  <a:lnTo>
                    <a:pt x="381" y="112"/>
                  </a:lnTo>
                  <a:lnTo>
                    <a:pt x="383" y="111"/>
                  </a:lnTo>
                  <a:lnTo>
                    <a:pt x="384" y="111"/>
                  </a:lnTo>
                  <a:lnTo>
                    <a:pt x="386" y="111"/>
                  </a:lnTo>
                  <a:lnTo>
                    <a:pt x="387" y="111"/>
                  </a:lnTo>
                  <a:lnTo>
                    <a:pt x="389" y="112"/>
                  </a:lnTo>
                  <a:lnTo>
                    <a:pt x="389" y="113"/>
                  </a:lnTo>
                  <a:lnTo>
                    <a:pt x="387" y="113"/>
                  </a:lnTo>
                  <a:lnTo>
                    <a:pt x="387" y="114"/>
                  </a:lnTo>
                  <a:lnTo>
                    <a:pt x="387" y="115"/>
                  </a:lnTo>
                  <a:lnTo>
                    <a:pt x="387" y="118"/>
                  </a:lnTo>
                  <a:lnTo>
                    <a:pt x="385" y="115"/>
                  </a:lnTo>
                  <a:lnTo>
                    <a:pt x="384" y="115"/>
                  </a:lnTo>
                  <a:lnTo>
                    <a:pt x="383" y="114"/>
                  </a:lnTo>
                  <a:lnTo>
                    <a:pt x="381" y="113"/>
                  </a:lnTo>
                  <a:lnTo>
                    <a:pt x="381" y="114"/>
                  </a:lnTo>
                  <a:lnTo>
                    <a:pt x="379" y="115"/>
                  </a:lnTo>
                  <a:lnTo>
                    <a:pt x="381" y="115"/>
                  </a:lnTo>
                  <a:lnTo>
                    <a:pt x="379" y="115"/>
                  </a:lnTo>
                  <a:lnTo>
                    <a:pt x="380" y="117"/>
                  </a:lnTo>
                  <a:lnTo>
                    <a:pt x="381" y="118"/>
                  </a:lnTo>
                  <a:lnTo>
                    <a:pt x="384" y="118"/>
                  </a:lnTo>
                  <a:lnTo>
                    <a:pt x="385" y="117"/>
                  </a:lnTo>
                  <a:lnTo>
                    <a:pt x="386" y="118"/>
                  </a:lnTo>
                  <a:lnTo>
                    <a:pt x="386" y="119"/>
                  </a:lnTo>
                  <a:lnTo>
                    <a:pt x="387" y="120"/>
                  </a:lnTo>
                  <a:lnTo>
                    <a:pt x="386" y="120"/>
                  </a:lnTo>
                  <a:lnTo>
                    <a:pt x="387" y="121"/>
                  </a:lnTo>
                  <a:lnTo>
                    <a:pt x="386" y="123"/>
                  </a:lnTo>
                  <a:lnTo>
                    <a:pt x="385" y="120"/>
                  </a:lnTo>
                  <a:lnTo>
                    <a:pt x="383" y="118"/>
                  </a:lnTo>
                  <a:lnTo>
                    <a:pt x="383" y="119"/>
                  </a:lnTo>
                  <a:lnTo>
                    <a:pt x="383" y="120"/>
                  </a:lnTo>
                  <a:lnTo>
                    <a:pt x="383" y="123"/>
                  </a:lnTo>
                  <a:lnTo>
                    <a:pt x="383" y="126"/>
                  </a:lnTo>
                  <a:lnTo>
                    <a:pt x="381" y="123"/>
                  </a:lnTo>
                  <a:lnTo>
                    <a:pt x="380" y="124"/>
                  </a:lnTo>
                  <a:lnTo>
                    <a:pt x="380" y="123"/>
                  </a:lnTo>
                  <a:lnTo>
                    <a:pt x="380" y="120"/>
                  </a:lnTo>
                  <a:lnTo>
                    <a:pt x="379" y="120"/>
                  </a:lnTo>
                  <a:lnTo>
                    <a:pt x="378" y="119"/>
                  </a:lnTo>
                  <a:lnTo>
                    <a:pt x="379" y="120"/>
                  </a:lnTo>
                  <a:lnTo>
                    <a:pt x="378" y="125"/>
                  </a:lnTo>
                  <a:lnTo>
                    <a:pt x="375" y="123"/>
                  </a:lnTo>
                  <a:lnTo>
                    <a:pt x="375" y="120"/>
                  </a:lnTo>
                  <a:lnTo>
                    <a:pt x="375" y="121"/>
                  </a:lnTo>
                  <a:lnTo>
                    <a:pt x="375" y="125"/>
                  </a:lnTo>
                  <a:lnTo>
                    <a:pt x="377" y="127"/>
                  </a:lnTo>
                  <a:lnTo>
                    <a:pt x="377" y="130"/>
                  </a:lnTo>
                  <a:lnTo>
                    <a:pt x="377" y="131"/>
                  </a:lnTo>
                  <a:lnTo>
                    <a:pt x="375" y="131"/>
                  </a:lnTo>
                  <a:lnTo>
                    <a:pt x="375" y="132"/>
                  </a:lnTo>
                  <a:lnTo>
                    <a:pt x="375" y="133"/>
                  </a:lnTo>
                  <a:lnTo>
                    <a:pt x="374" y="136"/>
                  </a:lnTo>
                  <a:lnTo>
                    <a:pt x="374" y="133"/>
                  </a:lnTo>
                  <a:lnTo>
                    <a:pt x="373" y="133"/>
                  </a:lnTo>
                  <a:lnTo>
                    <a:pt x="373" y="132"/>
                  </a:lnTo>
                  <a:lnTo>
                    <a:pt x="372" y="131"/>
                  </a:lnTo>
                  <a:lnTo>
                    <a:pt x="372" y="130"/>
                  </a:lnTo>
                  <a:lnTo>
                    <a:pt x="371" y="130"/>
                  </a:lnTo>
                  <a:lnTo>
                    <a:pt x="372" y="129"/>
                  </a:lnTo>
                  <a:lnTo>
                    <a:pt x="372" y="126"/>
                  </a:lnTo>
                  <a:lnTo>
                    <a:pt x="374" y="125"/>
                  </a:lnTo>
                  <a:lnTo>
                    <a:pt x="374" y="123"/>
                  </a:lnTo>
                  <a:lnTo>
                    <a:pt x="373" y="124"/>
                  </a:lnTo>
                  <a:lnTo>
                    <a:pt x="372" y="125"/>
                  </a:lnTo>
                  <a:lnTo>
                    <a:pt x="373" y="123"/>
                  </a:lnTo>
                  <a:lnTo>
                    <a:pt x="372" y="124"/>
                  </a:lnTo>
                  <a:lnTo>
                    <a:pt x="371" y="124"/>
                  </a:lnTo>
                  <a:lnTo>
                    <a:pt x="369" y="125"/>
                  </a:lnTo>
                  <a:lnTo>
                    <a:pt x="369" y="124"/>
                  </a:lnTo>
                  <a:lnTo>
                    <a:pt x="368" y="124"/>
                  </a:lnTo>
                  <a:lnTo>
                    <a:pt x="366" y="124"/>
                  </a:lnTo>
                  <a:lnTo>
                    <a:pt x="365" y="124"/>
                  </a:lnTo>
                  <a:lnTo>
                    <a:pt x="367" y="125"/>
                  </a:lnTo>
                  <a:lnTo>
                    <a:pt x="365" y="126"/>
                  </a:lnTo>
                  <a:lnTo>
                    <a:pt x="363" y="129"/>
                  </a:lnTo>
                  <a:lnTo>
                    <a:pt x="362" y="131"/>
                  </a:lnTo>
                  <a:lnTo>
                    <a:pt x="363" y="131"/>
                  </a:lnTo>
                  <a:lnTo>
                    <a:pt x="366" y="132"/>
                  </a:lnTo>
                  <a:lnTo>
                    <a:pt x="365" y="133"/>
                  </a:lnTo>
                  <a:lnTo>
                    <a:pt x="366" y="133"/>
                  </a:lnTo>
                  <a:lnTo>
                    <a:pt x="366" y="135"/>
                  </a:lnTo>
                  <a:lnTo>
                    <a:pt x="366" y="136"/>
                  </a:lnTo>
                  <a:lnTo>
                    <a:pt x="368" y="137"/>
                  </a:lnTo>
                  <a:lnTo>
                    <a:pt x="369" y="136"/>
                  </a:lnTo>
                  <a:lnTo>
                    <a:pt x="368" y="136"/>
                  </a:lnTo>
                  <a:lnTo>
                    <a:pt x="367" y="135"/>
                  </a:lnTo>
                  <a:lnTo>
                    <a:pt x="369" y="133"/>
                  </a:lnTo>
                  <a:lnTo>
                    <a:pt x="372" y="135"/>
                  </a:lnTo>
                  <a:lnTo>
                    <a:pt x="372" y="136"/>
                  </a:lnTo>
                  <a:lnTo>
                    <a:pt x="373" y="136"/>
                  </a:lnTo>
                  <a:lnTo>
                    <a:pt x="374" y="137"/>
                  </a:lnTo>
                  <a:lnTo>
                    <a:pt x="377" y="136"/>
                  </a:lnTo>
                  <a:lnTo>
                    <a:pt x="378" y="135"/>
                  </a:lnTo>
                  <a:lnTo>
                    <a:pt x="380" y="133"/>
                  </a:lnTo>
                  <a:lnTo>
                    <a:pt x="380" y="135"/>
                  </a:lnTo>
                  <a:lnTo>
                    <a:pt x="380" y="137"/>
                  </a:lnTo>
                  <a:lnTo>
                    <a:pt x="383" y="137"/>
                  </a:lnTo>
                  <a:lnTo>
                    <a:pt x="381" y="136"/>
                  </a:lnTo>
                  <a:lnTo>
                    <a:pt x="381" y="135"/>
                  </a:lnTo>
                  <a:lnTo>
                    <a:pt x="383" y="135"/>
                  </a:lnTo>
                  <a:lnTo>
                    <a:pt x="384" y="135"/>
                  </a:lnTo>
                  <a:lnTo>
                    <a:pt x="385" y="135"/>
                  </a:lnTo>
                  <a:lnTo>
                    <a:pt x="386" y="135"/>
                  </a:lnTo>
                  <a:lnTo>
                    <a:pt x="385" y="136"/>
                  </a:lnTo>
                  <a:lnTo>
                    <a:pt x="386" y="135"/>
                  </a:lnTo>
                  <a:lnTo>
                    <a:pt x="385" y="131"/>
                  </a:lnTo>
                  <a:lnTo>
                    <a:pt x="383" y="132"/>
                  </a:lnTo>
                  <a:lnTo>
                    <a:pt x="381" y="133"/>
                  </a:lnTo>
                  <a:lnTo>
                    <a:pt x="380" y="132"/>
                  </a:lnTo>
                  <a:lnTo>
                    <a:pt x="380" y="131"/>
                  </a:lnTo>
                  <a:lnTo>
                    <a:pt x="379" y="130"/>
                  </a:lnTo>
                  <a:lnTo>
                    <a:pt x="381" y="130"/>
                  </a:lnTo>
                  <a:lnTo>
                    <a:pt x="385" y="130"/>
                  </a:lnTo>
                  <a:lnTo>
                    <a:pt x="387" y="130"/>
                  </a:lnTo>
                  <a:lnTo>
                    <a:pt x="386" y="131"/>
                  </a:lnTo>
                  <a:lnTo>
                    <a:pt x="387" y="133"/>
                  </a:lnTo>
                  <a:lnTo>
                    <a:pt x="389" y="133"/>
                  </a:lnTo>
                  <a:lnTo>
                    <a:pt x="389" y="132"/>
                  </a:lnTo>
                  <a:lnTo>
                    <a:pt x="390" y="132"/>
                  </a:lnTo>
                  <a:lnTo>
                    <a:pt x="391" y="131"/>
                  </a:lnTo>
                  <a:lnTo>
                    <a:pt x="391" y="130"/>
                  </a:lnTo>
                  <a:lnTo>
                    <a:pt x="392" y="131"/>
                  </a:lnTo>
                  <a:lnTo>
                    <a:pt x="392" y="132"/>
                  </a:lnTo>
                  <a:lnTo>
                    <a:pt x="393" y="132"/>
                  </a:lnTo>
                  <a:lnTo>
                    <a:pt x="392" y="135"/>
                  </a:lnTo>
                  <a:lnTo>
                    <a:pt x="392" y="136"/>
                  </a:lnTo>
                  <a:lnTo>
                    <a:pt x="395" y="135"/>
                  </a:lnTo>
                  <a:lnTo>
                    <a:pt x="396" y="133"/>
                  </a:lnTo>
                  <a:lnTo>
                    <a:pt x="397" y="132"/>
                  </a:lnTo>
                  <a:lnTo>
                    <a:pt x="399" y="132"/>
                  </a:lnTo>
                  <a:lnTo>
                    <a:pt x="396" y="136"/>
                  </a:lnTo>
                  <a:lnTo>
                    <a:pt x="395" y="138"/>
                  </a:lnTo>
                  <a:lnTo>
                    <a:pt x="393" y="142"/>
                  </a:lnTo>
                  <a:lnTo>
                    <a:pt x="395" y="143"/>
                  </a:lnTo>
                  <a:lnTo>
                    <a:pt x="396" y="141"/>
                  </a:lnTo>
                  <a:lnTo>
                    <a:pt x="397" y="138"/>
                  </a:lnTo>
                  <a:lnTo>
                    <a:pt x="397" y="137"/>
                  </a:lnTo>
                  <a:lnTo>
                    <a:pt x="398" y="136"/>
                  </a:lnTo>
                  <a:lnTo>
                    <a:pt x="399" y="137"/>
                  </a:lnTo>
                  <a:lnTo>
                    <a:pt x="401" y="137"/>
                  </a:lnTo>
                  <a:lnTo>
                    <a:pt x="401" y="138"/>
                  </a:lnTo>
                  <a:lnTo>
                    <a:pt x="401" y="139"/>
                  </a:lnTo>
                  <a:lnTo>
                    <a:pt x="401" y="141"/>
                  </a:lnTo>
                  <a:lnTo>
                    <a:pt x="399" y="142"/>
                  </a:lnTo>
                  <a:lnTo>
                    <a:pt x="399" y="144"/>
                  </a:lnTo>
                  <a:lnTo>
                    <a:pt x="401" y="143"/>
                  </a:lnTo>
                  <a:lnTo>
                    <a:pt x="403" y="142"/>
                  </a:lnTo>
                  <a:lnTo>
                    <a:pt x="406" y="142"/>
                  </a:lnTo>
                  <a:lnTo>
                    <a:pt x="407" y="143"/>
                  </a:lnTo>
                  <a:lnTo>
                    <a:pt x="408" y="142"/>
                  </a:lnTo>
                  <a:lnTo>
                    <a:pt x="408" y="143"/>
                  </a:lnTo>
                  <a:lnTo>
                    <a:pt x="409" y="143"/>
                  </a:lnTo>
                  <a:lnTo>
                    <a:pt x="408" y="144"/>
                  </a:lnTo>
                  <a:lnTo>
                    <a:pt x="404" y="146"/>
                  </a:lnTo>
                  <a:lnTo>
                    <a:pt x="403" y="146"/>
                  </a:lnTo>
                  <a:lnTo>
                    <a:pt x="399" y="146"/>
                  </a:lnTo>
                  <a:lnTo>
                    <a:pt x="401" y="147"/>
                  </a:lnTo>
                  <a:lnTo>
                    <a:pt x="402" y="147"/>
                  </a:lnTo>
                  <a:lnTo>
                    <a:pt x="403" y="146"/>
                  </a:lnTo>
                  <a:lnTo>
                    <a:pt x="404" y="147"/>
                  </a:lnTo>
                  <a:lnTo>
                    <a:pt x="406" y="147"/>
                  </a:lnTo>
                  <a:lnTo>
                    <a:pt x="407" y="147"/>
                  </a:lnTo>
                  <a:lnTo>
                    <a:pt x="408" y="148"/>
                  </a:lnTo>
                  <a:lnTo>
                    <a:pt x="409" y="147"/>
                  </a:lnTo>
                  <a:lnTo>
                    <a:pt x="410" y="148"/>
                  </a:lnTo>
                  <a:lnTo>
                    <a:pt x="410" y="147"/>
                  </a:lnTo>
                  <a:lnTo>
                    <a:pt x="410" y="143"/>
                  </a:lnTo>
                  <a:lnTo>
                    <a:pt x="412" y="142"/>
                  </a:lnTo>
                  <a:lnTo>
                    <a:pt x="413" y="141"/>
                  </a:lnTo>
                  <a:lnTo>
                    <a:pt x="410" y="141"/>
                  </a:lnTo>
                  <a:lnTo>
                    <a:pt x="410" y="139"/>
                  </a:lnTo>
                  <a:lnTo>
                    <a:pt x="412" y="137"/>
                  </a:lnTo>
                  <a:lnTo>
                    <a:pt x="414" y="137"/>
                  </a:lnTo>
                  <a:lnTo>
                    <a:pt x="415" y="135"/>
                  </a:lnTo>
                  <a:lnTo>
                    <a:pt x="415" y="136"/>
                  </a:lnTo>
                  <a:lnTo>
                    <a:pt x="415" y="138"/>
                  </a:lnTo>
                  <a:lnTo>
                    <a:pt x="415" y="139"/>
                  </a:lnTo>
                  <a:lnTo>
                    <a:pt x="416" y="141"/>
                  </a:lnTo>
                  <a:lnTo>
                    <a:pt x="416" y="143"/>
                  </a:lnTo>
                  <a:lnTo>
                    <a:pt x="418" y="143"/>
                  </a:lnTo>
                  <a:lnTo>
                    <a:pt x="419" y="144"/>
                  </a:lnTo>
                  <a:lnTo>
                    <a:pt x="418" y="144"/>
                  </a:lnTo>
                  <a:lnTo>
                    <a:pt x="419" y="146"/>
                  </a:lnTo>
                  <a:lnTo>
                    <a:pt x="421" y="147"/>
                  </a:lnTo>
                  <a:lnTo>
                    <a:pt x="422" y="147"/>
                  </a:lnTo>
                  <a:lnTo>
                    <a:pt x="421" y="146"/>
                  </a:lnTo>
                  <a:lnTo>
                    <a:pt x="422" y="146"/>
                  </a:lnTo>
                  <a:lnTo>
                    <a:pt x="426" y="146"/>
                  </a:lnTo>
                  <a:lnTo>
                    <a:pt x="424" y="147"/>
                  </a:lnTo>
                  <a:lnTo>
                    <a:pt x="422" y="148"/>
                  </a:lnTo>
                  <a:lnTo>
                    <a:pt x="424" y="147"/>
                  </a:lnTo>
                  <a:lnTo>
                    <a:pt x="426" y="148"/>
                  </a:lnTo>
                  <a:lnTo>
                    <a:pt x="427" y="149"/>
                  </a:lnTo>
                  <a:lnTo>
                    <a:pt x="426" y="150"/>
                  </a:lnTo>
                  <a:lnTo>
                    <a:pt x="425" y="152"/>
                  </a:lnTo>
                  <a:lnTo>
                    <a:pt x="425" y="153"/>
                  </a:lnTo>
                  <a:lnTo>
                    <a:pt x="422" y="152"/>
                  </a:lnTo>
                  <a:lnTo>
                    <a:pt x="421" y="153"/>
                  </a:lnTo>
                  <a:lnTo>
                    <a:pt x="420" y="154"/>
                  </a:lnTo>
                  <a:lnTo>
                    <a:pt x="421" y="154"/>
                  </a:lnTo>
                  <a:lnTo>
                    <a:pt x="420" y="155"/>
                  </a:lnTo>
                  <a:lnTo>
                    <a:pt x="419" y="158"/>
                  </a:lnTo>
                  <a:lnTo>
                    <a:pt x="419" y="159"/>
                  </a:lnTo>
                  <a:lnTo>
                    <a:pt x="418" y="159"/>
                  </a:lnTo>
                  <a:lnTo>
                    <a:pt x="418" y="161"/>
                  </a:lnTo>
                  <a:lnTo>
                    <a:pt x="419" y="162"/>
                  </a:lnTo>
                  <a:lnTo>
                    <a:pt x="420" y="162"/>
                  </a:lnTo>
                  <a:lnTo>
                    <a:pt x="422" y="161"/>
                  </a:lnTo>
                  <a:lnTo>
                    <a:pt x="425" y="160"/>
                  </a:lnTo>
                  <a:lnTo>
                    <a:pt x="427" y="160"/>
                  </a:lnTo>
                  <a:lnTo>
                    <a:pt x="425" y="161"/>
                  </a:lnTo>
                  <a:lnTo>
                    <a:pt x="422" y="164"/>
                  </a:lnTo>
                  <a:lnTo>
                    <a:pt x="424" y="164"/>
                  </a:lnTo>
                  <a:lnTo>
                    <a:pt x="424" y="165"/>
                  </a:lnTo>
                  <a:lnTo>
                    <a:pt x="427" y="165"/>
                  </a:lnTo>
                  <a:lnTo>
                    <a:pt x="430" y="165"/>
                  </a:lnTo>
                  <a:lnTo>
                    <a:pt x="431" y="164"/>
                  </a:lnTo>
                  <a:lnTo>
                    <a:pt x="432" y="162"/>
                  </a:lnTo>
                  <a:lnTo>
                    <a:pt x="432" y="161"/>
                  </a:lnTo>
                  <a:lnTo>
                    <a:pt x="434" y="159"/>
                  </a:lnTo>
                  <a:lnTo>
                    <a:pt x="437" y="159"/>
                  </a:lnTo>
                  <a:lnTo>
                    <a:pt x="437" y="160"/>
                  </a:lnTo>
                  <a:lnTo>
                    <a:pt x="438" y="160"/>
                  </a:lnTo>
                  <a:lnTo>
                    <a:pt x="437" y="161"/>
                  </a:lnTo>
                  <a:lnTo>
                    <a:pt x="434" y="162"/>
                  </a:lnTo>
                  <a:lnTo>
                    <a:pt x="434" y="165"/>
                  </a:lnTo>
                  <a:lnTo>
                    <a:pt x="436" y="166"/>
                  </a:lnTo>
                  <a:lnTo>
                    <a:pt x="438" y="167"/>
                  </a:lnTo>
                  <a:lnTo>
                    <a:pt x="437" y="168"/>
                  </a:lnTo>
                  <a:lnTo>
                    <a:pt x="438" y="170"/>
                  </a:lnTo>
                  <a:lnTo>
                    <a:pt x="438" y="172"/>
                  </a:lnTo>
                  <a:lnTo>
                    <a:pt x="437" y="172"/>
                  </a:lnTo>
                  <a:lnTo>
                    <a:pt x="437" y="174"/>
                  </a:lnTo>
                  <a:lnTo>
                    <a:pt x="437" y="176"/>
                  </a:lnTo>
                  <a:lnTo>
                    <a:pt x="438" y="177"/>
                  </a:lnTo>
                  <a:lnTo>
                    <a:pt x="439" y="174"/>
                  </a:lnTo>
                  <a:lnTo>
                    <a:pt x="442" y="173"/>
                  </a:lnTo>
                  <a:lnTo>
                    <a:pt x="439" y="173"/>
                  </a:lnTo>
                  <a:lnTo>
                    <a:pt x="439" y="172"/>
                  </a:lnTo>
                  <a:lnTo>
                    <a:pt x="442" y="171"/>
                  </a:lnTo>
                  <a:lnTo>
                    <a:pt x="444" y="171"/>
                  </a:lnTo>
                  <a:lnTo>
                    <a:pt x="444" y="170"/>
                  </a:lnTo>
                  <a:lnTo>
                    <a:pt x="444" y="167"/>
                  </a:lnTo>
                  <a:lnTo>
                    <a:pt x="446" y="165"/>
                  </a:lnTo>
                  <a:lnTo>
                    <a:pt x="445" y="168"/>
                  </a:lnTo>
                  <a:lnTo>
                    <a:pt x="446" y="170"/>
                  </a:lnTo>
                  <a:lnTo>
                    <a:pt x="448" y="170"/>
                  </a:lnTo>
                  <a:lnTo>
                    <a:pt x="446" y="171"/>
                  </a:lnTo>
                  <a:lnTo>
                    <a:pt x="445" y="173"/>
                  </a:lnTo>
                  <a:lnTo>
                    <a:pt x="446" y="174"/>
                  </a:lnTo>
                  <a:lnTo>
                    <a:pt x="446" y="177"/>
                  </a:lnTo>
                  <a:lnTo>
                    <a:pt x="448" y="179"/>
                  </a:lnTo>
                  <a:lnTo>
                    <a:pt x="446" y="182"/>
                  </a:lnTo>
                  <a:lnTo>
                    <a:pt x="444" y="182"/>
                  </a:lnTo>
                  <a:lnTo>
                    <a:pt x="440" y="180"/>
                  </a:lnTo>
                  <a:lnTo>
                    <a:pt x="438" y="180"/>
                  </a:lnTo>
                  <a:lnTo>
                    <a:pt x="436" y="182"/>
                  </a:lnTo>
                  <a:lnTo>
                    <a:pt x="434" y="184"/>
                  </a:lnTo>
                  <a:lnTo>
                    <a:pt x="436" y="183"/>
                  </a:lnTo>
                  <a:lnTo>
                    <a:pt x="438" y="184"/>
                  </a:lnTo>
                  <a:lnTo>
                    <a:pt x="438" y="185"/>
                  </a:lnTo>
                  <a:lnTo>
                    <a:pt x="440" y="185"/>
                  </a:lnTo>
                  <a:lnTo>
                    <a:pt x="440" y="186"/>
                  </a:lnTo>
                  <a:lnTo>
                    <a:pt x="443" y="186"/>
                  </a:lnTo>
                  <a:lnTo>
                    <a:pt x="445" y="188"/>
                  </a:lnTo>
                  <a:lnTo>
                    <a:pt x="446" y="188"/>
                  </a:lnTo>
                  <a:lnTo>
                    <a:pt x="448" y="186"/>
                  </a:lnTo>
                  <a:lnTo>
                    <a:pt x="448" y="188"/>
                  </a:lnTo>
                  <a:lnTo>
                    <a:pt x="448" y="189"/>
                  </a:lnTo>
                  <a:lnTo>
                    <a:pt x="448" y="190"/>
                  </a:lnTo>
                  <a:lnTo>
                    <a:pt x="446" y="190"/>
                  </a:lnTo>
                  <a:lnTo>
                    <a:pt x="448" y="192"/>
                  </a:lnTo>
                  <a:lnTo>
                    <a:pt x="446" y="192"/>
                  </a:lnTo>
                  <a:lnTo>
                    <a:pt x="445" y="194"/>
                  </a:lnTo>
                  <a:lnTo>
                    <a:pt x="445" y="195"/>
                  </a:lnTo>
                  <a:lnTo>
                    <a:pt x="444" y="195"/>
                  </a:lnTo>
                  <a:lnTo>
                    <a:pt x="444" y="196"/>
                  </a:lnTo>
                  <a:lnTo>
                    <a:pt x="443" y="196"/>
                  </a:lnTo>
                  <a:lnTo>
                    <a:pt x="442" y="197"/>
                  </a:lnTo>
                  <a:lnTo>
                    <a:pt x="440" y="198"/>
                  </a:lnTo>
                  <a:lnTo>
                    <a:pt x="439" y="198"/>
                  </a:lnTo>
                  <a:lnTo>
                    <a:pt x="438" y="197"/>
                  </a:lnTo>
                  <a:lnTo>
                    <a:pt x="437" y="198"/>
                  </a:lnTo>
                  <a:lnTo>
                    <a:pt x="436" y="197"/>
                  </a:lnTo>
                  <a:lnTo>
                    <a:pt x="436" y="198"/>
                  </a:lnTo>
                  <a:lnTo>
                    <a:pt x="438" y="200"/>
                  </a:lnTo>
                  <a:lnTo>
                    <a:pt x="439" y="201"/>
                  </a:lnTo>
                  <a:lnTo>
                    <a:pt x="440" y="204"/>
                  </a:lnTo>
                  <a:lnTo>
                    <a:pt x="440" y="206"/>
                  </a:lnTo>
                  <a:lnTo>
                    <a:pt x="439" y="203"/>
                  </a:lnTo>
                  <a:lnTo>
                    <a:pt x="438" y="202"/>
                  </a:lnTo>
                  <a:lnTo>
                    <a:pt x="437" y="202"/>
                  </a:lnTo>
                  <a:lnTo>
                    <a:pt x="436" y="203"/>
                  </a:lnTo>
                  <a:lnTo>
                    <a:pt x="436" y="202"/>
                  </a:lnTo>
                  <a:lnTo>
                    <a:pt x="434" y="202"/>
                  </a:lnTo>
                  <a:lnTo>
                    <a:pt x="434" y="201"/>
                  </a:lnTo>
                  <a:lnTo>
                    <a:pt x="434" y="200"/>
                  </a:lnTo>
                  <a:lnTo>
                    <a:pt x="433" y="201"/>
                  </a:lnTo>
                  <a:lnTo>
                    <a:pt x="432" y="202"/>
                  </a:lnTo>
                  <a:lnTo>
                    <a:pt x="431" y="201"/>
                  </a:lnTo>
                  <a:lnTo>
                    <a:pt x="431" y="202"/>
                  </a:lnTo>
                  <a:lnTo>
                    <a:pt x="430" y="203"/>
                  </a:lnTo>
                  <a:lnTo>
                    <a:pt x="428" y="201"/>
                  </a:lnTo>
                  <a:lnTo>
                    <a:pt x="428" y="198"/>
                  </a:lnTo>
                  <a:lnTo>
                    <a:pt x="427" y="198"/>
                  </a:lnTo>
                  <a:lnTo>
                    <a:pt x="426" y="198"/>
                  </a:lnTo>
                  <a:lnTo>
                    <a:pt x="427" y="195"/>
                  </a:lnTo>
                  <a:lnTo>
                    <a:pt x="427" y="192"/>
                  </a:lnTo>
                  <a:lnTo>
                    <a:pt x="425" y="194"/>
                  </a:lnTo>
                  <a:lnTo>
                    <a:pt x="422" y="196"/>
                  </a:lnTo>
                  <a:lnTo>
                    <a:pt x="419" y="198"/>
                  </a:lnTo>
                  <a:lnTo>
                    <a:pt x="419" y="200"/>
                  </a:lnTo>
                  <a:lnTo>
                    <a:pt x="420" y="200"/>
                  </a:lnTo>
                  <a:lnTo>
                    <a:pt x="420" y="201"/>
                  </a:lnTo>
                  <a:lnTo>
                    <a:pt x="419" y="202"/>
                  </a:lnTo>
                  <a:lnTo>
                    <a:pt x="421" y="204"/>
                  </a:lnTo>
                  <a:lnTo>
                    <a:pt x="422" y="206"/>
                  </a:lnTo>
                  <a:lnTo>
                    <a:pt x="426" y="209"/>
                  </a:lnTo>
                  <a:lnTo>
                    <a:pt x="427" y="208"/>
                  </a:lnTo>
                  <a:lnTo>
                    <a:pt x="428" y="207"/>
                  </a:lnTo>
                  <a:lnTo>
                    <a:pt x="430" y="206"/>
                  </a:lnTo>
                  <a:lnTo>
                    <a:pt x="431" y="207"/>
                  </a:lnTo>
                  <a:lnTo>
                    <a:pt x="431" y="208"/>
                  </a:lnTo>
                  <a:lnTo>
                    <a:pt x="433" y="209"/>
                  </a:lnTo>
                  <a:lnTo>
                    <a:pt x="433" y="212"/>
                  </a:lnTo>
                  <a:lnTo>
                    <a:pt x="434" y="214"/>
                  </a:lnTo>
                  <a:lnTo>
                    <a:pt x="438" y="214"/>
                  </a:lnTo>
                  <a:lnTo>
                    <a:pt x="438" y="213"/>
                  </a:lnTo>
                  <a:lnTo>
                    <a:pt x="437" y="213"/>
                  </a:lnTo>
                  <a:lnTo>
                    <a:pt x="439" y="210"/>
                  </a:lnTo>
                  <a:lnTo>
                    <a:pt x="442" y="209"/>
                  </a:lnTo>
                  <a:lnTo>
                    <a:pt x="443" y="208"/>
                  </a:lnTo>
                  <a:lnTo>
                    <a:pt x="444" y="208"/>
                  </a:lnTo>
                  <a:lnTo>
                    <a:pt x="444" y="210"/>
                  </a:lnTo>
                  <a:lnTo>
                    <a:pt x="442" y="213"/>
                  </a:lnTo>
                  <a:lnTo>
                    <a:pt x="440" y="214"/>
                  </a:lnTo>
                  <a:lnTo>
                    <a:pt x="439" y="215"/>
                  </a:lnTo>
                  <a:lnTo>
                    <a:pt x="434" y="215"/>
                  </a:lnTo>
                  <a:lnTo>
                    <a:pt x="434" y="216"/>
                  </a:lnTo>
                  <a:lnTo>
                    <a:pt x="433" y="216"/>
                  </a:lnTo>
                  <a:lnTo>
                    <a:pt x="433" y="219"/>
                  </a:lnTo>
                  <a:lnTo>
                    <a:pt x="434" y="219"/>
                  </a:lnTo>
                  <a:lnTo>
                    <a:pt x="433" y="221"/>
                  </a:lnTo>
                  <a:lnTo>
                    <a:pt x="433" y="222"/>
                  </a:lnTo>
                  <a:lnTo>
                    <a:pt x="432" y="220"/>
                  </a:lnTo>
                  <a:lnTo>
                    <a:pt x="431" y="218"/>
                  </a:lnTo>
                  <a:lnTo>
                    <a:pt x="431" y="216"/>
                  </a:lnTo>
                  <a:lnTo>
                    <a:pt x="430" y="218"/>
                  </a:lnTo>
                  <a:lnTo>
                    <a:pt x="430" y="219"/>
                  </a:lnTo>
                  <a:lnTo>
                    <a:pt x="427" y="220"/>
                  </a:lnTo>
                  <a:lnTo>
                    <a:pt x="426" y="219"/>
                  </a:lnTo>
                  <a:lnTo>
                    <a:pt x="426" y="216"/>
                  </a:lnTo>
                  <a:lnTo>
                    <a:pt x="425" y="218"/>
                  </a:lnTo>
                  <a:lnTo>
                    <a:pt x="424" y="220"/>
                  </a:lnTo>
                  <a:lnTo>
                    <a:pt x="422" y="221"/>
                  </a:lnTo>
                  <a:lnTo>
                    <a:pt x="422" y="220"/>
                  </a:lnTo>
                  <a:lnTo>
                    <a:pt x="421" y="218"/>
                  </a:lnTo>
                  <a:lnTo>
                    <a:pt x="422" y="215"/>
                  </a:lnTo>
                  <a:lnTo>
                    <a:pt x="421" y="215"/>
                  </a:lnTo>
                  <a:lnTo>
                    <a:pt x="420" y="215"/>
                  </a:lnTo>
                  <a:lnTo>
                    <a:pt x="418" y="216"/>
                  </a:lnTo>
                  <a:lnTo>
                    <a:pt x="418" y="214"/>
                  </a:lnTo>
                  <a:lnTo>
                    <a:pt x="418" y="212"/>
                  </a:lnTo>
                  <a:lnTo>
                    <a:pt x="416" y="212"/>
                  </a:lnTo>
                  <a:lnTo>
                    <a:pt x="418" y="210"/>
                  </a:lnTo>
                  <a:lnTo>
                    <a:pt x="416" y="208"/>
                  </a:lnTo>
                  <a:lnTo>
                    <a:pt x="415" y="208"/>
                  </a:lnTo>
                  <a:lnTo>
                    <a:pt x="415" y="210"/>
                  </a:lnTo>
                  <a:lnTo>
                    <a:pt x="414" y="209"/>
                  </a:lnTo>
                  <a:lnTo>
                    <a:pt x="415" y="207"/>
                  </a:lnTo>
                  <a:lnTo>
                    <a:pt x="413" y="207"/>
                  </a:lnTo>
                  <a:lnTo>
                    <a:pt x="413" y="209"/>
                  </a:lnTo>
                  <a:lnTo>
                    <a:pt x="413" y="210"/>
                  </a:lnTo>
                  <a:lnTo>
                    <a:pt x="413" y="212"/>
                  </a:lnTo>
                  <a:lnTo>
                    <a:pt x="413" y="214"/>
                  </a:lnTo>
                  <a:lnTo>
                    <a:pt x="414" y="215"/>
                  </a:lnTo>
                  <a:lnTo>
                    <a:pt x="414" y="219"/>
                  </a:lnTo>
                  <a:lnTo>
                    <a:pt x="413" y="220"/>
                  </a:lnTo>
                  <a:lnTo>
                    <a:pt x="414" y="221"/>
                  </a:lnTo>
                  <a:lnTo>
                    <a:pt x="416" y="224"/>
                  </a:lnTo>
                  <a:lnTo>
                    <a:pt x="418" y="224"/>
                  </a:lnTo>
                  <a:lnTo>
                    <a:pt x="418" y="221"/>
                  </a:lnTo>
                  <a:lnTo>
                    <a:pt x="420" y="221"/>
                  </a:lnTo>
                  <a:lnTo>
                    <a:pt x="421" y="224"/>
                  </a:lnTo>
                  <a:lnTo>
                    <a:pt x="424" y="224"/>
                  </a:lnTo>
                  <a:lnTo>
                    <a:pt x="421" y="225"/>
                  </a:lnTo>
                  <a:lnTo>
                    <a:pt x="424" y="226"/>
                  </a:lnTo>
                  <a:lnTo>
                    <a:pt x="421" y="227"/>
                  </a:lnTo>
                  <a:lnTo>
                    <a:pt x="418" y="226"/>
                  </a:lnTo>
                  <a:lnTo>
                    <a:pt x="416" y="226"/>
                  </a:lnTo>
                  <a:lnTo>
                    <a:pt x="415" y="226"/>
                  </a:lnTo>
                  <a:lnTo>
                    <a:pt x="413" y="225"/>
                  </a:lnTo>
                  <a:lnTo>
                    <a:pt x="410" y="226"/>
                  </a:lnTo>
                  <a:lnTo>
                    <a:pt x="408" y="228"/>
                  </a:lnTo>
                  <a:lnTo>
                    <a:pt x="407" y="226"/>
                  </a:lnTo>
                  <a:lnTo>
                    <a:pt x="406" y="228"/>
                  </a:lnTo>
                  <a:lnTo>
                    <a:pt x="406" y="226"/>
                  </a:lnTo>
                  <a:lnTo>
                    <a:pt x="403" y="225"/>
                  </a:lnTo>
                  <a:lnTo>
                    <a:pt x="403" y="226"/>
                  </a:lnTo>
                  <a:lnTo>
                    <a:pt x="403" y="227"/>
                  </a:lnTo>
                  <a:lnTo>
                    <a:pt x="402" y="227"/>
                  </a:lnTo>
                  <a:lnTo>
                    <a:pt x="402" y="230"/>
                  </a:lnTo>
                  <a:lnTo>
                    <a:pt x="403" y="231"/>
                  </a:lnTo>
                  <a:lnTo>
                    <a:pt x="402" y="231"/>
                  </a:lnTo>
                  <a:lnTo>
                    <a:pt x="401" y="232"/>
                  </a:lnTo>
                  <a:lnTo>
                    <a:pt x="401" y="231"/>
                  </a:lnTo>
                  <a:lnTo>
                    <a:pt x="399" y="228"/>
                  </a:lnTo>
                  <a:lnTo>
                    <a:pt x="399" y="230"/>
                  </a:lnTo>
                  <a:lnTo>
                    <a:pt x="399" y="227"/>
                  </a:lnTo>
                  <a:lnTo>
                    <a:pt x="398" y="228"/>
                  </a:lnTo>
                  <a:lnTo>
                    <a:pt x="397" y="230"/>
                  </a:lnTo>
                  <a:lnTo>
                    <a:pt x="397" y="228"/>
                  </a:lnTo>
                  <a:lnTo>
                    <a:pt x="396" y="228"/>
                  </a:lnTo>
                  <a:lnTo>
                    <a:pt x="395" y="227"/>
                  </a:lnTo>
                  <a:lnTo>
                    <a:pt x="393" y="227"/>
                  </a:lnTo>
                  <a:lnTo>
                    <a:pt x="393" y="226"/>
                  </a:lnTo>
                  <a:lnTo>
                    <a:pt x="392" y="226"/>
                  </a:lnTo>
                  <a:lnTo>
                    <a:pt x="391" y="227"/>
                  </a:lnTo>
                  <a:lnTo>
                    <a:pt x="390" y="230"/>
                  </a:lnTo>
                  <a:lnTo>
                    <a:pt x="389" y="231"/>
                  </a:lnTo>
                  <a:lnTo>
                    <a:pt x="389" y="232"/>
                  </a:lnTo>
                  <a:lnTo>
                    <a:pt x="387" y="230"/>
                  </a:lnTo>
                  <a:lnTo>
                    <a:pt x="386" y="230"/>
                  </a:lnTo>
                  <a:lnTo>
                    <a:pt x="384" y="230"/>
                  </a:lnTo>
                  <a:lnTo>
                    <a:pt x="383" y="230"/>
                  </a:lnTo>
                  <a:lnTo>
                    <a:pt x="380" y="230"/>
                  </a:lnTo>
                  <a:lnTo>
                    <a:pt x="379" y="231"/>
                  </a:lnTo>
                  <a:lnTo>
                    <a:pt x="379" y="233"/>
                  </a:lnTo>
                  <a:lnTo>
                    <a:pt x="378" y="233"/>
                  </a:lnTo>
                  <a:lnTo>
                    <a:pt x="377" y="231"/>
                  </a:lnTo>
                  <a:lnTo>
                    <a:pt x="377" y="232"/>
                  </a:lnTo>
                  <a:lnTo>
                    <a:pt x="375" y="233"/>
                  </a:lnTo>
                  <a:lnTo>
                    <a:pt x="377" y="234"/>
                  </a:lnTo>
                  <a:lnTo>
                    <a:pt x="377" y="237"/>
                  </a:lnTo>
                  <a:lnTo>
                    <a:pt x="378" y="238"/>
                  </a:lnTo>
                  <a:lnTo>
                    <a:pt x="379" y="238"/>
                  </a:lnTo>
                  <a:lnTo>
                    <a:pt x="380" y="237"/>
                  </a:lnTo>
                  <a:lnTo>
                    <a:pt x="381" y="238"/>
                  </a:lnTo>
                  <a:lnTo>
                    <a:pt x="381" y="236"/>
                  </a:lnTo>
                  <a:lnTo>
                    <a:pt x="381" y="234"/>
                  </a:lnTo>
                  <a:lnTo>
                    <a:pt x="384" y="236"/>
                  </a:lnTo>
                  <a:lnTo>
                    <a:pt x="384" y="237"/>
                  </a:lnTo>
                  <a:lnTo>
                    <a:pt x="386" y="237"/>
                  </a:lnTo>
                  <a:lnTo>
                    <a:pt x="386" y="239"/>
                  </a:lnTo>
                  <a:lnTo>
                    <a:pt x="386" y="238"/>
                  </a:lnTo>
                  <a:lnTo>
                    <a:pt x="385" y="239"/>
                  </a:lnTo>
                  <a:lnTo>
                    <a:pt x="386" y="240"/>
                  </a:lnTo>
                  <a:lnTo>
                    <a:pt x="385" y="240"/>
                  </a:lnTo>
                  <a:lnTo>
                    <a:pt x="384" y="242"/>
                  </a:lnTo>
                  <a:lnTo>
                    <a:pt x="385" y="243"/>
                  </a:lnTo>
                  <a:lnTo>
                    <a:pt x="386" y="242"/>
                  </a:lnTo>
                  <a:lnTo>
                    <a:pt x="387" y="240"/>
                  </a:lnTo>
                  <a:lnTo>
                    <a:pt x="387" y="243"/>
                  </a:lnTo>
                  <a:lnTo>
                    <a:pt x="387" y="245"/>
                  </a:lnTo>
                  <a:lnTo>
                    <a:pt x="386" y="245"/>
                  </a:lnTo>
                  <a:lnTo>
                    <a:pt x="385" y="246"/>
                  </a:lnTo>
                  <a:lnTo>
                    <a:pt x="387" y="246"/>
                  </a:lnTo>
                  <a:lnTo>
                    <a:pt x="389" y="246"/>
                  </a:lnTo>
                  <a:lnTo>
                    <a:pt x="390" y="246"/>
                  </a:lnTo>
                  <a:lnTo>
                    <a:pt x="391" y="249"/>
                  </a:lnTo>
                  <a:lnTo>
                    <a:pt x="391" y="250"/>
                  </a:lnTo>
                  <a:lnTo>
                    <a:pt x="392" y="251"/>
                  </a:lnTo>
                  <a:lnTo>
                    <a:pt x="393" y="251"/>
                  </a:lnTo>
                  <a:lnTo>
                    <a:pt x="395" y="251"/>
                  </a:lnTo>
                  <a:lnTo>
                    <a:pt x="396" y="253"/>
                  </a:lnTo>
                  <a:lnTo>
                    <a:pt x="396" y="251"/>
                  </a:lnTo>
                  <a:lnTo>
                    <a:pt x="396" y="250"/>
                  </a:lnTo>
                  <a:lnTo>
                    <a:pt x="397" y="249"/>
                  </a:lnTo>
                  <a:lnTo>
                    <a:pt x="398" y="248"/>
                  </a:lnTo>
                  <a:lnTo>
                    <a:pt x="401" y="248"/>
                  </a:lnTo>
                  <a:lnTo>
                    <a:pt x="399" y="250"/>
                  </a:lnTo>
                  <a:lnTo>
                    <a:pt x="399" y="253"/>
                  </a:lnTo>
                  <a:lnTo>
                    <a:pt x="401" y="255"/>
                  </a:lnTo>
                  <a:lnTo>
                    <a:pt x="401" y="256"/>
                  </a:lnTo>
                  <a:lnTo>
                    <a:pt x="401" y="257"/>
                  </a:lnTo>
                  <a:lnTo>
                    <a:pt x="402" y="256"/>
                  </a:lnTo>
                  <a:lnTo>
                    <a:pt x="403" y="257"/>
                  </a:lnTo>
                  <a:lnTo>
                    <a:pt x="402" y="260"/>
                  </a:lnTo>
                  <a:lnTo>
                    <a:pt x="402" y="262"/>
                  </a:lnTo>
                  <a:lnTo>
                    <a:pt x="404" y="262"/>
                  </a:lnTo>
                  <a:lnTo>
                    <a:pt x="406" y="261"/>
                  </a:lnTo>
                  <a:lnTo>
                    <a:pt x="407" y="261"/>
                  </a:lnTo>
                  <a:lnTo>
                    <a:pt x="408" y="262"/>
                  </a:lnTo>
                  <a:lnTo>
                    <a:pt x="409" y="262"/>
                  </a:lnTo>
                  <a:lnTo>
                    <a:pt x="408" y="262"/>
                  </a:lnTo>
                  <a:lnTo>
                    <a:pt x="409" y="262"/>
                  </a:lnTo>
                  <a:lnTo>
                    <a:pt x="410" y="261"/>
                  </a:lnTo>
                  <a:lnTo>
                    <a:pt x="410" y="260"/>
                  </a:lnTo>
                  <a:lnTo>
                    <a:pt x="412" y="261"/>
                  </a:lnTo>
                  <a:lnTo>
                    <a:pt x="413" y="262"/>
                  </a:lnTo>
                  <a:lnTo>
                    <a:pt x="412" y="263"/>
                  </a:lnTo>
                  <a:lnTo>
                    <a:pt x="413" y="263"/>
                  </a:lnTo>
                  <a:lnTo>
                    <a:pt x="416" y="266"/>
                  </a:lnTo>
                  <a:lnTo>
                    <a:pt x="415" y="266"/>
                  </a:lnTo>
                  <a:lnTo>
                    <a:pt x="414" y="267"/>
                  </a:lnTo>
                  <a:lnTo>
                    <a:pt x="416" y="268"/>
                  </a:lnTo>
                  <a:lnTo>
                    <a:pt x="416" y="273"/>
                  </a:lnTo>
                  <a:lnTo>
                    <a:pt x="415" y="275"/>
                  </a:lnTo>
                  <a:lnTo>
                    <a:pt x="414" y="274"/>
                  </a:lnTo>
                  <a:lnTo>
                    <a:pt x="414" y="275"/>
                  </a:lnTo>
                  <a:lnTo>
                    <a:pt x="410" y="279"/>
                  </a:lnTo>
                  <a:lnTo>
                    <a:pt x="408" y="279"/>
                  </a:lnTo>
                  <a:lnTo>
                    <a:pt x="408" y="281"/>
                  </a:lnTo>
                  <a:lnTo>
                    <a:pt x="407" y="281"/>
                  </a:lnTo>
                  <a:lnTo>
                    <a:pt x="406" y="281"/>
                  </a:lnTo>
                  <a:lnTo>
                    <a:pt x="407" y="284"/>
                  </a:lnTo>
                  <a:lnTo>
                    <a:pt x="413" y="285"/>
                  </a:lnTo>
                  <a:lnTo>
                    <a:pt x="416" y="285"/>
                  </a:lnTo>
                  <a:lnTo>
                    <a:pt x="418" y="286"/>
                  </a:lnTo>
                  <a:lnTo>
                    <a:pt x="419" y="287"/>
                  </a:lnTo>
                  <a:lnTo>
                    <a:pt x="419" y="290"/>
                  </a:lnTo>
                  <a:lnTo>
                    <a:pt x="418" y="289"/>
                  </a:lnTo>
                  <a:lnTo>
                    <a:pt x="416" y="289"/>
                  </a:lnTo>
                  <a:lnTo>
                    <a:pt x="414" y="287"/>
                  </a:lnTo>
                  <a:lnTo>
                    <a:pt x="413" y="287"/>
                  </a:lnTo>
                  <a:lnTo>
                    <a:pt x="413" y="285"/>
                  </a:lnTo>
                  <a:lnTo>
                    <a:pt x="410" y="285"/>
                  </a:lnTo>
                  <a:lnTo>
                    <a:pt x="407" y="284"/>
                  </a:lnTo>
                  <a:lnTo>
                    <a:pt x="406" y="285"/>
                  </a:lnTo>
                  <a:lnTo>
                    <a:pt x="406" y="286"/>
                  </a:lnTo>
                  <a:lnTo>
                    <a:pt x="404" y="287"/>
                  </a:lnTo>
                  <a:lnTo>
                    <a:pt x="404" y="289"/>
                  </a:lnTo>
                  <a:lnTo>
                    <a:pt x="403" y="290"/>
                  </a:lnTo>
                  <a:lnTo>
                    <a:pt x="402" y="290"/>
                  </a:lnTo>
                  <a:lnTo>
                    <a:pt x="401" y="291"/>
                  </a:lnTo>
                  <a:lnTo>
                    <a:pt x="401" y="292"/>
                  </a:lnTo>
                  <a:lnTo>
                    <a:pt x="401" y="289"/>
                  </a:lnTo>
                  <a:lnTo>
                    <a:pt x="401" y="286"/>
                  </a:lnTo>
                  <a:lnTo>
                    <a:pt x="402" y="284"/>
                  </a:lnTo>
                  <a:lnTo>
                    <a:pt x="404" y="284"/>
                  </a:lnTo>
                  <a:lnTo>
                    <a:pt x="404" y="281"/>
                  </a:lnTo>
                  <a:lnTo>
                    <a:pt x="402" y="281"/>
                  </a:lnTo>
                  <a:lnTo>
                    <a:pt x="402" y="283"/>
                  </a:lnTo>
                  <a:lnTo>
                    <a:pt x="401" y="284"/>
                  </a:lnTo>
                  <a:lnTo>
                    <a:pt x="401" y="285"/>
                  </a:lnTo>
                  <a:lnTo>
                    <a:pt x="399" y="286"/>
                  </a:lnTo>
                  <a:lnTo>
                    <a:pt x="399" y="284"/>
                  </a:lnTo>
                  <a:lnTo>
                    <a:pt x="401" y="281"/>
                  </a:lnTo>
                  <a:lnTo>
                    <a:pt x="399" y="281"/>
                  </a:lnTo>
                  <a:lnTo>
                    <a:pt x="398" y="281"/>
                  </a:lnTo>
                  <a:lnTo>
                    <a:pt x="398" y="283"/>
                  </a:lnTo>
                  <a:lnTo>
                    <a:pt x="397" y="284"/>
                  </a:lnTo>
                  <a:lnTo>
                    <a:pt x="396" y="281"/>
                  </a:lnTo>
                  <a:lnTo>
                    <a:pt x="395" y="280"/>
                  </a:lnTo>
                  <a:lnTo>
                    <a:pt x="393" y="280"/>
                  </a:lnTo>
                  <a:lnTo>
                    <a:pt x="391" y="279"/>
                  </a:lnTo>
                  <a:lnTo>
                    <a:pt x="392" y="277"/>
                  </a:lnTo>
                  <a:lnTo>
                    <a:pt x="390" y="278"/>
                  </a:lnTo>
                  <a:lnTo>
                    <a:pt x="389" y="279"/>
                  </a:lnTo>
                  <a:lnTo>
                    <a:pt x="389" y="278"/>
                  </a:lnTo>
                  <a:lnTo>
                    <a:pt x="390" y="275"/>
                  </a:lnTo>
                  <a:lnTo>
                    <a:pt x="389" y="275"/>
                  </a:lnTo>
                  <a:lnTo>
                    <a:pt x="386" y="274"/>
                  </a:lnTo>
                  <a:lnTo>
                    <a:pt x="386" y="273"/>
                  </a:lnTo>
                  <a:lnTo>
                    <a:pt x="385" y="273"/>
                  </a:lnTo>
                  <a:lnTo>
                    <a:pt x="384" y="273"/>
                  </a:lnTo>
                  <a:lnTo>
                    <a:pt x="383" y="272"/>
                  </a:lnTo>
                  <a:lnTo>
                    <a:pt x="385" y="272"/>
                  </a:lnTo>
                  <a:lnTo>
                    <a:pt x="385" y="271"/>
                  </a:lnTo>
                  <a:lnTo>
                    <a:pt x="384" y="269"/>
                  </a:lnTo>
                  <a:lnTo>
                    <a:pt x="385" y="268"/>
                  </a:lnTo>
                  <a:lnTo>
                    <a:pt x="384" y="269"/>
                  </a:lnTo>
                  <a:lnTo>
                    <a:pt x="383" y="268"/>
                  </a:lnTo>
                  <a:lnTo>
                    <a:pt x="381" y="267"/>
                  </a:lnTo>
                  <a:lnTo>
                    <a:pt x="380" y="267"/>
                  </a:lnTo>
                  <a:lnTo>
                    <a:pt x="380" y="271"/>
                  </a:lnTo>
                  <a:lnTo>
                    <a:pt x="380" y="277"/>
                  </a:lnTo>
                  <a:lnTo>
                    <a:pt x="381" y="278"/>
                  </a:lnTo>
                  <a:lnTo>
                    <a:pt x="381" y="279"/>
                  </a:lnTo>
                  <a:lnTo>
                    <a:pt x="381" y="281"/>
                  </a:lnTo>
                  <a:lnTo>
                    <a:pt x="380" y="280"/>
                  </a:lnTo>
                  <a:lnTo>
                    <a:pt x="380" y="278"/>
                  </a:lnTo>
                  <a:lnTo>
                    <a:pt x="379" y="274"/>
                  </a:lnTo>
                  <a:lnTo>
                    <a:pt x="378" y="275"/>
                  </a:lnTo>
                  <a:lnTo>
                    <a:pt x="377" y="278"/>
                  </a:lnTo>
                  <a:lnTo>
                    <a:pt x="377" y="280"/>
                  </a:lnTo>
                  <a:lnTo>
                    <a:pt x="377" y="283"/>
                  </a:lnTo>
                  <a:lnTo>
                    <a:pt x="375" y="285"/>
                  </a:lnTo>
                  <a:lnTo>
                    <a:pt x="373" y="287"/>
                  </a:lnTo>
                  <a:lnTo>
                    <a:pt x="372" y="290"/>
                  </a:lnTo>
                  <a:lnTo>
                    <a:pt x="375" y="293"/>
                  </a:lnTo>
                  <a:lnTo>
                    <a:pt x="378" y="295"/>
                  </a:lnTo>
                  <a:lnTo>
                    <a:pt x="378" y="293"/>
                  </a:lnTo>
                  <a:lnTo>
                    <a:pt x="380" y="295"/>
                  </a:lnTo>
                  <a:lnTo>
                    <a:pt x="381" y="296"/>
                  </a:lnTo>
                  <a:lnTo>
                    <a:pt x="380" y="296"/>
                  </a:lnTo>
                  <a:lnTo>
                    <a:pt x="381" y="297"/>
                  </a:lnTo>
                  <a:lnTo>
                    <a:pt x="383" y="296"/>
                  </a:lnTo>
                  <a:lnTo>
                    <a:pt x="384" y="296"/>
                  </a:lnTo>
                  <a:lnTo>
                    <a:pt x="385" y="295"/>
                  </a:lnTo>
                  <a:lnTo>
                    <a:pt x="385" y="292"/>
                  </a:lnTo>
                  <a:lnTo>
                    <a:pt x="386" y="291"/>
                  </a:lnTo>
                  <a:lnTo>
                    <a:pt x="389" y="293"/>
                  </a:lnTo>
                  <a:lnTo>
                    <a:pt x="386" y="296"/>
                  </a:lnTo>
                  <a:lnTo>
                    <a:pt x="386" y="298"/>
                  </a:lnTo>
                  <a:lnTo>
                    <a:pt x="387" y="297"/>
                  </a:lnTo>
                  <a:lnTo>
                    <a:pt x="389" y="296"/>
                  </a:lnTo>
                  <a:lnTo>
                    <a:pt x="389" y="298"/>
                  </a:lnTo>
                  <a:lnTo>
                    <a:pt x="390" y="297"/>
                  </a:lnTo>
                  <a:lnTo>
                    <a:pt x="391" y="297"/>
                  </a:lnTo>
                  <a:lnTo>
                    <a:pt x="391" y="299"/>
                  </a:lnTo>
                  <a:lnTo>
                    <a:pt x="387" y="299"/>
                  </a:lnTo>
                  <a:lnTo>
                    <a:pt x="387" y="301"/>
                  </a:lnTo>
                  <a:lnTo>
                    <a:pt x="389" y="302"/>
                  </a:lnTo>
                  <a:lnTo>
                    <a:pt x="390" y="302"/>
                  </a:lnTo>
                  <a:lnTo>
                    <a:pt x="391" y="305"/>
                  </a:lnTo>
                  <a:lnTo>
                    <a:pt x="390" y="307"/>
                  </a:lnTo>
                  <a:lnTo>
                    <a:pt x="389" y="305"/>
                  </a:lnTo>
                  <a:lnTo>
                    <a:pt x="389" y="307"/>
                  </a:lnTo>
                  <a:lnTo>
                    <a:pt x="387" y="309"/>
                  </a:lnTo>
                  <a:lnTo>
                    <a:pt x="386" y="308"/>
                  </a:lnTo>
                  <a:lnTo>
                    <a:pt x="385" y="307"/>
                  </a:lnTo>
                  <a:lnTo>
                    <a:pt x="386" y="304"/>
                  </a:lnTo>
                  <a:lnTo>
                    <a:pt x="386" y="302"/>
                  </a:lnTo>
                  <a:lnTo>
                    <a:pt x="385" y="302"/>
                  </a:lnTo>
                  <a:lnTo>
                    <a:pt x="384" y="304"/>
                  </a:lnTo>
                  <a:lnTo>
                    <a:pt x="383" y="303"/>
                  </a:lnTo>
                  <a:lnTo>
                    <a:pt x="383" y="299"/>
                  </a:lnTo>
                  <a:lnTo>
                    <a:pt x="383" y="301"/>
                  </a:lnTo>
                  <a:lnTo>
                    <a:pt x="380" y="301"/>
                  </a:lnTo>
                  <a:lnTo>
                    <a:pt x="380" y="297"/>
                  </a:lnTo>
                  <a:lnTo>
                    <a:pt x="379" y="297"/>
                  </a:lnTo>
                  <a:lnTo>
                    <a:pt x="379" y="298"/>
                  </a:lnTo>
                  <a:lnTo>
                    <a:pt x="377" y="298"/>
                  </a:lnTo>
                  <a:lnTo>
                    <a:pt x="377" y="297"/>
                  </a:lnTo>
                  <a:lnTo>
                    <a:pt x="378" y="296"/>
                  </a:lnTo>
                  <a:lnTo>
                    <a:pt x="378" y="295"/>
                  </a:lnTo>
                  <a:lnTo>
                    <a:pt x="375" y="293"/>
                  </a:lnTo>
                  <a:lnTo>
                    <a:pt x="372" y="291"/>
                  </a:lnTo>
                  <a:lnTo>
                    <a:pt x="372" y="293"/>
                  </a:lnTo>
                  <a:lnTo>
                    <a:pt x="373" y="295"/>
                  </a:lnTo>
                  <a:lnTo>
                    <a:pt x="373" y="297"/>
                  </a:lnTo>
                  <a:lnTo>
                    <a:pt x="374" y="299"/>
                  </a:lnTo>
                  <a:lnTo>
                    <a:pt x="373" y="303"/>
                  </a:lnTo>
                  <a:lnTo>
                    <a:pt x="372" y="305"/>
                  </a:lnTo>
                  <a:lnTo>
                    <a:pt x="371" y="307"/>
                  </a:lnTo>
                  <a:lnTo>
                    <a:pt x="369" y="309"/>
                  </a:lnTo>
                  <a:lnTo>
                    <a:pt x="371" y="310"/>
                  </a:lnTo>
                  <a:lnTo>
                    <a:pt x="371" y="311"/>
                  </a:lnTo>
                  <a:lnTo>
                    <a:pt x="373" y="313"/>
                  </a:lnTo>
                  <a:lnTo>
                    <a:pt x="373" y="310"/>
                  </a:lnTo>
                  <a:lnTo>
                    <a:pt x="375" y="309"/>
                  </a:lnTo>
                  <a:lnTo>
                    <a:pt x="377" y="310"/>
                  </a:lnTo>
                  <a:lnTo>
                    <a:pt x="377" y="311"/>
                  </a:lnTo>
                  <a:lnTo>
                    <a:pt x="378" y="311"/>
                  </a:lnTo>
                  <a:lnTo>
                    <a:pt x="379" y="311"/>
                  </a:lnTo>
                  <a:lnTo>
                    <a:pt x="381" y="313"/>
                  </a:lnTo>
                  <a:lnTo>
                    <a:pt x="381" y="314"/>
                  </a:lnTo>
                  <a:lnTo>
                    <a:pt x="383" y="313"/>
                  </a:lnTo>
                  <a:lnTo>
                    <a:pt x="384" y="311"/>
                  </a:lnTo>
                  <a:lnTo>
                    <a:pt x="386" y="311"/>
                  </a:lnTo>
                  <a:lnTo>
                    <a:pt x="387" y="311"/>
                  </a:lnTo>
                  <a:lnTo>
                    <a:pt x="385" y="313"/>
                  </a:lnTo>
                  <a:lnTo>
                    <a:pt x="384" y="314"/>
                  </a:lnTo>
                  <a:lnTo>
                    <a:pt x="384" y="315"/>
                  </a:lnTo>
                  <a:lnTo>
                    <a:pt x="385" y="315"/>
                  </a:lnTo>
                  <a:lnTo>
                    <a:pt x="387" y="315"/>
                  </a:lnTo>
                  <a:lnTo>
                    <a:pt x="389" y="315"/>
                  </a:lnTo>
                  <a:lnTo>
                    <a:pt x="390" y="314"/>
                  </a:lnTo>
                  <a:lnTo>
                    <a:pt x="391" y="314"/>
                  </a:lnTo>
                  <a:lnTo>
                    <a:pt x="393" y="314"/>
                  </a:lnTo>
                  <a:lnTo>
                    <a:pt x="393" y="313"/>
                  </a:lnTo>
                  <a:lnTo>
                    <a:pt x="393" y="314"/>
                  </a:lnTo>
                  <a:lnTo>
                    <a:pt x="395" y="316"/>
                  </a:lnTo>
                  <a:lnTo>
                    <a:pt x="392" y="319"/>
                  </a:lnTo>
                  <a:lnTo>
                    <a:pt x="393" y="320"/>
                  </a:lnTo>
                  <a:lnTo>
                    <a:pt x="395" y="321"/>
                  </a:lnTo>
                  <a:lnTo>
                    <a:pt x="393" y="326"/>
                  </a:lnTo>
                  <a:lnTo>
                    <a:pt x="392" y="328"/>
                  </a:lnTo>
                  <a:lnTo>
                    <a:pt x="391" y="329"/>
                  </a:lnTo>
                  <a:lnTo>
                    <a:pt x="391" y="332"/>
                  </a:lnTo>
                  <a:lnTo>
                    <a:pt x="390" y="332"/>
                  </a:lnTo>
                  <a:lnTo>
                    <a:pt x="392" y="333"/>
                  </a:lnTo>
                  <a:lnTo>
                    <a:pt x="391" y="337"/>
                  </a:lnTo>
                  <a:lnTo>
                    <a:pt x="391" y="339"/>
                  </a:lnTo>
                  <a:lnTo>
                    <a:pt x="390" y="338"/>
                  </a:lnTo>
                  <a:lnTo>
                    <a:pt x="389" y="339"/>
                  </a:lnTo>
                  <a:lnTo>
                    <a:pt x="389" y="341"/>
                  </a:lnTo>
                  <a:lnTo>
                    <a:pt x="387" y="341"/>
                  </a:lnTo>
                  <a:lnTo>
                    <a:pt x="387" y="343"/>
                  </a:lnTo>
                  <a:lnTo>
                    <a:pt x="389" y="344"/>
                  </a:lnTo>
                  <a:lnTo>
                    <a:pt x="390" y="344"/>
                  </a:lnTo>
                  <a:lnTo>
                    <a:pt x="390" y="341"/>
                  </a:lnTo>
                  <a:lnTo>
                    <a:pt x="390" y="340"/>
                  </a:lnTo>
                  <a:lnTo>
                    <a:pt x="391" y="340"/>
                  </a:lnTo>
                  <a:lnTo>
                    <a:pt x="392" y="344"/>
                  </a:lnTo>
                  <a:lnTo>
                    <a:pt x="392" y="345"/>
                  </a:lnTo>
                  <a:lnTo>
                    <a:pt x="393" y="346"/>
                  </a:lnTo>
                  <a:lnTo>
                    <a:pt x="395" y="347"/>
                  </a:lnTo>
                  <a:lnTo>
                    <a:pt x="395" y="349"/>
                  </a:lnTo>
                  <a:lnTo>
                    <a:pt x="395" y="350"/>
                  </a:lnTo>
                  <a:lnTo>
                    <a:pt x="396" y="351"/>
                  </a:lnTo>
                  <a:lnTo>
                    <a:pt x="397" y="352"/>
                  </a:lnTo>
                  <a:lnTo>
                    <a:pt x="397" y="351"/>
                  </a:lnTo>
                  <a:lnTo>
                    <a:pt x="398" y="352"/>
                  </a:lnTo>
                  <a:lnTo>
                    <a:pt x="399" y="352"/>
                  </a:lnTo>
                  <a:lnTo>
                    <a:pt x="402" y="355"/>
                  </a:lnTo>
                  <a:lnTo>
                    <a:pt x="399" y="355"/>
                  </a:lnTo>
                  <a:lnTo>
                    <a:pt x="398" y="355"/>
                  </a:lnTo>
                  <a:lnTo>
                    <a:pt x="397" y="355"/>
                  </a:lnTo>
                  <a:lnTo>
                    <a:pt x="399" y="357"/>
                  </a:lnTo>
                  <a:lnTo>
                    <a:pt x="402" y="358"/>
                  </a:lnTo>
                  <a:lnTo>
                    <a:pt x="401" y="361"/>
                  </a:lnTo>
                  <a:lnTo>
                    <a:pt x="398" y="358"/>
                  </a:lnTo>
                  <a:lnTo>
                    <a:pt x="397" y="357"/>
                  </a:lnTo>
                  <a:lnTo>
                    <a:pt x="397" y="358"/>
                  </a:lnTo>
                  <a:lnTo>
                    <a:pt x="396" y="358"/>
                  </a:lnTo>
                  <a:lnTo>
                    <a:pt x="395" y="358"/>
                  </a:lnTo>
                  <a:lnTo>
                    <a:pt x="393" y="361"/>
                  </a:lnTo>
                  <a:lnTo>
                    <a:pt x="391" y="362"/>
                  </a:lnTo>
                  <a:lnTo>
                    <a:pt x="390" y="363"/>
                  </a:lnTo>
                  <a:lnTo>
                    <a:pt x="390" y="360"/>
                  </a:lnTo>
                  <a:lnTo>
                    <a:pt x="391" y="357"/>
                  </a:lnTo>
                  <a:lnTo>
                    <a:pt x="391" y="356"/>
                  </a:lnTo>
                  <a:lnTo>
                    <a:pt x="391" y="355"/>
                  </a:lnTo>
                  <a:lnTo>
                    <a:pt x="390" y="356"/>
                  </a:lnTo>
                  <a:lnTo>
                    <a:pt x="389" y="356"/>
                  </a:lnTo>
                  <a:lnTo>
                    <a:pt x="389" y="352"/>
                  </a:lnTo>
                  <a:lnTo>
                    <a:pt x="386" y="351"/>
                  </a:lnTo>
                  <a:lnTo>
                    <a:pt x="387" y="355"/>
                  </a:lnTo>
                  <a:lnTo>
                    <a:pt x="385" y="356"/>
                  </a:lnTo>
                  <a:lnTo>
                    <a:pt x="385" y="357"/>
                  </a:lnTo>
                  <a:lnTo>
                    <a:pt x="385" y="360"/>
                  </a:lnTo>
                  <a:lnTo>
                    <a:pt x="384" y="357"/>
                  </a:lnTo>
                  <a:lnTo>
                    <a:pt x="385" y="360"/>
                  </a:lnTo>
                  <a:lnTo>
                    <a:pt x="386" y="361"/>
                  </a:lnTo>
                  <a:lnTo>
                    <a:pt x="384" y="360"/>
                  </a:lnTo>
                  <a:lnTo>
                    <a:pt x="384" y="361"/>
                  </a:lnTo>
                  <a:lnTo>
                    <a:pt x="383" y="361"/>
                  </a:lnTo>
                  <a:lnTo>
                    <a:pt x="381" y="363"/>
                  </a:lnTo>
                  <a:lnTo>
                    <a:pt x="380" y="364"/>
                  </a:lnTo>
                  <a:lnTo>
                    <a:pt x="379" y="367"/>
                  </a:lnTo>
                  <a:lnTo>
                    <a:pt x="379" y="364"/>
                  </a:lnTo>
                  <a:lnTo>
                    <a:pt x="378" y="363"/>
                  </a:lnTo>
                  <a:lnTo>
                    <a:pt x="378" y="366"/>
                  </a:lnTo>
                  <a:lnTo>
                    <a:pt x="377" y="367"/>
                  </a:lnTo>
                  <a:lnTo>
                    <a:pt x="377" y="364"/>
                  </a:lnTo>
                  <a:lnTo>
                    <a:pt x="375" y="364"/>
                  </a:lnTo>
                  <a:lnTo>
                    <a:pt x="375" y="367"/>
                  </a:lnTo>
                  <a:lnTo>
                    <a:pt x="375" y="368"/>
                  </a:lnTo>
                  <a:lnTo>
                    <a:pt x="374" y="367"/>
                  </a:lnTo>
                  <a:lnTo>
                    <a:pt x="373" y="369"/>
                  </a:lnTo>
                  <a:lnTo>
                    <a:pt x="373" y="370"/>
                  </a:lnTo>
                  <a:lnTo>
                    <a:pt x="372" y="369"/>
                  </a:lnTo>
                  <a:lnTo>
                    <a:pt x="371" y="369"/>
                  </a:lnTo>
                  <a:lnTo>
                    <a:pt x="371" y="370"/>
                  </a:lnTo>
                  <a:lnTo>
                    <a:pt x="369" y="369"/>
                  </a:lnTo>
                  <a:lnTo>
                    <a:pt x="369" y="370"/>
                  </a:lnTo>
                  <a:lnTo>
                    <a:pt x="368" y="370"/>
                  </a:lnTo>
                  <a:lnTo>
                    <a:pt x="368" y="368"/>
                  </a:lnTo>
                  <a:lnTo>
                    <a:pt x="367" y="367"/>
                  </a:lnTo>
                  <a:lnTo>
                    <a:pt x="367" y="364"/>
                  </a:lnTo>
                  <a:lnTo>
                    <a:pt x="366" y="364"/>
                  </a:lnTo>
                  <a:lnTo>
                    <a:pt x="366" y="366"/>
                  </a:lnTo>
                  <a:lnTo>
                    <a:pt x="366" y="368"/>
                  </a:lnTo>
                  <a:lnTo>
                    <a:pt x="366" y="370"/>
                  </a:lnTo>
                  <a:lnTo>
                    <a:pt x="367" y="373"/>
                  </a:lnTo>
                  <a:lnTo>
                    <a:pt x="367" y="375"/>
                  </a:lnTo>
                  <a:lnTo>
                    <a:pt x="368" y="376"/>
                  </a:lnTo>
                  <a:lnTo>
                    <a:pt x="367" y="376"/>
                  </a:lnTo>
                  <a:lnTo>
                    <a:pt x="366" y="375"/>
                  </a:lnTo>
                  <a:lnTo>
                    <a:pt x="365" y="375"/>
                  </a:lnTo>
                  <a:lnTo>
                    <a:pt x="363" y="375"/>
                  </a:lnTo>
                  <a:lnTo>
                    <a:pt x="363" y="378"/>
                  </a:lnTo>
                  <a:lnTo>
                    <a:pt x="363" y="380"/>
                  </a:lnTo>
                  <a:lnTo>
                    <a:pt x="362" y="381"/>
                  </a:lnTo>
                  <a:lnTo>
                    <a:pt x="362" y="380"/>
                  </a:lnTo>
                  <a:lnTo>
                    <a:pt x="361" y="381"/>
                  </a:lnTo>
                  <a:lnTo>
                    <a:pt x="360" y="384"/>
                  </a:lnTo>
                  <a:lnTo>
                    <a:pt x="360" y="386"/>
                  </a:lnTo>
                  <a:lnTo>
                    <a:pt x="360" y="390"/>
                  </a:lnTo>
                  <a:lnTo>
                    <a:pt x="362" y="392"/>
                  </a:lnTo>
                  <a:lnTo>
                    <a:pt x="361" y="393"/>
                  </a:lnTo>
                  <a:lnTo>
                    <a:pt x="360" y="394"/>
                  </a:lnTo>
                  <a:lnTo>
                    <a:pt x="359" y="396"/>
                  </a:lnTo>
                  <a:lnTo>
                    <a:pt x="357" y="399"/>
                  </a:lnTo>
                  <a:lnTo>
                    <a:pt x="356" y="402"/>
                  </a:lnTo>
                  <a:lnTo>
                    <a:pt x="355" y="403"/>
                  </a:lnTo>
                  <a:lnTo>
                    <a:pt x="355" y="400"/>
                  </a:lnTo>
                  <a:lnTo>
                    <a:pt x="354" y="398"/>
                  </a:lnTo>
                  <a:lnTo>
                    <a:pt x="353" y="397"/>
                  </a:lnTo>
                  <a:lnTo>
                    <a:pt x="353" y="396"/>
                  </a:lnTo>
                  <a:lnTo>
                    <a:pt x="350" y="397"/>
                  </a:lnTo>
                  <a:lnTo>
                    <a:pt x="350" y="396"/>
                  </a:lnTo>
                  <a:lnTo>
                    <a:pt x="349" y="396"/>
                  </a:lnTo>
                  <a:lnTo>
                    <a:pt x="348" y="397"/>
                  </a:lnTo>
                  <a:lnTo>
                    <a:pt x="348" y="399"/>
                  </a:lnTo>
                  <a:lnTo>
                    <a:pt x="348" y="396"/>
                  </a:lnTo>
                  <a:lnTo>
                    <a:pt x="347" y="394"/>
                  </a:lnTo>
                  <a:lnTo>
                    <a:pt x="348" y="392"/>
                  </a:lnTo>
                  <a:lnTo>
                    <a:pt x="349" y="392"/>
                  </a:lnTo>
                  <a:lnTo>
                    <a:pt x="351" y="392"/>
                  </a:lnTo>
                  <a:lnTo>
                    <a:pt x="351" y="388"/>
                  </a:lnTo>
                  <a:lnTo>
                    <a:pt x="353" y="386"/>
                  </a:lnTo>
                  <a:lnTo>
                    <a:pt x="353" y="384"/>
                  </a:lnTo>
                  <a:lnTo>
                    <a:pt x="351" y="384"/>
                  </a:lnTo>
                  <a:lnTo>
                    <a:pt x="349" y="382"/>
                  </a:lnTo>
                  <a:lnTo>
                    <a:pt x="348" y="385"/>
                  </a:lnTo>
                  <a:lnTo>
                    <a:pt x="348" y="384"/>
                  </a:lnTo>
                  <a:lnTo>
                    <a:pt x="349" y="382"/>
                  </a:lnTo>
                  <a:lnTo>
                    <a:pt x="347" y="384"/>
                  </a:lnTo>
                  <a:lnTo>
                    <a:pt x="345" y="385"/>
                  </a:lnTo>
                  <a:lnTo>
                    <a:pt x="343" y="388"/>
                  </a:lnTo>
                  <a:lnTo>
                    <a:pt x="342" y="390"/>
                  </a:lnTo>
                  <a:lnTo>
                    <a:pt x="339" y="390"/>
                  </a:lnTo>
                  <a:lnTo>
                    <a:pt x="339" y="388"/>
                  </a:lnTo>
                  <a:lnTo>
                    <a:pt x="339" y="387"/>
                  </a:lnTo>
                  <a:lnTo>
                    <a:pt x="338" y="388"/>
                  </a:lnTo>
                  <a:lnTo>
                    <a:pt x="338" y="391"/>
                  </a:lnTo>
                  <a:lnTo>
                    <a:pt x="337" y="392"/>
                  </a:lnTo>
                  <a:lnTo>
                    <a:pt x="337" y="393"/>
                  </a:lnTo>
                  <a:lnTo>
                    <a:pt x="336" y="394"/>
                  </a:lnTo>
                  <a:lnTo>
                    <a:pt x="334" y="397"/>
                  </a:lnTo>
                  <a:lnTo>
                    <a:pt x="333" y="398"/>
                  </a:lnTo>
                  <a:lnTo>
                    <a:pt x="333" y="399"/>
                  </a:lnTo>
                  <a:lnTo>
                    <a:pt x="332" y="402"/>
                  </a:lnTo>
                  <a:lnTo>
                    <a:pt x="331" y="402"/>
                  </a:lnTo>
                  <a:lnTo>
                    <a:pt x="330" y="404"/>
                  </a:lnTo>
                  <a:lnTo>
                    <a:pt x="330" y="405"/>
                  </a:lnTo>
                  <a:lnTo>
                    <a:pt x="330" y="403"/>
                  </a:lnTo>
                  <a:lnTo>
                    <a:pt x="328" y="404"/>
                  </a:lnTo>
                  <a:lnTo>
                    <a:pt x="327" y="404"/>
                  </a:lnTo>
                  <a:lnTo>
                    <a:pt x="326" y="404"/>
                  </a:lnTo>
                  <a:lnTo>
                    <a:pt x="326" y="403"/>
                  </a:lnTo>
                  <a:lnTo>
                    <a:pt x="326" y="400"/>
                  </a:lnTo>
                  <a:lnTo>
                    <a:pt x="326" y="399"/>
                  </a:lnTo>
                  <a:lnTo>
                    <a:pt x="325" y="399"/>
                  </a:lnTo>
                  <a:lnTo>
                    <a:pt x="327" y="398"/>
                  </a:lnTo>
                  <a:lnTo>
                    <a:pt x="326" y="398"/>
                  </a:lnTo>
                  <a:lnTo>
                    <a:pt x="327" y="397"/>
                  </a:lnTo>
                  <a:lnTo>
                    <a:pt x="327" y="396"/>
                  </a:lnTo>
                  <a:lnTo>
                    <a:pt x="327" y="393"/>
                  </a:lnTo>
                  <a:lnTo>
                    <a:pt x="328" y="392"/>
                  </a:lnTo>
                  <a:lnTo>
                    <a:pt x="327" y="390"/>
                  </a:lnTo>
                  <a:lnTo>
                    <a:pt x="327" y="384"/>
                  </a:lnTo>
                  <a:lnTo>
                    <a:pt x="328" y="375"/>
                  </a:lnTo>
                  <a:lnTo>
                    <a:pt x="327" y="367"/>
                  </a:lnTo>
                  <a:lnTo>
                    <a:pt x="325" y="370"/>
                  </a:lnTo>
                  <a:lnTo>
                    <a:pt x="324" y="374"/>
                  </a:lnTo>
                  <a:lnTo>
                    <a:pt x="325" y="375"/>
                  </a:lnTo>
                  <a:lnTo>
                    <a:pt x="324" y="374"/>
                  </a:lnTo>
                  <a:lnTo>
                    <a:pt x="318" y="375"/>
                  </a:lnTo>
                  <a:lnTo>
                    <a:pt x="322" y="374"/>
                  </a:lnTo>
                  <a:lnTo>
                    <a:pt x="326" y="367"/>
                  </a:lnTo>
                  <a:lnTo>
                    <a:pt x="324" y="368"/>
                  </a:lnTo>
                  <a:lnTo>
                    <a:pt x="321" y="368"/>
                  </a:lnTo>
                  <a:lnTo>
                    <a:pt x="319" y="367"/>
                  </a:lnTo>
                  <a:lnTo>
                    <a:pt x="318" y="368"/>
                  </a:lnTo>
                  <a:lnTo>
                    <a:pt x="316" y="368"/>
                  </a:lnTo>
                  <a:lnTo>
                    <a:pt x="315" y="368"/>
                  </a:lnTo>
                  <a:lnTo>
                    <a:pt x="314" y="366"/>
                  </a:lnTo>
                  <a:lnTo>
                    <a:pt x="315" y="363"/>
                  </a:lnTo>
                  <a:lnTo>
                    <a:pt x="314" y="363"/>
                  </a:lnTo>
                  <a:lnTo>
                    <a:pt x="313" y="364"/>
                  </a:lnTo>
                  <a:lnTo>
                    <a:pt x="310" y="364"/>
                  </a:lnTo>
                  <a:lnTo>
                    <a:pt x="309" y="364"/>
                  </a:lnTo>
                  <a:lnTo>
                    <a:pt x="307" y="366"/>
                  </a:lnTo>
                  <a:lnTo>
                    <a:pt x="308" y="368"/>
                  </a:lnTo>
                  <a:lnTo>
                    <a:pt x="308" y="370"/>
                  </a:lnTo>
                  <a:lnTo>
                    <a:pt x="308" y="372"/>
                  </a:lnTo>
                  <a:lnTo>
                    <a:pt x="309" y="373"/>
                  </a:lnTo>
                  <a:lnTo>
                    <a:pt x="308" y="373"/>
                  </a:lnTo>
                  <a:lnTo>
                    <a:pt x="308" y="375"/>
                  </a:lnTo>
                  <a:lnTo>
                    <a:pt x="309" y="378"/>
                  </a:lnTo>
                  <a:lnTo>
                    <a:pt x="309" y="381"/>
                  </a:lnTo>
                  <a:lnTo>
                    <a:pt x="308" y="376"/>
                  </a:lnTo>
                  <a:lnTo>
                    <a:pt x="307" y="378"/>
                  </a:lnTo>
                  <a:lnTo>
                    <a:pt x="306" y="379"/>
                  </a:lnTo>
                  <a:lnTo>
                    <a:pt x="307" y="382"/>
                  </a:lnTo>
                  <a:lnTo>
                    <a:pt x="304" y="386"/>
                  </a:lnTo>
                  <a:lnTo>
                    <a:pt x="302" y="388"/>
                  </a:lnTo>
                  <a:lnTo>
                    <a:pt x="304" y="384"/>
                  </a:lnTo>
                  <a:lnTo>
                    <a:pt x="304" y="381"/>
                  </a:lnTo>
                  <a:lnTo>
                    <a:pt x="304" y="380"/>
                  </a:lnTo>
                  <a:lnTo>
                    <a:pt x="303" y="380"/>
                  </a:lnTo>
                  <a:lnTo>
                    <a:pt x="303" y="382"/>
                  </a:lnTo>
                  <a:lnTo>
                    <a:pt x="303" y="384"/>
                  </a:lnTo>
                  <a:lnTo>
                    <a:pt x="302" y="385"/>
                  </a:lnTo>
                  <a:lnTo>
                    <a:pt x="301" y="384"/>
                  </a:lnTo>
                  <a:lnTo>
                    <a:pt x="300" y="382"/>
                  </a:lnTo>
                  <a:lnTo>
                    <a:pt x="300" y="385"/>
                  </a:lnTo>
                  <a:lnTo>
                    <a:pt x="301" y="388"/>
                  </a:lnTo>
                  <a:lnTo>
                    <a:pt x="301" y="390"/>
                  </a:lnTo>
                  <a:lnTo>
                    <a:pt x="300" y="393"/>
                  </a:lnTo>
                  <a:lnTo>
                    <a:pt x="297" y="394"/>
                  </a:lnTo>
                  <a:lnTo>
                    <a:pt x="300" y="391"/>
                  </a:lnTo>
                  <a:lnTo>
                    <a:pt x="300" y="388"/>
                  </a:lnTo>
                  <a:lnTo>
                    <a:pt x="300" y="384"/>
                  </a:lnTo>
                  <a:lnTo>
                    <a:pt x="298" y="385"/>
                  </a:lnTo>
                  <a:lnTo>
                    <a:pt x="298" y="387"/>
                  </a:lnTo>
                  <a:lnTo>
                    <a:pt x="297" y="391"/>
                  </a:lnTo>
                  <a:lnTo>
                    <a:pt x="296" y="391"/>
                  </a:lnTo>
                  <a:lnTo>
                    <a:pt x="295" y="392"/>
                  </a:lnTo>
                  <a:lnTo>
                    <a:pt x="294" y="393"/>
                  </a:lnTo>
                  <a:lnTo>
                    <a:pt x="292" y="392"/>
                  </a:lnTo>
                  <a:lnTo>
                    <a:pt x="292" y="391"/>
                  </a:lnTo>
                  <a:lnTo>
                    <a:pt x="292" y="392"/>
                  </a:lnTo>
                  <a:lnTo>
                    <a:pt x="290" y="393"/>
                  </a:lnTo>
                  <a:lnTo>
                    <a:pt x="289" y="396"/>
                  </a:lnTo>
                  <a:lnTo>
                    <a:pt x="286" y="394"/>
                  </a:lnTo>
                  <a:lnTo>
                    <a:pt x="286" y="391"/>
                  </a:lnTo>
                  <a:lnTo>
                    <a:pt x="286" y="388"/>
                  </a:lnTo>
                  <a:lnTo>
                    <a:pt x="288" y="388"/>
                  </a:lnTo>
                  <a:lnTo>
                    <a:pt x="289" y="388"/>
                  </a:lnTo>
                  <a:lnTo>
                    <a:pt x="289" y="386"/>
                  </a:lnTo>
                  <a:lnTo>
                    <a:pt x="289" y="385"/>
                  </a:lnTo>
                  <a:lnTo>
                    <a:pt x="289" y="384"/>
                  </a:lnTo>
                  <a:lnTo>
                    <a:pt x="290" y="381"/>
                  </a:lnTo>
                  <a:lnTo>
                    <a:pt x="289" y="382"/>
                  </a:lnTo>
                  <a:lnTo>
                    <a:pt x="288" y="384"/>
                  </a:lnTo>
                  <a:lnTo>
                    <a:pt x="286" y="387"/>
                  </a:lnTo>
                  <a:lnTo>
                    <a:pt x="285" y="388"/>
                  </a:lnTo>
                  <a:lnTo>
                    <a:pt x="285" y="392"/>
                  </a:lnTo>
                  <a:lnTo>
                    <a:pt x="284" y="392"/>
                  </a:lnTo>
                  <a:lnTo>
                    <a:pt x="283" y="393"/>
                  </a:lnTo>
                  <a:lnTo>
                    <a:pt x="282" y="393"/>
                  </a:lnTo>
                  <a:lnTo>
                    <a:pt x="282" y="391"/>
                  </a:lnTo>
                  <a:lnTo>
                    <a:pt x="280" y="388"/>
                  </a:lnTo>
                  <a:lnTo>
                    <a:pt x="279" y="386"/>
                  </a:lnTo>
                  <a:lnTo>
                    <a:pt x="278" y="386"/>
                  </a:lnTo>
                  <a:lnTo>
                    <a:pt x="277" y="387"/>
                  </a:lnTo>
                  <a:lnTo>
                    <a:pt x="274" y="390"/>
                  </a:lnTo>
                  <a:lnTo>
                    <a:pt x="273" y="391"/>
                  </a:lnTo>
                  <a:lnTo>
                    <a:pt x="273" y="388"/>
                  </a:lnTo>
                  <a:lnTo>
                    <a:pt x="273" y="386"/>
                  </a:lnTo>
                  <a:lnTo>
                    <a:pt x="272" y="386"/>
                  </a:lnTo>
                  <a:lnTo>
                    <a:pt x="272" y="387"/>
                  </a:lnTo>
                  <a:lnTo>
                    <a:pt x="271" y="390"/>
                  </a:lnTo>
                  <a:lnTo>
                    <a:pt x="268" y="391"/>
                  </a:lnTo>
                  <a:lnTo>
                    <a:pt x="267" y="392"/>
                  </a:lnTo>
                  <a:lnTo>
                    <a:pt x="268" y="390"/>
                  </a:lnTo>
                  <a:lnTo>
                    <a:pt x="269" y="387"/>
                  </a:lnTo>
                  <a:lnTo>
                    <a:pt x="269" y="385"/>
                  </a:lnTo>
                  <a:lnTo>
                    <a:pt x="272" y="382"/>
                  </a:lnTo>
                  <a:lnTo>
                    <a:pt x="271" y="382"/>
                  </a:lnTo>
                  <a:lnTo>
                    <a:pt x="269" y="384"/>
                  </a:lnTo>
                  <a:lnTo>
                    <a:pt x="269" y="381"/>
                  </a:lnTo>
                  <a:lnTo>
                    <a:pt x="267" y="381"/>
                  </a:lnTo>
                  <a:lnTo>
                    <a:pt x="267" y="379"/>
                  </a:lnTo>
                  <a:lnTo>
                    <a:pt x="266" y="380"/>
                  </a:lnTo>
                  <a:lnTo>
                    <a:pt x="263" y="380"/>
                  </a:lnTo>
                  <a:lnTo>
                    <a:pt x="265" y="379"/>
                  </a:lnTo>
                  <a:lnTo>
                    <a:pt x="263" y="379"/>
                  </a:lnTo>
                  <a:lnTo>
                    <a:pt x="262" y="380"/>
                  </a:lnTo>
                  <a:lnTo>
                    <a:pt x="262" y="378"/>
                  </a:lnTo>
                  <a:lnTo>
                    <a:pt x="261" y="378"/>
                  </a:lnTo>
                  <a:lnTo>
                    <a:pt x="261" y="375"/>
                  </a:lnTo>
                  <a:lnTo>
                    <a:pt x="261" y="374"/>
                  </a:lnTo>
                  <a:lnTo>
                    <a:pt x="259" y="375"/>
                  </a:lnTo>
                  <a:lnTo>
                    <a:pt x="255" y="376"/>
                  </a:lnTo>
                  <a:lnTo>
                    <a:pt x="257" y="374"/>
                  </a:lnTo>
                  <a:lnTo>
                    <a:pt x="260" y="373"/>
                  </a:lnTo>
                  <a:lnTo>
                    <a:pt x="261" y="372"/>
                  </a:lnTo>
                  <a:lnTo>
                    <a:pt x="262" y="372"/>
                  </a:lnTo>
                  <a:lnTo>
                    <a:pt x="261" y="372"/>
                  </a:lnTo>
                  <a:lnTo>
                    <a:pt x="260" y="372"/>
                  </a:lnTo>
                  <a:lnTo>
                    <a:pt x="259" y="370"/>
                  </a:lnTo>
                  <a:lnTo>
                    <a:pt x="257" y="372"/>
                  </a:lnTo>
                  <a:lnTo>
                    <a:pt x="255" y="372"/>
                  </a:lnTo>
                  <a:lnTo>
                    <a:pt x="255" y="373"/>
                  </a:lnTo>
                  <a:lnTo>
                    <a:pt x="253" y="372"/>
                  </a:lnTo>
                  <a:lnTo>
                    <a:pt x="253" y="368"/>
                  </a:lnTo>
                  <a:lnTo>
                    <a:pt x="253" y="367"/>
                  </a:lnTo>
                  <a:lnTo>
                    <a:pt x="253" y="364"/>
                  </a:lnTo>
                  <a:lnTo>
                    <a:pt x="254" y="363"/>
                  </a:lnTo>
                  <a:lnTo>
                    <a:pt x="255" y="363"/>
                  </a:lnTo>
                  <a:lnTo>
                    <a:pt x="256" y="362"/>
                  </a:lnTo>
                  <a:lnTo>
                    <a:pt x="255" y="361"/>
                  </a:lnTo>
                  <a:lnTo>
                    <a:pt x="255" y="358"/>
                  </a:lnTo>
                  <a:lnTo>
                    <a:pt x="253" y="360"/>
                  </a:lnTo>
                  <a:lnTo>
                    <a:pt x="251" y="358"/>
                  </a:lnTo>
                  <a:lnTo>
                    <a:pt x="250" y="360"/>
                  </a:lnTo>
                  <a:lnTo>
                    <a:pt x="249" y="362"/>
                  </a:lnTo>
                  <a:lnTo>
                    <a:pt x="249" y="361"/>
                  </a:lnTo>
                  <a:lnTo>
                    <a:pt x="249" y="363"/>
                  </a:lnTo>
                  <a:lnTo>
                    <a:pt x="247" y="364"/>
                  </a:lnTo>
                  <a:lnTo>
                    <a:pt x="245" y="366"/>
                  </a:lnTo>
                  <a:lnTo>
                    <a:pt x="245" y="364"/>
                  </a:lnTo>
                  <a:lnTo>
                    <a:pt x="245" y="363"/>
                  </a:lnTo>
                  <a:lnTo>
                    <a:pt x="244" y="364"/>
                  </a:lnTo>
                  <a:lnTo>
                    <a:pt x="244" y="363"/>
                  </a:lnTo>
                  <a:lnTo>
                    <a:pt x="242" y="363"/>
                  </a:lnTo>
                  <a:lnTo>
                    <a:pt x="242" y="362"/>
                  </a:lnTo>
                  <a:lnTo>
                    <a:pt x="241" y="362"/>
                  </a:lnTo>
                  <a:lnTo>
                    <a:pt x="238" y="363"/>
                  </a:lnTo>
                  <a:lnTo>
                    <a:pt x="238" y="362"/>
                  </a:lnTo>
                  <a:lnTo>
                    <a:pt x="239" y="361"/>
                  </a:lnTo>
                  <a:lnTo>
                    <a:pt x="241" y="360"/>
                  </a:lnTo>
                  <a:lnTo>
                    <a:pt x="242" y="361"/>
                  </a:lnTo>
                  <a:lnTo>
                    <a:pt x="243" y="360"/>
                  </a:lnTo>
                  <a:lnTo>
                    <a:pt x="242" y="358"/>
                  </a:lnTo>
                  <a:lnTo>
                    <a:pt x="239" y="358"/>
                  </a:lnTo>
                  <a:lnTo>
                    <a:pt x="239" y="357"/>
                  </a:lnTo>
                  <a:lnTo>
                    <a:pt x="238" y="358"/>
                  </a:lnTo>
                  <a:lnTo>
                    <a:pt x="236" y="358"/>
                  </a:lnTo>
                  <a:lnTo>
                    <a:pt x="236" y="357"/>
                  </a:lnTo>
                  <a:lnTo>
                    <a:pt x="236" y="356"/>
                  </a:lnTo>
                  <a:lnTo>
                    <a:pt x="237" y="355"/>
                  </a:lnTo>
                  <a:lnTo>
                    <a:pt x="238" y="355"/>
                  </a:lnTo>
                  <a:lnTo>
                    <a:pt x="241" y="352"/>
                  </a:lnTo>
                  <a:lnTo>
                    <a:pt x="239" y="352"/>
                  </a:lnTo>
                  <a:lnTo>
                    <a:pt x="238" y="352"/>
                  </a:lnTo>
                  <a:lnTo>
                    <a:pt x="237" y="353"/>
                  </a:lnTo>
                  <a:lnTo>
                    <a:pt x="235" y="355"/>
                  </a:lnTo>
                  <a:lnTo>
                    <a:pt x="233" y="356"/>
                  </a:lnTo>
                  <a:lnTo>
                    <a:pt x="236" y="364"/>
                  </a:lnTo>
                  <a:lnTo>
                    <a:pt x="239" y="375"/>
                  </a:lnTo>
                  <a:lnTo>
                    <a:pt x="239" y="391"/>
                  </a:lnTo>
                  <a:lnTo>
                    <a:pt x="247" y="405"/>
                  </a:lnTo>
                  <a:lnTo>
                    <a:pt x="250" y="412"/>
                  </a:lnTo>
                  <a:lnTo>
                    <a:pt x="250" y="420"/>
                  </a:lnTo>
                  <a:lnTo>
                    <a:pt x="247" y="426"/>
                  </a:lnTo>
                  <a:lnTo>
                    <a:pt x="241" y="438"/>
                  </a:lnTo>
                  <a:lnTo>
                    <a:pt x="235" y="474"/>
                  </a:lnTo>
                  <a:lnTo>
                    <a:pt x="232" y="491"/>
                  </a:lnTo>
                  <a:lnTo>
                    <a:pt x="232" y="516"/>
                  </a:lnTo>
                  <a:lnTo>
                    <a:pt x="232" y="539"/>
                  </a:lnTo>
                  <a:lnTo>
                    <a:pt x="233" y="54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4" name="Freeform 77"/>
            <p:cNvSpPr>
              <a:spLocks/>
            </p:cNvSpPr>
            <p:nvPr userDrawn="1"/>
          </p:nvSpPr>
          <p:spPr bwMode="auto">
            <a:xfrm>
              <a:off x="6143625" y="6537326"/>
              <a:ext cx="3001963" cy="128588"/>
            </a:xfrm>
            <a:custGeom>
              <a:avLst/>
              <a:gdLst/>
              <a:ahLst/>
              <a:cxnLst>
                <a:cxn ang="0">
                  <a:pos x="24" y="383"/>
                </a:cxn>
                <a:cxn ang="0">
                  <a:pos x="140" y="342"/>
                </a:cxn>
                <a:cxn ang="0">
                  <a:pos x="462" y="200"/>
                </a:cxn>
                <a:cxn ang="0">
                  <a:pos x="618" y="142"/>
                </a:cxn>
                <a:cxn ang="0">
                  <a:pos x="699" y="122"/>
                </a:cxn>
                <a:cxn ang="0">
                  <a:pos x="875" y="120"/>
                </a:cxn>
                <a:cxn ang="0">
                  <a:pos x="1256" y="110"/>
                </a:cxn>
                <a:cxn ang="0">
                  <a:pos x="1527" y="108"/>
                </a:cxn>
                <a:cxn ang="0">
                  <a:pos x="1830" y="122"/>
                </a:cxn>
                <a:cxn ang="0">
                  <a:pos x="2033" y="126"/>
                </a:cxn>
                <a:cxn ang="0">
                  <a:pos x="2168" y="120"/>
                </a:cxn>
                <a:cxn ang="0">
                  <a:pos x="2344" y="98"/>
                </a:cxn>
                <a:cxn ang="0">
                  <a:pos x="2545" y="80"/>
                </a:cxn>
                <a:cxn ang="0">
                  <a:pos x="2615" y="81"/>
                </a:cxn>
                <a:cxn ang="0">
                  <a:pos x="2696" y="100"/>
                </a:cxn>
                <a:cxn ang="0">
                  <a:pos x="2875" y="164"/>
                </a:cxn>
                <a:cxn ang="0">
                  <a:pos x="3028" y="208"/>
                </a:cxn>
                <a:cxn ang="0">
                  <a:pos x="3157" y="231"/>
                </a:cxn>
                <a:cxn ang="0">
                  <a:pos x="3234" y="233"/>
                </a:cxn>
                <a:cxn ang="0">
                  <a:pos x="3331" y="224"/>
                </a:cxn>
                <a:cxn ang="0">
                  <a:pos x="3436" y="195"/>
                </a:cxn>
                <a:cxn ang="0">
                  <a:pos x="3519" y="170"/>
                </a:cxn>
                <a:cxn ang="0">
                  <a:pos x="3595" y="165"/>
                </a:cxn>
                <a:cxn ang="0">
                  <a:pos x="3718" y="149"/>
                </a:cxn>
                <a:cxn ang="0">
                  <a:pos x="3817" y="138"/>
                </a:cxn>
                <a:cxn ang="0">
                  <a:pos x="3842" y="138"/>
                </a:cxn>
                <a:cxn ang="0">
                  <a:pos x="3854" y="126"/>
                </a:cxn>
                <a:cxn ang="0">
                  <a:pos x="3865" y="104"/>
                </a:cxn>
                <a:cxn ang="0">
                  <a:pos x="3879" y="86"/>
                </a:cxn>
                <a:cxn ang="0">
                  <a:pos x="3903" y="70"/>
                </a:cxn>
                <a:cxn ang="0">
                  <a:pos x="3944" y="58"/>
                </a:cxn>
                <a:cxn ang="0">
                  <a:pos x="4042" y="54"/>
                </a:cxn>
                <a:cxn ang="0">
                  <a:pos x="4545" y="94"/>
                </a:cxn>
                <a:cxn ang="0">
                  <a:pos x="4907" y="123"/>
                </a:cxn>
                <a:cxn ang="0">
                  <a:pos x="5298" y="142"/>
                </a:cxn>
                <a:cxn ang="0">
                  <a:pos x="5485" y="146"/>
                </a:cxn>
                <a:cxn ang="0">
                  <a:pos x="5541" y="137"/>
                </a:cxn>
                <a:cxn ang="0">
                  <a:pos x="5607" y="117"/>
                </a:cxn>
                <a:cxn ang="0">
                  <a:pos x="5679" y="86"/>
                </a:cxn>
                <a:cxn ang="0">
                  <a:pos x="5736" y="70"/>
                </a:cxn>
                <a:cxn ang="0">
                  <a:pos x="5782" y="68"/>
                </a:cxn>
                <a:cxn ang="0">
                  <a:pos x="5914" y="81"/>
                </a:cxn>
                <a:cxn ang="0">
                  <a:pos x="6110" y="88"/>
                </a:cxn>
                <a:cxn ang="0">
                  <a:pos x="6288" y="82"/>
                </a:cxn>
                <a:cxn ang="0">
                  <a:pos x="6449" y="66"/>
                </a:cxn>
                <a:cxn ang="0">
                  <a:pos x="6659" y="35"/>
                </a:cxn>
                <a:cxn ang="0">
                  <a:pos x="6841" y="9"/>
                </a:cxn>
                <a:cxn ang="0">
                  <a:pos x="6949" y="0"/>
                </a:cxn>
                <a:cxn ang="0">
                  <a:pos x="7613" y="101"/>
                </a:cxn>
                <a:cxn ang="0">
                  <a:pos x="8840" y="302"/>
                </a:cxn>
                <a:cxn ang="0">
                  <a:pos x="8858" y="402"/>
                </a:cxn>
                <a:cxn ang="0">
                  <a:pos x="7666" y="399"/>
                </a:cxn>
                <a:cxn ang="0">
                  <a:pos x="6474" y="398"/>
                </a:cxn>
                <a:cxn ang="0">
                  <a:pos x="5282" y="397"/>
                </a:cxn>
                <a:cxn ang="0">
                  <a:pos x="3872" y="396"/>
                </a:cxn>
                <a:cxn ang="0">
                  <a:pos x="2244" y="393"/>
                </a:cxn>
                <a:cxn ang="0">
                  <a:pos x="902" y="391"/>
                </a:cxn>
                <a:cxn ang="0">
                  <a:pos x="88" y="389"/>
                </a:cxn>
              </a:cxnLst>
              <a:rect l="0" t="0" r="r" b="b"/>
              <a:pathLst>
                <a:path w="9454" h="403">
                  <a:moveTo>
                    <a:pt x="0" y="387"/>
                  </a:moveTo>
                  <a:lnTo>
                    <a:pt x="24" y="383"/>
                  </a:lnTo>
                  <a:lnTo>
                    <a:pt x="56" y="374"/>
                  </a:lnTo>
                  <a:lnTo>
                    <a:pt x="140" y="342"/>
                  </a:lnTo>
                  <a:lnTo>
                    <a:pt x="350" y="249"/>
                  </a:lnTo>
                  <a:lnTo>
                    <a:pt x="462" y="200"/>
                  </a:lnTo>
                  <a:lnTo>
                    <a:pt x="569" y="158"/>
                  </a:lnTo>
                  <a:lnTo>
                    <a:pt x="618" y="142"/>
                  </a:lnTo>
                  <a:lnTo>
                    <a:pt x="661" y="129"/>
                  </a:lnTo>
                  <a:lnTo>
                    <a:pt x="699" y="122"/>
                  </a:lnTo>
                  <a:lnTo>
                    <a:pt x="732" y="120"/>
                  </a:lnTo>
                  <a:lnTo>
                    <a:pt x="875" y="120"/>
                  </a:lnTo>
                  <a:lnTo>
                    <a:pt x="1059" y="116"/>
                  </a:lnTo>
                  <a:lnTo>
                    <a:pt x="1256" y="110"/>
                  </a:lnTo>
                  <a:lnTo>
                    <a:pt x="1439" y="107"/>
                  </a:lnTo>
                  <a:lnTo>
                    <a:pt x="1527" y="108"/>
                  </a:lnTo>
                  <a:lnTo>
                    <a:pt x="1624" y="112"/>
                  </a:lnTo>
                  <a:lnTo>
                    <a:pt x="1830" y="122"/>
                  </a:lnTo>
                  <a:lnTo>
                    <a:pt x="1934" y="125"/>
                  </a:lnTo>
                  <a:lnTo>
                    <a:pt x="2033" y="126"/>
                  </a:lnTo>
                  <a:lnTo>
                    <a:pt x="2125" y="123"/>
                  </a:lnTo>
                  <a:lnTo>
                    <a:pt x="2168" y="120"/>
                  </a:lnTo>
                  <a:lnTo>
                    <a:pt x="2207" y="116"/>
                  </a:lnTo>
                  <a:lnTo>
                    <a:pt x="2344" y="98"/>
                  </a:lnTo>
                  <a:lnTo>
                    <a:pt x="2455" y="86"/>
                  </a:lnTo>
                  <a:lnTo>
                    <a:pt x="2545" y="80"/>
                  </a:lnTo>
                  <a:lnTo>
                    <a:pt x="2583" y="80"/>
                  </a:lnTo>
                  <a:lnTo>
                    <a:pt x="2615" y="81"/>
                  </a:lnTo>
                  <a:lnTo>
                    <a:pt x="2651" y="87"/>
                  </a:lnTo>
                  <a:lnTo>
                    <a:pt x="2696" y="100"/>
                  </a:lnTo>
                  <a:lnTo>
                    <a:pt x="2808" y="141"/>
                  </a:lnTo>
                  <a:lnTo>
                    <a:pt x="2875" y="164"/>
                  </a:lnTo>
                  <a:lnTo>
                    <a:pt x="2949" y="187"/>
                  </a:lnTo>
                  <a:lnTo>
                    <a:pt x="3028" y="208"/>
                  </a:lnTo>
                  <a:lnTo>
                    <a:pt x="3113" y="225"/>
                  </a:lnTo>
                  <a:lnTo>
                    <a:pt x="3157" y="231"/>
                  </a:lnTo>
                  <a:lnTo>
                    <a:pt x="3197" y="233"/>
                  </a:lnTo>
                  <a:lnTo>
                    <a:pt x="3234" y="233"/>
                  </a:lnTo>
                  <a:lnTo>
                    <a:pt x="3269" y="232"/>
                  </a:lnTo>
                  <a:lnTo>
                    <a:pt x="3331" y="224"/>
                  </a:lnTo>
                  <a:lnTo>
                    <a:pt x="3387" y="211"/>
                  </a:lnTo>
                  <a:lnTo>
                    <a:pt x="3436" y="195"/>
                  </a:lnTo>
                  <a:lnTo>
                    <a:pt x="3480" y="181"/>
                  </a:lnTo>
                  <a:lnTo>
                    <a:pt x="3519" y="170"/>
                  </a:lnTo>
                  <a:lnTo>
                    <a:pt x="3557" y="166"/>
                  </a:lnTo>
                  <a:lnTo>
                    <a:pt x="3595" y="165"/>
                  </a:lnTo>
                  <a:lnTo>
                    <a:pt x="3636" y="160"/>
                  </a:lnTo>
                  <a:lnTo>
                    <a:pt x="3718" y="149"/>
                  </a:lnTo>
                  <a:lnTo>
                    <a:pt x="3789" y="140"/>
                  </a:lnTo>
                  <a:lnTo>
                    <a:pt x="3817" y="138"/>
                  </a:lnTo>
                  <a:lnTo>
                    <a:pt x="3836" y="138"/>
                  </a:lnTo>
                  <a:lnTo>
                    <a:pt x="3842" y="138"/>
                  </a:lnTo>
                  <a:lnTo>
                    <a:pt x="3847" y="137"/>
                  </a:lnTo>
                  <a:lnTo>
                    <a:pt x="3854" y="126"/>
                  </a:lnTo>
                  <a:lnTo>
                    <a:pt x="3860" y="112"/>
                  </a:lnTo>
                  <a:lnTo>
                    <a:pt x="3865" y="104"/>
                  </a:lnTo>
                  <a:lnTo>
                    <a:pt x="3871" y="94"/>
                  </a:lnTo>
                  <a:lnTo>
                    <a:pt x="3879" y="86"/>
                  </a:lnTo>
                  <a:lnTo>
                    <a:pt x="3890" y="77"/>
                  </a:lnTo>
                  <a:lnTo>
                    <a:pt x="3903" y="70"/>
                  </a:lnTo>
                  <a:lnTo>
                    <a:pt x="3921" y="63"/>
                  </a:lnTo>
                  <a:lnTo>
                    <a:pt x="3944" y="58"/>
                  </a:lnTo>
                  <a:lnTo>
                    <a:pt x="3971" y="54"/>
                  </a:lnTo>
                  <a:lnTo>
                    <a:pt x="4042" y="54"/>
                  </a:lnTo>
                  <a:lnTo>
                    <a:pt x="4266" y="71"/>
                  </a:lnTo>
                  <a:lnTo>
                    <a:pt x="4545" y="94"/>
                  </a:lnTo>
                  <a:lnTo>
                    <a:pt x="4789" y="114"/>
                  </a:lnTo>
                  <a:lnTo>
                    <a:pt x="4907" y="123"/>
                  </a:lnTo>
                  <a:lnTo>
                    <a:pt x="5127" y="135"/>
                  </a:lnTo>
                  <a:lnTo>
                    <a:pt x="5298" y="142"/>
                  </a:lnTo>
                  <a:lnTo>
                    <a:pt x="5454" y="146"/>
                  </a:lnTo>
                  <a:lnTo>
                    <a:pt x="5485" y="146"/>
                  </a:lnTo>
                  <a:lnTo>
                    <a:pt x="5514" y="142"/>
                  </a:lnTo>
                  <a:lnTo>
                    <a:pt x="5541" y="137"/>
                  </a:lnTo>
                  <a:lnTo>
                    <a:pt x="5565" y="131"/>
                  </a:lnTo>
                  <a:lnTo>
                    <a:pt x="5607" y="117"/>
                  </a:lnTo>
                  <a:lnTo>
                    <a:pt x="5643" y="101"/>
                  </a:lnTo>
                  <a:lnTo>
                    <a:pt x="5679" y="86"/>
                  </a:lnTo>
                  <a:lnTo>
                    <a:pt x="5717" y="74"/>
                  </a:lnTo>
                  <a:lnTo>
                    <a:pt x="5736" y="70"/>
                  </a:lnTo>
                  <a:lnTo>
                    <a:pt x="5757" y="68"/>
                  </a:lnTo>
                  <a:lnTo>
                    <a:pt x="5782" y="68"/>
                  </a:lnTo>
                  <a:lnTo>
                    <a:pt x="5807" y="70"/>
                  </a:lnTo>
                  <a:lnTo>
                    <a:pt x="5914" y="81"/>
                  </a:lnTo>
                  <a:lnTo>
                    <a:pt x="6014" y="87"/>
                  </a:lnTo>
                  <a:lnTo>
                    <a:pt x="6110" y="88"/>
                  </a:lnTo>
                  <a:lnTo>
                    <a:pt x="6202" y="87"/>
                  </a:lnTo>
                  <a:lnTo>
                    <a:pt x="6288" y="82"/>
                  </a:lnTo>
                  <a:lnTo>
                    <a:pt x="6370" y="75"/>
                  </a:lnTo>
                  <a:lnTo>
                    <a:pt x="6449" y="66"/>
                  </a:lnTo>
                  <a:lnTo>
                    <a:pt x="6522" y="57"/>
                  </a:lnTo>
                  <a:lnTo>
                    <a:pt x="6659" y="35"/>
                  </a:lnTo>
                  <a:lnTo>
                    <a:pt x="6783" y="16"/>
                  </a:lnTo>
                  <a:lnTo>
                    <a:pt x="6841" y="9"/>
                  </a:lnTo>
                  <a:lnTo>
                    <a:pt x="6896" y="3"/>
                  </a:lnTo>
                  <a:lnTo>
                    <a:pt x="6949" y="0"/>
                  </a:lnTo>
                  <a:lnTo>
                    <a:pt x="7000" y="1"/>
                  </a:lnTo>
                  <a:lnTo>
                    <a:pt x="7613" y="101"/>
                  </a:lnTo>
                  <a:lnTo>
                    <a:pt x="8227" y="202"/>
                  </a:lnTo>
                  <a:lnTo>
                    <a:pt x="8840" y="302"/>
                  </a:lnTo>
                  <a:lnTo>
                    <a:pt x="9454" y="403"/>
                  </a:lnTo>
                  <a:lnTo>
                    <a:pt x="8858" y="402"/>
                  </a:lnTo>
                  <a:lnTo>
                    <a:pt x="8262" y="401"/>
                  </a:lnTo>
                  <a:lnTo>
                    <a:pt x="7666" y="399"/>
                  </a:lnTo>
                  <a:lnTo>
                    <a:pt x="7070" y="399"/>
                  </a:lnTo>
                  <a:lnTo>
                    <a:pt x="6474" y="398"/>
                  </a:lnTo>
                  <a:lnTo>
                    <a:pt x="5878" y="398"/>
                  </a:lnTo>
                  <a:lnTo>
                    <a:pt x="5282" y="397"/>
                  </a:lnTo>
                  <a:lnTo>
                    <a:pt x="4686" y="397"/>
                  </a:lnTo>
                  <a:lnTo>
                    <a:pt x="3872" y="396"/>
                  </a:lnTo>
                  <a:lnTo>
                    <a:pt x="3058" y="395"/>
                  </a:lnTo>
                  <a:lnTo>
                    <a:pt x="2244" y="393"/>
                  </a:lnTo>
                  <a:lnTo>
                    <a:pt x="1430" y="392"/>
                  </a:lnTo>
                  <a:lnTo>
                    <a:pt x="902" y="391"/>
                  </a:lnTo>
                  <a:lnTo>
                    <a:pt x="374" y="390"/>
                  </a:lnTo>
                  <a:lnTo>
                    <a:pt x="88" y="389"/>
                  </a:lnTo>
                  <a:lnTo>
                    <a:pt x="0" y="38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5" name="Freeform 78"/>
            <p:cNvSpPr>
              <a:spLocks/>
            </p:cNvSpPr>
            <p:nvPr userDrawn="1"/>
          </p:nvSpPr>
          <p:spPr bwMode="auto">
            <a:xfrm>
              <a:off x="6657975" y="6373813"/>
              <a:ext cx="317500" cy="269875"/>
            </a:xfrm>
            <a:custGeom>
              <a:avLst/>
              <a:gdLst/>
              <a:ahLst/>
              <a:cxnLst>
                <a:cxn ang="0">
                  <a:pos x="331" y="740"/>
                </a:cxn>
                <a:cxn ang="0">
                  <a:pos x="278" y="752"/>
                </a:cxn>
                <a:cxn ang="0">
                  <a:pos x="265" y="723"/>
                </a:cxn>
                <a:cxn ang="0">
                  <a:pos x="223" y="735"/>
                </a:cxn>
                <a:cxn ang="0">
                  <a:pos x="230" y="709"/>
                </a:cxn>
                <a:cxn ang="0">
                  <a:pos x="101" y="748"/>
                </a:cxn>
                <a:cxn ang="0">
                  <a:pos x="141" y="711"/>
                </a:cxn>
                <a:cxn ang="0">
                  <a:pos x="93" y="687"/>
                </a:cxn>
                <a:cxn ang="0">
                  <a:pos x="47" y="626"/>
                </a:cxn>
                <a:cxn ang="0">
                  <a:pos x="31" y="588"/>
                </a:cxn>
                <a:cxn ang="0">
                  <a:pos x="88" y="582"/>
                </a:cxn>
                <a:cxn ang="0">
                  <a:pos x="120" y="543"/>
                </a:cxn>
                <a:cxn ang="0">
                  <a:pos x="208" y="499"/>
                </a:cxn>
                <a:cxn ang="0">
                  <a:pos x="142" y="511"/>
                </a:cxn>
                <a:cxn ang="0">
                  <a:pos x="72" y="484"/>
                </a:cxn>
                <a:cxn ang="0">
                  <a:pos x="100" y="410"/>
                </a:cxn>
                <a:cxn ang="0">
                  <a:pos x="140" y="354"/>
                </a:cxn>
                <a:cxn ang="0">
                  <a:pos x="168" y="335"/>
                </a:cxn>
                <a:cxn ang="0">
                  <a:pos x="187" y="291"/>
                </a:cxn>
                <a:cxn ang="0">
                  <a:pos x="233" y="248"/>
                </a:cxn>
                <a:cxn ang="0">
                  <a:pos x="242" y="230"/>
                </a:cxn>
                <a:cxn ang="0">
                  <a:pos x="136" y="216"/>
                </a:cxn>
                <a:cxn ang="0">
                  <a:pos x="154" y="169"/>
                </a:cxn>
                <a:cxn ang="0">
                  <a:pos x="166" y="118"/>
                </a:cxn>
                <a:cxn ang="0">
                  <a:pos x="208" y="100"/>
                </a:cxn>
                <a:cxn ang="0">
                  <a:pos x="254" y="37"/>
                </a:cxn>
                <a:cxn ang="0">
                  <a:pos x="327" y="15"/>
                </a:cxn>
                <a:cxn ang="0">
                  <a:pos x="412" y="11"/>
                </a:cxn>
                <a:cxn ang="0">
                  <a:pos x="436" y="81"/>
                </a:cxn>
                <a:cxn ang="0">
                  <a:pos x="491" y="67"/>
                </a:cxn>
                <a:cxn ang="0">
                  <a:pos x="495" y="115"/>
                </a:cxn>
                <a:cxn ang="0">
                  <a:pos x="574" y="105"/>
                </a:cxn>
                <a:cxn ang="0">
                  <a:pos x="662" y="112"/>
                </a:cxn>
                <a:cxn ang="0">
                  <a:pos x="737" y="133"/>
                </a:cxn>
                <a:cxn ang="0">
                  <a:pos x="804" y="150"/>
                </a:cxn>
                <a:cxn ang="0">
                  <a:pos x="778" y="183"/>
                </a:cxn>
                <a:cxn ang="0">
                  <a:pos x="813" y="231"/>
                </a:cxn>
                <a:cxn ang="0">
                  <a:pos x="755" y="234"/>
                </a:cxn>
                <a:cxn ang="0">
                  <a:pos x="754" y="264"/>
                </a:cxn>
                <a:cxn ang="0">
                  <a:pos x="822" y="320"/>
                </a:cxn>
                <a:cxn ang="0">
                  <a:pos x="888" y="326"/>
                </a:cxn>
                <a:cxn ang="0">
                  <a:pos x="878" y="380"/>
                </a:cxn>
                <a:cxn ang="0">
                  <a:pos x="916" y="407"/>
                </a:cxn>
                <a:cxn ang="0">
                  <a:pos x="966" y="414"/>
                </a:cxn>
                <a:cxn ang="0">
                  <a:pos x="988" y="468"/>
                </a:cxn>
                <a:cxn ang="0">
                  <a:pos x="966" y="478"/>
                </a:cxn>
                <a:cxn ang="0">
                  <a:pos x="998" y="531"/>
                </a:cxn>
                <a:cxn ang="0">
                  <a:pos x="996" y="573"/>
                </a:cxn>
                <a:cxn ang="0">
                  <a:pos x="899" y="591"/>
                </a:cxn>
                <a:cxn ang="0">
                  <a:pos x="858" y="616"/>
                </a:cxn>
                <a:cxn ang="0">
                  <a:pos x="848" y="644"/>
                </a:cxn>
                <a:cxn ang="0">
                  <a:pos x="874" y="694"/>
                </a:cxn>
                <a:cxn ang="0">
                  <a:pos x="823" y="718"/>
                </a:cxn>
                <a:cxn ang="0">
                  <a:pos x="784" y="706"/>
                </a:cxn>
                <a:cxn ang="0">
                  <a:pos x="715" y="701"/>
                </a:cxn>
                <a:cxn ang="0">
                  <a:pos x="692" y="712"/>
                </a:cxn>
                <a:cxn ang="0">
                  <a:pos x="678" y="724"/>
                </a:cxn>
                <a:cxn ang="0">
                  <a:pos x="687" y="751"/>
                </a:cxn>
                <a:cxn ang="0">
                  <a:pos x="640" y="755"/>
                </a:cxn>
                <a:cxn ang="0">
                  <a:pos x="598" y="763"/>
                </a:cxn>
                <a:cxn ang="0">
                  <a:pos x="578" y="774"/>
                </a:cxn>
                <a:cxn ang="0">
                  <a:pos x="494" y="777"/>
                </a:cxn>
                <a:cxn ang="0">
                  <a:pos x="480" y="734"/>
                </a:cxn>
              </a:cxnLst>
              <a:rect l="0" t="0" r="r" b="b"/>
              <a:pathLst>
                <a:path w="1003" h="849">
                  <a:moveTo>
                    <a:pt x="472" y="849"/>
                  </a:moveTo>
                  <a:lnTo>
                    <a:pt x="326" y="849"/>
                  </a:lnTo>
                  <a:lnTo>
                    <a:pt x="330" y="843"/>
                  </a:lnTo>
                  <a:lnTo>
                    <a:pt x="333" y="831"/>
                  </a:lnTo>
                  <a:lnTo>
                    <a:pt x="335" y="822"/>
                  </a:lnTo>
                  <a:lnTo>
                    <a:pt x="339" y="813"/>
                  </a:lnTo>
                  <a:lnTo>
                    <a:pt x="344" y="807"/>
                  </a:lnTo>
                  <a:lnTo>
                    <a:pt x="345" y="799"/>
                  </a:lnTo>
                  <a:lnTo>
                    <a:pt x="344" y="786"/>
                  </a:lnTo>
                  <a:lnTo>
                    <a:pt x="345" y="775"/>
                  </a:lnTo>
                  <a:lnTo>
                    <a:pt x="350" y="770"/>
                  </a:lnTo>
                  <a:lnTo>
                    <a:pt x="351" y="764"/>
                  </a:lnTo>
                  <a:lnTo>
                    <a:pt x="355" y="747"/>
                  </a:lnTo>
                  <a:lnTo>
                    <a:pt x="353" y="745"/>
                  </a:lnTo>
                  <a:lnTo>
                    <a:pt x="350" y="745"/>
                  </a:lnTo>
                  <a:lnTo>
                    <a:pt x="347" y="752"/>
                  </a:lnTo>
                  <a:lnTo>
                    <a:pt x="341" y="752"/>
                  </a:lnTo>
                  <a:lnTo>
                    <a:pt x="339" y="751"/>
                  </a:lnTo>
                  <a:lnTo>
                    <a:pt x="336" y="751"/>
                  </a:lnTo>
                  <a:lnTo>
                    <a:pt x="330" y="752"/>
                  </a:lnTo>
                  <a:lnTo>
                    <a:pt x="329" y="748"/>
                  </a:lnTo>
                  <a:lnTo>
                    <a:pt x="332" y="742"/>
                  </a:lnTo>
                  <a:lnTo>
                    <a:pt x="331" y="740"/>
                  </a:lnTo>
                  <a:lnTo>
                    <a:pt x="326" y="740"/>
                  </a:lnTo>
                  <a:lnTo>
                    <a:pt x="324" y="739"/>
                  </a:lnTo>
                  <a:lnTo>
                    <a:pt x="323" y="736"/>
                  </a:lnTo>
                  <a:lnTo>
                    <a:pt x="321" y="731"/>
                  </a:lnTo>
                  <a:lnTo>
                    <a:pt x="320" y="730"/>
                  </a:lnTo>
                  <a:lnTo>
                    <a:pt x="320" y="733"/>
                  </a:lnTo>
                  <a:lnTo>
                    <a:pt x="321" y="739"/>
                  </a:lnTo>
                  <a:lnTo>
                    <a:pt x="320" y="740"/>
                  </a:lnTo>
                  <a:lnTo>
                    <a:pt x="319" y="739"/>
                  </a:lnTo>
                  <a:lnTo>
                    <a:pt x="317" y="740"/>
                  </a:lnTo>
                  <a:lnTo>
                    <a:pt x="311" y="740"/>
                  </a:lnTo>
                  <a:lnTo>
                    <a:pt x="307" y="740"/>
                  </a:lnTo>
                  <a:lnTo>
                    <a:pt x="305" y="743"/>
                  </a:lnTo>
                  <a:lnTo>
                    <a:pt x="306" y="746"/>
                  </a:lnTo>
                  <a:lnTo>
                    <a:pt x="306" y="748"/>
                  </a:lnTo>
                  <a:lnTo>
                    <a:pt x="301" y="748"/>
                  </a:lnTo>
                  <a:lnTo>
                    <a:pt x="298" y="751"/>
                  </a:lnTo>
                  <a:lnTo>
                    <a:pt x="295" y="749"/>
                  </a:lnTo>
                  <a:lnTo>
                    <a:pt x="292" y="749"/>
                  </a:lnTo>
                  <a:lnTo>
                    <a:pt x="289" y="751"/>
                  </a:lnTo>
                  <a:lnTo>
                    <a:pt x="290" y="752"/>
                  </a:lnTo>
                  <a:lnTo>
                    <a:pt x="286" y="753"/>
                  </a:lnTo>
                  <a:lnTo>
                    <a:pt x="278" y="752"/>
                  </a:lnTo>
                  <a:lnTo>
                    <a:pt x="274" y="751"/>
                  </a:lnTo>
                  <a:lnTo>
                    <a:pt x="271" y="749"/>
                  </a:lnTo>
                  <a:lnTo>
                    <a:pt x="270" y="745"/>
                  </a:lnTo>
                  <a:lnTo>
                    <a:pt x="267" y="741"/>
                  </a:lnTo>
                  <a:lnTo>
                    <a:pt x="266" y="739"/>
                  </a:lnTo>
                  <a:lnTo>
                    <a:pt x="266" y="736"/>
                  </a:lnTo>
                  <a:lnTo>
                    <a:pt x="270" y="735"/>
                  </a:lnTo>
                  <a:lnTo>
                    <a:pt x="274" y="734"/>
                  </a:lnTo>
                  <a:lnTo>
                    <a:pt x="276" y="731"/>
                  </a:lnTo>
                  <a:lnTo>
                    <a:pt x="274" y="728"/>
                  </a:lnTo>
                  <a:lnTo>
                    <a:pt x="276" y="725"/>
                  </a:lnTo>
                  <a:lnTo>
                    <a:pt x="279" y="725"/>
                  </a:lnTo>
                  <a:lnTo>
                    <a:pt x="282" y="724"/>
                  </a:lnTo>
                  <a:lnTo>
                    <a:pt x="284" y="722"/>
                  </a:lnTo>
                  <a:lnTo>
                    <a:pt x="284" y="719"/>
                  </a:lnTo>
                  <a:lnTo>
                    <a:pt x="283" y="716"/>
                  </a:lnTo>
                  <a:lnTo>
                    <a:pt x="279" y="713"/>
                  </a:lnTo>
                  <a:lnTo>
                    <a:pt x="277" y="712"/>
                  </a:lnTo>
                  <a:lnTo>
                    <a:pt x="274" y="715"/>
                  </a:lnTo>
                  <a:lnTo>
                    <a:pt x="270" y="718"/>
                  </a:lnTo>
                  <a:lnTo>
                    <a:pt x="267" y="721"/>
                  </a:lnTo>
                  <a:lnTo>
                    <a:pt x="266" y="721"/>
                  </a:lnTo>
                  <a:lnTo>
                    <a:pt x="265" y="723"/>
                  </a:lnTo>
                  <a:lnTo>
                    <a:pt x="261" y="727"/>
                  </a:lnTo>
                  <a:lnTo>
                    <a:pt x="259" y="727"/>
                  </a:lnTo>
                  <a:lnTo>
                    <a:pt x="255" y="724"/>
                  </a:lnTo>
                  <a:lnTo>
                    <a:pt x="254" y="724"/>
                  </a:lnTo>
                  <a:lnTo>
                    <a:pt x="253" y="728"/>
                  </a:lnTo>
                  <a:lnTo>
                    <a:pt x="252" y="736"/>
                  </a:lnTo>
                  <a:lnTo>
                    <a:pt x="249" y="739"/>
                  </a:lnTo>
                  <a:lnTo>
                    <a:pt x="243" y="739"/>
                  </a:lnTo>
                  <a:lnTo>
                    <a:pt x="243" y="741"/>
                  </a:lnTo>
                  <a:lnTo>
                    <a:pt x="242" y="742"/>
                  </a:lnTo>
                  <a:lnTo>
                    <a:pt x="241" y="743"/>
                  </a:lnTo>
                  <a:lnTo>
                    <a:pt x="236" y="745"/>
                  </a:lnTo>
                  <a:lnTo>
                    <a:pt x="233" y="746"/>
                  </a:lnTo>
                  <a:lnTo>
                    <a:pt x="232" y="742"/>
                  </a:lnTo>
                  <a:lnTo>
                    <a:pt x="230" y="741"/>
                  </a:lnTo>
                  <a:lnTo>
                    <a:pt x="229" y="741"/>
                  </a:lnTo>
                  <a:lnTo>
                    <a:pt x="230" y="737"/>
                  </a:lnTo>
                  <a:lnTo>
                    <a:pt x="235" y="729"/>
                  </a:lnTo>
                  <a:lnTo>
                    <a:pt x="233" y="727"/>
                  </a:lnTo>
                  <a:lnTo>
                    <a:pt x="231" y="727"/>
                  </a:lnTo>
                  <a:lnTo>
                    <a:pt x="225" y="733"/>
                  </a:lnTo>
                  <a:lnTo>
                    <a:pt x="220" y="734"/>
                  </a:lnTo>
                  <a:lnTo>
                    <a:pt x="223" y="735"/>
                  </a:lnTo>
                  <a:lnTo>
                    <a:pt x="217" y="735"/>
                  </a:lnTo>
                  <a:lnTo>
                    <a:pt x="209" y="735"/>
                  </a:lnTo>
                  <a:lnTo>
                    <a:pt x="203" y="731"/>
                  </a:lnTo>
                  <a:lnTo>
                    <a:pt x="194" y="725"/>
                  </a:lnTo>
                  <a:lnTo>
                    <a:pt x="190" y="723"/>
                  </a:lnTo>
                  <a:lnTo>
                    <a:pt x="193" y="722"/>
                  </a:lnTo>
                  <a:lnTo>
                    <a:pt x="195" y="722"/>
                  </a:lnTo>
                  <a:lnTo>
                    <a:pt x="196" y="719"/>
                  </a:lnTo>
                  <a:lnTo>
                    <a:pt x="196" y="715"/>
                  </a:lnTo>
                  <a:lnTo>
                    <a:pt x="199" y="712"/>
                  </a:lnTo>
                  <a:lnTo>
                    <a:pt x="199" y="711"/>
                  </a:lnTo>
                  <a:lnTo>
                    <a:pt x="201" y="711"/>
                  </a:lnTo>
                  <a:lnTo>
                    <a:pt x="205" y="715"/>
                  </a:lnTo>
                  <a:lnTo>
                    <a:pt x="207" y="716"/>
                  </a:lnTo>
                  <a:lnTo>
                    <a:pt x="208" y="713"/>
                  </a:lnTo>
                  <a:lnTo>
                    <a:pt x="209" y="713"/>
                  </a:lnTo>
                  <a:lnTo>
                    <a:pt x="213" y="713"/>
                  </a:lnTo>
                  <a:lnTo>
                    <a:pt x="217" y="713"/>
                  </a:lnTo>
                  <a:lnTo>
                    <a:pt x="220" y="713"/>
                  </a:lnTo>
                  <a:lnTo>
                    <a:pt x="223" y="711"/>
                  </a:lnTo>
                  <a:lnTo>
                    <a:pt x="225" y="711"/>
                  </a:lnTo>
                  <a:lnTo>
                    <a:pt x="230" y="711"/>
                  </a:lnTo>
                  <a:lnTo>
                    <a:pt x="230" y="709"/>
                  </a:lnTo>
                  <a:lnTo>
                    <a:pt x="227" y="703"/>
                  </a:lnTo>
                  <a:lnTo>
                    <a:pt x="224" y="701"/>
                  </a:lnTo>
                  <a:lnTo>
                    <a:pt x="218" y="705"/>
                  </a:lnTo>
                  <a:lnTo>
                    <a:pt x="209" y="709"/>
                  </a:lnTo>
                  <a:lnTo>
                    <a:pt x="193" y="709"/>
                  </a:lnTo>
                  <a:lnTo>
                    <a:pt x="179" y="709"/>
                  </a:lnTo>
                  <a:lnTo>
                    <a:pt x="173" y="707"/>
                  </a:lnTo>
                  <a:lnTo>
                    <a:pt x="170" y="707"/>
                  </a:lnTo>
                  <a:lnTo>
                    <a:pt x="170" y="710"/>
                  </a:lnTo>
                  <a:lnTo>
                    <a:pt x="173" y="716"/>
                  </a:lnTo>
                  <a:lnTo>
                    <a:pt x="172" y="722"/>
                  </a:lnTo>
                  <a:lnTo>
                    <a:pt x="162" y="725"/>
                  </a:lnTo>
                  <a:lnTo>
                    <a:pt x="162" y="724"/>
                  </a:lnTo>
                  <a:lnTo>
                    <a:pt x="158" y="723"/>
                  </a:lnTo>
                  <a:lnTo>
                    <a:pt x="152" y="724"/>
                  </a:lnTo>
                  <a:lnTo>
                    <a:pt x="148" y="723"/>
                  </a:lnTo>
                  <a:lnTo>
                    <a:pt x="144" y="718"/>
                  </a:lnTo>
                  <a:lnTo>
                    <a:pt x="132" y="727"/>
                  </a:lnTo>
                  <a:lnTo>
                    <a:pt x="124" y="735"/>
                  </a:lnTo>
                  <a:lnTo>
                    <a:pt x="111" y="745"/>
                  </a:lnTo>
                  <a:lnTo>
                    <a:pt x="99" y="749"/>
                  </a:lnTo>
                  <a:lnTo>
                    <a:pt x="94" y="749"/>
                  </a:lnTo>
                  <a:lnTo>
                    <a:pt x="101" y="748"/>
                  </a:lnTo>
                  <a:lnTo>
                    <a:pt x="108" y="745"/>
                  </a:lnTo>
                  <a:lnTo>
                    <a:pt x="115" y="740"/>
                  </a:lnTo>
                  <a:lnTo>
                    <a:pt x="129" y="727"/>
                  </a:lnTo>
                  <a:lnTo>
                    <a:pt x="105" y="739"/>
                  </a:lnTo>
                  <a:lnTo>
                    <a:pt x="89" y="746"/>
                  </a:lnTo>
                  <a:lnTo>
                    <a:pt x="114" y="731"/>
                  </a:lnTo>
                  <a:lnTo>
                    <a:pt x="132" y="721"/>
                  </a:lnTo>
                  <a:lnTo>
                    <a:pt x="132" y="719"/>
                  </a:lnTo>
                  <a:lnTo>
                    <a:pt x="129" y="716"/>
                  </a:lnTo>
                  <a:lnTo>
                    <a:pt x="123" y="711"/>
                  </a:lnTo>
                  <a:lnTo>
                    <a:pt x="120" y="712"/>
                  </a:lnTo>
                  <a:lnTo>
                    <a:pt x="115" y="717"/>
                  </a:lnTo>
                  <a:lnTo>
                    <a:pt x="106" y="725"/>
                  </a:lnTo>
                  <a:lnTo>
                    <a:pt x="102" y="727"/>
                  </a:lnTo>
                  <a:lnTo>
                    <a:pt x="113" y="718"/>
                  </a:lnTo>
                  <a:lnTo>
                    <a:pt x="119" y="710"/>
                  </a:lnTo>
                  <a:lnTo>
                    <a:pt x="123" y="710"/>
                  </a:lnTo>
                  <a:lnTo>
                    <a:pt x="129" y="713"/>
                  </a:lnTo>
                  <a:lnTo>
                    <a:pt x="136" y="718"/>
                  </a:lnTo>
                  <a:lnTo>
                    <a:pt x="138" y="718"/>
                  </a:lnTo>
                  <a:lnTo>
                    <a:pt x="141" y="716"/>
                  </a:lnTo>
                  <a:lnTo>
                    <a:pt x="143" y="713"/>
                  </a:lnTo>
                  <a:lnTo>
                    <a:pt x="141" y="711"/>
                  </a:lnTo>
                  <a:lnTo>
                    <a:pt x="138" y="707"/>
                  </a:lnTo>
                  <a:lnTo>
                    <a:pt x="136" y="705"/>
                  </a:lnTo>
                  <a:lnTo>
                    <a:pt x="130" y="705"/>
                  </a:lnTo>
                  <a:lnTo>
                    <a:pt x="124" y="704"/>
                  </a:lnTo>
                  <a:lnTo>
                    <a:pt x="117" y="705"/>
                  </a:lnTo>
                  <a:lnTo>
                    <a:pt x="112" y="707"/>
                  </a:lnTo>
                  <a:lnTo>
                    <a:pt x="109" y="711"/>
                  </a:lnTo>
                  <a:lnTo>
                    <a:pt x="108" y="715"/>
                  </a:lnTo>
                  <a:lnTo>
                    <a:pt x="106" y="716"/>
                  </a:lnTo>
                  <a:lnTo>
                    <a:pt x="103" y="717"/>
                  </a:lnTo>
                  <a:lnTo>
                    <a:pt x="101" y="716"/>
                  </a:lnTo>
                  <a:lnTo>
                    <a:pt x="100" y="710"/>
                  </a:lnTo>
                  <a:lnTo>
                    <a:pt x="102" y="706"/>
                  </a:lnTo>
                  <a:lnTo>
                    <a:pt x="101" y="705"/>
                  </a:lnTo>
                  <a:lnTo>
                    <a:pt x="99" y="705"/>
                  </a:lnTo>
                  <a:lnTo>
                    <a:pt x="91" y="709"/>
                  </a:lnTo>
                  <a:lnTo>
                    <a:pt x="90" y="709"/>
                  </a:lnTo>
                  <a:lnTo>
                    <a:pt x="89" y="706"/>
                  </a:lnTo>
                  <a:lnTo>
                    <a:pt x="88" y="701"/>
                  </a:lnTo>
                  <a:lnTo>
                    <a:pt x="89" y="695"/>
                  </a:lnTo>
                  <a:lnTo>
                    <a:pt x="90" y="693"/>
                  </a:lnTo>
                  <a:lnTo>
                    <a:pt x="93" y="691"/>
                  </a:lnTo>
                  <a:lnTo>
                    <a:pt x="93" y="687"/>
                  </a:lnTo>
                  <a:lnTo>
                    <a:pt x="89" y="682"/>
                  </a:lnTo>
                  <a:lnTo>
                    <a:pt x="88" y="679"/>
                  </a:lnTo>
                  <a:lnTo>
                    <a:pt x="84" y="676"/>
                  </a:lnTo>
                  <a:lnTo>
                    <a:pt x="84" y="671"/>
                  </a:lnTo>
                  <a:lnTo>
                    <a:pt x="91" y="665"/>
                  </a:lnTo>
                  <a:lnTo>
                    <a:pt x="94" y="663"/>
                  </a:lnTo>
                  <a:lnTo>
                    <a:pt x="94" y="662"/>
                  </a:lnTo>
                  <a:lnTo>
                    <a:pt x="89" y="659"/>
                  </a:lnTo>
                  <a:lnTo>
                    <a:pt x="88" y="657"/>
                  </a:lnTo>
                  <a:lnTo>
                    <a:pt x="90" y="654"/>
                  </a:lnTo>
                  <a:lnTo>
                    <a:pt x="96" y="650"/>
                  </a:lnTo>
                  <a:lnTo>
                    <a:pt x="100" y="646"/>
                  </a:lnTo>
                  <a:lnTo>
                    <a:pt x="101" y="639"/>
                  </a:lnTo>
                  <a:lnTo>
                    <a:pt x="102" y="634"/>
                  </a:lnTo>
                  <a:lnTo>
                    <a:pt x="103" y="629"/>
                  </a:lnTo>
                  <a:lnTo>
                    <a:pt x="84" y="629"/>
                  </a:lnTo>
                  <a:lnTo>
                    <a:pt x="77" y="630"/>
                  </a:lnTo>
                  <a:lnTo>
                    <a:pt x="72" y="629"/>
                  </a:lnTo>
                  <a:lnTo>
                    <a:pt x="69" y="626"/>
                  </a:lnTo>
                  <a:lnTo>
                    <a:pt x="65" y="627"/>
                  </a:lnTo>
                  <a:lnTo>
                    <a:pt x="61" y="630"/>
                  </a:lnTo>
                  <a:lnTo>
                    <a:pt x="55" y="629"/>
                  </a:lnTo>
                  <a:lnTo>
                    <a:pt x="47" y="626"/>
                  </a:lnTo>
                  <a:lnTo>
                    <a:pt x="41" y="627"/>
                  </a:lnTo>
                  <a:lnTo>
                    <a:pt x="35" y="628"/>
                  </a:lnTo>
                  <a:lnTo>
                    <a:pt x="30" y="624"/>
                  </a:lnTo>
                  <a:lnTo>
                    <a:pt x="23" y="618"/>
                  </a:lnTo>
                  <a:lnTo>
                    <a:pt x="19" y="611"/>
                  </a:lnTo>
                  <a:lnTo>
                    <a:pt x="14" y="608"/>
                  </a:lnTo>
                  <a:lnTo>
                    <a:pt x="12" y="605"/>
                  </a:lnTo>
                  <a:lnTo>
                    <a:pt x="13" y="603"/>
                  </a:lnTo>
                  <a:lnTo>
                    <a:pt x="16" y="596"/>
                  </a:lnTo>
                  <a:lnTo>
                    <a:pt x="14" y="597"/>
                  </a:lnTo>
                  <a:lnTo>
                    <a:pt x="10" y="591"/>
                  </a:lnTo>
                  <a:lnTo>
                    <a:pt x="4" y="578"/>
                  </a:lnTo>
                  <a:lnTo>
                    <a:pt x="0" y="570"/>
                  </a:lnTo>
                  <a:lnTo>
                    <a:pt x="0" y="569"/>
                  </a:lnTo>
                  <a:lnTo>
                    <a:pt x="2" y="569"/>
                  </a:lnTo>
                  <a:lnTo>
                    <a:pt x="10" y="566"/>
                  </a:lnTo>
                  <a:lnTo>
                    <a:pt x="12" y="564"/>
                  </a:lnTo>
                  <a:lnTo>
                    <a:pt x="14" y="567"/>
                  </a:lnTo>
                  <a:lnTo>
                    <a:pt x="18" y="573"/>
                  </a:lnTo>
                  <a:lnTo>
                    <a:pt x="23" y="575"/>
                  </a:lnTo>
                  <a:lnTo>
                    <a:pt x="28" y="576"/>
                  </a:lnTo>
                  <a:lnTo>
                    <a:pt x="29" y="580"/>
                  </a:lnTo>
                  <a:lnTo>
                    <a:pt x="31" y="588"/>
                  </a:lnTo>
                  <a:lnTo>
                    <a:pt x="32" y="591"/>
                  </a:lnTo>
                  <a:lnTo>
                    <a:pt x="34" y="590"/>
                  </a:lnTo>
                  <a:lnTo>
                    <a:pt x="36" y="586"/>
                  </a:lnTo>
                  <a:lnTo>
                    <a:pt x="38" y="582"/>
                  </a:lnTo>
                  <a:lnTo>
                    <a:pt x="42" y="581"/>
                  </a:lnTo>
                  <a:lnTo>
                    <a:pt x="46" y="582"/>
                  </a:lnTo>
                  <a:lnTo>
                    <a:pt x="50" y="581"/>
                  </a:lnTo>
                  <a:lnTo>
                    <a:pt x="56" y="580"/>
                  </a:lnTo>
                  <a:lnTo>
                    <a:pt x="52" y="575"/>
                  </a:lnTo>
                  <a:lnTo>
                    <a:pt x="49" y="572"/>
                  </a:lnTo>
                  <a:lnTo>
                    <a:pt x="49" y="568"/>
                  </a:lnTo>
                  <a:lnTo>
                    <a:pt x="52" y="566"/>
                  </a:lnTo>
                  <a:lnTo>
                    <a:pt x="55" y="566"/>
                  </a:lnTo>
                  <a:lnTo>
                    <a:pt x="61" y="566"/>
                  </a:lnTo>
                  <a:lnTo>
                    <a:pt x="63" y="566"/>
                  </a:lnTo>
                  <a:lnTo>
                    <a:pt x="64" y="568"/>
                  </a:lnTo>
                  <a:lnTo>
                    <a:pt x="64" y="574"/>
                  </a:lnTo>
                  <a:lnTo>
                    <a:pt x="72" y="578"/>
                  </a:lnTo>
                  <a:lnTo>
                    <a:pt x="70" y="579"/>
                  </a:lnTo>
                  <a:lnTo>
                    <a:pt x="75" y="580"/>
                  </a:lnTo>
                  <a:lnTo>
                    <a:pt x="84" y="582"/>
                  </a:lnTo>
                  <a:lnTo>
                    <a:pt x="85" y="584"/>
                  </a:lnTo>
                  <a:lnTo>
                    <a:pt x="88" y="582"/>
                  </a:lnTo>
                  <a:lnTo>
                    <a:pt x="89" y="578"/>
                  </a:lnTo>
                  <a:lnTo>
                    <a:pt x="94" y="579"/>
                  </a:lnTo>
                  <a:lnTo>
                    <a:pt x="106" y="587"/>
                  </a:lnTo>
                  <a:lnTo>
                    <a:pt x="108" y="587"/>
                  </a:lnTo>
                  <a:lnTo>
                    <a:pt x="112" y="586"/>
                  </a:lnTo>
                  <a:lnTo>
                    <a:pt x="113" y="581"/>
                  </a:lnTo>
                  <a:lnTo>
                    <a:pt x="115" y="579"/>
                  </a:lnTo>
                  <a:lnTo>
                    <a:pt x="117" y="581"/>
                  </a:lnTo>
                  <a:lnTo>
                    <a:pt x="121" y="581"/>
                  </a:lnTo>
                  <a:lnTo>
                    <a:pt x="129" y="579"/>
                  </a:lnTo>
                  <a:lnTo>
                    <a:pt x="136" y="578"/>
                  </a:lnTo>
                  <a:lnTo>
                    <a:pt x="137" y="578"/>
                  </a:lnTo>
                  <a:lnTo>
                    <a:pt x="134" y="575"/>
                  </a:lnTo>
                  <a:lnTo>
                    <a:pt x="125" y="568"/>
                  </a:lnTo>
                  <a:lnTo>
                    <a:pt x="124" y="564"/>
                  </a:lnTo>
                  <a:lnTo>
                    <a:pt x="121" y="562"/>
                  </a:lnTo>
                  <a:lnTo>
                    <a:pt x="118" y="562"/>
                  </a:lnTo>
                  <a:lnTo>
                    <a:pt x="117" y="560"/>
                  </a:lnTo>
                  <a:lnTo>
                    <a:pt x="114" y="557"/>
                  </a:lnTo>
                  <a:lnTo>
                    <a:pt x="112" y="554"/>
                  </a:lnTo>
                  <a:lnTo>
                    <a:pt x="113" y="550"/>
                  </a:lnTo>
                  <a:lnTo>
                    <a:pt x="118" y="546"/>
                  </a:lnTo>
                  <a:lnTo>
                    <a:pt x="120" y="543"/>
                  </a:lnTo>
                  <a:lnTo>
                    <a:pt x="120" y="541"/>
                  </a:lnTo>
                  <a:lnTo>
                    <a:pt x="123" y="540"/>
                  </a:lnTo>
                  <a:lnTo>
                    <a:pt x="128" y="539"/>
                  </a:lnTo>
                  <a:lnTo>
                    <a:pt x="134" y="535"/>
                  </a:lnTo>
                  <a:lnTo>
                    <a:pt x="140" y="529"/>
                  </a:lnTo>
                  <a:lnTo>
                    <a:pt x="144" y="526"/>
                  </a:lnTo>
                  <a:lnTo>
                    <a:pt x="147" y="521"/>
                  </a:lnTo>
                  <a:lnTo>
                    <a:pt x="149" y="520"/>
                  </a:lnTo>
                  <a:lnTo>
                    <a:pt x="160" y="525"/>
                  </a:lnTo>
                  <a:lnTo>
                    <a:pt x="168" y="522"/>
                  </a:lnTo>
                  <a:lnTo>
                    <a:pt x="173" y="521"/>
                  </a:lnTo>
                  <a:lnTo>
                    <a:pt x="177" y="519"/>
                  </a:lnTo>
                  <a:lnTo>
                    <a:pt x="182" y="514"/>
                  </a:lnTo>
                  <a:lnTo>
                    <a:pt x="187" y="509"/>
                  </a:lnTo>
                  <a:lnTo>
                    <a:pt x="188" y="507"/>
                  </a:lnTo>
                  <a:lnTo>
                    <a:pt x="189" y="507"/>
                  </a:lnTo>
                  <a:lnTo>
                    <a:pt x="190" y="509"/>
                  </a:lnTo>
                  <a:lnTo>
                    <a:pt x="194" y="516"/>
                  </a:lnTo>
                  <a:lnTo>
                    <a:pt x="199" y="516"/>
                  </a:lnTo>
                  <a:lnTo>
                    <a:pt x="201" y="516"/>
                  </a:lnTo>
                  <a:lnTo>
                    <a:pt x="203" y="513"/>
                  </a:lnTo>
                  <a:lnTo>
                    <a:pt x="208" y="507"/>
                  </a:lnTo>
                  <a:lnTo>
                    <a:pt x="208" y="499"/>
                  </a:lnTo>
                  <a:lnTo>
                    <a:pt x="206" y="498"/>
                  </a:lnTo>
                  <a:lnTo>
                    <a:pt x="202" y="498"/>
                  </a:lnTo>
                  <a:lnTo>
                    <a:pt x="199" y="503"/>
                  </a:lnTo>
                  <a:lnTo>
                    <a:pt x="197" y="503"/>
                  </a:lnTo>
                  <a:lnTo>
                    <a:pt x="195" y="501"/>
                  </a:lnTo>
                  <a:lnTo>
                    <a:pt x="193" y="495"/>
                  </a:lnTo>
                  <a:lnTo>
                    <a:pt x="190" y="493"/>
                  </a:lnTo>
                  <a:lnTo>
                    <a:pt x="185" y="496"/>
                  </a:lnTo>
                  <a:lnTo>
                    <a:pt x="184" y="498"/>
                  </a:lnTo>
                  <a:lnTo>
                    <a:pt x="183" y="502"/>
                  </a:lnTo>
                  <a:lnTo>
                    <a:pt x="182" y="503"/>
                  </a:lnTo>
                  <a:lnTo>
                    <a:pt x="178" y="501"/>
                  </a:lnTo>
                  <a:lnTo>
                    <a:pt x="165" y="496"/>
                  </a:lnTo>
                  <a:lnTo>
                    <a:pt x="160" y="493"/>
                  </a:lnTo>
                  <a:lnTo>
                    <a:pt x="158" y="493"/>
                  </a:lnTo>
                  <a:lnTo>
                    <a:pt x="158" y="496"/>
                  </a:lnTo>
                  <a:lnTo>
                    <a:pt x="160" y="499"/>
                  </a:lnTo>
                  <a:lnTo>
                    <a:pt x="165" y="504"/>
                  </a:lnTo>
                  <a:lnTo>
                    <a:pt x="162" y="505"/>
                  </a:lnTo>
                  <a:lnTo>
                    <a:pt x="153" y="503"/>
                  </a:lnTo>
                  <a:lnTo>
                    <a:pt x="148" y="503"/>
                  </a:lnTo>
                  <a:lnTo>
                    <a:pt x="144" y="509"/>
                  </a:lnTo>
                  <a:lnTo>
                    <a:pt x="142" y="511"/>
                  </a:lnTo>
                  <a:lnTo>
                    <a:pt x="138" y="509"/>
                  </a:lnTo>
                  <a:lnTo>
                    <a:pt x="135" y="508"/>
                  </a:lnTo>
                  <a:lnTo>
                    <a:pt x="132" y="503"/>
                  </a:lnTo>
                  <a:lnTo>
                    <a:pt x="135" y="497"/>
                  </a:lnTo>
                  <a:lnTo>
                    <a:pt x="132" y="497"/>
                  </a:lnTo>
                  <a:lnTo>
                    <a:pt x="120" y="497"/>
                  </a:lnTo>
                  <a:lnTo>
                    <a:pt x="120" y="498"/>
                  </a:lnTo>
                  <a:lnTo>
                    <a:pt x="119" y="501"/>
                  </a:lnTo>
                  <a:lnTo>
                    <a:pt x="114" y="503"/>
                  </a:lnTo>
                  <a:lnTo>
                    <a:pt x="111" y="503"/>
                  </a:lnTo>
                  <a:lnTo>
                    <a:pt x="108" y="499"/>
                  </a:lnTo>
                  <a:lnTo>
                    <a:pt x="106" y="499"/>
                  </a:lnTo>
                  <a:lnTo>
                    <a:pt x="99" y="504"/>
                  </a:lnTo>
                  <a:lnTo>
                    <a:pt x="95" y="507"/>
                  </a:lnTo>
                  <a:lnTo>
                    <a:pt x="93" y="507"/>
                  </a:lnTo>
                  <a:lnTo>
                    <a:pt x="89" y="504"/>
                  </a:lnTo>
                  <a:lnTo>
                    <a:pt x="83" y="499"/>
                  </a:lnTo>
                  <a:lnTo>
                    <a:pt x="81" y="497"/>
                  </a:lnTo>
                  <a:lnTo>
                    <a:pt x="81" y="495"/>
                  </a:lnTo>
                  <a:lnTo>
                    <a:pt x="83" y="492"/>
                  </a:lnTo>
                  <a:lnTo>
                    <a:pt x="81" y="490"/>
                  </a:lnTo>
                  <a:lnTo>
                    <a:pt x="76" y="487"/>
                  </a:lnTo>
                  <a:lnTo>
                    <a:pt x="72" y="484"/>
                  </a:lnTo>
                  <a:lnTo>
                    <a:pt x="70" y="477"/>
                  </a:lnTo>
                  <a:lnTo>
                    <a:pt x="72" y="474"/>
                  </a:lnTo>
                  <a:lnTo>
                    <a:pt x="76" y="474"/>
                  </a:lnTo>
                  <a:lnTo>
                    <a:pt x="83" y="475"/>
                  </a:lnTo>
                  <a:lnTo>
                    <a:pt x="88" y="479"/>
                  </a:lnTo>
                  <a:lnTo>
                    <a:pt x="93" y="484"/>
                  </a:lnTo>
                  <a:lnTo>
                    <a:pt x="94" y="481"/>
                  </a:lnTo>
                  <a:lnTo>
                    <a:pt x="93" y="478"/>
                  </a:lnTo>
                  <a:lnTo>
                    <a:pt x="93" y="477"/>
                  </a:lnTo>
                  <a:lnTo>
                    <a:pt x="94" y="474"/>
                  </a:lnTo>
                  <a:lnTo>
                    <a:pt x="97" y="469"/>
                  </a:lnTo>
                  <a:lnTo>
                    <a:pt x="101" y="465"/>
                  </a:lnTo>
                  <a:lnTo>
                    <a:pt x="107" y="460"/>
                  </a:lnTo>
                  <a:lnTo>
                    <a:pt x="112" y="456"/>
                  </a:lnTo>
                  <a:lnTo>
                    <a:pt x="113" y="453"/>
                  </a:lnTo>
                  <a:lnTo>
                    <a:pt x="114" y="450"/>
                  </a:lnTo>
                  <a:lnTo>
                    <a:pt x="113" y="449"/>
                  </a:lnTo>
                  <a:lnTo>
                    <a:pt x="103" y="444"/>
                  </a:lnTo>
                  <a:lnTo>
                    <a:pt x="100" y="440"/>
                  </a:lnTo>
                  <a:lnTo>
                    <a:pt x="99" y="433"/>
                  </a:lnTo>
                  <a:lnTo>
                    <a:pt x="99" y="419"/>
                  </a:lnTo>
                  <a:lnTo>
                    <a:pt x="99" y="414"/>
                  </a:lnTo>
                  <a:lnTo>
                    <a:pt x="100" y="410"/>
                  </a:lnTo>
                  <a:lnTo>
                    <a:pt x="95" y="407"/>
                  </a:lnTo>
                  <a:lnTo>
                    <a:pt x="91" y="406"/>
                  </a:lnTo>
                  <a:lnTo>
                    <a:pt x="89" y="401"/>
                  </a:lnTo>
                  <a:lnTo>
                    <a:pt x="87" y="394"/>
                  </a:lnTo>
                  <a:lnTo>
                    <a:pt x="89" y="386"/>
                  </a:lnTo>
                  <a:lnTo>
                    <a:pt x="95" y="382"/>
                  </a:lnTo>
                  <a:lnTo>
                    <a:pt x="97" y="377"/>
                  </a:lnTo>
                  <a:lnTo>
                    <a:pt x="95" y="372"/>
                  </a:lnTo>
                  <a:lnTo>
                    <a:pt x="95" y="366"/>
                  </a:lnTo>
                  <a:lnTo>
                    <a:pt x="99" y="361"/>
                  </a:lnTo>
                  <a:lnTo>
                    <a:pt x="102" y="356"/>
                  </a:lnTo>
                  <a:lnTo>
                    <a:pt x="102" y="350"/>
                  </a:lnTo>
                  <a:lnTo>
                    <a:pt x="102" y="349"/>
                  </a:lnTo>
                  <a:lnTo>
                    <a:pt x="105" y="348"/>
                  </a:lnTo>
                  <a:lnTo>
                    <a:pt x="109" y="349"/>
                  </a:lnTo>
                  <a:lnTo>
                    <a:pt x="114" y="352"/>
                  </a:lnTo>
                  <a:lnTo>
                    <a:pt x="121" y="350"/>
                  </a:lnTo>
                  <a:lnTo>
                    <a:pt x="124" y="349"/>
                  </a:lnTo>
                  <a:lnTo>
                    <a:pt x="126" y="350"/>
                  </a:lnTo>
                  <a:lnTo>
                    <a:pt x="130" y="355"/>
                  </a:lnTo>
                  <a:lnTo>
                    <a:pt x="134" y="356"/>
                  </a:lnTo>
                  <a:lnTo>
                    <a:pt x="138" y="354"/>
                  </a:lnTo>
                  <a:lnTo>
                    <a:pt x="140" y="354"/>
                  </a:lnTo>
                  <a:lnTo>
                    <a:pt x="141" y="356"/>
                  </a:lnTo>
                  <a:lnTo>
                    <a:pt x="142" y="364"/>
                  </a:lnTo>
                  <a:lnTo>
                    <a:pt x="143" y="367"/>
                  </a:lnTo>
                  <a:lnTo>
                    <a:pt x="146" y="368"/>
                  </a:lnTo>
                  <a:lnTo>
                    <a:pt x="152" y="370"/>
                  </a:lnTo>
                  <a:lnTo>
                    <a:pt x="153" y="367"/>
                  </a:lnTo>
                  <a:lnTo>
                    <a:pt x="155" y="361"/>
                  </a:lnTo>
                  <a:lnTo>
                    <a:pt x="154" y="359"/>
                  </a:lnTo>
                  <a:lnTo>
                    <a:pt x="150" y="355"/>
                  </a:lnTo>
                  <a:lnTo>
                    <a:pt x="140" y="352"/>
                  </a:lnTo>
                  <a:lnTo>
                    <a:pt x="137" y="349"/>
                  </a:lnTo>
                  <a:lnTo>
                    <a:pt x="136" y="346"/>
                  </a:lnTo>
                  <a:lnTo>
                    <a:pt x="138" y="338"/>
                  </a:lnTo>
                  <a:lnTo>
                    <a:pt x="141" y="333"/>
                  </a:lnTo>
                  <a:lnTo>
                    <a:pt x="140" y="329"/>
                  </a:lnTo>
                  <a:lnTo>
                    <a:pt x="143" y="329"/>
                  </a:lnTo>
                  <a:lnTo>
                    <a:pt x="149" y="330"/>
                  </a:lnTo>
                  <a:lnTo>
                    <a:pt x="155" y="331"/>
                  </a:lnTo>
                  <a:lnTo>
                    <a:pt x="162" y="337"/>
                  </a:lnTo>
                  <a:lnTo>
                    <a:pt x="166" y="340"/>
                  </a:lnTo>
                  <a:lnTo>
                    <a:pt x="171" y="338"/>
                  </a:lnTo>
                  <a:lnTo>
                    <a:pt x="171" y="337"/>
                  </a:lnTo>
                  <a:lnTo>
                    <a:pt x="168" y="335"/>
                  </a:lnTo>
                  <a:lnTo>
                    <a:pt x="165" y="330"/>
                  </a:lnTo>
                  <a:lnTo>
                    <a:pt x="160" y="326"/>
                  </a:lnTo>
                  <a:lnTo>
                    <a:pt x="154" y="323"/>
                  </a:lnTo>
                  <a:lnTo>
                    <a:pt x="153" y="318"/>
                  </a:lnTo>
                  <a:lnTo>
                    <a:pt x="158" y="307"/>
                  </a:lnTo>
                  <a:lnTo>
                    <a:pt x="166" y="306"/>
                  </a:lnTo>
                  <a:lnTo>
                    <a:pt x="170" y="305"/>
                  </a:lnTo>
                  <a:lnTo>
                    <a:pt x="173" y="306"/>
                  </a:lnTo>
                  <a:lnTo>
                    <a:pt x="178" y="307"/>
                  </a:lnTo>
                  <a:lnTo>
                    <a:pt x="180" y="308"/>
                  </a:lnTo>
                  <a:lnTo>
                    <a:pt x="180" y="312"/>
                  </a:lnTo>
                  <a:lnTo>
                    <a:pt x="180" y="320"/>
                  </a:lnTo>
                  <a:lnTo>
                    <a:pt x="182" y="321"/>
                  </a:lnTo>
                  <a:lnTo>
                    <a:pt x="184" y="320"/>
                  </a:lnTo>
                  <a:lnTo>
                    <a:pt x="189" y="317"/>
                  </a:lnTo>
                  <a:lnTo>
                    <a:pt x="193" y="314"/>
                  </a:lnTo>
                  <a:lnTo>
                    <a:pt x="194" y="311"/>
                  </a:lnTo>
                  <a:lnTo>
                    <a:pt x="193" y="308"/>
                  </a:lnTo>
                  <a:lnTo>
                    <a:pt x="190" y="307"/>
                  </a:lnTo>
                  <a:lnTo>
                    <a:pt x="189" y="306"/>
                  </a:lnTo>
                  <a:lnTo>
                    <a:pt x="188" y="302"/>
                  </a:lnTo>
                  <a:lnTo>
                    <a:pt x="188" y="294"/>
                  </a:lnTo>
                  <a:lnTo>
                    <a:pt x="187" y="291"/>
                  </a:lnTo>
                  <a:lnTo>
                    <a:pt x="184" y="290"/>
                  </a:lnTo>
                  <a:lnTo>
                    <a:pt x="174" y="290"/>
                  </a:lnTo>
                  <a:lnTo>
                    <a:pt x="167" y="287"/>
                  </a:lnTo>
                  <a:lnTo>
                    <a:pt x="165" y="283"/>
                  </a:lnTo>
                  <a:lnTo>
                    <a:pt x="167" y="276"/>
                  </a:lnTo>
                  <a:lnTo>
                    <a:pt x="173" y="270"/>
                  </a:lnTo>
                  <a:lnTo>
                    <a:pt x="178" y="267"/>
                  </a:lnTo>
                  <a:lnTo>
                    <a:pt x="180" y="265"/>
                  </a:lnTo>
                  <a:lnTo>
                    <a:pt x="184" y="266"/>
                  </a:lnTo>
                  <a:lnTo>
                    <a:pt x="194" y="270"/>
                  </a:lnTo>
                  <a:lnTo>
                    <a:pt x="201" y="270"/>
                  </a:lnTo>
                  <a:lnTo>
                    <a:pt x="208" y="270"/>
                  </a:lnTo>
                  <a:lnTo>
                    <a:pt x="214" y="269"/>
                  </a:lnTo>
                  <a:lnTo>
                    <a:pt x="220" y="269"/>
                  </a:lnTo>
                  <a:lnTo>
                    <a:pt x="224" y="270"/>
                  </a:lnTo>
                  <a:lnTo>
                    <a:pt x="227" y="270"/>
                  </a:lnTo>
                  <a:lnTo>
                    <a:pt x="230" y="267"/>
                  </a:lnTo>
                  <a:lnTo>
                    <a:pt x="231" y="263"/>
                  </a:lnTo>
                  <a:lnTo>
                    <a:pt x="233" y="259"/>
                  </a:lnTo>
                  <a:lnTo>
                    <a:pt x="237" y="257"/>
                  </a:lnTo>
                  <a:lnTo>
                    <a:pt x="242" y="252"/>
                  </a:lnTo>
                  <a:lnTo>
                    <a:pt x="242" y="249"/>
                  </a:lnTo>
                  <a:lnTo>
                    <a:pt x="233" y="248"/>
                  </a:lnTo>
                  <a:lnTo>
                    <a:pt x="229" y="252"/>
                  </a:lnTo>
                  <a:lnTo>
                    <a:pt x="226" y="246"/>
                  </a:lnTo>
                  <a:lnTo>
                    <a:pt x="223" y="245"/>
                  </a:lnTo>
                  <a:lnTo>
                    <a:pt x="219" y="243"/>
                  </a:lnTo>
                  <a:lnTo>
                    <a:pt x="220" y="242"/>
                  </a:lnTo>
                  <a:lnTo>
                    <a:pt x="218" y="239"/>
                  </a:lnTo>
                  <a:lnTo>
                    <a:pt x="208" y="234"/>
                  </a:lnTo>
                  <a:lnTo>
                    <a:pt x="206" y="231"/>
                  </a:lnTo>
                  <a:lnTo>
                    <a:pt x="206" y="230"/>
                  </a:lnTo>
                  <a:lnTo>
                    <a:pt x="212" y="229"/>
                  </a:lnTo>
                  <a:lnTo>
                    <a:pt x="218" y="230"/>
                  </a:lnTo>
                  <a:lnTo>
                    <a:pt x="219" y="233"/>
                  </a:lnTo>
                  <a:lnTo>
                    <a:pt x="223" y="233"/>
                  </a:lnTo>
                  <a:lnTo>
                    <a:pt x="227" y="231"/>
                  </a:lnTo>
                  <a:lnTo>
                    <a:pt x="227" y="230"/>
                  </a:lnTo>
                  <a:lnTo>
                    <a:pt x="229" y="229"/>
                  </a:lnTo>
                  <a:lnTo>
                    <a:pt x="231" y="226"/>
                  </a:lnTo>
                  <a:lnTo>
                    <a:pt x="233" y="219"/>
                  </a:lnTo>
                  <a:lnTo>
                    <a:pt x="233" y="220"/>
                  </a:lnTo>
                  <a:lnTo>
                    <a:pt x="236" y="222"/>
                  </a:lnTo>
                  <a:lnTo>
                    <a:pt x="238" y="222"/>
                  </a:lnTo>
                  <a:lnTo>
                    <a:pt x="239" y="224"/>
                  </a:lnTo>
                  <a:lnTo>
                    <a:pt x="242" y="230"/>
                  </a:lnTo>
                  <a:lnTo>
                    <a:pt x="246" y="234"/>
                  </a:lnTo>
                  <a:lnTo>
                    <a:pt x="250" y="230"/>
                  </a:lnTo>
                  <a:lnTo>
                    <a:pt x="254" y="225"/>
                  </a:lnTo>
                  <a:lnTo>
                    <a:pt x="258" y="220"/>
                  </a:lnTo>
                  <a:lnTo>
                    <a:pt x="262" y="217"/>
                  </a:lnTo>
                  <a:lnTo>
                    <a:pt x="262" y="214"/>
                  </a:lnTo>
                  <a:lnTo>
                    <a:pt x="255" y="210"/>
                  </a:lnTo>
                  <a:lnTo>
                    <a:pt x="252" y="208"/>
                  </a:lnTo>
                  <a:lnTo>
                    <a:pt x="244" y="208"/>
                  </a:lnTo>
                  <a:lnTo>
                    <a:pt x="236" y="211"/>
                  </a:lnTo>
                  <a:lnTo>
                    <a:pt x="231" y="210"/>
                  </a:lnTo>
                  <a:lnTo>
                    <a:pt x="225" y="208"/>
                  </a:lnTo>
                  <a:lnTo>
                    <a:pt x="221" y="208"/>
                  </a:lnTo>
                  <a:lnTo>
                    <a:pt x="217" y="207"/>
                  </a:lnTo>
                  <a:lnTo>
                    <a:pt x="206" y="205"/>
                  </a:lnTo>
                  <a:lnTo>
                    <a:pt x="200" y="202"/>
                  </a:lnTo>
                  <a:lnTo>
                    <a:pt x="199" y="200"/>
                  </a:lnTo>
                  <a:lnTo>
                    <a:pt x="190" y="200"/>
                  </a:lnTo>
                  <a:lnTo>
                    <a:pt x="179" y="206"/>
                  </a:lnTo>
                  <a:lnTo>
                    <a:pt x="171" y="210"/>
                  </a:lnTo>
                  <a:lnTo>
                    <a:pt x="160" y="212"/>
                  </a:lnTo>
                  <a:lnTo>
                    <a:pt x="153" y="214"/>
                  </a:lnTo>
                  <a:lnTo>
                    <a:pt x="136" y="216"/>
                  </a:lnTo>
                  <a:lnTo>
                    <a:pt x="129" y="220"/>
                  </a:lnTo>
                  <a:lnTo>
                    <a:pt x="123" y="220"/>
                  </a:lnTo>
                  <a:lnTo>
                    <a:pt x="119" y="219"/>
                  </a:lnTo>
                  <a:lnTo>
                    <a:pt x="108" y="216"/>
                  </a:lnTo>
                  <a:lnTo>
                    <a:pt x="102" y="213"/>
                  </a:lnTo>
                  <a:lnTo>
                    <a:pt x="100" y="208"/>
                  </a:lnTo>
                  <a:lnTo>
                    <a:pt x="101" y="202"/>
                  </a:lnTo>
                  <a:lnTo>
                    <a:pt x="106" y="200"/>
                  </a:lnTo>
                  <a:lnTo>
                    <a:pt x="109" y="198"/>
                  </a:lnTo>
                  <a:lnTo>
                    <a:pt x="111" y="194"/>
                  </a:lnTo>
                  <a:lnTo>
                    <a:pt x="108" y="188"/>
                  </a:lnTo>
                  <a:lnTo>
                    <a:pt x="113" y="188"/>
                  </a:lnTo>
                  <a:lnTo>
                    <a:pt x="121" y="188"/>
                  </a:lnTo>
                  <a:lnTo>
                    <a:pt x="126" y="187"/>
                  </a:lnTo>
                  <a:lnTo>
                    <a:pt x="131" y="188"/>
                  </a:lnTo>
                  <a:lnTo>
                    <a:pt x="135" y="186"/>
                  </a:lnTo>
                  <a:lnTo>
                    <a:pt x="136" y="181"/>
                  </a:lnTo>
                  <a:lnTo>
                    <a:pt x="138" y="178"/>
                  </a:lnTo>
                  <a:lnTo>
                    <a:pt x="142" y="175"/>
                  </a:lnTo>
                  <a:lnTo>
                    <a:pt x="142" y="172"/>
                  </a:lnTo>
                  <a:lnTo>
                    <a:pt x="144" y="171"/>
                  </a:lnTo>
                  <a:lnTo>
                    <a:pt x="153" y="170"/>
                  </a:lnTo>
                  <a:lnTo>
                    <a:pt x="154" y="169"/>
                  </a:lnTo>
                  <a:lnTo>
                    <a:pt x="155" y="166"/>
                  </a:lnTo>
                  <a:lnTo>
                    <a:pt x="150" y="160"/>
                  </a:lnTo>
                  <a:lnTo>
                    <a:pt x="143" y="158"/>
                  </a:lnTo>
                  <a:lnTo>
                    <a:pt x="143" y="160"/>
                  </a:lnTo>
                  <a:lnTo>
                    <a:pt x="142" y="162"/>
                  </a:lnTo>
                  <a:lnTo>
                    <a:pt x="137" y="160"/>
                  </a:lnTo>
                  <a:lnTo>
                    <a:pt x="128" y="160"/>
                  </a:lnTo>
                  <a:lnTo>
                    <a:pt x="125" y="159"/>
                  </a:lnTo>
                  <a:lnTo>
                    <a:pt x="125" y="156"/>
                  </a:lnTo>
                  <a:lnTo>
                    <a:pt x="128" y="151"/>
                  </a:lnTo>
                  <a:lnTo>
                    <a:pt x="131" y="148"/>
                  </a:lnTo>
                  <a:lnTo>
                    <a:pt x="132" y="144"/>
                  </a:lnTo>
                  <a:lnTo>
                    <a:pt x="132" y="140"/>
                  </a:lnTo>
                  <a:lnTo>
                    <a:pt x="131" y="134"/>
                  </a:lnTo>
                  <a:lnTo>
                    <a:pt x="132" y="130"/>
                  </a:lnTo>
                  <a:lnTo>
                    <a:pt x="134" y="127"/>
                  </a:lnTo>
                  <a:lnTo>
                    <a:pt x="137" y="127"/>
                  </a:lnTo>
                  <a:lnTo>
                    <a:pt x="143" y="129"/>
                  </a:lnTo>
                  <a:lnTo>
                    <a:pt x="152" y="128"/>
                  </a:lnTo>
                  <a:lnTo>
                    <a:pt x="156" y="127"/>
                  </a:lnTo>
                  <a:lnTo>
                    <a:pt x="160" y="124"/>
                  </a:lnTo>
                  <a:lnTo>
                    <a:pt x="162" y="118"/>
                  </a:lnTo>
                  <a:lnTo>
                    <a:pt x="166" y="118"/>
                  </a:lnTo>
                  <a:lnTo>
                    <a:pt x="171" y="121"/>
                  </a:lnTo>
                  <a:lnTo>
                    <a:pt x="176" y="121"/>
                  </a:lnTo>
                  <a:lnTo>
                    <a:pt x="182" y="119"/>
                  </a:lnTo>
                  <a:lnTo>
                    <a:pt x="188" y="116"/>
                  </a:lnTo>
                  <a:lnTo>
                    <a:pt x="189" y="113"/>
                  </a:lnTo>
                  <a:lnTo>
                    <a:pt x="184" y="113"/>
                  </a:lnTo>
                  <a:lnTo>
                    <a:pt x="176" y="116"/>
                  </a:lnTo>
                  <a:lnTo>
                    <a:pt x="173" y="112"/>
                  </a:lnTo>
                  <a:lnTo>
                    <a:pt x="173" y="105"/>
                  </a:lnTo>
                  <a:lnTo>
                    <a:pt x="170" y="105"/>
                  </a:lnTo>
                  <a:lnTo>
                    <a:pt x="168" y="104"/>
                  </a:lnTo>
                  <a:lnTo>
                    <a:pt x="171" y="100"/>
                  </a:lnTo>
                  <a:lnTo>
                    <a:pt x="177" y="93"/>
                  </a:lnTo>
                  <a:lnTo>
                    <a:pt x="178" y="91"/>
                  </a:lnTo>
                  <a:lnTo>
                    <a:pt x="180" y="89"/>
                  </a:lnTo>
                  <a:lnTo>
                    <a:pt x="187" y="91"/>
                  </a:lnTo>
                  <a:lnTo>
                    <a:pt x="195" y="92"/>
                  </a:lnTo>
                  <a:lnTo>
                    <a:pt x="197" y="92"/>
                  </a:lnTo>
                  <a:lnTo>
                    <a:pt x="197" y="94"/>
                  </a:lnTo>
                  <a:lnTo>
                    <a:pt x="199" y="99"/>
                  </a:lnTo>
                  <a:lnTo>
                    <a:pt x="202" y="100"/>
                  </a:lnTo>
                  <a:lnTo>
                    <a:pt x="207" y="99"/>
                  </a:lnTo>
                  <a:lnTo>
                    <a:pt x="208" y="100"/>
                  </a:lnTo>
                  <a:lnTo>
                    <a:pt x="209" y="103"/>
                  </a:lnTo>
                  <a:lnTo>
                    <a:pt x="211" y="100"/>
                  </a:lnTo>
                  <a:lnTo>
                    <a:pt x="213" y="94"/>
                  </a:lnTo>
                  <a:lnTo>
                    <a:pt x="214" y="91"/>
                  </a:lnTo>
                  <a:lnTo>
                    <a:pt x="221" y="83"/>
                  </a:lnTo>
                  <a:lnTo>
                    <a:pt x="227" y="80"/>
                  </a:lnTo>
                  <a:lnTo>
                    <a:pt x="230" y="80"/>
                  </a:lnTo>
                  <a:lnTo>
                    <a:pt x="232" y="80"/>
                  </a:lnTo>
                  <a:lnTo>
                    <a:pt x="236" y="79"/>
                  </a:lnTo>
                  <a:lnTo>
                    <a:pt x="242" y="74"/>
                  </a:lnTo>
                  <a:lnTo>
                    <a:pt x="246" y="73"/>
                  </a:lnTo>
                  <a:lnTo>
                    <a:pt x="254" y="68"/>
                  </a:lnTo>
                  <a:lnTo>
                    <a:pt x="258" y="67"/>
                  </a:lnTo>
                  <a:lnTo>
                    <a:pt x="259" y="65"/>
                  </a:lnTo>
                  <a:lnTo>
                    <a:pt x="255" y="61"/>
                  </a:lnTo>
                  <a:lnTo>
                    <a:pt x="253" y="57"/>
                  </a:lnTo>
                  <a:lnTo>
                    <a:pt x="250" y="56"/>
                  </a:lnTo>
                  <a:lnTo>
                    <a:pt x="252" y="53"/>
                  </a:lnTo>
                  <a:lnTo>
                    <a:pt x="254" y="46"/>
                  </a:lnTo>
                  <a:lnTo>
                    <a:pt x="256" y="43"/>
                  </a:lnTo>
                  <a:lnTo>
                    <a:pt x="259" y="41"/>
                  </a:lnTo>
                  <a:lnTo>
                    <a:pt x="259" y="39"/>
                  </a:lnTo>
                  <a:lnTo>
                    <a:pt x="254" y="37"/>
                  </a:lnTo>
                  <a:lnTo>
                    <a:pt x="254" y="33"/>
                  </a:lnTo>
                  <a:lnTo>
                    <a:pt x="259" y="28"/>
                  </a:lnTo>
                  <a:lnTo>
                    <a:pt x="261" y="27"/>
                  </a:lnTo>
                  <a:lnTo>
                    <a:pt x="266" y="28"/>
                  </a:lnTo>
                  <a:lnTo>
                    <a:pt x="272" y="26"/>
                  </a:lnTo>
                  <a:lnTo>
                    <a:pt x="274" y="23"/>
                  </a:lnTo>
                  <a:lnTo>
                    <a:pt x="271" y="20"/>
                  </a:lnTo>
                  <a:lnTo>
                    <a:pt x="271" y="19"/>
                  </a:lnTo>
                  <a:lnTo>
                    <a:pt x="273" y="17"/>
                  </a:lnTo>
                  <a:lnTo>
                    <a:pt x="280" y="17"/>
                  </a:lnTo>
                  <a:lnTo>
                    <a:pt x="288" y="19"/>
                  </a:lnTo>
                  <a:lnTo>
                    <a:pt x="292" y="17"/>
                  </a:lnTo>
                  <a:lnTo>
                    <a:pt x="296" y="19"/>
                  </a:lnTo>
                  <a:lnTo>
                    <a:pt x="300" y="19"/>
                  </a:lnTo>
                  <a:lnTo>
                    <a:pt x="302" y="16"/>
                  </a:lnTo>
                  <a:lnTo>
                    <a:pt x="306" y="12"/>
                  </a:lnTo>
                  <a:lnTo>
                    <a:pt x="307" y="9"/>
                  </a:lnTo>
                  <a:lnTo>
                    <a:pt x="309" y="8"/>
                  </a:lnTo>
                  <a:lnTo>
                    <a:pt x="309" y="6"/>
                  </a:lnTo>
                  <a:lnTo>
                    <a:pt x="313" y="6"/>
                  </a:lnTo>
                  <a:lnTo>
                    <a:pt x="319" y="6"/>
                  </a:lnTo>
                  <a:lnTo>
                    <a:pt x="324" y="10"/>
                  </a:lnTo>
                  <a:lnTo>
                    <a:pt x="327" y="15"/>
                  </a:lnTo>
                  <a:lnTo>
                    <a:pt x="331" y="15"/>
                  </a:lnTo>
                  <a:lnTo>
                    <a:pt x="333" y="15"/>
                  </a:lnTo>
                  <a:lnTo>
                    <a:pt x="337" y="11"/>
                  </a:lnTo>
                  <a:lnTo>
                    <a:pt x="342" y="6"/>
                  </a:lnTo>
                  <a:lnTo>
                    <a:pt x="347" y="4"/>
                  </a:lnTo>
                  <a:lnTo>
                    <a:pt x="359" y="0"/>
                  </a:lnTo>
                  <a:lnTo>
                    <a:pt x="360" y="0"/>
                  </a:lnTo>
                  <a:lnTo>
                    <a:pt x="362" y="3"/>
                  </a:lnTo>
                  <a:lnTo>
                    <a:pt x="371" y="8"/>
                  </a:lnTo>
                  <a:lnTo>
                    <a:pt x="374" y="14"/>
                  </a:lnTo>
                  <a:lnTo>
                    <a:pt x="377" y="15"/>
                  </a:lnTo>
                  <a:lnTo>
                    <a:pt x="382" y="11"/>
                  </a:lnTo>
                  <a:lnTo>
                    <a:pt x="384" y="11"/>
                  </a:lnTo>
                  <a:lnTo>
                    <a:pt x="388" y="14"/>
                  </a:lnTo>
                  <a:lnTo>
                    <a:pt x="390" y="19"/>
                  </a:lnTo>
                  <a:lnTo>
                    <a:pt x="392" y="20"/>
                  </a:lnTo>
                  <a:lnTo>
                    <a:pt x="396" y="21"/>
                  </a:lnTo>
                  <a:lnTo>
                    <a:pt x="395" y="23"/>
                  </a:lnTo>
                  <a:lnTo>
                    <a:pt x="396" y="22"/>
                  </a:lnTo>
                  <a:lnTo>
                    <a:pt x="404" y="15"/>
                  </a:lnTo>
                  <a:lnTo>
                    <a:pt x="406" y="10"/>
                  </a:lnTo>
                  <a:lnTo>
                    <a:pt x="408" y="9"/>
                  </a:lnTo>
                  <a:lnTo>
                    <a:pt x="412" y="11"/>
                  </a:lnTo>
                  <a:lnTo>
                    <a:pt x="423" y="21"/>
                  </a:lnTo>
                  <a:lnTo>
                    <a:pt x="425" y="23"/>
                  </a:lnTo>
                  <a:lnTo>
                    <a:pt x="426" y="27"/>
                  </a:lnTo>
                  <a:lnTo>
                    <a:pt x="427" y="33"/>
                  </a:lnTo>
                  <a:lnTo>
                    <a:pt x="429" y="39"/>
                  </a:lnTo>
                  <a:lnTo>
                    <a:pt x="429" y="43"/>
                  </a:lnTo>
                  <a:lnTo>
                    <a:pt x="426" y="47"/>
                  </a:lnTo>
                  <a:lnTo>
                    <a:pt x="423" y="51"/>
                  </a:lnTo>
                  <a:lnTo>
                    <a:pt x="421" y="55"/>
                  </a:lnTo>
                  <a:lnTo>
                    <a:pt x="421" y="57"/>
                  </a:lnTo>
                  <a:lnTo>
                    <a:pt x="423" y="62"/>
                  </a:lnTo>
                  <a:lnTo>
                    <a:pt x="427" y="67"/>
                  </a:lnTo>
                  <a:lnTo>
                    <a:pt x="430" y="65"/>
                  </a:lnTo>
                  <a:lnTo>
                    <a:pt x="432" y="63"/>
                  </a:lnTo>
                  <a:lnTo>
                    <a:pt x="436" y="61"/>
                  </a:lnTo>
                  <a:lnTo>
                    <a:pt x="437" y="64"/>
                  </a:lnTo>
                  <a:lnTo>
                    <a:pt x="437" y="70"/>
                  </a:lnTo>
                  <a:lnTo>
                    <a:pt x="433" y="74"/>
                  </a:lnTo>
                  <a:lnTo>
                    <a:pt x="431" y="76"/>
                  </a:lnTo>
                  <a:lnTo>
                    <a:pt x="430" y="77"/>
                  </a:lnTo>
                  <a:lnTo>
                    <a:pt x="429" y="80"/>
                  </a:lnTo>
                  <a:lnTo>
                    <a:pt x="430" y="81"/>
                  </a:lnTo>
                  <a:lnTo>
                    <a:pt x="436" y="81"/>
                  </a:lnTo>
                  <a:lnTo>
                    <a:pt x="436" y="83"/>
                  </a:lnTo>
                  <a:lnTo>
                    <a:pt x="439" y="85"/>
                  </a:lnTo>
                  <a:lnTo>
                    <a:pt x="445" y="87"/>
                  </a:lnTo>
                  <a:lnTo>
                    <a:pt x="450" y="85"/>
                  </a:lnTo>
                  <a:lnTo>
                    <a:pt x="456" y="82"/>
                  </a:lnTo>
                  <a:lnTo>
                    <a:pt x="459" y="80"/>
                  </a:lnTo>
                  <a:lnTo>
                    <a:pt x="459" y="77"/>
                  </a:lnTo>
                  <a:lnTo>
                    <a:pt x="460" y="76"/>
                  </a:lnTo>
                  <a:lnTo>
                    <a:pt x="456" y="75"/>
                  </a:lnTo>
                  <a:lnTo>
                    <a:pt x="451" y="71"/>
                  </a:lnTo>
                  <a:lnTo>
                    <a:pt x="449" y="67"/>
                  </a:lnTo>
                  <a:lnTo>
                    <a:pt x="450" y="63"/>
                  </a:lnTo>
                  <a:lnTo>
                    <a:pt x="453" y="62"/>
                  </a:lnTo>
                  <a:lnTo>
                    <a:pt x="460" y="64"/>
                  </a:lnTo>
                  <a:lnTo>
                    <a:pt x="465" y="68"/>
                  </a:lnTo>
                  <a:lnTo>
                    <a:pt x="465" y="70"/>
                  </a:lnTo>
                  <a:lnTo>
                    <a:pt x="466" y="74"/>
                  </a:lnTo>
                  <a:lnTo>
                    <a:pt x="468" y="74"/>
                  </a:lnTo>
                  <a:lnTo>
                    <a:pt x="473" y="70"/>
                  </a:lnTo>
                  <a:lnTo>
                    <a:pt x="478" y="68"/>
                  </a:lnTo>
                  <a:lnTo>
                    <a:pt x="485" y="64"/>
                  </a:lnTo>
                  <a:lnTo>
                    <a:pt x="489" y="64"/>
                  </a:lnTo>
                  <a:lnTo>
                    <a:pt x="491" y="67"/>
                  </a:lnTo>
                  <a:lnTo>
                    <a:pt x="494" y="76"/>
                  </a:lnTo>
                  <a:lnTo>
                    <a:pt x="495" y="80"/>
                  </a:lnTo>
                  <a:lnTo>
                    <a:pt x="497" y="80"/>
                  </a:lnTo>
                  <a:lnTo>
                    <a:pt x="500" y="77"/>
                  </a:lnTo>
                  <a:lnTo>
                    <a:pt x="504" y="76"/>
                  </a:lnTo>
                  <a:lnTo>
                    <a:pt x="513" y="76"/>
                  </a:lnTo>
                  <a:lnTo>
                    <a:pt x="513" y="80"/>
                  </a:lnTo>
                  <a:lnTo>
                    <a:pt x="513" y="83"/>
                  </a:lnTo>
                  <a:lnTo>
                    <a:pt x="514" y="85"/>
                  </a:lnTo>
                  <a:lnTo>
                    <a:pt x="516" y="87"/>
                  </a:lnTo>
                  <a:lnTo>
                    <a:pt x="515" y="91"/>
                  </a:lnTo>
                  <a:lnTo>
                    <a:pt x="515" y="93"/>
                  </a:lnTo>
                  <a:lnTo>
                    <a:pt x="514" y="95"/>
                  </a:lnTo>
                  <a:lnTo>
                    <a:pt x="512" y="95"/>
                  </a:lnTo>
                  <a:lnTo>
                    <a:pt x="512" y="99"/>
                  </a:lnTo>
                  <a:lnTo>
                    <a:pt x="510" y="107"/>
                  </a:lnTo>
                  <a:lnTo>
                    <a:pt x="502" y="107"/>
                  </a:lnTo>
                  <a:lnTo>
                    <a:pt x="501" y="106"/>
                  </a:lnTo>
                  <a:lnTo>
                    <a:pt x="498" y="107"/>
                  </a:lnTo>
                  <a:lnTo>
                    <a:pt x="496" y="110"/>
                  </a:lnTo>
                  <a:lnTo>
                    <a:pt x="494" y="112"/>
                  </a:lnTo>
                  <a:lnTo>
                    <a:pt x="495" y="117"/>
                  </a:lnTo>
                  <a:lnTo>
                    <a:pt x="495" y="115"/>
                  </a:lnTo>
                  <a:lnTo>
                    <a:pt x="498" y="113"/>
                  </a:lnTo>
                  <a:lnTo>
                    <a:pt x="506" y="113"/>
                  </a:lnTo>
                  <a:lnTo>
                    <a:pt x="510" y="112"/>
                  </a:lnTo>
                  <a:lnTo>
                    <a:pt x="513" y="115"/>
                  </a:lnTo>
                  <a:lnTo>
                    <a:pt x="514" y="118"/>
                  </a:lnTo>
                  <a:lnTo>
                    <a:pt x="515" y="117"/>
                  </a:lnTo>
                  <a:lnTo>
                    <a:pt x="518" y="111"/>
                  </a:lnTo>
                  <a:lnTo>
                    <a:pt x="519" y="109"/>
                  </a:lnTo>
                  <a:lnTo>
                    <a:pt x="524" y="107"/>
                  </a:lnTo>
                  <a:lnTo>
                    <a:pt x="527" y="106"/>
                  </a:lnTo>
                  <a:lnTo>
                    <a:pt x="532" y="107"/>
                  </a:lnTo>
                  <a:lnTo>
                    <a:pt x="537" y="110"/>
                  </a:lnTo>
                  <a:lnTo>
                    <a:pt x="543" y="113"/>
                  </a:lnTo>
                  <a:lnTo>
                    <a:pt x="553" y="113"/>
                  </a:lnTo>
                  <a:lnTo>
                    <a:pt x="557" y="115"/>
                  </a:lnTo>
                  <a:lnTo>
                    <a:pt x="557" y="117"/>
                  </a:lnTo>
                  <a:lnTo>
                    <a:pt x="556" y="119"/>
                  </a:lnTo>
                  <a:lnTo>
                    <a:pt x="559" y="121"/>
                  </a:lnTo>
                  <a:lnTo>
                    <a:pt x="563" y="121"/>
                  </a:lnTo>
                  <a:lnTo>
                    <a:pt x="565" y="119"/>
                  </a:lnTo>
                  <a:lnTo>
                    <a:pt x="567" y="111"/>
                  </a:lnTo>
                  <a:lnTo>
                    <a:pt x="571" y="107"/>
                  </a:lnTo>
                  <a:lnTo>
                    <a:pt x="574" y="105"/>
                  </a:lnTo>
                  <a:lnTo>
                    <a:pt x="578" y="105"/>
                  </a:lnTo>
                  <a:lnTo>
                    <a:pt x="585" y="105"/>
                  </a:lnTo>
                  <a:lnTo>
                    <a:pt x="589" y="103"/>
                  </a:lnTo>
                  <a:lnTo>
                    <a:pt x="592" y="100"/>
                  </a:lnTo>
                  <a:lnTo>
                    <a:pt x="597" y="101"/>
                  </a:lnTo>
                  <a:lnTo>
                    <a:pt x="603" y="103"/>
                  </a:lnTo>
                  <a:lnTo>
                    <a:pt x="607" y="101"/>
                  </a:lnTo>
                  <a:lnTo>
                    <a:pt x="609" y="105"/>
                  </a:lnTo>
                  <a:lnTo>
                    <a:pt x="613" y="105"/>
                  </a:lnTo>
                  <a:lnTo>
                    <a:pt x="615" y="103"/>
                  </a:lnTo>
                  <a:lnTo>
                    <a:pt x="619" y="103"/>
                  </a:lnTo>
                  <a:lnTo>
                    <a:pt x="622" y="106"/>
                  </a:lnTo>
                  <a:lnTo>
                    <a:pt x="628" y="106"/>
                  </a:lnTo>
                  <a:lnTo>
                    <a:pt x="638" y="100"/>
                  </a:lnTo>
                  <a:lnTo>
                    <a:pt x="643" y="97"/>
                  </a:lnTo>
                  <a:lnTo>
                    <a:pt x="648" y="97"/>
                  </a:lnTo>
                  <a:lnTo>
                    <a:pt x="654" y="95"/>
                  </a:lnTo>
                  <a:lnTo>
                    <a:pt x="655" y="99"/>
                  </a:lnTo>
                  <a:lnTo>
                    <a:pt x="654" y="105"/>
                  </a:lnTo>
                  <a:lnTo>
                    <a:pt x="652" y="106"/>
                  </a:lnTo>
                  <a:lnTo>
                    <a:pt x="655" y="109"/>
                  </a:lnTo>
                  <a:lnTo>
                    <a:pt x="661" y="111"/>
                  </a:lnTo>
                  <a:lnTo>
                    <a:pt x="662" y="112"/>
                  </a:lnTo>
                  <a:lnTo>
                    <a:pt x="661" y="115"/>
                  </a:lnTo>
                  <a:lnTo>
                    <a:pt x="662" y="116"/>
                  </a:lnTo>
                  <a:lnTo>
                    <a:pt x="665" y="117"/>
                  </a:lnTo>
                  <a:lnTo>
                    <a:pt x="667" y="116"/>
                  </a:lnTo>
                  <a:lnTo>
                    <a:pt x="668" y="112"/>
                  </a:lnTo>
                  <a:lnTo>
                    <a:pt x="672" y="113"/>
                  </a:lnTo>
                  <a:lnTo>
                    <a:pt x="675" y="119"/>
                  </a:lnTo>
                  <a:lnTo>
                    <a:pt x="680" y="126"/>
                  </a:lnTo>
                  <a:lnTo>
                    <a:pt x="680" y="129"/>
                  </a:lnTo>
                  <a:lnTo>
                    <a:pt x="684" y="130"/>
                  </a:lnTo>
                  <a:lnTo>
                    <a:pt x="686" y="129"/>
                  </a:lnTo>
                  <a:lnTo>
                    <a:pt x="690" y="128"/>
                  </a:lnTo>
                  <a:lnTo>
                    <a:pt x="697" y="130"/>
                  </a:lnTo>
                  <a:lnTo>
                    <a:pt x="702" y="133"/>
                  </a:lnTo>
                  <a:lnTo>
                    <a:pt x="704" y="128"/>
                  </a:lnTo>
                  <a:lnTo>
                    <a:pt x="705" y="127"/>
                  </a:lnTo>
                  <a:lnTo>
                    <a:pt x="708" y="128"/>
                  </a:lnTo>
                  <a:lnTo>
                    <a:pt x="714" y="134"/>
                  </a:lnTo>
                  <a:lnTo>
                    <a:pt x="717" y="135"/>
                  </a:lnTo>
                  <a:lnTo>
                    <a:pt x="724" y="136"/>
                  </a:lnTo>
                  <a:lnTo>
                    <a:pt x="731" y="138"/>
                  </a:lnTo>
                  <a:lnTo>
                    <a:pt x="736" y="136"/>
                  </a:lnTo>
                  <a:lnTo>
                    <a:pt x="737" y="133"/>
                  </a:lnTo>
                  <a:lnTo>
                    <a:pt x="742" y="133"/>
                  </a:lnTo>
                  <a:lnTo>
                    <a:pt x="748" y="138"/>
                  </a:lnTo>
                  <a:lnTo>
                    <a:pt x="754" y="138"/>
                  </a:lnTo>
                  <a:lnTo>
                    <a:pt x="763" y="136"/>
                  </a:lnTo>
                  <a:lnTo>
                    <a:pt x="773" y="136"/>
                  </a:lnTo>
                  <a:lnTo>
                    <a:pt x="780" y="139"/>
                  </a:lnTo>
                  <a:lnTo>
                    <a:pt x="785" y="138"/>
                  </a:lnTo>
                  <a:lnTo>
                    <a:pt x="789" y="134"/>
                  </a:lnTo>
                  <a:lnTo>
                    <a:pt x="790" y="134"/>
                  </a:lnTo>
                  <a:lnTo>
                    <a:pt x="790" y="138"/>
                  </a:lnTo>
                  <a:lnTo>
                    <a:pt x="789" y="145"/>
                  </a:lnTo>
                  <a:lnTo>
                    <a:pt x="787" y="150"/>
                  </a:lnTo>
                  <a:lnTo>
                    <a:pt x="786" y="153"/>
                  </a:lnTo>
                  <a:lnTo>
                    <a:pt x="789" y="154"/>
                  </a:lnTo>
                  <a:lnTo>
                    <a:pt x="791" y="154"/>
                  </a:lnTo>
                  <a:lnTo>
                    <a:pt x="793" y="156"/>
                  </a:lnTo>
                  <a:lnTo>
                    <a:pt x="798" y="157"/>
                  </a:lnTo>
                  <a:lnTo>
                    <a:pt x="802" y="157"/>
                  </a:lnTo>
                  <a:lnTo>
                    <a:pt x="804" y="157"/>
                  </a:lnTo>
                  <a:lnTo>
                    <a:pt x="804" y="156"/>
                  </a:lnTo>
                  <a:lnTo>
                    <a:pt x="801" y="152"/>
                  </a:lnTo>
                  <a:lnTo>
                    <a:pt x="801" y="151"/>
                  </a:lnTo>
                  <a:lnTo>
                    <a:pt x="804" y="150"/>
                  </a:lnTo>
                  <a:lnTo>
                    <a:pt x="813" y="146"/>
                  </a:lnTo>
                  <a:lnTo>
                    <a:pt x="817" y="147"/>
                  </a:lnTo>
                  <a:lnTo>
                    <a:pt x="820" y="152"/>
                  </a:lnTo>
                  <a:lnTo>
                    <a:pt x="821" y="153"/>
                  </a:lnTo>
                  <a:lnTo>
                    <a:pt x="823" y="151"/>
                  </a:lnTo>
                  <a:lnTo>
                    <a:pt x="823" y="153"/>
                  </a:lnTo>
                  <a:lnTo>
                    <a:pt x="823" y="164"/>
                  </a:lnTo>
                  <a:lnTo>
                    <a:pt x="821" y="170"/>
                  </a:lnTo>
                  <a:lnTo>
                    <a:pt x="821" y="171"/>
                  </a:lnTo>
                  <a:lnTo>
                    <a:pt x="819" y="172"/>
                  </a:lnTo>
                  <a:lnTo>
                    <a:pt x="813" y="171"/>
                  </a:lnTo>
                  <a:lnTo>
                    <a:pt x="811" y="176"/>
                  </a:lnTo>
                  <a:lnTo>
                    <a:pt x="813" y="177"/>
                  </a:lnTo>
                  <a:lnTo>
                    <a:pt x="809" y="177"/>
                  </a:lnTo>
                  <a:lnTo>
                    <a:pt x="801" y="175"/>
                  </a:lnTo>
                  <a:lnTo>
                    <a:pt x="801" y="180"/>
                  </a:lnTo>
                  <a:lnTo>
                    <a:pt x="801" y="183"/>
                  </a:lnTo>
                  <a:lnTo>
                    <a:pt x="797" y="183"/>
                  </a:lnTo>
                  <a:lnTo>
                    <a:pt x="792" y="180"/>
                  </a:lnTo>
                  <a:lnTo>
                    <a:pt x="790" y="180"/>
                  </a:lnTo>
                  <a:lnTo>
                    <a:pt x="786" y="181"/>
                  </a:lnTo>
                  <a:lnTo>
                    <a:pt x="780" y="183"/>
                  </a:lnTo>
                  <a:lnTo>
                    <a:pt x="778" y="183"/>
                  </a:lnTo>
                  <a:lnTo>
                    <a:pt x="778" y="184"/>
                  </a:lnTo>
                  <a:lnTo>
                    <a:pt x="780" y="188"/>
                  </a:lnTo>
                  <a:lnTo>
                    <a:pt x="784" y="186"/>
                  </a:lnTo>
                  <a:lnTo>
                    <a:pt x="790" y="183"/>
                  </a:lnTo>
                  <a:lnTo>
                    <a:pt x="791" y="183"/>
                  </a:lnTo>
                  <a:lnTo>
                    <a:pt x="795" y="184"/>
                  </a:lnTo>
                  <a:lnTo>
                    <a:pt x="802" y="188"/>
                  </a:lnTo>
                  <a:lnTo>
                    <a:pt x="804" y="190"/>
                  </a:lnTo>
                  <a:lnTo>
                    <a:pt x="810" y="192"/>
                  </a:lnTo>
                  <a:lnTo>
                    <a:pt x="811" y="194"/>
                  </a:lnTo>
                  <a:lnTo>
                    <a:pt x="811" y="196"/>
                  </a:lnTo>
                  <a:lnTo>
                    <a:pt x="815" y="204"/>
                  </a:lnTo>
                  <a:lnTo>
                    <a:pt x="826" y="206"/>
                  </a:lnTo>
                  <a:lnTo>
                    <a:pt x="833" y="213"/>
                  </a:lnTo>
                  <a:lnTo>
                    <a:pt x="839" y="214"/>
                  </a:lnTo>
                  <a:lnTo>
                    <a:pt x="838" y="218"/>
                  </a:lnTo>
                  <a:lnTo>
                    <a:pt x="832" y="230"/>
                  </a:lnTo>
                  <a:lnTo>
                    <a:pt x="826" y="231"/>
                  </a:lnTo>
                  <a:lnTo>
                    <a:pt x="823" y="231"/>
                  </a:lnTo>
                  <a:lnTo>
                    <a:pt x="821" y="230"/>
                  </a:lnTo>
                  <a:lnTo>
                    <a:pt x="820" y="229"/>
                  </a:lnTo>
                  <a:lnTo>
                    <a:pt x="815" y="229"/>
                  </a:lnTo>
                  <a:lnTo>
                    <a:pt x="813" y="231"/>
                  </a:lnTo>
                  <a:lnTo>
                    <a:pt x="811" y="231"/>
                  </a:lnTo>
                  <a:lnTo>
                    <a:pt x="803" y="230"/>
                  </a:lnTo>
                  <a:lnTo>
                    <a:pt x="805" y="233"/>
                  </a:lnTo>
                  <a:lnTo>
                    <a:pt x="810" y="234"/>
                  </a:lnTo>
                  <a:lnTo>
                    <a:pt x="815" y="237"/>
                  </a:lnTo>
                  <a:lnTo>
                    <a:pt x="816" y="243"/>
                  </a:lnTo>
                  <a:lnTo>
                    <a:pt x="816" y="248"/>
                  </a:lnTo>
                  <a:lnTo>
                    <a:pt x="816" y="251"/>
                  </a:lnTo>
                  <a:lnTo>
                    <a:pt x="814" y="251"/>
                  </a:lnTo>
                  <a:lnTo>
                    <a:pt x="805" y="247"/>
                  </a:lnTo>
                  <a:lnTo>
                    <a:pt x="797" y="245"/>
                  </a:lnTo>
                  <a:lnTo>
                    <a:pt x="791" y="243"/>
                  </a:lnTo>
                  <a:lnTo>
                    <a:pt x="790" y="241"/>
                  </a:lnTo>
                  <a:lnTo>
                    <a:pt x="790" y="245"/>
                  </a:lnTo>
                  <a:lnTo>
                    <a:pt x="787" y="246"/>
                  </a:lnTo>
                  <a:lnTo>
                    <a:pt x="785" y="242"/>
                  </a:lnTo>
                  <a:lnTo>
                    <a:pt x="775" y="231"/>
                  </a:lnTo>
                  <a:lnTo>
                    <a:pt x="773" y="230"/>
                  </a:lnTo>
                  <a:lnTo>
                    <a:pt x="769" y="230"/>
                  </a:lnTo>
                  <a:lnTo>
                    <a:pt x="768" y="231"/>
                  </a:lnTo>
                  <a:lnTo>
                    <a:pt x="766" y="234"/>
                  </a:lnTo>
                  <a:lnTo>
                    <a:pt x="758" y="233"/>
                  </a:lnTo>
                  <a:lnTo>
                    <a:pt x="755" y="234"/>
                  </a:lnTo>
                  <a:lnTo>
                    <a:pt x="756" y="239"/>
                  </a:lnTo>
                  <a:lnTo>
                    <a:pt x="760" y="243"/>
                  </a:lnTo>
                  <a:lnTo>
                    <a:pt x="766" y="245"/>
                  </a:lnTo>
                  <a:lnTo>
                    <a:pt x="774" y="251"/>
                  </a:lnTo>
                  <a:lnTo>
                    <a:pt x="774" y="252"/>
                  </a:lnTo>
                  <a:lnTo>
                    <a:pt x="775" y="254"/>
                  </a:lnTo>
                  <a:lnTo>
                    <a:pt x="781" y="261"/>
                  </a:lnTo>
                  <a:lnTo>
                    <a:pt x="783" y="263"/>
                  </a:lnTo>
                  <a:lnTo>
                    <a:pt x="781" y="265"/>
                  </a:lnTo>
                  <a:lnTo>
                    <a:pt x="776" y="265"/>
                  </a:lnTo>
                  <a:lnTo>
                    <a:pt x="767" y="263"/>
                  </a:lnTo>
                  <a:lnTo>
                    <a:pt x="762" y="263"/>
                  </a:lnTo>
                  <a:lnTo>
                    <a:pt x="760" y="259"/>
                  </a:lnTo>
                  <a:lnTo>
                    <a:pt x="760" y="253"/>
                  </a:lnTo>
                  <a:lnTo>
                    <a:pt x="754" y="248"/>
                  </a:lnTo>
                  <a:lnTo>
                    <a:pt x="740" y="245"/>
                  </a:lnTo>
                  <a:lnTo>
                    <a:pt x="739" y="245"/>
                  </a:lnTo>
                  <a:lnTo>
                    <a:pt x="740" y="247"/>
                  </a:lnTo>
                  <a:lnTo>
                    <a:pt x="745" y="252"/>
                  </a:lnTo>
                  <a:lnTo>
                    <a:pt x="746" y="257"/>
                  </a:lnTo>
                  <a:lnTo>
                    <a:pt x="746" y="263"/>
                  </a:lnTo>
                  <a:lnTo>
                    <a:pt x="749" y="261"/>
                  </a:lnTo>
                  <a:lnTo>
                    <a:pt x="754" y="264"/>
                  </a:lnTo>
                  <a:lnTo>
                    <a:pt x="761" y="269"/>
                  </a:lnTo>
                  <a:lnTo>
                    <a:pt x="766" y="272"/>
                  </a:lnTo>
                  <a:lnTo>
                    <a:pt x="768" y="272"/>
                  </a:lnTo>
                  <a:lnTo>
                    <a:pt x="773" y="276"/>
                  </a:lnTo>
                  <a:lnTo>
                    <a:pt x="779" y="282"/>
                  </a:lnTo>
                  <a:lnTo>
                    <a:pt x="781" y="285"/>
                  </a:lnTo>
                  <a:lnTo>
                    <a:pt x="783" y="290"/>
                  </a:lnTo>
                  <a:lnTo>
                    <a:pt x="786" y="295"/>
                  </a:lnTo>
                  <a:lnTo>
                    <a:pt x="789" y="300"/>
                  </a:lnTo>
                  <a:lnTo>
                    <a:pt x="793" y="301"/>
                  </a:lnTo>
                  <a:lnTo>
                    <a:pt x="801" y="300"/>
                  </a:lnTo>
                  <a:lnTo>
                    <a:pt x="804" y="300"/>
                  </a:lnTo>
                  <a:lnTo>
                    <a:pt x="804" y="302"/>
                  </a:lnTo>
                  <a:lnTo>
                    <a:pt x="805" y="308"/>
                  </a:lnTo>
                  <a:lnTo>
                    <a:pt x="807" y="311"/>
                  </a:lnTo>
                  <a:lnTo>
                    <a:pt x="809" y="312"/>
                  </a:lnTo>
                  <a:lnTo>
                    <a:pt x="813" y="309"/>
                  </a:lnTo>
                  <a:lnTo>
                    <a:pt x="815" y="308"/>
                  </a:lnTo>
                  <a:lnTo>
                    <a:pt x="816" y="311"/>
                  </a:lnTo>
                  <a:lnTo>
                    <a:pt x="819" y="314"/>
                  </a:lnTo>
                  <a:lnTo>
                    <a:pt x="820" y="317"/>
                  </a:lnTo>
                  <a:lnTo>
                    <a:pt x="822" y="317"/>
                  </a:lnTo>
                  <a:lnTo>
                    <a:pt x="822" y="320"/>
                  </a:lnTo>
                  <a:lnTo>
                    <a:pt x="822" y="329"/>
                  </a:lnTo>
                  <a:lnTo>
                    <a:pt x="822" y="330"/>
                  </a:lnTo>
                  <a:lnTo>
                    <a:pt x="826" y="331"/>
                  </a:lnTo>
                  <a:lnTo>
                    <a:pt x="829" y="331"/>
                  </a:lnTo>
                  <a:lnTo>
                    <a:pt x="833" y="329"/>
                  </a:lnTo>
                  <a:lnTo>
                    <a:pt x="834" y="325"/>
                  </a:lnTo>
                  <a:lnTo>
                    <a:pt x="838" y="324"/>
                  </a:lnTo>
                  <a:lnTo>
                    <a:pt x="844" y="324"/>
                  </a:lnTo>
                  <a:lnTo>
                    <a:pt x="848" y="323"/>
                  </a:lnTo>
                  <a:lnTo>
                    <a:pt x="849" y="319"/>
                  </a:lnTo>
                  <a:lnTo>
                    <a:pt x="852" y="319"/>
                  </a:lnTo>
                  <a:lnTo>
                    <a:pt x="862" y="319"/>
                  </a:lnTo>
                  <a:lnTo>
                    <a:pt x="864" y="319"/>
                  </a:lnTo>
                  <a:lnTo>
                    <a:pt x="866" y="321"/>
                  </a:lnTo>
                  <a:lnTo>
                    <a:pt x="863" y="331"/>
                  </a:lnTo>
                  <a:lnTo>
                    <a:pt x="866" y="333"/>
                  </a:lnTo>
                  <a:lnTo>
                    <a:pt x="868" y="332"/>
                  </a:lnTo>
                  <a:lnTo>
                    <a:pt x="872" y="331"/>
                  </a:lnTo>
                  <a:lnTo>
                    <a:pt x="879" y="331"/>
                  </a:lnTo>
                  <a:lnTo>
                    <a:pt x="880" y="332"/>
                  </a:lnTo>
                  <a:lnTo>
                    <a:pt x="882" y="329"/>
                  </a:lnTo>
                  <a:lnTo>
                    <a:pt x="886" y="326"/>
                  </a:lnTo>
                  <a:lnTo>
                    <a:pt x="888" y="326"/>
                  </a:lnTo>
                  <a:lnTo>
                    <a:pt x="890" y="327"/>
                  </a:lnTo>
                  <a:lnTo>
                    <a:pt x="890" y="333"/>
                  </a:lnTo>
                  <a:lnTo>
                    <a:pt x="888" y="341"/>
                  </a:lnTo>
                  <a:lnTo>
                    <a:pt x="890" y="343"/>
                  </a:lnTo>
                  <a:lnTo>
                    <a:pt x="892" y="347"/>
                  </a:lnTo>
                  <a:lnTo>
                    <a:pt x="899" y="344"/>
                  </a:lnTo>
                  <a:lnTo>
                    <a:pt x="904" y="340"/>
                  </a:lnTo>
                  <a:lnTo>
                    <a:pt x="909" y="338"/>
                  </a:lnTo>
                  <a:lnTo>
                    <a:pt x="910" y="343"/>
                  </a:lnTo>
                  <a:lnTo>
                    <a:pt x="911" y="347"/>
                  </a:lnTo>
                  <a:lnTo>
                    <a:pt x="917" y="352"/>
                  </a:lnTo>
                  <a:lnTo>
                    <a:pt x="920" y="358"/>
                  </a:lnTo>
                  <a:lnTo>
                    <a:pt x="920" y="360"/>
                  </a:lnTo>
                  <a:lnTo>
                    <a:pt x="916" y="362"/>
                  </a:lnTo>
                  <a:lnTo>
                    <a:pt x="907" y="362"/>
                  </a:lnTo>
                  <a:lnTo>
                    <a:pt x="903" y="362"/>
                  </a:lnTo>
                  <a:lnTo>
                    <a:pt x="900" y="364"/>
                  </a:lnTo>
                  <a:lnTo>
                    <a:pt x="898" y="367"/>
                  </a:lnTo>
                  <a:lnTo>
                    <a:pt x="894" y="371"/>
                  </a:lnTo>
                  <a:lnTo>
                    <a:pt x="893" y="371"/>
                  </a:lnTo>
                  <a:lnTo>
                    <a:pt x="890" y="374"/>
                  </a:lnTo>
                  <a:lnTo>
                    <a:pt x="884" y="378"/>
                  </a:lnTo>
                  <a:lnTo>
                    <a:pt x="878" y="380"/>
                  </a:lnTo>
                  <a:lnTo>
                    <a:pt x="873" y="380"/>
                  </a:lnTo>
                  <a:lnTo>
                    <a:pt x="872" y="383"/>
                  </a:lnTo>
                  <a:lnTo>
                    <a:pt x="869" y="388"/>
                  </a:lnTo>
                  <a:lnTo>
                    <a:pt x="870" y="394"/>
                  </a:lnTo>
                  <a:lnTo>
                    <a:pt x="875" y="397"/>
                  </a:lnTo>
                  <a:lnTo>
                    <a:pt x="874" y="400"/>
                  </a:lnTo>
                  <a:lnTo>
                    <a:pt x="862" y="400"/>
                  </a:lnTo>
                  <a:lnTo>
                    <a:pt x="857" y="400"/>
                  </a:lnTo>
                  <a:lnTo>
                    <a:pt x="855" y="403"/>
                  </a:lnTo>
                  <a:lnTo>
                    <a:pt x="855" y="408"/>
                  </a:lnTo>
                  <a:lnTo>
                    <a:pt x="858" y="409"/>
                  </a:lnTo>
                  <a:lnTo>
                    <a:pt x="870" y="409"/>
                  </a:lnTo>
                  <a:lnTo>
                    <a:pt x="870" y="407"/>
                  </a:lnTo>
                  <a:lnTo>
                    <a:pt x="873" y="407"/>
                  </a:lnTo>
                  <a:lnTo>
                    <a:pt x="879" y="409"/>
                  </a:lnTo>
                  <a:lnTo>
                    <a:pt x="888" y="414"/>
                  </a:lnTo>
                  <a:lnTo>
                    <a:pt x="892" y="413"/>
                  </a:lnTo>
                  <a:lnTo>
                    <a:pt x="893" y="409"/>
                  </a:lnTo>
                  <a:lnTo>
                    <a:pt x="893" y="408"/>
                  </a:lnTo>
                  <a:lnTo>
                    <a:pt x="898" y="409"/>
                  </a:lnTo>
                  <a:lnTo>
                    <a:pt x="907" y="413"/>
                  </a:lnTo>
                  <a:lnTo>
                    <a:pt x="910" y="412"/>
                  </a:lnTo>
                  <a:lnTo>
                    <a:pt x="916" y="407"/>
                  </a:lnTo>
                  <a:lnTo>
                    <a:pt x="920" y="401"/>
                  </a:lnTo>
                  <a:lnTo>
                    <a:pt x="923" y="402"/>
                  </a:lnTo>
                  <a:lnTo>
                    <a:pt x="928" y="407"/>
                  </a:lnTo>
                  <a:lnTo>
                    <a:pt x="926" y="410"/>
                  </a:lnTo>
                  <a:lnTo>
                    <a:pt x="920" y="414"/>
                  </a:lnTo>
                  <a:lnTo>
                    <a:pt x="919" y="415"/>
                  </a:lnTo>
                  <a:lnTo>
                    <a:pt x="921" y="416"/>
                  </a:lnTo>
                  <a:lnTo>
                    <a:pt x="933" y="421"/>
                  </a:lnTo>
                  <a:lnTo>
                    <a:pt x="937" y="421"/>
                  </a:lnTo>
                  <a:lnTo>
                    <a:pt x="939" y="424"/>
                  </a:lnTo>
                  <a:lnTo>
                    <a:pt x="941" y="426"/>
                  </a:lnTo>
                  <a:lnTo>
                    <a:pt x="944" y="427"/>
                  </a:lnTo>
                  <a:lnTo>
                    <a:pt x="945" y="425"/>
                  </a:lnTo>
                  <a:lnTo>
                    <a:pt x="947" y="427"/>
                  </a:lnTo>
                  <a:lnTo>
                    <a:pt x="952" y="434"/>
                  </a:lnTo>
                  <a:lnTo>
                    <a:pt x="953" y="436"/>
                  </a:lnTo>
                  <a:lnTo>
                    <a:pt x="957" y="434"/>
                  </a:lnTo>
                  <a:lnTo>
                    <a:pt x="962" y="432"/>
                  </a:lnTo>
                  <a:lnTo>
                    <a:pt x="963" y="430"/>
                  </a:lnTo>
                  <a:lnTo>
                    <a:pt x="962" y="424"/>
                  </a:lnTo>
                  <a:lnTo>
                    <a:pt x="963" y="418"/>
                  </a:lnTo>
                  <a:lnTo>
                    <a:pt x="962" y="415"/>
                  </a:lnTo>
                  <a:lnTo>
                    <a:pt x="966" y="414"/>
                  </a:lnTo>
                  <a:lnTo>
                    <a:pt x="973" y="413"/>
                  </a:lnTo>
                  <a:lnTo>
                    <a:pt x="974" y="415"/>
                  </a:lnTo>
                  <a:lnTo>
                    <a:pt x="975" y="419"/>
                  </a:lnTo>
                  <a:lnTo>
                    <a:pt x="978" y="420"/>
                  </a:lnTo>
                  <a:lnTo>
                    <a:pt x="982" y="419"/>
                  </a:lnTo>
                  <a:lnTo>
                    <a:pt x="985" y="420"/>
                  </a:lnTo>
                  <a:lnTo>
                    <a:pt x="988" y="422"/>
                  </a:lnTo>
                  <a:lnTo>
                    <a:pt x="990" y="425"/>
                  </a:lnTo>
                  <a:lnTo>
                    <a:pt x="993" y="431"/>
                  </a:lnTo>
                  <a:lnTo>
                    <a:pt x="997" y="438"/>
                  </a:lnTo>
                  <a:lnTo>
                    <a:pt x="992" y="439"/>
                  </a:lnTo>
                  <a:lnTo>
                    <a:pt x="992" y="440"/>
                  </a:lnTo>
                  <a:lnTo>
                    <a:pt x="988" y="442"/>
                  </a:lnTo>
                  <a:lnTo>
                    <a:pt x="980" y="443"/>
                  </a:lnTo>
                  <a:lnTo>
                    <a:pt x="980" y="447"/>
                  </a:lnTo>
                  <a:lnTo>
                    <a:pt x="981" y="445"/>
                  </a:lnTo>
                  <a:lnTo>
                    <a:pt x="984" y="448"/>
                  </a:lnTo>
                  <a:lnTo>
                    <a:pt x="994" y="455"/>
                  </a:lnTo>
                  <a:lnTo>
                    <a:pt x="997" y="455"/>
                  </a:lnTo>
                  <a:lnTo>
                    <a:pt x="997" y="456"/>
                  </a:lnTo>
                  <a:lnTo>
                    <a:pt x="994" y="460"/>
                  </a:lnTo>
                  <a:lnTo>
                    <a:pt x="988" y="465"/>
                  </a:lnTo>
                  <a:lnTo>
                    <a:pt x="988" y="468"/>
                  </a:lnTo>
                  <a:lnTo>
                    <a:pt x="992" y="477"/>
                  </a:lnTo>
                  <a:lnTo>
                    <a:pt x="994" y="481"/>
                  </a:lnTo>
                  <a:lnTo>
                    <a:pt x="993" y="481"/>
                  </a:lnTo>
                  <a:lnTo>
                    <a:pt x="988" y="481"/>
                  </a:lnTo>
                  <a:lnTo>
                    <a:pt x="985" y="480"/>
                  </a:lnTo>
                  <a:lnTo>
                    <a:pt x="984" y="475"/>
                  </a:lnTo>
                  <a:lnTo>
                    <a:pt x="980" y="474"/>
                  </a:lnTo>
                  <a:lnTo>
                    <a:pt x="975" y="474"/>
                  </a:lnTo>
                  <a:lnTo>
                    <a:pt x="973" y="473"/>
                  </a:lnTo>
                  <a:lnTo>
                    <a:pt x="974" y="472"/>
                  </a:lnTo>
                  <a:lnTo>
                    <a:pt x="975" y="471"/>
                  </a:lnTo>
                  <a:lnTo>
                    <a:pt x="970" y="469"/>
                  </a:lnTo>
                  <a:lnTo>
                    <a:pt x="955" y="471"/>
                  </a:lnTo>
                  <a:lnTo>
                    <a:pt x="950" y="474"/>
                  </a:lnTo>
                  <a:lnTo>
                    <a:pt x="951" y="475"/>
                  </a:lnTo>
                  <a:lnTo>
                    <a:pt x="950" y="480"/>
                  </a:lnTo>
                  <a:lnTo>
                    <a:pt x="945" y="483"/>
                  </a:lnTo>
                  <a:lnTo>
                    <a:pt x="946" y="484"/>
                  </a:lnTo>
                  <a:lnTo>
                    <a:pt x="952" y="486"/>
                  </a:lnTo>
                  <a:lnTo>
                    <a:pt x="956" y="491"/>
                  </a:lnTo>
                  <a:lnTo>
                    <a:pt x="957" y="491"/>
                  </a:lnTo>
                  <a:lnTo>
                    <a:pt x="958" y="489"/>
                  </a:lnTo>
                  <a:lnTo>
                    <a:pt x="966" y="478"/>
                  </a:lnTo>
                  <a:lnTo>
                    <a:pt x="970" y="480"/>
                  </a:lnTo>
                  <a:lnTo>
                    <a:pt x="978" y="483"/>
                  </a:lnTo>
                  <a:lnTo>
                    <a:pt x="984" y="486"/>
                  </a:lnTo>
                  <a:lnTo>
                    <a:pt x="987" y="486"/>
                  </a:lnTo>
                  <a:lnTo>
                    <a:pt x="996" y="485"/>
                  </a:lnTo>
                  <a:lnTo>
                    <a:pt x="999" y="485"/>
                  </a:lnTo>
                  <a:lnTo>
                    <a:pt x="1002" y="486"/>
                  </a:lnTo>
                  <a:lnTo>
                    <a:pt x="1003" y="492"/>
                  </a:lnTo>
                  <a:lnTo>
                    <a:pt x="1002" y="497"/>
                  </a:lnTo>
                  <a:lnTo>
                    <a:pt x="997" y="503"/>
                  </a:lnTo>
                  <a:lnTo>
                    <a:pt x="994" y="505"/>
                  </a:lnTo>
                  <a:lnTo>
                    <a:pt x="992" y="505"/>
                  </a:lnTo>
                  <a:lnTo>
                    <a:pt x="990" y="502"/>
                  </a:lnTo>
                  <a:lnTo>
                    <a:pt x="987" y="501"/>
                  </a:lnTo>
                  <a:lnTo>
                    <a:pt x="986" y="502"/>
                  </a:lnTo>
                  <a:lnTo>
                    <a:pt x="982" y="507"/>
                  </a:lnTo>
                  <a:lnTo>
                    <a:pt x="980" y="508"/>
                  </a:lnTo>
                  <a:lnTo>
                    <a:pt x="976" y="508"/>
                  </a:lnTo>
                  <a:lnTo>
                    <a:pt x="975" y="509"/>
                  </a:lnTo>
                  <a:lnTo>
                    <a:pt x="976" y="511"/>
                  </a:lnTo>
                  <a:lnTo>
                    <a:pt x="987" y="517"/>
                  </a:lnTo>
                  <a:lnTo>
                    <a:pt x="994" y="526"/>
                  </a:lnTo>
                  <a:lnTo>
                    <a:pt x="998" y="531"/>
                  </a:lnTo>
                  <a:lnTo>
                    <a:pt x="998" y="535"/>
                  </a:lnTo>
                  <a:lnTo>
                    <a:pt x="990" y="544"/>
                  </a:lnTo>
                  <a:lnTo>
                    <a:pt x="988" y="547"/>
                  </a:lnTo>
                  <a:lnTo>
                    <a:pt x="985" y="554"/>
                  </a:lnTo>
                  <a:lnTo>
                    <a:pt x="980" y="554"/>
                  </a:lnTo>
                  <a:lnTo>
                    <a:pt x="974" y="552"/>
                  </a:lnTo>
                  <a:lnTo>
                    <a:pt x="969" y="551"/>
                  </a:lnTo>
                  <a:lnTo>
                    <a:pt x="966" y="551"/>
                  </a:lnTo>
                  <a:lnTo>
                    <a:pt x="962" y="552"/>
                  </a:lnTo>
                  <a:lnTo>
                    <a:pt x="962" y="554"/>
                  </a:lnTo>
                  <a:lnTo>
                    <a:pt x="964" y="555"/>
                  </a:lnTo>
                  <a:lnTo>
                    <a:pt x="969" y="557"/>
                  </a:lnTo>
                  <a:lnTo>
                    <a:pt x="969" y="561"/>
                  </a:lnTo>
                  <a:lnTo>
                    <a:pt x="967" y="567"/>
                  </a:lnTo>
                  <a:lnTo>
                    <a:pt x="967" y="569"/>
                  </a:lnTo>
                  <a:lnTo>
                    <a:pt x="968" y="570"/>
                  </a:lnTo>
                  <a:lnTo>
                    <a:pt x="972" y="572"/>
                  </a:lnTo>
                  <a:lnTo>
                    <a:pt x="978" y="573"/>
                  </a:lnTo>
                  <a:lnTo>
                    <a:pt x="984" y="573"/>
                  </a:lnTo>
                  <a:lnTo>
                    <a:pt x="986" y="574"/>
                  </a:lnTo>
                  <a:lnTo>
                    <a:pt x="988" y="574"/>
                  </a:lnTo>
                  <a:lnTo>
                    <a:pt x="993" y="572"/>
                  </a:lnTo>
                  <a:lnTo>
                    <a:pt x="996" y="573"/>
                  </a:lnTo>
                  <a:lnTo>
                    <a:pt x="992" y="582"/>
                  </a:lnTo>
                  <a:lnTo>
                    <a:pt x="985" y="590"/>
                  </a:lnTo>
                  <a:lnTo>
                    <a:pt x="968" y="596"/>
                  </a:lnTo>
                  <a:lnTo>
                    <a:pt x="964" y="603"/>
                  </a:lnTo>
                  <a:lnTo>
                    <a:pt x="963" y="603"/>
                  </a:lnTo>
                  <a:lnTo>
                    <a:pt x="957" y="598"/>
                  </a:lnTo>
                  <a:lnTo>
                    <a:pt x="955" y="594"/>
                  </a:lnTo>
                  <a:lnTo>
                    <a:pt x="951" y="602"/>
                  </a:lnTo>
                  <a:lnTo>
                    <a:pt x="952" y="603"/>
                  </a:lnTo>
                  <a:lnTo>
                    <a:pt x="949" y="603"/>
                  </a:lnTo>
                  <a:lnTo>
                    <a:pt x="944" y="600"/>
                  </a:lnTo>
                  <a:lnTo>
                    <a:pt x="938" y="597"/>
                  </a:lnTo>
                  <a:lnTo>
                    <a:pt x="935" y="591"/>
                  </a:lnTo>
                  <a:lnTo>
                    <a:pt x="933" y="586"/>
                  </a:lnTo>
                  <a:lnTo>
                    <a:pt x="927" y="582"/>
                  </a:lnTo>
                  <a:lnTo>
                    <a:pt x="926" y="579"/>
                  </a:lnTo>
                  <a:lnTo>
                    <a:pt x="922" y="579"/>
                  </a:lnTo>
                  <a:lnTo>
                    <a:pt x="914" y="580"/>
                  </a:lnTo>
                  <a:lnTo>
                    <a:pt x="904" y="581"/>
                  </a:lnTo>
                  <a:lnTo>
                    <a:pt x="900" y="580"/>
                  </a:lnTo>
                  <a:lnTo>
                    <a:pt x="898" y="581"/>
                  </a:lnTo>
                  <a:lnTo>
                    <a:pt x="899" y="588"/>
                  </a:lnTo>
                  <a:lnTo>
                    <a:pt x="899" y="591"/>
                  </a:lnTo>
                  <a:lnTo>
                    <a:pt x="896" y="592"/>
                  </a:lnTo>
                  <a:lnTo>
                    <a:pt x="891" y="593"/>
                  </a:lnTo>
                  <a:lnTo>
                    <a:pt x="887" y="591"/>
                  </a:lnTo>
                  <a:lnTo>
                    <a:pt x="884" y="586"/>
                  </a:lnTo>
                  <a:lnTo>
                    <a:pt x="880" y="584"/>
                  </a:lnTo>
                  <a:lnTo>
                    <a:pt x="875" y="582"/>
                  </a:lnTo>
                  <a:lnTo>
                    <a:pt x="866" y="588"/>
                  </a:lnTo>
                  <a:lnTo>
                    <a:pt x="855" y="594"/>
                  </a:lnTo>
                  <a:lnTo>
                    <a:pt x="851" y="598"/>
                  </a:lnTo>
                  <a:lnTo>
                    <a:pt x="848" y="602"/>
                  </a:lnTo>
                  <a:lnTo>
                    <a:pt x="854" y="606"/>
                  </a:lnTo>
                  <a:lnTo>
                    <a:pt x="861" y="610"/>
                  </a:lnTo>
                  <a:lnTo>
                    <a:pt x="863" y="612"/>
                  </a:lnTo>
                  <a:lnTo>
                    <a:pt x="867" y="617"/>
                  </a:lnTo>
                  <a:lnTo>
                    <a:pt x="875" y="621"/>
                  </a:lnTo>
                  <a:lnTo>
                    <a:pt x="890" y="627"/>
                  </a:lnTo>
                  <a:lnTo>
                    <a:pt x="875" y="624"/>
                  </a:lnTo>
                  <a:lnTo>
                    <a:pt x="868" y="623"/>
                  </a:lnTo>
                  <a:lnTo>
                    <a:pt x="866" y="622"/>
                  </a:lnTo>
                  <a:lnTo>
                    <a:pt x="869" y="630"/>
                  </a:lnTo>
                  <a:lnTo>
                    <a:pt x="860" y="622"/>
                  </a:lnTo>
                  <a:lnTo>
                    <a:pt x="860" y="617"/>
                  </a:lnTo>
                  <a:lnTo>
                    <a:pt x="858" y="616"/>
                  </a:lnTo>
                  <a:lnTo>
                    <a:pt x="855" y="614"/>
                  </a:lnTo>
                  <a:lnTo>
                    <a:pt x="845" y="609"/>
                  </a:lnTo>
                  <a:lnTo>
                    <a:pt x="834" y="603"/>
                  </a:lnTo>
                  <a:lnTo>
                    <a:pt x="820" y="592"/>
                  </a:lnTo>
                  <a:lnTo>
                    <a:pt x="821" y="593"/>
                  </a:lnTo>
                  <a:lnTo>
                    <a:pt x="821" y="596"/>
                  </a:lnTo>
                  <a:lnTo>
                    <a:pt x="819" y="597"/>
                  </a:lnTo>
                  <a:lnTo>
                    <a:pt x="815" y="598"/>
                  </a:lnTo>
                  <a:lnTo>
                    <a:pt x="814" y="600"/>
                  </a:lnTo>
                  <a:lnTo>
                    <a:pt x="811" y="602"/>
                  </a:lnTo>
                  <a:lnTo>
                    <a:pt x="810" y="605"/>
                  </a:lnTo>
                  <a:lnTo>
                    <a:pt x="813" y="611"/>
                  </a:lnTo>
                  <a:lnTo>
                    <a:pt x="816" y="617"/>
                  </a:lnTo>
                  <a:lnTo>
                    <a:pt x="823" y="626"/>
                  </a:lnTo>
                  <a:lnTo>
                    <a:pt x="826" y="630"/>
                  </a:lnTo>
                  <a:lnTo>
                    <a:pt x="829" y="632"/>
                  </a:lnTo>
                  <a:lnTo>
                    <a:pt x="833" y="634"/>
                  </a:lnTo>
                  <a:lnTo>
                    <a:pt x="837" y="636"/>
                  </a:lnTo>
                  <a:lnTo>
                    <a:pt x="839" y="633"/>
                  </a:lnTo>
                  <a:lnTo>
                    <a:pt x="839" y="630"/>
                  </a:lnTo>
                  <a:lnTo>
                    <a:pt x="841" y="632"/>
                  </a:lnTo>
                  <a:lnTo>
                    <a:pt x="844" y="641"/>
                  </a:lnTo>
                  <a:lnTo>
                    <a:pt x="848" y="644"/>
                  </a:lnTo>
                  <a:lnTo>
                    <a:pt x="848" y="645"/>
                  </a:lnTo>
                  <a:lnTo>
                    <a:pt x="846" y="650"/>
                  </a:lnTo>
                  <a:lnTo>
                    <a:pt x="848" y="651"/>
                  </a:lnTo>
                  <a:lnTo>
                    <a:pt x="852" y="648"/>
                  </a:lnTo>
                  <a:lnTo>
                    <a:pt x="855" y="647"/>
                  </a:lnTo>
                  <a:lnTo>
                    <a:pt x="856" y="650"/>
                  </a:lnTo>
                  <a:lnTo>
                    <a:pt x="862" y="653"/>
                  </a:lnTo>
                  <a:lnTo>
                    <a:pt x="862" y="651"/>
                  </a:lnTo>
                  <a:lnTo>
                    <a:pt x="867" y="652"/>
                  </a:lnTo>
                  <a:lnTo>
                    <a:pt x="870" y="654"/>
                  </a:lnTo>
                  <a:lnTo>
                    <a:pt x="872" y="657"/>
                  </a:lnTo>
                  <a:lnTo>
                    <a:pt x="872" y="662"/>
                  </a:lnTo>
                  <a:lnTo>
                    <a:pt x="874" y="663"/>
                  </a:lnTo>
                  <a:lnTo>
                    <a:pt x="879" y="660"/>
                  </a:lnTo>
                  <a:lnTo>
                    <a:pt x="880" y="662"/>
                  </a:lnTo>
                  <a:lnTo>
                    <a:pt x="881" y="670"/>
                  </a:lnTo>
                  <a:lnTo>
                    <a:pt x="881" y="679"/>
                  </a:lnTo>
                  <a:lnTo>
                    <a:pt x="876" y="679"/>
                  </a:lnTo>
                  <a:lnTo>
                    <a:pt x="884" y="687"/>
                  </a:lnTo>
                  <a:lnTo>
                    <a:pt x="879" y="689"/>
                  </a:lnTo>
                  <a:lnTo>
                    <a:pt x="876" y="691"/>
                  </a:lnTo>
                  <a:lnTo>
                    <a:pt x="878" y="692"/>
                  </a:lnTo>
                  <a:lnTo>
                    <a:pt x="874" y="694"/>
                  </a:lnTo>
                  <a:lnTo>
                    <a:pt x="867" y="695"/>
                  </a:lnTo>
                  <a:lnTo>
                    <a:pt x="866" y="695"/>
                  </a:lnTo>
                  <a:lnTo>
                    <a:pt x="862" y="700"/>
                  </a:lnTo>
                  <a:lnTo>
                    <a:pt x="860" y="700"/>
                  </a:lnTo>
                  <a:lnTo>
                    <a:pt x="857" y="701"/>
                  </a:lnTo>
                  <a:lnTo>
                    <a:pt x="857" y="704"/>
                  </a:lnTo>
                  <a:lnTo>
                    <a:pt x="858" y="705"/>
                  </a:lnTo>
                  <a:lnTo>
                    <a:pt x="861" y="709"/>
                  </a:lnTo>
                  <a:lnTo>
                    <a:pt x="861" y="713"/>
                  </a:lnTo>
                  <a:lnTo>
                    <a:pt x="856" y="717"/>
                  </a:lnTo>
                  <a:lnTo>
                    <a:pt x="854" y="716"/>
                  </a:lnTo>
                  <a:lnTo>
                    <a:pt x="852" y="715"/>
                  </a:lnTo>
                  <a:lnTo>
                    <a:pt x="851" y="712"/>
                  </a:lnTo>
                  <a:lnTo>
                    <a:pt x="850" y="712"/>
                  </a:lnTo>
                  <a:lnTo>
                    <a:pt x="846" y="713"/>
                  </a:lnTo>
                  <a:lnTo>
                    <a:pt x="844" y="713"/>
                  </a:lnTo>
                  <a:lnTo>
                    <a:pt x="841" y="712"/>
                  </a:lnTo>
                  <a:lnTo>
                    <a:pt x="841" y="713"/>
                  </a:lnTo>
                  <a:lnTo>
                    <a:pt x="841" y="718"/>
                  </a:lnTo>
                  <a:lnTo>
                    <a:pt x="839" y="723"/>
                  </a:lnTo>
                  <a:lnTo>
                    <a:pt x="833" y="723"/>
                  </a:lnTo>
                  <a:lnTo>
                    <a:pt x="829" y="721"/>
                  </a:lnTo>
                  <a:lnTo>
                    <a:pt x="823" y="718"/>
                  </a:lnTo>
                  <a:lnTo>
                    <a:pt x="825" y="718"/>
                  </a:lnTo>
                  <a:lnTo>
                    <a:pt x="822" y="717"/>
                  </a:lnTo>
                  <a:lnTo>
                    <a:pt x="817" y="712"/>
                  </a:lnTo>
                  <a:lnTo>
                    <a:pt x="816" y="711"/>
                  </a:lnTo>
                  <a:lnTo>
                    <a:pt x="815" y="711"/>
                  </a:lnTo>
                  <a:lnTo>
                    <a:pt x="815" y="707"/>
                  </a:lnTo>
                  <a:lnTo>
                    <a:pt x="819" y="704"/>
                  </a:lnTo>
                  <a:lnTo>
                    <a:pt x="820" y="701"/>
                  </a:lnTo>
                  <a:lnTo>
                    <a:pt x="819" y="699"/>
                  </a:lnTo>
                  <a:lnTo>
                    <a:pt x="816" y="694"/>
                  </a:lnTo>
                  <a:lnTo>
                    <a:pt x="815" y="691"/>
                  </a:lnTo>
                  <a:lnTo>
                    <a:pt x="814" y="689"/>
                  </a:lnTo>
                  <a:lnTo>
                    <a:pt x="813" y="691"/>
                  </a:lnTo>
                  <a:lnTo>
                    <a:pt x="809" y="695"/>
                  </a:lnTo>
                  <a:lnTo>
                    <a:pt x="808" y="699"/>
                  </a:lnTo>
                  <a:lnTo>
                    <a:pt x="805" y="700"/>
                  </a:lnTo>
                  <a:lnTo>
                    <a:pt x="802" y="701"/>
                  </a:lnTo>
                  <a:lnTo>
                    <a:pt x="797" y="703"/>
                  </a:lnTo>
                  <a:lnTo>
                    <a:pt x="795" y="700"/>
                  </a:lnTo>
                  <a:lnTo>
                    <a:pt x="793" y="700"/>
                  </a:lnTo>
                  <a:lnTo>
                    <a:pt x="791" y="700"/>
                  </a:lnTo>
                  <a:lnTo>
                    <a:pt x="785" y="705"/>
                  </a:lnTo>
                  <a:lnTo>
                    <a:pt x="784" y="706"/>
                  </a:lnTo>
                  <a:lnTo>
                    <a:pt x="781" y="705"/>
                  </a:lnTo>
                  <a:lnTo>
                    <a:pt x="778" y="705"/>
                  </a:lnTo>
                  <a:lnTo>
                    <a:pt x="776" y="704"/>
                  </a:lnTo>
                  <a:lnTo>
                    <a:pt x="775" y="697"/>
                  </a:lnTo>
                  <a:lnTo>
                    <a:pt x="772" y="695"/>
                  </a:lnTo>
                  <a:lnTo>
                    <a:pt x="769" y="699"/>
                  </a:lnTo>
                  <a:lnTo>
                    <a:pt x="767" y="700"/>
                  </a:lnTo>
                  <a:lnTo>
                    <a:pt x="762" y="700"/>
                  </a:lnTo>
                  <a:lnTo>
                    <a:pt x="760" y="698"/>
                  </a:lnTo>
                  <a:lnTo>
                    <a:pt x="756" y="697"/>
                  </a:lnTo>
                  <a:lnTo>
                    <a:pt x="742" y="703"/>
                  </a:lnTo>
                  <a:lnTo>
                    <a:pt x="743" y="706"/>
                  </a:lnTo>
                  <a:lnTo>
                    <a:pt x="743" y="707"/>
                  </a:lnTo>
                  <a:lnTo>
                    <a:pt x="740" y="707"/>
                  </a:lnTo>
                  <a:lnTo>
                    <a:pt x="734" y="704"/>
                  </a:lnTo>
                  <a:lnTo>
                    <a:pt x="731" y="699"/>
                  </a:lnTo>
                  <a:lnTo>
                    <a:pt x="728" y="698"/>
                  </a:lnTo>
                  <a:lnTo>
                    <a:pt x="728" y="700"/>
                  </a:lnTo>
                  <a:lnTo>
                    <a:pt x="728" y="705"/>
                  </a:lnTo>
                  <a:lnTo>
                    <a:pt x="726" y="705"/>
                  </a:lnTo>
                  <a:lnTo>
                    <a:pt x="721" y="701"/>
                  </a:lnTo>
                  <a:lnTo>
                    <a:pt x="719" y="701"/>
                  </a:lnTo>
                  <a:lnTo>
                    <a:pt x="715" y="701"/>
                  </a:lnTo>
                  <a:lnTo>
                    <a:pt x="714" y="699"/>
                  </a:lnTo>
                  <a:lnTo>
                    <a:pt x="711" y="699"/>
                  </a:lnTo>
                  <a:lnTo>
                    <a:pt x="709" y="700"/>
                  </a:lnTo>
                  <a:lnTo>
                    <a:pt x="707" y="704"/>
                  </a:lnTo>
                  <a:lnTo>
                    <a:pt x="711" y="706"/>
                  </a:lnTo>
                  <a:lnTo>
                    <a:pt x="715" y="707"/>
                  </a:lnTo>
                  <a:lnTo>
                    <a:pt x="720" y="709"/>
                  </a:lnTo>
                  <a:lnTo>
                    <a:pt x="724" y="710"/>
                  </a:lnTo>
                  <a:lnTo>
                    <a:pt x="727" y="713"/>
                  </a:lnTo>
                  <a:lnTo>
                    <a:pt x="730" y="718"/>
                  </a:lnTo>
                  <a:lnTo>
                    <a:pt x="727" y="719"/>
                  </a:lnTo>
                  <a:lnTo>
                    <a:pt x="724" y="717"/>
                  </a:lnTo>
                  <a:lnTo>
                    <a:pt x="721" y="718"/>
                  </a:lnTo>
                  <a:lnTo>
                    <a:pt x="717" y="721"/>
                  </a:lnTo>
                  <a:lnTo>
                    <a:pt x="715" y="721"/>
                  </a:lnTo>
                  <a:lnTo>
                    <a:pt x="713" y="719"/>
                  </a:lnTo>
                  <a:lnTo>
                    <a:pt x="710" y="719"/>
                  </a:lnTo>
                  <a:lnTo>
                    <a:pt x="709" y="723"/>
                  </a:lnTo>
                  <a:lnTo>
                    <a:pt x="707" y="724"/>
                  </a:lnTo>
                  <a:lnTo>
                    <a:pt x="703" y="722"/>
                  </a:lnTo>
                  <a:lnTo>
                    <a:pt x="698" y="719"/>
                  </a:lnTo>
                  <a:lnTo>
                    <a:pt x="695" y="716"/>
                  </a:lnTo>
                  <a:lnTo>
                    <a:pt x="692" y="712"/>
                  </a:lnTo>
                  <a:lnTo>
                    <a:pt x="690" y="711"/>
                  </a:lnTo>
                  <a:lnTo>
                    <a:pt x="684" y="712"/>
                  </a:lnTo>
                  <a:lnTo>
                    <a:pt x="677" y="711"/>
                  </a:lnTo>
                  <a:lnTo>
                    <a:pt x="669" y="711"/>
                  </a:lnTo>
                  <a:lnTo>
                    <a:pt x="666" y="711"/>
                  </a:lnTo>
                  <a:lnTo>
                    <a:pt x="658" y="706"/>
                  </a:lnTo>
                  <a:lnTo>
                    <a:pt x="650" y="704"/>
                  </a:lnTo>
                  <a:lnTo>
                    <a:pt x="645" y="704"/>
                  </a:lnTo>
                  <a:lnTo>
                    <a:pt x="643" y="701"/>
                  </a:lnTo>
                  <a:lnTo>
                    <a:pt x="640" y="700"/>
                  </a:lnTo>
                  <a:lnTo>
                    <a:pt x="638" y="700"/>
                  </a:lnTo>
                  <a:lnTo>
                    <a:pt x="642" y="707"/>
                  </a:lnTo>
                  <a:lnTo>
                    <a:pt x="645" y="715"/>
                  </a:lnTo>
                  <a:lnTo>
                    <a:pt x="648" y="718"/>
                  </a:lnTo>
                  <a:lnTo>
                    <a:pt x="650" y="718"/>
                  </a:lnTo>
                  <a:lnTo>
                    <a:pt x="652" y="719"/>
                  </a:lnTo>
                  <a:lnTo>
                    <a:pt x="654" y="721"/>
                  </a:lnTo>
                  <a:lnTo>
                    <a:pt x="657" y="721"/>
                  </a:lnTo>
                  <a:lnTo>
                    <a:pt x="660" y="723"/>
                  </a:lnTo>
                  <a:lnTo>
                    <a:pt x="663" y="722"/>
                  </a:lnTo>
                  <a:lnTo>
                    <a:pt x="668" y="722"/>
                  </a:lnTo>
                  <a:lnTo>
                    <a:pt x="673" y="721"/>
                  </a:lnTo>
                  <a:lnTo>
                    <a:pt x="678" y="724"/>
                  </a:lnTo>
                  <a:lnTo>
                    <a:pt x="687" y="727"/>
                  </a:lnTo>
                  <a:lnTo>
                    <a:pt x="690" y="728"/>
                  </a:lnTo>
                  <a:lnTo>
                    <a:pt x="692" y="730"/>
                  </a:lnTo>
                  <a:lnTo>
                    <a:pt x="695" y="734"/>
                  </a:lnTo>
                  <a:lnTo>
                    <a:pt x="696" y="736"/>
                  </a:lnTo>
                  <a:lnTo>
                    <a:pt x="693" y="741"/>
                  </a:lnTo>
                  <a:lnTo>
                    <a:pt x="697" y="742"/>
                  </a:lnTo>
                  <a:lnTo>
                    <a:pt x="702" y="741"/>
                  </a:lnTo>
                  <a:lnTo>
                    <a:pt x="704" y="737"/>
                  </a:lnTo>
                  <a:lnTo>
                    <a:pt x="704" y="733"/>
                  </a:lnTo>
                  <a:lnTo>
                    <a:pt x="708" y="733"/>
                  </a:lnTo>
                  <a:lnTo>
                    <a:pt x="715" y="733"/>
                  </a:lnTo>
                  <a:lnTo>
                    <a:pt x="715" y="736"/>
                  </a:lnTo>
                  <a:lnTo>
                    <a:pt x="713" y="742"/>
                  </a:lnTo>
                  <a:lnTo>
                    <a:pt x="714" y="749"/>
                  </a:lnTo>
                  <a:lnTo>
                    <a:pt x="714" y="755"/>
                  </a:lnTo>
                  <a:lnTo>
                    <a:pt x="711" y="757"/>
                  </a:lnTo>
                  <a:lnTo>
                    <a:pt x="707" y="757"/>
                  </a:lnTo>
                  <a:lnTo>
                    <a:pt x="702" y="753"/>
                  </a:lnTo>
                  <a:lnTo>
                    <a:pt x="701" y="754"/>
                  </a:lnTo>
                  <a:lnTo>
                    <a:pt x="698" y="752"/>
                  </a:lnTo>
                  <a:lnTo>
                    <a:pt x="691" y="749"/>
                  </a:lnTo>
                  <a:lnTo>
                    <a:pt x="687" y="751"/>
                  </a:lnTo>
                  <a:lnTo>
                    <a:pt x="687" y="753"/>
                  </a:lnTo>
                  <a:lnTo>
                    <a:pt x="686" y="754"/>
                  </a:lnTo>
                  <a:lnTo>
                    <a:pt x="686" y="759"/>
                  </a:lnTo>
                  <a:lnTo>
                    <a:pt x="689" y="765"/>
                  </a:lnTo>
                  <a:lnTo>
                    <a:pt x="690" y="767"/>
                  </a:lnTo>
                  <a:lnTo>
                    <a:pt x="687" y="774"/>
                  </a:lnTo>
                  <a:lnTo>
                    <a:pt x="687" y="780"/>
                  </a:lnTo>
                  <a:lnTo>
                    <a:pt x="687" y="782"/>
                  </a:lnTo>
                  <a:lnTo>
                    <a:pt x="685" y="782"/>
                  </a:lnTo>
                  <a:lnTo>
                    <a:pt x="677" y="777"/>
                  </a:lnTo>
                  <a:lnTo>
                    <a:pt x="672" y="775"/>
                  </a:lnTo>
                  <a:lnTo>
                    <a:pt x="673" y="777"/>
                  </a:lnTo>
                  <a:lnTo>
                    <a:pt x="672" y="780"/>
                  </a:lnTo>
                  <a:lnTo>
                    <a:pt x="669" y="781"/>
                  </a:lnTo>
                  <a:lnTo>
                    <a:pt x="667" y="782"/>
                  </a:lnTo>
                  <a:lnTo>
                    <a:pt x="662" y="783"/>
                  </a:lnTo>
                  <a:lnTo>
                    <a:pt x="658" y="782"/>
                  </a:lnTo>
                  <a:lnTo>
                    <a:pt x="652" y="777"/>
                  </a:lnTo>
                  <a:lnTo>
                    <a:pt x="649" y="772"/>
                  </a:lnTo>
                  <a:lnTo>
                    <a:pt x="645" y="769"/>
                  </a:lnTo>
                  <a:lnTo>
                    <a:pt x="645" y="767"/>
                  </a:lnTo>
                  <a:lnTo>
                    <a:pt x="646" y="761"/>
                  </a:lnTo>
                  <a:lnTo>
                    <a:pt x="640" y="755"/>
                  </a:lnTo>
                  <a:lnTo>
                    <a:pt x="640" y="758"/>
                  </a:lnTo>
                  <a:lnTo>
                    <a:pt x="643" y="763"/>
                  </a:lnTo>
                  <a:lnTo>
                    <a:pt x="639" y="764"/>
                  </a:lnTo>
                  <a:lnTo>
                    <a:pt x="628" y="764"/>
                  </a:lnTo>
                  <a:lnTo>
                    <a:pt x="625" y="766"/>
                  </a:lnTo>
                  <a:lnTo>
                    <a:pt x="621" y="767"/>
                  </a:lnTo>
                  <a:lnTo>
                    <a:pt x="628" y="770"/>
                  </a:lnTo>
                  <a:lnTo>
                    <a:pt x="633" y="769"/>
                  </a:lnTo>
                  <a:lnTo>
                    <a:pt x="637" y="771"/>
                  </a:lnTo>
                  <a:lnTo>
                    <a:pt x="638" y="776"/>
                  </a:lnTo>
                  <a:lnTo>
                    <a:pt x="639" y="780"/>
                  </a:lnTo>
                  <a:lnTo>
                    <a:pt x="642" y="782"/>
                  </a:lnTo>
                  <a:lnTo>
                    <a:pt x="640" y="783"/>
                  </a:lnTo>
                  <a:lnTo>
                    <a:pt x="630" y="786"/>
                  </a:lnTo>
                  <a:lnTo>
                    <a:pt x="624" y="784"/>
                  </a:lnTo>
                  <a:lnTo>
                    <a:pt x="618" y="782"/>
                  </a:lnTo>
                  <a:lnTo>
                    <a:pt x="608" y="780"/>
                  </a:lnTo>
                  <a:lnTo>
                    <a:pt x="604" y="778"/>
                  </a:lnTo>
                  <a:lnTo>
                    <a:pt x="601" y="776"/>
                  </a:lnTo>
                  <a:lnTo>
                    <a:pt x="598" y="775"/>
                  </a:lnTo>
                  <a:lnTo>
                    <a:pt x="597" y="771"/>
                  </a:lnTo>
                  <a:lnTo>
                    <a:pt x="599" y="764"/>
                  </a:lnTo>
                  <a:lnTo>
                    <a:pt x="598" y="763"/>
                  </a:lnTo>
                  <a:lnTo>
                    <a:pt x="593" y="761"/>
                  </a:lnTo>
                  <a:lnTo>
                    <a:pt x="592" y="765"/>
                  </a:lnTo>
                  <a:lnTo>
                    <a:pt x="591" y="766"/>
                  </a:lnTo>
                  <a:lnTo>
                    <a:pt x="589" y="766"/>
                  </a:lnTo>
                  <a:lnTo>
                    <a:pt x="584" y="765"/>
                  </a:lnTo>
                  <a:lnTo>
                    <a:pt x="583" y="761"/>
                  </a:lnTo>
                  <a:lnTo>
                    <a:pt x="583" y="753"/>
                  </a:lnTo>
                  <a:lnTo>
                    <a:pt x="579" y="749"/>
                  </a:lnTo>
                  <a:lnTo>
                    <a:pt x="578" y="748"/>
                  </a:lnTo>
                  <a:lnTo>
                    <a:pt x="574" y="741"/>
                  </a:lnTo>
                  <a:lnTo>
                    <a:pt x="574" y="737"/>
                  </a:lnTo>
                  <a:lnTo>
                    <a:pt x="572" y="736"/>
                  </a:lnTo>
                  <a:lnTo>
                    <a:pt x="567" y="736"/>
                  </a:lnTo>
                  <a:lnTo>
                    <a:pt x="563" y="735"/>
                  </a:lnTo>
                  <a:lnTo>
                    <a:pt x="565" y="737"/>
                  </a:lnTo>
                  <a:lnTo>
                    <a:pt x="568" y="741"/>
                  </a:lnTo>
                  <a:lnTo>
                    <a:pt x="571" y="745"/>
                  </a:lnTo>
                  <a:lnTo>
                    <a:pt x="574" y="753"/>
                  </a:lnTo>
                  <a:lnTo>
                    <a:pt x="578" y="757"/>
                  </a:lnTo>
                  <a:lnTo>
                    <a:pt x="578" y="761"/>
                  </a:lnTo>
                  <a:lnTo>
                    <a:pt x="575" y="765"/>
                  </a:lnTo>
                  <a:lnTo>
                    <a:pt x="575" y="769"/>
                  </a:lnTo>
                  <a:lnTo>
                    <a:pt x="578" y="774"/>
                  </a:lnTo>
                  <a:lnTo>
                    <a:pt x="578" y="777"/>
                  </a:lnTo>
                  <a:lnTo>
                    <a:pt x="575" y="783"/>
                  </a:lnTo>
                  <a:lnTo>
                    <a:pt x="569" y="784"/>
                  </a:lnTo>
                  <a:lnTo>
                    <a:pt x="563" y="788"/>
                  </a:lnTo>
                  <a:lnTo>
                    <a:pt x="559" y="789"/>
                  </a:lnTo>
                  <a:lnTo>
                    <a:pt x="551" y="790"/>
                  </a:lnTo>
                  <a:lnTo>
                    <a:pt x="544" y="793"/>
                  </a:lnTo>
                  <a:lnTo>
                    <a:pt x="539" y="793"/>
                  </a:lnTo>
                  <a:lnTo>
                    <a:pt x="537" y="793"/>
                  </a:lnTo>
                  <a:lnTo>
                    <a:pt x="533" y="792"/>
                  </a:lnTo>
                  <a:lnTo>
                    <a:pt x="531" y="787"/>
                  </a:lnTo>
                  <a:lnTo>
                    <a:pt x="531" y="782"/>
                  </a:lnTo>
                  <a:lnTo>
                    <a:pt x="531" y="776"/>
                  </a:lnTo>
                  <a:lnTo>
                    <a:pt x="526" y="772"/>
                  </a:lnTo>
                  <a:lnTo>
                    <a:pt x="522" y="771"/>
                  </a:lnTo>
                  <a:lnTo>
                    <a:pt x="519" y="772"/>
                  </a:lnTo>
                  <a:lnTo>
                    <a:pt x="518" y="776"/>
                  </a:lnTo>
                  <a:lnTo>
                    <a:pt x="515" y="777"/>
                  </a:lnTo>
                  <a:lnTo>
                    <a:pt x="509" y="777"/>
                  </a:lnTo>
                  <a:lnTo>
                    <a:pt x="506" y="777"/>
                  </a:lnTo>
                  <a:lnTo>
                    <a:pt x="504" y="781"/>
                  </a:lnTo>
                  <a:lnTo>
                    <a:pt x="502" y="781"/>
                  </a:lnTo>
                  <a:lnTo>
                    <a:pt x="494" y="777"/>
                  </a:lnTo>
                  <a:lnTo>
                    <a:pt x="494" y="771"/>
                  </a:lnTo>
                  <a:lnTo>
                    <a:pt x="496" y="767"/>
                  </a:lnTo>
                  <a:lnTo>
                    <a:pt x="495" y="765"/>
                  </a:lnTo>
                  <a:lnTo>
                    <a:pt x="492" y="763"/>
                  </a:lnTo>
                  <a:lnTo>
                    <a:pt x="490" y="761"/>
                  </a:lnTo>
                  <a:lnTo>
                    <a:pt x="484" y="761"/>
                  </a:lnTo>
                  <a:lnTo>
                    <a:pt x="481" y="759"/>
                  </a:lnTo>
                  <a:lnTo>
                    <a:pt x="479" y="757"/>
                  </a:lnTo>
                  <a:lnTo>
                    <a:pt x="479" y="753"/>
                  </a:lnTo>
                  <a:lnTo>
                    <a:pt x="477" y="748"/>
                  </a:lnTo>
                  <a:lnTo>
                    <a:pt x="479" y="747"/>
                  </a:lnTo>
                  <a:lnTo>
                    <a:pt x="488" y="747"/>
                  </a:lnTo>
                  <a:lnTo>
                    <a:pt x="490" y="745"/>
                  </a:lnTo>
                  <a:lnTo>
                    <a:pt x="492" y="742"/>
                  </a:lnTo>
                  <a:lnTo>
                    <a:pt x="495" y="742"/>
                  </a:lnTo>
                  <a:lnTo>
                    <a:pt x="497" y="740"/>
                  </a:lnTo>
                  <a:lnTo>
                    <a:pt x="502" y="731"/>
                  </a:lnTo>
                  <a:lnTo>
                    <a:pt x="501" y="728"/>
                  </a:lnTo>
                  <a:lnTo>
                    <a:pt x="497" y="727"/>
                  </a:lnTo>
                  <a:lnTo>
                    <a:pt x="488" y="731"/>
                  </a:lnTo>
                  <a:lnTo>
                    <a:pt x="485" y="733"/>
                  </a:lnTo>
                  <a:lnTo>
                    <a:pt x="483" y="733"/>
                  </a:lnTo>
                  <a:lnTo>
                    <a:pt x="480" y="734"/>
                  </a:lnTo>
                  <a:lnTo>
                    <a:pt x="479" y="733"/>
                  </a:lnTo>
                  <a:lnTo>
                    <a:pt x="473" y="729"/>
                  </a:lnTo>
                  <a:lnTo>
                    <a:pt x="471" y="733"/>
                  </a:lnTo>
                  <a:lnTo>
                    <a:pt x="466" y="739"/>
                  </a:lnTo>
                  <a:lnTo>
                    <a:pt x="459" y="745"/>
                  </a:lnTo>
                  <a:lnTo>
                    <a:pt x="454" y="751"/>
                  </a:lnTo>
                  <a:lnTo>
                    <a:pt x="453" y="758"/>
                  </a:lnTo>
                  <a:lnTo>
                    <a:pt x="453" y="774"/>
                  </a:lnTo>
                  <a:lnTo>
                    <a:pt x="455" y="799"/>
                  </a:lnTo>
                  <a:lnTo>
                    <a:pt x="455" y="813"/>
                  </a:lnTo>
                  <a:lnTo>
                    <a:pt x="456" y="818"/>
                  </a:lnTo>
                  <a:lnTo>
                    <a:pt x="461" y="824"/>
                  </a:lnTo>
                  <a:lnTo>
                    <a:pt x="466" y="832"/>
                  </a:lnTo>
                  <a:lnTo>
                    <a:pt x="469" y="840"/>
                  </a:lnTo>
                  <a:lnTo>
                    <a:pt x="472" y="84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6" name="Freeform 79"/>
            <p:cNvSpPr>
              <a:spLocks/>
            </p:cNvSpPr>
            <p:nvPr userDrawn="1"/>
          </p:nvSpPr>
          <p:spPr bwMode="auto">
            <a:xfrm>
              <a:off x="8535988" y="6245226"/>
              <a:ext cx="250825" cy="409575"/>
            </a:xfrm>
            <a:custGeom>
              <a:avLst/>
              <a:gdLst/>
              <a:ahLst/>
              <a:cxnLst>
                <a:cxn ang="0">
                  <a:pos x="387" y="95"/>
                </a:cxn>
                <a:cxn ang="0">
                  <a:pos x="319" y="196"/>
                </a:cxn>
                <a:cxn ang="0">
                  <a:pos x="281" y="250"/>
                </a:cxn>
                <a:cxn ang="0">
                  <a:pos x="289" y="298"/>
                </a:cxn>
                <a:cxn ang="0">
                  <a:pos x="247" y="331"/>
                </a:cxn>
                <a:cxn ang="0">
                  <a:pos x="211" y="438"/>
                </a:cxn>
                <a:cxn ang="0">
                  <a:pos x="222" y="463"/>
                </a:cxn>
                <a:cxn ang="0">
                  <a:pos x="151" y="523"/>
                </a:cxn>
                <a:cxn ang="0">
                  <a:pos x="171" y="555"/>
                </a:cxn>
                <a:cxn ang="0">
                  <a:pos x="128" y="586"/>
                </a:cxn>
                <a:cxn ang="0">
                  <a:pos x="158" y="592"/>
                </a:cxn>
                <a:cxn ang="0">
                  <a:pos x="200" y="604"/>
                </a:cxn>
                <a:cxn ang="0">
                  <a:pos x="119" y="635"/>
                </a:cxn>
                <a:cxn ang="0">
                  <a:pos x="89" y="665"/>
                </a:cxn>
                <a:cxn ang="0">
                  <a:pos x="89" y="694"/>
                </a:cxn>
                <a:cxn ang="0">
                  <a:pos x="77" y="725"/>
                </a:cxn>
                <a:cxn ang="0">
                  <a:pos x="118" y="759"/>
                </a:cxn>
                <a:cxn ang="0">
                  <a:pos x="145" y="779"/>
                </a:cxn>
                <a:cxn ang="0">
                  <a:pos x="188" y="788"/>
                </a:cxn>
                <a:cxn ang="0">
                  <a:pos x="219" y="799"/>
                </a:cxn>
                <a:cxn ang="0">
                  <a:pos x="176" y="836"/>
                </a:cxn>
                <a:cxn ang="0">
                  <a:pos x="119" y="858"/>
                </a:cxn>
                <a:cxn ang="0">
                  <a:pos x="98" y="902"/>
                </a:cxn>
                <a:cxn ang="0">
                  <a:pos x="45" y="921"/>
                </a:cxn>
                <a:cxn ang="0">
                  <a:pos x="84" y="943"/>
                </a:cxn>
                <a:cxn ang="0">
                  <a:pos x="39" y="980"/>
                </a:cxn>
                <a:cxn ang="0">
                  <a:pos x="56" y="1013"/>
                </a:cxn>
                <a:cxn ang="0">
                  <a:pos x="81" y="1051"/>
                </a:cxn>
                <a:cxn ang="0">
                  <a:pos x="88" y="1106"/>
                </a:cxn>
                <a:cxn ang="0">
                  <a:pos x="165" y="1172"/>
                </a:cxn>
                <a:cxn ang="0">
                  <a:pos x="269" y="1158"/>
                </a:cxn>
                <a:cxn ang="0">
                  <a:pos x="361" y="1224"/>
                </a:cxn>
                <a:cxn ang="0">
                  <a:pos x="502" y="1180"/>
                </a:cxn>
                <a:cxn ang="0">
                  <a:pos x="596" y="1228"/>
                </a:cxn>
                <a:cxn ang="0">
                  <a:pos x="686" y="1204"/>
                </a:cxn>
                <a:cxn ang="0">
                  <a:pos x="779" y="1117"/>
                </a:cxn>
                <a:cxn ang="0">
                  <a:pos x="708" y="1050"/>
                </a:cxn>
                <a:cxn ang="0">
                  <a:pos x="703" y="997"/>
                </a:cxn>
                <a:cxn ang="0">
                  <a:pos x="677" y="984"/>
                </a:cxn>
                <a:cxn ang="0">
                  <a:pos x="699" y="939"/>
                </a:cxn>
                <a:cxn ang="0">
                  <a:pos x="718" y="890"/>
                </a:cxn>
                <a:cxn ang="0">
                  <a:pos x="725" y="833"/>
                </a:cxn>
                <a:cxn ang="0">
                  <a:pos x="575" y="793"/>
                </a:cxn>
                <a:cxn ang="0">
                  <a:pos x="631" y="787"/>
                </a:cxn>
                <a:cxn ang="0">
                  <a:pos x="691" y="752"/>
                </a:cxn>
                <a:cxn ang="0">
                  <a:pos x="720" y="710"/>
                </a:cxn>
                <a:cxn ang="0">
                  <a:pos x="702" y="668"/>
                </a:cxn>
                <a:cxn ang="0">
                  <a:pos x="672" y="577"/>
                </a:cxn>
                <a:cxn ang="0">
                  <a:pos x="595" y="533"/>
                </a:cxn>
                <a:cxn ang="0">
                  <a:pos x="618" y="503"/>
                </a:cxn>
                <a:cxn ang="0">
                  <a:pos x="540" y="434"/>
                </a:cxn>
                <a:cxn ang="0">
                  <a:pos x="620" y="443"/>
                </a:cxn>
                <a:cxn ang="0">
                  <a:pos x="454" y="371"/>
                </a:cxn>
                <a:cxn ang="0">
                  <a:pos x="530" y="300"/>
                </a:cxn>
                <a:cxn ang="0">
                  <a:pos x="544" y="258"/>
                </a:cxn>
                <a:cxn ang="0">
                  <a:pos x="495" y="235"/>
                </a:cxn>
                <a:cxn ang="0">
                  <a:pos x="484" y="217"/>
                </a:cxn>
                <a:cxn ang="0">
                  <a:pos x="472" y="145"/>
                </a:cxn>
                <a:cxn ang="0">
                  <a:pos x="461" y="135"/>
                </a:cxn>
                <a:cxn ang="0">
                  <a:pos x="461" y="104"/>
                </a:cxn>
                <a:cxn ang="0">
                  <a:pos x="444" y="99"/>
                </a:cxn>
                <a:cxn ang="0">
                  <a:pos x="432" y="41"/>
                </a:cxn>
                <a:cxn ang="0">
                  <a:pos x="410" y="28"/>
                </a:cxn>
              </a:cxnLst>
              <a:rect l="0" t="0" r="r" b="b"/>
              <a:pathLst>
                <a:path w="794" h="1293">
                  <a:moveTo>
                    <a:pt x="398" y="22"/>
                  </a:moveTo>
                  <a:lnTo>
                    <a:pt x="394" y="15"/>
                  </a:lnTo>
                  <a:lnTo>
                    <a:pt x="390" y="0"/>
                  </a:lnTo>
                  <a:lnTo>
                    <a:pt x="389" y="0"/>
                  </a:lnTo>
                  <a:lnTo>
                    <a:pt x="390" y="6"/>
                  </a:lnTo>
                  <a:lnTo>
                    <a:pt x="393" y="15"/>
                  </a:lnTo>
                  <a:lnTo>
                    <a:pt x="398" y="22"/>
                  </a:lnTo>
                  <a:lnTo>
                    <a:pt x="396" y="26"/>
                  </a:lnTo>
                  <a:lnTo>
                    <a:pt x="393" y="17"/>
                  </a:lnTo>
                  <a:lnTo>
                    <a:pt x="392" y="18"/>
                  </a:lnTo>
                  <a:lnTo>
                    <a:pt x="395" y="26"/>
                  </a:lnTo>
                  <a:lnTo>
                    <a:pt x="395" y="27"/>
                  </a:lnTo>
                  <a:lnTo>
                    <a:pt x="384" y="21"/>
                  </a:lnTo>
                  <a:lnTo>
                    <a:pt x="383" y="22"/>
                  </a:lnTo>
                  <a:lnTo>
                    <a:pt x="398" y="30"/>
                  </a:lnTo>
                  <a:lnTo>
                    <a:pt x="396" y="33"/>
                  </a:lnTo>
                  <a:lnTo>
                    <a:pt x="395" y="34"/>
                  </a:lnTo>
                  <a:lnTo>
                    <a:pt x="392" y="29"/>
                  </a:lnTo>
                  <a:lnTo>
                    <a:pt x="390" y="30"/>
                  </a:lnTo>
                  <a:lnTo>
                    <a:pt x="395" y="35"/>
                  </a:lnTo>
                  <a:lnTo>
                    <a:pt x="394" y="36"/>
                  </a:lnTo>
                  <a:lnTo>
                    <a:pt x="387" y="36"/>
                  </a:lnTo>
                  <a:lnTo>
                    <a:pt x="387" y="38"/>
                  </a:lnTo>
                  <a:lnTo>
                    <a:pt x="394" y="38"/>
                  </a:lnTo>
                  <a:lnTo>
                    <a:pt x="395" y="40"/>
                  </a:lnTo>
                  <a:lnTo>
                    <a:pt x="396" y="44"/>
                  </a:lnTo>
                  <a:lnTo>
                    <a:pt x="389" y="44"/>
                  </a:lnTo>
                  <a:lnTo>
                    <a:pt x="389" y="45"/>
                  </a:lnTo>
                  <a:lnTo>
                    <a:pt x="395" y="45"/>
                  </a:lnTo>
                  <a:lnTo>
                    <a:pt x="393" y="46"/>
                  </a:lnTo>
                  <a:lnTo>
                    <a:pt x="396" y="46"/>
                  </a:lnTo>
                  <a:lnTo>
                    <a:pt x="395" y="50"/>
                  </a:lnTo>
                  <a:lnTo>
                    <a:pt x="393" y="50"/>
                  </a:lnTo>
                  <a:lnTo>
                    <a:pt x="393" y="47"/>
                  </a:lnTo>
                  <a:lnTo>
                    <a:pt x="392" y="50"/>
                  </a:lnTo>
                  <a:lnTo>
                    <a:pt x="390" y="48"/>
                  </a:lnTo>
                  <a:lnTo>
                    <a:pt x="387" y="42"/>
                  </a:lnTo>
                  <a:lnTo>
                    <a:pt x="389" y="48"/>
                  </a:lnTo>
                  <a:lnTo>
                    <a:pt x="388" y="48"/>
                  </a:lnTo>
                  <a:lnTo>
                    <a:pt x="384" y="47"/>
                  </a:lnTo>
                  <a:lnTo>
                    <a:pt x="383" y="48"/>
                  </a:lnTo>
                  <a:lnTo>
                    <a:pt x="385" y="50"/>
                  </a:lnTo>
                  <a:lnTo>
                    <a:pt x="388" y="50"/>
                  </a:lnTo>
                  <a:lnTo>
                    <a:pt x="389" y="51"/>
                  </a:lnTo>
                  <a:lnTo>
                    <a:pt x="388" y="52"/>
                  </a:lnTo>
                  <a:lnTo>
                    <a:pt x="384" y="51"/>
                  </a:lnTo>
                  <a:lnTo>
                    <a:pt x="384" y="52"/>
                  </a:lnTo>
                  <a:lnTo>
                    <a:pt x="389" y="53"/>
                  </a:lnTo>
                  <a:lnTo>
                    <a:pt x="389" y="54"/>
                  </a:lnTo>
                  <a:lnTo>
                    <a:pt x="388" y="57"/>
                  </a:lnTo>
                  <a:lnTo>
                    <a:pt x="387" y="57"/>
                  </a:lnTo>
                  <a:lnTo>
                    <a:pt x="384" y="54"/>
                  </a:lnTo>
                  <a:lnTo>
                    <a:pt x="377" y="48"/>
                  </a:lnTo>
                  <a:lnTo>
                    <a:pt x="377" y="50"/>
                  </a:lnTo>
                  <a:lnTo>
                    <a:pt x="379" y="52"/>
                  </a:lnTo>
                  <a:lnTo>
                    <a:pt x="379" y="53"/>
                  </a:lnTo>
                  <a:lnTo>
                    <a:pt x="376" y="53"/>
                  </a:lnTo>
                  <a:lnTo>
                    <a:pt x="372" y="52"/>
                  </a:lnTo>
                  <a:lnTo>
                    <a:pt x="375" y="54"/>
                  </a:lnTo>
                  <a:lnTo>
                    <a:pt x="381" y="56"/>
                  </a:lnTo>
                  <a:lnTo>
                    <a:pt x="382" y="57"/>
                  </a:lnTo>
                  <a:lnTo>
                    <a:pt x="376" y="62"/>
                  </a:lnTo>
                  <a:lnTo>
                    <a:pt x="383" y="57"/>
                  </a:lnTo>
                  <a:lnTo>
                    <a:pt x="384" y="58"/>
                  </a:lnTo>
                  <a:lnTo>
                    <a:pt x="382" y="59"/>
                  </a:lnTo>
                  <a:lnTo>
                    <a:pt x="385" y="58"/>
                  </a:lnTo>
                  <a:lnTo>
                    <a:pt x="387" y="59"/>
                  </a:lnTo>
                  <a:lnTo>
                    <a:pt x="388" y="60"/>
                  </a:lnTo>
                  <a:lnTo>
                    <a:pt x="388" y="64"/>
                  </a:lnTo>
                  <a:lnTo>
                    <a:pt x="390" y="59"/>
                  </a:lnTo>
                  <a:lnTo>
                    <a:pt x="398" y="65"/>
                  </a:lnTo>
                  <a:lnTo>
                    <a:pt x="399" y="69"/>
                  </a:lnTo>
                  <a:lnTo>
                    <a:pt x="395" y="70"/>
                  </a:lnTo>
                  <a:lnTo>
                    <a:pt x="393" y="70"/>
                  </a:lnTo>
                  <a:lnTo>
                    <a:pt x="392" y="68"/>
                  </a:lnTo>
                  <a:lnTo>
                    <a:pt x="392" y="69"/>
                  </a:lnTo>
                  <a:lnTo>
                    <a:pt x="388" y="69"/>
                  </a:lnTo>
                  <a:lnTo>
                    <a:pt x="387" y="69"/>
                  </a:lnTo>
                  <a:lnTo>
                    <a:pt x="383" y="65"/>
                  </a:lnTo>
                  <a:lnTo>
                    <a:pt x="383" y="66"/>
                  </a:lnTo>
                  <a:lnTo>
                    <a:pt x="385" y="70"/>
                  </a:lnTo>
                  <a:lnTo>
                    <a:pt x="379" y="70"/>
                  </a:lnTo>
                  <a:lnTo>
                    <a:pt x="379" y="71"/>
                  </a:lnTo>
                  <a:lnTo>
                    <a:pt x="385" y="71"/>
                  </a:lnTo>
                  <a:lnTo>
                    <a:pt x="385" y="72"/>
                  </a:lnTo>
                  <a:lnTo>
                    <a:pt x="383" y="76"/>
                  </a:lnTo>
                  <a:lnTo>
                    <a:pt x="388" y="72"/>
                  </a:lnTo>
                  <a:lnTo>
                    <a:pt x="390" y="72"/>
                  </a:lnTo>
                  <a:lnTo>
                    <a:pt x="392" y="71"/>
                  </a:lnTo>
                  <a:lnTo>
                    <a:pt x="394" y="72"/>
                  </a:lnTo>
                  <a:lnTo>
                    <a:pt x="393" y="74"/>
                  </a:lnTo>
                  <a:lnTo>
                    <a:pt x="389" y="74"/>
                  </a:lnTo>
                  <a:lnTo>
                    <a:pt x="389" y="75"/>
                  </a:lnTo>
                  <a:lnTo>
                    <a:pt x="392" y="76"/>
                  </a:lnTo>
                  <a:lnTo>
                    <a:pt x="390" y="76"/>
                  </a:lnTo>
                  <a:lnTo>
                    <a:pt x="387" y="78"/>
                  </a:lnTo>
                  <a:lnTo>
                    <a:pt x="387" y="80"/>
                  </a:lnTo>
                  <a:lnTo>
                    <a:pt x="392" y="80"/>
                  </a:lnTo>
                  <a:lnTo>
                    <a:pt x="392" y="82"/>
                  </a:lnTo>
                  <a:lnTo>
                    <a:pt x="385" y="87"/>
                  </a:lnTo>
                  <a:lnTo>
                    <a:pt x="385" y="88"/>
                  </a:lnTo>
                  <a:lnTo>
                    <a:pt x="388" y="88"/>
                  </a:lnTo>
                  <a:lnTo>
                    <a:pt x="389" y="90"/>
                  </a:lnTo>
                  <a:lnTo>
                    <a:pt x="388" y="90"/>
                  </a:lnTo>
                  <a:lnTo>
                    <a:pt x="388" y="92"/>
                  </a:lnTo>
                  <a:lnTo>
                    <a:pt x="389" y="93"/>
                  </a:lnTo>
                  <a:lnTo>
                    <a:pt x="390" y="93"/>
                  </a:lnTo>
                  <a:lnTo>
                    <a:pt x="390" y="94"/>
                  </a:lnTo>
                  <a:lnTo>
                    <a:pt x="387" y="94"/>
                  </a:lnTo>
                  <a:lnTo>
                    <a:pt x="384" y="93"/>
                  </a:lnTo>
                  <a:lnTo>
                    <a:pt x="385" y="95"/>
                  </a:lnTo>
                  <a:lnTo>
                    <a:pt x="383" y="100"/>
                  </a:lnTo>
                  <a:lnTo>
                    <a:pt x="384" y="100"/>
                  </a:lnTo>
                  <a:lnTo>
                    <a:pt x="387" y="95"/>
                  </a:lnTo>
                  <a:lnTo>
                    <a:pt x="390" y="97"/>
                  </a:lnTo>
                  <a:lnTo>
                    <a:pt x="388" y="99"/>
                  </a:lnTo>
                  <a:lnTo>
                    <a:pt x="384" y="103"/>
                  </a:lnTo>
                  <a:lnTo>
                    <a:pt x="378" y="107"/>
                  </a:lnTo>
                  <a:lnTo>
                    <a:pt x="369" y="112"/>
                  </a:lnTo>
                  <a:lnTo>
                    <a:pt x="365" y="112"/>
                  </a:lnTo>
                  <a:lnTo>
                    <a:pt x="366" y="113"/>
                  </a:lnTo>
                  <a:lnTo>
                    <a:pt x="366" y="115"/>
                  </a:lnTo>
                  <a:lnTo>
                    <a:pt x="360" y="112"/>
                  </a:lnTo>
                  <a:lnTo>
                    <a:pt x="364" y="115"/>
                  </a:lnTo>
                  <a:lnTo>
                    <a:pt x="358" y="117"/>
                  </a:lnTo>
                  <a:lnTo>
                    <a:pt x="358" y="119"/>
                  </a:lnTo>
                  <a:lnTo>
                    <a:pt x="366" y="117"/>
                  </a:lnTo>
                  <a:lnTo>
                    <a:pt x="365" y="121"/>
                  </a:lnTo>
                  <a:lnTo>
                    <a:pt x="365" y="124"/>
                  </a:lnTo>
                  <a:lnTo>
                    <a:pt x="366" y="124"/>
                  </a:lnTo>
                  <a:lnTo>
                    <a:pt x="366" y="119"/>
                  </a:lnTo>
                  <a:lnTo>
                    <a:pt x="367" y="119"/>
                  </a:lnTo>
                  <a:lnTo>
                    <a:pt x="367" y="117"/>
                  </a:lnTo>
                  <a:lnTo>
                    <a:pt x="370" y="117"/>
                  </a:lnTo>
                  <a:lnTo>
                    <a:pt x="370" y="121"/>
                  </a:lnTo>
                  <a:lnTo>
                    <a:pt x="371" y="121"/>
                  </a:lnTo>
                  <a:lnTo>
                    <a:pt x="371" y="115"/>
                  </a:lnTo>
                  <a:lnTo>
                    <a:pt x="376" y="113"/>
                  </a:lnTo>
                  <a:lnTo>
                    <a:pt x="376" y="116"/>
                  </a:lnTo>
                  <a:lnTo>
                    <a:pt x="373" y="119"/>
                  </a:lnTo>
                  <a:lnTo>
                    <a:pt x="373" y="121"/>
                  </a:lnTo>
                  <a:lnTo>
                    <a:pt x="375" y="123"/>
                  </a:lnTo>
                  <a:lnTo>
                    <a:pt x="375" y="124"/>
                  </a:lnTo>
                  <a:lnTo>
                    <a:pt x="377" y="127"/>
                  </a:lnTo>
                  <a:lnTo>
                    <a:pt x="372" y="129"/>
                  </a:lnTo>
                  <a:lnTo>
                    <a:pt x="371" y="128"/>
                  </a:lnTo>
                  <a:lnTo>
                    <a:pt x="370" y="128"/>
                  </a:lnTo>
                  <a:lnTo>
                    <a:pt x="371" y="129"/>
                  </a:lnTo>
                  <a:lnTo>
                    <a:pt x="369" y="129"/>
                  </a:lnTo>
                  <a:lnTo>
                    <a:pt x="366" y="130"/>
                  </a:lnTo>
                  <a:lnTo>
                    <a:pt x="370" y="131"/>
                  </a:lnTo>
                  <a:lnTo>
                    <a:pt x="371" y="130"/>
                  </a:lnTo>
                  <a:lnTo>
                    <a:pt x="372" y="131"/>
                  </a:lnTo>
                  <a:lnTo>
                    <a:pt x="369" y="133"/>
                  </a:lnTo>
                  <a:lnTo>
                    <a:pt x="366" y="135"/>
                  </a:lnTo>
                  <a:lnTo>
                    <a:pt x="364" y="137"/>
                  </a:lnTo>
                  <a:lnTo>
                    <a:pt x="365" y="139"/>
                  </a:lnTo>
                  <a:lnTo>
                    <a:pt x="366" y="137"/>
                  </a:lnTo>
                  <a:lnTo>
                    <a:pt x="369" y="137"/>
                  </a:lnTo>
                  <a:lnTo>
                    <a:pt x="369" y="140"/>
                  </a:lnTo>
                  <a:lnTo>
                    <a:pt x="367" y="141"/>
                  </a:lnTo>
                  <a:lnTo>
                    <a:pt x="365" y="141"/>
                  </a:lnTo>
                  <a:lnTo>
                    <a:pt x="364" y="139"/>
                  </a:lnTo>
                  <a:lnTo>
                    <a:pt x="359" y="139"/>
                  </a:lnTo>
                  <a:lnTo>
                    <a:pt x="358" y="140"/>
                  </a:lnTo>
                  <a:lnTo>
                    <a:pt x="357" y="142"/>
                  </a:lnTo>
                  <a:lnTo>
                    <a:pt x="355" y="145"/>
                  </a:lnTo>
                  <a:lnTo>
                    <a:pt x="351" y="145"/>
                  </a:lnTo>
                  <a:lnTo>
                    <a:pt x="345" y="148"/>
                  </a:lnTo>
                  <a:lnTo>
                    <a:pt x="341" y="149"/>
                  </a:lnTo>
                  <a:lnTo>
                    <a:pt x="340" y="153"/>
                  </a:lnTo>
                  <a:lnTo>
                    <a:pt x="336" y="153"/>
                  </a:lnTo>
                  <a:lnTo>
                    <a:pt x="337" y="152"/>
                  </a:lnTo>
                  <a:lnTo>
                    <a:pt x="336" y="152"/>
                  </a:lnTo>
                  <a:lnTo>
                    <a:pt x="331" y="152"/>
                  </a:lnTo>
                  <a:lnTo>
                    <a:pt x="331" y="154"/>
                  </a:lnTo>
                  <a:lnTo>
                    <a:pt x="330" y="155"/>
                  </a:lnTo>
                  <a:lnTo>
                    <a:pt x="322" y="161"/>
                  </a:lnTo>
                  <a:lnTo>
                    <a:pt x="318" y="163"/>
                  </a:lnTo>
                  <a:lnTo>
                    <a:pt x="316" y="163"/>
                  </a:lnTo>
                  <a:lnTo>
                    <a:pt x="317" y="164"/>
                  </a:lnTo>
                  <a:lnTo>
                    <a:pt x="316" y="165"/>
                  </a:lnTo>
                  <a:lnTo>
                    <a:pt x="313" y="166"/>
                  </a:lnTo>
                  <a:lnTo>
                    <a:pt x="312" y="167"/>
                  </a:lnTo>
                  <a:lnTo>
                    <a:pt x="311" y="169"/>
                  </a:lnTo>
                  <a:lnTo>
                    <a:pt x="307" y="170"/>
                  </a:lnTo>
                  <a:lnTo>
                    <a:pt x="308" y="170"/>
                  </a:lnTo>
                  <a:lnTo>
                    <a:pt x="308" y="171"/>
                  </a:lnTo>
                  <a:lnTo>
                    <a:pt x="305" y="171"/>
                  </a:lnTo>
                  <a:lnTo>
                    <a:pt x="305" y="172"/>
                  </a:lnTo>
                  <a:lnTo>
                    <a:pt x="307" y="172"/>
                  </a:lnTo>
                  <a:lnTo>
                    <a:pt x="304" y="177"/>
                  </a:lnTo>
                  <a:lnTo>
                    <a:pt x="307" y="173"/>
                  </a:lnTo>
                  <a:lnTo>
                    <a:pt x="308" y="173"/>
                  </a:lnTo>
                  <a:lnTo>
                    <a:pt x="308" y="177"/>
                  </a:lnTo>
                  <a:lnTo>
                    <a:pt x="310" y="172"/>
                  </a:lnTo>
                  <a:lnTo>
                    <a:pt x="311" y="172"/>
                  </a:lnTo>
                  <a:lnTo>
                    <a:pt x="311" y="173"/>
                  </a:lnTo>
                  <a:lnTo>
                    <a:pt x="312" y="172"/>
                  </a:lnTo>
                  <a:lnTo>
                    <a:pt x="313" y="170"/>
                  </a:lnTo>
                  <a:lnTo>
                    <a:pt x="319" y="165"/>
                  </a:lnTo>
                  <a:lnTo>
                    <a:pt x="318" y="171"/>
                  </a:lnTo>
                  <a:lnTo>
                    <a:pt x="319" y="172"/>
                  </a:lnTo>
                  <a:lnTo>
                    <a:pt x="319" y="176"/>
                  </a:lnTo>
                  <a:lnTo>
                    <a:pt x="320" y="176"/>
                  </a:lnTo>
                  <a:lnTo>
                    <a:pt x="322" y="172"/>
                  </a:lnTo>
                  <a:lnTo>
                    <a:pt x="320" y="165"/>
                  </a:lnTo>
                  <a:lnTo>
                    <a:pt x="322" y="169"/>
                  </a:lnTo>
                  <a:lnTo>
                    <a:pt x="322" y="175"/>
                  </a:lnTo>
                  <a:lnTo>
                    <a:pt x="323" y="175"/>
                  </a:lnTo>
                  <a:lnTo>
                    <a:pt x="323" y="176"/>
                  </a:lnTo>
                  <a:lnTo>
                    <a:pt x="324" y="177"/>
                  </a:lnTo>
                  <a:lnTo>
                    <a:pt x="325" y="178"/>
                  </a:lnTo>
                  <a:lnTo>
                    <a:pt x="324" y="179"/>
                  </a:lnTo>
                  <a:lnTo>
                    <a:pt x="320" y="181"/>
                  </a:lnTo>
                  <a:lnTo>
                    <a:pt x="322" y="182"/>
                  </a:lnTo>
                  <a:lnTo>
                    <a:pt x="322" y="183"/>
                  </a:lnTo>
                  <a:lnTo>
                    <a:pt x="319" y="183"/>
                  </a:lnTo>
                  <a:lnTo>
                    <a:pt x="320" y="184"/>
                  </a:lnTo>
                  <a:lnTo>
                    <a:pt x="322" y="184"/>
                  </a:lnTo>
                  <a:lnTo>
                    <a:pt x="323" y="185"/>
                  </a:lnTo>
                  <a:lnTo>
                    <a:pt x="320" y="187"/>
                  </a:lnTo>
                  <a:lnTo>
                    <a:pt x="319" y="188"/>
                  </a:lnTo>
                  <a:lnTo>
                    <a:pt x="319" y="189"/>
                  </a:lnTo>
                  <a:lnTo>
                    <a:pt x="319" y="190"/>
                  </a:lnTo>
                  <a:lnTo>
                    <a:pt x="320" y="194"/>
                  </a:lnTo>
                  <a:lnTo>
                    <a:pt x="319" y="195"/>
                  </a:lnTo>
                  <a:lnTo>
                    <a:pt x="319" y="196"/>
                  </a:lnTo>
                  <a:lnTo>
                    <a:pt x="320" y="197"/>
                  </a:lnTo>
                  <a:lnTo>
                    <a:pt x="324" y="197"/>
                  </a:lnTo>
                  <a:lnTo>
                    <a:pt x="325" y="199"/>
                  </a:lnTo>
                  <a:lnTo>
                    <a:pt x="324" y="199"/>
                  </a:lnTo>
                  <a:lnTo>
                    <a:pt x="319" y="200"/>
                  </a:lnTo>
                  <a:lnTo>
                    <a:pt x="319" y="201"/>
                  </a:lnTo>
                  <a:lnTo>
                    <a:pt x="318" y="201"/>
                  </a:lnTo>
                  <a:lnTo>
                    <a:pt x="318" y="202"/>
                  </a:lnTo>
                  <a:lnTo>
                    <a:pt x="316" y="202"/>
                  </a:lnTo>
                  <a:lnTo>
                    <a:pt x="313" y="201"/>
                  </a:lnTo>
                  <a:lnTo>
                    <a:pt x="312" y="201"/>
                  </a:lnTo>
                  <a:lnTo>
                    <a:pt x="312" y="202"/>
                  </a:lnTo>
                  <a:lnTo>
                    <a:pt x="314" y="204"/>
                  </a:lnTo>
                  <a:lnTo>
                    <a:pt x="312" y="205"/>
                  </a:lnTo>
                  <a:lnTo>
                    <a:pt x="311" y="205"/>
                  </a:lnTo>
                  <a:lnTo>
                    <a:pt x="310" y="204"/>
                  </a:lnTo>
                  <a:lnTo>
                    <a:pt x="307" y="204"/>
                  </a:lnTo>
                  <a:lnTo>
                    <a:pt x="308" y="205"/>
                  </a:lnTo>
                  <a:lnTo>
                    <a:pt x="305" y="206"/>
                  </a:lnTo>
                  <a:lnTo>
                    <a:pt x="300" y="208"/>
                  </a:lnTo>
                  <a:lnTo>
                    <a:pt x="300" y="210"/>
                  </a:lnTo>
                  <a:lnTo>
                    <a:pt x="305" y="207"/>
                  </a:lnTo>
                  <a:lnTo>
                    <a:pt x="306" y="208"/>
                  </a:lnTo>
                  <a:lnTo>
                    <a:pt x="304" y="216"/>
                  </a:lnTo>
                  <a:lnTo>
                    <a:pt x="305" y="216"/>
                  </a:lnTo>
                  <a:lnTo>
                    <a:pt x="307" y="208"/>
                  </a:lnTo>
                  <a:lnTo>
                    <a:pt x="308" y="208"/>
                  </a:lnTo>
                  <a:lnTo>
                    <a:pt x="308" y="212"/>
                  </a:lnTo>
                  <a:lnTo>
                    <a:pt x="310" y="212"/>
                  </a:lnTo>
                  <a:lnTo>
                    <a:pt x="311" y="210"/>
                  </a:lnTo>
                  <a:lnTo>
                    <a:pt x="312" y="211"/>
                  </a:lnTo>
                  <a:lnTo>
                    <a:pt x="313" y="206"/>
                  </a:lnTo>
                  <a:lnTo>
                    <a:pt x="314" y="206"/>
                  </a:lnTo>
                  <a:lnTo>
                    <a:pt x="314" y="207"/>
                  </a:lnTo>
                  <a:lnTo>
                    <a:pt x="314" y="208"/>
                  </a:lnTo>
                  <a:lnTo>
                    <a:pt x="314" y="210"/>
                  </a:lnTo>
                  <a:lnTo>
                    <a:pt x="316" y="211"/>
                  </a:lnTo>
                  <a:lnTo>
                    <a:pt x="318" y="219"/>
                  </a:lnTo>
                  <a:lnTo>
                    <a:pt x="319" y="219"/>
                  </a:lnTo>
                  <a:lnTo>
                    <a:pt x="320" y="218"/>
                  </a:lnTo>
                  <a:lnTo>
                    <a:pt x="322" y="220"/>
                  </a:lnTo>
                  <a:lnTo>
                    <a:pt x="323" y="222"/>
                  </a:lnTo>
                  <a:lnTo>
                    <a:pt x="323" y="220"/>
                  </a:lnTo>
                  <a:lnTo>
                    <a:pt x="322" y="218"/>
                  </a:lnTo>
                  <a:lnTo>
                    <a:pt x="323" y="218"/>
                  </a:lnTo>
                  <a:lnTo>
                    <a:pt x="324" y="219"/>
                  </a:lnTo>
                  <a:lnTo>
                    <a:pt x="325" y="219"/>
                  </a:lnTo>
                  <a:lnTo>
                    <a:pt x="325" y="217"/>
                  </a:lnTo>
                  <a:lnTo>
                    <a:pt x="326" y="216"/>
                  </a:lnTo>
                  <a:lnTo>
                    <a:pt x="328" y="219"/>
                  </a:lnTo>
                  <a:lnTo>
                    <a:pt x="328" y="220"/>
                  </a:lnTo>
                  <a:lnTo>
                    <a:pt x="329" y="222"/>
                  </a:lnTo>
                  <a:lnTo>
                    <a:pt x="329" y="216"/>
                  </a:lnTo>
                  <a:lnTo>
                    <a:pt x="329" y="214"/>
                  </a:lnTo>
                  <a:lnTo>
                    <a:pt x="330" y="216"/>
                  </a:lnTo>
                  <a:lnTo>
                    <a:pt x="331" y="218"/>
                  </a:lnTo>
                  <a:lnTo>
                    <a:pt x="331" y="213"/>
                  </a:lnTo>
                  <a:lnTo>
                    <a:pt x="333" y="212"/>
                  </a:lnTo>
                  <a:lnTo>
                    <a:pt x="333" y="213"/>
                  </a:lnTo>
                  <a:lnTo>
                    <a:pt x="334" y="214"/>
                  </a:lnTo>
                  <a:lnTo>
                    <a:pt x="335" y="218"/>
                  </a:lnTo>
                  <a:lnTo>
                    <a:pt x="335" y="219"/>
                  </a:lnTo>
                  <a:lnTo>
                    <a:pt x="336" y="223"/>
                  </a:lnTo>
                  <a:lnTo>
                    <a:pt x="335" y="224"/>
                  </a:lnTo>
                  <a:lnTo>
                    <a:pt x="331" y="225"/>
                  </a:lnTo>
                  <a:lnTo>
                    <a:pt x="329" y="228"/>
                  </a:lnTo>
                  <a:lnTo>
                    <a:pt x="326" y="231"/>
                  </a:lnTo>
                  <a:lnTo>
                    <a:pt x="319" y="231"/>
                  </a:lnTo>
                  <a:lnTo>
                    <a:pt x="317" y="232"/>
                  </a:lnTo>
                  <a:lnTo>
                    <a:pt x="310" y="234"/>
                  </a:lnTo>
                  <a:lnTo>
                    <a:pt x="308" y="235"/>
                  </a:lnTo>
                  <a:lnTo>
                    <a:pt x="304" y="235"/>
                  </a:lnTo>
                  <a:lnTo>
                    <a:pt x="301" y="234"/>
                  </a:lnTo>
                  <a:lnTo>
                    <a:pt x="301" y="235"/>
                  </a:lnTo>
                  <a:lnTo>
                    <a:pt x="300" y="235"/>
                  </a:lnTo>
                  <a:lnTo>
                    <a:pt x="296" y="231"/>
                  </a:lnTo>
                  <a:lnTo>
                    <a:pt x="296" y="232"/>
                  </a:lnTo>
                  <a:lnTo>
                    <a:pt x="298" y="234"/>
                  </a:lnTo>
                  <a:lnTo>
                    <a:pt x="299" y="235"/>
                  </a:lnTo>
                  <a:lnTo>
                    <a:pt x="296" y="235"/>
                  </a:lnTo>
                  <a:lnTo>
                    <a:pt x="295" y="234"/>
                  </a:lnTo>
                  <a:lnTo>
                    <a:pt x="293" y="234"/>
                  </a:lnTo>
                  <a:lnTo>
                    <a:pt x="287" y="230"/>
                  </a:lnTo>
                  <a:lnTo>
                    <a:pt x="286" y="230"/>
                  </a:lnTo>
                  <a:lnTo>
                    <a:pt x="292" y="235"/>
                  </a:lnTo>
                  <a:lnTo>
                    <a:pt x="278" y="235"/>
                  </a:lnTo>
                  <a:lnTo>
                    <a:pt x="280" y="236"/>
                  </a:lnTo>
                  <a:lnTo>
                    <a:pt x="289" y="237"/>
                  </a:lnTo>
                  <a:lnTo>
                    <a:pt x="292" y="237"/>
                  </a:lnTo>
                  <a:lnTo>
                    <a:pt x="289" y="238"/>
                  </a:lnTo>
                  <a:lnTo>
                    <a:pt x="289" y="240"/>
                  </a:lnTo>
                  <a:lnTo>
                    <a:pt x="295" y="236"/>
                  </a:lnTo>
                  <a:lnTo>
                    <a:pt x="296" y="236"/>
                  </a:lnTo>
                  <a:lnTo>
                    <a:pt x="298" y="238"/>
                  </a:lnTo>
                  <a:lnTo>
                    <a:pt x="298" y="240"/>
                  </a:lnTo>
                  <a:lnTo>
                    <a:pt x="296" y="242"/>
                  </a:lnTo>
                  <a:lnTo>
                    <a:pt x="298" y="244"/>
                  </a:lnTo>
                  <a:lnTo>
                    <a:pt x="299" y="247"/>
                  </a:lnTo>
                  <a:lnTo>
                    <a:pt x="300" y="248"/>
                  </a:lnTo>
                  <a:lnTo>
                    <a:pt x="298" y="249"/>
                  </a:lnTo>
                  <a:lnTo>
                    <a:pt x="296" y="252"/>
                  </a:lnTo>
                  <a:lnTo>
                    <a:pt x="299" y="252"/>
                  </a:lnTo>
                  <a:lnTo>
                    <a:pt x="299" y="253"/>
                  </a:lnTo>
                  <a:lnTo>
                    <a:pt x="296" y="254"/>
                  </a:lnTo>
                  <a:lnTo>
                    <a:pt x="294" y="256"/>
                  </a:lnTo>
                  <a:lnTo>
                    <a:pt x="294" y="258"/>
                  </a:lnTo>
                  <a:lnTo>
                    <a:pt x="293" y="258"/>
                  </a:lnTo>
                  <a:lnTo>
                    <a:pt x="292" y="256"/>
                  </a:lnTo>
                  <a:lnTo>
                    <a:pt x="292" y="254"/>
                  </a:lnTo>
                  <a:lnTo>
                    <a:pt x="290" y="252"/>
                  </a:lnTo>
                  <a:lnTo>
                    <a:pt x="290" y="253"/>
                  </a:lnTo>
                  <a:lnTo>
                    <a:pt x="290" y="254"/>
                  </a:lnTo>
                  <a:lnTo>
                    <a:pt x="288" y="256"/>
                  </a:lnTo>
                  <a:lnTo>
                    <a:pt x="281" y="250"/>
                  </a:lnTo>
                  <a:lnTo>
                    <a:pt x="278" y="250"/>
                  </a:lnTo>
                  <a:lnTo>
                    <a:pt x="271" y="244"/>
                  </a:lnTo>
                  <a:lnTo>
                    <a:pt x="270" y="246"/>
                  </a:lnTo>
                  <a:lnTo>
                    <a:pt x="275" y="250"/>
                  </a:lnTo>
                  <a:lnTo>
                    <a:pt x="272" y="250"/>
                  </a:lnTo>
                  <a:lnTo>
                    <a:pt x="269" y="248"/>
                  </a:lnTo>
                  <a:lnTo>
                    <a:pt x="268" y="249"/>
                  </a:lnTo>
                  <a:lnTo>
                    <a:pt x="271" y="250"/>
                  </a:lnTo>
                  <a:lnTo>
                    <a:pt x="270" y="252"/>
                  </a:lnTo>
                  <a:lnTo>
                    <a:pt x="274" y="253"/>
                  </a:lnTo>
                  <a:lnTo>
                    <a:pt x="275" y="254"/>
                  </a:lnTo>
                  <a:lnTo>
                    <a:pt x="272" y="255"/>
                  </a:lnTo>
                  <a:lnTo>
                    <a:pt x="276" y="255"/>
                  </a:lnTo>
                  <a:lnTo>
                    <a:pt x="277" y="254"/>
                  </a:lnTo>
                  <a:lnTo>
                    <a:pt x="278" y="254"/>
                  </a:lnTo>
                  <a:lnTo>
                    <a:pt x="278" y="255"/>
                  </a:lnTo>
                  <a:lnTo>
                    <a:pt x="276" y="258"/>
                  </a:lnTo>
                  <a:lnTo>
                    <a:pt x="277" y="258"/>
                  </a:lnTo>
                  <a:lnTo>
                    <a:pt x="281" y="255"/>
                  </a:lnTo>
                  <a:lnTo>
                    <a:pt x="284" y="256"/>
                  </a:lnTo>
                  <a:lnTo>
                    <a:pt x="281" y="258"/>
                  </a:lnTo>
                  <a:lnTo>
                    <a:pt x="278" y="259"/>
                  </a:lnTo>
                  <a:lnTo>
                    <a:pt x="276" y="261"/>
                  </a:lnTo>
                  <a:lnTo>
                    <a:pt x="277" y="262"/>
                  </a:lnTo>
                  <a:lnTo>
                    <a:pt x="278" y="261"/>
                  </a:lnTo>
                  <a:lnTo>
                    <a:pt x="280" y="260"/>
                  </a:lnTo>
                  <a:lnTo>
                    <a:pt x="281" y="260"/>
                  </a:lnTo>
                  <a:lnTo>
                    <a:pt x="283" y="260"/>
                  </a:lnTo>
                  <a:lnTo>
                    <a:pt x="284" y="260"/>
                  </a:lnTo>
                  <a:lnTo>
                    <a:pt x="284" y="262"/>
                  </a:lnTo>
                  <a:lnTo>
                    <a:pt x="287" y="262"/>
                  </a:lnTo>
                  <a:lnTo>
                    <a:pt x="289" y="262"/>
                  </a:lnTo>
                  <a:lnTo>
                    <a:pt x="290" y="262"/>
                  </a:lnTo>
                  <a:lnTo>
                    <a:pt x="289" y="264"/>
                  </a:lnTo>
                  <a:lnTo>
                    <a:pt x="287" y="265"/>
                  </a:lnTo>
                  <a:lnTo>
                    <a:pt x="282" y="270"/>
                  </a:lnTo>
                  <a:lnTo>
                    <a:pt x="277" y="271"/>
                  </a:lnTo>
                  <a:lnTo>
                    <a:pt x="271" y="272"/>
                  </a:lnTo>
                  <a:lnTo>
                    <a:pt x="276" y="273"/>
                  </a:lnTo>
                  <a:lnTo>
                    <a:pt x="276" y="274"/>
                  </a:lnTo>
                  <a:lnTo>
                    <a:pt x="268" y="279"/>
                  </a:lnTo>
                  <a:lnTo>
                    <a:pt x="269" y="279"/>
                  </a:lnTo>
                  <a:lnTo>
                    <a:pt x="277" y="276"/>
                  </a:lnTo>
                  <a:lnTo>
                    <a:pt x="278" y="276"/>
                  </a:lnTo>
                  <a:lnTo>
                    <a:pt x="277" y="277"/>
                  </a:lnTo>
                  <a:lnTo>
                    <a:pt x="277" y="280"/>
                  </a:lnTo>
                  <a:lnTo>
                    <a:pt x="278" y="279"/>
                  </a:lnTo>
                  <a:lnTo>
                    <a:pt x="278" y="274"/>
                  </a:lnTo>
                  <a:lnTo>
                    <a:pt x="281" y="274"/>
                  </a:lnTo>
                  <a:lnTo>
                    <a:pt x="286" y="282"/>
                  </a:lnTo>
                  <a:lnTo>
                    <a:pt x="287" y="280"/>
                  </a:lnTo>
                  <a:lnTo>
                    <a:pt x="286" y="278"/>
                  </a:lnTo>
                  <a:lnTo>
                    <a:pt x="288" y="278"/>
                  </a:lnTo>
                  <a:lnTo>
                    <a:pt x="289" y="279"/>
                  </a:lnTo>
                  <a:lnTo>
                    <a:pt x="289" y="280"/>
                  </a:lnTo>
                  <a:lnTo>
                    <a:pt x="287" y="283"/>
                  </a:lnTo>
                  <a:lnTo>
                    <a:pt x="287" y="284"/>
                  </a:lnTo>
                  <a:lnTo>
                    <a:pt x="284" y="284"/>
                  </a:lnTo>
                  <a:lnTo>
                    <a:pt x="282" y="285"/>
                  </a:lnTo>
                  <a:lnTo>
                    <a:pt x="281" y="288"/>
                  </a:lnTo>
                  <a:lnTo>
                    <a:pt x="282" y="290"/>
                  </a:lnTo>
                  <a:lnTo>
                    <a:pt x="278" y="291"/>
                  </a:lnTo>
                  <a:lnTo>
                    <a:pt x="278" y="295"/>
                  </a:lnTo>
                  <a:lnTo>
                    <a:pt x="276" y="296"/>
                  </a:lnTo>
                  <a:lnTo>
                    <a:pt x="274" y="296"/>
                  </a:lnTo>
                  <a:lnTo>
                    <a:pt x="272" y="295"/>
                  </a:lnTo>
                  <a:lnTo>
                    <a:pt x="272" y="296"/>
                  </a:lnTo>
                  <a:lnTo>
                    <a:pt x="274" y="297"/>
                  </a:lnTo>
                  <a:lnTo>
                    <a:pt x="272" y="298"/>
                  </a:lnTo>
                  <a:lnTo>
                    <a:pt x="269" y="300"/>
                  </a:lnTo>
                  <a:lnTo>
                    <a:pt x="269" y="298"/>
                  </a:lnTo>
                  <a:lnTo>
                    <a:pt x="268" y="300"/>
                  </a:lnTo>
                  <a:lnTo>
                    <a:pt x="266" y="300"/>
                  </a:lnTo>
                  <a:lnTo>
                    <a:pt x="264" y="300"/>
                  </a:lnTo>
                  <a:lnTo>
                    <a:pt x="263" y="301"/>
                  </a:lnTo>
                  <a:lnTo>
                    <a:pt x="261" y="301"/>
                  </a:lnTo>
                  <a:lnTo>
                    <a:pt x="260" y="302"/>
                  </a:lnTo>
                  <a:lnTo>
                    <a:pt x="264" y="302"/>
                  </a:lnTo>
                  <a:lnTo>
                    <a:pt x="264" y="303"/>
                  </a:lnTo>
                  <a:lnTo>
                    <a:pt x="263" y="304"/>
                  </a:lnTo>
                  <a:lnTo>
                    <a:pt x="261" y="308"/>
                  </a:lnTo>
                  <a:lnTo>
                    <a:pt x="263" y="308"/>
                  </a:lnTo>
                  <a:lnTo>
                    <a:pt x="264" y="308"/>
                  </a:lnTo>
                  <a:lnTo>
                    <a:pt x="266" y="306"/>
                  </a:lnTo>
                  <a:lnTo>
                    <a:pt x="266" y="309"/>
                  </a:lnTo>
                  <a:lnTo>
                    <a:pt x="268" y="303"/>
                  </a:lnTo>
                  <a:lnTo>
                    <a:pt x="269" y="302"/>
                  </a:lnTo>
                  <a:lnTo>
                    <a:pt x="269" y="304"/>
                  </a:lnTo>
                  <a:lnTo>
                    <a:pt x="270" y="302"/>
                  </a:lnTo>
                  <a:lnTo>
                    <a:pt x="271" y="302"/>
                  </a:lnTo>
                  <a:lnTo>
                    <a:pt x="274" y="301"/>
                  </a:lnTo>
                  <a:lnTo>
                    <a:pt x="274" y="302"/>
                  </a:lnTo>
                  <a:lnTo>
                    <a:pt x="274" y="303"/>
                  </a:lnTo>
                  <a:lnTo>
                    <a:pt x="272" y="304"/>
                  </a:lnTo>
                  <a:lnTo>
                    <a:pt x="274" y="307"/>
                  </a:lnTo>
                  <a:lnTo>
                    <a:pt x="274" y="310"/>
                  </a:lnTo>
                  <a:lnTo>
                    <a:pt x="275" y="312"/>
                  </a:lnTo>
                  <a:lnTo>
                    <a:pt x="276" y="313"/>
                  </a:lnTo>
                  <a:lnTo>
                    <a:pt x="276" y="309"/>
                  </a:lnTo>
                  <a:lnTo>
                    <a:pt x="276" y="306"/>
                  </a:lnTo>
                  <a:lnTo>
                    <a:pt x="277" y="306"/>
                  </a:lnTo>
                  <a:lnTo>
                    <a:pt x="278" y="307"/>
                  </a:lnTo>
                  <a:lnTo>
                    <a:pt x="278" y="312"/>
                  </a:lnTo>
                  <a:lnTo>
                    <a:pt x="280" y="312"/>
                  </a:lnTo>
                  <a:lnTo>
                    <a:pt x="282" y="308"/>
                  </a:lnTo>
                  <a:lnTo>
                    <a:pt x="283" y="306"/>
                  </a:lnTo>
                  <a:lnTo>
                    <a:pt x="284" y="304"/>
                  </a:lnTo>
                  <a:lnTo>
                    <a:pt x="284" y="306"/>
                  </a:lnTo>
                  <a:lnTo>
                    <a:pt x="287" y="306"/>
                  </a:lnTo>
                  <a:lnTo>
                    <a:pt x="288" y="306"/>
                  </a:lnTo>
                  <a:lnTo>
                    <a:pt x="289" y="304"/>
                  </a:lnTo>
                  <a:lnTo>
                    <a:pt x="288" y="303"/>
                  </a:lnTo>
                  <a:lnTo>
                    <a:pt x="288" y="300"/>
                  </a:lnTo>
                  <a:lnTo>
                    <a:pt x="289" y="298"/>
                  </a:lnTo>
                  <a:lnTo>
                    <a:pt x="292" y="302"/>
                  </a:lnTo>
                  <a:lnTo>
                    <a:pt x="293" y="303"/>
                  </a:lnTo>
                  <a:lnTo>
                    <a:pt x="295" y="303"/>
                  </a:lnTo>
                  <a:lnTo>
                    <a:pt x="295" y="301"/>
                  </a:lnTo>
                  <a:lnTo>
                    <a:pt x="294" y="300"/>
                  </a:lnTo>
                  <a:lnTo>
                    <a:pt x="294" y="295"/>
                  </a:lnTo>
                  <a:lnTo>
                    <a:pt x="295" y="294"/>
                  </a:lnTo>
                  <a:lnTo>
                    <a:pt x="298" y="296"/>
                  </a:lnTo>
                  <a:lnTo>
                    <a:pt x="298" y="297"/>
                  </a:lnTo>
                  <a:lnTo>
                    <a:pt x="296" y="298"/>
                  </a:lnTo>
                  <a:lnTo>
                    <a:pt x="296" y="300"/>
                  </a:lnTo>
                  <a:lnTo>
                    <a:pt x="298" y="302"/>
                  </a:lnTo>
                  <a:lnTo>
                    <a:pt x="299" y="300"/>
                  </a:lnTo>
                  <a:lnTo>
                    <a:pt x="299" y="296"/>
                  </a:lnTo>
                  <a:lnTo>
                    <a:pt x="299" y="294"/>
                  </a:lnTo>
                  <a:lnTo>
                    <a:pt x="300" y="292"/>
                  </a:lnTo>
                  <a:lnTo>
                    <a:pt x="300" y="291"/>
                  </a:lnTo>
                  <a:lnTo>
                    <a:pt x="299" y="290"/>
                  </a:lnTo>
                  <a:lnTo>
                    <a:pt x="299" y="289"/>
                  </a:lnTo>
                  <a:lnTo>
                    <a:pt x="300" y="290"/>
                  </a:lnTo>
                  <a:lnTo>
                    <a:pt x="302" y="289"/>
                  </a:lnTo>
                  <a:lnTo>
                    <a:pt x="302" y="291"/>
                  </a:lnTo>
                  <a:lnTo>
                    <a:pt x="301" y="294"/>
                  </a:lnTo>
                  <a:lnTo>
                    <a:pt x="301" y="296"/>
                  </a:lnTo>
                  <a:lnTo>
                    <a:pt x="301" y="297"/>
                  </a:lnTo>
                  <a:lnTo>
                    <a:pt x="301" y="298"/>
                  </a:lnTo>
                  <a:lnTo>
                    <a:pt x="301" y="300"/>
                  </a:lnTo>
                  <a:lnTo>
                    <a:pt x="300" y="301"/>
                  </a:lnTo>
                  <a:lnTo>
                    <a:pt x="299" y="302"/>
                  </a:lnTo>
                  <a:lnTo>
                    <a:pt x="296" y="304"/>
                  </a:lnTo>
                  <a:lnTo>
                    <a:pt x="293" y="307"/>
                  </a:lnTo>
                  <a:lnTo>
                    <a:pt x="290" y="309"/>
                  </a:lnTo>
                  <a:lnTo>
                    <a:pt x="289" y="310"/>
                  </a:lnTo>
                  <a:lnTo>
                    <a:pt x="288" y="310"/>
                  </a:lnTo>
                  <a:lnTo>
                    <a:pt x="287" y="308"/>
                  </a:lnTo>
                  <a:lnTo>
                    <a:pt x="287" y="310"/>
                  </a:lnTo>
                  <a:lnTo>
                    <a:pt x="283" y="314"/>
                  </a:lnTo>
                  <a:lnTo>
                    <a:pt x="281" y="315"/>
                  </a:lnTo>
                  <a:lnTo>
                    <a:pt x="278" y="315"/>
                  </a:lnTo>
                  <a:lnTo>
                    <a:pt x="276" y="315"/>
                  </a:lnTo>
                  <a:lnTo>
                    <a:pt x="275" y="314"/>
                  </a:lnTo>
                  <a:lnTo>
                    <a:pt x="272" y="314"/>
                  </a:lnTo>
                  <a:lnTo>
                    <a:pt x="271" y="314"/>
                  </a:lnTo>
                  <a:lnTo>
                    <a:pt x="269" y="314"/>
                  </a:lnTo>
                  <a:lnTo>
                    <a:pt x="265" y="313"/>
                  </a:lnTo>
                  <a:lnTo>
                    <a:pt x="263" y="310"/>
                  </a:lnTo>
                  <a:lnTo>
                    <a:pt x="260" y="308"/>
                  </a:lnTo>
                  <a:lnTo>
                    <a:pt x="259" y="307"/>
                  </a:lnTo>
                  <a:lnTo>
                    <a:pt x="255" y="304"/>
                  </a:lnTo>
                  <a:lnTo>
                    <a:pt x="254" y="301"/>
                  </a:lnTo>
                  <a:lnTo>
                    <a:pt x="257" y="300"/>
                  </a:lnTo>
                  <a:lnTo>
                    <a:pt x="255" y="298"/>
                  </a:lnTo>
                  <a:lnTo>
                    <a:pt x="253" y="301"/>
                  </a:lnTo>
                  <a:lnTo>
                    <a:pt x="252" y="300"/>
                  </a:lnTo>
                  <a:lnTo>
                    <a:pt x="257" y="294"/>
                  </a:lnTo>
                  <a:lnTo>
                    <a:pt x="255" y="294"/>
                  </a:lnTo>
                  <a:lnTo>
                    <a:pt x="253" y="294"/>
                  </a:lnTo>
                  <a:lnTo>
                    <a:pt x="251" y="294"/>
                  </a:lnTo>
                  <a:lnTo>
                    <a:pt x="252" y="296"/>
                  </a:lnTo>
                  <a:lnTo>
                    <a:pt x="251" y="297"/>
                  </a:lnTo>
                  <a:lnTo>
                    <a:pt x="241" y="288"/>
                  </a:lnTo>
                  <a:lnTo>
                    <a:pt x="240" y="288"/>
                  </a:lnTo>
                  <a:lnTo>
                    <a:pt x="242" y="291"/>
                  </a:lnTo>
                  <a:lnTo>
                    <a:pt x="241" y="291"/>
                  </a:lnTo>
                  <a:lnTo>
                    <a:pt x="234" y="290"/>
                  </a:lnTo>
                  <a:lnTo>
                    <a:pt x="234" y="291"/>
                  </a:lnTo>
                  <a:lnTo>
                    <a:pt x="240" y="292"/>
                  </a:lnTo>
                  <a:lnTo>
                    <a:pt x="239" y="294"/>
                  </a:lnTo>
                  <a:lnTo>
                    <a:pt x="241" y="295"/>
                  </a:lnTo>
                  <a:lnTo>
                    <a:pt x="240" y="297"/>
                  </a:lnTo>
                  <a:lnTo>
                    <a:pt x="242" y="296"/>
                  </a:lnTo>
                  <a:lnTo>
                    <a:pt x="243" y="296"/>
                  </a:lnTo>
                  <a:lnTo>
                    <a:pt x="247" y="297"/>
                  </a:lnTo>
                  <a:lnTo>
                    <a:pt x="247" y="298"/>
                  </a:lnTo>
                  <a:lnTo>
                    <a:pt x="241" y="302"/>
                  </a:lnTo>
                  <a:lnTo>
                    <a:pt x="242" y="302"/>
                  </a:lnTo>
                  <a:lnTo>
                    <a:pt x="247" y="301"/>
                  </a:lnTo>
                  <a:lnTo>
                    <a:pt x="247" y="302"/>
                  </a:lnTo>
                  <a:lnTo>
                    <a:pt x="247" y="304"/>
                  </a:lnTo>
                  <a:lnTo>
                    <a:pt x="249" y="303"/>
                  </a:lnTo>
                  <a:lnTo>
                    <a:pt x="252" y="303"/>
                  </a:lnTo>
                  <a:lnTo>
                    <a:pt x="252" y="306"/>
                  </a:lnTo>
                  <a:lnTo>
                    <a:pt x="253" y="306"/>
                  </a:lnTo>
                  <a:lnTo>
                    <a:pt x="247" y="312"/>
                  </a:lnTo>
                  <a:lnTo>
                    <a:pt x="253" y="308"/>
                  </a:lnTo>
                  <a:lnTo>
                    <a:pt x="255" y="307"/>
                  </a:lnTo>
                  <a:lnTo>
                    <a:pt x="257" y="308"/>
                  </a:lnTo>
                  <a:lnTo>
                    <a:pt x="252" y="310"/>
                  </a:lnTo>
                  <a:lnTo>
                    <a:pt x="249" y="313"/>
                  </a:lnTo>
                  <a:lnTo>
                    <a:pt x="247" y="313"/>
                  </a:lnTo>
                  <a:lnTo>
                    <a:pt x="251" y="317"/>
                  </a:lnTo>
                  <a:lnTo>
                    <a:pt x="247" y="319"/>
                  </a:lnTo>
                  <a:lnTo>
                    <a:pt x="247" y="320"/>
                  </a:lnTo>
                  <a:lnTo>
                    <a:pt x="249" y="323"/>
                  </a:lnTo>
                  <a:lnTo>
                    <a:pt x="247" y="326"/>
                  </a:lnTo>
                  <a:lnTo>
                    <a:pt x="251" y="329"/>
                  </a:lnTo>
                  <a:lnTo>
                    <a:pt x="253" y="326"/>
                  </a:lnTo>
                  <a:lnTo>
                    <a:pt x="253" y="325"/>
                  </a:lnTo>
                  <a:lnTo>
                    <a:pt x="254" y="324"/>
                  </a:lnTo>
                  <a:lnTo>
                    <a:pt x="254" y="320"/>
                  </a:lnTo>
                  <a:lnTo>
                    <a:pt x="255" y="319"/>
                  </a:lnTo>
                  <a:lnTo>
                    <a:pt x="257" y="319"/>
                  </a:lnTo>
                  <a:lnTo>
                    <a:pt x="257" y="321"/>
                  </a:lnTo>
                  <a:lnTo>
                    <a:pt x="257" y="324"/>
                  </a:lnTo>
                  <a:lnTo>
                    <a:pt x="257" y="326"/>
                  </a:lnTo>
                  <a:lnTo>
                    <a:pt x="259" y="327"/>
                  </a:lnTo>
                  <a:lnTo>
                    <a:pt x="259" y="330"/>
                  </a:lnTo>
                  <a:lnTo>
                    <a:pt x="257" y="330"/>
                  </a:lnTo>
                  <a:lnTo>
                    <a:pt x="257" y="327"/>
                  </a:lnTo>
                  <a:lnTo>
                    <a:pt x="254" y="330"/>
                  </a:lnTo>
                  <a:lnTo>
                    <a:pt x="253" y="331"/>
                  </a:lnTo>
                  <a:lnTo>
                    <a:pt x="252" y="331"/>
                  </a:lnTo>
                  <a:lnTo>
                    <a:pt x="247" y="330"/>
                  </a:lnTo>
                  <a:lnTo>
                    <a:pt x="247" y="331"/>
                  </a:lnTo>
                  <a:lnTo>
                    <a:pt x="242" y="335"/>
                  </a:lnTo>
                  <a:lnTo>
                    <a:pt x="243" y="335"/>
                  </a:lnTo>
                  <a:lnTo>
                    <a:pt x="247" y="335"/>
                  </a:lnTo>
                  <a:lnTo>
                    <a:pt x="251" y="333"/>
                  </a:lnTo>
                  <a:lnTo>
                    <a:pt x="251" y="336"/>
                  </a:lnTo>
                  <a:lnTo>
                    <a:pt x="247" y="337"/>
                  </a:lnTo>
                  <a:lnTo>
                    <a:pt x="247" y="338"/>
                  </a:lnTo>
                  <a:lnTo>
                    <a:pt x="251" y="338"/>
                  </a:lnTo>
                  <a:lnTo>
                    <a:pt x="252" y="339"/>
                  </a:lnTo>
                  <a:lnTo>
                    <a:pt x="253" y="339"/>
                  </a:lnTo>
                  <a:lnTo>
                    <a:pt x="253" y="337"/>
                  </a:lnTo>
                  <a:lnTo>
                    <a:pt x="255" y="337"/>
                  </a:lnTo>
                  <a:lnTo>
                    <a:pt x="253" y="343"/>
                  </a:lnTo>
                  <a:lnTo>
                    <a:pt x="254" y="343"/>
                  </a:lnTo>
                  <a:lnTo>
                    <a:pt x="257" y="341"/>
                  </a:lnTo>
                  <a:lnTo>
                    <a:pt x="258" y="342"/>
                  </a:lnTo>
                  <a:lnTo>
                    <a:pt x="259" y="342"/>
                  </a:lnTo>
                  <a:lnTo>
                    <a:pt x="259" y="339"/>
                  </a:lnTo>
                  <a:lnTo>
                    <a:pt x="260" y="339"/>
                  </a:lnTo>
                  <a:lnTo>
                    <a:pt x="260" y="342"/>
                  </a:lnTo>
                  <a:lnTo>
                    <a:pt x="261" y="342"/>
                  </a:lnTo>
                  <a:lnTo>
                    <a:pt x="263" y="338"/>
                  </a:lnTo>
                  <a:lnTo>
                    <a:pt x="264" y="342"/>
                  </a:lnTo>
                  <a:lnTo>
                    <a:pt x="265" y="342"/>
                  </a:lnTo>
                  <a:lnTo>
                    <a:pt x="266" y="344"/>
                  </a:lnTo>
                  <a:lnTo>
                    <a:pt x="266" y="348"/>
                  </a:lnTo>
                  <a:lnTo>
                    <a:pt x="261" y="348"/>
                  </a:lnTo>
                  <a:lnTo>
                    <a:pt x="261" y="349"/>
                  </a:lnTo>
                  <a:lnTo>
                    <a:pt x="264" y="349"/>
                  </a:lnTo>
                  <a:lnTo>
                    <a:pt x="264" y="351"/>
                  </a:lnTo>
                  <a:lnTo>
                    <a:pt x="257" y="351"/>
                  </a:lnTo>
                  <a:lnTo>
                    <a:pt x="258" y="353"/>
                  </a:lnTo>
                  <a:lnTo>
                    <a:pt x="257" y="354"/>
                  </a:lnTo>
                  <a:lnTo>
                    <a:pt x="255" y="354"/>
                  </a:lnTo>
                  <a:lnTo>
                    <a:pt x="254" y="353"/>
                  </a:lnTo>
                  <a:lnTo>
                    <a:pt x="253" y="359"/>
                  </a:lnTo>
                  <a:lnTo>
                    <a:pt x="247" y="363"/>
                  </a:lnTo>
                  <a:lnTo>
                    <a:pt x="247" y="361"/>
                  </a:lnTo>
                  <a:lnTo>
                    <a:pt x="243" y="361"/>
                  </a:lnTo>
                  <a:lnTo>
                    <a:pt x="245" y="363"/>
                  </a:lnTo>
                  <a:lnTo>
                    <a:pt x="242" y="362"/>
                  </a:lnTo>
                  <a:lnTo>
                    <a:pt x="240" y="361"/>
                  </a:lnTo>
                  <a:lnTo>
                    <a:pt x="237" y="361"/>
                  </a:lnTo>
                  <a:lnTo>
                    <a:pt x="235" y="362"/>
                  </a:lnTo>
                  <a:lnTo>
                    <a:pt x="240" y="363"/>
                  </a:lnTo>
                  <a:lnTo>
                    <a:pt x="240" y="366"/>
                  </a:lnTo>
                  <a:lnTo>
                    <a:pt x="239" y="368"/>
                  </a:lnTo>
                  <a:lnTo>
                    <a:pt x="240" y="368"/>
                  </a:lnTo>
                  <a:lnTo>
                    <a:pt x="241" y="366"/>
                  </a:lnTo>
                  <a:lnTo>
                    <a:pt x="242" y="365"/>
                  </a:lnTo>
                  <a:lnTo>
                    <a:pt x="243" y="365"/>
                  </a:lnTo>
                  <a:lnTo>
                    <a:pt x="241" y="367"/>
                  </a:lnTo>
                  <a:lnTo>
                    <a:pt x="241" y="368"/>
                  </a:lnTo>
                  <a:lnTo>
                    <a:pt x="242" y="368"/>
                  </a:lnTo>
                  <a:lnTo>
                    <a:pt x="243" y="367"/>
                  </a:lnTo>
                  <a:lnTo>
                    <a:pt x="247" y="368"/>
                  </a:lnTo>
                  <a:lnTo>
                    <a:pt x="243" y="369"/>
                  </a:lnTo>
                  <a:lnTo>
                    <a:pt x="242" y="372"/>
                  </a:lnTo>
                  <a:lnTo>
                    <a:pt x="243" y="373"/>
                  </a:lnTo>
                  <a:lnTo>
                    <a:pt x="243" y="375"/>
                  </a:lnTo>
                  <a:lnTo>
                    <a:pt x="243" y="378"/>
                  </a:lnTo>
                  <a:lnTo>
                    <a:pt x="241" y="381"/>
                  </a:lnTo>
                  <a:lnTo>
                    <a:pt x="241" y="383"/>
                  </a:lnTo>
                  <a:lnTo>
                    <a:pt x="240" y="383"/>
                  </a:lnTo>
                  <a:lnTo>
                    <a:pt x="237" y="381"/>
                  </a:lnTo>
                  <a:lnTo>
                    <a:pt x="236" y="384"/>
                  </a:lnTo>
                  <a:lnTo>
                    <a:pt x="233" y="387"/>
                  </a:lnTo>
                  <a:lnTo>
                    <a:pt x="229" y="385"/>
                  </a:lnTo>
                  <a:lnTo>
                    <a:pt x="231" y="389"/>
                  </a:lnTo>
                  <a:lnTo>
                    <a:pt x="225" y="396"/>
                  </a:lnTo>
                  <a:lnTo>
                    <a:pt x="225" y="397"/>
                  </a:lnTo>
                  <a:lnTo>
                    <a:pt x="223" y="398"/>
                  </a:lnTo>
                  <a:lnTo>
                    <a:pt x="218" y="403"/>
                  </a:lnTo>
                  <a:lnTo>
                    <a:pt x="216" y="404"/>
                  </a:lnTo>
                  <a:lnTo>
                    <a:pt x="212" y="405"/>
                  </a:lnTo>
                  <a:lnTo>
                    <a:pt x="213" y="407"/>
                  </a:lnTo>
                  <a:lnTo>
                    <a:pt x="212" y="408"/>
                  </a:lnTo>
                  <a:lnTo>
                    <a:pt x="213" y="409"/>
                  </a:lnTo>
                  <a:lnTo>
                    <a:pt x="207" y="411"/>
                  </a:lnTo>
                  <a:lnTo>
                    <a:pt x="207" y="413"/>
                  </a:lnTo>
                  <a:lnTo>
                    <a:pt x="216" y="410"/>
                  </a:lnTo>
                  <a:lnTo>
                    <a:pt x="217" y="410"/>
                  </a:lnTo>
                  <a:lnTo>
                    <a:pt x="207" y="417"/>
                  </a:lnTo>
                  <a:lnTo>
                    <a:pt x="206" y="416"/>
                  </a:lnTo>
                  <a:lnTo>
                    <a:pt x="206" y="420"/>
                  </a:lnTo>
                  <a:lnTo>
                    <a:pt x="200" y="421"/>
                  </a:lnTo>
                  <a:lnTo>
                    <a:pt x="204" y="422"/>
                  </a:lnTo>
                  <a:lnTo>
                    <a:pt x="202" y="425"/>
                  </a:lnTo>
                  <a:lnTo>
                    <a:pt x="198" y="425"/>
                  </a:lnTo>
                  <a:lnTo>
                    <a:pt x="193" y="428"/>
                  </a:lnTo>
                  <a:lnTo>
                    <a:pt x="190" y="430"/>
                  </a:lnTo>
                  <a:lnTo>
                    <a:pt x="194" y="431"/>
                  </a:lnTo>
                  <a:lnTo>
                    <a:pt x="188" y="437"/>
                  </a:lnTo>
                  <a:lnTo>
                    <a:pt x="188" y="438"/>
                  </a:lnTo>
                  <a:lnTo>
                    <a:pt x="194" y="433"/>
                  </a:lnTo>
                  <a:lnTo>
                    <a:pt x="195" y="434"/>
                  </a:lnTo>
                  <a:lnTo>
                    <a:pt x="196" y="434"/>
                  </a:lnTo>
                  <a:lnTo>
                    <a:pt x="198" y="433"/>
                  </a:lnTo>
                  <a:lnTo>
                    <a:pt x="198" y="437"/>
                  </a:lnTo>
                  <a:lnTo>
                    <a:pt x="199" y="437"/>
                  </a:lnTo>
                  <a:lnTo>
                    <a:pt x="199" y="433"/>
                  </a:lnTo>
                  <a:lnTo>
                    <a:pt x="199" y="432"/>
                  </a:lnTo>
                  <a:lnTo>
                    <a:pt x="200" y="431"/>
                  </a:lnTo>
                  <a:lnTo>
                    <a:pt x="201" y="430"/>
                  </a:lnTo>
                  <a:lnTo>
                    <a:pt x="201" y="427"/>
                  </a:lnTo>
                  <a:lnTo>
                    <a:pt x="202" y="428"/>
                  </a:lnTo>
                  <a:lnTo>
                    <a:pt x="204" y="431"/>
                  </a:lnTo>
                  <a:lnTo>
                    <a:pt x="205" y="425"/>
                  </a:lnTo>
                  <a:lnTo>
                    <a:pt x="206" y="425"/>
                  </a:lnTo>
                  <a:lnTo>
                    <a:pt x="206" y="437"/>
                  </a:lnTo>
                  <a:lnTo>
                    <a:pt x="207" y="438"/>
                  </a:lnTo>
                  <a:lnTo>
                    <a:pt x="209" y="434"/>
                  </a:lnTo>
                  <a:lnTo>
                    <a:pt x="211" y="434"/>
                  </a:lnTo>
                  <a:lnTo>
                    <a:pt x="211" y="438"/>
                  </a:lnTo>
                  <a:lnTo>
                    <a:pt x="212" y="437"/>
                  </a:lnTo>
                  <a:lnTo>
                    <a:pt x="215" y="437"/>
                  </a:lnTo>
                  <a:lnTo>
                    <a:pt x="215" y="433"/>
                  </a:lnTo>
                  <a:lnTo>
                    <a:pt x="215" y="431"/>
                  </a:lnTo>
                  <a:lnTo>
                    <a:pt x="215" y="427"/>
                  </a:lnTo>
                  <a:lnTo>
                    <a:pt x="216" y="428"/>
                  </a:lnTo>
                  <a:lnTo>
                    <a:pt x="217" y="428"/>
                  </a:lnTo>
                  <a:lnTo>
                    <a:pt x="218" y="422"/>
                  </a:lnTo>
                  <a:lnTo>
                    <a:pt x="221" y="422"/>
                  </a:lnTo>
                  <a:lnTo>
                    <a:pt x="222" y="422"/>
                  </a:lnTo>
                  <a:lnTo>
                    <a:pt x="223" y="425"/>
                  </a:lnTo>
                  <a:lnTo>
                    <a:pt x="224" y="426"/>
                  </a:lnTo>
                  <a:lnTo>
                    <a:pt x="225" y="426"/>
                  </a:lnTo>
                  <a:lnTo>
                    <a:pt x="227" y="422"/>
                  </a:lnTo>
                  <a:lnTo>
                    <a:pt x="227" y="420"/>
                  </a:lnTo>
                  <a:lnTo>
                    <a:pt x="228" y="417"/>
                  </a:lnTo>
                  <a:lnTo>
                    <a:pt x="228" y="420"/>
                  </a:lnTo>
                  <a:lnTo>
                    <a:pt x="229" y="421"/>
                  </a:lnTo>
                  <a:lnTo>
                    <a:pt x="230" y="420"/>
                  </a:lnTo>
                  <a:lnTo>
                    <a:pt x="231" y="420"/>
                  </a:lnTo>
                  <a:lnTo>
                    <a:pt x="231" y="421"/>
                  </a:lnTo>
                  <a:lnTo>
                    <a:pt x="231" y="424"/>
                  </a:lnTo>
                  <a:lnTo>
                    <a:pt x="227" y="428"/>
                  </a:lnTo>
                  <a:lnTo>
                    <a:pt x="222" y="430"/>
                  </a:lnTo>
                  <a:lnTo>
                    <a:pt x="225" y="431"/>
                  </a:lnTo>
                  <a:lnTo>
                    <a:pt x="222" y="436"/>
                  </a:lnTo>
                  <a:lnTo>
                    <a:pt x="219" y="437"/>
                  </a:lnTo>
                  <a:lnTo>
                    <a:pt x="217" y="442"/>
                  </a:lnTo>
                  <a:lnTo>
                    <a:pt x="211" y="446"/>
                  </a:lnTo>
                  <a:lnTo>
                    <a:pt x="211" y="448"/>
                  </a:lnTo>
                  <a:lnTo>
                    <a:pt x="205" y="451"/>
                  </a:lnTo>
                  <a:lnTo>
                    <a:pt x="206" y="452"/>
                  </a:lnTo>
                  <a:lnTo>
                    <a:pt x="210" y="450"/>
                  </a:lnTo>
                  <a:lnTo>
                    <a:pt x="210" y="452"/>
                  </a:lnTo>
                  <a:lnTo>
                    <a:pt x="205" y="457"/>
                  </a:lnTo>
                  <a:lnTo>
                    <a:pt x="211" y="452"/>
                  </a:lnTo>
                  <a:lnTo>
                    <a:pt x="212" y="452"/>
                  </a:lnTo>
                  <a:lnTo>
                    <a:pt x="213" y="457"/>
                  </a:lnTo>
                  <a:lnTo>
                    <a:pt x="212" y="451"/>
                  </a:lnTo>
                  <a:lnTo>
                    <a:pt x="213" y="449"/>
                  </a:lnTo>
                  <a:lnTo>
                    <a:pt x="217" y="452"/>
                  </a:lnTo>
                  <a:lnTo>
                    <a:pt x="216" y="448"/>
                  </a:lnTo>
                  <a:lnTo>
                    <a:pt x="217" y="446"/>
                  </a:lnTo>
                  <a:lnTo>
                    <a:pt x="218" y="450"/>
                  </a:lnTo>
                  <a:lnTo>
                    <a:pt x="219" y="452"/>
                  </a:lnTo>
                  <a:lnTo>
                    <a:pt x="221" y="444"/>
                  </a:lnTo>
                  <a:lnTo>
                    <a:pt x="222" y="452"/>
                  </a:lnTo>
                  <a:lnTo>
                    <a:pt x="222" y="455"/>
                  </a:lnTo>
                  <a:lnTo>
                    <a:pt x="224" y="455"/>
                  </a:lnTo>
                  <a:lnTo>
                    <a:pt x="224" y="452"/>
                  </a:lnTo>
                  <a:lnTo>
                    <a:pt x="223" y="445"/>
                  </a:lnTo>
                  <a:lnTo>
                    <a:pt x="224" y="445"/>
                  </a:lnTo>
                  <a:lnTo>
                    <a:pt x="225" y="448"/>
                  </a:lnTo>
                  <a:lnTo>
                    <a:pt x="227" y="446"/>
                  </a:lnTo>
                  <a:lnTo>
                    <a:pt x="224" y="437"/>
                  </a:lnTo>
                  <a:lnTo>
                    <a:pt x="225" y="434"/>
                  </a:lnTo>
                  <a:lnTo>
                    <a:pt x="227" y="439"/>
                  </a:lnTo>
                  <a:lnTo>
                    <a:pt x="228" y="444"/>
                  </a:lnTo>
                  <a:lnTo>
                    <a:pt x="229" y="444"/>
                  </a:lnTo>
                  <a:lnTo>
                    <a:pt x="228" y="434"/>
                  </a:lnTo>
                  <a:lnTo>
                    <a:pt x="228" y="433"/>
                  </a:lnTo>
                  <a:lnTo>
                    <a:pt x="229" y="438"/>
                  </a:lnTo>
                  <a:lnTo>
                    <a:pt x="229" y="440"/>
                  </a:lnTo>
                  <a:lnTo>
                    <a:pt x="230" y="440"/>
                  </a:lnTo>
                  <a:lnTo>
                    <a:pt x="229" y="430"/>
                  </a:lnTo>
                  <a:lnTo>
                    <a:pt x="230" y="428"/>
                  </a:lnTo>
                  <a:lnTo>
                    <a:pt x="231" y="438"/>
                  </a:lnTo>
                  <a:lnTo>
                    <a:pt x="231" y="440"/>
                  </a:lnTo>
                  <a:lnTo>
                    <a:pt x="233" y="442"/>
                  </a:lnTo>
                  <a:lnTo>
                    <a:pt x="235" y="443"/>
                  </a:lnTo>
                  <a:lnTo>
                    <a:pt x="236" y="442"/>
                  </a:lnTo>
                  <a:lnTo>
                    <a:pt x="237" y="434"/>
                  </a:lnTo>
                  <a:lnTo>
                    <a:pt x="237" y="432"/>
                  </a:lnTo>
                  <a:lnTo>
                    <a:pt x="239" y="432"/>
                  </a:lnTo>
                  <a:lnTo>
                    <a:pt x="242" y="432"/>
                  </a:lnTo>
                  <a:lnTo>
                    <a:pt x="242" y="430"/>
                  </a:lnTo>
                  <a:lnTo>
                    <a:pt x="241" y="426"/>
                  </a:lnTo>
                  <a:lnTo>
                    <a:pt x="242" y="424"/>
                  </a:lnTo>
                  <a:lnTo>
                    <a:pt x="242" y="426"/>
                  </a:lnTo>
                  <a:lnTo>
                    <a:pt x="243" y="428"/>
                  </a:lnTo>
                  <a:lnTo>
                    <a:pt x="243" y="432"/>
                  </a:lnTo>
                  <a:lnTo>
                    <a:pt x="247" y="432"/>
                  </a:lnTo>
                  <a:lnTo>
                    <a:pt x="247" y="428"/>
                  </a:lnTo>
                  <a:lnTo>
                    <a:pt x="251" y="427"/>
                  </a:lnTo>
                  <a:lnTo>
                    <a:pt x="252" y="430"/>
                  </a:lnTo>
                  <a:lnTo>
                    <a:pt x="252" y="431"/>
                  </a:lnTo>
                  <a:lnTo>
                    <a:pt x="249" y="434"/>
                  </a:lnTo>
                  <a:lnTo>
                    <a:pt x="247" y="438"/>
                  </a:lnTo>
                  <a:lnTo>
                    <a:pt x="249" y="437"/>
                  </a:lnTo>
                  <a:lnTo>
                    <a:pt x="247" y="439"/>
                  </a:lnTo>
                  <a:lnTo>
                    <a:pt x="247" y="443"/>
                  </a:lnTo>
                  <a:lnTo>
                    <a:pt x="241" y="446"/>
                  </a:lnTo>
                  <a:lnTo>
                    <a:pt x="240" y="449"/>
                  </a:lnTo>
                  <a:lnTo>
                    <a:pt x="235" y="449"/>
                  </a:lnTo>
                  <a:lnTo>
                    <a:pt x="239" y="450"/>
                  </a:lnTo>
                  <a:lnTo>
                    <a:pt x="239" y="451"/>
                  </a:lnTo>
                  <a:lnTo>
                    <a:pt x="233" y="452"/>
                  </a:lnTo>
                  <a:lnTo>
                    <a:pt x="230" y="454"/>
                  </a:lnTo>
                  <a:lnTo>
                    <a:pt x="231" y="455"/>
                  </a:lnTo>
                  <a:lnTo>
                    <a:pt x="233" y="454"/>
                  </a:lnTo>
                  <a:lnTo>
                    <a:pt x="234" y="455"/>
                  </a:lnTo>
                  <a:lnTo>
                    <a:pt x="231" y="456"/>
                  </a:lnTo>
                  <a:lnTo>
                    <a:pt x="229" y="458"/>
                  </a:lnTo>
                  <a:lnTo>
                    <a:pt x="230" y="460"/>
                  </a:lnTo>
                  <a:lnTo>
                    <a:pt x="229" y="461"/>
                  </a:lnTo>
                  <a:lnTo>
                    <a:pt x="228" y="461"/>
                  </a:lnTo>
                  <a:lnTo>
                    <a:pt x="227" y="457"/>
                  </a:lnTo>
                  <a:lnTo>
                    <a:pt x="225" y="457"/>
                  </a:lnTo>
                  <a:lnTo>
                    <a:pt x="224" y="457"/>
                  </a:lnTo>
                  <a:lnTo>
                    <a:pt x="224" y="461"/>
                  </a:lnTo>
                  <a:lnTo>
                    <a:pt x="221" y="460"/>
                  </a:lnTo>
                  <a:lnTo>
                    <a:pt x="219" y="460"/>
                  </a:lnTo>
                  <a:lnTo>
                    <a:pt x="223" y="462"/>
                  </a:lnTo>
                  <a:lnTo>
                    <a:pt x="222" y="463"/>
                  </a:lnTo>
                  <a:lnTo>
                    <a:pt x="218" y="466"/>
                  </a:lnTo>
                  <a:lnTo>
                    <a:pt x="222" y="467"/>
                  </a:lnTo>
                  <a:lnTo>
                    <a:pt x="221" y="468"/>
                  </a:lnTo>
                  <a:lnTo>
                    <a:pt x="221" y="469"/>
                  </a:lnTo>
                  <a:lnTo>
                    <a:pt x="218" y="469"/>
                  </a:lnTo>
                  <a:lnTo>
                    <a:pt x="217" y="469"/>
                  </a:lnTo>
                  <a:lnTo>
                    <a:pt x="216" y="468"/>
                  </a:lnTo>
                  <a:lnTo>
                    <a:pt x="216" y="469"/>
                  </a:lnTo>
                  <a:lnTo>
                    <a:pt x="216" y="470"/>
                  </a:lnTo>
                  <a:lnTo>
                    <a:pt x="217" y="470"/>
                  </a:lnTo>
                  <a:lnTo>
                    <a:pt x="216" y="472"/>
                  </a:lnTo>
                  <a:lnTo>
                    <a:pt x="215" y="472"/>
                  </a:lnTo>
                  <a:lnTo>
                    <a:pt x="211" y="470"/>
                  </a:lnTo>
                  <a:lnTo>
                    <a:pt x="210" y="470"/>
                  </a:lnTo>
                  <a:lnTo>
                    <a:pt x="210" y="472"/>
                  </a:lnTo>
                  <a:lnTo>
                    <a:pt x="213" y="473"/>
                  </a:lnTo>
                  <a:lnTo>
                    <a:pt x="215" y="473"/>
                  </a:lnTo>
                  <a:lnTo>
                    <a:pt x="213" y="474"/>
                  </a:lnTo>
                  <a:lnTo>
                    <a:pt x="210" y="478"/>
                  </a:lnTo>
                  <a:lnTo>
                    <a:pt x="216" y="474"/>
                  </a:lnTo>
                  <a:lnTo>
                    <a:pt x="217" y="474"/>
                  </a:lnTo>
                  <a:lnTo>
                    <a:pt x="217" y="475"/>
                  </a:lnTo>
                  <a:lnTo>
                    <a:pt x="217" y="479"/>
                  </a:lnTo>
                  <a:lnTo>
                    <a:pt x="216" y="480"/>
                  </a:lnTo>
                  <a:lnTo>
                    <a:pt x="212" y="480"/>
                  </a:lnTo>
                  <a:lnTo>
                    <a:pt x="210" y="481"/>
                  </a:lnTo>
                  <a:lnTo>
                    <a:pt x="206" y="481"/>
                  </a:lnTo>
                  <a:lnTo>
                    <a:pt x="204" y="481"/>
                  </a:lnTo>
                  <a:lnTo>
                    <a:pt x="200" y="481"/>
                  </a:lnTo>
                  <a:lnTo>
                    <a:pt x="200" y="482"/>
                  </a:lnTo>
                  <a:lnTo>
                    <a:pt x="205" y="482"/>
                  </a:lnTo>
                  <a:lnTo>
                    <a:pt x="205" y="484"/>
                  </a:lnTo>
                  <a:lnTo>
                    <a:pt x="201" y="485"/>
                  </a:lnTo>
                  <a:lnTo>
                    <a:pt x="201" y="486"/>
                  </a:lnTo>
                  <a:lnTo>
                    <a:pt x="206" y="486"/>
                  </a:lnTo>
                  <a:lnTo>
                    <a:pt x="207" y="487"/>
                  </a:lnTo>
                  <a:lnTo>
                    <a:pt x="209" y="490"/>
                  </a:lnTo>
                  <a:lnTo>
                    <a:pt x="209" y="491"/>
                  </a:lnTo>
                  <a:lnTo>
                    <a:pt x="210" y="491"/>
                  </a:lnTo>
                  <a:lnTo>
                    <a:pt x="210" y="490"/>
                  </a:lnTo>
                  <a:lnTo>
                    <a:pt x="210" y="486"/>
                  </a:lnTo>
                  <a:lnTo>
                    <a:pt x="209" y="485"/>
                  </a:lnTo>
                  <a:lnTo>
                    <a:pt x="210" y="484"/>
                  </a:lnTo>
                  <a:lnTo>
                    <a:pt x="211" y="484"/>
                  </a:lnTo>
                  <a:lnTo>
                    <a:pt x="211" y="488"/>
                  </a:lnTo>
                  <a:lnTo>
                    <a:pt x="212" y="487"/>
                  </a:lnTo>
                  <a:lnTo>
                    <a:pt x="213" y="486"/>
                  </a:lnTo>
                  <a:lnTo>
                    <a:pt x="213" y="484"/>
                  </a:lnTo>
                  <a:lnTo>
                    <a:pt x="215" y="482"/>
                  </a:lnTo>
                  <a:lnTo>
                    <a:pt x="215" y="487"/>
                  </a:lnTo>
                  <a:lnTo>
                    <a:pt x="216" y="488"/>
                  </a:lnTo>
                  <a:lnTo>
                    <a:pt x="216" y="490"/>
                  </a:lnTo>
                  <a:lnTo>
                    <a:pt x="213" y="490"/>
                  </a:lnTo>
                  <a:lnTo>
                    <a:pt x="212" y="491"/>
                  </a:lnTo>
                  <a:lnTo>
                    <a:pt x="212" y="492"/>
                  </a:lnTo>
                  <a:lnTo>
                    <a:pt x="213" y="493"/>
                  </a:lnTo>
                  <a:lnTo>
                    <a:pt x="213" y="494"/>
                  </a:lnTo>
                  <a:lnTo>
                    <a:pt x="210" y="494"/>
                  </a:lnTo>
                  <a:lnTo>
                    <a:pt x="209" y="493"/>
                  </a:lnTo>
                  <a:lnTo>
                    <a:pt x="206" y="493"/>
                  </a:lnTo>
                  <a:lnTo>
                    <a:pt x="205" y="493"/>
                  </a:lnTo>
                  <a:lnTo>
                    <a:pt x="204" y="494"/>
                  </a:lnTo>
                  <a:lnTo>
                    <a:pt x="199" y="490"/>
                  </a:lnTo>
                  <a:lnTo>
                    <a:pt x="199" y="491"/>
                  </a:lnTo>
                  <a:lnTo>
                    <a:pt x="201" y="493"/>
                  </a:lnTo>
                  <a:lnTo>
                    <a:pt x="201" y="494"/>
                  </a:lnTo>
                  <a:lnTo>
                    <a:pt x="199" y="494"/>
                  </a:lnTo>
                  <a:lnTo>
                    <a:pt x="198" y="492"/>
                  </a:lnTo>
                  <a:lnTo>
                    <a:pt x="195" y="491"/>
                  </a:lnTo>
                  <a:lnTo>
                    <a:pt x="195" y="492"/>
                  </a:lnTo>
                  <a:lnTo>
                    <a:pt x="194" y="493"/>
                  </a:lnTo>
                  <a:lnTo>
                    <a:pt x="193" y="497"/>
                  </a:lnTo>
                  <a:lnTo>
                    <a:pt x="194" y="498"/>
                  </a:lnTo>
                  <a:lnTo>
                    <a:pt x="195" y="497"/>
                  </a:lnTo>
                  <a:lnTo>
                    <a:pt x="198" y="496"/>
                  </a:lnTo>
                  <a:lnTo>
                    <a:pt x="199" y="497"/>
                  </a:lnTo>
                  <a:lnTo>
                    <a:pt x="200" y="497"/>
                  </a:lnTo>
                  <a:lnTo>
                    <a:pt x="200" y="498"/>
                  </a:lnTo>
                  <a:lnTo>
                    <a:pt x="196" y="502"/>
                  </a:lnTo>
                  <a:lnTo>
                    <a:pt x="192" y="503"/>
                  </a:lnTo>
                  <a:lnTo>
                    <a:pt x="189" y="500"/>
                  </a:lnTo>
                  <a:lnTo>
                    <a:pt x="182" y="500"/>
                  </a:lnTo>
                  <a:lnTo>
                    <a:pt x="178" y="504"/>
                  </a:lnTo>
                  <a:lnTo>
                    <a:pt x="176" y="504"/>
                  </a:lnTo>
                  <a:lnTo>
                    <a:pt x="175" y="505"/>
                  </a:lnTo>
                  <a:lnTo>
                    <a:pt x="174" y="506"/>
                  </a:lnTo>
                  <a:lnTo>
                    <a:pt x="172" y="505"/>
                  </a:lnTo>
                  <a:lnTo>
                    <a:pt x="171" y="505"/>
                  </a:lnTo>
                  <a:lnTo>
                    <a:pt x="171" y="508"/>
                  </a:lnTo>
                  <a:lnTo>
                    <a:pt x="169" y="510"/>
                  </a:lnTo>
                  <a:lnTo>
                    <a:pt x="169" y="511"/>
                  </a:lnTo>
                  <a:lnTo>
                    <a:pt x="166" y="512"/>
                  </a:lnTo>
                  <a:lnTo>
                    <a:pt x="164" y="511"/>
                  </a:lnTo>
                  <a:lnTo>
                    <a:pt x="163" y="510"/>
                  </a:lnTo>
                  <a:lnTo>
                    <a:pt x="163" y="508"/>
                  </a:lnTo>
                  <a:lnTo>
                    <a:pt x="162" y="506"/>
                  </a:lnTo>
                  <a:lnTo>
                    <a:pt x="160" y="508"/>
                  </a:lnTo>
                  <a:lnTo>
                    <a:pt x="162" y="509"/>
                  </a:lnTo>
                  <a:lnTo>
                    <a:pt x="163" y="511"/>
                  </a:lnTo>
                  <a:lnTo>
                    <a:pt x="163" y="514"/>
                  </a:lnTo>
                  <a:lnTo>
                    <a:pt x="163" y="515"/>
                  </a:lnTo>
                  <a:lnTo>
                    <a:pt x="162" y="516"/>
                  </a:lnTo>
                  <a:lnTo>
                    <a:pt x="158" y="516"/>
                  </a:lnTo>
                  <a:lnTo>
                    <a:pt x="157" y="516"/>
                  </a:lnTo>
                  <a:lnTo>
                    <a:pt x="156" y="516"/>
                  </a:lnTo>
                  <a:lnTo>
                    <a:pt x="152" y="517"/>
                  </a:lnTo>
                  <a:lnTo>
                    <a:pt x="152" y="518"/>
                  </a:lnTo>
                  <a:lnTo>
                    <a:pt x="154" y="518"/>
                  </a:lnTo>
                  <a:lnTo>
                    <a:pt x="156" y="517"/>
                  </a:lnTo>
                  <a:lnTo>
                    <a:pt x="158" y="517"/>
                  </a:lnTo>
                  <a:lnTo>
                    <a:pt x="158" y="518"/>
                  </a:lnTo>
                  <a:lnTo>
                    <a:pt x="153" y="523"/>
                  </a:lnTo>
                  <a:lnTo>
                    <a:pt x="152" y="523"/>
                  </a:lnTo>
                  <a:lnTo>
                    <a:pt x="151" y="523"/>
                  </a:lnTo>
                  <a:lnTo>
                    <a:pt x="150" y="523"/>
                  </a:lnTo>
                  <a:lnTo>
                    <a:pt x="148" y="524"/>
                  </a:lnTo>
                  <a:lnTo>
                    <a:pt x="142" y="524"/>
                  </a:lnTo>
                  <a:lnTo>
                    <a:pt x="139" y="526"/>
                  </a:lnTo>
                  <a:lnTo>
                    <a:pt x="137" y="524"/>
                  </a:lnTo>
                  <a:lnTo>
                    <a:pt x="134" y="524"/>
                  </a:lnTo>
                  <a:lnTo>
                    <a:pt x="134" y="527"/>
                  </a:lnTo>
                  <a:lnTo>
                    <a:pt x="137" y="527"/>
                  </a:lnTo>
                  <a:lnTo>
                    <a:pt x="139" y="528"/>
                  </a:lnTo>
                  <a:lnTo>
                    <a:pt x="136" y="532"/>
                  </a:lnTo>
                  <a:lnTo>
                    <a:pt x="137" y="533"/>
                  </a:lnTo>
                  <a:lnTo>
                    <a:pt x="141" y="528"/>
                  </a:lnTo>
                  <a:lnTo>
                    <a:pt x="142" y="528"/>
                  </a:lnTo>
                  <a:lnTo>
                    <a:pt x="143" y="528"/>
                  </a:lnTo>
                  <a:lnTo>
                    <a:pt x="143" y="531"/>
                  </a:lnTo>
                  <a:lnTo>
                    <a:pt x="142" y="532"/>
                  </a:lnTo>
                  <a:lnTo>
                    <a:pt x="142" y="533"/>
                  </a:lnTo>
                  <a:lnTo>
                    <a:pt x="143" y="532"/>
                  </a:lnTo>
                  <a:lnTo>
                    <a:pt x="145" y="531"/>
                  </a:lnTo>
                  <a:lnTo>
                    <a:pt x="145" y="529"/>
                  </a:lnTo>
                  <a:lnTo>
                    <a:pt x="148" y="527"/>
                  </a:lnTo>
                  <a:lnTo>
                    <a:pt x="151" y="527"/>
                  </a:lnTo>
                  <a:lnTo>
                    <a:pt x="151" y="529"/>
                  </a:lnTo>
                  <a:lnTo>
                    <a:pt x="146" y="533"/>
                  </a:lnTo>
                  <a:lnTo>
                    <a:pt x="145" y="535"/>
                  </a:lnTo>
                  <a:lnTo>
                    <a:pt x="137" y="540"/>
                  </a:lnTo>
                  <a:lnTo>
                    <a:pt x="137" y="541"/>
                  </a:lnTo>
                  <a:lnTo>
                    <a:pt x="142" y="539"/>
                  </a:lnTo>
                  <a:lnTo>
                    <a:pt x="143" y="539"/>
                  </a:lnTo>
                  <a:lnTo>
                    <a:pt x="143" y="541"/>
                  </a:lnTo>
                  <a:lnTo>
                    <a:pt x="145" y="541"/>
                  </a:lnTo>
                  <a:lnTo>
                    <a:pt x="146" y="537"/>
                  </a:lnTo>
                  <a:lnTo>
                    <a:pt x="148" y="537"/>
                  </a:lnTo>
                  <a:lnTo>
                    <a:pt x="148" y="541"/>
                  </a:lnTo>
                  <a:lnTo>
                    <a:pt x="150" y="545"/>
                  </a:lnTo>
                  <a:lnTo>
                    <a:pt x="151" y="546"/>
                  </a:lnTo>
                  <a:lnTo>
                    <a:pt x="152" y="546"/>
                  </a:lnTo>
                  <a:lnTo>
                    <a:pt x="153" y="547"/>
                  </a:lnTo>
                  <a:lnTo>
                    <a:pt x="154" y="547"/>
                  </a:lnTo>
                  <a:lnTo>
                    <a:pt x="154" y="543"/>
                  </a:lnTo>
                  <a:lnTo>
                    <a:pt x="157" y="541"/>
                  </a:lnTo>
                  <a:lnTo>
                    <a:pt x="158" y="540"/>
                  </a:lnTo>
                  <a:lnTo>
                    <a:pt x="158" y="538"/>
                  </a:lnTo>
                  <a:lnTo>
                    <a:pt x="159" y="537"/>
                  </a:lnTo>
                  <a:lnTo>
                    <a:pt x="160" y="538"/>
                  </a:lnTo>
                  <a:lnTo>
                    <a:pt x="162" y="539"/>
                  </a:lnTo>
                  <a:lnTo>
                    <a:pt x="164" y="541"/>
                  </a:lnTo>
                  <a:lnTo>
                    <a:pt x="165" y="543"/>
                  </a:lnTo>
                  <a:lnTo>
                    <a:pt x="165" y="547"/>
                  </a:lnTo>
                  <a:lnTo>
                    <a:pt x="166" y="549"/>
                  </a:lnTo>
                  <a:lnTo>
                    <a:pt x="166" y="547"/>
                  </a:lnTo>
                  <a:lnTo>
                    <a:pt x="168" y="546"/>
                  </a:lnTo>
                  <a:lnTo>
                    <a:pt x="168" y="539"/>
                  </a:lnTo>
                  <a:lnTo>
                    <a:pt x="169" y="538"/>
                  </a:lnTo>
                  <a:lnTo>
                    <a:pt x="169" y="544"/>
                  </a:lnTo>
                  <a:lnTo>
                    <a:pt x="170" y="544"/>
                  </a:lnTo>
                  <a:lnTo>
                    <a:pt x="170" y="543"/>
                  </a:lnTo>
                  <a:lnTo>
                    <a:pt x="171" y="540"/>
                  </a:lnTo>
                  <a:lnTo>
                    <a:pt x="171" y="539"/>
                  </a:lnTo>
                  <a:lnTo>
                    <a:pt x="172" y="539"/>
                  </a:lnTo>
                  <a:lnTo>
                    <a:pt x="174" y="540"/>
                  </a:lnTo>
                  <a:lnTo>
                    <a:pt x="174" y="541"/>
                  </a:lnTo>
                  <a:lnTo>
                    <a:pt x="174" y="540"/>
                  </a:lnTo>
                  <a:lnTo>
                    <a:pt x="176" y="539"/>
                  </a:lnTo>
                  <a:lnTo>
                    <a:pt x="175" y="538"/>
                  </a:lnTo>
                  <a:lnTo>
                    <a:pt x="174" y="535"/>
                  </a:lnTo>
                  <a:lnTo>
                    <a:pt x="174" y="534"/>
                  </a:lnTo>
                  <a:lnTo>
                    <a:pt x="175" y="532"/>
                  </a:lnTo>
                  <a:lnTo>
                    <a:pt x="175" y="531"/>
                  </a:lnTo>
                  <a:lnTo>
                    <a:pt x="176" y="531"/>
                  </a:lnTo>
                  <a:lnTo>
                    <a:pt x="177" y="531"/>
                  </a:lnTo>
                  <a:lnTo>
                    <a:pt x="176" y="532"/>
                  </a:lnTo>
                  <a:lnTo>
                    <a:pt x="176" y="534"/>
                  </a:lnTo>
                  <a:lnTo>
                    <a:pt x="175" y="535"/>
                  </a:lnTo>
                  <a:lnTo>
                    <a:pt x="176" y="537"/>
                  </a:lnTo>
                  <a:lnTo>
                    <a:pt x="176" y="539"/>
                  </a:lnTo>
                  <a:lnTo>
                    <a:pt x="177" y="539"/>
                  </a:lnTo>
                  <a:lnTo>
                    <a:pt x="177" y="540"/>
                  </a:lnTo>
                  <a:lnTo>
                    <a:pt x="176" y="544"/>
                  </a:lnTo>
                  <a:lnTo>
                    <a:pt x="176" y="547"/>
                  </a:lnTo>
                  <a:lnTo>
                    <a:pt x="177" y="547"/>
                  </a:lnTo>
                  <a:lnTo>
                    <a:pt x="178" y="545"/>
                  </a:lnTo>
                  <a:lnTo>
                    <a:pt x="178" y="544"/>
                  </a:lnTo>
                  <a:lnTo>
                    <a:pt x="180" y="543"/>
                  </a:lnTo>
                  <a:lnTo>
                    <a:pt x="181" y="541"/>
                  </a:lnTo>
                  <a:lnTo>
                    <a:pt x="181" y="537"/>
                  </a:lnTo>
                  <a:lnTo>
                    <a:pt x="181" y="535"/>
                  </a:lnTo>
                  <a:lnTo>
                    <a:pt x="182" y="535"/>
                  </a:lnTo>
                  <a:lnTo>
                    <a:pt x="183" y="537"/>
                  </a:lnTo>
                  <a:lnTo>
                    <a:pt x="184" y="538"/>
                  </a:lnTo>
                  <a:lnTo>
                    <a:pt x="186" y="540"/>
                  </a:lnTo>
                  <a:lnTo>
                    <a:pt x="186" y="541"/>
                  </a:lnTo>
                  <a:lnTo>
                    <a:pt x="187" y="543"/>
                  </a:lnTo>
                  <a:lnTo>
                    <a:pt x="187" y="544"/>
                  </a:lnTo>
                  <a:lnTo>
                    <a:pt x="187" y="546"/>
                  </a:lnTo>
                  <a:lnTo>
                    <a:pt x="186" y="546"/>
                  </a:lnTo>
                  <a:lnTo>
                    <a:pt x="182" y="547"/>
                  </a:lnTo>
                  <a:lnTo>
                    <a:pt x="178" y="551"/>
                  </a:lnTo>
                  <a:lnTo>
                    <a:pt x="177" y="551"/>
                  </a:lnTo>
                  <a:lnTo>
                    <a:pt x="178" y="552"/>
                  </a:lnTo>
                  <a:lnTo>
                    <a:pt x="180" y="551"/>
                  </a:lnTo>
                  <a:lnTo>
                    <a:pt x="181" y="551"/>
                  </a:lnTo>
                  <a:lnTo>
                    <a:pt x="182" y="551"/>
                  </a:lnTo>
                  <a:lnTo>
                    <a:pt x="183" y="550"/>
                  </a:lnTo>
                  <a:lnTo>
                    <a:pt x="184" y="552"/>
                  </a:lnTo>
                  <a:lnTo>
                    <a:pt x="183" y="552"/>
                  </a:lnTo>
                  <a:lnTo>
                    <a:pt x="183" y="553"/>
                  </a:lnTo>
                  <a:lnTo>
                    <a:pt x="182" y="555"/>
                  </a:lnTo>
                  <a:lnTo>
                    <a:pt x="180" y="556"/>
                  </a:lnTo>
                  <a:lnTo>
                    <a:pt x="178" y="555"/>
                  </a:lnTo>
                  <a:lnTo>
                    <a:pt x="177" y="553"/>
                  </a:lnTo>
                  <a:lnTo>
                    <a:pt x="176" y="552"/>
                  </a:lnTo>
                  <a:lnTo>
                    <a:pt x="176" y="555"/>
                  </a:lnTo>
                  <a:lnTo>
                    <a:pt x="171" y="555"/>
                  </a:lnTo>
                  <a:lnTo>
                    <a:pt x="169" y="553"/>
                  </a:lnTo>
                  <a:lnTo>
                    <a:pt x="168" y="553"/>
                  </a:lnTo>
                  <a:lnTo>
                    <a:pt x="166" y="552"/>
                  </a:lnTo>
                  <a:lnTo>
                    <a:pt x="165" y="553"/>
                  </a:lnTo>
                  <a:lnTo>
                    <a:pt x="164" y="555"/>
                  </a:lnTo>
                  <a:lnTo>
                    <a:pt x="156" y="555"/>
                  </a:lnTo>
                  <a:lnTo>
                    <a:pt x="156" y="553"/>
                  </a:lnTo>
                  <a:lnTo>
                    <a:pt x="153" y="553"/>
                  </a:lnTo>
                  <a:lnTo>
                    <a:pt x="152" y="555"/>
                  </a:lnTo>
                  <a:lnTo>
                    <a:pt x="151" y="555"/>
                  </a:lnTo>
                  <a:lnTo>
                    <a:pt x="150" y="555"/>
                  </a:lnTo>
                  <a:lnTo>
                    <a:pt x="150" y="553"/>
                  </a:lnTo>
                  <a:lnTo>
                    <a:pt x="147" y="553"/>
                  </a:lnTo>
                  <a:lnTo>
                    <a:pt x="146" y="555"/>
                  </a:lnTo>
                  <a:lnTo>
                    <a:pt x="142" y="555"/>
                  </a:lnTo>
                  <a:lnTo>
                    <a:pt x="141" y="555"/>
                  </a:lnTo>
                  <a:lnTo>
                    <a:pt x="140" y="556"/>
                  </a:lnTo>
                  <a:lnTo>
                    <a:pt x="137" y="556"/>
                  </a:lnTo>
                  <a:lnTo>
                    <a:pt x="136" y="556"/>
                  </a:lnTo>
                  <a:lnTo>
                    <a:pt x="134" y="556"/>
                  </a:lnTo>
                  <a:lnTo>
                    <a:pt x="131" y="557"/>
                  </a:lnTo>
                  <a:lnTo>
                    <a:pt x="129" y="557"/>
                  </a:lnTo>
                  <a:lnTo>
                    <a:pt x="127" y="558"/>
                  </a:lnTo>
                  <a:lnTo>
                    <a:pt x="123" y="559"/>
                  </a:lnTo>
                  <a:lnTo>
                    <a:pt x="122" y="561"/>
                  </a:lnTo>
                  <a:lnTo>
                    <a:pt x="121" y="561"/>
                  </a:lnTo>
                  <a:lnTo>
                    <a:pt x="116" y="561"/>
                  </a:lnTo>
                  <a:lnTo>
                    <a:pt x="116" y="562"/>
                  </a:lnTo>
                  <a:lnTo>
                    <a:pt x="115" y="563"/>
                  </a:lnTo>
                  <a:lnTo>
                    <a:pt x="113" y="563"/>
                  </a:lnTo>
                  <a:lnTo>
                    <a:pt x="112" y="564"/>
                  </a:lnTo>
                  <a:lnTo>
                    <a:pt x="111" y="564"/>
                  </a:lnTo>
                  <a:lnTo>
                    <a:pt x="111" y="567"/>
                  </a:lnTo>
                  <a:lnTo>
                    <a:pt x="110" y="567"/>
                  </a:lnTo>
                  <a:lnTo>
                    <a:pt x="109" y="568"/>
                  </a:lnTo>
                  <a:lnTo>
                    <a:pt x="106" y="568"/>
                  </a:lnTo>
                  <a:lnTo>
                    <a:pt x="104" y="567"/>
                  </a:lnTo>
                  <a:lnTo>
                    <a:pt x="103" y="567"/>
                  </a:lnTo>
                  <a:lnTo>
                    <a:pt x="101" y="567"/>
                  </a:lnTo>
                  <a:lnTo>
                    <a:pt x="101" y="568"/>
                  </a:lnTo>
                  <a:lnTo>
                    <a:pt x="100" y="568"/>
                  </a:lnTo>
                  <a:lnTo>
                    <a:pt x="97" y="567"/>
                  </a:lnTo>
                  <a:lnTo>
                    <a:pt x="99" y="569"/>
                  </a:lnTo>
                  <a:lnTo>
                    <a:pt x="100" y="569"/>
                  </a:lnTo>
                  <a:lnTo>
                    <a:pt x="99" y="570"/>
                  </a:lnTo>
                  <a:lnTo>
                    <a:pt x="92" y="573"/>
                  </a:lnTo>
                  <a:lnTo>
                    <a:pt x="92" y="574"/>
                  </a:lnTo>
                  <a:lnTo>
                    <a:pt x="99" y="573"/>
                  </a:lnTo>
                  <a:lnTo>
                    <a:pt x="100" y="573"/>
                  </a:lnTo>
                  <a:lnTo>
                    <a:pt x="100" y="574"/>
                  </a:lnTo>
                  <a:lnTo>
                    <a:pt x="100" y="576"/>
                  </a:lnTo>
                  <a:lnTo>
                    <a:pt x="101" y="575"/>
                  </a:lnTo>
                  <a:lnTo>
                    <a:pt x="103" y="574"/>
                  </a:lnTo>
                  <a:lnTo>
                    <a:pt x="103" y="571"/>
                  </a:lnTo>
                  <a:lnTo>
                    <a:pt x="104" y="571"/>
                  </a:lnTo>
                  <a:lnTo>
                    <a:pt x="104" y="573"/>
                  </a:lnTo>
                  <a:lnTo>
                    <a:pt x="105" y="573"/>
                  </a:lnTo>
                  <a:lnTo>
                    <a:pt x="106" y="570"/>
                  </a:lnTo>
                  <a:lnTo>
                    <a:pt x="107" y="570"/>
                  </a:lnTo>
                  <a:lnTo>
                    <a:pt x="107" y="574"/>
                  </a:lnTo>
                  <a:lnTo>
                    <a:pt x="109" y="575"/>
                  </a:lnTo>
                  <a:lnTo>
                    <a:pt x="110" y="577"/>
                  </a:lnTo>
                  <a:lnTo>
                    <a:pt x="110" y="579"/>
                  </a:lnTo>
                  <a:lnTo>
                    <a:pt x="111" y="580"/>
                  </a:lnTo>
                  <a:lnTo>
                    <a:pt x="112" y="581"/>
                  </a:lnTo>
                  <a:lnTo>
                    <a:pt x="113" y="581"/>
                  </a:lnTo>
                  <a:lnTo>
                    <a:pt x="113" y="583"/>
                  </a:lnTo>
                  <a:lnTo>
                    <a:pt x="115" y="585"/>
                  </a:lnTo>
                  <a:lnTo>
                    <a:pt x="116" y="585"/>
                  </a:lnTo>
                  <a:lnTo>
                    <a:pt x="116" y="583"/>
                  </a:lnTo>
                  <a:lnTo>
                    <a:pt x="117" y="582"/>
                  </a:lnTo>
                  <a:lnTo>
                    <a:pt x="117" y="580"/>
                  </a:lnTo>
                  <a:lnTo>
                    <a:pt x="116" y="579"/>
                  </a:lnTo>
                  <a:lnTo>
                    <a:pt x="117" y="577"/>
                  </a:lnTo>
                  <a:lnTo>
                    <a:pt x="117" y="576"/>
                  </a:lnTo>
                  <a:lnTo>
                    <a:pt x="116" y="574"/>
                  </a:lnTo>
                  <a:lnTo>
                    <a:pt x="116" y="571"/>
                  </a:lnTo>
                  <a:lnTo>
                    <a:pt x="117" y="570"/>
                  </a:lnTo>
                  <a:lnTo>
                    <a:pt x="117" y="568"/>
                  </a:lnTo>
                  <a:lnTo>
                    <a:pt x="117" y="567"/>
                  </a:lnTo>
                  <a:lnTo>
                    <a:pt x="118" y="565"/>
                  </a:lnTo>
                  <a:lnTo>
                    <a:pt x="119" y="564"/>
                  </a:lnTo>
                  <a:lnTo>
                    <a:pt x="121" y="565"/>
                  </a:lnTo>
                  <a:lnTo>
                    <a:pt x="121" y="567"/>
                  </a:lnTo>
                  <a:lnTo>
                    <a:pt x="118" y="568"/>
                  </a:lnTo>
                  <a:lnTo>
                    <a:pt x="118" y="570"/>
                  </a:lnTo>
                  <a:lnTo>
                    <a:pt x="119" y="569"/>
                  </a:lnTo>
                  <a:lnTo>
                    <a:pt x="121" y="569"/>
                  </a:lnTo>
                  <a:lnTo>
                    <a:pt x="121" y="571"/>
                  </a:lnTo>
                  <a:lnTo>
                    <a:pt x="121" y="573"/>
                  </a:lnTo>
                  <a:lnTo>
                    <a:pt x="119" y="574"/>
                  </a:lnTo>
                  <a:lnTo>
                    <a:pt x="119" y="576"/>
                  </a:lnTo>
                  <a:lnTo>
                    <a:pt x="119" y="579"/>
                  </a:lnTo>
                  <a:lnTo>
                    <a:pt x="121" y="580"/>
                  </a:lnTo>
                  <a:lnTo>
                    <a:pt x="121" y="579"/>
                  </a:lnTo>
                  <a:lnTo>
                    <a:pt x="122" y="576"/>
                  </a:lnTo>
                  <a:lnTo>
                    <a:pt x="122" y="574"/>
                  </a:lnTo>
                  <a:lnTo>
                    <a:pt x="123" y="574"/>
                  </a:lnTo>
                  <a:lnTo>
                    <a:pt x="123" y="576"/>
                  </a:lnTo>
                  <a:lnTo>
                    <a:pt x="124" y="577"/>
                  </a:lnTo>
                  <a:lnTo>
                    <a:pt x="125" y="577"/>
                  </a:lnTo>
                  <a:lnTo>
                    <a:pt x="125" y="576"/>
                  </a:lnTo>
                  <a:lnTo>
                    <a:pt x="125" y="575"/>
                  </a:lnTo>
                  <a:lnTo>
                    <a:pt x="125" y="574"/>
                  </a:lnTo>
                  <a:lnTo>
                    <a:pt x="127" y="573"/>
                  </a:lnTo>
                  <a:lnTo>
                    <a:pt x="127" y="571"/>
                  </a:lnTo>
                  <a:lnTo>
                    <a:pt x="128" y="571"/>
                  </a:lnTo>
                  <a:lnTo>
                    <a:pt x="128" y="573"/>
                  </a:lnTo>
                  <a:lnTo>
                    <a:pt x="128" y="574"/>
                  </a:lnTo>
                  <a:lnTo>
                    <a:pt x="128" y="575"/>
                  </a:lnTo>
                  <a:lnTo>
                    <a:pt x="128" y="577"/>
                  </a:lnTo>
                  <a:lnTo>
                    <a:pt x="128" y="579"/>
                  </a:lnTo>
                  <a:lnTo>
                    <a:pt x="128" y="583"/>
                  </a:lnTo>
                  <a:lnTo>
                    <a:pt x="128" y="586"/>
                  </a:lnTo>
                  <a:lnTo>
                    <a:pt x="129" y="585"/>
                  </a:lnTo>
                  <a:lnTo>
                    <a:pt x="129" y="583"/>
                  </a:lnTo>
                  <a:lnTo>
                    <a:pt x="129" y="581"/>
                  </a:lnTo>
                  <a:lnTo>
                    <a:pt x="130" y="581"/>
                  </a:lnTo>
                  <a:lnTo>
                    <a:pt x="130" y="580"/>
                  </a:lnTo>
                  <a:lnTo>
                    <a:pt x="131" y="580"/>
                  </a:lnTo>
                  <a:lnTo>
                    <a:pt x="131" y="579"/>
                  </a:lnTo>
                  <a:lnTo>
                    <a:pt x="131" y="577"/>
                  </a:lnTo>
                  <a:lnTo>
                    <a:pt x="131" y="573"/>
                  </a:lnTo>
                  <a:lnTo>
                    <a:pt x="133" y="573"/>
                  </a:lnTo>
                  <a:lnTo>
                    <a:pt x="134" y="574"/>
                  </a:lnTo>
                  <a:lnTo>
                    <a:pt x="135" y="573"/>
                  </a:lnTo>
                  <a:lnTo>
                    <a:pt x="135" y="569"/>
                  </a:lnTo>
                  <a:lnTo>
                    <a:pt x="136" y="568"/>
                  </a:lnTo>
                  <a:lnTo>
                    <a:pt x="136" y="569"/>
                  </a:lnTo>
                  <a:lnTo>
                    <a:pt x="136" y="573"/>
                  </a:lnTo>
                  <a:lnTo>
                    <a:pt x="136" y="575"/>
                  </a:lnTo>
                  <a:lnTo>
                    <a:pt x="136" y="577"/>
                  </a:lnTo>
                  <a:lnTo>
                    <a:pt x="136" y="579"/>
                  </a:lnTo>
                  <a:lnTo>
                    <a:pt x="137" y="577"/>
                  </a:lnTo>
                  <a:lnTo>
                    <a:pt x="139" y="577"/>
                  </a:lnTo>
                  <a:lnTo>
                    <a:pt x="140" y="577"/>
                  </a:lnTo>
                  <a:lnTo>
                    <a:pt x="140" y="576"/>
                  </a:lnTo>
                  <a:lnTo>
                    <a:pt x="140" y="581"/>
                  </a:lnTo>
                  <a:lnTo>
                    <a:pt x="141" y="582"/>
                  </a:lnTo>
                  <a:lnTo>
                    <a:pt x="142" y="582"/>
                  </a:lnTo>
                  <a:lnTo>
                    <a:pt x="142" y="576"/>
                  </a:lnTo>
                  <a:lnTo>
                    <a:pt x="143" y="576"/>
                  </a:lnTo>
                  <a:lnTo>
                    <a:pt x="143" y="579"/>
                  </a:lnTo>
                  <a:lnTo>
                    <a:pt x="143" y="580"/>
                  </a:lnTo>
                  <a:lnTo>
                    <a:pt x="145" y="580"/>
                  </a:lnTo>
                  <a:lnTo>
                    <a:pt x="145" y="581"/>
                  </a:lnTo>
                  <a:lnTo>
                    <a:pt x="146" y="583"/>
                  </a:lnTo>
                  <a:lnTo>
                    <a:pt x="146" y="585"/>
                  </a:lnTo>
                  <a:lnTo>
                    <a:pt x="146" y="586"/>
                  </a:lnTo>
                  <a:lnTo>
                    <a:pt x="147" y="586"/>
                  </a:lnTo>
                  <a:lnTo>
                    <a:pt x="147" y="587"/>
                  </a:lnTo>
                  <a:lnTo>
                    <a:pt x="148" y="589"/>
                  </a:lnTo>
                  <a:lnTo>
                    <a:pt x="150" y="589"/>
                  </a:lnTo>
                  <a:lnTo>
                    <a:pt x="150" y="588"/>
                  </a:lnTo>
                  <a:lnTo>
                    <a:pt x="151" y="587"/>
                  </a:lnTo>
                  <a:lnTo>
                    <a:pt x="151" y="585"/>
                  </a:lnTo>
                  <a:lnTo>
                    <a:pt x="152" y="583"/>
                  </a:lnTo>
                  <a:lnTo>
                    <a:pt x="152" y="582"/>
                  </a:lnTo>
                  <a:lnTo>
                    <a:pt x="153" y="581"/>
                  </a:lnTo>
                  <a:lnTo>
                    <a:pt x="153" y="582"/>
                  </a:lnTo>
                  <a:lnTo>
                    <a:pt x="154" y="581"/>
                  </a:lnTo>
                  <a:lnTo>
                    <a:pt x="154" y="579"/>
                  </a:lnTo>
                  <a:lnTo>
                    <a:pt x="154" y="577"/>
                  </a:lnTo>
                  <a:lnTo>
                    <a:pt x="156" y="577"/>
                  </a:lnTo>
                  <a:lnTo>
                    <a:pt x="157" y="579"/>
                  </a:lnTo>
                  <a:lnTo>
                    <a:pt x="157" y="580"/>
                  </a:lnTo>
                  <a:lnTo>
                    <a:pt x="158" y="579"/>
                  </a:lnTo>
                  <a:lnTo>
                    <a:pt x="158" y="580"/>
                  </a:lnTo>
                  <a:lnTo>
                    <a:pt x="158" y="581"/>
                  </a:lnTo>
                  <a:lnTo>
                    <a:pt x="158" y="582"/>
                  </a:lnTo>
                  <a:lnTo>
                    <a:pt x="157" y="583"/>
                  </a:lnTo>
                  <a:lnTo>
                    <a:pt x="157" y="585"/>
                  </a:lnTo>
                  <a:lnTo>
                    <a:pt x="158" y="585"/>
                  </a:lnTo>
                  <a:lnTo>
                    <a:pt x="157" y="586"/>
                  </a:lnTo>
                  <a:lnTo>
                    <a:pt x="157" y="587"/>
                  </a:lnTo>
                  <a:lnTo>
                    <a:pt x="157" y="588"/>
                  </a:lnTo>
                  <a:lnTo>
                    <a:pt x="158" y="588"/>
                  </a:lnTo>
                  <a:lnTo>
                    <a:pt x="159" y="588"/>
                  </a:lnTo>
                  <a:lnTo>
                    <a:pt x="159" y="587"/>
                  </a:lnTo>
                  <a:lnTo>
                    <a:pt x="162" y="586"/>
                  </a:lnTo>
                  <a:lnTo>
                    <a:pt x="163" y="586"/>
                  </a:lnTo>
                  <a:lnTo>
                    <a:pt x="164" y="587"/>
                  </a:lnTo>
                  <a:lnTo>
                    <a:pt x="165" y="588"/>
                  </a:lnTo>
                  <a:lnTo>
                    <a:pt x="166" y="587"/>
                  </a:lnTo>
                  <a:lnTo>
                    <a:pt x="166" y="586"/>
                  </a:lnTo>
                  <a:lnTo>
                    <a:pt x="166" y="583"/>
                  </a:lnTo>
                  <a:lnTo>
                    <a:pt x="168" y="582"/>
                  </a:lnTo>
                  <a:lnTo>
                    <a:pt x="168" y="583"/>
                  </a:lnTo>
                  <a:lnTo>
                    <a:pt x="170" y="585"/>
                  </a:lnTo>
                  <a:lnTo>
                    <a:pt x="169" y="586"/>
                  </a:lnTo>
                  <a:lnTo>
                    <a:pt x="168" y="587"/>
                  </a:lnTo>
                  <a:lnTo>
                    <a:pt x="168" y="588"/>
                  </a:lnTo>
                  <a:lnTo>
                    <a:pt x="169" y="588"/>
                  </a:lnTo>
                  <a:lnTo>
                    <a:pt x="170" y="587"/>
                  </a:lnTo>
                  <a:lnTo>
                    <a:pt x="171" y="587"/>
                  </a:lnTo>
                  <a:lnTo>
                    <a:pt x="172" y="587"/>
                  </a:lnTo>
                  <a:lnTo>
                    <a:pt x="174" y="587"/>
                  </a:lnTo>
                  <a:lnTo>
                    <a:pt x="174" y="586"/>
                  </a:lnTo>
                  <a:lnTo>
                    <a:pt x="174" y="585"/>
                  </a:lnTo>
                  <a:lnTo>
                    <a:pt x="175" y="585"/>
                  </a:lnTo>
                  <a:lnTo>
                    <a:pt x="176" y="585"/>
                  </a:lnTo>
                  <a:lnTo>
                    <a:pt x="177" y="585"/>
                  </a:lnTo>
                  <a:lnTo>
                    <a:pt x="177" y="586"/>
                  </a:lnTo>
                  <a:lnTo>
                    <a:pt x="178" y="587"/>
                  </a:lnTo>
                  <a:lnTo>
                    <a:pt x="180" y="588"/>
                  </a:lnTo>
                  <a:lnTo>
                    <a:pt x="178" y="589"/>
                  </a:lnTo>
                  <a:lnTo>
                    <a:pt x="176" y="589"/>
                  </a:lnTo>
                  <a:lnTo>
                    <a:pt x="175" y="589"/>
                  </a:lnTo>
                  <a:lnTo>
                    <a:pt x="174" y="589"/>
                  </a:lnTo>
                  <a:lnTo>
                    <a:pt x="172" y="589"/>
                  </a:lnTo>
                  <a:lnTo>
                    <a:pt x="172" y="588"/>
                  </a:lnTo>
                  <a:lnTo>
                    <a:pt x="171" y="588"/>
                  </a:lnTo>
                  <a:lnTo>
                    <a:pt x="171" y="589"/>
                  </a:lnTo>
                  <a:lnTo>
                    <a:pt x="170" y="589"/>
                  </a:lnTo>
                  <a:lnTo>
                    <a:pt x="169" y="588"/>
                  </a:lnTo>
                  <a:lnTo>
                    <a:pt x="168" y="588"/>
                  </a:lnTo>
                  <a:lnTo>
                    <a:pt x="168" y="589"/>
                  </a:lnTo>
                  <a:lnTo>
                    <a:pt x="166" y="589"/>
                  </a:lnTo>
                  <a:lnTo>
                    <a:pt x="165" y="589"/>
                  </a:lnTo>
                  <a:lnTo>
                    <a:pt x="164" y="591"/>
                  </a:lnTo>
                  <a:lnTo>
                    <a:pt x="163" y="591"/>
                  </a:lnTo>
                  <a:lnTo>
                    <a:pt x="162" y="589"/>
                  </a:lnTo>
                  <a:lnTo>
                    <a:pt x="156" y="589"/>
                  </a:lnTo>
                  <a:lnTo>
                    <a:pt x="156" y="591"/>
                  </a:lnTo>
                  <a:lnTo>
                    <a:pt x="154" y="591"/>
                  </a:lnTo>
                  <a:lnTo>
                    <a:pt x="154" y="592"/>
                  </a:lnTo>
                  <a:lnTo>
                    <a:pt x="156" y="592"/>
                  </a:lnTo>
                  <a:lnTo>
                    <a:pt x="158" y="592"/>
                  </a:lnTo>
                  <a:lnTo>
                    <a:pt x="159" y="592"/>
                  </a:lnTo>
                  <a:lnTo>
                    <a:pt x="159" y="593"/>
                  </a:lnTo>
                  <a:lnTo>
                    <a:pt x="160" y="593"/>
                  </a:lnTo>
                  <a:lnTo>
                    <a:pt x="160" y="594"/>
                  </a:lnTo>
                  <a:lnTo>
                    <a:pt x="160" y="595"/>
                  </a:lnTo>
                  <a:lnTo>
                    <a:pt x="159" y="595"/>
                  </a:lnTo>
                  <a:lnTo>
                    <a:pt x="159" y="597"/>
                  </a:lnTo>
                  <a:lnTo>
                    <a:pt x="159" y="598"/>
                  </a:lnTo>
                  <a:lnTo>
                    <a:pt x="160" y="597"/>
                  </a:lnTo>
                  <a:lnTo>
                    <a:pt x="162" y="594"/>
                  </a:lnTo>
                  <a:lnTo>
                    <a:pt x="163" y="593"/>
                  </a:lnTo>
                  <a:lnTo>
                    <a:pt x="164" y="592"/>
                  </a:lnTo>
                  <a:lnTo>
                    <a:pt x="165" y="593"/>
                  </a:lnTo>
                  <a:lnTo>
                    <a:pt x="165" y="594"/>
                  </a:lnTo>
                  <a:lnTo>
                    <a:pt x="164" y="595"/>
                  </a:lnTo>
                  <a:lnTo>
                    <a:pt x="165" y="595"/>
                  </a:lnTo>
                  <a:lnTo>
                    <a:pt x="165" y="594"/>
                  </a:lnTo>
                  <a:lnTo>
                    <a:pt x="166" y="593"/>
                  </a:lnTo>
                  <a:lnTo>
                    <a:pt x="168" y="593"/>
                  </a:lnTo>
                  <a:lnTo>
                    <a:pt x="169" y="593"/>
                  </a:lnTo>
                  <a:lnTo>
                    <a:pt x="169" y="594"/>
                  </a:lnTo>
                  <a:lnTo>
                    <a:pt x="169" y="593"/>
                  </a:lnTo>
                  <a:lnTo>
                    <a:pt x="170" y="592"/>
                  </a:lnTo>
                  <a:lnTo>
                    <a:pt x="171" y="592"/>
                  </a:lnTo>
                  <a:lnTo>
                    <a:pt x="171" y="593"/>
                  </a:lnTo>
                  <a:lnTo>
                    <a:pt x="170" y="594"/>
                  </a:lnTo>
                  <a:lnTo>
                    <a:pt x="170" y="595"/>
                  </a:lnTo>
                  <a:lnTo>
                    <a:pt x="170" y="597"/>
                  </a:lnTo>
                  <a:lnTo>
                    <a:pt x="170" y="598"/>
                  </a:lnTo>
                  <a:lnTo>
                    <a:pt x="168" y="598"/>
                  </a:lnTo>
                  <a:lnTo>
                    <a:pt x="168" y="599"/>
                  </a:lnTo>
                  <a:lnTo>
                    <a:pt x="168" y="600"/>
                  </a:lnTo>
                  <a:lnTo>
                    <a:pt x="169" y="600"/>
                  </a:lnTo>
                  <a:lnTo>
                    <a:pt x="170" y="601"/>
                  </a:lnTo>
                  <a:lnTo>
                    <a:pt x="171" y="600"/>
                  </a:lnTo>
                  <a:lnTo>
                    <a:pt x="171" y="599"/>
                  </a:lnTo>
                  <a:lnTo>
                    <a:pt x="172" y="598"/>
                  </a:lnTo>
                  <a:lnTo>
                    <a:pt x="172" y="597"/>
                  </a:lnTo>
                  <a:lnTo>
                    <a:pt x="172" y="595"/>
                  </a:lnTo>
                  <a:lnTo>
                    <a:pt x="174" y="594"/>
                  </a:lnTo>
                  <a:lnTo>
                    <a:pt x="174" y="593"/>
                  </a:lnTo>
                  <a:lnTo>
                    <a:pt x="175" y="593"/>
                  </a:lnTo>
                  <a:lnTo>
                    <a:pt x="176" y="593"/>
                  </a:lnTo>
                  <a:lnTo>
                    <a:pt x="177" y="593"/>
                  </a:lnTo>
                  <a:lnTo>
                    <a:pt x="177" y="594"/>
                  </a:lnTo>
                  <a:lnTo>
                    <a:pt x="176" y="595"/>
                  </a:lnTo>
                  <a:lnTo>
                    <a:pt x="176" y="597"/>
                  </a:lnTo>
                  <a:lnTo>
                    <a:pt x="176" y="599"/>
                  </a:lnTo>
                  <a:lnTo>
                    <a:pt x="177" y="598"/>
                  </a:lnTo>
                  <a:lnTo>
                    <a:pt x="177" y="597"/>
                  </a:lnTo>
                  <a:lnTo>
                    <a:pt x="177" y="595"/>
                  </a:lnTo>
                  <a:lnTo>
                    <a:pt x="178" y="595"/>
                  </a:lnTo>
                  <a:lnTo>
                    <a:pt x="178" y="594"/>
                  </a:lnTo>
                  <a:lnTo>
                    <a:pt x="180" y="593"/>
                  </a:lnTo>
                  <a:lnTo>
                    <a:pt x="180" y="594"/>
                  </a:lnTo>
                  <a:lnTo>
                    <a:pt x="181" y="594"/>
                  </a:lnTo>
                  <a:lnTo>
                    <a:pt x="181" y="595"/>
                  </a:lnTo>
                  <a:lnTo>
                    <a:pt x="180" y="597"/>
                  </a:lnTo>
                  <a:lnTo>
                    <a:pt x="180" y="598"/>
                  </a:lnTo>
                  <a:lnTo>
                    <a:pt x="180" y="599"/>
                  </a:lnTo>
                  <a:lnTo>
                    <a:pt x="181" y="600"/>
                  </a:lnTo>
                  <a:lnTo>
                    <a:pt x="181" y="601"/>
                  </a:lnTo>
                  <a:lnTo>
                    <a:pt x="181" y="603"/>
                  </a:lnTo>
                  <a:lnTo>
                    <a:pt x="181" y="604"/>
                  </a:lnTo>
                  <a:lnTo>
                    <a:pt x="182" y="603"/>
                  </a:lnTo>
                  <a:lnTo>
                    <a:pt x="182" y="600"/>
                  </a:lnTo>
                  <a:lnTo>
                    <a:pt x="183" y="600"/>
                  </a:lnTo>
                  <a:lnTo>
                    <a:pt x="183" y="599"/>
                  </a:lnTo>
                  <a:lnTo>
                    <a:pt x="184" y="598"/>
                  </a:lnTo>
                  <a:lnTo>
                    <a:pt x="184" y="599"/>
                  </a:lnTo>
                  <a:lnTo>
                    <a:pt x="186" y="600"/>
                  </a:lnTo>
                  <a:lnTo>
                    <a:pt x="186" y="599"/>
                  </a:lnTo>
                  <a:lnTo>
                    <a:pt x="186" y="598"/>
                  </a:lnTo>
                  <a:lnTo>
                    <a:pt x="186" y="597"/>
                  </a:lnTo>
                  <a:lnTo>
                    <a:pt x="186" y="595"/>
                  </a:lnTo>
                  <a:lnTo>
                    <a:pt x="187" y="595"/>
                  </a:lnTo>
                  <a:lnTo>
                    <a:pt x="187" y="593"/>
                  </a:lnTo>
                  <a:lnTo>
                    <a:pt x="187" y="591"/>
                  </a:lnTo>
                  <a:lnTo>
                    <a:pt x="187" y="589"/>
                  </a:lnTo>
                  <a:lnTo>
                    <a:pt x="187" y="587"/>
                  </a:lnTo>
                  <a:lnTo>
                    <a:pt x="187" y="586"/>
                  </a:lnTo>
                  <a:lnTo>
                    <a:pt x="186" y="585"/>
                  </a:lnTo>
                  <a:lnTo>
                    <a:pt x="186" y="582"/>
                  </a:lnTo>
                  <a:lnTo>
                    <a:pt x="187" y="583"/>
                  </a:lnTo>
                  <a:lnTo>
                    <a:pt x="187" y="586"/>
                  </a:lnTo>
                  <a:lnTo>
                    <a:pt x="188" y="587"/>
                  </a:lnTo>
                  <a:lnTo>
                    <a:pt x="188" y="588"/>
                  </a:lnTo>
                  <a:lnTo>
                    <a:pt x="189" y="589"/>
                  </a:lnTo>
                  <a:lnTo>
                    <a:pt x="189" y="592"/>
                  </a:lnTo>
                  <a:lnTo>
                    <a:pt x="189" y="593"/>
                  </a:lnTo>
                  <a:lnTo>
                    <a:pt x="188" y="594"/>
                  </a:lnTo>
                  <a:lnTo>
                    <a:pt x="188" y="598"/>
                  </a:lnTo>
                  <a:lnTo>
                    <a:pt x="188" y="599"/>
                  </a:lnTo>
                  <a:lnTo>
                    <a:pt x="188" y="600"/>
                  </a:lnTo>
                  <a:lnTo>
                    <a:pt x="187" y="601"/>
                  </a:lnTo>
                  <a:lnTo>
                    <a:pt x="187" y="603"/>
                  </a:lnTo>
                  <a:lnTo>
                    <a:pt x="187" y="604"/>
                  </a:lnTo>
                  <a:lnTo>
                    <a:pt x="188" y="605"/>
                  </a:lnTo>
                  <a:lnTo>
                    <a:pt x="190" y="605"/>
                  </a:lnTo>
                  <a:lnTo>
                    <a:pt x="192" y="604"/>
                  </a:lnTo>
                  <a:lnTo>
                    <a:pt x="192" y="603"/>
                  </a:lnTo>
                  <a:lnTo>
                    <a:pt x="190" y="601"/>
                  </a:lnTo>
                  <a:lnTo>
                    <a:pt x="190" y="600"/>
                  </a:lnTo>
                  <a:lnTo>
                    <a:pt x="192" y="600"/>
                  </a:lnTo>
                  <a:lnTo>
                    <a:pt x="193" y="600"/>
                  </a:lnTo>
                  <a:lnTo>
                    <a:pt x="193" y="603"/>
                  </a:lnTo>
                  <a:lnTo>
                    <a:pt x="193" y="604"/>
                  </a:lnTo>
                  <a:lnTo>
                    <a:pt x="194" y="603"/>
                  </a:lnTo>
                  <a:lnTo>
                    <a:pt x="195" y="603"/>
                  </a:lnTo>
                  <a:lnTo>
                    <a:pt x="196" y="601"/>
                  </a:lnTo>
                  <a:lnTo>
                    <a:pt x="198" y="603"/>
                  </a:lnTo>
                  <a:lnTo>
                    <a:pt x="199" y="604"/>
                  </a:lnTo>
                  <a:lnTo>
                    <a:pt x="199" y="605"/>
                  </a:lnTo>
                  <a:lnTo>
                    <a:pt x="200" y="604"/>
                  </a:lnTo>
                  <a:lnTo>
                    <a:pt x="200" y="605"/>
                  </a:lnTo>
                  <a:lnTo>
                    <a:pt x="200" y="606"/>
                  </a:lnTo>
                  <a:lnTo>
                    <a:pt x="200" y="607"/>
                  </a:lnTo>
                  <a:lnTo>
                    <a:pt x="199" y="609"/>
                  </a:lnTo>
                  <a:lnTo>
                    <a:pt x="198" y="610"/>
                  </a:lnTo>
                  <a:lnTo>
                    <a:pt x="196" y="611"/>
                  </a:lnTo>
                  <a:lnTo>
                    <a:pt x="196" y="612"/>
                  </a:lnTo>
                  <a:lnTo>
                    <a:pt x="199" y="612"/>
                  </a:lnTo>
                  <a:lnTo>
                    <a:pt x="200" y="612"/>
                  </a:lnTo>
                  <a:lnTo>
                    <a:pt x="200" y="611"/>
                  </a:lnTo>
                  <a:lnTo>
                    <a:pt x="202" y="610"/>
                  </a:lnTo>
                  <a:lnTo>
                    <a:pt x="204" y="610"/>
                  </a:lnTo>
                  <a:lnTo>
                    <a:pt x="204" y="609"/>
                  </a:lnTo>
                  <a:lnTo>
                    <a:pt x="205" y="607"/>
                  </a:lnTo>
                  <a:lnTo>
                    <a:pt x="206" y="607"/>
                  </a:lnTo>
                  <a:lnTo>
                    <a:pt x="206" y="609"/>
                  </a:lnTo>
                  <a:lnTo>
                    <a:pt x="207" y="610"/>
                  </a:lnTo>
                  <a:lnTo>
                    <a:pt x="207" y="611"/>
                  </a:lnTo>
                  <a:lnTo>
                    <a:pt x="207" y="612"/>
                  </a:lnTo>
                  <a:lnTo>
                    <a:pt x="206" y="613"/>
                  </a:lnTo>
                  <a:lnTo>
                    <a:pt x="206" y="615"/>
                  </a:lnTo>
                  <a:lnTo>
                    <a:pt x="205" y="616"/>
                  </a:lnTo>
                  <a:lnTo>
                    <a:pt x="202" y="616"/>
                  </a:lnTo>
                  <a:lnTo>
                    <a:pt x="201" y="616"/>
                  </a:lnTo>
                  <a:lnTo>
                    <a:pt x="200" y="616"/>
                  </a:lnTo>
                  <a:lnTo>
                    <a:pt x="199" y="616"/>
                  </a:lnTo>
                  <a:lnTo>
                    <a:pt x="198" y="616"/>
                  </a:lnTo>
                  <a:lnTo>
                    <a:pt x="198" y="617"/>
                  </a:lnTo>
                  <a:lnTo>
                    <a:pt x="196" y="617"/>
                  </a:lnTo>
                  <a:lnTo>
                    <a:pt x="195" y="617"/>
                  </a:lnTo>
                  <a:lnTo>
                    <a:pt x="193" y="617"/>
                  </a:lnTo>
                  <a:lnTo>
                    <a:pt x="190" y="618"/>
                  </a:lnTo>
                  <a:lnTo>
                    <a:pt x="188" y="618"/>
                  </a:lnTo>
                  <a:lnTo>
                    <a:pt x="187" y="618"/>
                  </a:lnTo>
                  <a:lnTo>
                    <a:pt x="186" y="619"/>
                  </a:lnTo>
                  <a:lnTo>
                    <a:pt x="184" y="619"/>
                  </a:lnTo>
                  <a:lnTo>
                    <a:pt x="183" y="619"/>
                  </a:lnTo>
                  <a:lnTo>
                    <a:pt x="182" y="619"/>
                  </a:lnTo>
                  <a:lnTo>
                    <a:pt x="181" y="619"/>
                  </a:lnTo>
                  <a:lnTo>
                    <a:pt x="180" y="619"/>
                  </a:lnTo>
                  <a:lnTo>
                    <a:pt x="180" y="621"/>
                  </a:lnTo>
                  <a:lnTo>
                    <a:pt x="178" y="621"/>
                  </a:lnTo>
                  <a:lnTo>
                    <a:pt x="177" y="622"/>
                  </a:lnTo>
                  <a:lnTo>
                    <a:pt x="176" y="622"/>
                  </a:lnTo>
                  <a:lnTo>
                    <a:pt x="175" y="621"/>
                  </a:lnTo>
                  <a:lnTo>
                    <a:pt x="175" y="622"/>
                  </a:lnTo>
                  <a:lnTo>
                    <a:pt x="174" y="622"/>
                  </a:lnTo>
                  <a:lnTo>
                    <a:pt x="166" y="622"/>
                  </a:lnTo>
                  <a:lnTo>
                    <a:pt x="165" y="622"/>
                  </a:lnTo>
                  <a:lnTo>
                    <a:pt x="164" y="621"/>
                  </a:lnTo>
                  <a:lnTo>
                    <a:pt x="163" y="622"/>
                  </a:lnTo>
                  <a:lnTo>
                    <a:pt x="162" y="622"/>
                  </a:lnTo>
                  <a:lnTo>
                    <a:pt x="160" y="622"/>
                  </a:lnTo>
                  <a:lnTo>
                    <a:pt x="158" y="622"/>
                  </a:lnTo>
                  <a:lnTo>
                    <a:pt x="156" y="622"/>
                  </a:lnTo>
                  <a:lnTo>
                    <a:pt x="156" y="623"/>
                  </a:lnTo>
                  <a:lnTo>
                    <a:pt x="154" y="623"/>
                  </a:lnTo>
                  <a:lnTo>
                    <a:pt x="153" y="623"/>
                  </a:lnTo>
                  <a:lnTo>
                    <a:pt x="152" y="622"/>
                  </a:lnTo>
                  <a:lnTo>
                    <a:pt x="150" y="622"/>
                  </a:lnTo>
                  <a:lnTo>
                    <a:pt x="150" y="623"/>
                  </a:lnTo>
                  <a:lnTo>
                    <a:pt x="147" y="623"/>
                  </a:lnTo>
                  <a:lnTo>
                    <a:pt x="146" y="622"/>
                  </a:lnTo>
                  <a:lnTo>
                    <a:pt x="147" y="621"/>
                  </a:lnTo>
                  <a:lnTo>
                    <a:pt x="146" y="619"/>
                  </a:lnTo>
                  <a:lnTo>
                    <a:pt x="145" y="621"/>
                  </a:lnTo>
                  <a:lnTo>
                    <a:pt x="145" y="622"/>
                  </a:lnTo>
                  <a:lnTo>
                    <a:pt x="142" y="622"/>
                  </a:lnTo>
                  <a:lnTo>
                    <a:pt x="141" y="622"/>
                  </a:lnTo>
                  <a:lnTo>
                    <a:pt x="141" y="623"/>
                  </a:lnTo>
                  <a:lnTo>
                    <a:pt x="142" y="623"/>
                  </a:lnTo>
                  <a:lnTo>
                    <a:pt x="142" y="624"/>
                  </a:lnTo>
                  <a:lnTo>
                    <a:pt x="141" y="624"/>
                  </a:lnTo>
                  <a:lnTo>
                    <a:pt x="140" y="624"/>
                  </a:lnTo>
                  <a:lnTo>
                    <a:pt x="139" y="625"/>
                  </a:lnTo>
                  <a:lnTo>
                    <a:pt x="137" y="625"/>
                  </a:lnTo>
                  <a:lnTo>
                    <a:pt x="135" y="625"/>
                  </a:lnTo>
                  <a:lnTo>
                    <a:pt x="134" y="625"/>
                  </a:lnTo>
                  <a:lnTo>
                    <a:pt x="133" y="625"/>
                  </a:lnTo>
                  <a:lnTo>
                    <a:pt x="133" y="624"/>
                  </a:lnTo>
                  <a:lnTo>
                    <a:pt x="131" y="623"/>
                  </a:lnTo>
                  <a:lnTo>
                    <a:pt x="130" y="624"/>
                  </a:lnTo>
                  <a:lnTo>
                    <a:pt x="131" y="624"/>
                  </a:lnTo>
                  <a:lnTo>
                    <a:pt x="131" y="625"/>
                  </a:lnTo>
                  <a:lnTo>
                    <a:pt x="133" y="625"/>
                  </a:lnTo>
                  <a:lnTo>
                    <a:pt x="131" y="627"/>
                  </a:lnTo>
                  <a:lnTo>
                    <a:pt x="130" y="627"/>
                  </a:lnTo>
                  <a:lnTo>
                    <a:pt x="129" y="628"/>
                  </a:lnTo>
                  <a:lnTo>
                    <a:pt x="129" y="629"/>
                  </a:lnTo>
                  <a:lnTo>
                    <a:pt x="128" y="628"/>
                  </a:lnTo>
                  <a:lnTo>
                    <a:pt x="127" y="628"/>
                  </a:lnTo>
                  <a:lnTo>
                    <a:pt x="127" y="627"/>
                  </a:lnTo>
                  <a:lnTo>
                    <a:pt x="125" y="628"/>
                  </a:lnTo>
                  <a:lnTo>
                    <a:pt x="124" y="629"/>
                  </a:lnTo>
                  <a:lnTo>
                    <a:pt x="123" y="628"/>
                  </a:lnTo>
                  <a:lnTo>
                    <a:pt x="121" y="628"/>
                  </a:lnTo>
                  <a:lnTo>
                    <a:pt x="118" y="628"/>
                  </a:lnTo>
                  <a:lnTo>
                    <a:pt x="117" y="628"/>
                  </a:lnTo>
                  <a:lnTo>
                    <a:pt x="115" y="628"/>
                  </a:lnTo>
                  <a:lnTo>
                    <a:pt x="110" y="628"/>
                  </a:lnTo>
                  <a:lnTo>
                    <a:pt x="109" y="628"/>
                  </a:lnTo>
                  <a:lnTo>
                    <a:pt x="110" y="629"/>
                  </a:lnTo>
                  <a:lnTo>
                    <a:pt x="110" y="630"/>
                  </a:lnTo>
                  <a:lnTo>
                    <a:pt x="112" y="629"/>
                  </a:lnTo>
                  <a:lnTo>
                    <a:pt x="115" y="629"/>
                  </a:lnTo>
                  <a:lnTo>
                    <a:pt x="115" y="630"/>
                  </a:lnTo>
                  <a:lnTo>
                    <a:pt x="117" y="630"/>
                  </a:lnTo>
                  <a:lnTo>
                    <a:pt x="118" y="630"/>
                  </a:lnTo>
                  <a:lnTo>
                    <a:pt x="119" y="630"/>
                  </a:lnTo>
                  <a:lnTo>
                    <a:pt x="119" y="631"/>
                  </a:lnTo>
                  <a:lnTo>
                    <a:pt x="119" y="633"/>
                  </a:lnTo>
                  <a:lnTo>
                    <a:pt x="118" y="634"/>
                  </a:lnTo>
                  <a:lnTo>
                    <a:pt x="118" y="636"/>
                  </a:lnTo>
                  <a:lnTo>
                    <a:pt x="119" y="635"/>
                  </a:lnTo>
                  <a:lnTo>
                    <a:pt x="121" y="634"/>
                  </a:lnTo>
                  <a:lnTo>
                    <a:pt x="121" y="633"/>
                  </a:lnTo>
                  <a:lnTo>
                    <a:pt x="123" y="631"/>
                  </a:lnTo>
                  <a:lnTo>
                    <a:pt x="124" y="630"/>
                  </a:lnTo>
                  <a:lnTo>
                    <a:pt x="125" y="630"/>
                  </a:lnTo>
                  <a:lnTo>
                    <a:pt x="125" y="633"/>
                  </a:lnTo>
                  <a:lnTo>
                    <a:pt x="125" y="634"/>
                  </a:lnTo>
                  <a:lnTo>
                    <a:pt x="125" y="635"/>
                  </a:lnTo>
                  <a:lnTo>
                    <a:pt x="127" y="634"/>
                  </a:lnTo>
                  <a:lnTo>
                    <a:pt x="128" y="633"/>
                  </a:lnTo>
                  <a:lnTo>
                    <a:pt x="128" y="631"/>
                  </a:lnTo>
                  <a:lnTo>
                    <a:pt x="129" y="630"/>
                  </a:lnTo>
                  <a:lnTo>
                    <a:pt x="130" y="629"/>
                  </a:lnTo>
                  <a:lnTo>
                    <a:pt x="131" y="629"/>
                  </a:lnTo>
                  <a:lnTo>
                    <a:pt x="131" y="630"/>
                  </a:lnTo>
                  <a:lnTo>
                    <a:pt x="131" y="633"/>
                  </a:lnTo>
                  <a:lnTo>
                    <a:pt x="130" y="634"/>
                  </a:lnTo>
                  <a:lnTo>
                    <a:pt x="131" y="636"/>
                  </a:lnTo>
                  <a:lnTo>
                    <a:pt x="130" y="636"/>
                  </a:lnTo>
                  <a:lnTo>
                    <a:pt x="130" y="638"/>
                  </a:lnTo>
                  <a:lnTo>
                    <a:pt x="130" y="639"/>
                  </a:lnTo>
                  <a:lnTo>
                    <a:pt x="131" y="640"/>
                  </a:lnTo>
                  <a:lnTo>
                    <a:pt x="131" y="641"/>
                  </a:lnTo>
                  <a:lnTo>
                    <a:pt x="131" y="642"/>
                  </a:lnTo>
                  <a:lnTo>
                    <a:pt x="131" y="644"/>
                  </a:lnTo>
                  <a:lnTo>
                    <a:pt x="130" y="645"/>
                  </a:lnTo>
                  <a:lnTo>
                    <a:pt x="129" y="645"/>
                  </a:lnTo>
                  <a:lnTo>
                    <a:pt x="130" y="645"/>
                  </a:lnTo>
                  <a:lnTo>
                    <a:pt x="131" y="645"/>
                  </a:lnTo>
                  <a:lnTo>
                    <a:pt x="131" y="646"/>
                  </a:lnTo>
                  <a:lnTo>
                    <a:pt x="130" y="647"/>
                  </a:lnTo>
                  <a:lnTo>
                    <a:pt x="129" y="647"/>
                  </a:lnTo>
                  <a:lnTo>
                    <a:pt x="129" y="646"/>
                  </a:lnTo>
                  <a:lnTo>
                    <a:pt x="127" y="646"/>
                  </a:lnTo>
                  <a:lnTo>
                    <a:pt x="127" y="647"/>
                  </a:lnTo>
                  <a:lnTo>
                    <a:pt x="124" y="647"/>
                  </a:lnTo>
                  <a:lnTo>
                    <a:pt x="123" y="646"/>
                  </a:lnTo>
                  <a:lnTo>
                    <a:pt x="122" y="646"/>
                  </a:lnTo>
                  <a:lnTo>
                    <a:pt x="119" y="646"/>
                  </a:lnTo>
                  <a:lnTo>
                    <a:pt x="119" y="645"/>
                  </a:lnTo>
                  <a:lnTo>
                    <a:pt x="118" y="645"/>
                  </a:lnTo>
                  <a:lnTo>
                    <a:pt x="117" y="645"/>
                  </a:lnTo>
                  <a:lnTo>
                    <a:pt x="116" y="644"/>
                  </a:lnTo>
                  <a:lnTo>
                    <a:pt x="115" y="644"/>
                  </a:lnTo>
                  <a:lnTo>
                    <a:pt x="113" y="644"/>
                  </a:lnTo>
                  <a:lnTo>
                    <a:pt x="111" y="644"/>
                  </a:lnTo>
                  <a:lnTo>
                    <a:pt x="110" y="644"/>
                  </a:lnTo>
                  <a:lnTo>
                    <a:pt x="109" y="644"/>
                  </a:lnTo>
                  <a:lnTo>
                    <a:pt x="107" y="642"/>
                  </a:lnTo>
                  <a:lnTo>
                    <a:pt x="106" y="642"/>
                  </a:lnTo>
                  <a:lnTo>
                    <a:pt x="105" y="642"/>
                  </a:lnTo>
                  <a:lnTo>
                    <a:pt x="104" y="644"/>
                  </a:lnTo>
                  <a:lnTo>
                    <a:pt x="103" y="644"/>
                  </a:lnTo>
                  <a:lnTo>
                    <a:pt x="100" y="644"/>
                  </a:lnTo>
                  <a:lnTo>
                    <a:pt x="99" y="644"/>
                  </a:lnTo>
                  <a:lnTo>
                    <a:pt x="98" y="644"/>
                  </a:lnTo>
                  <a:lnTo>
                    <a:pt x="95" y="642"/>
                  </a:lnTo>
                  <a:lnTo>
                    <a:pt x="94" y="641"/>
                  </a:lnTo>
                  <a:lnTo>
                    <a:pt x="93" y="640"/>
                  </a:lnTo>
                  <a:lnTo>
                    <a:pt x="92" y="640"/>
                  </a:lnTo>
                  <a:lnTo>
                    <a:pt x="89" y="640"/>
                  </a:lnTo>
                  <a:lnTo>
                    <a:pt x="91" y="641"/>
                  </a:lnTo>
                  <a:lnTo>
                    <a:pt x="92" y="641"/>
                  </a:lnTo>
                  <a:lnTo>
                    <a:pt x="93" y="642"/>
                  </a:lnTo>
                  <a:lnTo>
                    <a:pt x="94" y="642"/>
                  </a:lnTo>
                  <a:lnTo>
                    <a:pt x="95" y="644"/>
                  </a:lnTo>
                  <a:lnTo>
                    <a:pt x="95" y="645"/>
                  </a:lnTo>
                  <a:lnTo>
                    <a:pt x="95" y="646"/>
                  </a:lnTo>
                  <a:lnTo>
                    <a:pt x="94" y="646"/>
                  </a:lnTo>
                  <a:lnTo>
                    <a:pt x="92" y="646"/>
                  </a:lnTo>
                  <a:lnTo>
                    <a:pt x="89" y="646"/>
                  </a:lnTo>
                  <a:lnTo>
                    <a:pt x="88" y="646"/>
                  </a:lnTo>
                  <a:lnTo>
                    <a:pt x="87" y="647"/>
                  </a:lnTo>
                  <a:lnTo>
                    <a:pt x="86" y="647"/>
                  </a:lnTo>
                  <a:lnTo>
                    <a:pt x="86" y="648"/>
                  </a:lnTo>
                  <a:lnTo>
                    <a:pt x="88" y="648"/>
                  </a:lnTo>
                  <a:lnTo>
                    <a:pt x="91" y="648"/>
                  </a:lnTo>
                  <a:lnTo>
                    <a:pt x="91" y="650"/>
                  </a:lnTo>
                  <a:lnTo>
                    <a:pt x="89" y="650"/>
                  </a:lnTo>
                  <a:lnTo>
                    <a:pt x="87" y="651"/>
                  </a:lnTo>
                  <a:lnTo>
                    <a:pt x="86" y="652"/>
                  </a:lnTo>
                  <a:lnTo>
                    <a:pt x="84" y="652"/>
                  </a:lnTo>
                  <a:lnTo>
                    <a:pt x="83" y="652"/>
                  </a:lnTo>
                  <a:lnTo>
                    <a:pt x="83" y="651"/>
                  </a:lnTo>
                  <a:lnTo>
                    <a:pt x="81" y="651"/>
                  </a:lnTo>
                  <a:lnTo>
                    <a:pt x="80" y="651"/>
                  </a:lnTo>
                  <a:lnTo>
                    <a:pt x="78" y="651"/>
                  </a:lnTo>
                  <a:lnTo>
                    <a:pt x="78" y="652"/>
                  </a:lnTo>
                  <a:lnTo>
                    <a:pt x="80" y="652"/>
                  </a:lnTo>
                  <a:lnTo>
                    <a:pt x="81" y="652"/>
                  </a:lnTo>
                  <a:lnTo>
                    <a:pt x="81" y="653"/>
                  </a:lnTo>
                  <a:lnTo>
                    <a:pt x="75" y="653"/>
                  </a:lnTo>
                  <a:lnTo>
                    <a:pt x="75" y="654"/>
                  </a:lnTo>
                  <a:lnTo>
                    <a:pt x="76" y="654"/>
                  </a:lnTo>
                  <a:lnTo>
                    <a:pt x="78" y="654"/>
                  </a:lnTo>
                  <a:lnTo>
                    <a:pt x="80" y="654"/>
                  </a:lnTo>
                  <a:lnTo>
                    <a:pt x="81" y="654"/>
                  </a:lnTo>
                  <a:lnTo>
                    <a:pt x="81" y="656"/>
                  </a:lnTo>
                  <a:lnTo>
                    <a:pt x="81" y="657"/>
                  </a:lnTo>
                  <a:lnTo>
                    <a:pt x="82" y="657"/>
                  </a:lnTo>
                  <a:lnTo>
                    <a:pt x="82" y="656"/>
                  </a:lnTo>
                  <a:lnTo>
                    <a:pt x="83" y="656"/>
                  </a:lnTo>
                  <a:lnTo>
                    <a:pt x="84" y="654"/>
                  </a:lnTo>
                  <a:lnTo>
                    <a:pt x="86" y="654"/>
                  </a:lnTo>
                  <a:lnTo>
                    <a:pt x="86" y="656"/>
                  </a:lnTo>
                  <a:lnTo>
                    <a:pt x="86" y="659"/>
                  </a:lnTo>
                  <a:lnTo>
                    <a:pt x="86" y="663"/>
                  </a:lnTo>
                  <a:lnTo>
                    <a:pt x="86" y="665"/>
                  </a:lnTo>
                  <a:lnTo>
                    <a:pt x="87" y="665"/>
                  </a:lnTo>
                  <a:lnTo>
                    <a:pt x="88" y="663"/>
                  </a:lnTo>
                  <a:lnTo>
                    <a:pt x="88" y="660"/>
                  </a:lnTo>
                  <a:lnTo>
                    <a:pt x="89" y="662"/>
                  </a:lnTo>
                  <a:lnTo>
                    <a:pt x="89" y="663"/>
                  </a:lnTo>
                  <a:lnTo>
                    <a:pt x="89" y="665"/>
                  </a:lnTo>
                  <a:lnTo>
                    <a:pt x="91" y="665"/>
                  </a:lnTo>
                  <a:lnTo>
                    <a:pt x="92" y="664"/>
                  </a:lnTo>
                  <a:lnTo>
                    <a:pt x="92" y="663"/>
                  </a:lnTo>
                  <a:lnTo>
                    <a:pt x="92" y="659"/>
                  </a:lnTo>
                  <a:lnTo>
                    <a:pt x="91" y="656"/>
                  </a:lnTo>
                  <a:lnTo>
                    <a:pt x="91" y="654"/>
                  </a:lnTo>
                  <a:lnTo>
                    <a:pt x="92" y="653"/>
                  </a:lnTo>
                  <a:lnTo>
                    <a:pt x="93" y="652"/>
                  </a:lnTo>
                  <a:lnTo>
                    <a:pt x="95" y="651"/>
                  </a:lnTo>
                  <a:lnTo>
                    <a:pt x="95" y="652"/>
                  </a:lnTo>
                  <a:lnTo>
                    <a:pt x="94" y="653"/>
                  </a:lnTo>
                  <a:lnTo>
                    <a:pt x="94" y="654"/>
                  </a:lnTo>
                  <a:lnTo>
                    <a:pt x="93" y="654"/>
                  </a:lnTo>
                  <a:lnTo>
                    <a:pt x="92" y="656"/>
                  </a:lnTo>
                  <a:lnTo>
                    <a:pt x="92" y="657"/>
                  </a:lnTo>
                  <a:lnTo>
                    <a:pt x="93" y="658"/>
                  </a:lnTo>
                  <a:lnTo>
                    <a:pt x="93" y="659"/>
                  </a:lnTo>
                  <a:lnTo>
                    <a:pt x="93" y="662"/>
                  </a:lnTo>
                  <a:lnTo>
                    <a:pt x="92" y="663"/>
                  </a:lnTo>
                  <a:lnTo>
                    <a:pt x="93" y="665"/>
                  </a:lnTo>
                  <a:lnTo>
                    <a:pt x="93" y="666"/>
                  </a:lnTo>
                  <a:lnTo>
                    <a:pt x="93" y="670"/>
                  </a:lnTo>
                  <a:lnTo>
                    <a:pt x="93" y="671"/>
                  </a:lnTo>
                  <a:lnTo>
                    <a:pt x="94" y="671"/>
                  </a:lnTo>
                  <a:lnTo>
                    <a:pt x="94" y="670"/>
                  </a:lnTo>
                  <a:lnTo>
                    <a:pt x="94" y="658"/>
                  </a:lnTo>
                  <a:lnTo>
                    <a:pt x="95" y="658"/>
                  </a:lnTo>
                  <a:lnTo>
                    <a:pt x="97" y="659"/>
                  </a:lnTo>
                  <a:lnTo>
                    <a:pt x="97" y="662"/>
                  </a:lnTo>
                  <a:lnTo>
                    <a:pt x="97" y="663"/>
                  </a:lnTo>
                  <a:lnTo>
                    <a:pt x="97" y="664"/>
                  </a:lnTo>
                  <a:lnTo>
                    <a:pt x="97" y="665"/>
                  </a:lnTo>
                  <a:lnTo>
                    <a:pt x="97" y="666"/>
                  </a:lnTo>
                  <a:lnTo>
                    <a:pt x="97" y="668"/>
                  </a:lnTo>
                  <a:lnTo>
                    <a:pt x="97" y="669"/>
                  </a:lnTo>
                  <a:lnTo>
                    <a:pt x="97" y="670"/>
                  </a:lnTo>
                  <a:lnTo>
                    <a:pt x="97" y="675"/>
                  </a:lnTo>
                  <a:lnTo>
                    <a:pt x="98" y="676"/>
                  </a:lnTo>
                  <a:lnTo>
                    <a:pt x="99" y="677"/>
                  </a:lnTo>
                  <a:lnTo>
                    <a:pt x="99" y="676"/>
                  </a:lnTo>
                  <a:lnTo>
                    <a:pt x="99" y="675"/>
                  </a:lnTo>
                  <a:lnTo>
                    <a:pt x="99" y="664"/>
                  </a:lnTo>
                  <a:lnTo>
                    <a:pt x="99" y="663"/>
                  </a:lnTo>
                  <a:lnTo>
                    <a:pt x="100" y="663"/>
                  </a:lnTo>
                  <a:lnTo>
                    <a:pt x="101" y="663"/>
                  </a:lnTo>
                  <a:lnTo>
                    <a:pt x="101" y="664"/>
                  </a:lnTo>
                  <a:lnTo>
                    <a:pt x="101" y="666"/>
                  </a:lnTo>
                  <a:lnTo>
                    <a:pt x="103" y="665"/>
                  </a:lnTo>
                  <a:lnTo>
                    <a:pt x="104" y="664"/>
                  </a:lnTo>
                  <a:lnTo>
                    <a:pt x="104" y="663"/>
                  </a:lnTo>
                  <a:lnTo>
                    <a:pt x="105" y="663"/>
                  </a:lnTo>
                  <a:lnTo>
                    <a:pt x="105" y="662"/>
                  </a:lnTo>
                  <a:lnTo>
                    <a:pt x="106" y="662"/>
                  </a:lnTo>
                  <a:lnTo>
                    <a:pt x="107" y="663"/>
                  </a:lnTo>
                  <a:lnTo>
                    <a:pt x="110" y="663"/>
                  </a:lnTo>
                  <a:lnTo>
                    <a:pt x="109" y="663"/>
                  </a:lnTo>
                  <a:lnTo>
                    <a:pt x="109" y="662"/>
                  </a:lnTo>
                  <a:lnTo>
                    <a:pt x="109" y="660"/>
                  </a:lnTo>
                  <a:lnTo>
                    <a:pt x="109" y="659"/>
                  </a:lnTo>
                  <a:lnTo>
                    <a:pt x="109" y="658"/>
                  </a:lnTo>
                  <a:lnTo>
                    <a:pt x="109" y="656"/>
                  </a:lnTo>
                  <a:lnTo>
                    <a:pt x="110" y="656"/>
                  </a:lnTo>
                  <a:lnTo>
                    <a:pt x="110" y="657"/>
                  </a:lnTo>
                  <a:lnTo>
                    <a:pt x="111" y="657"/>
                  </a:lnTo>
                  <a:lnTo>
                    <a:pt x="112" y="657"/>
                  </a:lnTo>
                  <a:lnTo>
                    <a:pt x="112" y="658"/>
                  </a:lnTo>
                  <a:lnTo>
                    <a:pt x="112" y="659"/>
                  </a:lnTo>
                  <a:lnTo>
                    <a:pt x="111" y="662"/>
                  </a:lnTo>
                  <a:lnTo>
                    <a:pt x="111" y="664"/>
                  </a:lnTo>
                  <a:lnTo>
                    <a:pt x="111" y="665"/>
                  </a:lnTo>
                  <a:lnTo>
                    <a:pt x="109" y="665"/>
                  </a:lnTo>
                  <a:lnTo>
                    <a:pt x="109" y="666"/>
                  </a:lnTo>
                  <a:lnTo>
                    <a:pt x="110" y="666"/>
                  </a:lnTo>
                  <a:lnTo>
                    <a:pt x="111" y="666"/>
                  </a:lnTo>
                  <a:lnTo>
                    <a:pt x="111" y="668"/>
                  </a:lnTo>
                  <a:lnTo>
                    <a:pt x="111" y="669"/>
                  </a:lnTo>
                  <a:lnTo>
                    <a:pt x="112" y="669"/>
                  </a:lnTo>
                  <a:lnTo>
                    <a:pt x="112" y="670"/>
                  </a:lnTo>
                  <a:lnTo>
                    <a:pt x="111" y="671"/>
                  </a:lnTo>
                  <a:lnTo>
                    <a:pt x="112" y="671"/>
                  </a:lnTo>
                  <a:lnTo>
                    <a:pt x="112" y="672"/>
                  </a:lnTo>
                  <a:lnTo>
                    <a:pt x="113" y="672"/>
                  </a:lnTo>
                  <a:lnTo>
                    <a:pt x="113" y="671"/>
                  </a:lnTo>
                  <a:lnTo>
                    <a:pt x="113" y="669"/>
                  </a:lnTo>
                  <a:lnTo>
                    <a:pt x="115" y="669"/>
                  </a:lnTo>
                  <a:lnTo>
                    <a:pt x="116" y="669"/>
                  </a:lnTo>
                  <a:lnTo>
                    <a:pt x="116" y="671"/>
                  </a:lnTo>
                  <a:lnTo>
                    <a:pt x="116" y="672"/>
                  </a:lnTo>
                  <a:lnTo>
                    <a:pt x="115" y="674"/>
                  </a:lnTo>
                  <a:lnTo>
                    <a:pt x="113" y="675"/>
                  </a:lnTo>
                  <a:lnTo>
                    <a:pt x="113" y="676"/>
                  </a:lnTo>
                  <a:lnTo>
                    <a:pt x="113" y="677"/>
                  </a:lnTo>
                  <a:lnTo>
                    <a:pt x="113" y="678"/>
                  </a:lnTo>
                  <a:lnTo>
                    <a:pt x="113" y="681"/>
                  </a:lnTo>
                  <a:lnTo>
                    <a:pt x="115" y="682"/>
                  </a:lnTo>
                  <a:lnTo>
                    <a:pt x="113" y="682"/>
                  </a:lnTo>
                  <a:lnTo>
                    <a:pt x="112" y="682"/>
                  </a:lnTo>
                  <a:lnTo>
                    <a:pt x="111" y="683"/>
                  </a:lnTo>
                  <a:lnTo>
                    <a:pt x="110" y="684"/>
                  </a:lnTo>
                  <a:lnTo>
                    <a:pt x="109" y="686"/>
                  </a:lnTo>
                  <a:lnTo>
                    <a:pt x="107" y="687"/>
                  </a:lnTo>
                  <a:lnTo>
                    <a:pt x="106" y="688"/>
                  </a:lnTo>
                  <a:lnTo>
                    <a:pt x="105" y="688"/>
                  </a:lnTo>
                  <a:lnTo>
                    <a:pt x="105" y="689"/>
                  </a:lnTo>
                  <a:lnTo>
                    <a:pt x="104" y="690"/>
                  </a:lnTo>
                  <a:lnTo>
                    <a:pt x="104" y="692"/>
                  </a:lnTo>
                  <a:lnTo>
                    <a:pt x="101" y="693"/>
                  </a:lnTo>
                  <a:lnTo>
                    <a:pt x="99" y="693"/>
                  </a:lnTo>
                  <a:lnTo>
                    <a:pt x="97" y="693"/>
                  </a:lnTo>
                  <a:lnTo>
                    <a:pt x="95" y="693"/>
                  </a:lnTo>
                  <a:lnTo>
                    <a:pt x="94" y="695"/>
                  </a:lnTo>
                  <a:lnTo>
                    <a:pt x="93" y="695"/>
                  </a:lnTo>
                  <a:lnTo>
                    <a:pt x="92" y="695"/>
                  </a:lnTo>
                  <a:lnTo>
                    <a:pt x="89" y="694"/>
                  </a:lnTo>
                  <a:lnTo>
                    <a:pt x="88" y="694"/>
                  </a:lnTo>
                  <a:lnTo>
                    <a:pt x="87" y="693"/>
                  </a:lnTo>
                  <a:lnTo>
                    <a:pt x="84" y="693"/>
                  </a:lnTo>
                  <a:lnTo>
                    <a:pt x="84" y="694"/>
                  </a:lnTo>
                  <a:lnTo>
                    <a:pt x="87" y="694"/>
                  </a:lnTo>
                  <a:lnTo>
                    <a:pt x="88" y="694"/>
                  </a:lnTo>
                  <a:lnTo>
                    <a:pt x="87" y="695"/>
                  </a:lnTo>
                  <a:lnTo>
                    <a:pt x="86" y="695"/>
                  </a:lnTo>
                  <a:lnTo>
                    <a:pt x="84" y="696"/>
                  </a:lnTo>
                  <a:lnTo>
                    <a:pt x="83" y="698"/>
                  </a:lnTo>
                  <a:lnTo>
                    <a:pt x="82" y="698"/>
                  </a:lnTo>
                  <a:lnTo>
                    <a:pt x="83" y="698"/>
                  </a:lnTo>
                  <a:lnTo>
                    <a:pt x="86" y="698"/>
                  </a:lnTo>
                  <a:lnTo>
                    <a:pt x="88" y="698"/>
                  </a:lnTo>
                  <a:lnTo>
                    <a:pt x="88" y="699"/>
                  </a:lnTo>
                  <a:lnTo>
                    <a:pt x="87" y="700"/>
                  </a:lnTo>
                  <a:lnTo>
                    <a:pt x="87" y="701"/>
                  </a:lnTo>
                  <a:lnTo>
                    <a:pt x="88" y="701"/>
                  </a:lnTo>
                  <a:lnTo>
                    <a:pt x="89" y="700"/>
                  </a:lnTo>
                  <a:lnTo>
                    <a:pt x="89" y="699"/>
                  </a:lnTo>
                  <a:lnTo>
                    <a:pt x="92" y="699"/>
                  </a:lnTo>
                  <a:lnTo>
                    <a:pt x="92" y="700"/>
                  </a:lnTo>
                  <a:lnTo>
                    <a:pt x="92" y="702"/>
                  </a:lnTo>
                  <a:lnTo>
                    <a:pt x="93" y="702"/>
                  </a:lnTo>
                  <a:lnTo>
                    <a:pt x="93" y="701"/>
                  </a:lnTo>
                  <a:lnTo>
                    <a:pt x="93" y="700"/>
                  </a:lnTo>
                  <a:lnTo>
                    <a:pt x="94" y="699"/>
                  </a:lnTo>
                  <a:lnTo>
                    <a:pt x="94" y="696"/>
                  </a:lnTo>
                  <a:lnTo>
                    <a:pt x="95" y="696"/>
                  </a:lnTo>
                  <a:lnTo>
                    <a:pt x="95" y="698"/>
                  </a:lnTo>
                  <a:lnTo>
                    <a:pt x="95" y="699"/>
                  </a:lnTo>
                  <a:lnTo>
                    <a:pt x="95" y="700"/>
                  </a:lnTo>
                  <a:lnTo>
                    <a:pt x="95" y="702"/>
                  </a:lnTo>
                  <a:lnTo>
                    <a:pt x="95" y="704"/>
                  </a:lnTo>
                  <a:lnTo>
                    <a:pt x="95" y="706"/>
                  </a:lnTo>
                  <a:lnTo>
                    <a:pt x="94" y="707"/>
                  </a:lnTo>
                  <a:lnTo>
                    <a:pt x="92" y="707"/>
                  </a:lnTo>
                  <a:lnTo>
                    <a:pt x="88" y="707"/>
                  </a:lnTo>
                  <a:lnTo>
                    <a:pt x="86" y="706"/>
                  </a:lnTo>
                  <a:lnTo>
                    <a:pt x="84" y="705"/>
                  </a:lnTo>
                  <a:lnTo>
                    <a:pt x="83" y="706"/>
                  </a:lnTo>
                  <a:lnTo>
                    <a:pt x="82" y="705"/>
                  </a:lnTo>
                  <a:lnTo>
                    <a:pt x="82" y="704"/>
                  </a:lnTo>
                  <a:lnTo>
                    <a:pt x="81" y="704"/>
                  </a:lnTo>
                  <a:lnTo>
                    <a:pt x="81" y="705"/>
                  </a:lnTo>
                  <a:lnTo>
                    <a:pt x="80" y="705"/>
                  </a:lnTo>
                  <a:lnTo>
                    <a:pt x="80" y="704"/>
                  </a:lnTo>
                  <a:lnTo>
                    <a:pt x="78" y="702"/>
                  </a:lnTo>
                  <a:lnTo>
                    <a:pt x="77" y="702"/>
                  </a:lnTo>
                  <a:lnTo>
                    <a:pt x="77" y="704"/>
                  </a:lnTo>
                  <a:lnTo>
                    <a:pt x="77" y="705"/>
                  </a:lnTo>
                  <a:lnTo>
                    <a:pt x="75" y="704"/>
                  </a:lnTo>
                  <a:lnTo>
                    <a:pt x="72" y="704"/>
                  </a:lnTo>
                  <a:lnTo>
                    <a:pt x="71" y="704"/>
                  </a:lnTo>
                  <a:lnTo>
                    <a:pt x="72" y="705"/>
                  </a:lnTo>
                  <a:lnTo>
                    <a:pt x="74" y="705"/>
                  </a:lnTo>
                  <a:lnTo>
                    <a:pt x="75" y="706"/>
                  </a:lnTo>
                  <a:lnTo>
                    <a:pt x="75" y="707"/>
                  </a:lnTo>
                  <a:lnTo>
                    <a:pt x="75" y="708"/>
                  </a:lnTo>
                  <a:lnTo>
                    <a:pt x="76" y="708"/>
                  </a:lnTo>
                  <a:lnTo>
                    <a:pt x="77" y="708"/>
                  </a:lnTo>
                  <a:lnTo>
                    <a:pt x="78" y="708"/>
                  </a:lnTo>
                  <a:lnTo>
                    <a:pt x="78" y="707"/>
                  </a:lnTo>
                  <a:lnTo>
                    <a:pt x="80" y="707"/>
                  </a:lnTo>
                  <a:lnTo>
                    <a:pt x="81" y="707"/>
                  </a:lnTo>
                  <a:lnTo>
                    <a:pt x="81" y="708"/>
                  </a:lnTo>
                  <a:lnTo>
                    <a:pt x="80" y="708"/>
                  </a:lnTo>
                  <a:lnTo>
                    <a:pt x="80" y="710"/>
                  </a:lnTo>
                  <a:lnTo>
                    <a:pt x="81" y="710"/>
                  </a:lnTo>
                  <a:lnTo>
                    <a:pt x="82" y="710"/>
                  </a:lnTo>
                  <a:lnTo>
                    <a:pt x="81" y="711"/>
                  </a:lnTo>
                  <a:lnTo>
                    <a:pt x="81" y="713"/>
                  </a:lnTo>
                  <a:lnTo>
                    <a:pt x="82" y="713"/>
                  </a:lnTo>
                  <a:lnTo>
                    <a:pt x="82" y="712"/>
                  </a:lnTo>
                  <a:lnTo>
                    <a:pt x="82" y="711"/>
                  </a:lnTo>
                  <a:lnTo>
                    <a:pt x="83" y="711"/>
                  </a:lnTo>
                  <a:lnTo>
                    <a:pt x="82" y="710"/>
                  </a:lnTo>
                  <a:lnTo>
                    <a:pt x="83" y="708"/>
                  </a:lnTo>
                  <a:lnTo>
                    <a:pt x="84" y="708"/>
                  </a:lnTo>
                  <a:lnTo>
                    <a:pt x="87" y="708"/>
                  </a:lnTo>
                  <a:lnTo>
                    <a:pt x="84" y="710"/>
                  </a:lnTo>
                  <a:lnTo>
                    <a:pt x="84" y="711"/>
                  </a:lnTo>
                  <a:lnTo>
                    <a:pt x="83" y="712"/>
                  </a:lnTo>
                  <a:lnTo>
                    <a:pt x="84" y="713"/>
                  </a:lnTo>
                  <a:lnTo>
                    <a:pt x="86" y="713"/>
                  </a:lnTo>
                  <a:lnTo>
                    <a:pt x="86" y="712"/>
                  </a:lnTo>
                  <a:lnTo>
                    <a:pt x="86" y="711"/>
                  </a:lnTo>
                  <a:lnTo>
                    <a:pt x="87" y="711"/>
                  </a:lnTo>
                  <a:lnTo>
                    <a:pt x="87" y="710"/>
                  </a:lnTo>
                  <a:lnTo>
                    <a:pt x="88" y="710"/>
                  </a:lnTo>
                  <a:lnTo>
                    <a:pt x="89" y="708"/>
                  </a:lnTo>
                  <a:lnTo>
                    <a:pt x="91" y="710"/>
                  </a:lnTo>
                  <a:lnTo>
                    <a:pt x="89" y="710"/>
                  </a:lnTo>
                  <a:lnTo>
                    <a:pt x="89" y="711"/>
                  </a:lnTo>
                  <a:lnTo>
                    <a:pt x="88" y="713"/>
                  </a:lnTo>
                  <a:lnTo>
                    <a:pt x="88" y="714"/>
                  </a:lnTo>
                  <a:lnTo>
                    <a:pt x="88" y="716"/>
                  </a:lnTo>
                  <a:lnTo>
                    <a:pt x="87" y="717"/>
                  </a:lnTo>
                  <a:lnTo>
                    <a:pt x="87" y="718"/>
                  </a:lnTo>
                  <a:lnTo>
                    <a:pt x="87" y="719"/>
                  </a:lnTo>
                  <a:lnTo>
                    <a:pt x="86" y="719"/>
                  </a:lnTo>
                  <a:lnTo>
                    <a:pt x="84" y="718"/>
                  </a:lnTo>
                  <a:lnTo>
                    <a:pt x="83" y="717"/>
                  </a:lnTo>
                  <a:lnTo>
                    <a:pt x="83" y="718"/>
                  </a:lnTo>
                  <a:lnTo>
                    <a:pt x="83" y="719"/>
                  </a:lnTo>
                  <a:lnTo>
                    <a:pt x="84" y="719"/>
                  </a:lnTo>
                  <a:lnTo>
                    <a:pt x="86" y="720"/>
                  </a:lnTo>
                  <a:lnTo>
                    <a:pt x="84" y="720"/>
                  </a:lnTo>
                  <a:lnTo>
                    <a:pt x="84" y="722"/>
                  </a:lnTo>
                  <a:lnTo>
                    <a:pt x="82" y="722"/>
                  </a:lnTo>
                  <a:lnTo>
                    <a:pt x="80" y="723"/>
                  </a:lnTo>
                  <a:lnTo>
                    <a:pt x="77" y="723"/>
                  </a:lnTo>
                  <a:lnTo>
                    <a:pt x="76" y="724"/>
                  </a:lnTo>
                  <a:lnTo>
                    <a:pt x="77" y="725"/>
                  </a:lnTo>
                  <a:lnTo>
                    <a:pt x="78" y="725"/>
                  </a:lnTo>
                  <a:lnTo>
                    <a:pt x="80" y="725"/>
                  </a:lnTo>
                  <a:lnTo>
                    <a:pt x="81" y="725"/>
                  </a:lnTo>
                  <a:lnTo>
                    <a:pt x="82" y="724"/>
                  </a:lnTo>
                  <a:lnTo>
                    <a:pt x="84" y="724"/>
                  </a:lnTo>
                  <a:lnTo>
                    <a:pt x="84" y="725"/>
                  </a:lnTo>
                  <a:lnTo>
                    <a:pt x="83" y="725"/>
                  </a:lnTo>
                  <a:lnTo>
                    <a:pt x="82" y="725"/>
                  </a:lnTo>
                  <a:lnTo>
                    <a:pt x="81" y="728"/>
                  </a:lnTo>
                  <a:lnTo>
                    <a:pt x="80" y="729"/>
                  </a:lnTo>
                  <a:lnTo>
                    <a:pt x="81" y="729"/>
                  </a:lnTo>
                  <a:lnTo>
                    <a:pt x="82" y="729"/>
                  </a:lnTo>
                  <a:lnTo>
                    <a:pt x="83" y="728"/>
                  </a:lnTo>
                  <a:lnTo>
                    <a:pt x="83" y="729"/>
                  </a:lnTo>
                  <a:lnTo>
                    <a:pt x="83" y="731"/>
                  </a:lnTo>
                  <a:lnTo>
                    <a:pt x="83" y="734"/>
                  </a:lnTo>
                  <a:lnTo>
                    <a:pt x="84" y="732"/>
                  </a:lnTo>
                  <a:lnTo>
                    <a:pt x="86" y="731"/>
                  </a:lnTo>
                  <a:lnTo>
                    <a:pt x="86" y="730"/>
                  </a:lnTo>
                  <a:lnTo>
                    <a:pt x="86" y="729"/>
                  </a:lnTo>
                  <a:lnTo>
                    <a:pt x="87" y="728"/>
                  </a:lnTo>
                  <a:lnTo>
                    <a:pt x="87" y="726"/>
                  </a:lnTo>
                  <a:lnTo>
                    <a:pt x="88" y="726"/>
                  </a:lnTo>
                  <a:lnTo>
                    <a:pt x="88" y="728"/>
                  </a:lnTo>
                  <a:lnTo>
                    <a:pt x="88" y="729"/>
                  </a:lnTo>
                  <a:lnTo>
                    <a:pt x="88" y="731"/>
                  </a:lnTo>
                  <a:lnTo>
                    <a:pt x="88" y="730"/>
                  </a:lnTo>
                  <a:lnTo>
                    <a:pt x="89" y="730"/>
                  </a:lnTo>
                  <a:lnTo>
                    <a:pt x="91" y="730"/>
                  </a:lnTo>
                  <a:lnTo>
                    <a:pt x="91" y="731"/>
                  </a:lnTo>
                  <a:lnTo>
                    <a:pt x="91" y="741"/>
                  </a:lnTo>
                  <a:lnTo>
                    <a:pt x="91" y="742"/>
                  </a:lnTo>
                  <a:lnTo>
                    <a:pt x="92" y="743"/>
                  </a:lnTo>
                  <a:lnTo>
                    <a:pt x="93" y="742"/>
                  </a:lnTo>
                  <a:lnTo>
                    <a:pt x="93" y="740"/>
                  </a:lnTo>
                  <a:lnTo>
                    <a:pt x="93" y="737"/>
                  </a:lnTo>
                  <a:lnTo>
                    <a:pt x="94" y="737"/>
                  </a:lnTo>
                  <a:lnTo>
                    <a:pt x="94" y="740"/>
                  </a:lnTo>
                  <a:lnTo>
                    <a:pt x="94" y="741"/>
                  </a:lnTo>
                  <a:lnTo>
                    <a:pt x="95" y="740"/>
                  </a:lnTo>
                  <a:lnTo>
                    <a:pt x="95" y="738"/>
                  </a:lnTo>
                  <a:lnTo>
                    <a:pt x="97" y="737"/>
                  </a:lnTo>
                  <a:lnTo>
                    <a:pt x="97" y="736"/>
                  </a:lnTo>
                  <a:lnTo>
                    <a:pt x="98" y="735"/>
                  </a:lnTo>
                  <a:lnTo>
                    <a:pt x="98" y="734"/>
                  </a:lnTo>
                  <a:lnTo>
                    <a:pt x="99" y="734"/>
                  </a:lnTo>
                  <a:lnTo>
                    <a:pt x="100" y="735"/>
                  </a:lnTo>
                  <a:lnTo>
                    <a:pt x="101" y="735"/>
                  </a:lnTo>
                  <a:lnTo>
                    <a:pt x="103" y="734"/>
                  </a:lnTo>
                  <a:lnTo>
                    <a:pt x="104" y="734"/>
                  </a:lnTo>
                  <a:lnTo>
                    <a:pt x="104" y="737"/>
                  </a:lnTo>
                  <a:lnTo>
                    <a:pt x="105" y="738"/>
                  </a:lnTo>
                  <a:lnTo>
                    <a:pt x="105" y="740"/>
                  </a:lnTo>
                  <a:lnTo>
                    <a:pt x="104" y="741"/>
                  </a:lnTo>
                  <a:lnTo>
                    <a:pt x="104" y="742"/>
                  </a:lnTo>
                  <a:lnTo>
                    <a:pt x="104" y="743"/>
                  </a:lnTo>
                  <a:lnTo>
                    <a:pt x="103" y="745"/>
                  </a:lnTo>
                  <a:lnTo>
                    <a:pt x="103" y="746"/>
                  </a:lnTo>
                  <a:lnTo>
                    <a:pt x="103" y="747"/>
                  </a:lnTo>
                  <a:lnTo>
                    <a:pt x="104" y="747"/>
                  </a:lnTo>
                  <a:lnTo>
                    <a:pt x="104" y="746"/>
                  </a:lnTo>
                  <a:lnTo>
                    <a:pt x="105" y="746"/>
                  </a:lnTo>
                  <a:lnTo>
                    <a:pt x="105" y="745"/>
                  </a:lnTo>
                  <a:lnTo>
                    <a:pt x="105" y="743"/>
                  </a:lnTo>
                  <a:lnTo>
                    <a:pt x="106" y="743"/>
                  </a:lnTo>
                  <a:lnTo>
                    <a:pt x="106" y="746"/>
                  </a:lnTo>
                  <a:lnTo>
                    <a:pt x="106" y="747"/>
                  </a:lnTo>
                  <a:lnTo>
                    <a:pt x="107" y="747"/>
                  </a:lnTo>
                  <a:lnTo>
                    <a:pt x="109" y="745"/>
                  </a:lnTo>
                  <a:lnTo>
                    <a:pt x="109" y="743"/>
                  </a:lnTo>
                  <a:lnTo>
                    <a:pt x="110" y="742"/>
                  </a:lnTo>
                  <a:lnTo>
                    <a:pt x="110" y="743"/>
                  </a:lnTo>
                  <a:lnTo>
                    <a:pt x="111" y="742"/>
                  </a:lnTo>
                  <a:lnTo>
                    <a:pt x="111" y="740"/>
                  </a:lnTo>
                  <a:lnTo>
                    <a:pt x="112" y="738"/>
                  </a:lnTo>
                  <a:lnTo>
                    <a:pt x="112" y="740"/>
                  </a:lnTo>
                  <a:lnTo>
                    <a:pt x="112" y="741"/>
                  </a:lnTo>
                  <a:lnTo>
                    <a:pt x="113" y="741"/>
                  </a:lnTo>
                  <a:lnTo>
                    <a:pt x="115" y="740"/>
                  </a:lnTo>
                  <a:lnTo>
                    <a:pt x="115" y="741"/>
                  </a:lnTo>
                  <a:lnTo>
                    <a:pt x="115" y="742"/>
                  </a:lnTo>
                  <a:lnTo>
                    <a:pt x="116" y="743"/>
                  </a:lnTo>
                  <a:lnTo>
                    <a:pt x="117" y="743"/>
                  </a:lnTo>
                  <a:lnTo>
                    <a:pt x="117" y="745"/>
                  </a:lnTo>
                  <a:lnTo>
                    <a:pt x="117" y="746"/>
                  </a:lnTo>
                  <a:lnTo>
                    <a:pt x="119" y="746"/>
                  </a:lnTo>
                  <a:lnTo>
                    <a:pt x="119" y="745"/>
                  </a:lnTo>
                  <a:lnTo>
                    <a:pt x="119" y="741"/>
                  </a:lnTo>
                  <a:lnTo>
                    <a:pt x="121" y="741"/>
                  </a:lnTo>
                  <a:lnTo>
                    <a:pt x="122" y="742"/>
                  </a:lnTo>
                  <a:lnTo>
                    <a:pt x="123" y="742"/>
                  </a:lnTo>
                  <a:lnTo>
                    <a:pt x="123" y="743"/>
                  </a:lnTo>
                  <a:lnTo>
                    <a:pt x="123" y="745"/>
                  </a:lnTo>
                  <a:lnTo>
                    <a:pt x="122" y="747"/>
                  </a:lnTo>
                  <a:lnTo>
                    <a:pt x="121" y="748"/>
                  </a:lnTo>
                  <a:lnTo>
                    <a:pt x="121" y="749"/>
                  </a:lnTo>
                  <a:lnTo>
                    <a:pt x="121" y="751"/>
                  </a:lnTo>
                  <a:lnTo>
                    <a:pt x="122" y="749"/>
                  </a:lnTo>
                  <a:lnTo>
                    <a:pt x="123" y="748"/>
                  </a:lnTo>
                  <a:lnTo>
                    <a:pt x="124" y="748"/>
                  </a:lnTo>
                  <a:lnTo>
                    <a:pt x="125" y="748"/>
                  </a:lnTo>
                  <a:lnTo>
                    <a:pt x="127" y="749"/>
                  </a:lnTo>
                  <a:lnTo>
                    <a:pt x="128" y="752"/>
                  </a:lnTo>
                  <a:lnTo>
                    <a:pt x="129" y="753"/>
                  </a:lnTo>
                  <a:lnTo>
                    <a:pt x="130" y="754"/>
                  </a:lnTo>
                  <a:lnTo>
                    <a:pt x="129" y="757"/>
                  </a:lnTo>
                  <a:lnTo>
                    <a:pt x="128" y="758"/>
                  </a:lnTo>
                  <a:lnTo>
                    <a:pt x="127" y="758"/>
                  </a:lnTo>
                  <a:lnTo>
                    <a:pt x="125" y="759"/>
                  </a:lnTo>
                  <a:lnTo>
                    <a:pt x="124" y="759"/>
                  </a:lnTo>
                  <a:lnTo>
                    <a:pt x="123" y="758"/>
                  </a:lnTo>
                  <a:lnTo>
                    <a:pt x="122" y="759"/>
                  </a:lnTo>
                  <a:lnTo>
                    <a:pt x="119" y="759"/>
                  </a:lnTo>
                  <a:lnTo>
                    <a:pt x="118" y="759"/>
                  </a:lnTo>
                  <a:lnTo>
                    <a:pt x="116" y="758"/>
                  </a:lnTo>
                  <a:lnTo>
                    <a:pt x="116" y="757"/>
                  </a:lnTo>
                  <a:lnTo>
                    <a:pt x="115" y="757"/>
                  </a:lnTo>
                  <a:lnTo>
                    <a:pt x="113" y="757"/>
                  </a:lnTo>
                  <a:lnTo>
                    <a:pt x="112" y="757"/>
                  </a:lnTo>
                  <a:lnTo>
                    <a:pt x="111" y="757"/>
                  </a:lnTo>
                  <a:lnTo>
                    <a:pt x="107" y="757"/>
                  </a:lnTo>
                  <a:lnTo>
                    <a:pt x="105" y="755"/>
                  </a:lnTo>
                  <a:lnTo>
                    <a:pt x="104" y="755"/>
                  </a:lnTo>
                  <a:lnTo>
                    <a:pt x="104" y="757"/>
                  </a:lnTo>
                  <a:lnTo>
                    <a:pt x="105" y="757"/>
                  </a:lnTo>
                  <a:lnTo>
                    <a:pt x="106" y="758"/>
                  </a:lnTo>
                  <a:lnTo>
                    <a:pt x="107" y="758"/>
                  </a:lnTo>
                  <a:lnTo>
                    <a:pt x="109" y="759"/>
                  </a:lnTo>
                  <a:lnTo>
                    <a:pt x="107" y="761"/>
                  </a:lnTo>
                  <a:lnTo>
                    <a:pt x="107" y="763"/>
                  </a:lnTo>
                  <a:lnTo>
                    <a:pt x="109" y="763"/>
                  </a:lnTo>
                  <a:lnTo>
                    <a:pt x="109" y="761"/>
                  </a:lnTo>
                  <a:lnTo>
                    <a:pt x="110" y="761"/>
                  </a:lnTo>
                  <a:lnTo>
                    <a:pt x="111" y="760"/>
                  </a:lnTo>
                  <a:lnTo>
                    <a:pt x="112" y="760"/>
                  </a:lnTo>
                  <a:lnTo>
                    <a:pt x="113" y="760"/>
                  </a:lnTo>
                  <a:lnTo>
                    <a:pt x="116" y="760"/>
                  </a:lnTo>
                  <a:lnTo>
                    <a:pt x="116" y="761"/>
                  </a:lnTo>
                  <a:lnTo>
                    <a:pt x="115" y="763"/>
                  </a:lnTo>
                  <a:lnTo>
                    <a:pt x="115" y="764"/>
                  </a:lnTo>
                  <a:lnTo>
                    <a:pt x="115" y="765"/>
                  </a:lnTo>
                  <a:lnTo>
                    <a:pt x="115" y="766"/>
                  </a:lnTo>
                  <a:lnTo>
                    <a:pt x="116" y="765"/>
                  </a:lnTo>
                  <a:lnTo>
                    <a:pt x="117" y="764"/>
                  </a:lnTo>
                  <a:lnTo>
                    <a:pt x="117" y="761"/>
                  </a:lnTo>
                  <a:lnTo>
                    <a:pt x="118" y="761"/>
                  </a:lnTo>
                  <a:lnTo>
                    <a:pt x="118" y="760"/>
                  </a:lnTo>
                  <a:lnTo>
                    <a:pt x="121" y="760"/>
                  </a:lnTo>
                  <a:lnTo>
                    <a:pt x="122" y="760"/>
                  </a:lnTo>
                  <a:lnTo>
                    <a:pt x="121" y="763"/>
                  </a:lnTo>
                  <a:lnTo>
                    <a:pt x="119" y="765"/>
                  </a:lnTo>
                  <a:lnTo>
                    <a:pt x="119" y="767"/>
                  </a:lnTo>
                  <a:lnTo>
                    <a:pt x="119" y="770"/>
                  </a:lnTo>
                  <a:lnTo>
                    <a:pt x="121" y="771"/>
                  </a:lnTo>
                  <a:lnTo>
                    <a:pt x="119" y="772"/>
                  </a:lnTo>
                  <a:lnTo>
                    <a:pt x="119" y="773"/>
                  </a:lnTo>
                  <a:lnTo>
                    <a:pt x="119" y="775"/>
                  </a:lnTo>
                  <a:lnTo>
                    <a:pt x="121" y="776"/>
                  </a:lnTo>
                  <a:lnTo>
                    <a:pt x="121" y="777"/>
                  </a:lnTo>
                  <a:lnTo>
                    <a:pt x="122" y="778"/>
                  </a:lnTo>
                  <a:lnTo>
                    <a:pt x="123" y="777"/>
                  </a:lnTo>
                  <a:lnTo>
                    <a:pt x="124" y="776"/>
                  </a:lnTo>
                  <a:lnTo>
                    <a:pt x="124" y="773"/>
                  </a:lnTo>
                  <a:lnTo>
                    <a:pt x="124" y="771"/>
                  </a:lnTo>
                  <a:lnTo>
                    <a:pt x="124" y="767"/>
                  </a:lnTo>
                  <a:lnTo>
                    <a:pt x="124" y="766"/>
                  </a:lnTo>
                  <a:lnTo>
                    <a:pt x="125" y="765"/>
                  </a:lnTo>
                  <a:lnTo>
                    <a:pt x="125" y="764"/>
                  </a:lnTo>
                  <a:lnTo>
                    <a:pt x="127" y="761"/>
                  </a:lnTo>
                  <a:lnTo>
                    <a:pt x="127" y="760"/>
                  </a:lnTo>
                  <a:lnTo>
                    <a:pt x="127" y="761"/>
                  </a:lnTo>
                  <a:lnTo>
                    <a:pt x="127" y="764"/>
                  </a:lnTo>
                  <a:lnTo>
                    <a:pt x="125" y="765"/>
                  </a:lnTo>
                  <a:lnTo>
                    <a:pt x="128" y="764"/>
                  </a:lnTo>
                  <a:lnTo>
                    <a:pt x="128" y="763"/>
                  </a:lnTo>
                  <a:lnTo>
                    <a:pt x="128" y="764"/>
                  </a:lnTo>
                  <a:lnTo>
                    <a:pt x="129" y="766"/>
                  </a:lnTo>
                  <a:lnTo>
                    <a:pt x="128" y="769"/>
                  </a:lnTo>
                  <a:lnTo>
                    <a:pt x="128" y="771"/>
                  </a:lnTo>
                  <a:lnTo>
                    <a:pt x="128" y="772"/>
                  </a:lnTo>
                  <a:lnTo>
                    <a:pt x="128" y="773"/>
                  </a:lnTo>
                  <a:lnTo>
                    <a:pt x="128" y="776"/>
                  </a:lnTo>
                  <a:lnTo>
                    <a:pt x="129" y="777"/>
                  </a:lnTo>
                  <a:lnTo>
                    <a:pt x="130" y="777"/>
                  </a:lnTo>
                  <a:lnTo>
                    <a:pt x="130" y="775"/>
                  </a:lnTo>
                  <a:lnTo>
                    <a:pt x="130" y="771"/>
                  </a:lnTo>
                  <a:lnTo>
                    <a:pt x="130" y="767"/>
                  </a:lnTo>
                  <a:lnTo>
                    <a:pt x="130" y="765"/>
                  </a:lnTo>
                  <a:lnTo>
                    <a:pt x="130" y="763"/>
                  </a:lnTo>
                  <a:lnTo>
                    <a:pt x="131" y="761"/>
                  </a:lnTo>
                  <a:lnTo>
                    <a:pt x="133" y="760"/>
                  </a:lnTo>
                  <a:lnTo>
                    <a:pt x="131" y="763"/>
                  </a:lnTo>
                  <a:lnTo>
                    <a:pt x="131" y="765"/>
                  </a:lnTo>
                  <a:lnTo>
                    <a:pt x="131" y="767"/>
                  </a:lnTo>
                  <a:lnTo>
                    <a:pt x="131" y="770"/>
                  </a:lnTo>
                  <a:lnTo>
                    <a:pt x="131" y="771"/>
                  </a:lnTo>
                  <a:lnTo>
                    <a:pt x="133" y="772"/>
                  </a:lnTo>
                  <a:lnTo>
                    <a:pt x="134" y="771"/>
                  </a:lnTo>
                  <a:lnTo>
                    <a:pt x="134" y="773"/>
                  </a:lnTo>
                  <a:lnTo>
                    <a:pt x="134" y="775"/>
                  </a:lnTo>
                  <a:lnTo>
                    <a:pt x="134" y="777"/>
                  </a:lnTo>
                  <a:lnTo>
                    <a:pt x="134" y="779"/>
                  </a:lnTo>
                  <a:lnTo>
                    <a:pt x="134" y="781"/>
                  </a:lnTo>
                  <a:lnTo>
                    <a:pt x="135" y="781"/>
                  </a:lnTo>
                  <a:lnTo>
                    <a:pt x="135" y="779"/>
                  </a:lnTo>
                  <a:lnTo>
                    <a:pt x="136" y="777"/>
                  </a:lnTo>
                  <a:lnTo>
                    <a:pt x="136" y="776"/>
                  </a:lnTo>
                  <a:lnTo>
                    <a:pt x="137" y="776"/>
                  </a:lnTo>
                  <a:lnTo>
                    <a:pt x="137" y="775"/>
                  </a:lnTo>
                  <a:lnTo>
                    <a:pt x="139" y="775"/>
                  </a:lnTo>
                  <a:lnTo>
                    <a:pt x="139" y="776"/>
                  </a:lnTo>
                  <a:lnTo>
                    <a:pt x="139" y="777"/>
                  </a:lnTo>
                  <a:lnTo>
                    <a:pt x="137" y="778"/>
                  </a:lnTo>
                  <a:lnTo>
                    <a:pt x="139" y="779"/>
                  </a:lnTo>
                  <a:lnTo>
                    <a:pt x="139" y="781"/>
                  </a:lnTo>
                  <a:lnTo>
                    <a:pt x="140" y="782"/>
                  </a:lnTo>
                  <a:lnTo>
                    <a:pt x="140" y="781"/>
                  </a:lnTo>
                  <a:lnTo>
                    <a:pt x="141" y="778"/>
                  </a:lnTo>
                  <a:lnTo>
                    <a:pt x="141" y="776"/>
                  </a:lnTo>
                  <a:lnTo>
                    <a:pt x="141" y="775"/>
                  </a:lnTo>
                  <a:lnTo>
                    <a:pt x="142" y="775"/>
                  </a:lnTo>
                  <a:lnTo>
                    <a:pt x="142" y="773"/>
                  </a:lnTo>
                  <a:lnTo>
                    <a:pt x="143" y="773"/>
                  </a:lnTo>
                  <a:lnTo>
                    <a:pt x="145" y="773"/>
                  </a:lnTo>
                  <a:lnTo>
                    <a:pt x="145" y="772"/>
                  </a:lnTo>
                  <a:lnTo>
                    <a:pt x="146" y="773"/>
                  </a:lnTo>
                  <a:lnTo>
                    <a:pt x="145" y="777"/>
                  </a:lnTo>
                  <a:lnTo>
                    <a:pt x="145" y="779"/>
                  </a:lnTo>
                  <a:lnTo>
                    <a:pt x="146" y="781"/>
                  </a:lnTo>
                  <a:lnTo>
                    <a:pt x="147" y="781"/>
                  </a:lnTo>
                  <a:lnTo>
                    <a:pt x="147" y="779"/>
                  </a:lnTo>
                  <a:lnTo>
                    <a:pt x="147" y="777"/>
                  </a:lnTo>
                  <a:lnTo>
                    <a:pt x="148" y="776"/>
                  </a:lnTo>
                  <a:lnTo>
                    <a:pt x="148" y="777"/>
                  </a:lnTo>
                  <a:lnTo>
                    <a:pt x="150" y="778"/>
                  </a:lnTo>
                  <a:lnTo>
                    <a:pt x="151" y="779"/>
                  </a:lnTo>
                  <a:lnTo>
                    <a:pt x="151" y="781"/>
                  </a:lnTo>
                  <a:lnTo>
                    <a:pt x="151" y="782"/>
                  </a:lnTo>
                  <a:lnTo>
                    <a:pt x="151" y="783"/>
                  </a:lnTo>
                  <a:lnTo>
                    <a:pt x="150" y="784"/>
                  </a:lnTo>
                  <a:lnTo>
                    <a:pt x="148" y="787"/>
                  </a:lnTo>
                  <a:lnTo>
                    <a:pt x="148" y="788"/>
                  </a:lnTo>
                  <a:lnTo>
                    <a:pt x="148" y="789"/>
                  </a:lnTo>
                  <a:lnTo>
                    <a:pt x="148" y="790"/>
                  </a:lnTo>
                  <a:lnTo>
                    <a:pt x="148" y="791"/>
                  </a:lnTo>
                  <a:lnTo>
                    <a:pt x="150" y="793"/>
                  </a:lnTo>
                  <a:lnTo>
                    <a:pt x="150" y="794"/>
                  </a:lnTo>
                  <a:lnTo>
                    <a:pt x="152" y="794"/>
                  </a:lnTo>
                  <a:lnTo>
                    <a:pt x="151" y="791"/>
                  </a:lnTo>
                  <a:lnTo>
                    <a:pt x="152" y="789"/>
                  </a:lnTo>
                  <a:lnTo>
                    <a:pt x="152" y="787"/>
                  </a:lnTo>
                  <a:lnTo>
                    <a:pt x="153" y="784"/>
                  </a:lnTo>
                  <a:lnTo>
                    <a:pt x="154" y="783"/>
                  </a:lnTo>
                  <a:lnTo>
                    <a:pt x="157" y="783"/>
                  </a:lnTo>
                  <a:lnTo>
                    <a:pt x="157" y="784"/>
                  </a:lnTo>
                  <a:lnTo>
                    <a:pt x="157" y="787"/>
                  </a:lnTo>
                  <a:lnTo>
                    <a:pt x="157" y="788"/>
                  </a:lnTo>
                  <a:lnTo>
                    <a:pt x="157" y="790"/>
                  </a:lnTo>
                  <a:lnTo>
                    <a:pt x="158" y="793"/>
                  </a:lnTo>
                  <a:lnTo>
                    <a:pt x="159" y="794"/>
                  </a:lnTo>
                  <a:lnTo>
                    <a:pt x="159" y="793"/>
                  </a:lnTo>
                  <a:lnTo>
                    <a:pt x="159" y="790"/>
                  </a:lnTo>
                  <a:lnTo>
                    <a:pt x="159" y="788"/>
                  </a:lnTo>
                  <a:lnTo>
                    <a:pt x="159" y="787"/>
                  </a:lnTo>
                  <a:lnTo>
                    <a:pt x="162" y="788"/>
                  </a:lnTo>
                  <a:lnTo>
                    <a:pt x="162" y="785"/>
                  </a:lnTo>
                  <a:lnTo>
                    <a:pt x="163" y="784"/>
                  </a:lnTo>
                  <a:lnTo>
                    <a:pt x="164" y="783"/>
                  </a:lnTo>
                  <a:lnTo>
                    <a:pt x="164" y="781"/>
                  </a:lnTo>
                  <a:lnTo>
                    <a:pt x="164" y="778"/>
                  </a:lnTo>
                  <a:lnTo>
                    <a:pt x="165" y="775"/>
                  </a:lnTo>
                  <a:lnTo>
                    <a:pt x="166" y="775"/>
                  </a:lnTo>
                  <a:lnTo>
                    <a:pt x="166" y="776"/>
                  </a:lnTo>
                  <a:lnTo>
                    <a:pt x="166" y="778"/>
                  </a:lnTo>
                  <a:lnTo>
                    <a:pt x="165" y="782"/>
                  </a:lnTo>
                  <a:lnTo>
                    <a:pt x="164" y="784"/>
                  </a:lnTo>
                  <a:lnTo>
                    <a:pt x="164" y="785"/>
                  </a:lnTo>
                  <a:lnTo>
                    <a:pt x="165" y="785"/>
                  </a:lnTo>
                  <a:lnTo>
                    <a:pt x="166" y="783"/>
                  </a:lnTo>
                  <a:lnTo>
                    <a:pt x="166" y="782"/>
                  </a:lnTo>
                  <a:lnTo>
                    <a:pt x="166" y="785"/>
                  </a:lnTo>
                  <a:lnTo>
                    <a:pt x="166" y="787"/>
                  </a:lnTo>
                  <a:lnTo>
                    <a:pt x="166" y="789"/>
                  </a:lnTo>
                  <a:lnTo>
                    <a:pt x="166" y="791"/>
                  </a:lnTo>
                  <a:lnTo>
                    <a:pt x="165" y="793"/>
                  </a:lnTo>
                  <a:lnTo>
                    <a:pt x="165" y="794"/>
                  </a:lnTo>
                  <a:lnTo>
                    <a:pt x="165" y="795"/>
                  </a:lnTo>
                  <a:lnTo>
                    <a:pt x="165" y="796"/>
                  </a:lnTo>
                  <a:lnTo>
                    <a:pt x="166" y="797"/>
                  </a:lnTo>
                  <a:lnTo>
                    <a:pt x="166" y="796"/>
                  </a:lnTo>
                  <a:lnTo>
                    <a:pt x="166" y="795"/>
                  </a:lnTo>
                  <a:lnTo>
                    <a:pt x="168" y="794"/>
                  </a:lnTo>
                  <a:lnTo>
                    <a:pt x="169" y="794"/>
                  </a:lnTo>
                  <a:lnTo>
                    <a:pt x="169" y="795"/>
                  </a:lnTo>
                  <a:lnTo>
                    <a:pt x="170" y="796"/>
                  </a:lnTo>
                  <a:lnTo>
                    <a:pt x="170" y="797"/>
                  </a:lnTo>
                  <a:lnTo>
                    <a:pt x="171" y="799"/>
                  </a:lnTo>
                  <a:lnTo>
                    <a:pt x="172" y="799"/>
                  </a:lnTo>
                  <a:lnTo>
                    <a:pt x="172" y="796"/>
                  </a:lnTo>
                  <a:lnTo>
                    <a:pt x="174" y="795"/>
                  </a:lnTo>
                  <a:lnTo>
                    <a:pt x="174" y="794"/>
                  </a:lnTo>
                  <a:lnTo>
                    <a:pt x="174" y="793"/>
                  </a:lnTo>
                  <a:lnTo>
                    <a:pt x="175" y="791"/>
                  </a:lnTo>
                  <a:lnTo>
                    <a:pt x="176" y="793"/>
                  </a:lnTo>
                  <a:lnTo>
                    <a:pt x="176" y="795"/>
                  </a:lnTo>
                  <a:lnTo>
                    <a:pt x="176" y="801"/>
                  </a:lnTo>
                  <a:lnTo>
                    <a:pt x="177" y="800"/>
                  </a:lnTo>
                  <a:lnTo>
                    <a:pt x="177" y="799"/>
                  </a:lnTo>
                  <a:lnTo>
                    <a:pt x="177" y="795"/>
                  </a:lnTo>
                  <a:lnTo>
                    <a:pt x="178" y="794"/>
                  </a:lnTo>
                  <a:lnTo>
                    <a:pt x="178" y="793"/>
                  </a:lnTo>
                  <a:lnTo>
                    <a:pt x="178" y="790"/>
                  </a:lnTo>
                  <a:lnTo>
                    <a:pt x="180" y="791"/>
                  </a:lnTo>
                  <a:lnTo>
                    <a:pt x="180" y="793"/>
                  </a:lnTo>
                  <a:lnTo>
                    <a:pt x="181" y="793"/>
                  </a:lnTo>
                  <a:lnTo>
                    <a:pt x="181" y="790"/>
                  </a:lnTo>
                  <a:lnTo>
                    <a:pt x="182" y="789"/>
                  </a:lnTo>
                  <a:lnTo>
                    <a:pt x="181" y="787"/>
                  </a:lnTo>
                  <a:lnTo>
                    <a:pt x="182" y="785"/>
                  </a:lnTo>
                  <a:lnTo>
                    <a:pt x="183" y="788"/>
                  </a:lnTo>
                  <a:lnTo>
                    <a:pt x="184" y="788"/>
                  </a:lnTo>
                  <a:lnTo>
                    <a:pt x="184" y="789"/>
                  </a:lnTo>
                  <a:lnTo>
                    <a:pt x="184" y="790"/>
                  </a:lnTo>
                  <a:lnTo>
                    <a:pt x="183" y="791"/>
                  </a:lnTo>
                  <a:lnTo>
                    <a:pt x="182" y="794"/>
                  </a:lnTo>
                  <a:lnTo>
                    <a:pt x="183" y="794"/>
                  </a:lnTo>
                  <a:lnTo>
                    <a:pt x="184" y="793"/>
                  </a:lnTo>
                  <a:lnTo>
                    <a:pt x="184" y="791"/>
                  </a:lnTo>
                  <a:lnTo>
                    <a:pt x="184" y="794"/>
                  </a:lnTo>
                  <a:lnTo>
                    <a:pt x="184" y="796"/>
                  </a:lnTo>
                  <a:lnTo>
                    <a:pt x="186" y="796"/>
                  </a:lnTo>
                  <a:lnTo>
                    <a:pt x="186" y="793"/>
                  </a:lnTo>
                  <a:lnTo>
                    <a:pt x="187" y="790"/>
                  </a:lnTo>
                  <a:lnTo>
                    <a:pt x="188" y="790"/>
                  </a:lnTo>
                  <a:lnTo>
                    <a:pt x="188" y="789"/>
                  </a:lnTo>
                  <a:lnTo>
                    <a:pt x="187" y="788"/>
                  </a:lnTo>
                  <a:lnTo>
                    <a:pt x="187" y="785"/>
                  </a:lnTo>
                  <a:lnTo>
                    <a:pt x="187" y="784"/>
                  </a:lnTo>
                  <a:lnTo>
                    <a:pt x="189" y="783"/>
                  </a:lnTo>
                  <a:lnTo>
                    <a:pt x="188" y="785"/>
                  </a:lnTo>
                  <a:lnTo>
                    <a:pt x="187" y="787"/>
                  </a:lnTo>
                  <a:lnTo>
                    <a:pt x="188" y="788"/>
                  </a:lnTo>
                  <a:lnTo>
                    <a:pt x="188" y="787"/>
                  </a:lnTo>
                  <a:lnTo>
                    <a:pt x="188" y="788"/>
                  </a:lnTo>
                  <a:lnTo>
                    <a:pt x="188" y="790"/>
                  </a:lnTo>
                  <a:lnTo>
                    <a:pt x="188" y="791"/>
                  </a:lnTo>
                  <a:lnTo>
                    <a:pt x="188" y="793"/>
                  </a:lnTo>
                  <a:lnTo>
                    <a:pt x="189" y="794"/>
                  </a:lnTo>
                  <a:lnTo>
                    <a:pt x="190" y="794"/>
                  </a:lnTo>
                  <a:lnTo>
                    <a:pt x="190" y="791"/>
                  </a:lnTo>
                  <a:lnTo>
                    <a:pt x="190" y="790"/>
                  </a:lnTo>
                  <a:lnTo>
                    <a:pt x="189" y="789"/>
                  </a:lnTo>
                  <a:lnTo>
                    <a:pt x="189" y="788"/>
                  </a:lnTo>
                  <a:lnTo>
                    <a:pt x="190" y="787"/>
                  </a:lnTo>
                  <a:lnTo>
                    <a:pt x="190" y="785"/>
                  </a:lnTo>
                  <a:lnTo>
                    <a:pt x="192" y="784"/>
                  </a:lnTo>
                  <a:lnTo>
                    <a:pt x="192" y="783"/>
                  </a:lnTo>
                  <a:lnTo>
                    <a:pt x="192" y="781"/>
                  </a:lnTo>
                  <a:lnTo>
                    <a:pt x="192" y="779"/>
                  </a:lnTo>
                  <a:lnTo>
                    <a:pt x="193" y="778"/>
                  </a:lnTo>
                  <a:lnTo>
                    <a:pt x="193" y="777"/>
                  </a:lnTo>
                  <a:lnTo>
                    <a:pt x="194" y="776"/>
                  </a:lnTo>
                  <a:lnTo>
                    <a:pt x="194" y="775"/>
                  </a:lnTo>
                  <a:lnTo>
                    <a:pt x="195" y="775"/>
                  </a:lnTo>
                  <a:lnTo>
                    <a:pt x="195" y="776"/>
                  </a:lnTo>
                  <a:lnTo>
                    <a:pt x="194" y="778"/>
                  </a:lnTo>
                  <a:lnTo>
                    <a:pt x="193" y="779"/>
                  </a:lnTo>
                  <a:lnTo>
                    <a:pt x="193" y="781"/>
                  </a:lnTo>
                  <a:lnTo>
                    <a:pt x="194" y="781"/>
                  </a:lnTo>
                  <a:lnTo>
                    <a:pt x="193" y="782"/>
                  </a:lnTo>
                  <a:lnTo>
                    <a:pt x="193" y="783"/>
                  </a:lnTo>
                  <a:lnTo>
                    <a:pt x="194" y="783"/>
                  </a:lnTo>
                  <a:lnTo>
                    <a:pt x="194" y="784"/>
                  </a:lnTo>
                  <a:lnTo>
                    <a:pt x="193" y="785"/>
                  </a:lnTo>
                  <a:lnTo>
                    <a:pt x="192" y="785"/>
                  </a:lnTo>
                  <a:lnTo>
                    <a:pt x="192" y="787"/>
                  </a:lnTo>
                  <a:lnTo>
                    <a:pt x="192" y="788"/>
                  </a:lnTo>
                  <a:lnTo>
                    <a:pt x="190" y="788"/>
                  </a:lnTo>
                  <a:lnTo>
                    <a:pt x="189" y="789"/>
                  </a:lnTo>
                  <a:lnTo>
                    <a:pt x="190" y="789"/>
                  </a:lnTo>
                  <a:lnTo>
                    <a:pt x="190" y="790"/>
                  </a:lnTo>
                  <a:lnTo>
                    <a:pt x="193" y="790"/>
                  </a:lnTo>
                  <a:lnTo>
                    <a:pt x="193" y="788"/>
                  </a:lnTo>
                  <a:lnTo>
                    <a:pt x="194" y="787"/>
                  </a:lnTo>
                  <a:lnTo>
                    <a:pt x="194" y="785"/>
                  </a:lnTo>
                  <a:lnTo>
                    <a:pt x="195" y="787"/>
                  </a:lnTo>
                  <a:lnTo>
                    <a:pt x="196" y="788"/>
                  </a:lnTo>
                  <a:lnTo>
                    <a:pt x="195" y="789"/>
                  </a:lnTo>
                  <a:lnTo>
                    <a:pt x="194" y="790"/>
                  </a:lnTo>
                  <a:lnTo>
                    <a:pt x="194" y="791"/>
                  </a:lnTo>
                  <a:lnTo>
                    <a:pt x="195" y="791"/>
                  </a:lnTo>
                  <a:lnTo>
                    <a:pt x="196" y="790"/>
                  </a:lnTo>
                  <a:lnTo>
                    <a:pt x="196" y="791"/>
                  </a:lnTo>
                  <a:lnTo>
                    <a:pt x="196" y="793"/>
                  </a:lnTo>
                  <a:lnTo>
                    <a:pt x="195" y="795"/>
                  </a:lnTo>
                  <a:lnTo>
                    <a:pt x="195" y="796"/>
                  </a:lnTo>
                  <a:lnTo>
                    <a:pt x="196" y="796"/>
                  </a:lnTo>
                  <a:lnTo>
                    <a:pt x="198" y="795"/>
                  </a:lnTo>
                  <a:lnTo>
                    <a:pt x="198" y="796"/>
                  </a:lnTo>
                  <a:lnTo>
                    <a:pt x="198" y="799"/>
                  </a:lnTo>
                  <a:lnTo>
                    <a:pt x="196" y="801"/>
                  </a:lnTo>
                  <a:lnTo>
                    <a:pt x="196" y="805"/>
                  </a:lnTo>
                  <a:lnTo>
                    <a:pt x="196" y="808"/>
                  </a:lnTo>
                  <a:lnTo>
                    <a:pt x="196" y="807"/>
                  </a:lnTo>
                  <a:lnTo>
                    <a:pt x="198" y="805"/>
                  </a:lnTo>
                  <a:lnTo>
                    <a:pt x="198" y="802"/>
                  </a:lnTo>
                  <a:lnTo>
                    <a:pt x="199" y="800"/>
                  </a:lnTo>
                  <a:lnTo>
                    <a:pt x="200" y="800"/>
                  </a:lnTo>
                  <a:lnTo>
                    <a:pt x="201" y="801"/>
                  </a:lnTo>
                  <a:lnTo>
                    <a:pt x="201" y="802"/>
                  </a:lnTo>
                  <a:lnTo>
                    <a:pt x="200" y="803"/>
                  </a:lnTo>
                  <a:lnTo>
                    <a:pt x="200" y="806"/>
                  </a:lnTo>
                  <a:lnTo>
                    <a:pt x="201" y="805"/>
                  </a:lnTo>
                  <a:lnTo>
                    <a:pt x="201" y="807"/>
                  </a:lnTo>
                  <a:lnTo>
                    <a:pt x="202" y="809"/>
                  </a:lnTo>
                  <a:lnTo>
                    <a:pt x="204" y="809"/>
                  </a:lnTo>
                  <a:lnTo>
                    <a:pt x="202" y="806"/>
                  </a:lnTo>
                  <a:lnTo>
                    <a:pt x="204" y="803"/>
                  </a:lnTo>
                  <a:lnTo>
                    <a:pt x="205" y="801"/>
                  </a:lnTo>
                  <a:lnTo>
                    <a:pt x="205" y="799"/>
                  </a:lnTo>
                  <a:lnTo>
                    <a:pt x="206" y="796"/>
                  </a:lnTo>
                  <a:lnTo>
                    <a:pt x="206" y="793"/>
                  </a:lnTo>
                  <a:lnTo>
                    <a:pt x="206" y="790"/>
                  </a:lnTo>
                  <a:lnTo>
                    <a:pt x="207" y="787"/>
                  </a:lnTo>
                  <a:lnTo>
                    <a:pt x="209" y="787"/>
                  </a:lnTo>
                  <a:lnTo>
                    <a:pt x="210" y="788"/>
                  </a:lnTo>
                  <a:lnTo>
                    <a:pt x="211" y="790"/>
                  </a:lnTo>
                  <a:lnTo>
                    <a:pt x="211" y="795"/>
                  </a:lnTo>
                  <a:lnTo>
                    <a:pt x="211" y="799"/>
                  </a:lnTo>
                  <a:lnTo>
                    <a:pt x="211" y="802"/>
                  </a:lnTo>
                  <a:lnTo>
                    <a:pt x="210" y="805"/>
                  </a:lnTo>
                  <a:lnTo>
                    <a:pt x="209" y="807"/>
                  </a:lnTo>
                  <a:lnTo>
                    <a:pt x="210" y="808"/>
                  </a:lnTo>
                  <a:lnTo>
                    <a:pt x="211" y="807"/>
                  </a:lnTo>
                  <a:lnTo>
                    <a:pt x="212" y="805"/>
                  </a:lnTo>
                  <a:lnTo>
                    <a:pt x="212" y="801"/>
                  </a:lnTo>
                  <a:lnTo>
                    <a:pt x="213" y="799"/>
                  </a:lnTo>
                  <a:lnTo>
                    <a:pt x="213" y="795"/>
                  </a:lnTo>
                  <a:lnTo>
                    <a:pt x="215" y="795"/>
                  </a:lnTo>
                  <a:lnTo>
                    <a:pt x="215" y="797"/>
                  </a:lnTo>
                  <a:lnTo>
                    <a:pt x="216" y="797"/>
                  </a:lnTo>
                  <a:lnTo>
                    <a:pt x="217" y="797"/>
                  </a:lnTo>
                  <a:lnTo>
                    <a:pt x="217" y="800"/>
                  </a:lnTo>
                  <a:lnTo>
                    <a:pt x="217" y="802"/>
                  </a:lnTo>
                  <a:lnTo>
                    <a:pt x="215" y="808"/>
                  </a:lnTo>
                  <a:lnTo>
                    <a:pt x="215" y="811"/>
                  </a:lnTo>
                  <a:lnTo>
                    <a:pt x="216" y="813"/>
                  </a:lnTo>
                  <a:lnTo>
                    <a:pt x="217" y="812"/>
                  </a:lnTo>
                  <a:lnTo>
                    <a:pt x="217" y="811"/>
                  </a:lnTo>
                  <a:lnTo>
                    <a:pt x="218" y="809"/>
                  </a:lnTo>
                  <a:lnTo>
                    <a:pt x="218" y="812"/>
                  </a:lnTo>
                  <a:lnTo>
                    <a:pt x="219" y="812"/>
                  </a:lnTo>
                  <a:lnTo>
                    <a:pt x="221" y="809"/>
                  </a:lnTo>
                  <a:lnTo>
                    <a:pt x="221" y="807"/>
                  </a:lnTo>
                  <a:lnTo>
                    <a:pt x="221" y="805"/>
                  </a:lnTo>
                  <a:lnTo>
                    <a:pt x="219" y="799"/>
                  </a:lnTo>
                  <a:lnTo>
                    <a:pt x="219" y="795"/>
                  </a:lnTo>
                  <a:lnTo>
                    <a:pt x="221" y="794"/>
                  </a:lnTo>
                  <a:lnTo>
                    <a:pt x="219" y="790"/>
                  </a:lnTo>
                  <a:lnTo>
                    <a:pt x="219" y="787"/>
                  </a:lnTo>
                  <a:lnTo>
                    <a:pt x="221" y="783"/>
                  </a:lnTo>
                  <a:lnTo>
                    <a:pt x="223" y="781"/>
                  </a:lnTo>
                  <a:lnTo>
                    <a:pt x="224" y="777"/>
                  </a:lnTo>
                  <a:lnTo>
                    <a:pt x="224" y="781"/>
                  </a:lnTo>
                  <a:lnTo>
                    <a:pt x="225" y="784"/>
                  </a:lnTo>
                  <a:lnTo>
                    <a:pt x="228" y="783"/>
                  </a:lnTo>
                  <a:lnTo>
                    <a:pt x="229" y="787"/>
                  </a:lnTo>
                  <a:lnTo>
                    <a:pt x="230" y="791"/>
                  </a:lnTo>
                  <a:lnTo>
                    <a:pt x="231" y="789"/>
                  </a:lnTo>
                  <a:lnTo>
                    <a:pt x="231" y="784"/>
                  </a:lnTo>
                  <a:lnTo>
                    <a:pt x="233" y="778"/>
                  </a:lnTo>
                  <a:lnTo>
                    <a:pt x="231" y="772"/>
                  </a:lnTo>
                  <a:lnTo>
                    <a:pt x="233" y="770"/>
                  </a:lnTo>
                  <a:lnTo>
                    <a:pt x="233" y="779"/>
                  </a:lnTo>
                  <a:lnTo>
                    <a:pt x="235" y="781"/>
                  </a:lnTo>
                  <a:lnTo>
                    <a:pt x="236" y="776"/>
                  </a:lnTo>
                  <a:lnTo>
                    <a:pt x="237" y="776"/>
                  </a:lnTo>
                  <a:lnTo>
                    <a:pt x="237" y="772"/>
                  </a:lnTo>
                  <a:lnTo>
                    <a:pt x="237" y="769"/>
                  </a:lnTo>
                  <a:lnTo>
                    <a:pt x="239" y="767"/>
                  </a:lnTo>
                  <a:lnTo>
                    <a:pt x="240" y="772"/>
                  </a:lnTo>
                  <a:lnTo>
                    <a:pt x="240" y="776"/>
                  </a:lnTo>
                  <a:lnTo>
                    <a:pt x="240" y="771"/>
                  </a:lnTo>
                  <a:lnTo>
                    <a:pt x="241" y="767"/>
                  </a:lnTo>
                  <a:lnTo>
                    <a:pt x="242" y="763"/>
                  </a:lnTo>
                  <a:lnTo>
                    <a:pt x="242" y="760"/>
                  </a:lnTo>
                  <a:lnTo>
                    <a:pt x="243" y="758"/>
                  </a:lnTo>
                  <a:lnTo>
                    <a:pt x="247" y="758"/>
                  </a:lnTo>
                  <a:lnTo>
                    <a:pt x="248" y="760"/>
                  </a:lnTo>
                  <a:lnTo>
                    <a:pt x="247" y="761"/>
                  </a:lnTo>
                  <a:lnTo>
                    <a:pt x="242" y="766"/>
                  </a:lnTo>
                  <a:lnTo>
                    <a:pt x="242" y="767"/>
                  </a:lnTo>
                  <a:lnTo>
                    <a:pt x="242" y="771"/>
                  </a:lnTo>
                  <a:lnTo>
                    <a:pt x="242" y="773"/>
                  </a:lnTo>
                  <a:lnTo>
                    <a:pt x="242" y="776"/>
                  </a:lnTo>
                  <a:lnTo>
                    <a:pt x="243" y="777"/>
                  </a:lnTo>
                  <a:lnTo>
                    <a:pt x="247" y="777"/>
                  </a:lnTo>
                  <a:lnTo>
                    <a:pt x="247" y="778"/>
                  </a:lnTo>
                  <a:lnTo>
                    <a:pt x="247" y="782"/>
                  </a:lnTo>
                  <a:lnTo>
                    <a:pt x="247" y="783"/>
                  </a:lnTo>
                  <a:lnTo>
                    <a:pt x="243" y="783"/>
                  </a:lnTo>
                  <a:lnTo>
                    <a:pt x="242" y="784"/>
                  </a:lnTo>
                  <a:lnTo>
                    <a:pt x="241" y="781"/>
                  </a:lnTo>
                  <a:lnTo>
                    <a:pt x="240" y="782"/>
                  </a:lnTo>
                  <a:lnTo>
                    <a:pt x="239" y="784"/>
                  </a:lnTo>
                  <a:lnTo>
                    <a:pt x="237" y="785"/>
                  </a:lnTo>
                  <a:lnTo>
                    <a:pt x="235" y="787"/>
                  </a:lnTo>
                  <a:lnTo>
                    <a:pt x="234" y="789"/>
                  </a:lnTo>
                  <a:lnTo>
                    <a:pt x="235" y="789"/>
                  </a:lnTo>
                  <a:lnTo>
                    <a:pt x="236" y="789"/>
                  </a:lnTo>
                  <a:lnTo>
                    <a:pt x="239" y="789"/>
                  </a:lnTo>
                  <a:lnTo>
                    <a:pt x="241" y="789"/>
                  </a:lnTo>
                  <a:lnTo>
                    <a:pt x="241" y="790"/>
                  </a:lnTo>
                  <a:lnTo>
                    <a:pt x="240" y="795"/>
                  </a:lnTo>
                  <a:lnTo>
                    <a:pt x="240" y="800"/>
                  </a:lnTo>
                  <a:lnTo>
                    <a:pt x="240" y="802"/>
                  </a:lnTo>
                  <a:lnTo>
                    <a:pt x="239" y="806"/>
                  </a:lnTo>
                  <a:lnTo>
                    <a:pt x="237" y="808"/>
                  </a:lnTo>
                  <a:lnTo>
                    <a:pt x="234" y="811"/>
                  </a:lnTo>
                  <a:lnTo>
                    <a:pt x="231" y="813"/>
                  </a:lnTo>
                  <a:lnTo>
                    <a:pt x="229" y="812"/>
                  </a:lnTo>
                  <a:lnTo>
                    <a:pt x="225" y="813"/>
                  </a:lnTo>
                  <a:lnTo>
                    <a:pt x="224" y="814"/>
                  </a:lnTo>
                  <a:lnTo>
                    <a:pt x="221" y="814"/>
                  </a:lnTo>
                  <a:lnTo>
                    <a:pt x="215" y="815"/>
                  </a:lnTo>
                  <a:lnTo>
                    <a:pt x="209" y="817"/>
                  </a:lnTo>
                  <a:lnTo>
                    <a:pt x="205" y="818"/>
                  </a:lnTo>
                  <a:lnTo>
                    <a:pt x="201" y="819"/>
                  </a:lnTo>
                  <a:lnTo>
                    <a:pt x="194" y="821"/>
                  </a:lnTo>
                  <a:lnTo>
                    <a:pt x="189" y="821"/>
                  </a:lnTo>
                  <a:lnTo>
                    <a:pt x="188" y="823"/>
                  </a:lnTo>
                  <a:lnTo>
                    <a:pt x="189" y="824"/>
                  </a:lnTo>
                  <a:lnTo>
                    <a:pt x="192" y="823"/>
                  </a:lnTo>
                  <a:lnTo>
                    <a:pt x="195" y="823"/>
                  </a:lnTo>
                  <a:lnTo>
                    <a:pt x="195" y="824"/>
                  </a:lnTo>
                  <a:lnTo>
                    <a:pt x="194" y="825"/>
                  </a:lnTo>
                  <a:lnTo>
                    <a:pt x="195" y="826"/>
                  </a:lnTo>
                  <a:lnTo>
                    <a:pt x="195" y="825"/>
                  </a:lnTo>
                  <a:lnTo>
                    <a:pt x="198" y="823"/>
                  </a:lnTo>
                  <a:lnTo>
                    <a:pt x="200" y="821"/>
                  </a:lnTo>
                  <a:lnTo>
                    <a:pt x="201" y="821"/>
                  </a:lnTo>
                  <a:lnTo>
                    <a:pt x="200" y="825"/>
                  </a:lnTo>
                  <a:lnTo>
                    <a:pt x="198" y="826"/>
                  </a:lnTo>
                  <a:lnTo>
                    <a:pt x="199" y="826"/>
                  </a:lnTo>
                  <a:lnTo>
                    <a:pt x="201" y="826"/>
                  </a:lnTo>
                  <a:lnTo>
                    <a:pt x="204" y="825"/>
                  </a:lnTo>
                  <a:lnTo>
                    <a:pt x="205" y="824"/>
                  </a:lnTo>
                  <a:lnTo>
                    <a:pt x="205" y="827"/>
                  </a:lnTo>
                  <a:lnTo>
                    <a:pt x="206" y="827"/>
                  </a:lnTo>
                  <a:lnTo>
                    <a:pt x="209" y="826"/>
                  </a:lnTo>
                  <a:lnTo>
                    <a:pt x="210" y="826"/>
                  </a:lnTo>
                  <a:lnTo>
                    <a:pt x="212" y="826"/>
                  </a:lnTo>
                  <a:lnTo>
                    <a:pt x="211" y="827"/>
                  </a:lnTo>
                  <a:lnTo>
                    <a:pt x="209" y="829"/>
                  </a:lnTo>
                  <a:lnTo>
                    <a:pt x="205" y="829"/>
                  </a:lnTo>
                  <a:lnTo>
                    <a:pt x="201" y="829"/>
                  </a:lnTo>
                  <a:lnTo>
                    <a:pt x="199" y="830"/>
                  </a:lnTo>
                  <a:lnTo>
                    <a:pt x="194" y="831"/>
                  </a:lnTo>
                  <a:lnTo>
                    <a:pt x="193" y="832"/>
                  </a:lnTo>
                  <a:lnTo>
                    <a:pt x="190" y="832"/>
                  </a:lnTo>
                  <a:lnTo>
                    <a:pt x="187" y="830"/>
                  </a:lnTo>
                  <a:lnTo>
                    <a:pt x="184" y="830"/>
                  </a:lnTo>
                  <a:lnTo>
                    <a:pt x="184" y="832"/>
                  </a:lnTo>
                  <a:lnTo>
                    <a:pt x="183" y="832"/>
                  </a:lnTo>
                  <a:lnTo>
                    <a:pt x="183" y="833"/>
                  </a:lnTo>
                  <a:lnTo>
                    <a:pt x="188" y="835"/>
                  </a:lnTo>
                  <a:lnTo>
                    <a:pt x="184" y="836"/>
                  </a:lnTo>
                  <a:lnTo>
                    <a:pt x="182" y="837"/>
                  </a:lnTo>
                  <a:lnTo>
                    <a:pt x="180" y="836"/>
                  </a:lnTo>
                  <a:lnTo>
                    <a:pt x="176" y="836"/>
                  </a:lnTo>
                  <a:lnTo>
                    <a:pt x="172" y="833"/>
                  </a:lnTo>
                  <a:lnTo>
                    <a:pt x="169" y="832"/>
                  </a:lnTo>
                  <a:lnTo>
                    <a:pt x="164" y="833"/>
                  </a:lnTo>
                  <a:lnTo>
                    <a:pt x="165" y="835"/>
                  </a:lnTo>
                  <a:lnTo>
                    <a:pt x="163" y="833"/>
                  </a:lnTo>
                  <a:lnTo>
                    <a:pt x="160" y="832"/>
                  </a:lnTo>
                  <a:lnTo>
                    <a:pt x="157" y="831"/>
                  </a:lnTo>
                  <a:lnTo>
                    <a:pt x="153" y="830"/>
                  </a:lnTo>
                  <a:lnTo>
                    <a:pt x="151" y="827"/>
                  </a:lnTo>
                  <a:lnTo>
                    <a:pt x="150" y="827"/>
                  </a:lnTo>
                  <a:lnTo>
                    <a:pt x="151" y="829"/>
                  </a:lnTo>
                  <a:lnTo>
                    <a:pt x="152" y="830"/>
                  </a:lnTo>
                  <a:lnTo>
                    <a:pt x="150" y="830"/>
                  </a:lnTo>
                  <a:lnTo>
                    <a:pt x="148" y="829"/>
                  </a:lnTo>
                  <a:lnTo>
                    <a:pt x="147" y="827"/>
                  </a:lnTo>
                  <a:lnTo>
                    <a:pt x="145" y="826"/>
                  </a:lnTo>
                  <a:lnTo>
                    <a:pt x="142" y="826"/>
                  </a:lnTo>
                  <a:lnTo>
                    <a:pt x="141" y="826"/>
                  </a:lnTo>
                  <a:lnTo>
                    <a:pt x="139" y="825"/>
                  </a:lnTo>
                  <a:lnTo>
                    <a:pt x="136" y="824"/>
                  </a:lnTo>
                  <a:lnTo>
                    <a:pt x="135" y="825"/>
                  </a:lnTo>
                  <a:lnTo>
                    <a:pt x="134" y="824"/>
                  </a:lnTo>
                  <a:lnTo>
                    <a:pt x="135" y="821"/>
                  </a:lnTo>
                  <a:lnTo>
                    <a:pt x="133" y="821"/>
                  </a:lnTo>
                  <a:lnTo>
                    <a:pt x="131" y="823"/>
                  </a:lnTo>
                  <a:lnTo>
                    <a:pt x="130" y="823"/>
                  </a:lnTo>
                  <a:lnTo>
                    <a:pt x="128" y="823"/>
                  </a:lnTo>
                  <a:lnTo>
                    <a:pt x="128" y="820"/>
                  </a:lnTo>
                  <a:lnTo>
                    <a:pt x="127" y="818"/>
                  </a:lnTo>
                  <a:lnTo>
                    <a:pt x="127" y="820"/>
                  </a:lnTo>
                  <a:lnTo>
                    <a:pt x="125" y="821"/>
                  </a:lnTo>
                  <a:lnTo>
                    <a:pt x="124" y="821"/>
                  </a:lnTo>
                  <a:lnTo>
                    <a:pt x="122" y="821"/>
                  </a:lnTo>
                  <a:lnTo>
                    <a:pt x="121" y="820"/>
                  </a:lnTo>
                  <a:lnTo>
                    <a:pt x="119" y="820"/>
                  </a:lnTo>
                  <a:lnTo>
                    <a:pt x="117" y="820"/>
                  </a:lnTo>
                  <a:lnTo>
                    <a:pt x="116" y="820"/>
                  </a:lnTo>
                  <a:lnTo>
                    <a:pt x="116" y="819"/>
                  </a:lnTo>
                  <a:lnTo>
                    <a:pt x="113" y="818"/>
                  </a:lnTo>
                  <a:lnTo>
                    <a:pt x="111" y="818"/>
                  </a:lnTo>
                  <a:lnTo>
                    <a:pt x="106" y="814"/>
                  </a:lnTo>
                  <a:lnTo>
                    <a:pt x="107" y="817"/>
                  </a:lnTo>
                  <a:lnTo>
                    <a:pt x="107" y="819"/>
                  </a:lnTo>
                  <a:lnTo>
                    <a:pt x="105" y="818"/>
                  </a:lnTo>
                  <a:lnTo>
                    <a:pt x="104" y="817"/>
                  </a:lnTo>
                  <a:lnTo>
                    <a:pt x="105" y="819"/>
                  </a:lnTo>
                  <a:lnTo>
                    <a:pt x="106" y="820"/>
                  </a:lnTo>
                  <a:lnTo>
                    <a:pt x="103" y="820"/>
                  </a:lnTo>
                  <a:lnTo>
                    <a:pt x="100" y="821"/>
                  </a:lnTo>
                  <a:lnTo>
                    <a:pt x="104" y="821"/>
                  </a:lnTo>
                  <a:lnTo>
                    <a:pt x="106" y="821"/>
                  </a:lnTo>
                  <a:lnTo>
                    <a:pt x="110" y="821"/>
                  </a:lnTo>
                  <a:lnTo>
                    <a:pt x="109" y="825"/>
                  </a:lnTo>
                  <a:lnTo>
                    <a:pt x="109" y="826"/>
                  </a:lnTo>
                  <a:lnTo>
                    <a:pt x="110" y="825"/>
                  </a:lnTo>
                  <a:lnTo>
                    <a:pt x="112" y="823"/>
                  </a:lnTo>
                  <a:lnTo>
                    <a:pt x="113" y="821"/>
                  </a:lnTo>
                  <a:lnTo>
                    <a:pt x="115" y="821"/>
                  </a:lnTo>
                  <a:lnTo>
                    <a:pt x="115" y="825"/>
                  </a:lnTo>
                  <a:lnTo>
                    <a:pt x="115" y="823"/>
                  </a:lnTo>
                  <a:lnTo>
                    <a:pt x="116" y="823"/>
                  </a:lnTo>
                  <a:lnTo>
                    <a:pt x="118" y="823"/>
                  </a:lnTo>
                  <a:lnTo>
                    <a:pt x="118" y="824"/>
                  </a:lnTo>
                  <a:lnTo>
                    <a:pt x="116" y="826"/>
                  </a:lnTo>
                  <a:lnTo>
                    <a:pt x="116" y="829"/>
                  </a:lnTo>
                  <a:lnTo>
                    <a:pt x="115" y="832"/>
                  </a:lnTo>
                  <a:lnTo>
                    <a:pt x="115" y="836"/>
                  </a:lnTo>
                  <a:lnTo>
                    <a:pt x="117" y="841"/>
                  </a:lnTo>
                  <a:lnTo>
                    <a:pt x="119" y="842"/>
                  </a:lnTo>
                  <a:lnTo>
                    <a:pt x="119" y="839"/>
                  </a:lnTo>
                  <a:lnTo>
                    <a:pt x="119" y="835"/>
                  </a:lnTo>
                  <a:lnTo>
                    <a:pt x="119" y="833"/>
                  </a:lnTo>
                  <a:lnTo>
                    <a:pt x="119" y="836"/>
                  </a:lnTo>
                  <a:lnTo>
                    <a:pt x="121" y="838"/>
                  </a:lnTo>
                  <a:lnTo>
                    <a:pt x="121" y="841"/>
                  </a:lnTo>
                  <a:lnTo>
                    <a:pt x="119" y="843"/>
                  </a:lnTo>
                  <a:lnTo>
                    <a:pt x="121" y="843"/>
                  </a:lnTo>
                  <a:lnTo>
                    <a:pt x="122" y="843"/>
                  </a:lnTo>
                  <a:lnTo>
                    <a:pt x="124" y="844"/>
                  </a:lnTo>
                  <a:lnTo>
                    <a:pt x="124" y="848"/>
                  </a:lnTo>
                  <a:lnTo>
                    <a:pt x="128" y="850"/>
                  </a:lnTo>
                  <a:lnTo>
                    <a:pt x="127" y="852"/>
                  </a:lnTo>
                  <a:lnTo>
                    <a:pt x="125" y="852"/>
                  </a:lnTo>
                  <a:lnTo>
                    <a:pt x="124" y="849"/>
                  </a:lnTo>
                  <a:lnTo>
                    <a:pt x="122" y="849"/>
                  </a:lnTo>
                  <a:lnTo>
                    <a:pt x="118" y="849"/>
                  </a:lnTo>
                  <a:lnTo>
                    <a:pt x="117" y="850"/>
                  </a:lnTo>
                  <a:lnTo>
                    <a:pt x="115" y="849"/>
                  </a:lnTo>
                  <a:lnTo>
                    <a:pt x="113" y="849"/>
                  </a:lnTo>
                  <a:lnTo>
                    <a:pt x="110" y="849"/>
                  </a:lnTo>
                  <a:lnTo>
                    <a:pt x="107" y="852"/>
                  </a:lnTo>
                  <a:lnTo>
                    <a:pt x="109" y="853"/>
                  </a:lnTo>
                  <a:lnTo>
                    <a:pt x="111" y="852"/>
                  </a:lnTo>
                  <a:lnTo>
                    <a:pt x="112" y="853"/>
                  </a:lnTo>
                  <a:lnTo>
                    <a:pt x="113" y="852"/>
                  </a:lnTo>
                  <a:lnTo>
                    <a:pt x="115" y="852"/>
                  </a:lnTo>
                  <a:lnTo>
                    <a:pt x="116" y="852"/>
                  </a:lnTo>
                  <a:lnTo>
                    <a:pt x="118" y="850"/>
                  </a:lnTo>
                  <a:lnTo>
                    <a:pt x="119" y="850"/>
                  </a:lnTo>
                  <a:lnTo>
                    <a:pt x="118" y="853"/>
                  </a:lnTo>
                  <a:lnTo>
                    <a:pt x="117" y="854"/>
                  </a:lnTo>
                  <a:lnTo>
                    <a:pt x="116" y="855"/>
                  </a:lnTo>
                  <a:lnTo>
                    <a:pt x="116" y="856"/>
                  </a:lnTo>
                  <a:lnTo>
                    <a:pt x="118" y="855"/>
                  </a:lnTo>
                  <a:lnTo>
                    <a:pt x="119" y="855"/>
                  </a:lnTo>
                  <a:lnTo>
                    <a:pt x="121" y="854"/>
                  </a:lnTo>
                  <a:lnTo>
                    <a:pt x="122" y="853"/>
                  </a:lnTo>
                  <a:lnTo>
                    <a:pt x="123" y="853"/>
                  </a:lnTo>
                  <a:lnTo>
                    <a:pt x="123" y="854"/>
                  </a:lnTo>
                  <a:lnTo>
                    <a:pt x="122" y="855"/>
                  </a:lnTo>
                  <a:lnTo>
                    <a:pt x="122" y="856"/>
                  </a:lnTo>
                  <a:lnTo>
                    <a:pt x="122" y="858"/>
                  </a:lnTo>
                  <a:lnTo>
                    <a:pt x="121" y="859"/>
                  </a:lnTo>
                  <a:lnTo>
                    <a:pt x="119" y="858"/>
                  </a:lnTo>
                  <a:lnTo>
                    <a:pt x="117" y="856"/>
                  </a:lnTo>
                  <a:lnTo>
                    <a:pt x="116" y="856"/>
                  </a:lnTo>
                  <a:lnTo>
                    <a:pt x="112" y="856"/>
                  </a:lnTo>
                  <a:lnTo>
                    <a:pt x="110" y="856"/>
                  </a:lnTo>
                  <a:lnTo>
                    <a:pt x="105" y="856"/>
                  </a:lnTo>
                  <a:lnTo>
                    <a:pt x="104" y="856"/>
                  </a:lnTo>
                  <a:lnTo>
                    <a:pt x="106" y="858"/>
                  </a:lnTo>
                  <a:lnTo>
                    <a:pt x="106" y="859"/>
                  </a:lnTo>
                  <a:lnTo>
                    <a:pt x="103" y="858"/>
                  </a:lnTo>
                  <a:lnTo>
                    <a:pt x="101" y="860"/>
                  </a:lnTo>
                  <a:lnTo>
                    <a:pt x="104" y="860"/>
                  </a:lnTo>
                  <a:lnTo>
                    <a:pt x="105" y="860"/>
                  </a:lnTo>
                  <a:lnTo>
                    <a:pt x="107" y="860"/>
                  </a:lnTo>
                  <a:lnTo>
                    <a:pt x="109" y="861"/>
                  </a:lnTo>
                  <a:lnTo>
                    <a:pt x="107" y="864"/>
                  </a:lnTo>
                  <a:lnTo>
                    <a:pt x="105" y="864"/>
                  </a:lnTo>
                  <a:lnTo>
                    <a:pt x="101" y="864"/>
                  </a:lnTo>
                  <a:lnTo>
                    <a:pt x="99" y="861"/>
                  </a:lnTo>
                  <a:lnTo>
                    <a:pt x="93" y="858"/>
                  </a:lnTo>
                  <a:lnTo>
                    <a:pt x="91" y="856"/>
                  </a:lnTo>
                  <a:lnTo>
                    <a:pt x="91" y="859"/>
                  </a:lnTo>
                  <a:lnTo>
                    <a:pt x="92" y="860"/>
                  </a:lnTo>
                  <a:lnTo>
                    <a:pt x="91" y="860"/>
                  </a:lnTo>
                  <a:lnTo>
                    <a:pt x="88" y="859"/>
                  </a:lnTo>
                  <a:lnTo>
                    <a:pt x="86" y="859"/>
                  </a:lnTo>
                  <a:lnTo>
                    <a:pt x="83" y="856"/>
                  </a:lnTo>
                  <a:lnTo>
                    <a:pt x="81" y="854"/>
                  </a:lnTo>
                  <a:lnTo>
                    <a:pt x="80" y="855"/>
                  </a:lnTo>
                  <a:lnTo>
                    <a:pt x="78" y="856"/>
                  </a:lnTo>
                  <a:lnTo>
                    <a:pt x="76" y="854"/>
                  </a:lnTo>
                  <a:lnTo>
                    <a:pt x="74" y="854"/>
                  </a:lnTo>
                  <a:lnTo>
                    <a:pt x="72" y="854"/>
                  </a:lnTo>
                  <a:lnTo>
                    <a:pt x="75" y="856"/>
                  </a:lnTo>
                  <a:lnTo>
                    <a:pt x="77" y="858"/>
                  </a:lnTo>
                  <a:lnTo>
                    <a:pt x="77" y="859"/>
                  </a:lnTo>
                  <a:lnTo>
                    <a:pt x="75" y="861"/>
                  </a:lnTo>
                  <a:lnTo>
                    <a:pt x="74" y="861"/>
                  </a:lnTo>
                  <a:lnTo>
                    <a:pt x="74" y="862"/>
                  </a:lnTo>
                  <a:lnTo>
                    <a:pt x="76" y="861"/>
                  </a:lnTo>
                  <a:lnTo>
                    <a:pt x="77" y="860"/>
                  </a:lnTo>
                  <a:lnTo>
                    <a:pt x="80" y="859"/>
                  </a:lnTo>
                  <a:lnTo>
                    <a:pt x="83" y="859"/>
                  </a:lnTo>
                  <a:lnTo>
                    <a:pt x="81" y="862"/>
                  </a:lnTo>
                  <a:lnTo>
                    <a:pt x="80" y="866"/>
                  </a:lnTo>
                  <a:lnTo>
                    <a:pt x="81" y="864"/>
                  </a:lnTo>
                  <a:lnTo>
                    <a:pt x="82" y="862"/>
                  </a:lnTo>
                  <a:lnTo>
                    <a:pt x="83" y="861"/>
                  </a:lnTo>
                  <a:lnTo>
                    <a:pt x="84" y="860"/>
                  </a:lnTo>
                  <a:lnTo>
                    <a:pt x="87" y="860"/>
                  </a:lnTo>
                  <a:lnTo>
                    <a:pt x="88" y="862"/>
                  </a:lnTo>
                  <a:lnTo>
                    <a:pt x="87" y="865"/>
                  </a:lnTo>
                  <a:lnTo>
                    <a:pt x="84" y="867"/>
                  </a:lnTo>
                  <a:lnTo>
                    <a:pt x="84" y="870"/>
                  </a:lnTo>
                  <a:lnTo>
                    <a:pt x="86" y="870"/>
                  </a:lnTo>
                  <a:lnTo>
                    <a:pt x="86" y="871"/>
                  </a:lnTo>
                  <a:lnTo>
                    <a:pt x="84" y="872"/>
                  </a:lnTo>
                  <a:lnTo>
                    <a:pt x="83" y="872"/>
                  </a:lnTo>
                  <a:lnTo>
                    <a:pt x="81" y="872"/>
                  </a:lnTo>
                  <a:lnTo>
                    <a:pt x="78" y="871"/>
                  </a:lnTo>
                  <a:lnTo>
                    <a:pt x="76" y="868"/>
                  </a:lnTo>
                  <a:lnTo>
                    <a:pt x="75" y="868"/>
                  </a:lnTo>
                  <a:lnTo>
                    <a:pt x="75" y="871"/>
                  </a:lnTo>
                  <a:lnTo>
                    <a:pt x="71" y="870"/>
                  </a:lnTo>
                  <a:lnTo>
                    <a:pt x="70" y="868"/>
                  </a:lnTo>
                  <a:lnTo>
                    <a:pt x="68" y="870"/>
                  </a:lnTo>
                  <a:lnTo>
                    <a:pt x="71" y="872"/>
                  </a:lnTo>
                  <a:lnTo>
                    <a:pt x="75" y="872"/>
                  </a:lnTo>
                  <a:lnTo>
                    <a:pt x="74" y="874"/>
                  </a:lnTo>
                  <a:lnTo>
                    <a:pt x="74" y="876"/>
                  </a:lnTo>
                  <a:lnTo>
                    <a:pt x="75" y="877"/>
                  </a:lnTo>
                  <a:lnTo>
                    <a:pt x="76" y="876"/>
                  </a:lnTo>
                  <a:lnTo>
                    <a:pt x="77" y="873"/>
                  </a:lnTo>
                  <a:lnTo>
                    <a:pt x="80" y="873"/>
                  </a:lnTo>
                  <a:lnTo>
                    <a:pt x="80" y="874"/>
                  </a:lnTo>
                  <a:lnTo>
                    <a:pt x="80" y="877"/>
                  </a:lnTo>
                  <a:lnTo>
                    <a:pt x="80" y="878"/>
                  </a:lnTo>
                  <a:lnTo>
                    <a:pt x="81" y="877"/>
                  </a:lnTo>
                  <a:lnTo>
                    <a:pt x="82" y="876"/>
                  </a:lnTo>
                  <a:lnTo>
                    <a:pt x="83" y="876"/>
                  </a:lnTo>
                  <a:lnTo>
                    <a:pt x="82" y="878"/>
                  </a:lnTo>
                  <a:lnTo>
                    <a:pt x="83" y="878"/>
                  </a:lnTo>
                  <a:lnTo>
                    <a:pt x="83" y="877"/>
                  </a:lnTo>
                  <a:lnTo>
                    <a:pt x="86" y="876"/>
                  </a:lnTo>
                  <a:lnTo>
                    <a:pt x="88" y="876"/>
                  </a:lnTo>
                  <a:lnTo>
                    <a:pt x="86" y="880"/>
                  </a:lnTo>
                  <a:lnTo>
                    <a:pt x="86" y="882"/>
                  </a:lnTo>
                  <a:lnTo>
                    <a:pt x="87" y="882"/>
                  </a:lnTo>
                  <a:lnTo>
                    <a:pt x="88" y="879"/>
                  </a:lnTo>
                  <a:lnTo>
                    <a:pt x="89" y="878"/>
                  </a:lnTo>
                  <a:lnTo>
                    <a:pt x="91" y="878"/>
                  </a:lnTo>
                  <a:lnTo>
                    <a:pt x="91" y="879"/>
                  </a:lnTo>
                  <a:lnTo>
                    <a:pt x="91" y="882"/>
                  </a:lnTo>
                  <a:lnTo>
                    <a:pt x="91" y="885"/>
                  </a:lnTo>
                  <a:lnTo>
                    <a:pt x="92" y="884"/>
                  </a:lnTo>
                  <a:lnTo>
                    <a:pt x="94" y="884"/>
                  </a:lnTo>
                  <a:lnTo>
                    <a:pt x="94" y="885"/>
                  </a:lnTo>
                  <a:lnTo>
                    <a:pt x="94" y="889"/>
                  </a:lnTo>
                  <a:lnTo>
                    <a:pt x="93" y="892"/>
                  </a:lnTo>
                  <a:lnTo>
                    <a:pt x="94" y="892"/>
                  </a:lnTo>
                  <a:lnTo>
                    <a:pt x="97" y="891"/>
                  </a:lnTo>
                  <a:lnTo>
                    <a:pt x="99" y="891"/>
                  </a:lnTo>
                  <a:lnTo>
                    <a:pt x="99" y="892"/>
                  </a:lnTo>
                  <a:lnTo>
                    <a:pt x="97" y="894"/>
                  </a:lnTo>
                  <a:lnTo>
                    <a:pt x="93" y="894"/>
                  </a:lnTo>
                  <a:lnTo>
                    <a:pt x="94" y="896"/>
                  </a:lnTo>
                  <a:lnTo>
                    <a:pt x="97" y="896"/>
                  </a:lnTo>
                  <a:lnTo>
                    <a:pt x="97" y="897"/>
                  </a:lnTo>
                  <a:lnTo>
                    <a:pt x="94" y="900"/>
                  </a:lnTo>
                  <a:lnTo>
                    <a:pt x="92" y="901"/>
                  </a:lnTo>
                  <a:lnTo>
                    <a:pt x="92" y="903"/>
                  </a:lnTo>
                  <a:lnTo>
                    <a:pt x="94" y="902"/>
                  </a:lnTo>
                  <a:lnTo>
                    <a:pt x="97" y="901"/>
                  </a:lnTo>
                  <a:lnTo>
                    <a:pt x="98" y="900"/>
                  </a:lnTo>
                  <a:lnTo>
                    <a:pt x="98" y="902"/>
                  </a:lnTo>
                  <a:lnTo>
                    <a:pt x="99" y="901"/>
                  </a:lnTo>
                  <a:lnTo>
                    <a:pt x="101" y="900"/>
                  </a:lnTo>
                  <a:lnTo>
                    <a:pt x="103" y="898"/>
                  </a:lnTo>
                  <a:lnTo>
                    <a:pt x="103" y="901"/>
                  </a:lnTo>
                  <a:lnTo>
                    <a:pt x="103" y="903"/>
                  </a:lnTo>
                  <a:lnTo>
                    <a:pt x="101" y="904"/>
                  </a:lnTo>
                  <a:lnTo>
                    <a:pt x="100" y="904"/>
                  </a:lnTo>
                  <a:lnTo>
                    <a:pt x="97" y="904"/>
                  </a:lnTo>
                  <a:lnTo>
                    <a:pt x="94" y="904"/>
                  </a:lnTo>
                  <a:lnTo>
                    <a:pt x="89" y="904"/>
                  </a:lnTo>
                  <a:lnTo>
                    <a:pt x="87" y="904"/>
                  </a:lnTo>
                  <a:lnTo>
                    <a:pt x="84" y="904"/>
                  </a:lnTo>
                  <a:lnTo>
                    <a:pt x="81" y="903"/>
                  </a:lnTo>
                  <a:lnTo>
                    <a:pt x="80" y="903"/>
                  </a:lnTo>
                  <a:lnTo>
                    <a:pt x="76" y="903"/>
                  </a:lnTo>
                  <a:lnTo>
                    <a:pt x="74" y="903"/>
                  </a:lnTo>
                  <a:lnTo>
                    <a:pt x="74" y="906"/>
                  </a:lnTo>
                  <a:lnTo>
                    <a:pt x="76" y="907"/>
                  </a:lnTo>
                  <a:lnTo>
                    <a:pt x="77" y="909"/>
                  </a:lnTo>
                  <a:lnTo>
                    <a:pt x="78" y="907"/>
                  </a:lnTo>
                  <a:lnTo>
                    <a:pt x="80" y="907"/>
                  </a:lnTo>
                  <a:lnTo>
                    <a:pt x="80" y="912"/>
                  </a:lnTo>
                  <a:lnTo>
                    <a:pt x="81" y="913"/>
                  </a:lnTo>
                  <a:lnTo>
                    <a:pt x="81" y="912"/>
                  </a:lnTo>
                  <a:lnTo>
                    <a:pt x="82" y="910"/>
                  </a:lnTo>
                  <a:lnTo>
                    <a:pt x="83" y="908"/>
                  </a:lnTo>
                  <a:lnTo>
                    <a:pt x="84" y="908"/>
                  </a:lnTo>
                  <a:lnTo>
                    <a:pt x="83" y="912"/>
                  </a:lnTo>
                  <a:lnTo>
                    <a:pt x="82" y="914"/>
                  </a:lnTo>
                  <a:lnTo>
                    <a:pt x="82" y="918"/>
                  </a:lnTo>
                  <a:lnTo>
                    <a:pt x="82" y="922"/>
                  </a:lnTo>
                  <a:lnTo>
                    <a:pt x="83" y="925"/>
                  </a:lnTo>
                  <a:lnTo>
                    <a:pt x="84" y="925"/>
                  </a:lnTo>
                  <a:lnTo>
                    <a:pt x="84" y="921"/>
                  </a:lnTo>
                  <a:lnTo>
                    <a:pt x="86" y="920"/>
                  </a:lnTo>
                  <a:lnTo>
                    <a:pt x="86" y="915"/>
                  </a:lnTo>
                  <a:lnTo>
                    <a:pt x="86" y="914"/>
                  </a:lnTo>
                  <a:lnTo>
                    <a:pt x="87" y="912"/>
                  </a:lnTo>
                  <a:lnTo>
                    <a:pt x="88" y="912"/>
                  </a:lnTo>
                  <a:lnTo>
                    <a:pt x="89" y="913"/>
                  </a:lnTo>
                  <a:lnTo>
                    <a:pt x="88" y="914"/>
                  </a:lnTo>
                  <a:lnTo>
                    <a:pt x="88" y="916"/>
                  </a:lnTo>
                  <a:lnTo>
                    <a:pt x="88" y="919"/>
                  </a:lnTo>
                  <a:lnTo>
                    <a:pt x="89" y="919"/>
                  </a:lnTo>
                  <a:lnTo>
                    <a:pt x="91" y="919"/>
                  </a:lnTo>
                  <a:lnTo>
                    <a:pt x="92" y="916"/>
                  </a:lnTo>
                  <a:lnTo>
                    <a:pt x="93" y="915"/>
                  </a:lnTo>
                  <a:lnTo>
                    <a:pt x="94" y="914"/>
                  </a:lnTo>
                  <a:lnTo>
                    <a:pt x="94" y="913"/>
                  </a:lnTo>
                  <a:lnTo>
                    <a:pt x="95" y="913"/>
                  </a:lnTo>
                  <a:lnTo>
                    <a:pt x="95" y="915"/>
                  </a:lnTo>
                  <a:lnTo>
                    <a:pt x="95" y="916"/>
                  </a:lnTo>
                  <a:lnTo>
                    <a:pt x="94" y="919"/>
                  </a:lnTo>
                  <a:lnTo>
                    <a:pt x="94" y="920"/>
                  </a:lnTo>
                  <a:lnTo>
                    <a:pt x="93" y="921"/>
                  </a:lnTo>
                  <a:lnTo>
                    <a:pt x="91" y="924"/>
                  </a:lnTo>
                  <a:lnTo>
                    <a:pt x="89" y="926"/>
                  </a:lnTo>
                  <a:lnTo>
                    <a:pt x="89" y="927"/>
                  </a:lnTo>
                  <a:lnTo>
                    <a:pt x="91" y="927"/>
                  </a:lnTo>
                  <a:lnTo>
                    <a:pt x="92" y="926"/>
                  </a:lnTo>
                  <a:lnTo>
                    <a:pt x="93" y="926"/>
                  </a:lnTo>
                  <a:lnTo>
                    <a:pt x="95" y="926"/>
                  </a:lnTo>
                  <a:lnTo>
                    <a:pt x="95" y="927"/>
                  </a:lnTo>
                  <a:lnTo>
                    <a:pt x="94" y="928"/>
                  </a:lnTo>
                  <a:lnTo>
                    <a:pt x="93" y="928"/>
                  </a:lnTo>
                  <a:lnTo>
                    <a:pt x="92" y="928"/>
                  </a:lnTo>
                  <a:lnTo>
                    <a:pt x="91" y="928"/>
                  </a:lnTo>
                  <a:lnTo>
                    <a:pt x="88" y="928"/>
                  </a:lnTo>
                  <a:lnTo>
                    <a:pt x="86" y="927"/>
                  </a:lnTo>
                  <a:lnTo>
                    <a:pt x="83" y="926"/>
                  </a:lnTo>
                  <a:lnTo>
                    <a:pt x="82" y="925"/>
                  </a:lnTo>
                  <a:lnTo>
                    <a:pt x="78" y="924"/>
                  </a:lnTo>
                  <a:lnTo>
                    <a:pt x="76" y="924"/>
                  </a:lnTo>
                  <a:lnTo>
                    <a:pt x="72" y="924"/>
                  </a:lnTo>
                  <a:lnTo>
                    <a:pt x="68" y="921"/>
                  </a:lnTo>
                  <a:lnTo>
                    <a:pt x="65" y="921"/>
                  </a:lnTo>
                  <a:lnTo>
                    <a:pt x="63" y="922"/>
                  </a:lnTo>
                  <a:lnTo>
                    <a:pt x="62" y="921"/>
                  </a:lnTo>
                  <a:lnTo>
                    <a:pt x="59" y="920"/>
                  </a:lnTo>
                  <a:lnTo>
                    <a:pt x="56" y="919"/>
                  </a:lnTo>
                  <a:lnTo>
                    <a:pt x="53" y="919"/>
                  </a:lnTo>
                  <a:lnTo>
                    <a:pt x="51" y="919"/>
                  </a:lnTo>
                  <a:lnTo>
                    <a:pt x="48" y="918"/>
                  </a:lnTo>
                  <a:lnTo>
                    <a:pt x="47" y="918"/>
                  </a:lnTo>
                  <a:lnTo>
                    <a:pt x="48" y="919"/>
                  </a:lnTo>
                  <a:lnTo>
                    <a:pt x="48" y="920"/>
                  </a:lnTo>
                  <a:lnTo>
                    <a:pt x="46" y="920"/>
                  </a:lnTo>
                  <a:lnTo>
                    <a:pt x="45" y="919"/>
                  </a:lnTo>
                  <a:lnTo>
                    <a:pt x="44" y="918"/>
                  </a:lnTo>
                  <a:lnTo>
                    <a:pt x="44" y="919"/>
                  </a:lnTo>
                  <a:lnTo>
                    <a:pt x="42" y="918"/>
                  </a:lnTo>
                  <a:lnTo>
                    <a:pt x="41" y="916"/>
                  </a:lnTo>
                  <a:lnTo>
                    <a:pt x="38" y="914"/>
                  </a:lnTo>
                  <a:lnTo>
                    <a:pt x="36" y="916"/>
                  </a:lnTo>
                  <a:lnTo>
                    <a:pt x="38" y="918"/>
                  </a:lnTo>
                  <a:lnTo>
                    <a:pt x="32" y="916"/>
                  </a:lnTo>
                  <a:lnTo>
                    <a:pt x="33" y="918"/>
                  </a:lnTo>
                  <a:lnTo>
                    <a:pt x="35" y="919"/>
                  </a:lnTo>
                  <a:lnTo>
                    <a:pt x="38" y="919"/>
                  </a:lnTo>
                  <a:lnTo>
                    <a:pt x="38" y="920"/>
                  </a:lnTo>
                  <a:lnTo>
                    <a:pt x="34" y="922"/>
                  </a:lnTo>
                  <a:lnTo>
                    <a:pt x="33" y="924"/>
                  </a:lnTo>
                  <a:lnTo>
                    <a:pt x="34" y="925"/>
                  </a:lnTo>
                  <a:lnTo>
                    <a:pt x="34" y="924"/>
                  </a:lnTo>
                  <a:lnTo>
                    <a:pt x="39" y="921"/>
                  </a:lnTo>
                  <a:lnTo>
                    <a:pt x="41" y="921"/>
                  </a:lnTo>
                  <a:lnTo>
                    <a:pt x="42" y="921"/>
                  </a:lnTo>
                  <a:lnTo>
                    <a:pt x="42" y="922"/>
                  </a:lnTo>
                  <a:lnTo>
                    <a:pt x="41" y="925"/>
                  </a:lnTo>
                  <a:lnTo>
                    <a:pt x="41" y="926"/>
                  </a:lnTo>
                  <a:lnTo>
                    <a:pt x="42" y="926"/>
                  </a:lnTo>
                  <a:lnTo>
                    <a:pt x="44" y="925"/>
                  </a:lnTo>
                  <a:lnTo>
                    <a:pt x="44" y="922"/>
                  </a:lnTo>
                  <a:lnTo>
                    <a:pt x="45" y="921"/>
                  </a:lnTo>
                  <a:lnTo>
                    <a:pt x="48" y="922"/>
                  </a:lnTo>
                  <a:lnTo>
                    <a:pt x="50" y="922"/>
                  </a:lnTo>
                  <a:lnTo>
                    <a:pt x="48" y="925"/>
                  </a:lnTo>
                  <a:lnTo>
                    <a:pt x="47" y="926"/>
                  </a:lnTo>
                  <a:lnTo>
                    <a:pt x="46" y="928"/>
                  </a:lnTo>
                  <a:lnTo>
                    <a:pt x="46" y="931"/>
                  </a:lnTo>
                  <a:lnTo>
                    <a:pt x="46" y="934"/>
                  </a:lnTo>
                  <a:lnTo>
                    <a:pt x="47" y="936"/>
                  </a:lnTo>
                  <a:lnTo>
                    <a:pt x="47" y="938"/>
                  </a:lnTo>
                  <a:lnTo>
                    <a:pt x="47" y="939"/>
                  </a:lnTo>
                  <a:lnTo>
                    <a:pt x="47" y="942"/>
                  </a:lnTo>
                  <a:lnTo>
                    <a:pt x="48" y="942"/>
                  </a:lnTo>
                  <a:lnTo>
                    <a:pt x="50" y="940"/>
                  </a:lnTo>
                  <a:lnTo>
                    <a:pt x="50" y="939"/>
                  </a:lnTo>
                  <a:lnTo>
                    <a:pt x="51" y="937"/>
                  </a:lnTo>
                  <a:lnTo>
                    <a:pt x="51" y="936"/>
                  </a:lnTo>
                  <a:lnTo>
                    <a:pt x="51" y="931"/>
                  </a:lnTo>
                  <a:lnTo>
                    <a:pt x="52" y="934"/>
                  </a:lnTo>
                  <a:lnTo>
                    <a:pt x="52" y="936"/>
                  </a:lnTo>
                  <a:lnTo>
                    <a:pt x="53" y="934"/>
                  </a:lnTo>
                  <a:lnTo>
                    <a:pt x="53" y="931"/>
                  </a:lnTo>
                  <a:lnTo>
                    <a:pt x="53" y="928"/>
                  </a:lnTo>
                  <a:lnTo>
                    <a:pt x="56" y="926"/>
                  </a:lnTo>
                  <a:lnTo>
                    <a:pt x="56" y="925"/>
                  </a:lnTo>
                  <a:lnTo>
                    <a:pt x="56" y="927"/>
                  </a:lnTo>
                  <a:lnTo>
                    <a:pt x="56" y="928"/>
                  </a:lnTo>
                  <a:lnTo>
                    <a:pt x="56" y="930"/>
                  </a:lnTo>
                  <a:lnTo>
                    <a:pt x="58" y="930"/>
                  </a:lnTo>
                  <a:lnTo>
                    <a:pt x="59" y="927"/>
                  </a:lnTo>
                  <a:lnTo>
                    <a:pt x="59" y="926"/>
                  </a:lnTo>
                  <a:lnTo>
                    <a:pt x="60" y="926"/>
                  </a:lnTo>
                  <a:lnTo>
                    <a:pt x="60" y="927"/>
                  </a:lnTo>
                  <a:lnTo>
                    <a:pt x="59" y="930"/>
                  </a:lnTo>
                  <a:lnTo>
                    <a:pt x="58" y="933"/>
                  </a:lnTo>
                  <a:lnTo>
                    <a:pt x="58" y="934"/>
                  </a:lnTo>
                  <a:lnTo>
                    <a:pt x="59" y="933"/>
                  </a:lnTo>
                  <a:lnTo>
                    <a:pt x="62" y="932"/>
                  </a:lnTo>
                  <a:lnTo>
                    <a:pt x="63" y="930"/>
                  </a:lnTo>
                  <a:lnTo>
                    <a:pt x="63" y="932"/>
                  </a:lnTo>
                  <a:lnTo>
                    <a:pt x="62" y="934"/>
                  </a:lnTo>
                  <a:lnTo>
                    <a:pt x="60" y="937"/>
                  </a:lnTo>
                  <a:lnTo>
                    <a:pt x="59" y="939"/>
                  </a:lnTo>
                  <a:lnTo>
                    <a:pt x="59" y="943"/>
                  </a:lnTo>
                  <a:lnTo>
                    <a:pt x="60" y="943"/>
                  </a:lnTo>
                  <a:lnTo>
                    <a:pt x="62" y="942"/>
                  </a:lnTo>
                  <a:lnTo>
                    <a:pt x="63" y="939"/>
                  </a:lnTo>
                  <a:lnTo>
                    <a:pt x="63" y="937"/>
                  </a:lnTo>
                  <a:lnTo>
                    <a:pt x="64" y="934"/>
                  </a:lnTo>
                  <a:lnTo>
                    <a:pt x="65" y="934"/>
                  </a:lnTo>
                  <a:lnTo>
                    <a:pt x="66" y="936"/>
                  </a:lnTo>
                  <a:lnTo>
                    <a:pt x="68" y="937"/>
                  </a:lnTo>
                  <a:lnTo>
                    <a:pt x="66" y="940"/>
                  </a:lnTo>
                  <a:lnTo>
                    <a:pt x="68" y="942"/>
                  </a:lnTo>
                  <a:lnTo>
                    <a:pt x="69" y="940"/>
                  </a:lnTo>
                  <a:lnTo>
                    <a:pt x="69" y="938"/>
                  </a:lnTo>
                  <a:lnTo>
                    <a:pt x="70" y="937"/>
                  </a:lnTo>
                  <a:lnTo>
                    <a:pt x="71" y="934"/>
                  </a:lnTo>
                  <a:lnTo>
                    <a:pt x="72" y="934"/>
                  </a:lnTo>
                  <a:lnTo>
                    <a:pt x="74" y="936"/>
                  </a:lnTo>
                  <a:lnTo>
                    <a:pt x="72" y="937"/>
                  </a:lnTo>
                  <a:lnTo>
                    <a:pt x="71" y="939"/>
                  </a:lnTo>
                  <a:lnTo>
                    <a:pt x="70" y="942"/>
                  </a:lnTo>
                  <a:lnTo>
                    <a:pt x="69" y="944"/>
                  </a:lnTo>
                  <a:lnTo>
                    <a:pt x="70" y="943"/>
                  </a:lnTo>
                  <a:lnTo>
                    <a:pt x="71" y="942"/>
                  </a:lnTo>
                  <a:lnTo>
                    <a:pt x="72" y="942"/>
                  </a:lnTo>
                  <a:lnTo>
                    <a:pt x="71" y="945"/>
                  </a:lnTo>
                  <a:lnTo>
                    <a:pt x="70" y="948"/>
                  </a:lnTo>
                  <a:lnTo>
                    <a:pt x="69" y="949"/>
                  </a:lnTo>
                  <a:lnTo>
                    <a:pt x="68" y="950"/>
                  </a:lnTo>
                  <a:lnTo>
                    <a:pt x="60" y="952"/>
                  </a:lnTo>
                  <a:lnTo>
                    <a:pt x="59" y="954"/>
                  </a:lnTo>
                  <a:lnTo>
                    <a:pt x="60" y="955"/>
                  </a:lnTo>
                  <a:lnTo>
                    <a:pt x="62" y="955"/>
                  </a:lnTo>
                  <a:lnTo>
                    <a:pt x="63" y="954"/>
                  </a:lnTo>
                  <a:lnTo>
                    <a:pt x="64" y="954"/>
                  </a:lnTo>
                  <a:lnTo>
                    <a:pt x="64" y="956"/>
                  </a:lnTo>
                  <a:lnTo>
                    <a:pt x="64" y="957"/>
                  </a:lnTo>
                  <a:lnTo>
                    <a:pt x="65" y="957"/>
                  </a:lnTo>
                  <a:lnTo>
                    <a:pt x="65" y="956"/>
                  </a:lnTo>
                  <a:lnTo>
                    <a:pt x="66" y="955"/>
                  </a:lnTo>
                  <a:lnTo>
                    <a:pt x="68" y="952"/>
                  </a:lnTo>
                  <a:lnTo>
                    <a:pt x="69" y="952"/>
                  </a:lnTo>
                  <a:lnTo>
                    <a:pt x="69" y="954"/>
                  </a:lnTo>
                  <a:lnTo>
                    <a:pt x="69" y="956"/>
                  </a:lnTo>
                  <a:lnTo>
                    <a:pt x="69" y="959"/>
                  </a:lnTo>
                  <a:lnTo>
                    <a:pt x="69" y="960"/>
                  </a:lnTo>
                  <a:lnTo>
                    <a:pt x="70" y="960"/>
                  </a:lnTo>
                  <a:lnTo>
                    <a:pt x="71" y="959"/>
                  </a:lnTo>
                  <a:lnTo>
                    <a:pt x="71" y="957"/>
                  </a:lnTo>
                  <a:lnTo>
                    <a:pt x="72" y="957"/>
                  </a:lnTo>
                  <a:lnTo>
                    <a:pt x="74" y="960"/>
                  </a:lnTo>
                  <a:lnTo>
                    <a:pt x="74" y="959"/>
                  </a:lnTo>
                  <a:lnTo>
                    <a:pt x="76" y="957"/>
                  </a:lnTo>
                  <a:lnTo>
                    <a:pt x="75" y="956"/>
                  </a:lnTo>
                  <a:lnTo>
                    <a:pt x="75" y="955"/>
                  </a:lnTo>
                  <a:lnTo>
                    <a:pt x="74" y="954"/>
                  </a:lnTo>
                  <a:lnTo>
                    <a:pt x="74" y="951"/>
                  </a:lnTo>
                  <a:lnTo>
                    <a:pt x="75" y="949"/>
                  </a:lnTo>
                  <a:lnTo>
                    <a:pt x="76" y="950"/>
                  </a:lnTo>
                  <a:lnTo>
                    <a:pt x="77" y="951"/>
                  </a:lnTo>
                  <a:lnTo>
                    <a:pt x="77" y="950"/>
                  </a:lnTo>
                  <a:lnTo>
                    <a:pt x="78" y="949"/>
                  </a:lnTo>
                  <a:lnTo>
                    <a:pt x="80" y="954"/>
                  </a:lnTo>
                  <a:lnTo>
                    <a:pt x="81" y="955"/>
                  </a:lnTo>
                  <a:lnTo>
                    <a:pt x="81" y="954"/>
                  </a:lnTo>
                  <a:lnTo>
                    <a:pt x="81" y="950"/>
                  </a:lnTo>
                  <a:lnTo>
                    <a:pt x="82" y="948"/>
                  </a:lnTo>
                  <a:lnTo>
                    <a:pt x="82" y="945"/>
                  </a:lnTo>
                  <a:lnTo>
                    <a:pt x="82" y="943"/>
                  </a:lnTo>
                  <a:lnTo>
                    <a:pt x="83" y="942"/>
                  </a:lnTo>
                  <a:lnTo>
                    <a:pt x="83" y="944"/>
                  </a:lnTo>
                  <a:lnTo>
                    <a:pt x="84" y="944"/>
                  </a:lnTo>
                  <a:lnTo>
                    <a:pt x="84" y="943"/>
                  </a:lnTo>
                  <a:lnTo>
                    <a:pt x="86" y="943"/>
                  </a:lnTo>
                  <a:lnTo>
                    <a:pt x="84" y="945"/>
                  </a:lnTo>
                  <a:lnTo>
                    <a:pt x="84" y="946"/>
                  </a:lnTo>
                  <a:lnTo>
                    <a:pt x="86" y="948"/>
                  </a:lnTo>
                  <a:lnTo>
                    <a:pt x="87" y="949"/>
                  </a:lnTo>
                  <a:lnTo>
                    <a:pt x="87" y="951"/>
                  </a:lnTo>
                  <a:lnTo>
                    <a:pt x="87" y="952"/>
                  </a:lnTo>
                  <a:lnTo>
                    <a:pt x="86" y="954"/>
                  </a:lnTo>
                  <a:lnTo>
                    <a:pt x="84" y="954"/>
                  </a:lnTo>
                  <a:lnTo>
                    <a:pt x="82" y="955"/>
                  </a:lnTo>
                  <a:lnTo>
                    <a:pt x="82" y="956"/>
                  </a:lnTo>
                  <a:lnTo>
                    <a:pt x="83" y="956"/>
                  </a:lnTo>
                  <a:lnTo>
                    <a:pt x="82" y="957"/>
                  </a:lnTo>
                  <a:lnTo>
                    <a:pt x="81" y="960"/>
                  </a:lnTo>
                  <a:lnTo>
                    <a:pt x="80" y="960"/>
                  </a:lnTo>
                  <a:lnTo>
                    <a:pt x="75" y="962"/>
                  </a:lnTo>
                  <a:lnTo>
                    <a:pt x="74" y="962"/>
                  </a:lnTo>
                  <a:lnTo>
                    <a:pt x="71" y="963"/>
                  </a:lnTo>
                  <a:lnTo>
                    <a:pt x="69" y="962"/>
                  </a:lnTo>
                  <a:lnTo>
                    <a:pt x="66" y="962"/>
                  </a:lnTo>
                  <a:lnTo>
                    <a:pt x="64" y="962"/>
                  </a:lnTo>
                  <a:lnTo>
                    <a:pt x="64" y="963"/>
                  </a:lnTo>
                  <a:lnTo>
                    <a:pt x="64" y="965"/>
                  </a:lnTo>
                  <a:lnTo>
                    <a:pt x="62" y="966"/>
                  </a:lnTo>
                  <a:lnTo>
                    <a:pt x="64" y="966"/>
                  </a:lnTo>
                  <a:lnTo>
                    <a:pt x="65" y="966"/>
                  </a:lnTo>
                  <a:lnTo>
                    <a:pt x="66" y="966"/>
                  </a:lnTo>
                  <a:lnTo>
                    <a:pt x="68" y="968"/>
                  </a:lnTo>
                  <a:lnTo>
                    <a:pt x="66" y="969"/>
                  </a:lnTo>
                  <a:lnTo>
                    <a:pt x="68" y="969"/>
                  </a:lnTo>
                  <a:lnTo>
                    <a:pt x="69" y="967"/>
                  </a:lnTo>
                  <a:lnTo>
                    <a:pt x="69" y="966"/>
                  </a:lnTo>
                  <a:lnTo>
                    <a:pt x="71" y="965"/>
                  </a:lnTo>
                  <a:lnTo>
                    <a:pt x="72" y="966"/>
                  </a:lnTo>
                  <a:lnTo>
                    <a:pt x="71" y="967"/>
                  </a:lnTo>
                  <a:lnTo>
                    <a:pt x="70" y="969"/>
                  </a:lnTo>
                  <a:lnTo>
                    <a:pt x="69" y="972"/>
                  </a:lnTo>
                  <a:lnTo>
                    <a:pt x="70" y="974"/>
                  </a:lnTo>
                  <a:lnTo>
                    <a:pt x="71" y="973"/>
                  </a:lnTo>
                  <a:lnTo>
                    <a:pt x="72" y="971"/>
                  </a:lnTo>
                  <a:lnTo>
                    <a:pt x="75" y="968"/>
                  </a:lnTo>
                  <a:lnTo>
                    <a:pt x="75" y="967"/>
                  </a:lnTo>
                  <a:lnTo>
                    <a:pt x="77" y="966"/>
                  </a:lnTo>
                  <a:lnTo>
                    <a:pt x="78" y="963"/>
                  </a:lnTo>
                  <a:lnTo>
                    <a:pt x="80" y="963"/>
                  </a:lnTo>
                  <a:lnTo>
                    <a:pt x="80" y="965"/>
                  </a:lnTo>
                  <a:lnTo>
                    <a:pt x="80" y="967"/>
                  </a:lnTo>
                  <a:lnTo>
                    <a:pt x="80" y="968"/>
                  </a:lnTo>
                  <a:lnTo>
                    <a:pt x="80" y="971"/>
                  </a:lnTo>
                  <a:lnTo>
                    <a:pt x="78" y="974"/>
                  </a:lnTo>
                  <a:lnTo>
                    <a:pt x="78" y="977"/>
                  </a:lnTo>
                  <a:lnTo>
                    <a:pt x="80" y="977"/>
                  </a:lnTo>
                  <a:lnTo>
                    <a:pt x="81" y="974"/>
                  </a:lnTo>
                  <a:lnTo>
                    <a:pt x="81" y="973"/>
                  </a:lnTo>
                  <a:lnTo>
                    <a:pt x="81" y="971"/>
                  </a:lnTo>
                  <a:lnTo>
                    <a:pt x="82" y="968"/>
                  </a:lnTo>
                  <a:lnTo>
                    <a:pt x="82" y="972"/>
                  </a:lnTo>
                  <a:lnTo>
                    <a:pt x="83" y="972"/>
                  </a:lnTo>
                  <a:lnTo>
                    <a:pt x="83" y="969"/>
                  </a:lnTo>
                  <a:lnTo>
                    <a:pt x="83" y="968"/>
                  </a:lnTo>
                  <a:lnTo>
                    <a:pt x="86" y="966"/>
                  </a:lnTo>
                  <a:lnTo>
                    <a:pt x="86" y="965"/>
                  </a:lnTo>
                  <a:lnTo>
                    <a:pt x="86" y="967"/>
                  </a:lnTo>
                  <a:lnTo>
                    <a:pt x="86" y="969"/>
                  </a:lnTo>
                  <a:lnTo>
                    <a:pt x="86" y="972"/>
                  </a:lnTo>
                  <a:lnTo>
                    <a:pt x="88" y="969"/>
                  </a:lnTo>
                  <a:lnTo>
                    <a:pt x="88" y="967"/>
                  </a:lnTo>
                  <a:lnTo>
                    <a:pt x="89" y="965"/>
                  </a:lnTo>
                  <a:lnTo>
                    <a:pt x="91" y="967"/>
                  </a:lnTo>
                  <a:lnTo>
                    <a:pt x="88" y="969"/>
                  </a:lnTo>
                  <a:lnTo>
                    <a:pt x="88" y="972"/>
                  </a:lnTo>
                  <a:lnTo>
                    <a:pt x="88" y="974"/>
                  </a:lnTo>
                  <a:lnTo>
                    <a:pt x="89" y="977"/>
                  </a:lnTo>
                  <a:lnTo>
                    <a:pt x="89" y="979"/>
                  </a:lnTo>
                  <a:lnTo>
                    <a:pt x="88" y="983"/>
                  </a:lnTo>
                  <a:lnTo>
                    <a:pt x="88" y="985"/>
                  </a:lnTo>
                  <a:lnTo>
                    <a:pt x="87" y="989"/>
                  </a:lnTo>
                  <a:lnTo>
                    <a:pt x="88" y="987"/>
                  </a:lnTo>
                  <a:lnTo>
                    <a:pt x="89" y="989"/>
                  </a:lnTo>
                  <a:lnTo>
                    <a:pt x="88" y="990"/>
                  </a:lnTo>
                  <a:lnTo>
                    <a:pt x="86" y="990"/>
                  </a:lnTo>
                  <a:lnTo>
                    <a:pt x="83" y="990"/>
                  </a:lnTo>
                  <a:lnTo>
                    <a:pt x="81" y="990"/>
                  </a:lnTo>
                  <a:lnTo>
                    <a:pt x="80" y="990"/>
                  </a:lnTo>
                  <a:lnTo>
                    <a:pt x="76" y="989"/>
                  </a:lnTo>
                  <a:lnTo>
                    <a:pt x="74" y="989"/>
                  </a:lnTo>
                  <a:lnTo>
                    <a:pt x="71" y="985"/>
                  </a:lnTo>
                  <a:lnTo>
                    <a:pt x="68" y="984"/>
                  </a:lnTo>
                  <a:lnTo>
                    <a:pt x="66" y="981"/>
                  </a:lnTo>
                  <a:lnTo>
                    <a:pt x="65" y="980"/>
                  </a:lnTo>
                  <a:lnTo>
                    <a:pt x="63" y="980"/>
                  </a:lnTo>
                  <a:lnTo>
                    <a:pt x="63" y="977"/>
                  </a:lnTo>
                  <a:lnTo>
                    <a:pt x="62" y="978"/>
                  </a:lnTo>
                  <a:lnTo>
                    <a:pt x="60" y="977"/>
                  </a:lnTo>
                  <a:lnTo>
                    <a:pt x="60" y="975"/>
                  </a:lnTo>
                  <a:lnTo>
                    <a:pt x="59" y="975"/>
                  </a:lnTo>
                  <a:lnTo>
                    <a:pt x="57" y="974"/>
                  </a:lnTo>
                  <a:lnTo>
                    <a:pt x="56" y="977"/>
                  </a:lnTo>
                  <a:lnTo>
                    <a:pt x="54" y="979"/>
                  </a:lnTo>
                  <a:lnTo>
                    <a:pt x="53" y="980"/>
                  </a:lnTo>
                  <a:lnTo>
                    <a:pt x="53" y="981"/>
                  </a:lnTo>
                  <a:lnTo>
                    <a:pt x="56" y="981"/>
                  </a:lnTo>
                  <a:lnTo>
                    <a:pt x="58" y="984"/>
                  </a:lnTo>
                  <a:lnTo>
                    <a:pt x="60" y="986"/>
                  </a:lnTo>
                  <a:lnTo>
                    <a:pt x="63" y="985"/>
                  </a:lnTo>
                  <a:lnTo>
                    <a:pt x="62" y="987"/>
                  </a:lnTo>
                  <a:lnTo>
                    <a:pt x="60" y="989"/>
                  </a:lnTo>
                  <a:lnTo>
                    <a:pt x="58" y="989"/>
                  </a:lnTo>
                  <a:lnTo>
                    <a:pt x="56" y="987"/>
                  </a:lnTo>
                  <a:lnTo>
                    <a:pt x="52" y="986"/>
                  </a:lnTo>
                  <a:lnTo>
                    <a:pt x="50" y="986"/>
                  </a:lnTo>
                  <a:lnTo>
                    <a:pt x="46" y="984"/>
                  </a:lnTo>
                  <a:lnTo>
                    <a:pt x="42" y="983"/>
                  </a:lnTo>
                  <a:lnTo>
                    <a:pt x="39" y="980"/>
                  </a:lnTo>
                  <a:lnTo>
                    <a:pt x="34" y="977"/>
                  </a:lnTo>
                  <a:lnTo>
                    <a:pt x="28" y="972"/>
                  </a:lnTo>
                  <a:lnTo>
                    <a:pt x="22" y="969"/>
                  </a:lnTo>
                  <a:lnTo>
                    <a:pt x="19" y="966"/>
                  </a:lnTo>
                  <a:lnTo>
                    <a:pt x="17" y="966"/>
                  </a:lnTo>
                  <a:lnTo>
                    <a:pt x="16" y="966"/>
                  </a:lnTo>
                  <a:lnTo>
                    <a:pt x="15" y="965"/>
                  </a:lnTo>
                  <a:lnTo>
                    <a:pt x="12" y="963"/>
                  </a:lnTo>
                  <a:lnTo>
                    <a:pt x="10" y="962"/>
                  </a:lnTo>
                  <a:lnTo>
                    <a:pt x="7" y="962"/>
                  </a:lnTo>
                  <a:lnTo>
                    <a:pt x="0" y="960"/>
                  </a:lnTo>
                  <a:lnTo>
                    <a:pt x="0" y="961"/>
                  </a:lnTo>
                  <a:lnTo>
                    <a:pt x="1" y="961"/>
                  </a:lnTo>
                  <a:lnTo>
                    <a:pt x="5" y="963"/>
                  </a:lnTo>
                  <a:lnTo>
                    <a:pt x="5" y="966"/>
                  </a:lnTo>
                  <a:lnTo>
                    <a:pt x="5" y="967"/>
                  </a:lnTo>
                  <a:lnTo>
                    <a:pt x="6" y="967"/>
                  </a:lnTo>
                  <a:lnTo>
                    <a:pt x="9" y="966"/>
                  </a:lnTo>
                  <a:lnTo>
                    <a:pt x="11" y="966"/>
                  </a:lnTo>
                  <a:lnTo>
                    <a:pt x="9" y="967"/>
                  </a:lnTo>
                  <a:lnTo>
                    <a:pt x="7" y="968"/>
                  </a:lnTo>
                  <a:lnTo>
                    <a:pt x="10" y="969"/>
                  </a:lnTo>
                  <a:lnTo>
                    <a:pt x="12" y="969"/>
                  </a:lnTo>
                  <a:lnTo>
                    <a:pt x="15" y="971"/>
                  </a:lnTo>
                  <a:lnTo>
                    <a:pt x="12" y="973"/>
                  </a:lnTo>
                  <a:lnTo>
                    <a:pt x="13" y="974"/>
                  </a:lnTo>
                  <a:lnTo>
                    <a:pt x="16" y="973"/>
                  </a:lnTo>
                  <a:lnTo>
                    <a:pt x="17" y="972"/>
                  </a:lnTo>
                  <a:lnTo>
                    <a:pt x="17" y="973"/>
                  </a:lnTo>
                  <a:lnTo>
                    <a:pt x="16" y="977"/>
                  </a:lnTo>
                  <a:lnTo>
                    <a:pt x="17" y="978"/>
                  </a:lnTo>
                  <a:lnTo>
                    <a:pt x="18" y="975"/>
                  </a:lnTo>
                  <a:lnTo>
                    <a:pt x="19" y="974"/>
                  </a:lnTo>
                  <a:lnTo>
                    <a:pt x="21" y="973"/>
                  </a:lnTo>
                  <a:lnTo>
                    <a:pt x="23" y="974"/>
                  </a:lnTo>
                  <a:lnTo>
                    <a:pt x="21" y="977"/>
                  </a:lnTo>
                  <a:lnTo>
                    <a:pt x="19" y="978"/>
                  </a:lnTo>
                  <a:lnTo>
                    <a:pt x="19" y="979"/>
                  </a:lnTo>
                  <a:lnTo>
                    <a:pt x="21" y="979"/>
                  </a:lnTo>
                  <a:lnTo>
                    <a:pt x="18" y="980"/>
                  </a:lnTo>
                  <a:lnTo>
                    <a:pt x="17" y="981"/>
                  </a:lnTo>
                  <a:lnTo>
                    <a:pt x="17" y="983"/>
                  </a:lnTo>
                  <a:lnTo>
                    <a:pt x="22" y="981"/>
                  </a:lnTo>
                  <a:lnTo>
                    <a:pt x="24" y="979"/>
                  </a:lnTo>
                  <a:lnTo>
                    <a:pt x="27" y="978"/>
                  </a:lnTo>
                  <a:lnTo>
                    <a:pt x="24" y="981"/>
                  </a:lnTo>
                  <a:lnTo>
                    <a:pt x="24" y="985"/>
                  </a:lnTo>
                  <a:lnTo>
                    <a:pt x="25" y="984"/>
                  </a:lnTo>
                  <a:lnTo>
                    <a:pt x="28" y="980"/>
                  </a:lnTo>
                  <a:lnTo>
                    <a:pt x="28" y="981"/>
                  </a:lnTo>
                  <a:lnTo>
                    <a:pt x="27" y="985"/>
                  </a:lnTo>
                  <a:lnTo>
                    <a:pt x="25" y="989"/>
                  </a:lnTo>
                  <a:lnTo>
                    <a:pt x="23" y="993"/>
                  </a:lnTo>
                  <a:lnTo>
                    <a:pt x="24" y="997"/>
                  </a:lnTo>
                  <a:lnTo>
                    <a:pt x="24" y="999"/>
                  </a:lnTo>
                  <a:lnTo>
                    <a:pt x="25" y="997"/>
                  </a:lnTo>
                  <a:lnTo>
                    <a:pt x="27" y="996"/>
                  </a:lnTo>
                  <a:lnTo>
                    <a:pt x="29" y="995"/>
                  </a:lnTo>
                  <a:lnTo>
                    <a:pt x="29" y="992"/>
                  </a:lnTo>
                  <a:lnTo>
                    <a:pt x="30" y="991"/>
                  </a:lnTo>
                  <a:lnTo>
                    <a:pt x="32" y="991"/>
                  </a:lnTo>
                  <a:lnTo>
                    <a:pt x="32" y="993"/>
                  </a:lnTo>
                  <a:lnTo>
                    <a:pt x="30" y="996"/>
                  </a:lnTo>
                  <a:lnTo>
                    <a:pt x="28" y="998"/>
                  </a:lnTo>
                  <a:lnTo>
                    <a:pt x="29" y="999"/>
                  </a:lnTo>
                  <a:lnTo>
                    <a:pt x="30" y="998"/>
                  </a:lnTo>
                  <a:lnTo>
                    <a:pt x="29" y="999"/>
                  </a:lnTo>
                  <a:lnTo>
                    <a:pt x="30" y="1002"/>
                  </a:lnTo>
                  <a:lnTo>
                    <a:pt x="30" y="1003"/>
                  </a:lnTo>
                  <a:lnTo>
                    <a:pt x="32" y="1003"/>
                  </a:lnTo>
                  <a:lnTo>
                    <a:pt x="32" y="1002"/>
                  </a:lnTo>
                  <a:lnTo>
                    <a:pt x="33" y="1001"/>
                  </a:lnTo>
                  <a:lnTo>
                    <a:pt x="34" y="1001"/>
                  </a:lnTo>
                  <a:lnTo>
                    <a:pt x="35" y="999"/>
                  </a:lnTo>
                  <a:lnTo>
                    <a:pt x="34" y="1003"/>
                  </a:lnTo>
                  <a:lnTo>
                    <a:pt x="34" y="1008"/>
                  </a:lnTo>
                  <a:lnTo>
                    <a:pt x="35" y="1007"/>
                  </a:lnTo>
                  <a:lnTo>
                    <a:pt x="36" y="1008"/>
                  </a:lnTo>
                  <a:lnTo>
                    <a:pt x="38" y="1008"/>
                  </a:lnTo>
                  <a:lnTo>
                    <a:pt x="38" y="1005"/>
                  </a:lnTo>
                  <a:lnTo>
                    <a:pt x="38" y="1002"/>
                  </a:lnTo>
                  <a:lnTo>
                    <a:pt x="38" y="999"/>
                  </a:lnTo>
                  <a:lnTo>
                    <a:pt x="39" y="999"/>
                  </a:lnTo>
                  <a:lnTo>
                    <a:pt x="39" y="1002"/>
                  </a:lnTo>
                  <a:lnTo>
                    <a:pt x="40" y="1004"/>
                  </a:lnTo>
                  <a:lnTo>
                    <a:pt x="41" y="1005"/>
                  </a:lnTo>
                  <a:lnTo>
                    <a:pt x="41" y="1002"/>
                  </a:lnTo>
                  <a:lnTo>
                    <a:pt x="42" y="999"/>
                  </a:lnTo>
                  <a:lnTo>
                    <a:pt x="44" y="999"/>
                  </a:lnTo>
                  <a:lnTo>
                    <a:pt x="44" y="1003"/>
                  </a:lnTo>
                  <a:lnTo>
                    <a:pt x="45" y="1003"/>
                  </a:lnTo>
                  <a:lnTo>
                    <a:pt x="45" y="1005"/>
                  </a:lnTo>
                  <a:lnTo>
                    <a:pt x="45" y="1008"/>
                  </a:lnTo>
                  <a:lnTo>
                    <a:pt x="44" y="1010"/>
                  </a:lnTo>
                  <a:lnTo>
                    <a:pt x="44" y="1011"/>
                  </a:lnTo>
                  <a:lnTo>
                    <a:pt x="45" y="1013"/>
                  </a:lnTo>
                  <a:lnTo>
                    <a:pt x="45" y="1014"/>
                  </a:lnTo>
                  <a:lnTo>
                    <a:pt x="45" y="1016"/>
                  </a:lnTo>
                  <a:lnTo>
                    <a:pt x="44" y="1019"/>
                  </a:lnTo>
                  <a:lnTo>
                    <a:pt x="45" y="1020"/>
                  </a:lnTo>
                  <a:lnTo>
                    <a:pt x="46" y="1019"/>
                  </a:lnTo>
                  <a:lnTo>
                    <a:pt x="47" y="1017"/>
                  </a:lnTo>
                  <a:lnTo>
                    <a:pt x="47" y="1015"/>
                  </a:lnTo>
                  <a:lnTo>
                    <a:pt x="48" y="1013"/>
                  </a:lnTo>
                  <a:lnTo>
                    <a:pt x="48" y="1010"/>
                  </a:lnTo>
                  <a:lnTo>
                    <a:pt x="50" y="1011"/>
                  </a:lnTo>
                  <a:lnTo>
                    <a:pt x="52" y="1010"/>
                  </a:lnTo>
                  <a:lnTo>
                    <a:pt x="52" y="1013"/>
                  </a:lnTo>
                  <a:lnTo>
                    <a:pt x="52" y="1015"/>
                  </a:lnTo>
                  <a:lnTo>
                    <a:pt x="53" y="1014"/>
                  </a:lnTo>
                  <a:lnTo>
                    <a:pt x="54" y="1013"/>
                  </a:lnTo>
                  <a:lnTo>
                    <a:pt x="54" y="1010"/>
                  </a:lnTo>
                  <a:lnTo>
                    <a:pt x="56" y="1010"/>
                  </a:lnTo>
                  <a:lnTo>
                    <a:pt x="56" y="1013"/>
                  </a:lnTo>
                  <a:lnTo>
                    <a:pt x="54" y="1015"/>
                  </a:lnTo>
                  <a:lnTo>
                    <a:pt x="52" y="1017"/>
                  </a:lnTo>
                  <a:lnTo>
                    <a:pt x="50" y="1019"/>
                  </a:lnTo>
                  <a:lnTo>
                    <a:pt x="45" y="1021"/>
                  </a:lnTo>
                  <a:lnTo>
                    <a:pt x="44" y="1022"/>
                  </a:lnTo>
                  <a:lnTo>
                    <a:pt x="41" y="1025"/>
                  </a:lnTo>
                  <a:lnTo>
                    <a:pt x="39" y="1025"/>
                  </a:lnTo>
                  <a:lnTo>
                    <a:pt x="30" y="1021"/>
                  </a:lnTo>
                  <a:lnTo>
                    <a:pt x="30" y="1022"/>
                  </a:lnTo>
                  <a:lnTo>
                    <a:pt x="36" y="1025"/>
                  </a:lnTo>
                  <a:lnTo>
                    <a:pt x="38" y="1027"/>
                  </a:lnTo>
                  <a:lnTo>
                    <a:pt x="33" y="1029"/>
                  </a:lnTo>
                  <a:lnTo>
                    <a:pt x="32" y="1031"/>
                  </a:lnTo>
                  <a:lnTo>
                    <a:pt x="33" y="1032"/>
                  </a:lnTo>
                  <a:lnTo>
                    <a:pt x="35" y="1029"/>
                  </a:lnTo>
                  <a:lnTo>
                    <a:pt x="36" y="1029"/>
                  </a:lnTo>
                  <a:lnTo>
                    <a:pt x="36" y="1034"/>
                  </a:lnTo>
                  <a:lnTo>
                    <a:pt x="38" y="1034"/>
                  </a:lnTo>
                  <a:lnTo>
                    <a:pt x="38" y="1031"/>
                  </a:lnTo>
                  <a:lnTo>
                    <a:pt x="39" y="1029"/>
                  </a:lnTo>
                  <a:lnTo>
                    <a:pt x="40" y="1027"/>
                  </a:lnTo>
                  <a:lnTo>
                    <a:pt x="41" y="1027"/>
                  </a:lnTo>
                  <a:lnTo>
                    <a:pt x="41" y="1029"/>
                  </a:lnTo>
                  <a:lnTo>
                    <a:pt x="41" y="1033"/>
                  </a:lnTo>
                  <a:lnTo>
                    <a:pt x="42" y="1033"/>
                  </a:lnTo>
                  <a:lnTo>
                    <a:pt x="44" y="1033"/>
                  </a:lnTo>
                  <a:lnTo>
                    <a:pt x="44" y="1032"/>
                  </a:lnTo>
                  <a:lnTo>
                    <a:pt x="42" y="1031"/>
                  </a:lnTo>
                  <a:lnTo>
                    <a:pt x="44" y="1028"/>
                  </a:lnTo>
                  <a:lnTo>
                    <a:pt x="45" y="1028"/>
                  </a:lnTo>
                  <a:lnTo>
                    <a:pt x="47" y="1028"/>
                  </a:lnTo>
                  <a:lnTo>
                    <a:pt x="48" y="1028"/>
                  </a:lnTo>
                  <a:lnTo>
                    <a:pt x="47" y="1032"/>
                  </a:lnTo>
                  <a:lnTo>
                    <a:pt x="45" y="1034"/>
                  </a:lnTo>
                  <a:lnTo>
                    <a:pt x="42" y="1037"/>
                  </a:lnTo>
                  <a:lnTo>
                    <a:pt x="44" y="1037"/>
                  </a:lnTo>
                  <a:lnTo>
                    <a:pt x="46" y="1034"/>
                  </a:lnTo>
                  <a:lnTo>
                    <a:pt x="46" y="1035"/>
                  </a:lnTo>
                  <a:lnTo>
                    <a:pt x="44" y="1039"/>
                  </a:lnTo>
                  <a:lnTo>
                    <a:pt x="45" y="1041"/>
                  </a:lnTo>
                  <a:lnTo>
                    <a:pt x="46" y="1041"/>
                  </a:lnTo>
                  <a:lnTo>
                    <a:pt x="48" y="1039"/>
                  </a:lnTo>
                  <a:lnTo>
                    <a:pt x="50" y="1037"/>
                  </a:lnTo>
                  <a:lnTo>
                    <a:pt x="52" y="1033"/>
                  </a:lnTo>
                  <a:lnTo>
                    <a:pt x="54" y="1029"/>
                  </a:lnTo>
                  <a:lnTo>
                    <a:pt x="56" y="1029"/>
                  </a:lnTo>
                  <a:lnTo>
                    <a:pt x="58" y="1031"/>
                  </a:lnTo>
                  <a:lnTo>
                    <a:pt x="62" y="1031"/>
                  </a:lnTo>
                  <a:lnTo>
                    <a:pt x="59" y="1035"/>
                  </a:lnTo>
                  <a:lnTo>
                    <a:pt x="56" y="1038"/>
                  </a:lnTo>
                  <a:lnTo>
                    <a:pt x="57" y="1040"/>
                  </a:lnTo>
                  <a:lnTo>
                    <a:pt x="53" y="1041"/>
                  </a:lnTo>
                  <a:lnTo>
                    <a:pt x="50" y="1043"/>
                  </a:lnTo>
                  <a:lnTo>
                    <a:pt x="46" y="1047"/>
                  </a:lnTo>
                  <a:lnTo>
                    <a:pt x="45" y="1050"/>
                  </a:lnTo>
                  <a:lnTo>
                    <a:pt x="47" y="1050"/>
                  </a:lnTo>
                  <a:lnTo>
                    <a:pt x="50" y="1049"/>
                  </a:lnTo>
                  <a:lnTo>
                    <a:pt x="50" y="1050"/>
                  </a:lnTo>
                  <a:lnTo>
                    <a:pt x="51" y="1049"/>
                  </a:lnTo>
                  <a:lnTo>
                    <a:pt x="52" y="1046"/>
                  </a:lnTo>
                  <a:lnTo>
                    <a:pt x="54" y="1044"/>
                  </a:lnTo>
                  <a:lnTo>
                    <a:pt x="57" y="1043"/>
                  </a:lnTo>
                  <a:lnTo>
                    <a:pt x="58" y="1041"/>
                  </a:lnTo>
                  <a:lnTo>
                    <a:pt x="57" y="1045"/>
                  </a:lnTo>
                  <a:lnTo>
                    <a:pt x="54" y="1050"/>
                  </a:lnTo>
                  <a:lnTo>
                    <a:pt x="58" y="1050"/>
                  </a:lnTo>
                  <a:lnTo>
                    <a:pt x="59" y="1049"/>
                  </a:lnTo>
                  <a:lnTo>
                    <a:pt x="59" y="1051"/>
                  </a:lnTo>
                  <a:lnTo>
                    <a:pt x="60" y="1051"/>
                  </a:lnTo>
                  <a:lnTo>
                    <a:pt x="62" y="1050"/>
                  </a:lnTo>
                  <a:lnTo>
                    <a:pt x="63" y="1049"/>
                  </a:lnTo>
                  <a:lnTo>
                    <a:pt x="63" y="1046"/>
                  </a:lnTo>
                  <a:lnTo>
                    <a:pt x="63" y="1043"/>
                  </a:lnTo>
                  <a:lnTo>
                    <a:pt x="64" y="1039"/>
                  </a:lnTo>
                  <a:lnTo>
                    <a:pt x="65" y="1043"/>
                  </a:lnTo>
                  <a:lnTo>
                    <a:pt x="65" y="1044"/>
                  </a:lnTo>
                  <a:lnTo>
                    <a:pt x="65" y="1043"/>
                  </a:lnTo>
                  <a:lnTo>
                    <a:pt x="64" y="1038"/>
                  </a:lnTo>
                  <a:lnTo>
                    <a:pt x="66" y="1035"/>
                  </a:lnTo>
                  <a:lnTo>
                    <a:pt x="68" y="1035"/>
                  </a:lnTo>
                  <a:lnTo>
                    <a:pt x="68" y="1037"/>
                  </a:lnTo>
                  <a:lnTo>
                    <a:pt x="69" y="1033"/>
                  </a:lnTo>
                  <a:lnTo>
                    <a:pt x="69" y="1032"/>
                  </a:lnTo>
                  <a:lnTo>
                    <a:pt x="70" y="1032"/>
                  </a:lnTo>
                  <a:lnTo>
                    <a:pt x="70" y="1034"/>
                  </a:lnTo>
                  <a:lnTo>
                    <a:pt x="70" y="1038"/>
                  </a:lnTo>
                  <a:lnTo>
                    <a:pt x="69" y="1041"/>
                  </a:lnTo>
                  <a:lnTo>
                    <a:pt x="68" y="1044"/>
                  </a:lnTo>
                  <a:lnTo>
                    <a:pt x="69" y="1046"/>
                  </a:lnTo>
                  <a:lnTo>
                    <a:pt x="66" y="1049"/>
                  </a:lnTo>
                  <a:lnTo>
                    <a:pt x="68" y="1051"/>
                  </a:lnTo>
                  <a:lnTo>
                    <a:pt x="68" y="1052"/>
                  </a:lnTo>
                  <a:lnTo>
                    <a:pt x="68" y="1057"/>
                  </a:lnTo>
                  <a:lnTo>
                    <a:pt x="69" y="1056"/>
                  </a:lnTo>
                  <a:lnTo>
                    <a:pt x="71" y="1055"/>
                  </a:lnTo>
                  <a:lnTo>
                    <a:pt x="72" y="1053"/>
                  </a:lnTo>
                  <a:lnTo>
                    <a:pt x="74" y="1052"/>
                  </a:lnTo>
                  <a:lnTo>
                    <a:pt x="74" y="1047"/>
                  </a:lnTo>
                  <a:lnTo>
                    <a:pt x="74" y="1045"/>
                  </a:lnTo>
                  <a:lnTo>
                    <a:pt x="75" y="1046"/>
                  </a:lnTo>
                  <a:lnTo>
                    <a:pt x="75" y="1047"/>
                  </a:lnTo>
                  <a:lnTo>
                    <a:pt x="75" y="1051"/>
                  </a:lnTo>
                  <a:lnTo>
                    <a:pt x="75" y="1053"/>
                  </a:lnTo>
                  <a:lnTo>
                    <a:pt x="75" y="1057"/>
                  </a:lnTo>
                  <a:lnTo>
                    <a:pt x="76" y="1059"/>
                  </a:lnTo>
                  <a:lnTo>
                    <a:pt x="76" y="1058"/>
                  </a:lnTo>
                  <a:lnTo>
                    <a:pt x="77" y="1059"/>
                  </a:lnTo>
                  <a:lnTo>
                    <a:pt x="78" y="1062"/>
                  </a:lnTo>
                  <a:lnTo>
                    <a:pt x="80" y="1062"/>
                  </a:lnTo>
                  <a:lnTo>
                    <a:pt x="80" y="1057"/>
                  </a:lnTo>
                  <a:lnTo>
                    <a:pt x="78" y="1052"/>
                  </a:lnTo>
                  <a:lnTo>
                    <a:pt x="80" y="1049"/>
                  </a:lnTo>
                  <a:lnTo>
                    <a:pt x="80" y="1044"/>
                  </a:lnTo>
                  <a:lnTo>
                    <a:pt x="81" y="1051"/>
                  </a:lnTo>
                  <a:lnTo>
                    <a:pt x="83" y="1050"/>
                  </a:lnTo>
                  <a:lnTo>
                    <a:pt x="83" y="1046"/>
                  </a:lnTo>
                  <a:lnTo>
                    <a:pt x="83" y="1043"/>
                  </a:lnTo>
                  <a:lnTo>
                    <a:pt x="84" y="1040"/>
                  </a:lnTo>
                  <a:lnTo>
                    <a:pt x="84" y="1034"/>
                  </a:lnTo>
                  <a:lnTo>
                    <a:pt x="86" y="1033"/>
                  </a:lnTo>
                  <a:lnTo>
                    <a:pt x="86" y="1038"/>
                  </a:lnTo>
                  <a:lnTo>
                    <a:pt x="86" y="1044"/>
                  </a:lnTo>
                  <a:lnTo>
                    <a:pt x="83" y="1047"/>
                  </a:lnTo>
                  <a:lnTo>
                    <a:pt x="83" y="1051"/>
                  </a:lnTo>
                  <a:lnTo>
                    <a:pt x="82" y="1055"/>
                  </a:lnTo>
                  <a:lnTo>
                    <a:pt x="81" y="1057"/>
                  </a:lnTo>
                  <a:lnTo>
                    <a:pt x="82" y="1058"/>
                  </a:lnTo>
                  <a:lnTo>
                    <a:pt x="83" y="1059"/>
                  </a:lnTo>
                  <a:lnTo>
                    <a:pt x="84" y="1058"/>
                  </a:lnTo>
                  <a:lnTo>
                    <a:pt x="84" y="1057"/>
                  </a:lnTo>
                  <a:lnTo>
                    <a:pt x="86" y="1055"/>
                  </a:lnTo>
                  <a:lnTo>
                    <a:pt x="87" y="1052"/>
                  </a:lnTo>
                  <a:lnTo>
                    <a:pt x="88" y="1051"/>
                  </a:lnTo>
                  <a:lnTo>
                    <a:pt x="87" y="1050"/>
                  </a:lnTo>
                  <a:lnTo>
                    <a:pt x="88" y="1045"/>
                  </a:lnTo>
                  <a:lnTo>
                    <a:pt x="88" y="1046"/>
                  </a:lnTo>
                  <a:lnTo>
                    <a:pt x="88" y="1050"/>
                  </a:lnTo>
                  <a:lnTo>
                    <a:pt x="89" y="1052"/>
                  </a:lnTo>
                  <a:lnTo>
                    <a:pt x="89" y="1053"/>
                  </a:lnTo>
                  <a:lnTo>
                    <a:pt x="92" y="1050"/>
                  </a:lnTo>
                  <a:lnTo>
                    <a:pt x="92" y="1047"/>
                  </a:lnTo>
                  <a:lnTo>
                    <a:pt x="93" y="1046"/>
                  </a:lnTo>
                  <a:lnTo>
                    <a:pt x="94" y="1041"/>
                  </a:lnTo>
                  <a:lnTo>
                    <a:pt x="95" y="1043"/>
                  </a:lnTo>
                  <a:lnTo>
                    <a:pt x="95" y="1046"/>
                  </a:lnTo>
                  <a:lnTo>
                    <a:pt x="93" y="1050"/>
                  </a:lnTo>
                  <a:lnTo>
                    <a:pt x="94" y="1053"/>
                  </a:lnTo>
                  <a:lnTo>
                    <a:pt x="94" y="1056"/>
                  </a:lnTo>
                  <a:lnTo>
                    <a:pt x="95" y="1057"/>
                  </a:lnTo>
                  <a:lnTo>
                    <a:pt x="97" y="1056"/>
                  </a:lnTo>
                  <a:lnTo>
                    <a:pt x="97" y="1058"/>
                  </a:lnTo>
                  <a:lnTo>
                    <a:pt x="95" y="1061"/>
                  </a:lnTo>
                  <a:lnTo>
                    <a:pt x="94" y="1062"/>
                  </a:lnTo>
                  <a:lnTo>
                    <a:pt x="91" y="1064"/>
                  </a:lnTo>
                  <a:lnTo>
                    <a:pt x="92" y="1065"/>
                  </a:lnTo>
                  <a:lnTo>
                    <a:pt x="94" y="1063"/>
                  </a:lnTo>
                  <a:lnTo>
                    <a:pt x="94" y="1065"/>
                  </a:lnTo>
                  <a:lnTo>
                    <a:pt x="93" y="1068"/>
                  </a:lnTo>
                  <a:lnTo>
                    <a:pt x="94" y="1068"/>
                  </a:lnTo>
                  <a:lnTo>
                    <a:pt x="95" y="1069"/>
                  </a:lnTo>
                  <a:lnTo>
                    <a:pt x="97" y="1069"/>
                  </a:lnTo>
                  <a:lnTo>
                    <a:pt x="101" y="1062"/>
                  </a:lnTo>
                  <a:lnTo>
                    <a:pt x="101" y="1059"/>
                  </a:lnTo>
                  <a:lnTo>
                    <a:pt x="101" y="1058"/>
                  </a:lnTo>
                  <a:lnTo>
                    <a:pt x="101" y="1051"/>
                  </a:lnTo>
                  <a:lnTo>
                    <a:pt x="103" y="1047"/>
                  </a:lnTo>
                  <a:lnTo>
                    <a:pt x="103" y="1043"/>
                  </a:lnTo>
                  <a:lnTo>
                    <a:pt x="103" y="1041"/>
                  </a:lnTo>
                  <a:lnTo>
                    <a:pt x="104" y="1041"/>
                  </a:lnTo>
                  <a:lnTo>
                    <a:pt x="104" y="1044"/>
                  </a:lnTo>
                  <a:lnTo>
                    <a:pt x="104" y="1045"/>
                  </a:lnTo>
                  <a:lnTo>
                    <a:pt x="106" y="1046"/>
                  </a:lnTo>
                  <a:lnTo>
                    <a:pt x="105" y="1050"/>
                  </a:lnTo>
                  <a:lnTo>
                    <a:pt x="105" y="1053"/>
                  </a:lnTo>
                  <a:lnTo>
                    <a:pt x="105" y="1057"/>
                  </a:lnTo>
                  <a:lnTo>
                    <a:pt x="105" y="1058"/>
                  </a:lnTo>
                  <a:lnTo>
                    <a:pt x="105" y="1059"/>
                  </a:lnTo>
                  <a:lnTo>
                    <a:pt x="104" y="1062"/>
                  </a:lnTo>
                  <a:lnTo>
                    <a:pt x="103" y="1063"/>
                  </a:lnTo>
                  <a:lnTo>
                    <a:pt x="101" y="1065"/>
                  </a:lnTo>
                  <a:lnTo>
                    <a:pt x="100" y="1068"/>
                  </a:lnTo>
                  <a:lnTo>
                    <a:pt x="100" y="1072"/>
                  </a:lnTo>
                  <a:lnTo>
                    <a:pt x="100" y="1074"/>
                  </a:lnTo>
                  <a:lnTo>
                    <a:pt x="100" y="1076"/>
                  </a:lnTo>
                  <a:lnTo>
                    <a:pt x="101" y="1078"/>
                  </a:lnTo>
                  <a:lnTo>
                    <a:pt x="100" y="1081"/>
                  </a:lnTo>
                  <a:lnTo>
                    <a:pt x="100" y="1084"/>
                  </a:lnTo>
                  <a:lnTo>
                    <a:pt x="98" y="1085"/>
                  </a:lnTo>
                  <a:lnTo>
                    <a:pt x="94" y="1086"/>
                  </a:lnTo>
                  <a:lnTo>
                    <a:pt x="92" y="1085"/>
                  </a:lnTo>
                  <a:lnTo>
                    <a:pt x="87" y="1082"/>
                  </a:lnTo>
                  <a:lnTo>
                    <a:pt x="83" y="1080"/>
                  </a:lnTo>
                  <a:lnTo>
                    <a:pt x="82" y="1080"/>
                  </a:lnTo>
                  <a:lnTo>
                    <a:pt x="80" y="1080"/>
                  </a:lnTo>
                  <a:lnTo>
                    <a:pt x="77" y="1079"/>
                  </a:lnTo>
                  <a:lnTo>
                    <a:pt x="74" y="1078"/>
                  </a:lnTo>
                  <a:lnTo>
                    <a:pt x="71" y="1076"/>
                  </a:lnTo>
                  <a:lnTo>
                    <a:pt x="70" y="1080"/>
                  </a:lnTo>
                  <a:lnTo>
                    <a:pt x="72" y="1080"/>
                  </a:lnTo>
                  <a:lnTo>
                    <a:pt x="71" y="1082"/>
                  </a:lnTo>
                  <a:lnTo>
                    <a:pt x="72" y="1082"/>
                  </a:lnTo>
                  <a:lnTo>
                    <a:pt x="75" y="1082"/>
                  </a:lnTo>
                  <a:lnTo>
                    <a:pt x="74" y="1085"/>
                  </a:lnTo>
                  <a:lnTo>
                    <a:pt x="74" y="1086"/>
                  </a:lnTo>
                  <a:lnTo>
                    <a:pt x="76" y="1085"/>
                  </a:lnTo>
                  <a:lnTo>
                    <a:pt x="77" y="1084"/>
                  </a:lnTo>
                  <a:lnTo>
                    <a:pt x="78" y="1084"/>
                  </a:lnTo>
                  <a:lnTo>
                    <a:pt x="80" y="1085"/>
                  </a:lnTo>
                  <a:lnTo>
                    <a:pt x="76" y="1087"/>
                  </a:lnTo>
                  <a:lnTo>
                    <a:pt x="76" y="1088"/>
                  </a:lnTo>
                  <a:lnTo>
                    <a:pt x="77" y="1090"/>
                  </a:lnTo>
                  <a:lnTo>
                    <a:pt x="80" y="1091"/>
                  </a:lnTo>
                  <a:lnTo>
                    <a:pt x="81" y="1090"/>
                  </a:lnTo>
                  <a:lnTo>
                    <a:pt x="82" y="1088"/>
                  </a:lnTo>
                  <a:lnTo>
                    <a:pt x="81" y="1091"/>
                  </a:lnTo>
                  <a:lnTo>
                    <a:pt x="81" y="1093"/>
                  </a:lnTo>
                  <a:lnTo>
                    <a:pt x="81" y="1094"/>
                  </a:lnTo>
                  <a:lnTo>
                    <a:pt x="82" y="1094"/>
                  </a:lnTo>
                  <a:lnTo>
                    <a:pt x="82" y="1096"/>
                  </a:lnTo>
                  <a:lnTo>
                    <a:pt x="83" y="1098"/>
                  </a:lnTo>
                  <a:lnTo>
                    <a:pt x="84" y="1099"/>
                  </a:lnTo>
                  <a:lnTo>
                    <a:pt x="86" y="1099"/>
                  </a:lnTo>
                  <a:lnTo>
                    <a:pt x="87" y="1099"/>
                  </a:lnTo>
                  <a:lnTo>
                    <a:pt x="87" y="1102"/>
                  </a:lnTo>
                  <a:lnTo>
                    <a:pt x="89" y="1104"/>
                  </a:lnTo>
                  <a:lnTo>
                    <a:pt x="87" y="1104"/>
                  </a:lnTo>
                  <a:lnTo>
                    <a:pt x="87" y="1106"/>
                  </a:lnTo>
                  <a:lnTo>
                    <a:pt x="88" y="1106"/>
                  </a:lnTo>
                  <a:lnTo>
                    <a:pt x="89" y="1108"/>
                  </a:lnTo>
                  <a:lnTo>
                    <a:pt x="91" y="1108"/>
                  </a:lnTo>
                  <a:lnTo>
                    <a:pt x="92" y="1105"/>
                  </a:lnTo>
                  <a:lnTo>
                    <a:pt x="93" y="1106"/>
                  </a:lnTo>
                  <a:lnTo>
                    <a:pt x="94" y="1106"/>
                  </a:lnTo>
                  <a:lnTo>
                    <a:pt x="95" y="1103"/>
                  </a:lnTo>
                  <a:lnTo>
                    <a:pt x="97" y="1102"/>
                  </a:lnTo>
                  <a:lnTo>
                    <a:pt x="98" y="1103"/>
                  </a:lnTo>
                  <a:lnTo>
                    <a:pt x="97" y="1105"/>
                  </a:lnTo>
                  <a:lnTo>
                    <a:pt x="94" y="1108"/>
                  </a:lnTo>
                  <a:lnTo>
                    <a:pt x="94" y="1109"/>
                  </a:lnTo>
                  <a:lnTo>
                    <a:pt x="97" y="1109"/>
                  </a:lnTo>
                  <a:lnTo>
                    <a:pt x="97" y="1111"/>
                  </a:lnTo>
                  <a:lnTo>
                    <a:pt x="97" y="1112"/>
                  </a:lnTo>
                  <a:lnTo>
                    <a:pt x="99" y="1112"/>
                  </a:lnTo>
                  <a:lnTo>
                    <a:pt x="101" y="1114"/>
                  </a:lnTo>
                  <a:lnTo>
                    <a:pt x="104" y="1112"/>
                  </a:lnTo>
                  <a:lnTo>
                    <a:pt x="105" y="1114"/>
                  </a:lnTo>
                  <a:lnTo>
                    <a:pt x="106" y="1114"/>
                  </a:lnTo>
                  <a:lnTo>
                    <a:pt x="109" y="1112"/>
                  </a:lnTo>
                  <a:lnTo>
                    <a:pt x="110" y="1114"/>
                  </a:lnTo>
                  <a:lnTo>
                    <a:pt x="111" y="1115"/>
                  </a:lnTo>
                  <a:lnTo>
                    <a:pt x="113" y="1114"/>
                  </a:lnTo>
                  <a:lnTo>
                    <a:pt x="113" y="1112"/>
                  </a:lnTo>
                  <a:lnTo>
                    <a:pt x="115" y="1112"/>
                  </a:lnTo>
                  <a:lnTo>
                    <a:pt x="116" y="1111"/>
                  </a:lnTo>
                  <a:lnTo>
                    <a:pt x="118" y="1111"/>
                  </a:lnTo>
                  <a:lnTo>
                    <a:pt x="118" y="1110"/>
                  </a:lnTo>
                  <a:lnTo>
                    <a:pt x="121" y="1112"/>
                  </a:lnTo>
                  <a:lnTo>
                    <a:pt x="122" y="1112"/>
                  </a:lnTo>
                  <a:lnTo>
                    <a:pt x="123" y="1112"/>
                  </a:lnTo>
                  <a:lnTo>
                    <a:pt x="124" y="1111"/>
                  </a:lnTo>
                  <a:lnTo>
                    <a:pt x="125" y="1111"/>
                  </a:lnTo>
                  <a:lnTo>
                    <a:pt x="127" y="1114"/>
                  </a:lnTo>
                  <a:lnTo>
                    <a:pt x="128" y="1114"/>
                  </a:lnTo>
                  <a:lnTo>
                    <a:pt x="129" y="1114"/>
                  </a:lnTo>
                  <a:lnTo>
                    <a:pt x="130" y="1114"/>
                  </a:lnTo>
                  <a:lnTo>
                    <a:pt x="131" y="1114"/>
                  </a:lnTo>
                  <a:lnTo>
                    <a:pt x="133" y="1115"/>
                  </a:lnTo>
                  <a:lnTo>
                    <a:pt x="134" y="1114"/>
                  </a:lnTo>
                  <a:lnTo>
                    <a:pt x="134" y="1112"/>
                  </a:lnTo>
                  <a:lnTo>
                    <a:pt x="136" y="1112"/>
                  </a:lnTo>
                  <a:lnTo>
                    <a:pt x="136" y="1114"/>
                  </a:lnTo>
                  <a:lnTo>
                    <a:pt x="137" y="1114"/>
                  </a:lnTo>
                  <a:lnTo>
                    <a:pt x="140" y="1114"/>
                  </a:lnTo>
                  <a:lnTo>
                    <a:pt x="141" y="1114"/>
                  </a:lnTo>
                  <a:lnTo>
                    <a:pt x="142" y="1115"/>
                  </a:lnTo>
                  <a:lnTo>
                    <a:pt x="145" y="1116"/>
                  </a:lnTo>
                  <a:lnTo>
                    <a:pt x="146" y="1117"/>
                  </a:lnTo>
                  <a:lnTo>
                    <a:pt x="147" y="1120"/>
                  </a:lnTo>
                  <a:lnTo>
                    <a:pt x="148" y="1121"/>
                  </a:lnTo>
                  <a:lnTo>
                    <a:pt x="148" y="1122"/>
                  </a:lnTo>
                  <a:lnTo>
                    <a:pt x="151" y="1123"/>
                  </a:lnTo>
                  <a:lnTo>
                    <a:pt x="153" y="1123"/>
                  </a:lnTo>
                  <a:lnTo>
                    <a:pt x="154" y="1122"/>
                  </a:lnTo>
                  <a:lnTo>
                    <a:pt x="152" y="1124"/>
                  </a:lnTo>
                  <a:lnTo>
                    <a:pt x="151" y="1126"/>
                  </a:lnTo>
                  <a:lnTo>
                    <a:pt x="152" y="1127"/>
                  </a:lnTo>
                  <a:lnTo>
                    <a:pt x="152" y="1126"/>
                  </a:lnTo>
                  <a:lnTo>
                    <a:pt x="154" y="1126"/>
                  </a:lnTo>
                  <a:lnTo>
                    <a:pt x="156" y="1126"/>
                  </a:lnTo>
                  <a:lnTo>
                    <a:pt x="156" y="1127"/>
                  </a:lnTo>
                  <a:lnTo>
                    <a:pt x="154" y="1127"/>
                  </a:lnTo>
                  <a:lnTo>
                    <a:pt x="153" y="1129"/>
                  </a:lnTo>
                  <a:lnTo>
                    <a:pt x="154" y="1129"/>
                  </a:lnTo>
                  <a:lnTo>
                    <a:pt x="154" y="1132"/>
                  </a:lnTo>
                  <a:lnTo>
                    <a:pt x="156" y="1130"/>
                  </a:lnTo>
                  <a:lnTo>
                    <a:pt x="157" y="1130"/>
                  </a:lnTo>
                  <a:lnTo>
                    <a:pt x="158" y="1132"/>
                  </a:lnTo>
                  <a:lnTo>
                    <a:pt x="157" y="1133"/>
                  </a:lnTo>
                  <a:lnTo>
                    <a:pt x="158" y="1134"/>
                  </a:lnTo>
                  <a:lnTo>
                    <a:pt x="159" y="1134"/>
                  </a:lnTo>
                  <a:lnTo>
                    <a:pt x="159" y="1135"/>
                  </a:lnTo>
                  <a:lnTo>
                    <a:pt x="160" y="1136"/>
                  </a:lnTo>
                  <a:lnTo>
                    <a:pt x="162" y="1134"/>
                  </a:lnTo>
                  <a:lnTo>
                    <a:pt x="163" y="1134"/>
                  </a:lnTo>
                  <a:lnTo>
                    <a:pt x="163" y="1136"/>
                  </a:lnTo>
                  <a:lnTo>
                    <a:pt x="160" y="1139"/>
                  </a:lnTo>
                  <a:lnTo>
                    <a:pt x="160" y="1141"/>
                  </a:lnTo>
                  <a:lnTo>
                    <a:pt x="162" y="1141"/>
                  </a:lnTo>
                  <a:lnTo>
                    <a:pt x="163" y="1140"/>
                  </a:lnTo>
                  <a:lnTo>
                    <a:pt x="164" y="1138"/>
                  </a:lnTo>
                  <a:lnTo>
                    <a:pt x="165" y="1135"/>
                  </a:lnTo>
                  <a:lnTo>
                    <a:pt x="165" y="1138"/>
                  </a:lnTo>
                  <a:lnTo>
                    <a:pt x="164" y="1140"/>
                  </a:lnTo>
                  <a:lnTo>
                    <a:pt x="165" y="1141"/>
                  </a:lnTo>
                  <a:lnTo>
                    <a:pt x="165" y="1142"/>
                  </a:lnTo>
                  <a:lnTo>
                    <a:pt x="164" y="1144"/>
                  </a:lnTo>
                  <a:lnTo>
                    <a:pt x="164" y="1146"/>
                  </a:lnTo>
                  <a:lnTo>
                    <a:pt x="164" y="1150"/>
                  </a:lnTo>
                  <a:lnTo>
                    <a:pt x="163" y="1151"/>
                  </a:lnTo>
                  <a:lnTo>
                    <a:pt x="162" y="1153"/>
                  </a:lnTo>
                  <a:lnTo>
                    <a:pt x="160" y="1156"/>
                  </a:lnTo>
                  <a:lnTo>
                    <a:pt x="159" y="1159"/>
                  </a:lnTo>
                  <a:lnTo>
                    <a:pt x="156" y="1163"/>
                  </a:lnTo>
                  <a:lnTo>
                    <a:pt x="154" y="1165"/>
                  </a:lnTo>
                  <a:lnTo>
                    <a:pt x="152" y="1166"/>
                  </a:lnTo>
                  <a:lnTo>
                    <a:pt x="154" y="1169"/>
                  </a:lnTo>
                  <a:lnTo>
                    <a:pt x="154" y="1170"/>
                  </a:lnTo>
                  <a:lnTo>
                    <a:pt x="154" y="1171"/>
                  </a:lnTo>
                  <a:lnTo>
                    <a:pt x="156" y="1172"/>
                  </a:lnTo>
                  <a:lnTo>
                    <a:pt x="156" y="1174"/>
                  </a:lnTo>
                  <a:lnTo>
                    <a:pt x="157" y="1176"/>
                  </a:lnTo>
                  <a:lnTo>
                    <a:pt x="157" y="1175"/>
                  </a:lnTo>
                  <a:lnTo>
                    <a:pt x="158" y="1175"/>
                  </a:lnTo>
                  <a:lnTo>
                    <a:pt x="159" y="1176"/>
                  </a:lnTo>
                  <a:lnTo>
                    <a:pt x="160" y="1176"/>
                  </a:lnTo>
                  <a:lnTo>
                    <a:pt x="158" y="1180"/>
                  </a:lnTo>
                  <a:lnTo>
                    <a:pt x="157" y="1181"/>
                  </a:lnTo>
                  <a:lnTo>
                    <a:pt x="158" y="1181"/>
                  </a:lnTo>
                  <a:lnTo>
                    <a:pt x="159" y="1180"/>
                  </a:lnTo>
                  <a:lnTo>
                    <a:pt x="162" y="1177"/>
                  </a:lnTo>
                  <a:lnTo>
                    <a:pt x="163" y="1175"/>
                  </a:lnTo>
                  <a:lnTo>
                    <a:pt x="165" y="1172"/>
                  </a:lnTo>
                  <a:lnTo>
                    <a:pt x="166" y="1171"/>
                  </a:lnTo>
                  <a:lnTo>
                    <a:pt x="169" y="1170"/>
                  </a:lnTo>
                  <a:lnTo>
                    <a:pt x="170" y="1172"/>
                  </a:lnTo>
                  <a:lnTo>
                    <a:pt x="171" y="1172"/>
                  </a:lnTo>
                  <a:lnTo>
                    <a:pt x="174" y="1174"/>
                  </a:lnTo>
                  <a:lnTo>
                    <a:pt x="176" y="1175"/>
                  </a:lnTo>
                  <a:lnTo>
                    <a:pt x="176" y="1176"/>
                  </a:lnTo>
                  <a:lnTo>
                    <a:pt x="177" y="1177"/>
                  </a:lnTo>
                  <a:lnTo>
                    <a:pt x="177" y="1179"/>
                  </a:lnTo>
                  <a:lnTo>
                    <a:pt x="178" y="1179"/>
                  </a:lnTo>
                  <a:lnTo>
                    <a:pt x="180" y="1179"/>
                  </a:lnTo>
                  <a:lnTo>
                    <a:pt x="181" y="1180"/>
                  </a:lnTo>
                  <a:lnTo>
                    <a:pt x="180" y="1181"/>
                  </a:lnTo>
                  <a:lnTo>
                    <a:pt x="181" y="1182"/>
                  </a:lnTo>
                  <a:lnTo>
                    <a:pt x="182" y="1183"/>
                  </a:lnTo>
                  <a:lnTo>
                    <a:pt x="183" y="1182"/>
                  </a:lnTo>
                  <a:lnTo>
                    <a:pt x="184" y="1183"/>
                  </a:lnTo>
                  <a:lnTo>
                    <a:pt x="183" y="1185"/>
                  </a:lnTo>
                  <a:lnTo>
                    <a:pt x="183" y="1187"/>
                  </a:lnTo>
                  <a:lnTo>
                    <a:pt x="186" y="1186"/>
                  </a:lnTo>
                  <a:lnTo>
                    <a:pt x="186" y="1185"/>
                  </a:lnTo>
                  <a:lnTo>
                    <a:pt x="187" y="1187"/>
                  </a:lnTo>
                  <a:lnTo>
                    <a:pt x="188" y="1187"/>
                  </a:lnTo>
                  <a:lnTo>
                    <a:pt x="190" y="1187"/>
                  </a:lnTo>
                  <a:lnTo>
                    <a:pt x="192" y="1187"/>
                  </a:lnTo>
                  <a:lnTo>
                    <a:pt x="192" y="1186"/>
                  </a:lnTo>
                  <a:lnTo>
                    <a:pt x="192" y="1182"/>
                  </a:lnTo>
                  <a:lnTo>
                    <a:pt x="194" y="1179"/>
                  </a:lnTo>
                  <a:lnTo>
                    <a:pt x="194" y="1177"/>
                  </a:lnTo>
                  <a:lnTo>
                    <a:pt x="193" y="1175"/>
                  </a:lnTo>
                  <a:lnTo>
                    <a:pt x="193" y="1172"/>
                  </a:lnTo>
                  <a:lnTo>
                    <a:pt x="193" y="1171"/>
                  </a:lnTo>
                  <a:lnTo>
                    <a:pt x="193" y="1168"/>
                  </a:lnTo>
                  <a:lnTo>
                    <a:pt x="190" y="1166"/>
                  </a:lnTo>
                  <a:lnTo>
                    <a:pt x="189" y="1166"/>
                  </a:lnTo>
                  <a:lnTo>
                    <a:pt x="189" y="1165"/>
                  </a:lnTo>
                  <a:lnTo>
                    <a:pt x="190" y="1163"/>
                  </a:lnTo>
                  <a:lnTo>
                    <a:pt x="192" y="1159"/>
                  </a:lnTo>
                  <a:lnTo>
                    <a:pt x="193" y="1158"/>
                  </a:lnTo>
                  <a:lnTo>
                    <a:pt x="196" y="1157"/>
                  </a:lnTo>
                  <a:lnTo>
                    <a:pt x="198" y="1158"/>
                  </a:lnTo>
                  <a:lnTo>
                    <a:pt x="199" y="1157"/>
                  </a:lnTo>
                  <a:lnTo>
                    <a:pt x="200" y="1154"/>
                  </a:lnTo>
                  <a:lnTo>
                    <a:pt x="201" y="1154"/>
                  </a:lnTo>
                  <a:lnTo>
                    <a:pt x="204" y="1156"/>
                  </a:lnTo>
                  <a:lnTo>
                    <a:pt x="205" y="1156"/>
                  </a:lnTo>
                  <a:lnTo>
                    <a:pt x="207" y="1156"/>
                  </a:lnTo>
                  <a:lnTo>
                    <a:pt x="209" y="1157"/>
                  </a:lnTo>
                  <a:lnTo>
                    <a:pt x="210" y="1157"/>
                  </a:lnTo>
                  <a:lnTo>
                    <a:pt x="212" y="1158"/>
                  </a:lnTo>
                  <a:lnTo>
                    <a:pt x="213" y="1157"/>
                  </a:lnTo>
                  <a:lnTo>
                    <a:pt x="215" y="1156"/>
                  </a:lnTo>
                  <a:lnTo>
                    <a:pt x="215" y="1157"/>
                  </a:lnTo>
                  <a:lnTo>
                    <a:pt x="216" y="1156"/>
                  </a:lnTo>
                  <a:lnTo>
                    <a:pt x="216" y="1154"/>
                  </a:lnTo>
                  <a:lnTo>
                    <a:pt x="217" y="1153"/>
                  </a:lnTo>
                  <a:lnTo>
                    <a:pt x="218" y="1153"/>
                  </a:lnTo>
                  <a:lnTo>
                    <a:pt x="221" y="1152"/>
                  </a:lnTo>
                  <a:lnTo>
                    <a:pt x="221" y="1151"/>
                  </a:lnTo>
                  <a:lnTo>
                    <a:pt x="222" y="1148"/>
                  </a:lnTo>
                  <a:lnTo>
                    <a:pt x="223" y="1147"/>
                  </a:lnTo>
                  <a:lnTo>
                    <a:pt x="227" y="1148"/>
                  </a:lnTo>
                  <a:lnTo>
                    <a:pt x="227" y="1147"/>
                  </a:lnTo>
                  <a:lnTo>
                    <a:pt x="228" y="1147"/>
                  </a:lnTo>
                  <a:lnTo>
                    <a:pt x="227" y="1150"/>
                  </a:lnTo>
                  <a:lnTo>
                    <a:pt x="228" y="1151"/>
                  </a:lnTo>
                  <a:lnTo>
                    <a:pt x="230" y="1151"/>
                  </a:lnTo>
                  <a:lnTo>
                    <a:pt x="231" y="1150"/>
                  </a:lnTo>
                  <a:lnTo>
                    <a:pt x="231" y="1147"/>
                  </a:lnTo>
                  <a:lnTo>
                    <a:pt x="231" y="1145"/>
                  </a:lnTo>
                  <a:lnTo>
                    <a:pt x="231" y="1144"/>
                  </a:lnTo>
                  <a:lnTo>
                    <a:pt x="231" y="1146"/>
                  </a:lnTo>
                  <a:lnTo>
                    <a:pt x="231" y="1148"/>
                  </a:lnTo>
                  <a:lnTo>
                    <a:pt x="233" y="1150"/>
                  </a:lnTo>
                  <a:lnTo>
                    <a:pt x="234" y="1148"/>
                  </a:lnTo>
                  <a:lnTo>
                    <a:pt x="234" y="1150"/>
                  </a:lnTo>
                  <a:lnTo>
                    <a:pt x="233" y="1151"/>
                  </a:lnTo>
                  <a:lnTo>
                    <a:pt x="233" y="1153"/>
                  </a:lnTo>
                  <a:lnTo>
                    <a:pt x="234" y="1154"/>
                  </a:lnTo>
                  <a:lnTo>
                    <a:pt x="235" y="1153"/>
                  </a:lnTo>
                  <a:lnTo>
                    <a:pt x="236" y="1153"/>
                  </a:lnTo>
                  <a:lnTo>
                    <a:pt x="237" y="1152"/>
                  </a:lnTo>
                  <a:lnTo>
                    <a:pt x="237" y="1154"/>
                  </a:lnTo>
                  <a:lnTo>
                    <a:pt x="239" y="1153"/>
                  </a:lnTo>
                  <a:lnTo>
                    <a:pt x="239" y="1152"/>
                  </a:lnTo>
                  <a:lnTo>
                    <a:pt x="239" y="1151"/>
                  </a:lnTo>
                  <a:lnTo>
                    <a:pt x="240" y="1150"/>
                  </a:lnTo>
                  <a:lnTo>
                    <a:pt x="240" y="1153"/>
                  </a:lnTo>
                  <a:lnTo>
                    <a:pt x="241" y="1153"/>
                  </a:lnTo>
                  <a:lnTo>
                    <a:pt x="241" y="1156"/>
                  </a:lnTo>
                  <a:lnTo>
                    <a:pt x="241" y="1157"/>
                  </a:lnTo>
                  <a:lnTo>
                    <a:pt x="242" y="1157"/>
                  </a:lnTo>
                  <a:lnTo>
                    <a:pt x="243" y="1158"/>
                  </a:lnTo>
                  <a:lnTo>
                    <a:pt x="247" y="1156"/>
                  </a:lnTo>
                  <a:lnTo>
                    <a:pt x="247" y="1160"/>
                  </a:lnTo>
                  <a:lnTo>
                    <a:pt x="248" y="1157"/>
                  </a:lnTo>
                  <a:lnTo>
                    <a:pt x="247" y="1154"/>
                  </a:lnTo>
                  <a:lnTo>
                    <a:pt x="251" y="1157"/>
                  </a:lnTo>
                  <a:lnTo>
                    <a:pt x="252" y="1158"/>
                  </a:lnTo>
                  <a:lnTo>
                    <a:pt x="251" y="1159"/>
                  </a:lnTo>
                  <a:lnTo>
                    <a:pt x="251" y="1160"/>
                  </a:lnTo>
                  <a:lnTo>
                    <a:pt x="251" y="1163"/>
                  </a:lnTo>
                  <a:lnTo>
                    <a:pt x="252" y="1162"/>
                  </a:lnTo>
                  <a:lnTo>
                    <a:pt x="253" y="1160"/>
                  </a:lnTo>
                  <a:lnTo>
                    <a:pt x="255" y="1159"/>
                  </a:lnTo>
                  <a:lnTo>
                    <a:pt x="257" y="1159"/>
                  </a:lnTo>
                  <a:lnTo>
                    <a:pt x="257" y="1158"/>
                  </a:lnTo>
                  <a:lnTo>
                    <a:pt x="258" y="1160"/>
                  </a:lnTo>
                  <a:lnTo>
                    <a:pt x="258" y="1162"/>
                  </a:lnTo>
                  <a:lnTo>
                    <a:pt x="260" y="1163"/>
                  </a:lnTo>
                  <a:lnTo>
                    <a:pt x="263" y="1162"/>
                  </a:lnTo>
                  <a:lnTo>
                    <a:pt x="264" y="1160"/>
                  </a:lnTo>
                  <a:lnTo>
                    <a:pt x="266" y="1159"/>
                  </a:lnTo>
                  <a:lnTo>
                    <a:pt x="269" y="1158"/>
                  </a:lnTo>
                  <a:lnTo>
                    <a:pt x="270" y="1157"/>
                  </a:lnTo>
                  <a:lnTo>
                    <a:pt x="270" y="1156"/>
                  </a:lnTo>
                  <a:lnTo>
                    <a:pt x="271" y="1154"/>
                  </a:lnTo>
                  <a:lnTo>
                    <a:pt x="271" y="1157"/>
                  </a:lnTo>
                  <a:lnTo>
                    <a:pt x="271" y="1159"/>
                  </a:lnTo>
                  <a:lnTo>
                    <a:pt x="272" y="1159"/>
                  </a:lnTo>
                  <a:lnTo>
                    <a:pt x="274" y="1160"/>
                  </a:lnTo>
                  <a:lnTo>
                    <a:pt x="276" y="1162"/>
                  </a:lnTo>
                  <a:lnTo>
                    <a:pt x="277" y="1163"/>
                  </a:lnTo>
                  <a:lnTo>
                    <a:pt x="278" y="1164"/>
                  </a:lnTo>
                  <a:lnTo>
                    <a:pt x="278" y="1165"/>
                  </a:lnTo>
                  <a:lnTo>
                    <a:pt x="280" y="1166"/>
                  </a:lnTo>
                  <a:lnTo>
                    <a:pt x="282" y="1168"/>
                  </a:lnTo>
                  <a:lnTo>
                    <a:pt x="281" y="1169"/>
                  </a:lnTo>
                  <a:lnTo>
                    <a:pt x="281" y="1170"/>
                  </a:lnTo>
                  <a:lnTo>
                    <a:pt x="282" y="1169"/>
                  </a:lnTo>
                  <a:lnTo>
                    <a:pt x="283" y="1169"/>
                  </a:lnTo>
                  <a:lnTo>
                    <a:pt x="283" y="1172"/>
                  </a:lnTo>
                  <a:lnTo>
                    <a:pt x="283" y="1174"/>
                  </a:lnTo>
                  <a:lnTo>
                    <a:pt x="284" y="1175"/>
                  </a:lnTo>
                  <a:lnTo>
                    <a:pt x="286" y="1174"/>
                  </a:lnTo>
                  <a:lnTo>
                    <a:pt x="288" y="1174"/>
                  </a:lnTo>
                  <a:lnTo>
                    <a:pt x="287" y="1176"/>
                  </a:lnTo>
                  <a:lnTo>
                    <a:pt x="284" y="1179"/>
                  </a:lnTo>
                  <a:lnTo>
                    <a:pt x="286" y="1179"/>
                  </a:lnTo>
                  <a:lnTo>
                    <a:pt x="287" y="1177"/>
                  </a:lnTo>
                  <a:lnTo>
                    <a:pt x="289" y="1176"/>
                  </a:lnTo>
                  <a:lnTo>
                    <a:pt x="292" y="1175"/>
                  </a:lnTo>
                  <a:lnTo>
                    <a:pt x="294" y="1174"/>
                  </a:lnTo>
                  <a:lnTo>
                    <a:pt x="296" y="1172"/>
                  </a:lnTo>
                  <a:lnTo>
                    <a:pt x="298" y="1171"/>
                  </a:lnTo>
                  <a:lnTo>
                    <a:pt x="300" y="1172"/>
                  </a:lnTo>
                  <a:lnTo>
                    <a:pt x="300" y="1171"/>
                  </a:lnTo>
                  <a:lnTo>
                    <a:pt x="301" y="1170"/>
                  </a:lnTo>
                  <a:lnTo>
                    <a:pt x="304" y="1169"/>
                  </a:lnTo>
                  <a:lnTo>
                    <a:pt x="304" y="1170"/>
                  </a:lnTo>
                  <a:lnTo>
                    <a:pt x="305" y="1170"/>
                  </a:lnTo>
                  <a:lnTo>
                    <a:pt x="307" y="1169"/>
                  </a:lnTo>
                  <a:lnTo>
                    <a:pt x="308" y="1169"/>
                  </a:lnTo>
                  <a:lnTo>
                    <a:pt x="311" y="1170"/>
                  </a:lnTo>
                  <a:lnTo>
                    <a:pt x="312" y="1169"/>
                  </a:lnTo>
                  <a:lnTo>
                    <a:pt x="313" y="1170"/>
                  </a:lnTo>
                  <a:lnTo>
                    <a:pt x="312" y="1171"/>
                  </a:lnTo>
                  <a:lnTo>
                    <a:pt x="314" y="1172"/>
                  </a:lnTo>
                  <a:lnTo>
                    <a:pt x="316" y="1171"/>
                  </a:lnTo>
                  <a:lnTo>
                    <a:pt x="316" y="1170"/>
                  </a:lnTo>
                  <a:lnTo>
                    <a:pt x="317" y="1170"/>
                  </a:lnTo>
                  <a:lnTo>
                    <a:pt x="318" y="1168"/>
                  </a:lnTo>
                  <a:lnTo>
                    <a:pt x="318" y="1165"/>
                  </a:lnTo>
                  <a:lnTo>
                    <a:pt x="318" y="1163"/>
                  </a:lnTo>
                  <a:lnTo>
                    <a:pt x="319" y="1164"/>
                  </a:lnTo>
                  <a:lnTo>
                    <a:pt x="319" y="1166"/>
                  </a:lnTo>
                  <a:lnTo>
                    <a:pt x="319" y="1169"/>
                  </a:lnTo>
                  <a:lnTo>
                    <a:pt x="319" y="1172"/>
                  </a:lnTo>
                  <a:lnTo>
                    <a:pt x="320" y="1172"/>
                  </a:lnTo>
                  <a:lnTo>
                    <a:pt x="320" y="1175"/>
                  </a:lnTo>
                  <a:lnTo>
                    <a:pt x="322" y="1177"/>
                  </a:lnTo>
                  <a:lnTo>
                    <a:pt x="323" y="1179"/>
                  </a:lnTo>
                  <a:lnTo>
                    <a:pt x="322" y="1179"/>
                  </a:lnTo>
                  <a:lnTo>
                    <a:pt x="322" y="1181"/>
                  </a:lnTo>
                  <a:lnTo>
                    <a:pt x="324" y="1181"/>
                  </a:lnTo>
                  <a:lnTo>
                    <a:pt x="324" y="1183"/>
                  </a:lnTo>
                  <a:lnTo>
                    <a:pt x="324" y="1187"/>
                  </a:lnTo>
                  <a:lnTo>
                    <a:pt x="324" y="1188"/>
                  </a:lnTo>
                  <a:lnTo>
                    <a:pt x="325" y="1189"/>
                  </a:lnTo>
                  <a:lnTo>
                    <a:pt x="325" y="1192"/>
                  </a:lnTo>
                  <a:lnTo>
                    <a:pt x="326" y="1193"/>
                  </a:lnTo>
                  <a:lnTo>
                    <a:pt x="326" y="1194"/>
                  </a:lnTo>
                  <a:lnTo>
                    <a:pt x="328" y="1198"/>
                  </a:lnTo>
                  <a:lnTo>
                    <a:pt x="328" y="1199"/>
                  </a:lnTo>
                  <a:lnTo>
                    <a:pt x="329" y="1201"/>
                  </a:lnTo>
                  <a:lnTo>
                    <a:pt x="331" y="1204"/>
                  </a:lnTo>
                  <a:lnTo>
                    <a:pt x="334" y="1205"/>
                  </a:lnTo>
                  <a:lnTo>
                    <a:pt x="336" y="1206"/>
                  </a:lnTo>
                  <a:lnTo>
                    <a:pt x="337" y="1206"/>
                  </a:lnTo>
                  <a:lnTo>
                    <a:pt x="339" y="1205"/>
                  </a:lnTo>
                  <a:lnTo>
                    <a:pt x="340" y="1206"/>
                  </a:lnTo>
                  <a:lnTo>
                    <a:pt x="340" y="1205"/>
                  </a:lnTo>
                  <a:lnTo>
                    <a:pt x="341" y="1205"/>
                  </a:lnTo>
                  <a:lnTo>
                    <a:pt x="342" y="1204"/>
                  </a:lnTo>
                  <a:lnTo>
                    <a:pt x="343" y="1204"/>
                  </a:lnTo>
                  <a:lnTo>
                    <a:pt x="345" y="1203"/>
                  </a:lnTo>
                  <a:lnTo>
                    <a:pt x="345" y="1201"/>
                  </a:lnTo>
                  <a:lnTo>
                    <a:pt x="346" y="1201"/>
                  </a:lnTo>
                  <a:lnTo>
                    <a:pt x="348" y="1203"/>
                  </a:lnTo>
                  <a:lnTo>
                    <a:pt x="348" y="1201"/>
                  </a:lnTo>
                  <a:lnTo>
                    <a:pt x="349" y="1200"/>
                  </a:lnTo>
                  <a:lnTo>
                    <a:pt x="349" y="1199"/>
                  </a:lnTo>
                  <a:lnTo>
                    <a:pt x="351" y="1200"/>
                  </a:lnTo>
                  <a:lnTo>
                    <a:pt x="352" y="1199"/>
                  </a:lnTo>
                  <a:lnTo>
                    <a:pt x="353" y="1199"/>
                  </a:lnTo>
                  <a:lnTo>
                    <a:pt x="354" y="1200"/>
                  </a:lnTo>
                  <a:lnTo>
                    <a:pt x="354" y="1203"/>
                  </a:lnTo>
                  <a:lnTo>
                    <a:pt x="354" y="1204"/>
                  </a:lnTo>
                  <a:lnTo>
                    <a:pt x="355" y="1203"/>
                  </a:lnTo>
                  <a:lnTo>
                    <a:pt x="355" y="1204"/>
                  </a:lnTo>
                  <a:lnTo>
                    <a:pt x="355" y="1206"/>
                  </a:lnTo>
                  <a:lnTo>
                    <a:pt x="357" y="1206"/>
                  </a:lnTo>
                  <a:lnTo>
                    <a:pt x="358" y="1206"/>
                  </a:lnTo>
                  <a:lnTo>
                    <a:pt x="358" y="1207"/>
                  </a:lnTo>
                  <a:lnTo>
                    <a:pt x="358" y="1210"/>
                  </a:lnTo>
                  <a:lnTo>
                    <a:pt x="359" y="1207"/>
                  </a:lnTo>
                  <a:lnTo>
                    <a:pt x="359" y="1209"/>
                  </a:lnTo>
                  <a:lnTo>
                    <a:pt x="359" y="1210"/>
                  </a:lnTo>
                  <a:lnTo>
                    <a:pt x="359" y="1211"/>
                  </a:lnTo>
                  <a:lnTo>
                    <a:pt x="359" y="1212"/>
                  </a:lnTo>
                  <a:lnTo>
                    <a:pt x="359" y="1215"/>
                  </a:lnTo>
                  <a:lnTo>
                    <a:pt x="360" y="1215"/>
                  </a:lnTo>
                  <a:lnTo>
                    <a:pt x="361" y="1216"/>
                  </a:lnTo>
                  <a:lnTo>
                    <a:pt x="361" y="1217"/>
                  </a:lnTo>
                  <a:lnTo>
                    <a:pt x="361" y="1219"/>
                  </a:lnTo>
                  <a:lnTo>
                    <a:pt x="361" y="1221"/>
                  </a:lnTo>
                  <a:lnTo>
                    <a:pt x="361" y="1223"/>
                  </a:lnTo>
                  <a:lnTo>
                    <a:pt x="361" y="1224"/>
                  </a:lnTo>
                  <a:lnTo>
                    <a:pt x="363" y="1225"/>
                  </a:lnTo>
                  <a:lnTo>
                    <a:pt x="363" y="1237"/>
                  </a:lnTo>
                  <a:lnTo>
                    <a:pt x="363" y="1252"/>
                  </a:lnTo>
                  <a:lnTo>
                    <a:pt x="363" y="1265"/>
                  </a:lnTo>
                  <a:lnTo>
                    <a:pt x="363" y="1282"/>
                  </a:lnTo>
                  <a:lnTo>
                    <a:pt x="363" y="1287"/>
                  </a:lnTo>
                  <a:lnTo>
                    <a:pt x="364" y="1290"/>
                  </a:lnTo>
                  <a:lnTo>
                    <a:pt x="366" y="1293"/>
                  </a:lnTo>
                  <a:lnTo>
                    <a:pt x="370" y="1293"/>
                  </a:lnTo>
                  <a:lnTo>
                    <a:pt x="400" y="1293"/>
                  </a:lnTo>
                  <a:lnTo>
                    <a:pt x="400" y="1266"/>
                  </a:lnTo>
                  <a:lnTo>
                    <a:pt x="400" y="1242"/>
                  </a:lnTo>
                  <a:lnTo>
                    <a:pt x="401" y="1218"/>
                  </a:lnTo>
                  <a:lnTo>
                    <a:pt x="402" y="1212"/>
                  </a:lnTo>
                  <a:lnTo>
                    <a:pt x="405" y="1210"/>
                  </a:lnTo>
                  <a:lnTo>
                    <a:pt x="406" y="1209"/>
                  </a:lnTo>
                  <a:lnTo>
                    <a:pt x="408" y="1209"/>
                  </a:lnTo>
                  <a:lnTo>
                    <a:pt x="410" y="1209"/>
                  </a:lnTo>
                  <a:lnTo>
                    <a:pt x="411" y="1206"/>
                  </a:lnTo>
                  <a:lnTo>
                    <a:pt x="412" y="1205"/>
                  </a:lnTo>
                  <a:lnTo>
                    <a:pt x="413" y="1205"/>
                  </a:lnTo>
                  <a:lnTo>
                    <a:pt x="414" y="1203"/>
                  </a:lnTo>
                  <a:lnTo>
                    <a:pt x="416" y="1201"/>
                  </a:lnTo>
                  <a:lnTo>
                    <a:pt x="416" y="1200"/>
                  </a:lnTo>
                  <a:lnTo>
                    <a:pt x="416" y="1199"/>
                  </a:lnTo>
                  <a:lnTo>
                    <a:pt x="414" y="1197"/>
                  </a:lnTo>
                  <a:lnTo>
                    <a:pt x="414" y="1195"/>
                  </a:lnTo>
                  <a:lnTo>
                    <a:pt x="414" y="1194"/>
                  </a:lnTo>
                  <a:lnTo>
                    <a:pt x="414" y="1193"/>
                  </a:lnTo>
                  <a:lnTo>
                    <a:pt x="413" y="1191"/>
                  </a:lnTo>
                  <a:lnTo>
                    <a:pt x="412" y="1191"/>
                  </a:lnTo>
                  <a:lnTo>
                    <a:pt x="412" y="1192"/>
                  </a:lnTo>
                  <a:lnTo>
                    <a:pt x="411" y="1191"/>
                  </a:lnTo>
                  <a:lnTo>
                    <a:pt x="411" y="1189"/>
                  </a:lnTo>
                  <a:lnTo>
                    <a:pt x="411" y="1188"/>
                  </a:lnTo>
                  <a:lnTo>
                    <a:pt x="412" y="1186"/>
                  </a:lnTo>
                  <a:lnTo>
                    <a:pt x="412" y="1185"/>
                  </a:lnTo>
                  <a:lnTo>
                    <a:pt x="412" y="1183"/>
                  </a:lnTo>
                  <a:lnTo>
                    <a:pt x="413" y="1181"/>
                  </a:lnTo>
                  <a:lnTo>
                    <a:pt x="416" y="1180"/>
                  </a:lnTo>
                  <a:lnTo>
                    <a:pt x="416" y="1179"/>
                  </a:lnTo>
                  <a:lnTo>
                    <a:pt x="418" y="1179"/>
                  </a:lnTo>
                  <a:lnTo>
                    <a:pt x="419" y="1179"/>
                  </a:lnTo>
                  <a:lnTo>
                    <a:pt x="420" y="1180"/>
                  </a:lnTo>
                  <a:lnTo>
                    <a:pt x="424" y="1181"/>
                  </a:lnTo>
                  <a:lnTo>
                    <a:pt x="426" y="1182"/>
                  </a:lnTo>
                  <a:lnTo>
                    <a:pt x="429" y="1183"/>
                  </a:lnTo>
                  <a:lnTo>
                    <a:pt x="429" y="1182"/>
                  </a:lnTo>
                  <a:lnTo>
                    <a:pt x="432" y="1182"/>
                  </a:lnTo>
                  <a:lnTo>
                    <a:pt x="434" y="1182"/>
                  </a:lnTo>
                  <a:lnTo>
                    <a:pt x="432" y="1182"/>
                  </a:lnTo>
                  <a:lnTo>
                    <a:pt x="434" y="1183"/>
                  </a:lnTo>
                  <a:lnTo>
                    <a:pt x="435" y="1183"/>
                  </a:lnTo>
                  <a:lnTo>
                    <a:pt x="436" y="1183"/>
                  </a:lnTo>
                  <a:lnTo>
                    <a:pt x="437" y="1185"/>
                  </a:lnTo>
                  <a:lnTo>
                    <a:pt x="438" y="1187"/>
                  </a:lnTo>
                  <a:lnTo>
                    <a:pt x="441" y="1188"/>
                  </a:lnTo>
                  <a:lnTo>
                    <a:pt x="442" y="1191"/>
                  </a:lnTo>
                  <a:lnTo>
                    <a:pt x="444" y="1192"/>
                  </a:lnTo>
                  <a:lnTo>
                    <a:pt x="446" y="1192"/>
                  </a:lnTo>
                  <a:lnTo>
                    <a:pt x="446" y="1194"/>
                  </a:lnTo>
                  <a:lnTo>
                    <a:pt x="444" y="1195"/>
                  </a:lnTo>
                  <a:lnTo>
                    <a:pt x="446" y="1197"/>
                  </a:lnTo>
                  <a:lnTo>
                    <a:pt x="447" y="1197"/>
                  </a:lnTo>
                  <a:lnTo>
                    <a:pt x="448" y="1197"/>
                  </a:lnTo>
                  <a:lnTo>
                    <a:pt x="449" y="1197"/>
                  </a:lnTo>
                  <a:lnTo>
                    <a:pt x="449" y="1198"/>
                  </a:lnTo>
                  <a:lnTo>
                    <a:pt x="451" y="1200"/>
                  </a:lnTo>
                  <a:lnTo>
                    <a:pt x="452" y="1198"/>
                  </a:lnTo>
                  <a:lnTo>
                    <a:pt x="452" y="1200"/>
                  </a:lnTo>
                  <a:lnTo>
                    <a:pt x="452" y="1201"/>
                  </a:lnTo>
                  <a:lnTo>
                    <a:pt x="452" y="1203"/>
                  </a:lnTo>
                  <a:lnTo>
                    <a:pt x="454" y="1203"/>
                  </a:lnTo>
                  <a:lnTo>
                    <a:pt x="455" y="1201"/>
                  </a:lnTo>
                  <a:lnTo>
                    <a:pt x="457" y="1203"/>
                  </a:lnTo>
                  <a:lnTo>
                    <a:pt x="458" y="1203"/>
                  </a:lnTo>
                  <a:lnTo>
                    <a:pt x="458" y="1201"/>
                  </a:lnTo>
                  <a:lnTo>
                    <a:pt x="459" y="1201"/>
                  </a:lnTo>
                  <a:lnTo>
                    <a:pt x="459" y="1203"/>
                  </a:lnTo>
                  <a:lnTo>
                    <a:pt x="461" y="1203"/>
                  </a:lnTo>
                  <a:lnTo>
                    <a:pt x="465" y="1201"/>
                  </a:lnTo>
                  <a:lnTo>
                    <a:pt x="469" y="1200"/>
                  </a:lnTo>
                  <a:lnTo>
                    <a:pt x="471" y="1198"/>
                  </a:lnTo>
                  <a:lnTo>
                    <a:pt x="472" y="1194"/>
                  </a:lnTo>
                  <a:lnTo>
                    <a:pt x="472" y="1195"/>
                  </a:lnTo>
                  <a:lnTo>
                    <a:pt x="472" y="1198"/>
                  </a:lnTo>
                  <a:lnTo>
                    <a:pt x="473" y="1199"/>
                  </a:lnTo>
                  <a:lnTo>
                    <a:pt x="476" y="1198"/>
                  </a:lnTo>
                  <a:lnTo>
                    <a:pt x="477" y="1198"/>
                  </a:lnTo>
                  <a:lnTo>
                    <a:pt x="477" y="1199"/>
                  </a:lnTo>
                  <a:lnTo>
                    <a:pt x="479" y="1199"/>
                  </a:lnTo>
                  <a:lnTo>
                    <a:pt x="479" y="1198"/>
                  </a:lnTo>
                  <a:lnTo>
                    <a:pt x="479" y="1197"/>
                  </a:lnTo>
                  <a:lnTo>
                    <a:pt x="481" y="1197"/>
                  </a:lnTo>
                  <a:lnTo>
                    <a:pt x="482" y="1199"/>
                  </a:lnTo>
                  <a:lnTo>
                    <a:pt x="483" y="1198"/>
                  </a:lnTo>
                  <a:lnTo>
                    <a:pt x="484" y="1195"/>
                  </a:lnTo>
                  <a:lnTo>
                    <a:pt x="485" y="1195"/>
                  </a:lnTo>
                  <a:lnTo>
                    <a:pt x="487" y="1193"/>
                  </a:lnTo>
                  <a:lnTo>
                    <a:pt x="488" y="1192"/>
                  </a:lnTo>
                  <a:lnTo>
                    <a:pt x="489" y="1191"/>
                  </a:lnTo>
                  <a:lnTo>
                    <a:pt x="489" y="1188"/>
                  </a:lnTo>
                  <a:lnTo>
                    <a:pt x="490" y="1187"/>
                  </a:lnTo>
                  <a:lnTo>
                    <a:pt x="490" y="1185"/>
                  </a:lnTo>
                  <a:lnTo>
                    <a:pt x="491" y="1183"/>
                  </a:lnTo>
                  <a:lnTo>
                    <a:pt x="494" y="1182"/>
                  </a:lnTo>
                  <a:lnTo>
                    <a:pt x="496" y="1182"/>
                  </a:lnTo>
                  <a:lnTo>
                    <a:pt x="497" y="1180"/>
                  </a:lnTo>
                  <a:lnTo>
                    <a:pt x="499" y="1177"/>
                  </a:lnTo>
                  <a:lnTo>
                    <a:pt x="500" y="1177"/>
                  </a:lnTo>
                  <a:lnTo>
                    <a:pt x="500" y="1179"/>
                  </a:lnTo>
                  <a:lnTo>
                    <a:pt x="500" y="1180"/>
                  </a:lnTo>
                  <a:lnTo>
                    <a:pt x="501" y="1180"/>
                  </a:lnTo>
                  <a:lnTo>
                    <a:pt x="502" y="1180"/>
                  </a:lnTo>
                  <a:lnTo>
                    <a:pt x="503" y="1180"/>
                  </a:lnTo>
                  <a:lnTo>
                    <a:pt x="505" y="1179"/>
                  </a:lnTo>
                  <a:lnTo>
                    <a:pt x="505" y="1177"/>
                  </a:lnTo>
                  <a:lnTo>
                    <a:pt x="506" y="1179"/>
                  </a:lnTo>
                  <a:lnTo>
                    <a:pt x="507" y="1179"/>
                  </a:lnTo>
                  <a:lnTo>
                    <a:pt x="508" y="1181"/>
                  </a:lnTo>
                  <a:lnTo>
                    <a:pt x="510" y="1181"/>
                  </a:lnTo>
                  <a:lnTo>
                    <a:pt x="511" y="1181"/>
                  </a:lnTo>
                  <a:lnTo>
                    <a:pt x="512" y="1180"/>
                  </a:lnTo>
                  <a:lnTo>
                    <a:pt x="513" y="1180"/>
                  </a:lnTo>
                  <a:lnTo>
                    <a:pt x="514" y="1180"/>
                  </a:lnTo>
                  <a:lnTo>
                    <a:pt x="516" y="1180"/>
                  </a:lnTo>
                  <a:lnTo>
                    <a:pt x="517" y="1179"/>
                  </a:lnTo>
                  <a:lnTo>
                    <a:pt x="519" y="1179"/>
                  </a:lnTo>
                  <a:lnTo>
                    <a:pt x="520" y="1180"/>
                  </a:lnTo>
                  <a:lnTo>
                    <a:pt x="525" y="1185"/>
                  </a:lnTo>
                  <a:lnTo>
                    <a:pt x="528" y="1188"/>
                  </a:lnTo>
                  <a:lnTo>
                    <a:pt x="528" y="1189"/>
                  </a:lnTo>
                  <a:lnTo>
                    <a:pt x="529" y="1192"/>
                  </a:lnTo>
                  <a:lnTo>
                    <a:pt x="531" y="1193"/>
                  </a:lnTo>
                  <a:lnTo>
                    <a:pt x="534" y="1194"/>
                  </a:lnTo>
                  <a:lnTo>
                    <a:pt x="537" y="1195"/>
                  </a:lnTo>
                  <a:lnTo>
                    <a:pt x="540" y="1194"/>
                  </a:lnTo>
                  <a:lnTo>
                    <a:pt x="541" y="1193"/>
                  </a:lnTo>
                  <a:lnTo>
                    <a:pt x="542" y="1192"/>
                  </a:lnTo>
                  <a:lnTo>
                    <a:pt x="542" y="1189"/>
                  </a:lnTo>
                  <a:lnTo>
                    <a:pt x="542" y="1188"/>
                  </a:lnTo>
                  <a:lnTo>
                    <a:pt x="542" y="1183"/>
                  </a:lnTo>
                  <a:lnTo>
                    <a:pt x="541" y="1181"/>
                  </a:lnTo>
                  <a:lnTo>
                    <a:pt x="542" y="1181"/>
                  </a:lnTo>
                  <a:lnTo>
                    <a:pt x="542" y="1182"/>
                  </a:lnTo>
                  <a:lnTo>
                    <a:pt x="543" y="1186"/>
                  </a:lnTo>
                  <a:lnTo>
                    <a:pt x="543" y="1189"/>
                  </a:lnTo>
                  <a:lnTo>
                    <a:pt x="544" y="1191"/>
                  </a:lnTo>
                  <a:lnTo>
                    <a:pt x="546" y="1191"/>
                  </a:lnTo>
                  <a:lnTo>
                    <a:pt x="547" y="1191"/>
                  </a:lnTo>
                  <a:lnTo>
                    <a:pt x="548" y="1189"/>
                  </a:lnTo>
                  <a:lnTo>
                    <a:pt x="548" y="1188"/>
                  </a:lnTo>
                  <a:lnTo>
                    <a:pt x="548" y="1185"/>
                  </a:lnTo>
                  <a:lnTo>
                    <a:pt x="548" y="1183"/>
                  </a:lnTo>
                  <a:lnTo>
                    <a:pt x="548" y="1181"/>
                  </a:lnTo>
                  <a:lnTo>
                    <a:pt x="548" y="1180"/>
                  </a:lnTo>
                  <a:lnTo>
                    <a:pt x="548" y="1182"/>
                  </a:lnTo>
                  <a:lnTo>
                    <a:pt x="549" y="1185"/>
                  </a:lnTo>
                  <a:lnTo>
                    <a:pt x="549" y="1187"/>
                  </a:lnTo>
                  <a:lnTo>
                    <a:pt x="548" y="1189"/>
                  </a:lnTo>
                  <a:lnTo>
                    <a:pt x="550" y="1191"/>
                  </a:lnTo>
                  <a:lnTo>
                    <a:pt x="552" y="1192"/>
                  </a:lnTo>
                  <a:lnTo>
                    <a:pt x="552" y="1191"/>
                  </a:lnTo>
                  <a:lnTo>
                    <a:pt x="552" y="1189"/>
                  </a:lnTo>
                  <a:lnTo>
                    <a:pt x="552" y="1188"/>
                  </a:lnTo>
                  <a:lnTo>
                    <a:pt x="553" y="1187"/>
                  </a:lnTo>
                  <a:lnTo>
                    <a:pt x="553" y="1186"/>
                  </a:lnTo>
                  <a:lnTo>
                    <a:pt x="554" y="1187"/>
                  </a:lnTo>
                  <a:lnTo>
                    <a:pt x="554" y="1191"/>
                  </a:lnTo>
                  <a:lnTo>
                    <a:pt x="554" y="1192"/>
                  </a:lnTo>
                  <a:lnTo>
                    <a:pt x="555" y="1192"/>
                  </a:lnTo>
                  <a:lnTo>
                    <a:pt x="556" y="1192"/>
                  </a:lnTo>
                  <a:lnTo>
                    <a:pt x="556" y="1191"/>
                  </a:lnTo>
                  <a:lnTo>
                    <a:pt x="556" y="1189"/>
                  </a:lnTo>
                  <a:lnTo>
                    <a:pt x="558" y="1187"/>
                  </a:lnTo>
                  <a:lnTo>
                    <a:pt x="558" y="1186"/>
                  </a:lnTo>
                  <a:lnTo>
                    <a:pt x="558" y="1185"/>
                  </a:lnTo>
                  <a:lnTo>
                    <a:pt x="559" y="1185"/>
                  </a:lnTo>
                  <a:lnTo>
                    <a:pt x="559" y="1186"/>
                  </a:lnTo>
                  <a:lnTo>
                    <a:pt x="561" y="1189"/>
                  </a:lnTo>
                  <a:lnTo>
                    <a:pt x="564" y="1189"/>
                  </a:lnTo>
                  <a:lnTo>
                    <a:pt x="564" y="1191"/>
                  </a:lnTo>
                  <a:lnTo>
                    <a:pt x="566" y="1189"/>
                  </a:lnTo>
                  <a:lnTo>
                    <a:pt x="567" y="1187"/>
                  </a:lnTo>
                  <a:lnTo>
                    <a:pt x="567" y="1188"/>
                  </a:lnTo>
                  <a:lnTo>
                    <a:pt x="569" y="1189"/>
                  </a:lnTo>
                  <a:lnTo>
                    <a:pt x="569" y="1191"/>
                  </a:lnTo>
                  <a:lnTo>
                    <a:pt x="569" y="1193"/>
                  </a:lnTo>
                  <a:lnTo>
                    <a:pt x="569" y="1192"/>
                  </a:lnTo>
                  <a:lnTo>
                    <a:pt x="570" y="1191"/>
                  </a:lnTo>
                  <a:lnTo>
                    <a:pt x="571" y="1191"/>
                  </a:lnTo>
                  <a:lnTo>
                    <a:pt x="571" y="1193"/>
                  </a:lnTo>
                  <a:lnTo>
                    <a:pt x="571" y="1194"/>
                  </a:lnTo>
                  <a:lnTo>
                    <a:pt x="571" y="1197"/>
                  </a:lnTo>
                  <a:lnTo>
                    <a:pt x="572" y="1198"/>
                  </a:lnTo>
                  <a:lnTo>
                    <a:pt x="573" y="1197"/>
                  </a:lnTo>
                  <a:lnTo>
                    <a:pt x="573" y="1198"/>
                  </a:lnTo>
                  <a:lnTo>
                    <a:pt x="573" y="1199"/>
                  </a:lnTo>
                  <a:lnTo>
                    <a:pt x="573" y="1201"/>
                  </a:lnTo>
                  <a:lnTo>
                    <a:pt x="575" y="1201"/>
                  </a:lnTo>
                  <a:lnTo>
                    <a:pt x="576" y="1203"/>
                  </a:lnTo>
                  <a:lnTo>
                    <a:pt x="577" y="1203"/>
                  </a:lnTo>
                  <a:lnTo>
                    <a:pt x="578" y="1204"/>
                  </a:lnTo>
                  <a:lnTo>
                    <a:pt x="579" y="1205"/>
                  </a:lnTo>
                  <a:lnTo>
                    <a:pt x="579" y="1206"/>
                  </a:lnTo>
                  <a:lnTo>
                    <a:pt x="581" y="1209"/>
                  </a:lnTo>
                  <a:lnTo>
                    <a:pt x="582" y="1210"/>
                  </a:lnTo>
                  <a:lnTo>
                    <a:pt x="582" y="1211"/>
                  </a:lnTo>
                  <a:lnTo>
                    <a:pt x="584" y="1213"/>
                  </a:lnTo>
                  <a:lnTo>
                    <a:pt x="583" y="1216"/>
                  </a:lnTo>
                  <a:lnTo>
                    <a:pt x="583" y="1217"/>
                  </a:lnTo>
                  <a:lnTo>
                    <a:pt x="584" y="1218"/>
                  </a:lnTo>
                  <a:lnTo>
                    <a:pt x="587" y="1219"/>
                  </a:lnTo>
                  <a:lnTo>
                    <a:pt x="588" y="1222"/>
                  </a:lnTo>
                  <a:lnTo>
                    <a:pt x="590" y="1224"/>
                  </a:lnTo>
                  <a:lnTo>
                    <a:pt x="593" y="1225"/>
                  </a:lnTo>
                  <a:lnTo>
                    <a:pt x="594" y="1225"/>
                  </a:lnTo>
                  <a:lnTo>
                    <a:pt x="595" y="1224"/>
                  </a:lnTo>
                  <a:lnTo>
                    <a:pt x="595" y="1223"/>
                  </a:lnTo>
                  <a:lnTo>
                    <a:pt x="595" y="1221"/>
                  </a:lnTo>
                  <a:lnTo>
                    <a:pt x="595" y="1218"/>
                  </a:lnTo>
                  <a:lnTo>
                    <a:pt x="595" y="1216"/>
                  </a:lnTo>
                  <a:lnTo>
                    <a:pt x="595" y="1217"/>
                  </a:lnTo>
                  <a:lnTo>
                    <a:pt x="596" y="1221"/>
                  </a:lnTo>
                  <a:lnTo>
                    <a:pt x="596" y="1222"/>
                  </a:lnTo>
                  <a:lnTo>
                    <a:pt x="596" y="1223"/>
                  </a:lnTo>
                  <a:lnTo>
                    <a:pt x="596" y="1227"/>
                  </a:lnTo>
                  <a:lnTo>
                    <a:pt x="596" y="1228"/>
                  </a:lnTo>
                  <a:lnTo>
                    <a:pt x="597" y="1229"/>
                  </a:lnTo>
                  <a:lnTo>
                    <a:pt x="599" y="1230"/>
                  </a:lnTo>
                  <a:lnTo>
                    <a:pt x="600" y="1230"/>
                  </a:lnTo>
                  <a:lnTo>
                    <a:pt x="601" y="1230"/>
                  </a:lnTo>
                  <a:lnTo>
                    <a:pt x="602" y="1231"/>
                  </a:lnTo>
                  <a:lnTo>
                    <a:pt x="603" y="1231"/>
                  </a:lnTo>
                  <a:lnTo>
                    <a:pt x="605" y="1231"/>
                  </a:lnTo>
                  <a:lnTo>
                    <a:pt x="606" y="1230"/>
                  </a:lnTo>
                  <a:lnTo>
                    <a:pt x="606" y="1229"/>
                  </a:lnTo>
                  <a:lnTo>
                    <a:pt x="607" y="1228"/>
                  </a:lnTo>
                  <a:lnTo>
                    <a:pt x="607" y="1229"/>
                  </a:lnTo>
                  <a:lnTo>
                    <a:pt x="608" y="1228"/>
                  </a:lnTo>
                  <a:lnTo>
                    <a:pt x="608" y="1227"/>
                  </a:lnTo>
                  <a:lnTo>
                    <a:pt x="608" y="1225"/>
                  </a:lnTo>
                  <a:lnTo>
                    <a:pt x="608" y="1224"/>
                  </a:lnTo>
                  <a:lnTo>
                    <a:pt x="609" y="1223"/>
                  </a:lnTo>
                  <a:lnTo>
                    <a:pt x="612" y="1221"/>
                  </a:lnTo>
                  <a:lnTo>
                    <a:pt x="613" y="1222"/>
                  </a:lnTo>
                  <a:lnTo>
                    <a:pt x="613" y="1223"/>
                  </a:lnTo>
                  <a:lnTo>
                    <a:pt x="615" y="1224"/>
                  </a:lnTo>
                  <a:lnTo>
                    <a:pt x="615" y="1227"/>
                  </a:lnTo>
                  <a:lnTo>
                    <a:pt x="614" y="1227"/>
                  </a:lnTo>
                  <a:lnTo>
                    <a:pt x="613" y="1229"/>
                  </a:lnTo>
                  <a:lnTo>
                    <a:pt x="614" y="1229"/>
                  </a:lnTo>
                  <a:lnTo>
                    <a:pt x="614" y="1230"/>
                  </a:lnTo>
                  <a:lnTo>
                    <a:pt x="613" y="1230"/>
                  </a:lnTo>
                  <a:lnTo>
                    <a:pt x="613" y="1233"/>
                  </a:lnTo>
                  <a:lnTo>
                    <a:pt x="614" y="1234"/>
                  </a:lnTo>
                  <a:lnTo>
                    <a:pt x="614" y="1236"/>
                  </a:lnTo>
                  <a:lnTo>
                    <a:pt x="614" y="1239"/>
                  </a:lnTo>
                  <a:lnTo>
                    <a:pt x="615" y="1239"/>
                  </a:lnTo>
                  <a:lnTo>
                    <a:pt x="615" y="1240"/>
                  </a:lnTo>
                  <a:lnTo>
                    <a:pt x="614" y="1241"/>
                  </a:lnTo>
                  <a:lnTo>
                    <a:pt x="614" y="1242"/>
                  </a:lnTo>
                  <a:lnTo>
                    <a:pt x="615" y="1242"/>
                  </a:lnTo>
                  <a:lnTo>
                    <a:pt x="617" y="1242"/>
                  </a:lnTo>
                  <a:lnTo>
                    <a:pt x="617" y="1243"/>
                  </a:lnTo>
                  <a:lnTo>
                    <a:pt x="617" y="1245"/>
                  </a:lnTo>
                  <a:lnTo>
                    <a:pt x="618" y="1245"/>
                  </a:lnTo>
                  <a:lnTo>
                    <a:pt x="619" y="1245"/>
                  </a:lnTo>
                  <a:lnTo>
                    <a:pt x="620" y="1246"/>
                  </a:lnTo>
                  <a:lnTo>
                    <a:pt x="623" y="1247"/>
                  </a:lnTo>
                  <a:lnTo>
                    <a:pt x="623" y="1248"/>
                  </a:lnTo>
                  <a:lnTo>
                    <a:pt x="625" y="1248"/>
                  </a:lnTo>
                  <a:lnTo>
                    <a:pt x="625" y="1251"/>
                  </a:lnTo>
                  <a:lnTo>
                    <a:pt x="626" y="1252"/>
                  </a:lnTo>
                  <a:lnTo>
                    <a:pt x="629" y="1252"/>
                  </a:lnTo>
                  <a:lnTo>
                    <a:pt x="630" y="1251"/>
                  </a:lnTo>
                  <a:lnTo>
                    <a:pt x="630" y="1249"/>
                  </a:lnTo>
                  <a:lnTo>
                    <a:pt x="629" y="1247"/>
                  </a:lnTo>
                  <a:lnTo>
                    <a:pt x="629" y="1245"/>
                  </a:lnTo>
                  <a:lnTo>
                    <a:pt x="630" y="1245"/>
                  </a:lnTo>
                  <a:lnTo>
                    <a:pt x="632" y="1243"/>
                  </a:lnTo>
                  <a:lnTo>
                    <a:pt x="632" y="1242"/>
                  </a:lnTo>
                  <a:lnTo>
                    <a:pt x="634" y="1241"/>
                  </a:lnTo>
                  <a:lnTo>
                    <a:pt x="636" y="1241"/>
                  </a:lnTo>
                  <a:lnTo>
                    <a:pt x="637" y="1241"/>
                  </a:lnTo>
                  <a:lnTo>
                    <a:pt x="638" y="1242"/>
                  </a:lnTo>
                  <a:lnTo>
                    <a:pt x="638" y="1240"/>
                  </a:lnTo>
                  <a:lnTo>
                    <a:pt x="638" y="1239"/>
                  </a:lnTo>
                  <a:lnTo>
                    <a:pt x="640" y="1236"/>
                  </a:lnTo>
                  <a:lnTo>
                    <a:pt x="641" y="1235"/>
                  </a:lnTo>
                  <a:lnTo>
                    <a:pt x="642" y="1234"/>
                  </a:lnTo>
                  <a:lnTo>
                    <a:pt x="643" y="1234"/>
                  </a:lnTo>
                  <a:lnTo>
                    <a:pt x="644" y="1233"/>
                  </a:lnTo>
                  <a:lnTo>
                    <a:pt x="644" y="1234"/>
                  </a:lnTo>
                  <a:lnTo>
                    <a:pt x="646" y="1234"/>
                  </a:lnTo>
                  <a:lnTo>
                    <a:pt x="647" y="1233"/>
                  </a:lnTo>
                  <a:lnTo>
                    <a:pt x="654" y="1233"/>
                  </a:lnTo>
                  <a:lnTo>
                    <a:pt x="656" y="1230"/>
                  </a:lnTo>
                  <a:lnTo>
                    <a:pt x="656" y="1229"/>
                  </a:lnTo>
                  <a:lnTo>
                    <a:pt x="658" y="1229"/>
                  </a:lnTo>
                  <a:lnTo>
                    <a:pt x="658" y="1230"/>
                  </a:lnTo>
                  <a:lnTo>
                    <a:pt x="660" y="1230"/>
                  </a:lnTo>
                  <a:lnTo>
                    <a:pt x="660" y="1231"/>
                  </a:lnTo>
                  <a:lnTo>
                    <a:pt x="661" y="1231"/>
                  </a:lnTo>
                  <a:lnTo>
                    <a:pt x="662" y="1231"/>
                  </a:lnTo>
                  <a:lnTo>
                    <a:pt x="664" y="1231"/>
                  </a:lnTo>
                  <a:lnTo>
                    <a:pt x="665" y="1231"/>
                  </a:lnTo>
                  <a:lnTo>
                    <a:pt x="666" y="1231"/>
                  </a:lnTo>
                  <a:lnTo>
                    <a:pt x="667" y="1231"/>
                  </a:lnTo>
                  <a:lnTo>
                    <a:pt x="667" y="1229"/>
                  </a:lnTo>
                  <a:lnTo>
                    <a:pt x="667" y="1228"/>
                  </a:lnTo>
                  <a:lnTo>
                    <a:pt x="668" y="1228"/>
                  </a:lnTo>
                  <a:lnTo>
                    <a:pt x="671" y="1228"/>
                  </a:lnTo>
                  <a:lnTo>
                    <a:pt x="672" y="1227"/>
                  </a:lnTo>
                  <a:lnTo>
                    <a:pt x="673" y="1227"/>
                  </a:lnTo>
                  <a:lnTo>
                    <a:pt x="673" y="1224"/>
                  </a:lnTo>
                  <a:lnTo>
                    <a:pt x="674" y="1222"/>
                  </a:lnTo>
                  <a:lnTo>
                    <a:pt x="674" y="1223"/>
                  </a:lnTo>
                  <a:lnTo>
                    <a:pt x="676" y="1223"/>
                  </a:lnTo>
                  <a:lnTo>
                    <a:pt x="677" y="1222"/>
                  </a:lnTo>
                  <a:lnTo>
                    <a:pt x="679" y="1221"/>
                  </a:lnTo>
                  <a:lnTo>
                    <a:pt x="679" y="1218"/>
                  </a:lnTo>
                  <a:lnTo>
                    <a:pt x="680" y="1217"/>
                  </a:lnTo>
                  <a:lnTo>
                    <a:pt x="682" y="1216"/>
                  </a:lnTo>
                  <a:lnTo>
                    <a:pt x="682" y="1215"/>
                  </a:lnTo>
                  <a:lnTo>
                    <a:pt x="683" y="1213"/>
                  </a:lnTo>
                  <a:lnTo>
                    <a:pt x="683" y="1210"/>
                  </a:lnTo>
                  <a:lnTo>
                    <a:pt x="682" y="1210"/>
                  </a:lnTo>
                  <a:lnTo>
                    <a:pt x="682" y="1211"/>
                  </a:lnTo>
                  <a:lnTo>
                    <a:pt x="680" y="1211"/>
                  </a:lnTo>
                  <a:lnTo>
                    <a:pt x="680" y="1209"/>
                  </a:lnTo>
                  <a:lnTo>
                    <a:pt x="680" y="1206"/>
                  </a:lnTo>
                  <a:lnTo>
                    <a:pt x="682" y="1206"/>
                  </a:lnTo>
                  <a:lnTo>
                    <a:pt x="682" y="1207"/>
                  </a:lnTo>
                  <a:lnTo>
                    <a:pt x="683" y="1209"/>
                  </a:lnTo>
                  <a:lnTo>
                    <a:pt x="684" y="1210"/>
                  </a:lnTo>
                  <a:lnTo>
                    <a:pt x="685" y="1210"/>
                  </a:lnTo>
                  <a:lnTo>
                    <a:pt x="685" y="1209"/>
                  </a:lnTo>
                  <a:lnTo>
                    <a:pt x="686" y="1207"/>
                  </a:lnTo>
                  <a:lnTo>
                    <a:pt x="686" y="1206"/>
                  </a:lnTo>
                  <a:lnTo>
                    <a:pt x="686" y="1205"/>
                  </a:lnTo>
                  <a:lnTo>
                    <a:pt x="686" y="1204"/>
                  </a:lnTo>
                  <a:lnTo>
                    <a:pt x="688" y="1204"/>
                  </a:lnTo>
                  <a:lnTo>
                    <a:pt x="689" y="1205"/>
                  </a:lnTo>
                  <a:lnTo>
                    <a:pt x="690" y="1205"/>
                  </a:lnTo>
                  <a:lnTo>
                    <a:pt x="690" y="1204"/>
                  </a:lnTo>
                  <a:lnTo>
                    <a:pt x="691" y="1203"/>
                  </a:lnTo>
                  <a:lnTo>
                    <a:pt x="693" y="1201"/>
                  </a:lnTo>
                  <a:lnTo>
                    <a:pt x="691" y="1201"/>
                  </a:lnTo>
                  <a:lnTo>
                    <a:pt x="691" y="1200"/>
                  </a:lnTo>
                  <a:lnTo>
                    <a:pt x="693" y="1199"/>
                  </a:lnTo>
                  <a:lnTo>
                    <a:pt x="693" y="1197"/>
                  </a:lnTo>
                  <a:lnTo>
                    <a:pt x="694" y="1197"/>
                  </a:lnTo>
                  <a:lnTo>
                    <a:pt x="695" y="1197"/>
                  </a:lnTo>
                  <a:lnTo>
                    <a:pt x="697" y="1195"/>
                  </a:lnTo>
                  <a:lnTo>
                    <a:pt x="697" y="1194"/>
                  </a:lnTo>
                  <a:lnTo>
                    <a:pt x="699" y="1193"/>
                  </a:lnTo>
                  <a:lnTo>
                    <a:pt x="699" y="1191"/>
                  </a:lnTo>
                  <a:lnTo>
                    <a:pt x="699" y="1188"/>
                  </a:lnTo>
                  <a:lnTo>
                    <a:pt x="697" y="1187"/>
                  </a:lnTo>
                  <a:lnTo>
                    <a:pt x="696" y="1186"/>
                  </a:lnTo>
                  <a:lnTo>
                    <a:pt x="696" y="1185"/>
                  </a:lnTo>
                  <a:lnTo>
                    <a:pt x="697" y="1185"/>
                  </a:lnTo>
                  <a:lnTo>
                    <a:pt x="697" y="1183"/>
                  </a:lnTo>
                  <a:lnTo>
                    <a:pt x="699" y="1183"/>
                  </a:lnTo>
                  <a:lnTo>
                    <a:pt x="701" y="1181"/>
                  </a:lnTo>
                  <a:lnTo>
                    <a:pt x="701" y="1182"/>
                  </a:lnTo>
                  <a:lnTo>
                    <a:pt x="701" y="1183"/>
                  </a:lnTo>
                  <a:lnTo>
                    <a:pt x="702" y="1182"/>
                  </a:lnTo>
                  <a:lnTo>
                    <a:pt x="706" y="1180"/>
                  </a:lnTo>
                  <a:lnTo>
                    <a:pt x="706" y="1177"/>
                  </a:lnTo>
                  <a:lnTo>
                    <a:pt x="707" y="1177"/>
                  </a:lnTo>
                  <a:lnTo>
                    <a:pt x="708" y="1177"/>
                  </a:lnTo>
                  <a:lnTo>
                    <a:pt x="709" y="1177"/>
                  </a:lnTo>
                  <a:lnTo>
                    <a:pt x="711" y="1179"/>
                  </a:lnTo>
                  <a:lnTo>
                    <a:pt x="712" y="1180"/>
                  </a:lnTo>
                  <a:lnTo>
                    <a:pt x="713" y="1179"/>
                  </a:lnTo>
                  <a:lnTo>
                    <a:pt x="713" y="1177"/>
                  </a:lnTo>
                  <a:lnTo>
                    <a:pt x="714" y="1177"/>
                  </a:lnTo>
                  <a:lnTo>
                    <a:pt x="715" y="1176"/>
                  </a:lnTo>
                  <a:lnTo>
                    <a:pt x="718" y="1176"/>
                  </a:lnTo>
                  <a:lnTo>
                    <a:pt x="720" y="1177"/>
                  </a:lnTo>
                  <a:lnTo>
                    <a:pt x="721" y="1177"/>
                  </a:lnTo>
                  <a:lnTo>
                    <a:pt x="723" y="1176"/>
                  </a:lnTo>
                  <a:lnTo>
                    <a:pt x="724" y="1176"/>
                  </a:lnTo>
                  <a:lnTo>
                    <a:pt x="725" y="1175"/>
                  </a:lnTo>
                  <a:lnTo>
                    <a:pt x="726" y="1176"/>
                  </a:lnTo>
                  <a:lnTo>
                    <a:pt x="727" y="1175"/>
                  </a:lnTo>
                  <a:lnTo>
                    <a:pt x="727" y="1174"/>
                  </a:lnTo>
                  <a:lnTo>
                    <a:pt x="727" y="1172"/>
                  </a:lnTo>
                  <a:lnTo>
                    <a:pt x="726" y="1171"/>
                  </a:lnTo>
                  <a:lnTo>
                    <a:pt x="727" y="1170"/>
                  </a:lnTo>
                  <a:lnTo>
                    <a:pt x="727" y="1168"/>
                  </a:lnTo>
                  <a:lnTo>
                    <a:pt x="727" y="1166"/>
                  </a:lnTo>
                  <a:lnTo>
                    <a:pt x="729" y="1165"/>
                  </a:lnTo>
                  <a:lnTo>
                    <a:pt x="730" y="1164"/>
                  </a:lnTo>
                  <a:lnTo>
                    <a:pt x="730" y="1163"/>
                  </a:lnTo>
                  <a:lnTo>
                    <a:pt x="731" y="1160"/>
                  </a:lnTo>
                  <a:lnTo>
                    <a:pt x="732" y="1162"/>
                  </a:lnTo>
                  <a:lnTo>
                    <a:pt x="732" y="1163"/>
                  </a:lnTo>
                  <a:lnTo>
                    <a:pt x="735" y="1160"/>
                  </a:lnTo>
                  <a:lnTo>
                    <a:pt x="735" y="1159"/>
                  </a:lnTo>
                  <a:lnTo>
                    <a:pt x="735" y="1160"/>
                  </a:lnTo>
                  <a:lnTo>
                    <a:pt x="736" y="1160"/>
                  </a:lnTo>
                  <a:lnTo>
                    <a:pt x="737" y="1160"/>
                  </a:lnTo>
                  <a:lnTo>
                    <a:pt x="738" y="1160"/>
                  </a:lnTo>
                  <a:lnTo>
                    <a:pt x="741" y="1160"/>
                  </a:lnTo>
                  <a:lnTo>
                    <a:pt x="742" y="1160"/>
                  </a:lnTo>
                  <a:lnTo>
                    <a:pt x="743" y="1160"/>
                  </a:lnTo>
                  <a:lnTo>
                    <a:pt x="744" y="1162"/>
                  </a:lnTo>
                  <a:lnTo>
                    <a:pt x="745" y="1160"/>
                  </a:lnTo>
                  <a:lnTo>
                    <a:pt x="745" y="1162"/>
                  </a:lnTo>
                  <a:lnTo>
                    <a:pt x="747" y="1163"/>
                  </a:lnTo>
                  <a:lnTo>
                    <a:pt x="748" y="1162"/>
                  </a:lnTo>
                  <a:lnTo>
                    <a:pt x="748" y="1160"/>
                  </a:lnTo>
                  <a:lnTo>
                    <a:pt x="750" y="1159"/>
                  </a:lnTo>
                  <a:lnTo>
                    <a:pt x="750" y="1158"/>
                  </a:lnTo>
                  <a:lnTo>
                    <a:pt x="752" y="1157"/>
                  </a:lnTo>
                  <a:lnTo>
                    <a:pt x="753" y="1156"/>
                  </a:lnTo>
                  <a:lnTo>
                    <a:pt x="752" y="1154"/>
                  </a:lnTo>
                  <a:lnTo>
                    <a:pt x="752" y="1153"/>
                  </a:lnTo>
                  <a:lnTo>
                    <a:pt x="754" y="1152"/>
                  </a:lnTo>
                  <a:lnTo>
                    <a:pt x="753" y="1154"/>
                  </a:lnTo>
                  <a:lnTo>
                    <a:pt x="755" y="1154"/>
                  </a:lnTo>
                  <a:lnTo>
                    <a:pt x="755" y="1152"/>
                  </a:lnTo>
                  <a:lnTo>
                    <a:pt x="755" y="1151"/>
                  </a:lnTo>
                  <a:lnTo>
                    <a:pt x="755" y="1150"/>
                  </a:lnTo>
                  <a:lnTo>
                    <a:pt x="756" y="1148"/>
                  </a:lnTo>
                  <a:lnTo>
                    <a:pt x="756" y="1150"/>
                  </a:lnTo>
                  <a:lnTo>
                    <a:pt x="759" y="1148"/>
                  </a:lnTo>
                  <a:lnTo>
                    <a:pt x="759" y="1147"/>
                  </a:lnTo>
                  <a:lnTo>
                    <a:pt x="761" y="1146"/>
                  </a:lnTo>
                  <a:lnTo>
                    <a:pt x="762" y="1146"/>
                  </a:lnTo>
                  <a:lnTo>
                    <a:pt x="765" y="1145"/>
                  </a:lnTo>
                  <a:lnTo>
                    <a:pt x="766" y="1145"/>
                  </a:lnTo>
                  <a:lnTo>
                    <a:pt x="770" y="1145"/>
                  </a:lnTo>
                  <a:lnTo>
                    <a:pt x="772" y="1144"/>
                  </a:lnTo>
                  <a:lnTo>
                    <a:pt x="776" y="1142"/>
                  </a:lnTo>
                  <a:lnTo>
                    <a:pt x="777" y="1141"/>
                  </a:lnTo>
                  <a:lnTo>
                    <a:pt x="776" y="1140"/>
                  </a:lnTo>
                  <a:lnTo>
                    <a:pt x="774" y="1138"/>
                  </a:lnTo>
                  <a:lnTo>
                    <a:pt x="774" y="1136"/>
                  </a:lnTo>
                  <a:lnTo>
                    <a:pt x="777" y="1139"/>
                  </a:lnTo>
                  <a:lnTo>
                    <a:pt x="778" y="1138"/>
                  </a:lnTo>
                  <a:lnTo>
                    <a:pt x="778" y="1135"/>
                  </a:lnTo>
                  <a:lnTo>
                    <a:pt x="778" y="1134"/>
                  </a:lnTo>
                  <a:lnTo>
                    <a:pt x="778" y="1133"/>
                  </a:lnTo>
                  <a:lnTo>
                    <a:pt x="778" y="1130"/>
                  </a:lnTo>
                  <a:lnTo>
                    <a:pt x="777" y="1128"/>
                  </a:lnTo>
                  <a:lnTo>
                    <a:pt x="777" y="1127"/>
                  </a:lnTo>
                  <a:lnTo>
                    <a:pt x="777" y="1126"/>
                  </a:lnTo>
                  <a:lnTo>
                    <a:pt x="777" y="1124"/>
                  </a:lnTo>
                  <a:lnTo>
                    <a:pt x="777" y="1122"/>
                  </a:lnTo>
                  <a:lnTo>
                    <a:pt x="778" y="1121"/>
                  </a:lnTo>
                  <a:lnTo>
                    <a:pt x="779" y="1120"/>
                  </a:lnTo>
                  <a:lnTo>
                    <a:pt x="779" y="1117"/>
                  </a:lnTo>
                  <a:lnTo>
                    <a:pt x="779" y="1109"/>
                  </a:lnTo>
                  <a:lnTo>
                    <a:pt x="780" y="1108"/>
                  </a:lnTo>
                  <a:lnTo>
                    <a:pt x="780" y="1106"/>
                  </a:lnTo>
                  <a:lnTo>
                    <a:pt x="782" y="1105"/>
                  </a:lnTo>
                  <a:lnTo>
                    <a:pt x="783" y="1105"/>
                  </a:lnTo>
                  <a:lnTo>
                    <a:pt x="783" y="1104"/>
                  </a:lnTo>
                  <a:lnTo>
                    <a:pt x="784" y="1105"/>
                  </a:lnTo>
                  <a:lnTo>
                    <a:pt x="784" y="1104"/>
                  </a:lnTo>
                  <a:lnTo>
                    <a:pt x="785" y="1103"/>
                  </a:lnTo>
                  <a:lnTo>
                    <a:pt x="786" y="1103"/>
                  </a:lnTo>
                  <a:lnTo>
                    <a:pt x="786" y="1102"/>
                  </a:lnTo>
                  <a:lnTo>
                    <a:pt x="788" y="1102"/>
                  </a:lnTo>
                  <a:lnTo>
                    <a:pt x="789" y="1100"/>
                  </a:lnTo>
                  <a:lnTo>
                    <a:pt x="791" y="1099"/>
                  </a:lnTo>
                  <a:lnTo>
                    <a:pt x="792" y="1097"/>
                  </a:lnTo>
                  <a:lnTo>
                    <a:pt x="794" y="1097"/>
                  </a:lnTo>
                  <a:lnTo>
                    <a:pt x="794" y="1094"/>
                  </a:lnTo>
                  <a:lnTo>
                    <a:pt x="792" y="1094"/>
                  </a:lnTo>
                  <a:lnTo>
                    <a:pt x="790" y="1094"/>
                  </a:lnTo>
                  <a:lnTo>
                    <a:pt x="788" y="1094"/>
                  </a:lnTo>
                  <a:lnTo>
                    <a:pt x="783" y="1096"/>
                  </a:lnTo>
                  <a:lnTo>
                    <a:pt x="779" y="1098"/>
                  </a:lnTo>
                  <a:lnTo>
                    <a:pt x="774" y="1099"/>
                  </a:lnTo>
                  <a:lnTo>
                    <a:pt x="771" y="1102"/>
                  </a:lnTo>
                  <a:lnTo>
                    <a:pt x="767" y="1103"/>
                  </a:lnTo>
                  <a:lnTo>
                    <a:pt x="761" y="1104"/>
                  </a:lnTo>
                  <a:lnTo>
                    <a:pt x="756" y="1106"/>
                  </a:lnTo>
                  <a:lnTo>
                    <a:pt x="752" y="1108"/>
                  </a:lnTo>
                  <a:lnTo>
                    <a:pt x="748" y="1109"/>
                  </a:lnTo>
                  <a:lnTo>
                    <a:pt x="744" y="1108"/>
                  </a:lnTo>
                  <a:lnTo>
                    <a:pt x="737" y="1109"/>
                  </a:lnTo>
                  <a:lnTo>
                    <a:pt x="731" y="1109"/>
                  </a:lnTo>
                  <a:lnTo>
                    <a:pt x="725" y="1109"/>
                  </a:lnTo>
                  <a:lnTo>
                    <a:pt x="720" y="1108"/>
                  </a:lnTo>
                  <a:lnTo>
                    <a:pt x="717" y="1106"/>
                  </a:lnTo>
                  <a:lnTo>
                    <a:pt x="712" y="1105"/>
                  </a:lnTo>
                  <a:lnTo>
                    <a:pt x="701" y="1105"/>
                  </a:lnTo>
                  <a:lnTo>
                    <a:pt x="700" y="1104"/>
                  </a:lnTo>
                  <a:lnTo>
                    <a:pt x="696" y="1103"/>
                  </a:lnTo>
                  <a:lnTo>
                    <a:pt x="694" y="1100"/>
                  </a:lnTo>
                  <a:lnTo>
                    <a:pt x="694" y="1098"/>
                  </a:lnTo>
                  <a:lnTo>
                    <a:pt x="693" y="1097"/>
                  </a:lnTo>
                  <a:lnTo>
                    <a:pt x="693" y="1094"/>
                  </a:lnTo>
                  <a:lnTo>
                    <a:pt x="691" y="1093"/>
                  </a:lnTo>
                  <a:lnTo>
                    <a:pt x="691" y="1091"/>
                  </a:lnTo>
                  <a:lnTo>
                    <a:pt x="693" y="1091"/>
                  </a:lnTo>
                  <a:lnTo>
                    <a:pt x="694" y="1093"/>
                  </a:lnTo>
                  <a:lnTo>
                    <a:pt x="695" y="1092"/>
                  </a:lnTo>
                  <a:lnTo>
                    <a:pt x="696" y="1092"/>
                  </a:lnTo>
                  <a:lnTo>
                    <a:pt x="697" y="1091"/>
                  </a:lnTo>
                  <a:lnTo>
                    <a:pt x="699" y="1091"/>
                  </a:lnTo>
                  <a:lnTo>
                    <a:pt x="700" y="1090"/>
                  </a:lnTo>
                  <a:lnTo>
                    <a:pt x="700" y="1088"/>
                  </a:lnTo>
                  <a:lnTo>
                    <a:pt x="702" y="1087"/>
                  </a:lnTo>
                  <a:lnTo>
                    <a:pt x="703" y="1087"/>
                  </a:lnTo>
                  <a:lnTo>
                    <a:pt x="705" y="1086"/>
                  </a:lnTo>
                  <a:lnTo>
                    <a:pt x="705" y="1087"/>
                  </a:lnTo>
                  <a:lnTo>
                    <a:pt x="706" y="1087"/>
                  </a:lnTo>
                  <a:lnTo>
                    <a:pt x="707" y="1087"/>
                  </a:lnTo>
                  <a:lnTo>
                    <a:pt x="708" y="1087"/>
                  </a:lnTo>
                  <a:lnTo>
                    <a:pt x="709" y="1087"/>
                  </a:lnTo>
                  <a:lnTo>
                    <a:pt x="711" y="1087"/>
                  </a:lnTo>
                  <a:lnTo>
                    <a:pt x="713" y="1086"/>
                  </a:lnTo>
                  <a:lnTo>
                    <a:pt x="714" y="1086"/>
                  </a:lnTo>
                  <a:lnTo>
                    <a:pt x="714" y="1085"/>
                  </a:lnTo>
                  <a:lnTo>
                    <a:pt x="714" y="1082"/>
                  </a:lnTo>
                  <a:lnTo>
                    <a:pt x="715" y="1081"/>
                  </a:lnTo>
                  <a:lnTo>
                    <a:pt x="717" y="1082"/>
                  </a:lnTo>
                  <a:lnTo>
                    <a:pt x="715" y="1084"/>
                  </a:lnTo>
                  <a:lnTo>
                    <a:pt x="717" y="1085"/>
                  </a:lnTo>
                  <a:lnTo>
                    <a:pt x="718" y="1084"/>
                  </a:lnTo>
                  <a:lnTo>
                    <a:pt x="719" y="1082"/>
                  </a:lnTo>
                  <a:lnTo>
                    <a:pt x="719" y="1081"/>
                  </a:lnTo>
                  <a:lnTo>
                    <a:pt x="719" y="1080"/>
                  </a:lnTo>
                  <a:lnTo>
                    <a:pt x="720" y="1082"/>
                  </a:lnTo>
                  <a:lnTo>
                    <a:pt x="720" y="1081"/>
                  </a:lnTo>
                  <a:lnTo>
                    <a:pt x="721" y="1081"/>
                  </a:lnTo>
                  <a:lnTo>
                    <a:pt x="723" y="1081"/>
                  </a:lnTo>
                  <a:lnTo>
                    <a:pt x="725" y="1080"/>
                  </a:lnTo>
                  <a:lnTo>
                    <a:pt x="726" y="1078"/>
                  </a:lnTo>
                  <a:lnTo>
                    <a:pt x="726" y="1076"/>
                  </a:lnTo>
                  <a:lnTo>
                    <a:pt x="727" y="1075"/>
                  </a:lnTo>
                  <a:lnTo>
                    <a:pt x="727" y="1073"/>
                  </a:lnTo>
                  <a:lnTo>
                    <a:pt x="729" y="1072"/>
                  </a:lnTo>
                  <a:lnTo>
                    <a:pt x="730" y="1072"/>
                  </a:lnTo>
                  <a:lnTo>
                    <a:pt x="731" y="1070"/>
                  </a:lnTo>
                  <a:lnTo>
                    <a:pt x="731" y="1069"/>
                  </a:lnTo>
                  <a:lnTo>
                    <a:pt x="732" y="1068"/>
                  </a:lnTo>
                  <a:lnTo>
                    <a:pt x="732" y="1067"/>
                  </a:lnTo>
                  <a:lnTo>
                    <a:pt x="733" y="1067"/>
                  </a:lnTo>
                  <a:lnTo>
                    <a:pt x="735" y="1065"/>
                  </a:lnTo>
                  <a:lnTo>
                    <a:pt x="735" y="1064"/>
                  </a:lnTo>
                  <a:lnTo>
                    <a:pt x="735" y="1063"/>
                  </a:lnTo>
                  <a:lnTo>
                    <a:pt x="735" y="1064"/>
                  </a:lnTo>
                  <a:lnTo>
                    <a:pt x="736" y="1064"/>
                  </a:lnTo>
                  <a:lnTo>
                    <a:pt x="736" y="1063"/>
                  </a:lnTo>
                  <a:lnTo>
                    <a:pt x="737" y="1061"/>
                  </a:lnTo>
                  <a:lnTo>
                    <a:pt x="737" y="1059"/>
                  </a:lnTo>
                  <a:lnTo>
                    <a:pt x="738" y="1058"/>
                  </a:lnTo>
                  <a:lnTo>
                    <a:pt x="737" y="1058"/>
                  </a:lnTo>
                  <a:lnTo>
                    <a:pt x="736" y="1057"/>
                  </a:lnTo>
                  <a:lnTo>
                    <a:pt x="733" y="1058"/>
                  </a:lnTo>
                  <a:lnTo>
                    <a:pt x="731" y="1058"/>
                  </a:lnTo>
                  <a:lnTo>
                    <a:pt x="723" y="1058"/>
                  </a:lnTo>
                  <a:lnTo>
                    <a:pt x="718" y="1059"/>
                  </a:lnTo>
                  <a:lnTo>
                    <a:pt x="714" y="1061"/>
                  </a:lnTo>
                  <a:lnTo>
                    <a:pt x="711" y="1059"/>
                  </a:lnTo>
                  <a:lnTo>
                    <a:pt x="708" y="1059"/>
                  </a:lnTo>
                  <a:lnTo>
                    <a:pt x="706" y="1057"/>
                  </a:lnTo>
                  <a:lnTo>
                    <a:pt x="706" y="1056"/>
                  </a:lnTo>
                  <a:lnTo>
                    <a:pt x="705" y="1055"/>
                  </a:lnTo>
                  <a:lnTo>
                    <a:pt x="706" y="1053"/>
                  </a:lnTo>
                  <a:lnTo>
                    <a:pt x="707" y="1051"/>
                  </a:lnTo>
                  <a:lnTo>
                    <a:pt x="708" y="1050"/>
                  </a:lnTo>
                  <a:lnTo>
                    <a:pt x="709" y="1049"/>
                  </a:lnTo>
                  <a:lnTo>
                    <a:pt x="709" y="1046"/>
                  </a:lnTo>
                  <a:lnTo>
                    <a:pt x="711" y="1046"/>
                  </a:lnTo>
                  <a:lnTo>
                    <a:pt x="712" y="1046"/>
                  </a:lnTo>
                  <a:lnTo>
                    <a:pt x="713" y="1045"/>
                  </a:lnTo>
                  <a:lnTo>
                    <a:pt x="714" y="1045"/>
                  </a:lnTo>
                  <a:lnTo>
                    <a:pt x="714" y="1044"/>
                  </a:lnTo>
                  <a:lnTo>
                    <a:pt x="715" y="1043"/>
                  </a:lnTo>
                  <a:lnTo>
                    <a:pt x="717" y="1043"/>
                  </a:lnTo>
                  <a:lnTo>
                    <a:pt x="717" y="1044"/>
                  </a:lnTo>
                  <a:lnTo>
                    <a:pt x="718" y="1044"/>
                  </a:lnTo>
                  <a:lnTo>
                    <a:pt x="719" y="1044"/>
                  </a:lnTo>
                  <a:lnTo>
                    <a:pt x="720" y="1043"/>
                  </a:lnTo>
                  <a:lnTo>
                    <a:pt x="721" y="1041"/>
                  </a:lnTo>
                  <a:lnTo>
                    <a:pt x="724" y="1041"/>
                  </a:lnTo>
                  <a:lnTo>
                    <a:pt x="724" y="1040"/>
                  </a:lnTo>
                  <a:lnTo>
                    <a:pt x="725" y="1040"/>
                  </a:lnTo>
                  <a:lnTo>
                    <a:pt x="726" y="1039"/>
                  </a:lnTo>
                  <a:lnTo>
                    <a:pt x="726" y="1038"/>
                  </a:lnTo>
                  <a:lnTo>
                    <a:pt x="727" y="1037"/>
                  </a:lnTo>
                  <a:lnTo>
                    <a:pt x="729" y="1035"/>
                  </a:lnTo>
                  <a:lnTo>
                    <a:pt x="731" y="1034"/>
                  </a:lnTo>
                  <a:lnTo>
                    <a:pt x="732" y="1033"/>
                  </a:lnTo>
                  <a:lnTo>
                    <a:pt x="733" y="1033"/>
                  </a:lnTo>
                  <a:lnTo>
                    <a:pt x="736" y="1032"/>
                  </a:lnTo>
                  <a:lnTo>
                    <a:pt x="736" y="1031"/>
                  </a:lnTo>
                  <a:lnTo>
                    <a:pt x="736" y="1029"/>
                  </a:lnTo>
                  <a:lnTo>
                    <a:pt x="737" y="1029"/>
                  </a:lnTo>
                  <a:lnTo>
                    <a:pt x="738" y="1027"/>
                  </a:lnTo>
                  <a:lnTo>
                    <a:pt x="739" y="1027"/>
                  </a:lnTo>
                  <a:lnTo>
                    <a:pt x="741" y="1025"/>
                  </a:lnTo>
                  <a:lnTo>
                    <a:pt x="741" y="1023"/>
                  </a:lnTo>
                  <a:lnTo>
                    <a:pt x="741" y="1020"/>
                  </a:lnTo>
                  <a:lnTo>
                    <a:pt x="742" y="1019"/>
                  </a:lnTo>
                  <a:lnTo>
                    <a:pt x="742" y="1017"/>
                  </a:lnTo>
                  <a:lnTo>
                    <a:pt x="743" y="1015"/>
                  </a:lnTo>
                  <a:lnTo>
                    <a:pt x="744" y="1014"/>
                  </a:lnTo>
                  <a:lnTo>
                    <a:pt x="745" y="1013"/>
                  </a:lnTo>
                  <a:lnTo>
                    <a:pt x="745" y="1010"/>
                  </a:lnTo>
                  <a:lnTo>
                    <a:pt x="744" y="1010"/>
                  </a:lnTo>
                  <a:lnTo>
                    <a:pt x="743" y="1010"/>
                  </a:lnTo>
                  <a:lnTo>
                    <a:pt x="741" y="1013"/>
                  </a:lnTo>
                  <a:lnTo>
                    <a:pt x="739" y="1014"/>
                  </a:lnTo>
                  <a:lnTo>
                    <a:pt x="738" y="1014"/>
                  </a:lnTo>
                  <a:lnTo>
                    <a:pt x="737" y="1014"/>
                  </a:lnTo>
                  <a:lnTo>
                    <a:pt x="737" y="1013"/>
                  </a:lnTo>
                  <a:lnTo>
                    <a:pt x="738" y="1011"/>
                  </a:lnTo>
                  <a:lnTo>
                    <a:pt x="739" y="1011"/>
                  </a:lnTo>
                  <a:lnTo>
                    <a:pt x="741" y="1010"/>
                  </a:lnTo>
                  <a:lnTo>
                    <a:pt x="742" y="1010"/>
                  </a:lnTo>
                  <a:lnTo>
                    <a:pt x="743" y="1009"/>
                  </a:lnTo>
                  <a:lnTo>
                    <a:pt x="742" y="1009"/>
                  </a:lnTo>
                  <a:lnTo>
                    <a:pt x="739" y="1007"/>
                  </a:lnTo>
                  <a:lnTo>
                    <a:pt x="738" y="1005"/>
                  </a:lnTo>
                  <a:lnTo>
                    <a:pt x="736" y="1005"/>
                  </a:lnTo>
                  <a:lnTo>
                    <a:pt x="735" y="1003"/>
                  </a:lnTo>
                  <a:lnTo>
                    <a:pt x="736" y="1004"/>
                  </a:lnTo>
                  <a:lnTo>
                    <a:pt x="739" y="1003"/>
                  </a:lnTo>
                  <a:lnTo>
                    <a:pt x="739" y="1002"/>
                  </a:lnTo>
                  <a:lnTo>
                    <a:pt x="741" y="1002"/>
                  </a:lnTo>
                  <a:lnTo>
                    <a:pt x="742" y="1001"/>
                  </a:lnTo>
                  <a:lnTo>
                    <a:pt x="741" y="1001"/>
                  </a:lnTo>
                  <a:lnTo>
                    <a:pt x="738" y="1001"/>
                  </a:lnTo>
                  <a:lnTo>
                    <a:pt x="738" y="999"/>
                  </a:lnTo>
                  <a:lnTo>
                    <a:pt x="739" y="999"/>
                  </a:lnTo>
                  <a:lnTo>
                    <a:pt x="741" y="998"/>
                  </a:lnTo>
                  <a:lnTo>
                    <a:pt x="742" y="998"/>
                  </a:lnTo>
                  <a:lnTo>
                    <a:pt x="742" y="997"/>
                  </a:lnTo>
                  <a:lnTo>
                    <a:pt x="741" y="997"/>
                  </a:lnTo>
                  <a:lnTo>
                    <a:pt x="739" y="997"/>
                  </a:lnTo>
                  <a:lnTo>
                    <a:pt x="739" y="995"/>
                  </a:lnTo>
                  <a:lnTo>
                    <a:pt x="739" y="993"/>
                  </a:lnTo>
                  <a:lnTo>
                    <a:pt x="738" y="993"/>
                  </a:lnTo>
                  <a:lnTo>
                    <a:pt x="737" y="996"/>
                  </a:lnTo>
                  <a:lnTo>
                    <a:pt x="736" y="995"/>
                  </a:lnTo>
                  <a:lnTo>
                    <a:pt x="735" y="993"/>
                  </a:lnTo>
                  <a:lnTo>
                    <a:pt x="733" y="993"/>
                  </a:lnTo>
                  <a:lnTo>
                    <a:pt x="733" y="996"/>
                  </a:lnTo>
                  <a:lnTo>
                    <a:pt x="733" y="999"/>
                  </a:lnTo>
                  <a:lnTo>
                    <a:pt x="732" y="1002"/>
                  </a:lnTo>
                  <a:lnTo>
                    <a:pt x="730" y="1002"/>
                  </a:lnTo>
                  <a:lnTo>
                    <a:pt x="729" y="1005"/>
                  </a:lnTo>
                  <a:lnTo>
                    <a:pt x="726" y="1007"/>
                  </a:lnTo>
                  <a:lnTo>
                    <a:pt x="724" y="1007"/>
                  </a:lnTo>
                  <a:lnTo>
                    <a:pt x="723" y="1008"/>
                  </a:lnTo>
                  <a:lnTo>
                    <a:pt x="721" y="1009"/>
                  </a:lnTo>
                  <a:lnTo>
                    <a:pt x="719" y="1010"/>
                  </a:lnTo>
                  <a:lnTo>
                    <a:pt x="718" y="1010"/>
                  </a:lnTo>
                  <a:lnTo>
                    <a:pt x="715" y="1011"/>
                  </a:lnTo>
                  <a:lnTo>
                    <a:pt x="713" y="1013"/>
                  </a:lnTo>
                  <a:lnTo>
                    <a:pt x="709" y="1013"/>
                  </a:lnTo>
                  <a:lnTo>
                    <a:pt x="708" y="1014"/>
                  </a:lnTo>
                  <a:lnTo>
                    <a:pt x="706" y="1015"/>
                  </a:lnTo>
                  <a:lnTo>
                    <a:pt x="705" y="1014"/>
                  </a:lnTo>
                  <a:lnTo>
                    <a:pt x="706" y="1014"/>
                  </a:lnTo>
                  <a:lnTo>
                    <a:pt x="706" y="1013"/>
                  </a:lnTo>
                  <a:lnTo>
                    <a:pt x="707" y="1011"/>
                  </a:lnTo>
                  <a:lnTo>
                    <a:pt x="707" y="1010"/>
                  </a:lnTo>
                  <a:lnTo>
                    <a:pt x="706" y="1009"/>
                  </a:lnTo>
                  <a:lnTo>
                    <a:pt x="706" y="1007"/>
                  </a:lnTo>
                  <a:lnTo>
                    <a:pt x="705" y="1005"/>
                  </a:lnTo>
                  <a:lnTo>
                    <a:pt x="705" y="1004"/>
                  </a:lnTo>
                  <a:lnTo>
                    <a:pt x="706" y="1005"/>
                  </a:lnTo>
                  <a:lnTo>
                    <a:pt x="707" y="1003"/>
                  </a:lnTo>
                  <a:lnTo>
                    <a:pt x="707" y="1004"/>
                  </a:lnTo>
                  <a:lnTo>
                    <a:pt x="708" y="1003"/>
                  </a:lnTo>
                  <a:lnTo>
                    <a:pt x="708" y="1002"/>
                  </a:lnTo>
                  <a:lnTo>
                    <a:pt x="707" y="1002"/>
                  </a:lnTo>
                  <a:lnTo>
                    <a:pt x="707" y="1001"/>
                  </a:lnTo>
                  <a:lnTo>
                    <a:pt x="707" y="999"/>
                  </a:lnTo>
                  <a:lnTo>
                    <a:pt x="708" y="998"/>
                  </a:lnTo>
                  <a:lnTo>
                    <a:pt x="707" y="997"/>
                  </a:lnTo>
                  <a:lnTo>
                    <a:pt x="705" y="997"/>
                  </a:lnTo>
                  <a:lnTo>
                    <a:pt x="703" y="997"/>
                  </a:lnTo>
                  <a:lnTo>
                    <a:pt x="702" y="997"/>
                  </a:lnTo>
                  <a:lnTo>
                    <a:pt x="701" y="998"/>
                  </a:lnTo>
                  <a:lnTo>
                    <a:pt x="700" y="998"/>
                  </a:lnTo>
                  <a:lnTo>
                    <a:pt x="697" y="999"/>
                  </a:lnTo>
                  <a:lnTo>
                    <a:pt x="696" y="999"/>
                  </a:lnTo>
                  <a:lnTo>
                    <a:pt x="696" y="998"/>
                  </a:lnTo>
                  <a:lnTo>
                    <a:pt x="699" y="997"/>
                  </a:lnTo>
                  <a:lnTo>
                    <a:pt x="699" y="996"/>
                  </a:lnTo>
                  <a:lnTo>
                    <a:pt x="699" y="995"/>
                  </a:lnTo>
                  <a:lnTo>
                    <a:pt x="697" y="993"/>
                  </a:lnTo>
                  <a:lnTo>
                    <a:pt x="697" y="991"/>
                  </a:lnTo>
                  <a:lnTo>
                    <a:pt x="696" y="989"/>
                  </a:lnTo>
                  <a:lnTo>
                    <a:pt x="695" y="987"/>
                  </a:lnTo>
                  <a:lnTo>
                    <a:pt x="694" y="987"/>
                  </a:lnTo>
                  <a:lnTo>
                    <a:pt x="694" y="986"/>
                  </a:lnTo>
                  <a:lnTo>
                    <a:pt x="693" y="987"/>
                  </a:lnTo>
                  <a:lnTo>
                    <a:pt x="693" y="989"/>
                  </a:lnTo>
                  <a:lnTo>
                    <a:pt x="693" y="990"/>
                  </a:lnTo>
                  <a:lnTo>
                    <a:pt x="691" y="992"/>
                  </a:lnTo>
                  <a:lnTo>
                    <a:pt x="690" y="993"/>
                  </a:lnTo>
                  <a:lnTo>
                    <a:pt x="689" y="993"/>
                  </a:lnTo>
                  <a:lnTo>
                    <a:pt x="688" y="993"/>
                  </a:lnTo>
                  <a:lnTo>
                    <a:pt x="688" y="995"/>
                  </a:lnTo>
                  <a:lnTo>
                    <a:pt x="685" y="996"/>
                  </a:lnTo>
                  <a:lnTo>
                    <a:pt x="685" y="997"/>
                  </a:lnTo>
                  <a:lnTo>
                    <a:pt x="686" y="997"/>
                  </a:lnTo>
                  <a:lnTo>
                    <a:pt x="688" y="996"/>
                  </a:lnTo>
                  <a:lnTo>
                    <a:pt x="688" y="997"/>
                  </a:lnTo>
                  <a:lnTo>
                    <a:pt x="688" y="998"/>
                  </a:lnTo>
                  <a:lnTo>
                    <a:pt x="686" y="998"/>
                  </a:lnTo>
                  <a:lnTo>
                    <a:pt x="686" y="999"/>
                  </a:lnTo>
                  <a:lnTo>
                    <a:pt x="686" y="1001"/>
                  </a:lnTo>
                  <a:lnTo>
                    <a:pt x="688" y="1001"/>
                  </a:lnTo>
                  <a:lnTo>
                    <a:pt x="688" y="1002"/>
                  </a:lnTo>
                  <a:lnTo>
                    <a:pt x="686" y="1002"/>
                  </a:lnTo>
                  <a:lnTo>
                    <a:pt x="685" y="1002"/>
                  </a:lnTo>
                  <a:lnTo>
                    <a:pt x="685" y="1003"/>
                  </a:lnTo>
                  <a:lnTo>
                    <a:pt x="685" y="1004"/>
                  </a:lnTo>
                  <a:lnTo>
                    <a:pt x="686" y="1005"/>
                  </a:lnTo>
                  <a:lnTo>
                    <a:pt x="685" y="1007"/>
                  </a:lnTo>
                  <a:lnTo>
                    <a:pt x="683" y="1007"/>
                  </a:lnTo>
                  <a:lnTo>
                    <a:pt x="682" y="1007"/>
                  </a:lnTo>
                  <a:lnTo>
                    <a:pt x="684" y="1008"/>
                  </a:lnTo>
                  <a:lnTo>
                    <a:pt x="685" y="1008"/>
                  </a:lnTo>
                  <a:lnTo>
                    <a:pt x="686" y="1009"/>
                  </a:lnTo>
                  <a:lnTo>
                    <a:pt x="685" y="1011"/>
                  </a:lnTo>
                  <a:lnTo>
                    <a:pt x="684" y="1011"/>
                  </a:lnTo>
                  <a:lnTo>
                    <a:pt x="683" y="1010"/>
                  </a:lnTo>
                  <a:lnTo>
                    <a:pt x="683" y="1011"/>
                  </a:lnTo>
                  <a:lnTo>
                    <a:pt x="682" y="1013"/>
                  </a:lnTo>
                  <a:lnTo>
                    <a:pt x="679" y="1014"/>
                  </a:lnTo>
                  <a:lnTo>
                    <a:pt x="677" y="1014"/>
                  </a:lnTo>
                  <a:lnTo>
                    <a:pt x="674" y="1015"/>
                  </a:lnTo>
                  <a:lnTo>
                    <a:pt x="672" y="1015"/>
                  </a:lnTo>
                  <a:lnTo>
                    <a:pt x="670" y="1015"/>
                  </a:lnTo>
                  <a:lnTo>
                    <a:pt x="665" y="1016"/>
                  </a:lnTo>
                  <a:lnTo>
                    <a:pt x="661" y="1015"/>
                  </a:lnTo>
                  <a:lnTo>
                    <a:pt x="659" y="1014"/>
                  </a:lnTo>
                  <a:lnTo>
                    <a:pt x="656" y="1014"/>
                  </a:lnTo>
                  <a:lnTo>
                    <a:pt x="653" y="1014"/>
                  </a:lnTo>
                  <a:lnTo>
                    <a:pt x="650" y="1013"/>
                  </a:lnTo>
                  <a:lnTo>
                    <a:pt x="648" y="1010"/>
                  </a:lnTo>
                  <a:lnTo>
                    <a:pt x="648" y="1009"/>
                  </a:lnTo>
                  <a:lnTo>
                    <a:pt x="648" y="1008"/>
                  </a:lnTo>
                  <a:lnTo>
                    <a:pt x="650" y="1008"/>
                  </a:lnTo>
                  <a:lnTo>
                    <a:pt x="650" y="1004"/>
                  </a:lnTo>
                  <a:lnTo>
                    <a:pt x="652" y="1005"/>
                  </a:lnTo>
                  <a:lnTo>
                    <a:pt x="652" y="1008"/>
                  </a:lnTo>
                  <a:lnTo>
                    <a:pt x="653" y="1009"/>
                  </a:lnTo>
                  <a:lnTo>
                    <a:pt x="655" y="1011"/>
                  </a:lnTo>
                  <a:lnTo>
                    <a:pt x="656" y="1013"/>
                  </a:lnTo>
                  <a:lnTo>
                    <a:pt x="658" y="1013"/>
                  </a:lnTo>
                  <a:lnTo>
                    <a:pt x="658" y="1010"/>
                  </a:lnTo>
                  <a:lnTo>
                    <a:pt x="655" y="1008"/>
                  </a:lnTo>
                  <a:lnTo>
                    <a:pt x="653" y="1005"/>
                  </a:lnTo>
                  <a:lnTo>
                    <a:pt x="653" y="1003"/>
                  </a:lnTo>
                  <a:lnTo>
                    <a:pt x="652" y="1001"/>
                  </a:lnTo>
                  <a:lnTo>
                    <a:pt x="653" y="1001"/>
                  </a:lnTo>
                  <a:lnTo>
                    <a:pt x="654" y="1002"/>
                  </a:lnTo>
                  <a:lnTo>
                    <a:pt x="654" y="1003"/>
                  </a:lnTo>
                  <a:lnTo>
                    <a:pt x="655" y="1003"/>
                  </a:lnTo>
                  <a:lnTo>
                    <a:pt x="655" y="1002"/>
                  </a:lnTo>
                  <a:lnTo>
                    <a:pt x="656" y="1001"/>
                  </a:lnTo>
                  <a:lnTo>
                    <a:pt x="658" y="1002"/>
                  </a:lnTo>
                  <a:lnTo>
                    <a:pt x="659" y="1003"/>
                  </a:lnTo>
                  <a:lnTo>
                    <a:pt x="660" y="1001"/>
                  </a:lnTo>
                  <a:lnTo>
                    <a:pt x="660" y="999"/>
                  </a:lnTo>
                  <a:lnTo>
                    <a:pt x="659" y="997"/>
                  </a:lnTo>
                  <a:lnTo>
                    <a:pt x="656" y="995"/>
                  </a:lnTo>
                  <a:lnTo>
                    <a:pt x="655" y="993"/>
                  </a:lnTo>
                  <a:lnTo>
                    <a:pt x="656" y="991"/>
                  </a:lnTo>
                  <a:lnTo>
                    <a:pt x="656" y="992"/>
                  </a:lnTo>
                  <a:lnTo>
                    <a:pt x="658" y="993"/>
                  </a:lnTo>
                  <a:lnTo>
                    <a:pt x="659" y="995"/>
                  </a:lnTo>
                  <a:lnTo>
                    <a:pt x="660" y="996"/>
                  </a:lnTo>
                  <a:lnTo>
                    <a:pt x="661" y="995"/>
                  </a:lnTo>
                  <a:lnTo>
                    <a:pt x="661" y="993"/>
                  </a:lnTo>
                  <a:lnTo>
                    <a:pt x="662" y="993"/>
                  </a:lnTo>
                  <a:lnTo>
                    <a:pt x="664" y="995"/>
                  </a:lnTo>
                  <a:lnTo>
                    <a:pt x="665" y="996"/>
                  </a:lnTo>
                  <a:lnTo>
                    <a:pt x="666" y="995"/>
                  </a:lnTo>
                  <a:lnTo>
                    <a:pt x="666" y="993"/>
                  </a:lnTo>
                  <a:lnTo>
                    <a:pt x="667" y="992"/>
                  </a:lnTo>
                  <a:lnTo>
                    <a:pt x="667" y="990"/>
                  </a:lnTo>
                  <a:lnTo>
                    <a:pt x="666" y="987"/>
                  </a:lnTo>
                  <a:lnTo>
                    <a:pt x="665" y="986"/>
                  </a:lnTo>
                  <a:lnTo>
                    <a:pt x="665" y="984"/>
                  </a:lnTo>
                  <a:lnTo>
                    <a:pt x="666" y="984"/>
                  </a:lnTo>
                  <a:lnTo>
                    <a:pt x="667" y="985"/>
                  </a:lnTo>
                  <a:lnTo>
                    <a:pt x="670" y="984"/>
                  </a:lnTo>
                  <a:lnTo>
                    <a:pt x="672" y="985"/>
                  </a:lnTo>
                  <a:lnTo>
                    <a:pt x="674" y="986"/>
                  </a:lnTo>
                  <a:lnTo>
                    <a:pt x="676" y="985"/>
                  </a:lnTo>
                  <a:lnTo>
                    <a:pt x="677" y="984"/>
                  </a:lnTo>
                  <a:lnTo>
                    <a:pt x="678" y="984"/>
                  </a:lnTo>
                  <a:lnTo>
                    <a:pt x="678" y="983"/>
                  </a:lnTo>
                  <a:lnTo>
                    <a:pt x="676" y="981"/>
                  </a:lnTo>
                  <a:lnTo>
                    <a:pt x="673" y="981"/>
                  </a:lnTo>
                  <a:lnTo>
                    <a:pt x="671" y="980"/>
                  </a:lnTo>
                  <a:lnTo>
                    <a:pt x="668" y="979"/>
                  </a:lnTo>
                  <a:lnTo>
                    <a:pt x="667" y="977"/>
                  </a:lnTo>
                  <a:lnTo>
                    <a:pt x="667" y="975"/>
                  </a:lnTo>
                  <a:lnTo>
                    <a:pt x="666" y="975"/>
                  </a:lnTo>
                  <a:lnTo>
                    <a:pt x="666" y="974"/>
                  </a:lnTo>
                  <a:lnTo>
                    <a:pt x="667" y="974"/>
                  </a:lnTo>
                  <a:lnTo>
                    <a:pt x="668" y="975"/>
                  </a:lnTo>
                  <a:lnTo>
                    <a:pt x="671" y="977"/>
                  </a:lnTo>
                  <a:lnTo>
                    <a:pt x="672" y="977"/>
                  </a:lnTo>
                  <a:lnTo>
                    <a:pt x="673" y="979"/>
                  </a:lnTo>
                  <a:lnTo>
                    <a:pt x="674" y="979"/>
                  </a:lnTo>
                  <a:lnTo>
                    <a:pt x="676" y="978"/>
                  </a:lnTo>
                  <a:lnTo>
                    <a:pt x="676" y="977"/>
                  </a:lnTo>
                  <a:lnTo>
                    <a:pt x="674" y="975"/>
                  </a:lnTo>
                  <a:lnTo>
                    <a:pt x="673" y="974"/>
                  </a:lnTo>
                  <a:lnTo>
                    <a:pt x="670" y="973"/>
                  </a:lnTo>
                  <a:lnTo>
                    <a:pt x="668" y="972"/>
                  </a:lnTo>
                  <a:lnTo>
                    <a:pt x="667" y="972"/>
                  </a:lnTo>
                  <a:lnTo>
                    <a:pt x="665" y="971"/>
                  </a:lnTo>
                  <a:lnTo>
                    <a:pt x="664" y="969"/>
                  </a:lnTo>
                  <a:lnTo>
                    <a:pt x="664" y="968"/>
                  </a:lnTo>
                  <a:lnTo>
                    <a:pt x="665" y="969"/>
                  </a:lnTo>
                  <a:lnTo>
                    <a:pt x="666" y="969"/>
                  </a:lnTo>
                  <a:lnTo>
                    <a:pt x="667" y="971"/>
                  </a:lnTo>
                  <a:lnTo>
                    <a:pt x="668" y="972"/>
                  </a:lnTo>
                  <a:lnTo>
                    <a:pt x="670" y="971"/>
                  </a:lnTo>
                  <a:lnTo>
                    <a:pt x="672" y="971"/>
                  </a:lnTo>
                  <a:lnTo>
                    <a:pt x="674" y="971"/>
                  </a:lnTo>
                  <a:lnTo>
                    <a:pt x="673" y="968"/>
                  </a:lnTo>
                  <a:lnTo>
                    <a:pt x="672" y="967"/>
                  </a:lnTo>
                  <a:lnTo>
                    <a:pt x="673" y="965"/>
                  </a:lnTo>
                  <a:lnTo>
                    <a:pt x="676" y="966"/>
                  </a:lnTo>
                  <a:lnTo>
                    <a:pt x="674" y="965"/>
                  </a:lnTo>
                  <a:lnTo>
                    <a:pt x="673" y="962"/>
                  </a:lnTo>
                  <a:lnTo>
                    <a:pt x="676" y="961"/>
                  </a:lnTo>
                  <a:lnTo>
                    <a:pt x="677" y="960"/>
                  </a:lnTo>
                  <a:lnTo>
                    <a:pt x="677" y="959"/>
                  </a:lnTo>
                  <a:lnTo>
                    <a:pt x="673" y="959"/>
                  </a:lnTo>
                  <a:lnTo>
                    <a:pt x="672" y="959"/>
                  </a:lnTo>
                  <a:lnTo>
                    <a:pt x="670" y="957"/>
                  </a:lnTo>
                  <a:lnTo>
                    <a:pt x="665" y="952"/>
                  </a:lnTo>
                  <a:lnTo>
                    <a:pt x="661" y="950"/>
                  </a:lnTo>
                  <a:lnTo>
                    <a:pt x="660" y="948"/>
                  </a:lnTo>
                  <a:lnTo>
                    <a:pt x="661" y="943"/>
                  </a:lnTo>
                  <a:lnTo>
                    <a:pt x="661" y="939"/>
                  </a:lnTo>
                  <a:lnTo>
                    <a:pt x="662" y="939"/>
                  </a:lnTo>
                  <a:lnTo>
                    <a:pt x="664" y="944"/>
                  </a:lnTo>
                  <a:lnTo>
                    <a:pt x="664" y="949"/>
                  </a:lnTo>
                  <a:lnTo>
                    <a:pt x="665" y="948"/>
                  </a:lnTo>
                  <a:lnTo>
                    <a:pt x="665" y="946"/>
                  </a:lnTo>
                  <a:lnTo>
                    <a:pt x="666" y="948"/>
                  </a:lnTo>
                  <a:lnTo>
                    <a:pt x="667" y="945"/>
                  </a:lnTo>
                  <a:lnTo>
                    <a:pt x="667" y="942"/>
                  </a:lnTo>
                  <a:lnTo>
                    <a:pt x="668" y="940"/>
                  </a:lnTo>
                  <a:lnTo>
                    <a:pt x="670" y="942"/>
                  </a:lnTo>
                  <a:lnTo>
                    <a:pt x="668" y="948"/>
                  </a:lnTo>
                  <a:lnTo>
                    <a:pt x="670" y="949"/>
                  </a:lnTo>
                  <a:lnTo>
                    <a:pt x="671" y="951"/>
                  </a:lnTo>
                  <a:lnTo>
                    <a:pt x="674" y="952"/>
                  </a:lnTo>
                  <a:lnTo>
                    <a:pt x="674" y="950"/>
                  </a:lnTo>
                  <a:lnTo>
                    <a:pt x="673" y="946"/>
                  </a:lnTo>
                  <a:lnTo>
                    <a:pt x="672" y="944"/>
                  </a:lnTo>
                  <a:lnTo>
                    <a:pt x="671" y="940"/>
                  </a:lnTo>
                  <a:lnTo>
                    <a:pt x="667" y="938"/>
                  </a:lnTo>
                  <a:lnTo>
                    <a:pt x="666" y="936"/>
                  </a:lnTo>
                  <a:lnTo>
                    <a:pt x="666" y="934"/>
                  </a:lnTo>
                  <a:lnTo>
                    <a:pt x="668" y="937"/>
                  </a:lnTo>
                  <a:lnTo>
                    <a:pt x="668" y="933"/>
                  </a:lnTo>
                  <a:lnTo>
                    <a:pt x="668" y="932"/>
                  </a:lnTo>
                  <a:lnTo>
                    <a:pt x="670" y="932"/>
                  </a:lnTo>
                  <a:lnTo>
                    <a:pt x="671" y="936"/>
                  </a:lnTo>
                  <a:lnTo>
                    <a:pt x="671" y="938"/>
                  </a:lnTo>
                  <a:lnTo>
                    <a:pt x="672" y="940"/>
                  </a:lnTo>
                  <a:lnTo>
                    <a:pt x="672" y="942"/>
                  </a:lnTo>
                  <a:lnTo>
                    <a:pt x="673" y="943"/>
                  </a:lnTo>
                  <a:lnTo>
                    <a:pt x="674" y="944"/>
                  </a:lnTo>
                  <a:lnTo>
                    <a:pt x="676" y="940"/>
                  </a:lnTo>
                  <a:lnTo>
                    <a:pt x="676" y="937"/>
                  </a:lnTo>
                  <a:lnTo>
                    <a:pt x="677" y="936"/>
                  </a:lnTo>
                  <a:lnTo>
                    <a:pt x="677" y="934"/>
                  </a:lnTo>
                  <a:lnTo>
                    <a:pt x="674" y="933"/>
                  </a:lnTo>
                  <a:lnTo>
                    <a:pt x="674" y="932"/>
                  </a:lnTo>
                  <a:lnTo>
                    <a:pt x="674" y="928"/>
                  </a:lnTo>
                  <a:lnTo>
                    <a:pt x="674" y="930"/>
                  </a:lnTo>
                  <a:lnTo>
                    <a:pt x="676" y="932"/>
                  </a:lnTo>
                  <a:lnTo>
                    <a:pt x="677" y="933"/>
                  </a:lnTo>
                  <a:lnTo>
                    <a:pt x="679" y="934"/>
                  </a:lnTo>
                  <a:lnTo>
                    <a:pt x="680" y="936"/>
                  </a:lnTo>
                  <a:lnTo>
                    <a:pt x="682" y="938"/>
                  </a:lnTo>
                  <a:lnTo>
                    <a:pt x="683" y="939"/>
                  </a:lnTo>
                  <a:lnTo>
                    <a:pt x="684" y="938"/>
                  </a:lnTo>
                  <a:lnTo>
                    <a:pt x="684" y="942"/>
                  </a:lnTo>
                  <a:lnTo>
                    <a:pt x="685" y="942"/>
                  </a:lnTo>
                  <a:lnTo>
                    <a:pt x="686" y="939"/>
                  </a:lnTo>
                  <a:lnTo>
                    <a:pt x="688" y="938"/>
                  </a:lnTo>
                  <a:lnTo>
                    <a:pt x="688" y="936"/>
                  </a:lnTo>
                  <a:lnTo>
                    <a:pt x="688" y="934"/>
                  </a:lnTo>
                  <a:lnTo>
                    <a:pt x="689" y="936"/>
                  </a:lnTo>
                  <a:lnTo>
                    <a:pt x="690" y="943"/>
                  </a:lnTo>
                  <a:lnTo>
                    <a:pt x="690" y="945"/>
                  </a:lnTo>
                  <a:lnTo>
                    <a:pt x="691" y="945"/>
                  </a:lnTo>
                  <a:lnTo>
                    <a:pt x="691" y="944"/>
                  </a:lnTo>
                  <a:lnTo>
                    <a:pt x="691" y="940"/>
                  </a:lnTo>
                  <a:lnTo>
                    <a:pt x="693" y="939"/>
                  </a:lnTo>
                  <a:lnTo>
                    <a:pt x="694" y="936"/>
                  </a:lnTo>
                  <a:lnTo>
                    <a:pt x="695" y="936"/>
                  </a:lnTo>
                  <a:lnTo>
                    <a:pt x="696" y="942"/>
                  </a:lnTo>
                  <a:lnTo>
                    <a:pt x="697" y="940"/>
                  </a:lnTo>
                  <a:lnTo>
                    <a:pt x="699" y="939"/>
                  </a:lnTo>
                  <a:lnTo>
                    <a:pt x="699" y="942"/>
                  </a:lnTo>
                  <a:lnTo>
                    <a:pt x="701" y="943"/>
                  </a:lnTo>
                  <a:lnTo>
                    <a:pt x="701" y="940"/>
                  </a:lnTo>
                  <a:lnTo>
                    <a:pt x="701" y="937"/>
                  </a:lnTo>
                  <a:lnTo>
                    <a:pt x="702" y="934"/>
                  </a:lnTo>
                  <a:lnTo>
                    <a:pt x="705" y="933"/>
                  </a:lnTo>
                  <a:lnTo>
                    <a:pt x="703" y="932"/>
                  </a:lnTo>
                  <a:lnTo>
                    <a:pt x="702" y="930"/>
                  </a:lnTo>
                  <a:lnTo>
                    <a:pt x="700" y="927"/>
                  </a:lnTo>
                  <a:lnTo>
                    <a:pt x="701" y="926"/>
                  </a:lnTo>
                  <a:lnTo>
                    <a:pt x="705" y="926"/>
                  </a:lnTo>
                  <a:lnTo>
                    <a:pt x="706" y="925"/>
                  </a:lnTo>
                  <a:lnTo>
                    <a:pt x="707" y="926"/>
                  </a:lnTo>
                  <a:lnTo>
                    <a:pt x="707" y="930"/>
                  </a:lnTo>
                  <a:lnTo>
                    <a:pt x="709" y="931"/>
                  </a:lnTo>
                  <a:lnTo>
                    <a:pt x="711" y="928"/>
                  </a:lnTo>
                  <a:lnTo>
                    <a:pt x="711" y="927"/>
                  </a:lnTo>
                  <a:lnTo>
                    <a:pt x="713" y="930"/>
                  </a:lnTo>
                  <a:lnTo>
                    <a:pt x="719" y="933"/>
                  </a:lnTo>
                  <a:lnTo>
                    <a:pt x="720" y="932"/>
                  </a:lnTo>
                  <a:lnTo>
                    <a:pt x="719" y="930"/>
                  </a:lnTo>
                  <a:lnTo>
                    <a:pt x="717" y="927"/>
                  </a:lnTo>
                  <a:lnTo>
                    <a:pt x="715" y="926"/>
                  </a:lnTo>
                  <a:lnTo>
                    <a:pt x="709" y="924"/>
                  </a:lnTo>
                  <a:lnTo>
                    <a:pt x="707" y="921"/>
                  </a:lnTo>
                  <a:lnTo>
                    <a:pt x="705" y="919"/>
                  </a:lnTo>
                  <a:lnTo>
                    <a:pt x="702" y="916"/>
                  </a:lnTo>
                  <a:lnTo>
                    <a:pt x="702" y="914"/>
                  </a:lnTo>
                  <a:lnTo>
                    <a:pt x="702" y="913"/>
                  </a:lnTo>
                  <a:lnTo>
                    <a:pt x="703" y="913"/>
                  </a:lnTo>
                  <a:lnTo>
                    <a:pt x="705" y="915"/>
                  </a:lnTo>
                  <a:lnTo>
                    <a:pt x="706" y="918"/>
                  </a:lnTo>
                  <a:lnTo>
                    <a:pt x="708" y="919"/>
                  </a:lnTo>
                  <a:lnTo>
                    <a:pt x="709" y="919"/>
                  </a:lnTo>
                  <a:lnTo>
                    <a:pt x="711" y="919"/>
                  </a:lnTo>
                  <a:lnTo>
                    <a:pt x="712" y="920"/>
                  </a:lnTo>
                  <a:lnTo>
                    <a:pt x="712" y="918"/>
                  </a:lnTo>
                  <a:lnTo>
                    <a:pt x="712" y="914"/>
                  </a:lnTo>
                  <a:lnTo>
                    <a:pt x="712" y="912"/>
                  </a:lnTo>
                  <a:lnTo>
                    <a:pt x="713" y="914"/>
                  </a:lnTo>
                  <a:lnTo>
                    <a:pt x="713" y="916"/>
                  </a:lnTo>
                  <a:lnTo>
                    <a:pt x="713" y="920"/>
                  </a:lnTo>
                  <a:lnTo>
                    <a:pt x="714" y="920"/>
                  </a:lnTo>
                  <a:lnTo>
                    <a:pt x="714" y="922"/>
                  </a:lnTo>
                  <a:lnTo>
                    <a:pt x="715" y="925"/>
                  </a:lnTo>
                  <a:lnTo>
                    <a:pt x="717" y="925"/>
                  </a:lnTo>
                  <a:lnTo>
                    <a:pt x="717" y="924"/>
                  </a:lnTo>
                  <a:lnTo>
                    <a:pt x="718" y="922"/>
                  </a:lnTo>
                  <a:lnTo>
                    <a:pt x="717" y="921"/>
                  </a:lnTo>
                  <a:lnTo>
                    <a:pt x="717" y="919"/>
                  </a:lnTo>
                  <a:lnTo>
                    <a:pt x="717" y="916"/>
                  </a:lnTo>
                  <a:lnTo>
                    <a:pt x="718" y="915"/>
                  </a:lnTo>
                  <a:lnTo>
                    <a:pt x="718" y="919"/>
                  </a:lnTo>
                  <a:lnTo>
                    <a:pt x="719" y="920"/>
                  </a:lnTo>
                  <a:lnTo>
                    <a:pt x="719" y="921"/>
                  </a:lnTo>
                  <a:lnTo>
                    <a:pt x="720" y="925"/>
                  </a:lnTo>
                  <a:lnTo>
                    <a:pt x="721" y="924"/>
                  </a:lnTo>
                  <a:lnTo>
                    <a:pt x="721" y="921"/>
                  </a:lnTo>
                  <a:lnTo>
                    <a:pt x="721" y="919"/>
                  </a:lnTo>
                  <a:lnTo>
                    <a:pt x="721" y="915"/>
                  </a:lnTo>
                  <a:lnTo>
                    <a:pt x="721" y="912"/>
                  </a:lnTo>
                  <a:lnTo>
                    <a:pt x="723" y="915"/>
                  </a:lnTo>
                  <a:lnTo>
                    <a:pt x="725" y="916"/>
                  </a:lnTo>
                  <a:lnTo>
                    <a:pt x="726" y="919"/>
                  </a:lnTo>
                  <a:lnTo>
                    <a:pt x="726" y="924"/>
                  </a:lnTo>
                  <a:lnTo>
                    <a:pt x="726" y="925"/>
                  </a:lnTo>
                  <a:lnTo>
                    <a:pt x="727" y="924"/>
                  </a:lnTo>
                  <a:lnTo>
                    <a:pt x="729" y="921"/>
                  </a:lnTo>
                  <a:lnTo>
                    <a:pt x="730" y="919"/>
                  </a:lnTo>
                  <a:lnTo>
                    <a:pt x="730" y="915"/>
                  </a:lnTo>
                  <a:lnTo>
                    <a:pt x="729" y="913"/>
                  </a:lnTo>
                  <a:lnTo>
                    <a:pt x="730" y="908"/>
                  </a:lnTo>
                  <a:lnTo>
                    <a:pt x="729" y="908"/>
                  </a:lnTo>
                  <a:lnTo>
                    <a:pt x="729" y="906"/>
                  </a:lnTo>
                  <a:lnTo>
                    <a:pt x="730" y="906"/>
                  </a:lnTo>
                  <a:lnTo>
                    <a:pt x="731" y="908"/>
                  </a:lnTo>
                  <a:lnTo>
                    <a:pt x="731" y="910"/>
                  </a:lnTo>
                  <a:lnTo>
                    <a:pt x="732" y="914"/>
                  </a:lnTo>
                  <a:lnTo>
                    <a:pt x="733" y="914"/>
                  </a:lnTo>
                  <a:lnTo>
                    <a:pt x="736" y="913"/>
                  </a:lnTo>
                  <a:lnTo>
                    <a:pt x="736" y="909"/>
                  </a:lnTo>
                  <a:lnTo>
                    <a:pt x="736" y="906"/>
                  </a:lnTo>
                  <a:lnTo>
                    <a:pt x="736" y="903"/>
                  </a:lnTo>
                  <a:lnTo>
                    <a:pt x="738" y="901"/>
                  </a:lnTo>
                  <a:lnTo>
                    <a:pt x="738" y="904"/>
                  </a:lnTo>
                  <a:lnTo>
                    <a:pt x="741" y="910"/>
                  </a:lnTo>
                  <a:lnTo>
                    <a:pt x="742" y="913"/>
                  </a:lnTo>
                  <a:lnTo>
                    <a:pt x="744" y="910"/>
                  </a:lnTo>
                  <a:lnTo>
                    <a:pt x="745" y="908"/>
                  </a:lnTo>
                  <a:lnTo>
                    <a:pt x="747" y="908"/>
                  </a:lnTo>
                  <a:lnTo>
                    <a:pt x="747" y="910"/>
                  </a:lnTo>
                  <a:lnTo>
                    <a:pt x="745" y="914"/>
                  </a:lnTo>
                  <a:lnTo>
                    <a:pt x="747" y="919"/>
                  </a:lnTo>
                  <a:lnTo>
                    <a:pt x="748" y="920"/>
                  </a:lnTo>
                  <a:lnTo>
                    <a:pt x="748" y="918"/>
                  </a:lnTo>
                  <a:lnTo>
                    <a:pt x="749" y="914"/>
                  </a:lnTo>
                  <a:lnTo>
                    <a:pt x="750" y="916"/>
                  </a:lnTo>
                  <a:lnTo>
                    <a:pt x="752" y="916"/>
                  </a:lnTo>
                  <a:lnTo>
                    <a:pt x="754" y="915"/>
                  </a:lnTo>
                  <a:lnTo>
                    <a:pt x="753" y="910"/>
                  </a:lnTo>
                  <a:lnTo>
                    <a:pt x="755" y="908"/>
                  </a:lnTo>
                  <a:lnTo>
                    <a:pt x="758" y="908"/>
                  </a:lnTo>
                  <a:lnTo>
                    <a:pt x="759" y="909"/>
                  </a:lnTo>
                  <a:lnTo>
                    <a:pt x="761" y="908"/>
                  </a:lnTo>
                  <a:lnTo>
                    <a:pt x="759" y="906"/>
                  </a:lnTo>
                  <a:lnTo>
                    <a:pt x="756" y="903"/>
                  </a:lnTo>
                  <a:lnTo>
                    <a:pt x="755" y="902"/>
                  </a:lnTo>
                  <a:lnTo>
                    <a:pt x="750" y="898"/>
                  </a:lnTo>
                  <a:lnTo>
                    <a:pt x="743" y="894"/>
                  </a:lnTo>
                  <a:lnTo>
                    <a:pt x="737" y="890"/>
                  </a:lnTo>
                  <a:lnTo>
                    <a:pt x="729" y="889"/>
                  </a:lnTo>
                  <a:lnTo>
                    <a:pt x="724" y="889"/>
                  </a:lnTo>
                  <a:lnTo>
                    <a:pt x="720" y="890"/>
                  </a:lnTo>
                  <a:lnTo>
                    <a:pt x="718" y="890"/>
                  </a:lnTo>
                  <a:lnTo>
                    <a:pt x="717" y="890"/>
                  </a:lnTo>
                  <a:lnTo>
                    <a:pt x="714" y="890"/>
                  </a:lnTo>
                  <a:lnTo>
                    <a:pt x="713" y="890"/>
                  </a:lnTo>
                  <a:lnTo>
                    <a:pt x="708" y="888"/>
                  </a:lnTo>
                  <a:lnTo>
                    <a:pt x="705" y="886"/>
                  </a:lnTo>
                  <a:lnTo>
                    <a:pt x="700" y="884"/>
                  </a:lnTo>
                  <a:lnTo>
                    <a:pt x="700" y="883"/>
                  </a:lnTo>
                  <a:lnTo>
                    <a:pt x="702" y="882"/>
                  </a:lnTo>
                  <a:lnTo>
                    <a:pt x="703" y="882"/>
                  </a:lnTo>
                  <a:lnTo>
                    <a:pt x="709" y="884"/>
                  </a:lnTo>
                  <a:lnTo>
                    <a:pt x="711" y="883"/>
                  </a:lnTo>
                  <a:lnTo>
                    <a:pt x="707" y="882"/>
                  </a:lnTo>
                  <a:lnTo>
                    <a:pt x="705" y="880"/>
                  </a:lnTo>
                  <a:lnTo>
                    <a:pt x="709" y="877"/>
                  </a:lnTo>
                  <a:lnTo>
                    <a:pt x="708" y="877"/>
                  </a:lnTo>
                  <a:lnTo>
                    <a:pt x="703" y="878"/>
                  </a:lnTo>
                  <a:lnTo>
                    <a:pt x="702" y="877"/>
                  </a:lnTo>
                  <a:lnTo>
                    <a:pt x="701" y="878"/>
                  </a:lnTo>
                  <a:lnTo>
                    <a:pt x="701" y="879"/>
                  </a:lnTo>
                  <a:lnTo>
                    <a:pt x="699" y="880"/>
                  </a:lnTo>
                  <a:lnTo>
                    <a:pt x="696" y="883"/>
                  </a:lnTo>
                  <a:lnTo>
                    <a:pt x="694" y="882"/>
                  </a:lnTo>
                  <a:lnTo>
                    <a:pt x="691" y="884"/>
                  </a:lnTo>
                  <a:lnTo>
                    <a:pt x="690" y="886"/>
                  </a:lnTo>
                  <a:lnTo>
                    <a:pt x="685" y="884"/>
                  </a:lnTo>
                  <a:lnTo>
                    <a:pt x="678" y="880"/>
                  </a:lnTo>
                  <a:lnTo>
                    <a:pt x="671" y="877"/>
                  </a:lnTo>
                  <a:lnTo>
                    <a:pt x="670" y="878"/>
                  </a:lnTo>
                  <a:lnTo>
                    <a:pt x="667" y="878"/>
                  </a:lnTo>
                  <a:lnTo>
                    <a:pt x="666" y="876"/>
                  </a:lnTo>
                  <a:lnTo>
                    <a:pt x="668" y="874"/>
                  </a:lnTo>
                  <a:lnTo>
                    <a:pt x="668" y="873"/>
                  </a:lnTo>
                  <a:lnTo>
                    <a:pt x="668" y="870"/>
                  </a:lnTo>
                  <a:lnTo>
                    <a:pt x="668" y="867"/>
                  </a:lnTo>
                  <a:lnTo>
                    <a:pt x="670" y="866"/>
                  </a:lnTo>
                  <a:lnTo>
                    <a:pt x="670" y="867"/>
                  </a:lnTo>
                  <a:lnTo>
                    <a:pt x="671" y="871"/>
                  </a:lnTo>
                  <a:lnTo>
                    <a:pt x="673" y="872"/>
                  </a:lnTo>
                  <a:lnTo>
                    <a:pt x="673" y="868"/>
                  </a:lnTo>
                  <a:lnTo>
                    <a:pt x="673" y="866"/>
                  </a:lnTo>
                  <a:lnTo>
                    <a:pt x="674" y="866"/>
                  </a:lnTo>
                  <a:lnTo>
                    <a:pt x="676" y="867"/>
                  </a:lnTo>
                  <a:lnTo>
                    <a:pt x="678" y="867"/>
                  </a:lnTo>
                  <a:lnTo>
                    <a:pt x="679" y="867"/>
                  </a:lnTo>
                  <a:lnTo>
                    <a:pt x="679" y="866"/>
                  </a:lnTo>
                  <a:lnTo>
                    <a:pt x="680" y="866"/>
                  </a:lnTo>
                  <a:lnTo>
                    <a:pt x="682" y="866"/>
                  </a:lnTo>
                  <a:lnTo>
                    <a:pt x="683" y="864"/>
                  </a:lnTo>
                  <a:lnTo>
                    <a:pt x="684" y="862"/>
                  </a:lnTo>
                  <a:lnTo>
                    <a:pt x="688" y="861"/>
                  </a:lnTo>
                  <a:lnTo>
                    <a:pt x="693" y="859"/>
                  </a:lnTo>
                  <a:lnTo>
                    <a:pt x="693" y="856"/>
                  </a:lnTo>
                  <a:lnTo>
                    <a:pt x="694" y="854"/>
                  </a:lnTo>
                  <a:lnTo>
                    <a:pt x="695" y="854"/>
                  </a:lnTo>
                  <a:lnTo>
                    <a:pt x="697" y="855"/>
                  </a:lnTo>
                  <a:lnTo>
                    <a:pt x="699" y="853"/>
                  </a:lnTo>
                  <a:lnTo>
                    <a:pt x="697" y="850"/>
                  </a:lnTo>
                  <a:lnTo>
                    <a:pt x="696" y="847"/>
                  </a:lnTo>
                  <a:lnTo>
                    <a:pt x="699" y="847"/>
                  </a:lnTo>
                  <a:lnTo>
                    <a:pt x="700" y="847"/>
                  </a:lnTo>
                  <a:lnTo>
                    <a:pt x="701" y="852"/>
                  </a:lnTo>
                  <a:lnTo>
                    <a:pt x="701" y="854"/>
                  </a:lnTo>
                  <a:lnTo>
                    <a:pt x="702" y="855"/>
                  </a:lnTo>
                  <a:lnTo>
                    <a:pt x="703" y="854"/>
                  </a:lnTo>
                  <a:lnTo>
                    <a:pt x="703" y="849"/>
                  </a:lnTo>
                  <a:lnTo>
                    <a:pt x="703" y="847"/>
                  </a:lnTo>
                  <a:lnTo>
                    <a:pt x="705" y="847"/>
                  </a:lnTo>
                  <a:lnTo>
                    <a:pt x="706" y="848"/>
                  </a:lnTo>
                  <a:lnTo>
                    <a:pt x="706" y="853"/>
                  </a:lnTo>
                  <a:lnTo>
                    <a:pt x="705" y="856"/>
                  </a:lnTo>
                  <a:lnTo>
                    <a:pt x="706" y="860"/>
                  </a:lnTo>
                  <a:lnTo>
                    <a:pt x="707" y="856"/>
                  </a:lnTo>
                  <a:lnTo>
                    <a:pt x="707" y="854"/>
                  </a:lnTo>
                  <a:lnTo>
                    <a:pt x="708" y="852"/>
                  </a:lnTo>
                  <a:lnTo>
                    <a:pt x="709" y="849"/>
                  </a:lnTo>
                  <a:lnTo>
                    <a:pt x="708" y="847"/>
                  </a:lnTo>
                  <a:lnTo>
                    <a:pt x="706" y="844"/>
                  </a:lnTo>
                  <a:lnTo>
                    <a:pt x="708" y="842"/>
                  </a:lnTo>
                  <a:lnTo>
                    <a:pt x="708" y="839"/>
                  </a:lnTo>
                  <a:lnTo>
                    <a:pt x="709" y="837"/>
                  </a:lnTo>
                  <a:lnTo>
                    <a:pt x="712" y="839"/>
                  </a:lnTo>
                  <a:lnTo>
                    <a:pt x="713" y="841"/>
                  </a:lnTo>
                  <a:lnTo>
                    <a:pt x="713" y="838"/>
                  </a:lnTo>
                  <a:lnTo>
                    <a:pt x="713" y="837"/>
                  </a:lnTo>
                  <a:lnTo>
                    <a:pt x="714" y="835"/>
                  </a:lnTo>
                  <a:lnTo>
                    <a:pt x="714" y="832"/>
                  </a:lnTo>
                  <a:lnTo>
                    <a:pt x="714" y="830"/>
                  </a:lnTo>
                  <a:lnTo>
                    <a:pt x="712" y="826"/>
                  </a:lnTo>
                  <a:lnTo>
                    <a:pt x="713" y="825"/>
                  </a:lnTo>
                  <a:lnTo>
                    <a:pt x="714" y="825"/>
                  </a:lnTo>
                  <a:lnTo>
                    <a:pt x="718" y="826"/>
                  </a:lnTo>
                  <a:lnTo>
                    <a:pt x="718" y="830"/>
                  </a:lnTo>
                  <a:lnTo>
                    <a:pt x="717" y="832"/>
                  </a:lnTo>
                  <a:lnTo>
                    <a:pt x="717" y="836"/>
                  </a:lnTo>
                  <a:lnTo>
                    <a:pt x="717" y="841"/>
                  </a:lnTo>
                  <a:lnTo>
                    <a:pt x="717" y="843"/>
                  </a:lnTo>
                  <a:lnTo>
                    <a:pt x="718" y="843"/>
                  </a:lnTo>
                  <a:lnTo>
                    <a:pt x="718" y="839"/>
                  </a:lnTo>
                  <a:lnTo>
                    <a:pt x="718" y="833"/>
                  </a:lnTo>
                  <a:lnTo>
                    <a:pt x="719" y="837"/>
                  </a:lnTo>
                  <a:lnTo>
                    <a:pt x="719" y="839"/>
                  </a:lnTo>
                  <a:lnTo>
                    <a:pt x="720" y="839"/>
                  </a:lnTo>
                  <a:lnTo>
                    <a:pt x="721" y="838"/>
                  </a:lnTo>
                  <a:lnTo>
                    <a:pt x="721" y="835"/>
                  </a:lnTo>
                  <a:lnTo>
                    <a:pt x="721" y="831"/>
                  </a:lnTo>
                  <a:lnTo>
                    <a:pt x="721" y="827"/>
                  </a:lnTo>
                  <a:lnTo>
                    <a:pt x="723" y="829"/>
                  </a:lnTo>
                  <a:lnTo>
                    <a:pt x="723" y="832"/>
                  </a:lnTo>
                  <a:lnTo>
                    <a:pt x="723" y="839"/>
                  </a:lnTo>
                  <a:lnTo>
                    <a:pt x="724" y="842"/>
                  </a:lnTo>
                  <a:lnTo>
                    <a:pt x="725" y="844"/>
                  </a:lnTo>
                  <a:lnTo>
                    <a:pt x="725" y="841"/>
                  </a:lnTo>
                  <a:lnTo>
                    <a:pt x="725" y="835"/>
                  </a:lnTo>
                  <a:lnTo>
                    <a:pt x="725" y="833"/>
                  </a:lnTo>
                  <a:lnTo>
                    <a:pt x="726" y="835"/>
                  </a:lnTo>
                  <a:lnTo>
                    <a:pt x="726" y="839"/>
                  </a:lnTo>
                  <a:lnTo>
                    <a:pt x="726" y="844"/>
                  </a:lnTo>
                  <a:lnTo>
                    <a:pt x="727" y="844"/>
                  </a:lnTo>
                  <a:lnTo>
                    <a:pt x="729" y="842"/>
                  </a:lnTo>
                  <a:lnTo>
                    <a:pt x="729" y="838"/>
                  </a:lnTo>
                  <a:lnTo>
                    <a:pt x="730" y="835"/>
                  </a:lnTo>
                  <a:lnTo>
                    <a:pt x="730" y="833"/>
                  </a:lnTo>
                  <a:lnTo>
                    <a:pt x="731" y="836"/>
                  </a:lnTo>
                  <a:lnTo>
                    <a:pt x="732" y="833"/>
                  </a:lnTo>
                  <a:lnTo>
                    <a:pt x="733" y="833"/>
                  </a:lnTo>
                  <a:lnTo>
                    <a:pt x="735" y="836"/>
                  </a:lnTo>
                  <a:lnTo>
                    <a:pt x="736" y="838"/>
                  </a:lnTo>
                  <a:lnTo>
                    <a:pt x="737" y="839"/>
                  </a:lnTo>
                  <a:lnTo>
                    <a:pt x="738" y="841"/>
                  </a:lnTo>
                  <a:lnTo>
                    <a:pt x="738" y="838"/>
                  </a:lnTo>
                  <a:lnTo>
                    <a:pt x="738" y="836"/>
                  </a:lnTo>
                  <a:lnTo>
                    <a:pt x="741" y="837"/>
                  </a:lnTo>
                  <a:lnTo>
                    <a:pt x="743" y="837"/>
                  </a:lnTo>
                  <a:lnTo>
                    <a:pt x="742" y="835"/>
                  </a:lnTo>
                  <a:lnTo>
                    <a:pt x="739" y="833"/>
                  </a:lnTo>
                  <a:lnTo>
                    <a:pt x="739" y="831"/>
                  </a:lnTo>
                  <a:lnTo>
                    <a:pt x="737" y="831"/>
                  </a:lnTo>
                  <a:lnTo>
                    <a:pt x="735" y="832"/>
                  </a:lnTo>
                  <a:lnTo>
                    <a:pt x="733" y="830"/>
                  </a:lnTo>
                  <a:lnTo>
                    <a:pt x="731" y="831"/>
                  </a:lnTo>
                  <a:lnTo>
                    <a:pt x="730" y="829"/>
                  </a:lnTo>
                  <a:lnTo>
                    <a:pt x="725" y="827"/>
                  </a:lnTo>
                  <a:lnTo>
                    <a:pt x="721" y="825"/>
                  </a:lnTo>
                  <a:lnTo>
                    <a:pt x="719" y="823"/>
                  </a:lnTo>
                  <a:lnTo>
                    <a:pt x="718" y="824"/>
                  </a:lnTo>
                  <a:lnTo>
                    <a:pt x="713" y="823"/>
                  </a:lnTo>
                  <a:lnTo>
                    <a:pt x="712" y="823"/>
                  </a:lnTo>
                  <a:lnTo>
                    <a:pt x="708" y="823"/>
                  </a:lnTo>
                  <a:lnTo>
                    <a:pt x="703" y="823"/>
                  </a:lnTo>
                  <a:lnTo>
                    <a:pt x="700" y="823"/>
                  </a:lnTo>
                  <a:lnTo>
                    <a:pt x="699" y="824"/>
                  </a:lnTo>
                  <a:lnTo>
                    <a:pt x="695" y="825"/>
                  </a:lnTo>
                  <a:lnTo>
                    <a:pt x="693" y="825"/>
                  </a:lnTo>
                  <a:lnTo>
                    <a:pt x="691" y="826"/>
                  </a:lnTo>
                  <a:lnTo>
                    <a:pt x="688" y="827"/>
                  </a:lnTo>
                  <a:lnTo>
                    <a:pt x="684" y="827"/>
                  </a:lnTo>
                  <a:lnTo>
                    <a:pt x="679" y="827"/>
                  </a:lnTo>
                  <a:lnTo>
                    <a:pt x="673" y="827"/>
                  </a:lnTo>
                  <a:lnTo>
                    <a:pt x="674" y="830"/>
                  </a:lnTo>
                  <a:lnTo>
                    <a:pt x="672" y="829"/>
                  </a:lnTo>
                  <a:lnTo>
                    <a:pt x="671" y="827"/>
                  </a:lnTo>
                  <a:lnTo>
                    <a:pt x="670" y="829"/>
                  </a:lnTo>
                  <a:lnTo>
                    <a:pt x="667" y="830"/>
                  </a:lnTo>
                  <a:lnTo>
                    <a:pt x="665" y="830"/>
                  </a:lnTo>
                  <a:lnTo>
                    <a:pt x="664" y="831"/>
                  </a:lnTo>
                  <a:lnTo>
                    <a:pt x="662" y="830"/>
                  </a:lnTo>
                  <a:lnTo>
                    <a:pt x="660" y="830"/>
                  </a:lnTo>
                  <a:lnTo>
                    <a:pt x="654" y="830"/>
                  </a:lnTo>
                  <a:lnTo>
                    <a:pt x="649" y="829"/>
                  </a:lnTo>
                  <a:lnTo>
                    <a:pt x="647" y="829"/>
                  </a:lnTo>
                  <a:lnTo>
                    <a:pt x="646" y="829"/>
                  </a:lnTo>
                  <a:lnTo>
                    <a:pt x="643" y="829"/>
                  </a:lnTo>
                  <a:lnTo>
                    <a:pt x="643" y="831"/>
                  </a:lnTo>
                  <a:lnTo>
                    <a:pt x="642" y="831"/>
                  </a:lnTo>
                  <a:lnTo>
                    <a:pt x="640" y="830"/>
                  </a:lnTo>
                  <a:lnTo>
                    <a:pt x="638" y="830"/>
                  </a:lnTo>
                  <a:lnTo>
                    <a:pt x="637" y="829"/>
                  </a:lnTo>
                  <a:lnTo>
                    <a:pt x="636" y="827"/>
                  </a:lnTo>
                  <a:lnTo>
                    <a:pt x="632" y="826"/>
                  </a:lnTo>
                  <a:lnTo>
                    <a:pt x="630" y="825"/>
                  </a:lnTo>
                  <a:lnTo>
                    <a:pt x="625" y="825"/>
                  </a:lnTo>
                  <a:lnTo>
                    <a:pt x="620" y="821"/>
                  </a:lnTo>
                  <a:lnTo>
                    <a:pt x="615" y="819"/>
                  </a:lnTo>
                  <a:lnTo>
                    <a:pt x="615" y="818"/>
                  </a:lnTo>
                  <a:lnTo>
                    <a:pt x="619" y="819"/>
                  </a:lnTo>
                  <a:lnTo>
                    <a:pt x="623" y="821"/>
                  </a:lnTo>
                  <a:lnTo>
                    <a:pt x="623" y="820"/>
                  </a:lnTo>
                  <a:lnTo>
                    <a:pt x="618" y="817"/>
                  </a:lnTo>
                  <a:lnTo>
                    <a:pt x="619" y="815"/>
                  </a:lnTo>
                  <a:lnTo>
                    <a:pt x="623" y="815"/>
                  </a:lnTo>
                  <a:lnTo>
                    <a:pt x="625" y="815"/>
                  </a:lnTo>
                  <a:lnTo>
                    <a:pt x="619" y="813"/>
                  </a:lnTo>
                  <a:lnTo>
                    <a:pt x="617" y="813"/>
                  </a:lnTo>
                  <a:lnTo>
                    <a:pt x="617" y="812"/>
                  </a:lnTo>
                  <a:lnTo>
                    <a:pt x="615" y="811"/>
                  </a:lnTo>
                  <a:lnTo>
                    <a:pt x="613" y="811"/>
                  </a:lnTo>
                  <a:lnTo>
                    <a:pt x="612" y="811"/>
                  </a:lnTo>
                  <a:lnTo>
                    <a:pt x="612" y="812"/>
                  </a:lnTo>
                  <a:lnTo>
                    <a:pt x="613" y="813"/>
                  </a:lnTo>
                  <a:lnTo>
                    <a:pt x="612" y="814"/>
                  </a:lnTo>
                  <a:lnTo>
                    <a:pt x="608" y="817"/>
                  </a:lnTo>
                  <a:lnTo>
                    <a:pt x="607" y="818"/>
                  </a:lnTo>
                  <a:lnTo>
                    <a:pt x="603" y="818"/>
                  </a:lnTo>
                  <a:lnTo>
                    <a:pt x="600" y="815"/>
                  </a:lnTo>
                  <a:lnTo>
                    <a:pt x="593" y="813"/>
                  </a:lnTo>
                  <a:lnTo>
                    <a:pt x="591" y="813"/>
                  </a:lnTo>
                  <a:lnTo>
                    <a:pt x="590" y="814"/>
                  </a:lnTo>
                  <a:lnTo>
                    <a:pt x="589" y="814"/>
                  </a:lnTo>
                  <a:lnTo>
                    <a:pt x="585" y="815"/>
                  </a:lnTo>
                  <a:lnTo>
                    <a:pt x="583" y="814"/>
                  </a:lnTo>
                  <a:lnTo>
                    <a:pt x="581" y="813"/>
                  </a:lnTo>
                  <a:lnTo>
                    <a:pt x="579" y="811"/>
                  </a:lnTo>
                  <a:lnTo>
                    <a:pt x="577" y="811"/>
                  </a:lnTo>
                  <a:lnTo>
                    <a:pt x="573" y="811"/>
                  </a:lnTo>
                  <a:lnTo>
                    <a:pt x="573" y="809"/>
                  </a:lnTo>
                  <a:lnTo>
                    <a:pt x="570" y="809"/>
                  </a:lnTo>
                  <a:lnTo>
                    <a:pt x="569" y="808"/>
                  </a:lnTo>
                  <a:lnTo>
                    <a:pt x="565" y="799"/>
                  </a:lnTo>
                  <a:lnTo>
                    <a:pt x="562" y="795"/>
                  </a:lnTo>
                  <a:lnTo>
                    <a:pt x="562" y="793"/>
                  </a:lnTo>
                  <a:lnTo>
                    <a:pt x="564" y="789"/>
                  </a:lnTo>
                  <a:lnTo>
                    <a:pt x="565" y="784"/>
                  </a:lnTo>
                  <a:lnTo>
                    <a:pt x="566" y="784"/>
                  </a:lnTo>
                  <a:lnTo>
                    <a:pt x="569" y="787"/>
                  </a:lnTo>
                  <a:lnTo>
                    <a:pt x="571" y="787"/>
                  </a:lnTo>
                  <a:lnTo>
                    <a:pt x="573" y="789"/>
                  </a:lnTo>
                  <a:lnTo>
                    <a:pt x="575" y="790"/>
                  </a:lnTo>
                  <a:lnTo>
                    <a:pt x="575" y="793"/>
                  </a:lnTo>
                  <a:lnTo>
                    <a:pt x="575" y="796"/>
                  </a:lnTo>
                  <a:lnTo>
                    <a:pt x="576" y="800"/>
                  </a:lnTo>
                  <a:lnTo>
                    <a:pt x="578" y="800"/>
                  </a:lnTo>
                  <a:lnTo>
                    <a:pt x="579" y="797"/>
                  </a:lnTo>
                  <a:lnTo>
                    <a:pt x="578" y="795"/>
                  </a:lnTo>
                  <a:lnTo>
                    <a:pt x="578" y="793"/>
                  </a:lnTo>
                  <a:lnTo>
                    <a:pt x="581" y="790"/>
                  </a:lnTo>
                  <a:lnTo>
                    <a:pt x="582" y="793"/>
                  </a:lnTo>
                  <a:lnTo>
                    <a:pt x="582" y="796"/>
                  </a:lnTo>
                  <a:lnTo>
                    <a:pt x="583" y="799"/>
                  </a:lnTo>
                  <a:lnTo>
                    <a:pt x="584" y="797"/>
                  </a:lnTo>
                  <a:lnTo>
                    <a:pt x="585" y="796"/>
                  </a:lnTo>
                  <a:lnTo>
                    <a:pt x="584" y="794"/>
                  </a:lnTo>
                  <a:lnTo>
                    <a:pt x="585" y="791"/>
                  </a:lnTo>
                  <a:lnTo>
                    <a:pt x="585" y="790"/>
                  </a:lnTo>
                  <a:lnTo>
                    <a:pt x="584" y="789"/>
                  </a:lnTo>
                  <a:lnTo>
                    <a:pt x="585" y="787"/>
                  </a:lnTo>
                  <a:lnTo>
                    <a:pt x="587" y="789"/>
                  </a:lnTo>
                  <a:lnTo>
                    <a:pt x="587" y="787"/>
                  </a:lnTo>
                  <a:lnTo>
                    <a:pt x="588" y="787"/>
                  </a:lnTo>
                  <a:lnTo>
                    <a:pt x="589" y="788"/>
                  </a:lnTo>
                  <a:lnTo>
                    <a:pt x="589" y="789"/>
                  </a:lnTo>
                  <a:lnTo>
                    <a:pt x="591" y="787"/>
                  </a:lnTo>
                  <a:lnTo>
                    <a:pt x="590" y="785"/>
                  </a:lnTo>
                  <a:lnTo>
                    <a:pt x="591" y="784"/>
                  </a:lnTo>
                  <a:lnTo>
                    <a:pt x="591" y="788"/>
                  </a:lnTo>
                  <a:lnTo>
                    <a:pt x="593" y="789"/>
                  </a:lnTo>
                  <a:lnTo>
                    <a:pt x="591" y="794"/>
                  </a:lnTo>
                  <a:lnTo>
                    <a:pt x="593" y="795"/>
                  </a:lnTo>
                  <a:lnTo>
                    <a:pt x="593" y="793"/>
                  </a:lnTo>
                  <a:lnTo>
                    <a:pt x="594" y="791"/>
                  </a:lnTo>
                  <a:lnTo>
                    <a:pt x="595" y="789"/>
                  </a:lnTo>
                  <a:lnTo>
                    <a:pt x="594" y="787"/>
                  </a:lnTo>
                  <a:lnTo>
                    <a:pt x="594" y="783"/>
                  </a:lnTo>
                  <a:lnTo>
                    <a:pt x="595" y="781"/>
                  </a:lnTo>
                  <a:lnTo>
                    <a:pt x="595" y="783"/>
                  </a:lnTo>
                  <a:lnTo>
                    <a:pt x="596" y="784"/>
                  </a:lnTo>
                  <a:lnTo>
                    <a:pt x="599" y="784"/>
                  </a:lnTo>
                  <a:lnTo>
                    <a:pt x="599" y="787"/>
                  </a:lnTo>
                  <a:lnTo>
                    <a:pt x="599" y="793"/>
                  </a:lnTo>
                  <a:lnTo>
                    <a:pt x="599" y="797"/>
                  </a:lnTo>
                  <a:lnTo>
                    <a:pt x="601" y="793"/>
                  </a:lnTo>
                  <a:lnTo>
                    <a:pt x="601" y="789"/>
                  </a:lnTo>
                  <a:lnTo>
                    <a:pt x="601" y="784"/>
                  </a:lnTo>
                  <a:lnTo>
                    <a:pt x="600" y="781"/>
                  </a:lnTo>
                  <a:lnTo>
                    <a:pt x="601" y="781"/>
                  </a:lnTo>
                  <a:lnTo>
                    <a:pt x="602" y="787"/>
                  </a:lnTo>
                  <a:lnTo>
                    <a:pt x="603" y="788"/>
                  </a:lnTo>
                  <a:lnTo>
                    <a:pt x="603" y="785"/>
                  </a:lnTo>
                  <a:lnTo>
                    <a:pt x="605" y="785"/>
                  </a:lnTo>
                  <a:lnTo>
                    <a:pt x="605" y="788"/>
                  </a:lnTo>
                  <a:lnTo>
                    <a:pt x="607" y="794"/>
                  </a:lnTo>
                  <a:lnTo>
                    <a:pt x="607" y="791"/>
                  </a:lnTo>
                  <a:lnTo>
                    <a:pt x="607" y="788"/>
                  </a:lnTo>
                  <a:lnTo>
                    <a:pt x="607" y="784"/>
                  </a:lnTo>
                  <a:lnTo>
                    <a:pt x="608" y="775"/>
                  </a:lnTo>
                  <a:lnTo>
                    <a:pt x="609" y="775"/>
                  </a:lnTo>
                  <a:lnTo>
                    <a:pt x="611" y="778"/>
                  </a:lnTo>
                  <a:lnTo>
                    <a:pt x="611" y="782"/>
                  </a:lnTo>
                  <a:lnTo>
                    <a:pt x="611" y="785"/>
                  </a:lnTo>
                  <a:lnTo>
                    <a:pt x="609" y="791"/>
                  </a:lnTo>
                  <a:lnTo>
                    <a:pt x="611" y="796"/>
                  </a:lnTo>
                  <a:lnTo>
                    <a:pt x="612" y="794"/>
                  </a:lnTo>
                  <a:lnTo>
                    <a:pt x="612" y="791"/>
                  </a:lnTo>
                  <a:lnTo>
                    <a:pt x="613" y="790"/>
                  </a:lnTo>
                  <a:lnTo>
                    <a:pt x="614" y="791"/>
                  </a:lnTo>
                  <a:lnTo>
                    <a:pt x="615" y="789"/>
                  </a:lnTo>
                  <a:lnTo>
                    <a:pt x="615" y="785"/>
                  </a:lnTo>
                  <a:lnTo>
                    <a:pt x="615" y="782"/>
                  </a:lnTo>
                  <a:lnTo>
                    <a:pt x="614" y="778"/>
                  </a:lnTo>
                  <a:lnTo>
                    <a:pt x="615" y="778"/>
                  </a:lnTo>
                  <a:lnTo>
                    <a:pt x="617" y="782"/>
                  </a:lnTo>
                  <a:lnTo>
                    <a:pt x="617" y="788"/>
                  </a:lnTo>
                  <a:lnTo>
                    <a:pt x="618" y="790"/>
                  </a:lnTo>
                  <a:lnTo>
                    <a:pt x="619" y="791"/>
                  </a:lnTo>
                  <a:lnTo>
                    <a:pt x="619" y="788"/>
                  </a:lnTo>
                  <a:lnTo>
                    <a:pt x="619" y="787"/>
                  </a:lnTo>
                  <a:lnTo>
                    <a:pt x="620" y="790"/>
                  </a:lnTo>
                  <a:lnTo>
                    <a:pt x="621" y="794"/>
                  </a:lnTo>
                  <a:lnTo>
                    <a:pt x="620" y="796"/>
                  </a:lnTo>
                  <a:lnTo>
                    <a:pt x="621" y="799"/>
                  </a:lnTo>
                  <a:lnTo>
                    <a:pt x="623" y="795"/>
                  </a:lnTo>
                  <a:lnTo>
                    <a:pt x="623" y="797"/>
                  </a:lnTo>
                  <a:lnTo>
                    <a:pt x="623" y="800"/>
                  </a:lnTo>
                  <a:lnTo>
                    <a:pt x="624" y="801"/>
                  </a:lnTo>
                  <a:lnTo>
                    <a:pt x="626" y="802"/>
                  </a:lnTo>
                  <a:lnTo>
                    <a:pt x="625" y="796"/>
                  </a:lnTo>
                  <a:lnTo>
                    <a:pt x="625" y="793"/>
                  </a:lnTo>
                  <a:lnTo>
                    <a:pt x="625" y="789"/>
                  </a:lnTo>
                  <a:lnTo>
                    <a:pt x="628" y="787"/>
                  </a:lnTo>
                  <a:lnTo>
                    <a:pt x="629" y="788"/>
                  </a:lnTo>
                  <a:lnTo>
                    <a:pt x="629" y="790"/>
                  </a:lnTo>
                  <a:lnTo>
                    <a:pt x="628" y="794"/>
                  </a:lnTo>
                  <a:lnTo>
                    <a:pt x="628" y="797"/>
                  </a:lnTo>
                  <a:lnTo>
                    <a:pt x="628" y="800"/>
                  </a:lnTo>
                  <a:lnTo>
                    <a:pt x="628" y="801"/>
                  </a:lnTo>
                  <a:lnTo>
                    <a:pt x="629" y="801"/>
                  </a:lnTo>
                  <a:lnTo>
                    <a:pt x="629" y="799"/>
                  </a:lnTo>
                  <a:lnTo>
                    <a:pt x="630" y="797"/>
                  </a:lnTo>
                  <a:lnTo>
                    <a:pt x="631" y="794"/>
                  </a:lnTo>
                  <a:lnTo>
                    <a:pt x="631" y="791"/>
                  </a:lnTo>
                  <a:lnTo>
                    <a:pt x="632" y="790"/>
                  </a:lnTo>
                  <a:lnTo>
                    <a:pt x="636" y="793"/>
                  </a:lnTo>
                  <a:lnTo>
                    <a:pt x="636" y="796"/>
                  </a:lnTo>
                  <a:lnTo>
                    <a:pt x="636" y="800"/>
                  </a:lnTo>
                  <a:lnTo>
                    <a:pt x="637" y="799"/>
                  </a:lnTo>
                  <a:lnTo>
                    <a:pt x="638" y="794"/>
                  </a:lnTo>
                  <a:lnTo>
                    <a:pt x="646" y="796"/>
                  </a:lnTo>
                  <a:lnTo>
                    <a:pt x="644" y="794"/>
                  </a:lnTo>
                  <a:lnTo>
                    <a:pt x="641" y="793"/>
                  </a:lnTo>
                  <a:lnTo>
                    <a:pt x="640" y="790"/>
                  </a:lnTo>
                  <a:lnTo>
                    <a:pt x="638" y="789"/>
                  </a:lnTo>
                  <a:lnTo>
                    <a:pt x="636" y="788"/>
                  </a:lnTo>
                  <a:lnTo>
                    <a:pt x="631" y="787"/>
                  </a:lnTo>
                  <a:lnTo>
                    <a:pt x="629" y="783"/>
                  </a:lnTo>
                  <a:lnTo>
                    <a:pt x="626" y="782"/>
                  </a:lnTo>
                  <a:lnTo>
                    <a:pt x="624" y="778"/>
                  </a:lnTo>
                  <a:lnTo>
                    <a:pt x="620" y="777"/>
                  </a:lnTo>
                  <a:lnTo>
                    <a:pt x="607" y="771"/>
                  </a:lnTo>
                  <a:lnTo>
                    <a:pt x="606" y="769"/>
                  </a:lnTo>
                  <a:lnTo>
                    <a:pt x="608" y="767"/>
                  </a:lnTo>
                  <a:lnTo>
                    <a:pt x="609" y="769"/>
                  </a:lnTo>
                  <a:lnTo>
                    <a:pt x="612" y="771"/>
                  </a:lnTo>
                  <a:lnTo>
                    <a:pt x="612" y="770"/>
                  </a:lnTo>
                  <a:lnTo>
                    <a:pt x="614" y="770"/>
                  </a:lnTo>
                  <a:lnTo>
                    <a:pt x="617" y="772"/>
                  </a:lnTo>
                  <a:lnTo>
                    <a:pt x="619" y="773"/>
                  </a:lnTo>
                  <a:lnTo>
                    <a:pt x="619" y="770"/>
                  </a:lnTo>
                  <a:lnTo>
                    <a:pt x="620" y="767"/>
                  </a:lnTo>
                  <a:lnTo>
                    <a:pt x="620" y="766"/>
                  </a:lnTo>
                  <a:lnTo>
                    <a:pt x="621" y="766"/>
                  </a:lnTo>
                  <a:lnTo>
                    <a:pt x="619" y="763"/>
                  </a:lnTo>
                  <a:lnTo>
                    <a:pt x="618" y="760"/>
                  </a:lnTo>
                  <a:lnTo>
                    <a:pt x="617" y="758"/>
                  </a:lnTo>
                  <a:lnTo>
                    <a:pt x="617" y="757"/>
                  </a:lnTo>
                  <a:lnTo>
                    <a:pt x="618" y="753"/>
                  </a:lnTo>
                  <a:lnTo>
                    <a:pt x="619" y="751"/>
                  </a:lnTo>
                  <a:lnTo>
                    <a:pt x="620" y="751"/>
                  </a:lnTo>
                  <a:lnTo>
                    <a:pt x="620" y="754"/>
                  </a:lnTo>
                  <a:lnTo>
                    <a:pt x="620" y="758"/>
                  </a:lnTo>
                  <a:lnTo>
                    <a:pt x="623" y="759"/>
                  </a:lnTo>
                  <a:lnTo>
                    <a:pt x="623" y="758"/>
                  </a:lnTo>
                  <a:lnTo>
                    <a:pt x="623" y="757"/>
                  </a:lnTo>
                  <a:lnTo>
                    <a:pt x="625" y="757"/>
                  </a:lnTo>
                  <a:lnTo>
                    <a:pt x="626" y="758"/>
                  </a:lnTo>
                  <a:lnTo>
                    <a:pt x="629" y="757"/>
                  </a:lnTo>
                  <a:lnTo>
                    <a:pt x="629" y="758"/>
                  </a:lnTo>
                  <a:lnTo>
                    <a:pt x="630" y="758"/>
                  </a:lnTo>
                  <a:lnTo>
                    <a:pt x="632" y="758"/>
                  </a:lnTo>
                  <a:lnTo>
                    <a:pt x="631" y="755"/>
                  </a:lnTo>
                  <a:lnTo>
                    <a:pt x="629" y="753"/>
                  </a:lnTo>
                  <a:lnTo>
                    <a:pt x="628" y="751"/>
                  </a:lnTo>
                  <a:lnTo>
                    <a:pt x="628" y="748"/>
                  </a:lnTo>
                  <a:lnTo>
                    <a:pt x="629" y="745"/>
                  </a:lnTo>
                  <a:lnTo>
                    <a:pt x="630" y="746"/>
                  </a:lnTo>
                  <a:lnTo>
                    <a:pt x="631" y="748"/>
                  </a:lnTo>
                  <a:lnTo>
                    <a:pt x="632" y="752"/>
                  </a:lnTo>
                  <a:lnTo>
                    <a:pt x="632" y="753"/>
                  </a:lnTo>
                  <a:lnTo>
                    <a:pt x="636" y="752"/>
                  </a:lnTo>
                  <a:lnTo>
                    <a:pt x="637" y="751"/>
                  </a:lnTo>
                  <a:lnTo>
                    <a:pt x="637" y="754"/>
                  </a:lnTo>
                  <a:lnTo>
                    <a:pt x="638" y="760"/>
                  </a:lnTo>
                  <a:lnTo>
                    <a:pt x="640" y="763"/>
                  </a:lnTo>
                  <a:lnTo>
                    <a:pt x="640" y="759"/>
                  </a:lnTo>
                  <a:lnTo>
                    <a:pt x="641" y="755"/>
                  </a:lnTo>
                  <a:lnTo>
                    <a:pt x="642" y="753"/>
                  </a:lnTo>
                  <a:lnTo>
                    <a:pt x="642" y="748"/>
                  </a:lnTo>
                  <a:lnTo>
                    <a:pt x="643" y="745"/>
                  </a:lnTo>
                  <a:lnTo>
                    <a:pt x="646" y="745"/>
                  </a:lnTo>
                  <a:lnTo>
                    <a:pt x="649" y="746"/>
                  </a:lnTo>
                  <a:lnTo>
                    <a:pt x="649" y="752"/>
                  </a:lnTo>
                  <a:lnTo>
                    <a:pt x="649" y="759"/>
                  </a:lnTo>
                  <a:lnTo>
                    <a:pt x="650" y="758"/>
                  </a:lnTo>
                  <a:lnTo>
                    <a:pt x="652" y="752"/>
                  </a:lnTo>
                  <a:lnTo>
                    <a:pt x="652" y="746"/>
                  </a:lnTo>
                  <a:lnTo>
                    <a:pt x="652" y="745"/>
                  </a:lnTo>
                  <a:lnTo>
                    <a:pt x="653" y="746"/>
                  </a:lnTo>
                  <a:lnTo>
                    <a:pt x="653" y="751"/>
                  </a:lnTo>
                  <a:lnTo>
                    <a:pt x="654" y="751"/>
                  </a:lnTo>
                  <a:lnTo>
                    <a:pt x="654" y="754"/>
                  </a:lnTo>
                  <a:lnTo>
                    <a:pt x="655" y="753"/>
                  </a:lnTo>
                  <a:lnTo>
                    <a:pt x="656" y="751"/>
                  </a:lnTo>
                  <a:lnTo>
                    <a:pt x="658" y="746"/>
                  </a:lnTo>
                  <a:lnTo>
                    <a:pt x="659" y="748"/>
                  </a:lnTo>
                  <a:lnTo>
                    <a:pt x="660" y="752"/>
                  </a:lnTo>
                  <a:lnTo>
                    <a:pt x="662" y="751"/>
                  </a:lnTo>
                  <a:lnTo>
                    <a:pt x="664" y="749"/>
                  </a:lnTo>
                  <a:lnTo>
                    <a:pt x="665" y="747"/>
                  </a:lnTo>
                  <a:lnTo>
                    <a:pt x="665" y="746"/>
                  </a:lnTo>
                  <a:lnTo>
                    <a:pt x="668" y="749"/>
                  </a:lnTo>
                  <a:lnTo>
                    <a:pt x="668" y="748"/>
                  </a:lnTo>
                  <a:lnTo>
                    <a:pt x="670" y="748"/>
                  </a:lnTo>
                  <a:lnTo>
                    <a:pt x="672" y="749"/>
                  </a:lnTo>
                  <a:lnTo>
                    <a:pt x="673" y="748"/>
                  </a:lnTo>
                  <a:lnTo>
                    <a:pt x="673" y="751"/>
                  </a:lnTo>
                  <a:lnTo>
                    <a:pt x="676" y="747"/>
                  </a:lnTo>
                  <a:lnTo>
                    <a:pt x="677" y="748"/>
                  </a:lnTo>
                  <a:lnTo>
                    <a:pt x="678" y="745"/>
                  </a:lnTo>
                  <a:lnTo>
                    <a:pt x="677" y="741"/>
                  </a:lnTo>
                  <a:lnTo>
                    <a:pt x="678" y="740"/>
                  </a:lnTo>
                  <a:lnTo>
                    <a:pt x="678" y="737"/>
                  </a:lnTo>
                  <a:lnTo>
                    <a:pt x="679" y="737"/>
                  </a:lnTo>
                  <a:lnTo>
                    <a:pt x="680" y="740"/>
                  </a:lnTo>
                  <a:lnTo>
                    <a:pt x="679" y="742"/>
                  </a:lnTo>
                  <a:lnTo>
                    <a:pt x="680" y="745"/>
                  </a:lnTo>
                  <a:lnTo>
                    <a:pt x="679" y="748"/>
                  </a:lnTo>
                  <a:lnTo>
                    <a:pt x="679" y="753"/>
                  </a:lnTo>
                  <a:lnTo>
                    <a:pt x="682" y="754"/>
                  </a:lnTo>
                  <a:lnTo>
                    <a:pt x="682" y="753"/>
                  </a:lnTo>
                  <a:lnTo>
                    <a:pt x="683" y="747"/>
                  </a:lnTo>
                  <a:lnTo>
                    <a:pt x="683" y="745"/>
                  </a:lnTo>
                  <a:lnTo>
                    <a:pt x="684" y="742"/>
                  </a:lnTo>
                  <a:lnTo>
                    <a:pt x="685" y="745"/>
                  </a:lnTo>
                  <a:lnTo>
                    <a:pt x="684" y="749"/>
                  </a:lnTo>
                  <a:lnTo>
                    <a:pt x="684" y="753"/>
                  </a:lnTo>
                  <a:lnTo>
                    <a:pt x="685" y="754"/>
                  </a:lnTo>
                  <a:lnTo>
                    <a:pt x="685" y="757"/>
                  </a:lnTo>
                  <a:lnTo>
                    <a:pt x="686" y="755"/>
                  </a:lnTo>
                  <a:lnTo>
                    <a:pt x="688" y="754"/>
                  </a:lnTo>
                  <a:lnTo>
                    <a:pt x="688" y="751"/>
                  </a:lnTo>
                  <a:lnTo>
                    <a:pt x="688" y="746"/>
                  </a:lnTo>
                  <a:lnTo>
                    <a:pt x="688" y="745"/>
                  </a:lnTo>
                  <a:lnTo>
                    <a:pt x="688" y="743"/>
                  </a:lnTo>
                  <a:lnTo>
                    <a:pt x="688" y="745"/>
                  </a:lnTo>
                  <a:lnTo>
                    <a:pt x="690" y="749"/>
                  </a:lnTo>
                  <a:lnTo>
                    <a:pt x="690" y="751"/>
                  </a:lnTo>
                  <a:lnTo>
                    <a:pt x="690" y="753"/>
                  </a:lnTo>
                  <a:lnTo>
                    <a:pt x="691" y="752"/>
                  </a:lnTo>
                  <a:lnTo>
                    <a:pt x="691" y="753"/>
                  </a:lnTo>
                  <a:lnTo>
                    <a:pt x="691" y="759"/>
                  </a:lnTo>
                  <a:lnTo>
                    <a:pt x="691" y="763"/>
                  </a:lnTo>
                  <a:lnTo>
                    <a:pt x="693" y="761"/>
                  </a:lnTo>
                  <a:lnTo>
                    <a:pt x="693" y="760"/>
                  </a:lnTo>
                  <a:lnTo>
                    <a:pt x="694" y="760"/>
                  </a:lnTo>
                  <a:lnTo>
                    <a:pt x="695" y="761"/>
                  </a:lnTo>
                  <a:lnTo>
                    <a:pt x="696" y="759"/>
                  </a:lnTo>
                  <a:lnTo>
                    <a:pt x="696" y="755"/>
                  </a:lnTo>
                  <a:lnTo>
                    <a:pt x="700" y="757"/>
                  </a:lnTo>
                  <a:lnTo>
                    <a:pt x="702" y="757"/>
                  </a:lnTo>
                  <a:lnTo>
                    <a:pt x="701" y="755"/>
                  </a:lnTo>
                  <a:lnTo>
                    <a:pt x="699" y="753"/>
                  </a:lnTo>
                  <a:lnTo>
                    <a:pt x="700" y="751"/>
                  </a:lnTo>
                  <a:lnTo>
                    <a:pt x="701" y="749"/>
                  </a:lnTo>
                  <a:lnTo>
                    <a:pt x="700" y="749"/>
                  </a:lnTo>
                  <a:lnTo>
                    <a:pt x="697" y="749"/>
                  </a:lnTo>
                  <a:lnTo>
                    <a:pt x="693" y="748"/>
                  </a:lnTo>
                  <a:lnTo>
                    <a:pt x="691" y="743"/>
                  </a:lnTo>
                  <a:lnTo>
                    <a:pt x="695" y="743"/>
                  </a:lnTo>
                  <a:lnTo>
                    <a:pt x="693" y="742"/>
                  </a:lnTo>
                  <a:lnTo>
                    <a:pt x="689" y="740"/>
                  </a:lnTo>
                  <a:lnTo>
                    <a:pt x="688" y="737"/>
                  </a:lnTo>
                  <a:lnTo>
                    <a:pt x="682" y="735"/>
                  </a:lnTo>
                  <a:lnTo>
                    <a:pt x="679" y="731"/>
                  </a:lnTo>
                  <a:lnTo>
                    <a:pt x="676" y="730"/>
                  </a:lnTo>
                  <a:lnTo>
                    <a:pt x="670" y="729"/>
                  </a:lnTo>
                  <a:lnTo>
                    <a:pt x="664" y="728"/>
                  </a:lnTo>
                  <a:lnTo>
                    <a:pt x="660" y="728"/>
                  </a:lnTo>
                  <a:lnTo>
                    <a:pt x="660" y="726"/>
                  </a:lnTo>
                  <a:lnTo>
                    <a:pt x="661" y="724"/>
                  </a:lnTo>
                  <a:lnTo>
                    <a:pt x="659" y="723"/>
                  </a:lnTo>
                  <a:lnTo>
                    <a:pt x="658" y="723"/>
                  </a:lnTo>
                  <a:lnTo>
                    <a:pt x="656" y="723"/>
                  </a:lnTo>
                  <a:lnTo>
                    <a:pt x="653" y="724"/>
                  </a:lnTo>
                  <a:lnTo>
                    <a:pt x="650" y="723"/>
                  </a:lnTo>
                  <a:lnTo>
                    <a:pt x="650" y="718"/>
                  </a:lnTo>
                  <a:lnTo>
                    <a:pt x="653" y="716"/>
                  </a:lnTo>
                  <a:lnTo>
                    <a:pt x="656" y="714"/>
                  </a:lnTo>
                  <a:lnTo>
                    <a:pt x="658" y="714"/>
                  </a:lnTo>
                  <a:lnTo>
                    <a:pt x="656" y="718"/>
                  </a:lnTo>
                  <a:lnTo>
                    <a:pt x="658" y="718"/>
                  </a:lnTo>
                  <a:lnTo>
                    <a:pt x="660" y="714"/>
                  </a:lnTo>
                  <a:lnTo>
                    <a:pt x="660" y="716"/>
                  </a:lnTo>
                  <a:lnTo>
                    <a:pt x="661" y="719"/>
                  </a:lnTo>
                  <a:lnTo>
                    <a:pt x="662" y="719"/>
                  </a:lnTo>
                  <a:lnTo>
                    <a:pt x="662" y="717"/>
                  </a:lnTo>
                  <a:lnTo>
                    <a:pt x="664" y="716"/>
                  </a:lnTo>
                  <a:lnTo>
                    <a:pt x="664" y="719"/>
                  </a:lnTo>
                  <a:lnTo>
                    <a:pt x="665" y="720"/>
                  </a:lnTo>
                  <a:lnTo>
                    <a:pt x="665" y="724"/>
                  </a:lnTo>
                  <a:lnTo>
                    <a:pt x="667" y="726"/>
                  </a:lnTo>
                  <a:lnTo>
                    <a:pt x="668" y="726"/>
                  </a:lnTo>
                  <a:lnTo>
                    <a:pt x="668" y="723"/>
                  </a:lnTo>
                  <a:lnTo>
                    <a:pt x="668" y="720"/>
                  </a:lnTo>
                  <a:lnTo>
                    <a:pt x="671" y="718"/>
                  </a:lnTo>
                  <a:lnTo>
                    <a:pt x="671" y="717"/>
                  </a:lnTo>
                  <a:lnTo>
                    <a:pt x="673" y="716"/>
                  </a:lnTo>
                  <a:lnTo>
                    <a:pt x="676" y="718"/>
                  </a:lnTo>
                  <a:lnTo>
                    <a:pt x="676" y="720"/>
                  </a:lnTo>
                  <a:lnTo>
                    <a:pt x="678" y="723"/>
                  </a:lnTo>
                  <a:lnTo>
                    <a:pt x="680" y="723"/>
                  </a:lnTo>
                  <a:lnTo>
                    <a:pt x="682" y="725"/>
                  </a:lnTo>
                  <a:lnTo>
                    <a:pt x="683" y="722"/>
                  </a:lnTo>
                  <a:lnTo>
                    <a:pt x="683" y="724"/>
                  </a:lnTo>
                  <a:lnTo>
                    <a:pt x="684" y="725"/>
                  </a:lnTo>
                  <a:lnTo>
                    <a:pt x="685" y="726"/>
                  </a:lnTo>
                  <a:lnTo>
                    <a:pt x="686" y="726"/>
                  </a:lnTo>
                  <a:lnTo>
                    <a:pt x="688" y="722"/>
                  </a:lnTo>
                  <a:lnTo>
                    <a:pt x="688" y="718"/>
                  </a:lnTo>
                  <a:lnTo>
                    <a:pt x="688" y="720"/>
                  </a:lnTo>
                  <a:lnTo>
                    <a:pt x="689" y="719"/>
                  </a:lnTo>
                  <a:lnTo>
                    <a:pt x="690" y="717"/>
                  </a:lnTo>
                  <a:lnTo>
                    <a:pt x="691" y="717"/>
                  </a:lnTo>
                  <a:lnTo>
                    <a:pt x="693" y="722"/>
                  </a:lnTo>
                  <a:lnTo>
                    <a:pt x="694" y="723"/>
                  </a:lnTo>
                  <a:lnTo>
                    <a:pt x="694" y="729"/>
                  </a:lnTo>
                  <a:lnTo>
                    <a:pt x="696" y="730"/>
                  </a:lnTo>
                  <a:lnTo>
                    <a:pt x="697" y="729"/>
                  </a:lnTo>
                  <a:lnTo>
                    <a:pt x="697" y="725"/>
                  </a:lnTo>
                  <a:lnTo>
                    <a:pt x="697" y="720"/>
                  </a:lnTo>
                  <a:lnTo>
                    <a:pt x="699" y="717"/>
                  </a:lnTo>
                  <a:lnTo>
                    <a:pt x="700" y="718"/>
                  </a:lnTo>
                  <a:lnTo>
                    <a:pt x="700" y="722"/>
                  </a:lnTo>
                  <a:lnTo>
                    <a:pt x="700" y="726"/>
                  </a:lnTo>
                  <a:lnTo>
                    <a:pt x="700" y="728"/>
                  </a:lnTo>
                  <a:lnTo>
                    <a:pt x="702" y="726"/>
                  </a:lnTo>
                  <a:lnTo>
                    <a:pt x="703" y="724"/>
                  </a:lnTo>
                  <a:lnTo>
                    <a:pt x="703" y="722"/>
                  </a:lnTo>
                  <a:lnTo>
                    <a:pt x="706" y="718"/>
                  </a:lnTo>
                  <a:lnTo>
                    <a:pt x="707" y="720"/>
                  </a:lnTo>
                  <a:lnTo>
                    <a:pt x="709" y="722"/>
                  </a:lnTo>
                  <a:lnTo>
                    <a:pt x="711" y="722"/>
                  </a:lnTo>
                  <a:lnTo>
                    <a:pt x="713" y="722"/>
                  </a:lnTo>
                  <a:lnTo>
                    <a:pt x="714" y="724"/>
                  </a:lnTo>
                  <a:lnTo>
                    <a:pt x="715" y="726"/>
                  </a:lnTo>
                  <a:lnTo>
                    <a:pt x="718" y="730"/>
                  </a:lnTo>
                  <a:lnTo>
                    <a:pt x="719" y="734"/>
                  </a:lnTo>
                  <a:lnTo>
                    <a:pt x="719" y="732"/>
                  </a:lnTo>
                  <a:lnTo>
                    <a:pt x="721" y="731"/>
                  </a:lnTo>
                  <a:lnTo>
                    <a:pt x="721" y="729"/>
                  </a:lnTo>
                  <a:lnTo>
                    <a:pt x="723" y="725"/>
                  </a:lnTo>
                  <a:lnTo>
                    <a:pt x="725" y="726"/>
                  </a:lnTo>
                  <a:lnTo>
                    <a:pt x="726" y="728"/>
                  </a:lnTo>
                  <a:lnTo>
                    <a:pt x="727" y="728"/>
                  </a:lnTo>
                  <a:lnTo>
                    <a:pt x="725" y="723"/>
                  </a:lnTo>
                  <a:lnTo>
                    <a:pt x="723" y="718"/>
                  </a:lnTo>
                  <a:lnTo>
                    <a:pt x="719" y="716"/>
                  </a:lnTo>
                  <a:lnTo>
                    <a:pt x="719" y="712"/>
                  </a:lnTo>
                  <a:lnTo>
                    <a:pt x="718" y="708"/>
                  </a:lnTo>
                  <a:lnTo>
                    <a:pt x="718" y="704"/>
                  </a:lnTo>
                  <a:lnTo>
                    <a:pt x="719" y="706"/>
                  </a:lnTo>
                  <a:lnTo>
                    <a:pt x="720" y="712"/>
                  </a:lnTo>
                  <a:lnTo>
                    <a:pt x="720" y="710"/>
                  </a:lnTo>
                  <a:lnTo>
                    <a:pt x="721" y="706"/>
                  </a:lnTo>
                  <a:lnTo>
                    <a:pt x="723" y="704"/>
                  </a:lnTo>
                  <a:lnTo>
                    <a:pt x="724" y="701"/>
                  </a:lnTo>
                  <a:lnTo>
                    <a:pt x="723" y="699"/>
                  </a:lnTo>
                  <a:lnTo>
                    <a:pt x="720" y="694"/>
                  </a:lnTo>
                  <a:lnTo>
                    <a:pt x="719" y="692"/>
                  </a:lnTo>
                  <a:lnTo>
                    <a:pt x="720" y="692"/>
                  </a:lnTo>
                  <a:lnTo>
                    <a:pt x="724" y="693"/>
                  </a:lnTo>
                  <a:lnTo>
                    <a:pt x="725" y="693"/>
                  </a:lnTo>
                  <a:lnTo>
                    <a:pt x="725" y="700"/>
                  </a:lnTo>
                  <a:lnTo>
                    <a:pt x="725" y="707"/>
                  </a:lnTo>
                  <a:lnTo>
                    <a:pt x="726" y="708"/>
                  </a:lnTo>
                  <a:lnTo>
                    <a:pt x="727" y="706"/>
                  </a:lnTo>
                  <a:lnTo>
                    <a:pt x="727" y="702"/>
                  </a:lnTo>
                  <a:lnTo>
                    <a:pt x="727" y="698"/>
                  </a:lnTo>
                  <a:lnTo>
                    <a:pt x="729" y="694"/>
                  </a:lnTo>
                  <a:lnTo>
                    <a:pt x="730" y="698"/>
                  </a:lnTo>
                  <a:lnTo>
                    <a:pt x="730" y="700"/>
                  </a:lnTo>
                  <a:lnTo>
                    <a:pt x="731" y="702"/>
                  </a:lnTo>
                  <a:lnTo>
                    <a:pt x="731" y="705"/>
                  </a:lnTo>
                  <a:lnTo>
                    <a:pt x="731" y="710"/>
                  </a:lnTo>
                  <a:lnTo>
                    <a:pt x="732" y="712"/>
                  </a:lnTo>
                  <a:lnTo>
                    <a:pt x="733" y="712"/>
                  </a:lnTo>
                  <a:lnTo>
                    <a:pt x="735" y="708"/>
                  </a:lnTo>
                  <a:lnTo>
                    <a:pt x="735" y="704"/>
                  </a:lnTo>
                  <a:lnTo>
                    <a:pt x="735" y="701"/>
                  </a:lnTo>
                  <a:lnTo>
                    <a:pt x="737" y="700"/>
                  </a:lnTo>
                  <a:lnTo>
                    <a:pt x="738" y="699"/>
                  </a:lnTo>
                  <a:lnTo>
                    <a:pt x="738" y="701"/>
                  </a:lnTo>
                  <a:lnTo>
                    <a:pt x="741" y="702"/>
                  </a:lnTo>
                  <a:lnTo>
                    <a:pt x="741" y="700"/>
                  </a:lnTo>
                  <a:lnTo>
                    <a:pt x="742" y="698"/>
                  </a:lnTo>
                  <a:lnTo>
                    <a:pt x="743" y="698"/>
                  </a:lnTo>
                  <a:lnTo>
                    <a:pt x="745" y="700"/>
                  </a:lnTo>
                  <a:lnTo>
                    <a:pt x="747" y="699"/>
                  </a:lnTo>
                  <a:lnTo>
                    <a:pt x="747" y="696"/>
                  </a:lnTo>
                  <a:lnTo>
                    <a:pt x="745" y="695"/>
                  </a:lnTo>
                  <a:lnTo>
                    <a:pt x="741" y="695"/>
                  </a:lnTo>
                  <a:lnTo>
                    <a:pt x="738" y="694"/>
                  </a:lnTo>
                  <a:lnTo>
                    <a:pt x="736" y="693"/>
                  </a:lnTo>
                  <a:lnTo>
                    <a:pt x="732" y="689"/>
                  </a:lnTo>
                  <a:lnTo>
                    <a:pt x="731" y="689"/>
                  </a:lnTo>
                  <a:lnTo>
                    <a:pt x="727" y="689"/>
                  </a:lnTo>
                  <a:lnTo>
                    <a:pt x="725" y="689"/>
                  </a:lnTo>
                  <a:lnTo>
                    <a:pt x="720" y="687"/>
                  </a:lnTo>
                  <a:lnTo>
                    <a:pt x="717" y="688"/>
                  </a:lnTo>
                  <a:lnTo>
                    <a:pt x="714" y="687"/>
                  </a:lnTo>
                  <a:lnTo>
                    <a:pt x="713" y="686"/>
                  </a:lnTo>
                  <a:lnTo>
                    <a:pt x="711" y="684"/>
                  </a:lnTo>
                  <a:lnTo>
                    <a:pt x="703" y="683"/>
                  </a:lnTo>
                  <a:lnTo>
                    <a:pt x="706" y="682"/>
                  </a:lnTo>
                  <a:lnTo>
                    <a:pt x="703" y="682"/>
                  </a:lnTo>
                  <a:lnTo>
                    <a:pt x="701" y="683"/>
                  </a:lnTo>
                  <a:lnTo>
                    <a:pt x="700" y="683"/>
                  </a:lnTo>
                  <a:lnTo>
                    <a:pt x="696" y="682"/>
                  </a:lnTo>
                  <a:lnTo>
                    <a:pt x="697" y="680"/>
                  </a:lnTo>
                  <a:lnTo>
                    <a:pt x="695" y="681"/>
                  </a:lnTo>
                  <a:lnTo>
                    <a:pt x="693" y="682"/>
                  </a:lnTo>
                  <a:lnTo>
                    <a:pt x="689" y="681"/>
                  </a:lnTo>
                  <a:lnTo>
                    <a:pt x="679" y="680"/>
                  </a:lnTo>
                  <a:lnTo>
                    <a:pt x="673" y="678"/>
                  </a:lnTo>
                  <a:lnTo>
                    <a:pt x="668" y="678"/>
                  </a:lnTo>
                  <a:lnTo>
                    <a:pt x="664" y="678"/>
                  </a:lnTo>
                  <a:lnTo>
                    <a:pt x="661" y="677"/>
                  </a:lnTo>
                  <a:lnTo>
                    <a:pt x="662" y="676"/>
                  </a:lnTo>
                  <a:lnTo>
                    <a:pt x="665" y="675"/>
                  </a:lnTo>
                  <a:lnTo>
                    <a:pt x="664" y="674"/>
                  </a:lnTo>
                  <a:lnTo>
                    <a:pt x="664" y="671"/>
                  </a:lnTo>
                  <a:lnTo>
                    <a:pt x="661" y="669"/>
                  </a:lnTo>
                  <a:lnTo>
                    <a:pt x="660" y="666"/>
                  </a:lnTo>
                  <a:lnTo>
                    <a:pt x="662" y="664"/>
                  </a:lnTo>
                  <a:lnTo>
                    <a:pt x="664" y="660"/>
                  </a:lnTo>
                  <a:lnTo>
                    <a:pt x="665" y="658"/>
                  </a:lnTo>
                  <a:lnTo>
                    <a:pt x="666" y="662"/>
                  </a:lnTo>
                  <a:lnTo>
                    <a:pt x="668" y="663"/>
                  </a:lnTo>
                  <a:lnTo>
                    <a:pt x="668" y="665"/>
                  </a:lnTo>
                  <a:lnTo>
                    <a:pt x="670" y="671"/>
                  </a:lnTo>
                  <a:lnTo>
                    <a:pt x="671" y="672"/>
                  </a:lnTo>
                  <a:lnTo>
                    <a:pt x="672" y="671"/>
                  </a:lnTo>
                  <a:lnTo>
                    <a:pt x="674" y="672"/>
                  </a:lnTo>
                  <a:lnTo>
                    <a:pt x="676" y="671"/>
                  </a:lnTo>
                  <a:lnTo>
                    <a:pt x="677" y="670"/>
                  </a:lnTo>
                  <a:lnTo>
                    <a:pt x="677" y="666"/>
                  </a:lnTo>
                  <a:lnTo>
                    <a:pt x="678" y="669"/>
                  </a:lnTo>
                  <a:lnTo>
                    <a:pt x="678" y="671"/>
                  </a:lnTo>
                  <a:lnTo>
                    <a:pt x="679" y="669"/>
                  </a:lnTo>
                  <a:lnTo>
                    <a:pt x="680" y="668"/>
                  </a:lnTo>
                  <a:lnTo>
                    <a:pt x="682" y="668"/>
                  </a:lnTo>
                  <a:lnTo>
                    <a:pt x="685" y="670"/>
                  </a:lnTo>
                  <a:lnTo>
                    <a:pt x="686" y="669"/>
                  </a:lnTo>
                  <a:lnTo>
                    <a:pt x="684" y="666"/>
                  </a:lnTo>
                  <a:lnTo>
                    <a:pt x="682" y="664"/>
                  </a:lnTo>
                  <a:lnTo>
                    <a:pt x="679" y="662"/>
                  </a:lnTo>
                  <a:lnTo>
                    <a:pt x="680" y="658"/>
                  </a:lnTo>
                  <a:lnTo>
                    <a:pt x="680" y="656"/>
                  </a:lnTo>
                  <a:lnTo>
                    <a:pt x="683" y="652"/>
                  </a:lnTo>
                  <a:lnTo>
                    <a:pt x="684" y="652"/>
                  </a:lnTo>
                  <a:lnTo>
                    <a:pt x="686" y="652"/>
                  </a:lnTo>
                  <a:lnTo>
                    <a:pt x="686" y="653"/>
                  </a:lnTo>
                  <a:lnTo>
                    <a:pt x="688" y="653"/>
                  </a:lnTo>
                  <a:lnTo>
                    <a:pt x="691" y="651"/>
                  </a:lnTo>
                  <a:lnTo>
                    <a:pt x="694" y="647"/>
                  </a:lnTo>
                  <a:lnTo>
                    <a:pt x="693" y="651"/>
                  </a:lnTo>
                  <a:lnTo>
                    <a:pt x="691" y="654"/>
                  </a:lnTo>
                  <a:lnTo>
                    <a:pt x="691" y="656"/>
                  </a:lnTo>
                  <a:lnTo>
                    <a:pt x="691" y="660"/>
                  </a:lnTo>
                  <a:lnTo>
                    <a:pt x="695" y="662"/>
                  </a:lnTo>
                  <a:lnTo>
                    <a:pt x="694" y="665"/>
                  </a:lnTo>
                  <a:lnTo>
                    <a:pt x="694" y="666"/>
                  </a:lnTo>
                  <a:lnTo>
                    <a:pt x="695" y="666"/>
                  </a:lnTo>
                  <a:lnTo>
                    <a:pt x="696" y="669"/>
                  </a:lnTo>
                  <a:lnTo>
                    <a:pt x="699" y="669"/>
                  </a:lnTo>
                  <a:lnTo>
                    <a:pt x="700" y="666"/>
                  </a:lnTo>
                  <a:lnTo>
                    <a:pt x="702" y="668"/>
                  </a:lnTo>
                  <a:lnTo>
                    <a:pt x="703" y="669"/>
                  </a:lnTo>
                  <a:lnTo>
                    <a:pt x="706" y="666"/>
                  </a:lnTo>
                  <a:lnTo>
                    <a:pt x="706" y="664"/>
                  </a:lnTo>
                  <a:lnTo>
                    <a:pt x="707" y="663"/>
                  </a:lnTo>
                  <a:lnTo>
                    <a:pt x="709" y="663"/>
                  </a:lnTo>
                  <a:lnTo>
                    <a:pt x="712" y="662"/>
                  </a:lnTo>
                  <a:lnTo>
                    <a:pt x="711" y="659"/>
                  </a:lnTo>
                  <a:lnTo>
                    <a:pt x="706" y="658"/>
                  </a:lnTo>
                  <a:lnTo>
                    <a:pt x="702" y="654"/>
                  </a:lnTo>
                  <a:lnTo>
                    <a:pt x="701" y="651"/>
                  </a:lnTo>
                  <a:lnTo>
                    <a:pt x="700" y="647"/>
                  </a:lnTo>
                  <a:lnTo>
                    <a:pt x="697" y="644"/>
                  </a:lnTo>
                  <a:lnTo>
                    <a:pt x="699" y="642"/>
                  </a:lnTo>
                  <a:lnTo>
                    <a:pt x="696" y="641"/>
                  </a:lnTo>
                  <a:lnTo>
                    <a:pt x="695" y="640"/>
                  </a:lnTo>
                  <a:lnTo>
                    <a:pt x="693" y="639"/>
                  </a:lnTo>
                  <a:lnTo>
                    <a:pt x="690" y="638"/>
                  </a:lnTo>
                  <a:lnTo>
                    <a:pt x="688" y="635"/>
                  </a:lnTo>
                  <a:lnTo>
                    <a:pt x="683" y="634"/>
                  </a:lnTo>
                  <a:lnTo>
                    <a:pt x="679" y="634"/>
                  </a:lnTo>
                  <a:lnTo>
                    <a:pt x="673" y="633"/>
                  </a:lnTo>
                  <a:lnTo>
                    <a:pt x="670" y="633"/>
                  </a:lnTo>
                  <a:lnTo>
                    <a:pt x="670" y="628"/>
                  </a:lnTo>
                  <a:lnTo>
                    <a:pt x="670" y="627"/>
                  </a:lnTo>
                  <a:lnTo>
                    <a:pt x="672" y="627"/>
                  </a:lnTo>
                  <a:lnTo>
                    <a:pt x="672" y="624"/>
                  </a:lnTo>
                  <a:lnTo>
                    <a:pt x="672" y="621"/>
                  </a:lnTo>
                  <a:lnTo>
                    <a:pt x="674" y="621"/>
                  </a:lnTo>
                  <a:lnTo>
                    <a:pt x="676" y="623"/>
                  </a:lnTo>
                  <a:lnTo>
                    <a:pt x="678" y="627"/>
                  </a:lnTo>
                  <a:lnTo>
                    <a:pt x="679" y="628"/>
                  </a:lnTo>
                  <a:lnTo>
                    <a:pt x="680" y="627"/>
                  </a:lnTo>
                  <a:lnTo>
                    <a:pt x="678" y="623"/>
                  </a:lnTo>
                  <a:lnTo>
                    <a:pt x="678" y="621"/>
                  </a:lnTo>
                  <a:lnTo>
                    <a:pt x="682" y="622"/>
                  </a:lnTo>
                  <a:lnTo>
                    <a:pt x="684" y="621"/>
                  </a:lnTo>
                  <a:lnTo>
                    <a:pt x="682" y="619"/>
                  </a:lnTo>
                  <a:lnTo>
                    <a:pt x="679" y="618"/>
                  </a:lnTo>
                  <a:lnTo>
                    <a:pt x="677" y="617"/>
                  </a:lnTo>
                  <a:lnTo>
                    <a:pt x="676" y="617"/>
                  </a:lnTo>
                  <a:lnTo>
                    <a:pt x="673" y="617"/>
                  </a:lnTo>
                  <a:lnTo>
                    <a:pt x="671" y="617"/>
                  </a:lnTo>
                  <a:lnTo>
                    <a:pt x="668" y="617"/>
                  </a:lnTo>
                  <a:lnTo>
                    <a:pt x="666" y="616"/>
                  </a:lnTo>
                  <a:lnTo>
                    <a:pt x="665" y="616"/>
                  </a:lnTo>
                  <a:lnTo>
                    <a:pt x="662" y="615"/>
                  </a:lnTo>
                  <a:lnTo>
                    <a:pt x="660" y="613"/>
                  </a:lnTo>
                  <a:lnTo>
                    <a:pt x="659" y="612"/>
                  </a:lnTo>
                  <a:lnTo>
                    <a:pt x="658" y="610"/>
                  </a:lnTo>
                  <a:lnTo>
                    <a:pt x="656" y="607"/>
                  </a:lnTo>
                  <a:lnTo>
                    <a:pt x="655" y="606"/>
                  </a:lnTo>
                  <a:lnTo>
                    <a:pt x="654" y="609"/>
                  </a:lnTo>
                  <a:lnTo>
                    <a:pt x="653" y="607"/>
                  </a:lnTo>
                  <a:lnTo>
                    <a:pt x="653" y="603"/>
                  </a:lnTo>
                  <a:lnTo>
                    <a:pt x="654" y="603"/>
                  </a:lnTo>
                  <a:lnTo>
                    <a:pt x="655" y="603"/>
                  </a:lnTo>
                  <a:lnTo>
                    <a:pt x="653" y="600"/>
                  </a:lnTo>
                  <a:lnTo>
                    <a:pt x="650" y="597"/>
                  </a:lnTo>
                  <a:lnTo>
                    <a:pt x="644" y="591"/>
                  </a:lnTo>
                  <a:lnTo>
                    <a:pt x="643" y="588"/>
                  </a:lnTo>
                  <a:lnTo>
                    <a:pt x="640" y="586"/>
                  </a:lnTo>
                  <a:lnTo>
                    <a:pt x="640" y="583"/>
                  </a:lnTo>
                  <a:lnTo>
                    <a:pt x="643" y="581"/>
                  </a:lnTo>
                  <a:lnTo>
                    <a:pt x="644" y="580"/>
                  </a:lnTo>
                  <a:lnTo>
                    <a:pt x="644" y="582"/>
                  </a:lnTo>
                  <a:lnTo>
                    <a:pt x="644" y="585"/>
                  </a:lnTo>
                  <a:lnTo>
                    <a:pt x="648" y="585"/>
                  </a:lnTo>
                  <a:lnTo>
                    <a:pt x="648" y="586"/>
                  </a:lnTo>
                  <a:lnTo>
                    <a:pt x="648" y="589"/>
                  </a:lnTo>
                  <a:lnTo>
                    <a:pt x="649" y="591"/>
                  </a:lnTo>
                  <a:lnTo>
                    <a:pt x="649" y="593"/>
                  </a:lnTo>
                  <a:lnTo>
                    <a:pt x="650" y="594"/>
                  </a:lnTo>
                  <a:lnTo>
                    <a:pt x="650" y="592"/>
                  </a:lnTo>
                  <a:lnTo>
                    <a:pt x="652" y="588"/>
                  </a:lnTo>
                  <a:lnTo>
                    <a:pt x="653" y="587"/>
                  </a:lnTo>
                  <a:lnTo>
                    <a:pt x="652" y="585"/>
                  </a:lnTo>
                  <a:lnTo>
                    <a:pt x="652" y="583"/>
                  </a:lnTo>
                  <a:lnTo>
                    <a:pt x="654" y="583"/>
                  </a:lnTo>
                  <a:lnTo>
                    <a:pt x="655" y="586"/>
                  </a:lnTo>
                  <a:lnTo>
                    <a:pt x="656" y="587"/>
                  </a:lnTo>
                  <a:lnTo>
                    <a:pt x="656" y="592"/>
                  </a:lnTo>
                  <a:lnTo>
                    <a:pt x="658" y="594"/>
                  </a:lnTo>
                  <a:lnTo>
                    <a:pt x="659" y="593"/>
                  </a:lnTo>
                  <a:lnTo>
                    <a:pt x="659" y="591"/>
                  </a:lnTo>
                  <a:lnTo>
                    <a:pt x="659" y="587"/>
                  </a:lnTo>
                  <a:lnTo>
                    <a:pt x="660" y="587"/>
                  </a:lnTo>
                  <a:lnTo>
                    <a:pt x="661" y="588"/>
                  </a:lnTo>
                  <a:lnTo>
                    <a:pt x="661" y="586"/>
                  </a:lnTo>
                  <a:lnTo>
                    <a:pt x="664" y="588"/>
                  </a:lnTo>
                  <a:lnTo>
                    <a:pt x="664" y="591"/>
                  </a:lnTo>
                  <a:lnTo>
                    <a:pt x="665" y="592"/>
                  </a:lnTo>
                  <a:lnTo>
                    <a:pt x="666" y="591"/>
                  </a:lnTo>
                  <a:lnTo>
                    <a:pt x="666" y="587"/>
                  </a:lnTo>
                  <a:lnTo>
                    <a:pt x="666" y="583"/>
                  </a:lnTo>
                  <a:lnTo>
                    <a:pt x="668" y="582"/>
                  </a:lnTo>
                  <a:lnTo>
                    <a:pt x="670" y="585"/>
                  </a:lnTo>
                  <a:lnTo>
                    <a:pt x="668" y="588"/>
                  </a:lnTo>
                  <a:lnTo>
                    <a:pt x="667" y="591"/>
                  </a:lnTo>
                  <a:lnTo>
                    <a:pt x="668" y="592"/>
                  </a:lnTo>
                  <a:lnTo>
                    <a:pt x="668" y="598"/>
                  </a:lnTo>
                  <a:lnTo>
                    <a:pt x="670" y="599"/>
                  </a:lnTo>
                  <a:lnTo>
                    <a:pt x="670" y="600"/>
                  </a:lnTo>
                  <a:lnTo>
                    <a:pt x="671" y="600"/>
                  </a:lnTo>
                  <a:lnTo>
                    <a:pt x="673" y="599"/>
                  </a:lnTo>
                  <a:lnTo>
                    <a:pt x="673" y="603"/>
                  </a:lnTo>
                  <a:lnTo>
                    <a:pt x="674" y="603"/>
                  </a:lnTo>
                  <a:lnTo>
                    <a:pt x="676" y="604"/>
                  </a:lnTo>
                  <a:lnTo>
                    <a:pt x="676" y="598"/>
                  </a:lnTo>
                  <a:lnTo>
                    <a:pt x="676" y="594"/>
                  </a:lnTo>
                  <a:lnTo>
                    <a:pt x="676" y="593"/>
                  </a:lnTo>
                  <a:lnTo>
                    <a:pt x="673" y="588"/>
                  </a:lnTo>
                  <a:lnTo>
                    <a:pt x="673" y="587"/>
                  </a:lnTo>
                  <a:lnTo>
                    <a:pt x="673" y="582"/>
                  </a:lnTo>
                  <a:lnTo>
                    <a:pt x="672" y="577"/>
                  </a:lnTo>
                  <a:lnTo>
                    <a:pt x="672" y="571"/>
                  </a:lnTo>
                  <a:lnTo>
                    <a:pt x="674" y="571"/>
                  </a:lnTo>
                  <a:lnTo>
                    <a:pt x="677" y="571"/>
                  </a:lnTo>
                  <a:lnTo>
                    <a:pt x="677" y="575"/>
                  </a:lnTo>
                  <a:lnTo>
                    <a:pt x="677" y="577"/>
                  </a:lnTo>
                  <a:lnTo>
                    <a:pt x="678" y="577"/>
                  </a:lnTo>
                  <a:lnTo>
                    <a:pt x="680" y="576"/>
                  </a:lnTo>
                  <a:lnTo>
                    <a:pt x="680" y="573"/>
                  </a:lnTo>
                  <a:lnTo>
                    <a:pt x="683" y="569"/>
                  </a:lnTo>
                  <a:lnTo>
                    <a:pt x="683" y="568"/>
                  </a:lnTo>
                  <a:lnTo>
                    <a:pt x="683" y="575"/>
                  </a:lnTo>
                  <a:lnTo>
                    <a:pt x="684" y="577"/>
                  </a:lnTo>
                  <a:lnTo>
                    <a:pt x="686" y="576"/>
                  </a:lnTo>
                  <a:lnTo>
                    <a:pt x="686" y="573"/>
                  </a:lnTo>
                  <a:lnTo>
                    <a:pt x="688" y="569"/>
                  </a:lnTo>
                  <a:lnTo>
                    <a:pt x="689" y="567"/>
                  </a:lnTo>
                  <a:lnTo>
                    <a:pt x="689" y="570"/>
                  </a:lnTo>
                  <a:lnTo>
                    <a:pt x="689" y="576"/>
                  </a:lnTo>
                  <a:lnTo>
                    <a:pt x="690" y="579"/>
                  </a:lnTo>
                  <a:lnTo>
                    <a:pt x="691" y="577"/>
                  </a:lnTo>
                  <a:lnTo>
                    <a:pt x="693" y="573"/>
                  </a:lnTo>
                  <a:lnTo>
                    <a:pt x="693" y="569"/>
                  </a:lnTo>
                  <a:lnTo>
                    <a:pt x="693" y="564"/>
                  </a:lnTo>
                  <a:lnTo>
                    <a:pt x="693" y="561"/>
                  </a:lnTo>
                  <a:lnTo>
                    <a:pt x="691" y="557"/>
                  </a:lnTo>
                  <a:lnTo>
                    <a:pt x="693" y="556"/>
                  </a:lnTo>
                  <a:lnTo>
                    <a:pt x="695" y="556"/>
                  </a:lnTo>
                  <a:lnTo>
                    <a:pt x="697" y="557"/>
                  </a:lnTo>
                  <a:lnTo>
                    <a:pt x="696" y="555"/>
                  </a:lnTo>
                  <a:lnTo>
                    <a:pt x="696" y="553"/>
                  </a:lnTo>
                  <a:lnTo>
                    <a:pt x="699" y="553"/>
                  </a:lnTo>
                  <a:lnTo>
                    <a:pt x="700" y="553"/>
                  </a:lnTo>
                  <a:lnTo>
                    <a:pt x="701" y="551"/>
                  </a:lnTo>
                  <a:lnTo>
                    <a:pt x="699" y="551"/>
                  </a:lnTo>
                  <a:lnTo>
                    <a:pt x="697" y="550"/>
                  </a:lnTo>
                  <a:lnTo>
                    <a:pt x="696" y="547"/>
                  </a:lnTo>
                  <a:lnTo>
                    <a:pt x="695" y="549"/>
                  </a:lnTo>
                  <a:lnTo>
                    <a:pt x="695" y="550"/>
                  </a:lnTo>
                  <a:lnTo>
                    <a:pt x="693" y="552"/>
                  </a:lnTo>
                  <a:lnTo>
                    <a:pt x="693" y="551"/>
                  </a:lnTo>
                  <a:lnTo>
                    <a:pt x="690" y="550"/>
                  </a:lnTo>
                  <a:lnTo>
                    <a:pt x="690" y="551"/>
                  </a:lnTo>
                  <a:lnTo>
                    <a:pt x="689" y="551"/>
                  </a:lnTo>
                  <a:lnTo>
                    <a:pt x="686" y="551"/>
                  </a:lnTo>
                  <a:lnTo>
                    <a:pt x="686" y="550"/>
                  </a:lnTo>
                  <a:lnTo>
                    <a:pt x="685" y="550"/>
                  </a:lnTo>
                  <a:lnTo>
                    <a:pt x="684" y="553"/>
                  </a:lnTo>
                  <a:lnTo>
                    <a:pt x="683" y="553"/>
                  </a:lnTo>
                  <a:lnTo>
                    <a:pt x="682" y="552"/>
                  </a:lnTo>
                  <a:lnTo>
                    <a:pt x="680" y="553"/>
                  </a:lnTo>
                  <a:lnTo>
                    <a:pt x="678" y="556"/>
                  </a:lnTo>
                  <a:lnTo>
                    <a:pt x="676" y="557"/>
                  </a:lnTo>
                  <a:lnTo>
                    <a:pt x="674" y="559"/>
                  </a:lnTo>
                  <a:lnTo>
                    <a:pt x="668" y="558"/>
                  </a:lnTo>
                  <a:lnTo>
                    <a:pt x="664" y="558"/>
                  </a:lnTo>
                  <a:lnTo>
                    <a:pt x="660" y="559"/>
                  </a:lnTo>
                  <a:lnTo>
                    <a:pt x="655" y="561"/>
                  </a:lnTo>
                  <a:lnTo>
                    <a:pt x="649" y="561"/>
                  </a:lnTo>
                  <a:lnTo>
                    <a:pt x="644" y="562"/>
                  </a:lnTo>
                  <a:lnTo>
                    <a:pt x="640" y="562"/>
                  </a:lnTo>
                  <a:lnTo>
                    <a:pt x="636" y="562"/>
                  </a:lnTo>
                  <a:lnTo>
                    <a:pt x="634" y="563"/>
                  </a:lnTo>
                  <a:lnTo>
                    <a:pt x="630" y="564"/>
                  </a:lnTo>
                  <a:lnTo>
                    <a:pt x="623" y="564"/>
                  </a:lnTo>
                  <a:lnTo>
                    <a:pt x="619" y="563"/>
                  </a:lnTo>
                  <a:lnTo>
                    <a:pt x="617" y="562"/>
                  </a:lnTo>
                  <a:lnTo>
                    <a:pt x="614" y="561"/>
                  </a:lnTo>
                  <a:lnTo>
                    <a:pt x="612" y="557"/>
                  </a:lnTo>
                  <a:lnTo>
                    <a:pt x="611" y="555"/>
                  </a:lnTo>
                  <a:lnTo>
                    <a:pt x="609" y="555"/>
                  </a:lnTo>
                  <a:lnTo>
                    <a:pt x="606" y="555"/>
                  </a:lnTo>
                  <a:lnTo>
                    <a:pt x="601" y="556"/>
                  </a:lnTo>
                  <a:lnTo>
                    <a:pt x="600" y="557"/>
                  </a:lnTo>
                  <a:lnTo>
                    <a:pt x="597" y="557"/>
                  </a:lnTo>
                  <a:lnTo>
                    <a:pt x="596" y="557"/>
                  </a:lnTo>
                  <a:lnTo>
                    <a:pt x="591" y="555"/>
                  </a:lnTo>
                  <a:lnTo>
                    <a:pt x="587" y="551"/>
                  </a:lnTo>
                  <a:lnTo>
                    <a:pt x="583" y="547"/>
                  </a:lnTo>
                  <a:lnTo>
                    <a:pt x="579" y="544"/>
                  </a:lnTo>
                  <a:lnTo>
                    <a:pt x="575" y="540"/>
                  </a:lnTo>
                  <a:lnTo>
                    <a:pt x="572" y="535"/>
                  </a:lnTo>
                  <a:lnTo>
                    <a:pt x="572" y="533"/>
                  </a:lnTo>
                  <a:lnTo>
                    <a:pt x="576" y="534"/>
                  </a:lnTo>
                  <a:lnTo>
                    <a:pt x="576" y="533"/>
                  </a:lnTo>
                  <a:lnTo>
                    <a:pt x="572" y="531"/>
                  </a:lnTo>
                  <a:lnTo>
                    <a:pt x="571" y="529"/>
                  </a:lnTo>
                  <a:lnTo>
                    <a:pt x="570" y="524"/>
                  </a:lnTo>
                  <a:lnTo>
                    <a:pt x="571" y="524"/>
                  </a:lnTo>
                  <a:lnTo>
                    <a:pt x="573" y="527"/>
                  </a:lnTo>
                  <a:lnTo>
                    <a:pt x="575" y="529"/>
                  </a:lnTo>
                  <a:lnTo>
                    <a:pt x="576" y="531"/>
                  </a:lnTo>
                  <a:lnTo>
                    <a:pt x="577" y="528"/>
                  </a:lnTo>
                  <a:lnTo>
                    <a:pt x="578" y="527"/>
                  </a:lnTo>
                  <a:lnTo>
                    <a:pt x="579" y="527"/>
                  </a:lnTo>
                  <a:lnTo>
                    <a:pt x="579" y="529"/>
                  </a:lnTo>
                  <a:lnTo>
                    <a:pt x="581" y="532"/>
                  </a:lnTo>
                  <a:lnTo>
                    <a:pt x="578" y="538"/>
                  </a:lnTo>
                  <a:lnTo>
                    <a:pt x="581" y="540"/>
                  </a:lnTo>
                  <a:lnTo>
                    <a:pt x="582" y="538"/>
                  </a:lnTo>
                  <a:lnTo>
                    <a:pt x="583" y="534"/>
                  </a:lnTo>
                  <a:lnTo>
                    <a:pt x="584" y="533"/>
                  </a:lnTo>
                  <a:lnTo>
                    <a:pt x="585" y="534"/>
                  </a:lnTo>
                  <a:lnTo>
                    <a:pt x="585" y="533"/>
                  </a:lnTo>
                  <a:lnTo>
                    <a:pt x="587" y="531"/>
                  </a:lnTo>
                  <a:lnTo>
                    <a:pt x="588" y="528"/>
                  </a:lnTo>
                  <a:lnTo>
                    <a:pt x="589" y="531"/>
                  </a:lnTo>
                  <a:lnTo>
                    <a:pt x="590" y="534"/>
                  </a:lnTo>
                  <a:lnTo>
                    <a:pt x="590" y="537"/>
                  </a:lnTo>
                  <a:lnTo>
                    <a:pt x="591" y="538"/>
                  </a:lnTo>
                  <a:lnTo>
                    <a:pt x="593" y="535"/>
                  </a:lnTo>
                  <a:lnTo>
                    <a:pt x="593" y="532"/>
                  </a:lnTo>
                  <a:lnTo>
                    <a:pt x="594" y="528"/>
                  </a:lnTo>
                  <a:lnTo>
                    <a:pt x="595" y="531"/>
                  </a:lnTo>
                  <a:lnTo>
                    <a:pt x="595" y="533"/>
                  </a:lnTo>
                  <a:lnTo>
                    <a:pt x="596" y="528"/>
                  </a:lnTo>
                  <a:lnTo>
                    <a:pt x="597" y="527"/>
                  </a:lnTo>
                  <a:lnTo>
                    <a:pt x="597" y="534"/>
                  </a:lnTo>
                  <a:lnTo>
                    <a:pt x="597" y="538"/>
                  </a:lnTo>
                  <a:lnTo>
                    <a:pt x="600" y="537"/>
                  </a:lnTo>
                  <a:lnTo>
                    <a:pt x="603" y="531"/>
                  </a:lnTo>
                  <a:lnTo>
                    <a:pt x="606" y="528"/>
                  </a:lnTo>
                  <a:lnTo>
                    <a:pt x="606" y="534"/>
                  </a:lnTo>
                  <a:lnTo>
                    <a:pt x="605" y="539"/>
                  </a:lnTo>
                  <a:lnTo>
                    <a:pt x="606" y="537"/>
                  </a:lnTo>
                  <a:lnTo>
                    <a:pt x="608" y="533"/>
                  </a:lnTo>
                  <a:lnTo>
                    <a:pt x="608" y="529"/>
                  </a:lnTo>
                  <a:lnTo>
                    <a:pt x="612" y="526"/>
                  </a:lnTo>
                  <a:lnTo>
                    <a:pt x="611" y="534"/>
                  </a:lnTo>
                  <a:lnTo>
                    <a:pt x="609" y="538"/>
                  </a:lnTo>
                  <a:lnTo>
                    <a:pt x="612" y="535"/>
                  </a:lnTo>
                  <a:lnTo>
                    <a:pt x="614" y="532"/>
                  </a:lnTo>
                  <a:lnTo>
                    <a:pt x="613" y="538"/>
                  </a:lnTo>
                  <a:lnTo>
                    <a:pt x="613" y="540"/>
                  </a:lnTo>
                  <a:lnTo>
                    <a:pt x="615" y="540"/>
                  </a:lnTo>
                  <a:lnTo>
                    <a:pt x="615" y="537"/>
                  </a:lnTo>
                  <a:lnTo>
                    <a:pt x="617" y="535"/>
                  </a:lnTo>
                  <a:lnTo>
                    <a:pt x="620" y="534"/>
                  </a:lnTo>
                  <a:lnTo>
                    <a:pt x="621" y="532"/>
                  </a:lnTo>
                  <a:lnTo>
                    <a:pt x="621" y="535"/>
                  </a:lnTo>
                  <a:lnTo>
                    <a:pt x="619" y="539"/>
                  </a:lnTo>
                  <a:lnTo>
                    <a:pt x="619" y="541"/>
                  </a:lnTo>
                  <a:lnTo>
                    <a:pt x="623" y="538"/>
                  </a:lnTo>
                  <a:lnTo>
                    <a:pt x="624" y="537"/>
                  </a:lnTo>
                  <a:lnTo>
                    <a:pt x="624" y="535"/>
                  </a:lnTo>
                  <a:lnTo>
                    <a:pt x="625" y="543"/>
                  </a:lnTo>
                  <a:lnTo>
                    <a:pt x="628" y="545"/>
                  </a:lnTo>
                  <a:lnTo>
                    <a:pt x="629" y="547"/>
                  </a:lnTo>
                  <a:lnTo>
                    <a:pt x="632" y="545"/>
                  </a:lnTo>
                  <a:lnTo>
                    <a:pt x="634" y="544"/>
                  </a:lnTo>
                  <a:lnTo>
                    <a:pt x="634" y="545"/>
                  </a:lnTo>
                  <a:lnTo>
                    <a:pt x="634" y="549"/>
                  </a:lnTo>
                  <a:lnTo>
                    <a:pt x="634" y="552"/>
                  </a:lnTo>
                  <a:lnTo>
                    <a:pt x="635" y="556"/>
                  </a:lnTo>
                  <a:lnTo>
                    <a:pt x="635" y="555"/>
                  </a:lnTo>
                  <a:lnTo>
                    <a:pt x="636" y="551"/>
                  </a:lnTo>
                  <a:lnTo>
                    <a:pt x="636" y="549"/>
                  </a:lnTo>
                  <a:lnTo>
                    <a:pt x="637" y="545"/>
                  </a:lnTo>
                  <a:lnTo>
                    <a:pt x="638" y="547"/>
                  </a:lnTo>
                  <a:lnTo>
                    <a:pt x="638" y="549"/>
                  </a:lnTo>
                  <a:lnTo>
                    <a:pt x="641" y="546"/>
                  </a:lnTo>
                  <a:lnTo>
                    <a:pt x="641" y="543"/>
                  </a:lnTo>
                  <a:lnTo>
                    <a:pt x="642" y="538"/>
                  </a:lnTo>
                  <a:lnTo>
                    <a:pt x="642" y="545"/>
                  </a:lnTo>
                  <a:lnTo>
                    <a:pt x="642" y="550"/>
                  </a:lnTo>
                  <a:lnTo>
                    <a:pt x="642" y="553"/>
                  </a:lnTo>
                  <a:lnTo>
                    <a:pt x="644" y="556"/>
                  </a:lnTo>
                  <a:lnTo>
                    <a:pt x="646" y="556"/>
                  </a:lnTo>
                  <a:lnTo>
                    <a:pt x="647" y="556"/>
                  </a:lnTo>
                  <a:lnTo>
                    <a:pt x="649" y="556"/>
                  </a:lnTo>
                  <a:lnTo>
                    <a:pt x="650" y="552"/>
                  </a:lnTo>
                  <a:lnTo>
                    <a:pt x="650" y="549"/>
                  </a:lnTo>
                  <a:lnTo>
                    <a:pt x="650" y="545"/>
                  </a:lnTo>
                  <a:lnTo>
                    <a:pt x="652" y="549"/>
                  </a:lnTo>
                  <a:lnTo>
                    <a:pt x="652" y="551"/>
                  </a:lnTo>
                  <a:lnTo>
                    <a:pt x="653" y="549"/>
                  </a:lnTo>
                  <a:lnTo>
                    <a:pt x="654" y="549"/>
                  </a:lnTo>
                  <a:lnTo>
                    <a:pt x="655" y="553"/>
                  </a:lnTo>
                  <a:lnTo>
                    <a:pt x="655" y="555"/>
                  </a:lnTo>
                  <a:lnTo>
                    <a:pt x="656" y="556"/>
                  </a:lnTo>
                  <a:lnTo>
                    <a:pt x="658" y="552"/>
                  </a:lnTo>
                  <a:lnTo>
                    <a:pt x="658" y="550"/>
                  </a:lnTo>
                  <a:lnTo>
                    <a:pt x="664" y="553"/>
                  </a:lnTo>
                  <a:lnTo>
                    <a:pt x="662" y="551"/>
                  </a:lnTo>
                  <a:lnTo>
                    <a:pt x="660" y="550"/>
                  </a:lnTo>
                  <a:lnTo>
                    <a:pt x="662" y="547"/>
                  </a:lnTo>
                  <a:lnTo>
                    <a:pt x="660" y="547"/>
                  </a:lnTo>
                  <a:lnTo>
                    <a:pt x="656" y="547"/>
                  </a:lnTo>
                  <a:lnTo>
                    <a:pt x="654" y="546"/>
                  </a:lnTo>
                  <a:lnTo>
                    <a:pt x="659" y="545"/>
                  </a:lnTo>
                  <a:lnTo>
                    <a:pt x="658" y="544"/>
                  </a:lnTo>
                  <a:lnTo>
                    <a:pt x="654" y="544"/>
                  </a:lnTo>
                  <a:lnTo>
                    <a:pt x="650" y="544"/>
                  </a:lnTo>
                  <a:lnTo>
                    <a:pt x="649" y="541"/>
                  </a:lnTo>
                  <a:lnTo>
                    <a:pt x="652" y="540"/>
                  </a:lnTo>
                  <a:lnTo>
                    <a:pt x="650" y="539"/>
                  </a:lnTo>
                  <a:lnTo>
                    <a:pt x="649" y="538"/>
                  </a:lnTo>
                  <a:lnTo>
                    <a:pt x="647" y="537"/>
                  </a:lnTo>
                  <a:lnTo>
                    <a:pt x="642" y="534"/>
                  </a:lnTo>
                  <a:lnTo>
                    <a:pt x="643" y="533"/>
                  </a:lnTo>
                  <a:lnTo>
                    <a:pt x="642" y="531"/>
                  </a:lnTo>
                  <a:lnTo>
                    <a:pt x="640" y="529"/>
                  </a:lnTo>
                  <a:lnTo>
                    <a:pt x="638" y="527"/>
                  </a:lnTo>
                  <a:lnTo>
                    <a:pt x="636" y="526"/>
                  </a:lnTo>
                  <a:lnTo>
                    <a:pt x="634" y="522"/>
                  </a:lnTo>
                  <a:lnTo>
                    <a:pt x="634" y="520"/>
                  </a:lnTo>
                  <a:lnTo>
                    <a:pt x="636" y="518"/>
                  </a:lnTo>
                  <a:lnTo>
                    <a:pt x="637" y="516"/>
                  </a:lnTo>
                  <a:lnTo>
                    <a:pt x="638" y="518"/>
                  </a:lnTo>
                  <a:lnTo>
                    <a:pt x="638" y="522"/>
                  </a:lnTo>
                  <a:lnTo>
                    <a:pt x="640" y="524"/>
                  </a:lnTo>
                  <a:lnTo>
                    <a:pt x="641" y="527"/>
                  </a:lnTo>
                  <a:lnTo>
                    <a:pt x="642" y="526"/>
                  </a:lnTo>
                  <a:lnTo>
                    <a:pt x="643" y="522"/>
                  </a:lnTo>
                  <a:lnTo>
                    <a:pt x="644" y="523"/>
                  </a:lnTo>
                  <a:lnTo>
                    <a:pt x="646" y="522"/>
                  </a:lnTo>
                  <a:lnTo>
                    <a:pt x="646" y="521"/>
                  </a:lnTo>
                  <a:lnTo>
                    <a:pt x="646" y="518"/>
                  </a:lnTo>
                  <a:lnTo>
                    <a:pt x="644" y="517"/>
                  </a:lnTo>
                  <a:lnTo>
                    <a:pt x="642" y="516"/>
                  </a:lnTo>
                  <a:lnTo>
                    <a:pt x="638" y="514"/>
                  </a:lnTo>
                  <a:lnTo>
                    <a:pt x="642" y="512"/>
                  </a:lnTo>
                  <a:lnTo>
                    <a:pt x="643" y="511"/>
                  </a:lnTo>
                  <a:lnTo>
                    <a:pt x="641" y="511"/>
                  </a:lnTo>
                  <a:lnTo>
                    <a:pt x="637" y="511"/>
                  </a:lnTo>
                  <a:lnTo>
                    <a:pt x="632" y="511"/>
                  </a:lnTo>
                  <a:lnTo>
                    <a:pt x="628" y="508"/>
                  </a:lnTo>
                  <a:lnTo>
                    <a:pt x="621" y="505"/>
                  </a:lnTo>
                  <a:lnTo>
                    <a:pt x="618" y="503"/>
                  </a:lnTo>
                  <a:lnTo>
                    <a:pt x="611" y="499"/>
                  </a:lnTo>
                  <a:lnTo>
                    <a:pt x="606" y="497"/>
                  </a:lnTo>
                  <a:lnTo>
                    <a:pt x="601" y="496"/>
                  </a:lnTo>
                  <a:lnTo>
                    <a:pt x="597" y="496"/>
                  </a:lnTo>
                  <a:lnTo>
                    <a:pt x="593" y="493"/>
                  </a:lnTo>
                  <a:lnTo>
                    <a:pt x="589" y="493"/>
                  </a:lnTo>
                  <a:lnTo>
                    <a:pt x="589" y="491"/>
                  </a:lnTo>
                  <a:lnTo>
                    <a:pt x="590" y="490"/>
                  </a:lnTo>
                  <a:lnTo>
                    <a:pt x="593" y="488"/>
                  </a:lnTo>
                  <a:lnTo>
                    <a:pt x="588" y="487"/>
                  </a:lnTo>
                  <a:lnTo>
                    <a:pt x="584" y="487"/>
                  </a:lnTo>
                  <a:lnTo>
                    <a:pt x="581" y="486"/>
                  </a:lnTo>
                  <a:lnTo>
                    <a:pt x="578" y="485"/>
                  </a:lnTo>
                  <a:lnTo>
                    <a:pt x="577" y="482"/>
                  </a:lnTo>
                  <a:lnTo>
                    <a:pt x="577" y="478"/>
                  </a:lnTo>
                  <a:lnTo>
                    <a:pt x="578" y="474"/>
                  </a:lnTo>
                  <a:lnTo>
                    <a:pt x="581" y="470"/>
                  </a:lnTo>
                  <a:lnTo>
                    <a:pt x="583" y="467"/>
                  </a:lnTo>
                  <a:lnTo>
                    <a:pt x="583" y="469"/>
                  </a:lnTo>
                  <a:lnTo>
                    <a:pt x="583" y="472"/>
                  </a:lnTo>
                  <a:lnTo>
                    <a:pt x="585" y="473"/>
                  </a:lnTo>
                  <a:lnTo>
                    <a:pt x="588" y="473"/>
                  </a:lnTo>
                  <a:lnTo>
                    <a:pt x="588" y="474"/>
                  </a:lnTo>
                  <a:lnTo>
                    <a:pt x="590" y="475"/>
                  </a:lnTo>
                  <a:lnTo>
                    <a:pt x="591" y="475"/>
                  </a:lnTo>
                  <a:lnTo>
                    <a:pt x="593" y="472"/>
                  </a:lnTo>
                  <a:lnTo>
                    <a:pt x="594" y="469"/>
                  </a:lnTo>
                  <a:lnTo>
                    <a:pt x="593" y="475"/>
                  </a:lnTo>
                  <a:lnTo>
                    <a:pt x="595" y="478"/>
                  </a:lnTo>
                  <a:lnTo>
                    <a:pt x="596" y="476"/>
                  </a:lnTo>
                  <a:lnTo>
                    <a:pt x="596" y="473"/>
                  </a:lnTo>
                  <a:lnTo>
                    <a:pt x="599" y="469"/>
                  </a:lnTo>
                  <a:lnTo>
                    <a:pt x="599" y="473"/>
                  </a:lnTo>
                  <a:lnTo>
                    <a:pt x="601" y="475"/>
                  </a:lnTo>
                  <a:lnTo>
                    <a:pt x="602" y="472"/>
                  </a:lnTo>
                  <a:lnTo>
                    <a:pt x="603" y="470"/>
                  </a:lnTo>
                  <a:lnTo>
                    <a:pt x="602" y="475"/>
                  </a:lnTo>
                  <a:lnTo>
                    <a:pt x="602" y="480"/>
                  </a:lnTo>
                  <a:lnTo>
                    <a:pt x="605" y="481"/>
                  </a:lnTo>
                  <a:lnTo>
                    <a:pt x="607" y="482"/>
                  </a:lnTo>
                  <a:lnTo>
                    <a:pt x="607" y="478"/>
                  </a:lnTo>
                  <a:lnTo>
                    <a:pt x="607" y="475"/>
                  </a:lnTo>
                  <a:lnTo>
                    <a:pt x="608" y="473"/>
                  </a:lnTo>
                  <a:lnTo>
                    <a:pt x="609" y="474"/>
                  </a:lnTo>
                  <a:lnTo>
                    <a:pt x="609" y="479"/>
                  </a:lnTo>
                  <a:lnTo>
                    <a:pt x="612" y="478"/>
                  </a:lnTo>
                  <a:lnTo>
                    <a:pt x="613" y="475"/>
                  </a:lnTo>
                  <a:lnTo>
                    <a:pt x="614" y="478"/>
                  </a:lnTo>
                  <a:lnTo>
                    <a:pt x="615" y="474"/>
                  </a:lnTo>
                  <a:lnTo>
                    <a:pt x="617" y="473"/>
                  </a:lnTo>
                  <a:lnTo>
                    <a:pt x="615" y="479"/>
                  </a:lnTo>
                  <a:lnTo>
                    <a:pt x="618" y="478"/>
                  </a:lnTo>
                  <a:lnTo>
                    <a:pt x="620" y="480"/>
                  </a:lnTo>
                  <a:lnTo>
                    <a:pt x="621" y="478"/>
                  </a:lnTo>
                  <a:lnTo>
                    <a:pt x="621" y="484"/>
                  </a:lnTo>
                  <a:lnTo>
                    <a:pt x="620" y="487"/>
                  </a:lnTo>
                  <a:lnTo>
                    <a:pt x="624" y="486"/>
                  </a:lnTo>
                  <a:lnTo>
                    <a:pt x="625" y="485"/>
                  </a:lnTo>
                  <a:lnTo>
                    <a:pt x="626" y="484"/>
                  </a:lnTo>
                  <a:lnTo>
                    <a:pt x="628" y="478"/>
                  </a:lnTo>
                  <a:lnTo>
                    <a:pt x="629" y="476"/>
                  </a:lnTo>
                  <a:lnTo>
                    <a:pt x="632" y="479"/>
                  </a:lnTo>
                  <a:lnTo>
                    <a:pt x="634" y="478"/>
                  </a:lnTo>
                  <a:lnTo>
                    <a:pt x="634" y="475"/>
                  </a:lnTo>
                  <a:lnTo>
                    <a:pt x="637" y="478"/>
                  </a:lnTo>
                  <a:lnTo>
                    <a:pt x="636" y="480"/>
                  </a:lnTo>
                  <a:lnTo>
                    <a:pt x="637" y="479"/>
                  </a:lnTo>
                  <a:lnTo>
                    <a:pt x="641" y="479"/>
                  </a:lnTo>
                  <a:lnTo>
                    <a:pt x="646" y="479"/>
                  </a:lnTo>
                  <a:lnTo>
                    <a:pt x="644" y="478"/>
                  </a:lnTo>
                  <a:lnTo>
                    <a:pt x="640" y="475"/>
                  </a:lnTo>
                  <a:lnTo>
                    <a:pt x="634" y="472"/>
                  </a:lnTo>
                  <a:lnTo>
                    <a:pt x="634" y="469"/>
                  </a:lnTo>
                  <a:lnTo>
                    <a:pt x="631" y="469"/>
                  </a:lnTo>
                  <a:lnTo>
                    <a:pt x="626" y="469"/>
                  </a:lnTo>
                  <a:lnTo>
                    <a:pt x="624" y="468"/>
                  </a:lnTo>
                  <a:lnTo>
                    <a:pt x="623" y="466"/>
                  </a:lnTo>
                  <a:lnTo>
                    <a:pt x="628" y="466"/>
                  </a:lnTo>
                  <a:lnTo>
                    <a:pt x="631" y="467"/>
                  </a:lnTo>
                  <a:lnTo>
                    <a:pt x="629" y="464"/>
                  </a:lnTo>
                  <a:lnTo>
                    <a:pt x="623" y="462"/>
                  </a:lnTo>
                  <a:lnTo>
                    <a:pt x="621" y="461"/>
                  </a:lnTo>
                  <a:lnTo>
                    <a:pt x="626" y="460"/>
                  </a:lnTo>
                  <a:lnTo>
                    <a:pt x="621" y="460"/>
                  </a:lnTo>
                  <a:lnTo>
                    <a:pt x="615" y="458"/>
                  </a:lnTo>
                  <a:lnTo>
                    <a:pt x="615" y="456"/>
                  </a:lnTo>
                  <a:lnTo>
                    <a:pt x="613" y="456"/>
                  </a:lnTo>
                  <a:lnTo>
                    <a:pt x="609" y="455"/>
                  </a:lnTo>
                  <a:lnTo>
                    <a:pt x="612" y="452"/>
                  </a:lnTo>
                  <a:lnTo>
                    <a:pt x="609" y="452"/>
                  </a:lnTo>
                  <a:lnTo>
                    <a:pt x="603" y="452"/>
                  </a:lnTo>
                  <a:lnTo>
                    <a:pt x="602" y="450"/>
                  </a:lnTo>
                  <a:lnTo>
                    <a:pt x="601" y="449"/>
                  </a:lnTo>
                  <a:lnTo>
                    <a:pt x="599" y="450"/>
                  </a:lnTo>
                  <a:lnTo>
                    <a:pt x="595" y="450"/>
                  </a:lnTo>
                  <a:lnTo>
                    <a:pt x="594" y="449"/>
                  </a:lnTo>
                  <a:lnTo>
                    <a:pt x="594" y="445"/>
                  </a:lnTo>
                  <a:lnTo>
                    <a:pt x="591" y="446"/>
                  </a:lnTo>
                  <a:lnTo>
                    <a:pt x="590" y="444"/>
                  </a:lnTo>
                  <a:lnTo>
                    <a:pt x="587" y="444"/>
                  </a:lnTo>
                  <a:lnTo>
                    <a:pt x="583" y="445"/>
                  </a:lnTo>
                  <a:lnTo>
                    <a:pt x="581" y="445"/>
                  </a:lnTo>
                  <a:lnTo>
                    <a:pt x="579" y="444"/>
                  </a:lnTo>
                  <a:lnTo>
                    <a:pt x="571" y="440"/>
                  </a:lnTo>
                  <a:lnTo>
                    <a:pt x="566" y="439"/>
                  </a:lnTo>
                  <a:lnTo>
                    <a:pt x="562" y="437"/>
                  </a:lnTo>
                  <a:lnTo>
                    <a:pt x="560" y="437"/>
                  </a:lnTo>
                  <a:lnTo>
                    <a:pt x="558" y="437"/>
                  </a:lnTo>
                  <a:lnTo>
                    <a:pt x="553" y="436"/>
                  </a:lnTo>
                  <a:lnTo>
                    <a:pt x="549" y="434"/>
                  </a:lnTo>
                  <a:lnTo>
                    <a:pt x="547" y="433"/>
                  </a:lnTo>
                  <a:lnTo>
                    <a:pt x="543" y="433"/>
                  </a:lnTo>
                  <a:lnTo>
                    <a:pt x="541" y="432"/>
                  </a:lnTo>
                  <a:lnTo>
                    <a:pt x="540" y="434"/>
                  </a:lnTo>
                  <a:lnTo>
                    <a:pt x="537" y="431"/>
                  </a:lnTo>
                  <a:lnTo>
                    <a:pt x="536" y="431"/>
                  </a:lnTo>
                  <a:lnTo>
                    <a:pt x="534" y="431"/>
                  </a:lnTo>
                  <a:lnTo>
                    <a:pt x="529" y="433"/>
                  </a:lnTo>
                  <a:lnTo>
                    <a:pt x="529" y="432"/>
                  </a:lnTo>
                  <a:lnTo>
                    <a:pt x="525" y="431"/>
                  </a:lnTo>
                  <a:lnTo>
                    <a:pt x="523" y="430"/>
                  </a:lnTo>
                  <a:lnTo>
                    <a:pt x="520" y="431"/>
                  </a:lnTo>
                  <a:lnTo>
                    <a:pt x="519" y="428"/>
                  </a:lnTo>
                  <a:lnTo>
                    <a:pt x="514" y="427"/>
                  </a:lnTo>
                  <a:lnTo>
                    <a:pt x="512" y="426"/>
                  </a:lnTo>
                  <a:lnTo>
                    <a:pt x="511" y="426"/>
                  </a:lnTo>
                  <a:lnTo>
                    <a:pt x="510" y="425"/>
                  </a:lnTo>
                  <a:lnTo>
                    <a:pt x="511" y="424"/>
                  </a:lnTo>
                  <a:lnTo>
                    <a:pt x="513" y="425"/>
                  </a:lnTo>
                  <a:lnTo>
                    <a:pt x="516" y="426"/>
                  </a:lnTo>
                  <a:lnTo>
                    <a:pt x="518" y="428"/>
                  </a:lnTo>
                  <a:lnTo>
                    <a:pt x="522" y="430"/>
                  </a:lnTo>
                  <a:lnTo>
                    <a:pt x="525" y="430"/>
                  </a:lnTo>
                  <a:lnTo>
                    <a:pt x="525" y="427"/>
                  </a:lnTo>
                  <a:lnTo>
                    <a:pt x="528" y="428"/>
                  </a:lnTo>
                  <a:lnTo>
                    <a:pt x="528" y="431"/>
                  </a:lnTo>
                  <a:lnTo>
                    <a:pt x="529" y="431"/>
                  </a:lnTo>
                  <a:lnTo>
                    <a:pt x="530" y="431"/>
                  </a:lnTo>
                  <a:lnTo>
                    <a:pt x="532" y="427"/>
                  </a:lnTo>
                  <a:lnTo>
                    <a:pt x="534" y="426"/>
                  </a:lnTo>
                  <a:lnTo>
                    <a:pt x="535" y="430"/>
                  </a:lnTo>
                  <a:lnTo>
                    <a:pt x="536" y="430"/>
                  </a:lnTo>
                  <a:lnTo>
                    <a:pt x="538" y="430"/>
                  </a:lnTo>
                  <a:lnTo>
                    <a:pt x="538" y="428"/>
                  </a:lnTo>
                  <a:lnTo>
                    <a:pt x="540" y="431"/>
                  </a:lnTo>
                  <a:lnTo>
                    <a:pt x="541" y="431"/>
                  </a:lnTo>
                  <a:lnTo>
                    <a:pt x="542" y="430"/>
                  </a:lnTo>
                  <a:lnTo>
                    <a:pt x="543" y="431"/>
                  </a:lnTo>
                  <a:lnTo>
                    <a:pt x="544" y="431"/>
                  </a:lnTo>
                  <a:lnTo>
                    <a:pt x="548" y="432"/>
                  </a:lnTo>
                  <a:lnTo>
                    <a:pt x="549" y="433"/>
                  </a:lnTo>
                  <a:lnTo>
                    <a:pt x="550" y="432"/>
                  </a:lnTo>
                  <a:lnTo>
                    <a:pt x="552" y="431"/>
                  </a:lnTo>
                  <a:lnTo>
                    <a:pt x="553" y="430"/>
                  </a:lnTo>
                  <a:lnTo>
                    <a:pt x="552" y="426"/>
                  </a:lnTo>
                  <a:lnTo>
                    <a:pt x="554" y="428"/>
                  </a:lnTo>
                  <a:lnTo>
                    <a:pt x="556" y="431"/>
                  </a:lnTo>
                  <a:lnTo>
                    <a:pt x="558" y="434"/>
                  </a:lnTo>
                  <a:lnTo>
                    <a:pt x="559" y="434"/>
                  </a:lnTo>
                  <a:lnTo>
                    <a:pt x="559" y="433"/>
                  </a:lnTo>
                  <a:lnTo>
                    <a:pt x="561" y="432"/>
                  </a:lnTo>
                  <a:lnTo>
                    <a:pt x="562" y="434"/>
                  </a:lnTo>
                  <a:lnTo>
                    <a:pt x="562" y="436"/>
                  </a:lnTo>
                  <a:lnTo>
                    <a:pt x="565" y="434"/>
                  </a:lnTo>
                  <a:lnTo>
                    <a:pt x="566" y="432"/>
                  </a:lnTo>
                  <a:lnTo>
                    <a:pt x="565" y="436"/>
                  </a:lnTo>
                  <a:lnTo>
                    <a:pt x="566" y="437"/>
                  </a:lnTo>
                  <a:lnTo>
                    <a:pt x="570" y="437"/>
                  </a:lnTo>
                  <a:lnTo>
                    <a:pt x="572" y="436"/>
                  </a:lnTo>
                  <a:lnTo>
                    <a:pt x="572" y="434"/>
                  </a:lnTo>
                  <a:lnTo>
                    <a:pt x="573" y="434"/>
                  </a:lnTo>
                  <a:lnTo>
                    <a:pt x="577" y="439"/>
                  </a:lnTo>
                  <a:lnTo>
                    <a:pt x="577" y="438"/>
                  </a:lnTo>
                  <a:lnTo>
                    <a:pt x="576" y="436"/>
                  </a:lnTo>
                  <a:lnTo>
                    <a:pt x="575" y="433"/>
                  </a:lnTo>
                  <a:lnTo>
                    <a:pt x="575" y="432"/>
                  </a:lnTo>
                  <a:lnTo>
                    <a:pt x="575" y="433"/>
                  </a:lnTo>
                  <a:lnTo>
                    <a:pt x="577" y="433"/>
                  </a:lnTo>
                  <a:lnTo>
                    <a:pt x="577" y="431"/>
                  </a:lnTo>
                  <a:lnTo>
                    <a:pt x="578" y="430"/>
                  </a:lnTo>
                  <a:lnTo>
                    <a:pt x="579" y="431"/>
                  </a:lnTo>
                  <a:lnTo>
                    <a:pt x="578" y="436"/>
                  </a:lnTo>
                  <a:lnTo>
                    <a:pt x="579" y="437"/>
                  </a:lnTo>
                  <a:lnTo>
                    <a:pt x="581" y="437"/>
                  </a:lnTo>
                  <a:lnTo>
                    <a:pt x="581" y="439"/>
                  </a:lnTo>
                  <a:lnTo>
                    <a:pt x="582" y="442"/>
                  </a:lnTo>
                  <a:lnTo>
                    <a:pt x="583" y="443"/>
                  </a:lnTo>
                  <a:lnTo>
                    <a:pt x="584" y="440"/>
                  </a:lnTo>
                  <a:lnTo>
                    <a:pt x="584" y="437"/>
                  </a:lnTo>
                  <a:lnTo>
                    <a:pt x="584" y="433"/>
                  </a:lnTo>
                  <a:lnTo>
                    <a:pt x="585" y="433"/>
                  </a:lnTo>
                  <a:lnTo>
                    <a:pt x="587" y="442"/>
                  </a:lnTo>
                  <a:lnTo>
                    <a:pt x="588" y="440"/>
                  </a:lnTo>
                  <a:lnTo>
                    <a:pt x="588" y="438"/>
                  </a:lnTo>
                  <a:lnTo>
                    <a:pt x="588" y="436"/>
                  </a:lnTo>
                  <a:lnTo>
                    <a:pt x="590" y="434"/>
                  </a:lnTo>
                  <a:lnTo>
                    <a:pt x="590" y="432"/>
                  </a:lnTo>
                  <a:lnTo>
                    <a:pt x="590" y="431"/>
                  </a:lnTo>
                  <a:lnTo>
                    <a:pt x="591" y="436"/>
                  </a:lnTo>
                  <a:lnTo>
                    <a:pt x="591" y="439"/>
                  </a:lnTo>
                  <a:lnTo>
                    <a:pt x="594" y="440"/>
                  </a:lnTo>
                  <a:lnTo>
                    <a:pt x="596" y="440"/>
                  </a:lnTo>
                  <a:lnTo>
                    <a:pt x="597" y="436"/>
                  </a:lnTo>
                  <a:lnTo>
                    <a:pt x="599" y="440"/>
                  </a:lnTo>
                  <a:lnTo>
                    <a:pt x="599" y="444"/>
                  </a:lnTo>
                  <a:lnTo>
                    <a:pt x="597" y="445"/>
                  </a:lnTo>
                  <a:lnTo>
                    <a:pt x="600" y="446"/>
                  </a:lnTo>
                  <a:lnTo>
                    <a:pt x="601" y="446"/>
                  </a:lnTo>
                  <a:lnTo>
                    <a:pt x="601" y="444"/>
                  </a:lnTo>
                  <a:lnTo>
                    <a:pt x="602" y="443"/>
                  </a:lnTo>
                  <a:lnTo>
                    <a:pt x="605" y="440"/>
                  </a:lnTo>
                  <a:lnTo>
                    <a:pt x="605" y="439"/>
                  </a:lnTo>
                  <a:lnTo>
                    <a:pt x="605" y="436"/>
                  </a:lnTo>
                  <a:lnTo>
                    <a:pt x="606" y="433"/>
                  </a:lnTo>
                  <a:lnTo>
                    <a:pt x="607" y="436"/>
                  </a:lnTo>
                  <a:lnTo>
                    <a:pt x="608" y="438"/>
                  </a:lnTo>
                  <a:lnTo>
                    <a:pt x="609" y="442"/>
                  </a:lnTo>
                  <a:lnTo>
                    <a:pt x="609" y="440"/>
                  </a:lnTo>
                  <a:lnTo>
                    <a:pt x="611" y="438"/>
                  </a:lnTo>
                  <a:lnTo>
                    <a:pt x="612" y="438"/>
                  </a:lnTo>
                  <a:lnTo>
                    <a:pt x="613" y="440"/>
                  </a:lnTo>
                  <a:lnTo>
                    <a:pt x="613" y="443"/>
                  </a:lnTo>
                  <a:lnTo>
                    <a:pt x="613" y="445"/>
                  </a:lnTo>
                  <a:lnTo>
                    <a:pt x="614" y="446"/>
                  </a:lnTo>
                  <a:lnTo>
                    <a:pt x="617" y="443"/>
                  </a:lnTo>
                  <a:lnTo>
                    <a:pt x="618" y="442"/>
                  </a:lnTo>
                  <a:lnTo>
                    <a:pt x="619" y="443"/>
                  </a:lnTo>
                  <a:lnTo>
                    <a:pt x="620" y="443"/>
                  </a:lnTo>
                  <a:lnTo>
                    <a:pt x="620" y="440"/>
                  </a:lnTo>
                  <a:lnTo>
                    <a:pt x="621" y="436"/>
                  </a:lnTo>
                  <a:lnTo>
                    <a:pt x="624" y="434"/>
                  </a:lnTo>
                  <a:lnTo>
                    <a:pt x="625" y="436"/>
                  </a:lnTo>
                  <a:lnTo>
                    <a:pt x="628" y="436"/>
                  </a:lnTo>
                  <a:lnTo>
                    <a:pt x="628" y="438"/>
                  </a:lnTo>
                  <a:lnTo>
                    <a:pt x="629" y="442"/>
                  </a:lnTo>
                  <a:lnTo>
                    <a:pt x="631" y="440"/>
                  </a:lnTo>
                  <a:lnTo>
                    <a:pt x="631" y="438"/>
                  </a:lnTo>
                  <a:lnTo>
                    <a:pt x="638" y="440"/>
                  </a:lnTo>
                  <a:lnTo>
                    <a:pt x="637" y="439"/>
                  </a:lnTo>
                  <a:lnTo>
                    <a:pt x="634" y="437"/>
                  </a:lnTo>
                  <a:lnTo>
                    <a:pt x="631" y="437"/>
                  </a:lnTo>
                  <a:lnTo>
                    <a:pt x="635" y="434"/>
                  </a:lnTo>
                  <a:lnTo>
                    <a:pt x="634" y="433"/>
                  </a:lnTo>
                  <a:lnTo>
                    <a:pt x="630" y="433"/>
                  </a:lnTo>
                  <a:lnTo>
                    <a:pt x="631" y="432"/>
                  </a:lnTo>
                  <a:lnTo>
                    <a:pt x="631" y="431"/>
                  </a:lnTo>
                  <a:lnTo>
                    <a:pt x="628" y="431"/>
                  </a:lnTo>
                  <a:lnTo>
                    <a:pt x="624" y="430"/>
                  </a:lnTo>
                  <a:lnTo>
                    <a:pt x="621" y="428"/>
                  </a:lnTo>
                  <a:lnTo>
                    <a:pt x="619" y="426"/>
                  </a:lnTo>
                  <a:lnTo>
                    <a:pt x="617" y="425"/>
                  </a:lnTo>
                  <a:lnTo>
                    <a:pt x="614" y="422"/>
                  </a:lnTo>
                  <a:lnTo>
                    <a:pt x="613" y="421"/>
                  </a:lnTo>
                  <a:lnTo>
                    <a:pt x="611" y="417"/>
                  </a:lnTo>
                  <a:lnTo>
                    <a:pt x="613" y="416"/>
                  </a:lnTo>
                  <a:lnTo>
                    <a:pt x="617" y="417"/>
                  </a:lnTo>
                  <a:lnTo>
                    <a:pt x="615" y="415"/>
                  </a:lnTo>
                  <a:lnTo>
                    <a:pt x="614" y="414"/>
                  </a:lnTo>
                  <a:lnTo>
                    <a:pt x="613" y="410"/>
                  </a:lnTo>
                  <a:lnTo>
                    <a:pt x="611" y="411"/>
                  </a:lnTo>
                  <a:lnTo>
                    <a:pt x="611" y="414"/>
                  </a:lnTo>
                  <a:lnTo>
                    <a:pt x="607" y="413"/>
                  </a:lnTo>
                  <a:lnTo>
                    <a:pt x="603" y="414"/>
                  </a:lnTo>
                  <a:lnTo>
                    <a:pt x="595" y="410"/>
                  </a:lnTo>
                  <a:lnTo>
                    <a:pt x="590" y="409"/>
                  </a:lnTo>
                  <a:lnTo>
                    <a:pt x="590" y="407"/>
                  </a:lnTo>
                  <a:lnTo>
                    <a:pt x="588" y="408"/>
                  </a:lnTo>
                  <a:lnTo>
                    <a:pt x="585" y="408"/>
                  </a:lnTo>
                  <a:lnTo>
                    <a:pt x="584" y="407"/>
                  </a:lnTo>
                  <a:lnTo>
                    <a:pt x="582" y="405"/>
                  </a:lnTo>
                  <a:lnTo>
                    <a:pt x="581" y="404"/>
                  </a:lnTo>
                  <a:lnTo>
                    <a:pt x="572" y="404"/>
                  </a:lnTo>
                  <a:lnTo>
                    <a:pt x="567" y="404"/>
                  </a:lnTo>
                  <a:lnTo>
                    <a:pt x="566" y="403"/>
                  </a:lnTo>
                  <a:lnTo>
                    <a:pt x="564" y="402"/>
                  </a:lnTo>
                  <a:lnTo>
                    <a:pt x="561" y="402"/>
                  </a:lnTo>
                  <a:lnTo>
                    <a:pt x="556" y="401"/>
                  </a:lnTo>
                  <a:lnTo>
                    <a:pt x="554" y="399"/>
                  </a:lnTo>
                  <a:lnTo>
                    <a:pt x="553" y="395"/>
                  </a:lnTo>
                  <a:lnTo>
                    <a:pt x="549" y="395"/>
                  </a:lnTo>
                  <a:lnTo>
                    <a:pt x="547" y="393"/>
                  </a:lnTo>
                  <a:lnTo>
                    <a:pt x="541" y="392"/>
                  </a:lnTo>
                  <a:lnTo>
                    <a:pt x="540" y="392"/>
                  </a:lnTo>
                  <a:lnTo>
                    <a:pt x="536" y="392"/>
                  </a:lnTo>
                  <a:lnTo>
                    <a:pt x="532" y="392"/>
                  </a:lnTo>
                  <a:lnTo>
                    <a:pt x="532" y="390"/>
                  </a:lnTo>
                  <a:lnTo>
                    <a:pt x="529" y="390"/>
                  </a:lnTo>
                  <a:lnTo>
                    <a:pt x="528" y="391"/>
                  </a:lnTo>
                  <a:lnTo>
                    <a:pt x="520" y="392"/>
                  </a:lnTo>
                  <a:lnTo>
                    <a:pt x="518" y="391"/>
                  </a:lnTo>
                  <a:lnTo>
                    <a:pt x="513" y="389"/>
                  </a:lnTo>
                  <a:lnTo>
                    <a:pt x="510" y="389"/>
                  </a:lnTo>
                  <a:lnTo>
                    <a:pt x="503" y="387"/>
                  </a:lnTo>
                  <a:lnTo>
                    <a:pt x="499" y="386"/>
                  </a:lnTo>
                  <a:lnTo>
                    <a:pt x="493" y="386"/>
                  </a:lnTo>
                  <a:lnTo>
                    <a:pt x="489" y="383"/>
                  </a:lnTo>
                  <a:lnTo>
                    <a:pt x="485" y="381"/>
                  </a:lnTo>
                  <a:lnTo>
                    <a:pt x="485" y="384"/>
                  </a:lnTo>
                  <a:lnTo>
                    <a:pt x="484" y="385"/>
                  </a:lnTo>
                  <a:lnTo>
                    <a:pt x="482" y="385"/>
                  </a:lnTo>
                  <a:lnTo>
                    <a:pt x="479" y="385"/>
                  </a:lnTo>
                  <a:lnTo>
                    <a:pt x="476" y="383"/>
                  </a:lnTo>
                  <a:lnTo>
                    <a:pt x="473" y="381"/>
                  </a:lnTo>
                  <a:lnTo>
                    <a:pt x="469" y="383"/>
                  </a:lnTo>
                  <a:lnTo>
                    <a:pt x="467" y="384"/>
                  </a:lnTo>
                  <a:lnTo>
                    <a:pt x="464" y="381"/>
                  </a:lnTo>
                  <a:lnTo>
                    <a:pt x="463" y="380"/>
                  </a:lnTo>
                  <a:lnTo>
                    <a:pt x="458" y="380"/>
                  </a:lnTo>
                  <a:lnTo>
                    <a:pt x="453" y="380"/>
                  </a:lnTo>
                  <a:lnTo>
                    <a:pt x="453" y="378"/>
                  </a:lnTo>
                  <a:lnTo>
                    <a:pt x="451" y="375"/>
                  </a:lnTo>
                  <a:lnTo>
                    <a:pt x="448" y="374"/>
                  </a:lnTo>
                  <a:lnTo>
                    <a:pt x="444" y="373"/>
                  </a:lnTo>
                  <a:lnTo>
                    <a:pt x="443" y="371"/>
                  </a:lnTo>
                  <a:lnTo>
                    <a:pt x="440" y="368"/>
                  </a:lnTo>
                  <a:lnTo>
                    <a:pt x="435" y="365"/>
                  </a:lnTo>
                  <a:lnTo>
                    <a:pt x="432" y="361"/>
                  </a:lnTo>
                  <a:lnTo>
                    <a:pt x="432" y="353"/>
                  </a:lnTo>
                  <a:lnTo>
                    <a:pt x="432" y="349"/>
                  </a:lnTo>
                  <a:lnTo>
                    <a:pt x="434" y="349"/>
                  </a:lnTo>
                  <a:lnTo>
                    <a:pt x="435" y="353"/>
                  </a:lnTo>
                  <a:lnTo>
                    <a:pt x="436" y="354"/>
                  </a:lnTo>
                  <a:lnTo>
                    <a:pt x="437" y="351"/>
                  </a:lnTo>
                  <a:lnTo>
                    <a:pt x="437" y="348"/>
                  </a:lnTo>
                  <a:lnTo>
                    <a:pt x="437" y="347"/>
                  </a:lnTo>
                  <a:lnTo>
                    <a:pt x="438" y="349"/>
                  </a:lnTo>
                  <a:lnTo>
                    <a:pt x="438" y="353"/>
                  </a:lnTo>
                  <a:lnTo>
                    <a:pt x="437" y="356"/>
                  </a:lnTo>
                  <a:lnTo>
                    <a:pt x="437" y="360"/>
                  </a:lnTo>
                  <a:lnTo>
                    <a:pt x="436" y="362"/>
                  </a:lnTo>
                  <a:lnTo>
                    <a:pt x="437" y="363"/>
                  </a:lnTo>
                  <a:lnTo>
                    <a:pt x="440" y="365"/>
                  </a:lnTo>
                  <a:lnTo>
                    <a:pt x="441" y="367"/>
                  </a:lnTo>
                  <a:lnTo>
                    <a:pt x="442" y="368"/>
                  </a:lnTo>
                  <a:lnTo>
                    <a:pt x="446" y="371"/>
                  </a:lnTo>
                  <a:lnTo>
                    <a:pt x="447" y="369"/>
                  </a:lnTo>
                  <a:lnTo>
                    <a:pt x="448" y="372"/>
                  </a:lnTo>
                  <a:lnTo>
                    <a:pt x="449" y="372"/>
                  </a:lnTo>
                  <a:lnTo>
                    <a:pt x="452" y="372"/>
                  </a:lnTo>
                  <a:lnTo>
                    <a:pt x="453" y="374"/>
                  </a:lnTo>
                  <a:lnTo>
                    <a:pt x="454" y="373"/>
                  </a:lnTo>
                  <a:lnTo>
                    <a:pt x="454" y="371"/>
                  </a:lnTo>
                  <a:lnTo>
                    <a:pt x="452" y="368"/>
                  </a:lnTo>
                  <a:lnTo>
                    <a:pt x="451" y="366"/>
                  </a:lnTo>
                  <a:lnTo>
                    <a:pt x="452" y="362"/>
                  </a:lnTo>
                  <a:lnTo>
                    <a:pt x="451" y="359"/>
                  </a:lnTo>
                  <a:lnTo>
                    <a:pt x="451" y="355"/>
                  </a:lnTo>
                  <a:lnTo>
                    <a:pt x="452" y="351"/>
                  </a:lnTo>
                  <a:lnTo>
                    <a:pt x="453" y="351"/>
                  </a:lnTo>
                  <a:lnTo>
                    <a:pt x="453" y="353"/>
                  </a:lnTo>
                  <a:lnTo>
                    <a:pt x="452" y="356"/>
                  </a:lnTo>
                  <a:lnTo>
                    <a:pt x="454" y="355"/>
                  </a:lnTo>
                  <a:lnTo>
                    <a:pt x="455" y="356"/>
                  </a:lnTo>
                  <a:lnTo>
                    <a:pt x="453" y="360"/>
                  </a:lnTo>
                  <a:lnTo>
                    <a:pt x="454" y="361"/>
                  </a:lnTo>
                  <a:lnTo>
                    <a:pt x="455" y="361"/>
                  </a:lnTo>
                  <a:lnTo>
                    <a:pt x="457" y="359"/>
                  </a:lnTo>
                  <a:lnTo>
                    <a:pt x="457" y="355"/>
                  </a:lnTo>
                  <a:lnTo>
                    <a:pt x="457" y="353"/>
                  </a:lnTo>
                  <a:lnTo>
                    <a:pt x="459" y="353"/>
                  </a:lnTo>
                  <a:lnTo>
                    <a:pt x="459" y="357"/>
                  </a:lnTo>
                  <a:lnTo>
                    <a:pt x="460" y="361"/>
                  </a:lnTo>
                  <a:lnTo>
                    <a:pt x="460" y="362"/>
                  </a:lnTo>
                  <a:lnTo>
                    <a:pt x="461" y="361"/>
                  </a:lnTo>
                  <a:lnTo>
                    <a:pt x="464" y="360"/>
                  </a:lnTo>
                  <a:lnTo>
                    <a:pt x="464" y="362"/>
                  </a:lnTo>
                  <a:lnTo>
                    <a:pt x="465" y="363"/>
                  </a:lnTo>
                  <a:lnTo>
                    <a:pt x="465" y="365"/>
                  </a:lnTo>
                  <a:lnTo>
                    <a:pt x="466" y="365"/>
                  </a:lnTo>
                  <a:lnTo>
                    <a:pt x="466" y="366"/>
                  </a:lnTo>
                  <a:lnTo>
                    <a:pt x="469" y="367"/>
                  </a:lnTo>
                  <a:lnTo>
                    <a:pt x="470" y="365"/>
                  </a:lnTo>
                  <a:lnTo>
                    <a:pt x="470" y="363"/>
                  </a:lnTo>
                  <a:lnTo>
                    <a:pt x="471" y="362"/>
                  </a:lnTo>
                  <a:lnTo>
                    <a:pt x="471" y="367"/>
                  </a:lnTo>
                  <a:lnTo>
                    <a:pt x="471" y="372"/>
                  </a:lnTo>
                  <a:lnTo>
                    <a:pt x="471" y="373"/>
                  </a:lnTo>
                  <a:lnTo>
                    <a:pt x="472" y="369"/>
                  </a:lnTo>
                  <a:lnTo>
                    <a:pt x="473" y="367"/>
                  </a:lnTo>
                  <a:lnTo>
                    <a:pt x="473" y="363"/>
                  </a:lnTo>
                  <a:lnTo>
                    <a:pt x="475" y="362"/>
                  </a:lnTo>
                  <a:lnTo>
                    <a:pt x="475" y="367"/>
                  </a:lnTo>
                  <a:lnTo>
                    <a:pt x="473" y="372"/>
                  </a:lnTo>
                  <a:lnTo>
                    <a:pt x="473" y="373"/>
                  </a:lnTo>
                  <a:lnTo>
                    <a:pt x="475" y="373"/>
                  </a:lnTo>
                  <a:lnTo>
                    <a:pt x="476" y="372"/>
                  </a:lnTo>
                  <a:lnTo>
                    <a:pt x="476" y="373"/>
                  </a:lnTo>
                  <a:lnTo>
                    <a:pt x="477" y="375"/>
                  </a:lnTo>
                  <a:lnTo>
                    <a:pt x="478" y="379"/>
                  </a:lnTo>
                  <a:lnTo>
                    <a:pt x="479" y="378"/>
                  </a:lnTo>
                  <a:lnTo>
                    <a:pt x="479" y="373"/>
                  </a:lnTo>
                  <a:lnTo>
                    <a:pt x="479" y="372"/>
                  </a:lnTo>
                  <a:lnTo>
                    <a:pt x="482" y="371"/>
                  </a:lnTo>
                  <a:lnTo>
                    <a:pt x="484" y="369"/>
                  </a:lnTo>
                  <a:lnTo>
                    <a:pt x="485" y="368"/>
                  </a:lnTo>
                  <a:lnTo>
                    <a:pt x="482" y="365"/>
                  </a:lnTo>
                  <a:lnTo>
                    <a:pt x="481" y="360"/>
                  </a:lnTo>
                  <a:lnTo>
                    <a:pt x="482" y="360"/>
                  </a:lnTo>
                  <a:lnTo>
                    <a:pt x="482" y="361"/>
                  </a:lnTo>
                  <a:lnTo>
                    <a:pt x="483" y="361"/>
                  </a:lnTo>
                  <a:lnTo>
                    <a:pt x="485" y="360"/>
                  </a:lnTo>
                  <a:lnTo>
                    <a:pt x="488" y="360"/>
                  </a:lnTo>
                  <a:lnTo>
                    <a:pt x="488" y="356"/>
                  </a:lnTo>
                  <a:lnTo>
                    <a:pt x="488" y="355"/>
                  </a:lnTo>
                  <a:lnTo>
                    <a:pt x="489" y="356"/>
                  </a:lnTo>
                  <a:lnTo>
                    <a:pt x="490" y="359"/>
                  </a:lnTo>
                  <a:lnTo>
                    <a:pt x="493" y="356"/>
                  </a:lnTo>
                  <a:lnTo>
                    <a:pt x="491" y="354"/>
                  </a:lnTo>
                  <a:lnTo>
                    <a:pt x="494" y="353"/>
                  </a:lnTo>
                  <a:lnTo>
                    <a:pt x="494" y="351"/>
                  </a:lnTo>
                  <a:lnTo>
                    <a:pt x="493" y="349"/>
                  </a:lnTo>
                  <a:lnTo>
                    <a:pt x="496" y="349"/>
                  </a:lnTo>
                  <a:lnTo>
                    <a:pt x="499" y="348"/>
                  </a:lnTo>
                  <a:lnTo>
                    <a:pt x="496" y="338"/>
                  </a:lnTo>
                  <a:lnTo>
                    <a:pt x="497" y="333"/>
                  </a:lnTo>
                  <a:lnTo>
                    <a:pt x="499" y="332"/>
                  </a:lnTo>
                  <a:lnTo>
                    <a:pt x="499" y="336"/>
                  </a:lnTo>
                  <a:lnTo>
                    <a:pt x="500" y="336"/>
                  </a:lnTo>
                  <a:lnTo>
                    <a:pt x="500" y="332"/>
                  </a:lnTo>
                  <a:lnTo>
                    <a:pt x="500" y="330"/>
                  </a:lnTo>
                  <a:lnTo>
                    <a:pt x="501" y="331"/>
                  </a:lnTo>
                  <a:lnTo>
                    <a:pt x="502" y="329"/>
                  </a:lnTo>
                  <a:lnTo>
                    <a:pt x="505" y="329"/>
                  </a:lnTo>
                  <a:lnTo>
                    <a:pt x="507" y="330"/>
                  </a:lnTo>
                  <a:lnTo>
                    <a:pt x="507" y="333"/>
                  </a:lnTo>
                  <a:lnTo>
                    <a:pt x="507" y="337"/>
                  </a:lnTo>
                  <a:lnTo>
                    <a:pt x="507" y="338"/>
                  </a:lnTo>
                  <a:lnTo>
                    <a:pt x="508" y="338"/>
                  </a:lnTo>
                  <a:lnTo>
                    <a:pt x="510" y="341"/>
                  </a:lnTo>
                  <a:lnTo>
                    <a:pt x="511" y="338"/>
                  </a:lnTo>
                  <a:lnTo>
                    <a:pt x="511" y="332"/>
                  </a:lnTo>
                  <a:lnTo>
                    <a:pt x="510" y="330"/>
                  </a:lnTo>
                  <a:lnTo>
                    <a:pt x="511" y="327"/>
                  </a:lnTo>
                  <a:lnTo>
                    <a:pt x="513" y="325"/>
                  </a:lnTo>
                  <a:lnTo>
                    <a:pt x="513" y="323"/>
                  </a:lnTo>
                  <a:lnTo>
                    <a:pt x="512" y="319"/>
                  </a:lnTo>
                  <a:lnTo>
                    <a:pt x="512" y="315"/>
                  </a:lnTo>
                  <a:lnTo>
                    <a:pt x="514" y="313"/>
                  </a:lnTo>
                  <a:lnTo>
                    <a:pt x="514" y="317"/>
                  </a:lnTo>
                  <a:lnTo>
                    <a:pt x="519" y="315"/>
                  </a:lnTo>
                  <a:lnTo>
                    <a:pt x="520" y="318"/>
                  </a:lnTo>
                  <a:lnTo>
                    <a:pt x="522" y="315"/>
                  </a:lnTo>
                  <a:lnTo>
                    <a:pt x="523" y="314"/>
                  </a:lnTo>
                  <a:lnTo>
                    <a:pt x="524" y="314"/>
                  </a:lnTo>
                  <a:lnTo>
                    <a:pt x="523" y="323"/>
                  </a:lnTo>
                  <a:lnTo>
                    <a:pt x="524" y="324"/>
                  </a:lnTo>
                  <a:lnTo>
                    <a:pt x="526" y="324"/>
                  </a:lnTo>
                  <a:lnTo>
                    <a:pt x="526" y="321"/>
                  </a:lnTo>
                  <a:lnTo>
                    <a:pt x="525" y="315"/>
                  </a:lnTo>
                  <a:lnTo>
                    <a:pt x="525" y="312"/>
                  </a:lnTo>
                  <a:lnTo>
                    <a:pt x="526" y="309"/>
                  </a:lnTo>
                  <a:lnTo>
                    <a:pt x="529" y="308"/>
                  </a:lnTo>
                  <a:lnTo>
                    <a:pt x="528" y="304"/>
                  </a:lnTo>
                  <a:lnTo>
                    <a:pt x="531" y="306"/>
                  </a:lnTo>
                  <a:lnTo>
                    <a:pt x="530" y="303"/>
                  </a:lnTo>
                  <a:lnTo>
                    <a:pt x="530" y="300"/>
                  </a:lnTo>
                  <a:lnTo>
                    <a:pt x="531" y="298"/>
                  </a:lnTo>
                  <a:lnTo>
                    <a:pt x="534" y="302"/>
                  </a:lnTo>
                  <a:lnTo>
                    <a:pt x="536" y="302"/>
                  </a:lnTo>
                  <a:lnTo>
                    <a:pt x="537" y="300"/>
                  </a:lnTo>
                  <a:lnTo>
                    <a:pt x="538" y="298"/>
                  </a:lnTo>
                  <a:lnTo>
                    <a:pt x="538" y="297"/>
                  </a:lnTo>
                  <a:lnTo>
                    <a:pt x="538" y="295"/>
                  </a:lnTo>
                  <a:lnTo>
                    <a:pt x="538" y="291"/>
                  </a:lnTo>
                  <a:lnTo>
                    <a:pt x="538" y="290"/>
                  </a:lnTo>
                  <a:lnTo>
                    <a:pt x="540" y="290"/>
                  </a:lnTo>
                  <a:lnTo>
                    <a:pt x="541" y="291"/>
                  </a:lnTo>
                  <a:lnTo>
                    <a:pt x="542" y="290"/>
                  </a:lnTo>
                  <a:lnTo>
                    <a:pt x="538" y="288"/>
                  </a:lnTo>
                  <a:lnTo>
                    <a:pt x="538" y="285"/>
                  </a:lnTo>
                  <a:lnTo>
                    <a:pt x="537" y="284"/>
                  </a:lnTo>
                  <a:lnTo>
                    <a:pt x="534" y="284"/>
                  </a:lnTo>
                  <a:lnTo>
                    <a:pt x="534" y="283"/>
                  </a:lnTo>
                  <a:lnTo>
                    <a:pt x="535" y="282"/>
                  </a:lnTo>
                  <a:lnTo>
                    <a:pt x="537" y="282"/>
                  </a:lnTo>
                  <a:lnTo>
                    <a:pt x="538" y="282"/>
                  </a:lnTo>
                  <a:lnTo>
                    <a:pt x="540" y="283"/>
                  </a:lnTo>
                  <a:lnTo>
                    <a:pt x="541" y="285"/>
                  </a:lnTo>
                  <a:lnTo>
                    <a:pt x="541" y="288"/>
                  </a:lnTo>
                  <a:lnTo>
                    <a:pt x="542" y="288"/>
                  </a:lnTo>
                  <a:lnTo>
                    <a:pt x="542" y="286"/>
                  </a:lnTo>
                  <a:lnTo>
                    <a:pt x="544" y="289"/>
                  </a:lnTo>
                  <a:lnTo>
                    <a:pt x="544" y="286"/>
                  </a:lnTo>
                  <a:lnTo>
                    <a:pt x="543" y="285"/>
                  </a:lnTo>
                  <a:lnTo>
                    <a:pt x="543" y="283"/>
                  </a:lnTo>
                  <a:lnTo>
                    <a:pt x="544" y="282"/>
                  </a:lnTo>
                  <a:lnTo>
                    <a:pt x="546" y="283"/>
                  </a:lnTo>
                  <a:lnTo>
                    <a:pt x="547" y="283"/>
                  </a:lnTo>
                  <a:lnTo>
                    <a:pt x="548" y="280"/>
                  </a:lnTo>
                  <a:lnTo>
                    <a:pt x="547" y="279"/>
                  </a:lnTo>
                  <a:lnTo>
                    <a:pt x="544" y="279"/>
                  </a:lnTo>
                  <a:lnTo>
                    <a:pt x="543" y="279"/>
                  </a:lnTo>
                  <a:lnTo>
                    <a:pt x="542" y="278"/>
                  </a:lnTo>
                  <a:lnTo>
                    <a:pt x="540" y="277"/>
                  </a:lnTo>
                  <a:lnTo>
                    <a:pt x="544" y="276"/>
                  </a:lnTo>
                  <a:lnTo>
                    <a:pt x="546" y="274"/>
                  </a:lnTo>
                  <a:lnTo>
                    <a:pt x="541" y="274"/>
                  </a:lnTo>
                  <a:lnTo>
                    <a:pt x="541" y="273"/>
                  </a:lnTo>
                  <a:lnTo>
                    <a:pt x="544" y="272"/>
                  </a:lnTo>
                  <a:lnTo>
                    <a:pt x="547" y="272"/>
                  </a:lnTo>
                  <a:lnTo>
                    <a:pt x="549" y="272"/>
                  </a:lnTo>
                  <a:lnTo>
                    <a:pt x="549" y="270"/>
                  </a:lnTo>
                  <a:lnTo>
                    <a:pt x="550" y="270"/>
                  </a:lnTo>
                  <a:lnTo>
                    <a:pt x="550" y="271"/>
                  </a:lnTo>
                  <a:lnTo>
                    <a:pt x="552" y="271"/>
                  </a:lnTo>
                  <a:lnTo>
                    <a:pt x="554" y="271"/>
                  </a:lnTo>
                  <a:lnTo>
                    <a:pt x="553" y="270"/>
                  </a:lnTo>
                  <a:lnTo>
                    <a:pt x="552" y="268"/>
                  </a:lnTo>
                  <a:lnTo>
                    <a:pt x="554" y="267"/>
                  </a:lnTo>
                  <a:lnTo>
                    <a:pt x="554" y="268"/>
                  </a:lnTo>
                  <a:lnTo>
                    <a:pt x="558" y="270"/>
                  </a:lnTo>
                  <a:lnTo>
                    <a:pt x="559" y="270"/>
                  </a:lnTo>
                  <a:lnTo>
                    <a:pt x="559" y="268"/>
                  </a:lnTo>
                  <a:lnTo>
                    <a:pt x="555" y="266"/>
                  </a:lnTo>
                  <a:lnTo>
                    <a:pt x="554" y="265"/>
                  </a:lnTo>
                  <a:lnTo>
                    <a:pt x="559" y="265"/>
                  </a:lnTo>
                  <a:lnTo>
                    <a:pt x="560" y="264"/>
                  </a:lnTo>
                  <a:lnTo>
                    <a:pt x="554" y="262"/>
                  </a:lnTo>
                  <a:lnTo>
                    <a:pt x="553" y="264"/>
                  </a:lnTo>
                  <a:lnTo>
                    <a:pt x="552" y="262"/>
                  </a:lnTo>
                  <a:lnTo>
                    <a:pt x="550" y="261"/>
                  </a:lnTo>
                  <a:lnTo>
                    <a:pt x="549" y="260"/>
                  </a:lnTo>
                  <a:lnTo>
                    <a:pt x="549" y="265"/>
                  </a:lnTo>
                  <a:lnTo>
                    <a:pt x="548" y="265"/>
                  </a:lnTo>
                  <a:lnTo>
                    <a:pt x="547" y="266"/>
                  </a:lnTo>
                  <a:lnTo>
                    <a:pt x="546" y="267"/>
                  </a:lnTo>
                  <a:lnTo>
                    <a:pt x="546" y="268"/>
                  </a:lnTo>
                  <a:lnTo>
                    <a:pt x="544" y="268"/>
                  </a:lnTo>
                  <a:lnTo>
                    <a:pt x="543" y="268"/>
                  </a:lnTo>
                  <a:lnTo>
                    <a:pt x="542" y="267"/>
                  </a:lnTo>
                  <a:lnTo>
                    <a:pt x="542" y="265"/>
                  </a:lnTo>
                  <a:lnTo>
                    <a:pt x="541" y="265"/>
                  </a:lnTo>
                  <a:lnTo>
                    <a:pt x="540" y="265"/>
                  </a:lnTo>
                  <a:lnTo>
                    <a:pt x="540" y="266"/>
                  </a:lnTo>
                  <a:lnTo>
                    <a:pt x="540" y="267"/>
                  </a:lnTo>
                  <a:lnTo>
                    <a:pt x="538" y="268"/>
                  </a:lnTo>
                  <a:lnTo>
                    <a:pt x="538" y="270"/>
                  </a:lnTo>
                  <a:lnTo>
                    <a:pt x="538" y="272"/>
                  </a:lnTo>
                  <a:lnTo>
                    <a:pt x="538" y="273"/>
                  </a:lnTo>
                  <a:lnTo>
                    <a:pt x="537" y="273"/>
                  </a:lnTo>
                  <a:lnTo>
                    <a:pt x="536" y="272"/>
                  </a:lnTo>
                  <a:lnTo>
                    <a:pt x="535" y="271"/>
                  </a:lnTo>
                  <a:lnTo>
                    <a:pt x="534" y="270"/>
                  </a:lnTo>
                  <a:lnTo>
                    <a:pt x="532" y="270"/>
                  </a:lnTo>
                  <a:lnTo>
                    <a:pt x="531" y="270"/>
                  </a:lnTo>
                  <a:lnTo>
                    <a:pt x="530" y="270"/>
                  </a:lnTo>
                  <a:lnTo>
                    <a:pt x="529" y="268"/>
                  </a:lnTo>
                  <a:lnTo>
                    <a:pt x="530" y="267"/>
                  </a:lnTo>
                  <a:lnTo>
                    <a:pt x="531" y="267"/>
                  </a:lnTo>
                  <a:lnTo>
                    <a:pt x="534" y="266"/>
                  </a:lnTo>
                  <a:lnTo>
                    <a:pt x="535" y="265"/>
                  </a:lnTo>
                  <a:lnTo>
                    <a:pt x="535" y="264"/>
                  </a:lnTo>
                  <a:lnTo>
                    <a:pt x="536" y="262"/>
                  </a:lnTo>
                  <a:lnTo>
                    <a:pt x="537" y="262"/>
                  </a:lnTo>
                  <a:lnTo>
                    <a:pt x="538" y="262"/>
                  </a:lnTo>
                  <a:lnTo>
                    <a:pt x="538" y="261"/>
                  </a:lnTo>
                  <a:lnTo>
                    <a:pt x="538" y="260"/>
                  </a:lnTo>
                  <a:lnTo>
                    <a:pt x="540" y="260"/>
                  </a:lnTo>
                  <a:lnTo>
                    <a:pt x="541" y="261"/>
                  </a:lnTo>
                  <a:lnTo>
                    <a:pt x="542" y="261"/>
                  </a:lnTo>
                  <a:lnTo>
                    <a:pt x="541" y="262"/>
                  </a:lnTo>
                  <a:lnTo>
                    <a:pt x="541" y="264"/>
                  </a:lnTo>
                  <a:lnTo>
                    <a:pt x="542" y="262"/>
                  </a:lnTo>
                  <a:lnTo>
                    <a:pt x="543" y="261"/>
                  </a:lnTo>
                  <a:lnTo>
                    <a:pt x="544" y="261"/>
                  </a:lnTo>
                  <a:lnTo>
                    <a:pt x="544" y="262"/>
                  </a:lnTo>
                  <a:lnTo>
                    <a:pt x="546" y="262"/>
                  </a:lnTo>
                  <a:lnTo>
                    <a:pt x="546" y="261"/>
                  </a:lnTo>
                  <a:lnTo>
                    <a:pt x="542" y="259"/>
                  </a:lnTo>
                  <a:lnTo>
                    <a:pt x="544" y="258"/>
                  </a:lnTo>
                  <a:lnTo>
                    <a:pt x="546" y="256"/>
                  </a:lnTo>
                  <a:lnTo>
                    <a:pt x="547" y="256"/>
                  </a:lnTo>
                  <a:lnTo>
                    <a:pt x="549" y="256"/>
                  </a:lnTo>
                  <a:lnTo>
                    <a:pt x="548" y="255"/>
                  </a:lnTo>
                  <a:lnTo>
                    <a:pt x="543" y="256"/>
                  </a:lnTo>
                  <a:lnTo>
                    <a:pt x="540" y="258"/>
                  </a:lnTo>
                  <a:lnTo>
                    <a:pt x="535" y="258"/>
                  </a:lnTo>
                  <a:lnTo>
                    <a:pt x="532" y="261"/>
                  </a:lnTo>
                  <a:lnTo>
                    <a:pt x="534" y="264"/>
                  </a:lnTo>
                  <a:lnTo>
                    <a:pt x="531" y="265"/>
                  </a:lnTo>
                  <a:lnTo>
                    <a:pt x="530" y="265"/>
                  </a:lnTo>
                  <a:lnTo>
                    <a:pt x="528" y="262"/>
                  </a:lnTo>
                  <a:lnTo>
                    <a:pt x="528" y="261"/>
                  </a:lnTo>
                  <a:lnTo>
                    <a:pt x="531" y="261"/>
                  </a:lnTo>
                  <a:lnTo>
                    <a:pt x="526" y="260"/>
                  </a:lnTo>
                  <a:lnTo>
                    <a:pt x="526" y="258"/>
                  </a:lnTo>
                  <a:lnTo>
                    <a:pt x="525" y="258"/>
                  </a:lnTo>
                  <a:lnTo>
                    <a:pt x="525" y="260"/>
                  </a:lnTo>
                  <a:lnTo>
                    <a:pt x="525" y="261"/>
                  </a:lnTo>
                  <a:lnTo>
                    <a:pt x="525" y="262"/>
                  </a:lnTo>
                  <a:lnTo>
                    <a:pt x="525" y="266"/>
                  </a:lnTo>
                  <a:lnTo>
                    <a:pt x="522" y="268"/>
                  </a:lnTo>
                  <a:lnTo>
                    <a:pt x="520" y="270"/>
                  </a:lnTo>
                  <a:lnTo>
                    <a:pt x="518" y="271"/>
                  </a:lnTo>
                  <a:lnTo>
                    <a:pt x="516" y="271"/>
                  </a:lnTo>
                  <a:lnTo>
                    <a:pt x="516" y="270"/>
                  </a:lnTo>
                  <a:lnTo>
                    <a:pt x="516" y="267"/>
                  </a:lnTo>
                  <a:lnTo>
                    <a:pt x="514" y="267"/>
                  </a:lnTo>
                  <a:lnTo>
                    <a:pt x="513" y="268"/>
                  </a:lnTo>
                  <a:lnTo>
                    <a:pt x="512" y="268"/>
                  </a:lnTo>
                  <a:lnTo>
                    <a:pt x="512" y="266"/>
                  </a:lnTo>
                  <a:lnTo>
                    <a:pt x="512" y="265"/>
                  </a:lnTo>
                  <a:lnTo>
                    <a:pt x="510" y="267"/>
                  </a:lnTo>
                  <a:lnTo>
                    <a:pt x="508" y="266"/>
                  </a:lnTo>
                  <a:lnTo>
                    <a:pt x="507" y="265"/>
                  </a:lnTo>
                  <a:lnTo>
                    <a:pt x="506" y="262"/>
                  </a:lnTo>
                  <a:lnTo>
                    <a:pt x="507" y="261"/>
                  </a:lnTo>
                  <a:lnTo>
                    <a:pt x="508" y="261"/>
                  </a:lnTo>
                  <a:lnTo>
                    <a:pt x="510" y="261"/>
                  </a:lnTo>
                  <a:lnTo>
                    <a:pt x="511" y="260"/>
                  </a:lnTo>
                  <a:lnTo>
                    <a:pt x="511" y="259"/>
                  </a:lnTo>
                  <a:lnTo>
                    <a:pt x="512" y="256"/>
                  </a:lnTo>
                  <a:lnTo>
                    <a:pt x="513" y="256"/>
                  </a:lnTo>
                  <a:lnTo>
                    <a:pt x="514" y="255"/>
                  </a:lnTo>
                  <a:lnTo>
                    <a:pt x="517" y="255"/>
                  </a:lnTo>
                  <a:lnTo>
                    <a:pt x="518" y="255"/>
                  </a:lnTo>
                  <a:lnTo>
                    <a:pt x="518" y="254"/>
                  </a:lnTo>
                  <a:lnTo>
                    <a:pt x="518" y="253"/>
                  </a:lnTo>
                  <a:lnTo>
                    <a:pt x="519" y="252"/>
                  </a:lnTo>
                  <a:lnTo>
                    <a:pt x="522" y="254"/>
                  </a:lnTo>
                  <a:lnTo>
                    <a:pt x="524" y="254"/>
                  </a:lnTo>
                  <a:lnTo>
                    <a:pt x="524" y="253"/>
                  </a:lnTo>
                  <a:lnTo>
                    <a:pt x="520" y="252"/>
                  </a:lnTo>
                  <a:lnTo>
                    <a:pt x="519" y="250"/>
                  </a:lnTo>
                  <a:lnTo>
                    <a:pt x="519" y="249"/>
                  </a:lnTo>
                  <a:lnTo>
                    <a:pt x="522" y="248"/>
                  </a:lnTo>
                  <a:lnTo>
                    <a:pt x="519" y="248"/>
                  </a:lnTo>
                  <a:lnTo>
                    <a:pt x="518" y="248"/>
                  </a:lnTo>
                  <a:lnTo>
                    <a:pt x="519" y="246"/>
                  </a:lnTo>
                  <a:lnTo>
                    <a:pt x="520" y="243"/>
                  </a:lnTo>
                  <a:lnTo>
                    <a:pt x="519" y="243"/>
                  </a:lnTo>
                  <a:lnTo>
                    <a:pt x="517" y="247"/>
                  </a:lnTo>
                  <a:lnTo>
                    <a:pt x="516" y="248"/>
                  </a:lnTo>
                  <a:lnTo>
                    <a:pt x="516" y="247"/>
                  </a:lnTo>
                  <a:lnTo>
                    <a:pt x="513" y="247"/>
                  </a:lnTo>
                  <a:lnTo>
                    <a:pt x="512" y="248"/>
                  </a:lnTo>
                  <a:lnTo>
                    <a:pt x="511" y="249"/>
                  </a:lnTo>
                  <a:lnTo>
                    <a:pt x="511" y="250"/>
                  </a:lnTo>
                  <a:lnTo>
                    <a:pt x="510" y="252"/>
                  </a:lnTo>
                  <a:lnTo>
                    <a:pt x="507" y="253"/>
                  </a:lnTo>
                  <a:lnTo>
                    <a:pt x="507" y="252"/>
                  </a:lnTo>
                  <a:lnTo>
                    <a:pt x="506" y="250"/>
                  </a:lnTo>
                  <a:lnTo>
                    <a:pt x="505" y="252"/>
                  </a:lnTo>
                  <a:lnTo>
                    <a:pt x="503" y="254"/>
                  </a:lnTo>
                  <a:lnTo>
                    <a:pt x="501" y="254"/>
                  </a:lnTo>
                  <a:lnTo>
                    <a:pt x="500" y="252"/>
                  </a:lnTo>
                  <a:lnTo>
                    <a:pt x="499" y="253"/>
                  </a:lnTo>
                  <a:lnTo>
                    <a:pt x="499" y="255"/>
                  </a:lnTo>
                  <a:lnTo>
                    <a:pt x="497" y="256"/>
                  </a:lnTo>
                  <a:lnTo>
                    <a:pt x="495" y="256"/>
                  </a:lnTo>
                  <a:lnTo>
                    <a:pt x="490" y="255"/>
                  </a:lnTo>
                  <a:lnTo>
                    <a:pt x="489" y="254"/>
                  </a:lnTo>
                  <a:lnTo>
                    <a:pt x="487" y="252"/>
                  </a:lnTo>
                  <a:lnTo>
                    <a:pt x="485" y="249"/>
                  </a:lnTo>
                  <a:lnTo>
                    <a:pt x="484" y="247"/>
                  </a:lnTo>
                  <a:lnTo>
                    <a:pt x="485" y="246"/>
                  </a:lnTo>
                  <a:lnTo>
                    <a:pt x="487" y="246"/>
                  </a:lnTo>
                  <a:lnTo>
                    <a:pt x="484" y="244"/>
                  </a:lnTo>
                  <a:lnTo>
                    <a:pt x="483" y="243"/>
                  </a:lnTo>
                  <a:lnTo>
                    <a:pt x="483" y="242"/>
                  </a:lnTo>
                  <a:lnTo>
                    <a:pt x="487" y="242"/>
                  </a:lnTo>
                  <a:lnTo>
                    <a:pt x="488" y="242"/>
                  </a:lnTo>
                  <a:lnTo>
                    <a:pt x="488" y="241"/>
                  </a:lnTo>
                  <a:lnTo>
                    <a:pt x="487" y="241"/>
                  </a:lnTo>
                  <a:lnTo>
                    <a:pt x="483" y="241"/>
                  </a:lnTo>
                  <a:lnTo>
                    <a:pt x="482" y="238"/>
                  </a:lnTo>
                  <a:lnTo>
                    <a:pt x="482" y="235"/>
                  </a:lnTo>
                  <a:lnTo>
                    <a:pt x="483" y="235"/>
                  </a:lnTo>
                  <a:lnTo>
                    <a:pt x="484" y="235"/>
                  </a:lnTo>
                  <a:lnTo>
                    <a:pt x="485" y="235"/>
                  </a:lnTo>
                  <a:lnTo>
                    <a:pt x="485" y="238"/>
                  </a:lnTo>
                  <a:lnTo>
                    <a:pt x="487" y="237"/>
                  </a:lnTo>
                  <a:lnTo>
                    <a:pt x="487" y="236"/>
                  </a:lnTo>
                  <a:lnTo>
                    <a:pt x="488" y="235"/>
                  </a:lnTo>
                  <a:lnTo>
                    <a:pt x="489" y="235"/>
                  </a:lnTo>
                  <a:lnTo>
                    <a:pt x="490" y="234"/>
                  </a:lnTo>
                  <a:lnTo>
                    <a:pt x="489" y="232"/>
                  </a:lnTo>
                  <a:lnTo>
                    <a:pt x="490" y="232"/>
                  </a:lnTo>
                  <a:lnTo>
                    <a:pt x="491" y="234"/>
                  </a:lnTo>
                  <a:lnTo>
                    <a:pt x="490" y="235"/>
                  </a:lnTo>
                  <a:lnTo>
                    <a:pt x="491" y="236"/>
                  </a:lnTo>
                  <a:lnTo>
                    <a:pt x="493" y="234"/>
                  </a:lnTo>
                  <a:lnTo>
                    <a:pt x="494" y="234"/>
                  </a:lnTo>
                  <a:lnTo>
                    <a:pt x="495" y="235"/>
                  </a:lnTo>
                  <a:lnTo>
                    <a:pt x="496" y="235"/>
                  </a:lnTo>
                  <a:lnTo>
                    <a:pt x="496" y="232"/>
                  </a:lnTo>
                  <a:lnTo>
                    <a:pt x="497" y="232"/>
                  </a:lnTo>
                  <a:lnTo>
                    <a:pt x="499" y="228"/>
                  </a:lnTo>
                  <a:lnTo>
                    <a:pt x="500" y="229"/>
                  </a:lnTo>
                  <a:lnTo>
                    <a:pt x="500" y="230"/>
                  </a:lnTo>
                  <a:lnTo>
                    <a:pt x="501" y="230"/>
                  </a:lnTo>
                  <a:lnTo>
                    <a:pt x="501" y="229"/>
                  </a:lnTo>
                  <a:lnTo>
                    <a:pt x="502" y="229"/>
                  </a:lnTo>
                  <a:lnTo>
                    <a:pt x="503" y="229"/>
                  </a:lnTo>
                  <a:lnTo>
                    <a:pt x="505" y="228"/>
                  </a:lnTo>
                  <a:lnTo>
                    <a:pt x="506" y="225"/>
                  </a:lnTo>
                  <a:lnTo>
                    <a:pt x="507" y="223"/>
                  </a:lnTo>
                  <a:lnTo>
                    <a:pt x="508" y="222"/>
                  </a:lnTo>
                  <a:lnTo>
                    <a:pt x="510" y="222"/>
                  </a:lnTo>
                  <a:lnTo>
                    <a:pt x="508" y="219"/>
                  </a:lnTo>
                  <a:lnTo>
                    <a:pt x="508" y="218"/>
                  </a:lnTo>
                  <a:lnTo>
                    <a:pt x="511" y="219"/>
                  </a:lnTo>
                  <a:lnTo>
                    <a:pt x="512" y="219"/>
                  </a:lnTo>
                  <a:lnTo>
                    <a:pt x="511" y="218"/>
                  </a:lnTo>
                  <a:lnTo>
                    <a:pt x="508" y="216"/>
                  </a:lnTo>
                  <a:lnTo>
                    <a:pt x="508" y="214"/>
                  </a:lnTo>
                  <a:lnTo>
                    <a:pt x="510" y="213"/>
                  </a:lnTo>
                  <a:lnTo>
                    <a:pt x="510" y="216"/>
                  </a:lnTo>
                  <a:lnTo>
                    <a:pt x="511" y="216"/>
                  </a:lnTo>
                  <a:lnTo>
                    <a:pt x="512" y="216"/>
                  </a:lnTo>
                  <a:lnTo>
                    <a:pt x="513" y="216"/>
                  </a:lnTo>
                  <a:lnTo>
                    <a:pt x="513" y="217"/>
                  </a:lnTo>
                  <a:lnTo>
                    <a:pt x="514" y="217"/>
                  </a:lnTo>
                  <a:lnTo>
                    <a:pt x="514" y="216"/>
                  </a:lnTo>
                  <a:lnTo>
                    <a:pt x="514" y="214"/>
                  </a:lnTo>
                  <a:lnTo>
                    <a:pt x="516" y="216"/>
                  </a:lnTo>
                  <a:lnTo>
                    <a:pt x="517" y="216"/>
                  </a:lnTo>
                  <a:lnTo>
                    <a:pt x="517" y="214"/>
                  </a:lnTo>
                  <a:lnTo>
                    <a:pt x="513" y="212"/>
                  </a:lnTo>
                  <a:lnTo>
                    <a:pt x="513" y="211"/>
                  </a:lnTo>
                  <a:lnTo>
                    <a:pt x="512" y="211"/>
                  </a:lnTo>
                  <a:lnTo>
                    <a:pt x="508" y="208"/>
                  </a:lnTo>
                  <a:lnTo>
                    <a:pt x="513" y="208"/>
                  </a:lnTo>
                  <a:lnTo>
                    <a:pt x="513" y="207"/>
                  </a:lnTo>
                  <a:lnTo>
                    <a:pt x="516" y="207"/>
                  </a:lnTo>
                  <a:lnTo>
                    <a:pt x="518" y="210"/>
                  </a:lnTo>
                  <a:lnTo>
                    <a:pt x="519" y="210"/>
                  </a:lnTo>
                  <a:lnTo>
                    <a:pt x="516" y="206"/>
                  </a:lnTo>
                  <a:lnTo>
                    <a:pt x="517" y="205"/>
                  </a:lnTo>
                  <a:lnTo>
                    <a:pt x="519" y="205"/>
                  </a:lnTo>
                  <a:lnTo>
                    <a:pt x="523" y="208"/>
                  </a:lnTo>
                  <a:lnTo>
                    <a:pt x="525" y="207"/>
                  </a:lnTo>
                  <a:lnTo>
                    <a:pt x="522" y="204"/>
                  </a:lnTo>
                  <a:lnTo>
                    <a:pt x="520" y="204"/>
                  </a:lnTo>
                  <a:lnTo>
                    <a:pt x="523" y="202"/>
                  </a:lnTo>
                  <a:lnTo>
                    <a:pt x="528" y="202"/>
                  </a:lnTo>
                  <a:lnTo>
                    <a:pt x="528" y="205"/>
                  </a:lnTo>
                  <a:lnTo>
                    <a:pt x="529" y="204"/>
                  </a:lnTo>
                  <a:lnTo>
                    <a:pt x="529" y="202"/>
                  </a:lnTo>
                  <a:lnTo>
                    <a:pt x="529" y="201"/>
                  </a:lnTo>
                  <a:lnTo>
                    <a:pt x="529" y="197"/>
                  </a:lnTo>
                  <a:lnTo>
                    <a:pt x="532" y="197"/>
                  </a:lnTo>
                  <a:lnTo>
                    <a:pt x="532" y="199"/>
                  </a:lnTo>
                  <a:lnTo>
                    <a:pt x="535" y="199"/>
                  </a:lnTo>
                  <a:lnTo>
                    <a:pt x="535" y="197"/>
                  </a:lnTo>
                  <a:lnTo>
                    <a:pt x="534" y="197"/>
                  </a:lnTo>
                  <a:lnTo>
                    <a:pt x="532" y="196"/>
                  </a:lnTo>
                  <a:lnTo>
                    <a:pt x="532" y="195"/>
                  </a:lnTo>
                  <a:lnTo>
                    <a:pt x="534" y="194"/>
                  </a:lnTo>
                  <a:lnTo>
                    <a:pt x="535" y="194"/>
                  </a:lnTo>
                  <a:lnTo>
                    <a:pt x="538" y="194"/>
                  </a:lnTo>
                  <a:lnTo>
                    <a:pt x="540" y="195"/>
                  </a:lnTo>
                  <a:lnTo>
                    <a:pt x="542" y="195"/>
                  </a:lnTo>
                  <a:lnTo>
                    <a:pt x="542" y="193"/>
                  </a:lnTo>
                  <a:lnTo>
                    <a:pt x="538" y="193"/>
                  </a:lnTo>
                  <a:lnTo>
                    <a:pt x="538" y="191"/>
                  </a:lnTo>
                  <a:lnTo>
                    <a:pt x="540" y="189"/>
                  </a:lnTo>
                  <a:lnTo>
                    <a:pt x="541" y="188"/>
                  </a:lnTo>
                  <a:lnTo>
                    <a:pt x="541" y="187"/>
                  </a:lnTo>
                  <a:lnTo>
                    <a:pt x="538" y="187"/>
                  </a:lnTo>
                  <a:lnTo>
                    <a:pt x="536" y="189"/>
                  </a:lnTo>
                  <a:lnTo>
                    <a:pt x="531" y="190"/>
                  </a:lnTo>
                  <a:lnTo>
                    <a:pt x="530" y="193"/>
                  </a:lnTo>
                  <a:lnTo>
                    <a:pt x="530" y="194"/>
                  </a:lnTo>
                  <a:lnTo>
                    <a:pt x="529" y="195"/>
                  </a:lnTo>
                  <a:lnTo>
                    <a:pt x="529" y="194"/>
                  </a:lnTo>
                  <a:lnTo>
                    <a:pt x="529" y="193"/>
                  </a:lnTo>
                  <a:lnTo>
                    <a:pt x="529" y="191"/>
                  </a:lnTo>
                  <a:lnTo>
                    <a:pt x="528" y="194"/>
                  </a:lnTo>
                  <a:lnTo>
                    <a:pt x="526" y="195"/>
                  </a:lnTo>
                  <a:lnTo>
                    <a:pt x="526" y="196"/>
                  </a:lnTo>
                  <a:lnTo>
                    <a:pt x="524" y="196"/>
                  </a:lnTo>
                  <a:lnTo>
                    <a:pt x="523" y="197"/>
                  </a:lnTo>
                  <a:lnTo>
                    <a:pt x="522" y="196"/>
                  </a:lnTo>
                  <a:lnTo>
                    <a:pt x="522" y="195"/>
                  </a:lnTo>
                  <a:lnTo>
                    <a:pt x="522" y="193"/>
                  </a:lnTo>
                  <a:lnTo>
                    <a:pt x="520" y="193"/>
                  </a:lnTo>
                  <a:lnTo>
                    <a:pt x="519" y="194"/>
                  </a:lnTo>
                  <a:lnTo>
                    <a:pt x="519" y="196"/>
                  </a:lnTo>
                  <a:lnTo>
                    <a:pt x="519" y="201"/>
                  </a:lnTo>
                  <a:lnTo>
                    <a:pt x="517" y="202"/>
                  </a:lnTo>
                  <a:lnTo>
                    <a:pt x="516" y="199"/>
                  </a:lnTo>
                  <a:lnTo>
                    <a:pt x="516" y="200"/>
                  </a:lnTo>
                  <a:lnTo>
                    <a:pt x="514" y="201"/>
                  </a:lnTo>
                  <a:lnTo>
                    <a:pt x="513" y="201"/>
                  </a:lnTo>
                  <a:lnTo>
                    <a:pt x="512" y="202"/>
                  </a:lnTo>
                  <a:lnTo>
                    <a:pt x="511" y="205"/>
                  </a:lnTo>
                  <a:lnTo>
                    <a:pt x="507" y="205"/>
                  </a:lnTo>
                  <a:lnTo>
                    <a:pt x="505" y="202"/>
                  </a:lnTo>
                  <a:lnTo>
                    <a:pt x="505" y="204"/>
                  </a:lnTo>
                  <a:lnTo>
                    <a:pt x="506" y="205"/>
                  </a:lnTo>
                  <a:lnTo>
                    <a:pt x="495" y="212"/>
                  </a:lnTo>
                  <a:lnTo>
                    <a:pt x="493" y="213"/>
                  </a:lnTo>
                  <a:lnTo>
                    <a:pt x="490" y="214"/>
                  </a:lnTo>
                  <a:lnTo>
                    <a:pt x="489" y="214"/>
                  </a:lnTo>
                  <a:lnTo>
                    <a:pt x="488" y="217"/>
                  </a:lnTo>
                  <a:lnTo>
                    <a:pt x="487" y="218"/>
                  </a:lnTo>
                  <a:lnTo>
                    <a:pt x="484" y="217"/>
                  </a:lnTo>
                  <a:lnTo>
                    <a:pt x="483" y="217"/>
                  </a:lnTo>
                  <a:lnTo>
                    <a:pt x="481" y="216"/>
                  </a:lnTo>
                  <a:lnTo>
                    <a:pt x="481" y="217"/>
                  </a:lnTo>
                  <a:lnTo>
                    <a:pt x="478" y="217"/>
                  </a:lnTo>
                  <a:lnTo>
                    <a:pt x="476" y="217"/>
                  </a:lnTo>
                  <a:lnTo>
                    <a:pt x="472" y="214"/>
                  </a:lnTo>
                  <a:lnTo>
                    <a:pt x="470" y="212"/>
                  </a:lnTo>
                  <a:lnTo>
                    <a:pt x="467" y="212"/>
                  </a:lnTo>
                  <a:lnTo>
                    <a:pt x="466" y="212"/>
                  </a:lnTo>
                  <a:lnTo>
                    <a:pt x="463" y="213"/>
                  </a:lnTo>
                  <a:lnTo>
                    <a:pt x="460" y="213"/>
                  </a:lnTo>
                  <a:lnTo>
                    <a:pt x="459" y="211"/>
                  </a:lnTo>
                  <a:lnTo>
                    <a:pt x="459" y="207"/>
                  </a:lnTo>
                  <a:lnTo>
                    <a:pt x="458" y="205"/>
                  </a:lnTo>
                  <a:lnTo>
                    <a:pt x="459" y="205"/>
                  </a:lnTo>
                  <a:lnTo>
                    <a:pt x="460" y="207"/>
                  </a:lnTo>
                  <a:lnTo>
                    <a:pt x="464" y="208"/>
                  </a:lnTo>
                  <a:lnTo>
                    <a:pt x="466" y="208"/>
                  </a:lnTo>
                  <a:lnTo>
                    <a:pt x="467" y="208"/>
                  </a:lnTo>
                  <a:lnTo>
                    <a:pt x="465" y="207"/>
                  </a:lnTo>
                  <a:lnTo>
                    <a:pt x="463" y="206"/>
                  </a:lnTo>
                  <a:lnTo>
                    <a:pt x="460" y="204"/>
                  </a:lnTo>
                  <a:lnTo>
                    <a:pt x="459" y="202"/>
                  </a:lnTo>
                  <a:lnTo>
                    <a:pt x="459" y="201"/>
                  </a:lnTo>
                  <a:lnTo>
                    <a:pt x="461" y="201"/>
                  </a:lnTo>
                  <a:lnTo>
                    <a:pt x="461" y="200"/>
                  </a:lnTo>
                  <a:lnTo>
                    <a:pt x="460" y="200"/>
                  </a:lnTo>
                  <a:lnTo>
                    <a:pt x="459" y="197"/>
                  </a:lnTo>
                  <a:lnTo>
                    <a:pt x="460" y="196"/>
                  </a:lnTo>
                  <a:lnTo>
                    <a:pt x="463" y="196"/>
                  </a:lnTo>
                  <a:lnTo>
                    <a:pt x="464" y="195"/>
                  </a:lnTo>
                  <a:lnTo>
                    <a:pt x="465" y="194"/>
                  </a:lnTo>
                  <a:lnTo>
                    <a:pt x="464" y="194"/>
                  </a:lnTo>
                  <a:lnTo>
                    <a:pt x="460" y="194"/>
                  </a:lnTo>
                  <a:lnTo>
                    <a:pt x="457" y="195"/>
                  </a:lnTo>
                  <a:lnTo>
                    <a:pt x="454" y="196"/>
                  </a:lnTo>
                  <a:lnTo>
                    <a:pt x="448" y="189"/>
                  </a:lnTo>
                  <a:lnTo>
                    <a:pt x="446" y="189"/>
                  </a:lnTo>
                  <a:lnTo>
                    <a:pt x="444" y="188"/>
                  </a:lnTo>
                  <a:lnTo>
                    <a:pt x="444" y="187"/>
                  </a:lnTo>
                  <a:lnTo>
                    <a:pt x="443" y="185"/>
                  </a:lnTo>
                  <a:lnTo>
                    <a:pt x="441" y="184"/>
                  </a:lnTo>
                  <a:lnTo>
                    <a:pt x="440" y="183"/>
                  </a:lnTo>
                  <a:lnTo>
                    <a:pt x="438" y="183"/>
                  </a:lnTo>
                  <a:lnTo>
                    <a:pt x="438" y="181"/>
                  </a:lnTo>
                  <a:lnTo>
                    <a:pt x="437" y="179"/>
                  </a:lnTo>
                  <a:lnTo>
                    <a:pt x="437" y="176"/>
                  </a:lnTo>
                  <a:lnTo>
                    <a:pt x="438" y="175"/>
                  </a:lnTo>
                  <a:lnTo>
                    <a:pt x="440" y="173"/>
                  </a:lnTo>
                  <a:lnTo>
                    <a:pt x="438" y="172"/>
                  </a:lnTo>
                  <a:lnTo>
                    <a:pt x="438" y="171"/>
                  </a:lnTo>
                  <a:lnTo>
                    <a:pt x="440" y="169"/>
                  </a:lnTo>
                  <a:lnTo>
                    <a:pt x="441" y="167"/>
                  </a:lnTo>
                  <a:lnTo>
                    <a:pt x="441" y="170"/>
                  </a:lnTo>
                  <a:lnTo>
                    <a:pt x="442" y="170"/>
                  </a:lnTo>
                  <a:lnTo>
                    <a:pt x="443" y="171"/>
                  </a:lnTo>
                  <a:lnTo>
                    <a:pt x="444" y="172"/>
                  </a:lnTo>
                  <a:lnTo>
                    <a:pt x="446" y="173"/>
                  </a:lnTo>
                  <a:lnTo>
                    <a:pt x="447" y="172"/>
                  </a:lnTo>
                  <a:lnTo>
                    <a:pt x="447" y="171"/>
                  </a:lnTo>
                  <a:lnTo>
                    <a:pt x="447" y="176"/>
                  </a:lnTo>
                  <a:lnTo>
                    <a:pt x="448" y="175"/>
                  </a:lnTo>
                  <a:lnTo>
                    <a:pt x="448" y="173"/>
                  </a:lnTo>
                  <a:lnTo>
                    <a:pt x="448" y="171"/>
                  </a:lnTo>
                  <a:lnTo>
                    <a:pt x="448" y="170"/>
                  </a:lnTo>
                  <a:lnTo>
                    <a:pt x="449" y="171"/>
                  </a:lnTo>
                  <a:lnTo>
                    <a:pt x="453" y="175"/>
                  </a:lnTo>
                  <a:lnTo>
                    <a:pt x="455" y="175"/>
                  </a:lnTo>
                  <a:lnTo>
                    <a:pt x="454" y="173"/>
                  </a:lnTo>
                  <a:lnTo>
                    <a:pt x="451" y="170"/>
                  </a:lnTo>
                  <a:lnTo>
                    <a:pt x="451" y="167"/>
                  </a:lnTo>
                  <a:lnTo>
                    <a:pt x="452" y="169"/>
                  </a:lnTo>
                  <a:lnTo>
                    <a:pt x="453" y="169"/>
                  </a:lnTo>
                  <a:lnTo>
                    <a:pt x="454" y="169"/>
                  </a:lnTo>
                  <a:lnTo>
                    <a:pt x="455" y="170"/>
                  </a:lnTo>
                  <a:lnTo>
                    <a:pt x="457" y="170"/>
                  </a:lnTo>
                  <a:lnTo>
                    <a:pt x="458" y="169"/>
                  </a:lnTo>
                  <a:lnTo>
                    <a:pt x="458" y="166"/>
                  </a:lnTo>
                  <a:lnTo>
                    <a:pt x="458" y="165"/>
                  </a:lnTo>
                  <a:lnTo>
                    <a:pt x="458" y="164"/>
                  </a:lnTo>
                  <a:lnTo>
                    <a:pt x="460" y="164"/>
                  </a:lnTo>
                  <a:lnTo>
                    <a:pt x="459" y="163"/>
                  </a:lnTo>
                  <a:lnTo>
                    <a:pt x="458" y="161"/>
                  </a:lnTo>
                  <a:lnTo>
                    <a:pt x="460" y="160"/>
                  </a:lnTo>
                  <a:lnTo>
                    <a:pt x="461" y="160"/>
                  </a:lnTo>
                  <a:lnTo>
                    <a:pt x="460" y="159"/>
                  </a:lnTo>
                  <a:lnTo>
                    <a:pt x="459" y="158"/>
                  </a:lnTo>
                  <a:lnTo>
                    <a:pt x="458" y="157"/>
                  </a:lnTo>
                  <a:lnTo>
                    <a:pt x="457" y="159"/>
                  </a:lnTo>
                  <a:lnTo>
                    <a:pt x="457" y="158"/>
                  </a:lnTo>
                  <a:lnTo>
                    <a:pt x="458" y="155"/>
                  </a:lnTo>
                  <a:lnTo>
                    <a:pt x="459" y="153"/>
                  </a:lnTo>
                  <a:lnTo>
                    <a:pt x="460" y="152"/>
                  </a:lnTo>
                  <a:lnTo>
                    <a:pt x="463" y="154"/>
                  </a:lnTo>
                  <a:lnTo>
                    <a:pt x="464" y="154"/>
                  </a:lnTo>
                  <a:lnTo>
                    <a:pt x="464" y="153"/>
                  </a:lnTo>
                  <a:lnTo>
                    <a:pt x="463" y="152"/>
                  </a:lnTo>
                  <a:lnTo>
                    <a:pt x="461" y="149"/>
                  </a:lnTo>
                  <a:lnTo>
                    <a:pt x="463" y="149"/>
                  </a:lnTo>
                  <a:lnTo>
                    <a:pt x="464" y="151"/>
                  </a:lnTo>
                  <a:lnTo>
                    <a:pt x="464" y="149"/>
                  </a:lnTo>
                  <a:lnTo>
                    <a:pt x="464" y="143"/>
                  </a:lnTo>
                  <a:lnTo>
                    <a:pt x="465" y="143"/>
                  </a:lnTo>
                  <a:lnTo>
                    <a:pt x="465" y="146"/>
                  </a:lnTo>
                  <a:lnTo>
                    <a:pt x="466" y="147"/>
                  </a:lnTo>
                  <a:lnTo>
                    <a:pt x="467" y="147"/>
                  </a:lnTo>
                  <a:lnTo>
                    <a:pt x="467" y="149"/>
                  </a:lnTo>
                  <a:lnTo>
                    <a:pt x="467" y="151"/>
                  </a:lnTo>
                  <a:lnTo>
                    <a:pt x="469" y="151"/>
                  </a:lnTo>
                  <a:lnTo>
                    <a:pt x="471" y="149"/>
                  </a:lnTo>
                  <a:lnTo>
                    <a:pt x="470" y="148"/>
                  </a:lnTo>
                  <a:lnTo>
                    <a:pt x="470" y="147"/>
                  </a:lnTo>
                  <a:lnTo>
                    <a:pt x="471" y="146"/>
                  </a:lnTo>
                  <a:lnTo>
                    <a:pt x="472" y="145"/>
                  </a:lnTo>
                  <a:lnTo>
                    <a:pt x="470" y="145"/>
                  </a:lnTo>
                  <a:lnTo>
                    <a:pt x="469" y="146"/>
                  </a:lnTo>
                  <a:lnTo>
                    <a:pt x="467" y="145"/>
                  </a:lnTo>
                  <a:lnTo>
                    <a:pt x="467" y="143"/>
                  </a:lnTo>
                  <a:lnTo>
                    <a:pt x="469" y="143"/>
                  </a:lnTo>
                  <a:lnTo>
                    <a:pt x="470" y="142"/>
                  </a:lnTo>
                  <a:lnTo>
                    <a:pt x="471" y="142"/>
                  </a:lnTo>
                  <a:lnTo>
                    <a:pt x="466" y="141"/>
                  </a:lnTo>
                  <a:lnTo>
                    <a:pt x="465" y="141"/>
                  </a:lnTo>
                  <a:lnTo>
                    <a:pt x="464" y="140"/>
                  </a:lnTo>
                  <a:lnTo>
                    <a:pt x="466" y="137"/>
                  </a:lnTo>
                  <a:lnTo>
                    <a:pt x="470" y="139"/>
                  </a:lnTo>
                  <a:lnTo>
                    <a:pt x="471" y="139"/>
                  </a:lnTo>
                  <a:lnTo>
                    <a:pt x="469" y="136"/>
                  </a:lnTo>
                  <a:lnTo>
                    <a:pt x="470" y="135"/>
                  </a:lnTo>
                  <a:lnTo>
                    <a:pt x="475" y="137"/>
                  </a:lnTo>
                  <a:lnTo>
                    <a:pt x="476" y="137"/>
                  </a:lnTo>
                  <a:lnTo>
                    <a:pt x="472" y="134"/>
                  </a:lnTo>
                  <a:lnTo>
                    <a:pt x="473" y="133"/>
                  </a:lnTo>
                  <a:lnTo>
                    <a:pt x="475" y="133"/>
                  </a:lnTo>
                  <a:lnTo>
                    <a:pt x="476" y="133"/>
                  </a:lnTo>
                  <a:lnTo>
                    <a:pt x="475" y="131"/>
                  </a:lnTo>
                  <a:lnTo>
                    <a:pt x="477" y="131"/>
                  </a:lnTo>
                  <a:lnTo>
                    <a:pt x="478" y="131"/>
                  </a:lnTo>
                  <a:lnTo>
                    <a:pt x="482" y="133"/>
                  </a:lnTo>
                  <a:lnTo>
                    <a:pt x="483" y="133"/>
                  </a:lnTo>
                  <a:lnTo>
                    <a:pt x="484" y="134"/>
                  </a:lnTo>
                  <a:lnTo>
                    <a:pt x="485" y="133"/>
                  </a:lnTo>
                  <a:lnTo>
                    <a:pt x="485" y="130"/>
                  </a:lnTo>
                  <a:lnTo>
                    <a:pt x="484" y="129"/>
                  </a:lnTo>
                  <a:lnTo>
                    <a:pt x="483" y="129"/>
                  </a:lnTo>
                  <a:lnTo>
                    <a:pt x="483" y="128"/>
                  </a:lnTo>
                  <a:lnTo>
                    <a:pt x="482" y="128"/>
                  </a:lnTo>
                  <a:lnTo>
                    <a:pt x="482" y="129"/>
                  </a:lnTo>
                  <a:lnTo>
                    <a:pt x="479" y="129"/>
                  </a:lnTo>
                  <a:lnTo>
                    <a:pt x="479" y="128"/>
                  </a:lnTo>
                  <a:lnTo>
                    <a:pt x="483" y="125"/>
                  </a:lnTo>
                  <a:lnTo>
                    <a:pt x="483" y="127"/>
                  </a:lnTo>
                  <a:lnTo>
                    <a:pt x="485" y="128"/>
                  </a:lnTo>
                  <a:lnTo>
                    <a:pt x="487" y="128"/>
                  </a:lnTo>
                  <a:lnTo>
                    <a:pt x="488" y="128"/>
                  </a:lnTo>
                  <a:lnTo>
                    <a:pt x="488" y="127"/>
                  </a:lnTo>
                  <a:lnTo>
                    <a:pt x="487" y="125"/>
                  </a:lnTo>
                  <a:lnTo>
                    <a:pt x="485" y="125"/>
                  </a:lnTo>
                  <a:lnTo>
                    <a:pt x="487" y="124"/>
                  </a:lnTo>
                  <a:lnTo>
                    <a:pt x="488" y="124"/>
                  </a:lnTo>
                  <a:lnTo>
                    <a:pt x="490" y="125"/>
                  </a:lnTo>
                  <a:lnTo>
                    <a:pt x="491" y="127"/>
                  </a:lnTo>
                  <a:lnTo>
                    <a:pt x="493" y="125"/>
                  </a:lnTo>
                  <a:lnTo>
                    <a:pt x="491" y="125"/>
                  </a:lnTo>
                  <a:lnTo>
                    <a:pt x="490" y="123"/>
                  </a:lnTo>
                  <a:lnTo>
                    <a:pt x="491" y="122"/>
                  </a:lnTo>
                  <a:lnTo>
                    <a:pt x="493" y="123"/>
                  </a:lnTo>
                  <a:lnTo>
                    <a:pt x="495" y="123"/>
                  </a:lnTo>
                  <a:lnTo>
                    <a:pt x="496" y="123"/>
                  </a:lnTo>
                  <a:lnTo>
                    <a:pt x="497" y="124"/>
                  </a:lnTo>
                  <a:lnTo>
                    <a:pt x="499" y="124"/>
                  </a:lnTo>
                  <a:lnTo>
                    <a:pt x="500" y="124"/>
                  </a:lnTo>
                  <a:lnTo>
                    <a:pt x="497" y="122"/>
                  </a:lnTo>
                  <a:lnTo>
                    <a:pt x="495" y="121"/>
                  </a:lnTo>
                  <a:lnTo>
                    <a:pt x="506" y="115"/>
                  </a:lnTo>
                  <a:lnTo>
                    <a:pt x="506" y="113"/>
                  </a:lnTo>
                  <a:lnTo>
                    <a:pt x="502" y="113"/>
                  </a:lnTo>
                  <a:lnTo>
                    <a:pt x="496" y="117"/>
                  </a:lnTo>
                  <a:lnTo>
                    <a:pt x="495" y="118"/>
                  </a:lnTo>
                  <a:lnTo>
                    <a:pt x="494" y="118"/>
                  </a:lnTo>
                  <a:lnTo>
                    <a:pt x="495" y="116"/>
                  </a:lnTo>
                  <a:lnTo>
                    <a:pt x="496" y="115"/>
                  </a:lnTo>
                  <a:lnTo>
                    <a:pt x="495" y="113"/>
                  </a:lnTo>
                  <a:lnTo>
                    <a:pt x="491" y="117"/>
                  </a:lnTo>
                  <a:lnTo>
                    <a:pt x="491" y="119"/>
                  </a:lnTo>
                  <a:lnTo>
                    <a:pt x="490" y="119"/>
                  </a:lnTo>
                  <a:lnTo>
                    <a:pt x="489" y="119"/>
                  </a:lnTo>
                  <a:lnTo>
                    <a:pt x="488" y="118"/>
                  </a:lnTo>
                  <a:lnTo>
                    <a:pt x="488" y="119"/>
                  </a:lnTo>
                  <a:lnTo>
                    <a:pt x="487" y="121"/>
                  </a:lnTo>
                  <a:lnTo>
                    <a:pt x="485" y="122"/>
                  </a:lnTo>
                  <a:lnTo>
                    <a:pt x="484" y="121"/>
                  </a:lnTo>
                  <a:lnTo>
                    <a:pt x="483" y="121"/>
                  </a:lnTo>
                  <a:lnTo>
                    <a:pt x="483" y="122"/>
                  </a:lnTo>
                  <a:lnTo>
                    <a:pt x="483" y="123"/>
                  </a:lnTo>
                  <a:lnTo>
                    <a:pt x="482" y="124"/>
                  </a:lnTo>
                  <a:lnTo>
                    <a:pt x="481" y="125"/>
                  </a:lnTo>
                  <a:lnTo>
                    <a:pt x="478" y="125"/>
                  </a:lnTo>
                  <a:lnTo>
                    <a:pt x="479" y="124"/>
                  </a:lnTo>
                  <a:lnTo>
                    <a:pt x="481" y="123"/>
                  </a:lnTo>
                  <a:lnTo>
                    <a:pt x="479" y="122"/>
                  </a:lnTo>
                  <a:lnTo>
                    <a:pt x="479" y="121"/>
                  </a:lnTo>
                  <a:lnTo>
                    <a:pt x="478" y="119"/>
                  </a:lnTo>
                  <a:lnTo>
                    <a:pt x="477" y="121"/>
                  </a:lnTo>
                  <a:lnTo>
                    <a:pt x="476" y="122"/>
                  </a:lnTo>
                  <a:lnTo>
                    <a:pt x="476" y="123"/>
                  </a:lnTo>
                  <a:lnTo>
                    <a:pt x="475" y="124"/>
                  </a:lnTo>
                  <a:lnTo>
                    <a:pt x="473" y="125"/>
                  </a:lnTo>
                  <a:lnTo>
                    <a:pt x="472" y="127"/>
                  </a:lnTo>
                  <a:lnTo>
                    <a:pt x="472" y="128"/>
                  </a:lnTo>
                  <a:lnTo>
                    <a:pt x="471" y="130"/>
                  </a:lnTo>
                  <a:lnTo>
                    <a:pt x="470" y="133"/>
                  </a:lnTo>
                  <a:lnTo>
                    <a:pt x="469" y="128"/>
                  </a:lnTo>
                  <a:lnTo>
                    <a:pt x="467" y="128"/>
                  </a:lnTo>
                  <a:lnTo>
                    <a:pt x="466" y="129"/>
                  </a:lnTo>
                  <a:lnTo>
                    <a:pt x="466" y="131"/>
                  </a:lnTo>
                  <a:lnTo>
                    <a:pt x="467" y="133"/>
                  </a:lnTo>
                  <a:lnTo>
                    <a:pt x="466" y="134"/>
                  </a:lnTo>
                  <a:lnTo>
                    <a:pt x="465" y="136"/>
                  </a:lnTo>
                  <a:lnTo>
                    <a:pt x="464" y="137"/>
                  </a:lnTo>
                  <a:lnTo>
                    <a:pt x="461" y="139"/>
                  </a:lnTo>
                  <a:lnTo>
                    <a:pt x="460" y="139"/>
                  </a:lnTo>
                  <a:lnTo>
                    <a:pt x="459" y="137"/>
                  </a:lnTo>
                  <a:lnTo>
                    <a:pt x="459" y="135"/>
                  </a:lnTo>
                  <a:lnTo>
                    <a:pt x="460" y="136"/>
                  </a:lnTo>
                  <a:lnTo>
                    <a:pt x="461" y="136"/>
                  </a:lnTo>
                  <a:lnTo>
                    <a:pt x="463" y="136"/>
                  </a:lnTo>
                  <a:lnTo>
                    <a:pt x="461" y="135"/>
                  </a:lnTo>
                  <a:lnTo>
                    <a:pt x="461" y="134"/>
                  </a:lnTo>
                  <a:lnTo>
                    <a:pt x="461" y="133"/>
                  </a:lnTo>
                  <a:lnTo>
                    <a:pt x="461" y="131"/>
                  </a:lnTo>
                  <a:lnTo>
                    <a:pt x="460" y="130"/>
                  </a:lnTo>
                  <a:lnTo>
                    <a:pt x="460" y="131"/>
                  </a:lnTo>
                  <a:lnTo>
                    <a:pt x="459" y="133"/>
                  </a:lnTo>
                  <a:lnTo>
                    <a:pt x="458" y="134"/>
                  </a:lnTo>
                  <a:lnTo>
                    <a:pt x="458" y="133"/>
                  </a:lnTo>
                  <a:lnTo>
                    <a:pt x="457" y="131"/>
                  </a:lnTo>
                  <a:lnTo>
                    <a:pt x="455" y="130"/>
                  </a:lnTo>
                  <a:lnTo>
                    <a:pt x="454" y="130"/>
                  </a:lnTo>
                  <a:lnTo>
                    <a:pt x="455" y="131"/>
                  </a:lnTo>
                  <a:lnTo>
                    <a:pt x="455" y="133"/>
                  </a:lnTo>
                  <a:lnTo>
                    <a:pt x="457" y="134"/>
                  </a:lnTo>
                  <a:lnTo>
                    <a:pt x="455" y="134"/>
                  </a:lnTo>
                  <a:lnTo>
                    <a:pt x="454" y="135"/>
                  </a:lnTo>
                  <a:lnTo>
                    <a:pt x="454" y="137"/>
                  </a:lnTo>
                  <a:lnTo>
                    <a:pt x="454" y="136"/>
                  </a:lnTo>
                  <a:lnTo>
                    <a:pt x="455" y="136"/>
                  </a:lnTo>
                  <a:lnTo>
                    <a:pt x="457" y="136"/>
                  </a:lnTo>
                  <a:lnTo>
                    <a:pt x="458" y="137"/>
                  </a:lnTo>
                  <a:lnTo>
                    <a:pt x="458" y="140"/>
                  </a:lnTo>
                  <a:lnTo>
                    <a:pt x="458" y="141"/>
                  </a:lnTo>
                  <a:lnTo>
                    <a:pt x="457" y="142"/>
                  </a:lnTo>
                  <a:lnTo>
                    <a:pt x="455" y="143"/>
                  </a:lnTo>
                  <a:lnTo>
                    <a:pt x="453" y="145"/>
                  </a:lnTo>
                  <a:lnTo>
                    <a:pt x="452" y="146"/>
                  </a:lnTo>
                  <a:lnTo>
                    <a:pt x="451" y="147"/>
                  </a:lnTo>
                  <a:lnTo>
                    <a:pt x="448" y="148"/>
                  </a:lnTo>
                  <a:lnTo>
                    <a:pt x="446" y="151"/>
                  </a:lnTo>
                  <a:lnTo>
                    <a:pt x="444" y="153"/>
                  </a:lnTo>
                  <a:lnTo>
                    <a:pt x="442" y="152"/>
                  </a:lnTo>
                  <a:lnTo>
                    <a:pt x="440" y="152"/>
                  </a:lnTo>
                  <a:lnTo>
                    <a:pt x="438" y="151"/>
                  </a:lnTo>
                  <a:lnTo>
                    <a:pt x="437" y="148"/>
                  </a:lnTo>
                  <a:lnTo>
                    <a:pt x="436" y="146"/>
                  </a:lnTo>
                  <a:lnTo>
                    <a:pt x="436" y="143"/>
                  </a:lnTo>
                  <a:lnTo>
                    <a:pt x="437" y="143"/>
                  </a:lnTo>
                  <a:lnTo>
                    <a:pt x="438" y="145"/>
                  </a:lnTo>
                  <a:lnTo>
                    <a:pt x="441" y="145"/>
                  </a:lnTo>
                  <a:lnTo>
                    <a:pt x="441" y="143"/>
                  </a:lnTo>
                  <a:lnTo>
                    <a:pt x="440" y="142"/>
                  </a:lnTo>
                  <a:lnTo>
                    <a:pt x="436" y="142"/>
                  </a:lnTo>
                  <a:lnTo>
                    <a:pt x="435" y="142"/>
                  </a:lnTo>
                  <a:lnTo>
                    <a:pt x="435" y="141"/>
                  </a:lnTo>
                  <a:lnTo>
                    <a:pt x="435" y="140"/>
                  </a:lnTo>
                  <a:lnTo>
                    <a:pt x="436" y="140"/>
                  </a:lnTo>
                  <a:lnTo>
                    <a:pt x="440" y="140"/>
                  </a:lnTo>
                  <a:lnTo>
                    <a:pt x="440" y="139"/>
                  </a:lnTo>
                  <a:lnTo>
                    <a:pt x="440" y="136"/>
                  </a:lnTo>
                  <a:lnTo>
                    <a:pt x="441" y="134"/>
                  </a:lnTo>
                  <a:lnTo>
                    <a:pt x="442" y="134"/>
                  </a:lnTo>
                  <a:lnTo>
                    <a:pt x="441" y="133"/>
                  </a:lnTo>
                  <a:lnTo>
                    <a:pt x="438" y="133"/>
                  </a:lnTo>
                  <a:lnTo>
                    <a:pt x="436" y="133"/>
                  </a:lnTo>
                  <a:lnTo>
                    <a:pt x="432" y="131"/>
                  </a:lnTo>
                  <a:lnTo>
                    <a:pt x="432" y="130"/>
                  </a:lnTo>
                  <a:lnTo>
                    <a:pt x="434" y="129"/>
                  </a:lnTo>
                  <a:lnTo>
                    <a:pt x="436" y="129"/>
                  </a:lnTo>
                  <a:lnTo>
                    <a:pt x="437" y="129"/>
                  </a:lnTo>
                  <a:lnTo>
                    <a:pt x="438" y="129"/>
                  </a:lnTo>
                  <a:lnTo>
                    <a:pt x="437" y="127"/>
                  </a:lnTo>
                  <a:lnTo>
                    <a:pt x="437" y="125"/>
                  </a:lnTo>
                  <a:lnTo>
                    <a:pt x="438" y="125"/>
                  </a:lnTo>
                  <a:lnTo>
                    <a:pt x="438" y="127"/>
                  </a:lnTo>
                  <a:lnTo>
                    <a:pt x="441" y="127"/>
                  </a:lnTo>
                  <a:lnTo>
                    <a:pt x="441" y="125"/>
                  </a:lnTo>
                  <a:lnTo>
                    <a:pt x="437" y="124"/>
                  </a:lnTo>
                  <a:lnTo>
                    <a:pt x="438" y="123"/>
                  </a:lnTo>
                  <a:lnTo>
                    <a:pt x="440" y="122"/>
                  </a:lnTo>
                  <a:lnTo>
                    <a:pt x="441" y="123"/>
                  </a:lnTo>
                  <a:lnTo>
                    <a:pt x="443" y="123"/>
                  </a:lnTo>
                  <a:lnTo>
                    <a:pt x="444" y="123"/>
                  </a:lnTo>
                  <a:lnTo>
                    <a:pt x="446" y="124"/>
                  </a:lnTo>
                  <a:lnTo>
                    <a:pt x="448" y="125"/>
                  </a:lnTo>
                  <a:lnTo>
                    <a:pt x="449" y="127"/>
                  </a:lnTo>
                  <a:lnTo>
                    <a:pt x="451" y="125"/>
                  </a:lnTo>
                  <a:lnTo>
                    <a:pt x="451" y="124"/>
                  </a:lnTo>
                  <a:lnTo>
                    <a:pt x="449" y="124"/>
                  </a:lnTo>
                  <a:lnTo>
                    <a:pt x="447" y="121"/>
                  </a:lnTo>
                  <a:lnTo>
                    <a:pt x="448" y="121"/>
                  </a:lnTo>
                  <a:lnTo>
                    <a:pt x="449" y="121"/>
                  </a:lnTo>
                  <a:lnTo>
                    <a:pt x="449" y="122"/>
                  </a:lnTo>
                  <a:lnTo>
                    <a:pt x="449" y="121"/>
                  </a:lnTo>
                  <a:lnTo>
                    <a:pt x="448" y="118"/>
                  </a:lnTo>
                  <a:lnTo>
                    <a:pt x="448" y="117"/>
                  </a:lnTo>
                  <a:lnTo>
                    <a:pt x="449" y="116"/>
                  </a:lnTo>
                  <a:lnTo>
                    <a:pt x="451" y="116"/>
                  </a:lnTo>
                  <a:lnTo>
                    <a:pt x="452" y="117"/>
                  </a:lnTo>
                  <a:lnTo>
                    <a:pt x="452" y="121"/>
                  </a:lnTo>
                  <a:lnTo>
                    <a:pt x="452" y="122"/>
                  </a:lnTo>
                  <a:lnTo>
                    <a:pt x="453" y="122"/>
                  </a:lnTo>
                  <a:lnTo>
                    <a:pt x="454" y="119"/>
                  </a:lnTo>
                  <a:lnTo>
                    <a:pt x="454" y="118"/>
                  </a:lnTo>
                  <a:lnTo>
                    <a:pt x="455" y="117"/>
                  </a:lnTo>
                  <a:lnTo>
                    <a:pt x="458" y="117"/>
                  </a:lnTo>
                  <a:lnTo>
                    <a:pt x="457" y="116"/>
                  </a:lnTo>
                  <a:lnTo>
                    <a:pt x="455" y="116"/>
                  </a:lnTo>
                  <a:lnTo>
                    <a:pt x="453" y="115"/>
                  </a:lnTo>
                  <a:lnTo>
                    <a:pt x="454" y="115"/>
                  </a:lnTo>
                  <a:lnTo>
                    <a:pt x="455" y="115"/>
                  </a:lnTo>
                  <a:lnTo>
                    <a:pt x="455" y="113"/>
                  </a:lnTo>
                  <a:lnTo>
                    <a:pt x="457" y="112"/>
                  </a:lnTo>
                  <a:lnTo>
                    <a:pt x="457" y="111"/>
                  </a:lnTo>
                  <a:lnTo>
                    <a:pt x="458" y="110"/>
                  </a:lnTo>
                  <a:lnTo>
                    <a:pt x="460" y="109"/>
                  </a:lnTo>
                  <a:lnTo>
                    <a:pt x="461" y="110"/>
                  </a:lnTo>
                  <a:lnTo>
                    <a:pt x="461" y="109"/>
                  </a:lnTo>
                  <a:lnTo>
                    <a:pt x="464" y="107"/>
                  </a:lnTo>
                  <a:lnTo>
                    <a:pt x="465" y="109"/>
                  </a:lnTo>
                  <a:lnTo>
                    <a:pt x="464" y="106"/>
                  </a:lnTo>
                  <a:lnTo>
                    <a:pt x="463" y="105"/>
                  </a:lnTo>
                  <a:lnTo>
                    <a:pt x="461" y="105"/>
                  </a:lnTo>
                  <a:lnTo>
                    <a:pt x="461" y="104"/>
                  </a:lnTo>
                  <a:lnTo>
                    <a:pt x="463" y="103"/>
                  </a:lnTo>
                  <a:lnTo>
                    <a:pt x="464" y="103"/>
                  </a:lnTo>
                  <a:lnTo>
                    <a:pt x="465" y="103"/>
                  </a:lnTo>
                  <a:lnTo>
                    <a:pt x="466" y="103"/>
                  </a:lnTo>
                  <a:lnTo>
                    <a:pt x="469" y="103"/>
                  </a:lnTo>
                  <a:lnTo>
                    <a:pt x="471" y="103"/>
                  </a:lnTo>
                  <a:lnTo>
                    <a:pt x="473" y="103"/>
                  </a:lnTo>
                  <a:lnTo>
                    <a:pt x="475" y="104"/>
                  </a:lnTo>
                  <a:lnTo>
                    <a:pt x="476" y="104"/>
                  </a:lnTo>
                  <a:lnTo>
                    <a:pt x="477" y="103"/>
                  </a:lnTo>
                  <a:lnTo>
                    <a:pt x="477" y="101"/>
                  </a:lnTo>
                  <a:lnTo>
                    <a:pt x="476" y="100"/>
                  </a:lnTo>
                  <a:lnTo>
                    <a:pt x="475" y="100"/>
                  </a:lnTo>
                  <a:lnTo>
                    <a:pt x="473" y="99"/>
                  </a:lnTo>
                  <a:lnTo>
                    <a:pt x="473" y="100"/>
                  </a:lnTo>
                  <a:lnTo>
                    <a:pt x="472" y="100"/>
                  </a:lnTo>
                  <a:lnTo>
                    <a:pt x="472" y="99"/>
                  </a:lnTo>
                  <a:lnTo>
                    <a:pt x="472" y="98"/>
                  </a:lnTo>
                  <a:lnTo>
                    <a:pt x="473" y="98"/>
                  </a:lnTo>
                  <a:lnTo>
                    <a:pt x="475" y="99"/>
                  </a:lnTo>
                  <a:lnTo>
                    <a:pt x="478" y="101"/>
                  </a:lnTo>
                  <a:lnTo>
                    <a:pt x="478" y="100"/>
                  </a:lnTo>
                  <a:lnTo>
                    <a:pt x="478" y="99"/>
                  </a:lnTo>
                  <a:lnTo>
                    <a:pt x="477" y="99"/>
                  </a:lnTo>
                  <a:lnTo>
                    <a:pt x="476" y="99"/>
                  </a:lnTo>
                  <a:lnTo>
                    <a:pt x="476" y="98"/>
                  </a:lnTo>
                  <a:lnTo>
                    <a:pt x="475" y="97"/>
                  </a:lnTo>
                  <a:lnTo>
                    <a:pt x="475" y="95"/>
                  </a:lnTo>
                  <a:lnTo>
                    <a:pt x="477" y="95"/>
                  </a:lnTo>
                  <a:lnTo>
                    <a:pt x="478" y="95"/>
                  </a:lnTo>
                  <a:lnTo>
                    <a:pt x="479" y="97"/>
                  </a:lnTo>
                  <a:lnTo>
                    <a:pt x="481" y="99"/>
                  </a:lnTo>
                  <a:lnTo>
                    <a:pt x="482" y="99"/>
                  </a:lnTo>
                  <a:lnTo>
                    <a:pt x="482" y="97"/>
                  </a:lnTo>
                  <a:lnTo>
                    <a:pt x="481" y="97"/>
                  </a:lnTo>
                  <a:lnTo>
                    <a:pt x="481" y="95"/>
                  </a:lnTo>
                  <a:lnTo>
                    <a:pt x="481" y="94"/>
                  </a:lnTo>
                  <a:lnTo>
                    <a:pt x="481" y="93"/>
                  </a:lnTo>
                  <a:lnTo>
                    <a:pt x="482" y="93"/>
                  </a:lnTo>
                  <a:lnTo>
                    <a:pt x="482" y="94"/>
                  </a:lnTo>
                  <a:lnTo>
                    <a:pt x="483" y="94"/>
                  </a:lnTo>
                  <a:lnTo>
                    <a:pt x="485" y="95"/>
                  </a:lnTo>
                  <a:lnTo>
                    <a:pt x="488" y="95"/>
                  </a:lnTo>
                  <a:lnTo>
                    <a:pt x="488" y="94"/>
                  </a:lnTo>
                  <a:lnTo>
                    <a:pt x="487" y="94"/>
                  </a:lnTo>
                  <a:lnTo>
                    <a:pt x="487" y="93"/>
                  </a:lnTo>
                  <a:lnTo>
                    <a:pt x="485" y="92"/>
                  </a:lnTo>
                  <a:lnTo>
                    <a:pt x="484" y="92"/>
                  </a:lnTo>
                  <a:lnTo>
                    <a:pt x="484" y="90"/>
                  </a:lnTo>
                  <a:lnTo>
                    <a:pt x="485" y="90"/>
                  </a:lnTo>
                  <a:lnTo>
                    <a:pt x="491" y="87"/>
                  </a:lnTo>
                  <a:lnTo>
                    <a:pt x="493" y="86"/>
                  </a:lnTo>
                  <a:lnTo>
                    <a:pt x="493" y="84"/>
                  </a:lnTo>
                  <a:lnTo>
                    <a:pt x="491" y="86"/>
                  </a:lnTo>
                  <a:lnTo>
                    <a:pt x="489" y="87"/>
                  </a:lnTo>
                  <a:lnTo>
                    <a:pt x="484" y="89"/>
                  </a:lnTo>
                  <a:lnTo>
                    <a:pt x="485" y="88"/>
                  </a:lnTo>
                  <a:lnTo>
                    <a:pt x="485" y="86"/>
                  </a:lnTo>
                  <a:lnTo>
                    <a:pt x="483" y="86"/>
                  </a:lnTo>
                  <a:lnTo>
                    <a:pt x="482" y="87"/>
                  </a:lnTo>
                  <a:lnTo>
                    <a:pt x="479" y="89"/>
                  </a:lnTo>
                  <a:lnTo>
                    <a:pt x="478" y="89"/>
                  </a:lnTo>
                  <a:lnTo>
                    <a:pt x="477" y="90"/>
                  </a:lnTo>
                  <a:lnTo>
                    <a:pt x="476" y="92"/>
                  </a:lnTo>
                  <a:lnTo>
                    <a:pt x="475" y="92"/>
                  </a:lnTo>
                  <a:lnTo>
                    <a:pt x="475" y="90"/>
                  </a:lnTo>
                  <a:lnTo>
                    <a:pt x="473" y="89"/>
                  </a:lnTo>
                  <a:lnTo>
                    <a:pt x="472" y="90"/>
                  </a:lnTo>
                  <a:lnTo>
                    <a:pt x="472" y="92"/>
                  </a:lnTo>
                  <a:lnTo>
                    <a:pt x="470" y="93"/>
                  </a:lnTo>
                  <a:lnTo>
                    <a:pt x="469" y="94"/>
                  </a:lnTo>
                  <a:lnTo>
                    <a:pt x="467" y="95"/>
                  </a:lnTo>
                  <a:lnTo>
                    <a:pt x="466" y="94"/>
                  </a:lnTo>
                  <a:lnTo>
                    <a:pt x="469" y="93"/>
                  </a:lnTo>
                  <a:lnTo>
                    <a:pt x="469" y="92"/>
                  </a:lnTo>
                  <a:lnTo>
                    <a:pt x="467" y="92"/>
                  </a:lnTo>
                  <a:lnTo>
                    <a:pt x="466" y="90"/>
                  </a:lnTo>
                  <a:lnTo>
                    <a:pt x="466" y="89"/>
                  </a:lnTo>
                  <a:lnTo>
                    <a:pt x="465" y="90"/>
                  </a:lnTo>
                  <a:lnTo>
                    <a:pt x="464" y="92"/>
                  </a:lnTo>
                  <a:lnTo>
                    <a:pt x="463" y="93"/>
                  </a:lnTo>
                  <a:lnTo>
                    <a:pt x="463" y="94"/>
                  </a:lnTo>
                  <a:lnTo>
                    <a:pt x="463" y="95"/>
                  </a:lnTo>
                  <a:lnTo>
                    <a:pt x="464" y="94"/>
                  </a:lnTo>
                  <a:lnTo>
                    <a:pt x="464" y="95"/>
                  </a:lnTo>
                  <a:lnTo>
                    <a:pt x="463" y="97"/>
                  </a:lnTo>
                  <a:lnTo>
                    <a:pt x="461" y="95"/>
                  </a:lnTo>
                  <a:lnTo>
                    <a:pt x="461" y="97"/>
                  </a:lnTo>
                  <a:lnTo>
                    <a:pt x="460" y="97"/>
                  </a:lnTo>
                  <a:lnTo>
                    <a:pt x="459" y="98"/>
                  </a:lnTo>
                  <a:lnTo>
                    <a:pt x="458" y="99"/>
                  </a:lnTo>
                  <a:lnTo>
                    <a:pt x="457" y="99"/>
                  </a:lnTo>
                  <a:lnTo>
                    <a:pt x="455" y="100"/>
                  </a:lnTo>
                  <a:lnTo>
                    <a:pt x="454" y="101"/>
                  </a:lnTo>
                  <a:lnTo>
                    <a:pt x="453" y="100"/>
                  </a:lnTo>
                  <a:lnTo>
                    <a:pt x="451" y="100"/>
                  </a:lnTo>
                  <a:lnTo>
                    <a:pt x="449" y="100"/>
                  </a:lnTo>
                  <a:lnTo>
                    <a:pt x="449" y="101"/>
                  </a:lnTo>
                  <a:lnTo>
                    <a:pt x="448" y="104"/>
                  </a:lnTo>
                  <a:lnTo>
                    <a:pt x="447" y="105"/>
                  </a:lnTo>
                  <a:lnTo>
                    <a:pt x="444" y="106"/>
                  </a:lnTo>
                  <a:lnTo>
                    <a:pt x="443" y="109"/>
                  </a:lnTo>
                  <a:lnTo>
                    <a:pt x="441" y="110"/>
                  </a:lnTo>
                  <a:lnTo>
                    <a:pt x="441" y="109"/>
                  </a:lnTo>
                  <a:lnTo>
                    <a:pt x="441" y="107"/>
                  </a:lnTo>
                  <a:lnTo>
                    <a:pt x="440" y="106"/>
                  </a:lnTo>
                  <a:lnTo>
                    <a:pt x="441" y="105"/>
                  </a:lnTo>
                  <a:lnTo>
                    <a:pt x="441" y="104"/>
                  </a:lnTo>
                  <a:lnTo>
                    <a:pt x="441" y="101"/>
                  </a:lnTo>
                  <a:lnTo>
                    <a:pt x="447" y="101"/>
                  </a:lnTo>
                  <a:lnTo>
                    <a:pt x="446" y="100"/>
                  </a:lnTo>
                  <a:lnTo>
                    <a:pt x="448" y="99"/>
                  </a:lnTo>
                  <a:lnTo>
                    <a:pt x="447" y="98"/>
                  </a:lnTo>
                  <a:lnTo>
                    <a:pt x="444" y="99"/>
                  </a:lnTo>
                  <a:lnTo>
                    <a:pt x="441" y="99"/>
                  </a:lnTo>
                  <a:lnTo>
                    <a:pt x="440" y="98"/>
                  </a:lnTo>
                  <a:lnTo>
                    <a:pt x="441" y="97"/>
                  </a:lnTo>
                  <a:lnTo>
                    <a:pt x="438" y="95"/>
                  </a:lnTo>
                  <a:lnTo>
                    <a:pt x="437" y="95"/>
                  </a:lnTo>
                  <a:lnTo>
                    <a:pt x="437" y="97"/>
                  </a:lnTo>
                  <a:lnTo>
                    <a:pt x="436" y="97"/>
                  </a:lnTo>
                  <a:lnTo>
                    <a:pt x="434" y="97"/>
                  </a:lnTo>
                  <a:lnTo>
                    <a:pt x="432" y="98"/>
                  </a:lnTo>
                  <a:lnTo>
                    <a:pt x="430" y="98"/>
                  </a:lnTo>
                  <a:lnTo>
                    <a:pt x="428" y="98"/>
                  </a:lnTo>
                  <a:lnTo>
                    <a:pt x="425" y="97"/>
                  </a:lnTo>
                  <a:lnTo>
                    <a:pt x="424" y="95"/>
                  </a:lnTo>
                  <a:lnTo>
                    <a:pt x="426" y="94"/>
                  </a:lnTo>
                  <a:lnTo>
                    <a:pt x="425" y="93"/>
                  </a:lnTo>
                  <a:lnTo>
                    <a:pt x="425" y="89"/>
                  </a:lnTo>
                  <a:lnTo>
                    <a:pt x="424" y="88"/>
                  </a:lnTo>
                  <a:lnTo>
                    <a:pt x="425" y="88"/>
                  </a:lnTo>
                  <a:lnTo>
                    <a:pt x="426" y="89"/>
                  </a:lnTo>
                  <a:lnTo>
                    <a:pt x="429" y="90"/>
                  </a:lnTo>
                  <a:lnTo>
                    <a:pt x="429" y="92"/>
                  </a:lnTo>
                  <a:lnTo>
                    <a:pt x="430" y="93"/>
                  </a:lnTo>
                  <a:lnTo>
                    <a:pt x="430" y="92"/>
                  </a:lnTo>
                  <a:lnTo>
                    <a:pt x="430" y="94"/>
                  </a:lnTo>
                  <a:lnTo>
                    <a:pt x="431" y="95"/>
                  </a:lnTo>
                  <a:lnTo>
                    <a:pt x="432" y="95"/>
                  </a:lnTo>
                  <a:lnTo>
                    <a:pt x="432" y="94"/>
                  </a:lnTo>
                  <a:lnTo>
                    <a:pt x="434" y="93"/>
                  </a:lnTo>
                  <a:lnTo>
                    <a:pt x="436" y="94"/>
                  </a:lnTo>
                  <a:lnTo>
                    <a:pt x="437" y="94"/>
                  </a:lnTo>
                  <a:lnTo>
                    <a:pt x="438" y="94"/>
                  </a:lnTo>
                  <a:lnTo>
                    <a:pt x="437" y="94"/>
                  </a:lnTo>
                  <a:lnTo>
                    <a:pt x="436" y="93"/>
                  </a:lnTo>
                  <a:lnTo>
                    <a:pt x="436" y="92"/>
                  </a:lnTo>
                  <a:lnTo>
                    <a:pt x="437" y="92"/>
                  </a:lnTo>
                  <a:lnTo>
                    <a:pt x="438" y="90"/>
                  </a:lnTo>
                  <a:lnTo>
                    <a:pt x="437" y="89"/>
                  </a:lnTo>
                  <a:lnTo>
                    <a:pt x="435" y="89"/>
                  </a:lnTo>
                  <a:lnTo>
                    <a:pt x="432" y="90"/>
                  </a:lnTo>
                  <a:lnTo>
                    <a:pt x="431" y="88"/>
                  </a:lnTo>
                  <a:lnTo>
                    <a:pt x="430" y="87"/>
                  </a:lnTo>
                  <a:lnTo>
                    <a:pt x="428" y="87"/>
                  </a:lnTo>
                  <a:lnTo>
                    <a:pt x="425" y="86"/>
                  </a:lnTo>
                  <a:lnTo>
                    <a:pt x="422" y="83"/>
                  </a:lnTo>
                  <a:lnTo>
                    <a:pt x="419" y="81"/>
                  </a:lnTo>
                  <a:lnTo>
                    <a:pt x="420" y="81"/>
                  </a:lnTo>
                  <a:lnTo>
                    <a:pt x="420" y="80"/>
                  </a:lnTo>
                  <a:lnTo>
                    <a:pt x="419" y="78"/>
                  </a:lnTo>
                  <a:lnTo>
                    <a:pt x="420" y="77"/>
                  </a:lnTo>
                  <a:lnTo>
                    <a:pt x="420" y="75"/>
                  </a:lnTo>
                  <a:lnTo>
                    <a:pt x="423" y="74"/>
                  </a:lnTo>
                  <a:lnTo>
                    <a:pt x="424" y="69"/>
                  </a:lnTo>
                  <a:lnTo>
                    <a:pt x="424" y="66"/>
                  </a:lnTo>
                  <a:lnTo>
                    <a:pt x="425" y="64"/>
                  </a:lnTo>
                  <a:lnTo>
                    <a:pt x="426" y="63"/>
                  </a:lnTo>
                  <a:lnTo>
                    <a:pt x="426" y="62"/>
                  </a:lnTo>
                  <a:lnTo>
                    <a:pt x="428" y="62"/>
                  </a:lnTo>
                  <a:lnTo>
                    <a:pt x="426" y="60"/>
                  </a:lnTo>
                  <a:lnTo>
                    <a:pt x="424" y="60"/>
                  </a:lnTo>
                  <a:lnTo>
                    <a:pt x="422" y="60"/>
                  </a:lnTo>
                  <a:lnTo>
                    <a:pt x="422" y="59"/>
                  </a:lnTo>
                  <a:lnTo>
                    <a:pt x="423" y="58"/>
                  </a:lnTo>
                  <a:lnTo>
                    <a:pt x="425" y="58"/>
                  </a:lnTo>
                  <a:lnTo>
                    <a:pt x="426" y="57"/>
                  </a:lnTo>
                  <a:lnTo>
                    <a:pt x="428" y="58"/>
                  </a:lnTo>
                  <a:lnTo>
                    <a:pt x="429" y="58"/>
                  </a:lnTo>
                  <a:lnTo>
                    <a:pt x="430" y="57"/>
                  </a:lnTo>
                  <a:lnTo>
                    <a:pt x="430" y="56"/>
                  </a:lnTo>
                  <a:lnTo>
                    <a:pt x="428" y="54"/>
                  </a:lnTo>
                  <a:lnTo>
                    <a:pt x="430" y="53"/>
                  </a:lnTo>
                  <a:lnTo>
                    <a:pt x="428" y="52"/>
                  </a:lnTo>
                  <a:lnTo>
                    <a:pt x="426" y="52"/>
                  </a:lnTo>
                  <a:lnTo>
                    <a:pt x="424" y="52"/>
                  </a:lnTo>
                  <a:lnTo>
                    <a:pt x="423" y="53"/>
                  </a:lnTo>
                  <a:lnTo>
                    <a:pt x="422" y="53"/>
                  </a:lnTo>
                  <a:lnTo>
                    <a:pt x="420" y="52"/>
                  </a:lnTo>
                  <a:lnTo>
                    <a:pt x="419" y="51"/>
                  </a:lnTo>
                  <a:lnTo>
                    <a:pt x="420" y="50"/>
                  </a:lnTo>
                  <a:lnTo>
                    <a:pt x="423" y="48"/>
                  </a:lnTo>
                  <a:lnTo>
                    <a:pt x="425" y="47"/>
                  </a:lnTo>
                  <a:lnTo>
                    <a:pt x="428" y="47"/>
                  </a:lnTo>
                  <a:lnTo>
                    <a:pt x="429" y="50"/>
                  </a:lnTo>
                  <a:lnTo>
                    <a:pt x="430" y="48"/>
                  </a:lnTo>
                  <a:lnTo>
                    <a:pt x="430" y="47"/>
                  </a:lnTo>
                  <a:lnTo>
                    <a:pt x="429" y="46"/>
                  </a:lnTo>
                  <a:lnTo>
                    <a:pt x="431" y="47"/>
                  </a:lnTo>
                  <a:lnTo>
                    <a:pt x="434" y="47"/>
                  </a:lnTo>
                  <a:lnTo>
                    <a:pt x="432" y="46"/>
                  </a:lnTo>
                  <a:lnTo>
                    <a:pt x="432" y="45"/>
                  </a:lnTo>
                  <a:lnTo>
                    <a:pt x="434" y="45"/>
                  </a:lnTo>
                  <a:lnTo>
                    <a:pt x="436" y="45"/>
                  </a:lnTo>
                  <a:lnTo>
                    <a:pt x="436" y="46"/>
                  </a:lnTo>
                  <a:lnTo>
                    <a:pt x="438" y="47"/>
                  </a:lnTo>
                  <a:lnTo>
                    <a:pt x="440" y="47"/>
                  </a:lnTo>
                  <a:lnTo>
                    <a:pt x="440" y="46"/>
                  </a:lnTo>
                  <a:lnTo>
                    <a:pt x="438" y="45"/>
                  </a:lnTo>
                  <a:lnTo>
                    <a:pt x="438" y="44"/>
                  </a:lnTo>
                  <a:lnTo>
                    <a:pt x="442" y="42"/>
                  </a:lnTo>
                  <a:lnTo>
                    <a:pt x="444" y="42"/>
                  </a:lnTo>
                  <a:lnTo>
                    <a:pt x="446" y="41"/>
                  </a:lnTo>
                  <a:lnTo>
                    <a:pt x="444" y="40"/>
                  </a:lnTo>
                  <a:lnTo>
                    <a:pt x="442" y="41"/>
                  </a:lnTo>
                  <a:lnTo>
                    <a:pt x="441" y="41"/>
                  </a:lnTo>
                  <a:lnTo>
                    <a:pt x="441" y="39"/>
                  </a:lnTo>
                  <a:lnTo>
                    <a:pt x="440" y="39"/>
                  </a:lnTo>
                  <a:lnTo>
                    <a:pt x="436" y="41"/>
                  </a:lnTo>
                  <a:lnTo>
                    <a:pt x="434" y="42"/>
                  </a:lnTo>
                  <a:lnTo>
                    <a:pt x="434" y="41"/>
                  </a:lnTo>
                  <a:lnTo>
                    <a:pt x="435" y="40"/>
                  </a:lnTo>
                  <a:lnTo>
                    <a:pt x="435" y="38"/>
                  </a:lnTo>
                  <a:lnTo>
                    <a:pt x="434" y="36"/>
                  </a:lnTo>
                  <a:lnTo>
                    <a:pt x="434" y="38"/>
                  </a:lnTo>
                  <a:lnTo>
                    <a:pt x="432" y="40"/>
                  </a:lnTo>
                  <a:lnTo>
                    <a:pt x="432" y="41"/>
                  </a:lnTo>
                  <a:lnTo>
                    <a:pt x="431" y="42"/>
                  </a:lnTo>
                  <a:lnTo>
                    <a:pt x="430" y="42"/>
                  </a:lnTo>
                  <a:lnTo>
                    <a:pt x="429" y="42"/>
                  </a:lnTo>
                  <a:lnTo>
                    <a:pt x="426" y="44"/>
                  </a:lnTo>
                  <a:lnTo>
                    <a:pt x="426" y="45"/>
                  </a:lnTo>
                  <a:lnTo>
                    <a:pt x="424" y="45"/>
                  </a:lnTo>
                  <a:lnTo>
                    <a:pt x="423" y="45"/>
                  </a:lnTo>
                  <a:lnTo>
                    <a:pt x="423" y="44"/>
                  </a:lnTo>
                  <a:lnTo>
                    <a:pt x="424" y="42"/>
                  </a:lnTo>
                  <a:lnTo>
                    <a:pt x="424" y="41"/>
                  </a:lnTo>
                  <a:lnTo>
                    <a:pt x="425" y="42"/>
                  </a:lnTo>
                  <a:lnTo>
                    <a:pt x="426" y="42"/>
                  </a:lnTo>
                  <a:lnTo>
                    <a:pt x="426" y="41"/>
                  </a:lnTo>
                  <a:lnTo>
                    <a:pt x="426" y="40"/>
                  </a:lnTo>
                  <a:lnTo>
                    <a:pt x="428" y="41"/>
                  </a:lnTo>
                  <a:lnTo>
                    <a:pt x="429" y="41"/>
                  </a:lnTo>
                  <a:lnTo>
                    <a:pt x="429" y="40"/>
                  </a:lnTo>
                  <a:lnTo>
                    <a:pt x="428" y="40"/>
                  </a:lnTo>
                  <a:lnTo>
                    <a:pt x="428" y="39"/>
                  </a:lnTo>
                  <a:lnTo>
                    <a:pt x="428" y="38"/>
                  </a:lnTo>
                  <a:lnTo>
                    <a:pt x="426" y="38"/>
                  </a:lnTo>
                  <a:lnTo>
                    <a:pt x="425" y="36"/>
                  </a:lnTo>
                  <a:lnTo>
                    <a:pt x="426" y="35"/>
                  </a:lnTo>
                  <a:lnTo>
                    <a:pt x="428" y="34"/>
                  </a:lnTo>
                  <a:lnTo>
                    <a:pt x="428" y="35"/>
                  </a:lnTo>
                  <a:lnTo>
                    <a:pt x="430" y="35"/>
                  </a:lnTo>
                  <a:lnTo>
                    <a:pt x="434" y="35"/>
                  </a:lnTo>
                  <a:lnTo>
                    <a:pt x="435" y="34"/>
                  </a:lnTo>
                  <a:lnTo>
                    <a:pt x="434" y="34"/>
                  </a:lnTo>
                  <a:lnTo>
                    <a:pt x="429" y="34"/>
                  </a:lnTo>
                  <a:lnTo>
                    <a:pt x="430" y="32"/>
                  </a:lnTo>
                  <a:lnTo>
                    <a:pt x="431" y="32"/>
                  </a:lnTo>
                  <a:lnTo>
                    <a:pt x="434" y="30"/>
                  </a:lnTo>
                  <a:lnTo>
                    <a:pt x="435" y="30"/>
                  </a:lnTo>
                  <a:lnTo>
                    <a:pt x="435" y="29"/>
                  </a:lnTo>
                  <a:lnTo>
                    <a:pt x="432" y="29"/>
                  </a:lnTo>
                  <a:lnTo>
                    <a:pt x="431" y="29"/>
                  </a:lnTo>
                  <a:lnTo>
                    <a:pt x="430" y="30"/>
                  </a:lnTo>
                  <a:lnTo>
                    <a:pt x="430" y="29"/>
                  </a:lnTo>
                  <a:lnTo>
                    <a:pt x="435" y="23"/>
                  </a:lnTo>
                  <a:lnTo>
                    <a:pt x="437" y="21"/>
                  </a:lnTo>
                  <a:lnTo>
                    <a:pt x="441" y="16"/>
                  </a:lnTo>
                  <a:lnTo>
                    <a:pt x="444" y="14"/>
                  </a:lnTo>
                  <a:lnTo>
                    <a:pt x="443" y="12"/>
                  </a:lnTo>
                  <a:lnTo>
                    <a:pt x="441" y="14"/>
                  </a:lnTo>
                  <a:lnTo>
                    <a:pt x="440" y="15"/>
                  </a:lnTo>
                  <a:lnTo>
                    <a:pt x="437" y="18"/>
                  </a:lnTo>
                  <a:lnTo>
                    <a:pt x="432" y="22"/>
                  </a:lnTo>
                  <a:lnTo>
                    <a:pt x="430" y="26"/>
                  </a:lnTo>
                  <a:lnTo>
                    <a:pt x="428" y="29"/>
                  </a:lnTo>
                  <a:lnTo>
                    <a:pt x="426" y="32"/>
                  </a:lnTo>
                  <a:lnTo>
                    <a:pt x="425" y="32"/>
                  </a:lnTo>
                  <a:lnTo>
                    <a:pt x="423" y="30"/>
                  </a:lnTo>
                  <a:lnTo>
                    <a:pt x="422" y="28"/>
                  </a:lnTo>
                  <a:lnTo>
                    <a:pt x="419" y="26"/>
                  </a:lnTo>
                  <a:lnTo>
                    <a:pt x="418" y="24"/>
                  </a:lnTo>
                  <a:lnTo>
                    <a:pt x="417" y="24"/>
                  </a:lnTo>
                  <a:lnTo>
                    <a:pt x="416" y="24"/>
                  </a:lnTo>
                  <a:lnTo>
                    <a:pt x="417" y="27"/>
                  </a:lnTo>
                  <a:lnTo>
                    <a:pt x="418" y="27"/>
                  </a:lnTo>
                  <a:lnTo>
                    <a:pt x="419" y="27"/>
                  </a:lnTo>
                  <a:lnTo>
                    <a:pt x="420" y="28"/>
                  </a:lnTo>
                  <a:lnTo>
                    <a:pt x="422" y="29"/>
                  </a:lnTo>
                  <a:lnTo>
                    <a:pt x="423" y="32"/>
                  </a:lnTo>
                  <a:lnTo>
                    <a:pt x="424" y="33"/>
                  </a:lnTo>
                  <a:lnTo>
                    <a:pt x="424" y="35"/>
                  </a:lnTo>
                  <a:lnTo>
                    <a:pt x="424" y="36"/>
                  </a:lnTo>
                  <a:lnTo>
                    <a:pt x="422" y="35"/>
                  </a:lnTo>
                  <a:lnTo>
                    <a:pt x="420" y="34"/>
                  </a:lnTo>
                  <a:lnTo>
                    <a:pt x="419" y="33"/>
                  </a:lnTo>
                  <a:lnTo>
                    <a:pt x="418" y="34"/>
                  </a:lnTo>
                  <a:lnTo>
                    <a:pt x="419" y="35"/>
                  </a:lnTo>
                  <a:lnTo>
                    <a:pt x="420" y="36"/>
                  </a:lnTo>
                  <a:lnTo>
                    <a:pt x="422" y="38"/>
                  </a:lnTo>
                  <a:lnTo>
                    <a:pt x="422" y="39"/>
                  </a:lnTo>
                  <a:lnTo>
                    <a:pt x="420" y="40"/>
                  </a:lnTo>
                  <a:lnTo>
                    <a:pt x="418" y="38"/>
                  </a:lnTo>
                  <a:lnTo>
                    <a:pt x="417" y="38"/>
                  </a:lnTo>
                  <a:lnTo>
                    <a:pt x="418" y="40"/>
                  </a:lnTo>
                  <a:lnTo>
                    <a:pt x="419" y="41"/>
                  </a:lnTo>
                  <a:lnTo>
                    <a:pt x="420" y="42"/>
                  </a:lnTo>
                  <a:lnTo>
                    <a:pt x="420" y="44"/>
                  </a:lnTo>
                  <a:lnTo>
                    <a:pt x="420" y="45"/>
                  </a:lnTo>
                  <a:lnTo>
                    <a:pt x="419" y="45"/>
                  </a:lnTo>
                  <a:lnTo>
                    <a:pt x="418" y="44"/>
                  </a:lnTo>
                  <a:lnTo>
                    <a:pt x="417" y="44"/>
                  </a:lnTo>
                  <a:lnTo>
                    <a:pt x="417" y="42"/>
                  </a:lnTo>
                  <a:lnTo>
                    <a:pt x="416" y="41"/>
                  </a:lnTo>
                  <a:lnTo>
                    <a:pt x="414" y="41"/>
                  </a:lnTo>
                  <a:lnTo>
                    <a:pt x="413" y="40"/>
                  </a:lnTo>
                  <a:lnTo>
                    <a:pt x="414" y="39"/>
                  </a:lnTo>
                  <a:lnTo>
                    <a:pt x="416" y="38"/>
                  </a:lnTo>
                  <a:lnTo>
                    <a:pt x="416" y="36"/>
                  </a:lnTo>
                  <a:lnTo>
                    <a:pt x="416" y="35"/>
                  </a:lnTo>
                  <a:lnTo>
                    <a:pt x="413" y="35"/>
                  </a:lnTo>
                  <a:lnTo>
                    <a:pt x="413" y="36"/>
                  </a:lnTo>
                  <a:lnTo>
                    <a:pt x="413" y="33"/>
                  </a:lnTo>
                  <a:lnTo>
                    <a:pt x="413" y="32"/>
                  </a:lnTo>
                  <a:lnTo>
                    <a:pt x="414" y="32"/>
                  </a:lnTo>
                  <a:lnTo>
                    <a:pt x="417" y="32"/>
                  </a:lnTo>
                  <a:lnTo>
                    <a:pt x="419" y="30"/>
                  </a:lnTo>
                  <a:lnTo>
                    <a:pt x="420" y="30"/>
                  </a:lnTo>
                  <a:lnTo>
                    <a:pt x="420" y="29"/>
                  </a:lnTo>
                  <a:lnTo>
                    <a:pt x="418" y="29"/>
                  </a:lnTo>
                  <a:lnTo>
                    <a:pt x="414" y="29"/>
                  </a:lnTo>
                  <a:lnTo>
                    <a:pt x="412" y="29"/>
                  </a:lnTo>
                  <a:lnTo>
                    <a:pt x="412" y="27"/>
                  </a:lnTo>
                  <a:lnTo>
                    <a:pt x="412" y="26"/>
                  </a:lnTo>
                  <a:lnTo>
                    <a:pt x="411" y="23"/>
                  </a:lnTo>
                  <a:lnTo>
                    <a:pt x="411" y="18"/>
                  </a:lnTo>
                  <a:lnTo>
                    <a:pt x="411" y="15"/>
                  </a:lnTo>
                  <a:lnTo>
                    <a:pt x="410" y="16"/>
                  </a:lnTo>
                  <a:lnTo>
                    <a:pt x="410" y="23"/>
                  </a:lnTo>
                  <a:lnTo>
                    <a:pt x="410" y="28"/>
                  </a:lnTo>
                  <a:lnTo>
                    <a:pt x="410" y="32"/>
                  </a:lnTo>
                  <a:lnTo>
                    <a:pt x="411" y="34"/>
                  </a:lnTo>
                  <a:lnTo>
                    <a:pt x="412" y="36"/>
                  </a:lnTo>
                  <a:lnTo>
                    <a:pt x="411" y="39"/>
                  </a:lnTo>
                  <a:lnTo>
                    <a:pt x="410" y="38"/>
                  </a:lnTo>
                  <a:lnTo>
                    <a:pt x="408" y="35"/>
                  </a:lnTo>
                  <a:lnTo>
                    <a:pt x="408" y="36"/>
                  </a:lnTo>
                  <a:lnTo>
                    <a:pt x="407" y="38"/>
                  </a:lnTo>
                  <a:lnTo>
                    <a:pt x="407" y="39"/>
                  </a:lnTo>
                  <a:lnTo>
                    <a:pt x="406" y="41"/>
                  </a:lnTo>
                  <a:lnTo>
                    <a:pt x="405" y="41"/>
                  </a:lnTo>
                  <a:lnTo>
                    <a:pt x="404" y="40"/>
                  </a:lnTo>
                  <a:lnTo>
                    <a:pt x="402" y="38"/>
                  </a:lnTo>
                  <a:lnTo>
                    <a:pt x="402" y="36"/>
                  </a:lnTo>
                  <a:lnTo>
                    <a:pt x="404" y="35"/>
                  </a:lnTo>
                  <a:lnTo>
                    <a:pt x="405" y="34"/>
                  </a:lnTo>
                  <a:lnTo>
                    <a:pt x="406" y="33"/>
                  </a:lnTo>
                  <a:lnTo>
                    <a:pt x="405" y="32"/>
                  </a:lnTo>
                  <a:lnTo>
                    <a:pt x="402" y="33"/>
                  </a:lnTo>
                  <a:lnTo>
                    <a:pt x="401" y="34"/>
                  </a:lnTo>
                  <a:lnTo>
                    <a:pt x="400" y="34"/>
                  </a:lnTo>
                  <a:lnTo>
                    <a:pt x="402" y="33"/>
                  </a:lnTo>
                  <a:lnTo>
                    <a:pt x="402" y="32"/>
                  </a:lnTo>
                  <a:lnTo>
                    <a:pt x="400" y="33"/>
                  </a:lnTo>
                  <a:lnTo>
                    <a:pt x="400" y="32"/>
                  </a:lnTo>
                  <a:lnTo>
                    <a:pt x="401" y="30"/>
                  </a:lnTo>
                  <a:lnTo>
                    <a:pt x="402" y="28"/>
                  </a:lnTo>
                  <a:lnTo>
                    <a:pt x="401" y="27"/>
                  </a:lnTo>
                  <a:lnTo>
                    <a:pt x="400" y="28"/>
                  </a:lnTo>
                  <a:lnTo>
                    <a:pt x="399" y="27"/>
                  </a:lnTo>
                  <a:lnTo>
                    <a:pt x="400" y="26"/>
                  </a:lnTo>
                  <a:lnTo>
                    <a:pt x="402" y="24"/>
                  </a:lnTo>
                  <a:lnTo>
                    <a:pt x="405" y="22"/>
                  </a:lnTo>
                  <a:lnTo>
                    <a:pt x="408" y="17"/>
                  </a:lnTo>
                  <a:lnTo>
                    <a:pt x="408" y="16"/>
                  </a:lnTo>
                  <a:lnTo>
                    <a:pt x="407" y="17"/>
                  </a:lnTo>
                  <a:lnTo>
                    <a:pt x="406" y="17"/>
                  </a:lnTo>
                  <a:lnTo>
                    <a:pt x="400" y="23"/>
                  </a:lnTo>
                  <a:lnTo>
                    <a:pt x="400" y="22"/>
                  </a:lnTo>
                  <a:lnTo>
                    <a:pt x="400" y="21"/>
                  </a:lnTo>
                  <a:lnTo>
                    <a:pt x="401" y="20"/>
                  </a:lnTo>
                  <a:lnTo>
                    <a:pt x="401" y="18"/>
                  </a:lnTo>
                  <a:lnTo>
                    <a:pt x="402" y="17"/>
                  </a:lnTo>
                  <a:lnTo>
                    <a:pt x="401" y="15"/>
                  </a:lnTo>
                  <a:lnTo>
                    <a:pt x="400" y="15"/>
                  </a:lnTo>
                  <a:lnTo>
                    <a:pt x="400" y="16"/>
                  </a:lnTo>
                  <a:lnTo>
                    <a:pt x="400" y="17"/>
                  </a:lnTo>
                  <a:lnTo>
                    <a:pt x="399" y="17"/>
                  </a:lnTo>
                  <a:lnTo>
                    <a:pt x="399" y="15"/>
                  </a:lnTo>
                  <a:lnTo>
                    <a:pt x="399" y="12"/>
                  </a:lnTo>
                  <a:lnTo>
                    <a:pt x="399" y="9"/>
                  </a:lnTo>
                  <a:lnTo>
                    <a:pt x="398" y="9"/>
                  </a:lnTo>
                  <a:lnTo>
                    <a:pt x="398" y="10"/>
                  </a:lnTo>
                  <a:lnTo>
                    <a:pt x="398" y="14"/>
                  </a:lnTo>
                  <a:lnTo>
                    <a:pt x="398" y="17"/>
                  </a:lnTo>
                  <a:lnTo>
                    <a:pt x="398" y="20"/>
                  </a:lnTo>
                  <a:lnTo>
                    <a:pt x="398" y="21"/>
                  </a:lnTo>
                  <a:lnTo>
                    <a:pt x="398" y="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7" name="Freeform 80"/>
            <p:cNvSpPr>
              <a:spLocks/>
            </p:cNvSpPr>
            <p:nvPr userDrawn="1"/>
          </p:nvSpPr>
          <p:spPr bwMode="auto">
            <a:xfrm>
              <a:off x="7605713" y="6399213"/>
              <a:ext cx="211138" cy="236538"/>
            </a:xfrm>
            <a:custGeom>
              <a:avLst/>
              <a:gdLst/>
              <a:ahLst/>
              <a:cxnLst>
                <a:cxn ang="0">
                  <a:pos x="230" y="546"/>
                </a:cxn>
                <a:cxn ang="0">
                  <a:pos x="191" y="515"/>
                </a:cxn>
                <a:cxn ang="0">
                  <a:pos x="202" y="469"/>
                </a:cxn>
                <a:cxn ang="0">
                  <a:pos x="149" y="474"/>
                </a:cxn>
                <a:cxn ang="0">
                  <a:pos x="93" y="499"/>
                </a:cxn>
                <a:cxn ang="0">
                  <a:pos x="67" y="467"/>
                </a:cxn>
                <a:cxn ang="0">
                  <a:pos x="40" y="440"/>
                </a:cxn>
                <a:cxn ang="0">
                  <a:pos x="23" y="395"/>
                </a:cxn>
                <a:cxn ang="0">
                  <a:pos x="14" y="350"/>
                </a:cxn>
                <a:cxn ang="0">
                  <a:pos x="53" y="333"/>
                </a:cxn>
                <a:cxn ang="0">
                  <a:pos x="90" y="323"/>
                </a:cxn>
                <a:cxn ang="0">
                  <a:pos x="103" y="294"/>
                </a:cxn>
                <a:cxn ang="0">
                  <a:pos x="115" y="255"/>
                </a:cxn>
                <a:cxn ang="0">
                  <a:pos x="150" y="238"/>
                </a:cxn>
                <a:cxn ang="0">
                  <a:pos x="155" y="222"/>
                </a:cxn>
                <a:cxn ang="0">
                  <a:pos x="165" y="204"/>
                </a:cxn>
                <a:cxn ang="0">
                  <a:pos x="147" y="195"/>
                </a:cxn>
                <a:cxn ang="0">
                  <a:pos x="162" y="178"/>
                </a:cxn>
                <a:cxn ang="0">
                  <a:pos x="135" y="166"/>
                </a:cxn>
                <a:cxn ang="0">
                  <a:pos x="143" y="143"/>
                </a:cxn>
                <a:cxn ang="0">
                  <a:pos x="127" y="116"/>
                </a:cxn>
                <a:cxn ang="0">
                  <a:pos x="158" y="123"/>
                </a:cxn>
                <a:cxn ang="0">
                  <a:pos x="169" y="93"/>
                </a:cxn>
                <a:cxn ang="0">
                  <a:pos x="196" y="89"/>
                </a:cxn>
                <a:cxn ang="0">
                  <a:pos x="197" y="68"/>
                </a:cxn>
                <a:cxn ang="0">
                  <a:pos x="222" y="61"/>
                </a:cxn>
                <a:cxn ang="0">
                  <a:pos x="224" y="53"/>
                </a:cxn>
                <a:cxn ang="0">
                  <a:pos x="250" y="55"/>
                </a:cxn>
                <a:cxn ang="0">
                  <a:pos x="275" y="82"/>
                </a:cxn>
                <a:cxn ang="0">
                  <a:pos x="294" y="57"/>
                </a:cxn>
                <a:cxn ang="0">
                  <a:pos x="315" y="40"/>
                </a:cxn>
                <a:cxn ang="0">
                  <a:pos x="340" y="6"/>
                </a:cxn>
                <a:cxn ang="0">
                  <a:pos x="362" y="26"/>
                </a:cxn>
                <a:cxn ang="0">
                  <a:pos x="392" y="38"/>
                </a:cxn>
                <a:cxn ang="0">
                  <a:pos x="406" y="59"/>
                </a:cxn>
                <a:cxn ang="0">
                  <a:pos x="428" y="59"/>
                </a:cxn>
                <a:cxn ang="0">
                  <a:pos x="475" y="61"/>
                </a:cxn>
                <a:cxn ang="0">
                  <a:pos x="510" y="80"/>
                </a:cxn>
                <a:cxn ang="0">
                  <a:pos x="530" y="105"/>
                </a:cxn>
                <a:cxn ang="0">
                  <a:pos x="529" y="145"/>
                </a:cxn>
                <a:cxn ang="0">
                  <a:pos x="551" y="162"/>
                </a:cxn>
                <a:cxn ang="0">
                  <a:pos x="547" y="187"/>
                </a:cxn>
                <a:cxn ang="0">
                  <a:pos x="554" y="219"/>
                </a:cxn>
                <a:cxn ang="0">
                  <a:pos x="575" y="235"/>
                </a:cxn>
                <a:cxn ang="0">
                  <a:pos x="583" y="277"/>
                </a:cxn>
                <a:cxn ang="0">
                  <a:pos x="596" y="291"/>
                </a:cxn>
                <a:cxn ang="0">
                  <a:pos x="641" y="301"/>
                </a:cxn>
                <a:cxn ang="0">
                  <a:pos x="635" y="344"/>
                </a:cxn>
                <a:cxn ang="0">
                  <a:pos x="655" y="371"/>
                </a:cxn>
                <a:cxn ang="0">
                  <a:pos x="629" y="377"/>
                </a:cxn>
                <a:cxn ang="0">
                  <a:pos x="640" y="414"/>
                </a:cxn>
                <a:cxn ang="0">
                  <a:pos x="628" y="452"/>
                </a:cxn>
                <a:cxn ang="0">
                  <a:pos x="610" y="474"/>
                </a:cxn>
                <a:cxn ang="0">
                  <a:pos x="589" y="486"/>
                </a:cxn>
                <a:cxn ang="0">
                  <a:pos x="546" y="485"/>
                </a:cxn>
                <a:cxn ang="0">
                  <a:pos x="533" y="462"/>
                </a:cxn>
                <a:cxn ang="0">
                  <a:pos x="505" y="466"/>
                </a:cxn>
                <a:cxn ang="0">
                  <a:pos x="462" y="439"/>
                </a:cxn>
                <a:cxn ang="0">
                  <a:pos x="430" y="471"/>
                </a:cxn>
                <a:cxn ang="0">
                  <a:pos x="421" y="497"/>
                </a:cxn>
                <a:cxn ang="0">
                  <a:pos x="398" y="514"/>
                </a:cxn>
                <a:cxn ang="0">
                  <a:pos x="401" y="543"/>
                </a:cxn>
                <a:cxn ang="0">
                  <a:pos x="330" y="557"/>
                </a:cxn>
              </a:cxnLst>
              <a:rect l="0" t="0" r="r" b="b"/>
              <a:pathLst>
                <a:path w="663" h="742">
                  <a:moveTo>
                    <a:pt x="293" y="737"/>
                  </a:moveTo>
                  <a:lnTo>
                    <a:pt x="291" y="742"/>
                  </a:lnTo>
                  <a:lnTo>
                    <a:pt x="288" y="741"/>
                  </a:lnTo>
                  <a:lnTo>
                    <a:pt x="285" y="741"/>
                  </a:lnTo>
                  <a:lnTo>
                    <a:pt x="283" y="740"/>
                  </a:lnTo>
                  <a:lnTo>
                    <a:pt x="282" y="740"/>
                  </a:lnTo>
                  <a:lnTo>
                    <a:pt x="279" y="741"/>
                  </a:lnTo>
                  <a:lnTo>
                    <a:pt x="275" y="742"/>
                  </a:lnTo>
                  <a:lnTo>
                    <a:pt x="270" y="741"/>
                  </a:lnTo>
                  <a:lnTo>
                    <a:pt x="267" y="741"/>
                  </a:lnTo>
                  <a:lnTo>
                    <a:pt x="257" y="741"/>
                  </a:lnTo>
                  <a:lnTo>
                    <a:pt x="251" y="741"/>
                  </a:lnTo>
                  <a:lnTo>
                    <a:pt x="250" y="739"/>
                  </a:lnTo>
                  <a:lnTo>
                    <a:pt x="253" y="722"/>
                  </a:lnTo>
                  <a:lnTo>
                    <a:pt x="253" y="700"/>
                  </a:lnTo>
                  <a:lnTo>
                    <a:pt x="253" y="693"/>
                  </a:lnTo>
                  <a:lnTo>
                    <a:pt x="255" y="684"/>
                  </a:lnTo>
                  <a:lnTo>
                    <a:pt x="258" y="656"/>
                  </a:lnTo>
                  <a:lnTo>
                    <a:pt x="257" y="651"/>
                  </a:lnTo>
                  <a:lnTo>
                    <a:pt x="256" y="647"/>
                  </a:lnTo>
                  <a:lnTo>
                    <a:pt x="257" y="642"/>
                  </a:lnTo>
                  <a:lnTo>
                    <a:pt x="261" y="638"/>
                  </a:lnTo>
                  <a:lnTo>
                    <a:pt x="262" y="611"/>
                  </a:lnTo>
                  <a:lnTo>
                    <a:pt x="265" y="602"/>
                  </a:lnTo>
                  <a:lnTo>
                    <a:pt x="267" y="597"/>
                  </a:lnTo>
                  <a:lnTo>
                    <a:pt x="267" y="593"/>
                  </a:lnTo>
                  <a:lnTo>
                    <a:pt x="264" y="590"/>
                  </a:lnTo>
                  <a:lnTo>
                    <a:pt x="264" y="585"/>
                  </a:lnTo>
                  <a:lnTo>
                    <a:pt x="267" y="577"/>
                  </a:lnTo>
                  <a:lnTo>
                    <a:pt x="271" y="563"/>
                  </a:lnTo>
                  <a:lnTo>
                    <a:pt x="273" y="552"/>
                  </a:lnTo>
                  <a:lnTo>
                    <a:pt x="273" y="539"/>
                  </a:lnTo>
                  <a:lnTo>
                    <a:pt x="270" y="534"/>
                  </a:lnTo>
                  <a:lnTo>
                    <a:pt x="269" y="533"/>
                  </a:lnTo>
                  <a:lnTo>
                    <a:pt x="267" y="538"/>
                  </a:lnTo>
                  <a:lnTo>
                    <a:pt x="265" y="537"/>
                  </a:lnTo>
                  <a:lnTo>
                    <a:pt x="264" y="538"/>
                  </a:lnTo>
                  <a:lnTo>
                    <a:pt x="263" y="537"/>
                  </a:lnTo>
                  <a:lnTo>
                    <a:pt x="262" y="540"/>
                  </a:lnTo>
                  <a:lnTo>
                    <a:pt x="261" y="541"/>
                  </a:lnTo>
                  <a:lnTo>
                    <a:pt x="259" y="543"/>
                  </a:lnTo>
                  <a:lnTo>
                    <a:pt x="256" y="544"/>
                  </a:lnTo>
                  <a:lnTo>
                    <a:pt x="255" y="544"/>
                  </a:lnTo>
                  <a:lnTo>
                    <a:pt x="253" y="544"/>
                  </a:lnTo>
                  <a:lnTo>
                    <a:pt x="248" y="543"/>
                  </a:lnTo>
                  <a:lnTo>
                    <a:pt x="248" y="541"/>
                  </a:lnTo>
                  <a:lnTo>
                    <a:pt x="247" y="540"/>
                  </a:lnTo>
                  <a:lnTo>
                    <a:pt x="246" y="540"/>
                  </a:lnTo>
                  <a:lnTo>
                    <a:pt x="244" y="540"/>
                  </a:lnTo>
                  <a:lnTo>
                    <a:pt x="242" y="539"/>
                  </a:lnTo>
                  <a:lnTo>
                    <a:pt x="241" y="539"/>
                  </a:lnTo>
                  <a:lnTo>
                    <a:pt x="240" y="539"/>
                  </a:lnTo>
                  <a:lnTo>
                    <a:pt x="239" y="540"/>
                  </a:lnTo>
                  <a:lnTo>
                    <a:pt x="238" y="540"/>
                  </a:lnTo>
                  <a:lnTo>
                    <a:pt x="234" y="544"/>
                  </a:lnTo>
                  <a:lnTo>
                    <a:pt x="232" y="545"/>
                  </a:lnTo>
                  <a:lnTo>
                    <a:pt x="230" y="547"/>
                  </a:lnTo>
                  <a:lnTo>
                    <a:pt x="230" y="546"/>
                  </a:lnTo>
                  <a:lnTo>
                    <a:pt x="228" y="545"/>
                  </a:lnTo>
                  <a:lnTo>
                    <a:pt x="227" y="545"/>
                  </a:lnTo>
                  <a:lnTo>
                    <a:pt x="226" y="545"/>
                  </a:lnTo>
                  <a:lnTo>
                    <a:pt x="226" y="544"/>
                  </a:lnTo>
                  <a:lnTo>
                    <a:pt x="224" y="543"/>
                  </a:lnTo>
                  <a:lnTo>
                    <a:pt x="222" y="544"/>
                  </a:lnTo>
                  <a:lnTo>
                    <a:pt x="222" y="545"/>
                  </a:lnTo>
                  <a:lnTo>
                    <a:pt x="221" y="544"/>
                  </a:lnTo>
                  <a:lnTo>
                    <a:pt x="218" y="544"/>
                  </a:lnTo>
                  <a:lnTo>
                    <a:pt x="217" y="543"/>
                  </a:lnTo>
                  <a:lnTo>
                    <a:pt x="215" y="543"/>
                  </a:lnTo>
                  <a:lnTo>
                    <a:pt x="214" y="541"/>
                  </a:lnTo>
                  <a:lnTo>
                    <a:pt x="214" y="540"/>
                  </a:lnTo>
                  <a:lnTo>
                    <a:pt x="212" y="540"/>
                  </a:lnTo>
                  <a:lnTo>
                    <a:pt x="212" y="539"/>
                  </a:lnTo>
                  <a:lnTo>
                    <a:pt x="211" y="538"/>
                  </a:lnTo>
                  <a:lnTo>
                    <a:pt x="212" y="537"/>
                  </a:lnTo>
                  <a:lnTo>
                    <a:pt x="211" y="535"/>
                  </a:lnTo>
                  <a:lnTo>
                    <a:pt x="212" y="534"/>
                  </a:lnTo>
                  <a:lnTo>
                    <a:pt x="212" y="533"/>
                  </a:lnTo>
                  <a:lnTo>
                    <a:pt x="214" y="531"/>
                  </a:lnTo>
                  <a:lnTo>
                    <a:pt x="214" y="528"/>
                  </a:lnTo>
                  <a:lnTo>
                    <a:pt x="212" y="529"/>
                  </a:lnTo>
                  <a:lnTo>
                    <a:pt x="211" y="529"/>
                  </a:lnTo>
                  <a:lnTo>
                    <a:pt x="211" y="532"/>
                  </a:lnTo>
                  <a:lnTo>
                    <a:pt x="210" y="534"/>
                  </a:lnTo>
                  <a:lnTo>
                    <a:pt x="209" y="533"/>
                  </a:lnTo>
                  <a:lnTo>
                    <a:pt x="209" y="532"/>
                  </a:lnTo>
                  <a:lnTo>
                    <a:pt x="208" y="532"/>
                  </a:lnTo>
                  <a:lnTo>
                    <a:pt x="205" y="532"/>
                  </a:lnTo>
                  <a:lnTo>
                    <a:pt x="205" y="531"/>
                  </a:lnTo>
                  <a:lnTo>
                    <a:pt x="205" y="529"/>
                  </a:lnTo>
                  <a:lnTo>
                    <a:pt x="206" y="526"/>
                  </a:lnTo>
                  <a:lnTo>
                    <a:pt x="208" y="525"/>
                  </a:lnTo>
                  <a:lnTo>
                    <a:pt x="208" y="521"/>
                  </a:lnTo>
                  <a:lnTo>
                    <a:pt x="205" y="520"/>
                  </a:lnTo>
                  <a:lnTo>
                    <a:pt x="204" y="519"/>
                  </a:lnTo>
                  <a:lnTo>
                    <a:pt x="204" y="516"/>
                  </a:lnTo>
                  <a:lnTo>
                    <a:pt x="204" y="515"/>
                  </a:lnTo>
                  <a:lnTo>
                    <a:pt x="204" y="513"/>
                  </a:lnTo>
                  <a:lnTo>
                    <a:pt x="204" y="510"/>
                  </a:lnTo>
                  <a:lnTo>
                    <a:pt x="204" y="509"/>
                  </a:lnTo>
                  <a:lnTo>
                    <a:pt x="203" y="508"/>
                  </a:lnTo>
                  <a:lnTo>
                    <a:pt x="202" y="507"/>
                  </a:lnTo>
                  <a:lnTo>
                    <a:pt x="200" y="509"/>
                  </a:lnTo>
                  <a:lnTo>
                    <a:pt x="199" y="509"/>
                  </a:lnTo>
                  <a:lnTo>
                    <a:pt x="197" y="509"/>
                  </a:lnTo>
                  <a:lnTo>
                    <a:pt x="198" y="513"/>
                  </a:lnTo>
                  <a:lnTo>
                    <a:pt x="197" y="514"/>
                  </a:lnTo>
                  <a:lnTo>
                    <a:pt x="197" y="515"/>
                  </a:lnTo>
                  <a:lnTo>
                    <a:pt x="196" y="515"/>
                  </a:lnTo>
                  <a:lnTo>
                    <a:pt x="196" y="516"/>
                  </a:lnTo>
                  <a:lnTo>
                    <a:pt x="194" y="517"/>
                  </a:lnTo>
                  <a:lnTo>
                    <a:pt x="193" y="516"/>
                  </a:lnTo>
                  <a:lnTo>
                    <a:pt x="193" y="517"/>
                  </a:lnTo>
                  <a:lnTo>
                    <a:pt x="192" y="517"/>
                  </a:lnTo>
                  <a:lnTo>
                    <a:pt x="191" y="516"/>
                  </a:lnTo>
                  <a:lnTo>
                    <a:pt x="191" y="515"/>
                  </a:lnTo>
                  <a:lnTo>
                    <a:pt x="188" y="516"/>
                  </a:lnTo>
                  <a:lnTo>
                    <a:pt x="187" y="516"/>
                  </a:lnTo>
                  <a:lnTo>
                    <a:pt x="185" y="515"/>
                  </a:lnTo>
                  <a:lnTo>
                    <a:pt x="183" y="515"/>
                  </a:lnTo>
                  <a:lnTo>
                    <a:pt x="183" y="514"/>
                  </a:lnTo>
                  <a:lnTo>
                    <a:pt x="182" y="513"/>
                  </a:lnTo>
                  <a:lnTo>
                    <a:pt x="182" y="511"/>
                  </a:lnTo>
                  <a:lnTo>
                    <a:pt x="185" y="510"/>
                  </a:lnTo>
                  <a:lnTo>
                    <a:pt x="185" y="508"/>
                  </a:lnTo>
                  <a:lnTo>
                    <a:pt x="186" y="508"/>
                  </a:lnTo>
                  <a:lnTo>
                    <a:pt x="188" y="507"/>
                  </a:lnTo>
                  <a:lnTo>
                    <a:pt x="189" y="505"/>
                  </a:lnTo>
                  <a:lnTo>
                    <a:pt x="193" y="503"/>
                  </a:lnTo>
                  <a:lnTo>
                    <a:pt x="194" y="501"/>
                  </a:lnTo>
                  <a:lnTo>
                    <a:pt x="196" y="501"/>
                  </a:lnTo>
                  <a:lnTo>
                    <a:pt x="198" y="502"/>
                  </a:lnTo>
                  <a:lnTo>
                    <a:pt x="199" y="501"/>
                  </a:lnTo>
                  <a:lnTo>
                    <a:pt x="202" y="499"/>
                  </a:lnTo>
                  <a:lnTo>
                    <a:pt x="203" y="501"/>
                  </a:lnTo>
                  <a:lnTo>
                    <a:pt x="204" y="501"/>
                  </a:lnTo>
                  <a:lnTo>
                    <a:pt x="206" y="502"/>
                  </a:lnTo>
                  <a:lnTo>
                    <a:pt x="208" y="502"/>
                  </a:lnTo>
                  <a:lnTo>
                    <a:pt x="209" y="501"/>
                  </a:lnTo>
                  <a:lnTo>
                    <a:pt x="212" y="502"/>
                  </a:lnTo>
                  <a:lnTo>
                    <a:pt x="214" y="503"/>
                  </a:lnTo>
                  <a:lnTo>
                    <a:pt x="215" y="503"/>
                  </a:lnTo>
                  <a:lnTo>
                    <a:pt x="218" y="503"/>
                  </a:lnTo>
                  <a:lnTo>
                    <a:pt x="222" y="501"/>
                  </a:lnTo>
                  <a:lnTo>
                    <a:pt x="223" y="498"/>
                  </a:lnTo>
                  <a:lnTo>
                    <a:pt x="223" y="492"/>
                  </a:lnTo>
                  <a:lnTo>
                    <a:pt x="224" y="490"/>
                  </a:lnTo>
                  <a:lnTo>
                    <a:pt x="223" y="490"/>
                  </a:lnTo>
                  <a:lnTo>
                    <a:pt x="221" y="493"/>
                  </a:lnTo>
                  <a:lnTo>
                    <a:pt x="221" y="495"/>
                  </a:lnTo>
                  <a:lnTo>
                    <a:pt x="220" y="495"/>
                  </a:lnTo>
                  <a:lnTo>
                    <a:pt x="220" y="492"/>
                  </a:lnTo>
                  <a:lnTo>
                    <a:pt x="217" y="492"/>
                  </a:lnTo>
                  <a:lnTo>
                    <a:pt x="217" y="491"/>
                  </a:lnTo>
                  <a:lnTo>
                    <a:pt x="217" y="490"/>
                  </a:lnTo>
                  <a:lnTo>
                    <a:pt x="216" y="487"/>
                  </a:lnTo>
                  <a:lnTo>
                    <a:pt x="217" y="486"/>
                  </a:lnTo>
                  <a:lnTo>
                    <a:pt x="216" y="485"/>
                  </a:lnTo>
                  <a:lnTo>
                    <a:pt x="216" y="483"/>
                  </a:lnTo>
                  <a:lnTo>
                    <a:pt x="214" y="481"/>
                  </a:lnTo>
                  <a:lnTo>
                    <a:pt x="212" y="480"/>
                  </a:lnTo>
                  <a:lnTo>
                    <a:pt x="211" y="479"/>
                  </a:lnTo>
                  <a:lnTo>
                    <a:pt x="210" y="477"/>
                  </a:lnTo>
                  <a:lnTo>
                    <a:pt x="210" y="475"/>
                  </a:lnTo>
                  <a:lnTo>
                    <a:pt x="210" y="474"/>
                  </a:lnTo>
                  <a:lnTo>
                    <a:pt x="209" y="474"/>
                  </a:lnTo>
                  <a:lnTo>
                    <a:pt x="209" y="472"/>
                  </a:lnTo>
                  <a:lnTo>
                    <a:pt x="210" y="468"/>
                  </a:lnTo>
                  <a:lnTo>
                    <a:pt x="209" y="467"/>
                  </a:lnTo>
                  <a:lnTo>
                    <a:pt x="208" y="467"/>
                  </a:lnTo>
                  <a:lnTo>
                    <a:pt x="205" y="467"/>
                  </a:lnTo>
                  <a:lnTo>
                    <a:pt x="204" y="471"/>
                  </a:lnTo>
                  <a:lnTo>
                    <a:pt x="203" y="471"/>
                  </a:lnTo>
                  <a:lnTo>
                    <a:pt x="202" y="469"/>
                  </a:lnTo>
                  <a:lnTo>
                    <a:pt x="199" y="469"/>
                  </a:lnTo>
                  <a:lnTo>
                    <a:pt x="198" y="469"/>
                  </a:lnTo>
                  <a:lnTo>
                    <a:pt x="196" y="467"/>
                  </a:lnTo>
                  <a:lnTo>
                    <a:pt x="196" y="464"/>
                  </a:lnTo>
                  <a:lnTo>
                    <a:pt x="197" y="463"/>
                  </a:lnTo>
                  <a:lnTo>
                    <a:pt x="185" y="464"/>
                  </a:lnTo>
                  <a:lnTo>
                    <a:pt x="175" y="464"/>
                  </a:lnTo>
                  <a:lnTo>
                    <a:pt x="174" y="468"/>
                  </a:lnTo>
                  <a:lnTo>
                    <a:pt x="174" y="469"/>
                  </a:lnTo>
                  <a:lnTo>
                    <a:pt x="173" y="471"/>
                  </a:lnTo>
                  <a:lnTo>
                    <a:pt x="174" y="472"/>
                  </a:lnTo>
                  <a:lnTo>
                    <a:pt x="175" y="473"/>
                  </a:lnTo>
                  <a:lnTo>
                    <a:pt x="174" y="474"/>
                  </a:lnTo>
                  <a:lnTo>
                    <a:pt x="176" y="475"/>
                  </a:lnTo>
                  <a:lnTo>
                    <a:pt x="175" y="478"/>
                  </a:lnTo>
                  <a:lnTo>
                    <a:pt x="174" y="479"/>
                  </a:lnTo>
                  <a:lnTo>
                    <a:pt x="175" y="483"/>
                  </a:lnTo>
                  <a:lnTo>
                    <a:pt x="176" y="486"/>
                  </a:lnTo>
                  <a:lnTo>
                    <a:pt x="175" y="485"/>
                  </a:lnTo>
                  <a:lnTo>
                    <a:pt x="174" y="485"/>
                  </a:lnTo>
                  <a:lnTo>
                    <a:pt x="174" y="486"/>
                  </a:lnTo>
                  <a:lnTo>
                    <a:pt x="174" y="490"/>
                  </a:lnTo>
                  <a:lnTo>
                    <a:pt x="173" y="490"/>
                  </a:lnTo>
                  <a:lnTo>
                    <a:pt x="170" y="491"/>
                  </a:lnTo>
                  <a:lnTo>
                    <a:pt x="170" y="490"/>
                  </a:lnTo>
                  <a:lnTo>
                    <a:pt x="169" y="489"/>
                  </a:lnTo>
                  <a:lnTo>
                    <a:pt x="168" y="490"/>
                  </a:lnTo>
                  <a:lnTo>
                    <a:pt x="167" y="489"/>
                  </a:lnTo>
                  <a:lnTo>
                    <a:pt x="168" y="485"/>
                  </a:lnTo>
                  <a:lnTo>
                    <a:pt x="168" y="483"/>
                  </a:lnTo>
                  <a:lnTo>
                    <a:pt x="169" y="481"/>
                  </a:lnTo>
                  <a:lnTo>
                    <a:pt x="169" y="478"/>
                  </a:lnTo>
                  <a:lnTo>
                    <a:pt x="167" y="478"/>
                  </a:lnTo>
                  <a:lnTo>
                    <a:pt x="165" y="477"/>
                  </a:lnTo>
                  <a:lnTo>
                    <a:pt x="165" y="473"/>
                  </a:lnTo>
                  <a:lnTo>
                    <a:pt x="165" y="472"/>
                  </a:lnTo>
                  <a:lnTo>
                    <a:pt x="164" y="472"/>
                  </a:lnTo>
                  <a:lnTo>
                    <a:pt x="164" y="477"/>
                  </a:lnTo>
                  <a:lnTo>
                    <a:pt x="164" y="480"/>
                  </a:lnTo>
                  <a:lnTo>
                    <a:pt x="164" y="484"/>
                  </a:lnTo>
                  <a:lnTo>
                    <a:pt x="165" y="486"/>
                  </a:lnTo>
                  <a:lnTo>
                    <a:pt x="163" y="487"/>
                  </a:lnTo>
                  <a:lnTo>
                    <a:pt x="162" y="487"/>
                  </a:lnTo>
                  <a:lnTo>
                    <a:pt x="159" y="490"/>
                  </a:lnTo>
                  <a:lnTo>
                    <a:pt x="157" y="491"/>
                  </a:lnTo>
                  <a:lnTo>
                    <a:pt x="155" y="493"/>
                  </a:lnTo>
                  <a:lnTo>
                    <a:pt x="152" y="492"/>
                  </a:lnTo>
                  <a:lnTo>
                    <a:pt x="151" y="491"/>
                  </a:lnTo>
                  <a:lnTo>
                    <a:pt x="151" y="490"/>
                  </a:lnTo>
                  <a:lnTo>
                    <a:pt x="150" y="490"/>
                  </a:lnTo>
                  <a:lnTo>
                    <a:pt x="150" y="486"/>
                  </a:lnTo>
                  <a:lnTo>
                    <a:pt x="152" y="480"/>
                  </a:lnTo>
                  <a:lnTo>
                    <a:pt x="153" y="478"/>
                  </a:lnTo>
                  <a:lnTo>
                    <a:pt x="155" y="478"/>
                  </a:lnTo>
                  <a:lnTo>
                    <a:pt x="156" y="474"/>
                  </a:lnTo>
                  <a:lnTo>
                    <a:pt x="153" y="474"/>
                  </a:lnTo>
                  <a:lnTo>
                    <a:pt x="152" y="474"/>
                  </a:lnTo>
                  <a:lnTo>
                    <a:pt x="149" y="474"/>
                  </a:lnTo>
                  <a:lnTo>
                    <a:pt x="147" y="471"/>
                  </a:lnTo>
                  <a:lnTo>
                    <a:pt x="147" y="469"/>
                  </a:lnTo>
                  <a:lnTo>
                    <a:pt x="147" y="467"/>
                  </a:lnTo>
                  <a:lnTo>
                    <a:pt x="146" y="467"/>
                  </a:lnTo>
                  <a:lnTo>
                    <a:pt x="146" y="471"/>
                  </a:lnTo>
                  <a:lnTo>
                    <a:pt x="146" y="473"/>
                  </a:lnTo>
                  <a:lnTo>
                    <a:pt x="147" y="475"/>
                  </a:lnTo>
                  <a:lnTo>
                    <a:pt x="147" y="478"/>
                  </a:lnTo>
                  <a:lnTo>
                    <a:pt x="146" y="479"/>
                  </a:lnTo>
                  <a:lnTo>
                    <a:pt x="145" y="480"/>
                  </a:lnTo>
                  <a:lnTo>
                    <a:pt x="144" y="481"/>
                  </a:lnTo>
                  <a:lnTo>
                    <a:pt x="141" y="484"/>
                  </a:lnTo>
                  <a:lnTo>
                    <a:pt x="140" y="483"/>
                  </a:lnTo>
                  <a:lnTo>
                    <a:pt x="139" y="484"/>
                  </a:lnTo>
                  <a:lnTo>
                    <a:pt x="137" y="484"/>
                  </a:lnTo>
                  <a:lnTo>
                    <a:pt x="135" y="484"/>
                  </a:lnTo>
                  <a:lnTo>
                    <a:pt x="130" y="483"/>
                  </a:lnTo>
                  <a:lnTo>
                    <a:pt x="128" y="483"/>
                  </a:lnTo>
                  <a:lnTo>
                    <a:pt x="127" y="481"/>
                  </a:lnTo>
                  <a:lnTo>
                    <a:pt x="124" y="480"/>
                  </a:lnTo>
                  <a:lnTo>
                    <a:pt x="123" y="480"/>
                  </a:lnTo>
                  <a:lnTo>
                    <a:pt x="123" y="481"/>
                  </a:lnTo>
                  <a:lnTo>
                    <a:pt x="124" y="484"/>
                  </a:lnTo>
                  <a:lnTo>
                    <a:pt x="126" y="485"/>
                  </a:lnTo>
                  <a:lnTo>
                    <a:pt x="130" y="489"/>
                  </a:lnTo>
                  <a:lnTo>
                    <a:pt x="132" y="492"/>
                  </a:lnTo>
                  <a:lnTo>
                    <a:pt x="130" y="493"/>
                  </a:lnTo>
                  <a:lnTo>
                    <a:pt x="127" y="493"/>
                  </a:lnTo>
                  <a:lnTo>
                    <a:pt x="124" y="495"/>
                  </a:lnTo>
                  <a:lnTo>
                    <a:pt x="122" y="492"/>
                  </a:lnTo>
                  <a:lnTo>
                    <a:pt x="121" y="492"/>
                  </a:lnTo>
                  <a:lnTo>
                    <a:pt x="120" y="495"/>
                  </a:lnTo>
                  <a:lnTo>
                    <a:pt x="117" y="495"/>
                  </a:lnTo>
                  <a:lnTo>
                    <a:pt x="116" y="495"/>
                  </a:lnTo>
                  <a:lnTo>
                    <a:pt x="115" y="496"/>
                  </a:lnTo>
                  <a:lnTo>
                    <a:pt x="112" y="495"/>
                  </a:lnTo>
                  <a:lnTo>
                    <a:pt x="110" y="493"/>
                  </a:lnTo>
                  <a:lnTo>
                    <a:pt x="109" y="492"/>
                  </a:lnTo>
                  <a:lnTo>
                    <a:pt x="109" y="495"/>
                  </a:lnTo>
                  <a:lnTo>
                    <a:pt x="109" y="497"/>
                  </a:lnTo>
                  <a:lnTo>
                    <a:pt x="106" y="497"/>
                  </a:lnTo>
                  <a:lnTo>
                    <a:pt x="105" y="499"/>
                  </a:lnTo>
                  <a:lnTo>
                    <a:pt x="104" y="499"/>
                  </a:lnTo>
                  <a:lnTo>
                    <a:pt x="100" y="499"/>
                  </a:lnTo>
                  <a:lnTo>
                    <a:pt x="98" y="499"/>
                  </a:lnTo>
                  <a:lnTo>
                    <a:pt x="98" y="497"/>
                  </a:lnTo>
                  <a:lnTo>
                    <a:pt x="100" y="495"/>
                  </a:lnTo>
                  <a:lnTo>
                    <a:pt x="102" y="489"/>
                  </a:lnTo>
                  <a:lnTo>
                    <a:pt x="100" y="485"/>
                  </a:lnTo>
                  <a:lnTo>
                    <a:pt x="99" y="483"/>
                  </a:lnTo>
                  <a:lnTo>
                    <a:pt x="97" y="485"/>
                  </a:lnTo>
                  <a:lnTo>
                    <a:pt x="97" y="487"/>
                  </a:lnTo>
                  <a:lnTo>
                    <a:pt x="97" y="491"/>
                  </a:lnTo>
                  <a:lnTo>
                    <a:pt x="96" y="493"/>
                  </a:lnTo>
                  <a:lnTo>
                    <a:pt x="96" y="496"/>
                  </a:lnTo>
                  <a:lnTo>
                    <a:pt x="97" y="498"/>
                  </a:lnTo>
                  <a:lnTo>
                    <a:pt x="96" y="499"/>
                  </a:lnTo>
                  <a:lnTo>
                    <a:pt x="93" y="499"/>
                  </a:lnTo>
                  <a:lnTo>
                    <a:pt x="92" y="501"/>
                  </a:lnTo>
                  <a:lnTo>
                    <a:pt x="91" y="502"/>
                  </a:lnTo>
                  <a:lnTo>
                    <a:pt x="90" y="501"/>
                  </a:lnTo>
                  <a:lnTo>
                    <a:pt x="88" y="501"/>
                  </a:lnTo>
                  <a:lnTo>
                    <a:pt x="87" y="502"/>
                  </a:lnTo>
                  <a:lnTo>
                    <a:pt x="86" y="503"/>
                  </a:lnTo>
                  <a:lnTo>
                    <a:pt x="85" y="503"/>
                  </a:lnTo>
                  <a:lnTo>
                    <a:pt x="85" y="505"/>
                  </a:lnTo>
                  <a:lnTo>
                    <a:pt x="84" y="505"/>
                  </a:lnTo>
                  <a:lnTo>
                    <a:pt x="82" y="504"/>
                  </a:lnTo>
                  <a:lnTo>
                    <a:pt x="81" y="503"/>
                  </a:lnTo>
                  <a:lnTo>
                    <a:pt x="79" y="505"/>
                  </a:lnTo>
                  <a:lnTo>
                    <a:pt x="78" y="505"/>
                  </a:lnTo>
                  <a:lnTo>
                    <a:pt x="75" y="508"/>
                  </a:lnTo>
                  <a:lnTo>
                    <a:pt x="73" y="507"/>
                  </a:lnTo>
                  <a:lnTo>
                    <a:pt x="75" y="505"/>
                  </a:lnTo>
                  <a:lnTo>
                    <a:pt x="71" y="504"/>
                  </a:lnTo>
                  <a:lnTo>
                    <a:pt x="69" y="503"/>
                  </a:lnTo>
                  <a:lnTo>
                    <a:pt x="70" y="501"/>
                  </a:lnTo>
                  <a:lnTo>
                    <a:pt x="68" y="499"/>
                  </a:lnTo>
                  <a:lnTo>
                    <a:pt x="68" y="498"/>
                  </a:lnTo>
                  <a:lnTo>
                    <a:pt x="68" y="497"/>
                  </a:lnTo>
                  <a:lnTo>
                    <a:pt x="69" y="496"/>
                  </a:lnTo>
                  <a:lnTo>
                    <a:pt x="70" y="495"/>
                  </a:lnTo>
                  <a:lnTo>
                    <a:pt x="71" y="493"/>
                  </a:lnTo>
                  <a:lnTo>
                    <a:pt x="73" y="491"/>
                  </a:lnTo>
                  <a:lnTo>
                    <a:pt x="73" y="490"/>
                  </a:lnTo>
                  <a:lnTo>
                    <a:pt x="75" y="489"/>
                  </a:lnTo>
                  <a:lnTo>
                    <a:pt x="75" y="487"/>
                  </a:lnTo>
                  <a:lnTo>
                    <a:pt x="75" y="485"/>
                  </a:lnTo>
                  <a:lnTo>
                    <a:pt x="76" y="483"/>
                  </a:lnTo>
                  <a:lnTo>
                    <a:pt x="79" y="481"/>
                  </a:lnTo>
                  <a:lnTo>
                    <a:pt x="80" y="481"/>
                  </a:lnTo>
                  <a:lnTo>
                    <a:pt x="81" y="481"/>
                  </a:lnTo>
                  <a:lnTo>
                    <a:pt x="82" y="479"/>
                  </a:lnTo>
                  <a:lnTo>
                    <a:pt x="84" y="479"/>
                  </a:lnTo>
                  <a:lnTo>
                    <a:pt x="85" y="479"/>
                  </a:lnTo>
                  <a:lnTo>
                    <a:pt x="81" y="477"/>
                  </a:lnTo>
                  <a:lnTo>
                    <a:pt x="82" y="475"/>
                  </a:lnTo>
                  <a:lnTo>
                    <a:pt x="82" y="474"/>
                  </a:lnTo>
                  <a:lnTo>
                    <a:pt x="84" y="472"/>
                  </a:lnTo>
                  <a:lnTo>
                    <a:pt x="82" y="472"/>
                  </a:lnTo>
                  <a:lnTo>
                    <a:pt x="82" y="469"/>
                  </a:lnTo>
                  <a:lnTo>
                    <a:pt x="82" y="472"/>
                  </a:lnTo>
                  <a:lnTo>
                    <a:pt x="81" y="473"/>
                  </a:lnTo>
                  <a:lnTo>
                    <a:pt x="80" y="474"/>
                  </a:lnTo>
                  <a:lnTo>
                    <a:pt x="79" y="474"/>
                  </a:lnTo>
                  <a:lnTo>
                    <a:pt x="78" y="473"/>
                  </a:lnTo>
                  <a:lnTo>
                    <a:pt x="76" y="474"/>
                  </a:lnTo>
                  <a:lnTo>
                    <a:pt x="75" y="474"/>
                  </a:lnTo>
                  <a:lnTo>
                    <a:pt x="74" y="474"/>
                  </a:lnTo>
                  <a:lnTo>
                    <a:pt x="70" y="474"/>
                  </a:lnTo>
                  <a:lnTo>
                    <a:pt x="69" y="475"/>
                  </a:lnTo>
                  <a:lnTo>
                    <a:pt x="68" y="474"/>
                  </a:lnTo>
                  <a:lnTo>
                    <a:pt x="67" y="473"/>
                  </a:lnTo>
                  <a:lnTo>
                    <a:pt x="68" y="472"/>
                  </a:lnTo>
                  <a:lnTo>
                    <a:pt x="68" y="469"/>
                  </a:lnTo>
                  <a:lnTo>
                    <a:pt x="67" y="467"/>
                  </a:lnTo>
                  <a:lnTo>
                    <a:pt x="65" y="467"/>
                  </a:lnTo>
                  <a:lnTo>
                    <a:pt x="65" y="466"/>
                  </a:lnTo>
                  <a:lnTo>
                    <a:pt x="65" y="464"/>
                  </a:lnTo>
                  <a:lnTo>
                    <a:pt x="64" y="462"/>
                  </a:lnTo>
                  <a:lnTo>
                    <a:pt x="65" y="461"/>
                  </a:lnTo>
                  <a:lnTo>
                    <a:pt x="67" y="460"/>
                  </a:lnTo>
                  <a:lnTo>
                    <a:pt x="65" y="460"/>
                  </a:lnTo>
                  <a:lnTo>
                    <a:pt x="63" y="461"/>
                  </a:lnTo>
                  <a:lnTo>
                    <a:pt x="61" y="461"/>
                  </a:lnTo>
                  <a:lnTo>
                    <a:pt x="59" y="461"/>
                  </a:lnTo>
                  <a:lnTo>
                    <a:pt x="58" y="458"/>
                  </a:lnTo>
                  <a:lnTo>
                    <a:pt x="57" y="458"/>
                  </a:lnTo>
                  <a:lnTo>
                    <a:pt x="57" y="456"/>
                  </a:lnTo>
                  <a:lnTo>
                    <a:pt x="55" y="456"/>
                  </a:lnTo>
                  <a:lnTo>
                    <a:pt x="53" y="457"/>
                  </a:lnTo>
                  <a:lnTo>
                    <a:pt x="52" y="457"/>
                  </a:lnTo>
                  <a:lnTo>
                    <a:pt x="52" y="458"/>
                  </a:lnTo>
                  <a:lnTo>
                    <a:pt x="51" y="458"/>
                  </a:lnTo>
                  <a:lnTo>
                    <a:pt x="50" y="460"/>
                  </a:lnTo>
                  <a:lnTo>
                    <a:pt x="49" y="460"/>
                  </a:lnTo>
                  <a:lnTo>
                    <a:pt x="45" y="461"/>
                  </a:lnTo>
                  <a:lnTo>
                    <a:pt x="44" y="463"/>
                  </a:lnTo>
                  <a:lnTo>
                    <a:pt x="43" y="463"/>
                  </a:lnTo>
                  <a:lnTo>
                    <a:pt x="40" y="463"/>
                  </a:lnTo>
                  <a:lnTo>
                    <a:pt x="39" y="463"/>
                  </a:lnTo>
                  <a:lnTo>
                    <a:pt x="37" y="466"/>
                  </a:lnTo>
                  <a:lnTo>
                    <a:pt x="35" y="466"/>
                  </a:lnTo>
                  <a:lnTo>
                    <a:pt x="33" y="467"/>
                  </a:lnTo>
                  <a:lnTo>
                    <a:pt x="34" y="467"/>
                  </a:lnTo>
                  <a:lnTo>
                    <a:pt x="33" y="466"/>
                  </a:lnTo>
                  <a:lnTo>
                    <a:pt x="28" y="464"/>
                  </a:lnTo>
                  <a:lnTo>
                    <a:pt x="27" y="464"/>
                  </a:lnTo>
                  <a:lnTo>
                    <a:pt x="26" y="463"/>
                  </a:lnTo>
                  <a:lnTo>
                    <a:pt x="27" y="462"/>
                  </a:lnTo>
                  <a:lnTo>
                    <a:pt x="27" y="460"/>
                  </a:lnTo>
                  <a:lnTo>
                    <a:pt x="29" y="460"/>
                  </a:lnTo>
                  <a:lnTo>
                    <a:pt x="32" y="460"/>
                  </a:lnTo>
                  <a:lnTo>
                    <a:pt x="33" y="458"/>
                  </a:lnTo>
                  <a:lnTo>
                    <a:pt x="34" y="456"/>
                  </a:lnTo>
                  <a:lnTo>
                    <a:pt x="34" y="455"/>
                  </a:lnTo>
                  <a:lnTo>
                    <a:pt x="34" y="452"/>
                  </a:lnTo>
                  <a:lnTo>
                    <a:pt x="35" y="451"/>
                  </a:lnTo>
                  <a:lnTo>
                    <a:pt x="35" y="449"/>
                  </a:lnTo>
                  <a:lnTo>
                    <a:pt x="38" y="449"/>
                  </a:lnTo>
                  <a:lnTo>
                    <a:pt x="39" y="448"/>
                  </a:lnTo>
                  <a:lnTo>
                    <a:pt x="39" y="444"/>
                  </a:lnTo>
                  <a:lnTo>
                    <a:pt x="38" y="445"/>
                  </a:lnTo>
                  <a:lnTo>
                    <a:pt x="37" y="445"/>
                  </a:lnTo>
                  <a:lnTo>
                    <a:pt x="34" y="445"/>
                  </a:lnTo>
                  <a:lnTo>
                    <a:pt x="33" y="444"/>
                  </a:lnTo>
                  <a:lnTo>
                    <a:pt x="35" y="443"/>
                  </a:lnTo>
                  <a:lnTo>
                    <a:pt x="35" y="442"/>
                  </a:lnTo>
                  <a:lnTo>
                    <a:pt x="35" y="440"/>
                  </a:lnTo>
                  <a:lnTo>
                    <a:pt x="35" y="439"/>
                  </a:lnTo>
                  <a:lnTo>
                    <a:pt x="35" y="438"/>
                  </a:lnTo>
                  <a:lnTo>
                    <a:pt x="37" y="438"/>
                  </a:lnTo>
                  <a:lnTo>
                    <a:pt x="39" y="439"/>
                  </a:lnTo>
                  <a:lnTo>
                    <a:pt x="40" y="440"/>
                  </a:lnTo>
                  <a:lnTo>
                    <a:pt x="41" y="438"/>
                  </a:lnTo>
                  <a:lnTo>
                    <a:pt x="43" y="438"/>
                  </a:lnTo>
                  <a:lnTo>
                    <a:pt x="44" y="439"/>
                  </a:lnTo>
                  <a:lnTo>
                    <a:pt x="46" y="439"/>
                  </a:lnTo>
                  <a:lnTo>
                    <a:pt x="49" y="439"/>
                  </a:lnTo>
                  <a:lnTo>
                    <a:pt x="49" y="433"/>
                  </a:lnTo>
                  <a:lnTo>
                    <a:pt x="47" y="431"/>
                  </a:lnTo>
                  <a:lnTo>
                    <a:pt x="45" y="431"/>
                  </a:lnTo>
                  <a:lnTo>
                    <a:pt x="44" y="430"/>
                  </a:lnTo>
                  <a:lnTo>
                    <a:pt x="43" y="428"/>
                  </a:lnTo>
                  <a:lnTo>
                    <a:pt x="44" y="427"/>
                  </a:lnTo>
                  <a:lnTo>
                    <a:pt x="44" y="426"/>
                  </a:lnTo>
                  <a:lnTo>
                    <a:pt x="43" y="425"/>
                  </a:lnTo>
                  <a:lnTo>
                    <a:pt x="44" y="422"/>
                  </a:lnTo>
                  <a:lnTo>
                    <a:pt x="43" y="420"/>
                  </a:lnTo>
                  <a:lnTo>
                    <a:pt x="44" y="419"/>
                  </a:lnTo>
                  <a:lnTo>
                    <a:pt x="44" y="416"/>
                  </a:lnTo>
                  <a:lnTo>
                    <a:pt x="44" y="414"/>
                  </a:lnTo>
                  <a:lnTo>
                    <a:pt x="41" y="413"/>
                  </a:lnTo>
                  <a:lnTo>
                    <a:pt x="39" y="413"/>
                  </a:lnTo>
                  <a:lnTo>
                    <a:pt x="38" y="412"/>
                  </a:lnTo>
                  <a:lnTo>
                    <a:pt x="37" y="412"/>
                  </a:lnTo>
                  <a:lnTo>
                    <a:pt x="34" y="410"/>
                  </a:lnTo>
                  <a:lnTo>
                    <a:pt x="33" y="410"/>
                  </a:lnTo>
                  <a:lnTo>
                    <a:pt x="31" y="408"/>
                  </a:lnTo>
                  <a:lnTo>
                    <a:pt x="29" y="407"/>
                  </a:lnTo>
                  <a:lnTo>
                    <a:pt x="27" y="406"/>
                  </a:lnTo>
                  <a:lnTo>
                    <a:pt x="25" y="404"/>
                  </a:lnTo>
                  <a:lnTo>
                    <a:pt x="23" y="403"/>
                  </a:lnTo>
                  <a:lnTo>
                    <a:pt x="27" y="401"/>
                  </a:lnTo>
                  <a:lnTo>
                    <a:pt x="29" y="400"/>
                  </a:lnTo>
                  <a:lnTo>
                    <a:pt x="32" y="397"/>
                  </a:lnTo>
                  <a:lnTo>
                    <a:pt x="34" y="395"/>
                  </a:lnTo>
                  <a:lnTo>
                    <a:pt x="37" y="395"/>
                  </a:lnTo>
                  <a:lnTo>
                    <a:pt x="38" y="395"/>
                  </a:lnTo>
                  <a:lnTo>
                    <a:pt x="39" y="392"/>
                  </a:lnTo>
                  <a:lnTo>
                    <a:pt x="39" y="391"/>
                  </a:lnTo>
                  <a:lnTo>
                    <a:pt x="40" y="390"/>
                  </a:lnTo>
                  <a:lnTo>
                    <a:pt x="40" y="389"/>
                  </a:lnTo>
                  <a:lnTo>
                    <a:pt x="41" y="386"/>
                  </a:lnTo>
                  <a:lnTo>
                    <a:pt x="41" y="385"/>
                  </a:lnTo>
                  <a:lnTo>
                    <a:pt x="43" y="383"/>
                  </a:lnTo>
                  <a:lnTo>
                    <a:pt x="43" y="379"/>
                  </a:lnTo>
                  <a:lnTo>
                    <a:pt x="41" y="379"/>
                  </a:lnTo>
                  <a:lnTo>
                    <a:pt x="40" y="383"/>
                  </a:lnTo>
                  <a:lnTo>
                    <a:pt x="39" y="384"/>
                  </a:lnTo>
                  <a:lnTo>
                    <a:pt x="39" y="385"/>
                  </a:lnTo>
                  <a:lnTo>
                    <a:pt x="37" y="385"/>
                  </a:lnTo>
                  <a:lnTo>
                    <a:pt x="34" y="386"/>
                  </a:lnTo>
                  <a:lnTo>
                    <a:pt x="34" y="388"/>
                  </a:lnTo>
                  <a:lnTo>
                    <a:pt x="31" y="386"/>
                  </a:lnTo>
                  <a:lnTo>
                    <a:pt x="29" y="388"/>
                  </a:lnTo>
                  <a:lnTo>
                    <a:pt x="28" y="391"/>
                  </a:lnTo>
                  <a:lnTo>
                    <a:pt x="28" y="392"/>
                  </a:lnTo>
                  <a:lnTo>
                    <a:pt x="27" y="395"/>
                  </a:lnTo>
                  <a:lnTo>
                    <a:pt x="26" y="395"/>
                  </a:lnTo>
                  <a:lnTo>
                    <a:pt x="25" y="395"/>
                  </a:lnTo>
                  <a:lnTo>
                    <a:pt x="23" y="395"/>
                  </a:lnTo>
                  <a:lnTo>
                    <a:pt x="22" y="394"/>
                  </a:lnTo>
                  <a:lnTo>
                    <a:pt x="21" y="392"/>
                  </a:lnTo>
                  <a:lnTo>
                    <a:pt x="21" y="391"/>
                  </a:lnTo>
                  <a:lnTo>
                    <a:pt x="22" y="390"/>
                  </a:lnTo>
                  <a:lnTo>
                    <a:pt x="22" y="388"/>
                  </a:lnTo>
                  <a:lnTo>
                    <a:pt x="23" y="388"/>
                  </a:lnTo>
                  <a:lnTo>
                    <a:pt x="25" y="388"/>
                  </a:lnTo>
                  <a:lnTo>
                    <a:pt x="26" y="388"/>
                  </a:lnTo>
                  <a:lnTo>
                    <a:pt x="28" y="388"/>
                  </a:lnTo>
                  <a:lnTo>
                    <a:pt x="29" y="386"/>
                  </a:lnTo>
                  <a:lnTo>
                    <a:pt x="28" y="386"/>
                  </a:lnTo>
                  <a:lnTo>
                    <a:pt x="27" y="385"/>
                  </a:lnTo>
                  <a:lnTo>
                    <a:pt x="26" y="385"/>
                  </a:lnTo>
                  <a:lnTo>
                    <a:pt x="26" y="384"/>
                  </a:lnTo>
                  <a:lnTo>
                    <a:pt x="25" y="382"/>
                  </a:lnTo>
                  <a:lnTo>
                    <a:pt x="25" y="380"/>
                  </a:lnTo>
                  <a:lnTo>
                    <a:pt x="23" y="379"/>
                  </a:lnTo>
                  <a:lnTo>
                    <a:pt x="22" y="379"/>
                  </a:lnTo>
                  <a:lnTo>
                    <a:pt x="22" y="382"/>
                  </a:lnTo>
                  <a:lnTo>
                    <a:pt x="22" y="383"/>
                  </a:lnTo>
                  <a:lnTo>
                    <a:pt x="21" y="384"/>
                  </a:lnTo>
                  <a:lnTo>
                    <a:pt x="20" y="383"/>
                  </a:lnTo>
                  <a:lnTo>
                    <a:pt x="19" y="382"/>
                  </a:lnTo>
                  <a:lnTo>
                    <a:pt x="16" y="383"/>
                  </a:lnTo>
                  <a:lnTo>
                    <a:pt x="15" y="382"/>
                  </a:lnTo>
                  <a:lnTo>
                    <a:pt x="16" y="380"/>
                  </a:lnTo>
                  <a:lnTo>
                    <a:pt x="15" y="379"/>
                  </a:lnTo>
                  <a:lnTo>
                    <a:pt x="14" y="378"/>
                  </a:lnTo>
                  <a:lnTo>
                    <a:pt x="14" y="377"/>
                  </a:lnTo>
                  <a:lnTo>
                    <a:pt x="14" y="376"/>
                  </a:lnTo>
                  <a:lnTo>
                    <a:pt x="14" y="373"/>
                  </a:lnTo>
                  <a:lnTo>
                    <a:pt x="14" y="372"/>
                  </a:lnTo>
                  <a:lnTo>
                    <a:pt x="11" y="372"/>
                  </a:lnTo>
                  <a:lnTo>
                    <a:pt x="9" y="372"/>
                  </a:lnTo>
                  <a:lnTo>
                    <a:pt x="6" y="372"/>
                  </a:lnTo>
                  <a:lnTo>
                    <a:pt x="8" y="368"/>
                  </a:lnTo>
                  <a:lnTo>
                    <a:pt x="6" y="367"/>
                  </a:lnTo>
                  <a:lnTo>
                    <a:pt x="4" y="367"/>
                  </a:lnTo>
                  <a:lnTo>
                    <a:pt x="6" y="366"/>
                  </a:lnTo>
                  <a:lnTo>
                    <a:pt x="8" y="362"/>
                  </a:lnTo>
                  <a:lnTo>
                    <a:pt x="6" y="362"/>
                  </a:lnTo>
                  <a:lnTo>
                    <a:pt x="4" y="362"/>
                  </a:lnTo>
                  <a:lnTo>
                    <a:pt x="4" y="361"/>
                  </a:lnTo>
                  <a:lnTo>
                    <a:pt x="5" y="360"/>
                  </a:lnTo>
                  <a:lnTo>
                    <a:pt x="3" y="357"/>
                  </a:lnTo>
                  <a:lnTo>
                    <a:pt x="0" y="356"/>
                  </a:lnTo>
                  <a:lnTo>
                    <a:pt x="0" y="355"/>
                  </a:lnTo>
                  <a:lnTo>
                    <a:pt x="2" y="354"/>
                  </a:lnTo>
                  <a:lnTo>
                    <a:pt x="2" y="353"/>
                  </a:lnTo>
                  <a:lnTo>
                    <a:pt x="2" y="350"/>
                  </a:lnTo>
                  <a:lnTo>
                    <a:pt x="3" y="349"/>
                  </a:lnTo>
                  <a:lnTo>
                    <a:pt x="4" y="351"/>
                  </a:lnTo>
                  <a:lnTo>
                    <a:pt x="5" y="353"/>
                  </a:lnTo>
                  <a:lnTo>
                    <a:pt x="8" y="353"/>
                  </a:lnTo>
                  <a:lnTo>
                    <a:pt x="9" y="354"/>
                  </a:lnTo>
                  <a:lnTo>
                    <a:pt x="10" y="353"/>
                  </a:lnTo>
                  <a:lnTo>
                    <a:pt x="12" y="351"/>
                  </a:lnTo>
                  <a:lnTo>
                    <a:pt x="14" y="350"/>
                  </a:lnTo>
                  <a:lnTo>
                    <a:pt x="14" y="349"/>
                  </a:lnTo>
                  <a:lnTo>
                    <a:pt x="14" y="347"/>
                  </a:lnTo>
                  <a:lnTo>
                    <a:pt x="15" y="345"/>
                  </a:lnTo>
                  <a:lnTo>
                    <a:pt x="16" y="347"/>
                  </a:lnTo>
                  <a:lnTo>
                    <a:pt x="16" y="349"/>
                  </a:lnTo>
                  <a:lnTo>
                    <a:pt x="19" y="348"/>
                  </a:lnTo>
                  <a:lnTo>
                    <a:pt x="20" y="348"/>
                  </a:lnTo>
                  <a:lnTo>
                    <a:pt x="21" y="344"/>
                  </a:lnTo>
                  <a:lnTo>
                    <a:pt x="22" y="343"/>
                  </a:lnTo>
                  <a:lnTo>
                    <a:pt x="26" y="342"/>
                  </a:lnTo>
                  <a:lnTo>
                    <a:pt x="27" y="342"/>
                  </a:lnTo>
                  <a:lnTo>
                    <a:pt x="27" y="339"/>
                  </a:lnTo>
                  <a:lnTo>
                    <a:pt x="26" y="337"/>
                  </a:lnTo>
                  <a:lnTo>
                    <a:pt x="25" y="336"/>
                  </a:lnTo>
                  <a:lnTo>
                    <a:pt x="23" y="332"/>
                  </a:lnTo>
                  <a:lnTo>
                    <a:pt x="23" y="330"/>
                  </a:lnTo>
                  <a:lnTo>
                    <a:pt x="22" y="329"/>
                  </a:lnTo>
                  <a:lnTo>
                    <a:pt x="23" y="327"/>
                  </a:lnTo>
                  <a:lnTo>
                    <a:pt x="23" y="326"/>
                  </a:lnTo>
                  <a:lnTo>
                    <a:pt x="25" y="327"/>
                  </a:lnTo>
                  <a:lnTo>
                    <a:pt x="26" y="327"/>
                  </a:lnTo>
                  <a:lnTo>
                    <a:pt x="29" y="327"/>
                  </a:lnTo>
                  <a:lnTo>
                    <a:pt x="29" y="325"/>
                  </a:lnTo>
                  <a:lnTo>
                    <a:pt x="28" y="323"/>
                  </a:lnTo>
                  <a:lnTo>
                    <a:pt x="29" y="323"/>
                  </a:lnTo>
                  <a:lnTo>
                    <a:pt x="32" y="321"/>
                  </a:lnTo>
                  <a:lnTo>
                    <a:pt x="33" y="321"/>
                  </a:lnTo>
                  <a:lnTo>
                    <a:pt x="35" y="324"/>
                  </a:lnTo>
                  <a:lnTo>
                    <a:pt x="35" y="325"/>
                  </a:lnTo>
                  <a:lnTo>
                    <a:pt x="35" y="326"/>
                  </a:lnTo>
                  <a:lnTo>
                    <a:pt x="35" y="329"/>
                  </a:lnTo>
                  <a:lnTo>
                    <a:pt x="34" y="331"/>
                  </a:lnTo>
                  <a:lnTo>
                    <a:pt x="35" y="331"/>
                  </a:lnTo>
                  <a:lnTo>
                    <a:pt x="38" y="330"/>
                  </a:lnTo>
                  <a:lnTo>
                    <a:pt x="39" y="330"/>
                  </a:lnTo>
                  <a:lnTo>
                    <a:pt x="39" y="327"/>
                  </a:lnTo>
                  <a:lnTo>
                    <a:pt x="39" y="330"/>
                  </a:lnTo>
                  <a:lnTo>
                    <a:pt x="40" y="329"/>
                  </a:lnTo>
                  <a:lnTo>
                    <a:pt x="41" y="329"/>
                  </a:lnTo>
                  <a:lnTo>
                    <a:pt x="43" y="327"/>
                  </a:lnTo>
                  <a:lnTo>
                    <a:pt x="44" y="327"/>
                  </a:lnTo>
                  <a:lnTo>
                    <a:pt x="46" y="327"/>
                  </a:lnTo>
                  <a:lnTo>
                    <a:pt x="49" y="326"/>
                  </a:lnTo>
                  <a:lnTo>
                    <a:pt x="49" y="327"/>
                  </a:lnTo>
                  <a:lnTo>
                    <a:pt x="47" y="327"/>
                  </a:lnTo>
                  <a:lnTo>
                    <a:pt x="46" y="329"/>
                  </a:lnTo>
                  <a:lnTo>
                    <a:pt x="45" y="329"/>
                  </a:lnTo>
                  <a:lnTo>
                    <a:pt x="49" y="327"/>
                  </a:lnTo>
                  <a:lnTo>
                    <a:pt x="46" y="329"/>
                  </a:lnTo>
                  <a:lnTo>
                    <a:pt x="45" y="330"/>
                  </a:lnTo>
                  <a:lnTo>
                    <a:pt x="45" y="331"/>
                  </a:lnTo>
                  <a:lnTo>
                    <a:pt x="46" y="331"/>
                  </a:lnTo>
                  <a:lnTo>
                    <a:pt x="49" y="331"/>
                  </a:lnTo>
                  <a:lnTo>
                    <a:pt x="47" y="330"/>
                  </a:lnTo>
                  <a:lnTo>
                    <a:pt x="50" y="330"/>
                  </a:lnTo>
                  <a:lnTo>
                    <a:pt x="51" y="331"/>
                  </a:lnTo>
                  <a:lnTo>
                    <a:pt x="52" y="332"/>
                  </a:lnTo>
                  <a:lnTo>
                    <a:pt x="53" y="333"/>
                  </a:lnTo>
                  <a:lnTo>
                    <a:pt x="52" y="333"/>
                  </a:lnTo>
                  <a:lnTo>
                    <a:pt x="49" y="332"/>
                  </a:lnTo>
                  <a:lnTo>
                    <a:pt x="49" y="335"/>
                  </a:lnTo>
                  <a:lnTo>
                    <a:pt x="51" y="335"/>
                  </a:lnTo>
                  <a:lnTo>
                    <a:pt x="52" y="335"/>
                  </a:lnTo>
                  <a:lnTo>
                    <a:pt x="53" y="337"/>
                  </a:lnTo>
                  <a:lnTo>
                    <a:pt x="56" y="339"/>
                  </a:lnTo>
                  <a:lnTo>
                    <a:pt x="57" y="339"/>
                  </a:lnTo>
                  <a:lnTo>
                    <a:pt x="58" y="339"/>
                  </a:lnTo>
                  <a:lnTo>
                    <a:pt x="61" y="339"/>
                  </a:lnTo>
                  <a:lnTo>
                    <a:pt x="62" y="338"/>
                  </a:lnTo>
                  <a:lnTo>
                    <a:pt x="63" y="338"/>
                  </a:lnTo>
                  <a:lnTo>
                    <a:pt x="64" y="337"/>
                  </a:lnTo>
                  <a:lnTo>
                    <a:pt x="65" y="335"/>
                  </a:lnTo>
                  <a:lnTo>
                    <a:pt x="67" y="335"/>
                  </a:lnTo>
                  <a:lnTo>
                    <a:pt x="68" y="333"/>
                  </a:lnTo>
                  <a:lnTo>
                    <a:pt x="68" y="331"/>
                  </a:lnTo>
                  <a:lnTo>
                    <a:pt x="68" y="329"/>
                  </a:lnTo>
                  <a:lnTo>
                    <a:pt x="68" y="326"/>
                  </a:lnTo>
                  <a:lnTo>
                    <a:pt x="65" y="327"/>
                  </a:lnTo>
                  <a:lnTo>
                    <a:pt x="65" y="325"/>
                  </a:lnTo>
                  <a:lnTo>
                    <a:pt x="64" y="325"/>
                  </a:lnTo>
                  <a:lnTo>
                    <a:pt x="63" y="324"/>
                  </a:lnTo>
                  <a:lnTo>
                    <a:pt x="64" y="323"/>
                  </a:lnTo>
                  <a:lnTo>
                    <a:pt x="65" y="323"/>
                  </a:lnTo>
                  <a:lnTo>
                    <a:pt x="64" y="321"/>
                  </a:lnTo>
                  <a:lnTo>
                    <a:pt x="63" y="321"/>
                  </a:lnTo>
                  <a:lnTo>
                    <a:pt x="65" y="319"/>
                  </a:lnTo>
                  <a:lnTo>
                    <a:pt x="67" y="320"/>
                  </a:lnTo>
                  <a:lnTo>
                    <a:pt x="68" y="320"/>
                  </a:lnTo>
                  <a:lnTo>
                    <a:pt x="69" y="320"/>
                  </a:lnTo>
                  <a:lnTo>
                    <a:pt x="69" y="318"/>
                  </a:lnTo>
                  <a:lnTo>
                    <a:pt x="70" y="318"/>
                  </a:lnTo>
                  <a:lnTo>
                    <a:pt x="70" y="320"/>
                  </a:lnTo>
                  <a:lnTo>
                    <a:pt x="71" y="320"/>
                  </a:lnTo>
                  <a:lnTo>
                    <a:pt x="73" y="321"/>
                  </a:lnTo>
                  <a:lnTo>
                    <a:pt x="74" y="321"/>
                  </a:lnTo>
                  <a:lnTo>
                    <a:pt x="73" y="324"/>
                  </a:lnTo>
                  <a:lnTo>
                    <a:pt x="73" y="325"/>
                  </a:lnTo>
                  <a:lnTo>
                    <a:pt x="73" y="326"/>
                  </a:lnTo>
                  <a:lnTo>
                    <a:pt x="74" y="325"/>
                  </a:lnTo>
                  <a:lnTo>
                    <a:pt x="73" y="324"/>
                  </a:lnTo>
                  <a:lnTo>
                    <a:pt x="74" y="323"/>
                  </a:lnTo>
                  <a:lnTo>
                    <a:pt x="78" y="323"/>
                  </a:lnTo>
                  <a:lnTo>
                    <a:pt x="76" y="324"/>
                  </a:lnTo>
                  <a:lnTo>
                    <a:pt x="78" y="325"/>
                  </a:lnTo>
                  <a:lnTo>
                    <a:pt x="78" y="326"/>
                  </a:lnTo>
                  <a:lnTo>
                    <a:pt x="81" y="326"/>
                  </a:lnTo>
                  <a:lnTo>
                    <a:pt x="81" y="325"/>
                  </a:lnTo>
                  <a:lnTo>
                    <a:pt x="79" y="324"/>
                  </a:lnTo>
                  <a:lnTo>
                    <a:pt x="81" y="324"/>
                  </a:lnTo>
                  <a:lnTo>
                    <a:pt x="81" y="321"/>
                  </a:lnTo>
                  <a:lnTo>
                    <a:pt x="81" y="320"/>
                  </a:lnTo>
                  <a:lnTo>
                    <a:pt x="82" y="320"/>
                  </a:lnTo>
                  <a:lnTo>
                    <a:pt x="84" y="319"/>
                  </a:lnTo>
                  <a:lnTo>
                    <a:pt x="86" y="320"/>
                  </a:lnTo>
                  <a:lnTo>
                    <a:pt x="87" y="320"/>
                  </a:lnTo>
                  <a:lnTo>
                    <a:pt x="90" y="323"/>
                  </a:lnTo>
                  <a:lnTo>
                    <a:pt x="90" y="321"/>
                  </a:lnTo>
                  <a:lnTo>
                    <a:pt x="90" y="320"/>
                  </a:lnTo>
                  <a:lnTo>
                    <a:pt x="91" y="319"/>
                  </a:lnTo>
                  <a:lnTo>
                    <a:pt x="92" y="320"/>
                  </a:lnTo>
                  <a:lnTo>
                    <a:pt x="92" y="321"/>
                  </a:lnTo>
                  <a:lnTo>
                    <a:pt x="94" y="320"/>
                  </a:lnTo>
                  <a:lnTo>
                    <a:pt x="96" y="319"/>
                  </a:lnTo>
                  <a:lnTo>
                    <a:pt x="97" y="318"/>
                  </a:lnTo>
                  <a:lnTo>
                    <a:pt x="98" y="318"/>
                  </a:lnTo>
                  <a:lnTo>
                    <a:pt x="100" y="319"/>
                  </a:lnTo>
                  <a:lnTo>
                    <a:pt x="99" y="317"/>
                  </a:lnTo>
                  <a:lnTo>
                    <a:pt x="102" y="319"/>
                  </a:lnTo>
                  <a:lnTo>
                    <a:pt x="102" y="318"/>
                  </a:lnTo>
                  <a:lnTo>
                    <a:pt x="103" y="317"/>
                  </a:lnTo>
                  <a:lnTo>
                    <a:pt x="104" y="315"/>
                  </a:lnTo>
                  <a:lnTo>
                    <a:pt x="105" y="315"/>
                  </a:lnTo>
                  <a:lnTo>
                    <a:pt x="105" y="314"/>
                  </a:lnTo>
                  <a:lnTo>
                    <a:pt x="105" y="313"/>
                  </a:lnTo>
                  <a:lnTo>
                    <a:pt x="105" y="312"/>
                  </a:lnTo>
                  <a:lnTo>
                    <a:pt x="104" y="311"/>
                  </a:lnTo>
                  <a:lnTo>
                    <a:pt x="106" y="311"/>
                  </a:lnTo>
                  <a:lnTo>
                    <a:pt x="106" y="309"/>
                  </a:lnTo>
                  <a:lnTo>
                    <a:pt x="109" y="311"/>
                  </a:lnTo>
                  <a:lnTo>
                    <a:pt x="111" y="311"/>
                  </a:lnTo>
                  <a:lnTo>
                    <a:pt x="112" y="309"/>
                  </a:lnTo>
                  <a:lnTo>
                    <a:pt x="111" y="308"/>
                  </a:lnTo>
                  <a:lnTo>
                    <a:pt x="110" y="307"/>
                  </a:lnTo>
                  <a:lnTo>
                    <a:pt x="112" y="307"/>
                  </a:lnTo>
                  <a:lnTo>
                    <a:pt x="112" y="306"/>
                  </a:lnTo>
                  <a:lnTo>
                    <a:pt x="112" y="305"/>
                  </a:lnTo>
                  <a:lnTo>
                    <a:pt x="111" y="303"/>
                  </a:lnTo>
                  <a:lnTo>
                    <a:pt x="112" y="302"/>
                  </a:lnTo>
                  <a:lnTo>
                    <a:pt x="111" y="300"/>
                  </a:lnTo>
                  <a:lnTo>
                    <a:pt x="110" y="300"/>
                  </a:lnTo>
                  <a:lnTo>
                    <a:pt x="109" y="301"/>
                  </a:lnTo>
                  <a:lnTo>
                    <a:pt x="106" y="301"/>
                  </a:lnTo>
                  <a:lnTo>
                    <a:pt x="106" y="300"/>
                  </a:lnTo>
                  <a:lnTo>
                    <a:pt x="108" y="297"/>
                  </a:lnTo>
                  <a:lnTo>
                    <a:pt x="105" y="297"/>
                  </a:lnTo>
                  <a:lnTo>
                    <a:pt x="104" y="299"/>
                  </a:lnTo>
                  <a:lnTo>
                    <a:pt x="104" y="300"/>
                  </a:lnTo>
                  <a:lnTo>
                    <a:pt x="103" y="300"/>
                  </a:lnTo>
                  <a:lnTo>
                    <a:pt x="102" y="300"/>
                  </a:lnTo>
                  <a:lnTo>
                    <a:pt x="100" y="300"/>
                  </a:lnTo>
                  <a:lnTo>
                    <a:pt x="99" y="302"/>
                  </a:lnTo>
                  <a:lnTo>
                    <a:pt x="99" y="301"/>
                  </a:lnTo>
                  <a:lnTo>
                    <a:pt x="97" y="300"/>
                  </a:lnTo>
                  <a:lnTo>
                    <a:pt x="98" y="299"/>
                  </a:lnTo>
                  <a:lnTo>
                    <a:pt x="97" y="297"/>
                  </a:lnTo>
                  <a:lnTo>
                    <a:pt x="94" y="297"/>
                  </a:lnTo>
                  <a:lnTo>
                    <a:pt x="94" y="296"/>
                  </a:lnTo>
                  <a:lnTo>
                    <a:pt x="96" y="295"/>
                  </a:lnTo>
                  <a:lnTo>
                    <a:pt x="98" y="294"/>
                  </a:lnTo>
                  <a:lnTo>
                    <a:pt x="100" y="296"/>
                  </a:lnTo>
                  <a:lnTo>
                    <a:pt x="100" y="295"/>
                  </a:lnTo>
                  <a:lnTo>
                    <a:pt x="102" y="294"/>
                  </a:lnTo>
                  <a:lnTo>
                    <a:pt x="103" y="291"/>
                  </a:lnTo>
                  <a:lnTo>
                    <a:pt x="103" y="294"/>
                  </a:lnTo>
                  <a:lnTo>
                    <a:pt x="104" y="293"/>
                  </a:lnTo>
                  <a:lnTo>
                    <a:pt x="106" y="293"/>
                  </a:lnTo>
                  <a:lnTo>
                    <a:pt x="106" y="291"/>
                  </a:lnTo>
                  <a:lnTo>
                    <a:pt x="110" y="290"/>
                  </a:lnTo>
                  <a:lnTo>
                    <a:pt x="110" y="289"/>
                  </a:lnTo>
                  <a:lnTo>
                    <a:pt x="108" y="289"/>
                  </a:lnTo>
                  <a:lnTo>
                    <a:pt x="106" y="289"/>
                  </a:lnTo>
                  <a:lnTo>
                    <a:pt x="105" y="289"/>
                  </a:lnTo>
                  <a:lnTo>
                    <a:pt x="106" y="288"/>
                  </a:lnTo>
                  <a:lnTo>
                    <a:pt x="105" y="288"/>
                  </a:lnTo>
                  <a:lnTo>
                    <a:pt x="106" y="287"/>
                  </a:lnTo>
                  <a:lnTo>
                    <a:pt x="108" y="285"/>
                  </a:lnTo>
                  <a:lnTo>
                    <a:pt x="109" y="283"/>
                  </a:lnTo>
                  <a:lnTo>
                    <a:pt x="108" y="283"/>
                  </a:lnTo>
                  <a:lnTo>
                    <a:pt x="105" y="283"/>
                  </a:lnTo>
                  <a:lnTo>
                    <a:pt x="104" y="282"/>
                  </a:lnTo>
                  <a:lnTo>
                    <a:pt x="100" y="282"/>
                  </a:lnTo>
                  <a:lnTo>
                    <a:pt x="102" y="282"/>
                  </a:lnTo>
                  <a:lnTo>
                    <a:pt x="104" y="282"/>
                  </a:lnTo>
                  <a:lnTo>
                    <a:pt x="104" y="279"/>
                  </a:lnTo>
                  <a:lnTo>
                    <a:pt x="103" y="279"/>
                  </a:lnTo>
                  <a:lnTo>
                    <a:pt x="103" y="278"/>
                  </a:lnTo>
                  <a:lnTo>
                    <a:pt x="104" y="278"/>
                  </a:lnTo>
                  <a:lnTo>
                    <a:pt x="103" y="277"/>
                  </a:lnTo>
                  <a:lnTo>
                    <a:pt x="100" y="276"/>
                  </a:lnTo>
                  <a:lnTo>
                    <a:pt x="102" y="275"/>
                  </a:lnTo>
                  <a:lnTo>
                    <a:pt x="100" y="273"/>
                  </a:lnTo>
                  <a:lnTo>
                    <a:pt x="102" y="271"/>
                  </a:lnTo>
                  <a:lnTo>
                    <a:pt x="102" y="270"/>
                  </a:lnTo>
                  <a:lnTo>
                    <a:pt x="102" y="269"/>
                  </a:lnTo>
                  <a:lnTo>
                    <a:pt x="104" y="269"/>
                  </a:lnTo>
                  <a:lnTo>
                    <a:pt x="105" y="269"/>
                  </a:lnTo>
                  <a:lnTo>
                    <a:pt x="105" y="267"/>
                  </a:lnTo>
                  <a:lnTo>
                    <a:pt x="105" y="265"/>
                  </a:lnTo>
                  <a:lnTo>
                    <a:pt x="106" y="265"/>
                  </a:lnTo>
                  <a:lnTo>
                    <a:pt x="106" y="266"/>
                  </a:lnTo>
                  <a:lnTo>
                    <a:pt x="108" y="267"/>
                  </a:lnTo>
                  <a:lnTo>
                    <a:pt x="109" y="267"/>
                  </a:lnTo>
                  <a:lnTo>
                    <a:pt x="108" y="265"/>
                  </a:lnTo>
                  <a:lnTo>
                    <a:pt x="109" y="264"/>
                  </a:lnTo>
                  <a:lnTo>
                    <a:pt x="110" y="265"/>
                  </a:lnTo>
                  <a:lnTo>
                    <a:pt x="111" y="264"/>
                  </a:lnTo>
                  <a:lnTo>
                    <a:pt x="111" y="265"/>
                  </a:lnTo>
                  <a:lnTo>
                    <a:pt x="112" y="266"/>
                  </a:lnTo>
                  <a:lnTo>
                    <a:pt x="114" y="264"/>
                  </a:lnTo>
                  <a:lnTo>
                    <a:pt x="114" y="266"/>
                  </a:lnTo>
                  <a:lnTo>
                    <a:pt x="115" y="265"/>
                  </a:lnTo>
                  <a:lnTo>
                    <a:pt x="115" y="264"/>
                  </a:lnTo>
                  <a:lnTo>
                    <a:pt x="117" y="263"/>
                  </a:lnTo>
                  <a:lnTo>
                    <a:pt x="116" y="261"/>
                  </a:lnTo>
                  <a:lnTo>
                    <a:pt x="115" y="260"/>
                  </a:lnTo>
                  <a:lnTo>
                    <a:pt x="116" y="260"/>
                  </a:lnTo>
                  <a:lnTo>
                    <a:pt x="116" y="259"/>
                  </a:lnTo>
                  <a:lnTo>
                    <a:pt x="114" y="258"/>
                  </a:lnTo>
                  <a:lnTo>
                    <a:pt x="115" y="257"/>
                  </a:lnTo>
                  <a:lnTo>
                    <a:pt x="116" y="257"/>
                  </a:lnTo>
                  <a:lnTo>
                    <a:pt x="116" y="255"/>
                  </a:lnTo>
                  <a:lnTo>
                    <a:pt x="115" y="255"/>
                  </a:lnTo>
                  <a:lnTo>
                    <a:pt x="114" y="254"/>
                  </a:lnTo>
                  <a:lnTo>
                    <a:pt x="115" y="254"/>
                  </a:lnTo>
                  <a:lnTo>
                    <a:pt x="116" y="254"/>
                  </a:lnTo>
                  <a:lnTo>
                    <a:pt x="116" y="252"/>
                  </a:lnTo>
                  <a:lnTo>
                    <a:pt x="117" y="252"/>
                  </a:lnTo>
                  <a:lnTo>
                    <a:pt x="117" y="250"/>
                  </a:lnTo>
                  <a:lnTo>
                    <a:pt x="116" y="249"/>
                  </a:lnTo>
                  <a:lnTo>
                    <a:pt x="118" y="249"/>
                  </a:lnTo>
                  <a:lnTo>
                    <a:pt x="120" y="249"/>
                  </a:lnTo>
                  <a:lnTo>
                    <a:pt x="120" y="248"/>
                  </a:lnTo>
                  <a:lnTo>
                    <a:pt x="121" y="248"/>
                  </a:lnTo>
                  <a:lnTo>
                    <a:pt x="122" y="247"/>
                  </a:lnTo>
                  <a:lnTo>
                    <a:pt x="123" y="246"/>
                  </a:lnTo>
                  <a:lnTo>
                    <a:pt x="123" y="244"/>
                  </a:lnTo>
                  <a:lnTo>
                    <a:pt x="124" y="244"/>
                  </a:lnTo>
                  <a:lnTo>
                    <a:pt x="124" y="243"/>
                  </a:lnTo>
                  <a:lnTo>
                    <a:pt x="126" y="242"/>
                  </a:lnTo>
                  <a:lnTo>
                    <a:pt x="128" y="242"/>
                  </a:lnTo>
                  <a:lnTo>
                    <a:pt x="129" y="242"/>
                  </a:lnTo>
                  <a:lnTo>
                    <a:pt x="130" y="242"/>
                  </a:lnTo>
                  <a:lnTo>
                    <a:pt x="128" y="241"/>
                  </a:lnTo>
                  <a:lnTo>
                    <a:pt x="128" y="240"/>
                  </a:lnTo>
                  <a:lnTo>
                    <a:pt x="128" y="238"/>
                  </a:lnTo>
                  <a:lnTo>
                    <a:pt x="127" y="236"/>
                  </a:lnTo>
                  <a:lnTo>
                    <a:pt x="127" y="235"/>
                  </a:lnTo>
                  <a:lnTo>
                    <a:pt x="127" y="234"/>
                  </a:lnTo>
                  <a:lnTo>
                    <a:pt x="129" y="235"/>
                  </a:lnTo>
                  <a:lnTo>
                    <a:pt x="130" y="235"/>
                  </a:lnTo>
                  <a:lnTo>
                    <a:pt x="135" y="234"/>
                  </a:lnTo>
                  <a:lnTo>
                    <a:pt x="133" y="232"/>
                  </a:lnTo>
                  <a:lnTo>
                    <a:pt x="134" y="232"/>
                  </a:lnTo>
                  <a:lnTo>
                    <a:pt x="135" y="234"/>
                  </a:lnTo>
                  <a:lnTo>
                    <a:pt x="135" y="235"/>
                  </a:lnTo>
                  <a:lnTo>
                    <a:pt x="135" y="236"/>
                  </a:lnTo>
                  <a:lnTo>
                    <a:pt x="137" y="236"/>
                  </a:lnTo>
                  <a:lnTo>
                    <a:pt x="137" y="235"/>
                  </a:lnTo>
                  <a:lnTo>
                    <a:pt x="138" y="234"/>
                  </a:lnTo>
                  <a:lnTo>
                    <a:pt x="139" y="232"/>
                  </a:lnTo>
                  <a:lnTo>
                    <a:pt x="139" y="231"/>
                  </a:lnTo>
                  <a:lnTo>
                    <a:pt x="140" y="232"/>
                  </a:lnTo>
                  <a:lnTo>
                    <a:pt x="141" y="231"/>
                  </a:lnTo>
                  <a:lnTo>
                    <a:pt x="141" y="232"/>
                  </a:lnTo>
                  <a:lnTo>
                    <a:pt x="141" y="235"/>
                  </a:lnTo>
                  <a:lnTo>
                    <a:pt x="141" y="234"/>
                  </a:lnTo>
                  <a:lnTo>
                    <a:pt x="141" y="232"/>
                  </a:lnTo>
                  <a:lnTo>
                    <a:pt x="140" y="230"/>
                  </a:lnTo>
                  <a:lnTo>
                    <a:pt x="140" y="229"/>
                  </a:lnTo>
                  <a:lnTo>
                    <a:pt x="143" y="231"/>
                  </a:lnTo>
                  <a:lnTo>
                    <a:pt x="143" y="232"/>
                  </a:lnTo>
                  <a:lnTo>
                    <a:pt x="144" y="231"/>
                  </a:lnTo>
                  <a:lnTo>
                    <a:pt x="146" y="232"/>
                  </a:lnTo>
                  <a:lnTo>
                    <a:pt x="146" y="231"/>
                  </a:lnTo>
                  <a:lnTo>
                    <a:pt x="147" y="234"/>
                  </a:lnTo>
                  <a:lnTo>
                    <a:pt x="147" y="235"/>
                  </a:lnTo>
                  <a:lnTo>
                    <a:pt x="149" y="235"/>
                  </a:lnTo>
                  <a:lnTo>
                    <a:pt x="150" y="235"/>
                  </a:lnTo>
                  <a:lnTo>
                    <a:pt x="150" y="237"/>
                  </a:lnTo>
                  <a:lnTo>
                    <a:pt x="150" y="238"/>
                  </a:lnTo>
                  <a:lnTo>
                    <a:pt x="151" y="237"/>
                  </a:lnTo>
                  <a:lnTo>
                    <a:pt x="153" y="236"/>
                  </a:lnTo>
                  <a:lnTo>
                    <a:pt x="153" y="237"/>
                  </a:lnTo>
                  <a:lnTo>
                    <a:pt x="152" y="238"/>
                  </a:lnTo>
                  <a:lnTo>
                    <a:pt x="152" y="240"/>
                  </a:lnTo>
                  <a:lnTo>
                    <a:pt x="153" y="241"/>
                  </a:lnTo>
                  <a:lnTo>
                    <a:pt x="155" y="238"/>
                  </a:lnTo>
                  <a:lnTo>
                    <a:pt x="156" y="238"/>
                  </a:lnTo>
                  <a:lnTo>
                    <a:pt x="158" y="237"/>
                  </a:lnTo>
                  <a:lnTo>
                    <a:pt x="158" y="234"/>
                  </a:lnTo>
                  <a:lnTo>
                    <a:pt x="159" y="235"/>
                  </a:lnTo>
                  <a:lnTo>
                    <a:pt x="161" y="235"/>
                  </a:lnTo>
                  <a:lnTo>
                    <a:pt x="163" y="234"/>
                  </a:lnTo>
                  <a:lnTo>
                    <a:pt x="164" y="231"/>
                  </a:lnTo>
                  <a:lnTo>
                    <a:pt x="165" y="230"/>
                  </a:lnTo>
                  <a:lnTo>
                    <a:pt x="167" y="229"/>
                  </a:lnTo>
                  <a:lnTo>
                    <a:pt x="170" y="228"/>
                  </a:lnTo>
                  <a:lnTo>
                    <a:pt x="173" y="225"/>
                  </a:lnTo>
                  <a:lnTo>
                    <a:pt x="173" y="223"/>
                  </a:lnTo>
                  <a:lnTo>
                    <a:pt x="171" y="223"/>
                  </a:lnTo>
                  <a:lnTo>
                    <a:pt x="170" y="225"/>
                  </a:lnTo>
                  <a:lnTo>
                    <a:pt x="169" y="225"/>
                  </a:lnTo>
                  <a:lnTo>
                    <a:pt x="168" y="224"/>
                  </a:lnTo>
                  <a:lnTo>
                    <a:pt x="168" y="222"/>
                  </a:lnTo>
                  <a:lnTo>
                    <a:pt x="167" y="222"/>
                  </a:lnTo>
                  <a:lnTo>
                    <a:pt x="167" y="223"/>
                  </a:lnTo>
                  <a:lnTo>
                    <a:pt x="167" y="224"/>
                  </a:lnTo>
                  <a:lnTo>
                    <a:pt x="165" y="225"/>
                  </a:lnTo>
                  <a:lnTo>
                    <a:pt x="165" y="224"/>
                  </a:lnTo>
                  <a:lnTo>
                    <a:pt x="164" y="225"/>
                  </a:lnTo>
                  <a:lnTo>
                    <a:pt x="164" y="224"/>
                  </a:lnTo>
                  <a:lnTo>
                    <a:pt x="163" y="225"/>
                  </a:lnTo>
                  <a:lnTo>
                    <a:pt x="162" y="226"/>
                  </a:lnTo>
                  <a:lnTo>
                    <a:pt x="162" y="225"/>
                  </a:lnTo>
                  <a:lnTo>
                    <a:pt x="162" y="226"/>
                  </a:lnTo>
                  <a:lnTo>
                    <a:pt x="161" y="229"/>
                  </a:lnTo>
                  <a:lnTo>
                    <a:pt x="159" y="226"/>
                  </a:lnTo>
                  <a:lnTo>
                    <a:pt x="158" y="228"/>
                  </a:lnTo>
                  <a:lnTo>
                    <a:pt x="157" y="228"/>
                  </a:lnTo>
                  <a:lnTo>
                    <a:pt x="156" y="226"/>
                  </a:lnTo>
                  <a:lnTo>
                    <a:pt x="156" y="225"/>
                  </a:lnTo>
                  <a:lnTo>
                    <a:pt x="155" y="225"/>
                  </a:lnTo>
                  <a:lnTo>
                    <a:pt x="155" y="228"/>
                  </a:lnTo>
                  <a:lnTo>
                    <a:pt x="155" y="229"/>
                  </a:lnTo>
                  <a:lnTo>
                    <a:pt x="155" y="230"/>
                  </a:lnTo>
                  <a:lnTo>
                    <a:pt x="155" y="232"/>
                  </a:lnTo>
                  <a:lnTo>
                    <a:pt x="155" y="234"/>
                  </a:lnTo>
                  <a:lnTo>
                    <a:pt x="153" y="232"/>
                  </a:lnTo>
                  <a:lnTo>
                    <a:pt x="152" y="231"/>
                  </a:lnTo>
                  <a:lnTo>
                    <a:pt x="152" y="230"/>
                  </a:lnTo>
                  <a:lnTo>
                    <a:pt x="150" y="230"/>
                  </a:lnTo>
                  <a:lnTo>
                    <a:pt x="149" y="230"/>
                  </a:lnTo>
                  <a:lnTo>
                    <a:pt x="147" y="229"/>
                  </a:lnTo>
                  <a:lnTo>
                    <a:pt x="147" y="228"/>
                  </a:lnTo>
                  <a:lnTo>
                    <a:pt x="149" y="226"/>
                  </a:lnTo>
                  <a:lnTo>
                    <a:pt x="152" y="223"/>
                  </a:lnTo>
                  <a:lnTo>
                    <a:pt x="152" y="222"/>
                  </a:lnTo>
                  <a:lnTo>
                    <a:pt x="155" y="222"/>
                  </a:lnTo>
                  <a:lnTo>
                    <a:pt x="153" y="220"/>
                  </a:lnTo>
                  <a:lnTo>
                    <a:pt x="152" y="222"/>
                  </a:lnTo>
                  <a:lnTo>
                    <a:pt x="151" y="222"/>
                  </a:lnTo>
                  <a:lnTo>
                    <a:pt x="150" y="222"/>
                  </a:lnTo>
                  <a:lnTo>
                    <a:pt x="149" y="224"/>
                  </a:lnTo>
                  <a:lnTo>
                    <a:pt x="147" y="224"/>
                  </a:lnTo>
                  <a:lnTo>
                    <a:pt x="146" y="225"/>
                  </a:lnTo>
                  <a:lnTo>
                    <a:pt x="143" y="225"/>
                  </a:lnTo>
                  <a:lnTo>
                    <a:pt x="145" y="224"/>
                  </a:lnTo>
                  <a:lnTo>
                    <a:pt x="146" y="223"/>
                  </a:lnTo>
                  <a:lnTo>
                    <a:pt x="146" y="222"/>
                  </a:lnTo>
                  <a:lnTo>
                    <a:pt x="146" y="219"/>
                  </a:lnTo>
                  <a:lnTo>
                    <a:pt x="144" y="220"/>
                  </a:lnTo>
                  <a:lnTo>
                    <a:pt x="145" y="218"/>
                  </a:lnTo>
                  <a:lnTo>
                    <a:pt x="144" y="218"/>
                  </a:lnTo>
                  <a:lnTo>
                    <a:pt x="143" y="218"/>
                  </a:lnTo>
                  <a:lnTo>
                    <a:pt x="143" y="217"/>
                  </a:lnTo>
                  <a:lnTo>
                    <a:pt x="141" y="216"/>
                  </a:lnTo>
                  <a:lnTo>
                    <a:pt x="140" y="216"/>
                  </a:lnTo>
                  <a:lnTo>
                    <a:pt x="139" y="214"/>
                  </a:lnTo>
                  <a:lnTo>
                    <a:pt x="140" y="214"/>
                  </a:lnTo>
                  <a:lnTo>
                    <a:pt x="141" y="214"/>
                  </a:lnTo>
                  <a:lnTo>
                    <a:pt x="141" y="213"/>
                  </a:lnTo>
                  <a:lnTo>
                    <a:pt x="140" y="212"/>
                  </a:lnTo>
                  <a:lnTo>
                    <a:pt x="143" y="212"/>
                  </a:lnTo>
                  <a:lnTo>
                    <a:pt x="144" y="211"/>
                  </a:lnTo>
                  <a:lnTo>
                    <a:pt x="145" y="211"/>
                  </a:lnTo>
                  <a:lnTo>
                    <a:pt x="144" y="213"/>
                  </a:lnTo>
                  <a:lnTo>
                    <a:pt x="145" y="212"/>
                  </a:lnTo>
                  <a:lnTo>
                    <a:pt x="146" y="213"/>
                  </a:lnTo>
                  <a:lnTo>
                    <a:pt x="146" y="212"/>
                  </a:lnTo>
                  <a:lnTo>
                    <a:pt x="147" y="213"/>
                  </a:lnTo>
                  <a:lnTo>
                    <a:pt x="149" y="213"/>
                  </a:lnTo>
                  <a:lnTo>
                    <a:pt x="150" y="213"/>
                  </a:lnTo>
                  <a:lnTo>
                    <a:pt x="150" y="214"/>
                  </a:lnTo>
                  <a:lnTo>
                    <a:pt x="152" y="214"/>
                  </a:lnTo>
                  <a:lnTo>
                    <a:pt x="152" y="216"/>
                  </a:lnTo>
                  <a:lnTo>
                    <a:pt x="153" y="217"/>
                  </a:lnTo>
                  <a:lnTo>
                    <a:pt x="155" y="217"/>
                  </a:lnTo>
                  <a:lnTo>
                    <a:pt x="155" y="216"/>
                  </a:lnTo>
                  <a:lnTo>
                    <a:pt x="156" y="214"/>
                  </a:lnTo>
                  <a:lnTo>
                    <a:pt x="156" y="212"/>
                  </a:lnTo>
                  <a:lnTo>
                    <a:pt x="157" y="211"/>
                  </a:lnTo>
                  <a:lnTo>
                    <a:pt x="157" y="213"/>
                  </a:lnTo>
                  <a:lnTo>
                    <a:pt x="158" y="214"/>
                  </a:lnTo>
                  <a:lnTo>
                    <a:pt x="159" y="214"/>
                  </a:lnTo>
                  <a:lnTo>
                    <a:pt x="161" y="213"/>
                  </a:lnTo>
                  <a:lnTo>
                    <a:pt x="162" y="212"/>
                  </a:lnTo>
                  <a:lnTo>
                    <a:pt x="164" y="211"/>
                  </a:lnTo>
                  <a:lnTo>
                    <a:pt x="169" y="210"/>
                  </a:lnTo>
                  <a:lnTo>
                    <a:pt x="168" y="208"/>
                  </a:lnTo>
                  <a:lnTo>
                    <a:pt x="168" y="207"/>
                  </a:lnTo>
                  <a:lnTo>
                    <a:pt x="170" y="205"/>
                  </a:lnTo>
                  <a:lnTo>
                    <a:pt x="168" y="205"/>
                  </a:lnTo>
                  <a:lnTo>
                    <a:pt x="167" y="205"/>
                  </a:lnTo>
                  <a:lnTo>
                    <a:pt x="165" y="207"/>
                  </a:lnTo>
                  <a:lnTo>
                    <a:pt x="165" y="205"/>
                  </a:lnTo>
                  <a:lnTo>
                    <a:pt x="165" y="204"/>
                  </a:lnTo>
                  <a:lnTo>
                    <a:pt x="164" y="205"/>
                  </a:lnTo>
                  <a:lnTo>
                    <a:pt x="164" y="207"/>
                  </a:lnTo>
                  <a:lnTo>
                    <a:pt x="163" y="207"/>
                  </a:lnTo>
                  <a:lnTo>
                    <a:pt x="161" y="208"/>
                  </a:lnTo>
                  <a:lnTo>
                    <a:pt x="161" y="207"/>
                  </a:lnTo>
                  <a:lnTo>
                    <a:pt x="159" y="208"/>
                  </a:lnTo>
                  <a:lnTo>
                    <a:pt x="159" y="207"/>
                  </a:lnTo>
                  <a:lnTo>
                    <a:pt x="158" y="208"/>
                  </a:lnTo>
                  <a:lnTo>
                    <a:pt x="158" y="207"/>
                  </a:lnTo>
                  <a:lnTo>
                    <a:pt x="156" y="208"/>
                  </a:lnTo>
                  <a:lnTo>
                    <a:pt x="156" y="207"/>
                  </a:lnTo>
                  <a:lnTo>
                    <a:pt x="155" y="207"/>
                  </a:lnTo>
                  <a:lnTo>
                    <a:pt x="155" y="206"/>
                  </a:lnTo>
                  <a:lnTo>
                    <a:pt x="155" y="205"/>
                  </a:lnTo>
                  <a:lnTo>
                    <a:pt x="158" y="202"/>
                  </a:lnTo>
                  <a:lnTo>
                    <a:pt x="159" y="204"/>
                  </a:lnTo>
                  <a:lnTo>
                    <a:pt x="161" y="204"/>
                  </a:lnTo>
                  <a:lnTo>
                    <a:pt x="161" y="201"/>
                  </a:lnTo>
                  <a:lnTo>
                    <a:pt x="162" y="201"/>
                  </a:lnTo>
                  <a:lnTo>
                    <a:pt x="163" y="200"/>
                  </a:lnTo>
                  <a:lnTo>
                    <a:pt x="164" y="200"/>
                  </a:lnTo>
                  <a:lnTo>
                    <a:pt x="164" y="199"/>
                  </a:lnTo>
                  <a:lnTo>
                    <a:pt x="165" y="199"/>
                  </a:lnTo>
                  <a:lnTo>
                    <a:pt x="167" y="199"/>
                  </a:lnTo>
                  <a:lnTo>
                    <a:pt x="169" y="198"/>
                  </a:lnTo>
                  <a:lnTo>
                    <a:pt x="171" y="196"/>
                  </a:lnTo>
                  <a:lnTo>
                    <a:pt x="174" y="195"/>
                  </a:lnTo>
                  <a:lnTo>
                    <a:pt x="175" y="194"/>
                  </a:lnTo>
                  <a:lnTo>
                    <a:pt x="173" y="194"/>
                  </a:lnTo>
                  <a:lnTo>
                    <a:pt x="171" y="192"/>
                  </a:lnTo>
                  <a:lnTo>
                    <a:pt x="170" y="190"/>
                  </a:lnTo>
                  <a:lnTo>
                    <a:pt x="169" y="192"/>
                  </a:lnTo>
                  <a:lnTo>
                    <a:pt x="167" y="192"/>
                  </a:lnTo>
                  <a:lnTo>
                    <a:pt x="167" y="193"/>
                  </a:lnTo>
                  <a:lnTo>
                    <a:pt x="165" y="196"/>
                  </a:lnTo>
                  <a:lnTo>
                    <a:pt x="165" y="198"/>
                  </a:lnTo>
                  <a:lnTo>
                    <a:pt x="164" y="198"/>
                  </a:lnTo>
                  <a:lnTo>
                    <a:pt x="163" y="198"/>
                  </a:lnTo>
                  <a:lnTo>
                    <a:pt x="162" y="199"/>
                  </a:lnTo>
                  <a:lnTo>
                    <a:pt x="161" y="200"/>
                  </a:lnTo>
                  <a:lnTo>
                    <a:pt x="159" y="200"/>
                  </a:lnTo>
                  <a:lnTo>
                    <a:pt x="158" y="200"/>
                  </a:lnTo>
                  <a:lnTo>
                    <a:pt x="157" y="200"/>
                  </a:lnTo>
                  <a:lnTo>
                    <a:pt x="157" y="201"/>
                  </a:lnTo>
                  <a:lnTo>
                    <a:pt x="156" y="202"/>
                  </a:lnTo>
                  <a:lnTo>
                    <a:pt x="155" y="204"/>
                  </a:lnTo>
                  <a:lnTo>
                    <a:pt x="153" y="201"/>
                  </a:lnTo>
                  <a:lnTo>
                    <a:pt x="152" y="200"/>
                  </a:lnTo>
                  <a:lnTo>
                    <a:pt x="153" y="198"/>
                  </a:lnTo>
                  <a:lnTo>
                    <a:pt x="153" y="196"/>
                  </a:lnTo>
                  <a:lnTo>
                    <a:pt x="152" y="193"/>
                  </a:lnTo>
                  <a:lnTo>
                    <a:pt x="151" y="195"/>
                  </a:lnTo>
                  <a:lnTo>
                    <a:pt x="151" y="199"/>
                  </a:lnTo>
                  <a:lnTo>
                    <a:pt x="150" y="199"/>
                  </a:lnTo>
                  <a:lnTo>
                    <a:pt x="150" y="196"/>
                  </a:lnTo>
                  <a:lnTo>
                    <a:pt x="150" y="195"/>
                  </a:lnTo>
                  <a:lnTo>
                    <a:pt x="149" y="195"/>
                  </a:lnTo>
                  <a:lnTo>
                    <a:pt x="147" y="195"/>
                  </a:lnTo>
                  <a:lnTo>
                    <a:pt x="146" y="198"/>
                  </a:lnTo>
                  <a:lnTo>
                    <a:pt x="146" y="195"/>
                  </a:lnTo>
                  <a:lnTo>
                    <a:pt x="146" y="194"/>
                  </a:lnTo>
                  <a:lnTo>
                    <a:pt x="145" y="194"/>
                  </a:lnTo>
                  <a:lnTo>
                    <a:pt x="144" y="194"/>
                  </a:lnTo>
                  <a:lnTo>
                    <a:pt x="146" y="193"/>
                  </a:lnTo>
                  <a:lnTo>
                    <a:pt x="147" y="193"/>
                  </a:lnTo>
                  <a:lnTo>
                    <a:pt x="149" y="193"/>
                  </a:lnTo>
                  <a:lnTo>
                    <a:pt x="150" y="192"/>
                  </a:lnTo>
                  <a:lnTo>
                    <a:pt x="149" y="190"/>
                  </a:lnTo>
                  <a:lnTo>
                    <a:pt x="147" y="192"/>
                  </a:lnTo>
                  <a:lnTo>
                    <a:pt x="146" y="192"/>
                  </a:lnTo>
                  <a:lnTo>
                    <a:pt x="147" y="189"/>
                  </a:lnTo>
                  <a:lnTo>
                    <a:pt x="146" y="189"/>
                  </a:lnTo>
                  <a:lnTo>
                    <a:pt x="145" y="190"/>
                  </a:lnTo>
                  <a:lnTo>
                    <a:pt x="144" y="190"/>
                  </a:lnTo>
                  <a:lnTo>
                    <a:pt x="143" y="189"/>
                  </a:lnTo>
                  <a:lnTo>
                    <a:pt x="143" y="192"/>
                  </a:lnTo>
                  <a:lnTo>
                    <a:pt x="140" y="190"/>
                  </a:lnTo>
                  <a:lnTo>
                    <a:pt x="139" y="192"/>
                  </a:lnTo>
                  <a:lnTo>
                    <a:pt x="138" y="192"/>
                  </a:lnTo>
                  <a:lnTo>
                    <a:pt x="137" y="190"/>
                  </a:lnTo>
                  <a:lnTo>
                    <a:pt x="138" y="189"/>
                  </a:lnTo>
                  <a:lnTo>
                    <a:pt x="135" y="189"/>
                  </a:lnTo>
                  <a:lnTo>
                    <a:pt x="138" y="187"/>
                  </a:lnTo>
                  <a:lnTo>
                    <a:pt x="137" y="187"/>
                  </a:lnTo>
                  <a:lnTo>
                    <a:pt x="137" y="184"/>
                  </a:lnTo>
                  <a:lnTo>
                    <a:pt x="138" y="184"/>
                  </a:lnTo>
                  <a:lnTo>
                    <a:pt x="140" y="184"/>
                  </a:lnTo>
                  <a:lnTo>
                    <a:pt x="143" y="184"/>
                  </a:lnTo>
                  <a:lnTo>
                    <a:pt x="143" y="182"/>
                  </a:lnTo>
                  <a:lnTo>
                    <a:pt x="144" y="182"/>
                  </a:lnTo>
                  <a:lnTo>
                    <a:pt x="144" y="183"/>
                  </a:lnTo>
                  <a:lnTo>
                    <a:pt x="144" y="186"/>
                  </a:lnTo>
                  <a:lnTo>
                    <a:pt x="145" y="186"/>
                  </a:lnTo>
                  <a:lnTo>
                    <a:pt x="145" y="184"/>
                  </a:lnTo>
                  <a:lnTo>
                    <a:pt x="145" y="182"/>
                  </a:lnTo>
                  <a:lnTo>
                    <a:pt x="146" y="182"/>
                  </a:lnTo>
                  <a:lnTo>
                    <a:pt x="146" y="183"/>
                  </a:lnTo>
                  <a:lnTo>
                    <a:pt x="147" y="183"/>
                  </a:lnTo>
                  <a:lnTo>
                    <a:pt x="147" y="186"/>
                  </a:lnTo>
                  <a:lnTo>
                    <a:pt x="149" y="186"/>
                  </a:lnTo>
                  <a:lnTo>
                    <a:pt x="149" y="187"/>
                  </a:lnTo>
                  <a:lnTo>
                    <a:pt x="150" y="188"/>
                  </a:lnTo>
                  <a:lnTo>
                    <a:pt x="151" y="186"/>
                  </a:lnTo>
                  <a:lnTo>
                    <a:pt x="152" y="184"/>
                  </a:lnTo>
                  <a:lnTo>
                    <a:pt x="153" y="183"/>
                  </a:lnTo>
                  <a:lnTo>
                    <a:pt x="155" y="183"/>
                  </a:lnTo>
                  <a:lnTo>
                    <a:pt x="157" y="183"/>
                  </a:lnTo>
                  <a:lnTo>
                    <a:pt x="157" y="182"/>
                  </a:lnTo>
                  <a:lnTo>
                    <a:pt x="159" y="182"/>
                  </a:lnTo>
                  <a:lnTo>
                    <a:pt x="161" y="183"/>
                  </a:lnTo>
                  <a:lnTo>
                    <a:pt x="161" y="182"/>
                  </a:lnTo>
                  <a:lnTo>
                    <a:pt x="159" y="181"/>
                  </a:lnTo>
                  <a:lnTo>
                    <a:pt x="158" y="180"/>
                  </a:lnTo>
                  <a:lnTo>
                    <a:pt x="158" y="178"/>
                  </a:lnTo>
                  <a:lnTo>
                    <a:pt x="159" y="178"/>
                  </a:lnTo>
                  <a:lnTo>
                    <a:pt x="162" y="178"/>
                  </a:lnTo>
                  <a:lnTo>
                    <a:pt x="163" y="177"/>
                  </a:lnTo>
                  <a:lnTo>
                    <a:pt x="162" y="176"/>
                  </a:lnTo>
                  <a:lnTo>
                    <a:pt x="159" y="176"/>
                  </a:lnTo>
                  <a:lnTo>
                    <a:pt x="158" y="175"/>
                  </a:lnTo>
                  <a:lnTo>
                    <a:pt x="157" y="176"/>
                  </a:lnTo>
                  <a:lnTo>
                    <a:pt x="158" y="176"/>
                  </a:lnTo>
                  <a:lnTo>
                    <a:pt x="157" y="176"/>
                  </a:lnTo>
                  <a:lnTo>
                    <a:pt x="155" y="175"/>
                  </a:lnTo>
                  <a:lnTo>
                    <a:pt x="155" y="176"/>
                  </a:lnTo>
                  <a:lnTo>
                    <a:pt x="153" y="177"/>
                  </a:lnTo>
                  <a:lnTo>
                    <a:pt x="153" y="178"/>
                  </a:lnTo>
                  <a:lnTo>
                    <a:pt x="152" y="178"/>
                  </a:lnTo>
                  <a:lnTo>
                    <a:pt x="151" y="178"/>
                  </a:lnTo>
                  <a:lnTo>
                    <a:pt x="150" y="178"/>
                  </a:lnTo>
                  <a:lnTo>
                    <a:pt x="149" y="180"/>
                  </a:lnTo>
                  <a:lnTo>
                    <a:pt x="147" y="180"/>
                  </a:lnTo>
                  <a:lnTo>
                    <a:pt x="147" y="178"/>
                  </a:lnTo>
                  <a:lnTo>
                    <a:pt x="146" y="177"/>
                  </a:lnTo>
                  <a:lnTo>
                    <a:pt x="145" y="177"/>
                  </a:lnTo>
                  <a:lnTo>
                    <a:pt x="144" y="176"/>
                  </a:lnTo>
                  <a:lnTo>
                    <a:pt x="144" y="177"/>
                  </a:lnTo>
                  <a:lnTo>
                    <a:pt x="143" y="178"/>
                  </a:lnTo>
                  <a:lnTo>
                    <a:pt x="143" y="180"/>
                  </a:lnTo>
                  <a:lnTo>
                    <a:pt x="141" y="178"/>
                  </a:lnTo>
                  <a:lnTo>
                    <a:pt x="138" y="178"/>
                  </a:lnTo>
                  <a:lnTo>
                    <a:pt x="138" y="180"/>
                  </a:lnTo>
                  <a:lnTo>
                    <a:pt x="138" y="181"/>
                  </a:lnTo>
                  <a:lnTo>
                    <a:pt x="138" y="182"/>
                  </a:lnTo>
                  <a:lnTo>
                    <a:pt x="137" y="182"/>
                  </a:lnTo>
                  <a:lnTo>
                    <a:pt x="135" y="181"/>
                  </a:lnTo>
                  <a:lnTo>
                    <a:pt x="134" y="180"/>
                  </a:lnTo>
                  <a:lnTo>
                    <a:pt x="133" y="180"/>
                  </a:lnTo>
                  <a:lnTo>
                    <a:pt x="132" y="180"/>
                  </a:lnTo>
                  <a:lnTo>
                    <a:pt x="132" y="182"/>
                  </a:lnTo>
                  <a:lnTo>
                    <a:pt x="130" y="182"/>
                  </a:lnTo>
                  <a:lnTo>
                    <a:pt x="130" y="181"/>
                  </a:lnTo>
                  <a:lnTo>
                    <a:pt x="129" y="180"/>
                  </a:lnTo>
                  <a:lnTo>
                    <a:pt x="128" y="181"/>
                  </a:lnTo>
                  <a:lnTo>
                    <a:pt x="127" y="181"/>
                  </a:lnTo>
                  <a:lnTo>
                    <a:pt x="126" y="181"/>
                  </a:lnTo>
                  <a:lnTo>
                    <a:pt x="124" y="181"/>
                  </a:lnTo>
                  <a:lnTo>
                    <a:pt x="124" y="180"/>
                  </a:lnTo>
                  <a:lnTo>
                    <a:pt x="126" y="178"/>
                  </a:lnTo>
                  <a:lnTo>
                    <a:pt x="126" y="177"/>
                  </a:lnTo>
                  <a:lnTo>
                    <a:pt x="124" y="177"/>
                  </a:lnTo>
                  <a:lnTo>
                    <a:pt x="126" y="177"/>
                  </a:lnTo>
                  <a:lnTo>
                    <a:pt x="127" y="176"/>
                  </a:lnTo>
                  <a:lnTo>
                    <a:pt x="126" y="175"/>
                  </a:lnTo>
                  <a:lnTo>
                    <a:pt x="126" y="172"/>
                  </a:lnTo>
                  <a:lnTo>
                    <a:pt x="127" y="172"/>
                  </a:lnTo>
                  <a:lnTo>
                    <a:pt x="129" y="174"/>
                  </a:lnTo>
                  <a:lnTo>
                    <a:pt x="130" y="172"/>
                  </a:lnTo>
                  <a:lnTo>
                    <a:pt x="129" y="170"/>
                  </a:lnTo>
                  <a:lnTo>
                    <a:pt x="132" y="170"/>
                  </a:lnTo>
                  <a:lnTo>
                    <a:pt x="132" y="169"/>
                  </a:lnTo>
                  <a:lnTo>
                    <a:pt x="130" y="166"/>
                  </a:lnTo>
                  <a:lnTo>
                    <a:pt x="133" y="166"/>
                  </a:lnTo>
                  <a:lnTo>
                    <a:pt x="135" y="166"/>
                  </a:lnTo>
                  <a:lnTo>
                    <a:pt x="137" y="164"/>
                  </a:lnTo>
                  <a:lnTo>
                    <a:pt x="137" y="163"/>
                  </a:lnTo>
                  <a:lnTo>
                    <a:pt x="137" y="160"/>
                  </a:lnTo>
                  <a:lnTo>
                    <a:pt x="135" y="160"/>
                  </a:lnTo>
                  <a:lnTo>
                    <a:pt x="134" y="162"/>
                  </a:lnTo>
                  <a:lnTo>
                    <a:pt x="132" y="163"/>
                  </a:lnTo>
                  <a:lnTo>
                    <a:pt x="130" y="163"/>
                  </a:lnTo>
                  <a:lnTo>
                    <a:pt x="129" y="163"/>
                  </a:lnTo>
                  <a:lnTo>
                    <a:pt x="129" y="162"/>
                  </a:lnTo>
                  <a:lnTo>
                    <a:pt x="128" y="162"/>
                  </a:lnTo>
                  <a:lnTo>
                    <a:pt x="127" y="164"/>
                  </a:lnTo>
                  <a:lnTo>
                    <a:pt x="126" y="164"/>
                  </a:lnTo>
                  <a:lnTo>
                    <a:pt x="126" y="163"/>
                  </a:lnTo>
                  <a:lnTo>
                    <a:pt x="124" y="163"/>
                  </a:lnTo>
                  <a:lnTo>
                    <a:pt x="123" y="163"/>
                  </a:lnTo>
                  <a:lnTo>
                    <a:pt x="123" y="162"/>
                  </a:lnTo>
                  <a:lnTo>
                    <a:pt x="123" y="159"/>
                  </a:lnTo>
                  <a:lnTo>
                    <a:pt x="122" y="158"/>
                  </a:lnTo>
                  <a:lnTo>
                    <a:pt x="123" y="157"/>
                  </a:lnTo>
                  <a:lnTo>
                    <a:pt x="123" y="156"/>
                  </a:lnTo>
                  <a:lnTo>
                    <a:pt x="126" y="154"/>
                  </a:lnTo>
                  <a:lnTo>
                    <a:pt x="124" y="153"/>
                  </a:lnTo>
                  <a:lnTo>
                    <a:pt x="124" y="152"/>
                  </a:lnTo>
                  <a:lnTo>
                    <a:pt x="126" y="151"/>
                  </a:lnTo>
                  <a:lnTo>
                    <a:pt x="128" y="152"/>
                  </a:lnTo>
                  <a:lnTo>
                    <a:pt x="128" y="151"/>
                  </a:lnTo>
                  <a:lnTo>
                    <a:pt x="128" y="148"/>
                  </a:lnTo>
                  <a:lnTo>
                    <a:pt x="129" y="150"/>
                  </a:lnTo>
                  <a:lnTo>
                    <a:pt x="130" y="148"/>
                  </a:lnTo>
                  <a:lnTo>
                    <a:pt x="132" y="147"/>
                  </a:lnTo>
                  <a:lnTo>
                    <a:pt x="132" y="148"/>
                  </a:lnTo>
                  <a:lnTo>
                    <a:pt x="133" y="150"/>
                  </a:lnTo>
                  <a:lnTo>
                    <a:pt x="133" y="148"/>
                  </a:lnTo>
                  <a:lnTo>
                    <a:pt x="134" y="147"/>
                  </a:lnTo>
                  <a:lnTo>
                    <a:pt x="134" y="150"/>
                  </a:lnTo>
                  <a:lnTo>
                    <a:pt x="135" y="151"/>
                  </a:lnTo>
                  <a:lnTo>
                    <a:pt x="137" y="151"/>
                  </a:lnTo>
                  <a:lnTo>
                    <a:pt x="138" y="152"/>
                  </a:lnTo>
                  <a:lnTo>
                    <a:pt x="139" y="152"/>
                  </a:lnTo>
                  <a:lnTo>
                    <a:pt x="139" y="153"/>
                  </a:lnTo>
                  <a:lnTo>
                    <a:pt x="140" y="153"/>
                  </a:lnTo>
                  <a:lnTo>
                    <a:pt x="141" y="153"/>
                  </a:lnTo>
                  <a:lnTo>
                    <a:pt x="143" y="153"/>
                  </a:lnTo>
                  <a:lnTo>
                    <a:pt x="143" y="152"/>
                  </a:lnTo>
                  <a:lnTo>
                    <a:pt x="141" y="150"/>
                  </a:lnTo>
                  <a:lnTo>
                    <a:pt x="143" y="151"/>
                  </a:lnTo>
                  <a:lnTo>
                    <a:pt x="144" y="152"/>
                  </a:lnTo>
                  <a:lnTo>
                    <a:pt x="145" y="152"/>
                  </a:lnTo>
                  <a:lnTo>
                    <a:pt x="147" y="152"/>
                  </a:lnTo>
                  <a:lnTo>
                    <a:pt x="146" y="151"/>
                  </a:lnTo>
                  <a:lnTo>
                    <a:pt x="145" y="148"/>
                  </a:lnTo>
                  <a:lnTo>
                    <a:pt x="144" y="150"/>
                  </a:lnTo>
                  <a:lnTo>
                    <a:pt x="144" y="147"/>
                  </a:lnTo>
                  <a:lnTo>
                    <a:pt x="145" y="147"/>
                  </a:lnTo>
                  <a:lnTo>
                    <a:pt x="144" y="146"/>
                  </a:lnTo>
                  <a:lnTo>
                    <a:pt x="140" y="146"/>
                  </a:lnTo>
                  <a:lnTo>
                    <a:pt x="141" y="145"/>
                  </a:lnTo>
                  <a:lnTo>
                    <a:pt x="143" y="143"/>
                  </a:lnTo>
                  <a:lnTo>
                    <a:pt x="141" y="142"/>
                  </a:lnTo>
                  <a:lnTo>
                    <a:pt x="140" y="141"/>
                  </a:lnTo>
                  <a:lnTo>
                    <a:pt x="140" y="142"/>
                  </a:lnTo>
                  <a:lnTo>
                    <a:pt x="138" y="143"/>
                  </a:lnTo>
                  <a:lnTo>
                    <a:pt x="138" y="141"/>
                  </a:lnTo>
                  <a:lnTo>
                    <a:pt x="138" y="140"/>
                  </a:lnTo>
                  <a:lnTo>
                    <a:pt x="138" y="139"/>
                  </a:lnTo>
                  <a:lnTo>
                    <a:pt x="140" y="139"/>
                  </a:lnTo>
                  <a:lnTo>
                    <a:pt x="141" y="139"/>
                  </a:lnTo>
                  <a:lnTo>
                    <a:pt x="141" y="137"/>
                  </a:lnTo>
                  <a:lnTo>
                    <a:pt x="140" y="136"/>
                  </a:lnTo>
                  <a:lnTo>
                    <a:pt x="141" y="136"/>
                  </a:lnTo>
                  <a:lnTo>
                    <a:pt x="140" y="134"/>
                  </a:lnTo>
                  <a:lnTo>
                    <a:pt x="139" y="136"/>
                  </a:lnTo>
                  <a:lnTo>
                    <a:pt x="138" y="135"/>
                  </a:lnTo>
                  <a:lnTo>
                    <a:pt x="137" y="136"/>
                  </a:lnTo>
                  <a:lnTo>
                    <a:pt x="135" y="139"/>
                  </a:lnTo>
                  <a:lnTo>
                    <a:pt x="135" y="140"/>
                  </a:lnTo>
                  <a:lnTo>
                    <a:pt x="134" y="141"/>
                  </a:lnTo>
                  <a:lnTo>
                    <a:pt x="133" y="141"/>
                  </a:lnTo>
                  <a:lnTo>
                    <a:pt x="134" y="139"/>
                  </a:lnTo>
                  <a:lnTo>
                    <a:pt x="133" y="139"/>
                  </a:lnTo>
                  <a:lnTo>
                    <a:pt x="135" y="137"/>
                  </a:lnTo>
                  <a:lnTo>
                    <a:pt x="135" y="136"/>
                  </a:lnTo>
                  <a:lnTo>
                    <a:pt x="135" y="135"/>
                  </a:lnTo>
                  <a:lnTo>
                    <a:pt x="135" y="134"/>
                  </a:lnTo>
                  <a:lnTo>
                    <a:pt x="135" y="133"/>
                  </a:lnTo>
                  <a:lnTo>
                    <a:pt x="137" y="131"/>
                  </a:lnTo>
                  <a:lnTo>
                    <a:pt x="138" y="131"/>
                  </a:lnTo>
                  <a:lnTo>
                    <a:pt x="137" y="130"/>
                  </a:lnTo>
                  <a:lnTo>
                    <a:pt x="135" y="130"/>
                  </a:lnTo>
                  <a:lnTo>
                    <a:pt x="135" y="127"/>
                  </a:lnTo>
                  <a:lnTo>
                    <a:pt x="137" y="128"/>
                  </a:lnTo>
                  <a:lnTo>
                    <a:pt x="138" y="129"/>
                  </a:lnTo>
                  <a:lnTo>
                    <a:pt x="138" y="128"/>
                  </a:lnTo>
                  <a:lnTo>
                    <a:pt x="137" y="125"/>
                  </a:lnTo>
                  <a:lnTo>
                    <a:pt x="135" y="123"/>
                  </a:lnTo>
                  <a:lnTo>
                    <a:pt x="134" y="123"/>
                  </a:lnTo>
                  <a:lnTo>
                    <a:pt x="133" y="124"/>
                  </a:lnTo>
                  <a:lnTo>
                    <a:pt x="133" y="125"/>
                  </a:lnTo>
                  <a:lnTo>
                    <a:pt x="130" y="124"/>
                  </a:lnTo>
                  <a:lnTo>
                    <a:pt x="132" y="124"/>
                  </a:lnTo>
                  <a:lnTo>
                    <a:pt x="130" y="124"/>
                  </a:lnTo>
                  <a:lnTo>
                    <a:pt x="128" y="124"/>
                  </a:lnTo>
                  <a:lnTo>
                    <a:pt x="128" y="123"/>
                  </a:lnTo>
                  <a:lnTo>
                    <a:pt x="129" y="122"/>
                  </a:lnTo>
                  <a:lnTo>
                    <a:pt x="130" y="121"/>
                  </a:lnTo>
                  <a:lnTo>
                    <a:pt x="132" y="121"/>
                  </a:lnTo>
                  <a:lnTo>
                    <a:pt x="133" y="119"/>
                  </a:lnTo>
                  <a:lnTo>
                    <a:pt x="133" y="118"/>
                  </a:lnTo>
                  <a:lnTo>
                    <a:pt x="130" y="119"/>
                  </a:lnTo>
                  <a:lnTo>
                    <a:pt x="128" y="121"/>
                  </a:lnTo>
                  <a:lnTo>
                    <a:pt x="129" y="119"/>
                  </a:lnTo>
                  <a:lnTo>
                    <a:pt x="130" y="118"/>
                  </a:lnTo>
                  <a:lnTo>
                    <a:pt x="133" y="117"/>
                  </a:lnTo>
                  <a:lnTo>
                    <a:pt x="132" y="116"/>
                  </a:lnTo>
                  <a:lnTo>
                    <a:pt x="128" y="116"/>
                  </a:lnTo>
                  <a:lnTo>
                    <a:pt x="127" y="116"/>
                  </a:lnTo>
                  <a:lnTo>
                    <a:pt x="127" y="115"/>
                  </a:lnTo>
                  <a:lnTo>
                    <a:pt x="129" y="115"/>
                  </a:lnTo>
                  <a:lnTo>
                    <a:pt x="132" y="115"/>
                  </a:lnTo>
                  <a:lnTo>
                    <a:pt x="130" y="113"/>
                  </a:lnTo>
                  <a:lnTo>
                    <a:pt x="130" y="111"/>
                  </a:lnTo>
                  <a:lnTo>
                    <a:pt x="129" y="110"/>
                  </a:lnTo>
                  <a:lnTo>
                    <a:pt x="130" y="110"/>
                  </a:lnTo>
                  <a:lnTo>
                    <a:pt x="132" y="111"/>
                  </a:lnTo>
                  <a:lnTo>
                    <a:pt x="133" y="112"/>
                  </a:lnTo>
                  <a:lnTo>
                    <a:pt x="134" y="111"/>
                  </a:lnTo>
                  <a:lnTo>
                    <a:pt x="133" y="110"/>
                  </a:lnTo>
                  <a:lnTo>
                    <a:pt x="134" y="110"/>
                  </a:lnTo>
                  <a:lnTo>
                    <a:pt x="135" y="111"/>
                  </a:lnTo>
                  <a:lnTo>
                    <a:pt x="137" y="112"/>
                  </a:lnTo>
                  <a:lnTo>
                    <a:pt x="135" y="110"/>
                  </a:lnTo>
                  <a:lnTo>
                    <a:pt x="135" y="109"/>
                  </a:lnTo>
                  <a:lnTo>
                    <a:pt x="137" y="109"/>
                  </a:lnTo>
                  <a:lnTo>
                    <a:pt x="138" y="109"/>
                  </a:lnTo>
                  <a:lnTo>
                    <a:pt x="137" y="111"/>
                  </a:lnTo>
                  <a:lnTo>
                    <a:pt x="137" y="112"/>
                  </a:lnTo>
                  <a:lnTo>
                    <a:pt x="138" y="112"/>
                  </a:lnTo>
                  <a:lnTo>
                    <a:pt x="140" y="111"/>
                  </a:lnTo>
                  <a:lnTo>
                    <a:pt x="141" y="112"/>
                  </a:lnTo>
                  <a:lnTo>
                    <a:pt x="140" y="112"/>
                  </a:lnTo>
                  <a:lnTo>
                    <a:pt x="139" y="113"/>
                  </a:lnTo>
                  <a:lnTo>
                    <a:pt x="139" y="115"/>
                  </a:lnTo>
                  <a:lnTo>
                    <a:pt x="140" y="115"/>
                  </a:lnTo>
                  <a:lnTo>
                    <a:pt x="139" y="117"/>
                  </a:lnTo>
                  <a:lnTo>
                    <a:pt x="140" y="117"/>
                  </a:lnTo>
                  <a:lnTo>
                    <a:pt x="143" y="118"/>
                  </a:lnTo>
                  <a:lnTo>
                    <a:pt x="144" y="118"/>
                  </a:lnTo>
                  <a:lnTo>
                    <a:pt x="145" y="118"/>
                  </a:lnTo>
                  <a:lnTo>
                    <a:pt x="143" y="119"/>
                  </a:lnTo>
                  <a:lnTo>
                    <a:pt x="144" y="121"/>
                  </a:lnTo>
                  <a:lnTo>
                    <a:pt x="145" y="122"/>
                  </a:lnTo>
                  <a:lnTo>
                    <a:pt x="146" y="123"/>
                  </a:lnTo>
                  <a:lnTo>
                    <a:pt x="146" y="121"/>
                  </a:lnTo>
                  <a:lnTo>
                    <a:pt x="146" y="118"/>
                  </a:lnTo>
                  <a:lnTo>
                    <a:pt x="147" y="118"/>
                  </a:lnTo>
                  <a:lnTo>
                    <a:pt x="147" y="116"/>
                  </a:lnTo>
                  <a:lnTo>
                    <a:pt x="149" y="116"/>
                  </a:lnTo>
                  <a:lnTo>
                    <a:pt x="149" y="117"/>
                  </a:lnTo>
                  <a:lnTo>
                    <a:pt x="150" y="118"/>
                  </a:lnTo>
                  <a:lnTo>
                    <a:pt x="149" y="121"/>
                  </a:lnTo>
                  <a:lnTo>
                    <a:pt x="151" y="123"/>
                  </a:lnTo>
                  <a:lnTo>
                    <a:pt x="151" y="121"/>
                  </a:lnTo>
                  <a:lnTo>
                    <a:pt x="151" y="118"/>
                  </a:lnTo>
                  <a:lnTo>
                    <a:pt x="152" y="117"/>
                  </a:lnTo>
                  <a:lnTo>
                    <a:pt x="152" y="116"/>
                  </a:lnTo>
                  <a:lnTo>
                    <a:pt x="153" y="115"/>
                  </a:lnTo>
                  <a:lnTo>
                    <a:pt x="157" y="115"/>
                  </a:lnTo>
                  <a:lnTo>
                    <a:pt x="157" y="116"/>
                  </a:lnTo>
                  <a:lnTo>
                    <a:pt x="157" y="117"/>
                  </a:lnTo>
                  <a:lnTo>
                    <a:pt x="158" y="118"/>
                  </a:lnTo>
                  <a:lnTo>
                    <a:pt x="159" y="119"/>
                  </a:lnTo>
                  <a:lnTo>
                    <a:pt x="158" y="121"/>
                  </a:lnTo>
                  <a:lnTo>
                    <a:pt x="158" y="122"/>
                  </a:lnTo>
                  <a:lnTo>
                    <a:pt x="158" y="123"/>
                  </a:lnTo>
                  <a:lnTo>
                    <a:pt x="161" y="122"/>
                  </a:lnTo>
                  <a:lnTo>
                    <a:pt x="162" y="122"/>
                  </a:lnTo>
                  <a:lnTo>
                    <a:pt x="162" y="124"/>
                  </a:lnTo>
                  <a:lnTo>
                    <a:pt x="163" y="124"/>
                  </a:lnTo>
                  <a:lnTo>
                    <a:pt x="164" y="125"/>
                  </a:lnTo>
                  <a:lnTo>
                    <a:pt x="165" y="127"/>
                  </a:lnTo>
                  <a:lnTo>
                    <a:pt x="167" y="127"/>
                  </a:lnTo>
                  <a:lnTo>
                    <a:pt x="169" y="128"/>
                  </a:lnTo>
                  <a:lnTo>
                    <a:pt x="169" y="127"/>
                  </a:lnTo>
                  <a:lnTo>
                    <a:pt x="168" y="124"/>
                  </a:lnTo>
                  <a:lnTo>
                    <a:pt x="167" y="124"/>
                  </a:lnTo>
                  <a:lnTo>
                    <a:pt x="165" y="123"/>
                  </a:lnTo>
                  <a:lnTo>
                    <a:pt x="165" y="122"/>
                  </a:lnTo>
                  <a:lnTo>
                    <a:pt x="164" y="119"/>
                  </a:lnTo>
                  <a:lnTo>
                    <a:pt x="164" y="118"/>
                  </a:lnTo>
                  <a:lnTo>
                    <a:pt x="165" y="117"/>
                  </a:lnTo>
                  <a:lnTo>
                    <a:pt x="165" y="116"/>
                  </a:lnTo>
                  <a:lnTo>
                    <a:pt x="165" y="112"/>
                  </a:lnTo>
                  <a:lnTo>
                    <a:pt x="165" y="111"/>
                  </a:lnTo>
                  <a:lnTo>
                    <a:pt x="165" y="112"/>
                  </a:lnTo>
                  <a:lnTo>
                    <a:pt x="167" y="116"/>
                  </a:lnTo>
                  <a:lnTo>
                    <a:pt x="167" y="117"/>
                  </a:lnTo>
                  <a:lnTo>
                    <a:pt x="168" y="116"/>
                  </a:lnTo>
                  <a:lnTo>
                    <a:pt x="169" y="116"/>
                  </a:lnTo>
                  <a:lnTo>
                    <a:pt x="170" y="118"/>
                  </a:lnTo>
                  <a:lnTo>
                    <a:pt x="171" y="118"/>
                  </a:lnTo>
                  <a:lnTo>
                    <a:pt x="173" y="118"/>
                  </a:lnTo>
                  <a:lnTo>
                    <a:pt x="174" y="117"/>
                  </a:lnTo>
                  <a:lnTo>
                    <a:pt x="174" y="116"/>
                  </a:lnTo>
                  <a:lnTo>
                    <a:pt x="174" y="115"/>
                  </a:lnTo>
                  <a:lnTo>
                    <a:pt x="173" y="115"/>
                  </a:lnTo>
                  <a:lnTo>
                    <a:pt x="173" y="113"/>
                  </a:lnTo>
                  <a:lnTo>
                    <a:pt x="171" y="109"/>
                  </a:lnTo>
                  <a:lnTo>
                    <a:pt x="170" y="111"/>
                  </a:lnTo>
                  <a:lnTo>
                    <a:pt x="169" y="110"/>
                  </a:lnTo>
                  <a:lnTo>
                    <a:pt x="168" y="110"/>
                  </a:lnTo>
                  <a:lnTo>
                    <a:pt x="168" y="109"/>
                  </a:lnTo>
                  <a:lnTo>
                    <a:pt x="167" y="110"/>
                  </a:lnTo>
                  <a:lnTo>
                    <a:pt x="165" y="110"/>
                  </a:lnTo>
                  <a:lnTo>
                    <a:pt x="165" y="109"/>
                  </a:lnTo>
                  <a:lnTo>
                    <a:pt x="168" y="106"/>
                  </a:lnTo>
                  <a:lnTo>
                    <a:pt x="167" y="105"/>
                  </a:lnTo>
                  <a:lnTo>
                    <a:pt x="165" y="105"/>
                  </a:lnTo>
                  <a:lnTo>
                    <a:pt x="164" y="106"/>
                  </a:lnTo>
                  <a:lnTo>
                    <a:pt x="163" y="109"/>
                  </a:lnTo>
                  <a:lnTo>
                    <a:pt x="161" y="109"/>
                  </a:lnTo>
                  <a:lnTo>
                    <a:pt x="162" y="107"/>
                  </a:lnTo>
                  <a:lnTo>
                    <a:pt x="163" y="105"/>
                  </a:lnTo>
                  <a:lnTo>
                    <a:pt x="164" y="104"/>
                  </a:lnTo>
                  <a:lnTo>
                    <a:pt x="164" y="103"/>
                  </a:lnTo>
                  <a:lnTo>
                    <a:pt x="162" y="101"/>
                  </a:lnTo>
                  <a:lnTo>
                    <a:pt x="163" y="100"/>
                  </a:lnTo>
                  <a:lnTo>
                    <a:pt x="164" y="99"/>
                  </a:lnTo>
                  <a:lnTo>
                    <a:pt x="165" y="99"/>
                  </a:lnTo>
                  <a:lnTo>
                    <a:pt x="167" y="98"/>
                  </a:lnTo>
                  <a:lnTo>
                    <a:pt x="168" y="95"/>
                  </a:lnTo>
                  <a:lnTo>
                    <a:pt x="169" y="95"/>
                  </a:lnTo>
                  <a:lnTo>
                    <a:pt x="169" y="93"/>
                  </a:lnTo>
                  <a:lnTo>
                    <a:pt x="170" y="92"/>
                  </a:lnTo>
                  <a:lnTo>
                    <a:pt x="170" y="89"/>
                  </a:lnTo>
                  <a:lnTo>
                    <a:pt x="169" y="89"/>
                  </a:lnTo>
                  <a:lnTo>
                    <a:pt x="168" y="88"/>
                  </a:lnTo>
                  <a:lnTo>
                    <a:pt x="168" y="87"/>
                  </a:lnTo>
                  <a:lnTo>
                    <a:pt x="168" y="86"/>
                  </a:lnTo>
                  <a:lnTo>
                    <a:pt x="169" y="85"/>
                  </a:lnTo>
                  <a:lnTo>
                    <a:pt x="167" y="85"/>
                  </a:lnTo>
                  <a:lnTo>
                    <a:pt x="165" y="86"/>
                  </a:lnTo>
                  <a:lnTo>
                    <a:pt x="164" y="85"/>
                  </a:lnTo>
                  <a:lnTo>
                    <a:pt x="167" y="83"/>
                  </a:lnTo>
                  <a:lnTo>
                    <a:pt x="167" y="82"/>
                  </a:lnTo>
                  <a:lnTo>
                    <a:pt x="167" y="81"/>
                  </a:lnTo>
                  <a:lnTo>
                    <a:pt x="165" y="79"/>
                  </a:lnTo>
                  <a:lnTo>
                    <a:pt x="164" y="79"/>
                  </a:lnTo>
                  <a:lnTo>
                    <a:pt x="164" y="76"/>
                  </a:lnTo>
                  <a:lnTo>
                    <a:pt x="165" y="76"/>
                  </a:lnTo>
                  <a:lnTo>
                    <a:pt x="165" y="75"/>
                  </a:lnTo>
                  <a:lnTo>
                    <a:pt x="165" y="74"/>
                  </a:lnTo>
                  <a:lnTo>
                    <a:pt x="167" y="73"/>
                  </a:lnTo>
                  <a:lnTo>
                    <a:pt x="168" y="70"/>
                  </a:lnTo>
                  <a:lnTo>
                    <a:pt x="169" y="69"/>
                  </a:lnTo>
                  <a:lnTo>
                    <a:pt x="167" y="74"/>
                  </a:lnTo>
                  <a:lnTo>
                    <a:pt x="168" y="75"/>
                  </a:lnTo>
                  <a:lnTo>
                    <a:pt x="169" y="74"/>
                  </a:lnTo>
                  <a:lnTo>
                    <a:pt x="170" y="74"/>
                  </a:lnTo>
                  <a:lnTo>
                    <a:pt x="169" y="76"/>
                  </a:lnTo>
                  <a:lnTo>
                    <a:pt x="170" y="76"/>
                  </a:lnTo>
                  <a:lnTo>
                    <a:pt x="173" y="76"/>
                  </a:lnTo>
                  <a:lnTo>
                    <a:pt x="173" y="77"/>
                  </a:lnTo>
                  <a:lnTo>
                    <a:pt x="175" y="77"/>
                  </a:lnTo>
                  <a:lnTo>
                    <a:pt x="174" y="80"/>
                  </a:lnTo>
                  <a:lnTo>
                    <a:pt x="176" y="80"/>
                  </a:lnTo>
                  <a:lnTo>
                    <a:pt x="177" y="81"/>
                  </a:lnTo>
                  <a:lnTo>
                    <a:pt x="179" y="82"/>
                  </a:lnTo>
                  <a:lnTo>
                    <a:pt x="181" y="82"/>
                  </a:lnTo>
                  <a:lnTo>
                    <a:pt x="179" y="83"/>
                  </a:lnTo>
                  <a:lnTo>
                    <a:pt x="180" y="85"/>
                  </a:lnTo>
                  <a:lnTo>
                    <a:pt x="181" y="85"/>
                  </a:lnTo>
                  <a:lnTo>
                    <a:pt x="182" y="85"/>
                  </a:lnTo>
                  <a:lnTo>
                    <a:pt x="182" y="83"/>
                  </a:lnTo>
                  <a:lnTo>
                    <a:pt x="185" y="82"/>
                  </a:lnTo>
                  <a:lnTo>
                    <a:pt x="186" y="82"/>
                  </a:lnTo>
                  <a:lnTo>
                    <a:pt x="187" y="81"/>
                  </a:lnTo>
                  <a:lnTo>
                    <a:pt x="189" y="81"/>
                  </a:lnTo>
                  <a:lnTo>
                    <a:pt x="191" y="80"/>
                  </a:lnTo>
                  <a:lnTo>
                    <a:pt x="192" y="80"/>
                  </a:lnTo>
                  <a:lnTo>
                    <a:pt x="193" y="81"/>
                  </a:lnTo>
                  <a:lnTo>
                    <a:pt x="197" y="81"/>
                  </a:lnTo>
                  <a:lnTo>
                    <a:pt x="198" y="82"/>
                  </a:lnTo>
                  <a:lnTo>
                    <a:pt x="196" y="83"/>
                  </a:lnTo>
                  <a:lnTo>
                    <a:pt x="194" y="83"/>
                  </a:lnTo>
                  <a:lnTo>
                    <a:pt x="193" y="83"/>
                  </a:lnTo>
                  <a:lnTo>
                    <a:pt x="192" y="85"/>
                  </a:lnTo>
                  <a:lnTo>
                    <a:pt x="193" y="86"/>
                  </a:lnTo>
                  <a:lnTo>
                    <a:pt x="193" y="88"/>
                  </a:lnTo>
                  <a:lnTo>
                    <a:pt x="193" y="89"/>
                  </a:lnTo>
                  <a:lnTo>
                    <a:pt x="196" y="89"/>
                  </a:lnTo>
                  <a:lnTo>
                    <a:pt x="197" y="87"/>
                  </a:lnTo>
                  <a:lnTo>
                    <a:pt x="198" y="85"/>
                  </a:lnTo>
                  <a:lnTo>
                    <a:pt x="199" y="83"/>
                  </a:lnTo>
                  <a:lnTo>
                    <a:pt x="200" y="82"/>
                  </a:lnTo>
                  <a:lnTo>
                    <a:pt x="200" y="81"/>
                  </a:lnTo>
                  <a:lnTo>
                    <a:pt x="198" y="80"/>
                  </a:lnTo>
                  <a:lnTo>
                    <a:pt x="194" y="79"/>
                  </a:lnTo>
                  <a:lnTo>
                    <a:pt x="193" y="79"/>
                  </a:lnTo>
                  <a:lnTo>
                    <a:pt x="193" y="77"/>
                  </a:lnTo>
                  <a:lnTo>
                    <a:pt x="192" y="76"/>
                  </a:lnTo>
                  <a:lnTo>
                    <a:pt x="191" y="76"/>
                  </a:lnTo>
                  <a:lnTo>
                    <a:pt x="191" y="77"/>
                  </a:lnTo>
                  <a:lnTo>
                    <a:pt x="191" y="79"/>
                  </a:lnTo>
                  <a:lnTo>
                    <a:pt x="189" y="79"/>
                  </a:lnTo>
                  <a:lnTo>
                    <a:pt x="188" y="80"/>
                  </a:lnTo>
                  <a:lnTo>
                    <a:pt x="187" y="80"/>
                  </a:lnTo>
                  <a:lnTo>
                    <a:pt x="187" y="77"/>
                  </a:lnTo>
                  <a:lnTo>
                    <a:pt x="188" y="76"/>
                  </a:lnTo>
                  <a:lnTo>
                    <a:pt x="188" y="75"/>
                  </a:lnTo>
                  <a:lnTo>
                    <a:pt x="187" y="76"/>
                  </a:lnTo>
                  <a:lnTo>
                    <a:pt x="186" y="77"/>
                  </a:lnTo>
                  <a:lnTo>
                    <a:pt x="185" y="79"/>
                  </a:lnTo>
                  <a:lnTo>
                    <a:pt x="183" y="77"/>
                  </a:lnTo>
                  <a:lnTo>
                    <a:pt x="183" y="76"/>
                  </a:lnTo>
                  <a:lnTo>
                    <a:pt x="185" y="75"/>
                  </a:lnTo>
                  <a:lnTo>
                    <a:pt x="182" y="76"/>
                  </a:lnTo>
                  <a:lnTo>
                    <a:pt x="182" y="75"/>
                  </a:lnTo>
                  <a:lnTo>
                    <a:pt x="182" y="74"/>
                  </a:lnTo>
                  <a:lnTo>
                    <a:pt x="183" y="73"/>
                  </a:lnTo>
                  <a:lnTo>
                    <a:pt x="182" y="71"/>
                  </a:lnTo>
                  <a:lnTo>
                    <a:pt x="181" y="71"/>
                  </a:lnTo>
                  <a:lnTo>
                    <a:pt x="180" y="71"/>
                  </a:lnTo>
                  <a:lnTo>
                    <a:pt x="181" y="70"/>
                  </a:lnTo>
                  <a:lnTo>
                    <a:pt x="179" y="70"/>
                  </a:lnTo>
                  <a:lnTo>
                    <a:pt x="180" y="69"/>
                  </a:lnTo>
                  <a:lnTo>
                    <a:pt x="181" y="68"/>
                  </a:lnTo>
                  <a:lnTo>
                    <a:pt x="179" y="65"/>
                  </a:lnTo>
                  <a:lnTo>
                    <a:pt x="181" y="65"/>
                  </a:lnTo>
                  <a:lnTo>
                    <a:pt x="182" y="65"/>
                  </a:lnTo>
                  <a:lnTo>
                    <a:pt x="183" y="64"/>
                  </a:lnTo>
                  <a:lnTo>
                    <a:pt x="185" y="65"/>
                  </a:lnTo>
                  <a:lnTo>
                    <a:pt x="186" y="64"/>
                  </a:lnTo>
                  <a:lnTo>
                    <a:pt x="187" y="64"/>
                  </a:lnTo>
                  <a:lnTo>
                    <a:pt x="187" y="65"/>
                  </a:lnTo>
                  <a:lnTo>
                    <a:pt x="188" y="65"/>
                  </a:lnTo>
                  <a:lnTo>
                    <a:pt x="188" y="67"/>
                  </a:lnTo>
                  <a:lnTo>
                    <a:pt x="191" y="67"/>
                  </a:lnTo>
                  <a:lnTo>
                    <a:pt x="192" y="68"/>
                  </a:lnTo>
                  <a:lnTo>
                    <a:pt x="192" y="69"/>
                  </a:lnTo>
                  <a:lnTo>
                    <a:pt x="193" y="69"/>
                  </a:lnTo>
                  <a:lnTo>
                    <a:pt x="194" y="70"/>
                  </a:lnTo>
                  <a:lnTo>
                    <a:pt x="196" y="71"/>
                  </a:lnTo>
                  <a:lnTo>
                    <a:pt x="197" y="71"/>
                  </a:lnTo>
                  <a:lnTo>
                    <a:pt x="197" y="70"/>
                  </a:lnTo>
                  <a:lnTo>
                    <a:pt x="198" y="69"/>
                  </a:lnTo>
                  <a:lnTo>
                    <a:pt x="198" y="68"/>
                  </a:lnTo>
                  <a:lnTo>
                    <a:pt x="196" y="69"/>
                  </a:lnTo>
                  <a:lnTo>
                    <a:pt x="197" y="68"/>
                  </a:lnTo>
                  <a:lnTo>
                    <a:pt x="197" y="67"/>
                  </a:lnTo>
                  <a:lnTo>
                    <a:pt x="196" y="65"/>
                  </a:lnTo>
                  <a:lnTo>
                    <a:pt x="196" y="64"/>
                  </a:lnTo>
                  <a:lnTo>
                    <a:pt x="197" y="65"/>
                  </a:lnTo>
                  <a:lnTo>
                    <a:pt x="198" y="64"/>
                  </a:lnTo>
                  <a:lnTo>
                    <a:pt x="199" y="63"/>
                  </a:lnTo>
                  <a:lnTo>
                    <a:pt x="200" y="62"/>
                  </a:lnTo>
                  <a:lnTo>
                    <a:pt x="200" y="61"/>
                  </a:lnTo>
                  <a:lnTo>
                    <a:pt x="199" y="62"/>
                  </a:lnTo>
                  <a:lnTo>
                    <a:pt x="198" y="63"/>
                  </a:lnTo>
                  <a:lnTo>
                    <a:pt x="198" y="62"/>
                  </a:lnTo>
                  <a:lnTo>
                    <a:pt x="198" y="58"/>
                  </a:lnTo>
                  <a:lnTo>
                    <a:pt x="199" y="58"/>
                  </a:lnTo>
                  <a:lnTo>
                    <a:pt x="200" y="59"/>
                  </a:lnTo>
                  <a:lnTo>
                    <a:pt x="202" y="59"/>
                  </a:lnTo>
                  <a:lnTo>
                    <a:pt x="199" y="57"/>
                  </a:lnTo>
                  <a:lnTo>
                    <a:pt x="199" y="56"/>
                  </a:lnTo>
                  <a:lnTo>
                    <a:pt x="199" y="55"/>
                  </a:lnTo>
                  <a:lnTo>
                    <a:pt x="200" y="56"/>
                  </a:lnTo>
                  <a:lnTo>
                    <a:pt x="202" y="56"/>
                  </a:lnTo>
                  <a:lnTo>
                    <a:pt x="203" y="55"/>
                  </a:lnTo>
                  <a:lnTo>
                    <a:pt x="204" y="57"/>
                  </a:lnTo>
                  <a:lnTo>
                    <a:pt x="205" y="56"/>
                  </a:lnTo>
                  <a:lnTo>
                    <a:pt x="205" y="57"/>
                  </a:lnTo>
                  <a:lnTo>
                    <a:pt x="205" y="55"/>
                  </a:lnTo>
                  <a:lnTo>
                    <a:pt x="208" y="55"/>
                  </a:lnTo>
                  <a:lnTo>
                    <a:pt x="209" y="56"/>
                  </a:lnTo>
                  <a:lnTo>
                    <a:pt x="209" y="53"/>
                  </a:lnTo>
                  <a:lnTo>
                    <a:pt x="209" y="52"/>
                  </a:lnTo>
                  <a:lnTo>
                    <a:pt x="210" y="51"/>
                  </a:lnTo>
                  <a:lnTo>
                    <a:pt x="211" y="51"/>
                  </a:lnTo>
                  <a:lnTo>
                    <a:pt x="210" y="50"/>
                  </a:lnTo>
                  <a:lnTo>
                    <a:pt x="209" y="47"/>
                  </a:lnTo>
                  <a:lnTo>
                    <a:pt x="210" y="47"/>
                  </a:lnTo>
                  <a:lnTo>
                    <a:pt x="211" y="50"/>
                  </a:lnTo>
                  <a:lnTo>
                    <a:pt x="212" y="51"/>
                  </a:lnTo>
                  <a:lnTo>
                    <a:pt x="214" y="52"/>
                  </a:lnTo>
                  <a:lnTo>
                    <a:pt x="214" y="50"/>
                  </a:lnTo>
                  <a:lnTo>
                    <a:pt x="214" y="47"/>
                  </a:lnTo>
                  <a:lnTo>
                    <a:pt x="214" y="45"/>
                  </a:lnTo>
                  <a:lnTo>
                    <a:pt x="215" y="45"/>
                  </a:lnTo>
                  <a:lnTo>
                    <a:pt x="217" y="46"/>
                  </a:lnTo>
                  <a:lnTo>
                    <a:pt x="218" y="46"/>
                  </a:lnTo>
                  <a:lnTo>
                    <a:pt x="217" y="47"/>
                  </a:lnTo>
                  <a:lnTo>
                    <a:pt x="216" y="50"/>
                  </a:lnTo>
                  <a:lnTo>
                    <a:pt x="215" y="51"/>
                  </a:lnTo>
                  <a:lnTo>
                    <a:pt x="215" y="52"/>
                  </a:lnTo>
                  <a:lnTo>
                    <a:pt x="216" y="53"/>
                  </a:lnTo>
                  <a:lnTo>
                    <a:pt x="217" y="53"/>
                  </a:lnTo>
                  <a:lnTo>
                    <a:pt x="217" y="55"/>
                  </a:lnTo>
                  <a:lnTo>
                    <a:pt x="217" y="56"/>
                  </a:lnTo>
                  <a:lnTo>
                    <a:pt x="220" y="56"/>
                  </a:lnTo>
                  <a:lnTo>
                    <a:pt x="221" y="56"/>
                  </a:lnTo>
                  <a:lnTo>
                    <a:pt x="220" y="57"/>
                  </a:lnTo>
                  <a:lnTo>
                    <a:pt x="218" y="57"/>
                  </a:lnTo>
                  <a:lnTo>
                    <a:pt x="220" y="58"/>
                  </a:lnTo>
                  <a:lnTo>
                    <a:pt x="220" y="59"/>
                  </a:lnTo>
                  <a:lnTo>
                    <a:pt x="222" y="61"/>
                  </a:lnTo>
                  <a:lnTo>
                    <a:pt x="221" y="62"/>
                  </a:lnTo>
                  <a:lnTo>
                    <a:pt x="222" y="62"/>
                  </a:lnTo>
                  <a:lnTo>
                    <a:pt x="221" y="63"/>
                  </a:lnTo>
                  <a:lnTo>
                    <a:pt x="220" y="64"/>
                  </a:lnTo>
                  <a:lnTo>
                    <a:pt x="220" y="65"/>
                  </a:lnTo>
                  <a:lnTo>
                    <a:pt x="221" y="65"/>
                  </a:lnTo>
                  <a:lnTo>
                    <a:pt x="222" y="68"/>
                  </a:lnTo>
                  <a:lnTo>
                    <a:pt x="223" y="68"/>
                  </a:lnTo>
                  <a:lnTo>
                    <a:pt x="224" y="68"/>
                  </a:lnTo>
                  <a:lnTo>
                    <a:pt x="223" y="70"/>
                  </a:lnTo>
                  <a:lnTo>
                    <a:pt x="222" y="71"/>
                  </a:lnTo>
                  <a:lnTo>
                    <a:pt x="223" y="71"/>
                  </a:lnTo>
                  <a:lnTo>
                    <a:pt x="226" y="71"/>
                  </a:lnTo>
                  <a:lnTo>
                    <a:pt x="224" y="74"/>
                  </a:lnTo>
                  <a:lnTo>
                    <a:pt x="224" y="75"/>
                  </a:lnTo>
                  <a:lnTo>
                    <a:pt x="226" y="76"/>
                  </a:lnTo>
                  <a:lnTo>
                    <a:pt x="226" y="79"/>
                  </a:lnTo>
                  <a:lnTo>
                    <a:pt x="227" y="79"/>
                  </a:lnTo>
                  <a:lnTo>
                    <a:pt x="227" y="80"/>
                  </a:lnTo>
                  <a:lnTo>
                    <a:pt x="228" y="80"/>
                  </a:lnTo>
                  <a:lnTo>
                    <a:pt x="229" y="79"/>
                  </a:lnTo>
                  <a:lnTo>
                    <a:pt x="232" y="77"/>
                  </a:lnTo>
                  <a:lnTo>
                    <a:pt x="234" y="76"/>
                  </a:lnTo>
                  <a:lnTo>
                    <a:pt x="235" y="75"/>
                  </a:lnTo>
                  <a:lnTo>
                    <a:pt x="235" y="74"/>
                  </a:lnTo>
                  <a:lnTo>
                    <a:pt x="236" y="71"/>
                  </a:lnTo>
                  <a:lnTo>
                    <a:pt x="238" y="70"/>
                  </a:lnTo>
                  <a:lnTo>
                    <a:pt x="238" y="67"/>
                  </a:lnTo>
                  <a:lnTo>
                    <a:pt x="236" y="68"/>
                  </a:lnTo>
                  <a:lnTo>
                    <a:pt x="235" y="69"/>
                  </a:lnTo>
                  <a:lnTo>
                    <a:pt x="234" y="70"/>
                  </a:lnTo>
                  <a:lnTo>
                    <a:pt x="234" y="69"/>
                  </a:lnTo>
                  <a:lnTo>
                    <a:pt x="233" y="69"/>
                  </a:lnTo>
                  <a:lnTo>
                    <a:pt x="233" y="68"/>
                  </a:lnTo>
                  <a:lnTo>
                    <a:pt x="234" y="68"/>
                  </a:lnTo>
                  <a:lnTo>
                    <a:pt x="235" y="67"/>
                  </a:lnTo>
                  <a:lnTo>
                    <a:pt x="236" y="65"/>
                  </a:lnTo>
                  <a:lnTo>
                    <a:pt x="235" y="65"/>
                  </a:lnTo>
                  <a:lnTo>
                    <a:pt x="234" y="64"/>
                  </a:lnTo>
                  <a:lnTo>
                    <a:pt x="233" y="65"/>
                  </a:lnTo>
                  <a:lnTo>
                    <a:pt x="233" y="64"/>
                  </a:lnTo>
                  <a:lnTo>
                    <a:pt x="233" y="63"/>
                  </a:lnTo>
                  <a:lnTo>
                    <a:pt x="230" y="63"/>
                  </a:lnTo>
                  <a:lnTo>
                    <a:pt x="229" y="64"/>
                  </a:lnTo>
                  <a:lnTo>
                    <a:pt x="229" y="65"/>
                  </a:lnTo>
                  <a:lnTo>
                    <a:pt x="229" y="64"/>
                  </a:lnTo>
                  <a:lnTo>
                    <a:pt x="229" y="63"/>
                  </a:lnTo>
                  <a:lnTo>
                    <a:pt x="229" y="62"/>
                  </a:lnTo>
                  <a:lnTo>
                    <a:pt x="229" y="61"/>
                  </a:lnTo>
                  <a:lnTo>
                    <a:pt x="228" y="58"/>
                  </a:lnTo>
                  <a:lnTo>
                    <a:pt x="226" y="59"/>
                  </a:lnTo>
                  <a:lnTo>
                    <a:pt x="224" y="59"/>
                  </a:lnTo>
                  <a:lnTo>
                    <a:pt x="226" y="58"/>
                  </a:lnTo>
                  <a:lnTo>
                    <a:pt x="226" y="57"/>
                  </a:lnTo>
                  <a:lnTo>
                    <a:pt x="226" y="56"/>
                  </a:lnTo>
                  <a:lnTo>
                    <a:pt x="223" y="55"/>
                  </a:lnTo>
                  <a:lnTo>
                    <a:pt x="223" y="53"/>
                  </a:lnTo>
                  <a:lnTo>
                    <a:pt x="224" y="53"/>
                  </a:lnTo>
                  <a:lnTo>
                    <a:pt x="226" y="53"/>
                  </a:lnTo>
                  <a:lnTo>
                    <a:pt x="226" y="55"/>
                  </a:lnTo>
                  <a:lnTo>
                    <a:pt x="227" y="56"/>
                  </a:lnTo>
                  <a:lnTo>
                    <a:pt x="228" y="55"/>
                  </a:lnTo>
                  <a:lnTo>
                    <a:pt x="228" y="57"/>
                  </a:lnTo>
                  <a:lnTo>
                    <a:pt x="229" y="57"/>
                  </a:lnTo>
                  <a:lnTo>
                    <a:pt x="229" y="58"/>
                  </a:lnTo>
                  <a:lnTo>
                    <a:pt x="230" y="59"/>
                  </a:lnTo>
                  <a:lnTo>
                    <a:pt x="232" y="61"/>
                  </a:lnTo>
                  <a:lnTo>
                    <a:pt x="233" y="59"/>
                  </a:lnTo>
                  <a:lnTo>
                    <a:pt x="234" y="59"/>
                  </a:lnTo>
                  <a:lnTo>
                    <a:pt x="235" y="58"/>
                  </a:lnTo>
                  <a:lnTo>
                    <a:pt x="235" y="57"/>
                  </a:lnTo>
                  <a:lnTo>
                    <a:pt x="233" y="57"/>
                  </a:lnTo>
                  <a:lnTo>
                    <a:pt x="234" y="56"/>
                  </a:lnTo>
                  <a:lnTo>
                    <a:pt x="233" y="55"/>
                  </a:lnTo>
                  <a:lnTo>
                    <a:pt x="234" y="55"/>
                  </a:lnTo>
                  <a:lnTo>
                    <a:pt x="234" y="53"/>
                  </a:lnTo>
                  <a:lnTo>
                    <a:pt x="234" y="52"/>
                  </a:lnTo>
                  <a:lnTo>
                    <a:pt x="233" y="51"/>
                  </a:lnTo>
                  <a:lnTo>
                    <a:pt x="232" y="51"/>
                  </a:lnTo>
                  <a:lnTo>
                    <a:pt x="233" y="50"/>
                  </a:lnTo>
                  <a:lnTo>
                    <a:pt x="232" y="49"/>
                  </a:lnTo>
                  <a:lnTo>
                    <a:pt x="230" y="47"/>
                  </a:lnTo>
                  <a:lnTo>
                    <a:pt x="228" y="47"/>
                  </a:lnTo>
                  <a:lnTo>
                    <a:pt x="228" y="46"/>
                  </a:lnTo>
                  <a:lnTo>
                    <a:pt x="230" y="45"/>
                  </a:lnTo>
                  <a:lnTo>
                    <a:pt x="229" y="44"/>
                  </a:lnTo>
                  <a:lnTo>
                    <a:pt x="227" y="41"/>
                  </a:lnTo>
                  <a:lnTo>
                    <a:pt x="226" y="41"/>
                  </a:lnTo>
                  <a:lnTo>
                    <a:pt x="228" y="41"/>
                  </a:lnTo>
                  <a:lnTo>
                    <a:pt x="230" y="39"/>
                  </a:lnTo>
                  <a:lnTo>
                    <a:pt x="230" y="38"/>
                  </a:lnTo>
                  <a:lnTo>
                    <a:pt x="232" y="38"/>
                  </a:lnTo>
                  <a:lnTo>
                    <a:pt x="232" y="40"/>
                  </a:lnTo>
                  <a:lnTo>
                    <a:pt x="232" y="43"/>
                  </a:lnTo>
                  <a:lnTo>
                    <a:pt x="233" y="41"/>
                  </a:lnTo>
                  <a:lnTo>
                    <a:pt x="232" y="44"/>
                  </a:lnTo>
                  <a:lnTo>
                    <a:pt x="233" y="45"/>
                  </a:lnTo>
                  <a:lnTo>
                    <a:pt x="235" y="45"/>
                  </a:lnTo>
                  <a:lnTo>
                    <a:pt x="235" y="46"/>
                  </a:lnTo>
                  <a:lnTo>
                    <a:pt x="235" y="47"/>
                  </a:lnTo>
                  <a:lnTo>
                    <a:pt x="236" y="47"/>
                  </a:lnTo>
                  <a:lnTo>
                    <a:pt x="236" y="49"/>
                  </a:lnTo>
                  <a:lnTo>
                    <a:pt x="238" y="49"/>
                  </a:lnTo>
                  <a:lnTo>
                    <a:pt x="238" y="51"/>
                  </a:lnTo>
                  <a:lnTo>
                    <a:pt x="239" y="50"/>
                  </a:lnTo>
                  <a:lnTo>
                    <a:pt x="240" y="50"/>
                  </a:lnTo>
                  <a:lnTo>
                    <a:pt x="240" y="52"/>
                  </a:lnTo>
                  <a:lnTo>
                    <a:pt x="241" y="52"/>
                  </a:lnTo>
                  <a:lnTo>
                    <a:pt x="241" y="53"/>
                  </a:lnTo>
                  <a:lnTo>
                    <a:pt x="242" y="55"/>
                  </a:lnTo>
                  <a:lnTo>
                    <a:pt x="241" y="58"/>
                  </a:lnTo>
                  <a:lnTo>
                    <a:pt x="242" y="56"/>
                  </a:lnTo>
                  <a:lnTo>
                    <a:pt x="244" y="56"/>
                  </a:lnTo>
                  <a:lnTo>
                    <a:pt x="246" y="57"/>
                  </a:lnTo>
                  <a:lnTo>
                    <a:pt x="247" y="56"/>
                  </a:lnTo>
                  <a:lnTo>
                    <a:pt x="250" y="55"/>
                  </a:lnTo>
                  <a:lnTo>
                    <a:pt x="250" y="56"/>
                  </a:lnTo>
                  <a:lnTo>
                    <a:pt x="250" y="58"/>
                  </a:lnTo>
                  <a:lnTo>
                    <a:pt x="252" y="58"/>
                  </a:lnTo>
                  <a:lnTo>
                    <a:pt x="252" y="59"/>
                  </a:lnTo>
                  <a:lnTo>
                    <a:pt x="251" y="61"/>
                  </a:lnTo>
                  <a:lnTo>
                    <a:pt x="252" y="62"/>
                  </a:lnTo>
                  <a:lnTo>
                    <a:pt x="251" y="62"/>
                  </a:lnTo>
                  <a:lnTo>
                    <a:pt x="251" y="63"/>
                  </a:lnTo>
                  <a:lnTo>
                    <a:pt x="250" y="63"/>
                  </a:lnTo>
                  <a:lnTo>
                    <a:pt x="250" y="64"/>
                  </a:lnTo>
                  <a:lnTo>
                    <a:pt x="251" y="64"/>
                  </a:lnTo>
                  <a:lnTo>
                    <a:pt x="252" y="67"/>
                  </a:lnTo>
                  <a:lnTo>
                    <a:pt x="251" y="68"/>
                  </a:lnTo>
                  <a:lnTo>
                    <a:pt x="253" y="69"/>
                  </a:lnTo>
                  <a:lnTo>
                    <a:pt x="256" y="69"/>
                  </a:lnTo>
                  <a:lnTo>
                    <a:pt x="255" y="68"/>
                  </a:lnTo>
                  <a:lnTo>
                    <a:pt x="256" y="68"/>
                  </a:lnTo>
                  <a:lnTo>
                    <a:pt x="257" y="67"/>
                  </a:lnTo>
                  <a:lnTo>
                    <a:pt x="258" y="68"/>
                  </a:lnTo>
                  <a:lnTo>
                    <a:pt x="259" y="68"/>
                  </a:lnTo>
                  <a:lnTo>
                    <a:pt x="262" y="67"/>
                  </a:lnTo>
                  <a:lnTo>
                    <a:pt x="262" y="69"/>
                  </a:lnTo>
                  <a:lnTo>
                    <a:pt x="263" y="69"/>
                  </a:lnTo>
                  <a:lnTo>
                    <a:pt x="261" y="70"/>
                  </a:lnTo>
                  <a:lnTo>
                    <a:pt x="261" y="71"/>
                  </a:lnTo>
                  <a:lnTo>
                    <a:pt x="263" y="70"/>
                  </a:lnTo>
                  <a:lnTo>
                    <a:pt x="265" y="70"/>
                  </a:lnTo>
                  <a:lnTo>
                    <a:pt x="265" y="71"/>
                  </a:lnTo>
                  <a:lnTo>
                    <a:pt x="268" y="73"/>
                  </a:lnTo>
                  <a:lnTo>
                    <a:pt x="268" y="74"/>
                  </a:lnTo>
                  <a:lnTo>
                    <a:pt x="269" y="75"/>
                  </a:lnTo>
                  <a:lnTo>
                    <a:pt x="269" y="76"/>
                  </a:lnTo>
                  <a:lnTo>
                    <a:pt x="268" y="76"/>
                  </a:lnTo>
                  <a:lnTo>
                    <a:pt x="267" y="75"/>
                  </a:lnTo>
                  <a:lnTo>
                    <a:pt x="268" y="76"/>
                  </a:lnTo>
                  <a:lnTo>
                    <a:pt x="268" y="77"/>
                  </a:lnTo>
                  <a:lnTo>
                    <a:pt x="265" y="76"/>
                  </a:lnTo>
                  <a:lnTo>
                    <a:pt x="267" y="79"/>
                  </a:lnTo>
                  <a:lnTo>
                    <a:pt x="265" y="77"/>
                  </a:lnTo>
                  <a:lnTo>
                    <a:pt x="264" y="77"/>
                  </a:lnTo>
                  <a:lnTo>
                    <a:pt x="262" y="79"/>
                  </a:lnTo>
                  <a:lnTo>
                    <a:pt x="262" y="80"/>
                  </a:lnTo>
                  <a:lnTo>
                    <a:pt x="262" y="81"/>
                  </a:lnTo>
                  <a:lnTo>
                    <a:pt x="264" y="81"/>
                  </a:lnTo>
                  <a:lnTo>
                    <a:pt x="265" y="83"/>
                  </a:lnTo>
                  <a:lnTo>
                    <a:pt x="268" y="83"/>
                  </a:lnTo>
                  <a:lnTo>
                    <a:pt x="269" y="86"/>
                  </a:lnTo>
                  <a:lnTo>
                    <a:pt x="268" y="88"/>
                  </a:lnTo>
                  <a:lnTo>
                    <a:pt x="268" y="91"/>
                  </a:lnTo>
                  <a:lnTo>
                    <a:pt x="270" y="89"/>
                  </a:lnTo>
                  <a:lnTo>
                    <a:pt x="271" y="89"/>
                  </a:lnTo>
                  <a:lnTo>
                    <a:pt x="274" y="88"/>
                  </a:lnTo>
                  <a:lnTo>
                    <a:pt x="275" y="88"/>
                  </a:lnTo>
                  <a:lnTo>
                    <a:pt x="275" y="87"/>
                  </a:lnTo>
                  <a:lnTo>
                    <a:pt x="276" y="85"/>
                  </a:lnTo>
                  <a:lnTo>
                    <a:pt x="274" y="86"/>
                  </a:lnTo>
                  <a:lnTo>
                    <a:pt x="275" y="83"/>
                  </a:lnTo>
                  <a:lnTo>
                    <a:pt x="275" y="82"/>
                  </a:lnTo>
                  <a:lnTo>
                    <a:pt x="277" y="82"/>
                  </a:lnTo>
                  <a:lnTo>
                    <a:pt x="279" y="82"/>
                  </a:lnTo>
                  <a:lnTo>
                    <a:pt x="277" y="81"/>
                  </a:lnTo>
                  <a:lnTo>
                    <a:pt x="276" y="80"/>
                  </a:lnTo>
                  <a:lnTo>
                    <a:pt x="277" y="79"/>
                  </a:lnTo>
                  <a:lnTo>
                    <a:pt x="279" y="77"/>
                  </a:lnTo>
                  <a:lnTo>
                    <a:pt x="280" y="77"/>
                  </a:lnTo>
                  <a:lnTo>
                    <a:pt x="283" y="76"/>
                  </a:lnTo>
                  <a:lnTo>
                    <a:pt x="283" y="75"/>
                  </a:lnTo>
                  <a:lnTo>
                    <a:pt x="285" y="74"/>
                  </a:lnTo>
                  <a:lnTo>
                    <a:pt x="288" y="71"/>
                  </a:lnTo>
                  <a:lnTo>
                    <a:pt x="287" y="70"/>
                  </a:lnTo>
                  <a:lnTo>
                    <a:pt x="286" y="70"/>
                  </a:lnTo>
                  <a:lnTo>
                    <a:pt x="285" y="71"/>
                  </a:lnTo>
                  <a:lnTo>
                    <a:pt x="283" y="71"/>
                  </a:lnTo>
                  <a:lnTo>
                    <a:pt x="282" y="73"/>
                  </a:lnTo>
                  <a:lnTo>
                    <a:pt x="281" y="73"/>
                  </a:lnTo>
                  <a:lnTo>
                    <a:pt x="280" y="71"/>
                  </a:lnTo>
                  <a:lnTo>
                    <a:pt x="279" y="71"/>
                  </a:lnTo>
                  <a:lnTo>
                    <a:pt x="279" y="74"/>
                  </a:lnTo>
                  <a:lnTo>
                    <a:pt x="277" y="75"/>
                  </a:lnTo>
                  <a:lnTo>
                    <a:pt x="277" y="74"/>
                  </a:lnTo>
                  <a:lnTo>
                    <a:pt x="275" y="73"/>
                  </a:lnTo>
                  <a:lnTo>
                    <a:pt x="275" y="70"/>
                  </a:lnTo>
                  <a:lnTo>
                    <a:pt x="276" y="70"/>
                  </a:lnTo>
                  <a:lnTo>
                    <a:pt x="276" y="69"/>
                  </a:lnTo>
                  <a:lnTo>
                    <a:pt x="276" y="68"/>
                  </a:lnTo>
                  <a:lnTo>
                    <a:pt x="277" y="68"/>
                  </a:lnTo>
                  <a:lnTo>
                    <a:pt x="277" y="65"/>
                  </a:lnTo>
                  <a:lnTo>
                    <a:pt x="279" y="64"/>
                  </a:lnTo>
                  <a:lnTo>
                    <a:pt x="279" y="63"/>
                  </a:lnTo>
                  <a:lnTo>
                    <a:pt x="277" y="62"/>
                  </a:lnTo>
                  <a:lnTo>
                    <a:pt x="276" y="61"/>
                  </a:lnTo>
                  <a:lnTo>
                    <a:pt x="277" y="59"/>
                  </a:lnTo>
                  <a:lnTo>
                    <a:pt x="275" y="58"/>
                  </a:lnTo>
                  <a:lnTo>
                    <a:pt x="275" y="57"/>
                  </a:lnTo>
                  <a:lnTo>
                    <a:pt x="277" y="57"/>
                  </a:lnTo>
                  <a:lnTo>
                    <a:pt x="281" y="57"/>
                  </a:lnTo>
                  <a:lnTo>
                    <a:pt x="281" y="58"/>
                  </a:lnTo>
                  <a:lnTo>
                    <a:pt x="282" y="59"/>
                  </a:lnTo>
                  <a:lnTo>
                    <a:pt x="283" y="58"/>
                  </a:lnTo>
                  <a:lnTo>
                    <a:pt x="283" y="59"/>
                  </a:lnTo>
                  <a:lnTo>
                    <a:pt x="283" y="61"/>
                  </a:lnTo>
                  <a:lnTo>
                    <a:pt x="286" y="59"/>
                  </a:lnTo>
                  <a:lnTo>
                    <a:pt x="289" y="61"/>
                  </a:lnTo>
                  <a:lnTo>
                    <a:pt x="291" y="59"/>
                  </a:lnTo>
                  <a:lnTo>
                    <a:pt x="292" y="58"/>
                  </a:lnTo>
                  <a:lnTo>
                    <a:pt x="292" y="61"/>
                  </a:lnTo>
                  <a:lnTo>
                    <a:pt x="293" y="61"/>
                  </a:lnTo>
                  <a:lnTo>
                    <a:pt x="294" y="62"/>
                  </a:lnTo>
                  <a:lnTo>
                    <a:pt x="297" y="62"/>
                  </a:lnTo>
                  <a:lnTo>
                    <a:pt x="298" y="62"/>
                  </a:lnTo>
                  <a:lnTo>
                    <a:pt x="298" y="61"/>
                  </a:lnTo>
                  <a:lnTo>
                    <a:pt x="298" y="58"/>
                  </a:lnTo>
                  <a:lnTo>
                    <a:pt x="299" y="58"/>
                  </a:lnTo>
                  <a:lnTo>
                    <a:pt x="297" y="56"/>
                  </a:lnTo>
                  <a:lnTo>
                    <a:pt x="295" y="56"/>
                  </a:lnTo>
                  <a:lnTo>
                    <a:pt x="294" y="57"/>
                  </a:lnTo>
                  <a:lnTo>
                    <a:pt x="293" y="57"/>
                  </a:lnTo>
                  <a:lnTo>
                    <a:pt x="292" y="56"/>
                  </a:lnTo>
                  <a:lnTo>
                    <a:pt x="292" y="55"/>
                  </a:lnTo>
                  <a:lnTo>
                    <a:pt x="289" y="53"/>
                  </a:lnTo>
                  <a:lnTo>
                    <a:pt x="288" y="51"/>
                  </a:lnTo>
                  <a:lnTo>
                    <a:pt x="289" y="52"/>
                  </a:lnTo>
                  <a:lnTo>
                    <a:pt x="291" y="52"/>
                  </a:lnTo>
                  <a:lnTo>
                    <a:pt x="289" y="51"/>
                  </a:lnTo>
                  <a:lnTo>
                    <a:pt x="289" y="50"/>
                  </a:lnTo>
                  <a:lnTo>
                    <a:pt x="292" y="51"/>
                  </a:lnTo>
                  <a:lnTo>
                    <a:pt x="292" y="50"/>
                  </a:lnTo>
                  <a:lnTo>
                    <a:pt x="293" y="51"/>
                  </a:lnTo>
                  <a:lnTo>
                    <a:pt x="293" y="50"/>
                  </a:lnTo>
                  <a:lnTo>
                    <a:pt x="292" y="49"/>
                  </a:lnTo>
                  <a:lnTo>
                    <a:pt x="292" y="47"/>
                  </a:lnTo>
                  <a:lnTo>
                    <a:pt x="294" y="49"/>
                  </a:lnTo>
                  <a:lnTo>
                    <a:pt x="294" y="47"/>
                  </a:lnTo>
                  <a:lnTo>
                    <a:pt x="295" y="44"/>
                  </a:lnTo>
                  <a:lnTo>
                    <a:pt x="294" y="44"/>
                  </a:lnTo>
                  <a:lnTo>
                    <a:pt x="293" y="41"/>
                  </a:lnTo>
                  <a:lnTo>
                    <a:pt x="294" y="41"/>
                  </a:lnTo>
                  <a:lnTo>
                    <a:pt x="295" y="40"/>
                  </a:lnTo>
                  <a:lnTo>
                    <a:pt x="297" y="38"/>
                  </a:lnTo>
                  <a:lnTo>
                    <a:pt x="298" y="38"/>
                  </a:lnTo>
                  <a:lnTo>
                    <a:pt x="297" y="34"/>
                  </a:lnTo>
                  <a:lnTo>
                    <a:pt x="295" y="33"/>
                  </a:lnTo>
                  <a:lnTo>
                    <a:pt x="297" y="32"/>
                  </a:lnTo>
                  <a:lnTo>
                    <a:pt x="297" y="30"/>
                  </a:lnTo>
                  <a:lnTo>
                    <a:pt x="297" y="29"/>
                  </a:lnTo>
                  <a:lnTo>
                    <a:pt x="297" y="30"/>
                  </a:lnTo>
                  <a:lnTo>
                    <a:pt x="298" y="30"/>
                  </a:lnTo>
                  <a:lnTo>
                    <a:pt x="300" y="30"/>
                  </a:lnTo>
                  <a:lnTo>
                    <a:pt x="299" y="32"/>
                  </a:lnTo>
                  <a:lnTo>
                    <a:pt x="300" y="32"/>
                  </a:lnTo>
                  <a:lnTo>
                    <a:pt x="299" y="34"/>
                  </a:lnTo>
                  <a:lnTo>
                    <a:pt x="299" y="35"/>
                  </a:lnTo>
                  <a:lnTo>
                    <a:pt x="299" y="36"/>
                  </a:lnTo>
                  <a:lnTo>
                    <a:pt x="299" y="35"/>
                  </a:lnTo>
                  <a:lnTo>
                    <a:pt x="299" y="38"/>
                  </a:lnTo>
                  <a:lnTo>
                    <a:pt x="300" y="38"/>
                  </a:lnTo>
                  <a:lnTo>
                    <a:pt x="303" y="38"/>
                  </a:lnTo>
                  <a:lnTo>
                    <a:pt x="301" y="39"/>
                  </a:lnTo>
                  <a:lnTo>
                    <a:pt x="303" y="38"/>
                  </a:lnTo>
                  <a:lnTo>
                    <a:pt x="303" y="39"/>
                  </a:lnTo>
                  <a:lnTo>
                    <a:pt x="301" y="41"/>
                  </a:lnTo>
                  <a:lnTo>
                    <a:pt x="303" y="40"/>
                  </a:lnTo>
                  <a:lnTo>
                    <a:pt x="304" y="41"/>
                  </a:lnTo>
                  <a:lnTo>
                    <a:pt x="304" y="43"/>
                  </a:lnTo>
                  <a:lnTo>
                    <a:pt x="305" y="43"/>
                  </a:lnTo>
                  <a:lnTo>
                    <a:pt x="306" y="41"/>
                  </a:lnTo>
                  <a:lnTo>
                    <a:pt x="306" y="38"/>
                  </a:lnTo>
                  <a:lnTo>
                    <a:pt x="307" y="40"/>
                  </a:lnTo>
                  <a:lnTo>
                    <a:pt x="310" y="41"/>
                  </a:lnTo>
                  <a:lnTo>
                    <a:pt x="310" y="44"/>
                  </a:lnTo>
                  <a:lnTo>
                    <a:pt x="311" y="43"/>
                  </a:lnTo>
                  <a:lnTo>
                    <a:pt x="314" y="43"/>
                  </a:lnTo>
                  <a:lnTo>
                    <a:pt x="315" y="43"/>
                  </a:lnTo>
                  <a:lnTo>
                    <a:pt x="315" y="40"/>
                  </a:lnTo>
                  <a:lnTo>
                    <a:pt x="314" y="36"/>
                  </a:lnTo>
                  <a:lnTo>
                    <a:pt x="312" y="36"/>
                  </a:lnTo>
                  <a:lnTo>
                    <a:pt x="312" y="35"/>
                  </a:lnTo>
                  <a:lnTo>
                    <a:pt x="314" y="34"/>
                  </a:lnTo>
                  <a:lnTo>
                    <a:pt x="312" y="33"/>
                  </a:lnTo>
                  <a:lnTo>
                    <a:pt x="310" y="33"/>
                  </a:lnTo>
                  <a:lnTo>
                    <a:pt x="309" y="32"/>
                  </a:lnTo>
                  <a:lnTo>
                    <a:pt x="307" y="30"/>
                  </a:lnTo>
                  <a:lnTo>
                    <a:pt x="309" y="30"/>
                  </a:lnTo>
                  <a:lnTo>
                    <a:pt x="311" y="29"/>
                  </a:lnTo>
                  <a:lnTo>
                    <a:pt x="310" y="28"/>
                  </a:lnTo>
                  <a:lnTo>
                    <a:pt x="312" y="28"/>
                  </a:lnTo>
                  <a:lnTo>
                    <a:pt x="314" y="27"/>
                  </a:lnTo>
                  <a:lnTo>
                    <a:pt x="315" y="24"/>
                  </a:lnTo>
                  <a:lnTo>
                    <a:pt x="315" y="23"/>
                  </a:lnTo>
                  <a:lnTo>
                    <a:pt x="314" y="22"/>
                  </a:lnTo>
                  <a:lnTo>
                    <a:pt x="314" y="21"/>
                  </a:lnTo>
                  <a:lnTo>
                    <a:pt x="314" y="20"/>
                  </a:lnTo>
                  <a:lnTo>
                    <a:pt x="314" y="18"/>
                  </a:lnTo>
                  <a:lnTo>
                    <a:pt x="312" y="16"/>
                  </a:lnTo>
                  <a:lnTo>
                    <a:pt x="312" y="15"/>
                  </a:lnTo>
                  <a:lnTo>
                    <a:pt x="314" y="14"/>
                  </a:lnTo>
                  <a:lnTo>
                    <a:pt x="315" y="16"/>
                  </a:lnTo>
                  <a:lnTo>
                    <a:pt x="316" y="16"/>
                  </a:lnTo>
                  <a:lnTo>
                    <a:pt x="317" y="16"/>
                  </a:lnTo>
                  <a:lnTo>
                    <a:pt x="320" y="17"/>
                  </a:lnTo>
                  <a:lnTo>
                    <a:pt x="321" y="18"/>
                  </a:lnTo>
                  <a:lnTo>
                    <a:pt x="323" y="20"/>
                  </a:lnTo>
                  <a:lnTo>
                    <a:pt x="326" y="21"/>
                  </a:lnTo>
                  <a:lnTo>
                    <a:pt x="329" y="20"/>
                  </a:lnTo>
                  <a:lnTo>
                    <a:pt x="329" y="17"/>
                  </a:lnTo>
                  <a:lnTo>
                    <a:pt x="328" y="15"/>
                  </a:lnTo>
                  <a:lnTo>
                    <a:pt x="328" y="14"/>
                  </a:lnTo>
                  <a:lnTo>
                    <a:pt x="328" y="11"/>
                  </a:lnTo>
                  <a:lnTo>
                    <a:pt x="328" y="10"/>
                  </a:lnTo>
                  <a:lnTo>
                    <a:pt x="327" y="10"/>
                  </a:lnTo>
                  <a:lnTo>
                    <a:pt x="323" y="12"/>
                  </a:lnTo>
                  <a:lnTo>
                    <a:pt x="323" y="11"/>
                  </a:lnTo>
                  <a:lnTo>
                    <a:pt x="326" y="10"/>
                  </a:lnTo>
                  <a:lnTo>
                    <a:pt x="326" y="9"/>
                  </a:lnTo>
                  <a:lnTo>
                    <a:pt x="326" y="6"/>
                  </a:lnTo>
                  <a:lnTo>
                    <a:pt x="327" y="6"/>
                  </a:lnTo>
                  <a:lnTo>
                    <a:pt x="327" y="5"/>
                  </a:lnTo>
                  <a:lnTo>
                    <a:pt x="328" y="6"/>
                  </a:lnTo>
                  <a:lnTo>
                    <a:pt x="329" y="6"/>
                  </a:lnTo>
                  <a:lnTo>
                    <a:pt x="330" y="5"/>
                  </a:lnTo>
                  <a:lnTo>
                    <a:pt x="332" y="5"/>
                  </a:lnTo>
                  <a:lnTo>
                    <a:pt x="334" y="4"/>
                  </a:lnTo>
                  <a:lnTo>
                    <a:pt x="333" y="2"/>
                  </a:lnTo>
                  <a:lnTo>
                    <a:pt x="334" y="3"/>
                  </a:lnTo>
                  <a:lnTo>
                    <a:pt x="335" y="4"/>
                  </a:lnTo>
                  <a:lnTo>
                    <a:pt x="336" y="4"/>
                  </a:lnTo>
                  <a:lnTo>
                    <a:pt x="338" y="4"/>
                  </a:lnTo>
                  <a:lnTo>
                    <a:pt x="338" y="5"/>
                  </a:lnTo>
                  <a:lnTo>
                    <a:pt x="336" y="5"/>
                  </a:lnTo>
                  <a:lnTo>
                    <a:pt x="338" y="6"/>
                  </a:lnTo>
                  <a:lnTo>
                    <a:pt x="339" y="6"/>
                  </a:lnTo>
                  <a:lnTo>
                    <a:pt x="340" y="6"/>
                  </a:lnTo>
                  <a:lnTo>
                    <a:pt x="341" y="4"/>
                  </a:lnTo>
                  <a:lnTo>
                    <a:pt x="342" y="5"/>
                  </a:lnTo>
                  <a:lnTo>
                    <a:pt x="344" y="5"/>
                  </a:lnTo>
                  <a:lnTo>
                    <a:pt x="344" y="4"/>
                  </a:lnTo>
                  <a:lnTo>
                    <a:pt x="346" y="4"/>
                  </a:lnTo>
                  <a:lnTo>
                    <a:pt x="346" y="3"/>
                  </a:lnTo>
                  <a:lnTo>
                    <a:pt x="347" y="3"/>
                  </a:lnTo>
                  <a:lnTo>
                    <a:pt x="348" y="2"/>
                  </a:lnTo>
                  <a:lnTo>
                    <a:pt x="348" y="0"/>
                  </a:lnTo>
                  <a:lnTo>
                    <a:pt x="350" y="2"/>
                  </a:lnTo>
                  <a:lnTo>
                    <a:pt x="351" y="2"/>
                  </a:lnTo>
                  <a:lnTo>
                    <a:pt x="351" y="3"/>
                  </a:lnTo>
                  <a:lnTo>
                    <a:pt x="352" y="3"/>
                  </a:lnTo>
                  <a:lnTo>
                    <a:pt x="353" y="5"/>
                  </a:lnTo>
                  <a:lnTo>
                    <a:pt x="350" y="5"/>
                  </a:lnTo>
                  <a:lnTo>
                    <a:pt x="350" y="6"/>
                  </a:lnTo>
                  <a:lnTo>
                    <a:pt x="351" y="8"/>
                  </a:lnTo>
                  <a:lnTo>
                    <a:pt x="350" y="9"/>
                  </a:lnTo>
                  <a:lnTo>
                    <a:pt x="347" y="8"/>
                  </a:lnTo>
                  <a:lnTo>
                    <a:pt x="347" y="9"/>
                  </a:lnTo>
                  <a:lnTo>
                    <a:pt x="347" y="10"/>
                  </a:lnTo>
                  <a:lnTo>
                    <a:pt x="347" y="11"/>
                  </a:lnTo>
                  <a:lnTo>
                    <a:pt x="348" y="11"/>
                  </a:lnTo>
                  <a:lnTo>
                    <a:pt x="350" y="10"/>
                  </a:lnTo>
                  <a:lnTo>
                    <a:pt x="350" y="12"/>
                  </a:lnTo>
                  <a:lnTo>
                    <a:pt x="351" y="12"/>
                  </a:lnTo>
                  <a:lnTo>
                    <a:pt x="351" y="14"/>
                  </a:lnTo>
                  <a:lnTo>
                    <a:pt x="351" y="11"/>
                  </a:lnTo>
                  <a:lnTo>
                    <a:pt x="352" y="11"/>
                  </a:lnTo>
                  <a:lnTo>
                    <a:pt x="354" y="12"/>
                  </a:lnTo>
                  <a:lnTo>
                    <a:pt x="356" y="12"/>
                  </a:lnTo>
                  <a:lnTo>
                    <a:pt x="356" y="14"/>
                  </a:lnTo>
                  <a:lnTo>
                    <a:pt x="354" y="14"/>
                  </a:lnTo>
                  <a:lnTo>
                    <a:pt x="353" y="15"/>
                  </a:lnTo>
                  <a:lnTo>
                    <a:pt x="354" y="16"/>
                  </a:lnTo>
                  <a:lnTo>
                    <a:pt x="356" y="17"/>
                  </a:lnTo>
                  <a:lnTo>
                    <a:pt x="353" y="17"/>
                  </a:lnTo>
                  <a:lnTo>
                    <a:pt x="352" y="17"/>
                  </a:lnTo>
                  <a:lnTo>
                    <a:pt x="352" y="20"/>
                  </a:lnTo>
                  <a:lnTo>
                    <a:pt x="352" y="21"/>
                  </a:lnTo>
                  <a:lnTo>
                    <a:pt x="352" y="23"/>
                  </a:lnTo>
                  <a:lnTo>
                    <a:pt x="353" y="24"/>
                  </a:lnTo>
                  <a:lnTo>
                    <a:pt x="354" y="26"/>
                  </a:lnTo>
                  <a:lnTo>
                    <a:pt x="352" y="24"/>
                  </a:lnTo>
                  <a:lnTo>
                    <a:pt x="352" y="26"/>
                  </a:lnTo>
                  <a:lnTo>
                    <a:pt x="352" y="27"/>
                  </a:lnTo>
                  <a:lnTo>
                    <a:pt x="352" y="28"/>
                  </a:lnTo>
                  <a:lnTo>
                    <a:pt x="353" y="29"/>
                  </a:lnTo>
                  <a:lnTo>
                    <a:pt x="354" y="28"/>
                  </a:lnTo>
                  <a:lnTo>
                    <a:pt x="357" y="29"/>
                  </a:lnTo>
                  <a:lnTo>
                    <a:pt x="358" y="28"/>
                  </a:lnTo>
                  <a:lnTo>
                    <a:pt x="357" y="26"/>
                  </a:lnTo>
                  <a:lnTo>
                    <a:pt x="357" y="23"/>
                  </a:lnTo>
                  <a:lnTo>
                    <a:pt x="358" y="26"/>
                  </a:lnTo>
                  <a:lnTo>
                    <a:pt x="359" y="27"/>
                  </a:lnTo>
                  <a:lnTo>
                    <a:pt x="360" y="27"/>
                  </a:lnTo>
                  <a:lnTo>
                    <a:pt x="360" y="24"/>
                  </a:lnTo>
                  <a:lnTo>
                    <a:pt x="362" y="26"/>
                  </a:lnTo>
                  <a:lnTo>
                    <a:pt x="363" y="27"/>
                  </a:lnTo>
                  <a:lnTo>
                    <a:pt x="362" y="27"/>
                  </a:lnTo>
                  <a:lnTo>
                    <a:pt x="360" y="29"/>
                  </a:lnTo>
                  <a:lnTo>
                    <a:pt x="362" y="29"/>
                  </a:lnTo>
                  <a:lnTo>
                    <a:pt x="362" y="30"/>
                  </a:lnTo>
                  <a:lnTo>
                    <a:pt x="363" y="30"/>
                  </a:lnTo>
                  <a:lnTo>
                    <a:pt x="364" y="30"/>
                  </a:lnTo>
                  <a:lnTo>
                    <a:pt x="364" y="29"/>
                  </a:lnTo>
                  <a:lnTo>
                    <a:pt x="364" y="28"/>
                  </a:lnTo>
                  <a:lnTo>
                    <a:pt x="366" y="29"/>
                  </a:lnTo>
                  <a:lnTo>
                    <a:pt x="368" y="30"/>
                  </a:lnTo>
                  <a:lnTo>
                    <a:pt x="366" y="32"/>
                  </a:lnTo>
                  <a:lnTo>
                    <a:pt x="365" y="32"/>
                  </a:lnTo>
                  <a:lnTo>
                    <a:pt x="365" y="33"/>
                  </a:lnTo>
                  <a:lnTo>
                    <a:pt x="366" y="34"/>
                  </a:lnTo>
                  <a:lnTo>
                    <a:pt x="368" y="35"/>
                  </a:lnTo>
                  <a:lnTo>
                    <a:pt x="366" y="35"/>
                  </a:lnTo>
                  <a:lnTo>
                    <a:pt x="366" y="36"/>
                  </a:lnTo>
                  <a:lnTo>
                    <a:pt x="366" y="38"/>
                  </a:lnTo>
                  <a:lnTo>
                    <a:pt x="366" y="39"/>
                  </a:lnTo>
                  <a:lnTo>
                    <a:pt x="368" y="40"/>
                  </a:lnTo>
                  <a:lnTo>
                    <a:pt x="370" y="39"/>
                  </a:lnTo>
                  <a:lnTo>
                    <a:pt x="371" y="40"/>
                  </a:lnTo>
                  <a:lnTo>
                    <a:pt x="372" y="40"/>
                  </a:lnTo>
                  <a:lnTo>
                    <a:pt x="374" y="40"/>
                  </a:lnTo>
                  <a:lnTo>
                    <a:pt x="376" y="38"/>
                  </a:lnTo>
                  <a:lnTo>
                    <a:pt x="376" y="36"/>
                  </a:lnTo>
                  <a:lnTo>
                    <a:pt x="376" y="39"/>
                  </a:lnTo>
                  <a:lnTo>
                    <a:pt x="377" y="39"/>
                  </a:lnTo>
                  <a:lnTo>
                    <a:pt x="379" y="39"/>
                  </a:lnTo>
                  <a:lnTo>
                    <a:pt x="380" y="35"/>
                  </a:lnTo>
                  <a:lnTo>
                    <a:pt x="380" y="36"/>
                  </a:lnTo>
                  <a:lnTo>
                    <a:pt x="380" y="38"/>
                  </a:lnTo>
                  <a:lnTo>
                    <a:pt x="380" y="39"/>
                  </a:lnTo>
                  <a:lnTo>
                    <a:pt x="381" y="39"/>
                  </a:lnTo>
                  <a:lnTo>
                    <a:pt x="380" y="40"/>
                  </a:lnTo>
                  <a:lnTo>
                    <a:pt x="380" y="43"/>
                  </a:lnTo>
                  <a:lnTo>
                    <a:pt x="380" y="44"/>
                  </a:lnTo>
                  <a:lnTo>
                    <a:pt x="381" y="45"/>
                  </a:lnTo>
                  <a:lnTo>
                    <a:pt x="380" y="46"/>
                  </a:lnTo>
                  <a:lnTo>
                    <a:pt x="380" y="47"/>
                  </a:lnTo>
                  <a:lnTo>
                    <a:pt x="382" y="49"/>
                  </a:lnTo>
                  <a:lnTo>
                    <a:pt x="383" y="51"/>
                  </a:lnTo>
                  <a:lnTo>
                    <a:pt x="385" y="50"/>
                  </a:lnTo>
                  <a:lnTo>
                    <a:pt x="383" y="49"/>
                  </a:lnTo>
                  <a:lnTo>
                    <a:pt x="383" y="47"/>
                  </a:lnTo>
                  <a:lnTo>
                    <a:pt x="385" y="47"/>
                  </a:lnTo>
                  <a:lnTo>
                    <a:pt x="386" y="46"/>
                  </a:lnTo>
                  <a:lnTo>
                    <a:pt x="387" y="45"/>
                  </a:lnTo>
                  <a:lnTo>
                    <a:pt x="386" y="44"/>
                  </a:lnTo>
                  <a:lnTo>
                    <a:pt x="385" y="43"/>
                  </a:lnTo>
                  <a:lnTo>
                    <a:pt x="386" y="43"/>
                  </a:lnTo>
                  <a:lnTo>
                    <a:pt x="387" y="41"/>
                  </a:lnTo>
                  <a:lnTo>
                    <a:pt x="388" y="41"/>
                  </a:lnTo>
                  <a:lnTo>
                    <a:pt x="389" y="40"/>
                  </a:lnTo>
                  <a:lnTo>
                    <a:pt x="392" y="40"/>
                  </a:lnTo>
                  <a:lnTo>
                    <a:pt x="393" y="39"/>
                  </a:lnTo>
                  <a:lnTo>
                    <a:pt x="392" y="38"/>
                  </a:lnTo>
                  <a:lnTo>
                    <a:pt x="391" y="36"/>
                  </a:lnTo>
                  <a:lnTo>
                    <a:pt x="392" y="36"/>
                  </a:lnTo>
                  <a:lnTo>
                    <a:pt x="393" y="36"/>
                  </a:lnTo>
                  <a:lnTo>
                    <a:pt x="395" y="35"/>
                  </a:lnTo>
                  <a:lnTo>
                    <a:pt x="398" y="34"/>
                  </a:lnTo>
                  <a:lnTo>
                    <a:pt x="395" y="36"/>
                  </a:lnTo>
                  <a:lnTo>
                    <a:pt x="394" y="38"/>
                  </a:lnTo>
                  <a:lnTo>
                    <a:pt x="397" y="38"/>
                  </a:lnTo>
                  <a:lnTo>
                    <a:pt x="397" y="36"/>
                  </a:lnTo>
                  <a:lnTo>
                    <a:pt x="398" y="36"/>
                  </a:lnTo>
                  <a:lnTo>
                    <a:pt x="400" y="38"/>
                  </a:lnTo>
                  <a:lnTo>
                    <a:pt x="403" y="36"/>
                  </a:lnTo>
                  <a:lnTo>
                    <a:pt x="403" y="38"/>
                  </a:lnTo>
                  <a:lnTo>
                    <a:pt x="403" y="39"/>
                  </a:lnTo>
                  <a:lnTo>
                    <a:pt x="404" y="39"/>
                  </a:lnTo>
                  <a:lnTo>
                    <a:pt x="405" y="40"/>
                  </a:lnTo>
                  <a:lnTo>
                    <a:pt x="403" y="40"/>
                  </a:lnTo>
                  <a:lnTo>
                    <a:pt x="401" y="40"/>
                  </a:lnTo>
                  <a:lnTo>
                    <a:pt x="403" y="41"/>
                  </a:lnTo>
                  <a:lnTo>
                    <a:pt x="403" y="43"/>
                  </a:lnTo>
                  <a:lnTo>
                    <a:pt x="404" y="44"/>
                  </a:lnTo>
                  <a:lnTo>
                    <a:pt x="400" y="43"/>
                  </a:lnTo>
                  <a:lnTo>
                    <a:pt x="403" y="45"/>
                  </a:lnTo>
                  <a:lnTo>
                    <a:pt x="403" y="46"/>
                  </a:lnTo>
                  <a:lnTo>
                    <a:pt x="401" y="46"/>
                  </a:lnTo>
                  <a:lnTo>
                    <a:pt x="401" y="47"/>
                  </a:lnTo>
                  <a:lnTo>
                    <a:pt x="400" y="47"/>
                  </a:lnTo>
                  <a:lnTo>
                    <a:pt x="399" y="46"/>
                  </a:lnTo>
                  <a:lnTo>
                    <a:pt x="398" y="45"/>
                  </a:lnTo>
                  <a:lnTo>
                    <a:pt x="395" y="47"/>
                  </a:lnTo>
                  <a:lnTo>
                    <a:pt x="395" y="50"/>
                  </a:lnTo>
                  <a:lnTo>
                    <a:pt x="394" y="51"/>
                  </a:lnTo>
                  <a:lnTo>
                    <a:pt x="395" y="52"/>
                  </a:lnTo>
                  <a:lnTo>
                    <a:pt x="397" y="51"/>
                  </a:lnTo>
                  <a:lnTo>
                    <a:pt x="398" y="52"/>
                  </a:lnTo>
                  <a:lnTo>
                    <a:pt x="398" y="53"/>
                  </a:lnTo>
                  <a:lnTo>
                    <a:pt x="399" y="55"/>
                  </a:lnTo>
                  <a:lnTo>
                    <a:pt x="401" y="56"/>
                  </a:lnTo>
                  <a:lnTo>
                    <a:pt x="401" y="55"/>
                  </a:lnTo>
                  <a:lnTo>
                    <a:pt x="401" y="51"/>
                  </a:lnTo>
                  <a:lnTo>
                    <a:pt x="401" y="50"/>
                  </a:lnTo>
                  <a:lnTo>
                    <a:pt x="403" y="51"/>
                  </a:lnTo>
                  <a:lnTo>
                    <a:pt x="405" y="50"/>
                  </a:lnTo>
                  <a:lnTo>
                    <a:pt x="404" y="52"/>
                  </a:lnTo>
                  <a:lnTo>
                    <a:pt x="405" y="52"/>
                  </a:lnTo>
                  <a:lnTo>
                    <a:pt x="406" y="53"/>
                  </a:lnTo>
                  <a:lnTo>
                    <a:pt x="406" y="55"/>
                  </a:lnTo>
                  <a:lnTo>
                    <a:pt x="407" y="55"/>
                  </a:lnTo>
                  <a:lnTo>
                    <a:pt x="409" y="56"/>
                  </a:lnTo>
                  <a:lnTo>
                    <a:pt x="407" y="57"/>
                  </a:lnTo>
                  <a:lnTo>
                    <a:pt x="406" y="58"/>
                  </a:lnTo>
                  <a:lnTo>
                    <a:pt x="405" y="59"/>
                  </a:lnTo>
                  <a:lnTo>
                    <a:pt x="405" y="61"/>
                  </a:lnTo>
                  <a:lnTo>
                    <a:pt x="405" y="63"/>
                  </a:lnTo>
                  <a:lnTo>
                    <a:pt x="405" y="64"/>
                  </a:lnTo>
                  <a:lnTo>
                    <a:pt x="406" y="63"/>
                  </a:lnTo>
                  <a:lnTo>
                    <a:pt x="406" y="61"/>
                  </a:lnTo>
                  <a:lnTo>
                    <a:pt x="406" y="59"/>
                  </a:lnTo>
                  <a:lnTo>
                    <a:pt x="407" y="58"/>
                  </a:lnTo>
                  <a:lnTo>
                    <a:pt x="407" y="59"/>
                  </a:lnTo>
                  <a:lnTo>
                    <a:pt x="410" y="61"/>
                  </a:lnTo>
                  <a:lnTo>
                    <a:pt x="411" y="61"/>
                  </a:lnTo>
                  <a:lnTo>
                    <a:pt x="411" y="59"/>
                  </a:lnTo>
                  <a:lnTo>
                    <a:pt x="413" y="62"/>
                  </a:lnTo>
                  <a:lnTo>
                    <a:pt x="415" y="61"/>
                  </a:lnTo>
                  <a:lnTo>
                    <a:pt x="416" y="61"/>
                  </a:lnTo>
                  <a:lnTo>
                    <a:pt x="417" y="61"/>
                  </a:lnTo>
                  <a:lnTo>
                    <a:pt x="417" y="58"/>
                  </a:lnTo>
                  <a:lnTo>
                    <a:pt x="417" y="61"/>
                  </a:lnTo>
                  <a:lnTo>
                    <a:pt x="418" y="62"/>
                  </a:lnTo>
                  <a:lnTo>
                    <a:pt x="419" y="65"/>
                  </a:lnTo>
                  <a:lnTo>
                    <a:pt x="422" y="67"/>
                  </a:lnTo>
                  <a:lnTo>
                    <a:pt x="422" y="68"/>
                  </a:lnTo>
                  <a:lnTo>
                    <a:pt x="423" y="67"/>
                  </a:lnTo>
                  <a:lnTo>
                    <a:pt x="425" y="64"/>
                  </a:lnTo>
                  <a:lnTo>
                    <a:pt x="425" y="63"/>
                  </a:lnTo>
                  <a:lnTo>
                    <a:pt x="424" y="62"/>
                  </a:lnTo>
                  <a:lnTo>
                    <a:pt x="424" y="59"/>
                  </a:lnTo>
                  <a:lnTo>
                    <a:pt x="425" y="59"/>
                  </a:lnTo>
                  <a:lnTo>
                    <a:pt x="425" y="57"/>
                  </a:lnTo>
                  <a:lnTo>
                    <a:pt x="422" y="55"/>
                  </a:lnTo>
                  <a:lnTo>
                    <a:pt x="419" y="52"/>
                  </a:lnTo>
                  <a:lnTo>
                    <a:pt x="417" y="50"/>
                  </a:lnTo>
                  <a:lnTo>
                    <a:pt x="415" y="50"/>
                  </a:lnTo>
                  <a:lnTo>
                    <a:pt x="415" y="47"/>
                  </a:lnTo>
                  <a:lnTo>
                    <a:pt x="411" y="47"/>
                  </a:lnTo>
                  <a:lnTo>
                    <a:pt x="412" y="45"/>
                  </a:lnTo>
                  <a:lnTo>
                    <a:pt x="410" y="44"/>
                  </a:lnTo>
                  <a:lnTo>
                    <a:pt x="412" y="44"/>
                  </a:lnTo>
                  <a:lnTo>
                    <a:pt x="412" y="43"/>
                  </a:lnTo>
                  <a:lnTo>
                    <a:pt x="413" y="41"/>
                  </a:lnTo>
                  <a:lnTo>
                    <a:pt x="415" y="41"/>
                  </a:lnTo>
                  <a:lnTo>
                    <a:pt x="416" y="40"/>
                  </a:lnTo>
                  <a:lnTo>
                    <a:pt x="417" y="41"/>
                  </a:lnTo>
                  <a:lnTo>
                    <a:pt x="418" y="41"/>
                  </a:lnTo>
                  <a:lnTo>
                    <a:pt x="418" y="45"/>
                  </a:lnTo>
                  <a:lnTo>
                    <a:pt x="418" y="46"/>
                  </a:lnTo>
                  <a:lnTo>
                    <a:pt x="419" y="44"/>
                  </a:lnTo>
                  <a:lnTo>
                    <a:pt x="419" y="45"/>
                  </a:lnTo>
                  <a:lnTo>
                    <a:pt x="419" y="49"/>
                  </a:lnTo>
                  <a:lnTo>
                    <a:pt x="421" y="50"/>
                  </a:lnTo>
                  <a:lnTo>
                    <a:pt x="422" y="49"/>
                  </a:lnTo>
                  <a:lnTo>
                    <a:pt x="422" y="46"/>
                  </a:lnTo>
                  <a:lnTo>
                    <a:pt x="423" y="46"/>
                  </a:lnTo>
                  <a:lnTo>
                    <a:pt x="424" y="45"/>
                  </a:lnTo>
                  <a:lnTo>
                    <a:pt x="425" y="46"/>
                  </a:lnTo>
                  <a:lnTo>
                    <a:pt x="427" y="45"/>
                  </a:lnTo>
                  <a:lnTo>
                    <a:pt x="428" y="45"/>
                  </a:lnTo>
                  <a:lnTo>
                    <a:pt x="429" y="46"/>
                  </a:lnTo>
                  <a:lnTo>
                    <a:pt x="428" y="47"/>
                  </a:lnTo>
                  <a:lnTo>
                    <a:pt x="428" y="50"/>
                  </a:lnTo>
                  <a:lnTo>
                    <a:pt x="427" y="51"/>
                  </a:lnTo>
                  <a:lnTo>
                    <a:pt x="425" y="52"/>
                  </a:lnTo>
                  <a:lnTo>
                    <a:pt x="425" y="53"/>
                  </a:lnTo>
                  <a:lnTo>
                    <a:pt x="427" y="56"/>
                  </a:lnTo>
                  <a:lnTo>
                    <a:pt x="428" y="59"/>
                  </a:lnTo>
                  <a:lnTo>
                    <a:pt x="429" y="55"/>
                  </a:lnTo>
                  <a:lnTo>
                    <a:pt x="430" y="57"/>
                  </a:lnTo>
                  <a:lnTo>
                    <a:pt x="430" y="58"/>
                  </a:lnTo>
                  <a:lnTo>
                    <a:pt x="431" y="58"/>
                  </a:lnTo>
                  <a:lnTo>
                    <a:pt x="433" y="57"/>
                  </a:lnTo>
                  <a:lnTo>
                    <a:pt x="434" y="58"/>
                  </a:lnTo>
                  <a:lnTo>
                    <a:pt x="434" y="56"/>
                  </a:lnTo>
                  <a:lnTo>
                    <a:pt x="433" y="57"/>
                  </a:lnTo>
                  <a:lnTo>
                    <a:pt x="434" y="55"/>
                  </a:lnTo>
                  <a:lnTo>
                    <a:pt x="439" y="52"/>
                  </a:lnTo>
                  <a:lnTo>
                    <a:pt x="440" y="52"/>
                  </a:lnTo>
                  <a:lnTo>
                    <a:pt x="440" y="49"/>
                  </a:lnTo>
                  <a:lnTo>
                    <a:pt x="444" y="49"/>
                  </a:lnTo>
                  <a:lnTo>
                    <a:pt x="440" y="46"/>
                  </a:lnTo>
                  <a:lnTo>
                    <a:pt x="444" y="49"/>
                  </a:lnTo>
                  <a:lnTo>
                    <a:pt x="445" y="47"/>
                  </a:lnTo>
                  <a:lnTo>
                    <a:pt x="446" y="47"/>
                  </a:lnTo>
                  <a:lnTo>
                    <a:pt x="447" y="47"/>
                  </a:lnTo>
                  <a:lnTo>
                    <a:pt x="447" y="46"/>
                  </a:lnTo>
                  <a:lnTo>
                    <a:pt x="448" y="46"/>
                  </a:lnTo>
                  <a:lnTo>
                    <a:pt x="451" y="50"/>
                  </a:lnTo>
                  <a:lnTo>
                    <a:pt x="452" y="46"/>
                  </a:lnTo>
                  <a:lnTo>
                    <a:pt x="451" y="45"/>
                  </a:lnTo>
                  <a:lnTo>
                    <a:pt x="452" y="45"/>
                  </a:lnTo>
                  <a:lnTo>
                    <a:pt x="453" y="41"/>
                  </a:lnTo>
                  <a:lnTo>
                    <a:pt x="453" y="44"/>
                  </a:lnTo>
                  <a:lnTo>
                    <a:pt x="454" y="45"/>
                  </a:lnTo>
                  <a:lnTo>
                    <a:pt x="453" y="46"/>
                  </a:lnTo>
                  <a:lnTo>
                    <a:pt x="452" y="47"/>
                  </a:lnTo>
                  <a:lnTo>
                    <a:pt x="452" y="49"/>
                  </a:lnTo>
                  <a:lnTo>
                    <a:pt x="453" y="50"/>
                  </a:lnTo>
                  <a:lnTo>
                    <a:pt x="454" y="51"/>
                  </a:lnTo>
                  <a:lnTo>
                    <a:pt x="456" y="51"/>
                  </a:lnTo>
                  <a:lnTo>
                    <a:pt x="456" y="50"/>
                  </a:lnTo>
                  <a:lnTo>
                    <a:pt x="458" y="51"/>
                  </a:lnTo>
                  <a:lnTo>
                    <a:pt x="459" y="51"/>
                  </a:lnTo>
                  <a:lnTo>
                    <a:pt x="460" y="51"/>
                  </a:lnTo>
                  <a:lnTo>
                    <a:pt x="460" y="53"/>
                  </a:lnTo>
                  <a:lnTo>
                    <a:pt x="463" y="55"/>
                  </a:lnTo>
                  <a:lnTo>
                    <a:pt x="463" y="58"/>
                  </a:lnTo>
                  <a:lnTo>
                    <a:pt x="463" y="61"/>
                  </a:lnTo>
                  <a:lnTo>
                    <a:pt x="464" y="62"/>
                  </a:lnTo>
                  <a:lnTo>
                    <a:pt x="465" y="61"/>
                  </a:lnTo>
                  <a:lnTo>
                    <a:pt x="466" y="62"/>
                  </a:lnTo>
                  <a:lnTo>
                    <a:pt x="468" y="63"/>
                  </a:lnTo>
                  <a:lnTo>
                    <a:pt x="470" y="64"/>
                  </a:lnTo>
                  <a:lnTo>
                    <a:pt x="472" y="62"/>
                  </a:lnTo>
                  <a:lnTo>
                    <a:pt x="471" y="61"/>
                  </a:lnTo>
                  <a:lnTo>
                    <a:pt x="472" y="61"/>
                  </a:lnTo>
                  <a:lnTo>
                    <a:pt x="471" y="57"/>
                  </a:lnTo>
                  <a:lnTo>
                    <a:pt x="474" y="57"/>
                  </a:lnTo>
                  <a:lnTo>
                    <a:pt x="475" y="57"/>
                  </a:lnTo>
                  <a:lnTo>
                    <a:pt x="476" y="56"/>
                  </a:lnTo>
                  <a:lnTo>
                    <a:pt x="476" y="57"/>
                  </a:lnTo>
                  <a:lnTo>
                    <a:pt x="477" y="57"/>
                  </a:lnTo>
                  <a:lnTo>
                    <a:pt x="476" y="58"/>
                  </a:lnTo>
                  <a:lnTo>
                    <a:pt x="474" y="61"/>
                  </a:lnTo>
                  <a:lnTo>
                    <a:pt x="475" y="61"/>
                  </a:lnTo>
                  <a:lnTo>
                    <a:pt x="476" y="61"/>
                  </a:lnTo>
                  <a:lnTo>
                    <a:pt x="477" y="61"/>
                  </a:lnTo>
                  <a:lnTo>
                    <a:pt x="478" y="58"/>
                  </a:lnTo>
                  <a:lnTo>
                    <a:pt x="480" y="58"/>
                  </a:lnTo>
                  <a:lnTo>
                    <a:pt x="481" y="58"/>
                  </a:lnTo>
                  <a:lnTo>
                    <a:pt x="480" y="61"/>
                  </a:lnTo>
                  <a:lnTo>
                    <a:pt x="481" y="61"/>
                  </a:lnTo>
                  <a:lnTo>
                    <a:pt x="482" y="62"/>
                  </a:lnTo>
                  <a:lnTo>
                    <a:pt x="482" y="63"/>
                  </a:lnTo>
                  <a:lnTo>
                    <a:pt x="482" y="64"/>
                  </a:lnTo>
                  <a:lnTo>
                    <a:pt x="483" y="65"/>
                  </a:lnTo>
                  <a:lnTo>
                    <a:pt x="484" y="65"/>
                  </a:lnTo>
                  <a:lnTo>
                    <a:pt x="484" y="67"/>
                  </a:lnTo>
                  <a:lnTo>
                    <a:pt x="487" y="67"/>
                  </a:lnTo>
                  <a:lnTo>
                    <a:pt x="486" y="67"/>
                  </a:lnTo>
                  <a:lnTo>
                    <a:pt x="484" y="68"/>
                  </a:lnTo>
                  <a:lnTo>
                    <a:pt x="486" y="69"/>
                  </a:lnTo>
                  <a:lnTo>
                    <a:pt x="487" y="70"/>
                  </a:lnTo>
                  <a:lnTo>
                    <a:pt x="488" y="71"/>
                  </a:lnTo>
                  <a:lnTo>
                    <a:pt x="489" y="71"/>
                  </a:lnTo>
                  <a:lnTo>
                    <a:pt x="489" y="73"/>
                  </a:lnTo>
                  <a:lnTo>
                    <a:pt x="490" y="74"/>
                  </a:lnTo>
                  <a:lnTo>
                    <a:pt x="492" y="74"/>
                  </a:lnTo>
                  <a:lnTo>
                    <a:pt x="490" y="75"/>
                  </a:lnTo>
                  <a:lnTo>
                    <a:pt x="490" y="76"/>
                  </a:lnTo>
                  <a:lnTo>
                    <a:pt x="493" y="75"/>
                  </a:lnTo>
                  <a:lnTo>
                    <a:pt x="494" y="75"/>
                  </a:lnTo>
                  <a:lnTo>
                    <a:pt x="492" y="77"/>
                  </a:lnTo>
                  <a:lnTo>
                    <a:pt x="492" y="79"/>
                  </a:lnTo>
                  <a:lnTo>
                    <a:pt x="493" y="79"/>
                  </a:lnTo>
                  <a:lnTo>
                    <a:pt x="495" y="79"/>
                  </a:lnTo>
                  <a:lnTo>
                    <a:pt x="495" y="80"/>
                  </a:lnTo>
                  <a:lnTo>
                    <a:pt x="495" y="79"/>
                  </a:lnTo>
                  <a:lnTo>
                    <a:pt x="495" y="80"/>
                  </a:lnTo>
                  <a:lnTo>
                    <a:pt x="495" y="82"/>
                  </a:lnTo>
                  <a:lnTo>
                    <a:pt x="497" y="82"/>
                  </a:lnTo>
                  <a:lnTo>
                    <a:pt x="498" y="81"/>
                  </a:lnTo>
                  <a:lnTo>
                    <a:pt x="498" y="80"/>
                  </a:lnTo>
                  <a:lnTo>
                    <a:pt x="498" y="81"/>
                  </a:lnTo>
                  <a:lnTo>
                    <a:pt x="501" y="82"/>
                  </a:lnTo>
                  <a:lnTo>
                    <a:pt x="501" y="81"/>
                  </a:lnTo>
                  <a:lnTo>
                    <a:pt x="501" y="80"/>
                  </a:lnTo>
                  <a:lnTo>
                    <a:pt x="503" y="80"/>
                  </a:lnTo>
                  <a:lnTo>
                    <a:pt x="501" y="79"/>
                  </a:lnTo>
                  <a:lnTo>
                    <a:pt x="500" y="76"/>
                  </a:lnTo>
                  <a:lnTo>
                    <a:pt x="499" y="76"/>
                  </a:lnTo>
                  <a:lnTo>
                    <a:pt x="501" y="76"/>
                  </a:lnTo>
                  <a:lnTo>
                    <a:pt x="501" y="75"/>
                  </a:lnTo>
                  <a:lnTo>
                    <a:pt x="503" y="75"/>
                  </a:lnTo>
                  <a:lnTo>
                    <a:pt x="503" y="74"/>
                  </a:lnTo>
                  <a:lnTo>
                    <a:pt x="506" y="73"/>
                  </a:lnTo>
                  <a:lnTo>
                    <a:pt x="505" y="75"/>
                  </a:lnTo>
                  <a:lnTo>
                    <a:pt x="505" y="76"/>
                  </a:lnTo>
                  <a:lnTo>
                    <a:pt x="505" y="77"/>
                  </a:lnTo>
                  <a:lnTo>
                    <a:pt x="506" y="76"/>
                  </a:lnTo>
                  <a:lnTo>
                    <a:pt x="507" y="79"/>
                  </a:lnTo>
                  <a:lnTo>
                    <a:pt x="510" y="79"/>
                  </a:lnTo>
                  <a:lnTo>
                    <a:pt x="510" y="80"/>
                  </a:lnTo>
                  <a:lnTo>
                    <a:pt x="510" y="79"/>
                  </a:lnTo>
                  <a:lnTo>
                    <a:pt x="511" y="75"/>
                  </a:lnTo>
                  <a:lnTo>
                    <a:pt x="513" y="74"/>
                  </a:lnTo>
                  <a:lnTo>
                    <a:pt x="512" y="77"/>
                  </a:lnTo>
                  <a:lnTo>
                    <a:pt x="511" y="80"/>
                  </a:lnTo>
                  <a:lnTo>
                    <a:pt x="513" y="79"/>
                  </a:lnTo>
                  <a:lnTo>
                    <a:pt x="512" y="80"/>
                  </a:lnTo>
                  <a:lnTo>
                    <a:pt x="513" y="82"/>
                  </a:lnTo>
                  <a:lnTo>
                    <a:pt x="512" y="83"/>
                  </a:lnTo>
                  <a:lnTo>
                    <a:pt x="518" y="86"/>
                  </a:lnTo>
                  <a:lnTo>
                    <a:pt x="512" y="85"/>
                  </a:lnTo>
                  <a:lnTo>
                    <a:pt x="513" y="86"/>
                  </a:lnTo>
                  <a:lnTo>
                    <a:pt x="513" y="87"/>
                  </a:lnTo>
                  <a:lnTo>
                    <a:pt x="512" y="86"/>
                  </a:lnTo>
                  <a:lnTo>
                    <a:pt x="511" y="85"/>
                  </a:lnTo>
                  <a:lnTo>
                    <a:pt x="510" y="86"/>
                  </a:lnTo>
                  <a:lnTo>
                    <a:pt x="510" y="87"/>
                  </a:lnTo>
                  <a:lnTo>
                    <a:pt x="510" y="88"/>
                  </a:lnTo>
                  <a:lnTo>
                    <a:pt x="510" y="89"/>
                  </a:lnTo>
                  <a:lnTo>
                    <a:pt x="509" y="91"/>
                  </a:lnTo>
                  <a:lnTo>
                    <a:pt x="510" y="93"/>
                  </a:lnTo>
                  <a:lnTo>
                    <a:pt x="509" y="95"/>
                  </a:lnTo>
                  <a:lnTo>
                    <a:pt x="509" y="97"/>
                  </a:lnTo>
                  <a:lnTo>
                    <a:pt x="511" y="94"/>
                  </a:lnTo>
                  <a:lnTo>
                    <a:pt x="511" y="97"/>
                  </a:lnTo>
                  <a:lnTo>
                    <a:pt x="511" y="98"/>
                  </a:lnTo>
                  <a:lnTo>
                    <a:pt x="512" y="97"/>
                  </a:lnTo>
                  <a:lnTo>
                    <a:pt x="512" y="98"/>
                  </a:lnTo>
                  <a:lnTo>
                    <a:pt x="512" y="101"/>
                  </a:lnTo>
                  <a:lnTo>
                    <a:pt x="513" y="101"/>
                  </a:lnTo>
                  <a:lnTo>
                    <a:pt x="513" y="103"/>
                  </a:lnTo>
                  <a:lnTo>
                    <a:pt x="511" y="104"/>
                  </a:lnTo>
                  <a:lnTo>
                    <a:pt x="512" y="105"/>
                  </a:lnTo>
                  <a:lnTo>
                    <a:pt x="513" y="105"/>
                  </a:lnTo>
                  <a:lnTo>
                    <a:pt x="515" y="104"/>
                  </a:lnTo>
                  <a:lnTo>
                    <a:pt x="517" y="105"/>
                  </a:lnTo>
                  <a:lnTo>
                    <a:pt x="518" y="105"/>
                  </a:lnTo>
                  <a:lnTo>
                    <a:pt x="518" y="104"/>
                  </a:lnTo>
                  <a:lnTo>
                    <a:pt x="519" y="104"/>
                  </a:lnTo>
                  <a:lnTo>
                    <a:pt x="521" y="105"/>
                  </a:lnTo>
                  <a:lnTo>
                    <a:pt x="522" y="104"/>
                  </a:lnTo>
                  <a:lnTo>
                    <a:pt x="521" y="101"/>
                  </a:lnTo>
                  <a:lnTo>
                    <a:pt x="522" y="99"/>
                  </a:lnTo>
                  <a:lnTo>
                    <a:pt x="523" y="98"/>
                  </a:lnTo>
                  <a:lnTo>
                    <a:pt x="523" y="99"/>
                  </a:lnTo>
                  <a:lnTo>
                    <a:pt x="523" y="101"/>
                  </a:lnTo>
                  <a:lnTo>
                    <a:pt x="524" y="101"/>
                  </a:lnTo>
                  <a:lnTo>
                    <a:pt x="525" y="101"/>
                  </a:lnTo>
                  <a:lnTo>
                    <a:pt x="527" y="100"/>
                  </a:lnTo>
                  <a:lnTo>
                    <a:pt x="525" y="103"/>
                  </a:lnTo>
                  <a:lnTo>
                    <a:pt x="527" y="103"/>
                  </a:lnTo>
                  <a:lnTo>
                    <a:pt x="528" y="103"/>
                  </a:lnTo>
                  <a:lnTo>
                    <a:pt x="528" y="104"/>
                  </a:lnTo>
                  <a:lnTo>
                    <a:pt x="527" y="105"/>
                  </a:lnTo>
                  <a:lnTo>
                    <a:pt x="529" y="105"/>
                  </a:lnTo>
                  <a:lnTo>
                    <a:pt x="530" y="105"/>
                  </a:lnTo>
                  <a:lnTo>
                    <a:pt x="530" y="104"/>
                  </a:lnTo>
                  <a:lnTo>
                    <a:pt x="530" y="105"/>
                  </a:lnTo>
                  <a:lnTo>
                    <a:pt x="534" y="106"/>
                  </a:lnTo>
                  <a:lnTo>
                    <a:pt x="533" y="107"/>
                  </a:lnTo>
                  <a:lnTo>
                    <a:pt x="531" y="109"/>
                  </a:lnTo>
                  <a:lnTo>
                    <a:pt x="530" y="109"/>
                  </a:lnTo>
                  <a:lnTo>
                    <a:pt x="531" y="110"/>
                  </a:lnTo>
                  <a:lnTo>
                    <a:pt x="533" y="111"/>
                  </a:lnTo>
                  <a:lnTo>
                    <a:pt x="530" y="112"/>
                  </a:lnTo>
                  <a:lnTo>
                    <a:pt x="530" y="113"/>
                  </a:lnTo>
                  <a:lnTo>
                    <a:pt x="529" y="112"/>
                  </a:lnTo>
                  <a:lnTo>
                    <a:pt x="528" y="115"/>
                  </a:lnTo>
                  <a:lnTo>
                    <a:pt x="527" y="115"/>
                  </a:lnTo>
                  <a:lnTo>
                    <a:pt x="525" y="112"/>
                  </a:lnTo>
                  <a:lnTo>
                    <a:pt x="524" y="112"/>
                  </a:lnTo>
                  <a:lnTo>
                    <a:pt x="524" y="115"/>
                  </a:lnTo>
                  <a:lnTo>
                    <a:pt x="524" y="116"/>
                  </a:lnTo>
                  <a:lnTo>
                    <a:pt x="523" y="116"/>
                  </a:lnTo>
                  <a:lnTo>
                    <a:pt x="522" y="117"/>
                  </a:lnTo>
                  <a:lnTo>
                    <a:pt x="521" y="117"/>
                  </a:lnTo>
                  <a:lnTo>
                    <a:pt x="521" y="118"/>
                  </a:lnTo>
                  <a:lnTo>
                    <a:pt x="519" y="118"/>
                  </a:lnTo>
                  <a:lnTo>
                    <a:pt x="518" y="117"/>
                  </a:lnTo>
                  <a:lnTo>
                    <a:pt x="517" y="118"/>
                  </a:lnTo>
                  <a:lnTo>
                    <a:pt x="516" y="117"/>
                  </a:lnTo>
                  <a:lnTo>
                    <a:pt x="515" y="117"/>
                  </a:lnTo>
                  <a:lnTo>
                    <a:pt x="515" y="119"/>
                  </a:lnTo>
                  <a:lnTo>
                    <a:pt x="513" y="122"/>
                  </a:lnTo>
                  <a:lnTo>
                    <a:pt x="513" y="124"/>
                  </a:lnTo>
                  <a:lnTo>
                    <a:pt x="515" y="123"/>
                  </a:lnTo>
                  <a:lnTo>
                    <a:pt x="516" y="122"/>
                  </a:lnTo>
                  <a:lnTo>
                    <a:pt x="517" y="123"/>
                  </a:lnTo>
                  <a:lnTo>
                    <a:pt x="519" y="123"/>
                  </a:lnTo>
                  <a:lnTo>
                    <a:pt x="521" y="123"/>
                  </a:lnTo>
                  <a:lnTo>
                    <a:pt x="521" y="121"/>
                  </a:lnTo>
                  <a:lnTo>
                    <a:pt x="522" y="121"/>
                  </a:lnTo>
                  <a:lnTo>
                    <a:pt x="523" y="123"/>
                  </a:lnTo>
                  <a:lnTo>
                    <a:pt x="523" y="125"/>
                  </a:lnTo>
                  <a:lnTo>
                    <a:pt x="524" y="125"/>
                  </a:lnTo>
                  <a:lnTo>
                    <a:pt x="525" y="127"/>
                  </a:lnTo>
                  <a:lnTo>
                    <a:pt x="525" y="128"/>
                  </a:lnTo>
                  <a:lnTo>
                    <a:pt x="527" y="130"/>
                  </a:lnTo>
                  <a:lnTo>
                    <a:pt x="528" y="130"/>
                  </a:lnTo>
                  <a:lnTo>
                    <a:pt x="529" y="130"/>
                  </a:lnTo>
                  <a:lnTo>
                    <a:pt x="531" y="129"/>
                  </a:lnTo>
                  <a:lnTo>
                    <a:pt x="533" y="129"/>
                  </a:lnTo>
                  <a:lnTo>
                    <a:pt x="531" y="130"/>
                  </a:lnTo>
                  <a:lnTo>
                    <a:pt x="530" y="133"/>
                  </a:lnTo>
                  <a:lnTo>
                    <a:pt x="529" y="133"/>
                  </a:lnTo>
                  <a:lnTo>
                    <a:pt x="528" y="134"/>
                  </a:lnTo>
                  <a:lnTo>
                    <a:pt x="530" y="134"/>
                  </a:lnTo>
                  <a:lnTo>
                    <a:pt x="528" y="135"/>
                  </a:lnTo>
                  <a:lnTo>
                    <a:pt x="528" y="136"/>
                  </a:lnTo>
                  <a:lnTo>
                    <a:pt x="528" y="137"/>
                  </a:lnTo>
                  <a:lnTo>
                    <a:pt x="525" y="140"/>
                  </a:lnTo>
                  <a:lnTo>
                    <a:pt x="527" y="140"/>
                  </a:lnTo>
                  <a:lnTo>
                    <a:pt x="525" y="141"/>
                  </a:lnTo>
                  <a:lnTo>
                    <a:pt x="527" y="143"/>
                  </a:lnTo>
                  <a:lnTo>
                    <a:pt x="528" y="146"/>
                  </a:lnTo>
                  <a:lnTo>
                    <a:pt x="529" y="145"/>
                  </a:lnTo>
                  <a:lnTo>
                    <a:pt x="529" y="142"/>
                  </a:lnTo>
                  <a:lnTo>
                    <a:pt x="529" y="141"/>
                  </a:lnTo>
                  <a:lnTo>
                    <a:pt x="529" y="140"/>
                  </a:lnTo>
                  <a:lnTo>
                    <a:pt x="530" y="140"/>
                  </a:lnTo>
                  <a:lnTo>
                    <a:pt x="533" y="140"/>
                  </a:lnTo>
                  <a:lnTo>
                    <a:pt x="533" y="139"/>
                  </a:lnTo>
                  <a:lnTo>
                    <a:pt x="534" y="140"/>
                  </a:lnTo>
                  <a:lnTo>
                    <a:pt x="534" y="142"/>
                  </a:lnTo>
                  <a:lnTo>
                    <a:pt x="535" y="142"/>
                  </a:lnTo>
                  <a:lnTo>
                    <a:pt x="536" y="142"/>
                  </a:lnTo>
                  <a:lnTo>
                    <a:pt x="537" y="142"/>
                  </a:lnTo>
                  <a:lnTo>
                    <a:pt x="540" y="145"/>
                  </a:lnTo>
                  <a:lnTo>
                    <a:pt x="540" y="143"/>
                  </a:lnTo>
                  <a:lnTo>
                    <a:pt x="541" y="143"/>
                  </a:lnTo>
                  <a:lnTo>
                    <a:pt x="540" y="146"/>
                  </a:lnTo>
                  <a:lnTo>
                    <a:pt x="541" y="146"/>
                  </a:lnTo>
                  <a:lnTo>
                    <a:pt x="541" y="147"/>
                  </a:lnTo>
                  <a:lnTo>
                    <a:pt x="541" y="148"/>
                  </a:lnTo>
                  <a:lnTo>
                    <a:pt x="541" y="150"/>
                  </a:lnTo>
                  <a:lnTo>
                    <a:pt x="539" y="150"/>
                  </a:lnTo>
                  <a:lnTo>
                    <a:pt x="537" y="150"/>
                  </a:lnTo>
                  <a:lnTo>
                    <a:pt x="537" y="151"/>
                  </a:lnTo>
                  <a:lnTo>
                    <a:pt x="537" y="152"/>
                  </a:lnTo>
                  <a:lnTo>
                    <a:pt x="539" y="152"/>
                  </a:lnTo>
                  <a:lnTo>
                    <a:pt x="540" y="153"/>
                  </a:lnTo>
                  <a:lnTo>
                    <a:pt x="539" y="153"/>
                  </a:lnTo>
                  <a:lnTo>
                    <a:pt x="537" y="153"/>
                  </a:lnTo>
                  <a:lnTo>
                    <a:pt x="536" y="153"/>
                  </a:lnTo>
                  <a:lnTo>
                    <a:pt x="537" y="154"/>
                  </a:lnTo>
                  <a:lnTo>
                    <a:pt x="537" y="156"/>
                  </a:lnTo>
                  <a:lnTo>
                    <a:pt x="537" y="158"/>
                  </a:lnTo>
                  <a:lnTo>
                    <a:pt x="536" y="159"/>
                  </a:lnTo>
                  <a:lnTo>
                    <a:pt x="537" y="160"/>
                  </a:lnTo>
                  <a:lnTo>
                    <a:pt x="539" y="162"/>
                  </a:lnTo>
                  <a:lnTo>
                    <a:pt x="539" y="159"/>
                  </a:lnTo>
                  <a:lnTo>
                    <a:pt x="540" y="157"/>
                  </a:lnTo>
                  <a:lnTo>
                    <a:pt x="540" y="158"/>
                  </a:lnTo>
                  <a:lnTo>
                    <a:pt x="541" y="159"/>
                  </a:lnTo>
                  <a:lnTo>
                    <a:pt x="542" y="160"/>
                  </a:lnTo>
                  <a:lnTo>
                    <a:pt x="543" y="163"/>
                  </a:lnTo>
                  <a:lnTo>
                    <a:pt x="542" y="163"/>
                  </a:lnTo>
                  <a:lnTo>
                    <a:pt x="541" y="163"/>
                  </a:lnTo>
                  <a:lnTo>
                    <a:pt x="540" y="164"/>
                  </a:lnTo>
                  <a:lnTo>
                    <a:pt x="539" y="166"/>
                  </a:lnTo>
                  <a:lnTo>
                    <a:pt x="539" y="168"/>
                  </a:lnTo>
                  <a:lnTo>
                    <a:pt x="540" y="169"/>
                  </a:lnTo>
                  <a:lnTo>
                    <a:pt x="541" y="166"/>
                  </a:lnTo>
                  <a:lnTo>
                    <a:pt x="541" y="168"/>
                  </a:lnTo>
                  <a:lnTo>
                    <a:pt x="542" y="166"/>
                  </a:lnTo>
                  <a:lnTo>
                    <a:pt x="543" y="166"/>
                  </a:lnTo>
                  <a:lnTo>
                    <a:pt x="545" y="166"/>
                  </a:lnTo>
                  <a:lnTo>
                    <a:pt x="546" y="165"/>
                  </a:lnTo>
                  <a:lnTo>
                    <a:pt x="547" y="165"/>
                  </a:lnTo>
                  <a:lnTo>
                    <a:pt x="549" y="164"/>
                  </a:lnTo>
                  <a:lnTo>
                    <a:pt x="549" y="163"/>
                  </a:lnTo>
                  <a:lnTo>
                    <a:pt x="548" y="162"/>
                  </a:lnTo>
                  <a:lnTo>
                    <a:pt x="548" y="160"/>
                  </a:lnTo>
                  <a:lnTo>
                    <a:pt x="551" y="162"/>
                  </a:lnTo>
                  <a:lnTo>
                    <a:pt x="552" y="162"/>
                  </a:lnTo>
                  <a:lnTo>
                    <a:pt x="556" y="160"/>
                  </a:lnTo>
                  <a:lnTo>
                    <a:pt x="553" y="163"/>
                  </a:lnTo>
                  <a:lnTo>
                    <a:pt x="552" y="164"/>
                  </a:lnTo>
                  <a:lnTo>
                    <a:pt x="552" y="165"/>
                  </a:lnTo>
                  <a:lnTo>
                    <a:pt x="553" y="165"/>
                  </a:lnTo>
                  <a:lnTo>
                    <a:pt x="554" y="166"/>
                  </a:lnTo>
                  <a:lnTo>
                    <a:pt x="556" y="165"/>
                  </a:lnTo>
                  <a:lnTo>
                    <a:pt x="556" y="166"/>
                  </a:lnTo>
                  <a:lnTo>
                    <a:pt x="557" y="166"/>
                  </a:lnTo>
                  <a:lnTo>
                    <a:pt x="560" y="166"/>
                  </a:lnTo>
                  <a:lnTo>
                    <a:pt x="560" y="168"/>
                  </a:lnTo>
                  <a:lnTo>
                    <a:pt x="559" y="168"/>
                  </a:lnTo>
                  <a:lnTo>
                    <a:pt x="557" y="168"/>
                  </a:lnTo>
                  <a:lnTo>
                    <a:pt x="554" y="168"/>
                  </a:lnTo>
                  <a:lnTo>
                    <a:pt x="554" y="169"/>
                  </a:lnTo>
                  <a:lnTo>
                    <a:pt x="556" y="169"/>
                  </a:lnTo>
                  <a:lnTo>
                    <a:pt x="557" y="170"/>
                  </a:lnTo>
                  <a:lnTo>
                    <a:pt x="558" y="171"/>
                  </a:lnTo>
                  <a:lnTo>
                    <a:pt x="557" y="171"/>
                  </a:lnTo>
                  <a:lnTo>
                    <a:pt x="556" y="171"/>
                  </a:lnTo>
                  <a:lnTo>
                    <a:pt x="554" y="172"/>
                  </a:lnTo>
                  <a:lnTo>
                    <a:pt x="553" y="174"/>
                  </a:lnTo>
                  <a:lnTo>
                    <a:pt x="551" y="174"/>
                  </a:lnTo>
                  <a:lnTo>
                    <a:pt x="551" y="176"/>
                  </a:lnTo>
                  <a:lnTo>
                    <a:pt x="551" y="177"/>
                  </a:lnTo>
                  <a:lnTo>
                    <a:pt x="551" y="178"/>
                  </a:lnTo>
                  <a:lnTo>
                    <a:pt x="549" y="177"/>
                  </a:lnTo>
                  <a:lnTo>
                    <a:pt x="546" y="176"/>
                  </a:lnTo>
                  <a:lnTo>
                    <a:pt x="543" y="177"/>
                  </a:lnTo>
                  <a:lnTo>
                    <a:pt x="543" y="178"/>
                  </a:lnTo>
                  <a:lnTo>
                    <a:pt x="547" y="180"/>
                  </a:lnTo>
                  <a:lnTo>
                    <a:pt x="551" y="180"/>
                  </a:lnTo>
                  <a:lnTo>
                    <a:pt x="554" y="177"/>
                  </a:lnTo>
                  <a:lnTo>
                    <a:pt x="554" y="178"/>
                  </a:lnTo>
                  <a:lnTo>
                    <a:pt x="556" y="177"/>
                  </a:lnTo>
                  <a:lnTo>
                    <a:pt x="558" y="177"/>
                  </a:lnTo>
                  <a:lnTo>
                    <a:pt x="557" y="178"/>
                  </a:lnTo>
                  <a:lnTo>
                    <a:pt x="558" y="181"/>
                  </a:lnTo>
                  <a:lnTo>
                    <a:pt x="559" y="181"/>
                  </a:lnTo>
                  <a:lnTo>
                    <a:pt x="559" y="183"/>
                  </a:lnTo>
                  <a:lnTo>
                    <a:pt x="557" y="183"/>
                  </a:lnTo>
                  <a:lnTo>
                    <a:pt x="556" y="182"/>
                  </a:lnTo>
                  <a:lnTo>
                    <a:pt x="554" y="183"/>
                  </a:lnTo>
                  <a:lnTo>
                    <a:pt x="554" y="184"/>
                  </a:lnTo>
                  <a:lnTo>
                    <a:pt x="553" y="184"/>
                  </a:lnTo>
                  <a:lnTo>
                    <a:pt x="552" y="183"/>
                  </a:lnTo>
                  <a:lnTo>
                    <a:pt x="552" y="181"/>
                  </a:lnTo>
                  <a:lnTo>
                    <a:pt x="551" y="181"/>
                  </a:lnTo>
                  <a:lnTo>
                    <a:pt x="547" y="181"/>
                  </a:lnTo>
                  <a:lnTo>
                    <a:pt x="545" y="181"/>
                  </a:lnTo>
                  <a:lnTo>
                    <a:pt x="545" y="182"/>
                  </a:lnTo>
                  <a:lnTo>
                    <a:pt x="546" y="182"/>
                  </a:lnTo>
                  <a:lnTo>
                    <a:pt x="547" y="182"/>
                  </a:lnTo>
                  <a:lnTo>
                    <a:pt x="547" y="184"/>
                  </a:lnTo>
                  <a:lnTo>
                    <a:pt x="548" y="184"/>
                  </a:lnTo>
                  <a:lnTo>
                    <a:pt x="548" y="186"/>
                  </a:lnTo>
                  <a:lnTo>
                    <a:pt x="547" y="187"/>
                  </a:lnTo>
                  <a:lnTo>
                    <a:pt x="547" y="189"/>
                  </a:lnTo>
                  <a:lnTo>
                    <a:pt x="546" y="189"/>
                  </a:lnTo>
                  <a:lnTo>
                    <a:pt x="545" y="190"/>
                  </a:lnTo>
                  <a:lnTo>
                    <a:pt x="546" y="190"/>
                  </a:lnTo>
                  <a:lnTo>
                    <a:pt x="548" y="189"/>
                  </a:lnTo>
                  <a:lnTo>
                    <a:pt x="547" y="192"/>
                  </a:lnTo>
                  <a:lnTo>
                    <a:pt x="547" y="194"/>
                  </a:lnTo>
                  <a:lnTo>
                    <a:pt x="548" y="194"/>
                  </a:lnTo>
                  <a:lnTo>
                    <a:pt x="547" y="195"/>
                  </a:lnTo>
                  <a:lnTo>
                    <a:pt x="548" y="196"/>
                  </a:lnTo>
                  <a:lnTo>
                    <a:pt x="549" y="196"/>
                  </a:lnTo>
                  <a:lnTo>
                    <a:pt x="547" y="198"/>
                  </a:lnTo>
                  <a:lnTo>
                    <a:pt x="547" y="200"/>
                  </a:lnTo>
                  <a:lnTo>
                    <a:pt x="548" y="201"/>
                  </a:lnTo>
                  <a:lnTo>
                    <a:pt x="551" y="201"/>
                  </a:lnTo>
                  <a:lnTo>
                    <a:pt x="551" y="202"/>
                  </a:lnTo>
                  <a:lnTo>
                    <a:pt x="549" y="204"/>
                  </a:lnTo>
                  <a:lnTo>
                    <a:pt x="548" y="202"/>
                  </a:lnTo>
                  <a:lnTo>
                    <a:pt x="546" y="202"/>
                  </a:lnTo>
                  <a:lnTo>
                    <a:pt x="547" y="204"/>
                  </a:lnTo>
                  <a:lnTo>
                    <a:pt x="547" y="205"/>
                  </a:lnTo>
                  <a:lnTo>
                    <a:pt x="548" y="205"/>
                  </a:lnTo>
                  <a:lnTo>
                    <a:pt x="548" y="207"/>
                  </a:lnTo>
                  <a:lnTo>
                    <a:pt x="547" y="207"/>
                  </a:lnTo>
                  <a:lnTo>
                    <a:pt x="547" y="208"/>
                  </a:lnTo>
                  <a:lnTo>
                    <a:pt x="546" y="207"/>
                  </a:lnTo>
                  <a:lnTo>
                    <a:pt x="546" y="205"/>
                  </a:lnTo>
                  <a:lnTo>
                    <a:pt x="545" y="205"/>
                  </a:lnTo>
                  <a:lnTo>
                    <a:pt x="543" y="205"/>
                  </a:lnTo>
                  <a:lnTo>
                    <a:pt x="542" y="205"/>
                  </a:lnTo>
                  <a:lnTo>
                    <a:pt x="541" y="205"/>
                  </a:lnTo>
                  <a:lnTo>
                    <a:pt x="540" y="204"/>
                  </a:lnTo>
                  <a:lnTo>
                    <a:pt x="537" y="204"/>
                  </a:lnTo>
                  <a:lnTo>
                    <a:pt x="536" y="204"/>
                  </a:lnTo>
                  <a:lnTo>
                    <a:pt x="536" y="205"/>
                  </a:lnTo>
                  <a:lnTo>
                    <a:pt x="537" y="206"/>
                  </a:lnTo>
                  <a:lnTo>
                    <a:pt x="537" y="205"/>
                  </a:lnTo>
                  <a:lnTo>
                    <a:pt x="539" y="205"/>
                  </a:lnTo>
                  <a:lnTo>
                    <a:pt x="539" y="207"/>
                  </a:lnTo>
                  <a:lnTo>
                    <a:pt x="540" y="207"/>
                  </a:lnTo>
                  <a:lnTo>
                    <a:pt x="539" y="208"/>
                  </a:lnTo>
                  <a:lnTo>
                    <a:pt x="540" y="210"/>
                  </a:lnTo>
                  <a:lnTo>
                    <a:pt x="541" y="208"/>
                  </a:lnTo>
                  <a:lnTo>
                    <a:pt x="541" y="210"/>
                  </a:lnTo>
                  <a:lnTo>
                    <a:pt x="541" y="211"/>
                  </a:lnTo>
                  <a:lnTo>
                    <a:pt x="541" y="212"/>
                  </a:lnTo>
                  <a:lnTo>
                    <a:pt x="540" y="217"/>
                  </a:lnTo>
                  <a:lnTo>
                    <a:pt x="543" y="217"/>
                  </a:lnTo>
                  <a:lnTo>
                    <a:pt x="543" y="219"/>
                  </a:lnTo>
                  <a:lnTo>
                    <a:pt x="546" y="219"/>
                  </a:lnTo>
                  <a:lnTo>
                    <a:pt x="547" y="220"/>
                  </a:lnTo>
                  <a:lnTo>
                    <a:pt x="548" y="220"/>
                  </a:lnTo>
                  <a:lnTo>
                    <a:pt x="549" y="219"/>
                  </a:lnTo>
                  <a:lnTo>
                    <a:pt x="549" y="220"/>
                  </a:lnTo>
                  <a:lnTo>
                    <a:pt x="549" y="222"/>
                  </a:lnTo>
                  <a:lnTo>
                    <a:pt x="552" y="222"/>
                  </a:lnTo>
                  <a:lnTo>
                    <a:pt x="553" y="220"/>
                  </a:lnTo>
                  <a:lnTo>
                    <a:pt x="554" y="219"/>
                  </a:lnTo>
                  <a:lnTo>
                    <a:pt x="556" y="220"/>
                  </a:lnTo>
                  <a:lnTo>
                    <a:pt x="556" y="222"/>
                  </a:lnTo>
                  <a:lnTo>
                    <a:pt x="553" y="223"/>
                  </a:lnTo>
                  <a:lnTo>
                    <a:pt x="554" y="224"/>
                  </a:lnTo>
                  <a:lnTo>
                    <a:pt x="557" y="224"/>
                  </a:lnTo>
                  <a:lnTo>
                    <a:pt x="557" y="226"/>
                  </a:lnTo>
                  <a:lnTo>
                    <a:pt x="558" y="228"/>
                  </a:lnTo>
                  <a:lnTo>
                    <a:pt x="559" y="226"/>
                  </a:lnTo>
                  <a:lnTo>
                    <a:pt x="560" y="226"/>
                  </a:lnTo>
                  <a:lnTo>
                    <a:pt x="562" y="226"/>
                  </a:lnTo>
                  <a:lnTo>
                    <a:pt x="562" y="225"/>
                  </a:lnTo>
                  <a:lnTo>
                    <a:pt x="563" y="224"/>
                  </a:lnTo>
                  <a:lnTo>
                    <a:pt x="563" y="225"/>
                  </a:lnTo>
                  <a:lnTo>
                    <a:pt x="563" y="226"/>
                  </a:lnTo>
                  <a:lnTo>
                    <a:pt x="564" y="226"/>
                  </a:lnTo>
                  <a:lnTo>
                    <a:pt x="565" y="226"/>
                  </a:lnTo>
                  <a:lnTo>
                    <a:pt x="566" y="225"/>
                  </a:lnTo>
                  <a:lnTo>
                    <a:pt x="566" y="224"/>
                  </a:lnTo>
                  <a:lnTo>
                    <a:pt x="568" y="223"/>
                  </a:lnTo>
                  <a:lnTo>
                    <a:pt x="569" y="224"/>
                  </a:lnTo>
                  <a:lnTo>
                    <a:pt x="569" y="225"/>
                  </a:lnTo>
                  <a:lnTo>
                    <a:pt x="568" y="230"/>
                  </a:lnTo>
                  <a:lnTo>
                    <a:pt x="566" y="230"/>
                  </a:lnTo>
                  <a:lnTo>
                    <a:pt x="565" y="231"/>
                  </a:lnTo>
                  <a:lnTo>
                    <a:pt x="565" y="232"/>
                  </a:lnTo>
                  <a:lnTo>
                    <a:pt x="564" y="231"/>
                  </a:lnTo>
                  <a:lnTo>
                    <a:pt x="563" y="231"/>
                  </a:lnTo>
                  <a:lnTo>
                    <a:pt x="564" y="234"/>
                  </a:lnTo>
                  <a:lnTo>
                    <a:pt x="563" y="234"/>
                  </a:lnTo>
                  <a:lnTo>
                    <a:pt x="562" y="234"/>
                  </a:lnTo>
                  <a:lnTo>
                    <a:pt x="558" y="235"/>
                  </a:lnTo>
                  <a:lnTo>
                    <a:pt x="557" y="235"/>
                  </a:lnTo>
                  <a:lnTo>
                    <a:pt x="556" y="236"/>
                  </a:lnTo>
                  <a:lnTo>
                    <a:pt x="554" y="236"/>
                  </a:lnTo>
                  <a:lnTo>
                    <a:pt x="553" y="238"/>
                  </a:lnTo>
                  <a:lnTo>
                    <a:pt x="552" y="238"/>
                  </a:lnTo>
                  <a:lnTo>
                    <a:pt x="549" y="238"/>
                  </a:lnTo>
                  <a:lnTo>
                    <a:pt x="551" y="240"/>
                  </a:lnTo>
                  <a:lnTo>
                    <a:pt x="552" y="241"/>
                  </a:lnTo>
                  <a:lnTo>
                    <a:pt x="552" y="242"/>
                  </a:lnTo>
                  <a:lnTo>
                    <a:pt x="554" y="241"/>
                  </a:lnTo>
                  <a:lnTo>
                    <a:pt x="554" y="242"/>
                  </a:lnTo>
                  <a:lnTo>
                    <a:pt x="557" y="242"/>
                  </a:lnTo>
                  <a:lnTo>
                    <a:pt x="557" y="240"/>
                  </a:lnTo>
                  <a:lnTo>
                    <a:pt x="559" y="241"/>
                  </a:lnTo>
                  <a:lnTo>
                    <a:pt x="563" y="240"/>
                  </a:lnTo>
                  <a:lnTo>
                    <a:pt x="564" y="238"/>
                  </a:lnTo>
                  <a:lnTo>
                    <a:pt x="564" y="237"/>
                  </a:lnTo>
                  <a:lnTo>
                    <a:pt x="564" y="236"/>
                  </a:lnTo>
                  <a:lnTo>
                    <a:pt x="564" y="235"/>
                  </a:lnTo>
                  <a:lnTo>
                    <a:pt x="566" y="235"/>
                  </a:lnTo>
                  <a:lnTo>
                    <a:pt x="568" y="234"/>
                  </a:lnTo>
                  <a:lnTo>
                    <a:pt x="570" y="236"/>
                  </a:lnTo>
                  <a:lnTo>
                    <a:pt x="571" y="235"/>
                  </a:lnTo>
                  <a:lnTo>
                    <a:pt x="572" y="235"/>
                  </a:lnTo>
                  <a:lnTo>
                    <a:pt x="574" y="232"/>
                  </a:lnTo>
                  <a:lnTo>
                    <a:pt x="574" y="235"/>
                  </a:lnTo>
                  <a:lnTo>
                    <a:pt x="575" y="235"/>
                  </a:lnTo>
                  <a:lnTo>
                    <a:pt x="576" y="235"/>
                  </a:lnTo>
                  <a:lnTo>
                    <a:pt x="578" y="235"/>
                  </a:lnTo>
                  <a:lnTo>
                    <a:pt x="577" y="235"/>
                  </a:lnTo>
                  <a:lnTo>
                    <a:pt x="575" y="236"/>
                  </a:lnTo>
                  <a:lnTo>
                    <a:pt x="572" y="237"/>
                  </a:lnTo>
                  <a:lnTo>
                    <a:pt x="574" y="237"/>
                  </a:lnTo>
                  <a:lnTo>
                    <a:pt x="574" y="238"/>
                  </a:lnTo>
                  <a:lnTo>
                    <a:pt x="576" y="241"/>
                  </a:lnTo>
                  <a:lnTo>
                    <a:pt x="574" y="241"/>
                  </a:lnTo>
                  <a:lnTo>
                    <a:pt x="572" y="241"/>
                  </a:lnTo>
                  <a:lnTo>
                    <a:pt x="571" y="241"/>
                  </a:lnTo>
                  <a:lnTo>
                    <a:pt x="569" y="240"/>
                  </a:lnTo>
                  <a:lnTo>
                    <a:pt x="570" y="241"/>
                  </a:lnTo>
                  <a:lnTo>
                    <a:pt x="571" y="242"/>
                  </a:lnTo>
                  <a:lnTo>
                    <a:pt x="572" y="244"/>
                  </a:lnTo>
                  <a:lnTo>
                    <a:pt x="574" y="246"/>
                  </a:lnTo>
                  <a:lnTo>
                    <a:pt x="571" y="248"/>
                  </a:lnTo>
                  <a:lnTo>
                    <a:pt x="575" y="247"/>
                  </a:lnTo>
                  <a:lnTo>
                    <a:pt x="576" y="246"/>
                  </a:lnTo>
                  <a:lnTo>
                    <a:pt x="577" y="247"/>
                  </a:lnTo>
                  <a:lnTo>
                    <a:pt x="578" y="249"/>
                  </a:lnTo>
                  <a:lnTo>
                    <a:pt x="578" y="250"/>
                  </a:lnTo>
                  <a:lnTo>
                    <a:pt x="576" y="249"/>
                  </a:lnTo>
                  <a:lnTo>
                    <a:pt x="575" y="248"/>
                  </a:lnTo>
                  <a:lnTo>
                    <a:pt x="574" y="248"/>
                  </a:lnTo>
                  <a:lnTo>
                    <a:pt x="575" y="250"/>
                  </a:lnTo>
                  <a:lnTo>
                    <a:pt x="576" y="252"/>
                  </a:lnTo>
                  <a:lnTo>
                    <a:pt x="574" y="250"/>
                  </a:lnTo>
                  <a:lnTo>
                    <a:pt x="572" y="250"/>
                  </a:lnTo>
                  <a:lnTo>
                    <a:pt x="572" y="252"/>
                  </a:lnTo>
                  <a:lnTo>
                    <a:pt x="574" y="254"/>
                  </a:lnTo>
                  <a:lnTo>
                    <a:pt x="571" y="254"/>
                  </a:lnTo>
                  <a:lnTo>
                    <a:pt x="572" y="255"/>
                  </a:lnTo>
                  <a:lnTo>
                    <a:pt x="571" y="257"/>
                  </a:lnTo>
                  <a:lnTo>
                    <a:pt x="570" y="257"/>
                  </a:lnTo>
                  <a:lnTo>
                    <a:pt x="571" y="259"/>
                  </a:lnTo>
                  <a:lnTo>
                    <a:pt x="569" y="260"/>
                  </a:lnTo>
                  <a:lnTo>
                    <a:pt x="570" y="261"/>
                  </a:lnTo>
                  <a:lnTo>
                    <a:pt x="571" y="261"/>
                  </a:lnTo>
                  <a:lnTo>
                    <a:pt x="574" y="261"/>
                  </a:lnTo>
                  <a:lnTo>
                    <a:pt x="575" y="263"/>
                  </a:lnTo>
                  <a:lnTo>
                    <a:pt x="577" y="264"/>
                  </a:lnTo>
                  <a:lnTo>
                    <a:pt x="578" y="264"/>
                  </a:lnTo>
                  <a:lnTo>
                    <a:pt x="581" y="265"/>
                  </a:lnTo>
                  <a:lnTo>
                    <a:pt x="583" y="265"/>
                  </a:lnTo>
                  <a:lnTo>
                    <a:pt x="584" y="265"/>
                  </a:lnTo>
                  <a:lnTo>
                    <a:pt x="586" y="267"/>
                  </a:lnTo>
                  <a:lnTo>
                    <a:pt x="588" y="267"/>
                  </a:lnTo>
                  <a:lnTo>
                    <a:pt x="586" y="269"/>
                  </a:lnTo>
                  <a:lnTo>
                    <a:pt x="584" y="269"/>
                  </a:lnTo>
                  <a:lnTo>
                    <a:pt x="584" y="270"/>
                  </a:lnTo>
                  <a:lnTo>
                    <a:pt x="584" y="271"/>
                  </a:lnTo>
                  <a:lnTo>
                    <a:pt x="584" y="272"/>
                  </a:lnTo>
                  <a:lnTo>
                    <a:pt x="586" y="275"/>
                  </a:lnTo>
                  <a:lnTo>
                    <a:pt x="584" y="273"/>
                  </a:lnTo>
                  <a:lnTo>
                    <a:pt x="584" y="275"/>
                  </a:lnTo>
                  <a:lnTo>
                    <a:pt x="584" y="276"/>
                  </a:lnTo>
                  <a:lnTo>
                    <a:pt x="583" y="277"/>
                  </a:lnTo>
                  <a:lnTo>
                    <a:pt x="581" y="278"/>
                  </a:lnTo>
                  <a:lnTo>
                    <a:pt x="581" y="279"/>
                  </a:lnTo>
                  <a:lnTo>
                    <a:pt x="583" y="279"/>
                  </a:lnTo>
                  <a:lnTo>
                    <a:pt x="583" y="278"/>
                  </a:lnTo>
                  <a:lnTo>
                    <a:pt x="584" y="278"/>
                  </a:lnTo>
                  <a:lnTo>
                    <a:pt x="584" y="281"/>
                  </a:lnTo>
                  <a:lnTo>
                    <a:pt x="583" y="282"/>
                  </a:lnTo>
                  <a:lnTo>
                    <a:pt x="583" y="283"/>
                  </a:lnTo>
                  <a:lnTo>
                    <a:pt x="584" y="284"/>
                  </a:lnTo>
                  <a:lnTo>
                    <a:pt x="584" y="285"/>
                  </a:lnTo>
                  <a:lnTo>
                    <a:pt x="583" y="287"/>
                  </a:lnTo>
                  <a:lnTo>
                    <a:pt x="582" y="284"/>
                  </a:lnTo>
                  <a:lnTo>
                    <a:pt x="581" y="285"/>
                  </a:lnTo>
                  <a:lnTo>
                    <a:pt x="581" y="287"/>
                  </a:lnTo>
                  <a:lnTo>
                    <a:pt x="580" y="285"/>
                  </a:lnTo>
                  <a:lnTo>
                    <a:pt x="578" y="285"/>
                  </a:lnTo>
                  <a:lnTo>
                    <a:pt x="578" y="287"/>
                  </a:lnTo>
                  <a:lnTo>
                    <a:pt x="578" y="288"/>
                  </a:lnTo>
                  <a:lnTo>
                    <a:pt x="581" y="288"/>
                  </a:lnTo>
                  <a:lnTo>
                    <a:pt x="582" y="288"/>
                  </a:lnTo>
                  <a:lnTo>
                    <a:pt x="584" y="289"/>
                  </a:lnTo>
                  <a:lnTo>
                    <a:pt x="586" y="288"/>
                  </a:lnTo>
                  <a:lnTo>
                    <a:pt x="587" y="287"/>
                  </a:lnTo>
                  <a:lnTo>
                    <a:pt x="586" y="285"/>
                  </a:lnTo>
                  <a:lnTo>
                    <a:pt x="587" y="284"/>
                  </a:lnTo>
                  <a:lnTo>
                    <a:pt x="588" y="284"/>
                  </a:lnTo>
                  <a:lnTo>
                    <a:pt x="590" y="284"/>
                  </a:lnTo>
                  <a:lnTo>
                    <a:pt x="589" y="281"/>
                  </a:lnTo>
                  <a:lnTo>
                    <a:pt x="589" y="278"/>
                  </a:lnTo>
                  <a:lnTo>
                    <a:pt x="589" y="277"/>
                  </a:lnTo>
                  <a:lnTo>
                    <a:pt x="590" y="277"/>
                  </a:lnTo>
                  <a:lnTo>
                    <a:pt x="592" y="277"/>
                  </a:lnTo>
                  <a:lnTo>
                    <a:pt x="593" y="278"/>
                  </a:lnTo>
                  <a:lnTo>
                    <a:pt x="592" y="279"/>
                  </a:lnTo>
                  <a:lnTo>
                    <a:pt x="590" y="281"/>
                  </a:lnTo>
                  <a:lnTo>
                    <a:pt x="590" y="283"/>
                  </a:lnTo>
                  <a:lnTo>
                    <a:pt x="592" y="284"/>
                  </a:lnTo>
                  <a:lnTo>
                    <a:pt x="593" y="284"/>
                  </a:lnTo>
                  <a:lnTo>
                    <a:pt x="594" y="284"/>
                  </a:lnTo>
                  <a:lnTo>
                    <a:pt x="595" y="284"/>
                  </a:lnTo>
                  <a:lnTo>
                    <a:pt x="596" y="285"/>
                  </a:lnTo>
                  <a:lnTo>
                    <a:pt x="596" y="287"/>
                  </a:lnTo>
                  <a:lnTo>
                    <a:pt x="598" y="287"/>
                  </a:lnTo>
                  <a:lnTo>
                    <a:pt x="601" y="288"/>
                  </a:lnTo>
                  <a:lnTo>
                    <a:pt x="602" y="288"/>
                  </a:lnTo>
                  <a:lnTo>
                    <a:pt x="601" y="288"/>
                  </a:lnTo>
                  <a:lnTo>
                    <a:pt x="595" y="288"/>
                  </a:lnTo>
                  <a:lnTo>
                    <a:pt x="595" y="289"/>
                  </a:lnTo>
                  <a:lnTo>
                    <a:pt x="598" y="288"/>
                  </a:lnTo>
                  <a:lnTo>
                    <a:pt x="598" y="289"/>
                  </a:lnTo>
                  <a:lnTo>
                    <a:pt x="599" y="289"/>
                  </a:lnTo>
                  <a:lnTo>
                    <a:pt x="600" y="289"/>
                  </a:lnTo>
                  <a:lnTo>
                    <a:pt x="600" y="290"/>
                  </a:lnTo>
                  <a:lnTo>
                    <a:pt x="599" y="290"/>
                  </a:lnTo>
                  <a:lnTo>
                    <a:pt x="600" y="291"/>
                  </a:lnTo>
                  <a:lnTo>
                    <a:pt x="596" y="290"/>
                  </a:lnTo>
                  <a:lnTo>
                    <a:pt x="595" y="290"/>
                  </a:lnTo>
                  <a:lnTo>
                    <a:pt x="596" y="291"/>
                  </a:lnTo>
                  <a:lnTo>
                    <a:pt x="596" y="293"/>
                  </a:lnTo>
                  <a:lnTo>
                    <a:pt x="598" y="293"/>
                  </a:lnTo>
                  <a:lnTo>
                    <a:pt x="598" y="294"/>
                  </a:lnTo>
                  <a:lnTo>
                    <a:pt x="600" y="295"/>
                  </a:lnTo>
                  <a:lnTo>
                    <a:pt x="599" y="294"/>
                  </a:lnTo>
                  <a:lnTo>
                    <a:pt x="600" y="294"/>
                  </a:lnTo>
                  <a:lnTo>
                    <a:pt x="602" y="294"/>
                  </a:lnTo>
                  <a:lnTo>
                    <a:pt x="604" y="294"/>
                  </a:lnTo>
                  <a:lnTo>
                    <a:pt x="605" y="294"/>
                  </a:lnTo>
                  <a:lnTo>
                    <a:pt x="607" y="293"/>
                  </a:lnTo>
                  <a:lnTo>
                    <a:pt x="606" y="291"/>
                  </a:lnTo>
                  <a:lnTo>
                    <a:pt x="605" y="290"/>
                  </a:lnTo>
                  <a:lnTo>
                    <a:pt x="604" y="290"/>
                  </a:lnTo>
                  <a:lnTo>
                    <a:pt x="605" y="289"/>
                  </a:lnTo>
                  <a:lnTo>
                    <a:pt x="606" y="290"/>
                  </a:lnTo>
                  <a:lnTo>
                    <a:pt x="607" y="288"/>
                  </a:lnTo>
                  <a:lnTo>
                    <a:pt x="608" y="288"/>
                  </a:lnTo>
                  <a:lnTo>
                    <a:pt x="611" y="289"/>
                  </a:lnTo>
                  <a:lnTo>
                    <a:pt x="613" y="289"/>
                  </a:lnTo>
                  <a:lnTo>
                    <a:pt x="612" y="287"/>
                  </a:lnTo>
                  <a:lnTo>
                    <a:pt x="615" y="287"/>
                  </a:lnTo>
                  <a:lnTo>
                    <a:pt x="615" y="284"/>
                  </a:lnTo>
                  <a:lnTo>
                    <a:pt x="615" y="287"/>
                  </a:lnTo>
                  <a:lnTo>
                    <a:pt x="617" y="285"/>
                  </a:lnTo>
                  <a:lnTo>
                    <a:pt x="617" y="287"/>
                  </a:lnTo>
                  <a:lnTo>
                    <a:pt x="618" y="287"/>
                  </a:lnTo>
                  <a:lnTo>
                    <a:pt x="621" y="288"/>
                  </a:lnTo>
                  <a:lnTo>
                    <a:pt x="621" y="287"/>
                  </a:lnTo>
                  <a:lnTo>
                    <a:pt x="622" y="285"/>
                  </a:lnTo>
                  <a:lnTo>
                    <a:pt x="622" y="284"/>
                  </a:lnTo>
                  <a:lnTo>
                    <a:pt x="621" y="289"/>
                  </a:lnTo>
                  <a:lnTo>
                    <a:pt x="621" y="290"/>
                  </a:lnTo>
                  <a:lnTo>
                    <a:pt x="622" y="290"/>
                  </a:lnTo>
                  <a:lnTo>
                    <a:pt x="623" y="289"/>
                  </a:lnTo>
                  <a:lnTo>
                    <a:pt x="624" y="287"/>
                  </a:lnTo>
                  <a:lnTo>
                    <a:pt x="623" y="284"/>
                  </a:lnTo>
                  <a:lnTo>
                    <a:pt x="624" y="287"/>
                  </a:lnTo>
                  <a:lnTo>
                    <a:pt x="625" y="287"/>
                  </a:lnTo>
                  <a:lnTo>
                    <a:pt x="625" y="285"/>
                  </a:lnTo>
                  <a:lnTo>
                    <a:pt x="627" y="288"/>
                  </a:lnTo>
                  <a:lnTo>
                    <a:pt x="628" y="288"/>
                  </a:lnTo>
                  <a:lnTo>
                    <a:pt x="629" y="288"/>
                  </a:lnTo>
                  <a:lnTo>
                    <a:pt x="629" y="285"/>
                  </a:lnTo>
                  <a:lnTo>
                    <a:pt x="631" y="288"/>
                  </a:lnTo>
                  <a:lnTo>
                    <a:pt x="634" y="288"/>
                  </a:lnTo>
                  <a:lnTo>
                    <a:pt x="635" y="289"/>
                  </a:lnTo>
                  <a:lnTo>
                    <a:pt x="631" y="288"/>
                  </a:lnTo>
                  <a:lnTo>
                    <a:pt x="630" y="290"/>
                  </a:lnTo>
                  <a:lnTo>
                    <a:pt x="633" y="293"/>
                  </a:lnTo>
                  <a:lnTo>
                    <a:pt x="633" y="294"/>
                  </a:lnTo>
                  <a:lnTo>
                    <a:pt x="634" y="294"/>
                  </a:lnTo>
                  <a:lnTo>
                    <a:pt x="634" y="296"/>
                  </a:lnTo>
                  <a:lnTo>
                    <a:pt x="635" y="296"/>
                  </a:lnTo>
                  <a:lnTo>
                    <a:pt x="637" y="297"/>
                  </a:lnTo>
                  <a:lnTo>
                    <a:pt x="639" y="297"/>
                  </a:lnTo>
                  <a:lnTo>
                    <a:pt x="640" y="299"/>
                  </a:lnTo>
                  <a:lnTo>
                    <a:pt x="640" y="300"/>
                  </a:lnTo>
                  <a:lnTo>
                    <a:pt x="641" y="301"/>
                  </a:lnTo>
                  <a:lnTo>
                    <a:pt x="642" y="301"/>
                  </a:lnTo>
                  <a:lnTo>
                    <a:pt x="643" y="303"/>
                  </a:lnTo>
                  <a:lnTo>
                    <a:pt x="642" y="303"/>
                  </a:lnTo>
                  <a:lnTo>
                    <a:pt x="642" y="305"/>
                  </a:lnTo>
                  <a:lnTo>
                    <a:pt x="641" y="305"/>
                  </a:lnTo>
                  <a:lnTo>
                    <a:pt x="640" y="305"/>
                  </a:lnTo>
                  <a:lnTo>
                    <a:pt x="641" y="306"/>
                  </a:lnTo>
                  <a:lnTo>
                    <a:pt x="643" y="309"/>
                  </a:lnTo>
                  <a:lnTo>
                    <a:pt x="643" y="308"/>
                  </a:lnTo>
                  <a:lnTo>
                    <a:pt x="643" y="306"/>
                  </a:lnTo>
                  <a:lnTo>
                    <a:pt x="645" y="307"/>
                  </a:lnTo>
                  <a:lnTo>
                    <a:pt x="646" y="307"/>
                  </a:lnTo>
                  <a:lnTo>
                    <a:pt x="646" y="308"/>
                  </a:lnTo>
                  <a:lnTo>
                    <a:pt x="646" y="309"/>
                  </a:lnTo>
                  <a:lnTo>
                    <a:pt x="646" y="311"/>
                  </a:lnTo>
                  <a:lnTo>
                    <a:pt x="648" y="311"/>
                  </a:lnTo>
                  <a:lnTo>
                    <a:pt x="651" y="313"/>
                  </a:lnTo>
                  <a:lnTo>
                    <a:pt x="652" y="314"/>
                  </a:lnTo>
                  <a:lnTo>
                    <a:pt x="649" y="317"/>
                  </a:lnTo>
                  <a:lnTo>
                    <a:pt x="652" y="318"/>
                  </a:lnTo>
                  <a:lnTo>
                    <a:pt x="649" y="318"/>
                  </a:lnTo>
                  <a:lnTo>
                    <a:pt x="649" y="320"/>
                  </a:lnTo>
                  <a:lnTo>
                    <a:pt x="649" y="321"/>
                  </a:lnTo>
                  <a:lnTo>
                    <a:pt x="648" y="323"/>
                  </a:lnTo>
                  <a:lnTo>
                    <a:pt x="649" y="323"/>
                  </a:lnTo>
                  <a:lnTo>
                    <a:pt x="647" y="323"/>
                  </a:lnTo>
                  <a:lnTo>
                    <a:pt x="647" y="325"/>
                  </a:lnTo>
                  <a:lnTo>
                    <a:pt x="647" y="326"/>
                  </a:lnTo>
                  <a:lnTo>
                    <a:pt x="646" y="327"/>
                  </a:lnTo>
                  <a:lnTo>
                    <a:pt x="648" y="329"/>
                  </a:lnTo>
                  <a:lnTo>
                    <a:pt x="647" y="329"/>
                  </a:lnTo>
                  <a:lnTo>
                    <a:pt x="646" y="329"/>
                  </a:lnTo>
                  <a:lnTo>
                    <a:pt x="646" y="330"/>
                  </a:lnTo>
                  <a:lnTo>
                    <a:pt x="646" y="331"/>
                  </a:lnTo>
                  <a:lnTo>
                    <a:pt x="643" y="331"/>
                  </a:lnTo>
                  <a:lnTo>
                    <a:pt x="643" y="332"/>
                  </a:lnTo>
                  <a:lnTo>
                    <a:pt x="643" y="335"/>
                  </a:lnTo>
                  <a:lnTo>
                    <a:pt x="642" y="335"/>
                  </a:lnTo>
                  <a:lnTo>
                    <a:pt x="641" y="336"/>
                  </a:lnTo>
                  <a:lnTo>
                    <a:pt x="640" y="336"/>
                  </a:lnTo>
                  <a:lnTo>
                    <a:pt x="637" y="336"/>
                  </a:lnTo>
                  <a:lnTo>
                    <a:pt x="637" y="339"/>
                  </a:lnTo>
                  <a:lnTo>
                    <a:pt x="636" y="341"/>
                  </a:lnTo>
                  <a:lnTo>
                    <a:pt x="635" y="341"/>
                  </a:lnTo>
                  <a:lnTo>
                    <a:pt x="634" y="342"/>
                  </a:lnTo>
                  <a:lnTo>
                    <a:pt x="633" y="343"/>
                  </a:lnTo>
                  <a:lnTo>
                    <a:pt x="631" y="344"/>
                  </a:lnTo>
                  <a:lnTo>
                    <a:pt x="633" y="344"/>
                  </a:lnTo>
                  <a:lnTo>
                    <a:pt x="630" y="344"/>
                  </a:lnTo>
                  <a:lnTo>
                    <a:pt x="630" y="347"/>
                  </a:lnTo>
                  <a:lnTo>
                    <a:pt x="629" y="348"/>
                  </a:lnTo>
                  <a:lnTo>
                    <a:pt x="630" y="349"/>
                  </a:lnTo>
                  <a:lnTo>
                    <a:pt x="631" y="349"/>
                  </a:lnTo>
                  <a:lnTo>
                    <a:pt x="633" y="349"/>
                  </a:lnTo>
                  <a:lnTo>
                    <a:pt x="634" y="348"/>
                  </a:lnTo>
                  <a:lnTo>
                    <a:pt x="633" y="347"/>
                  </a:lnTo>
                  <a:lnTo>
                    <a:pt x="634" y="345"/>
                  </a:lnTo>
                  <a:lnTo>
                    <a:pt x="635" y="344"/>
                  </a:lnTo>
                  <a:lnTo>
                    <a:pt x="636" y="344"/>
                  </a:lnTo>
                  <a:lnTo>
                    <a:pt x="637" y="344"/>
                  </a:lnTo>
                  <a:lnTo>
                    <a:pt x="640" y="344"/>
                  </a:lnTo>
                  <a:lnTo>
                    <a:pt x="639" y="347"/>
                  </a:lnTo>
                  <a:lnTo>
                    <a:pt x="640" y="348"/>
                  </a:lnTo>
                  <a:lnTo>
                    <a:pt x="639" y="349"/>
                  </a:lnTo>
                  <a:lnTo>
                    <a:pt x="637" y="349"/>
                  </a:lnTo>
                  <a:lnTo>
                    <a:pt x="636" y="350"/>
                  </a:lnTo>
                  <a:lnTo>
                    <a:pt x="635" y="351"/>
                  </a:lnTo>
                  <a:lnTo>
                    <a:pt x="636" y="353"/>
                  </a:lnTo>
                  <a:lnTo>
                    <a:pt x="635" y="353"/>
                  </a:lnTo>
                  <a:lnTo>
                    <a:pt x="637" y="354"/>
                  </a:lnTo>
                  <a:lnTo>
                    <a:pt x="639" y="354"/>
                  </a:lnTo>
                  <a:lnTo>
                    <a:pt x="639" y="355"/>
                  </a:lnTo>
                  <a:lnTo>
                    <a:pt x="636" y="355"/>
                  </a:lnTo>
                  <a:lnTo>
                    <a:pt x="635" y="356"/>
                  </a:lnTo>
                  <a:lnTo>
                    <a:pt x="635" y="357"/>
                  </a:lnTo>
                  <a:lnTo>
                    <a:pt x="637" y="357"/>
                  </a:lnTo>
                  <a:lnTo>
                    <a:pt x="635" y="359"/>
                  </a:lnTo>
                  <a:lnTo>
                    <a:pt x="637" y="359"/>
                  </a:lnTo>
                  <a:lnTo>
                    <a:pt x="636" y="361"/>
                  </a:lnTo>
                  <a:lnTo>
                    <a:pt x="636" y="362"/>
                  </a:lnTo>
                  <a:lnTo>
                    <a:pt x="637" y="362"/>
                  </a:lnTo>
                  <a:lnTo>
                    <a:pt x="639" y="362"/>
                  </a:lnTo>
                  <a:lnTo>
                    <a:pt x="639" y="361"/>
                  </a:lnTo>
                  <a:lnTo>
                    <a:pt x="640" y="362"/>
                  </a:lnTo>
                  <a:lnTo>
                    <a:pt x="641" y="362"/>
                  </a:lnTo>
                  <a:lnTo>
                    <a:pt x="642" y="362"/>
                  </a:lnTo>
                  <a:lnTo>
                    <a:pt x="640" y="365"/>
                  </a:lnTo>
                  <a:lnTo>
                    <a:pt x="641" y="366"/>
                  </a:lnTo>
                  <a:lnTo>
                    <a:pt x="643" y="366"/>
                  </a:lnTo>
                  <a:lnTo>
                    <a:pt x="645" y="367"/>
                  </a:lnTo>
                  <a:lnTo>
                    <a:pt x="646" y="365"/>
                  </a:lnTo>
                  <a:lnTo>
                    <a:pt x="647" y="365"/>
                  </a:lnTo>
                  <a:lnTo>
                    <a:pt x="647" y="366"/>
                  </a:lnTo>
                  <a:lnTo>
                    <a:pt x="649" y="367"/>
                  </a:lnTo>
                  <a:lnTo>
                    <a:pt x="651" y="366"/>
                  </a:lnTo>
                  <a:lnTo>
                    <a:pt x="652" y="366"/>
                  </a:lnTo>
                  <a:lnTo>
                    <a:pt x="652" y="367"/>
                  </a:lnTo>
                  <a:lnTo>
                    <a:pt x="651" y="367"/>
                  </a:lnTo>
                  <a:lnTo>
                    <a:pt x="652" y="367"/>
                  </a:lnTo>
                  <a:lnTo>
                    <a:pt x="654" y="367"/>
                  </a:lnTo>
                  <a:lnTo>
                    <a:pt x="654" y="366"/>
                  </a:lnTo>
                  <a:lnTo>
                    <a:pt x="655" y="364"/>
                  </a:lnTo>
                  <a:lnTo>
                    <a:pt x="655" y="365"/>
                  </a:lnTo>
                  <a:lnTo>
                    <a:pt x="657" y="366"/>
                  </a:lnTo>
                  <a:lnTo>
                    <a:pt x="658" y="367"/>
                  </a:lnTo>
                  <a:lnTo>
                    <a:pt x="659" y="367"/>
                  </a:lnTo>
                  <a:lnTo>
                    <a:pt x="658" y="367"/>
                  </a:lnTo>
                  <a:lnTo>
                    <a:pt x="654" y="368"/>
                  </a:lnTo>
                  <a:lnTo>
                    <a:pt x="653" y="371"/>
                  </a:lnTo>
                  <a:lnTo>
                    <a:pt x="653" y="372"/>
                  </a:lnTo>
                  <a:lnTo>
                    <a:pt x="653" y="373"/>
                  </a:lnTo>
                  <a:lnTo>
                    <a:pt x="652" y="374"/>
                  </a:lnTo>
                  <a:lnTo>
                    <a:pt x="653" y="376"/>
                  </a:lnTo>
                  <a:lnTo>
                    <a:pt x="655" y="374"/>
                  </a:lnTo>
                  <a:lnTo>
                    <a:pt x="655" y="373"/>
                  </a:lnTo>
                  <a:lnTo>
                    <a:pt x="655" y="371"/>
                  </a:lnTo>
                  <a:lnTo>
                    <a:pt x="657" y="371"/>
                  </a:lnTo>
                  <a:lnTo>
                    <a:pt x="657" y="370"/>
                  </a:lnTo>
                  <a:lnTo>
                    <a:pt x="658" y="370"/>
                  </a:lnTo>
                  <a:lnTo>
                    <a:pt x="660" y="370"/>
                  </a:lnTo>
                  <a:lnTo>
                    <a:pt x="661" y="368"/>
                  </a:lnTo>
                  <a:lnTo>
                    <a:pt x="660" y="371"/>
                  </a:lnTo>
                  <a:lnTo>
                    <a:pt x="660" y="370"/>
                  </a:lnTo>
                  <a:lnTo>
                    <a:pt x="663" y="370"/>
                  </a:lnTo>
                  <a:lnTo>
                    <a:pt x="660" y="372"/>
                  </a:lnTo>
                  <a:lnTo>
                    <a:pt x="659" y="373"/>
                  </a:lnTo>
                  <a:lnTo>
                    <a:pt x="661" y="374"/>
                  </a:lnTo>
                  <a:lnTo>
                    <a:pt x="660" y="374"/>
                  </a:lnTo>
                  <a:lnTo>
                    <a:pt x="660" y="376"/>
                  </a:lnTo>
                  <a:lnTo>
                    <a:pt x="659" y="377"/>
                  </a:lnTo>
                  <a:lnTo>
                    <a:pt x="660" y="378"/>
                  </a:lnTo>
                  <a:lnTo>
                    <a:pt x="658" y="378"/>
                  </a:lnTo>
                  <a:lnTo>
                    <a:pt x="659" y="380"/>
                  </a:lnTo>
                  <a:lnTo>
                    <a:pt x="658" y="380"/>
                  </a:lnTo>
                  <a:lnTo>
                    <a:pt x="657" y="382"/>
                  </a:lnTo>
                  <a:lnTo>
                    <a:pt x="655" y="382"/>
                  </a:lnTo>
                  <a:lnTo>
                    <a:pt x="657" y="382"/>
                  </a:lnTo>
                  <a:lnTo>
                    <a:pt x="659" y="384"/>
                  </a:lnTo>
                  <a:lnTo>
                    <a:pt x="660" y="386"/>
                  </a:lnTo>
                  <a:lnTo>
                    <a:pt x="658" y="385"/>
                  </a:lnTo>
                  <a:lnTo>
                    <a:pt x="657" y="384"/>
                  </a:lnTo>
                  <a:lnTo>
                    <a:pt x="657" y="383"/>
                  </a:lnTo>
                  <a:lnTo>
                    <a:pt x="657" y="385"/>
                  </a:lnTo>
                  <a:lnTo>
                    <a:pt x="655" y="385"/>
                  </a:lnTo>
                  <a:lnTo>
                    <a:pt x="654" y="385"/>
                  </a:lnTo>
                  <a:lnTo>
                    <a:pt x="653" y="386"/>
                  </a:lnTo>
                  <a:lnTo>
                    <a:pt x="652" y="388"/>
                  </a:lnTo>
                  <a:lnTo>
                    <a:pt x="651" y="389"/>
                  </a:lnTo>
                  <a:lnTo>
                    <a:pt x="651" y="390"/>
                  </a:lnTo>
                  <a:lnTo>
                    <a:pt x="648" y="390"/>
                  </a:lnTo>
                  <a:lnTo>
                    <a:pt x="647" y="388"/>
                  </a:lnTo>
                  <a:lnTo>
                    <a:pt x="647" y="386"/>
                  </a:lnTo>
                  <a:lnTo>
                    <a:pt x="646" y="386"/>
                  </a:lnTo>
                  <a:lnTo>
                    <a:pt x="645" y="386"/>
                  </a:lnTo>
                  <a:lnTo>
                    <a:pt x="645" y="385"/>
                  </a:lnTo>
                  <a:lnTo>
                    <a:pt x="642" y="385"/>
                  </a:lnTo>
                  <a:lnTo>
                    <a:pt x="641" y="385"/>
                  </a:lnTo>
                  <a:lnTo>
                    <a:pt x="640" y="386"/>
                  </a:lnTo>
                  <a:lnTo>
                    <a:pt x="640" y="388"/>
                  </a:lnTo>
                  <a:lnTo>
                    <a:pt x="639" y="389"/>
                  </a:lnTo>
                  <a:lnTo>
                    <a:pt x="637" y="386"/>
                  </a:lnTo>
                  <a:lnTo>
                    <a:pt x="636" y="386"/>
                  </a:lnTo>
                  <a:lnTo>
                    <a:pt x="636" y="384"/>
                  </a:lnTo>
                  <a:lnTo>
                    <a:pt x="636" y="382"/>
                  </a:lnTo>
                  <a:lnTo>
                    <a:pt x="635" y="379"/>
                  </a:lnTo>
                  <a:lnTo>
                    <a:pt x="635" y="382"/>
                  </a:lnTo>
                  <a:lnTo>
                    <a:pt x="634" y="382"/>
                  </a:lnTo>
                  <a:lnTo>
                    <a:pt x="633" y="382"/>
                  </a:lnTo>
                  <a:lnTo>
                    <a:pt x="634" y="384"/>
                  </a:lnTo>
                  <a:lnTo>
                    <a:pt x="633" y="383"/>
                  </a:lnTo>
                  <a:lnTo>
                    <a:pt x="633" y="380"/>
                  </a:lnTo>
                  <a:lnTo>
                    <a:pt x="631" y="378"/>
                  </a:lnTo>
                  <a:lnTo>
                    <a:pt x="629" y="378"/>
                  </a:lnTo>
                  <a:lnTo>
                    <a:pt x="629" y="377"/>
                  </a:lnTo>
                  <a:lnTo>
                    <a:pt x="628" y="376"/>
                  </a:lnTo>
                  <a:lnTo>
                    <a:pt x="628" y="374"/>
                  </a:lnTo>
                  <a:lnTo>
                    <a:pt x="627" y="377"/>
                  </a:lnTo>
                  <a:lnTo>
                    <a:pt x="628" y="378"/>
                  </a:lnTo>
                  <a:lnTo>
                    <a:pt x="627" y="378"/>
                  </a:lnTo>
                  <a:lnTo>
                    <a:pt x="624" y="377"/>
                  </a:lnTo>
                  <a:lnTo>
                    <a:pt x="624" y="374"/>
                  </a:lnTo>
                  <a:lnTo>
                    <a:pt x="621" y="374"/>
                  </a:lnTo>
                  <a:lnTo>
                    <a:pt x="621" y="377"/>
                  </a:lnTo>
                  <a:lnTo>
                    <a:pt x="619" y="376"/>
                  </a:lnTo>
                  <a:lnTo>
                    <a:pt x="618" y="376"/>
                  </a:lnTo>
                  <a:lnTo>
                    <a:pt x="616" y="374"/>
                  </a:lnTo>
                  <a:lnTo>
                    <a:pt x="612" y="373"/>
                  </a:lnTo>
                  <a:lnTo>
                    <a:pt x="611" y="374"/>
                  </a:lnTo>
                  <a:lnTo>
                    <a:pt x="611" y="377"/>
                  </a:lnTo>
                  <a:lnTo>
                    <a:pt x="612" y="376"/>
                  </a:lnTo>
                  <a:lnTo>
                    <a:pt x="612" y="377"/>
                  </a:lnTo>
                  <a:lnTo>
                    <a:pt x="613" y="377"/>
                  </a:lnTo>
                  <a:lnTo>
                    <a:pt x="613" y="378"/>
                  </a:lnTo>
                  <a:lnTo>
                    <a:pt x="616" y="379"/>
                  </a:lnTo>
                  <a:lnTo>
                    <a:pt x="616" y="380"/>
                  </a:lnTo>
                  <a:lnTo>
                    <a:pt x="615" y="380"/>
                  </a:lnTo>
                  <a:lnTo>
                    <a:pt x="613" y="384"/>
                  </a:lnTo>
                  <a:lnTo>
                    <a:pt x="615" y="383"/>
                  </a:lnTo>
                  <a:lnTo>
                    <a:pt x="616" y="383"/>
                  </a:lnTo>
                  <a:lnTo>
                    <a:pt x="616" y="385"/>
                  </a:lnTo>
                  <a:lnTo>
                    <a:pt x="617" y="385"/>
                  </a:lnTo>
                  <a:lnTo>
                    <a:pt x="618" y="385"/>
                  </a:lnTo>
                  <a:lnTo>
                    <a:pt x="619" y="384"/>
                  </a:lnTo>
                  <a:lnTo>
                    <a:pt x="619" y="386"/>
                  </a:lnTo>
                  <a:lnTo>
                    <a:pt x="622" y="386"/>
                  </a:lnTo>
                  <a:lnTo>
                    <a:pt x="623" y="386"/>
                  </a:lnTo>
                  <a:lnTo>
                    <a:pt x="623" y="388"/>
                  </a:lnTo>
                  <a:lnTo>
                    <a:pt x="623" y="389"/>
                  </a:lnTo>
                  <a:lnTo>
                    <a:pt x="622" y="392"/>
                  </a:lnTo>
                  <a:lnTo>
                    <a:pt x="623" y="395"/>
                  </a:lnTo>
                  <a:lnTo>
                    <a:pt x="624" y="394"/>
                  </a:lnTo>
                  <a:lnTo>
                    <a:pt x="627" y="395"/>
                  </a:lnTo>
                  <a:lnTo>
                    <a:pt x="628" y="395"/>
                  </a:lnTo>
                  <a:lnTo>
                    <a:pt x="628" y="396"/>
                  </a:lnTo>
                  <a:lnTo>
                    <a:pt x="629" y="395"/>
                  </a:lnTo>
                  <a:lnTo>
                    <a:pt x="631" y="398"/>
                  </a:lnTo>
                  <a:lnTo>
                    <a:pt x="633" y="396"/>
                  </a:lnTo>
                  <a:lnTo>
                    <a:pt x="634" y="396"/>
                  </a:lnTo>
                  <a:lnTo>
                    <a:pt x="634" y="400"/>
                  </a:lnTo>
                  <a:lnTo>
                    <a:pt x="635" y="400"/>
                  </a:lnTo>
                  <a:lnTo>
                    <a:pt x="637" y="401"/>
                  </a:lnTo>
                  <a:lnTo>
                    <a:pt x="636" y="402"/>
                  </a:lnTo>
                  <a:lnTo>
                    <a:pt x="637" y="402"/>
                  </a:lnTo>
                  <a:lnTo>
                    <a:pt x="636" y="404"/>
                  </a:lnTo>
                  <a:lnTo>
                    <a:pt x="639" y="407"/>
                  </a:lnTo>
                  <a:lnTo>
                    <a:pt x="637" y="408"/>
                  </a:lnTo>
                  <a:lnTo>
                    <a:pt x="640" y="409"/>
                  </a:lnTo>
                  <a:lnTo>
                    <a:pt x="641" y="410"/>
                  </a:lnTo>
                  <a:lnTo>
                    <a:pt x="641" y="412"/>
                  </a:lnTo>
                  <a:lnTo>
                    <a:pt x="641" y="413"/>
                  </a:lnTo>
                  <a:lnTo>
                    <a:pt x="640" y="413"/>
                  </a:lnTo>
                  <a:lnTo>
                    <a:pt x="640" y="414"/>
                  </a:lnTo>
                  <a:lnTo>
                    <a:pt x="639" y="414"/>
                  </a:lnTo>
                  <a:lnTo>
                    <a:pt x="639" y="416"/>
                  </a:lnTo>
                  <a:lnTo>
                    <a:pt x="639" y="418"/>
                  </a:lnTo>
                  <a:lnTo>
                    <a:pt x="637" y="419"/>
                  </a:lnTo>
                  <a:lnTo>
                    <a:pt x="639" y="420"/>
                  </a:lnTo>
                  <a:lnTo>
                    <a:pt x="640" y="420"/>
                  </a:lnTo>
                  <a:lnTo>
                    <a:pt x="639" y="422"/>
                  </a:lnTo>
                  <a:lnTo>
                    <a:pt x="637" y="421"/>
                  </a:lnTo>
                  <a:lnTo>
                    <a:pt x="636" y="421"/>
                  </a:lnTo>
                  <a:lnTo>
                    <a:pt x="636" y="420"/>
                  </a:lnTo>
                  <a:lnTo>
                    <a:pt x="636" y="421"/>
                  </a:lnTo>
                  <a:lnTo>
                    <a:pt x="636" y="424"/>
                  </a:lnTo>
                  <a:lnTo>
                    <a:pt x="637" y="425"/>
                  </a:lnTo>
                  <a:lnTo>
                    <a:pt x="637" y="426"/>
                  </a:lnTo>
                  <a:lnTo>
                    <a:pt x="639" y="430"/>
                  </a:lnTo>
                  <a:lnTo>
                    <a:pt x="637" y="428"/>
                  </a:lnTo>
                  <a:lnTo>
                    <a:pt x="636" y="426"/>
                  </a:lnTo>
                  <a:lnTo>
                    <a:pt x="635" y="426"/>
                  </a:lnTo>
                  <a:lnTo>
                    <a:pt x="635" y="425"/>
                  </a:lnTo>
                  <a:lnTo>
                    <a:pt x="635" y="427"/>
                  </a:lnTo>
                  <a:lnTo>
                    <a:pt x="635" y="428"/>
                  </a:lnTo>
                  <a:lnTo>
                    <a:pt x="635" y="430"/>
                  </a:lnTo>
                  <a:lnTo>
                    <a:pt x="637" y="431"/>
                  </a:lnTo>
                  <a:lnTo>
                    <a:pt x="637" y="432"/>
                  </a:lnTo>
                  <a:lnTo>
                    <a:pt x="639" y="433"/>
                  </a:lnTo>
                  <a:lnTo>
                    <a:pt x="636" y="432"/>
                  </a:lnTo>
                  <a:lnTo>
                    <a:pt x="635" y="432"/>
                  </a:lnTo>
                  <a:lnTo>
                    <a:pt x="636" y="433"/>
                  </a:lnTo>
                  <a:lnTo>
                    <a:pt x="636" y="436"/>
                  </a:lnTo>
                  <a:lnTo>
                    <a:pt x="636" y="437"/>
                  </a:lnTo>
                  <a:lnTo>
                    <a:pt x="634" y="437"/>
                  </a:lnTo>
                  <a:lnTo>
                    <a:pt x="633" y="437"/>
                  </a:lnTo>
                  <a:lnTo>
                    <a:pt x="633" y="438"/>
                  </a:lnTo>
                  <a:lnTo>
                    <a:pt x="630" y="437"/>
                  </a:lnTo>
                  <a:lnTo>
                    <a:pt x="631" y="438"/>
                  </a:lnTo>
                  <a:lnTo>
                    <a:pt x="631" y="440"/>
                  </a:lnTo>
                  <a:lnTo>
                    <a:pt x="630" y="439"/>
                  </a:lnTo>
                  <a:lnTo>
                    <a:pt x="629" y="439"/>
                  </a:lnTo>
                  <a:lnTo>
                    <a:pt x="628" y="439"/>
                  </a:lnTo>
                  <a:lnTo>
                    <a:pt x="630" y="442"/>
                  </a:lnTo>
                  <a:lnTo>
                    <a:pt x="629" y="443"/>
                  </a:lnTo>
                  <a:lnTo>
                    <a:pt x="628" y="443"/>
                  </a:lnTo>
                  <a:lnTo>
                    <a:pt x="629" y="443"/>
                  </a:lnTo>
                  <a:lnTo>
                    <a:pt x="630" y="445"/>
                  </a:lnTo>
                  <a:lnTo>
                    <a:pt x="631" y="445"/>
                  </a:lnTo>
                  <a:lnTo>
                    <a:pt x="631" y="448"/>
                  </a:lnTo>
                  <a:lnTo>
                    <a:pt x="631" y="449"/>
                  </a:lnTo>
                  <a:lnTo>
                    <a:pt x="633" y="448"/>
                  </a:lnTo>
                  <a:lnTo>
                    <a:pt x="634" y="448"/>
                  </a:lnTo>
                  <a:lnTo>
                    <a:pt x="634" y="449"/>
                  </a:lnTo>
                  <a:lnTo>
                    <a:pt x="636" y="451"/>
                  </a:lnTo>
                  <a:lnTo>
                    <a:pt x="634" y="451"/>
                  </a:lnTo>
                  <a:lnTo>
                    <a:pt x="633" y="452"/>
                  </a:lnTo>
                  <a:lnTo>
                    <a:pt x="633" y="451"/>
                  </a:lnTo>
                  <a:lnTo>
                    <a:pt x="631" y="451"/>
                  </a:lnTo>
                  <a:lnTo>
                    <a:pt x="630" y="454"/>
                  </a:lnTo>
                  <a:lnTo>
                    <a:pt x="628" y="454"/>
                  </a:lnTo>
                  <a:lnTo>
                    <a:pt x="628" y="452"/>
                  </a:lnTo>
                  <a:lnTo>
                    <a:pt x="628" y="454"/>
                  </a:lnTo>
                  <a:lnTo>
                    <a:pt x="627" y="454"/>
                  </a:lnTo>
                  <a:lnTo>
                    <a:pt x="625" y="454"/>
                  </a:lnTo>
                  <a:lnTo>
                    <a:pt x="625" y="455"/>
                  </a:lnTo>
                  <a:lnTo>
                    <a:pt x="624" y="456"/>
                  </a:lnTo>
                  <a:lnTo>
                    <a:pt x="624" y="457"/>
                  </a:lnTo>
                  <a:lnTo>
                    <a:pt x="623" y="458"/>
                  </a:lnTo>
                  <a:lnTo>
                    <a:pt x="624" y="460"/>
                  </a:lnTo>
                  <a:lnTo>
                    <a:pt x="624" y="461"/>
                  </a:lnTo>
                  <a:lnTo>
                    <a:pt x="623" y="462"/>
                  </a:lnTo>
                  <a:lnTo>
                    <a:pt x="624" y="462"/>
                  </a:lnTo>
                  <a:lnTo>
                    <a:pt x="624" y="464"/>
                  </a:lnTo>
                  <a:lnTo>
                    <a:pt x="625" y="464"/>
                  </a:lnTo>
                  <a:lnTo>
                    <a:pt x="625" y="466"/>
                  </a:lnTo>
                  <a:lnTo>
                    <a:pt x="624" y="467"/>
                  </a:lnTo>
                  <a:lnTo>
                    <a:pt x="625" y="469"/>
                  </a:lnTo>
                  <a:lnTo>
                    <a:pt x="625" y="468"/>
                  </a:lnTo>
                  <a:lnTo>
                    <a:pt x="627" y="469"/>
                  </a:lnTo>
                  <a:lnTo>
                    <a:pt x="628" y="469"/>
                  </a:lnTo>
                  <a:lnTo>
                    <a:pt x="628" y="471"/>
                  </a:lnTo>
                  <a:lnTo>
                    <a:pt x="629" y="469"/>
                  </a:lnTo>
                  <a:lnTo>
                    <a:pt x="629" y="471"/>
                  </a:lnTo>
                  <a:lnTo>
                    <a:pt x="630" y="473"/>
                  </a:lnTo>
                  <a:lnTo>
                    <a:pt x="631" y="475"/>
                  </a:lnTo>
                  <a:lnTo>
                    <a:pt x="630" y="475"/>
                  </a:lnTo>
                  <a:lnTo>
                    <a:pt x="628" y="475"/>
                  </a:lnTo>
                  <a:lnTo>
                    <a:pt x="627" y="475"/>
                  </a:lnTo>
                  <a:lnTo>
                    <a:pt x="625" y="474"/>
                  </a:lnTo>
                  <a:lnTo>
                    <a:pt x="624" y="473"/>
                  </a:lnTo>
                  <a:lnTo>
                    <a:pt x="624" y="474"/>
                  </a:lnTo>
                  <a:lnTo>
                    <a:pt x="624" y="475"/>
                  </a:lnTo>
                  <a:lnTo>
                    <a:pt x="623" y="475"/>
                  </a:lnTo>
                  <a:lnTo>
                    <a:pt x="622" y="474"/>
                  </a:lnTo>
                  <a:lnTo>
                    <a:pt x="621" y="477"/>
                  </a:lnTo>
                  <a:lnTo>
                    <a:pt x="621" y="474"/>
                  </a:lnTo>
                  <a:lnTo>
                    <a:pt x="621" y="473"/>
                  </a:lnTo>
                  <a:lnTo>
                    <a:pt x="619" y="474"/>
                  </a:lnTo>
                  <a:lnTo>
                    <a:pt x="618" y="478"/>
                  </a:lnTo>
                  <a:lnTo>
                    <a:pt x="618" y="477"/>
                  </a:lnTo>
                  <a:lnTo>
                    <a:pt x="617" y="475"/>
                  </a:lnTo>
                  <a:lnTo>
                    <a:pt x="616" y="474"/>
                  </a:lnTo>
                  <a:lnTo>
                    <a:pt x="616" y="473"/>
                  </a:lnTo>
                  <a:lnTo>
                    <a:pt x="615" y="472"/>
                  </a:lnTo>
                  <a:lnTo>
                    <a:pt x="613" y="471"/>
                  </a:lnTo>
                  <a:lnTo>
                    <a:pt x="613" y="469"/>
                  </a:lnTo>
                  <a:lnTo>
                    <a:pt x="613" y="468"/>
                  </a:lnTo>
                  <a:lnTo>
                    <a:pt x="615" y="467"/>
                  </a:lnTo>
                  <a:lnTo>
                    <a:pt x="615" y="466"/>
                  </a:lnTo>
                  <a:lnTo>
                    <a:pt x="615" y="464"/>
                  </a:lnTo>
                  <a:lnTo>
                    <a:pt x="612" y="462"/>
                  </a:lnTo>
                  <a:lnTo>
                    <a:pt x="611" y="466"/>
                  </a:lnTo>
                  <a:lnTo>
                    <a:pt x="611" y="467"/>
                  </a:lnTo>
                  <a:lnTo>
                    <a:pt x="611" y="468"/>
                  </a:lnTo>
                  <a:lnTo>
                    <a:pt x="611" y="469"/>
                  </a:lnTo>
                  <a:lnTo>
                    <a:pt x="612" y="473"/>
                  </a:lnTo>
                  <a:lnTo>
                    <a:pt x="612" y="474"/>
                  </a:lnTo>
                  <a:lnTo>
                    <a:pt x="611" y="474"/>
                  </a:lnTo>
                  <a:lnTo>
                    <a:pt x="610" y="474"/>
                  </a:lnTo>
                  <a:lnTo>
                    <a:pt x="608" y="473"/>
                  </a:lnTo>
                  <a:lnTo>
                    <a:pt x="608" y="474"/>
                  </a:lnTo>
                  <a:lnTo>
                    <a:pt x="607" y="474"/>
                  </a:lnTo>
                  <a:lnTo>
                    <a:pt x="606" y="474"/>
                  </a:lnTo>
                  <a:lnTo>
                    <a:pt x="605" y="473"/>
                  </a:lnTo>
                  <a:lnTo>
                    <a:pt x="605" y="471"/>
                  </a:lnTo>
                  <a:lnTo>
                    <a:pt x="604" y="469"/>
                  </a:lnTo>
                  <a:lnTo>
                    <a:pt x="602" y="469"/>
                  </a:lnTo>
                  <a:lnTo>
                    <a:pt x="602" y="467"/>
                  </a:lnTo>
                  <a:lnTo>
                    <a:pt x="602" y="466"/>
                  </a:lnTo>
                  <a:lnTo>
                    <a:pt x="600" y="463"/>
                  </a:lnTo>
                  <a:lnTo>
                    <a:pt x="600" y="462"/>
                  </a:lnTo>
                  <a:lnTo>
                    <a:pt x="601" y="462"/>
                  </a:lnTo>
                  <a:lnTo>
                    <a:pt x="602" y="462"/>
                  </a:lnTo>
                  <a:lnTo>
                    <a:pt x="604" y="463"/>
                  </a:lnTo>
                  <a:lnTo>
                    <a:pt x="604" y="462"/>
                  </a:lnTo>
                  <a:lnTo>
                    <a:pt x="605" y="461"/>
                  </a:lnTo>
                  <a:lnTo>
                    <a:pt x="607" y="460"/>
                  </a:lnTo>
                  <a:lnTo>
                    <a:pt x="607" y="458"/>
                  </a:lnTo>
                  <a:lnTo>
                    <a:pt x="607" y="457"/>
                  </a:lnTo>
                  <a:lnTo>
                    <a:pt x="606" y="456"/>
                  </a:lnTo>
                  <a:lnTo>
                    <a:pt x="605" y="456"/>
                  </a:lnTo>
                  <a:lnTo>
                    <a:pt x="604" y="457"/>
                  </a:lnTo>
                  <a:lnTo>
                    <a:pt x="604" y="458"/>
                  </a:lnTo>
                  <a:lnTo>
                    <a:pt x="602" y="460"/>
                  </a:lnTo>
                  <a:lnTo>
                    <a:pt x="601" y="458"/>
                  </a:lnTo>
                  <a:lnTo>
                    <a:pt x="600" y="458"/>
                  </a:lnTo>
                  <a:lnTo>
                    <a:pt x="599" y="456"/>
                  </a:lnTo>
                  <a:lnTo>
                    <a:pt x="598" y="456"/>
                  </a:lnTo>
                  <a:lnTo>
                    <a:pt x="595" y="456"/>
                  </a:lnTo>
                  <a:lnTo>
                    <a:pt x="594" y="458"/>
                  </a:lnTo>
                  <a:lnTo>
                    <a:pt x="593" y="457"/>
                  </a:lnTo>
                  <a:lnTo>
                    <a:pt x="592" y="458"/>
                  </a:lnTo>
                  <a:lnTo>
                    <a:pt x="592" y="461"/>
                  </a:lnTo>
                  <a:lnTo>
                    <a:pt x="592" y="463"/>
                  </a:lnTo>
                  <a:lnTo>
                    <a:pt x="592" y="464"/>
                  </a:lnTo>
                  <a:lnTo>
                    <a:pt x="593" y="468"/>
                  </a:lnTo>
                  <a:lnTo>
                    <a:pt x="595" y="469"/>
                  </a:lnTo>
                  <a:lnTo>
                    <a:pt x="596" y="472"/>
                  </a:lnTo>
                  <a:lnTo>
                    <a:pt x="596" y="473"/>
                  </a:lnTo>
                  <a:lnTo>
                    <a:pt x="598" y="474"/>
                  </a:lnTo>
                  <a:lnTo>
                    <a:pt x="599" y="475"/>
                  </a:lnTo>
                  <a:lnTo>
                    <a:pt x="599" y="477"/>
                  </a:lnTo>
                  <a:lnTo>
                    <a:pt x="596" y="475"/>
                  </a:lnTo>
                  <a:lnTo>
                    <a:pt x="598" y="477"/>
                  </a:lnTo>
                  <a:lnTo>
                    <a:pt x="598" y="478"/>
                  </a:lnTo>
                  <a:lnTo>
                    <a:pt x="595" y="477"/>
                  </a:lnTo>
                  <a:lnTo>
                    <a:pt x="598" y="479"/>
                  </a:lnTo>
                  <a:lnTo>
                    <a:pt x="599" y="480"/>
                  </a:lnTo>
                  <a:lnTo>
                    <a:pt x="599" y="481"/>
                  </a:lnTo>
                  <a:lnTo>
                    <a:pt x="596" y="481"/>
                  </a:lnTo>
                  <a:lnTo>
                    <a:pt x="598" y="481"/>
                  </a:lnTo>
                  <a:lnTo>
                    <a:pt x="596" y="483"/>
                  </a:lnTo>
                  <a:lnTo>
                    <a:pt x="592" y="483"/>
                  </a:lnTo>
                  <a:lnTo>
                    <a:pt x="593" y="486"/>
                  </a:lnTo>
                  <a:lnTo>
                    <a:pt x="593" y="487"/>
                  </a:lnTo>
                  <a:lnTo>
                    <a:pt x="590" y="486"/>
                  </a:lnTo>
                  <a:lnTo>
                    <a:pt x="589" y="486"/>
                  </a:lnTo>
                  <a:lnTo>
                    <a:pt x="587" y="489"/>
                  </a:lnTo>
                  <a:lnTo>
                    <a:pt x="586" y="490"/>
                  </a:lnTo>
                  <a:lnTo>
                    <a:pt x="586" y="492"/>
                  </a:lnTo>
                  <a:lnTo>
                    <a:pt x="584" y="493"/>
                  </a:lnTo>
                  <a:lnTo>
                    <a:pt x="586" y="495"/>
                  </a:lnTo>
                  <a:lnTo>
                    <a:pt x="586" y="497"/>
                  </a:lnTo>
                  <a:lnTo>
                    <a:pt x="587" y="499"/>
                  </a:lnTo>
                  <a:lnTo>
                    <a:pt x="587" y="501"/>
                  </a:lnTo>
                  <a:lnTo>
                    <a:pt x="587" y="502"/>
                  </a:lnTo>
                  <a:lnTo>
                    <a:pt x="587" y="503"/>
                  </a:lnTo>
                  <a:lnTo>
                    <a:pt x="587" y="505"/>
                  </a:lnTo>
                  <a:lnTo>
                    <a:pt x="584" y="504"/>
                  </a:lnTo>
                  <a:lnTo>
                    <a:pt x="583" y="504"/>
                  </a:lnTo>
                  <a:lnTo>
                    <a:pt x="583" y="505"/>
                  </a:lnTo>
                  <a:lnTo>
                    <a:pt x="582" y="505"/>
                  </a:lnTo>
                  <a:lnTo>
                    <a:pt x="581" y="504"/>
                  </a:lnTo>
                  <a:lnTo>
                    <a:pt x="580" y="502"/>
                  </a:lnTo>
                  <a:lnTo>
                    <a:pt x="578" y="503"/>
                  </a:lnTo>
                  <a:lnTo>
                    <a:pt x="575" y="505"/>
                  </a:lnTo>
                  <a:lnTo>
                    <a:pt x="574" y="504"/>
                  </a:lnTo>
                  <a:lnTo>
                    <a:pt x="572" y="504"/>
                  </a:lnTo>
                  <a:lnTo>
                    <a:pt x="570" y="504"/>
                  </a:lnTo>
                  <a:lnTo>
                    <a:pt x="568" y="504"/>
                  </a:lnTo>
                  <a:lnTo>
                    <a:pt x="566" y="504"/>
                  </a:lnTo>
                  <a:lnTo>
                    <a:pt x="564" y="504"/>
                  </a:lnTo>
                  <a:lnTo>
                    <a:pt x="563" y="505"/>
                  </a:lnTo>
                  <a:lnTo>
                    <a:pt x="563" y="504"/>
                  </a:lnTo>
                  <a:lnTo>
                    <a:pt x="563" y="502"/>
                  </a:lnTo>
                  <a:lnTo>
                    <a:pt x="562" y="501"/>
                  </a:lnTo>
                  <a:lnTo>
                    <a:pt x="559" y="501"/>
                  </a:lnTo>
                  <a:lnTo>
                    <a:pt x="559" y="498"/>
                  </a:lnTo>
                  <a:lnTo>
                    <a:pt x="560" y="497"/>
                  </a:lnTo>
                  <a:lnTo>
                    <a:pt x="558" y="497"/>
                  </a:lnTo>
                  <a:lnTo>
                    <a:pt x="559" y="495"/>
                  </a:lnTo>
                  <a:lnTo>
                    <a:pt x="559" y="493"/>
                  </a:lnTo>
                  <a:lnTo>
                    <a:pt x="558" y="491"/>
                  </a:lnTo>
                  <a:lnTo>
                    <a:pt x="559" y="489"/>
                  </a:lnTo>
                  <a:lnTo>
                    <a:pt x="558" y="489"/>
                  </a:lnTo>
                  <a:lnTo>
                    <a:pt x="558" y="487"/>
                  </a:lnTo>
                  <a:lnTo>
                    <a:pt x="557" y="486"/>
                  </a:lnTo>
                  <a:lnTo>
                    <a:pt x="556" y="485"/>
                  </a:lnTo>
                  <a:lnTo>
                    <a:pt x="553" y="486"/>
                  </a:lnTo>
                  <a:lnTo>
                    <a:pt x="553" y="487"/>
                  </a:lnTo>
                  <a:lnTo>
                    <a:pt x="556" y="490"/>
                  </a:lnTo>
                  <a:lnTo>
                    <a:pt x="554" y="490"/>
                  </a:lnTo>
                  <a:lnTo>
                    <a:pt x="556" y="491"/>
                  </a:lnTo>
                  <a:lnTo>
                    <a:pt x="557" y="493"/>
                  </a:lnTo>
                  <a:lnTo>
                    <a:pt x="556" y="492"/>
                  </a:lnTo>
                  <a:lnTo>
                    <a:pt x="553" y="491"/>
                  </a:lnTo>
                  <a:lnTo>
                    <a:pt x="552" y="491"/>
                  </a:lnTo>
                  <a:lnTo>
                    <a:pt x="551" y="492"/>
                  </a:lnTo>
                  <a:lnTo>
                    <a:pt x="549" y="491"/>
                  </a:lnTo>
                  <a:lnTo>
                    <a:pt x="548" y="492"/>
                  </a:lnTo>
                  <a:lnTo>
                    <a:pt x="547" y="489"/>
                  </a:lnTo>
                  <a:lnTo>
                    <a:pt x="546" y="490"/>
                  </a:lnTo>
                  <a:lnTo>
                    <a:pt x="546" y="489"/>
                  </a:lnTo>
                  <a:lnTo>
                    <a:pt x="546" y="487"/>
                  </a:lnTo>
                  <a:lnTo>
                    <a:pt x="546" y="485"/>
                  </a:lnTo>
                  <a:lnTo>
                    <a:pt x="547" y="484"/>
                  </a:lnTo>
                  <a:lnTo>
                    <a:pt x="548" y="484"/>
                  </a:lnTo>
                  <a:lnTo>
                    <a:pt x="548" y="483"/>
                  </a:lnTo>
                  <a:lnTo>
                    <a:pt x="549" y="484"/>
                  </a:lnTo>
                  <a:lnTo>
                    <a:pt x="552" y="483"/>
                  </a:lnTo>
                  <a:lnTo>
                    <a:pt x="552" y="481"/>
                  </a:lnTo>
                  <a:lnTo>
                    <a:pt x="553" y="481"/>
                  </a:lnTo>
                  <a:lnTo>
                    <a:pt x="557" y="480"/>
                  </a:lnTo>
                  <a:lnTo>
                    <a:pt x="558" y="479"/>
                  </a:lnTo>
                  <a:lnTo>
                    <a:pt x="559" y="478"/>
                  </a:lnTo>
                  <a:lnTo>
                    <a:pt x="560" y="477"/>
                  </a:lnTo>
                  <a:lnTo>
                    <a:pt x="562" y="475"/>
                  </a:lnTo>
                  <a:lnTo>
                    <a:pt x="560" y="474"/>
                  </a:lnTo>
                  <a:lnTo>
                    <a:pt x="562" y="473"/>
                  </a:lnTo>
                  <a:lnTo>
                    <a:pt x="563" y="473"/>
                  </a:lnTo>
                  <a:lnTo>
                    <a:pt x="564" y="473"/>
                  </a:lnTo>
                  <a:lnTo>
                    <a:pt x="563" y="471"/>
                  </a:lnTo>
                  <a:lnTo>
                    <a:pt x="563" y="467"/>
                  </a:lnTo>
                  <a:lnTo>
                    <a:pt x="560" y="462"/>
                  </a:lnTo>
                  <a:lnTo>
                    <a:pt x="560" y="464"/>
                  </a:lnTo>
                  <a:lnTo>
                    <a:pt x="559" y="463"/>
                  </a:lnTo>
                  <a:lnTo>
                    <a:pt x="558" y="463"/>
                  </a:lnTo>
                  <a:lnTo>
                    <a:pt x="557" y="464"/>
                  </a:lnTo>
                  <a:lnTo>
                    <a:pt x="556" y="464"/>
                  </a:lnTo>
                  <a:lnTo>
                    <a:pt x="554" y="463"/>
                  </a:lnTo>
                  <a:lnTo>
                    <a:pt x="554" y="462"/>
                  </a:lnTo>
                  <a:lnTo>
                    <a:pt x="554" y="460"/>
                  </a:lnTo>
                  <a:lnTo>
                    <a:pt x="553" y="458"/>
                  </a:lnTo>
                  <a:lnTo>
                    <a:pt x="553" y="461"/>
                  </a:lnTo>
                  <a:lnTo>
                    <a:pt x="551" y="461"/>
                  </a:lnTo>
                  <a:lnTo>
                    <a:pt x="549" y="460"/>
                  </a:lnTo>
                  <a:lnTo>
                    <a:pt x="549" y="461"/>
                  </a:lnTo>
                  <a:lnTo>
                    <a:pt x="547" y="461"/>
                  </a:lnTo>
                  <a:lnTo>
                    <a:pt x="547" y="458"/>
                  </a:lnTo>
                  <a:lnTo>
                    <a:pt x="545" y="455"/>
                  </a:lnTo>
                  <a:lnTo>
                    <a:pt x="543" y="454"/>
                  </a:lnTo>
                  <a:lnTo>
                    <a:pt x="542" y="452"/>
                  </a:lnTo>
                  <a:lnTo>
                    <a:pt x="543" y="455"/>
                  </a:lnTo>
                  <a:lnTo>
                    <a:pt x="543" y="456"/>
                  </a:lnTo>
                  <a:lnTo>
                    <a:pt x="545" y="458"/>
                  </a:lnTo>
                  <a:lnTo>
                    <a:pt x="543" y="458"/>
                  </a:lnTo>
                  <a:lnTo>
                    <a:pt x="543" y="460"/>
                  </a:lnTo>
                  <a:lnTo>
                    <a:pt x="542" y="458"/>
                  </a:lnTo>
                  <a:lnTo>
                    <a:pt x="540" y="457"/>
                  </a:lnTo>
                  <a:lnTo>
                    <a:pt x="540" y="458"/>
                  </a:lnTo>
                  <a:lnTo>
                    <a:pt x="540" y="460"/>
                  </a:lnTo>
                  <a:lnTo>
                    <a:pt x="539" y="458"/>
                  </a:lnTo>
                  <a:lnTo>
                    <a:pt x="537" y="456"/>
                  </a:lnTo>
                  <a:lnTo>
                    <a:pt x="536" y="456"/>
                  </a:lnTo>
                  <a:lnTo>
                    <a:pt x="535" y="456"/>
                  </a:lnTo>
                  <a:lnTo>
                    <a:pt x="536" y="458"/>
                  </a:lnTo>
                  <a:lnTo>
                    <a:pt x="537" y="458"/>
                  </a:lnTo>
                  <a:lnTo>
                    <a:pt x="537" y="460"/>
                  </a:lnTo>
                  <a:lnTo>
                    <a:pt x="536" y="460"/>
                  </a:lnTo>
                  <a:lnTo>
                    <a:pt x="534" y="460"/>
                  </a:lnTo>
                  <a:lnTo>
                    <a:pt x="534" y="461"/>
                  </a:lnTo>
                  <a:lnTo>
                    <a:pt x="533" y="461"/>
                  </a:lnTo>
                  <a:lnTo>
                    <a:pt x="533" y="462"/>
                  </a:lnTo>
                  <a:lnTo>
                    <a:pt x="533" y="463"/>
                  </a:lnTo>
                  <a:lnTo>
                    <a:pt x="531" y="464"/>
                  </a:lnTo>
                  <a:lnTo>
                    <a:pt x="531" y="466"/>
                  </a:lnTo>
                  <a:lnTo>
                    <a:pt x="530" y="464"/>
                  </a:lnTo>
                  <a:lnTo>
                    <a:pt x="530" y="462"/>
                  </a:lnTo>
                  <a:lnTo>
                    <a:pt x="529" y="464"/>
                  </a:lnTo>
                  <a:lnTo>
                    <a:pt x="528" y="462"/>
                  </a:lnTo>
                  <a:lnTo>
                    <a:pt x="528" y="460"/>
                  </a:lnTo>
                  <a:lnTo>
                    <a:pt x="527" y="460"/>
                  </a:lnTo>
                  <a:lnTo>
                    <a:pt x="525" y="461"/>
                  </a:lnTo>
                  <a:lnTo>
                    <a:pt x="525" y="463"/>
                  </a:lnTo>
                  <a:lnTo>
                    <a:pt x="525" y="466"/>
                  </a:lnTo>
                  <a:lnTo>
                    <a:pt x="527" y="467"/>
                  </a:lnTo>
                  <a:lnTo>
                    <a:pt x="528" y="468"/>
                  </a:lnTo>
                  <a:lnTo>
                    <a:pt x="530" y="469"/>
                  </a:lnTo>
                  <a:lnTo>
                    <a:pt x="529" y="469"/>
                  </a:lnTo>
                  <a:lnTo>
                    <a:pt x="529" y="472"/>
                  </a:lnTo>
                  <a:lnTo>
                    <a:pt x="531" y="473"/>
                  </a:lnTo>
                  <a:lnTo>
                    <a:pt x="531" y="474"/>
                  </a:lnTo>
                  <a:lnTo>
                    <a:pt x="530" y="474"/>
                  </a:lnTo>
                  <a:lnTo>
                    <a:pt x="530" y="477"/>
                  </a:lnTo>
                  <a:lnTo>
                    <a:pt x="528" y="477"/>
                  </a:lnTo>
                  <a:lnTo>
                    <a:pt x="527" y="475"/>
                  </a:lnTo>
                  <a:lnTo>
                    <a:pt x="527" y="477"/>
                  </a:lnTo>
                  <a:lnTo>
                    <a:pt x="527" y="478"/>
                  </a:lnTo>
                  <a:lnTo>
                    <a:pt x="525" y="478"/>
                  </a:lnTo>
                  <a:lnTo>
                    <a:pt x="524" y="479"/>
                  </a:lnTo>
                  <a:lnTo>
                    <a:pt x="523" y="479"/>
                  </a:lnTo>
                  <a:lnTo>
                    <a:pt x="524" y="481"/>
                  </a:lnTo>
                  <a:lnTo>
                    <a:pt x="524" y="483"/>
                  </a:lnTo>
                  <a:lnTo>
                    <a:pt x="527" y="484"/>
                  </a:lnTo>
                  <a:lnTo>
                    <a:pt x="527" y="485"/>
                  </a:lnTo>
                  <a:lnTo>
                    <a:pt x="525" y="486"/>
                  </a:lnTo>
                  <a:lnTo>
                    <a:pt x="525" y="487"/>
                  </a:lnTo>
                  <a:lnTo>
                    <a:pt x="523" y="487"/>
                  </a:lnTo>
                  <a:lnTo>
                    <a:pt x="522" y="489"/>
                  </a:lnTo>
                  <a:lnTo>
                    <a:pt x="521" y="489"/>
                  </a:lnTo>
                  <a:lnTo>
                    <a:pt x="521" y="487"/>
                  </a:lnTo>
                  <a:lnTo>
                    <a:pt x="519" y="487"/>
                  </a:lnTo>
                  <a:lnTo>
                    <a:pt x="518" y="486"/>
                  </a:lnTo>
                  <a:lnTo>
                    <a:pt x="517" y="486"/>
                  </a:lnTo>
                  <a:lnTo>
                    <a:pt x="517" y="483"/>
                  </a:lnTo>
                  <a:lnTo>
                    <a:pt x="517" y="481"/>
                  </a:lnTo>
                  <a:lnTo>
                    <a:pt x="517" y="480"/>
                  </a:lnTo>
                  <a:lnTo>
                    <a:pt x="516" y="478"/>
                  </a:lnTo>
                  <a:lnTo>
                    <a:pt x="517" y="474"/>
                  </a:lnTo>
                  <a:lnTo>
                    <a:pt x="517" y="472"/>
                  </a:lnTo>
                  <a:lnTo>
                    <a:pt x="516" y="473"/>
                  </a:lnTo>
                  <a:lnTo>
                    <a:pt x="515" y="472"/>
                  </a:lnTo>
                  <a:lnTo>
                    <a:pt x="515" y="471"/>
                  </a:lnTo>
                  <a:lnTo>
                    <a:pt x="512" y="468"/>
                  </a:lnTo>
                  <a:lnTo>
                    <a:pt x="511" y="464"/>
                  </a:lnTo>
                  <a:lnTo>
                    <a:pt x="510" y="466"/>
                  </a:lnTo>
                  <a:lnTo>
                    <a:pt x="511" y="468"/>
                  </a:lnTo>
                  <a:lnTo>
                    <a:pt x="509" y="466"/>
                  </a:lnTo>
                  <a:lnTo>
                    <a:pt x="507" y="464"/>
                  </a:lnTo>
                  <a:lnTo>
                    <a:pt x="506" y="464"/>
                  </a:lnTo>
                  <a:lnTo>
                    <a:pt x="505" y="466"/>
                  </a:lnTo>
                  <a:lnTo>
                    <a:pt x="504" y="466"/>
                  </a:lnTo>
                  <a:lnTo>
                    <a:pt x="504" y="463"/>
                  </a:lnTo>
                  <a:lnTo>
                    <a:pt x="503" y="462"/>
                  </a:lnTo>
                  <a:lnTo>
                    <a:pt x="500" y="461"/>
                  </a:lnTo>
                  <a:lnTo>
                    <a:pt x="499" y="461"/>
                  </a:lnTo>
                  <a:lnTo>
                    <a:pt x="498" y="460"/>
                  </a:lnTo>
                  <a:lnTo>
                    <a:pt x="497" y="460"/>
                  </a:lnTo>
                  <a:lnTo>
                    <a:pt x="494" y="460"/>
                  </a:lnTo>
                  <a:lnTo>
                    <a:pt x="493" y="457"/>
                  </a:lnTo>
                  <a:lnTo>
                    <a:pt x="492" y="457"/>
                  </a:lnTo>
                  <a:lnTo>
                    <a:pt x="492" y="458"/>
                  </a:lnTo>
                  <a:lnTo>
                    <a:pt x="490" y="461"/>
                  </a:lnTo>
                  <a:lnTo>
                    <a:pt x="489" y="462"/>
                  </a:lnTo>
                  <a:lnTo>
                    <a:pt x="488" y="462"/>
                  </a:lnTo>
                  <a:lnTo>
                    <a:pt x="487" y="461"/>
                  </a:lnTo>
                  <a:lnTo>
                    <a:pt x="484" y="460"/>
                  </a:lnTo>
                  <a:lnTo>
                    <a:pt x="483" y="461"/>
                  </a:lnTo>
                  <a:lnTo>
                    <a:pt x="482" y="461"/>
                  </a:lnTo>
                  <a:lnTo>
                    <a:pt x="478" y="461"/>
                  </a:lnTo>
                  <a:lnTo>
                    <a:pt x="477" y="461"/>
                  </a:lnTo>
                  <a:lnTo>
                    <a:pt x="475" y="461"/>
                  </a:lnTo>
                  <a:lnTo>
                    <a:pt x="472" y="461"/>
                  </a:lnTo>
                  <a:lnTo>
                    <a:pt x="471" y="460"/>
                  </a:lnTo>
                  <a:lnTo>
                    <a:pt x="469" y="460"/>
                  </a:lnTo>
                  <a:lnTo>
                    <a:pt x="468" y="455"/>
                  </a:lnTo>
                  <a:lnTo>
                    <a:pt x="468" y="454"/>
                  </a:lnTo>
                  <a:lnTo>
                    <a:pt x="469" y="451"/>
                  </a:lnTo>
                  <a:lnTo>
                    <a:pt x="468" y="450"/>
                  </a:lnTo>
                  <a:lnTo>
                    <a:pt x="469" y="448"/>
                  </a:lnTo>
                  <a:lnTo>
                    <a:pt x="468" y="448"/>
                  </a:lnTo>
                  <a:lnTo>
                    <a:pt x="469" y="445"/>
                  </a:lnTo>
                  <a:lnTo>
                    <a:pt x="470" y="443"/>
                  </a:lnTo>
                  <a:lnTo>
                    <a:pt x="470" y="442"/>
                  </a:lnTo>
                  <a:lnTo>
                    <a:pt x="468" y="440"/>
                  </a:lnTo>
                  <a:lnTo>
                    <a:pt x="468" y="439"/>
                  </a:lnTo>
                  <a:lnTo>
                    <a:pt x="468" y="437"/>
                  </a:lnTo>
                  <a:lnTo>
                    <a:pt x="470" y="434"/>
                  </a:lnTo>
                  <a:lnTo>
                    <a:pt x="471" y="433"/>
                  </a:lnTo>
                  <a:lnTo>
                    <a:pt x="472" y="432"/>
                  </a:lnTo>
                  <a:lnTo>
                    <a:pt x="474" y="432"/>
                  </a:lnTo>
                  <a:lnTo>
                    <a:pt x="474" y="431"/>
                  </a:lnTo>
                  <a:lnTo>
                    <a:pt x="471" y="430"/>
                  </a:lnTo>
                  <a:lnTo>
                    <a:pt x="470" y="430"/>
                  </a:lnTo>
                  <a:lnTo>
                    <a:pt x="470" y="431"/>
                  </a:lnTo>
                  <a:lnTo>
                    <a:pt x="469" y="431"/>
                  </a:lnTo>
                  <a:lnTo>
                    <a:pt x="466" y="431"/>
                  </a:lnTo>
                  <a:lnTo>
                    <a:pt x="465" y="432"/>
                  </a:lnTo>
                  <a:lnTo>
                    <a:pt x="465" y="431"/>
                  </a:lnTo>
                  <a:lnTo>
                    <a:pt x="464" y="431"/>
                  </a:lnTo>
                  <a:lnTo>
                    <a:pt x="462" y="432"/>
                  </a:lnTo>
                  <a:lnTo>
                    <a:pt x="462" y="433"/>
                  </a:lnTo>
                  <a:lnTo>
                    <a:pt x="462" y="434"/>
                  </a:lnTo>
                  <a:lnTo>
                    <a:pt x="460" y="434"/>
                  </a:lnTo>
                  <a:lnTo>
                    <a:pt x="462" y="436"/>
                  </a:lnTo>
                  <a:lnTo>
                    <a:pt x="463" y="436"/>
                  </a:lnTo>
                  <a:lnTo>
                    <a:pt x="463" y="438"/>
                  </a:lnTo>
                  <a:lnTo>
                    <a:pt x="464" y="439"/>
                  </a:lnTo>
                  <a:lnTo>
                    <a:pt x="462" y="439"/>
                  </a:lnTo>
                  <a:lnTo>
                    <a:pt x="460" y="439"/>
                  </a:lnTo>
                  <a:lnTo>
                    <a:pt x="460" y="440"/>
                  </a:lnTo>
                  <a:lnTo>
                    <a:pt x="460" y="443"/>
                  </a:lnTo>
                  <a:lnTo>
                    <a:pt x="457" y="440"/>
                  </a:lnTo>
                  <a:lnTo>
                    <a:pt x="457" y="444"/>
                  </a:lnTo>
                  <a:lnTo>
                    <a:pt x="456" y="446"/>
                  </a:lnTo>
                  <a:lnTo>
                    <a:pt x="457" y="449"/>
                  </a:lnTo>
                  <a:lnTo>
                    <a:pt x="457" y="451"/>
                  </a:lnTo>
                  <a:lnTo>
                    <a:pt x="459" y="450"/>
                  </a:lnTo>
                  <a:lnTo>
                    <a:pt x="458" y="449"/>
                  </a:lnTo>
                  <a:lnTo>
                    <a:pt x="459" y="449"/>
                  </a:lnTo>
                  <a:lnTo>
                    <a:pt x="460" y="451"/>
                  </a:lnTo>
                  <a:lnTo>
                    <a:pt x="462" y="451"/>
                  </a:lnTo>
                  <a:lnTo>
                    <a:pt x="463" y="452"/>
                  </a:lnTo>
                  <a:lnTo>
                    <a:pt x="460" y="454"/>
                  </a:lnTo>
                  <a:lnTo>
                    <a:pt x="460" y="455"/>
                  </a:lnTo>
                  <a:lnTo>
                    <a:pt x="458" y="454"/>
                  </a:lnTo>
                  <a:lnTo>
                    <a:pt x="457" y="455"/>
                  </a:lnTo>
                  <a:lnTo>
                    <a:pt x="458" y="456"/>
                  </a:lnTo>
                  <a:lnTo>
                    <a:pt x="459" y="457"/>
                  </a:lnTo>
                  <a:lnTo>
                    <a:pt x="459" y="460"/>
                  </a:lnTo>
                  <a:lnTo>
                    <a:pt x="458" y="461"/>
                  </a:lnTo>
                  <a:lnTo>
                    <a:pt x="460" y="461"/>
                  </a:lnTo>
                  <a:lnTo>
                    <a:pt x="463" y="463"/>
                  </a:lnTo>
                  <a:lnTo>
                    <a:pt x="464" y="464"/>
                  </a:lnTo>
                  <a:lnTo>
                    <a:pt x="462" y="466"/>
                  </a:lnTo>
                  <a:lnTo>
                    <a:pt x="460" y="464"/>
                  </a:lnTo>
                  <a:lnTo>
                    <a:pt x="459" y="466"/>
                  </a:lnTo>
                  <a:lnTo>
                    <a:pt x="458" y="466"/>
                  </a:lnTo>
                  <a:lnTo>
                    <a:pt x="456" y="466"/>
                  </a:lnTo>
                  <a:lnTo>
                    <a:pt x="456" y="464"/>
                  </a:lnTo>
                  <a:lnTo>
                    <a:pt x="453" y="466"/>
                  </a:lnTo>
                  <a:lnTo>
                    <a:pt x="452" y="466"/>
                  </a:lnTo>
                  <a:lnTo>
                    <a:pt x="451" y="466"/>
                  </a:lnTo>
                  <a:lnTo>
                    <a:pt x="450" y="464"/>
                  </a:lnTo>
                  <a:lnTo>
                    <a:pt x="451" y="462"/>
                  </a:lnTo>
                  <a:lnTo>
                    <a:pt x="450" y="462"/>
                  </a:lnTo>
                  <a:lnTo>
                    <a:pt x="448" y="462"/>
                  </a:lnTo>
                  <a:lnTo>
                    <a:pt x="447" y="462"/>
                  </a:lnTo>
                  <a:lnTo>
                    <a:pt x="445" y="462"/>
                  </a:lnTo>
                  <a:lnTo>
                    <a:pt x="444" y="463"/>
                  </a:lnTo>
                  <a:lnTo>
                    <a:pt x="442" y="463"/>
                  </a:lnTo>
                  <a:lnTo>
                    <a:pt x="444" y="464"/>
                  </a:lnTo>
                  <a:lnTo>
                    <a:pt x="445" y="467"/>
                  </a:lnTo>
                  <a:lnTo>
                    <a:pt x="447" y="471"/>
                  </a:lnTo>
                  <a:lnTo>
                    <a:pt x="446" y="471"/>
                  </a:lnTo>
                  <a:lnTo>
                    <a:pt x="444" y="469"/>
                  </a:lnTo>
                  <a:lnTo>
                    <a:pt x="444" y="472"/>
                  </a:lnTo>
                  <a:lnTo>
                    <a:pt x="442" y="472"/>
                  </a:lnTo>
                  <a:lnTo>
                    <a:pt x="441" y="471"/>
                  </a:lnTo>
                  <a:lnTo>
                    <a:pt x="439" y="469"/>
                  </a:lnTo>
                  <a:lnTo>
                    <a:pt x="439" y="472"/>
                  </a:lnTo>
                  <a:lnTo>
                    <a:pt x="439" y="474"/>
                  </a:lnTo>
                  <a:lnTo>
                    <a:pt x="438" y="474"/>
                  </a:lnTo>
                  <a:lnTo>
                    <a:pt x="435" y="474"/>
                  </a:lnTo>
                  <a:lnTo>
                    <a:pt x="434" y="474"/>
                  </a:lnTo>
                  <a:lnTo>
                    <a:pt x="433" y="472"/>
                  </a:lnTo>
                  <a:lnTo>
                    <a:pt x="430" y="471"/>
                  </a:lnTo>
                  <a:lnTo>
                    <a:pt x="430" y="469"/>
                  </a:lnTo>
                  <a:lnTo>
                    <a:pt x="428" y="468"/>
                  </a:lnTo>
                  <a:lnTo>
                    <a:pt x="427" y="467"/>
                  </a:lnTo>
                  <a:lnTo>
                    <a:pt x="425" y="467"/>
                  </a:lnTo>
                  <a:lnTo>
                    <a:pt x="424" y="466"/>
                  </a:lnTo>
                  <a:lnTo>
                    <a:pt x="423" y="464"/>
                  </a:lnTo>
                  <a:lnTo>
                    <a:pt x="423" y="463"/>
                  </a:lnTo>
                  <a:lnTo>
                    <a:pt x="422" y="461"/>
                  </a:lnTo>
                  <a:lnTo>
                    <a:pt x="422" y="458"/>
                  </a:lnTo>
                  <a:lnTo>
                    <a:pt x="423" y="457"/>
                  </a:lnTo>
                  <a:lnTo>
                    <a:pt x="424" y="456"/>
                  </a:lnTo>
                  <a:lnTo>
                    <a:pt x="424" y="455"/>
                  </a:lnTo>
                  <a:lnTo>
                    <a:pt x="425" y="452"/>
                  </a:lnTo>
                  <a:lnTo>
                    <a:pt x="424" y="452"/>
                  </a:lnTo>
                  <a:lnTo>
                    <a:pt x="423" y="452"/>
                  </a:lnTo>
                  <a:lnTo>
                    <a:pt x="422" y="451"/>
                  </a:lnTo>
                  <a:lnTo>
                    <a:pt x="421" y="451"/>
                  </a:lnTo>
                  <a:lnTo>
                    <a:pt x="419" y="451"/>
                  </a:lnTo>
                  <a:lnTo>
                    <a:pt x="418" y="450"/>
                  </a:lnTo>
                  <a:lnTo>
                    <a:pt x="416" y="451"/>
                  </a:lnTo>
                  <a:lnTo>
                    <a:pt x="415" y="451"/>
                  </a:lnTo>
                  <a:lnTo>
                    <a:pt x="416" y="454"/>
                  </a:lnTo>
                  <a:lnTo>
                    <a:pt x="417" y="456"/>
                  </a:lnTo>
                  <a:lnTo>
                    <a:pt x="419" y="456"/>
                  </a:lnTo>
                  <a:lnTo>
                    <a:pt x="419" y="458"/>
                  </a:lnTo>
                  <a:lnTo>
                    <a:pt x="419" y="461"/>
                  </a:lnTo>
                  <a:lnTo>
                    <a:pt x="421" y="463"/>
                  </a:lnTo>
                  <a:lnTo>
                    <a:pt x="422" y="464"/>
                  </a:lnTo>
                  <a:lnTo>
                    <a:pt x="423" y="467"/>
                  </a:lnTo>
                  <a:lnTo>
                    <a:pt x="423" y="469"/>
                  </a:lnTo>
                  <a:lnTo>
                    <a:pt x="424" y="472"/>
                  </a:lnTo>
                  <a:lnTo>
                    <a:pt x="424" y="473"/>
                  </a:lnTo>
                  <a:lnTo>
                    <a:pt x="427" y="474"/>
                  </a:lnTo>
                  <a:lnTo>
                    <a:pt x="425" y="478"/>
                  </a:lnTo>
                  <a:lnTo>
                    <a:pt x="427" y="480"/>
                  </a:lnTo>
                  <a:lnTo>
                    <a:pt x="428" y="483"/>
                  </a:lnTo>
                  <a:lnTo>
                    <a:pt x="430" y="484"/>
                  </a:lnTo>
                  <a:lnTo>
                    <a:pt x="431" y="484"/>
                  </a:lnTo>
                  <a:lnTo>
                    <a:pt x="435" y="486"/>
                  </a:lnTo>
                  <a:lnTo>
                    <a:pt x="435" y="489"/>
                  </a:lnTo>
                  <a:lnTo>
                    <a:pt x="434" y="490"/>
                  </a:lnTo>
                  <a:lnTo>
                    <a:pt x="433" y="489"/>
                  </a:lnTo>
                  <a:lnTo>
                    <a:pt x="431" y="489"/>
                  </a:lnTo>
                  <a:lnTo>
                    <a:pt x="429" y="490"/>
                  </a:lnTo>
                  <a:lnTo>
                    <a:pt x="428" y="490"/>
                  </a:lnTo>
                  <a:lnTo>
                    <a:pt x="425" y="490"/>
                  </a:lnTo>
                  <a:lnTo>
                    <a:pt x="424" y="487"/>
                  </a:lnTo>
                  <a:lnTo>
                    <a:pt x="423" y="487"/>
                  </a:lnTo>
                  <a:lnTo>
                    <a:pt x="422" y="487"/>
                  </a:lnTo>
                  <a:lnTo>
                    <a:pt x="421" y="487"/>
                  </a:lnTo>
                  <a:lnTo>
                    <a:pt x="421" y="486"/>
                  </a:lnTo>
                  <a:lnTo>
                    <a:pt x="419" y="490"/>
                  </a:lnTo>
                  <a:lnTo>
                    <a:pt x="422" y="492"/>
                  </a:lnTo>
                  <a:lnTo>
                    <a:pt x="423" y="492"/>
                  </a:lnTo>
                  <a:lnTo>
                    <a:pt x="424" y="495"/>
                  </a:lnTo>
                  <a:lnTo>
                    <a:pt x="424" y="497"/>
                  </a:lnTo>
                  <a:lnTo>
                    <a:pt x="422" y="497"/>
                  </a:lnTo>
                  <a:lnTo>
                    <a:pt x="421" y="497"/>
                  </a:lnTo>
                  <a:lnTo>
                    <a:pt x="419" y="495"/>
                  </a:lnTo>
                  <a:lnTo>
                    <a:pt x="419" y="496"/>
                  </a:lnTo>
                  <a:lnTo>
                    <a:pt x="421" y="498"/>
                  </a:lnTo>
                  <a:lnTo>
                    <a:pt x="419" y="499"/>
                  </a:lnTo>
                  <a:lnTo>
                    <a:pt x="419" y="502"/>
                  </a:lnTo>
                  <a:lnTo>
                    <a:pt x="423" y="504"/>
                  </a:lnTo>
                  <a:lnTo>
                    <a:pt x="427" y="505"/>
                  </a:lnTo>
                  <a:lnTo>
                    <a:pt x="428" y="507"/>
                  </a:lnTo>
                  <a:lnTo>
                    <a:pt x="431" y="507"/>
                  </a:lnTo>
                  <a:lnTo>
                    <a:pt x="434" y="508"/>
                  </a:lnTo>
                  <a:lnTo>
                    <a:pt x="435" y="508"/>
                  </a:lnTo>
                  <a:lnTo>
                    <a:pt x="436" y="509"/>
                  </a:lnTo>
                  <a:lnTo>
                    <a:pt x="438" y="510"/>
                  </a:lnTo>
                  <a:lnTo>
                    <a:pt x="439" y="511"/>
                  </a:lnTo>
                  <a:lnTo>
                    <a:pt x="438" y="513"/>
                  </a:lnTo>
                  <a:lnTo>
                    <a:pt x="436" y="515"/>
                  </a:lnTo>
                  <a:lnTo>
                    <a:pt x="435" y="515"/>
                  </a:lnTo>
                  <a:lnTo>
                    <a:pt x="436" y="516"/>
                  </a:lnTo>
                  <a:lnTo>
                    <a:pt x="434" y="519"/>
                  </a:lnTo>
                  <a:lnTo>
                    <a:pt x="434" y="520"/>
                  </a:lnTo>
                  <a:lnTo>
                    <a:pt x="431" y="521"/>
                  </a:lnTo>
                  <a:lnTo>
                    <a:pt x="430" y="521"/>
                  </a:lnTo>
                  <a:lnTo>
                    <a:pt x="428" y="522"/>
                  </a:lnTo>
                  <a:lnTo>
                    <a:pt x="427" y="522"/>
                  </a:lnTo>
                  <a:lnTo>
                    <a:pt x="425" y="522"/>
                  </a:lnTo>
                  <a:lnTo>
                    <a:pt x="423" y="522"/>
                  </a:lnTo>
                  <a:lnTo>
                    <a:pt x="421" y="522"/>
                  </a:lnTo>
                  <a:lnTo>
                    <a:pt x="419" y="525"/>
                  </a:lnTo>
                  <a:lnTo>
                    <a:pt x="422" y="527"/>
                  </a:lnTo>
                  <a:lnTo>
                    <a:pt x="423" y="529"/>
                  </a:lnTo>
                  <a:lnTo>
                    <a:pt x="424" y="531"/>
                  </a:lnTo>
                  <a:lnTo>
                    <a:pt x="427" y="534"/>
                  </a:lnTo>
                  <a:lnTo>
                    <a:pt x="429" y="538"/>
                  </a:lnTo>
                  <a:lnTo>
                    <a:pt x="427" y="540"/>
                  </a:lnTo>
                  <a:lnTo>
                    <a:pt x="424" y="539"/>
                  </a:lnTo>
                  <a:lnTo>
                    <a:pt x="422" y="539"/>
                  </a:lnTo>
                  <a:lnTo>
                    <a:pt x="422" y="535"/>
                  </a:lnTo>
                  <a:lnTo>
                    <a:pt x="419" y="535"/>
                  </a:lnTo>
                  <a:lnTo>
                    <a:pt x="417" y="534"/>
                  </a:lnTo>
                  <a:lnTo>
                    <a:pt x="418" y="534"/>
                  </a:lnTo>
                  <a:lnTo>
                    <a:pt x="417" y="534"/>
                  </a:lnTo>
                  <a:lnTo>
                    <a:pt x="413" y="533"/>
                  </a:lnTo>
                  <a:lnTo>
                    <a:pt x="412" y="532"/>
                  </a:lnTo>
                  <a:lnTo>
                    <a:pt x="411" y="531"/>
                  </a:lnTo>
                  <a:lnTo>
                    <a:pt x="409" y="529"/>
                  </a:lnTo>
                  <a:lnTo>
                    <a:pt x="409" y="528"/>
                  </a:lnTo>
                  <a:lnTo>
                    <a:pt x="406" y="528"/>
                  </a:lnTo>
                  <a:lnTo>
                    <a:pt x="405" y="527"/>
                  </a:lnTo>
                  <a:lnTo>
                    <a:pt x="404" y="527"/>
                  </a:lnTo>
                  <a:lnTo>
                    <a:pt x="401" y="528"/>
                  </a:lnTo>
                  <a:lnTo>
                    <a:pt x="397" y="527"/>
                  </a:lnTo>
                  <a:lnTo>
                    <a:pt x="394" y="526"/>
                  </a:lnTo>
                  <a:lnTo>
                    <a:pt x="393" y="523"/>
                  </a:lnTo>
                  <a:lnTo>
                    <a:pt x="392" y="522"/>
                  </a:lnTo>
                  <a:lnTo>
                    <a:pt x="393" y="521"/>
                  </a:lnTo>
                  <a:lnTo>
                    <a:pt x="395" y="517"/>
                  </a:lnTo>
                  <a:lnTo>
                    <a:pt x="395" y="515"/>
                  </a:lnTo>
                  <a:lnTo>
                    <a:pt x="398" y="514"/>
                  </a:lnTo>
                  <a:lnTo>
                    <a:pt x="401" y="514"/>
                  </a:lnTo>
                  <a:lnTo>
                    <a:pt x="403" y="511"/>
                  </a:lnTo>
                  <a:lnTo>
                    <a:pt x="404" y="510"/>
                  </a:lnTo>
                  <a:lnTo>
                    <a:pt x="403" y="509"/>
                  </a:lnTo>
                  <a:lnTo>
                    <a:pt x="401" y="508"/>
                  </a:lnTo>
                  <a:lnTo>
                    <a:pt x="400" y="505"/>
                  </a:lnTo>
                  <a:lnTo>
                    <a:pt x="399" y="504"/>
                  </a:lnTo>
                  <a:lnTo>
                    <a:pt x="398" y="503"/>
                  </a:lnTo>
                  <a:lnTo>
                    <a:pt x="397" y="502"/>
                  </a:lnTo>
                  <a:lnTo>
                    <a:pt x="394" y="503"/>
                  </a:lnTo>
                  <a:lnTo>
                    <a:pt x="394" y="504"/>
                  </a:lnTo>
                  <a:lnTo>
                    <a:pt x="393" y="503"/>
                  </a:lnTo>
                  <a:lnTo>
                    <a:pt x="391" y="501"/>
                  </a:lnTo>
                  <a:lnTo>
                    <a:pt x="389" y="501"/>
                  </a:lnTo>
                  <a:lnTo>
                    <a:pt x="388" y="497"/>
                  </a:lnTo>
                  <a:lnTo>
                    <a:pt x="387" y="496"/>
                  </a:lnTo>
                  <a:lnTo>
                    <a:pt x="385" y="497"/>
                  </a:lnTo>
                  <a:lnTo>
                    <a:pt x="385" y="499"/>
                  </a:lnTo>
                  <a:lnTo>
                    <a:pt x="385" y="502"/>
                  </a:lnTo>
                  <a:lnTo>
                    <a:pt x="383" y="501"/>
                  </a:lnTo>
                  <a:lnTo>
                    <a:pt x="382" y="502"/>
                  </a:lnTo>
                  <a:lnTo>
                    <a:pt x="380" y="503"/>
                  </a:lnTo>
                  <a:lnTo>
                    <a:pt x="377" y="501"/>
                  </a:lnTo>
                  <a:lnTo>
                    <a:pt x="376" y="502"/>
                  </a:lnTo>
                  <a:lnTo>
                    <a:pt x="375" y="503"/>
                  </a:lnTo>
                  <a:lnTo>
                    <a:pt x="375" y="504"/>
                  </a:lnTo>
                  <a:lnTo>
                    <a:pt x="372" y="507"/>
                  </a:lnTo>
                  <a:lnTo>
                    <a:pt x="371" y="508"/>
                  </a:lnTo>
                  <a:lnTo>
                    <a:pt x="372" y="509"/>
                  </a:lnTo>
                  <a:lnTo>
                    <a:pt x="372" y="511"/>
                  </a:lnTo>
                  <a:lnTo>
                    <a:pt x="372" y="514"/>
                  </a:lnTo>
                  <a:lnTo>
                    <a:pt x="371" y="514"/>
                  </a:lnTo>
                  <a:lnTo>
                    <a:pt x="369" y="514"/>
                  </a:lnTo>
                  <a:lnTo>
                    <a:pt x="366" y="513"/>
                  </a:lnTo>
                  <a:lnTo>
                    <a:pt x="364" y="513"/>
                  </a:lnTo>
                  <a:lnTo>
                    <a:pt x="364" y="514"/>
                  </a:lnTo>
                  <a:lnTo>
                    <a:pt x="364" y="516"/>
                  </a:lnTo>
                  <a:lnTo>
                    <a:pt x="364" y="519"/>
                  </a:lnTo>
                  <a:lnTo>
                    <a:pt x="366" y="520"/>
                  </a:lnTo>
                  <a:lnTo>
                    <a:pt x="369" y="519"/>
                  </a:lnTo>
                  <a:lnTo>
                    <a:pt x="370" y="521"/>
                  </a:lnTo>
                  <a:lnTo>
                    <a:pt x="372" y="521"/>
                  </a:lnTo>
                  <a:lnTo>
                    <a:pt x="375" y="522"/>
                  </a:lnTo>
                  <a:lnTo>
                    <a:pt x="377" y="523"/>
                  </a:lnTo>
                  <a:lnTo>
                    <a:pt x="380" y="525"/>
                  </a:lnTo>
                  <a:lnTo>
                    <a:pt x="382" y="525"/>
                  </a:lnTo>
                  <a:lnTo>
                    <a:pt x="386" y="526"/>
                  </a:lnTo>
                  <a:lnTo>
                    <a:pt x="386" y="528"/>
                  </a:lnTo>
                  <a:lnTo>
                    <a:pt x="388" y="529"/>
                  </a:lnTo>
                  <a:lnTo>
                    <a:pt x="391" y="531"/>
                  </a:lnTo>
                  <a:lnTo>
                    <a:pt x="393" y="531"/>
                  </a:lnTo>
                  <a:lnTo>
                    <a:pt x="397" y="532"/>
                  </a:lnTo>
                  <a:lnTo>
                    <a:pt x="398" y="531"/>
                  </a:lnTo>
                  <a:lnTo>
                    <a:pt x="401" y="534"/>
                  </a:lnTo>
                  <a:lnTo>
                    <a:pt x="403" y="535"/>
                  </a:lnTo>
                  <a:lnTo>
                    <a:pt x="404" y="537"/>
                  </a:lnTo>
                  <a:lnTo>
                    <a:pt x="403" y="540"/>
                  </a:lnTo>
                  <a:lnTo>
                    <a:pt x="401" y="543"/>
                  </a:lnTo>
                  <a:lnTo>
                    <a:pt x="401" y="545"/>
                  </a:lnTo>
                  <a:lnTo>
                    <a:pt x="401" y="544"/>
                  </a:lnTo>
                  <a:lnTo>
                    <a:pt x="401" y="545"/>
                  </a:lnTo>
                  <a:lnTo>
                    <a:pt x="400" y="549"/>
                  </a:lnTo>
                  <a:lnTo>
                    <a:pt x="400" y="550"/>
                  </a:lnTo>
                  <a:lnTo>
                    <a:pt x="399" y="552"/>
                  </a:lnTo>
                  <a:lnTo>
                    <a:pt x="397" y="555"/>
                  </a:lnTo>
                  <a:lnTo>
                    <a:pt x="393" y="556"/>
                  </a:lnTo>
                  <a:lnTo>
                    <a:pt x="392" y="556"/>
                  </a:lnTo>
                  <a:lnTo>
                    <a:pt x="391" y="562"/>
                  </a:lnTo>
                  <a:lnTo>
                    <a:pt x="388" y="563"/>
                  </a:lnTo>
                  <a:lnTo>
                    <a:pt x="386" y="562"/>
                  </a:lnTo>
                  <a:lnTo>
                    <a:pt x="383" y="562"/>
                  </a:lnTo>
                  <a:lnTo>
                    <a:pt x="382" y="559"/>
                  </a:lnTo>
                  <a:lnTo>
                    <a:pt x="379" y="558"/>
                  </a:lnTo>
                  <a:lnTo>
                    <a:pt x="379" y="556"/>
                  </a:lnTo>
                  <a:lnTo>
                    <a:pt x="379" y="555"/>
                  </a:lnTo>
                  <a:lnTo>
                    <a:pt x="377" y="551"/>
                  </a:lnTo>
                  <a:lnTo>
                    <a:pt x="379" y="550"/>
                  </a:lnTo>
                  <a:lnTo>
                    <a:pt x="377" y="549"/>
                  </a:lnTo>
                  <a:lnTo>
                    <a:pt x="375" y="549"/>
                  </a:lnTo>
                  <a:lnTo>
                    <a:pt x="374" y="547"/>
                  </a:lnTo>
                  <a:lnTo>
                    <a:pt x="372" y="545"/>
                  </a:lnTo>
                  <a:lnTo>
                    <a:pt x="371" y="544"/>
                  </a:lnTo>
                  <a:lnTo>
                    <a:pt x="371" y="547"/>
                  </a:lnTo>
                  <a:lnTo>
                    <a:pt x="370" y="549"/>
                  </a:lnTo>
                  <a:lnTo>
                    <a:pt x="370" y="550"/>
                  </a:lnTo>
                  <a:lnTo>
                    <a:pt x="368" y="549"/>
                  </a:lnTo>
                  <a:lnTo>
                    <a:pt x="366" y="547"/>
                  </a:lnTo>
                  <a:lnTo>
                    <a:pt x="365" y="549"/>
                  </a:lnTo>
                  <a:lnTo>
                    <a:pt x="364" y="550"/>
                  </a:lnTo>
                  <a:lnTo>
                    <a:pt x="363" y="551"/>
                  </a:lnTo>
                  <a:lnTo>
                    <a:pt x="360" y="551"/>
                  </a:lnTo>
                  <a:lnTo>
                    <a:pt x="359" y="550"/>
                  </a:lnTo>
                  <a:lnTo>
                    <a:pt x="358" y="549"/>
                  </a:lnTo>
                  <a:lnTo>
                    <a:pt x="356" y="549"/>
                  </a:lnTo>
                  <a:lnTo>
                    <a:pt x="354" y="549"/>
                  </a:lnTo>
                  <a:lnTo>
                    <a:pt x="352" y="550"/>
                  </a:lnTo>
                  <a:lnTo>
                    <a:pt x="351" y="552"/>
                  </a:lnTo>
                  <a:lnTo>
                    <a:pt x="348" y="552"/>
                  </a:lnTo>
                  <a:lnTo>
                    <a:pt x="347" y="556"/>
                  </a:lnTo>
                  <a:lnTo>
                    <a:pt x="348" y="558"/>
                  </a:lnTo>
                  <a:lnTo>
                    <a:pt x="350" y="559"/>
                  </a:lnTo>
                  <a:lnTo>
                    <a:pt x="352" y="559"/>
                  </a:lnTo>
                  <a:lnTo>
                    <a:pt x="356" y="559"/>
                  </a:lnTo>
                  <a:lnTo>
                    <a:pt x="356" y="562"/>
                  </a:lnTo>
                  <a:lnTo>
                    <a:pt x="354" y="563"/>
                  </a:lnTo>
                  <a:lnTo>
                    <a:pt x="352" y="563"/>
                  </a:lnTo>
                  <a:lnTo>
                    <a:pt x="351" y="562"/>
                  </a:lnTo>
                  <a:lnTo>
                    <a:pt x="348" y="563"/>
                  </a:lnTo>
                  <a:lnTo>
                    <a:pt x="346" y="563"/>
                  </a:lnTo>
                  <a:lnTo>
                    <a:pt x="342" y="559"/>
                  </a:lnTo>
                  <a:lnTo>
                    <a:pt x="340" y="559"/>
                  </a:lnTo>
                  <a:lnTo>
                    <a:pt x="336" y="559"/>
                  </a:lnTo>
                  <a:lnTo>
                    <a:pt x="335" y="558"/>
                  </a:lnTo>
                  <a:lnTo>
                    <a:pt x="333" y="559"/>
                  </a:lnTo>
                  <a:lnTo>
                    <a:pt x="330" y="558"/>
                  </a:lnTo>
                  <a:lnTo>
                    <a:pt x="330" y="557"/>
                  </a:lnTo>
                  <a:lnTo>
                    <a:pt x="330" y="556"/>
                  </a:lnTo>
                  <a:lnTo>
                    <a:pt x="332" y="555"/>
                  </a:lnTo>
                  <a:lnTo>
                    <a:pt x="332" y="553"/>
                  </a:lnTo>
                  <a:lnTo>
                    <a:pt x="329" y="553"/>
                  </a:lnTo>
                  <a:lnTo>
                    <a:pt x="327" y="553"/>
                  </a:lnTo>
                  <a:lnTo>
                    <a:pt x="326" y="555"/>
                  </a:lnTo>
                  <a:lnTo>
                    <a:pt x="323" y="555"/>
                  </a:lnTo>
                  <a:lnTo>
                    <a:pt x="323" y="550"/>
                  </a:lnTo>
                  <a:lnTo>
                    <a:pt x="323" y="547"/>
                  </a:lnTo>
                  <a:lnTo>
                    <a:pt x="323" y="546"/>
                  </a:lnTo>
                  <a:lnTo>
                    <a:pt x="318" y="541"/>
                  </a:lnTo>
                  <a:lnTo>
                    <a:pt x="320" y="541"/>
                  </a:lnTo>
                  <a:lnTo>
                    <a:pt x="318" y="540"/>
                  </a:lnTo>
                  <a:lnTo>
                    <a:pt x="314" y="539"/>
                  </a:lnTo>
                  <a:lnTo>
                    <a:pt x="311" y="538"/>
                  </a:lnTo>
                  <a:lnTo>
                    <a:pt x="309" y="538"/>
                  </a:lnTo>
                  <a:lnTo>
                    <a:pt x="309" y="537"/>
                  </a:lnTo>
                  <a:lnTo>
                    <a:pt x="310" y="534"/>
                  </a:lnTo>
                  <a:lnTo>
                    <a:pt x="312" y="533"/>
                  </a:lnTo>
                  <a:lnTo>
                    <a:pt x="314" y="532"/>
                  </a:lnTo>
                  <a:lnTo>
                    <a:pt x="318" y="532"/>
                  </a:lnTo>
                  <a:lnTo>
                    <a:pt x="320" y="529"/>
                  </a:lnTo>
                  <a:lnTo>
                    <a:pt x="323" y="528"/>
                  </a:lnTo>
                  <a:lnTo>
                    <a:pt x="324" y="527"/>
                  </a:lnTo>
                  <a:lnTo>
                    <a:pt x="327" y="526"/>
                  </a:lnTo>
                  <a:lnTo>
                    <a:pt x="326" y="522"/>
                  </a:lnTo>
                  <a:lnTo>
                    <a:pt x="324" y="523"/>
                  </a:lnTo>
                  <a:lnTo>
                    <a:pt x="322" y="525"/>
                  </a:lnTo>
                  <a:lnTo>
                    <a:pt x="322" y="523"/>
                  </a:lnTo>
                  <a:lnTo>
                    <a:pt x="321" y="525"/>
                  </a:lnTo>
                  <a:lnTo>
                    <a:pt x="320" y="527"/>
                  </a:lnTo>
                  <a:lnTo>
                    <a:pt x="318" y="527"/>
                  </a:lnTo>
                  <a:lnTo>
                    <a:pt x="317" y="526"/>
                  </a:lnTo>
                  <a:lnTo>
                    <a:pt x="316" y="526"/>
                  </a:lnTo>
                  <a:lnTo>
                    <a:pt x="315" y="526"/>
                  </a:lnTo>
                  <a:lnTo>
                    <a:pt x="314" y="523"/>
                  </a:lnTo>
                  <a:lnTo>
                    <a:pt x="315" y="521"/>
                  </a:lnTo>
                  <a:lnTo>
                    <a:pt x="311" y="523"/>
                  </a:lnTo>
                  <a:lnTo>
                    <a:pt x="306" y="528"/>
                  </a:lnTo>
                  <a:lnTo>
                    <a:pt x="301" y="555"/>
                  </a:lnTo>
                  <a:lnTo>
                    <a:pt x="300" y="565"/>
                  </a:lnTo>
                  <a:lnTo>
                    <a:pt x="301" y="570"/>
                  </a:lnTo>
                  <a:lnTo>
                    <a:pt x="304" y="576"/>
                  </a:lnTo>
                  <a:lnTo>
                    <a:pt x="305" y="582"/>
                  </a:lnTo>
                  <a:lnTo>
                    <a:pt x="298" y="603"/>
                  </a:lnTo>
                  <a:lnTo>
                    <a:pt x="297" y="621"/>
                  </a:lnTo>
                  <a:lnTo>
                    <a:pt x="300" y="627"/>
                  </a:lnTo>
                  <a:lnTo>
                    <a:pt x="300" y="630"/>
                  </a:lnTo>
                  <a:lnTo>
                    <a:pt x="294" y="641"/>
                  </a:lnTo>
                  <a:lnTo>
                    <a:pt x="291" y="695"/>
                  </a:lnTo>
                  <a:lnTo>
                    <a:pt x="293" y="73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8" name="Freeform 81"/>
            <p:cNvSpPr>
              <a:spLocks noEditPoints="1"/>
            </p:cNvSpPr>
            <p:nvPr userDrawn="1"/>
          </p:nvSpPr>
          <p:spPr bwMode="auto">
            <a:xfrm>
              <a:off x="8018463" y="6276976"/>
              <a:ext cx="133350" cy="246063"/>
            </a:xfrm>
            <a:custGeom>
              <a:avLst/>
              <a:gdLst/>
              <a:ahLst/>
              <a:cxnLst>
                <a:cxn ang="0">
                  <a:pos x="175" y="755"/>
                </a:cxn>
                <a:cxn ang="0">
                  <a:pos x="191" y="537"/>
                </a:cxn>
                <a:cxn ang="0">
                  <a:pos x="218" y="537"/>
                </a:cxn>
                <a:cxn ang="0">
                  <a:pos x="379" y="319"/>
                </a:cxn>
                <a:cxn ang="0">
                  <a:pos x="423" y="362"/>
                </a:cxn>
                <a:cxn ang="0">
                  <a:pos x="413" y="369"/>
                </a:cxn>
                <a:cxn ang="0">
                  <a:pos x="356" y="350"/>
                </a:cxn>
                <a:cxn ang="0">
                  <a:pos x="255" y="289"/>
                </a:cxn>
                <a:cxn ang="0">
                  <a:pos x="229" y="300"/>
                </a:cxn>
                <a:cxn ang="0">
                  <a:pos x="242" y="527"/>
                </a:cxn>
                <a:cxn ang="0">
                  <a:pos x="254" y="755"/>
                </a:cxn>
                <a:cxn ang="0">
                  <a:pos x="161" y="777"/>
                </a:cxn>
                <a:cxn ang="0">
                  <a:pos x="172" y="742"/>
                </a:cxn>
                <a:cxn ang="0">
                  <a:pos x="191" y="527"/>
                </a:cxn>
                <a:cxn ang="0">
                  <a:pos x="178" y="278"/>
                </a:cxn>
                <a:cxn ang="0">
                  <a:pos x="111" y="325"/>
                </a:cxn>
                <a:cxn ang="0">
                  <a:pos x="12" y="367"/>
                </a:cxn>
                <a:cxn ang="0">
                  <a:pos x="0" y="359"/>
                </a:cxn>
                <a:cxn ang="0">
                  <a:pos x="52" y="310"/>
                </a:cxn>
                <a:cxn ang="0">
                  <a:pos x="163" y="252"/>
                </a:cxn>
                <a:cxn ang="0">
                  <a:pos x="193" y="224"/>
                </a:cxn>
                <a:cxn ang="0">
                  <a:pos x="193" y="163"/>
                </a:cxn>
                <a:cxn ang="0">
                  <a:pos x="197" y="35"/>
                </a:cxn>
                <a:cxn ang="0">
                  <a:pos x="214" y="0"/>
                </a:cxn>
                <a:cxn ang="0">
                  <a:pos x="229" y="35"/>
                </a:cxn>
                <a:cxn ang="0">
                  <a:pos x="234" y="163"/>
                </a:cxn>
                <a:cxn ang="0">
                  <a:pos x="235" y="224"/>
                </a:cxn>
                <a:cxn ang="0">
                  <a:pos x="243" y="248"/>
                </a:cxn>
                <a:cxn ang="0">
                  <a:pos x="313" y="277"/>
                </a:cxn>
                <a:cxn ang="0">
                  <a:pos x="270" y="265"/>
                </a:cxn>
                <a:cxn ang="0">
                  <a:pos x="262" y="270"/>
                </a:cxn>
                <a:cxn ang="0">
                  <a:pos x="307" y="302"/>
                </a:cxn>
                <a:cxn ang="0">
                  <a:pos x="378" y="339"/>
                </a:cxn>
                <a:cxn ang="0">
                  <a:pos x="386" y="336"/>
                </a:cxn>
                <a:cxn ang="0">
                  <a:pos x="365" y="316"/>
                </a:cxn>
                <a:cxn ang="0">
                  <a:pos x="282" y="270"/>
                </a:cxn>
                <a:cxn ang="0">
                  <a:pos x="54" y="335"/>
                </a:cxn>
                <a:cxn ang="0">
                  <a:pos x="142" y="283"/>
                </a:cxn>
                <a:cxn ang="0">
                  <a:pos x="158" y="267"/>
                </a:cxn>
                <a:cxn ang="0">
                  <a:pos x="114" y="282"/>
                </a:cxn>
                <a:cxn ang="0">
                  <a:pos x="48" y="324"/>
                </a:cxn>
                <a:cxn ang="0">
                  <a:pos x="32" y="339"/>
                </a:cxn>
                <a:cxn ang="0">
                  <a:pos x="207" y="256"/>
                </a:cxn>
                <a:cxn ang="0">
                  <a:pos x="222" y="247"/>
                </a:cxn>
                <a:cxn ang="0">
                  <a:pos x="218" y="230"/>
                </a:cxn>
                <a:cxn ang="0">
                  <a:pos x="201" y="226"/>
                </a:cxn>
                <a:cxn ang="0">
                  <a:pos x="193" y="241"/>
                </a:cxn>
                <a:cxn ang="0">
                  <a:pos x="197" y="121"/>
                </a:cxn>
                <a:cxn ang="0">
                  <a:pos x="207" y="194"/>
                </a:cxn>
                <a:cxn ang="0">
                  <a:pos x="215" y="121"/>
                </a:cxn>
                <a:cxn ang="0">
                  <a:pos x="207" y="47"/>
                </a:cxn>
                <a:cxn ang="0">
                  <a:pos x="199" y="93"/>
                </a:cxn>
              </a:cxnLst>
              <a:rect l="0" t="0" r="r" b="b"/>
              <a:pathLst>
                <a:path w="423" h="777">
                  <a:moveTo>
                    <a:pt x="203" y="746"/>
                  </a:moveTo>
                  <a:lnTo>
                    <a:pt x="175" y="744"/>
                  </a:lnTo>
                  <a:lnTo>
                    <a:pt x="175" y="755"/>
                  </a:lnTo>
                  <a:lnTo>
                    <a:pt x="203" y="755"/>
                  </a:lnTo>
                  <a:lnTo>
                    <a:pt x="203" y="746"/>
                  </a:lnTo>
                  <a:close/>
                  <a:moveTo>
                    <a:pt x="191" y="537"/>
                  </a:moveTo>
                  <a:lnTo>
                    <a:pt x="191" y="741"/>
                  </a:lnTo>
                  <a:lnTo>
                    <a:pt x="217" y="741"/>
                  </a:lnTo>
                  <a:lnTo>
                    <a:pt x="218" y="537"/>
                  </a:lnTo>
                  <a:lnTo>
                    <a:pt x="191" y="537"/>
                  </a:lnTo>
                  <a:close/>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moveTo>
                    <a:pt x="282" y="270"/>
                  </a:moveTo>
                  <a:lnTo>
                    <a:pt x="270" y="265"/>
                  </a:lnTo>
                  <a:lnTo>
                    <a:pt x="265" y="265"/>
                  </a:lnTo>
                  <a:lnTo>
                    <a:pt x="262" y="266"/>
                  </a:lnTo>
                  <a:lnTo>
                    <a:pt x="262" y="270"/>
                  </a:lnTo>
                  <a:lnTo>
                    <a:pt x="267" y="274"/>
                  </a:lnTo>
                  <a:lnTo>
                    <a:pt x="282" y="285"/>
                  </a:lnTo>
                  <a:lnTo>
                    <a:pt x="307" y="302"/>
                  </a:lnTo>
                  <a:lnTo>
                    <a:pt x="335" y="320"/>
                  </a:lnTo>
                  <a:lnTo>
                    <a:pt x="361" y="333"/>
                  </a:lnTo>
                  <a:lnTo>
                    <a:pt x="378" y="339"/>
                  </a:lnTo>
                  <a:lnTo>
                    <a:pt x="384" y="341"/>
                  </a:lnTo>
                  <a:lnTo>
                    <a:pt x="386" y="339"/>
                  </a:lnTo>
                  <a:lnTo>
                    <a:pt x="386" y="336"/>
                  </a:lnTo>
                  <a:lnTo>
                    <a:pt x="384" y="333"/>
                  </a:lnTo>
                  <a:lnTo>
                    <a:pt x="380" y="330"/>
                  </a:lnTo>
                  <a:lnTo>
                    <a:pt x="365" y="316"/>
                  </a:lnTo>
                  <a:lnTo>
                    <a:pt x="348" y="306"/>
                  </a:lnTo>
                  <a:lnTo>
                    <a:pt x="305" y="280"/>
                  </a:lnTo>
                  <a:lnTo>
                    <a:pt x="282" y="270"/>
                  </a:lnTo>
                  <a:close/>
                  <a:moveTo>
                    <a:pt x="32" y="339"/>
                  </a:moveTo>
                  <a:lnTo>
                    <a:pt x="39" y="341"/>
                  </a:lnTo>
                  <a:lnTo>
                    <a:pt x="54" y="335"/>
                  </a:lnTo>
                  <a:lnTo>
                    <a:pt x="99" y="312"/>
                  </a:lnTo>
                  <a:lnTo>
                    <a:pt x="123" y="296"/>
                  </a:lnTo>
                  <a:lnTo>
                    <a:pt x="142" y="283"/>
                  </a:lnTo>
                  <a:lnTo>
                    <a:pt x="154" y="272"/>
                  </a:lnTo>
                  <a:lnTo>
                    <a:pt x="156" y="270"/>
                  </a:lnTo>
                  <a:lnTo>
                    <a:pt x="158" y="267"/>
                  </a:lnTo>
                  <a:lnTo>
                    <a:pt x="150" y="266"/>
                  </a:lnTo>
                  <a:lnTo>
                    <a:pt x="136" y="272"/>
                  </a:lnTo>
                  <a:lnTo>
                    <a:pt x="114" y="282"/>
                  </a:lnTo>
                  <a:lnTo>
                    <a:pt x="90" y="295"/>
                  </a:lnTo>
                  <a:lnTo>
                    <a:pt x="66" y="310"/>
                  </a:lnTo>
                  <a:lnTo>
                    <a:pt x="48" y="324"/>
                  </a:lnTo>
                  <a:lnTo>
                    <a:pt x="35" y="335"/>
                  </a:lnTo>
                  <a:lnTo>
                    <a:pt x="32" y="337"/>
                  </a:lnTo>
                  <a:lnTo>
                    <a:pt x="32" y="339"/>
                  </a:lnTo>
                  <a:close/>
                  <a:moveTo>
                    <a:pt x="196" y="252"/>
                  </a:moveTo>
                  <a:lnTo>
                    <a:pt x="201" y="255"/>
                  </a:lnTo>
                  <a:lnTo>
                    <a:pt x="207" y="256"/>
                  </a:lnTo>
                  <a:lnTo>
                    <a:pt x="213" y="255"/>
                  </a:lnTo>
                  <a:lnTo>
                    <a:pt x="218" y="252"/>
                  </a:lnTo>
                  <a:lnTo>
                    <a:pt x="222" y="247"/>
                  </a:lnTo>
                  <a:lnTo>
                    <a:pt x="223" y="241"/>
                  </a:lnTo>
                  <a:lnTo>
                    <a:pt x="222" y="235"/>
                  </a:lnTo>
                  <a:lnTo>
                    <a:pt x="218" y="230"/>
                  </a:lnTo>
                  <a:lnTo>
                    <a:pt x="213" y="226"/>
                  </a:lnTo>
                  <a:lnTo>
                    <a:pt x="207" y="225"/>
                  </a:lnTo>
                  <a:lnTo>
                    <a:pt x="201" y="226"/>
                  </a:lnTo>
                  <a:lnTo>
                    <a:pt x="196" y="230"/>
                  </a:lnTo>
                  <a:lnTo>
                    <a:pt x="194" y="235"/>
                  </a:lnTo>
                  <a:lnTo>
                    <a:pt x="193" y="241"/>
                  </a:lnTo>
                  <a:lnTo>
                    <a:pt x="194" y="247"/>
                  </a:lnTo>
                  <a:lnTo>
                    <a:pt x="196" y="252"/>
                  </a:lnTo>
                  <a:close/>
                  <a:moveTo>
                    <a:pt x="197" y="121"/>
                  </a:moveTo>
                  <a:lnTo>
                    <a:pt x="201" y="172"/>
                  </a:lnTo>
                  <a:lnTo>
                    <a:pt x="203" y="188"/>
                  </a:lnTo>
                  <a:lnTo>
                    <a:pt x="207" y="194"/>
                  </a:lnTo>
                  <a:lnTo>
                    <a:pt x="211" y="188"/>
                  </a:lnTo>
                  <a:lnTo>
                    <a:pt x="214" y="172"/>
                  </a:lnTo>
                  <a:lnTo>
                    <a:pt x="215" y="121"/>
                  </a:lnTo>
                  <a:lnTo>
                    <a:pt x="214" y="69"/>
                  </a:lnTo>
                  <a:lnTo>
                    <a:pt x="211" y="53"/>
                  </a:lnTo>
                  <a:lnTo>
                    <a:pt x="207" y="47"/>
                  </a:lnTo>
                  <a:lnTo>
                    <a:pt x="203" y="53"/>
                  </a:lnTo>
                  <a:lnTo>
                    <a:pt x="201" y="69"/>
                  </a:lnTo>
                  <a:lnTo>
                    <a:pt x="199" y="93"/>
                  </a:lnTo>
                  <a:lnTo>
                    <a:pt x="197" y="121"/>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9" name="Freeform 82"/>
            <p:cNvSpPr>
              <a:spLocks/>
            </p:cNvSpPr>
            <p:nvPr userDrawn="1"/>
          </p:nvSpPr>
          <p:spPr bwMode="auto">
            <a:xfrm>
              <a:off x="8074025" y="6513513"/>
              <a:ext cx="7938" cy="3175"/>
            </a:xfrm>
            <a:custGeom>
              <a:avLst/>
              <a:gdLst/>
              <a:ahLst/>
              <a:cxnLst>
                <a:cxn ang="0">
                  <a:pos x="28" y="2"/>
                </a:cxn>
                <a:cxn ang="0">
                  <a:pos x="0" y="0"/>
                </a:cxn>
                <a:cxn ang="0">
                  <a:pos x="0" y="11"/>
                </a:cxn>
                <a:cxn ang="0">
                  <a:pos x="28" y="11"/>
                </a:cxn>
                <a:cxn ang="0">
                  <a:pos x="28" y="2"/>
                </a:cxn>
              </a:cxnLst>
              <a:rect l="0" t="0" r="r" b="b"/>
              <a:pathLst>
                <a:path w="28" h="11">
                  <a:moveTo>
                    <a:pt x="28" y="2"/>
                  </a:moveTo>
                  <a:lnTo>
                    <a:pt x="0" y="0"/>
                  </a:lnTo>
                  <a:lnTo>
                    <a:pt x="0" y="11"/>
                  </a:lnTo>
                  <a:lnTo>
                    <a:pt x="28" y="11"/>
                  </a:lnTo>
                  <a:lnTo>
                    <a:pt x="28" y="2"/>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0" name="Freeform 83"/>
            <p:cNvSpPr>
              <a:spLocks/>
            </p:cNvSpPr>
            <p:nvPr userDrawn="1"/>
          </p:nvSpPr>
          <p:spPr bwMode="auto">
            <a:xfrm>
              <a:off x="8078788" y="6446838"/>
              <a:ext cx="7938" cy="65088"/>
            </a:xfrm>
            <a:custGeom>
              <a:avLst/>
              <a:gdLst/>
              <a:ahLst/>
              <a:cxnLst>
                <a:cxn ang="0">
                  <a:pos x="0" y="0"/>
                </a:cxn>
                <a:cxn ang="0">
                  <a:pos x="0" y="204"/>
                </a:cxn>
                <a:cxn ang="0">
                  <a:pos x="26" y="204"/>
                </a:cxn>
                <a:cxn ang="0">
                  <a:pos x="27" y="0"/>
                </a:cxn>
                <a:cxn ang="0">
                  <a:pos x="0" y="0"/>
                </a:cxn>
              </a:cxnLst>
              <a:rect l="0" t="0" r="r" b="b"/>
              <a:pathLst>
                <a:path w="27" h="204">
                  <a:moveTo>
                    <a:pt x="0" y="0"/>
                  </a:moveTo>
                  <a:lnTo>
                    <a:pt x="0" y="204"/>
                  </a:lnTo>
                  <a:lnTo>
                    <a:pt x="26" y="204"/>
                  </a:lnTo>
                  <a:lnTo>
                    <a:pt x="27" y="0"/>
                  </a:lnTo>
                  <a:lnTo>
                    <a:pt x="0"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1" name="Freeform 84"/>
            <p:cNvSpPr>
              <a:spLocks/>
            </p:cNvSpPr>
            <p:nvPr userDrawn="1"/>
          </p:nvSpPr>
          <p:spPr bwMode="auto">
            <a:xfrm>
              <a:off x="8018463" y="6276976"/>
              <a:ext cx="133350" cy="246063"/>
            </a:xfrm>
            <a:custGeom>
              <a:avLst/>
              <a:gdLst/>
              <a:ahLst/>
              <a:cxnLst>
                <a:cxn ang="0">
                  <a:pos x="379" y="319"/>
                </a:cxn>
                <a:cxn ang="0">
                  <a:pos x="419" y="355"/>
                </a:cxn>
                <a:cxn ang="0">
                  <a:pos x="423" y="367"/>
                </a:cxn>
                <a:cxn ang="0">
                  <a:pos x="413" y="369"/>
                </a:cxn>
                <a:cxn ang="0">
                  <a:pos x="391" y="366"/>
                </a:cxn>
                <a:cxn ang="0">
                  <a:pos x="318" y="332"/>
                </a:cxn>
                <a:cxn ang="0">
                  <a:pos x="255" y="289"/>
                </a:cxn>
                <a:cxn ang="0">
                  <a:pos x="229" y="272"/>
                </a:cxn>
                <a:cxn ang="0">
                  <a:pos x="230" y="348"/>
                </a:cxn>
                <a:cxn ang="0">
                  <a:pos x="242" y="527"/>
                </a:cxn>
                <a:cxn ang="0">
                  <a:pos x="254" y="742"/>
                </a:cxn>
                <a:cxn ang="0">
                  <a:pos x="267" y="755"/>
                </a:cxn>
                <a:cxn ang="0">
                  <a:pos x="161" y="777"/>
                </a:cxn>
                <a:cxn ang="0">
                  <a:pos x="172" y="755"/>
                </a:cxn>
                <a:cxn ang="0">
                  <a:pos x="184" y="742"/>
                </a:cxn>
                <a:cxn ang="0">
                  <a:pos x="191" y="527"/>
                </a:cxn>
                <a:cxn ang="0">
                  <a:pos x="193" y="266"/>
                </a:cxn>
                <a:cxn ang="0">
                  <a:pos x="164" y="290"/>
                </a:cxn>
                <a:cxn ang="0">
                  <a:pos x="111" y="325"/>
                </a:cxn>
                <a:cxn ang="0">
                  <a:pos x="37" y="360"/>
                </a:cxn>
                <a:cxn ang="0">
                  <a:pos x="5" y="367"/>
                </a:cxn>
                <a:cxn ang="0">
                  <a:pos x="0" y="359"/>
                </a:cxn>
                <a:cxn ang="0">
                  <a:pos x="22" y="333"/>
                </a:cxn>
                <a:cxn ang="0">
                  <a:pos x="89" y="286"/>
                </a:cxn>
                <a:cxn ang="0">
                  <a:pos x="163" y="252"/>
                </a:cxn>
                <a:cxn ang="0">
                  <a:pos x="187" y="234"/>
                </a:cxn>
                <a:cxn ang="0">
                  <a:pos x="201" y="219"/>
                </a:cxn>
                <a:cxn ang="0">
                  <a:pos x="193" y="163"/>
                </a:cxn>
                <a:cxn ang="0">
                  <a:pos x="193" y="72"/>
                </a:cxn>
                <a:cxn ang="0">
                  <a:pos x="205" y="9"/>
                </a:cxn>
                <a:cxn ang="0">
                  <a:pos x="214" y="0"/>
                </a:cxn>
                <a:cxn ang="0">
                  <a:pos x="222" y="9"/>
                </a:cxn>
                <a:cxn ang="0">
                  <a:pos x="234" y="72"/>
                </a:cxn>
                <a:cxn ang="0">
                  <a:pos x="234" y="163"/>
                </a:cxn>
                <a:cxn ang="0">
                  <a:pos x="224" y="218"/>
                </a:cxn>
                <a:cxn ang="0">
                  <a:pos x="241" y="234"/>
                </a:cxn>
                <a:cxn ang="0">
                  <a:pos x="243" y="248"/>
                </a:cxn>
                <a:cxn ang="0">
                  <a:pos x="290" y="266"/>
                </a:cxn>
                <a:cxn ang="0">
                  <a:pos x="335" y="290"/>
                </a:cxn>
              </a:cxnLst>
              <a:rect l="0" t="0" r="r" b="b"/>
              <a:pathLst>
                <a:path w="423" h="777">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2" name="Freeform 85"/>
            <p:cNvSpPr>
              <a:spLocks/>
            </p:cNvSpPr>
            <p:nvPr userDrawn="1"/>
          </p:nvSpPr>
          <p:spPr bwMode="auto">
            <a:xfrm>
              <a:off x="8101013" y="6361113"/>
              <a:ext cx="39688" cy="23813"/>
            </a:xfrm>
            <a:custGeom>
              <a:avLst/>
              <a:gdLst/>
              <a:ahLst/>
              <a:cxnLst>
                <a:cxn ang="0">
                  <a:pos x="20" y="5"/>
                </a:cxn>
                <a:cxn ang="0">
                  <a:pos x="8" y="0"/>
                </a:cxn>
                <a:cxn ang="0">
                  <a:pos x="3" y="0"/>
                </a:cxn>
                <a:cxn ang="0">
                  <a:pos x="0" y="1"/>
                </a:cxn>
                <a:cxn ang="0">
                  <a:pos x="0" y="5"/>
                </a:cxn>
                <a:cxn ang="0">
                  <a:pos x="5" y="9"/>
                </a:cxn>
                <a:cxn ang="0">
                  <a:pos x="20" y="20"/>
                </a:cxn>
                <a:cxn ang="0">
                  <a:pos x="45" y="37"/>
                </a:cxn>
                <a:cxn ang="0">
                  <a:pos x="73" y="55"/>
                </a:cxn>
                <a:cxn ang="0">
                  <a:pos x="99" y="68"/>
                </a:cxn>
                <a:cxn ang="0">
                  <a:pos x="116" y="74"/>
                </a:cxn>
                <a:cxn ang="0">
                  <a:pos x="122" y="76"/>
                </a:cxn>
                <a:cxn ang="0">
                  <a:pos x="124" y="74"/>
                </a:cxn>
                <a:cxn ang="0">
                  <a:pos x="124" y="71"/>
                </a:cxn>
                <a:cxn ang="0">
                  <a:pos x="122" y="68"/>
                </a:cxn>
                <a:cxn ang="0">
                  <a:pos x="118" y="65"/>
                </a:cxn>
                <a:cxn ang="0">
                  <a:pos x="103" y="51"/>
                </a:cxn>
                <a:cxn ang="0">
                  <a:pos x="86" y="41"/>
                </a:cxn>
                <a:cxn ang="0">
                  <a:pos x="43" y="15"/>
                </a:cxn>
                <a:cxn ang="0">
                  <a:pos x="20" y="5"/>
                </a:cxn>
              </a:cxnLst>
              <a:rect l="0" t="0" r="r" b="b"/>
              <a:pathLst>
                <a:path w="124" h="76">
                  <a:moveTo>
                    <a:pt x="20" y="5"/>
                  </a:moveTo>
                  <a:lnTo>
                    <a:pt x="8" y="0"/>
                  </a:lnTo>
                  <a:lnTo>
                    <a:pt x="3" y="0"/>
                  </a:lnTo>
                  <a:lnTo>
                    <a:pt x="0" y="1"/>
                  </a:lnTo>
                  <a:lnTo>
                    <a:pt x="0" y="5"/>
                  </a:lnTo>
                  <a:lnTo>
                    <a:pt x="5" y="9"/>
                  </a:lnTo>
                  <a:lnTo>
                    <a:pt x="20" y="20"/>
                  </a:lnTo>
                  <a:lnTo>
                    <a:pt x="45" y="37"/>
                  </a:lnTo>
                  <a:lnTo>
                    <a:pt x="73" y="55"/>
                  </a:lnTo>
                  <a:lnTo>
                    <a:pt x="99" y="68"/>
                  </a:lnTo>
                  <a:lnTo>
                    <a:pt x="116" y="74"/>
                  </a:lnTo>
                  <a:lnTo>
                    <a:pt x="122" y="76"/>
                  </a:lnTo>
                  <a:lnTo>
                    <a:pt x="124" y="74"/>
                  </a:lnTo>
                  <a:lnTo>
                    <a:pt x="124" y="71"/>
                  </a:lnTo>
                  <a:lnTo>
                    <a:pt x="122" y="68"/>
                  </a:lnTo>
                  <a:lnTo>
                    <a:pt x="118" y="65"/>
                  </a:lnTo>
                  <a:lnTo>
                    <a:pt x="103" y="51"/>
                  </a:lnTo>
                  <a:lnTo>
                    <a:pt x="86" y="41"/>
                  </a:lnTo>
                  <a:lnTo>
                    <a:pt x="43" y="15"/>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3" name="Freeform 86"/>
            <p:cNvSpPr>
              <a:spLocks/>
            </p:cNvSpPr>
            <p:nvPr userDrawn="1"/>
          </p:nvSpPr>
          <p:spPr bwMode="auto">
            <a:xfrm>
              <a:off x="8027988" y="6361113"/>
              <a:ext cx="39688" cy="23813"/>
            </a:xfrm>
            <a:custGeom>
              <a:avLst/>
              <a:gdLst/>
              <a:ahLst/>
              <a:cxnLst>
                <a:cxn ang="0">
                  <a:pos x="0" y="73"/>
                </a:cxn>
                <a:cxn ang="0">
                  <a:pos x="7" y="75"/>
                </a:cxn>
                <a:cxn ang="0">
                  <a:pos x="22" y="69"/>
                </a:cxn>
                <a:cxn ang="0">
                  <a:pos x="67" y="46"/>
                </a:cxn>
                <a:cxn ang="0">
                  <a:pos x="91" y="30"/>
                </a:cxn>
                <a:cxn ang="0">
                  <a:pos x="110" y="17"/>
                </a:cxn>
                <a:cxn ang="0">
                  <a:pos x="122" y="6"/>
                </a:cxn>
                <a:cxn ang="0">
                  <a:pos x="124" y="4"/>
                </a:cxn>
                <a:cxn ang="0">
                  <a:pos x="126" y="1"/>
                </a:cxn>
                <a:cxn ang="0">
                  <a:pos x="118" y="0"/>
                </a:cxn>
                <a:cxn ang="0">
                  <a:pos x="104" y="6"/>
                </a:cxn>
                <a:cxn ang="0">
                  <a:pos x="82" y="16"/>
                </a:cxn>
                <a:cxn ang="0">
                  <a:pos x="58" y="29"/>
                </a:cxn>
                <a:cxn ang="0">
                  <a:pos x="34" y="44"/>
                </a:cxn>
                <a:cxn ang="0">
                  <a:pos x="16" y="58"/>
                </a:cxn>
                <a:cxn ang="0">
                  <a:pos x="3" y="69"/>
                </a:cxn>
                <a:cxn ang="0">
                  <a:pos x="0" y="71"/>
                </a:cxn>
                <a:cxn ang="0">
                  <a:pos x="0" y="73"/>
                </a:cxn>
              </a:cxnLst>
              <a:rect l="0" t="0" r="r" b="b"/>
              <a:pathLst>
                <a:path w="126" h="75">
                  <a:moveTo>
                    <a:pt x="0" y="73"/>
                  </a:moveTo>
                  <a:lnTo>
                    <a:pt x="7" y="75"/>
                  </a:lnTo>
                  <a:lnTo>
                    <a:pt x="22" y="69"/>
                  </a:lnTo>
                  <a:lnTo>
                    <a:pt x="67" y="46"/>
                  </a:lnTo>
                  <a:lnTo>
                    <a:pt x="91" y="30"/>
                  </a:lnTo>
                  <a:lnTo>
                    <a:pt x="110" y="17"/>
                  </a:lnTo>
                  <a:lnTo>
                    <a:pt x="122" y="6"/>
                  </a:lnTo>
                  <a:lnTo>
                    <a:pt x="124" y="4"/>
                  </a:lnTo>
                  <a:lnTo>
                    <a:pt x="126" y="1"/>
                  </a:lnTo>
                  <a:lnTo>
                    <a:pt x="118" y="0"/>
                  </a:lnTo>
                  <a:lnTo>
                    <a:pt x="104" y="6"/>
                  </a:lnTo>
                  <a:lnTo>
                    <a:pt x="82" y="16"/>
                  </a:lnTo>
                  <a:lnTo>
                    <a:pt x="58" y="29"/>
                  </a:lnTo>
                  <a:lnTo>
                    <a:pt x="34" y="44"/>
                  </a:lnTo>
                  <a:lnTo>
                    <a:pt x="16" y="58"/>
                  </a:lnTo>
                  <a:lnTo>
                    <a:pt x="3" y="69"/>
                  </a:lnTo>
                  <a:lnTo>
                    <a:pt x="0" y="71"/>
                  </a:lnTo>
                  <a:lnTo>
                    <a:pt x="0" y="73"/>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4" name="Freeform 87"/>
            <p:cNvSpPr>
              <a:spLocks/>
            </p:cNvSpPr>
            <p:nvPr userDrawn="1"/>
          </p:nvSpPr>
          <p:spPr bwMode="auto">
            <a:xfrm>
              <a:off x="8078788" y="6348413"/>
              <a:ext cx="9525" cy="9525"/>
            </a:xfrm>
            <a:custGeom>
              <a:avLst/>
              <a:gdLst/>
              <a:ahLst/>
              <a:cxnLst>
                <a:cxn ang="0">
                  <a:pos x="3" y="27"/>
                </a:cxn>
                <a:cxn ang="0">
                  <a:pos x="8" y="30"/>
                </a:cxn>
                <a:cxn ang="0">
                  <a:pos x="14" y="31"/>
                </a:cxn>
                <a:cxn ang="0">
                  <a:pos x="20" y="30"/>
                </a:cxn>
                <a:cxn ang="0">
                  <a:pos x="25" y="27"/>
                </a:cxn>
                <a:cxn ang="0">
                  <a:pos x="29" y="22"/>
                </a:cxn>
                <a:cxn ang="0">
                  <a:pos x="30" y="16"/>
                </a:cxn>
                <a:cxn ang="0">
                  <a:pos x="29" y="10"/>
                </a:cxn>
                <a:cxn ang="0">
                  <a:pos x="25" y="5"/>
                </a:cxn>
                <a:cxn ang="0">
                  <a:pos x="20" y="1"/>
                </a:cxn>
                <a:cxn ang="0">
                  <a:pos x="14" y="0"/>
                </a:cxn>
                <a:cxn ang="0">
                  <a:pos x="8" y="1"/>
                </a:cxn>
                <a:cxn ang="0">
                  <a:pos x="3" y="5"/>
                </a:cxn>
                <a:cxn ang="0">
                  <a:pos x="1" y="10"/>
                </a:cxn>
                <a:cxn ang="0">
                  <a:pos x="0" y="16"/>
                </a:cxn>
                <a:cxn ang="0">
                  <a:pos x="1" y="22"/>
                </a:cxn>
                <a:cxn ang="0">
                  <a:pos x="3" y="27"/>
                </a:cxn>
              </a:cxnLst>
              <a:rect l="0" t="0" r="r" b="b"/>
              <a:pathLst>
                <a:path w="30" h="31">
                  <a:moveTo>
                    <a:pt x="3" y="27"/>
                  </a:moveTo>
                  <a:lnTo>
                    <a:pt x="8" y="30"/>
                  </a:lnTo>
                  <a:lnTo>
                    <a:pt x="14" y="31"/>
                  </a:lnTo>
                  <a:lnTo>
                    <a:pt x="20" y="30"/>
                  </a:lnTo>
                  <a:lnTo>
                    <a:pt x="25" y="27"/>
                  </a:lnTo>
                  <a:lnTo>
                    <a:pt x="29" y="22"/>
                  </a:lnTo>
                  <a:lnTo>
                    <a:pt x="30" y="16"/>
                  </a:lnTo>
                  <a:lnTo>
                    <a:pt x="29" y="10"/>
                  </a:lnTo>
                  <a:lnTo>
                    <a:pt x="25" y="5"/>
                  </a:lnTo>
                  <a:lnTo>
                    <a:pt x="20" y="1"/>
                  </a:lnTo>
                  <a:lnTo>
                    <a:pt x="14" y="0"/>
                  </a:lnTo>
                  <a:lnTo>
                    <a:pt x="8" y="1"/>
                  </a:lnTo>
                  <a:lnTo>
                    <a:pt x="3" y="5"/>
                  </a:lnTo>
                  <a:lnTo>
                    <a:pt x="1" y="10"/>
                  </a:lnTo>
                  <a:lnTo>
                    <a:pt x="0" y="16"/>
                  </a:lnTo>
                  <a:lnTo>
                    <a:pt x="1" y="22"/>
                  </a:lnTo>
                  <a:lnTo>
                    <a:pt x="3"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5" name="Freeform 88"/>
            <p:cNvSpPr>
              <a:spLocks/>
            </p:cNvSpPr>
            <p:nvPr userDrawn="1"/>
          </p:nvSpPr>
          <p:spPr bwMode="auto">
            <a:xfrm>
              <a:off x="8080375" y="6291263"/>
              <a:ext cx="6350" cy="47625"/>
            </a:xfrm>
            <a:custGeom>
              <a:avLst/>
              <a:gdLst/>
              <a:ahLst/>
              <a:cxnLst>
                <a:cxn ang="0">
                  <a:pos x="0" y="74"/>
                </a:cxn>
                <a:cxn ang="0">
                  <a:pos x="4" y="125"/>
                </a:cxn>
                <a:cxn ang="0">
                  <a:pos x="6" y="141"/>
                </a:cxn>
                <a:cxn ang="0">
                  <a:pos x="10" y="147"/>
                </a:cxn>
                <a:cxn ang="0">
                  <a:pos x="14" y="141"/>
                </a:cxn>
                <a:cxn ang="0">
                  <a:pos x="17" y="125"/>
                </a:cxn>
                <a:cxn ang="0">
                  <a:pos x="18" y="74"/>
                </a:cxn>
                <a:cxn ang="0">
                  <a:pos x="17" y="22"/>
                </a:cxn>
                <a:cxn ang="0">
                  <a:pos x="14" y="6"/>
                </a:cxn>
                <a:cxn ang="0">
                  <a:pos x="10" y="0"/>
                </a:cxn>
                <a:cxn ang="0">
                  <a:pos x="6" y="6"/>
                </a:cxn>
                <a:cxn ang="0">
                  <a:pos x="4" y="22"/>
                </a:cxn>
                <a:cxn ang="0">
                  <a:pos x="2" y="46"/>
                </a:cxn>
                <a:cxn ang="0">
                  <a:pos x="0" y="74"/>
                </a:cxn>
              </a:cxnLst>
              <a:rect l="0" t="0" r="r" b="b"/>
              <a:pathLst>
                <a:path w="18" h="147">
                  <a:moveTo>
                    <a:pt x="0" y="74"/>
                  </a:moveTo>
                  <a:lnTo>
                    <a:pt x="4" y="125"/>
                  </a:lnTo>
                  <a:lnTo>
                    <a:pt x="6" y="141"/>
                  </a:lnTo>
                  <a:lnTo>
                    <a:pt x="10" y="147"/>
                  </a:lnTo>
                  <a:lnTo>
                    <a:pt x="14" y="141"/>
                  </a:lnTo>
                  <a:lnTo>
                    <a:pt x="17" y="125"/>
                  </a:lnTo>
                  <a:lnTo>
                    <a:pt x="18" y="74"/>
                  </a:lnTo>
                  <a:lnTo>
                    <a:pt x="17" y="22"/>
                  </a:lnTo>
                  <a:lnTo>
                    <a:pt x="14" y="6"/>
                  </a:lnTo>
                  <a:lnTo>
                    <a:pt x="10" y="0"/>
                  </a:lnTo>
                  <a:lnTo>
                    <a:pt x="6" y="6"/>
                  </a:lnTo>
                  <a:lnTo>
                    <a:pt x="4" y="22"/>
                  </a:lnTo>
                  <a:lnTo>
                    <a:pt x="2" y="46"/>
                  </a:lnTo>
                  <a:lnTo>
                    <a:pt x="0" y="74"/>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6" name="Freeform 89"/>
            <p:cNvSpPr>
              <a:spLocks noEditPoints="1"/>
            </p:cNvSpPr>
            <p:nvPr userDrawn="1"/>
          </p:nvSpPr>
          <p:spPr bwMode="auto">
            <a:xfrm>
              <a:off x="7970838" y="6284913"/>
              <a:ext cx="153988" cy="280988"/>
            </a:xfrm>
            <a:custGeom>
              <a:avLst/>
              <a:gdLst/>
              <a:ahLst/>
              <a:cxnLst>
                <a:cxn ang="0">
                  <a:pos x="199" y="859"/>
                </a:cxn>
                <a:cxn ang="0">
                  <a:pos x="218" y="610"/>
                </a:cxn>
                <a:cxn ang="0">
                  <a:pos x="247" y="610"/>
                </a:cxn>
                <a:cxn ang="0">
                  <a:pos x="431" y="363"/>
                </a:cxn>
                <a:cxn ang="0">
                  <a:pos x="470" y="394"/>
                </a:cxn>
                <a:cxn ang="0">
                  <a:pos x="480" y="417"/>
                </a:cxn>
                <a:cxn ang="0">
                  <a:pos x="446" y="416"/>
                </a:cxn>
                <a:cxn ang="0">
                  <a:pos x="342" y="366"/>
                </a:cxn>
                <a:cxn ang="0">
                  <a:pos x="265" y="305"/>
                </a:cxn>
                <a:cxn ang="0">
                  <a:pos x="261" y="395"/>
                </a:cxn>
                <a:cxn ang="0">
                  <a:pos x="276" y="845"/>
                </a:cxn>
                <a:cxn ang="0">
                  <a:pos x="303" y="859"/>
                </a:cxn>
                <a:cxn ang="0">
                  <a:pos x="184" y="859"/>
                </a:cxn>
                <a:cxn ang="0">
                  <a:pos x="210" y="844"/>
                </a:cxn>
                <a:cxn ang="0">
                  <a:pos x="228" y="310"/>
                </a:cxn>
                <a:cxn ang="0">
                  <a:pos x="202" y="316"/>
                </a:cxn>
                <a:cxn ang="0">
                  <a:pos x="125" y="369"/>
                </a:cxn>
                <a:cxn ang="0">
                  <a:pos x="25" y="414"/>
                </a:cxn>
                <a:cxn ang="0">
                  <a:pos x="0" y="414"/>
                </a:cxn>
                <a:cxn ang="0">
                  <a:pos x="12" y="390"/>
                </a:cxn>
                <a:cxn ang="0">
                  <a:pos x="101" y="325"/>
                </a:cxn>
                <a:cxn ang="0">
                  <a:pos x="210" y="278"/>
                </a:cxn>
                <a:cxn ang="0">
                  <a:pos x="229" y="248"/>
                </a:cxn>
                <a:cxn ang="0">
                  <a:pos x="218" y="159"/>
                </a:cxn>
                <a:cxn ang="0">
                  <a:pos x="225" y="39"/>
                </a:cxn>
                <a:cxn ang="0">
                  <a:pos x="243" y="0"/>
                </a:cxn>
                <a:cxn ang="0">
                  <a:pos x="260" y="39"/>
                </a:cxn>
                <a:cxn ang="0">
                  <a:pos x="265" y="183"/>
                </a:cxn>
                <a:cxn ang="0">
                  <a:pos x="267" y="254"/>
                </a:cxn>
                <a:cxn ang="0">
                  <a:pos x="277" y="282"/>
                </a:cxn>
                <a:cxn ang="0">
                  <a:pos x="381" y="329"/>
                </a:cxn>
                <a:cxn ang="0">
                  <a:pos x="302" y="300"/>
                </a:cxn>
                <a:cxn ang="0">
                  <a:pos x="303" y="311"/>
                </a:cxn>
                <a:cxn ang="0">
                  <a:pos x="382" y="364"/>
                </a:cxn>
                <a:cxn ang="0">
                  <a:pos x="437" y="387"/>
                </a:cxn>
                <a:cxn ang="0">
                  <a:pos x="437" y="379"/>
                </a:cxn>
                <a:cxn ang="0">
                  <a:pos x="396" y="347"/>
                </a:cxn>
                <a:cxn ang="0">
                  <a:pos x="37" y="387"/>
                </a:cxn>
                <a:cxn ang="0">
                  <a:pos x="86" y="369"/>
                </a:cxn>
                <a:cxn ang="0">
                  <a:pos x="176" y="310"/>
                </a:cxn>
                <a:cxn ang="0">
                  <a:pos x="154" y="309"/>
                </a:cxn>
                <a:cxn ang="0">
                  <a:pos x="76" y="352"/>
                </a:cxn>
                <a:cxn ang="0">
                  <a:pos x="37" y="383"/>
                </a:cxn>
                <a:cxn ang="0">
                  <a:pos x="229" y="289"/>
                </a:cxn>
                <a:cxn ang="0">
                  <a:pos x="247" y="286"/>
                </a:cxn>
                <a:cxn ang="0">
                  <a:pos x="252" y="266"/>
                </a:cxn>
                <a:cxn ang="0">
                  <a:pos x="236" y="256"/>
                </a:cxn>
                <a:cxn ang="0">
                  <a:pos x="220" y="266"/>
                </a:cxn>
                <a:cxn ang="0">
                  <a:pos x="224" y="286"/>
                </a:cxn>
                <a:cxn ang="0">
                  <a:pos x="228" y="196"/>
                </a:cxn>
                <a:cxn ang="0">
                  <a:pos x="236" y="220"/>
                </a:cxn>
                <a:cxn ang="0">
                  <a:pos x="246" y="137"/>
                </a:cxn>
                <a:cxn ang="0">
                  <a:pos x="240" y="60"/>
                </a:cxn>
                <a:cxn ang="0">
                  <a:pos x="229" y="78"/>
                </a:cxn>
              </a:cxnLst>
              <a:rect l="0" t="0" r="r" b="b"/>
              <a:pathLst>
                <a:path w="482" h="884">
                  <a:moveTo>
                    <a:pt x="232" y="847"/>
                  </a:moveTo>
                  <a:lnTo>
                    <a:pt x="199" y="847"/>
                  </a:lnTo>
                  <a:lnTo>
                    <a:pt x="199" y="859"/>
                  </a:lnTo>
                  <a:lnTo>
                    <a:pt x="232" y="859"/>
                  </a:lnTo>
                  <a:lnTo>
                    <a:pt x="232" y="847"/>
                  </a:lnTo>
                  <a:close/>
                  <a:moveTo>
                    <a:pt x="218" y="610"/>
                  </a:moveTo>
                  <a:lnTo>
                    <a:pt x="218" y="842"/>
                  </a:lnTo>
                  <a:lnTo>
                    <a:pt x="247" y="842"/>
                  </a:lnTo>
                  <a:lnTo>
                    <a:pt x="247" y="610"/>
                  </a:lnTo>
                  <a:lnTo>
                    <a:pt x="218" y="610"/>
                  </a:lnTo>
                  <a:close/>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moveTo>
                    <a:pt x="320" y="306"/>
                  </a:moveTo>
                  <a:lnTo>
                    <a:pt x="307" y="301"/>
                  </a:lnTo>
                  <a:lnTo>
                    <a:pt x="302" y="300"/>
                  </a:lnTo>
                  <a:lnTo>
                    <a:pt x="299" y="303"/>
                  </a:lnTo>
                  <a:lnTo>
                    <a:pt x="299" y="306"/>
                  </a:lnTo>
                  <a:lnTo>
                    <a:pt x="303" y="311"/>
                  </a:lnTo>
                  <a:lnTo>
                    <a:pt x="320" y="324"/>
                  </a:lnTo>
                  <a:lnTo>
                    <a:pt x="349" y="343"/>
                  </a:lnTo>
                  <a:lnTo>
                    <a:pt x="382" y="364"/>
                  </a:lnTo>
                  <a:lnTo>
                    <a:pt x="412" y="379"/>
                  </a:lnTo>
                  <a:lnTo>
                    <a:pt x="430" y="387"/>
                  </a:lnTo>
                  <a:lnTo>
                    <a:pt x="437" y="387"/>
                  </a:lnTo>
                  <a:lnTo>
                    <a:pt x="441" y="385"/>
                  </a:lnTo>
                  <a:lnTo>
                    <a:pt x="440" y="382"/>
                  </a:lnTo>
                  <a:lnTo>
                    <a:pt x="437" y="379"/>
                  </a:lnTo>
                  <a:lnTo>
                    <a:pt x="432" y="375"/>
                  </a:lnTo>
                  <a:lnTo>
                    <a:pt x="414" y="360"/>
                  </a:lnTo>
                  <a:lnTo>
                    <a:pt x="396" y="347"/>
                  </a:lnTo>
                  <a:lnTo>
                    <a:pt x="347" y="319"/>
                  </a:lnTo>
                  <a:lnTo>
                    <a:pt x="320" y="306"/>
                  </a:lnTo>
                  <a:close/>
                  <a:moveTo>
                    <a:pt x="37" y="387"/>
                  </a:moveTo>
                  <a:lnTo>
                    <a:pt x="43" y="387"/>
                  </a:lnTo>
                  <a:lnTo>
                    <a:pt x="61" y="379"/>
                  </a:lnTo>
                  <a:lnTo>
                    <a:pt x="86" y="369"/>
                  </a:lnTo>
                  <a:lnTo>
                    <a:pt x="112" y="354"/>
                  </a:lnTo>
                  <a:lnTo>
                    <a:pt x="161" y="321"/>
                  </a:lnTo>
                  <a:lnTo>
                    <a:pt x="176" y="310"/>
                  </a:lnTo>
                  <a:lnTo>
                    <a:pt x="179" y="303"/>
                  </a:lnTo>
                  <a:lnTo>
                    <a:pt x="172" y="303"/>
                  </a:lnTo>
                  <a:lnTo>
                    <a:pt x="154" y="309"/>
                  </a:lnTo>
                  <a:lnTo>
                    <a:pt x="130" y="319"/>
                  </a:lnTo>
                  <a:lnTo>
                    <a:pt x="102" y="335"/>
                  </a:lnTo>
                  <a:lnTo>
                    <a:pt x="76" y="352"/>
                  </a:lnTo>
                  <a:lnTo>
                    <a:pt x="54" y="367"/>
                  </a:lnTo>
                  <a:lnTo>
                    <a:pt x="40" y="379"/>
                  </a:lnTo>
                  <a:lnTo>
                    <a:pt x="37" y="383"/>
                  </a:lnTo>
                  <a:lnTo>
                    <a:pt x="37" y="387"/>
                  </a:lnTo>
                  <a:close/>
                  <a:moveTo>
                    <a:pt x="224" y="286"/>
                  </a:moveTo>
                  <a:lnTo>
                    <a:pt x="229" y="289"/>
                  </a:lnTo>
                  <a:lnTo>
                    <a:pt x="236" y="290"/>
                  </a:lnTo>
                  <a:lnTo>
                    <a:pt x="242" y="289"/>
                  </a:lnTo>
                  <a:lnTo>
                    <a:pt x="247" y="286"/>
                  </a:lnTo>
                  <a:lnTo>
                    <a:pt x="252" y="280"/>
                  </a:lnTo>
                  <a:lnTo>
                    <a:pt x="253" y="274"/>
                  </a:lnTo>
                  <a:lnTo>
                    <a:pt x="252" y="266"/>
                  </a:lnTo>
                  <a:lnTo>
                    <a:pt x="247" y="260"/>
                  </a:lnTo>
                  <a:lnTo>
                    <a:pt x="242" y="257"/>
                  </a:lnTo>
                  <a:lnTo>
                    <a:pt x="236" y="256"/>
                  </a:lnTo>
                  <a:lnTo>
                    <a:pt x="229" y="257"/>
                  </a:lnTo>
                  <a:lnTo>
                    <a:pt x="224" y="260"/>
                  </a:lnTo>
                  <a:lnTo>
                    <a:pt x="220" y="266"/>
                  </a:lnTo>
                  <a:lnTo>
                    <a:pt x="219" y="274"/>
                  </a:lnTo>
                  <a:lnTo>
                    <a:pt x="220" y="280"/>
                  </a:lnTo>
                  <a:lnTo>
                    <a:pt x="224" y="286"/>
                  </a:lnTo>
                  <a:close/>
                  <a:moveTo>
                    <a:pt x="225" y="137"/>
                  </a:moveTo>
                  <a:lnTo>
                    <a:pt x="225" y="168"/>
                  </a:lnTo>
                  <a:lnTo>
                    <a:pt x="228" y="196"/>
                  </a:lnTo>
                  <a:lnTo>
                    <a:pt x="231" y="214"/>
                  </a:lnTo>
                  <a:lnTo>
                    <a:pt x="234" y="218"/>
                  </a:lnTo>
                  <a:lnTo>
                    <a:pt x="236" y="220"/>
                  </a:lnTo>
                  <a:lnTo>
                    <a:pt x="240" y="214"/>
                  </a:lnTo>
                  <a:lnTo>
                    <a:pt x="243" y="196"/>
                  </a:lnTo>
                  <a:lnTo>
                    <a:pt x="246" y="137"/>
                  </a:lnTo>
                  <a:lnTo>
                    <a:pt x="246" y="104"/>
                  </a:lnTo>
                  <a:lnTo>
                    <a:pt x="243" y="78"/>
                  </a:lnTo>
                  <a:lnTo>
                    <a:pt x="240" y="60"/>
                  </a:lnTo>
                  <a:lnTo>
                    <a:pt x="236" y="54"/>
                  </a:lnTo>
                  <a:lnTo>
                    <a:pt x="231" y="60"/>
                  </a:lnTo>
                  <a:lnTo>
                    <a:pt x="229" y="78"/>
                  </a:lnTo>
                  <a:lnTo>
                    <a:pt x="225" y="104"/>
                  </a:lnTo>
                  <a:lnTo>
                    <a:pt x="225" y="137"/>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7" name="Rectangle 90"/>
            <p:cNvSpPr>
              <a:spLocks noChangeArrowheads="1"/>
            </p:cNvSpPr>
            <p:nvPr userDrawn="1"/>
          </p:nvSpPr>
          <p:spPr bwMode="auto">
            <a:xfrm>
              <a:off x="8034338" y="6554788"/>
              <a:ext cx="11113" cy="3175"/>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8" name="Rectangle 91"/>
            <p:cNvSpPr>
              <a:spLocks noChangeArrowheads="1"/>
            </p:cNvSpPr>
            <p:nvPr userDrawn="1"/>
          </p:nvSpPr>
          <p:spPr bwMode="auto">
            <a:xfrm>
              <a:off x="8040688" y="6478588"/>
              <a:ext cx="9525" cy="74613"/>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9" name="Freeform 92"/>
            <p:cNvSpPr>
              <a:spLocks/>
            </p:cNvSpPr>
            <p:nvPr userDrawn="1"/>
          </p:nvSpPr>
          <p:spPr bwMode="auto">
            <a:xfrm>
              <a:off x="7970838" y="6284913"/>
              <a:ext cx="153988" cy="280988"/>
            </a:xfrm>
            <a:custGeom>
              <a:avLst/>
              <a:gdLst/>
              <a:ahLst/>
              <a:cxnLst>
                <a:cxn ang="0">
                  <a:pos x="431" y="363"/>
                </a:cxn>
                <a:cxn ang="0">
                  <a:pos x="456" y="382"/>
                </a:cxn>
                <a:cxn ang="0">
                  <a:pos x="477" y="404"/>
                </a:cxn>
                <a:cxn ang="0">
                  <a:pos x="480" y="417"/>
                </a:cxn>
                <a:cxn ang="0">
                  <a:pos x="470" y="420"/>
                </a:cxn>
                <a:cxn ang="0">
                  <a:pos x="405" y="399"/>
                </a:cxn>
                <a:cxn ang="0">
                  <a:pos x="342" y="366"/>
                </a:cxn>
                <a:cxn ang="0">
                  <a:pos x="291" y="329"/>
                </a:cxn>
                <a:cxn ang="0">
                  <a:pos x="260" y="309"/>
                </a:cxn>
                <a:cxn ang="0">
                  <a:pos x="261" y="395"/>
                </a:cxn>
                <a:cxn ang="0">
                  <a:pos x="276" y="599"/>
                </a:cxn>
                <a:cxn ang="0">
                  <a:pos x="289" y="845"/>
                </a:cxn>
                <a:cxn ang="0">
                  <a:pos x="303" y="859"/>
                </a:cxn>
                <a:cxn ang="0">
                  <a:pos x="184" y="883"/>
                </a:cxn>
                <a:cxn ang="0">
                  <a:pos x="196" y="859"/>
                </a:cxn>
                <a:cxn ang="0">
                  <a:pos x="210" y="844"/>
                </a:cxn>
                <a:cxn ang="0">
                  <a:pos x="218" y="599"/>
                </a:cxn>
                <a:cxn ang="0">
                  <a:pos x="219" y="303"/>
                </a:cxn>
                <a:cxn ang="0">
                  <a:pos x="202" y="316"/>
                </a:cxn>
                <a:cxn ang="0">
                  <a:pos x="169" y="342"/>
                </a:cxn>
                <a:cxn ang="0">
                  <a:pos x="82" y="393"/>
                </a:cxn>
                <a:cxn ang="0">
                  <a:pos x="25" y="414"/>
                </a:cxn>
                <a:cxn ang="0">
                  <a:pos x="5" y="417"/>
                </a:cxn>
                <a:cxn ang="0">
                  <a:pos x="0" y="408"/>
                </a:cxn>
                <a:cxn ang="0">
                  <a:pos x="12" y="390"/>
                </a:cxn>
                <a:cxn ang="0">
                  <a:pos x="59" y="353"/>
                </a:cxn>
                <a:cxn ang="0">
                  <a:pos x="146" y="303"/>
                </a:cxn>
                <a:cxn ang="0">
                  <a:pos x="210" y="278"/>
                </a:cxn>
                <a:cxn ang="0">
                  <a:pos x="219" y="254"/>
                </a:cxn>
                <a:cxn ang="0">
                  <a:pos x="224" y="227"/>
                </a:cxn>
                <a:cxn ang="0">
                  <a:pos x="218" y="159"/>
                </a:cxn>
                <a:cxn ang="0">
                  <a:pos x="219" y="83"/>
                </a:cxn>
                <a:cxn ang="0">
                  <a:pos x="234" y="9"/>
                </a:cxn>
                <a:cxn ang="0">
                  <a:pos x="243" y="0"/>
                </a:cxn>
                <a:cxn ang="0">
                  <a:pos x="253" y="9"/>
                </a:cxn>
                <a:cxn ang="0">
                  <a:pos x="266" y="83"/>
                </a:cxn>
                <a:cxn ang="0">
                  <a:pos x="265" y="183"/>
                </a:cxn>
                <a:cxn ang="0">
                  <a:pos x="255" y="247"/>
                </a:cxn>
                <a:cxn ang="0">
                  <a:pos x="275" y="266"/>
                </a:cxn>
                <a:cxn ang="0">
                  <a:pos x="277" y="282"/>
                </a:cxn>
                <a:cxn ang="0">
                  <a:pos x="330" y="303"/>
                </a:cxn>
              </a:cxnLst>
              <a:rect l="0" t="0" r="r" b="b"/>
              <a:pathLst>
                <a:path w="482" h="884">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0" name="Freeform 93"/>
            <p:cNvSpPr>
              <a:spLocks/>
            </p:cNvSpPr>
            <p:nvPr userDrawn="1"/>
          </p:nvSpPr>
          <p:spPr bwMode="auto">
            <a:xfrm>
              <a:off x="8066088" y="6380163"/>
              <a:ext cx="44450" cy="28575"/>
            </a:xfrm>
            <a:custGeom>
              <a:avLst/>
              <a:gdLst/>
              <a:ahLst/>
              <a:cxnLst>
                <a:cxn ang="0">
                  <a:pos x="21" y="6"/>
                </a:cxn>
                <a:cxn ang="0">
                  <a:pos x="8" y="1"/>
                </a:cxn>
                <a:cxn ang="0">
                  <a:pos x="3" y="0"/>
                </a:cxn>
                <a:cxn ang="0">
                  <a:pos x="0" y="3"/>
                </a:cxn>
                <a:cxn ang="0">
                  <a:pos x="0" y="6"/>
                </a:cxn>
                <a:cxn ang="0">
                  <a:pos x="4" y="11"/>
                </a:cxn>
                <a:cxn ang="0">
                  <a:pos x="21" y="24"/>
                </a:cxn>
                <a:cxn ang="0">
                  <a:pos x="50" y="43"/>
                </a:cxn>
                <a:cxn ang="0">
                  <a:pos x="83" y="64"/>
                </a:cxn>
                <a:cxn ang="0">
                  <a:pos x="113" y="79"/>
                </a:cxn>
                <a:cxn ang="0">
                  <a:pos x="131" y="87"/>
                </a:cxn>
                <a:cxn ang="0">
                  <a:pos x="138" y="87"/>
                </a:cxn>
                <a:cxn ang="0">
                  <a:pos x="142" y="85"/>
                </a:cxn>
                <a:cxn ang="0">
                  <a:pos x="141" y="82"/>
                </a:cxn>
                <a:cxn ang="0">
                  <a:pos x="138" y="79"/>
                </a:cxn>
                <a:cxn ang="0">
                  <a:pos x="133" y="75"/>
                </a:cxn>
                <a:cxn ang="0">
                  <a:pos x="115" y="60"/>
                </a:cxn>
                <a:cxn ang="0">
                  <a:pos x="97" y="47"/>
                </a:cxn>
                <a:cxn ang="0">
                  <a:pos x="48" y="19"/>
                </a:cxn>
                <a:cxn ang="0">
                  <a:pos x="21" y="6"/>
                </a:cxn>
              </a:cxnLst>
              <a:rect l="0" t="0" r="r" b="b"/>
              <a:pathLst>
                <a:path w="142" h="87">
                  <a:moveTo>
                    <a:pt x="21" y="6"/>
                  </a:moveTo>
                  <a:lnTo>
                    <a:pt x="8" y="1"/>
                  </a:lnTo>
                  <a:lnTo>
                    <a:pt x="3" y="0"/>
                  </a:lnTo>
                  <a:lnTo>
                    <a:pt x="0" y="3"/>
                  </a:lnTo>
                  <a:lnTo>
                    <a:pt x="0" y="6"/>
                  </a:lnTo>
                  <a:lnTo>
                    <a:pt x="4" y="11"/>
                  </a:lnTo>
                  <a:lnTo>
                    <a:pt x="21" y="24"/>
                  </a:lnTo>
                  <a:lnTo>
                    <a:pt x="50" y="43"/>
                  </a:lnTo>
                  <a:lnTo>
                    <a:pt x="83" y="64"/>
                  </a:lnTo>
                  <a:lnTo>
                    <a:pt x="113" y="79"/>
                  </a:lnTo>
                  <a:lnTo>
                    <a:pt x="131" y="87"/>
                  </a:lnTo>
                  <a:lnTo>
                    <a:pt x="138" y="87"/>
                  </a:lnTo>
                  <a:lnTo>
                    <a:pt x="142" y="85"/>
                  </a:lnTo>
                  <a:lnTo>
                    <a:pt x="141" y="82"/>
                  </a:lnTo>
                  <a:lnTo>
                    <a:pt x="138" y="79"/>
                  </a:lnTo>
                  <a:lnTo>
                    <a:pt x="133" y="75"/>
                  </a:lnTo>
                  <a:lnTo>
                    <a:pt x="115" y="60"/>
                  </a:lnTo>
                  <a:lnTo>
                    <a:pt x="97" y="47"/>
                  </a:lnTo>
                  <a:lnTo>
                    <a:pt x="48" y="19"/>
                  </a:lnTo>
                  <a:lnTo>
                    <a:pt x="21" y="6"/>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1" name="Freeform 94"/>
            <p:cNvSpPr>
              <a:spLocks/>
            </p:cNvSpPr>
            <p:nvPr userDrawn="1"/>
          </p:nvSpPr>
          <p:spPr bwMode="auto">
            <a:xfrm>
              <a:off x="7983538" y="6381751"/>
              <a:ext cx="44450" cy="26988"/>
            </a:xfrm>
            <a:custGeom>
              <a:avLst/>
              <a:gdLst/>
              <a:ahLst/>
              <a:cxnLst>
                <a:cxn ang="0">
                  <a:pos x="0" y="84"/>
                </a:cxn>
                <a:cxn ang="0">
                  <a:pos x="6" y="84"/>
                </a:cxn>
                <a:cxn ang="0">
                  <a:pos x="24" y="76"/>
                </a:cxn>
                <a:cxn ang="0">
                  <a:pos x="49" y="66"/>
                </a:cxn>
                <a:cxn ang="0">
                  <a:pos x="75" y="51"/>
                </a:cxn>
                <a:cxn ang="0">
                  <a:pos x="124" y="18"/>
                </a:cxn>
                <a:cxn ang="0">
                  <a:pos x="139" y="7"/>
                </a:cxn>
                <a:cxn ang="0">
                  <a:pos x="142" y="0"/>
                </a:cxn>
                <a:cxn ang="0">
                  <a:pos x="135" y="0"/>
                </a:cxn>
                <a:cxn ang="0">
                  <a:pos x="117" y="6"/>
                </a:cxn>
                <a:cxn ang="0">
                  <a:pos x="93" y="16"/>
                </a:cxn>
                <a:cxn ang="0">
                  <a:pos x="65" y="32"/>
                </a:cxn>
                <a:cxn ang="0">
                  <a:pos x="39" y="49"/>
                </a:cxn>
                <a:cxn ang="0">
                  <a:pos x="17" y="64"/>
                </a:cxn>
                <a:cxn ang="0">
                  <a:pos x="3" y="76"/>
                </a:cxn>
                <a:cxn ang="0">
                  <a:pos x="0" y="80"/>
                </a:cxn>
                <a:cxn ang="0">
                  <a:pos x="0" y="84"/>
                </a:cxn>
              </a:cxnLst>
              <a:rect l="0" t="0" r="r" b="b"/>
              <a:pathLst>
                <a:path w="142" h="84">
                  <a:moveTo>
                    <a:pt x="0" y="84"/>
                  </a:moveTo>
                  <a:lnTo>
                    <a:pt x="6" y="84"/>
                  </a:lnTo>
                  <a:lnTo>
                    <a:pt x="24" y="76"/>
                  </a:lnTo>
                  <a:lnTo>
                    <a:pt x="49" y="66"/>
                  </a:lnTo>
                  <a:lnTo>
                    <a:pt x="75" y="51"/>
                  </a:lnTo>
                  <a:lnTo>
                    <a:pt x="124" y="18"/>
                  </a:lnTo>
                  <a:lnTo>
                    <a:pt x="139" y="7"/>
                  </a:lnTo>
                  <a:lnTo>
                    <a:pt x="142" y="0"/>
                  </a:lnTo>
                  <a:lnTo>
                    <a:pt x="135" y="0"/>
                  </a:lnTo>
                  <a:lnTo>
                    <a:pt x="117" y="6"/>
                  </a:lnTo>
                  <a:lnTo>
                    <a:pt x="93" y="16"/>
                  </a:lnTo>
                  <a:lnTo>
                    <a:pt x="65" y="32"/>
                  </a:lnTo>
                  <a:lnTo>
                    <a:pt x="39" y="49"/>
                  </a:lnTo>
                  <a:lnTo>
                    <a:pt x="17" y="64"/>
                  </a:lnTo>
                  <a:lnTo>
                    <a:pt x="3" y="76"/>
                  </a:lnTo>
                  <a:lnTo>
                    <a:pt x="0" y="80"/>
                  </a:lnTo>
                  <a:lnTo>
                    <a:pt x="0" y="8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2" name="Freeform 95"/>
            <p:cNvSpPr>
              <a:spLocks/>
            </p:cNvSpPr>
            <p:nvPr userDrawn="1"/>
          </p:nvSpPr>
          <p:spPr bwMode="auto">
            <a:xfrm>
              <a:off x="8040688" y="6365876"/>
              <a:ext cx="11113" cy="11113"/>
            </a:xfrm>
            <a:custGeom>
              <a:avLst/>
              <a:gdLst/>
              <a:ahLst/>
              <a:cxnLst>
                <a:cxn ang="0">
                  <a:pos x="5" y="30"/>
                </a:cxn>
                <a:cxn ang="0">
                  <a:pos x="10" y="33"/>
                </a:cxn>
                <a:cxn ang="0">
                  <a:pos x="17" y="34"/>
                </a:cxn>
                <a:cxn ang="0">
                  <a:pos x="23" y="33"/>
                </a:cxn>
                <a:cxn ang="0">
                  <a:pos x="28" y="30"/>
                </a:cxn>
                <a:cxn ang="0">
                  <a:pos x="33" y="24"/>
                </a:cxn>
                <a:cxn ang="0">
                  <a:pos x="34" y="18"/>
                </a:cxn>
                <a:cxn ang="0">
                  <a:pos x="33" y="10"/>
                </a:cxn>
                <a:cxn ang="0">
                  <a:pos x="28" y="4"/>
                </a:cxn>
                <a:cxn ang="0">
                  <a:pos x="23" y="1"/>
                </a:cxn>
                <a:cxn ang="0">
                  <a:pos x="17" y="0"/>
                </a:cxn>
                <a:cxn ang="0">
                  <a:pos x="10" y="1"/>
                </a:cxn>
                <a:cxn ang="0">
                  <a:pos x="5" y="4"/>
                </a:cxn>
                <a:cxn ang="0">
                  <a:pos x="1" y="10"/>
                </a:cxn>
                <a:cxn ang="0">
                  <a:pos x="0" y="18"/>
                </a:cxn>
                <a:cxn ang="0">
                  <a:pos x="1" y="24"/>
                </a:cxn>
                <a:cxn ang="0">
                  <a:pos x="5" y="30"/>
                </a:cxn>
              </a:cxnLst>
              <a:rect l="0" t="0" r="r" b="b"/>
              <a:pathLst>
                <a:path w="34" h="34">
                  <a:moveTo>
                    <a:pt x="5" y="30"/>
                  </a:moveTo>
                  <a:lnTo>
                    <a:pt x="10" y="33"/>
                  </a:lnTo>
                  <a:lnTo>
                    <a:pt x="17" y="34"/>
                  </a:lnTo>
                  <a:lnTo>
                    <a:pt x="23" y="33"/>
                  </a:lnTo>
                  <a:lnTo>
                    <a:pt x="28" y="30"/>
                  </a:lnTo>
                  <a:lnTo>
                    <a:pt x="33" y="24"/>
                  </a:lnTo>
                  <a:lnTo>
                    <a:pt x="34" y="18"/>
                  </a:lnTo>
                  <a:lnTo>
                    <a:pt x="33" y="10"/>
                  </a:lnTo>
                  <a:lnTo>
                    <a:pt x="28" y="4"/>
                  </a:lnTo>
                  <a:lnTo>
                    <a:pt x="23" y="1"/>
                  </a:lnTo>
                  <a:lnTo>
                    <a:pt x="17" y="0"/>
                  </a:lnTo>
                  <a:lnTo>
                    <a:pt x="10" y="1"/>
                  </a:lnTo>
                  <a:lnTo>
                    <a:pt x="5" y="4"/>
                  </a:lnTo>
                  <a:lnTo>
                    <a:pt x="1" y="10"/>
                  </a:lnTo>
                  <a:lnTo>
                    <a:pt x="0" y="18"/>
                  </a:lnTo>
                  <a:lnTo>
                    <a:pt x="1" y="24"/>
                  </a:lnTo>
                  <a:lnTo>
                    <a:pt x="5" y="30"/>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3" name="Freeform 96"/>
            <p:cNvSpPr>
              <a:spLocks/>
            </p:cNvSpPr>
            <p:nvPr userDrawn="1"/>
          </p:nvSpPr>
          <p:spPr bwMode="auto">
            <a:xfrm>
              <a:off x="8042275" y="6302376"/>
              <a:ext cx="6350" cy="52388"/>
            </a:xfrm>
            <a:custGeom>
              <a:avLst/>
              <a:gdLst/>
              <a:ahLst/>
              <a:cxnLst>
                <a:cxn ang="0">
                  <a:pos x="0" y="83"/>
                </a:cxn>
                <a:cxn ang="0">
                  <a:pos x="0" y="114"/>
                </a:cxn>
                <a:cxn ang="0">
                  <a:pos x="3" y="142"/>
                </a:cxn>
                <a:cxn ang="0">
                  <a:pos x="6" y="160"/>
                </a:cxn>
                <a:cxn ang="0">
                  <a:pos x="9" y="164"/>
                </a:cxn>
                <a:cxn ang="0">
                  <a:pos x="11" y="166"/>
                </a:cxn>
                <a:cxn ang="0">
                  <a:pos x="15" y="160"/>
                </a:cxn>
                <a:cxn ang="0">
                  <a:pos x="18" y="142"/>
                </a:cxn>
                <a:cxn ang="0">
                  <a:pos x="21" y="83"/>
                </a:cxn>
                <a:cxn ang="0">
                  <a:pos x="21" y="50"/>
                </a:cxn>
                <a:cxn ang="0">
                  <a:pos x="18" y="24"/>
                </a:cxn>
                <a:cxn ang="0">
                  <a:pos x="15" y="6"/>
                </a:cxn>
                <a:cxn ang="0">
                  <a:pos x="11" y="0"/>
                </a:cxn>
                <a:cxn ang="0">
                  <a:pos x="6" y="6"/>
                </a:cxn>
                <a:cxn ang="0">
                  <a:pos x="4" y="24"/>
                </a:cxn>
                <a:cxn ang="0">
                  <a:pos x="0" y="50"/>
                </a:cxn>
                <a:cxn ang="0">
                  <a:pos x="0" y="83"/>
                </a:cxn>
              </a:cxnLst>
              <a:rect l="0" t="0" r="r" b="b"/>
              <a:pathLst>
                <a:path w="21" h="166">
                  <a:moveTo>
                    <a:pt x="0" y="83"/>
                  </a:moveTo>
                  <a:lnTo>
                    <a:pt x="0" y="114"/>
                  </a:lnTo>
                  <a:lnTo>
                    <a:pt x="3" y="142"/>
                  </a:lnTo>
                  <a:lnTo>
                    <a:pt x="6" y="160"/>
                  </a:lnTo>
                  <a:lnTo>
                    <a:pt x="9" y="164"/>
                  </a:lnTo>
                  <a:lnTo>
                    <a:pt x="11" y="166"/>
                  </a:lnTo>
                  <a:lnTo>
                    <a:pt x="15" y="160"/>
                  </a:lnTo>
                  <a:lnTo>
                    <a:pt x="18" y="142"/>
                  </a:lnTo>
                  <a:lnTo>
                    <a:pt x="21" y="83"/>
                  </a:lnTo>
                  <a:lnTo>
                    <a:pt x="21" y="50"/>
                  </a:lnTo>
                  <a:lnTo>
                    <a:pt x="18" y="24"/>
                  </a:lnTo>
                  <a:lnTo>
                    <a:pt x="15" y="6"/>
                  </a:lnTo>
                  <a:lnTo>
                    <a:pt x="11" y="0"/>
                  </a:lnTo>
                  <a:lnTo>
                    <a:pt x="6" y="6"/>
                  </a:lnTo>
                  <a:lnTo>
                    <a:pt x="4" y="24"/>
                  </a:lnTo>
                  <a:lnTo>
                    <a:pt x="0" y="50"/>
                  </a:lnTo>
                  <a:lnTo>
                    <a:pt x="0" y="83"/>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4" name="Freeform 97"/>
            <p:cNvSpPr>
              <a:spLocks noEditPoints="1"/>
            </p:cNvSpPr>
            <p:nvPr userDrawn="1"/>
          </p:nvSpPr>
          <p:spPr bwMode="auto">
            <a:xfrm>
              <a:off x="7867650" y="6257926"/>
              <a:ext cx="107950" cy="198438"/>
            </a:xfrm>
            <a:custGeom>
              <a:avLst/>
              <a:gdLst/>
              <a:ahLst/>
              <a:cxnLst>
                <a:cxn ang="0">
                  <a:pos x="140" y="607"/>
                </a:cxn>
                <a:cxn ang="0">
                  <a:pos x="154" y="432"/>
                </a:cxn>
                <a:cxn ang="0">
                  <a:pos x="174" y="432"/>
                </a:cxn>
                <a:cxn ang="0">
                  <a:pos x="304" y="257"/>
                </a:cxn>
                <a:cxn ang="0">
                  <a:pos x="340" y="291"/>
                </a:cxn>
                <a:cxn ang="0">
                  <a:pos x="332" y="298"/>
                </a:cxn>
                <a:cxn ang="0">
                  <a:pos x="256" y="268"/>
                </a:cxn>
                <a:cxn ang="0">
                  <a:pos x="187" y="216"/>
                </a:cxn>
                <a:cxn ang="0">
                  <a:pos x="185" y="280"/>
                </a:cxn>
                <a:cxn ang="0">
                  <a:pos x="195" y="598"/>
                </a:cxn>
                <a:cxn ang="0">
                  <a:pos x="214" y="608"/>
                </a:cxn>
                <a:cxn ang="0">
                  <a:pos x="130" y="607"/>
                </a:cxn>
                <a:cxn ang="0">
                  <a:pos x="148" y="598"/>
                </a:cxn>
                <a:cxn ang="0">
                  <a:pos x="161" y="220"/>
                </a:cxn>
                <a:cxn ang="0">
                  <a:pos x="119" y="243"/>
                </a:cxn>
                <a:cxn ang="0">
                  <a:pos x="30" y="290"/>
                </a:cxn>
                <a:cxn ang="0">
                  <a:pos x="0" y="293"/>
                </a:cxn>
                <a:cxn ang="0">
                  <a:pos x="8" y="277"/>
                </a:cxn>
                <a:cxn ang="0">
                  <a:pos x="72" y="231"/>
                </a:cxn>
                <a:cxn ang="0">
                  <a:pos x="148" y="197"/>
                </a:cxn>
                <a:cxn ang="0">
                  <a:pos x="162" y="177"/>
                </a:cxn>
                <a:cxn ang="0">
                  <a:pos x="155" y="131"/>
                </a:cxn>
                <a:cxn ang="0">
                  <a:pos x="159" y="29"/>
                </a:cxn>
                <a:cxn ang="0">
                  <a:pos x="172" y="0"/>
                </a:cxn>
                <a:cxn ang="0">
                  <a:pos x="184" y="29"/>
                </a:cxn>
                <a:cxn ang="0">
                  <a:pos x="187" y="131"/>
                </a:cxn>
                <a:cxn ang="0">
                  <a:pos x="189" y="180"/>
                </a:cxn>
                <a:cxn ang="0">
                  <a:pos x="196" y="200"/>
                </a:cxn>
                <a:cxn ang="0">
                  <a:pos x="269" y="233"/>
                </a:cxn>
                <a:cxn ang="0">
                  <a:pos x="212" y="214"/>
                </a:cxn>
                <a:cxn ang="0">
                  <a:pos x="226" y="230"/>
                </a:cxn>
                <a:cxn ang="0">
                  <a:pos x="291" y="268"/>
                </a:cxn>
                <a:cxn ang="0">
                  <a:pos x="311" y="273"/>
                </a:cxn>
                <a:cxn ang="0">
                  <a:pos x="280" y="246"/>
                </a:cxn>
                <a:cxn ang="0">
                  <a:pos x="26" y="274"/>
                </a:cxn>
                <a:cxn ang="0">
                  <a:pos x="79" y="251"/>
                </a:cxn>
                <a:cxn ang="0">
                  <a:pos x="126" y="215"/>
                </a:cxn>
                <a:cxn ang="0">
                  <a:pos x="92" y="227"/>
                </a:cxn>
                <a:cxn ang="0">
                  <a:pos x="28" y="269"/>
                </a:cxn>
                <a:cxn ang="0">
                  <a:pos x="166" y="206"/>
                </a:cxn>
                <a:cxn ang="0">
                  <a:pos x="178" y="189"/>
                </a:cxn>
                <a:cxn ang="0">
                  <a:pos x="157" y="185"/>
                </a:cxn>
                <a:cxn ang="0">
                  <a:pos x="157" y="203"/>
                </a:cxn>
                <a:cxn ang="0">
                  <a:pos x="163" y="151"/>
                </a:cxn>
                <a:cxn ang="0">
                  <a:pos x="172" y="138"/>
                </a:cxn>
                <a:cxn ang="0">
                  <a:pos x="167" y="38"/>
                </a:cxn>
                <a:cxn ang="0">
                  <a:pos x="159" y="97"/>
                </a:cxn>
              </a:cxnLst>
              <a:rect l="0" t="0" r="r" b="b"/>
              <a:pathLst>
                <a:path w="340" h="625">
                  <a:moveTo>
                    <a:pt x="163" y="600"/>
                  </a:moveTo>
                  <a:lnTo>
                    <a:pt x="140" y="600"/>
                  </a:lnTo>
                  <a:lnTo>
                    <a:pt x="140" y="607"/>
                  </a:lnTo>
                  <a:lnTo>
                    <a:pt x="163" y="607"/>
                  </a:lnTo>
                  <a:lnTo>
                    <a:pt x="163" y="600"/>
                  </a:lnTo>
                  <a:close/>
                  <a:moveTo>
                    <a:pt x="154" y="432"/>
                  </a:moveTo>
                  <a:lnTo>
                    <a:pt x="154" y="596"/>
                  </a:lnTo>
                  <a:lnTo>
                    <a:pt x="174" y="596"/>
                  </a:lnTo>
                  <a:lnTo>
                    <a:pt x="174" y="432"/>
                  </a:lnTo>
                  <a:lnTo>
                    <a:pt x="154" y="432"/>
                  </a:lnTo>
                  <a:close/>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moveTo>
                    <a:pt x="226" y="218"/>
                  </a:moveTo>
                  <a:lnTo>
                    <a:pt x="216" y="214"/>
                  </a:lnTo>
                  <a:lnTo>
                    <a:pt x="212" y="214"/>
                  </a:lnTo>
                  <a:lnTo>
                    <a:pt x="212" y="216"/>
                  </a:lnTo>
                  <a:lnTo>
                    <a:pt x="214" y="221"/>
                  </a:lnTo>
                  <a:lnTo>
                    <a:pt x="226" y="230"/>
                  </a:lnTo>
                  <a:lnTo>
                    <a:pt x="246" y="244"/>
                  </a:lnTo>
                  <a:lnTo>
                    <a:pt x="269" y="257"/>
                  </a:lnTo>
                  <a:lnTo>
                    <a:pt x="291" y="268"/>
                  </a:lnTo>
                  <a:lnTo>
                    <a:pt x="304" y="274"/>
                  </a:lnTo>
                  <a:lnTo>
                    <a:pt x="309" y="274"/>
                  </a:lnTo>
                  <a:lnTo>
                    <a:pt x="311" y="273"/>
                  </a:lnTo>
                  <a:lnTo>
                    <a:pt x="309" y="268"/>
                  </a:lnTo>
                  <a:lnTo>
                    <a:pt x="305" y="266"/>
                  </a:lnTo>
                  <a:lnTo>
                    <a:pt x="280" y="246"/>
                  </a:lnTo>
                  <a:lnTo>
                    <a:pt x="245" y="226"/>
                  </a:lnTo>
                  <a:lnTo>
                    <a:pt x="226" y="218"/>
                  </a:lnTo>
                  <a:close/>
                  <a:moveTo>
                    <a:pt x="26" y="274"/>
                  </a:moveTo>
                  <a:lnTo>
                    <a:pt x="31" y="274"/>
                  </a:lnTo>
                  <a:lnTo>
                    <a:pt x="43" y="269"/>
                  </a:lnTo>
                  <a:lnTo>
                    <a:pt x="79" y="251"/>
                  </a:lnTo>
                  <a:lnTo>
                    <a:pt x="114" y="227"/>
                  </a:lnTo>
                  <a:lnTo>
                    <a:pt x="124" y="220"/>
                  </a:lnTo>
                  <a:lnTo>
                    <a:pt x="126" y="215"/>
                  </a:lnTo>
                  <a:lnTo>
                    <a:pt x="121" y="215"/>
                  </a:lnTo>
                  <a:lnTo>
                    <a:pt x="109" y="219"/>
                  </a:lnTo>
                  <a:lnTo>
                    <a:pt x="92" y="227"/>
                  </a:lnTo>
                  <a:lnTo>
                    <a:pt x="73" y="238"/>
                  </a:lnTo>
                  <a:lnTo>
                    <a:pt x="38" y="261"/>
                  </a:lnTo>
                  <a:lnTo>
                    <a:pt x="28" y="269"/>
                  </a:lnTo>
                  <a:lnTo>
                    <a:pt x="26" y="274"/>
                  </a:lnTo>
                  <a:close/>
                  <a:moveTo>
                    <a:pt x="157" y="203"/>
                  </a:moveTo>
                  <a:lnTo>
                    <a:pt x="166" y="206"/>
                  </a:lnTo>
                  <a:lnTo>
                    <a:pt x="174" y="203"/>
                  </a:lnTo>
                  <a:lnTo>
                    <a:pt x="179" y="194"/>
                  </a:lnTo>
                  <a:lnTo>
                    <a:pt x="178" y="189"/>
                  </a:lnTo>
                  <a:lnTo>
                    <a:pt x="174" y="185"/>
                  </a:lnTo>
                  <a:lnTo>
                    <a:pt x="166" y="182"/>
                  </a:lnTo>
                  <a:lnTo>
                    <a:pt x="157" y="185"/>
                  </a:lnTo>
                  <a:lnTo>
                    <a:pt x="155" y="194"/>
                  </a:lnTo>
                  <a:lnTo>
                    <a:pt x="155" y="198"/>
                  </a:lnTo>
                  <a:lnTo>
                    <a:pt x="157" y="203"/>
                  </a:lnTo>
                  <a:close/>
                  <a:moveTo>
                    <a:pt x="159" y="97"/>
                  </a:moveTo>
                  <a:lnTo>
                    <a:pt x="161" y="138"/>
                  </a:lnTo>
                  <a:lnTo>
                    <a:pt x="163" y="151"/>
                  </a:lnTo>
                  <a:lnTo>
                    <a:pt x="166" y="156"/>
                  </a:lnTo>
                  <a:lnTo>
                    <a:pt x="169" y="151"/>
                  </a:lnTo>
                  <a:lnTo>
                    <a:pt x="172" y="138"/>
                  </a:lnTo>
                  <a:lnTo>
                    <a:pt x="173" y="97"/>
                  </a:lnTo>
                  <a:lnTo>
                    <a:pt x="172" y="55"/>
                  </a:lnTo>
                  <a:lnTo>
                    <a:pt x="167" y="38"/>
                  </a:lnTo>
                  <a:lnTo>
                    <a:pt x="163" y="43"/>
                  </a:lnTo>
                  <a:lnTo>
                    <a:pt x="161" y="55"/>
                  </a:lnTo>
                  <a:lnTo>
                    <a:pt x="159" y="97"/>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5" name="Rectangle 98"/>
            <p:cNvSpPr>
              <a:spLocks noChangeArrowheads="1"/>
            </p:cNvSpPr>
            <p:nvPr userDrawn="1"/>
          </p:nvSpPr>
          <p:spPr bwMode="auto">
            <a:xfrm>
              <a:off x="7912100" y="6448426"/>
              <a:ext cx="6350" cy="15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6" name="Rectangle 99"/>
            <p:cNvSpPr>
              <a:spLocks noChangeArrowheads="1"/>
            </p:cNvSpPr>
            <p:nvPr userDrawn="1"/>
          </p:nvSpPr>
          <p:spPr bwMode="auto">
            <a:xfrm>
              <a:off x="7916863" y="6394451"/>
              <a:ext cx="6350" cy="523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7" name="Freeform 100"/>
            <p:cNvSpPr>
              <a:spLocks/>
            </p:cNvSpPr>
            <p:nvPr userDrawn="1"/>
          </p:nvSpPr>
          <p:spPr bwMode="auto">
            <a:xfrm>
              <a:off x="7867650" y="6257926"/>
              <a:ext cx="107950" cy="198438"/>
            </a:xfrm>
            <a:custGeom>
              <a:avLst/>
              <a:gdLst/>
              <a:ahLst/>
              <a:cxnLst>
                <a:cxn ang="0">
                  <a:pos x="304" y="257"/>
                </a:cxn>
                <a:cxn ang="0">
                  <a:pos x="337" y="286"/>
                </a:cxn>
                <a:cxn ang="0">
                  <a:pos x="339" y="295"/>
                </a:cxn>
                <a:cxn ang="0">
                  <a:pos x="332" y="298"/>
                </a:cxn>
                <a:cxn ang="0">
                  <a:pos x="286" y="283"/>
                </a:cxn>
                <a:cxn ang="0">
                  <a:pos x="227" y="250"/>
                </a:cxn>
                <a:cxn ang="0">
                  <a:pos x="187" y="216"/>
                </a:cxn>
                <a:cxn ang="0">
                  <a:pos x="184" y="242"/>
                </a:cxn>
                <a:cxn ang="0">
                  <a:pos x="190" y="424"/>
                </a:cxn>
                <a:cxn ang="0">
                  <a:pos x="195" y="598"/>
                </a:cxn>
                <a:cxn ang="0">
                  <a:pos x="204" y="608"/>
                </a:cxn>
                <a:cxn ang="0">
                  <a:pos x="214" y="625"/>
                </a:cxn>
                <a:cxn ang="0">
                  <a:pos x="130" y="607"/>
                </a:cxn>
                <a:cxn ang="0">
                  <a:pos x="138" y="598"/>
                </a:cxn>
                <a:cxn ang="0">
                  <a:pos x="149" y="424"/>
                </a:cxn>
                <a:cxn ang="0">
                  <a:pos x="161" y="220"/>
                </a:cxn>
                <a:cxn ang="0">
                  <a:pos x="143" y="224"/>
                </a:cxn>
                <a:cxn ang="0">
                  <a:pos x="89" y="262"/>
                </a:cxn>
                <a:cxn ang="0">
                  <a:pos x="30" y="290"/>
                </a:cxn>
                <a:cxn ang="0">
                  <a:pos x="3" y="296"/>
                </a:cxn>
                <a:cxn ang="0">
                  <a:pos x="0" y="290"/>
                </a:cxn>
                <a:cxn ang="0">
                  <a:pos x="8" y="277"/>
                </a:cxn>
                <a:cxn ang="0">
                  <a:pos x="42" y="250"/>
                </a:cxn>
                <a:cxn ang="0">
                  <a:pos x="103" y="214"/>
                </a:cxn>
                <a:cxn ang="0">
                  <a:pos x="148" y="197"/>
                </a:cxn>
                <a:cxn ang="0">
                  <a:pos x="155" y="180"/>
                </a:cxn>
                <a:cxn ang="0">
                  <a:pos x="159" y="161"/>
                </a:cxn>
                <a:cxn ang="0">
                  <a:pos x="155" y="131"/>
                </a:cxn>
                <a:cxn ang="0">
                  <a:pos x="155" y="59"/>
                </a:cxn>
                <a:cxn ang="0">
                  <a:pos x="165" y="7"/>
                </a:cxn>
                <a:cxn ang="0">
                  <a:pos x="172" y="0"/>
                </a:cxn>
                <a:cxn ang="0">
                  <a:pos x="178" y="7"/>
                </a:cxn>
                <a:cxn ang="0">
                  <a:pos x="187" y="59"/>
                </a:cxn>
                <a:cxn ang="0">
                  <a:pos x="187" y="131"/>
                </a:cxn>
                <a:cxn ang="0">
                  <a:pos x="180" y="176"/>
                </a:cxn>
                <a:cxn ang="0">
                  <a:pos x="193" y="189"/>
                </a:cxn>
                <a:cxn ang="0">
                  <a:pos x="196" y="200"/>
                </a:cxn>
                <a:cxn ang="0">
                  <a:pos x="233" y="214"/>
                </a:cxn>
              </a:cxnLst>
              <a:rect l="0" t="0" r="r" b="b"/>
              <a:pathLst>
                <a:path w="340" h="625">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8" name="Freeform 101"/>
            <p:cNvSpPr>
              <a:spLocks/>
            </p:cNvSpPr>
            <p:nvPr userDrawn="1"/>
          </p:nvSpPr>
          <p:spPr bwMode="auto">
            <a:xfrm>
              <a:off x="7934325" y="6326188"/>
              <a:ext cx="31750" cy="19050"/>
            </a:xfrm>
            <a:custGeom>
              <a:avLst/>
              <a:gdLst/>
              <a:ahLst/>
              <a:cxnLst>
                <a:cxn ang="0">
                  <a:pos x="14" y="4"/>
                </a:cxn>
                <a:cxn ang="0">
                  <a:pos x="4" y="0"/>
                </a:cxn>
                <a:cxn ang="0">
                  <a:pos x="0" y="0"/>
                </a:cxn>
                <a:cxn ang="0">
                  <a:pos x="0" y="2"/>
                </a:cxn>
                <a:cxn ang="0">
                  <a:pos x="2" y="7"/>
                </a:cxn>
                <a:cxn ang="0">
                  <a:pos x="14" y="16"/>
                </a:cxn>
                <a:cxn ang="0">
                  <a:pos x="34" y="30"/>
                </a:cxn>
                <a:cxn ang="0">
                  <a:pos x="57" y="43"/>
                </a:cxn>
                <a:cxn ang="0">
                  <a:pos x="79" y="54"/>
                </a:cxn>
                <a:cxn ang="0">
                  <a:pos x="92" y="60"/>
                </a:cxn>
                <a:cxn ang="0">
                  <a:pos x="97" y="60"/>
                </a:cxn>
                <a:cxn ang="0">
                  <a:pos x="99" y="59"/>
                </a:cxn>
                <a:cxn ang="0">
                  <a:pos x="97" y="54"/>
                </a:cxn>
                <a:cxn ang="0">
                  <a:pos x="93" y="52"/>
                </a:cxn>
                <a:cxn ang="0">
                  <a:pos x="68" y="32"/>
                </a:cxn>
                <a:cxn ang="0">
                  <a:pos x="33" y="12"/>
                </a:cxn>
                <a:cxn ang="0">
                  <a:pos x="14" y="4"/>
                </a:cxn>
              </a:cxnLst>
              <a:rect l="0" t="0" r="r" b="b"/>
              <a:pathLst>
                <a:path w="99" h="60">
                  <a:moveTo>
                    <a:pt x="14" y="4"/>
                  </a:moveTo>
                  <a:lnTo>
                    <a:pt x="4" y="0"/>
                  </a:lnTo>
                  <a:lnTo>
                    <a:pt x="0" y="0"/>
                  </a:lnTo>
                  <a:lnTo>
                    <a:pt x="0" y="2"/>
                  </a:lnTo>
                  <a:lnTo>
                    <a:pt x="2" y="7"/>
                  </a:lnTo>
                  <a:lnTo>
                    <a:pt x="14" y="16"/>
                  </a:lnTo>
                  <a:lnTo>
                    <a:pt x="34" y="30"/>
                  </a:lnTo>
                  <a:lnTo>
                    <a:pt x="57" y="43"/>
                  </a:lnTo>
                  <a:lnTo>
                    <a:pt x="79" y="54"/>
                  </a:lnTo>
                  <a:lnTo>
                    <a:pt x="92" y="60"/>
                  </a:lnTo>
                  <a:lnTo>
                    <a:pt x="97" y="60"/>
                  </a:lnTo>
                  <a:lnTo>
                    <a:pt x="99" y="59"/>
                  </a:lnTo>
                  <a:lnTo>
                    <a:pt x="97" y="54"/>
                  </a:lnTo>
                  <a:lnTo>
                    <a:pt x="93" y="52"/>
                  </a:lnTo>
                  <a:lnTo>
                    <a:pt x="68" y="32"/>
                  </a:lnTo>
                  <a:lnTo>
                    <a:pt x="33" y="12"/>
                  </a:lnTo>
                  <a:lnTo>
                    <a:pt x="14" y="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9" name="Freeform 102"/>
            <p:cNvSpPr>
              <a:spLocks/>
            </p:cNvSpPr>
            <p:nvPr userDrawn="1"/>
          </p:nvSpPr>
          <p:spPr bwMode="auto">
            <a:xfrm>
              <a:off x="7875588" y="6326188"/>
              <a:ext cx="31750" cy="19050"/>
            </a:xfrm>
            <a:custGeom>
              <a:avLst/>
              <a:gdLst/>
              <a:ahLst/>
              <a:cxnLst>
                <a:cxn ang="0">
                  <a:pos x="0" y="59"/>
                </a:cxn>
                <a:cxn ang="0">
                  <a:pos x="5" y="59"/>
                </a:cxn>
                <a:cxn ang="0">
                  <a:pos x="17" y="54"/>
                </a:cxn>
                <a:cxn ang="0">
                  <a:pos x="53" y="36"/>
                </a:cxn>
                <a:cxn ang="0">
                  <a:pos x="88" y="12"/>
                </a:cxn>
                <a:cxn ang="0">
                  <a:pos x="98" y="5"/>
                </a:cxn>
                <a:cxn ang="0">
                  <a:pos x="100" y="0"/>
                </a:cxn>
                <a:cxn ang="0">
                  <a:pos x="95" y="0"/>
                </a:cxn>
                <a:cxn ang="0">
                  <a:pos x="83" y="4"/>
                </a:cxn>
                <a:cxn ang="0">
                  <a:pos x="66" y="12"/>
                </a:cxn>
                <a:cxn ang="0">
                  <a:pos x="47" y="23"/>
                </a:cxn>
                <a:cxn ang="0">
                  <a:pos x="12" y="46"/>
                </a:cxn>
                <a:cxn ang="0">
                  <a:pos x="2" y="54"/>
                </a:cxn>
                <a:cxn ang="0">
                  <a:pos x="0" y="59"/>
                </a:cxn>
              </a:cxnLst>
              <a:rect l="0" t="0" r="r" b="b"/>
              <a:pathLst>
                <a:path w="100" h="59">
                  <a:moveTo>
                    <a:pt x="0" y="59"/>
                  </a:moveTo>
                  <a:lnTo>
                    <a:pt x="5" y="59"/>
                  </a:lnTo>
                  <a:lnTo>
                    <a:pt x="17" y="54"/>
                  </a:lnTo>
                  <a:lnTo>
                    <a:pt x="53" y="36"/>
                  </a:lnTo>
                  <a:lnTo>
                    <a:pt x="88" y="12"/>
                  </a:lnTo>
                  <a:lnTo>
                    <a:pt x="98" y="5"/>
                  </a:lnTo>
                  <a:lnTo>
                    <a:pt x="100" y="0"/>
                  </a:lnTo>
                  <a:lnTo>
                    <a:pt x="95" y="0"/>
                  </a:lnTo>
                  <a:lnTo>
                    <a:pt x="83" y="4"/>
                  </a:lnTo>
                  <a:lnTo>
                    <a:pt x="66" y="12"/>
                  </a:lnTo>
                  <a:lnTo>
                    <a:pt x="47" y="23"/>
                  </a:lnTo>
                  <a:lnTo>
                    <a:pt x="12" y="46"/>
                  </a:lnTo>
                  <a:lnTo>
                    <a:pt x="2" y="54"/>
                  </a:lnTo>
                  <a:lnTo>
                    <a:pt x="0" y="59"/>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0" name="Freeform 103"/>
            <p:cNvSpPr>
              <a:spLocks/>
            </p:cNvSpPr>
            <p:nvPr userDrawn="1"/>
          </p:nvSpPr>
          <p:spPr bwMode="auto">
            <a:xfrm>
              <a:off x="7916863" y="6315076"/>
              <a:ext cx="7938" cy="7938"/>
            </a:xfrm>
            <a:custGeom>
              <a:avLst/>
              <a:gdLst/>
              <a:ahLst/>
              <a:cxnLst>
                <a:cxn ang="0">
                  <a:pos x="2" y="21"/>
                </a:cxn>
                <a:cxn ang="0">
                  <a:pos x="11" y="24"/>
                </a:cxn>
                <a:cxn ang="0">
                  <a:pos x="19" y="21"/>
                </a:cxn>
                <a:cxn ang="0">
                  <a:pos x="24" y="12"/>
                </a:cxn>
                <a:cxn ang="0">
                  <a:pos x="23" y="7"/>
                </a:cxn>
                <a:cxn ang="0">
                  <a:pos x="19" y="3"/>
                </a:cxn>
                <a:cxn ang="0">
                  <a:pos x="11" y="0"/>
                </a:cxn>
                <a:cxn ang="0">
                  <a:pos x="2" y="3"/>
                </a:cxn>
                <a:cxn ang="0">
                  <a:pos x="0" y="12"/>
                </a:cxn>
                <a:cxn ang="0">
                  <a:pos x="0" y="16"/>
                </a:cxn>
                <a:cxn ang="0">
                  <a:pos x="2" y="21"/>
                </a:cxn>
              </a:cxnLst>
              <a:rect l="0" t="0" r="r" b="b"/>
              <a:pathLst>
                <a:path w="24" h="24">
                  <a:moveTo>
                    <a:pt x="2" y="21"/>
                  </a:moveTo>
                  <a:lnTo>
                    <a:pt x="11" y="24"/>
                  </a:lnTo>
                  <a:lnTo>
                    <a:pt x="19" y="21"/>
                  </a:lnTo>
                  <a:lnTo>
                    <a:pt x="24" y="12"/>
                  </a:lnTo>
                  <a:lnTo>
                    <a:pt x="23" y="7"/>
                  </a:lnTo>
                  <a:lnTo>
                    <a:pt x="19" y="3"/>
                  </a:lnTo>
                  <a:lnTo>
                    <a:pt x="11" y="0"/>
                  </a:lnTo>
                  <a:lnTo>
                    <a:pt x="2" y="3"/>
                  </a:lnTo>
                  <a:lnTo>
                    <a:pt x="0" y="12"/>
                  </a:lnTo>
                  <a:lnTo>
                    <a:pt x="0" y="16"/>
                  </a:lnTo>
                  <a:lnTo>
                    <a:pt x="2" y="21"/>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1" name="Freeform 104"/>
            <p:cNvSpPr>
              <a:spLocks/>
            </p:cNvSpPr>
            <p:nvPr userDrawn="1"/>
          </p:nvSpPr>
          <p:spPr bwMode="auto">
            <a:xfrm>
              <a:off x="7918450" y="6269038"/>
              <a:ext cx="3175" cy="38100"/>
            </a:xfrm>
            <a:custGeom>
              <a:avLst/>
              <a:gdLst/>
              <a:ahLst/>
              <a:cxnLst>
                <a:cxn ang="0">
                  <a:pos x="0" y="59"/>
                </a:cxn>
                <a:cxn ang="0">
                  <a:pos x="2" y="100"/>
                </a:cxn>
                <a:cxn ang="0">
                  <a:pos x="4" y="113"/>
                </a:cxn>
                <a:cxn ang="0">
                  <a:pos x="7" y="118"/>
                </a:cxn>
                <a:cxn ang="0">
                  <a:pos x="10" y="113"/>
                </a:cxn>
                <a:cxn ang="0">
                  <a:pos x="13" y="100"/>
                </a:cxn>
                <a:cxn ang="0">
                  <a:pos x="14" y="59"/>
                </a:cxn>
                <a:cxn ang="0">
                  <a:pos x="13" y="17"/>
                </a:cxn>
                <a:cxn ang="0">
                  <a:pos x="8" y="0"/>
                </a:cxn>
                <a:cxn ang="0">
                  <a:pos x="4" y="5"/>
                </a:cxn>
                <a:cxn ang="0">
                  <a:pos x="2" y="17"/>
                </a:cxn>
                <a:cxn ang="0">
                  <a:pos x="0" y="59"/>
                </a:cxn>
              </a:cxnLst>
              <a:rect l="0" t="0" r="r" b="b"/>
              <a:pathLst>
                <a:path w="14" h="118">
                  <a:moveTo>
                    <a:pt x="0" y="59"/>
                  </a:moveTo>
                  <a:lnTo>
                    <a:pt x="2" y="100"/>
                  </a:lnTo>
                  <a:lnTo>
                    <a:pt x="4" y="113"/>
                  </a:lnTo>
                  <a:lnTo>
                    <a:pt x="7" y="118"/>
                  </a:lnTo>
                  <a:lnTo>
                    <a:pt x="10" y="113"/>
                  </a:lnTo>
                  <a:lnTo>
                    <a:pt x="13" y="100"/>
                  </a:lnTo>
                  <a:lnTo>
                    <a:pt x="14" y="59"/>
                  </a:lnTo>
                  <a:lnTo>
                    <a:pt x="13" y="17"/>
                  </a:lnTo>
                  <a:lnTo>
                    <a:pt x="8" y="0"/>
                  </a:lnTo>
                  <a:lnTo>
                    <a:pt x="4" y="5"/>
                  </a:lnTo>
                  <a:lnTo>
                    <a:pt x="2" y="17"/>
                  </a:lnTo>
                  <a:lnTo>
                    <a:pt x="0" y="5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2" name="Freeform 105"/>
            <p:cNvSpPr>
              <a:spLocks noEditPoints="1"/>
            </p:cNvSpPr>
            <p:nvPr userDrawn="1"/>
          </p:nvSpPr>
          <p:spPr bwMode="auto">
            <a:xfrm>
              <a:off x="7807325" y="6242051"/>
              <a:ext cx="131763" cy="244475"/>
            </a:xfrm>
            <a:custGeom>
              <a:avLst/>
              <a:gdLst/>
              <a:ahLst/>
              <a:cxnLst>
                <a:cxn ang="0">
                  <a:pos x="174" y="746"/>
                </a:cxn>
                <a:cxn ang="0">
                  <a:pos x="191" y="530"/>
                </a:cxn>
                <a:cxn ang="0">
                  <a:pos x="216" y="530"/>
                </a:cxn>
                <a:cxn ang="0">
                  <a:pos x="376" y="315"/>
                </a:cxn>
                <a:cxn ang="0">
                  <a:pos x="419" y="357"/>
                </a:cxn>
                <a:cxn ang="0">
                  <a:pos x="409" y="365"/>
                </a:cxn>
                <a:cxn ang="0">
                  <a:pos x="353" y="346"/>
                </a:cxn>
                <a:cxn ang="0">
                  <a:pos x="281" y="306"/>
                </a:cxn>
                <a:cxn ang="0">
                  <a:pos x="227" y="268"/>
                </a:cxn>
                <a:cxn ang="0">
                  <a:pos x="234" y="520"/>
                </a:cxn>
                <a:cxn ang="0">
                  <a:pos x="252" y="734"/>
                </a:cxn>
                <a:cxn ang="0">
                  <a:pos x="265" y="768"/>
                </a:cxn>
                <a:cxn ang="0">
                  <a:pos x="171" y="746"/>
                </a:cxn>
                <a:cxn ang="0">
                  <a:pos x="183" y="520"/>
                </a:cxn>
                <a:cxn ang="0">
                  <a:pos x="192" y="263"/>
                </a:cxn>
                <a:cxn ang="0">
                  <a:pos x="147" y="297"/>
                </a:cxn>
                <a:cxn ang="0">
                  <a:pos x="36" y="356"/>
                </a:cxn>
                <a:cxn ang="0">
                  <a:pos x="0" y="359"/>
                </a:cxn>
                <a:cxn ang="0">
                  <a:pos x="22" y="329"/>
                </a:cxn>
                <a:cxn ang="0">
                  <a:pos x="128" y="263"/>
                </a:cxn>
                <a:cxn ang="0">
                  <a:pos x="185" y="231"/>
                </a:cxn>
                <a:cxn ang="0">
                  <a:pos x="195" y="197"/>
                </a:cxn>
                <a:cxn ang="0">
                  <a:pos x="191" y="71"/>
                </a:cxn>
                <a:cxn ang="0">
                  <a:pos x="207" y="1"/>
                </a:cxn>
                <a:cxn ang="0">
                  <a:pos x="219" y="8"/>
                </a:cxn>
                <a:cxn ang="0">
                  <a:pos x="233" y="115"/>
                </a:cxn>
                <a:cxn ang="0">
                  <a:pos x="222" y="214"/>
                </a:cxn>
                <a:cxn ang="0">
                  <a:pos x="241" y="243"/>
                </a:cxn>
                <a:cxn ang="0">
                  <a:pos x="288" y="262"/>
                </a:cxn>
                <a:cxn ang="0">
                  <a:pos x="280" y="266"/>
                </a:cxn>
                <a:cxn ang="0">
                  <a:pos x="260" y="262"/>
                </a:cxn>
                <a:cxn ang="0">
                  <a:pos x="278" y="282"/>
                </a:cxn>
                <a:cxn ang="0">
                  <a:pos x="358" y="329"/>
                </a:cxn>
                <a:cxn ang="0">
                  <a:pos x="383" y="335"/>
                </a:cxn>
                <a:cxn ang="0">
                  <a:pos x="377" y="326"/>
                </a:cxn>
                <a:cxn ang="0">
                  <a:pos x="303" y="278"/>
                </a:cxn>
                <a:cxn ang="0">
                  <a:pos x="39" y="335"/>
                </a:cxn>
                <a:cxn ang="0">
                  <a:pos x="122" y="293"/>
                </a:cxn>
                <a:cxn ang="0">
                  <a:pos x="156" y="266"/>
                </a:cxn>
                <a:cxn ang="0">
                  <a:pos x="135" y="268"/>
                </a:cxn>
                <a:cxn ang="0">
                  <a:pos x="47" y="320"/>
                </a:cxn>
                <a:cxn ang="0">
                  <a:pos x="33" y="335"/>
                </a:cxn>
                <a:cxn ang="0">
                  <a:pos x="205" y="252"/>
                </a:cxn>
                <a:cxn ang="0">
                  <a:pos x="219" y="243"/>
                </a:cxn>
                <a:cxn ang="0">
                  <a:pos x="216" y="227"/>
                </a:cxn>
                <a:cxn ang="0">
                  <a:pos x="200" y="224"/>
                </a:cxn>
                <a:cxn ang="0">
                  <a:pos x="191" y="238"/>
                </a:cxn>
                <a:cxn ang="0">
                  <a:pos x="195" y="119"/>
                </a:cxn>
                <a:cxn ang="0">
                  <a:pos x="205" y="191"/>
                </a:cxn>
                <a:cxn ang="0">
                  <a:pos x="215" y="119"/>
                </a:cxn>
                <a:cxn ang="0">
                  <a:pos x="206" y="46"/>
                </a:cxn>
                <a:cxn ang="0">
                  <a:pos x="197" y="91"/>
                </a:cxn>
              </a:cxnLst>
              <a:rect l="0" t="0" r="r" b="b"/>
              <a:pathLst>
                <a:path w="419" h="768">
                  <a:moveTo>
                    <a:pt x="203" y="737"/>
                  </a:moveTo>
                  <a:lnTo>
                    <a:pt x="174" y="737"/>
                  </a:lnTo>
                  <a:lnTo>
                    <a:pt x="174" y="746"/>
                  </a:lnTo>
                  <a:lnTo>
                    <a:pt x="203" y="746"/>
                  </a:lnTo>
                  <a:lnTo>
                    <a:pt x="203" y="737"/>
                  </a:lnTo>
                  <a:close/>
                  <a:moveTo>
                    <a:pt x="191" y="530"/>
                  </a:moveTo>
                  <a:lnTo>
                    <a:pt x="189" y="733"/>
                  </a:lnTo>
                  <a:lnTo>
                    <a:pt x="215" y="733"/>
                  </a:lnTo>
                  <a:lnTo>
                    <a:pt x="216" y="530"/>
                  </a:lnTo>
                  <a:lnTo>
                    <a:pt x="191" y="530"/>
                  </a:lnTo>
                  <a:close/>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moveTo>
                    <a:pt x="280" y="266"/>
                  </a:moveTo>
                  <a:lnTo>
                    <a:pt x="268" y="262"/>
                  </a:lnTo>
                  <a:lnTo>
                    <a:pt x="263" y="261"/>
                  </a:lnTo>
                  <a:lnTo>
                    <a:pt x="260" y="262"/>
                  </a:lnTo>
                  <a:lnTo>
                    <a:pt x="260" y="266"/>
                  </a:lnTo>
                  <a:lnTo>
                    <a:pt x="264" y="270"/>
                  </a:lnTo>
                  <a:lnTo>
                    <a:pt x="278" y="282"/>
                  </a:lnTo>
                  <a:lnTo>
                    <a:pt x="305" y="299"/>
                  </a:lnTo>
                  <a:lnTo>
                    <a:pt x="333" y="316"/>
                  </a:lnTo>
                  <a:lnTo>
                    <a:pt x="358" y="329"/>
                  </a:lnTo>
                  <a:lnTo>
                    <a:pt x="375" y="335"/>
                  </a:lnTo>
                  <a:lnTo>
                    <a:pt x="381" y="337"/>
                  </a:lnTo>
                  <a:lnTo>
                    <a:pt x="383" y="335"/>
                  </a:lnTo>
                  <a:lnTo>
                    <a:pt x="383" y="332"/>
                  </a:lnTo>
                  <a:lnTo>
                    <a:pt x="381" y="329"/>
                  </a:lnTo>
                  <a:lnTo>
                    <a:pt x="377" y="326"/>
                  </a:lnTo>
                  <a:lnTo>
                    <a:pt x="362" y="312"/>
                  </a:lnTo>
                  <a:lnTo>
                    <a:pt x="345" y="302"/>
                  </a:lnTo>
                  <a:lnTo>
                    <a:pt x="303" y="278"/>
                  </a:lnTo>
                  <a:lnTo>
                    <a:pt x="280" y="266"/>
                  </a:lnTo>
                  <a:close/>
                  <a:moveTo>
                    <a:pt x="33" y="335"/>
                  </a:moveTo>
                  <a:lnTo>
                    <a:pt x="39" y="335"/>
                  </a:lnTo>
                  <a:lnTo>
                    <a:pt x="55" y="331"/>
                  </a:lnTo>
                  <a:lnTo>
                    <a:pt x="98" y="308"/>
                  </a:lnTo>
                  <a:lnTo>
                    <a:pt x="122" y="293"/>
                  </a:lnTo>
                  <a:lnTo>
                    <a:pt x="141" y="279"/>
                  </a:lnTo>
                  <a:lnTo>
                    <a:pt x="153" y="269"/>
                  </a:lnTo>
                  <a:lnTo>
                    <a:pt x="156" y="266"/>
                  </a:lnTo>
                  <a:lnTo>
                    <a:pt x="156" y="263"/>
                  </a:lnTo>
                  <a:lnTo>
                    <a:pt x="150" y="263"/>
                  </a:lnTo>
                  <a:lnTo>
                    <a:pt x="135" y="268"/>
                  </a:lnTo>
                  <a:lnTo>
                    <a:pt x="114" y="278"/>
                  </a:lnTo>
                  <a:lnTo>
                    <a:pt x="89" y="292"/>
                  </a:lnTo>
                  <a:lnTo>
                    <a:pt x="47" y="320"/>
                  </a:lnTo>
                  <a:lnTo>
                    <a:pt x="35" y="329"/>
                  </a:lnTo>
                  <a:lnTo>
                    <a:pt x="33" y="333"/>
                  </a:lnTo>
                  <a:lnTo>
                    <a:pt x="33" y="335"/>
                  </a:lnTo>
                  <a:close/>
                  <a:moveTo>
                    <a:pt x="195" y="249"/>
                  </a:moveTo>
                  <a:lnTo>
                    <a:pt x="200" y="251"/>
                  </a:lnTo>
                  <a:lnTo>
                    <a:pt x="205" y="252"/>
                  </a:lnTo>
                  <a:lnTo>
                    <a:pt x="211" y="251"/>
                  </a:lnTo>
                  <a:lnTo>
                    <a:pt x="216" y="249"/>
                  </a:lnTo>
                  <a:lnTo>
                    <a:pt x="219" y="243"/>
                  </a:lnTo>
                  <a:lnTo>
                    <a:pt x="221" y="238"/>
                  </a:lnTo>
                  <a:lnTo>
                    <a:pt x="219" y="232"/>
                  </a:lnTo>
                  <a:lnTo>
                    <a:pt x="216" y="227"/>
                  </a:lnTo>
                  <a:lnTo>
                    <a:pt x="211" y="224"/>
                  </a:lnTo>
                  <a:lnTo>
                    <a:pt x="205" y="222"/>
                  </a:lnTo>
                  <a:lnTo>
                    <a:pt x="200" y="224"/>
                  </a:lnTo>
                  <a:lnTo>
                    <a:pt x="195" y="226"/>
                  </a:lnTo>
                  <a:lnTo>
                    <a:pt x="192" y="232"/>
                  </a:lnTo>
                  <a:lnTo>
                    <a:pt x="191" y="238"/>
                  </a:lnTo>
                  <a:lnTo>
                    <a:pt x="192" y="243"/>
                  </a:lnTo>
                  <a:lnTo>
                    <a:pt x="195" y="249"/>
                  </a:lnTo>
                  <a:close/>
                  <a:moveTo>
                    <a:pt x="195" y="119"/>
                  </a:moveTo>
                  <a:lnTo>
                    <a:pt x="199" y="169"/>
                  </a:lnTo>
                  <a:lnTo>
                    <a:pt x="201" y="185"/>
                  </a:lnTo>
                  <a:lnTo>
                    <a:pt x="205" y="191"/>
                  </a:lnTo>
                  <a:lnTo>
                    <a:pt x="209" y="185"/>
                  </a:lnTo>
                  <a:lnTo>
                    <a:pt x="212" y="169"/>
                  </a:lnTo>
                  <a:lnTo>
                    <a:pt x="215" y="119"/>
                  </a:lnTo>
                  <a:lnTo>
                    <a:pt x="212" y="67"/>
                  </a:lnTo>
                  <a:lnTo>
                    <a:pt x="209" y="52"/>
                  </a:lnTo>
                  <a:lnTo>
                    <a:pt x="206" y="46"/>
                  </a:lnTo>
                  <a:lnTo>
                    <a:pt x="201" y="52"/>
                  </a:lnTo>
                  <a:lnTo>
                    <a:pt x="199" y="67"/>
                  </a:lnTo>
                  <a:lnTo>
                    <a:pt x="197" y="91"/>
                  </a:lnTo>
                  <a:lnTo>
                    <a:pt x="195" y="119"/>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3" name="Rectangle 106"/>
            <p:cNvSpPr>
              <a:spLocks noChangeArrowheads="1"/>
            </p:cNvSpPr>
            <p:nvPr userDrawn="1"/>
          </p:nvSpPr>
          <p:spPr bwMode="auto">
            <a:xfrm>
              <a:off x="7861300" y="6477001"/>
              <a:ext cx="9525" cy="1588"/>
            </a:xfrm>
            <a:prstGeom prst="rect">
              <a:avLst/>
            </a:prstGeom>
            <a:solidFill>
              <a:srgbClr val="B4B4B4"/>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4" name="Freeform 107"/>
            <p:cNvSpPr>
              <a:spLocks/>
            </p:cNvSpPr>
            <p:nvPr userDrawn="1"/>
          </p:nvSpPr>
          <p:spPr bwMode="auto">
            <a:xfrm>
              <a:off x="7866063" y="6410326"/>
              <a:ext cx="9525" cy="65088"/>
            </a:xfrm>
            <a:custGeom>
              <a:avLst/>
              <a:gdLst/>
              <a:ahLst/>
              <a:cxnLst>
                <a:cxn ang="0">
                  <a:pos x="2" y="0"/>
                </a:cxn>
                <a:cxn ang="0">
                  <a:pos x="0" y="203"/>
                </a:cxn>
                <a:cxn ang="0">
                  <a:pos x="26" y="203"/>
                </a:cxn>
                <a:cxn ang="0">
                  <a:pos x="27" y="0"/>
                </a:cxn>
                <a:cxn ang="0">
                  <a:pos x="2" y="0"/>
                </a:cxn>
              </a:cxnLst>
              <a:rect l="0" t="0" r="r" b="b"/>
              <a:pathLst>
                <a:path w="27" h="203">
                  <a:moveTo>
                    <a:pt x="2" y="0"/>
                  </a:moveTo>
                  <a:lnTo>
                    <a:pt x="0" y="203"/>
                  </a:lnTo>
                  <a:lnTo>
                    <a:pt x="26" y="203"/>
                  </a:lnTo>
                  <a:lnTo>
                    <a:pt x="27" y="0"/>
                  </a:lnTo>
                  <a:lnTo>
                    <a:pt x="2"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5" name="Freeform 108"/>
            <p:cNvSpPr>
              <a:spLocks/>
            </p:cNvSpPr>
            <p:nvPr userDrawn="1"/>
          </p:nvSpPr>
          <p:spPr bwMode="auto">
            <a:xfrm>
              <a:off x="7807325" y="6242051"/>
              <a:ext cx="131763" cy="244475"/>
            </a:xfrm>
            <a:custGeom>
              <a:avLst/>
              <a:gdLst/>
              <a:ahLst/>
              <a:cxnLst>
                <a:cxn ang="0">
                  <a:pos x="376" y="315"/>
                </a:cxn>
                <a:cxn ang="0">
                  <a:pos x="416" y="351"/>
                </a:cxn>
                <a:cxn ang="0">
                  <a:pos x="418" y="362"/>
                </a:cxn>
                <a:cxn ang="0">
                  <a:pos x="409" y="365"/>
                </a:cxn>
                <a:cxn ang="0">
                  <a:pos x="388" y="361"/>
                </a:cxn>
                <a:cxn ang="0">
                  <a:pos x="316" y="328"/>
                </a:cxn>
                <a:cxn ang="0">
                  <a:pos x="281" y="306"/>
                </a:cxn>
                <a:cxn ang="0">
                  <a:pos x="232" y="266"/>
                </a:cxn>
                <a:cxn ang="0">
                  <a:pos x="227" y="296"/>
                </a:cxn>
                <a:cxn ang="0">
                  <a:pos x="234" y="520"/>
                </a:cxn>
                <a:cxn ang="0">
                  <a:pos x="240" y="734"/>
                </a:cxn>
                <a:cxn ang="0">
                  <a:pos x="252" y="746"/>
                </a:cxn>
                <a:cxn ang="0">
                  <a:pos x="265" y="768"/>
                </a:cxn>
                <a:cxn ang="0">
                  <a:pos x="160" y="746"/>
                </a:cxn>
                <a:cxn ang="0">
                  <a:pos x="171" y="734"/>
                </a:cxn>
                <a:cxn ang="0">
                  <a:pos x="183" y="520"/>
                </a:cxn>
                <a:cxn ang="0">
                  <a:pos x="199" y="269"/>
                </a:cxn>
                <a:cxn ang="0">
                  <a:pos x="191" y="262"/>
                </a:cxn>
                <a:cxn ang="0">
                  <a:pos x="147" y="297"/>
                </a:cxn>
                <a:cxn ang="0">
                  <a:pos x="71" y="341"/>
                </a:cxn>
                <a:cxn ang="0">
                  <a:pos x="12" y="363"/>
                </a:cxn>
                <a:cxn ang="0">
                  <a:pos x="0" y="359"/>
                </a:cxn>
                <a:cxn ang="0">
                  <a:pos x="4" y="349"/>
                </a:cxn>
                <a:cxn ang="0">
                  <a:pos x="52" y="306"/>
                </a:cxn>
                <a:cxn ang="0">
                  <a:pos x="128" y="263"/>
                </a:cxn>
                <a:cxn ang="0">
                  <a:pos x="183" y="243"/>
                </a:cxn>
                <a:cxn ang="0">
                  <a:pos x="192" y="221"/>
                </a:cxn>
                <a:cxn ang="0">
                  <a:pos x="195" y="197"/>
                </a:cxn>
                <a:cxn ang="0">
                  <a:pos x="189" y="115"/>
                </a:cxn>
                <a:cxn ang="0">
                  <a:pos x="197" y="34"/>
                </a:cxn>
                <a:cxn ang="0">
                  <a:pos x="207" y="1"/>
                </a:cxn>
                <a:cxn ang="0">
                  <a:pos x="216" y="1"/>
                </a:cxn>
                <a:cxn ang="0">
                  <a:pos x="227" y="34"/>
                </a:cxn>
                <a:cxn ang="0">
                  <a:pos x="233" y="115"/>
                </a:cxn>
                <a:cxn ang="0">
                  <a:pos x="227" y="197"/>
                </a:cxn>
                <a:cxn ang="0">
                  <a:pos x="233" y="221"/>
                </a:cxn>
                <a:cxn ang="0">
                  <a:pos x="241" y="243"/>
                </a:cxn>
                <a:cxn ang="0">
                  <a:pos x="259" y="250"/>
                </a:cxn>
                <a:cxn ang="0">
                  <a:pos x="310" y="274"/>
                </a:cxn>
              </a:cxnLst>
              <a:rect l="0" t="0" r="r" b="b"/>
              <a:pathLst>
                <a:path w="419" h="768">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6" name="Freeform 109"/>
            <p:cNvSpPr>
              <a:spLocks/>
            </p:cNvSpPr>
            <p:nvPr userDrawn="1"/>
          </p:nvSpPr>
          <p:spPr bwMode="auto">
            <a:xfrm>
              <a:off x="7889875" y="6324601"/>
              <a:ext cx="38100" cy="25400"/>
            </a:xfrm>
            <a:custGeom>
              <a:avLst/>
              <a:gdLst/>
              <a:ahLst/>
              <a:cxnLst>
                <a:cxn ang="0">
                  <a:pos x="20" y="5"/>
                </a:cxn>
                <a:cxn ang="0">
                  <a:pos x="8" y="1"/>
                </a:cxn>
                <a:cxn ang="0">
                  <a:pos x="3" y="0"/>
                </a:cxn>
                <a:cxn ang="0">
                  <a:pos x="0" y="1"/>
                </a:cxn>
                <a:cxn ang="0">
                  <a:pos x="0" y="5"/>
                </a:cxn>
                <a:cxn ang="0">
                  <a:pos x="4" y="9"/>
                </a:cxn>
                <a:cxn ang="0">
                  <a:pos x="18" y="21"/>
                </a:cxn>
                <a:cxn ang="0">
                  <a:pos x="45" y="38"/>
                </a:cxn>
                <a:cxn ang="0">
                  <a:pos x="73" y="55"/>
                </a:cxn>
                <a:cxn ang="0">
                  <a:pos x="98" y="68"/>
                </a:cxn>
                <a:cxn ang="0">
                  <a:pos x="115" y="74"/>
                </a:cxn>
                <a:cxn ang="0">
                  <a:pos x="121" y="76"/>
                </a:cxn>
                <a:cxn ang="0">
                  <a:pos x="123" y="74"/>
                </a:cxn>
                <a:cxn ang="0">
                  <a:pos x="123" y="71"/>
                </a:cxn>
                <a:cxn ang="0">
                  <a:pos x="121" y="68"/>
                </a:cxn>
                <a:cxn ang="0">
                  <a:pos x="117" y="65"/>
                </a:cxn>
                <a:cxn ang="0">
                  <a:pos x="102" y="51"/>
                </a:cxn>
                <a:cxn ang="0">
                  <a:pos x="85" y="41"/>
                </a:cxn>
                <a:cxn ang="0">
                  <a:pos x="43" y="17"/>
                </a:cxn>
                <a:cxn ang="0">
                  <a:pos x="20" y="5"/>
                </a:cxn>
              </a:cxnLst>
              <a:rect l="0" t="0" r="r" b="b"/>
              <a:pathLst>
                <a:path w="123" h="76">
                  <a:moveTo>
                    <a:pt x="20" y="5"/>
                  </a:moveTo>
                  <a:lnTo>
                    <a:pt x="8" y="1"/>
                  </a:lnTo>
                  <a:lnTo>
                    <a:pt x="3" y="0"/>
                  </a:lnTo>
                  <a:lnTo>
                    <a:pt x="0" y="1"/>
                  </a:lnTo>
                  <a:lnTo>
                    <a:pt x="0" y="5"/>
                  </a:lnTo>
                  <a:lnTo>
                    <a:pt x="4" y="9"/>
                  </a:lnTo>
                  <a:lnTo>
                    <a:pt x="18" y="21"/>
                  </a:lnTo>
                  <a:lnTo>
                    <a:pt x="45" y="38"/>
                  </a:lnTo>
                  <a:lnTo>
                    <a:pt x="73" y="55"/>
                  </a:lnTo>
                  <a:lnTo>
                    <a:pt x="98" y="68"/>
                  </a:lnTo>
                  <a:lnTo>
                    <a:pt x="115" y="74"/>
                  </a:lnTo>
                  <a:lnTo>
                    <a:pt x="121" y="76"/>
                  </a:lnTo>
                  <a:lnTo>
                    <a:pt x="123" y="74"/>
                  </a:lnTo>
                  <a:lnTo>
                    <a:pt x="123" y="71"/>
                  </a:lnTo>
                  <a:lnTo>
                    <a:pt x="121" y="68"/>
                  </a:lnTo>
                  <a:lnTo>
                    <a:pt x="117" y="65"/>
                  </a:lnTo>
                  <a:lnTo>
                    <a:pt x="102" y="51"/>
                  </a:lnTo>
                  <a:lnTo>
                    <a:pt x="85" y="41"/>
                  </a:lnTo>
                  <a:lnTo>
                    <a:pt x="43" y="17"/>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7" name="Freeform 110"/>
            <p:cNvSpPr>
              <a:spLocks/>
            </p:cNvSpPr>
            <p:nvPr userDrawn="1"/>
          </p:nvSpPr>
          <p:spPr bwMode="auto">
            <a:xfrm>
              <a:off x="7816850" y="6326188"/>
              <a:ext cx="39688" cy="22225"/>
            </a:xfrm>
            <a:custGeom>
              <a:avLst/>
              <a:gdLst/>
              <a:ahLst/>
              <a:cxnLst>
                <a:cxn ang="0">
                  <a:pos x="0" y="72"/>
                </a:cxn>
                <a:cxn ang="0">
                  <a:pos x="6" y="72"/>
                </a:cxn>
                <a:cxn ang="0">
                  <a:pos x="22" y="68"/>
                </a:cxn>
                <a:cxn ang="0">
                  <a:pos x="65" y="45"/>
                </a:cxn>
                <a:cxn ang="0">
                  <a:pos x="89" y="30"/>
                </a:cxn>
                <a:cxn ang="0">
                  <a:pos x="108" y="16"/>
                </a:cxn>
                <a:cxn ang="0">
                  <a:pos x="120" y="6"/>
                </a:cxn>
                <a:cxn ang="0">
                  <a:pos x="123" y="3"/>
                </a:cxn>
                <a:cxn ang="0">
                  <a:pos x="123" y="0"/>
                </a:cxn>
                <a:cxn ang="0">
                  <a:pos x="117" y="0"/>
                </a:cxn>
                <a:cxn ang="0">
                  <a:pos x="102" y="5"/>
                </a:cxn>
                <a:cxn ang="0">
                  <a:pos x="81" y="15"/>
                </a:cxn>
                <a:cxn ang="0">
                  <a:pos x="56" y="29"/>
                </a:cxn>
                <a:cxn ang="0">
                  <a:pos x="14" y="57"/>
                </a:cxn>
                <a:cxn ang="0">
                  <a:pos x="2" y="66"/>
                </a:cxn>
                <a:cxn ang="0">
                  <a:pos x="0" y="70"/>
                </a:cxn>
                <a:cxn ang="0">
                  <a:pos x="0" y="72"/>
                </a:cxn>
              </a:cxnLst>
              <a:rect l="0" t="0" r="r" b="b"/>
              <a:pathLst>
                <a:path w="123" h="72">
                  <a:moveTo>
                    <a:pt x="0" y="72"/>
                  </a:moveTo>
                  <a:lnTo>
                    <a:pt x="6" y="72"/>
                  </a:lnTo>
                  <a:lnTo>
                    <a:pt x="22" y="68"/>
                  </a:lnTo>
                  <a:lnTo>
                    <a:pt x="65" y="45"/>
                  </a:lnTo>
                  <a:lnTo>
                    <a:pt x="89" y="30"/>
                  </a:lnTo>
                  <a:lnTo>
                    <a:pt x="108" y="16"/>
                  </a:lnTo>
                  <a:lnTo>
                    <a:pt x="120" y="6"/>
                  </a:lnTo>
                  <a:lnTo>
                    <a:pt x="123" y="3"/>
                  </a:lnTo>
                  <a:lnTo>
                    <a:pt x="123" y="0"/>
                  </a:lnTo>
                  <a:lnTo>
                    <a:pt x="117" y="0"/>
                  </a:lnTo>
                  <a:lnTo>
                    <a:pt x="102" y="5"/>
                  </a:lnTo>
                  <a:lnTo>
                    <a:pt x="81" y="15"/>
                  </a:lnTo>
                  <a:lnTo>
                    <a:pt x="56" y="29"/>
                  </a:lnTo>
                  <a:lnTo>
                    <a:pt x="14" y="57"/>
                  </a:lnTo>
                  <a:lnTo>
                    <a:pt x="2" y="66"/>
                  </a:lnTo>
                  <a:lnTo>
                    <a:pt x="0" y="70"/>
                  </a:lnTo>
                  <a:lnTo>
                    <a:pt x="0" y="72"/>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8" name="Freeform 111"/>
            <p:cNvSpPr>
              <a:spLocks/>
            </p:cNvSpPr>
            <p:nvPr userDrawn="1"/>
          </p:nvSpPr>
          <p:spPr bwMode="auto">
            <a:xfrm>
              <a:off x="7867650" y="6313488"/>
              <a:ext cx="9525" cy="9525"/>
            </a:xfrm>
            <a:custGeom>
              <a:avLst/>
              <a:gdLst/>
              <a:ahLst/>
              <a:cxnLst>
                <a:cxn ang="0">
                  <a:pos x="4" y="27"/>
                </a:cxn>
                <a:cxn ang="0">
                  <a:pos x="9" y="29"/>
                </a:cxn>
                <a:cxn ang="0">
                  <a:pos x="14" y="30"/>
                </a:cxn>
                <a:cxn ang="0">
                  <a:pos x="20" y="29"/>
                </a:cxn>
                <a:cxn ang="0">
                  <a:pos x="25" y="27"/>
                </a:cxn>
                <a:cxn ang="0">
                  <a:pos x="28" y="21"/>
                </a:cxn>
                <a:cxn ang="0">
                  <a:pos x="30" y="16"/>
                </a:cxn>
                <a:cxn ang="0">
                  <a:pos x="28" y="10"/>
                </a:cxn>
                <a:cxn ang="0">
                  <a:pos x="25" y="5"/>
                </a:cxn>
                <a:cxn ang="0">
                  <a:pos x="20" y="2"/>
                </a:cxn>
                <a:cxn ang="0">
                  <a:pos x="14" y="0"/>
                </a:cxn>
                <a:cxn ang="0">
                  <a:pos x="9" y="2"/>
                </a:cxn>
                <a:cxn ang="0">
                  <a:pos x="4" y="4"/>
                </a:cxn>
                <a:cxn ang="0">
                  <a:pos x="1" y="10"/>
                </a:cxn>
                <a:cxn ang="0">
                  <a:pos x="0" y="16"/>
                </a:cxn>
                <a:cxn ang="0">
                  <a:pos x="1" y="21"/>
                </a:cxn>
                <a:cxn ang="0">
                  <a:pos x="4" y="27"/>
                </a:cxn>
              </a:cxnLst>
              <a:rect l="0" t="0" r="r" b="b"/>
              <a:pathLst>
                <a:path w="30" h="30">
                  <a:moveTo>
                    <a:pt x="4" y="27"/>
                  </a:moveTo>
                  <a:lnTo>
                    <a:pt x="9" y="29"/>
                  </a:lnTo>
                  <a:lnTo>
                    <a:pt x="14" y="30"/>
                  </a:lnTo>
                  <a:lnTo>
                    <a:pt x="20" y="29"/>
                  </a:lnTo>
                  <a:lnTo>
                    <a:pt x="25" y="27"/>
                  </a:lnTo>
                  <a:lnTo>
                    <a:pt x="28" y="21"/>
                  </a:lnTo>
                  <a:lnTo>
                    <a:pt x="30" y="16"/>
                  </a:lnTo>
                  <a:lnTo>
                    <a:pt x="28" y="10"/>
                  </a:lnTo>
                  <a:lnTo>
                    <a:pt x="25" y="5"/>
                  </a:lnTo>
                  <a:lnTo>
                    <a:pt x="20" y="2"/>
                  </a:lnTo>
                  <a:lnTo>
                    <a:pt x="14" y="0"/>
                  </a:lnTo>
                  <a:lnTo>
                    <a:pt x="9" y="2"/>
                  </a:lnTo>
                  <a:lnTo>
                    <a:pt x="4" y="4"/>
                  </a:lnTo>
                  <a:lnTo>
                    <a:pt x="1" y="10"/>
                  </a:lnTo>
                  <a:lnTo>
                    <a:pt x="0" y="16"/>
                  </a:lnTo>
                  <a:lnTo>
                    <a:pt x="1" y="21"/>
                  </a:lnTo>
                  <a:lnTo>
                    <a:pt x="4"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9" name="Freeform 112"/>
            <p:cNvSpPr>
              <a:spLocks/>
            </p:cNvSpPr>
            <p:nvPr userDrawn="1"/>
          </p:nvSpPr>
          <p:spPr bwMode="auto">
            <a:xfrm>
              <a:off x="7869238" y="6256338"/>
              <a:ext cx="6350" cy="46038"/>
            </a:xfrm>
            <a:custGeom>
              <a:avLst/>
              <a:gdLst/>
              <a:ahLst/>
              <a:cxnLst>
                <a:cxn ang="0">
                  <a:pos x="0" y="73"/>
                </a:cxn>
                <a:cxn ang="0">
                  <a:pos x="4" y="123"/>
                </a:cxn>
                <a:cxn ang="0">
                  <a:pos x="6" y="139"/>
                </a:cxn>
                <a:cxn ang="0">
                  <a:pos x="10" y="145"/>
                </a:cxn>
                <a:cxn ang="0">
                  <a:pos x="14" y="139"/>
                </a:cxn>
                <a:cxn ang="0">
                  <a:pos x="17" y="123"/>
                </a:cxn>
                <a:cxn ang="0">
                  <a:pos x="20" y="73"/>
                </a:cxn>
                <a:cxn ang="0">
                  <a:pos x="17" y="21"/>
                </a:cxn>
                <a:cxn ang="0">
                  <a:pos x="14" y="6"/>
                </a:cxn>
                <a:cxn ang="0">
                  <a:pos x="11" y="0"/>
                </a:cxn>
                <a:cxn ang="0">
                  <a:pos x="6" y="6"/>
                </a:cxn>
                <a:cxn ang="0">
                  <a:pos x="4" y="21"/>
                </a:cxn>
                <a:cxn ang="0">
                  <a:pos x="2" y="45"/>
                </a:cxn>
                <a:cxn ang="0">
                  <a:pos x="0" y="73"/>
                </a:cxn>
              </a:cxnLst>
              <a:rect l="0" t="0" r="r" b="b"/>
              <a:pathLst>
                <a:path w="20" h="145">
                  <a:moveTo>
                    <a:pt x="0" y="73"/>
                  </a:moveTo>
                  <a:lnTo>
                    <a:pt x="4" y="123"/>
                  </a:lnTo>
                  <a:lnTo>
                    <a:pt x="6" y="139"/>
                  </a:lnTo>
                  <a:lnTo>
                    <a:pt x="10" y="145"/>
                  </a:lnTo>
                  <a:lnTo>
                    <a:pt x="14" y="139"/>
                  </a:lnTo>
                  <a:lnTo>
                    <a:pt x="17" y="123"/>
                  </a:lnTo>
                  <a:lnTo>
                    <a:pt x="20" y="73"/>
                  </a:lnTo>
                  <a:lnTo>
                    <a:pt x="17" y="21"/>
                  </a:lnTo>
                  <a:lnTo>
                    <a:pt x="14" y="6"/>
                  </a:lnTo>
                  <a:lnTo>
                    <a:pt x="11" y="0"/>
                  </a:lnTo>
                  <a:lnTo>
                    <a:pt x="6" y="6"/>
                  </a:lnTo>
                  <a:lnTo>
                    <a:pt x="4" y="21"/>
                  </a:lnTo>
                  <a:lnTo>
                    <a:pt x="2" y="45"/>
                  </a:lnTo>
                  <a:lnTo>
                    <a:pt x="0" y="73"/>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grpSp>
    </p:spTree>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Lst>
  <p:hf hdr="0" ftr="0" dt="0"/>
  <p:txStyles>
    <p:titleStyle>
      <a:lvl1pPr algn="l" defTabSz="914400" rtl="0" eaLnBrk="1" latinLnBrk="0" hangingPunct="1">
        <a:lnSpc>
          <a:spcPct val="80000"/>
        </a:lnSpc>
        <a:spcBef>
          <a:spcPct val="0"/>
        </a:spcBef>
        <a:spcAft>
          <a:spcPts val="0"/>
        </a:spcAft>
        <a:buNone/>
        <a:defRPr sz="2400" b="1"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lang="en-US" sz="2400" b="1" u="none" kern="1200" dirty="0" smtClean="0">
          <a:solidFill>
            <a:schemeClr val="tx1"/>
          </a:solidFill>
          <a:latin typeface="Calibri" pitchFamily="34" charset="0"/>
          <a:ea typeface="+mn-ea"/>
          <a:cs typeface="Arial" charset="0"/>
        </a:defRPr>
      </a:lvl1pPr>
      <a:lvl2pPr marL="347472" indent="-285750" algn="l" defTabSz="914400" rtl="0" eaLnBrk="1" latinLnBrk="0" hangingPunct="1">
        <a:spcBef>
          <a:spcPct val="20000"/>
        </a:spcBef>
        <a:buClr>
          <a:schemeClr val="tx1"/>
        </a:buClr>
        <a:buFont typeface="Arial" pitchFamily="34" charset="0"/>
        <a:buChar char="•"/>
        <a:defRPr lang="en-US" sz="2400" b="1" u="none" kern="1200" dirty="0" smtClean="0">
          <a:solidFill>
            <a:schemeClr val="tx1"/>
          </a:solidFill>
          <a:latin typeface="Calibri" pitchFamily="34" charset="0"/>
          <a:ea typeface="+mn-ea"/>
          <a:cs typeface="Arial" charset="0"/>
        </a:defRPr>
      </a:lvl2pPr>
      <a:lvl3pPr marL="740664" indent="-228600" algn="l" defTabSz="914400" rtl="0" eaLnBrk="1" latinLnBrk="0" hangingPunct="1">
        <a:spcBef>
          <a:spcPct val="20000"/>
        </a:spcBef>
        <a:buClr>
          <a:schemeClr val="tx1"/>
        </a:buClr>
        <a:buFont typeface="Arial" pitchFamily="34" charset="0"/>
        <a:buChar char="•"/>
        <a:defRPr sz="2400" kern="1200">
          <a:solidFill>
            <a:schemeClr val="tx1"/>
          </a:solidFill>
          <a:latin typeface="+mn-lt"/>
          <a:ea typeface="+mn-ea"/>
          <a:cs typeface="+mn-cs"/>
        </a:defRPr>
      </a:lvl3pPr>
      <a:lvl4pPr marL="11430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4pPr>
      <a:lvl5pPr marL="16002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66562" name="think-cell Slide" r:id="rId13" imgW="270" imgH="270" progId="">
              <p:embed/>
            </p:oleObj>
          </a:graphicData>
        </a:graphic>
      </p:graphicFrame>
      <p:sp>
        <p:nvSpPr>
          <p:cNvPr id="419" name="10 Rectángulo"/>
          <p:cNvSpPr/>
          <p:nvPr/>
        </p:nvSpPr>
        <p:spPr bwMode="auto">
          <a:xfrm flipV="1">
            <a:off x="5791200" y="6658824"/>
            <a:ext cx="3352801" cy="22656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420" name="10 Rectángulo"/>
          <p:cNvSpPr/>
          <p:nvPr/>
        </p:nvSpPr>
        <p:spPr bwMode="auto">
          <a:xfrm flipV="1">
            <a:off x="1" y="6552728"/>
            <a:ext cx="8153399" cy="332656"/>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pic>
        <p:nvPicPr>
          <p:cNvPr id="421" name="Picture 3"/>
          <p:cNvPicPr>
            <a:picLocks noChangeAspect="1" noChangeArrowheads="1"/>
          </p:cNvPicPr>
          <p:nvPr/>
        </p:nvPicPr>
        <p:blipFill>
          <a:blip r:embed="rId14" cstate="screen"/>
          <a:srcRect/>
          <a:stretch>
            <a:fillRect/>
          </a:stretch>
        </p:blipFill>
        <p:spPr bwMode="auto">
          <a:xfrm>
            <a:off x="323528" y="6641307"/>
            <a:ext cx="613835" cy="155498"/>
          </a:xfrm>
          <a:prstGeom prst="rect">
            <a:avLst/>
          </a:prstGeom>
          <a:noFill/>
          <a:ln w="9525">
            <a:noFill/>
            <a:miter lim="800000"/>
            <a:headEnd/>
            <a:tailEnd/>
          </a:ln>
        </p:spPr>
      </p:pic>
      <p:sp>
        <p:nvSpPr>
          <p:cNvPr id="60" name="59 Rectángulo"/>
          <p:cNvSpPr/>
          <p:nvPr/>
        </p:nvSpPr>
        <p:spPr bwMode="auto">
          <a:xfrm>
            <a:off x="0" y="0"/>
            <a:ext cx="9144000" cy="9906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000000"/>
              </a:solidFill>
              <a:latin typeface="Arial" charset="0"/>
              <a:cs typeface="Arial" charset="0"/>
            </a:endParaRPr>
          </a:p>
        </p:txBody>
      </p:sp>
      <p:sp>
        <p:nvSpPr>
          <p:cNvPr id="56" name="Freeform 12"/>
          <p:cNvSpPr>
            <a:spLocks/>
          </p:cNvSpPr>
          <p:nvPr/>
        </p:nvSpPr>
        <p:spPr bwMode="auto">
          <a:xfrm>
            <a:off x="0" y="228600"/>
            <a:ext cx="6949440" cy="769957"/>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rgbClr val="2E67AD">
              <a:alpha val="56078"/>
            </a:srgb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2" name="Title Placeholder 1"/>
          <p:cNvSpPr>
            <a:spLocks noGrp="1"/>
          </p:cNvSpPr>
          <p:nvPr>
            <p:ph type="title"/>
          </p:nvPr>
        </p:nvSpPr>
        <p:spPr>
          <a:xfrm>
            <a:off x="107504" y="374768"/>
            <a:ext cx="5760640" cy="562074"/>
          </a:xfrm>
          <a:prstGeom prst="rect">
            <a:avLst/>
          </a:prstGeom>
        </p:spPr>
        <p:txBody>
          <a:bodyPr vert="horz" wrap="square" lIns="91440" tIns="0" rIns="91440" bIns="0" rtlCol="0" anchor="ctr">
            <a:noAutofit/>
          </a:bodyPr>
          <a:lstStyle/>
          <a:p>
            <a:r>
              <a:rPr lang="en-US" dirty="0" smtClean="0"/>
              <a:t>Click to edit Master title style</a:t>
            </a:r>
            <a:endParaRPr lang="en-US" dirty="0"/>
          </a:p>
        </p:txBody>
      </p:sp>
      <p:sp>
        <p:nvSpPr>
          <p:cNvPr id="6" name="Slide Number Placeholder 5"/>
          <p:cNvSpPr>
            <a:spLocks noGrp="1"/>
          </p:cNvSpPr>
          <p:nvPr>
            <p:ph type="sldNum" sz="quarter" idx="4"/>
          </p:nvPr>
        </p:nvSpPr>
        <p:spPr>
          <a:xfrm>
            <a:off x="8460432" y="6642000"/>
            <a:ext cx="576064" cy="216000"/>
          </a:xfrm>
          <a:prstGeom prst="rect">
            <a:avLst/>
          </a:prstGeom>
        </p:spPr>
        <p:txBody>
          <a:bodyPr vert="horz" lIns="91440" tIns="45720" rIns="91440" bIns="45720" rtlCol="0" anchor="ctr"/>
          <a:lstStyle>
            <a:lvl1pPr algn="r">
              <a:defRPr sz="1200" b="1" u="none">
                <a:solidFill>
                  <a:schemeClr val="bg1"/>
                </a:solidFill>
                <a:latin typeface="+mn-lt"/>
              </a:defRPr>
            </a:lvl1pPr>
          </a:lstStyle>
          <a:p>
            <a:pPr fontAlgn="base">
              <a:spcBef>
                <a:spcPct val="0"/>
              </a:spcBef>
              <a:spcAft>
                <a:spcPct val="0"/>
              </a:spcAft>
            </a:pPr>
            <a:fld id="{68B69B99-4CC0-4C77-940D-C46156F4FC2E}" type="slidenum">
              <a:rPr lang="en-US" smtClean="0">
                <a:solidFill>
                  <a:srgbClr val="FFFFFF"/>
                </a:solidFill>
                <a:cs typeface="Arial" charset="0"/>
              </a:rPr>
              <a:pPr fontAlgn="base">
                <a:spcBef>
                  <a:spcPct val="0"/>
                </a:spcBef>
                <a:spcAft>
                  <a:spcPct val="0"/>
                </a:spcAft>
              </a:pPr>
              <a:t>‹#›</a:t>
            </a:fld>
            <a:endParaRPr lang="en-US" dirty="0">
              <a:solidFill>
                <a:srgbClr val="FFFFFF"/>
              </a:solidFill>
              <a:cs typeface="Arial" charset="0"/>
            </a:endParaRPr>
          </a:p>
        </p:txBody>
      </p:sp>
      <p:sp>
        <p:nvSpPr>
          <p:cNvPr id="93" name="92 Rectángulo"/>
          <p:cNvSpPr/>
          <p:nvPr/>
        </p:nvSpPr>
        <p:spPr bwMode="auto">
          <a:xfrm>
            <a:off x="0" y="980728"/>
            <a:ext cx="9144000" cy="4571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61" name="Text Placeholder 60"/>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7" name="56 Rectángulo"/>
          <p:cNvSpPr/>
          <p:nvPr/>
        </p:nvSpPr>
        <p:spPr bwMode="auto">
          <a:xfrm flipV="1">
            <a:off x="0" y="914400"/>
            <a:ext cx="9143999" cy="762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3" name="94 Grupo"/>
          <p:cNvGrpSpPr/>
          <p:nvPr/>
        </p:nvGrpSpPr>
        <p:grpSpPr>
          <a:xfrm>
            <a:off x="7162800" y="303159"/>
            <a:ext cx="1559690" cy="382641"/>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70"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2"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7"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8"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9"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0"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1"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2"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3"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4"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5"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6"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7" name="Group 5"/>
            <p:cNvGrpSpPr>
              <a:grpSpLocks noChangeAspect="1"/>
            </p:cNvGrpSpPr>
            <p:nvPr userDrawn="1"/>
          </p:nvGrpSpPr>
          <p:grpSpPr bwMode="auto">
            <a:xfrm>
              <a:off x="6300192" y="2768810"/>
              <a:ext cx="791493" cy="248083"/>
              <a:chOff x="1066" y="543"/>
              <a:chExt cx="2262" cy="709"/>
            </a:xfrm>
            <a:grpFill/>
          </p:grpSpPr>
          <p:sp>
            <p:nvSpPr>
              <p:cNvPr id="65"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grpSp>
        <p:nvGrpSpPr>
          <p:cNvPr id="8" name="Group 422"/>
          <p:cNvGrpSpPr/>
          <p:nvPr/>
        </p:nvGrpSpPr>
        <p:grpSpPr>
          <a:xfrm>
            <a:off x="0" y="6189663"/>
            <a:ext cx="9145588" cy="479425"/>
            <a:chOff x="0" y="6189663"/>
            <a:chExt cx="9145588" cy="479425"/>
          </a:xfrm>
        </p:grpSpPr>
        <p:sp>
          <p:nvSpPr>
            <p:cNvPr id="424" name="AutoShape 5"/>
            <p:cNvSpPr>
              <a:spLocks noChangeAspect="1" noChangeArrowheads="1" noTextEdit="1"/>
            </p:cNvSpPr>
            <p:nvPr userDrawn="1"/>
          </p:nvSpPr>
          <p:spPr bwMode="auto">
            <a:xfrm>
              <a:off x="0" y="6189663"/>
              <a:ext cx="9144000" cy="479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5" name="Freeform 7"/>
            <p:cNvSpPr>
              <a:spLocks/>
            </p:cNvSpPr>
            <p:nvPr userDrawn="1"/>
          </p:nvSpPr>
          <p:spPr bwMode="auto">
            <a:xfrm>
              <a:off x="4113213" y="6407151"/>
              <a:ext cx="1885950" cy="165100"/>
            </a:xfrm>
            <a:custGeom>
              <a:avLst/>
              <a:gdLst/>
              <a:ahLst/>
              <a:cxnLst>
                <a:cxn ang="0">
                  <a:pos x="0" y="520"/>
                </a:cxn>
                <a:cxn ang="0">
                  <a:pos x="743" y="520"/>
                </a:cxn>
                <a:cxn ang="0">
                  <a:pos x="1486" y="520"/>
                </a:cxn>
                <a:cxn ang="0">
                  <a:pos x="2228" y="520"/>
                </a:cxn>
                <a:cxn ang="0">
                  <a:pos x="2971" y="520"/>
                </a:cxn>
                <a:cxn ang="0">
                  <a:pos x="3714" y="520"/>
                </a:cxn>
                <a:cxn ang="0">
                  <a:pos x="4457" y="520"/>
                </a:cxn>
                <a:cxn ang="0">
                  <a:pos x="5200" y="520"/>
                </a:cxn>
                <a:cxn ang="0">
                  <a:pos x="5943" y="520"/>
                </a:cxn>
                <a:cxn ang="0">
                  <a:pos x="5943" y="0"/>
                </a:cxn>
                <a:cxn ang="0">
                  <a:pos x="5200" y="0"/>
                </a:cxn>
                <a:cxn ang="0">
                  <a:pos x="4457" y="0"/>
                </a:cxn>
                <a:cxn ang="0">
                  <a:pos x="3714" y="0"/>
                </a:cxn>
                <a:cxn ang="0">
                  <a:pos x="2971" y="0"/>
                </a:cxn>
                <a:cxn ang="0">
                  <a:pos x="2228" y="0"/>
                </a:cxn>
                <a:cxn ang="0">
                  <a:pos x="1486" y="0"/>
                </a:cxn>
                <a:cxn ang="0">
                  <a:pos x="743" y="0"/>
                </a:cxn>
                <a:cxn ang="0">
                  <a:pos x="0" y="0"/>
                </a:cxn>
                <a:cxn ang="0">
                  <a:pos x="0" y="520"/>
                </a:cxn>
              </a:cxnLst>
              <a:rect l="0" t="0" r="r" b="b"/>
              <a:pathLst>
                <a:path w="5943" h="520">
                  <a:moveTo>
                    <a:pt x="0" y="520"/>
                  </a:moveTo>
                  <a:lnTo>
                    <a:pt x="743" y="520"/>
                  </a:lnTo>
                  <a:lnTo>
                    <a:pt x="1486" y="520"/>
                  </a:lnTo>
                  <a:lnTo>
                    <a:pt x="2228" y="520"/>
                  </a:lnTo>
                  <a:lnTo>
                    <a:pt x="2971" y="520"/>
                  </a:lnTo>
                  <a:lnTo>
                    <a:pt x="3714" y="520"/>
                  </a:lnTo>
                  <a:lnTo>
                    <a:pt x="4457" y="520"/>
                  </a:lnTo>
                  <a:lnTo>
                    <a:pt x="5200" y="520"/>
                  </a:lnTo>
                  <a:lnTo>
                    <a:pt x="5943" y="520"/>
                  </a:lnTo>
                  <a:lnTo>
                    <a:pt x="5943" y="0"/>
                  </a:lnTo>
                  <a:lnTo>
                    <a:pt x="5200" y="0"/>
                  </a:lnTo>
                  <a:lnTo>
                    <a:pt x="4457" y="0"/>
                  </a:lnTo>
                  <a:lnTo>
                    <a:pt x="3714" y="0"/>
                  </a:lnTo>
                  <a:lnTo>
                    <a:pt x="2971" y="0"/>
                  </a:lnTo>
                  <a:lnTo>
                    <a:pt x="2228" y="0"/>
                  </a:lnTo>
                  <a:lnTo>
                    <a:pt x="1486" y="0"/>
                  </a:lnTo>
                  <a:lnTo>
                    <a:pt x="743" y="0"/>
                  </a:lnTo>
                  <a:lnTo>
                    <a:pt x="0" y="0"/>
                  </a:lnTo>
                  <a:lnTo>
                    <a:pt x="0" y="520"/>
                  </a:lnTo>
                  <a:close/>
                </a:path>
              </a:pathLst>
            </a:custGeom>
            <a:solidFill>
              <a:srgbClr val="99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6" name="Freeform 8"/>
            <p:cNvSpPr>
              <a:spLocks noEditPoints="1"/>
            </p:cNvSpPr>
            <p:nvPr userDrawn="1"/>
          </p:nvSpPr>
          <p:spPr bwMode="auto">
            <a:xfrm>
              <a:off x="0" y="6208713"/>
              <a:ext cx="4546600" cy="363538"/>
            </a:xfrm>
            <a:custGeom>
              <a:avLst/>
              <a:gdLst/>
              <a:ahLst/>
              <a:cxnLst>
                <a:cxn ang="0">
                  <a:pos x="12835" y="583"/>
                </a:cxn>
                <a:cxn ang="0">
                  <a:pos x="5200" y="624"/>
                </a:cxn>
                <a:cxn ang="0">
                  <a:pos x="5005" y="512"/>
                </a:cxn>
                <a:cxn ang="0">
                  <a:pos x="5200" y="399"/>
                </a:cxn>
                <a:cxn ang="0">
                  <a:pos x="5508" y="396"/>
                </a:cxn>
                <a:cxn ang="0">
                  <a:pos x="5508" y="488"/>
                </a:cxn>
                <a:cxn ang="0">
                  <a:pos x="5508" y="427"/>
                </a:cxn>
                <a:cxn ang="0">
                  <a:pos x="11042" y="409"/>
                </a:cxn>
                <a:cxn ang="0">
                  <a:pos x="10776" y="357"/>
                </a:cxn>
                <a:cxn ang="0">
                  <a:pos x="10488" y="406"/>
                </a:cxn>
                <a:cxn ang="0">
                  <a:pos x="10427" y="409"/>
                </a:cxn>
                <a:cxn ang="0">
                  <a:pos x="9997" y="512"/>
                </a:cxn>
                <a:cxn ang="0">
                  <a:pos x="9843" y="624"/>
                </a:cxn>
                <a:cxn ang="0">
                  <a:pos x="9679" y="358"/>
                </a:cxn>
                <a:cxn ang="0">
                  <a:pos x="9125" y="409"/>
                </a:cxn>
                <a:cxn ang="0">
                  <a:pos x="8966" y="598"/>
                </a:cxn>
                <a:cxn ang="0">
                  <a:pos x="8791" y="624"/>
                </a:cxn>
                <a:cxn ang="0">
                  <a:pos x="8500" y="215"/>
                </a:cxn>
                <a:cxn ang="0">
                  <a:pos x="8378" y="184"/>
                </a:cxn>
                <a:cxn ang="0">
                  <a:pos x="8173" y="563"/>
                </a:cxn>
                <a:cxn ang="0">
                  <a:pos x="7978" y="533"/>
                </a:cxn>
                <a:cxn ang="0">
                  <a:pos x="7762" y="512"/>
                </a:cxn>
                <a:cxn ang="0">
                  <a:pos x="7680" y="462"/>
                </a:cxn>
                <a:cxn ang="0">
                  <a:pos x="7644" y="338"/>
                </a:cxn>
                <a:cxn ang="0">
                  <a:pos x="7602" y="455"/>
                </a:cxn>
                <a:cxn ang="0">
                  <a:pos x="7537" y="512"/>
                </a:cxn>
                <a:cxn ang="0">
                  <a:pos x="7414" y="583"/>
                </a:cxn>
                <a:cxn ang="0">
                  <a:pos x="7363" y="583"/>
                </a:cxn>
                <a:cxn ang="0">
                  <a:pos x="7147" y="492"/>
                </a:cxn>
                <a:cxn ang="0">
                  <a:pos x="7015" y="492"/>
                </a:cxn>
                <a:cxn ang="0">
                  <a:pos x="6758" y="195"/>
                </a:cxn>
                <a:cxn ang="0">
                  <a:pos x="6615" y="624"/>
                </a:cxn>
                <a:cxn ang="0">
                  <a:pos x="6461" y="443"/>
                </a:cxn>
                <a:cxn ang="0">
                  <a:pos x="6425" y="420"/>
                </a:cxn>
                <a:cxn ang="0">
                  <a:pos x="6354" y="462"/>
                </a:cxn>
                <a:cxn ang="0">
                  <a:pos x="6041" y="553"/>
                </a:cxn>
                <a:cxn ang="0">
                  <a:pos x="5815" y="512"/>
                </a:cxn>
                <a:cxn ang="0">
                  <a:pos x="5498" y="277"/>
                </a:cxn>
                <a:cxn ang="0">
                  <a:pos x="5191" y="286"/>
                </a:cxn>
                <a:cxn ang="0">
                  <a:pos x="5109" y="286"/>
                </a:cxn>
                <a:cxn ang="0">
                  <a:pos x="4791" y="669"/>
                </a:cxn>
                <a:cxn ang="0">
                  <a:pos x="2649" y="838"/>
                </a:cxn>
                <a:cxn ang="0">
                  <a:pos x="1428" y="1115"/>
                </a:cxn>
                <a:cxn ang="0">
                  <a:pos x="6327" y="1107"/>
                </a:cxn>
                <a:cxn ang="0">
                  <a:pos x="10631" y="1107"/>
                </a:cxn>
                <a:cxn ang="0">
                  <a:pos x="14321" y="624"/>
                </a:cxn>
                <a:cxn ang="0">
                  <a:pos x="13880" y="368"/>
                </a:cxn>
                <a:cxn ang="0">
                  <a:pos x="13532" y="512"/>
                </a:cxn>
                <a:cxn ang="0">
                  <a:pos x="13112" y="624"/>
                </a:cxn>
                <a:cxn ang="0">
                  <a:pos x="12528" y="624"/>
                </a:cxn>
                <a:cxn ang="0">
                  <a:pos x="12333" y="123"/>
                </a:cxn>
                <a:cxn ang="0">
                  <a:pos x="12260" y="379"/>
                </a:cxn>
                <a:cxn ang="0">
                  <a:pos x="12179" y="388"/>
                </a:cxn>
                <a:cxn ang="0">
                  <a:pos x="11994" y="481"/>
                </a:cxn>
                <a:cxn ang="0">
                  <a:pos x="11919" y="272"/>
                </a:cxn>
                <a:cxn ang="0">
                  <a:pos x="11879" y="309"/>
                </a:cxn>
                <a:cxn ang="0">
                  <a:pos x="11826" y="266"/>
                </a:cxn>
                <a:cxn ang="0">
                  <a:pos x="11769" y="338"/>
                </a:cxn>
              </a:cxnLst>
              <a:rect l="0" t="0" r="r" b="b"/>
              <a:pathLst>
                <a:path w="14321" h="1147">
                  <a:moveTo>
                    <a:pt x="12835" y="604"/>
                  </a:moveTo>
                  <a:lnTo>
                    <a:pt x="12896" y="604"/>
                  </a:lnTo>
                  <a:lnTo>
                    <a:pt x="12896" y="624"/>
                  </a:lnTo>
                  <a:lnTo>
                    <a:pt x="12835" y="624"/>
                  </a:lnTo>
                  <a:lnTo>
                    <a:pt x="12835" y="604"/>
                  </a:lnTo>
                  <a:close/>
                  <a:moveTo>
                    <a:pt x="12896" y="583"/>
                  </a:moveTo>
                  <a:lnTo>
                    <a:pt x="12835" y="583"/>
                  </a:lnTo>
                  <a:lnTo>
                    <a:pt x="12835" y="563"/>
                  </a:lnTo>
                  <a:lnTo>
                    <a:pt x="12896" y="563"/>
                  </a:lnTo>
                  <a:lnTo>
                    <a:pt x="12896" y="583"/>
                  </a:lnTo>
                  <a:close/>
                  <a:moveTo>
                    <a:pt x="5200" y="451"/>
                  </a:moveTo>
                  <a:lnTo>
                    <a:pt x="5406" y="451"/>
                  </a:lnTo>
                  <a:lnTo>
                    <a:pt x="5406" y="624"/>
                  </a:lnTo>
                  <a:lnTo>
                    <a:pt x="5200" y="624"/>
                  </a:lnTo>
                  <a:lnTo>
                    <a:pt x="5200" y="451"/>
                  </a:lnTo>
                  <a:close/>
                  <a:moveTo>
                    <a:pt x="5035" y="512"/>
                  </a:moveTo>
                  <a:lnTo>
                    <a:pt x="5098" y="450"/>
                  </a:lnTo>
                  <a:lnTo>
                    <a:pt x="5098" y="465"/>
                  </a:lnTo>
                  <a:lnTo>
                    <a:pt x="5052" y="512"/>
                  </a:lnTo>
                  <a:lnTo>
                    <a:pt x="5035" y="512"/>
                  </a:lnTo>
                  <a:close/>
                  <a:moveTo>
                    <a:pt x="5005" y="512"/>
                  </a:moveTo>
                  <a:lnTo>
                    <a:pt x="5098" y="418"/>
                  </a:lnTo>
                  <a:lnTo>
                    <a:pt x="5098" y="435"/>
                  </a:lnTo>
                  <a:lnTo>
                    <a:pt x="5021" y="512"/>
                  </a:lnTo>
                  <a:lnTo>
                    <a:pt x="5005" y="512"/>
                  </a:lnTo>
                  <a:close/>
                  <a:moveTo>
                    <a:pt x="5406" y="409"/>
                  </a:moveTo>
                  <a:lnTo>
                    <a:pt x="5200" y="409"/>
                  </a:lnTo>
                  <a:lnTo>
                    <a:pt x="5200" y="399"/>
                  </a:lnTo>
                  <a:lnTo>
                    <a:pt x="5406" y="399"/>
                  </a:lnTo>
                  <a:lnTo>
                    <a:pt x="5406" y="409"/>
                  </a:lnTo>
                  <a:close/>
                  <a:moveTo>
                    <a:pt x="5611" y="499"/>
                  </a:moveTo>
                  <a:lnTo>
                    <a:pt x="5611" y="512"/>
                  </a:lnTo>
                  <a:lnTo>
                    <a:pt x="5607" y="512"/>
                  </a:lnTo>
                  <a:lnTo>
                    <a:pt x="5508" y="412"/>
                  </a:lnTo>
                  <a:lnTo>
                    <a:pt x="5508" y="396"/>
                  </a:lnTo>
                  <a:lnTo>
                    <a:pt x="5611" y="499"/>
                  </a:lnTo>
                  <a:close/>
                  <a:moveTo>
                    <a:pt x="5508" y="474"/>
                  </a:moveTo>
                  <a:lnTo>
                    <a:pt x="5508" y="458"/>
                  </a:lnTo>
                  <a:lnTo>
                    <a:pt x="5563" y="512"/>
                  </a:lnTo>
                  <a:lnTo>
                    <a:pt x="5546" y="512"/>
                  </a:lnTo>
                  <a:lnTo>
                    <a:pt x="5508" y="474"/>
                  </a:lnTo>
                  <a:close/>
                  <a:moveTo>
                    <a:pt x="5508" y="488"/>
                  </a:moveTo>
                  <a:lnTo>
                    <a:pt x="5531" y="512"/>
                  </a:lnTo>
                  <a:lnTo>
                    <a:pt x="5508" y="512"/>
                  </a:lnTo>
                  <a:lnTo>
                    <a:pt x="5508" y="488"/>
                  </a:lnTo>
                  <a:close/>
                  <a:moveTo>
                    <a:pt x="5593" y="512"/>
                  </a:moveTo>
                  <a:lnTo>
                    <a:pt x="5577" y="512"/>
                  </a:lnTo>
                  <a:lnTo>
                    <a:pt x="5508" y="443"/>
                  </a:lnTo>
                  <a:lnTo>
                    <a:pt x="5508" y="427"/>
                  </a:lnTo>
                  <a:lnTo>
                    <a:pt x="5593" y="512"/>
                  </a:lnTo>
                  <a:close/>
                  <a:moveTo>
                    <a:pt x="12896" y="501"/>
                  </a:moveTo>
                  <a:lnTo>
                    <a:pt x="12835" y="501"/>
                  </a:lnTo>
                  <a:lnTo>
                    <a:pt x="12896" y="501"/>
                  </a:lnTo>
                  <a:close/>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7" name="Rectangle 9"/>
            <p:cNvSpPr>
              <a:spLocks noChangeArrowheads="1"/>
            </p:cNvSpPr>
            <p:nvPr userDrawn="1"/>
          </p:nvSpPr>
          <p:spPr bwMode="auto">
            <a:xfrm>
              <a:off x="4075113" y="64008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8" name="Rectangle 10"/>
            <p:cNvSpPr>
              <a:spLocks noChangeArrowheads="1"/>
            </p:cNvSpPr>
            <p:nvPr userDrawn="1"/>
          </p:nvSpPr>
          <p:spPr bwMode="auto">
            <a:xfrm>
              <a:off x="4075113" y="63881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9" name="Rectangle 11"/>
            <p:cNvSpPr>
              <a:spLocks noChangeArrowheads="1"/>
            </p:cNvSpPr>
            <p:nvPr userDrawn="1"/>
          </p:nvSpPr>
          <p:spPr bwMode="auto">
            <a:xfrm>
              <a:off x="1651000" y="6351588"/>
              <a:ext cx="65088" cy="55563"/>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0" name="Freeform 12"/>
            <p:cNvSpPr>
              <a:spLocks/>
            </p:cNvSpPr>
            <p:nvPr userDrawn="1"/>
          </p:nvSpPr>
          <p:spPr bwMode="auto">
            <a:xfrm>
              <a:off x="1598613" y="6351588"/>
              <a:ext cx="20638" cy="19050"/>
            </a:xfrm>
            <a:custGeom>
              <a:avLst/>
              <a:gdLst/>
              <a:ahLst/>
              <a:cxnLst>
                <a:cxn ang="0">
                  <a:pos x="0" y="62"/>
                </a:cxn>
                <a:cxn ang="0">
                  <a:pos x="63" y="0"/>
                </a:cxn>
                <a:cxn ang="0">
                  <a:pos x="63" y="15"/>
                </a:cxn>
                <a:cxn ang="0">
                  <a:pos x="17" y="62"/>
                </a:cxn>
                <a:cxn ang="0">
                  <a:pos x="0" y="62"/>
                </a:cxn>
              </a:cxnLst>
              <a:rect l="0" t="0" r="r" b="b"/>
              <a:pathLst>
                <a:path w="63" h="62">
                  <a:moveTo>
                    <a:pt x="0" y="62"/>
                  </a:moveTo>
                  <a:lnTo>
                    <a:pt x="63" y="0"/>
                  </a:lnTo>
                  <a:lnTo>
                    <a:pt x="63" y="15"/>
                  </a:lnTo>
                  <a:lnTo>
                    <a:pt x="17" y="62"/>
                  </a:lnTo>
                  <a:lnTo>
                    <a:pt x="0" y="62"/>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1" name="Freeform 13"/>
            <p:cNvSpPr>
              <a:spLocks/>
            </p:cNvSpPr>
            <p:nvPr userDrawn="1"/>
          </p:nvSpPr>
          <p:spPr bwMode="auto">
            <a:xfrm>
              <a:off x="1589088" y="6342063"/>
              <a:ext cx="30163" cy="28575"/>
            </a:xfrm>
            <a:custGeom>
              <a:avLst/>
              <a:gdLst/>
              <a:ahLst/>
              <a:cxnLst>
                <a:cxn ang="0">
                  <a:pos x="0" y="94"/>
                </a:cxn>
                <a:cxn ang="0">
                  <a:pos x="93" y="0"/>
                </a:cxn>
                <a:cxn ang="0">
                  <a:pos x="93" y="17"/>
                </a:cxn>
                <a:cxn ang="0">
                  <a:pos x="16" y="94"/>
                </a:cxn>
                <a:cxn ang="0">
                  <a:pos x="0" y="94"/>
                </a:cxn>
              </a:cxnLst>
              <a:rect l="0" t="0" r="r" b="b"/>
              <a:pathLst>
                <a:path w="93" h="94">
                  <a:moveTo>
                    <a:pt x="0" y="94"/>
                  </a:moveTo>
                  <a:lnTo>
                    <a:pt x="93" y="0"/>
                  </a:lnTo>
                  <a:lnTo>
                    <a:pt x="93" y="17"/>
                  </a:lnTo>
                  <a:lnTo>
                    <a:pt x="16" y="94"/>
                  </a:lnTo>
                  <a:lnTo>
                    <a:pt x="0" y="9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2" name="Rectangle 14"/>
            <p:cNvSpPr>
              <a:spLocks noChangeArrowheads="1"/>
            </p:cNvSpPr>
            <p:nvPr userDrawn="1"/>
          </p:nvSpPr>
          <p:spPr bwMode="auto">
            <a:xfrm>
              <a:off x="1651000" y="6335713"/>
              <a:ext cx="65088" cy="3175"/>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3" name="Freeform 15"/>
            <p:cNvSpPr>
              <a:spLocks/>
            </p:cNvSpPr>
            <p:nvPr userDrawn="1"/>
          </p:nvSpPr>
          <p:spPr bwMode="auto">
            <a:xfrm>
              <a:off x="1749425" y="6334126"/>
              <a:ext cx="31750" cy="36513"/>
            </a:xfrm>
            <a:custGeom>
              <a:avLst/>
              <a:gdLst/>
              <a:ahLst/>
              <a:cxnLst>
                <a:cxn ang="0">
                  <a:pos x="103" y="103"/>
                </a:cxn>
                <a:cxn ang="0">
                  <a:pos x="103" y="116"/>
                </a:cxn>
                <a:cxn ang="0">
                  <a:pos x="99" y="116"/>
                </a:cxn>
                <a:cxn ang="0">
                  <a:pos x="0" y="16"/>
                </a:cxn>
                <a:cxn ang="0">
                  <a:pos x="0" y="0"/>
                </a:cxn>
                <a:cxn ang="0">
                  <a:pos x="103" y="103"/>
                </a:cxn>
              </a:cxnLst>
              <a:rect l="0" t="0" r="r" b="b"/>
              <a:pathLst>
                <a:path w="103" h="116">
                  <a:moveTo>
                    <a:pt x="103" y="103"/>
                  </a:moveTo>
                  <a:lnTo>
                    <a:pt x="103" y="116"/>
                  </a:lnTo>
                  <a:lnTo>
                    <a:pt x="99" y="116"/>
                  </a:lnTo>
                  <a:lnTo>
                    <a:pt x="0" y="16"/>
                  </a:lnTo>
                  <a:lnTo>
                    <a:pt x="0" y="0"/>
                  </a:lnTo>
                  <a:lnTo>
                    <a:pt x="103" y="103"/>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4" name="Freeform 16"/>
            <p:cNvSpPr>
              <a:spLocks/>
            </p:cNvSpPr>
            <p:nvPr userDrawn="1"/>
          </p:nvSpPr>
          <p:spPr bwMode="auto">
            <a:xfrm>
              <a:off x="1749425" y="6354763"/>
              <a:ext cx="17463" cy="15875"/>
            </a:xfrm>
            <a:custGeom>
              <a:avLst/>
              <a:gdLst/>
              <a:ahLst/>
              <a:cxnLst>
                <a:cxn ang="0">
                  <a:pos x="0" y="16"/>
                </a:cxn>
                <a:cxn ang="0">
                  <a:pos x="0" y="0"/>
                </a:cxn>
                <a:cxn ang="0">
                  <a:pos x="55" y="54"/>
                </a:cxn>
                <a:cxn ang="0">
                  <a:pos x="38" y="54"/>
                </a:cxn>
                <a:cxn ang="0">
                  <a:pos x="0" y="16"/>
                </a:cxn>
              </a:cxnLst>
              <a:rect l="0" t="0" r="r" b="b"/>
              <a:pathLst>
                <a:path w="55" h="54">
                  <a:moveTo>
                    <a:pt x="0" y="16"/>
                  </a:moveTo>
                  <a:lnTo>
                    <a:pt x="0" y="0"/>
                  </a:lnTo>
                  <a:lnTo>
                    <a:pt x="55" y="54"/>
                  </a:lnTo>
                  <a:lnTo>
                    <a:pt x="38" y="54"/>
                  </a:lnTo>
                  <a:lnTo>
                    <a:pt x="0" y="16"/>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5" name="Freeform 17"/>
            <p:cNvSpPr>
              <a:spLocks/>
            </p:cNvSpPr>
            <p:nvPr userDrawn="1"/>
          </p:nvSpPr>
          <p:spPr bwMode="auto">
            <a:xfrm>
              <a:off x="1749425" y="6364288"/>
              <a:ext cx="6350" cy="6350"/>
            </a:xfrm>
            <a:custGeom>
              <a:avLst/>
              <a:gdLst/>
              <a:ahLst/>
              <a:cxnLst>
                <a:cxn ang="0">
                  <a:pos x="0" y="0"/>
                </a:cxn>
                <a:cxn ang="0">
                  <a:pos x="23" y="24"/>
                </a:cxn>
                <a:cxn ang="0">
                  <a:pos x="0" y="24"/>
                </a:cxn>
                <a:cxn ang="0">
                  <a:pos x="0" y="0"/>
                </a:cxn>
              </a:cxnLst>
              <a:rect l="0" t="0" r="r" b="b"/>
              <a:pathLst>
                <a:path w="23" h="24">
                  <a:moveTo>
                    <a:pt x="0" y="0"/>
                  </a:moveTo>
                  <a:lnTo>
                    <a:pt x="23" y="24"/>
                  </a:lnTo>
                  <a:lnTo>
                    <a:pt x="0" y="24"/>
                  </a:lnTo>
                  <a:lnTo>
                    <a:pt x="0"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6" name="Freeform 18"/>
            <p:cNvSpPr>
              <a:spLocks/>
            </p:cNvSpPr>
            <p:nvPr userDrawn="1"/>
          </p:nvSpPr>
          <p:spPr bwMode="auto">
            <a:xfrm>
              <a:off x="1749425" y="6343651"/>
              <a:ext cx="26988" cy="26988"/>
            </a:xfrm>
            <a:custGeom>
              <a:avLst/>
              <a:gdLst/>
              <a:ahLst/>
              <a:cxnLst>
                <a:cxn ang="0">
                  <a:pos x="85" y="85"/>
                </a:cxn>
                <a:cxn ang="0">
                  <a:pos x="69" y="85"/>
                </a:cxn>
                <a:cxn ang="0">
                  <a:pos x="0" y="16"/>
                </a:cxn>
                <a:cxn ang="0">
                  <a:pos x="0" y="0"/>
                </a:cxn>
                <a:cxn ang="0">
                  <a:pos x="85" y="85"/>
                </a:cxn>
              </a:cxnLst>
              <a:rect l="0" t="0" r="r" b="b"/>
              <a:pathLst>
                <a:path w="85" h="85">
                  <a:moveTo>
                    <a:pt x="85" y="85"/>
                  </a:moveTo>
                  <a:lnTo>
                    <a:pt x="69" y="85"/>
                  </a:lnTo>
                  <a:lnTo>
                    <a:pt x="0" y="16"/>
                  </a:lnTo>
                  <a:lnTo>
                    <a:pt x="0" y="0"/>
                  </a:lnTo>
                  <a:lnTo>
                    <a:pt x="85" y="85"/>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7" name="Freeform 19"/>
            <p:cNvSpPr>
              <a:spLocks/>
            </p:cNvSpPr>
            <p:nvPr userDrawn="1"/>
          </p:nvSpPr>
          <p:spPr bwMode="auto">
            <a:xfrm>
              <a:off x="4075113" y="6367463"/>
              <a:ext cx="19050" cy="1588"/>
            </a:xfrm>
            <a:custGeom>
              <a:avLst/>
              <a:gdLst/>
              <a:ahLst/>
              <a:cxnLst>
                <a:cxn ang="0">
                  <a:pos x="61" y="0"/>
                </a:cxn>
                <a:cxn ang="0">
                  <a:pos x="0" y="0"/>
                </a:cxn>
                <a:cxn ang="0">
                  <a:pos x="61" y="0"/>
                </a:cxn>
              </a:cxnLst>
              <a:rect l="0" t="0" r="r" b="b"/>
              <a:pathLst>
                <a:path w="61">
                  <a:moveTo>
                    <a:pt x="61" y="0"/>
                  </a:moveTo>
                  <a:lnTo>
                    <a:pt x="0" y="0"/>
                  </a:lnTo>
                  <a:lnTo>
                    <a:pt x="61"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8" name="Freeform 20"/>
            <p:cNvSpPr>
              <a:spLocks/>
            </p:cNvSpPr>
            <p:nvPr userDrawn="1"/>
          </p:nvSpPr>
          <p:spPr bwMode="auto">
            <a:xfrm>
              <a:off x="0" y="6208713"/>
              <a:ext cx="4546600" cy="363538"/>
            </a:xfrm>
            <a:custGeom>
              <a:avLst/>
              <a:gdLst/>
              <a:ahLst/>
              <a:cxnLst>
                <a:cxn ang="0">
                  <a:pos x="10943" y="387"/>
                </a:cxn>
                <a:cxn ang="0">
                  <a:pos x="10699" y="357"/>
                </a:cxn>
                <a:cxn ang="0">
                  <a:pos x="10488" y="256"/>
                </a:cxn>
                <a:cxn ang="0">
                  <a:pos x="10427" y="409"/>
                </a:cxn>
                <a:cxn ang="0">
                  <a:pos x="9997" y="388"/>
                </a:cxn>
                <a:cxn ang="0">
                  <a:pos x="9884" y="512"/>
                </a:cxn>
                <a:cxn ang="0">
                  <a:pos x="9709" y="307"/>
                </a:cxn>
                <a:cxn ang="0">
                  <a:pos x="9464" y="409"/>
                </a:cxn>
                <a:cxn ang="0">
                  <a:pos x="9047" y="624"/>
                </a:cxn>
                <a:cxn ang="0">
                  <a:pos x="8919" y="596"/>
                </a:cxn>
                <a:cxn ang="0">
                  <a:pos x="8791" y="624"/>
                </a:cxn>
                <a:cxn ang="0">
                  <a:pos x="8500" y="481"/>
                </a:cxn>
                <a:cxn ang="0">
                  <a:pos x="8418" y="215"/>
                </a:cxn>
                <a:cxn ang="0">
                  <a:pos x="8214" y="481"/>
                </a:cxn>
                <a:cxn ang="0">
                  <a:pos x="8090" y="624"/>
                </a:cxn>
                <a:cxn ang="0">
                  <a:pos x="7803" y="553"/>
                </a:cxn>
                <a:cxn ang="0">
                  <a:pos x="7742" y="512"/>
                </a:cxn>
                <a:cxn ang="0">
                  <a:pos x="7680" y="462"/>
                </a:cxn>
                <a:cxn ang="0">
                  <a:pos x="7644" y="429"/>
                </a:cxn>
                <a:cxn ang="0">
                  <a:pos x="7618" y="444"/>
                </a:cxn>
                <a:cxn ang="0">
                  <a:pos x="7558" y="512"/>
                </a:cxn>
                <a:cxn ang="0">
                  <a:pos x="7496" y="492"/>
                </a:cxn>
                <a:cxn ang="0">
                  <a:pos x="7394" y="533"/>
                </a:cxn>
                <a:cxn ang="0">
                  <a:pos x="7353" y="583"/>
                </a:cxn>
                <a:cxn ang="0">
                  <a:pos x="7147" y="492"/>
                </a:cxn>
                <a:cxn ang="0">
                  <a:pos x="7015" y="512"/>
                </a:cxn>
                <a:cxn ang="0">
                  <a:pos x="6881" y="624"/>
                </a:cxn>
                <a:cxn ang="0">
                  <a:pos x="6661" y="135"/>
                </a:cxn>
                <a:cxn ang="0">
                  <a:pos x="6515" y="471"/>
                </a:cxn>
                <a:cxn ang="0">
                  <a:pos x="6452" y="428"/>
                </a:cxn>
                <a:cxn ang="0">
                  <a:pos x="6416" y="423"/>
                </a:cxn>
                <a:cxn ang="0">
                  <a:pos x="6354" y="462"/>
                </a:cxn>
                <a:cxn ang="0">
                  <a:pos x="6215" y="553"/>
                </a:cxn>
                <a:cxn ang="0">
                  <a:pos x="5847" y="624"/>
                </a:cxn>
                <a:cxn ang="0">
                  <a:pos x="5508" y="381"/>
                </a:cxn>
                <a:cxn ang="0">
                  <a:pos x="5406" y="286"/>
                </a:cxn>
                <a:cxn ang="0">
                  <a:pos x="5170" y="277"/>
                </a:cxn>
                <a:cxn ang="0">
                  <a:pos x="5098" y="286"/>
                </a:cxn>
                <a:cxn ang="0">
                  <a:pos x="4791" y="669"/>
                </a:cxn>
                <a:cxn ang="0">
                  <a:pos x="3179" y="790"/>
                </a:cxn>
                <a:cxn ang="0">
                  <a:pos x="0" y="1083"/>
                </a:cxn>
                <a:cxn ang="0">
                  <a:pos x="4484" y="1107"/>
                </a:cxn>
                <a:cxn ang="0">
                  <a:pos x="8172" y="1107"/>
                </a:cxn>
                <a:cxn ang="0">
                  <a:pos x="11861" y="1107"/>
                </a:cxn>
                <a:cxn ang="0">
                  <a:pos x="14116" y="624"/>
                </a:cxn>
                <a:cxn ang="0">
                  <a:pos x="13880" y="368"/>
                </a:cxn>
                <a:cxn ang="0">
                  <a:pos x="13644" y="512"/>
                </a:cxn>
                <a:cxn ang="0">
                  <a:pos x="13214" y="512"/>
                </a:cxn>
                <a:cxn ang="0">
                  <a:pos x="12630" y="558"/>
                </a:cxn>
                <a:cxn ang="0">
                  <a:pos x="12476" y="440"/>
                </a:cxn>
                <a:cxn ang="0">
                  <a:pos x="12312" y="0"/>
                </a:cxn>
                <a:cxn ang="0">
                  <a:pos x="12260" y="440"/>
                </a:cxn>
                <a:cxn ang="0">
                  <a:pos x="12179" y="388"/>
                </a:cxn>
                <a:cxn ang="0">
                  <a:pos x="12067" y="481"/>
                </a:cxn>
                <a:cxn ang="0">
                  <a:pos x="11937" y="309"/>
                </a:cxn>
                <a:cxn ang="0">
                  <a:pos x="11897" y="272"/>
                </a:cxn>
                <a:cxn ang="0">
                  <a:pos x="11854" y="309"/>
                </a:cxn>
                <a:cxn ang="0">
                  <a:pos x="11814" y="272"/>
                </a:cxn>
                <a:cxn ang="0">
                  <a:pos x="11769" y="327"/>
                </a:cxn>
              </a:cxnLst>
              <a:rect l="0" t="0" r="r" b="b"/>
              <a:pathLst>
                <a:path w="14321" h="1147">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9" name="Freeform 21"/>
            <p:cNvSpPr>
              <a:spLocks noEditPoints="1"/>
            </p:cNvSpPr>
            <p:nvPr userDrawn="1"/>
          </p:nvSpPr>
          <p:spPr bwMode="auto">
            <a:xfrm>
              <a:off x="3754438" y="6208713"/>
              <a:ext cx="708025" cy="350838"/>
            </a:xfrm>
            <a:custGeom>
              <a:avLst/>
              <a:gdLst/>
              <a:ahLst/>
              <a:cxnLst>
                <a:cxn ang="0">
                  <a:pos x="802" y="605"/>
                </a:cxn>
                <a:cxn ang="0">
                  <a:pos x="740" y="625"/>
                </a:cxn>
                <a:cxn ang="0">
                  <a:pos x="802" y="583"/>
                </a:cxn>
                <a:cxn ang="0">
                  <a:pos x="740" y="563"/>
                </a:cxn>
                <a:cxn ang="0">
                  <a:pos x="802" y="583"/>
                </a:cxn>
                <a:cxn ang="0">
                  <a:pos x="740" y="501"/>
                </a:cxn>
                <a:cxn ang="0">
                  <a:pos x="0" y="1107"/>
                </a:cxn>
                <a:cxn ang="0">
                  <a:pos x="1113" y="1107"/>
                </a:cxn>
                <a:cxn ang="0">
                  <a:pos x="2226" y="1107"/>
                </a:cxn>
                <a:cxn ang="0">
                  <a:pos x="2022" y="625"/>
                </a:cxn>
                <a:cxn ang="0">
                  <a:pos x="1981" y="369"/>
                </a:cxn>
                <a:cxn ang="0">
                  <a:pos x="1806" y="185"/>
                </a:cxn>
                <a:cxn ang="0">
                  <a:pos x="1786" y="369"/>
                </a:cxn>
                <a:cxn ang="0">
                  <a:pos x="1612" y="276"/>
                </a:cxn>
                <a:cxn ang="0">
                  <a:pos x="1612" y="625"/>
                </a:cxn>
                <a:cxn ang="0">
                  <a:pos x="1550" y="512"/>
                </a:cxn>
                <a:cxn ang="0">
                  <a:pos x="1438" y="440"/>
                </a:cxn>
                <a:cxn ang="0">
                  <a:pos x="1222" y="392"/>
                </a:cxn>
                <a:cxn ang="0">
                  <a:pos x="1120" y="512"/>
                </a:cxn>
                <a:cxn ang="0">
                  <a:pos x="1017" y="625"/>
                </a:cxn>
                <a:cxn ang="0">
                  <a:pos x="545" y="625"/>
                </a:cxn>
                <a:cxn ang="0">
                  <a:pos x="536" y="559"/>
                </a:cxn>
                <a:cxn ang="0">
                  <a:pos x="443" y="625"/>
                </a:cxn>
                <a:cxn ang="0">
                  <a:pos x="433" y="522"/>
                </a:cxn>
                <a:cxn ang="0">
                  <a:pos x="382" y="440"/>
                </a:cxn>
                <a:cxn ang="0">
                  <a:pos x="249" y="379"/>
                </a:cxn>
                <a:cxn ang="0">
                  <a:pos x="238" y="123"/>
                </a:cxn>
                <a:cxn ang="0">
                  <a:pos x="218" y="0"/>
                </a:cxn>
                <a:cxn ang="0">
                  <a:pos x="197" y="123"/>
                </a:cxn>
                <a:cxn ang="0">
                  <a:pos x="177" y="379"/>
                </a:cxn>
                <a:cxn ang="0">
                  <a:pos x="166" y="440"/>
                </a:cxn>
                <a:cxn ang="0">
                  <a:pos x="146" y="267"/>
                </a:cxn>
                <a:cxn ang="0">
                  <a:pos x="95" y="440"/>
                </a:cxn>
                <a:cxn ang="0">
                  <a:pos x="84" y="389"/>
                </a:cxn>
                <a:cxn ang="0">
                  <a:pos x="0" y="1107"/>
                </a:cxn>
              </a:cxnLst>
              <a:rect l="0" t="0" r="r" b="b"/>
              <a:pathLst>
                <a:path w="2226" h="1107">
                  <a:moveTo>
                    <a:pt x="740" y="605"/>
                  </a:moveTo>
                  <a:lnTo>
                    <a:pt x="802" y="605"/>
                  </a:lnTo>
                  <a:lnTo>
                    <a:pt x="802" y="625"/>
                  </a:lnTo>
                  <a:lnTo>
                    <a:pt x="740" y="625"/>
                  </a:lnTo>
                  <a:lnTo>
                    <a:pt x="740" y="605"/>
                  </a:lnTo>
                  <a:close/>
                  <a:moveTo>
                    <a:pt x="802" y="583"/>
                  </a:moveTo>
                  <a:lnTo>
                    <a:pt x="740" y="583"/>
                  </a:lnTo>
                  <a:lnTo>
                    <a:pt x="740" y="563"/>
                  </a:lnTo>
                  <a:lnTo>
                    <a:pt x="802" y="563"/>
                  </a:lnTo>
                  <a:lnTo>
                    <a:pt x="802" y="583"/>
                  </a:lnTo>
                  <a:close/>
                  <a:moveTo>
                    <a:pt x="802" y="501"/>
                  </a:moveTo>
                  <a:lnTo>
                    <a:pt x="740" y="501"/>
                  </a:lnTo>
                  <a:lnTo>
                    <a:pt x="802" y="501"/>
                  </a:lnTo>
                  <a:close/>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0" name="Rectangle 22"/>
            <p:cNvSpPr>
              <a:spLocks noChangeArrowheads="1"/>
            </p:cNvSpPr>
            <p:nvPr userDrawn="1"/>
          </p:nvSpPr>
          <p:spPr bwMode="auto">
            <a:xfrm>
              <a:off x="3989388" y="6400801"/>
              <a:ext cx="2063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1" name="Rectangle 23"/>
            <p:cNvSpPr>
              <a:spLocks noChangeArrowheads="1"/>
            </p:cNvSpPr>
            <p:nvPr userDrawn="1"/>
          </p:nvSpPr>
          <p:spPr bwMode="auto">
            <a:xfrm>
              <a:off x="3989388" y="6386513"/>
              <a:ext cx="20638" cy="6350"/>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2" name="Freeform 24"/>
            <p:cNvSpPr>
              <a:spLocks/>
            </p:cNvSpPr>
            <p:nvPr userDrawn="1"/>
          </p:nvSpPr>
          <p:spPr bwMode="auto">
            <a:xfrm>
              <a:off x="3989388" y="6367463"/>
              <a:ext cx="20638" cy="1588"/>
            </a:xfrm>
            <a:custGeom>
              <a:avLst/>
              <a:gdLst/>
              <a:ahLst/>
              <a:cxnLst>
                <a:cxn ang="0">
                  <a:pos x="62" y="0"/>
                </a:cxn>
                <a:cxn ang="0">
                  <a:pos x="0" y="0"/>
                </a:cxn>
                <a:cxn ang="0">
                  <a:pos x="62" y="0"/>
                </a:cxn>
              </a:cxnLst>
              <a:rect l="0" t="0" r="r" b="b"/>
              <a:pathLst>
                <a:path w="62">
                  <a:moveTo>
                    <a:pt x="62" y="0"/>
                  </a:moveTo>
                  <a:lnTo>
                    <a:pt x="0" y="0"/>
                  </a:lnTo>
                  <a:lnTo>
                    <a:pt x="62"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3" name="Freeform 25"/>
            <p:cNvSpPr>
              <a:spLocks/>
            </p:cNvSpPr>
            <p:nvPr userDrawn="1"/>
          </p:nvSpPr>
          <p:spPr bwMode="auto">
            <a:xfrm>
              <a:off x="3754438" y="6208713"/>
              <a:ext cx="708025" cy="350838"/>
            </a:xfrm>
            <a:custGeom>
              <a:avLst/>
              <a:gdLst/>
              <a:ahLst/>
              <a:cxnLst>
                <a:cxn ang="0">
                  <a:pos x="0" y="1107"/>
                </a:cxn>
                <a:cxn ang="0">
                  <a:pos x="556" y="1107"/>
                </a:cxn>
                <a:cxn ang="0">
                  <a:pos x="1113" y="1107"/>
                </a:cxn>
                <a:cxn ang="0">
                  <a:pos x="1669" y="1107"/>
                </a:cxn>
                <a:cxn ang="0">
                  <a:pos x="2226" y="1107"/>
                </a:cxn>
                <a:cxn ang="0">
                  <a:pos x="2226" y="625"/>
                </a:cxn>
                <a:cxn ang="0">
                  <a:pos x="2022" y="625"/>
                </a:cxn>
                <a:cxn ang="0">
                  <a:pos x="2022" y="369"/>
                </a:cxn>
                <a:cxn ang="0">
                  <a:pos x="1981" y="369"/>
                </a:cxn>
                <a:cxn ang="0">
                  <a:pos x="1981" y="185"/>
                </a:cxn>
                <a:cxn ang="0">
                  <a:pos x="1806" y="185"/>
                </a:cxn>
                <a:cxn ang="0">
                  <a:pos x="1806" y="369"/>
                </a:cxn>
                <a:cxn ang="0">
                  <a:pos x="1786" y="369"/>
                </a:cxn>
                <a:cxn ang="0">
                  <a:pos x="1786" y="276"/>
                </a:cxn>
                <a:cxn ang="0">
                  <a:pos x="1612" y="276"/>
                </a:cxn>
                <a:cxn ang="0">
                  <a:pos x="1612" y="369"/>
                </a:cxn>
                <a:cxn ang="0">
                  <a:pos x="1612" y="625"/>
                </a:cxn>
                <a:cxn ang="0">
                  <a:pos x="1550" y="625"/>
                </a:cxn>
                <a:cxn ang="0">
                  <a:pos x="1550" y="512"/>
                </a:cxn>
                <a:cxn ang="0">
                  <a:pos x="1438" y="512"/>
                </a:cxn>
                <a:cxn ang="0">
                  <a:pos x="1438" y="440"/>
                </a:cxn>
                <a:cxn ang="0">
                  <a:pos x="1222" y="349"/>
                </a:cxn>
                <a:cxn ang="0">
                  <a:pos x="1222" y="392"/>
                </a:cxn>
                <a:cxn ang="0">
                  <a:pos x="1120" y="349"/>
                </a:cxn>
                <a:cxn ang="0">
                  <a:pos x="1120" y="512"/>
                </a:cxn>
                <a:cxn ang="0">
                  <a:pos x="1017" y="512"/>
                </a:cxn>
                <a:cxn ang="0">
                  <a:pos x="1017" y="625"/>
                </a:cxn>
                <a:cxn ang="0">
                  <a:pos x="986" y="625"/>
                </a:cxn>
                <a:cxn ang="0">
                  <a:pos x="545" y="625"/>
                </a:cxn>
                <a:cxn ang="0">
                  <a:pos x="536" y="625"/>
                </a:cxn>
                <a:cxn ang="0">
                  <a:pos x="536" y="559"/>
                </a:cxn>
                <a:cxn ang="0">
                  <a:pos x="443" y="559"/>
                </a:cxn>
                <a:cxn ang="0">
                  <a:pos x="443" y="625"/>
                </a:cxn>
                <a:cxn ang="0">
                  <a:pos x="433" y="625"/>
                </a:cxn>
                <a:cxn ang="0">
                  <a:pos x="433" y="522"/>
                </a:cxn>
                <a:cxn ang="0">
                  <a:pos x="382" y="522"/>
                </a:cxn>
                <a:cxn ang="0">
                  <a:pos x="382" y="440"/>
                </a:cxn>
                <a:cxn ang="0">
                  <a:pos x="249" y="440"/>
                </a:cxn>
                <a:cxn ang="0">
                  <a:pos x="249" y="379"/>
                </a:cxn>
                <a:cxn ang="0">
                  <a:pos x="238" y="379"/>
                </a:cxn>
                <a:cxn ang="0">
                  <a:pos x="238" y="123"/>
                </a:cxn>
                <a:cxn ang="0">
                  <a:pos x="218" y="123"/>
                </a:cxn>
                <a:cxn ang="0">
                  <a:pos x="218" y="0"/>
                </a:cxn>
                <a:cxn ang="0">
                  <a:pos x="197" y="0"/>
                </a:cxn>
                <a:cxn ang="0">
                  <a:pos x="197" y="123"/>
                </a:cxn>
                <a:cxn ang="0">
                  <a:pos x="177" y="123"/>
                </a:cxn>
                <a:cxn ang="0">
                  <a:pos x="177" y="379"/>
                </a:cxn>
                <a:cxn ang="0">
                  <a:pos x="166" y="379"/>
                </a:cxn>
                <a:cxn ang="0">
                  <a:pos x="166" y="440"/>
                </a:cxn>
                <a:cxn ang="0">
                  <a:pos x="146" y="440"/>
                </a:cxn>
                <a:cxn ang="0">
                  <a:pos x="146" y="267"/>
                </a:cxn>
                <a:cxn ang="0">
                  <a:pos x="95" y="267"/>
                </a:cxn>
                <a:cxn ang="0">
                  <a:pos x="95" y="440"/>
                </a:cxn>
                <a:cxn ang="0">
                  <a:pos x="84" y="440"/>
                </a:cxn>
                <a:cxn ang="0">
                  <a:pos x="84" y="389"/>
                </a:cxn>
                <a:cxn ang="0">
                  <a:pos x="2" y="389"/>
                </a:cxn>
                <a:cxn ang="0">
                  <a:pos x="0" y="1107"/>
                </a:cxn>
              </a:cxnLst>
              <a:rect l="0" t="0" r="r" b="b"/>
              <a:pathLst>
                <a:path w="2226" h="1107">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4" name="Freeform 26"/>
            <p:cNvSpPr>
              <a:spLocks/>
            </p:cNvSpPr>
            <p:nvPr userDrawn="1"/>
          </p:nvSpPr>
          <p:spPr bwMode="auto">
            <a:xfrm>
              <a:off x="5116513" y="6329363"/>
              <a:ext cx="203200" cy="20638"/>
            </a:xfrm>
            <a:custGeom>
              <a:avLst/>
              <a:gdLst/>
              <a:ahLst/>
              <a:cxnLst>
                <a:cxn ang="0">
                  <a:pos x="0" y="63"/>
                </a:cxn>
                <a:cxn ang="0">
                  <a:pos x="20" y="63"/>
                </a:cxn>
                <a:cxn ang="0">
                  <a:pos x="34" y="63"/>
                </a:cxn>
                <a:cxn ang="0">
                  <a:pos x="42" y="63"/>
                </a:cxn>
                <a:cxn ang="0">
                  <a:pos x="50" y="63"/>
                </a:cxn>
                <a:cxn ang="0">
                  <a:pos x="57" y="63"/>
                </a:cxn>
                <a:cxn ang="0">
                  <a:pos x="64" y="63"/>
                </a:cxn>
                <a:cxn ang="0">
                  <a:pos x="73" y="63"/>
                </a:cxn>
                <a:cxn ang="0">
                  <a:pos x="95" y="63"/>
                </a:cxn>
                <a:cxn ang="0">
                  <a:pos x="103" y="63"/>
                </a:cxn>
                <a:cxn ang="0">
                  <a:pos x="133" y="51"/>
                </a:cxn>
                <a:cxn ang="0">
                  <a:pos x="140" y="48"/>
                </a:cxn>
                <a:cxn ang="0">
                  <a:pos x="166" y="39"/>
                </a:cxn>
                <a:cxn ang="0">
                  <a:pos x="174" y="36"/>
                </a:cxn>
                <a:cxn ang="0">
                  <a:pos x="177" y="36"/>
                </a:cxn>
                <a:cxn ang="0">
                  <a:pos x="205" y="28"/>
                </a:cxn>
                <a:cxn ang="0">
                  <a:pos x="212" y="25"/>
                </a:cxn>
                <a:cxn ang="0">
                  <a:pos x="242" y="18"/>
                </a:cxn>
                <a:cxn ang="0">
                  <a:pos x="250" y="17"/>
                </a:cxn>
                <a:cxn ang="0">
                  <a:pos x="280" y="12"/>
                </a:cxn>
                <a:cxn ang="0">
                  <a:pos x="288" y="11"/>
                </a:cxn>
                <a:cxn ang="0">
                  <a:pos x="318" y="10"/>
                </a:cxn>
                <a:cxn ang="0">
                  <a:pos x="321" y="10"/>
                </a:cxn>
                <a:cxn ang="0">
                  <a:pos x="325" y="10"/>
                </a:cxn>
                <a:cxn ang="0">
                  <a:pos x="355" y="11"/>
                </a:cxn>
                <a:cxn ang="0">
                  <a:pos x="363" y="12"/>
                </a:cxn>
                <a:cxn ang="0">
                  <a:pos x="393" y="17"/>
                </a:cxn>
                <a:cxn ang="0">
                  <a:pos x="401" y="19"/>
                </a:cxn>
                <a:cxn ang="0">
                  <a:pos x="431" y="27"/>
                </a:cxn>
                <a:cxn ang="0">
                  <a:pos x="439" y="28"/>
                </a:cxn>
                <a:cxn ang="0">
                  <a:pos x="465" y="36"/>
                </a:cxn>
                <a:cxn ang="0">
                  <a:pos x="469" y="37"/>
                </a:cxn>
                <a:cxn ang="0">
                  <a:pos x="477" y="40"/>
                </a:cxn>
                <a:cxn ang="0">
                  <a:pos x="504" y="48"/>
                </a:cxn>
                <a:cxn ang="0">
                  <a:pos x="511" y="51"/>
                </a:cxn>
                <a:cxn ang="0">
                  <a:pos x="539" y="63"/>
                </a:cxn>
                <a:cxn ang="0">
                  <a:pos x="540" y="63"/>
                </a:cxn>
                <a:cxn ang="0">
                  <a:pos x="541" y="63"/>
                </a:cxn>
                <a:cxn ang="0">
                  <a:pos x="548" y="63"/>
                </a:cxn>
                <a:cxn ang="0">
                  <a:pos x="571" y="63"/>
                </a:cxn>
                <a:cxn ang="0">
                  <a:pos x="578" y="63"/>
                </a:cxn>
                <a:cxn ang="0">
                  <a:pos x="587" y="63"/>
                </a:cxn>
                <a:cxn ang="0">
                  <a:pos x="594" y="63"/>
                </a:cxn>
                <a:cxn ang="0">
                  <a:pos x="601" y="63"/>
                </a:cxn>
                <a:cxn ang="0">
                  <a:pos x="608" y="63"/>
                </a:cxn>
                <a:cxn ang="0">
                  <a:pos x="624" y="63"/>
                </a:cxn>
                <a:cxn ang="0">
                  <a:pos x="642" y="63"/>
                </a:cxn>
                <a:cxn ang="0">
                  <a:pos x="642" y="54"/>
                </a:cxn>
                <a:cxn ang="0">
                  <a:pos x="624" y="54"/>
                </a:cxn>
                <a:cxn ang="0">
                  <a:pos x="542" y="54"/>
                </a:cxn>
                <a:cxn ang="0">
                  <a:pos x="516" y="43"/>
                </a:cxn>
                <a:cxn ang="0">
                  <a:pos x="461" y="25"/>
                </a:cxn>
                <a:cxn ang="0">
                  <a:pos x="393" y="9"/>
                </a:cxn>
                <a:cxn ang="0">
                  <a:pos x="357" y="3"/>
                </a:cxn>
                <a:cxn ang="0">
                  <a:pos x="321" y="0"/>
                </a:cxn>
                <a:cxn ang="0">
                  <a:pos x="286" y="3"/>
                </a:cxn>
                <a:cxn ang="0">
                  <a:pos x="250" y="9"/>
                </a:cxn>
                <a:cxn ang="0">
                  <a:pos x="181" y="25"/>
                </a:cxn>
                <a:cxn ang="0">
                  <a:pos x="127" y="43"/>
                </a:cxn>
                <a:cxn ang="0">
                  <a:pos x="100" y="54"/>
                </a:cxn>
                <a:cxn ang="0">
                  <a:pos x="20" y="54"/>
                </a:cxn>
                <a:cxn ang="0">
                  <a:pos x="0" y="54"/>
                </a:cxn>
                <a:cxn ang="0">
                  <a:pos x="0" y="63"/>
                </a:cxn>
              </a:cxnLst>
              <a:rect l="0" t="0" r="r" b="b"/>
              <a:pathLst>
                <a:path w="642" h="63">
                  <a:moveTo>
                    <a:pt x="0" y="63"/>
                  </a:moveTo>
                  <a:lnTo>
                    <a:pt x="20" y="63"/>
                  </a:lnTo>
                  <a:lnTo>
                    <a:pt x="34" y="63"/>
                  </a:lnTo>
                  <a:lnTo>
                    <a:pt x="42" y="63"/>
                  </a:lnTo>
                  <a:lnTo>
                    <a:pt x="50" y="63"/>
                  </a:lnTo>
                  <a:lnTo>
                    <a:pt x="57" y="63"/>
                  </a:lnTo>
                  <a:lnTo>
                    <a:pt x="64" y="63"/>
                  </a:lnTo>
                  <a:lnTo>
                    <a:pt x="73" y="63"/>
                  </a:lnTo>
                  <a:lnTo>
                    <a:pt x="95" y="63"/>
                  </a:lnTo>
                  <a:lnTo>
                    <a:pt x="103" y="63"/>
                  </a:lnTo>
                  <a:lnTo>
                    <a:pt x="133" y="51"/>
                  </a:lnTo>
                  <a:lnTo>
                    <a:pt x="140" y="48"/>
                  </a:lnTo>
                  <a:lnTo>
                    <a:pt x="166" y="39"/>
                  </a:lnTo>
                  <a:lnTo>
                    <a:pt x="174" y="36"/>
                  </a:lnTo>
                  <a:lnTo>
                    <a:pt x="177" y="36"/>
                  </a:lnTo>
                  <a:lnTo>
                    <a:pt x="205" y="28"/>
                  </a:lnTo>
                  <a:lnTo>
                    <a:pt x="212" y="25"/>
                  </a:lnTo>
                  <a:lnTo>
                    <a:pt x="242" y="18"/>
                  </a:lnTo>
                  <a:lnTo>
                    <a:pt x="250" y="17"/>
                  </a:lnTo>
                  <a:lnTo>
                    <a:pt x="280" y="12"/>
                  </a:lnTo>
                  <a:lnTo>
                    <a:pt x="288" y="11"/>
                  </a:lnTo>
                  <a:lnTo>
                    <a:pt x="318" y="10"/>
                  </a:lnTo>
                  <a:lnTo>
                    <a:pt x="321" y="10"/>
                  </a:lnTo>
                  <a:lnTo>
                    <a:pt x="325" y="10"/>
                  </a:lnTo>
                  <a:lnTo>
                    <a:pt x="355" y="11"/>
                  </a:lnTo>
                  <a:lnTo>
                    <a:pt x="363" y="12"/>
                  </a:lnTo>
                  <a:lnTo>
                    <a:pt x="393" y="17"/>
                  </a:lnTo>
                  <a:lnTo>
                    <a:pt x="401" y="19"/>
                  </a:lnTo>
                  <a:lnTo>
                    <a:pt x="431" y="27"/>
                  </a:lnTo>
                  <a:lnTo>
                    <a:pt x="439" y="28"/>
                  </a:lnTo>
                  <a:lnTo>
                    <a:pt x="465" y="36"/>
                  </a:lnTo>
                  <a:lnTo>
                    <a:pt x="469" y="37"/>
                  </a:lnTo>
                  <a:lnTo>
                    <a:pt x="477" y="40"/>
                  </a:lnTo>
                  <a:lnTo>
                    <a:pt x="504" y="48"/>
                  </a:lnTo>
                  <a:lnTo>
                    <a:pt x="511" y="51"/>
                  </a:lnTo>
                  <a:lnTo>
                    <a:pt x="539" y="63"/>
                  </a:lnTo>
                  <a:lnTo>
                    <a:pt x="540" y="63"/>
                  </a:lnTo>
                  <a:lnTo>
                    <a:pt x="541" y="63"/>
                  </a:lnTo>
                  <a:lnTo>
                    <a:pt x="548" y="63"/>
                  </a:lnTo>
                  <a:lnTo>
                    <a:pt x="571" y="63"/>
                  </a:lnTo>
                  <a:lnTo>
                    <a:pt x="578" y="63"/>
                  </a:lnTo>
                  <a:lnTo>
                    <a:pt x="587" y="63"/>
                  </a:lnTo>
                  <a:lnTo>
                    <a:pt x="594" y="63"/>
                  </a:lnTo>
                  <a:lnTo>
                    <a:pt x="601" y="63"/>
                  </a:lnTo>
                  <a:lnTo>
                    <a:pt x="608" y="63"/>
                  </a:lnTo>
                  <a:lnTo>
                    <a:pt x="624" y="63"/>
                  </a:lnTo>
                  <a:lnTo>
                    <a:pt x="642" y="63"/>
                  </a:lnTo>
                  <a:lnTo>
                    <a:pt x="642" y="54"/>
                  </a:lnTo>
                  <a:lnTo>
                    <a:pt x="624" y="54"/>
                  </a:lnTo>
                  <a:lnTo>
                    <a:pt x="542" y="54"/>
                  </a:lnTo>
                  <a:lnTo>
                    <a:pt x="516" y="43"/>
                  </a:lnTo>
                  <a:lnTo>
                    <a:pt x="461" y="25"/>
                  </a:lnTo>
                  <a:lnTo>
                    <a:pt x="393" y="9"/>
                  </a:lnTo>
                  <a:lnTo>
                    <a:pt x="357" y="3"/>
                  </a:lnTo>
                  <a:lnTo>
                    <a:pt x="321" y="0"/>
                  </a:lnTo>
                  <a:lnTo>
                    <a:pt x="286" y="3"/>
                  </a:lnTo>
                  <a:lnTo>
                    <a:pt x="250" y="9"/>
                  </a:lnTo>
                  <a:lnTo>
                    <a:pt x="181" y="25"/>
                  </a:lnTo>
                  <a:lnTo>
                    <a:pt x="127" y="43"/>
                  </a:lnTo>
                  <a:lnTo>
                    <a:pt x="100" y="54"/>
                  </a:lnTo>
                  <a:lnTo>
                    <a:pt x="20" y="54"/>
                  </a:lnTo>
                  <a:lnTo>
                    <a:pt x="0" y="54"/>
                  </a:lnTo>
                  <a:lnTo>
                    <a:pt x="0" y="63"/>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5" name="Freeform 27"/>
            <p:cNvSpPr>
              <a:spLocks noEditPoints="1"/>
            </p:cNvSpPr>
            <p:nvPr userDrawn="1"/>
          </p:nvSpPr>
          <p:spPr bwMode="auto">
            <a:xfrm>
              <a:off x="4826000" y="6278563"/>
              <a:ext cx="995363" cy="190500"/>
            </a:xfrm>
            <a:custGeom>
              <a:avLst/>
              <a:gdLst/>
              <a:ahLst/>
              <a:cxnLst>
                <a:cxn ang="0">
                  <a:pos x="1588" y="177"/>
                </a:cxn>
                <a:cxn ang="0">
                  <a:pos x="1499" y="296"/>
                </a:cxn>
                <a:cxn ang="0">
                  <a:pos x="1388" y="275"/>
                </a:cxn>
                <a:cxn ang="0">
                  <a:pos x="1489" y="275"/>
                </a:cxn>
                <a:cxn ang="0">
                  <a:pos x="1535" y="296"/>
                </a:cxn>
                <a:cxn ang="0">
                  <a:pos x="1191" y="275"/>
                </a:cxn>
                <a:cxn ang="0">
                  <a:pos x="1304" y="275"/>
                </a:cxn>
                <a:cxn ang="0">
                  <a:pos x="964" y="296"/>
                </a:cxn>
                <a:cxn ang="0">
                  <a:pos x="968" y="275"/>
                </a:cxn>
                <a:cxn ang="0">
                  <a:pos x="1051" y="275"/>
                </a:cxn>
                <a:cxn ang="0">
                  <a:pos x="900" y="177"/>
                </a:cxn>
                <a:cxn ang="0">
                  <a:pos x="786" y="296"/>
                </a:cxn>
                <a:cxn ang="0">
                  <a:pos x="2716" y="18"/>
                </a:cxn>
                <a:cxn ang="0">
                  <a:pos x="2681" y="6"/>
                </a:cxn>
                <a:cxn ang="0">
                  <a:pos x="2574" y="12"/>
                </a:cxn>
                <a:cxn ang="0">
                  <a:pos x="2515" y="103"/>
                </a:cxn>
                <a:cxn ang="0">
                  <a:pos x="2467" y="48"/>
                </a:cxn>
                <a:cxn ang="0">
                  <a:pos x="2402" y="149"/>
                </a:cxn>
                <a:cxn ang="0">
                  <a:pos x="2372" y="238"/>
                </a:cxn>
                <a:cxn ang="0">
                  <a:pos x="2319" y="131"/>
                </a:cxn>
                <a:cxn ang="0">
                  <a:pos x="2295" y="119"/>
                </a:cxn>
                <a:cxn ang="0">
                  <a:pos x="2254" y="155"/>
                </a:cxn>
                <a:cxn ang="0">
                  <a:pos x="2218" y="196"/>
                </a:cxn>
                <a:cxn ang="0">
                  <a:pos x="2183" y="208"/>
                </a:cxn>
                <a:cxn ang="0">
                  <a:pos x="2129" y="196"/>
                </a:cxn>
                <a:cxn ang="0">
                  <a:pos x="2058" y="296"/>
                </a:cxn>
                <a:cxn ang="0">
                  <a:pos x="2027" y="255"/>
                </a:cxn>
                <a:cxn ang="0">
                  <a:pos x="2005" y="220"/>
                </a:cxn>
                <a:cxn ang="0">
                  <a:pos x="1921" y="255"/>
                </a:cxn>
                <a:cxn ang="0">
                  <a:pos x="1701" y="260"/>
                </a:cxn>
                <a:cxn ang="0">
                  <a:pos x="1618" y="155"/>
                </a:cxn>
                <a:cxn ang="0">
                  <a:pos x="1535" y="216"/>
                </a:cxn>
                <a:cxn ang="0">
                  <a:pos x="1519" y="225"/>
                </a:cxn>
                <a:cxn ang="0">
                  <a:pos x="1498" y="260"/>
                </a:cxn>
                <a:cxn ang="0">
                  <a:pos x="1459" y="225"/>
                </a:cxn>
                <a:cxn ang="0">
                  <a:pos x="1415" y="260"/>
                </a:cxn>
                <a:cxn ang="0">
                  <a:pos x="1350" y="190"/>
                </a:cxn>
                <a:cxn ang="0">
                  <a:pos x="1304" y="260"/>
                </a:cxn>
                <a:cxn ang="0">
                  <a:pos x="1236" y="172"/>
                </a:cxn>
                <a:cxn ang="0">
                  <a:pos x="1191" y="174"/>
                </a:cxn>
                <a:cxn ang="0">
                  <a:pos x="1123" y="260"/>
                </a:cxn>
                <a:cxn ang="0">
                  <a:pos x="1077" y="201"/>
                </a:cxn>
                <a:cxn ang="0">
                  <a:pos x="1014" y="260"/>
                </a:cxn>
                <a:cxn ang="0">
                  <a:pos x="975" y="225"/>
                </a:cxn>
                <a:cxn ang="0">
                  <a:pos x="953" y="260"/>
                </a:cxn>
                <a:cxn ang="0">
                  <a:pos x="911" y="225"/>
                </a:cxn>
                <a:cxn ang="0">
                  <a:pos x="931" y="162"/>
                </a:cxn>
                <a:cxn ang="0">
                  <a:pos x="847" y="177"/>
                </a:cxn>
                <a:cxn ang="0">
                  <a:pos x="632" y="255"/>
                </a:cxn>
                <a:cxn ang="0">
                  <a:pos x="549" y="296"/>
                </a:cxn>
                <a:cxn ang="0">
                  <a:pos x="508" y="304"/>
                </a:cxn>
                <a:cxn ang="0">
                  <a:pos x="484" y="179"/>
                </a:cxn>
                <a:cxn ang="0">
                  <a:pos x="460" y="215"/>
                </a:cxn>
                <a:cxn ang="0">
                  <a:pos x="389" y="126"/>
                </a:cxn>
                <a:cxn ang="0">
                  <a:pos x="318" y="296"/>
                </a:cxn>
                <a:cxn ang="0">
                  <a:pos x="259" y="18"/>
                </a:cxn>
                <a:cxn ang="0">
                  <a:pos x="174" y="113"/>
                </a:cxn>
                <a:cxn ang="0">
                  <a:pos x="97" y="214"/>
                </a:cxn>
                <a:cxn ang="0">
                  <a:pos x="26" y="296"/>
                </a:cxn>
                <a:cxn ang="0">
                  <a:pos x="2348" y="603"/>
                </a:cxn>
              </a:cxnLst>
              <a:rect l="0" t="0" r="r" b="b"/>
              <a:pathLst>
                <a:path w="3132" h="603">
                  <a:moveTo>
                    <a:pt x="1701" y="296"/>
                  </a:moveTo>
                  <a:lnTo>
                    <a:pt x="1618" y="296"/>
                  </a:lnTo>
                  <a:lnTo>
                    <a:pt x="1618" y="275"/>
                  </a:lnTo>
                  <a:lnTo>
                    <a:pt x="1701" y="275"/>
                  </a:lnTo>
                  <a:lnTo>
                    <a:pt x="1701" y="296"/>
                  </a:lnTo>
                  <a:close/>
                  <a:moveTo>
                    <a:pt x="1588" y="177"/>
                  </a:moveTo>
                  <a:lnTo>
                    <a:pt x="1565" y="177"/>
                  </a:lnTo>
                  <a:lnTo>
                    <a:pt x="1565" y="162"/>
                  </a:lnTo>
                  <a:lnTo>
                    <a:pt x="1588" y="162"/>
                  </a:lnTo>
                  <a:lnTo>
                    <a:pt x="1588" y="177"/>
                  </a:lnTo>
                  <a:close/>
                  <a:moveTo>
                    <a:pt x="1535" y="296"/>
                  </a:moveTo>
                  <a:lnTo>
                    <a:pt x="1499" y="296"/>
                  </a:lnTo>
                  <a:lnTo>
                    <a:pt x="1440" y="355"/>
                  </a:lnTo>
                  <a:lnTo>
                    <a:pt x="1345" y="355"/>
                  </a:lnTo>
                  <a:lnTo>
                    <a:pt x="1345" y="275"/>
                  </a:lnTo>
                  <a:lnTo>
                    <a:pt x="1350" y="275"/>
                  </a:lnTo>
                  <a:lnTo>
                    <a:pt x="1380" y="275"/>
                  </a:lnTo>
                  <a:lnTo>
                    <a:pt x="1388" y="275"/>
                  </a:lnTo>
                  <a:lnTo>
                    <a:pt x="1415" y="275"/>
                  </a:lnTo>
                  <a:lnTo>
                    <a:pt x="1422" y="275"/>
                  </a:lnTo>
                  <a:lnTo>
                    <a:pt x="1452" y="275"/>
                  </a:lnTo>
                  <a:lnTo>
                    <a:pt x="1459" y="275"/>
                  </a:lnTo>
                  <a:lnTo>
                    <a:pt x="1482" y="275"/>
                  </a:lnTo>
                  <a:lnTo>
                    <a:pt x="1489" y="275"/>
                  </a:lnTo>
                  <a:lnTo>
                    <a:pt x="1498" y="275"/>
                  </a:lnTo>
                  <a:lnTo>
                    <a:pt x="1505" y="275"/>
                  </a:lnTo>
                  <a:lnTo>
                    <a:pt x="1512" y="275"/>
                  </a:lnTo>
                  <a:lnTo>
                    <a:pt x="1519" y="275"/>
                  </a:lnTo>
                  <a:lnTo>
                    <a:pt x="1535" y="275"/>
                  </a:lnTo>
                  <a:lnTo>
                    <a:pt x="1535" y="296"/>
                  </a:lnTo>
                  <a:close/>
                  <a:moveTo>
                    <a:pt x="1321" y="355"/>
                  </a:moveTo>
                  <a:lnTo>
                    <a:pt x="1142" y="355"/>
                  </a:lnTo>
                  <a:lnTo>
                    <a:pt x="1142" y="275"/>
                  </a:lnTo>
                  <a:lnTo>
                    <a:pt x="1153" y="275"/>
                  </a:lnTo>
                  <a:lnTo>
                    <a:pt x="1161" y="275"/>
                  </a:lnTo>
                  <a:lnTo>
                    <a:pt x="1191" y="275"/>
                  </a:lnTo>
                  <a:lnTo>
                    <a:pt x="1199" y="275"/>
                  </a:lnTo>
                  <a:lnTo>
                    <a:pt x="1229" y="275"/>
                  </a:lnTo>
                  <a:lnTo>
                    <a:pt x="1236" y="275"/>
                  </a:lnTo>
                  <a:lnTo>
                    <a:pt x="1266" y="275"/>
                  </a:lnTo>
                  <a:lnTo>
                    <a:pt x="1274" y="275"/>
                  </a:lnTo>
                  <a:lnTo>
                    <a:pt x="1304" y="275"/>
                  </a:lnTo>
                  <a:lnTo>
                    <a:pt x="1312" y="275"/>
                  </a:lnTo>
                  <a:lnTo>
                    <a:pt x="1321" y="275"/>
                  </a:lnTo>
                  <a:lnTo>
                    <a:pt x="1321" y="355"/>
                  </a:lnTo>
                  <a:close/>
                  <a:moveTo>
                    <a:pt x="1120" y="355"/>
                  </a:moveTo>
                  <a:lnTo>
                    <a:pt x="1024" y="355"/>
                  </a:lnTo>
                  <a:lnTo>
                    <a:pt x="964" y="296"/>
                  </a:lnTo>
                  <a:lnTo>
                    <a:pt x="931" y="296"/>
                  </a:lnTo>
                  <a:lnTo>
                    <a:pt x="931" y="275"/>
                  </a:lnTo>
                  <a:lnTo>
                    <a:pt x="945" y="275"/>
                  </a:lnTo>
                  <a:lnTo>
                    <a:pt x="953" y="275"/>
                  </a:lnTo>
                  <a:lnTo>
                    <a:pt x="961" y="275"/>
                  </a:lnTo>
                  <a:lnTo>
                    <a:pt x="968" y="275"/>
                  </a:lnTo>
                  <a:lnTo>
                    <a:pt x="975" y="275"/>
                  </a:lnTo>
                  <a:lnTo>
                    <a:pt x="984" y="275"/>
                  </a:lnTo>
                  <a:lnTo>
                    <a:pt x="1006" y="275"/>
                  </a:lnTo>
                  <a:lnTo>
                    <a:pt x="1014" y="275"/>
                  </a:lnTo>
                  <a:lnTo>
                    <a:pt x="1044" y="275"/>
                  </a:lnTo>
                  <a:lnTo>
                    <a:pt x="1051" y="275"/>
                  </a:lnTo>
                  <a:lnTo>
                    <a:pt x="1077" y="275"/>
                  </a:lnTo>
                  <a:lnTo>
                    <a:pt x="1085" y="275"/>
                  </a:lnTo>
                  <a:lnTo>
                    <a:pt x="1116" y="275"/>
                  </a:lnTo>
                  <a:lnTo>
                    <a:pt x="1120" y="275"/>
                  </a:lnTo>
                  <a:lnTo>
                    <a:pt x="1120" y="355"/>
                  </a:lnTo>
                  <a:close/>
                  <a:moveTo>
                    <a:pt x="900" y="177"/>
                  </a:moveTo>
                  <a:lnTo>
                    <a:pt x="878" y="177"/>
                  </a:lnTo>
                  <a:lnTo>
                    <a:pt x="878" y="162"/>
                  </a:lnTo>
                  <a:lnTo>
                    <a:pt x="900" y="162"/>
                  </a:lnTo>
                  <a:lnTo>
                    <a:pt x="900" y="177"/>
                  </a:lnTo>
                  <a:close/>
                  <a:moveTo>
                    <a:pt x="847" y="296"/>
                  </a:moveTo>
                  <a:lnTo>
                    <a:pt x="786" y="296"/>
                  </a:lnTo>
                  <a:lnTo>
                    <a:pt x="786" y="275"/>
                  </a:lnTo>
                  <a:lnTo>
                    <a:pt x="847" y="275"/>
                  </a:lnTo>
                  <a:lnTo>
                    <a:pt x="847" y="296"/>
                  </a:lnTo>
                  <a:close/>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6" name="Rectangle 28"/>
            <p:cNvSpPr>
              <a:spLocks noChangeArrowheads="1"/>
            </p:cNvSpPr>
            <p:nvPr userDrawn="1"/>
          </p:nvSpPr>
          <p:spPr bwMode="auto">
            <a:xfrm>
              <a:off x="5340350" y="6365876"/>
              <a:ext cx="2698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7" name="Rectangle 29"/>
            <p:cNvSpPr>
              <a:spLocks noChangeArrowheads="1"/>
            </p:cNvSpPr>
            <p:nvPr userDrawn="1"/>
          </p:nvSpPr>
          <p:spPr bwMode="auto">
            <a:xfrm>
              <a:off x="5322888" y="6329363"/>
              <a:ext cx="7938"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8" name="Freeform 30"/>
            <p:cNvSpPr>
              <a:spLocks/>
            </p:cNvSpPr>
            <p:nvPr userDrawn="1"/>
          </p:nvSpPr>
          <p:spPr bwMode="auto">
            <a:xfrm>
              <a:off x="5253038" y="6365876"/>
              <a:ext cx="60325" cy="25400"/>
            </a:xfrm>
            <a:custGeom>
              <a:avLst/>
              <a:gdLst/>
              <a:ahLst/>
              <a:cxnLst>
                <a:cxn ang="0">
                  <a:pos x="190" y="21"/>
                </a:cxn>
                <a:cxn ang="0">
                  <a:pos x="154" y="21"/>
                </a:cxn>
                <a:cxn ang="0">
                  <a:pos x="95" y="80"/>
                </a:cxn>
                <a:cxn ang="0">
                  <a:pos x="0" y="80"/>
                </a:cxn>
                <a:cxn ang="0">
                  <a:pos x="0" y="0"/>
                </a:cxn>
                <a:cxn ang="0">
                  <a:pos x="5" y="0"/>
                </a:cxn>
                <a:cxn ang="0">
                  <a:pos x="35" y="0"/>
                </a:cxn>
                <a:cxn ang="0">
                  <a:pos x="43" y="0"/>
                </a:cxn>
                <a:cxn ang="0">
                  <a:pos x="70" y="0"/>
                </a:cxn>
                <a:cxn ang="0">
                  <a:pos x="77" y="0"/>
                </a:cxn>
                <a:cxn ang="0">
                  <a:pos x="107" y="0"/>
                </a:cxn>
                <a:cxn ang="0">
                  <a:pos x="114" y="0"/>
                </a:cxn>
                <a:cxn ang="0">
                  <a:pos x="137" y="0"/>
                </a:cxn>
                <a:cxn ang="0">
                  <a:pos x="144" y="0"/>
                </a:cxn>
                <a:cxn ang="0">
                  <a:pos x="153" y="0"/>
                </a:cxn>
                <a:cxn ang="0">
                  <a:pos x="160" y="0"/>
                </a:cxn>
                <a:cxn ang="0">
                  <a:pos x="167" y="0"/>
                </a:cxn>
                <a:cxn ang="0">
                  <a:pos x="174" y="0"/>
                </a:cxn>
                <a:cxn ang="0">
                  <a:pos x="190" y="0"/>
                </a:cxn>
                <a:cxn ang="0">
                  <a:pos x="190" y="21"/>
                </a:cxn>
              </a:cxnLst>
              <a:rect l="0" t="0" r="r" b="b"/>
              <a:pathLst>
                <a:path w="190" h="80">
                  <a:moveTo>
                    <a:pt x="190" y="21"/>
                  </a:moveTo>
                  <a:lnTo>
                    <a:pt x="154" y="21"/>
                  </a:lnTo>
                  <a:lnTo>
                    <a:pt x="95" y="80"/>
                  </a:lnTo>
                  <a:lnTo>
                    <a:pt x="0" y="80"/>
                  </a:lnTo>
                  <a:lnTo>
                    <a:pt x="0" y="0"/>
                  </a:lnTo>
                  <a:lnTo>
                    <a:pt x="5" y="0"/>
                  </a:lnTo>
                  <a:lnTo>
                    <a:pt x="35" y="0"/>
                  </a:lnTo>
                  <a:lnTo>
                    <a:pt x="43" y="0"/>
                  </a:lnTo>
                  <a:lnTo>
                    <a:pt x="70" y="0"/>
                  </a:lnTo>
                  <a:lnTo>
                    <a:pt x="77" y="0"/>
                  </a:lnTo>
                  <a:lnTo>
                    <a:pt x="107" y="0"/>
                  </a:lnTo>
                  <a:lnTo>
                    <a:pt x="114" y="0"/>
                  </a:lnTo>
                  <a:lnTo>
                    <a:pt x="137" y="0"/>
                  </a:lnTo>
                  <a:lnTo>
                    <a:pt x="144" y="0"/>
                  </a:lnTo>
                  <a:lnTo>
                    <a:pt x="153" y="0"/>
                  </a:lnTo>
                  <a:lnTo>
                    <a:pt x="160" y="0"/>
                  </a:lnTo>
                  <a:lnTo>
                    <a:pt x="167" y="0"/>
                  </a:lnTo>
                  <a:lnTo>
                    <a:pt x="174" y="0"/>
                  </a:lnTo>
                  <a:lnTo>
                    <a:pt x="190" y="0"/>
                  </a:lnTo>
                  <a:lnTo>
                    <a:pt x="190" y="21"/>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9" name="Freeform 31"/>
            <p:cNvSpPr>
              <a:spLocks/>
            </p:cNvSpPr>
            <p:nvPr userDrawn="1"/>
          </p:nvSpPr>
          <p:spPr bwMode="auto">
            <a:xfrm>
              <a:off x="5189538" y="6365876"/>
              <a:ext cx="57150" cy="25400"/>
            </a:xfrm>
            <a:custGeom>
              <a:avLst/>
              <a:gdLst/>
              <a:ahLst/>
              <a:cxnLst>
                <a:cxn ang="0">
                  <a:pos x="179" y="80"/>
                </a:cxn>
                <a:cxn ang="0">
                  <a:pos x="0" y="80"/>
                </a:cxn>
                <a:cxn ang="0">
                  <a:pos x="0" y="0"/>
                </a:cxn>
                <a:cxn ang="0">
                  <a:pos x="11" y="0"/>
                </a:cxn>
                <a:cxn ang="0">
                  <a:pos x="19" y="0"/>
                </a:cxn>
                <a:cxn ang="0">
                  <a:pos x="49" y="0"/>
                </a:cxn>
                <a:cxn ang="0">
                  <a:pos x="57" y="0"/>
                </a:cxn>
                <a:cxn ang="0">
                  <a:pos x="87" y="0"/>
                </a:cxn>
                <a:cxn ang="0">
                  <a:pos x="94" y="0"/>
                </a:cxn>
                <a:cxn ang="0">
                  <a:pos x="124" y="0"/>
                </a:cxn>
                <a:cxn ang="0">
                  <a:pos x="132" y="0"/>
                </a:cxn>
                <a:cxn ang="0">
                  <a:pos x="162" y="0"/>
                </a:cxn>
                <a:cxn ang="0">
                  <a:pos x="170" y="0"/>
                </a:cxn>
                <a:cxn ang="0">
                  <a:pos x="179" y="0"/>
                </a:cxn>
                <a:cxn ang="0">
                  <a:pos x="179" y="80"/>
                </a:cxn>
              </a:cxnLst>
              <a:rect l="0" t="0" r="r" b="b"/>
              <a:pathLst>
                <a:path w="179" h="80">
                  <a:moveTo>
                    <a:pt x="179" y="80"/>
                  </a:moveTo>
                  <a:lnTo>
                    <a:pt x="0" y="80"/>
                  </a:lnTo>
                  <a:lnTo>
                    <a:pt x="0" y="0"/>
                  </a:lnTo>
                  <a:lnTo>
                    <a:pt x="11" y="0"/>
                  </a:lnTo>
                  <a:lnTo>
                    <a:pt x="19" y="0"/>
                  </a:lnTo>
                  <a:lnTo>
                    <a:pt x="49" y="0"/>
                  </a:lnTo>
                  <a:lnTo>
                    <a:pt x="57" y="0"/>
                  </a:lnTo>
                  <a:lnTo>
                    <a:pt x="87" y="0"/>
                  </a:lnTo>
                  <a:lnTo>
                    <a:pt x="94" y="0"/>
                  </a:lnTo>
                  <a:lnTo>
                    <a:pt x="124" y="0"/>
                  </a:lnTo>
                  <a:lnTo>
                    <a:pt x="132" y="0"/>
                  </a:lnTo>
                  <a:lnTo>
                    <a:pt x="162" y="0"/>
                  </a:lnTo>
                  <a:lnTo>
                    <a:pt x="170" y="0"/>
                  </a:lnTo>
                  <a:lnTo>
                    <a:pt x="179" y="0"/>
                  </a:lnTo>
                  <a:lnTo>
                    <a:pt x="17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0" name="Freeform 32"/>
            <p:cNvSpPr>
              <a:spLocks/>
            </p:cNvSpPr>
            <p:nvPr userDrawn="1"/>
          </p:nvSpPr>
          <p:spPr bwMode="auto">
            <a:xfrm>
              <a:off x="5122863" y="6365876"/>
              <a:ext cx="58738" cy="25400"/>
            </a:xfrm>
            <a:custGeom>
              <a:avLst/>
              <a:gdLst/>
              <a:ahLst/>
              <a:cxnLst>
                <a:cxn ang="0">
                  <a:pos x="189" y="80"/>
                </a:cxn>
                <a:cxn ang="0">
                  <a:pos x="93" y="80"/>
                </a:cxn>
                <a:cxn ang="0">
                  <a:pos x="33" y="21"/>
                </a:cxn>
                <a:cxn ang="0">
                  <a:pos x="0" y="21"/>
                </a:cxn>
                <a:cxn ang="0">
                  <a:pos x="0" y="0"/>
                </a:cxn>
                <a:cxn ang="0">
                  <a:pos x="14" y="0"/>
                </a:cxn>
                <a:cxn ang="0">
                  <a:pos x="22" y="0"/>
                </a:cxn>
                <a:cxn ang="0">
                  <a:pos x="30" y="0"/>
                </a:cxn>
                <a:cxn ang="0">
                  <a:pos x="37" y="0"/>
                </a:cxn>
                <a:cxn ang="0">
                  <a:pos x="44" y="0"/>
                </a:cxn>
                <a:cxn ang="0">
                  <a:pos x="53" y="0"/>
                </a:cxn>
                <a:cxn ang="0">
                  <a:pos x="75" y="0"/>
                </a:cxn>
                <a:cxn ang="0">
                  <a:pos x="83" y="0"/>
                </a:cxn>
                <a:cxn ang="0">
                  <a:pos x="113" y="0"/>
                </a:cxn>
                <a:cxn ang="0">
                  <a:pos x="120" y="0"/>
                </a:cxn>
                <a:cxn ang="0">
                  <a:pos x="146" y="0"/>
                </a:cxn>
                <a:cxn ang="0">
                  <a:pos x="154" y="0"/>
                </a:cxn>
                <a:cxn ang="0">
                  <a:pos x="185" y="0"/>
                </a:cxn>
                <a:cxn ang="0">
                  <a:pos x="189" y="0"/>
                </a:cxn>
                <a:cxn ang="0">
                  <a:pos x="189" y="80"/>
                </a:cxn>
              </a:cxnLst>
              <a:rect l="0" t="0" r="r" b="b"/>
              <a:pathLst>
                <a:path w="189" h="80">
                  <a:moveTo>
                    <a:pt x="189" y="80"/>
                  </a:moveTo>
                  <a:lnTo>
                    <a:pt x="93" y="80"/>
                  </a:lnTo>
                  <a:lnTo>
                    <a:pt x="33" y="21"/>
                  </a:lnTo>
                  <a:lnTo>
                    <a:pt x="0" y="21"/>
                  </a:lnTo>
                  <a:lnTo>
                    <a:pt x="0" y="0"/>
                  </a:lnTo>
                  <a:lnTo>
                    <a:pt x="14" y="0"/>
                  </a:lnTo>
                  <a:lnTo>
                    <a:pt x="22" y="0"/>
                  </a:lnTo>
                  <a:lnTo>
                    <a:pt x="30" y="0"/>
                  </a:lnTo>
                  <a:lnTo>
                    <a:pt x="37" y="0"/>
                  </a:lnTo>
                  <a:lnTo>
                    <a:pt x="44" y="0"/>
                  </a:lnTo>
                  <a:lnTo>
                    <a:pt x="53" y="0"/>
                  </a:lnTo>
                  <a:lnTo>
                    <a:pt x="75" y="0"/>
                  </a:lnTo>
                  <a:lnTo>
                    <a:pt x="83" y="0"/>
                  </a:lnTo>
                  <a:lnTo>
                    <a:pt x="113" y="0"/>
                  </a:lnTo>
                  <a:lnTo>
                    <a:pt x="120" y="0"/>
                  </a:lnTo>
                  <a:lnTo>
                    <a:pt x="146" y="0"/>
                  </a:lnTo>
                  <a:lnTo>
                    <a:pt x="154" y="0"/>
                  </a:lnTo>
                  <a:lnTo>
                    <a:pt x="185" y="0"/>
                  </a:lnTo>
                  <a:lnTo>
                    <a:pt x="189" y="0"/>
                  </a:lnTo>
                  <a:lnTo>
                    <a:pt x="18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1" name="Rectangle 33"/>
            <p:cNvSpPr>
              <a:spLocks noChangeArrowheads="1"/>
            </p:cNvSpPr>
            <p:nvPr userDrawn="1"/>
          </p:nvSpPr>
          <p:spPr bwMode="auto">
            <a:xfrm>
              <a:off x="5105400" y="6329363"/>
              <a:ext cx="6350"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2" name="Rectangle 34"/>
            <p:cNvSpPr>
              <a:spLocks noChangeArrowheads="1"/>
            </p:cNvSpPr>
            <p:nvPr userDrawn="1"/>
          </p:nvSpPr>
          <p:spPr bwMode="auto">
            <a:xfrm>
              <a:off x="5076825" y="6365876"/>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3" name="Freeform 35"/>
            <p:cNvSpPr>
              <a:spLocks/>
            </p:cNvSpPr>
            <p:nvPr userDrawn="1"/>
          </p:nvSpPr>
          <p:spPr bwMode="auto">
            <a:xfrm>
              <a:off x="4826000" y="6278563"/>
              <a:ext cx="995363" cy="190500"/>
            </a:xfrm>
            <a:custGeom>
              <a:avLst/>
              <a:gdLst/>
              <a:ahLst/>
              <a:cxnLst>
                <a:cxn ang="0">
                  <a:pos x="2705" y="6"/>
                </a:cxn>
                <a:cxn ang="0">
                  <a:pos x="2681" y="18"/>
                </a:cxn>
                <a:cxn ang="0">
                  <a:pos x="2574" y="12"/>
                </a:cxn>
                <a:cxn ang="0">
                  <a:pos x="2533" y="94"/>
                </a:cxn>
                <a:cxn ang="0">
                  <a:pos x="2479" y="54"/>
                </a:cxn>
                <a:cxn ang="0">
                  <a:pos x="2467" y="208"/>
                </a:cxn>
                <a:cxn ang="0">
                  <a:pos x="2390" y="238"/>
                </a:cxn>
                <a:cxn ang="0">
                  <a:pos x="2372" y="214"/>
                </a:cxn>
                <a:cxn ang="0">
                  <a:pos x="2319" y="131"/>
                </a:cxn>
                <a:cxn ang="0">
                  <a:pos x="2295" y="77"/>
                </a:cxn>
                <a:cxn ang="0">
                  <a:pos x="2260" y="119"/>
                </a:cxn>
                <a:cxn ang="0">
                  <a:pos x="2224" y="149"/>
                </a:cxn>
                <a:cxn ang="0">
                  <a:pos x="2206" y="255"/>
                </a:cxn>
                <a:cxn ang="0">
                  <a:pos x="2171" y="208"/>
                </a:cxn>
                <a:cxn ang="0">
                  <a:pos x="2129" y="196"/>
                </a:cxn>
                <a:cxn ang="0">
                  <a:pos x="2058" y="220"/>
                </a:cxn>
                <a:cxn ang="0">
                  <a:pos x="2039" y="220"/>
                </a:cxn>
                <a:cxn ang="0">
                  <a:pos x="2011" y="220"/>
                </a:cxn>
                <a:cxn ang="0">
                  <a:pos x="1993" y="255"/>
                </a:cxn>
                <a:cxn ang="0">
                  <a:pos x="1909" y="255"/>
                </a:cxn>
                <a:cxn ang="0">
                  <a:pos x="1701" y="260"/>
                </a:cxn>
                <a:cxn ang="0">
                  <a:pos x="1618" y="162"/>
                </a:cxn>
                <a:cxn ang="0">
                  <a:pos x="1542" y="177"/>
                </a:cxn>
                <a:cxn ang="0">
                  <a:pos x="1535" y="225"/>
                </a:cxn>
                <a:cxn ang="0">
                  <a:pos x="1512" y="260"/>
                </a:cxn>
                <a:cxn ang="0">
                  <a:pos x="1489" y="260"/>
                </a:cxn>
                <a:cxn ang="0">
                  <a:pos x="1459" y="225"/>
                </a:cxn>
                <a:cxn ang="0">
                  <a:pos x="1415" y="210"/>
                </a:cxn>
                <a:cxn ang="0">
                  <a:pos x="1380" y="260"/>
                </a:cxn>
                <a:cxn ang="0">
                  <a:pos x="1312" y="260"/>
                </a:cxn>
                <a:cxn ang="0">
                  <a:pos x="1274" y="174"/>
                </a:cxn>
                <a:cxn ang="0">
                  <a:pos x="1232" y="172"/>
                </a:cxn>
                <a:cxn ang="0">
                  <a:pos x="1191" y="174"/>
                </a:cxn>
                <a:cxn ang="0">
                  <a:pos x="1153" y="260"/>
                </a:cxn>
                <a:cxn ang="0">
                  <a:pos x="1085" y="260"/>
                </a:cxn>
                <a:cxn ang="0">
                  <a:pos x="1051" y="210"/>
                </a:cxn>
                <a:cxn ang="0">
                  <a:pos x="1006" y="225"/>
                </a:cxn>
                <a:cxn ang="0">
                  <a:pos x="975" y="260"/>
                </a:cxn>
                <a:cxn ang="0">
                  <a:pos x="953" y="260"/>
                </a:cxn>
                <a:cxn ang="0">
                  <a:pos x="931" y="225"/>
                </a:cxn>
                <a:cxn ang="0">
                  <a:pos x="922" y="177"/>
                </a:cxn>
                <a:cxn ang="0">
                  <a:pos x="847" y="162"/>
                </a:cxn>
                <a:cxn ang="0">
                  <a:pos x="786" y="260"/>
                </a:cxn>
                <a:cxn ang="0">
                  <a:pos x="632" y="296"/>
                </a:cxn>
                <a:cxn ang="0">
                  <a:pos x="549" y="296"/>
                </a:cxn>
                <a:cxn ang="0">
                  <a:pos x="520" y="304"/>
                </a:cxn>
                <a:cxn ang="0">
                  <a:pos x="496" y="215"/>
                </a:cxn>
                <a:cxn ang="0">
                  <a:pos x="478" y="179"/>
                </a:cxn>
                <a:cxn ang="0">
                  <a:pos x="454" y="280"/>
                </a:cxn>
                <a:cxn ang="0">
                  <a:pos x="389" y="102"/>
                </a:cxn>
                <a:cxn ang="0">
                  <a:pos x="318" y="296"/>
                </a:cxn>
                <a:cxn ang="0">
                  <a:pos x="259" y="113"/>
                </a:cxn>
                <a:cxn ang="0">
                  <a:pos x="193" y="214"/>
                </a:cxn>
                <a:cxn ang="0">
                  <a:pos x="109" y="77"/>
                </a:cxn>
                <a:cxn ang="0">
                  <a:pos x="75" y="296"/>
                </a:cxn>
                <a:cxn ang="0">
                  <a:pos x="14" y="296"/>
                </a:cxn>
                <a:cxn ang="0">
                  <a:pos x="2348" y="603"/>
                </a:cxn>
              </a:cxnLst>
              <a:rect l="0" t="0" r="r" b="b"/>
              <a:pathLst>
                <a:path w="3132" h="603">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4" name="Freeform 36"/>
            <p:cNvSpPr>
              <a:spLocks noEditPoints="1"/>
            </p:cNvSpPr>
            <p:nvPr userDrawn="1"/>
          </p:nvSpPr>
          <p:spPr bwMode="auto">
            <a:xfrm>
              <a:off x="4457700" y="6338888"/>
              <a:ext cx="396875" cy="88900"/>
            </a:xfrm>
            <a:custGeom>
              <a:avLst/>
              <a:gdLst/>
              <a:ahLst/>
              <a:cxnLst>
                <a:cxn ang="0">
                  <a:pos x="1054" y="119"/>
                </a:cxn>
                <a:cxn ang="0">
                  <a:pos x="967" y="119"/>
                </a:cxn>
                <a:cxn ang="0">
                  <a:pos x="949" y="150"/>
                </a:cxn>
                <a:cxn ang="0">
                  <a:pos x="902" y="130"/>
                </a:cxn>
                <a:cxn ang="0">
                  <a:pos x="871" y="120"/>
                </a:cxn>
                <a:cxn ang="0">
                  <a:pos x="849" y="99"/>
                </a:cxn>
                <a:cxn ang="0">
                  <a:pos x="812" y="87"/>
                </a:cxn>
                <a:cxn ang="0">
                  <a:pos x="782" y="87"/>
                </a:cxn>
                <a:cxn ang="0">
                  <a:pos x="744" y="99"/>
                </a:cxn>
                <a:cxn ang="0">
                  <a:pos x="727" y="112"/>
                </a:cxn>
                <a:cxn ang="0">
                  <a:pos x="720" y="130"/>
                </a:cxn>
                <a:cxn ang="0">
                  <a:pos x="703" y="41"/>
                </a:cxn>
                <a:cxn ang="0">
                  <a:pos x="691" y="0"/>
                </a:cxn>
                <a:cxn ang="0">
                  <a:pos x="662" y="41"/>
                </a:cxn>
                <a:cxn ang="0">
                  <a:pos x="621" y="130"/>
                </a:cxn>
                <a:cxn ang="0">
                  <a:pos x="571" y="137"/>
                </a:cxn>
                <a:cxn ang="0">
                  <a:pos x="544" y="185"/>
                </a:cxn>
                <a:cxn ang="0">
                  <a:pos x="522" y="154"/>
                </a:cxn>
                <a:cxn ang="0">
                  <a:pos x="503" y="106"/>
                </a:cxn>
                <a:cxn ang="0">
                  <a:pos x="487" y="93"/>
                </a:cxn>
                <a:cxn ang="0">
                  <a:pos x="446" y="106"/>
                </a:cxn>
                <a:cxn ang="0">
                  <a:pos x="428" y="154"/>
                </a:cxn>
                <a:cxn ang="0">
                  <a:pos x="416" y="106"/>
                </a:cxn>
                <a:cxn ang="0">
                  <a:pos x="378" y="72"/>
                </a:cxn>
                <a:cxn ang="0">
                  <a:pos x="348" y="106"/>
                </a:cxn>
                <a:cxn ang="0">
                  <a:pos x="340" y="154"/>
                </a:cxn>
                <a:cxn ang="0">
                  <a:pos x="328" y="130"/>
                </a:cxn>
                <a:cxn ang="0">
                  <a:pos x="299" y="154"/>
                </a:cxn>
                <a:cxn ang="0">
                  <a:pos x="287" y="183"/>
                </a:cxn>
                <a:cxn ang="0">
                  <a:pos x="270" y="165"/>
                </a:cxn>
                <a:cxn ang="0">
                  <a:pos x="188" y="183"/>
                </a:cxn>
                <a:cxn ang="0">
                  <a:pos x="164" y="89"/>
                </a:cxn>
                <a:cxn ang="0">
                  <a:pos x="135" y="71"/>
                </a:cxn>
                <a:cxn ang="0">
                  <a:pos x="70" y="89"/>
                </a:cxn>
                <a:cxn ang="0">
                  <a:pos x="53" y="185"/>
                </a:cxn>
                <a:cxn ang="0">
                  <a:pos x="41" y="154"/>
                </a:cxn>
                <a:cxn ang="0">
                  <a:pos x="12" y="185"/>
                </a:cxn>
                <a:cxn ang="0">
                  <a:pos x="0" y="278"/>
                </a:cxn>
                <a:cxn ang="0">
                  <a:pos x="1249" y="278"/>
                </a:cxn>
                <a:cxn ang="0">
                  <a:pos x="1219" y="137"/>
                </a:cxn>
                <a:cxn ang="0">
                  <a:pos x="1201" y="88"/>
                </a:cxn>
                <a:cxn ang="0">
                  <a:pos x="967" y="119"/>
                </a:cxn>
              </a:cxnLst>
              <a:rect l="0" t="0" r="r" b="b"/>
              <a:pathLst>
                <a:path w="1249" h="278">
                  <a:moveTo>
                    <a:pt x="1078" y="119"/>
                  </a:moveTo>
                  <a:lnTo>
                    <a:pt x="1054" y="119"/>
                  </a:lnTo>
                  <a:lnTo>
                    <a:pt x="1078" y="119"/>
                  </a:lnTo>
                  <a:close/>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5" name="Freeform 37"/>
            <p:cNvSpPr>
              <a:spLocks/>
            </p:cNvSpPr>
            <p:nvPr userDrawn="1"/>
          </p:nvSpPr>
          <p:spPr bwMode="auto">
            <a:xfrm>
              <a:off x="4792663" y="6376988"/>
              <a:ext cx="7938" cy="1588"/>
            </a:xfrm>
            <a:custGeom>
              <a:avLst/>
              <a:gdLst/>
              <a:ahLst/>
              <a:cxnLst>
                <a:cxn ang="0">
                  <a:pos x="24" y="0"/>
                </a:cxn>
                <a:cxn ang="0">
                  <a:pos x="0" y="0"/>
                </a:cxn>
                <a:cxn ang="0">
                  <a:pos x="24" y="0"/>
                </a:cxn>
              </a:cxnLst>
              <a:rect l="0" t="0" r="r" b="b"/>
              <a:pathLst>
                <a:path w="24">
                  <a:moveTo>
                    <a:pt x="24" y="0"/>
                  </a:moveTo>
                  <a:lnTo>
                    <a:pt x="0" y="0"/>
                  </a:lnTo>
                  <a:lnTo>
                    <a:pt x="24"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6" name="Freeform 38"/>
            <p:cNvSpPr>
              <a:spLocks/>
            </p:cNvSpPr>
            <p:nvPr userDrawn="1"/>
          </p:nvSpPr>
          <p:spPr bwMode="auto">
            <a:xfrm>
              <a:off x="4457700" y="6338888"/>
              <a:ext cx="396875" cy="88900"/>
            </a:xfrm>
            <a:custGeom>
              <a:avLst/>
              <a:gdLst/>
              <a:ahLst/>
              <a:cxnLst>
                <a:cxn ang="0">
                  <a:pos x="949" y="119"/>
                </a:cxn>
                <a:cxn ang="0">
                  <a:pos x="902" y="150"/>
                </a:cxn>
                <a:cxn ang="0">
                  <a:pos x="873" y="130"/>
                </a:cxn>
                <a:cxn ang="0">
                  <a:pos x="866" y="112"/>
                </a:cxn>
                <a:cxn ang="0">
                  <a:pos x="825" y="89"/>
                </a:cxn>
                <a:cxn ang="0">
                  <a:pos x="797" y="85"/>
                </a:cxn>
                <a:cxn ang="0">
                  <a:pos x="768" y="89"/>
                </a:cxn>
                <a:cxn ang="0">
                  <a:pos x="735" y="105"/>
                </a:cxn>
                <a:cxn ang="0">
                  <a:pos x="723" y="120"/>
                </a:cxn>
                <a:cxn ang="0">
                  <a:pos x="703" y="130"/>
                </a:cxn>
                <a:cxn ang="0">
                  <a:pos x="691" y="41"/>
                </a:cxn>
                <a:cxn ang="0">
                  <a:pos x="662" y="0"/>
                </a:cxn>
                <a:cxn ang="0">
                  <a:pos x="621" y="41"/>
                </a:cxn>
                <a:cxn ang="0">
                  <a:pos x="597" y="130"/>
                </a:cxn>
                <a:cxn ang="0">
                  <a:pos x="544" y="137"/>
                </a:cxn>
                <a:cxn ang="0">
                  <a:pos x="522" y="185"/>
                </a:cxn>
                <a:cxn ang="0">
                  <a:pos x="503" y="154"/>
                </a:cxn>
                <a:cxn ang="0">
                  <a:pos x="487" y="106"/>
                </a:cxn>
                <a:cxn ang="0">
                  <a:pos x="446" y="93"/>
                </a:cxn>
                <a:cxn ang="0">
                  <a:pos x="428" y="106"/>
                </a:cxn>
                <a:cxn ang="0">
                  <a:pos x="416" y="154"/>
                </a:cxn>
                <a:cxn ang="0">
                  <a:pos x="378" y="106"/>
                </a:cxn>
                <a:cxn ang="0">
                  <a:pos x="348" y="72"/>
                </a:cxn>
                <a:cxn ang="0">
                  <a:pos x="340" y="106"/>
                </a:cxn>
                <a:cxn ang="0">
                  <a:pos x="328" y="154"/>
                </a:cxn>
                <a:cxn ang="0">
                  <a:pos x="299" y="130"/>
                </a:cxn>
                <a:cxn ang="0">
                  <a:pos x="287" y="154"/>
                </a:cxn>
                <a:cxn ang="0">
                  <a:pos x="270" y="183"/>
                </a:cxn>
                <a:cxn ang="0">
                  <a:pos x="188" y="165"/>
                </a:cxn>
                <a:cxn ang="0">
                  <a:pos x="164" y="183"/>
                </a:cxn>
                <a:cxn ang="0">
                  <a:pos x="135" y="89"/>
                </a:cxn>
                <a:cxn ang="0">
                  <a:pos x="70" y="71"/>
                </a:cxn>
                <a:cxn ang="0">
                  <a:pos x="53" y="89"/>
                </a:cxn>
                <a:cxn ang="0">
                  <a:pos x="41" y="185"/>
                </a:cxn>
                <a:cxn ang="0">
                  <a:pos x="12" y="154"/>
                </a:cxn>
                <a:cxn ang="0">
                  <a:pos x="0" y="185"/>
                </a:cxn>
                <a:cxn ang="0">
                  <a:pos x="624" y="278"/>
                </a:cxn>
                <a:cxn ang="0">
                  <a:pos x="1219" y="65"/>
                </a:cxn>
                <a:cxn ang="0">
                  <a:pos x="1201" y="137"/>
                </a:cxn>
                <a:cxn ang="0">
                  <a:pos x="1172" y="88"/>
                </a:cxn>
              </a:cxnLst>
              <a:rect l="0" t="0" r="r" b="b"/>
              <a:pathLst>
                <a:path w="1249" h="278">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7" name="Rectangle 39"/>
            <p:cNvSpPr>
              <a:spLocks noChangeArrowheads="1"/>
            </p:cNvSpPr>
            <p:nvPr userDrawn="1"/>
          </p:nvSpPr>
          <p:spPr bwMode="auto">
            <a:xfrm>
              <a:off x="4456113" y="6421438"/>
              <a:ext cx="244475" cy="34925"/>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8" name="Freeform 40"/>
            <p:cNvSpPr>
              <a:spLocks/>
            </p:cNvSpPr>
            <p:nvPr userDrawn="1"/>
          </p:nvSpPr>
          <p:spPr bwMode="auto">
            <a:xfrm>
              <a:off x="6640513" y="6462713"/>
              <a:ext cx="7938" cy="12700"/>
            </a:xfrm>
            <a:custGeom>
              <a:avLst/>
              <a:gdLst/>
              <a:ahLst/>
              <a:cxnLst>
                <a:cxn ang="0">
                  <a:pos x="17" y="39"/>
                </a:cxn>
                <a:cxn ang="0">
                  <a:pos x="18" y="39"/>
                </a:cxn>
                <a:cxn ang="0">
                  <a:pos x="20" y="39"/>
                </a:cxn>
                <a:cxn ang="0">
                  <a:pos x="20" y="40"/>
                </a:cxn>
                <a:cxn ang="0">
                  <a:pos x="21" y="40"/>
                </a:cxn>
                <a:cxn ang="0">
                  <a:pos x="21" y="41"/>
                </a:cxn>
                <a:cxn ang="0">
                  <a:pos x="22" y="41"/>
                </a:cxn>
                <a:cxn ang="0">
                  <a:pos x="22" y="42"/>
                </a:cxn>
                <a:cxn ang="0">
                  <a:pos x="23" y="36"/>
                </a:cxn>
                <a:cxn ang="0">
                  <a:pos x="23" y="28"/>
                </a:cxn>
                <a:cxn ang="0">
                  <a:pos x="23" y="23"/>
                </a:cxn>
                <a:cxn ang="0">
                  <a:pos x="21" y="21"/>
                </a:cxn>
                <a:cxn ang="0">
                  <a:pos x="18" y="15"/>
                </a:cxn>
                <a:cxn ang="0">
                  <a:pos x="16" y="8"/>
                </a:cxn>
                <a:cxn ang="0">
                  <a:pos x="17" y="4"/>
                </a:cxn>
                <a:cxn ang="0">
                  <a:pos x="14" y="3"/>
                </a:cxn>
                <a:cxn ang="0">
                  <a:pos x="12" y="2"/>
                </a:cxn>
                <a:cxn ang="0">
                  <a:pos x="11" y="0"/>
                </a:cxn>
                <a:cxn ang="0">
                  <a:pos x="8" y="5"/>
                </a:cxn>
                <a:cxn ang="0">
                  <a:pos x="3" y="11"/>
                </a:cxn>
                <a:cxn ang="0">
                  <a:pos x="0" y="14"/>
                </a:cxn>
                <a:cxn ang="0">
                  <a:pos x="0" y="16"/>
                </a:cxn>
                <a:cxn ang="0">
                  <a:pos x="4" y="22"/>
                </a:cxn>
                <a:cxn ang="0">
                  <a:pos x="5" y="26"/>
                </a:cxn>
                <a:cxn ang="0">
                  <a:pos x="5" y="24"/>
                </a:cxn>
                <a:cxn ang="0">
                  <a:pos x="6" y="24"/>
                </a:cxn>
                <a:cxn ang="0">
                  <a:pos x="5" y="24"/>
                </a:cxn>
                <a:cxn ang="0">
                  <a:pos x="5" y="23"/>
                </a:cxn>
                <a:cxn ang="0">
                  <a:pos x="5" y="22"/>
                </a:cxn>
                <a:cxn ang="0">
                  <a:pos x="6" y="22"/>
                </a:cxn>
                <a:cxn ang="0">
                  <a:pos x="8" y="22"/>
                </a:cxn>
                <a:cxn ang="0">
                  <a:pos x="9" y="22"/>
                </a:cxn>
                <a:cxn ang="0">
                  <a:pos x="9" y="23"/>
                </a:cxn>
                <a:cxn ang="0">
                  <a:pos x="9" y="24"/>
                </a:cxn>
                <a:cxn ang="0">
                  <a:pos x="9" y="26"/>
                </a:cxn>
                <a:cxn ang="0">
                  <a:pos x="9" y="24"/>
                </a:cxn>
                <a:cxn ang="0">
                  <a:pos x="10" y="23"/>
                </a:cxn>
                <a:cxn ang="0">
                  <a:pos x="10" y="24"/>
                </a:cxn>
                <a:cxn ang="0">
                  <a:pos x="11" y="24"/>
                </a:cxn>
                <a:cxn ang="0">
                  <a:pos x="11" y="26"/>
                </a:cxn>
                <a:cxn ang="0">
                  <a:pos x="12" y="27"/>
                </a:cxn>
                <a:cxn ang="0">
                  <a:pos x="12" y="26"/>
                </a:cxn>
                <a:cxn ang="0">
                  <a:pos x="14" y="27"/>
                </a:cxn>
                <a:cxn ang="0">
                  <a:pos x="14" y="28"/>
                </a:cxn>
                <a:cxn ang="0">
                  <a:pos x="14" y="29"/>
                </a:cxn>
                <a:cxn ang="0">
                  <a:pos x="15" y="30"/>
                </a:cxn>
                <a:cxn ang="0">
                  <a:pos x="15" y="29"/>
                </a:cxn>
                <a:cxn ang="0">
                  <a:pos x="16" y="29"/>
                </a:cxn>
                <a:cxn ang="0">
                  <a:pos x="17" y="30"/>
                </a:cxn>
                <a:cxn ang="0">
                  <a:pos x="17" y="32"/>
                </a:cxn>
                <a:cxn ang="0">
                  <a:pos x="17" y="33"/>
                </a:cxn>
                <a:cxn ang="0">
                  <a:pos x="16" y="33"/>
                </a:cxn>
                <a:cxn ang="0">
                  <a:pos x="16" y="32"/>
                </a:cxn>
                <a:cxn ang="0">
                  <a:pos x="15" y="32"/>
                </a:cxn>
                <a:cxn ang="0">
                  <a:pos x="15" y="33"/>
                </a:cxn>
                <a:cxn ang="0">
                  <a:pos x="16" y="33"/>
                </a:cxn>
                <a:cxn ang="0">
                  <a:pos x="16" y="34"/>
                </a:cxn>
                <a:cxn ang="0">
                  <a:pos x="16" y="35"/>
                </a:cxn>
                <a:cxn ang="0">
                  <a:pos x="17" y="38"/>
                </a:cxn>
                <a:cxn ang="0">
                  <a:pos x="17" y="39"/>
                </a:cxn>
              </a:cxnLst>
              <a:rect l="0" t="0" r="r" b="b"/>
              <a:pathLst>
                <a:path w="23" h="42">
                  <a:moveTo>
                    <a:pt x="17" y="39"/>
                  </a:moveTo>
                  <a:lnTo>
                    <a:pt x="18" y="39"/>
                  </a:lnTo>
                  <a:lnTo>
                    <a:pt x="20" y="39"/>
                  </a:lnTo>
                  <a:lnTo>
                    <a:pt x="20" y="40"/>
                  </a:lnTo>
                  <a:lnTo>
                    <a:pt x="21" y="40"/>
                  </a:lnTo>
                  <a:lnTo>
                    <a:pt x="21" y="41"/>
                  </a:lnTo>
                  <a:lnTo>
                    <a:pt x="22" y="41"/>
                  </a:lnTo>
                  <a:lnTo>
                    <a:pt x="22" y="42"/>
                  </a:lnTo>
                  <a:lnTo>
                    <a:pt x="23" y="36"/>
                  </a:lnTo>
                  <a:lnTo>
                    <a:pt x="23" y="28"/>
                  </a:lnTo>
                  <a:lnTo>
                    <a:pt x="23" y="23"/>
                  </a:lnTo>
                  <a:lnTo>
                    <a:pt x="21" y="21"/>
                  </a:lnTo>
                  <a:lnTo>
                    <a:pt x="18" y="15"/>
                  </a:lnTo>
                  <a:lnTo>
                    <a:pt x="16" y="8"/>
                  </a:lnTo>
                  <a:lnTo>
                    <a:pt x="17" y="4"/>
                  </a:lnTo>
                  <a:lnTo>
                    <a:pt x="14" y="3"/>
                  </a:lnTo>
                  <a:lnTo>
                    <a:pt x="12" y="2"/>
                  </a:lnTo>
                  <a:lnTo>
                    <a:pt x="11" y="0"/>
                  </a:lnTo>
                  <a:lnTo>
                    <a:pt x="8" y="5"/>
                  </a:lnTo>
                  <a:lnTo>
                    <a:pt x="3" y="11"/>
                  </a:lnTo>
                  <a:lnTo>
                    <a:pt x="0" y="14"/>
                  </a:lnTo>
                  <a:lnTo>
                    <a:pt x="0" y="16"/>
                  </a:lnTo>
                  <a:lnTo>
                    <a:pt x="4" y="22"/>
                  </a:lnTo>
                  <a:lnTo>
                    <a:pt x="5" y="26"/>
                  </a:lnTo>
                  <a:lnTo>
                    <a:pt x="5" y="24"/>
                  </a:lnTo>
                  <a:lnTo>
                    <a:pt x="6" y="24"/>
                  </a:lnTo>
                  <a:lnTo>
                    <a:pt x="5" y="24"/>
                  </a:lnTo>
                  <a:lnTo>
                    <a:pt x="5" y="23"/>
                  </a:lnTo>
                  <a:lnTo>
                    <a:pt x="5" y="22"/>
                  </a:lnTo>
                  <a:lnTo>
                    <a:pt x="6" y="22"/>
                  </a:lnTo>
                  <a:lnTo>
                    <a:pt x="8" y="22"/>
                  </a:lnTo>
                  <a:lnTo>
                    <a:pt x="9" y="22"/>
                  </a:lnTo>
                  <a:lnTo>
                    <a:pt x="9" y="23"/>
                  </a:lnTo>
                  <a:lnTo>
                    <a:pt x="9" y="24"/>
                  </a:lnTo>
                  <a:lnTo>
                    <a:pt x="9" y="26"/>
                  </a:lnTo>
                  <a:lnTo>
                    <a:pt x="9" y="24"/>
                  </a:lnTo>
                  <a:lnTo>
                    <a:pt x="10" y="23"/>
                  </a:lnTo>
                  <a:lnTo>
                    <a:pt x="10" y="24"/>
                  </a:lnTo>
                  <a:lnTo>
                    <a:pt x="11" y="24"/>
                  </a:lnTo>
                  <a:lnTo>
                    <a:pt x="11" y="26"/>
                  </a:lnTo>
                  <a:lnTo>
                    <a:pt x="12" y="27"/>
                  </a:lnTo>
                  <a:lnTo>
                    <a:pt x="12" y="26"/>
                  </a:lnTo>
                  <a:lnTo>
                    <a:pt x="14" y="27"/>
                  </a:lnTo>
                  <a:lnTo>
                    <a:pt x="14" y="28"/>
                  </a:lnTo>
                  <a:lnTo>
                    <a:pt x="14" y="29"/>
                  </a:lnTo>
                  <a:lnTo>
                    <a:pt x="15" y="30"/>
                  </a:lnTo>
                  <a:lnTo>
                    <a:pt x="15" y="29"/>
                  </a:lnTo>
                  <a:lnTo>
                    <a:pt x="16" y="29"/>
                  </a:lnTo>
                  <a:lnTo>
                    <a:pt x="17" y="30"/>
                  </a:lnTo>
                  <a:lnTo>
                    <a:pt x="17" y="32"/>
                  </a:lnTo>
                  <a:lnTo>
                    <a:pt x="17" y="33"/>
                  </a:lnTo>
                  <a:lnTo>
                    <a:pt x="16" y="33"/>
                  </a:lnTo>
                  <a:lnTo>
                    <a:pt x="16" y="32"/>
                  </a:lnTo>
                  <a:lnTo>
                    <a:pt x="15" y="32"/>
                  </a:lnTo>
                  <a:lnTo>
                    <a:pt x="15" y="33"/>
                  </a:lnTo>
                  <a:lnTo>
                    <a:pt x="16" y="33"/>
                  </a:lnTo>
                  <a:lnTo>
                    <a:pt x="16" y="34"/>
                  </a:lnTo>
                  <a:lnTo>
                    <a:pt x="16" y="35"/>
                  </a:lnTo>
                  <a:lnTo>
                    <a:pt x="17" y="38"/>
                  </a:lnTo>
                  <a:lnTo>
                    <a:pt x="17" y="3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9" name="Freeform 41"/>
            <p:cNvSpPr>
              <a:spLocks/>
            </p:cNvSpPr>
            <p:nvPr userDrawn="1"/>
          </p:nvSpPr>
          <p:spPr bwMode="auto">
            <a:xfrm>
              <a:off x="6640513" y="6467476"/>
              <a:ext cx="1588" cy="6350"/>
            </a:xfrm>
            <a:custGeom>
              <a:avLst/>
              <a:gdLst/>
              <a:ahLst/>
              <a:cxnLst>
                <a:cxn ang="0">
                  <a:pos x="7" y="18"/>
                </a:cxn>
                <a:cxn ang="0">
                  <a:pos x="6" y="19"/>
                </a:cxn>
                <a:cxn ang="0">
                  <a:pos x="7" y="19"/>
                </a:cxn>
                <a:cxn ang="0">
                  <a:pos x="6" y="20"/>
                </a:cxn>
                <a:cxn ang="0">
                  <a:pos x="4" y="19"/>
                </a:cxn>
                <a:cxn ang="0">
                  <a:pos x="2" y="14"/>
                </a:cxn>
                <a:cxn ang="0">
                  <a:pos x="1" y="11"/>
                </a:cxn>
                <a:cxn ang="0">
                  <a:pos x="1" y="6"/>
                </a:cxn>
                <a:cxn ang="0">
                  <a:pos x="0" y="0"/>
                </a:cxn>
                <a:cxn ang="0">
                  <a:pos x="3" y="5"/>
                </a:cxn>
                <a:cxn ang="0">
                  <a:pos x="6" y="11"/>
                </a:cxn>
                <a:cxn ang="0">
                  <a:pos x="7" y="13"/>
                </a:cxn>
                <a:cxn ang="0">
                  <a:pos x="6" y="14"/>
                </a:cxn>
                <a:cxn ang="0">
                  <a:pos x="6" y="16"/>
                </a:cxn>
                <a:cxn ang="0">
                  <a:pos x="7" y="14"/>
                </a:cxn>
                <a:cxn ang="0">
                  <a:pos x="6" y="16"/>
                </a:cxn>
                <a:cxn ang="0">
                  <a:pos x="7" y="17"/>
                </a:cxn>
                <a:cxn ang="0">
                  <a:pos x="7" y="16"/>
                </a:cxn>
                <a:cxn ang="0">
                  <a:pos x="7" y="17"/>
                </a:cxn>
                <a:cxn ang="0">
                  <a:pos x="6" y="18"/>
                </a:cxn>
                <a:cxn ang="0">
                  <a:pos x="7" y="18"/>
                </a:cxn>
              </a:cxnLst>
              <a:rect l="0" t="0" r="r" b="b"/>
              <a:pathLst>
                <a:path w="7" h="20">
                  <a:moveTo>
                    <a:pt x="7" y="18"/>
                  </a:moveTo>
                  <a:lnTo>
                    <a:pt x="6" y="19"/>
                  </a:lnTo>
                  <a:lnTo>
                    <a:pt x="7" y="19"/>
                  </a:lnTo>
                  <a:lnTo>
                    <a:pt x="6" y="20"/>
                  </a:lnTo>
                  <a:lnTo>
                    <a:pt x="4" y="19"/>
                  </a:lnTo>
                  <a:lnTo>
                    <a:pt x="2" y="14"/>
                  </a:lnTo>
                  <a:lnTo>
                    <a:pt x="1" y="11"/>
                  </a:lnTo>
                  <a:lnTo>
                    <a:pt x="1" y="6"/>
                  </a:lnTo>
                  <a:lnTo>
                    <a:pt x="0" y="0"/>
                  </a:lnTo>
                  <a:lnTo>
                    <a:pt x="3" y="5"/>
                  </a:lnTo>
                  <a:lnTo>
                    <a:pt x="6" y="11"/>
                  </a:lnTo>
                  <a:lnTo>
                    <a:pt x="7" y="13"/>
                  </a:lnTo>
                  <a:lnTo>
                    <a:pt x="6" y="14"/>
                  </a:lnTo>
                  <a:lnTo>
                    <a:pt x="6" y="16"/>
                  </a:lnTo>
                  <a:lnTo>
                    <a:pt x="7" y="14"/>
                  </a:lnTo>
                  <a:lnTo>
                    <a:pt x="6" y="16"/>
                  </a:lnTo>
                  <a:lnTo>
                    <a:pt x="7" y="17"/>
                  </a:lnTo>
                  <a:lnTo>
                    <a:pt x="7" y="16"/>
                  </a:lnTo>
                  <a:lnTo>
                    <a:pt x="7" y="17"/>
                  </a:lnTo>
                  <a:lnTo>
                    <a:pt x="6" y="18"/>
                  </a:lnTo>
                  <a:lnTo>
                    <a:pt x="7" y="1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0" name="Freeform 42"/>
            <p:cNvSpPr>
              <a:spLocks/>
            </p:cNvSpPr>
            <p:nvPr userDrawn="1"/>
          </p:nvSpPr>
          <p:spPr bwMode="auto">
            <a:xfrm>
              <a:off x="6642100" y="6475413"/>
              <a:ext cx="3175" cy="12700"/>
            </a:xfrm>
            <a:custGeom>
              <a:avLst/>
              <a:gdLst/>
              <a:ahLst/>
              <a:cxnLst>
                <a:cxn ang="0">
                  <a:pos x="6" y="38"/>
                </a:cxn>
                <a:cxn ang="0">
                  <a:pos x="5" y="35"/>
                </a:cxn>
                <a:cxn ang="0">
                  <a:pos x="5" y="26"/>
                </a:cxn>
                <a:cxn ang="0">
                  <a:pos x="3" y="14"/>
                </a:cxn>
                <a:cxn ang="0">
                  <a:pos x="2" y="8"/>
                </a:cxn>
                <a:cxn ang="0">
                  <a:pos x="0" y="2"/>
                </a:cxn>
                <a:cxn ang="0">
                  <a:pos x="0" y="0"/>
                </a:cxn>
                <a:cxn ang="0">
                  <a:pos x="1" y="0"/>
                </a:cxn>
                <a:cxn ang="0">
                  <a:pos x="2" y="0"/>
                </a:cxn>
                <a:cxn ang="0">
                  <a:pos x="3" y="0"/>
                </a:cxn>
                <a:cxn ang="0">
                  <a:pos x="3" y="1"/>
                </a:cxn>
                <a:cxn ang="0">
                  <a:pos x="3" y="4"/>
                </a:cxn>
                <a:cxn ang="0">
                  <a:pos x="3" y="6"/>
                </a:cxn>
                <a:cxn ang="0">
                  <a:pos x="3" y="7"/>
                </a:cxn>
                <a:cxn ang="0">
                  <a:pos x="5" y="8"/>
                </a:cxn>
                <a:cxn ang="0">
                  <a:pos x="5" y="9"/>
                </a:cxn>
                <a:cxn ang="0">
                  <a:pos x="6" y="9"/>
                </a:cxn>
                <a:cxn ang="0">
                  <a:pos x="6" y="10"/>
                </a:cxn>
                <a:cxn ang="0">
                  <a:pos x="6" y="12"/>
                </a:cxn>
                <a:cxn ang="0">
                  <a:pos x="7" y="10"/>
                </a:cxn>
                <a:cxn ang="0">
                  <a:pos x="7" y="12"/>
                </a:cxn>
                <a:cxn ang="0">
                  <a:pos x="6" y="13"/>
                </a:cxn>
                <a:cxn ang="0">
                  <a:pos x="6" y="14"/>
                </a:cxn>
                <a:cxn ang="0">
                  <a:pos x="6" y="15"/>
                </a:cxn>
                <a:cxn ang="0">
                  <a:pos x="6" y="14"/>
                </a:cxn>
                <a:cxn ang="0">
                  <a:pos x="7" y="14"/>
                </a:cxn>
                <a:cxn ang="0">
                  <a:pos x="6" y="15"/>
                </a:cxn>
                <a:cxn ang="0">
                  <a:pos x="6" y="17"/>
                </a:cxn>
                <a:cxn ang="0">
                  <a:pos x="7" y="15"/>
                </a:cxn>
                <a:cxn ang="0">
                  <a:pos x="7" y="14"/>
                </a:cxn>
                <a:cxn ang="0">
                  <a:pos x="7" y="15"/>
                </a:cxn>
                <a:cxn ang="0">
                  <a:pos x="8" y="17"/>
                </a:cxn>
                <a:cxn ang="0">
                  <a:pos x="8" y="18"/>
                </a:cxn>
                <a:cxn ang="0">
                  <a:pos x="8" y="20"/>
                </a:cxn>
                <a:cxn ang="0">
                  <a:pos x="9" y="25"/>
                </a:cxn>
                <a:cxn ang="0">
                  <a:pos x="11" y="29"/>
                </a:cxn>
                <a:cxn ang="0">
                  <a:pos x="8" y="35"/>
                </a:cxn>
                <a:cxn ang="0">
                  <a:pos x="7" y="36"/>
                </a:cxn>
                <a:cxn ang="0">
                  <a:pos x="6" y="38"/>
                </a:cxn>
              </a:cxnLst>
              <a:rect l="0" t="0" r="r" b="b"/>
              <a:pathLst>
                <a:path w="11" h="38">
                  <a:moveTo>
                    <a:pt x="6" y="38"/>
                  </a:moveTo>
                  <a:lnTo>
                    <a:pt x="5" y="35"/>
                  </a:lnTo>
                  <a:lnTo>
                    <a:pt x="5" y="26"/>
                  </a:lnTo>
                  <a:lnTo>
                    <a:pt x="3" y="14"/>
                  </a:lnTo>
                  <a:lnTo>
                    <a:pt x="2" y="8"/>
                  </a:lnTo>
                  <a:lnTo>
                    <a:pt x="0" y="2"/>
                  </a:lnTo>
                  <a:lnTo>
                    <a:pt x="0" y="0"/>
                  </a:lnTo>
                  <a:lnTo>
                    <a:pt x="1" y="0"/>
                  </a:lnTo>
                  <a:lnTo>
                    <a:pt x="2" y="0"/>
                  </a:lnTo>
                  <a:lnTo>
                    <a:pt x="3" y="0"/>
                  </a:lnTo>
                  <a:lnTo>
                    <a:pt x="3" y="1"/>
                  </a:lnTo>
                  <a:lnTo>
                    <a:pt x="3" y="4"/>
                  </a:lnTo>
                  <a:lnTo>
                    <a:pt x="3" y="6"/>
                  </a:lnTo>
                  <a:lnTo>
                    <a:pt x="3" y="7"/>
                  </a:lnTo>
                  <a:lnTo>
                    <a:pt x="5" y="8"/>
                  </a:lnTo>
                  <a:lnTo>
                    <a:pt x="5" y="9"/>
                  </a:lnTo>
                  <a:lnTo>
                    <a:pt x="6" y="9"/>
                  </a:lnTo>
                  <a:lnTo>
                    <a:pt x="6" y="10"/>
                  </a:lnTo>
                  <a:lnTo>
                    <a:pt x="6" y="12"/>
                  </a:lnTo>
                  <a:lnTo>
                    <a:pt x="7" y="10"/>
                  </a:lnTo>
                  <a:lnTo>
                    <a:pt x="7" y="12"/>
                  </a:lnTo>
                  <a:lnTo>
                    <a:pt x="6" y="13"/>
                  </a:lnTo>
                  <a:lnTo>
                    <a:pt x="6" y="14"/>
                  </a:lnTo>
                  <a:lnTo>
                    <a:pt x="6" y="15"/>
                  </a:lnTo>
                  <a:lnTo>
                    <a:pt x="6" y="14"/>
                  </a:lnTo>
                  <a:lnTo>
                    <a:pt x="7" y="14"/>
                  </a:lnTo>
                  <a:lnTo>
                    <a:pt x="6" y="15"/>
                  </a:lnTo>
                  <a:lnTo>
                    <a:pt x="6" y="17"/>
                  </a:lnTo>
                  <a:lnTo>
                    <a:pt x="7" y="15"/>
                  </a:lnTo>
                  <a:lnTo>
                    <a:pt x="7" y="14"/>
                  </a:lnTo>
                  <a:lnTo>
                    <a:pt x="7" y="15"/>
                  </a:lnTo>
                  <a:lnTo>
                    <a:pt x="8" y="17"/>
                  </a:lnTo>
                  <a:lnTo>
                    <a:pt x="8" y="18"/>
                  </a:lnTo>
                  <a:lnTo>
                    <a:pt x="8" y="20"/>
                  </a:lnTo>
                  <a:lnTo>
                    <a:pt x="9" y="25"/>
                  </a:lnTo>
                  <a:lnTo>
                    <a:pt x="11" y="29"/>
                  </a:lnTo>
                  <a:lnTo>
                    <a:pt x="8" y="35"/>
                  </a:lnTo>
                  <a:lnTo>
                    <a:pt x="7" y="36"/>
                  </a:lnTo>
                  <a:lnTo>
                    <a:pt x="6" y="3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1" name="Freeform 43"/>
            <p:cNvSpPr>
              <a:spLocks/>
            </p:cNvSpPr>
            <p:nvPr userDrawn="1"/>
          </p:nvSpPr>
          <p:spPr bwMode="auto">
            <a:xfrm>
              <a:off x="6640513" y="6459538"/>
              <a:ext cx="3175" cy="6350"/>
            </a:xfrm>
            <a:custGeom>
              <a:avLst/>
              <a:gdLst/>
              <a:ahLst/>
              <a:cxnLst>
                <a:cxn ang="0">
                  <a:pos x="10" y="4"/>
                </a:cxn>
                <a:cxn ang="0">
                  <a:pos x="10" y="5"/>
                </a:cxn>
                <a:cxn ang="0">
                  <a:pos x="10" y="6"/>
                </a:cxn>
                <a:cxn ang="0">
                  <a:pos x="10" y="7"/>
                </a:cxn>
                <a:cxn ang="0">
                  <a:pos x="7" y="12"/>
                </a:cxn>
                <a:cxn ang="0">
                  <a:pos x="0" y="21"/>
                </a:cxn>
                <a:cxn ang="0">
                  <a:pos x="0" y="17"/>
                </a:cxn>
                <a:cxn ang="0">
                  <a:pos x="0" y="10"/>
                </a:cxn>
                <a:cxn ang="0">
                  <a:pos x="0" y="7"/>
                </a:cxn>
                <a:cxn ang="0">
                  <a:pos x="0" y="9"/>
                </a:cxn>
                <a:cxn ang="0">
                  <a:pos x="0" y="7"/>
                </a:cxn>
                <a:cxn ang="0">
                  <a:pos x="0" y="6"/>
                </a:cxn>
                <a:cxn ang="0">
                  <a:pos x="0" y="5"/>
                </a:cxn>
                <a:cxn ang="0">
                  <a:pos x="0" y="4"/>
                </a:cxn>
                <a:cxn ang="0">
                  <a:pos x="1" y="4"/>
                </a:cxn>
                <a:cxn ang="0">
                  <a:pos x="0" y="5"/>
                </a:cxn>
                <a:cxn ang="0">
                  <a:pos x="1" y="5"/>
                </a:cxn>
                <a:cxn ang="0">
                  <a:pos x="1" y="6"/>
                </a:cxn>
                <a:cxn ang="0">
                  <a:pos x="3" y="6"/>
                </a:cxn>
                <a:cxn ang="0">
                  <a:pos x="3" y="5"/>
                </a:cxn>
                <a:cxn ang="0">
                  <a:pos x="3" y="4"/>
                </a:cxn>
                <a:cxn ang="0">
                  <a:pos x="3" y="3"/>
                </a:cxn>
                <a:cxn ang="0">
                  <a:pos x="1" y="3"/>
                </a:cxn>
                <a:cxn ang="0">
                  <a:pos x="1" y="1"/>
                </a:cxn>
                <a:cxn ang="0">
                  <a:pos x="1" y="3"/>
                </a:cxn>
                <a:cxn ang="0">
                  <a:pos x="0" y="3"/>
                </a:cxn>
                <a:cxn ang="0">
                  <a:pos x="0" y="1"/>
                </a:cxn>
                <a:cxn ang="0">
                  <a:pos x="0" y="0"/>
                </a:cxn>
                <a:cxn ang="0">
                  <a:pos x="1" y="0"/>
                </a:cxn>
                <a:cxn ang="0">
                  <a:pos x="3" y="0"/>
                </a:cxn>
                <a:cxn ang="0">
                  <a:pos x="3" y="1"/>
                </a:cxn>
                <a:cxn ang="0">
                  <a:pos x="4" y="1"/>
                </a:cxn>
                <a:cxn ang="0">
                  <a:pos x="4" y="3"/>
                </a:cxn>
                <a:cxn ang="0">
                  <a:pos x="5" y="3"/>
                </a:cxn>
                <a:cxn ang="0">
                  <a:pos x="5" y="4"/>
                </a:cxn>
                <a:cxn ang="0">
                  <a:pos x="5" y="3"/>
                </a:cxn>
                <a:cxn ang="0">
                  <a:pos x="6" y="3"/>
                </a:cxn>
                <a:cxn ang="0">
                  <a:pos x="6" y="4"/>
                </a:cxn>
                <a:cxn ang="0">
                  <a:pos x="5" y="5"/>
                </a:cxn>
                <a:cxn ang="0">
                  <a:pos x="6" y="5"/>
                </a:cxn>
                <a:cxn ang="0">
                  <a:pos x="7" y="4"/>
                </a:cxn>
                <a:cxn ang="0">
                  <a:pos x="7" y="3"/>
                </a:cxn>
                <a:cxn ang="0">
                  <a:pos x="7" y="4"/>
                </a:cxn>
                <a:cxn ang="0">
                  <a:pos x="9" y="4"/>
                </a:cxn>
                <a:cxn ang="0">
                  <a:pos x="9" y="5"/>
                </a:cxn>
                <a:cxn ang="0">
                  <a:pos x="9" y="6"/>
                </a:cxn>
                <a:cxn ang="0">
                  <a:pos x="9" y="5"/>
                </a:cxn>
                <a:cxn ang="0">
                  <a:pos x="10" y="5"/>
                </a:cxn>
                <a:cxn ang="0">
                  <a:pos x="10" y="4"/>
                </a:cxn>
              </a:cxnLst>
              <a:rect l="0" t="0" r="r" b="b"/>
              <a:pathLst>
                <a:path w="10" h="21">
                  <a:moveTo>
                    <a:pt x="10" y="4"/>
                  </a:moveTo>
                  <a:lnTo>
                    <a:pt x="10" y="5"/>
                  </a:lnTo>
                  <a:lnTo>
                    <a:pt x="10" y="6"/>
                  </a:lnTo>
                  <a:lnTo>
                    <a:pt x="10" y="7"/>
                  </a:lnTo>
                  <a:lnTo>
                    <a:pt x="7" y="12"/>
                  </a:lnTo>
                  <a:lnTo>
                    <a:pt x="0" y="21"/>
                  </a:lnTo>
                  <a:lnTo>
                    <a:pt x="0" y="17"/>
                  </a:lnTo>
                  <a:lnTo>
                    <a:pt x="0" y="10"/>
                  </a:lnTo>
                  <a:lnTo>
                    <a:pt x="0" y="7"/>
                  </a:lnTo>
                  <a:lnTo>
                    <a:pt x="0" y="9"/>
                  </a:lnTo>
                  <a:lnTo>
                    <a:pt x="0" y="7"/>
                  </a:lnTo>
                  <a:lnTo>
                    <a:pt x="0" y="6"/>
                  </a:lnTo>
                  <a:lnTo>
                    <a:pt x="0" y="5"/>
                  </a:lnTo>
                  <a:lnTo>
                    <a:pt x="0" y="4"/>
                  </a:lnTo>
                  <a:lnTo>
                    <a:pt x="1" y="4"/>
                  </a:lnTo>
                  <a:lnTo>
                    <a:pt x="0" y="5"/>
                  </a:lnTo>
                  <a:lnTo>
                    <a:pt x="1" y="5"/>
                  </a:lnTo>
                  <a:lnTo>
                    <a:pt x="1" y="6"/>
                  </a:lnTo>
                  <a:lnTo>
                    <a:pt x="3" y="6"/>
                  </a:lnTo>
                  <a:lnTo>
                    <a:pt x="3" y="5"/>
                  </a:lnTo>
                  <a:lnTo>
                    <a:pt x="3" y="4"/>
                  </a:lnTo>
                  <a:lnTo>
                    <a:pt x="3" y="3"/>
                  </a:lnTo>
                  <a:lnTo>
                    <a:pt x="1" y="3"/>
                  </a:lnTo>
                  <a:lnTo>
                    <a:pt x="1" y="1"/>
                  </a:lnTo>
                  <a:lnTo>
                    <a:pt x="1" y="3"/>
                  </a:lnTo>
                  <a:lnTo>
                    <a:pt x="0" y="3"/>
                  </a:lnTo>
                  <a:lnTo>
                    <a:pt x="0" y="1"/>
                  </a:lnTo>
                  <a:lnTo>
                    <a:pt x="0" y="0"/>
                  </a:lnTo>
                  <a:lnTo>
                    <a:pt x="1" y="0"/>
                  </a:lnTo>
                  <a:lnTo>
                    <a:pt x="3" y="0"/>
                  </a:lnTo>
                  <a:lnTo>
                    <a:pt x="3" y="1"/>
                  </a:lnTo>
                  <a:lnTo>
                    <a:pt x="4" y="1"/>
                  </a:lnTo>
                  <a:lnTo>
                    <a:pt x="4" y="3"/>
                  </a:lnTo>
                  <a:lnTo>
                    <a:pt x="5" y="3"/>
                  </a:lnTo>
                  <a:lnTo>
                    <a:pt x="5" y="4"/>
                  </a:lnTo>
                  <a:lnTo>
                    <a:pt x="5" y="3"/>
                  </a:lnTo>
                  <a:lnTo>
                    <a:pt x="6" y="3"/>
                  </a:lnTo>
                  <a:lnTo>
                    <a:pt x="6" y="4"/>
                  </a:lnTo>
                  <a:lnTo>
                    <a:pt x="5" y="5"/>
                  </a:lnTo>
                  <a:lnTo>
                    <a:pt x="6" y="5"/>
                  </a:lnTo>
                  <a:lnTo>
                    <a:pt x="7" y="4"/>
                  </a:lnTo>
                  <a:lnTo>
                    <a:pt x="7" y="3"/>
                  </a:lnTo>
                  <a:lnTo>
                    <a:pt x="7" y="4"/>
                  </a:lnTo>
                  <a:lnTo>
                    <a:pt x="9" y="4"/>
                  </a:lnTo>
                  <a:lnTo>
                    <a:pt x="9" y="5"/>
                  </a:lnTo>
                  <a:lnTo>
                    <a:pt x="9" y="6"/>
                  </a:lnTo>
                  <a:lnTo>
                    <a:pt x="9" y="5"/>
                  </a:lnTo>
                  <a:lnTo>
                    <a:pt x="10" y="5"/>
                  </a:lnTo>
                  <a:lnTo>
                    <a:pt x="10" y="4"/>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2" name="Freeform 44"/>
            <p:cNvSpPr>
              <a:spLocks/>
            </p:cNvSpPr>
            <p:nvPr userDrawn="1"/>
          </p:nvSpPr>
          <p:spPr bwMode="auto">
            <a:xfrm>
              <a:off x="6630988" y="6465888"/>
              <a:ext cx="9525" cy="6350"/>
            </a:xfrm>
            <a:custGeom>
              <a:avLst/>
              <a:gdLst/>
              <a:ahLst/>
              <a:cxnLst>
                <a:cxn ang="0">
                  <a:pos x="28" y="22"/>
                </a:cxn>
                <a:cxn ang="0">
                  <a:pos x="24" y="12"/>
                </a:cxn>
                <a:cxn ang="0">
                  <a:pos x="19" y="7"/>
                </a:cxn>
                <a:cxn ang="0">
                  <a:pos x="15" y="4"/>
                </a:cxn>
                <a:cxn ang="0">
                  <a:pos x="12" y="3"/>
                </a:cxn>
                <a:cxn ang="0">
                  <a:pos x="7" y="0"/>
                </a:cxn>
                <a:cxn ang="0">
                  <a:pos x="6" y="0"/>
                </a:cxn>
                <a:cxn ang="0">
                  <a:pos x="3" y="3"/>
                </a:cxn>
                <a:cxn ang="0">
                  <a:pos x="2" y="4"/>
                </a:cxn>
                <a:cxn ang="0">
                  <a:pos x="2" y="5"/>
                </a:cxn>
                <a:cxn ang="0">
                  <a:pos x="3" y="5"/>
                </a:cxn>
                <a:cxn ang="0">
                  <a:pos x="3" y="6"/>
                </a:cxn>
                <a:cxn ang="0">
                  <a:pos x="3" y="7"/>
                </a:cxn>
                <a:cxn ang="0">
                  <a:pos x="2" y="7"/>
                </a:cxn>
                <a:cxn ang="0">
                  <a:pos x="2" y="9"/>
                </a:cxn>
                <a:cxn ang="0">
                  <a:pos x="2" y="7"/>
                </a:cxn>
                <a:cxn ang="0">
                  <a:pos x="1" y="7"/>
                </a:cxn>
                <a:cxn ang="0">
                  <a:pos x="1" y="6"/>
                </a:cxn>
                <a:cxn ang="0">
                  <a:pos x="1" y="7"/>
                </a:cxn>
                <a:cxn ang="0">
                  <a:pos x="1" y="6"/>
                </a:cxn>
                <a:cxn ang="0">
                  <a:pos x="1" y="5"/>
                </a:cxn>
                <a:cxn ang="0">
                  <a:pos x="1" y="6"/>
                </a:cxn>
                <a:cxn ang="0">
                  <a:pos x="0" y="6"/>
                </a:cxn>
                <a:cxn ang="0">
                  <a:pos x="1" y="7"/>
                </a:cxn>
                <a:cxn ang="0">
                  <a:pos x="5" y="10"/>
                </a:cxn>
                <a:cxn ang="0">
                  <a:pos x="9" y="11"/>
                </a:cxn>
                <a:cxn ang="0">
                  <a:pos x="11" y="12"/>
                </a:cxn>
                <a:cxn ang="0">
                  <a:pos x="12" y="11"/>
                </a:cxn>
                <a:cxn ang="0">
                  <a:pos x="13" y="11"/>
                </a:cxn>
                <a:cxn ang="0">
                  <a:pos x="14" y="11"/>
                </a:cxn>
                <a:cxn ang="0">
                  <a:pos x="14" y="10"/>
                </a:cxn>
                <a:cxn ang="0">
                  <a:pos x="15" y="10"/>
                </a:cxn>
                <a:cxn ang="0">
                  <a:pos x="17" y="9"/>
                </a:cxn>
                <a:cxn ang="0">
                  <a:pos x="17" y="10"/>
                </a:cxn>
                <a:cxn ang="0">
                  <a:pos x="18" y="10"/>
                </a:cxn>
                <a:cxn ang="0">
                  <a:pos x="19" y="11"/>
                </a:cxn>
                <a:cxn ang="0">
                  <a:pos x="19" y="12"/>
                </a:cxn>
                <a:cxn ang="0">
                  <a:pos x="20" y="13"/>
                </a:cxn>
                <a:cxn ang="0">
                  <a:pos x="21" y="15"/>
                </a:cxn>
                <a:cxn ang="0">
                  <a:pos x="23" y="17"/>
                </a:cxn>
                <a:cxn ang="0">
                  <a:pos x="28" y="22"/>
                </a:cxn>
              </a:cxnLst>
              <a:rect l="0" t="0" r="r" b="b"/>
              <a:pathLst>
                <a:path w="28" h="22">
                  <a:moveTo>
                    <a:pt x="28" y="22"/>
                  </a:moveTo>
                  <a:lnTo>
                    <a:pt x="24" y="12"/>
                  </a:lnTo>
                  <a:lnTo>
                    <a:pt x="19" y="7"/>
                  </a:lnTo>
                  <a:lnTo>
                    <a:pt x="15" y="4"/>
                  </a:lnTo>
                  <a:lnTo>
                    <a:pt x="12" y="3"/>
                  </a:lnTo>
                  <a:lnTo>
                    <a:pt x="7" y="0"/>
                  </a:lnTo>
                  <a:lnTo>
                    <a:pt x="6" y="0"/>
                  </a:lnTo>
                  <a:lnTo>
                    <a:pt x="3" y="3"/>
                  </a:lnTo>
                  <a:lnTo>
                    <a:pt x="2" y="4"/>
                  </a:lnTo>
                  <a:lnTo>
                    <a:pt x="2" y="5"/>
                  </a:lnTo>
                  <a:lnTo>
                    <a:pt x="3" y="5"/>
                  </a:lnTo>
                  <a:lnTo>
                    <a:pt x="3" y="6"/>
                  </a:lnTo>
                  <a:lnTo>
                    <a:pt x="3" y="7"/>
                  </a:lnTo>
                  <a:lnTo>
                    <a:pt x="2" y="7"/>
                  </a:lnTo>
                  <a:lnTo>
                    <a:pt x="2" y="9"/>
                  </a:lnTo>
                  <a:lnTo>
                    <a:pt x="2" y="7"/>
                  </a:lnTo>
                  <a:lnTo>
                    <a:pt x="1" y="7"/>
                  </a:lnTo>
                  <a:lnTo>
                    <a:pt x="1" y="6"/>
                  </a:lnTo>
                  <a:lnTo>
                    <a:pt x="1" y="7"/>
                  </a:lnTo>
                  <a:lnTo>
                    <a:pt x="1" y="6"/>
                  </a:lnTo>
                  <a:lnTo>
                    <a:pt x="1" y="5"/>
                  </a:lnTo>
                  <a:lnTo>
                    <a:pt x="1" y="6"/>
                  </a:lnTo>
                  <a:lnTo>
                    <a:pt x="0" y="6"/>
                  </a:lnTo>
                  <a:lnTo>
                    <a:pt x="1" y="7"/>
                  </a:lnTo>
                  <a:lnTo>
                    <a:pt x="5" y="10"/>
                  </a:lnTo>
                  <a:lnTo>
                    <a:pt x="9" y="11"/>
                  </a:lnTo>
                  <a:lnTo>
                    <a:pt x="11" y="12"/>
                  </a:lnTo>
                  <a:lnTo>
                    <a:pt x="12" y="11"/>
                  </a:lnTo>
                  <a:lnTo>
                    <a:pt x="13" y="11"/>
                  </a:lnTo>
                  <a:lnTo>
                    <a:pt x="14" y="11"/>
                  </a:lnTo>
                  <a:lnTo>
                    <a:pt x="14" y="10"/>
                  </a:lnTo>
                  <a:lnTo>
                    <a:pt x="15" y="10"/>
                  </a:lnTo>
                  <a:lnTo>
                    <a:pt x="17" y="9"/>
                  </a:lnTo>
                  <a:lnTo>
                    <a:pt x="17" y="10"/>
                  </a:lnTo>
                  <a:lnTo>
                    <a:pt x="18" y="10"/>
                  </a:lnTo>
                  <a:lnTo>
                    <a:pt x="19" y="11"/>
                  </a:lnTo>
                  <a:lnTo>
                    <a:pt x="19" y="12"/>
                  </a:lnTo>
                  <a:lnTo>
                    <a:pt x="20" y="13"/>
                  </a:lnTo>
                  <a:lnTo>
                    <a:pt x="21" y="15"/>
                  </a:lnTo>
                  <a:lnTo>
                    <a:pt x="23" y="17"/>
                  </a:lnTo>
                  <a:lnTo>
                    <a:pt x="28" y="2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3" name="Freeform 45"/>
            <p:cNvSpPr>
              <a:spLocks/>
            </p:cNvSpPr>
            <p:nvPr userDrawn="1"/>
          </p:nvSpPr>
          <p:spPr bwMode="auto">
            <a:xfrm>
              <a:off x="6637338" y="6461126"/>
              <a:ext cx="3175" cy="4763"/>
            </a:xfrm>
            <a:custGeom>
              <a:avLst/>
              <a:gdLst/>
              <a:ahLst/>
              <a:cxnLst>
                <a:cxn ang="0">
                  <a:pos x="9" y="13"/>
                </a:cxn>
                <a:cxn ang="0">
                  <a:pos x="7" y="1"/>
                </a:cxn>
                <a:cxn ang="0">
                  <a:pos x="7" y="2"/>
                </a:cxn>
                <a:cxn ang="0">
                  <a:pos x="6" y="1"/>
                </a:cxn>
                <a:cxn ang="0">
                  <a:pos x="6" y="2"/>
                </a:cxn>
                <a:cxn ang="0">
                  <a:pos x="5" y="1"/>
                </a:cxn>
                <a:cxn ang="0">
                  <a:pos x="6" y="0"/>
                </a:cxn>
                <a:cxn ang="0">
                  <a:pos x="5" y="0"/>
                </a:cxn>
                <a:cxn ang="0">
                  <a:pos x="4" y="0"/>
                </a:cxn>
                <a:cxn ang="0">
                  <a:pos x="4" y="1"/>
                </a:cxn>
                <a:cxn ang="0">
                  <a:pos x="4" y="0"/>
                </a:cxn>
                <a:cxn ang="0">
                  <a:pos x="4" y="1"/>
                </a:cxn>
                <a:cxn ang="0">
                  <a:pos x="4" y="2"/>
                </a:cxn>
                <a:cxn ang="0">
                  <a:pos x="5" y="2"/>
                </a:cxn>
                <a:cxn ang="0">
                  <a:pos x="5" y="4"/>
                </a:cxn>
                <a:cxn ang="0">
                  <a:pos x="4" y="4"/>
                </a:cxn>
                <a:cxn ang="0">
                  <a:pos x="2" y="2"/>
                </a:cxn>
                <a:cxn ang="0">
                  <a:pos x="1" y="2"/>
                </a:cxn>
                <a:cxn ang="0">
                  <a:pos x="1" y="4"/>
                </a:cxn>
                <a:cxn ang="0">
                  <a:pos x="0" y="5"/>
                </a:cxn>
                <a:cxn ang="0">
                  <a:pos x="0" y="7"/>
                </a:cxn>
                <a:cxn ang="0">
                  <a:pos x="0" y="8"/>
                </a:cxn>
                <a:cxn ang="0">
                  <a:pos x="2" y="11"/>
                </a:cxn>
                <a:cxn ang="0">
                  <a:pos x="6" y="13"/>
                </a:cxn>
                <a:cxn ang="0">
                  <a:pos x="9" y="14"/>
                </a:cxn>
                <a:cxn ang="0">
                  <a:pos x="9" y="13"/>
                </a:cxn>
              </a:cxnLst>
              <a:rect l="0" t="0" r="r" b="b"/>
              <a:pathLst>
                <a:path w="9" h="14">
                  <a:moveTo>
                    <a:pt x="9" y="13"/>
                  </a:moveTo>
                  <a:lnTo>
                    <a:pt x="7" y="1"/>
                  </a:lnTo>
                  <a:lnTo>
                    <a:pt x="7" y="2"/>
                  </a:lnTo>
                  <a:lnTo>
                    <a:pt x="6" y="1"/>
                  </a:lnTo>
                  <a:lnTo>
                    <a:pt x="6" y="2"/>
                  </a:lnTo>
                  <a:lnTo>
                    <a:pt x="5" y="1"/>
                  </a:lnTo>
                  <a:lnTo>
                    <a:pt x="6" y="0"/>
                  </a:lnTo>
                  <a:lnTo>
                    <a:pt x="5" y="0"/>
                  </a:lnTo>
                  <a:lnTo>
                    <a:pt x="4" y="0"/>
                  </a:lnTo>
                  <a:lnTo>
                    <a:pt x="4" y="1"/>
                  </a:lnTo>
                  <a:lnTo>
                    <a:pt x="4" y="0"/>
                  </a:lnTo>
                  <a:lnTo>
                    <a:pt x="4" y="1"/>
                  </a:lnTo>
                  <a:lnTo>
                    <a:pt x="4" y="2"/>
                  </a:lnTo>
                  <a:lnTo>
                    <a:pt x="5" y="2"/>
                  </a:lnTo>
                  <a:lnTo>
                    <a:pt x="5" y="4"/>
                  </a:lnTo>
                  <a:lnTo>
                    <a:pt x="4" y="4"/>
                  </a:lnTo>
                  <a:lnTo>
                    <a:pt x="2" y="2"/>
                  </a:lnTo>
                  <a:lnTo>
                    <a:pt x="1" y="2"/>
                  </a:lnTo>
                  <a:lnTo>
                    <a:pt x="1" y="4"/>
                  </a:lnTo>
                  <a:lnTo>
                    <a:pt x="0" y="5"/>
                  </a:lnTo>
                  <a:lnTo>
                    <a:pt x="0" y="7"/>
                  </a:lnTo>
                  <a:lnTo>
                    <a:pt x="0" y="8"/>
                  </a:lnTo>
                  <a:lnTo>
                    <a:pt x="2" y="11"/>
                  </a:lnTo>
                  <a:lnTo>
                    <a:pt x="6" y="13"/>
                  </a:lnTo>
                  <a:lnTo>
                    <a:pt x="9" y="14"/>
                  </a:lnTo>
                  <a:lnTo>
                    <a:pt x="9"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4" name="Freeform 46"/>
            <p:cNvSpPr>
              <a:spLocks/>
            </p:cNvSpPr>
            <p:nvPr userDrawn="1"/>
          </p:nvSpPr>
          <p:spPr bwMode="auto">
            <a:xfrm>
              <a:off x="5686425" y="6329363"/>
              <a:ext cx="725488" cy="142875"/>
            </a:xfrm>
            <a:custGeom>
              <a:avLst/>
              <a:gdLst/>
              <a:ahLst/>
              <a:cxnLst>
                <a:cxn ang="0">
                  <a:pos x="1670" y="102"/>
                </a:cxn>
                <a:cxn ang="0">
                  <a:pos x="1589" y="169"/>
                </a:cxn>
                <a:cxn ang="0">
                  <a:pos x="1537" y="125"/>
                </a:cxn>
                <a:cxn ang="0">
                  <a:pos x="1532" y="106"/>
                </a:cxn>
                <a:cxn ang="0">
                  <a:pos x="1512" y="72"/>
                </a:cxn>
                <a:cxn ang="0">
                  <a:pos x="1475" y="45"/>
                </a:cxn>
                <a:cxn ang="0">
                  <a:pos x="1428" y="31"/>
                </a:cxn>
                <a:cxn ang="0">
                  <a:pos x="1377" y="31"/>
                </a:cxn>
                <a:cxn ang="0">
                  <a:pos x="1330" y="45"/>
                </a:cxn>
                <a:cxn ang="0">
                  <a:pos x="1294" y="72"/>
                </a:cxn>
                <a:cxn ang="0">
                  <a:pos x="1282" y="88"/>
                </a:cxn>
                <a:cxn ang="0">
                  <a:pos x="1270" y="125"/>
                </a:cxn>
                <a:cxn ang="0">
                  <a:pos x="918" y="179"/>
                </a:cxn>
                <a:cxn ang="0">
                  <a:pos x="911" y="179"/>
                </a:cxn>
                <a:cxn ang="0">
                  <a:pos x="890" y="73"/>
                </a:cxn>
                <a:cxn ang="0">
                  <a:pos x="666" y="1"/>
                </a:cxn>
                <a:cxn ang="0">
                  <a:pos x="615" y="73"/>
                </a:cxn>
                <a:cxn ang="0">
                  <a:pos x="599" y="179"/>
                </a:cxn>
                <a:cxn ang="0">
                  <a:pos x="578" y="126"/>
                </a:cxn>
                <a:cxn ang="0">
                  <a:pos x="527" y="179"/>
                </a:cxn>
                <a:cxn ang="0">
                  <a:pos x="506" y="239"/>
                </a:cxn>
                <a:cxn ang="0">
                  <a:pos x="475" y="201"/>
                </a:cxn>
                <a:cxn ang="0">
                  <a:pos x="330" y="239"/>
                </a:cxn>
                <a:cxn ang="0">
                  <a:pos x="289" y="38"/>
                </a:cxn>
                <a:cxn ang="0">
                  <a:pos x="238" y="0"/>
                </a:cxn>
                <a:cxn ang="0">
                  <a:pos x="125" y="38"/>
                </a:cxn>
                <a:cxn ang="0">
                  <a:pos x="93" y="244"/>
                </a:cxn>
                <a:cxn ang="0">
                  <a:pos x="73" y="179"/>
                </a:cxn>
                <a:cxn ang="0">
                  <a:pos x="22" y="244"/>
                </a:cxn>
                <a:cxn ang="0">
                  <a:pos x="0" y="445"/>
                </a:cxn>
                <a:cxn ang="0">
                  <a:pos x="1143" y="448"/>
                </a:cxn>
                <a:cxn ang="0">
                  <a:pos x="2286" y="453"/>
                </a:cxn>
                <a:cxn ang="0">
                  <a:pos x="2145" y="140"/>
                </a:cxn>
                <a:cxn ang="0">
                  <a:pos x="2114" y="35"/>
                </a:cxn>
                <a:cxn ang="0">
                  <a:pos x="1897" y="102"/>
                </a:cxn>
                <a:cxn ang="0">
                  <a:pos x="1702" y="102"/>
                </a:cxn>
              </a:cxnLst>
              <a:rect l="0" t="0" r="r" b="b"/>
              <a:pathLst>
                <a:path w="2286" h="453">
                  <a:moveTo>
                    <a:pt x="1702" y="102"/>
                  </a:moveTo>
                  <a:lnTo>
                    <a:pt x="1670" y="102"/>
                  </a:lnTo>
                  <a:lnTo>
                    <a:pt x="1670" y="169"/>
                  </a:lnTo>
                  <a:lnTo>
                    <a:pt x="1589" y="169"/>
                  </a:lnTo>
                  <a:lnTo>
                    <a:pt x="1589" y="125"/>
                  </a:lnTo>
                  <a:lnTo>
                    <a:pt x="1537" y="125"/>
                  </a:lnTo>
                  <a:lnTo>
                    <a:pt x="1536" y="115"/>
                  </a:lnTo>
                  <a:lnTo>
                    <a:pt x="1532" y="106"/>
                  </a:lnTo>
                  <a:lnTo>
                    <a:pt x="1524" y="88"/>
                  </a:lnTo>
                  <a:lnTo>
                    <a:pt x="1512" y="72"/>
                  </a:lnTo>
                  <a:lnTo>
                    <a:pt x="1495" y="58"/>
                  </a:lnTo>
                  <a:lnTo>
                    <a:pt x="1475" y="45"/>
                  </a:lnTo>
                  <a:lnTo>
                    <a:pt x="1454" y="37"/>
                  </a:lnTo>
                  <a:lnTo>
                    <a:pt x="1428" y="31"/>
                  </a:lnTo>
                  <a:lnTo>
                    <a:pt x="1403" y="30"/>
                  </a:lnTo>
                  <a:lnTo>
                    <a:pt x="1377" y="31"/>
                  </a:lnTo>
                  <a:lnTo>
                    <a:pt x="1351" y="37"/>
                  </a:lnTo>
                  <a:lnTo>
                    <a:pt x="1330" y="45"/>
                  </a:lnTo>
                  <a:lnTo>
                    <a:pt x="1310" y="58"/>
                  </a:lnTo>
                  <a:lnTo>
                    <a:pt x="1294" y="72"/>
                  </a:lnTo>
                  <a:lnTo>
                    <a:pt x="1288" y="79"/>
                  </a:lnTo>
                  <a:lnTo>
                    <a:pt x="1282" y="88"/>
                  </a:lnTo>
                  <a:lnTo>
                    <a:pt x="1273" y="106"/>
                  </a:lnTo>
                  <a:lnTo>
                    <a:pt x="1270" y="125"/>
                  </a:lnTo>
                  <a:lnTo>
                    <a:pt x="1270" y="169"/>
                  </a:lnTo>
                  <a:lnTo>
                    <a:pt x="918" y="179"/>
                  </a:lnTo>
                  <a:lnTo>
                    <a:pt x="1044" y="179"/>
                  </a:lnTo>
                  <a:lnTo>
                    <a:pt x="911" y="179"/>
                  </a:lnTo>
                  <a:lnTo>
                    <a:pt x="890" y="179"/>
                  </a:lnTo>
                  <a:lnTo>
                    <a:pt x="890" y="73"/>
                  </a:lnTo>
                  <a:lnTo>
                    <a:pt x="666" y="73"/>
                  </a:lnTo>
                  <a:lnTo>
                    <a:pt x="666" y="1"/>
                  </a:lnTo>
                  <a:lnTo>
                    <a:pt x="615" y="1"/>
                  </a:lnTo>
                  <a:lnTo>
                    <a:pt x="615" y="73"/>
                  </a:lnTo>
                  <a:lnTo>
                    <a:pt x="599" y="73"/>
                  </a:lnTo>
                  <a:lnTo>
                    <a:pt x="599" y="179"/>
                  </a:lnTo>
                  <a:lnTo>
                    <a:pt x="578" y="179"/>
                  </a:lnTo>
                  <a:lnTo>
                    <a:pt x="578" y="126"/>
                  </a:lnTo>
                  <a:lnTo>
                    <a:pt x="527" y="126"/>
                  </a:lnTo>
                  <a:lnTo>
                    <a:pt x="527" y="179"/>
                  </a:lnTo>
                  <a:lnTo>
                    <a:pt x="506" y="179"/>
                  </a:lnTo>
                  <a:lnTo>
                    <a:pt x="506" y="239"/>
                  </a:lnTo>
                  <a:lnTo>
                    <a:pt x="475" y="239"/>
                  </a:lnTo>
                  <a:lnTo>
                    <a:pt x="475" y="201"/>
                  </a:lnTo>
                  <a:lnTo>
                    <a:pt x="330" y="201"/>
                  </a:lnTo>
                  <a:lnTo>
                    <a:pt x="330" y="239"/>
                  </a:lnTo>
                  <a:lnTo>
                    <a:pt x="289" y="239"/>
                  </a:lnTo>
                  <a:lnTo>
                    <a:pt x="289" y="38"/>
                  </a:lnTo>
                  <a:lnTo>
                    <a:pt x="238" y="38"/>
                  </a:lnTo>
                  <a:lnTo>
                    <a:pt x="238" y="0"/>
                  </a:lnTo>
                  <a:lnTo>
                    <a:pt x="125" y="0"/>
                  </a:lnTo>
                  <a:lnTo>
                    <a:pt x="125" y="38"/>
                  </a:lnTo>
                  <a:lnTo>
                    <a:pt x="93" y="38"/>
                  </a:lnTo>
                  <a:lnTo>
                    <a:pt x="93" y="244"/>
                  </a:lnTo>
                  <a:lnTo>
                    <a:pt x="73" y="244"/>
                  </a:lnTo>
                  <a:lnTo>
                    <a:pt x="73" y="179"/>
                  </a:lnTo>
                  <a:lnTo>
                    <a:pt x="22" y="179"/>
                  </a:lnTo>
                  <a:lnTo>
                    <a:pt x="22" y="244"/>
                  </a:lnTo>
                  <a:lnTo>
                    <a:pt x="0" y="244"/>
                  </a:lnTo>
                  <a:lnTo>
                    <a:pt x="0" y="445"/>
                  </a:lnTo>
                  <a:lnTo>
                    <a:pt x="571" y="446"/>
                  </a:lnTo>
                  <a:lnTo>
                    <a:pt x="1143" y="448"/>
                  </a:lnTo>
                  <a:lnTo>
                    <a:pt x="1714" y="451"/>
                  </a:lnTo>
                  <a:lnTo>
                    <a:pt x="2286" y="453"/>
                  </a:lnTo>
                  <a:lnTo>
                    <a:pt x="2207" y="133"/>
                  </a:lnTo>
                  <a:lnTo>
                    <a:pt x="2145" y="140"/>
                  </a:lnTo>
                  <a:lnTo>
                    <a:pt x="2114" y="140"/>
                  </a:lnTo>
                  <a:lnTo>
                    <a:pt x="2114" y="35"/>
                  </a:lnTo>
                  <a:lnTo>
                    <a:pt x="2062" y="35"/>
                  </a:lnTo>
                  <a:lnTo>
                    <a:pt x="1897" y="102"/>
                  </a:lnTo>
                  <a:lnTo>
                    <a:pt x="1856" y="102"/>
                  </a:lnTo>
                  <a:lnTo>
                    <a:pt x="1702" y="10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5" name="Freeform 47"/>
            <p:cNvSpPr>
              <a:spLocks/>
            </p:cNvSpPr>
            <p:nvPr userDrawn="1"/>
          </p:nvSpPr>
          <p:spPr bwMode="auto">
            <a:xfrm>
              <a:off x="4872038" y="6413501"/>
              <a:ext cx="2127250" cy="100013"/>
            </a:xfrm>
            <a:custGeom>
              <a:avLst/>
              <a:gdLst/>
              <a:ahLst/>
              <a:cxnLst>
                <a:cxn ang="0">
                  <a:pos x="6662" y="264"/>
                </a:cxn>
                <a:cxn ang="0">
                  <a:pos x="6498" y="190"/>
                </a:cxn>
                <a:cxn ang="0">
                  <a:pos x="6376" y="141"/>
                </a:cxn>
                <a:cxn ang="0">
                  <a:pos x="6295" y="120"/>
                </a:cxn>
                <a:cxn ang="0">
                  <a:pos x="6156" y="118"/>
                </a:cxn>
                <a:cxn ang="0">
                  <a:pos x="5476" y="97"/>
                </a:cxn>
                <a:cxn ang="0">
                  <a:pos x="5059" y="74"/>
                </a:cxn>
                <a:cxn ang="0">
                  <a:pos x="4796" y="54"/>
                </a:cxn>
                <a:cxn ang="0">
                  <a:pos x="4566" y="29"/>
                </a:cxn>
                <a:cxn ang="0">
                  <a:pos x="4401" y="5"/>
                </a:cxn>
                <a:cxn ang="0">
                  <a:pos x="4283" y="0"/>
                </a:cxn>
                <a:cxn ang="0">
                  <a:pos x="4178" y="11"/>
                </a:cxn>
                <a:cxn ang="0">
                  <a:pos x="4086" y="32"/>
                </a:cxn>
                <a:cxn ang="0">
                  <a:pos x="3961" y="79"/>
                </a:cxn>
                <a:cxn ang="0">
                  <a:pos x="3797" y="150"/>
                </a:cxn>
                <a:cxn ang="0">
                  <a:pos x="3559" y="184"/>
                </a:cxn>
                <a:cxn ang="0">
                  <a:pos x="3451" y="179"/>
                </a:cxn>
                <a:cxn ang="0">
                  <a:pos x="3369" y="168"/>
                </a:cxn>
                <a:cxn ang="0">
                  <a:pos x="3245" y="139"/>
                </a:cxn>
                <a:cxn ang="0">
                  <a:pos x="3098" y="115"/>
                </a:cxn>
                <a:cxn ang="0">
                  <a:pos x="2988" y="112"/>
                </a:cxn>
                <a:cxn ang="0">
                  <a:pos x="2855" y="108"/>
                </a:cxn>
                <a:cxn ang="0">
                  <a:pos x="2657" y="88"/>
                </a:cxn>
                <a:cxn ang="0">
                  <a:pos x="2498" y="60"/>
                </a:cxn>
                <a:cxn ang="0">
                  <a:pos x="2318" y="40"/>
                </a:cxn>
                <a:cxn ang="0">
                  <a:pos x="2200" y="36"/>
                </a:cxn>
                <a:cxn ang="0">
                  <a:pos x="2070" y="42"/>
                </a:cxn>
                <a:cxn ang="0">
                  <a:pos x="1942" y="58"/>
                </a:cxn>
                <a:cxn ang="0">
                  <a:pos x="1819" y="80"/>
                </a:cxn>
                <a:cxn ang="0">
                  <a:pos x="1592" y="132"/>
                </a:cxn>
                <a:cxn ang="0">
                  <a:pos x="1405" y="169"/>
                </a:cxn>
                <a:cxn ang="0">
                  <a:pos x="1330" y="175"/>
                </a:cxn>
                <a:cxn ang="0">
                  <a:pos x="1269" y="179"/>
                </a:cxn>
                <a:cxn ang="0">
                  <a:pos x="1217" y="189"/>
                </a:cxn>
                <a:cxn ang="0">
                  <a:pos x="1121" y="216"/>
                </a:cxn>
                <a:cxn ang="0">
                  <a:pos x="1002" y="244"/>
                </a:cxn>
                <a:cxn ang="0">
                  <a:pos x="874" y="256"/>
                </a:cxn>
                <a:cxn ang="0">
                  <a:pos x="766" y="255"/>
                </a:cxn>
                <a:cxn ang="0">
                  <a:pos x="669" y="246"/>
                </a:cxn>
                <a:cxn ang="0">
                  <a:pos x="581" y="231"/>
                </a:cxn>
                <a:cxn ang="0">
                  <a:pos x="459" y="201"/>
                </a:cxn>
                <a:cxn ang="0">
                  <a:pos x="326" y="169"/>
                </a:cxn>
                <a:cxn ang="0">
                  <a:pos x="169" y="149"/>
                </a:cxn>
                <a:cxn ang="0">
                  <a:pos x="38" y="144"/>
                </a:cxn>
                <a:cxn ang="0">
                  <a:pos x="0" y="144"/>
                </a:cxn>
                <a:cxn ang="0">
                  <a:pos x="44" y="148"/>
                </a:cxn>
                <a:cxn ang="0">
                  <a:pos x="692" y="169"/>
                </a:cxn>
                <a:cxn ang="0">
                  <a:pos x="1700" y="198"/>
                </a:cxn>
                <a:cxn ang="0">
                  <a:pos x="2709" y="227"/>
                </a:cxn>
                <a:cxn ang="0">
                  <a:pos x="4267" y="269"/>
                </a:cxn>
                <a:cxn ang="0">
                  <a:pos x="5825" y="311"/>
                </a:cxn>
                <a:cxn ang="0">
                  <a:pos x="6700" y="278"/>
                </a:cxn>
              </a:cxnLst>
              <a:rect l="0" t="0" r="r" b="b"/>
              <a:pathLst>
                <a:path w="6700" h="311">
                  <a:moveTo>
                    <a:pt x="6700" y="278"/>
                  </a:moveTo>
                  <a:lnTo>
                    <a:pt x="6662" y="264"/>
                  </a:lnTo>
                  <a:lnTo>
                    <a:pt x="6614" y="243"/>
                  </a:lnTo>
                  <a:lnTo>
                    <a:pt x="6498" y="190"/>
                  </a:lnTo>
                  <a:lnTo>
                    <a:pt x="6437" y="163"/>
                  </a:lnTo>
                  <a:lnTo>
                    <a:pt x="6376" y="141"/>
                  </a:lnTo>
                  <a:lnTo>
                    <a:pt x="6320" y="125"/>
                  </a:lnTo>
                  <a:lnTo>
                    <a:pt x="6295" y="120"/>
                  </a:lnTo>
                  <a:lnTo>
                    <a:pt x="6270" y="119"/>
                  </a:lnTo>
                  <a:lnTo>
                    <a:pt x="6156" y="118"/>
                  </a:lnTo>
                  <a:lnTo>
                    <a:pt x="5973" y="114"/>
                  </a:lnTo>
                  <a:lnTo>
                    <a:pt x="5476" y="97"/>
                  </a:lnTo>
                  <a:lnTo>
                    <a:pt x="5198" y="83"/>
                  </a:lnTo>
                  <a:lnTo>
                    <a:pt x="5059" y="74"/>
                  </a:lnTo>
                  <a:lnTo>
                    <a:pt x="4924" y="65"/>
                  </a:lnTo>
                  <a:lnTo>
                    <a:pt x="4796" y="54"/>
                  </a:lnTo>
                  <a:lnTo>
                    <a:pt x="4675" y="42"/>
                  </a:lnTo>
                  <a:lnTo>
                    <a:pt x="4566" y="29"/>
                  </a:lnTo>
                  <a:lnTo>
                    <a:pt x="4468" y="14"/>
                  </a:lnTo>
                  <a:lnTo>
                    <a:pt x="4401" y="5"/>
                  </a:lnTo>
                  <a:lnTo>
                    <a:pt x="4339" y="0"/>
                  </a:lnTo>
                  <a:lnTo>
                    <a:pt x="4283" y="0"/>
                  </a:lnTo>
                  <a:lnTo>
                    <a:pt x="4228" y="4"/>
                  </a:lnTo>
                  <a:lnTo>
                    <a:pt x="4178" y="11"/>
                  </a:lnTo>
                  <a:lnTo>
                    <a:pt x="4131" y="20"/>
                  </a:lnTo>
                  <a:lnTo>
                    <a:pt x="4086" y="32"/>
                  </a:lnTo>
                  <a:lnTo>
                    <a:pt x="4043" y="46"/>
                  </a:lnTo>
                  <a:lnTo>
                    <a:pt x="3961" y="79"/>
                  </a:lnTo>
                  <a:lnTo>
                    <a:pt x="3880" y="114"/>
                  </a:lnTo>
                  <a:lnTo>
                    <a:pt x="3797" y="150"/>
                  </a:lnTo>
                  <a:lnTo>
                    <a:pt x="3707" y="181"/>
                  </a:lnTo>
                  <a:lnTo>
                    <a:pt x="3559" y="184"/>
                  </a:lnTo>
                  <a:lnTo>
                    <a:pt x="3501" y="183"/>
                  </a:lnTo>
                  <a:lnTo>
                    <a:pt x="3451" y="179"/>
                  </a:lnTo>
                  <a:lnTo>
                    <a:pt x="3407" y="174"/>
                  </a:lnTo>
                  <a:lnTo>
                    <a:pt x="3369" y="168"/>
                  </a:lnTo>
                  <a:lnTo>
                    <a:pt x="3304" y="154"/>
                  </a:lnTo>
                  <a:lnTo>
                    <a:pt x="3245" y="139"/>
                  </a:lnTo>
                  <a:lnTo>
                    <a:pt x="3180" y="125"/>
                  </a:lnTo>
                  <a:lnTo>
                    <a:pt x="3098" y="115"/>
                  </a:lnTo>
                  <a:lnTo>
                    <a:pt x="3047" y="112"/>
                  </a:lnTo>
                  <a:lnTo>
                    <a:pt x="2988" y="112"/>
                  </a:lnTo>
                  <a:lnTo>
                    <a:pt x="2918" y="111"/>
                  </a:lnTo>
                  <a:lnTo>
                    <a:pt x="2855" y="108"/>
                  </a:lnTo>
                  <a:lnTo>
                    <a:pt x="2748" y="100"/>
                  </a:lnTo>
                  <a:lnTo>
                    <a:pt x="2657" y="88"/>
                  </a:lnTo>
                  <a:lnTo>
                    <a:pt x="2577" y="73"/>
                  </a:lnTo>
                  <a:lnTo>
                    <a:pt x="2498" y="60"/>
                  </a:lnTo>
                  <a:lnTo>
                    <a:pt x="2414" y="48"/>
                  </a:lnTo>
                  <a:lnTo>
                    <a:pt x="2318" y="40"/>
                  </a:lnTo>
                  <a:lnTo>
                    <a:pt x="2262" y="37"/>
                  </a:lnTo>
                  <a:lnTo>
                    <a:pt x="2200" y="36"/>
                  </a:lnTo>
                  <a:lnTo>
                    <a:pt x="2135" y="37"/>
                  </a:lnTo>
                  <a:lnTo>
                    <a:pt x="2070" y="42"/>
                  </a:lnTo>
                  <a:lnTo>
                    <a:pt x="2006" y="49"/>
                  </a:lnTo>
                  <a:lnTo>
                    <a:pt x="1942" y="58"/>
                  </a:lnTo>
                  <a:lnTo>
                    <a:pt x="1879" y="68"/>
                  </a:lnTo>
                  <a:lnTo>
                    <a:pt x="1819" y="80"/>
                  </a:lnTo>
                  <a:lnTo>
                    <a:pt x="1701" y="106"/>
                  </a:lnTo>
                  <a:lnTo>
                    <a:pt x="1592" y="132"/>
                  </a:lnTo>
                  <a:lnTo>
                    <a:pt x="1493" y="154"/>
                  </a:lnTo>
                  <a:lnTo>
                    <a:pt x="1405" y="169"/>
                  </a:lnTo>
                  <a:lnTo>
                    <a:pt x="1365" y="174"/>
                  </a:lnTo>
                  <a:lnTo>
                    <a:pt x="1330" y="175"/>
                  </a:lnTo>
                  <a:lnTo>
                    <a:pt x="1298" y="177"/>
                  </a:lnTo>
                  <a:lnTo>
                    <a:pt x="1269" y="179"/>
                  </a:lnTo>
                  <a:lnTo>
                    <a:pt x="1242" y="184"/>
                  </a:lnTo>
                  <a:lnTo>
                    <a:pt x="1217" y="189"/>
                  </a:lnTo>
                  <a:lnTo>
                    <a:pt x="1169" y="202"/>
                  </a:lnTo>
                  <a:lnTo>
                    <a:pt x="1121" y="216"/>
                  </a:lnTo>
                  <a:lnTo>
                    <a:pt x="1067" y="231"/>
                  </a:lnTo>
                  <a:lnTo>
                    <a:pt x="1002" y="244"/>
                  </a:lnTo>
                  <a:lnTo>
                    <a:pt x="921" y="254"/>
                  </a:lnTo>
                  <a:lnTo>
                    <a:pt x="874" y="256"/>
                  </a:lnTo>
                  <a:lnTo>
                    <a:pt x="820" y="257"/>
                  </a:lnTo>
                  <a:lnTo>
                    <a:pt x="766" y="255"/>
                  </a:lnTo>
                  <a:lnTo>
                    <a:pt x="716" y="251"/>
                  </a:lnTo>
                  <a:lnTo>
                    <a:pt x="669" y="246"/>
                  </a:lnTo>
                  <a:lnTo>
                    <a:pt x="625" y="239"/>
                  </a:lnTo>
                  <a:lnTo>
                    <a:pt x="581" y="231"/>
                  </a:lnTo>
                  <a:lnTo>
                    <a:pt x="541" y="221"/>
                  </a:lnTo>
                  <a:lnTo>
                    <a:pt x="459" y="201"/>
                  </a:lnTo>
                  <a:lnTo>
                    <a:pt x="373" y="179"/>
                  </a:lnTo>
                  <a:lnTo>
                    <a:pt x="326" y="169"/>
                  </a:lnTo>
                  <a:lnTo>
                    <a:pt x="278" y="161"/>
                  </a:lnTo>
                  <a:lnTo>
                    <a:pt x="169" y="149"/>
                  </a:lnTo>
                  <a:lnTo>
                    <a:pt x="107" y="145"/>
                  </a:lnTo>
                  <a:lnTo>
                    <a:pt x="38" y="144"/>
                  </a:lnTo>
                  <a:lnTo>
                    <a:pt x="4" y="144"/>
                  </a:lnTo>
                  <a:lnTo>
                    <a:pt x="0" y="144"/>
                  </a:lnTo>
                  <a:lnTo>
                    <a:pt x="6" y="145"/>
                  </a:lnTo>
                  <a:lnTo>
                    <a:pt x="44" y="148"/>
                  </a:lnTo>
                  <a:lnTo>
                    <a:pt x="117" y="151"/>
                  </a:lnTo>
                  <a:lnTo>
                    <a:pt x="692" y="169"/>
                  </a:lnTo>
                  <a:lnTo>
                    <a:pt x="1196" y="184"/>
                  </a:lnTo>
                  <a:lnTo>
                    <a:pt x="1700" y="198"/>
                  </a:lnTo>
                  <a:lnTo>
                    <a:pt x="2204" y="213"/>
                  </a:lnTo>
                  <a:lnTo>
                    <a:pt x="2709" y="227"/>
                  </a:lnTo>
                  <a:lnTo>
                    <a:pt x="3488" y="248"/>
                  </a:lnTo>
                  <a:lnTo>
                    <a:pt x="4267" y="269"/>
                  </a:lnTo>
                  <a:lnTo>
                    <a:pt x="5046" y="290"/>
                  </a:lnTo>
                  <a:lnTo>
                    <a:pt x="5825" y="311"/>
                  </a:lnTo>
                  <a:lnTo>
                    <a:pt x="5825" y="268"/>
                  </a:lnTo>
                  <a:lnTo>
                    <a:pt x="6700" y="27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6" name="Freeform 48"/>
            <p:cNvSpPr>
              <a:spLocks/>
            </p:cNvSpPr>
            <p:nvPr userDrawn="1"/>
          </p:nvSpPr>
          <p:spPr bwMode="auto">
            <a:xfrm>
              <a:off x="3695700" y="6399213"/>
              <a:ext cx="3414713" cy="228600"/>
            </a:xfrm>
            <a:custGeom>
              <a:avLst/>
              <a:gdLst/>
              <a:ahLst/>
              <a:cxnLst>
                <a:cxn ang="0">
                  <a:pos x="9385" y="213"/>
                </a:cxn>
                <a:cxn ang="0">
                  <a:pos x="8277" y="216"/>
                </a:cxn>
                <a:cxn ang="0">
                  <a:pos x="7237" y="220"/>
                </a:cxn>
                <a:cxn ang="0">
                  <a:pos x="6887" y="209"/>
                </a:cxn>
                <a:cxn ang="0">
                  <a:pos x="6376" y="163"/>
                </a:cxn>
                <a:cxn ang="0">
                  <a:pos x="6034" y="143"/>
                </a:cxn>
                <a:cxn ang="0">
                  <a:pos x="5876" y="144"/>
                </a:cxn>
                <a:cxn ang="0">
                  <a:pos x="5733" y="157"/>
                </a:cxn>
                <a:cxn ang="0">
                  <a:pos x="5483" y="185"/>
                </a:cxn>
                <a:cxn ang="0">
                  <a:pos x="5261" y="195"/>
                </a:cxn>
                <a:cxn ang="0">
                  <a:pos x="5060" y="193"/>
                </a:cxn>
                <a:cxn ang="0">
                  <a:pos x="4867" y="186"/>
                </a:cxn>
                <a:cxn ang="0">
                  <a:pos x="4735" y="173"/>
                </a:cxn>
                <a:cxn ang="0">
                  <a:pos x="4306" y="110"/>
                </a:cxn>
                <a:cxn ang="0">
                  <a:pos x="3909" y="53"/>
                </a:cxn>
                <a:cxn ang="0">
                  <a:pos x="3641" y="21"/>
                </a:cxn>
                <a:cxn ang="0">
                  <a:pos x="3390" y="2"/>
                </a:cxn>
                <a:cxn ang="0">
                  <a:pos x="3224" y="0"/>
                </a:cxn>
                <a:cxn ang="0">
                  <a:pos x="3128" y="6"/>
                </a:cxn>
                <a:cxn ang="0">
                  <a:pos x="3012" y="20"/>
                </a:cxn>
                <a:cxn ang="0">
                  <a:pos x="2863" y="33"/>
                </a:cxn>
                <a:cxn ang="0">
                  <a:pos x="2635" y="44"/>
                </a:cxn>
                <a:cxn ang="0">
                  <a:pos x="2207" y="54"/>
                </a:cxn>
                <a:cxn ang="0">
                  <a:pos x="1969" y="70"/>
                </a:cxn>
                <a:cxn ang="0">
                  <a:pos x="1626" y="101"/>
                </a:cxn>
                <a:cxn ang="0">
                  <a:pos x="1313" y="107"/>
                </a:cxn>
                <a:cxn ang="0">
                  <a:pos x="1031" y="98"/>
                </a:cxn>
                <a:cxn ang="0">
                  <a:pos x="776" y="80"/>
                </a:cxn>
                <a:cxn ang="0">
                  <a:pos x="443" y="54"/>
                </a:cxn>
                <a:cxn ang="0">
                  <a:pos x="250" y="47"/>
                </a:cxn>
                <a:cxn ang="0">
                  <a:pos x="119" y="53"/>
                </a:cxn>
                <a:cxn ang="0">
                  <a:pos x="0" y="70"/>
                </a:cxn>
                <a:cxn ang="0">
                  <a:pos x="1497" y="701"/>
                </a:cxn>
                <a:cxn ang="0">
                  <a:pos x="2732" y="665"/>
                </a:cxn>
                <a:cxn ang="0">
                  <a:pos x="3966" y="629"/>
                </a:cxn>
                <a:cxn ang="0">
                  <a:pos x="5200" y="593"/>
                </a:cxn>
                <a:cxn ang="0">
                  <a:pos x="6434" y="558"/>
                </a:cxn>
                <a:cxn ang="0">
                  <a:pos x="7668" y="522"/>
                </a:cxn>
                <a:cxn ang="0">
                  <a:pos x="8902" y="486"/>
                </a:cxn>
                <a:cxn ang="0">
                  <a:pos x="10136" y="449"/>
                </a:cxn>
                <a:cxn ang="0">
                  <a:pos x="10656" y="400"/>
                </a:cxn>
                <a:cxn ang="0">
                  <a:pos x="10400" y="329"/>
                </a:cxn>
                <a:cxn ang="0">
                  <a:pos x="10230" y="290"/>
                </a:cxn>
                <a:cxn ang="0">
                  <a:pos x="9944" y="240"/>
                </a:cxn>
                <a:cxn ang="0">
                  <a:pos x="9740" y="220"/>
                </a:cxn>
              </a:cxnLst>
              <a:rect l="0" t="0" r="r" b="b"/>
              <a:pathLst>
                <a:path w="10754" h="719">
                  <a:moveTo>
                    <a:pt x="9638" y="216"/>
                  </a:moveTo>
                  <a:lnTo>
                    <a:pt x="9385" y="213"/>
                  </a:lnTo>
                  <a:lnTo>
                    <a:pt x="9055" y="213"/>
                  </a:lnTo>
                  <a:lnTo>
                    <a:pt x="8277" y="216"/>
                  </a:lnTo>
                  <a:lnTo>
                    <a:pt x="7530" y="220"/>
                  </a:lnTo>
                  <a:lnTo>
                    <a:pt x="7237" y="220"/>
                  </a:lnTo>
                  <a:lnTo>
                    <a:pt x="7038" y="217"/>
                  </a:lnTo>
                  <a:lnTo>
                    <a:pt x="6887" y="209"/>
                  </a:lnTo>
                  <a:lnTo>
                    <a:pt x="6723" y="196"/>
                  </a:lnTo>
                  <a:lnTo>
                    <a:pt x="6376" y="163"/>
                  </a:lnTo>
                  <a:lnTo>
                    <a:pt x="6203" y="150"/>
                  </a:lnTo>
                  <a:lnTo>
                    <a:pt x="6034" y="143"/>
                  </a:lnTo>
                  <a:lnTo>
                    <a:pt x="5955" y="142"/>
                  </a:lnTo>
                  <a:lnTo>
                    <a:pt x="5876" y="144"/>
                  </a:lnTo>
                  <a:lnTo>
                    <a:pt x="5803" y="149"/>
                  </a:lnTo>
                  <a:lnTo>
                    <a:pt x="5733" y="157"/>
                  </a:lnTo>
                  <a:lnTo>
                    <a:pt x="5604" y="173"/>
                  </a:lnTo>
                  <a:lnTo>
                    <a:pt x="5483" y="185"/>
                  </a:lnTo>
                  <a:lnTo>
                    <a:pt x="5370" y="192"/>
                  </a:lnTo>
                  <a:lnTo>
                    <a:pt x="5261" y="195"/>
                  </a:lnTo>
                  <a:lnTo>
                    <a:pt x="5159" y="195"/>
                  </a:lnTo>
                  <a:lnTo>
                    <a:pt x="5060" y="193"/>
                  </a:lnTo>
                  <a:lnTo>
                    <a:pt x="4963" y="190"/>
                  </a:lnTo>
                  <a:lnTo>
                    <a:pt x="4867" y="186"/>
                  </a:lnTo>
                  <a:lnTo>
                    <a:pt x="4810" y="183"/>
                  </a:lnTo>
                  <a:lnTo>
                    <a:pt x="4735" y="173"/>
                  </a:lnTo>
                  <a:lnTo>
                    <a:pt x="4542" y="146"/>
                  </a:lnTo>
                  <a:lnTo>
                    <a:pt x="4306" y="110"/>
                  </a:lnTo>
                  <a:lnTo>
                    <a:pt x="4044" y="71"/>
                  </a:lnTo>
                  <a:lnTo>
                    <a:pt x="3909" y="53"/>
                  </a:lnTo>
                  <a:lnTo>
                    <a:pt x="3773" y="36"/>
                  </a:lnTo>
                  <a:lnTo>
                    <a:pt x="3641" y="21"/>
                  </a:lnTo>
                  <a:lnTo>
                    <a:pt x="3512" y="11"/>
                  </a:lnTo>
                  <a:lnTo>
                    <a:pt x="3390" y="2"/>
                  </a:lnTo>
                  <a:lnTo>
                    <a:pt x="3277" y="0"/>
                  </a:lnTo>
                  <a:lnTo>
                    <a:pt x="3224" y="0"/>
                  </a:lnTo>
                  <a:lnTo>
                    <a:pt x="3175" y="2"/>
                  </a:lnTo>
                  <a:lnTo>
                    <a:pt x="3128" y="6"/>
                  </a:lnTo>
                  <a:lnTo>
                    <a:pt x="3085" y="11"/>
                  </a:lnTo>
                  <a:lnTo>
                    <a:pt x="3012" y="20"/>
                  </a:lnTo>
                  <a:lnTo>
                    <a:pt x="2939" y="27"/>
                  </a:lnTo>
                  <a:lnTo>
                    <a:pt x="2863" y="33"/>
                  </a:lnTo>
                  <a:lnTo>
                    <a:pt x="2787" y="38"/>
                  </a:lnTo>
                  <a:lnTo>
                    <a:pt x="2635" y="44"/>
                  </a:lnTo>
                  <a:lnTo>
                    <a:pt x="2486" y="48"/>
                  </a:lnTo>
                  <a:lnTo>
                    <a:pt x="2207" y="54"/>
                  </a:lnTo>
                  <a:lnTo>
                    <a:pt x="2081" y="60"/>
                  </a:lnTo>
                  <a:lnTo>
                    <a:pt x="1969" y="70"/>
                  </a:lnTo>
                  <a:lnTo>
                    <a:pt x="1794" y="89"/>
                  </a:lnTo>
                  <a:lnTo>
                    <a:pt x="1626" y="101"/>
                  </a:lnTo>
                  <a:lnTo>
                    <a:pt x="1466" y="106"/>
                  </a:lnTo>
                  <a:lnTo>
                    <a:pt x="1313" y="107"/>
                  </a:lnTo>
                  <a:lnTo>
                    <a:pt x="1169" y="104"/>
                  </a:lnTo>
                  <a:lnTo>
                    <a:pt x="1031" y="98"/>
                  </a:lnTo>
                  <a:lnTo>
                    <a:pt x="900" y="90"/>
                  </a:lnTo>
                  <a:lnTo>
                    <a:pt x="776" y="80"/>
                  </a:lnTo>
                  <a:lnTo>
                    <a:pt x="547" y="61"/>
                  </a:lnTo>
                  <a:lnTo>
                    <a:pt x="443" y="54"/>
                  </a:lnTo>
                  <a:lnTo>
                    <a:pt x="344" y="49"/>
                  </a:lnTo>
                  <a:lnTo>
                    <a:pt x="250" y="47"/>
                  </a:lnTo>
                  <a:lnTo>
                    <a:pt x="162" y="49"/>
                  </a:lnTo>
                  <a:lnTo>
                    <a:pt x="119" y="53"/>
                  </a:lnTo>
                  <a:lnTo>
                    <a:pt x="78" y="56"/>
                  </a:lnTo>
                  <a:lnTo>
                    <a:pt x="0" y="70"/>
                  </a:lnTo>
                  <a:lnTo>
                    <a:pt x="881" y="719"/>
                  </a:lnTo>
                  <a:lnTo>
                    <a:pt x="1497" y="701"/>
                  </a:lnTo>
                  <a:lnTo>
                    <a:pt x="2115" y="683"/>
                  </a:lnTo>
                  <a:lnTo>
                    <a:pt x="2732" y="665"/>
                  </a:lnTo>
                  <a:lnTo>
                    <a:pt x="3349" y="647"/>
                  </a:lnTo>
                  <a:lnTo>
                    <a:pt x="3966" y="629"/>
                  </a:lnTo>
                  <a:lnTo>
                    <a:pt x="4583" y="611"/>
                  </a:lnTo>
                  <a:lnTo>
                    <a:pt x="5200" y="593"/>
                  </a:lnTo>
                  <a:lnTo>
                    <a:pt x="5817" y="576"/>
                  </a:lnTo>
                  <a:lnTo>
                    <a:pt x="6434" y="558"/>
                  </a:lnTo>
                  <a:lnTo>
                    <a:pt x="7052" y="540"/>
                  </a:lnTo>
                  <a:lnTo>
                    <a:pt x="7668" y="522"/>
                  </a:lnTo>
                  <a:lnTo>
                    <a:pt x="8286" y="504"/>
                  </a:lnTo>
                  <a:lnTo>
                    <a:pt x="8902" y="486"/>
                  </a:lnTo>
                  <a:lnTo>
                    <a:pt x="9520" y="467"/>
                  </a:lnTo>
                  <a:lnTo>
                    <a:pt x="10136" y="449"/>
                  </a:lnTo>
                  <a:lnTo>
                    <a:pt x="10754" y="433"/>
                  </a:lnTo>
                  <a:lnTo>
                    <a:pt x="10656" y="400"/>
                  </a:lnTo>
                  <a:lnTo>
                    <a:pt x="10544" y="368"/>
                  </a:lnTo>
                  <a:lnTo>
                    <a:pt x="10400" y="329"/>
                  </a:lnTo>
                  <a:lnTo>
                    <a:pt x="10318" y="309"/>
                  </a:lnTo>
                  <a:lnTo>
                    <a:pt x="10230" y="290"/>
                  </a:lnTo>
                  <a:lnTo>
                    <a:pt x="10042" y="255"/>
                  </a:lnTo>
                  <a:lnTo>
                    <a:pt x="9944" y="240"/>
                  </a:lnTo>
                  <a:lnTo>
                    <a:pt x="9842" y="228"/>
                  </a:lnTo>
                  <a:lnTo>
                    <a:pt x="9740" y="220"/>
                  </a:lnTo>
                  <a:lnTo>
                    <a:pt x="9638" y="2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7" name="Freeform 49"/>
            <p:cNvSpPr>
              <a:spLocks/>
            </p:cNvSpPr>
            <p:nvPr userDrawn="1"/>
          </p:nvSpPr>
          <p:spPr bwMode="auto">
            <a:xfrm>
              <a:off x="3903663" y="6438901"/>
              <a:ext cx="3119438" cy="184150"/>
            </a:xfrm>
            <a:custGeom>
              <a:avLst/>
              <a:gdLst/>
              <a:ahLst/>
              <a:cxnLst>
                <a:cxn ang="0">
                  <a:pos x="8912" y="209"/>
                </a:cxn>
                <a:cxn ang="0">
                  <a:pos x="7820" y="109"/>
                </a:cxn>
                <a:cxn ang="0">
                  <a:pos x="7719" y="102"/>
                </a:cxn>
                <a:cxn ang="0">
                  <a:pos x="7596" y="99"/>
                </a:cxn>
                <a:cxn ang="0">
                  <a:pos x="7318" y="102"/>
                </a:cxn>
                <a:cxn ang="0">
                  <a:pos x="7180" y="109"/>
                </a:cxn>
                <a:cxn ang="0">
                  <a:pos x="6941" y="132"/>
                </a:cxn>
                <a:cxn ang="0">
                  <a:pos x="6857" y="148"/>
                </a:cxn>
                <a:cxn ang="0">
                  <a:pos x="6798" y="158"/>
                </a:cxn>
                <a:cxn ang="0">
                  <a:pos x="6723" y="161"/>
                </a:cxn>
                <a:cxn ang="0">
                  <a:pos x="6607" y="159"/>
                </a:cxn>
                <a:cxn ang="0">
                  <a:pos x="6416" y="144"/>
                </a:cxn>
                <a:cxn ang="0">
                  <a:pos x="6232" y="123"/>
                </a:cxn>
                <a:cxn ang="0">
                  <a:pos x="6088" y="101"/>
                </a:cxn>
                <a:cxn ang="0">
                  <a:pos x="5935" y="71"/>
                </a:cxn>
                <a:cxn ang="0">
                  <a:pos x="5712" y="37"/>
                </a:cxn>
                <a:cxn ang="0">
                  <a:pos x="5541" y="20"/>
                </a:cxn>
                <a:cxn ang="0">
                  <a:pos x="5375" y="24"/>
                </a:cxn>
                <a:cxn ang="0">
                  <a:pos x="5188" y="43"/>
                </a:cxn>
                <a:cxn ang="0">
                  <a:pos x="5004" y="78"/>
                </a:cxn>
                <a:cxn ang="0">
                  <a:pos x="4899" y="107"/>
                </a:cxn>
                <a:cxn ang="0">
                  <a:pos x="4828" y="120"/>
                </a:cxn>
                <a:cxn ang="0">
                  <a:pos x="4719" y="131"/>
                </a:cxn>
                <a:cxn ang="0">
                  <a:pos x="4598" y="135"/>
                </a:cxn>
                <a:cxn ang="0">
                  <a:pos x="4248" y="127"/>
                </a:cxn>
                <a:cxn ang="0">
                  <a:pos x="4125" y="130"/>
                </a:cxn>
                <a:cxn ang="0">
                  <a:pos x="4075" y="136"/>
                </a:cxn>
                <a:cxn ang="0">
                  <a:pos x="4010" y="129"/>
                </a:cxn>
                <a:cxn ang="0">
                  <a:pos x="3966" y="113"/>
                </a:cxn>
                <a:cxn ang="0">
                  <a:pos x="3839" y="47"/>
                </a:cxn>
                <a:cxn ang="0">
                  <a:pos x="3747" y="11"/>
                </a:cxn>
                <a:cxn ang="0">
                  <a:pos x="3680" y="2"/>
                </a:cxn>
                <a:cxn ang="0">
                  <a:pos x="3456" y="1"/>
                </a:cxn>
                <a:cxn ang="0">
                  <a:pos x="3029" y="11"/>
                </a:cxn>
                <a:cxn ang="0">
                  <a:pos x="2789" y="6"/>
                </a:cxn>
                <a:cxn ang="0">
                  <a:pos x="2677" y="2"/>
                </a:cxn>
                <a:cxn ang="0">
                  <a:pos x="2421" y="13"/>
                </a:cxn>
                <a:cxn ang="0">
                  <a:pos x="2017" y="46"/>
                </a:cxn>
                <a:cxn ang="0">
                  <a:pos x="1833" y="54"/>
                </a:cxn>
                <a:cxn ang="0">
                  <a:pos x="1730" y="55"/>
                </a:cxn>
                <a:cxn ang="0">
                  <a:pos x="1651" y="65"/>
                </a:cxn>
                <a:cxn ang="0">
                  <a:pos x="1588" y="84"/>
                </a:cxn>
                <a:cxn ang="0">
                  <a:pos x="1539" y="109"/>
                </a:cxn>
                <a:cxn ang="0">
                  <a:pos x="1481" y="153"/>
                </a:cxn>
                <a:cxn ang="0">
                  <a:pos x="1415" y="208"/>
                </a:cxn>
                <a:cxn ang="0">
                  <a:pos x="1379" y="228"/>
                </a:cxn>
                <a:cxn ang="0">
                  <a:pos x="1290" y="256"/>
                </a:cxn>
                <a:cxn ang="0">
                  <a:pos x="650" y="421"/>
                </a:cxn>
                <a:cxn ang="0">
                  <a:pos x="0" y="580"/>
                </a:cxn>
                <a:cxn ang="0">
                  <a:pos x="1084" y="412"/>
                </a:cxn>
                <a:cxn ang="0">
                  <a:pos x="2169" y="247"/>
                </a:cxn>
                <a:cxn ang="0">
                  <a:pos x="3581" y="253"/>
                </a:cxn>
                <a:cxn ang="0">
                  <a:pos x="5114" y="248"/>
                </a:cxn>
                <a:cxn ang="0">
                  <a:pos x="6648" y="244"/>
                </a:cxn>
                <a:cxn ang="0">
                  <a:pos x="8237" y="266"/>
                </a:cxn>
                <a:cxn ang="0">
                  <a:pos x="9827" y="289"/>
                </a:cxn>
              </a:cxnLst>
              <a:rect l="0" t="0" r="r" b="b"/>
              <a:pathLst>
                <a:path w="9827" h="580">
                  <a:moveTo>
                    <a:pt x="9827" y="289"/>
                  </a:moveTo>
                  <a:lnTo>
                    <a:pt x="8912" y="209"/>
                  </a:lnTo>
                  <a:lnTo>
                    <a:pt x="8233" y="149"/>
                  </a:lnTo>
                  <a:lnTo>
                    <a:pt x="7820" y="109"/>
                  </a:lnTo>
                  <a:lnTo>
                    <a:pt x="7772" y="106"/>
                  </a:lnTo>
                  <a:lnTo>
                    <a:pt x="7719" y="102"/>
                  </a:lnTo>
                  <a:lnTo>
                    <a:pt x="7659" y="100"/>
                  </a:lnTo>
                  <a:lnTo>
                    <a:pt x="7596" y="99"/>
                  </a:lnTo>
                  <a:lnTo>
                    <a:pt x="7459" y="99"/>
                  </a:lnTo>
                  <a:lnTo>
                    <a:pt x="7318" y="102"/>
                  </a:lnTo>
                  <a:lnTo>
                    <a:pt x="7248" y="106"/>
                  </a:lnTo>
                  <a:lnTo>
                    <a:pt x="7180" y="109"/>
                  </a:lnTo>
                  <a:lnTo>
                    <a:pt x="7051" y="120"/>
                  </a:lnTo>
                  <a:lnTo>
                    <a:pt x="6941" y="132"/>
                  </a:lnTo>
                  <a:lnTo>
                    <a:pt x="6896" y="140"/>
                  </a:lnTo>
                  <a:lnTo>
                    <a:pt x="6857" y="148"/>
                  </a:lnTo>
                  <a:lnTo>
                    <a:pt x="6820" y="155"/>
                  </a:lnTo>
                  <a:lnTo>
                    <a:pt x="6798" y="158"/>
                  </a:lnTo>
                  <a:lnTo>
                    <a:pt x="6774" y="159"/>
                  </a:lnTo>
                  <a:lnTo>
                    <a:pt x="6723" y="161"/>
                  </a:lnTo>
                  <a:lnTo>
                    <a:pt x="6667" y="160"/>
                  </a:lnTo>
                  <a:lnTo>
                    <a:pt x="6607" y="159"/>
                  </a:lnTo>
                  <a:lnTo>
                    <a:pt x="6544" y="155"/>
                  </a:lnTo>
                  <a:lnTo>
                    <a:pt x="6416" y="144"/>
                  </a:lnTo>
                  <a:lnTo>
                    <a:pt x="6291" y="130"/>
                  </a:lnTo>
                  <a:lnTo>
                    <a:pt x="6232" y="123"/>
                  </a:lnTo>
                  <a:lnTo>
                    <a:pt x="6179" y="114"/>
                  </a:lnTo>
                  <a:lnTo>
                    <a:pt x="6088" y="101"/>
                  </a:lnTo>
                  <a:lnTo>
                    <a:pt x="6029" y="89"/>
                  </a:lnTo>
                  <a:lnTo>
                    <a:pt x="5935" y="71"/>
                  </a:lnTo>
                  <a:lnTo>
                    <a:pt x="5825" y="54"/>
                  </a:lnTo>
                  <a:lnTo>
                    <a:pt x="5712" y="37"/>
                  </a:lnTo>
                  <a:lnTo>
                    <a:pt x="5608" y="25"/>
                  </a:lnTo>
                  <a:lnTo>
                    <a:pt x="5541" y="20"/>
                  </a:lnTo>
                  <a:lnTo>
                    <a:pt x="5463" y="20"/>
                  </a:lnTo>
                  <a:lnTo>
                    <a:pt x="5375" y="24"/>
                  </a:lnTo>
                  <a:lnTo>
                    <a:pt x="5283" y="31"/>
                  </a:lnTo>
                  <a:lnTo>
                    <a:pt x="5188" y="43"/>
                  </a:lnTo>
                  <a:lnTo>
                    <a:pt x="5094" y="59"/>
                  </a:lnTo>
                  <a:lnTo>
                    <a:pt x="5004" y="78"/>
                  </a:lnTo>
                  <a:lnTo>
                    <a:pt x="4920" y="101"/>
                  </a:lnTo>
                  <a:lnTo>
                    <a:pt x="4899" y="107"/>
                  </a:lnTo>
                  <a:lnTo>
                    <a:pt x="4878" y="112"/>
                  </a:lnTo>
                  <a:lnTo>
                    <a:pt x="4828" y="120"/>
                  </a:lnTo>
                  <a:lnTo>
                    <a:pt x="4775" y="127"/>
                  </a:lnTo>
                  <a:lnTo>
                    <a:pt x="4719" y="131"/>
                  </a:lnTo>
                  <a:lnTo>
                    <a:pt x="4660" y="134"/>
                  </a:lnTo>
                  <a:lnTo>
                    <a:pt x="4598" y="135"/>
                  </a:lnTo>
                  <a:lnTo>
                    <a:pt x="4475" y="134"/>
                  </a:lnTo>
                  <a:lnTo>
                    <a:pt x="4248" y="127"/>
                  </a:lnTo>
                  <a:lnTo>
                    <a:pt x="4159" y="127"/>
                  </a:lnTo>
                  <a:lnTo>
                    <a:pt x="4125" y="130"/>
                  </a:lnTo>
                  <a:lnTo>
                    <a:pt x="4097" y="134"/>
                  </a:lnTo>
                  <a:lnTo>
                    <a:pt x="4075" y="136"/>
                  </a:lnTo>
                  <a:lnTo>
                    <a:pt x="4053" y="136"/>
                  </a:lnTo>
                  <a:lnTo>
                    <a:pt x="4010" y="129"/>
                  </a:lnTo>
                  <a:lnTo>
                    <a:pt x="3988" y="121"/>
                  </a:lnTo>
                  <a:lnTo>
                    <a:pt x="3966" y="113"/>
                  </a:lnTo>
                  <a:lnTo>
                    <a:pt x="3925" y="93"/>
                  </a:lnTo>
                  <a:lnTo>
                    <a:pt x="3839" y="47"/>
                  </a:lnTo>
                  <a:lnTo>
                    <a:pt x="3794" y="27"/>
                  </a:lnTo>
                  <a:lnTo>
                    <a:pt x="3747" y="11"/>
                  </a:lnTo>
                  <a:lnTo>
                    <a:pt x="3718" y="6"/>
                  </a:lnTo>
                  <a:lnTo>
                    <a:pt x="3680" y="2"/>
                  </a:lnTo>
                  <a:lnTo>
                    <a:pt x="3580" y="0"/>
                  </a:lnTo>
                  <a:lnTo>
                    <a:pt x="3456" y="1"/>
                  </a:lnTo>
                  <a:lnTo>
                    <a:pt x="3317" y="4"/>
                  </a:lnTo>
                  <a:lnTo>
                    <a:pt x="3029" y="11"/>
                  </a:lnTo>
                  <a:lnTo>
                    <a:pt x="2899" y="11"/>
                  </a:lnTo>
                  <a:lnTo>
                    <a:pt x="2789" y="6"/>
                  </a:lnTo>
                  <a:lnTo>
                    <a:pt x="2734" y="4"/>
                  </a:lnTo>
                  <a:lnTo>
                    <a:pt x="2677" y="2"/>
                  </a:lnTo>
                  <a:lnTo>
                    <a:pt x="2553" y="5"/>
                  </a:lnTo>
                  <a:lnTo>
                    <a:pt x="2421" y="13"/>
                  </a:lnTo>
                  <a:lnTo>
                    <a:pt x="2285" y="24"/>
                  </a:lnTo>
                  <a:lnTo>
                    <a:pt x="2017" y="46"/>
                  </a:lnTo>
                  <a:lnTo>
                    <a:pt x="1892" y="53"/>
                  </a:lnTo>
                  <a:lnTo>
                    <a:pt x="1833" y="54"/>
                  </a:lnTo>
                  <a:lnTo>
                    <a:pt x="1779" y="54"/>
                  </a:lnTo>
                  <a:lnTo>
                    <a:pt x="1730" y="55"/>
                  </a:lnTo>
                  <a:lnTo>
                    <a:pt x="1689" y="59"/>
                  </a:lnTo>
                  <a:lnTo>
                    <a:pt x="1651" y="65"/>
                  </a:lnTo>
                  <a:lnTo>
                    <a:pt x="1618" y="73"/>
                  </a:lnTo>
                  <a:lnTo>
                    <a:pt x="1588" y="84"/>
                  </a:lnTo>
                  <a:lnTo>
                    <a:pt x="1563" y="96"/>
                  </a:lnTo>
                  <a:lnTo>
                    <a:pt x="1539" y="109"/>
                  </a:lnTo>
                  <a:lnTo>
                    <a:pt x="1518" y="124"/>
                  </a:lnTo>
                  <a:lnTo>
                    <a:pt x="1481" y="153"/>
                  </a:lnTo>
                  <a:lnTo>
                    <a:pt x="1447" y="182"/>
                  </a:lnTo>
                  <a:lnTo>
                    <a:pt x="1415" y="208"/>
                  </a:lnTo>
                  <a:lnTo>
                    <a:pt x="1398" y="219"/>
                  </a:lnTo>
                  <a:lnTo>
                    <a:pt x="1379" y="228"/>
                  </a:lnTo>
                  <a:lnTo>
                    <a:pt x="1346" y="239"/>
                  </a:lnTo>
                  <a:lnTo>
                    <a:pt x="1290" y="256"/>
                  </a:lnTo>
                  <a:lnTo>
                    <a:pt x="1119" y="302"/>
                  </a:lnTo>
                  <a:lnTo>
                    <a:pt x="650" y="421"/>
                  </a:lnTo>
                  <a:lnTo>
                    <a:pt x="201" y="531"/>
                  </a:lnTo>
                  <a:lnTo>
                    <a:pt x="0" y="580"/>
                  </a:lnTo>
                  <a:lnTo>
                    <a:pt x="542" y="495"/>
                  </a:lnTo>
                  <a:lnTo>
                    <a:pt x="1084" y="412"/>
                  </a:lnTo>
                  <a:lnTo>
                    <a:pt x="1626" y="329"/>
                  </a:lnTo>
                  <a:lnTo>
                    <a:pt x="2169" y="247"/>
                  </a:lnTo>
                  <a:lnTo>
                    <a:pt x="2874" y="249"/>
                  </a:lnTo>
                  <a:lnTo>
                    <a:pt x="3581" y="253"/>
                  </a:lnTo>
                  <a:lnTo>
                    <a:pt x="4347" y="250"/>
                  </a:lnTo>
                  <a:lnTo>
                    <a:pt x="5114" y="248"/>
                  </a:lnTo>
                  <a:lnTo>
                    <a:pt x="5881" y="245"/>
                  </a:lnTo>
                  <a:lnTo>
                    <a:pt x="6648" y="244"/>
                  </a:lnTo>
                  <a:lnTo>
                    <a:pt x="7442" y="255"/>
                  </a:lnTo>
                  <a:lnTo>
                    <a:pt x="8237" y="266"/>
                  </a:lnTo>
                  <a:lnTo>
                    <a:pt x="9031" y="277"/>
                  </a:lnTo>
                  <a:lnTo>
                    <a:pt x="9827" y="2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8" name="Freeform 50"/>
            <p:cNvSpPr>
              <a:spLocks/>
            </p:cNvSpPr>
            <p:nvPr userDrawn="1"/>
          </p:nvSpPr>
          <p:spPr bwMode="auto">
            <a:xfrm>
              <a:off x="3948113" y="6484938"/>
              <a:ext cx="3306763" cy="184150"/>
            </a:xfrm>
            <a:custGeom>
              <a:avLst/>
              <a:gdLst/>
              <a:ahLst/>
              <a:cxnLst>
                <a:cxn ang="0">
                  <a:pos x="7060" y="3"/>
                </a:cxn>
                <a:cxn ang="0">
                  <a:pos x="6185" y="40"/>
                </a:cxn>
                <a:cxn ang="0">
                  <a:pos x="6091" y="35"/>
                </a:cxn>
                <a:cxn ang="0">
                  <a:pos x="6002" y="45"/>
                </a:cxn>
                <a:cxn ang="0">
                  <a:pos x="5911" y="57"/>
                </a:cxn>
                <a:cxn ang="0">
                  <a:pos x="5784" y="60"/>
                </a:cxn>
                <a:cxn ang="0">
                  <a:pos x="5682" y="58"/>
                </a:cxn>
                <a:cxn ang="0">
                  <a:pos x="5534" y="51"/>
                </a:cxn>
                <a:cxn ang="0">
                  <a:pos x="5325" y="48"/>
                </a:cxn>
                <a:cxn ang="0">
                  <a:pos x="5195" y="45"/>
                </a:cxn>
                <a:cxn ang="0">
                  <a:pos x="4981" y="36"/>
                </a:cxn>
                <a:cxn ang="0">
                  <a:pos x="4799" y="38"/>
                </a:cxn>
                <a:cxn ang="0">
                  <a:pos x="4528" y="32"/>
                </a:cxn>
                <a:cxn ang="0">
                  <a:pos x="4267" y="33"/>
                </a:cxn>
                <a:cxn ang="0">
                  <a:pos x="3976" y="41"/>
                </a:cxn>
                <a:cxn ang="0">
                  <a:pos x="3853" y="35"/>
                </a:cxn>
                <a:cxn ang="0">
                  <a:pos x="3676" y="17"/>
                </a:cxn>
                <a:cxn ang="0">
                  <a:pos x="3563" y="15"/>
                </a:cxn>
                <a:cxn ang="0">
                  <a:pos x="3506" y="27"/>
                </a:cxn>
                <a:cxn ang="0">
                  <a:pos x="3327" y="76"/>
                </a:cxn>
                <a:cxn ang="0">
                  <a:pos x="3209" y="98"/>
                </a:cxn>
                <a:cxn ang="0">
                  <a:pos x="3150" y="103"/>
                </a:cxn>
                <a:cxn ang="0">
                  <a:pos x="3098" y="101"/>
                </a:cxn>
                <a:cxn ang="0">
                  <a:pos x="3014" y="89"/>
                </a:cxn>
                <a:cxn ang="0">
                  <a:pos x="2920" y="66"/>
                </a:cxn>
                <a:cxn ang="0">
                  <a:pos x="2838" y="60"/>
                </a:cxn>
                <a:cxn ang="0">
                  <a:pos x="2728" y="48"/>
                </a:cxn>
                <a:cxn ang="0">
                  <a:pos x="2687" y="47"/>
                </a:cxn>
                <a:cxn ang="0">
                  <a:pos x="2679" y="33"/>
                </a:cxn>
                <a:cxn ang="0">
                  <a:pos x="2666" y="18"/>
                </a:cxn>
                <a:cxn ang="0">
                  <a:pos x="2634" y="5"/>
                </a:cxn>
                <a:cxn ang="0">
                  <a:pos x="2549" y="0"/>
                </a:cxn>
                <a:cxn ang="0">
                  <a:pos x="2191" y="22"/>
                </a:cxn>
                <a:cxn ang="0">
                  <a:pos x="1925" y="41"/>
                </a:cxn>
                <a:cxn ang="0">
                  <a:pos x="1884" y="62"/>
                </a:cxn>
                <a:cxn ang="0">
                  <a:pos x="1836" y="77"/>
                </a:cxn>
                <a:cxn ang="0">
                  <a:pos x="1758" y="84"/>
                </a:cxn>
                <a:cxn ang="0">
                  <a:pos x="1660" y="94"/>
                </a:cxn>
                <a:cxn ang="0">
                  <a:pos x="1564" y="118"/>
                </a:cxn>
                <a:cxn ang="0">
                  <a:pos x="1430" y="154"/>
                </a:cxn>
                <a:cxn ang="0">
                  <a:pos x="1270" y="176"/>
                </a:cxn>
                <a:cxn ang="0">
                  <a:pos x="904" y="230"/>
                </a:cxn>
                <a:cxn ang="0">
                  <a:pos x="650" y="524"/>
                </a:cxn>
                <a:cxn ang="0">
                  <a:pos x="1952" y="532"/>
                </a:cxn>
                <a:cxn ang="0">
                  <a:pos x="3253" y="539"/>
                </a:cxn>
                <a:cxn ang="0">
                  <a:pos x="4556" y="546"/>
                </a:cxn>
                <a:cxn ang="0">
                  <a:pos x="5858" y="555"/>
                </a:cxn>
                <a:cxn ang="0">
                  <a:pos x="7160" y="562"/>
                </a:cxn>
                <a:cxn ang="0">
                  <a:pos x="8462" y="569"/>
                </a:cxn>
                <a:cxn ang="0">
                  <a:pos x="9765" y="576"/>
                </a:cxn>
                <a:cxn ang="0">
                  <a:pos x="10238" y="499"/>
                </a:cxn>
                <a:cxn ang="0">
                  <a:pos x="9933" y="368"/>
                </a:cxn>
                <a:cxn ang="0">
                  <a:pos x="9686" y="271"/>
                </a:cxn>
                <a:cxn ang="0">
                  <a:pos x="9430" y="178"/>
                </a:cxn>
                <a:cxn ang="0">
                  <a:pos x="9184" y="104"/>
                </a:cxn>
                <a:cxn ang="0">
                  <a:pos x="8969" y="60"/>
                </a:cxn>
                <a:cxn ang="0">
                  <a:pos x="8111" y="41"/>
                </a:cxn>
              </a:cxnLst>
              <a:rect l="0" t="0" r="r" b="b"/>
              <a:pathLst>
                <a:path w="10416" h="581">
                  <a:moveTo>
                    <a:pt x="7676" y="33"/>
                  </a:moveTo>
                  <a:lnTo>
                    <a:pt x="7060" y="3"/>
                  </a:lnTo>
                  <a:lnTo>
                    <a:pt x="6196" y="44"/>
                  </a:lnTo>
                  <a:lnTo>
                    <a:pt x="6185" y="40"/>
                  </a:lnTo>
                  <a:lnTo>
                    <a:pt x="6150" y="35"/>
                  </a:lnTo>
                  <a:lnTo>
                    <a:pt x="6091" y="35"/>
                  </a:lnTo>
                  <a:lnTo>
                    <a:pt x="6050" y="39"/>
                  </a:lnTo>
                  <a:lnTo>
                    <a:pt x="6002" y="45"/>
                  </a:lnTo>
                  <a:lnTo>
                    <a:pt x="5954" y="52"/>
                  </a:lnTo>
                  <a:lnTo>
                    <a:pt x="5911" y="57"/>
                  </a:lnTo>
                  <a:lnTo>
                    <a:pt x="5840" y="62"/>
                  </a:lnTo>
                  <a:lnTo>
                    <a:pt x="5784" y="60"/>
                  </a:lnTo>
                  <a:lnTo>
                    <a:pt x="5737" y="60"/>
                  </a:lnTo>
                  <a:lnTo>
                    <a:pt x="5682" y="58"/>
                  </a:lnTo>
                  <a:lnTo>
                    <a:pt x="5610" y="54"/>
                  </a:lnTo>
                  <a:lnTo>
                    <a:pt x="5534" y="51"/>
                  </a:lnTo>
                  <a:lnTo>
                    <a:pt x="5461" y="48"/>
                  </a:lnTo>
                  <a:lnTo>
                    <a:pt x="5325" y="48"/>
                  </a:lnTo>
                  <a:lnTo>
                    <a:pt x="5258" y="47"/>
                  </a:lnTo>
                  <a:lnTo>
                    <a:pt x="5195" y="45"/>
                  </a:lnTo>
                  <a:lnTo>
                    <a:pt x="5059" y="39"/>
                  </a:lnTo>
                  <a:lnTo>
                    <a:pt x="4981" y="36"/>
                  </a:lnTo>
                  <a:lnTo>
                    <a:pt x="4900" y="38"/>
                  </a:lnTo>
                  <a:lnTo>
                    <a:pt x="4799" y="38"/>
                  </a:lnTo>
                  <a:lnTo>
                    <a:pt x="4668" y="35"/>
                  </a:lnTo>
                  <a:lnTo>
                    <a:pt x="4528" y="32"/>
                  </a:lnTo>
                  <a:lnTo>
                    <a:pt x="4398" y="30"/>
                  </a:lnTo>
                  <a:lnTo>
                    <a:pt x="4267" y="33"/>
                  </a:lnTo>
                  <a:lnTo>
                    <a:pt x="4120" y="39"/>
                  </a:lnTo>
                  <a:lnTo>
                    <a:pt x="3976" y="41"/>
                  </a:lnTo>
                  <a:lnTo>
                    <a:pt x="3911" y="40"/>
                  </a:lnTo>
                  <a:lnTo>
                    <a:pt x="3853" y="35"/>
                  </a:lnTo>
                  <a:lnTo>
                    <a:pt x="3755" y="24"/>
                  </a:lnTo>
                  <a:lnTo>
                    <a:pt x="3676" y="17"/>
                  </a:lnTo>
                  <a:lnTo>
                    <a:pt x="3613" y="15"/>
                  </a:lnTo>
                  <a:lnTo>
                    <a:pt x="3563" y="15"/>
                  </a:lnTo>
                  <a:lnTo>
                    <a:pt x="3537" y="18"/>
                  </a:lnTo>
                  <a:lnTo>
                    <a:pt x="3506" y="27"/>
                  </a:lnTo>
                  <a:lnTo>
                    <a:pt x="3427" y="50"/>
                  </a:lnTo>
                  <a:lnTo>
                    <a:pt x="3327" y="76"/>
                  </a:lnTo>
                  <a:lnTo>
                    <a:pt x="3269" y="88"/>
                  </a:lnTo>
                  <a:lnTo>
                    <a:pt x="3209" y="98"/>
                  </a:lnTo>
                  <a:lnTo>
                    <a:pt x="3179" y="101"/>
                  </a:lnTo>
                  <a:lnTo>
                    <a:pt x="3150" y="103"/>
                  </a:lnTo>
                  <a:lnTo>
                    <a:pt x="3123" y="103"/>
                  </a:lnTo>
                  <a:lnTo>
                    <a:pt x="3098" y="101"/>
                  </a:lnTo>
                  <a:lnTo>
                    <a:pt x="3053" y="97"/>
                  </a:lnTo>
                  <a:lnTo>
                    <a:pt x="3014" y="89"/>
                  </a:lnTo>
                  <a:lnTo>
                    <a:pt x="2949" y="72"/>
                  </a:lnTo>
                  <a:lnTo>
                    <a:pt x="2920" y="66"/>
                  </a:lnTo>
                  <a:lnTo>
                    <a:pt x="2893" y="64"/>
                  </a:lnTo>
                  <a:lnTo>
                    <a:pt x="2838" y="60"/>
                  </a:lnTo>
                  <a:lnTo>
                    <a:pt x="2779" y="54"/>
                  </a:lnTo>
                  <a:lnTo>
                    <a:pt x="2728" y="48"/>
                  </a:lnTo>
                  <a:lnTo>
                    <a:pt x="2696" y="48"/>
                  </a:lnTo>
                  <a:lnTo>
                    <a:pt x="2687" y="47"/>
                  </a:lnTo>
                  <a:lnTo>
                    <a:pt x="2683" y="41"/>
                  </a:lnTo>
                  <a:lnTo>
                    <a:pt x="2679" y="33"/>
                  </a:lnTo>
                  <a:lnTo>
                    <a:pt x="2671" y="23"/>
                  </a:lnTo>
                  <a:lnTo>
                    <a:pt x="2666" y="18"/>
                  </a:lnTo>
                  <a:lnTo>
                    <a:pt x="2657" y="14"/>
                  </a:lnTo>
                  <a:lnTo>
                    <a:pt x="2634" y="5"/>
                  </a:lnTo>
                  <a:lnTo>
                    <a:pt x="2600" y="0"/>
                  </a:lnTo>
                  <a:lnTo>
                    <a:pt x="2549" y="0"/>
                  </a:lnTo>
                  <a:lnTo>
                    <a:pt x="2390" y="10"/>
                  </a:lnTo>
                  <a:lnTo>
                    <a:pt x="2191" y="22"/>
                  </a:lnTo>
                  <a:lnTo>
                    <a:pt x="1934" y="39"/>
                  </a:lnTo>
                  <a:lnTo>
                    <a:pt x="1925" y="41"/>
                  </a:lnTo>
                  <a:lnTo>
                    <a:pt x="1914" y="46"/>
                  </a:lnTo>
                  <a:lnTo>
                    <a:pt x="1884" y="62"/>
                  </a:lnTo>
                  <a:lnTo>
                    <a:pt x="1864" y="70"/>
                  </a:lnTo>
                  <a:lnTo>
                    <a:pt x="1836" y="77"/>
                  </a:lnTo>
                  <a:lnTo>
                    <a:pt x="1801" y="82"/>
                  </a:lnTo>
                  <a:lnTo>
                    <a:pt x="1758" y="84"/>
                  </a:lnTo>
                  <a:lnTo>
                    <a:pt x="1710" y="87"/>
                  </a:lnTo>
                  <a:lnTo>
                    <a:pt x="1660" y="94"/>
                  </a:lnTo>
                  <a:lnTo>
                    <a:pt x="1612" y="105"/>
                  </a:lnTo>
                  <a:lnTo>
                    <a:pt x="1564" y="118"/>
                  </a:lnTo>
                  <a:lnTo>
                    <a:pt x="1473" y="145"/>
                  </a:lnTo>
                  <a:lnTo>
                    <a:pt x="1430" y="154"/>
                  </a:lnTo>
                  <a:lnTo>
                    <a:pt x="1391" y="160"/>
                  </a:lnTo>
                  <a:lnTo>
                    <a:pt x="1270" y="176"/>
                  </a:lnTo>
                  <a:lnTo>
                    <a:pt x="1109" y="199"/>
                  </a:lnTo>
                  <a:lnTo>
                    <a:pt x="904" y="230"/>
                  </a:lnTo>
                  <a:lnTo>
                    <a:pt x="0" y="521"/>
                  </a:lnTo>
                  <a:lnTo>
                    <a:pt x="650" y="524"/>
                  </a:lnTo>
                  <a:lnTo>
                    <a:pt x="1302" y="528"/>
                  </a:lnTo>
                  <a:lnTo>
                    <a:pt x="1952" y="532"/>
                  </a:lnTo>
                  <a:lnTo>
                    <a:pt x="2603" y="535"/>
                  </a:lnTo>
                  <a:lnTo>
                    <a:pt x="3253" y="539"/>
                  </a:lnTo>
                  <a:lnTo>
                    <a:pt x="3905" y="543"/>
                  </a:lnTo>
                  <a:lnTo>
                    <a:pt x="4556" y="546"/>
                  </a:lnTo>
                  <a:lnTo>
                    <a:pt x="5207" y="551"/>
                  </a:lnTo>
                  <a:lnTo>
                    <a:pt x="5858" y="555"/>
                  </a:lnTo>
                  <a:lnTo>
                    <a:pt x="6509" y="558"/>
                  </a:lnTo>
                  <a:lnTo>
                    <a:pt x="7160" y="562"/>
                  </a:lnTo>
                  <a:lnTo>
                    <a:pt x="7812" y="565"/>
                  </a:lnTo>
                  <a:lnTo>
                    <a:pt x="8462" y="569"/>
                  </a:lnTo>
                  <a:lnTo>
                    <a:pt x="9113" y="573"/>
                  </a:lnTo>
                  <a:lnTo>
                    <a:pt x="9765" y="576"/>
                  </a:lnTo>
                  <a:lnTo>
                    <a:pt x="10416" y="581"/>
                  </a:lnTo>
                  <a:lnTo>
                    <a:pt x="10238" y="499"/>
                  </a:lnTo>
                  <a:lnTo>
                    <a:pt x="10045" y="415"/>
                  </a:lnTo>
                  <a:lnTo>
                    <a:pt x="9933" y="368"/>
                  </a:lnTo>
                  <a:lnTo>
                    <a:pt x="9813" y="319"/>
                  </a:lnTo>
                  <a:lnTo>
                    <a:pt x="9686" y="271"/>
                  </a:lnTo>
                  <a:lnTo>
                    <a:pt x="9559" y="223"/>
                  </a:lnTo>
                  <a:lnTo>
                    <a:pt x="9430" y="178"/>
                  </a:lnTo>
                  <a:lnTo>
                    <a:pt x="9305" y="139"/>
                  </a:lnTo>
                  <a:lnTo>
                    <a:pt x="9184" y="104"/>
                  </a:lnTo>
                  <a:lnTo>
                    <a:pt x="9071" y="77"/>
                  </a:lnTo>
                  <a:lnTo>
                    <a:pt x="8969" y="60"/>
                  </a:lnTo>
                  <a:lnTo>
                    <a:pt x="8878" y="53"/>
                  </a:lnTo>
                  <a:lnTo>
                    <a:pt x="8111" y="41"/>
                  </a:lnTo>
                  <a:lnTo>
                    <a:pt x="7676" y="3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9" name="Freeform 51"/>
            <p:cNvSpPr>
              <a:spLocks/>
            </p:cNvSpPr>
            <p:nvPr userDrawn="1"/>
          </p:nvSpPr>
          <p:spPr bwMode="auto">
            <a:xfrm>
              <a:off x="1654175" y="6334126"/>
              <a:ext cx="31750" cy="36513"/>
            </a:xfrm>
            <a:custGeom>
              <a:avLst/>
              <a:gdLst/>
              <a:ahLst/>
              <a:cxnLst>
                <a:cxn ang="0">
                  <a:pos x="98" y="115"/>
                </a:cxn>
                <a:cxn ang="0">
                  <a:pos x="102" y="115"/>
                </a:cxn>
                <a:cxn ang="0">
                  <a:pos x="102" y="101"/>
                </a:cxn>
                <a:cxn ang="0">
                  <a:pos x="0" y="0"/>
                </a:cxn>
                <a:cxn ang="0">
                  <a:pos x="0" y="16"/>
                </a:cxn>
                <a:cxn ang="0">
                  <a:pos x="98" y="115"/>
                </a:cxn>
              </a:cxnLst>
              <a:rect l="0" t="0" r="r" b="b"/>
              <a:pathLst>
                <a:path w="102" h="115">
                  <a:moveTo>
                    <a:pt x="98" y="115"/>
                  </a:moveTo>
                  <a:lnTo>
                    <a:pt x="102" y="115"/>
                  </a:lnTo>
                  <a:lnTo>
                    <a:pt x="102" y="101"/>
                  </a:lnTo>
                  <a:lnTo>
                    <a:pt x="0" y="0"/>
                  </a:lnTo>
                  <a:lnTo>
                    <a:pt x="0" y="16"/>
                  </a:lnTo>
                  <a:lnTo>
                    <a:pt x="98" y="11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0" name="Freeform 52"/>
            <p:cNvSpPr>
              <a:spLocks/>
            </p:cNvSpPr>
            <p:nvPr userDrawn="1"/>
          </p:nvSpPr>
          <p:spPr bwMode="auto">
            <a:xfrm>
              <a:off x="1654175" y="6362701"/>
              <a:ext cx="7938" cy="7938"/>
            </a:xfrm>
            <a:custGeom>
              <a:avLst/>
              <a:gdLst/>
              <a:ahLst/>
              <a:cxnLst>
                <a:cxn ang="0">
                  <a:pos x="0" y="0"/>
                </a:cxn>
                <a:cxn ang="0">
                  <a:pos x="0" y="23"/>
                </a:cxn>
                <a:cxn ang="0">
                  <a:pos x="24" y="23"/>
                </a:cxn>
                <a:cxn ang="0">
                  <a:pos x="0" y="0"/>
                </a:cxn>
              </a:cxnLst>
              <a:rect l="0" t="0" r="r" b="b"/>
              <a:pathLst>
                <a:path w="24" h="23">
                  <a:moveTo>
                    <a:pt x="0" y="0"/>
                  </a:moveTo>
                  <a:lnTo>
                    <a:pt x="0" y="23"/>
                  </a:lnTo>
                  <a:lnTo>
                    <a:pt x="24" y="2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1" name="Rectangle 53"/>
            <p:cNvSpPr>
              <a:spLocks noChangeArrowheads="1"/>
            </p:cNvSpPr>
            <p:nvPr userDrawn="1"/>
          </p:nvSpPr>
          <p:spPr bwMode="auto">
            <a:xfrm>
              <a:off x="3989388" y="6373813"/>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2" name="Freeform 54"/>
            <p:cNvSpPr>
              <a:spLocks/>
            </p:cNvSpPr>
            <p:nvPr userDrawn="1"/>
          </p:nvSpPr>
          <p:spPr bwMode="auto">
            <a:xfrm>
              <a:off x="766763" y="6411913"/>
              <a:ext cx="5416550" cy="153988"/>
            </a:xfrm>
            <a:custGeom>
              <a:avLst/>
              <a:gdLst/>
              <a:ahLst/>
              <a:cxnLst>
                <a:cxn ang="0">
                  <a:pos x="41" y="469"/>
                </a:cxn>
                <a:cxn ang="0">
                  <a:pos x="164" y="427"/>
                </a:cxn>
                <a:cxn ang="0">
                  <a:pos x="361" y="367"/>
                </a:cxn>
                <a:cxn ang="0">
                  <a:pos x="630" y="298"/>
                </a:cxn>
                <a:cxn ang="0">
                  <a:pos x="874" y="245"/>
                </a:cxn>
                <a:cxn ang="0">
                  <a:pos x="1155" y="197"/>
                </a:cxn>
                <a:cxn ang="0">
                  <a:pos x="1580" y="144"/>
                </a:cxn>
                <a:cxn ang="0">
                  <a:pos x="2059" y="112"/>
                </a:cxn>
                <a:cxn ang="0">
                  <a:pos x="2318" y="107"/>
                </a:cxn>
                <a:cxn ang="0">
                  <a:pos x="2940" y="113"/>
                </a:cxn>
                <a:cxn ang="0">
                  <a:pos x="3703" y="133"/>
                </a:cxn>
                <a:cxn ang="0">
                  <a:pos x="4536" y="163"/>
                </a:cxn>
                <a:cxn ang="0">
                  <a:pos x="6140" y="234"/>
                </a:cxn>
                <a:cxn ang="0">
                  <a:pos x="7364" y="296"/>
                </a:cxn>
                <a:cxn ang="0">
                  <a:pos x="7482" y="254"/>
                </a:cxn>
                <a:cxn ang="0">
                  <a:pos x="7626" y="209"/>
                </a:cxn>
                <a:cxn ang="0">
                  <a:pos x="7826" y="159"/>
                </a:cxn>
                <a:cxn ang="0">
                  <a:pos x="8078" y="106"/>
                </a:cxn>
                <a:cxn ang="0">
                  <a:pos x="8380" y="59"/>
                </a:cxn>
                <a:cxn ang="0">
                  <a:pos x="8732" y="22"/>
                </a:cxn>
                <a:cxn ang="0">
                  <a:pos x="9130" y="0"/>
                </a:cxn>
                <a:cxn ang="0">
                  <a:pos x="9550" y="59"/>
                </a:cxn>
                <a:cxn ang="0">
                  <a:pos x="10002" y="103"/>
                </a:cxn>
                <a:cxn ang="0">
                  <a:pos x="10457" y="138"/>
                </a:cxn>
                <a:cxn ang="0">
                  <a:pos x="10892" y="162"/>
                </a:cxn>
                <a:cxn ang="0">
                  <a:pos x="11584" y="189"/>
                </a:cxn>
                <a:cxn ang="0">
                  <a:pos x="12027" y="221"/>
                </a:cxn>
                <a:cxn ang="0">
                  <a:pos x="12420" y="275"/>
                </a:cxn>
                <a:cxn ang="0">
                  <a:pos x="12654" y="302"/>
                </a:cxn>
                <a:cxn ang="0">
                  <a:pos x="12889" y="322"/>
                </a:cxn>
                <a:cxn ang="0">
                  <a:pos x="13105" y="332"/>
                </a:cxn>
                <a:cxn ang="0">
                  <a:pos x="13284" y="326"/>
                </a:cxn>
                <a:cxn ang="0">
                  <a:pos x="13458" y="314"/>
                </a:cxn>
                <a:cxn ang="0">
                  <a:pos x="13660" y="306"/>
                </a:cxn>
                <a:cxn ang="0">
                  <a:pos x="14108" y="305"/>
                </a:cxn>
                <a:cxn ang="0">
                  <a:pos x="14435" y="317"/>
                </a:cxn>
                <a:cxn ang="0">
                  <a:pos x="14627" y="329"/>
                </a:cxn>
                <a:cxn ang="0">
                  <a:pos x="14783" y="345"/>
                </a:cxn>
                <a:cxn ang="0">
                  <a:pos x="15056" y="387"/>
                </a:cxn>
                <a:cxn ang="0">
                  <a:pos x="15471" y="436"/>
                </a:cxn>
                <a:cxn ang="0">
                  <a:pos x="15862" y="468"/>
                </a:cxn>
                <a:cxn ang="0">
                  <a:pos x="16217" y="482"/>
                </a:cxn>
                <a:cxn ang="0">
                  <a:pos x="16658" y="486"/>
                </a:cxn>
                <a:cxn ang="0">
                  <a:pos x="17011" y="475"/>
                </a:cxn>
                <a:cxn ang="0">
                  <a:pos x="16098" y="470"/>
                </a:cxn>
                <a:cxn ang="0">
                  <a:pos x="14176" y="468"/>
                </a:cxn>
                <a:cxn ang="0">
                  <a:pos x="12253" y="465"/>
                </a:cxn>
                <a:cxn ang="0">
                  <a:pos x="10332" y="463"/>
                </a:cxn>
                <a:cxn ang="0">
                  <a:pos x="8409" y="460"/>
                </a:cxn>
                <a:cxn ang="0">
                  <a:pos x="6487" y="458"/>
                </a:cxn>
                <a:cxn ang="0">
                  <a:pos x="4566" y="456"/>
                </a:cxn>
                <a:cxn ang="0">
                  <a:pos x="2644" y="453"/>
                </a:cxn>
                <a:cxn ang="0">
                  <a:pos x="842" y="468"/>
                </a:cxn>
              </a:cxnLst>
              <a:rect l="0" t="0" r="r" b="b"/>
              <a:pathLst>
                <a:path w="17060" h="486">
                  <a:moveTo>
                    <a:pt x="0" y="484"/>
                  </a:moveTo>
                  <a:lnTo>
                    <a:pt x="41" y="469"/>
                  </a:lnTo>
                  <a:lnTo>
                    <a:pt x="93" y="451"/>
                  </a:lnTo>
                  <a:lnTo>
                    <a:pt x="164" y="427"/>
                  </a:lnTo>
                  <a:lnTo>
                    <a:pt x="253" y="398"/>
                  </a:lnTo>
                  <a:lnTo>
                    <a:pt x="361" y="367"/>
                  </a:lnTo>
                  <a:lnTo>
                    <a:pt x="487" y="333"/>
                  </a:lnTo>
                  <a:lnTo>
                    <a:pt x="630" y="298"/>
                  </a:lnTo>
                  <a:lnTo>
                    <a:pt x="789" y="263"/>
                  </a:lnTo>
                  <a:lnTo>
                    <a:pt x="874" y="245"/>
                  </a:lnTo>
                  <a:lnTo>
                    <a:pt x="963" y="230"/>
                  </a:lnTo>
                  <a:lnTo>
                    <a:pt x="1155" y="197"/>
                  </a:lnTo>
                  <a:lnTo>
                    <a:pt x="1360" y="168"/>
                  </a:lnTo>
                  <a:lnTo>
                    <a:pt x="1580" y="144"/>
                  </a:lnTo>
                  <a:lnTo>
                    <a:pt x="1813" y="125"/>
                  </a:lnTo>
                  <a:lnTo>
                    <a:pt x="2059" y="112"/>
                  </a:lnTo>
                  <a:lnTo>
                    <a:pt x="2187" y="108"/>
                  </a:lnTo>
                  <a:lnTo>
                    <a:pt x="2318" y="107"/>
                  </a:lnTo>
                  <a:lnTo>
                    <a:pt x="2608" y="108"/>
                  </a:lnTo>
                  <a:lnTo>
                    <a:pt x="2940" y="113"/>
                  </a:lnTo>
                  <a:lnTo>
                    <a:pt x="3309" y="123"/>
                  </a:lnTo>
                  <a:lnTo>
                    <a:pt x="3703" y="133"/>
                  </a:lnTo>
                  <a:lnTo>
                    <a:pt x="4114" y="148"/>
                  </a:lnTo>
                  <a:lnTo>
                    <a:pt x="4536" y="163"/>
                  </a:lnTo>
                  <a:lnTo>
                    <a:pt x="5370" y="198"/>
                  </a:lnTo>
                  <a:lnTo>
                    <a:pt x="6140" y="234"/>
                  </a:lnTo>
                  <a:lnTo>
                    <a:pt x="6774" y="264"/>
                  </a:lnTo>
                  <a:lnTo>
                    <a:pt x="7364" y="296"/>
                  </a:lnTo>
                  <a:lnTo>
                    <a:pt x="7394" y="284"/>
                  </a:lnTo>
                  <a:lnTo>
                    <a:pt x="7482" y="254"/>
                  </a:lnTo>
                  <a:lnTo>
                    <a:pt x="7547" y="233"/>
                  </a:lnTo>
                  <a:lnTo>
                    <a:pt x="7626" y="209"/>
                  </a:lnTo>
                  <a:lnTo>
                    <a:pt x="7719" y="185"/>
                  </a:lnTo>
                  <a:lnTo>
                    <a:pt x="7826" y="159"/>
                  </a:lnTo>
                  <a:lnTo>
                    <a:pt x="7946" y="132"/>
                  </a:lnTo>
                  <a:lnTo>
                    <a:pt x="8078" y="106"/>
                  </a:lnTo>
                  <a:lnTo>
                    <a:pt x="8224" y="82"/>
                  </a:lnTo>
                  <a:lnTo>
                    <a:pt x="8380" y="59"/>
                  </a:lnTo>
                  <a:lnTo>
                    <a:pt x="8550" y="38"/>
                  </a:lnTo>
                  <a:lnTo>
                    <a:pt x="8732" y="22"/>
                  </a:lnTo>
                  <a:lnTo>
                    <a:pt x="8926" y="8"/>
                  </a:lnTo>
                  <a:lnTo>
                    <a:pt x="9130" y="0"/>
                  </a:lnTo>
                  <a:lnTo>
                    <a:pt x="9334" y="31"/>
                  </a:lnTo>
                  <a:lnTo>
                    <a:pt x="9550" y="59"/>
                  </a:lnTo>
                  <a:lnTo>
                    <a:pt x="9773" y="83"/>
                  </a:lnTo>
                  <a:lnTo>
                    <a:pt x="10002" y="103"/>
                  </a:lnTo>
                  <a:lnTo>
                    <a:pt x="10231" y="123"/>
                  </a:lnTo>
                  <a:lnTo>
                    <a:pt x="10457" y="138"/>
                  </a:lnTo>
                  <a:lnTo>
                    <a:pt x="10679" y="151"/>
                  </a:lnTo>
                  <a:lnTo>
                    <a:pt x="10892" y="162"/>
                  </a:lnTo>
                  <a:lnTo>
                    <a:pt x="11276" y="179"/>
                  </a:lnTo>
                  <a:lnTo>
                    <a:pt x="11584" y="189"/>
                  </a:lnTo>
                  <a:lnTo>
                    <a:pt x="11862" y="195"/>
                  </a:lnTo>
                  <a:lnTo>
                    <a:pt x="12027" y="221"/>
                  </a:lnTo>
                  <a:lnTo>
                    <a:pt x="12204" y="246"/>
                  </a:lnTo>
                  <a:lnTo>
                    <a:pt x="12420" y="275"/>
                  </a:lnTo>
                  <a:lnTo>
                    <a:pt x="12535" y="290"/>
                  </a:lnTo>
                  <a:lnTo>
                    <a:pt x="12654" y="302"/>
                  </a:lnTo>
                  <a:lnTo>
                    <a:pt x="12772" y="314"/>
                  </a:lnTo>
                  <a:lnTo>
                    <a:pt x="12889" y="322"/>
                  </a:lnTo>
                  <a:lnTo>
                    <a:pt x="13000" y="328"/>
                  </a:lnTo>
                  <a:lnTo>
                    <a:pt x="13105" y="332"/>
                  </a:lnTo>
                  <a:lnTo>
                    <a:pt x="13201" y="331"/>
                  </a:lnTo>
                  <a:lnTo>
                    <a:pt x="13284" y="326"/>
                  </a:lnTo>
                  <a:lnTo>
                    <a:pt x="13366" y="318"/>
                  </a:lnTo>
                  <a:lnTo>
                    <a:pt x="13458" y="314"/>
                  </a:lnTo>
                  <a:lnTo>
                    <a:pt x="13555" y="309"/>
                  </a:lnTo>
                  <a:lnTo>
                    <a:pt x="13660" y="306"/>
                  </a:lnTo>
                  <a:lnTo>
                    <a:pt x="13881" y="304"/>
                  </a:lnTo>
                  <a:lnTo>
                    <a:pt x="14108" y="305"/>
                  </a:lnTo>
                  <a:lnTo>
                    <a:pt x="14329" y="312"/>
                  </a:lnTo>
                  <a:lnTo>
                    <a:pt x="14435" y="317"/>
                  </a:lnTo>
                  <a:lnTo>
                    <a:pt x="14534" y="322"/>
                  </a:lnTo>
                  <a:lnTo>
                    <a:pt x="14627" y="329"/>
                  </a:lnTo>
                  <a:lnTo>
                    <a:pt x="14710" y="337"/>
                  </a:lnTo>
                  <a:lnTo>
                    <a:pt x="14783" y="345"/>
                  </a:lnTo>
                  <a:lnTo>
                    <a:pt x="14845" y="353"/>
                  </a:lnTo>
                  <a:lnTo>
                    <a:pt x="15056" y="387"/>
                  </a:lnTo>
                  <a:lnTo>
                    <a:pt x="15266" y="415"/>
                  </a:lnTo>
                  <a:lnTo>
                    <a:pt x="15471" y="436"/>
                  </a:lnTo>
                  <a:lnTo>
                    <a:pt x="15670" y="454"/>
                  </a:lnTo>
                  <a:lnTo>
                    <a:pt x="15862" y="468"/>
                  </a:lnTo>
                  <a:lnTo>
                    <a:pt x="16045" y="476"/>
                  </a:lnTo>
                  <a:lnTo>
                    <a:pt x="16217" y="482"/>
                  </a:lnTo>
                  <a:lnTo>
                    <a:pt x="16378" y="486"/>
                  </a:lnTo>
                  <a:lnTo>
                    <a:pt x="16658" y="486"/>
                  </a:lnTo>
                  <a:lnTo>
                    <a:pt x="16873" y="481"/>
                  </a:lnTo>
                  <a:lnTo>
                    <a:pt x="17011" y="475"/>
                  </a:lnTo>
                  <a:lnTo>
                    <a:pt x="17060" y="471"/>
                  </a:lnTo>
                  <a:lnTo>
                    <a:pt x="16098" y="470"/>
                  </a:lnTo>
                  <a:lnTo>
                    <a:pt x="15137" y="469"/>
                  </a:lnTo>
                  <a:lnTo>
                    <a:pt x="14176" y="468"/>
                  </a:lnTo>
                  <a:lnTo>
                    <a:pt x="13216" y="466"/>
                  </a:lnTo>
                  <a:lnTo>
                    <a:pt x="12253" y="465"/>
                  </a:lnTo>
                  <a:lnTo>
                    <a:pt x="11293" y="464"/>
                  </a:lnTo>
                  <a:lnTo>
                    <a:pt x="10332" y="463"/>
                  </a:lnTo>
                  <a:lnTo>
                    <a:pt x="9371" y="462"/>
                  </a:lnTo>
                  <a:lnTo>
                    <a:pt x="8409" y="460"/>
                  </a:lnTo>
                  <a:lnTo>
                    <a:pt x="7448" y="459"/>
                  </a:lnTo>
                  <a:lnTo>
                    <a:pt x="6487" y="458"/>
                  </a:lnTo>
                  <a:lnTo>
                    <a:pt x="5527" y="457"/>
                  </a:lnTo>
                  <a:lnTo>
                    <a:pt x="4566" y="456"/>
                  </a:lnTo>
                  <a:lnTo>
                    <a:pt x="3605" y="454"/>
                  </a:lnTo>
                  <a:lnTo>
                    <a:pt x="2644" y="453"/>
                  </a:lnTo>
                  <a:lnTo>
                    <a:pt x="1683" y="452"/>
                  </a:lnTo>
                  <a:lnTo>
                    <a:pt x="842" y="468"/>
                  </a:lnTo>
                  <a:lnTo>
                    <a:pt x="0" y="4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3" name="Freeform 55"/>
            <p:cNvSpPr>
              <a:spLocks noEditPoints="1"/>
            </p:cNvSpPr>
            <p:nvPr userDrawn="1"/>
          </p:nvSpPr>
          <p:spPr bwMode="auto">
            <a:xfrm>
              <a:off x="1831975" y="6197601"/>
              <a:ext cx="79375" cy="46038"/>
            </a:xfrm>
            <a:custGeom>
              <a:avLst/>
              <a:gdLst/>
              <a:ahLst/>
              <a:cxnLst>
                <a:cxn ang="0">
                  <a:pos x="29" y="50"/>
                </a:cxn>
                <a:cxn ang="0">
                  <a:pos x="27" y="43"/>
                </a:cxn>
                <a:cxn ang="0">
                  <a:pos x="32" y="44"/>
                </a:cxn>
                <a:cxn ang="0">
                  <a:pos x="40" y="50"/>
                </a:cxn>
                <a:cxn ang="0">
                  <a:pos x="250" y="56"/>
                </a:cxn>
                <a:cxn ang="0">
                  <a:pos x="241" y="49"/>
                </a:cxn>
                <a:cxn ang="0">
                  <a:pos x="234" y="39"/>
                </a:cxn>
                <a:cxn ang="0">
                  <a:pos x="224" y="26"/>
                </a:cxn>
                <a:cxn ang="0">
                  <a:pos x="212" y="23"/>
                </a:cxn>
                <a:cxn ang="0">
                  <a:pos x="188" y="27"/>
                </a:cxn>
                <a:cxn ang="0">
                  <a:pos x="182" y="23"/>
                </a:cxn>
                <a:cxn ang="0">
                  <a:pos x="163" y="14"/>
                </a:cxn>
                <a:cxn ang="0">
                  <a:pos x="151" y="9"/>
                </a:cxn>
                <a:cxn ang="0">
                  <a:pos x="128" y="0"/>
                </a:cxn>
                <a:cxn ang="0">
                  <a:pos x="116" y="0"/>
                </a:cxn>
                <a:cxn ang="0">
                  <a:pos x="98" y="3"/>
                </a:cxn>
                <a:cxn ang="0">
                  <a:pos x="87" y="8"/>
                </a:cxn>
                <a:cxn ang="0">
                  <a:pos x="73" y="14"/>
                </a:cxn>
                <a:cxn ang="0">
                  <a:pos x="49" y="27"/>
                </a:cxn>
                <a:cxn ang="0">
                  <a:pos x="35" y="35"/>
                </a:cxn>
                <a:cxn ang="0">
                  <a:pos x="25" y="37"/>
                </a:cxn>
                <a:cxn ang="0">
                  <a:pos x="10" y="38"/>
                </a:cxn>
                <a:cxn ang="0">
                  <a:pos x="0" y="41"/>
                </a:cxn>
                <a:cxn ang="0">
                  <a:pos x="3" y="45"/>
                </a:cxn>
                <a:cxn ang="0">
                  <a:pos x="16" y="45"/>
                </a:cxn>
                <a:cxn ang="0">
                  <a:pos x="22" y="47"/>
                </a:cxn>
                <a:cxn ang="0">
                  <a:pos x="17" y="46"/>
                </a:cxn>
                <a:cxn ang="0">
                  <a:pos x="17" y="52"/>
                </a:cxn>
                <a:cxn ang="0">
                  <a:pos x="9" y="51"/>
                </a:cxn>
                <a:cxn ang="0">
                  <a:pos x="8" y="55"/>
                </a:cxn>
                <a:cxn ang="0">
                  <a:pos x="18" y="58"/>
                </a:cxn>
                <a:cxn ang="0">
                  <a:pos x="33" y="57"/>
                </a:cxn>
                <a:cxn ang="0">
                  <a:pos x="52" y="64"/>
                </a:cxn>
                <a:cxn ang="0">
                  <a:pos x="67" y="73"/>
                </a:cxn>
                <a:cxn ang="0">
                  <a:pos x="71" y="79"/>
                </a:cxn>
                <a:cxn ang="0">
                  <a:pos x="65" y="89"/>
                </a:cxn>
                <a:cxn ang="0">
                  <a:pos x="63" y="97"/>
                </a:cxn>
                <a:cxn ang="0">
                  <a:pos x="62" y="100"/>
                </a:cxn>
                <a:cxn ang="0">
                  <a:pos x="59" y="106"/>
                </a:cxn>
                <a:cxn ang="0">
                  <a:pos x="59" y="113"/>
                </a:cxn>
                <a:cxn ang="0">
                  <a:pos x="57" y="121"/>
                </a:cxn>
                <a:cxn ang="0">
                  <a:pos x="51" y="136"/>
                </a:cxn>
                <a:cxn ang="0">
                  <a:pos x="52" y="139"/>
                </a:cxn>
                <a:cxn ang="0">
                  <a:pos x="55" y="142"/>
                </a:cxn>
                <a:cxn ang="0">
                  <a:pos x="64" y="125"/>
                </a:cxn>
                <a:cxn ang="0">
                  <a:pos x="69" y="127"/>
                </a:cxn>
                <a:cxn ang="0">
                  <a:pos x="82" y="112"/>
                </a:cxn>
                <a:cxn ang="0">
                  <a:pos x="105" y="91"/>
                </a:cxn>
                <a:cxn ang="0">
                  <a:pos x="121" y="77"/>
                </a:cxn>
                <a:cxn ang="0">
                  <a:pos x="149" y="70"/>
                </a:cxn>
                <a:cxn ang="0">
                  <a:pos x="165" y="64"/>
                </a:cxn>
                <a:cxn ang="0">
                  <a:pos x="185" y="55"/>
                </a:cxn>
                <a:cxn ang="0">
                  <a:pos x="199" y="51"/>
                </a:cxn>
                <a:cxn ang="0">
                  <a:pos x="211" y="52"/>
                </a:cxn>
                <a:cxn ang="0">
                  <a:pos x="224" y="55"/>
                </a:cxn>
                <a:cxn ang="0">
                  <a:pos x="236" y="57"/>
                </a:cxn>
                <a:cxn ang="0">
                  <a:pos x="251" y="59"/>
                </a:cxn>
                <a:cxn ang="0">
                  <a:pos x="253" y="58"/>
                </a:cxn>
              </a:cxnLst>
              <a:rect l="0" t="0" r="r" b="b"/>
              <a:pathLst>
                <a:path w="253" h="142">
                  <a:moveTo>
                    <a:pt x="34" y="51"/>
                  </a:moveTo>
                  <a:lnTo>
                    <a:pt x="32" y="51"/>
                  </a:lnTo>
                  <a:lnTo>
                    <a:pt x="29" y="50"/>
                  </a:lnTo>
                  <a:lnTo>
                    <a:pt x="25" y="46"/>
                  </a:lnTo>
                  <a:lnTo>
                    <a:pt x="23" y="44"/>
                  </a:lnTo>
                  <a:lnTo>
                    <a:pt x="27" y="43"/>
                  </a:lnTo>
                  <a:lnTo>
                    <a:pt x="29" y="43"/>
                  </a:lnTo>
                  <a:lnTo>
                    <a:pt x="31" y="44"/>
                  </a:lnTo>
                  <a:lnTo>
                    <a:pt x="32" y="44"/>
                  </a:lnTo>
                  <a:lnTo>
                    <a:pt x="35" y="45"/>
                  </a:lnTo>
                  <a:lnTo>
                    <a:pt x="38" y="47"/>
                  </a:lnTo>
                  <a:lnTo>
                    <a:pt x="40" y="50"/>
                  </a:lnTo>
                  <a:lnTo>
                    <a:pt x="38" y="50"/>
                  </a:lnTo>
                  <a:lnTo>
                    <a:pt x="34" y="51"/>
                  </a:lnTo>
                  <a:close/>
                  <a:moveTo>
                    <a:pt x="250" y="56"/>
                  </a:moveTo>
                  <a:lnTo>
                    <a:pt x="245" y="53"/>
                  </a:lnTo>
                  <a:lnTo>
                    <a:pt x="242" y="51"/>
                  </a:lnTo>
                  <a:lnTo>
                    <a:pt x="241" y="49"/>
                  </a:lnTo>
                  <a:lnTo>
                    <a:pt x="239" y="47"/>
                  </a:lnTo>
                  <a:lnTo>
                    <a:pt x="236" y="44"/>
                  </a:lnTo>
                  <a:lnTo>
                    <a:pt x="234" y="39"/>
                  </a:lnTo>
                  <a:lnTo>
                    <a:pt x="232" y="32"/>
                  </a:lnTo>
                  <a:lnTo>
                    <a:pt x="229" y="29"/>
                  </a:lnTo>
                  <a:lnTo>
                    <a:pt x="224" y="26"/>
                  </a:lnTo>
                  <a:lnTo>
                    <a:pt x="221" y="24"/>
                  </a:lnTo>
                  <a:lnTo>
                    <a:pt x="217" y="23"/>
                  </a:lnTo>
                  <a:lnTo>
                    <a:pt x="212" y="23"/>
                  </a:lnTo>
                  <a:lnTo>
                    <a:pt x="209" y="24"/>
                  </a:lnTo>
                  <a:lnTo>
                    <a:pt x="193" y="26"/>
                  </a:lnTo>
                  <a:lnTo>
                    <a:pt x="188" y="27"/>
                  </a:lnTo>
                  <a:lnTo>
                    <a:pt x="187" y="27"/>
                  </a:lnTo>
                  <a:lnTo>
                    <a:pt x="185" y="24"/>
                  </a:lnTo>
                  <a:lnTo>
                    <a:pt x="182" y="23"/>
                  </a:lnTo>
                  <a:lnTo>
                    <a:pt x="175" y="21"/>
                  </a:lnTo>
                  <a:lnTo>
                    <a:pt x="167" y="17"/>
                  </a:lnTo>
                  <a:lnTo>
                    <a:pt x="163" y="14"/>
                  </a:lnTo>
                  <a:lnTo>
                    <a:pt x="159" y="12"/>
                  </a:lnTo>
                  <a:lnTo>
                    <a:pt x="155" y="10"/>
                  </a:lnTo>
                  <a:lnTo>
                    <a:pt x="151" y="9"/>
                  </a:lnTo>
                  <a:lnTo>
                    <a:pt x="143" y="5"/>
                  </a:lnTo>
                  <a:lnTo>
                    <a:pt x="134" y="3"/>
                  </a:lnTo>
                  <a:lnTo>
                    <a:pt x="128" y="0"/>
                  </a:lnTo>
                  <a:lnTo>
                    <a:pt x="126" y="0"/>
                  </a:lnTo>
                  <a:lnTo>
                    <a:pt x="123" y="0"/>
                  </a:lnTo>
                  <a:lnTo>
                    <a:pt x="116" y="0"/>
                  </a:lnTo>
                  <a:lnTo>
                    <a:pt x="110" y="0"/>
                  </a:lnTo>
                  <a:lnTo>
                    <a:pt x="103" y="2"/>
                  </a:lnTo>
                  <a:lnTo>
                    <a:pt x="98" y="3"/>
                  </a:lnTo>
                  <a:lnTo>
                    <a:pt x="93" y="4"/>
                  </a:lnTo>
                  <a:lnTo>
                    <a:pt x="90" y="6"/>
                  </a:lnTo>
                  <a:lnTo>
                    <a:pt x="87" y="8"/>
                  </a:lnTo>
                  <a:lnTo>
                    <a:pt x="82" y="9"/>
                  </a:lnTo>
                  <a:lnTo>
                    <a:pt x="79" y="10"/>
                  </a:lnTo>
                  <a:lnTo>
                    <a:pt x="73" y="14"/>
                  </a:lnTo>
                  <a:lnTo>
                    <a:pt x="64" y="18"/>
                  </a:lnTo>
                  <a:lnTo>
                    <a:pt x="56" y="22"/>
                  </a:lnTo>
                  <a:lnTo>
                    <a:pt x="49" y="27"/>
                  </a:lnTo>
                  <a:lnTo>
                    <a:pt x="44" y="29"/>
                  </a:lnTo>
                  <a:lnTo>
                    <a:pt x="40" y="33"/>
                  </a:lnTo>
                  <a:lnTo>
                    <a:pt x="35" y="35"/>
                  </a:lnTo>
                  <a:lnTo>
                    <a:pt x="32" y="37"/>
                  </a:lnTo>
                  <a:lnTo>
                    <a:pt x="28" y="37"/>
                  </a:lnTo>
                  <a:lnTo>
                    <a:pt x="25" y="37"/>
                  </a:lnTo>
                  <a:lnTo>
                    <a:pt x="22" y="38"/>
                  </a:lnTo>
                  <a:lnTo>
                    <a:pt x="17" y="38"/>
                  </a:lnTo>
                  <a:lnTo>
                    <a:pt x="10" y="38"/>
                  </a:lnTo>
                  <a:lnTo>
                    <a:pt x="5" y="39"/>
                  </a:lnTo>
                  <a:lnTo>
                    <a:pt x="3" y="40"/>
                  </a:lnTo>
                  <a:lnTo>
                    <a:pt x="0" y="41"/>
                  </a:lnTo>
                  <a:lnTo>
                    <a:pt x="0" y="43"/>
                  </a:lnTo>
                  <a:lnTo>
                    <a:pt x="0" y="44"/>
                  </a:lnTo>
                  <a:lnTo>
                    <a:pt x="3" y="45"/>
                  </a:lnTo>
                  <a:lnTo>
                    <a:pt x="6" y="45"/>
                  </a:lnTo>
                  <a:lnTo>
                    <a:pt x="9" y="45"/>
                  </a:lnTo>
                  <a:lnTo>
                    <a:pt x="16" y="45"/>
                  </a:lnTo>
                  <a:lnTo>
                    <a:pt x="18" y="45"/>
                  </a:lnTo>
                  <a:lnTo>
                    <a:pt x="18" y="46"/>
                  </a:lnTo>
                  <a:lnTo>
                    <a:pt x="22" y="47"/>
                  </a:lnTo>
                  <a:lnTo>
                    <a:pt x="20" y="49"/>
                  </a:lnTo>
                  <a:lnTo>
                    <a:pt x="18" y="46"/>
                  </a:lnTo>
                  <a:lnTo>
                    <a:pt x="17" y="46"/>
                  </a:lnTo>
                  <a:lnTo>
                    <a:pt x="16" y="47"/>
                  </a:lnTo>
                  <a:lnTo>
                    <a:pt x="16" y="50"/>
                  </a:lnTo>
                  <a:lnTo>
                    <a:pt x="17" y="52"/>
                  </a:lnTo>
                  <a:lnTo>
                    <a:pt x="14" y="52"/>
                  </a:lnTo>
                  <a:lnTo>
                    <a:pt x="10" y="52"/>
                  </a:lnTo>
                  <a:lnTo>
                    <a:pt x="9" y="51"/>
                  </a:lnTo>
                  <a:lnTo>
                    <a:pt x="8" y="53"/>
                  </a:lnTo>
                  <a:lnTo>
                    <a:pt x="6" y="55"/>
                  </a:lnTo>
                  <a:lnTo>
                    <a:pt x="8" y="55"/>
                  </a:lnTo>
                  <a:lnTo>
                    <a:pt x="9" y="56"/>
                  </a:lnTo>
                  <a:lnTo>
                    <a:pt x="12" y="57"/>
                  </a:lnTo>
                  <a:lnTo>
                    <a:pt x="18" y="58"/>
                  </a:lnTo>
                  <a:lnTo>
                    <a:pt x="27" y="58"/>
                  </a:lnTo>
                  <a:lnTo>
                    <a:pt x="29" y="58"/>
                  </a:lnTo>
                  <a:lnTo>
                    <a:pt x="33" y="57"/>
                  </a:lnTo>
                  <a:lnTo>
                    <a:pt x="39" y="57"/>
                  </a:lnTo>
                  <a:lnTo>
                    <a:pt x="46" y="57"/>
                  </a:lnTo>
                  <a:lnTo>
                    <a:pt x="52" y="64"/>
                  </a:lnTo>
                  <a:lnTo>
                    <a:pt x="58" y="68"/>
                  </a:lnTo>
                  <a:lnTo>
                    <a:pt x="63" y="71"/>
                  </a:lnTo>
                  <a:lnTo>
                    <a:pt x="67" y="73"/>
                  </a:lnTo>
                  <a:lnTo>
                    <a:pt x="70" y="74"/>
                  </a:lnTo>
                  <a:lnTo>
                    <a:pt x="74" y="75"/>
                  </a:lnTo>
                  <a:lnTo>
                    <a:pt x="71" y="79"/>
                  </a:lnTo>
                  <a:lnTo>
                    <a:pt x="69" y="83"/>
                  </a:lnTo>
                  <a:lnTo>
                    <a:pt x="67" y="88"/>
                  </a:lnTo>
                  <a:lnTo>
                    <a:pt x="65" y="89"/>
                  </a:lnTo>
                  <a:lnTo>
                    <a:pt x="64" y="92"/>
                  </a:lnTo>
                  <a:lnTo>
                    <a:pt x="63" y="95"/>
                  </a:lnTo>
                  <a:lnTo>
                    <a:pt x="63" y="97"/>
                  </a:lnTo>
                  <a:lnTo>
                    <a:pt x="63" y="98"/>
                  </a:lnTo>
                  <a:lnTo>
                    <a:pt x="62" y="99"/>
                  </a:lnTo>
                  <a:lnTo>
                    <a:pt x="62" y="100"/>
                  </a:lnTo>
                  <a:lnTo>
                    <a:pt x="61" y="103"/>
                  </a:lnTo>
                  <a:lnTo>
                    <a:pt x="61" y="105"/>
                  </a:lnTo>
                  <a:lnTo>
                    <a:pt x="59" y="106"/>
                  </a:lnTo>
                  <a:lnTo>
                    <a:pt x="59" y="111"/>
                  </a:lnTo>
                  <a:lnTo>
                    <a:pt x="59" y="112"/>
                  </a:lnTo>
                  <a:lnTo>
                    <a:pt x="59" y="113"/>
                  </a:lnTo>
                  <a:lnTo>
                    <a:pt x="58" y="117"/>
                  </a:lnTo>
                  <a:lnTo>
                    <a:pt x="61" y="117"/>
                  </a:lnTo>
                  <a:lnTo>
                    <a:pt x="57" y="121"/>
                  </a:lnTo>
                  <a:lnTo>
                    <a:pt x="58" y="122"/>
                  </a:lnTo>
                  <a:lnTo>
                    <a:pt x="53" y="131"/>
                  </a:lnTo>
                  <a:lnTo>
                    <a:pt x="51" y="136"/>
                  </a:lnTo>
                  <a:lnTo>
                    <a:pt x="51" y="138"/>
                  </a:lnTo>
                  <a:lnTo>
                    <a:pt x="51" y="139"/>
                  </a:lnTo>
                  <a:lnTo>
                    <a:pt x="52" y="139"/>
                  </a:lnTo>
                  <a:lnTo>
                    <a:pt x="53" y="138"/>
                  </a:lnTo>
                  <a:lnTo>
                    <a:pt x="55" y="136"/>
                  </a:lnTo>
                  <a:lnTo>
                    <a:pt x="55" y="142"/>
                  </a:lnTo>
                  <a:lnTo>
                    <a:pt x="58" y="134"/>
                  </a:lnTo>
                  <a:lnTo>
                    <a:pt x="62" y="130"/>
                  </a:lnTo>
                  <a:lnTo>
                    <a:pt x="64" y="125"/>
                  </a:lnTo>
                  <a:lnTo>
                    <a:pt x="73" y="118"/>
                  </a:lnTo>
                  <a:lnTo>
                    <a:pt x="70" y="121"/>
                  </a:lnTo>
                  <a:lnTo>
                    <a:pt x="69" y="127"/>
                  </a:lnTo>
                  <a:lnTo>
                    <a:pt x="69" y="131"/>
                  </a:lnTo>
                  <a:lnTo>
                    <a:pt x="76" y="121"/>
                  </a:lnTo>
                  <a:lnTo>
                    <a:pt x="82" y="112"/>
                  </a:lnTo>
                  <a:lnTo>
                    <a:pt x="87" y="107"/>
                  </a:lnTo>
                  <a:lnTo>
                    <a:pt x="93" y="101"/>
                  </a:lnTo>
                  <a:lnTo>
                    <a:pt x="105" y="91"/>
                  </a:lnTo>
                  <a:lnTo>
                    <a:pt x="114" y="83"/>
                  </a:lnTo>
                  <a:lnTo>
                    <a:pt x="120" y="79"/>
                  </a:lnTo>
                  <a:lnTo>
                    <a:pt x="121" y="77"/>
                  </a:lnTo>
                  <a:lnTo>
                    <a:pt x="122" y="77"/>
                  </a:lnTo>
                  <a:lnTo>
                    <a:pt x="134" y="74"/>
                  </a:lnTo>
                  <a:lnTo>
                    <a:pt x="149" y="70"/>
                  </a:lnTo>
                  <a:lnTo>
                    <a:pt x="153" y="69"/>
                  </a:lnTo>
                  <a:lnTo>
                    <a:pt x="158" y="67"/>
                  </a:lnTo>
                  <a:lnTo>
                    <a:pt x="165" y="64"/>
                  </a:lnTo>
                  <a:lnTo>
                    <a:pt x="171" y="61"/>
                  </a:lnTo>
                  <a:lnTo>
                    <a:pt x="179" y="57"/>
                  </a:lnTo>
                  <a:lnTo>
                    <a:pt x="185" y="55"/>
                  </a:lnTo>
                  <a:lnTo>
                    <a:pt x="189" y="53"/>
                  </a:lnTo>
                  <a:lnTo>
                    <a:pt x="193" y="51"/>
                  </a:lnTo>
                  <a:lnTo>
                    <a:pt x="199" y="51"/>
                  </a:lnTo>
                  <a:lnTo>
                    <a:pt x="206" y="50"/>
                  </a:lnTo>
                  <a:lnTo>
                    <a:pt x="209" y="51"/>
                  </a:lnTo>
                  <a:lnTo>
                    <a:pt x="211" y="52"/>
                  </a:lnTo>
                  <a:lnTo>
                    <a:pt x="215" y="53"/>
                  </a:lnTo>
                  <a:lnTo>
                    <a:pt x="216" y="55"/>
                  </a:lnTo>
                  <a:lnTo>
                    <a:pt x="224" y="55"/>
                  </a:lnTo>
                  <a:lnTo>
                    <a:pt x="228" y="55"/>
                  </a:lnTo>
                  <a:lnTo>
                    <a:pt x="232" y="56"/>
                  </a:lnTo>
                  <a:lnTo>
                    <a:pt x="236" y="57"/>
                  </a:lnTo>
                  <a:lnTo>
                    <a:pt x="242" y="58"/>
                  </a:lnTo>
                  <a:lnTo>
                    <a:pt x="247" y="59"/>
                  </a:lnTo>
                  <a:lnTo>
                    <a:pt x="251" y="59"/>
                  </a:lnTo>
                  <a:lnTo>
                    <a:pt x="252" y="59"/>
                  </a:lnTo>
                  <a:lnTo>
                    <a:pt x="253" y="59"/>
                  </a:lnTo>
                  <a:lnTo>
                    <a:pt x="253" y="58"/>
                  </a:lnTo>
                  <a:lnTo>
                    <a:pt x="252" y="57"/>
                  </a:lnTo>
                  <a:lnTo>
                    <a:pt x="250" y="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4" name="Freeform 56"/>
            <p:cNvSpPr>
              <a:spLocks/>
            </p:cNvSpPr>
            <p:nvPr userDrawn="1"/>
          </p:nvSpPr>
          <p:spPr bwMode="auto">
            <a:xfrm>
              <a:off x="1838325" y="6211888"/>
              <a:ext cx="6350" cy="1588"/>
            </a:xfrm>
            <a:custGeom>
              <a:avLst/>
              <a:gdLst/>
              <a:ahLst/>
              <a:cxnLst>
                <a:cxn ang="0">
                  <a:pos x="11" y="8"/>
                </a:cxn>
                <a:cxn ang="0">
                  <a:pos x="9" y="8"/>
                </a:cxn>
                <a:cxn ang="0">
                  <a:pos x="6" y="7"/>
                </a:cxn>
                <a:cxn ang="0">
                  <a:pos x="2" y="3"/>
                </a:cxn>
                <a:cxn ang="0">
                  <a:pos x="0" y="1"/>
                </a:cxn>
                <a:cxn ang="0">
                  <a:pos x="4" y="0"/>
                </a:cxn>
                <a:cxn ang="0">
                  <a:pos x="6" y="0"/>
                </a:cxn>
                <a:cxn ang="0">
                  <a:pos x="8" y="1"/>
                </a:cxn>
                <a:cxn ang="0">
                  <a:pos x="9" y="1"/>
                </a:cxn>
                <a:cxn ang="0">
                  <a:pos x="12" y="2"/>
                </a:cxn>
                <a:cxn ang="0">
                  <a:pos x="15" y="4"/>
                </a:cxn>
                <a:cxn ang="0">
                  <a:pos x="17" y="7"/>
                </a:cxn>
                <a:cxn ang="0">
                  <a:pos x="15" y="7"/>
                </a:cxn>
                <a:cxn ang="0">
                  <a:pos x="11" y="8"/>
                </a:cxn>
              </a:cxnLst>
              <a:rect l="0" t="0" r="r" b="b"/>
              <a:pathLst>
                <a:path w="17" h="8">
                  <a:moveTo>
                    <a:pt x="11" y="8"/>
                  </a:moveTo>
                  <a:lnTo>
                    <a:pt x="9" y="8"/>
                  </a:lnTo>
                  <a:lnTo>
                    <a:pt x="6" y="7"/>
                  </a:lnTo>
                  <a:lnTo>
                    <a:pt x="2" y="3"/>
                  </a:lnTo>
                  <a:lnTo>
                    <a:pt x="0" y="1"/>
                  </a:lnTo>
                  <a:lnTo>
                    <a:pt x="4" y="0"/>
                  </a:lnTo>
                  <a:lnTo>
                    <a:pt x="6" y="0"/>
                  </a:lnTo>
                  <a:lnTo>
                    <a:pt x="8" y="1"/>
                  </a:lnTo>
                  <a:lnTo>
                    <a:pt x="9" y="1"/>
                  </a:lnTo>
                  <a:lnTo>
                    <a:pt x="12" y="2"/>
                  </a:lnTo>
                  <a:lnTo>
                    <a:pt x="15" y="4"/>
                  </a:lnTo>
                  <a:lnTo>
                    <a:pt x="17" y="7"/>
                  </a:lnTo>
                  <a:lnTo>
                    <a:pt x="15" y="7"/>
                  </a:lnTo>
                  <a:lnTo>
                    <a:pt x="11" y="8"/>
                  </a:lnTo>
                  <a:close/>
                </a:path>
              </a:pathLst>
            </a:custGeom>
            <a:solidFill>
              <a:srgbClr val="EC002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5" name="Freeform 58"/>
            <p:cNvSpPr>
              <a:spLocks/>
            </p:cNvSpPr>
            <p:nvPr userDrawn="1"/>
          </p:nvSpPr>
          <p:spPr bwMode="auto">
            <a:xfrm>
              <a:off x="101600" y="6461126"/>
              <a:ext cx="5545138" cy="161925"/>
            </a:xfrm>
            <a:custGeom>
              <a:avLst/>
              <a:gdLst/>
              <a:ahLst/>
              <a:cxnLst>
                <a:cxn ang="0">
                  <a:pos x="952" y="322"/>
                </a:cxn>
                <a:cxn ang="0">
                  <a:pos x="2109" y="167"/>
                </a:cxn>
                <a:cxn ang="0">
                  <a:pos x="2773" y="95"/>
                </a:cxn>
                <a:cxn ang="0">
                  <a:pos x="3240" y="70"/>
                </a:cxn>
                <a:cxn ang="0">
                  <a:pos x="3428" y="90"/>
                </a:cxn>
                <a:cxn ang="0">
                  <a:pos x="4139" y="143"/>
                </a:cxn>
                <a:cxn ang="0">
                  <a:pos x="5006" y="190"/>
                </a:cxn>
                <a:cxn ang="0">
                  <a:pos x="5418" y="222"/>
                </a:cxn>
                <a:cxn ang="0">
                  <a:pos x="5653" y="259"/>
                </a:cxn>
                <a:cxn ang="0">
                  <a:pos x="5819" y="270"/>
                </a:cxn>
                <a:cxn ang="0">
                  <a:pos x="6127" y="259"/>
                </a:cxn>
                <a:cxn ang="0">
                  <a:pos x="6563" y="217"/>
                </a:cxn>
                <a:cxn ang="0">
                  <a:pos x="7013" y="148"/>
                </a:cxn>
                <a:cxn ang="0">
                  <a:pos x="7559" y="59"/>
                </a:cxn>
                <a:cxn ang="0">
                  <a:pos x="7853" y="30"/>
                </a:cxn>
                <a:cxn ang="0">
                  <a:pos x="8138" y="35"/>
                </a:cxn>
                <a:cxn ang="0">
                  <a:pos x="8378" y="57"/>
                </a:cxn>
                <a:cxn ang="0">
                  <a:pos x="8621" y="95"/>
                </a:cxn>
                <a:cxn ang="0">
                  <a:pos x="8850" y="148"/>
                </a:cxn>
                <a:cxn ang="0">
                  <a:pos x="9035" y="195"/>
                </a:cxn>
                <a:cxn ang="0">
                  <a:pos x="9266" y="220"/>
                </a:cxn>
                <a:cxn ang="0">
                  <a:pos x="9686" y="223"/>
                </a:cxn>
                <a:cxn ang="0">
                  <a:pos x="10229" y="214"/>
                </a:cxn>
                <a:cxn ang="0">
                  <a:pos x="10335" y="223"/>
                </a:cxn>
                <a:cxn ang="0">
                  <a:pos x="10451" y="223"/>
                </a:cxn>
                <a:cxn ang="0">
                  <a:pos x="10560" y="189"/>
                </a:cxn>
                <a:cxn ang="0">
                  <a:pos x="10781" y="74"/>
                </a:cxn>
                <a:cxn ang="0">
                  <a:pos x="10896" y="24"/>
                </a:cxn>
                <a:cxn ang="0">
                  <a:pos x="10989" y="5"/>
                </a:cxn>
                <a:cxn ang="0">
                  <a:pos x="11240" y="1"/>
                </a:cxn>
                <a:cxn ang="0">
                  <a:pos x="11986" y="44"/>
                </a:cxn>
                <a:cxn ang="0">
                  <a:pos x="12478" y="65"/>
                </a:cxn>
                <a:cxn ang="0">
                  <a:pos x="12785" y="50"/>
                </a:cxn>
                <a:cxn ang="0">
                  <a:pos x="13375" y="26"/>
                </a:cxn>
                <a:cxn ang="0">
                  <a:pos x="14252" y="23"/>
                </a:cxn>
                <a:cxn ang="0">
                  <a:pos x="14761" y="39"/>
                </a:cxn>
                <a:cxn ang="0">
                  <a:pos x="15301" y="72"/>
                </a:cxn>
                <a:cxn ang="0">
                  <a:pos x="15855" y="126"/>
                </a:cxn>
                <a:cxn ang="0">
                  <a:pos x="16411" y="204"/>
                </a:cxn>
                <a:cxn ang="0">
                  <a:pos x="16953" y="311"/>
                </a:cxn>
                <a:cxn ang="0">
                  <a:pos x="17384" y="424"/>
                </a:cxn>
                <a:cxn ang="0">
                  <a:pos x="17461" y="464"/>
                </a:cxn>
                <a:cxn ang="0">
                  <a:pos x="17411" y="481"/>
                </a:cxn>
                <a:cxn ang="0">
                  <a:pos x="17234" y="500"/>
                </a:cxn>
                <a:cxn ang="0">
                  <a:pos x="16606" y="512"/>
                </a:cxn>
                <a:cxn ang="0">
                  <a:pos x="15579" y="493"/>
                </a:cxn>
                <a:cxn ang="0">
                  <a:pos x="13652" y="418"/>
                </a:cxn>
                <a:cxn ang="0">
                  <a:pos x="11826" y="457"/>
                </a:cxn>
                <a:cxn ang="0">
                  <a:pos x="9898" y="467"/>
                </a:cxn>
                <a:cxn ang="0">
                  <a:pos x="7919" y="465"/>
                </a:cxn>
                <a:cxn ang="0">
                  <a:pos x="5941" y="464"/>
                </a:cxn>
                <a:cxn ang="0">
                  <a:pos x="3712" y="464"/>
                </a:cxn>
                <a:cxn ang="0">
                  <a:pos x="1485" y="464"/>
                </a:cxn>
              </a:cxnLst>
              <a:rect l="0" t="0" r="r" b="b"/>
              <a:pathLst>
                <a:path w="17467" h="512">
                  <a:moveTo>
                    <a:pt x="0" y="464"/>
                  </a:moveTo>
                  <a:lnTo>
                    <a:pt x="466" y="393"/>
                  </a:lnTo>
                  <a:lnTo>
                    <a:pt x="952" y="322"/>
                  </a:lnTo>
                  <a:lnTo>
                    <a:pt x="1521" y="243"/>
                  </a:lnTo>
                  <a:lnTo>
                    <a:pt x="1817" y="203"/>
                  </a:lnTo>
                  <a:lnTo>
                    <a:pt x="2109" y="167"/>
                  </a:lnTo>
                  <a:lnTo>
                    <a:pt x="2390" y="133"/>
                  </a:lnTo>
                  <a:lnTo>
                    <a:pt x="2651" y="106"/>
                  </a:lnTo>
                  <a:lnTo>
                    <a:pt x="2773" y="95"/>
                  </a:lnTo>
                  <a:lnTo>
                    <a:pt x="2886" y="85"/>
                  </a:lnTo>
                  <a:lnTo>
                    <a:pt x="3085" y="72"/>
                  </a:lnTo>
                  <a:lnTo>
                    <a:pt x="3240" y="70"/>
                  </a:lnTo>
                  <a:lnTo>
                    <a:pt x="3299" y="72"/>
                  </a:lnTo>
                  <a:lnTo>
                    <a:pt x="3344" y="77"/>
                  </a:lnTo>
                  <a:lnTo>
                    <a:pt x="3428" y="90"/>
                  </a:lnTo>
                  <a:lnTo>
                    <a:pt x="3537" y="102"/>
                  </a:lnTo>
                  <a:lnTo>
                    <a:pt x="3812" y="124"/>
                  </a:lnTo>
                  <a:lnTo>
                    <a:pt x="4139" y="143"/>
                  </a:lnTo>
                  <a:lnTo>
                    <a:pt x="4492" y="161"/>
                  </a:lnTo>
                  <a:lnTo>
                    <a:pt x="4843" y="180"/>
                  </a:lnTo>
                  <a:lnTo>
                    <a:pt x="5006" y="190"/>
                  </a:lnTo>
                  <a:lnTo>
                    <a:pt x="5160" y="199"/>
                  </a:lnTo>
                  <a:lnTo>
                    <a:pt x="5298" y="210"/>
                  </a:lnTo>
                  <a:lnTo>
                    <a:pt x="5418" y="222"/>
                  </a:lnTo>
                  <a:lnTo>
                    <a:pt x="5516" y="234"/>
                  </a:lnTo>
                  <a:lnTo>
                    <a:pt x="5588" y="247"/>
                  </a:lnTo>
                  <a:lnTo>
                    <a:pt x="5653" y="259"/>
                  </a:lnTo>
                  <a:lnTo>
                    <a:pt x="5691" y="264"/>
                  </a:lnTo>
                  <a:lnTo>
                    <a:pt x="5731" y="267"/>
                  </a:lnTo>
                  <a:lnTo>
                    <a:pt x="5819" y="270"/>
                  </a:lnTo>
                  <a:lnTo>
                    <a:pt x="5917" y="270"/>
                  </a:lnTo>
                  <a:lnTo>
                    <a:pt x="6019" y="267"/>
                  </a:lnTo>
                  <a:lnTo>
                    <a:pt x="6127" y="259"/>
                  </a:lnTo>
                  <a:lnTo>
                    <a:pt x="6237" y="251"/>
                  </a:lnTo>
                  <a:lnTo>
                    <a:pt x="6348" y="241"/>
                  </a:lnTo>
                  <a:lnTo>
                    <a:pt x="6563" y="217"/>
                  </a:lnTo>
                  <a:lnTo>
                    <a:pt x="6756" y="191"/>
                  </a:lnTo>
                  <a:lnTo>
                    <a:pt x="6911" y="167"/>
                  </a:lnTo>
                  <a:lnTo>
                    <a:pt x="7013" y="148"/>
                  </a:lnTo>
                  <a:lnTo>
                    <a:pt x="7175" y="116"/>
                  </a:lnTo>
                  <a:lnTo>
                    <a:pt x="7364" y="86"/>
                  </a:lnTo>
                  <a:lnTo>
                    <a:pt x="7559" y="59"/>
                  </a:lnTo>
                  <a:lnTo>
                    <a:pt x="7736" y="37"/>
                  </a:lnTo>
                  <a:lnTo>
                    <a:pt x="7791" y="32"/>
                  </a:lnTo>
                  <a:lnTo>
                    <a:pt x="7853" y="30"/>
                  </a:lnTo>
                  <a:lnTo>
                    <a:pt x="7989" y="29"/>
                  </a:lnTo>
                  <a:lnTo>
                    <a:pt x="8061" y="31"/>
                  </a:lnTo>
                  <a:lnTo>
                    <a:pt x="8138" y="35"/>
                  </a:lnTo>
                  <a:lnTo>
                    <a:pt x="8216" y="41"/>
                  </a:lnTo>
                  <a:lnTo>
                    <a:pt x="8296" y="48"/>
                  </a:lnTo>
                  <a:lnTo>
                    <a:pt x="8378" y="57"/>
                  </a:lnTo>
                  <a:lnTo>
                    <a:pt x="8458" y="68"/>
                  </a:lnTo>
                  <a:lnTo>
                    <a:pt x="8540" y="80"/>
                  </a:lnTo>
                  <a:lnTo>
                    <a:pt x="8621" y="95"/>
                  </a:lnTo>
                  <a:lnTo>
                    <a:pt x="8699" y="110"/>
                  </a:lnTo>
                  <a:lnTo>
                    <a:pt x="8776" y="128"/>
                  </a:lnTo>
                  <a:lnTo>
                    <a:pt x="8850" y="148"/>
                  </a:lnTo>
                  <a:lnTo>
                    <a:pt x="8921" y="168"/>
                  </a:lnTo>
                  <a:lnTo>
                    <a:pt x="8994" y="187"/>
                  </a:lnTo>
                  <a:lnTo>
                    <a:pt x="9035" y="195"/>
                  </a:lnTo>
                  <a:lnTo>
                    <a:pt x="9078" y="202"/>
                  </a:lnTo>
                  <a:lnTo>
                    <a:pt x="9169" y="213"/>
                  </a:lnTo>
                  <a:lnTo>
                    <a:pt x="9266" y="220"/>
                  </a:lnTo>
                  <a:lnTo>
                    <a:pt x="9368" y="223"/>
                  </a:lnTo>
                  <a:lnTo>
                    <a:pt x="9473" y="226"/>
                  </a:lnTo>
                  <a:lnTo>
                    <a:pt x="9686" y="223"/>
                  </a:lnTo>
                  <a:lnTo>
                    <a:pt x="9892" y="219"/>
                  </a:lnTo>
                  <a:lnTo>
                    <a:pt x="10078" y="214"/>
                  </a:lnTo>
                  <a:lnTo>
                    <a:pt x="10229" y="214"/>
                  </a:lnTo>
                  <a:lnTo>
                    <a:pt x="10261" y="215"/>
                  </a:lnTo>
                  <a:lnTo>
                    <a:pt x="10290" y="217"/>
                  </a:lnTo>
                  <a:lnTo>
                    <a:pt x="10335" y="223"/>
                  </a:lnTo>
                  <a:lnTo>
                    <a:pt x="10375" y="228"/>
                  </a:lnTo>
                  <a:lnTo>
                    <a:pt x="10412" y="228"/>
                  </a:lnTo>
                  <a:lnTo>
                    <a:pt x="10451" y="223"/>
                  </a:lnTo>
                  <a:lnTo>
                    <a:pt x="10487" y="215"/>
                  </a:lnTo>
                  <a:lnTo>
                    <a:pt x="10524" y="203"/>
                  </a:lnTo>
                  <a:lnTo>
                    <a:pt x="10560" y="189"/>
                  </a:lnTo>
                  <a:lnTo>
                    <a:pt x="10633" y="154"/>
                  </a:lnTo>
                  <a:lnTo>
                    <a:pt x="10706" y="114"/>
                  </a:lnTo>
                  <a:lnTo>
                    <a:pt x="10781" y="74"/>
                  </a:lnTo>
                  <a:lnTo>
                    <a:pt x="10818" y="56"/>
                  </a:lnTo>
                  <a:lnTo>
                    <a:pt x="10857" y="39"/>
                  </a:lnTo>
                  <a:lnTo>
                    <a:pt x="10896" y="24"/>
                  </a:lnTo>
                  <a:lnTo>
                    <a:pt x="10937" y="13"/>
                  </a:lnTo>
                  <a:lnTo>
                    <a:pt x="10961" y="8"/>
                  </a:lnTo>
                  <a:lnTo>
                    <a:pt x="10989" y="5"/>
                  </a:lnTo>
                  <a:lnTo>
                    <a:pt x="11058" y="0"/>
                  </a:lnTo>
                  <a:lnTo>
                    <a:pt x="11142" y="0"/>
                  </a:lnTo>
                  <a:lnTo>
                    <a:pt x="11240" y="1"/>
                  </a:lnTo>
                  <a:lnTo>
                    <a:pt x="11466" y="12"/>
                  </a:lnTo>
                  <a:lnTo>
                    <a:pt x="11721" y="27"/>
                  </a:lnTo>
                  <a:lnTo>
                    <a:pt x="11986" y="44"/>
                  </a:lnTo>
                  <a:lnTo>
                    <a:pt x="12244" y="59"/>
                  </a:lnTo>
                  <a:lnTo>
                    <a:pt x="12365" y="62"/>
                  </a:lnTo>
                  <a:lnTo>
                    <a:pt x="12478" y="65"/>
                  </a:lnTo>
                  <a:lnTo>
                    <a:pt x="12581" y="64"/>
                  </a:lnTo>
                  <a:lnTo>
                    <a:pt x="12671" y="59"/>
                  </a:lnTo>
                  <a:lnTo>
                    <a:pt x="12785" y="50"/>
                  </a:lnTo>
                  <a:lnTo>
                    <a:pt x="12943" y="42"/>
                  </a:lnTo>
                  <a:lnTo>
                    <a:pt x="13142" y="33"/>
                  </a:lnTo>
                  <a:lnTo>
                    <a:pt x="13375" y="26"/>
                  </a:lnTo>
                  <a:lnTo>
                    <a:pt x="13642" y="21"/>
                  </a:lnTo>
                  <a:lnTo>
                    <a:pt x="13935" y="20"/>
                  </a:lnTo>
                  <a:lnTo>
                    <a:pt x="14252" y="23"/>
                  </a:lnTo>
                  <a:lnTo>
                    <a:pt x="14418" y="26"/>
                  </a:lnTo>
                  <a:lnTo>
                    <a:pt x="14588" y="32"/>
                  </a:lnTo>
                  <a:lnTo>
                    <a:pt x="14761" y="39"/>
                  </a:lnTo>
                  <a:lnTo>
                    <a:pt x="14939" y="48"/>
                  </a:lnTo>
                  <a:lnTo>
                    <a:pt x="15119" y="60"/>
                  </a:lnTo>
                  <a:lnTo>
                    <a:pt x="15301" y="72"/>
                  </a:lnTo>
                  <a:lnTo>
                    <a:pt x="15485" y="88"/>
                  </a:lnTo>
                  <a:lnTo>
                    <a:pt x="15669" y="106"/>
                  </a:lnTo>
                  <a:lnTo>
                    <a:pt x="15855" y="126"/>
                  </a:lnTo>
                  <a:lnTo>
                    <a:pt x="16041" y="150"/>
                  </a:lnTo>
                  <a:lnTo>
                    <a:pt x="16225" y="175"/>
                  </a:lnTo>
                  <a:lnTo>
                    <a:pt x="16411" y="204"/>
                  </a:lnTo>
                  <a:lnTo>
                    <a:pt x="16593" y="237"/>
                  </a:lnTo>
                  <a:lnTo>
                    <a:pt x="16774" y="273"/>
                  </a:lnTo>
                  <a:lnTo>
                    <a:pt x="16953" y="311"/>
                  </a:lnTo>
                  <a:lnTo>
                    <a:pt x="17127" y="353"/>
                  </a:lnTo>
                  <a:lnTo>
                    <a:pt x="17299" y="400"/>
                  </a:lnTo>
                  <a:lnTo>
                    <a:pt x="17384" y="424"/>
                  </a:lnTo>
                  <a:lnTo>
                    <a:pt x="17467" y="449"/>
                  </a:lnTo>
                  <a:lnTo>
                    <a:pt x="17467" y="457"/>
                  </a:lnTo>
                  <a:lnTo>
                    <a:pt x="17461" y="464"/>
                  </a:lnTo>
                  <a:lnTo>
                    <a:pt x="17449" y="470"/>
                  </a:lnTo>
                  <a:lnTo>
                    <a:pt x="17433" y="475"/>
                  </a:lnTo>
                  <a:lnTo>
                    <a:pt x="17411" y="481"/>
                  </a:lnTo>
                  <a:lnTo>
                    <a:pt x="17385" y="485"/>
                  </a:lnTo>
                  <a:lnTo>
                    <a:pt x="17317" y="493"/>
                  </a:lnTo>
                  <a:lnTo>
                    <a:pt x="17234" y="500"/>
                  </a:lnTo>
                  <a:lnTo>
                    <a:pt x="17134" y="505"/>
                  </a:lnTo>
                  <a:lnTo>
                    <a:pt x="16892" y="511"/>
                  </a:lnTo>
                  <a:lnTo>
                    <a:pt x="16606" y="512"/>
                  </a:lnTo>
                  <a:lnTo>
                    <a:pt x="16283" y="508"/>
                  </a:lnTo>
                  <a:lnTo>
                    <a:pt x="15938" y="501"/>
                  </a:lnTo>
                  <a:lnTo>
                    <a:pt x="15579" y="493"/>
                  </a:lnTo>
                  <a:lnTo>
                    <a:pt x="14873" y="470"/>
                  </a:lnTo>
                  <a:lnTo>
                    <a:pt x="14256" y="445"/>
                  </a:lnTo>
                  <a:lnTo>
                    <a:pt x="13652" y="418"/>
                  </a:lnTo>
                  <a:lnTo>
                    <a:pt x="13043" y="430"/>
                  </a:lnTo>
                  <a:lnTo>
                    <a:pt x="12435" y="443"/>
                  </a:lnTo>
                  <a:lnTo>
                    <a:pt x="11826" y="457"/>
                  </a:lnTo>
                  <a:lnTo>
                    <a:pt x="11218" y="470"/>
                  </a:lnTo>
                  <a:lnTo>
                    <a:pt x="10558" y="469"/>
                  </a:lnTo>
                  <a:lnTo>
                    <a:pt x="9898" y="467"/>
                  </a:lnTo>
                  <a:lnTo>
                    <a:pt x="9238" y="466"/>
                  </a:lnTo>
                  <a:lnTo>
                    <a:pt x="8579" y="466"/>
                  </a:lnTo>
                  <a:lnTo>
                    <a:pt x="7919" y="465"/>
                  </a:lnTo>
                  <a:lnTo>
                    <a:pt x="7259" y="465"/>
                  </a:lnTo>
                  <a:lnTo>
                    <a:pt x="6599" y="464"/>
                  </a:lnTo>
                  <a:lnTo>
                    <a:pt x="5941" y="464"/>
                  </a:lnTo>
                  <a:lnTo>
                    <a:pt x="5198" y="464"/>
                  </a:lnTo>
                  <a:lnTo>
                    <a:pt x="4455" y="464"/>
                  </a:lnTo>
                  <a:lnTo>
                    <a:pt x="3712" y="464"/>
                  </a:lnTo>
                  <a:lnTo>
                    <a:pt x="2970" y="464"/>
                  </a:lnTo>
                  <a:lnTo>
                    <a:pt x="2227" y="464"/>
                  </a:lnTo>
                  <a:lnTo>
                    <a:pt x="1485" y="464"/>
                  </a:lnTo>
                  <a:lnTo>
                    <a:pt x="742" y="464"/>
                  </a:lnTo>
                  <a:lnTo>
                    <a:pt x="0" y="46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6" name="Freeform 59"/>
            <p:cNvSpPr>
              <a:spLocks/>
            </p:cNvSpPr>
            <p:nvPr userDrawn="1"/>
          </p:nvSpPr>
          <p:spPr bwMode="auto">
            <a:xfrm>
              <a:off x="2671763" y="6500813"/>
              <a:ext cx="3795713" cy="109538"/>
            </a:xfrm>
            <a:custGeom>
              <a:avLst/>
              <a:gdLst/>
              <a:ahLst/>
              <a:cxnLst>
                <a:cxn ang="0">
                  <a:pos x="89" y="316"/>
                </a:cxn>
                <a:cxn ang="0">
                  <a:pos x="650" y="273"/>
                </a:cxn>
                <a:cxn ang="0">
                  <a:pos x="1233" y="235"/>
                </a:cxn>
                <a:cxn ang="0">
                  <a:pos x="1339" y="232"/>
                </a:cxn>
                <a:cxn ang="0">
                  <a:pos x="1430" y="232"/>
                </a:cxn>
                <a:cxn ang="0">
                  <a:pos x="1872" y="203"/>
                </a:cxn>
                <a:cxn ang="0">
                  <a:pos x="2350" y="173"/>
                </a:cxn>
                <a:cxn ang="0">
                  <a:pos x="2469" y="170"/>
                </a:cxn>
                <a:cxn ang="0">
                  <a:pos x="2563" y="167"/>
                </a:cxn>
                <a:cxn ang="0">
                  <a:pos x="2683" y="151"/>
                </a:cxn>
                <a:cxn ang="0">
                  <a:pos x="2787" y="126"/>
                </a:cxn>
                <a:cxn ang="0">
                  <a:pos x="2923" y="89"/>
                </a:cxn>
                <a:cxn ang="0">
                  <a:pos x="3085" y="60"/>
                </a:cxn>
                <a:cxn ang="0">
                  <a:pos x="3388" y="30"/>
                </a:cxn>
                <a:cxn ang="0">
                  <a:pos x="3543" y="25"/>
                </a:cxn>
                <a:cxn ang="0">
                  <a:pos x="3628" y="33"/>
                </a:cxn>
                <a:cxn ang="0">
                  <a:pos x="3819" y="86"/>
                </a:cxn>
                <a:cxn ang="0">
                  <a:pos x="3991" y="131"/>
                </a:cxn>
                <a:cxn ang="0">
                  <a:pos x="4195" y="169"/>
                </a:cxn>
                <a:cxn ang="0">
                  <a:pos x="4296" y="177"/>
                </a:cxn>
                <a:cxn ang="0">
                  <a:pos x="4384" y="176"/>
                </a:cxn>
                <a:cxn ang="0">
                  <a:pos x="4530" y="154"/>
                </a:cxn>
                <a:cxn ang="0">
                  <a:pos x="4691" y="114"/>
                </a:cxn>
                <a:cxn ang="0">
                  <a:pos x="4784" y="108"/>
                </a:cxn>
                <a:cxn ang="0">
                  <a:pos x="4934" y="94"/>
                </a:cxn>
                <a:cxn ang="0">
                  <a:pos x="5055" y="83"/>
                </a:cxn>
                <a:cxn ang="0">
                  <a:pos x="5086" y="84"/>
                </a:cxn>
                <a:cxn ang="0">
                  <a:pos x="5099" y="72"/>
                </a:cxn>
                <a:cxn ang="0">
                  <a:pos x="5121" y="40"/>
                </a:cxn>
                <a:cxn ang="0">
                  <a:pos x="5144" y="23"/>
                </a:cxn>
                <a:cxn ang="0">
                  <a:pos x="5210" y="4"/>
                </a:cxn>
                <a:cxn ang="0">
                  <a:pos x="5329" y="0"/>
                </a:cxn>
                <a:cxn ang="0">
                  <a:pos x="5945" y="39"/>
                </a:cxn>
                <a:cxn ang="0">
                  <a:pos x="6390" y="68"/>
                </a:cxn>
                <a:cxn ang="0">
                  <a:pos x="6867" y="88"/>
                </a:cxn>
                <a:cxn ang="0">
                  <a:pos x="7097" y="90"/>
                </a:cxn>
                <a:cxn ang="0">
                  <a:pos x="7164" y="82"/>
                </a:cxn>
                <a:cxn ang="0">
                  <a:pos x="7245" y="63"/>
                </a:cxn>
                <a:cxn ang="0">
                  <a:pos x="7334" y="31"/>
                </a:cxn>
                <a:cxn ang="0">
                  <a:pos x="7404" y="16"/>
                </a:cxn>
                <a:cxn ang="0">
                  <a:pos x="7458" y="13"/>
                </a:cxn>
                <a:cxn ang="0">
                  <a:pos x="7621" y="27"/>
                </a:cxn>
                <a:cxn ang="0">
                  <a:pos x="7877" y="39"/>
                </a:cxn>
                <a:cxn ang="0">
                  <a:pos x="8118" y="41"/>
                </a:cxn>
                <a:cxn ang="0">
                  <a:pos x="8450" y="30"/>
                </a:cxn>
                <a:cxn ang="0">
                  <a:pos x="8829" y="10"/>
                </a:cxn>
                <a:cxn ang="0">
                  <a:pos x="9057" y="3"/>
                </a:cxn>
                <a:cxn ang="0">
                  <a:pos x="9828" y="88"/>
                </a:cxn>
                <a:cxn ang="0">
                  <a:pos x="11244" y="257"/>
                </a:cxn>
                <a:cxn ang="0">
                  <a:pos x="11199" y="342"/>
                </a:cxn>
                <a:cxn ang="0">
                  <a:pos x="9691" y="339"/>
                </a:cxn>
                <a:cxn ang="0">
                  <a:pos x="8185" y="338"/>
                </a:cxn>
                <a:cxn ang="0">
                  <a:pos x="6679" y="336"/>
                </a:cxn>
                <a:cxn ang="0">
                  <a:pos x="5411" y="334"/>
                </a:cxn>
                <a:cxn ang="0">
                  <a:pos x="4383" y="332"/>
                </a:cxn>
                <a:cxn ang="0">
                  <a:pos x="3353" y="331"/>
                </a:cxn>
                <a:cxn ang="0">
                  <a:pos x="2325" y="328"/>
                </a:cxn>
                <a:cxn ang="0">
                  <a:pos x="1143" y="326"/>
                </a:cxn>
                <a:cxn ang="0">
                  <a:pos x="0" y="322"/>
                </a:cxn>
              </a:cxnLst>
              <a:rect l="0" t="0" r="r" b="b"/>
              <a:pathLst>
                <a:path w="11952" h="343">
                  <a:moveTo>
                    <a:pt x="0" y="322"/>
                  </a:moveTo>
                  <a:lnTo>
                    <a:pt x="89" y="316"/>
                  </a:lnTo>
                  <a:lnTo>
                    <a:pt x="241" y="306"/>
                  </a:lnTo>
                  <a:lnTo>
                    <a:pt x="650" y="273"/>
                  </a:lnTo>
                  <a:lnTo>
                    <a:pt x="1070" y="243"/>
                  </a:lnTo>
                  <a:lnTo>
                    <a:pt x="1233" y="235"/>
                  </a:lnTo>
                  <a:lnTo>
                    <a:pt x="1294" y="232"/>
                  </a:lnTo>
                  <a:lnTo>
                    <a:pt x="1339" y="232"/>
                  </a:lnTo>
                  <a:lnTo>
                    <a:pt x="1380" y="233"/>
                  </a:lnTo>
                  <a:lnTo>
                    <a:pt x="1430" y="232"/>
                  </a:lnTo>
                  <a:lnTo>
                    <a:pt x="1556" y="226"/>
                  </a:lnTo>
                  <a:lnTo>
                    <a:pt x="1872" y="203"/>
                  </a:lnTo>
                  <a:lnTo>
                    <a:pt x="2205" y="181"/>
                  </a:lnTo>
                  <a:lnTo>
                    <a:pt x="2350" y="173"/>
                  </a:lnTo>
                  <a:lnTo>
                    <a:pt x="2414" y="171"/>
                  </a:lnTo>
                  <a:lnTo>
                    <a:pt x="2469" y="170"/>
                  </a:lnTo>
                  <a:lnTo>
                    <a:pt x="2519" y="170"/>
                  </a:lnTo>
                  <a:lnTo>
                    <a:pt x="2563" y="167"/>
                  </a:lnTo>
                  <a:lnTo>
                    <a:pt x="2645" y="157"/>
                  </a:lnTo>
                  <a:lnTo>
                    <a:pt x="2683" y="151"/>
                  </a:lnTo>
                  <a:lnTo>
                    <a:pt x="2719" y="143"/>
                  </a:lnTo>
                  <a:lnTo>
                    <a:pt x="2787" y="126"/>
                  </a:lnTo>
                  <a:lnTo>
                    <a:pt x="2854" y="107"/>
                  </a:lnTo>
                  <a:lnTo>
                    <a:pt x="2923" y="89"/>
                  </a:lnTo>
                  <a:lnTo>
                    <a:pt x="2999" y="74"/>
                  </a:lnTo>
                  <a:lnTo>
                    <a:pt x="3085" y="60"/>
                  </a:lnTo>
                  <a:lnTo>
                    <a:pt x="3252" y="42"/>
                  </a:lnTo>
                  <a:lnTo>
                    <a:pt x="3388" y="30"/>
                  </a:lnTo>
                  <a:lnTo>
                    <a:pt x="3498" y="25"/>
                  </a:lnTo>
                  <a:lnTo>
                    <a:pt x="3543" y="25"/>
                  </a:lnTo>
                  <a:lnTo>
                    <a:pt x="3584" y="27"/>
                  </a:lnTo>
                  <a:lnTo>
                    <a:pt x="3628" y="33"/>
                  </a:lnTo>
                  <a:lnTo>
                    <a:pt x="3682" y="46"/>
                  </a:lnTo>
                  <a:lnTo>
                    <a:pt x="3819" y="86"/>
                  </a:lnTo>
                  <a:lnTo>
                    <a:pt x="3901" y="108"/>
                  </a:lnTo>
                  <a:lnTo>
                    <a:pt x="3991" y="131"/>
                  </a:lnTo>
                  <a:lnTo>
                    <a:pt x="4090" y="152"/>
                  </a:lnTo>
                  <a:lnTo>
                    <a:pt x="4195" y="169"/>
                  </a:lnTo>
                  <a:lnTo>
                    <a:pt x="4247" y="175"/>
                  </a:lnTo>
                  <a:lnTo>
                    <a:pt x="4296" y="177"/>
                  </a:lnTo>
                  <a:lnTo>
                    <a:pt x="4342" y="177"/>
                  </a:lnTo>
                  <a:lnTo>
                    <a:pt x="4384" y="176"/>
                  </a:lnTo>
                  <a:lnTo>
                    <a:pt x="4461" y="167"/>
                  </a:lnTo>
                  <a:lnTo>
                    <a:pt x="4530" y="154"/>
                  </a:lnTo>
                  <a:lnTo>
                    <a:pt x="4643" y="125"/>
                  </a:lnTo>
                  <a:lnTo>
                    <a:pt x="4691" y="114"/>
                  </a:lnTo>
                  <a:lnTo>
                    <a:pt x="4737" y="111"/>
                  </a:lnTo>
                  <a:lnTo>
                    <a:pt x="4784" y="108"/>
                  </a:lnTo>
                  <a:lnTo>
                    <a:pt x="4833" y="105"/>
                  </a:lnTo>
                  <a:lnTo>
                    <a:pt x="4934" y="94"/>
                  </a:lnTo>
                  <a:lnTo>
                    <a:pt x="5021" y="84"/>
                  </a:lnTo>
                  <a:lnTo>
                    <a:pt x="5055" y="83"/>
                  </a:lnTo>
                  <a:lnTo>
                    <a:pt x="5079" y="83"/>
                  </a:lnTo>
                  <a:lnTo>
                    <a:pt x="5086" y="84"/>
                  </a:lnTo>
                  <a:lnTo>
                    <a:pt x="5092" y="82"/>
                  </a:lnTo>
                  <a:lnTo>
                    <a:pt x="5099" y="72"/>
                  </a:lnTo>
                  <a:lnTo>
                    <a:pt x="5107" y="57"/>
                  </a:lnTo>
                  <a:lnTo>
                    <a:pt x="5121" y="40"/>
                  </a:lnTo>
                  <a:lnTo>
                    <a:pt x="5130" y="31"/>
                  </a:lnTo>
                  <a:lnTo>
                    <a:pt x="5144" y="23"/>
                  </a:lnTo>
                  <a:lnTo>
                    <a:pt x="5182" y="10"/>
                  </a:lnTo>
                  <a:lnTo>
                    <a:pt x="5210" y="4"/>
                  </a:lnTo>
                  <a:lnTo>
                    <a:pt x="5242" y="1"/>
                  </a:lnTo>
                  <a:lnTo>
                    <a:pt x="5329" y="0"/>
                  </a:lnTo>
                  <a:lnTo>
                    <a:pt x="5604" y="17"/>
                  </a:lnTo>
                  <a:lnTo>
                    <a:pt x="5945" y="39"/>
                  </a:lnTo>
                  <a:lnTo>
                    <a:pt x="6244" y="59"/>
                  </a:lnTo>
                  <a:lnTo>
                    <a:pt x="6390" y="68"/>
                  </a:lnTo>
                  <a:lnTo>
                    <a:pt x="6657" y="80"/>
                  </a:lnTo>
                  <a:lnTo>
                    <a:pt x="6867" y="88"/>
                  </a:lnTo>
                  <a:lnTo>
                    <a:pt x="7058" y="92"/>
                  </a:lnTo>
                  <a:lnTo>
                    <a:pt x="7097" y="90"/>
                  </a:lnTo>
                  <a:lnTo>
                    <a:pt x="7133" y="87"/>
                  </a:lnTo>
                  <a:lnTo>
                    <a:pt x="7164" y="82"/>
                  </a:lnTo>
                  <a:lnTo>
                    <a:pt x="7193" y="77"/>
                  </a:lnTo>
                  <a:lnTo>
                    <a:pt x="7245" y="63"/>
                  </a:lnTo>
                  <a:lnTo>
                    <a:pt x="7290" y="47"/>
                  </a:lnTo>
                  <a:lnTo>
                    <a:pt x="7334" y="31"/>
                  </a:lnTo>
                  <a:lnTo>
                    <a:pt x="7378" y="19"/>
                  </a:lnTo>
                  <a:lnTo>
                    <a:pt x="7404" y="16"/>
                  </a:lnTo>
                  <a:lnTo>
                    <a:pt x="7430" y="13"/>
                  </a:lnTo>
                  <a:lnTo>
                    <a:pt x="7458" y="13"/>
                  </a:lnTo>
                  <a:lnTo>
                    <a:pt x="7490" y="16"/>
                  </a:lnTo>
                  <a:lnTo>
                    <a:pt x="7621" y="27"/>
                  </a:lnTo>
                  <a:lnTo>
                    <a:pt x="7750" y="35"/>
                  </a:lnTo>
                  <a:lnTo>
                    <a:pt x="7877" y="39"/>
                  </a:lnTo>
                  <a:lnTo>
                    <a:pt x="8000" y="41"/>
                  </a:lnTo>
                  <a:lnTo>
                    <a:pt x="8118" y="41"/>
                  </a:lnTo>
                  <a:lnTo>
                    <a:pt x="8233" y="39"/>
                  </a:lnTo>
                  <a:lnTo>
                    <a:pt x="8450" y="30"/>
                  </a:lnTo>
                  <a:lnTo>
                    <a:pt x="8650" y="19"/>
                  </a:lnTo>
                  <a:lnTo>
                    <a:pt x="8829" y="10"/>
                  </a:lnTo>
                  <a:lnTo>
                    <a:pt x="8986" y="3"/>
                  </a:lnTo>
                  <a:lnTo>
                    <a:pt x="9057" y="3"/>
                  </a:lnTo>
                  <a:lnTo>
                    <a:pt x="9120" y="4"/>
                  </a:lnTo>
                  <a:lnTo>
                    <a:pt x="9828" y="88"/>
                  </a:lnTo>
                  <a:lnTo>
                    <a:pt x="10536" y="173"/>
                  </a:lnTo>
                  <a:lnTo>
                    <a:pt x="11244" y="257"/>
                  </a:lnTo>
                  <a:lnTo>
                    <a:pt x="11952" y="343"/>
                  </a:lnTo>
                  <a:lnTo>
                    <a:pt x="11199" y="342"/>
                  </a:lnTo>
                  <a:lnTo>
                    <a:pt x="10445" y="340"/>
                  </a:lnTo>
                  <a:lnTo>
                    <a:pt x="9691" y="339"/>
                  </a:lnTo>
                  <a:lnTo>
                    <a:pt x="8939" y="339"/>
                  </a:lnTo>
                  <a:lnTo>
                    <a:pt x="8185" y="338"/>
                  </a:lnTo>
                  <a:lnTo>
                    <a:pt x="7432" y="337"/>
                  </a:lnTo>
                  <a:lnTo>
                    <a:pt x="6679" y="336"/>
                  </a:lnTo>
                  <a:lnTo>
                    <a:pt x="5926" y="336"/>
                  </a:lnTo>
                  <a:lnTo>
                    <a:pt x="5411" y="334"/>
                  </a:lnTo>
                  <a:lnTo>
                    <a:pt x="4897" y="333"/>
                  </a:lnTo>
                  <a:lnTo>
                    <a:pt x="4383" y="332"/>
                  </a:lnTo>
                  <a:lnTo>
                    <a:pt x="3869" y="332"/>
                  </a:lnTo>
                  <a:lnTo>
                    <a:pt x="3353" y="331"/>
                  </a:lnTo>
                  <a:lnTo>
                    <a:pt x="2839" y="330"/>
                  </a:lnTo>
                  <a:lnTo>
                    <a:pt x="2325" y="328"/>
                  </a:lnTo>
                  <a:lnTo>
                    <a:pt x="1811" y="328"/>
                  </a:lnTo>
                  <a:lnTo>
                    <a:pt x="1143" y="326"/>
                  </a:lnTo>
                  <a:lnTo>
                    <a:pt x="476" y="325"/>
                  </a:lnTo>
                  <a:lnTo>
                    <a:pt x="0" y="3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7" name="Freeform 60"/>
            <p:cNvSpPr>
              <a:spLocks/>
            </p:cNvSpPr>
            <p:nvPr userDrawn="1"/>
          </p:nvSpPr>
          <p:spPr bwMode="auto">
            <a:xfrm>
              <a:off x="2855913" y="6235701"/>
              <a:ext cx="196850" cy="284163"/>
            </a:xfrm>
            <a:custGeom>
              <a:avLst/>
              <a:gdLst/>
              <a:ahLst/>
              <a:cxnLst>
                <a:cxn ang="0">
                  <a:pos x="336" y="75"/>
                </a:cxn>
                <a:cxn ang="0">
                  <a:pos x="372" y="134"/>
                </a:cxn>
                <a:cxn ang="0">
                  <a:pos x="412" y="165"/>
                </a:cxn>
                <a:cxn ang="0">
                  <a:pos x="391" y="195"/>
                </a:cxn>
                <a:cxn ang="0">
                  <a:pos x="426" y="262"/>
                </a:cxn>
                <a:cxn ang="0">
                  <a:pos x="454" y="326"/>
                </a:cxn>
                <a:cxn ang="0">
                  <a:pos x="448" y="345"/>
                </a:cxn>
                <a:cxn ang="0">
                  <a:pos x="514" y="387"/>
                </a:cxn>
                <a:cxn ang="0">
                  <a:pos x="491" y="405"/>
                </a:cxn>
                <a:cxn ang="0">
                  <a:pos x="518" y="419"/>
                </a:cxn>
                <a:cxn ang="0">
                  <a:pos x="490" y="433"/>
                </a:cxn>
                <a:cxn ang="0">
                  <a:pos x="477" y="450"/>
                </a:cxn>
                <a:cxn ang="0">
                  <a:pos x="534" y="466"/>
                </a:cxn>
                <a:cxn ang="0">
                  <a:pos x="540" y="479"/>
                </a:cxn>
                <a:cxn ang="0">
                  <a:pos x="563" y="506"/>
                </a:cxn>
                <a:cxn ang="0">
                  <a:pos x="533" y="530"/>
                </a:cxn>
                <a:cxn ang="0">
                  <a:pos x="518" y="554"/>
                </a:cxn>
                <a:cxn ang="0">
                  <a:pos x="480" y="564"/>
                </a:cxn>
                <a:cxn ang="0">
                  <a:pos x="454" y="565"/>
                </a:cxn>
                <a:cxn ang="0">
                  <a:pos x="467" y="587"/>
                </a:cxn>
                <a:cxn ang="0">
                  <a:pos x="525" y="601"/>
                </a:cxn>
                <a:cxn ang="0">
                  <a:pos x="558" y="621"/>
                </a:cxn>
                <a:cxn ang="0">
                  <a:pos x="561" y="652"/>
                </a:cxn>
                <a:cxn ang="0">
                  <a:pos x="567" y="666"/>
                </a:cxn>
                <a:cxn ang="0">
                  <a:pos x="554" y="682"/>
                </a:cxn>
                <a:cxn ang="0">
                  <a:pos x="598" y="698"/>
                </a:cxn>
                <a:cxn ang="0">
                  <a:pos x="581" y="732"/>
                </a:cxn>
                <a:cxn ang="0">
                  <a:pos x="542" y="734"/>
                </a:cxn>
                <a:cxn ang="0">
                  <a:pos x="507" y="781"/>
                </a:cxn>
                <a:cxn ang="0">
                  <a:pos x="456" y="806"/>
                </a:cxn>
                <a:cxn ang="0">
                  <a:pos x="373" y="813"/>
                </a:cxn>
                <a:cxn ang="0">
                  <a:pos x="282" y="824"/>
                </a:cxn>
                <a:cxn ang="0">
                  <a:pos x="189" y="827"/>
                </a:cxn>
                <a:cxn ang="0">
                  <a:pos x="129" y="865"/>
                </a:cxn>
                <a:cxn ang="0">
                  <a:pos x="47" y="807"/>
                </a:cxn>
                <a:cxn ang="0">
                  <a:pos x="64" y="758"/>
                </a:cxn>
                <a:cxn ang="0">
                  <a:pos x="41" y="701"/>
                </a:cxn>
                <a:cxn ang="0">
                  <a:pos x="114" y="706"/>
                </a:cxn>
                <a:cxn ang="0">
                  <a:pos x="97" y="668"/>
                </a:cxn>
                <a:cxn ang="0">
                  <a:pos x="56" y="647"/>
                </a:cxn>
                <a:cxn ang="0">
                  <a:pos x="79" y="606"/>
                </a:cxn>
                <a:cxn ang="0">
                  <a:pos x="95" y="588"/>
                </a:cxn>
                <a:cxn ang="0">
                  <a:pos x="153" y="568"/>
                </a:cxn>
                <a:cxn ang="0">
                  <a:pos x="126" y="541"/>
                </a:cxn>
                <a:cxn ang="0">
                  <a:pos x="105" y="521"/>
                </a:cxn>
                <a:cxn ang="0">
                  <a:pos x="48" y="511"/>
                </a:cxn>
                <a:cxn ang="0">
                  <a:pos x="77" y="464"/>
                </a:cxn>
                <a:cxn ang="0">
                  <a:pos x="90" y="422"/>
                </a:cxn>
                <a:cxn ang="0">
                  <a:pos x="154" y="390"/>
                </a:cxn>
                <a:cxn ang="0">
                  <a:pos x="117" y="385"/>
                </a:cxn>
                <a:cxn ang="0">
                  <a:pos x="151" y="337"/>
                </a:cxn>
                <a:cxn ang="0">
                  <a:pos x="155" y="332"/>
                </a:cxn>
                <a:cxn ang="0">
                  <a:pos x="238" y="289"/>
                </a:cxn>
                <a:cxn ang="0">
                  <a:pos x="196" y="261"/>
                </a:cxn>
                <a:cxn ang="0">
                  <a:pos x="196" y="178"/>
                </a:cxn>
                <a:cxn ang="0">
                  <a:pos x="230" y="167"/>
                </a:cxn>
                <a:cxn ang="0">
                  <a:pos x="202" y="125"/>
                </a:cxn>
                <a:cxn ang="0">
                  <a:pos x="266" y="113"/>
                </a:cxn>
                <a:cxn ang="0">
                  <a:pos x="243" y="80"/>
                </a:cxn>
                <a:cxn ang="0">
                  <a:pos x="268" y="83"/>
                </a:cxn>
                <a:cxn ang="0">
                  <a:pos x="259" y="64"/>
                </a:cxn>
                <a:cxn ang="0">
                  <a:pos x="285" y="30"/>
                </a:cxn>
                <a:cxn ang="0">
                  <a:pos x="294" y="30"/>
                </a:cxn>
              </a:cxnLst>
              <a:rect l="0" t="0" r="r" b="b"/>
              <a:pathLst>
                <a:path w="622" h="896">
                  <a:moveTo>
                    <a:pt x="310" y="15"/>
                  </a:moveTo>
                  <a:lnTo>
                    <a:pt x="313" y="10"/>
                  </a:lnTo>
                  <a:lnTo>
                    <a:pt x="316" y="0"/>
                  </a:lnTo>
                  <a:lnTo>
                    <a:pt x="315" y="5"/>
                  </a:lnTo>
                  <a:lnTo>
                    <a:pt x="314" y="10"/>
                  </a:lnTo>
                  <a:lnTo>
                    <a:pt x="310" y="15"/>
                  </a:lnTo>
                  <a:lnTo>
                    <a:pt x="310" y="17"/>
                  </a:lnTo>
                  <a:lnTo>
                    <a:pt x="314" y="12"/>
                  </a:lnTo>
                  <a:lnTo>
                    <a:pt x="315" y="12"/>
                  </a:lnTo>
                  <a:lnTo>
                    <a:pt x="313" y="17"/>
                  </a:lnTo>
                  <a:lnTo>
                    <a:pt x="313" y="18"/>
                  </a:lnTo>
                  <a:lnTo>
                    <a:pt x="321" y="15"/>
                  </a:lnTo>
                  <a:lnTo>
                    <a:pt x="310" y="21"/>
                  </a:lnTo>
                  <a:lnTo>
                    <a:pt x="312" y="22"/>
                  </a:lnTo>
                  <a:lnTo>
                    <a:pt x="312" y="23"/>
                  </a:lnTo>
                  <a:lnTo>
                    <a:pt x="315" y="20"/>
                  </a:lnTo>
                  <a:lnTo>
                    <a:pt x="316" y="21"/>
                  </a:lnTo>
                  <a:lnTo>
                    <a:pt x="313" y="24"/>
                  </a:lnTo>
                  <a:lnTo>
                    <a:pt x="319" y="24"/>
                  </a:lnTo>
                  <a:lnTo>
                    <a:pt x="319" y="26"/>
                  </a:lnTo>
                  <a:lnTo>
                    <a:pt x="313" y="26"/>
                  </a:lnTo>
                  <a:lnTo>
                    <a:pt x="312" y="27"/>
                  </a:lnTo>
                  <a:lnTo>
                    <a:pt x="312" y="29"/>
                  </a:lnTo>
                  <a:lnTo>
                    <a:pt x="318" y="29"/>
                  </a:lnTo>
                  <a:lnTo>
                    <a:pt x="316" y="30"/>
                  </a:lnTo>
                  <a:lnTo>
                    <a:pt x="312" y="30"/>
                  </a:lnTo>
                  <a:lnTo>
                    <a:pt x="315" y="32"/>
                  </a:lnTo>
                  <a:lnTo>
                    <a:pt x="312" y="32"/>
                  </a:lnTo>
                  <a:lnTo>
                    <a:pt x="312" y="33"/>
                  </a:lnTo>
                  <a:lnTo>
                    <a:pt x="314" y="33"/>
                  </a:lnTo>
                  <a:lnTo>
                    <a:pt x="314" y="32"/>
                  </a:lnTo>
                  <a:lnTo>
                    <a:pt x="315" y="33"/>
                  </a:lnTo>
                  <a:lnTo>
                    <a:pt x="316" y="33"/>
                  </a:lnTo>
                  <a:lnTo>
                    <a:pt x="319" y="28"/>
                  </a:lnTo>
                  <a:lnTo>
                    <a:pt x="318" y="33"/>
                  </a:lnTo>
                  <a:lnTo>
                    <a:pt x="319" y="33"/>
                  </a:lnTo>
                  <a:lnTo>
                    <a:pt x="321" y="32"/>
                  </a:lnTo>
                  <a:lnTo>
                    <a:pt x="321" y="33"/>
                  </a:lnTo>
                  <a:lnTo>
                    <a:pt x="320" y="33"/>
                  </a:lnTo>
                  <a:lnTo>
                    <a:pt x="318" y="34"/>
                  </a:lnTo>
                  <a:lnTo>
                    <a:pt x="318" y="35"/>
                  </a:lnTo>
                  <a:lnTo>
                    <a:pt x="320" y="34"/>
                  </a:lnTo>
                  <a:lnTo>
                    <a:pt x="320" y="35"/>
                  </a:lnTo>
                  <a:lnTo>
                    <a:pt x="316" y="36"/>
                  </a:lnTo>
                  <a:lnTo>
                    <a:pt x="318" y="38"/>
                  </a:lnTo>
                  <a:lnTo>
                    <a:pt x="319" y="39"/>
                  </a:lnTo>
                  <a:lnTo>
                    <a:pt x="320" y="36"/>
                  </a:lnTo>
                  <a:lnTo>
                    <a:pt x="326" y="33"/>
                  </a:lnTo>
                  <a:lnTo>
                    <a:pt x="325" y="35"/>
                  </a:lnTo>
                  <a:lnTo>
                    <a:pt x="327" y="36"/>
                  </a:lnTo>
                  <a:lnTo>
                    <a:pt x="330" y="35"/>
                  </a:lnTo>
                  <a:lnTo>
                    <a:pt x="328" y="36"/>
                  </a:lnTo>
                  <a:lnTo>
                    <a:pt x="324" y="38"/>
                  </a:lnTo>
                  <a:lnTo>
                    <a:pt x="322" y="38"/>
                  </a:lnTo>
                  <a:lnTo>
                    <a:pt x="327" y="41"/>
                  </a:lnTo>
                  <a:lnTo>
                    <a:pt x="321" y="39"/>
                  </a:lnTo>
                  <a:lnTo>
                    <a:pt x="322" y="40"/>
                  </a:lnTo>
                  <a:lnTo>
                    <a:pt x="320" y="39"/>
                  </a:lnTo>
                  <a:lnTo>
                    <a:pt x="319" y="40"/>
                  </a:lnTo>
                  <a:lnTo>
                    <a:pt x="318" y="40"/>
                  </a:lnTo>
                  <a:lnTo>
                    <a:pt x="319" y="42"/>
                  </a:lnTo>
                  <a:lnTo>
                    <a:pt x="316" y="40"/>
                  </a:lnTo>
                  <a:lnTo>
                    <a:pt x="310" y="44"/>
                  </a:lnTo>
                  <a:lnTo>
                    <a:pt x="309" y="46"/>
                  </a:lnTo>
                  <a:lnTo>
                    <a:pt x="312" y="47"/>
                  </a:lnTo>
                  <a:lnTo>
                    <a:pt x="314" y="46"/>
                  </a:lnTo>
                  <a:lnTo>
                    <a:pt x="315" y="45"/>
                  </a:lnTo>
                  <a:lnTo>
                    <a:pt x="315" y="46"/>
                  </a:lnTo>
                  <a:lnTo>
                    <a:pt x="319" y="46"/>
                  </a:lnTo>
                  <a:lnTo>
                    <a:pt x="321" y="44"/>
                  </a:lnTo>
                  <a:lnTo>
                    <a:pt x="320" y="47"/>
                  </a:lnTo>
                  <a:lnTo>
                    <a:pt x="325" y="47"/>
                  </a:lnTo>
                  <a:lnTo>
                    <a:pt x="324" y="48"/>
                  </a:lnTo>
                  <a:lnTo>
                    <a:pt x="320" y="48"/>
                  </a:lnTo>
                  <a:lnTo>
                    <a:pt x="321" y="51"/>
                  </a:lnTo>
                  <a:lnTo>
                    <a:pt x="318" y="48"/>
                  </a:lnTo>
                  <a:lnTo>
                    <a:pt x="316" y="48"/>
                  </a:lnTo>
                  <a:lnTo>
                    <a:pt x="315" y="48"/>
                  </a:lnTo>
                  <a:lnTo>
                    <a:pt x="313" y="48"/>
                  </a:lnTo>
                  <a:lnTo>
                    <a:pt x="314" y="50"/>
                  </a:lnTo>
                  <a:lnTo>
                    <a:pt x="318" y="50"/>
                  </a:lnTo>
                  <a:lnTo>
                    <a:pt x="315" y="51"/>
                  </a:lnTo>
                  <a:lnTo>
                    <a:pt x="316" y="51"/>
                  </a:lnTo>
                  <a:lnTo>
                    <a:pt x="319" y="53"/>
                  </a:lnTo>
                  <a:lnTo>
                    <a:pt x="315" y="53"/>
                  </a:lnTo>
                  <a:lnTo>
                    <a:pt x="315" y="54"/>
                  </a:lnTo>
                  <a:lnTo>
                    <a:pt x="320" y="58"/>
                  </a:lnTo>
                  <a:lnTo>
                    <a:pt x="320" y="59"/>
                  </a:lnTo>
                  <a:lnTo>
                    <a:pt x="318" y="59"/>
                  </a:lnTo>
                  <a:lnTo>
                    <a:pt x="318" y="60"/>
                  </a:lnTo>
                  <a:lnTo>
                    <a:pt x="318" y="62"/>
                  </a:lnTo>
                  <a:lnTo>
                    <a:pt x="316" y="62"/>
                  </a:lnTo>
                  <a:lnTo>
                    <a:pt x="315" y="62"/>
                  </a:lnTo>
                  <a:lnTo>
                    <a:pt x="315" y="63"/>
                  </a:lnTo>
                  <a:lnTo>
                    <a:pt x="319" y="63"/>
                  </a:lnTo>
                  <a:lnTo>
                    <a:pt x="321" y="62"/>
                  </a:lnTo>
                  <a:lnTo>
                    <a:pt x="320" y="63"/>
                  </a:lnTo>
                  <a:lnTo>
                    <a:pt x="321" y="66"/>
                  </a:lnTo>
                  <a:lnTo>
                    <a:pt x="320" y="66"/>
                  </a:lnTo>
                  <a:lnTo>
                    <a:pt x="319" y="64"/>
                  </a:lnTo>
                  <a:lnTo>
                    <a:pt x="316" y="64"/>
                  </a:lnTo>
                  <a:lnTo>
                    <a:pt x="318" y="66"/>
                  </a:lnTo>
                  <a:lnTo>
                    <a:pt x="321" y="69"/>
                  </a:lnTo>
                  <a:lnTo>
                    <a:pt x="326" y="71"/>
                  </a:lnTo>
                  <a:lnTo>
                    <a:pt x="333" y="75"/>
                  </a:lnTo>
                  <a:lnTo>
                    <a:pt x="336" y="75"/>
                  </a:lnTo>
                  <a:lnTo>
                    <a:pt x="334" y="76"/>
                  </a:lnTo>
                  <a:lnTo>
                    <a:pt x="336" y="76"/>
                  </a:lnTo>
                  <a:lnTo>
                    <a:pt x="339" y="75"/>
                  </a:lnTo>
                  <a:lnTo>
                    <a:pt x="337" y="76"/>
                  </a:lnTo>
                  <a:lnTo>
                    <a:pt x="342" y="78"/>
                  </a:lnTo>
                  <a:lnTo>
                    <a:pt x="342" y="80"/>
                  </a:lnTo>
                  <a:lnTo>
                    <a:pt x="334" y="78"/>
                  </a:lnTo>
                  <a:lnTo>
                    <a:pt x="336" y="80"/>
                  </a:lnTo>
                  <a:lnTo>
                    <a:pt x="336" y="82"/>
                  </a:lnTo>
                  <a:lnTo>
                    <a:pt x="334" y="83"/>
                  </a:lnTo>
                  <a:lnTo>
                    <a:pt x="334" y="80"/>
                  </a:lnTo>
                  <a:lnTo>
                    <a:pt x="333" y="80"/>
                  </a:lnTo>
                  <a:lnTo>
                    <a:pt x="333" y="77"/>
                  </a:lnTo>
                  <a:lnTo>
                    <a:pt x="332" y="77"/>
                  </a:lnTo>
                  <a:lnTo>
                    <a:pt x="332" y="80"/>
                  </a:lnTo>
                  <a:lnTo>
                    <a:pt x="331" y="80"/>
                  </a:lnTo>
                  <a:lnTo>
                    <a:pt x="331" y="76"/>
                  </a:lnTo>
                  <a:lnTo>
                    <a:pt x="327" y="75"/>
                  </a:lnTo>
                  <a:lnTo>
                    <a:pt x="327" y="77"/>
                  </a:lnTo>
                  <a:lnTo>
                    <a:pt x="330" y="80"/>
                  </a:lnTo>
                  <a:lnTo>
                    <a:pt x="328" y="82"/>
                  </a:lnTo>
                  <a:lnTo>
                    <a:pt x="328" y="83"/>
                  </a:lnTo>
                  <a:lnTo>
                    <a:pt x="326" y="84"/>
                  </a:lnTo>
                  <a:lnTo>
                    <a:pt x="330" y="86"/>
                  </a:lnTo>
                  <a:lnTo>
                    <a:pt x="331" y="84"/>
                  </a:lnTo>
                  <a:lnTo>
                    <a:pt x="332" y="84"/>
                  </a:lnTo>
                  <a:lnTo>
                    <a:pt x="331" y="86"/>
                  </a:lnTo>
                  <a:lnTo>
                    <a:pt x="333" y="86"/>
                  </a:lnTo>
                  <a:lnTo>
                    <a:pt x="336" y="87"/>
                  </a:lnTo>
                  <a:lnTo>
                    <a:pt x="332" y="87"/>
                  </a:lnTo>
                  <a:lnTo>
                    <a:pt x="331" y="87"/>
                  </a:lnTo>
                  <a:lnTo>
                    <a:pt x="330" y="88"/>
                  </a:lnTo>
                  <a:lnTo>
                    <a:pt x="333" y="88"/>
                  </a:lnTo>
                  <a:lnTo>
                    <a:pt x="336" y="89"/>
                  </a:lnTo>
                  <a:lnTo>
                    <a:pt x="337" y="92"/>
                  </a:lnTo>
                  <a:lnTo>
                    <a:pt x="336" y="92"/>
                  </a:lnTo>
                  <a:lnTo>
                    <a:pt x="334" y="92"/>
                  </a:lnTo>
                  <a:lnTo>
                    <a:pt x="333" y="92"/>
                  </a:lnTo>
                  <a:lnTo>
                    <a:pt x="333" y="93"/>
                  </a:lnTo>
                  <a:lnTo>
                    <a:pt x="334" y="94"/>
                  </a:lnTo>
                  <a:lnTo>
                    <a:pt x="336" y="94"/>
                  </a:lnTo>
                  <a:lnTo>
                    <a:pt x="337" y="93"/>
                  </a:lnTo>
                  <a:lnTo>
                    <a:pt x="341" y="93"/>
                  </a:lnTo>
                  <a:lnTo>
                    <a:pt x="342" y="93"/>
                  </a:lnTo>
                  <a:lnTo>
                    <a:pt x="343" y="95"/>
                  </a:lnTo>
                  <a:lnTo>
                    <a:pt x="344" y="96"/>
                  </a:lnTo>
                  <a:lnTo>
                    <a:pt x="348" y="96"/>
                  </a:lnTo>
                  <a:lnTo>
                    <a:pt x="353" y="99"/>
                  </a:lnTo>
                  <a:lnTo>
                    <a:pt x="355" y="100"/>
                  </a:lnTo>
                  <a:lnTo>
                    <a:pt x="355" y="101"/>
                  </a:lnTo>
                  <a:lnTo>
                    <a:pt x="359" y="101"/>
                  </a:lnTo>
                  <a:lnTo>
                    <a:pt x="357" y="101"/>
                  </a:lnTo>
                  <a:lnTo>
                    <a:pt x="359" y="101"/>
                  </a:lnTo>
                  <a:lnTo>
                    <a:pt x="362" y="101"/>
                  </a:lnTo>
                  <a:lnTo>
                    <a:pt x="362" y="102"/>
                  </a:lnTo>
                  <a:lnTo>
                    <a:pt x="363" y="104"/>
                  </a:lnTo>
                  <a:lnTo>
                    <a:pt x="371" y="107"/>
                  </a:lnTo>
                  <a:lnTo>
                    <a:pt x="373" y="108"/>
                  </a:lnTo>
                  <a:lnTo>
                    <a:pt x="375" y="108"/>
                  </a:lnTo>
                  <a:lnTo>
                    <a:pt x="374" y="108"/>
                  </a:lnTo>
                  <a:lnTo>
                    <a:pt x="375" y="110"/>
                  </a:lnTo>
                  <a:lnTo>
                    <a:pt x="377" y="110"/>
                  </a:lnTo>
                  <a:lnTo>
                    <a:pt x="377" y="111"/>
                  </a:lnTo>
                  <a:lnTo>
                    <a:pt x="379" y="112"/>
                  </a:lnTo>
                  <a:lnTo>
                    <a:pt x="380" y="113"/>
                  </a:lnTo>
                  <a:lnTo>
                    <a:pt x="383" y="113"/>
                  </a:lnTo>
                  <a:lnTo>
                    <a:pt x="383" y="114"/>
                  </a:lnTo>
                  <a:lnTo>
                    <a:pt x="381" y="114"/>
                  </a:lnTo>
                  <a:lnTo>
                    <a:pt x="384" y="117"/>
                  </a:lnTo>
                  <a:lnTo>
                    <a:pt x="381" y="116"/>
                  </a:lnTo>
                  <a:lnTo>
                    <a:pt x="380" y="116"/>
                  </a:lnTo>
                  <a:lnTo>
                    <a:pt x="380" y="118"/>
                  </a:lnTo>
                  <a:lnTo>
                    <a:pt x="379" y="114"/>
                  </a:lnTo>
                  <a:lnTo>
                    <a:pt x="378" y="114"/>
                  </a:lnTo>
                  <a:lnTo>
                    <a:pt x="377" y="114"/>
                  </a:lnTo>
                  <a:lnTo>
                    <a:pt x="377" y="113"/>
                  </a:lnTo>
                  <a:lnTo>
                    <a:pt x="372" y="110"/>
                  </a:lnTo>
                  <a:lnTo>
                    <a:pt x="372" y="114"/>
                  </a:lnTo>
                  <a:lnTo>
                    <a:pt x="372" y="117"/>
                  </a:lnTo>
                  <a:lnTo>
                    <a:pt x="371" y="117"/>
                  </a:lnTo>
                  <a:lnTo>
                    <a:pt x="371" y="114"/>
                  </a:lnTo>
                  <a:lnTo>
                    <a:pt x="371" y="110"/>
                  </a:lnTo>
                  <a:lnTo>
                    <a:pt x="369" y="112"/>
                  </a:lnTo>
                  <a:lnTo>
                    <a:pt x="369" y="116"/>
                  </a:lnTo>
                  <a:lnTo>
                    <a:pt x="369" y="117"/>
                  </a:lnTo>
                  <a:lnTo>
                    <a:pt x="368" y="117"/>
                  </a:lnTo>
                  <a:lnTo>
                    <a:pt x="368" y="118"/>
                  </a:lnTo>
                  <a:lnTo>
                    <a:pt x="367" y="118"/>
                  </a:lnTo>
                  <a:lnTo>
                    <a:pt x="368" y="119"/>
                  </a:lnTo>
                  <a:lnTo>
                    <a:pt x="371" y="120"/>
                  </a:lnTo>
                  <a:lnTo>
                    <a:pt x="369" y="120"/>
                  </a:lnTo>
                  <a:lnTo>
                    <a:pt x="369" y="122"/>
                  </a:lnTo>
                  <a:lnTo>
                    <a:pt x="372" y="122"/>
                  </a:lnTo>
                  <a:lnTo>
                    <a:pt x="372" y="123"/>
                  </a:lnTo>
                  <a:lnTo>
                    <a:pt x="369" y="123"/>
                  </a:lnTo>
                  <a:lnTo>
                    <a:pt x="371" y="124"/>
                  </a:lnTo>
                  <a:lnTo>
                    <a:pt x="372" y="125"/>
                  </a:lnTo>
                  <a:lnTo>
                    <a:pt x="372" y="127"/>
                  </a:lnTo>
                  <a:lnTo>
                    <a:pt x="372" y="129"/>
                  </a:lnTo>
                  <a:lnTo>
                    <a:pt x="372" y="130"/>
                  </a:lnTo>
                  <a:lnTo>
                    <a:pt x="371" y="131"/>
                  </a:lnTo>
                  <a:lnTo>
                    <a:pt x="368" y="131"/>
                  </a:lnTo>
                  <a:lnTo>
                    <a:pt x="367" y="131"/>
                  </a:lnTo>
                  <a:lnTo>
                    <a:pt x="368" y="133"/>
                  </a:lnTo>
                  <a:lnTo>
                    <a:pt x="372" y="133"/>
                  </a:lnTo>
                  <a:lnTo>
                    <a:pt x="372" y="134"/>
                  </a:lnTo>
                  <a:lnTo>
                    <a:pt x="373" y="134"/>
                  </a:lnTo>
                  <a:lnTo>
                    <a:pt x="374" y="135"/>
                  </a:lnTo>
                  <a:lnTo>
                    <a:pt x="377" y="134"/>
                  </a:lnTo>
                  <a:lnTo>
                    <a:pt x="378" y="134"/>
                  </a:lnTo>
                  <a:lnTo>
                    <a:pt x="378" y="135"/>
                  </a:lnTo>
                  <a:lnTo>
                    <a:pt x="375" y="135"/>
                  </a:lnTo>
                  <a:lnTo>
                    <a:pt x="377" y="136"/>
                  </a:lnTo>
                  <a:lnTo>
                    <a:pt x="378" y="136"/>
                  </a:lnTo>
                  <a:lnTo>
                    <a:pt x="379" y="135"/>
                  </a:lnTo>
                  <a:lnTo>
                    <a:pt x="381" y="135"/>
                  </a:lnTo>
                  <a:lnTo>
                    <a:pt x="380" y="136"/>
                  </a:lnTo>
                  <a:lnTo>
                    <a:pt x="384" y="136"/>
                  </a:lnTo>
                  <a:lnTo>
                    <a:pt x="383" y="137"/>
                  </a:lnTo>
                  <a:lnTo>
                    <a:pt x="386" y="139"/>
                  </a:lnTo>
                  <a:lnTo>
                    <a:pt x="383" y="137"/>
                  </a:lnTo>
                  <a:lnTo>
                    <a:pt x="383" y="139"/>
                  </a:lnTo>
                  <a:lnTo>
                    <a:pt x="384" y="142"/>
                  </a:lnTo>
                  <a:lnTo>
                    <a:pt x="383" y="142"/>
                  </a:lnTo>
                  <a:lnTo>
                    <a:pt x="381" y="139"/>
                  </a:lnTo>
                  <a:lnTo>
                    <a:pt x="380" y="139"/>
                  </a:lnTo>
                  <a:lnTo>
                    <a:pt x="380" y="141"/>
                  </a:lnTo>
                  <a:lnTo>
                    <a:pt x="379" y="141"/>
                  </a:lnTo>
                  <a:lnTo>
                    <a:pt x="378" y="140"/>
                  </a:lnTo>
                  <a:lnTo>
                    <a:pt x="377" y="140"/>
                  </a:lnTo>
                  <a:lnTo>
                    <a:pt x="377" y="137"/>
                  </a:lnTo>
                  <a:lnTo>
                    <a:pt x="375" y="137"/>
                  </a:lnTo>
                  <a:lnTo>
                    <a:pt x="375" y="139"/>
                  </a:lnTo>
                  <a:lnTo>
                    <a:pt x="375" y="140"/>
                  </a:lnTo>
                  <a:lnTo>
                    <a:pt x="374" y="140"/>
                  </a:lnTo>
                  <a:lnTo>
                    <a:pt x="372" y="145"/>
                  </a:lnTo>
                  <a:lnTo>
                    <a:pt x="372" y="146"/>
                  </a:lnTo>
                  <a:lnTo>
                    <a:pt x="371" y="145"/>
                  </a:lnTo>
                  <a:lnTo>
                    <a:pt x="369" y="147"/>
                  </a:lnTo>
                  <a:lnTo>
                    <a:pt x="368" y="147"/>
                  </a:lnTo>
                  <a:lnTo>
                    <a:pt x="369" y="145"/>
                  </a:lnTo>
                  <a:lnTo>
                    <a:pt x="368" y="146"/>
                  </a:lnTo>
                  <a:lnTo>
                    <a:pt x="367" y="146"/>
                  </a:lnTo>
                  <a:lnTo>
                    <a:pt x="367" y="143"/>
                  </a:lnTo>
                  <a:lnTo>
                    <a:pt x="366" y="143"/>
                  </a:lnTo>
                  <a:lnTo>
                    <a:pt x="366" y="146"/>
                  </a:lnTo>
                  <a:lnTo>
                    <a:pt x="365" y="146"/>
                  </a:lnTo>
                  <a:lnTo>
                    <a:pt x="365" y="147"/>
                  </a:lnTo>
                  <a:lnTo>
                    <a:pt x="365" y="143"/>
                  </a:lnTo>
                  <a:lnTo>
                    <a:pt x="365" y="142"/>
                  </a:lnTo>
                  <a:lnTo>
                    <a:pt x="363" y="143"/>
                  </a:lnTo>
                  <a:lnTo>
                    <a:pt x="362" y="145"/>
                  </a:lnTo>
                  <a:lnTo>
                    <a:pt x="362" y="141"/>
                  </a:lnTo>
                  <a:lnTo>
                    <a:pt x="361" y="141"/>
                  </a:lnTo>
                  <a:lnTo>
                    <a:pt x="361" y="142"/>
                  </a:lnTo>
                  <a:lnTo>
                    <a:pt x="360" y="145"/>
                  </a:lnTo>
                  <a:lnTo>
                    <a:pt x="359" y="146"/>
                  </a:lnTo>
                  <a:lnTo>
                    <a:pt x="359" y="147"/>
                  </a:lnTo>
                  <a:lnTo>
                    <a:pt x="360" y="149"/>
                  </a:lnTo>
                  <a:lnTo>
                    <a:pt x="362" y="149"/>
                  </a:lnTo>
                  <a:lnTo>
                    <a:pt x="365" y="151"/>
                  </a:lnTo>
                  <a:lnTo>
                    <a:pt x="367" y="153"/>
                  </a:lnTo>
                  <a:lnTo>
                    <a:pt x="372" y="154"/>
                  </a:lnTo>
                  <a:lnTo>
                    <a:pt x="373" y="154"/>
                  </a:lnTo>
                  <a:lnTo>
                    <a:pt x="379" y="154"/>
                  </a:lnTo>
                  <a:lnTo>
                    <a:pt x="380" y="155"/>
                  </a:lnTo>
                  <a:lnTo>
                    <a:pt x="384" y="155"/>
                  </a:lnTo>
                  <a:lnTo>
                    <a:pt x="385" y="155"/>
                  </a:lnTo>
                  <a:lnTo>
                    <a:pt x="386" y="155"/>
                  </a:lnTo>
                  <a:lnTo>
                    <a:pt x="387" y="155"/>
                  </a:lnTo>
                  <a:lnTo>
                    <a:pt x="390" y="154"/>
                  </a:lnTo>
                  <a:lnTo>
                    <a:pt x="389" y="155"/>
                  </a:lnTo>
                  <a:lnTo>
                    <a:pt x="390" y="155"/>
                  </a:lnTo>
                  <a:lnTo>
                    <a:pt x="391" y="155"/>
                  </a:lnTo>
                  <a:lnTo>
                    <a:pt x="392" y="155"/>
                  </a:lnTo>
                  <a:lnTo>
                    <a:pt x="397" y="153"/>
                  </a:lnTo>
                  <a:lnTo>
                    <a:pt x="398" y="153"/>
                  </a:lnTo>
                  <a:lnTo>
                    <a:pt x="393" y="155"/>
                  </a:lnTo>
                  <a:lnTo>
                    <a:pt x="403" y="155"/>
                  </a:lnTo>
                  <a:lnTo>
                    <a:pt x="403" y="157"/>
                  </a:lnTo>
                  <a:lnTo>
                    <a:pt x="395" y="158"/>
                  </a:lnTo>
                  <a:lnTo>
                    <a:pt x="393" y="157"/>
                  </a:lnTo>
                  <a:lnTo>
                    <a:pt x="396" y="158"/>
                  </a:lnTo>
                  <a:lnTo>
                    <a:pt x="395" y="159"/>
                  </a:lnTo>
                  <a:lnTo>
                    <a:pt x="390" y="157"/>
                  </a:lnTo>
                  <a:lnTo>
                    <a:pt x="389" y="158"/>
                  </a:lnTo>
                  <a:lnTo>
                    <a:pt x="389" y="159"/>
                  </a:lnTo>
                  <a:lnTo>
                    <a:pt x="390" y="160"/>
                  </a:lnTo>
                  <a:lnTo>
                    <a:pt x="389" y="161"/>
                  </a:lnTo>
                  <a:lnTo>
                    <a:pt x="387" y="164"/>
                  </a:lnTo>
                  <a:lnTo>
                    <a:pt x="386" y="165"/>
                  </a:lnTo>
                  <a:lnTo>
                    <a:pt x="389" y="165"/>
                  </a:lnTo>
                  <a:lnTo>
                    <a:pt x="390" y="166"/>
                  </a:lnTo>
                  <a:lnTo>
                    <a:pt x="387" y="166"/>
                  </a:lnTo>
                  <a:lnTo>
                    <a:pt x="387" y="167"/>
                  </a:lnTo>
                  <a:lnTo>
                    <a:pt x="390" y="169"/>
                  </a:lnTo>
                  <a:lnTo>
                    <a:pt x="391" y="170"/>
                  </a:lnTo>
                  <a:lnTo>
                    <a:pt x="391" y="171"/>
                  </a:lnTo>
                  <a:lnTo>
                    <a:pt x="392" y="171"/>
                  </a:lnTo>
                  <a:lnTo>
                    <a:pt x="393" y="170"/>
                  </a:lnTo>
                  <a:lnTo>
                    <a:pt x="393" y="169"/>
                  </a:lnTo>
                  <a:lnTo>
                    <a:pt x="393" y="167"/>
                  </a:lnTo>
                  <a:lnTo>
                    <a:pt x="395" y="167"/>
                  </a:lnTo>
                  <a:lnTo>
                    <a:pt x="395" y="169"/>
                  </a:lnTo>
                  <a:lnTo>
                    <a:pt x="396" y="170"/>
                  </a:lnTo>
                  <a:lnTo>
                    <a:pt x="402" y="166"/>
                  </a:lnTo>
                  <a:lnTo>
                    <a:pt x="404" y="166"/>
                  </a:lnTo>
                  <a:lnTo>
                    <a:pt x="409" y="163"/>
                  </a:lnTo>
                  <a:lnTo>
                    <a:pt x="410" y="163"/>
                  </a:lnTo>
                  <a:lnTo>
                    <a:pt x="407" y="166"/>
                  </a:lnTo>
                  <a:lnTo>
                    <a:pt x="408" y="166"/>
                  </a:lnTo>
                  <a:lnTo>
                    <a:pt x="412" y="165"/>
                  </a:lnTo>
                  <a:lnTo>
                    <a:pt x="409" y="166"/>
                  </a:lnTo>
                  <a:lnTo>
                    <a:pt x="410" y="166"/>
                  </a:lnTo>
                  <a:lnTo>
                    <a:pt x="408" y="167"/>
                  </a:lnTo>
                  <a:lnTo>
                    <a:pt x="407" y="169"/>
                  </a:lnTo>
                  <a:lnTo>
                    <a:pt x="408" y="169"/>
                  </a:lnTo>
                  <a:lnTo>
                    <a:pt x="408" y="170"/>
                  </a:lnTo>
                  <a:lnTo>
                    <a:pt x="407" y="170"/>
                  </a:lnTo>
                  <a:lnTo>
                    <a:pt x="406" y="169"/>
                  </a:lnTo>
                  <a:lnTo>
                    <a:pt x="403" y="169"/>
                  </a:lnTo>
                  <a:lnTo>
                    <a:pt x="407" y="171"/>
                  </a:lnTo>
                  <a:lnTo>
                    <a:pt x="406" y="171"/>
                  </a:lnTo>
                  <a:lnTo>
                    <a:pt x="404" y="171"/>
                  </a:lnTo>
                  <a:lnTo>
                    <a:pt x="402" y="170"/>
                  </a:lnTo>
                  <a:lnTo>
                    <a:pt x="398" y="171"/>
                  </a:lnTo>
                  <a:lnTo>
                    <a:pt x="402" y="171"/>
                  </a:lnTo>
                  <a:lnTo>
                    <a:pt x="404" y="172"/>
                  </a:lnTo>
                  <a:lnTo>
                    <a:pt x="406" y="173"/>
                  </a:lnTo>
                  <a:lnTo>
                    <a:pt x="404" y="173"/>
                  </a:lnTo>
                  <a:lnTo>
                    <a:pt x="403" y="172"/>
                  </a:lnTo>
                  <a:lnTo>
                    <a:pt x="402" y="172"/>
                  </a:lnTo>
                  <a:lnTo>
                    <a:pt x="400" y="172"/>
                  </a:lnTo>
                  <a:lnTo>
                    <a:pt x="400" y="175"/>
                  </a:lnTo>
                  <a:lnTo>
                    <a:pt x="397" y="173"/>
                  </a:lnTo>
                  <a:lnTo>
                    <a:pt x="395" y="173"/>
                  </a:lnTo>
                  <a:lnTo>
                    <a:pt x="395" y="175"/>
                  </a:lnTo>
                  <a:lnTo>
                    <a:pt x="397" y="176"/>
                  </a:lnTo>
                  <a:lnTo>
                    <a:pt x="401" y="178"/>
                  </a:lnTo>
                  <a:lnTo>
                    <a:pt x="404" y="179"/>
                  </a:lnTo>
                  <a:lnTo>
                    <a:pt x="409" y="181"/>
                  </a:lnTo>
                  <a:lnTo>
                    <a:pt x="406" y="182"/>
                  </a:lnTo>
                  <a:lnTo>
                    <a:pt x="412" y="185"/>
                  </a:lnTo>
                  <a:lnTo>
                    <a:pt x="406" y="183"/>
                  </a:lnTo>
                  <a:lnTo>
                    <a:pt x="404" y="183"/>
                  </a:lnTo>
                  <a:lnTo>
                    <a:pt x="404" y="184"/>
                  </a:lnTo>
                  <a:lnTo>
                    <a:pt x="404" y="185"/>
                  </a:lnTo>
                  <a:lnTo>
                    <a:pt x="403" y="185"/>
                  </a:lnTo>
                  <a:lnTo>
                    <a:pt x="403" y="182"/>
                  </a:lnTo>
                  <a:lnTo>
                    <a:pt x="402" y="182"/>
                  </a:lnTo>
                  <a:lnTo>
                    <a:pt x="398" y="187"/>
                  </a:lnTo>
                  <a:lnTo>
                    <a:pt x="397" y="187"/>
                  </a:lnTo>
                  <a:lnTo>
                    <a:pt x="398" y="184"/>
                  </a:lnTo>
                  <a:lnTo>
                    <a:pt x="397" y="184"/>
                  </a:lnTo>
                  <a:lnTo>
                    <a:pt x="396" y="185"/>
                  </a:lnTo>
                  <a:lnTo>
                    <a:pt x="396" y="187"/>
                  </a:lnTo>
                  <a:lnTo>
                    <a:pt x="397" y="188"/>
                  </a:lnTo>
                  <a:lnTo>
                    <a:pt x="400" y="188"/>
                  </a:lnTo>
                  <a:lnTo>
                    <a:pt x="401" y="189"/>
                  </a:lnTo>
                  <a:lnTo>
                    <a:pt x="402" y="191"/>
                  </a:lnTo>
                  <a:lnTo>
                    <a:pt x="402" y="193"/>
                  </a:lnTo>
                  <a:lnTo>
                    <a:pt x="403" y="194"/>
                  </a:lnTo>
                  <a:lnTo>
                    <a:pt x="404" y="195"/>
                  </a:lnTo>
                  <a:lnTo>
                    <a:pt x="406" y="196"/>
                  </a:lnTo>
                  <a:lnTo>
                    <a:pt x="407" y="196"/>
                  </a:lnTo>
                  <a:lnTo>
                    <a:pt x="408" y="196"/>
                  </a:lnTo>
                  <a:lnTo>
                    <a:pt x="408" y="197"/>
                  </a:lnTo>
                  <a:lnTo>
                    <a:pt x="412" y="199"/>
                  </a:lnTo>
                  <a:lnTo>
                    <a:pt x="412" y="197"/>
                  </a:lnTo>
                  <a:lnTo>
                    <a:pt x="413" y="199"/>
                  </a:lnTo>
                  <a:lnTo>
                    <a:pt x="415" y="199"/>
                  </a:lnTo>
                  <a:lnTo>
                    <a:pt x="415" y="200"/>
                  </a:lnTo>
                  <a:lnTo>
                    <a:pt x="418" y="200"/>
                  </a:lnTo>
                  <a:lnTo>
                    <a:pt x="415" y="200"/>
                  </a:lnTo>
                  <a:lnTo>
                    <a:pt x="415" y="201"/>
                  </a:lnTo>
                  <a:lnTo>
                    <a:pt x="416" y="202"/>
                  </a:lnTo>
                  <a:lnTo>
                    <a:pt x="416" y="203"/>
                  </a:lnTo>
                  <a:lnTo>
                    <a:pt x="416" y="205"/>
                  </a:lnTo>
                  <a:lnTo>
                    <a:pt x="415" y="205"/>
                  </a:lnTo>
                  <a:lnTo>
                    <a:pt x="414" y="202"/>
                  </a:lnTo>
                  <a:lnTo>
                    <a:pt x="413" y="205"/>
                  </a:lnTo>
                  <a:lnTo>
                    <a:pt x="413" y="201"/>
                  </a:lnTo>
                  <a:lnTo>
                    <a:pt x="412" y="201"/>
                  </a:lnTo>
                  <a:lnTo>
                    <a:pt x="412" y="202"/>
                  </a:lnTo>
                  <a:lnTo>
                    <a:pt x="410" y="201"/>
                  </a:lnTo>
                  <a:lnTo>
                    <a:pt x="409" y="200"/>
                  </a:lnTo>
                  <a:lnTo>
                    <a:pt x="408" y="200"/>
                  </a:lnTo>
                  <a:lnTo>
                    <a:pt x="408" y="201"/>
                  </a:lnTo>
                  <a:lnTo>
                    <a:pt x="408" y="202"/>
                  </a:lnTo>
                  <a:lnTo>
                    <a:pt x="408" y="203"/>
                  </a:lnTo>
                  <a:lnTo>
                    <a:pt x="408" y="206"/>
                  </a:lnTo>
                  <a:lnTo>
                    <a:pt x="407" y="207"/>
                  </a:lnTo>
                  <a:lnTo>
                    <a:pt x="406" y="208"/>
                  </a:lnTo>
                  <a:lnTo>
                    <a:pt x="406" y="205"/>
                  </a:lnTo>
                  <a:lnTo>
                    <a:pt x="406" y="203"/>
                  </a:lnTo>
                  <a:lnTo>
                    <a:pt x="406" y="202"/>
                  </a:lnTo>
                  <a:lnTo>
                    <a:pt x="404" y="203"/>
                  </a:lnTo>
                  <a:lnTo>
                    <a:pt x="404" y="207"/>
                  </a:lnTo>
                  <a:lnTo>
                    <a:pt x="403" y="207"/>
                  </a:lnTo>
                  <a:lnTo>
                    <a:pt x="401" y="205"/>
                  </a:lnTo>
                  <a:lnTo>
                    <a:pt x="401" y="202"/>
                  </a:lnTo>
                  <a:lnTo>
                    <a:pt x="400" y="202"/>
                  </a:lnTo>
                  <a:lnTo>
                    <a:pt x="398" y="203"/>
                  </a:lnTo>
                  <a:lnTo>
                    <a:pt x="397" y="203"/>
                  </a:lnTo>
                  <a:lnTo>
                    <a:pt x="397" y="202"/>
                  </a:lnTo>
                  <a:lnTo>
                    <a:pt x="396" y="203"/>
                  </a:lnTo>
                  <a:lnTo>
                    <a:pt x="396" y="202"/>
                  </a:lnTo>
                  <a:lnTo>
                    <a:pt x="396" y="201"/>
                  </a:lnTo>
                  <a:lnTo>
                    <a:pt x="397" y="199"/>
                  </a:lnTo>
                  <a:lnTo>
                    <a:pt x="396" y="199"/>
                  </a:lnTo>
                  <a:lnTo>
                    <a:pt x="395" y="199"/>
                  </a:lnTo>
                  <a:lnTo>
                    <a:pt x="393" y="200"/>
                  </a:lnTo>
                  <a:lnTo>
                    <a:pt x="392" y="201"/>
                  </a:lnTo>
                  <a:lnTo>
                    <a:pt x="391" y="201"/>
                  </a:lnTo>
                  <a:lnTo>
                    <a:pt x="391" y="200"/>
                  </a:lnTo>
                  <a:lnTo>
                    <a:pt x="391" y="199"/>
                  </a:lnTo>
                  <a:lnTo>
                    <a:pt x="391" y="196"/>
                  </a:lnTo>
                  <a:lnTo>
                    <a:pt x="391" y="195"/>
                  </a:lnTo>
                  <a:lnTo>
                    <a:pt x="389" y="196"/>
                  </a:lnTo>
                  <a:lnTo>
                    <a:pt x="389" y="197"/>
                  </a:lnTo>
                  <a:lnTo>
                    <a:pt x="390" y="197"/>
                  </a:lnTo>
                  <a:lnTo>
                    <a:pt x="390" y="199"/>
                  </a:lnTo>
                  <a:lnTo>
                    <a:pt x="389" y="200"/>
                  </a:lnTo>
                  <a:lnTo>
                    <a:pt x="387" y="199"/>
                  </a:lnTo>
                  <a:lnTo>
                    <a:pt x="387" y="196"/>
                  </a:lnTo>
                  <a:lnTo>
                    <a:pt x="387" y="195"/>
                  </a:lnTo>
                  <a:lnTo>
                    <a:pt x="387" y="194"/>
                  </a:lnTo>
                  <a:lnTo>
                    <a:pt x="387" y="193"/>
                  </a:lnTo>
                  <a:lnTo>
                    <a:pt x="387" y="191"/>
                  </a:lnTo>
                  <a:lnTo>
                    <a:pt x="386" y="193"/>
                  </a:lnTo>
                  <a:lnTo>
                    <a:pt x="385" y="191"/>
                  </a:lnTo>
                  <a:lnTo>
                    <a:pt x="385" y="193"/>
                  </a:lnTo>
                  <a:lnTo>
                    <a:pt x="386" y="195"/>
                  </a:lnTo>
                  <a:lnTo>
                    <a:pt x="386" y="196"/>
                  </a:lnTo>
                  <a:lnTo>
                    <a:pt x="386" y="197"/>
                  </a:lnTo>
                  <a:lnTo>
                    <a:pt x="385" y="199"/>
                  </a:lnTo>
                  <a:lnTo>
                    <a:pt x="386" y="199"/>
                  </a:lnTo>
                  <a:lnTo>
                    <a:pt x="386" y="200"/>
                  </a:lnTo>
                  <a:lnTo>
                    <a:pt x="389" y="201"/>
                  </a:lnTo>
                  <a:lnTo>
                    <a:pt x="390" y="202"/>
                  </a:lnTo>
                  <a:lnTo>
                    <a:pt x="392" y="203"/>
                  </a:lnTo>
                  <a:lnTo>
                    <a:pt x="395" y="205"/>
                  </a:lnTo>
                  <a:lnTo>
                    <a:pt x="395" y="206"/>
                  </a:lnTo>
                  <a:lnTo>
                    <a:pt x="396" y="206"/>
                  </a:lnTo>
                  <a:lnTo>
                    <a:pt x="397" y="205"/>
                  </a:lnTo>
                  <a:lnTo>
                    <a:pt x="397" y="206"/>
                  </a:lnTo>
                  <a:lnTo>
                    <a:pt x="400" y="208"/>
                  </a:lnTo>
                  <a:lnTo>
                    <a:pt x="402" y="209"/>
                  </a:lnTo>
                  <a:lnTo>
                    <a:pt x="404" y="209"/>
                  </a:lnTo>
                  <a:lnTo>
                    <a:pt x="406" y="208"/>
                  </a:lnTo>
                  <a:lnTo>
                    <a:pt x="407" y="208"/>
                  </a:lnTo>
                  <a:lnTo>
                    <a:pt x="409" y="208"/>
                  </a:lnTo>
                  <a:lnTo>
                    <a:pt x="412" y="208"/>
                  </a:lnTo>
                  <a:lnTo>
                    <a:pt x="414" y="207"/>
                  </a:lnTo>
                  <a:lnTo>
                    <a:pt x="416" y="206"/>
                  </a:lnTo>
                  <a:lnTo>
                    <a:pt x="418" y="205"/>
                  </a:lnTo>
                  <a:lnTo>
                    <a:pt x="419" y="203"/>
                  </a:lnTo>
                  <a:lnTo>
                    <a:pt x="421" y="202"/>
                  </a:lnTo>
                  <a:lnTo>
                    <a:pt x="422" y="200"/>
                  </a:lnTo>
                  <a:lnTo>
                    <a:pt x="421" y="199"/>
                  </a:lnTo>
                  <a:lnTo>
                    <a:pt x="424" y="200"/>
                  </a:lnTo>
                  <a:lnTo>
                    <a:pt x="425" y="199"/>
                  </a:lnTo>
                  <a:lnTo>
                    <a:pt x="421" y="195"/>
                  </a:lnTo>
                  <a:lnTo>
                    <a:pt x="424" y="195"/>
                  </a:lnTo>
                  <a:lnTo>
                    <a:pt x="425" y="195"/>
                  </a:lnTo>
                  <a:lnTo>
                    <a:pt x="425" y="196"/>
                  </a:lnTo>
                  <a:lnTo>
                    <a:pt x="426" y="197"/>
                  </a:lnTo>
                  <a:lnTo>
                    <a:pt x="433" y="191"/>
                  </a:lnTo>
                  <a:lnTo>
                    <a:pt x="434" y="191"/>
                  </a:lnTo>
                  <a:lnTo>
                    <a:pt x="432" y="193"/>
                  </a:lnTo>
                  <a:lnTo>
                    <a:pt x="433" y="194"/>
                  </a:lnTo>
                  <a:lnTo>
                    <a:pt x="438" y="193"/>
                  </a:lnTo>
                  <a:lnTo>
                    <a:pt x="434" y="194"/>
                  </a:lnTo>
                  <a:lnTo>
                    <a:pt x="436" y="195"/>
                  </a:lnTo>
                  <a:lnTo>
                    <a:pt x="433" y="195"/>
                  </a:lnTo>
                  <a:lnTo>
                    <a:pt x="434" y="197"/>
                  </a:lnTo>
                  <a:lnTo>
                    <a:pt x="432" y="196"/>
                  </a:lnTo>
                  <a:lnTo>
                    <a:pt x="431" y="196"/>
                  </a:lnTo>
                  <a:lnTo>
                    <a:pt x="428" y="197"/>
                  </a:lnTo>
                  <a:lnTo>
                    <a:pt x="428" y="199"/>
                  </a:lnTo>
                  <a:lnTo>
                    <a:pt x="433" y="200"/>
                  </a:lnTo>
                  <a:lnTo>
                    <a:pt x="432" y="201"/>
                  </a:lnTo>
                  <a:lnTo>
                    <a:pt x="428" y="200"/>
                  </a:lnTo>
                  <a:lnTo>
                    <a:pt x="428" y="201"/>
                  </a:lnTo>
                  <a:lnTo>
                    <a:pt x="426" y="201"/>
                  </a:lnTo>
                  <a:lnTo>
                    <a:pt x="425" y="201"/>
                  </a:lnTo>
                  <a:lnTo>
                    <a:pt x="425" y="202"/>
                  </a:lnTo>
                  <a:lnTo>
                    <a:pt x="424" y="203"/>
                  </a:lnTo>
                  <a:lnTo>
                    <a:pt x="428" y="207"/>
                  </a:lnTo>
                  <a:lnTo>
                    <a:pt x="424" y="205"/>
                  </a:lnTo>
                  <a:lnTo>
                    <a:pt x="421" y="203"/>
                  </a:lnTo>
                  <a:lnTo>
                    <a:pt x="421" y="205"/>
                  </a:lnTo>
                  <a:lnTo>
                    <a:pt x="425" y="206"/>
                  </a:lnTo>
                  <a:lnTo>
                    <a:pt x="426" y="207"/>
                  </a:lnTo>
                  <a:lnTo>
                    <a:pt x="428" y="207"/>
                  </a:lnTo>
                  <a:lnTo>
                    <a:pt x="425" y="209"/>
                  </a:lnTo>
                  <a:lnTo>
                    <a:pt x="428" y="212"/>
                  </a:lnTo>
                  <a:lnTo>
                    <a:pt x="428" y="213"/>
                  </a:lnTo>
                  <a:lnTo>
                    <a:pt x="426" y="214"/>
                  </a:lnTo>
                  <a:lnTo>
                    <a:pt x="428" y="215"/>
                  </a:lnTo>
                  <a:lnTo>
                    <a:pt x="426" y="218"/>
                  </a:lnTo>
                  <a:lnTo>
                    <a:pt x="424" y="217"/>
                  </a:lnTo>
                  <a:lnTo>
                    <a:pt x="424" y="215"/>
                  </a:lnTo>
                  <a:lnTo>
                    <a:pt x="422" y="214"/>
                  </a:lnTo>
                  <a:lnTo>
                    <a:pt x="422" y="213"/>
                  </a:lnTo>
                  <a:lnTo>
                    <a:pt x="422" y="212"/>
                  </a:lnTo>
                  <a:lnTo>
                    <a:pt x="421" y="212"/>
                  </a:lnTo>
                  <a:lnTo>
                    <a:pt x="421" y="213"/>
                  </a:lnTo>
                  <a:lnTo>
                    <a:pt x="421" y="214"/>
                  </a:lnTo>
                  <a:lnTo>
                    <a:pt x="421" y="217"/>
                  </a:lnTo>
                  <a:lnTo>
                    <a:pt x="419" y="217"/>
                  </a:lnTo>
                  <a:lnTo>
                    <a:pt x="419" y="218"/>
                  </a:lnTo>
                  <a:lnTo>
                    <a:pt x="421" y="218"/>
                  </a:lnTo>
                  <a:lnTo>
                    <a:pt x="421" y="217"/>
                  </a:lnTo>
                  <a:lnTo>
                    <a:pt x="422" y="218"/>
                  </a:lnTo>
                  <a:lnTo>
                    <a:pt x="424" y="259"/>
                  </a:lnTo>
                  <a:lnTo>
                    <a:pt x="425" y="259"/>
                  </a:lnTo>
                  <a:lnTo>
                    <a:pt x="428" y="219"/>
                  </a:lnTo>
                  <a:lnTo>
                    <a:pt x="428" y="259"/>
                  </a:lnTo>
                  <a:lnTo>
                    <a:pt x="432" y="261"/>
                  </a:lnTo>
                  <a:lnTo>
                    <a:pt x="431" y="261"/>
                  </a:lnTo>
                  <a:lnTo>
                    <a:pt x="428" y="261"/>
                  </a:lnTo>
                  <a:lnTo>
                    <a:pt x="426" y="261"/>
                  </a:lnTo>
                  <a:lnTo>
                    <a:pt x="426" y="262"/>
                  </a:lnTo>
                  <a:lnTo>
                    <a:pt x="428" y="264"/>
                  </a:lnTo>
                  <a:lnTo>
                    <a:pt x="426" y="264"/>
                  </a:lnTo>
                  <a:lnTo>
                    <a:pt x="425" y="265"/>
                  </a:lnTo>
                  <a:lnTo>
                    <a:pt x="424" y="265"/>
                  </a:lnTo>
                  <a:lnTo>
                    <a:pt x="424" y="264"/>
                  </a:lnTo>
                  <a:lnTo>
                    <a:pt x="421" y="264"/>
                  </a:lnTo>
                  <a:lnTo>
                    <a:pt x="424" y="267"/>
                  </a:lnTo>
                  <a:lnTo>
                    <a:pt x="422" y="267"/>
                  </a:lnTo>
                  <a:lnTo>
                    <a:pt x="421" y="266"/>
                  </a:lnTo>
                  <a:lnTo>
                    <a:pt x="420" y="266"/>
                  </a:lnTo>
                  <a:lnTo>
                    <a:pt x="419" y="266"/>
                  </a:lnTo>
                  <a:lnTo>
                    <a:pt x="419" y="265"/>
                  </a:lnTo>
                  <a:lnTo>
                    <a:pt x="418" y="265"/>
                  </a:lnTo>
                  <a:lnTo>
                    <a:pt x="418" y="266"/>
                  </a:lnTo>
                  <a:lnTo>
                    <a:pt x="416" y="266"/>
                  </a:lnTo>
                  <a:lnTo>
                    <a:pt x="416" y="264"/>
                  </a:lnTo>
                  <a:lnTo>
                    <a:pt x="415" y="266"/>
                  </a:lnTo>
                  <a:lnTo>
                    <a:pt x="414" y="266"/>
                  </a:lnTo>
                  <a:lnTo>
                    <a:pt x="414" y="268"/>
                  </a:lnTo>
                  <a:lnTo>
                    <a:pt x="414" y="270"/>
                  </a:lnTo>
                  <a:lnTo>
                    <a:pt x="418" y="270"/>
                  </a:lnTo>
                  <a:lnTo>
                    <a:pt x="418" y="271"/>
                  </a:lnTo>
                  <a:lnTo>
                    <a:pt x="415" y="271"/>
                  </a:lnTo>
                  <a:lnTo>
                    <a:pt x="415" y="272"/>
                  </a:lnTo>
                  <a:lnTo>
                    <a:pt x="421" y="272"/>
                  </a:lnTo>
                  <a:lnTo>
                    <a:pt x="420" y="273"/>
                  </a:lnTo>
                  <a:lnTo>
                    <a:pt x="421" y="274"/>
                  </a:lnTo>
                  <a:lnTo>
                    <a:pt x="422" y="273"/>
                  </a:lnTo>
                  <a:lnTo>
                    <a:pt x="424" y="273"/>
                  </a:lnTo>
                  <a:lnTo>
                    <a:pt x="424" y="277"/>
                  </a:lnTo>
                  <a:lnTo>
                    <a:pt x="428" y="280"/>
                  </a:lnTo>
                  <a:lnTo>
                    <a:pt x="428" y="279"/>
                  </a:lnTo>
                  <a:lnTo>
                    <a:pt x="431" y="279"/>
                  </a:lnTo>
                  <a:lnTo>
                    <a:pt x="431" y="280"/>
                  </a:lnTo>
                  <a:lnTo>
                    <a:pt x="432" y="279"/>
                  </a:lnTo>
                  <a:lnTo>
                    <a:pt x="434" y="279"/>
                  </a:lnTo>
                  <a:lnTo>
                    <a:pt x="436" y="279"/>
                  </a:lnTo>
                  <a:lnTo>
                    <a:pt x="437" y="280"/>
                  </a:lnTo>
                  <a:lnTo>
                    <a:pt x="434" y="280"/>
                  </a:lnTo>
                  <a:lnTo>
                    <a:pt x="434" y="283"/>
                  </a:lnTo>
                  <a:lnTo>
                    <a:pt x="436" y="284"/>
                  </a:lnTo>
                  <a:lnTo>
                    <a:pt x="434" y="284"/>
                  </a:lnTo>
                  <a:lnTo>
                    <a:pt x="433" y="282"/>
                  </a:lnTo>
                  <a:lnTo>
                    <a:pt x="432" y="282"/>
                  </a:lnTo>
                  <a:lnTo>
                    <a:pt x="433" y="283"/>
                  </a:lnTo>
                  <a:lnTo>
                    <a:pt x="433" y="284"/>
                  </a:lnTo>
                  <a:lnTo>
                    <a:pt x="432" y="284"/>
                  </a:lnTo>
                  <a:lnTo>
                    <a:pt x="431" y="283"/>
                  </a:lnTo>
                  <a:lnTo>
                    <a:pt x="428" y="284"/>
                  </a:lnTo>
                  <a:lnTo>
                    <a:pt x="431" y="285"/>
                  </a:lnTo>
                  <a:lnTo>
                    <a:pt x="432" y="286"/>
                  </a:lnTo>
                  <a:lnTo>
                    <a:pt x="432" y="288"/>
                  </a:lnTo>
                  <a:lnTo>
                    <a:pt x="431" y="289"/>
                  </a:lnTo>
                  <a:lnTo>
                    <a:pt x="431" y="290"/>
                  </a:lnTo>
                  <a:lnTo>
                    <a:pt x="433" y="292"/>
                  </a:lnTo>
                  <a:lnTo>
                    <a:pt x="434" y="292"/>
                  </a:lnTo>
                  <a:lnTo>
                    <a:pt x="436" y="292"/>
                  </a:lnTo>
                  <a:lnTo>
                    <a:pt x="437" y="295"/>
                  </a:lnTo>
                  <a:lnTo>
                    <a:pt x="439" y="296"/>
                  </a:lnTo>
                  <a:lnTo>
                    <a:pt x="443" y="295"/>
                  </a:lnTo>
                  <a:lnTo>
                    <a:pt x="440" y="297"/>
                  </a:lnTo>
                  <a:lnTo>
                    <a:pt x="445" y="302"/>
                  </a:lnTo>
                  <a:lnTo>
                    <a:pt x="445" y="303"/>
                  </a:lnTo>
                  <a:lnTo>
                    <a:pt x="448" y="303"/>
                  </a:lnTo>
                  <a:lnTo>
                    <a:pt x="451" y="307"/>
                  </a:lnTo>
                  <a:lnTo>
                    <a:pt x="452" y="308"/>
                  </a:lnTo>
                  <a:lnTo>
                    <a:pt x="456" y="308"/>
                  </a:lnTo>
                  <a:lnTo>
                    <a:pt x="455" y="309"/>
                  </a:lnTo>
                  <a:lnTo>
                    <a:pt x="456" y="310"/>
                  </a:lnTo>
                  <a:lnTo>
                    <a:pt x="455" y="310"/>
                  </a:lnTo>
                  <a:lnTo>
                    <a:pt x="460" y="313"/>
                  </a:lnTo>
                  <a:lnTo>
                    <a:pt x="459" y="313"/>
                  </a:lnTo>
                  <a:lnTo>
                    <a:pt x="452" y="312"/>
                  </a:lnTo>
                  <a:lnTo>
                    <a:pt x="459" y="316"/>
                  </a:lnTo>
                  <a:lnTo>
                    <a:pt x="460" y="315"/>
                  </a:lnTo>
                  <a:lnTo>
                    <a:pt x="461" y="318"/>
                  </a:lnTo>
                  <a:lnTo>
                    <a:pt x="465" y="319"/>
                  </a:lnTo>
                  <a:lnTo>
                    <a:pt x="462" y="320"/>
                  </a:lnTo>
                  <a:lnTo>
                    <a:pt x="463" y="321"/>
                  </a:lnTo>
                  <a:lnTo>
                    <a:pt x="467" y="321"/>
                  </a:lnTo>
                  <a:lnTo>
                    <a:pt x="471" y="324"/>
                  </a:lnTo>
                  <a:lnTo>
                    <a:pt x="473" y="325"/>
                  </a:lnTo>
                  <a:lnTo>
                    <a:pt x="469" y="325"/>
                  </a:lnTo>
                  <a:lnTo>
                    <a:pt x="474" y="328"/>
                  </a:lnTo>
                  <a:lnTo>
                    <a:pt x="474" y="330"/>
                  </a:lnTo>
                  <a:lnTo>
                    <a:pt x="469" y="327"/>
                  </a:lnTo>
                  <a:lnTo>
                    <a:pt x="468" y="327"/>
                  </a:lnTo>
                  <a:lnTo>
                    <a:pt x="467" y="327"/>
                  </a:lnTo>
                  <a:lnTo>
                    <a:pt x="467" y="328"/>
                  </a:lnTo>
                  <a:lnTo>
                    <a:pt x="466" y="328"/>
                  </a:lnTo>
                  <a:lnTo>
                    <a:pt x="466" y="326"/>
                  </a:lnTo>
                  <a:lnTo>
                    <a:pt x="467" y="326"/>
                  </a:lnTo>
                  <a:lnTo>
                    <a:pt x="466" y="325"/>
                  </a:lnTo>
                  <a:lnTo>
                    <a:pt x="465" y="325"/>
                  </a:lnTo>
                  <a:lnTo>
                    <a:pt x="465" y="322"/>
                  </a:lnTo>
                  <a:lnTo>
                    <a:pt x="463" y="324"/>
                  </a:lnTo>
                  <a:lnTo>
                    <a:pt x="462" y="325"/>
                  </a:lnTo>
                  <a:lnTo>
                    <a:pt x="461" y="321"/>
                  </a:lnTo>
                  <a:lnTo>
                    <a:pt x="461" y="328"/>
                  </a:lnTo>
                  <a:lnTo>
                    <a:pt x="460" y="330"/>
                  </a:lnTo>
                  <a:lnTo>
                    <a:pt x="459" y="327"/>
                  </a:lnTo>
                  <a:lnTo>
                    <a:pt x="457" y="327"/>
                  </a:lnTo>
                  <a:lnTo>
                    <a:pt x="456" y="330"/>
                  </a:lnTo>
                  <a:lnTo>
                    <a:pt x="455" y="330"/>
                  </a:lnTo>
                  <a:lnTo>
                    <a:pt x="454" y="328"/>
                  </a:lnTo>
                  <a:lnTo>
                    <a:pt x="454" y="326"/>
                  </a:lnTo>
                  <a:lnTo>
                    <a:pt x="454" y="325"/>
                  </a:lnTo>
                  <a:lnTo>
                    <a:pt x="454" y="322"/>
                  </a:lnTo>
                  <a:lnTo>
                    <a:pt x="454" y="324"/>
                  </a:lnTo>
                  <a:lnTo>
                    <a:pt x="452" y="324"/>
                  </a:lnTo>
                  <a:lnTo>
                    <a:pt x="451" y="319"/>
                  </a:lnTo>
                  <a:lnTo>
                    <a:pt x="449" y="319"/>
                  </a:lnTo>
                  <a:lnTo>
                    <a:pt x="448" y="319"/>
                  </a:lnTo>
                  <a:lnTo>
                    <a:pt x="446" y="321"/>
                  </a:lnTo>
                  <a:lnTo>
                    <a:pt x="446" y="322"/>
                  </a:lnTo>
                  <a:lnTo>
                    <a:pt x="445" y="322"/>
                  </a:lnTo>
                  <a:lnTo>
                    <a:pt x="445" y="320"/>
                  </a:lnTo>
                  <a:lnTo>
                    <a:pt x="445" y="318"/>
                  </a:lnTo>
                  <a:lnTo>
                    <a:pt x="444" y="316"/>
                  </a:lnTo>
                  <a:lnTo>
                    <a:pt x="443" y="318"/>
                  </a:lnTo>
                  <a:lnTo>
                    <a:pt x="442" y="319"/>
                  </a:lnTo>
                  <a:lnTo>
                    <a:pt x="442" y="318"/>
                  </a:lnTo>
                  <a:lnTo>
                    <a:pt x="440" y="318"/>
                  </a:lnTo>
                  <a:lnTo>
                    <a:pt x="442" y="320"/>
                  </a:lnTo>
                  <a:lnTo>
                    <a:pt x="444" y="324"/>
                  </a:lnTo>
                  <a:lnTo>
                    <a:pt x="448" y="324"/>
                  </a:lnTo>
                  <a:lnTo>
                    <a:pt x="448" y="325"/>
                  </a:lnTo>
                  <a:lnTo>
                    <a:pt x="445" y="325"/>
                  </a:lnTo>
                  <a:lnTo>
                    <a:pt x="448" y="328"/>
                  </a:lnTo>
                  <a:lnTo>
                    <a:pt x="450" y="330"/>
                  </a:lnTo>
                  <a:lnTo>
                    <a:pt x="451" y="332"/>
                  </a:lnTo>
                  <a:lnTo>
                    <a:pt x="457" y="334"/>
                  </a:lnTo>
                  <a:lnTo>
                    <a:pt x="456" y="336"/>
                  </a:lnTo>
                  <a:lnTo>
                    <a:pt x="461" y="339"/>
                  </a:lnTo>
                  <a:lnTo>
                    <a:pt x="459" y="338"/>
                  </a:lnTo>
                  <a:lnTo>
                    <a:pt x="457" y="339"/>
                  </a:lnTo>
                  <a:lnTo>
                    <a:pt x="462" y="342"/>
                  </a:lnTo>
                  <a:lnTo>
                    <a:pt x="457" y="339"/>
                  </a:lnTo>
                  <a:lnTo>
                    <a:pt x="456" y="339"/>
                  </a:lnTo>
                  <a:lnTo>
                    <a:pt x="455" y="343"/>
                  </a:lnTo>
                  <a:lnTo>
                    <a:pt x="455" y="338"/>
                  </a:lnTo>
                  <a:lnTo>
                    <a:pt x="455" y="337"/>
                  </a:lnTo>
                  <a:lnTo>
                    <a:pt x="452" y="339"/>
                  </a:lnTo>
                  <a:lnTo>
                    <a:pt x="452" y="337"/>
                  </a:lnTo>
                  <a:lnTo>
                    <a:pt x="451" y="336"/>
                  </a:lnTo>
                  <a:lnTo>
                    <a:pt x="451" y="337"/>
                  </a:lnTo>
                  <a:lnTo>
                    <a:pt x="450" y="339"/>
                  </a:lnTo>
                  <a:lnTo>
                    <a:pt x="449" y="333"/>
                  </a:lnTo>
                  <a:lnTo>
                    <a:pt x="448" y="339"/>
                  </a:lnTo>
                  <a:lnTo>
                    <a:pt x="448" y="340"/>
                  </a:lnTo>
                  <a:lnTo>
                    <a:pt x="446" y="342"/>
                  </a:lnTo>
                  <a:lnTo>
                    <a:pt x="446" y="339"/>
                  </a:lnTo>
                  <a:lnTo>
                    <a:pt x="446" y="334"/>
                  </a:lnTo>
                  <a:lnTo>
                    <a:pt x="445" y="336"/>
                  </a:lnTo>
                  <a:lnTo>
                    <a:pt x="444" y="336"/>
                  </a:lnTo>
                  <a:lnTo>
                    <a:pt x="446" y="330"/>
                  </a:lnTo>
                  <a:lnTo>
                    <a:pt x="445" y="327"/>
                  </a:lnTo>
                  <a:lnTo>
                    <a:pt x="445" y="330"/>
                  </a:lnTo>
                  <a:lnTo>
                    <a:pt x="444" y="334"/>
                  </a:lnTo>
                  <a:lnTo>
                    <a:pt x="443" y="333"/>
                  </a:lnTo>
                  <a:lnTo>
                    <a:pt x="444" y="327"/>
                  </a:lnTo>
                  <a:lnTo>
                    <a:pt x="443" y="327"/>
                  </a:lnTo>
                  <a:lnTo>
                    <a:pt x="442" y="330"/>
                  </a:lnTo>
                  <a:lnTo>
                    <a:pt x="443" y="332"/>
                  </a:lnTo>
                  <a:lnTo>
                    <a:pt x="442" y="331"/>
                  </a:lnTo>
                  <a:lnTo>
                    <a:pt x="443" y="324"/>
                  </a:lnTo>
                  <a:lnTo>
                    <a:pt x="442" y="324"/>
                  </a:lnTo>
                  <a:lnTo>
                    <a:pt x="440" y="330"/>
                  </a:lnTo>
                  <a:lnTo>
                    <a:pt x="440" y="332"/>
                  </a:lnTo>
                  <a:lnTo>
                    <a:pt x="438" y="333"/>
                  </a:lnTo>
                  <a:lnTo>
                    <a:pt x="437" y="332"/>
                  </a:lnTo>
                  <a:lnTo>
                    <a:pt x="436" y="327"/>
                  </a:lnTo>
                  <a:lnTo>
                    <a:pt x="436" y="326"/>
                  </a:lnTo>
                  <a:lnTo>
                    <a:pt x="434" y="326"/>
                  </a:lnTo>
                  <a:lnTo>
                    <a:pt x="432" y="326"/>
                  </a:lnTo>
                  <a:lnTo>
                    <a:pt x="432" y="324"/>
                  </a:lnTo>
                  <a:lnTo>
                    <a:pt x="433" y="322"/>
                  </a:lnTo>
                  <a:lnTo>
                    <a:pt x="432" y="320"/>
                  </a:lnTo>
                  <a:lnTo>
                    <a:pt x="432" y="321"/>
                  </a:lnTo>
                  <a:lnTo>
                    <a:pt x="431" y="324"/>
                  </a:lnTo>
                  <a:lnTo>
                    <a:pt x="431" y="326"/>
                  </a:lnTo>
                  <a:lnTo>
                    <a:pt x="428" y="326"/>
                  </a:lnTo>
                  <a:lnTo>
                    <a:pt x="428" y="324"/>
                  </a:lnTo>
                  <a:lnTo>
                    <a:pt x="426" y="322"/>
                  </a:lnTo>
                  <a:lnTo>
                    <a:pt x="425" y="324"/>
                  </a:lnTo>
                  <a:lnTo>
                    <a:pt x="425" y="325"/>
                  </a:lnTo>
                  <a:lnTo>
                    <a:pt x="426" y="327"/>
                  </a:lnTo>
                  <a:lnTo>
                    <a:pt x="428" y="330"/>
                  </a:lnTo>
                  <a:lnTo>
                    <a:pt x="426" y="330"/>
                  </a:lnTo>
                  <a:lnTo>
                    <a:pt x="428" y="331"/>
                  </a:lnTo>
                  <a:lnTo>
                    <a:pt x="428" y="332"/>
                  </a:lnTo>
                  <a:lnTo>
                    <a:pt x="433" y="336"/>
                  </a:lnTo>
                  <a:lnTo>
                    <a:pt x="434" y="337"/>
                  </a:lnTo>
                  <a:lnTo>
                    <a:pt x="438" y="337"/>
                  </a:lnTo>
                  <a:lnTo>
                    <a:pt x="436" y="338"/>
                  </a:lnTo>
                  <a:lnTo>
                    <a:pt x="436" y="339"/>
                  </a:lnTo>
                  <a:lnTo>
                    <a:pt x="440" y="339"/>
                  </a:lnTo>
                  <a:lnTo>
                    <a:pt x="442" y="340"/>
                  </a:lnTo>
                  <a:lnTo>
                    <a:pt x="440" y="340"/>
                  </a:lnTo>
                  <a:lnTo>
                    <a:pt x="439" y="340"/>
                  </a:lnTo>
                  <a:lnTo>
                    <a:pt x="439" y="342"/>
                  </a:lnTo>
                  <a:lnTo>
                    <a:pt x="440" y="342"/>
                  </a:lnTo>
                  <a:lnTo>
                    <a:pt x="443" y="343"/>
                  </a:lnTo>
                  <a:lnTo>
                    <a:pt x="442" y="344"/>
                  </a:lnTo>
                  <a:lnTo>
                    <a:pt x="443" y="345"/>
                  </a:lnTo>
                  <a:lnTo>
                    <a:pt x="444" y="344"/>
                  </a:lnTo>
                  <a:lnTo>
                    <a:pt x="444" y="343"/>
                  </a:lnTo>
                  <a:lnTo>
                    <a:pt x="445" y="343"/>
                  </a:lnTo>
                  <a:lnTo>
                    <a:pt x="446" y="343"/>
                  </a:lnTo>
                  <a:lnTo>
                    <a:pt x="446" y="345"/>
                  </a:lnTo>
                  <a:lnTo>
                    <a:pt x="450" y="344"/>
                  </a:lnTo>
                  <a:lnTo>
                    <a:pt x="448" y="345"/>
                  </a:lnTo>
                  <a:lnTo>
                    <a:pt x="448" y="347"/>
                  </a:lnTo>
                  <a:lnTo>
                    <a:pt x="451" y="348"/>
                  </a:lnTo>
                  <a:lnTo>
                    <a:pt x="448" y="349"/>
                  </a:lnTo>
                  <a:lnTo>
                    <a:pt x="449" y="349"/>
                  </a:lnTo>
                  <a:lnTo>
                    <a:pt x="449" y="350"/>
                  </a:lnTo>
                  <a:lnTo>
                    <a:pt x="450" y="350"/>
                  </a:lnTo>
                  <a:lnTo>
                    <a:pt x="451" y="350"/>
                  </a:lnTo>
                  <a:lnTo>
                    <a:pt x="452" y="350"/>
                  </a:lnTo>
                  <a:lnTo>
                    <a:pt x="452" y="351"/>
                  </a:lnTo>
                  <a:lnTo>
                    <a:pt x="454" y="353"/>
                  </a:lnTo>
                  <a:lnTo>
                    <a:pt x="457" y="351"/>
                  </a:lnTo>
                  <a:lnTo>
                    <a:pt x="457" y="353"/>
                  </a:lnTo>
                  <a:lnTo>
                    <a:pt x="455" y="353"/>
                  </a:lnTo>
                  <a:lnTo>
                    <a:pt x="454" y="353"/>
                  </a:lnTo>
                  <a:lnTo>
                    <a:pt x="455" y="354"/>
                  </a:lnTo>
                  <a:lnTo>
                    <a:pt x="459" y="356"/>
                  </a:lnTo>
                  <a:lnTo>
                    <a:pt x="457" y="356"/>
                  </a:lnTo>
                  <a:lnTo>
                    <a:pt x="452" y="354"/>
                  </a:lnTo>
                  <a:lnTo>
                    <a:pt x="452" y="355"/>
                  </a:lnTo>
                  <a:lnTo>
                    <a:pt x="452" y="357"/>
                  </a:lnTo>
                  <a:lnTo>
                    <a:pt x="456" y="357"/>
                  </a:lnTo>
                  <a:lnTo>
                    <a:pt x="459" y="359"/>
                  </a:lnTo>
                  <a:lnTo>
                    <a:pt x="460" y="359"/>
                  </a:lnTo>
                  <a:lnTo>
                    <a:pt x="462" y="359"/>
                  </a:lnTo>
                  <a:lnTo>
                    <a:pt x="465" y="359"/>
                  </a:lnTo>
                  <a:lnTo>
                    <a:pt x="466" y="360"/>
                  </a:lnTo>
                  <a:lnTo>
                    <a:pt x="461" y="360"/>
                  </a:lnTo>
                  <a:lnTo>
                    <a:pt x="461" y="361"/>
                  </a:lnTo>
                  <a:lnTo>
                    <a:pt x="463" y="361"/>
                  </a:lnTo>
                  <a:lnTo>
                    <a:pt x="465" y="361"/>
                  </a:lnTo>
                  <a:lnTo>
                    <a:pt x="461" y="362"/>
                  </a:lnTo>
                  <a:lnTo>
                    <a:pt x="460" y="362"/>
                  </a:lnTo>
                  <a:lnTo>
                    <a:pt x="459" y="362"/>
                  </a:lnTo>
                  <a:lnTo>
                    <a:pt x="459" y="365"/>
                  </a:lnTo>
                  <a:lnTo>
                    <a:pt x="457" y="365"/>
                  </a:lnTo>
                  <a:lnTo>
                    <a:pt x="457" y="361"/>
                  </a:lnTo>
                  <a:lnTo>
                    <a:pt x="459" y="361"/>
                  </a:lnTo>
                  <a:lnTo>
                    <a:pt x="457" y="360"/>
                  </a:lnTo>
                  <a:lnTo>
                    <a:pt x="456" y="360"/>
                  </a:lnTo>
                  <a:lnTo>
                    <a:pt x="456" y="363"/>
                  </a:lnTo>
                  <a:lnTo>
                    <a:pt x="455" y="362"/>
                  </a:lnTo>
                  <a:lnTo>
                    <a:pt x="455" y="361"/>
                  </a:lnTo>
                  <a:lnTo>
                    <a:pt x="455" y="360"/>
                  </a:lnTo>
                  <a:lnTo>
                    <a:pt x="454" y="360"/>
                  </a:lnTo>
                  <a:lnTo>
                    <a:pt x="454" y="362"/>
                  </a:lnTo>
                  <a:lnTo>
                    <a:pt x="454" y="363"/>
                  </a:lnTo>
                  <a:lnTo>
                    <a:pt x="452" y="363"/>
                  </a:lnTo>
                  <a:lnTo>
                    <a:pt x="455" y="363"/>
                  </a:lnTo>
                  <a:lnTo>
                    <a:pt x="455" y="365"/>
                  </a:lnTo>
                  <a:lnTo>
                    <a:pt x="456" y="365"/>
                  </a:lnTo>
                  <a:lnTo>
                    <a:pt x="456" y="366"/>
                  </a:lnTo>
                  <a:lnTo>
                    <a:pt x="455" y="367"/>
                  </a:lnTo>
                  <a:lnTo>
                    <a:pt x="457" y="367"/>
                  </a:lnTo>
                  <a:lnTo>
                    <a:pt x="459" y="367"/>
                  </a:lnTo>
                  <a:lnTo>
                    <a:pt x="461" y="366"/>
                  </a:lnTo>
                  <a:lnTo>
                    <a:pt x="462" y="367"/>
                  </a:lnTo>
                  <a:lnTo>
                    <a:pt x="466" y="363"/>
                  </a:lnTo>
                  <a:lnTo>
                    <a:pt x="466" y="365"/>
                  </a:lnTo>
                  <a:lnTo>
                    <a:pt x="467" y="365"/>
                  </a:lnTo>
                  <a:lnTo>
                    <a:pt x="465" y="367"/>
                  </a:lnTo>
                  <a:lnTo>
                    <a:pt x="466" y="367"/>
                  </a:lnTo>
                  <a:lnTo>
                    <a:pt x="467" y="366"/>
                  </a:lnTo>
                  <a:lnTo>
                    <a:pt x="468" y="365"/>
                  </a:lnTo>
                  <a:lnTo>
                    <a:pt x="469" y="366"/>
                  </a:lnTo>
                  <a:lnTo>
                    <a:pt x="469" y="367"/>
                  </a:lnTo>
                  <a:lnTo>
                    <a:pt x="471" y="368"/>
                  </a:lnTo>
                  <a:lnTo>
                    <a:pt x="471" y="369"/>
                  </a:lnTo>
                  <a:lnTo>
                    <a:pt x="469" y="369"/>
                  </a:lnTo>
                  <a:lnTo>
                    <a:pt x="467" y="368"/>
                  </a:lnTo>
                  <a:lnTo>
                    <a:pt x="466" y="368"/>
                  </a:lnTo>
                  <a:lnTo>
                    <a:pt x="465" y="368"/>
                  </a:lnTo>
                  <a:lnTo>
                    <a:pt x="466" y="369"/>
                  </a:lnTo>
                  <a:lnTo>
                    <a:pt x="468" y="372"/>
                  </a:lnTo>
                  <a:lnTo>
                    <a:pt x="472" y="373"/>
                  </a:lnTo>
                  <a:lnTo>
                    <a:pt x="474" y="371"/>
                  </a:lnTo>
                  <a:lnTo>
                    <a:pt x="479" y="371"/>
                  </a:lnTo>
                  <a:lnTo>
                    <a:pt x="481" y="373"/>
                  </a:lnTo>
                  <a:lnTo>
                    <a:pt x="484" y="374"/>
                  </a:lnTo>
                  <a:lnTo>
                    <a:pt x="485" y="374"/>
                  </a:lnTo>
                  <a:lnTo>
                    <a:pt x="486" y="375"/>
                  </a:lnTo>
                  <a:lnTo>
                    <a:pt x="487" y="374"/>
                  </a:lnTo>
                  <a:lnTo>
                    <a:pt x="487" y="377"/>
                  </a:lnTo>
                  <a:lnTo>
                    <a:pt x="490" y="378"/>
                  </a:lnTo>
                  <a:lnTo>
                    <a:pt x="490" y="379"/>
                  </a:lnTo>
                  <a:lnTo>
                    <a:pt x="492" y="379"/>
                  </a:lnTo>
                  <a:lnTo>
                    <a:pt x="493" y="378"/>
                  </a:lnTo>
                  <a:lnTo>
                    <a:pt x="495" y="378"/>
                  </a:lnTo>
                  <a:lnTo>
                    <a:pt x="495" y="375"/>
                  </a:lnTo>
                  <a:lnTo>
                    <a:pt x="496" y="375"/>
                  </a:lnTo>
                  <a:lnTo>
                    <a:pt x="496" y="377"/>
                  </a:lnTo>
                  <a:lnTo>
                    <a:pt x="495" y="379"/>
                  </a:lnTo>
                  <a:lnTo>
                    <a:pt x="495" y="380"/>
                  </a:lnTo>
                  <a:lnTo>
                    <a:pt x="496" y="381"/>
                  </a:lnTo>
                  <a:lnTo>
                    <a:pt x="498" y="381"/>
                  </a:lnTo>
                  <a:lnTo>
                    <a:pt x="499" y="381"/>
                  </a:lnTo>
                  <a:lnTo>
                    <a:pt x="501" y="381"/>
                  </a:lnTo>
                  <a:lnTo>
                    <a:pt x="503" y="383"/>
                  </a:lnTo>
                  <a:lnTo>
                    <a:pt x="501" y="383"/>
                  </a:lnTo>
                  <a:lnTo>
                    <a:pt x="498" y="383"/>
                  </a:lnTo>
                  <a:lnTo>
                    <a:pt x="498" y="384"/>
                  </a:lnTo>
                  <a:lnTo>
                    <a:pt x="502" y="386"/>
                  </a:lnTo>
                  <a:lnTo>
                    <a:pt x="503" y="386"/>
                  </a:lnTo>
                  <a:lnTo>
                    <a:pt x="504" y="386"/>
                  </a:lnTo>
                  <a:lnTo>
                    <a:pt x="505" y="387"/>
                  </a:lnTo>
                  <a:lnTo>
                    <a:pt x="510" y="387"/>
                  </a:lnTo>
                  <a:lnTo>
                    <a:pt x="514" y="387"/>
                  </a:lnTo>
                  <a:lnTo>
                    <a:pt x="516" y="387"/>
                  </a:lnTo>
                  <a:lnTo>
                    <a:pt x="516" y="389"/>
                  </a:lnTo>
                  <a:lnTo>
                    <a:pt x="515" y="389"/>
                  </a:lnTo>
                  <a:lnTo>
                    <a:pt x="513" y="389"/>
                  </a:lnTo>
                  <a:lnTo>
                    <a:pt x="515" y="391"/>
                  </a:lnTo>
                  <a:lnTo>
                    <a:pt x="515" y="392"/>
                  </a:lnTo>
                  <a:lnTo>
                    <a:pt x="511" y="390"/>
                  </a:lnTo>
                  <a:lnTo>
                    <a:pt x="510" y="390"/>
                  </a:lnTo>
                  <a:lnTo>
                    <a:pt x="509" y="390"/>
                  </a:lnTo>
                  <a:lnTo>
                    <a:pt x="509" y="391"/>
                  </a:lnTo>
                  <a:lnTo>
                    <a:pt x="510" y="392"/>
                  </a:lnTo>
                  <a:lnTo>
                    <a:pt x="509" y="392"/>
                  </a:lnTo>
                  <a:lnTo>
                    <a:pt x="509" y="391"/>
                  </a:lnTo>
                  <a:lnTo>
                    <a:pt x="508" y="390"/>
                  </a:lnTo>
                  <a:lnTo>
                    <a:pt x="507" y="389"/>
                  </a:lnTo>
                  <a:lnTo>
                    <a:pt x="503" y="389"/>
                  </a:lnTo>
                  <a:lnTo>
                    <a:pt x="504" y="390"/>
                  </a:lnTo>
                  <a:lnTo>
                    <a:pt x="508" y="392"/>
                  </a:lnTo>
                  <a:lnTo>
                    <a:pt x="509" y="395"/>
                  </a:lnTo>
                  <a:lnTo>
                    <a:pt x="515" y="397"/>
                  </a:lnTo>
                  <a:lnTo>
                    <a:pt x="515" y="398"/>
                  </a:lnTo>
                  <a:lnTo>
                    <a:pt x="514" y="398"/>
                  </a:lnTo>
                  <a:lnTo>
                    <a:pt x="510" y="396"/>
                  </a:lnTo>
                  <a:lnTo>
                    <a:pt x="509" y="396"/>
                  </a:lnTo>
                  <a:lnTo>
                    <a:pt x="509" y="398"/>
                  </a:lnTo>
                  <a:lnTo>
                    <a:pt x="508" y="398"/>
                  </a:lnTo>
                  <a:lnTo>
                    <a:pt x="508" y="396"/>
                  </a:lnTo>
                  <a:lnTo>
                    <a:pt x="508" y="395"/>
                  </a:lnTo>
                  <a:lnTo>
                    <a:pt x="507" y="395"/>
                  </a:lnTo>
                  <a:lnTo>
                    <a:pt x="505" y="398"/>
                  </a:lnTo>
                  <a:lnTo>
                    <a:pt x="504" y="401"/>
                  </a:lnTo>
                  <a:lnTo>
                    <a:pt x="503" y="402"/>
                  </a:lnTo>
                  <a:lnTo>
                    <a:pt x="502" y="403"/>
                  </a:lnTo>
                  <a:lnTo>
                    <a:pt x="502" y="402"/>
                  </a:lnTo>
                  <a:lnTo>
                    <a:pt x="502" y="398"/>
                  </a:lnTo>
                  <a:lnTo>
                    <a:pt x="498" y="398"/>
                  </a:lnTo>
                  <a:lnTo>
                    <a:pt x="498" y="397"/>
                  </a:lnTo>
                  <a:lnTo>
                    <a:pt x="498" y="396"/>
                  </a:lnTo>
                  <a:lnTo>
                    <a:pt x="497" y="395"/>
                  </a:lnTo>
                  <a:lnTo>
                    <a:pt x="497" y="396"/>
                  </a:lnTo>
                  <a:lnTo>
                    <a:pt x="496" y="397"/>
                  </a:lnTo>
                  <a:lnTo>
                    <a:pt x="493" y="398"/>
                  </a:lnTo>
                  <a:lnTo>
                    <a:pt x="493" y="399"/>
                  </a:lnTo>
                  <a:lnTo>
                    <a:pt x="492" y="402"/>
                  </a:lnTo>
                  <a:lnTo>
                    <a:pt x="491" y="403"/>
                  </a:lnTo>
                  <a:lnTo>
                    <a:pt x="491" y="402"/>
                  </a:lnTo>
                  <a:lnTo>
                    <a:pt x="491" y="397"/>
                  </a:lnTo>
                  <a:lnTo>
                    <a:pt x="490" y="396"/>
                  </a:lnTo>
                  <a:lnTo>
                    <a:pt x="490" y="399"/>
                  </a:lnTo>
                  <a:lnTo>
                    <a:pt x="489" y="399"/>
                  </a:lnTo>
                  <a:lnTo>
                    <a:pt x="487" y="397"/>
                  </a:lnTo>
                  <a:lnTo>
                    <a:pt x="487" y="396"/>
                  </a:lnTo>
                  <a:lnTo>
                    <a:pt x="487" y="397"/>
                  </a:lnTo>
                  <a:lnTo>
                    <a:pt x="486" y="397"/>
                  </a:lnTo>
                  <a:lnTo>
                    <a:pt x="486" y="398"/>
                  </a:lnTo>
                  <a:lnTo>
                    <a:pt x="485" y="397"/>
                  </a:lnTo>
                  <a:lnTo>
                    <a:pt x="484" y="397"/>
                  </a:lnTo>
                  <a:lnTo>
                    <a:pt x="485" y="396"/>
                  </a:lnTo>
                  <a:lnTo>
                    <a:pt x="485" y="395"/>
                  </a:lnTo>
                  <a:lnTo>
                    <a:pt x="485" y="393"/>
                  </a:lnTo>
                  <a:lnTo>
                    <a:pt x="485" y="392"/>
                  </a:lnTo>
                  <a:lnTo>
                    <a:pt x="485" y="391"/>
                  </a:lnTo>
                  <a:lnTo>
                    <a:pt x="484" y="391"/>
                  </a:lnTo>
                  <a:lnTo>
                    <a:pt x="484" y="392"/>
                  </a:lnTo>
                  <a:lnTo>
                    <a:pt x="484" y="393"/>
                  </a:lnTo>
                  <a:lnTo>
                    <a:pt x="485" y="395"/>
                  </a:lnTo>
                  <a:lnTo>
                    <a:pt x="485" y="396"/>
                  </a:lnTo>
                  <a:lnTo>
                    <a:pt x="484" y="396"/>
                  </a:lnTo>
                  <a:lnTo>
                    <a:pt x="484" y="397"/>
                  </a:lnTo>
                  <a:lnTo>
                    <a:pt x="484" y="399"/>
                  </a:lnTo>
                  <a:lnTo>
                    <a:pt x="484" y="401"/>
                  </a:lnTo>
                  <a:lnTo>
                    <a:pt x="484" y="402"/>
                  </a:lnTo>
                  <a:lnTo>
                    <a:pt x="483" y="401"/>
                  </a:lnTo>
                  <a:lnTo>
                    <a:pt x="483" y="399"/>
                  </a:lnTo>
                  <a:lnTo>
                    <a:pt x="481" y="398"/>
                  </a:lnTo>
                  <a:lnTo>
                    <a:pt x="480" y="398"/>
                  </a:lnTo>
                  <a:lnTo>
                    <a:pt x="480" y="395"/>
                  </a:lnTo>
                  <a:lnTo>
                    <a:pt x="479" y="395"/>
                  </a:lnTo>
                  <a:lnTo>
                    <a:pt x="477" y="396"/>
                  </a:lnTo>
                  <a:lnTo>
                    <a:pt x="477" y="397"/>
                  </a:lnTo>
                  <a:lnTo>
                    <a:pt x="477" y="398"/>
                  </a:lnTo>
                  <a:lnTo>
                    <a:pt x="475" y="399"/>
                  </a:lnTo>
                  <a:lnTo>
                    <a:pt x="475" y="401"/>
                  </a:lnTo>
                  <a:lnTo>
                    <a:pt x="477" y="402"/>
                  </a:lnTo>
                  <a:lnTo>
                    <a:pt x="479" y="402"/>
                  </a:lnTo>
                  <a:lnTo>
                    <a:pt x="480" y="403"/>
                  </a:lnTo>
                  <a:lnTo>
                    <a:pt x="483" y="404"/>
                  </a:lnTo>
                  <a:lnTo>
                    <a:pt x="483" y="405"/>
                  </a:lnTo>
                  <a:lnTo>
                    <a:pt x="481" y="405"/>
                  </a:lnTo>
                  <a:lnTo>
                    <a:pt x="481" y="404"/>
                  </a:lnTo>
                  <a:lnTo>
                    <a:pt x="480" y="405"/>
                  </a:lnTo>
                  <a:lnTo>
                    <a:pt x="480" y="404"/>
                  </a:lnTo>
                  <a:lnTo>
                    <a:pt x="479" y="404"/>
                  </a:lnTo>
                  <a:lnTo>
                    <a:pt x="478" y="404"/>
                  </a:lnTo>
                  <a:lnTo>
                    <a:pt x="478" y="405"/>
                  </a:lnTo>
                  <a:lnTo>
                    <a:pt x="479" y="407"/>
                  </a:lnTo>
                  <a:lnTo>
                    <a:pt x="480" y="408"/>
                  </a:lnTo>
                  <a:lnTo>
                    <a:pt x="481" y="408"/>
                  </a:lnTo>
                  <a:lnTo>
                    <a:pt x="483" y="407"/>
                  </a:lnTo>
                  <a:lnTo>
                    <a:pt x="484" y="405"/>
                  </a:lnTo>
                  <a:lnTo>
                    <a:pt x="484" y="407"/>
                  </a:lnTo>
                  <a:lnTo>
                    <a:pt x="484" y="408"/>
                  </a:lnTo>
                  <a:lnTo>
                    <a:pt x="487" y="408"/>
                  </a:lnTo>
                  <a:lnTo>
                    <a:pt x="490" y="407"/>
                  </a:lnTo>
                  <a:lnTo>
                    <a:pt x="491" y="407"/>
                  </a:lnTo>
                  <a:lnTo>
                    <a:pt x="491" y="405"/>
                  </a:lnTo>
                  <a:lnTo>
                    <a:pt x="492" y="405"/>
                  </a:lnTo>
                  <a:lnTo>
                    <a:pt x="493" y="407"/>
                  </a:lnTo>
                  <a:lnTo>
                    <a:pt x="499" y="407"/>
                  </a:lnTo>
                  <a:lnTo>
                    <a:pt x="501" y="407"/>
                  </a:lnTo>
                  <a:lnTo>
                    <a:pt x="502" y="407"/>
                  </a:lnTo>
                  <a:lnTo>
                    <a:pt x="503" y="407"/>
                  </a:lnTo>
                  <a:lnTo>
                    <a:pt x="504" y="408"/>
                  </a:lnTo>
                  <a:lnTo>
                    <a:pt x="504" y="407"/>
                  </a:lnTo>
                  <a:lnTo>
                    <a:pt x="505" y="407"/>
                  </a:lnTo>
                  <a:lnTo>
                    <a:pt x="507" y="407"/>
                  </a:lnTo>
                  <a:lnTo>
                    <a:pt x="508" y="407"/>
                  </a:lnTo>
                  <a:lnTo>
                    <a:pt x="510" y="407"/>
                  </a:lnTo>
                  <a:lnTo>
                    <a:pt x="511" y="408"/>
                  </a:lnTo>
                  <a:lnTo>
                    <a:pt x="514" y="408"/>
                  </a:lnTo>
                  <a:lnTo>
                    <a:pt x="515" y="408"/>
                  </a:lnTo>
                  <a:lnTo>
                    <a:pt x="518" y="408"/>
                  </a:lnTo>
                  <a:lnTo>
                    <a:pt x="519" y="408"/>
                  </a:lnTo>
                  <a:lnTo>
                    <a:pt x="521" y="409"/>
                  </a:lnTo>
                  <a:lnTo>
                    <a:pt x="522" y="409"/>
                  </a:lnTo>
                  <a:lnTo>
                    <a:pt x="524" y="409"/>
                  </a:lnTo>
                  <a:lnTo>
                    <a:pt x="526" y="410"/>
                  </a:lnTo>
                  <a:lnTo>
                    <a:pt x="527" y="411"/>
                  </a:lnTo>
                  <a:lnTo>
                    <a:pt x="528" y="411"/>
                  </a:lnTo>
                  <a:lnTo>
                    <a:pt x="531" y="411"/>
                  </a:lnTo>
                  <a:lnTo>
                    <a:pt x="532" y="413"/>
                  </a:lnTo>
                  <a:lnTo>
                    <a:pt x="533" y="413"/>
                  </a:lnTo>
                  <a:lnTo>
                    <a:pt x="534" y="413"/>
                  </a:lnTo>
                  <a:lnTo>
                    <a:pt x="534" y="414"/>
                  </a:lnTo>
                  <a:lnTo>
                    <a:pt x="536" y="414"/>
                  </a:lnTo>
                  <a:lnTo>
                    <a:pt x="536" y="415"/>
                  </a:lnTo>
                  <a:lnTo>
                    <a:pt x="537" y="416"/>
                  </a:lnTo>
                  <a:lnTo>
                    <a:pt x="539" y="415"/>
                  </a:lnTo>
                  <a:lnTo>
                    <a:pt x="540" y="415"/>
                  </a:lnTo>
                  <a:lnTo>
                    <a:pt x="542" y="415"/>
                  </a:lnTo>
                  <a:lnTo>
                    <a:pt x="543" y="415"/>
                  </a:lnTo>
                  <a:lnTo>
                    <a:pt x="544" y="416"/>
                  </a:lnTo>
                  <a:lnTo>
                    <a:pt x="546" y="415"/>
                  </a:lnTo>
                  <a:lnTo>
                    <a:pt x="544" y="416"/>
                  </a:lnTo>
                  <a:lnTo>
                    <a:pt x="544" y="417"/>
                  </a:lnTo>
                  <a:lnTo>
                    <a:pt x="550" y="420"/>
                  </a:lnTo>
                  <a:lnTo>
                    <a:pt x="545" y="419"/>
                  </a:lnTo>
                  <a:lnTo>
                    <a:pt x="543" y="419"/>
                  </a:lnTo>
                  <a:lnTo>
                    <a:pt x="543" y="420"/>
                  </a:lnTo>
                  <a:lnTo>
                    <a:pt x="544" y="421"/>
                  </a:lnTo>
                  <a:lnTo>
                    <a:pt x="542" y="420"/>
                  </a:lnTo>
                  <a:lnTo>
                    <a:pt x="542" y="417"/>
                  </a:lnTo>
                  <a:lnTo>
                    <a:pt x="540" y="417"/>
                  </a:lnTo>
                  <a:lnTo>
                    <a:pt x="540" y="419"/>
                  </a:lnTo>
                  <a:lnTo>
                    <a:pt x="539" y="417"/>
                  </a:lnTo>
                  <a:lnTo>
                    <a:pt x="538" y="417"/>
                  </a:lnTo>
                  <a:lnTo>
                    <a:pt x="538" y="420"/>
                  </a:lnTo>
                  <a:lnTo>
                    <a:pt x="537" y="421"/>
                  </a:lnTo>
                  <a:lnTo>
                    <a:pt x="536" y="422"/>
                  </a:lnTo>
                  <a:lnTo>
                    <a:pt x="536" y="423"/>
                  </a:lnTo>
                  <a:lnTo>
                    <a:pt x="534" y="425"/>
                  </a:lnTo>
                  <a:lnTo>
                    <a:pt x="533" y="425"/>
                  </a:lnTo>
                  <a:lnTo>
                    <a:pt x="533" y="426"/>
                  </a:lnTo>
                  <a:lnTo>
                    <a:pt x="532" y="427"/>
                  </a:lnTo>
                  <a:lnTo>
                    <a:pt x="532" y="426"/>
                  </a:lnTo>
                  <a:lnTo>
                    <a:pt x="531" y="425"/>
                  </a:lnTo>
                  <a:lnTo>
                    <a:pt x="531" y="423"/>
                  </a:lnTo>
                  <a:lnTo>
                    <a:pt x="532" y="422"/>
                  </a:lnTo>
                  <a:lnTo>
                    <a:pt x="531" y="422"/>
                  </a:lnTo>
                  <a:lnTo>
                    <a:pt x="531" y="421"/>
                  </a:lnTo>
                  <a:lnTo>
                    <a:pt x="531" y="420"/>
                  </a:lnTo>
                  <a:lnTo>
                    <a:pt x="531" y="419"/>
                  </a:lnTo>
                  <a:lnTo>
                    <a:pt x="531" y="417"/>
                  </a:lnTo>
                  <a:lnTo>
                    <a:pt x="531" y="416"/>
                  </a:lnTo>
                  <a:lnTo>
                    <a:pt x="531" y="415"/>
                  </a:lnTo>
                  <a:lnTo>
                    <a:pt x="530" y="414"/>
                  </a:lnTo>
                  <a:lnTo>
                    <a:pt x="528" y="414"/>
                  </a:lnTo>
                  <a:lnTo>
                    <a:pt x="527" y="414"/>
                  </a:lnTo>
                  <a:lnTo>
                    <a:pt x="528" y="415"/>
                  </a:lnTo>
                  <a:lnTo>
                    <a:pt x="530" y="416"/>
                  </a:lnTo>
                  <a:lnTo>
                    <a:pt x="530" y="417"/>
                  </a:lnTo>
                  <a:lnTo>
                    <a:pt x="528" y="417"/>
                  </a:lnTo>
                  <a:lnTo>
                    <a:pt x="527" y="417"/>
                  </a:lnTo>
                  <a:lnTo>
                    <a:pt x="527" y="419"/>
                  </a:lnTo>
                  <a:lnTo>
                    <a:pt x="528" y="420"/>
                  </a:lnTo>
                  <a:lnTo>
                    <a:pt x="528" y="421"/>
                  </a:lnTo>
                  <a:lnTo>
                    <a:pt x="528" y="423"/>
                  </a:lnTo>
                  <a:lnTo>
                    <a:pt x="527" y="423"/>
                  </a:lnTo>
                  <a:lnTo>
                    <a:pt x="527" y="422"/>
                  </a:lnTo>
                  <a:lnTo>
                    <a:pt x="527" y="421"/>
                  </a:lnTo>
                  <a:lnTo>
                    <a:pt x="526" y="420"/>
                  </a:lnTo>
                  <a:lnTo>
                    <a:pt x="526" y="421"/>
                  </a:lnTo>
                  <a:lnTo>
                    <a:pt x="525" y="421"/>
                  </a:lnTo>
                  <a:lnTo>
                    <a:pt x="525" y="422"/>
                  </a:lnTo>
                  <a:lnTo>
                    <a:pt x="524" y="422"/>
                  </a:lnTo>
                  <a:lnTo>
                    <a:pt x="524" y="421"/>
                  </a:lnTo>
                  <a:lnTo>
                    <a:pt x="524" y="420"/>
                  </a:lnTo>
                  <a:lnTo>
                    <a:pt x="522" y="419"/>
                  </a:lnTo>
                  <a:lnTo>
                    <a:pt x="522" y="417"/>
                  </a:lnTo>
                  <a:lnTo>
                    <a:pt x="521" y="419"/>
                  </a:lnTo>
                  <a:lnTo>
                    <a:pt x="521" y="420"/>
                  </a:lnTo>
                  <a:lnTo>
                    <a:pt x="521" y="422"/>
                  </a:lnTo>
                  <a:lnTo>
                    <a:pt x="522" y="423"/>
                  </a:lnTo>
                  <a:lnTo>
                    <a:pt x="522" y="426"/>
                  </a:lnTo>
                  <a:lnTo>
                    <a:pt x="522" y="427"/>
                  </a:lnTo>
                  <a:lnTo>
                    <a:pt x="521" y="427"/>
                  </a:lnTo>
                  <a:lnTo>
                    <a:pt x="521" y="426"/>
                  </a:lnTo>
                  <a:lnTo>
                    <a:pt x="520" y="425"/>
                  </a:lnTo>
                  <a:lnTo>
                    <a:pt x="520" y="423"/>
                  </a:lnTo>
                  <a:lnTo>
                    <a:pt x="519" y="422"/>
                  </a:lnTo>
                  <a:lnTo>
                    <a:pt x="519" y="419"/>
                  </a:lnTo>
                  <a:lnTo>
                    <a:pt x="518" y="419"/>
                  </a:lnTo>
                  <a:lnTo>
                    <a:pt x="518" y="420"/>
                  </a:lnTo>
                  <a:lnTo>
                    <a:pt x="516" y="420"/>
                  </a:lnTo>
                  <a:lnTo>
                    <a:pt x="516" y="419"/>
                  </a:lnTo>
                  <a:lnTo>
                    <a:pt x="516" y="416"/>
                  </a:lnTo>
                  <a:lnTo>
                    <a:pt x="515" y="416"/>
                  </a:lnTo>
                  <a:lnTo>
                    <a:pt x="515" y="419"/>
                  </a:lnTo>
                  <a:lnTo>
                    <a:pt x="515" y="420"/>
                  </a:lnTo>
                  <a:lnTo>
                    <a:pt x="515" y="421"/>
                  </a:lnTo>
                  <a:lnTo>
                    <a:pt x="515" y="422"/>
                  </a:lnTo>
                  <a:lnTo>
                    <a:pt x="514" y="422"/>
                  </a:lnTo>
                  <a:lnTo>
                    <a:pt x="513" y="422"/>
                  </a:lnTo>
                  <a:lnTo>
                    <a:pt x="513" y="421"/>
                  </a:lnTo>
                  <a:lnTo>
                    <a:pt x="511" y="425"/>
                  </a:lnTo>
                  <a:lnTo>
                    <a:pt x="510" y="426"/>
                  </a:lnTo>
                  <a:lnTo>
                    <a:pt x="510" y="421"/>
                  </a:lnTo>
                  <a:lnTo>
                    <a:pt x="509" y="421"/>
                  </a:lnTo>
                  <a:lnTo>
                    <a:pt x="509" y="423"/>
                  </a:lnTo>
                  <a:lnTo>
                    <a:pt x="509" y="425"/>
                  </a:lnTo>
                  <a:lnTo>
                    <a:pt x="508" y="425"/>
                  </a:lnTo>
                  <a:lnTo>
                    <a:pt x="508" y="426"/>
                  </a:lnTo>
                  <a:lnTo>
                    <a:pt x="508" y="427"/>
                  </a:lnTo>
                  <a:lnTo>
                    <a:pt x="507" y="427"/>
                  </a:lnTo>
                  <a:lnTo>
                    <a:pt x="507" y="428"/>
                  </a:lnTo>
                  <a:lnTo>
                    <a:pt x="505" y="429"/>
                  </a:lnTo>
                  <a:lnTo>
                    <a:pt x="504" y="429"/>
                  </a:lnTo>
                  <a:lnTo>
                    <a:pt x="504" y="428"/>
                  </a:lnTo>
                  <a:lnTo>
                    <a:pt x="503" y="428"/>
                  </a:lnTo>
                  <a:lnTo>
                    <a:pt x="503" y="427"/>
                  </a:lnTo>
                  <a:lnTo>
                    <a:pt x="503" y="426"/>
                  </a:lnTo>
                  <a:lnTo>
                    <a:pt x="503" y="425"/>
                  </a:lnTo>
                  <a:lnTo>
                    <a:pt x="502" y="425"/>
                  </a:lnTo>
                  <a:lnTo>
                    <a:pt x="502" y="426"/>
                  </a:lnTo>
                  <a:lnTo>
                    <a:pt x="502" y="425"/>
                  </a:lnTo>
                  <a:lnTo>
                    <a:pt x="502" y="423"/>
                  </a:lnTo>
                  <a:lnTo>
                    <a:pt x="502" y="422"/>
                  </a:lnTo>
                  <a:lnTo>
                    <a:pt x="501" y="422"/>
                  </a:lnTo>
                  <a:lnTo>
                    <a:pt x="499" y="422"/>
                  </a:lnTo>
                  <a:lnTo>
                    <a:pt x="499" y="423"/>
                  </a:lnTo>
                  <a:lnTo>
                    <a:pt x="498" y="423"/>
                  </a:lnTo>
                  <a:lnTo>
                    <a:pt x="498" y="425"/>
                  </a:lnTo>
                  <a:lnTo>
                    <a:pt x="498" y="426"/>
                  </a:lnTo>
                  <a:lnTo>
                    <a:pt x="499" y="426"/>
                  </a:lnTo>
                  <a:lnTo>
                    <a:pt x="498" y="427"/>
                  </a:lnTo>
                  <a:lnTo>
                    <a:pt x="498" y="428"/>
                  </a:lnTo>
                  <a:lnTo>
                    <a:pt x="499" y="428"/>
                  </a:lnTo>
                  <a:lnTo>
                    <a:pt x="498" y="429"/>
                  </a:lnTo>
                  <a:lnTo>
                    <a:pt x="497" y="429"/>
                  </a:lnTo>
                  <a:lnTo>
                    <a:pt x="497" y="428"/>
                  </a:lnTo>
                  <a:lnTo>
                    <a:pt x="496" y="428"/>
                  </a:lnTo>
                  <a:lnTo>
                    <a:pt x="495" y="427"/>
                  </a:lnTo>
                  <a:lnTo>
                    <a:pt x="495" y="428"/>
                  </a:lnTo>
                  <a:lnTo>
                    <a:pt x="493" y="428"/>
                  </a:lnTo>
                  <a:lnTo>
                    <a:pt x="492" y="429"/>
                  </a:lnTo>
                  <a:lnTo>
                    <a:pt x="492" y="428"/>
                  </a:lnTo>
                  <a:lnTo>
                    <a:pt x="491" y="428"/>
                  </a:lnTo>
                  <a:lnTo>
                    <a:pt x="491" y="426"/>
                  </a:lnTo>
                  <a:lnTo>
                    <a:pt x="490" y="426"/>
                  </a:lnTo>
                  <a:lnTo>
                    <a:pt x="489" y="427"/>
                  </a:lnTo>
                  <a:lnTo>
                    <a:pt x="490" y="427"/>
                  </a:lnTo>
                  <a:lnTo>
                    <a:pt x="490" y="428"/>
                  </a:lnTo>
                  <a:lnTo>
                    <a:pt x="490" y="429"/>
                  </a:lnTo>
                  <a:lnTo>
                    <a:pt x="489" y="428"/>
                  </a:lnTo>
                  <a:lnTo>
                    <a:pt x="487" y="428"/>
                  </a:lnTo>
                  <a:lnTo>
                    <a:pt x="486" y="428"/>
                  </a:lnTo>
                  <a:lnTo>
                    <a:pt x="486" y="427"/>
                  </a:lnTo>
                  <a:lnTo>
                    <a:pt x="485" y="427"/>
                  </a:lnTo>
                  <a:lnTo>
                    <a:pt x="484" y="427"/>
                  </a:lnTo>
                  <a:lnTo>
                    <a:pt x="483" y="427"/>
                  </a:lnTo>
                  <a:lnTo>
                    <a:pt x="483" y="428"/>
                  </a:lnTo>
                  <a:lnTo>
                    <a:pt x="481" y="428"/>
                  </a:lnTo>
                  <a:lnTo>
                    <a:pt x="481" y="429"/>
                  </a:lnTo>
                  <a:lnTo>
                    <a:pt x="483" y="429"/>
                  </a:lnTo>
                  <a:lnTo>
                    <a:pt x="484" y="429"/>
                  </a:lnTo>
                  <a:lnTo>
                    <a:pt x="485" y="431"/>
                  </a:lnTo>
                  <a:lnTo>
                    <a:pt x="486" y="431"/>
                  </a:lnTo>
                  <a:lnTo>
                    <a:pt x="487" y="429"/>
                  </a:lnTo>
                  <a:lnTo>
                    <a:pt x="489" y="429"/>
                  </a:lnTo>
                  <a:lnTo>
                    <a:pt x="490" y="429"/>
                  </a:lnTo>
                  <a:lnTo>
                    <a:pt x="491" y="429"/>
                  </a:lnTo>
                  <a:lnTo>
                    <a:pt x="492" y="431"/>
                  </a:lnTo>
                  <a:lnTo>
                    <a:pt x="493" y="431"/>
                  </a:lnTo>
                  <a:lnTo>
                    <a:pt x="495" y="431"/>
                  </a:lnTo>
                  <a:lnTo>
                    <a:pt x="499" y="431"/>
                  </a:lnTo>
                  <a:lnTo>
                    <a:pt x="501" y="431"/>
                  </a:lnTo>
                  <a:lnTo>
                    <a:pt x="501" y="432"/>
                  </a:lnTo>
                  <a:lnTo>
                    <a:pt x="499" y="432"/>
                  </a:lnTo>
                  <a:lnTo>
                    <a:pt x="498" y="432"/>
                  </a:lnTo>
                  <a:lnTo>
                    <a:pt x="497" y="432"/>
                  </a:lnTo>
                  <a:lnTo>
                    <a:pt x="496" y="432"/>
                  </a:lnTo>
                  <a:lnTo>
                    <a:pt x="496" y="433"/>
                  </a:lnTo>
                  <a:lnTo>
                    <a:pt x="497" y="433"/>
                  </a:lnTo>
                  <a:lnTo>
                    <a:pt x="497" y="434"/>
                  </a:lnTo>
                  <a:lnTo>
                    <a:pt x="497" y="435"/>
                  </a:lnTo>
                  <a:lnTo>
                    <a:pt x="496" y="434"/>
                  </a:lnTo>
                  <a:lnTo>
                    <a:pt x="495" y="433"/>
                  </a:lnTo>
                  <a:lnTo>
                    <a:pt x="495" y="432"/>
                  </a:lnTo>
                  <a:lnTo>
                    <a:pt x="493" y="432"/>
                  </a:lnTo>
                  <a:lnTo>
                    <a:pt x="492" y="432"/>
                  </a:lnTo>
                  <a:lnTo>
                    <a:pt x="493" y="433"/>
                  </a:lnTo>
                  <a:lnTo>
                    <a:pt x="493" y="434"/>
                  </a:lnTo>
                  <a:lnTo>
                    <a:pt x="492" y="434"/>
                  </a:lnTo>
                  <a:lnTo>
                    <a:pt x="492" y="433"/>
                  </a:lnTo>
                  <a:lnTo>
                    <a:pt x="491" y="433"/>
                  </a:lnTo>
                  <a:lnTo>
                    <a:pt x="491" y="432"/>
                  </a:lnTo>
                  <a:lnTo>
                    <a:pt x="491" y="433"/>
                  </a:lnTo>
                  <a:lnTo>
                    <a:pt x="490" y="433"/>
                  </a:lnTo>
                  <a:lnTo>
                    <a:pt x="490" y="432"/>
                  </a:lnTo>
                  <a:lnTo>
                    <a:pt x="489" y="432"/>
                  </a:lnTo>
                  <a:lnTo>
                    <a:pt x="487" y="432"/>
                  </a:lnTo>
                  <a:lnTo>
                    <a:pt x="489" y="432"/>
                  </a:lnTo>
                  <a:lnTo>
                    <a:pt x="489" y="433"/>
                  </a:lnTo>
                  <a:lnTo>
                    <a:pt x="489" y="434"/>
                  </a:lnTo>
                  <a:lnTo>
                    <a:pt x="489" y="435"/>
                  </a:lnTo>
                  <a:lnTo>
                    <a:pt x="490" y="435"/>
                  </a:lnTo>
                  <a:lnTo>
                    <a:pt x="490" y="437"/>
                  </a:lnTo>
                  <a:lnTo>
                    <a:pt x="490" y="438"/>
                  </a:lnTo>
                  <a:lnTo>
                    <a:pt x="489" y="438"/>
                  </a:lnTo>
                  <a:lnTo>
                    <a:pt x="489" y="437"/>
                  </a:lnTo>
                  <a:lnTo>
                    <a:pt x="487" y="437"/>
                  </a:lnTo>
                  <a:lnTo>
                    <a:pt x="487" y="435"/>
                  </a:lnTo>
                  <a:lnTo>
                    <a:pt x="487" y="434"/>
                  </a:lnTo>
                  <a:lnTo>
                    <a:pt x="486" y="434"/>
                  </a:lnTo>
                  <a:lnTo>
                    <a:pt x="486" y="433"/>
                  </a:lnTo>
                  <a:lnTo>
                    <a:pt x="485" y="433"/>
                  </a:lnTo>
                  <a:lnTo>
                    <a:pt x="485" y="432"/>
                  </a:lnTo>
                  <a:lnTo>
                    <a:pt x="484" y="432"/>
                  </a:lnTo>
                  <a:lnTo>
                    <a:pt x="484" y="433"/>
                  </a:lnTo>
                  <a:lnTo>
                    <a:pt x="484" y="434"/>
                  </a:lnTo>
                  <a:lnTo>
                    <a:pt x="484" y="435"/>
                  </a:lnTo>
                  <a:lnTo>
                    <a:pt x="484" y="437"/>
                  </a:lnTo>
                  <a:lnTo>
                    <a:pt x="484" y="435"/>
                  </a:lnTo>
                  <a:lnTo>
                    <a:pt x="483" y="435"/>
                  </a:lnTo>
                  <a:lnTo>
                    <a:pt x="483" y="434"/>
                  </a:lnTo>
                  <a:lnTo>
                    <a:pt x="483" y="433"/>
                  </a:lnTo>
                  <a:lnTo>
                    <a:pt x="481" y="433"/>
                  </a:lnTo>
                  <a:lnTo>
                    <a:pt x="480" y="433"/>
                  </a:lnTo>
                  <a:lnTo>
                    <a:pt x="480" y="434"/>
                  </a:lnTo>
                  <a:lnTo>
                    <a:pt x="481" y="434"/>
                  </a:lnTo>
                  <a:lnTo>
                    <a:pt x="481" y="435"/>
                  </a:lnTo>
                  <a:lnTo>
                    <a:pt x="481" y="437"/>
                  </a:lnTo>
                  <a:lnTo>
                    <a:pt x="480" y="437"/>
                  </a:lnTo>
                  <a:lnTo>
                    <a:pt x="480" y="438"/>
                  </a:lnTo>
                  <a:lnTo>
                    <a:pt x="480" y="439"/>
                  </a:lnTo>
                  <a:lnTo>
                    <a:pt x="480" y="438"/>
                  </a:lnTo>
                  <a:lnTo>
                    <a:pt x="479" y="438"/>
                  </a:lnTo>
                  <a:lnTo>
                    <a:pt x="479" y="437"/>
                  </a:lnTo>
                  <a:lnTo>
                    <a:pt x="478" y="435"/>
                  </a:lnTo>
                  <a:lnTo>
                    <a:pt x="478" y="437"/>
                  </a:lnTo>
                  <a:lnTo>
                    <a:pt x="477" y="437"/>
                  </a:lnTo>
                  <a:lnTo>
                    <a:pt x="477" y="435"/>
                  </a:lnTo>
                  <a:lnTo>
                    <a:pt x="477" y="434"/>
                  </a:lnTo>
                  <a:lnTo>
                    <a:pt x="475" y="433"/>
                  </a:lnTo>
                  <a:lnTo>
                    <a:pt x="475" y="431"/>
                  </a:lnTo>
                  <a:lnTo>
                    <a:pt x="475" y="429"/>
                  </a:lnTo>
                  <a:lnTo>
                    <a:pt x="475" y="428"/>
                  </a:lnTo>
                  <a:lnTo>
                    <a:pt x="475" y="427"/>
                  </a:lnTo>
                  <a:lnTo>
                    <a:pt x="477" y="427"/>
                  </a:lnTo>
                  <a:lnTo>
                    <a:pt x="477" y="426"/>
                  </a:lnTo>
                  <a:lnTo>
                    <a:pt x="475" y="426"/>
                  </a:lnTo>
                  <a:lnTo>
                    <a:pt x="475" y="427"/>
                  </a:lnTo>
                  <a:lnTo>
                    <a:pt x="475" y="428"/>
                  </a:lnTo>
                  <a:lnTo>
                    <a:pt x="474" y="429"/>
                  </a:lnTo>
                  <a:lnTo>
                    <a:pt x="474" y="431"/>
                  </a:lnTo>
                  <a:lnTo>
                    <a:pt x="474" y="432"/>
                  </a:lnTo>
                  <a:lnTo>
                    <a:pt x="474" y="433"/>
                  </a:lnTo>
                  <a:lnTo>
                    <a:pt x="474" y="435"/>
                  </a:lnTo>
                  <a:lnTo>
                    <a:pt x="474" y="437"/>
                  </a:lnTo>
                  <a:lnTo>
                    <a:pt x="475" y="437"/>
                  </a:lnTo>
                  <a:lnTo>
                    <a:pt x="475" y="438"/>
                  </a:lnTo>
                  <a:lnTo>
                    <a:pt x="475" y="439"/>
                  </a:lnTo>
                  <a:lnTo>
                    <a:pt x="474" y="440"/>
                  </a:lnTo>
                  <a:lnTo>
                    <a:pt x="473" y="440"/>
                  </a:lnTo>
                  <a:lnTo>
                    <a:pt x="472" y="439"/>
                  </a:lnTo>
                  <a:lnTo>
                    <a:pt x="473" y="438"/>
                  </a:lnTo>
                  <a:lnTo>
                    <a:pt x="472" y="437"/>
                  </a:lnTo>
                  <a:lnTo>
                    <a:pt x="471" y="438"/>
                  </a:lnTo>
                  <a:lnTo>
                    <a:pt x="472" y="439"/>
                  </a:lnTo>
                  <a:lnTo>
                    <a:pt x="471" y="439"/>
                  </a:lnTo>
                  <a:lnTo>
                    <a:pt x="469" y="439"/>
                  </a:lnTo>
                  <a:lnTo>
                    <a:pt x="468" y="439"/>
                  </a:lnTo>
                  <a:lnTo>
                    <a:pt x="468" y="438"/>
                  </a:lnTo>
                  <a:lnTo>
                    <a:pt x="467" y="439"/>
                  </a:lnTo>
                  <a:lnTo>
                    <a:pt x="466" y="440"/>
                  </a:lnTo>
                  <a:lnTo>
                    <a:pt x="465" y="440"/>
                  </a:lnTo>
                  <a:lnTo>
                    <a:pt x="465" y="441"/>
                  </a:lnTo>
                  <a:lnTo>
                    <a:pt x="466" y="443"/>
                  </a:lnTo>
                  <a:lnTo>
                    <a:pt x="467" y="444"/>
                  </a:lnTo>
                  <a:lnTo>
                    <a:pt x="468" y="445"/>
                  </a:lnTo>
                  <a:lnTo>
                    <a:pt x="467" y="445"/>
                  </a:lnTo>
                  <a:lnTo>
                    <a:pt x="466" y="445"/>
                  </a:lnTo>
                  <a:lnTo>
                    <a:pt x="465" y="444"/>
                  </a:lnTo>
                  <a:lnTo>
                    <a:pt x="463" y="444"/>
                  </a:lnTo>
                  <a:lnTo>
                    <a:pt x="462" y="443"/>
                  </a:lnTo>
                  <a:lnTo>
                    <a:pt x="461" y="441"/>
                  </a:lnTo>
                  <a:lnTo>
                    <a:pt x="460" y="443"/>
                  </a:lnTo>
                  <a:lnTo>
                    <a:pt x="460" y="444"/>
                  </a:lnTo>
                  <a:lnTo>
                    <a:pt x="460" y="445"/>
                  </a:lnTo>
                  <a:lnTo>
                    <a:pt x="460" y="446"/>
                  </a:lnTo>
                  <a:lnTo>
                    <a:pt x="461" y="446"/>
                  </a:lnTo>
                  <a:lnTo>
                    <a:pt x="461" y="447"/>
                  </a:lnTo>
                  <a:lnTo>
                    <a:pt x="463" y="447"/>
                  </a:lnTo>
                  <a:lnTo>
                    <a:pt x="465" y="447"/>
                  </a:lnTo>
                  <a:lnTo>
                    <a:pt x="466" y="447"/>
                  </a:lnTo>
                  <a:lnTo>
                    <a:pt x="467" y="447"/>
                  </a:lnTo>
                  <a:lnTo>
                    <a:pt x="467" y="449"/>
                  </a:lnTo>
                  <a:lnTo>
                    <a:pt x="468" y="449"/>
                  </a:lnTo>
                  <a:lnTo>
                    <a:pt x="469" y="449"/>
                  </a:lnTo>
                  <a:lnTo>
                    <a:pt x="471" y="449"/>
                  </a:lnTo>
                  <a:lnTo>
                    <a:pt x="473" y="449"/>
                  </a:lnTo>
                  <a:lnTo>
                    <a:pt x="474" y="449"/>
                  </a:lnTo>
                  <a:lnTo>
                    <a:pt x="475" y="449"/>
                  </a:lnTo>
                  <a:lnTo>
                    <a:pt x="477" y="450"/>
                  </a:lnTo>
                  <a:lnTo>
                    <a:pt x="478" y="450"/>
                  </a:lnTo>
                  <a:lnTo>
                    <a:pt x="479" y="450"/>
                  </a:lnTo>
                  <a:lnTo>
                    <a:pt x="480" y="450"/>
                  </a:lnTo>
                  <a:lnTo>
                    <a:pt x="481" y="450"/>
                  </a:lnTo>
                  <a:lnTo>
                    <a:pt x="481" y="451"/>
                  </a:lnTo>
                  <a:lnTo>
                    <a:pt x="483" y="451"/>
                  </a:lnTo>
                  <a:lnTo>
                    <a:pt x="484" y="451"/>
                  </a:lnTo>
                  <a:lnTo>
                    <a:pt x="485" y="451"/>
                  </a:lnTo>
                  <a:lnTo>
                    <a:pt x="486" y="451"/>
                  </a:lnTo>
                  <a:lnTo>
                    <a:pt x="492" y="451"/>
                  </a:lnTo>
                  <a:lnTo>
                    <a:pt x="493" y="451"/>
                  </a:lnTo>
                  <a:lnTo>
                    <a:pt x="495" y="451"/>
                  </a:lnTo>
                  <a:lnTo>
                    <a:pt x="496" y="451"/>
                  </a:lnTo>
                  <a:lnTo>
                    <a:pt x="498" y="451"/>
                  </a:lnTo>
                  <a:lnTo>
                    <a:pt x="499" y="451"/>
                  </a:lnTo>
                  <a:lnTo>
                    <a:pt x="501" y="452"/>
                  </a:lnTo>
                  <a:lnTo>
                    <a:pt x="502" y="452"/>
                  </a:lnTo>
                  <a:lnTo>
                    <a:pt x="503" y="451"/>
                  </a:lnTo>
                  <a:lnTo>
                    <a:pt x="504" y="451"/>
                  </a:lnTo>
                  <a:lnTo>
                    <a:pt x="505" y="452"/>
                  </a:lnTo>
                  <a:lnTo>
                    <a:pt x="507" y="452"/>
                  </a:lnTo>
                  <a:lnTo>
                    <a:pt x="507" y="451"/>
                  </a:lnTo>
                  <a:lnTo>
                    <a:pt x="507" y="450"/>
                  </a:lnTo>
                  <a:lnTo>
                    <a:pt x="508" y="450"/>
                  </a:lnTo>
                  <a:lnTo>
                    <a:pt x="508" y="451"/>
                  </a:lnTo>
                  <a:lnTo>
                    <a:pt x="510" y="451"/>
                  </a:lnTo>
                  <a:lnTo>
                    <a:pt x="511" y="451"/>
                  </a:lnTo>
                  <a:lnTo>
                    <a:pt x="511" y="452"/>
                  </a:lnTo>
                  <a:lnTo>
                    <a:pt x="510" y="452"/>
                  </a:lnTo>
                  <a:lnTo>
                    <a:pt x="510" y="454"/>
                  </a:lnTo>
                  <a:lnTo>
                    <a:pt x="511" y="454"/>
                  </a:lnTo>
                  <a:lnTo>
                    <a:pt x="513" y="454"/>
                  </a:lnTo>
                  <a:lnTo>
                    <a:pt x="514" y="455"/>
                  </a:lnTo>
                  <a:lnTo>
                    <a:pt x="515" y="454"/>
                  </a:lnTo>
                  <a:lnTo>
                    <a:pt x="516" y="454"/>
                  </a:lnTo>
                  <a:lnTo>
                    <a:pt x="518" y="454"/>
                  </a:lnTo>
                  <a:lnTo>
                    <a:pt x="518" y="452"/>
                  </a:lnTo>
                  <a:lnTo>
                    <a:pt x="519" y="452"/>
                  </a:lnTo>
                  <a:lnTo>
                    <a:pt x="520" y="454"/>
                  </a:lnTo>
                  <a:lnTo>
                    <a:pt x="519" y="454"/>
                  </a:lnTo>
                  <a:lnTo>
                    <a:pt x="519" y="455"/>
                  </a:lnTo>
                  <a:lnTo>
                    <a:pt x="520" y="455"/>
                  </a:lnTo>
                  <a:lnTo>
                    <a:pt x="521" y="456"/>
                  </a:lnTo>
                  <a:lnTo>
                    <a:pt x="522" y="456"/>
                  </a:lnTo>
                  <a:lnTo>
                    <a:pt x="522" y="455"/>
                  </a:lnTo>
                  <a:lnTo>
                    <a:pt x="524" y="455"/>
                  </a:lnTo>
                  <a:lnTo>
                    <a:pt x="524" y="456"/>
                  </a:lnTo>
                  <a:lnTo>
                    <a:pt x="525" y="456"/>
                  </a:lnTo>
                  <a:lnTo>
                    <a:pt x="526" y="456"/>
                  </a:lnTo>
                  <a:lnTo>
                    <a:pt x="527" y="455"/>
                  </a:lnTo>
                  <a:lnTo>
                    <a:pt x="528" y="456"/>
                  </a:lnTo>
                  <a:lnTo>
                    <a:pt x="531" y="456"/>
                  </a:lnTo>
                  <a:lnTo>
                    <a:pt x="532" y="456"/>
                  </a:lnTo>
                  <a:lnTo>
                    <a:pt x="536" y="455"/>
                  </a:lnTo>
                  <a:lnTo>
                    <a:pt x="537" y="456"/>
                  </a:lnTo>
                  <a:lnTo>
                    <a:pt x="536" y="456"/>
                  </a:lnTo>
                  <a:lnTo>
                    <a:pt x="536" y="457"/>
                  </a:lnTo>
                  <a:lnTo>
                    <a:pt x="534" y="457"/>
                  </a:lnTo>
                  <a:lnTo>
                    <a:pt x="532" y="457"/>
                  </a:lnTo>
                  <a:lnTo>
                    <a:pt x="531" y="457"/>
                  </a:lnTo>
                  <a:lnTo>
                    <a:pt x="530" y="457"/>
                  </a:lnTo>
                  <a:lnTo>
                    <a:pt x="528" y="457"/>
                  </a:lnTo>
                  <a:lnTo>
                    <a:pt x="528" y="458"/>
                  </a:lnTo>
                  <a:lnTo>
                    <a:pt x="530" y="460"/>
                  </a:lnTo>
                  <a:lnTo>
                    <a:pt x="530" y="461"/>
                  </a:lnTo>
                  <a:lnTo>
                    <a:pt x="528" y="461"/>
                  </a:lnTo>
                  <a:lnTo>
                    <a:pt x="528" y="460"/>
                  </a:lnTo>
                  <a:lnTo>
                    <a:pt x="527" y="458"/>
                  </a:lnTo>
                  <a:lnTo>
                    <a:pt x="526" y="458"/>
                  </a:lnTo>
                  <a:lnTo>
                    <a:pt x="525" y="457"/>
                  </a:lnTo>
                  <a:lnTo>
                    <a:pt x="524" y="457"/>
                  </a:lnTo>
                  <a:lnTo>
                    <a:pt x="524" y="458"/>
                  </a:lnTo>
                  <a:lnTo>
                    <a:pt x="524" y="460"/>
                  </a:lnTo>
                  <a:lnTo>
                    <a:pt x="524" y="461"/>
                  </a:lnTo>
                  <a:lnTo>
                    <a:pt x="522" y="460"/>
                  </a:lnTo>
                  <a:lnTo>
                    <a:pt x="522" y="458"/>
                  </a:lnTo>
                  <a:lnTo>
                    <a:pt x="521" y="457"/>
                  </a:lnTo>
                  <a:lnTo>
                    <a:pt x="520" y="457"/>
                  </a:lnTo>
                  <a:lnTo>
                    <a:pt x="519" y="457"/>
                  </a:lnTo>
                  <a:lnTo>
                    <a:pt x="519" y="458"/>
                  </a:lnTo>
                  <a:lnTo>
                    <a:pt x="520" y="460"/>
                  </a:lnTo>
                  <a:lnTo>
                    <a:pt x="519" y="461"/>
                  </a:lnTo>
                  <a:lnTo>
                    <a:pt x="520" y="461"/>
                  </a:lnTo>
                  <a:lnTo>
                    <a:pt x="520" y="462"/>
                  </a:lnTo>
                  <a:lnTo>
                    <a:pt x="520" y="463"/>
                  </a:lnTo>
                  <a:lnTo>
                    <a:pt x="519" y="463"/>
                  </a:lnTo>
                  <a:lnTo>
                    <a:pt x="519" y="464"/>
                  </a:lnTo>
                  <a:lnTo>
                    <a:pt x="519" y="466"/>
                  </a:lnTo>
                  <a:lnTo>
                    <a:pt x="520" y="466"/>
                  </a:lnTo>
                  <a:lnTo>
                    <a:pt x="520" y="467"/>
                  </a:lnTo>
                  <a:lnTo>
                    <a:pt x="519" y="467"/>
                  </a:lnTo>
                  <a:lnTo>
                    <a:pt x="519" y="468"/>
                  </a:lnTo>
                  <a:lnTo>
                    <a:pt x="520" y="468"/>
                  </a:lnTo>
                  <a:lnTo>
                    <a:pt x="521" y="468"/>
                  </a:lnTo>
                  <a:lnTo>
                    <a:pt x="522" y="468"/>
                  </a:lnTo>
                  <a:lnTo>
                    <a:pt x="524" y="468"/>
                  </a:lnTo>
                  <a:lnTo>
                    <a:pt x="525" y="468"/>
                  </a:lnTo>
                  <a:lnTo>
                    <a:pt x="526" y="468"/>
                  </a:lnTo>
                  <a:lnTo>
                    <a:pt x="527" y="467"/>
                  </a:lnTo>
                  <a:lnTo>
                    <a:pt x="528" y="467"/>
                  </a:lnTo>
                  <a:lnTo>
                    <a:pt x="530" y="467"/>
                  </a:lnTo>
                  <a:lnTo>
                    <a:pt x="531" y="467"/>
                  </a:lnTo>
                  <a:lnTo>
                    <a:pt x="531" y="466"/>
                  </a:lnTo>
                  <a:lnTo>
                    <a:pt x="532" y="466"/>
                  </a:lnTo>
                  <a:lnTo>
                    <a:pt x="533" y="466"/>
                  </a:lnTo>
                  <a:lnTo>
                    <a:pt x="534" y="466"/>
                  </a:lnTo>
                  <a:lnTo>
                    <a:pt x="536" y="466"/>
                  </a:lnTo>
                  <a:lnTo>
                    <a:pt x="537" y="466"/>
                  </a:lnTo>
                  <a:lnTo>
                    <a:pt x="538" y="466"/>
                  </a:lnTo>
                  <a:lnTo>
                    <a:pt x="539" y="466"/>
                  </a:lnTo>
                  <a:lnTo>
                    <a:pt x="540" y="466"/>
                  </a:lnTo>
                  <a:lnTo>
                    <a:pt x="542" y="466"/>
                  </a:lnTo>
                  <a:lnTo>
                    <a:pt x="543" y="466"/>
                  </a:lnTo>
                  <a:lnTo>
                    <a:pt x="544" y="466"/>
                  </a:lnTo>
                  <a:lnTo>
                    <a:pt x="545" y="466"/>
                  </a:lnTo>
                  <a:lnTo>
                    <a:pt x="548" y="464"/>
                  </a:lnTo>
                  <a:lnTo>
                    <a:pt x="549" y="463"/>
                  </a:lnTo>
                  <a:lnTo>
                    <a:pt x="550" y="463"/>
                  </a:lnTo>
                  <a:lnTo>
                    <a:pt x="551" y="463"/>
                  </a:lnTo>
                  <a:lnTo>
                    <a:pt x="552" y="463"/>
                  </a:lnTo>
                  <a:lnTo>
                    <a:pt x="551" y="464"/>
                  </a:lnTo>
                  <a:lnTo>
                    <a:pt x="550" y="464"/>
                  </a:lnTo>
                  <a:lnTo>
                    <a:pt x="549" y="464"/>
                  </a:lnTo>
                  <a:lnTo>
                    <a:pt x="549" y="466"/>
                  </a:lnTo>
                  <a:lnTo>
                    <a:pt x="548" y="466"/>
                  </a:lnTo>
                  <a:lnTo>
                    <a:pt x="546" y="467"/>
                  </a:lnTo>
                  <a:lnTo>
                    <a:pt x="548" y="467"/>
                  </a:lnTo>
                  <a:lnTo>
                    <a:pt x="548" y="468"/>
                  </a:lnTo>
                  <a:lnTo>
                    <a:pt x="550" y="468"/>
                  </a:lnTo>
                  <a:lnTo>
                    <a:pt x="551" y="468"/>
                  </a:lnTo>
                  <a:lnTo>
                    <a:pt x="552" y="468"/>
                  </a:lnTo>
                  <a:lnTo>
                    <a:pt x="554" y="468"/>
                  </a:lnTo>
                  <a:lnTo>
                    <a:pt x="555" y="468"/>
                  </a:lnTo>
                  <a:lnTo>
                    <a:pt x="555" y="469"/>
                  </a:lnTo>
                  <a:lnTo>
                    <a:pt x="552" y="469"/>
                  </a:lnTo>
                  <a:lnTo>
                    <a:pt x="551" y="469"/>
                  </a:lnTo>
                  <a:lnTo>
                    <a:pt x="552" y="470"/>
                  </a:lnTo>
                  <a:lnTo>
                    <a:pt x="554" y="470"/>
                  </a:lnTo>
                  <a:lnTo>
                    <a:pt x="555" y="472"/>
                  </a:lnTo>
                  <a:lnTo>
                    <a:pt x="556" y="472"/>
                  </a:lnTo>
                  <a:lnTo>
                    <a:pt x="557" y="470"/>
                  </a:lnTo>
                  <a:lnTo>
                    <a:pt x="558" y="470"/>
                  </a:lnTo>
                  <a:lnTo>
                    <a:pt x="560" y="470"/>
                  </a:lnTo>
                  <a:lnTo>
                    <a:pt x="561" y="470"/>
                  </a:lnTo>
                  <a:lnTo>
                    <a:pt x="561" y="472"/>
                  </a:lnTo>
                  <a:lnTo>
                    <a:pt x="560" y="472"/>
                  </a:lnTo>
                  <a:lnTo>
                    <a:pt x="558" y="472"/>
                  </a:lnTo>
                  <a:lnTo>
                    <a:pt x="558" y="473"/>
                  </a:lnTo>
                  <a:lnTo>
                    <a:pt x="563" y="473"/>
                  </a:lnTo>
                  <a:lnTo>
                    <a:pt x="562" y="473"/>
                  </a:lnTo>
                  <a:lnTo>
                    <a:pt x="561" y="473"/>
                  </a:lnTo>
                  <a:lnTo>
                    <a:pt x="560" y="473"/>
                  </a:lnTo>
                  <a:lnTo>
                    <a:pt x="558" y="473"/>
                  </a:lnTo>
                  <a:lnTo>
                    <a:pt x="558" y="474"/>
                  </a:lnTo>
                  <a:lnTo>
                    <a:pt x="557" y="474"/>
                  </a:lnTo>
                  <a:lnTo>
                    <a:pt x="556" y="474"/>
                  </a:lnTo>
                  <a:lnTo>
                    <a:pt x="556" y="473"/>
                  </a:lnTo>
                  <a:lnTo>
                    <a:pt x="555" y="473"/>
                  </a:lnTo>
                  <a:lnTo>
                    <a:pt x="555" y="474"/>
                  </a:lnTo>
                  <a:lnTo>
                    <a:pt x="555" y="476"/>
                  </a:lnTo>
                  <a:lnTo>
                    <a:pt x="555" y="479"/>
                  </a:lnTo>
                  <a:lnTo>
                    <a:pt x="555" y="480"/>
                  </a:lnTo>
                  <a:lnTo>
                    <a:pt x="554" y="480"/>
                  </a:lnTo>
                  <a:lnTo>
                    <a:pt x="552" y="479"/>
                  </a:lnTo>
                  <a:lnTo>
                    <a:pt x="552" y="476"/>
                  </a:lnTo>
                  <a:lnTo>
                    <a:pt x="552" y="478"/>
                  </a:lnTo>
                  <a:lnTo>
                    <a:pt x="552" y="479"/>
                  </a:lnTo>
                  <a:lnTo>
                    <a:pt x="552" y="480"/>
                  </a:lnTo>
                  <a:lnTo>
                    <a:pt x="551" y="480"/>
                  </a:lnTo>
                  <a:lnTo>
                    <a:pt x="550" y="480"/>
                  </a:lnTo>
                  <a:lnTo>
                    <a:pt x="550" y="479"/>
                  </a:lnTo>
                  <a:lnTo>
                    <a:pt x="550" y="476"/>
                  </a:lnTo>
                  <a:lnTo>
                    <a:pt x="551" y="474"/>
                  </a:lnTo>
                  <a:lnTo>
                    <a:pt x="551" y="473"/>
                  </a:lnTo>
                  <a:lnTo>
                    <a:pt x="550" y="472"/>
                  </a:lnTo>
                  <a:lnTo>
                    <a:pt x="549" y="472"/>
                  </a:lnTo>
                  <a:lnTo>
                    <a:pt x="548" y="470"/>
                  </a:lnTo>
                  <a:lnTo>
                    <a:pt x="546" y="470"/>
                  </a:lnTo>
                  <a:lnTo>
                    <a:pt x="548" y="472"/>
                  </a:lnTo>
                  <a:lnTo>
                    <a:pt x="549" y="473"/>
                  </a:lnTo>
                  <a:lnTo>
                    <a:pt x="550" y="474"/>
                  </a:lnTo>
                  <a:lnTo>
                    <a:pt x="550" y="475"/>
                  </a:lnTo>
                  <a:lnTo>
                    <a:pt x="549" y="475"/>
                  </a:lnTo>
                  <a:lnTo>
                    <a:pt x="549" y="476"/>
                  </a:lnTo>
                  <a:lnTo>
                    <a:pt x="549" y="478"/>
                  </a:lnTo>
                  <a:lnTo>
                    <a:pt x="550" y="478"/>
                  </a:lnTo>
                  <a:lnTo>
                    <a:pt x="550" y="479"/>
                  </a:lnTo>
                  <a:lnTo>
                    <a:pt x="549" y="480"/>
                  </a:lnTo>
                  <a:lnTo>
                    <a:pt x="549" y="481"/>
                  </a:lnTo>
                  <a:lnTo>
                    <a:pt x="549" y="484"/>
                  </a:lnTo>
                  <a:lnTo>
                    <a:pt x="549" y="485"/>
                  </a:lnTo>
                  <a:lnTo>
                    <a:pt x="548" y="484"/>
                  </a:lnTo>
                  <a:lnTo>
                    <a:pt x="548" y="475"/>
                  </a:lnTo>
                  <a:lnTo>
                    <a:pt x="546" y="475"/>
                  </a:lnTo>
                  <a:lnTo>
                    <a:pt x="546" y="476"/>
                  </a:lnTo>
                  <a:lnTo>
                    <a:pt x="546" y="478"/>
                  </a:lnTo>
                  <a:lnTo>
                    <a:pt x="546" y="479"/>
                  </a:lnTo>
                  <a:lnTo>
                    <a:pt x="546" y="480"/>
                  </a:lnTo>
                  <a:lnTo>
                    <a:pt x="546" y="481"/>
                  </a:lnTo>
                  <a:lnTo>
                    <a:pt x="546" y="482"/>
                  </a:lnTo>
                  <a:lnTo>
                    <a:pt x="546" y="484"/>
                  </a:lnTo>
                  <a:lnTo>
                    <a:pt x="546" y="487"/>
                  </a:lnTo>
                  <a:lnTo>
                    <a:pt x="545" y="487"/>
                  </a:lnTo>
                  <a:lnTo>
                    <a:pt x="544" y="487"/>
                  </a:lnTo>
                  <a:lnTo>
                    <a:pt x="544" y="486"/>
                  </a:lnTo>
                  <a:lnTo>
                    <a:pt x="544" y="479"/>
                  </a:lnTo>
                  <a:lnTo>
                    <a:pt x="543" y="479"/>
                  </a:lnTo>
                  <a:lnTo>
                    <a:pt x="543" y="480"/>
                  </a:lnTo>
                  <a:lnTo>
                    <a:pt x="543" y="481"/>
                  </a:lnTo>
                  <a:lnTo>
                    <a:pt x="542" y="480"/>
                  </a:lnTo>
                  <a:lnTo>
                    <a:pt x="540" y="480"/>
                  </a:lnTo>
                  <a:lnTo>
                    <a:pt x="540" y="479"/>
                  </a:lnTo>
                  <a:lnTo>
                    <a:pt x="539" y="478"/>
                  </a:lnTo>
                  <a:lnTo>
                    <a:pt x="538" y="479"/>
                  </a:lnTo>
                  <a:lnTo>
                    <a:pt x="537" y="479"/>
                  </a:lnTo>
                  <a:lnTo>
                    <a:pt x="537" y="478"/>
                  </a:lnTo>
                  <a:lnTo>
                    <a:pt x="537" y="476"/>
                  </a:lnTo>
                  <a:lnTo>
                    <a:pt x="537" y="475"/>
                  </a:lnTo>
                  <a:lnTo>
                    <a:pt x="537" y="474"/>
                  </a:lnTo>
                  <a:lnTo>
                    <a:pt x="536" y="474"/>
                  </a:lnTo>
                  <a:lnTo>
                    <a:pt x="536" y="475"/>
                  </a:lnTo>
                  <a:lnTo>
                    <a:pt x="534" y="475"/>
                  </a:lnTo>
                  <a:lnTo>
                    <a:pt x="534" y="476"/>
                  </a:lnTo>
                  <a:lnTo>
                    <a:pt x="534" y="478"/>
                  </a:lnTo>
                  <a:lnTo>
                    <a:pt x="534" y="479"/>
                  </a:lnTo>
                  <a:lnTo>
                    <a:pt x="536" y="480"/>
                  </a:lnTo>
                  <a:lnTo>
                    <a:pt x="537" y="480"/>
                  </a:lnTo>
                  <a:lnTo>
                    <a:pt x="537" y="481"/>
                  </a:lnTo>
                  <a:lnTo>
                    <a:pt x="536" y="481"/>
                  </a:lnTo>
                  <a:lnTo>
                    <a:pt x="534" y="481"/>
                  </a:lnTo>
                  <a:lnTo>
                    <a:pt x="536" y="482"/>
                  </a:lnTo>
                  <a:lnTo>
                    <a:pt x="534" y="482"/>
                  </a:lnTo>
                  <a:lnTo>
                    <a:pt x="534" y="484"/>
                  </a:lnTo>
                  <a:lnTo>
                    <a:pt x="534" y="485"/>
                  </a:lnTo>
                  <a:lnTo>
                    <a:pt x="533" y="485"/>
                  </a:lnTo>
                  <a:lnTo>
                    <a:pt x="533" y="484"/>
                  </a:lnTo>
                  <a:lnTo>
                    <a:pt x="533" y="482"/>
                  </a:lnTo>
                  <a:lnTo>
                    <a:pt x="532" y="482"/>
                  </a:lnTo>
                  <a:lnTo>
                    <a:pt x="531" y="482"/>
                  </a:lnTo>
                  <a:lnTo>
                    <a:pt x="531" y="484"/>
                  </a:lnTo>
                  <a:lnTo>
                    <a:pt x="531" y="485"/>
                  </a:lnTo>
                  <a:lnTo>
                    <a:pt x="532" y="485"/>
                  </a:lnTo>
                  <a:lnTo>
                    <a:pt x="532" y="486"/>
                  </a:lnTo>
                  <a:lnTo>
                    <a:pt x="533" y="487"/>
                  </a:lnTo>
                  <a:lnTo>
                    <a:pt x="533" y="488"/>
                  </a:lnTo>
                  <a:lnTo>
                    <a:pt x="533" y="490"/>
                  </a:lnTo>
                  <a:lnTo>
                    <a:pt x="533" y="491"/>
                  </a:lnTo>
                  <a:lnTo>
                    <a:pt x="532" y="491"/>
                  </a:lnTo>
                  <a:lnTo>
                    <a:pt x="533" y="492"/>
                  </a:lnTo>
                  <a:lnTo>
                    <a:pt x="534" y="492"/>
                  </a:lnTo>
                  <a:lnTo>
                    <a:pt x="536" y="493"/>
                  </a:lnTo>
                  <a:lnTo>
                    <a:pt x="537" y="493"/>
                  </a:lnTo>
                  <a:lnTo>
                    <a:pt x="538" y="494"/>
                  </a:lnTo>
                  <a:lnTo>
                    <a:pt x="539" y="496"/>
                  </a:lnTo>
                  <a:lnTo>
                    <a:pt x="540" y="497"/>
                  </a:lnTo>
                  <a:lnTo>
                    <a:pt x="540" y="498"/>
                  </a:lnTo>
                  <a:lnTo>
                    <a:pt x="542" y="498"/>
                  </a:lnTo>
                  <a:lnTo>
                    <a:pt x="544" y="498"/>
                  </a:lnTo>
                  <a:lnTo>
                    <a:pt x="546" y="498"/>
                  </a:lnTo>
                  <a:lnTo>
                    <a:pt x="546" y="499"/>
                  </a:lnTo>
                  <a:lnTo>
                    <a:pt x="548" y="500"/>
                  </a:lnTo>
                  <a:lnTo>
                    <a:pt x="549" y="500"/>
                  </a:lnTo>
                  <a:lnTo>
                    <a:pt x="550" y="499"/>
                  </a:lnTo>
                  <a:lnTo>
                    <a:pt x="551" y="499"/>
                  </a:lnTo>
                  <a:lnTo>
                    <a:pt x="552" y="499"/>
                  </a:lnTo>
                  <a:lnTo>
                    <a:pt x="554" y="498"/>
                  </a:lnTo>
                  <a:lnTo>
                    <a:pt x="555" y="499"/>
                  </a:lnTo>
                  <a:lnTo>
                    <a:pt x="554" y="499"/>
                  </a:lnTo>
                  <a:lnTo>
                    <a:pt x="554" y="500"/>
                  </a:lnTo>
                  <a:lnTo>
                    <a:pt x="555" y="500"/>
                  </a:lnTo>
                  <a:lnTo>
                    <a:pt x="556" y="500"/>
                  </a:lnTo>
                  <a:lnTo>
                    <a:pt x="556" y="502"/>
                  </a:lnTo>
                  <a:lnTo>
                    <a:pt x="557" y="502"/>
                  </a:lnTo>
                  <a:lnTo>
                    <a:pt x="556" y="502"/>
                  </a:lnTo>
                  <a:lnTo>
                    <a:pt x="555" y="502"/>
                  </a:lnTo>
                  <a:lnTo>
                    <a:pt x="554" y="502"/>
                  </a:lnTo>
                  <a:lnTo>
                    <a:pt x="552" y="502"/>
                  </a:lnTo>
                  <a:lnTo>
                    <a:pt x="552" y="503"/>
                  </a:lnTo>
                  <a:lnTo>
                    <a:pt x="554" y="503"/>
                  </a:lnTo>
                  <a:lnTo>
                    <a:pt x="554" y="504"/>
                  </a:lnTo>
                  <a:lnTo>
                    <a:pt x="552" y="504"/>
                  </a:lnTo>
                  <a:lnTo>
                    <a:pt x="551" y="503"/>
                  </a:lnTo>
                  <a:lnTo>
                    <a:pt x="550" y="503"/>
                  </a:lnTo>
                  <a:lnTo>
                    <a:pt x="550" y="502"/>
                  </a:lnTo>
                  <a:lnTo>
                    <a:pt x="550" y="503"/>
                  </a:lnTo>
                  <a:lnTo>
                    <a:pt x="550" y="504"/>
                  </a:lnTo>
                  <a:lnTo>
                    <a:pt x="549" y="504"/>
                  </a:lnTo>
                  <a:lnTo>
                    <a:pt x="549" y="503"/>
                  </a:lnTo>
                  <a:lnTo>
                    <a:pt x="549" y="502"/>
                  </a:lnTo>
                  <a:lnTo>
                    <a:pt x="549" y="500"/>
                  </a:lnTo>
                  <a:lnTo>
                    <a:pt x="548" y="500"/>
                  </a:lnTo>
                  <a:lnTo>
                    <a:pt x="548" y="502"/>
                  </a:lnTo>
                  <a:lnTo>
                    <a:pt x="548" y="503"/>
                  </a:lnTo>
                  <a:lnTo>
                    <a:pt x="548" y="504"/>
                  </a:lnTo>
                  <a:lnTo>
                    <a:pt x="548" y="505"/>
                  </a:lnTo>
                  <a:lnTo>
                    <a:pt x="548" y="506"/>
                  </a:lnTo>
                  <a:lnTo>
                    <a:pt x="548" y="508"/>
                  </a:lnTo>
                  <a:lnTo>
                    <a:pt x="549" y="508"/>
                  </a:lnTo>
                  <a:lnTo>
                    <a:pt x="550" y="508"/>
                  </a:lnTo>
                  <a:lnTo>
                    <a:pt x="554" y="508"/>
                  </a:lnTo>
                  <a:lnTo>
                    <a:pt x="555" y="508"/>
                  </a:lnTo>
                  <a:lnTo>
                    <a:pt x="555" y="506"/>
                  </a:lnTo>
                  <a:lnTo>
                    <a:pt x="556" y="506"/>
                  </a:lnTo>
                  <a:lnTo>
                    <a:pt x="557" y="506"/>
                  </a:lnTo>
                  <a:lnTo>
                    <a:pt x="558" y="506"/>
                  </a:lnTo>
                  <a:lnTo>
                    <a:pt x="558" y="505"/>
                  </a:lnTo>
                  <a:lnTo>
                    <a:pt x="558" y="506"/>
                  </a:lnTo>
                  <a:lnTo>
                    <a:pt x="560" y="506"/>
                  </a:lnTo>
                  <a:lnTo>
                    <a:pt x="560" y="505"/>
                  </a:lnTo>
                  <a:lnTo>
                    <a:pt x="561" y="505"/>
                  </a:lnTo>
                  <a:lnTo>
                    <a:pt x="561" y="506"/>
                  </a:lnTo>
                  <a:lnTo>
                    <a:pt x="563" y="505"/>
                  </a:lnTo>
                  <a:lnTo>
                    <a:pt x="566" y="505"/>
                  </a:lnTo>
                  <a:lnTo>
                    <a:pt x="567" y="505"/>
                  </a:lnTo>
                  <a:lnTo>
                    <a:pt x="567" y="506"/>
                  </a:lnTo>
                  <a:lnTo>
                    <a:pt x="566" y="506"/>
                  </a:lnTo>
                  <a:lnTo>
                    <a:pt x="564" y="506"/>
                  </a:lnTo>
                  <a:lnTo>
                    <a:pt x="563" y="506"/>
                  </a:lnTo>
                  <a:lnTo>
                    <a:pt x="563" y="508"/>
                  </a:lnTo>
                  <a:lnTo>
                    <a:pt x="563" y="509"/>
                  </a:lnTo>
                  <a:lnTo>
                    <a:pt x="562" y="509"/>
                  </a:lnTo>
                  <a:lnTo>
                    <a:pt x="561" y="509"/>
                  </a:lnTo>
                  <a:lnTo>
                    <a:pt x="560" y="508"/>
                  </a:lnTo>
                  <a:lnTo>
                    <a:pt x="558" y="508"/>
                  </a:lnTo>
                  <a:lnTo>
                    <a:pt x="558" y="509"/>
                  </a:lnTo>
                  <a:lnTo>
                    <a:pt x="560" y="509"/>
                  </a:lnTo>
                  <a:lnTo>
                    <a:pt x="560" y="510"/>
                  </a:lnTo>
                  <a:lnTo>
                    <a:pt x="558" y="510"/>
                  </a:lnTo>
                  <a:lnTo>
                    <a:pt x="558" y="509"/>
                  </a:lnTo>
                  <a:lnTo>
                    <a:pt x="557" y="510"/>
                  </a:lnTo>
                  <a:lnTo>
                    <a:pt x="558" y="511"/>
                  </a:lnTo>
                  <a:lnTo>
                    <a:pt x="557" y="511"/>
                  </a:lnTo>
                  <a:lnTo>
                    <a:pt x="557" y="510"/>
                  </a:lnTo>
                  <a:lnTo>
                    <a:pt x="557" y="509"/>
                  </a:lnTo>
                  <a:lnTo>
                    <a:pt x="556" y="509"/>
                  </a:lnTo>
                  <a:lnTo>
                    <a:pt x="554" y="509"/>
                  </a:lnTo>
                  <a:lnTo>
                    <a:pt x="556" y="510"/>
                  </a:lnTo>
                  <a:lnTo>
                    <a:pt x="556" y="511"/>
                  </a:lnTo>
                  <a:lnTo>
                    <a:pt x="556" y="512"/>
                  </a:lnTo>
                  <a:lnTo>
                    <a:pt x="555" y="512"/>
                  </a:lnTo>
                  <a:lnTo>
                    <a:pt x="555" y="511"/>
                  </a:lnTo>
                  <a:lnTo>
                    <a:pt x="555" y="510"/>
                  </a:lnTo>
                  <a:lnTo>
                    <a:pt x="554" y="510"/>
                  </a:lnTo>
                  <a:lnTo>
                    <a:pt x="552" y="510"/>
                  </a:lnTo>
                  <a:lnTo>
                    <a:pt x="551" y="509"/>
                  </a:lnTo>
                  <a:lnTo>
                    <a:pt x="551" y="510"/>
                  </a:lnTo>
                  <a:lnTo>
                    <a:pt x="552" y="511"/>
                  </a:lnTo>
                  <a:lnTo>
                    <a:pt x="554" y="512"/>
                  </a:lnTo>
                  <a:lnTo>
                    <a:pt x="552" y="514"/>
                  </a:lnTo>
                  <a:lnTo>
                    <a:pt x="554" y="515"/>
                  </a:lnTo>
                  <a:lnTo>
                    <a:pt x="554" y="516"/>
                  </a:lnTo>
                  <a:lnTo>
                    <a:pt x="555" y="516"/>
                  </a:lnTo>
                  <a:lnTo>
                    <a:pt x="556" y="515"/>
                  </a:lnTo>
                  <a:lnTo>
                    <a:pt x="557" y="515"/>
                  </a:lnTo>
                  <a:lnTo>
                    <a:pt x="557" y="516"/>
                  </a:lnTo>
                  <a:lnTo>
                    <a:pt x="556" y="516"/>
                  </a:lnTo>
                  <a:lnTo>
                    <a:pt x="555" y="516"/>
                  </a:lnTo>
                  <a:lnTo>
                    <a:pt x="556" y="517"/>
                  </a:lnTo>
                  <a:lnTo>
                    <a:pt x="557" y="517"/>
                  </a:lnTo>
                  <a:lnTo>
                    <a:pt x="558" y="518"/>
                  </a:lnTo>
                  <a:lnTo>
                    <a:pt x="560" y="518"/>
                  </a:lnTo>
                  <a:lnTo>
                    <a:pt x="562" y="518"/>
                  </a:lnTo>
                  <a:lnTo>
                    <a:pt x="561" y="520"/>
                  </a:lnTo>
                  <a:lnTo>
                    <a:pt x="560" y="520"/>
                  </a:lnTo>
                  <a:lnTo>
                    <a:pt x="558" y="520"/>
                  </a:lnTo>
                  <a:lnTo>
                    <a:pt x="557" y="520"/>
                  </a:lnTo>
                  <a:lnTo>
                    <a:pt x="557" y="518"/>
                  </a:lnTo>
                  <a:lnTo>
                    <a:pt x="556" y="518"/>
                  </a:lnTo>
                  <a:lnTo>
                    <a:pt x="556" y="520"/>
                  </a:lnTo>
                  <a:lnTo>
                    <a:pt x="557" y="520"/>
                  </a:lnTo>
                  <a:lnTo>
                    <a:pt x="558" y="521"/>
                  </a:lnTo>
                  <a:lnTo>
                    <a:pt x="558" y="522"/>
                  </a:lnTo>
                  <a:lnTo>
                    <a:pt x="560" y="522"/>
                  </a:lnTo>
                  <a:lnTo>
                    <a:pt x="558" y="522"/>
                  </a:lnTo>
                  <a:lnTo>
                    <a:pt x="557" y="522"/>
                  </a:lnTo>
                  <a:lnTo>
                    <a:pt x="556" y="522"/>
                  </a:lnTo>
                  <a:lnTo>
                    <a:pt x="556" y="523"/>
                  </a:lnTo>
                  <a:lnTo>
                    <a:pt x="557" y="524"/>
                  </a:lnTo>
                  <a:lnTo>
                    <a:pt x="557" y="526"/>
                  </a:lnTo>
                  <a:lnTo>
                    <a:pt x="556" y="524"/>
                  </a:lnTo>
                  <a:lnTo>
                    <a:pt x="555" y="524"/>
                  </a:lnTo>
                  <a:lnTo>
                    <a:pt x="555" y="523"/>
                  </a:lnTo>
                  <a:lnTo>
                    <a:pt x="555" y="522"/>
                  </a:lnTo>
                  <a:lnTo>
                    <a:pt x="554" y="521"/>
                  </a:lnTo>
                  <a:lnTo>
                    <a:pt x="552" y="521"/>
                  </a:lnTo>
                  <a:lnTo>
                    <a:pt x="552" y="522"/>
                  </a:lnTo>
                  <a:lnTo>
                    <a:pt x="552" y="523"/>
                  </a:lnTo>
                  <a:lnTo>
                    <a:pt x="551" y="523"/>
                  </a:lnTo>
                  <a:lnTo>
                    <a:pt x="551" y="530"/>
                  </a:lnTo>
                  <a:lnTo>
                    <a:pt x="551" y="532"/>
                  </a:lnTo>
                  <a:lnTo>
                    <a:pt x="550" y="532"/>
                  </a:lnTo>
                  <a:lnTo>
                    <a:pt x="549" y="532"/>
                  </a:lnTo>
                  <a:lnTo>
                    <a:pt x="549" y="529"/>
                  </a:lnTo>
                  <a:lnTo>
                    <a:pt x="549" y="528"/>
                  </a:lnTo>
                  <a:lnTo>
                    <a:pt x="549" y="529"/>
                  </a:lnTo>
                  <a:lnTo>
                    <a:pt x="548" y="529"/>
                  </a:lnTo>
                  <a:lnTo>
                    <a:pt x="548" y="528"/>
                  </a:lnTo>
                  <a:lnTo>
                    <a:pt x="546" y="528"/>
                  </a:lnTo>
                  <a:lnTo>
                    <a:pt x="546" y="527"/>
                  </a:lnTo>
                  <a:lnTo>
                    <a:pt x="545" y="527"/>
                  </a:lnTo>
                  <a:lnTo>
                    <a:pt x="545" y="526"/>
                  </a:lnTo>
                  <a:lnTo>
                    <a:pt x="544" y="526"/>
                  </a:lnTo>
                  <a:lnTo>
                    <a:pt x="543" y="527"/>
                  </a:lnTo>
                  <a:lnTo>
                    <a:pt x="542" y="527"/>
                  </a:lnTo>
                  <a:lnTo>
                    <a:pt x="542" y="526"/>
                  </a:lnTo>
                  <a:lnTo>
                    <a:pt x="540" y="526"/>
                  </a:lnTo>
                  <a:lnTo>
                    <a:pt x="540" y="528"/>
                  </a:lnTo>
                  <a:lnTo>
                    <a:pt x="539" y="529"/>
                  </a:lnTo>
                  <a:lnTo>
                    <a:pt x="540" y="530"/>
                  </a:lnTo>
                  <a:lnTo>
                    <a:pt x="540" y="532"/>
                  </a:lnTo>
                  <a:lnTo>
                    <a:pt x="542" y="533"/>
                  </a:lnTo>
                  <a:lnTo>
                    <a:pt x="542" y="534"/>
                  </a:lnTo>
                  <a:lnTo>
                    <a:pt x="540" y="534"/>
                  </a:lnTo>
                  <a:lnTo>
                    <a:pt x="540" y="533"/>
                  </a:lnTo>
                  <a:lnTo>
                    <a:pt x="539" y="532"/>
                  </a:lnTo>
                  <a:lnTo>
                    <a:pt x="539" y="533"/>
                  </a:lnTo>
                  <a:lnTo>
                    <a:pt x="538" y="534"/>
                  </a:lnTo>
                  <a:lnTo>
                    <a:pt x="537" y="533"/>
                  </a:lnTo>
                  <a:lnTo>
                    <a:pt x="537" y="532"/>
                  </a:lnTo>
                  <a:lnTo>
                    <a:pt x="536" y="530"/>
                  </a:lnTo>
                  <a:lnTo>
                    <a:pt x="536" y="532"/>
                  </a:lnTo>
                  <a:lnTo>
                    <a:pt x="536" y="530"/>
                  </a:lnTo>
                  <a:lnTo>
                    <a:pt x="534" y="529"/>
                  </a:lnTo>
                  <a:lnTo>
                    <a:pt x="533" y="530"/>
                  </a:lnTo>
                  <a:lnTo>
                    <a:pt x="533" y="529"/>
                  </a:lnTo>
                  <a:lnTo>
                    <a:pt x="532" y="529"/>
                  </a:lnTo>
                  <a:lnTo>
                    <a:pt x="532" y="530"/>
                  </a:lnTo>
                  <a:lnTo>
                    <a:pt x="531" y="532"/>
                  </a:lnTo>
                  <a:lnTo>
                    <a:pt x="530" y="533"/>
                  </a:lnTo>
                  <a:lnTo>
                    <a:pt x="528" y="534"/>
                  </a:lnTo>
                  <a:lnTo>
                    <a:pt x="528" y="533"/>
                  </a:lnTo>
                  <a:lnTo>
                    <a:pt x="528" y="530"/>
                  </a:lnTo>
                  <a:lnTo>
                    <a:pt x="527" y="530"/>
                  </a:lnTo>
                  <a:lnTo>
                    <a:pt x="526" y="532"/>
                  </a:lnTo>
                  <a:lnTo>
                    <a:pt x="525" y="532"/>
                  </a:lnTo>
                  <a:lnTo>
                    <a:pt x="526" y="533"/>
                  </a:lnTo>
                  <a:lnTo>
                    <a:pt x="526" y="534"/>
                  </a:lnTo>
                  <a:lnTo>
                    <a:pt x="527" y="535"/>
                  </a:lnTo>
                  <a:lnTo>
                    <a:pt x="527" y="536"/>
                  </a:lnTo>
                  <a:lnTo>
                    <a:pt x="526" y="535"/>
                  </a:lnTo>
                  <a:lnTo>
                    <a:pt x="525" y="535"/>
                  </a:lnTo>
                  <a:lnTo>
                    <a:pt x="524" y="535"/>
                  </a:lnTo>
                  <a:lnTo>
                    <a:pt x="521" y="538"/>
                  </a:lnTo>
                  <a:lnTo>
                    <a:pt x="520" y="539"/>
                  </a:lnTo>
                  <a:lnTo>
                    <a:pt x="521" y="541"/>
                  </a:lnTo>
                  <a:lnTo>
                    <a:pt x="522" y="541"/>
                  </a:lnTo>
                  <a:lnTo>
                    <a:pt x="524" y="542"/>
                  </a:lnTo>
                  <a:lnTo>
                    <a:pt x="525" y="542"/>
                  </a:lnTo>
                  <a:lnTo>
                    <a:pt x="526" y="541"/>
                  </a:lnTo>
                  <a:lnTo>
                    <a:pt x="527" y="542"/>
                  </a:lnTo>
                  <a:lnTo>
                    <a:pt x="528" y="542"/>
                  </a:lnTo>
                  <a:lnTo>
                    <a:pt x="530" y="542"/>
                  </a:lnTo>
                  <a:lnTo>
                    <a:pt x="531" y="541"/>
                  </a:lnTo>
                  <a:lnTo>
                    <a:pt x="532" y="541"/>
                  </a:lnTo>
                  <a:lnTo>
                    <a:pt x="532" y="540"/>
                  </a:lnTo>
                  <a:lnTo>
                    <a:pt x="533" y="540"/>
                  </a:lnTo>
                  <a:lnTo>
                    <a:pt x="534" y="541"/>
                  </a:lnTo>
                  <a:lnTo>
                    <a:pt x="536" y="540"/>
                  </a:lnTo>
                  <a:lnTo>
                    <a:pt x="538" y="541"/>
                  </a:lnTo>
                  <a:lnTo>
                    <a:pt x="539" y="540"/>
                  </a:lnTo>
                  <a:lnTo>
                    <a:pt x="540" y="540"/>
                  </a:lnTo>
                  <a:lnTo>
                    <a:pt x="540" y="541"/>
                  </a:lnTo>
                  <a:lnTo>
                    <a:pt x="539" y="541"/>
                  </a:lnTo>
                  <a:lnTo>
                    <a:pt x="538" y="541"/>
                  </a:lnTo>
                  <a:lnTo>
                    <a:pt x="537" y="542"/>
                  </a:lnTo>
                  <a:lnTo>
                    <a:pt x="538" y="544"/>
                  </a:lnTo>
                  <a:lnTo>
                    <a:pt x="537" y="545"/>
                  </a:lnTo>
                  <a:lnTo>
                    <a:pt x="537" y="544"/>
                  </a:lnTo>
                  <a:lnTo>
                    <a:pt x="536" y="544"/>
                  </a:lnTo>
                  <a:lnTo>
                    <a:pt x="534" y="542"/>
                  </a:lnTo>
                  <a:lnTo>
                    <a:pt x="533" y="542"/>
                  </a:lnTo>
                  <a:lnTo>
                    <a:pt x="532" y="542"/>
                  </a:lnTo>
                  <a:lnTo>
                    <a:pt x="532" y="544"/>
                  </a:lnTo>
                  <a:lnTo>
                    <a:pt x="532" y="545"/>
                  </a:lnTo>
                  <a:lnTo>
                    <a:pt x="533" y="546"/>
                  </a:lnTo>
                  <a:lnTo>
                    <a:pt x="532" y="547"/>
                  </a:lnTo>
                  <a:lnTo>
                    <a:pt x="531" y="546"/>
                  </a:lnTo>
                  <a:lnTo>
                    <a:pt x="531" y="545"/>
                  </a:lnTo>
                  <a:lnTo>
                    <a:pt x="530" y="544"/>
                  </a:lnTo>
                  <a:lnTo>
                    <a:pt x="527" y="544"/>
                  </a:lnTo>
                  <a:lnTo>
                    <a:pt x="526" y="544"/>
                  </a:lnTo>
                  <a:lnTo>
                    <a:pt x="527" y="545"/>
                  </a:lnTo>
                  <a:lnTo>
                    <a:pt x="528" y="546"/>
                  </a:lnTo>
                  <a:lnTo>
                    <a:pt x="528" y="547"/>
                  </a:lnTo>
                  <a:lnTo>
                    <a:pt x="528" y="548"/>
                  </a:lnTo>
                  <a:lnTo>
                    <a:pt x="528" y="550"/>
                  </a:lnTo>
                  <a:lnTo>
                    <a:pt x="528" y="551"/>
                  </a:lnTo>
                  <a:lnTo>
                    <a:pt x="528" y="552"/>
                  </a:lnTo>
                  <a:lnTo>
                    <a:pt x="527" y="553"/>
                  </a:lnTo>
                  <a:lnTo>
                    <a:pt x="527" y="554"/>
                  </a:lnTo>
                  <a:lnTo>
                    <a:pt x="526" y="554"/>
                  </a:lnTo>
                  <a:lnTo>
                    <a:pt x="525" y="553"/>
                  </a:lnTo>
                  <a:lnTo>
                    <a:pt x="525" y="552"/>
                  </a:lnTo>
                  <a:lnTo>
                    <a:pt x="525" y="550"/>
                  </a:lnTo>
                  <a:lnTo>
                    <a:pt x="525" y="548"/>
                  </a:lnTo>
                  <a:lnTo>
                    <a:pt x="525" y="546"/>
                  </a:lnTo>
                  <a:lnTo>
                    <a:pt x="524" y="546"/>
                  </a:lnTo>
                  <a:lnTo>
                    <a:pt x="524" y="545"/>
                  </a:lnTo>
                  <a:lnTo>
                    <a:pt x="524" y="544"/>
                  </a:lnTo>
                  <a:lnTo>
                    <a:pt x="522" y="542"/>
                  </a:lnTo>
                  <a:lnTo>
                    <a:pt x="522" y="544"/>
                  </a:lnTo>
                  <a:lnTo>
                    <a:pt x="524" y="545"/>
                  </a:lnTo>
                  <a:lnTo>
                    <a:pt x="524" y="546"/>
                  </a:lnTo>
                  <a:lnTo>
                    <a:pt x="522" y="545"/>
                  </a:lnTo>
                  <a:lnTo>
                    <a:pt x="521" y="545"/>
                  </a:lnTo>
                  <a:lnTo>
                    <a:pt x="521" y="547"/>
                  </a:lnTo>
                  <a:lnTo>
                    <a:pt x="521" y="548"/>
                  </a:lnTo>
                  <a:lnTo>
                    <a:pt x="522" y="550"/>
                  </a:lnTo>
                  <a:lnTo>
                    <a:pt x="522" y="551"/>
                  </a:lnTo>
                  <a:lnTo>
                    <a:pt x="522" y="552"/>
                  </a:lnTo>
                  <a:lnTo>
                    <a:pt x="521" y="553"/>
                  </a:lnTo>
                  <a:lnTo>
                    <a:pt x="520" y="553"/>
                  </a:lnTo>
                  <a:lnTo>
                    <a:pt x="520" y="551"/>
                  </a:lnTo>
                  <a:lnTo>
                    <a:pt x="520" y="548"/>
                  </a:lnTo>
                  <a:lnTo>
                    <a:pt x="520" y="546"/>
                  </a:lnTo>
                  <a:lnTo>
                    <a:pt x="520" y="545"/>
                  </a:lnTo>
                  <a:lnTo>
                    <a:pt x="519" y="544"/>
                  </a:lnTo>
                  <a:lnTo>
                    <a:pt x="519" y="542"/>
                  </a:lnTo>
                  <a:lnTo>
                    <a:pt x="518" y="542"/>
                  </a:lnTo>
                  <a:lnTo>
                    <a:pt x="519" y="545"/>
                  </a:lnTo>
                  <a:lnTo>
                    <a:pt x="520" y="546"/>
                  </a:lnTo>
                  <a:lnTo>
                    <a:pt x="520" y="547"/>
                  </a:lnTo>
                  <a:lnTo>
                    <a:pt x="519" y="550"/>
                  </a:lnTo>
                  <a:lnTo>
                    <a:pt x="519" y="551"/>
                  </a:lnTo>
                  <a:lnTo>
                    <a:pt x="518" y="551"/>
                  </a:lnTo>
                  <a:lnTo>
                    <a:pt x="518" y="550"/>
                  </a:lnTo>
                  <a:lnTo>
                    <a:pt x="516" y="550"/>
                  </a:lnTo>
                  <a:lnTo>
                    <a:pt x="518" y="552"/>
                  </a:lnTo>
                  <a:lnTo>
                    <a:pt x="518" y="553"/>
                  </a:lnTo>
                  <a:lnTo>
                    <a:pt x="518" y="554"/>
                  </a:lnTo>
                  <a:lnTo>
                    <a:pt x="518" y="556"/>
                  </a:lnTo>
                  <a:lnTo>
                    <a:pt x="518" y="557"/>
                  </a:lnTo>
                  <a:lnTo>
                    <a:pt x="516" y="557"/>
                  </a:lnTo>
                  <a:lnTo>
                    <a:pt x="516" y="556"/>
                  </a:lnTo>
                  <a:lnTo>
                    <a:pt x="515" y="554"/>
                  </a:lnTo>
                  <a:lnTo>
                    <a:pt x="515" y="553"/>
                  </a:lnTo>
                  <a:lnTo>
                    <a:pt x="514" y="553"/>
                  </a:lnTo>
                  <a:lnTo>
                    <a:pt x="514" y="552"/>
                  </a:lnTo>
                  <a:lnTo>
                    <a:pt x="513" y="552"/>
                  </a:lnTo>
                  <a:lnTo>
                    <a:pt x="513" y="553"/>
                  </a:lnTo>
                  <a:lnTo>
                    <a:pt x="514" y="554"/>
                  </a:lnTo>
                  <a:lnTo>
                    <a:pt x="514" y="556"/>
                  </a:lnTo>
                  <a:lnTo>
                    <a:pt x="513" y="557"/>
                  </a:lnTo>
                  <a:lnTo>
                    <a:pt x="511" y="557"/>
                  </a:lnTo>
                  <a:lnTo>
                    <a:pt x="511" y="554"/>
                  </a:lnTo>
                  <a:lnTo>
                    <a:pt x="511" y="553"/>
                  </a:lnTo>
                  <a:lnTo>
                    <a:pt x="511" y="552"/>
                  </a:lnTo>
                  <a:lnTo>
                    <a:pt x="510" y="552"/>
                  </a:lnTo>
                  <a:lnTo>
                    <a:pt x="509" y="552"/>
                  </a:lnTo>
                  <a:lnTo>
                    <a:pt x="508" y="551"/>
                  </a:lnTo>
                  <a:lnTo>
                    <a:pt x="508" y="554"/>
                  </a:lnTo>
                  <a:lnTo>
                    <a:pt x="508" y="556"/>
                  </a:lnTo>
                  <a:lnTo>
                    <a:pt x="508" y="557"/>
                  </a:lnTo>
                  <a:lnTo>
                    <a:pt x="507" y="557"/>
                  </a:lnTo>
                  <a:lnTo>
                    <a:pt x="507" y="556"/>
                  </a:lnTo>
                  <a:lnTo>
                    <a:pt x="507" y="554"/>
                  </a:lnTo>
                  <a:lnTo>
                    <a:pt x="505" y="553"/>
                  </a:lnTo>
                  <a:lnTo>
                    <a:pt x="505" y="554"/>
                  </a:lnTo>
                  <a:lnTo>
                    <a:pt x="505" y="556"/>
                  </a:lnTo>
                  <a:lnTo>
                    <a:pt x="504" y="556"/>
                  </a:lnTo>
                  <a:lnTo>
                    <a:pt x="504" y="557"/>
                  </a:lnTo>
                  <a:lnTo>
                    <a:pt x="503" y="557"/>
                  </a:lnTo>
                  <a:lnTo>
                    <a:pt x="504" y="558"/>
                  </a:lnTo>
                  <a:lnTo>
                    <a:pt x="504" y="559"/>
                  </a:lnTo>
                  <a:lnTo>
                    <a:pt x="505" y="561"/>
                  </a:lnTo>
                  <a:lnTo>
                    <a:pt x="505" y="562"/>
                  </a:lnTo>
                  <a:lnTo>
                    <a:pt x="505" y="563"/>
                  </a:lnTo>
                  <a:lnTo>
                    <a:pt x="505" y="564"/>
                  </a:lnTo>
                  <a:lnTo>
                    <a:pt x="504" y="565"/>
                  </a:lnTo>
                  <a:lnTo>
                    <a:pt x="503" y="565"/>
                  </a:lnTo>
                  <a:lnTo>
                    <a:pt x="503" y="564"/>
                  </a:lnTo>
                  <a:lnTo>
                    <a:pt x="503" y="562"/>
                  </a:lnTo>
                  <a:lnTo>
                    <a:pt x="503" y="561"/>
                  </a:lnTo>
                  <a:lnTo>
                    <a:pt x="502" y="559"/>
                  </a:lnTo>
                  <a:lnTo>
                    <a:pt x="502" y="558"/>
                  </a:lnTo>
                  <a:lnTo>
                    <a:pt x="499" y="558"/>
                  </a:lnTo>
                  <a:lnTo>
                    <a:pt x="498" y="558"/>
                  </a:lnTo>
                  <a:lnTo>
                    <a:pt x="499" y="561"/>
                  </a:lnTo>
                  <a:lnTo>
                    <a:pt x="499" y="562"/>
                  </a:lnTo>
                  <a:lnTo>
                    <a:pt x="499" y="563"/>
                  </a:lnTo>
                  <a:lnTo>
                    <a:pt x="498" y="564"/>
                  </a:lnTo>
                  <a:lnTo>
                    <a:pt x="497" y="565"/>
                  </a:lnTo>
                  <a:lnTo>
                    <a:pt x="497" y="564"/>
                  </a:lnTo>
                  <a:lnTo>
                    <a:pt x="497" y="563"/>
                  </a:lnTo>
                  <a:lnTo>
                    <a:pt x="497" y="562"/>
                  </a:lnTo>
                  <a:lnTo>
                    <a:pt x="497" y="561"/>
                  </a:lnTo>
                  <a:lnTo>
                    <a:pt x="496" y="562"/>
                  </a:lnTo>
                  <a:lnTo>
                    <a:pt x="495" y="562"/>
                  </a:lnTo>
                  <a:lnTo>
                    <a:pt x="495" y="561"/>
                  </a:lnTo>
                  <a:lnTo>
                    <a:pt x="496" y="559"/>
                  </a:lnTo>
                  <a:lnTo>
                    <a:pt x="495" y="559"/>
                  </a:lnTo>
                  <a:lnTo>
                    <a:pt x="495" y="558"/>
                  </a:lnTo>
                  <a:lnTo>
                    <a:pt x="493" y="558"/>
                  </a:lnTo>
                  <a:lnTo>
                    <a:pt x="493" y="557"/>
                  </a:lnTo>
                  <a:lnTo>
                    <a:pt x="493" y="556"/>
                  </a:lnTo>
                  <a:lnTo>
                    <a:pt x="492" y="553"/>
                  </a:lnTo>
                  <a:lnTo>
                    <a:pt x="492" y="552"/>
                  </a:lnTo>
                  <a:lnTo>
                    <a:pt x="491" y="553"/>
                  </a:lnTo>
                  <a:lnTo>
                    <a:pt x="492" y="554"/>
                  </a:lnTo>
                  <a:lnTo>
                    <a:pt x="493" y="558"/>
                  </a:lnTo>
                  <a:lnTo>
                    <a:pt x="493" y="559"/>
                  </a:lnTo>
                  <a:lnTo>
                    <a:pt x="493" y="561"/>
                  </a:lnTo>
                  <a:lnTo>
                    <a:pt x="492" y="559"/>
                  </a:lnTo>
                  <a:lnTo>
                    <a:pt x="492" y="558"/>
                  </a:lnTo>
                  <a:lnTo>
                    <a:pt x="491" y="558"/>
                  </a:lnTo>
                  <a:lnTo>
                    <a:pt x="492" y="559"/>
                  </a:lnTo>
                  <a:lnTo>
                    <a:pt x="492" y="561"/>
                  </a:lnTo>
                  <a:lnTo>
                    <a:pt x="492" y="562"/>
                  </a:lnTo>
                  <a:lnTo>
                    <a:pt x="492" y="563"/>
                  </a:lnTo>
                  <a:lnTo>
                    <a:pt x="492" y="564"/>
                  </a:lnTo>
                  <a:lnTo>
                    <a:pt x="493" y="565"/>
                  </a:lnTo>
                  <a:lnTo>
                    <a:pt x="492" y="567"/>
                  </a:lnTo>
                  <a:lnTo>
                    <a:pt x="492" y="568"/>
                  </a:lnTo>
                  <a:lnTo>
                    <a:pt x="491" y="567"/>
                  </a:lnTo>
                  <a:lnTo>
                    <a:pt x="491" y="565"/>
                  </a:lnTo>
                  <a:lnTo>
                    <a:pt x="490" y="565"/>
                  </a:lnTo>
                  <a:lnTo>
                    <a:pt x="489" y="567"/>
                  </a:lnTo>
                  <a:lnTo>
                    <a:pt x="489" y="568"/>
                  </a:lnTo>
                  <a:lnTo>
                    <a:pt x="489" y="569"/>
                  </a:lnTo>
                  <a:lnTo>
                    <a:pt x="487" y="569"/>
                  </a:lnTo>
                  <a:lnTo>
                    <a:pt x="487" y="568"/>
                  </a:lnTo>
                  <a:lnTo>
                    <a:pt x="486" y="567"/>
                  </a:lnTo>
                  <a:lnTo>
                    <a:pt x="486" y="565"/>
                  </a:lnTo>
                  <a:lnTo>
                    <a:pt x="486" y="564"/>
                  </a:lnTo>
                  <a:lnTo>
                    <a:pt x="485" y="564"/>
                  </a:lnTo>
                  <a:lnTo>
                    <a:pt x="484" y="564"/>
                  </a:lnTo>
                  <a:lnTo>
                    <a:pt x="484" y="567"/>
                  </a:lnTo>
                  <a:lnTo>
                    <a:pt x="484" y="570"/>
                  </a:lnTo>
                  <a:lnTo>
                    <a:pt x="483" y="569"/>
                  </a:lnTo>
                  <a:lnTo>
                    <a:pt x="483" y="568"/>
                  </a:lnTo>
                  <a:lnTo>
                    <a:pt x="483" y="567"/>
                  </a:lnTo>
                  <a:lnTo>
                    <a:pt x="483" y="565"/>
                  </a:lnTo>
                  <a:lnTo>
                    <a:pt x="483" y="564"/>
                  </a:lnTo>
                  <a:lnTo>
                    <a:pt x="483" y="563"/>
                  </a:lnTo>
                  <a:lnTo>
                    <a:pt x="481" y="564"/>
                  </a:lnTo>
                  <a:lnTo>
                    <a:pt x="480" y="564"/>
                  </a:lnTo>
                  <a:lnTo>
                    <a:pt x="480" y="563"/>
                  </a:lnTo>
                  <a:lnTo>
                    <a:pt x="480" y="562"/>
                  </a:lnTo>
                  <a:lnTo>
                    <a:pt x="480" y="561"/>
                  </a:lnTo>
                  <a:lnTo>
                    <a:pt x="479" y="559"/>
                  </a:lnTo>
                  <a:lnTo>
                    <a:pt x="479" y="562"/>
                  </a:lnTo>
                  <a:lnTo>
                    <a:pt x="478" y="562"/>
                  </a:lnTo>
                  <a:lnTo>
                    <a:pt x="478" y="563"/>
                  </a:lnTo>
                  <a:lnTo>
                    <a:pt x="479" y="564"/>
                  </a:lnTo>
                  <a:lnTo>
                    <a:pt x="479" y="565"/>
                  </a:lnTo>
                  <a:lnTo>
                    <a:pt x="478" y="565"/>
                  </a:lnTo>
                  <a:lnTo>
                    <a:pt x="478" y="564"/>
                  </a:lnTo>
                  <a:lnTo>
                    <a:pt x="477" y="564"/>
                  </a:lnTo>
                  <a:lnTo>
                    <a:pt x="478" y="565"/>
                  </a:lnTo>
                  <a:lnTo>
                    <a:pt x="477" y="567"/>
                  </a:lnTo>
                  <a:lnTo>
                    <a:pt x="477" y="564"/>
                  </a:lnTo>
                  <a:lnTo>
                    <a:pt x="475" y="563"/>
                  </a:lnTo>
                  <a:lnTo>
                    <a:pt x="475" y="562"/>
                  </a:lnTo>
                  <a:lnTo>
                    <a:pt x="475" y="561"/>
                  </a:lnTo>
                  <a:lnTo>
                    <a:pt x="475" y="559"/>
                  </a:lnTo>
                  <a:lnTo>
                    <a:pt x="474" y="558"/>
                  </a:lnTo>
                  <a:lnTo>
                    <a:pt x="475" y="559"/>
                  </a:lnTo>
                  <a:lnTo>
                    <a:pt x="475" y="561"/>
                  </a:lnTo>
                  <a:lnTo>
                    <a:pt x="474" y="561"/>
                  </a:lnTo>
                  <a:lnTo>
                    <a:pt x="474" y="563"/>
                  </a:lnTo>
                  <a:lnTo>
                    <a:pt x="474" y="564"/>
                  </a:lnTo>
                  <a:lnTo>
                    <a:pt x="474" y="565"/>
                  </a:lnTo>
                  <a:lnTo>
                    <a:pt x="473" y="565"/>
                  </a:lnTo>
                  <a:lnTo>
                    <a:pt x="473" y="564"/>
                  </a:lnTo>
                  <a:lnTo>
                    <a:pt x="473" y="563"/>
                  </a:lnTo>
                  <a:lnTo>
                    <a:pt x="473" y="562"/>
                  </a:lnTo>
                  <a:lnTo>
                    <a:pt x="473" y="561"/>
                  </a:lnTo>
                  <a:lnTo>
                    <a:pt x="472" y="559"/>
                  </a:lnTo>
                  <a:lnTo>
                    <a:pt x="472" y="558"/>
                  </a:lnTo>
                  <a:lnTo>
                    <a:pt x="472" y="557"/>
                  </a:lnTo>
                  <a:lnTo>
                    <a:pt x="472" y="556"/>
                  </a:lnTo>
                  <a:lnTo>
                    <a:pt x="471" y="554"/>
                  </a:lnTo>
                  <a:lnTo>
                    <a:pt x="469" y="553"/>
                  </a:lnTo>
                  <a:lnTo>
                    <a:pt x="469" y="552"/>
                  </a:lnTo>
                  <a:lnTo>
                    <a:pt x="468" y="552"/>
                  </a:lnTo>
                  <a:lnTo>
                    <a:pt x="469" y="553"/>
                  </a:lnTo>
                  <a:lnTo>
                    <a:pt x="469" y="554"/>
                  </a:lnTo>
                  <a:lnTo>
                    <a:pt x="471" y="556"/>
                  </a:lnTo>
                  <a:lnTo>
                    <a:pt x="471" y="557"/>
                  </a:lnTo>
                  <a:lnTo>
                    <a:pt x="469" y="557"/>
                  </a:lnTo>
                  <a:lnTo>
                    <a:pt x="471" y="558"/>
                  </a:lnTo>
                  <a:lnTo>
                    <a:pt x="469" y="558"/>
                  </a:lnTo>
                  <a:lnTo>
                    <a:pt x="471" y="559"/>
                  </a:lnTo>
                  <a:lnTo>
                    <a:pt x="472" y="561"/>
                  </a:lnTo>
                  <a:lnTo>
                    <a:pt x="473" y="561"/>
                  </a:lnTo>
                  <a:lnTo>
                    <a:pt x="473" y="562"/>
                  </a:lnTo>
                  <a:lnTo>
                    <a:pt x="473" y="563"/>
                  </a:lnTo>
                  <a:lnTo>
                    <a:pt x="472" y="563"/>
                  </a:lnTo>
                  <a:lnTo>
                    <a:pt x="471" y="563"/>
                  </a:lnTo>
                  <a:lnTo>
                    <a:pt x="472" y="562"/>
                  </a:lnTo>
                  <a:lnTo>
                    <a:pt x="471" y="561"/>
                  </a:lnTo>
                  <a:lnTo>
                    <a:pt x="469" y="561"/>
                  </a:lnTo>
                  <a:lnTo>
                    <a:pt x="468" y="561"/>
                  </a:lnTo>
                  <a:lnTo>
                    <a:pt x="468" y="562"/>
                  </a:lnTo>
                  <a:lnTo>
                    <a:pt x="469" y="562"/>
                  </a:lnTo>
                  <a:lnTo>
                    <a:pt x="469" y="563"/>
                  </a:lnTo>
                  <a:lnTo>
                    <a:pt x="469" y="564"/>
                  </a:lnTo>
                  <a:lnTo>
                    <a:pt x="468" y="563"/>
                  </a:lnTo>
                  <a:lnTo>
                    <a:pt x="468" y="564"/>
                  </a:lnTo>
                  <a:lnTo>
                    <a:pt x="469" y="567"/>
                  </a:lnTo>
                  <a:lnTo>
                    <a:pt x="468" y="567"/>
                  </a:lnTo>
                  <a:lnTo>
                    <a:pt x="467" y="567"/>
                  </a:lnTo>
                  <a:lnTo>
                    <a:pt x="467" y="569"/>
                  </a:lnTo>
                  <a:lnTo>
                    <a:pt x="468" y="570"/>
                  </a:lnTo>
                  <a:lnTo>
                    <a:pt x="468" y="573"/>
                  </a:lnTo>
                  <a:lnTo>
                    <a:pt x="468" y="575"/>
                  </a:lnTo>
                  <a:lnTo>
                    <a:pt x="467" y="574"/>
                  </a:lnTo>
                  <a:lnTo>
                    <a:pt x="467" y="573"/>
                  </a:lnTo>
                  <a:lnTo>
                    <a:pt x="467" y="570"/>
                  </a:lnTo>
                  <a:lnTo>
                    <a:pt x="466" y="569"/>
                  </a:lnTo>
                  <a:lnTo>
                    <a:pt x="465" y="570"/>
                  </a:lnTo>
                  <a:lnTo>
                    <a:pt x="463" y="570"/>
                  </a:lnTo>
                  <a:lnTo>
                    <a:pt x="465" y="571"/>
                  </a:lnTo>
                  <a:lnTo>
                    <a:pt x="466" y="573"/>
                  </a:lnTo>
                  <a:lnTo>
                    <a:pt x="465" y="573"/>
                  </a:lnTo>
                  <a:lnTo>
                    <a:pt x="463" y="573"/>
                  </a:lnTo>
                  <a:lnTo>
                    <a:pt x="463" y="574"/>
                  </a:lnTo>
                  <a:lnTo>
                    <a:pt x="463" y="576"/>
                  </a:lnTo>
                  <a:lnTo>
                    <a:pt x="462" y="575"/>
                  </a:lnTo>
                  <a:lnTo>
                    <a:pt x="463" y="573"/>
                  </a:lnTo>
                  <a:lnTo>
                    <a:pt x="462" y="571"/>
                  </a:lnTo>
                  <a:lnTo>
                    <a:pt x="461" y="570"/>
                  </a:lnTo>
                  <a:lnTo>
                    <a:pt x="461" y="569"/>
                  </a:lnTo>
                  <a:lnTo>
                    <a:pt x="461" y="567"/>
                  </a:lnTo>
                  <a:lnTo>
                    <a:pt x="460" y="564"/>
                  </a:lnTo>
                  <a:lnTo>
                    <a:pt x="460" y="563"/>
                  </a:lnTo>
                  <a:lnTo>
                    <a:pt x="460" y="561"/>
                  </a:lnTo>
                  <a:lnTo>
                    <a:pt x="459" y="561"/>
                  </a:lnTo>
                  <a:lnTo>
                    <a:pt x="457" y="562"/>
                  </a:lnTo>
                  <a:lnTo>
                    <a:pt x="456" y="563"/>
                  </a:lnTo>
                  <a:lnTo>
                    <a:pt x="456" y="567"/>
                  </a:lnTo>
                  <a:lnTo>
                    <a:pt x="456" y="569"/>
                  </a:lnTo>
                  <a:lnTo>
                    <a:pt x="456" y="570"/>
                  </a:lnTo>
                  <a:lnTo>
                    <a:pt x="457" y="573"/>
                  </a:lnTo>
                  <a:lnTo>
                    <a:pt x="459" y="574"/>
                  </a:lnTo>
                  <a:lnTo>
                    <a:pt x="459" y="575"/>
                  </a:lnTo>
                  <a:lnTo>
                    <a:pt x="457" y="574"/>
                  </a:lnTo>
                  <a:lnTo>
                    <a:pt x="456" y="573"/>
                  </a:lnTo>
                  <a:lnTo>
                    <a:pt x="456" y="570"/>
                  </a:lnTo>
                  <a:lnTo>
                    <a:pt x="455" y="568"/>
                  </a:lnTo>
                  <a:lnTo>
                    <a:pt x="455" y="567"/>
                  </a:lnTo>
                  <a:lnTo>
                    <a:pt x="454" y="565"/>
                  </a:lnTo>
                  <a:lnTo>
                    <a:pt x="454" y="568"/>
                  </a:lnTo>
                  <a:lnTo>
                    <a:pt x="452" y="568"/>
                  </a:lnTo>
                  <a:lnTo>
                    <a:pt x="451" y="568"/>
                  </a:lnTo>
                  <a:lnTo>
                    <a:pt x="451" y="569"/>
                  </a:lnTo>
                  <a:lnTo>
                    <a:pt x="452" y="571"/>
                  </a:lnTo>
                  <a:lnTo>
                    <a:pt x="454" y="575"/>
                  </a:lnTo>
                  <a:lnTo>
                    <a:pt x="454" y="576"/>
                  </a:lnTo>
                  <a:lnTo>
                    <a:pt x="452" y="579"/>
                  </a:lnTo>
                  <a:lnTo>
                    <a:pt x="451" y="577"/>
                  </a:lnTo>
                  <a:lnTo>
                    <a:pt x="451" y="576"/>
                  </a:lnTo>
                  <a:lnTo>
                    <a:pt x="451" y="575"/>
                  </a:lnTo>
                  <a:lnTo>
                    <a:pt x="451" y="577"/>
                  </a:lnTo>
                  <a:lnTo>
                    <a:pt x="450" y="577"/>
                  </a:lnTo>
                  <a:lnTo>
                    <a:pt x="449" y="576"/>
                  </a:lnTo>
                  <a:lnTo>
                    <a:pt x="449" y="574"/>
                  </a:lnTo>
                  <a:lnTo>
                    <a:pt x="449" y="573"/>
                  </a:lnTo>
                  <a:lnTo>
                    <a:pt x="450" y="568"/>
                  </a:lnTo>
                  <a:lnTo>
                    <a:pt x="450" y="567"/>
                  </a:lnTo>
                  <a:lnTo>
                    <a:pt x="449" y="565"/>
                  </a:lnTo>
                  <a:lnTo>
                    <a:pt x="450" y="563"/>
                  </a:lnTo>
                  <a:lnTo>
                    <a:pt x="450" y="561"/>
                  </a:lnTo>
                  <a:lnTo>
                    <a:pt x="449" y="558"/>
                  </a:lnTo>
                  <a:lnTo>
                    <a:pt x="448" y="557"/>
                  </a:lnTo>
                  <a:lnTo>
                    <a:pt x="446" y="554"/>
                  </a:lnTo>
                  <a:lnTo>
                    <a:pt x="446" y="557"/>
                  </a:lnTo>
                  <a:lnTo>
                    <a:pt x="445" y="559"/>
                  </a:lnTo>
                  <a:lnTo>
                    <a:pt x="444" y="558"/>
                  </a:lnTo>
                  <a:lnTo>
                    <a:pt x="443" y="558"/>
                  </a:lnTo>
                  <a:lnTo>
                    <a:pt x="443" y="561"/>
                  </a:lnTo>
                  <a:lnTo>
                    <a:pt x="442" y="563"/>
                  </a:lnTo>
                  <a:lnTo>
                    <a:pt x="440" y="562"/>
                  </a:lnTo>
                  <a:lnTo>
                    <a:pt x="440" y="559"/>
                  </a:lnTo>
                  <a:lnTo>
                    <a:pt x="440" y="554"/>
                  </a:lnTo>
                  <a:lnTo>
                    <a:pt x="440" y="551"/>
                  </a:lnTo>
                  <a:lnTo>
                    <a:pt x="439" y="550"/>
                  </a:lnTo>
                  <a:lnTo>
                    <a:pt x="439" y="556"/>
                  </a:lnTo>
                  <a:lnTo>
                    <a:pt x="438" y="556"/>
                  </a:lnTo>
                  <a:lnTo>
                    <a:pt x="437" y="553"/>
                  </a:lnTo>
                  <a:lnTo>
                    <a:pt x="436" y="553"/>
                  </a:lnTo>
                  <a:lnTo>
                    <a:pt x="437" y="551"/>
                  </a:lnTo>
                  <a:lnTo>
                    <a:pt x="436" y="548"/>
                  </a:lnTo>
                  <a:lnTo>
                    <a:pt x="436" y="547"/>
                  </a:lnTo>
                  <a:lnTo>
                    <a:pt x="434" y="551"/>
                  </a:lnTo>
                  <a:lnTo>
                    <a:pt x="434" y="553"/>
                  </a:lnTo>
                  <a:lnTo>
                    <a:pt x="433" y="550"/>
                  </a:lnTo>
                  <a:lnTo>
                    <a:pt x="432" y="547"/>
                  </a:lnTo>
                  <a:lnTo>
                    <a:pt x="432" y="545"/>
                  </a:lnTo>
                  <a:lnTo>
                    <a:pt x="432" y="544"/>
                  </a:lnTo>
                  <a:lnTo>
                    <a:pt x="431" y="541"/>
                  </a:lnTo>
                  <a:lnTo>
                    <a:pt x="428" y="541"/>
                  </a:lnTo>
                  <a:lnTo>
                    <a:pt x="427" y="542"/>
                  </a:lnTo>
                  <a:lnTo>
                    <a:pt x="427" y="544"/>
                  </a:lnTo>
                  <a:lnTo>
                    <a:pt x="428" y="544"/>
                  </a:lnTo>
                  <a:lnTo>
                    <a:pt x="430" y="545"/>
                  </a:lnTo>
                  <a:lnTo>
                    <a:pt x="431" y="546"/>
                  </a:lnTo>
                  <a:lnTo>
                    <a:pt x="432" y="547"/>
                  </a:lnTo>
                  <a:lnTo>
                    <a:pt x="432" y="548"/>
                  </a:lnTo>
                  <a:lnTo>
                    <a:pt x="432" y="550"/>
                  </a:lnTo>
                  <a:lnTo>
                    <a:pt x="432" y="552"/>
                  </a:lnTo>
                  <a:lnTo>
                    <a:pt x="432" y="553"/>
                  </a:lnTo>
                  <a:lnTo>
                    <a:pt x="428" y="554"/>
                  </a:lnTo>
                  <a:lnTo>
                    <a:pt x="428" y="553"/>
                  </a:lnTo>
                  <a:lnTo>
                    <a:pt x="428" y="554"/>
                  </a:lnTo>
                  <a:lnTo>
                    <a:pt x="428" y="557"/>
                  </a:lnTo>
                  <a:lnTo>
                    <a:pt x="428" y="558"/>
                  </a:lnTo>
                  <a:lnTo>
                    <a:pt x="431" y="558"/>
                  </a:lnTo>
                  <a:lnTo>
                    <a:pt x="432" y="558"/>
                  </a:lnTo>
                  <a:lnTo>
                    <a:pt x="433" y="557"/>
                  </a:lnTo>
                  <a:lnTo>
                    <a:pt x="434" y="557"/>
                  </a:lnTo>
                  <a:lnTo>
                    <a:pt x="434" y="559"/>
                  </a:lnTo>
                  <a:lnTo>
                    <a:pt x="436" y="559"/>
                  </a:lnTo>
                  <a:lnTo>
                    <a:pt x="438" y="561"/>
                  </a:lnTo>
                  <a:lnTo>
                    <a:pt x="439" y="562"/>
                  </a:lnTo>
                  <a:lnTo>
                    <a:pt x="437" y="562"/>
                  </a:lnTo>
                  <a:lnTo>
                    <a:pt x="436" y="562"/>
                  </a:lnTo>
                  <a:lnTo>
                    <a:pt x="434" y="563"/>
                  </a:lnTo>
                  <a:lnTo>
                    <a:pt x="433" y="563"/>
                  </a:lnTo>
                  <a:lnTo>
                    <a:pt x="433" y="567"/>
                  </a:lnTo>
                  <a:lnTo>
                    <a:pt x="434" y="569"/>
                  </a:lnTo>
                  <a:lnTo>
                    <a:pt x="434" y="571"/>
                  </a:lnTo>
                  <a:lnTo>
                    <a:pt x="436" y="573"/>
                  </a:lnTo>
                  <a:lnTo>
                    <a:pt x="436" y="575"/>
                  </a:lnTo>
                  <a:lnTo>
                    <a:pt x="439" y="576"/>
                  </a:lnTo>
                  <a:lnTo>
                    <a:pt x="440" y="577"/>
                  </a:lnTo>
                  <a:lnTo>
                    <a:pt x="443" y="577"/>
                  </a:lnTo>
                  <a:lnTo>
                    <a:pt x="445" y="577"/>
                  </a:lnTo>
                  <a:lnTo>
                    <a:pt x="446" y="579"/>
                  </a:lnTo>
                  <a:lnTo>
                    <a:pt x="449" y="579"/>
                  </a:lnTo>
                  <a:lnTo>
                    <a:pt x="454" y="580"/>
                  </a:lnTo>
                  <a:lnTo>
                    <a:pt x="459" y="580"/>
                  </a:lnTo>
                  <a:lnTo>
                    <a:pt x="461" y="581"/>
                  </a:lnTo>
                  <a:lnTo>
                    <a:pt x="465" y="582"/>
                  </a:lnTo>
                  <a:lnTo>
                    <a:pt x="471" y="583"/>
                  </a:lnTo>
                  <a:lnTo>
                    <a:pt x="474" y="583"/>
                  </a:lnTo>
                  <a:lnTo>
                    <a:pt x="474" y="585"/>
                  </a:lnTo>
                  <a:lnTo>
                    <a:pt x="472" y="585"/>
                  </a:lnTo>
                  <a:lnTo>
                    <a:pt x="468" y="585"/>
                  </a:lnTo>
                  <a:lnTo>
                    <a:pt x="469" y="585"/>
                  </a:lnTo>
                  <a:lnTo>
                    <a:pt x="469" y="586"/>
                  </a:lnTo>
                  <a:lnTo>
                    <a:pt x="469" y="587"/>
                  </a:lnTo>
                  <a:lnTo>
                    <a:pt x="468" y="586"/>
                  </a:lnTo>
                  <a:lnTo>
                    <a:pt x="467" y="585"/>
                  </a:lnTo>
                  <a:lnTo>
                    <a:pt x="466" y="583"/>
                  </a:lnTo>
                  <a:lnTo>
                    <a:pt x="465" y="583"/>
                  </a:lnTo>
                  <a:lnTo>
                    <a:pt x="466" y="586"/>
                  </a:lnTo>
                  <a:lnTo>
                    <a:pt x="467" y="587"/>
                  </a:lnTo>
                  <a:lnTo>
                    <a:pt x="466" y="587"/>
                  </a:lnTo>
                  <a:lnTo>
                    <a:pt x="463" y="587"/>
                  </a:lnTo>
                  <a:lnTo>
                    <a:pt x="462" y="586"/>
                  </a:lnTo>
                  <a:lnTo>
                    <a:pt x="461" y="586"/>
                  </a:lnTo>
                  <a:lnTo>
                    <a:pt x="462" y="587"/>
                  </a:lnTo>
                  <a:lnTo>
                    <a:pt x="461" y="587"/>
                  </a:lnTo>
                  <a:lnTo>
                    <a:pt x="459" y="587"/>
                  </a:lnTo>
                  <a:lnTo>
                    <a:pt x="457" y="587"/>
                  </a:lnTo>
                  <a:lnTo>
                    <a:pt x="456" y="587"/>
                  </a:lnTo>
                  <a:lnTo>
                    <a:pt x="456" y="588"/>
                  </a:lnTo>
                  <a:lnTo>
                    <a:pt x="459" y="588"/>
                  </a:lnTo>
                  <a:lnTo>
                    <a:pt x="461" y="588"/>
                  </a:lnTo>
                  <a:lnTo>
                    <a:pt x="465" y="588"/>
                  </a:lnTo>
                  <a:lnTo>
                    <a:pt x="466" y="589"/>
                  </a:lnTo>
                  <a:lnTo>
                    <a:pt x="469" y="589"/>
                  </a:lnTo>
                  <a:lnTo>
                    <a:pt x="471" y="591"/>
                  </a:lnTo>
                  <a:lnTo>
                    <a:pt x="473" y="591"/>
                  </a:lnTo>
                  <a:lnTo>
                    <a:pt x="475" y="589"/>
                  </a:lnTo>
                  <a:lnTo>
                    <a:pt x="478" y="589"/>
                  </a:lnTo>
                  <a:lnTo>
                    <a:pt x="477" y="591"/>
                  </a:lnTo>
                  <a:lnTo>
                    <a:pt x="478" y="591"/>
                  </a:lnTo>
                  <a:lnTo>
                    <a:pt x="478" y="592"/>
                  </a:lnTo>
                  <a:lnTo>
                    <a:pt x="475" y="592"/>
                  </a:lnTo>
                  <a:lnTo>
                    <a:pt x="478" y="593"/>
                  </a:lnTo>
                  <a:lnTo>
                    <a:pt x="479" y="594"/>
                  </a:lnTo>
                  <a:lnTo>
                    <a:pt x="481" y="593"/>
                  </a:lnTo>
                  <a:lnTo>
                    <a:pt x="484" y="593"/>
                  </a:lnTo>
                  <a:lnTo>
                    <a:pt x="487" y="592"/>
                  </a:lnTo>
                  <a:lnTo>
                    <a:pt x="490" y="591"/>
                  </a:lnTo>
                  <a:lnTo>
                    <a:pt x="493" y="592"/>
                  </a:lnTo>
                  <a:lnTo>
                    <a:pt x="492" y="592"/>
                  </a:lnTo>
                  <a:lnTo>
                    <a:pt x="493" y="592"/>
                  </a:lnTo>
                  <a:lnTo>
                    <a:pt x="496" y="591"/>
                  </a:lnTo>
                  <a:lnTo>
                    <a:pt x="499" y="589"/>
                  </a:lnTo>
                  <a:lnTo>
                    <a:pt x="502" y="588"/>
                  </a:lnTo>
                  <a:lnTo>
                    <a:pt x="503" y="588"/>
                  </a:lnTo>
                  <a:lnTo>
                    <a:pt x="504" y="587"/>
                  </a:lnTo>
                  <a:lnTo>
                    <a:pt x="504" y="588"/>
                  </a:lnTo>
                  <a:lnTo>
                    <a:pt x="503" y="589"/>
                  </a:lnTo>
                  <a:lnTo>
                    <a:pt x="505" y="588"/>
                  </a:lnTo>
                  <a:lnTo>
                    <a:pt x="507" y="588"/>
                  </a:lnTo>
                  <a:lnTo>
                    <a:pt x="507" y="587"/>
                  </a:lnTo>
                  <a:lnTo>
                    <a:pt x="509" y="587"/>
                  </a:lnTo>
                  <a:lnTo>
                    <a:pt x="510" y="587"/>
                  </a:lnTo>
                  <a:lnTo>
                    <a:pt x="511" y="587"/>
                  </a:lnTo>
                  <a:lnTo>
                    <a:pt x="513" y="586"/>
                  </a:lnTo>
                  <a:lnTo>
                    <a:pt x="515" y="586"/>
                  </a:lnTo>
                  <a:lnTo>
                    <a:pt x="516" y="586"/>
                  </a:lnTo>
                  <a:lnTo>
                    <a:pt x="518" y="585"/>
                  </a:lnTo>
                  <a:lnTo>
                    <a:pt x="516" y="583"/>
                  </a:lnTo>
                  <a:lnTo>
                    <a:pt x="519" y="583"/>
                  </a:lnTo>
                  <a:lnTo>
                    <a:pt x="519" y="585"/>
                  </a:lnTo>
                  <a:lnTo>
                    <a:pt x="520" y="585"/>
                  </a:lnTo>
                  <a:lnTo>
                    <a:pt x="521" y="585"/>
                  </a:lnTo>
                  <a:lnTo>
                    <a:pt x="521" y="582"/>
                  </a:lnTo>
                  <a:lnTo>
                    <a:pt x="522" y="581"/>
                  </a:lnTo>
                  <a:lnTo>
                    <a:pt x="524" y="582"/>
                  </a:lnTo>
                  <a:lnTo>
                    <a:pt x="524" y="583"/>
                  </a:lnTo>
                  <a:lnTo>
                    <a:pt x="525" y="583"/>
                  </a:lnTo>
                  <a:lnTo>
                    <a:pt x="526" y="583"/>
                  </a:lnTo>
                  <a:lnTo>
                    <a:pt x="527" y="583"/>
                  </a:lnTo>
                  <a:lnTo>
                    <a:pt x="528" y="582"/>
                  </a:lnTo>
                  <a:lnTo>
                    <a:pt x="530" y="583"/>
                  </a:lnTo>
                  <a:lnTo>
                    <a:pt x="531" y="582"/>
                  </a:lnTo>
                  <a:lnTo>
                    <a:pt x="532" y="582"/>
                  </a:lnTo>
                  <a:lnTo>
                    <a:pt x="533" y="581"/>
                  </a:lnTo>
                  <a:lnTo>
                    <a:pt x="534" y="581"/>
                  </a:lnTo>
                  <a:lnTo>
                    <a:pt x="539" y="579"/>
                  </a:lnTo>
                  <a:lnTo>
                    <a:pt x="538" y="581"/>
                  </a:lnTo>
                  <a:lnTo>
                    <a:pt x="538" y="582"/>
                  </a:lnTo>
                  <a:lnTo>
                    <a:pt x="539" y="581"/>
                  </a:lnTo>
                  <a:lnTo>
                    <a:pt x="542" y="580"/>
                  </a:lnTo>
                  <a:lnTo>
                    <a:pt x="540" y="582"/>
                  </a:lnTo>
                  <a:lnTo>
                    <a:pt x="539" y="582"/>
                  </a:lnTo>
                  <a:lnTo>
                    <a:pt x="542" y="582"/>
                  </a:lnTo>
                  <a:lnTo>
                    <a:pt x="543" y="583"/>
                  </a:lnTo>
                  <a:lnTo>
                    <a:pt x="540" y="583"/>
                  </a:lnTo>
                  <a:lnTo>
                    <a:pt x="539" y="583"/>
                  </a:lnTo>
                  <a:lnTo>
                    <a:pt x="537" y="583"/>
                  </a:lnTo>
                  <a:lnTo>
                    <a:pt x="537" y="586"/>
                  </a:lnTo>
                  <a:lnTo>
                    <a:pt x="537" y="587"/>
                  </a:lnTo>
                  <a:lnTo>
                    <a:pt x="536" y="586"/>
                  </a:lnTo>
                  <a:lnTo>
                    <a:pt x="534" y="585"/>
                  </a:lnTo>
                  <a:lnTo>
                    <a:pt x="533" y="583"/>
                  </a:lnTo>
                  <a:lnTo>
                    <a:pt x="532" y="583"/>
                  </a:lnTo>
                  <a:lnTo>
                    <a:pt x="532" y="586"/>
                  </a:lnTo>
                  <a:lnTo>
                    <a:pt x="532" y="585"/>
                  </a:lnTo>
                  <a:lnTo>
                    <a:pt x="531" y="585"/>
                  </a:lnTo>
                  <a:lnTo>
                    <a:pt x="530" y="585"/>
                  </a:lnTo>
                  <a:lnTo>
                    <a:pt x="530" y="586"/>
                  </a:lnTo>
                  <a:lnTo>
                    <a:pt x="531" y="587"/>
                  </a:lnTo>
                  <a:lnTo>
                    <a:pt x="532" y="588"/>
                  </a:lnTo>
                  <a:lnTo>
                    <a:pt x="532" y="591"/>
                  </a:lnTo>
                  <a:lnTo>
                    <a:pt x="532" y="593"/>
                  </a:lnTo>
                  <a:lnTo>
                    <a:pt x="530" y="597"/>
                  </a:lnTo>
                  <a:lnTo>
                    <a:pt x="528" y="597"/>
                  </a:lnTo>
                  <a:lnTo>
                    <a:pt x="528" y="595"/>
                  </a:lnTo>
                  <a:lnTo>
                    <a:pt x="528" y="593"/>
                  </a:lnTo>
                  <a:lnTo>
                    <a:pt x="528" y="592"/>
                  </a:lnTo>
                  <a:lnTo>
                    <a:pt x="528" y="593"/>
                  </a:lnTo>
                  <a:lnTo>
                    <a:pt x="527" y="594"/>
                  </a:lnTo>
                  <a:lnTo>
                    <a:pt x="527" y="597"/>
                  </a:lnTo>
                  <a:lnTo>
                    <a:pt x="528" y="598"/>
                  </a:lnTo>
                  <a:lnTo>
                    <a:pt x="527" y="598"/>
                  </a:lnTo>
                  <a:lnTo>
                    <a:pt x="525" y="599"/>
                  </a:lnTo>
                  <a:lnTo>
                    <a:pt x="525" y="601"/>
                  </a:lnTo>
                  <a:lnTo>
                    <a:pt x="522" y="603"/>
                  </a:lnTo>
                  <a:lnTo>
                    <a:pt x="524" y="604"/>
                  </a:lnTo>
                  <a:lnTo>
                    <a:pt x="525" y="601"/>
                  </a:lnTo>
                  <a:lnTo>
                    <a:pt x="527" y="601"/>
                  </a:lnTo>
                  <a:lnTo>
                    <a:pt x="530" y="601"/>
                  </a:lnTo>
                  <a:lnTo>
                    <a:pt x="531" y="603"/>
                  </a:lnTo>
                  <a:lnTo>
                    <a:pt x="532" y="603"/>
                  </a:lnTo>
                  <a:lnTo>
                    <a:pt x="533" y="601"/>
                  </a:lnTo>
                  <a:lnTo>
                    <a:pt x="537" y="603"/>
                  </a:lnTo>
                  <a:lnTo>
                    <a:pt x="538" y="604"/>
                  </a:lnTo>
                  <a:lnTo>
                    <a:pt x="537" y="604"/>
                  </a:lnTo>
                  <a:lnTo>
                    <a:pt x="534" y="604"/>
                  </a:lnTo>
                  <a:lnTo>
                    <a:pt x="533" y="604"/>
                  </a:lnTo>
                  <a:lnTo>
                    <a:pt x="532" y="604"/>
                  </a:lnTo>
                  <a:lnTo>
                    <a:pt x="531" y="604"/>
                  </a:lnTo>
                  <a:lnTo>
                    <a:pt x="530" y="603"/>
                  </a:lnTo>
                  <a:lnTo>
                    <a:pt x="528" y="603"/>
                  </a:lnTo>
                  <a:lnTo>
                    <a:pt x="528" y="604"/>
                  </a:lnTo>
                  <a:lnTo>
                    <a:pt x="531" y="605"/>
                  </a:lnTo>
                  <a:lnTo>
                    <a:pt x="532" y="606"/>
                  </a:lnTo>
                  <a:lnTo>
                    <a:pt x="531" y="606"/>
                  </a:lnTo>
                  <a:lnTo>
                    <a:pt x="530" y="606"/>
                  </a:lnTo>
                  <a:lnTo>
                    <a:pt x="528" y="606"/>
                  </a:lnTo>
                  <a:lnTo>
                    <a:pt x="528" y="605"/>
                  </a:lnTo>
                  <a:lnTo>
                    <a:pt x="527" y="605"/>
                  </a:lnTo>
                  <a:lnTo>
                    <a:pt x="526" y="604"/>
                  </a:lnTo>
                  <a:lnTo>
                    <a:pt x="526" y="605"/>
                  </a:lnTo>
                  <a:lnTo>
                    <a:pt x="526" y="606"/>
                  </a:lnTo>
                  <a:lnTo>
                    <a:pt x="527" y="606"/>
                  </a:lnTo>
                  <a:lnTo>
                    <a:pt x="526" y="607"/>
                  </a:lnTo>
                  <a:lnTo>
                    <a:pt x="527" y="609"/>
                  </a:lnTo>
                  <a:lnTo>
                    <a:pt x="528" y="607"/>
                  </a:lnTo>
                  <a:lnTo>
                    <a:pt x="530" y="607"/>
                  </a:lnTo>
                  <a:lnTo>
                    <a:pt x="532" y="607"/>
                  </a:lnTo>
                  <a:lnTo>
                    <a:pt x="534" y="606"/>
                  </a:lnTo>
                  <a:lnTo>
                    <a:pt x="536" y="606"/>
                  </a:lnTo>
                  <a:lnTo>
                    <a:pt x="539" y="606"/>
                  </a:lnTo>
                  <a:lnTo>
                    <a:pt x="540" y="606"/>
                  </a:lnTo>
                  <a:lnTo>
                    <a:pt x="540" y="607"/>
                  </a:lnTo>
                  <a:lnTo>
                    <a:pt x="539" y="607"/>
                  </a:lnTo>
                  <a:lnTo>
                    <a:pt x="539" y="609"/>
                  </a:lnTo>
                  <a:lnTo>
                    <a:pt x="542" y="607"/>
                  </a:lnTo>
                  <a:lnTo>
                    <a:pt x="543" y="609"/>
                  </a:lnTo>
                  <a:lnTo>
                    <a:pt x="540" y="610"/>
                  </a:lnTo>
                  <a:lnTo>
                    <a:pt x="539" y="609"/>
                  </a:lnTo>
                  <a:lnTo>
                    <a:pt x="538" y="609"/>
                  </a:lnTo>
                  <a:lnTo>
                    <a:pt x="537" y="610"/>
                  </a:lnTo>
                  <a:lnTo>
                    <a:pt x="538" y="611"/>
                  </a:lnTo>
                  <a:lnTo>
                    <a:pt x="539" y="611"/>
                  </a:lnTo>
                  <a:lnTo>
                    <a:pt x="543" y="611"/>
                  </a:lnTo>
                  <a:lnTo>
                    <a:pt x="545" y="610"/>
                  </a:lnTo>
                  <a:lnTo>
                    <a:pt x="549" y="607"/>
                  </a:lnTo>
                  <a:lnTo>
                    <a:pt x="551" y="606"/>
                  </a:lnTo>
                  <a:lnTo>
                    <a:pt x="551" y="607"/>
                  </a:lnTo>
                  <a:lnTo>
                    <a:pt x="550" y="609"/>
                  </a:lnTo>
                  <a:lnTo>
                    <a:pt x="551" y="609"/>
                  </a:lnTo>
                  <a:lnTo>
                    <a:pt x="554" y="609"/>
                  </a:lnTo>
                  <a:lnTo>
                    <a:pt x="555" y="607"/>
                  </a:lnTo>
                  <a:lnTo>
                    <a:pt x="556" y="607"/>
                  </a:lnTo>
                  <a:lnTo>
                    <a:pt x="558" y="605"/>
                  </a:lnTo>
                  <a:lnTo>
                    <a:pt x="560" y="606"/>
                  </a:lnTo>
                  <a:lnTo>
                    <a:pt x="561" y="606"/>
                  </a:lnTo>
                  <a:lnTo>
                    <a:pt x="562" y="605"/>
                  </a:lnTo>
                  <a:lnTo>
                    <a:pt x="564" y="605"/>
                  </a:lnTo>
                  <a:lnTo>
                    <a:pt x="566" y="605"/>
                  </a:lnTo>
                  <a:lnTo>
                    <a:pt x="563" y="606"/>
                  </a:lnTo>
                  <a:lnTo>
                    <a:pt x="562" y="607"/>
                  </a:lnTo>
                  <a:lnTo>
                    <a:pt x="562" y="609"/>
                  </a:lnTo>
                  <a:lnTo>
                    <a:pt x="563" y="610"/>
                  </a:lnTo>
                  <a:lnTo>
                    <a:pt x="564" y="610"/>
                  </a:lnTo>
                  <a:lnTo>
                    <a:pt x="563" y="611"/>
                  </a:lnTo>
                  <a:lnTo>
                    <a:pt x="562" y="610"/>
                  </a:lnTo>
                  <a:lnTo>
                    <a:pt x="561" y="609"/>
                  </a:lnTo>
                  <a:lnTo>
                    <a:pt x="560" y="609"/>
                  </a:lnTo>
                  <a:lnTo>
                    <a:pt x="557" y="609"/>
                  </a:lnTo>
                  <a:lnTo>
                    <a:pt x="558" y="611"/>
                  </a:lnTo>
                  <a:lnTo>
                    <a:pt x="560" y="612"/>
                  </a:lnTo>
                  <a:lnTo>
                    <a:pt x="558" y="612"/>
                  </a:lnTo>
                  <a:lnTo>
                    <a:pt x="557" y="611"/>
                  </a:lnTo>
                  <a:lnTo>
                    <a:pt x="556" y="610"/>
                  </a:lnTo>
                  <a:lnTo>
                    <a:pt x="556" y="609"/>
                  </a:lnTo>
                  <a:lnTo>
                    <a:pt x="554" y="610"/>
                  </a:lnTo>
                  <a:lnTo>
                    <a:pt x="555" y="612"/>
                  </a:lnTo>
                  <a:lnTo>
                    <a:pt x="556" y="615"/>
                  </a:lnTo>
                  <a:lnTo>
                    <a:pt x="555" y="616"/>
                  </a:lnTo>
                  <a:lnTo>
                    <a:pt x="555" y="617"/>
                  </a:lnTo>
                  <a:lnTo>
                    <a:pt x="556" y="617"/>
                  </a:lnTo>
                  <a:lnTo>
                    <a:pt x="558" y="617"/>
                  </a:lnTo>
                  <a:lnTo>
                    <a:pt x="560" y="617"/>
                  </a:lnTo>
                  <a:lnTo>
                    <a:pt x="562" y="615"/>
                  </a:lnTo>
                  <a:lnTo>
                    <a:pt x="563" y="615"/>
                  </a:lnTo>
                  <a:lnTo>
                    <a:pt x="563" y="616"/>
                  </a:lnTo>
                  <a:lnTo>
                    <a:pt x="566" y="616"/>
                  </a:lnTo>
                  <a:lnTo>
                    <a:pt x="567" y="615"/>
                  </a:lnTo>
                  <a:lnTo>
                    <a:pt x="569" y="616"/>
                  </a:lnTo>
                  <a:lnTo>
                    <a:pt x="566" y="617"/>
                  </a:lnTo>
                  <a:lnTo>
                    <a:pt x="563" y="617"/>
                  </a:lnTo>
                  <a:lnTo>
                    <a:pt x="564" y="618"/>
                  </a:lnTo>
                  <a:lnTo>
                    <a:pt x="564" y="619"/>
                  </a:lnTo>
                  <a:lnTo>
                    <a:pt x="563" y="619"/>
                  </a:lnTo>
                  <a:lnTo>
                    <a:pt x="562" y="619"/>
                  </a:lnTo>
                  <a:lnTo>
                    <a:pt x="561" y="618"/>
                  </a:lnTo>
                  <a:lnTo>
                    <a:pt x="560" y="618"/>
                  </a:lnTo>
                  <a:lnTo>
                    <a:pt x="560" y="619"/>
                  </a:lnTo>
                  <a:lnTo>
                    <a:pt x="560" y="621"/>
                  </a:lnTo>
                  <a:lnTo>
                    <a:pt x="558" y="621"/>
                  </a:lnTo>
                  <a:lnTo>
                    <a:pt x="557" y="619"/>
                  </a:lnTo>
                  <a:lnTo>
                    <a:pt x="556" y="619"/>
                  </a:lnTo>
                  <a:lnTo>
                    <a:pt x="557" y="619"/>
                  </a:lnTo>
                  <a:lnTo>
                    <a:pt x="557" y="622"/>
                  </a:lnTo>
                  <a:lnTo>
                    <a:pt x="557" y="621"/>
                  </a:lnTo>
                  <a:lnTo>
                    <a:pt x="556" y="621"/>
                  </a:lnTo>
                  <a:lnTo>
                    <a:pt x="555" y="619"/>
                  </a:lnTo>
                  <a:lnTo>
                    <a:pt x="554" y="619"/>
                  </a:lnTo>
                  <a:lnTo>
                    <a:pt x="552" y="619"/>
                  </a:lnTo>
                  <a:lnTo>
                    <a:pt x="555" y="623"/>
                  </a:lnTo>
                  <a:lnTo>
                    <a:pt x="554" y="623"/>
                  </a:lnTo>
                  <a:lnTo>
                    <a:pt x="552" y="622"/>
                  </a:lnTo>
                  <a:lnTo>
                    <a:pt x="552" y="621"/>
                  </a:lnTo>
                  <a:lnTo>
                    <a:pt x="551" y="621"/>
                  </a:lnTo>
                  <a:lnTo>
                    <a:pt x="551" y="622"/>
                  </a:lnTo>
                  <a:lnTo>
                    <a:pt x="551" y="623"/>
                  </a:lnTo>
                  <a:lnTo>
                    <a:pt x="551" y="625"/>
                  </a:lnTo>
                  <a:lnTo>
                    <a:pt x="550" y="625"/>
                  </a:lnTo>
                  <a:lnTo>
                    <a:pt x="549" y="625"/>
                  </a:lnTo>
                  <a:lnTo>
                    <a:pt x="548" y="625"/>
                  </a:lnTo>
                  <a:lnTo>
                    <a:pt x="548" y="628"/>
                  </a:lnTo>
                  <a:lnTo>
                    <a:pt x="549" y="630"/>
                  </a:lnTo>
                  <a:lnTo>
                    <a:pt x="548" y="630"/>
                  </a:lnTo>
                  <a:lnTo>
                    <a:pt x="546" y="630"/>
                  </a:lnTo>
                  <a:lnTo>
                    <a:pt x="545" y="629"/>
                  </a:lnTo>
                  <a:lnTo>
                    <a:pt x="545" y="630"/>
                  </a:lnTo>
                  <a:lnTo>
                    <a:pt x="546" y="631"/>
                  </a:lnTo>
                  <a:lnTo>
                    <a:pt x="549" y="631"/>
                  </a:lnTo>
                  <a:lnTo>
                    <a:pt x="549" y="633"/>
                  </a:lnTo>
                  <a:lnTo>
                    <a:pt x="546" y="633"/>
                  </a:lnTo>
                  <a:lnTo>
                    <a:pt x="546" y="634"/>
                  </a:lnTo>
                  <a:lnTo>
                    <a:pt x="549" y="635"/>
                  </a:lnTo>
                  <a:lnTo>
                    <a:pt x="550" y="636"/>
                  </a:lnTo>
                  <a:lnTo>
                    <a:pt x="550" y="637"/>
                  </a:lnTo>
                  <a:lnTo>
                    <a:pt x="549" y="637"/>
                  </a:lnTo>
                  <a:lnTo>
                    <a:pt x="546" y="636"/>
                  </a:lnTo>
                  <a:lnTo>
                    <a:pt x="545" y="635"/>
                  </a:lnTo>
                  <a:lnTo>
                    <a:pt x="545" y="636"/>
                  </a:lnTo>
                  <a:lnTo>
                    <a:pt x="544" y="636"/>
                  </a:lnTo>
                  <a:lnTo>
                    <a:pt x="543" y="635"/>
                  </a:lnTo>
                  <a:lnTo>
                    <a:pt x="542" y="635"/>
                  </a:lnTo>
                  <a:lnTo>
                    <a:pt x="542" y="636"/>
                  </a:lnTo>
                  <a:lnTo>
                    <a:pt x="542" y="637"/>
                  </a:lnTo>
                  <a:lnTo>
                    <a:pt x="542" y="639"/>
                  </a:lnTo>
                  <a:lnTo>
                    <a:pt x="544" y="639"/>
                  </a:lnTo>
                  <a:lnTo>
                    <a:pt x="546" y="639"/>
                  </a:lnTo>
                  <a:lnTo>
                    <a:pt x="549" y="639"/>
                  </a:lnTo>
                  <a:lnTo>
                    <a:pt x="551" y="639"/>
                  </a:lnTo>
                  <a:lnTo>
                    <a:pt x="554" y="639"/>
                  </a:lnTo>
                  <a:lnTo>
                    <a:pt x="556" y="639"/>
                  </a:lnTo>
                  <a:lnTo>
                    <a:pt x="558" y="637"/>
                  </a:lnTo>
                  <a:lnTo>
                    <a:pt x="560" y="637"/>
                  </a:lnTo>
                  <a:lnTo>
                    <a:pt x="562" y="637"/>
                  </a:lnTo>
                  <a:lnTo>
                    <a:pt x="564" y="637"/>
                  </a:lnTo>
                  <a:lnTo>
                    <a:pt x="564" y="640"/>
                  </a:lnTo>
                  <a:lnTo>
                    <a:pt x="562" y="640"/>
                  </a:lnTo>
                  <a:lnTo>
                    <a:pt x="561" y="641"/>
                  </a:lnTo>
                  <a:lnTo>
                    <a:pt x="560" y="640"/>
                  </a:lnTo>
                  <a:lnTo>
                    <a:pt x="558" y="640"/>
                  </a:lnTo>
                  <a:lnTo>
                    <a:pt x="560" y="643"/>
                  </a:lnTo>
                  <a:lnTo>
                    <a:pt x="558" y="645"/>
                  </a:lnTo>
                  <a:lnTo>
                    <a:pt x="558" y="643"/>
                  </a:lnTo>
                  <a:lnTo>
                    <a:pt x="557" y="642"/>
                  </a:lnTo>
                  <a:lnTo>
                    <a:pt x="557" y="641"/>
                  </a:lnTo>
                  <a:lnTo>
                    <a:pt x="556" y="641"/>
                  </a:lnTo>
                  <a:lnTo>
                    <a:pt x="556" y="643"/>
                  </a:lnTo>
                  <a:lnTo>
                    <a:pt x="557" y="645"/>
                  </a:lnTo>
                  <a:lnTo>
                    <a:pt x="557" y="647"/>
                  </a:lnTo>
                  <a:lnTo>
                    <a:pt x="557" y="651"/>
                  </a:lnTo>
                  <a:lnTo>
                    <a:pt x="557" y="652"/>
                  </a:lnTo>
                  <a:lnTo>
                    <a:pt x="556" y="652"/>
                  </a:lnTo>
                  <a:lnTo>
                    <a:pt x="555" y="649"/>
                  </a:lnTo>
                  <a:lnTo>
                    <a:pt x="555" y="648"/>
                  </a:lnTo>
                  <a:lnTo>
                    <a:pt x="555" y="646"/>
                  </a:lnTo>
                  <a:lnTo>
                    <a:pt x="555" y="645"/>
                  </a:lnTo>
                  <a:lnTo>
                    <a:pt x="554" y="643"/>
                  </a:lnTo>
                  <a:lnTo>
                    <a:pt x="552" y="643"/>
                  </a:lnTo>
                  <a:lnTo>
                    <a:pt x="552" y="645"/>
                  </a:lnTo>
                  <a:lnTo>
                    <a:pt x="552" y="646"/>
                  </a:lnTo>
                  <a:lnTo>
                    <a:pt x="552" y="648"/>
                  </a:lnTo>
                  <a:lnTo>
                    <a:pt x="551" y="648"/>
                  </a:lnTo>
                  <a:lnTo>
                    <a:pt x="550" y="646"/>
                  </a:lnTo>
                  <a:lnTo>
                    <a:pt x="549" y="646"/>
                  </a:lnTo>
                  <a:lnTo>
                    <a:pt x="549" y="645"/>
                  </a:lnTo>
                  <a:lnTo>
                    <a:pt x="548" y="645"/>
                  </a:lnTo>
                  <a:lnTo>
                    <a:pt x="548" y="646"/>
                  </a:lnTo>
                  <a:lnTo>
                    <a:pt x="548" y="647"/>
                  </a:lnTo>
                  <a:lnTo>
                    <a:pt x="548" y="648"/>
                  </a:lnTo>
                  <a:lnTo>
                    <a:pt x="549" y="648"/>
                  </a:lnTo>
                  <a:lnTo>
                    <a:pt x="549" y="649"/>
                  </a:lnTo>
                  <a:lnTo>
                    <a:pt x="550" y="651"/>
                  </a:lnTo>
                  <a:lnTo>
                    <a:pt x="551" y="653"/>
                  </a:lnTo>
                  <a:lnTo>
                    <a:pt x="550" y="653"/>
                  </a:lnTo>
                  <a:lnTo>
                    <a:pt x="549" y="653"/>
                  </a:lnTo>
                  <a:lnTo>
                    <a:pt x="548" y="653"/>
                  </a:lnTo>
                  <a:lnTo>
                    <a:pt x="546" y="653"/>
                  </a:lnTo>
                  <a:lnTo>
                    <a:pt x="548" y="653"/>
                  </a:lnTo>
                  <a:lnTo>
                    <a:pt x="548" y="654"/>
                  </a:lnTo>
                  <a:lnTo>
                    <a:pt x="549" y="654"/>
                  </a:lnTo>
                  <a:lnTo>
                    <a:pt x="550" y="654"/>
                  </a:lnTo>
                  <a:lnTo>
                    <a:pt x="551" y="654"/>
                  </a:lnTo>
                  <a:lnTo>
                    <a:pt x="552" y="654"/>
                  </a:lnTo>
                  <a:lnTo>
                    <a:pt x="555" y="653"/>
                  </a:lnTo>
                  <a:lnTo>
                    <a:pt x="556" y="653"/>
                  </a:lnTo>
                  <a:lnTo>
                    <a:pt x="558" y="652"/>
                  </a:lnTo>
                  <a:lnTo>
                    <a:pt x="561" y="652"/>
                  </a:lnTo>
                  <a:lnTo>
                    <a:pt x="563" y="652"/>
                  </a:lnTo>
                  <a:lnTo>
                    <a:pt x="566" y="651"/>
                  </a:lnTo>
                  <a:lnTo>
                    <a:pt x="569" y="649"/>
                  </a:lnTo>
                  <a:lnTo>
                    <a:pt x="570" y="649"/>
                  </a:lnTo>
                  <a:lnTo>
                    <a:pt x="573" y="651"/>
                  </a:lnTo>
                  <a:lnTo>
                    <a:pt x="574" y="649"/>
                  </a:lnTo>
                  <a:lnTo>
                    <a:pt x="575" y="648"/>
                  </a:lnTo>
                  <a:lnTo>
                    <a:pt x="578" y="648"/>
                  </a:lnTo>
                  <a:lnTo>
                    <a:pt x="580" y="648"/>
                  </a:lnTo>
                  <a:lnTo>
                    <a:pt x="583" y="648"/>
                  </a:lnTo>
                  <a:lnTo>
                    <a:pt x="584" y="647"/>
                  </a:lnTo>
                  <a:lnTo>
                    <a:pt x="585" y="647"/>
                  </a:lnTo>
                  <a:lnTo>
                    <a:pt x="585" y="648"/>
                  </a:lnTo>
                  <a:lnTo>
                    <a:pt x="584" y="649"/>
                  </a:lnTo>
                  <a:lnTo>
                    <a:pt x="586" y="649"/>
                  </a:lnTo>
                  <a:lnTo>
                    <a:pt x="586" y="648"/>
                  </a:lnTo>
                  <a:lnTo>
                    <a:pt x="587" y="647"/>
                  </a:lnTo>
                  <a:lnTo>
                    <a:pt x="587" y="648"/>
                  </a:lnTo>
                  <a:lnTo>
                    <a:pt x="589" y="647"/>
                  </a:lnTo>
                  <a:lnTo>
                    <a:pt x="590" y="647"/>
                  </a:lnTo>
                  <a:lnTo>
                    <a:pt x="592" y="645"/>
                  </a:lnTo>
                  <a:lnTo>
                    <a:pt x="593" y="646"/>
                  </a:lnTo>
                  <a:lnTo>
                    <a:pt x="592" y="647"/>
                  </a:lnTo>
                  <a:lnTo>
                    <a:pt x="597" y="646"/>
                  </a:lnTo>
                  <a:lnTo>
                    <a:pt x="597" y="647"/>
                  </a:lnTo>
                  <a:lnTo>
                    <a:pt x="595" y="648"/>
                  </a:lnTo>
                  <a:lnTo>
                    <a:pt x="592" y="648"/>
                  </a:lnTo>
                  <a:lnTo>
                    <a:pt x="592" y="649"/>
                  </a:lnTo>
                  <a:lnTo>
                    <a:pt x="595" y="651"/>
                  </a:lnTo>
                  <a:lnTo>
                    <a:pt x="596" y="651"/>
                  </a:lnTo>
                  <a:lnTo>
                    <a:pt x="596" y="652"/>
                  </a:lnTo>
                  <a:lnTo>
                    <a:pt x="595" y="651"/>
                  </a:lnTo>
                  <a:lnTo>
                    <a:pt x="592" y="649"/>
                  </a:lnTo>
                  <a:lnTo>
                    <a:pt x="590" y="649"/>
                  </a:lnTo>
                  <a:lnTo>
                    <a:pt x="589" y="649"/>
                  </a:lnTo>
                  <a:lnTo>
                    <a:pt x="589" y="651"/>
                  </a:lnTo>
                  <a:lnTo>
                    <a:pt x="590" y="652"/>
                  </a:lnTo>
                  <a:lnTo>
                    <a:pt x="590" y="653"/>
                  </a:lnTo>
                  <a:lnTo>
                    <a:pt x="589" y="653"/>
                  </a:lnTo>
                  <a:lnTo>
                    <a:pt x="589" y="652"/>
                  </a:lnTo>
                  <a:lnTo>
                    <a:pt x="587" y="651"/>
                  </a:lnTo>
                  <a:lnTo>
                    <a:pt x="586" y="649"/>
                  </a:lnTo>
                  <a:lnTo>
                    <a:pt x="584" y="649"/>
                  </a:lnTo>
                  <a:lnTo>
                    <a:pt x="583" y="651"/>
                  </a:lnTo>
                  <a:lnTo>
                    <a:pt x="584" y="652"/>
                  </a:lnTo>
                  <a:lnTo>
                    <a:pt x="585" y="653"/>
                  </a:lnTo>
                  <a:lnTo>
                    <a:pt x="586" y="654"/>
                  </a:lnTo>
                  <a:lnTo>
                    <a:pt x="586" y="655"/>
                  </a:lnTo>
                  <a:lnTo>
                    <a:pt x="586" y="659"/>
                  </a:lnTo>
                  <a:lnTo>
                    <a:pt x="585" y="659"/>
                  </a:lnTo>
                  <a:lnTo>
                    <a:pt x="585" y="660"/>
                  </a:lnTo>
                  <a:lnTo>
                    <a:pt x="585" y="661"/>
                  </a:lnTo>
                  <a:lnTo>
                    <a:pt x="585" y="664"/>
                  </a:lnTo>
                  <a:lnTo>
                    <a:pt x="584" y="664"/>
                  </a:lnTo>
                  <a:lnTo>
                    <a:pt x="584" y="663"/>
                  </a:lnTo>
                  <a:lnTo>
                    <a:pt x="583" y="661"/>
                  </a:lnTo>
                  <a:lnTo>
                    <a:pt x="581" y="659"/>
                  </a:lnTo>
                  <a:lnTo>
                    <a:pt x="581" y="657"/>
                  </a:lnTo>
                  <a:lnTo>
                    <a:pt x="581" y="658"/>
                  </a:lnTo>
                  <a:lnTo>
                    <a:pt x="581" y="659"/>
                  </a:lnTo>
                  <a:lnTo>
                    <a:pt x="580" y="658"/>
                  </a:lnTo>
                  <a:lnTo>
                    <a:pt x="580" y="657"/>
                  </a:lnTo>
                  <a:lnTo>
                    <a:pt x="580" y="654"/>
                  </a:lnTo>
                  <a:lnTo>
                    <a:pt x="579" y="653"/>
                  </a:lnTo>
                  <a:lnTo>
                    <a:pt x="578" y="652"/>
                  </a:lnTo>
                  <a:lnTo>
                    <a:pt x="578" y="654"/>
                  </a:lnTo>
                  <a:lnTo>
                    <a:pt x="579" y="654"/>
                  </a:lnTo>
                  <a:lnTo>
                    <a:pt x="578" y="654"/>
                  </a:lnTo>
                  <a:lnTo>
                    <a:pt x="576" y="655"/>
                  </a:lnTo>
                  <a:lnTo>
                    <a:pt x="576" y="653"/>
                  </a:lnTo>
                  <a:lnTo>
                    <a:pt x="575" y="653"/>
                  </a:lnTo>
                  <a:lnTo>
                    <a:pt x="575" y="654"/>
                  </a:lnTo>
                  <a:lnTo>
                    <a:pt x="575" y="655"/>
                  </a:lnTo>
                  <a:lnTo>
                    <a:pt x="576" y="658"/>
                  </a:lnTo>
                  <a:lnTo>
                    <a:pt x="575" y="658"/>
                  </a:lnTo>
                  <a:lnTo>
                    <a:pt x="574" y="657"/>
                  </a:lnTo>
                  <a:lnTo>
                    <a:pt x="573" y="655"/>
                  </a:lnTo>
                  <a:lnTo>
                    <a:pt x="573" y="657"/>
                  </a:lnTo>
                  <a:lnTo>
                    <a:pt x="574" y="659"/>
                  </a:lnTo>
                  <a:lnTo>
                    <a:pt x="575" y="661"/>
                  </a:lnTo>
                  <a:lnTo>
                    <a:pt x="575" y="664"/>
                  </a:lnTo>
                  <a:lnTo>
                    <a:pt x="574" y="664"/>
                  </a:lnTo>
                  <a:lnTo>
                    <a:pt x="574" y="663"/>
                  </a:lnTo>
                  <a:lnTo>
                    <a:pt x="573" y="661"/>
                  </a:lnTo>
                  <a:lnTo>
                    <a:pt x="573" y="659"/>
                  </a:lnTo>
                  <a:lnTo>
                    <a:pt x="572" y="658"/>
                  </a:lnTo>
                  <a:lnTo>
                    <a:pt x="570" y="658"/>
                  </a:lnTo>
                  <a:lnTo>
                    <a:pt x="570" y="659"/>
                  </a:lnTo>
                  <a:lnTo>
                    <a:pt x="569" y="659"/>
                  </a:lnTo>
                  <a:lnTo>
                    <a:pt x="569" y="660"/>
                  </a:lnTo>
                  <a:lnTo>
                    <a:pt x="569" y="661"/>
                  </a:lnTo>
                  <a:lnTo>
                    <a:pt x="569" y="663"/>
                  </a:lnTo>
                  <a:lnTo>
                    <a:pt x="568" y="663"/>
                  </a:lnTo>
                  <a:lnTo>
                    <a:pt x="568" y="660"/>
                  </a:lnTo>
                  <a:lnTo>
                    <a:pt x="567" y="660"/>
                  </a:lnTo>
                  <a:lnTo>
                    <a:pt x="566" y="659"/>
                  </a:lnTo>
                  <a:lnTo>
                    <a:pt x="564" y="659"/>
                  </a:lnTo>
                  <a:lnTo>
                    <a:pt x="564" y="660"/>
                  </a:lnTo>
                  <a:lnTo>
                    <a:pt x="566" y="661"/>
                  </a:lnTo>
                  <a:lnTo>
                    <a:pt x="568" y="663"/>
                  </a:lnTo>
                  <a:lnTo>
                    <a:pt x="568" y="664"/>
                  </a:lnTo>
                  <a:lnTo>
                    <a:pt x="567" y="664"/>
                  </a:lnTo>
                  <a:lnTo>
                    <a:pt x="566" y="663"/>
                  </a:lnTo>
                  <a:lnTo>
                    <a:pt x="564" y="663"/>
                  </a:lnTo>
                  <a:lnTo>
                    <a:pt x="566" y="665"/>
                  </a:lnTo>
                  <a:lnTo>
                    <a:pt x="567" y="666"/>
                  </a:lnTo>
                  <a:lnTo>
                    <a:pt x="568" y="668"/>
                  </a:lnTo>
                  <a:lnTo>
                    <a:pt x="569" y="669"/>
                  </a:lnTo>
                  <a:lnTo>
                    <a:pt x="575" y="671"/>
                  </a:lnTo>
                  <a:lnTo>
                    <a:pt x="574" y="672"/>
                  </a:lnTo>
                  <a:lnTo>
                    <a:pt x="573" y="672"/>
                  </a:lnTo>
                  <a:lnTo>
                    <a:pt x="573" y="671"/>
                  </a:lnTo>
                  <a:lnTo>
                    <a:pt x="572" y="671"/>
                  </a:lnTo>
                  <a:lnTo>
                    <a:pt x="572" y="672"/>
                  </a:lnTo>
                  <a:lnTo>
                    <a:pt x="572" y="674"/>
                  </a:lnTo>
                  <a:lnTo>
                    <a:pt x="570" y="674"/>
                  </a:lnTo>
                  <a:lnTo>
                    <a:pt x="570" y="672"/>
                  </a:lnTo>
                  <a:lnTo>
                    <a:pt x="569" y="671"/>
                  </a:lnTo>
                  <a:lnTo>
                    <a:pt x="568" y="670"/>
                  </a:lnTo>
                  <a:lnTo>
                    <a:pt x="568" y="671"/>
                  </a:lnTo>
                  <a:lnTo>
                    <a:pt x="568" y="672"/>
                  </a:lnTo>
                  <a:lnTo>
                    <a:pt x="568" y="675"/>
                  </a:lnTo>
                  <a:lnTo>
                    <a:pt x="567" y="675"/>
                  </a:lnTo>
                  <a:lnTo>
                    <a:pt x="567" y="674"/>
                  </a:lnTo>
                  <a:lnTo>
                    <a:pt x="566" y="674"/>
                  </a:lnTo>
                  <a:lnTo>
                    <a:pt x="564" y="674"/>
                  </a:lnTo>
                  <a:lnTo>
                    <a:pt x="564" y="675"/>
                  </a:lnTo>
                  <a:lnTo>
                    <a:pt x="564" y="674"/>
                  </a:lnTo>
                  <a:lnTo>
                    <a:pt x="563" y="674"/>
                  </a:lnTo>
                  <a:lnTo>
                    <a:pt x="563" y="672"/>
                  </a:lnTo>
                  <a:lnTo>
                    <a:pt x="563" y="671"/>
                  </a:lnTo>
                  <a:lnTo>
                    <a:pt x="564" y="671"/>
                  </a:lnTo>
                  <a:lnTo>
                    <a:pt x="564" y="669"/>
                  </a:lnTo>
                  <a:lnTo>
                    <a:pt x="563" y="668"/>
                  </a:lnTo>
                  <a:lnTo>
                    <a:pt x="563" y="669"/>
                  </a:lnTo>
                  <a:lnTo>
                    <a:pt x="562" y="670"/>
                  </a:lnTo>
                  <a:lnTo>
                    <a:pt x="561" y="669"/>
                  </a:lnTo>
                  <a:lnTo>
                    <a:pt x="560" y="669"/>
                  </a:lnTo>
                  <a:lnTo>
                    <a:pt x="560" y="671"/>
                  </a:lnTo>
                  <a:lnTo>
                    <a:pt x="558" y="672"/>
                  </a:lnTo>
                  <a:lnTo>
                    <a:pt x="558" y="671"/>
                  </a:lnTo>
                  <a:lnTo>
                    <a:pt x="558" y="669"/>
                  </a:lnTo>
                  <a:lnTo>
                    <a:pt x="558" y="668"/>
                  </a:lnTo>
                  <a:lnTo>
                    <a:pt x="558" y="665"/>
                  </a:lnTo>
                  <a:lnTo>
                    <a:pt x="557" y="664"/>
                  </a:lnTo>
                  <a:lnTo>
                    <a:pt x="557" y="663"/>
                  </a:lnTo>
                  <a:lnTo>
                    <a:pt x="557" y="664"/>
                  </a:lnTo>
                  <a:lnTo>
                    <a:pt x="556" y="665"/>
                  </a:lnTo>
                  <a:lnTo>
                    <a:pt x="556" y="664"/>
                  </a:lnTo>
                  <a:lnTo>
                    <a:pt x="555" y="664"/>
                  </a:lnTo>
                  <a:lnTo>
                    <a:pt x="556" y="665"/>
                  </a:lnTo>
                  <a:lnTo>
                    <a:pt x="556" y="666"/>
                  </a:lnTo>
                  <a:lnTo>
                    <a:pt x="555" y="668"/>
                  </a:lnTo>
                  <a:lnTo>
                    <a:pt x="554" y="668"/>
                  </a:lnTo>
                  <a:lnTo>
                    <a:pt x="554" y="669"/>
                  </a:lnTo>
                  <a:lnTo>
                    <a:pt x="554" y="670"/>
                  </a:lnTo>
                  <a:lnTo>
                    <a:pt x="555" y="671"/>
                  </a:lnTo>
                  <a:lnTo>
                    <a:pt x="557" y="671"/>
                  </a:lnTo>
                  <a:lnTo>
                    <a:pt x="557" y="672"/>
                  </a:lnTo>
                  <a:lnTo>
                    <a:pt x="557" y="674"/>
                  </a:lnTo>
                  <a:lnTo>
                    <a:pt x="558" y="674"/>
                  </a:lnTo>
                  <a:lnTo>
                    <a:pt x="558" y="675"/>
                  </a:lnTo>
                  <a:lnTo>
                    <a:pt x="560" y="676"/>
                  </a:lnTo>
                  <a:lnTo>
                    <a:pt x="563" y="677"/>
                  </a:lnTo>
                  <a:lnTo>
                    <a:pt x="564" y="677"/>
                  </a:lnTo>
                  <a:lnTo>
                    <a:pt x="566" y="677"/>
                  </a:lnTo>
                  <a:lnTo>
                    <a:pt x="568" y="677"/>
                  </a:lnTo>
                  <a:lnTo>
                    <a:pt x="570" y="677"/>
                  </a:lnTo>
                  <a:lnTo>
                    <a:pt x="572" y="677"/>
                  </a:lnTo>
                  <a:lnTo>
                    <a:pt x="572" y="678"/>
                  </a:lnTo>
                  <a:lnTo>
                    <a:pt x="573" y="678"/>
                  </a:lnTo>
                  <a:lnTo>
                    <a:pt x="574" y="680"/>
                  </a:lnTo>
                  <a:lnTo>
                    <a:pt x="572" y="680"/>
                  </a:lnTo>
                  <a:lnTo>
                    <a:pt x="570" y="678"/>
                  </a:lnTo>
                  <a:lnTo>
                    <a:pt x="570" y="680"/>
                  </a:lnTo>
                  <a:lnTo>
                    <a:pt x="569" y="681"/>
                  </a:lnTo>
                  <a:lnTo>
                    <a:pt x="569" y="682"/>
                  </a:lnTo>
                  <a:lnTo>
                    <a:pt x="569" y="681"/>
                  </a:lnTo>
                  <a:lnTo>
                    <a:pt x="568" y="680"/>
                  </a:lnTo>
                  <a:lnTo>
                    <a:pt x="568" y="678"/>
                  </a:lnTo>
                  <a:lnTo>
                    <a:pt x="567" y="678"/>
                  </a:lnTo>
                  <a:lnTo>
                    <a:pt x="566" y="678"/>
                  </a:lnTo>
                  <a:lnTo>
                    <a:pt x="566" y="680"/>
                  </a:lnTo>
                  <a:lnTo>
                    <a:pt x="567" y="681"/>
                  </a:lnTo>
                  <a:lnTo>
                    <a:pt x="568" y="683"/>
                  </a:lnTo>
                  <a:lnTo>
                    <a:pt x="567" y="684"/>
                  </a:lnTo>
                  <a:lnTo>
                    <a:pt x="566" y="683"/>
                  </a:lnTo>
                  <a:lnTo>
                    <a:pt x="564" y="682"/>
                  </a:lnTo>
                  <a:lnTo>
                    <a:pt x="563" y="681"/>
                  </a:lnTo>
                  <a:lnTo>
                    <a:pt x="563" y="680"/>
                  </a:lnTo>
                  <a:lnTo>
                    <a:pt x="561" y="678"/>
                  </a:lnTo>
                  <a:lnTo>
                    <a:pt x="560" y="677"/>
                  </a:lnTo>
                  <a:lnTo>
                    <a:pt x="560" y="678"/>
                  </a:lnTo>
                  <a:lnTo>
                    <a:pt x="560" y="680"/>
                  </a:lnTo>
                  <a:lnTo>
                    <a:pt x="560" y="681"/>
                  </a:lnTo>
                  <a:lnTo>
                    <a:pt x="560" y="682"/>
                  </a:lnTo>
                  <a:lnTo>
                    <a:pt x="561" y="684"/>
                  </a:lnTo>
                  <a:lnTo>
                    <a:pt x="561" y="686"/>
                  </a:lnTo>
                  <a:lnTo>
                    <a:pt x="558" y="687"/>
                  </a:lnTo>
                  <a:lnTo>
                    <a:pt x="558" y="684"/>
                  </a:lnTo>
                  <a:lnTo>
                    <a:pt x="558" y="683"/>
                  </a:lnTo>
                  <a:lnTo>
                    <a:pt x="558" y="682"/>
                  </a:lnTo>
                  <a:lnTo>
                    <a:pt x="558" y="681"/>
                  </a:lnTo>
                  <a:lnTo>
                    <a:pt x="557" y="683"/>
                  </a:lnTo>
                  <a:lnTo>
                    <a:pt x="557" y="682"/>
                  </a:lnTo>
                  <a:lnTo>
                    <a:pt x="556" y="681"/>
                  </a:lnTo>
                  <a:lnTo>
                    <a:pt x="555" y="680"/>
                  </a:lnTo>
                  <a:lnTo>
                    <a:pt x="555" y="678"/>
                  </a:lnTo>
                  <a:lnTo>
                    <a:pt x="555" y="680"/>
                  </a:lnTo>
                  <a:lnTo>
                    <a:pt x="555" y="682"/>
                  </a:lnTo>
                  <a:lnTo>
                    <a:pt x="555" y="683"/>
                  </a:lnTo>
                  <a:lnTo>
                    <a:pt x="554" y="682"/>
                  </a:lnTo>
                  <a:lnTo>
                    <a:pt x="552" y="680"/>
                  </a:lnTo>
                  <a:lnTo>
                    <a:pt x="551" y="678"/>
                  </a:lnTo>
                  <a:lnTo>
                    <a:pt x="551" y="680"/>
                  </a:lnTo>
                  <a:lnTo>
                    <a:pt x="552" y="682"/>
                  </a:lnTo>
                  <a:lnTo>
                    <a:pt x="552" y="683"/>
                  </a:lnTo>
                  <a:lnTo>
                    <a:pt x="552" y="684"/>
                  </a:lnTo>
                  <a:lnTo>
                    <a:pt x="552" y="687"/>
                  </a:lnTo>
                  <a:lnTo>
                    <a:pt x="552" y="688"/>
                  </a:lnTo>
                  <a:lnTo>
                    <a:pt x="554" y="690"/>
                  </a:lnTo>
                  <a:lnTo>
                    <a:pt x="554" y="692"/>
                  </a:lnTo>
                  <a:lnTo>
                    <a:pt x="555" y="694"/>
                  </a:lnTo>
                  <a:lnTo>
                    <a:pt x="552" y="694"/>
                  </a:lnTo>
                  <a:lnTo>
                    <a:pt x="554" y="695"/>
                  </a:lnTo>
                  <a:lnTo>
                    <a:pt x="555" y="695"/>
                  </a:lnTo>
                  <a:lnTo>
                    <a:pt x="556" y="695"/>
                  </a:lnTo>
                  <a:lnTo>
                    <a:pt x="558" y="695"/>
                  </a:lnTo>
                  <a:lnTo>
                    <a:pt x="560" y="694"/>
                  </a:lnTo>
                  <a:lnTo>
                    <a:pt x="562" y="694"/>
                  </a:lnTo>
                  <a:lnTo>
                    <a:pt x="563" y="694"/>
                  </a:lnTo>
                  <a:lnTo>
                    <a:pt x="566" y="692"/>
                  </a:lnTo>
                  <a:lnTo>
                    <a:pt x="568" y="690"/>
                  </a:lnTo>
                  <a:lnTo>
                    <a:pt x="569" y="689"/>
                  </a:lnTo>
                  <a:lnTo>
                    <a:pt x="572" y="689"/>
                  </a:lnTo>
                  <a:lnTo>
                    <a:pt x="573" y="688"/>
                  </a:lnTo>
                  <a:lnTo>
                    <a:pt x="573" y="687"/>
                  </a:lnTo>
                  <a:lnTo>
                    <a:pt x="574" y="687"/>
                  </a:lnTo>
                  <a:lnTo>
                    <a:pt x="574" y="686"/>
                  </a:lnTo>
                  <a:lnTo>
                    <a:pt x="576" y="686"/>
                  </a:lnTo>
                  <a:lnTo>
                    <a:pt x="578" y="684"/>
                  </a:lnTo>
                  <a:lnTo>
                    <a:pt x="578" y="687"/>
                  </a:lnTo>
                  <a:lnTo>
                    <a:pt x="579" y="688"/>
                  </a:lnTo>
                  <a:lnTo>
                    <a:pt x="580" y="689"/>
                  </a:lnTo>
                  <a:lnTo>
                    <a:pt x="578" y="689"/>
                  </a:lnTo>
                  <a:lnTo>
                    <a:pt x="576" y="690"/>
                  </a:lnTo>
                  <a:lnTo>
                    <a:pt x="574" y="693"/>
                  </a:lnTo>
                  <a:lnTo>
                    <a:pt x="573" y="692"/>
                  </a:lnTo>
                  <a:lnTo>
                    <a:pt x="574" y="693"/>
                  </a:lnTo>
                  <a:lnTo>
                    <a:pt x="575" y="694"/>
                  </a:lnTo>
                  <a:lnTo>
                    <a:pt x="576" y="694"/>
                  </a:lnTo>
                  <a:lnTo>
                    <a:pt x="579" y="693"/>
                  </a:lnTo>
                  <a:lnTo>
                    <a:pt x="581" y="693"/>
                  </a:lnTo>
                  <a:lnTo>
                    <a:pt x="584" y="693"/>
                  </a:lnTo>
                  <a:lnTo>
                    <a:pt x="586" y="692"/>
                  </a:lnTo>
                  <a:lnTo>
                    <a:pt x="589" y="690"/>
                  </a:lnTo>
                  <a:lnTo>
                    <a:pt x="591" y="689"/>
                  </a:lnTo>
                  <a:lnTo>
                    <a:pt x="595" y="686"/>
                  </a:lnTo>
                  <a:lnTo>
                    <a:pt x="601" y="683"/>
                  </a:lnTo>
                  <a:lnTo>
                    <a:pt x="605" y="681"/>
                  </a:lnTo>
                  <a:lnTo>
                    <a:pt x="607" y="680"/>
                  </a:lnTo>
                  <a:lnTo>
                    <a:pt x="608" y="680"/>
                  </a:lnTo>
                  <a:lnTo>
                    <a:pt x="609" y="680"/>
                  </a:lnTo>
                  <a:lnTo>
                    <a:pt x="610" y="678"/>
                  </a:lnTo>
                  <a:lnTo>
                    <a:pt x="613" y="677"/>
                  </a:lnTo>
                  <a:lnTo>
                    <a:pt x="614" y="676"/>
                  </a:lnTo>
                  <a:lnTo>
                    <a:pt x="616" y="676"/>
                  </a:lnTo>
                  <a:lnTo>
                    <a:pt x="622" y="675"/>
                  </a:lnTo>
                  <a:lnTo>
                    <a:pt x="622" y="676"/>
                  </a:lnTo>
                  <a:lnTo>
                    <a:pt x="621" y="676"/>
                  </a:lnTo>
                  <a:lnTo>
                    <a:pt x="617" y="677"/>
                  </a:lnTo>
                  <a:lnTo>
                    <a:pt x="617" y="678"/>
                  </a:lnTo>
                  <a:lnTo>
                    <a:pt x="619" y="680"/>
                  </a:lnTo>
                  <a:lnTo>
                    <a:pt x="616" y="680"/>
                  </a:lnTo>
                  <a:lnTo>
                    <a:pt x="615" y="678"/>
                  </a:lnTo>
                  <a:lnTo>
                    <a:pt x="614" y="680"/>
                  </a:lnTo>
                  <a:lnTo>
                    <a:pt x="615" y="680"/>
                  </a:lnTo>
                  <a:lnTo>
                    <a:pt x="616" y="681"/>
                  </a:lnTo>
                  <a:lnTo>
                    <a:pt x="614" y="681"/>
                  </a:lnTo>
                  <a:lnTo>
                    <a:pt x="613" y="682"/>
                  </a:lnTo>
                  <a:lnTo>
                    <a:pt x="610" y="682"/>
                  </a:lnTo>
                  <a:lnTo>
                    <a:pt x="611" y="683"/>
                  </a:lnTo>
                  <a:lnTo>
                    <a:pt x="611" y="684"/>
                  </a:lnTo>
                  <a:lnTo>
                    <a:pt x="610" y="683"/>
                  </a:lnTo>
                  <a:lnTo>
                    <a:pt x="609" y="683"/>
                  </a:lnTo>
                  <a:lnTo>
                    <a:pt x="608" y="683"/>
                  </a:lnTo>
                  <a:lnTo>
                    <a:pt x="610" y="686"/>
                  </a:lnTo>
                  <a:lnTo>
                    <a:pt x="609" y="687"/>
                  </a:lnTo>
                  <a:lnTo>
                    <a:pt x="608" y="686"/>
                  </a:lnTo>
                  <a:lnTo>
                    <a:pt x="607" y="684"/>
                  </a:lnTo>
                  <a:lnTo>
                    <a:pt x="605" y="683"/>
                  </a:lnTo>
                  <a:lnTo>
                    <a:pt x="604" y="684"/>
                  </a:lnTo>
                  <a:lnTo>
                    <a:pt x="605" y="687"/>
                  </a:lnTo>
                  <a:lnTo>
                    <a:pt x="607" y="687"/>
                  </a:lnTo>
                  <a:lnTo>
                    <a:pt x="607" y="688"/>
                  </a:lnTo>
                  <a:lnTo>
                    <a:pt x="605" y="688"/>
                  </a:lnTo>
                  <a:lnTo>
                    <a:pt x="608" y="689"/>
                  </a:lnTo>
                  <a:lnTo>
                    <a:pt x="609" y="690"/>
                  </a:lnTo>
                  <a:lnTo>
                    <a:pt x="604" y="689"/>
                  </a:lnTo>
                  <a:lnTo>
                    <a:pt x="603" y="688"/>
                  </a:lnTo>
                  <a:lnTo>
                    <a:pt x="602" y="687"/>
                  </a:lnTo>
                  <a:lnTo>
                    <a:pt x="603" y="689"/>
                  </a:lnTo>
                  <a:lnTo>
                    <a:pt x="603" y="692"/>
                  </a:lnTo>
                  <a:lnTo>
                    <a:pt x="602" y="690"/>
                  </a:lnTo>
                  <a:lnTo>
                    <a:pt x="599" y="688"/>
                  </a:lnTo>
                  <a:lnTo>
                    <a:pt x="599" y="689"/>
                  </a:lnTo>
                  <a:lnTo>
                    <a:pt x="601" y="692"/>
                  </a:lnTo>
                  <a:lnTo>
                    <a:pt x="602" y="694"/>
                  </a:lnTo>
                  <a:lnTo>
                    <a:pt x="603" y="698"/>
                  </a:lnTo>
                  <a:lnTo>
                    <a:pt x="603" y="700"/>
                  </a:lnTo>
                  <a:lnTo>
                    <a:pt x="603" y="701"/>
                  </a:lnTo>
                  <a:lnTo>
                    <a:pt x="602" y="700"/>
                  </a:lnTo>
                  <a:lnTo>
                    <a:pt x="601" y="699"/>
                  </a:lnTo>
                  <a:lnTo>
                    <a:pt x="599" y="698"/>
                  </a:lnTo>
                  <a:lnTo>
                    <a:pt x="599" y="696"/>
                  </a:lnTo>
                  <a:lnTo>
                    <a:pt x="598" y="695"/>
                  </a:lnTo>
                  <a:lnTo>
                    <a:pt x="597" y="696"/>
                  </a:lnTo>
                  <a:lnTo>
                    <a:pt x="598" y="698"/>
                  </a:lnTo>
                  <a:lnTo>
                    <a:pt x="598" y="699"/>
                  </a:lnTo>
                  <a:lnTo>
                    <a:pt x="599" y="700"/>
                  </a:lnTo>
                  <a:lnTo>
                    <a:pt x="599" y="701"/>
                  </a:lnTo>
                  <a:lnTo>
                    <a:pt x="598" y="701"/>
                  </a:lnTo>
                  <a:lnTo>
                    <a:pt x="599" y="701"/>
                  </a:lnTo>
                  <a:lnTo>
                    <a:pt x="598" y="702"/>
                  </a:lnTo>
                  <a:lnTo>
                    <a:pt x="598" y="704"/>
                  </a:lnTo>
                  <a:lnTo>
                    <a:pt x="597" y="704"/>
                  </a:lnTo>
                  <a:lnTo>
                    <a:pt x="596" y="702"/>
                  </a:lnTo>
                  <a:lnTo>
                    <a:pt x="596" y="701"/>
                  </a:lnTo>
                  <a:lnTo>
                    <a:pt x="595" y="701"/>
                  </a:lnTo>
                  <a:lnTo>
                    <a:pt x="595" y="704"/>
                  </a:lnTo>
                  <a:lnTo>
                    <a:pt x="596" y="707"/>
                  </a:lnTo>
                  <a:lnTo>
                    <a:pt x="595" y="706"/>
                  </a:lnTo>
                  <a:lnTo>
                    <a:pt x="593" y="707"/>
                  </a:lnTo>
                  <a:lnTo>
                    <a:pt x="592" y="705"/>
                  </a:lnTo>
                  <a:lnTo>
                    <a:pt x="592" y="702"/>
                  </a:lnTo>
                  <a:lnTo>
                    <a:pt x="592" y="701"/>
                  </a:lnTo>
                  <a:lnTo>
                    <a:pt x="591" y="701"/>
                  </a:lnTo>
                  <a:lnTo>
                    <a:pt x="591" y="702"/>
                  </a:lnTo>
                  <a:lnTo>
                    <a:pt x="591" y="705"/>
                  </a:lnTo>
                  <a:lnTo>
                    <a:pt x="590" y="705"/>
                  </a:lnTo>
                  <a:lnTo>
                    <a:pt x="590" y="702"/>
                  </a:lnTo>
                  <a:lnTo>
                    <a:pt x="589" y="701"/>
                  </a:lnTo>
                  <a:lnTo>
                    <a:pt x="589" y="704"/>
                  </a:lnTo>
                  <a:lnTo>
                    <a:pt x="587" y="704"/>
                  </a:lnTo>
                  <a:lnTo>
                    <a:pt x="587" y="705"/>
                  </a:lnTo>
                  <a:lnTo>
                    <a:pt x="586" y="705"/>
                  </a:lnTo>
                  <a:lnTo>
                    <a:pt x="587" y="707"/>
                  </a:lnTo>
                  <a:lnTo>
                    <a:pt x="587" y="708"/>
                  </a:lnTo>
                  <a:lnTo>
                    <a:pt x="587" y="710"/>
                  </a:lnTo>
                  <a:lnTo>
                    <a:pt x="586" y="711"/>
                  </a:lnTo>
                  <a:lnTo>
                    <a:pt x="586" y="712"/>
                  </a:lnTo>
                  <a:lnTo>
                    <a:pt x="587" y="714"/>
                  </a:lnTo>
                  <a:lnTo>
                    <a:pt x="586" y="714"/>
                  </a:lnTo>
                  <a:lnTo>
                    <a:pt x="585" y="713"/>
                  </a:lnTo>
                  <a:lnTo>
                    <a:pt x="585" y="711"/>
                  </a:lnTo>
                  <a:lnTo>
                    <a:pt x="585" y="708"/>
                  </a:lnTo>
                  <a:lnTo>
                    <a:pt x="583" y="710"/>
                  </a:lnTo>
                  <a:lnTo>
                    <a:pt x="583" y="708"/>
                  </a:lnTo>
                  <a:lnTo>
                    <a:pt x="581" y="708"/>
                  </a:lnTo>
                  <a:lnTo>
                    <a:pt x="581" y="710"/>
                  </a:lnTo>
                  <a:lnTo>
                    <a:pt x="581" y="712"/>
                  </a:lnTo>
                  <a:lnTo>
                    <a:pt x="580" y="711"/>
                  </a:lnTo>
                  <a:lnTo>
                    <a:pt x="579" y="710"/>
                  </a:lnTo>
                  <a:lnTo>
                    <a:pt x="579" y="708"/>
                  </a:lnTo>
                  <a:lnTo>
                    <a:pt x="578" y="708"/>
                  </a:lnTo>
                  <a:lnTo>
                    <a:pt x="579" y="711"/>
                  </a:lnTo>
                  <a:lnTo>
                    <a:pt x="579" y="712"/>
                  </a:lnTo>
                  <a:lnTo>
                    <a:pt x="581" y="713"/>
                  </a:lnTo>
                  <a:lnTo>
                    <a:pt x="583" y="714"/>
                  </a:lnTo>
                  <a:lnTo>
                    <a:pt x="587" y="716"/>
                  </a:lnTo>
                  <a:lnTo>
                    <a:pt x="587" y="717"/>
                  </a:lnTo>
                  <a:lnTo>
                    <a:pt x="590" y="718"/>
                  </a:lnTo>
                  <a:lnTo>
                    <a:pt x="592" y="718"/>
                  </a:lnTo>
                  <a:lnTo>
                    <a:pt x="598" y="716"/>
                  </a:lnTo>
                  <a:lnTo>
                    <a:pt x="598" y="717"/>
                  </a:lnTo>
                  <a:lnTo>
                    <a:pt x="593" y="718"/>
                  </a:lnTo>
                  <a:lnTo>
                    <a:pt x="593" y="719"/>
                  </a:lnTo>
                  <a:lnTo>
                    <a:pt x="596" y="720"/>
                  </a:lnTo>
                  <a:lnTo>
                    <a:pt x="597" y="723"/>
                  </a:lnTo>
                  <a:lnTo>
                    <a:pt x="595" y="722"/>
                  </a:lnTo>
                  <a:lnTo>
                    <a:pt x="593" y="720"/>
                  </a:lnTo>
                  <a:lnTo>
                    <a:pt x="593" y="724"/>
                  </a:lnTo>
                  <a:lnTo>
                    <a:pt x="592" y="722"/>
                  </a:lnTo>
                  <a:lnTo>
                    <a:pt x="591" y="719"/>
                  </a:lnTo>
                  <a:lnTo>
                    <a:pt x="590" y="719"/>
                  </a:lnTo>
                  <a:lnTo>
                    <a:pt x="590" y="720"/>
                  </a:lnTo>
                  <a:lnTo>
                    <a:pt x="590" y="724"/>
                  </a:lnTo>
                  <a:lnTo>
                    <a:pt x="589" y="724"/>
                  </a:lnTo>
                  <a:lnTo>
                    <a:pt x="587" y="723"/>
                  </a:lnTo>
                  <a:lnTo>
                    <a:pt x="589" y="723"/>
                  </a:lnTo>
                  <a:lnTo>
                    <a:pt x="589" y="722"/>
                  </a:lnTo>
                  <a:lnTo>
                    <a:pt x="589" y="720"/>
                  </a:lnTo>
                  <a:lnTo>
                    <a:pt x="587" y="720"/>
                  </a:lnTo>
                  <a:lnTo>
                    <a:pt x="585" y="720"/>
                  </a:lnTo>
                  <a:lnTo>
                    <a:pt x="584" y="720"/>
                  </a:lnTo>
                  <a:lnTo>
                    <a:pt x="585" y="723"/>
                  </a:lnTo>
                  <a:lnTo>
                    <a:pt x="587" y="724"/>
                  </a:lnTo>
                  <a:lnTo>
                    <a:pt x="589" y="725"/>
                  </a:lnTo>
                  <a:lnTo>
                    <a:pt x="589" y="726"/>
                  </a:lnTo>
                  <a:lnTo>
                    <a:pt x="585" y="725"/>
                  </a:lnTo>
                  <a:lnTo>
                    <a:pt x="586" y="725"/>
                  </a:lnTo>
                  <a:lnTo>
                    <a:pt x="587" y="728"/>
                  </a:lnTo>
                  <a:lnTo>
                    <a:pt x="587" y="729"/>
                  </a:lnTo>
                  <a:lnTo>
                    <a:pt x="586" y="729"/>
                  </a:lnTo>
                  <a:lnTo>
                    <a:pt x="585" y="728"/>
                  </a:lnTo>
                  <a:lnTo>
                    <a:pt x="584" y="725"/>
                  </a:lnTo>
                  <a:lnTo>
                    <a:pt x="581" y="723"/>
                  </a:lnTo>
                  <a:lnTo>
                    <a:pt x="579" y="722"/>
                  </a:lnTo>
                  <a:lnTo>
                    <a:pt x="576" y="722"/>
                  </a:lnTo>
                  <a:lnTo>
                    <a:pt x="574" y="722"/>
                  </a:lnTo>
                  <a:lnTo>
                    <a:pt x="575" y="725"/>
                  </a:lnTo>
                  <a:lnTo>
                    <a:pt x="578" y="728"/>
                  </a:lnTo>
                  <a:lnTo>
                    <a:pt x="578" y="729"/>
                  </a:lnTo>
                  <a:lnTo>
                    <a:pt x="580" y="729"/>
                  </a:lnTo>
                  <a:lnTo>
                    <a:pt x="583" y="730"/>
                  </a:lnTo>
                  <a:lnTo>
                    <a:pt x="584" y="731"/>
                  </a:lnTo>
                  <a:lnTo>
                    <a:pt x="586" y="732"/>
                  </a:lnTo>
                  <a:lnTo>
                    <a:pt x="586" y="734"/>
                  </a:lnTo>
                  <a:lnTo>
                    <a:pt x="586" y="735"/>
                  </a:lnTo>
                  <a:lnTo>
                    <a:pt x="585" y="735"/>
                  </a:lnTo>
                  <a:lnTo>
                    <a:pt x="584" y="734"/>
                  </a:lnTo>
                  <a:lnTo>
                    <a:pt x="584" y="735"/>
                  </a:lnTo>
                  <a:lnTo>
                    <a:pt x="583" y="734"/>
                  </a:lnTo>
                  <a:lnTo>
                    <a:pt x="581" y="732"/>
                  </a:lnTo>
                  <a:lnTo>
                    <a:pt x="579" y="730"/>
                  </a:lnTo>
                  <a:lnTo>
                    <a:pt x="578" y="730"/>
                  </a:lnTo>
                  <a:lnTo>
                    <a:pt x="576" y="729"/>
                  </a:lnTo>
                  <a:lnTo>
                    <a:pt x="578" y="731"/>
                  </a:lnTo>
                  <a:lnTo>
                    <a:pt x="579" y="735"/>
                  </a:lnTo>
                  <a:lnTo>
                    <a:pt x="576" y="735"/>
                  </a:lnTo>
                  <a:lnTo>
                    <a:pt x="575" y="734"/>
                  </a:lnTo>
                  <a:lnTo>
                    <a:pt x="575" y="735"/>
                  </a:lnTo>
                  <a:lnTo>
                    <a:pt x="575" y="736"/>
                  </a:lnTo>
                  <a:lnTo>
                    <a:pt x="574" y="735"/>
                  </a:lnTo>
                  <a:lnTo>
                    <a:pt x="573" y="734"/>
                  </a:lnTo>
                  <a:lnTo>
                    <a:pt x="573" y="732"/>
                  </a:lnTo>
                  <a:lnTo>
                    <a:pt x="573" y="730"/>
                  </a:lnTo>
                  <a:lnTo>
                    <a:pt x="572" y="728"/>
                  </a:lnTo>
                  <a:lnTo>
                    <a:pt x="570" y="730"/>
                  </a:lnTo>
                  <a:lnTo>
                    <a:pt x="572" y="728"/>
                  </a:lnTo>
                  <a:lnTo>
                    <a:pt x="572" y="726"/>
                  </a:lnTo>
                  <a:lnTo>
                    <a:pt x="570" y="725"/>
                  </a:lnTo>
                  <a:lnTo>
                    <a:pt x="569" y="725"/>
                  </a:lnTo>
                  <a:lnTo>
                    <a:pt x="569" y="726"/>
                  </a:lnTo>
                  <a:lnTo>
                    <a:pt x="568" y="724"/>
                  </a:lnTo>
                  <a:lnTo>
                    <a:pt x="568" y="723"/>
                  </a:lnTo>
                  <a:lnTo>
                    <a:pt x="567" y="723"/>
                  </a:lnTo>
                  <a:lnTo>
                    <a:pt x="567" y="724"/>
                  </a:lnTo>
                  <a:lnTo>
                    <a:pt x="567" y="726"/>
                  </a:lnTo>
                  <a:lnTo>
                    <a:pt x="568" y="729"/>
                  </a:lnTo>
                  <a:lnTo>
                    <a:pt x="568" y="731"/>
                  </a:lnTo>
                  <a:lnTo>
                    <a:pt x="568" y="732"/>
                  </a:lnTo>
                  <a:lnTo>
                    <a:pt x="569" y="734"/>
                  </a:lnTo>
                  <a:lnTo>
                    <a:pt x="569" y="735"/>
                  </a:lnTo>
                  <a:lnTo>
                    <a:pt x="569" y="736"/>
                  </a:lnTo>
                  <a:lnTo>
                    <a:pt x="568" y="740"/>
                  </a:lnTo>
                  <a:lnTo>
                    <a:pt x="568" y="738"/>
                  </a:lnTo>
                  <a:lnTo>
                    <a:pt x="566" y="737"/>
                  </a:lnTo>
                  <a:lnTo>
                    <a:pt x="564" y="737"/>
                  </a:lnTo>
                  <a:lnTo>
                    <a:pt x="564" y="736"/>
                  </a:lnTo>
                  <a:lnTo>
                    <a:pt x="564" y="734"/>
                  </a:lnTo>
                  <a:lnTo>
                    <a:pt x="564" y="731"/>
                  </a:lnTo>
                  <a:lnTo>
                    <a:pt x="563" y="732"/>
                  </a:lnTo>
                  <a:lnTo>
                    <a:pt x="563" y="734"/>
                  </a:lnTo>
                  <a:lnTo>
                    <a:pt x="563" y="736"/>
                  </a:lnTo>
                  <a:lnTo>
                    <a:pt x="563" y="737"/>
                  </a:lnTo>
                  <a:lnTo>
                    <a:pt x="563" y="738"/>
                  </a:lnTo>
                  <a:lnTo>
                    <a:pt x="563" y="740"/>
                  </a:lnTo>
                  <a:lnTo>
                    <a:pt x="562" y="741"/>
                  </a:lnTo>
                  <a:lnTo>
                    <a:pt x="562" y="740"/>
                  </a:lnTo>
                  <a:lnTo>
                    <a:pt x="561" y="741"/>
                  </a:lnTo>
                  <a:lnTo>
                    <a:pt x="561" y="742"/>
                  </a:lnTo>
                  <a:lnTo>
                    <a:pt x="560" y="742"/>
                  </a:lnTo>
                  <a:lnTo>
                    <a:pt x="560" y="740"/>
                  </a:lnTo>
                  <a:lnTo>
                    <a:pt x="561" y="736"/>
                  </a:lnTo>
                  <a:lnTo>
                    <a:pt x="560" y="734"/>
                  </a:lnTo>
                  <a:lnTo>
                    <a:pt x="560" y="730"/>
                  </a:lnTo>
                  <a:lnTo>
                    <a:pt x="558" y="735"/>
                  </a:lnTo>
                  <a:lnTo>
                    <a:pt x="557" y="735"/>
                  </a:lnTo>
                  <a:lnTo>
                    <a:pt x="557" y="732"/>
                  </a:lnTo>
                  <a:lnTo>
                    <a:pt x="557" y="730"/>
                  </a:lnTo>
                  <a:lnTo>
                    <a:pt x="556" y="728"/>
                  </a:lnTo>
                  <a:lnTo>
                    <a:pt x="556" y="725"/>
                  </a:lnTo>
                  <a:lnTo>
                    <a:pt x="555" y="724"/>
                  </a:lnTo>
                  <a:lnTo>
                    <a:pt x="555" y="726"/>
                  </a:lnTo>
                  <a:lnTo>
                    <a:pt x="555" y="730"/>
                  </a:lnTo>
                  <a:lnTo>
                    <a:pt x="556" y="734"/>
                  </a:lnTo>
                  <a:lnTo>
                    <a:pt x="556" y="735"/>
                  </a:lnTo>
                  <a:lnTo>
                    <a:pt x="557" y="737"/>
                  </a:lnTo>
                  <a:lnTo>
                    <a:pt x="558" y="740"/>
                  </a:lnTo>
                  <a:lnTo>
                    <a:pt x="557" y="740"/>
                  </a:lnTo>
                  <a:lnTo>
                    <a:pt x="557" y="741"/>
                  </a:lnTo>
                  <a:lnTo>
                    <a:pt x="556" y="741"/>
                  </a:lnTo>
                  <a:lnTo>
                    <a:pt x="556" y="740"/>
                  </a:lnTo>
                  <a:lnTo>
                    <a:pt x="555" y="738"/>
                  </a:lnTo>
                  <a:lnTo>
                    <a:pt x="554" y="736"/>
                  </a:lnTo>
                  <a:lnTo>
                    <a:pt x="554" y="735"/>
                  </a:lnTo>
                  <a:lnTo>
                    <a:pt x="554" y="732"/>
                  </a:lnTo>
                  <a:lnTo>
                    <a:pt x="552" y="731"/>
                  </a:lnTo>
                  <a:lnTo>
                    <a:pt x="552" y="732"/>
                  </a:lnTo>
                  <a:lnTo>
                    <a:pt x="552" y="735"/>
                  </a:lnTo>
                  <a:lnTo>
                    <a:pt x="552" y="736"/>
                  </a:lnTo>
                  <a:lnTo>
                    <a:pt x="551" y="737"/>
                  </a:lnTo>
                  <a:lnTo>
                    <a:pt x="550" y="735"/>
                  </a:lnTo>
                  <a:lnTo>
                    <a:pt x="550" y="732"/>
                  </a:lnTo>
                  <a:lnTo>
                    <a:pt x="549" y="732"/>
                  </a:lnTo>
                  <a:lnTo>
                    <a:pt x="548" y="729"/>
                  </a:lnTo>
                  <a:lnTo>
                    <a:pt x="548" y="730"/>
                  </a:lnTo>
                  <a:lnTo>
                    <a:pt x="548" y="732"/>
                  </a:lnTo>
                  <a:lnTo>
                    <a:pt x="549" y="735"/>
                  </a:lnTo>
                  <a:lnTo>
                    <a:pt x="549" y="737"/>
                  </a:lnTo>
                  <a:lnTo>
                    <a:pt x="548" y="737"/>
                  </a:lnTo>
                  <a:lnTo>
                    <a:pt x="549" y="738"/>
                  </a:lnTo>
                  <a:lnTo>
                    <a:pt x="548" y="740"/>
                  </a:lnTo>
                  <a:lnTo>
                    <a:pt x="546" y="738"/>
                  </a:lnTo>
                  <a:lnTo>
                    <a:pt x="546" y="741"/>
                  </a:lnTo>
                  <a:lnTo>
                    <a:pt x="548" y="742"/>
                  </a:lnTo>
                  <a:lnTo>
                    <a:pt x="548" y="743"/>
                  </a:lnTo>
                  <a:lnTo>
                    <a:pt x="551" y="744"/>
                  </a:lnTo>
                  <a:lnTo>
                    <a:pt x="550" y="744"/>
                  </a:lnTo>
                  <a:lnTo>
                    <a:pt x="548" y="743"/>
                  </a:lnTo>
                  <a:lnTo>
                    <a:pt x="549" y="744"/>
                  </a:lnTo>
                  <a:lnTo>
                    <a:pt x="549" y="747"/>
                  </a:lnTo>
                  <a:lnTo>
                    <a:pt x="548" y="747"/>
                  </a:lnTo>
                  <a:lnTo>
                    <a:pt x="546" y="747"/>
                  </a:lnTo>
                  <a:lnTo>
                    <a:pt x="543" y="743"/>
                  </a:lnTo>
                  <a:lnTo>
                    <a:pt x="543" y="741"/>
                  </a:lnTo>
                  <a:lnTo>
                    <a:pt x="542" y="740"/>
                  </a:lnTo>
                  <a:lnTo>
                    <a:pt x="543" y="735"/>
                  </a:lnTo>
                  <a:lnTo>
                    <a:pt x="542" y="734"/>
                  </a:lnTo>
                  <a:lnTo>
                    <a:pt x="542" y="730"/>
                  </a:lnTo>
                  <a:lnTo>
                    <a:pt x="542" y="729"/>
                  </a:lnTo>
                  <a:lnTo>
                    <a:pt x="540" y="729"/>
                  </a:lnTo>
                  <a:lnTo>
                    <a:pt x="540" y="731"/>
                  </a:lnTo>
                  <a:lnTo>
                    <a:pt x="540" y="732"/>
                  </a:lnTo>
                  <a:lnTo>
                    <a:pt x="539" y="732"/>
                  </a:lnTo>
                  <a:lnTo>
                    <a:pt x="539" y="735"/>
                  </a:lnTo>
                  <a:lnTo>
                    <a:pt x="539" y="737"/>
                  </a:lnTo>
                  <a:lnTo>
                    <a:pt x="540" y="740"/>
                  </a:lnTo>
                  <a:lnTo>
                    <a:pt x="540" y="741"/>
                  </a:lnTo>
                  <a:lnTo>
                    <a:pt x="540" y="742"/>
                  </a:lnTo>
                  <a:lnTo>
                    <a:pt x="542" y="743"/>
                  </a:lnTo>
                  <a:lnTo>
                    <a:pt x="543" y="746"/>
                  </a:lnTo>
                  <a:lnTo>
                    <a:pt x="544" y="747"/>
                  </a:lnTo>
                  <a:lnTo>
                    <a:pt x="544" y="749"/>
                  </a:lnTo>
                  <a:lnTo>
                    <a:pt x="543" y="750"/>
                  </a:lnTo>
                  <a:lnTo>
                    <a:pt x="543" y="752"/>
                  </a:lnTo>
                  <a:lnTo>
                    <a:pt x="543" y="753"/>
                  </a:lnTo>
                  <a:lnTo>
                    <a:pt x="544" y="755"/>
                  </a:lnTo>
                  <a:lnTo>
                    <a:pt x="544" y="756"/>
                  </a:lnTo>
                  <a:lnTo>
                    <a:pt x="545" y="758"/>
                  </a:lnTo>
                  <a:lnTo>
                    <a:pt x="548" y="758"/>
                  </a:lnTo>
                  <a:lnTo>
                    <a:pt x="550" y="758"/>
                  </a:lnTo>
                  <a:lnTo>
                    <a:pt x="554" y="756"/>
                  </a:lnTo>
                  <a:lnTo>
                    <a:pt x="557" y="755"/>
                  </a:lnTo>
                  <a:lnTo>
                    <a:pt x="558" y="754"/>
                  </a:lnTo>
                  <a:lnTo>
                    <a:pt x="560" y="754"/>
                  </a:lnTo>
                  <a:lnTo>
                    <a:pt x="562" y="754"/>
                  </a:lnTo>
                  <a:lnTo>
                    <a:pt x="564" y="753"/>
                  </a:lnTo>
                  <a:lnTo>
                    <a:pt x="567" y="753"/>
                  </a:lnTo>
                  <a:lnTo>
                    <a:pt x="567" y="754"/>
                  </a:lnTo>
                  <a:lnTo>
                    <a:pt x="566" y="755"/>
                  </a:lnTo>
                  <a:lnTo>
                    <a:pt x="566" y="756"/>
                  </a:lnTo>
                  <a:lnTo>
                    <a:pt x="564" y="756"/>
                  </a:lnTo>
                  <a:lnTo>
                    <a:pt x="563" y="756"/>
                  </a:lnTo>
                  <a:lnTo>
                    <a:pt x="564" y="758"/>
                  </a:lnTo>
                  <a:lnTo>
                    <a:pt x="563" y="758"/>
                  </a:lnTo>
                  <a:lnTo>
                    <a:pt x="562" y="758"/>
                  </a:lnTo>
                  <a:lnTo>
                    <a:pt x="561" y="756"/>
                  </a:lnTo>
                  <a:lnTo>
                    <a:pt x="560" y="758"/>
                  </a:lnTo>
                  <a:lnTo>
                    <a:pt x="562" y="759"/>
                  </a:lnTo>
                  <a:lnTo>
                    <a:pt x="562" y="760"/>
                  </a:lnTo>
                  <a:lnTo>
                    <a:pt x="561" y="761"/>
                  </a:lnTo>
                  <a:lnTo>
                    <a:pt x="560" y="761"/>
                  </a:lnTo>
                  <a:lnTo>
                    <a:pt x="558" y="761"/>
                  </a:lnTo>
                  <a:lnTo>
                    <a:pt x="557" y="760"/>
                  </a:lnTo>
                  <a:lnTo>
                    <a:pt x="558" y="761"/>
                  </a:lnTo>
                  <a:lnTo>
                    <a:pt x="558" y="764"/>
                  </a:lnTo>
                  <a:lnTo>
                    <a:pt x="557" y="765"/>
                  </a:lnTo>
                  <a:lnTo>
                    <a:pt x="557" y="766"/>
                  </a:lnTo>
                  <a:lnTo>
                    <a:pt x="556" y="767"/>
                  </a:lnTo>
                  <a:lnTo>
                    <a:pt x="555" y="767"/>
                  </a:lnTo>
                  <a:lnTo>
                    <a:pt x="554" y="767"/>
                  </a:lnTo>
                  <a:lnTo>
                    <a:pt x="554" y="768"/>
                  </a:lnTo>
                  <a:lnTo>
                    <a:pt x="551" y="770"/>
                  </a:lnTo>
                  <a:lnTo>
                    <a:pt x="554" y="771"/>
                  </a:lnTo>
                  <a:lnTo>
                    <a:pt x="554" y="772"/>
                  </a:lnTo>
                  <a:lnTo>
                    <a:pt x="552" y="772"/>
                  </a:lnTo>
                  <a:lnTo>
                    <a:pt x="551" y="773"/>
                  </a:lnTo>
                  <a:lnTo>
                    <a:pt x="550" y="773"/>
                  </a:lnTo>
                  <a:lnTo>
                    <a:pt x="550" y="772"/>
                  </a:lnTo>
                  <a:lnTo>
                    <a:pt x="549" y="772"/>
                  </a:lnTo>
                  <a:lnTo>
                    <a:pt x="548" y="772"/>
                  </a:lnTo>
                  <a:lnTo>
                    <a:pt x="546" y="770"/>
                  </a:lnTo>
                  <a:lnTo>
                    <a:pt x="546" y="768"/>
                  </a:lnTo>
                  <a:lnTo>
                    <a:pt x="545" y="770"/>
                  </a:lnTo>
                  <a:lnTo>
                    <a:pt x="546" y="771"/>
                  </a:lnTo>
                  <a:lnTo>
                    <a:pt x="548" y="772"/>
                  </a:lnTo>
                  <a:lnTo>
                    <a:pt x="548" y="773"/>
                  </a:lnTo>
                  <a:lnTo>
                    <a:pt x="546" y="775"/>
                  </a:lnTo>
                  <a:lnTo>
                    <a:pt x="546" y="776"/>
                  </a:lnTo>
                  <a:lnTo>
                    <a:pt x="544" y="776"/>
                  </a:lnTo>
                  <a:lnTo>
                    <a:pt x="543" y="777"/>
                  </a:lnTo>
                  <a:lnTo>
                    <a:pt x="540" y="776"/>
                  </a:lnTo>
                  <a:lnTo>
                    <a:pt x="540" y="777"/>
                  </a:lnTo>
                  <a:lnTo>
                    <a:pt x="538" y="777"/>
                  </a:lnTo>
                  <a:lnTo>
                    <a:pt x="537" y="776"/>
                  </a:lnTo>
                  <a:lnTo>
                    <a:pt x="536" y="777"/>
                  </a:lnTo>
                  <a:lnTo>
                    <a:pt x="534" y="777"/>
                  </a:lnTo>
                  <a:lnTo>
                    <a:pt x="533" y="777"/>
                  </a:lnTo>
                  <a:lnTo>
                    <a:pt x="533" y="776"/>
                  </a:lnTo>
                  <a:lnTo>
                    <a:pt x="532" y="776"/>
                  </a:lnTo>
                  <a:lnTo>
                    <a:pt x="531" y="776"/>
                  </a:lnTo>
                  <a:lnTo>
                    <a:pt x="530" y="776"/>
                  </a:lnTo>
                  <a:lnTo>
                    <a:pt x="530" y="775"/>
                  </a:lnTo>
                  <a:lnTo>
                    <a:pt x="528" y="776"/>
                  </a:lnTo>
                  <a:lnTo>
                    <a:pt x="527" y="776"/>
                  </a:lnTo>
                  <a:lnTo>
                    <a:pt x="526" y="776"/>
                  </a:lnTo>
                  <a:lnTo>
                    <a:pt x="525" y="776"/>
                  </a:lnTo>
                  <a:lnTo>
                    <a:pt x="524" y="776"/>
                  </a:lnTo>
                  <a:lnTo>
                    <a:pt x="524" y="777"/>
                  </a:lnTo>
                  <a:lnTo>
                    <a:pt x="521" y="777"/>
                  </a:lnTo>
                  <a:lnTo>
                    <a:pt x="520" y="777"/>
                  </a:lnTo>
                  <a:lnTo>
                    <a:pt x="519" y="777"/>
                  </a:lnTo>
                  <a:lnTo>
                    <a:pt x="518" y="778"/>
                  </a:lnTo>
                  <a:lnTo>
                    <a:pt x="518" y="777"/>
                  </a:lnTo>
                  <a:lnTo>
                    <a:pt x="516" y="776"/>
                  </a:lnTo>
                  <a:lnTo>
                    <a:pt x="515" y="776"/>
                  </a:lnTo>
                  <a:lnTo>
                    <a:pt x="515" y="777"/>
                  </a:lnTo>
                  <a:lnTo>
                    <a:pt x="514" y="777"/>
                  </a:lnTo>
                  <a:lnTo>
                    <a:pt x="513" y="777"/>
                  </a:lnTo>
                  <a:lnTo>
                    <a:pt x="511" y="777"/>
                  </a:lnTo>
                  <a:lnTo>
                    <a:pt x="510" y="777"/>
                  </a:lnTo>
                  <a:lnTo>
                    <a:pt x="509" y="778"/>
                  </a:lnTo>
                  <a:lnTo>
                    <a:pt x="508" y="779"/>
                  </a:lnTo>
                  <a:lnTo>
                    <a:pt x="507" y="781"/>
                  </a:lnTo>
                  <a:lnTo>
                    <a:pt x="507" y="782"/>
                  </a:lnTo>
                  <a:lnTo>
                    <a:pt x="505" y="782"/>
                  </a:lnTo>
                  <a:lnTo>
                    <a:pt x="504" y="783"/>
                  </a:lnTo>
                  <a:lnTo>
                    <a:pt x="502" y="783"/>
                  </a:lnTo>
                  <a:lnTo>
                    <a:pt x="501" y="783"/>
                  </a:lnTo>
                  <a:lnTo>
                    <a:pt x="503" y="784"/>
                  </a:lnTo>
                  <a:lnTo>
                    <a:pt x="504" y="784"/>
                  </a:lnTo>
                  <a:lnTo>
                    <a:pt x="504" y="785"/>
                  </a:lnTo>
                  <a:lnTo>
                    <a:pt x="503" y="785"/>
                  </a:lnTo>
                  <a:lnTo>
                    <a:pt x="501" y="784"/>
                  </a:lnTo>
                  <a:lnTo>
                    <a:pt x="499" y="785"/>
                  </a:lnTo>
                  <a:lnTo>
                    <a:pt x="502" y="787"/>
                  </a:lnTo>
                  <a:lnTo>
                    <a:pt x="501" y="788"/>
                  </a:lnTo>
                  <a:lnTo>
                    <a:pt x="502" y="789"/>
                  </a:lnTo>
                  <a:lnTo>
                    <a:pt x="501" y="789"/>
                  </a:lnTo>
                  <a:lnTo>
                    <a:pt x="499" y="788"/>
                  </a:lnTo>
                  <a:lnTo>
                    <a:pt x="498" y="789"/>
                  </a:lnTo>
                  <a:lnTo>
                    <a:pt x="499" y="790"/>
                  </a:lnTo>
                  <a:lnTo>
                    <a:pt x="498" y="790"/>
                  </a:lnTo>
                  <a:lnTo>
                    <a:pt x="497" y="790"/>
                  </a:lnTo>
                  <a:lnTo>
                    <a:pt x="497" y="791"/>
                  </a:lnTo>
                  <a:lnTo>
                    <a:pt x="496" y="791"/>
                  </a:lnTo>
                  <a:lnTo>
                    <a:pt x="495" y="790"/>
                  </a:lnTo>
                  <a:lnTo>
                    <a:pt x="493" y="790"/>
                  </a:lnTo>
                  <a:lnTo>
                    <a:pt x="495" y="791"/>
                  </a:lnTo>
                  <a:lnTo>
                    <a:pt x="496" y="794"/>
                  </a:lnTo>
                  <a:lnTo>
                    <a:pt x="496" y="795"/>
                  </a:lnTo>
                  <a:lnTo>
                    <a:pt x="495" y="795"/>
                  </a:lnTo>
                  <a:lnTo>
                    <a:pt x="493" y="793"/>
                  </a:lnTo>
                  <a:lnTo>
                    <a:pt x="492" y="791"/>
                  </a:lnTo>
                  <a:lnTo>
                    <a:pt x="492" y="793"/>
                  </a:lnTo>
                  <a:lnTo>
                    <a:pt x="493" y="794"/>
                  </a:lnTo>
                  <a:lnTo>
                    <a:pt x="492" y="795"/>
                  </a:lnTo>
                  <a:lnTo>
                    <a:pt x="492" y="796"/>
                  </a:lnTo>
                  <a:lnTo>
                    <a:pt x="493" y="796"/>
                  </a:lnTo>
                  <a:lnTo>
                    <a:pt x="493" y="799"/>
                  </a:lnTo>
                  <a:lnTo>
                    <a:pt x="493" y="800"/>
                  </a:lnTo>
                  <a:lnTo>
                    <a:pt x="495" y="801"/>
                  </a:lnTo>
                  <a:lnTo>
                    <a:pt x="496" y="803"/>
                  </a:lnTo>
                  <a:lnTo>
                    <a:pt x="496" y="805"/>
                  </a:lnTo>
                  <a:lnTo>
                    <a:pt x="497" y="807"/>
                  </a:lnTo>
                  <a:lnTo>
                    <a:pt x="499" y="809"/>
                  </a:lnTo>
                  <a:lnTo>
                    <a:pt x="502" y="811"/>
                  </a:lnTo>
                  <a:lnTo>
                    <a:pt x="503" y="812"/>
                  </a:lnTo>
                  <a:lnTo>
                    <a:pt x="502" y="813"/>
                  </a:lnTo>
                  <a:lnTo>
                    <a:pt x="501" y="814"/>
                  </a:lnTo>
                  <a:lnTo>
                    <a:pt x="501" y="815"/>
                  </a:lnTo>
                  <a:lnTo>
                    <a:pt x="501" y="817"/>
                  </a:lnTo>
                  <a:lnTo>
                    <a:pt x="499" y="818"/>
                  </a:lnTo>
                  <a:lnTo>
                    <a:pt x="498" y="818"/>
                  </a:lnTo>
                  <a:lnTo>
                    <a:pt x="497" y="818"/>
                  </a:lnTo>
                  <a:lnTo>
                    <a:pt x="496" y="819"/>
                  </a:lnTo>
                  <a:lnTo>
                    <a:pt x="498" y="820"/>
                  </a:lnTo>
                  <a:lnTo>
                    <a:pt x="499" y="821"/>
                  </a:lnTo>
                  <a:lnTo>
                    <a:pt x="498" y="821"/>
                  </a:lnTo>
                  <a:lnTo>
                    <a:pt x="497" y="820"/>
                  </a:lnTo>
                  <a:lnTo>
                    <a:pt x="496" y="819"/>
                  </a:lnTo>
                  <a:lnTo>
                    <a:pt x="495" y="818"/>
                  </a:lnTo>
                  <a:lnTo>
                    <a:pt x="492" y="817"/>
                  </a:lnTo>
                  <a:lnTo>
                    <a:pt x="492" y="815"/>
                  </a:lnTo>
                  <a:lnTo>
                    <a:pt x="490" y="814"/>
                  </a:lnTo>
                  <a:lnTo>
                    <a:pt x="489" y="815"/>
                  </a:lnTo>
                  <a:lnTo>
                    <a:pt x="487" y="817"/>
                  </a:lnTo>
                  <a:lnTo>
                    <a:pt x="486" y="817"/>
                  </a:lnTo>
                  <a:lnTo>
                    <a:pt x="484" y="817"/>
                  </a:lnTo>
                  <a:lnTo>
                    <a:pt x="484" y="818"/>
                  </a:lnTo>
                  <a:lnTo>
                    <a:pt x="484" y="819"/>
                  </a:lnTo>
                  <a:lnTo>
                    <a:pt x="483" y="820"/>
                  </a:lnTo>
                  <a:lnTo>
                    <a:pt x="481" y="819"/>
                  </a:lnTo>
                  <a:lnTo>
                    <a:pt x="481" y="820"/>
                  </a:lnTo>
                  <a:lnTo>
                    <a:pt x="480" y="820"/>
                  </a:lnTo>
                  <a:lnTo>
                    <a:pt x="481" y="821"/>
                  </a:lnTo>
                  <a:lnTo>
                    <a:pt x="480" y="823"/>
                  </a:lnTo>
                  <a:lnTo>
                    <a:pt x="479" y="823"/>
                  </a:lnTo>
                  <a:lnTo>
                    <a:pt x="478" y="823"/>
                  </a:lnTo>
                  <a:lnTo>
                    <a:pt x="478" y="824"/>
                  </a:lnTo>
                  <a:lnTo>
                    <a:pt x="478" y="825"/>
                  </a:lnTo>
                  <a:lnTo>
                    <a:pt x="477" y="825"/>
                  </a:lnTo>
                  <a:lnTo>
                    <a:pt x="477" y="824"/>
                  </a:lnTo>
                  <a:lnTo>
                    <a:pt x="475" y="825"/>
                  </a:lnTo>
                  <a:lnTo>
                    <a:pt x="474" y="825"/>
                  </a:lnTo>
                  <a:lnTo>
                    <a:pt x="473" y="825"/>
                  </a:lnTo>
                  <a:lnTo>
                    <a:pt x="472" y="825"/>
                  </a:lnTo>
                  <a:lnTo>
                    <a:pt x="472" y="823"/>
                  </a:lnTo>
                  <a:lnTo>
                    <a:pt x="471" y="820"/>
                  </a:lnTo>
                  <a:lnTo>
                    <a:pt x="471" y="819"/>
                  </a:lnTo>
                  <a:lnTo>
                    <a:pt x="471" y="818"/>
                  </a:lnTo>
                  <a:lnTo>
                    <a:pt x="471" y="817"/>
                  </a:lnTo>
                  <a:lnTo>
                    <a:pt x="471" y="814"/>
                  </a:lnTo>
                  <a:lnTo>
                    <a:pt x="471" y="813"/>
                  </a:lnTo>
                  <a:lnTo>
                    <a:pt x="473" y="812"/>
                  </a:lnTo>
                  <a:lnTo>
                    <a:pt x="474" y="812"/>
                  </a:lnTo>
                  <a:lnTo>
                    <a:pt x="473" y="809"/>
                  </a:lnTo>
                  <a:lnTo>
                    <a:pt x="472" y="807"/>
                  </a:lnTo>
                  <a:lnTo>
                    <a:pt x="471" y="806"/>
                  </a:lnTo>
                  <a:lnTo>
                    <a:pt x="468" y="806"/>
                  </a:lnTo>
                  <a:lnTo>
                    <a:pt x="467" y="806"/>
                  </a:lnTo>
                  <a:lnTo>
                    <a:pt x="466" y="806"/>
                  </a:lnTo>
                  <a:lnTo>
                    <a:pt x="466" y="805"/>
                  </a:lnTo>
                  <a:lnTo>
                    <a:pt x="465" y="805"/>
                  </a:lnTo>
                  <a:lnTo>
                    <a:pt x="462" y="805"/>
                  </a:lnTo>
                  <a:lnTo>
                    <a:pt x="461" y="805"/>
                  </a:lnTo>
                  <a:lnTo>
                    <a:pt x="460" y="805"/>
                  </a:lnTo>
                  <a:lnTo>
                    <a:pt x="459" y="806"/>
                  </a:lnTo>
                  <a:lnTo>
                    <a:pt x="457" y="806"/>
                  </a:lnTo>
                  <a:lnTo>
                    <a:pt x="456" y="806"/>
                  </a:lnTo>
                  <a:lnTo>
                    <a:pt x="455" y="806"/>
                  </a:lnTo>
                  <a:lnTo>
                    <a:pt x="454" y="805"/>
                  </a:lnTo>
                  <a:lnTo>
                    <a:pt x="452" y="805"/>
                  </a:lnTo>
                  <a:lnTo>
                    <a:pt x="452" y="803"/>
                  </a:lnTo>
                  <a:lnTo>
                    <a:pt x="451" y="803"/>
                  </a:lnTo>
                  <a:lnTo>
                    <a:pt x="450" y="803"/>
                  </a:lnTo>
                  <a:lnTo>
                    <a:pt x="449" y="802"/>
                  </a:lnTo>
                  <a:lnTo>
                    <a:pt x="449" y="801"/>
                  </a:lnTo>
                  <a:lnTo>
                    <a:pt x="449" y="800"/>
                  </a:lnTo>
                  <a:lnTo>
                    <a:pt x="448" y="800"/>
                  </a:lnTo>
                  <a:lnTo>
                    <a:pt x="444" y="800"/>
                  </a:lnTo>
                  <a:lnTo>
                    <a:pt x="444" y="799"/>
                  </a:lnTo>
                  <a:lnTo>
                    <a:pt x="444" y="801"/>
                  </a:lnTo>
                  <a:lnTo>
                    <a:pt x="443" y="802"/>
                  </a:lnTo>
                  <a:lnTo>
                    <a:pt x="442" y="801"/>
                  </a:lnTo>
                  <a:lnTo>
                    <a:pt x="440" y="801"/>
                  </a:lnTo>
                  <a:lnTo>
                    <a:pt x="440" y="800"/>
                  </a:lnTo>
                  <a:lnTo>
                    <a:pt x="440" y="797"/>
                  </a:lnTo>
                  <a:lnTo>
                    <a:pt x="440" y="796"/>
                  </a:lnTo>
                  <a:lnTo>
                    <a:pt x="440" y="797"/>
                  </a:lnTo>
                  <a:lnTo>
                    <a:pt x="440" y="800"/>
                  </a:lnTo>
                  <a:lnTo>
                    <a:pt x="440" y="801"/>
                  </a:lnTo>
                  <a:lnTo>
                    <a:pt x="439" y="800"/>
                  </a:lnTo>
                  <a:lnTo>
                    <a:pt x="439" y="801"/>
                  </a:lnTo>
                  <a:lnTo>
                    <a:pt x="439" y="802"/>
                  </a:lnTo>
                  <a:lnTo>
                    <a:pt x="439" y="803"/>
                  </a:lnTo>
                  <a:lnTo>
                    <a:pt x="438" y="803"/>
                  </a:lnTo>
                  <a:lnTo>
                    <a:pt x="437" y="803"/>
                  </a:lnTo>
                  <a:lnTo>
                    <a:pt x="436" y="802"/>
                  </a:lnTo>
                  <a:lnTo>
                    <a:pt x="436" y="803"/>
                  </a:lnTo>
                  <a:lnTo>
                    <a:pt x="434" y="803"/>
                  </a:lnTo>
                  <a:lnTo>
                    <a:pt x="434" y="802"/>
                  </a:lnTo>
                  <a:lnTo>
                    <a:pt x="434" y="801"/>
                  </a:lnTo>
                  <a:lnTo>
                    <a:pt x="433" y="801"/>
                  </a:lnTo>
                  <a:lnTo>
                    <a:pt x="433" y="803"/>
                  </a:lnTo>
                  <a:lnTo>
                    <a:pt x="433" y="805"/>
                  </a:lnTo>
                  <a:lnTo>
                    <a:pt x="433" y="806"/>
                  </a:lnTo>
                  <a:lnTo>
                    <a:pt x="432" y="806"/>
                  </a:lnTo>
                  <a:lnTo>
                    <a:pt x="428" y="805"/>
                  </a:lnTo>
                  <a:lnTo>
                    <a:pt x="428" y="808"/>
                  </a:lnTo>
                  <a:lnTo>
                    <a:pt x="427" y="807"/>
                  </a:lnTo>
                  <a:lnTo>
                    <a:pt x="427" y="806"/>
                  </a:lnTo>
                  <a:lnTo>
                    <a:pt x="428" y="803"/>
                  </a:lnTo>
                  <a:lnTo>
                    <a:pt x="426" y="806"/>
                  </a:lnTo>
                  <a:lnTo>
                    <a:pt x="425" y="806"/>
                  </a:lnTo>
                  <a:lnTo>
                    <a:pt x="426" y="807"/>
                  </a:lnTo>
                  <a:lnTo>
                    <a:pt x="426" y="808"/>
                  </a:lnTo>
                  <a:lnTo>
                    <a:pt x="426" y="809"/>
                  </a:lnTo>
                  <a:lnTo>
                    <a:pt x="425" y="808"/>
                  </a:lnTo>
                  <a:lnTo>
                    <a:pt x="424" y="808"/>
                  </a:lnTo>
                  <a:lnTo>
                    <a:pt x="422" y="807"/>
                  </a:lnTo>
                  <a:lnTo>
                    <a:pt x="421" y="807"/>
                  </a:lnTo>
                  <a:lnTo>
                    <a:pt x="421" y="806"/>
                  </a:lnTo>
                  <a:lnTo>
                    <a:pt x="420" y="808"/>
                  </a:lnTo>
                  <a:lnTo>
                    <a:pt x="419" y="809"/>
                  </a:lnTo>
                  <a:lnTo>
                    <a:pt x="418" y="809"/>
                  </a:lnTo>
                  <a:lnTo>
                    <a:pt x="416" y="809"/>
                  </a:lnTo>
                  <a:lnTo>
                    <a:pt x="415" y="808"/>
                  </a:lnTo>
                  <a:lnTo>
                    <a:pt x="413" y="807"/>
                  </a:lnTo>
                  <a:lnTo>
                    <a:pt x="412" y="807"/>
                  </a:lnTo>
                  <a:lnTo>
                    <a:pt x="410" y="806"/>
                  </a:lnTo>
                  <a:lnTo>
                    <a:pt x="410" y="805"/>
                  </a:lnTo>
                  <a:lnTo>
                    <a:pt x="409" y="805"/>
                  </a:lnTo>
                  <a:lnTo>
                    <a:pt x="409" y="806"/>
                  </a:lnTo>
                  <a:lnTo>
                    <a:pt x="409" y="807"/>
                  </a:lnTo>
                  <a:lnTo>
                    <a:pt x="408" y="807"/>
                  </a:lnTo>
                  <a:lnTo>
                    <a:pt x="408" y="808"/>
                  </a:lnTo>
                  <a:lnTo>
                    <a:pt x="407" y="808"/>
                  </a:lnTo>
                  <a:lnTo>
                    <a:pt x="406" y="809"/>
                  </a:lnTo>
                  <a:lnTo>
                    <a:pt x="404" y="811"/>
                  </a:lnTo>
                  <a:lnTo>
                    <a:pt x="404" y="812"/>
                  </a:lnTo>
                  <a:lnTo>
                    <a:pt x="403" y="812"/>
                  </a:lnTo>
                  <a:lnTo>
                    <a:pt x="401" y="812"/>
                  </a:lnTo>
                  <a:lnTo>
                    <a:pt x="402" y="813"/>
                  </a:lnTo>
                  <a:lnTo>
                    <a:pt x="402" y="814"/>
                  </a:lnTo>
                  <a:lnTo>
                    <a:pt x="401" y="814"/>
                  </a:lnTo>
                  <a:lnTo>
                    <a:pt x="401" y="815"/>
                  </a:lnTo>
                  <a:lnTo>
                    <a:pt x="400" y="817"/>
                  </a:lnTo>
                  <a:lnTo>
                    <a:pt x="400" y="818"/>
                  </a:lnTo>
                  <a:lnTo>
                    <a:pt x="398" y="817"/>
                  </a:lnTo>
                  <a:lnTo>
                    <a:pt x="397" y="817"/>
                  </a:lnTo>
                  <a:lnTo>
                    <a:pt x="396" y="817"/>
                  </a:lnTo>
                  <a:lnTo>
                    <a:pt x="397" y="818"/>
                  </a:lnTo>
                  <a:lnTo>
                    <a:pt x="400" y="819"/>
                  </a:lnTo>
                  <a:lnTo>
                    <a:pt x="398" y="820"/>
                  </a:lnTo>
                  <a:lnTo>
                    <a:pt x="397" y="819"/>
                  </a:lnTo>
                  <a:lnTo>
                    <a:pt x="395" y="819"/>
                  </a:lnTo>
                  <a:lnTo>
                    <a:pt x="393" y="817"/>
                  </a:lnTo>
                  <a:lnTo>
                    <a:pt x="391" y="817"/>
                  </a:lnTo>
                  <a:lnTo>
                    <a:pt x="390" y="815"/>
                  </a:lnTo>
                  <a:lnTo>
                    <a:pt x="389" y="815"/>
                  </a:lnTo>
                  <a:lnTo>
                    <a:pt x="387" y="815"/>
                  </a:lnTo>
                  <a:lnTo>
                    <a:pt x="386" y="815"/>
                  </a:lnTo>
                  <a:lnTo>
                    <a:pt x="386" y="814"/>
                  </a:lnTo>
                  <a:lnTo>
                    <a:pt x="384" y="813"/>
                  </a:lnTo>
                  <a:lnTo>
                    <a:pt x="384" y="814"/>
                  </a:lnTo>
                  <a:lnTo>
                    <a:pt x="383" y="814"/>
                  </a:lnTo>
                  <a:lnTo>
                    <a:pt x="381" y="814"/>
                  </a:lnTo>
                  <a:lnTo>
                    <a:pt x="380" y="813"/>
                  </a:lnTo>
                  <a:lnTo>
                    <a:pt x="378" y="814"/>
                  </a:lnTo>
                  <a:lnTo>
                    <a:pt x="377" y="814"/>
                  </a:lnTo>
                  <a:lnTo>
                    <a:pt x="377" y="815"/>
                  </a:lnTo>
                  <a:lnTo>
                    <a:pt x="375" y="815"/>
                  </a:lnTo>
                  <a:lnTo>
                    <a:pt x="374" y="814"/>
                  </a:lnTo>
                  <a:lnTo>
                    <a:pt x="373" y="814"/>
                  </a:lnTo>
                  <a:lnTo>
                    <a:pt x="373" y="813"/>
                  </a:lnTo>
                  <a:lnTo>
                    <a:pt x="373" y="811"/>
                  </a:lnTo>
                  <a:lnTo>
                    <a:pt x="373" y="809"/>
                  </a:lnTo>
                  <a:lnTo>
                    <a:pt x="372" y="811"/>
                  </a:lnTo>
                  <a:lnTo>
                    <a:pt x="372" y="812"/>
                  </a:lnTo>
                  <a:lnTo>
                    <a:pt x="372" y="813"/>
                  </a:lnTo>
                  <a:lnTo>
                    <a:pt x="372" y="815"/>
                  </a:lnTo>
                  <a:lnTo>
                    <a:pt x="371" y="815"/>
                  </a:lnTo>
                  <a:lnTo>
                    <a:pt x="371" y="817"/>
                  </a:lnTo>
                  <a:lnTo>
                    <a:pt x="369" y="819"/>
                  </a:lnTo>
                  <a:lnTo>
                    <a:pt x="369" y="820"/>
                  </a:lnTo>
                  <a:lnTo>
                    <a:pt x="369" y="821"/>
                  </a:lnTo>
                  <a:lnTo>
                    <a:pt x="368" y="821"/>
                  </a:lnTo>
                  <a:lnTo>
                    <a:pt x="367" y="823"/>
                  </a:lnTo>
                  <a:lnTo>
                    <a:pt x="368" y="825"/>
                  </a:lnTo>
                  <a:lnTo>
                    <a:pt x="368" y="826"/>
                  </a:lnTo>
                  <a:lnTo>
                    <a:pt x="367" y="826"/>
                  </a:lnTo>
                  <a:lnTo>
                    <a:pt x="367" y="829"/>
                  </a:lnTo>
                  <a:lnTo>
                    <a:pt x="367" y="830"/>
                  </a:lnTo>
                  <a:lnTo>
                    <a:pt x="366" y="830"/>
                  </a:lnTo>
                  <a:lnTo>
                    <a:pt x="366" y="832"/>
                  </a:lnTo>
                  <a:lnTo>
                    <a:pt x="365" y="833"/>
                  </a:lnTo>
                  <a:lnTo>
                    <a:pt x="365" y="835"/>
                  </a:lnTo>
                  <a:lnTo>
                    <a:pt x="362" y="836"/>
                  </a:lnTo>
                  <a:lnTo>
                    <a:pt x="361" y="837"/>
                  </a:lnTo>
                  <a:lnTo>
                    <a:pt x="359" y="838"/>
                  </a:lnTo>
                  <a:lnTo>
                    <a:pt x="357" y="838"/>
                  </a:lnTo>
                  <a:lnTo>
                    <a:pt x="357" y="837"/>
                  </a:lnTo>
                  <a:lnTo>
                    <a:pt x="356" y="838"/>
                  </a:lnTo>
                  <a:lnTo>
                    <a:pt x="355" y="837"/>
                  </a:lnTo>
                  <a:lnTo>
                    <a:pt x="354" y="837"/>
                  </a:lnTo>
                  <a:lnTo>
                    <a:pt x="353" y="836"/>
                  </a:lnTo>
                  <a:lnTo>
                    <a:pt x="351" y="836"/>
                  </a:lnTo>
                  <a:lnTo>
                    <a:pt x="351" y="835"/>
                  </a:lnTo>
                  <a:lnTo>
                    <a:pt x="350" y="836"/>
                  </a:lnTo>
                  <a:lnTo>
                    <a:pt x="349" y="836"/>
                  </a:lnTo>
                  <a:lnTo>
                    <a:pt x="349" y="835"/>
                  </a:lnTo>
                  <a:lnTo>
                    <a:pt x="348" y="833"/>
                  </a:lnTo>
                  <a:lnTo>
                    <a:pt x="347" y="833"/>
                  </a:lnTo>
                  <a:lnTo>
                    <a:pt x="345" y="833"/>
                  </a:lnTo>
                  <a:lnTo>
                    <a:pt x="344" y="833"/>
                  </a:lnTo>
                  <a:lnTo>
                    <a:pt x="344" y="836"/>
                  </a:lnTo>
                  <a:lnTo>
                    <a:pt x="344" y="837"/>
                  </a:lnTo>
                  <a:lnTo>
                    <a:pt x="344" y="836"/>
                  </a:lnTo>
                  <a:lnTo>
                    <a:pt x="343" y="836"/>
                  </a:lnTo>
                  <a:lnTo>
                    <a:pt x="343" y="837"/>
                  </a:lnTo>
                  <a:lnTo>
                    <a:pt x="343" y="838"/>
                  </a:lnTo>
                  <a:lnTo>
                    <a:pt x="342" y="838"/>
                  </a:lnTo>
                  <a:lnTo>
                    <a:pt x="342" y="841"/>
                  </a:lnTo>
                  <a:lnTo>
                    <a:pt x="341" y="839"/>
                  </a:lnTo>
                  <a:lnTo>
                    <a:pt x="341" y="841"/>
                  </a:lnTo>
                  <a:lnTo>
                    <a:pt x="341" y="842"/>
                  </a:lnTo>
                  <a:lnTo>
                    <a:pt x="341" y="843"/>
                  </a:lnTo>
                  <a:lnTo>
                    <a:pt x="339" y="844"/>
                  </a:lnTo>
                  <a:lnTo>
                    <a:pt x="338" y="844"/>
                  </a:lnTo>
                  <a:lnTo>
                    <a:pt x="339" y="845"/>
                  </a:lnTo>
                  <a:lnTo>
                    <a:pt x="339" y="847"/>
                  </a:lnTo>
                  <a:lnTo>
                    <a:pt x="338" y="848"/>
                  </a:lnTo>
                  <a:lnTo>
                    <a:pt x="338" y="849"/>
                  </a:lnTo>
                  <a:lnTo>
                    <a:pt x="338" y="850"/>
                  </a:lnTo>
                  <a:lnTo>
                    <a:pt x="338" y="851"/>
                  </a:lnTo>
                  <a:lnTo>
                    <a:pt x="338" y="859"/>
                  </a:lnTo>
                  <a:lnTo>
                    <a:pt x="338" y="868"/>
                  </a:lnTo>
                  <a:lnTo>
                    <a:pt x="338" y="878"/>
                  </a:lnTo>
                  <a:lnTo>
                    <a:pt x="338" y="889"/>
                  </a:lnTo>
                  <a:lnTo>
                    <a:pt x="338" y="891"/>
                  </a:lnTo>
                  <a:lnTo>
                    <a:pt x="337" y="894"/>
                  </a:lnTo>
                  <a:lnTo>
                    <a:pt x="336" y="896"/>
                  </a:lnTo>
                  <a:lnTo>
                    <a:pt x="332" y="896"/>
                  </a:lnTo>
                  <a:lnTo>
                    <a:pt x="309" y="896"/>
                  </a:lnTo>
                  <a:lnTo>
                    <a:pt x="308" y="878"/>
                  </a:lnTo>
                  <a:lnTo>
                    <a:pt x="308" y="862"/>
                  </a:lnTo>
                  <a:lnTo>
                    <a:pt x="307" y="845"/>
                  </a:lnTo>
                  <a:lnTo>
                    <a:pt x="307" y="842"/>
                  </a:lnTo>
                  <a:lnTo>
                    <a:pt x="304" y="841"/>
                  </a:lnTo>
                  <a:lnTo>
                    <a:pt x="304" y="839"/>
                  </a:lnTo>
                  <a:lnTo>
                    <a:pt x="302" y="839"/>
                  </a:lnTo>
                  <a:lnTo>
                    <a:pt x="301" y="838"/>
                  </a:lnTo>
                  <a:lnTo>
                    <a:pt x="300" y="838"/>
                  </a:lnTo>
                  <a:lnTo>
                    <a:pt x="298" y="837"/>
                  </a:lnTo>
                  <a:lnTo>
                    <a:pt x="297" y="836"/>
                  </a:lnTo>
                  <a:lnTo>
                    <a:pt x="296" y="835"/>
                  </a:lnTo>
                  <a:lnTo>
                    <a:pt x="296" y="833"/>
                  </a:lnTo>
                  <a:lnTo>
                    <a:pt x="297" y="832"/>
                  </a:lnTo>
                  <a:lnTo>
                    <a:pt x="297" y="831"/>
                  </a:lnTo>
                  <a:lnTo>
                    <a:pt x="297" y="830"/>
                  </a:lnTo>
                  <a:lnTo>
                    <a:pt x="298" y="827"/>
                  </a:lnTo>
                  <a:lnTo>
                    <a:pt x="298" y="829"/>
                  </a:lnTo>
                  <a:lnTo>
                    <a:pt x="300" y="829"/>
                  </a:lnTo>
                  <a:lnTo>
                    <a:pt x="300" y="827"/>
                  </a:lnTo>
                  <a:lnTo>
                    <a:pt x="300" y="826"/>
                  </a:lnTo>
                  <a:lnTo>
                    <a:pt x="300" y="825"/>
                  </a:lnTo>
                  <a:lnTo>
                    <a:pt x="300" y="824"/>
                  </a:lnTo>
                  <a:lnTo>
                    <a:pt x="298" y="823"/>
                  </a:lnTo>
                  <a:lnTo>
                    <a:pt x="298" y="821"/>
                  </a:lnTo>
                  <a:lnTo>
                    <a:pt x="296" y="820"/>
                  </a:lnTo>
                  <a:lnTo>
                    <a:pt x="295" y="820"/>
                  </a:lnTo>
                  <a:lnTo>
                    <a:pt x="294" y="820"/>
                  </a:lnTo>
                  <a:lnTo>
                    <a:pt x="292" y="820"/>
                  </a:lnTo>
                  <a:lnTo>
                    <a:pt x="290" y="821"/>
                  </a:lnTo>
                  <a:lnTo>
                    <a:pt x="288" y="823"/>
                  </a:lnTo>
                  <a:lnTo>
                    <a:pt x="286" y="823"/>
                  </a:lnTo>
                  <a:lnTo>
                    <a:pt x="285" y="823"/>
                  </a:lnTo>
                  <a:lnTo>
                    <a:pt x="284" y="823"/>
                  </a:lnTo>
                  <a:lnTo>
                    <a:pt x="283" y="821"/>
                  </a:lnTo>
                  <a:lnTo>
                    <a:pt x="283" y="823"/>
                  </a:lnTo>
                  <a:lnTo>
                    <a:pt x="282" y="824"/>
                  </a:lnTo>
                  <a:lnTo>
                    <a:pt x="282" y="823"/>
                  </a:lnTo>
                  <a:lnTo>
                    <a:pt x="280" y="823"/>
                  </a:lnTo>
                  <a:lnTo>
                    <a:pt x="280" y="824"/>
                  </a:lnTo>
                  <a:lnTo>
                    <a:pt x="278" y="825"/>
                  </a:lnTo>
                  <a:lnTo>
                    <a:pt x="277" y="826"/>
                  </a:lnTo>
                  <a:lnTo>
                    <a:pt x="275" y="827"/>
                  </a:lnTo>
                  <a:lnTo>
                    <a:pt x="274" y="829"/>
                  </a:lnTo>
                  <a:lnTo>
                    <a:pt x="273" y="829"/>
                  </a:lnTo>
                  <a:lnTo>
                    <a:pt x="273" y="830"/>
                  </a:lnTo>
                  <a:lnTo>
                    <a:pt x="273" y="831"/>
                  </a:lnTo>
                  <a:lnTo>
                    <a:pt x="273" y="832"/>
                  </a:lnTo>
                  <a:lnTo>
                    <a:pt x="272" y="831"/>
                  </a:lnTo>
                  <a:lnTo>
                    <a:pt x="271" y="831"/>
                  </a:lnTo>
                  <a:lnTo>
                    <a:pt x="271" y="832"/>
                  </a:lnTo>
                  <a:lnTo>
                    <a:pt x="269" y="832"/>
                  </a:lnTo>
                  <a:lnTo>
                    <a:pt x="269" y="835"/>
                  </a:lnTo>
                  <a:lnTo>
                    <a:pt x="268" y="832"/>
                  </a:lnTo>
                  <a:lnTo>
                    <a:pt x="267" y="832"/>
                  </a:lnTo>
                  <a:lnTo>
                    <a:pt x="268" y="833"/>
                  </a:lnTo>
                  <a:lnTo>
                    <a:pt x="268" y="835"/>
                  </a:lnTo>
                  <a:lnTo>
                    <a:pt x="267" y="836"/>
                  </a:lnTo>
                  <a:lnTo>
                    <a:pt x="266" y="836"/>
                  </a:lnTo>
                  <a:lnTo>
                    <a:pt x="265" y="835"/>
                  </a:lnTo>
                  <a:lnTo>
                    <a:pt x="265" y="836"/>
                  </a:lnTo>
                  <a:lnTo>
                    <a:pt x="263" y="836"/>
                  </a:lnTo>
                  <a:lnTo>
                    <a:pt x="263" y="835"/>
                  </a:lnTo>
                  <a:lnTo>
                    <a:pt x="262" y="835"/>
                  </a:lnTo>
                  <a:lnTo>
                    <a:pt x="262" y="836"/>
                  </a:lnTo>
                  <a:lnTo>
                    <a:pt x="260" y="836"/>
                  </a:lnTo>
                  <a:lnTo>
                    <a:pt x="257" y="835"/>
                  </a:lnTo>
                  <a:lnTo>
                    <a:pt x="255" y="833"/>
                  </a:lnTo>
                  <a:lnTo>
                    <a:pt x="253" y="832"/>
                  </a:lnTo>
                  <a:lnTo>
                    <a:pt x="253" y="830"/>
                  </a:lnTo>
                  <a:lnTo>
                    <a:pt x="251" y="831"/>
                  </a:lnTo>
                  <a:lnTo>
                    <a:pt x="251" y="832"/>
                  </a:lnTo>
                  <a:lnTo>
                    <a:pt x="251" y="833"/>
                  </a:lnTo>
                  <a:lnTo>
                    <a:pt x="249" y="832"/>
                  </a:lnTo>
                  <a:lnTo>
                    <a:pt x="248" y="833"/>
                  </a:lnTo>
                  <a:lnTo>
                    <a:pt x="247" y="833"/>
                  </a:lnTo>
                  <a:lnTo>
                    <a:pt x="247" y="832"/>
                  </a:lnTo>
                  <a:lnTo>
                    <a:pt x="245" y="831"/>
                  </a:lnTo>
                  <a:lnTo>
                    <a:pt x="245" y="832"/>
                  </a:lnTo>
                  <a:lnTo>
                    <a:pt x="245" y="833"/>
                  </a:lnTo>
                  <a:lnTo>
                    <a:pt x="244" y="833"/>
                  </a:lnTo>
                  <a:lnTo>
                    <a:pt x="243" y="832"/>
                  </a:lnTo>
                  <a:lnTo>
                    <a:pt x="242" y="831"/>
                  </a:lnTo>
                  <a:lnTo>
                    <a:pt x="241" y="830"/>
                  </a:lnTo>
                  <a:lnTo>
                    <a:pt x="239" y="829"/>
                  </a:lnTo>
                  <a:lnTo>
                    <a:pt x="239" y="827"/>
                  </a:lnTo>
                  <a:lnTo>
                    <a:pt x="238" y="826"/>
                  </a:lnTo>
                  <a:lnTo>
                    <a:pt x="238" y="825"/>
                  </a:lnTo>
                  <a:lnTo>
                    <a:pt x="237" y="824"/>
                  </a:lnTo>
                  <a:lnTo>
                    <a:pt x="237" y="823"/>
                  </a:lnTo>
                  <a:lnTo>
                    <a:pt x="235" y="823"/>
                  </a:lnTo>
                  <a:lnTo>
                    <a:pt x="233" y="821"/>
                  </a:lnTo>
                  <a:lnTo>
                    <a:pt x="232" y="821"/>
                  </a:lnTo>
                  <a:lnTo>
                    <a:pt x="232" y="819"/>
                  </a:lnTo>
                  <a:lnTo>
                    <a:pt x="231" y="819"/>
                  </a:lnTo>
                  <a:lnTo>
                    <a:pt x="231" y="820"/>
                  </a:lnTo>
                  <a:lnTo>
                    <a:pt x="230" y="821"/>
                  </a:lnTo>
                  <a:lnTo>
                    <a:pt x="229" y="820"/>
                  </a:lnTo>
                  <a:lnTo>
                    <a:pt x="227" y="820"/>
                  </a:lnTo>
                  <a:lnTo>
                    <a:pt x="226" y="820"/>
                  </a:lnTo>
                  <a:lnTo>
                    <a:pt x="226" y="819"/>
                  </a:lnTo>
                  <a:lnTo>
                    <a:pt x="226" y="820"/>
                  </a:lnTo>
                  <a:lnTo>
                    <a:pt x="225" y="820"/>
                  </a:lnTo>
                  <a:lnTo>
                    <a:pt x="224" y="820"/>
                  </a:lnTo>
                  <a:lnTo>
                    <a:pt x="224" y="821"/>
                  </a:lnTo>
                  <a:lnTo>
                    <a:pt x="223" y="821"/>
                  </a:lnTo>
                  <a:lnTo>
                    <a:pt x="221" y="821"/>
                  </a:lnTo>
                  <a:lnTo>
                    <a:pt x="220" y="820"/>
                  </a:lnTo>
                  <a:lnTo>
                    <a:pt x="219" y="820"/>
                  </a:lnTo>
                  <a:lnTo>
                    <a:pt x="218" y="820"/>
                  </a:lnTo>
                  <a:lnTo>
                    <a:pt x="215" y="820"/>
                  </a:lnTo>
                  <a:lnTo>
                    <a:pt x="214" y="820"/>
                  </a:lnTo>
                  <a:lnTo>
                    <a:pt x="210" y="824"/>
                  </a:lnTo>
                  <a:lnTo>
                    <a:pt x="209" y="826"/>
                  </a:lnTo>
                  <a:lnTo>
                    <a:pt x="208" y="827"/>
                  </a:lnTo>
                  <a:lnTo>
                    <a:pt x="208" y="829"/>
                  </a:lnTo>
                  <a:lnTo>
                    <a:pt x="206" y="830"/>
                  </a:lnTo>
                  <a:lnTo>
                    <a:pt x="203" y="830"/>
                  </a:lnTo>
                  <a:lnTo>
                    <a:pt x="201" y="831"/>
                  </a:lnTo>
                  <a:lnTo>
                    <a:pt x="200" y="830"/>
                  </a:lnTo>
                  <a:lnTo>
                    <a:pt x="198" y="829"/>
                  </a:lnTo>
                  <a:lnTo>
                    <a:pt x="197" y="829"/>
                  </a:lnTo>
                  <a:lnTo>
                    <a:pt x="197" y="827"/>
                  </a:lnTo>
                  <a:lnTo>
                    <a:pt x="197" y="826"/>
                  </a:lnTo>
                  <a:lnTo>
                    <a:pt x="197" y="823"/>
                  </a:lnTo>
                  <a:lnTo>
                    <a:pt x="197" y="821"/>
                  </a:lnTo>
                  <a:lnTo>
                    <a:pt x="196" y="825"/>
                  </a:lnTo>
                  <a:lnTo>
                    <a:pt x="196" y="827"/>
                  </a:lnTo>
                  <a:lnTo>
                    <a:pt x="195" y="827"/>
                  </a:lnTo>
                  <a:lnTo>
                    <a:pt x="194" y="827"/>
                  </a:lnTo>
                  <a:lnTo>
                    <a:pt x="192" y="826"/>
                  </a:lnTo>
                  <a:lnTo>
                    <a:pt x="192" y="824"/>
                  </a:lnTo>
                  <a:lnTo>
                    <a:pt x="192" y="823"/>
                  </a:lnTo>
                  <a:lnTo>
                    <a:pt x="192" y="821"/>
                  </a:lnTo>
                  <a:lnTo>
                    <a:pt x="192" y="820"/>
                  </a:lnTo>
                  <a:lnTo>
                    <a:pt x="192" y="823"/>
                  </a:lnTo>
                  <a:lnTo>
                    <a:pt x="191" y="824"/>
                  </a:lnTo>
                  <a:lnTo>
                    <a:pt x="191" y="825"/>
                  </a:lnTo>
                  <a:lnTo>
                    <a:pt x="192" y="827"/>
                  </a:lnTo>
                  <a:lnTo>
                    <a:pt x="191" y="827"/>
                  </a:lnTo>
                  <a:lnTo>
                    <a:pt x="190" y="829"/>
                  </a:lnTo>
                  <a:lnTo>
                    <a:pt x="189" y="829"/>
                  </a:lnTo>
                  <a:lnTo>
                    <a:pt x="189" y="827"/>
                  </a:lnTo>
                  <a:lnTo>
                    <a:pt x="189" y="826"/>
                  </a:lnTo>
                  <a:lnTo>
                    <a:pt x="189" y="825"/>
                  </a:lnTo>
                  <a:lnTo>
                    <a:pt x="188" y="825"/>
                  </a:lnTo>
                  <a:lnTo>
                    <a:pt x="188" y="827"/>
                  </a:lnTo>
                  <a:lnTo>
                    <a:pt x="188" y="829"/>
                  </a:lnTo>
                  <a:lnTo>
                    <a:pt x="186" y="829"/>
                  </a:lnTo>
                  <a:lnTo>
                    <a:pt x="186" y="827"/>
                  </a:lnTo>
                  <a:lnTo>
                    <a:pt x="185" y="827"/>
                  </a:lnTo>
                  <a:lnTo>
                    <a:pt x="185" y="826"/>
                  </a:lnTo>
                  <a:lnTo>
                    <a:pt x="185" y="825"/>
                  </a:lnTo>
                  <a:lnTo>
                    <a:pt x="185" y="824"/>
                  </a:lnTo>
                  <a:lnTo>
                    <a:pt x="184" y="824"/>
                  </a:lnTo>
                  <a:lnTo>
                    <a:pt x="183" y="827"/>
                  </a:lnTo>
                  <a:lnTo>
                    <a:pt x="180" y="827"/>
                  </a:lnTo>
                  <a:lnTo>
                    <a:pt x="178" y="827"/>
                  </a:lnTo>
                  <a:lnTo>
                    <a:pt x="178" y="825"/>
                  </a:lnTo>
                  <a:lnTo>
                    <a:pt x="178" y="826"/>
                  </a:lnTo>
                  <a:lnTo>
                    <a:pt x="177" y="827"/>
                  </a:lnTo>
                  <a:lnTo>
                    <a:pt x="177" y="829"/>
                  </a:lnTo>
                  <a:lnTo>
                    <a:pt x="176" y="829"/>
                  </a:lnTo>
                  <a:lnTo>
                    <a:pt x="176" y="827"/>
                  </a:lnTo>
                  <a:lnTo>
                    <a:pt x="174" y="827"/>
                  </a:lnTo>
                  <a:lnTo>
                    <a:pt x="174" y="829"/>
                  </a:lnTo>
                  <a:lnTo>
                    <a:pt x="174" y="830"/>
                  </a:lnTo>
                  <a:lnTo>
                    <a:pt x="174" y="832"/>
                  </a:lnTo>
                  <a:lnTo>
                    <a:pt x="174" y="833"/>
                  </a:lnTo>
                  <a:lnTo>
                    <a:pt x="173" y="832"/>
                  </a:lnTo>
                  <a:lnTo>
                    <a:pt x="172" y="832"/>
                  </a:lnTo>
                  <a:lnTo>
                    <a:pt x="173" y="833"/>
                  </a:lnTo>
                  <a:lnTo>
                    <a:pt x="172" y="835"/>
                  </a:lnTo>
                  <a:lnTo>
                    <a:pt x="172" y="836"/>
                  </a:lnTo>
                  <a:lnTo>
                    <a:pt x="171" y="836"/>
                  </a:lnTo>
                  <a:lnTo>
                    <a:pt x="170" y="836"/>
                  </a:lnTo>
                  <a:lnTo>
                    <a:pt x="168" y="837"/>
                  </a:lnTo>
                  <a:lnTo>
                    <a:pt x="167" y="838"/>
                  </a:lnTo>
                  <a:lnTo>
                    <a:pt x="167" y="839"/>
                  </a:lnTo>
                  <a:lnTo>
                    <a:pt x="166" y="841"/>
                  </a:lnTo>
                  <a:lnTo>
                    <a:pt x="166" y="842"/>
                  </a:lnTo>
                  <a:lnTo>
                    <a:pt x="165" y="843"/>
                  </a:lnTo>
                  <a:lnTo>
                    <a:pt x="165" y="844"/>
                  </a:lnTo>
                  <a:lnTo>
                    <a:pt x="165" y="845"/>
                  </a:lnTo>
                  <a:lnTo>
                    <a:pt x="164" y="845"/>
                  </a:lnTo>
                  <a:lnTo>
                    <a:pt x="162" y="847"/>
                  </a:lnTo>
                  <a:lnTo>
                    <a:pt x="161" y="848"/>
                  </a:lnTo>
                  <a:lnTo>
                    <a:pt x="159" y="850"/>
                  </a:lnTo>
                  <a:lnTo>
                    <a:pt x="158" y="850"/>
                  </a:lnTo>
                  <a:lnTo>
                    <a:pt x="156" y="850"/>
                  </a:lnTo>
                  <a:lnTo>
                    <a:pt x="155" y="849"/>
                  </a:lnTo>
                  <a:lnTo>
                    <a:pt x="156" y="848"/>
                  </a:lnTo>
                  <a:lnTo>
                    <a:pt x="156" y="847"/>
                  </a:lnTo>
                  <a:lnTo>
                    <a:pt x="156" y="844"/>
                  </a:lnTo>
                  <a:lnTo>
                    <a:pt x="155" y="844"/>
                  </a:lnTo>
                  <a:lnTo>
                    <a:pt x="155" y="845"/>
                  </a:lnTo>
                  <a:lnTo>
                    <a:pt x="155" y="847"/>
                  </a:lnTo>
                  <a:lnTo>
                    <a:pt x="154" y="849"/>
                  </a:lnTo>
                  <a:lnTo>
                    <a:pt x="155" y="851"/>
                  </a:lnTo>
                  <a:lnTo>
                    <a:pt x="155" y="853"/>
                  </a:lnTo>
                  <a:lnTo>
                    <a:pt x="154" y="853"/>
                  </a:lnTo>
                  <a:lnTo>
                    <a:pt x="153" y="854"/>
                  </a:lnTo>
                  <a:lnTo>
                    <a:pt x="151" y="854"/>
                  </a:lnTo>
                  <a:lnTo>
                    <a:pt x="150" y="854"/>
                  </a:lnTo>
                  <a:lnTo>
                    <a:pt x="150" y="855"/>
                  </a:lnTo>
                  <a:lnTo>
                    <a:pt x="149" y="855"/>
                  </a:lnTo>
                  <a:lnTo>
                    <a:pt x="148" y="855"/>
                  </a:lnTo>
                  <a:lnTo>
                    <a:pt x="148" y="854"/>
                  </a:lnTo>
                  <a:lnTo>
                    <a:pt x="148" y="853"/>
                  </a:lnTo>
                  <a:lnTo>
                    <a:pt x="147" y="853"/>
                  </a:lnTo>
                  <a:lnTo>
                    <a:pt x="145" y="853"/>
                  </a:lnTo>
                  <a:lnTo>
                    <a:pt x="145" y="851"/>
                  </a:lnTo>
                  <a:lnTo>
                    <a:pt x="145" y="850"/>
                  </a:lnTo>
                  <a:lnTo>
                    <a:pt x="144" y="849"/>
                  </a:lnTo>
                  <a:lnTo>
                    <a:pt x="143" y="848"/>
                  </a:lnTo>
                  <a:lnTo>
                    <a:pt x="142" y="847"/>
                  </a:lnTo>
                  <a:lnTo>
                    <a:pt x="142" y="848"/>
                  </a:lnTo>
                  <a:lnTo>
                    <a:pt x="142" y="849"/>
                  </a:lnTo>
                  <a:lnTo>
                    <a:pt x="139" y="850"/>
                  </a:lnTo>
                  <a:lnTo>
                    <a:pt x="141" y="851"/>
                  </a:lnTo>
                  <a:lnTo>
                    <a:pt x="142" y="853"/>
                  </a:lnTo>
                  <a:lnTo>
                    <a:pt x="141" y="854"/>
                  </a:lnTo>
                  <a:lnTo>
                    <a:pt x="141" y="853"/>
                  </a:lnTo>
                  <a:lnTo>
                    <a:pt x="141" y="854"/>
                  </a:lnTo>
                  <a:lnTo>
                    <a:pt x="142" y="854"/>
                  </a:lnTo>
                  <a:lnTo>
                    <a:pt x="142" y="855"/>
                  </a:lnTo>
                  <a:lnTo>
                    <a:pt x="141" y="856"/>
                  </a:lnTo>
                  <a:lnTo>
                    <a:pt x="141" y="857"/>
                  </a:lnTo>
                  <a:lnTo>
                    <a:pt x="141" y="860"/>
                  </a:lnTo>
                  <a:lnTo>
                    <a:pt x="139" y="860"/>
                  </a:lnTo>
                  <a:lnTo>
                    <a:pt x="139" y="861"/>
                  </a:lnTo>
                  <a:lnTo>
                    <a:pt x="141" y="861"/>
                  </a:lnTo>
                  <a:lnTo>
                    <a:pt x="141" y="862"/>
                  </a:lnTo>
                  <a:lnTo>
                    <a:pt x="139" y="862"/>
                  </a:lnTo>
                  <a:lnTo>
                    <a:pt x="138" y="861"/>
                  </a:lnTo>
                  <a:lnTo>
                    <a:pt x="139" y="862"/>
                  </a:lnTo>
                  <a:lnTo>
                    <a:pt x="139" y="863"/>
                  </a:lnTo>
                  <a:lnTo>
                    <a:pt x="137" y="863"/>
                  </a:lnTo>
                  <a:lnTo>
                    <a:pt x="136" y="865"/>
                  </a:lnTo>
                  <a:lnTo>
                    <a:pt x="135" y="865"/>
                  </a:lnTo>
                  <a:lnTo>
                    <a:pt x="133" y="865"/>
                  </a:lnTo>
                  <a:lnTo>
                    <a:pt x="133" y="866"/>
                  </a:lnTo>
                  <a:lnTo>
                    <a:pt x="132" y="866"/>
                  </a:lnTo>
                  <a:lnTo>
                    <a:pt x="132" y="867"/>
                  </a:lnTo>
                  <a:lnTo>
                    <a:pt x="131" y="868"/>
                  </a:lnTo>
                  <a:lnTo>
                    <a:pt x="130" y="868"/>
                  </a:lnTo>
                  <a:lnTo>
                    <a:pt x="129" y="868"/>
                  </a:lnTo>
                  <a:lnTo>
                    <a:pt x="129" y="867"/>
                  </a:lnTo>
                  <a:lnTo>
                    <a:pt x="129" y="865"/>
                  </a:lnTo>
                  <a:lnTo>
                    <a:pt x="129" y="863"/>
                  </a:lnTo>
                  <a:lnTo>
                    <a:pt x="127" y="863"/>
                  </a:lnTo>
                  <a:lnTo>
                    <a:pt x="127" y="862"/>
                  </a:lnTo>
                  <a:lnTo>
                    <a:pt x="126" y="862"/>
                  </a:lnTo>
                  <a:lnTo>
                    <a:pt x="125" y="861"/>
                  </a:lnTo>
                  <a:lnTo>
                    <a:pt x="124" y="861"/>
                  </a:lnTo>
                  <a:lnTo>
                    <a:pt x="123" y="861"/>
                  </a:lnTo>
                  <a:lnTo>
                    <a:pt x="121" y="861"/>
                  </a:lnTo>
                  <a:lnTo>
                    <a:pt x="121" y="860"/>
                  </a:lnTo>
                  <a:lnTo>
                    <a:pt x="121" y="859"/>
                  </a:lnTo>
                  <a:lnTo>
                    <a:pt x="120" y="857"/>
                  </a:lnTo>
                  <a:lnTo>
                    <a:pt x="119" y="856"/>
                  </a:lnTo>
                  <a:lnTo>
                    <a:pt x="118" y="856"/>
                  </a:lnTo>
                  <a:lnTo>
                    <a:pt x="117" y="856"/>
                  </a:lnTo>
                  <a:lnTo>
                    <a:pt x="115" y="856"/>
                  </a:lnTo>
                  <a:lnTo>
                    <a:pt x="114" y="855"/>
                  </a:lnTo>
                  <a:lnTo>
                    <a:pt x="109" y="855"/>
                  </a:lnTo>
                  <a:lnTo>
                    <a:pt x="108" y="854"/>
                  </a:lnTo>
                  <a:lnTo>
                    <a:pt x="107" y="853"/>
                  </a:lnTo>
                  <a:lnTo>
                    <a:pt x="107" y="854"/>
                  </a:lnTo>
                  <a:lnTo>
                    <a:pt x="106" y="854"/>
                  </a:lnTo>
                  <a:lnTo>
                    <a:pt x="105" y="854"/>
                  </a:lnTo>
                  <a:lnTo>
                    <a:pt x="105" y="855"/>
                  </a:lnTo>
                  <a:lnTo>
                    <a:pt x="103" y="855"/>
                  </a:lnTo>
                  <a:lnTo>
                    <a:pt x="102" y="855"/>
                  </a:lnTo>
                  <a:lnTo>
                    <a:pt x="101" y="855"/>
                  </a:lnTo>
                  <a:lnTo>
                    <a:pt x="100" y="855"/>
                  </a:lnTo>
                  <a:lnTo>
                    <a:pt x="100" y="853"/>
                  </a:lnTo>
                  <a:lnTo>
                    <a:pt x="99" y="853"/>
                  </a:lnTo>
                  <a:lnTo>
                    <a:pt x="96" y="853"/>
                  </a:lnTo>
                  <a:lnTo>
                    <a:pt x="95" y="851"/>
                  </a:lnTo>
                  <a:lnTo>
                    <a:pt x="94" y="850"/>
                  </a:lnTo>
                  <a:lnTo>
                    <a:pt x="94" y="848"/>
                  </a:lnTo>
                  <a:lnTo>
                    <a:pt x="94" y="849"/>
                  </a:lnTo>
                  <a:lnTo>
                    <a:pt x="92" y="849"/>
                  </a:lnTo>
                  <a:lnTo>
                    <a:pt x="91" y="849"/>
                  </a:lnTo>
                  <a:lnTo>
                    <a:pt x="89" y="848"/>
                  </a:lnTo>
                  <a:lnTo>
                    <a:pt x="89" y="847"/>
                  </a:lnTo>
                  <a:lnTo>
                    <a:pt x="89" y="845"/>
                  </a:lnTo>
                  <a:lnTo>
                    <a:pt x="88" y="844"/>
                  </a:lnTo>
                  <a:lnTo>
                    <a:pt x="88" y="843"/>
                  </a:lnTo>
                  <a:lnTo>
                    <a:pt x="86" y="843"/>
                  </a:lnTo>
                  <a:lnTo>
                    <a:pt x="86" y="841"/>
                  </a:lnTo>
                  <a:lnTo>
                    <a:pt x="88" y="841"/>
                  </a:lnTo>
                  <a:lnTo>
                    <a:pt x="88" y="842"/>
                  </a:lnTo>
                  <a:lnTo>
                    <a:pt x="89" y="842"/>
                  </a:lnTo>
                  <a:lnTo>
                    <a:pt x="89" y="839"/>
                  </a:lnTo>
                  <a:lnTo>
                    <a:pt x="89" y="838"/>
                  </a:lnTo>
                  <a:lnTo>
                    <a:pt x="88" y="838"/>
                  </a:lnTo>
                  <a:lnTo>
                    <a:pt x="88" y="839"/>
                  </a:lnTo>
                  <a:lnTo>
                    <a:pt x="86" y="839"/>
                  </a:lnTo>
                  <a:lnTo>
                    <a:pt x="85" y="841"/>
                  </a:lnTo>
                  <a:lnTo>
                    <a:pt x="84" y="839"/>
                  </a:lnTo>
                  <a:lnTo>
                    <a:pt x="84" y="838"/>
                  </a:lnTo>
                  <a:lnTo>
                    <a:pt x="84" y="837"/>
                  </a:lnTo>
                  <a:lnTo>
                    <a:pt x="83" y="836"/>
                  </a:lnTo>
                  <a:lnTo>
                    <a:pt x="82" y="837"/>
                  </a:lnTo>
                  <a:lnTo>
                    <a:pt x="80" y="836"/>
                  </a:lnTo>
                  <a:lnTo>
                    <a:pt x="79" y="835"/>
                  </a:lnTo>
                  <a:lnTo>
                    <a:pt x="79" y="833"/>
                  </a:lnTo>
                  <a:lnTo>
                    <a:pt x="79" y="832"/>
                  </a:lnTo>
                  <a:lnTo>
                    <a:pt x="77" y="831"/>
                  </a:lnTo>
                  <a:lnTo>
                    <a:pt x="76" y="831"/>
                  </a:lnTo>
                  <a:lnTo>
                    <a:pt x="76" y="830"/>
                  </a:lnTo>
                  <a:lnTo>
                    <a:pt x="74" y="830"/>
                  </a:lnTo>
                  <a:lnTo>
                    <a:pt x="74" y="827"/>
                  </a:lnTo>
                  <a:lnTo>
                    <a:pt x="74" y="826"/>
                  </a:lnTo>
                  <a:lnTo>
                    <a:pt x="76" y="826"/>
                  </a:lnTo>
                  <a:lnTo>
                    <a:pt x="77" y="825"/>
                  </a:lnTo>
                  <a:lnTo>
                    <a:pt x="77" y="824"/>
                  </a:lnTo>
                  <a:lnTo>
                    <a:pt x="76" y="824"/>
                  </a:lnTo>
                  <a:lnTo>
                    <a:pt x="76" y="823"/>
                  </a:lnTo>
                  <a:lnTo>
                    <a:pt x="74" y="823"/>
                  </a:lnTo>
                  <a:lnTo>
                    <a:pt x="73" y="821"/>
                  </a:lnTo>
                  <a:lnTo>
                    <a:pt x="73" y="823"/>
                  </a:lnTo>
                  <a:lnTo>
                    <a:pt x="72" y="823"/>
                  </a:lnTo>
                  <a:lnTo>
                    <a:pt x="71" y="823"/>
                  </a:lnTo>
                  <a:lnTo>
                    <a:pt x="70" y="820"/>
                  </a:lnTo>
                  <a:lnTo>
                    <a:pt x="68" y="819"/>
                  </a:lnTo>
                  <a:lnTo>
                    <a:pt x="67" y="819"/>
                  </a:lnTo>
                  <a:lnTo>
                    <a:pt x="66" y="819"/>
                  </a:lnTo>
                  <a:lnTo>
                    <a:pt x="65" y="820"/>
                  </a:lnTo>
                  <a:lnTo>
                    <a:pt x="64" y="820"/>
                  </a:lnTo>
                  <a:lnTo>
                    <a:pt x="62" y="819"/>
                  </a:lnTo>
                  <a:lnTo>
                    <a:pt x="61" y="818"/>
                  </a:lnTo>
                  <a:lnTo>
                    <a:pt x="59" y="818"/>
                  </a:lnTo>
                  <a:lnTo>
                    <a:pt x="58" y="819"/>
                  </a:lnTo>
                  <a:lnTo>
                    <a:pt x="56" y="819"/>
                  </a:lnTo>
                  <a:lnTo>
                    <a:pt x="55" y="819"/>
                  </a:lnTo>
                  <a:lnTo>
                    <a:pt x="55" y="818"/>
                  </a:lnTo>
                  <a:lnTo>
                    <a:pt x="54" y="818"/>
                  </a:lnTo>
                  <a:lnTo>
                    <a:pt x="53" y="818"/>
                  </a:lnTo>
                  <a:lnTo>
                    <a:pt x="53" y="817"/>
                  </a:lnTo>
                  <a:lnTo>
                    <a:pt x="53" y="815"/>
                  </a:lnTo>
                  <a:lnTo>
                    <a:pt x="53" y="814"/>
                  </a:lnTo>
                  <a:lnTo>
                    <a:pt x="52" y="814"/>
                  </a:lnTo>
                  <a:lnTo>
                    <a:pt x="53" y="813"/>
                  </a:lnTo>
                  <a:lnTo>
                    <a:pt x="53" y="812"/>
                  </a:lnTo>
                  <a:lnTo>
                    <a:pt x="52" y="812"/>
                  </a:lnTo>
                  <a:lnTo>
                    <a:pt x="50" y="811"/>
                  </a:lnTo>
                  <a:lnTo>
                    <a:pt x="49" y="809"/>
                  </a:lnTo>
                  <a:lnTo>
                    <a:pt x="49" y="808"/>
                  </a:lnTo>
                  <a:lnTo>
                    <a:pt x="48" y="808"/>
                  </a:lnTo>
                  <a:lnTo>
                    <a:pt x="48" y="809"/>
                  </a:lnTo>
                  <a:lnTo>
                    <a:pt x="47" y="808"/>
                  </a:lnTo>
                  <a:lnTo>
                    <a:pt x="47" y="807"/>
                  </a:lnTo>
                  <a:lnTo>
                    <a:pt x="46" y="807"/>
                  </a:lnTo>
                  <a:lnTo>
                    <a:pt x="46" y="808"/>
                  </a:lnTo>
                  <a:lnTo>
                    <a:pt x="44" y="808"/>
                  </a:lnTo>
                  <a:lnTo>
                    <a:pt x="43" y="808"/>
                  </a:lnTo>
                  <a:lnTo>
                    <a:pt x="42" y="808"/>
                  </a:lnTo>
                  <a:lnTo>
                    <a:pt x="41" y="808"/>
                  </a:lnTo>
                  <a:lnTo>
                    <a:pt x="40" y="808"/>
                  </a:lnTo>
                  <a:lnTo>
                    <a:pt x="38" y="808"/>
                  </a:lnTo>
                  <a:lnTo>
                    <a:pt x="37" y="809"/>
                  </a:lnTo>
                  <a:lnTo>
                    <a:pt x="36" y="808"/>
                  </a:lnTo>
                  <a:lnTo>
                    <a:pt x="35" y="807"/>
                  </a:lnTo>
                  <a:lnTo>
                    <a:pt x="33" y="807"/>
                  </a:lnTo>
                  <a:lnTo>
                    <a:pt x="33" y="806"/>
                  </a:lnTo>
                  <a:lnTo>
                    <a:pt x="32" y="806"/>
                  </a:lnTo>
                  <a:lnTo>
                    <a:pt x="32" y="805"/>
                  </a:lnTo>
                  <a:lnTo>
                    <a:pt x="32" y="803"/>
                  </a:lnTo>
                  <a:lnTo>
                    <a:pt x="31" y="802"/>
                  </a:lnTo>
                  <a:lnTo>
                    <a:pt x="31" y="805"/>
                  </a:lnTo>
                  <a:lnTo>
                    <a:pt x="31" y="803"/>
                  </a:lnTo>
                  <a:lnTo>
                    <a:pt x="31" y="802"/>
                  </a:lnTo>
                  <a:lnTo>
                    <a:pt x="31" y="801"/>
                  </a:lnTo>
                  <a:lnTo>
                    <a:pt x="30" y="801"/>
                  </a:lnTo>
                  <a:lnTo>
                    <a:pt x="29" y="800"/>
                  </a:lnTo>
                  <a:lnTo>
                    <a:pt x="29" y="801"/>
                  </a:lnTo>
                  <a:lnTo>
                    <a:pt x="27" y="800"/>
                  </a:lnTo>
                  <a:lnTo>
                    <a:pt x="27" y="799"/>
                  </a:lnTo>
                  <a:lnTo>
                    <a:pt x="25" y="799"/>
                  </a:lnTo>
                  <a:lnTo>
                    <a:pt x="24" y="799"/>
                  </a:lnTo>
                  <a:lnTo>
                    <a:pt x="23" y="797"/>
                  </a:lnTo>
                  <a:lnTo>
                    <a:pt x="21" y="797"/>
                  </a:lnTo>
                  <a:lnTo>
                    <a:pt x="19" y="797"/>
                  </a:lnTo>
                  <a:lnTo>
                    <a:pt x="17" y="796"/>
                  </a:lnTo>
                  <a:lnTo>
                    <a:pt x="14" y="796"/>
                  </a:lnTo>
                  <a:lnTo>
                    <a:pt x="13" y="795"/>
                  </a:lnTo>
                  <a:lnTo>
                    <a:pt x="14" y="794"/>
                  </a:lnTo>
                  <a:lnTo>
                    <a:pt x="15" y="793"/>
                  </a:lnTo>
                  <a:lnTo>
                    <a:pt x="14" y="794"/>
                  </a:lnTo>
                  <a:lnTo>
                    <a:pt x="13" y="794"/>
                  </a:lnTo>
                  <a:lnTo>
                    <a:pt x="13" y="793"/>
                  </a:lnTo>
                  <a:lnTo>
                    <a:pt x="13" y="791"/>
                  </a:lnTo>
                  <a:lnTo>
                    <a:pt x="12" y="790"/>
                  </a:lnTo>
                  <a:lnTo>
                    <a:pt x="12" y="788"/>
                  </a:lnTo>
                  <a:lnTo>
                    <a:pt x="13" y="787"/>
                  </a:lnTo>
                  <a:lnTo>
                    <a:pt x="14" y="785"/>
                  </a:lnTo>
                  <a:lnTo>
                    <a:pt x="13" y="785"/>
                  </a:lnTo>
                  <a:lnTo>
                    <a:pt x="13" y="784"/>
                  </a:lnTo>
                  <a:lnTo>
                    <a:pt x="13" y="783"/>
                  </a:lnTo>
                  <a:lnTo>
                    <a:pt x="12" y="782"/>
                  </a:lnTo>
                  <a:lnTo>
                    <a:pt x="11" y="781"/>
                  </a:lnTo>
                  <a:lnTo>
                    <a:pt x="11" y="779"/>
                  </a:lnTo>
                  <a:lnTo>
                    <a:pt x="12" y="779"/>
                  </a:lnTo>
                  <a:lnTo>
                    <a:pt x="12" y="773"/>
                  </a:lnTo>
                  <a:lnTo>
                    <a:pt x="11" y="773"/>
                  </a:lnTo>
                  <a:lnTo>
                    <a:pt x="11" y="772"/>
                  </a:lnTo>
                  <a:lnTo>
                    <a:pt x="9" y="771"/>
                  </a:lnTo>
                  <a:lnTo>
                    <a:pt x="8" y="771"/>
                  </a:lnTo>
                  <a:lnTo>
                    <a:pt x="7" y="770"/>
                  </a:lnTo>
                  <a:lnTo>
                    <a:pt x="6" y="770"/>
                  </a:lnTo>
                  <a:lnTo>
                    <a:pt x="5" y="768"/>
                  </a:lnTo>
                  <a:lnTo>
                    <a:pt x="2" y="767"/>
                  </a:lnTo>
                  <a:lnTo>
                    <a:pt x="1" y="766"/>
                  </a:lnTo>
                  <a:lnTo>
                    <a:pt x="0" y="765"/>
                  </a:lnTo>
                  <a:lnTo>
                    <a:pt x="0" y="764"/>
                  </a:lnTo>
                  <a:lnTo>
                    <a:pt x="1" y="764"/>
                  </a:lnTo>
                  <a:lnTo>
                    <a:pt x="3" y="764"/>
                  </a:lnTo>
                  <a:lnTo>
                    <a:pt x="5" y="764"/>
                  </a:lnTo>
                  <a:lnTo>
                    <a:pt x="8" y="765"/>
                  </a:lnTo>
                  <a:lnTo>
                    <a:pt x="12" y="766"/>
                  </a:lnTo>
                  <a:lnTo>
                    <a:pt x="15" y="767"/>
                  </a:lnTo>
                  <a:lnTo>
                    <a:pt x="18" y="768"/>
                  </a:lnTo>
                  <a:lnTo>
                    <a:pt x="20" y="770"/>
                  </a:lnTo>
                  <a:lnTo>
                    <a:pt x="25" y="771"/>
                  </a:lnTo>
                  <a:lnTo>
                    <a:pt x="29" y="772"/>
                  </a:lnTo>
                  <a:lnTo>
                    <a:pt x="32" y="772"/>
                  </a:lnTo>
                  <a:lnTo>
                    <a:pt x="36" y="773"/>
                  </a:lnTo>
                  <a:lnTo>
                    <a:pt x="38" y="773"/>
                  </a:lnTo>
                  <a:lnTo>
                    <a:pt x="44" y="773"/>
                  </a:lnTo>
                  <a:lnTo>
                    <a:pt x="49" y="773"/>
                  </a:lnTo>
                  <a:lnTo>
                    <a:pt x="53" y="773"/>
                  </a:lnTo>
                  <a:lnTo>
                    <a:pt x="58" y="773"/>
                  </a:lnTo>
                  <a:lnTo>
                    <a:pt x="60" y="772"/>
                  </a:lnTo>
                  <a:lnTo>
                    <a:pt x="64" y="772"/>
                  </a:lnTo>
                  <a:lnTo>
                    <a:pt x="72" y="772"/>
                  </a:lnTo>
                  <a:lnTo>
                    <a:pt x="74" y="771"/>
                  </a:lnTo>
                  <a:lnTo>
                    <a:pt x="76" y="770"/>
                  </a:lnTo>
                  <a:lnTo>
                    <a:pt x="78" y="767"/>
                  </a:lnTo>
                  <a:lnTo>
                    <a:pt x="79" y="766"/>
                  </a:lnTo>
                  <a:lnTo>
                    <a:pt x="79" y="765"/>
                  </a:lnTo>
                  <a:lnTo>
                    <a:pt x="80" y="764"/>
                  </a:lnTo>
                  <a:lnTo>
                    <a:pt x="80" y="762"/>
                  </a:lnTo>
                  <a:lnTo>
                    <a:pt x="79" y="762"/>
                  </a:lnTo>
                  <a:lnTo>
                    <a:pt x="78" y="764"/>
                  </a:lnTo>
                  <a:lnTo>
                    <a:pt x="78" y="762"/>
                  </a:lnTo>
                  <a:lnTo>
                    <a:pt x="77" y="762"/>
                  </a:lnTo>
                  <a:lnTo>
                    <a:pt x="76" y="762"/>
                  </a:lnTo>
                  <a:lnTo>
                    <a:pt x="74" y="761"/>
                  </a:lnTo>
                  <a:lnTo>
                    <a:pt x="73" y="760"/>
                  </a:lnTo>
                  <a:lnTo>
                    <a:pt x="72" y="759"/>
                  </a:lnTo>
                  <a:lnTo>
                    <a:pt x="71" y="759"/>
                  </a:lnTo>
                  <a:lnTo>
                    <a:pt x="71" y="760"/>
                  </a:lnTo>
                  <a:lnTo>
                    <a:pt x="70" y="759"/>
                  </a:lnTo>
                  <a:lnTo>
                    <a:pt x="68" y="759"/>
                  </a:lnTo>
                  <a:lnTo>
                    <a:pt x="67" y="759"/>
                  </a:lnTo>
                  <a:lnTo>
                    <a:pt x="66" y="759"/>
                  </a:lnTo>
                  <a:lnTo>
                    <a:pt x="65" y="759"/>
                  </a:lnTo>
                  <a:lnTo>
                    <a:pt x="64" y="758"/>
                  </a:lnTo>
                  <a:lnTo>
                    <a:pt x="62" y="759"/>
                  </a:lnTo>
                  <a:lnTo>
                    <a:pt x="62" y="758"/>
                  </a:lnTo>
                  <a:lnTo>
                    <a:pt x="62" y="756"/>
                  </a:lnTo>
                  <a:lnTo>
                    <a:pt x="61" y="755"/>
                  </a:lnTo>
                  <a:lnTo>
                    <a:pt x="61" y="756"/>
                  </a:lnTo>
                  <a:lnTo>
                    <a:pt x="61" y="758"/>
                  </a:lnTo>
                  <a:lnTo>
                    <a:pt x="60" y="758"/>
                  </a:lnTo>
                  <a:lnTo>
                    <a:pt x="60" y="756"/>
                  </a:lnTo>
                  <a:lnTo>
                    <a:pt x="59" y="756"/>
                  </a:lnTo>
                  <a:lnTo>
                    <a:pt x="59" y="755"/>
                  </a:lnTo>
                  <a:lnTo>
                    <a:pt x="58" y="754"/>
                  </a:lnTo>
                  <a:lnTo>
                    <a:pt x="58" y="756"/>
                  </a:lnTo>
                  <a:lnTo>
                    <a:pt x="58" y="755"/>
                  </a:lnTo>
                  <a:lnTo>
                    <a:pt x="56" y="755"/>
                  </a:lnTo>
                  <a:lnTo>
                    <a:pt x="55" y="755"/>
                  </a:lnTo>
                  <a:lnTo>
                    <a:pt x="54" y="754"/>
                  </a:lnTo>
                  <a:lnTo>
                    <a:pt x="53" y="753"/>
                  </a:lnTo>
                  <a:lnTo>
                    <a:pt x="53" y="752"/>
                  </a:lnTo>
                  <a:lnTo>
                    <a:pt x="52" y="750"/>
                  </a:lnTo>
                  <a:lnTo>
                    <a:pt x="52" y="749"/>
                  </a:lnTo>
                  <a:lnTo>
                    <a:pt x="50" y="749"/>
                  </a:lnTo>
                  <a:lnTo>
                    <a:pt x="49" y="748"/>
                  </a:lnTo>
                  <a:lnTo>
                    <a:pt x="49" y="747"/>
                  </a:lnTo>
                  <a:lnTo>
                    <a:pt x="48" y="747"/>
                  </a:lnTo>
                  <a:lnTo>
                    <a:pt x="48" y="746"/>
                  </a:lnTo>
                  <a:lnTo>
                    <a:pt x="47" y="746"/>
                  </a:lnTo>
                  <a:lnTo>
                    <a:pt x="46" y="744"/>
                  </a:lnTo>
                  <a:lnTo>
                    <a:pt x="47" y="743"/>
                  </a:lnTo>
                  <a:lnTo>
                    <a:pt x="46" y="744"/>
                  </a:lnTo>
                  <a:lnTo>
                    <a:pt x="46" y="743"/>
                  </a:lnTo>
                  <a:lnTo>
                    <a:pt x="44" y="742"/>
                  </a:lnTo>
                  <a:lnTo>
                    <a:pt x="44" y="741"/>
                  </a:lnTo>
                  <a:lnTo>
                    <a:pt x="46" y="740"/>
                  </a:lnTo>
                  <a:lnTo>
                    <a:pt x="47" y="741"/>
                  </a:lnTo>
                  <a:lnTo>
                    <a:pt x="49" y="740"/>
                  </a:lnTo>
                  <a:lnTo>
                    <a:pt x="55" y="741"/>
                  </a:lnTo>
                  <a:lnTo>
                    <a:pt x="60" y="741"/>
                  </a:lnTo>
                  <a:lnTo>
                    <a:pt x="62" y="742"/>
                  </a:lnTo>
                  <a:lnTo>
                    <a:pt x="65" y="741"/>
                  </a:lnTo>
                  <a:lnTo>
                    <a:pt x="67" y="741"/>
                  </a:lnTo>
                  <a:lnTo>
                    <a:pt x="68" y="740"/>
                  </a:lnTo>
                  <a:lnTo>
                    <a:pt x="68" y="738"/>
                  </a:lnTo>
                  <a:lnTo>
                    <a:pt x="70" y="737"/>
                  </a:lnTo>
                  <a:lnTo>
                    <a:pt x="68" y="737"/>
                  </a:lnTo>
                  <a:lnTo>
                    <a:pt x="68" y="736"/>
                  </a:lnTo>
                  <a:lnTo>
                    <a:pt x="67" y="735"/>
                  </a:lnTo>
                  <a:lnTo>
                    <a:pt x="66" y="734"/>
                  </a:lnTo>
                  <a:lnTo>
                    <a:pt x="66" y="732"/>
                  </a:lnTo>
                  <a:lnTo>
                    <a:pt x="65" y="732"/>
                  </a:lnTo>
                  <a:lnTo>
                    <a:pt x="64" y="732"/>
                  </a:lnTo>
                  <a:lnTo>
                    <a:pt x="62" y="731"/>
                  </a:lnTo>
                  <a:lnTo>
                    <a:pt x="61" y="730"/>
                  </a:lnTo>
                  <a:lnTo>
                    <a:pt x="60" y="730"/>
                  </a:lnTo>
                  <a:lnTo>
                    <a:pt x="59" y="730"/>
                  </a:lnTo>
                  <a:lnTo>
                    <a:pt x="58" y="730"/>
                  </a:lnTo>
                  <a:lnTo>
                    <a:pt x="56" y="730"/>
                  </a:lnTo>
                  <a:lnTo>
                    <a:pt x="56" y="729"/>
                  </a:lnTo>
                  <a:lnTo>
                    <a:pt x="55" y="729"/>
                  </a:lnTo>
                  <a:lnTo>
                    <a:pt x="55" y="728"/>
                  </a:lnTo>
                  <a:lnTo>
                    <a:pt x="54" y="728"/>
                  </a:lnTo>
                  <a:lnTo>
                    <a:pt x="53" y="728"/>
                  </a:lnTo>
                  <a:lnTo>
                    <a:pt x="53" y="726"/>
                  </a:lnTo>
                  <a:lnTo>
                    <a:pt x="52" y="726"/>
                  </a:lnTo>
                  <a:lnTo>
                    <a:pt x="50" y="725"/>
                  </a:lnTo>
                  <a:lnTo>
                    <a:pt x="49" y="725"/>
                  </a:lnTo>
                  <a:lnTo>
                    <a:pt x="49" y="724"/>
                  </a:lnTo>
                  <a:lnTo>
                    <a:pt x="48" y="724"/>
                  </a:lnTo>
                  <a:lnTo>
                    <a:pt x="47" y="724"/>
                  </a:lnTo>
                  <a:lnTo>
                    <a:pt x="46" y="723"/>
                  </a:lnTo>
                  <a:lnTo>
                    <a:pt x="46" y="722"/>
                  </a:lnTo>
                  <a:lnTo>
                    <a:pt x="44" y="720"/>
                  </a:lnTo>
                  <a:lnTo>
                    <a:pt x="43" y="720"/>
                  </a:lnTo>
                  <a:lnTo>
                    <a:pt x="42" y="719"/>
                  </a:lnTo>
                  <a:lnTo>
                    <a:pt x="41" y="718"/>
                  </a:lnTo>
                  <a:lnTo>
                    <a:pt x="41" y="717"/>
                  </a:lnTo>
                  <a:lnTo>
                    <a:pt x="42" y="716"/>
                  </a:lnTo>
                  <a:lnTo>
                    <a:pt x="41" y="713"/>
                  </a:lnTo>
                  <a:lnTo>
                    <a:pt x="40" y="712"/>
                  </a:lnTo>
                  <a:lnTo>
                    <a:pt x="38" y="711"/>
                  </a:lnTo>
                  <a:lnTo>
                    <a:pt x="38" y="710"/>
                  </a:lnTo>
                  <a:lnTo>
                    <a:pt x="38" y="708"/>
                  </a:lnTo>
                  <a:lnTo>
                    <a:pt x="40" y="708"/>
                  </a:lnTo>
                  <a:lnTo>
                    <a:pt x="41" y="710"/>
                  </a:lnTo>
                  <a:lnTo>
                    <a:pt x="43" y="711"/>
                  </a:lnTo>
                  <a:lnTo>
                    <a:pt x="44" y="711"/>
                  </a:lnTo>
                  <a:lnTo>
                    <a:pt x="44" y="710"/>
                  </a:lnTo>
                  <a:lnTo>
                    <a:pt x="43" y="710"/>
                  </a:lnTo>
                  <a:lnTo>
                    <a:pt x="42" y="710"/>
                  </a:lnTo>
                  <a:lnTo>
                    <a:pt x="41" y="708"/>
                  </a:lnTo>
                  <a:lnTo>
                    <a:pt x="40" y="707"/>
                  </a:lnTo>
                  <a:lnTo>
                    <a:pt x="41" y="707"/>
                  </a:lnTo>
                  <a:lnTo>
                    <a:pt x="42" y="706"/>
                  </a:lnTo>
                  <a:lnTo>
                    <a:pt x="43" y="706"/>
                  </a:lnTo>
                  <a:lnTo>
                    <a:pt x="46" y="705"/>
                  </a:lnTo>
                  <a:lnTo>
                    <a:pt x="47" y="704"/>
                  </a:lnTo>
                  <a:lnTo>
                    <a:pt x="46" y="704"/>
                  </a:lnTo>
                  <a:lnTo>
                    <a:pt x="44" y="704"/>
                  </a:lnTo>
                  <a:lnTo>
                    <a:pt x="43" y="704"/>
                  </a:lnTo>
                  <a:lnTo>
                    <a:pt x="42" y="704"/>
                  </a:lnTo>
                  <a:lnTo>
                    <a:pt x="41" y="702"/>
                  </a:lnTo>
                  <a:lnTo>
                    <a:pt x="41" y="701"/>
                  </a:lnTo>
                  <a:lnTo>
                    <a:pt x="42" y="702"/>
                  </a:lnTo>
                  <a:lnTo>
                    <a:pt x="43" y="702"/>
                  </a:lnTo>
                  <a:lnTo>
                    <a:pt x="43" y="701"/>
                  </a:lnTo>
                  <a:lnTo>
                    <a:pt x="42" y="701"/>
                  </a:lnTo>
                  <a:lnTo>
                    <a:pt x="41" y="701"/>
                  </a:lnTo>
                  <a:lnTo>
                    <a:pt x="40" y="700"/>
                  </a:lnTo>
                  <a:lnTo>
                    <a:pt x="41" y="700"/>
                  </a:lnTo>
                  <a:lnTo>
                    <a:pt x="42" y="700"/>
                  </a:lnTo>
                  <a:lnTo>
                    <a:pt x="42" y="699"/>
                  </a:lnTo>
                  <a:lnTo>
                    <a:pt x="43" y="698"/>
                  </a:lnTo>
                  <a:lnTo>
                    <a:pt x="44" y="699"/>
                  </a:lnTo>
                  <a:lnTo>
                    <a:pt x="46" y="699"/>
                  </a:lnTo>
                  <a:lnTo>
                    <a:pt x="46" y="698"/>
                  </a:lnTo>
                  <a:lnTo>
                    <a:pt x="47" y="698"/>
                  </a:lnTo>
                  <a:lnTo>
                    <a:pt x="47" y="699"/>
                  </a:lnTo>
                  <a:lnTo>
                    <a:pt x="48" y="701"/>
                  </a:lnTo>
                  <a:lnTo>
                    <a:pt x="48" y="702"/>
                  </a:lnTo>
                  <a:lnTo>
                    <a:pt x="50" y="702"/>
                  </a:lnTo>
                  <a:lnTo>
                    <a:pt x="50" y="704"/>
                  </a:lnTo>
                  <a:lnTo>
                    <a:pt x="50" y="705"/>
                  </a:lnTo>
                  <a:lnTo>
                    <a:pt x="52" y="705"/>
                  </a:lnTo>
                  <a:lnTo>
                    <a:pt x="53" y="706"/>
                  </a:lnTo>
                  <a:lnTo>
                    <a:pt x="54" y="706"/>
                  </a:lnTo>
                  <a:lnTo>
                    <a:pt x="55" y="707"/>
                  </a:lnTo>
                  <a:lnTo>
                    <a:pt x="56" y="708"/>
                  </a:lnTo>
                  <a:lnTo>
                    <a:pt x="59" y="708"/>
                  </a:lnTo>
                  <a:lnTo>
                    <a:pt x="60" y="708"/>
                  </a:lnTo>
                  <a:lnTo>
                    <a:pt x="61" y="710"/>
                  </a:lnTo>
                  <a:lnTo>
                    <a:pt x="64" y="710"/>
                  </a:lnTo>
                  <a:lnTo>
                    <a:pt x="66" y="711"/>
                  </a:lnTo>
                  <a:lnTo>
                    <a:pt x="67" y="711"/>
                  </a:lnTo>
                  <a:lnTo>
                    <a:pt x="68" y="711"/>
                  </a:lnTo>
                  <a:lnTo>
                    <a:pt x="70" y="711"/>
                  </a:lnTo>
                  <a:lnTo>
                    <a:pt x="68" y="711"/>
                  </a:lnTo>
                  <a:lnTo>
                    <a:pt x="67" y="710"/>
                  </a:lnTo>
                  <a:lnTo>
                    <a:pt x="67" y="708"/>
                  </a:lnTo>
                  <a:lnTo>
                    <a:pt x="68" y="707"/>
                  </a:lnTo>
                  <a:lnTo>
                    <a:pt x="68" y="706"/>
                  </a:lnTo>
                  <a:lnTo>
                    <a:pt x="70" y="706"/>
                  </a:lnTo>
                  <a:lnTo>
                    <a:pt x="71" y="705"/>
                  </a:lnTo>
                  <a:lnTo>
                    <a:pt x="70" y="705"/>
                  </a:lnTo>
                  <a:lnTo>
                    <a:pt x="68" y="705"/>
                  </a:lnTo>
                  <a:lnTo>
                    <a:pt x="68" y="704"/>
                  </a:lnTo>
                  <a:lnTo>
                    <a:pt x="67" y="705"/>
                  </a:lnTo>
                  <a:lnTo>
                    <a:pt x="67" y="704"/>
                  </a:lnTo>
                  <a:lnTo>
                    <a:pt x="67" y="702"/>
                  </a:lnTo>
                  <a:lnTo>
                    <a:pt x="68" y="702"/>
                  </a:lnTo>
                  <a:lnTo>
                    <a:pt x="67" y="701"/>
                  </a:lnTo>
                  <a:lnTo>
                    <a:pt x="67" y="700"/>
                  </a:lnTo>
                  <a:lnTo>
                    <a:pt x="68" y="700"/>
                  </a:lnTo>
                  <a:lnTo>
                    <a:pt x="70" y="700"/>
                  </a:lnTo>
                  <a:lnTo>
                    <a:pt x="71" y="700"/>
                  </a:lnTo>
                  <a:lnTo>
                    <a:pt x="72" y="700"/>
                  </a:lnTo>
                  <a:lnTo>
                    <a:pt x="73" y="700"/>
                  </a:lnTo>
                  <a:lnTo>
                    <a:pt x="74" y="701"/>
                  </a:lnTo>
                  <a:lnTo>
                    <a:pt x="76" y="701"/>
                  </a:lnTo>
                  <a:lnTo>
                    <a:pt x="77" y="701"/>
                  </a:lnTo>
                  <a:lnTo>
                    <a:pt x="77" y="700"/>
                  </a:lnTo>
                  <a:lnTo>
                    <a:pt x="74" y="700"/>
                  </a:lnTo>
                  <a:lnTo>
                    <a:pt x="74" y="699"/>
                  </a:lnTo>
                  <a:lnTo>
                    <a:pt x="74" y="698"/>
                  </a:lnTo>
                  <a:lnTo>
                    <a:pt x="76" y="698"/>
                  </a:lnTo>
                  <a:lnTo>
                    <a:pt x="76" y="696"/>
                  </a:lnTo>
                  <a:lnTo>
                    <a:pt x="76" y="695"/>
                  </a:lnTo>
                  <a:lnTo>
                    <a:pt x="76" y="694"/>
                  </a:lnTo>
                  <a:lnTo>
                    <a:pt x="77" y="694"/>
                  </a:lnTo>
                  <a:lnTo>
                    <a:pt x="78" y="693"/>
                  </a:lnTo>
                  <a:lnTo>
                    <a:pt x="79" y="693"/>
                  </a:lnTo>
                  <a:lnTo>
                    <a:pt x="79" y="694"/>
                  </a:lnTo>
                  <a:lnTo>
                    <a:pt x="79" y="695"/>
                  </a:lnTo>
                  <a:lnTo>
                    <a:pt x="80" y="696"/>
                  </a:lnTo>
                  <a:lnTo>
                    <a:pt x="82" y="698"/>
                  </a:lnTo>
                  <a:lnTo>
                    <a:pt x="83" y="698"/>
                  </a:lnTo>
                  <a:lnTo>
                    <a:pt x="84" y="699"/>
                  </a:lnTo>
                  <a:lnTo>
                    <a:pt x="85" y="700"/>
                  </a:lnTo>
                  <a:lnTo>
                    <a:pt x="84" y="700"/>
                  </a:lnTo>
                  <a:lnTo>
                    <a:pt x="83" y="699"/>
                  </a:lnTo>
                  <a:lnTo>
                    <a:pt x="83" y="700"/>
                  </a:lnTo>
                  <a:lnTo>
                    <a:pt x="84" y="700"/>
                  </a:lnTo>
                  <a:lnTo>
                    <a:pt x="84" y="701"/>
                  </a:lnTo>
                  <a:lnTo>
                    <a:pt x="84" y="702"/>
                  </a:lnTo>
                  <a:lnTo>
                    <a:pt x="83" y="702"/>
                  </a:lnTo>
                  <a:lnTo>
                    <a:pt x="84" y="702"/>
                  </a:lnTo>
                  <a:lnTo>
                    <a:pt x="84" y="704"/>
                  </a:lnTo>
                  <a:lnTo>
                    <a:pt x="84" y="705"/>
                  </a:lnTo>
                  <a:lnTo>
                    <a:pt x="85" y="706"/>
                  </a:lnTo>
                  <a:lnTo>
                    <a:pt x="86" y="706"/>
                  </a:lnTo>
                  <a:lnTo>
                    <a:pt x="88" y="706"/>
                  </a:lnTo>
                  <a:lnTo>
                    <a:pt x="86" y="707"/>
                  </a:lnTo>
                  <a:lnTo>
                    <a:pt x="85" y="707"/>
                  </a:lnTo>
                  <a:lnTo>
                    <a:pt x="84" y="707"/>
                  </a:lnTo>
                  <a:lnTo>
                    <a:pt x="84" y="708"/>
                  </a:lnTo>
                  <a:lnTo>
                    <a:pt x="84" y="710"/>
                  </a:lnTo>
                  <a:lnTo>
                    <a:pt x="85" y="710"/>
                  </a:lnTo>
                  <a:lnTo>
                    <a:pt x="86" y="708"/>
                  </a:lnTo>
                  <a:lnTo>
                    <a:pt x="86" y="710"/>
                  </a:lnTo>
                  <a:lnTo>
                    <a:pt x="88" y="710"/>
                  </a:lnTo>
                  <a:lnTo>
                    <a:pt x="90" y="711"/>
                  </a:lnTo>
                  <a:lnTo>
                    <a:pt x="91" y="711"/>
                  </a:lnTo>
                  <a:lnTo>
                    <a:pt x="94" y="711"/>
                  </a:lnTo>
                  <a:lnTo>
                    <a:pt x="95" y="712"/>
                  </a:lnTo>
                  <a:lnTo>
                    <a:pt x="97" y="712"/>
                  </a:lnTo>
                  <a:lnTo>
                    <a:pt x="101" y="712"/>
                  </a:lnTo>
                  <a:lnTo>
                    <a:pt x="105" y="712"/>
                  </a:lnTo>
                  <a:lnTo>
                    <a:pt x="106" y="711"/>
                  </a:lnTo>
                  <a:lnTo>
                    <a:pt x="107" y="711"/>
                  </a:lnTo>
                  <a:lnTo>
                    <a:pt x="111" y="711"/>
                  </a:lnTo>
                  <a:lnTo>
                    <a:pt x="113" y="710"/>
                  </a:lnTo>
                  <a:lnTo>
                    <a:pt x="114" y="708"/>
                  </a:lnTo>
                  <a:lnTo>
                    <a:pt x="114" y="707"/>
                  </a:lnTo>
                  <a:lnTo>
                    <a:pt x="114" y="706"/>
                  </a:lnTo>
                  <a:lnTo>
                    <a:pt x="113" y="707"/>
                  </a:lnTo>
                  <a:lnTo>
                    <a:pt x="112" y="706"/>
                  </a:lnTo>
                  <a:lnTo>
                    <a:pt x="112" y="705"/>
                  </a:lnTo>
                  <a:lnTo>
                    <a:pt x="111" y="707"/>
                  </a:lnTo>
                  <a:lnTo>
                    <a:pt x="108" y="708"/>
                  </a:lnTo>
                  <a:lnTo>
                    <a:pt x="107" y="710"/>
                  </a:lnTo>
                  <a:lnTo>
                    <a:pt x="107" y="708"/>
                  </a:lnTo>
                  <a:lnTo>
                    <a:pt x="108" y="706"/>
                  </a:lnTo>
                  <a:lnTo>
                    <a:pt x="111" y="705"/>
                  </a:lnTo>
                  <a:lnTo>
                    <a:pt x="111" y="704"/>
                  </a:lnTo>
                  <a:lnTo>
                    <a:pt x="111" y="702"/>
                  </a:lnTo>
                  <a:lnTo>
                    <a:pt x="111" y="701"/>
                  </a:lnTo>
                  <a:lnTo>
                    <a:pt x="109" y="702"/>
                  </a:lnTo>
                  <a:lnTo>
                    <a:pt x="109" y="704"/>
                  </a:lnTo>
                  <a:lnTo>
                    <a:pt x="109" y="702"/>
                  </a:lnTo>
                  <a:lnTo>
                    <a:pt x="108" y="702"/>
                  </a:lnTo>
                  <a:lnTo>
                    <a:pt x="106" y="702"/>
                  </a:lnTo>
                  <a:lnTo>
                    <a:pt x="106" y="704"/>
                  </a:lnTo>
                  <a:lnTo>
                    <a:pt x="106" y="702"/>
                  </a:lnTo>
                  <a:lnTo>
                    <a:pt x="106" y="701"/>
                  </a:lnTo>
                  <a:lnTo>
                    <a:pt x="106" y="700"/>
                  </a:lnTo>
                  <a:lnTo>
                    <a:pt x="108" y="699"/>
                  </a:lnTo>
                  <a:lnTo>
                    <a:pt x="108" y="698"/>
                  </a:lnTo>
                  <a:lnTo>
                    <a:pt x="108" y="696"/>
                  </a:lnTo>
                  <a:lnTo>
                    <a:pt x="107" y="695"/>
                  </a:lnTo>
                  <a:lnTo>
                    <a:pt x="107" y="696"/>
                  </a:lnTo>
                  <a:lnTo>
                    <a:pt x="107" y="698"/>
                  </a:lnTo>
                  <a:lnTo>
                    <a:pt x="106" y="698"/>
                  </a:lnTo>
                  <a:lnTo>
                    <a:pt x="105" y="699"/>
                  </a:lnTo>
                  <a:lnTo>
                    <a:pt x="103" y="699"/>
                  </a:lnTo>
                  <a:lnTo>
                    <a:pt x="103" y="698"/>
                  </a:lnTo>
                  <a:lnTo>
                    <a:pt x="102" y="698"/>
                  </a:lnTo>
                  <a:lnTo>
                    <a:pt x="101" y="699"/>
                  </a:lnTo>
                  <a:lnTo>
                    <a:pt x="100" y="699"/>
                  </a:lnTo>
                  <a:lnTo>
                    <a:pt x="100" y="698"/>
                  </a:lnTo>
                  <a:lnTo>
                    <a:pt x="99" y="696"/>
                  </a:lnTo>
                  <a:lnTo>
                    <a:pt x="100" y="695"/>
                  </a:lnTo>
                  <a:lnTo>
                    <a:pt x="100" y="694"/>
                  </a:lnTo>
                  <a:lnTo>
                    <a:pt x="101" y="693"/>
                  </a:lnTo>
                  <a:lnTo>
                    <a:pt x="101" y="692"/>
                  </a:lnTo>
                  <a:lnTo>
                    <a:pt x="101" y="690"/>
                  </a:lnTo>
                  <a:lnTo>
                    <a:pt x="100" y="690"/>
                  </a:lnTo>
                  <a:lnTo>
                    <a:pt x="100" y="692"/>
                  </a:lnTo>
                  <a:lnTo>
                    <a:pt x="97" y="692"/>
                  </a:lnTo>
                  <a:lnTo>
                    <a:pt x="95" y="692"/>
                  </a:lnTo>
                  <a:lnTo>
                    <a:pt x="94" y="693"/>
                  </a:lnTo>
                  <a:lnTo>
                    <a:pt x="92" y="693"/>
                  </a:lnTo>
                  <a:lnTo>
                    <a:pt x="92" y="692"/>
                  </a:lnTo>
                  <a:lnTo>
                    <a:pt x="91" y="692"/>
                  </a:lnTo>
                  <a:lnTo>
                    <a:pt x="91" y="690"/>
                  </a:lnTo>
                  <a:lnTo>
                    <a:pt x="90" y="690"/>
                  </a:lnTo>
                  <a:lnTo>
                    <a:pt x="92" y="689"/>
                  </a:lnTo>
                  <a:lnTo>
                    <a:pt x="95" y="689"/>
                  </a:lnTo>
                  <a:lnTo>
                    <a:pt x="96" y="689"/>
                  </a:lnTo>
                  <a:lnTo>
                    <a:pt x="99" y="688"/>
                  </a:lnTo>
                  <a:lnTo>
                    <a:pt x="99" y="686"/>
                  </a:lnTo>
                  <a:lnTo>
                    <a:pt x="100" y="686"/>
                  </a:lnTo>
                  <a:lnTo>
                    <a:pt x="100" y="684"/>
                  </a:lnTo>
                  <a:lnTo>
                    <a:pt x="99" y="684"/>
                  </a:lnTo>
                  <a:lnTo>
                    <a:pt x="97" y="686"/>
                  </a:lnTo>
                  <a:lnTo>
                    <a:pt x="96" y="686"/>
                  </a:lnTo>
                  <a:lnTo>
                    <a:pt x="95" y="687"/>
                  </a:lnTo>
                  <a:lnTo>
                    <a:pt x="94" y="688"/>
                  </a:lnTo>
                  <a:lnTo>
                    <a:pt x="92" y="687"/>
                  </a:lnTo>
                  <a:lnTo>
                    <a:pt x="92" y="686"/>
                  </a:lnTo>
                  <a:lnTo>
                    <a:pt x="94" y="686"/>
                  </a:lnTo>
                  <a:lnTo>
                    <a:pt x="95" y="684"/>
                  </a:lnTo>
                  <a:lnTo>
                    <a:pt x="97" y="684"/>
                  </a:lnTo>
                  <a:lnTo>
                    <a:pt x="99" y="683"/>
                  </a:lnTo>
                  <a:lnTo>
                    <a:pt x="100" y="683"/>
                  </a:lnTo>
                  <a:lnTo>
                    <a:pt x="101" y="682"/>
                  </a:lnTo>
                  <a:lnTo>
                    <a:pt x="102" y="681"/>
                  </a:lnTo>
                  <a:lnTo>
                    <a:pt x="101" y="681"/>
                  </a:lnTo>
                  <a:lnTo>
                    <a:pt x="100" y="682"/>
                  </a:lnTo>
                  <a:lnTo>
                    <a:pt x="99" y="682"/>
                  </a:lnTo>
                  <a:lnTo>
                    <a:pt x="99" y="683"/>
                  </a:lnTo>
                  <a:lnTo>
                    <a:pt x="97" y="682"/>
                  </a:lnTo>
                  <a:lnTo>
                    <a:pt x="95" y="682"/>
                  </a:lnTo>
                  <a:lnTo>
                    <a:pt x="94" y="682"/>
                  </a:lnTo>
                  <a:lnTo>
                    <a:pt x="94" y="681"/>
                  </a:lnTo>
                  <a:lnTo>
                    <a:pt x="95" y="680"/>
                  </a:lnTo>
                  <a:lnTo>
                    <a:pt x="94" y="678"/>
                  </a:lnTo>
                  <a:lnTo>
                    <a:pt x="92" y="678"/>
                  </a:lnTo>
                  <a:lnTo>
                    <a:pt x="94" y="678"/>
                  </a:lnTo>
                  <a:lnTo>
                    <a:pt x="94" y="677"/>
                  </a:lnTo>
                  <a:lnTo>
                    <a:pt x="92" y="676"/>
                  </a:lnTo>
                  <a:lnTo>
                    <a:pt x="91" y="676"/>
                  </a:lnTo>
                  <a:lnTo>
                    <a:pt x="91" y="674"/>
                  </a:lnTo>
                  <a:lnTo>
                    <a:pt x="94" y="675"/>
                  </a:lnTo>
                  <a:lnTo>
                    <a:pt x="95" y="675"/>
                  </a:lnTo>
                  <a:lnTo>
                    <a:pt x="97" y="674"/>
                  </a:lnTo>
                  <a:lnTo>
                    <a:pt x="101" y="670"/>
                  </a:lnTo>
                  <a:lnTo>
                    <a:pt x="103" y="669"/>
                  </a:lnTo>
                  <a:lnTo>
                    <a:pt x="105" y="668"/>
                  </a:lnTo>
                  <a:lnTo>
                    <a:pt x="105" y="664"/>
                  </a:lnTo>
                  <a:lnTo>
                    <a:pt x="103" y="661"/>
                  </a:lnTo>
                  <a:lnTo>
                    <a:pt x="102" y="665"/>
                  </a:lnTo>
                  <a:lnTo>
                    <a:pt x="102" y="668"/>
                  </a:lnTo>
                  <a:lnTo>
                    <a:pt x="101" y="666"/>
                  </a:lnTo>
                  <a:lnTo>
                    <a:pt x="100" y="666"/>
                  </a:lnTo>
                  <a:lnTo>
                    <a:pt x="100" y="665"/>
                  </a:lnTo>
                  <a:lnTo>
                    <a:pt x="100" y="663"/>
                  </a:lnTo>
                  <a:lnTo>
                    <a:pt x="99" y="663"/>
                  </a:lnTo>
                  <a:lnTo>
                    <a:pt x="97" y="663"/>
                  </a:lnTo>
                  <a:lnTo>
                    <a:pt x="97" y="666"/>
                  </a:lnTo>
                  <a:lnTo>
                    <a:pt x="97" y="668"/>
                  </a:lnTo>
                  <a:lnTo>
                    <a:pt x="96" y="670"/>
                  </a:lnTo>
                  <a:lnTo>
                    <a:pt x="94" y="670"/>
                  </a:lnTo>
                  <a:lnTo>
                    <a:pt x="94" y="669"/>
                  </a:lnTo>
                  <a:lnTo>
                    <a:pt x="95" y="666"/>
                  </a:lnTo>
                  <a:lnTo>
                    <a:pt x="96" y="665"/>
                  </a:lnTo>
                  <a:lnTo>
                    <a:pt x="96" y="664"/>
                  </a:lnTo>
                  <a:lnTo>
                    <a:pt x="96" y="663"/>
                  </a:lnTo>
                  <a:lnTo>
                    <a:pt x="99" y="660"/>
                  </a:lnTo>
                  <a:lnTo>
                    <a:pt x="100" y="659"/>
                  </a:lnTo>
                  <a:lnTo>
                    <a:pt x="100" y="658"/>
                  </a:lnTo>
                  <a:lnTo>
                    <a:pt x="99" y="659"/>
                  </a:lnTo>
                  <a:lnTo>
                    <a:pt x="97" y="659"/>
                  </a:lnTo>
                  <a:lnTo>
                    <a:pt x="99" y="658"/>
                  </a:lnTo>
                  <a:lnTo>
                    <a:pt x="97" y="657"/>
                  </a:lnTo>
                  <a:lnTo>
                    <a:pt x="96" y="659"/>
                  </a:lnTo>
                  <a:lnTo>
                    <a:pt x="96" y="660"/>
                  </a:lnTo>
                  <a:lnTo>
                    <a:pt x="96" y="661"/>
                  </a:lnTo>
                  <a:lnTo>
                    <a:pt x="95" y="663"/>
                  </a:lnTo>
                  <a:lnTo>
                    <a:pt x="94" y="664"/>
                  </a:lnTo>
                  <a:lnTo>
                    <a:pt x="92" y="663"/>
                  </a:lnTo>
                  <a:lnTo>
                    <a:pt x="92" y="660"/>
                  </a:lnTo>
                  <a:lnTo>
                    <a:pt x="91" y="659"/>
                  </a:lnTo>
                  <a:lnTo>
                    <a:pt x="91" y="658"/>
                  </a:lnTo>
                  <a:lnTo>
                    <a:pt x="92" y="657"/>
                  </a:lnTo>
                  <a:lnTo>
                    <a:pt x="94" y="657"/>
                  </a:lnTo>
                  <a:lnTo>
                    <a:pt x="94" y="654"/>
                  </a:lnTo>
                  <a:lnTo>
                    <a:pt x="92" y="657"/>
                  </a:lnTo>
                  <a:lnTo>
                    <a:pt x="91" y="658"/>
                  </a:lnTo>
                  <a:lnTo>
                    <a:pt x="90" y="658"/>
                  </a:lnTo>
                  <a:lnTo>
                    <a:pt x="89" y="659"/>
                  </a:lnTo>
                  <a:lnTo>
                    <a:pt x="88" y="661"/>
                  </a:lnTo>
                  <a:lnTo>
                    <a:pt x="86" y="660"/>
                  </a:lnTo>
                  <a:lnTo>
                    <a:pt x="85" y="660"/>
                  </a:lnTo>
                  <a:lnTo>
                    <a:pt x="85" y="663"/>
                  </a:lnTo>
                  <a:lnTo>
                    <a:pt x="84" y="663"/>
                  </a:lnTo>
                  <a:lnTo>
                    <a:pt x="84" y="661"/>
                  </a:lnTo>
                  <a:lnTo>
                    <a:pt x="83" y="661"/>
                  </a:lnTo>
                  <a:lnTo>
                    <a:pt x="83" y="659"/>
                  </a:lnTo>
                  <a:lnTo>
                    <a:pt x="83" y="658"/>
                  </a:lnTo>
                  <a:lnTo>
                    <a:pt x="82" y="658"/>
                  </a:lnTo>
                  <a:lnTo>
                    <a:pt x="82" y="659"/>
                  </a:lnTo>
                  <a:lnTo>
                    <a:pt x="82" y="664"/>
                  </a:lnTo>
                  <a:lnTo>
                    <a:pt x="82" y="665"/>
                  </a:lnTo>
                  <a:lnTo>
                    <a:pt x="80" y="666"/>
                  </a:lnTo>
                  <a:lnTo>
                    <a:pt x="79" y="665"/>
                  </a:lnTo>
                  <a:lnTo>
                    <a:pt x="79" y="663"/>
                  </a:lnTo>
                  <a:lnTo>
                    <a:pt x="79" y="661"/>
                  </a:lnTo>
                  <a:lnTo>
                    <a:pt x="78" y="659"/>
                  </a:lnTo>
                  <a:lnTo>
                    <a:pt x="77" y="659"/>
                  </a:lnTo>
                  <a:lnTo>
                    <a:pt x="77" y="661"/>
                  </a:lnTo>
                  <a:lnTo>
                    <a:pt x="76" y="663"/>
                  </a:lnTo>
                  <a:lnTo>
                    <a:pt x="74" y="661"/>
                  </a:lnTo>
                  <a:lnTo>
                    <a:pt x="74" y="664"/>
                  </a:lnTo>
                  <a:lnTo>
                    <a:pt x="73" y="664"/>
                  </a:lnTo>
                  <a:lnTo>
                    <a:pt x="72" y="663"/>
                  </a:lnTo>
                  <a:lnTo>
                    <a:pt x="72" y="659"/>
                  </a:lnTo>
                  <a:lnTo>
                    <a:pt x="72" y="658"/>
                  </a:lnTo>
                  <a:lnTo>
                    <a:pt x="70" y="658"/>
                  </a:lnTo>
                  <a:lnTo>
                    <a:pt x="71" y="657"/>
                  </a:lnTo>
                  <a:lnTo>
                    <a:pt x="71" y="655"/>
                  </a:lnTo>
                  <a:lnTo>
                    <a:pt x="74" y="654"/>
                  </a:lnTo>
                  <a:lnTo>
                    <a:pt x="72" y="653"/>
                  </a:lnTo>
                  <a:lnTo>
                    <a:pt x="70" y="653"/>
                  </a:lnTo>
                  <a:lnTo>
                    <a:pt x="70" y="652"/>
                  </a:lnTo>
                  <a:lnTo>
                    <a:pt x="68" y="652"/>
                  </a:lnTo>
                  <a:lnTo>
                    <a:pt x="68" y="653"/>
                  </a:lnTo>
                  <a:lnTo>
                    <a:pt x="67" y="655"/>
                  </a:lnTo>
                  <a:lnTo>
                    <a:pt x="66" y="655"/>
                  </a:lnTo>
                  <a:lnTo>
                    <a:pt x="65" y="654"/>
                  </a:lnTo>
                  <a:lnTo>
                    <a:pt x="62" y="655"/>
                  </a:lnTo>
                  <a:lnTo>
                    <a:pt x="59" y="657"/>
                  </a:lnTo>
                  <a:lnTo>
                    <a:pt x="58" y="657"/>
                  </a:lnTo>
                  <a:lnTo>
                    <a:pt x="59" y="655"/>
                  </a:lnTo>
                  <a:lnTo>
                    <a:pt x="60" y="653"/>
                  </a:lnTo>
                  <a:lnTo>
                    <a:pt x="61" y="653"/>
                  </a:lnTo>
                  <a:lnTo>
                    <a:pt x="66" y="651"/>
                  </a:lnTo>
                  <a:lnTo>
                    <a:pt x="67" y="649"/>
                  </a:lnTo>
                  <a:lnTo>
                    <a:pt x="70" y="648"/>
                  </a:lnTo>
                  <a:lnTo>
                    <a:pt x="72" y="646"/>
                  </a:lnTo>
                  <a:lnTo>
                    <a:pt x="72" y="645"/>
                  </a:lnTo>
                  <a:lnTo>
                    <a:pt x="71" y="643"/>
                  </a:lnTo>
                  <a:lnTo>
                    <a:pt x="70" y="646"/>
                  </a:lnTo>
                  <a:lnTo>
                    <a:pt x="68" y="647"/>
                  </a:lnTo>
                  <a:lnTo>
                    <a:pt x="67" y="648"/>
                  </a:lnTo>
                  <a:lnTo>
                    <a:pt x="66" y="648"/>
                  </a:lnTo>
                  <a:lnTo>
                    <a:pt x="65" y="648"/>
                  </a:lnTo>
                  <a:lnTo>
                    <a:pt x="64" y="647"/>
                  </a:lnTo>
                  <a:lnTo>
                    <a:pt x="64" y="645"/>
                  </a:lnTo>
                  <a:lnTo>
                    <a:pt x="64" y="643"/>
                  </a:lnTo>
                  <a:lnTo>
                    <a:pt x="62" y="645"/>
                  </a:lnTo>
                  <a:lnTo>
                    <a:pt x="62" y="647"/>
                  </a:lnTo>
                  <a:lnTo>
                    <a:pt x="62" y="648"/>
                  </a:lnTo>
                  <a:lnTo>
                    <a:pt x="62" y="651"/>
                  </a:lnTo>
                  <a:lnTo>
                    <a:pt x="61" y="652"/>
                  </a:lnTo>
                  <a:lnTo>
                    <a:pt x="60" y="652"/>
                  </a:lnTo>
                  <a:lnTo>
                    <a:pt x="60" y="651"/>
                  </a:lnTo>
                  <a:lnTo>
                    <a:pt x="60" y="649"/>
                  </a:lnTo>
                  <a:lnTo>
                    <a:pt x="60" y="648"/>
                  </a:lnTo>
                  <a:lnTo>
                    <a:pt x="60" y="647"/>
                  </a:lnTo>
                  <a:lnTo>
                    <a:pt x="59" y="646"/>
                  </a:lnTo>
                  <a:lnTo>
                    <a:pt x="59" y="648"/>
                  </a:lnTo>
                  <a:lnTo>
                    <a:pt x="59" y="649"/>
                  </a:lnTo>
                  <a:lnTo>
                    <a:pt x="58" y="652"/>
                  </a:lnTo>
                  <a:lnTo>
                    <a:pt x="56" y="652"/>
                  </a:lnTo>
                  <a:lnTo>
                    <a:pt x="56" y="649"/>
                  </a:lnTo>
                  <a:lnTo>
                    <a:pt x="56" y="647"/>
                  </a:lnTo>
                  <a:lnTo>
                    <a:pt x="56" y="645"/>
                  </a:lnTo>
                  <a:lnTo>
                    <a:pt x="56" y="643"/>
                  </a:lnTo>
                  <a:lnTo>
                    <a:pt x="55" y="646"/>
                  </a:lnTo>
                  <a:lnTo>
                    <a:pt x="54" y="646"/>
                  </a:lnTo>
                  <a:lnTo>
                    <a:pt x="53" y="647"/>
                  </a:lnTo>
                  <a:lnTo>
                    <a:pt x="53" y="651"/>
                  </a:lnTo>
                  <a:lnTo>
                    <a:pt x="53" y="652"/>
                  </a:lnTo>
                  <a:lnTo>
                    <a:pt x="52" y="651"/>
                  </a:lnTo>
                  <a:lnTo>
                    <a:pt x="50" y="649"/>
                  </a:lnTo>
                  <a:lnTo>
                    <a:pt x="50" y="648"/>
                  </a:lnTo>
                  <a:lnTo>
                    <a:pt x="50" y="646"/>
                  </a:lnTo>
                  <a:lnTo>
                    <a:pt x="50" y="643"/>
                  </a:lnTo>
                  <a:lnTo>
                    <a:pt x="50" y="641"/>
                  </a:lnTo>
                  <a:lnTo>
                    <a:pt x="50" y="639"/>
                  </a:lnTo>
                  <a:lnTo>
                    <a:pt x="49" y="639"/>
                  </a:lnTo>
                  <a:lnTo>
                    <a:pt x="49" y="641"/>
                  </a:lnTo>
                  <a:lnTo>
                    <a:pt x="49" y="642"/>
                  </a:lnTo>
                  <a:lnTo>
                    <a:pt x="48" y="645"/>
                  </a:lnTo>
                  <a:lnTo>
                    <a:pt x="47" y="645"/>
                  </a:lnTo>
                  <a:lnTo>
                    <a:pt x="46" y="643"/>
                  </a:lnTo>
                  <a:lnTo>
                    <a:pt x="46" y="642"/>
                  </a:lnTo>
                  <a:lnTo>
                    <a:pt x="46" y="640"/>
                  </a:lnTo>
                  <a:lnTo>
                    <a:pt x="46" y="639"/>
                  </a:lnTo>
                  <a:lnTo>
                    <a:pt x="46" y="637"/>
                  </a:lnTo>
                  <a:lnTo>
                    <a:pt x="44" y="636"/>
                  </a:lnTo>
                  <a:lnTo>
                    <a:pt x="43" y="636"/>
                  </a:lnTo>
                  <a:lnTo>
                    <a:pt x="43" y="639"/>
                  </a:lnTo>
                  <a:lnTo>
                    <a:pt x="42" y="642"/>
                  </a:lnTo>
                  <a:lnTo>
                    <a:pt x="41" y="643"/>
                  </a:lnTo>
                  <a:lnTo>
                    <a:pt x="38" y="642"/>
                  </a:lnTo>
                  <a:lnTo>
                    <a:pt x="38" y="641"/>
                  </a:lnTo>
                  <a:lnTo>
                    <a:pt x="37" y="641"/>
                  </a:lnTo>
                  <a:lnTo>
                    <a:pt x="37" y="642"/>
                  </a:lnTo>
                  <a:lnTo>
                    <a:pt x="37" y="645"/>
                  </a:lnTo>
                  <a:lnTo>
                    <a:pt x="37" y="648"/>
                  </a:lnTo>
                  <a:lnTo>
                    <a:pt x="36" y="648"/>
                  </a:lnTo>
                  <a:lnTo>
                    <a:pt x="36" y="647"/>
                  </a:lnTo>
                  <a:lnTo>
                    <a:pt x="35" y="645"/>
                  </a:lnTo>
                  <a:lnTo>
                    <a:pt x="35" y="647"/>
                  </a:lnTo>
                  <a:lnTo>
                    <a:pt x="33" y="647"/>
                  </a:lnTo>
                  <a:lnTo>
                    <a:pt x="31" y="646"/>
                  </a:lnTo>
                  <a:lnTo>
                    <a:pt x="32" y="642"/>
                  </a:lnTo>
                  <a:lnTo>
                    <a:pt x="31" y="641"/>
                  </a:lnTo>
                  <a:lnTo>
                    <a:pt x="30" y="641"/>
                  </a:lnTo>
                  <a:lnTo>
                    <a:pt x="29" y="641"/>
                  </a:lnTo>
                  <a:lnTo>
                    <a:pt x="27" y="641"/>
                  </a:lnTo>
                  <a:lnTo>
                    <a:pt x="25" y="641"/>
                  </a:lnTo>
                  <a:lnTo>
                    <a:pt x="27" y="640"/>
                  </a:lnTo>
                  <a:lnTo>
                    <a:pt x="29" y="637"/>
                  </a:lnTo>
                  <a:lnTo>
                    <a:pt x="30" y="636"/>
                  </a:lnTo>
                  <a:lnTo>
                    <a:pt x="33" y="634"/>
                  </a:lnTo>
                  <a:lnTo>
                    <a:pt x="40" y="631"/>
                  </a:lnTo>
                  <a:lnTo>
                    <a:pt x="44" y="629"/>
                  </a:lnTo>
                  <a:lnTo>
                    <a:pt x="50" y="628"/>
                  </a:lnTo>
                  <a:lnTo>
                    <a:pt x="55" y="628"/>
                  </a:lnTo>
                  <a:lnTo>
                    <a:pt x="58" y="629"/>
                  </a:lnTo>
                  <a:lnTo>
                    <a:pt x="59" y="629"/>
                  </a:lnTo>
                  <a:lnTo>
                    <a:pt x="60" y="629"/>
                  </a:lnTo>
                  <a:lnTo>
                    <a:pt x="62" y="629"/>
                  </a:lnTo>
                  <a:lnTo>
                    <a:pt x="64" y="629"/>
                  </a:lnTo>
                  <a:lnTo>
                    <a:pt x="67" y="628"/>
                  </a:lnTo>
                  <a:lnTo>
                    <a:pt x="70" y="627"/>
                  </a:lnTo>
                  <a:lnTo>
                    <a:pt x="73" y="625"/>
                  </a:lnTo>
                  <a:lnTo>
                    <a:pt x="73" y="624"/>
                  </a:lnTo>
                  <a:lnTo>
                    <a:pt x="72" y="623"/>
                  </a:lnTo>
                  <a:lnTo>
                    <a:pt x="71" y="623"/>
                  </a:lnTo>
                  <a:lnTo>
                    <a:pt x="66" y="624"/>
                  </a:lnTo>
                  <a:lnTo>
                    <a:pt x="68" y="623"/>
                  </a:lnTo>
                  <a:lnTo>
                    <a:pt x="70" y="623"/>
                  </a:lnTo>
                  <a:lnTo>
                    <a:pt x="66" y="621"/>
                  </a:lnTo>
                  <a:lnTo>
                    <a:pt x="67" y="619"/>
                  </a:lnTo>
                  <a:lnTo>
                    <a:pt x="71" y="621"/>
                  </a:lnTo>
                  <a:lnTo>
                    <a:pt x="72" y="621"/>
                  </a:lnTo>
                  <a:lnTo>
                    <a:pt x="73" y="622"/>
                  </a:lnTo>
                  <a:lnTo>
                    <a:pt x="74" y="623"/>
                  </a:lnTo>
                  <a:lnTo>
                    <a:pt x="77" y="624"/>
                  </a:lnTo>
                  <a:lnTo>
                    <a:pt x="78" y="623"/>
                  </a:lnTo>
                  <a:lnTo>
                    <a:pt x="80" y="625"/>
                  </a:lnTo>
                  <a:lnTo>
                    <a:pt x="82" y="627"/>
                  </a:lnTo>
                  <a:lnTo>
                    <a:pt x="85" y="624"/>
                  </a:lnTo>
                  <a:lnTo>
                    <a:pt x="90" y="623"/>
                  </a:lnTo>
                  <a:lnTo>
                    <a:pt x="96" y="621"/>
                  </a:lnTo>
                  <a:lnTo>
                    <a:pt x="97" y="621"/>
                  </a:lnTo>
                  <a:lnTo>
                    <a:pt x="100" y="621"/>
                  </a:lnTo>
                  <a:lnTo>
                    <a:pt x="100" y="619"/>
                  </a:lnTo>
                  <a:lnTo>
                    <a:pt x="99" y="619"/>
                  </a:lnTo>
                  <a:lnTo>
                    <a:pt x="99" y="617"/>
                  </a:lnTo>
                  <a:lnTo>
                    <a:pt x="99" y="616"/>
                  </a:lnTo>
                  <a:lnTo>
                    <a:pt x="99" y="613"/>
                  </a:lnTo>
                  <a:lnTo>
                    <a:pt x="97" y="613"/>
                  </a:lnTo>
                  <a:lnTo>
                    <a:pt x="96" y="617"/>
                  </a:lnTo>
                  <a:lnTo>
                    <a:pt x="95" y="617"/>
                  </a:lnTo>
                  <a:lnTo>
                    <a:pt x="94" y="615"/>
                  </a:lnTo>
                  <a:lnTo>
                    <a:pt x="94" y="613"/>
                  </a:lnTo>
                  <a:lnTo>
                    <a:pt x="94" y="612"/>
                  </a:lnTo>
                  <a:lnTo>
                    <a:pt x="92" y="613"/>
                  </a:lnTo>
                  <a:lnTo>
                    <a:pt x="91" y="613"/>
                  </a:lnTo>
                  <a:lnTo>
                    <a:pt x="90" y="613"/>
                  </a:lnTo>
                  <a:lnTo>
                    <a:pt x="89" y="612"/>
                  </a:lnTo>
                  <a:lnTo>
                    <a:pt x="89" y="613"/>
                  </a:lnTo>
                  <a:lnTo>
                    <a:pt x="88" y="613"/>
                  </a:lnTo>
                  <a:lnTo>
                    <a:pt x="86" y="612"/>
                  </a:lnTo>
                  <a:lnTo>
                    <a:pt x="85" y="611"/>
                  </a:lnTo>
                  <a:lnTo>
                    <a:pt x="83" y="610"/>
                  </a:lnTo>
                  <a:lnTo>
                    <a:pt x="79" y="609"/>
                  </a:lnTo>
                  <a:lnTo>
                    <a:pt x="79" y="606"/>
                  </a:lnTo>
                  <a:lnTo>
                    <a:pt x="78" y="605"/>
                  </a:lnTo>
                  <a:lnTo>
                    <a:pt x="77" y="605"/>
                  </a:lnTo>
                  <a:lnTo>
                    <a:pt x="76" y="605"/>
                  </a:lnTo>
                  <a:lnTo>
                    <a:pt x="74" y="604"/>
                  </a:lnTo>
                  <a:lnTo>
                    <a:pt x="76" y="603"/>
                  </a:lnTo>
                  <a:lnTo>
                    <a:pt x="77" y="600"/>
                  </a:lnTo>
                  <a:lnTo>
                    <a:pt x="74" y="600"/>
                  </a:lnTo>
                  <a:lnTo>
                    <a:pt x="73" y="604"/>
                  </a:lnTo>
                  <a:lnTo>
                    <a:pt x="72" y="605"/>
                  </a:lnTo>
                  <a:lnTo>
                    <a:pt x="71" y="606"/>
                  </a:lnTo>
                  <a:lnTo>
                    <a:pt x="71" y="605"/>
                  </a:lnTo>
                  <a:lnTo>
                    <a:pt x="71" y="601"/>
                  </a:lnTo>
                  <a:lnTo>
                    <a:pt x="71" y="600"/>
                  </a:lnTo>
                  <a:lnTo>
                    <a:pt x="70" y="600"/>
                  </a:lnTo>
                  <a:lnTo>
                    <a:pt x="70" y="601"/>
                  </a:lnTo>
                  <a:lnTo>
                    <a:pt x="68" y="605"/>
                  </a:lnTo>
                  <a:lnTo>
                    <a:pt x="70" y="607"/>
                  </a:lnTo>
                  <a:lnTo>
                    <a:pt x="68" y="609"/>
                  </a:lnTo>
                  <a:lnTo>
                    <a:pt x="68" y="607"/>
                  </a:lnTo>
                  <a:lnTo>
                    <a:pt x="68" y="605"/>
                  </a:lnTo>
                  <a:lnTo>
                    <a:pt x="67" y="604"/>
                  </a:lnTo>
                  <a:lnTo>
                    <a:pt x="66" y="603"/>
                  </a:lnTo>
                  <a:lnTo>
                    <a:pt x="67" y="600"/>
                  </a:lnTo>
                  <a:lnTo>
                    <a:pt x="68" y="599"/>
                  </a:lnTo>
                  <a:lnTo>
                    <a:pt x="67" y="597"/>
                  </a:lnTo>
                  <a:lnTo>
                    <a:pt x="67" y="595"/>
                  </a:lnTo>
                  <a:lnTo>
                    <a:pt x="66" y="594"/>
                  </a:lnTo>
                  <a:lnTo>
                    <a:pt x="65" y="595"/>
                  </a:lnTo>
                  <a:lnTo>
                    <a:pt x="64" y="597"/>
                  </a:lnTo>
                  <a:lnTo>
                    <a:pt x="62" y="595"/>
                  </a:lnTo>
                  <a:lnTo>
                    <a:pt x="62" y="594"/>
                  </a:lnTo>
                  <a:lnTo>
                    <a:pt x="62" y="593"/>
                  </a:lnTo>
                  <a:lnTo>
                    <a:pt x="62" y="591"/>
                  </a:lnTo>
                  <a:lnTo>
                    <a:pt x="62" y="589"/>
                  </a:lnTo>
                  <a:lnTo>
                    <a:pt x="64" y="587"/>
                  </a:lnTo>
                  <a:lnTo>
                    <a:pt x="64" y="586"/>
                  </a:lnTo>
                  <a:lnTo>
                    <a:pt x="62" y="586"/>
                  </a:lnTo>
                  <a:lnTo>
                    <a:pt x="60" y="587"/>
                  </a:lnTo>
                  <a:lnTo>
                    <a:pt x="60" y="589"/>
                  </a:lnTo>
                  <a:lnTo>
                    <a:pt x="60" y="591"/>
                  </a:lnTo>
                  <a:lnTo>
                    <a:pt x="60" y="593"/>
                  </a:lnTo>
                  <a:lnTo>
                    <a:pt x="61" y="597"/>
                  </a:lnTo>
                  <a:lnTo>
                    <a:pt x="60" y="598"/>
                  </a:lnTo>
                  <a:lnTo>
                    <a:pt x="59" y="598"/>
                  </a:lnTo>
                  <a:lnTo>
                    <a:pt x="59" y="595"/>
                  </a:lnTo>
                  <a:lnTo>
                    <a:pt x="59" y="592"/>
                  </a:lnTo>
                  <a:lnTo>
                    <a:pt x="59" y="593"/>
                  </a:lnTo>
                  <a:lnTo>
                    <a:pt x="59" y="595"/>
                  </a:lnTo>
                  <a:lnTo>
                    <a:pt x="58" y="595"/>
                  </a:lnTo>
                  <a:lnTo>
                    <a:pt x="56" y="594"/>
                  </a:lnTo>
                  <a:lnTo>
                    <a:pt x="56" y="592"/>
                  </a:lnTo>
                  <a:lnTo>
                    <a:pt x="56" y="589"/>
                  </a:lnTo>
                  <a:lnTo>
                    <a:pt x="56" y="588"/>
                  </a:lnTo>
                  <a:lnTo>
                    <a:pt x="56" y="591"/>
                  </a:lnTo>
                  <a:lnTo>
                    <a:pt x="55" y="595"/>
                  </a:lnTo>
                  <a:lnTo>
                    <a:pt x="55" y="597"/>
                  </a:lnTo>
                  <a:lnTo>
                    <a:pt x="54" y="598"/>
                  </a:lnTo>
                  <a:lnTo>
                    <a:pt x="54" y="597"/>
                  </a:lnTo>
                  <a:lnTo>
                    <a:pt x="54" y="593"/>
                  </a:lnTo>
                  <a:lnTo>
                    <a:pt x="54" y="591"/>
                  </a:lnTo>
                  <a:lnTo>
                    <a:pt x="53" y="593"/>
                  </a:lnTo>
                  <a:lnTo>
                    <a:pt x="53" y="595"/>
                  </a:lnTo>
                  <a:lnTo>
                    <a:pt x="53" y="599"/>
                  </a:lnTo>
                  <a:lnTo>
                    <a:pt x="52" y="599"/>
                  </a:lnTo>
                  <a:lnTo>
                    <a:pt x="50" y="598"/>
                  </a:lnTo>
                  <a:lnTo>
                    <a:pt x="50" y="595"/>
                  </a:lnTo>
                  <a:lnTo>
                    <a:pt x="50" y="593"/>
                  </a:lnTo>
                  <a:lnTo>
                    <a:pt x="50" y="592"/>
                  </a:lnTo>
                  <a:lnTo>
                    <a:pt x="49" y="593"/>
                  </a:lnTo>
                  <a:lnTo>
                    <a:pt x="48" y="592"/>
                  </a:lnTo>
                  <a:lnTo>
                    <a:pt x="47" y="592"/>
                  </a:lnTo>
                  <a:lnTo>
                    <a:pt x="47" y="593"/>
                  </a:lnTo>
                  <a:lnTo>
                    <a:pt x="46" y="594"/>
                  </a:lnTo>
                  <a:lnTo>
                    <a:pt x="44" y="595"/>
                  </a:lnTo>
                  <a:lnTo>
                    <a:pt x="43" y="597"/>
                  </a:lnTo>
                  <a:lnTo>
                    <a:pt x="43" y="594"/>
                  </a:lnTo>
                  <a:lnTo>
                    <a:pt x="44" y="593"/>
                  </a:lnTo>
                  <a:lnTo>
                    <a:pt x="42" y="594"/>
                  </a:lnTo>
                  <a:lnTo>
                    <a:pt x="40" y="594"/>
                  </a:lnTo>
                  <a:lnTo>
                    <a:pt x="41" y="593"/>
                  </a:lnTo>
                  <a:lnTo>
                    <a:pt x="43" y="591"/>
                  </a:lnTo>
                  <a:lnTo>
                    <a:pt x="43" y="589"/>
                  </a:lnTo>
                  <a:lnTo>
                    <a:pt x="44" y="591"/>
                  </a:lnTo>
                  <a:lnTo>
                    <a:pt x="46" y="591"/>
                  </a:lnTo>
                  <a:lnTo>
                    <a:pt x="47" y="589"/>
                  </a:lnTo>
                  <a:lnTo>
                    <a:pt x="49" y="589"/>
                  </a:lnTo>
                  <a:lnTo>
                    <a:pt x="50" y="588"/>
                  </a:lnTo>
                  <a:lnTo>
                    <a:pt x="53" y="587"/>
                  </a:lnTo>
                  <a:lnTo>
                    <a:pt x="56" y="586"/>
                  </a:lnTo>
                  <a:lnTo>
                    <a:pt x="59" y="585"/>
                  </a:lnTo>
                  <a:lnTo>
                    <a:pt x="60" y="586"/>
                  </a:lnTo>
                  <a:lnTo>
                    <a:pt x="64" y="585"/>
                  </a:lnTo>
                  <a:lnTo>
                    <a:pt x="65" y="585"/>
                  </a:lnTo>
                  <a:lnTo>
                    <a:pt x="67" y="585"/>
                  </a:lnTo>
                  <a:lnTo>
                    <a:pt x="71" y="585"/>
                  </a:lnTo>
                  <a:lnTo>
                    <a:pt x="73" y="585"/>
                  </a:lnTo>
                  <a:lnTo>
                    <a:pt x="74" y="586"/>
                  </a:lnTo>
                  <a:lnTo>
                    <a:pt x="77" y="586"/>
                  </a:lnTo>
                  <a:lnTo>
                    <a:pt x="79" y="586"/>
                  </a:lnTo>
                  <a:lnTo>
                    <a:pt x="80" y="587"/>
                  </a:lnTo>
                  <a:lnTo>
                    <a:pt x="83" y="587"/>
                  </a:lnTo>
                  <a:lnTo>
                    <a:pt x="85" y="587"/>
                  </a:lnTo>
                  <a:lnTo>
                    <a:pt x="90" y="587"/>
                  </a:lnTo>
                  <a:lnTo>
                    <a:pt x="94" y="587"/>
                  </a:lnTo>
                  <a:lnTo>
                    <a:pt x="94" y="589"/>
                  </a:lnTo>
                  <a:lnTo>
                    <a:pt x="95" y="588"/>
                  </a:lnTo>
                  <a:lnTo>
                    <a:pt x="96" y="588"/>
                  </a:lnTo>
                  <a:lnTo>
                    <a:pt x="97" y="588"/>
                  </a:lnTo>
                  <a:lnTo>
                    <a:pt x="100" y="588"/>
                  </a:lnTo>
                  <a:lnTo>
                    <a:pt x="101" y="588"/>
                  </a:lnTo>
                  <a:lnTo>
                    <a:pt x="102" y="589"/>
                  </a:lnTo>
                  <a:lnTo>
                    <a:pt x="103" y="589"/>
                  </a:lnTo>
                  <a:lnTo>
                    <a:pt x="105" y="589"/>
                  </a:lnTo>
                  <a:lnTo>
                    <a:pt x="109" y="589"/>
                  </a:lnTo>
                  <a:lnTo>
                    <a:pt x="113" y="588"/>
                  </a:lnTo>
                  <a:lnTo>
                    <a:pt x="115" y="588"/>
                  </a:lnTo>
                  <a:lnTo>
                    <a:pt x="117" y="588"/>
                  </a:lnTo>
                  <a:lnTo>
                    <a:pt x="118" y="588"/>
                  </a:lnTo>
                  <a:lnTo>
                    <a:pt x="118" y="589"/>
                  </a:lnTo>
                  <a:lnTo>
                    <a:pt x="119" y="589"/>
                  </a:lnTo>
                  <a:lnTo>
                    <a:pt x="120" y="589"/>
                  </a:lnTo>
                  <a:lnTo>
                    <a:pt x="121" y="589"/>
                  </a:lnTo>
                  <a:lnTo>
                    <a:pt x="123" y="588"/>
                  </a:lnTo>
                  <a:lnTo>
                    <a:pt x="124" y="587"/>
                  </a:lnTo>
                  <a:lnTo>
                    <a:pt x="126" y="587"/>
                  </a:lnTo>
                  <a:lnTo>
                    <a:pt x="129" y="586"/>
                  </a:lnTo>
                  <a:lnTo>
                    <a:pt x="132" y="586"/>
                  </a:lnTo>
                  <a:lnTo>
                    <a:pt x="136" y="583"/>
                  </a:lnTo>
                  <a:lnTo>
                    <a:pt x="139" y="582"/>
                  </a:lnTo>
                  <a:lnTo>
                    <a:pt x="139" y="581"/>
                  </a:lnTo>
                  <a:lnTo>
                    <a:pt x="137" y="582"/>
                  </a:lnTo>
                  <a:lnTo>
                    <a:pt x="133" y="583"/>
                  </a:lnTo>
                  <a:lnTo>
                    <a:pt x="138" y="580"/>
                  </a:lnTo>
                  <a:lnTo>
                    <a:pt x="137" y="580"/>
                  </a:lnTo>
                  <a:lnTo>
                    <a:pt x="133" y="580"/>
                  </a:lnTo>
                  <a:lnTo>
                    <a:pt x="132" y="580"/>
                  </a:lnTo>
                  <a:lnTo>
                    <a:pt x="137" y="579"/>
                  </a:lnTo>
                  <a:lnTo>
                    <a:pt x="138" y="579"/>
                  </a:lnTo>
                  <a:lnTo>
                    <a:pt x="139" y="577"/>
                  </a:lnTo>
                  <a:lnTo>
                    <a:pt x="139" y="576"/>
                  </a:lnTo>
                  <a:lnTo>
                    <a:pt x="142" y="576"/>
                  </a:lnTo>
                  <a:lnTo>
                    <a:pt x="143" y="576"/>
                  </a:lnTo>
                  <a:lnTo>
                    <a:pt x="142" y="577"/>
                  </a:lnTo>
                  <a:lnTo>
                    <a:pt x="142" y="579"/>
                  </a:lnTo>
                  <a:lnTo>
                    <a:pt x="145" y="580"/>
                  </a:lnTo>
                  <a:lnTo>
                    <a:pt x="145" y="581"/>
                  </a:lnTo>
                  <a:lnTo>
                    <a:pt x="149" y="581"/>
                  </a:lnTo>
                  <a:lnTo>
                    <a:pt x="151" y="580"/>
                  </a:lnTo>
                  <a:lnTo>
                    <a:pt x="158" y="579"/>
                  </a:lnTo>
                  <a:lnTo>
                    <a:pt x="159" y="579"/>
                  </a:lnTo>
                  <a:lnTo>
                    <a:pt x="160" y="579"/>
                  </a:lnTo>
                  <a:lnTo>
                    <a:pt x="161" y="579"/>
                  </a:lnTo>
                  <a:lnTo>
                    <a:pt x="164" y="580"/>
                  </a:lnTo>
                  <a:lnTo>
                    <a:pt x="166" y="579"/>
                  </a:lnTo>
                  <a:lnTo>
                    <a:pt x="167" y="577"/>
                  </a:lnTo>
                  <a:lnTo>
                    <a:pt x="167" y="576"/>
                  </a:lnTo>
                  <a:lnTo>
                    <a:pt x="170" y="576"/>
                  </a:lnTo>
                  <a:lnTo>
                    <a:pt x="172" y="576"/>
                  </a:lnTo>
                  <a:lnTo>
                    <a:pt x="173" y="575"/>
                  </a:lnTo>
                  <a:lnTo>
                    <a:pt x="176" y="575"/>
                  </a:lnTo>
                  <a:lnTo>
                    <a:pt x="177" y="575"/>
                  </a:lnTo>
                  <a:lnTo>
                    <a:pt x="179" y="568"/>
                  </a:lnTo>
                  <a:lnTo>
                    <a:pt x="182" y="567"/>
                  </a:lnTo>
                  <a:lnTo>
                    <a:pt x="182" y="564"/>
                  </a:lnTo>
                  <a:lnTo>
                    <a:pt x="180" y="562"/>
                  </a:lnTo>
                  <a:lnTo>
                    <a:pt x="179" y="559"/>
                  </a:lnTo>
                  <a:lnTo>
                    <a:pt x="178" y="559"/>
                  </a:lnTo>
                  <a:lnTo>
                    <a:pt x="177" y="561"/>
                  </a:lnTo>
                  <a:lnTo>
                    <a:pt x="174" y="561"/>
                  </a:lnTo>
                  <a:lnTo>
                    <a:pt x="173" y="562"/>
                  </a:lnTo>
                  <a:lnTo>
                    <a:pt x="172" y="563"/>
                  </a:lnTo>
                  <a:lnTo>
                    <a:pt x="172" y="564"/>
                  </a:lnTo>
                  <a:lnTo>
                    <a:pt x="172" y="567"/>
                  </a:lnTo>
                  <a:lnTo>
                    <a:pt x="171" y="569"/>
                  </a:lnTo>
                  <a:lnTo>
                    <a:pt x="170" y="569"/>
                  </a:lnTo>
                  <a:lnTo>
                    <a:pt x="168" y="568"/>
                  </a:lnTo>
                  <a:lnTo>
                    <a:pt x="168" y="567"/>
                  </a:lnTo>
                  <a:lnTo>
                    <a:pt x="168" y="564"/>
                  </a:lnTo>
                  <a:lnTo>
                    <a:pt x="167" y="563"/>
                  </a:lnTo>
                  <a:lnTo>
                    <a:pt x="166" y="564"/>
                  </a:lnTo>
                  <a:lnTo>
                    <a:pt x="166" y="567"/>
                  </a:lnTo>
                  <a:lnTo>
                    <a:pt x="165" y="568"/>
                  </a:lnTo>
                  <a:lnTo>
                    <a:pt x="165" y="569"/>
                  </a:lnTo>
                  <a:lnTo>
                    <a:pt x="165" y="568"/>
                  </a:lnTo>
                  <a:lnTo>
                    <a:pt x="164" y="567"/>
                  </a:lnTo>
                  <a:lnTo>
                    <a:pt x="165" y="565"/>
                  </a:lnTo>
                  <a:lnTo>
                    <a:pt x="164" y="564"/>
                  </a:lnTo>
                  <a:lnTo>
                    <a:pt x="164" y="563"/>
                  </a:lnTo>
                  <a:lnTo>
                    <a:pt x="164" y="562"/>
                  </a:lnTo>
                  <a:lnTo>
                    <a:pt x="164" y="561"/>
                  </a:lnTo>
                  <a:lnTo>
                    <a:pt x="162" y="562"/>
                  </a:lnTo>
                  <a:lnTo>
                    <a:pt x="162" y="561"/>
                  </a:lnTo>
                  <a:lnTo>
                    <a:pt x="161" y="561"/>
                  </a:lnTo>
                  <a:lnTo>
                    <a:pt x="160" y="561"/>
                  </a:lnTo>
                  <a:lnTo>
                    <a:pt x="160" y="562"/>
                  </a:lnTo>
                  <a:lnTo>
                    <a:pt x="159" y="561"/>
                  </a:lnTo>
                  <a:lnTo>
                    <a:pt x="159" y="559"/>
                  </a:lnTo>
                  <a:lnTo>
                    <a:pt x="159" y="561"/>
                  </a:lnTo>
                  <a:lnTo>
                    <a:pt x="158" y="562"/>
                  </a:lnTo>
                  <a:lnTo>
                    <a:pt x="159" y="565"/>
                  </a:lnTo>
                  <a:lnTo>
                    <a:pt x="158" y="567"/>
                  </a:lnTo>
                  <a:lnTo>
                    <a:pt x="158" y="564"/>
                  </a:lnTo>
                  <a:lnTo>
                    <a:pt x="156" y="563"/>
                  </a:lnTo>
                  <a:lnTo>
                    <a:pt x="156" y="561"/>
                  </a:lnTo>
                  <a:lnTo>
                    <a:pt x="156" y="558"/>
                  </a:lnTo>
                  <a:lnTo>
                    <a:pt x="156" y="557"/>
                  </a:lnTo>
                  <a:lnTo>
                    <a:pt x="155" y="558"/>
                  </a:lnTo>
                  <a:lnTo>
                    <a:pt x="155" y="559"/>
                  </a:lnTo>
                  <a:lnTo>
                    <a:pt x="153" y="559"/>
                  </a:lnTo>
                  <a:lnTo>
                    <a:pt x="153" y="561"/>
                  </a:lnTo>
                  <a:lnTo>
                    <a:pt x="153" y="564"/>
                  </a:lnTo>
                  <a:lnTo>
                    <a:pt x="153" y="568"/>
                  </a:lnTo>
                  <a:lnTo>
                    <a:pt x="151" y="564"/>
                  </a:lnTo>
                  <a:lnTo>
                    <a:pt x="151" y="562"/>
                  </a:lnTo>
                  <a:lnTo>
                    <a:pt x="151" y="559"/>
                  </a:lnTo>
                  <a:lnTo>
                    <a:pt x="151" y="556"/>
                  </a:lnTo>
                  <a:lnTo>
                    <a:pt x="150" y="556"/>
                  </a:lnTo>
                  <a:lnTo>
                    <a:pt x="150" y="561"/>
                  </a:lnTo>
                  <a:lnTo>
                    <a:pt x="149" y="562"/>
                  </a:lnTo>
                  <a:lnTo>
                    <a:pt x="149" y="559"/>
                  </a:lnTo>
                  <a:lnTo>
                    <a:pt x="148" y="559"/>
                  </a:lnTo>
                  <a:lnTo>
                    <a:pt x="148" y="562"/>
                  </a:lnTo>
                  <a:lnTo>
                    <a:pt x="147" y="565"/>
                  </a:lnTo>
                  <a:lnTo>
                    <a:pt x="145" y="563"/>
                  </a:lnTo>
                  <a:lnTo>
                    <a:pt x="145" y="562"/>
                  </a:lnTo>
                  <a:lnTo>
                    <a:pt x="145" y="559"/>
                  </a:lnTo>
                  <a:lnTo>
                    <a:pt x="145" y="552"/>
                  </a:lnTo>
                  <a:lnTo>
                    <a:pt x="144" y="552"/>
                  </a:lnTo>
                  <a:lnTo>
                    <a:pt x="143" y="554"/>
                  </a:lnTo>
                  <a:lnTo>
                    <a:pt x="143" y="557"/>
                  </a:lnTo>
                  <a:lnTo>
                    <a:pt x="144" y="561"/>
                  </a:lnTo>
                  <a:lnTo>
                    <a:pt x="144" y="564"/>
                  </a:lnTo>
                  <a:lnTo>
                    <a:pt x="143" y="567"/>
                  </a:lnTo>
                  <a:lnTo>
                    <a:pt x="143" y="565"/>
                  </a:lnTo>
                  <a:lnTo>
                    <a:pt x="142" y="563"/>
                  </a:lnTo>
                  <a:lnTo>
                    <a:pt x="141" y="564"/>
                  </a:lnTo>
                  <a:lnTo>
                    <a:pt x="139" y="562"/>
                  </a:lnTo>
                  <a:lnTo>
                    <a:pt x="139" y="559"/>
                  </a:lnTo>
                  <a:lnTo>
                    <a:pt x="139" y="557"/>
                  </a:lnTo>
                  <a:lnTo>
                    <a:pt x="141" y="556"/>
                  </a:lnTo>
                  <a:lnTo>
                    <a:pt x="139" y="554"/>
                  </a:lnTo>
                  <a:lnTo>
                    <a:pt x="138" y="557"/>
                  </a:lnTo>
                  <a:lnTo>
                    <a:pt x="138" y="562"/>
                  </a:lnTo>
                  <a:lnTo>
                    <a:pt x="138" y="563"/>
                  </a:lnTo>
                  <a:lnTo>
                    <a:pt x="137" y="564"/>
                  </a:lnTo>
                  <a:lnTo>
                    <a:pt x="137" y="562"/>
                  </a:lnTo>
                  <a:lnTo>
                    <a:pt x="137" y="561"/>
                  </a:lnTo>
                  <a:lnTo>
                    <a:pt x="136" y="563"/>
                  </a:lnTo>
                  <a:lnTo>
                    <a:pt x="136" y="565"/>
                  </a:lnTo>
                  <a:lnTo>
                    <a:pt x="136" y="567"/>
                  </a:lnTo>
                  <a:lnTo>
                    <a:pt x="136" y="569"/>
                  </a:lnTo>
                  <a:lnTo>
                    <a:pt x="133" y="567"/>
                  </a:lnTo>
                  <a:lnTo>
                    <a:pt x="133" y="568"/>
                  </a:lnTo>
                  <a:lnTo>
                    <a:pt x="133" y="569"/>
                  </a:lnTo>
                  <a:lnTo>
                    <a:pt x="133" y="570"/>
                  </a:lnTo>
                  <a:lnTo>
                    <a:pt x="131" y="570"/>
                  </a:lnTo>
                  <a:lnTo>
                    <a:pt x="132" y="567"/>
                  </a:lnTo>
                  <a:lnTo>
                    <a:pt x="132" y="564"/>
                  </a:lnTo>
                  <a:lnTo>
                    <a:pt x="132" y="562"/>
                  </a:lnTo>
                  <a:lnTo>
                    <a:pt x="131" y="561"/>
                  </a:lnTo>
                  <a:lnTo>
                    <a:pt x="130" y="562"/>
                  </a:lnTo>
                  <a:lnTo>
                    <a:pt x="130" y="563"/>
                  </a:lnTo>
                  <a:lnTo>
                    <a:pt x="131" y="565"/>
                  </a:lnTo>
                  <a:lnTo>
                    <a:pt x="131" y="568"/>
                  </a:lnTo>
                  <a:lnTo>
                    <a:pt x="131" y="569"/>
                  </a:lnTo>
                  <a:lnTo>
                    <a:pt x="130" y="570"/>
                  </a:lnTo>
                  <a:lnTo>
                    <a:pt x="129" y="570"/>
                  </a:lnTo>
                  <a:lnTo>
                    <a:pt x="129" y="569"/>
                  </a:lnTo>
                  <a:lnTo>
                    <a:pt x="129" y="568"/>
                  </a:lnTo>
                  <a:lnTo>
                    <a:pt x="127" y="565"/>
                  </a:lnTo>
                  <a:lnTo>
                    <a:pt x="127" y="563"/>
                  </a:lnTo>
                  <a:lnTo>
                    <a:pt x="126" y="563"/>
                  </a:lnTo>
                  <a:lnTo>
                    <a:pt x="124" y="564"/>
                  </a:lnTo>
                  <a:lnTo>
                    <a:pt x="124" y="568"/>
                  </a:lnTo>
                  <a:lnTo>
                    <a:pt x="124" y="569"/>
                  </a:lnTo>
                  <a:lnTo>
                    <a:pt x="123" y="569"/>
                  </a:lnTo>
                  <a:lnTo>
                    <a:pt x="121" y="565"/>
                  </a:lnTo>
                  <a:lnTo>
                    <a:pt x="115" y="567"/>
                  </a:lnTo>
                  <a:lnTo>
                    <a:pt x="118" y="565"/>
                  </a:lnTo>
                  <a:lnTo>
                    <a:pt x="120" y="564"/>
                  </a:lnTo>
                  <a:lnTo>
                    <a:pt x="120" y="563"/>
                  </a:lnTo>
                  <a:lnTo>
                    <a:pt x="123" y="562"/>
                  </a:lnTo>
                  <a:lnTo>
                    <a:pt x="124" y="561"/>
                  </a:lnTo>
                  <a:lnTo>
                    <a:pt x="127" y="561"/>
                  </a:lnTo>
                  <a:lnTo>
                    <a:pt x="129" y="558"/>
                  </a:lnTo>
                  <a:lnTo>
                    <a:pt x="131" y="557"/>
                  </a:lnTo>
                  <a:lnTo>
                    <a:pt x="133" y="556"/>
                  </a:lnTo>
                  <a:lnTo>
                    <a:pt x="136" y="554"/>
                  </a:lnTo>
                  <a:lnTo>
                    <a:pt x="147" y="550"/>
                  </a:lnTo>
                  <a:lnTo>
                    <a:pt x="147" y="548"/>
                  </a:lnTo>
                  <a:lnTo>
                    <a:pt x="145" y="548"/>
                  </a:lnTo>
                  <a:lnTo>
                    <a:pt x="144" y="548"/>
                  </a:lnTo>
                  <a:lnTo>
                    <a:pt x="142" y="550"/>
                  </a:lnTo>
                  <a:lnTo>
                    <a:pt x="141" y="550"/>
                  </a:lnTo>
                  <a:lnTo>
                    <a:pt x="138" y="551"/>
                  </a:lnTo>
                  <a:lnTo>
                    <a:pt x="137" y="552"/>
                  </a:lnTo>
                  <a:lnTo>
                    <a:pt x="137" y="550"/>
                  </a:lnTo>
                  <a:lnTo>
                    <a:pt x="136" y="548"/>
                  </a:lnTo>
                  <a:lnTo>
                    <a:pt x="136" y="547"/>
                  </a:lnTo>
                  <a:lnTo>
                    <a:pt x="135" y="547"/>
                  </a:lnTo>
                  <a:lnTo>
                    <a:pt x="137" y="545"/>
                  </a:lnTo>
                  <a:lnTo>
                    <a:pt x="137" y="542"/>
                  </a:lnTo>
                  <a:lnTo>
                    <a:pt x="138" y="541"/>
                  </a:lnTo>
                  <a:lnTo>
                    <a:pt x="138" y="540"/>
                  </a:lnTo>
                  <a:lnTo>
                    <a:pt x="138" y="538"/>
                  </a:lnTo>
                  <a:lnTo>
                    <a:pt x="137" y="536"/>
                  </a:lnTo>
                  <a:lnTo>
                    <a:pt x="136" y="536"/>
                  </a:lnTo>
                  <a:lnTo>
                    <a:pt x="136" y="539"/>
                  </a:lnTo>
                  <a:lnTo>
                    <a:pt x="136" y="541"/>
                  </a:lnTo>
                  <a:lnTo>
                    <a:pt x="135" y="542"/>
                  </a:lnTo>
                  <a:lnTo>
                    <a:pt x="135" y="541"/>
                  </a:lnTo>
                  <a:lnTo>
                    <a:pt x="133" y="540"/>
                  </a:lnTo>
                  <a:lnTo>
                    <a:pt x="132" y="540"/>
                  </a:lnTo>
                  <a:lnTo>
                    <a:pt x="131" y="541"/>
                  </a:lnTo>
                  <a:lnTo>
                    <a:pt x="130" y="540"/>
                  </a:lnTo>
                  <a:lnTo>
                    <a:pt x="130" y="541"/>
                  </a:lnTo>
                  <a:lnTo>
                    <a:pt x="129" y="541"/>
                  </a:lnTo>
                  <a:lnTo>
                    <a:pt x="126" y="541"/>
                  </a:lnTo>
                  <a:lnTo>
                    <a:pt x="127" y="540"/>
                  </a:lnTo>
                  <a:lnTo>
                    <a:pt x="130" y="539"/>
                  </a:lnTo>
                  <a:lnTo>
                    <a:pt x="130" y="536"/>
                  </a:lnTo>
                  <a:lnTo>
                    <a:pt x="130" y="535"/>
                  </a:lnTo>
                  <a:lnTo>
                    <a:pt x="129" y="533"/>
                  </a:lnTo>
                  <a:lnTo>
                    <a:pt x="129" y="534"/>
                  </a:lnTo>
                  <a:lnTo>
                    <a:pt x="127" y="535"/>
                  </a:lnTo>
                  <a:lnTo>
                    <a:pt x="126" y="538"/>
                  </a:lnTo>
                  <a:lnTo>
                    <a:pt x="127" y="538"/>
                  </a:lnTo>
                  <a:lnTo>
                    <a:pt x="127" y="539"/>
                  </a:lnTo>
                  <a:lnTo>
                    <a:pt x="126" y="539"/>
                  </a:lnTo>
                  <a:lnTo>
                    <a:pt x="124" y="538"/>
                  </a:lnTo>
                  <a:lnTo>
                    <a:pt x="123" y="536"/>
                  </a:lnTo>
                  <a:lnTo>
                    <a:pt x="123" y="539"/>
                  </a:lnTo>
                  <a:lnTo>
                    <a:pt x="123" y="542"/>
                  </a:lnTo>
                  <a:lnTo>
                    <a:pt x="121" y="544"/>
                  </a:lnTo>
                  <a:lnTo>
                    <a:pt x="120" y="542"/>
                  </a:lnTo>
                  <a:lnTo>
                    <a:pt x="120" y="540"/>
                  </a:lnTo>
                  <a:lnTo>
                    <a:pt x="119" y="539"/>
                  </a:lnTo>
                  <a:lnTo>
                    <a:pt x="119" y="535"/>
                  </a:lnTo>
                  <a:lnTo>
                    <a:pt x="118" y="533"/>
                  </a:lnTo>
                  <a:lnTo>
                    <a:pt x="117" y="533"/>
                  </a:lnTo>
                  <a:lnTo>
                    <a:pt x="114" y="533"/>
                  </a:lnTo>
                  <a:lnTo>
                    <a:pt x="114" y="538"/>
                  </a:lnTo>
                  <a:lnTo>
                    <a:pt x="113" y="542"/>
                  </a:lnTo>
                  <a:lnTo>
                    <a:pt x="113" y="541"/>
                  </a:lnTo>
                  <a:lnTo>
                    <a:pt x="112" y="538"/>
                  </a:lnTo>
                  <a:lnTo>
                    <a:pt x="112" y="533"/>
                  </a:lnTo>
                  <a:lnTo>
                    <a:pt x="111" y="533"/>
                  </a:lnTo>
                  <a:lnTo>
                    <a:pt x="111" y="536"/>
                  </a:lnTo>
                  <a:lnTo>
                    <a:pt x="109" y="536"/>
                  </a:lnTo>
                  <a:lnTo>
                    <a:pt x="109" y="539"/>
                  </a:lnTo>
                  <a:lnTo>
                    <a:pt x="108" y="539"/>
                  </a:lnTo>
                  <a:lnTo>
                    <a:pt x="107" y="536"/>
                  </a:lnTo>
                  <a:lnTo>
                    <a:pt x="107" y="533"/>
                  </a:lnTo>
                  <a:lnTo>
                    <a:pt x="106" y="535"/>
                  </a:lnTo>
                  <a:lnTo>
                    <a:pt x="105" y="538"/>
                  </a:lnTo>
                  <a:lnTo>
                    <a:pt x="103" y="536"/>
                  </a:lnTo>
                  <a:lnTo>
                    <a:pt x="102" y="535"/>
                  </a:lnTo>
                  <a:lnTo>
                    <a:pt x="101" y="534"/>
                  </a:lnTo>
                  <a:lnTo>
                    <a:pt x="99" y="535"/>
                  </a:lnTo>
                  <a:lnTo>
                    <a:pt x="97" y="535"/>
                  </a:lnTo>
                  <a:lnTo>
                    <a:pt x="96" y="535"/>
                  </a:lnTo>
                  <a:lnTo>
                    <a:pt x="95" y="535"/>
                  </a:lnTo>
                  <a:lnTo>
                    <a:pt x="95" y="536"/>
                  </a:lnTo>
                  <a:lnTo>
                    <a:pt x="92" y="534"/>
                  </a:lnTo>
                  <a:lnTo>
                    <a:pt x="91" y="535"/>
                  </a:lnTo>
                  <a:lnTo>
                    <a:pt x="90" y="533"/>
                  </a:lnTo>
                  <a:lnTo>
                    <a:pt x="91" y="530"/>
                  </a:lnTo>
                  <a:lnTo>
                    <a:pt x="90" y="529"/>
                  </a:lnTo>
                  <a:lnTo>
                    <a:pt x="91" y="528"/>
                  </a:lnTo>
                  <a:lnTo>
                    <a:pt x="90" y="528"/>
                  </a:lnTo>
                  <a:lnTo>
                    <a:pt x="89" y="529"/>
                  </a:lnTo>
                  <a:lnTo>
                    <a:pt x="90" y="530"/>
                  </a:lnTo>
                  <a:lnTo>
                    <a:pt x="89" y="533"/>
                  </a:lnTo>
                  <a:lnTo>
                    <a:pt x="90" y="535"/>
                  </a:lnTo>
                  <a:lnTo>
                    <a:pt x="90" y="539"/>
                  </a:lnTo>
                  <a:lnTo>
                    <a:pt x="88" y="539"/>
                  </a:lnTo>
                  <a:lnTo>
                    <a:pt x="88" y="538"/>
                  </a:lnTo>
                  <a:lnTo>
                    <a:pt x="88" y="534"/>
                  </a:lnTo>
                  <a:lnTo>
                    <a:pt x="86" y="533"/>
                  </a:lnTo>
                  <a:lnTo>
                    <a:pt x="85" y="532"/>
                  </a:lnTo>
                  <a:lnTo>
                    <a:pt x="85" y="533"/>
                  </a:lnTo>
                  <a:lnTo>
                    <a:pt x="85" y="536"/>
                  </a:lnTo>
                  <a:lnTo>
                    <a:pt x="85" y="538"/>
                  </a:lnTo>
                  <a:lnTo>
                    <a:pt x="85" y="539"/>
                  </a:lnTo>
                  <a:lnTo>
                    <a:pt x="84" y="540"/>
                  </a:lnTo>
                  <a:lnTo>
                    <a:pt x="83" y="539"/>
                  </a:lnTo>
                  <a:lnTo>
                    <a:pt x="83" y="536"/>
                  </a:lnTo>
                  <a:lnTo>
                    <a:pt x="83" y="534"/>
                  </a:lnTo>
                  <a:lnTo>
                    <a:pt x="83" y="533"/>
                  </a:lnTo>
                  <a:lnTo>
                    <a:pt x="82" y="535"/>
                  </a:lnTo>
                  <a:lnTo>
                    <a:pt x="80" y="536"/>
                  </a:lnTo>
                  <a:lnTo>
                    <a:pt x="82" y="538"/>
                  </a:lnTo>
                  <a:lnTo>
                    <a:pt x="79" y="538"/>
                  </a:lnTo>
                  <a:lnTo>
                    <a:pt x="80" y="539"/>
                  </a:lnTo>
                  <a:lnTo>
                    <a:pt x="80" y="540"/>
                  </a:lnTo>
                  <a:lnTo>
                    <a:pt x="80" y="542"/>
                  </a:lnTo>
                  <a:lnTo>
                    <a:pt x="80" y="545"/>
                  </a:lnTo>
                  <a:lnTo>
                    <a:pt x="79" y="544"/>
                  </a:lnTo>
                  <a:lnTo>
                    <a:pt x="79" y="542"/>
                  </a:lnTo>
                  <a:lnTo>
                    <a:pt x="78" y="544"/>
                  </a:lnTo>
                  <a:lnTo>
                    <a:pt x="77" y="544"/>
                  </a:lnTo>
                  <a:lnTo>
                    <a:pt x="76" y="541"/>
                  </a:lnTo>
                  <a:lnTo>
                    <a:pt x="77" y="540"/>
                  </a:lnTo>
                  <a:lnTo>
                    <a:pt x="73" y="540"/>
                  </a:lnTo>
                  <a:lnTo>
                    <a:pt x="72" y="540"/>
                  </a:lnTo>
                  <a:lnTo>
                    <a:pt x="72" y="539"/>
                  </a:lnTo>
                  <a:lnTo>
                    <a:pt x="74" y="538"/>
                  </a:lnTo>
                  <a:lnTo>
                    <a:pt x="74" y="536"/>
                  </a:lnTo>
                  <a:lnTo>
                    <a:pt x="73" y="536"/>
                  </a:lnTo>
                  <a:lnTo>
                    <a:pt x="73" y="535"/>
                  </a:lnTo>
                  <a:lnTo>
                    <a:pt x="76" y="536"/>
                  </a:lnTo>
                  <a:lnTo>
                    <a:pt x="79" y="535"/>
                  </a:lnTo>
                  <a:lnTo>
                    <a:pt x="80" y="532"/>
                  </a:lnTo>
                  <a:lnTo>
                    <a:pt x="78" y="532"/>
                  </a:lnTo>
                  <a:lnTo>
                    <a:pt x="79" y="532"/>
                  </a:lnTo>
                  <a:lnTo>
                    <a:pt x="82" y="529"/>
                  </a:lnTo>
                  <a:lnTo>
                    <a:pt x="83" y="528"/>
                  </a:lnTo>
                  <a:lnTo>
                    <a:pt x="88" y="527"/>
                  </a:lnTo>
                  <a:lnTo>
                    <a:pt x="90" y="524"/>
                  </a:lnTo>
                  <a:lnTo>
                    <a:pt x="92" y="523"/>
                  </a:lnTo>
                  <a:lnTo>
                    <a:pt x="97" y="522"/>
                  </a:lnTo>
                  <a:lnTo>
                    <a:pt x="102" y="522"/>
                  </a:lnTo>
                  <a:lnTo>
                    <a:pt x="105" y="522"/>
                  </a:lnTo>
                  <a:lnTo>
                    <a:pt x="105" y="521"/>
                  </a:lnTo>
                  <a:lnTo>
                    <a:pt x="103" y="518"/>
                  </a:lnTo>
                  <a:lnTo>
                    <a:pt x="106" y="518"/>
                  </a:lnTo>
                  <a:lnTo>
                    <a:pt x="107" y="518"/>
                  </a:lnTo>
                  <a:lnTo>
                    <a:pt x="111" y="518"/>
                  </a:lnTo>
                  <a:lnTo>
                    <a:pt x="112" y="518"/>
                  </a:lnTo>
                  <a:lnTo>
                    <a:pt x="112" y="515"/>
                  </a:lnTo>
                  <a:lnTo>
                    <a:pt x="111" y="514"/>
                  </a:lnTo>
                  <a:lnTo>
                    <a:pt x="107" y="512"/>
                  </a:lnTo>
                  <a:lnTo>
                    <a:pt x="107" y="515"/>
                  </a:lnTo>
                  <a:lnTo>
                    <a:pt x="107" y="516"/>
                  </a:lnTo>
                  <a:lnTo>
                    <a:pt x="106" y="515"/>
                  </a:lnTo>
                  <a:lnTo>
                    <a:pt x="105" y="512"/>
                  </a:lnTo>
                  <a:lnTo>
                    <a:pt x="105" y="514"/>
                  </a:lnTo>
                  <a:lnTo>
                    <a:pt x="105" y="516"/>
                  </a:lnTo>
                  <a:lnTo>
                    <a:pt x="103" y="516"/>
                  </a:lnTo>
                  <a:lnTo>
                    <a:pt x="103" y="514"/>
                  </a:lnTo>
                  <a:lnTo>
                    <a:pt x="102" y="514"/>
                  </a:lnTo>
                  <a:lnTo>
                    <a:pt x="102" y="516"/>
                  </a:lnTo>
                  <a:lnTo>
                    <a:pt x="101" y="517"/>
                  </a:lnTo>
                  <a:lnTo>
                    <a:pt x="101" y="520"/>
                  </a:lnTo>
                  <a:lnTo>
                    <a:pt x="100" y="521"/>
                  </a:lnTo>
                  <a:lnTo>
                    <a:pt x="99" y="521"/>
                  </a:lnTo>
                  <a:lnTo>
                    <a:pt x="99" y="518"/>
                  </a:lnTo>
                  <a:lnTo>
                    <a:pt x="97" y="517"/>
                  </a:lnTo>
                  <a:lnTo>
                    <a:pt x="96" y="516"/>
                  </a:lnTo>
                  <a:lnTo>
                    <a:pt x="96" y="515"/>
                  </a:lnTo>
                  <a:lnTo>
                    <a:pt x="95" y="514"/>
                  </a:lnTo>
                  <a:lnTo>
                    <a:pt x="92" y="515"/>
                  </a:lnTo>
                  <a:lnTo>
                    <a:pt x="92" y="516"/>
                  </a:lnTo>
                  <a:lnTo>
                    <a:pt x="90" y="518"/>
                  </a:lnTo>
                  <a:lnTo>
                    <a:pt x="89" y="518"/>
                  </a:lnTo>
                  <a:lnTo>
                    <a:pt x="88" y="520"/>
                  </a:lnTo>
                  <a:lnTo>
                    <a:pt x="86" y="517"/>
                  </a:lnTo>
                  <a:lnTo>
                    <a:pt x="86" y="518"/>
                  </a:lnTo>
                  <a:lnTo>
                    <a:pt x="85" y="520"/>
                  </a:lnTo>
                  <a:lnTo>
                    <a:pt x="85" y="521"/>
                  </a:lnTo>
                  <a:lnTo>
                    <a:pt x="84" y="521"/>
                  </a:lnTo>
                  <a:lnTo>
                    <a:pt x="83" y="517"/>
                  </a:lnTo>
                  <a:lnTo>
                    <a:pt x="83" y="515"/>
                  </a:lnTo>
                  <a:lnTo>
                    <a:pt x="83" y="516"/>
                  </a:lnTo>
                  <a:lnTo>
                    <a:pt x="82" y="516"/>
                  </a:lnTo>
                  <a:lnTo>
                    <a:pt x="80" y="514"/>
                  </a:lnTo>
                  <a:lnTo>
                    <a:pt x="79" y="517"/>
                  </a:lnTo>
                  <a:lnTo>
                    <a:pt x="78" y="518"/>
                  </a:lnTo>
                  <a:lnTo>
                    <a:pt x="78" y="522"/>
                  </a:lnTo>
                  <a:lnTo>
                    <a:pt x="77" y="523"/>
                  </a:lnTo>
                  <a:lnTo>
                    <a:pt x="76" y="522"/>
                  </a:lnTo>
                  <a:lnTo>
                    <a:pt x="76" y="520"/>
                  </a:lnTo>
                  <a:lnTo>
                    <a:pt x="76" y="516"/>
                  </a:lnTo>
                  <a:lnTo>
                    <a:pt x="74" y="515"/>
                  </a:lnTo>
                  <a:lnTo>
                    <a:pt x="73" y="515"/>
                  </a:lnTo>
                  <a:lnTo>
                    <a:pt x="73" y="517"/>
                  </a:lnTo>
                  <a:lnTo>
                    <a:pt x="73" y="521"/>
                  </a:lnTo>
                  <a:lnTo>
                    <a:pt x="73" y="522"/>
                  </a:lnTo>
                  <a:lnTo>
                    <a:pt x="72" y="521"/>
                  </a:lnTo>
                  <a:lnTo>
                    <a:pt x="71" y="518"/>
                  </a:lnTo>
                  <a:lnTo>
                    <a:pt x="71" y="517"/>
                  </a:lnTo>
                  <a:lnTo>
                    <a:pt x="70" y="515"/>
                  </a:lnTo>
                  <a:lnTo>
                    <a:pt x="70" y="516"/>
                  </a:lnTo>
                  <a:lnTo>
                    <a:pt x="68" y="517"/>
                  </a:lnTo>
                  <a:lnTo>
                    <a:pt x="66" y="517"/>
                  </a:lnTo>
                  <a:lnTo>
                    <a:pt x="65" y="517"/>
                  </a:lnTo>
                  <a:lnTo>
                    <a:pt x="64" y="517"/>
                  </a:lnTo>
                  <a:lnTo>
                    <a:pt x="62" y="518"/>
                  </a:lnTo>
                  <a:lnTo>
                    <a:pt x="61" y="521"/>
                  </a:lnTo>
                  <a:lnTo>
                    <a:pt x="60" y="523"/>
                  </a:lnTo>
                  <a:lnTo>
                    <a:pt x="59" y="526"/>
                  </a:lnTo>
                  <a:lnTo>
                    <a:pt x="59" y="524"/>
                  </a:lnTo>
                  <a:lnTo>
                    <a:pt x="56" y="524"/>
                  </a:lnTo>
                  <a:lnTo>
                    <a:pt x="56" y="522"/>
                  </a:lnTo>
                  <a:lnTo>
                    <a:pt x="56" y="520"/>
                  </a:lnTo>
                  <a:lnTo>
                    <a:pt x="54" y="521"/>
                  </a:lnTo>
                  <a:lnTo>
                    <a:pt x="53" y="522"/>
                  </a:lnTo>
                  <a:lnTo>
                    <a:pt x="52" y="521"/>
                  </a:lnTo>
                  <a:lnTo>
                    <a:pt x="53" y="520"/>
                  </a:lnTo>
                  <a:lnTo>
                    <a:pt x="54" y="518"/>
                  </a:lnTo>
                  <a:lnTo>
                    <a:pt x="56" y="515"/>
                  </a:lnTo>
                  <a:lnTo>
                    <a:pt x="58" y="514"/>
                  </a:lnTo>
                  <a:lnTo>
                    <a:pt x="59" y="511"/>
                  </a:lnTo>
                  <a:lnTo>
                    <a:pt x="59" y="509"/>
                  </a:lnTo>
                  <a:lnTo>
                    <a:pt x="60" y="506"/>
                  </a:lnTo>
                  <a:lnTo>
                    <a:pt x="59" y="508"/>
                  </a:lnTo>
                  <a:lnTo>
                    <a:pt x="58" y="511"/>
                  </a:lnTo>
                  <a:lnTo>
                    <a:pt x="58" y="510"/>
                  </a:lnTo>
                  <a:lnTo>
                    <a:pt x="56" y="506"/>
                  </a:lnTo>
                  <a:lnTo>
                    <a:pt x="55" y="506"/>
                  </a:lnTo>
                  <a:lnTo>
                    <a:pt x="55" y="504"/>
                  </a:lnTo>
                  <a:lnTo>
                    <a:pt x="55" y="502"/>
                  </a:lnTo>
                  <a:lnTo>
                    <a:pt x="58" y="499"/>
                  </a:lnTo>
                  <a:lnTo>
                    <a:pt x="59" y="498"/>
                  </a:lnTo>
                  <a:lnTo>
                    <a:pt x="58" y="498"/>
                  </a:lnTo>
                  <a:lnTo>
                    <a:pt x="55" y="498"/>
                  </a:lnTo>
                  <a:lnTo>
                    <a:pt x="54" y="498"/>
                  </a:lnTo>
                  <a:lnTo>
                    <a:pt x="54" y="503"/>
                  </a:lnTo>
                  <a:lnTo>
                    <a:pt x="53" y="508"/>
                  </a:lnTo>
                  <a:lnTo>
                    <a:pt x="53" y="509"/>
                  </a:lnTo>
                  <a:lnTo>
                    <a:pt x="52" y="508"/>
                  </a:lnTo>
                  <a:lnTo>
                    <a:pt x="52" y="505"/>
                  </a:lnTo>
                  <a:lnTo>
                    <a:pt x="52" y="502"/>
                  </a:lnTo>
                  <a:lnTo>
                    <a:pt x="50" y="499"/>
                  </a:lnTo>
                  <a:lnTo>
                    <a:pt x="50" y="502"/>
                  </a:lnTo>
                  <a:lnTo>
                    <a:pt x="50" y="504"/>
                  </a:lnTo>
                  <a:lnTo>
                    <a:pt x="49" y="505"/>
                  </a:lnTo>
                  <a:lnTo>
                    <a:pt x="49" y="506"/>
                  </a:lnTo>
                  <a:lnTo>
                    <a:pt x="49" y="510"/>
                  </a:lnTo>
                  <a:lnTo>
                    <a:pt x="48" y="511"/>
                  </a:lnTo>
                  <a:lnTo>
                    <a:pt x="47" y="511"/>
                  </a:lnTo>
                  <a:lnTo>
                    <a:pt x="47" y="509"/>
                  </a:lnTo>
                  <a:lnTo>
                    <a:pt x="47" y="505"/>
                  </a:lnTo>
                  <a:lnTo>
                    <a:pt x="46" y="504"/>
                  </a:lnTo>
                  <a:lnTo>
                    <a:pt x="44" y="503"/>
                  </a:lnTo>
                  <a:lnTo>
                    <a:pt x="43" y="502"/>
                  </a:lnTo>
                  <a:lnTo>
                    <a:pt x="43" y="504"/>
                  </a:lnTo>
                  <a:lnTo>
                    <a:pt x="41" y="505"/>
                  </a:lnTo>
                  <a:lnTo>
                    <a:pt x="41" y="503"/>
                  </a:lnTo>
                  <a:lnTo>
                    <a:pt x="41" y="502"/>
                  </a:lnTo>
                  <a:lnTo>
                    <a:pt x="40" y="502"/>
                  </a:lnTo>
                  <a:lnTo>
                    <a:pt x="38" y="504"/>
                  </a:lnTo>
                  <a:lnTo>
                    <a:pt x="37" y="503"/>
                  </a:lnTo>
                  <a:lnTo>
                    <a:pt x="37" y="502"/>
                  </a:lnTo>
                  <a:lnTo>
                    <a:pt x="38" y="500"/>
                  </a:lnTo>
                  <a:lnTo>
                    <a:pt x="41" y="500"/>
                  </a:lnTo>
                  <a:lnTo>
                    <a:pt x="43" y="499"/>
                  </a:lnTo>
                  <a:lnTo>
                    <a:pt x="46" y="498"/>
                  </a:lnTo>
                  <a:lnTo>
                    <a:pt x="48" y="497"/>
                  </a:lnTo>
                  <a:lnTo>
                    <a:pt x="49" y="497"/>
                  </a:lnTo>
                  <a:lnTo>
                    <a:pt x="52" y="497"/>
                  </a:lnTo>
                  <a:lnTo>
                    <a:pt x="54" y="496"/>
                  </a:lnTo>
                  <a:lnTo>
                    <a:pt x="58" y="494"/>
                  </a:lnTo>
                  <a:lnTo>
                    <a:pt x="61" y="494"/>
                  </a:lnTo>
                  <a:lnTo>
                    <a:pt x="62" y="494"/>
                  </a:lnTo>
                  <a:lnTo>
                    <a:pt x="64" y="493"/>
                  </a:lnTo>
                  <a:lnTo>
                    <a:pt x="65" y="493"/>
                  </a:lnTo>
                  <a:lnTo>
                    <a:pt x="71" y="492"/>
                  </a:lnTo>
                  <a:lnTo>
                    <a:pt x="70" y="491"/>
                  </a:lnTo>
                  <a:lnTo>
                    <a:pt x="71" y="491"/>
                  </a:lnTo>
                  <a:lnTo>
                    <a:pt x="72" y="492"/>
                  </a:lnTo>
                  <a:lnTo>
                    <a:pt x="73" y="492"/>
                  </a:lnTo>
                  <a:lnTo>
                    <a:pt x="77" y="492"/>
                  </a:lnTo>
                  <a:lnTo>
                    <a:pt x="76" y="490"/>
                  </a:lnTo>
                  <a:lnTo>
                    <a:pt x="77" y="491"/>
                  </a:lnTo>
                  <a:lnTo>
                    <a:pt x="79" y="491"/>
                  </a:lnTo>
                  <a:lnTo>
                    <a:pt x="82" y="491"/>
                  </a:lnTo>
                  <a:lnTo>
                    <a:pt x="90" y="490"/>
                  </a:lnTo>
                  <a:lnTo>
                    <a:pt x="95" y="488"/>
                  </a:lnTo>
                  <a:lnTo>
                    <a:pt x="99" y="490"/>
                  </a:lnTo>
                  <a:lnTo>
                    <a:pt x="102" y="490"/>
                  </a:lnTo>
                  <a:lnTo>
                    <a:pt x="103" y="488"/>
                  </a:lnTo>
                  <a:lnTo>
                    <a:pt x="102" y="487"/>
                  </a:lnTo>
                  <a:lnTo>
                    <a:pt x="101" y="487"/>
                  </a:lnTo>
                  <a:lnTo>
                    <a:pt x="102" y="486"/>
                  </a:lnTo>
                  <a:lnTo>
                    <a:pt x="102" y="484"/>
                  </a:lnTo>
                  <a:lnTo>
                    <a:pt x="103" y="482"/>
                  </a:lnTo>
                  <a:lnTo>
                    <a:pt x="105" y="481"/>
                  </a:lnTo>
                  <a:lnTo>
                    <a:pt x="102" y="479"/>
                  </a:lnTo>
                  <a:lnTo>
                    <a:pt x="102" y="476"/>
                  </a:lnTo>
                  <a:lnTo>
                    <a:pt x="101" y="475"/>
                  </a:lnTo>
                  <a:lnTo>
                    <a:pt x="101" y="478"/>
                  </a:lnTo>
                  <a:lnTo>
                    <a:pt x="99" y="479"/>
                  </a:lnTo>
                  <a:lnTo>
                    <a:pt x="97" y="480"/>
                  </a:lnTo>
                  <a:lnTo>
                    <a:pt x="97" y="484"/>
                  </a:lnTo>
                  <a:lnTo>
                    <a:pt x="96" y="485"/>
                  </a:lnTo>
                  <a:lnTo>
                    <a:pt x="95" y="485"/>
                  </a:lnTo>
                  <a:lnTo>
                    <a:pt x="94" y="485"/>
                  </a:lnTo>
                  <a:lnTo>
                    <a:pt x="92" y="484"/>
                  </a:lnTo>
                  <a:lnTo>
                    <a:pt x="91" y="482"/>
                  </a:lnTo>
                  <a:lnTo>
                    <a:pt x="91" y="481"/>
                  </a:lnTo>
                  <a:lnTo>
                    <a:pt x="91" y="482"/>
                  </a:lnTo>
                  <a:lnTo>
                    <a:pt x="90" y="484"/>
                  </a:lnTo>
                  <a:lnTo>
                    <a:pt x="90" y="482"/>
                  </a:lnTo>
                  <a:lnTo>
                    <a:pt x="89" y="481"/>
                  </a:lnTo>
                  <a:lnTo>
                    <a:pt x="88" y="481"/>
                  </a:lnTo>
                  <a:lnTo>
                    <a:pt x="84" y="484"/>
                  </a:lnTo>
                  <a:lnTo>
                    <a:pt x="84" y="482"/>
                  </a:lnTo>
                  <a:lnTo>
                    <a:pt x="85" y="481"/>
                  </a:lnTo>
                  <a:lnTo>
                    <a:pt x="88" y="479"/>
                  </a:lnTo>
                  <a:lnTo>
                    <a:pt x="89" y="478"/>
                  </a:lnTo>
                  <a:lnTo>
                    <a:pt x="89" y="475"/>
                  </a:lnTo>
                  <a:lnTo>
                    <a:pt x="89" y="474"/>
                  </a:lnTo>
                  <a:lnTo>
                    <a:pt x="88" y="472"/>
                  </a:lnTo>
                  <a:lnTo>
                    <a:pt x="85" y="472"/>
                  </a:lnTo>
                  <a:lnTo>
                    <a:pt x="84" y="472"/>
                  </a:lnTo>
                  <a:lnTo>
                    <a:pt x="84" y="473"/>
                  </a:lnTo>
                  <a:lnTo>
                    <a:pt x="83" y="473"/>
                  </a:lnTo>
                  <a:lnTo>
                    <a:pt x="80" y="470"/>
                  </a:lnTo>
                  <a:lnTo>
                    <a:pt x="79" y="468"/>
                  </a:lnTo>
                  <a:lnTo>
                    <a:pt x="79" y="470"/>
                  </a:lnTo>
                  <a:lnTo>
                    <a:pt x="80" y="473"/>
                  </a:lnTo>
                  <a:lnTo>
                    <a:pt x="80" y="474"/>
                  </a:lnTo>
                  <a:lnTo>
                    <a:pt x="79" y="478"/>
                  </a:lnTo>
                  <a:lnTo>
                    <a:pt x="78" y="478"/>
                  </a:lnTo>
                  <a:lnTo>
                    <a:pt x="79" y="480"/>
                  </a:lnTo>
                  <a:lnTo>
                    <a:pt x="78" y="481"/>
                  </a:lnTo>
                  <a:lnTo>
                    <a:pt x="77" y="481"/>
                  </a:lnTo>
                  <a:lnTo>
                    <a:pt x="77" y="482"/>
                  </a:lnTo>
                  <a:lnTo>
                    <a:pt x="74" y="482"/>
                  </a:lnTo>
                  <a:lnTo>
                    <a:pt x="73" y="481"/>
                  </a:lnTo>
                  <a:lnTo>
                    <a:pt x="72" y="481"/>
                  </a:lnTo>
                  <a:lnTo>
                    <a:pt x="71" y="482"/>
                  </a:lnTo>
                  <a:lnTo>
                    <a:pt x="68" y="481"/>
                  </a:lnTo>
                  <a:lnTo>
                    <a:pt x="68" y="480"/>
                  </a:lnTo>
                  <a:lnTo>
                    <a:pt x="68" y="479"/>
                  </a:lnTo>
                  <a:lnTo>
                    <a:pt x="66" y="479"/>
                  </a:lnTo>
                  <a:lnTo>
                    <a:pt x="64" y="478"/>
                  </a:lnTo>
                  <a:lnTo>
                    <a:pt x="66" y="476"/>
                  </a:lnTo>
                  <a:lnTo>
                    <a:pt x="68" y="475"/>
                  </a:lnTo>
                  <a:lnTo>
                    <a:pt x="72" y="473"/>
                  </a:lnTo>
                  <a:lnTo>
                    <a:pt x="72" y="470"/>
                  </a:lnTo>
                  <a:lnTo>
                    <a:pt x="73" y="468"/>
                  </a:lnTo>
                  <a:lnTo>
                    <a:pt x="76" y="467"/>
                  </a:lnTo>
                  <a:lnTo>
                    <a:pt x="74" y="466"/>
                  </a:lnTo>
                  <a:lnTo>
                    <a:pt x="77" y="464"/>
                  </a:lnTo>
                  <a:lnTo>
                    <a:pt x="78" y="464"/>
                  </a:lnTo>
                  <a:lnTo>
                    <a:pt x="79" y="462"/>
                  </a:lnTo>
                  <a:lnTo>
                    <a:pt x="82" y="462"/>
                  </a:lnTo>
                  <a:lnTo>
                    <a:pt x="83" y="461"/>
                  </a:lnTo>
                  <a:lnTo>
                    <a:pt x="86" y="460"/>
                  </a:lnTo>
                  <a:lnTo>
                    <a:pt x="90" y="460"/>
                  </a:lnTo>
                  <a:lnTo>
                    <a:pt x="95" y="458"/>
                  </a:lnTo>
                  <a:lnTo>
                    <a:pt x="97" y="458"/>
                  </a:lnTo>
                  <a:lnTo>
                    <a:pt x="97" y="456"/>
                  </a:lnTo>
                  <a:lnTo>
                    <a:pt x="97" y="455"/>
                  </a:lnTo>
                  <a:lnTo>
                    <a:pt x="95" y="455"/>
                  </a:lnTo>
                  <a:lnTo>
                    <a:pt x="95" y="454"/>
                  </a:lnTo>
                  <a:lnTo>
                    <a:pt x="95" y="451"/>
                  </a:lnTo>
                  <a:lnTo>
                    <a:pt x="94" y="451"/>
                  </a:lnTo>
                  <a:lnTo>
                    <a:pt x="92" y="452"/>
                  </a:lnTo>
                  <a:lnTo>
                    <a:pt x="91" y="455"/>
                  </a:lnTo>
                  <a:lnTo>
                    <a:pt x="90" y="456"/>
                  </a:lnTo>
                  <a:lnTo>
                    <a:pt x="89" y="455"/>
                  </a:lnTo>
                  <a:lnTo>
                    <a:pt x="90" y="452"/>
                  </a:lnTo>
                  <a:lnTo>
                    <a:pt x="90" y="451"/>
                  </a:lnTo>
                  <a:lnTo>
                    <a:pt x="88" y="451"/>
                  </a:lnTo>
                  <a:lnTo>
                    <a:pt x="85" y="451"/>
                  </a:lnTo>
                  <a:lnTo>
                    <a:pt x="88" y="450"/>
                  </a:lnTo>
                  <a:lnTo>
                    <a:pt x="89" y="449"/>
                  </a:lnTo>
                  <a:lnTo>
                    <a:pt x="91" y="447"/>
                  </a:lnTo>
                  <a:lnTo>
                    <a:pt x="92" y="449"/>
                  </a:lnTo>
                  <a:lnTo>
                    <a:pt x="95" y="447"/>
                  </a:lnTo>
                  <a:lnTo>
                    <a:pt x="96" y="449"/>
                  </a:lnTo>
                  <a:lnTo>
                    <a:pt x="99" y="449"/>
                  </a:lnTo>
                  <a:lnTo>
                    <a:pt x="100" y="447"/>
                  </a:lnTo>
                  <a:lnTo>
                    <a:pt x="101" y="447"/>
                  </a:lnTo>
                  <a:lnTo>
                    <a:pt x="103" y="446"/>
                  </a:lnTo>
                  <a:lnTo>
                    <a:pt x="105" y="446"/>
                  </a:lnTo>
                  <a:lnTo>
                    <a:pt x="106" y="445"/>
                  </a:lnTo>
                  <a:lnTo>
                    <a:pt x="107" y="444"/>
                  </a:lnTo>
                  <a:lnTo>
                    <a:pt x="107" y="443"/>
                  </a:lnTo>
                  <a:lnTo>
                    <a:pt x="108" y="441"/>
                  </a:lnTo>
                  <a:lnTo>
                    <a:pt x="109" y="443"/>
                  </a:lnTo>
                  <a:lnTo>
                    <a:pt x="111" y="441"/>
                  </a:lnTo>
                  <a:lnTo>
                    <a:pt x="111" y="439"/>
                  </a:lnTo>
                  <a:lnTo>
                    <a:pt x="109" y="439"/>
                  </a:lnTo>
                  <a:lnTo>
                    <a:pt x="108" y="439"/>
                  </a:lnTo>
                  <a:lnTo>
                    <a:pt x="111" y="437"/>
                  </a:lnTo>
                  <a:lnTo>
                    <a:pt x="112" y="435"/>
                  </a:lnTo>
                  <a:lnTo>
                    <a:pt x="117" y="431"/>
                  </a:lnTo>
                  <a:lnTo>
                    <a:pt x="118" y="429"/>
                  </a:lnTo>
                  <a:lnTo>
                    <a:pt x="120" y="428"/>
                  </a:lnTo>
                  <a:lnTo>
                    <a:pt x="120" y="426"/>
                  </a:lnTo>
                  <a:lnTo>
                    <a:pt x="118" y="425"/>
                  </a:lnTo>
                  <a:lnTo>
                    <a:pt x="117" y="423"/>
                  </a:lnTo>
                  <a:lnTo>
                    <a:pt x="117" y="426"/>
                  </a:lnTo>
                  <a:lnTo>
                    <a:pt x="117" y="427"/>
                  </a:lnTo>
                  <a:lnTo>
                    <a:pt x="114" y="427"/>
                  </a:lnTo>
                  <a:lnTo>
                    <a:pt x="114" y="428"/>
                  </a:lnTo>
                  <a:lnTo>
                    <a:pt x="114" y="431"/>
                  </a:lnTo>
                  <a:lnTo>
                    <a:pt x="113" y="431"/>
                  </a:lnTo>
                  <a:lnTo>
                    <a:pt x="113" y="432"/>
                  </a:lnTo>
                  <a:lnTo>
                    <a:pt x="112" y="433"/>
                  </a:lnTo>
                  <a:lnTo>
                    <a:pt x="112" y="432"/>
                  </a:lnTo>
                  <a:lnTo>
                    <a:pt x="111" y="429"/>
                  </a:lnTo>
                  <a:lnTo>
                    <a:pt x="111" y="428"/>
                  </a:lnTo>
                  <a:lnTo>
                    <a:pt x="112" y="427"/>
                  </a:lnTo>
                  <a:lnTo>
                    <a:pt x="111" y="426"/>
                  </a:lnTo>
                  <a:lnTo>
                    <a:pt x="109" y="426"/>
                  </a:lnTo>
                  <a:lnTo>
                    <a:pt x="108" y="427"/>
                  </a:lnTo>
                  <a:lnTo>
                    <a:pt x="107" y="428"/>
                  </a:lnTo>
                  <a:lnTo>
                    <a:pt x="108" y="432"/>
                  </a:lnTo>
                  <a:lnTo>
                    <a:pt x="107" y="433"/>
                  </a:lnTo>
                  <a:lnTo>
                    <a:pt x="106" y="432"/>
                  </a:lnTo>
                  <a:lnTo>
                    <a:pt x="106" y="431"/>
                  </a:lnTo>
                  <a:lnTo>
                    <a:pt x="106" y="428"/>
                  </a:lnTo>
                  <a:lnTo>
                    <a:pt x="105" y="428"/>
                  </a:lnTo>
                  <a:lnTo>
                    <a:pt x="103" y="429"/>
                  </a:lnTo>
                  <a:lnTo>
                    <a:pt x="103" y="428"/>
                  </a:lnTo>
                  <a:lnTo>
                    <a:pt x="102" y="429"/>
                  </a:lnTo>
                  <a:lnTo>
                    <a:pt x="102" y="431"/>
                  </a:lnTo>
                  <a:lnTo>
                    <a:pt x="101" y="432"/>
                  </a:lnTo>
                  <a:lnTo>
                    <a:pt x="100" y="432"/>
                  </a:lnTo>
                  <a:lnTo>
                    <a:pt x="100" y="431"/>
                  </a:lnTo>
                  <a:lnTo>
                    <a:pt x="100" y="428"/>
                  </a:lnTo>
                  <a:lnTo>
                    <a:pt x="100" y="426"/>
                  </a:lnTo>
                  <a:lnTo>
                    <a:pt x="99" y="426"/>
                  </a:lnTo>
                  <a:lnTo>
                    <a:pt x="97" y="427"/>
                  </a:lnTo>
                  <a:lnTo>
                    <a:pt x="99" y="429"/>
                  </a:lnTo>
                  <a:lnTo>
                    <a:pt x="99" y="431"/>
                  </a:lnTo>
                  <a:lnTo>
                    <a:pt x="99" y="432"/>
                  </a:lnTo>
                  <a:lnTo>
                    <a:pt x="99" y="435"/>
                  </a:lnTo>
                  <a:lnTo>
                    <a:pt x="97" y="437"/>
                  </a:lnTo>
                  <a:lnTo>
                    <a:pt x="96" y="438"/>
                  </a:lnTo>
                  <a:lnTo>
                    <a:pt x="95" y="437"/>
                  </a:lnTo>
                  <a:lnTo>
                    <a:pt x="95" y="438"/>
                  </a:lnTo>
                  <a:lnTo>
                    <a:pt x="94" y="439"/>
                  </a:lnTo>
                  <a:lnTo>
                    <a:pt x="92" y="439"/>
                  </a:lnTo>
                  <a:lnTo>
                    <a:pt x="92" y="435"/>
                  </a:lnTo>
                  <a:lnTo>
                    <a:pt x="92" y="433"/>
                  </a:lnTo>
                  <a:lnTo>
                    <a:pt x="92" y="432"/>
                  </a:lnTo>
                  <a:lnTo>
                    <a:pt x="94" y="429"/>
                  </a:lnTo>
                  <a:lnTo>
                    <a:pt x="94" y="428"/>
                  </a:lnTo>
                  <a:lnTo>
                    <a:pt x="95" y="426"/>
                  </a:lnTo>
                  <a:lnTo>
                    <a:pt x="95" y="422"/>
                  </a:lnTo>
                  <a:lnTo>
                    <a:pt x="95" y="419"/>
                  </a:lnTo>
                  <a:lnTo>
                    <a:pt x="94" y="417"/>
                  </a:lnTo>
                  <a:lnTo>
                    <a:pt x="91" y="417"/>
                  </a:lnTo>
                  <a:lnTo>
                    <a:pt x="91" y="420"/>
                  </a:lnTo>
                  <a:lnTo>
                    <a:pt x="91" y="422"/>
                  </a:lnTo>
                  <a:lnTo>
                    <a:pt x="90" y="422"/>
                  </a:lnTo>
                  <a:lnTo>
                    <a:pt x="89" y="421"/>
                  </a:lnTo>
                  <a:lnTo>
                    <a:pt x="89" y="419"/>
                  </a:lnTo>
                  <a:lnTo>
                    <a:pt x="86" y="416"/>
                  </a:lnTo>
                  <a:lnTo>
                    <a:pt x="86" y="415"/>
                  </a:lnTo>
                  <a:lnTo>
                    <a:pt x="86" y="416"/>
                  </a:lnTo>
                  <a:lnTo>
                    <a:pt x="86" y="420"/>
                  </a:lnTo>
                  <a:lnTo>
                    <a:pt x="86" y="422"/>
                  </a:lnTo>
                  <a:lnTo>
                    <a:pt x="84" y="421"/>
                  </a:lnTo>
                  <a:lnTo>
                    <a:pt x="84" y="419"/>
                  </a:lnTo>
                  <a:lnTo>
                    <a:pt x="83" y="416"/>
                  </a:lnTo>
                  <a:lnTo>
                    <a:pt x="82" y="415"/>
                  </a:lnTo>
                  <a:lnTo>
                    <a:pt x="82" y="417"/>
                  </a:lnTo>
                  <a:lnTo>
                    <a:pt x="82" y="421"/>
                  </a:lnTo>
                  <a:lnTo>
                    <a:pt x="82" y="423"/>
                  </a:lnTo>
                  <a:lnTo>
                    <a:pt x="80" y="422"/>
                  </a:lnTo>
                  <a:lnTo>
                    <a:pt x="79" y="419"/>
                  </a:lnTo>
                  <a:lnTo>
                    <a:pt x="79" y="416"/>
                  </a:lnTo>
                  <a:lnTo>
                    <a:pt x="79" y="414"/>
                  </a:lnTo>
                  <a:lnTo>
                    <a:pt x="79" y="411"/>
                  </a:lnTo>
                  <a:lnTo>
                    <a:pt x="80" y="408"/>
                  </a:lnTo>
                  <a:lnTo>
                    <a:pt x="79" y="408"/>
                  </a:lnTo>
                  <a:lnTo>
                    <a:pt x="77" y="408"/>
                  </a:lnTo>
                  <a:lnTo>
                    <a:pt x="76" y="409"/>
                  </a:lnTo>
                  <a:lnTo>
                    <a:pt x="77" y="407"/>
                  </a:lnTo>
                  <a:lnTo>
                    <a:pt x="77" y="405"/>
                  </a:lnTo>
                  <a:lnTo>
                    <a:pt x="74" y="405"/>
                  </a:lnTo>
                  <a:lnTo>
                    <a:pt x="73" y="405"/>
                  </a:lnTo>
                  <a:lnTo>
                    <a:pt x="74" y="404"/>
                  </a:lnTo>
                  <a:lnTo>
                    <a:pt x="76" y="403"/>
                  </a:lnTo>
                  <a:lnTo>
                    <a:pt x="76" y="402"/>
                  </a:lnTo>
                  <a:lnTo>
                    <a:pt x="77" y="403"/>
                  </a:lnTo>
                  <a:lnTo>
                    <a:pt x="77" y="404"/>
                  </a:lnTo>
                  <a:lnTo>
                    <a:pt x="79" y="405"/>
                  </a:lnTo>
                  <a:lnTo>
                    <a:pt x="79" y="404"/>
                  </a:lnTo>
                  <a:lnTo>
                    <a:pt x="80" y="404"/>
                  </a:lnTo>
                  <a:lnTo>
                    <a:pt x="82" y="404"/>
                  </a:lnTo>
                  <a:lnTo>
                    <a:pt x="83" y="405"/>
                  </a:lnTo>
                  <a:lnTo>
                    <a:pt x="84" y="404"/>
                  </a:lnTo>
                  <a:lnTo>
                    <a:pt x="85" y="404"/>
                  </a:lnTo>
                  <a:lnTo>
                    <a:pt x="85" y="407"/>
                  </a:lnTo>
                  <a:lnTo>
                    <a:pt x="86" y="407"/>
                  </a:lnTo>
                  <a:lnTo>
                    <a:pt x="88" y="405"/>
                  </a:lnTo>
                  <a:lnTo>
                    <a:pt x="89" y="407"/>
                  </a:lnTo>
                  <a:lnTo>
                    <a:pt x="90" y="408"/>
                  </a:lnTo>
                  <a:lnTo>
                    <a:pt x="92" y="409"/>
                  </a:lnTo>
                  <a:lnTo>
                    <a:pt x="94" y="410"/>
                  </a:lnTo>
                  <a:lnTo>
                    <a:pt x="99" y="410"/>
                  </a:lnTo>
                  <a:lnTo>
                    <a:pt x="102" y="410"/>
                  </a:lnTo>
                  <a:lnTo>
                    <a:pt x="105" y="410"/>
                  </a:lnTo>
                  <a:lnTo>
                    <a:pt x="108" y="411"/>
                  </a:lnTo>
                  <a:lnTo>
                    <a:pt x="113" y="411"/>
                  </a:lnTo>
                  <a:lnTo>
                    <a:pt x="117" y="411"/>
                  </a:lnTo>
                  <a:lnTo>
                    <a:pt x="120" y="413"/>
                  </a:lnTo>
                  <a:lnTo>
                    <a:pt x="124" y="411"/>
                  </a:lnTo>
                  <a:lnTo>
                    <a:pt x="126" y="413"/>
                  </a:lnTo>
                  <a:lnTo>
                    <a:pt x="129" y="414"/>
                  </a:lnTo>
                  <a:lnTo>
                    <a:pt x="133" y="413"/>
                  </a:lnTo>
                  <a:lnTo>
                    <a:pt x="137" y="413"/>
                  </a:lnTo>
                  <a:lnTo>
                    <a:pt x="138" y="411"/>
                  </a:lnTo>
                  <a:lnTo>
                    <a:pt x="141" y="411"/>
                  </a:lnTo>
                  <a:lnTo>
                    <a:pt x="143" y="409"/>
                  </a:lnTo>
                  <a:lnTo>
                    <a:pt x="143" y="407"/>
                  </a:lnTo>
                  <a:lnTo>
                    <a:pt x="144" y="407"/>
                  </a:lnTo>
                  <a:lnTo>
                    <a:pt x="148" y="407"/>
                  </a:lnTo>
                  <a:lnTo>
                    <a:pt x="150" y="408"/>
                  </a:lnTo>
                  <a:lnTo>
                    <a:pt x="151" y="409"/>
                  </a:lnTo>
                  <a:lnTo>
                    <a:pt x="154" y="409"/>
                  </a:lnTo>
                  <a:lnTo>
                    <a:pt x="155" y="409"/>
                  </a:lnTo>
                  <a:lnTo>
                    <a:pt x="159" y="407"/>
                  </a:lnTo>
                  <a:lnTo>
                    <a:pt x="162" y="404"/>
                  </a:lnTo>
                  <a:lnTo>
                    <a:pt x="166" y="402"/>
                  </a:lnTo>
                  <a:lnTo>
                    <a:pt x="168" y="399"/>
                  </a:lnTo>
                  <a:lnTo>
                    <a:pt x="172" y="397"/>
                  </a:lnTo>
                  <a:lnTo>
                    <a:pt x="174" y="395"/>
                  </a:lnTo>
                  <a:lnTo>
                    <a:pt x="173" y="393"/>
                  </a:lnTo>
                  <a:lnTo>
                    <a:pt x="171" y="393"/>
                  </a:lnTo>
                  <a:lnTo>
                    <a:pt x="171" y="392"/>
                  </a:lnTo>
                  <a:lnTo>
                    <a:pt x="173" y="391"/>
                  </a:lnTo>
                  <a:lnTo>
                    <a:pt x="174" y="390"/>
                  </a:lnTo>
                  <a:lnTo>
                    <a:pt x="176" y="387"/>
                  </a:lnTo>
                  <a:lnTo>
                    <a:pt x="174" y="387"/>
                  </a:lnTo>
                  <a:lnTo>
                    <a:pt x="173" y="389"/>
                  </a:lnTo>
                  <a:lnTo>
                    <a:pt x="172" y="390"/>
                  </a:lnTo>
                  <a:lnTo>
                    <a:pt x="171" y="391"/>
                  </a:lnTo>
                  <a:lnTo>
                    <a:pt x="170" y="390"/>
                  </a:lnTo>
                  <a:lnTo>
                    <a:pt x="168" y="389"/>
                  </a:lnTo>
                  <a:lnTo>
                    <a:pt x="167" y="389"/>
                  </a:lnTo>
                  <a:lnTo>
                    <a:pt x="168" y="390"/>
                  </a:lnTo>
                  <a:lnTo>
                    <a:pt x="167" y="391"/>
                  </a:lnTo>
                  <a:lnTo>
                    <a:pt x="168" y="395"/>
                  </a:lnTo>
                  <a:lnTo>
                    <a:pt x="168" y="396"/>
                  </a:lnTo>
                  <a:lnTo>
                    <a:pt x="167" y="397"/>
                  </a:lnTo>
                  <a:lnTo>
                    <a:pt x="166" y="396"/>
                  </a:lnTo>
                  <a:lnTo>
                    <a:pt x="166" y="393"/>
                  </a:lnTo>
                  <a:lnTo>
                    <a:pt x="164" y="392"/>
                  </a:lnTo>
                  <a:lnTo>
                    <a:pt x="162" y="391"/>
                  </a:lnTo>
                  <a:lnTo>
                    <a:pt x="161" y="390"/>
                  </a:lnTo>
                  <a:lnTo>
                    <a:pt x="160" y="391"/>
                  </a:lnTo>
                  <a:lnTo>
                    <a:pt x="160" y="393"/>
                  </a:lnTo>
                  <a:lnTo>
                    <a:pt x="159" y="396"/>
                  </a:lnTo>
                  <a:lnTo>
                    <a:pt x="158" y="395"/>
                  </a:lnTo>
                  <a:lnTo>
                    <a:pt x="158" y="391"/>
                  </a:lnTo>
                  <a:lnTo>
                    <a:pt x="156" y="390"/>
                  </a:lnTo>
                  <a:lnTo>
                    <a:pt x="156" y="391"/>
                  </a:lnTo>
                  <a:lnTo>
                    <a:pt x="156" y="392"/>
                  </a:lnTo>
                  <a:lnTo>
                    <a:pt x="154" y="390"/>
                  </a:lnTo>
                  <a:lnTo>
                    <a:pt x="154" y="389"/>
                  </a:lnTo>
                  <a:lnTo>
                    <a:pt x="154" y="393"/>
                  </a:lnTo>
                  <a:lnTo>
                    <a:pt x="154" y="396"/>
                  </a:lnTo>
                  <a:lnTo>
                    <a:pt x="153" y="396"/>
                  </a:lnTo>
                  <a:lnTo>
                    <a:pt x="151" y="395"/>
                  </a:lnTo>
                  <a:lnTo>
                    <a:pt x="149" y="391"/>
                  </a:lnTo>
                  <a:lnTo>
                    <a:pt x="148" y="390"/>
                  </a:lnTo>
                  <a:lnTo>
                    <a:pt x="148" y="393"/>
                  </a:lnTo>
                  <a:lnTo>
                    <a:pt x="148" y="397"/>
                  </a:lnTo>
                  <a:lnTo>
                    <a:pt x="147" y="395"/>
                  </a:lnTo>
                  <a:lnTo>
                    <a:pt x="145" y="392"/>
                  </a:lnTo>
                  <a:lnTo>
                    <a:pt x="145" y="390"/>
                  </a:lnTo>
                  <a:lnTo>
                    <a:pt x="143" y="387"/>
                  </a:lnTo>
                  <a:lnTo>
                    <a:pt x="143" y="393"/>
                  </a:lnTo>
                  <a:lnTo>
                    <a:pt x="144" y="396"/>
                  </a:lnTo>
                  <a:lnTo>
                    <a:pt x="142" y="395"/>
                  </a:lnTo>
                  <a:lnTo>
                    <a:pt x="141" y="392"/>
                  </a:lnTo>
                  <a:lnTo>
                    <a:pt x="142" y="396"/>
                  </a:lnTo>
                  <a:lnTo>
                    <a:pt x="142" y="397"/>
                  </a:lnTo>
                  <a:lnTo>
                    <a:pt x="141" y="398"/>
                  </a:lnTo>
                  <a:lnTo>
                    <a:pt x="139" y="397"/>
                  </a:lnTo>
                  <a:lnTo>
                    <a:pt x="139" y="395"/>
                  </a:lnTo>
                  <a:lnTo>
                    <a:pt x="138" y="395"/>
                  </a:lnTo>
                  <a:lnTo>
                    <a:pt x="136" y="393"/>
                  </a:lnTo>
                  <a:lnTo>
                    <a:pt x="136" y="392"/>
                  </a:lnTo>
                  <a:lnTo>
                    <a:pt x="135" y="395"/>
                  </a:lnTo>
                  <a:lnTo>
                    <a:pt x="137" y="397"/>
                  </a:lnTo>
                  <a:lnTo>
                    <a:pt x="137" y="398"/>
                  </a:lnTo>
                  <a:lnTo>
                    <a:pt x="136" y="397"/>
                  </a:lnTo>
                  <a:lnTo>
                    <a:pt x="135" y="396"/>
                  </a:lnTo>
                  <a:lnTo>
                    <a:pt x="132" y="395"/>
                  </a:lnTo>
                  <a:lnTo>
                    <a:pt x="132" y="399"/>
                  </a:lnTo>
                  <a:lnTo>
                    <a:pt x="130" y="401"/>
                  </a:lnTo>
                  <a:lnTo>
                    <a:pt x="130" y="402"/>
                  </a:lnTo>
                  <a:lnTo>
                    <a:pt x="129" y="402"/>
                  </a:lnTo>
                  <a:lnTo>
                    <a:pt x="127" y="402"/>
                  </a:lnTo>
                  <a:lnTo>
                    <a:pt x="126" y="401"/>
                  </a:lnTo>
                  <a:lnTo>
                    <a:pt x="126" y="399"/>
                  </a:lnTo>
                  <a:lnTo>
                    <a:pt x="125" y="399"/>
                  </a:lnTo>
                  <a:lnTo>
                    <a:pt x="125" y="401"/>
                  </a:lnTo>
                  <a:lnTo>
                    <a:pt x="125" y="402"/>
                  </a:lnTo>
                  <a:lnTo>
                    <a:pt x="126" y="403"/>
                  </a:lnTo>
                  <a:lnTo>
                    <a:pt x="126" y="405"/>
                  </a:lnTo>
                  <a:lnTo>
                    <a:pt x="125" y="408"/>
                  </a:lnTo>
                  <a:lnTo>
                    <a:pt x="124" y="407"/>
                  </a:lnTo>
                  <a:lnTo>
                    <a:pt x="124" y="404"/>
                  </a:lnTo>
                  <a:lnTo>
                    <a:pt x="124" y="403"/>
                  </a:lnTo>
                  <a:lnTo>
                    <a:pt x="123" y="401"/>
                  </a:lnTo>
                  <a:lnTo>
                    <a:pt x="123" y="403"/>
                  </a:lnTo>
                  <a:lnTo>
                    <a:pt x="121" y="403"/>
                  </a:lnTo>
                  <a:lnTo>
                    <a:pt x="120" y="403"/>
                  </a:lnTo>
                  <a:lnTo>
                    <a:pt x="120" y="402"/>
                  </a:lnTo>
                  <a:lnTo>
                    <a:pt x="120" y="399"/>
                  </a:lnTo>
                  <a:lnTo>
                    <a:pt x="119" y="397"/>
                  </a:lnTo>
                  <a:lnTo>
                    <a:pt x="119" y="396"/>
                  </a:lnTo>
                  <a:lnTo>
                    <a:pt x="119" y="401"/>
                  </a:lnTo>
                  <a:lnTo>
                    <a:pt x="119" y="404"/>
                  </a:lnTo>
                  <a:lnTo>
                    <a:pt x="119" y="405"/>
                  </a:lnTo>
                  <a:lnTo>
                    <a:pt x="117" y="408"/>
                  </a:lnTo>
                  <a:lnTo>
                    <a:pt x="115" y="408"/>
                  </a:lnTo>
                  <a:lnTo>
                    <a:pt x="113" y="408"/>
                  </a:lnTo>
                  <a:lnTo>
                    <a:pt x="113" y="405"/>
                  </a:lnTo>
                  <a:lnTo>
                    <a:pt x="113" y="403"/>
                  </a:lnTo>
                  <a:lnTo>
                    <a:pt x="113" y="401"/>
                  </a:lnTo>
                  <a:lnTo>
                    <a:pt x="112" y="403"/>
                  </a:lnTo>
                  <a:lnTo>
                    <a:pt x="112" y="404"/>
                  </a:lnTo>
                  <a:lnTo>
                    <a:pt x="111" y="403"/>
                  </a:lnTo>
                  <a:lnTo>
                    <a:pt x="109" y="403"/>
                  </a:lnTo>
                  <a:lnTo>
                    <a:pt x="108" y="405"/>
                  </a:lnTo>
                  <a:lnTo>
                    <a:pt x="107" y="408"/>
                  </a:lnTo>
                  <a:lnTo>
                    <a:pt x="107" y="405"/>
                  </a:lnTo>
                  <a:lnTo>
                    <a:pt x="106" y="404"/>
                  </a:lnTo>
                  <a:lnTo>
                    <a:pt x="102" y="407"/>
                  </a:lnTo>
                  <a:lnTo>
                    <a:pt x="103" y="405"/>
                  </a:lnTo>
                  <a:lnTo>
                    <a:pt x="105" y="404"/>
                  </a:lnTo>
                  <a:lnTo>
                    <a:pt x="103" y="402"/>
                  </a:lnTo>
                  <a:lnTo>
                    <a:pt x="105" y="402"/>
                  </a:lnTo>
                  <a:lnTo>
                    <a:pt x="108" y="402"/>
                  </a:lnTo>
                  <a:lnTo>
                    <a:pt x="109" y="402"/>
                  </a:lnTo>
                  <a:lnTo>
                    <a:pt x="106" y="401"/>
                  </a:lnTo>
                  <a:lnTo>
                    <a:pt x="107" y="399"/>
                  </a:lnTo>
                  <a:lnTo>
                    <a:pt x="109" y="399"/>
                  </a:lnTo>
                  <a:lnTo>
                    <a:pt x="112" y="399"/>
                  </a:lnTo>
                  <a:lnTo>
                    <a:pt x="113" y="398"/>
                  </a:lnTo>
                  <a:lnTo>
                    <a:pt x="112" y="397"/>
                  </a:lnTo>
                  <a:lnTo>
                    <a:pt x="113" y="396"/>
                  </a:lnTo>
                  <a:lnTo>
                    <a:pt x="115" y="395"/>
                  </a:lnTo>
                  <a:lnTo>
                    <a:pt x="118" y="393"/>
                  </a:lnTo>
                  <a:lnTo>
                    <a:pt x="119" y="393"/>
                  </a:lnTo>
                  <a:lnTo>
                    <a:pt x="118" y="392"/>
                  </a:lnTo>
                  <a:lnTo>
                    <a:pt x="119" y="391"/>
                  </a:lnTo>
                  <a:lnTo>
                    <a:pt x="120" y="390"/>
                  </a:lnTo>
                  <a:lnTo>
                    <a:pt x="121" y="389"/>
                  </a:lnTo>
                  <a:lnTo>
                    <a:pt x="124" y="387"/>
                  </a:lnTo>
                  <a:lnTo>
                    <a:pt x="125" y="386"/>
                  </a:lnTo>
                  <a:lnTo>
                    <a:pt x="125" y="384"/>
                  </a:lnTo>
                  <a:lnTo>
                    <a:pt x="124" y="383"/>
                  </a:lnTo>
                  <a:lnTo>
                    <a:pt x="123" y="381"/>
                  </a:lnTo>
                  <a:lnTo>
                    <a:pt x="123" y="383"/>
                  </a:lnTo>
                  <a:lnTo>
                    <a:pt x="121" y="386"/>
                  </a:lnTo>
                  <a:lnTo>
                    <a:pt x="120" y="386"/>
                  </a:lnTo>
                  <a:lnTo>
                    <a:pt x="119" y="389"/>
                  </a:lnTo>
                  <a:lnTo>
                    <a:pt x="119" y="387"/>
                  </a:lnTo>
                  <a:lnTo>
                    <a:pt x="118" y="385"/>
                  </a:lnTo>
                  <a:lnTo>
                    <a:pt x="117" y="386"/>
                  </a:lnTo>
                  <a:lnTo>
                    <a:pt x="117" y="385"/>
                  </a:lnTo>
                  <a:lnTo>
                    <a:pt x="117" y="384"/>
                  </a:lnTo>
                  <a:lnTo>
                    <a:pt x="115" y="383"/>
                  </a:lnTo>
                  <a:lnTo>
                    <a:pt x="118" y="383"/>
                  </a:lnTo>
                  <a:lnTo>
                    <a:pt x="119" y="381"/>
                  </a:lnTo>
                  <a:lnTo>
                    <a:pt x="121" y="379"/>
                  </a:lnTo>
                  <a:lnTo>
                    <a:pt x="119" y="379"/>
                  </a:lnTo>
                  <a:lnTo>
                    <a:pt x="118" y="378"/>
                  </a:lnTo>
                  <a:lnTo>
                    <a:pt x="120" y="378"/>
                  </a:lnTo>
                  <a:lnTo>
                    <a:pt x="123" y="378"/>
                  </a:lnTo>
                  <a:lnTo>
                    <a:pt x="126" y="378"/>
                  </a:lnTo>
                  <a:lnTo>
                    <a:pt x="130" y="377"/>
                  </a:lnTo>
                  <a:lnTo>
                    <a:pt x="135" y="374"/>
                  </a:lnTo>
                  <a:lnTo>
                    <a:pt x="138" y="373"/>
                  </a:lnTo>
                  <a:lnTo>
                    <a:pt x="143" y="371"/>
                  </a:lnTo>
                  <a:lnTo>
                    <a:pt x="147" y="369"/>
                  </a:lnTo>
                  <a:lnTo>
                    <a:pt x="150" y="368"/>
                  </a:lnTo>
                  <a:lnTo>
                    <a:pt x="154" y="368"/>
                  </a:lnTo>
                  <a:lnTo>
                    <a:pt x="158" y="367"/>
                  </a:lnTo>
                  <a:lnTo>
                    <a:pt x="160" y="367"/>
                  </a:lnTo>
                  <a:lnTo>
                    <a:pt x="160" y="365"/>
                  </a:lnTo>
                  <a:lnTo>
                    <a:pt x="159" y="365"/>
                  </a:lnTo>
                  <a:lnTo>
                    <a:pt x="158" y="363"/>
                  </a:lnTo>
                  <a:lnTo>
                    <a:pt x="162" y="362"/>
                  </a:lnTo>
                  <a:lnTo>
                    <a:pt x="165" y="362"/>
                  </a:lnTo>
                  <a:lnTo>
                    <a:pt x="167" y="361"/>
                  </a:lnTo>
                  <a:lnTo>
                    <a:pt x="168" y="361"/>
                  </a:lnTo>
                  <a:lnTo>
                    <a:pt x="170" y="359"/>
                  </a:lnTo>
                  <a:lnTo>
                    <a:pt x="170" y="356"/>
                  </a:lnTo>
                  <a:lnTo>
                    <a:pt x="168" y="354"/>
                  </a:lnTo>
                  <a:lnTo>
                    <a:pt x="167" y="351"/>
                  </a:lnTo>
                  <a:lnTo>
                    <a:pt x="165" y="349"/>
                  </a:lnTo>
                  <a:lnTo>
                    <a:pt x="165" y="351"/>
                  </a:lnTo>
                  <a:lnTo>
                    <a:pt x="165" y="353"/>
                  </a:lnTo>
                  <a:lnTo>
                    <a:pt x="164" y="354"/>
                  </a:lnTo>
                  <a:lnTo>
                    <a:pt x="161" y="353"/>
                  </a:lnTo>
                  <a:lnTo>
                    <a:pt x="161" y="354"/>
                  </a:lnTo>
                  <a:lnTo>
                    <a:pt x="160" y="355"/>
                  </a:lnTo>
                  <a:lnTo>
                    <a:pt x="159" y="355"/>
                  </a:lnTo>
                  <a:lnTo>
                    <a:pt x="158" y="353"/>
                  </a:lnTo>
                  <a:lnTo>
                    <a:pt x="156" y="350"/>
                  </a:lnTo>
                  <a:lnTo>
                    <a:pt x="158" y="355"/>
                  </a:lnTo>
                  <a:lnTo>
                    <a:pt x="155" y="356"/>
                  </a:lnTo>
                  <a:lnTo>
                    <a:pt x="155" y="355"/>
                  </a:lnTo>
                  <a:lnTo>
                    <a:pt x="154" y="353"/>
                  </a:lnTo>
                  <a:lnTo>
                    <a:pt x="153" y="350"/>
                  </a:lnTo>
                  <a:lnTo>
                    <a:pt x="153" y="353"/>
                  </a:lnTo>
                  <a:lnTo>
                    <a:pt x="150" y="355"/>
                  </a:lnTo>
                  <a:lnTo>
                    <a:pt x="150" y="353"/>
                  </a:lnTo>
                  <a:lnTo>
                    <a:pt x="149" y="351"/>
                  </a:lnTo>
                  <a:lnTo>
                    <a:pt x="150" y="355"/>
                  </a:lnTo>
                  <a:lnTo>
                    <a:pt x="150" y="357"/>
                  </a:lnTo>
                  <a:lnTo>
                    <a:pt x="148" y="359"/>
                  </a:lnTo>
                  <a:lnTo>
                    <a:pt x="147" y="359"/>
                  </a:lnTo>
                  <a:lnTo>
                    <a:pt x="147" y="356"/>
                  </a:lnTo>
                  <a:lnTo>
                    <a:pt x="145" y="353"/>
                  </a:lnTo>
                  <a:lnTo>
                    <a:pt x="144" y="354"/>
                  </a:lnTo>
                  <a:lnTo>
                    <a:pt x="144" y="356"/>
                  </a:lnTo>
                  <a:lnTo>
                    <a:pt x="142" y="356"/>
                  </a:lnTo>
                  <a:lnTo>
                    <a:pt x="142" y="355"/>
                  </a:lnTo>
                  <a:lnTo>
                    <a:pt x="141" y="356"/>
                  </a:lnTo>
                  <a:lnTo>
                    <a:pt x="139" y="354"/>
                  </a:lnTo>
                  <a:lnTo>
                    <a:pt x="139" y="353"/>
                  </a:lnTo>
                  <a:lnTo>
                    <a:pt x="138" y="353"/>
                  </a:lnTo>
                  <a:lnTo>
                    <a:pt x="139" y="356"/>
                  </a:lnTo>
                  <a:lnTo>
                    <a:pt x="138" y="356"/>
                  </a:lnTo>
                  <a:lnTo>
                    <a:pt x="136" y="357"/>
                  </a:lnTo>
                  <a:lnTo>
                    <a:pt x="136" y="356"/>
                  </a:lnTo>
                  <a:lnTo>
                    <a:pt x="135" y="356"/>
                  </a:lnTo>
                  <a:lnTo>
                    <a:pt x="136" y="360"/>
                  </a:lnTo>
                  <a:lnTo>
                    <a:pt x="136" y="362"/>
                  </a:lnTo>
                  <a:lnTo>
                    <a:pt x="133" y="362"/>
                  </a:lnTo>
                  <a:lnTo>
                    <a:pt x="132" y="361"/>
                  </a:lnTo>
                  <a:lnTo>
                    <a:pt x="131" y="360"/>
                  </a:lnTo>
                  <a:lnTo>
                    <a:pt x="130" y="356"/>
                  </a:lnTo>
                  <a:lnTo>
                    <a:pt x="129" y="355"/>
                  </a:lnTo>
                  <a:lnTo>
                    <a:pt x="126" y="356"/>
                  </a:lnTo>
                  <a:lnTo>
                    <a:pt x="125" y="355"/>
                  </a:lnTo>
                  <a:lnTo>
                    <a:pt x="123" y="356"/>
                  </a:lnTo>
                  <a:lnTo>
                    <a:pt x="124" y="357"/>
                  </a:lnTo>
                  <a:lnTo>
                    <a:pt x="123" y="356"/>
                  </a:lnTo>
                  <a:lnTo>
                    <a:pt x="120" y="357"/>
                  </a:lnTo>
                  <a:lnTo>
                    <a:pt x="117" y="357"/>
                  </a:lnTo>
                  <a:lnTo>
                    <a:pt x="117" y="356"/>
                  </a:lnTo>
                  <a:lnTo>
                    <a:pt x="121" y="355"/>
                  </a:lnTo>
                  <a:lnTo>
                    <a:pt x="125" y="353"/>
                  </a:lnTo>
                  <a:lnTo>
                    <a:pt x="126" y="350"/>
                  </a:lnTo>
                  <a:lnTo>
                    <a:pt x="127" y="351"/>
                  </a:lnTo>
                  <a:lnTo>
                    <a:pt x="131" y="350"/>
                  </a:lnTo>
                  <a:lnTo>
                    <a:pt x="133" y="349"/>
                  </a:lnTo>
                  <a:lnTo>
                    <a:pt x="135" y="348"/>
                  </a:lnTo>
                  <a:lnTo>
                    <a:pt x="130" y="348"/>
                  </a:lnTo>
                  <a:lnTo>
                    <a:pt x="127" y="349"/>
                  </a:lnTo>
                  <a:lnTo>
                    <a:pt x="130" y="348"/>
                  </a:lnTo>
                  <a:lnTo>
                    <a:pt x="133" y="345"/>
                  </a:lnTo>
                  <a:lnTo>
                    <a:pt x="135" y="345"/>
                  </a:lnTo>
                  <a:lnTo>
                    <a:pt x="131" y="344"/>
                  </a:lnTo>
                  <a:lnTo>
                    <a:pt x="136" y="344"/>
                  </a:lnTo>
                  <a:lnTo>
                    <a:pt x="139" y="343"/>
                  </a:lnTo>
                  <a:lnTo>
                    <a:pt x="139" y="342"/>
                  </a:lnTo>
                  <a:lnTo>
                    <a:pt x="142" y="342"/>
                  </a:lnTo>
                  <a:lnTo>
                    <a:pt x="144" y="340"/>
                  </a:lnTo>
                  <a:lnTo>
                    <a:pt x="143" y="339"/>
                  </a:lnTo>
                  <a:lnTo>
                    <a:pt x="144" y="339"/>
                  </a:lnTo>
                  <a:lnTo>
                    <a:pt x="149" y="339"/>
                  </a:lnTo>
                  <a:lnTo>
                    <a:pt x="150" y="337"/>
                  </a:lnTo>
                  <a:lnTo>
                    <a:pt x="151" y="337"/>
                  </a:lnTo>
                  <a:lnTo>
                    <a:pt x="153" y="338"/>
                  </a:lnTo>
                  <a:lnTo>
                    <a:pt x="155" y="338"/>
                  </a:lnTo>
                  <a:lnTo>
                    <a:pt x="158" y="337"/>
                  </a:lnTo>
                  <a:lnTo>
                    <a:pt x="156" y="334"/>
                  </a:lnTo>
                  <a:lnTo>
                    <a:pt x="159" y="336"/>
                  </a:lnTo>
                  <a:lnTo>
                    <a:pt x="160" y="333"/>
                  </a:lnTo>
                  <a:lnTo>
                    <a:pt x="162" y="333"/>
                  </a:lnTo>
                  <a:lnTo>
                    <a:pt x="165" y="334"/>
                  </a:lnTo>
                  <a:lnTo>
                    <a:pt x="167" y="334"/>
                  </a:lnTo>
                  <a:lnTo>
                    <a:pt x="168" y="333"/>
                  </a:lnTo>
                  <a:lnTo>
                    <a:pt x="174" y="332"/>
                  </a:lnTo>
                  <a:lnTo>
                    <a:pt x="178" y="331"/>
                  </a:lnTo>
                  <a:lnTo>
                    <a:pt x="182" y="330"/>
                  </a:lnTo>
                  <a:lnTo>
                    <a:pt x="183" y="330"/>
                  </a:lnTo>
                  <a:lnTo>
                    <a:pt x="185" y="328"/>
                  </a:lnTo>
                  <a:lnTo>
                    <a:pt x="189" y="328"/>
                  </a:lnTo>
                  <a:lnTo>
                    <a:pt x="191" y="327"/>
                  </a:lnTo>
                  <a:lnTo>
                    <a:pt x="194" y="327"/>
                  </a:lnTo>
                  <a:lnTo>
                    <a:pt x="196" y="327"/>
                  </a:lnTo>
                  <a:lnTo>
                    <a:pt x="198" y="326"/>
                  </a:lnTo>
                  <a:lnTo>
                    <a:pt x="200" y="327"/>
                  </a:lnTo>
                  <a:lnTo>
                    <a:pt x="201" y="325"/>
                  </a:lnTo>
                  <a:lnTo>
                    <a:pt x="202" y="325"/>
                  </a:lnTo>
                  <a:lnTo>
                    <a:pt x="203" y="325"/>
                  </a:lnTo>
                  <a:lnTo>
                    <a:pt x="204" y="325"/>
                  </a:lnTo>
                  <a:lnTo>
                    <a:pt x="207" y="326"/>
                  </a:lnTo>
                  <a:lnTo>
                    <a:pt x="208" y="326"/>
                  </a:lnTo>
                  <a:lnTo>
                    <a:pt x="210" y="325"/>
                  </a:lnTo>
                  <a:lnTo>
                    <a:pt x="212" y="325"/>
                  </a:lnTo>
                  <a:lnTo>
                    <a:pt x="214" y="325"/>
                  </a:lnTo>
                  <a:lnTo>
                    <a:pt x="215" y="324"/>
                  </a:lnTo>
                  <a:lnTo>
                    <a:pt x="219" y="322"/>
                  </a:lnTo>
                  <a:lnTo>
                    <a:pt x="221" y="322"/>
                  </a:lnTo>
                  <a:lnTo>
                    <a:pt x="223" y="322"/>
                  </a:lnTo>
                  <a:lnTo>
                    <a:pt x="223" y="321"/>
                  </a:lnTo>
                  <a:lnTo>
                    <a:pt x="221" y="320"/>
                  </a:lnTo>
                  <a:lnTo>
                    <a:pt x="220" y="321"/>
                  </a:lnTo>
                  <a:lnTo>
                    <a:pt x="218" y="321"/>
                  </a:lnTo>
                  <a:lnTo>
                    <a:pt x="215" y="324"/>
                  </a:lnTo>
                  <a:lnTo>
                    <a:pt x="213" y="324"/>
                  </a:lnTo>
                  <a:lnTo>
                    <a:pt x="210" y="324"/>
                  </a:lnTo>
                  <a:lnTo>
                    <a:pt x="210" y="322"/>
                  </a:lnTo>
                  <a:lnTo>
                    <a:pt x="209" y="324"/>
                  </a:lnTo>
                  <a:lnTo>
                    <a:pt x="209" y="325"/>
                  </a:lnTo>
                  <a:lnTo>
                    <a:pt x="208" y="325"/>
                  </a:lnTo>
                  <a:lnTo>
                    <a:pt x="207" y="325"/>
                  </a:lnTo>
                  <a:lnTo>
                    <a:pt x="204" y="322"/>
                  </a:lnTo>
                  <a:lnTo>
                    <a:pt x="203" y="322"/>
                  </a:lnTo>
                  <a:lnTo>
                    <a:pt x="203" y="324"/>
                  </a:lnTo>
                  <a:lnTo>
                    <a:pt x="202" y="324"/>
                  </a:lnTo>
                  <a:lnTo>
                    <a:pt x="200" y="325"/>
                  </a:lnTo>
                  <a:lnTo>
                    <a:pt x="200" y="324"/>
                  </a:lnTo>
                  <a:lnTo>
                    <a:pt x="200" y="325"/>
                  </a:lnTo>
                  <a:lnTo>
                    <a:pt x="198" y="325"/>
                  </a:lnTo>
                  <a:lnTo>
                    <a:pt x="197" y="325"/>
                  </a:lnTo>
                  <a:lnTo>
                    <a:pt x="196" y="325"/>
                  </a:lnTo>
                  <a:lnTo>
                    <a:pt x="195" y="325"/>
                  </a:lnTo>
                  <a:lnTo>
                    <a:pt x="192" y="326"/>
                  </a:lnTo>
                  <a:lnTo>
                    <a:pt x="190" y="326"/>
                  </a:lnTo>
                  <a:lnTo>
                    <a:pt x="190" y="325"/>
                  </a:lnTo>
                  <a:lnTo>
                    <a:pt x="189" y="324"/>
                  </a:lnTo>
                  <a:lnTo>
                    <a:pt x="190" y="322"/>
                  </a:lnTo>
                  <a:lnTo>
                    <a:pt x="188" y="324"/>
                  </a:lnTo>
                  <a:lnTo>
                    <a:pt x="186" y="325"/>
                  </a:lnTo>
                  <a:lnTo>
                    <a:pt x="185" y="325"/>
                  </a:lnTo>
                  <a:lnTo>
                    <a:pt x="185" y="327"/>
                  </a:lnTo>
                  <a:lnTo>
                    <a:pt x="184" y="327"/>
                  </a:lnTo>
                  <a:lnTo>
                    <a:pt x="184" y="326"/>
                  </a:lnTo>
                  <a:lnTo>
                    <a:pt x="183" y="326"/>
                  </a:lnTo>
                  <a:lnTo>
                    <a:pt x="182" y="327"/>
                  </a:lnTo>
                  <a:lnTo>
                    <a:pt x="182" y="328"/>
                  </a:lnTo>
                  <a:lnTo>
                    <a:pt x="179" y="327"/>
                  </a:lnTo>
                  <a:lnTo>
                    <a:pt x="178" y="326"/>
                  </a:lnTo>
                  <a:lnTo>
                    <a:pt x="179" y="328"/>
                  </a:lnTo>
                  <a:lnTo>
                    <a:pt x="178" y="328"/>
                  </a:lnTo>
                  <a:lnTo>
                    <a:pt x="176" y="330"/>
                  </a:lnTo>
                  <a:lnTo>
                    <a:pt x="173" y="328"/>
                  </a:lnTo>
                  <a:lnTo>
                    <a:pt x="173" y="327"/>
                  </a:lnTo>
                  <a:lnTo>
                    <a:pt x="171" y="331"/>
                  </a:lnTo>
                  <a:lnTo>
                    <a:pt x="171" y="330"/>
                  </a:lnTo>
                  <a:lnTo>
                    <a:pt x="171" y="328"/>
                  </a:lnTo>
                  <a:lnTo>
                    <a:pt x="172" y="326"/>
                  </a:lnTo>
                  <a:lnTo>
                    <a:pt x="171" y="327"/>
                  </a:lnTo>
                  <a:lnTo>
                    <a:pt x="170" y="325"/>
                  </a:lnTo>
                  <a:lnTo>
                    <a:pt x="168" y="325"/>
                  </a:lnTo>
                  <a:lnTo>
                    <a:pt x="168" y="328"/>
                  </a:lnTo>
                  <a:lnTo>
                    <a:pt x="167" y="328"/>
                  </a:lnTo>
                  <a:lnTo>
                    <a:pt x="167" y="330"/>
                  </a:lnTo>
                  <a:lnTo>
                    <a:pt x="166" y="332"/>
                  </a:lnTo>
                  <a:lnTo>
                    <a:pt x="165" y="333"/>
                  </a:lnTo>
                  <a:lnTo>
                    <a:pt x="164" y="332"/>
                  </a:lnTo>
                  <a:lnTo>
                    <a:pt x="165" y="330"/>
                  </a:lnTo>
                  <a:lnTo>
                    <a:pt x="165" y="326"/>
                  </a:lnTo>
                  <a:lnTo>
                    <a:pt x="164" y="326"/>
                  </a:lnTo>
                  <a:lnTo>
                    <a:pt x="164" y="327"/>
                  </a:lnTo>
                  <a:lnTo>
                    <a:pt x="162" y="332"/>
                  </a:lnTo>
                  <a:lnTo>
                    <a:pt x="161" y="332"/>
                  </a:lnTo>
                  <a:lnTo>
                    <a:pt x="161" y="330"/>
                  </a:lnTo>
                  <a:lnTo>
                    <a:pt x="161" y="328"/>
                  </a:lnTo>
                  <a:lnTo>
                    <a:pt x="160" y="327"/>
                  </a:lnTo>
                  <a:lnTo>
                    <a:pt x="160" y="326"/>
                  </a:lnTo>
                  <a:lnTo>
                    <a:pt x="160" y="325"/>
                  </a:lnTo>
                  <a:lnTo>
                    <a:pt x="159" y="328"/>
                  </a:lnTo>
                  <a:lnTo>
                    <a:pt x="159" y="331"/>
                  </a:lnTo>
                  <a:lnTo>
                    <a:pt x="156" y="331"/>
                  </a:lnTo>
                  <a:lnTo>
                    <a:pt x="155" y="332"/>
                  </a:lnTo>
                  <a:lnTo>
                    <a:pt x="154" y="328"/>
                  </a:lnTo>
                  <a:lnTo>
                    <a:pt x="153" y="332"/>
                  </a:lnTo>
                  <a:lnTo>
                    <a:pt x="153" y="333"/>
                  </a:lnTo>
                  <a:lnTo>
                    <a:pt x="154" y="334"/>
                  </a:lnTo>
                  <a:lnTo>
                    <a:pt x="151" y="336"/>
                  </a:lnTo>
                  <a:lnTo>
                    <a:pt x="150" y="336"/>
                  </a:lnTo>
                  <a:lnTo>
                    <a:pt x="150" y="333"/>
                  </a:lnTo>
                  <a:lnTo>
                    <a:pt x="149" y="332"/>
                  </a:lnTo>
                  <a:lnTo>
                    <a:pt x="148" y="331"/>
                  </a:lnTo>
                  <a:lnTo>
                    <a:pt x="148" y="328"/>
                  </a:lnTo>
                  <a:lnTo>
                    <a:pt x="148" y="327"/>
                  </a:lnTo>
                  <a:lnTo>
                    <a:pt x="147" y="328"/>
                  </a:lnTo>
                  <a:lnTo>
                    <a:pt x="145" y="330"/>
                  </a:lnTo>
                  <a:lnTo>
                    <a:pt x="144" y="332"/>
                  </a:lnTo>
                  <a:lnTo>
                    <a:pt x="144" y="331"/>
                  </a:lnTo>
                  <a:lnTo>
                    <a:pt x="143" y="330"/>
                  </a:lnTo>
                  <a:lnTo>
                    <a:pt x="142" y="331"/>
                  </a:lnTo>
                  <a:lnTo>
                    <a:pt x="142" y="333"/>
                  </a:lnTo>
                  <a:lnTo>
                    <a:pt x="141" y="334"/>
                  </a:lnTo>
                  <a:lnTo>
                    <a:pt x="139" y="332"/>
                  </a:lnTo>
                  <a:lnTo>
                    <a:pt x="137" y="332"/>
                  </a:lnTo>
                  <a:lnTo>
                    <a:pt x="137" y="333"/>
                  </a:lnTo>
                  <a:lnTo>
                    <a:pt x="136" y="333"/>
                  </a:lnTo>
                  <a:lnTo>
                    <a:pt x="136" y="331"/>
                  </a:lnTo>
                  <a:lnTo>
                    <a:pt x="135" y="328"/>
                  </a:lnTo>
                  <a:lnTo>
                    <a:pt x="132" y="327"/>
                  </a:lnTo>
                  <a:lnTo>
                    <a:pt x="132" y="328"/>
                  </a:lnTo>
                  <a:lnTo>
                    <a:pt x="131" y="328"/>
                  </a:lnTo>
                  <a:lnTo>
                    <a:pt x="130" y="330"/>
                  </a:lnTo>
                  <a:lnTo>
                    <a:pt x="129" y="332"/>
                  </a:lnTo>
                  <a:lnTo>
                    <a:pt x="127" y="331"/>
                  </a:lnTo>
                  <a:lnTo>
                    <a:pt x="127" y="330"/>
                  </a:lnTo>
                  <a:lnTo>
                    <a:pt x="121" y="332"/>
                  </a:lnTo>
                  <a:lnTo>
                    <a:pt x="123" y="331"/>
                  </a:lnTo>
                  <a:lnTo>
                    <a:pt x="125" y="330"/>
                  </a:lnTo>
                  <a:lnTo>
                    <a:pt x="127" y="328"/>
                  </a:lnTo>
                  <a:lnTo>
                    <a:pt x="125" y="327"/>
                  </a:lnTo>
                  <a:lnTo>
                    <a:pt x="129" y="327"/>
                  </a:lnTo>
                  <a:lnTo>
                    <a:pt x="127" y="326"/>
                  </a:lnTo>
                  <a:lnTo>
                    <a:pt x="127" y="325"/>
                  </a:lnTo>
                  <a:lnTo>
                    <a:pt x="130" y="325"/>
                  </a:lnTo>
                  <a:lnTo>
                    <a:pt x="132" y="324"/>
                  </a:lnTo>
                  <a:lnTo>
                    <a:pt x="135" y="324"/>
                  </a:lnTo>
                  <a:lnTo>
                    <a:pt x="137" y="322"/>
                  </a:lnTo>
                  <a:lnTo>
                    <a:pt x="138" y="321"/>
                  </a:lnTo>
                  <a:lnTo>
                    <a:pt x="141" y="319"/>
                  </a:lnTo>
                  <a:lnTo>
                    <a:pt x="142" y="318"/>
                  </a:lnTo>
                  <a:lnTo>
                    <a:pt x="143" y="316"/>
                  </a:lnTo>
                  <a:lnTo>
                    <a:pt x="142" y="315"/>
                  </a:lnTo>
                  <a:lnTo>
                    <a:pt x="138" y="316"/>
                  </a:lnTo>
                  <a:lnTo>
                    <a:pt x="139" y="315"/>
                  </a:lnTo>
                  <a:lnTo>
                    <a:pt x="141" y="314"/>
                  </a:lnTo>
                  <a:lnTo>
                    <a:pt x="142" y="312"/>
                  </a:lnTo>
                  <a:lnTo>
                    <a:pt x="143" y="313"/>
                  </a:lnTo>
                  <a:lnTo>
                    <a:pt x="143" y="314"/>
                  </a:lnTo>
                  <a:lnTo>
                    <a:pt x="145" y="313"/>
                  </a:lnTo>
                  <a:lnTo>
                    <a:pt x="149" y="314"/>
                  </a:lnTo>
                  <a:lnTo>
                    <a:pt x="156" y="312"/>
                  </a:lnTo>
                  <a:lnTo>
                    <a:pt x="160" y="310"/>
                  </a:lnTo>
                  <a:lnTo>
                    <a:pt x="160" y="309"/>
                  </a:lnTo>
                  <a:lnTo>
                    <a:pt x="161" y="310"/>
                  </a:lnTo>
                  <a:lnTo>
                    <a:pt x="164" y="310"/>
                  </a:lnTo>
                  <a:lnTo>
                    <a:pt x="165" y="309"/>
                  </a:lnTo>
                  <a:lnTo>
                    <a:pt x="166" y="308"/>
                  </a:lnTo>
                  <a:lnTo>
                    <a:pt x="167" y="308"/>
                  </a:lnTo>
                  <a:lnTo>
                    <a:pt x="173" y="307"/>
                  </a:lnTo>
                  <a:lnTo>
                    <a:pt x="177" y="307"/>
                  </a:lnTo>
                  <a:lnTo>
                    <a:pt x="178" y="307"/>
                  </a:lnTo>
                  <a:lnTo>
                    <a:pt x="180" y="306"/>
                  </a:lnTo>
                  <a:lnTo>
                    <a:pt x="182" y="306"/>
                  </a:lnTo>
                  <a:lnTo>
                    <a:pt x="185" y="306"/>
                  </a:lnTo>
                  <a:lnTo>
                    <a:pt x="188" y="304"/>
                  </a:lnTo>
                  <a:lnTo>
                    <a:pt x="156" y="303"/>
                  </a:lnTo>
                  <a:lnTo>
                    <a:pt x="158" y="303"/>
                  </a:lnTo>
                  <a:lnTo>
                    <a:pt x="160" y="302"/>
                  </a:lnTo>
                  <a:lnTo>
                    <a:pt x="165" y="301"/>
                  </a:lnTo>
                  <a:lnTo>
                    <a:pt x="166" y="301"/>
                  </a:lnTo>
                  <a:lnTo>
                    <a:pt x="168" y="301"/>
                  </a:lnTo>
                  <a:lnTo>
                    <a:pt x="172" y="301"/>
                  </a:lnTo>
                  <a:lnTo>
                    <a:pt x="172" y="300"/>
                  </a:lnTo>
                  <a:lnTo>
                    <a:pt x="174" y="300"/>
                  </a:lnTo>
                  <a:lnTo>
                    <a:pt x="176" y="301"/>
                  </a:lnTo>
                  <a:lnTo>
                    <a:pt x="180" y="301"/>
                  </a:lnTo>
                  <a:lnTo>
                    <a:pt x="183" y="301"/>
                  </a:lnTo>
                  <a:lnTo>
                    <a:pt x="186" y="300"/>
                  </a:lnTo>
                  <a:lnTo>
                    <a:pt x="190" y="298"/>
                  </a:lnTo>
                  <a:lnTo>
                    <a:pt x="194" y="298"/>
                  </a:lnTo>
                  <a:lnTo>
                    <a:pt x="198" y="297"/>
                  </a:lnTo>
                  <a:lnTo>
                    <a:pt x="203" y="297"/>
                  </a:lnTo>
                  <a:lnTo>
                    <a:pt x="206" y="295"/>
                  </a:lnTo>
                  <a:lnTo>
                    <a:pt x="208" y="295"/>
                  </a:lnTo>
                  <a:lnTo>
                    <a:pt x="208" y="296"/>
                  </a:lnTo>
                  <a:lnTo>
                    <a:pt x="209" y="297"/>
                  </a:lnTo>
                  <a:lnTo>
                    <a:pt x="210" y="297"/>
                  </a:lnTo>
                  <a:lnTo>
                    <a:pt x="213" y="296"/>
                  </a:lnTo>
                  <a:lnTo>
                    <a:pt x="216" y="295"/>
                  </a:lnTo>
                  <a:lnTo>
                    <a:pt x="218" y="295"/>
                  </a:lnTo>
                  <a:lnTo>
                    <a:pt x="221" y="295"/>
                  </a:lnTo>
                  <a:lnTo>
                    <a:pt x="223" y="296"/>
                  </a:lnTo>
                  <a:lnTo>
                    <a:pt x="225" y="295"/>
                  </a:lnTo>
                  <a:lnTo>
                    <a:pt x="226" y="294"/>
                  </a:lnTo>
                  <a:lnTo>
                    <a:pt x="230" y="294"/>
                  </a:lnTo>
                  <a:lnTo>
                    <a:pt x="233" y="294"/>
                  </a:lnTo>
                  <a:lnTo>
                    <a:pt x="233" y="292"/>
                  </a:lnTo>
                  <a:lnTo>
                    <a:pt x="235" y="290"/>
                  </a:lnTo>
                  <a:lnTo>
                    <a:pt x="238" y="289"/>
                  </a:lnTo>
                  <a:lnTo>
                    <a:pt x="239" y="289"/>
                  </a:lnTo>
                  <a:lnTo>
                    <a:pt x="242" y="288"/>
                  </a:lnTo>
                  <a:lnTo>
                    <a:pt x="244" y="285"/>
                  </a:lnTo>
                  <a:lnTo>
                    <a:pt x="248" y="283"/>
                  </a:lnTo>
                  <a:lnTo>
                    <a:pt x="250" y="282"/>
                  </a:lnTo>
                  <a:lnTo>
                    <a:pt x="250" y="276"/>
                  </a:lnTo>
                  <a:lnTo>
                    <a:pt x="250" y="273"/>
                  </a:lnTo>
                  <a:lnTo>
                    <a:pt x="249" y="273"/>
                  </a:lnTo>
                  <a:lnTo>
                    <a:pt x="248" y="276"/>
                  </a:lnTo>
                  <a:lnTo>
                    <a:pt x="247" y="276"/>
                  </a:lnTo>
                  <a:lnTo>
                    <a:pt x="245" y="274"/>
                  </a:lnTo>
                  <a:lnTo>
                    <a:pt x="247" y="272"/>
                  </a:lnTo>
                  <a:lnTo>
                    <a:pt x="245" y="272"/>
                  </a:lnTo>
                  <a:lnTo>
                    <a:pt x="244" y="273"/>
                  </a:lnTo>
                  <a:lnTo>
                    <a:pt x="245" y="276"/>
                  </a:lnTo>
                  <a:lnTo>
                    <a:pt x="245" y="278"/>
                  </a:lnTo>
                  <a:lnTo>
                    <a:pt x="247" y="280"/>
                  </a:lnTo>
                  <a:lnTo>
                    <a:pt x="247" y="282"/>
                  </a:lnTo>
                  <a:lnTo>
                    <a:pt x="245" y="283"/>
                  </a:lnTo>
                  <a:lnTo>
                    <a:pt x="244" y="283"/>
                  </a:lnTo>
                  <a:lnTo>
                    <a:pt x="243" y="284"/>
                  </a:lnTo>
                  <a:lnTo>
                    <a:pt x="242" y="285"/>
                  </a:lnTo>
                  <a:lnTo>
                    <a:pt x="239" y="288"/>
                  </a:lnTo>
                  <a:lnTo>
                    <a:pt x="238" y="286"/>
                  </a:lnTo>
                  <a:lnTo>
                    <a:pt x="237" y="288"/>
                  </a:lnTo>
                  <a:lnTo>
                    <a:pt x="235" y="288"/>
                  </a:lnTo>
                  <a:lnTo>
                    <a:pt x="233" y="290"/>
                  </a:lnTo>
                  <a:lnTo>
                    <a:pt x="233" y="289"/>
                  </a:lnTo>
                  <a:lnTo>
                    <a:pt x="233" y="288"/>
                  </a:lnTo>
                  <a:lnTo>
                    <a:pt x="235" y="285"/>
                  </a:lnTo>
                  <a:lnTo>
                    <a:pt x="235" y="284"/>
                  </a:lnTo>
                  <a:lnTo>
                    <a:pt x="235" y="282"/>
                  </a:lnTo>
                  <a:lnTo>
                    <a:pt x="236" y="279"/>
                  </a:lnTo>
                  <a:lnTo>
                    <a:pt x="235" y="277"/>
                  </a:lnTo>
                  <a:lnTo>
                    <a:pt x="235" y="274"/>
                  </a:lnTo>
                  <a:lnTo>
                    <a:pt x="233" y="276"/>
                  </a:lnTo>
                  <a:lnTo>
                    <a:pt x="235" y="277"/>
                  </a:lnTo>
                  <a:lnTo>
                    <a:pt x="235" y="278"/>
                  </a:lnTo>
                  <a:lnTo>
                    <a:pt x="233" y="277"/>
                  </a:lnTo>
                  <a:lnTo>
                    <a:pt x="232" y="278"/>
                  </a:lnTo>
                  <a:lnTo>
                    <a:pt x="233" y="279"/>
                  </a:lnTo>
                  <a:lnTo>
                    <a:pt x="232" y="280"/>
                  </a:lnTo>
                  <a:lnTo>
                    <a:pt x="231" y="280"/>
                  </a:lnTo>
                  <a:lnTo>
                    <a:pt x="231" y="279"/>
                  </a:lnTo>
                  <a:lnTo>
                    <a:pt x="231" y="277"/>
                  </a:lnTo>
                  <a:lnTo>
                    <a:pt x="231" y="276"/>
                  </a:lnTo>
                  <a:lnTo>
                    <a:pt x="229" y="276"/>
                  </a:lnTo>
                  <a:lnTo>
                    <a:pt x="229" y="278"/>
                  </a:lnTo>
                  <a:lnTo>
                    <a:pt x="229" y="280"/>
                  </a:lnTo>
                  <a:lnTo>
                    <a:pt x="227" y="282"/>
                  </a:lnTo>
                  <a:lnTo>
                    <a:pt x="226" y="282"/>
                  </a:lnTo>
                  <a:lnTo>
                    <a:pt x="225" y="280"/>
                  </a:lnTo>
                  <a:lnTo>
                    <a:pt x="225" y="282"/>
                  </a:lnTo>
                  <a:lnTo>
                    <a:pt x="225" y="283"/>
                  </a:lnTo>
                  <a:lnTo>
                    <a:pt x="224" y="284"/>
                  </a:lnTo>
                  <a:lnTo>
                    <a:pt x="223" y="283"/>
                  </a:lnTo>
                  <a:lnTo>
                    <a:pt x="223" y="284"/>
                  </a:lnTo>
                  <a:lnTo>
                    <a:pt x="221" y="284"/>
                  </a:lnTo>
                  <a:lnTo>
                    <a:pt x="220" y="283"/>
                  </a:lnTo>
                  <a:lnTo>
                    <a:pt x="219" y="282"/>
                  </a:lnTo>
                  <a:lnTo>
                    <a:pt x="220" y="284"/>
                  </a:lnTo>
                  <a:lnTo>
                    <a:pt x="220" y="288"/>
                  </a:lnTo>
                  <a:lnTo>
                    <a:pt x="219" y="289"/>
                  </a:lnTo>
                  <a:lnTo>
                    <a:pt x="218" y="286"/>
                  </a:lnTo>
                  <a:lnTo>
                    <a:pt x="218" y="285"/>
                  </a:lnTo>
                  <a:lnTo>
                    <a:pt x="218" y="283"/>
                  </a:lnTo>
                  <a:lnTo>
                    <a:pt x="216" y="282"/>
                  </a:lnTo>
                  <a:lnTo>
                    <a:pt x="218" y="285"/>
                  </a:lnTo>
                  <a:lnTo>
                    <a:pt x="218" y="288"/>
                  </a:lnTo>
                  <a:lnTo>
                    <a:pt x="218" y="289"/>
                  </a:lnTo>
                  <a:lnTo>
                    <a:pt x="216" y="289"/>
                  </a:lnTo>
                  <a:lnTo>
                    <a:pt x="216" y="288"/>
                  </a:lnTo>
                  <a:lnTo>
                    <a:pt x="215" y="289"/>
                  </a:lnTo>
                  <a:lnTo>
                    <a:pt x="215" y="290"/>
                  </a:lnTo>
                  <a:lnTo>
                    <a:pt x="214" y="292"/>
                  </a:lnTo>
                  <a:lnTo>
                    <a:pt x="213" y="292"/>
                  </a:lnTo>
                  <a:lnTo>
                    <a:pt x="213" y="289"/>
                  </a:lnTo>
                  <a:lnTo>
                    <a:pt x="213" y="288"/>
                  </a:lnTo>
                  <a:lnTo>
                    <a:pt x="210" y="288"/>
                  </a:lnTo>
                  <a:lnTo>
                    <a:pt x="209" y="286"/>
                  </a:lnTo>
                  <a:lnTo>
                    <a:pt x="208" y="285"/>
                  </a:lnTo>
                  <a:lnTo>
                    <a:pt x="210" y="283"/>
                  </a:lnTo>
                  <a:lnTo>
                    <a:pt x="213" y="280"/>
                  </a:lnTo>
                  <a:lnTo>
                    <a:pt x="213" y="279"/>
                  </a:lnTo>
                  <a:lnTo>
                    <a:pt x="210" y="279"/>
                  </a:lnTo>
                  <a:lnTo>
                    <a:pt x="210" y="282"/>
                  </a:lnTo>
                  <a:lnTo>
                    <a:pt x="208" y="280"/>
                  </a:lnTo>
                  <a:lnTo>
                    <a:pt x="207" y="279"/>
                  </a:lnTo>
                  <a:lnTo>
                    <a:pt x="207" y="278"/>
                  </a:lnTo>
                  <a:lnTo>
                    <a:pt x="207" y="277"/>
                  </a:lnTo>
                  <a:lnTo>
                    <a:pt x="206" y="278"/>
                  </a:lnTo>
                  <a:lnTo>
                    <a:pt x="204" y="279"/>
                  </a:lnTo>
                  <a:lnTo>
                    <a:pt x="203" y="278"/>
                  </a:lnTo>
                  <a:lnTo>
                    <a:pt x="203" y="277"/>
                  </a:lnTo>
                  <a:lnTo>
                    <a:pt x="202" y="276"/>
                  </a:lnTo>
                  <a:lnTo>
                    <a:pt x="202" y="274"/>
                  </a:lnTo>
                  <a:lnTo>
                    <a:pt x="202" y="272"/>
                  </a:lnTo>
                  <a:lnTo>
                    <a:pt x="200" y="273"/>
                  </a:lnTo>
                  <a:lnTo>
                    <a:pt x="198" y="272"/>
                  </a:lnTo>
                  <a:lnTo>
                    <a:pt x="200" y="266"/>
                  </a:lnTo>
                  <a:lnTo>
                    <a:pt x="198" y="262"/>
                  </a:lnTo>
                  <a:lnTo>
                    <a:pt x="198" y="265"/>
                  </a:lnTo>
                  <a:lnTo>
                    <a:pt x="197" y="264"/>
                  </a:lnTo>
                  <a:lnTo>
                    <a:pt x="197" y="261"/>
                  </a:lnTo>
                  <a:lnTo>
                    <a:pt x="230" y="219"/>
                  </a:lnTo>
                  <a:lnTo>
                    <a:pt x="196" y="261"/>
                  </a:lnTo>
                  <a:lnTo>
                    <a:pt x="229" y="218"/>
                  </a:lnTo>
                  <a:lnTo>
                    <a:pt x="226" y="218"/>
                  </a:lnTo>
                  <a:lnTo>
                    <a:pt x="219" y="224"/>
                  </a:lnTo>
                  <a:lnTo>
                    <a:pt x="218" y="225"/>
                  </a:lnTo>
                  <a:lnTo>
                    <a:pt x="218" y="229"/>
                  </a:lnTo>
                  <a:lnTo>
                    <a:pt x="218" y="230"/>
                  </a:lnTo>
                  <a:lnTo>
                    <a:pt x="218" y="229"/>
                  </a:lnTo>
                  <a:lnTo>
                    <a:pt x="216" y="230"/>
                  </a:lnTo>
                  <a:lnTo>
                    <a:pt x="216" y="229"/>
                  </a:lnTo>
                  <a:lnTo>
                    <a:pt x="215" y="226"/>
                  </a:lnTo>
                  <a:lnTo>
                    <a:pt x="216" y="225"/>
                  </a:lnTo>
                  <a:lnTo>
                    <a:pt x="223" y="218"/>
                  </a:lnTo>
                  <a:lnTo>
                    <a:pt x="221" y="217"/>
                  </a:lnTo>
                  <a:lnTo>
                    <a:pt x="220" y="215"/>
                  </a:lnTo>
                  <a:lnTo>
                    <a:pt x="220" y="214"/>
                  </a:lnTo>
                  <a:lnTo>
                    <a:pt x="221" y="212"/>
                  </a:lnTo>
                  <a:lnTo>
                    <a:pt x="220" y="209"/>
                  </a:lnTo>
                  <a:lnTo>
                    <a:pt x="219" y="207"/>
                  </a:lnTo>
                  <a:lnTo>
                    <a:pt x="219" y="209"/>
                  </a:lnTo>
                  <a:lnTo>
                    <a:pt x="215" y="209"/>
                  </a:lnTo>
                  <a:lnTo>
                    <a:pt x="214" y="211"/>
                  </a:lnTo>
                  <a:lnTo>
                    <a:pt x="213" y="209"/>
                  </a:lnTo>
                  <a:lnTo>
                    <a:pt x="213" y="208"/>
                  </a:lnTo>
                  <a:lnTo>
                    <a:pt x="212" y="208"/>
                  </a:lnTo>
                  <a:lnTo>
                    <a:pt x="212" y="213"/>
                  </a:lnTo>
                  <a:lnTo>
                    <a:pt x="213" y="214"/>
                  </a:lnTo>
                  <a:lnTo>
                    <a:pt x="212" y="214"/>
                  </a:lnTo>
                  <a:lnTo>
                    <a:pt x="209" y="214"/>
                  </a:lnTo>
                  <a:lnTo>
                    <a:pt x="209" y="213"/>
                  </a:lnTo>
                  <a:lnTo>
                    <a:pt x="210" y="209"/>
                  </a:lnTo>
                  <a:lnTo>
                    <a:pt x="210" y="206"/>
                  </a:lnTo>
                  <a:lnTo>
                    <a:pt x="209" y="205"/>
                  </a:lnTo>
                  <a:lnTo>
                    <a:pt x="208" y="205"/>
                  </a:lnTo>
                  <a:lnTo>
                    <a:pt x="208" y="202"/>
                  </a:lnTo>
                  <a:lnTo>
                    <a:pt x="206" y="202"/>
                  </a:lnTo>
                  <a:lnTo>
                    <a:pt x="207" y="201"/>
                  </a:lnTo>
                  <a:lnTo>
                    <a:pt x="207" y="199"/>
                  </a:lnTo>
                  <a:lnTo>
                    <a:pt x="206" y="199"/>
                  </a:lnTo>
                  <a:lnTo>
                    <a:pt x="204" y="200"/>
                  </a:lnTo>
                  <a:lnTo>
                    <a:pt x="202" y="200"/>
                  </a:lnTo>
                  <a:lnTo>
                    <a:pt x="201" y="199"/>
                  </a:lnTo>
                  <a:lnTo>
                    <a:pt x="200" y="197"/>
                  </a:lnTo>
                  <a:lnTo>
                    <a:pt x="201" y="195"/>
                  </a:lnTo>
                  <a:lnTo>
                    <a:pt x="201" y="193"/>
                  </a:lnTo>
                  <a:lnTo>
                    <a:pt x="200" y="193"/>
                  </a:lnTo>
                  <a:lnTo>
                    <a:pt x="197" y="194"/>
                  </a:lnTo>
                  <a:lnTo>
                    <a:pt x="197" y="193"/>
                  </a:lnTo>
                  <a:lnTo>
                    <a:pt x="200" y="191"/>
                  </a:lnTo>
                  <a:lnTo>
                    <a:pt x="200" y="189"/>
                  </a:lnTo>
                  <a:lnTo>
                    <a:pt x="201" y="189"/>
                  </a:lnTo>
                  <a:lnTo>
                    <a:pt x="203" y="189"/>
                  </a:lnTo>
                  <a:lnTo>
                    <a:pt x="204" y="188"/>
                  </a:lnTo>
                  <a:lnTo>
                    <a:pt x="203" y="187"/>
                  </a:lnTo>
                  <a:lnTo>
                    <a:pt x="201" y="187"/>
                  </a:lnTo>
                  <a:lnTo>
                    <a:pt x="200" y="187"/>
                  </a:lnTo>
                  <a:lnTo>
                    <a:pt x="200" y="188"/>
                  </a:lnTo>
                  <a:lnTo>
                    <a:pt x="198" y="189"/>
                  </a:lnTo>
                  <a:lnTo>
                    <a:pt x="198" y="190"/>
                  </a:lnTo>
                  <a:lnTo>
                    <a:pt x="197" y="191"/>
                  </a:lnTo>
                  <a:lnTo>
                    <a:pt x="197" y="190"/>
                  </a:lnTo>
                  <a:lnTo>
                    <a:pt x="196" y="191"/>
                  </a:lnTo>
                  <a:lnTo>
                    <a:pt x="195" y="190"/>
                  </a:lnTo>
                  <a:lnTo>
                    <a:pt x="196" y="189"/>
                  </a:lnTo>
                  <a:lnTo>
                    <a:pt x="196" y="188"/>
                  </a:lnTo>
                  <a:lnTo>
                    <a:pt x="195" y="187"/>
                  </a:lnTo>
                  <a:lnTo>
                    <a:pt x="195" y="188"/>
                  </a:lnTo>
                  <a:lnTo>
                    <a:pt x="194" y="188"/>
                  </a:lnTo>
                  <a:lnTo>
                    <a:pt x="192" y="187"/>
                  </a:lnTo>
                  <a:lnTo>
                    <a:pt x="192" y="185"/>
                  </a:lnTo>
                  <a:lnTo>
                    <a:pt x="194" y="185"/>
                  </a:lnTo>
                  <a:lnTo>
                    <a:pt x="195" y="185"/>
                  </a:lnTo>
                  <a:lnTo>
                    <a:pt x="196" y="185"/>
                  </a:lnTo>
                  <a:lnTo>
                    <a:pt x="197" y="184"/>
                  </a:lnTo>
                  <a:lnTo>
                    <a:pt x="198" y="183"/>
                  </a:lnTo>
                  <a:lnTo>
                    <a:pt x="196" y="183"/>
                  </a:lnTo>
                  <a:lnTo>
                    <a:pt x="195" y="182"/>
                  </a:lnTo>
                  <a:lnTo>
                    <a:pt x="198" y="182"/>
                  </a:lnTo>
                  <a:lnTo>
                    <a:pt x="198" y="181"/>
                  </a:lnTo>
                  <a:lnTo>
                    <a:pt x="195" y="181"/>
                  </a:lnTo>
                  <a:lnTo>
                    <a:pt x="194" y="181"/>
                  </a:lnTo>
                  <a:lnTo>
                    <a:pt x="191" y="181"/>
                  </a:lnTo>
                  <a:lnTo>
                    <a:pt x="191" y="179"/>
                  </a:lnTo>
                  <a:lnTo>
                    <a:pt x="190" y="179"/>
                  </a:lnTo>
                  <a:lnTo>
                    <a:pt x="189" y="181"/>
                  </a:lnTo>
                  <a:lnTo>
                    <a:pt x="189" y="179"/>
                  </a:lnTo>
                  <a:lnTo>
                    <a:pt x="190" y="178"/>
                  </a:lnTo>
                  <a:lnTo>
                    <a:pt x="189" y="178"/>
                  </a:lnTo>
                  <a:lnTo>
                    <a:pt x="189" y="177"/>
                  </a:lnTo>
                  <a:lnTo>
                    <a:pt x="188" y="178"/>
                  </a:lnTo>
                  <a:lnTo>
                    <a:pt x="185" y="178"/>
                  </a:lnTo>
                  <a:lnTo>
                    <a:pt x="184" y="178"/>
                  </a:lnTo>
                  <a:lnTo>
                    <a:pt x="188" y="177"/>
                  </a:lnTo>
                  <a:lnTo>
                    <a:pt x="188" y="176"/>
                  </a:lnTo>
                  <a:lnTo>
                    <a:pt x="184" y="176"/>
                  </a:lnTo>
                  <a:lnTo>
                    <a:pt x="183" y="175"/>
                  </a:lnTo>
                  <a:lnTo>
                    <a:pt x="188" y="175"/>
                  </a:lnTo>
                  <a:lnTo>
                    <a:pt x="189" y="175"/>
                  </a:lnTo>
                  <a:lnTo>
                    <a:pt x="190" y="175"/>
                  </a:lnTo>
                  <a:lnTo>
                    <a:pt x="190" y="173"/>
                  </a:lnTo>
                  <a:lnTo>
                    <a:pt x="191" y="172"/>
                  </a:lnTo>
                  <a:lnTo>
                    <a:pt x="191" y="176"/>
                  </a:lnTo>
                  <a:lnTo>
                    <a:pt x="192" y="176"/>
                  </a:lnTo>
                  <a:lnTo>
                    <a:pt x="194" y="176"/>
                  </a:lnTo>
                  <a:lnTo>
                    <a:pt x="194" y="177"/>
                  </a:lnTo>
                  <a:lnTo>
                    <a:pt x="195" y="178"/>
                  </a:lnTo>
                  <a:lnTo>
                    <a:pt x="196" y="178"/>
                  </a:lnTo>
                  <a:lnTo>
                    <a:pt x="197" y="177"/>
                  </a:lnTo>
                  <a:lnTo>
                    <a:pt x="197" y="176"/>
                  </a:lnTo>
                  <a:lnTo>
                    <a:pt x="198" y="176"/>
                  </a:lnTo>
                  <a:lnTo>
                    <a:pt x="198" y="177"/>
                  </a:lnTo>
                  <a:lnTo>
                    <a:pt x="200" y="178"/>
                  </a:lnTo>
                  <a:lnTo>
                    <a:pt x="200" y="179"/>
                  </a:lnTo>
                  <a:lnTo>
                    <a:pt x="200" y="181"/>
                  </a:lnTo>
                  <a:lnTo>
                    <a:pt x="201" y="181"/>
                  </a:lnTo>
                  <a:lnTo>
                    <a:pt x="201" y="182"/>
                  </a:lnTo>
                  <a:lnTo>
                    <a:pt x="202" y="181"/>
                  </a:lnTo>
                  <a:lnTo>
                    <a:pt x="202" y="179"/>
                  </a:lnTo>
                  <a:lnTo>
                    <a:pt x="203" y="178"/>
                  </a:lnTo>
                  <a:lnTo>
                    <a:pt x="204" y="178"/>
                  </a:lnTo>
                  <a:lnTo>
                    <a:pt x="206" y="179"/>
                  </a:lnTo>
                  <a:lnTo>
                    <a:pt x="207" y="178"/>
                  </a:lnTo>
                  <a:lnTo>
                    <a:pt x="207" y="177"/>
                  </a:lnTo>
                  <a:lnTo>
                    <a:pt x="206" y="177"/>
                  </a:lnTo>
                  <a:lnTo>
                    <a:pt x="204" y="177"/>
                  </a:lnTo>
                  <a:lnTo>
                    <a:pt x="203" y="176"/>
                  </a:lnTo>
                  <a:lnTo>
                    <a:pt x="203" y="175"/>
                  </a:lnTo>
                  <a:lnTo>
                    <a:pt x="202" y="175"/>
                  </a:lnTo>
                  <a:lnTo>
                    <a:pt x="201" y="175"/>
                  </a:lnTo>
                  <a:lnTo>
                    <a:pt x="200" y="175"/>
                  </a:lnTo>
                  <a:lnTo>
                    <a:pt x="200" y="173"/>
                  </a:lnTo>
                  <a:lnTo>
                    <a:pt x="200" y="172"/>
                  </a:lnTo>
                  <a:lnTo>
                    <a:pt x="198" y="173"/>
                  </a:lnTo>
                  <a:lnTo>
                    <a:pt x="197" y="173"/>
                  </a:lnTo>
                  <a:lnTo>
                    <a:pt x="198" y="173"/>
                  </a:lnTo>
                  <a:lnTo>
                    <a:pt x="198" y="175"/>
                  </a:lnTo>
                  <a:lnTo>
                    <a:pt x="197" y="175"/>
                  </a:lnTo>
                  <a:lnTo>
                    <a:pt x="196" y="173"/>
                  </a:lnTo>
                  <a:lnTo>
                    <a:pt x="195" y="173"/>
                  </a:lnTo>
                  <a:lnTo>
                    <a:pt x="195" y="175"/>
                  </a:lnTo>
                  <a:lnTo>
                    <a:pt x="195" y="173"/>
                  </a:lnTo>
                  <a:lnTo>
                    <a:pt x="197" y="172"/>
                  </a:lnTo>
                  <a:lnTo>
                    <a:pt x="197" y="171"/>
                  </a:lnTo>
                  <a:lnTo>
                    <a:pt x="195" y="171"/>
                  </a:lnTo>
                  <a:lnTo>
                    <a:pt x="194" y="171"/>
                  </a:lnTo>
                  <a:lnTo>
                    <a:pt x="194" y="170"/>
                  </a:lnTo>
                  <a:lnTo>
                    <a:pt x="192" y="170"/>
                  </a:lnTo>
                  <a:lnTo>
                    <a:pt x="196" y="170"/>
                  </a:lnTo>
                  <a:lnTo>
                    <a:pt x="198" y="171"/>
                  </a:lnTo>
                  <a:lnTo>
                    <a:pt x="202" y="171"/>
                  </a:lnTo>
                  <a:lnTo>
                    <a:pt x="204" y="173"/>
                  </a:lnTo>
                  <a:lnTo>
                    <a:pt x="204" y="175"/>
                  </a:lnTo>
                  <a:lnTo>
                    <a:pt x="206" y="176"/>
                  </a:lnTo>
                  <a:lnTo>
                    <a:pt x="207" y="176"/>
                  </a:lnTo>
                  <a:lnTo>
                    <a:pt x="208" y="175"/>
                  </a:lnTo>
                  <a:lnTo>
                    <a:pt x="208" y="173"/>
                  </a:lnTo>
                  <a:lnTo>
                    <a:pt x="206" y="173"/>
                  </a:lnTo>
                  <a:lnTo>
                    <a:pt x="209" y="173"/>
                  </a:lnTo>
                  <a:lnTo>
                    <a:pt x="209" y="171"/>
                  </a:lnTo>
                  <a:lnTo>
                    <a:pt x="210" y="171"/>
                  </a:lnTo>
                  <a:lnTo>
                    <a:pt x="210" y="173"/>
                  </a:lnTo>
                  <a:lnTo>
                    <a:pt x="210" y="175"/>
                  </a:lnTo>
                  <a:lnTo>
                    <a:pt x="210" y="176"/>
                  </a:lnTo>
                  <a:lnTo>
                    <a:pt x="213" y="178"/>
                  </a:lnTo>
                  <a:lnTo>
                    <a:pt x="214" y="179"/>
                  </a:lnTo>
                  <a:lnTo>
                    <a:pt x="216" y="179"/>
                  </a:lnTo>
                  <a:lnTo>
                    <a:pt x="218" y="179"/>
                  </a:lnTo>
                  <a:lnTo>
                    <a:pt x="219" y="179"/>
                  </a:lnTo>
                  <a:lnTo>
                    <a:pt x="219" y="177"/>
                  </a:lnTo>
                  <a:lnTo>
                    <a:pt x="220" y="178"/>
                  </a:lnTo>
                  <a:lnTo>
                    <a:pt x="221" y="178"/>
                  </a:lnTo>
                  <a:lnTo>
                    <a:pt x="221" y="177"/>
                  </a:lnTo>
                  <a:lnTo>
                    <a:pt x="221" y="176"/>
                  </a:lnTo>
                  <a:lnTo>
                    <a:pt x="223" y="177"/>
                  </a:lnTo>
                  <a:lnTo>
                    <a:pt x="224" y="177"/>
                  </a:lnTo>
                  <a:lnTo>
                    <a:pt x="225" y="176"/>
                  </a:lnTo>
                  <a:lnTo>
                    <a:pt x="226" y="173"/>
                  </a:lnTo>
                  <a:lnTo>
                    <a:pt x="225" y="173"/>
                  </a:lnTo>
                  <a:lnTo>
                    <a:pt x="224" y="173"/>
                  </a:lnTo>
                  <a:lnTo>
                    <a:pt x="223" y="173"/>
                  </a:lnTo>
                  <a:lnTo>
                    <a:pt x="223" y="172"/>
                  </a:lnTo>
                  <a:lnTo>
                    <a:pt x="221" y="171"/>
                  </a:lnTo>
                  <a:lnTo>
                    <a:pt x="220" y="170"/>
                  </a:lnTo>
                  <a:lnTo>
                    <a:pt x="219" y="170"/>
                  </a:lnTo>
                  <a:lnTo>
                    <a:pt x="218" y="170"/>
                  </a:lnTo>
                  <a:lnTo>
                    <a:pt x="216" y="170"/>
                  </a:lnTo>
                  <a:lnTo>
                    <a:pt x="216" y="169"/>
                  </a:lnTo>
                  <a:lnTo>
                    <a:pt x="216" y="167"/>
                  </a:lnTo>
                  <a:lnTo>
                    <a:pt x="215" y="167"/>
                  </a:lnTo>
                  <a:lnTo>
                    <a:pt x="213" y="169"/>
                  </a:lnTo>
                  <a:lnTo>
                    <a:pt x="212" y="169"/>
                  </a:lnTo>
                  <a:lnTo>
                    <a:pt x="212" y="167"/>
                  </a:lnTo>
                  <a:lnTo>
                    <a:pt x="214" y="166"/>
                  </a:lnTo>
                  <a:lnTo>
                    <a:pt x="215" y="166"/>
                  </a:lnTo>
                  <a:lnTo>
                    <a:pt x="215" y="165"/>
                  </a:lnTo>
                  <a:lnTo>
                    <a:pt x="214" y="165"/>
                  </a:lnTo>
                  <a:lnTo>
                    <a:pt x="215" y="165"/>
                  </a:lnTo>
                  <a:lnTo>
                    <a:pt x="216" y="165"/>
                  </a:lnTo>
                  <a:lnTo>
                    <a:pt x="215" y="164"/>
                  </a:lnTo>
                  <a:lnTo>
                    <a:pt x="214" y="161"/>
                  </a:lnTo>
                  <a:lnTo>
                    <a:pt x="215" y="161"/>
                  </a:lnTo>
                  <a:lnTo>
                    <a:pt x="216" y="164"/>
                  </a:lnTo>
                  <a:lnTo>
                    <a:pt x="218" y="164"/>
                  </a:lnTo>
                  <a:lnTo>
                    <a:pt x="220" y="164"/>
                  </a:lnTo>
                  <a:lnTo>
                    <a:pt x="220" y="165"/>
                  </a:lnTo>
                  <a:lnTo>
                    <a:pt x="221" y="165"/>
                  </a:lnTo>
                  <a:lnTo>
                    <a:pt x="221" y="166"/>
                  </a:lnTo>
                  <a:lnTo>
                    <a:pt x="223" y="167"/>
                  </a:lnTo>
                  <a:lnTo>
                    <a:pt x="225" y="167"/>
                  </a:lnTo>
                  <a:lnTo>
                    <a:pt x="226" y="166"/>
                  </a:lnTo>
                  <a:lnTo>
                    <a:pt x="227" y="169"/>
                  </a:lnTo>
                  <a:lnTo>
                    <a:pt x="230" y="169"/>
                  </a:lnTo>
                  <a:lnTo>
                    <a:pt x="230" y="167"/>
                  </a:lnTo>
                  <a:lnTo>
                    <a:pt x="231" y="167"/>
                  </a:lnTo>
                  <a:lnTo>
                    <a:pt x="231" y="170"/>
                  </a:lnTo>
                  <a:lnTo>
                    <a:pt x="232" y="171"/>
                  </a:lnTo>
                  <a:lnTo>
                    <a:pt x="235" y="171"/>
                  </a:lnTo>
                  <a:lnTo>
                    <a:pt x="237" y="170"/>
                  </a:lnTo>
                  <a:lnTo>
                    <a:pt x="238" y="169"/>
                  </a:lnTo>
                  <a:lnTo>
                    <a:pt x="241" y="167"/>
                  </a:lnTo>
                  <a:lnTo>
                    <a:pt x="242" y="165"/>
                  </a:lnTo>
                  <a:lnTo>
                    <a:pt x="242" y="164"/>
                  </a:lnTo>
                  <a:lnTo>
                    <a:pt x="242" y="163"/>
                  </a:lnTo>
                  <a:lnTo>
                    <a:pt x="241" y="163"/>
                  </a:lnTo>
                  <a:lnTo>
                    <a:pt x="243" y="163"/>
                  </a:lnTo>
                  <a:lnTo>
                    <a:pt x="243" y="161"/>
                  </a:lnTo>
                  <a:lnTo>
                    <a:pt x="243" y="160"/>
                  </a:lnTo>
                  <a:lnTo>
                    <a:pt x="241" y="160"/>
                  </a:lnTo>
                  <a:lnTo>
                    <a:pt x="239" y="160"/>
                  </a:lnTo>
                  <a:lnTo>
                    <a:pt x="241" y="160"/>
                  </a:lnTo>
                  <a:lnTo>
                    <a:pt x="241" y="159"/>
                  </a:lnTo>
                  <a:lnTo>
                    <a:pt x="244" y="159"/>
                  </a:lnTo>
                  <a:lnTo>
                    <a:pt x="244" y="158"/>
                  </a:lnTo>
                  <a:lnTo>
                    <a:pt x="244" y="155"/>
                  </a:lnTo>
                  <a:lnTo>
                    <a:pt x="243" y="155"/>
                  </a:lnTo>
                  <a:lnTo>
                    <a:pt x="242" y="155"/>
                  </a:lnTo>
                  <a:lnTo>
                    <a:pt x="242" y="158"/>
                  </a:lnTo>
                  <a:lnTo>
                    <a:pt x="241" y="158"/>
                  </a:lnTo>
                  <a:lnTo>
                    <a:pt x="241" y="157"/>
                  </a:lnTo>
                  <a:lnTo>
                    <a:pt x="239" y="155"/>
                  </a:lnTo>
                  <a:lnTo>
                    <a:pt x="238" y="157"/>
                  </a:lnTo>
                  <a:lnTo>
                    <a:pt x="238" y="155"/>
                  </a:lnTo>
                  <a:lnTo>
                    <a:pt x="238" y="154"/>
                  </a:lnTo>
                  <a:lnTo>
                    <a:pt x="237" y="154"/>
                  </a:lnTo>
                  <a:lnTo>
                    <a:pt x="237" y="155"/>
                  </a:lnTo>
                  <a:lnTo>
                    <a:pt x="237" y="157"/>
                  </a:lnTo>
                  <a:lnTo>
                    <a:pt x="236" y="155"/>
                  </a:lnTo>
                  <a:lnTo>
                    <a:pt x="235" y="154"/>
                  </a:lnTo>
                  <a:lnTo>
                    <a:pt x="235" y="155"/>
                  </a:lnTo>
                  <a:lnTo>
                    <a:pt x="233" y="155"/>
                  </a:lnTo>
                  <a:lnTo>
                    <a:pt x="233" y="154"/>
                  </a:lnTo>
                  <a:lnTo>
                    <a:pt x="232" y="154"/>
                  </a:lnTo>
                  <a:lnTo>
                    <a:pt x="231" y="151"/>
                  </a:lnTo>
                  <a:lnTo>
                    <a:pt x="231" y="152"/>
                  </a:lnTo>
                  <a:lnTo>
                    <a:pt x="231" y="153"/>
                  </a:lnTo>
                  <a:lnTo>
                    <a:pt x="230" y="153"/>
                  </a:lnTo>
                  <a:lnTo>
                    <a:pt x="229" y="153"/>
                  </a:lnTo>
                  <a:lnTo>
                    <a:pt x="229" y="152"/>
                  </a:lnTo>
                  <a:lnTo>
                    <a:pt x="227" y="152"/>
                  </a:lnTo>
                  <a:lnTo>
                    <a:pt x="226" y="151"/>
                  </a:lnTo>
                  <a:lnTo>
                    <a:pt x="225" y="149"/>
                  </a:lnTo>
                  <a:lnTo>
                    <a:pt x="225" y="148"/>
                  </a:lnTo>
                  <a:lnTo>
                    <a:pt x="224" y="147"/>
                  </a:lnTo>
                  <a:lnTo>
                    <a:pt x="223" y="147"/>
                  </a:lnTo>
                  <a:lnTo>
                    <a:pt x="224" y="146"/>
                  </a:lnTo>
                  <a:lnTo>
                    <a:pt x="224" y="145"/>
                  </a:lnTo>
                  <a:lnTo>
                    <a:pt x="221" y="146"/>
                  </a:lnTo>
                  <a:lnTo>
                    <a:pt x="221" y="145"/>
                  </a:lnTo>
                  <a:lnTo>
                    <a:pt x="224" y="143"/>
                  </a:lnTo>
                  <a:lnTo>
                    <a:pt x="224" y="142"/>
                  </a:lnTo>
                  <a:lnTo>
                    <a:pt x="223" y="142"/>
                  </a:lnTo>
                  <a:lnTo>
                    <a:pt x="223" y="143"/>
                  </a:lnTo>
                  <a:lnTo>
                    <a:pt x="221" y="143"/>
                  </a:lnTo>
                  <a:lnTo>
                    <a:pt x="220" y="143"/>
                  </a:lnTo>
                  <a:lnTo>
                    <a:pt x="219" y="143"/>
                  </a:lnTo>
                  <a:lnTo>
                    <a:pt x="219" y="142"/>
                  </a:lnTo>
                  <a:lnTo>
                    <a:pt x="218" y="142"/>
                  </a:lnTo>
                  <a:lnTo>
                    <a:pt x="218" y="143"/>
                  </a:lnTo>
                  <a:lnTo>
                    <a:pt x="216" y="142"/>
                  </a:lnTo>
                  <a:lnTo>
                    <a:pt x="218" y="142"/>
                  </a:lnTo>
                  <a:lnTo>
                    <a:pt x="219" y="141"/>
                  </a:lnTo>
                  <a:lnTo>
                    <a:pt x="220" y="140"/>
                  </a:lnTo>
                  <a:lnTo>
                    <a:pt x="221" y="140"/>
                  </a:lnTo>
                  <a:lnTo>
                    <a:pt x="224" y="139"/>
                  </a:lnTo>
                  <a:lnTo>
                    <a:pt x="220" y="139"/>
                  </a:lnTo>
                  <a:lnTo>
                    <a:pt x="220" y="137"/>
                  </a:lnTo>
                  <a:lnTo>
                    <a:pt x="219" y="137"/>
                  </a:lnTo>
                  <a:lnTo>
                    <a:pt x="216" y="140"/>
                  </a:lnTo>
                  <a:lnTo>
                    <a:pt x="215" y="140"/>
                  </a:lnTo>
                  <a:lnTo>
                    <a:pt x="215" y="139"/>
                  </a:lnTo>
                  <a:lnTo>
                    <a:pt x="218" y="136"/>
                  </a:lnTo>
                  <a:lnTo>
                    <a:pt x="216" y="136"/>
                  </a:lnTo>
                  <a:lnTo>
                    <a:pt x="215" y="136"/>
                  </a:lnTo>
                  <a:lnTo>
                    <a:pt x="212" y="139"/>
                  </a:lnTo>
                  <a:lnTo>
                    <a:pt x="210" y="137"/>
                  </a:lnTo>
                  <a:lnTo>
                    <a:pt x="214" y="135"/>
                  </a:lnTo>
                  <a:lnTo>
                    <a:pt x="212" y="135"/>
                  </a:lnTo>
                  <a:lnTo>
                    <a:pt x="208" y="135"/>
                  </a:lnTo>
                  <a:lnTo>
                    <a:pt x="208" y="136"/>
                  </a:lnTo>
                  <a:lnTo>
                    <a:pt x="207" y="135"/>
                  </a:lnTo>
                  <a:lnTo>
                    <a:pt x="208" y="135"/>
                  </a:lnTo>
                  <a:lnTo>
                    <a:pt x="208" y="134"/>
                  </a:lnTo>
                  <a:lnTo>
                    <a:pt x="207" y="134"/>
                  </a:lnTo>
                  <a:lnTo>
                    <a:pt x="207" y="131"/>
                  </a:lnTo>
                  <a:lnTo>
                    <a:pt x="204" y="131"/>
                  </a:lnTo>
                  <a:lnTo>
                    <a:pt x="203" y="131"/>
                  </a:lnTo>
                  <a:lnTo>
                    <a:pt x="204" y="130"/>
                  </a:lnTo>
                  <a:lnTo>
                    <a:pt x="204" y="129"/>
                  </a:lnTo>
                  <a:lnTo>
                    <a:pt x="203" y="129"/>
                  </a:lnTo>
                  <a:lnTo>
                    <a:pt x="200" y="129"/>
                  </a:lnTo>
                  <a:lnTo>
                    <a:pt x="198" y="130"/>
                  </a:lnTo>
                  <a:lnTo>
                    <a:pt x="197" y="129"/>
                  </a:lnTo>
                  <a:lnTo>
                    <a:pt x="200" y="128"/>
                  </a:lnTo>
                  <a:lnTo>
                    <a:pt x="201" y="128"/>
                  </a:lnTo>
                  <a:lnTo>
                    <a:pt x="200" y="125"/>
                  </a:lnTo>
                  <a:lnTo>
                    <a:pt x="197" y="124"/>
                  </a:lnTo>
                  <a:lnTo>
                    <a:pt x="198" y="124"/>
                  </a:lnTo>
                  <a:lnTo>
                    <a:pt x="200" y="124"/>
                  </a:lnTo>
                  <a:lnTo>
                    <a:pt x="202" y="125"/>
                  </a:lnTo>
                  <a:lnTo>
                    <a:pt x="206" y="127"/>
                  </a:lnTo>
                  <a:lnTo>
                    <a:pt x="207" y="128"/>
                  </a:lnTo>
                  <a:lnTo>
                    <a:pt x="207" y="129"/>
                  </a:lnTo>
                  <a:lnTo>
                    <a:pt x="207" y="130"/>
                  </a:lnTo>
                  <a:lnTo>
                    <a:pt x="208" y="129"/>
                  </a:lnTo>
                  <a:lnTo>
                    <a:pt x="207" y="128"/>
                  </a:lnTo>
                  <a:lnTo>
                    <a:pt x="208" y="128"/>
                  </a:lnTo>
                  <a:lnTo>
                    <a:pt x="209" y="129"/>
                  </a:lnTo>
                  <a:lnTo>
                    <a:pt x="209" y="130"/>
                  </a:lnTo>
                  <a:lnTo>
                    <a:pt x="212" y="130"/>
                  </a:lnTo>
                  <a:lnTo>
                    <a:pt x="212" y="131"/>
                  </a:lnTo>
                  <a:lnTo>
                    <a:pt x="213" y="130"/>
                  </a:lnTo>
                  <a:lnTo>
                    <a:pt x="214" y="129"/>
                  </a:lnTo>
                  <a:lnTo>
                    <a:pt x="214" y="128"/>
                  </a:lnTo>
                  <a:lnTo>
                    <a:pt x="215" y="129"/>
                  </a:lnTo>
                  <a:lnTo>
                    <a:pt x="215" y="131"/>
                  </a:lnTo>
                  <a:lnTo>
                    <a:pt x="215" y="134"/>
                  </a:lnTo>
                  <a:lnTo>
                    <a:pt x="218" y="135"/>
                  </a:lnTo>
                  <a:lnTo>
                    <a:pt x="218" y="133"/>
                  </a:lnTo>
                  <a:lnTo>
                    <a:pt x="219" y="133"/>
                  </a:lnTo>
                  <a:lnTo>
                    <a:pt x="219" y="134"/>
                  </a:lnTo>
                  <a:lnTo>
                    <a:pt x="220" y="134"/>
                  </a:lnTo>
                  <a:lnTo>
                    <a:pt x="220" y="135"/>
                  </a:lnTo>
                  <a:lnTo>
                    <a:pt x="221" y="136"/>
                  </a:lnTo>
                  <a:lnTo>
                    <a:pt x="225" y="136"/>
                  </a:lnTo>
                  <a:lnTo>
                    <a:pt x="226" y="134"/>
                  </a:lnTo>
                  <a:lnTo>
                    <a:pt x="226" y="135"/>
                  </a:lnTo>
                  <a:lnTo>
                    <a:pt x="226" y="136"/>
                  </a:lnTo>
                  <a:lnTo>
                    <a:pt x="233" y="141"/>
                  </a:lnTo>
                  <a:lnTo>
                    <a:pt x="236" y="142"/>
                  </a:lnTo>
                  <a:lnTo>
                    <a:pt x="238" y="142"/>
                  </a:lnTo>
                  <a:lnTo>
                    <a:pt x="239" y="142"/>
                  </a:lnTo>
                  <a:lnTo>
                    <a:pt x="241" y="143"/>
                  </a:lnTo>
                  <a:lnTo>
                    <a:pt x="241" y="145"/>
                  </a:lnTo>
                  <a:lnTo>
                    <a:pt x="242" y="145"/>
                  </a:lnTo>
                  <a:lnTo>
                    <a:pt x="243" y="143"/>
                  </a:lnTo>
                  <a:lnTo>
                    <a:pt x="245" y="143"/>
                  </a:lnTo>
                  <a:lnTo>
                    <a:pt x="245" y="145"/>
                  </a:lnTo>
                  <a:lnTo>
                    <a:pt x="248" y="145"/>
                  </a:lnTo>
                  <a:lnTo>
                    <a:pt x="249" y="143"/>
                  </a:lnTo>
                  <a:lnTo>
                    <a:pt x="251" y="142"/>
                  </a:lnTo>
                  <a:lnTo>
                    <a:pt x="254" y="141"/>
                  </a:lnTo>
                  <a:lnTo>
                    <a:pt x="255" y="141"/>
                  </a:lnTo>
                  <a:lnTo>
                    <a:pt x="256" y="141"/>
                  </a:lnTo>
                  <a:lnTo>
                    <a:pt x="260" y="141"/>
                  </a:lnTo>
                  <a:lnTo>
                    <a:pt x="262" y="141"/>
                  </a:lnTo>
                  <a:lnTo>
                    <a:pt x="262" y="140"/>
                  </a:lnTo>
                  <a:lnTo>
                    <a:pt x="262" y="137"/>
                  </a:lnTo>
                  <a:lnTo>
                    <a:pt x="263" y="136"/>
                  </a:lnTo>
                  <a:lnTo>
                    <a:pt x="262" y="136"/>
                  </a:lnTo>
                  <a:lnTo>
                    <a:pt x="261" y="137"/>
                  </a:lnTo>
                  <a:lnTo>
                    <a:pt x="259" y="139"/>
                  </a:lnTo>
                  <a:lnTo>
                    <a:pt x="257" y="139"/>
                  </a:lnTo>
                  <a:lnTo>
                    <a:pt x="256" y="139"/>
                  </a:lnTo>
                  <a:lnTo>
                    <a:pt x="257" y="137"/>
                  </a:lnTo>
                  <a:lnTo>
                    <a:pt x="260" y="136"/>
                  </a:lnTo>
                  <a:lnTo>
                    <a:pt x="261" y="135"/>
                  </a:lnTo>
                  <a:lnTo>
                    <a:pt x="262" y="135"/>
                  </a:lnTo>
                  <a:lnTo>
                    <a:pt x="262" y="134"/>
                  </a:lnTo>
                  <a:lnTo>
                    <a:pt x="261" y="134"/>
                  </a:lnTo>
                  <a:lnTo>
                    <a:pt x="261" y="133"/>
                  </a:lnTo>
                  <a:lnTo>
                    <a:pt x="262" y="131"/>
                  </a:lnTo>
                  <a:lnTo>
                    <a:pt x="261" y="130"/>
                  </a:lnTo>
                  <a:lnTo>
                    <a:pt x="260" y="130"/>
                  </a:lnTo>
                  <a:lnTo>
                    <a:pt x="259" y="129"/>
                  </a:lnTo>
                  <a:lnTo>
                    <a:pt x="257" y="129"/>
                  </a:lnTo>
                  <a:lnTo>
                    <a:pt x="259" y="129"/>
                  </a:lnTo>
                  <a:lnTo>
                    <a:pt x="261" y="129"/>
                  </a:lnTo>
                  <a:lnTo>
                    <a:pt x="265" y="130"/>
                  </a:lnTo>
                  <a:lnTo>
                    <a:pt x="266" y="130"/>
                  </a:lnTo>
                  <a:lnTo>
                    <a:pt x="271" y="125"/>
                  </a:lnTo>
                  <a:lnTo>
                    <a:pt x="272" y="127"/>
                  </a:lnTo>
                  <a:lnTo>
                    <a:pt x="273" y="125"/>
                  </a:lnTo>
                  <a:lnTo>
                    <a:pt x="273" y="124"/>
                  </a:lnTo>
                  <a:lnTo>
                    <a:pt x="274" y="123"/>
                  </a:lnTo>
                  <a:lnTo>
                    <a:pt x="277" y="123"/>
                  </a:lnTo>
                  <a:lnTo>
                    <a:pt x="277" y="122"/>
                  </a:lnTo>
                  <a:lnTo>
                    <a:pt x="278" y="122"/>
                  </a:lnTo>
                  <a:lnTo>
                    <a:pt x="279" y="120"/>
                  </a:lnTo>
                  <a:lnTo>
                    <a:pt x="279" y="119"/>
                  </a:lnTo>
                  <a:lnTo>
                    <a:pt x="279" y="117"/>
                  </a:lnTo>
                  <a:lnTo>
                    <a:pt x="279" y="116"/>
                  </a:lnTo>
                  <a:lnTo>
                    <a:pt x="278" y="116"/>
                  </a:lnTo>
                  <a:lnTo>
                    <a:pt x="279" y="114"/>
                  </a:lnTo>
                  <a:lnTo>
                    <a:pt x="279" y="113"/>
                  </a:lnTo>
                  <a:lnTo>
                    <a:pt x="277" y="112"/>
                  </a:lnTo>
                  <a:lnTo>
                    <a:pt x="277" y="111"/>
                  </a:lnTo>
                  <a:lnTo>
                    <a:pt x="275" y="112"/>
                  </a:lnTo>
                  <a:lnTo>
                    <a:pt x="275" y="113"/>
                  </a:lnTo>
                  <a:lnTo>
                    <a:pt x="274" y="113"/>
                  </a:lnTo>
                  <a:lnTo>
                    <a:pt x="273" y="114"/>
                  </a:lnTo>
                  <a:lnTo>
                    <a:pt x="272" y="114"/>
                  </a:lnTo>
                  <a:lnTo>
                    <a:pt x="272" y="117"/>
                  </a:lnTo>
                  <a:lnTo>
                    <a:pt x="271" y="116"/>
                  </a:lnTo>
                  <a:lnTo>
                    <a:pt x="271" y="114"/>
                  </a:lnTo>
                  <a:lnTo>
                    <a:pt x="271" y="113"/>
                  </a:lnTo>
                  <a:lnTo>
                    <a:pt x="269" y="113"/>
                  </a:lnTo>
                  <a:lnTo>
                    <a:pt x="267" y="117"/>
                  </a:lnTo>
                  <a:lnTo>
                    <a:pt x="266" y="117"/>
                  </a:lnTo>
                  <a:lnTo>
                    <a:pt x="266" y="116"/>
                  </a:lnTo>
                  <a:lnTo>
                    <a:pt x="269" y="113"/>
                  </a:lnTo>
                  <a:lnTo>
                    <a:pt x="269" y="112"/>
                  </a:lnTo>
                  <a:lnTo>
                    <a:pt x="268" y="112"/>
                  </a:lnTo>
                  <a:lnTo>
                    <a:pt x="267" y="112"/>
                  </a:lnTo>
                  <a:lnTo>
                    <a:pt x="266" y="112"/>
                  </a:lnTo>
                  <a:lnTo>
                    <a:pt x="266" y="113"/>
                  </a:lnTo>
                  <a:lnTo>
                    <a:pt x="265" y="113"/>
                  </a:lnTo>
                  <a:lnTo>
                    <a:pt x="263" y="112"/>
                  </a:lnTo>
                  <a:lnTo>
                    <a:pt x="263" y="111"/>
                  </a:lnTo>
                  <a:lnTo>
                    <a:pt x="263" y="110"/>
                  </a:lnTo>
                  <a:lnTo>
                    <a:pt x="263" y="108"/>
                  </a:lnTo>
                  <a:lnTo>
                    <a:pt x="261" y="108"/>
                  </a:lnTo>
                  <a:lnTo>
                    <a:pt x="262" y="108"/>
                  </a:lnTo>
                  <a:lnTo>
                    <a:pt x="262" y="107"/>
                  </a:lnTo>
                  <a:lnTo>
                    <a:pt x="261" y="107"/>
                  </a:lnTo>
                  <a:lnTo>
                    <a:pt x="261" y="106"/>
                  </a:lnTo>
                  <a:lnTo>
                    <a:pt x="262" y="105"/>
                  </a:lnTo>
                  <a:lnTo>
                    <a:pt x="263" y="105"/>
                  </a:lnTo>
                  <a:lnTo>
                    <a:pt x="263" y="106"/>
                  </a:lnTo>
                  <a:lnTo>
                    <a:pt x="265" y="106"/>
                  </a:lnTo>
                  <a:lnTo>
                    <a:pt x="265" y="105"/>
                  </a:lnTo>
                  <a:lnTo>
                    <a:pt x="263" y="102"/>
                  </a:lnTo>
                  <a:lnTo>
                    <a:pt x="262" y="101"/>
                  </a:lnTo>
                  <a:lnTo>
                    <a:pt x="261" y="100"/>
                  </a:lnTo>
                  <a:lnTo>
                    <a:pt x="260" y="102"/>
                  </a:lnTo>
                  <a:lnTo>
                    <a:pt x="259" y="102"/>
                  </a:lnTo>
                  <a:lnTo>
                    <a:pt x="259" y="101"/>
                  </a:lnTo>
                  <a:lnTo>
                    <a:pt x="260" y="101"/>
                  </a:lnTo>
                  <a:lnTo>
                    <a:pt x="260" y="100"/>
                  </a:lnTo>
                  <a:lnTo>
                    <a:pt x="259" y="100"/>
                  </a:lnTo>
                  <a:lnTo>
                    <a:pt x="259" y="95"/>
                  </a:lnTo>
                  <a:lnTo>
                    <a:pt x="257" y="95"/>
                  </a:lnTo>
                  <a:lnTo>
                    <a:pt x="257" y="96"/>
                  </a:lnTo>
                  <a:lnTo>
                    <a:pt x="256" y="98"/>
                  </a:lnTo>
                  <a:lnTo>
                    <a:pt x="255" y="100"/>
                  </a:lnTo>
                  <a:lnTo>
                    <a:pt x="253" y="99"/>
                  </a:lnTo>
                  <a:lnTo>
                    <a:pt x="254" y="99"/>
                  </a:lnTo>
                  <a:lnTo>
                    <a:pt x="254" y="98"/>
                  </a:lnTo>
                  <a:lnTo>
                    <a:pt x="253" y="96"/>
                  </a:lnTo>
                  <a:lnTo>
                    <a:pt x="254" y="96"/>
                  </a:lnTo>
                  <a:lnTo>
                    <a:pt x="255" y="96"/>
                  </a:lnTo>
                  <a:lnTo>
                    <a:pt x="256" y="95"/>
                  </a:lnTo>
                  <a:lnTo>
                    <a:pt x="255" y="95"/>
                  </a:lnTo>
                  <a:lnTo>
                    <a:pt x="254" y="95"/>
                  </a:lnTo>
                  <a:lnTo>
                    <a:pt x="253" y="94"/>
                  </a:lnTo>
                  <a:lnTo>
                    <a:pt x="256" y="94"/>
                  </a:lnTo>
                  <a:lnTo>
                    <a:pt x="257" y="94"/>
                  </a:lnTo>
                  <a:lnTo>
                    <a:pt x="259" y="93"/>
                  </a:lnTo>
                  <a:lnTo>
                    <a:pt x="256" y="92"/>
                  </a:lnTo>
                  <a:lnTo>
                    <a:pt x="254" y="93"/>
                  </a:lnTo>
                  <a:lnTo>
                    <a:pt x="253" y="92"/>
                  </a:lnTo>
                  <a:lnTo>
                    <a:pt x="255" y="90"/>
                  </a:lnTo>
                  <a:lnTo>
                    <a:pt x="254" y="90"/>
                  </a:lnTo>
                  <a:lnTo>
                    <a:pt x="250" y="92"/>
                  </a:lnTo>
                  <a:lnTo>
                    <a:pt x="249" y="92"/>
                  </a:lnTo>
                  <a:lnTo>
                    <a:pt x="249" y="90"/>
                  </a:lnTo>
                  <a:lnTo>
                    <a:pt x="251" y="89"/>
                  </a:lnTo>
                  <a:lnTo>
                    <a:pt x="251" y="88"/>
                  </a:lnTo>
                  <a:lnTo>
                    <a:pt x="250" y="88"/>
                  </a:lnTo>
                  <a:lnTo>
                    <a:pt x="249" y="88"/>
                  </a:lnTo>
                  <a:lnTo>
                    <a:pt x="250" y="88"/>
                  </a:lnTo>
                  <a:lnTo>
                    <a:pt x="249" y="87"/>
                  </a:lnTo>
                  <a:lnTo>
                    <a:pt x="248" y="88"/>
                  </a:lnTo>
                  <a:lnTo>
                    <a:pt x="245" y="88"/>
                  </a:lnTo>
                  <a:lnTo>
                    <a:pt x="244" y="88"/>
                  </a:lnTo>
                  <a:lnTo>
                    <a:pt x="243" y="89"/>
                  </a:lnTo>
                  <a:lnTo>
                    <a:pt x="242" y="88"/>
                  </a:lnTo>
                  <a:lnTo>
                    <a:pt x="242" y="87"/>
                  </a:lnTo>
                  <a:lnTo>
                    <a:pt x="242" y="86"/>
                  </a:lnTo>
                  <a:lnTo>
                    <a:pt x="243" y="86"/>
                  </a:lnTo>
                  <a:lnTo>
                    <a:pt x="244" y="86"/>
                  </a:lnTo>
                  <a:lnTo>
                    <a:pt x="247" y="86"/>
                  </a:lnTo>
                  <a:lnTo>
                    <a:pt x="247" y="84"/>
                  </a:lnTo>
                  <a:lnTo>
                    <a:pt x="244" y="83"/>
                  </a:lnTo>
                  <a:lnTo>
                    <a:pt x="243" y="84"/>
                  </a:lnTo>
                  <a:lnTo>
                    <a:pt x="242" y="84"/>
                  </a:lnTo>
                  <a:lnTo>
                    <a:pt x="241" y="86"/>
                  </a:lnTo>
                  <a:lnTo>
                    <a:pt x="239" y="84"/>
                  </a:lnTo>
                  <a:lnTo>
                    <a:pt x="241" y="83"/>
                  </a:lnTo>
                  <a:lnTo>
                    <a:pt x="241" y="82"/>
                  </a:lnTo>
                  <a:lnTo>
                    <a:pt x="239" y="83"/>
                  </a:lnTo>
                  <a:lnTo>
                    <a:pt x="237" y="83"/>
                  </a:lnTo>
                  <a:lnTo>
                    <a:pt x="237" y="84"/>
                  </a:lnTo>
                  <a:lnTo>
                    <a:pt x="236" y="83"/>
                  </a:lnTo>
                  <a:lnTo>
                    <a:pt x="237" y="83"/>
                  </a:lnTo>
                  <a:lnTo>
                    <a:pt x="238" y="82"/>
                  </a:lnTo>
                  <a:lnTo>
                    <a:pt x="237" y="81"/>
                  </a:lnTo>
                  <a:lnTo>
                    <a:pt x="236" y="82"/>
                  </a:lnTo>
                  <a:lnTo>
                    <a:pt x="235" y="82"/>
                  </a:lnTo>
                  <a:lnTo>
                    <a:pt x="233" y="82"/>
                  </a:lnTo>
                  <a:lnTo>
                    <a:pt x="232" y="82"/>
                  </a:lnTo>
                  <a:lnTo>
                    <a:pt x="231" y="83"/>
                  </a:lnTo>
                  <a:lnTo>
                    <a:pt x="230" y="82"/>
                  </a:lnTo>
                  <a:lnTo>
                    <a:pt x="232" y="81"/>
                  </a:lnTo>
                  <a:lnTo>
                    <a:pt x="233" y="81"/>
                  </a:lnTo>
                  <a:lnTo>
                    <a:pt x="226" y="76"/>
                  </a:lnTo>
                  <a:lnTo>
                    <a:pt x="225" y="75"/>
                  </a:lnTo>
                  <a:lnTo>
                    <a:pt x="229" y="76"/>
                  </a:lnTo>
                  <a:lnTo>
                    <a:pt x="233" y="78"/>
                  </a:lnTo>
                  <a:lnTo>
                    <a:pt x="235" y="78"/>
                  </a:lnTo>
                  <a:lnTo>
                    <a:pt x="236" y="78"/>
                  </a:lnTo>
                  <a:lnTo>
                    <a:pt x="233" y="77"/>
                  </a:lnTo>
                  <a:lnTo>
                    <a:pt x="233" y="76"/>
                  </a:lnTo>
                  <a:lnTo>
                    <a:pt x="237" y="78"/>
                  </a:lnTo>
                  <a:lnTo>
                    <a:pt x="237" y="80"/>
                  </a:lnTo>
                  <a:lnTo>
                    <a:pt x="238" y="80"/>
                  </a:lnTo>
                  <a:lnTo>
                    <a:pt x="239" y="78"/>
                  </a:lnTo>
                  <a:lnTo>
                    <a:pt x="241" y="80"/>
                  </a:lnTo>
                  <a:lnTo>
                    <a:pt x="241" y="81"/>
                  </a:lnTo>
                  <a:lnTo>
                    <a:pt x="242" y="81"/>
                  </a:lnTo>
                  <a:lnTo>
                    <a:pt x="242" y="80"/>
                  </a:lnTo>
                  <a:lnTo>
                    <a:pt x="243" y="80"/>
                  </a:lnTo>
                  <a:lnTo>
                    <a:pt x="243" y="81"/>
                  </a:lnTo>
                  <a:lnTo>
                    <a:pt x="244" y="82"/>
                  </a:lnTo>
                  <a:lnTo>
                    <a:pt x="244" y="83"/>
                  </a:lnTo>
                  <a:lnTo>
                    <a:pt x="245" y="83"/>
                  </a:lnTo>
                  <a:lnTo>
                    <a:pt x="247" y="83"/>
                  </a:lnTo>
                  <a:lnTo>
                    <a:pt x="248" y="83"/>
                  </a:lnTo>
                  <a:lnTo>
                    <a:pt x="247" y="82"/>
                  </a:lnTo>
                  <a:lnTo>
                    <a:pt x="245" y="82"/>
                  </a:lnTo>
                  <a:lnTo>
                    <a:pt x="245" y="81"/>
                  </a:lnTo>
                  <a:lnTo>
                    <a:pt x="247" y="81"/>
                  </a:lnTo>
                  <a:lnTo>
                    <a:pt x="247" y="80"/>
                  </a:lnTo>
                  <a:lnTo>
                    <a:pt x="248" y="80"/>
                  </a:lnTo>
                  <a:lnTo>
                    <a:pt x="249" y="81"/>
                  </a:lnTo>
                  <a:lnTo>
                    <a:pt x="249" y="82"/>
                  </a:lnTo>
                  <a:lnTo>
                    <a:pt x="250" y="83"/>
                  </a:lnTo>
                  <a:lnTo>
                    <a:pt x="251" y="83"/>
                  </a:lnTo>
                  <a:lnTo>
                    <a:pt x="251" y="84"/>
                  </a:lnTo>
                  <a:lnTo>
                    <a:pt x="253" y="86"/>
                  </a:lnTo>
                  <a:lnTo>
                    <a:pt x="253" y="87"/>
                  </a:lnTo>
                  <a:lnTo>
                    <a:pt x="254" y="88"/>
                  </a:lnTo>
                  <a:lnTo>
                    <a:pt x="255" y="86"/>
                  </a:lnTo>
                  <a:lnTo>
                    <a:pt x="256" y="86"/>
                  </a:lnTo>
                  <a:lnTo>
                    <a:pt x="256" y="87"/>
                  </a:lnTo>
                  <a:lnTo>
                    <a:pt x="255" y="88"/>
                  </a:lnTo>
                  <a:lnTo>
                    <a:pt x="256" y="89"/>
                  </a:lnTo>
                  <a:lnTo>
                    <a:pt x="257" y="89"/>
                  </a:lnTo>
                  <a:lnTo>
                    <a:pt x="257" y="90"/>
                  </a:lnTo>
                  <a:lnTo>
                    <a:pt x="259" y="92"/>
                  </a:lnTo>
                  <a:lnTo>
                    <a:pt x="260" y="92"/>
                  </a:lnTo>
                  <a:lnTo>
                    <a:pt x="261" y="92"/>
                  </a:lnTo>
                  <a:lnTo>
                    <a:pt x="262" y="92"/>
                  </a:lnTo>
                  <a:lnTo>
                    <a:pt x="262" y="89"/>
                  </a:lnTo>
                  <a:lnTo>
                    <a:pt x="261" y="90"/>
                  </a:lnTo>
                  <a:lnTo>
                    <a:pt x="260" y="90"/>
                  </a:lnTo>
                  <a:lnTo>
                    <a:pt x="260" y="89"/>
                  </a:lnTo>
                  <a:lnTo>
                    <a:pt x="261" y="89"/>
                  </a:lnTo>
                  <a:lnTo>
                    <a:pt x="261" y="88"/>
                  </a:lnTo>
                  <a:lnTo>
                    <a:pt x="260" y="87"/>
                  </a:lnTo>
                  <a:lnTo>
                    <a:pt x="261" y="87"/>
                  </a:lnTo>
                  <a:lnTo>
                    <a:pt x="262" y="88"/>
                  </a:lnTo>
                  <a:lnTo>
                    <a:pt x="263" y="89"/>
                  </a:lnTo>
                  <a:lnTo>
                    <a:pt x="263" y="88"/>
                  </a:lnTo>
                  <a:lnTo>
                    <a:pt x="265" y="87"/>
                  </a:lnTo>
                  <a:lnTo>
                    <a:pt x="266" y="87"/>
                  </a:lnTo>
                  <a:lnTo>
                    <a:pt x="266" y="88"/>
                  </a:lnTo>
                  <a:lnTo>
                    <a:pt x="265" y="88"/>
                  </a:lnTo>
                  <a:lnTo>
                    <a:pt x="265" y="89"/>
                  </a:lnTo>
                  <a:lnTo>
                    <a:pt x="266" y="90"/>
                  </a:lnTo>
                  <a:lnTo>
                    <a:pt x="267" y="90"/>
                  </a:lnTo>
                  <a:lnTo>
                    <a:pt x="266" y="90"/>
                  </a:lnTo>
                  <a:lnTo>
                    <a:pt x="265" y="90"/>
                  </a:lnTo>
                  <a:lnTo>
                    <a:pt x="263" y="92"/>
                  </a:lnTo>
                  <a:lnTo>
                    <a:pt x="263" y="93"/>
                  </a:lnTo>
                  <a:lnTo>
                    <a:pt x="262" y="94"/>
                  </a:lnTo>
                  <a:lnTo>
                    <a:pt x="265" y="94"/>
                  </a:lnTo>
                  <a:lnTo>
                    <a:pt x="265" y="95"/>
                  </a:lnTo>
                  <a:lnTo>
                    <a:pt x="267" y="96"/>
                  </a:lnTo>
                  <a:lnTo>
                    <a:pt x="269" y="98"/>
                  </a:lnTo>
                  <a:lnTo>
                    <a:pt x="271" y="99"/>
                  </a:lnTo>
                  <a:lnTo>
                    <a:pt x="273" y="100"/>
                  </a:lnTo>
                  <a:lnTo>
                    <a:pt x="274" y="101"/>
                  </a:lnTo>
                  <a:lnTo>
                    <a:pt x="275" y="101"/>
                  </a:lnTo>
                  <a:lnTo>
                    <a:pt x="278" y="101"/>
                  </a:lnTo>
                  <a:lnTo>
                    <a:pt x="278" y="100"/>
                  </a:lnTo>
                  <a:lnTo>
                    <a:pt x="279" y="98"/>
                  </a:lnTo>
                  <a:lnTo>
                    <a:pt x="280" y="96"/>
                  </a:lnTo>
                  <a:lnTo>
                    <a:pt x="280" y="95"/>
                  </a:lnTo>
                  <a:lnTo>
                    <a:pt x="279" y="95"/>
                  </a:lnTo>
                  <a:lnTo>
                    <a:pt x="279" y="96"/>
                  </a:lnTo>
                  <a:lnTo>
                    <a:pt x="275" y="96"/>
                  </a:lnTo>
                  <a:lnTo>
                    <a:pt x="277" y="95"/>
                  </a:lnTo>
                  <a:lnTo>
                    <a:pt x="278" y="95"/>
                  </a:lnTo>
                  <a:lnTo>
                    <a:pt x="280" y="94"/>
                  </a:lnTo>
                  <a:lnTo>
                    <a:pt x="282" y="94"/>
                  </a:lnTo>
                  <a:lnTo>
                    <a:pt x="282" y="93"/>
                  </a:lnTo>
                  <a:lnTo>
                    <a:pt x="280" y="93"/>
                  </a:lnTo>
                  <a:lnTo>
                    <a:pt x="278" y="93"/>
                  </a:lnTo>
                  <a:lnTo>
                    <a:pt x="277" y="92"/>
                  </a:lnTo>
                  <a:lnTo>
                    <a:pt x="277" y="90"/>
                  </a:lnTo>
                  <a:lnTo>
                    <a:pt x="275" y="89"/>
                  </a:lnTo>
                  <a:lnTo>
                    <a:pt x="277" y="88"/>
                  </a:lnTo>
                  <a:lnTo>
                    <a:pt x="279" y="88"/>
                  </a:lnTo>
                  <a:lnTo>
                    <a:pt x="280" y="88"/>
                  </a:lnTo>
                  <a:lnTo>
                    <a:pt x="283" y="88"/>
                  </a:lnTo>
                  <a:lnTo>
                    <a:pt x="283" y="87"/>
                  </a:lnTo>
                  <a:lnTo>
                    <a:pt x="282" y="86"/>
                  </a:lnTo>
                  <a:lnTo>
                    <a:pt x="280" y="86"/>
                  </a:lnTo>
                  <a:lnTo>
                    <a:pt x="279" y="86"/>
                  </a:lnTo>
                  <a:lnTo>
                    <a:pt x="279" y="84"/>
                  </a:lnTo>
                  <a:lnTo>
                    <a:pt x="279" y="83"/>
                  </a:lnTo>
                  <a:lnTo>
                    <a:pt x="278" y="83"/>
                  </a:lnTo>
                  <a:lnTo>
                    <a:pt x="278" y="84"/>
                  </a:lnTo>
                  <a:lnTo>
                    <a:pt x="275" y="84"/>
                  </a:lnTo>
                  <a:lnTo>
                    <a:pt x="277" y="83"/>
                  </a:lnTo>
                  <a:lnTo>
                    <a:pt x="279" y="83"/>
                  </a:lnTo>
                  <a:lnTo>
                    <a:pt x="279" y="82"/>
                  </a:lnTo>
                  <a:lnTo>
                    <a:pt x="278" y="82"/>
                  </a:lnTo>
                  <a:lnTo>
                    <a:pt x="277" y="81"/>
                  </a:lnTo>
                  <a:lnTo>
                    <a:pt x="277" y="82"/>
                  </a:lnTo>
                  <a:lnTo>
                    <a:pt x="275" y="82"/>
                  </a:lnTo>
                  <a:lnTo>
                    <a:pt x="273" y="82"/>
                  </a:lnTo>
                  <a:lnTo>
                    <a:pt x="272" y="82"/>
                  </a:lnTo>
                  <a:lnTo>
                    <a:pt x="271" y="83"/>
                  </a:lnTo>
                  <a:lnTo>
                    <a:pt x="269" y="84"/>
                  </a:lnTo>
                  <a:lnTo>
                    <a:pt x="269" y="83"/>
                  </a:lnTo>
                  <a:lnTo>
                    <a:pt x="268" y="83"/>
                  </a:lnTo>
                  <a:lnTo>
                    <a:pt x="269" y="82"/>
                  </a:lnTo>
                  <a:lnTo>
                    <a:pt x="272" y="81"/>
                  </a:lnTo>
                  <a:lnTo>
                    <a:pt x="271" y="80"/>
                  </a:lnTo>
                  <a:lnTo>
                    <a:pt x="271" y="81"/>
                  </a:lnTo>
                  <a:lnTo>
                    <a:pt x="269" y="81"/>
                  </a:lnTo>
                  <a:lnTo>
                    <a:pt x="269" y="80"/>
                  </a:lnTo>
                  <a:lnTo>
                    <a:pt x="271" y="78"/>
                  </a:lnTo>
                  <a:lnTo>
                    <a:pt x="271" y="77"/>
                  </a:lnTo>
                  <a:lnTo>
                    <a:pt x="269" y="77"/>
                  </a:lnTo>
                  <a:lnTo>
                    <a:pt x="268" y="77"/>
                  </a:lnTo>
                  <a:lnTo>
                    <a:pt x="268" y="78"/>
                  </a:lnTo>
                  <a:lnTo>
                    <a:pt x="268" y="80"/>
                  </a:lnTo>
                  <a:lnTo>
                    <a:pt x="268" y="81"/>
                  </a:lnTo>
                  <a:lnTo>
                    <a:pt x="267" y="81"/>
                  </a:lnTo>
                  <a:lnTo>
                    <a:pt x="266" y="80"/>
                  </a:lnTo>
                  <a:lnTo>
                    <a:pt x="266" y="78"/>
                  </a:lnTo>
                  <a:lnTo>
                    <a:pt x="265" y="78"/>
                  </a:lnTo>
                  <a:lnTo>
                    <a:pt x="263" y="77"/>
                  </a:lnTo>
                  <a:lnTo>
                    <a:pt x="265" y="77"/>
                  </a:lnTo>
                  <a:lnTo>
                    <a:pt x="267" y="76"/>
                  </a:lnTo>
                  <a:lnTo>
                    <a:pt x="266" y="76"/>
                  </a:lnTo>
                  <a:lnTo>
                    <a:pt x="265" y="76"/>
                  </a:lnTo>
                  <a:lnTo>
                    <a:pt x="265" y="75"/>
                  </a:lnTo>
                  <a:lnTo>
                    <a:pt x="263" y="75"/>
                  </a:lnTo>
                  <a:lnTo>
                    <a:pt x="263" y="74"/>
                  </a:lnTo>
                  <a:lnTo>
                    <a:pt x="261" y="72"/>
                  </a:lnTo>
                  <a:lnTo>
                    <a:pt x="260" y="72"/>
                  </a:lnTo>
                  <a:lnTo>
                    <a:pt x="259" y="72"/>
                  </a:lnTo>
                  <a:lnTo>
                    <a:pt x="257" y="72"/>
                  </a:lnTo>
                  <a:lnTo>
                    <a:pt x="259" y="71"/>
                  </a:lnTo>
                  <a:lnTo>
                    <a:pt x="260" y="70"/>
                  </a:lnTo>
                  <a:lnTo>
                    <a:pt x="261" y="70"/>
                  </a:lnTo>
                  <a:lnTo>
                    <a:pt x="261" y="69"/>
                  </a:lnTo>
                  <a:lnTo>
                    <a:pt x="260" y="69"/>
                  </a:lnTo>
                  <a:lnTo>
                    <a:pt x="259" y="68"/>
                  </a:lnTo>
                  <a:lnTo>
                    <a:pt x="257" y="68"/>
                  </a:lnTo>
                  <a:lnTo>
                    <a:pt x="257" y="69"/>
                  </a:lnTo>
                  <a:lnTo>
                    <a:pt x="254" y="68"/>
                  </a:lnTo>
                  <a:lnTo>
                    <a:pt x="253" y="69"/>
                  </a:lnTo>
                  <a:lnTo>
                    <a:pt x="250" y="69"/>
                  </a:lnTo>
                  <a:lnTo>
                    <a:pt x="249" y="69"/>
                  </a:lnTo>
                  <a:lnTo>
                    <a:pt x="248" y="69"/>
                  </a:lnTo>
                  <a:lnTo>
                    <a:pt x="248" y="68"/>
                  </a:lnTo>
                  <a:lnTo>
                    <a:pt x="249" y="66"/>
                  </a:lnTo>
                  <a:lnTo>
                    <a:pt x="250" y="66"/>
                  </a:lnTo>
                  <a:lnTo>
                    <a:pt x="251" y="66"/>
                  </a:lnTo>
                  <a:lnTo>
                    <a:pt x="253" y="66"/>
                  </a:lnTo>
                  <a:lnTo>
                    <a:pt x="253" y="65"/>
                  </a:lnTo>
                  <a:lnTo>
                    <a:pt x="251" y="65"/>
                  </a:lnTo>
                  <a:lnTo>
                    <a:pt x="250" y="65"/>
                  </a:lnTo>
                  <a:lnTo>
                    <a:pt x="250" y="66"/>
                  </a:lnTo>
                  <a:lnTo>
                    <a:pt x="248" y="68"/>
                  </a:lnTo>
                  <a:lnTo>
                    <a:pt x="247" y="66"/>
                  </a:lnTo>
                  <a:lnTo>
                    <a:pt x="248" y="65"/>
                  </a:lnTo>
                  <a:lnTo>
                    <a:pt x="249" y="65"/>
                  </a:lnTo>
                  <a:lnTo>
                    <a:pt x="250" y="64"/>
                  </a:lnTo>
                  <a:lnTo>
                    <a:pt x="248" y="64"/>
                  </a:lnTo>
                  <a:lnTo>
                    <a:pt x="247" y="64"/>
                  </a:lnTo>
                  <a:lnTo>
                    <a:pt x="245" y="65"/>
                  </a:lnTo>
                  <a:lnTo>
                    <a:pt x="244" y="65"/>
                  </a:lnTo>
                  <a:lnTo>
                    <a:pt x="245" y="64"/>
                  </a:lnTo>
                  <a:lnTo>
                    <a:pt x="245" y="63"/>
                  </a:lnTo>
                  <a:lnTo>
                    <a:pt x="245" y="62"/>
                  </a:lnTo>
                  <a:lnTo>
                    <a:pt x="245" y="63"/>
                  </a:lnTo>
                  <a:lnTo>
                    <a:pt x="244" y="63"/>
                  </a:lnTo>
                  <a:lnTo>
                    <a:pt x="243" y="63"/>
                  </a:lnTo>
                  <a:lnTo>
                    <a:pt x="241" y="64"/>
                  </a:lnTo>
                  <a:lnTo>
                    <a:pt x="239" y="63"/>
                  </a:lnTo>
                  <a:lnTo>
                    <a:pt x="241" y="63"/>
                  </a:lnTo>
                  <a:lnTo>
                    <a:pt x="241" y="62"/>
                  </a:lnTo>
                  <a:lnTo>
                    <a:pt x="242" y="62"/>
                  </a:lnTo>
                  <a:lnTo>
                    <a:pt x="243" y="62"/>
                  </a:lnTo>
                  <a:lnTo>
                    <a:pt x="242" y="60"/>
                  </a:lnTo>
                  <a:lnTo>
                    <a:pt x="237" y="58"/>
                  </a:lnTo>
                  <a:lnTo>
                    <a:pt x="236" y="57"/>
                  </a:lnTo>
                  <a:lnTo>
                    <a:pt x="237" y="57"/>
                  </a:lnTo>
                  <a:lnTo>
                    <a:pt x="239" y="58"/>
                  </a:lnTo>
                  <a:lnTo>
                    <a:pt x="243" y="59"/>
                  </a:lnTo>
                  <a:lnTo>
                    <a:pt x="242" y="58"/>
                  </a:lnTo>
                  <a:lnTo>
                    <a:pt x="241" y="58"/>
                  </a:lnTo>
                  <a:lnTo>
                    <a:pt x="242" y="57"/>
                  </a:lnTo>
                  <a:lnTo>
                    <a:pt x="243" y="57"/>
                  </a:lnTo>
                  <a:lnTo>
                    <a:pt x="244" y="58"/>
                  </a:lnTo>
                  <a:lnTo>
                    <a:pt x="245" y="59"/>
                  </a:lnTo>
                  <a:lnTo>
                    <a:pt x="248" y="60"/>
                  </a:lnTo>
                  <a:lnTo>
                    <a:pt x="249" y="60"/>
                  </a:lnTo>
                  <a:lnTo>
                    <a:pt x="249" y="62"/>
                  </a:lnTo>
                  <a:lnTo>
                    <a:pt x="250" y="62"/>
                  </a:lnTo>
                  <a:lnTo>
                    <a:pt x="250" y="60"/>
                  </a:lnTo>
                  <a:lnTo>
                    <a:pt x="251" y="59"/>
                  </a:lnTo>
                  <a:lnTo>
                    <a:pt x="253" y="60"/>
                  </a:lnTo>
                  <a:lnTo>
                    <a:pt x="253" y="62"/>
                  </a:lnTo>
                  <a:lnTo>
                    <a:pt x="254" y="62"/>
                  </a:lnTo>
                  <a:lnTo>
                    <a:pt x="255" y="63"/>
                  </a:lnTo>
                  <a:lnTo>
                    <a:pt x="256" y="64"/>
                  </a:lnTo>
                  <a:lnTo>
                    <a:pt x="256" y="63"/>
                  </a:lnTo>
                  <a:lnTo>
                    <a:pt x="255" y="62"/>
                  </a:lnTo>
                  <a:lnTo>
                    <a:pt x="255" y="60"/>
                  </a:lnTo>
                  <a:lnTo>
                    <a:pt x="256" y="60"/>
                  </a:lnTo>
                  <a:lnTo>
                    <a:pt x="257" y="60"/>
                  </a:lnTo>
                  <a:lnTo>
                    <a:pt x="259" y="60"/>
                  </a:lnTo>
                  <a:lnTo>
                    <a:pt x="259" y="62"/>
                  </a:lnTo>
                  <a:lnTo>
                    <a:pt x="260" y="63"/>
                  </a:lnTo>
                  <a:lnTo>
                    <a:pt x="260" y="64"/>
                  </a:lnTo>
                  <a:lnTo>
                    <a:pt x="259" y="63"/>
                  </a:lnTo>
                  <a:lnTo>
                    <a:pt x="259" y="64"/>
                  </a:lnTo>
                  <a:lnTo>
                    <a:pt x="260" y="64"/>
                  </a:lnTo>
                  <a:lnTo>
                    <a:pt x="261" y="64"/>
                  </a:lnTo>
                  <a:lnTo>
                    <a:pt x="262" y="65"/>
                  </a:lnTo>
                  <a:lnTo>
                    <a:pt x="263" y="66"/>
                  </a:lnTo>
                  <a:lnTo>
                    <a:pt x="265" y="66"/>
                  </a:lnTo>
                  <a:lnTo>
                    <a:pt x="266" y="68"/>
                  </a:lnTo>
                  <a:lnTo>
                    <a:pt x="267" y="66"/>
                  </a:lnTo>
                  <a:lnTo>
                    <a:pt x="268" y="66"/>
                  </a:lnTo>
                  <a:lnTo>
                    <a:pt x="269" y="68"/>
                  </a:lnTo>
                  <a:lnTo>
                    <a:pt x="271" y="68"/>
                  </a:lnTo>
                  <a:lnTo>
                    <a:pt x="271" y="69"/>
                  </a:lnTo>
                  <a:lnTo>
                    <a:pt x="272" y="70"/>
                  </a:lnTo>
                  <a:lnTo>
                    <a:pt x="273" y="71"/>
                  </a:lnTo>
                  <a:lnTo>
                    <a:pt x="274" y="72"/>
                  </a:lnTo>
                  <a:lnTo>
                    <a:pt x="275" y="72"/>
                  </a:lnTo>
                  <a:lnTo>
                    <a:pt x="277" y="72"/>
                  </a:lnTo>
                  <a:lnTo>
                    <a:pt x="275" y="71"/>
                  </a:lnTo>
                  <a:lnTo>
                    <a:pt x="277" y="71"/>
                  </a:lnTo>
                  <a:lnTo>
                    <a:pt x="277" y="70"/>
                  </a:lnTo>
                  <a:lnTo>
                    <a:pt x="277" y="69"/>
                  </a:lnTo>
                  <a:lnTo>
                    <a:pt x="277" y="68"/>
                  </a:lnTo>
                  <a:lnTo>
                    <a:pt x="272" y="68"/>
                  </a:lnTo>
                  <a:lnTo>
                    <a:pt x="272" y="66"/>
                  </a:lnTo>
                  <a:lnTo>
                    <a:pt x="273" y="66"/>
                  </a:lnTo>
                  <a:lnTo>
                    <a:pt x="271" y="66"/>
                  </a:lnTo>
                  <a:lnTo>
                    <a:pt x="272" y="65"/>
                  </a:lnTo>
                  <a:lnTo>
                    <a:pt x="273" y="65"/>
                  </a:lnTo>
                  <a:lnTo>
                    <a:pt x="277" y="66"/>
                  </a:lnTo>
                  <a:lnTo>
                    <a:pt x="277" y="65"/>
                  </a:lnTo>
                  <a:lnTo>
                    <a:pt x="277" y="64"/>
                  </a:lnTo>
                  <a:lnTo>
                    <a:pt x="278" y="63"/>
                  </a:lnTo>
                  <a:lnTo>
                    <a:pt x="279" y="64"/>
                  </a:lnTo>
                  <a:lnTo>
                    <a:pt x="280" y="64"/>
                  </a:lnTo>
                  <a:lnTo>
                    <a:pt x="283" y="65"/>
                  </a:lnTo>
                  <a:lnTo>
                    <a:pt x="284" y="65"/>
                  </a:lnTo>
                  <a:lnTo>
                    <a:pt x="285" y="65"/>
                  </a:lnTo>
                  <a:lnTo>
                    <a:pt x="286" y="65"/>
                  </a:lnTo>
                  <a:lnTo>
                    <a:pt x="289" y="64"/>
                  </a:lnTo>
                  <a:lnTo>
                    <a:pt x="290" y="64"/>
                  </a:lnTo>
                  <a:lnTo>
                    <a:pt x="289" y="63"/>
                  </a:lnTo>
                  <a:lnTo>
                    <a:pt x="289" y="62"/>
                  </a:lnTo>
                  <a:lnTo>
                    <a:pt x="289" y="60"/>
                  </a:lnTo>
                  <a:lnTo>
                    <a:pt x="290" y="59"/>
                  </a:lnTo>
                  <a:lnTo>
                    <a:pt x="289" y="58"/>
                  </a:lnTo>
                  <a:lnTo>
                    <a:pt x="288" y="59"/>
                  </a:lnTo>
                  <a:lnTo>
                    <a:pt x="286" y="60"/>
                  </a:lnTo>
                  <a:lnTo>
                    <a:pt x="286" y="62"/>
                  </a:lnTo>
                  <a:lnTo>
                    <a:pt x="285" y="62"/>
                  </a:lnTo>
                  <a:lnTo>
                    <a:pt x="284" y="63"/>
                  </a:lnTo>
                  <a:lnTo>
                    <a:pt x="284" y="64"/>
                  </a:lnTo>
                  <a:lnTo>
                    <a:pt x="283" y="64"/>
                  </a:lnTo>
                  <a:lnTo>
                    <a:pt x="283" y="63"/>
                  </a:lnTo>
                  <a:lnTo>
                    <a:pt x="282" y="62"/>
                  </a:lnTo>
                  <a:lnTo>
                    <a:pt x="280" y="63"/>
                  </a:lnTo>
                  <a:lnTo>
                    <a:pt x="279" y="63"/>
                  </a:lnTo>
                  <a:lnTo>
                    <a:pt x="280" y="62"/>
                  </a:lnTo>
                  <a:lnTo>
                    <a:pt x="279" y="60"/>
                  </a:lnTo>
                  <a:lnTo>
                    <a:pt x="278" y="60"/>
                  </a:lnTo>
                  <a:lnTo>
                    <a:pt x="279" y="59"/>
                  </a:lnTo>
                  <a:lnTo>
                    <a:pt x="282" y="59"/>
                  </a:lnTo>
                  <a:lnTo>
                    <a:pt x="283" y="60"/>
                  </a:lnTo>
                  <a:lnTo>
                    <a:pt x="284" y="59"/>
                  </a:lnTo>
                  <a:lnTo>
                    <a:pt x="285" y="58"/>
                  </a:lnTo>
                  <a:lnTo>
                    <a:pt x="286" y="58"/>
                  </a:lnTo>
                  <a:lnTo>
                    <a:pt x="289" y="57"/>
                  </a:lnTo>
                  <a:lnTo>
                    <a:pt x="291" y="56"/>
                  </a:lnTo>
                  <a:lnTo>
                    <a:pt x="294" y="54"/>
                  </a:lnTo>
                  <a:lnTo>
                    <a:pt x="292" y="54"/>
                  </a:lnTo>
                  <a:lnTo>
                    <a:pt x="292" y="53"/>
                  </a:lnTo>
                  <a:lnTo>
                    <a:pt x="294" y="52"/>
                  </a:lnTo>
                  <a:lnTo>
                    <a:pt x="292" y="52"/>
                  </a:lnTo>
                  <a:lnTo>
                    <a:pt x="292" y="51"/>
                  </a:lnTo>
                  <a:lnTo>
                    <a:pt x="291" y="50"/>
                  </a:lnTo>
                  <a:lnTo>
                    <a:pt x="290" y="46"/>
                  </a:lnTo>
                  <a:lnTo>
                    <a:pt x="290" y="45"/>
                  </a:lnTo>
                  <a:lnTo>
                    <a:pt x="289" y="42"/>
                  </a:lnTo>
                  <a:lnTo>
                    <a:pt x="288" y="41"/>
                  </a:lnTo>
                  <a:lnTo>
                    <a:pt x="286" y="41"/>
                  </a:lnTo>
                  <a:lnTo>
                    <a:pt x="288" y="40"/>
                  </a:lnTo>
                  <a:lnTo>
                    <a:pt x="289" y="40"/>
                  </a:lnTo>
                  <a:lnTo>
                    <a:pt x="291" y="40"/>
                  </a:lnTo>
                  <a:lnTo>
                    <a:pt x="290" y="39"/>
                  </a:lnTo>
                  <a:lnTo>
                    <a:pt x="289" y="39"/>
                  </a:lnTo>
                  <a:lnTo>
                    <a:pt x="289" y="38"/>
                  </a:lnTo>
                  <a:lnTo>
                    <a:pt x="288" y="39"/>
                  </a:lnTo>
                  <a:lnTo>
                    <a:pt x="286" y="39"/>
                  </a:lnTo>
                  <a:lnTo>
                    <a:pt x="285" y="39"/>
                  </a:lnTo>
                  <a:lnTo>
                    <a:pt x="285" y="38"/>
                  </a:lnTo>
                  <a:lnTo>
                    <a:pt x="285" y="36"/>
                  </a:lnTo>
                  <a:lnTo>
                    <a:pt x="286" y="36"/>
                  </a:lnTo>
                  <a:lnTo>
                    <a:pt x="285" y="35"/>
                  </a:lnTo>
                  <a:lnTo>
                    <a:pt x="286" y="35"/>
                  </a:lnTo>
                  <a:lnTo>
                    <a:pt x="288" y="35"/>
                  </a:lnTo>
                  <a:lnTo>
                    <a:pt x="290" y="35"/>
                  </a:lnTo>
                  <a:lnTo>
                    <a:pt x="291" y="35"/>
                  </a:lnTo>
                  <a:lnTo>
                    <a:pt x="292" y="35"/>
                  </a:lnTo>
                  <a:lnTo>
                    <a:pt x="294" y="34"/>
                  </a:lnTo>
                  <a:lnTo>
                    <a:pt x="292" y="34"/>
                  </a:lnTo>
                  <a:lnTo>
                    <a:pt x="291" y="33"/>
                  </a:lnTo>
                  <a:lnTo>
                    <a:pt x="289" y="32"/>
                  </a:lnTo>
                  <a:lnTo>
                    <a:pt x="288" y="32"/>
                  </a:lnTo>
                  <a:lnTo>
                    <a:pt x="286" y="33"/>
                  </a:lnTo>
                  <a:lnTo>
                    <a:pt x="285" y="33"/>
                  </a:lnTo>
                  <a:lnTo>
                    <a:pt x="285" y="32"/>
                  </a:lnTo>
                  <a:lnTo>
                    <a:pt x="286" y="32"/>
                  </a:lnTo>
                  <a:lnTo>
                    <a:pt x="285" y="30"/>
                  </a:lnTo>
                  <a:lnTo>
                    <a:pt x="284" y="32"/>
                  </a:lnTo>
                  <a:lnTo>
                    <a:pt x="283" y="32"/>
                  </a:lnTo>
                  <a:lnTo>
                    <a:pt x="283" y="30"/>
                  </a:lnTo>
                  <a:lnTo>
                    <a:pt x="284" y="30"/>
                  </a:lnTo>
                  <a:lnTo>
                    <a:pt x="282" y="30"/>
                  </a:lnTo>
                  <a:lnTo>
                    <a:pt x="280" y="30"/>
                  </a:lnTo>
                  <a:lnTo>
                    <a:pt x="280" y="32"/>
                  </a:lnTo>
                  <a:lnTo>
                    <a:pt x="278" y="32"/>
                  </a:lnTo>
                  <a:lnTo>
                    <a:pt x="278" y="30"/>
                  </a:lnTo>
                  <a:lnTo>
                    <a:pt x="279" y="29"/>
                  </a:lnTo>
                  <a:lnTo>
                    <a:pt x="278" y="29"/>
                  </a:lnTo>
                  <a:lnTo>
                    <a:pt x="275" y="29"/>
                  </a:lnTo>
                  <a:lnTo>
                    <a:pt x="274" y="28"/>
                  </a:lnTo>
                  <a:lnTo>
                    <a:pt x="273" y="28"/>
                  </a:lnTo>
                  <a:lnTo>
                    <a:pt x="273" y="27"/>
                  </a:lnTo>
                  <a:lnTo>
                    <a:pt x="275" y="28"/>
                  </a:lnTo>
                  <a:lnTo>
                    <a:pt x="277" y="28"/>
                  </a:lnTo>
                  <a:lnTo>
                    <a:pt x="275" y="27"/>
                  </a:lnTo>
                  <a:lnTo>
                    <a:pt x="277" y="27"/>
                  </a:lnTo>
                  <a:lnTo>
                    <a:pt x="278" y="27"/>
                  </a:lnTo>
                  <a:lnTo>
                    <a:pt x="280" y="28"/>
                  </a:lnTo>
                  <a:lnTo>
                    <a:pt x="282" y="28"/>
                  </a:lnTo>
                  <a:lnTo>
                    <a:pt x="282" y="27"/>
                  </a:lnTo>
                  <a:lnTo>
                    <a:pt x="282" y="26"/>
                  </a:lnTo>
                  <a:lnTo>
                    <a:pt x="282" y="24"/>
                  </a:lnTo>
                  <a:lnTo>
                    <a:pt x="283" y="26"/>
                  </a:lnTo>
                  <a:lnTo>
                    <a:pt x="283" y="27"/>
                  </a:lnTo>
                  <a:lnTo>
                    <a:pt x="283" y="28"/>
                  </a:lnTo>
                  <a:lnTo>
                    <a:pt x="284" y="28"/>
                  </a:lnTo>
                  <a:lnTo>
                    <a:pt x="285" y="28"/>
                  </a:lnTo>
                  <a:lnTo>
                    <a:pt x="286" y="28"/>
                  </a:lnTo>
                  <a:lnTo>
                    <a:pt x="288" y="29"/>
                  </a:lnTo>
                  <a:lnTo>
                    <a:pt x="288" y="30"/>
                  </a:lnTo>
                  <a:lnTo>
                    <a:pt x="290" y="30"/>
                  </a:lnTo>
                  <a:lnTo>
                    <a:pt x="291" y="30"/>
                  </a:lnTo>
                  <a:lnTo>
                    <a:pt x="291" y="29"/>
                  </a:lnTo>
                  <a:lnTo>
                    <a:pt x="290" y="28"/>
                  </a:lnTo>
                  <a:lnTo>
                    <a:pt x="289" y="29"/>
                  </a:lnTo>
                  <a:lnTo>
                    <a:pt x="288" y="29"/>
                  </a:lnTo>
                  <a:lnTo>
                    <a:pt x="288" y="28"/>
                  </a:lnTo>
                  <a:lnTo>
                    <a:pt x="288" y="27"/>
                  </a:lnTo>
                  <a:lnTo>
                    <a:pt x="288" y="28"/>
                  </a:lnTo>
                  <a:lnTo>
                    <a:pt x="286" y="28"/>
                  </a:lnTo>
                  <a:lnTo>
                    <a:pt x="286" y="27"/>
                  </a:lnTo>
                  <a:lnTo>
                    <a:pt x="288" y="27"/>
                  </a:lnTo>
                  <a:lnTo>
                    <a:pt x="286" y="26"/>
                  </a:lnTo>
                  <a:lnTo>
                    <a:pt x="288" y="26"/>
                  </a:lnTo>
                  <a:lnTo>
                    <a:pt x="289" y="26"/>
                  </a:lnTo>
                  <a:lnTo>
                    <a:pt x="289" y="24"/>
                  </a:lnTo>
                  <a:lnTo>
                    <a:pt x="288" y="24"/>
                  </a:lnTo>
                  <a:lnTo>
                    <a:pt x="288" y="23"/>
                  </a:lnTo>
                  <a:lnTo>
                    <a:pt x="286" y="23"/>
                  </a:lnTo>
                  <a:lnTo>
                    <a:pt x="285" y="23"/>
                  </a:lnTo>
                  <a:lnTo>
                    <a:pt x="282" y="23"/>
                  </a:lnTo>
                  <a:lnTo>
                    <a:pt x="286" y="23"/>
                  </a:lnTo>
                  <a:lnTo>
                    <a:pt x="285" y="22"/>
                  </a:lnTo>
                  <a:lnTo>
                    <a:pt x="284" y="21"/>
                  </a:lnTo>
                  <a:lnTo>
                    <a:pt x="283" y="21"/>
                  </a:lnTo>
                  <a:lnTo>
                    <a:pt x="282" y="21"/>
                  </a:lnTo>
                  <a:lnTo>
                    <a:pt x="282" y="20"/>
                  </a:lnTo>
                  <a:lnTo>
                    <a:pt x="283" y="20"/>
                  </a:lnTo>
                  <a:lnTo>
                    <a:pt x="284" y="20"/>
                  </a:lnTo>
                  <a:lnTo>
                    <a:pt x="285" y="21"/>
                  </a:lnTo>
                  <a:lnTo>
                    <a:pt x="285" y="20"/>
                  </a:lnTo>
                  <a:lnTo>
                    <a:pt x="280" y="16"/>
                  </a:lnTo>
                  <a:lnTo>
                    <a:pt x="279" y="13"/>
                  </a:lnTo>
                  <a:lnTo>
                    <a:pt x="275" y="11"/>
                  </a:lnTo>
                  <a:lnTo>
                    <a:pt x="274" y="10"/>
                  </a:lnTo>
                  <a:lnTo>
                    <a:pt x="274" y="9"/>
                  </a:lnTo>
                  <a:lnTo>
                    <a:pt x="275" y="9"/>
                  </a:lnTo>
                  <a:lnTo>
                    <a:pt x="278" y="10"/>
                  </a:lnTo>
                  <a:lnTo>
                    <a:pt x="279" y="12"/>
                  </a:lnTo>
                  <a:lnTo>
                    <a:pt x="283" y="16"/>
                  </a:lnTo>
                  <a:lnTo>
                    <a:pt x="285" y="17"/>
                  </a:lnTo>
                  <a:lnTo>
                    <a:pt x="286" y="20"/>
                  </a:lnTo>
                  <a:lnTo>
                    <a:pt x="288" y="21"/>
                  </a:lnTo>
                  <a:lnTo>
                    <a:pt x="289" y="22"/>
                  </a:lnTo>
                  <a:lnTo>
                    <a:pt x="290" y="21"/>
                  </a:lnTo>
                  <a:lnTo>
                    <a:pt x="291" y="20"/>
                  </a:lnTo>
                  <a:lnTo>
                    <a:pt x="294" y="17"/>
                  </a:lnTo>
                  <a:lnTo>
                    <a:pt x="295" y="17"/>
                  </a:lnTo>
                  <a:lnTo>
                    <a:pt x="296" y="16"/>
                  </a:lnTo>
                  <a:lnTo>
                    <a:pt x="296" y="18"/>
                  </a:lnTo>
                  <a:lnTo>
                    <a:pt x="295" y="18"/>
                  </a:lnTo>
                  <a:lnTo>
                    <a:pt x="294" y="18"/>
                  </a:lnTo>
                  <a:lnTo>
                    <a:pt x="292" y="18"/>
                  </a:lnTo>
                  <a:lnTo>
                    <a:pt x="292" y="20"/>
                  </a:lnTo>
                  <a:lnTo>
                    <a:pt x="291" y="21"/>
                  </a:lnTo>
                  <a:lnTo>
                    <a:pt x="290" y="22"/>
                  </a:lnTo>
                  <a:lnTo>
                    <a:pt x="290" y="23"/>
                  </a:lnTo>
                  <a:lnTo>
                    <a:pt x="290" y="24"/>
                  </a:lnTo>
                  <a:lnTo>
                    <a:pt x="291" y="24"/>
                  </a:lnTo>
                  <a:lnTo>
                    <a:pt x="292" y="23"/>
                  </a:lnTo>
                  <a:lnTo>
                    <a:pt x="294" y="23"/>
                  </a:lnTo>
                  <a:lnTo>
                    <a:pt x="294" y="24"/>
                  </a:lnTo>
                  <a:lnTo>
                    <a:pt x="292" y="24"/>
                  </a:lnTo>
                  <a:lnTo>
                    <a:pt x="291" y="26"/>
                  </a:lnTo>
                  <a:lnTo>
                    <a:pt x="291" y="27"/>
                  </a:lnTo>
                  <a:lnTo>
                    <a:pt x="292" y="27"/>
                  </a:lnTo>
                  <a:lnTo>
                    <a:pt x="294" y="26"/>
                  </a:lnTo>
                  <a:lnTo>
                    <a:pt x="295" y="26"/>
                  </a:lnTo>
                  <a:lnTo>
                    <a:pt x="295" y="27"/>
                  </a:lnTo>
                  <a:lnTo>
                    <a:pt x="294" y="28"/>
                  </a:lnTo>
                  <a:lnTo>
                    <a:pt x="292" y="29"/>
                  </a:lnTo>
                  <a:lnTo>
                    <a:pt x="292" y="30"/>
                  </a:lnTo>
                  <a:lnTo>
                    <a:pt x="294" y="30"/>
                  </a:lnTo>
                  <a:lnTo>
                    <a:pt x="294" y="29"/>
                  </a:lnTo>
                  <a:lnTo>
                    <a:pt x="295" y="29"/>
                  </a:lnTo>
                  <a:lnTo>
                    <a:pt x="296" y="29"/>
                  </a:lnTo>
                  <a:lnTo>
                    <a:pt x="296" y="28"/>
                  </a:lnTo>
                  <a:lnTo>
                    <a:pt x="297" y="28"/>
                  </a:lnTo>
                  <a:lnTo>
                    <a:pt x="298" y="27"/>
                  </a:lnTo>
                  <a:lnTo>
                    <a:pt x="297" y="26"/>
                  </a:lnTo>
                  <a:lnTo>
                    <a:pt x="296" y="26"/>
                  </a:lnTo>
                  <a:lnTo>
                    <a:pt x="296" y="24"/>
                  </a:lnTo>
                  <a:lnTo>
                    <a:pt x="297" y="23"/>
                  </a:lnTo>
                  <a:lnTo>
                    <a:pt x="297" y="24"/>
                  </a:lnTo>
                  <a:lnTo>
                    <a:pt x="298" y="24"/>
                  </a:lnTo>
                  <a:lnTo>
                    <a:pt x="298" y="22"/>
                  </a:lnTo>
                  <a:lnTo>
                    <a:pt x="297" y="21"/>
                  </a:lnTo>
                  <a:lnTo>
                    <a:pt x="296" y="21"/>
                  </a:lnTo>
                  <a:lnTo>
                    <a:pt x="294" y="21"/>
                  </a:lnTo>
                  <a:lnTo>
                    <a:pt x="292" y="21"/>
                  </a:lnTo>
                  <a:lnTo>
                    <a:pt x="292" y="20"/>
                  </a:lnTo>
                  <a:lnTo>
                    <a:pt x="295" y="20"/>
                  </a:lnTo>
                  <a:lnTo>
                    <a:pt x="297" y="20"/>
                  </a:lnTo>
                  <a:lnTo>
                    <a:pt x="298" y="20"/>
                  </a:lnTo>
                  <a:lnTo>
                    <a:pt x="298" y="18"/>
                  </a:lnTo>
                  <a:lnTo>
                    <a:pt x="300" y="17"/>
                  </a:lnTo>
                  <a:lnTo>
                    <a:pt x="300" y="16"/>
                  </a:lnTo>
                  <a:lnTo>
                    <a:pt x="300" y="13"/>
                  </a:lnTo>
                  <a:lnTo>
                    <a:pt x="300" y="10"/>
                  </a:lnTo>
                  <a:lnTo>
                    <a:pt x="301" y="10"/>
                  </a:lnTo>
                  <a:lnTo>
                    <a:pt x="301" y="11"/>
                  </a:lnTo>
                  <a:lnTo>
                    <a:pt x="301" y="16"/>
                  </a:lnTo>
                  <a:lnTo>
                    <a:pt x="301" y="18"/>
                  </a:lnTo>
                  <a:lnTo>
                    <a:pt x="301" y="22"/>
                  </a:lnTo>
                  <a:lnTo>
                    <a:pt x="301" y="23"/>
                  </a:lnTo>
                  <a:lnTo>
                    <a:pt x="300" y="24"/>
                  </a:lnTo>
                  <a:lnTo>
                    <a:pt x="300" y="26"/>
                  </a:lnTo>
                  <a:lnTo>
                    <a:pt x="301" y="26"/>
                  </a:lnTo>
                  <a:lnTo>
                    <a:pt x="302" y="24"/>
                  </a:lnTo>
                  <a:lnTo>
                    <a:pt x="302" y="26"/>
                  </a:lnTo>
                  <a:lnTo>
                    <a:pt x="303" y="27"/>
                  </a:lnTo>
                  <a:lnTo>
                    <a:pt x="303" y="28"/>
                  </a:lnTo>
                  <a:lnTo>
                    <a:pt x="304" y="28"/>
                  </a:lnTo>
                  <a:lnTo>
                    <a:pt x="306" y="27"/>
                  </a:lnTo>
                  <a:lnTo>
                    <a:pt x="307" y="26"/>
                  </a:lnTo>
                  <a:lnTo>
                    <a:pt x="307" y="24"/>
                  </a:lnTo>
                  <a:lnTo>
                    <a:pt x="306" y="23"/>
                  </a:lnTo>
                  <a:lnTo>
                    <a:pt x="304" y="23"/>
                  </a:lnTo>
                  <a:lnTo>
                    <a:pt x="304" y="22"/>
                  </a:lnTo>
                  <a:lnTo>
                    <a:pt x="306" y="22"/>
                  </a:lnTo>
                  <a:lnTo>
                    <a:pt x="307" y="22"/>
                  </a:lnTo>
                  <a:lnTo>
                    <a:pt x="308" y="23"/>
                  </a:lnTo>
                  <a:lnTo>
                    <a:pt x="307" y="22"/>
                  </a:lnTo>
                  <a:lnTo>
                    <a:pt x="308" y="22"/>
                  </a:lnTo>
                  <a:lnTo>
                    <a:pt x="309" y="21"/>
                  </a:lnTo>
                  <a:lnTo>
                    <a:pt x="308" y="21"/>
                  </a:lnTo>
                  <a:lnTo>
                    <a:pt x="307" y="20"/>
                  </a:lnTo>
                  <a:lnTo>
                    <a:pt x="308" y="18"/>
                  </a:lnTo>
                  <a:lnTo>
                    <a:pt x="309" y="20"/>
                  </a:lnTo>
                  <a:lnTo>
                    <a:pt x="309" y="18"/>
                  </a:lnTo>
                  <a:lnTo>
                    <a:pt x="309" y="17"/>
                  </a:lnTo>
                  <a:lnTo>
                    <a:pt x="307" y="16"/>
                  </a:lnTo>
                  <a:lnTo>
                    <a:pt x="306" y="15"/>
                  </a:lnTo>
                  <a:lnTo>
                    <a:pt x="302" y="12"/>
                  </a:lnTo>
                  <a:lnTo>
                    <a:pt x="302" y="11"/>
                  </a:lnTo>
                  <a:lnTo>
                    <a:pt x="303" y="11"/>
                  </a:lnTo>
                  <a:lnTo>
                    <a:pt x="304" y="12"/>
                  </a:lnTo>
                  <a:lnTo>
                    <a:pt x="308" y="16"/>
                  </a:lnTo>
                  <a:lnTo>
                    <a:pt x="309" y="15"/>
                  </a:lnTo>
                  <a:lnTo>
                    <a:pt x="308" y="15"/>
                  </a:lnTo>
                  <a:lnTo>
                    <a:pt x="308" y="13"/>
                  </a:lnTo>
                  <a:lnTo>
                    <a:pt x="308" y="12"/>
                  </a:lnTo>
                  <a:lnTo>
                    <a:pt x="307" y="11"/>
                  </a:lnTo>
                  <a:lnTo>
                    <a:pt x="307" y="10"/>
                  </a:lnTo>
                  <a:lnTo>
                    <a:pt x="308" y="10"/>
                  </a:lnTo>
                  <a:lnTo>
                    <a:pt x="308" y="11"/>
                  </a:lnTo>
                  <a:lnTo>
                    <a:pt x="309" y="11"/>
                  </a:lnTo>
                  <a:lnTo>
                    <a:pt x="309" y="12"/>
                  </a:lnTo>
                  <a:lnTo>
                    <a:pt x="309" y="10"/>
                  </a:lnTo>
                  <a:lnTo>
                    <a:pt x="309" y="9"/>
                  </a:lnTo>
                  <a:lnTo>
                    <a:pt x="309" y="6"/>
                  </a:lnTo>
                  <a:lnTo>
                    <a:pt x="310" y="6"/>
                  </a:lnTo>
                  <a:lnTo>
                    <a:pt x="310" y="7"/>
                  </a:lnTo>
                  <a:lnTo>
                    <a:pt x="310" y="9"/>
                  </a:lnTo>
                  <a:lnTo>
                    <a:pt x="310" y="12"/>
                  </a:lnTo>
                  <a:lnTo>
                    <a:pt x="310" y="13"/>
                  </a:lnTo>
                  <a:lnTo>
                    <a:pt x="310" y="1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8" name="Freeform 61"/>
            <p:cNvSpPr>
              <a:spLocks/>
            </p:cNvSpPr>
            <p:nvPr userDrawn="1"/>
          </p:nvSpPr>
          <p:spPr bwMode="auto">
            <a:xfrm>
              <a:off x="404813" y="6256338"/>
              <a:ext cx="282575" cy="304800"/>
            </a:xfrm>
            <a:custGeom>
              <a:avLst/>
              <a:gdLst/>
              <a:ahLst/>
              <a:cxnLst>
                <a:cxn ang="0">
                  <a:pos x="102" y="417"/>
                </a:cxn>
                <a:cxn ang="0">
                  <a:pos x="144" y="361"/>
                </a:cxn>
                <a:cxn ang="0">
                  <a:pos x="246" y="330"/>
                </a:cxn>
                <a:cxn ang="0">
                  <a:pos x="243" y="325"/>
                </a:cxn>
                <a:cxn ang="0">
                  <a:pos x="178" y="314"/>
                </a:cxn>
                <a:cxn ang="0">
                  <a:pos x="169" y="275"/>
                </a:cxn>
                <a:cxn ang="0">
                  <a:pos x="195" y="238"/>
                </a:cxn>
                <a:cxn ang="0">
                  <a:pos x="210" y="208"/>
                </a:cxn>
                <a:cxn ang="0">
                  <a:pos x="230" y="149"/>
                </a:cxn>
                <a:cxn ang="0">
                  <a:pos x="281" y="159"/>
                </a:cxn>
                <a:cxn ang="0">
                  <a:pos x="336" y="166"/>
                </a:cxn>
                <a:cxn ang="0">
                  <a:pos x="361" y="169"/>
                </a:cxn>
                <a:cxn ang="0">
                  <a:pos x="401" y="197"/>
                </a:cxn>
                <a:cxn ang="0">
                  <a:pos x="425" y="224"/>
                </a:cxn>
                <a:cxn ang="0">
                  <a:pos x="444" y="203"/>
                </a:cxn>
                <a:cxn ang="0">
                  <a:pos x="403" y="173"/>
                </a:cxn>
                <a:cxn ang="0">
                  <a:pos x="368" y="169"/>
                </a:cxn>
                <a:cxn ang="0">
                  <a:pos x="308" y="123"/>
                </a:cxn>
                <a:cxn ang="0">
                  <a:pos x="325" y="78"/>
                </a:cxn>
                <a:cxn ang="0">
                  <a:pos x="348" y="28"/>
                </a:cxn>
                <a:cxn ang="0">
                  <a:pos x="386" y="17"/>
                </a:cxn>
                <a:cxn ang="0">
                  <a:pos x="434" y="40"/>
                </a:cxn>
                <a:cxn ang="0">
                  <a:pos x="487" y="24"/>
                </a:cxn>
                <a:cxn ang="0">
                  <a:pos x="510" y="40"/>
                </a:cxn>
                <a:cxn ang="0">
                  <a:pos x="543" y="76"/>
                </a:cxn>
                <a:cxn ang="0">
                  <a:pos x="581" y="54"/>
                </a:cxn>
                <a:cxn ang="0">
                  <a:pos x="628" y="70"/>
                </a:cxn>
                <a:cxn ang="0">
                  <a:pos x="622" y="125"/>
                </a:cxn>
                <a:cxn ang="0">
                  <a:pos x="656" y="166"/>
                </a:cxn>
                <a:cxn ang="0">
                  <a:pos x="710" y="209"/>
                </a:cxn>
                <a:cxn ang="0">
                  <a:pos x="729" y="249"/>
                </a:cxn>
                <a:cxn ang="0">
                  <a:pos x="802" y="283"/>
                </a:cxn>
                <a:cxn ang="0">
                  <a:pos x="821" y="389"/>
                </a:cxn>
                <a:cxn ang="0">
                  <a:pos x="750" y="413"/>
                </a:cxn>
                <a:cxn ang="0">
                  <a:pos x="841" y="524"/>
                </a:cxn>
                <a:cxn ang="0">
                  <a:pos x="730" y="457"/>
                </a:cxn>
                <a:cxn ang="0">
                  <a:pos x="694" y="471"/>
                </a:cxn>
                <a:cxn ang="0">
                  <a:pos x="809" y="548"/>
                </a:cxn>
                <a:cxn ang="0">
                  <a:pos x="874" y="660"/>
                </a:cxn>
                <a:cxn ang="0">
                  <a:pos x="786" y="660"/>
                </a:cxn>
                <a:cxn ang="0">
                  <a:pos x="752" y="719"/>
                </a:cxn>
                <a:cxn ang="0">
                  <a:pos x="735" y="737"/>
                </a:cxn>
                <a:cxn ang="0">
                  <a:pos x="684" y="678"/>
                </a:cxn>
                <a:cxn ang="0">
                  <a:pos x="644" y="719"/>
                </a:cxn>
                <a:cxn ang="0">
                  <a:pos x="729" y="806"/>
                </a:cxn>
                <a:cxn ang="0">
                  <a:pos x="633" y="798"/>
                </a:cxn>
                <a:cxn ang="0">
                  <a:pos x="538" y="744"/>
                </a:cxn>
                <a:cxn ang="0">
                  <a:pos x="593" y="795"/>
                </a:cxn>
                <a:cxn ang="0">
                  <a:pos x="373" y="784"/>
                </a:cxn>
                <a:cxn ang="0">
                  <a:pos x="212" y="808"/>
                </a:cxn>
                <a:cxn ang="0">
                  <a:pos x="301" y="771"/>
                </a:cxn>
                <a:cxn ang="0">
                  <a:pos x="403" y="734"/>
                </a:cxn>
                <a:cxn ang="0">
                  <a:pos x="331" y="718"/>
                </a:cxn>
                <a:cxn ang="0">
                  <a:pos x="256" y="737"/>
                </a:cxn>
                <a:cxn ang="0">
                  <a:pos x="196" y="725"/>
                </a:cxn>
                <a:cxn ang="0">
                  <a:pos x="151" y="672"/>
                </a:cxn>
                <a:cxn ang="0">
                  <a:pos x="269" y="619"/>
                </a:cxn>
                <a:cxn ang="0">
                  <a:pos x="244" y="615"/>
                </a:cxn>
                <a:cxn ang="0">
                  <a:pos x="214" y="576"/>
                </a:cxn>
                <a:cxn ang="0">
                  <a:pos x="216" y="554"/>
                </a:cxn>
                <a:cxn ang="0">
                  <a:pos x="127" y="607"/>
                </a:cxn>
                <a:cxn ang="0">
                  <a:pos x="126" y="547"/>
                </a:cxn>
                <a:cxn ang="0">
                  <a:pos x="85" y="508"/>
                </a:cxn>
              </a:cxnLst>
              <a:rect l="0" t="0" r="r" b="b"/>
              <a:pathLst>
                <a:path w="893" h="960">
                  <a:moveTo>
                    <a:pt x="9" y="455"/>
                  </a:moveTo>
                  <a:lnTo>
                    <a:pt x="7" y="452"/>
                  </a:lnTo>
                  <a:lnTo>
                    <a:pt x="9" y="453"/>
                  </a:lnTo>
                  <a:lnTo>
                    <a:pt x="13" y="451"/>
                  </a:lnTo>
                  <a:lnTo>
                    <a:pt x="14" y="453"/>
                  </a:lnTo>
                  <a:lnTo>
                    <a:pt x="16" y="455"/>
                  </a:lnTo>
                  <a:lnTo>
                    <a:pt x="16" y="453"/>
                  </a:lnTo>
                  <a:lnTo>
                    <a:pt x="15" y="452"/>
                  </a:lnTo>
                  <a:lnTo>
                    <a:pt x="15" y="451"/>
                  </a:lnTo>
                  <a:lnTo>
                    <a:pt x="20" y="451"/>
                  </a:lnTo>
                  <a:lnTo>
                    <a:pt x="20" y="453"/>
                  </a:lnTo>
                  <a:lnTo>
                    <a:pt x="21" y="455"/>
                  </a:lnTo>
                  <a:lnTo>
                    <a:pt x="26" y="456"/>
                  </a:lnTo>
                  <a:lnTo>
                    <a:pt x="23" y="453"/>
                  </a:lnTo>
                  <a:lnTo>
                    <a:pt x="21" y="451"/>
                  </a:lnTo>
                  <a:lnTo>
                    <a:pt x="21" y="449"/>
                  </a:lnTo>
                  <a:lnTo>
                    <a:pt x="20" y="446"/>
                  </a:lnTo>
                  <a:lnTo>
                    <a:pt x="23" y="445"/>
                  </a:lnTo>
                  <a:lnTo>
                    <a:pt x="24" y="446"/>
                  </a:lnTo>
                  <a:lnTo>
                    <a:pt x="25" y="447"/>
                  </a:lnTo>
                  <a:lnTo>
                    <a:pt x="27" y="447"/>
                  </a:lnTo>
                  <a:lnTo>
                    <a:pt x="29" y="450"/>
                  </a:lnTo>
                  <a:lnTo>
                    <a:pt x="29" y="451"/>
                  </a:lnTo>
                  <a:lnTo>
                    <a:pt x="29" y="452"/>
                  </a:lnTo>
                  <a:lnTo>
                    <a:pt x="30" y="453"/>
                  </a:lnTo>
                  <a:lnTo>
                    <a:pt x="32" y="453"/>
                  </a:lnTo>
                  <a:lnTo>
                    <a:pt x="33" y="453"/>
                  </a:lnTo>
                  <a:lnTo>
                    <a:pt x="33" y="455"/>
                  </a:lnTo>
                  <a:lnTo>
                    <a:pt x="32" y="455"/>
                  </a:lnTo>
                  <a:lnTo>
                    <a:pt x="33" y="456"/>
                  </a:lnTo>
                  <a:lnTo>
                    <a:pt x="37" y="456"/>
                  </a:lnTo>
                  <a:lnTo>
                    <a:pt x="37" y="451"/>
                  </a:lnTo>
                  <a:lnTo>
                    <a:pt x="38" y="450"/>
                  </a:lnTo>
                  <a:lnTo>
                    <a:pt x="39" y="449"/>
                  </a:lnTo>
                  <a:lnTo>
                    <a:pt x="42" y="451"/>
                  </a:lnTo>
                  <a:lnTo>
                    <a:pt x="42" y="452"/>
                  </a:lnTo>
                  <a:lnTo>
                    <a:pt x="43" y="452"/>
                  </a:lnTo>
                  <a:lnTo>
                    <a:pt x="48" y="452"/>
                  </a:lnTo>
                  <a:lnTo>
                    <a:pt x="47" y="451"/>
                  </a:lnTo>
                  <a:lnTo>
                    <a:pt x="45" y="450"/>
                  </a:lnTo>
                  <a:lnTo>
                    <a:pt x="43" y="449"/>
                  </a:lnTo>
                  <a:lnTo>
                    <a:pt x="43" y="445"/>
                  </a:lnTo>
                  <a:lnTo>
                    <a:pt x="42" y="443"/>
                  </a:lnTo>
                  <a:lnTo>
                    <a:pt x="39" y="439"/>
                  </a:lnTo>
                  <a:lnTo>
                    <a:pt x="39" y="437"/>
                  </a:lnTo>
                  <a:lnTo>
                    <a:pt x="41" y="437"/>
                  </a:lnTo>
                  <a:lnTo>
                    <a:pt x="41" y="435"/>
                  </a:lnTo>
                  <a:lnTo>
                    <a:pt x="43" y="435"/>
                  </a:lnTo>
                  <a:lnTo>
                    <a:pt x="44" y="437"/>
                  </a:lnTo>
                  <a:lnTo>
                    <a:pt x="44" y="438"/>
                  </a:lnTo>
                  <a:lnTo>
                    <a:pt x="45" y="438"/>
                  </a:lnTo>
                  <a:lnTo>
                    <a:pt x="45" y="437"/>
                  </a:lnTo>
                  <a:lnTo>
                    <a:pt x="47" y="438"/>
                  </a:lnTo>
                  <a:lnTo>
                    <a:pt x="48" y="441"/>
                  </a:lnTo>
                  <a:lnTo>
                    <a:pt x="49" y="441"/>
                  </a:lnTo>
                  <a:lnTo>
                    <a:pt x="50" y="441"/>
                  </a:lnTo>
                  <a:lnTo>
                    <a:pt x="51" y="443"/>
                  </a:lnTo>
                  <a:lnTo>
                    <a:pt x="53" y="443"/>
                  </a:lnTo>
                  <a:lnTo>
                    <a:pt x="53" y="445"/>
                  </a:lnTo>
                  <a:lnTo>
                    <a:pt x="54" y="446"/>
                  </a:lnTo>
                  <a:lnTo>
                    <a:pt x="54" y="445"/>
                  </a:lnTo>
                  <a:lnTo>
                    <a:pt x="54" y="444"/>
                  </a:lnTo>
                  <a:lnTo>
                    <a:pt x="54" y="441"/>
                  </a:lnTo>
                  <a:lnTo>
                    <a:pt x="55" y="441"/>
                  </a:lnTo>
                  <a:lnTo>
                    <a:pt x="56" y="441"/>
                  </a:lnTo>
                  <a:lnTo>
                    <a:pt x="60" y="441"/>
                  </a:lnTo>
                  <a:lnTo>
                    <a:pt x="59" y="438"/>
                  </a:lnTo>
                  <a:lnTo>
                    <a:pt x="60" y="438"/>
                  </a:lnTo>
                  <a:lnTo>
                    <a:pt x="61" y="437"/>
                  </a:lnTo>
                  <a:lnTo>
                    <a:pt x="61" y="434"/>
                  </a:lnTo>
                  <a:lnTo>
                    <a:pt x="61" y="433"/>
                  </a:lnTo>
                  <a:lnTo>
                    <a:pt x="63" y="432"/>
                  </a:lnTo>
                  <a:lnTo>
                    <a:pt x="65" y="433"/>
                  </a:lnTo>
                  <a:lnTo>
                    <a:pt x="66" y="434"/>
                  </a:lnTo>
                  <a:lnTo>
                    <a:pt x="67" y="433"/>
                  </a:lnTo>
                  <a:lnTo>
                    <a:pt x="68" y="433"/>
                  </a:lnTo>
                  <a:lnTo>
                    <a:pt x="69" y="432"/>
                  </a:lnTo>
                  <a:lnTo>
                    <a:pt x="69" y="431"/>
                  </a:lnTo>
                  <a:lnTo>
                    <a:pt x="68" y="431"/>
                  </a:lnTo>
                  <a:lnTo>
                    <a:pt x="67" y="429"/>
                  </a:lnTo>
                  <a:lnTo>
                    <a:pt x="68" y="428"/>
                  </a:lnTo>
                  <a:lnTo>
                    <a:pt x="67" y="426"/>
                  </a:lnTo>
                  <a:lnTo>
                    <a:pt x="68" y="425"/>
                  </a:lnTo>
                  <a:lnTo>
                    <a:pt x="69" y="425"/>
                  </a:lnTo>
                  <a:lnTo>
                    <a:pt x="71" y="426"/>
                  </a:lnTo>
                  <a:lnTo>
                    <a:pt x="72" y="427"/>
                  </a:lnTo>
                  <a:lnTo>
                    <a:pt x="72" y="426"/>
                  </a:lnTo>
                  <a:lnTo>
                    <a:pt x="73" y="426"/>
                  </a:lnTo>
                  <a:lnTo>
                    <a:pt x="74" y="426"/>
                  </a:lnTo>
                  <a:lnTo>
                    <a:pt x="74" y="427"/>
                  </a:lnTo>
                  <a:lnTo>
                    <a:pt x="75" y="428"/>
                  </a:lnTo>
                  <a:lnTo>
                    <a:pt x="79" y="428"/>
                  </a:lnTo>
                  <a:lnTo>
                    <a:pt x="79" y="429"/>
                  </a:lnTo>
                  <a:lnTo>
                    <a:pt x="80" y="429"/>
                  </a:lnTo>
                  <a:lnTo>
                    <a:pt x="83" y="429"/>
                  </a:lnTo>
                  <a:lnTo>
                    <a:pt x="83" y="428"/>
                  </a:lnTo>
                  <a:lnTo>
                    <a:pt x="80" y="427"/>
                  </a:lnTo>
                  <a:lnTo>
                    <a:pt x="79" y="427"/>
                  </a:lnTo>
                  <a:lnTo>
                    <a:pt x="79" y="425"/>
                  </a:lnTo>
                  <a:lnTo>
                    <a:pt x="78" y="421"/>
                  </a:lnTo>
                  <a:lnTo>
                    <a:pt x="78" y="420"/>
                  </a:lnTo>
                  <a:lnTo>
                    <a:pt x="79" y="419"/>
                  </a:lnTo>
                  <a:lnTo>
                    <a:pt x="80" y="420"/>
                  </a:lnTo>
                  <a:lnTo>
                    <a:pt x="82" y="422"/>
                  </a:lnTo>
                  <a:lnTo>
                    <a:pt x="83" y="422"/>
                  </a:lnTo>
                  <a:lnTo>
                    <a:pt x="84" y="422"/>
                  </a:lnTo>
                  <a:lnTo>
                    <a:pt x="86" y="423"/>
                  </a:lnTo>
                  <a:lnTo>
                    <a:pt x="89" y="423"/>
                  </a:lnTo>
                  <a:lnTo>
                    <a:pt x="90" y="422"/>
                  </a:lnTo>
                  <a:lnTo>
                    <a:pt x="92" y="421"/>
                  </a:lnTo>
                  <a:lnTo>
                    <a:pt x="92" y="423"/>
                  </a:lnTo>
                  <a:lnTo>
                    <a:pt x="95" y="423"/>
                  </a:lnTo>
                  <a:lnTo>
                    <a:pt x="95" y="425"/>
                  </a:lnTo>
                  <a:lnTo>
                    <a:pt x="98" y="425"/>
                  </a:lnTo>
                  <a:lnTo>
                    <a:pt x="100" y="423"/>
                  </a:lnTo>
                  <a:lnTo>
                    <a:pt x="101" y="423"/>
                  </a:lnTo>
                  <a:lnTo>
                    <a:pt x="102" y="423"/>
                  </a:lnTo>
                  <a:lnTo>
                    <a:pt x="102" y="421"/>
                  </a:lnTo>
                  <a:lnTo>
                    <a:pt x="102" y="420"/>
                  </a:lnTo>
                  <a:lnTo>
                    <a:pt x="102" y="417"/>
                  </a:lnTo>
                  <a:lnTo>
                    <a:pt x="102" y="416"/>
                  </a:lnTo>
                  <a:lnTo>
                    <a:pt x="102" y="415"/>
                  </a:lnTo>
                  <a:lnTo>
                    <a:pt x="103" y="415"/>
                  </a:lnTo>
                  <a:lnTo>
                    <a:pt x="106" y="414"/>
                  </a:lnTo>
                  <a:lnTo>
                    <a:pt x="106" y="415"/>
                  </a:lnTo>
                  <a:lnTo>
                    <a:pt x="107" y="419"/>
                  </a:lnTo>
                  <a:lnTo>
                    <a:pt x="108" y="419"/>
                  </a:lnTo>
                  <a:lnTo>
                    <a:pt x="109" y="420"/>
                  </a:lnTo>
                  <a:lnTo>
                    <a:pt x="112" y="422"/>
                  </a:lnTo>
                  <a:lnTo>
                    <a:pt x="115" y="422"/>
                  </a:lnTo>
                  <a:lnTo>
                    <a:pt x="115" y="421"/>
                  </a:lnTo>
                  <a:lnTo>
                    <a:pt x="114" y="421"/>
                  </a:lnTo>
                  <a:lnTo>
                    <a:pt x="113" y="420"/>
                  </a:lnTo>
                  <a:lnTo>
                    <a:pt x="113" y="417"/>
                  </a:lnTo>
                  <a:lnTo>
                    <a:pt x="112" y="416"/>
                  </a:lnTo>
                  <a:lnTo>
                    <a:pt x="110" y="413"/>
                  </a:lnTo>
                  <a:lnTo>
                    <a:pt x="110" y="410"/>
                  </a:lnTo>
                  <a:lnTo>
                    <a:pt x="109" y="409"/>
                  </a:lnTo>
                  <a:lnTo>
                    <a:pt x="109" y="408"/>
                  </a:lnTo>
                  <a:lnTo>
                    <a:pt x="110" y="407"/>
                  </a:lnTo>
                  <a:lnTo>
                    <a:pt x="113" y="405"/>
                  </a:lnTo>
                  <a:lnTo>
                    <a:pt x="113" y="407"/>
                  </a:lnTo>
                  <a:lnTo>
                    <a:pt x="114" y="407"/>
                  </a:lnTo>
                  <a:lnTo>
                    <a:pt x="116" y="408"/>
                  </a:lnTo>
                  <a:lnTo>
                    <a:pt x="116" y="409"/>
                  </a:lnTo>
                  <a:lnTo>
                    <a:pt x="119" y="411"/>
                  </a:lnTo>
                  <a:lnTo>
                    <a:pt x="120" y="410"/>
                  </a:lnTo>
                  <a:lnTo>
                    <a:pt x="121" y="409"/>
                  </a:lnTo>
                  <a:lnTo>
                    <a:pt x="122" y="409"/>
                  </a:lnTo>
                  <a:lnTo>
                    <a:pt x="122" y="410"/>
                  </a:lnTo>
                  <a:lnTo>
                    <a:pt x="124" y="411"/>
                  </a:lnTo>
                  <a:lnTo>
                    <a:pt x="125" y="410"/>
                  </a:lnTo>
                  <a:lnTo>
                    <a:pt x="127" y="410"/>
                  </a:lnTo>
                  <a:lnTo>
                    <a:pt x="128" y="411"/>
                  </a:lnTo>
                  <a:lnTo>
                    <a:pt x="132" y="411"/>
                  </a:lnTo>
                  <a:lnTo>
                    <a:pt x="134" y="411"/>
                  </a:lnTo>
                  <a:lnTo>
                    <a:pt x="133" y="409"/>
                  </a:lnTo>
                  <a:lnTo>
                    <a:pt x="132" y="408"/>
                  </a:lnTo>
                  <a:lnTo>
                    <a:pt x="132" y="405"/>
                  </a:lnTo>
                  <a:lnTo>
                    <a:pt x="131" y="404"/>
                  </a:lnTo>
                  <a:lnTo>
                    <a:pt x="130" y="403"/>
                  </a:lnTo>
                  <a:lnTo>
                    <a:pt x="127" y="403"/>
                  </a:lnTo>
                  <a:lnTo>
                    <a:pt x="126" y="403"/>
                  </a:lnTo>
                  <a:lnTo>
                    <a:pt x="126" y="402"/>
                  </a:lnTo>
                  <a:lnTo>
                    <a:pt x="127" y="401"/>
                  </a:lnTo>
                  <a:lnTo>
                    <a:pt x="127" y="399"/>
                  </a:lnTo>
                  <a:lnTo>
                    <a:pt x="128" y="397"/>
                  </a:lnTo>
                  <a:lnTo>
                    <a:pt x="127" y="398"/>
                  </a:lnTo>
                  <a:lnTo>
                    <a:pt x="126" y="398"/>
                  </a:lnTo>
                  <a:lnTo>
                    <a:pt x="125" y="399"/>
                  </a:lnTo>
                  <a:lnTo>
                    <a:pt x="122" y="397"/>
                  </a:lnTo>
                  <a:lnTo>
                    <a:pt x="120" y="396"/>
                  </a:lnTo>
                  <a:lnTo>
                    <a:pt x="119" y="395"/>
                  </a:lnTo>
                  <a:lnTo>
                    <a:pt x="116" y="395"/>
                  </a:lnTo>
                  <a:lnTo>
                    <a:pt x="115" y="395"/>
                  </a:lnTo>
                  <a:lnTo>
                    <a:pt x="115" y="393"/>
                  </a:lnTo>
                  <a:lnTo>
                    <a:pt x="114" y="393"/>
                  </a:lnTo>
                  <a:lnTo>
                    <a:pt x="113" y="392"/>
                  </a:lnTo>
                  <a:lnTo>
                    <a:pt x="110" y="391"/>
                  </a:lnTo>
                  <a:lnTo>
                    <a:pt x="110" y="390"/>
                  </a:lnTo>
                  <a:lnTo>
                    <a:pt x="109" y="389"/>
                  </a:lnTo>
                  <a:lnTo>
                    <a:pt x="108" y="387"/>
                  </a:lnTo>
                  <a:lnTo>
                    <a:pt x="109" y="385"/>
                  </a:lnTo>
                  <a:lnTo>
                    <a:pt x="109" y="382"/>
                  </a:lnTo>
                  <a:lnTo>
                    <a:pt x="107" y="379"/>
                  </a:lnTo>
                  <a:lnTo>
                    <a:pt x="106" y="378"/>
                  </a:lnTo>
                  <a:lnTo>
                    <a:pt x="106" y="375"/>
                  </a:lnTo>
                  <a:lnTo>
                    <a:pt x="107" y="375"/>
                  </a:lnTo>
                  <a:lnTo>
                    <a:pt x="107" y="374"/>
                  </a:lnTo>
                  <a:lnTo>
                    <a:pt x="109" y="374"/>
                  </a:lnTo>
                  <a:lnTo>
                    <a:pt x="109" y="375"/>
                  </a:lnTo>
                  <a:lnTo>
                    <a:pt x="110" y="375"/>
                  </a:lnTo>
                  <a:lnTo>
                    <a:pt x="110" y="378"/>
                  </a:lnTo>
                  <a:lnTo>
                    <a:pt x="112" y="376"/>
                  </a:lnTo>
                  <a:lnTo>
                    <a:pt x="113" y="376"/>
                  </a:lnTo>
                  <a:lnTo>
                    <a:pt x="114" y="376"/>
                  </a:lnTo>
                  <a:lnTo>
                    <a:pt x="114" y="375"/>
                  </a:lnTo>
                  <a:lnTo>
                    <a:pt x="113" y="374"/>
                  </a:lnTo>
                  <a:lnTo>
                    <a:pt x="114" y="370"/>
                  </a:lnTo>
                  <a:lnTo>
                    <a:pt x="115" y="370"/>
                  </a:lnTo>
                  <a:lnTo>
                    <a:pt x="116" y="370"/>
                  </a:lnTo>
                  <a:lnTo>
                    <a:pt x="116" y="372"/>
                  </a:lnTo>
                  <a:lnTo>
                    <a:pt x="118" y="373"/>
                  </a:lnTo>
                  <a:lnTo>
                    <a:pt x="120" y="374"/>
                  </a:lnTo>
                  <a:lnTo>
                    <a:pt x="120" y="375"/>
                  </a:lnTo>
                  <a:lnTo>
                    <a:pt x="121" y="376"/>
                  </a:lnTo>
                  <a:lnTo>
                    <a:pt x="122" y="379"/>
                  </a:lnTo>
                  <a:lnTo>
                    <a:pt x="124" y="379"/>
                  </a:lnTo>
                  <a:lnTo>
                    <a:pt x="125" y="379"/>
                  </a:lnTo>
                  <a:lnTo>
                    <a:pt x="126" y="378"/>
                  </a:lnTo>
                  <a:lnTo>
                    <a:pt x="125" y="376"/>
                  </a:lnTo>
                  <a:lnTo>
                    <a:pt x="124" y="375"/>
                  </a:lnTo>
                  <a:lnTo>
                    <a:pt x="124" y="373"/>
                  </a:lnTo>
                  <a:lnTo>
                    <a:pt x="124" y="372"/>
                  </a:lnTo>
                  <a:lnTo>
                    <a:pt x="124" y="370"/>
                  </a:lnTo>
                  <a:lnTo>
                    <a:pt x="126" y="369"/>
                  </a:lnTo>
                  <a:lnTo>
                    <a:pt x="127" y="369"/>
                  </a:lnTo>
                  <a:lnTo>
                    <a:pt x="127" y="372"/>
                  </a:lnTo>
                  <a:lnTo>
                    <a:pt x="127" y="369"/>
                  </a:lnTo>
                  <a:lnTo>
                    <a:pt x="128" y="369"/>
                  </a:lnTo>
                  <a:lnTo>
                    <a:pt x="128" y="370"/>
                  </a:lnTo>
                  <a:lnTo>
                    <a:pt x="131" y="370"/>
                  </a:lnTo>
                  <a:lnTo>
                    <a:pt x="133" y="370"/>
                  </a:lnTo>
                  <a:lnTo>
                    <a:pt x="133" y="372"/>
                  </a:lnTo>
                  <a:lnTo>
                    <a:pt x="134" y="373"/>
                  </a:lnTo>
                  <a:lnTo>
                    <a:pt x="134" y="374"/>
                  </a:lnTo>
                  <a:lnTo>
                    <a:pt x="136" y="375"/>
                  </a:lnTo>
                  <a:lnTo>
                    <a:pt x="138" y="374"/>
                  </a:lnTo>
                  <a:lnTo>
                    <a:pt x="138" y="373"/>
                  </a:lnTo>
                  <a:lnTo>
                    <a:pt x="138" y="370"/>
                  </a:lnTo>
                  <a:lnTo>
                    <a:pt x="139" y="368"/>
                  </a:lnTo>
                  <a:lnTo>
                    <a:pt x="139" y="367"/>
                  </a:lnTo>
                  <a:lnTo>
                    <a:pt x="141" y="366"/>
                  </a:lnTo>
                  <a:lnTo>
                    <a:pt x="144" y="366"/>
                  </a:lnTo>
                  <a:lnTo>
                    <a:pt x="143" y="369"/>
                  </a:lnTo>
                  <a:lnTo>
                    <a:pt x="144" y="370"/>
                  </a:lnTo>
                  <a:lnTo>
                    <a:pt x="147" y="370"/>
                  </a:lnTo>
                  <a:lnTo>
                    <a:pt x="147" y="368"/>
                  </a:lnTo>
                  <a:lnTo>
                    <a:pt x="145" y="366"/>
                  </a:lnTo>
                  <a:lnTo>
                    <a:pt x="144" y="361"/>
                  </a:lnTo>
                  <a:lnTo>
                    <a:pt x="144" y="358"/>
                  </a:lnTo>
                  <a:lnTo>
                    <a:pt x="144" y="357"/>
                  </a:lnTo>
                  <a:lnTo>
                    <a:pt x="145" y="357"/>
                  </a:lnTo>
                  <a:lnTo>
                    <a:pt x="147" y="356"/>
                  </a:lnTo>
                  <a:lnTo>
                    <a:pt x="148" y="357"/>
                  </a:lnTo>
                  <a:lnTo>
                    <a:pt x="150" y="358"/>
                  </a:lnTo>
                  <a:lnTo>
                    <a:pt x="150" y="360"/>
                  </a:lnTo>
                  <a:lnTo>
                    <a:pt x="151" y="358"/>
                  </a:lnTo>
                  <a:lnTo>
                    <a:pt x="151" y="361"/>
                  </a:lnTo>
                  <a:lnTo>
                    <a:pt x="151" y="362"/>
                  </a:lnTo>
                  <a:lnTo>
                    <a:pt x="151" y="363"/>
                  </a:lnTo>
                  <a:lnTo>
                    <a:pt x="153" y="363"/>
                  </a:lnTo>
                  <a:lnTo>
                    <a:pt x="154" y="363"/>
                  </a:lnTo>
                  <a:lnTo>
                    <a:pt x="154" y="362"/>
                  </a:lnTo>
                  <a:lnTo>
                    <a:pt x="155" y="364"/>
                  </a:lnTo>
                  <a:lnTo>
                    <a:pt x="154" y="367"/>
                  </a:lnTo>
                  <a:lnTo>
                    <a:pt x="155" y="367"/>
                  </a:lnTo>
                  <a:lnTo>
                    <a:pt x="156" y="367"/>
                  </a:lnTo>
                  <a:lnTo>
                    <a:pt x="156" y="366"/>
                  </a:lnTo>
                  <a:lnTo>
                    <a:pt x="157" y="366"/>
                  </a:lnTo>
                  <a:lnTo>
                    <a:pt x="159" y="366"/>
                  </a:lnTo>
                  <a:lnTo>
                    <a:pt x="159" y="367"/>
                  </a:lnTo>
                  <a:lnTo>
                    <a:pt x="160" y="368"/>
                  </a:lnTo>
                  <a:lnTo>
                    <a:pt x="163" y="369"/>
                  </a:lnTo>
                  <a:lnTo>
                    <a:pt x="167" y="369"/>
                  </a:lnTo>
                  <a:lnTo>
                    <a:pt x="167" y="372"/>
                  </a:lnTo>
                  <a:lnTo>
                    <a:pt x="168" y="373"/>
                  </a:lnTo>
                  <a:lnTo>
                    <a:pt x="171" y="373"/>
                  </a:lnTo>
                  <a:lnTo>
                    <a:pt x="172" y="372"/>
                  </a:lnTo>
                  <a:lnTo>
                    <a:pt x="169" y="369"/>
                  </a:lnTo>
                  <a:lnTo>
                    <a:pt x="169" y="367"/>
                  </a:lnTo>
                  <a:lnTo>
                    <a:pt x="167" y="366"/>
                  </a:lnTo>
                  <a:lnTo>
                    <a:pt x="167" y="362"/>
                  </a:lnTo>
                  <a:lnTo>
                    <a:pt x="168" y="361"/>
                  </a:lnTo>
                  <a:lnTo>
                    <a:pt x="169" y="360"/>
                  </a:lnTo>
                  <a:lnTo>
                    <a:pt x="171" y="360"/>
                  </a:lnTo>
                  <a:lnTo>
                    <a:pt x="173" y="361"/>
                  </a:lnTo>
                  <a:lnTo>
                    <a:pt x="172" y="361"/>
                  </a:lnTo>
                  <a:lnTo>
                    <a:pt x="172" y="360"/>
                  </a:lnTo>
                  <a:lnTo>
                    <a:pt x="173" y="360"/>
                  </a:lnTo>
                  <a:lnTo>
                    <a:pt x="174" y="358"/>
                  </a:lnTo>
                  <a:lnTo>
                    <a:pt x="174" y="360"/>
                  </a:lnTo>
                  <a:lnTo>
                    <a:pt x="175" y="360"/>
                  </a:lnTo>
                  <a:lnTo>
                    <a:pt x="175" y="358"/>
                  </a:lnTo>
                  <a:lnTo>
                    <a:pt x="178" y="358"/>
                  </a:lnTo>
                  <a:lnTo>
                    <a:pt x="178" y="357"/>
                  </a:lnTo>
                  <a:lnTo>
                    <a:pt x="179" y="356"/>
                  </a:lnTo>
                  <a:lnTo>
                    <a:pt x="184" y="355"/>
                  </a:lnTo>
                  <a:lnTo>
                    <a:pt x="186" y="355"/>
                  </a:lnTo>
                  <a:lnTo>
                    <a:pt x="186" y="356"/>
                  </a:lnTo>
                  <a:lnTo>
                    <a:pt x="187" y="357"/>
                  </a:lnTo>
                  <a:lnTo>
                    <a:pt x="190" y="358"/>
                  </a:lnTo>
                  <a:lnTo>
                    <a:pt x="191" y="360"/>
                  </a:lnTo>
                  <a:lnTo>
                    <a:pt x="192" y="360"/>
                  </a:lnTo>
                  <a:lnTo>
                    <a:pt x="193" y="360"/>
                  </a:lnTo>
                  <a:lnTo>
                    <a:pt x="195" y="357"/>
                  </a:lnTo>
                  <a:lnTo>
                    <a:pt x="196" y="357"/>
                  </a:lnTo>
                  <a:lnTo>
                    <a:pt x="196" y="356"/>
                  </a:lnTo>
                  <a:lnTo>
                    <a:pt x="201" y="356"/>
                  </a:lnTo>
                  <a:lnTo>
                    <a:pt x="201" y="355"/>
                  </a:lnTo>
                  <a:lnTo>
                    <a:pt x="201" y="354"/>
                  </a:lnTo>
                  <a:lnTo>
                    <a:pt x="202" y="354"/>
                  </a:lnTo>
                  <a:lnTo>
                    <a:pt x="203" y="352"/>
                  </a:lnTo>
                  <a:lnTo>
                    <a:pt x="204" y="352"/>
                  </a:lnTo>
                  <a:lnTo>
                    <a:pt x="204" y="354"/>
                  </a:lnTo>
                  <a:lnTo>
                    <a:pt x="204" y="355"/>
                  </a:lnTo>
                  <a:lnTo>
                    <a:pt x="203" y="354"/>
                  </a:lnTo>
                  <a:lnTo>
                    <a:pt x="203" y="355"/>
                  </a:lnTo>
                  <a:lnTo>
                    <a:pt x="204" y="356"/>
                  </a:lnTo>
                  <a:lnTo>
                    <a:pt x="204" y="355"/>
                  </a:lnTo>
                  <a:lnTo>
                    <a:pt x="206" y="354"/>
                  </a:lnTo>
                  <a:lnTo>
                    <a:pt x="208" y="354"/>
                  </a:lnTo>
                  <a:lnTo>
                    <a:pt x="208" y="351"/>
                  </a:lnTo>
                  <a:lnTo>
                    <a:pt x="209" y="350"/>
                  </a:lnTo>
                  <a:lnTo>
                    <a:pt x="208" y="350"/>
                  </a:lnTo>
                  <a:lnTo>
                    <a:pt x="208" y="351"/>
                  </a:lnTo>
                  <a:lnTo>
                    <a:pt x="206" y="351"/>
                  </a:lnTo>
                  <a:lnTo>
                    <a:pt x="207" y="349"/>
                  </a:lnTo>
                  <a:lnTo>
                    <a:pt x="206" y="346"/>
                  </a:lnTo>
                  <a:lnTo>
                    <a:pt x="204" y="345"/>
                  </a:lnTo>
                  <a:lnTo>
                    <a:pt x="206" y="345"/>
                  </a:lnTo>
                  <a:lnTo>
                    <a:pt x="206" y="342"/>
                  </a:lnTo>
                  <a:lnTo>
                    <a:pt x="207" y="339"/>
                  </a:lnTo>
                  <a:lnTo>
                    <a:pt x="208" y="339"/>
                  </a:lnTo>
                  <a:lnTo>
                    <a:pt x="208" y="340"/>
                  </a:lnTo>
                  <a:lnTo>
                    <a:pt x="212" y="339"/>
                  </a:lnTo>
                  <a:lnTo>
                    <a:pt x="213" y="342"/>
                  </a:lnTo>
                  <a:lnTo>
                    <a:pt x="214" y="340"/>
                  </a:lnTo>
                  <a:lnTo>
                    <a:pt x="215" y="342"/>
                  </a:lnTo>
                  <a:lnTo>
                    <a:pt x="216" y="340"/>
                  </a:lnTo>
                  <a:lnTo>
                    <a:pt x="219" y="339"/>
                  </a:lnTo>
                  <a:lnTo>
                    <a:pt x="220" y="337"/>
                  </a:lnTo>
                  <a:lnTo>
                    <a:pt x="222" y="337"/>
                  </a:lnTo>
                  <a:lnTo>
                    <a:pt x="222" y="334"/>
                  </a:lnTo>
                  <a:lnTo>
                    <a:pt x="222" y="333"/>
                  </a:lnTo>
                  <a:lnTo>
                    <a:pt x="224" y="333"/>
                  </a:lnTo>
                  <a:lnTo>
                    <a:pt x="226" y="333"/>
                  </a:lnTo>
                  <a:lnTo>
                    <a:pt x="227" y="332"/>
                  </a:lnTo>
                  <a:lnTo>
                    <a:pt x="226" y="331"/>
                  </a:lnTo>
                  <a:lnTo>
                    <a:pt x="226" y="330"/>
                  </a:lnTo>
                  <a:lnTo>
                    <a:pt x="227" y="330"/>
                  </a:lnTo>
                  <a:lnTo>
                    <a:pt x="227" y="328"/>
                  </a:lnTo>
                  <a:lnTo>
                    <a:pt x="227" y="330"/>
                  </a:lnTo>
                  <a:lnTo>
                    <a:pt x="228" y="330"/>
                  </a:lnTo>
                  <a:lnTo>
                    <a:pt x="230" y="331"/>
                  </a:lnTo>
                  <a:lnTo>
                    <a:pt x="231" y="331"/>
                  </a:lnTo>
                  <a:lnTo>
                    <a:pt x="232" y="333"/>
                  </a:lnTo>
                  <a:lnTo>
                    <a:pt x="233" y="332"/>
                  </a:lnTo>
                  <a:lnTo>
                    <a:pt x="234" y="331"/>
                  </a:lnTo>
                  <a:lnTo>
                    <a:pt x="236" y="331"/>
                  </a:lnTo>
                  <a:lnTo>
                    <a:pt x="237" y="331"/>
                  </a:lnTo>
                  <a:lnTo>
                    <a:pt x="238" y="331"/>
                  </a:lnTo>
                  <a:lnTo>
                    <a:pt x="239" y="331"/>
                  </a:lnTo>
                  <a:lnTo>
                    <a:pt x="240" y="331"/>
                  </a:lnTo>
                  <a:lnTo>
                    <a:pt x="240" y="332"/>
                  </a:lnTo>
                  <a:lnTo>
                    <a:pt x="242" y="332"/>
                  </a:lnTo>
                  <a:lnTo>
                    <a:pt x="244" y="331"/>
                  </a:lnTo>
                  <a:lnTo>
                    <a:pt x="245" y="331"/>
                  </a:lnTo>
                  <a:lnTo>
                    <a:pt x="245" y="330"/>
                  </a:lnTo>
                  <a:lnTo>
                    <a:pt x="246" y="330"/>
                  </a:lnTo>
                  <a:lnTo>
                    <a:pt x="246" y="328"/>
                  </a:lnTo>
                  <a:lnTo>
                    <a:pt x="249" y="328"/>
                  </a:lnTo>
                  <a:lnTo>
                    <a:pt x="249" y="330"/>
                  </a:lnTo>
                  <a:lnTo>
                    <a:pt x="250" y="330"/>
                  </a:lnTo>
                  <a:lnTo>
                    <a:pt x="250" y="331"/>
                  </a:lnTo>
                  <a:lnTo>
                    <a:pt x="250" y="330"/>
                  </a:lnTo>
                  <a:lnTo>
                    <a:pt x="251" y="328"/>
                  </a:lnTo>
                  <a:lnTo>
                    <a:pt x="250" y="327"/>
                  </a:lnTo>
                  <a:lnTo>
                    <a:pt x="251" y="327"/>
                  </a:lnTo>
                  <a:lnTo>
                    <a:pt x="251" y="326"/>
                  </a:lnTo>
                  <a:lnTo>
                    <a:pt x="252" y="326"/>
                  </a:lnTo>
                  <a:lnTo>
                    <a:pt x="255" y="325"/>
                  </a:lnTo>
                  <a:lnTo>
                    <a:pt x="256" y="325"/>
                  </a:lnTo>
                  <a:lnTo>
                    <a:pt x="256" y="326"/>
                  </a:lnTo>
                  <a:lnTo>
                    <a:pt x="257" y="326"/>
                  </a:lnTo>
                  <a:lnTo>
                    <a:pt x="259" y="325"/>
                  </a:lnTo>
                  <a:lnTo>
                    <a:pt x="257" y="324"/>
                  </a:lnTo>
                  <a:lnTo>
                    <a:pt x="256" y="324"/>
                  </a:lnTo>
                  <a:lnTo>
                    <a:pt x="256" y="322"/>
                  </a:lnTo>
                  <a:lnTo>
                    <a:pt x="257" y="322"/>
                  </a:lnTo>
                  <a:lnTo>
                    <a:pt x="256" y="321"/>
                  </a:lnTo>
                  <a:lnTo>
                    <a:pt x="259" y="320"/>
                  </a:lnTo>
                  <a:lnTo>
                    <a:pt x="259" y="321"/>
                  </a:lnTo>
                  <a:lnTo>
                    <a:pt x="260" y="322"/>
                  </a:lnTo>
                  <a:lnTo>
                    <a:pt x="260" y="321"/>
                  </a:lnTo>
                  <a:lnTo>
                    <a:pt x="261" y="321"/>
                  </a:lnTo>
                  <a:lnTo>
                    <a:pt x="260" y="320"/>
                  </a:lnTo>
                  <a:lnTo>
                    <a:pt x="261" y="319"/>
                  </a:lnTo>
                  <a:lnTo>
                    <a:pt x="262" y="319"/>
                  </a:lnTo>
                  <a:lnTo>
                    <a:pt x="261" y="319"/>
                  </a:lnTo>
                  <a:lnTo>
                    <a:pt x="261" y="318"/>
                  </a:lnTo>
                  <a:lnTo>
                    <a:pt x="261" y="316"/>
                  </a:lnTo>
                  <a:lnTo>
                    <a:pt x="261" y="315"/>
                  </a:lnTo>
                  <a:lnTo>
                    <a:pt x="260" y="314"/>
                  </a:lnTo>
                  <a:lnTo>
                    <a:pt x="261" y="314"/>
                  </a:lnTo>
                  <a:lnTo>
                    <a:pt x="261" y="313"/>
                  </a:lnTo>
                  <a:lnTo>
                    <a:pt x="262" y="313"/>
                  </a:lnTo>
                  <a:lnTo>
                    <a:pt x="263" y="313"/>
                  </a:lnTo>
                  <a:lnTo>
                    <a:pt x="262" y="313"/>
                  </a:lnTo>
                  <a:lnTo>
                    <a:pt x="262" y="312"/>
                  </a:lnTo>
                  <a:lnTo>
                    <a:pt x="262" y="310"/>
                  </a:lnTo>
                  <a:lnTo>
                    <a:pt x="265" y="309"/>
                  </a:lnTo>
                  <a:lnTo>
                    <a:pt x="266" y="310"/>
                  </a:lnTo>
                  <a:lnTo>
                    <a:pt x="266" y="309"/>
                  </a:lnTo>
                  <a:lnTo>
                    <a:pt x="267" y="308"/>
                  </a:lnTo>
                  <a:lnTo>
                    <a:pt x="267" y="307"/>
                  </a:lnTo>
                  <a:lnTo>
                    <a:pt x="267" y="306"/>
                  </a:lnTo>
                  <a:lnTo>
                    <a:pt x="268" y="306"/>
                  </a:lnTo>
                  <a:lnTo>
                    <a:pt x="268" y="303"/>
                  </a:lnTo>
                  <a:lnTo>
                    <a:pt x="269" y="303"/>
                  </a:lnTo>
                  <a:lnTo>
                    <a:pt x="271" y="302"/>
                  </a:lnTo>
                  <a:lnTo>
                    <a:pt x="272" y="301"/>
                  </a:lnTo>
                  <a:lnTo>
                    <a:pt x="272" y="300"/>
                  </a:lnTo>
                  <a:lnTo>
                    <a:pt x="271" y="300"/>
                  </a:lnTo>
                  <a:lnTo>
                    <a:pt x="271" y="297"/>
                  </a:lnTo>
                  <a:lnTo>
                    <a:pt x="271" y="295"/>
                  </a:lnTo>
                  <a:lnTo>
                    <a:pt x="272" y="295"/>
                  </a:lnTo>
                  <a:lnTo>
                    <a:pt x="271" y="295"/>
                  </a:lnTo>
                  <a:lnTo>
                    <a:pt x="269" y="295"/>
                  </a:lnTo>
                  <a:lnTo>
                    <a:pt x="268" y="295"/>
                  </a:lnTo>
                  <a:lnTo>
                    <a:pt x="268" y="296"/>
                  </a:lnTo>
                  <a:lnTo>
                    <a:pt x="267" y="295"/>
                  </a:lnTo>
                  <a:lnTo>
                    <a:pt x="265" y="295"/>
                  </a:lnTo>
                  <a:lnTo>
                    <a:pt x="265" y="294"/>
                  </a:lnTo>
                  <a:lnTo>
                    <a:pt x="263" y="294"/>
                  </a:lnTo>
                  <a:lnTo>
                    <a:pt x="263" y="295"/>
                  </a:lnTo>
                  <a:lnTo>
                    <a:pt x="262" y="295"/>
                  </a:lnTo>
                  <a:lnTo>
                    <a:pt x="261" y="295"/>
                  </a:lnTo>
                  <a:lnTo>
                    <a:pt x="261" y="294"/>
                  </a:lnTo>
                  <a:lnTo>
                    <a:pt x="260" y="294"/>
                  </a:lnTo>
                  <a:lnTo>
                    <a:pt x="259" y="294"/>
                  </a:lnTo>
                  <a:lnTo>
                    <a:pt x="257" y="294"/>
                  </a:lnTo>
                  <a:lnTo>
                    <a:pt x="256" y="294"/>
                  </a:lnTo>
                  <a:lnTo>
                    <a:pt x="255" y="295"/>
                  </a:lnTo>
                  <a:lnTo>
                    <a:pt x="254" y="295"/>
                  </a:lnTo>
                  <a:lnTo>
                    <a:pt x="254" y="296"/>
                  </a:lnTo>
                  <a:lnTo>
                    <a:pt x="252" y="296"/>
                  </a:lnTo>
                  <a:lnTo>
                    <a:pt x="251" y="297"/>
                  </a:lnTo>
                  <a:lnTo>
                    <a:pt x="251" y="298"/>
                  </a:lnTo>
                  <a:lnTo>
                    <a:pt x="250" y="298"/>
                  </a:lnTo>
                  <a:lnTo>
                    <a:pt x="250" y="300"/>
                  </a:lnTo>
                  <a:lnTo>
                    <a:pt x="250" y="301"/>
                  </a:lnTo>
                  <a:lnTo>
                    <a:pt x="249" y="301"/>
                  </a:lnTo>
                  <a:lnTo>
                    <a:pt x="250" y="302"/>
                  </a:lnTo>
                  <a:lnTo>
                    <a:pt x="250" y="303"/>
                  </a:lnTo>
                  <a:lnTo>
                    <a:pt x="251" y="303"/>
                  </a:lnTo>
                  <a:lnTo>
                    <a:pt x="251" y="304"/>
                  </a:lnTo>
                  <a:lnTo>
                    <a:pt x="252" y="306"/>
                  </a:lnTo>
                  <a:lnTo>
                    <a:pt x="251" y="307"/>
                  </a:lnTo>
                  <a:lnTo>
                    <a:pt x="250" y="308"/>
                  </a:lnTo>
                  <a:lnTo>
                    <a:pt x="250" y="309"/>
                  </a:lnTo>
                  <a:lnTo>
                    <a:pt x="249" y="309"/>
                  </a:lnTo>
                  <a:lnTo>
                    <a:pt x="249" y="310"/>
                  </a:lnTo>
                  <a:lnTo>
                    <a:pt x="248" y="312"/>
                  </a:lnTo>
                  <a:lnTo>
                    <a:pt x="246" y="312"/>
                  </a:lnTo>
                  <a:lnTo>
                    <a:pt x="246" y="313"/>
                  </a:lnTo>
                  <a:lnTo>
                    <a:pt x="245" y="313"/>
                  </a:lnTo>
                  <a:lnTo>
                    <a:pt x="244" y="314"/>
                  </a:lnTo>
                  <a:lnTo>
                    <a:pt x="243" y="315"/>
                  </a:lnTo>
                  <a:lnTo>
                    <a:pt x="243" y="316"/>
                  </a:lnTo>
                  <a:lnTo>
                    <a:pt x="244" y="316"/>
                  </a:lnTo>
                  <a:lnTo>
                    <a:pt x="245" y="316"/>
                  </a:lnTo>
                  <a:lnTo>
                    <a:pt x="245" y="315"/>
                  </a:lnTo>
                  <a:lnTo>
                    <a:pt x="246" y="315"/>
                  </a:lnTo>
                  <a:lnTo>
                    <a:pt x="248" y="315"/>
                  </a:lnTo>
                  <a:lnTo>
                    <a:pt x="248" y="316"/>
                  </a:lnTo>
                  <a:lnTo>
                    <a:pt x="249" y="316"/>
                  </a:lnTo>
                  <a:lnTo>
                    <a:pt x="250" y="316"/>
                  </a:lnTo>
                  <a:lnTo>
                    <a:pt x="251" y="316"/>
                  </a:lnTo>
                  <a:lnTo>
                    <a:pt x="252" y="319"/>
                  </a:lnTo>
                  <a:lnTo>
                    <a:pt x="251" y="319"/>
                  </a:lnTo>
                  <a:lnTo>
                    <a:pt x="250" y="319"/>
                  </a:lnTo>
                  <a:lnTo>
                    <a:pt x="250" y="320"/>
                  </a:lnTo>
                  <a:lnTo>
                    <a:pt x="249" y="320"/>
                  </a:lnTo>
                  <a:lnTo>
                    <a:pt x="249" y="322"/>
                  </a:lnTo>
                  <a:lnTo>
                    <a:pt x="248" y="322"/>
                  </a:lnTo>
                  <a:lnTo>
                    <a:pt x="246" y="324"/>
                  </a:lnTo>
                  <a:lnTo>
                    <a:pt x="245" y="325"/>
                  </a:lnTo>
                  <a:lnTo>
                    <a:pt x="244" y="325"/>
                  </a:lnTo>
                  <a:lnTo>
                    <a:pt x="243" y="325"/>
                  </a:lnTo>
                  <a:lnTo>
                    <a:pt x="243" y="324"/>
                  </a:lnTo>
                  <a:lnTo>
                    <a:pt x="242" y="324"/>
                  </a:lnTo>
                  <a:lnTo>
                    <a:pt x="242" y="325"/>
                  </a:lnTo>
                  <a:lnTo>
                    <a:pt x="242" y="326"/>
                  </a:lnTo>
                  <a:lnTo>
                    <a:pt x="240" y="325"/>
                  </a:lnTo>
                  <a:lnTo>
                    <a:pt x="240" y="326"/>
                  </a:lnTo>
                  <a:lnTo>
                    <a:pt x="239" y="325"/>
                  </a:lnTo>
                  <a:lnTo>
                    <a:pt x="238" y="325"/>
                  </a:lnTo>
                  <a:lnTo>
                    <a:pt x="238" y="326"/>
                  </a:lnTo>
                  <a:lnTo>
                    <a:pt x="237" y="326"/>
                  </a:lnTo>
                  <a:lnTo>
                    <a:pt x="236" y="326"/>
                  </a:lnTo>
                  <a:lnTo>
                    <a:pt x="237" y="324"/>
                  </a:lnTo>
                  <a:lnTo>
                    <a:pt x="236" y="324"/>
                  </a:lnTo>
                  <a:lnTo>
                    <a:pt x="234" y="322"/>
                  </a:lnTo>
                  <a:lnTo>
                    <a:pt x="232" y="324"/>
                  </a:lnTo>
                  <a:lnTo>
                    <a:pt x="230" y="324"/>
                  </a:lnTo>
                  <a:lnTo>
                    <a:pt x="230" y="322"/>
                  </a:lnTo>
                  <a:lnTo>
                    <a:pt x="228" y="322"/>
                  </a:lnTo>
                  <a:lnTo>
                    <a:pt x="228" y="324"/>
                  </a:lnTo>
                  <a:lnTo>
                    <a:pt x="227" y="324"/>
                  </a:lnTo>
                  <a:lnTo>
                    <a:pt x="227" y="322"/>
                  </a:lnTo>
                  <a:lnTo>
                    <a:pt x="226" y="322"/>
                  </a:lnTo>
                  <a:lnTo>
                    <a:pt x="225" y="322"/>
                  </a:lnTo>
                  <a:lnTo>
                    <a:pt x="225" y="321"/>
                  </a:lnTo>
                  <a:lnTo>
                    <a:pt x="225" y="320"/>
                  </a:lnTo>
                  <a:lnTo>
                    <a:pt x="228" y="319"/>
                  </a:lnTo>
                  <a:lnTo>
                    <a:pt x="228" y="318"/>
                  </a:lnTo>
                  <a:lnTo>
                    <a:pt x="227" y="315"/>
                  </a:lnTo>
                  <a:lnTo>
                    <a:pt x="230" y="315"/>
                  </a:lnTo>
                  <a:lnTo>
                    <a:pt x="230" y="314"/>
                  </a:lnTo>
                  <a:lnTo>
                    <a:pt x="232" y="314"/>
                  </a:lnTo>
                  <a:lnTo>
                    <a:pt x="231" y="313"/>
                  </a:lnTo>
                  <a:lnTo>
                    <a:pt x="231" y="312"/>
                  </a:lnTo>
                  <a:lnTo>
                    <a:pt x="231" y="310"/>
                  </a:lnTo>
                  <a:lnTo>
                    <a:pt x="230" y="310"/>
                  </a:lnTo>
                  <a:lnTo>
                    <a:pt x="228" y="309"/>
                  </a:lnTo>
                  <a:lnTo>
                    <a:pt x="228" y="308"/>
                  </a:lnTo>
                  <a:lnTo>
                    <a:pt x="228" y="307"/>
                  </a:lnTo>
                  <a:lnTo>
                    <a:pt x="230" y="307"/>
                  </a:lnTo>
                  <a:lnTo>
                    <a:pt x="230" y="306"/>
                  </a:lnTo>
                  <a:lnTo>
                    <a:pt x="230" y="304"/>
                  </a:lnTo>
                  <a:lnTo>
                    <a:pt x="230" y="306"/>
                  </a:lnTo>
                  <a:lnTo>
                    <a:pt x="231" y="306"/>
                  </a:lnTo>
                  <a:lnTo>
                    <a:pt x="232" y="304"/>
                  </a:lnTo>
                  <a:lnTo>
                    <a:pt x="232" y="306"/>
                  </a:lnTo>
                  <a:lnTo>
                    <a:pt x="233" y="306"/>
                  </a:lnTo>
                  <a:lnTo>
                    <a:pt x="233" y="303"/>
                  </a:lnTo>
                  <a:lnTo>
                    <a:pt x="233" y="302"/>
                  </a:lnTo>
                  <a:lnTo>
                    <a:pt x="232" y="302"/>
                  </a:lnTo>
                  <a:lnTo>
                    <a:pt x="231" y="303"/>
                  </a:lnTo>
                  <a:lnTo>
                    <a:pt x="232" y="302"/>
                  </a:lnTo>
                  <a:lnTo>
                    <a:pt x="231" y="301"/>
                  </a:lnTo>
                  <a:lnTo>
                    <a:pt x="231" y="302"/>
                  </a:lnTo>
                  <a:lnTo>
                    <a:pt x="228" y="302"/>
                  </a:lnTo>
                  <a:lnTo>
                    <a:pt x="228" y="303"/>
                  </a:lnTo>
                  <a:lnTo>
                    <a:pt x="227" y="304"/>
                  </a:lnTo>
                  <a:lnTo>
                    <a:pt x="226" y="304"/>
                  </a:lnTo>
                  <a:lnTo>
                    <a:pt x="225" y="304"/>
                  </a:lnTo>
                  <a:lnTo>
                    <a:pt x="224" y="306"/>
                  </a:lnTo>
                  <a:lnTo>
                    <a:pt x="222" y="306"/>
                  </a:lnTo>
                  <a:lnTo>
                    <a:pt x="221" y="306"/>
                  </a:lnTo>
                  <a:lnTo>
                    <a:pt x="221" y="307"/>
                  </a:lnTo>
                  <a:lnTo>
                    <a:pt x="220" y="306"/>
                  </a:lnTo>
                  <a:lnTo>
                    <a:pt x="219" y="306"/>
                  </a:lnTo>
                  <a:lnTo>
                    <a:pt x="219" y="307"/>
                  </a:lnTo>
                  <a:lnTo>
                    <a:pt x="218" y="307"/>
                  </a:lnTo>
                  <a:lnTo>
                    <a:pt x="216" y="307"/>
                  </a:lnTo>
                  <a:lnTo>
                    <a:pt x="215" y="306"/>
                  </a:lnTo>
                  <a:lnTo>
                    <a:pt x="215" y="307"/>
                  </a:lnTo>
                  <a:lnTo>
                    <a:pt x="214" y="308"/>
                  </a:lnTo>
                  <a:lnTo>
                    <a:pt x="214" y="309"/>
                  </a:lnTo>
                  <a:lnTo>
                    <a:pt x="213" y="308"/>
                  </a:lnTo>
                  <a:lnTo>
                    <a:pt x="213" y="309"/>
                  </a:lnTo>
                  <a:lnTo>
                    <a:pt x="212" y="309"/>
                  </a:lnTo>
                  <a:lnTo>
                    <a:pt x="212" y="310"/>
                  </a:lnTo>
                  <a:lnTo>
                    <a:pt x="213" y="310"/>
                  </a:lnTo>
                  <a:lnTo>
                    <a:pt x="212" y="310"/>
                  </a:lnTo>
                  <a:lnTo>
                    <a:pt x="212" y="312"/>
                  </a:lnTo>
                  <a:lnTo>
                    <a:pt x="210" y="312"/>
                  </a:lnTo>
                  <a:lnTo>
                    <a:pt x="209" y="310"/>
                  </a:lnTo>
                  <a:lnTo>
                    <a:pt x="209" y="312"/>
                  </a:lnTo>
                  <a:lnTo>
                    <a:pt x="208" y="313"/>
                  </a:lnTo>
                  <a:lnTo>
                    <a:pt x="207" y="312"/>
                  </a:lnTo>
                  <a:lnTo>
                    <a:pt x="206" y="312"/>
                  </a:lnTo>
                  <a:lnTo>
                    <a:pt x="204" y="310"/>
                  </a:lnTo>
                  <a:lnTo>
                    <a:pt x="202" y="310"/>
                  </a:lnTo>
                  <a:lnTo>
                    <a:pt x="202" y="309"/>
                  </a:lnTo>
                  <a:lnTo>
                    <a:pt x="200" y="309"/>
                  </a:lnTo>
                  <a:lnTo>
                    <a:pt x="198" y="309"/>
                  </a:lnTo>
                  <a:lnTo>
                    <a:pt x="198" y="308"/>
                  </a:lnTo>
                  <a:lnTo>
                    <a:pt x="197" y="308"/>
                  </a:lnTo>
                  <a:lnTo>
                    <a:pt x="196" y="307"/>
                  </a:lnTo>
                  <a:lnTo>
                    <a:pt x="196" y="308"/>
                  </a:lnTo>
                  <a:lnTo>
                    <a:pt x="196" y="309"/>
                  </a:lnTo>
                  <a:lnTo>
                    <a:pt x="195" y="308"/>
                  </a:lnTo>
                  <a:lnTo>
                    <a:pt x="195" y="310"/>
                  </a:lnTo>
                  <a:lnTo>
                    <a:pt x="193" y="310"/>
                  </a:lnTo>
                  <a:lnTo>
                    <a:pt x="192" y="312"/>
                  </a:lnTo>
                  <a:lnTo>
                    <a:pt x="191" y="312"/>
                  </a:lnTo>
                  <a:lnTo>
                    <a:pt x="191" y="313"/>
                  </a:lnTo>
                  <a:lnTo>
                    <a:pt x="190" y="314"/>
                  </a:lnTo>
                  <a:lnTo>
                    <a:pt x="190" y="313"/>
                  </a:lnTo>
                  <a:lnTo>
                    <a:pt x="189" y="312"/>
                  </a:lnTo>
                  <a:lnTo>
                    <a:pt x="189" y="310"/>
                  </a:lnTo>
                  <a:lnTo>
                    <a:pt x="187" y="312"/>
                  </a:lnTo>
                  <a:lnTo>
                    <a:pt x="186" y="313"/>
                  </a:lnTo>
                  <a:lnTo>
                    <a:pt x="187" y="313"/>
                  </a:lnTo>
                  <a:lnTo>
                    <a:pt x="186" y="315"/>
                  </a:lnTo>
                  <a:lnTo>
                    <a:pt x="187" y="315"/>
                  </a:lnTo>
                  <a:lnTo>
                    <a:pt x="186" y="315"/>
                  </a:lnTo>
                  <a:lnTo>
                    <a:pt x="186" y="314"/>
                  </a:lnTo>
                  <a:lnTo>
                    <a:pt x="185" y="315"/>
                  </a:lnTo>
                  <a:lnTo>
                    <a:pt x="185" y="316"/>
                  </a:lnTo>
                  <a:lnTo>
                    <a:pt x="184" y="316"/>
                  </a:lnTo>
                  <a:lnTo>
                    <a:pt x="183" y="314"/>
                  </a:lnTo>
                  <a:lnTo>
                    <a:pt x="181" y="313"/>
                  </a:lnTo>
                  <a:lnTo>
                    <a:pt x="181" y="314"/>
                  </a:lnTo>
                  <a:lnTo>
                    <a:pt x="180" y="314"/>
                  </a:lnTo>
                  <a:lnTo>
                    <a:pt x="178" y="315"/>
                  </a:lnTo>
                  <a:lnTo>
                    <a:pt x="178" y="314"/>
                  </a:lnTo>
                  <a:lnTo>
                    <a:pt x="179" y="314"/>
                  </a:lnTo>
                  <a:lnTo>
                    <a:pt x="178" y="313"/>
                  </a:lnTo>
                  <a:lnTo>
                    <a:pt x="178" y="312"/>
                  </a:lnTo>
                  <a:lnTo>
                    <a:pt x="178" y="310"/>
                  </a:lnTo>
                  <a:lnTo>
                    <a:pt x="179" y="310"/>
                  </a:lnTo>
                  <a:lnTo>
                    <a:pt x="179" y="309"/>
                  </a:lnTo>
                  <a:lnTo>
                    <a:pt x="180" y="309"/>
                  </a:lnTo>
                  <a:lnTo>
                    <a:pt x="181" y="309"/>
                  </a:lnTo>
                  <a:lnTo>
                    <a:pt x="183" y="309"/>
                  </a:lnTo>
                  <a:lnTo>
                    <a:pt x="184" y="309"/>
                  </a:lnTo>
                  <a:lnTo>
                    <a:pt x="183" y="308"/>
                  </a:lnTo>
                  <a:lnTo>
                    <a:pt x="184" y="307"/>
                  </a:lnTo>
                  <a:lnTo>
                    <a:pt x="183" y="307"/>
                  </a:lnTo>
                  <a:lnTo>
                    <a:pt x="183" y="306"/>
                  </a:lnTo>
                  <a:lnTo>
                    <a:pt x="185" y="306"/>
                  </a:lnTo>
                  <a:lnTo>
                    <a:pt x="186" y="304"/>
                  </a:lnTo>
                  <a:lnTo>
                    <a:pt x="187" y="306"/>
                  </a:lnTo>
                  <a:lnTo>
                    <a:pt x="189" y="306"/>
                  </a:lnTo>
                  <a:lnTo>
                    <a:pt x="189" y="304"/>
                  </a:lnTo>
                  <a:lnTo>
                    <a:pt x="187" y="304"/>
                  </a:lnTo>
                  <a:lnTo>
                    <a:pt x="186" y="303"/>
                  </a:lnTo>
                  <a:lnTo>
                    <a:pt x="185" y="303"/>
                  </a:lnTo>
                  <a:lnTo>
                    <a:pt x="185" y="302"/>
                  </a:lnTo>
                  <a:lnTo>
                    <a:pt x="183" y="302"/>
                  </a:lnTo>
                  <a:lnTo>
                    <a:pt x="183" y="303"/>
                  </a:lnTo>
                  <a:lnTo>
                    <a:pt x="181" y="304"/>
                  </a:lnTo>
                  <a:lnTo>
                    <a:pt x="179" y="304"/>
                  </a:lnTo>
                  <a:lnTo>
                    <a:pt x="178" y="304"/>
                  </a:lnTo>
                  <a:lnTo>
                    <a:pt x="178" y="306"/>
                  </a:lnTo>
                  <a:lnTo>
                    <a:pt x="178" y="307"/>
                  </a:lnTo>
                  <a:lnTo>
                    <a:pt x="177" y="307"/>
                  </a:lnTo>
                  <a:lnTo>
                    <a:pt x="177" y="306"/>
                  </a:lnTo>
                  <a:lnTo>
                    <a:pt x="177" y="304"/>
                  </a:lnTo>
                  <a:lnTo>
                    <a:pt x="175" y="304"/>
                  </a:lnTo>
                  <a:lnTo>
                    <a:pt x="174" y="306"/>
                  </a:lnTo>
                  <a:lnTo>
                    <a:pt x="173" y="308"/>
                  </a:lnTo>
                  <a:lnTo>
                    <a:pt x="173" y="310"/>
                  </a:lnTo>
                  <a:lnTo>
                    <a:pt x="172" y="307"/>
                  </a:lnTo>
                  <a:lnTo>
                    <a:pt x="171" y="307"/>
                  </a:lnTo>
                  <a:lnTo>
                    <a:pt x="169" y="307"/>
                  </a:lnTo>
                  <a:lnTo>
                    <a:pt x="168" y="307"/>
                  </a:lnTo>
                  <a:lnTo>
                    <a:pt x="168" y="306"/>
                  </a:lnTo>
                  <a:lnTo>
                    <a:pt x="168" y="304"/>
                  </a:lnTo>
                  <a:lnTo>
                    <a:pt x="168" y="306"/>
                  </a:lnTo>
                  <a:lnTo>
                    <a:pt x="167" y="306"/>
                  </a:lnTo>
                  <a:lnTo>
                    <a:pt x="166" y="306"/>
                  </a:lnTo>
                  <a:lnTo>
                    <a:pt x="166" y="304"/>
                  </a:lnTo>
                  <a:lnTo>
                    <a:pt x="165" y="304"/>
                  </a:lnTo>
                  <a:lnTo>
                    <a:pt x="165" y="303"/>
                  </a:lnTo>
                  <a:lnTo>
                    <a:pt x="163" y="303"/>
                  </a:lnTo>
                  <a:lnTo>
                    <a:pt x="163" y="304"/>
                  </a:lnTo>
                  <a:lnTo>
                    <a:pt x="162" y="304"/>
                  </a:lnTo>
                  <a:lnTo>
                    <a:pt x="161" y="303"/>
                  </a:lnTo>
                  <a:lnTo>
                    <a:pt x="162" y="303"/>
                  </a:lnTo>
                  <a:lnTo>
                    <a:pt x="161" y="302"/>
                  </a:lnTo>
                  <a:lnTo>
                    <a:pt x="160" y="302"/>
                  </a:lnTo>
                  <a:lnTo>
                    <a:pt x="160" y="301"/>
                  </a:lnTo>
                  <a:lnTo>
                    <a:pt x="159" y="302"/>
                  </a:lnTo>
                  <a:lnTo>
                    <a:pt x="159" y="301"/>
                  </a:lnTo>
                  <a:lnTo>
                    <a:pt x="157" y="301"/>
                  </a:lnTo>
                  <a:lnTo>
                    <a:pt x="156" y="300"/>
                  </a:lnTo>
                  <a:lnTo>
                    <a:pt x="157" y="300"/>
                  </a:lnTo>
                  <a:lnTo>
                    <a:pt x="159" y="300"/>
                  </a:lnTo>
                  <a:lnTo>
                    <a:pt x="157" y="298"/>
                  </a:lnTo>
                  <a:lnTo>
                    <a:pt x="156" y="297"/>
                  </a:lnTo>
                  <a:lnTo>
                    <a:pt x="155" y="296"/>
                  </a:lnTo>
                  <a:lnTo>
                    <a:pt x="156" y="296"/>
                  </a:lnTo>
                  <a:lnTo>
                    <a:pt x="157" y="296"/>
                  </a:lnTo>
                  <a:lnTo>
                    <a:pt x="157" y="295"/>
                  </a:lnTo>
                  <a:lnTo>
                    <a:pt x="156" y="295"/>
                  </a:lnTo>
                  <a:lnTo>
                    <a:pt x="156" y="294"/>
                  </a:lnTo>
                  <a:lnTo>
                    <a:pt x="157" y="294"/>
                  </a:lnTo>
                  <a:lnTo>
                    <a:pt x="157" y="292"/>
                  </a:lnTo>
                  <a:lnTo>
                    <a:pt x="156" y="294"/>
                  </a:lnTo>
                  <a:lnTo>
                    <a:pt x="156" y="292"/>
                  </a:lnTo>
                  <a:lnTo>
                    <a:pt x="155" y="292"/>
                  </a:lnTo>
                  <a:lnTo>
                    <a:pt x="155" y="291"/>
                  </a:lnTo>
                  <a:lnTo>
                    <a:pt x="153" y="291"/>
                  </a:lnTo>
                  <a:lnTo>
                    <a:pt x="154" y="290"/>
                  </a:lnTo>
                  <a:lnTo>
                    <a:pt x="153" y="290"/>
                  </a:lnTo>
                  <a:lnTo>
                    <a:pt x="153" y="289"/>
                  </a:lnTo>
                  <a:lnTo>
                    <a:pt x="153" y="288"/>
                  </a:lnTo>
                  <a:lnTo>
                    <a:pt x="153" y="286"/>
                  </a:lnTo>
                  <a:lnTo>
                    <a:pt x="151" y="286"/>
                  </a:lnTo>
                  <a:lnTo>
                    <a:pt x="151" y="285"/>
                  </a:lnTo>
                  <a:lnTo>
                    <a:pt x="151" y="284"/>
                  </a:lnTo>
                  <a:lnTo>
                    <a:pt x="151" y="283"/>
                  </a:lnTo>
                  <a:lnTo>
                    <a:pt x="150" y="283"/>
                  </a:lnTo>
                  <a:lnTo>
                    <a:pt x="150" y="282"/>
                  </a:lnTo>
                  <a:lnTo>
                    <a:pt x="150" y="280"/>
                  </a:lnTo>
                  <a:lnTo>
                    <a:pt x="150" y="279"/>
                  </a:lnTo>
                  <a:lnTo>
                    <a:pt x="151" y="279"/>
                  </a:lnTo>
                  <a:lnTo>
                    <a:pt x="151" y="278"/>
                  </a:lnTo>
                  <a:lnTo>
                    <a:pt x="153" y="278"/>
                  </a:lnTo>
                  <a:lnTo>
                    <a:pt x="153" y="279"/>
                  </a:lnTo>
                  <a:lnTo>
                    <a:pt x="154" y="279"/>
                  </a:lnTo>
                  <a:lnTo>
                    <a:pt x="155" y="280"/>
                  </a:lnTo>
                  <a:lnTo>
                    <a:pt x="155" y="282"/>
                  </a:lnTo>
                  <a:lnTo>
                    <a:pt x="156" y="282"/>
                  </a:lnTo>
                  <a:lnTo>
                    <a:pt x="156" y="280"/>
                  </a:lnTo>
                  <a:lnTo>
                    <a:pt x="157" y="280"/>
                  </a:lnTo>
                  <a:lnTo>
                    <a:pt x="159" y="280"/>
                  </a:lnTo>
                  <a:lnTo>
                    <a:pt x="160" y="280"/>
                  </a:lnTo>
                  <a:lnTo>
                    <a:pt x="160" y="279"/>
                  </a:lnTo>
                  <a:lnTo>
                    <a:pt x="161" y="279"/>
                  </a:lnTo>
                  <a:lnTo>
                    <a:pt x="161" y="278"/>
                  </a:lnTo>
                  <a:lnTo>
                    <a:pt x="161" y="277"/>
                  </a:lnTo>
                  <a:lnTo>
                    <a:pt x="162" y="277"/>
                  </a:lnTo>
                  <a:lnTo>
                    <a:pt x="163" y="277"/>
                  </a:lnTo>
                  <a:lnTo>
                    <a:pt x="163" y="278"/>
                  </a:lnTo>
                  <a:lnTo>
                    <a:pt x="165" y="279"/>
                  </a:lnTo>
                  <a:lnTo>
                    <a:pt x="165" y="278"/>
                  </a:lnTo>
                  <a:lnTo>
                    <a:pt x="166" y="278"/>
                  </a:lnTo>
                  <a:lnTo>
                    <a:pt x="166" y="277"/>
                  </a:lnTo>
                  <a:lnTo>
                    <a:pt x="166" y="275"/>
                  </a:lnTo>
                  <a:lnTo>
                    <a:pt x="167" y="275"/>
                  </a:lnTo>
                  <a:lnTo>
                    <a:pt x="167" y="277"/>
                  </a:lnTo>
                  <a:lnTo>
                    <a:pt x="168" y="277"/>
                  </a:lnTo>
                  <a:lnTo>
                    <a:pt x="171" y="277"/>
                  </a:lnTo>
                  <a:lnTo>
                    <a:pt x="169" y="275"/>
                  </a:lnTo>
                  <a:lnTo>
                    <a:pt x="168" y="274"/>
                  </a:lnTo>
                  <a:lnTo>
                    <a:pt x="168" y="273"/>
                  </a:lnTo>
                  <a:lnTo>
                    <a:pt x="168" y="272"/>
                  </a:lnTo>
                  <a:lnTo>
                    <a:pt x="167" y="272"/>
                  </a:lnTo>
                  <a:lnTo>
                    <a:pt x="167" y="271"/>
                  </a:lnTo>
                  <a:lnTo>
                    <a:pt x="166" y="271"/>
                  </a:lnTo>
                  <a:lnTo>
                    <a:pt x="165" y="269"/>
                  </a:lnTo>
                  <a:lnTo>
                    <a:pt x="166" y="268"/>
                  </a:lnTo>
                  <a:lnTo>
                    <a:pt x="166" y="267"/>
                  </a:lnTo>
                  <a:lnTo>
                    <a:pt x="165" y="266"/>
                  </a:lnTo>
                  <a:lnTo>
                    <a:pt x="163" y="266"/>
                  </a:lnTo>
                  <a:lnTo>
                    <a:pt x="163" y="265"/>
                  </a:lnTo>
                  <a:lnTo>
                    <a:pt x="162" y="265"/>
                  </a:lnTo>
                  <a:lnTo>
                    <a:pt x="162" y="263"/>
                  </a:lnTo>
                  <a:lnTo>
                    <a:pt x="161" y="263"/>
                  </a:lnTo>
                  <a:lnTo>
                    <a:pt x="161" y="262"/>
                  </a:lnTo>
                  <a:lnTo>
                    <a:pt x="161" y="261"/>
                  </a:lnTo>
                  <a:lnTo>
                    <a:pt x="161" y="260"/>
                  </a:lnTo>
                  <a:lnTo>
                    <a:pt x="161" y="257"/>
                  </a:lnTo>
                  <a:lnTo>
                    <a:pt x="160" y="257"/>
                  </a:lnTo>
                  <a:lnTo>
                    <a:pt x="160" y="256"/>
                  </a:lnTo>
                  <a:lnTo>
                    <a:pt x="159" y="256"/>
                  </a:lnTo>
                  <a:lnTo>
                    <a:pt x="159" y="255"/>
                  </a:lnTo>
                  <a:lnTo>
                    <a:pt x="159" y="254"/>
                  </a:lnTo>
                  <a:lnTo>
                    <a:pt x="157" y="253"/>
                  </a:lnTo>
                  <a:lnTo>
                    <a:pt x="157" y="251"/>
                  </a:lnTo>
                  <a:lnTo>
                    <a:pt x="157" y="250"/>
                  </a:lnTo>
                  <a:lnTo>
                    <a:pt x="157" y="249"/>
                  </a:lnTo>
                  <a:lnTo>
                    <a:pt x="157" y="248"/>
                  </a:lnTo>
                  <a:lnTo>
                    <a:pt x="157" y="247"/>
                  </a:lnTo>
                  <a:lnTo>
                    <a:pt x="157" y="245"/>
                  </a:lnTo>
                  <a:lnTo>
                    <a:pt x="157" y="244"/>
                  </a:lnTo>
                  <a:lnTo>
                    <a:pt x="157" y="243"/>
                  </a:lnTo>
                  <a:lnTo>
                    <a:pt x="157" y="242"/>
                  </a:lnTo>
                  <a:lnTo>
                    <a:pt x="157" y="239"/>
                  </a:lnTo>
                  <a:lnTo>
                    <a:pt x="156" y="239"/>
                  </a:lnTo>
                  <a:lnTo>
                    <a:pt x="156" y="238"/>
                  </a:lnTo>
                  <a:lnTo>
                    <a:pt x="155" y="238"/>
                  </a:lnTo>
                  <a:lnTo>
                    <a:pt x="155" y="237"/>
                  </a:lnTo>
                  <a:lnTo>
                    <a:pt x="156" y="237"/>
                  </a:lnTo>
                  <a:lnTo>
                    <a:pt x="156" y="236"/>
                  </a:lnTo>
                  <a:lnTo>
                    <a:pt x="157" y="235"/>
                  </a:lnTo>
                  <a:lnTo>
                    <a:pt x="159" y="235"/>
                  </a:lnTo>
                  <a:lnTo>
                    <a:pt x="160" y="235"/>
                  </a:lnTo>
                  <a:lnTo>
                    <a:pt x="160" y="236"/>
                  </a:lnTo>
                  <a:lnTo>
                    <a:pt x="160" y="237"/>
                  </a:lnTo>
                  <a:lnTo>
                    <a:pt x="160" y="238"/>
                  </a:lnTo>
                  <a:lnTo>
                    <a:pt x="161" y="238"/>
                  </a:lnTo>
                  <a:lnTo>
                    <a:pt x="161" y="239"/>
                  </a:lnTo>
                  <a:lnTo>
                    <a:pt x="162" y="239"/>
                  </a:lnTo>
                  <a:lnTo>
                    <a:pt x="163" y="239"/>
                  </a:lnTo>
                  <a:lnTo>
                    <a:pt x="165" y="241"/>
                  </a:lnTo>
                  <a:lnTo>
                    <a:pt x="166" y="241"/>
                  </a:lnTo>
                  <a:lnTo>
                    <a:pt x="166" y="242"/>
                  </a:lnTo>
                  <a:lnTo>
                    <a:pt x="167" y="242"/>
                  </a:lnTo>
                  <a:lnTo>
                    <a:pt x="167" y="243"/>
                  </a:lnTo>
                  <a:lnTo>
                    <a:pt x="167" y="244"/>
                  </a:lnTo>
                  <a:lnTo>
                    <a:pt x="167" y="243"/>
                  </a:lnTo>
                  <a:lnTo>
                    <a:pt x="168" y="243"/>
                  </a:lnTo>
                  <a:lnTo>
                    <a:pt x="168" y="242"/>
                  </a:lnTo>
                  <a:lnTo>
                    <a:pt x="168" y="239"/>
                  </a:lnTo>
                  <a:lnTo>
                    <a:pt x="168" y="238"/>
                  </a:lnTo>
                  <a:lnTo>
                    <a:pt x="169" y="237"/>
                  </a:lnTo>
                  <a:lnTo>
                    <a:pt x="169" y="236"/>
                  </a:lnTo>
                  <a:lnTo>
                    <a:pt x="171" y="236"/>
                  </a:lnTo>
                  <a:lnTo>
                    <a:pt x="171" y="237"/>
                  </a:lnTo>
                  <a:lnTo>
                    <a:pt x="172" y="236"/>
                  </a:lnTo>
                  <a:lnTo>
                    <a:pt x="173" y="238"/>
                  </a:lnTo>
                  <a:lnTo>
                    <a:pt x="173" y="239"/>
                  </a:lnTo>
                  <a:lnTo>
                    <a:pt x="174" y="239"/>
                  </a:lnTo>
                  <a:lnTo>
                    <a:pt x="174" y="241"/>
                  </a:lnTo>
                  <a:lnTo>
                    <a:pt x="174" y="242"/>
                  </a:lnTo>
                  <a:lnTo>
                    <a:pt x="174" y="241"/>
                  </a:lnTo>
                  <a:lnTo>
                    <a:pt x="175" y="241"/>
                  </a:lnTo>
                  <a:lnTo>
                    <a:pt x="175" y="239"/>
                  </a:lnTo>
                  <a:lnTo>
                    <a:pt x="175" y="238"/>
                  </a:lnTo>
                  <a:lnTo>
                    <a:pt x="178" y="238"/>
                  </a:lnTo>
                  <a:lnTo>
                    <a:pt x="179" y="238"/>
                  </a:lnTo>
                  <a:lnTo>
                    <a:pt x="179" y="239"/>
                  </a:lnTo>
                  <a:lnTo>
                    <a:pt x="179" y="241"/>
                  </a:lnTo>
                  <a:lnTo>
                    <a:pt x="180" y="241"/>
                  </a:lnTo>
                  <a:lnTo>
                    <a:pt x="181" y="242"/>
                  </a:lnTo>
                  <a:lnTo>
                    <a:pt x="183" y="242"/>
                  </a:lnTo>
                  <a:lnTo>
                    <a:pt x="183" y="243"/>
                  </a:lnTo>
                  <a:lnTo>
                    <a:pt x="184" y="243"/>
                  </a:lnTo>
                  <a:lnTo>
                    <a:pt x="184" y="244"/>
                  </a:lnTo>
                  <a:lnTo>
                    <a:pt x="184" y="245"/>
                  </a:lnTo>
                  <a:lnTo>
                    <a:pt x="185" y="245"/>
                  </a:lnTo>
                  <a:lnTo>
                    <a:pt x="185" y="247"/>
                  </a:lnTo>
                  <a:lnTo>
                    <a:pt x="186" y="247"/>
                  </a:lnTo>
                  <a:lnTo>
                    <a:pt x="189" y="248"/>
                  </a:lnTo>
                  <a:lnTo>
                    <a:pt x="190" y="247"/>
                  </a:lnTo>
                  <a:lnTo>
                    <a:pt x="190" y="245"/>
                  </a:lnTo>
                  <a:lnTo>
                    <a:pt x="189" y="245"/>
                  </a:lnTo>
                  <a:lnTo>
                    <a:pt x="189" y="244"/>
                  </a:lnTo>
                  <a:lnTo>
                    <a:pt x="187" y="244"/>
                  </a:lnTo>
                  <a:lnTo>
                    <a:pt x="186" y="244"/>
                  </a:lnTo>
                  <a:lnTo>
                    <a:pt x="186" y="243"/>
                  </a:lnTo>
                  <a:lnTo>
                    <a:pt x="186" y="242"/>
                  </a:lnTo>
                  <a:lnTo>
                    <a:pt x="185" y="241"/>
                  </a:lnTo>
                  <a:lnTo>
                    <a:pt x="184" y="241"/>
                  </a:lnTo>
                  <a:lnTo>
                    <a:pt x="184" y="239"/>
                  </a:lnTo>
                  <a:lnTo>
                    <a:pt x="185" y="239"/>
                  </a:lnTo>
                  <a:lnTo>
                    <a:pt x="185" y="238"/>
                  </a:lnTo>
                  <a:lnTo>
                    <a:pt x="185" y="237"/>
                  </a:lnTo>
                  <a:lnTo>
                    <a:pt x="185" y="236"/>
                  </a:lnTo>
                  <a:lnTo>
                    <a:pt x="186" y="236"/>
                  </a:lnTo>
                  <a:lnTo>
                    <a:pt x="186" y="235"/>
                  </a:lnTo>
                  <a:lnTo>
                    <a:pt x="187" y="235"/>
                  </a:lnTo>
                  <a:lnTo>
                    <a:pt x="189" y="236"/>
                  </a:lnTo>
                  <a:lnTo>
                    <a:pt x="190" y="236"/>
                  </a:lnTo>
                  <a:lnTo>
                    <a:pt x="192" y="236"/>
                  </a:lnTo>
                  <a:lnTo>
                    <a:pt x="192" y="235"/>
                  </a:lnTo>
                  <a:lnTo>
                    <a:pt x="195" y="235"/>
                  </a:lnTo>
                  <a:lnTo>
                    <a:pt x="193" y="236"/>
                  </a:lnTo>
                  <a:lnTo>
                    <a:pt x="195" y="236"/>
                  </a:lnTo>
                  <a:lnTo>
                    <a:pt x="195" y="237"/>
                  </a:lnTo>
                  <a:lnTo>
                    <a:pt x="196" y="237"/>
                  </a:lnTo>
                  <a:lnTo>
                    <a:pt x="195" y="237"/>
                  </a:lnTo>
                  <a:lnTo>
                    <a:pt x="195" y="238"/>
                  </a:lnTo>
                  <a:lnTo>
                    <a:pt x="196" y="239"/>
                  </a:lnTo>
                  <a:lnTo>
                    <a:pt x="196" y="238"/>
                  </a:lnTo>
                  <a:lnTo>
                    <a:pt x="197" y="238"/>
                  </a:lnTo>
                  <a:lnTo>
                    <a:pt x="198" y="238"/>
                  </a:lnTo>
                  <a:lnTo>
                    <a:pt x="198" y="239"/>
                  </a:lnTo>
                  <a:lnTo>
                    <a:pt x="201" y="238"/>
                  </a:lnTo>
                  <a:lnTo>
                    <a:pt x="201" y="239"/>
                  </a:lnTo>
                  <a:lnTo>
                    <a:pt x="202" y="239"/>
                  </a:lnTo>
                  <a:lnTo>
                    <a:pt x="203" y="239"/>
                  </a:lnTo>
                  <a:lnTo>
                    <a:pt x="206" y="239"/>
                  </a:lnTo>
                  <a:lnTo>
                    <a:pt x="207" y="237"/>
                  </a:lnTo>
                  <a:lnTo>
                    <a:pt x="208" y="237"/>
                  </a:lnTo>
                  <a:lnTo>
                    <a:pt x="208" y="236"/>
                  </a:lnTo>
                  <a:lnTo>
                    <a:pt x="207" y="235"/>
                  </a:lnTo>
                  <a:lnTo>
                    <a:pt x="208" y="235"/>
                  </a:lnTo>
                  <a:lnTo>
                    <a:pt x="207" y="235"/>
                  </a:lnTo>
                  <a:lnTo>
                    <a:pt x="207" y="236"/>
                  </a:lnTo>
                  <a:lnTo>
                    <a:pt x="207" y="235"/>
                  </a:lnTo>
                  <a:lnTo>
                    <a:pt x="204" y="236"/>
                  </a:lnTo>
                  <a:lnTo>
                    <a:pt x="204" y="235"/>
                  </a:lnTo>
                  <a:lnTo>
                    <a:pt x="203" y="235"/>
                  </a:lnTo>
                  <a:lnTo>
                    <a:pt x="202" y="233"/>
                  </a:lnTo>
                  <a:lnTo>
                    <a:pt x="201" y="233"/>
                  </a:lnTo>
                  <a:lnTo>
                    <a:pt x="201" y="232"/>
                  </a:lnTo>
                  <a:lnTo>
                    <a:pt x="200" y="232"/>
                  </a:lnTo>
                  <a:lnTo>
                    <a:pt x="197" y="232"/>
                  </a:lnTo>
                  <a:lnTo>
                    <a:pt x="197" y="231"/>
                  </a:lnTo>
                  <a:lnTo>
                    <a:pt x="196" y="231"/>
                  </a:lnTo>
                  <a:lnTo>
                    <a:pt x="196" y="230"/>
                  </a:lnTo>
                  <a:lnTo>
                    <a:pt x="196" y="227"/>
                  </a:lnTo>
                  <a:lnTo>
                    <a:pt x="195" y="227"/>
                  </a:lnTo>
                  <a:lnTo>
                    <a:pt x="193" y="227"/>
                  </a:lnTo>
                  <a:lnTo>
                    <a:pt x="193" y="229"/>
                  </a:lnTo>
                  <a:lnTo>
                    <a:pt x="192" y="229"/>
                  </a:lnTo>
                  <a:lnTo>
                    <a:pt x="190" y="229"/>
                  </a:lnTo>
                  <a:lnTo>
                    <a:pt x="189" y="229"/>
                  </a:lnTo>
                  <a:lnTo>
                    <a:pt x="186" y="227"/>
                  </a:lnTo>
                  <a:lnTo>
                    <a:pt x="185" y="227"/>
                  </a:lnTo>
                  <a:lnTo>
                    <a:pt x="184" y="226"/>
                  </a:lnTo>
                  <a:lnTo>
                    <a:pt x="184" y="225"/>
                  </a:lnTo>
                  <a:lnTo>
                    <a:pt x="184" y="224"/>
                  </a:lnTo>
                  <a:lnTo>
                    <a:pt x="183" y="224"/>
                  </a:lnTo>
                  <a:lnTo>
                    <a:pt x="183" y="223"/>
                  </a:lnTo>
                  <a:lnTo>
                    <a:pt x="183" y="221"/>
                  </a:lnTo>
                  <a:lnTo>
                    <a:pt x="181" y="221"/>
                  </a:lnTo>
                  <a:lnTo>
                    <a:pt x="180" y="220"/>
                  </a:lnTo>
                  <a:lnTo>
                    <a:pt x="179" y="221"/>
                  </a:lnTo>
                  <a:lnTo>
                    <a:pt x="178" y="220"/>
                  </a:lnTo>
                  <a:lnTo>
                    <a:pt x="177" y="220"/>
                  </a:lnTo>
                  <a:lnTo>
                    <a:pt x="175" y="219"/>
                  </a:lnTo>
                  <a:lnTo>
                    <a:pt x="177" y="218"/>
                  </a:lnTo>
                  <a:lnTo>
                    <a:pt x="175" y="218"/>
                  </a:lnTo>
                  <a:lnTo>
                    <a:pt x="177" y="217"/>
                  </a:lnTo>
                  <a:lnTo>
                    <a:pt x="177" y="215"/>
                  </a:lnTo>
                  <a:lnTo>
                    <a:pt x="177" y="213"/>
                  </a:lnTo>
                  <a:lnTo>
                    <a:pt x="175" y="213"/>
                  </a:lnTo>
                  <a:lnTo>
                    <a:pt x="174" y="213"/>
                  </a:lnTo>
                  <a:lnTo>
                    <a:pt x="174" y="212"/>
                  </a:lnTo>
                  <a:lnTo>
                    <a:pt x="173" y="211"/>
                  </a:lnTo>
                  <a:lnTo>
                    <a:pt x="172" y="211"/>
                  </a:lnTo>
                  <a:lnTo>
                    <a:pt x="173" y="209"/>
                  </a:lnTo>
                  <a:lnTo>
                    <a:pt x="173" y="208"/>
                  </a:lnTo>
                  <a:lnTo>
                    <a:pt x="174" y="208"/>
                  </a:lnTo>
                  <a:lnTo>
                    <a:pt x="175" y="207"/>
                  </a:lnTo>
                  <a:lnTo>
                    <a:pt x="177" y="207"/>
                  </a:lnTo>
                  <a:lnTo>
                    <a:pt x="177" y="208"/>
                  </a:lnTo>
                  <a:lnTo>
                    <a:pt x="178" y="209"/>
                  </a:lnTo>
                  <a:lnTo>
                    <a:pt x="181" y="209"/>
                  </a:lnTo>
                  <a:lnTo>
                    <a:pt x="183" y="209"/>
                  </a:lnTo>
                  <a:lnTo>
                    <a:pt x="183" y="211"/>
                  </a:lnTo>
                  <a:lnTo>
                    <a:pt x="184" y="212"/>
                  </a:lnTo>
                  <a:lnTo>
                    <a:pt x="185" y="212"/>
                  </a:lnTo>
                  <a:lnTo>
                    <a:pt x="185" y="211"/>
                  </a:lnTo>
                  <a:lnTo>
                    <a:pt x="185" y="209"/>
                  </a:lnTo>
                  <a:lnTo>
                    <a:pt x="185" y="208"/>
                  </a:lnTo>
                  <a:lnTo>
                    <a:pt x="184" y="208"/>
                  </a:lnTo>
                  <a:lnTo>
                    <a:pt x="184" y="207"/>
                  </a:lnTo>
                  <a:lnTo>
                    <a:pt x="184" y="205"/>
                  </a:lnTo>
                  <a:lnTo>
                    <a:pt x="184" y="203"/>
                  </a:lnTo>
                  <a:lnTo>
                    <a:pt x="185" y="203"/>
                  </a:lnTo>
                  <a:lnTo>
                    <a:pt x="186" y="203"/>
                  </a:lnTo>
                  <a:lnTo>
                    <a:pt x="186" y="205"/>
                  </a:lnTo>
                  <a:lnTo>
                    <a:pt x="187" y="206"/>
                  </a:lnTo>
                  <a:lnTo>
                    <a:pt x="189" y="207"/>
                  </a:lnTo>
                  <a:lnTo>
                    <a:pt x="189" y="208"/>
                  </a:lnTo>
                  <a:lnTo>
                    <a:pt x="189" y="207"/>
                  </a:lnTo>
                  <a:lnTo>
                    <a:pt x="190" y="207"/>
                  </a:lnTo>
                  <a:lnTo>
                    <a:pt x="190" y="206"/>
                  </a:lnTo>
                  <a:lnTo>
                    <a:pt x="192" y="206"/>
                  </a:lnTo>
                  <a:lnTo>
                    <a:pt x="192" y="207"/>
                  </a:lnTo>
                  <a:lnTo>
                    <a:pt x="192" y="208"/>
                  </a:lnTo>
                  <a:lnTo>
                    <a:pt x="192" y="212"/>
                  </a:lnTo>
                  <a:lnTo>
                    <a:pt x="192" y="213"/>
                  </a:lnTo>
                  <a:lnTo>
                    <a:pt x="193" y="214"/>
                  </a:lnTo>
                  <a:lnTo>
                    <a:pt x="195" y="214"/>
                  </a:lnTo>
                  <a:lnTo>
                    <a:pt x="196" y="213"/>
                  </a:lnTo>
                  <a:lnTo>
                    <a:pt x="197" y="213"/>
                  </a:lnTo>
                  <a:lnTo>
                    <a:pt x="198" y="213"/>
                  </a:lnTo>
                  <a:lnTo>
                    <a:pt x="198" y="212"/>
                  </a:lnTo>
                  <a:lnTo>
                    <a:pt x="198" y="211"/>
                  </a:lnTo>
                  <a:lnTo>
                    <a:pt x="201" y="211"/>
                  </a:lnTo>
                  <a:lnTo>
                    <a:pt x="203" y="211"/>
                  </a:lnTo>
                  <a:lnTo>
                    <a:pt x="204" y="211"/>
                  </a:lnTo>
                  <a:lnTo>
                    <a:pt x="208" y="212"/>
                  </a:lnTo>
                  <a:lnTo>
                    <a:pt x="208" y="214"/>
                  </a:lnTo>
                  <a:lnTo>
                    <a:pt x="209" y="214"/>
                  </a:lnTo>
                  <a:lnTo>
                    <a:pt x="209" y="215"/>
                  </a:lnTo>
                  <a:lnTo>
                    <a:pt x="209" y="217"/>
                  </a:lnTo>
                  <a:lnTo>
                    <a:pt x="212" y="217"/>
                  </a:lnTo>
                  <a:lnTo>
                    <a:pt x="210" y="215"/>
                  </a:lnTo>
                  <a:lnTo>
                    <a:pt x="210" y="214"/>
                  </a:lnTo>
                  <a:lnTo>
                    <a:pt x="209" y="213"/>
                  </a:lnTo>
                  <a:lnTo>
                    <a:pt x="209" y="212"/>
                  </a:lnTo>
                  <a:lnTo>
                    <a:pt x="208" y="212"/>
                  </a:lnTo>
                  <a:lnTo>
                    <a:pt x="208" y="211"/>
                  </a:lnTo>
                  <a:lnTo>
                    <a:pt x="208" y="208"/>
                  </a:lnTo>
                  <a:lnTo>
                    <a:pt x="208" y="206"/>
                  </a:lnTo>
                  <a:lnTo>
                    <a:pt x="209" y="207"/>
                  </a:lnTo>
                  <a:lnTo>
                    <a:pt x="210" y="207"/>
                  </a:lnTo>
                  <a:lnTo>
                    <a:pt x="210" y="208"/>
                  </a:lnTo>
                  <a:lnTo>
                    <a:pt x="212" y="208"/>
                  </a:lnTo>
                  <a:lnTo>
                    <a:pt x="213" y="208"/>
                  </a:lnTo>
                  <a:lnTo>
                    <a:pt x="213" y="207"/>
                  </a:lnTo>
                  <a:lnTo>
                    <a:pt x="214" y="207"/>
                  </a:lnTo>
                  <a:lnTo>
                    <a:pt x="213" y="206"/>
                  </a:lnTo>
                  <a:lnTo>
                    <a:pt x="213" y="205"/>
                  </a:lnTo>
                  <a:lnTo>
                    <a:pt x="213" y="202"/>
                  </a:lnTo>
                  <a:lnTo>
                    <a:pt x="212" y="201"/>
                  </a:lnTo>
                  <a:lnTo>
                    <a:pt x="210" y="200"/>
                  </a:lnTo>
                  <a:lnTo>
                    <a:pt x="212" y="199"/>
                  </a:lnTo>
                  <a:lnTo>
                    <a:pt x="212" y="197"/>
                  </a:lnTo>
                  <a:lnTo>
                    <a:pt x="214" y="197"/>
                  </a:lnTo>
                  <a:lnTo>
                    <a:pt x="214" y="199"/>
                  </a:lnTo>
                  <a:lnTo>
                    <a:pt x="216" y="199"/>
                  </a:lnTo>
                  <a:lnTo>
                    <a:pt x="218" y="199"/>
                  </a:lnTo>
                  <a:lnTo>
                    <a:pt x="218" y="197"/>
                  </a:lnTo>
                  <a:lnTo>
                    <a:pt x="218" y="199"/>
                  </a:lnTo>
                  <a:lnTo>
                    <a:pt x="219" y="199"/>
                  </a:lnTo>
                  <a:lnTo>
                    <a:pt x="219" y="200"/>
                  </a:lnTo>
                  <a:lnTo>
                    <a:pt x="220" y="201"/>
                  </a:lnTo>
                  <a:lnTo>
                    <a:pt x="222" y="201"/>
                  </a:lnTo>
                  <a:lnTo>
                    <a:pt x="224" y="201"/>
                  </a:lnTo>
                  <a:lnTo>
                    <a:pt x="224" y="200"/>
                  </a:lnTo>
                  <a:lnTo>
                    <a:pt x="225" y="199"/>
                  </a:lnTo>
                  <a:lnTo>
                    <a:pt x="225" y="197"/>
                  </a:lnTo>
                  <a:lnTo>
                    <a:pt x="224" y="196"/>
                  </a:lnTo>
                  <a:lnTo>
                    <a:pt x="225" y="196"/>
                  </a:lnTo>
                  <a:lnTo>
                    <a:pt x="226" y="196"/>
                  </a:lnTo>
                  <a:lnTo>
                    <a:pt x="225" y="194"/>
                  </a:lnTo>
                  <a:lnTo>
                    <a:pt x="224" y="193"/>
                  </a:lnTo>
                  <a:lnTo>
                    <a:pt x="222" y="193"/>
                  </a:lnTo>
                  <a:lnTo>
                    <a:pt x="222" y="191"/>
                  </a:lnTo>
                  <a:lnTo>
                    <a:pt x="224" y="191"/>
                  </a:lnTo>
                  <a:lnTo>
                    <a:pt x="224" y="190"/>
                  </a:lnTo>
                  <a:lnTo>
                    <a:pt x="225" y="189"/>
                  </a:lnTo>
                  <a:lnTo>
                    <a:pt x="227" y="189"/>
                  </a:lnTo>
                  <a:lnTo>
                    <a:pt x="228" y="189"/>
                  </a:lnTo>
                  <a:lnTo>
                    <a:pt x="228" y="190"/>
                  </a:lnTo>
                  <a:lnTo>
                    <a:pt x="230" y="191"/>
                  </a:lnTo>
                  <a:lnTo>
                    <a:pt x="231" y="191"/>
                  </a:lnTo>
                  <a:lnTo>
                    <a:pt x="231" y="189"/>
                  </a:lnTo>
                  <a:lnTo>
                    <a:pt x="232" y="189"/>
                  </a:lnTo>
                  <a:lnTo>
                    <a:pt x="232" y="188"/>
                  </a:lnTo>
                  <a:lnTo>
                    <a:pt x="233" y="188"/>
                  </a:lnTo>
                  <a:lnTo>
                    <a:pt x="233" y="187"/>
                  </a:lnTo>
                  <a:lnTo>
                    <a:pt x="234" y="187"/>
                  </a:lnTo>
                  <a:lnTo>
                    <a:pt x="234" y="185"/>
                  </a:lnTo>
                  <a:lnTo>
                    <a:pt x="233" y="185"/>
                  </a:lnTo>
                  <a:lnTo>
                    <a:pt x="233" y="184"/>
                  </a:lnTo>
                  <a:lnTo>
                    <a:pt x="233" y="183"/>
                  </a:lnTo>
                  <a:lnTo>
                    <a:pt x="232" y="183"/>
                  </a:lnTo>
                  <a:lnTo>
                    <a:pt x="233" y="182"/>
                  </a:lnTo>
                  <a:lnTo>
                    <a:pt x="232" y="181"/>
                  </a:lnTo>
                  <a:lnTo>
                    <a:pt x="232" y="179"/>
                  </a:lnTo>
                  <a:lnTo>
                    <a:pt x="231" y="179"/>
                  </a:lnTo>
                  <a:lnTo>
                    <a:pt x="230" y="179"/>
                  </a:lnTo>
                  <a:lnTo>
                    <a:pt x="230" y="178"/>
                  </a:lnTo>
                  <a:lnTo>
                    <a:pt x="230" y="177"/>
                  </a:lnTo>
                  <a:lnTo>
                    <a:pt x="228" y="176"/>
                  </a:lnTo>
                  <a:lnTo>
                    <a:pt x="228" y="175"/>
                  </a:lnTo>
                  <a:lnTo>
                    <a:pt x="228" y="173"/>
                  </a:lnTo>
                  <a:lnTo>
                    <a:pt x="227" y="173"/>
                  </a:lnTo>
                  <a:lnTo>
                    <a:pt x="226" y="173"/>
                  </a:lnTo>
                  <a:lnTo>
                    <a:pt x="225" y="173"/>
                  </a:lnTo>
                  <a:lnTo>
                    <a:pt x="224" y="173"/>
                  </a:lnTo>
                  <a:lnTo>
                    <a:pt x="224" y="172"/>
                  </a:lnTo>
                  <a:lnTo>
                    <a:pt x="222" y="172"/>
                  </a:lnTo>
                  <a:lnTo>
                    <a:pt x="222" y="171"/>
                  </a:lnTo>
                  <a:lnTo>
                    <a:pt x="221" y="171"/>
                  </a:lnTo>
                  <a:lnTo>
                    <a:pt x="220" y="170"/>
                  </a:lnTo>
                  <a:lnTo>
                    <a:pt x="219" y="169"/>
                  </a:lnTo>
                  <a:lnTo>
                    <a:pt x="219" y="167"/>
                  </a:lnTo>
                  <a:lnTo>
                    <a:pt x="219" y="166"/>
                  </a:lnTo>
                  <a:lnTo>
                    <a:pt x="220" y="165"/>
                  </a:lnTo>
                  <a:lnTo>
                    <a:pt x="220" y="166"/>
                  </a:lnTo>
                  <a:lnTo>
                    <a:pt x="224" y="165"/>
                  </a:lnTo>
                  <a:lnTo>
                    <a:pt x="225" y="165"/>
                  </a:lnTo>
                  <a:lnTo>
                    <a:pt x="224" y="165"/>
                  </a:lnTo>
                  <a:lnTo>
                    <a:pt x="224" y="164"/>
                  </a:lnTo>
                  <a:lnTo>
                    <a:pt x="222" y="164"/>
                  </a:lnTo>
                  <a:lnTo>
                    <a:pt x="221" y="162"/>
                  </a:lnTo>
                  <a:lnTo>
                    <a:pt x="219" y="162"/>
                  </a:lnTo>
                  <a:lnTo>
                    <a:pt x="219" y="164"/>
                  </a:lnTo>
                  <a:lnTo>
                    <a:pt x="218" y="162"/>
                  </a:lnTo>
                  <a:lnTo>
                    <a:pt x="218" y="161"/>
                  </a:lnTo>
                  <a:lnTo>
                    <a:pt x="218" y="159"/>
                  </a:lnTo>
                  <a:lnTo>
                    <a:pt x="215" y="159"/>
                  </a:lnTo>
                  <a:lnTo>
                    <a:pt x="214" y="159"/>
                  </a:lnTo>
                  <a:lnTo>
                    <a:pt x="214" y="158"/>
                  </a:lnTo>
                  <a:lnTo>
                    <a:pt x="213" y="158"/>
                  </a:lnTo>
                  <a:lnTo>
                    <a:pt x="213" y="156"/>
                  </a:lnTo>
                  <a:lnTo>
                    <a:pt x="212" y="156"/>
                  </a:lnTo>
                  <a:lnTo>
                    <a:pt x="213" y="155"/>
                  </a:lnTo>
                  <a:lnTo>
                    <a:pt x="213" y="152"/>
                  </a:lnTo>
                  <a:lnTo>
                    <a:pt x="214" y="150"/>
                  </a:lnTo>
                  <a:lnTo>
                    <a:pt x="214" y="148"/>
                  </a:lnTo>
                  <a:lnTo>
                    <a:pt x="213" y="147"/>
                  </a:lnTo>
                  <a:lnTo>
                    <a:pt x="213" y="144"/>
                  </a:lnTo>
                  <a:lnTo>
                    <a:pt x="213" y="143"/>
                  </a:lnTo>
                  <a:lnTo>
                    <a:pt x="213" y="142"/>
                  </a:lnTo>
                  <a:lnTo>
                    <a:pt x="214" y="141"/>
                  </a:lnTo>
                  <a:lnTo>
                    <a:pt x="215" y="141"/>
                  </a:lnTo>
                  <a:lnTo>
                    <a:pt x="216" y="141"/>
                  </a:lnTo>
                  <a:lnTo>
                    <a:pt x="216" y="142"/>
                  </a:lnTo>
                  <a:lnTo>
                    <a:pt x="218" y="142"/>
                  </a:lnTo>
                  <a:lnTo>
                    <a:pt x="218" y="143"/>
                  </a:lnTo>
                  <a:lnTo>
                    <a:pt x="218" y="144"/>
                  </a:lnTo>
                  <a:lnTo>
                    <a:pt x="219" y="144"/>
                  </a:lnTo>
                  <a:lnTo>
                    <a:pt x="220" y="143"/>
                  </a:lnTo>
                  <a:lnTo>
                    <a:pt x="221" y="143"/>
                  </a:lnTo>
                  <a:lnTo>
                    <a:pt x="225" y="143"/>
                  </a:lnTo>
                  <a:lnTo>
                    <a:pt x="225" y="142"/>
                  </a:lnTo>
                  <a:lnTo>
                    <a:pt x="226" y="142"/>
                  </a:lnTo>
                  <a:lnTo>
                    <a:pt x="226" y="143"/>
                  </a:lnTo>
                  <a:lnTo>
                    <a:pt x="226" y="144"/>
                  </a:lnTo>
                  <a:lnTo>
                    <a:pt x="227" y="144"/>
                  </a:lnTo>
                  <a:lnTo>
                    <a:pt x="227" y="146"/>
                  </a:lnTo>
                  <a:lnTo>
                    <a:pt x="228" y="147"/>
                  </a:lnTo>
                  <a:lnTo>
                    <a:pt x="230" y="148"/>
                  </a:lnTo>
                  <a:lnTo>
                    <a:pt x="230" y="149"/>
                  </a:lnTo>
                  <a:lnTo>
                    <a:pt x="230" y="150"/>
                  </a:lnTo>
                  <a:lnTo>
                    <a:pt x="231" y="152"/>
                  </a:lnTo>
                  <a:lnTo>
                    <a:pt x="232" y="152"/>
                  </a:lnTo>
                  <a:lnTo>
                    <a:pt x="233" y="152"/>
                  </a:lnTo>
                  <a:lnTo>
                    <a:pt x="234" y="152"/>
                  </a:lnTo>
                  <a:lnTo>
                    <a:pt x="236" y="152"/>
                  </a:lnTo>
                  <a:lnTo>
                    <a:pt x="236" y="150"/>
                  </a:lnTo>
                  <a:lnTo>
                    <a:pt x="236" y="149"/>
                  </a:lnTo>
                  <a:lnTo>
                    <a:pt x="237" y="149"/>
                  </a:lnTo>
                  <a:lnTo>
                    <a:pt x="238" y="150"/>
                  </a:lnTo>
                  <a:lnTo>
                    <a:pt x="238" y="153"/>
                  </a:lnTo>
                  <a:lnTo>
                    <a:pt x="239" y="152"/>
                  </a:lnTo>
                  <a:lnTo>
                    <a:pt x="243" y="152"/>
                  </a:lnTo>
                  <a:lnTo>
                    <a:pt x="244" y="150"/>
                  </a:lnTo>
                  <a:lnTo>
                    <a:pt x="245" y="150"/>
                  </a:lnTo>
                  <a:lnTo>
                    <a:pt x="245" y="149"/>
                  </a:lnTo>
                  <a:lnTo>
                    <a:pt x="244" y="149"/>
                  </a:lnTo>
                  <a:lnTo>
                    <a:pt x="243" y="148"/>
                  </a:lnTo>
                  <a:lnTo>
                    <a:pt x="242" y="147"/>
                  </a:lnTo>
                  <a:lnTo>
                    <a:pt x="242" y="146"/>
                  </a:lnTo>
                  <a:lnTo>
                    <a:pt x="240" y="144"/>
                  </a:lnTo>
                  <a:lnTo>
                    <a:pt x="239" y="144"/>
                  </a:lnTo>
                  <a:lnTo>
                    <a:pt x="239" y="143"/>
                  </a:lnTo>
                  <a:lnTo>
                    <a:pt x="239" y="140"/>
                  </a:lnTo>
                  <a:lnTo>
                    <a:pt x="239" y="137"/>
                  </a:lnTo>
                  <a:lnTo>
                    <a:pt x="239" y="136"/>
                  </a:lnTo>
                  <a:lnTo>
                    <a:pt x="240" y="136"/>
                  </a:lnTo>
                  <a:lnTo>
                    <a:pt x="240" y="135"/>
                  </a:lnTo>
                  <a:lnTo>
                    <a:pt x="242" y="135"/>
                  </a:lnTo>
                  <a:lnTo>
                    <a:pt x="243" y="134"/>
                  </a:lnTo>
                  <a:lnTo>
                    <a:pt x="243" y="132"/>
                  </a:lnTo>
                  <a:lnTo>
                    <a:pt x="243" y="131"/>
                  </a:lnTo>
                  <a:lnTo>
                    <a:pt x="242" y="130"/>
                  </a:lnTo>
                  <a:lnTo>
                    <a:pt x="243" y="130"/>
                  </a:lnTo>
                  <a:lnTo>
                    <a:pt x="244" y="129"/>
                  </a:lnTo>
                  <a:lnTo>
                    <a:pt x="246" y="129"/>
                  </a:lnTo>
                  <a:lnTo>
                    <a:pt x="248" y="130"/>
                  </a:lnTo>
                  <a:lnTo>
                    <a:pt x="249" y="130"/>
                  </a:lnTo>
                  <a:lnTo>
                    <a:pt x="249" y="131"/>
                  </a:lnTo>
                  <a:lnTo>
                    <a:pt x="249" y="132"/>
                  </a:lnTo>
                  <a:lnTo>
                    <a:pt x="249" y="134"/>
                  </a:lnTo>
                  <a:lnTo>
                    <a:pt x="250" y="135"/>
                  </a:lnTo>
                  <a:lnTo>
                    <a:pt x="250" y="134"/>
                  </a:lnTo>
                  <a:lnTo>
                    <a:pt x="251" y="131"/>
                  </a:lnTo>
                  <a:lnTo>
                    <a:pt x="251" y="128"/>
                  </a:lnTo>
                  <a:lnTo>
                    <a:pt x="254" y="128"/>
                  </a:lnTo>
                  <a:lnTo>
                    <a:pt x="255" y="131"/>
                  </a:lnTo>
                  <a:lnTo>
                    <a:pt x="255" y="132"/>
                  </a:lnTo>
                  <a:lnTo>
                    <a:pt x="255" y="134"/>
                  </a:lnTo>
                  <a:lnTo>
                    <a:pt x="256" y="134"/>
                  </a:lnTo>
                  <a:lnTo>
                    <a:pt x="257" y="134"/>
                  </a:lnTo>
                  <a:lnTo>
                    <a:pt x="259" y="134"/>
                  </a:lnTo>
                  <a:lnTo>
                    <a:pt x="259" y="135"/>
                  </a:lnTo>
                  <a:lnTo>
                    <a:pt x="259" y="136"/>
                  </a:lnTo>
                  <a:lnTo>
                    <a:pt x="257" y="138"/>
                  </a:lnTo>
                  <a:lnTo>
                    <a:pt x="257" y="142"/>
                  </a:lnTo>
                  <a:lnTo>
                    <a:pt x="256" y="142"/>
                  </a:lnTo>
                  <a:lnTo>
                    <a:pt x="256" y="143"/>
                  </a:lnTo>
                  <a:lnTo>
                    <a:pt x="256" y="144"/>
                  </a:lnTo>
                  <a:lnTo>
                    <a:pt x="255" y="144"/>
                  </a:lnTo>
                  <a:lnTo>
                    <a:pt x="255" y="146"/>
                  </a:lnTo>
                  <a:lnTo>
                    <a:pt x="256" y="148"/>
                  </a:lnTo>
                  <a:lnTo>
                    <a:pt x="256" y="147"/>
                  </a:lnTo>
                  <a:lnTo>
                    <a:pt x="256" y="149"/>
                  </a:lnTo>
                  <a:lnTo>
                    <a:pt x="257" y="149"/>
                  </a:lnTo>
                  <a:lnTo>
                    <a:pt x="259" y="149"/>
                  </a:lnTo>
                  <a:lnTo>
                    <a:pt x="260" y="149"/>
                  </a:lnTo>
                  <a:lnTo>
                    <a:pt x="260" y="148"/>
                  </a:lnTo>
                  <a:lnTo>
                    <a:pt x="262" y="148"/>
                  </a:lnTo>
                  <a:lnTo>
                    <a:pt x="263" y="148"/>
                  </a:lnTo>
                  <a:lnTo>
                    <a:pt x="265" y="148"/>
                  </a:lnTo>
                  <a:lnTo>
                    <a:pt x="265" y="149"/>
                  </a:lnTo>
                  <a:lnTo>
                    <a:pt x="266" y="149"/>
                  </a:lnTo>
                  <a:lnTo>
                    <a:pt x="267" y="149"/>
                  </a:lnTo>
                  <a:lnTo>
                    <a:pt x="267" y="148"/>
                  </a:lnTo>
                  <a:lnTo>
                    <a:pt x="266" y="148"/>
                  </a:lnTo>
                  <a:lnTo>
                    <a:pt x="266" y="147"/>
                  </a:lnTo>
                  <a:lnTo>
                    <a:pt x="265" y="147"/>
                  </a:lnTo>
                  <a:lnTo>
                    <a:pt x="265" y="146"/>
                  </a:lnTo>
                  <a:lnTo>
                    <a:pt x="265" y="143"/>
                  </a:lnTo>
                  <a:lnTo>
                    <a:pt x="263" y="142"/>
                  </a:lnTo>
                  <a:lnTo>
                    <a:pt x="263" y="141"/>
                  </a:lnTo>
                  <a:lnTo>
                    <a:pt x="263" y="140"/>
                  </a:lnTo>
                  <a:lnTo>
                    <a:pt x="263" y="138"/>
                  </a:lnTo>
                  <a:lnTo>
                    <a:pt x="263" y="137"/>
                  </a:lnTo>
                  <a:lnTo>
                    <a:pt x="265" y="136"/>
                  </a:lnTo>
                  <a:lnTo>
                    <a:pt x="265" y="135"/>
                  </a:lnTo>
                  <a:lnTo>
                    <a:pt x="267" y="135"/>
                  </a:lnTo>
                  <a:lnTo>
                    <a:pt x="267" y="136"/>
                  </a:lnTo>
                  <a:lnTo>
                    <a:pt x="267" y="137"/>
                  </a:lnTo>
                  <a:lnTo>
                    <a:pt x="267" y="138"/>
                  </a:lnTo>
                  <a:lnTo>
                    <a:pt x="268" y="138"/>
                  </a:lnTo>
                  <a:lnTo>
                    <a:pt x="268" y="140"/>
                  </a:lnTo>
                  <a:lnTo>
                    <a:pt x="269" y="138"/>
                  </a:lnTo>
                  <a:lnTo>
                    <a:pt x="271" y="138"/>
                  </a:lnTo>
                  <a:lnTo>
                    <a:pt x="272" y="137"/>
                  </a:lnTo>
                  <a:lnTo>
                    <a:pt x="272" y="138"/>
                  </a:lnTo>
                  <a:lnTo>
                    <a:pt x="273" y="141"/>
                  </a:lnTo>
                  <a:lnTo>
                    <a:pt x="273" y="142"/>
                  </a:lnTo>
                  <a:lnTo>
                    <a:pt x="274" y="142"/>
                  </a:lnTo>
                  <a:lnTo>
                    <a:pt x="275" y="143"/>
                  </a:lnTo>
                  <a:lnTo>
                    <a:pt x="277" y="143"/>
                  </a:lnTo>
                  <a:lnTo>
                    <a:pt x="278" y="143"/>
                  </a:lnTo>
                  <a:lnTo>
                    <a:pt x="279" y="143"/>
                  </a:lnTo>
                  <a:lnTo>
                    <a:pt x="279" y="144"/>
                  </a:lnTo>
                  <a:lnTo>
                    <a:pt x="280" y="144"/>
                  </a:lnTo>
                  <a:lnTo>
                    <a:pt x="280" y="146"/>
                  </a:lnTo>
                  <a:lnTo>
                    <a:pt x="281" y="146"/>
                  </a:lnTo>
                  <a:lnTo>
                    <a:pt x="280" y="148"/>
                  </a:lnTo>
                  <a:lnTo>
                    <a:pt x="280" y="149"/>
                  </a:lnTo>
                  <a:lnTo>
                    <a:pt x="279" y="149"/>
                  </a:lnTo>
                  <a:lnTo>
                    <a:pt x="279" y="150"/>
                  </a:lnTo>
                  <a:lnTo>
                    <a:pt x="280" y="153"/>
                  </a:lnTo>
                  <a:lnTo>
                    <a:pt x="279" y="154"/>
                  </a:lnTo>
                  <a:lnTo>
                    <a:pt x="278" y="154"/>
                  </a:lnTo>
                  <a:lnTo>
                    <a:pt x="278" y="155"/>
                  </a:lnTo>
                  <a:lnTo>
                    <a:pt x="279" y="156"/>
                  </a:lnTo>
                  <a:lnTo>
                    <a:pt x="280" y="158"/>
                  </a:lnTo>
                  <a:lnTo>
                    <a:pt x="280" y="159"/>
                  </a:lnTo>
                  <a:lnTo>
                    <a:pt x="281" y="159"/>
                  </a:lnTo>
                  <a:lnTo>
                    <a:pt x="281" y="160"/>
                  </a:lnTo>
                  <a:lnTo>
                    <a:pt x="283" y="161"/>
                  </a:lnTo>
                  <a:lnTo>
                    <a:pt x="284" y="161"/>
                  </a:lnTo>
                  <a:lnTo>
                    <a:pt x="285" y="161"/>
                  </a:lnTo>
                  <a:lnTo>
                    <a:pt x="286" y="161"/>
                  </a:lnTo>
                  <a:lnTo>
                    <a:pt x="286" y="160"/>
                  </a:lnTo>
                  <a:lnTo>
                    <a:pt x="286" y="159"/>
                  </a:lnTo>
                  <a:lnTo>
                    <a:pt x="285" y="158"/>
                  </a:lnTo>
                  <a:lnTo>
                    <a:pt x="285" y="156"/>
                  </a:lnTo>
                  <a:lnTo>
                    <a:pt x="285" y="155"/>
                  </a:lnTo>
                  <a:lnTo>
                    <a:pt x="286" y="155"/>
                  </a:lnTo>
                  <a:lnTo>
                    <a:pt x="286" y="154"/>
                  </a:lnTo>
                  <a:lnTo>
                    <a:pt x="287" y="154"/>
                  </a:lnTo>
                  <a:lnTo>
                    <a:pt x="287" y="153"/>
                  </a:lnTo>
                  <a:lnTo>
                    <a:pt x="286" y="153"/>
                  </a:lnTo>
                  <a:lnTo>
                    <a:pt x="286" y="152"/>
                  </a:lnTo>
                  <a:lnTo>
                    <a:pt x="286" y="150"/>
                  </a:lnTo>
                  <a:lnTo>
                    <a:pt x="285" y="148"/>
                  </a:lnTo>
                  <a:lnTo>
                    <a:pt x="284" y="147"/>
                  </a:lnTo>
                  <a:lnTo>
                    <a:pt x="284" y="146"/>
                  </a:lnTo>
                  <a:lnTo>
                    <a:pt x="285" y="146"/>
                  </a:lnTo>
                  <a:lnTo>
                    <a:pt x="285" y="144"/>
                  </a:lnTo>
                  <a:lnTo>
                    <a:pt x="286" y="144"/>
                  </a:lnTo>
                  <a:lnTo>
                    <a:pt x="287" y="144"/>
                  </a:lnTo>
                  <a:lnTo>
                    <a:pt x="289" y="146"/>
                  </a:lnTo>
                  <a:lnTo>
                    <a:pt x="290" y="146"/>
                  </a:lnTo>
                  <a:lnTo>
                    <a:pt x="291" y="144"/>
                  </a:lnTo>
                  <a:lnTo>
                    <a:pt x="292" y="143"/>
                  </a:lnTo>
                  <a:lnTo>
                    <a:pt x="292" y="141"/>
                  </a:lnTo>
                  <a:lnTo>
                    <a:pt x="291" y="140"/>
                  </a:lnTo>
                  <a:lnTo>
                    <a:pt x="292" y="140"/>
                  </a:lnTo>
                  <a:lnTo>
                    <a:pt x="292" y="138"/>
                  </a:lnTo>
                  <a:lnTo>
                    <a:pt x="295" y="138"/>
                  </a:lnTo>
                  <a:lnTo>
                    <a:pt x="296" y="140"/>
                  </a:lnTo>
                  <a:lnTo>
                    <a:pt x="298" y="140"/>
                  </a:lnTo>
                  <a:lnTo>
                    <a:pt x="299" y="140"/>
                  </a:lnTo>
                  <a:lnTo>
                    <a:pt x="298" y="140"/>
                  </a:lnTo>
                  <a:lnTo>
                    <a:pt x="299" y="140"/>
                  </a:lnTo>
                  <a:lnTo>
                    <a:pt x="299" y="138"/>
                  </a:lnTo>
                  <a:lnTo>
                    <a:pt x="301" y="138"/>
                  </a:lnTo>
                  <a:lnTo>
                    <a:pt x="302" y="138"/>
                  </a:lnTo>
                  <a:lnTo>
                    <a:pt x="303" y="138"/>
                  </a:lnTo>
                  <a:lnTo>
                    <a:pt x="304" y="140"/>
                  </a:lnTo>
                  <a:lnTo>
                    <a:pt x="304" y="141"/>
                  </a:lnTo>
                  <a:lnTo>
                    <a:pt x="304" y="143"/>
                  </a:lnTo>
                  <a:lnTo>
                    <a:pt x="304" y="144"/>
                  </a:lnTo>
                  <a:lnTo>
                    <a:pt x="304" y="146"/>
                  </a:lnTo>
                  <a:lnTo>
                    <a:pt x="304" y="144"/>
                  </a:lnTo>
                  <a:lnTo>
                    <a:pt x="305" y="143"/>
                  </a:lnTo>
                  <a:lnTo>
                    <a:pt x="307" y="143"/>
                  </a:lnTo>
                  <a:lnTo>
                    <a:pt x="307" y="142"/>
                  </a:lnTo>
                  <a:lnTo>
                    <a:pt x="308" y="142"/>
                  </a:lnTo>
                  <a:lnTo>
                    <a:pt x="308" y="144"/>
                  </a:lnTo>
                  <a:lnTo>
                    <a:pt x="309" y="144"/>
                  </a:lnTo>
                  <a:lnTo>
                    <a:pt x="309" y="146"/>
                  </a:lnTo>
                  <a:lnTo>
                    <a:pt x="310" y="146"/>
                  </a:lnTo>
                  <a:lnTo>
                    <a:pt x="310" y="147"/>
                  </a:lnTo>
                  <a:lnTo>
                    <a:pt x="311" y="147"/>
                  </a:lnTo>
                  <a:lnTo>
                    <a:pt x="311" y="148"/>
                  </a:lnTo>
                  <a:lnTo>
                    <a:pt x="313" y="149"/>
                  </a:lnTo>
                  <a:lnTo>
                    <a:pt x="314" y="149"/>
                  </a:lnTo>
                  <a:lnTo>
                    <a:pt x="314" y="150"/>
                  </a:lnTo>
                  <a:lnTo>
                    <a:pt x="315" y="150"/>
                  </a:lnTo>
                  <a:lnTo>
                    <a:pt x="315" y="152"/>
                  </a:lnTo>
                  <a:lnTo>
                    <a:pt x="315" y="153"/>
                  </a:lnTo>
                  <a:lnTo>
                    <a:pt x="315" y="154"/>
                  </a:lnTo>
                  <a:lnTo>
                    <a:pt x="314" y="154"/>
                  </a:lnTo>
                  <a:lnTo>
                    <a:pt x="314" y="155"/>
                  </a:lnTo>
                  <a:lnTo>
                    <a:pt x="313" y="156"/>
                  </a:lnTo>
                  <a:lnTo>
                    <a:pt x="311" y="156"/>
                  </a:lnTo>
                  <a:lnTo>
                    <a:pt x="311" y="158"/>
                  </a:lnTo>
                  <a:lnTo>
                    <a:pt x="311" y="159"/>
                  </a:lnTo>
                  <a:lnTo>
                    <a:pt x="311" y="161"/>
                  </a:lnTo>
                  <a:lnTo>
                    <a:pt x="310" y="161"/>
                  </a:lnTo>
                  <a:lnTo>
                    <a:pt x="311" y="162"/>
                  </a:lnTo>
                  <a:lnTo>
                    <a:pt x="311" y="164"/>
                  </a:lnTo>
                  <a:lnTo>
                    <a:pt x="311" y="165"/>
                  </a:lnTo>
                  <a:lnTo>
                    <a:pt x="311" y="166"/>
                  </a:lnTo>
                  <a:lnTo>
                    <a:pt x="313" y="166"/>
                  </a:lnTo>
                  <a:lnTo>
                    <a:pt x="313" y="167"/>
                  </a:lnTo>
                  <a:lnTo>
                    <a:pt x="314" y="167"/>
                  </a:lnTo>
                  <a:lnTo>
                    <a:pt x="315" y="169"/>
                  </a:lnTo>
                  <a:lnTo>
                    <a:pt x="315" y="167"/>
                  </a:lnTo>
                  <a:lnTo>
                    <a:pt x="314" y="166"/>
                  </a:lnTo>
                  <a:lnTo>
                    <a:pt x="314" y="165"/>
                  </a:lnTo>
                  <a:lnTo>
                    <a:pt x="314" y="164"/>
                  </a:lnTo>
                  <a:lnTo>
                    <a:pt x="316" y="164"/>
                  </a:lnTo>
                  <a:lnTo>
                    <a:pt x="319" y="162"/>
                  </a:lnTo>
                  <a:lnTo>
                    <a:pt x="319" y="161"/>
                  </a:lnTo>
                  <a:lnTo>
                    <a:pt x="320" y="161"/>
                  </a:lnTo>
                  <a:lnTo>
                    <a:pt x="321" y="160"/>
                  </a:lnTo>
                  <a:lnTo>
                    <a:pt x="322" y="160"/>
                  </a:lnTo>
                  <a:lnTo>
                    <a:pt x="322" y="159"/>
                  </a:lnTo>
                  <a:lnTo>
                    <a:pt x="324" y="159"/>
                  </a:lnTo>
                  <a:lnTo>
                    <a:pt x="324" y="158"/>
                  </a:lnTo>
                  <a:lnTo>
                    <a:pt x="324" y="156"/>
                  </a:lnTo>
                  <a:lnTo>
                    <a:pt x="324" y="155"/>
                  </a:lnTo>
                  <a:lnTo>
                    <a:pt x="326" y="155"/>
                  </a:lnTo>
                  <a:lnTo>
                    <a:pt x="328" y="156"/>
                  </a:lnTo>
                  <a:lnTo>
                    <a:pt x="330" y="156"/>
                  </a:lnTo>
                  <a:lnTo>
                    <a:pt x="330" y="158"/>
                  </a:lnTo>
                  <a:lnTo>
                    <a:pt x="331" y="159"/>
                  </a:lnTo>
                  <a:lnTo>
                    <a:pt x="331" y="160"/>
                  </a:lnTo>
                  <a:lnTo>
                    <a:pt x="330" y="160"/>
                  </a:lnTo>
                  <a:lnTo>
                    <a:pt x="331" y="161"/>
                  </a:lnTo>
                  <a:lnTo>
                    <a:pt x="332" y="161"/>
                  </a:lnTo>
                  <a:lnTo>
                    <a:pt x="332" y="160"/>
                  </a:lnTo>
                  <a:lnTo>
                    <a:pt x="332" y="159"/>
                  </a:lnTo>
                  <a:lnTo>
                    <a:pt x="332" y="158"/>
                  </a:lnTo>
                  <a:lnTo>
                    <a:pt x="333" y="158"/>
                  </a:lnTo>
                  <a:lnTo>
                    <a:pt x="334" y="158"/>
                  </a:lnTo>
                  <a:lnTo>
                    <a:pt x="334" y="159"/>
                  </a:lnTo>
                  <a:lnTo>
                    <a:pt x="336" y="160"/>
                  </a:lnTo>
                  <a:lnTo>
                    <a:pt x="336" y="161"/>
                  </a:lnTo>
                  <a:lnTo>
                    <a:pt x="337" y="161"/>
                  </a:lnTo>
                  <a:lnTo>
                    <a:pt x="336" y="162"/>
                  </a:lnTo>
                  <a:lnTo>
                    <a:pt x="336" y="164"/>
                  </a:lnTo>
                  <a:lnTo>
                    <a:pt x="334" y="164"/>
                  </a:lnTo>
                  <a:lnTo>
                    <a:pt x="334" y="165"/>
                  </a:lnTo>
                  <a:lnTo>
                    <a:pt x="336" y="166"/>
                  </a:lnTo>
                  <a:lnTo>
                    <a:pt x="336" y="167"/>
                  </a:lnTo>
                  <a:lnTo>
                    <a:pt x="334" y="167"/>
                  </a:lnTo>
                  <a:lnTo>
                    <a:pt x="334" y="169"/>
                  </a:lnTo>
                  <a:lnTo>
                    <a:pt x="334" y="170"/>
                  </a:lnTo>
                  <a:lnTo>
                    <a:pt x="334" y="171"/>
                  </a:lnTo>
                  <a:lnTo>
                    <a:pt x="336" y="172"/>
                  </a:lnTo>
                  <a:lnTo>
                    <a:pt x="336" y="173"/>
                  </a:lnTo>
                  <a:lnTo>
                    <a:pt x="337" y="173"/>
                  </a:lnTo>
                  <a:lnTo>
                    <a:pt x="338" y="172"/>
                  </a:lnTo>
                  <a:lnTo>
                    <a:pt x="337" y="172"/>
                  </a:lnTo>
                  <a:lnTo>
                    <a:pt x="336" y="172"/>
                  </a:lnTo>
                  <a:lnTo>
                    <a:pt x="336" y="171"/>
                  </a:lnTo>
                  <a:lnTo>
                    <a:pt x="336" y="169"/>
                  </a:lnTo>
                  <a:lnTo>
                    <a:pt x="337" y="167"/>
                  </a:lnTo>
                  <a:lnTo>
                    <a:pt x="338" y="169"/>
                  </a:lnTo>
                  <a:lnTo>
                    <a:pt x="339" y="169"/>
                  </a:lnTo>
                  <a:lnTo>
                    <a:pt x="339" y="170"/>
                  </a:lnTo>
                  <a:lnTo>
                    <a:pt x="339" y="172"/>
                  </a:lnTo>
                  <a:lnTo>
                    <a:pt x="339" y="173"/>
                  </a:lnTo>
                  <a:lnTo>
                    <a:pt x="340" y="173"/>
                  </a:lnTo>
                  <a:lnTo>
                    <a:pt x="340" y="175"/>
                  </a:lnTo>
                  <a:lnTo>
                    <a:pt x="342" y="175"/>
                  </a:lnTo>
                  <a:lnTo>
                    <a:pt x="343" y="176"/>
                  </a:lnTo>
                  <a:lnTo>
                    <a:pt x="344" y="176"/>
                  </a:lnTo>
                  <a:lnTo>
                    <a:pt x="343" y="176"/>
                  </a:lnTo>
                  <a:lnTo>
                    <a:pt x="343" y="175"/>
                  </a:lnTo>
                  <a:lnTo>
                    <a:pt x="342" y="175"/>
                  </a:lnTo>
                  <a:lnTo>
                    <a:pt x="342" y="173"/>
                  </a:lnTo>
                  <a:lnTo>
                    <a:pt x="342" y="171"/>
                  </a:lnTo>
                  <a:lnTo>
                    <a:pt x="343" y="171"/>
                  </a:lnTo>
                  <a:lnTo>
                    <a:pt x="343" y="170"/>
                  </a:lnTo>
                  <a:lnTo>
                    <a:pt x="343" y="167"/>
                  </a:lnTo>
                  <a:lnTo>
                    <a:pt x="344" y="167"/>
                  </a:lnTo>
                  <a:lnTo>
                    <a:pt x="345" y="169"/>
                  </a:lnTo>
                  <a:lnTo>
                    <a:pt x="345" y="170"/>
                  </a:lnTo>
                  <a:lnTo>
                    <a:pt x="345" y="171"/>
                  </a:lnTo>
                  <a:lnTo>
                    <a:pt x="346" y="172"/>
                  </a:lnTo>
                  <a:lnTo>
                    <a:pt x="348" y="172"/>
                  </a:lnTo>
                  <a:lnTo>
                    <a:pt x="348" y="173"/>
                  </a:lnTo>
                  <a:lnTo>
                    <a:pt x="349" y="173"/>
                  </a:lnTo>
                  <a:lnTo>
                    <a:pt x="349" y="172"/>
                  </a:lnTo>
                  <a:lnTo>
                    <a:pt x="349" y="171"/>
                  </a:lnTo>
                  <a:lnTo>
                    <a:pt x="350" y="170"/>
                  </a:lnTo>
                  <a:lnTo>
                    <a:pt x="350" y="171"/>
                  </a:lnTo>
                  <a:lnTo>
                    <a:pt x="351" y="171"/>
                  </a:lnTo>
                  <a:lnTo>
                    <a:pt x="351" y="172"/>
                  </a:lnTo>
                  <a:lnTo>
                    <a:pt x="351" y="173"/>
                  </a:lnTo>
                  <a:lnTo>
                    <a:pt x="352" y="173"/>
                  </a:lnTo>
                  <a:lnTo>
                    <a:pt x="352" y="175"/>
                  </a:lnTo>
                  <a:lnTo>
                    <a:pt x="352" y="176"/>
                  </a:lnTo>
                  <a:lnTo>
                    <a:pt x="351" y="176"/>
                  </a:lnTo>
                  <a:lnTo>
                    <a:pt x="351" y="177"/>
                  </a:lnTo>
                  <a:lnTo>
                    <a:pt x="350" y="177"/>
                  </a:lnTo>
                  <a:lnTo>
                    <a:pt x="349" y="177"/>
                  </a:lnTo>
                  <a:lnTo>
                    <a:pt x="349" y="178"/>
                  </a:lnTo>
                  <a:lnTo>
                    <a:pt x="348" y="178"/>
                  </a:lnTo>
                  <a:lnTo>
                    <a:pt x="346" y="177"/>
                  </a:lnTo>
                  <a:lnTo>
                    <a:pt x="346" y="176"/>
                  </a:lnTo>
                  <a:lnTo>
                    <a:pt x="345" y="176"/>
                  </a:lnTo>
                  <a:lnTo>
                    <a:pt x="345" y="177"/>
                  </a:lnTo>
                  <a:lnTo>
                    <a:pt x="344" y="177"/>
                  </a:lnTo>
                  <a:lnTo>
                    <a:pt x="344" y="178"/>
                  </a:lnTo>
                  <a:lnTo>
                    <a:pt x="344" y="179"/>
                  </a:lnTo>
                  <a:lnTo>
                    <a:pt x="345" y="179"/>
                  </a:lnTo>
                  <a:lnTo>
                    <a:pt x="346" y="179"/>
                  </a:lnTo>
                  <a:lnTo>
                    <a:pt x="348" y="178"/>
                  </a:lnTo>
                  <a:lnTo>
                    <a:pt x="348" y="179"/>
                  </a:lnTo>
                  <a:lnTo>
                    <a:pt x="349" y="179"/>
                  </a:lnTo>
                  <a:lnTo>
                    <a:pt x="349" y="181"/>
                  </a:lnTo>
                  <a:lnTo>
                    <a:pt x="350" y="181"/>
                  </a:lnTo>
                  <a:lnTo>
                    <a:pt x="351" y="181"/>
                  </a:lnTo>
                  <a:lnTo>
                    <a:pt x="352" y="181"/>
                  </a:lnTo>
                  <a:lnTo>
                    <a:pt x="354" y="179"/>
                  </a:lnTo>
                  <a:lnTo>
                    <a:pt x="355" y="179"/>
                  </a:lnTo>
                  <a:lnTo>
                    <a:pt x="354" y="178"/>
                  </a:lnTo>
                  <a:lnTo>
                    <a:pt x="355" y="178"/>
                  </a:lnTo>
                  <a:lnTo>
                    <a:pt x="355" y="177"/>
                  </a:lnTo>
                  <a:lnTo>
                    <a:pt x="356" y="177"/>
                  </a:lnTo>
                  <a:lnTo>
                    <a:pt x="356" y="176"/>
                  </a:lnTo>
                  <a:lnTo>
                    <a:pt x="356" y="175"/>
                  </a:lnTo>
                  <a:lnTo>
                    <a:pt x="355" y="173"/>
                  </a:lnTo>
                  <a:lnTo>
                    <a:pt x="355" y="172"/>
                  </a:lnTo>
                  <a:lnTo>
                    <a:pt x="355" y="171"/>
                  </a:lnTo>
                  <a:lnTo>
                    <a:pt x="354" y="171"/>
                  </a:lnTo>
                  <a:lnTo>
                    <a:pt x="354" y="170"/>
                  </a:lnTo>
                  <a:lnTo>
                    <a:pt x="352" y="170"/>
                  </a:lnTo>
                  <a:lnTo>
                    <a:pt x="352" y="167"/>
                  </a:lnTo>
                  <a:lnTo>
                    <a:pt x="352" y="166"/>
                  </a:lnTo>
                  <a:lnTo>
                    <a:pt x="354" y="165"/>
                  </a:lnTo>
                  <a:lnTo>
                    <a:pt x="352" y="165"/>
                  </a:lnTo>
                  <a:lnTo>
                    <a:pt x="351" y="165"/>
                  </a:lnTo>
                  <a:lnTo>
                    <a:pt x="351" y="164"/>
                  </a:lnTo>
                  <a:lnTo>
                    <a:pt x="351" y="162"/>
                  </a:lnTo>
                  <a:lnTo>
                    <a:pt x="352" y="162"/>
                  </a:lnTo>
                  <a:lnTo>
                    <a:pt x="352" y="164"/>
                  </a:lnTo>
                  <a:lnTo>
                    <a:pt x="354" y="164"/>
                  </a:lnTo>
                  <a:lnTo>
                    <a:pt x="355" y="164"/>
                  </a:lnTo>
                  <a:lnTo>
                    <a:pt x="356" y="164"/>
                  </a:lnTo>
                  <a:lnTo>
                    <a:pt x="357" y="164"/>
                  </a:lnTo>
                  <a:lnTo>
                    <a:pt x="357" y="162"/>
                  </a:lnTo>
                  <a:lnTo>
                    <a:pt x="360" y="161"/>
                  </a:lnTo>
                  <a:lnTo>
                    <a:pt x="360" y="162"/>
                  </a:lnTo>
                  <a:lnTo>
                    <a:pt x="360" y="164"/>
                  </a:lnTo>
                  <a:lnTo>
                    <a:pt x="361" y="164"/>
                  </a:lnTo>
                  <a:lnTo>
                    <a:pt x="361" y="162"/>
                  </a:lnTo>
                  <a:lnTo>
                    <a:pt x="360" y="161"/>
                  </a:lnTo>
                  <a:lnTo>
                    <a:pt x="362" y="161"/>
                  </a:lnTo>
                  <a:lnTo>
                    <a:pt x="361" y="160"/>
                  </a:lnTo>
                  <a:lnTo>
                    <a:pt x="363" y="160"/>
                  </a:lnTo>
                  <a:lnTo>
                    <a:pt x="362" y="161"/>
                  </a:lnTo>
                  <a:lnTo>
                    <a:pt x="363" y="162"/>
                  </a:lnTo>
                  <a:lnTo>
                    <a:pt x="364" y="162"/>
                  </a:lnTo>
                  <a:lnTo>
                    <a:pt x="363" y="164"/>
                  </a:lnTo>
                  <a:lnTo>
                    <a:pt x="363" y="165"/>
                  </a:lnTo>
                  <a:lnTo>
                    <a:pt x="362" y="166"/>
                  </a:lnTo>
                  <a:lnTo>
                    <a:pt x="361" y="166"/>
                  </a:lnTo>
                  <a:lnTo>
                    <a:pt x="362" y="166"/>
                  </a:lnTo>
                  <a:lnTo>
                    <a:pt x="362" y="167"/>
                  </a:lnTo>
                  <a:lnTo>
                    <a:pt x="361" y="167"/>
                  </a:lnTo>
                  <a:lnTo>
                    <a:pt x="361" y="169"/>
                  </a:lnTo>
                  <a:lnTo>
                    <a:pt x="361" y="170"/>
                  </a:lnTo>
                  <a:lnTo>
                    <a:pt x="361" y="171"/>
                  </a:lnTo>
                  <a:lnTo>
                    <a:pt x="360" y="171"/>
                  </a:lnTo>
                  <a:lnTo>
                    <a:pt x="360" y="172"/>
                  </a:lnTo>
                  <a:lnTo>
                    <a:pt x="358" y="172"/>
                  </a:lnTo>
                  <a:lnTo>
                    <a:pt x="358" y="173"/>
                  </a:lnTo>
                  <a:lnTo>
                    <a:pt x="357" y="173"/>
                  </a:lnTo>
                  <a:lnTo>
                    <a:pt x="357" y="172"/>
                  </a:lnTo>
                  <a:lnTo>
                    <a:pt x="356" y="173"/>
                  </a:lnTo>
                  <a:lnTo>
                    <a:pt x="357" y="173"/>
                  </a:lnTo>
                  <a:lnTo>
                    <a:pt x="357" y="175"/>
                  </a:lnTo>
                  <a:lnTo>
                    <a:pt x="357" y="178"/>
                  </a:lnTo>
                  <a:lnTo>
                    <a:pt x="357" y="179"/>
                  </a:lnTo>
                  <a:lnTo>
                    <a:pt x="358" y="181"/>
                  </a:lnTo>
                  <a:lnTo>
                    <a:pt x="358" y="182"/>
                  </a:lnTo>
                  <a:lnTo>
                    <a:pt x="360" y="182"/>
                  </a:lnTo>
                  <a:lnTo>
                    <a:pt x="360" y="181"/>
                  </a:lnTo>
                  <a:lnTo>
                    <a:pt x="361" y="181"/>
                  </a:lnTo>
                  <a:lnTo>
                    <a:pt x="363" y="181"/>
                  </a:lnTo>
                  <a:lnTo>
                    <a:pt x="366" y="181"/>
                  </a:lnTo>
                  <a:lnTo>
                    <a:pt x="366" y="179"/>
                  </a:lnTo>
                  <a:lnTo>
                    <a:pt x="367" y="179"/>
                  </a:lnTo>
                  <a:lnTo>
                    <a:pt x="368" y="179"/>
                  </a:lnTo>
                  <a:lnTo>
                    <a:pt x="369" y="181"/>
                  </a:lnTo>
                  <a:lnTo>
                    <a:pt x="370" y="179"/>
                  </a:lnTo>
                  <a:lnTo>
                    <a:pt x="372" y="179"/>
                  </a:lnTo>
                  <a:lnTo>
                    <a:pt x="373" y="179"/>
                  </a:lnTo>
                  <a:lnTo>
                    <a:pt x="373" y="181"/>
                  </a:lnTo>
                  <a:lnTo>
                    <a:pt x="374" y="181"/>
                  </a:lnTo>
                  <a:lnTo>
                    <a:pt x="376" y="181"/>
                  </a:lnTo>
                  <a:lnTo>
                    <a:pt x="376" y="182"/>
                  </a:lnTo>
                  <a:lnTo>
                    <a:pt x="378" y="181"/>
                  </a:lnTo>
                  <a:lnTo>
                    <a:pt x="378" y="182"/>
                  </a:lnTo>
                  <a:lnTo>
                    <a:pt x="379" y="182"/>
                  </a:lnTo>
                  <a:lnTo>
                    <a:pt x="380" y="182"/>
                  </a:lnTo>
                  <a:lnTo>
                    <a:pt x="381" y="182"/>
                  </a:lnTo>
                  <a:lnTo>
                    <a:pt x="381" y="181"/>
                  </a:lnTo>
                  <a:lnTo>
                    <a:pt x="383" y="181"/>
                  </a:lnTo>
                  <a:lnTo>
                    <a:pt x="383" y="182"/>
                  </a:lnTo>
                  <a:lnTo>
                    <a:pt x="384" y="182"/>
                  </a:lnTo>
                  <a:lnTo>
                    <a:pt x="384" y="183"/>
                  </a:lnTo>
                  <a:lnTo>
                    <a:pt x="385" y="183"/>
                  </a:lnTo>
                  <a:lnTo>
                    <a:pt x="385" y="182"/>
                  </a:lnTo>
                  <a:lnTo>
                    <a:pt x="384" y="181"/>
                  </a:lnTo>
                  <a:lnTo>
                    <a:pt x="384" y="179"/>
                  </a:lnTo>
                  <a:lnTo>
                    <a:pt x="384" y="181"/>
                  </a:lnTo>
                  <a:lnTo>
                    <a:pt x="383" y="179"/>
                  </a:lnTo>
                  <a:lnTo>
                    <a:pt x="384" y="179"/>
                  </a:lnTo>
                  <a:lnTo>
                    <a:pt x="384" y="178"/>
                  </a:lnTo>
                  <a:lnTo>
                    <a:pt x="386" y="178"/>
                  </a:lnTo>
                  <a:lnTo>
                    <a:pt x="386" y="179"/>
                  </a:lnTo>
                  <a:lnTo>
                    <a:pt x="386" y="181"/>
                  </a:lnTo>
                  <a:lnTo>
                    <a:pt x="385" y="181"/>
                  </a:lnTo>
                  <a:lnTo>
                    <a:pt x="386" y="182"/>
                  </a:lnTo>
                  <a:lnTo>
                    <a:pt x="385" y="182"/>
                  </a:lnTo>
                  <a:lnTo>
                    <a:pt x="386" y="182"/>
                  </a:lnTo>
                  <a:lnTo>
                    <a:pt x="385" y="183"/>
                  </a:lnTo>
                  <a:lnTo>
                    <a:pt x="385" y="184"/>
                  </a:lnTo>
                  <a:lnTo>
                    <a:pt x="385" y="185"/>
                  </a:lnTo>
                  <a:lnTo>
                    <a:pt x="384" y="185"/>
                  </a:lnTo>
                  <a:lnTo>
                    <a:pt x="383" y="187"/>
                  </a:lnTo>
                  <a:lnTo>
                    <a:pt x="383" y="188"/>
                  </a:lnTo>
                  <a:lnTo>
                    <a:pt x="383" y="189"/>
                  </a:lnTo>
                  <a:lnTo>
                    <a:pt x="381" y="188"/>
                  </a:lnTo>
                  <a:lnTo>
                    <a:pt x="380" y="189"/>
                  </a:lnTo>
                  <a:lnTo>
                    <a:pt x="381" y="189"/>
                  </a:lnTo>
                  <a:lnTo>
                    <a:pt x="381" y="191"/>
                  </a:lnTo>
                  <a:lnTo>
                    <a:pt x="381" y="194"/>
                  </a:lnTo>
                  <a:lnTo>
                    <a:pt x="381" y="195"/>
                  </a:lnTo>
                  <a:lnTo>
                    <a:pt x="380" y="195"/>
                  </a:lnTo>
                  <a:lnTo>
                    <a:pt x="380" y="194"/>
                  </a:lnTo>
                  <a:lnTo>
                    <a:pt x="379" y="195"/>
                  </a:lnTo>
                  <a:lnTo>
                    <a:pt x="380" y="195"/>
                  </a:lnTo>
                  <a:lnTo>
                    <a:pt x="380" y="196"/>
                  </a:lnTo>
                  <a:lnTo>
                    <a:pt x="379" y="197"/>
                  </a:lnTo>
                  <a:lnTo>
                    <a:pt x="380" y="197"/>
                  </a:lnTo>
                  <a:lnTo>
                    <a:pt x="381" y="197"/>
                  </a:lnTo>
                  <a:lnTo>
                    <a:pt x="381" y="196"/>
                  </a:lnTo>
                  <a:lnTo>
                    <a:pt x="380" y="195"/>
                  </a:lnTo>
                  <a:lnTo>
                    <a:pt x="381" y="194"/>
                  </a:lnTo>
                  <a:lnTo>
                    <a:pt x="383" y="193"/>
                  </a:lnTo>
                  <a:lnTo>
                    <a:pt x="383" y="191"/>
                  </a:lnTo>
                  <a:lnTo>
                    <a:pt x="384" y="191"/>
                  </a:lnTo>
                  <a:lnTo>
                    <a:pt x="384" y="193"/>
                  </a:lnTo>
                  <a:lnTo>
                    <a:pt x="385" y="195"/>
                  </a:lnTo>
                  <a:lnTo>
                    <a:pt x="385" y="194"/>
                  </a:lnTo>
                  <a:lnTo>
                    <a:pt x="385" y="193"/>
                  </a:lnTo>
                  <a:lnTo>
                    <a:pt x="386" y="193"/>
                  </a:lnTo>
                  <a:lnTo>
                    <a:pt x="386" y="191"/>
                  </a:lnTo>
                  <a:lnTo>
                    <a:pt x="387" y="191"/>
                  </a:lnTo>
                  <a:lnTo>
                    <a:pt x="386" y="191"/>
                  </a:lnTo>
                  <a:lnTo>
                    <a:pt x="387" y="193"/>
                  </a:lnTo>
                  <a:lnTo>
                    <a:pt x="387" y="194"/>
                  </a:lnTo>
                  <a:lnTo>
                    <a:pt x="386" y="194"/>
                  </a:lnTo>
                  <a:lnTo>
                    <a:pt x="386" y="195"/>
                  </a:lnTo>
                  <a:lnTo>
                    <a:pt x="385" y="195"/>
                  </a:lnTo>
                  <a:lnTo>
                    <a:pt x="385" y="196"/>
                  </a:lnTo>
                  <a:lnTo>
                    <a:pt x="386" y="196"/>
                  </a:lnTo>
                  <a:lnTo>
                    <a:pt x="386" y="197"/>
                  </a:lnTo>
                  <a:lnTo>
                    <a:pt x="387" y="197"/>
                  </a:lnTo>
                  <a:lnTo>
                    <a:pt x="389" y="197"/>
                  </a:lnTo>
                  <a:lnTo>
                    <a:pt x="390" y="197"/>
                  </a:lnTo>
                  <a:lnTo>
                    <a:pt x="390" y="196"/>
                  </a:lnTo>
                  <a:lnTo>
                    <a:pt x="390" y="195"/>
                  </a:lnTo>
                  <a:lnTo>
                    <a:pt x="391" y="195"/>
                  </a:lnTo>
                  <a:lnTo>
                    <a:pt x="390" y="194"/>
                  </a:lnTo>
                  <a:lnTo>
                    <a:pt x="391" y="194"/>
                  </a:lnTo>
                  <a:lnTo>
                    <a:pt x="392" y="193"/>
                  </a:lnTo>
                  <a:lnTo>
                    <a:pt x="393" y="193"/>
                  </a:lnTo>
                  <a:lnTo>
                    <a:pt x="393" y="194"/>
                  </a:lnTo>
                  <a:lnTo>
                    <a:pt x="396" y="194"/>
                  </a:lnTo>
                  <a:lnTo>
                    <a:pt x="396" y="195"/>
                  </a:lnTo>
                  <a:lnTo>
                    <a:pt x="397" y="195"/>
                  </a:lnTo>
                  <a:lnTo>
                    <a:pt x="397" y="196"/>
                  </a:lnTo>
                  <a:lnTo>
                    <a:pt x="397" y="195"/>
                  </a:lnTo>
                  <a:lnTo>
                    <a:pt x="398" y="195"/>
                  </a:lnTo>
                  <a:lnTo>
                    <a:pt x="398" y="196"/>
                  </a:lnTo>
                  <a:lnTo>
                    <a:pt x="399" y="196"/>
                  </a:lnTo>
                  <a:lnTo>
                    <a:pt x="399" y="197"/>
                  </a:lnTo>
                  <a:lnTo>
                    <a:pt x="401" y="197"/>
                  </a:lnTo>
                  <a:lnTo>
                    <a:pt x="402" y="196"/>
                  </a:lnTo>
                  <a:lnTo>
                    <a:pt x="404" y="196"/>
                  </a:lnTo>
                  <a:lnTo>
                    <a:pt x="405" y="196"/>
                  </a:lnTo>
                  <a:lnTo>
                    <a:pt x="405" y="197"/>
                  </a:lnTo>
                  <a:lnTo>
                    <a:pt x="407" y="197"/>
                  </a:lnTo>
                  <a:lnTo>
                    <a:pt x="407" y="199"/>
                  </a:lnTo>
                  <a:lnTo>
                    <a:pt x="407" y="200"/>
                  </a:lnTo>
                  <a:lnTo>
                    <a:pt x="408" y="200"/>
                  </a:lnTo>
                  <a:lnTo>
                    <a:pt x="408" y="201"/>
                  </a:lnTo>
                  <a:lnTo>
                    <a:pt x="409" y="201"/>
                  </a:lnTo>
                  <a:lnTo>
                    <a:pt x="410" y="201"/>
                  </a:lnTo>
                  <a:lnTo>
                    <a:pt x="411" y="201"/>
                  </a:lnTo>
                  <a:lnTo>
                    <a:pt x="413" y="201"/>
                  </a:lnTo>
                  <a:lnTo>
                    <a:pt x="413" y="200"/>
                  </a:lnTo>
                  <a:lnTo>
                    <a:pt x="414" y="200"/>
                  </a:lnTo>
                  <a:lnTo>
                    <a:pt x="414" y="201"/>
                  </a:lnTo>
                  <a:lnTo>
                    <a:pt x="415" y="201"/>
                  </a:lnTo>
                  <a:lnTo>
                    <a:pt x="416" y="201"/>
                  </a:lnTo>
                  <a:lnTo>
                    <a:pt x="416" y="202"/>
                  </a:lnTo>
                  <a:lnTo>
                    <a:pt x="416" y="205"/>
                  </a:lnTo>
                  <a:lnTo>
                    <a:pt x="417" y="205"/>
                  </a:lnTo>
                  <a:lnTo>
                    <a:pt x="419" y="205"/>
                  </a:lnTo>
                  <a:lnTo>
                    <a:pt x="417" y="205"/>
                  </a:lnTo>
                  <a:lnTo>
                    <a:pt x="417" y="203"/>
                  </a:lnTo>
                  <a:lnTo>
                    <a:pt x="419" y="203"/>
                  </a:lnTo>
                  <a:lnTo>
                    <a:pt x="420" y="203"/>
                  </a:lnTo>
                  <a:lnTo>
                    <a:pt x="421" y="203"/>
                  </a:lnTo>
                  <a:lnTo>
                    <a:pt x="422" y="203"/>
                  </a:lnTo>
                  <a:lnTo>
                    <a:pt x="421" y="205"/>
                  </a:lnTo>
                  <a:lnTo>
                    <a:pt x="420" y="205"/>
                  </a:lnTo>
                  <a:lnTo>
                    <a:pt x="419" y="205"/>
                  </a:lnTo>
                  <a:lnTo>
                    <a:pt x="419" y="206"/>
                  </a:lnTo>
                  <a:lnTo>
                    <a:pt x="417" y="206"/>
                  </a:lnTo>
                  <a:lnTo>
                    <a:pt x="417" y="207"/>
                  </a:lnTo>
                  <a:lnTo>
                    <a:pt x="417" y="206"/>
                  </a:lnTo>
                  <a:lnTo>
                    <a:pt x="419" y="207"/>
                  </a:lnTo>
                  <a:lnTo>
                    <a:pt x="420" y="208"/>
                  </a:lnTo>
                  <a:lnTo>
                    <a:pt x="419" y="208"/>
                  </a:lnTo>
                  <a:lnTo>
                    <a:pt x="419" y="209"/>
                  </a:lnTo>
                  <a:lnTo>
                    <a:pt x="420" y="209"/>
                  </a:lnTo>
                  <a:lnTo>
                    <a:pt x="421" y="208"/>
                  </a:lnTo>
                  <a:lnTo>
                    <a:pt x="421" y="209"/>
                  </a:lnTo>
                  <a:lnTo>
                    <a:pt x="421" y="208"/>
                  </a:lnTo>
                  <a:lnTo>
                    <a:pt x="422" y="209"/>
                  </a:lnTo>
                  <a:lnTo>
                    <a:pt x="423" y="208"/>
                  </a:lnTo>
                  <a:lnTo>
                    <a:pt x="423" y="206"/>
                  </a:lnTo>
                  <a:lnTo>
                    <a:pt x="423" y="205"/>
                  </a:lnTo>
                  <a:lnTo>
                    <a:pt x="423" y="203"/>
                  </a:lnTo>
                  <a:lnTo>
                    <a:pt x="423" y="202"/>
                  </a:lnTo>
                  <a:lnTo>
                    <a:pt x="425" y="203"/>
                  </a:lnTo>
                  <a:lnTo>
                    <a:pt x="425" y="205"/>
                  </a:lnTo>
                  <a:lnTo>
                    <a:pt x="426" y="206"/>
                  </a:lnTo>
                  <a:lnTo>
                    <a:pt x="426" y="207"/>
                  </a:lnTo>
                  <a:lnTo>
                    <a:pt x="425" y="206"/>
                  </a:lnTo>
                  <a:lnTo>
                    <a:pt x="425" y="207"/>
                  </a:lnTo>
                  <a:lnTo>
                    <a:pt x="425" y="208"/>
                  </a:lnTo>
                  <a:lnTo>
                    <a:pt x="426" y="209"/>
                  </a:lnTo>
                  <a:lnTo>
                    <a:pt x="426" y="211"/>
                  </a:lnTo>
                  <a:lnTo>
                    <a:pt x="426" y="209"/>
                  </a:lnTo>
                  <a:lnTo>
                    <a:pt x="428" y="209"/>
                  </a:lnTo>
                  <a:lnTo>
                    <a:pt x="429" y="208"/>
                  </a:lnTo>
                  <a:lnTo>
                    <a:pt x="431" y="209"/>
                  </a:lnTo>
                  <a:lnTo>
                    <a:pt x="433" y="209"/>
                  </a:lnTo>
                  <a:lnTo>
                    <a:pt x="434" y="209"/>
                  </a:lnTo>
                  <a:lnTo>
                    <a:pt x="435" y="211"/>
                  </a:lnTo>
                  <a:lnTo>
                    <a:pt x="437" y="212"/>
                  </a:lnTo>
                  <a:lnTo>
                    <a:pt x="438" y="211"/>
                  </a:lnTo>
                  <a:lnTo>
                    <a:pt x="437" y="211"/>
                  </a:lnTo>
                  <a:lnTo>
                    <a:pt x="437" y="212"/>
                  </a:lnTo>
                  <a:lnTo>
                    <a:pt x="437" y="213"/>
                  </a:lnTo>
                  <a:lnTo>
                    <a:pt x="438" y="214"/>
                  </a:lnTo>
                  <a:lnTo>
                    <a:pt x="438" y="212"/>
                  </a:lnTo>
                  <a:lnTo>
                    <a:pt x="438" y="211"/>
                  </a:lnTo>
                  <a:lnTo>
                    <a:pt x="439" y="211"/>
                  </a:lnTo>
                  <a:lnTo>
                    <a:pt x="439" y="212"/>
                  </a:lnTo>
                  <a:lnTo>
                    <a:pt x="440" y="212"/>
                  </a:lnTo>
                  <a:lnTo>
                    <a:pt x="440" y="213"/>
                  </a:lnTo>
                  <a:lnTo>
                    <a:pt x="440" y="214"/>
                  </a:lnTo>
                  <a:lnTo>
                    <a:pt x="440" y="215"/>
                  </a:lnTo>
                  <a:lnTo>
                    <a:pt x="440" y="217"/>
                  </a:lnTo>
                  <a:lnTo>
                    <a:pt x="442" y="218"/>
                  </a:lnTo>
                  <a:lnTo>
                    <a:pt x="442" y="219"/>
                  </a:lnTo>
                  <a:lnTo>
                    <a:pt x="440" y="220"/>
                  </a:lnTo>
                  <a:lnTo>
                    <a:pt x="440" y="221"/>
                  </a:lnTo>
                  <a:lnTo>
                    <a:pt x="440" y="223"/>
                  </a:lnTo>
                  <a:lnTo>
                    <a:pt x="440" y="224"/>
                  </a:lnTo>
                  <a:lnTo>
                    <a:pt x="439" y="224"/>
                  </a:lnTo>
                  <a:lnTo>
                    <a:pt x="439" y="225"/>
                  </a:lnTo>
                  <a:lnTo>
                    <a:pt x="438" y="225"/>
                  </a:lnTo>
                  <a:lnTo>
                    <a:pt x="437" y="225"/>
                  </a:lnTo>
                  <a:lnTo>
                    <a:pt x="437" y="226"/>
                  </a:lnTo>
                  <a:lnTo>
                    <a:pt x="435" y="226"/>
                  </a:lnTo>
                  <a:lnTo>
                    <a:pt x="434" y="226"/>
                  </a:lnTo>
                  <a:lnTo>
                    <a:pt x="433" y="226"/>
                  </a:lnTo>
                  <a:lnTo>
                    <a:pt x="432" y="227"/>
                  </a:lnTo>
                  <a:lnTo>
                    <a:pt x="431" y="227"/>
                  </a:lnTo>
                  <a:lnTo>
                    <a:pt x="431" y="226"/>
                  </a:lnTo>
                  <a:lnTo>
                    <a:pt x="432" y="226"/>
                  </a:lnTo>
                  <a:lnTo>
                    <a:pt x="432" y="225"/>
                  </a:lnTo>
                  <a:lnTo>
                    <a:pt x="432" y="224"/>
                  </a:lnTo>
                  <a:lnTo>
                    <a:pt x="433" y="224"/>
                  </a:lnTo>
                  <a:lnTo>
                    <a:pt x="432" y="224"/>
                  </a:lnTo>
                  <a:lnTo>
                    <a:pt x="432" y="223"/>
                  </a:lnTo>
                  <a:lnTo>
                    <a:pt x="432" y="225"/>
                  </a:lnTo>
                  <a:lnTo>
                    <a:pt x="431" y="225"/>
                  </a:lnTo>
                  <a:lnTo>
                    <a:pt x="431" y="226"/>
                  </a:lnTo>
                  <a:lnTo>
                    <a:pt x="429" y="226"/>
                  </a:lnTo>
                  <a:lnTo>
                    <a:pt x="431" y="226"/>
                  </a:lnTo>
                  <a:lnTo>
                    <a:pt x="431" y="227"/>
                  </a:lnTo>
                  <a:lnTo>
                    <a:pt x="429" y="227"/>
                  </a:lnTo>
                  <a:lnTo>
                    <a:pt x="429" y="226"/>
                  </a:lnTo>
                  <a:lnTo>
                    <a:pt x="429" y="225"/>
                  </a:lnTo>
                  <a:lnTo>
                    <a:pt x="429" y="224"/>
                  </a:lnTo>
                  <a:lnTo>
                    <a:pt x="429" y="223"/>
                  </a:lnTo>
                  <a:lnTo>
                    <a:pt x="428" y="223"/>
                  </a:lnTo>
                  <a:lnTo>
                    <a:pt x="427" y="223"/>
                  </a:lnTo>
                  <a:lnTo>
                    <a:pt x="426" y="221"/>
                  </a:lnTo>
                  <a:lnTo>
                    <a:pt x="425" y="220"/>
                  </a:lnTo>
                  <a:lnTo>
                    <a:pt x="425" y="221"/>
                  </a:lnTo>
                  <a:lnTo>
                    <a:pt x="425" y="224"/>
                  </a:lnTo>
                  <a:lnTo>
                    <a:pt x="425" y="226"/>
                  </a:lnTo>
                  <a:lnTo>
                    <a:pt x="426" y="226"/>
                  </a:lnTo>
                  <a:lnTo>
                    <a:pt x="426" y="225"/>
                  </a:lnTo>
                  <a:lnTo>
                    <a:pt x="427" y="225"/>
                  </a:lnTo>
                  <a:lnTo>
                    <a:pt x="427" y="224"/>
                  </a:lnTo>
                  <a:lnTo>
                    <a:pt x="427" y="223"/>
                  </a:lnTo>
                  <a:lnTo>
                    <a:pt x="428" y="224"/>
                  </a:lnTo>
                  <a:lnTo>
                    <a:pt x="428" y="225"/>
                  </a:lnTo>
                  <a:lnTo>
                    <a:pt x="428" y="226"/>
                  </a:lnTo>
                  <a:lnTo>
                    <a:pt x="426" y="227"/>
                  </a:lnTo>
                  <a:lnTo>
                    <a:pt x="427" y="227"/>
                  </a:lnTo>
                  <a:lnTo>
                    <a:pt x="432" y="227"/>
                  </a:lnTo>
                  <a:lnTo>
                    <a:pt x="434" y="227"/>
                  </a:lnTo>
                  <a:lnTo>
                    <a:pt x="434" y="229"/>
                  </a:lnTo>
                  <a:lnTo>
                    <a:pt x="434" y="230"/>
                  </a:lnTo>
                  <a:lnTo>
                    <a:pt x="435" y="231"/>
                  </a:lnTo>
                  <a:lnTo>
                    <a:pt x="435" y="232"/>
                  </a:lnTo>
                  <a:lnTo>
                    <a:pt x="435" y="233"/>
                  </a:lnTo>
                  <a:lnTo>
                    <a:pt x="434" y="233"/>
                  </a:lnTo>
                  <a:lnTo>
                    <a:pt x="434" y="236"/>
                  </a:lnTo>
                  <a:lnTo>
                    <a:pt x="435" y="237"/>
                  </a:lnTo>
                  <a:lnTo>
                    <a:pt x="434" y="238"/>
                  </a:lnTo>
                  <a:lnTo>
                    <a:pt x="435" y="238"/>
                  </a:lnTo>
                  <a:lnTo>
                    <a:pt x="435" y="237"/>
                  </a:lnTo>
                  <a:lnTo>
                    <a:pt x="437" y="236"/>
                  </a:lnTo>
                  <a:lnTo>
                    <a:pt x="438" y="236"/>
                  </a:lnTo>
                  <a:lnTo>
                    <a:pt x="438" y="235"/>
                  </a:lnTo>
                  <a:lnTo>
                    <a:pt x="438" y="233"/>
                  </a:lnTo>
                  <a:lnTo>
                    <a:pt x="438" y="232"/>
                  </a:lnTo>
                  <a:lnTo>
                    <a:pt x="437" y="232"/>
                  </a:lnTo>
                  <a:lnTo>
                    <a:pt x="435" y="232"/>
                  </a:lnTo>
                  <a:lnTo>
                    <a:pt x="435" y="231"/>
                  </a:lnTo>
                  <a:lnTo>
                    <a:pt x="435" y="230"/>
                  </a:lnTo>
                  <a:lnTo>
                    <a:pt x="435" y="229"/>
                  </a:lnTo>
                  <a:lnTo>
                    <a:pt x="437" y="227"/>
                  </a:lnTo>
                  <a:lnTo>
                    <a:pt x="437" y="229"/>
                  </a:lnTo>
                  <a:lnTo>
                    <a:pt x="438" y="229"/>
                  </a:lnTo>
                  <a:lnTo>
                    <a:pt x="439" y="230"/>
                  </a:lnTo>
                  <a:lnTo>
                    <a:pt x="440" y="229"/>
                  </a:lnTo>
                  <a:lnTo>
                    <a:pt x="439" y="229"/>
                  </a:lnTo>
                  <a:lnTo>
                    <a:pt x="439" y="227"/>
                  </a:lnTo>
                  <a:lnTo>
                    <a:pt x="440" y="227"/>
                  </a:lnTo>
                  <a:lnTo>
                    <a:pt x="442" y="227"/>
                  </a:lnTo>
                  <a:lnTo>
                    <a:pt x="443" y="227"/>
                  </a:lnTo>
                  <a:lnTo>
                    <a:pt x="443" y="229"/>
                  </a:lnTo>
                  <a:lnTo>
                    <a:pt x="444" y="229"/>
                  </a:lnTo>
                  <a:lnTo>
                    <a:pt x="444" y="230"/>
                  </a:lnTo>
                  <a:lnTo>
                    <a:pt x="444" y="231"/>
                  </a:lnTo>
                  <a:lnTo>
                    <a:pt x="446" y="231"/>
                  </a:lnTo>
                  <a:lnTo>
                    <a:pt x="448" y="231"/>
                  </a:lnTo>
                  <a:lnTo>
                    <a:pt x="448" y="232"/>
                  </a:lnTo>
                  <a:lnTo>
                    <a:pt x="449" y="232"/>
                  </a:lnTo>
                  <a:lnTo>
                    <a:pt x="449" y="235"/>
                  </a:lnTo>
                  <a:lnTo>
                    <a:pt x="450" y="235"/>
                  </a:lnTo>
                  <a:lnTo>
                    <a:pt x="450" y="237"/>
                  </a:lnTo>
                  <a:lnTo>
                    <a:pt x="451" y="237"/>
                  </a:lnTo>
                  <a:lnTo>
                    <a:pt x="451" y="238"/>
                  </a:lnTo>
                  <a:lnTo>
                    <a:pt x="452" y="238"/>
                  </a:lnTo>
                  <a:lnTo>
                    <a:pt x="452" y="239"/>
                  </a:lnTo>
                  <a:lnTo>
                    <a:pt x="452" y="241"/>
                  </a:lnTo>
                  <a:lnTo>
                    <a:pt x="451" y="239"/>
                  </a:lnTo>
                  <a:lnTo>
                    <a:pt x="450" y="241"/>
                  </a:lnTo>
                  <a:lnTo>
                    <a:pt x="450" y="243"/>
                  </a:lnTo>
                  <a:lnTo>
                    <a:pt x="449" y="243"/>
                  </a:lnTo>
                  <a:lnTo>
                    <a:pt x="450" y="243"/>
                  </a:lnTo>
                  <a:lnTo>
                    <a:pt x="451" y="243"/>
                  </a:lnTo>
                  <a:lnTo>
                    <a:pt x="451" y="244"/>
                  </a:lnTo>
                  <a:lnTo>
                    <a:pt x="452" y="243"/>
                  </a:lnTo>
                  <a:lnTo>
                    <a:pt x="452" y="244"/>
                  </a:lnTo>
                  <a:lnTo>
                    <a:pt x="454" y="244"/>
                  </a:lnTo>
                  <a:lnTo>
                    <a:pt x="454" y="245"/>
                  </a:lnTo>
                  <a:lnTo>
                    <a:pt x="455" y="244"/>
                  </a:lnTo>
                  <a:lnTo>
                    <a:pt x="456" y="245"/>
                  </a:lnTo>
                  <a:lnTo>
                    <a:pt x="457" y="247"/>
                  </a:lnTo>
                  <a:lnTo>
                    <a:pt x="457" y="245"/>
                  </a:lnTo>
                  <a:lnTo>
                    <a:pt x="456" y="244"/>
                  </a:lnTo>
                  <a:lnTo>
                    <a:pt x="455" y="243"/>
                  </a:lnTo>
                  <a:lnTo>
                    <a:pt x="454" y="242"/>
                  </a:lnTo>
                  <a:lnTo>
                    <a:pt x="456" y="242"/>
                  </a:lnTo>
                  <a:lnTo>
                    <a:pt x="456" y="241"/>
                  </a:lnTo>
                  <a:lnTo>
                    <a:pt x="456" y="238"/>
                  </a:lnTo>
                  <a:lnTo>
                    <a:pt x="455" y="238"/>
                  </a:lnTo>
                  <a:lnTo>
                    <a:pt x="455" y="237"/>
                  </a:lnTo>
                  <a:lnTo>
                    <a:pt x="454" y="237"/>
                  </a:lnTo>
                  <a:lnTo>
                    <a:pt x="454" y="236"/>
                  </a:lnTo>
                  <a:lnTo>
                    <a:pt x="454" y="235"/>
                  </a:lnTo>
                  <a:lnTo>
                    <a:pt x="452" y="235"/>
                  </a:lnTo>
                  <a:lnTo>
                    <a:pt x="451" y="235"/>
                  </a:lnTo>
                  <a:lnTo>
                    <a:pt x="451" y="233"/>
                  </a:lnTo>
                  <a:lnTo>
                    <a:pt x="452" y="232"/>
                  </a:lnTo>
                  <a:lnTo>
                    <a:pt x="452" y="231"/>
                  </a:lnTo>
                  <a:lnTo>
                    <a:pt x="451" y="231"/>
                  </a:lnTo>
                  <a:lnTo>
                    <a:pt x="451" y="230"/>
                  </a:lnTo>
                  <a:lnTo>
                    <a:pt x="450" y="229"/>
                  </a:lnTo>
                  <a:lnTo>
                    <a:pt x="450" y="227"/>
                  </a:lnTo>
                  <a:lnTo>
                    <a:pt x="449" y="226"/>
                  </a:lnTo>
                  <a:lnTo>
                    <a:pt x="449" y="225"/>
                  </a:lnTo>
                  <a:lnTo>
                    <a:pt x="450" y="225"/>
                  </a:lnTo>
                  <a:lnTo>
                    <a:pt x="449" y="221"/>
                  </a:lnTo>
                  <a:lnTo>
                    <a:pt x="449" y="220"/>
                  </a:lnTo>
                  <a:lnTo>
                    <a:pt x="449" y="219"/>
                  </a:lnTo>
                  <a:lnTo>
                    <a:pt x="449" y="218"/>
                  </a:lnTo>
                  <a:lnTo>
                    <a:pt x="448" y="218"/>
                  </a:lnTo>
                  <a:lnTo>
                    <a:pt x="448" y="217"/>
                  </a:lnTo>
                  <a:lnTo>
                    <a:pt x="448" y="215"/>
                  </a:lnTo>
                  <a:lnTo>
                    <a:pt x="448" y="214"/>
                  </a:lnTo>
                  <a:lnTo>
                    <a:pt x="446" y="214"/>
                  </a:lnTo>
                  <a:lnTo>
                    <a:pt x="446" y="213"/>
                  </a:lnTo>
                  <a:lnTo>
                    <a:pt x="448" y="213"/>
                  </a:lnTo>
                  <a:lnTo>
                    <a:pt x="448" y="212"/>
                  </a:lnTo>
                  <a:lnTo>
                    <a:pt x="446" y="211"/>
                  </a:lnTo>
                  <a:lnTo>
                    <a:pt x="445" y="211"/>
                  </a:lnTo>
                  <a:lnTo>
                    <a:pt x="446" y="211"/>
                  </a:lnTo>
                  <a:lnTo>
                    <a:pt x="446" y="209"/>
                  </a:lnTo>
                  <a:lnTo>
                    <a:pt x="445" y="208"/>
                  </a:lnTo>
                  <a:lnTo>
                    <a:pt x="445" y="207"/>
                  </a:lnTo>
                  <a:lnTo>
                    <a:pt x="444" y="207"/>
                  </a:lnTo>
                  <a:lnTo>
                    <a:pt x="444" y="206"/>
                  </a:lnTo>
                  <a:lnTo>
                    <a:pt x="445" y="205"/>
                  </a:lnTo>
                  <a:lnTo>
                    <a:pt x="444" y="203"/>
                  </a:lnTo>
                  <a:lnTo>
                    <a:pt x="443" y="203"/>
                  </a:lnTo>
                  <a:lnTo>
                    <a:pt x="442" y="203"/>
                  </a:lnTo>
                  <a:lnTo>
                    <a:pt x="442" y="205"/>
                  </a:lnTo>
                  <a:lnTo>
                    <a:pt x="442" y="203"/>
                  </a:lnTo>
                  <a:lnTo>
                    <a:pt x="440" y="203"/>
                  </a:lnTo>
                  <a:lnTo>
                    <a:pt x="439" y="203"/>
                  </a:lnTo>
                  <a:lnTo>
                    <a:pt x="440" y="202"/>
                  </a:lnTo>
                  <a:lnTo>
                    <a:pt x="439" y="202"/>
                  </a:lnTo>
                  <a:lnTo>
                    <a:pt x="439" y="201"/>
                  </a:lnTo>
                  <a:lnTo>
                    <a:pt x="440" y="201"/>
                  </a:lnTo>
                  <a:lnTo>
                    <a:pt x="440" y="200"/>
                  </a:lnTo>
                  <a:lnTo>
                    <a:pt x="439" y="200"/>
                  </a:lnTo>
                  <a:lnTo>
                    <a:pt x="439" y="199"/>
                  </a:lnTo>
                  <a:lnTo>
                    <a:pt x="440" y="199"/>
                  </a:lnTo>
                  <a:lnTo>
                    <a:pt x="442" y="199"/>
                  </a:lnTo>
                  <a:lnTo>
                    <a:pt x="443" y="199"/>
                  </a:lnTo>
                  <a:lnTo>
                    <a:pt x="442" y="199"/>
                  </a:lnTo>
                  <a:lnTo>
                    <a:pt x="440" y="197"/>
                  </a:lnTo>
                  <a:lnTo>
                    <a:pt x="440" y="196"/>
                  </a:lnTo>
                  <a:lnTo>
                    <a:pt x="439" y="196"/>
                  </a:lnTo>
                  <a:lnTo>
                    <a:pt x="438" y="196"/>
                  </a:lnTo>
                  <a:lnTo>
                    <a:pt x="438" y="197"/>
                  </a:lnTo>
                  <a:lnTo>
                    <a:pt x="438" y="196"/>
                  </a:lnTo>
                  <a:lnTo>
                    <a:pt x="437" y="196"/>
                  </a:lnTo>
                  <a:lnTo>
                    <a:pt x="435" y="196"/>
                  </a:lnTo>
                  <a:lnTo>
                    <a:pt x="434" y="197"/>
                  </a:lnTo>
                  <a:lnTo>
                    <a:pt x="433" y="197"/>
                  </a:lnTo>
                  <a:lnTo>
                    <a:pt x="433" y="199"/>
                  </a:lnTo>
                  <a:lnTo>
                    <a:pt x="432" y="199"/>
                  </a:lnTo>
                  <a:lnTo>
                    <a:pt x="432" y="197"/>
                  </a:lnTo>
                  <a:lnTo>
                    <a:pt x="431" y="197"/>
                  </a:lnTo>
                  <a:lnTo>
                    <a:pt x="429" y="196"/>
                  </a:lnTo>
                  <a:lnTo>
                    <a:pt x="428" y="196"/>
                  </a:lnTo>
                  <a:lnTo>
                    <a:pt x="427" y="196"/>
                  </a:lnTo>
                  <a:lnTo>
                    <a:pt x="426" y="196"/>
                  </a:lnTo>
                  <a:lnTo>
                    <a:pt x="426" y="195"/>
                  </a:lnTo>
                  <a:lnTo>
                    <a:pt x="425" y="195"/>
                  </a:lnTo>
                  <a:lnTo>
                    <a:pt x="425" y="194"/>
                  </a:lnTo>
                  <a:lnTo>
                    <a:pt x="426" y="193"/>
                  </a:lnTo>
                  <a:lnTo>
                    <a:pt x="426" y="191"/>
                  </a:lnTo>
                  <a:lnTo>
                    <a:pt x="427" y="190"/>
                  </a:lnTo>
                  <a:lnTo>
                    <a:pt x="427" y="191"/>
                  </a:lnTo>
                  <a:lnTo>
                    <a:pt x="428" y="190"/>
                  </a:lnTo>
                  <a:lnTo>
                    <a:pt x="428" y="191"/>
                  </a:lnTo>
                  <a:lnTo>
                    <a:pt x="429" y="190"/>
                  </a:lnTo>
                  <a:lnTo>
                    <a:pt x="431" y="190"/>
                  </a:lnTo>
                  <a:lnTo>
                    <a:pt x="431" y="189"/>
                  </a:lnTo>
                  <a:lnTo>
                    <a:pt x="432" y="189"/>
                  </a:lnTo>
                  <a:lnTo>
                    <a:pt x="433" y="189"/>
                  </a:lnTo>
                  <a:lnTo>
                    <a:pt x="434" y="189"/>
                  </a:lnTo>
                  <a:lnTo>
                    <a:pt x="434" y="190"/>
                  </a:lnTo>
                  <a:lnTo>
                    <a:pt x="434" y="189"/>
                  </a:lnTo>
                  <a:lnTo>
                    <a:pt x="434" y="188"/>
                  </a:lnTo>
                  <a:lnTo>
                    <a:pt x="433" y="187"/>
                  </a:lnTo>
                  <a:lnTo>
                    <a:pt x="432" y="187"/>
                  </a:lnTo>
                  <a:lnTo>
                    <a:pt x="432" y="185"/>
                  </a:lnTo>
                  <a:lnTo>
                    <a:pt x="431" y="185"/>
                  </a:lnTo>
                  <a:lnTo>
                    <a:pt x="431" y="184"/>
                  </a:lnTo>
                  <a:lnTo>
                    <a:pt x="429" y="184"/>
                  </a:lnTo>
                  <a:lnTo>
                    <a:pt x="429" y="185"/>
                  </a:lnTo>
                  <a:lnTo>
                    <a:pt x="429" y="187"/>
                  </a:lnTo>
                  <a:lnTo>
                    <a:pt x="429" y="188"/>
                  </a:lnTo>
                  <a:lnTo>
                    <a:pt x="429" y="189"/>
                  </a:lnTo>
                  <a:lnTo>
                    <a:pt x="429" y="188"/>
                  </a:lnTo>
                  <a:lnTo>
                    <a:pt x="428" y="189"/>
                  </a:lnTo>
                  <a:lnTo>
                    <a:pt x="425" y="189"/>
                  </a:lnTo>
                  <a:lnTo>
                    <a:pt x="425" y="190"/>
                  </a:lnTo>
                  <a:lnTo>
                    <a:pt x="423" y="189"/>
                  </a:lnTo>
                  <a:lnTo>
                    <a:pt x="422" y="189"/>
                  </a:lnTo>
                  <a:lnTo>
                    <a:pt x="420" y="189"/>
                  </a:lnTo>
                  <a:lnTo>
                    <a:pt x="421" y="187"/>
                  </a:lnTo>
                  <a:lnTo>
                    <a:pt x="420" y="187"/>
                  </a:lnTo>
                  <a:lnTo>
                    <a:pt x="420" y="188"/>
                  </a:lnTo>
                  <a:lnTo>
                    <a:pt x="419" y="188"/>
                  </a:lnTo>
                  <a:lnTo>
                    <a:pt x="417" y="188"/>
                  </a:lnTo>
                  <a:lnTo>
                    <a:pt x="417" y="189"/>
                  </a:lnTo>
                  <a:lnTo>
                    <a:pt x="416" y="189"/>
                  </a:lnTo>
                  <a:lnTo>
                    <a:pt x="415" y="188"/>
                  </a:lnTo>
                  <a:lnTo>
                    <a:pt x="414" y="188"/>
                  </a:lnTo>
                  <a:lnTo>
                    <a:pt x="414" y="187"/>
                  </a:lnTo>
                  <a:lnTo>
                    <a:pt x="413" y="187"/>
                  </a:lnTo>
                  <a:lnTo>
                    <a:pt x="411" y="187"/>
                  </a:lnTo>
                  <a:lnTo>
                    <a:pt x="410" y="187"/>
                  </a:lnTo>
                  <a:lnTo>
                    <a:pt x="409" y="187"/>
                  </a:lnTo>
                  <a:lnTo>
                    <a:pt x="408" y="185"/>
                  </a:lnTo>
                  <a:lnTo>
                    <a:pt x="407" y="185"/>
                  </a:lnTo>
                  <a:lnTo>
                    <a:pt x="404" y="184"/>
                  </a:lnTo>
                  <a:lnTo>
                    <a:pt x="405" y="184"/>
                  </a:lnTo>
                  <a:lnTo>
                    <a:pt x="407" y="183"/>
                  </a:lnTo>
                  <a:lnTo>
                    <a:pt x="405" y="183"/>
                  </a:lnTo>
                  <a:lnTo>
                    <a:pt x="405" y="182"/>
                  </a:lnTo>
                  <a:lnTo>
                    <a:pt x="407" y="182"/>
                  </a:lnTo>
                  <a:lnTo>
                    <a:pt x="407" y="181"/>
                  </a:lnTo>
                  <a:lnTo>
                    <a:pt x="409" y="181"/>
                  </a:lnTo>
                  <a:lnTo>
                    <a:pt x="410" y="182"/>
                  </a:lnTo>
                  <a:lnTo>
                    <a:pt x="413" y="182"/>
                  </a:lnTo>
                  <a:lnTo>
                    <a:pt x="413" y="181"/>
                  </a:lnTo>
                  <a:lnTo>
                    <a:pt x="411" y="179"/>
                  </a:lnTo>
                  <a:lnTo>
                    <a:pt x="410" y="179"/>
                  </a:lnTo>
                  <a:lnTo>
                    <a:pt x="409" y="178"/>
                  </a:lnTo>
                  <a:lnTo>
                    <a:pt x="409" y="179"/>
                  </a:lnTo>
                  <a:lnTo>
                    <a:pt x="408" y="179"/>
                  </a:lnTo>
                  <a:lnTo>
                    <a:pt x="407" y="179"/>
                  </a:lnTo>
                  <a:lnTo>
                    <a:pt x="405" y="179"/>
                  </a:lnTo>
                  <a:lnTo>
                    <a:pt x="404" y="181"/>
                  </a:lnTo>
                  <a:lnTo>
                    <a:pt x="403" y="181"/>
                  </a:lnTo>
                  <a:lnTo>
                    <a:pt x="403" y="182"/>
                  </a:lnTo>
                  <a:lnTo>
                    <a:pt x="402" y="182"/>
                  </a:lnTo>
                  <a:lnTo>
                    <a:pt x="402" y="181"/>
                  </a:lnTo>
                  <a:lnTo>
                    <a:pt x="403" y="181"/>
                  </a:lnTo>
                  <a:lnTo>
                    <a:pt x="403" y="179"/>
                  </a:lnTo>
                  <a:lnTo>
                    <a:pt x="404" y="178"/>
                  </a:lnTo>
                  <a:lnTo>
                    <a:pt x="405" y="178"/>
                  </a:lnTo>
                  <a:lnTo>
                    <a:pt x="403" y="178"/>
                  </a:lnTo>
                  <a:lnTo>
                    <a:pt x="403" y="177"/>
                  </a:lnTo>
                  <a:lnTo>
                    <a:pt x="403" y="176"/>
                  </a:lnTo>
                  <a:lnTo>
                    <a:pt x="404" y="176"/>
                  </a:lnTo>
                  <a:lnTo>
                    <a:pt x="403" y="176"/>
                  </a:lnTo>
                  <a:lnTo>
                    <a:pt x="403" y="175"/>
                  </a:lnTo>
                  <a:lnTo>
                    <a:pt x="403" y="173"/>
                  </a:lnTo>
                  <a:lnTo>
                    <a:pt x="404" y="173"/>
                  </a:lnTo>
                  <a:lnTo>
                    <a:pt x="404" y="172"/>
                  </a:lnTo>
                  <a:lnTo>
                    <a:pt x="403" y="171"/>
                  </a:lnTo>
                  <a:lnTo>
                    <a:pt x="403" y="170"/>
                  </a:lnTo>
                  <a:lnTo>
                    <a:pt x="402" y="170"/>
                  </a:lnTo>
                  <a:lnTo>
                    <a:pt x="402" y="169"/>
                  </a:lnTo>
                  <a:lnTo>
                    <a:pt x="401" y="169"/>
                  </a:lnTo>
                  <a:lnTo>
                    <a:pt x="399" y="170"/>
                  </a:lnTo>
                  <a:lnTo>
                    <a:pt x="398" y="170"/>
                  </a:lnTo>
                  <a:lnTo>
                    <a:pt x="398" y="169"/>
                  </a:lnTo>
                  <a:lnTo>
                    <a:pt x="397" y="169"/>
                  </a:lnTo>
                  <a:lnTo>
                    <a:pt x="397" y="171"/>
                  </a:lnTo>
                  <a:lnTo>
                    <a:pt x="398" y="171"/>
                  </a:lnTo>
                  <a:lnTo>
                    <a:pt x="398" y="172"/>
                  </a:lnTo>
                  <a:lnTo>
                    <a:pt x="397" y="172"/>
                  </a:lnTo>
                  <a:lnTo>
                    <a:pt x="399" y="172"/>
                  </a:lnTo>
                  <a:lnTo>
                    <a:pt x="401" y="172"/>
                  </a:lnTo>
                  <a:lnTo>
                    <a:pt x="401" y="173"/>
                  </a:lnTo>
                  <a:lnTo>
                    <a:pt x="399" y="173"/>
                  </a:lnTo>
                  <a:lnTo>
                    <a:pt x="401" y="173"/>
                  </a:lnTo>
                  <a:lnTo>
                    <a:pt x="401" y="175"/>
                  </a:lnTo>
                  <a:lnTo>
                    <a:pt x="401" y="176"/>
                  </a:lnTo>
                  <a:lnTo>
                    <a:pt x="399" y="175"/>
                  </a:lnTo>
                  <a:lnTo>
                    <a:pt x="398" y="175"/>
                  </a:lnTo>
                  <a:lnTo>
                    <a:pt x="398" y="176"/>
                  </a:lnTo>
                  <a:lnTo>
                    <a:pt x="397" y="176"/>
                  </a:lnTo>
                  <a:lnTo>
                    <a:pt x="396" y="176"/>
                  </a:lnTo>
                  <a:lnTo>
                    <a:pt x="393" y="176"/>
                  </a:lnTo>
                  <a:lnTo>
                    <a:pt x="393" y="177"/>
                  </a:lnTo>
                  <a:lnTo>
                    <a:pt x="392" y="177"/>
                  </a:lnTo>
                  <a:lnTo>
                    <a:pt x="393" y="178"/>
                  </a:lnTo>
                  <a:lnTo>
                    <a:pt x="392" y="178"/>
                  </a:lnTo>
                  <a:lnTo>
                    <a:pt x="392" y="179"/>
                  </a:lnTo>
                  <a:lnTo>
                    <a:pt x="391" y="179"/>
                  </a:lnTo>
                  <a:lnTo>
                    <a:pt x="391" y="181"/>
                  </a:lnTo>
                  <a:lnTo>
                    <a:pt x="390" y="181"/>
                  </a:lnTo>
                  <a:lnTo>
                    <a:pt x="390" y="179"/>
                  </a:lnTo>
                  <a:lnTo>
                    <a:pt x="387" y="179"/>
                  </a:lnTo>
                  <a:lnTo>
                    <a:pt x="389" y="178"/>
                  </a:lnTo>
                  <a:lnTo>
                    <a:pt x="389" y="177"/>
                  </a:lnTo>
                  <a:lnTo>
                    <a:pt x="389" y="176"/>
                  </a:lnTo>
                  <a:lnTo>
                    <a:pt x="387" y="175"/>
                  </a:lnTo>
                  <a:lnTo>
                    <a:pt x="387" y="173"/>
                  </a:lnTo>
                  <a:lnTo>
                    <a:pt x="389" y="173"/>
                  </a:lnTo>
                  <a:lnTo>
                    <a:pt x="390" y="175"/>
                  </a:lnTo>
                  <a:lnTo>
                    <a:pt x="391" y="175"/>
                  </a:lnTo>
                  <a:lnTo>
                    <a:pt x="391" y="176"/>
                  </a:lnTo>
                  <a:lnTo>
                    <a:pt x="390" y="176"/>
                  </a:lnTo>
                  <a:lnTo>
                    <a:pt x="391" y="177"/>
                  </a:lnTo>
                  <a:lnTo>
                    <a:pt x="392" y="176"/>
                  </a:lnTo>
                  <a:lnTo>
                    <a:pt x="392" y="175"/>
                  </a:lnTo>
                  <a:lnTo>
                    <a:pt x="392" y="176"/>
                  </a:lnTo>
                  <a:lnTo>
                    <a:pt x="391" y="175"/>
                  </a:lnTo>
                  <a:lnTo>
                    <a:pt x="391" y="173"/>
                  </a:lnTo>
                  <a:lnTo>
                    <a:pt x="390" y="172"/>
                  </a:lnTo>
                  <a:lnTo>
                    <a:pt x="391" y="172"/>
                  </a:lnTo>
                  <a:lnTo>
                    <a:pt x="391" y="171"/>
                  </a:lnTo>
                  <a:lnTo>
                    <a:pt x="390" y="172"/>
                  </a:lnTo>
                  <a:lnTo>
                    <a:pt x="389" y="172"/>
                  </a:lnTo>
                  <a:lnTo>
                    <a:pt x="390" y="171"/>
                  </a:lnTo>
                  <a:lnTo>
                    <a:pt x="390" y="170"/>
                  </a:lnTo>
                  <a:lnTo>
                    <a:pt x="389" y="169"/>
                  </a:lnTo>
                  <a:lnTo>
                    <a:pt x="389" y="167"/>
                  </a:lnTo>
                  <a:lnTo>
                    <a:pt x="387" y="167"/>
                  </a:lnTo>
                  <a:lnTo>
                    <a:pt x="386" y="167"/>
                  </a:lnTo>
                  <a:lnTo>
                    <a:pt x="386" y="166"/>
                  </a:lnTo>
                  <a:lnTo>
                    <a:pt x="386" y="165"/>
                  </a:lnTo>
                  <a:lnTo>
                    <a:pt x="386" y="166"/>
                  </a:lnTo>
                  <a:lnTo>
                    <a:pt x="385" y="166"/>
                  </a:lnTo>
                  <a:lnTo>
                    <a:pt x="386" y="166"/>
                  </a:lnTo>
                  <a:lnTo>
                    <a:pt x="386" y="167"/>
                  </a:lnTo>
                  <a:lnTo>
                    <a:pt x="386" y="169"/>
                  </a:lnTo>
                  <a:lnTo>
                    <a:pt x="385" y="170"/>
                  </a:lnTo>
                  <a:lnTo>
                    <a:pt x="385" y="169"/>
                  </a:lnTo>
                  <a:lnTo>
                    <a:pt x="385" y="167"/>
                  </a:lnTo>
                  <a:lnTo>
                    <a:pt x="384" y="167"/>
                  </a:lnTo>
                  <a:lnTo>
                    <a:pt x="383" y="167"/>
                  </a:lnTo>
                  <a:lnTo>
                    <a:pt x="381" y="167"/>
                  </a:lnTo>
                  <a:lnTo>
                    <a:pt x="381" y="169"/>
                  </a:lnTo>
                  <a:lnTo>
                    <a:pt x="381" y="167"/>
                  </a:lnTo>
                  <a:lnTo>
                    <a:pt x="380" y="167"/>
                  </a:lnTo>
                  <a:lnTo>
                    <a:pt x="380" y="166"/>
                  </a:lnTo>
                  <a:lnTo>
                    <a:pt x="380" y="165"/>
                  </a:lnTo>
                  <a:lnTo>
                    <a:pt x="379" y="165"/>
                  </a:lnTo>
                  <a:lnTo>
                    <a:pt x="378" y="165"/>
                  </a:lnTo>
                  <a:lnTo>
                    <a:pt x="378" y="164"/>
                  </a:lnTo>
                  <a:lnTo>
                    <a:pt x="376" y="165"/>
                  </a:lnTo>
                  <a:lnTo>
                    <a:pt x="376" y="166"/>
                  </a:lnTo>
                  <a:lnTo>
                    <a:pt x="376" y="169"/>
                  </a:lnTo>
                  <a:lnTo>
                    <a:pt x="376" y="170"/>
                  </a:lnTo>
                  <a:lnTo>
                    <a:pt x="375" y="169"/>
                  </a:lnTo>
                  <a:lnTo>
                    <a:pt x="375" y="167"/>
                  </a:lnTo>
                  <a:lnTo>
                    <a:pt x="375" y="166"/>
                  </a:lnTo>
                  <a:lnTo>
                    <a:pt x="374" y="167"/>
                  </a:lnTo>
                  <a:lnTo>
                    <a:pt x="374" y="169"/>
                  </a:lnTo>
                  <a:lnTo>
                    <a:pt x="373" y="169"/>
                  </a:lnTo>
                  <a:lnTo>
                    <a:pt x="374" y="169"/>
                  </a:lnTo>
                  <a:lnTo>
                    <a:pt x="375" y="169"/>
                  </a:lnTo>
                  <a:lnTo>
                    <a:pt x="375" y="170"/>
                  </a:lnTo>
                  <a:lnTo>
                    <a:pt x="374" y="171"/>
                  </a:lnTo>
                  <a:lnTo>
                    <a:pt x="374" y="172"/>
                  </a:lnTo>
                  <a:lnTo>
                    <a:pt x="373" y="172"/>
                  </a:lnTo>
                  <a:lnTo>
                    <a:pt x="372" y="173"/>
                  </a:lnTo>
                  <a:lnTo>
                    <a:pt x="372" y="175"/>
                  </a:lnTo>
                  <a:lnTo>
                    <a:pt x="372" y="173"/>
                  </a:lnTo>
                  <a:lnTo>
                    <a:pt x="370" y="173"/>
                  </a:lnTo>
                  <a:lnTo>
                    <a:pt x="370" y="175"/>
                  </a:lnTo>
                  <a:lnTo>
                    <a:pt x="369" y="175"/>
                  </a:lnTo>
                  <a:lnTo>
                    <a:pt x="366" y="175"/>
                  </a:lnTo>
                  <a:lnTo>
                    <a:pt x="366" y="172"/>
                  </a:lnTo>
                  <a:lnTo>
                    <a:pt x="367" y="172"/>
                  </a:lnTo>
                  <a:lnTo>
                    <a:pt x="367" y="171"/>
                  </a:lnTo>
                  <a:lnTo>
                    <a:pt x="368" y="171"/>
                  </a:lnTo>
                  <a:lnTo>
                    <a:pt x="368" y="170"/>
                  </a:lnTo>
                  <a:lnTo>
                    <a:pt x="367" y="170"/>
                  </a:lnTo>
                  <a:lnTo>
                    <a:pt x="367" y="171"/>
                  </a:lnTo>
                  <a:lnTo>
                    <a:pt x="366" y="170"/>
                  </a:lnTo>
                  <a:lnTo>
                    <a:pt x="367" y="170"/>
                  </a:lnTo>
                  <a:lnTo>
                    <a:pt x="367" y="169"/>
                  </a:lnTo>
                  <a:lnTo>
                    <a:pt x="368" y="169"/>
                  </a:lnTo>
                  <a:lnTo>
                    <a:pt x="368" y="167"/>
                  </a:lnTo>
                  <a:lnTo>
                    <a:pt x="369" y="167"/>
                  </a:lnTo>
                  <a:lnTo>
                    <a:pt x="369" y="166"/>
                  </a:lnTo>
                  <a:lnTo>
                    <a:pt x="368" y="166"/>
                  </a:lnTo>
                  <a:lnTo>
                    <a:pt x="368" y="165"/>
                  </a:lnTo>
                  <a:lnTo>
                    <a:pt x="369" y="165"/>
                  </a:lnTo>
                  <a:lnTo>
                    <a:pt x="369" y="164"/>
                  </a:lnTo>
                  <a:lnTo>
                    <a:pt x="369" y="162"/>
                  </a:lnTo>
                  <a:lnTo>
                    <a:pt x="369" y="161"/>
                  </a:lnTo>
                  <a:lnTo>
                    <a:pt x="370" y="160"/>
                  </a:lnTo>
                  <a:lnTo>
                    <a:pt x="369" y="160"/>
                  </a:lnTo>
                  <a:lnTo>
                    <a:pt x="367" y="159"/>
                  </a:lnTo>
                  <a:lnTo>
                    <a:pt x="366" y="159"/>
                  </a:lnTo>
                  <a:lnTo>
                    <a:pt x="366" y="160"/>
                  </a:lnTo>
                  <a:lnTo>
                    <a:pt x="364" y="161"/>
                  </a:lnTo>
                  <a:lnTo>
                    <a:pt x="363" y="161"/>
                  </a:lnTo>
                  <a:lnTo>
                    <a:pt x="363" y="160"/>
                  </a:lnTo>
                  <a:lnTo>
                    <a:pt x="364" y="160"/>
                  </a:lnTo>
                  <a:lnTo>
                    <a:pt x="364" y="159"/>
                  </a:lnTo>
                  <a:lnTo>
                    <a:pt x="363" y="159"/>
                  </a:lnTo>
                  <a:lnTo>
                    <a:pt x="362" y="159"/>
                  </a:lnTo>
                  <a:lnTo>
                    <a:pt x="361" y="159"/>
                  </a:lnTo>
                  <a:lnTo>
                    <a:pt x="360" y="158"/>
                  </a:lnTo>
                  <a:lnTo>
                    <a:pt x="357" y="158"/>
                  </a:lnTo>
                  <a:lnTo>
                    <a:pt x="356" y="158"/>
                  </a:lnTo>
                  <a:lnTo>
                    <a:pt x="352" y="158"/>
                  </a:lnTo>
                  <a:lnTo>
                    <a:pt x="354" y="158"/>
                  </a:lnTo>
                  <a:lnTo>
                    <a:pt x="354" y="160"/>
                  </a:lnTo>
                  <a:lnTo>
                    <a:pt x="354" y="161"/>
                  </a:lnTo>
                  <a:lnTo>
                    <a:pt x="352" y="160"/>
                  </a:lnTo>
                  <a:lnTo>
                    <a:pt x="351" y="160"/>
                  </a:lnTo>
                  <a:lnTo>
                    <a:pt x="351" y="159"/>
                  </a:lnTo>
                  <a:lnTo>
                    <a:pt x="352" y="158"/>
                  </a:lnTo>
                  <a:lnTo>
                    <a:pt x="351" y="158"/>
                  </a:lnTo>
                  <a:lnTo>
                    <a:pt x="350" y="158"/>
                  </a:lnTo>
                  <a:lnTo>
                    <a:pt x="349" y="159"/>
                  </a:lnTo>
                  <a:lnTo>
                    <a:pt x="348" y="159"/>
                  </a:lnTo>
                  <a:lnTo>
                    <a:pt x="346" y="159"/>
                  </a:lnTo>
                  <a:lnTo>
                    <a:pt x="346" y="160"/>
                  </a:lnTo>
                  <a:lnTo>
                    <a:pt x="345" y="160"/>
                  </a:lnTo>
                  <a:lnTo>
                    <a:pt x="344" y="160"/>
                  </a:lnTo>
                  <a:lnTo>
                    <a:pt x="345" y="161"/>
                  </a:lnTo>
                  <a:lnTo>
                    <a:pt x="346" y="161"/>
                  </a:lnTo>
                  <a:lnTo>
                    <a:pt x="346" y="162"/>
                  </a:lnTo>
                  <a:lnTo>
                    <a:pt x="344" y="162"/>
                  </a:lnTo>
                  <a:lnTo>
                    <a:pt x="344" y="164"/>
                  </a:lnTo>
                  <a:lnTo>
                    <a:pt x="343" y="165"/>
                  </a:lnTo>
                  <a:lnTo>
                    <a:pt x="343" y="166"/>
                  </a:lnTo>
                  <a:lnTo>
                    <a:pt x="342" y="166"/>
                  </a:lnTo>
                  <a:lnTo>
                    <a:pt x="342" y="165"/>
                  </a:lnTo>
                  <a:lnTo>
                    <a:pt x="340" y="165"/>
                  </a:lnTo>
                  <a:lnTo>
                    <a:pt x="340" y="164"/>
                  </a:lnTo>
                  <a:lnTo>
                    <a:pt x="339" y="162"/>
                  </a:lnTo>
                  <a:lnTo>
                    <a:pt x="338" y="161"/>
                  </a:lnTo>
                  <a:lnTo>
                    <a:pt x="339" y="161"/>
                  </a:lnTo>
                  <a:lnTo>
                    <a:pt x="339" y="162"/>
                  </a:lnTo>
                  <a:lnTo>
                    <a:pt x="340" y="161"/>
                  </a:lnTo>
                  <a:lnTo>
                    <a:pt x="342" y="161"/>
                  </a:lnTo>
                  <a:lnTo>
                    <a:pt x="342" y="160"/>
                  </a:lnTo>
                  <a:lnTo>
                    <a:pt x="343" y="160"/>
                  </a:lnTo>
                  <a:lnTo>
                    <a:pt x="343" y="159"/>
                  </a:lnTo>
                  <a:lnTo>
                    <a:pt x="342" y="159"/>
                  </a:lnTo>
                  <a:lnTo>
                    <a:pt x="343" y="156"/>
                  </a:lnTo>
                  <a:lnTo>
                    <a:pt x="342" y="156"/>
                  </a:lnTo>
                  <a:lnTo>
                    <a:pt x="342" y="155"/>
                  </a:lnTo>
                  <a:lnTo>
                    <a:pt x="340" y="155"/>
                  </a:lnTo>
                  <a:lnTo>
                    <a:pt x="340" y="158"/>
                  </a:lnTo>
                  <a:lnTo>
                    <a:pt x="339" y="158"/>
                  </a:lnTo>
                  <a:lnTo>
                    <a:pt x="339" y="156"/>
                  </a:lnTo>
                  <a:lnTo>
                    <a:pt x="338" y="155"/>
                  </a:lnTo>
                  <a:lnTo>
                    <a:pt x="338" y="154"/>
                  </a:lnTo>
                  <a:lnTo>
                    <a:pt x="337" y="154"/>
                  </a:lnTo>
                  <a:lnTo>
                    <a:pt x="337" y="153"/>
                  </a:lnTo>
                  <a:lnTo>
                    <a:pt x="336" y="153"/>
                  </a:lnTo>
                  <a:lnTo>
                    <a:pt x="336" y="152"/>
                  </a:lnTo>
                  <a:lnTo>
                    <a:pt x="334" y="152"/>
                  </a:lnTo>
                  <a:lnTo>
                    <a:pt x="333" y="152"/>
                  </a:lnTo>
                  <a:lnTo>
                    <a:pt x="332" y="152"/>
                  </a:lnTo>
                  <a:lnTo>
                    <a:pt x="333" y="150"/>
                  </a:lnTo>
                  <a:lnTo>
                    <a:pt x="331" y="150"/>
                  </a:lnTo>
                  <a:lnTo>
                    <a:pt x="331" y="149"/>
                  </a:lnTo>
                  <a:lnTo>
                    <a:pt x="330" y="149"/>
                  </a:lnTo>
                  <a:lnTo>
                    <a:pt x="328" y="149"/>
                  </a:lnTo>
                  <a:lnTo>
                    <a:pt x="328" y="148"/>
                  </a:lnTo>
                  <a:lnTo>
                    <a:pt x="327" y="147"/>
                  </a:lnTo>
                  <a:lnTo>
                    <a:pt x="326" y="147"/>
                  </a:lnTo>
                  <a:lnTo>
                    <a:pt x="325" y="147"/>
                  </a:lnTo>
                  <a:lnTo>
                    <a:pt x="325" y="146"/>
                  </a:lnTo>
                  <a:lnTo>
                    <a:pt x="325" y="144"/>
                  </a:lnTo>
                  <a:lnTo>
                    <a:pt x="324" y="144"/>
                  </a:lnTo>
                  <a:lnTo>
                    <a:pt x="322" y="144"/>
                  </a:lnTo>
                  <a:lnTo>
                    <a:pt x="321" y="143"/>
                  </a:lnTo>
                  <a:lnTo>
                    <a:pt x="319" y="143"/>
                  </a:lnTo>
                  <a:lnTo>
                    <a:pt x="319" y="142"/>
                  </a:lnTo>
                  <a:lnTo>
                    <a:pt x="319" y="141"/>
                  </a:lnTo>
                  <a:lnTo>
                    <a:pt x="318" y="141"/>
                  </a:lnTo>
                  <a:lnTo>
                    <a:pt x="316" y="140"/>
                  </a:lnTo>
                  <a:lnTo>
                    <a:pt x="315" y="137"/>
                  </a:lnTo>
                  <a:lnTo>
                    <a:pt x="316" y="136"/>
                  </a:lnTo>
                  <a:lnTo>
                    <a:pt x="316" y="134"/>
                  </a:lnTo>
                  <a:lnTo>
                    <a:pt x="318" y="132"/>
                  </a:lnTo>
                  <a:lnTo>
                    <a:pt x="316" y="132"/>
                  </a:lnTo>
                  <a:lnTo>
                    <a:pt x="315" y="131"/>
                  </a:lnTo>
                  <a:lnTo>
                    <a:pt x="314" y="131"/>
                  </a:lnTo>
                  <a:lnTo>
                    <a:pt x="314" y="130"/>
                  </a:lnTo>
                  <a:lnTo>
                    <a:pt x="313" y="131"/>
                  </a:lnTo>
                  <a:lnTo>
                    <a:pt x="313" y="130"/>
                  </a:lnTo>
                  <a:lnTo>
                    <a:pt x="311" y="130"/>
                  </a:lnTo>
                  <a:lnTo>
                    <a:pt x="310" y="130"/>
                  </a:lnTo>
                  <a:lnTo>
                    <a:pt x="309" y="130"/>
                  </a:lnTo>
                  <a:lnTo>
                    <a:pt x="308" y="129"/>
                  </a:lnTo>
                  <a:lnTo>
                    <a:pt x="308" y="128"/>
                  </a:lnTo>
                  <a:lnTo>
                    <a:pt x="307" y="128"/>
                  </a:lnTo>
                  <a:lnTo>
                    <a:pt x="307" y="126"/>
                  </a:lnTo>
                  <a:lnTo>
                    <a:pt x="305" y="126"/>
                  </a:lnTo>
                  <a:lnTo>
                    <a:pt x="305" y="125"/>
                  </a:lnTo>
                  <a:lnTo>
                    <a:pt x="305" y="124"/>
                  </a:lnTo>
                  <a:lnTo>
                    <a:pt x="305" y="123"/>
                  </a:lnTo>
                  <a:lnTo>
                    <a:pt x="307" y="123"/>
                  </a:lnTo>
                  <a:lnTo>
                    <a:pt x="308" y="123"/>
                  </a:lnTo>
                  <a:lnTo>
                    <a:pt x="308" y="122"/>
                  </a:lnTo>
                  <a:lnTo>
                    <a:pt x="309" y="122"/>
                  </a:lnTo>
                  <a:lnTo>
                    <a:pt x="310" y="122"/>
                  </a:lnTo>
                  <a:lnTo>
                    <a:pt x="311" y="122"/>
                  </a:lnTo>
                  <a:lnTo>
                    <a:pt x="311" y="120"/>
                  </a:lnTo>
                  <a:lnTo>
                    <a:pt x="311" y="119"/>
                  </a:lnTo>
                  <a:lnTo>
                    <a:pt x="313" y="119"/>
                  </a:lnTo>
                  <a:lnTo>
                    <a:pt x="313" y="118"/>
                  </a:lnTo>
                  <a:lnTo>
                    <a:pt x="314" y="118"/>
                  </a:lnTo>
                  <a:lnTo>
                    <a:pt x="314" y="119"/>
                  </a:lnTo>
                  <a:lnTo>
                    <a:pt x="315" y="119"/>
                  </a:lnTo>
                  <a:lnTo>
                    <a:pt x="319" y="120"/>
                  </a:lnTo>
                  <a:lnTo>
                    <a:pt x="319" y="122"/>
                  </a:lnTo>
                  <a:lnTo>
                    <a:pt x="320" y="122"/>
                  </a:lnTo>
                  <a:lnTo>
                    <a:pt x="320" y="120"/>
                  </a:lnTo>
                  <a:lnTo>
                    <a:pt x="319" y="120"/>
                  </a:lnTo>
                  <a:lnTo>
                    <a:pt x="319" y="119"/>
                  </a:lnTo>
                  <a:lnTo>
                    <a:pt x="319" y="118"/>
                  </a:lnTo>
                  <a:lnTo>
                    <a:pt x="318" y="118"/>
                  </a:lnTo>
                  <a:lnTo>
                    <a:pt x="316" y="118"/>
                  </a:lnTo>
                  <a:lnTo>
                    <a:pt x="315" y="117"/>
                  </a:lnTo>
                  <a:lnTo>
                    <a:pt x="314" y="116"/>
                  </a:lnTo>
                  <a:lnTo>
                    <a:pt x="314" y="117"/>
                  </a:lnTo>
                  <a:lnTo>
                    <a:pt x="313" y="117"/>
                  </a:lnTo>
                  <a:lnTo>
                    <a:pt x="313" y="116"/>
                  </a:lnTo>
                  <a:lnTo>
                    <a:pt x="311" y="116"/>
                  </a:lnTo>
                  <a:lnTo>
                    <a:pt x="311" y="114"/>
                  </a:lnTo>
                  <a:lnTo>
                    <a:pt x="310" y="113"/>
                  </a:lnTo>
                  <a:lnTo>
                    <a:pt x="311" y="112"/>
                  </a:lnTo>
                  <a:lnTo>
                    <a:pt x="310" y="112"/>
                  </a:lnTo>
                  <a:lnTo>
                    <a:pt x="310" y="111"/>
                  </a:lnTo>
                  <a:lnTo>
                    <a:pt x="310" y="110"/>
                  </a:lnTo>
                  <a:lnTo>
                    <a:pt x="309" y="110"/>
                  </a:lnTo>
                  <a:lnTo>
                    <a:pt x="309" y="108"/>
                  </a:lnTo>
                  <a:lnTo>
                    <a:pt x="308" y="108"/>
                  </a:lnTo>
                  <a:lnTo>
                    <a:pt x="308" y="107"/>
                  </a:lnTo>
                  <a:lnTo>
                    <a:pt x="308" y="106"/>
                  </a:lnTo>
                  <a:lnTo>
                    <a:pt x="308" y="105"/>
                  </a:lnTo>
                  <a:lnTo>
                    <a:pt x="308" y="104"/>
                  </a:lnTo>
                  <a:lnTo>
                    <a:pt x="309" y="104"/>
                  </a:lnTo>
                  <a:lnTo>
                    <a:pt x="309" y="102"/>
                  </a:lnTo>
                  <a:lnTo>
                    <a:pt x="310" y="102"/>
                  </a:lnTo>
                  <a:lnTo>
                    <a:pt x="310" y="104"/>
                  </a:lnTo>
                  <a:lnTo>
                    <a:pt x="311" y="104"/>
                  </a:lnTo>
                  <a:lnTo>
                    <a:pt x="311" y="105"/>
                  </a:lnTo>
                  <a:lnTo>
                    <a:pt x="313" y="105"/>
                  </a:lnTo>
                  <a:lnTo>
                    <a:pt x="316" y="105"/>
                  </a:lnTo>
                  <a:lnTo>
                    <a:pt x="318" y="105"/>
                  </a:lnTo>
                  <a:lnTo>
                    <a:pt x="319" y="105"/>
                  </a:lnTo>
                  <a:lnTo>
                    <a:pt x="319" y="106"/>
                  </a:lnTo>
                  <a:lnTo>
                    <a:pt x="319" y="107"/>
                  </a:lnTo>
                  <a:lnTo>
                    <a:pt x="322" y="107"/>
                  </a:lnTo>
                  <a:lnTo>
                    <a:pt x="322" y="106"/>
                  </a:lnTo>
                  <a:lnTo>
                    <a:pt x="324" y="106"/>
                  </a:lnTo>
                  <a:lnTo>
                    <a:pt x="324" y="105"/>
                  </a:lnTo>
                  <a:lnTo>
                    <a:pt x="322" y="105"/>
                  </a:lnTo>
                  <a:lnTo>
                    <a:pt x="322" y="104"/>
                  </a:lnTo>
                  <a:lnTo>
                    <a:pt x="322" y="102"/>
                  </a:lnTo>
                  <a:lnTo>
                    <a:pt x="322" y="101"/>
                  </a:lnTo>
                  <a:lnTo>
                    <a:pt x="321" y="102"/>
                  </a:lnTo>
                  <a:lnTo>
                    <a:pt x="319" y="102"/>
                  </a:lnTo>
                  <a:lnTo>
                    <a:pt x="319" y="101"/>
                  </a:lnTo>
                  <a:lnTo>
                    <a:pt x="318" y="101"/>
                  </a:lnTo>
                  <a:lnTo>
                    <a:pt x="316" y="100"/>
                  </a:lnTo>
                  <a:lnTo>
                    <a:pt x="316" y="101"/>
                  </a:lnTo>
                  <a:lnTo>
                    <a:pt x="315" y="101"/>
                  </a:lnTo>
                  <a:lnTo>
                    <a:pt x="316" y="100"/>
                  </a:lnTo>
                  <a:lnTo>
                    <a:pt x="315" y="100"/>
                  </a:lnTo>
                  <a:lnTo>
                    <a:pt x="314" y="99"/>
                  </a:lnTo>
                  <a:lnTo>
                    <a:pt x="315" y="99"/>
                  </a:lnTo>
                  <a:lnTo>
                    <a:pt x="314" y="98"/>
                  </a:lnTo>
                  <a:lnTo>
                    <a:pt x="314" y="96"/>
                  </a:lnTo>
                  <a:lnTo>
                    <a:pt x="313" y="96"/>
                  </a:lnTo>
                  <a:lnTo>
                    <a:pt x="314" y="95"/>
                  </a:lnTo>
                  <a:lnTo>
                    <a:pt x="313" y="94"/>
                  </a:lnTo>
                  <a:lnTo>
                    <a:pt x="313" y="93"/>
                  </a:lnTo>
                  <a:lnTo>
                    <a:pt x="311" y="93"/>
                  </a:lnTo>
                  <a:lnTo>
                    <a:pt x="311" y="92"/>
                  </a:lnTo>
                  <a:lnTo>
                    <a:pt x="311" y="90"/>
                  </a:lnTo>
                  <a:lnTo>
                    <a:pt x="313" y="90"/>
                  </a:lnTo>
                  <a:lnTo>
                    <a:pt x="313" y="89"/>
                  </a:lnTo>
                  <a:lnTo>
                    <a:pt x="314" y="89"/>
                  </a:lnTo>
                  <a:lnTo>
                    <a:pt x="315" y="89"/>
                  </a:lnTo>
                  <a:lnTo>
                    <a:pt x="315" y="90"/>
                  </a:lnTo>
                  <a:lnTo>
                    <a:pt x="316" y="92"/>
                  </a:lnTo>
                  <a:lnTo>
                    <a:pt x="318" y="93"/>
                  </a:lnTo>
                  <a:lnTo>
                    <a:pt x="319" y="93"/>
                  </a:lnTo>
                  <a:lnTo>
                    <a:pt x="319" y="92"/>
                  </a:lnTo>
                  <a:lnTo>
                    <a:pt x="319" y="90"/>
                  </a:lnTo>
                  <a:lnTo>
                    <a:pt x="320" y="89"/>
                  </a:lnTo>
                  <a:lnTo>
                    <a:pt x="319" y="89"/>
                  </a:lnTo>
                  <a:lnTo>
                    <a:pt x="319" y="88"/>
                  </a:lnTo>
                  <a:lnTo>
                    <a:pt x="320" y="88"/>
                  </a:lnTo>
                  <a:lnTo>
                    <a:pt x="319" y="87"/>
                  </a:lnTo>
                  <a:lnTo>
                    <a:pt x="318" y="86"/>
                  </a:lnTo>
                  <a:lnTo>
                    <a:pt x="318" y="84"/>
                  </a:lnTo>
                  <a:lnTo>
                    <a:pt x="316" y="84"/>
                  </a:lnTo>
                  <a:lnTo>
                    <a:pt x="316" y="83"/>
                  </a:lnTo>
                  <a:lnTo>
                    <a:pt x="316" y="82"/>
                  </a:lnTo>
                  <a:lnTo>
                    <a:pt x="318" y="81"/>
                  </a:lnTo>
                  <a:lnTo>
                    <a:pt x="319" y="80"/>
                  </a:lnTo>
                  <a:lnTo>
                    <a:pt x="319" y="78"/>
                  </a:lnTo>
                  <a:lnTo>
                    <a:pt x="319" y="76"/>
                  </a:lnTo>
                  <a:lnTo>
                    <a:pt x="318" y="76"/>
                  </a:lnTo>
                  <a:lnTo>
                    <a:pt x="318" y="75"/>
                  </a:lnTo>
                  <a:lnTo>
                    <a:pt x="318" y="74"/>
                  </a:lnTo>
                  <a:lnTo>
                    <a:pt x="318" y="72"/>
                  </a:lnTo>
                  <a:lnTo>
                    <a:pt x="319" y="71"/>
                  </a:lnTo>
                  <a:lnTo>
                    <a:pt x="320" y="71"/>
                  </a:lnTo>
                  <a:lnTo>
                    <a:pt x="321" y="71"/>
                  </a:lnTo>
                  <a:lnTo>
                    <a:pt x="322" y="71"/>
                  </a:lnTo>
                  <a:lnTo>
                    <a:pt x="322" y="75"/>
                  </a:lnTo>
                  <a:lnTo>
                    <a:pt x="322" y="77"/>
                  </a:lnTo>
                  <a:lnTo>
                    <a:pt x="324" y="77"/>
                  </a:lnTo>
                  <a:lnTo>
                    <a:pt x="324" y="78"/>
                  </a:lnTo>
                  <a:lnTo>
                    <a:pt x="324" y="80"/>
                  </a:lnTo>
                  <a:lnTo>
                    <a:pt x="324" y="81"/>
                  </a:lnTo>
                  <a:lnTo>
                    <a:pt x="324" y="82"/>
                  </a:lnTo>
                  <a:lnTo>
                    <a:pt x="325" y="80"/>
                  </a:lnTo>
                  <a:lnTo>
                    <a:pt x="325" y="78"/>
                  </a:lnTo>
                  <a:lnTo>
                    <a:pt x="326" y="78"/>
                  </a:lnTo>
                  <a:lnTo>
                    <a:pt x="326" y="77"/>
                  </a:lnTo>
                  <a:lnTo>
                    <a:pt x="327" y="77"/>
                  </a:lnTo>
                  <a:lnTo>
                    <a:pt x="327" y="75"/>
                  </a:lnTo>
                  <a:lnTo>
                    <a:pt x="326" y="75"/>
                  </a:lnTo>
                  <a:lnTo>
                    <a:pt x="326" y="74"/>
                  </a:lnTo>
                  <a:lnTo>
                    <a:pt x="325" y="72"/>
                  </a:lnTo>
                  <a:lnTo>
                    <a:pt x="324" y="71"/>
                  </a:lnTo>
                  <a:lnTo>
                    <a:pt x="325" y="71"/>
                  </a:lnTo>
                  <a:lnTo>
                    <a:pt x="325" y="70"/>
                  </a:lnTo>
                  <a:lnTo>
                    <a:pt x="326" y="69"/>
                  </a:lnTo>
                  <a:lnTo>
                    <a:pt x="326" y="68"/>
                  </a:lnTo>
                  <a:lnTo>
                    <a:pt x="327" y="68"/>
                  </a:lnTo>
                  <a:lnTo>
                    <a:pt x="328" y="68"/>
                  </a:lnTo>
                  <a:lnTo>
                    <a:pt x="328" y="69"/>
                  </a:lnTo>
                  <a:lnTo>
                    <a:pt x="330" y="70"/>
                  </a:lnTo>
                  <a:lnTo>
                    <a:pt x="332" y="70"/>
                  </a:lnTo>
                  <a:lnTo>
                    <a:pt x="333" y="70"/>
                  </a:lnTo>
                  <a:lnTo>
                    <a:pt x="333" y="69"/>
                  </a:lnTo>
                  <a:lnTo>
                    <a:pt x="332" y="69"/>
                  </a:lnTo>
                  <a:lnTo>
                    <a:pt x="330" y="69"/>
                  </a:lnTo>
                  <a:lnTo>
                    <a:pt x="331" y="68"/>
                  </a:lnTo>
                  <a:lnTo>
                    <a:pt x="330" y="68"/>
                  </a:lnTo>
                  <a:lnTo>
                    <a:pt x="330" y="66"/>
                  </a:lnTo>
                  <a:lnTo>
                    <a:pt x="330" y="64"/>
                  </a:lnTo>
                  <a:lnTo>
                    <a:pt x="331" y="63"/>
                  </a:lnTo>
                  <a:lnTo>
                    <a:pt x="332" y="63"/>
                  </a:lnTo>
                  <a:lnTo>
                    <a:pt x="332" y="62"/>
                  </a:lnTo>
                  <a:lnTo>
                    <a:pt x="331" y="60"/>
                  </a:lnTo>
                  <a:lnTo>
                    <a:pt x="331" y="59"/>
                  </a:lnTo>
                  <a:lnTo>
                    <a:pt x="332" y="59"/>
                  </a:lnTo>
                  <a:lnTo>
                    <a:pt x="331" y="58"/>
                  </a:lnTo>
                  <a:lnTo>
                    <a:pt x="330" y="58"/>
                  </a:lnTo>
                  <a:lnTo>
                    <a:pt x="328" y="58"/>
                  </a:lnTo>
                  <a:lnTo>
                    <a:pt x="328" y="57"/>
                  </a:lnTo>
                  <a:lnTo>
                    <a:pt x="326" y="55"/>
                  </a:lnTo>
                  <a:lnTo>
                    <a:pt x="325" y="55"/>
                  </a:lnTo>
                  <a:lnTo>
                    <a:pt x="325" y="54"/>
                  </a:lnTo>
                  <a:lnTo>
                    <a:pt x="327" y="54"/>
                  </a:lnTo>
                  <a:lnTo>
                    <a:pt x="327" y="53"/>
                  </a:lnTo>
                  <a:lnTo>
                    <a:pt x="327" y="51"/>
                  </a:lnTo>
                  <a:lnTo>
                    <a:pt x="328" y="52"/>
                  </a:lnTo>
                  <a:lnTo>
                    <a:pt x="330" y="52"/>
                  </a:lnTo>
                  <a:lnTo>
                    <a:pt x="330" y="51"/>
                  </a:lnTo>
                  <a:lnTo>
                    <a:pt x="328" y="51"/>
                  </a:lnTo>
                  <a:lnTo>
                    <a:pt x="330" y="49"/>
                  </a:lnTo>
                  <a:lnTo>
                    <a:pt x="328" y="49"/>
                  </a:lnTo>
                  <a:lnTo>
                    <a:pt x="328" y="47"/>
                  </a:lnTo>
                  <a:lnTo>
                    <a:pt x="328" y="45"/>
                  </a:lnTo>
                  <a:lnTo>
                    <a:pt x="330" y="45"/>
                  </a:lnTo>
                  <a:lnTo>
                    <a:pt x="331" y="45"/>
                  </a:lnTo>
                  <a:lnTo>
                    <a:pt x="331" y="43"/>
                  </a:lnTo>
                  <a:lnTo>
                    <a:pt x="332" y="45"/>
                  </a:lnTo>
                  <a:lnTo>
                    <a:pt x="333" y="45"/>
                  </a:lnTo>
                  <a:lnTo>
                    <a:pt x="332" y="46"/>
                  </a:lnTo>
                  <a:lnTo>
                    <a:pt x="333" y="47"/>
                  </a:lnTo>
                  <a:lnTo>
                    <a:pt x="333" y="48"/>
                  </a:lnTo>
                  <a:lnTo>
                    <a:pt x="334" y="48"/>
                  </a:lnTo>
                  <a:lnTo>
                    <a:pt x="334" y="49"/>
                  </a:lnTo>
                  <a:lnTo>
                    <a:pt x="336" y="51"/>
                  </a:lnTo>
                  <a:lnTo>
                    <a:pt x="337" y="51"/>
                  </a:lnTo>
                  <a:lnTo>
                    <a:pt x="337" y="49"/>
                  </a:lnTo>
                  <a:lnTo>
                    <a:pt x="338" y="49"/>
                  </a:lnTo>
                  <a:lnTo>
                    <a:pt x="339" y="51"/>
                  </a:lnTo>
                  <a:lnTo>
                    <a:pt x="339" y="52"/>
                  </a:lnTo>
                  <a:lnTo>
                    <a:pt x="339" y="53"/>
                  </a:lnTo>
                  <a:lnTo>
                    <a:pt x="339" y="57"/>
                  </a:lnTo>
                  <a:lnTo>
                    <a:pt x="340" y="57"/>
                  </a:lnTo>
                  <a:lnTo>
                    <a:pt x="343" y="57"/>
                  </a:lnTo>
                  <a:lnTo>
                    <a:pt x="343" y="55"/>
                  </a:lnTo>
                  <a:lnTo>
                    <a:pt x="345" y="57"/>
                  </a:lnTo>
                  <a:lnTo>
                    <a:pt x="345" y="55"/>
                  </a:lnTo>
                  <a:lnTo>
                    <a:pt x="346" y="55"/>
                  </a:lnTo>
                  <a:lnTo>
                    <a:pt x="346" y="54"/>
                  </a:lnTo>
                  <a:lnTo>
                    <a:pt x="348" y="54"/>
                  </a:lnTo>
                  <a:lnTo>
                    <a:pt x="346" y="54"/>
                  </a:lnTo>
                  <a:lnTo>
                    <a:pt x="345" y="54"/>
                  </a:lnTo>
                  <a:lnTo>
                    <a:pt x="345" y="53"/>
                  </a:lnTo>
                  <a:lnTo>
                    <a:pt x="345" y="52"/>
                  </a:lnTo>
                  <a:lnTo>
                    <a:pt x="345" y="51"/>
                  </a:lnTo>
                  <a:lnTo>
                    <a:pt x="344" y="51"/>
                  </a:lnTo>
                  <a:lnTo>
                    <a:pt x="344" y="49"/>
                  </a:lnTo>
                  <a:lnTo>
                    <a:pt x="343" y="48"/>
                  </a:lnTo>
                  <a:lnTo>
                    <a:pt x="344" y="48"/>
                  </a:lnTo>
                  <a:lnTo>
                    <a:pt x="344" y="47"/>
                  </a:lnTo>
                  <a:lnTo>
                    <a:pt x="343" y="47"/>
                  </a:lnTo>
                  <a:lnTo>
                    <a:pt x="343" y="46"/>
                  </a:lnTo>
                  <a:lnTo>
                    <a:pt x="343" y="45"/>
                  </a:lnTo>
                  <a:lnTo>
                    <a:pt x="344" y="43"/>
                  </a:lnTo>
                  <a:lnTo>
                    <a:pt x="343" y="43"/>
                  </a:lnTo>
                  <a:lnTo>
                    <a:pt x="343" y="41"/>
                  </a:lnTo>
                  <a:lnTo>
                    <a:pt x="343" y="40"/>
                  </a:lnTo>
                  <a:lnTo>
                    <a:pt x="342" y="39"/>
                  </a:lnTo>
                  <a:lnTo>
                    <a:pt x="342" y="37"/>
                  </a:lnTo>
                  <a:lnTo>
                    <a:pt x="342" y="36"/>
                  </a:lnTo>
                  <a:lnTo>
                    <a:pt x="339" y="36"/>
                  </a:lnTo>
                  <a:lnTo>
                    <a:pt x="339" y="35"/>
                  </a:lnTo>
                  <a:lnTo>
                    <a:pt x="340" y="34"/>
                  </a:lnTo>
                  <a:lnTo>
                    <a:pt x="339" y="34"/>
                  </a:lnTo>
                  <a:lnTo>
                    <a:pt x="339" y="33"/>
                  </a:lnTo>
                  <a:lnTo>
                    <a:pt x="339" y="31"/>
                  </a:lnTo>
                  <a:lnTo>
                    <a:pt x="339" y="29"/>
                  </a:lnTo>
                  <a:lnTo>
                    <a:pt x="340" y="29"/>
                  </a:lnTo>
                  <a:lnTo>
                    <a:pt x="342" y="29"/>
                  </a:lnTo>
                  <a:lnTo>
                    <a:pt x="342" y="30"/>
                  </a:lnTo>
                  <a:lnTo>
                    <a:pt x="343" y="29"/>
                  </a:lnTo>
                  <a:lnTo>
                    <a:pt x="343" y="27"/>
                  </a:lnTo>
                  <a:lnTo>
                    <a:pt x="343" y="25"/>
                  </a:lnTo>
                  <a:lnTo>
                    <a:pt x="343" y="24"/>
                  </a:lnTo>
                  <a:lnTo>
                    <a:pt x="343" y="23"/>
                  </a:lnTo>
                  <a:lnTo>
                    <a:pt x="343" y="22"/>
                  </a:lnTo>
                  <a:lnTo>
                    <a:pt x="344" y="21"/>
                  </a:lnTo>
                  <a:lnTo>
                    <a:pt x="344" y="22"/>
                  </a:lnTo>
                  <a:lnTo>
                    <a:pt x="348" y="22"/>
                  </a:lnTo>
                  <a:lnTo>
                    <a:pt x="348" y="23"/>
                  </a:lnTo>
                  <a:lnTo>
                    <a:pt x="346" y="24"/>
                  </a:lnTo>
                  <a:lnTo>
                    <a:pt x="348" y="24"/>
                  </a:lnTo>
                  <a:lnTo>
                    <a:pt x="348" y="25"/>
                  </a:lnTo>
                  <a:lnTo>
                    <a:pt x="348" y="27"/>
                  </a:lnTo>
                  <a:lnTo>
                    <a:pt x="348" y="28"/>
                  </a:lnTo>
                  <a:lnTo>
                    <a:pt x="349" y="28"/>
                  </a:lnTo>
                  <a:lnTo>
                    <a:pt x="349" y="30"/>
                  </a:lnTo>
                  <a:lnTo>
                    <a:pt x="349" y="31"/>
                  </a:lnTo>
                  <a:lnTo>
                    <a:pt x="350" y="31"/>
                  </a:lnTo>
                  <a:lnTo>
                    <a:pt x="350" y="30"/>
                  </a:lnTo>
                  <a:lnTo>
                    <a:pt x="351" y="30"/>
                  </a:lnTo>
                  <a:lnTo>
                    <a:pt x="351" y="29"/>
                  </a:lnTo>
                  <a:lnTo>
                    <a:pt x="352" y="29"/>
                  </a:lnTo>
                  <a:lnTo>
                    <a:pt x="354" y="29"/>
                  </a:lnTo>
                  <a:lnTo>
                    <a:pt x="355" y="30"/>
                  </a:lnTo>
                  <a:lnTo>
                    <a:pt x="356" y="30"/>
                  </a:lnTo>
                  <a:lnTo>
                    <a:pt x="356" y="31"/>
                  </a:lnTo>
                  <a:lnTo>
                    <a:pt x="357" y="31"/>
                  </a:lnTo>
                  <a:lnTo>
                    <a:pt x="357" y="30"/>
                  </a:lnTo>
                  <a:lnTo>
                    <a:pt x="358" y="30"/>
                  </a:lnTo>
                  <a:lnTo>
                    <a:pt x="358" y="29"/>
                  </a:lnTo>
                  <a:lnTo>
                    <a:pt x="358" y="28"/>
                  </a:lnTo>
                  <a:lnTo>
                    <a:pt x="358" y="25"/>
                  </a:lnTo>
                  <a:lnTo>
                    <a:pt x="360" y="24"/>
                  </a:lnTo>
                  <a:lnTo>
                    <a:pt x="361" y="25"/>
                  </a:lnTo>
                  <a:lnTo>
                    <a:pt x="362" y="25"/>
                  </a:lnTo>
                  <a:lnTo>
                    <a:pt x="363" y="27"/>
                  </a:lnTo>
                  <a:lnTo>
                    <a:pt x="364" y="27"/>
                  </a:lnTo>
                  <a:lnTo>
                    <a:pt x="364" y="28"/>
                  </a:lnTo>
                  <a:lnTo>
                    <a:pt x="363" y="30"/>
                  </a:lnTo>
                  <a:lnTo>
                    <a:pt x="362" y="31"/>
                  </a:lnTo>
                  <a:lnTo>
                    <a:pt x="362" y="35"/>
                  </a:lnTo>
                  <a:lnTo>
                    <a:pt x="363" y="35"/>
                  </a:lnTo>
                  <a:lnTo>
                    <a:pt x="364" y="36"/>
                  </a:lnTo>
                  <a:lnTo>
                    <a:pt x="363" y="36"/>
                  </a:lnTo>
                  <a:lnTo>
                    <a:pt x="364" y="36"/>
                  </a:lnTo>
                  <a:lnTo>
                    <a:pt x="366" y="37"/>
                  </a:lnTo>
                  <a:lnTo>
                    <a:pt x="364" y="37"/>
                  </a:lnTo>
                  <a:lnTo>
                    <a:pt x="363" y="39"/>
                  </a:lnTo>
                  <a:lnTo>
                    <a:pt x="362" y="40"/>
                  </a:lnTo>
                  <a:lnTo>
                    <a:pt x="361" y="41"/>
                  </a:lnTo>
                  <a:lnTo>
                    <a:pt x="361" y="42"/>
                  </a:lnTo>
                  <a:lnTo>
                    <a:pt x="361" y="43"/>
                  </a:lnTo>
                  <a:lnTo>
                    <a:pt x="360" y="43"/>
                  </a:lnTo>
                  <a:lnTo>
                    <a:pt x="360" y="45"/>
                  </a:lnTo>
                  <a:lnTo>
                    <a:pt x="360" y="46"/>
                  </a:lnTo>
                  <a:lnTo>
                    <a:pt x="361" y="46"/>
                  </a:lnTo>
                  <a:lnTo>
                    <a:pt x="361" y="47"/>
                  </a:lnTo>
                  <a:lnTo>
                    <a:pt x="362" y="48"/>
                  </a:lnTo>
                  <a:lnTo>
                    <a:pt x="362" y="49"/>
                  </a:lnTo>
                  <a:lnTo>
                    <a:pt x="363" y="51"/>
                  </a:lnTo>
                  <a:lnTo>
                    <a:pt x="363" y="49"/>
                  </a:lnTo>
                  <a:lnTo>
                    <a:pt x="364" y="49"/>
                  </a:lnTo>
                  <a:lnTo>
                    <a:pt x="364" y="51"/>
                  </a:lnTo>
                  <a:lnTo>
                    <a:pt x="366" y="51"/>
                  </a:lnTo>
                  <a:lnTo>
                    <a:pt x="366" y="52"/>
                  </a:lnTo>
                  <a:lnTo>
                    <a:pt x="367" y="52"/>
                  </a:lnTo>
                  <a:lnTo>
                    <a:pt x="368" y="53"/>
                  </a:lnTo>
                  <a:lnTo>
                    <a:pt x="368" y="52"/>
                  </a:lnTo>
                  <a:lnTo>
                    <a:pt x="369" y="51"/>
                  </a:lnTo>
                  <a:lnTo>
                    <a:pt x="369" y="48"/>
                  </a:lnTo>
                  <a:lnTo>
                    <a:pt x="370" y="48"/>
                  </a:lnTo>
                  <a:lnTo>
                    <a:pt x="370" y="47"/>
                  </a:lnTo>
                  <a:lnTo>
                    <a:pt x="370" y="46"/>
                  </a:lnTo>
                  <a:lnTo>
                    <a:pt x="370" y="45"/>
                  </a:lnTo>
                  <a:lnTo>
                    <a:pt x="370" y="43"/>
                  </a:lnTo>
                  <a:lnTo>
                    <a:pt x="372" y="43"/>
                  </a:lnTo>
                  <a:lnTo>
                    <a:pt x="373" y="42"/>
                  </a:lnTo>
                  <a:lnTo>
                    <a:pt x="374" y="41"/>
                  </a:lnTo>
                  <a:lnTo>
                    <a:pt x="374" y="37"/>
                  </a:lnTo>
                  <a:lnTo>
                    <a:pt x="374" y="36"/>
                  </a:lnTo>
                  <a:lnTo>
                    <a:pt x="374" y="35"/>
                  </a:lnTo>
                  <a:lnTo>
                    <a:pt x="374" y="34"/>
                  </a:lnTo>
                  <a:lnTo>
                    <a:pt x="376" y="33"/>
                  </a:lnTo>
                  <a:lnTo>
                    <a:pt x="378" y="33"/>
                  </a:lnTo>
                  <a:lnTo>
                    <a:pt x="378" y="34"/>
                  </a:lnTo>
                  <a:lnTo>
                    <a:pt x="379" y="34"/>
                  </a:lnTo>
                  <a:lnTo>
                    <a:pt x="379" y="35"/>
                  </a:lnTo>
                  <a:lnTo>
                    <a:pt x="379" y="36"/>
                  </a:lnTo>
                  <a:lnTo>
                    <a:pt x="379" y="39"/>
                  </a:lnTo>
                  <a:lnTo>
                    <a:pt x="380" y="39"/>
                  </a:lnTo>
                  <a:lnTo>
                    <a:pt x="380" y="40"/>
                  </a:lnTo>
                  <a:lnTo>
                    <a:pt x="381" y="39"/>
                  </a:lnTo>
                  <a:lnTo>
                    <a:pt x="384" y="40"/>
                  </a:lnTo>
                  <a:lnTo>
                    <a:pt x="384" y="41"/>
                  </a:lnTo>
                  <a:lnTo>
                    <a:pt x="384" y="42"/>
                  </a:lnTo>
                  <a:lnTo>
                    <a:pt x="384" y="45"/>
                  </a:lnTo>
                  <a:lnTo>
                    <a:pt x="385" y="45"/>
                  </a:lnTo>
                  <a:lnTo>
                    <a:pt x="386" y="42"/>
                  </a:lnTo>
                  <a:lnTo>
                    <a:pt x="387" y="42"/>
                  </a:lnTo>
                  <a:lnTo>
                    <a:pt x="389" y="42"/>
                  </a:lnTo>
                  <a:lnTo>
                    <a:pt x="390" y="42"/>
                  </a:lnTo>
                  <a:lnTo>
                    <a:pt x="390" y="43"/>
                  </a:lnTo>
                  <a:lnTo>
                    <a:pt x="390" y="45"/>
                  </a:lnTo>
                  <a:lnTo>
                    <a:pt x="391" y="45"/>
                  </a:lnTo>
                  <a:lnTo>
                    <a:pt x="391" y="43"/>
                  </a:lnTo>
                  <a:lnTo>
                    <a:pt x="390" y="43"/>
                  </a:lnTo>
                  <a:lnTo>
                    <a:pt x="390" y="42"/>
                  </a:lnTo>
                  <a:lnTo>
                    <a:pt x="390" y="41"/>
                  </a:lnTo>
                  <a:lnTo>
                    <a:pt x="391" y="40"/>
                  </a:lnTo>
                  <a:lnTo>
                    <a:pt x="392" y="40"/>
                  </a:lnTo>
                  <a:lnTo>
                    <a:pt x="392" y="39"/>
                  </a:lnTo>
                  <a:lnTo>
                    <a:pt x="393" y="39"/>
                  </a:lnTo>
                  <a:lnTo>
                    <a:pt x="393" y="37"/>
                  </a:lnTo>
                  <a:lnTo>
                    <a:pt x="395" y="36"/>
                  </a:lnTo>
                  <a:lnTo>
                    <a:pt x="393" y="35"/>
                  </a:lnTo>
                  <a:lnTo>
                    <a:pt x="393" y="34"/>
                  </a:lnTo>
                  <a:lnTo>
                    <a:pt x="393" y="33"/>
                  </a:lnTo>
                  <a:lnTo>
                    <a:pt x="393" y="31"/>
                  </a:lnTo>
                  <a:lnTo>
                    <a:pt x="392" y="30"/>
                  </a:lnTo>
                  <a:lnTo>
                    <a:pt x="393" y="31"/>
                  </a:lnTo>
                  <a:lnTo>
                    <a:pt x="395" y="30"/>
                  </a:lnTo>
                  <a:lnTo>
                    <a:pt x="392" y="29"/>
                  </a:lnTo>
                  <a:lnTo>
                    <a:pt x="392" y="28"/>
                  </a:lnTo>
                  <a:lnTo>
                    <a:pt x="391" y="28"/>
                  </a:lnTo>
                  <a:lnTo>
                    <a:pt x="390" y="28"/>
                  </a:lnTo>
                  <a:lnTo>
                    <a:pt x="389" y="27"/>
                  </a:lnTo>
                  <a:lnTo>
                    <a:pt x="389" y="25"/>
                  </a:lnTo>
                  <a:lnTo>
                    <a:pt x="390" y="25"/>
                  </a:lnTo>
                  <a:lnTo>
                    <a:pt x="389" y="24"/>
                  </a:lnTo>
                  <a:lnTo>
                    <a:pt x="389" y="22"/>
                  </a:lnTo>
                  <a:lnTo>
                    <a:pt x="387" y="21"/>
                  </a:lnTo>
                  <a:lnTo>
                    <a:pt x="386" y="19"/>
                  </a:lnTo>
                  <a:lnTo>
                    <a:pt x="385" y="18"/>
                  </a:lnTo>
                  <a:lnTo>
                    <a:pt x="386" y="17"/>
                  </a:lnTo>
                  <a:lnTo>
                    <a:pt x="386" y="16"/>
                  </a:lnTo>
                  <a:lnTo>
                    <a:pt x="387" y="16"/>
                  </a:lnTo>
                  <a:lnTo>
                    <a:pt x="389" y="16"/>
                  </a:lnTo>
                  <a:lnTo>
                    <a:pt x="390" y="18"/>
                  </a:lnTo>
                  <a:lnTo>
                    <a:pt x="391" y="18"/>
                  </a:lnTo>
                  <a:lnTo>
                    <a:pt x="391" y="15"/>
                  </a:lnTo>
                  <a:lnTo>
                    <a:pt x="391" y="13"/>
                  </a:lnTo>
                  <a:lnTo>
                    <a:pt x="391" y="11"/>
                  </a:lnTo>
                  <a:lnTo>
                    <a:pt x="392" y="10"/>
                  </a:lnTo>
                  <a:lnTo>
                    <a:pt x="393" y="10"/>
                  </a:lnTo>
                  <a:lnTo>
                    <a:pt x="395" y="10"/>
                  </a:lnTo>
                  <a:lnTo>
                    <a:pt x="396" y="10"/>
                  </a:lnTo>
                  <a:lnTo>
                    <a:pt x="396" y="11"/>
                  </a:lnTo>
                  <a:lnTo>
                    <a:pt x="397" y="11"/>
                  </a:lnTo>
                  <a:lnTo>
                    <a:pt x="397" y="12"/>
                  </a:lnTo>
                  <a:lnTo>
                    <a:pt x="397" y="13"/>
                  </a:lnTo>
                  <a:lnTo>
                    <a:pt x="398" y="13"/>
                  </a:lnTo>
                  <a:lnTo>
                    <a:pt x="398" y="15"/>
                  </a:lnTo>
                  <a:lnTo>
                    <a:pt x="399" y="15"/>
                  </a:lnTo>
                  <a:lnTo>
                    <a:pt x="399" y="16"/>
                  </a:lnTo>
                  <a:lnTo>
                    <a:pt x="401" y="16"/>
                  </a:lnTo>
                  <a:lnTo>
                    <a:pt x="401" y="17"/>
                  </a:lnTo>
                  <a:lnTo>
                    <a:pt x="401" y="18"/>
                  </a:lnTo>
                  <a:lnTo>
                    <a:pt x="401" y="19"/>
                  </a:lnTo>
                  <a:lnTo>
                    <a:pt x="399" y="19"/>
                  </a:lnTo>
                  <a:lnTo>
                    <a:pt x="399" y="21"/>
                  </a:lnTo>
                  <a:lnTo>
                    <a:pt x="398" y="21"/>
                  </a:lnTo>
                  <a:lnTo>
                    <a:pt x="398" y="22"/>
                  </a:lnTo>
                  <a:lnTo>
                    <a:pt x="398" y="23"/>
                  </a:lnTo>
                  <a:lnTo>
                    <a:pt x="397" y="23"/>
                  </a:lnTo>
                  <a:lnTo>
                    <a:pt x="397" y="24"/>
                  </a:lnTo>
                  <a:lnTo>
                    <a:pt x="396" y="25"/>
                  </a:lnTo>
                  <a:lnTo>
                    <a:pt x="397" y="25"/>
                  </a:lnTo>
                  <a:lnTo>
                    <a:pt x="397" y="27"/>
                  </a:lnTo>
                  <a:lnTo>
                    <a:pt x="398" y="27"/>
                  </a:lnTo>
                  <a:lnTo>
                    <a:pt x="401" y="27"/>
                  </a:lnTo>
                  <a:lnTo>
                    <a:pt x="401" y="25"/>
                  </a:lnTo>
                  <a:lnTo>
                    <a:pt x="402" y="25"/>
                  </a:lnTo>
                  <a:lnTo>
                    <a:pt x="403" y="24"/>
                  </a:lnTo>
                  <a:lnTo>
                    <a:pt x="404" y="24"/>
                  </a:lnTo>
                  <a:lnTo>
                    <a:pt x="405" y="24"/>
                  </a:lnTo>
                  <a:lnTo>
                    <a:pt x="407" y="27"/>
                  </a:lnTo>
                  <a:lnTo>
                    <a:pt x="407" y="29"/>
                  </a:lnTo>
                  <a:lnTo>
                    <a:pt x="408" y="29"/>
                  </a:lnTo>
                  <a:lnTo>
                    <a:pt x="409" y="30"/>
                  </a:lnTo>
                  <a:lnTo>
                    <a:pt x="410" y="34"/>
                  </a:lnTo>
                  <a:lnTo>
                    <a:pt x="410" y="30"/>
                  </a:lnTo>
                  <a:lnTo>
                    <a:pt x="411" y="30"/>
                  </a:lnTo>
                  <a:lnTo>
                    <a:pt x="411" y="28"/>
                  </a:lnTo>
                  <a:lnTo>
                    <a:pt x="411" y="27"/>
                  </a:lnTo>
                  <a:lnTo>
                    <a:pt x="410" y="25"/>
                  </a:lnTo>
                  <a:lnTo>
                    <a:pt x="411" y="25"/>
                  </a:lnTo>
                  <a:lnTo>
                    <a:pt x="411" y="22"/>
                  </a:lnTo>
                  <a:lnTo>
                    <a:pt x="410" y="22"/>
                  </a:lnTo>
                  <a:lnTo>
                    <a:pt x="411" y="21"/>
                  </a:lnTo>
                  <a:lnTo>
                    <a:pt x="411" y="19"/>
                  </a:lnTo>
                  <a:lnTo>
                    <a:pt x="411" y="18"/>
                  </a:lnTo>
                  <a:lnTo>
                    <a:pt x="413" y="17"/>
                  </a:lnTo>
                  <a:lnTo>
                    <a:pt x="414" y="17"/>
                  </a:lnTo>
                  <a:lnTo>
                    <a:pt x="416" y="17"/>
                  </a:lnTo>
                  <a:lnTo>
                    <a:pt x="417" y="18"/>
                  </a:lnTo>
                  <a:lnTo>
                    <a:pt x="417" y="17"/>
                  </a:lnTo>
                  <a:lnTo>
                    <a:pt x="417" y="16"/>
                  </a:lnTo>
                  <a:lnTo>
                    <a:pt x="419" y="15"/>
                  </a:lnTo>
                  <a:lnTo>
                    <a:pt x="419" y="13"/>
                  </a:lnTo>
                  <a:lnTo>
                    <a:pt x="420" y="13"/>
                  </a:lnTo>
                  <a:lnTo>
                    <a:pt x="420" y="11"/>
                  </a:lnTo>
                  <a:lnTo>
                    <a:pt x="420" y="10"/>
                  </a:lnTo>
                  <a:lnTo>
                    <a:pt x="419" y="10"/>
                  </a:lnTo>
                  <a:lnTo>
                    <a:pt x="420" y="7"/>
                  </a:lnTo>
                  <a:lnTo>
                    <a:pt x="423" y="7"/>
                  </a:lnTo>
                  <a:lnTo>
                    <a:pt x="423" y="9"/>
                  </a:lnTo>
                  <a:lnTo>
                    <a:pt x="423" y="10"/>
                  </a:lnTo>
                  <a:lnTo>
                    <a:pt x="425" y="11"/>
                  </a:lnTo>
                  <a:lnTo>
                    <a:pt x="425" y="12"/>
                  </a:lnTo>
                  <a:lnTo>
                    <a:pt x="426" y="12"/>
                  </a:lnTo>
                  <a:lnTo>
                    <a:pt x="427" y="11"/>
                  </a:lnTo>
                  <a:lnTo>
                    <a:pt x="427" y="7"/>
                  </a:lnTo>
                  <a:lnTo>
                    <a:pt x="428" y="7"/>
                  </a:lnTo>
                  <a:lnTo>
                    <a:pt x="428" y="6"/>
                  </a:lnTo>
                  <a:lnTo>
                    <a:pt x="429" y="5"/>
                  </a:lnTo>
                  <a:lnTo>
                    <a:pt x="429" y="4"/>
                  </a:lnTo>
                  <a:lnTo>
                    <a:pt x="429" y="1"/>
                  </a:lnTo>
                  <a:lnTo>
                    <a:pt x="431" y="1"/>
                  </a:lnTo>
                  <a:lnTo>
                    <a:pt x="431" y="0"/>
                  </a:lnTo>
                  <a:lnTo>
                    <a:pt x="432" y="0"/>
                  </a:lnTo>
                  <a:lnTo>
                    <a:pt x="434" y="1"/>
                  </a:lnTo>
                  <a:lnTo>
                    <a:pt x="435" y="1"/>
                  </a:lnTo>
                  <a:lnTo>
                    <a:pt x="437" y="3"/>
                  </a:lnTo>
                  <a:lnTo>
                    <a:pt x="435" y="3"/>
                  </a:lnTo>
                  <a:lnTo>
                    <a:pt x="435" y="5"/>
                  </a:lnTo>
                  <a:lnTo>
                    <a:pt x="434" y="6"/>
                  </a:lnTo>
                  <a:lnTo>
                    <a:pt x="434" y="7"/>
                  </a:lnTo>
                  <a:lnTo>
                    <a:pt x="434" y="9"/>
                  </a:lnTo>
                  <a:lnTo>
                    <a:pt x="434" y="10"/>
                  </a:lnTo>
                  <a:lnTo>
                    <a:pt x="435" y="10"/>
                  </a:lnTo>
                  <a:lnTo>
                    <a:pt x="437" y="10"/>
                  </a:lnTo>
                  <a:lnTo>
                    <a:pt x="437" y="11"/>
                  </a:lnTo>
                  <a:lnTo>
                    <a:pt x="437" y="12"/>
                  </a:lnTo>
                  <a:lnTo>
                    <a:pt x="435" y="15"/>
                  </a:lnTo>
                  <a:lnTo>
                    <a:pt x="435" y="17"/>
                  </a:lnTo>
                  <a:lnTo>
                    <a:pt x="434" y="17"/>
                  </a:lnTo>
                  <a:lnTo>
                    <a:pt x="434" y="18"/>
                  </a:lnTo>
                  <a:lnTo>
                    <a:pt x="435" y="18"/>
                  </a:lnTo>
                  <a:lnTo>
                    <a:pt x="437" y="19"/>
                  </a:lnTo>
                  <a:lnTo>
                    <a:pt x="438" y="19"/>
                  </a:lnTo>
                  <a:lnTo>
                    <a:pt x="438" y="21"/>
                  </a:lnTo>
                  <a:lnTo>
                    <a:pt x="438" y="22"/>
                  </a:lnTo>
                  <a:lnTo>
                    <a:pt x="437" y="24"/>
                  </a:lnTo>
                  <a:lnTo>
                    <a:pt x="437" y="25"/>
                  </a:lnTo>
                  <a:lnTo>
                    <a:pt x="435" y="28"/>
                  </a:lnTo>
                  <a:lnTo>
                    <a:pt x="435" y="29"/>
                  </a:lnTo>
                  <a:lnTo>
                    <a:pt x="434" y="29"/>
                  </a:lnTo>
                  <a:lnTo>
                    <a:pt x="435" y="30"/>
                  </a:lnTo>
                  <a:lnTo>
                    <a:pt x="435" y="31"/>
                  </a:lnTo>
                  <a:lnTo>
                    <a:pt x="435" y="34"/>
                  </a:lnTo>
                  <a:lnTo>
                    <a:pt x="434" y="35"/>
                  </a:lnTo>
                  <a:lnTo>
                    <a:pt x="434" y="37"/>
                  </a:lnTo>
                  <a:lnTo>
                    <a:pt x="433" y="39"/>
                  </a:lnTo>
                  <a:lnTo>
                    <a:pt x="434" y="40"/>
                  </a:lnTo>
                  <a:lnTo>
                    <a:pt x="433" y="40"/>
                  </a:lnTo>
                  <a:lnTo>
                    <a:pt x="433" y="41"/>
                  </a:lnTo>
                  <a:lnTo>
                    <a:pt x="434" y="43"/>
                  </a:lnTo>
                  <a:lnTo>
                    <a:pt x="433" y="43"/>
                  </a:lnTo>
                  <a:lnTo>
                    <a:pt x="433" y="45"/>
                  </a:lnTo>
                  <a:lnTo>
                    <a:pt x="434" y="45"/>
                  </a:lnTo>
                  <a:lnTo>
                    <a:pt x="434" y="42"/>
                  </a:lnTo>
                  <a:lnTo>
                    <a:pt x="435" y="42"/>
                  </a:lnTo>
                  <a:lnTo>
                    <a:pt x="437" y="42"/>
                  </a:lnTo>
                  <a:lnTo>
                    <a:pt x="438" y="42"/>
                  </a:lnTo>
                  <a:lnTo>
                    <a:pt x="439" y="43"/>
                  </a:lnTo>
                  <a:lnTo>
                    <a:pt x="439" y="42"/>
                  </a:lnTo>
                  <a:lnTo>
                    <a:pt x="440" y="42"/>
                  </a:lnTo>
                  <a:lnTo>
                    <a:pt x="443" y="42"/>
                  </a:lnTo>
                  <a:lnTo>
                    <a:pt x="444" y="41"/>
                  </a:lnTo>
                  <a:lnTo>
                    <a:pt x="444" y="40"/>
                  </a:lnTo>
                  <a:lnTo>
                    <a:pt x="445" y="40"/>
                  </a:lnTo>
                  <a:lnTo>
                    <a:pt x="445" y="39"/>
                  </a:lnTo>
                  <a:lnTo>
                    <a:pt x="446" y="39"/>
                  </a:lnTo>
                  <a:lnTo>
                    <a:pt x="446" y="40"/>
                  </a:lnTo>
                  <a:lnTo>
                    <a:pt x="448" y="41"/>
                  </a:lnTo>
                  <a:lnTo>
                    <a:pt x="448" y="42"/>
                  </a:lnTo>
                  <a:lnTo>
                    <a:pt x="446" y="45"/>
                  </a:lnTo>
                  <a:lnTo>
                    <a:pt x="446" y="46"/>
                  </a:lnTo>
                  <a:lnTo>
                    <a:pt x="446" y="47"/>
                  </a:lnTo>
                  <a:lnTo>
                    <a:pt x="445" y="47"/>
                  </a:lnTo>
                  <a:lnTo>
                    <a:pt x="445" y="48"/>
                  </a:lnTo>
                  <a:lnTo>
                    <a:pt x="445" y="49"/>
                  </a:lnTo>
                  <a:lnTo>
                    <a:pt x="445" y="51"/>
                  </a:lnTo>
                  <a:lnTo>
                    <a:pt x="445" y="52"/>
                  </a:lnTo>
                  <a:lnTo>
                    <a:pt x="445" y="53"/>
                  </a:lnTo>
                  <a:lnTo>
                    <a:pt x="445" y="54"/>
                  </a:lnTo>
                  <a:lnTo>
                    <a:pt x="445" y="55"/>
                  </a:lnTo>
                  <a:lnTo>
                    <a:pt x="448" y="55"/>
                  </a:lnTo>
                  <a:lnTo>
                    <a:pt x="449" y="54"/>
                  </a:lnTo>
                  <a:lnTo>
                    <a:pt x="449" y="52"/>
                  </a:lnTo>
                  <a:lnTo>
                    <a:pt x="450" y="52"/>
                  </a:lnTo>
                  <a:lnTo>
                    <a:pt x="450" y="51"/>
                  </a:lnTo>
                  <a:lnTo>
                    <a:pt x="450" y="49"/>
                  </a:lnTo>
                  <a:lnTo>
                    <a:pt x="450" y="47"/>
                  </a:lnTo>
                  <a:lnTo>
                    <a:pt x="451" y="47"/>
                  </a:lnTo>
                  <a:lnTo>
                    <a:pt x="455" y="48"/>
                  </a:lnTo>
                  <a:lnTo>
                    <a:pt x="456" y="48"/>
                  </a:lnTo>
                  <a:lnTo>
                    <a:pt x="457" y="48"/>
                  </a:lnTo>
                  <a:lnTo>
                    <a:pt x="457" y="49"/>
                  </a:lnTo>
                  <a:lnTo>
                    <a:pt x="457" y="52"/>
                  </a:lnTo>
                  <a:lnTo>
                    <a:pt x="458" y="52"/>
                  </a:lnTo>
                  <a:lnTo>
                    <a:pt x="458" y="51"/>
                  </a:lnTo>
                  <a:lnTo>
                    <a:pt x="462" y="51"/>
                  </a:lnTo>
                  <a:lnTo>
                    <a:pt x="462" y="49"/>
                  </a:lnTo>
                  <a:lnTo>
                    <a:pt x="461" y="48"/>
                  </a:lnTo>
                  <a:lnTo>
                    <a:pt x="461" y="47"/>
                  </a:lnTo>
                  <a:lnTo>
                    <a:pt x="462" y="47"/>
                  </a:lnTo>
                  <a:lnTo>
                    <a:pt x="463" y="46"/>
                  </a:lnTo>
                  <a:lnTo>
                    <a:pt x="462" y="46"/>
                  </a:lnTo>
                  <a:lnTo>
                    <a:pt x="461" y="45"/>
                  </a:lnTo>
                  <a:lnTo>
                    <a:pt x="460" y="45"/>
                  </a:lnTo>
                  <a:lnTo>
                    <a:pt x="460" y="43"/>
                  </a:lnTo>
                  <a:lnTo>
                    <a:pt x="461" y="40"/>
                  </a:lnTo>
                  <a:lnTo>
                    <a:pt x="461" y="39"/>
                  </a:lnTo>
                  <a:lnTo>
                    <a:pt x="462" y="39"/>
                  </a:lnTo>
                  <a:lnTo>
                    <a:pt x="463" y="39"/>
                  </a:lnTo>
                  <a:lnTo>
                    <a:pt x="463" y="40"/>
                  </a:lnTo>
                  <a:lnTo>
                    <a:pt x="464" y="41"/>
                  </a:lnTo>
                  <a:lnTo>
                    <a:pt x="466" y="42"/>
                  </a:lnTo>
                  <a:lnTo>
                    <a:pt x="467" y="42"/>
                  </a:lnTo>
                  <a:lnTo>
                    <a:pt x="468" y="43"/>
                  </a:lnTo>
                  <a:lnTo>
                    <a:pt x="468" y="42"/>
                  </a:lnTo>
                  <a:lnTo>
                    <a:pt x="468" y="41"/>
                  </a:lnTo>
                  <a:lnTo>
                    <a:pt x="469" y="41"/>
                  </a:lnTo>
                  <a:lnTo>
                    <a:pt x="469" y="40"/>
                  </a:lnTo>
                  <a:lnTo>
                    <a:pt x="469" y="39"/>
                  </a:lnTo>
                  <a:lnTo>
                    <a:pt x="470" y="39"/>
                  </a:lnTo>
                  <a:lnTo>
                    <a:pt x="470" y="37"/>
                  </a:lnTo>
                  <a:lnTo>
                    <a:pt x="470" y="35"/>
                  </a:lnTo>
                  <a:lnTo>
                    <a:pt x="472" y="35"/>
                  </a:lnTo>
                  <a:lnTo>
                    <a:pt x="472" y="34"/>
                  </a:lnTo>
                  <a:lnTo>
                    <a:pt x="473" y="34"/>
                  </a:lnTo>
                  <a:lnTo>
                    <a:pt x="474" y="34"/>
                  </a:lnTo>
                  <a:lnTo>
                    <a:pt x="474" y="33"/>
                  </a:lnTo>
                  <a:lnTo>
                    <a:pt x="475" y="31"/>
                  </a:lnTo>
                  <a:lnTo>
                    <a:pt x="475" y="30"/>
                  </a:lnTo>
                  <a:lnTo>
                    <a:pt x="474" y="30"/>
                  </a:lnTo>
                  <a:lnTo>
                    <a:pt x="474" y="29"/>
                  </a:lnTo>
                  <a:lnTo>
                    <a:pt x="474" y="30"/>
                  </a:lnTo>
                  <a:lnTo>
                    <a:pt x="473" y="29"/>
                  </a:lnTo>
                  <a:lnTo>
                    <a:pt x="470" y="28"/>
                  </a:lnTo>
                  <a:lnTo>
                    <a:pt x="470" y="25"/>
                  </a:lnTo>
                  <a:lnTo>
                    <a:pt x="472" y="25"/>
                  </a:lnTo>
                  <a:lnTo>
                    <a:pt x="473" y="24"/>
                  </a:lnTo>
                  <a:lnTo>
                    <a:pt x="474" y="24"/>
                  </a:lnTo>
                  <a:lnTo>
                    <a:pt x="475" y="25"/>
                  </a:lnTo>
                  <a:lnTo>
                    <a:pt x="476" y="24"/>
                  </a:lnTo>
                  <a:lnTo>
                    <a:pt x="476" y="23"/>
                  </a:lnTo>
                  <a:lnTo>
                    <a:pt x="476" y="22"/>
                  </a:lnTo>
                  <a:lnTo>
                    <a:pt x="476" y="19"/>
                  </a:lnTo>
                  <a:lnTo>
                    <a:pt x="476" y="18"/>
                  </a:lnTo>
                  <a:lnTo>
                    <a:pt x="476" y="17"/>
                  </a:lnTo>
                  <a:lnTo>
                    <a:pt x="476" y="15"/>
                  </a:lnTo>
                  <a:lnTo>
                    <a:pt x="479" y="15"/>
                  </a:lnTo>
                  <a:lnTo>
                    <a:pt x="480" y="15"/>
                  </a:lnTo>
                  <a:lnTo>
                    <a:pt x="480" y="13"/>
                  </a:lnTo>
                  <a:lnTo>
                    <a:pt x="481" y="12"/>
                  </a:lnTo>
                  <a:lnTo>
                    <a:pt x="481" y="11"/>
                  </a:lnTo>
                  <a:lnTo>
                    <a:pt x="482" y="10"/>
                  </a:lnTo>
                  <a:lnTo>
                    <a:pt x="482" y="9"/>
                  </a:lnTo>
                  <a:lnTo>
                    <a:pt x="484" y="10"/>
                  </a:lnTo>
                  <a:lnTo>
                    <a:pt x="485" y="11"/>
                  </a:lnTo>
                  <a:lnTo>
                    <a:pt x="486" y="11"/>
                  </a:lnTo>
                  <a:lnTo>
                    <a:pt x="487" y="12"/>
                  </a:lnTo>
                  <a:lnTo>
                    <a:pt x="486" y="13"/>
                  </a:lnTo>
                  <a:lnTo>
                    <a:pt x="486" y="15"/>
                  </a:lnTo>
                  <a:lnTo>
                    <a:pt x="486" y="17"/>
                  </a:lnTo>
                  <a:lnTo>
                    <a:pt x="486" y="18"/>
                  </a:lnTo>
                  <a:lnTo>
                    <a:pt x="486" y="19"/>
                  </a:lnTo>
                  <a:lnTo>
                    <a:pt x="486" y="22"/>
                  </a:lnTo>
                  <a:lnTo>
                    <a:pt x="486" y="24"/>
                  </a:lnTo>
                  <a:lnTo>
                    <a:pt x="486" y="25"/>
                  </a:lnTo>
                  <a:lnTo>
                    <a:pt x="486" y="24"/>
                  </a:lnTo>
                  <a:lnTo>
                    <a:pt x="487" y="24"/>
                  </a:lnTo>
                  <a:lnTo>
                    <a:pt x="488" y="24"/>
                  </a:lnTo>
                  <a:lnTo>
                    <a:pt x="490" y="23"/>
                  </a:lnTo>
                  <a:lnTo>
                    <a:pt x="488" y="23"/>
                  </a:lnTo>
                  <a:lnTo>
                    <a:pt x="490" y="23"/>
                  </a:lnTo>
                  <a:lnTo>
                    <a:pt x="491" y="24"/>
                  </a:lnTo>
                  <a:lnTo>
                    <a:pt x="492" y="25"/>
                  </a:lnTo>
                  <a:lnTo>
                    <a:pt x="492" y="27"/>
                  </a:lnTo>
                  <a:lnTo>
                    <a:pt x="491" y="27"/>
                  </a:lnTo>
                  <a:lnTo>
                    <a:pt x="491" y="28"/>
                  </a:lnTo>
                  <a:lnTo>
                    <a:pt x="490" y="28"/>
                  </a:lnTo>
                  <a:lnTo>
                    <a:pt x="488" y="29"/>
                  </a:lnTo>
                  <a:lnTo>
                    <a:pt x="487" y="29"/>
                  </a:lnTo>
                  <a:lnTo>
                    <a:pt x="487" y="30"/>
                  </a:lnTo>
                  <a:lnTo>
                    <a:pt x="486" y="30"/>
                  </a:lnTo>
                  <a:lnTo>
                    <a:pt x="485" y="31"/>
                  </a:lnTo>
                  <a:lnTo>
                    <a:pt x="484" y="31"/>
                  </a:lnTo>
                  <a:lnTo>
                    <a:pt x="484" y="33"/>
                  </a:lnTo>
                  <a:lnTo>
                    <a:pt x="482" y="34"/>
                  </a:lnTo>
                  <a:lnTo>
                    <a:pt x="481" y="35"/>
                  </a:lnTo>
                  <a:lnTo>
                    <a:pt x="480" y="35"/>
                  </a:lnTo>
                  <a:lnTo>
                    <a:pt x="480" y="36"/>
                  </a:lnTo>
                  <a:lnTo>
                    <a:pt x="481" y="36"/>
                  </a:lnTo>
                  <a:lnTo>
                    <a:pt x="481" y="37"/>
                  </a:lnTo>
                  <a:lnTo>
                    <a:pt x="481" y="39"/>
                  </a:lnTo>
                  <a:lnTo>
                    <a:pt x="481" y="40"/>
                  </a:lnTo>
                  <a:lnTo>
                    <a:pt x="481" y="41"/>
                  </a:lnTo>
                  <a:lnTo>
                    <a:pt x="481" y="42"/>
                  </a:lnTo>
                  <a:lnTo>
                    <a:pt x="480" y="42"/>
                  </a:lnTo>
                  <a:lnTo>
                    <a:pt x="480" y="43"/>
                  </a:lnTo>
                  <a:lnTo>
                    <a:pt x="480" y="45"/>
                  </a:lnTo>
                  <a:lnTo>
                    <a:pt x="481" y="46"/>
                  </a:lnTo>
                  <a:lnTo>
                    <a:pt x="482" y="46"/>
                  </a:lnTo>
                  <a:lnTo>
                    <a:pt x="482" y="45"/>
                  </a:lnTo>
                  <a:lnTo>
                    <a:pt x="482" y="43"/>
                  </a:lnTo>
                  <a:lnTo>
                    <a:pt x="484" y="43"/>
                  </a:lnTo>
                  <a:lnTo>
                    <a:pt x="485" y="43"/>
                  </a:lnTo>
                  <a:lnTo>
                    <a:pt x="486" y="42"/>
                  </a:lnTo>
                  <a:lnTo>
                    <a:pt x="487" y="42"/>
                  </a:lnTo>
                  <a:lnTo>
                    <a:pt x="487" y="43"/>
                  </a:lnTo>
                  <a:lnTo>
                    <a:pt x="488" y="43"/>
                  </a:lnTo>
                  <a:lnTo>
                    <a:pt x="490" y="45"/>
                  </a:lnTo>
                  <a:lnTo>
                    <a:pt x="490" y="46"/>
                  </a:lnTo>
                  <a:lnTo>
                    <a:pt x="491" y="46"/>
                  </a:lnTo>
                  <a:lnTo>
                    <a:pt x="492" y="46"/>
                  </a:lnTo>
                  <a:lnTo>
                    <a:pt x="492" y="45"/>
                  </a:lnTo>
                  <a:lnTo>
                    <a:pt x="492" y="43"/>
                  </a:lnTo>
                  <a:lnTo>
                    <a:pt x="492" y="42"/>
                  </a:lnTo>
                  <a:lnTo>
                    <a:pt x="493" y="41"/>
                  </a:lnTo>
                  <a:lnTo>
                    <a:pt x="494" y="41"/>
                  </a:lnTo>
                  <a:lnTo>
                    <a:pt x="494" y="40"/>
                  </a:lnTo>
                  <a:lnTo>
                    <a:pt x="496" y="39"/>
                  </a:lnTo>
                  <a:lnTo>
                    <a:pt x="496" y="36"/>
                  </a:lnTo>
                  <a:lnTo>
                    <a:pt x="496" y="34"/>
                  </a:lnTo>
                  <a:lnTo>
                    <a:pt x="494" y="33"/>
                  </a:lnTo>
                  <a:lnTo>
                    <a:pt x="494" y="31"/>
                  </a:lnTo>
                  <a:lnTo>
                    <a:pt x="494" y="30"/>
                  </a:lnTo>
                  <a:lnTo>
                    <a:pt x="493" y="29"/>
                  </a:lnTo>
                  <a:lnTo>
                    <a:pt x="494" y="29"/>
                  </a:lnTo>
                  <a:lnTo>
                    <a:pt x="496" y="28"/>
                  </a:lnTo>
                  <a:lnTo>
                    <a:pt x="497" y="28"/>
                  </a:lnTo>
                  <a:lnTo>
                    <a:pt x="497" y="27"/>
                  </a:lnTo>
                  <a:lnTo>
                    <a:pt x="498" y="25"/>
                  </a:lnTo>
                  <a:lnTo>
                    <a:pt x="498" y="23"/>
                  </a:lnTo>
                  <a:lnTo>
                    <a:pt x="498" y="22"/>
                  </a:lnTo>
                  <a:lnTo>
                    <a:pt x="502" y="22"/>
                  </a:lnTo>
                  <a:lnTo>
                    <a:pt x="502" y="23"/>
                  </a:lnTo>
                  <a:lnTo>
                    <a:pt x="502" y="25"/>
                  </a:lnTo>
                  <a:lnTo>
                    <a:pt x="501" y="25"/>
                  </a:lnTo>
                  <a:lnTo>
                    <a:pt x="501" y="27"/>
                  </a:lnTo>
                  <a:lnTo>
                    <a:pt x="502" y="27"/>
                  </a:lnTo>
                  <a:lnTo>
                    <a:pt x="502" y="29"/>
                  </a:lnTo>
                  <a:lnTo>
                    <a:pt x="503" y="29"/>
                  </a:lnTo>
                  <a:lnTo>
                    <a:pt x="504" y="29"/>
                  </a:lnTo>
                  <a:lnTo>
                    <a:pt x="503" y="28"/>
                  </a:lnTo>
                  <a:lnTo>
                    <a:pt x="503" y="27"/>
                  </a:lnTo>
                  <a:lnTo>
                    <a:pt x="504" y="27"/>
                  </a:lnTo>
                  <a:lnTo>
                    <a:pt x="505" y="25"/>
                  </a:lnTo>
                  <a:lnTo>
                    <a:pt x="505" y="24"/>
                  </a:lnTo>
                  <a:lnTo>
                    <a:pt x="505" y="23"/>
                  </a:lnTo>
                  <a:lnTo>
                    <a:pt x="505" y="22"/>
                  </a:lnTo>
                  <a:lnTo>
                    <a:pt x="507" y="21"/>
                  </a:lnTo>
                  <a:lnTo>
                    <a:pt x="507" y="19"/>
                  </a:lnTo>
                  <a:lnTo>
                    <a:pt x="507" y="18"/>
                  </a:lnTo>
                  <a:lnTo>
                    <a:pt x="508" y="18"/>
                  </a:lnTo>
                  <a:lnTo>
                    <a:pt x="509" y="18"/>
                  </a:lnTo>
                  <a:lnTo>
                    <a:pt x="509" y="19"/>
                  </a:lnTo>
                  <a:lnTo>
                    <a:pt x="510" y="19"/>
                  </a:lnTo>
                  <a:lnTo>
                    <a:pt x="510" y="18"/>
                  </a:lnTo>
                  <a:lnTo>
                    <a:pt x="511" y="17"/>
                  </a:lnTo>
                  <a:lnTo>
                    <a:pt x="510" y="16"/>
                  </a:lnTo>
                  <a:lnTo>
                    <a:pt x="511" y="15"/>
                  </a:lnTo>
                  <a:lnTo>
                    <a:pt x="513" y="13"/>
                  </a:lnTo>
                  <a:lnTo>
                    <a:pt x="513" y="15"/>
                  </a:lnTo>
                  <a:lnTo>
                    <a:pt x="515" y="15"/>
                  </a:lnTo>
                  <a:lnTo>
                    <a:pt x="516" y="15"/>
                  </a:lnTo>
                  <a:lnTo>
                    <a:pt x="516" y="16"/>
                  </a:lnTo>
                  <a:lnTo>
                    <a:pt x="516" y="17"/>
                  </a:lnTo>
                  <a:lnTo>
                    <a:pt x="515" y="18"/>
                  </a:lnTo>
                  <a:lnTo>
                    <a:pt x="515" y="21"/>
                  </a:lnTo>
                  <a:lnTo>
                    <a:pt x="515" y="23"/>
                  </a:lnTo>
                  <a:lnTo>
                    <a:pt x="516" y="23"/>
                  </a:lnTo>
                  <a:lnTo>
                    <a:pt x="516" y="24"/>
                  </a:lnTo>
                  <a:lnTo>
                    <a:pt x="516" y="27"/>
                  </a:lnTo>
                  <a:lnTo>
                    <a:pt x="516" y="28"/>
                  </a:lnTo>
                  <a:lnTo>
                    <a:pt x="515" y="28"/>
                  </a:lnTo>
                  <a:lnTo>
                    <a:pt x="515" y="29"/>
                  </a:lnTo>
                  <a:lnTo>
                    <a:pt x="514" y="30"/>
                  </a:lnTo>
                  <a:lnTo>
                    <a:pt x="513" y="33"/>
                  </a:lnTo>
                  <a:lnTo>
                    <a:pt x="511" y="33"/>
                  </a:lnTo>
                  <a:lnTo>
                    <a:pt x="511" y="34"/>
                  </a:lnTo>
                  <a:lnTo>
                    <a:pt x="509" y="34"/>
                  </a:lnTo>
                  <a:lnTo>
                    <a:pt x="509" y="35"/>
                  </a:lnTo>
                  <a:lnTo>
                    <a:pt x="508" y="36"/>
                  </a:lnTo>
                  <a:lnTo>
                    <a:pt x="505" y="37"/>
                  </a:lnTo>
                  <a:lnTo>
                    <a:pt x="507" y="37"/>
                  </a:lnTo>
                  <a:lnTo>
                    <a:pt x="508" y="37"/>
                  </a:lnTo>
                  <a:lnTo>
                    <a:pt x="508" y="39"/>
                  </a:lnTo>
                  <a:lnTo>
                    <a:pt x="509" y="37"/>
                  </a:lnTo>
                  <a:lnTo>
                    <a:pt x="509" y="39"/>
                  </a:lnTo>
                  <a:lnTo>
                    <a:pt x="510" y="40"/>
                  </a:lnTo>
                  <a:lnTo>
                    <a:pt x="511" y="39"/>
                  </a:lnTo>
                  <a:lnTo>
                    <a:pt x="513" y="37"/>
                  </a:lnTo>
                  <a:lnTo>
                    <a:pt x="514" y="37"/>
                  </a:lnTo>
                  <a:lnTo>
                    <a:pt x="515" y="39"/>
                  </a:lnTo>
                  <a:lnTo>
                    <a:pt x="515" y="41"/>
                  </a:lnTo>
                  <a:lnTo>
                    <a:pt x="516" y="42"/>
                  </a:lnTo>
                  <a:lnTo>
                    <a:pt x="517" y="43"/>
                  </a:lnTo>
                  <a:lnTo>
                    <a:pt x="517" y="46"/>
                  </a:lnTo>
                  <a:lnTo>
                    <a:pt x="517" y="45"/>
                  </a:lnTo>
                  <a:lnTo>
                    <a:pt x="519" y="45"/>
                  </a:lnTo>
                  <a:lnTo>
                    <a:pt x="520" y="43"/>
                  </a:lnTo>
                  <a:lnTo>
                    <a:pt x="520" y="41"/>
                  </a:lnTo>
                  <a:lnTo>
                    <a:pt x="519" y="41"/>
                  </a:lnTo>
                  <a:lnTo>
                    <a:pt x="520" y="39"/>
                  </a:lnTo>
                  <a:lnTo>
                    <a:pt x="521" y="37"/>
                  </a:lnTo>
                  <a:lnTo>
                    <a:pt x="522" y="37"/>
                  </a:lnTo>
                  <a:lnTo>
                    <a:pt x="523" y="40"/>
                  </a:lnTo>
                  <a:lnTo>
                    <a:pt x="523" y="39"/>
                  </a:lnTo>
                  <a:lnTo>
                    <a:pt x="525" y="39"/>
                  </a:lnTo>
                  <a:lnTo>
                    <a:pt x="525" y="37"/>
                  </a:lnTo>
                  <a:lnTo>
                    <a:pt x="526" y="37"/>
                  </a:lnTo>
                  <a:lnTo>
                    <a:pt x="526" y="36"/>
                  </a:lnTo>
                  <a:lnTo>
                    <a:pt x="527" y="36"/>
                  </a:lnTo>
                  <a:lnTo>
                    <a:pt x="528" y="35"/>
                  </a:lnTo>
                  <a:lnTo>
                    <a:pt x="529" y="34"/>
                  </a:lnTo>
                  <a:lnTo>
                    <a:pt x="531" y="34"/>
                  </a:lnTo>
                  <a:lnTo>
                    <a:pt x="531" y="33"/>
                  </a:lnTo>
                  <a:lnTo>
                    <a:pt x="533" y="35"/>
                  </a:lnTo>
                  <a:lnTo>
                    <a:pt x="534" y="37"/>
                  </a:lnTo>
                  <a:lnTo>
                    <a:pt x="533" y="39"/>
                  </a:lnTo>
                  <a:lnTo>
                    <a:pt x="532" y="40"/>
                  </a:lnTo>
                  <a:lnTo>
                    <a:pt x="531" y="41"/>
                  </a:lnTo>
                  <a:lnTo>
                    <a:pt x="529" y="42"/>
                  </a:lnTo>
                  <a:lnTo>
                    <a:pt x="528" y="46"/>
                  </a:lnTo>
                  <a:lnTo>
                    <a:pt x="528" y="49"/>
                  </a:lnTo>
                  <a:lnTo>
                    <a:pt x="527" y="49"/>
                  </a:lnTo>
                  <a:lnTo>
                    <a:pt x="526" y="49"/>
                  </a:lnTo>
                  <a:lnTo>
                    <a:pt x="526" y="51"/>
                  </a:lnTo>
                  <a:lnTo>
                    <a:pt x="525" y="60"/>
                  </a:lnTo>
                  <a:lnTo>
                    <a:pt x="525" y="62"/>
                  </a:lnTo>
                  <a:lnTo>
                    <a:pt x="525" y="63"/>
                  </a:lnTo>
                  <a:lnTo>
                    <a:pt x="526" y="63"/>
                  </a:lnTo>
                  <a:lnTo>
                    <a:pt x="526" y="64"/>
                  </a:lnTo>
                  <a:lnTo>
                    <a:pt x="527" y="63"/>
                  </a:lnTo>
                  <a:lnTo>
                    <a:pt x="528" y="63"/>
                  </a:lnTo>
                  <a:lnTo>
                    <a:pt x="529" y="63"/>
                  </a:lnTo>
                  <a:lnTo>
                    <a:pt x="528" y="65"/>
                  </a:lnTo>
                  <a:lnTo>
                    <a:pt x="528" y="66"/>
                  </a:lnTo>
                  <a:lnTo>
                    <a:pt x="527" y="66"/>
                  </a:lnTo>
                  <a:lnTo>
                    <a:pt x="527" y="68"/>
                  </a:lnTo>
                  <a:lnTo>
                    <a:pt x="527" y="69"/>
                  </a:lnTo>
                  <a:lnTo>
                    <a:pt x="526" y="69"/>
                  </a:lnTo>
                  <a:lnTo>
                    <a:pt x="525" y="70"/>
                  </a:lnTo>
                  <a:lnTo>
                    <a:pt x="526" y="71"/>
                  </a:lnTo>
                  <a:lnTo>
                    <a:pt x="526" y="72"/>
                  </a:lnTo>
                  <a:lnTo>
                    <a:pt x="527" y="72"/>
                  </a:lnTo>
                  <a:lnTo>
                    <a:pt x="526" y="75"/>
                  </a:lnTo>
                  <a:lnTo>
                    <a:pt x="527" y="76"/>
                  </a:lnTo>
                  <a:lnTo>
                    <a:pt x="528" y="77"/>
                  </a:lnTo>
                  <a:lnTo>
                    <a:pt x="531" y="77"/>
                  </a:lnTo>
                  <a:lnTo>
                    <a:pt x="532" y="76"/>
                  </a:lnTo>
                  <a:lnTo>
                    <a:pt x="533" y="75"/>
                  </a:lnTo>
                  <a:lnTo>
                    <a:pt x="533" y="74"/>
                  </a:lnTo>
                  <a:lnTo>
                    <a:pt x="534" y="74"/>
                  </a:lnTo>
                  <a:lnTo>
                    <a:pt x="534" y="71"/>
                  </a:lnTo>
                  <a:lnTo>
                    <a:pt x="533" y="70"/>
                  </a:lnTo>
                  <a:lnTo>
                    <a:pt x="534" y="70"/>
                  </a:lnTo>
                  <a:lnTo>
                    <a:pt x="537" y="70"/>
                  </a:lnTo>
                  <a:lnTo>
                    <a:pt x="537" y="69"/>
                  </a:lnTo>
                  <a:lnTo>
                    <a:pt x="535" y="68"/>
                  </a:lnTo>
                  <a:lnTo>
                    <a:pt x="535" y="66"/>
                  </a:lnTo>
                  <a:lnTo>
                    <a:pt x="534" y="63"/>
                  </a:lnTo>
                  <a:lnTo>
                    <a:pt x="534" y="60"/>
                  </a:lnTo>
                  <a:lnTo>
                    <a:pt x="535" y="60"/>
                  </a:lnTo>
                  <a:lnTo>
                    <a:pt x="535" y="59"/>
                  </a:lnTo>
                  <a:lnTo>
                    <a:pt x="535" y="58"/>
                  </a:lnTo>
                  <a:lnTo>
                    <a:pt x="534" y="57"/>
                  </a:lnTo>
                  <a:lnTo>
                    <a:pt x="535" y="55"/>
                  </a:lnTo>
                  <a:lnTo>
                    <a:pt x="535" y="54"/>
                  </a:lnTo>
                  <a:lnTo>
                    <a:pt x="537" y="54"/>
                  </a:lnTo>
                  <a:lnTo>
                    <a:pt x="538" y="54"/>
                  </a:lnTo>
                  <a:lnTo>
                    <a:pt x="539" y="54"/>
                  </a:lnTo>
                  <a:lnTo>
                    <a:pt x="539" y="53"/>
                  </a:lnTo>
                  <a:lnTo>
                    <a:pt x="540" y="52"/>
                  </a:lnTo>
                  <a:lnTo>
                    <a:pt x="540" y="49"/>
                  </a:lnTo>
                  <a:lnTo>
                    <a:pt x="543" y="48"/>
                  </a:lnTo>
                  <a:lnTo>
                    <a:pt x="543" y="49"/>
                  </a:lnTo>
                  <a:lnTo>
                    <a:pt x="545" y="49"/>
                  </a:lnTo>
                  <a:lnTo>
                    <a:pt x="546" y="51"/>
                  </a:lnTo>
                  <a:lnTo>
                    <a:pt x="545" y="52"/>
                  </a:lnTo>
                  <a:lnTo>
                    <a:pt x="545" y="55"/>
                  </a:lnTo>
                  <a:lnTo>
                    <a:pt x="544" y="57"/>
                  </a:lnTo>
                  <a:lnTo>
                    <a:pt x="543" y="59"/>
                  </a:lnTo>
                  <a:lnTo>
                    <a:pt x="544" y="59"/>
                  </a:lnTo>
                  <a:lnTo>
                    <a:pt x="544" y="60"/>
                  </a:lnTo>
                  <a:lnTo>
                    <a:pt x="544" y="62"/>
                  </a:lnTo>
                  <a:lnTo>
                    <a:pt x="545" y="62"/>
                  </a:lnTo>
                  <a:lnTo>
                    <a:pt x="546" y="62"/>
                  </a:lnTo>
                  <a:lnTo>
                    <a:pt x="546" y="60"/>
                  </a:lnTo>
                  <a:lnTo>
                    <a:pt x="547" y="60"/>
                  </a:lnTo>
                  <a:lnTo>
                    <a:pt x="547" y="62"/>
                  </a:lnTo>
                  <a:lnTo>
                    <a:pt x="549" y="63"/>
                  </a:lnTo>
                  <a:lnTo>
                    <a:pt x="549" y="64"/>
                  </a:lnTo>
                  <a:lnTo>
                    <a:pt x="547" y="64"/>
                  </a:lnTo>
                  <a:lnTo>
                    <a:pt x="546" y="65"/>
                  </a:lnTo>
                  <a:lnTo>
                    <a:pt x="545" y="65"/>
                  </a:lnTo>
                  <a:lnTo>
                    <a:pt x="544" y="66"/>
                  </a:lnTo>
                  <a:lnTo>
                    <a:pt x="544" y="68"/>
                  </a:lnTo>
                  <a:lnTo>
                    <a:pt x="543" y="69"/>
                  </a:lnTo>
                  <a:lnTo>
                    <a:pt x="541" y="69"/>
                  </a:lnTo>
                  <a:lnTo>
                    <a:pt x="540" y="70"/>
                  </a:lnTo>
                  <a:lnTo>
                    <a:pt x="540" y="71"/>
                  </a:lnTo>
                  <a:lnTo>
                    <a:pt x="540" y="72"/>
                  </a:lnTo>
                  <a:lnTo>
                    <a:pt x="541" y="71"/>
                  </a:lnTo>
                  <a:lnTo>
                    <a:pt x="541" y="72"/>
                  </a:lnTo>
                  <a:lnTo>
                    <a:pt x="540" y="72"/>
                  </a:lnTo>
                  <a:lnTo>
                    <a:pt x="541" y="74"/>
                  </a:lnTo>
                  <a:lnTo>
                    <a:pt x="543" y="74"/>
                  </a:lnTo>
                  <a:lnTo>
                    <a:pt x="543" y="75"/>
                  </a:lnTo>
                  <a:lnTo>
                    <a:pt x="543" y="76"/>
                  </a:lnTo>
                  <a:lnTo>
                    <a:pt x="544" y="76"/>
                  </a:lnTo>
                  <a:lnTo>
                    <a:pt x="545" y="75"/>
                  </a:lnTo>
                  <a:lnTo>
                    <a:pt x="546" y="76"/>
                  </a:lnTo>
                  <a:lnTo>
                    <a:pt x="546" y="75"/>
                  </a:lnTo>
                  <a:lnTo>
                    <a:pt x="547" y="75"/>
                  </a:lnTo>
                  <a:lnTo>
                    <a:pt x="547" y="74"/>
                  </a:lnTo>
                  <a:lnTo>
                    <a:pt x="547" y="72"/>
                  </a:lnTo>
                  <a:lnTo>
                    <a:pt x="549" y="72"/>
                  </a:lnTo>
                  <a:lnTo>
                    <a:pt x="549" y="66"/>
                  </a:lnTo>
                  <a:lnTo>
                    <a:pt x="549" y="65"/>
                  </a:lnTo>
                  <a:lnTo>
                    <a:pt x="551" y="65"/>
                  </a:lnTo>
                  <a:lnTo>
                    <a:pt x="551" y="66"/>
                  </a:lnTo>
                  <a:lnTo>
                    <a:pt x="552" y="66"/>
                  </a:lnTo>
                  <a:lnTo>
                    <a:pt x="552" y="65"/>
                  </a:lnTo>
                  <a:lnTo>
                    <a:pt x="553" y="65"/>
                  </a:lnTo>
                  <a:lnTo>
                    <a:pt x="553" y="66"/>
                  </a:lnTo>
                  <a:lnTo>
                    <a:pt x="555" y="65"/>
                  </a:lnTo>
                  <a:lnTo>
                    <a:pt x="556" y="65"/>
                  </a:lnTo>
                  <a:lnTo>
                    <a:pt x="556" y="66"/>
                  </a:lnTo>
                  <a:lnTo>
                    <a:pt x="557" y="68"/>
                  </a:lnTo>
                  <a:lnTo>
                    <a:pt x="558" y="68"/>
                  </a:lnTo>
                  <a:lnTo>
                    <a:pt x="558" y="66"/>
                  </a:lnTo>
                  <a:lnTo>
                    <a:pt x="558" y="65"/>
                  </a:lnTo>
                  <a:lnTo>
                    <a:pt x="557" y="65"/>
                  </a:lnTo>
                  <a:lnTo>
                    <a:pt x="555" y="65"/>
                  </a:lnTo>
                  <a:lnTo>
                    <a:pt x="555" y="64"/>
                  </a:lnTo>
                  <a:lnTo>
                    <a:pt x="553" y="64"/>
                  </a:lnTo>
                  <a:lnTo>
                    <a:pt x="553" y="63"/>
                  </a:lnTo>
                  <a:lnTo>
                    <a:pt x="553" y="62"/>
                  </a:lnTo>
                  <a:lnTo>
                    <a:pt x="553" y="60"/>
                  </a:lnTo>
                  <a:lnTo>
                    <a:pt x="552" y="60"/>
                  </a:lnTo>
                  <a:lnTo>
                    <a:pt x="551" y="59"/>
                  </a:lnTo>
                  <a:lnTo>
                    <a:pt x="551" y="58"/>
                  </a:lnTo>
                  <a:lnTo>
                    <a:pt x="552" y="57"/>
                  </a:lnTo>
                  <a:lnTo>
                    <a:pt x="553" y="55"/>
                  </a:lnTo>
                  <a:lnTo>
                    <a:pt x="553" y="54"/>
                  </a:lnTo>
                  <a:lnTo>
                    <a:pt x="553" y="53"/>
                  </a:lnTo>
                  <a:lnTo>
                    <a:pt x="553" y="52"/>
                  </a:lnTo>
                  <a:lnTo>
                    <a:pt x="556" y="51"/>
                  </a:lnTo>
                  <a:lnTo>
                    <a:pt x="557" y="51"/>
                  </a:lnTo>
                  <a:lnTo>
                    <a:pt x="558" y="51"/>
                  </a:lnTo>
                  <a:lnTo>
                    <a:pt x="558" y="52"/>
                  </a:lnTo>
                  <a:lnTo>
                    <a:pt x="558" y="53"/>
                  </a:lnTo>
                  <a:lnTo>
                    <a:pt x="560" y="53"/>
                  </a:lnTo>
                  <a:lnTo>
                    <a:pt x="560" y="52"/>
                  </a:lnTo>
                  <a:lnTo>
                    <a:pt x="560" y="51"/>
                  </a:lnTo>
                  <a:lnTo>
                    <a:pt x="561" y="51"/>
                  </a:lnTo>
                  <a:lnTo>
                    <a:pt x="561" y="49"/>
                  </a:lnTo>
                  <a:lnTo>
                    <a:pt x="561" y="48"/>
                  </a:lnTo>
                  <a:lnTo>
                    <a:pt x="561" y="47"/>
                  </a:lnTo>
                  <a:lnTo>
                    <a:pt x="561" y="46"/>
                  </a:lnTo>
                  <a:lnTo>
                    <a:pt x="562" y="45"/>
                  </a:lnTo>
                  <a:lnTo>
                    <a:pt x="563" y="43"/>
                  </a:lnTo>
                  <a:lnTo>
                    <a:pt x="564" y="43"/>
                  </a:lnTo>
                  <a:lnTo>
                    <a:pt x="566" y="42"/>
                  </a:lnTo>
                  <a:lnTo>
                    <a:pt x="566" y="40"/>
                  </a:lnTo>
                  <a:lnTo>
                    <a:pt x="566" y="39"/>
                  </a:lnTo>
                  <a:lnTo>
                    <a:pt x="567" y="37"/>
                  </a:lnTo>
                  <a:lnTo>
                    <a:pt x="568" y="37"/>
                  </a:lnTo>
                  <a:lnTo>
                    <a:pt x="569" y="37"/>
                  </a:lnTo>
                  <a:lnTo>
                    <a:pt x="569" y="39"/>
                  </a:lnTo>
                  <a:lnTo>
                    <a:pt x="569" y="40"/>
                  </a:lnTo>
                  <a:lnTo>
                    <a:pt x="570" y="39"/>
                  </a:lnTo>
                  <a:lnTo>
                    <a:pt x="572" y="39"/>
                  </a:lnTo>
                  <a:lnTo>
                    <a:pt x="572" y="40"/>
                  </a:lnTo>
                  <a:lnTo>
                    <a:pt x="573" y="41"/>
                  </a:lnTo>
                  <a:lnTo>
                    <a:pt x="573" y="42"/>
                  </a:lnTo>
                  <a:lnTo>
                    <a:pt x="573" y="43"/>
                  </a:lnTo>
                  <a:lnTo>
                    <a:pt x="573" y="45"/>
                  </a:lnTo>
                  <a:lnTo>
                    <a:pt x="573" y="48"/>
                  </a:lnTo>
                  <a:lnTo>
                    <a:pt x="574" y="48"/>
                  </a:lnTo>
                  <a:lnTo>
                    <a:pt x="574" y="49"/>
                  </a:lnTo>
                  <a:lnTo>
                    <a:pt x="574" y="51"/>
                  </a:lnTo>
                  <a:lnTo>
                    <a:pt x="574" y="52"/>
                  </a:lnTo>
                  <a:lnTo>
                    <a:pt x="574" y="53"/>
                  </a:lnTo>
                  <a:lnTo>
                    <a:pt x="574" y="54"/>
                  </a:lnTo>
                  <a:lnTo>
                    <a:pt x="573" y="54"/>
                  </a:lnTo>
                  <a:lnTo>
                    <a:pt x="572" y="55"/>
                  </a:lnTo>
                  <a:lnTo>
                    <a:pt x="570" y="57"/>
                  </a:lnTo>
                  <a:lnTo>
                    <a:pt x="572" y="57"/>
                  </a:lnTo>
                  <a:lnTo>
                    <a:pt x="573" y="57"/>
                  </a:lnTo>
                  <a:lnTo>
                    <a:pt x="573" y="58"/>
                  </a:lnTo>
                  <a:lnTo>
                    <a:pt x="574" y="58"/>
                  </a:lnTo>
                  <a:lnTo>
                    <a:pt x="574" y="59"/>
                  </a:lnTo>
                  <a:lnTo>
                    <a:pt x="575" y="59"/>
                  </a:lnTo>
                  <a:lnTo>
                    <a:pt x="575" y="60"/>
                  </a:lnTo>
                  <a:lnTo>
                    <a:pt x="576" y="60"/>
                  </a:lnTo>
                  <a:lnTo>
                    <a:pt x="576" y="63"/>
                  </a:lnTo>
                  <a:lnTo>
                    <a:pt x="575" y="64"/>
                  </a:lnTo>
                  <a:lnTo>
                    <a:pt x="575" y="65"/>
                  </a:lnTo>
                  <a:lnTo>
                    <a:pt x="574" y="66"/>
                  </a:lnTo>
                  <a:lnTo>
                    <a:pt x="574" y="69"/>
                  </a:lnTo>
                  <a:lnTo>
                    <a:pt x="573" y="68"/>
                  </a:lnTo>
                  <a:lnTo>
                    <a:pt x="572" y="68"/>
                  </a:lnTo>
                  <a:lnTo>
                    <a:pt x="573" y="70"/>
                  </a:lnTo>
                  <a:lnTo>
                    <a:pt x="572" y="70"/>
                  </a:lnTo>
                  <a:lnTo>
                    <a:pt x="570" y="69"/>
                  </a:lnTo>
                  <a:lnTo>
                    <a:pt x="570" y="70"/>
                  </a:lnTo>
                  <a:lnTo>
                    <a:pt x="570" y="72"/>
                  </a:lnTo>
                  <a:lnTo>
                    <a:pt x="572" y="72"/>
                  </a:lnTo>
                  <a:lnTo>
                    <a:pt x="574" y="71"/>
                  </a:lnTo>
                  <a:lnTo>
                    <a:pt x="575" y="70"/>
                  </a:lnTo>
                  <a:lnTo>
                    <a:pt x="575" y="69"/>
                  </a:lnTo>
                  <a:lnTo>
                    <a:pt x="576" y="68"/>
                  </a:lnTo>
                  <a:lnTo>
                    <a:pt x="578" y="68"/>
                  </a:lnTo>
                  <a:lnTo>
                    <a:pt x="578" y="66"/>
                  </a:lnTo>
                  <a:lnTo>
                    <a:pt x="578" y="65"/>
                  </a:lnTo>
                  <a:lnTo>
                    <a:pt x="578" y="63"/>
                  </a:lnTo>
                  <a:lnTo>
                    <a:pt x="579" y="63"/>
                  </a:lnTo>
                  <a:lnTo>
                    <a:pt x="580" y="63"/>
                  </a:lnTo>
                  <a:lnTo>
                    <a:pt x="581" y="63"/>
                  </a:lnTo>
                  <a:lnTo>
                    <a:pt x="582" y="63"/>
                  </a:lnTo>
                  <a:lnTo>
                    <a:pt x="582" y="60"/>
                  </a:lnTo>
                  <a:lnTo>
                    <a:pt x="582" y="62"/>
                  </a:lnTo>
                  <a:lnTo>
                    <a:pt x="584" y="60"/>
                  </a:lnTo>
                  <a:lnTo>
                    <a:pt x="584" y="58"/>
                  </a:lnTo>
                  <a:lnTo>
                    <a:pt x="582" y="57"/>
                  </a:lnTo>
                  <a:lnTo>
                    <a:pt x="581" y="57"/>
                  </a:lnTo>
                  <a:lnTo>
                    <a:pt x="581" y="55"/>
                  </a:lnTo>
                  <a:lnTo>
                    <a:pt x="581" y="54"/>
                  </a:lnTo>
                  <a:lnTo>
                    <a:pt x="581" y="53"/>
                  </a:lnTo>
                  <a:lnTo>
                    <a:pt x="582" y="53"/>
                  </a:lnTo>
                  <a:lnTo>
                    <a:pt x="582" y="52"/>
                  </a:lnTo>
                  <a:lnTo>
                    <a:pt x="584" y="51"/>
                  </a:lnTo>
                  <a:lnTo>
                    <a:pt x="582" y="49"/>
                  </a:lnTo>
                  <a:lnTo>
                    <a:pt x="584" y="48"/>
                  </a:lnTo>
                  <a:lnTo>
                    <a:pt x="584" y="47"/>
                  </a:lnTo>
                  <a:lnTo>
                    <a:pt x="584" y="46"/>
                  </a:lnTo>
                  <a:lnTo>
                    <a:pt x="585" y="47"/>
                  </a:lnTo>
                  <a:lnTo>
                    <a:pt x="586" y="46"/>
                  </a:lnTo>
                  <a:lnTo>
                    <a:pt x="587" y="46"/>
                  </a:lnTo>
                  <a:lnTo>
                    <a:pt x="587" y="45"/>
                  </a:lnTo>
                  <a:lnTo>
                    <a:pt x="588" y="45"/>
                  </a:lnTo>
                  <a:lnTo>
                    <a:pt x="592" y="45"/>
                  </a:lnTo>
                  <a:lnTo>
                    <a:pt x="593" y="45"/>
                  </a:lnTo>
                  <a:lnTo>
                    <a:pt x="593" y="43"/>
                  </a:lnTo>
                  <a:lnTo>
                    <a:pt x="594" y="43"/>
                  </a:lnTo>
                  <a:lnTo>
                    <a:pt x="594" y="41"/>
                  </a:lnTo>
                  <a:lnTo>
                    <a:pt x="598" y="41"/>
                  </a:lnTo>
                  <a:lnTo>
                    <a:pt x="598" y="40"/>
                  </a:lnTo>
                  <a:lnTo>
                    <a:pt x="599" y="39"/>
                  </a:lnTo>
                  <a:lnTo>
                    <a:pt x="599" y="37"/>
                  </a:lnTo>
                  <a:lnTo>
                    <a:pt x="599" y="36"/>
                  </a:lnTo>
                  <a:lnTo>
                    <a:pt x="600" y="36"/>
                  </a:lnTo>
                  <a:lnTo>
                    <a:pt x="600" y="35"/>
                  </a:lnTo>
                  <a:lnTo>
                    <a:pt x="602" y="35"/>
                  </a:lnTo>
                  <a:lnTo>
                    <a:pt x="603" y="34"/>
                  </a:lnTo>
                  <a:lnTo>
                    <a:pt x="603" y="35"/>
                  </a:lnTo>
                  <a:lnTo>
                    <a:pt x="605" y="35"/>
                  </a:lnTo>
                  <a:lnTo>
                    <a:pt x="606" y="36"/>
                  </a:lnTo>
                  <a:lnTo>
                    <a:pt x="606" y="40"/>
                  </a:lnTo>
                  <a:lnTo>
                    <a:pt x="606" y="41"/>
                  </a:lnTo>
                  <a:lnTo>
                    <a:pt x="605" y="42"/>
                  </a:lnTo>
                  <a:lnTo>
                    <a:pt x="606" y="42"/>
                  </a:lnTo>
                  <a:lnTo>
                    <a:pt x="606" y="43"/>
                  </a:lnTo>
                  <a:lnTo>
                    <a:pt x="608" y="45"/>
                  </a:lnTo>
                  <a:lnTo>
                    <a:pt x="609" y="46"/>
                  </a:lnTo>
                  <a:lnTo>
                    <a:pt x="610" y="46"/>
                  </a:lnTo>
                  <a:lnTo>
                    <a:pt x="610" y="47"/>
                  </a:lnTo>
                  <a:lnTo>
                    <a:pt x="611" y="49"/>
                  </a:lnTo>
                  <a:lnTo>
                    <a:pt x="610" y="51"/>
                  </a:lnTo>
                  <a:lnTo>
                    <a:pt x="609" y="52"/>
                  </a:lnTo>
                  <a:lnTo>
                    <a:pt x="609" y="53"/>
                  </a:lnTo>
                  <a:lnTo>
                    <a:pt x="610" y="53"/>
                  </a:lnTo>
                  <a:lnTo>
                    <a:pt x="612" y="53"/>
                  </a:lnTo>
                  <a:lnTo>
                    <a:pt x="612" y="54"/>
                  </a:lnTo>
                  <a:lnTo>
                    <a:pt x="611" y="55"/>
                  </a:lnTo>
                  <a:lnTo>
                    <a:pt x="612" y="55"/>
                  </a:lnTo>
                  <a:lnTo>
                    <a:pt x="614" y="55"/>
                  </a:lnTo>
                  <a:lnTo>
                    <a:pt x="614" y="54"/>
                  </a:lnTo>
                  <a:lnTo>
                    <a:pt x="616" y="53"/>
                  </a:lnTo>
                  <a:lnTo>
                    <a:pt x="617" y="53"/>
                  </a:lnTo>
                  <a:lnTo>
                    <a:pt x="617" y="52"/>
                  </a:lnTo>
                  <a:lnTo>
                    <a:pt x="619" y="52"/>
                  </a:lnTo>
                  <a:lnTo>
                    <a:pt x="619" y="51"/>
                  </a:lnTo>
                  <a:lnTo>
                    <a:pt x="621" y="51"/>
                  </a:lnTo>
                  <a:lnTo>
                    <a:pt x="621" y="52"/>
                  </a:lnTo>
                  <a:lnTo>
                    <a:pt x="622" y="53"/>
                  </a:lnTo>
                  <a:lnTo>
                    <a:pt x="622" y="54"/>
                  </a:lnTo>
                  <a:lnTo>
                    <a:pt x="623" y="53"/>
                  </a:lnTo>
                  <a:lnTo>
                    <a:pt x="623" y="54"/>
                  </a:lnTo>
                  <a:lnTo>
                    <a:pt x="625" y="55"/>
                  </a:lnTo>
                  <a:lnTo>
                    <a:pt x="626" y="55"/>
                  </a:lnTo>
                  <a:lnTo>
                    <a:pt x="626" y="57"/>
                  </a:lnTo>
                  <a:lnTo>
                    <a:pt x="627" y="58"/>
                  </a:lnTo>
                  <a:lnTo>
                    <a:pt x="626" y="58"/>
                  </a:lnTo>
                  <a:lnTo>
                    <a:pt x="626" y="59"/>
                  </a:lnTo>
                  <a:lnTo>
                    <a:pt x="626" y="60"/>
                  </a:lnTo>
                  <a:lnTo>
                    <a:pt x="625" y="60"/>
                  </a:lnTo>
                  <a:lnTo>
                    <a:pt x="625" y="62"/>
                  </a:lnTo>
                  <a:lnTo>
                    <a:pt x="625" y="63"/>
                  </a:lnTo>
                  <a:lnTo>
                    <a:pt x="623" y="63"/>
                  </a:lnTo>
                  <a:lnTo>
                    <a:pt x="623" y="64"/>
                  </a:lnTo>
                  <a:lnTo>
                    <a:pt x="622" y="65"/>
                  </a:lnTo>
                  <a:lnTo>
                    <a:pt x="622" y="66"/>
                  </a:lnTo>
                  <a:lnTo>
                    <a:pt x="621" y="68"/>
                  </a:lnTo>
                  <a:lnTo>
                    <a:pt x="621" y="70"/>
                  </a:lnTo>
                  <a:lnTo>
                    <a:pt x="620" y="70"/>
                  </a:lnTo>
                  <a:lnTo>
                    <a:pt x="620" y="71"/>
                  </a:lnTo>
                  <a:lnTo>
                    <a:pt x="619" y="72"/>
                  </a:lnTo>
                  <a:lnTo>
                    <a:pt x="617" y="72"/>
                  </a:lnTo>
                  <a:lnTo>
                    <a:pt x="616" y="72"/>
                  </a:lnTo>
                  <a:lnTo>
                    <a:pt x="615" y="72"/>
                  </a:lnTo>
                  <a:lnTo>
                    <a:pt x="615" y="74"/>
                  </a:lnTo>
                  <a:lnTo>
                    <a:pt x="614" y="74"/>
                  </a:lnTo>
                  <a:lnTo>
                    <a:pt x="614" y="75"/>
                  </a:lnTo>
                  <a:lnTo>
                    <a:pt x="612" y="75"/>
                  </a:lnTo>
                  <a:lnTo>
                    <a:pt x="611" y="75"/>
                  </a:lnTo>
                  <a:lnTo>
                    <a:pt x="610" y="75"/>
                  </a:lnTo>
                  <a:lnTo>
                    <a:pt x="608" y="75"/>
                  </a:lnTo>
                  <a:lnTo>
                    <a:pt x="606" y="74"/>
                  </a:lnTo>
                  <a:lnTo>
                    <a:pt x="605" y="76"/>
                  </a:lnTo>
                  <a:lnTo>
                    <a:pt x="605" y="77"/>
                  </a:lnTo>
                  <a:lnTo>
                    <a:pt x="604" y="78"/>
                  </a:lnTo>
                  <a:lnTo>
                    <a:pt x="603" y="80"/>
                  </a:lnTo>
                  <a:lnTo>
                    <a:pt x="602" y="82"/>
                  </a:lnTo>
                  <a:lnTo>
                    <a:pt x="603" y="84"/>
                  </a:lnTo>
                  <a:lnTo>
                    <a:pt x="604" y="84"/>
                  </a:lnTo>
                  <a:lnTo>
                    <a:pt x="605" y="86"/>
                  </a:lnTo>
                  <a:lnTo>
                    <a:pt x="606" y="86"/>
                  </a:lnTo>
                  <a:lnTo>
                    <a:pt x="606" y="84"/>
                  </a:lnTo>
                  <a:lnTo>
                    <a:pt x="608" y="83"/>
                  </a:lnTo>
                  <a:lnTo>
                    <a:pt x="609" y="83"/>
                  </a:lnTo>
                  <a:lnTo>
                    <a:pt x="610" y="83"/>
                  </a:lnTo>
                  <a:lnTo>
                    <a:pt x="612" y="83"/>
                  </a:lnTo>
                  <a:lnTo>
                    <a:pt x="614" y="83"/>
                  </a:lnTo>
                  <a:lnTo>
                    <a:pt x="616" y="83"/>
                  </a:lnTo>
                  <a:lnTo>
                    <a:pt x="616" y="82"/>
                  </a:lnTo>
                  <a:lnTo>
                    <a:pt x="617" y="82"/>
                  </a:lnTo>
                  <a:lnTo>
                    <a:pt x="620" y="82"/>
                  </a:lnTo>
                  <a:lnTo>
                    <a:pt x="620" y="81"/>
                  </a:lnTo>
                  <a:lnTo>
                    <a:pt x="620" y="78"/>
                  </a:lnTo>
                  <a:lnTo>
                    <a:pt x="620" y="76"/>
                  </a:lnTo>
                  <a:lnTo>
                    <a:pt x="621" y="75"/>
                  </a:lnTo>
                  <a:lnTo>
                    <a:pt x="625" y="75"/>
                  </a:lnTo>
                  <a:lnTo>
                    <a:pt x="626" y="75"/>
                  </a:lnTo>
                  <a:lnTo>
                    <a:pt x="627" y="74"/>
                  </a:lnTo>
                  <a:lnTo>
                    <a:pt x="628" y="74"/>
                  </a:lnTo>
                  <a:lnTo>
                    <a:pt x="628" y="71"/>
                  </a:lnTo>
                  <a:lnTo>
                    <a:pt x="628" y="70"/>
                  </a:lnTo>
                  <a:lnTo>
                    <a:pt x="629" y="70"/>
                  </a:lnTo>
                  <a:lnTo>
                    <a:pt x="631" y="70"/>
                  </a:lnTo>
                  <a:lnTo>
                    <a:pt x="631" y="69"/>
                  </a:lnTo>
                  <a:lnTo>
                    <a:pt x="632" y="69"/>
                  </a:lnTo>
                  <a:lnTo>
                    <a:pt x="633" y="69"/>
                  </a:lnTo>
                  <a:lnTo>
                    <a:pt x="633" y="70"/>
                  </a:lnTo>
                  <a:lnTo>
                    <a:pt x="634" y="70"/>
                  </a:lnTo>
                  <a:lnTo>
                    <a:pt x="634" y="71"/>
                  </a:lnTo>
                  <a:lnTo>
                    <a:pt x="637" y="71"/>
                  </a:lnTo>
                  <a:lnTo>
                    <a:pt x="638" y="70"/>
                  </a:lnTo>
                  <a:lnTo>
                    <a:pt x="638" y="69"/>
                  </a:lnTo>
                  <a:lnTo>
                    <a:pt x="639" y="69"/>
                  </a:lnTo>
                  <a:lnTo>
                    <a:pt x="639" y="68"/>
                  </a:lnTo>
                  <a:lnTo>
                    <a:pt x="640" y="68"/>
                  </a:lnTo>
                  <a:lnTo>
                    <a:pt x="641" y="69"/>
                  </a:lnTo>
                  <a:lnTo>
                    <a:pt x="641" y="70"/>
                  </a:lnTo>
                  <a:lnTo>
                    <a:pt x="643" y="70"/>
                  </a:lnTo>
                  <a:lnTo>
                    <a:pt x="643" y="71"/>
                  </a:lnTo>
                  <a:lnTo>
                    <a:pt x="643" y="72"/>
                  </a:lnTo>
                  <a:lnTo>
                    <a:pt x="644" y="72"/>
                  </a:lnTo>
                  <a:lnTo>
                    <a:pt x="644" y="74"/>
                  </a:lnTo>
                  <a:lnTo>
                    <a:pt x="645" y="76"/>
                  </a:lnTo>
                  <a:lnTo>
                    <a:pt x="644" y="80"/>
                  </a:lnTo>
                  <a:lnTo>
                    <a:pt x="645" y="80"/>
                  </a:lnTo>
                  <a:lnTo>
                    <a:pt x="645" y="81"/>
                  </a:lnTo>
                  <a:lnTo>
                    <a:pt x="646" y="80"/>
                  </a:lnTo>
                  <a:lnTo>
                    <a:pt x="647" y="80"/>
                  </a:lnTo>
                  <a:lnTo>
                    <a:pt x="647" y="78"/>
                  </a:lnTo>
                  <a:lnTo>
                    <a:pt x="649" y="78"/>
                  </a:lnTo>
                  <a:lnTo>
                    <a:pt x="650" y="77"/>
                  </a:lnTo>
                  <a:lnTo>
                    <a:pt x="651" y="76"/>
                  </a:lnTo>
                  <a:lnTo>
                    <a:pt x="651" y="75"/>
                  </a:lnTo>
                  <a:lnTo>
                    <a:pt x="651" y="74"/>
                  </a:lnTo>
                  <a:lnTo>
                    <a:pt x="652" y="74"/>
                  </a:lnTo>
                  <a:lnTo>
                    <a:pt x="652" y="72"/>
                  </a:lnTo>
                  <a:lnTo>
                    <a:pt x="653" y="72"/>
                  </a:lnTo>
                  <a:lnTo>
                    <a:pt x="655" y="74"/>
                  </a:lnTo>
                  <a:lnTo>
                    <a:pt x="656" y="75"/>
                  </a:lnTo>
                  <a:lnTo>
                    <a:pt x="657" y="76"/>
                  </a:lnTo>
                  <a:lnTo>
                    <a:pt x="656" y="76"/>
                  </a:lnTo>
                  <a:lnTo>
                    <a:pt x="656" y="77"/>
                  </a:lnTo>
                  <a:lnTo>
                    <a:pt x="655" y="77"/>
                  </a:lnTo>
                  <a:lnTo>
                    <a:pt x="655" y="80"/>
                  </a:lnTo>
                  <a:lnTo>
                    <a:pt x="655" y="81"/>
                  </a:lnTo>
                  <a:lnTo>
                    <a:pt x="655" y="82"/>
                  </a:lnTo>
                  <a:lnTo>
                    <a:pt x="655" y="83"/>
                  </a:lnTo>
                  <a:lnTo>
                    <a:pt x="653" y="84"/>
                  </a:lnTo>
                  <a:lnTo>
                    <a:pt x="653" y="86"/>
                  </a:lnTo>
                  <a:lnTo>
                    <a:pt x="656" y="87"/>
                  </a:lnTo>
                  <a:lnTo>
                    <a:pt x="656" y="88"/>
                  </a:lnTo>
                  <a:lnTo>
                    <a:pt x="657" y="88"/>
                  </a:lnTo>
                  <a:lnTo>
                    <a:pt x="657" y="92"/>
                  </a:lnTo>
                  <a:lnTo>
                    <a:pt x="656" y="94"/>
                  </a:lnTo>
                  <a:lnTo>
                    <a:pt x="655" y="95"/>
                  </a:lnTo>
                  <a:lnTo>
                    <a:pt x="653" y="95"/>
                  </a:lnTo>
                  <a:lnTo>
                    <a:pt x="652" y="96"/>
                  </a:lnTo>
                  <a:lnTo>
                    <a:pt x="651" y="96"/>
                  </a:lnTo>
                  <a:lnTo>
                    <a:pt x="651" y="98"/>
                  </a:lnTo>
                  <a:lnTo>
                    <a:pt x="650" y="99"/>
                  </a:lnTo>
                  <a:lnTo>
                    <a:pt x="650" y="100"/>
                  </a:lnTo>
                  <a:lnTo>
                    <a:pt x="651" y="100"/>
                  </a:lnTo>
                  <a:lnTo>
                    <a:pt x="652" y="100"/>
                  </a:lnTo>
                  <a:lnTo>
                    <a:pt x="652" y="102"/>
                  </a:lnTo>
                  <a:lnTo>
                    <a:pt x="652" y="106"/>
                  </a:lnTo>
                  <a:lnTo>
                    <a:pt x="649" y="106"/>
                  </a:lnTo>
                  <a:lnTo>
                    <a:pt x="647" y="107"/>
                  </a:lnTo>
                  <a:lnTo>
                    <a:pt x="649" y="108"/>
                  </a:lnTo>
                  <a:lnTo>
                    <a:pt x="646" y="108"/>
                  </a:lnTo>
                  <a:lnTo>
                    <a:pt x="645" y="107"/>
                  </a:lnTo>
                  <a:lnTo>
                    <a:pt x="645" y="108"/>
                  </a:lnTo>
                  <a:lnTo>
                    <a:pt x="644" y="110"/>
                  </a:lnTo>
                  <a:lnTo>
                    <a:pt x="644" y="111"/>
                  </a:lnTo>
                  <a:lnTo>
                    <a:pt x="643" y="111"/>
                  </a:lnTo>
                  <a:lnTo>
                    <a:pt x="640" y="111"/>
                  </a:lnTo>
                  <a:lnTo>
                    <a:pt x="639" y="111"/>
                  </a:lnTo>
                  <a:lnTo>
                    <a:pt x="639" y="114"/>
                  </a:lnTo>
                  <a:lnTo>
                    <a:pt x="640" y="114"/>
                  </a:lnTo>
                  <a:lnTo>
                    <a:pt x="640" y="113"/>
                  </a:lnTo>
                  <a:lnTo>
                    <a:pt x="641" y="113"/>
                  </a:lnTo>
                  <a:lnTo>
                    <a:pt x="643" y="113"/>
                  </a:lnTo>
                  <a:lnTo>
                    <a:pt x="641" y="112"/>
                  </a:lnTo>
                  <a:lnTo>
                    <a:pt x="643" y="112"/>
                  </a:lnTo>
                  <a:lnTo>
                    <a:pt x="644" y="111"/>
                  </a:lnTo>
                  <a:lnTo>
                    <a:pt x="645" y="112"/>
                  </a:lnTo>
                  <a:lnTo>
                    <a:pt x="646" y="112"/>
                  </a:lnTo>
                  <a:lnTo>
                    <a:pt x="647" y="112"/>
                  </a:lnTo>
                  <a:lnTo>
                    <a:pt x="649" y="111"/>
                  </a:lnTo>
                  <a:lnTo>
                    <a:pt x="649" y="112"/>
                  </a:lnTo>
                  <a:lnTo>
                    <a:pt x="650" y="112"/>
                  </a:lnTo>
                  <a:lnTo>
                    <a:pt x="650" y="116"/>
                  </a:lnTo>
                  <a:lnTo>
                    <a:pt x="649" y="117"/>
                  </a:lnTo>
                  <a:lnTo>
                    <a:pt x="647" y="117"/>
                  </a:lnTo>
                  <a:lnTo>
                    <a:pt x="647" y="118"/>
                  </a:lnTo>
                  <a:lnTo>
                    <a:pt x="646" y="119"/>
                  </a:lnTo>
                  <a:lnTo>
                    <a:pt x="645" y="119"/>
                  </a:lnTo>
                  <a:lnTo>
                    <a:pt x="645" y="120"/>
                  </a:lnTo>
                  <a:lnTo>
                    <a:pt x="644" y="120"/>
                  </a:lnTo>
                  <a:lnTo>
                    <a:pt x="644" y="122"/>
                  </a:lnTo>
                  <a:lnTo>
                    <a:pt x="643" y="122"/>
                  </a:lnTo>
                  <a:lnTo>
                    <a:pt x="643" y="123"/>
                  </a:lnTo>
                  <a:lnTo>
                    <a:pt x="641" y="122"/>
                  </a:lnTo>
                  <a:lnTo>
                    <a:pt x="638" y="122"/>
                  </a:lnTo>
                  <a:lnTo>
                    <a:pt x="638" y="123"/>
                  </a:lnTo>
                  <a:lnTo>
                    <a:pt x="637" y="124"/>
                  </a:lnTo>
                  <a:lnTo>
                    <a:pt x="633" y="124"/>
                  </a:lnTo>
                  <a:lnTo>
                    <a:pt x="632" y="123"/>
                  </a:lnTo>
                  <a:lnTo>
                    <a:pt x="631" y="123"/>
                  </a:lnTo>
                  <a:lnTo>
                    <a:pt x="629" y="122"/>
                  </a:lnTo>
                  <a:lnTo>
                    <a:pt x="629" y="120"/>
                  </a:lnTo>
                  <a:lnTo>
                    <a:pt x="629" y="119"/>
                  </a:lnTo>
                  <a:lnTo>
                    <a:pt x="628" y="120"/>
                  </a:lnTo>
                  <a:lnTo>
                    <a:pt x="628" y="119"/>
                  </a:lnTo>
                  <a:lnTo>
                    <a:pt x="627" y="120"/>
                  </a:lnTo>
                  <a:lnTo>
                    <a:pt x="628" y="120"/>
                  </a:lnTo>
                  <a:lnTo>
                    <a:pt x="628" y="123"/>
                  </a:lnTo>
                  <a:lnTo>
                    <a:pt x="628" y="124"/>
                  </a:lnTo>
                  <a:lnTo>
                    <a:pt x="627" y="124"/>
                  </a:lnTo>
                  <a:lnTo>
                    <a:pt x="626" y="124"/>
                  </a:lnTo>
                  <a:lnTo>
                    <a:pt x="625" y="124"/>
                  </a:lnTo>
                  <a:lnTo>
                    <a:pt x="622" y="125"/>
                  </a:lnTo>
                  <a:lnTo>
                    <a:pt x="621" y="125"/>
                  </a:lnTo>
                  <a:lnTo>
                    <a:pt x="620" y="125"/>
                  </a:lnTo>
                  <a:lnTo>
                    <a:pt x="620" y="124"/>
                  </a:lnTo>
                  <a:lnTo>
                    <a:pt x="619" y="123"/>
                  </a:lnTo>
                  <a:lnTo>
                    <a:pt x="619" y="120"/>
                  </a:lnTo>
                  <a:lnTo>
                    <a:pt x="620" y="118"/>
                  </a:lnTo>
                  <a:lnTo>
                    <a:pt x="617" y="117"/>
                  </a:lnTo>
                  <a:lnTo>
                    <a:pt x="616" y="119"/>
                  </a:lnTo>
                  <a:lnTo>
                    <a:pt x="615" y="119"/>
                  </a:lnTo>
                  <a:lnTo>
                    <a:pt x="614" y="120"/>
                  </a:lnTo>
                  <a:lnTo>
                    <a:pt x="614" y="122"/>
                  </a:lnTo>
                  <a:lnTo>
                    <a:pt x="612" y="123"/>
                  </a:lnTo>
                  <a:lnTo>
                    <a:pt x="610" y="123"/>
                  </a:lnTo>
                  <a:lnTo>
                    <a:pt x="609" y="124"/>
                  </a:lnTo>
                  <a:lnTo>
                    <a:pt x="609" y="125"/>
                  </a:lnTo>
                  <a:lnTo>
                    <a:pt x="610" y="125"/>
                  </a:lnTo>
                  <a:lnTo>
                    <a:pt x="610" y="126"/>
                  </a:lnTo>
                  <a:lnTo>
                    <a:pt x="611" y="128"/>
                  </a:lnTo>
                  <a:lnTo>
                    <a:pt x="608" y="126"/>
                  </a:lnTo>
                  <a:lnTo>
                    <a:pt x="610" y="128"/>
                  </a:lnTo>
                  <a:lnTo>
                    <a:pt x="610" y="129"/>
                  </a:lnTo>
                  <a:lnTo>
                    <a:pt x="611" y="129"/>
                  </a:lnTo>
                  <a:lnTo>
                    <a:pt x="612" y="131"/>
                  </a:lnTo>
                  <a:lnTo>
                    <a:pt x="614" y="132"/>
                  </a:lnTo>
                  <a:lnTo>
                    <a:pt x="615" y="131"/>
                  </a:lnTo>
                  <a:lnTo>
                    <a:pt x="616" y="131"/>
                  </a:lnTo>
                  <a:lnTo>
                    <a:pt x="617" y="134"/>
                  </a:lnTo>
                  <a:lnTo>
                    <a:pt x="620" y="134"/>
                  </a:lnTo>
                  <a:lnTo>
                    <a:pt x="622" y="132"/>
                  </a:lnTo>
                  <a:lnTo>
                    <a:pt x="623" y="134"/>
                  </a:lnTo>
                  <a:lnTo>
                    <a:pt x="625" y="134"/>
                  </a:lnTo>
                  <a:lnTo>
                    <a:pt x="625" y="136"/>
                  </a:lnTo>
                  <a:lnTo>
                    <a:pt x="625" y="137"/>
                  </a:lnTo>
                  <a:lnTo>
                    <a:pt x="623" y="137"/>
                  </a:lnTo>
                  <a:lnTo>
                    <a:pt x="622" y="138"/>
                  </a:lnTo>
                  <a:lnTo>
                    <a:pt x="622" y="140"/>
                  </a:lnTo>
                  <a:lnTo>
                    <a:pt x="621" y="140"/>
                  </a:lnTo>
                  <a:lnTo>
                    <a:pt x="620" y="140"/>
                  </a:lnTo>
                  <a:lnTo>
                    <a:pt x="620" y="141"/>
                  </a:lnTo>
                  <a:lnTo>
                    <a:pt x="617" y="141"/>
                  </a:lnTo>
                  <a:lnTo>
                    <a:pt x="616" y="140"/>
                  </a:lnTo>
                  <a:lnTo>
                    <a:pt x="616" y="138"/>
                  </a:lnTo>
                  <a:lnTo>
                    <a:pt x="615" y="137"/>
                  </a:lnTo>
                  <a:lnTo>
                    <a:pt x="616" y="137"/>
                  </a:lnTo>
                  <a:lnTo>
                    <a:pt x="615" y="136"/>
                  </a:lnTo>
                  <a:lnTo>
                    <a:pt x="615" y="135"/>
                  </a:lnTo>
                  <a:lnTo>
                    <a:pt x="614" y="134"/>
                  </a:lnTo>
                  <a:lnTo>
                    <a:pt x="612" y="132"/>
                  </a:lnTo>
                  <a:lnTo>
                    <a:pt x="611" y="131"/>
                  </a:lnTo>
                  <a:lnTo>
                    <a:pt x="610" y="130"/>
                  </a:lnTo>
                  <a:lnTo>
                    <a:pt x="609" y="129"/>
                  </a:lnTo>
                  <a:lnTo>
                    <a:pt x="608" y="132"/>
                  </a:lnTo>
                  <a:lnTo>
                    <a:pt x="611" y="132"/>
                  </a:lnTo>
                  <a:lnTo>
                    <a:pt x="611" y="134"/>
                  </a:lnTo>
                  <a:lnTo>
                    <a:pt x="611" y="135"/>
                  </a:lnTo>
                  <a:lnTo>
                    <a:pt x="610" y="135"/>
                  </a:lnTo>
                  <a:lnTo>
                    <a:pt x="610" y="136"/>
                  </a:lnTo>
                  <a:lnTo>
                    <a:pt x="609" y="136"/>
                  </a:lnTo>
                  <a:lnTo>
                    <a:pt x="608" y="137"/>
                  </a:lnTo>
                  <a:lnTo>
                    <a:pt x="608" y="138"/>
                  </a:lnTo>
                  <a:lnTo>
                    <a:pt x="606" y="140"/>
                  </a:lnTo>
                  <a:lnTo>
                    <a:pt x="608" y="141"/>
                  </a:lnTo>
                  <a:lnTo>
                    <a:pt x="609" y="141"/>
                  </a:lnTo>
                  <a:lnTo>
                    <a:pt x="610" y="141"/>
                  </a:lnTo>
                  <a:lnTo>
                    <a:pt x="611" y="141"/>
                  </a:lnTo>
                  <a:lnTo>
                    <a:pt x="612" y="141"/>
                  </a:lnTo>
                  <a:lnTo>
                    <a:pt x="614" y="140"/>
                  </a:lnTo>
                  <a:lnTo>
                    <a:pt x="615" y="141"/>
                  </a:lnTo>
                  <a:lnTo>
                    <a:pt x="615" y="142"/>
                  </a:lnTo>
                  <a:lnTo>
                    <a:pt x="616" y="144"/>
                  </a:lnTo>
                  <a:lnTo>
                    <a:pt x="616" y="146"/>
                  </a:lnTo>
                  <a:lnTo>
                    <a:pt x="616" y="147"/>
                  </a:lnTo>
                  <a:lnTo>
                    <a:pt x="617" y="148"/>
                  </a:lnTo>
                  <a:lnTo>
                    <a:pt x="619" y="148"/>
                  </a:lnTo>
                  <a:lnTo>
                    <a:pt x="620" y="148"/>
                  </a:lnTo>
                  <a:lnTo>
                    <a:pt x="621" y="148"/>
                  </a:lnTo>
                  <a:lnTo>
                    <a:pt x="621" y="146"/>
                  </a:lnTo>
                  <a:lnTo>
                    <a:pt x="622" y="146"/>
                  </a:lnTo>
                  <a:lnTo>
                    <a:pt x="623" y="144"/>
                  </a:lnTo>
                  <a:lnTo>
                    <a:pt x="625" y="144"/>
                  </a:lnTo>
                  <a:lnTo>
                    <a:pt x="626" y="144"/>
                  </a:lnTo>
                  <a:lnTo>
                    <a:pt x="627" y="146"/>
                  </a:lnTo>
                  <a:lnTo>
                    <a:pt x="627" y="148"/>
                  </a:lnTo>
                  <a:lnTo>
                    <a:pt x="627" y="149"/>
                  </a:lnTo>
                  <a:lnTo>
                    <a:pt x="628" y="149"/>
                  </a:lnTo>
                  <a:lnTo>
                    <a:pt x="629" y="149"/>
                  </a:lnTo>
                  <a:lnTo>
                    <a:pt x="631" y="149"/>
                  </a:lnTo>
                  <a:lnTo>
                    <a:pt x="631" y="148"/>
                  </a:lnTo>
                  <a:lnTo>
                    <a:pt x="632" y="148"/>
                  </a:lnTo>
                  <a:lnTo>
                    <a:pt x="632" y="149"/>
                  </a:lnTo>
                  <a:lnTo>
                    <a:pt x="633" y="149"/>
                  </a:lnTo>
                  <a:lnTo>
                    <a:pt x="633" y="152"/>
                  </a:lnTo>
                  <a:lnTo>
                    <a:pt x="635" y="153"/>
                  </a:lnTo>
                  <a:lnTo>
                    <a:pt x="637" y="153"/>
                  </a:lnTo>
                  <a:lnTo>
                    <a:pt x="638" y="153"/>
                  </a:lnTo>
                  <a:lnTo>
                    <a:pt x="639" y="153"/>
                  </a:lnTo>
                  <a:lnTo>
                    <a:pt x="640" y="153"/>
                  </a:lnTo>
                  <a:lnTo>
                    <a:pt x="640" y="154"/>
                  </a:lnTo>
                  <a:lnTo>
                    <a:pt x="641" y="153"/>
                  </a:lnTo>
                  <a:lnTo>
                    <a:pt x="644" y="153"/>
                  </a:lnTo>
                  <a:lnTo>
                    <a:pt x="645" y="153"/>
                  </a:lnTo>
                  <a:lnTo>
                    <a:pt x="645" y="154"/>
                  </a:lnTo>
                  <a:lnTo>
                    <a:pt x="646" y="155"/>
                  </a:lnTo>
                  <a:lnTo>
                    <a:pt x="649" y="155"/>
                  </a:lnTo>
                  <a:lnTo>
                    <a:pt x="649" y="154"/>
                  </a:lnTo>
                  <a:lnTo>
                    <a:pt x="651" y="154"/>
                  </a:lnTo>
                  <a:lnTo>
                    <a:pt x="651" y="155"/>
                  </a:lnTo>
                  <a:lnTo>
                    <a:pt x="651" y="156"/>
                  </a:lnTo>
                  <a:lnTo>
                    <a:pt x="652" y="156"/>
                  </a:lnTo>
                  <a:lnTo>
                    <a:pt x="652" y="158"/>
                  </a:lnTo>
                  <a:lnTo>
                    <a:pt x="652" y="159"/>
                  </a:lnTo>
                  <a:lnTo>
                    <a:pt x="652" y="165"/>
                  </a:lnTo>
                  <a:lnTo>
                    <a:pt x="652" y="169"/>
                  </a:lnTo>
                  <a:lnTo>
                    <a:pt x="653" y="170"/>
                  </a:lnTo>
                  <a:lnTo>
                    <a:pt x="656" y="170"/>
                  </a:lnTo>
                  <a:lnTo>
                    <a:pt x="656" y="169"/>
                  </a:lnTo>
                  <a:lnTo>
                    <a:pt x="657" y="169"/>
                  </a:lnTo>
                  <a:lnTo>
                    <a:pt x="657" y="167"/>
                  </a:lnTo>
                  <a:lnTo>
                    <a:pt x="657" y="166"/>
                  </a:lnTo>
                  <a:lnTo>
                    <a:pt x="656" y="166"/>
                  </a:lnTo>
                  <a:lnTo>
                    <a:pt x="657" y="165"/>
                  </a:lnTo>
                  <a:lnTo>
                    <a:pt x="657" y="164"/>
                  </a:lnTo>
                  <a:lnTo>
                    <a:pt x="658" y="164"/>
                  </a:lnTo>
                  <a:lnTo>
                    <a:pt x="658" y="161"/>
                  </a:lnTo>
                  <a:lnTo>
                    <a:pt x="659" y="160"/>
                  </a:lnTo>
                  <a:lnTo>
                    <a:pt x="661" y="159"/>
                  </a:lnTo>
                  <a:lnTo>
                    <a:pt x="663" y="159"/>
                  </a:lnTo>
                  <a:lnTo>
                    <a:pt x="663" y="160"/>
                  </a:lnTo>
                  <a:lnTo>
                    <a:pt x="663" y="161"/>
                  </a:lnTo>
                  <a:lnTo>
                    <a:pt x="664" y="162"/>
                  </a:lnTo>
                  <a:lnTo>
                    <a:pt x="665" y="164"/>
                  </a:lnTo>
                  <a:lnTo>
                    <a:pt x="667" y="165"/>
                  </a:lnTo>
                  <a:lnTo>
                    <a:pt x="668" y="164"/>
                  </a:lnTo>
                  <a:lnTo>
                    <a:pt x="669" y="162"/>
                  </a:lnTo>
                  <a:lnTo>
                    <a:pt x="670" y="160"/>
                  </a:lnTo>
                  <a:lnTo>
                    <a:pt x="669" y="159"/>
                  </a:lnTo>
                  <a:lnTo>
                    <a:pt x="669" y="158"/>
                  </a:lnTo>
                  <a:lnTo>
                    <a:pt x="670" y="156"/>
                  </a:lnTo>
                  <a:lnTo>
                    <a:pt x="673" y="156"/>
                  </a:lnTo>
                  <a:lnTo>
                    <a:pt x="673" y="158"/>
                  </a:lnTo>
                  <a:lnTo>
                    <a:pt x="674" y="158"/>
                  </a:lnTo>
                  <a:lnTo>
                    <a:pt x="675" y="158"/>
                  </a:lnTo>
                  <a:lnTo>
                    <a:pt x="676" y="158"/>
                  </a:lnTo>
                  <a:lnTo>
                    <a:pt x="678" y="158"/>
                  </a:lnTo>
                  <a:lnTo>
                    <a:pt x="678" y="156"/>
                  </a:lnTo>
                  <a:lnTo>
                    <a:pt x="679" y="155"/>
                  </a:lnTo>
                  <a:lnTo>
                    <a:pt x="679" y="154"/>
                  </a:lnTo>
                  <a:lnTo>
                    <a:pt x="680" y="154"/>
                  </a:lnTo>
                  <a:lnTo>
                    <a:pt x="681" y="155"/>
                  </a:lnTo>
                  <a:lnTo>
                    <a:pt x="682" y="155"/>
                  </a:lnTo>
                  <a:lnTo>
                    <a:pt x="684" y="155"/>
                  </a:lnTo>
                  <a:lnTo>
                    <a:pt x="684" y="158"/>
                  </a:lnTo>
                  <a:lnTo>
                    <a:pt x="682" y="158"/>
                  </a:lnTo>
                  <a:lnTo>
                    <a:pt x="682" y="160"/>
                  </a:lnTo>
                  <a:lnTo>
                    <a:pt x="682" y="161"/>
                  </a:lnTo>
                  <a:lnTo>
                    <a:pt x="681" y="161"/>
                  </a:lnTo>
                  <a:lnTo>
                    <a:pt x="681" y="162"/>
                  </a:lnTo>
                  <a:lnTo>
                    <a:pt x="681" y="165"/>
                  </a:lnTo>
                  <a:lnTo>
                    <a:pt x="681" y="166"/>
                  </a:lnTo>
                  <a:lnTo>
                    <a:pt x="681" y="167"/>
                  </a:lnTo>
                  <a:lnTo>
                    <a:pt x="680" y="169"/>
                  </a:lnTo>
                  <a:lnTo>
                    <a:pt x="679" y="170"/>
                  </a:lnTo>
                  <a:lnTo>
                    <a:pt x="678" y="170"/>
                  </a:lnTo>
                  <a:lnTo>
                    <a:pt x="678" y="171"/>
                  </a:lnTo>
                  <a:lnTo>
                    <a:pt x="676" y="171"/>
                  </a:lnTo>
                  <a:lnTo>
                    <a:pt x="675" y="172"/>
                  </a:lnTo>
                  <a:lnTo>
                    <a:pt x="675" y="176"/>
                  </a:lnTo>
                  <a:lnTo>
                    <a:pt x="675" y="177"/>
                  </a:lnTo>
                  <a:lnTo>
                    <a:pt x="676" y="178"/>
                  </a:lnTo>
                  <a:lnTo>
                    <a:pt x="676" y="179"/>
                  </a:lnTo>
                  <a:lnTo>
                    <a:pt x="676" y="181"/>
                  </a:lnTo>
                  <a:lnTo>
                    <a:pt x="678" y="181"/>
                  </a:lnTo>
                  <a:lnTo>
                    <a:pt x="679" y="181"/>
                  </a:lnTo>
                  <a:lnTo>
                    <a:pt x="680" y="179"/>
                  </a:lnTo>
                  <a:lnTo>
                    <a:pt x="680" y="178"/>
                  </a:lnTo>
                  <a:lnTo>
                    <a:pt x="680" y="177"/>
                  </a:lnTo>
                  <a:lnTo>
                    <a:pt x="681" y="176"/>
                  </a:lnTo>
                  <a:lnTo>
                    <a:pt x="681" y="175"/>
                  </a:lnTo>
                  <a:lnTo>
                    <a:pt x="682" y="173"/>
                  </a:lnTo>
                  <a:lnTo>
                    <a:pt x="685" y="173"/>
                  </a:lnTo>
                  <a:lnTo>
                    <a:pt x="685" y="175"/>
                  </a:lnTo>
                  <a:lnTo>
                    <a:pt x="686" y="175"/>
                  </a:lnTo>
                  <a:lnTo>
                    <a:pt x="686" y="176"/>
                  </a:lnTo>
                  <a:lnTo>
                    <a:pt x="686" y="177"/>
                  </a:lnTo>
                  <a:lnTo>
                    <a:pt x="686" y="178"/>
                  </a:lnTo>
                  <a:lnTo>
                    <a:pt x="686" y="179"/>
                  </a:lnTo>
                  <a:lnTo>
                    <a:pt x="686" y="181"/>
                  </a:lnTo>
                  <a:lnTo>
                    <a:pt x="686" y="183"/>
                  </a:lnTo>
                  <a:lnTo>
                    <a:pt x="685" y="184"/>
                  </a:lnTo>
                  <a:lnTo>
                    <a:pt x="684" y="185"/>
                  </a:lnTo>
                  <a:lnTo>
                    <a:pt x="684" y="188"/>
                  </a:lnTo>
                  <a:lnTo>
                    <a:pt x="682" y="188"/>
                  </a:lnTo>
                  <a:lnTo>
                    <a:pt x="682" y="190"/>
                  </a:lnTo>
                  <a:lnTo>
                    <a:pt x="682" y="191"/>
                  </a:lnTo>
                  <a:lnTo>
                    <a:pt x="681" y="191"/>
                  </a:lnTo>
                  <a:lnTo>
                    <a:pt x="679" y="193"/>
                  </a:lnTo>
                  <a:lnTo>
                    <a:pt x="678" y="191"/>
                  </a:lnTo>
                  <a:lnTo>
                    <a:pt x="676" y="191"/>
                  </a:lnTo>
                  <a:lnTo>
                    <a:pt x="675" y="193"/>
                  </a:lnTo>
                  <a:lnTo>
                    <a:pt x="676" y="194"/>
                  </a:lnTo>
                  <a:lnTo>
                    <a:pt x="678" y="194"/>
                  </a:lnTo>
                  <a:lnTo>
                    <a:pt x="678" y="195"/>
                  </a:lnTo>
                  <a:lnTo>
                    <a:pt x="678" y="196"/>
                  </a:lnTo>
                  <a:lnTo>
                    <a:pt x="679" y="196"/>
                  </a:lnTo>
                  <a:lnTo>
                    <a:pt x="681" y="196"/>
                  </a:lnTo>
                  <a:lnTo>
                    <a:pt x="681" y="195"/>
                  </a:lnTo>
                  <a:lnTo>
                    <a:pt x="684" y="195"/>
                  </a:lnTo>
                  <a:lnTo>
                    <a:pt x="684" y="196"/>
                  </a:lnTo>
                  <a:lnTo>
                    <a:pt x="686" y="196"/>
                  </a:lnTo>
                  <a:lnTo>
                    <a:pt x="688" y="196"/>
                  </a:lnTo>
                  <a:lnTo>
                    <a:pt x="688" y="199"/>
                  </a:lnTo>
                  <a:lnTo>
                    <a:pt x="687" y="200"/>
                  </a:lnTo>
                  <a:lnTo>
                    <a:pt x="688" y="201"/>
                  </a:lnTo>
                  <a:lnTo>
                    <a:pt x="690" y="201"/>
                  </a:lnTo>
                  <a:lnTo>
                    <a:pt x="691" y="199"/>
                  </a:lnTo>
                  <a:lnTo>
                    <a:pt x="692" y="199"/>
                  </a:lnTo>
                  <a:lnTo>
                    <a:pt x="693" y="197"/>
                  </a:lnTo>
                  <a:lnTo>
                    <a:pt x="694" y="199"/>
                  </a:lnTo>
                  <a:lnTo>
                    <a:pt x="696" y="199"/>
                  </a:lnTo>
                  <a:lnTo>
                    <a:pt x="697" y="199"/>
                  </a:lnTo>
                  <a:lnTo>
                    <a:pt x="698" y="197"/>
                  </a:lnTo>
                  <a:lnTo>
                    <a:pt x="699" y="197"/>
                  </a:lnTo>
                  <a:lnTo>
                    <a:pt x="700" y="199"/>
                  </a:lnTo>
                  <a:lnTo>
                    <a:pt x="700" y="200"/>
                  </a:lnTo>
                  <a:lnTo>
                    <a:pt x="700" y="201"/>
                  </a:lnTo>
                  <a:lnTo>
                    <a:pt x="698" y="203"/>
                  </a:lnTo>
                  <a:lnTo>
                    <a:pt x="699" y="203"/>
                  </a:lnTo>
                  <a:lnTo>
                    <a:pt x="700" y="202"/>
                  </a:lnTo>
                  <a:lnTo>
                    <a:pt x="702" y="203"/>
                  </a:lnTo>
                  <a:lnTo>
                    <a:pt x="702" y="207"/>
                  </a:lnTo>
                  <a:lnTo>
                    <a:pt x="703" y="207"/>
                  </a:lnTo>
                  <a:lnTo>
                    <a:pt x="704" y="207"/>
                  </a:lnTo>
                  <a:lnTo>
                    <a:pt x="704" y="206"/>
                  </a:lnTo>
                  <a:lnTo>
                    <a:pt x="706" y="207"/>
                  </a:lnTo>
                  <a:lnTo>
                    <a:pt x="710" y="206"/>
                  </a:lnTo>
                  <a:lnTo>
                    <a:pt x="711" y="206"/>
                  </a:lnTo>
                  <a:lnTo>
                    <a:pt x="711" y="207"/>
                  </a:lnTo>
                  <a:lnTo>
                    <a:pt x="711" y="208"/>
                  </a:lnTo>
                  <a:lnTo>
                    <a:pt x="710" y="208"/>
                  </a:lnTo>
                  <a:lnTo>
                    <a:pt x="710" y="209"/>
                  </a:lnTo>
                  <a:lnTo>
                    <a:pt x="710" y="211"/>
                  </a:lnTo>
                  <a:lnTo>
                    <a:pt x="709" y="211"/>
                  </a:lnTo>
                  <a:lnTo>
                    <a:pt x="709" y="212"/>
                  </a:lnTo>
                  <a:lnTo>
                    <a:pt x="709" y="215"/>
                  </a:lnTo>
                  <a:lnTo>
                    <a:pt x="710" y="217"/>
                  </a:lnTo>
                  <a:lnTo>
                    <a:pt x="711" y="217"/>
                  </a:lnTo>
                  <a:lnTo>
                    <a:pt x="711" y="215"/>
                  </a:lnTo>
                  <a:lnTo>
                    <a:pt x="712" y="215"/>
                  </a:lnTo>
                  <a:lnTo>
                    <a:pt x="714" y="214"/>
                  </a:lnTo>
                  <a:lnTo>
                    <a:pt x="715" y="213"/>
                  </a:lnTo>
                  <a:lnTo>
                    <a:pt x="718" y="212"/>
                  </a:lnTo>
                  <a:lnTo>
                    <a:pt x="720" y="212"/>
                  </a:lnTo>
                  <a:lnTo>
                    <a:pt x="721" y="212"/>
                  </a:lnTo>
                  <a:lnTo>
                    <a:pt x="722" y="212"/>
                  </a:lnTo>
                  <a:lnTo>
                    <a:pt x="723" y="212"/>
                  </a:lnTo>
                  <a:lnTo>
                    <a:pt x="724" y="212"/>
                  </a:lnTo>
                  <a:lnTo>
                    <a:pt x="726" y="212"/>
                  </a:lnTo>
                  <a:lnTo>
                    <a:pt x="726" y="213"/>
                  </a:lnTo>
                  <a:lnTo>
                    <a:pt x="726" y="214"/>
                  </a:lnTo>
                  <a:lnTo>
                    <a:pt x="726" y="215"/>
                  </a:lnTo>
                  <a:lnTo>
                    <a:pt x="724" y="215"/>
                  </a:lnTo>
                  <a:lnTo>
                    <a:pt x="726" y="215"/>
                  </a:lnTo>
                  <a:lnTo>
                    <a:pt x="726" y="217"/>
                  </a:lnTo>
                  <a:lnTo>
                    <a:pt x="727" y="215"/>
                  </a:lnTo>
                  <a:lnTo>
                    <a:pt x="728" y="215"/>
                  </a:lnTo>
                  <a:lnTo>
                    <a:pt x="729" y="214"/>
                  </a:lnTo>
                  <a:lnTo>
                    <a:pt x="729" y="215"/>
                  </a:lnTo>
                  <a:lnTo>
                    <a:pt x="730" y="215"/>
                  </a:lnTo>
                  <a:lnTo>
                    <a:pt x="732" y="215"/>
                  </a:lnTo>
                  <a:lnTo>
                    <a:pt x="732" y="217"/>
                  </a:lnTo>
                  <a:lnTo>
                    <a:pt x="734" y="217"/>
                  </a:lnTo>
                  <a:lnTo>
                    <a:pt x="735" y="217"/>
                  </a:lnTo>
                  <a:lnTo>
                    <a:pt x="736" y="217"/>
                  </a:lnTo>
                  <a:lnTo>
                    <a:pt x="738" y="217"/>
                  </a:lnTo>
                  <a:lnTo>
                    <a:pt x="738" y="215"/>
                  </a:lnTo>
                  <a:lnTo>
                    <a:pt x="739" y="214"/>
                  </a:lnTo>
                  <a:lnTo>
                    <a:pt x="740" y="215"/>
                  </a:lnTo>
                  <a:lnTo>
                    <a:pt x="740" y="217"/>
                  </a:lnTo>
                  <a:lnTo>
                    <a:pt x="741" y="217"/>
                  </a:lnTo>
                  <a:lnTo>
                    <a:pt x="740" y="218"/>
                  </a:lnTo>
                  <a:lnTo>
                    <a:pt x="740" y="219"/>
                  </a:lnTo>
                  <a:lnTo>
                    <a:pt x="739" y="219"/>
                  </a:lnTo>
                  <a:lnTo>
                    <a:pt x="739" y="220"/>
                  </a:lnTo>
                  <a:lnTo>
                    <a:pt x="739" y="221"/>
                  </a:lnTo>
                  <a:lnTo>
                    <a:pt x="739" y="223"/>
                  </a:lnTo>
                  <a:lnTo>
                    <a:pt x="739" y="225"/>
                  </a:lnTo>
                  <a:lnTo>
                    <a:pt x="738" y="225"/>
                  </a:lnTo>
                  <a:lnTo>
                    <a:pt x="736" y="225"/>
                  </a:lnTo>
                  <a:lnTo>
                    <a:pt x="735" y="225"/>
                  </a:lnTo>
                  <a:lnTo>
                    <a:pt x="734" y="226"/>
                  </a:lnTo>
                  <a:lnTo>
                    <a:pt x="733" y="229"/>
                  </a:lnTo>
                  <a:lnTo>
                    <a:pt x="733" y="230"/>
                  </a:lnTo>
                  <a:lnTo>
                    <a:pt x="734" y="231"/>
                  </a:lnTo>
                  <a:lnTo>
                    <a:pt x="735" y="230"/>
                  </a:lnTo>
                  <a:lnTo>
                    <a:pt x="736" y="230"/>
                  </a:lnTo>
                  <a:lnTo>
                    <a:pt x="736" y="229"/>
                  </a:lnTo>
                  <a:lnTo>
                    <a:pt x="741" y="230"/>
                  </a:lnTo>
                  <a:lnTo>
                    <a:pt x="741" y="229"/>
                  </a:lnTo>
                  <a:lnTo>
                    <a:pt x="743" y="229"/>
                  </a:lnTo>
                  <a:lnTo>
                    <a:pt x="743" y="225"/>
                  </a:lnTo>
                  <a:lnTo>
                    <a:pt x="744" y="225"/>
                  </a:lnTo>
                  <a:lnTo>
                    <a:pt x="745" y="224"/>
                  </a:lnTo>
                  <a:lnTo>
                    <a:pt x="745" y="223"/>
                  </a:lnTo>
                  <a:lnTo>
                    <a:pt x="746" y="223"/>
                  </a:lnTo>
                  <a:lnTo>
                    <a:pt x="746" y="224"/>
                  </a:lnTo>
                  <a:lnTo>
                    <a:pt x="747" y="224"/>
                  </a:lnTo>
                  <a:lnTo>
                    <a:pt x="747" y="223"/>
                  </a:lnTo>
                  <a:lnTo>
                    <a:pt x="749" y="223"/>
                  </a:lnTo>
                  <a:lnTo>
                    <a:pt x="750" y="223"/>
                  </a:lnTo>
                  <a:lnTo>
                    <a:pt x="750" y="220"/>
                  </a:lnTo>
                  <a:lnTo>
                    <a:pt x="751" y="220"/>
                  </a:lnTo>
                  <a:lnTo>
                    <a:pt x="752" y="220"/>
                  </a:lnTo>
                  <a:lnTo>
                    <a:pt x="753" y="220"/>
                  </a:lnTo>
                  <a:lnTo>
                    <a:pt x="753" y="221"/>
                  </a:lnTo>
                  <a:lnTo>
                    <a:pt x="752" y="223"/>
                  </a:lnTo>
                  <a:lnTo>
                    <a:pt x="752" y="227"/>
                  </a:lnTo>
                  <a:lnTo>
                    <a:pt x="753" y="227"/>
                  </a:lnTo>
                  <a:lnTo>
                    <a:pt x="755" y="227"/>
                  </a:lnTo>
                  <a:lnTo>
                    <a:pt x="756" y="227"/>
                  </a:lnTo>
                  <a:lnTo>
                    <a:pt x="757" y="227"/>
                  </a:lnTo>
                  <a:lnTo>
                    <a:pt x="758" y="225"/>
                  </a:lnTo>
                  <a:lnTo>
                    <a:pt x="759" y="225"/>
                  </a:lnTo>
                  <a:lnTo>
                    <a:pt x="759" y="226"/>
                  </a:lnTo>
                  <a:lnTo>
                    <a:pt x="761" y="229"/>
                  </a:lnTo>
                  <a:lnTo>
                    <a:pt x="759" y="230"/>
                  </a:lnTo>
                  <a:lnTo>
                    <a:pt x="758" y="230"/>
                  </a:lnTo>
                  <a:lnTo>
                    <a:pt x="758" y="231"/>
                  </a:lnTo>
                  <a:lnTo>
                    <a:pt x="757" y="231"/>
                  </a:lnTo>
                  <a:lnTo>
                    <a:pt x="757" y="232"/>
                  </a:lnTo>
                  <a:lnTo>
                    <a:pt x="757" y="233"/>
                  </a:lnTo>
                  <a:lnTo>
                    <a:pt x="756" y="236"/>
                  </a:lnTo>
                  <a:lnTo>
                    <a:pt x="753" y="236"/>
                  </a:lnTo>
                  <a:lnTo>
                    <a:pt x="751" y="236"/>
                  </a:lnTo>
                  <a:lnTo>
                    <a:pt x="753" y="237"/>
                  </a:lnTo>
                  <a:lnTo>
                    <a:pt x="752" y="237"/>
                  </a:lnTo>
                  <a:lnTo>
                    <a:pt x="750" y="236"/>
                  </a:lnTo>
                  <a:lnTo>
                    <a:pt x="749" y="237"/>
                  </a:lnTo>
                  <a:lnTo>
                    <a:pt x="750" y="237"/>
                  </a:lnTo>
                  <a:lnTo>
                    <a:pt x="751" y="238"/>
                  </a:lnTo>
                  <a:lnTo>
                    <a:pt x="751" y="239"/>
                  </a:lnTo>
                  <a:lnTo>
                    <a:pt x="749" y="239"/>
                  </a:lnTo>
                  <a:lnTo>
                    <a:pt x="747" y="241"/>
                  </a:lnTo>
                  <a:lnTo>
                    <a:pt x="746" y="241"/>
                  </a:lnTo>
                  <a:lnTo>
                    <a:pt x="745" y="241"/>
                  </a:lnTo>
                  <a:lnTo>
                    <a:pt x="745" y="242"/>
                  </a:lnTo>
                  <a:lnTo>
                    <a:pt x="744" y="242"/>
                  </a:lnTo>
                  <a:lnTo>
                    <a:pt x="743" y="242"/>
                  </a:lnTo>
                  <a:lnTo>
                    <a:pt x="741" y="243"/>
                  </a:lnTo>
                  <a:lnTo>
                    <a:pt x="740" y="242"/>
                  </a:lnTo>
                  <a:lnTo>
                    <a:pt x="739" y="242"/>
                  </a:lnTo>
                  <a:lnTo>
                    <a:pt x="738" y="241"/>
                  </a:lnTo>
                  <a:lnTo>
                    <a:pt x="735" y="242"/>
                  </a:lnTo>
                  <a:lnTo>
                    <a:pt x="736" y="243"/>
                  </a:lnTo>
                  <a:lnTo>
                    <a:pt x="736" y="245"/>
                  </a:lnTo>
                  <a:lnTo>
                    <a:pt x="735" y="245"/>
                  </a:lnTo>
                  <a:lnTo>
                    <a:pt x="735" y="247"/>
                  </a:lnTo>
                  <a:lnTo>
                    <a:pt x="734" y="247"/>
                  </a:lnTo>
                  <a:lnTo>
                    <a:pt x="733" y="248"/>
                  </a:lnTo>
                  <a:lnTo>
                    <a:pt x="730" y="249"/>
                  </a:lnTo>
                  <a:lnTo>
                    <a:pt x="729" y="249"/>
                  </a:lnTo>
                  <a:lnTo>
                    <a:pt x="729" y="250"/>
                  </a:lnTo>
                  <a:lnTo>
                    <a:pt x="728" y="251"/>
                  </a:lnTo>
                  <a:lnTo>
                    <a:pt x="727" y="253"/>
                  </a:lnTo>
                  <a:lnTo>
                    <a:pt x="726" y="253"/>
                  </a:lnTo>
                  <a:lnTo>
                    <a:pt x="726" y="254"/>
                  </a:lnTo>
                  <a:lnTo>
                    <a:pt x="724" y="255"/>
                  </a:lnTo>
                  <a:lnTo>
                    <a:pt x="723" y="255"/>
                  </a:lnTo>
                  <a:lnTo>
                    <a:pt x="723" y="256"/>
                  </a:lnTo>
                  <a:lnTo>
                    <a:pt x="722" y="256"/>
                  </a:lnTo>
                  <a:lnTo>
                    <a:pt x="721" y="257"/>
                  </a:lnTo>
                  <a:lnTo>
                    <a:pt x="720" y="257"/>
                  </a:lnTo>
                  <a:lnTo>
                    <a:pt x="721" y="257"/>
                  </a:lnTo>
                  <a:lnTo>
                    <a:pt x="726" y="257"/>
                  </a:lnTo>
                  <a:lnTo>
                    <a:pt x="727" y="256"/>
                  </a:lnTo>
                  <a:lnTo>
                    <a:pt x="728" y="256"/>
                  </a:lnTo>
                  <a:lnTo>
                    <a:pt x="729" y="257"/>
                  </a:lnTo>
                  <a:lnTo>
                    <a:pt x="730" y="259"/>
                  </a:lnTo>
                  <a:lnTo>
                    <a:pt x="732" y="259"/>
                  </a:lnTo>
                  <a:lnTo>
                    <a:pt x="733" y="260"/>
                  </a:lnTo>
                  <a:lnTo>
                    <a:pt x="734" y="261"/>
                  </a:lnTo>
                  <a:lnTo>
                    <a:pt x="735" y="262"/>
                  </a:lnTo>
                  <a:lnTo>
                    <a:pt x="735" y="261"/>
                  </a:lnTo>
                  <a:lnTo>
                    <a:pt x="736" y="261"/>
                  </a:lnTo>
                  <a:lnTo>
                    <a:pt x="738" y="261"/>
                  </a:lnTo>
                  <a:lnTo>
                    <a:pt x="739" y="260"/>
                  </a:lnTo>
                  <a:lnTo>
                    <a:pt x="739" y="261"/>
                  </a:lnTo>
                  <a:lnTo>
                    <a:pt x="740" y="261"/>
                  </a:lnTo>
                  <a:lnTo>
                    <a:pt x="740" y="262"/>
                  </a:lnTo>
                  <a:lnTo>
                    <a:pt x="739" y="263"/>
                  </a:lnTo>
                  <a:lnTo>
                    <a:pt x="740" y="265"/>
                  </a:lnTo>
                  <a:lnTo>
                    <a:pt x="740" y="262"/>
                  </a:lnTo>
                  <a:lnTo>
                    <a:pt x="743" y="262"/>
                  </a:lnTo>
                  <a:lnTo>
                    <a:pt x="744" y="261"/>
                  </a:lnTo>
                  <a:lnTo>
                    <a:pt x="745" y="260"/>
                  </a:lnTo>
                  <a:lnTo>
                    <a:pt x="745" y="259"/>
                  </a:lnTo>
                  <a:lnTo>
                    <a:pt x="749" y="259"/>
                  </a:lnTo>
                  <a:lnTo>
                    <a:pt x="749" y="257"/>
                  </a:lnTo>
                  <a:lnTo>
                    <a:pt x="751" y="257"/>
                  </a:lnTo>
                  <a:lnTo>
                    <a:pt x="752" y="259"/>
                  </a:lnTo>
                  <a:lnTo>
                    <a:pt x="751" y="261"/>
                  </a:lnTo>
                  <a:lnTo>
                    <a:pt x="751" y="263"/>
                  </a:lnTo>
                  <a:lnTo>
                    <a:pt x="752" y="265"/>
                  </a:lnTo>
                  <a:lnTo>
                    <a:pt x="753" y="265"/>
                  </a:lnTo>
                  <a:lnTo>
                    <a:pt x="755" y="265"/>
                  </a:lnTo>
                  <a:lnTo>
                    <a:pt x="756" y="265"/>
                  </a:lnTo>
                  <a:lnTo>
                    <a:pt x="758" y="265"/>
                  </a:lnTo>
                  <a:lnTo>
                    <a:pt x="759" y="265"/>
                  </a:lnTo>
                  <a:lnTo>
                    <a:pt x="761" y="265"/>
                  </a:lnTo>
                  <a:lnTo>
                    <a:pt x="761" y="263"/>
                  </a:lnTo>
                  <a:lnTo>
                    <a:pt x="762" y="263"/>
                  </a:lnTo>
                  <a:lnTo>
                    <a:pt x="763" y="263"/>
                  </a:lnTo>
                  <a:lnTo>
                    <a:pt x="764" y="263"/>
                  </a:lnTo>
                  <a:lnTo>
                    <a:pt x="765" y="265"/>
                  </a:lnTo>
                  <a:lnTo>
                    <a:pt x="767" y="265"/>
                  </a:lnTo>
                  <a:lnTo>
                    <a:pt x="768" y="265"/>
                  </a:lnTo>
                  <a:lnTo>
                    <a:pt x="768" y="266"/>
                  </a:lnTo>
                  <a:lnTo>
                    <a:pt x="769" y="266"/>
                  </a:lnTo>
                  <a:lnTo>
                    <a:pt x="769" y="265"/>
                  </a:lnTo>
                  <a:lnTo>
                    <a:pt x="770" y="263"/>
                  </a:lnTo>
                  <a:lnTo>
                    <a:pt x="773" y="262"/>
                  </a:lnTo>
                  <a:lnTo>
                    <a:pt x="771" y="263"/>
                  </a:lnTo>
                  <a:lnTo>
                    <a:pt x="771" y="265"/>
                  </a:lnTo>
                  <a:lnTo>
                    <a:pt x="773" y="265"/>
                  </a:lnTo>
                  <a:lnTo>
                    <a:pt x="773" y="266"/>
                  </a:lnTo>
                  <a:lnTo>
                    <a:pt x="774" y="266"/>
                  </a:lnTo>
                  <a:lnTo>
                    <a:pt x="775" y="267"/>
                  </a:lnTo>
                  <a:lnTo>
                    <a:pt x="775" y="266"/>
                  </a:lnTo>
                  <a:lnTo>
                    <a:pt x="776" y="265"/>
                  </a:lnTo>
                  <a:lnTo>
                    <a:pt x="776" y="263"/>
                  </a:lnTo>
                  <a:lnTo>
                    <a:pt x="776" y="262"/>
                  </a:lnTo>
                  <a:lnTo>
                    <a:pt x="777" y="262"/>
                  </a:lnTo>
                  <a:lnTo>
                    <a:pt x="779" y="262"/>
                  </a:lnTo>
                  <a:lnTo>
                    <a:pt x="779" y="265"/>
                  </a:lnTo>
                  <a:lnTo>
                    <a:pt x="780" y="265"/>
                  </a:lnTo>
                  <a:lnTo>
                    <a:pt x="780" y="263"/>
                  </a:lnTo>
                  <a:lnTo>
                    <a:pt x="781" y="263"/>
                  </a:lnTo>
                  <a:lnTo>
                    <a:pt x="780" y="265"/>
                  </a:lnTo>
                  <a:lnTo>
                    <a:pt x="779" y="266"/>
                  </a:lnTo>
                  <a:lnTo>
                    <a:pt x="779" y="267"/>
                  </a:lnTo>
                  <a:lnTo>
                    <a:pt x="777" y="268"/>
                  </a:lnTo>
                  <a:lnTo>
                    <a:pt x="777" y="269"/>
                  </a:lnTo>
                  <a:lnTo>
                    <a:pt x="779" y="271"/>
                  </a:lnTo>
                  <a:lnTo>
                    <a:pt x="780" y="272"/>
                  </a:lnTo>
                  <a:lnTo>
                    <a:pt x="780" y="273"/>
                  </a:lnTo>
                  <a:lnTo>
                    <a:pt x="781" y="273"/>
                  </a:lnTo>
                  <a:lnTo>
                    <a:pt x="781" y="274"/>
                  </a:lnTo>
                  <a:lnTo>
                    <a:pt x="782" y="275"/>
                  </a:lnTo>
                  <a:lnTo>
                    <a:pt x="785" y="275"/>
                  </a:lnTo>
                  <a:lnTo>
                    <a:pt x="783" y="277"/>
                  </a:lnTo>
                  <a:lnTo>
                    <a:pt x="783" y="278"/>
                  </a:lnTo>
                  <a:lnTo>
                    <a:pt x="777" y="279"/>
                  </a:lnTo>
                  <a:lnTo>
                    <a:pt x="777" y="283"/>
                  </a:lnTo>
                  <a:lnTo>
                    <a:pt x="776" y="283"/>
                  </a:lnTo>
                  <a:lnTo>
                    <a:pt x="775" y="284"/>
                  </a:lnTo>
                  <a:lnTo>
                    <a:pt x="775" y="286"/>
                  </a:lnTo>
                  <a:lnTo>
                    <a:pt x="777" y="286"/>
                  </a:lnTo>
                  <a:lnTo>
                    <a:pt x="777" y="288"/>
                  </a:lnTo>
                  <a:lnTo>
                    <a:pt x="777" y="289"/>
                  </a:lnTo>
                  <a:lnTo>
                    <a:pt x="776" y="290"/>
                  </a:lnTo>
                  <a:lnTo>
                    <a:pt x="776" y="291"/>
                  </a:lnTo>
                  <a:lnTo>
                    <a:pt x="779" y="291"/>
                  </a:lnTo>
                  <a:lnTo>
                    <a:pt x="781" y="290"/>
                  </a:lnTo>
                  <a:lnTo>
                    <a:pt x="785" y="290"/>
                  </a:lnTo>
                  <a:lnTo>
                    <a:pt x="787" y="289"/>
                  </a:lnTo>
                  <a:lnTo>
                    <a:pt x="787" y="288"/>
                  </a:lnTo>
                  <a:lnTo>
                    <a:pt x="787" y="286"/>
                  </a:lnTo>
                  <a:lnTo>
                    <a:pt x="788" y="286"/>
                  </a:lnTo>
                  <a:lnTo>
                    <a:pt x="788" y="284"/>
                  </a:lnTo>
                  <a:lnTo>
                    <a:pt x="789" y="283"/>
                  </a:lnTo>
                  <a:lnTo>
                    <a:pt x="791" y="282"/>
                  </a:lnTo>
                  <a:lnTo>
                    <a:pt x="793" y="282"/>
                  </a:lnTo>
                  <a:lnTo>
                    <a:pt x="794" y="282"/>
                  </a:lnTo>
                  <a:lnTo>
                    <a:pt x="794" y="280"/>
                  </a:lnTo>
                  <a:lnTo>
                    <a:pt x="795" y="280"/>
                  </a:lnTo>
                  <a:lnTo>
                    <a:pt x="797" y="280"/>
                  </a:lnTo>
                  <a:lnTo>
                    <a:pt x="799" y="279"/>
                  </a:lnTo>
                  <a:lnTo>
                    <a:pt x="802" y="279"/>
                  </a:lnTo>
                  <a:lnTo>
                    <a:pt x="802" y="280"/>
                  </a:lnTo>
                  <a:lnTo>
                    <a:pt x="803" y="282"/>
                  </a:lnTo>
                  <a:lnTo>
                    <a:pt x="802" y="283"/>
                  </a:lnTo>
                  <a:lnTo>
                    <a:pt x="802" y="284"/>
                  </a:lnTo>
                  <a:lnTo>
                    <a:pt x="802" y="286"/>
                  </a:lnTo>
                  <a:lnTo>
                    <a:pt x="800" y="289"/>
                  </a:lnTo>
                  <a:lnTo>
                    <a:pt x="798" y="290"/>
                  </a:lnTo>
                  <a:lnTo>
                    <a:pt x="795" y="291"/>
                  </a:lnTo>
                  <a:lnTo>
                    <a:pt x="793" y="292"/>
                  </a:lnTo>
                  <a:lnTo>
                    <a:pt x="792" y="292"/>
                  </a:lnTo>
                  <a:lnTo>
                    <a:pt x="791" y="292"/>
                  </a:lnTo>
                  <a:lnTo>
                    <a:pt x="789" y="295"/>
                  </a:lnTo>
                  <a:lnTo>
                    <a:pt x="791" y="297"/>
                  </a:lnTo>
                  <a:lnTo>
                    <a:pt x="789" y="297"/>
                  </a:lnTo>
                  <a:lnTo>
                    <a:pt x="788" y="298"/>
                  </a:lnTo>
                  <a:lnTo>
                    <a:pt x="786" y="300"/>
                  </a:lnTo>
                  <a:lnTo>
                    <a:pt x="783" y="302"/>
                  </a:lnTo>
                  <a:lnTo>
                    <a:pt x="782" y="304"/>
                  </a:lnTo>
                  <a:lnTo>
                    <a:pt x="781" y="306"/>
                  </a:lnTo>
                  <a:lnTo>
                    <a:pt x="780" y="306"/>
                  </a:lnTo>
                  <a:lnTo>
                    <a:pt x="780" y="308"/>
                  </a:lnTo>
                  <a:lnTo>
                    <a:pt x="779" y="308"/>
                  </a:lnTo>
                  <a:lnTo>
                    <a:pt x="776" y="308"/>
                  </a:lnTo>
                  <a:lnTo>
                    <a:pt x="775" y="307"/>
                  </a:lnTo>
                  <a:lnTo>
                    <a:pt x="774" y="307"/>
                  </a:lnTo>
                  <a:lnTo>
                    <a:pt x="773" y="306"/>
                  </a:lnTo>
                  <a:lnTo>
                    <a:pt x="770" y="307"/>
                  </a:lnTo>
                  <a:lnTo>
                    <a:pt x="768" y="308"/>
                  </a:lnTo>
                  <a:lnTo>
                    <a:pt x="767" y="309"/>
                  </a:lnTo>
                  <a:lnTo>
                    <a:pt x="764" y="309"/>
                  </a:lnTo>
                  <a:lnTo>
                    <a:pt x="767" y="310"/>
                  </a:lnTo>
                  <a:lnTo>
                    <a:pt x="770" y="312"/>
                  </a:lnTo>
                  <a:lnTo>
                    <a:pt x="770" y="315"/>
                  </a:lnTo>
                  <a:lnTo>
                    <a:pt x="770" y="316"/>
                  </a:lnTo>
                  <a:lnTo>
                    <a:pt x="771" y="315"/>
                  </a:lnTo>
                  <a:lnTo>
                    <a:pt x="773" y="315"/>
                  </a:lnTo>
                  <a:lnTo>
                    <a:pt x="774" y="318"/>
                  </a:lnTo>
                  <a:lnTo>
                    <a:pt x="774" y="319"/>
                  </a:lnTo>
                  <a:lnTo>
                    <a:pt x="775" y="321"/>
                  </a:lnTo>
                  <a:lnTo>
                    <a:pt x="776" y="321"/>
                  </a:lnTo>
                  <a:lnTo>
                    <a:pt x="780" y="320"/>
                  </a:lnTo>
                  <a:lnTo>
                    <a:pt x="782" y="320"/>
                  </a:lnTo>
                  <a:lnTo>
                    <a:pt x="786" y="320"/>
                  </a:lnTo>
                  <a:lnTo>
                    <a:pt x="788" y="320"/>
                  </a:lnTo>
                  <a:lnTo>
                    <a:pt x="788" y="321"/>
                  </a:lnTo>
                  <a:lnTo>
                    <a:pt x="788" y="324"/>
                  </a:lnTo>
                  <a:lnTo>
                    <a:pt x="786" y="325"/>
                  </a:lnTo>
                  <a:lnTo>
                    <a:pt x="786" y="327"/>
                  </a:lnTo>
                  <a:lnTo>
                    <a:pt x="787" y="326"/>
                  </a:lnTo>
                  <a:lnTo>
                    <a:pt x="788" y="326"/>
                  </a:lnTo>
                  <a:lnTo>
                    <a:pt x="788" y="327"/>
                  </a:lnTo>
                  <a:lnTo>
                    <a:pt x="789" y="327"/>
                  </a:lnTo>
                  <a:lnTo>
                    <a:pt x="789" y="328"/>
                  </a:lnTo>
                  <a:lnTo>
                    <a:pt x="787" y="332"/>
                  </a:lnTo>
                  <a:lnTo>
                    <a:pt x="785" y="334"/>
                  </a:lnTo>
                  <a:lnTo>
                    <a:pt x="783" y="336"/>
                  </a:lnTo>
                  <a:lnTo>
                    <a:pt x="782" y="337"/>
                  </a:lnTo>
                  <a:lnTo>
                    <a:pt x="786" y="339"/>
                  </a:lnTo>
                  <a:lnTo>
                    <a:pt x="786" y="340"/>
                  </a:lnTo>
                  <a:lnTo>
                    <a:pt x="786" y="342"/>
                  </a:lnTo>
                  <a:lnTo>
                    <a:pt x="785" y="342"/>
                  </a:lnTo>
                  <a:lnTo>
                    <a:pt x="785" y="343"/>
                  </a:lnTo>
                  <a:lnTo>
                    <a:pt x="786" y="344"/>
                  </a:lnTo>
                  <a:lnTo>
                    <a:pt x="786" y="345"/>
                  </a:lnTo>
                  <a:lnTo>
                    <a:pt x="787" y="348"/>
                  </a:lnTo>
                  <a:lnTo>
                    <a:pt x="786" y="348"/>
                  </a:lnTo>
                  <a:lnTo>
                    <a:pt x="785" y="349"/>
                  </a:lnTo>
                  <a:lnTo>
                    <a:pt x="785" y="350"/>
                  </a:lnTo>
                  <a:lnTo>
                    <a:pt x="787" y="349"/>
                  </a:lnTo>
                  <a:lnTo>
                    <a:pt x="788" y="349"/>
                  </a:lnTo>
                  <a:lnTo>
                    <a:pt x="789" y="349"/>
                  </a:lnTo>
                  <a:lnTo>
                    <a:pt x="789" y="351"/>
                  </a:lnTo>
                  <a:lnTo>
                    <a:pt x="791" y="355"/>
                  </a:lnTo>
                  <a:lnTo>
                    <a:pt x="795" y="355"/>
                  </a:lnTo>
                  <a:lnTo>
                    <a:pt x="797" y="355"/>
                  </a:lnTo>
                  <a:lnTo>
                    <a:pt x="798" y="354"/>
                  </a:lnTo>
                  <a:lnTo>
                    <a:pt x="800" y="354"/>
                  </a:lnTo>
                  <a:lnTo>
                    <a:pt x="803" y="354"/>
                  </a:lnTo>
                  <a:lnTo>
                    <a:pt x="805" y="352"/>
                  </a:lnTo>
                  <a:lnTo>
                    <a:pt x="805" y="355"/>
                  </a:lnTo>
                  <a:lnTo>
                    <a:pt x="808" y="355"/>
                  </a:lnTo>
                  <a:lnTo>
                    <a:pt x="811" y="356"/>
                  </a:lnTo>
                  <a:lnTo>
                    <a:pt x="812" y="357"/>
                  </a:lnTo>
                  <a:lnTo>
                    <a:pt x="816" y="357"/>
                  </a:lnTo>
                  <a:lnTo>
                    <a:pt x="818" y="357"/>
                  </a:lnTo>
                  <a:lnTo>
                    <a:pt x="820" y="358"/>
                  </a:lnTo>
                  <a:lnTo>
                    <a:pt x="823" y="357"/>
                  </a:lnTo>
                  <a:lnTo>
                    <a:pt x="826" y="356"/>
                  </a:lnTo>
                  <a:lnTo>
                    <a:pt x="826" y="358"/>
                  </a:lnTo>
                  <a:lnTo>
                    <a:pt x="823" y="361"/>
                  </a:lnTo>
                  <a:lnTo>
                    <a:pt x="822" y="364"/>
                  </a:lnTo>
                  <a:lnTo>
                    <a:pt x="821" y="368"/>
                  </a:lnTo>
                  <a:lnTo>
                    <a:pt x="824" y="368"/>
                  </a:lnTo>
                  <a:lnTo>
                    <a:pt x="828" y="368"/>
                  </a:lnTo>
                  <a:lnTo>
                    <a:pt x="828" y="367"/>
                  </a:lnTo>
                  <a:lnTo>
                    <a:pt x="833" y="368"/>
                  </a:lnTo>
                  <a:lnTo>
                    <a:pt x="833" y="370"/>
                  </a:lnTo>
                  <a:lnTo>
                    <a:pt x="834" y="369"/>
                  </a:lnTo>
                  <a:lnTo>
                    <a:pt x="836" y="369"/>
                  </a:lnTo>
                  <a:lnTo>
                    <a:pt x="838" y="369"/>
                  </a:lnTo>
                  <a:lnTo>
                    <a:pt x="839" y="369"/>
                  </a:lnTo>
                  <a:lnTo>
                    <a:pt x="840" y="368"/>
                  </a:lnTo>
                  <a:lnTo>
                    <a:pt x="842" y="368"/>
                  </a:lnTo>
                  <a:lnTo>
                    <a:pt x="844" y="368"/>
                  </a:lnTo>
                  <a:lnTo>
                    <a:pt x="845" y="369"/>
                  </a:lnTo>
                  <a:lnTo>
                    <a:pt x="845" y="372"/>
                  </a:lnTo>
                  <a:lnTo>
                    <a:pt x="844" y="373"/>
                  </a:lnTo>
                  <a:lnTo>
                    <a:pt x="842" y="374"/>
                  </a:lnTo>
                  <a:lnTo>
                    <a:pt x="841" y="374"/>
                  </a:lnTo>
                  <a:lnTo>
                    <a:pt x="840" y="375"/>
                  </a:lnTo>
                  <a:lnTo>
                    <a:pt x="840" y="376"/>
                  </a:lnTo>
                  <a:lnTo>
                    <a:pt x="839" y="378"/>
                  </a:lnTo>
                  <a:lnTo>
                    <a:pt x="836" y="379"/>
                  </a:lnTo>
                  <a:lnTo>
                    <a:pt x="836" y="380"/>
                  </a:lnTo>
                  <a:lnTo>
                    <a:pt x="835" y="380"/>
                  </a:lnTo>
                  <a:lnTo>
                    <a:pt x="834" y="380"/>
                  </a:lnTo>
                  <a:lnTo>
                    <a:pt x="833" y="381"/>
                  </a:lnTo>
                  <a:lnTo>
                    <a:pt x="832" y="381"/>
                  </a:lnTo>
                  <a:lnTo>
                    <a:pt x="829" y="384"/>
                  </a:lnTo>
                  <a:lnTo>
                    <a:pt x="827" y="386"/>
                  </a:lnTo>
                  <a:lnTo>
                    <a:pt x="823" y="389"/>
                  </a:lnTo>
                  <a:lnTo>
                    <a:pt x="822" y="389"/>
                  </a:lnTo>
                  <a:lnTo>
                    <a:pt x="821" y="389"/>
                  </a:lnTo>
                  <a:lnTo>
                    <a:pt x="818" y="387"/>
                  </a:lnTo>
                  <a:lnTo>
                    <a:pt x="816" y="389"/>
                  </a:lnTo>
                  <a:lnTo>
                    <a:pt x="815" y="389"/>
                  </a:lnTo>
                  <a:lnTo>
                    <a:pt x="814" y="389"/>
                  </a:lnTo>
                  <a:lnTo>
                    <a:pt x="810" y="389"/>
                  </a:lnTo>
                  <a:lnTo>
                    <a:pt x="808" y="389"/>
                  </a:lnTo>
                  <a:lnTo>
                    <a:pt x="805" y="389"/>
                  </a:lnTo>
                  <a:lnTo>
                    <a:pt x="805" y="387"/>
                  </a:lnTo>
                  <a:lnTo>
                    <a:pt x="804" y="385"/>
                  </a:lnTo>
                  <a:lnTo>
                    <a:pt x="803" y="385"/>
                  </a:lnTo>
                  <a:lnTo>
                    <a:pt x="802" y="384"/>
                  </a:lnTo>
                  <a:lnTo>
                    <a:pt x="800" y="384"/>
                  </a:lnTo>
                  <a:lnTo>
                    <a:pt x="799" y="382"/>
                  </a:lnTo>
                  <a:lnTo>
                    <a:pt x="798" y="381"/>
                  </a:lnTo>
                  <a:lnTo>
                    <a:pt x="797" y="378"/>
                  </a:lnTo>
                  <a:lnTo>
                    <a:pt x="797" y="376"/>
                  </a:lnTo>
                  <a:lnTo>
                    <a:pt x="794" y="376"/>
                  </a:lnTo>
                  <a:lnTo>
                    <a:pt x="793" y="376"/>
                  </a:lnTo>
                  <a:lnTo>
                    <a:pt x="792" y="378"/>
                  </a:lnTo>
                  <a:lnTo>
                    <a:pt x="792" y="379"/>
                  </a:lnTo>
                  <a:lnTo>
                    <a:pt x="794" y="380"/>
                  </a:lnTo>
                  <a:lnTo>
                    <a:pt x="795" y="381"/>
                  </a:lnTo>
                  <a:lnTo>
                    <a:pt x="798" y="384"/>
                  </a:lnTo>
                  <a:lnTo>
                    <a:pt x="798" y="386"/>
                  </a:lnTo>
                  <a:lnTo>
                    <a:pt x="797" y="386"/>
                  </a:lnTo>
                  <a:lnTo>
                    <a:pt x="797" y="387"/>
                  </a:lnTo>
                  <a:lnTo>
                    <a:pt x="794" y="390"/>
                  </a:lnTo>
                  <a:lnTo>
                    <a:pt x="792" y="392"/>
                  </a:lnTo>
                  <a:lnTo>
                    <a:pt x="792" y="391"/>
                  </a:lnTo>
                  <a:lnTo>
                    <a:pt x="791" y="391"/>
                  </a:lnTo>
                  <a:lnTo>
                    <a:pt x="788" y="391"/>
                  </a:lnTo>
                  <a:lnTo>
                    <a:pt x="788" y="390"/>
                  </a:lnTo>
                  <a:lnTo>
                    <a:pt x="787" y="390"/>
                  </a:lnTo>
                  <a:lnTo>
                    <a:pt x="787" y="387"/>
                  </a:lnTo>
                  <a:lnTo>
                    <a:pt x="785" y="387"/>
                  </a:lnTo>
                  <a:lnTo>
                    <a:pt x="786" y="386"/>
                  </a:lnTo>
                  <a:lnTo>
                    <a:pt x="785" y="384"/>
                  </a:lnTo>
                  <a:lnTo>
                    <a:pt x="783" y="384"/>
                  </a:lnTo>
                  <a:lnTo>
                    <a:pt x="782" y="384"/>
                  </a:lnTo>
                  <a:lnTo>
                    <a:pt x="782" y="382"/>
                  </a:lnTo>
                  <a:lnTo>
                    <a:pt x="781" y="382"/>
                  </a:lnTo>
                  <a:lnTo>
                    <a:pt x="781" y="381"/>
                  </a:lnTo>
                  <a:lnTo>
                    <a:pt x="779" y="381"/>
                  </a:lnTo>
                  <a:lnTo>
                    <a:pt x="777" y="382"/>
                  </a:lnTo>
                  <a:lnTo>
                    <a:pt x="776" y="381"/>
                  </a:lnTo>
                  <a:lnTo>
                    <a:pt x="774" y="380"/>
                  </a:lnTo>
                  <a:lnTo>
                    <a:pt x="774" y="379"/>
                  </a:lnTo>
                  <a:lnTo>
                    <a:pt x="773" y="379"/>
                  </a:lnTo>
                  <a:lnTo>
                    <a:pt x="770" y="378"/>
                  </a:lnTo>
                  <a:lnTo>
                    <a:pt x="767" y="376"/>
                  </a:lnTo>
                  <a:lnTo>
                    <a:pt x="765" y="376"/>
                  </a:lnTo>
                  <a:lnTo>
                    <a:pt x="765" y="378"/>
                  </a:lnTo>
                  <a:lnTo>
                    <a:pt x="763" y="380"/>
                  </a:lnTo>
                  <a:lnTo>
                    <a:pt x="762" y="379"/>
                  </a:lnTo>
                  <a:lnTo>
                    <a:pt x="761" y="379"/>
                  </a:lnTo>
                  <a:lnTo>
                    <a:pt x="759" y="380"/>
                  </a:lnTo>
                  <a:lnTo>
                    <a:pt x="758" y="381"/>
                  </a:lnTo>
                  <a:lnTo>
                    <a:pt x="757" y="382"/>
                  </a:lnTo>
                  <a:lnTo>
                    <a:pt x="756" y="382"/>
                  </a:lnTo>
                  <a:lnTo>
                    <a:pt x="755" y="382"/>
                  </a:lnTo>
                  <a:lnTo>
                    <a:pt x="753" y="381"/>
                  </a:lnTo>
                  <a:lnTo>
                    <a:pt x="752" y="378"/>
                  </a:lnTo>
                  <a:lnTo>
                    <a:pt x="750" y="380"/>
                  </a:lnTo>
                  <a:lnTo>
                    <a:pt x="749" y="381"/>
                  </a:lnTo>
                  <a:lnTo>
                    <a:pt x="746" y="382"/>
                  </a:lnTo>
                  <a:lnTo>
                    <a:pt x="744" y="384"/>
                  </a:lnTo>
                  <a:lnTo>
                    <a:pt x="741" y="385"/>
                  </a:lnTo>
                  <a:lnTo>
                    <a:pt x="740" y="386"/>
                  </a:lnTo>
                  <a:lnTo>
                    <a:pt x="739" y="386"/>
                  </a:lnTo>
                  <a:lnTo>
                    <a:pt x="736" y="386"/>
                  </a:lnTo>
                  <a:lnTo>
                    <a:pt x="736" y="385"/>
                  </a:lnTo>
                  <a:lnTo>
                    <a:pt x="735" y="384"/>
                  </a:lnTo>
                  <a:lnTo>
                    <a:pt x="735" y="381"/>
                  </a:lnTo>
                  <a:lnTo>
                    <a:pt x="735" y="379"/>
                  </a:lnTo>
                  <a:lnTo>
                    <a:pt x="734" y="378"/>
                  </a:lnTo>
                  <a:lnTo>
                    <a:pt x="732" y="378"/>
                  </a:lnTo>
                  <a:lnTo>
                    <a:pt x="729" y="379"/>
                  </a:lnTo>
                  <a:lnTo>
                    <a:pt x="728" y="379"/>
                  </a:lnTo>
                  <a:lnTo>
                    <a:pt x="726" y="379"/>
                  </a:lnTo>
                  <a:lnTo>
                    <a:pt x="724" y="380"/>
                  </a:lnTo>
                  <a:lnTo>
                    <a:pt x="724" y="381"/>
                  </a:lnTo>
                  <a:lnTo>
                    <a:pt x="724" y="382"/>
                  </a:lnTo>
                  <a:lnTo>
                    <a:pt x="724" y="384"/>
                  </a:lnTo>
                  <a:lnTo>
                    <a:pt x="724" y="385"/>
                  </a:lnTo>
                  <a:lnTo>
                    <a:pt x="723" y="386"/>
                  </a:lnTo>
                  <a:lnTo>
                    <a:pt x="724" y="386"/>
                  </a:lnTo>
                  <a:lnTo>
                    <a:pt x="726" y="386"/>
                  </a:lnTo>
                  <a:lnTo>
                    <a:pt x="726" y="385"/>
                  </a:lnTo>
                  <a:lnTo>
                    <a:pt x="728" y="384"/>
                  </a:lnTo>
                  <a:lnTo>
                    <a:pt x="728" y="385"/>
                  </a:lnTo>
                  <a:lnTo>
                    <a:pt x="728" y="387"/>
                  </a:lnTo>
                  <a:lnTo>
                    <a:pt x="728" y="390"/>
                  </a:lnTo>
                  <a:lnTo>
                    <a:pt x="729" y="386"/>
                  </a:lnTo>
                  <a:lnTo>
                    <a:pt x="729" y="390"/>
                  </a:lnTo>
                  <a:lnTo>
                    <a:pt x="729" y="393"/>
                  </a:lnTo>
                  <a:lnTo>
                    <a:pt x="730" y="395"/>
                  </a:lnTo>
                  <a:lnTo>
                    <a:pt x="730" y="396"/>
                  </a:lnTo>
                  <a:lnTo>
                    <a:pt x="732" y="396"/>
                  </a:lnTo>
                  <a:lnTo>
                    <a:pt x="733" y="395"/>
                  </a:lnTo>
                  <a:lnTo>
                    <a:pt x="734" y="397"/>
                  </a:lnTo>
                  <a:lnTo>
                    <a:pt x="730" y="397"/>
                  </a:lnTo>
                  <a:lnTo>
                    <a:pt x="730" y="401"/>
                  </a:lnTo>
                  <a:lnTo>
                    <a:pt x="732" y="399"/>
                  </a:lnTo>
                  <a:lnTo>
                    <a:pt x="733" y="401"/>
                  </a:lnTo>
                  <a:lnTo>
                    <a:pt x="734" y="401"/>
                  </a:lnTo>
                  <a:lnTo>
                    <a:pt x="734" y="399"/>
                  </a:lnTo>
                  <a:lnTo>
                    <a:pt x="738" y="399"/>
                  </a:lnTo>
                  <a:lnTo>
                    <a:pt x="738" y="401"/>
                  </a:lnTo>
                  <a:lnTo>
                    <a:pt x="740" y="401"/>
                  </a:lnTo>
                  <a:lnTo>
                    <a:pt x="741" y="401"/>
                  </a:lnTo>
                  <a:lnTo>
                    <a:pt x="741" y="402"/>
                  </a:lnTo>
                  <a:lnTo>
                    <a:pt x="743" y="402"/>
                  </a:lnTo>
                  <a:lnTo>
                    <a:pt x="744" y="403"/>
                  </a:lnTo>
                  <a:lnTo>
                    <a:pt x="745" y="404"/>
                  </a:lnTo>
                  <a:lnTo>
                    <a:pt x="746" y="407"/>
                  </a:lnTo>
                  <a:lnTo>
                    <a:pt x="746" y="408"/>
                  </a:lnTo>
                  <a:lnTo>
                    <a:pt x="747" y="409"/>
                  </a:lnTo>
                  <a:lnTo>
                    <a:pt x="747" y="410"/>
                  </a:lnTo>
                  <a:lnTo>
                    <a:pt x="749" y="410"/>
                  </a:lnTo>
                  <a:lnTo>
                    <a:pt x="750" y="413"/>
                  </a:lnTo>
                  <a:lnTo>
                    <a:pt x="753" y="414"/>
                  </a:lnTo>
                  <a:lnTo>
                    <a:pt x="756" y="417"/>
                  </a:lnTo>
                  <a:lnTo>
                    <a:pt x="758" y="419"/>
                  </a:lnTo>
                  <a:lnTo>
                    <a:pt x="759" y="420"/>
                  </a:lnTo>
                  <a:lnTo>
                    <a:pt x="761" y="421"/>
                  </a:lnTo>
                  <a:lnTo>
                    <a:pt x="762" y="422"/>
                  </a:lnTo>
                  <a:lnTo>
                    <a:pt x="763" y="423"/>
                  </a:lnTo>
                  <a:lnTo>
                    <a:pt x="764" y="422"/>
                  </a:lnTo>
                  <a:lnTo>
                    <a:pt x="768" y="422"/>
                  </a:lnTo>
                  <a:lnTo>
                    <a:pt x="769" y="422"/>
                  </a:lnTo>
                  <a:lnTo>
                    <a:pt x="769" y="423"/>
                  </a:lnTo>
                  <a:lnTo>
                    <a:pt x="770" y="423"/>
                  </a:lnTo>
                  <a:lnTo>
                    <a:pt x="771" y="425"/>
                  </a:lnTo>
                  <a:lnTo>
                    <a:pt x="773" y="425"/>
                  </a:lnTo>
                  <a:lnTo>
                    <a:pt x="773" y="426"/>
                  </a:lnTo>
                  <a:lnTo>
                    <a:pt x="774" y="427"/>
                  </a:lnTo>
                  <a:lnTo>
                    <a:pt x="777" y="428"/>
                  </a:lnTo>
                  <a:lnTo>
                    <a:pt x="779" y="428"/>
                  </a:lnTo>
                  <a:lnTo>
                    <a:pt x="781" y="428"/>
                  </a:lnTo>
                  <a:lnTo>
                    <a:pt x="781" y="429"/>
                  </a:lnTo>
                  <a:lnTo>
                    <a:pt x="782" y="431"/>
                  </a:lnTo>
                  <a:lnTo>
                    <a:pt x="782" y="432"/>
                  </a:lnTo>
                  <a:lnTo>
                    <a:pt x="785" y="433"/>
                  </a:lnTo>
                  <a:lnTo>
                    <a:pt x="787" y="433"/>
                  </a:lnTo>
                  <a:lnTo>
                    <a:pt x="787" y="435"/>
                  </a:lnTo>
                  <a:lnTo>
                    <a:pt x="785" y="435"/>
                  </a:lnTo>
                  <a:lnTo>
                    <a:pt x="785" y="437"/>
                  </a:lnTo>
                  <a:lnTo>
                    <a:pt x="785" y="438"/>
                  </a:lnTo>
                  <a:lnTo>
                    <a:pt x="787" y="439"/>
                  </a:lnTo>
                  <a:lnTo>
                    <a:pt x="787" y="441"/>
                  </a:lnTo>
                  <a:lnTo>
                    <a:pt x="788" y="443"/>
                  </a:lnTo>
                  <a:lnTo>
                    <a:pt x="788" y="444"/>
                  </a:lnTo>
                  <a:lnTo>
                    <a:pt x="791" y="444"/>
                  </a:lnTo>
                  <a:lnTo>
                    <a:pt x="792" y="445"/>
                  </a:lnTo>
                  <a:lnTo>
                    <a:pt x="793" y="446"/>
                  </a:lnTo>
                  <a:lnTo>
                    <a:pt x="794" y="446"/>
                  </a:lnTo>
                  <a:lnTo>
                    <a:pt x="798" y="445"/>
                  </a:lnTo>
                  <a:lnTo>
                    <a:pt x="803" y="444"/>
                  </a:lnTo>
                  <a:lnTo>
                    <a:pt x="803" y="449"/>
                  </a:lnTo>
                  <a:lnTo>
                    <a:pt x="804" y="449"/>
                  </a:lnTo>
                  <a:lnTo>
                    <a:pt x="809" y="449"/>
                  </a:lnTo>
                  <a:lnTo>
                    <a:pt x="812" y="449"/>
                  </a:lnTo>
                  <a:lnTo>
                    <a:pt x="814" y="447"/>
                  </a:lnTo>
                  <a:lnTo>
                    <a:pt x="815" y="447"/>
                  </a:lnTo>
                  <a:lnTo>
                    <a:pt x="815" y="450"/>
                  </a:lnTo>
                  <a:lnTo>
                    <a:pt x="817" y="451"/>
                  </a:lnTo>
                  <a:lnTo>
                    <a:pt x="818" y="450"/>
                  </a:lnTo>
                  <a:lnTo>
                    <a:pt x="820" y="450"/>
                  </a:lnTo>
                  <a:lnTo>
                    <a:pt x="821" y="451"/>
                  </a:lnTo>
                  <a:lnTo>
                    <a:pt x="821" y="452"/>
                  </a:lnTo>
                  <a:lnTo>
                    <a:pt x="818" y="456"/>
                  </a:lnTo>
                  <a:lnTo>
                    <a:pt x="816" y="457"/>
                  </a:lnTo>
                  <a:lnTo>
                    <a:pt x="815" y="458"/>
                  </a:lnTo>
                  <a:lnTo>
                    <a:pt x="814" y="459"/>
                  </a:lnTo>
                  <a:lnTo>
                    <a:pt x="815" y="459"/>
                  </a:lnTo>
                  <a:lnTo>
                    <a:pt x="816" y="459"/>
                  </a:lnTo>
                  <a:lnTo>
                    <a:pt x="817" y="461"/>
                  </a:lnTo>
                  <a:lnTo>
                    <a:pt x="818" y="461"/>
                  </a:lnTo>
                  <a:lnTo>
                    <a:pt x="821" y="462"/>
                  </a:lnTo>
                  <a:lnTo>
                    <a:pt x="822" y="463"/>
                  </a:lnTo>
                  <a:lnTo>
                    <a:pt x="824" y="463"/>
                  </a:lnTo>
                  <a:lnTo>
                    <a:pt x="826" y="463"/>
                  </a:lnTo>
                  <a:lnTo>
                    <a:pt x="827" y="463"/>
                  </a:lnTo>
                  <a:lnTo>
                    <a:pt x="828" y="464"/>
                  </a:lnTo>
                  <a:lnTo>
                    <a:pt x="828" y="465"/>
                  </a:lnTo>
                  <a:lnTo>
                    <a:pt x="827" y="465"/>
                  </a:lnTo>
                  <a:lnTo>
                    <a:pt x="826" y="467"/>
                  </a:lnTo>
                  <a:lnTo>
                    <a:pt x="826" y="468"/>
                  </a:lnTo>
                  <a:lnTo>
                    <a:pt x="827" y="469"/>
                  </a:lnTo>
                  <a:lnTo>
                    <a:pt x="829" y="469"/>
                  </a:lnTo>
                  <a:lnTo>
                    <a:pt x="833" y="471"/>
                  </a:lnTo>
                  <a:lnTo>
                    <a:pt x="834" y="471"/>
                  </a:lnTo>
                  <a:lnTo>
                    <a:pt x="836" y="471"/>
                  </a:lnTo>
                  <a:lnTo>
                    <a:pt x="838" y="471"/>
                  </a:lnTo>
                  <a:lnTo>
                    <a:pt x="839" y="471"/>
                  </a:lnTo>
                  <a:lnTo>
                    <a:pt x="841" y="473"/>
                  </a:lnTo>
                  <a:lnTo>
                    <a:pt x="842" y="471"/>
                  </a:lnTo>
                  <a:lnTo>
                    <a:pt x="846" y="471"/>
                  </a:lnTo>
                  <a:lnTo>
                    <a:pt x="846" y="473"/>
                  </a:lnTo>
                  <a:lnTo>
                    <a:pt x="845" y="475"/>
                  </a:lnTo>
                  <a:lnTo>
                    <a:pt x="842" y="477"/>
                  </a:lnTo>
                  <a:lnTo>
                    <a:pt x="841" y="480"/>
                  </a:lnTo>
                  <a:lnTo>
                    <a:pt x="840" y="481"/>
                  </a:lnTo>
                  <a:lnTo>
                    <a:pt x="838" y="482"/>
                  </a:lnTo>
                  <a:lnTo>
                    <a:pt x="834" y="482"/>
                  </a:lnTo>
                  <a:lnTo>
                    <a:pt x="832" y="485"/>
                  </a:lnTo>
                  <a:lnTo>
                    <a:pt x="836" y="486"/>
                  </a:lnTo>
                  <a:lnTo>
                    <a:pt x="839" y="485"/>
                  </a:lnTo>
                  <a:lnTo>
                    <a:pt x="840" y="485"/>
                  </a:lnTo>
                  <a:lnTo>
                    <a:pt x="841" y="486"/>
                  </a:lnTo>
                  <a:lnTo>
                    <a:pt x="841" y="488"/>
                  </a:lnTo>
                  <a:lnTo>
                    <a:pt x="842" y="489"/>
                  </a:lnTo>
                  <a:lnTo>
                    <a:pt x="844" y="491"/>
                  </a:lnTo>
                  <a:lnTo>
                    <a:pt x="845" y="493"/>
                  </a:lnTo>
                  <a:lnTo>
                    <a:pt x="844" y="494"/>
                  </a:lnTo>
                  <a:lnTo>
                    <a:pt x="842" y="494"/>
                  </a:lnTo>
                  <a:lnTo>
                    <a:pt x="841" y="497"/>
                  </a:lnTo>
                  <a:lnTo>
                    <a:pt x="839" y="499"/>
                  </a:lnTo>
                  <a:lnTo>
                    <a:pt x="840" y="500"/>
                  </a:lnTo>
                  <a:lnTo>
                    <a:pt x="839" y="503"/>
                  </a:lnTo>
                  <a:lnTo>
                    <a:pt x="840" y="504"/>
                  </a:lnTo>
                  <a:lnTo>
                    <a:pt x="840" y="506"/>
                  </a:lnTo>
                  <a:lnTo>
                    <a:pt x="840" y="508"/>
                  </a:lnTo>
                  <a:lnTo>
                    <a:pt x="841" y="509"/>
                  </a:lnTo>
                  <a:lnTo>
                    <a:pt x="842" y="509"/>
                  </a:lnTo>
                  <a:lnTo>
                    <a:pt x="842" y="510"/>
                  </a:lnTo>
                  <a:lnTo>
                    <a:pt x="844" y="511"/>
                  </a:lnTo>
                  <a:lnTo>
                    <a:pt x="844" y="514"/>
                  </a:lnTo>
                  <a:lnTo>
                    <a:pt x="841" y="514"/>
                  </a:lnTo>
                  <a:lnTo>
                    <a:pt x="840" y="515"/>
                  </a:lnTo>
                  <a:lnTo>
                    <a:pt x="838" y="515"/>
                  </a:lnTo>
                  <a:lnTo>
                    <a:pt x="836" y="515"/>
                  </a:lnTo>
                  <a:lnTo>
                    <a:pt x="836" y="516"/>
                  </a:lnTo>
                  <a:lnTo>
                    <a:pt x="834" y="517"/>
                  </a:lnTo>
                  <a:lnTo>
                    <a:pt x="834" y="518"/>
                  </a:lnTo>
                  <a:lnTo>
                    <a:pt x="835" y="520"/>
                  </a:lnTo>
                  <a:lnTo>
                    <a:pt x="838" y="522"/>
                  </a:lnTo>
                  <a:lnTo>
                    <a:pt x="840" y="523"/>
                  </a:lnTo>
                  <a:lnTo>
                    <a:pt x="841" y="526"/>
                  </a:lnTo>
                  <a:lnTo>
                    <a:pt x="841" y="524"/>
                  </a:lnTo>
                  <a:lnTo>
                    <a:pt x="842" y="523"/>
                  </a:lnTo>
                  <a:lnTo>
                    <a:pt x="844" y="524"/>
                  </a:lnTo>
                  <a:lnTo>
                    <a:pt x="845" y="526"/>
                  </a:lnTo>
                  <a:lnTo>
                    <a:pt x="847" y="526"/>
                  </a:lnTo>
                  <a:lnTo>
                    <a:pt x="848" y="526"/>
                  </a:lnTo>
                  <a:lnTo>
                    <a:pt x="848" y="527"/>
                  </a:lnTo>
                  <a:lnTo>
                    <a:pt x="847" y="527"/>
                  </a:lnTo>
                  <a:lnTo>
                    <a:pt x="845" y="529"/>
                  </a:lnTo>
                  <a:lnTo>
                    <a:pt x="842" y="530"/>
                  </a:lnTo>
                  <a:lnTo>
                    <a:pt x="839" y="530"/>
                  </a:lnTo>
                  <a:lnTo>
                    <a:pt x="836" y="532"/>
                  </a:lnTo>
                  <a:lnTo>
                    <a:pt x="835" y="532"/>
                  </a:lnTo>
                  <a:lnTo>
                    <a:pt x="835" y="530"/>
                  </a:lnTo>
                  <a:lnTo>
                    <a:pt x="835" y="529"/>
                  </a:lnTo>
                  <a:lnTo>
                    <a:pt x="832" y="530"/>
                  </a:lnTo>
                  <a:lnTo>
                    <a:pt x="832" y="529"/>
                  </a:lnTo>
                  <a:lnTo>
                    <a:pt x="830" y="529"/>
                  </a:lnTo>
                  <a:lnTo>
                    <a:pt x="830" y="527"/>
                  </a:lnTo>
                  <a:lnTo>
                    <a:pt x="829" y="526"/>
                  </a:lnTo>
                  <a:lnTo>
                    <a:pt x="827" y="526"/>
                  </a:lnTo>
                  <a:lnTo>
                    <a:pt x="824" y="526"/>
                  </a:lnTo>
                  <a:lnTo>
                    <a:pt x="822" y="526"/>
                  </a:lnTo>
                  <a:lnTo>
                    <a:pt x="820" y="522"/>
                  </a:lnTo>
                  <a:lnTo>
                    <a:pt x="818" y="520"/>
                  </a:lnTo>
                  <a:lnTo>
                    <a:pt x="816" y="516"/>
                  </a:lnTo>
                  <a:lnTo>
                    <a:pt x="815" y="512"/>
                  </a:lnTo>
                  <a:lnTo>
                    <a:pt x="812" y="510"/>
                  </a:lnTo>
                  <a:lnTo>
                    <a:pt x="812" y="506"/>
                  </a:lnTo>
                  <a:lnTo>
                    <a:pt x="811" y="506"/>
                  </a:lnTo>
                  <a:lnTo>
                    <a:pt x="810" y="505"/>
                  </a:lnTo>
                  <a:lnTo>
                    <a:pt x="810" y="503"/>
                  </a:lnTo>
                  <a:lnTo>
                    <a:pt x="808" y="500"/>
                  </a:lnTo>
                  <a:lnTo>
                    <a:pt x="805" y="500"/>
                  </a:lnTo>
                  <a:lnTo>
                    <a:pt x="804" y="503"/>
                  </a:lnTo>
                  <a:lnTo>
                    <a:pt x="800" y="503"/>
                  </a:lnTo>
                  <a:lnTo>
                    <a:pt x="798" y="502"/>
                  </a:lnTo>
                  <a:lnTo>
                    <a:pt x="797" y="500"/>
                  </a:lnTo>
                  <a:lnTo>
                    <a:pt x="795" y="502"/>
                  </a:lnTo>
                  <a:lnTo>
                    <a:pt x="793" y="503"/>
                  </a:lnTo>
                  <a:lnTo>
                    <a:pt x="792" y="505"/>
                  </a:lnTo>
                  <a:lnTo>
                    <a:pt x="791" y="505"/>
                  </a:lnTo>
                  <a:lnTo>
                    <a:pt x="789" y="504"/>
                  </a:lnTo>
                  <a:lnTo>
                    <a:pt x="787" y="504"/>
                  </a:lnTo>
                  <a:lnTo>
                    <a:pt x="787" y="503"/>
                  </a:lnTo>
                  <a:lnTo>
                    <a:pt x="787" y="502"/>
                  </a:lnTo>
                  <a:lnTo>
                    <a:pt x="786" y="502"/>
                  </a:lnTo>
                  <a:lnTo>
                    <a:pt x="786" y="500"/>
                  </a:lnTo>
                  <a:lnTo>
                    <a:pt x="786" y="498"/>
                  </a:lnTo>
                  <a:lnTo>
                    <a:pt x="788" y="497"/>
                  </a:lnTo>
                  <a:lnTo>
                    <a:pt x="789" y="494"/>
                  </a:lnTo>
                  <a:lnTo>
                    <a:pt x="791" y="494"/>
                  </a:lnTo>
                  <a:lnTo>
                    <a:pt x="793" y="494"/>
                  </a:lnTo>
                  <a:lnTo>
                    <a:pt x="793" y="492"/>
                  </a:lnTo>
                  <a:lnTo>
                    <a:pt x="792" y="491"/>
                  </a:lnTo>
                  <a:lnTo>
                    <a:pt x="793" y="488"/>
                  </a:lnTo>
                  <a:lnTo>
                    <a:pt x="793" y="489"/>
                  </a:lnTo>
                  <a:lnTo>
                    <a:pt x="794" y="489"/>
                  </a:lnTo>
                  <a:lnTo>
                    <a:pt x="795" y="489"/>
                  </a:lnTo>
                  <a:lnTo>
                    <a:pt x="797" y="489"/>
                  </a:lnTo>
                  <a:lnTo>
                    <a:pt x="799" y="489"/>
                  </a:lnTo>
                  <a:lnTo>
                    <a:pt x="799" y="488"/>
                  </a:lnTo>
                  <a:lnTo>
                    <a:pt x="799" y="486"/>
                  </a:lnTo>
                  <a:lnTo>
                    <a:pt x="795" y="486"/>
                  </a:lnTo>
                  <a:lnTo>
                    <a:pt x="794" y="486"/>
                  </a:lnTo>
                  <a:lnTo>
                    <a:pt x="794" y="485"/>
                  </a:lnTo>
                  <a:lnTo>
                    <a:pt x="792" y="485"/>
                  </a:lnTo>
                  <a:lnTo>
                    <a:pt x="791" y="485"/>
                  </a:lnTo>
                  <a:lnTo>
                    <a:pt x="788" y="485"/>
                  </a:lnTo>
                  <a:lnTo>
                    <a:pt x="786" y="483"/>
                  </a:lnTo>
                  <a:lnTo>
                    <a:pt x="785" y="483"/>
                  </a:lnTo>
                  <a:lnTo>
                    <a:pt x="782" y="482"/>
                  </a:lnTo>
                  <a:lnTo>
                    <a:pt x="779" y="481"/>
                  </a:lnTo>
                  <a:lnTo>
                    <a:pt x="781" y="479"/>
                  </a:lnTo>
                  <a:lnTo>
                    <a:pt x="777" y="479"/>
                  </a:lnTo>
                  <a:lnTo>
                    <a:pt x="776" y="476"/>
                  </a:lnTo>
                  <a:lnTo>
                    <a:pt x="777" y="474"/>
                  </a:lnTo>
                  <a:lnTo>
                    <a:pt x="776" y="473"/>
                  </a:lnTo>
                  <a:lnTo>
                    <a:pt x="775" y="474"/>
                  </a:lnTo>
                  <a:lnTo>
                    <a:pt x="771" y="475"/>
                  </a:lnTo>
                  <a:lnTo>
                    <a:pt x="770" y="475"/>
                  </a:lnTo>
                  <a:lnTo>
                    <a:pt x="768" y="476"/>
                  </a:lnTo>
                  <a:lnTo>
                    <a:pt x="767" y="475"/>
                  </a:lnTo>
                  <a:lnTo>
                    <a:pt x="764" y="474"/>
                  </a:lnTo>
                  <a:lnTo>
                    <a:pt x="764" y="473"/>
                  </a:lnTo>
                  <a:lnTo>
                    <a:pt x="764" y="470"/>
                  </a:lnTo>
                  <a:lnTo>
                    <a:pt x="761" y="471"/>
                  </a:lnTo>
                  <a:lnTo>
                    <a:pt x="759" y="470"/>
                  </a:lnTo>
                  <a:lnTo>
                    <a:pt x="761" y="469"/>
                  </a:lnTo>
                  <a:lnTo>
                    <a:pt x="758" y="468"/>
                  </a:lnTo>
                  <a:lnTo>
                    <a:pt x="756" y="467"/>
                  </a:lnTo>
                  <a:lnTo>
                    <a:pt x="753" y="467"/>
                  </a:lnTo>
                  <a:lnTo>
                    <a:pt x="752" y="467"/>
                  </a:lnTo>
                  <a:lnTo>
                    <a:pt x="751" y="465"/>
                  </a:lnTo>
                  <a:lnTo>
                    <a:pt x="750" y="465"/>
                  </a:lnTo>
                  <a:lnTo>
                    <a:pt x="749" y="464"/>
                  </a:lnTo>
                  <a:lnTo>
                    <a:pt x="747" y="465"/>
                  </a:lnTo>
                  <a:lnTo>
                    <a:pt x="746" y="463"/>
                  </a:lnTo>
                  <a:lnTo>
                    <a:pt x="746" y="462"/>
                  </a:lnTo>
                  <a:lnTo>
                    <a:pt x="745" y="462"/>
                  </a:lnTo>
                  <a:lnTo>
                    <a:pt x="745" y="459"/>
                  </a:lnTo>
                  <a:lnTo>
                    <a:pt x="743" y="459"/>
                  </a:lnTo>
                  <a:lnTo>
                    <a:pt x="744" y="457"/>
                  </a:lnTo>
                  <a:lnTo>
                    <a:pt x="744" y="455"/>
                  </a:lnTo>
                  <a:lnTo>
                    <a:pt x="745" y="455"/>
                  </a:lnTo>
                  <a:lnTo>
                    <a:pt x="743" y="455"/>
                  </a:lnTo>
                  <a:lnTo>
                    <a:pt x="743" y="453"/>
                  </a:lnTo>
                  <a:lnTo>
                    <a:pt x="741" y="452"/>
                  </a:lnTo>
                  <a:lnTo>
                    <a:pt x="741" y="451"/>
                  </a:lnTo>
                  <a:lnTo>
                    <a:pt x="741" y="450"/>
                  </a:lnTo>
                  <a:lnTo>
                    <a:pt x="740" y="450"/>
                  </a:lnTo>
                  <a:lnTo>
                    <a:pt x="739" y="449"/>
                  </a:lnTo>
                  <a:lnTo>
                    <a:pt x="736" y="446"/>
                  </a:lnTo>
                  <a:lnTo>
                    <a:pt x="736" y="449"/>
                  </a:lnTo>
                  <a:lnTo>
                    <a:pt x="736" y="450"/>
                  </a:lnTo>
                  <a:lnTo>
                    <a:pt x="736" y="451"/>
                  </a:lnTo>
                  <a:lnTo>
                    <a:pt x="736" y="453"/>
                  </a:lnTo>
                  <a:lnTo>
                    <a:pt x="735" y="453"/>
                  </a:lnTo>
                  <a:lnTo>
                    <a:pt x="732" y="453"/>
                  </a:lnTo>
                  <a:lnTo>
                    <a:pt x="730" y="455"/>
                  </a:lnTo>
                  <a:lnTo>
                    <a:pt x="730" y="457"/>
                  </a:lnTo>
                  <a:lnTo>
                    <a:pt x="732" y="458"/>
                  </a:lnTo>
                  <a:lnTo>
                    <a:pt x="733" y="458"/>
                  </a:lnTo>
                  <a:lnTo>
                    <a:pt x="734" y="457"/>
                  </a:lnTo>
                  <a:lnTo>
                    <a:pt x="735" y="458"/>
                  </a:lnTo>
                  <a:lnTo>
                    <a:pt x="736" y="457"/>
                  </a:lnTo>
                  <a:lnTo>
                    <a:pt x="739" y="457"/>
                  </a:lnTo>
                  <a:lnTo>
                    <a:pt x="739" y="462"/>
                  </a:lnTo>
                  <a:lnTo>
                    <a:pt x="740" y="462"/>
                  </a:lnTo>
                  <a:lnTo>
                    <a:pt x="740" y="464"/>
                  </a:lnTo>
                  <a:lnTo>
                    <a:pt x="741" y="467"/>
                  </a:lnTo>
                  <a:lnTo>
                    <a:pt x="741" y="468"/>
                  </a:lnTo>
                  <a:lnTo>
                    <a:pt x="744" y="469"/>
                  </a:lnTo>
                  <a:lnTo>
                    <a:pt x="743" y="471"/>
                  </a:lnTo>
                  <a:lnTo>
                    <a:pt x="739" y="470"/>
                  </a:lnTo>
                  <a:lnTo>
                    <a:pt x="738" y="470"/>
                  </a:lnTo>
                  <a:lnTo>
                    <a:pt x="738" y="469"/>
                  </a:lnTo>
                  <a:lnTo>
                    <a:pt x="736" y="469"/>
                  </a:lnTo>
                  <a:lnTo>
                    <a:pt x="735" y="468"/>
                  </a:lnTo>
                  <a:lnTo>
                    <a:pt x="734" y="468"/>
                  </a:lnTo>
                  <a:lnTo>
                    <a:pt x="733" y="467"/>
                  </a:lnTo>
                  <a:lnTo>
                    <a:pt x="730" y="465"/>
                  </a:lnTo>
                  <a:lnTo>
                    <a:pt x="730" y="463"/>
                  </a:lnTo>
                  <a:lnTo>
                    <a:pt x="729" y="464"/>
                  </a:lnTo>
                  <a:lnTo>
                    <a:pt x="728" y="464"/>
                  </a:lnTo>
                  <a:lnTo>
                    <a:pt x="726" y="465"/>
                  </a:lnTo>
                  <a:lnTo>
                    <a:pt x="724" y="464"/>
                  </a:lnTo>
                  <a:lnTo>
                    <a:pt x="723" y="462"/>
                  </a:lnTo>
                  <a:lnTo>
                    <a:pt x="721" y="462"/>
                  </a:lnTo>
                  <a:lnTo>
                    <a:pt x="718" y="462"/>
                  </a:lnTo>
                  <a:lnTo>
                    <a:pt x="717" y="461"/>
                  </a:lnTo>
                  <a:lnTo>
                    <a:pt x="716" y="462"/>
                  </a:lnTo>
                  <a:lnTo>
                    <a:pt x="715" y="461"/>
                  </a:lnTo>
                  <a:lnTo>
                    <a:pt x="712" y="459"/>
                  </a:lnTo>
                  <a:lnTo>
                    <a:pt x="710" y="459"/>
                  </a:lnTo>
                  <a:lnTo>
                    <a:pt x="708" y="459"/>
                  </a:lnTo>
                  <a:lnTo>
                    <a:pt x="703" y="459"/>
                  </a:lnTo>
                  <a:lnTo>
                    <a:pt x="702" y="458"/>
                  </a:lnTo>
                  <a:lnTo>
                    <a:pt x="699" y="458"/>
                  </a:lnTo>
                  <a:lnTo>
                    <a:pt x="700" y="456"/>
                  </a:lnTo>
                  <a:lnTo>
                    <a:pt x="700" y="455"/>
                  </a:lnTo>
                  <a:lnTo>
                    <a:pt x="699" y="455"/>
                  </a:lnTo>
                  <a:lnTo>
                    <a:pt x="697" y="455"/>
                  </a:lnTo>
                  <a:lnTo>
                    <a:pt x="696" y="455"/>
                  </a:lnTo>
                  <a:lnTo>
                    <a:pt x="694" y="453"/>
                  </a:lnTo>
                  <a:lnTo>
                    <a:pt x="691" y="451"/>
                  </a:lnTo>
                  <a:lnTo>
                    <a:pt x="688" y="449"/>
                  </a:lnTo>
                  <a:lnTo>
                    <a:pt x="688" y="447"/>
                  </a:lnTo>
                  <a:lnTo>
                    <a:pt x="688" y="446"/>
                  </a:lnTo>
                  <a:lnTo>
                    <a:pt x="690" y="444"/>
                  </a:lnTo>
                  <a:lnTo>
                    <a:pt x="693" y="440"/>
                  </a:lnTo>
                  <a:lnTo>
                    <a:pt x="693" y="438"/>
                  </a:lnTo>
                  <a:lnTo>
                    <a:pt x="692" y="437"/>
                  </a:lnTo>
                  <a:lnTo>
                    <a:pt x="692" y="438"/>
                  </a:lnTo>
                  <a:lnTo>
                    <a:pt x="691" y="439"/>
                  </a:lnTo>
                  <a:lnTo>
                    <a:pt x="691" y="440"/>
                  </a:lnTo>
                  <a:lnTo>
                    <a:pt x="690" y="443"/>
                  </a:lnTo>
                  <a:lnTo>
                    <a:pt x="687" y="445"/>
                  </a:lnTo>
                  <a:lnTo>
                    <a:pt x="686" y="444"/>
                  </a:lnTo>
                  <a:lnTo>
                    <a:pt x="684" y="443"/>
                  </a:lnTo>
                  <a:lnTo>
                    <a:pt x="682" y="443"/>
                  </a:lnTo>
                  <a:lnTo>
                    <a:pt x="681" y="441"/>
                  </a:lnTo>
                  <a:lnTo>
                    <a:pt x="680" y="441"/>
                  </a:lnTo>
                  <a:lnTo>
                    <a:pt x="678" y="443"/>
                  </a:lnTo>
                  <a:lnTo>
                    <a:pt x="676" y="445"/>
                  </a:lnTo>
                  <a:lnTo>
                    <a:pt x="676" y="446"/>
                  </a:lnTo>
                  <a:lnTo>
                    <a:pt x="675" y="447"/>
                  </a:lnTo>
                  <a:lnTo>
                    <a:pt x="671" y="447"/>
                  </a:lnTo>
                  <a:lnTo>
                    <a:pt x="670" y="447"/>
                  </a:lnTo>
                  <a:lnTo>
                    <a:pt x="669" y="446"/>
                  </a:lnTo>
                  <a:lnTo>
                    <a:pt x="667" y="447"/>
                  </a:lnTo>
                  <a:lnTo>
                    <a:pt x="665" y="449"/>
                  </a:lnTo>
                  <a:lnTo>
                    <a:pt x="665" y="452"/>
                  </a:lnTo>
                  <a:lnTo>
                    <a:pt x="667" y="455"/>
                  </a:lnTo>
                  <a:lnTo>
                    <a:pt x="667" y="453"/>
                  </a:lnTo>
                  <a:lnTo>
                    <a:pt x="669" y="452"/>
                  </a:lnTo>
                  <a:lnTo>
                    <a:pt x="670" y="452"/>
                  </a:lnTo>
                  <a:lnTo>
                    <a:pt x="670" y="453"/>
                  </a:lnTo>
                  <a:lnTo>
                    <a:pt x="671" y="455"/>
                  </a:lnTo>
                  <a:lnTo>
                    <a:pt x="673" y="456"/>
                  </a:lnTo>
                  <a:lnTo>
                    <a:pt x="674" y="452"/>
                  </a:lnTo>
                  <a:lnTo>
                    <a:pt x="675" y="452"/>
                  </a:lnTo>
                  <a:lnTo>
                    <a:pt x="676" y="451"/>
                  </a:lnTo>
                  <a:lnTo>
                    <a:pt x="679" y="452"/>
                  </a:lnTo>
                  <a:lnTo>
                    <a:pt x="679" y="451"/>
                  </a:lnTo>
                  <a:lnTo>
                    <a:pt x="680" y="452"/>
                  </a:lnTo>
                  <a:lnTo>
                    <a:pt x="680" y="453"/>
                  </a:lnTo>
                  <a:lnTo>
                    <a:pt x="681" y="453"/>
                  </a:lnTo>
                  <a:lnTo>
                    <a:pt x="680" y="453"/>
                  </a:lnTo>
                  <a:lnTo>
                    <a:pt x="679" y="455"/>
                  </a:lnTo>
                  <a:lnTo>
                    <a:pt x="679" y="456"/>
                  </a:lnTo>
                  <a:lnTo>
                    <a:pt x="679" y="458"/>
                  </a:lnTo>
                  <a:lnTo>
                    <a:pt x="680" y="462"/>
                  </a:lnTo>
                  <a:lnTo>
                    <a:pt x="680" y="463"/>
                  </a:lnTo>
                  <a:lnTo>
                    <a:pt x="678" y="462"/>
                  </a:lnTo>
                  <a:lnTo>
                    <a:pt x="676" y="462"/>
                  </a:lnTo>
                  <a:lnTo>
                    <a:pt x="675" y="462"/>
                  </a:lnTo>
                  <a:lnTo>
                    <a:pt x="674" y="461"/>
                  </a:lnTo>
                  <a:lnTo>
                    <a:pt x="673" y="459"/>
                  </a:lnTo>
                  <a:lnTo>
                    <a:pt x="673" y="458"/>
                  </a:lnTo>
                  <a:lnTo>
                    <a:pt x="671" y="458"/>
                  </a:lnTo>
                  <a:lnTo>
                    <a:pt x="670" y="462"/>
                  </a:lnTo>
                  <a:lnTo>
                    <a:pt x="671" y="463"/>
                  </a:lnTo>
                  <a:lnTo>
                    <a:pt x="674" y="463"/>
                  </a:lnTo>
                  <a:lnTo>
                    <a:pt x="678" y="463"/>
                  </a:lnTo>
                  <a:lnTo>
                    <a:pt x="678" y="467"/>
                  </a:lnTo>
                  <a:lnTo>
                    <a:pt x="680" y="468"/>
                  </a:lnTo>
                  <a:lnTo>
                    <a:pt x="682" y="468"/>
                  </a:lnTo>
                  <a:lnTo>
                    <a:pt x="682" y="465"/>
                  </a:lnTo>
                  <a:lnTo>
                    <a:pt x="684" y="467"/>
                  </a:lnTo>
                  <a:lnTo>
                    <a:pt x="685" y="467"/>
                  </a:lnTo>
                  <a:lnTo>
                    <a:pt x="688" y="464"/>
                  </a:lnTo>
                  <a:lnTo>
                    <a:pt x="688" y="463"/>
                  </a:lnTo>
                  <a:lnTo>
                    <a:pt x="690" y="463"/>
                  </a:lnTo>
                  <a:lnTo>
                    <a:pt x="693" y="464"/>
                  </a:lnTo>
                  <a:lnTo>
                    <a:pt x="694" y="464"/>
                  </a:lnTo>
                  <a:lnTo>
                    <a:pt x="694" y="465"/>
                  </a:lnTo>
                  <a:lnTo>
                    <a:pt x="693" y="467"/>
                  </a:lnTo>
                  <a:lnTo>
                    <a:pt x="693" y="468"/>
                  </a:lnTo>
                  <a:lnTo>
                    <a:pt x="693" y="470"/>
                  </a:lnTo>
                  <a:lnTo>
                    <a:pt x="694" y="471"/>
                  </a:lnTo>
                  <a:lnTo>
                    <a:pt x="697" y="473"/>
                  </a:lnTo>
                  <a:lnTo>
                    <a:pt x="698" y="474"/>
                  </a:lnTo>
                  <a:lnTo>
                    <a:pt x="698" y="475"/>
                  </a:lnTo>
                  <a:lnTo>
                    <a:pt x="697" y="476"/>
                  </a:lnTo>
                  <a:lnTo>
                    <a:pt x="698" y="476"/>
                  </a:lnTo>
                  <a:lnTo>
                    <a:pt x="697" y="477"/>
                  </a:lnTo>
                  <a:lnTo>
                    <a:pt x="697" y="479"/>
                  </a:lnTo>
                  <a:lnTo>
                    <a:pt x="697" y="480"/>
                  </a:lnTo>
                  <a:lnTo>
                    <a:pt x="699" y="481"/>
                  </a:lnTo>
                  <a:lnTo>
                    <a:pt x="700" y="480"/>
                  </a:lnTo>
                  <a:lnTo>
                    <a:pt x="702" y="481"/>
                  </a:lnTo>
                  <a:lnTo>
                    <a:pt x="703" y="482"/>
                  </a:lnTo>
                  <a:lnTo>
                    <a:pt x="704" y="482"/>
                  </a:lnTo>
                  <a:lnTo>
                    <a:pt x="704" y="483"/>
                  </a:lnTo>
                  <a:lnTo>
                    <a:pt x="703" y="485"/>
                  </a:lnTo>
                  <a:lnTo>
                    <a:pt x="705" y="485"/>
                  </a:lnTo>
                  <a:lnTo>
                    <a:pt x="709" y="485"/>
                  </a:lnTo>
                  <a:lnTo>
                    <a:pt x="712" y="485"/>
                  </a:lnTo>
                  <a:lnTo>
                    <a:pt x="712" y="486"/>
                  </a:lnTo>
                  <a:lnTo>
                    <a:pt x="714" y="487"/>
                  </a:lnTo>
                  <a:lnTo>
                    <a:pt x="714" y="488"/>
                  </a:lnTo>
                  <a:lnTo>
                    <a:pt x="716" y="488"/>
                  </a:lnTo>
                  <a:lnTo>
                    <a:pt x="718" y="491"/>
                  </a:lnTo>
                  <a:lnTo>
                    <a:pt x="720" y="492"/>
                  </a:lnTo>
                  <a:lnTo>
                    <a:pt x="721" y="492"/>
                  </a:lnTo>
                  <a:lnTo>
                    <a:pt x="721" y="491"/>
                  </a:lnTo>
                  <a:lnTo>
                    <a:pt x="724" y="488"/>
                  </a:lnTo>
                  <a:lnTo>
                    <a:pt x="727" y="487"/>
                  </a:lnTo>
                  <a:lnTo>
                    <a:pt x="728" y="487"/>
                  </a:lnTo>
                  <a:lnTo>
                    <a:pt x="730" y="488"/>
                  </a:lnTo>
                  <a:lnTo>
                    <a:pt x="732" y="488"/>
                  </a:lnTo>
                  <a:lnTo>
                    <a:pt x="733" y="488"/>
                  </a:lnTo>
                  <a:lnTo>
                    <a:pt x="735" y="488"/>
                  </a:lnTo>
                  <a:lnTo>
                    <a:pt x="738" y="488"/>
                  </a:lnTo>
                  <a:lnTo>
                    <a:pt x="739" y="488"/>
                  </a:lnTo>
                  <a:lnTo>
                    <a:pt x="738" y="487"/>
                  </a:lnTo>
                  <a:lnTo>
                    <a:pt x="736" y="487"/>
                  </a:lnTo>
                  <a:lnTo>
                    <a:pt x="736" y="486"/>
                  </a:lnTo>
                  <a:lnTo>
                    <a:pt x="736" y="485"/>
                  </a:lnTo>
                  <a:lnTo>
                    <a:pt x="739" y="485"/>
                  </a:lnTo>
                  <a:lnTo>
                    <a:pt x="739" y="486"/>
                  </a:lnTo>
                  <a:lnTo>
                    <a:pt x="740" y="486"/>
                  </a:lnTo>
                  <a:lnTo>
                    <a:pt x="744" y="486"/>
                  </a:lnTo>
                  <a:lnTo>
                    <a:pt x="743" y="487"/>
                  </a:lnTo>
                  <a:lnTo>
                    <a:pt x="746" y="488"/>
                  </a:lnTo>
                  <a:lnTo>
                    <a:pt x="749" y="489"/>
                  </a:lnTo>
                  <a:lnTo>
                    <a:pt x="750" y="489"/>
                  </a:lnTo>
                  <a:lnTo>
                    <a:pt x="752" y="491"/>
                  </a:lnTo>
                  <a:lnTo>
                    <a:pt x="752" y="492"/>
                  </a:lnTo>
                  <a:lnTo>
                    <a:pt x="755" y="492"/>
                  </a:lnTo>
                  <a:lnTo>
                    <a:pt x="755" y="493"/>
                  </a:lnTo>
                  <a:lnTo>
                    <a:pt x="756" y="493"/>
                  </a:lnTo>
                  <a:lnTo>
                    <a:pt x="758" y="494"/>
                  </a:lnTo>
                  <a:lnTo>
                    <a:pt x="758" y="497"/>
                  </a:lnTo>
                  <a:lnTo>
                    <a:pt x="756" y="497"/>
                  </a:lnTo>
                  <a:lnTo>
                    <a:pt x="757" y="498"/>
                  </a:lnTo>
                  <a:lnTo>
                    <a:pt x="756" y="500"/>
                  </a:lnTo>
                  <a:lnTo>
                    <a:pt x="756" y="502"/>
                  </a:lnTo>
                  <a:lnTo>
                    <a:pt x="757" y="502"/>
                  </a:lnTo>
                  <a:lnTo>
                    <a:pt x="757" y="505"/>
                  </a:lnTo>
                  <a:lnTo>
                    <a:pt x="753" y="506"/>
                  </a:lnTo>
                  <a:lnTo>
                    <a:pt x="752" y="506"/>
                  </a:lnTo>
                  <a:lnTo>
                    <a:pt x="751" y="506"/>
                  </a:lnTo>
                  <a:lnTo>
                    <a:pt x="751" y="508"/>
                  </a:lnTo>
                  <a:lnTo>
                    <a:pt x="751" y="510"/>
                  </a:lnTo>
                  <a:lnTo>
                    <a:pt x="752" y="511"/>
                  </a:lnTo>
                  <a:lnTo>
                    <a:pt x="753" y="510"/>
                  </a:lnTo>
                  <a:lnTo>
                    <a:pt x="755" y="508"/>
                  </a:lnTo>
                  <a:lnTo>
                    <a:pt x="757" y="506"/>
                  </a:lnTo>
                  <a:lnTo>
                    <a:pt x="758" y="505"/>
                  </a:lnTo>
                  <a:lnTo>
                    <a:pt x="761" y="504"/>
                  </a:lnTo>
                  <a:lnTo>
                    <a:pt x="763" y="504"/>
                  </a:lnTo>
                  <a:lnTo>
                    <a:pt x="764" y="503"/>
                  </a:lnTo>
                  <a:lnTo>
                    <a:pt x="765" y="504"/>
                  </a:lnTo>
                  <a:lnTo>
                    <a:pt x="765" y="505"/>
                  </a:lnTo>
                  <a:lnTo>
                    <a:pt x="767" y="505"/>
                  </a:lnTo>
                  <a:lnTo>
                    <a:pt x="767" y="506"/>
                  </a:lnTo>
                  <a:lnTo>
                    <a:pt x="769" y="506"/>
                  </a:lnTo>
                  <a:lnTo>
                    <a:pt x="769" y="508"/>
                  </a:lnTo>
                  <a:lnTo>
                    <a:pt x="770" y="510"/>
                  </a:lnTo>
                  <a:lnTo>
                    <a:pt x="770" y="512"/>
                  </a:lnTo>
                  <a:lnTo>
                    <a:pt x="771" y="514"/>
                  </a:lnTo>
                  <a:lnTo>
                    <a:pt x="773" y="514"/>
                  </a:lnTo>
                  <a:lnTo>
                    <a:pt x="774" y="515"/>
                  </a:lnTo>
                  <a:lnTo>
                    <a:pt x="775" y="516"/>
                  </a:lnTo>
                  <a:lnTo>
                    <a:pt x="777" y="518"/>
                  </a:lnTo>
                  <a:lnTo>
                    <a:pt x="779" y="520"/>
                  </a:lnTo>
                  <a:lnTo>
                    <a:pt x="780" y="520"/>
                  </a:lnTo>
                  <a:lnTo>
                    <a:pt x="780" y="521"/>
                  </a:lnTo>
                  <a:lnTo>
                    <a:pt x="782" y="520"/>
                  </a:lnTo>
                  <a:lnTo>
                    <a:pt x="783" y="518"/>
                  </a:lnTo>
                  <a:lnTo>
                    <a:pt x="786" y="517"/>
                  </a:lnTo>
                  <a:lnTo>
                    <a:pt x="786" y="520"/>
                  </a:lnTo>
                  <a:lnTo>
                    <a:pt x="787" y="520"/>
                  </a:lnTo>
                  <a:lnTo>
                    <a:pt x="788" y="520"/>
                  </a:lnTo>
                  <a:lnTo>
                    <a:pt x="789" y="520"/>
                  </a:lnTo>
                  <a:lnTo>
                    <a:pt x="791" y="520"/>
                  </a:lnTo>
                  <a:lnTo>
                    <a:pt x="792" y="521"/>
                  </a:lnTo>
                  <a:lnTo>
                    <a:pt x="792" y="522"/>
                  </a:lnTo>
                  <a:lnTo>
                    <a:pt x="791" y="522"/>
                  </a:lnTo>
                  <a:lnTo>
                    <a:pt x="792" y="527"/>
                  </a:lnTo>
                  <a:lnTo>
                    <a:pt x="793" y="528"/>
                  </a:lnTo>
                  <a:lnTo>
                    <a:pt x="792" y="529"/>
                  </a:lnTo>
                  <a:lnTo>
                    <a:pt x="791" y="530"/>
                  </a:lnTo>
                  <a:lnTo>
                    <a:pt x="791" y="532"/>
                  </a:lnTo>
                  <a:lnTo>
                    <a:pt x="792" y="532"/>
                  </a:lnTo>
                  <a:lnTo>
                    <a:pt x="793" y="534"/>
                  </a:lnTo>
                  <a:lnTo>
                    <a:pt x="793" y="539"/>
                  </a:lnTo>
                  <a:lnTo>
                    <a:pt x="792" y="540"/>
                  </a:lnTo>
                  <a:lnTo>
                    <a:pt x="791" y="540"/>
                  </a:lnTo>
                  <a:lnTo>
                    <a:pt x="792" y="544"/>
                  </a:lnTo>
                  <a:lnTo>
                    <a:pt x="793" y="545"/>
                  </a:lnTo>
                  <a:lnTo>
                    <a:pt x="794" y="546"/>
                  </a:lnTo>
                  <a:lnTo>
                    <a:pt x="795" y="546"/>
                  </a:lnTo>
                  <a:lnTo>
                    <a:pt x="798" y="546"/>
                  </a:lnTo>
                  <a:lnTo>
                    <a:pt x="800" y="546"/>
                  </a:lnTo>
                  <a:lnTo>
                    <a:pt x="803" y="546"/>
                  </a:lnTo>
                  <a:lnTo>
                    <a:pt x="805" y="546"/>
                  </a:lnTo>
                  <a:lnTo>
                    <a:pt x="808" y="547"/>
                  </a:lnTo>
                  <a:lnTo>
                    <a:pt x="809" y="548"/>
                  </a:lnTo>
                  <a:lnTo>
                    <a:pt x="809" y="550"/>
                  </a:lnTo>
                  <a:lnTo>
                    <a:pt x="809" y="551"/>
                  </a:lnTo>
                  <a:lnTo>
                    <a:pt x="810" y="553"/>
                  </a:lnTo>
                  <a:lnTo>
                    <a:pt x="816" y="552"/>
                  </a:lnTo>
                  <a:lnTo>
                    <a:pt x="818" y="553"/>
                  </a:lnTo>
                  <a:lnTo>
                    <a:pt x="820" y="554"/>
                  </a:lnTo>
                  <a:lnTo>
                    <a:pt x="821" y="556"/>
                  </a:lnTo>
                  <a:lnTo>
                    <a:pt x="821" y="557"/>
                  </a:lnTo>
                  <a:lnTo>
                    <a:pt x="821" y="559"/>
                  </a:lnTo>
                  <a:lnTo>
                    <a:pt x="820" y="559"/>
                  </a:lnTo>
                  <a:lnTo>
                    <a:pt x="818" y="560"/>
                  </a:lnTo>
                  <a:lnTo>
                    <a:pt x="818" y="562"/>
                  </a:lnTo>
                  <a:lnTo>
                    <a:pt x="820" y="564"/>
                  </a:lnTo>
                  <a:lnTo>
                    <a:pt x="822" y="564"/>
                  </a:lnTo>
                  <a:lnTo>
                    <a:pt x="823" y="564"/>
                  </a:lnTo>
                  <a:lnTo>
                    <a:pt x="823" y="565"/>
                  </a:lnTo>
                  <a:lnTo>
                    <a:pt x="823" y="566"/>
                  </a:lnTo>
                  <a:lnTo>
                    <a:pt x="824" y="568"/>
                  </a:lnTo>
                  <a:lnTo>
                    <a:pt x="826" y="569"/>
                  </a:lnTo>
                  <a:lnTo>
                    <a:pt x="827" y="569"/>
                  </a:lnTo>
                  <a:lnTo>
                    <a:pt x="829" y="569"/>
                  </a:lnTo>
                  <a:lnTo>
                    <a:pt x="832" y="570"/>
                  </a:lnTo>
                  <a:lnTo>
                    <a:pt x="833" y="572"/>
                  </a:lnTo>
                  <a:lnTo>
                    <a:pt x="833" y="575"/>
                  </a:lnTo>
                  <a:lnTo>
                    <a:pt x="834" y="575"/>
                  </a:lnTo>
                  <a:lnTo>
                    <a:pt x="836" y="575"/>
                  </a:lnTo>
                  <a:lnTo>
                    <a:pt x="836" y="576"/>
                  </a:lnTo>
                  <a:lnTo>
                    <a:pt x="839" y="576"/>
                  </a:lnTo>
                  <a:lnTo>
                    <a:pt x="839" y="577"/>
                  </a:lnTo>
                  <a:lnTo>
                    <a:pt x="838" y="578"/>
                  </a:lnTo>
                  <a:lnTo>
                    <a:pt x="838" y="580"/>
                  </a:lnTo>
                  <a:lnTo>
                    <a:pt x="838" y="581"/>
                  </a:lnTo>
                  <a:lnTo>
                    <a:pt x="838" y="584"/>
                  </a:lnTo>
                  <a:lnTo>
                    <a:pt x="839" y="588"/>
                  </a:lnTo>
                  <a:lnTo>
                    <a:pt x="841" y="588"/>
                  </a:lnTo>
                  <a:lnTo>
                    <a:pt x="841" y="589"/>
                  </a:lnTo>
                  <a:lnTo>
                    <a:pt x="840" y="589"/>
                  </a:lnTo>
                  <a:lnTo>
                    <a:pt x="838" y="590"/>
                  </a:lnTo>
                  <a:lnTo>
                    <a:pt x="840" y="590"/>
                  </a:lnTo>
                  <a:lnTo>
                    <a:pt x="841" y="593"/>
                  </a:lnTo>
                  <a:lnTo>
                    <a:pt x="844" y="595"/>
                  </a:lnTo>
                  <a:lnTo>
                    <a:pt x="845" y="598"/>
                  </a:lnTo>
                  <a:lnTo>
                    <a:pt x="844" y="599"/>
                  </a:lnTo>
                  <a:lnTo>
                    <a:pt x="842" y="600"/>
                  </a:lnTo>
                  <a:lnTo>
                    <a:pt x="842" y="603"/>
                  </a:lnTo>
                  <a:lnTo>
                    <a:pt x="842" y="606"/>
                  </a:lnTo>
                  <a:lnTo>
                    <a:pt x="844" y="605"/>
                  </a:lnTo>
                  <a:lnTo>
                    <a:pt x="847" y="605"/>
                  </a:lnTo>
                  <a:lnTo>
                    <a:pt x="848" y="606"/>
                  </a:lnTo>
                  <a:lnTo>
                    <a:pt x="850" y="607"/>
                  </a:lnTo>
                  <a:lnTo>
                    <a:pt x="851" y="611"/>
                  </a:lnTo>
                  <a:lnTo>
                    <a:pt x="851" y="613"/>
                  </a:lnTo>
                  <a:lnTo>
                    <a:pt x="854" y="613"/>
                  </a:lnTo>
                  <a:lnTo>
                    <a:pt x="854" y="612"/>
                  </a:lnTo>
                  <a:lnTo>
                    <a:pt x="856" y="613"/>
                  </a:lnTo>
                  <a:lnTo>
                    <a:pt x="857" y="615"/>
                  </a:lnTo>
                  <a:lnTo>
                    <a:pt x="859" y="615"/>
                  </a:lnTo>
                  <a:lnTo>
                    <a:pt x="858" y="617"/>
                  </a:lnTo>
                  <a:lnTo>
                    <a:pt x="858" y="618"/>
                  </a:lnTo>
                  <a:lnTo>
                    <a:pt x="858" y="619"/>
                  </a:lnTo>
                  <a:lnTo>
                    <a:pt x="858" y="621"/>
                  </a:lnTo>
                  <a:lnTo>
                    <a:pt x="857" y="621"/>
                  </a:lnTo>
                  <a:lnTo>
                    <a:pt x="856" y="621"/>
                  </a:lnTo>
                  <a:lnTo>
                    <a:pt x="856" y="622"/>
                  </a:lnTo>
                  <a:lnTo>
                    <a:pt x="858" y="623"/>
                  </a:lnTo>
                  <a:lnTo>
                    <a:pt x="858" y="622"/>
                  </a:lnTo>
                  <a:lnTo>
                    <a:pt x="861" y="623"/>
                  </a:lnTo>
                  <a:lnTo>
                    <a:pt x="862" y="623"/>
                  </a:lnTo>
                  <a:lnTo>
                    <a:pt x="863" y="624"/>
                  </a:lnTo>
                  <a:lnTo>
                    <a:pt x="863" y="625"/>
                  </a:lnTo>
                  <a:lnTo>
                    <a:pt x="862" y="625"/>
                  </a:lnTo>
                  <a:lnTo>
                    <a:pt x="862" y="628"/>
                  </a:lnTo>
                  <a:lnTo>
                    <a:pt x="863" y="628"/>
                  </a:lnTo>
                  <a:lnTo>
                    <a:pt x="864" y="629"/>
                  </a:lnTo>
                  <a:lnTo>
                    <a:pt x="865" y="630"/>
                  </a:lnTo>
                  <a:lnTo>
                    <a:pt x="867" y="631"/>
                  </a:lnTo>
                  <a:lnTo>
                    <a:pt x="867" y="630"/>
                  </a:lnTo>
                  <a:lnTo>
                    <a:pt x="869" y="631"/>
                  </a:lnTo>
                  <a:lnTo>
                    <a:pt x="871" y="633"/>
                  </a:lnTo>
                  <a:lnTo>
                    <a:pt x="871" y="634"/>
                  </a:lnTo>
                  <a:lnTo>
                    <a:pt x="870" y="635"/>
                  </a:lnTo>
                  <a:lnTo>
                    <a:pt x="869" y="635"/>
                  </a:lnTo>
                  <a:lnTo>
                    <a:pt x="869" y="636"/>
                  </a:lnTo>
                  <a:lnTo>
                    <a:pt x="871" y="639"/>
                  </a:lnTo>
                  <a:lnTo>
                    <a:pt x="873" y="640"/>
                  </a:lnTo>
                  <a:lnTo>
                    <a:pt x="875" y="641"/>
                  </a:lnTo>
                  <a:lnTo>
                    <a:pt x="876" y="642"/>
                  </a:lnTo>
                  <a:lnTo>
                    <a:pt x="877" y="641"/>
                  </a:lnTo>
                  <a:lnTo>
                    <a:pt x="879" y="641"/>
                  </a:lnTo>
                  <a:lnTo>
                    <a:pt x="880" y="640"/>
                  </a:lnTo>
                  <a:lnTo>
                    <a:pt x="881" y="640"/>
                  </a:lnTo>
                  <a:lnTo>
                    <a:pt x="882" y="639"/>
                  </a:lnTo>
                  <a:lnTo>
                    <a:pt x="883" y="642"/>
                  </a:lnTo>
                  <a:lnTo>
                    <a:pt x="885" y="643"/>
                  </a:lnTo>
                  <a:lnTo>
                    <a:pt x="885" y="642"/>
                  </a:lnTo>
                  <a:lnTo>
                    <a:pt x="886" y="642"/>
                  </a:lnTo>
                  <a:lnTo>
                    <a:pt x="886" y="641"/>
                  </a:lnTo>
                  <a:lnTo>
                    <a:pt x="888" y="641"/>
                  </a:lnTo>
                  <a:lnTo>
                    <a:pt x="889" y="641"/>
                  </a:lnTo>
                  <a:lnTo>
                    <a:pt x="891" y="640"/>
                  </a:lnTo>
                  <a:lnTo>
                    <a:pt x="893" y="641"/>
                  </a:lnTo>
                  <a:lnTo>
                    <a:pt x="891" y="642"/>
                  </a:lnTo>
                  <a:lnTo>
                    <a:pt x="891" y="643"/>
                  </a:lnTo>
                  <a:lnTo>
                    <a:pt x="891" y="646"/>
                  </a:lnTo>
                  <a:lnTo>
                    <a:pt x="891" y="647"/>
                  </a:lnTo>
                  <a:lnTo>
                    <a:pt x="888" y="647"/>
                  </a:lnTo>
                  <a:lnTo>
                    <a:pt x="888" y="646"/>
                  </a:lnTo>
                  <a:lnTo>
                    <a:pt x="887" y="646"/>
                  </a:lnTo>
                  <a:lnTo>
                    <a:pt x="887" y="648"/>
                  </a:lnTo>
                  <a:lnTo>
                    <a:pt x="885" y="649"/>
                  </a:lnTo>
                  <a:lnTo>
                    <a:pt x="881" y="649"/>
                  </a:lnTo>
                  <a:lnTo>
                    <a:pt x="880" y="651"/>
                  </a:lnTo>
                  <a:lnTo>
                    <a:pt x="879" y="649"/>
                  </a:lnTo>
                  <a:lnTo>
                    <a:pt x="879" y="651"/>
                  </a:lnTo>
                  <a:lnTo>
                    <a:pt x="876" y="652"/>
                  </a:lnTo>
                  <a:lnTo>
                    <a:pt x="877" y="654"/>
                  </a:lnTo>
                  <a:lnTo>
                    <a:pt x="877" y="655"/>
                  </a:lnTo>
                  <a:lnTo>
                    <a:pt x="877" y="657"/>
                  </a:lnTo>
                  <a:lnTo>
                    <a:pt x="875" y="659"/>
                  </a:lnTo>
                  <a:lnTo>
                    <a:pt x="874" y="660"/>
                  </a:lnTo>
                  <a:lnTo>
                    <a:pt x="874" y="661"/>
                  </a:lnTo>
                  <a:lnTo>
                    <a:pt x="873" y="661"/>
                  </a:lnTo>
                  <a:lnTo>
                    <a:pt x="873" y="663"/>
                  </a:lnTo>
                  <a:lnTo>
                    <a:pt x="874" y="664"/>
                  </a:lnTo>
                  <a:lnTo>
                    <a:pt x="875" y="667"/>
                  </a:lnTo>
                  <a:lnTo>
                    <a:pt x="871" y="669"/>
                  </a:lnTo>
                  <a:lnTo>
                    <a:pt x="874" y="669"/>
                  </a:lnTo>
                  <a:lnTo>
                    <a:pt x="875" y="670"/>
                  </a:lnTo>
                  <a:lnTo>
                    <a:pt x="876" y="670"/>
                  </a:lnTo>
                  <a:lnTo>
                    <a:pt x="879" y="672"/>
                  </a:lnTo>
                  <a:lnTo>
                    <a:pt x="879" y="673"/>
                  </a:lnTo>
                  <a:lnTo>
                    <a:pt x="880" y="673"/>
                  </a:lnTo>
                  <a:lnTo>
                    <a:pt x="880" y="672"/>
                  </a:lnTo>
                  <a:lnTo>
                    <a:pt x="881" y="673"/>
                  </a:lnTo>
                  <a:lnTo>
                    <a:pt x="882" y="673"/>
                  </a:lnTo>
                  <a:lnTo>
                    <a:pt x="882" y="675"/>
                  </a:lnTo>
                  <a:lnTo>
                    <a:pt x="882" y="676"/>
                  </a:lnTo>
                  <a:lnTo>
                    <a:pt x="881" y="676"/>
                  </a:lnTo>
                  <a:lnTo>
                    <a:pt x="879" y="676"/>
                  </a:lnTo>
                  <a:lnTo>
                    <a:pt x="877" y="677"/>
                  </a:lnTo>
                  <a:lnTo>
                    <a:pt x="876" y="678"/>
                  </a:lnTo>
                  <a:lnTo>
                    <a:pt x="875" y="678"/>
                  </a:lnTo>
                  <a:lnTo>
                    <a:pt x="874" y="677"/>
                  </a:lnTo>
                  <a:lnTo>
                    <a:pt x="871" y="676"/>
                  </a:lnTo>
                  <a:lnTo>
                    <a:pt x="869" y="673"/>
                  </a:lnTo>
                  <a:lnTo>
                    <a:pt x="868" y="672"/>
                  </a:lnTo>
                  <a:lnTo>
                    <a:pt x="867" y="671"/>
                  </a:lnTo>
                  <a:lnTo>
                    <a:pt x="864" y="669"/>
                  </a:lnTo>
                  <a:lnTo>
                    <a:pt x="862" y="669"/>
                  </a:lnTo>
                  <a:lnTo>
                    <a:pt x="861" y="667"/>
                  </a:lnTo>
                  <a:lnTo>
                    <a:pt x="858" y="665"/>
                  </a:lnTo>
                  <a:lnTo>
                    <a:pt x="859" y="664"/>
                  </a:lnTo>
                  <a:lnTo>
                    <a:pt x="859" y="661"/>
                  </a:lnTo>
                  <a:lnTo>
                    <a:pt x="859" y="660"/>
                  </a:lnTo>
                  <a:lnTo>
                    <a:pt x="857" y="660"/>
                  </a:lnTo>
                  <a:lnTo>
                    <a:pt x="854" y="661"/>
                  </a:lnTo>
                  <a:lnTo>
                    <a:pt x="851" y="661"/>
                  </a:lnTo>
                  <a:lnTo>
                    <a:pt x="847" y="660"/>
                  </a:lnTo>
                  <a:lnTo>
                    <a:pt x="844" y="660"/>
                  </a:lnTo>
                  <a:lnTo>
                    <a:pt x="841" y="660"/>
                  </a:lnTo>
                  <a:lnTo>
                    <a:pt x="840" y="660"/>
                  </a:lnTo>
                  <a:lnTo>
                    <a:pt x="841" y="658"/>
                  </a:lnTo>
                  <a:lnTo>
                    <a:pt x="841" y="657"/>
                  </a:lnTo>
                  <a:lnTo>
                    <a:pt x="840" y="655"/>
                  </a:lnTo>
                  <a:lnTo>
                    <a:pt x="841" y="653"/>
                  </a:lnTo>
                  <a:lnTo>
                    <a:pt x="841" y="652"/>
                  </a:lnTo>
                  <a:lnTo>
                    <a:pt x="840" y="652"/>
                  </a:lnTo>
                  <a:lnTo>
                    <a:pt x="840" y="655"/>
                  </a:lnTo>
                  <a:lnTo>
                    <a:pt x="839" y="657"/>
                  </a:lnTo>
                  <a:lnTo>
                    <a:pt x="839" y="658"/>
                  </a:lnTo>
                  <a:lnTo>
                    <a:pt x="835" y="658"/>
                  </a:lnTo>
                  <a:lnTo>
                    <a:pt x="833" y="659"/>
                  </a:lnTo>
                  <a:lnTo>
                    <a:pt x="832" y="660"/>
                  </a:lnTo>
                  <a:lnTo>
                    <a:pt x="830" y="660"/>
                  </a:lnTo>
                  <a:lnTo>
                    <a:pt x="830" y="661"/>
                  </a:lnTo>
                  <a:lnTo>
                    <a:pt x="830" y="664"/>
                  </a:lnTo>
                  <a:lnTo>
                    <a:pt x="830" y="665"/>
                  </a:lnTo>
                  <a:lnTo>
                    <a:pt x="832" y="665"/>
                  </a:lnTo>
                  <a:lnTo>
                    <a:pt x="832" y="664"/>
                  </a:lnTo>
                  <a:lnTo>
                    <a:pt x="833" y="665"/>
                  </a:lnTo>
                  <a:lnTo>
                    <a:pt x="833" y="666"/>
                  </a:lnTo>
                  <a:lnTo>
                    <a:pt x="832" y="667"/>
                  </a:lnTo>
                  <a:lnTo>
                    <a:pt x="833" y="670"/>
                  </a:lnTo>
                  <a:lnTo>
                    <a:pt x="830" y="671"/>
                  </a:lnTo>
                  <a:lnTo>
                    <a:pt x="828" y="672"/>
                  </a:lnTo>
                  <a:lnTo>
                    <a:pt x="827" y="673"/>
                  </a:lnTo>
                  <a:lnTo>
                    <a:pt x="827" y="672"/>
                  </a:lnTo>
                  <a:lnTo>
                    <a:pt x="826" y="672"/>
                  </a:lnTo>
                  <a:lnTo>
                    <a:pt x="823" y="673"/>
                  </a:lnTo>
                  <a:lnTo>
                    <a:pt x="822" y="675"/>
                  </a:lnTo>
                  <a:lnTo>
                    <a:pt x="821" y="673"/>
                  </a:lnTo>
                  <a:lnTo>
                    <a:pt x="822" y="672"/>
                  </a:lnTo>
                  <a:lnTo>
                    <a:pt x="822" y="671"/>
                  </a:lnTo>
                  <a:lnTo>
                    <a:pt x="821" y="671"/>
                  </a:lnTo>
                  <a:lnTo>
                    <a:pt x="821" y="670"/>
                  </a:lnTo>
                  <a:lnTo>
                    <a:pt x="822" y="669"/>
                  </a:lnTo>
                  <a:lnTo>
                    <a:pt x="821" y="669"/>
                  </a:lnTo>
                  <a:lnTo>
                    <a:pt x="820" y="667"/>
                  </a:lnTo>
                  <a:lnTo>
                    <a:pt x="818" y="665"/>
                  </a:lnTo>
                  <a:lnTo>
                    <a:pt x="818" y="663"/>
                  </a:lnTo>
                  <a:lnTo>
                    <a:pt x="816" y="661"/>
                  </a:lnTo>
                  <a:lnTo>
                    <a:pt x="814" y="661"/>
                  </a:lnTo>
                  <a:lnTo>
                    <a:pt x="812" y="660"/>
                  </a:lnTo>
                  <a:lnTo>
                    <a:pt x="810" y="661"/>
                  </a:lnTo>
                  <a:lnTo>
                    <a:pt x="809" y="661"/>
                  </a:lnTo>
                  <a:lnTo>
                    <a:pt x="809" y="659"/>
                  </a:lnTo>
                  <a:lnTo>
                    <a:pt x="808" y="659"/>
                  </a:lnTo>
                  <a:lnTo>
                    <a:pt x="809" y="659"/>
                  </a:lnTo>
                  <a:lnTo>
                    <a:pt x="810" y="657"/>
                  </a:lnTo>
                  <a:lnTo>
                    <a:pt x="808" y="657"/>
                  </a:lnTo>
                  <a:lnTo>
                    <a:pt x="805" y="655"/>
                  </a:lnTo>
                  <a:lnTo>
                    <a:pt x="804" y="655"/>
                  </a:lnTo>
                  <a:lnTo>
                    <a:pt x="803" y="653"/>
                  </a:lnTo>
                  <a:lnTo>
                    <a:pt x="802" y="651"/>
                  </a:lnTo>
                  <a:lnTo>
                    <a:pt x="800" y="648"/>
                  </a:lnTo>
                  <a:lnTo>
                    <a:pt x="798" y="647"/>
                  </a:lnTo>
                  <a:lnTo>
                    <a:pt x="795" y="648"/>
                  </a:lnTo>
                  <a:lnTo>
                    <a:pt x="795" y="649"/>
                  </a:lnTo>
                  <a:lnTo>
                    <a:pt x="795" y="651"/>
                  </a:lnTo>
                  <a:lnTo>
                    <a:pt x="795" y="652"/>
                  </a:lnTo>
                  <a:lnTo>
                    <a:pt x="794" y="652"/>
                  </a:lnTo>
                  <a:lnTo>
                    <a:pt x="792" y="653"/>
                  </a:lnTo>
                  <a:lnTo>
                    <a:pt x="789" y="652"/>
                  </a:lnTo>
                  <a:lnTo>
                    <a:pt x="787" y="649"/>
                  </a:lnTo>
                  <a:lnTo>
                    <a:pt x="783" y="651"/>
                  </a:lnTo>
                  <a:lnTo>
                    <a:pt x="782" y="652"/>
                  </a:lnTo>
                  <a:lnTo>
                    <a:pt x="781" y="653"/>
                  </a:lnTo>
                  <a:lnTo>
                    <a:pt x="780" y="655"/>
                  </a:lnTo>
                  <a:lnTo>
                    <a:pt x="779" y="655"/>
                  </a:lnTo>
                  <a:lnTo>
                    <a:pt x="779" y="657"/>
                  </a:lnTo>
                  <a:lnTo>
                    <a:pt x="777" y="657"/>
                  </a:lnTo>
                  <a:lnTo>
                    <a:pt x="777" y="658"/>
                  </a:lnTo>
                  <a:lnTo>
                    <a:pt x="779" y="659"/>
                  </a:lnTo>
                  <a:lnTo>
                    <a:pt x="781" y="659"/>
                  </a:lnTo>
                  <a:lnTo>
                    <a:pt x="782" y="660"/>
                  </a:lnTo>
                  <a:lnTo>
                    <a:pt x="782" y="661"/>
                  </a:lnTo>
                  <a:lnTo>
                    <a:pt x="783" y="663"/>
                  </a:lnTo>
                  <a:lnTo>
                    <a:pt x="785" y="663"/>
                  </a:lnTo>
                  <a:lnTo>
                    <a:pt x="785" y="661"/>
                  </a:lnTo>
                  <a:lnTo>
                    <a:pt x="786" y="660"/>
                  </a:lnTo>
                  <a:lnTo>
                    <a:pt x="787" y="660"/>
                  </a:lnTo>
                  <a:lnTo>
                    <a:pt x="787" y="661"/>
                  </a:lnTo>
                  <a:lnTo>
                    <a:pt x="788" y="661"/>
                  </a:lnTo>
                  <a:lnTo>
                    <a:pt x="789" y="661"/>
                  </a:lnTo>
                  <a:lnTo>
                    <a:pt x="791" y="661"/>
                  </a:lnTo>
                  <a:lnTo>
                    <a:pt x="791" y="664"/>
                  </a:lnTo>
                  <a:lnTo>
                    <a:pt x="792" y="664"/>
                  </a:lnTo>
                  <a:lnTo>
                    <a:pt x="793" y="663"/>
                  </a:lnTo>
                  <a:lnTo>
                    <a:pt x="795" y="663"/>
                  </a:lnTo>
                  <a:lnTo>
                    <a:pt x="795" y="661"/>
                  </a:lnTo>
                  <a:lnTo>
                    <a:pt x="797" y="661"/>
                  </a:lnTo>
                  <a:lnTo>
                    <a:pt x="798" y="663"/>
                  </a:lnTo>
                  <a:lnTo>
                    <a:pt x="799" y="663"/>
                  </a:lnTo>
                  <a:lnTo>
                    <a:pt x="800" y="665"/>
                  </a:lnTo>
                  <a:lnTo>
                    <a:pt x="803" y="665"/>
                  </a:lnTo>
                  <a:lnTo>
                    <a:pt x="803" y="666"/>
                  </a:lnTo>
                  <a:lnTo>
                    <a:pt x="804" y="667"/>
                  </a:lnTo>
                  <a:lnTo>
                    <a:pt x="804" y="669"/>
                  </a:lnTo>
                  <a:lnTo>
                    <a:pt x="805" y="670"/>
                  </a:lnTo>
                  <a:lnTo>
                    <a:pt x="808" y="670"/>
                  </a:lnTo>
                  <a:lnTo>
                    <a:pt x="808" y="671"/>
                  </a:lnTo>
                  <a:lnTo>
                    <a:pt x="808" y="672"/>
                  </a:lnTo>
                  <a:lnTo>
                    <a:pt x="811" y="675"/>
                  </a:lnTo>
                  <a:lnTo>
                    <a:pt x="811" y="673"/>
                  </a:lnTo>
                  <a:lnTo>
                    <a:pt x="812" y="676"/>
                  </a:lnTo>
                  <a:lnTo>
                    <a:pt x="811" y="676"/>
                  </a:lnTo>
                  <a:lnTo>
                    <a:pt x="811" y="677"/>
                  </a:lnTo>
                  <a:lnTo>
                    <a:pt x="811" y="678"/>
                  </a:lnTo>
                  <a:lnTo>
                    <a:pt x="810" y="678"/>
                  </a:lnTo>
                  <a:lnTo>
                    <a:pt x="811" y="679"/>
                  </a:lnTo>
                  <a:lnTo>
                    <a:pt x="810" y="681"/>
                  </a:lnTo>
                  <a:lnTo>
                    <a:pt x="811" y="681"/>
                  </a:lnTo>
                  <a:lnTo>
                    <a:pt x="810" y="684"/>
                  </a:lnTo>
                  <a:lnTo>
                    <a:pt x="810" y="685"/>
                  </a:lnTo>
                  <a:lnTo>
                    <a:pt x="810" y="687"/>
                  </a:lnTo>
                  <a:lnTo>
                    <a:pt x="809" y="687"/>
                  </a:lnTo>
                  <a:lnTo>
                    <a:pt x="806" y="687"/>
                  </a:lnTo>
                  <a:lnTo>
                    <a:pt x="804" y="687"/>
                  </a:lnTo>
                  <a:lnTo>
                    <a:pt x="803" y="687"/>
                  </a:lnTo>
                  <a:lnTo>
                    <a:pt x="799" y="685"/>
                  </a:lnTo>
                  <a:lnTo>
                    <a:pt x="797" y="685"/>
                  </a:lnTo>
                  <a:lnTo>
                    <a:pt x="795" y="685"/>
                  </a:lnTo>
                  <a:lnTo>
                    <a:pt x="794" y="687"/>
                  </a:lnTo>
                  <a:lnTo>
                    <a:pt x="792" y="687"/>
                  </a:lnTo>
                  <a:lnTo>
                    <a:pt x="789" y="687"/>
                  </a:lnTo>
                  <a:lnTo>
                    <a:pt x="789" y="688"/>
                  </a:lnTo>
                  <a:lnTo>
                    <a:pt x="788" y="689"/>
                  </a:lnTo>
                  <a:lnTo>
                    <a:pt x="788" y="690"/>
                  </a:lnTo>
                  <a:lnTo>
                    <a:pt x="788" y="694"/>
                  </a:lnTo>
                  <a:lnTo>
                    <a:pt x="787" y="693"/>
                  </a:lnTo>
                  <a:lnTo>
                    <a:pt x="787" y="694"/>
                  </a:lnTo>
                  <a:lnTo>
                    <a:pt x="785" y="693"/>
                  </a:lnTo>
                  <a:lnTo>
                    <a:pt x="783" y="691"/>
                  </a:lnTo>
                  <a:lnTo>
                    <a:pt x="782" y="695"/>
                  </a:lnTo>
                  <a:lnTo>
                    <a:pt x="781" y="691"/>
                  </a:lnTo>
                  <a:lnTo>
                    <a:pt x="782" y="694"/>
                  </a:lnTo>
                  <a:lnTo>
                    <a:pt x="781" y="695"/>
                  </a:lnTo>
                  <a:lnTo>
                    <a:pt x="779" y="694"/>
                  </a:lnTo>
                  <a:lnTo>
                    <a:pt x="776" y="693"/>
                  </a:lnTo>
                  <a:lnTo>
                    <a:pt x="775" y="694"/>
                  </a:lnTo>
                  <a:lnTo>
                    <a:pt x="775" y="695"/>
                  </a:lnTo>
                  <a:lnTo>
                    <a:pt x="774" y="695"/>
                  </a:lnTo>
                  <a:lnTo>
                    <a:pt x="771" y="694"/>
                  </a:lnTo>
                  <a:lnTo>
                    <a:pt x="768" y="694"/>
                  </a:lnTo>
                  <a:lnTo>
                    <a:pt x="767" y="693"/>
                  </a:lnTo>
                  <a:lnTo>
                    <a:pt x="765" y="693"/>
                  </a:lnTo>
                  <a:lnTo>
                    <a:pt x="763" y="691"/>
                  </a:lnTo>
                  <a:lnTo>
                    <a:pt x="762" y="691"/>
                  </a:lnTo>
                  <a:lnTo>
                    <a:pt x="761" y="689"/>
                  </a:lnTo>
                  <a:lnTo>
                    <a:pt x="758" y="690"/>
                  </a:lnTo>
                  <a:lnTo>
                    <a:pt x="757" y="689"/>
                  </a:lnTo>
                  <a:lnTo>
                    <a:pt x="757" y="688"/>
                  </a:lnTo>
                  <a:lnTo>
                    <a:pt x="756" y="688"/>
                  </a:lnTo>
                  <a:lnTo>
                    <a:pt x="756" y="685"/>
                  </a:lnTo>
                  <a:lnTo>
                    <a:pt x="755" y="684"/>
                  </a:lnTo>
                  <a:lnTo>
                    <a:pt x="753" y="685"/>
                  </a:lnTo>
                  <a:lnTo>
                    <a:pt x="753" y="688"/>
                  </a:lnTo>
                  <a:lnTo>
                    <a:pt x="755" y="689"/>
                  </a:lnTo>
                  <a:lnTo>
                    <a:pt x="758" y="690"/>
                  </a:lnTo>
                  <a:lnTo>
                    <a:pt x="759" y="690"/>
                  </a:lnTo>
                  <a:lnTo>
                    <a:pt x="761" y="693"/>
                  </a:lnTo>
                  <a:lnTo>
                    <a:pt x="762" y="693"/>
                  </a:lnTo>
                  <a:lnTo>
                    <a:pt x="762" y="694"/>
                  </a:lnTo>
                  <a:lnTo>
                    <a:pt x="761" y="695"/>
                  </a:lnTo>
                  <a:lnTo>
                    <a:pt x="759" y="699"/>
                  </a:lnTo>
                  <a:lnTo>
                    <a:pt x="759" y="695"/>
                  </a:lnTo>
                  <a:lnTo>
                    <a:pt x="758" y="699"/>
                  </a:lnTo>
                  <a:lnTo>
                    <a:pt x="758" y="700"/>
                  </a:lnTo>
                  <a:lnTo>
                    <a:pt x="757" y="701"/>
                  </a:lnTo>
                  <a:lnTo>
                    <a:pt x="759" y="703"/>
                  </a:lnTo>
                  <a:lnTo>
                    <a:pt x="757" y="705"/>
                  </a:lnTo>
                  <a:lnTo>
                    <a:pt x="756" y="705"/>
                  </a:lnTo>
                  <a:lnTo>
                    <a:pt x="755" y="706"/>
                  </a:lnTo>
                  <a:lnTo>
                    <a:pt x="752" y="706"/>
                  </a:lnTo>
                  <a:lnTo>
                    <a:pt x="750" y="706"/>
                  </a:lnTo>
                  <a:lnTo>
                    <a:pt x="749" y="705"/>
                  </a:lnTo>
                  <a:lnTo>
                    <a:pt x="746" y="706"/>
                  </a:lnTo>
                  <a:lnTo>
                    <a:pt x="744" y="707"/>
                  </a:lnTo>
                  <a:lnTo>
                    <a:pt x="744" y="710"/>
                  </a:lnTo>
                  <a:lnTo>
                    <a:pt x="745" y="710"/>
                  </a:lnTo>
                  <a:lnTo>
                    <a:pt x="745" y="711"/>
                  </a:lnTo>
                  <a:lnTo>
                    <a:pt x="744" y="712"/>
                  </a:lnTo>
                  <a:lnTo>
                    <a:pt x="741" y="712"/>
                  </a:lnTo>
                  <a:lnTo>
                    <a:pt x="740" y="710"/>
                  </a:lnTo>
                  <a:lnTo>
                    <a:pt x="738" y="708"/>
                  </a:lnTo>
                  <a:lnTo>
                    <a:pt x="738" y="710"/>
                  </a:lnTo>
                  <a:lnTo>
                    <a:pt x="739" y="712"/>
                  </a:lnTo>
                  <a:lnTo>
                    <a:pt x="739" y="714"/>
                  </a:lnTo>
                  <a:lnTo>
                    <a:pt x="740" y="716"/>
                  </a:lnTo>
                  <a:lnTo>
                    <a:pt x="741" y="717"/>
                  </a:lnTo>
                  <a:lnTo>
                    <a:pt x="740" y="718"/>
                  </a:lnTo>
                  <a:lnTo>
                    <a:pt x="740" y="720"/>
                  </a:lnTo>
                  <a:lnTo>
                    <a:pt x="741" y="720"/>
                  </a:lnTo>
                  <a:lnTo>
                    <a:pt x="741" y="722"/>
                  </a:lnTo>
                  <a:lnTo>
                    <a:pt x="746" y="723"/>
                  </a:lnTo>
                  <a:lnTo>
                    <a:pt x="746" y="722"/>
                  </a:lnTo>
                  <a:lnTo>
                    <a:pt x="749" y="722"/>
                  </a:lnTo>
                  <a:lnTo>
                    <a:pt x="752" y="723"/>
                  </a:lnTo>
                  <a:lnTo>
                    <a:pt x="751" y="720"/>
                  </a:lnTo>
                  <a:lnTo>
                    <a:pt x="752" y="719"/>
                  </a:lnTo>
                  <a:lnTo>
                    <a:pt x="753" y="719"/>
                  </a:lnTo>
                  <a:lnTo>
                    <a:pt x="756" y="719"/>
                  </a:lnTo>
                  <a:lnTo>
                    <a:pt x="755" y="720"/>
                  </a:lnTo>
                  <a:lnTo>
                    <a:pt x="755" y="722"/>
                  </a:lnTo>
                  <a:lnTo>
                    <a:pt x="756" y="723"/>
                  </a:lnTo>
                  <a:lnTo>
                    <a:pt x="757" y="723"/>
                  </a:lnTo>
                  <a:lnTo>
                    <a:pt x="757" y="724"/>
                  </a:lnTo>
                  <a:lnTo>
                    <a:pt x="757" y="725"/>
                  </a:lnTo>
                  <a:lnTo>
                    <a:pt x="758" y="726"/>
                  </a:lnTo>
                  <a:lnTo>
                    <a:pt x="757" y="728"/>
                  </a:lnTo>
                  <a:lnTo>
                    <a:pt x="756" y="730"/>
                  </a:lnTo>
                  <a:lnTo>
                    <a:pt x="757" y="732"/>
                  </a:lnTo>
                  <a:lnTo>
                    <a:pt x="759" y="735"/>
                  </a:lnTo>
                  <a:lnTo>
                    <a:pt x="757" y="737"/>
                  </a:lnTo>
                  <a:lnTo>
                    <a:pt x="755" y="737"/>
                  </a:lnTo>
                  <a:lnTo>
                    <a:pt x="753" y="737"/>
                  </a:lnTo>
                  <a:lnTo>
                    <a:pt x="752" y="737"/>
                  </a:lnTo>
                  <a:lnTo>
                    <a:pt x="752" y="738"/>
                  </a:lnTo>
                  <a:lnTo>
                    <a:pt x="752" y="740"/>
                  </a:lnTo>
                  <a:lnTo>
                    <a:pt x="752" y="741"/>
                  </a:lnTo>
                  <a:lnTo>
                    <a:pt x="750" y="741"/>
                  </a:lnTo>
                  <a:lnTo>
                    <a:pt x="749" y="741"/>
                  </a:lnTo>
                  <a:lnTo>
                    <a:pt x="749" y="742"/>
                  </a:lnTo>
                  <a:lnTo>
                    <a:pt x="751" y="744"/>
                  </a:lnTo>
                  <a:lnTo>
                    <a:pt x="753" y="744"/>
                  </a:lnTo>
                  <a:lnTo>
                    <a:pt x="755" y="743"/>
                  </a:lnTo>
                  <a:lnTo>
                    <a:pt x="756" y="742"/>
                  </a:lnTo>
                  <a:lnTo>
                    <a:pt x="757" y="741"/>
                  </a:lnTo>
                  <a:lnTo>
                    <a:pt x="758" y="741"/>
                  </a:lnTo>
                  <a:lnTo>
                    <a:pt x="758" y="742"/>
                  </a:lnTo>
                  <a:lnTo>
                    <a:pt x="761" y="742"/>
                  </a:lnTo>
                  <a:lnTo>
                    <a:pt x="761" y="743"/>
                  </a:lnTo>
                  <a:lnTo>
                    <a:pt x="761" y="746"/>
                  </a:lnTo>
                  <a:lnTo>
                    <a:pt x="763" y="749"/>
                  </a:lnTo>
                  <a:lnTo>
                    <a:pt x="764" y="752"/>
                  </a:lnTo>
                  <a:lnTo>
                    <a:pt x="765" y="750"/>
                  </a:lnTo>
                  <a:lnTo>
                    <a:pt x="767" y="750"/>
                  </a:lnTo>
                  <a:lnTo>
                    <a:pt x="768" y="753"/>
                  </a:lnTo>
                  <a:lnTo>
                    <a:pt x="769" y="755"/>
                  </a:lnTo>
                  <a:lnTo>
                    <a:pt x="770" y="755"/>
                  </a:lnTo>
                  <a:lnTo>
                    <a:pt x="770" y="756"/>
                  </a:lnTo>
                  <a:lnTo>
                    <a:pt x="769" y="756"/>
                  </a:lnTo>
                  <a:lnTo>
                    <a:pt x="767" y="756"/>
                  </a:lnTo>
                  <a:lnTo>
                    <a:pt x="764" y="760"/>
                  </a:lnTo>
                  <a:lnTo>
                    <a:pt x="765" y="760"/>
                  </a:lnTo>
                  <a:lnTo>
                    <a:pt x="767" y="760"/>
                  </a:lnTo>
                  <a:lnTo>
                    <a:pt x="768" y="760"/>
                  </a:lnTo>
                  <a:lnTo>
                    <a:pt x="767" y="761"/>
                  </a:lnTo>
                  <a:lnTo>
                    <a:pt x="765" y="764"/>
                  </a:lnTo>
                  <a:lnTo>
                    <a:pt x="763" y="764"/>
                  </a:lnTo>
                  <a:lnTo>
                    <a:pt x="761" y="762"/>
                  </a:lnTo>
                  <a:lnTo>
                    <a:pt x="759" y="764"/>
                  </a:lnTo>
                  <a:lnTo>
                    <a:pt x="759" y="765"/>
                  </a:lnTo>
                  <a:lnTo>
                    <a:pt x="758" y="764"/>
                  </a:lnTo>
                  <a:lnTo>
                    <a:pt x="757" y="762"/>
                  </a:lnTo>
                  <a:lnTo>
                    <a:pt x="756" y="762"/>
                  </a:lnTo>
                  <a:lnTo>
                    <a:pt x="756" y="761"/>
                  </a:lnTo>
                  <a:lnTo>
                    <a:pt x="753" y="764"/>
                  </a:lnTo>
                  <a:lnTo>
                    <a:pt x="751" y="762"/>
                  </a:lnTo>
                  <a:lnTo>
                    <a:pt x="750" y="764"/>
                  </a:lnTo>
                  <a:lnTo>
                    <a:pt x="749" y="762"/>
                  </a:lnTo>
                  <a:lnTo>
                    <a:pt x="747" y="761"/>
                  </a:lnTo>
                  <a:lnTo>
                    <a:pt x="746" y="760"/>
                  </a:lnTo>
                  <a:lnTo>
                    <a:pt x="744" y="759"/>
                  </a:lnTo>
                  <a:lnTo>
                    <a:pt x="741" y="759"/>
                  </a:lnTo>
                  <a:lnTo>
                    <a:pt x="739" y="755"/>
                  </a:lnTo>
                  <a:lnTo>
                    <a:pt x="736" y="753"/>
                  </a:lnTo>
                  <a:lnTo>
                    <a:pt x="735" y="754"/>
                  </a:lnTo>
                  <a:lnTo>
                    <a:pt x="734" y="754"/>
                  </a:lnTo>
                  <a:lnTo>
                    <a:pt x="730" y="754"/>
                  </a:lnTo>
                  <a:lnTo>
                    <a:pt x="730" y="750"/>
                  </a:lnTo>
                  <a:lnTo>
                    <a:pt x="734" y="752"/>
                  </a:lnTo>
                  <a:lnTo>
                    <a:pt x="734" y="748"/>
                  </a:lnTo>
                  <a:lnTo>
                    <a:pt x="733" y="747"/>
                  </a:lnTo>
                  <a:lnTo>
                    <a:pt x="734" y="746"/>
                  </a:lnTo>
                  <a:lnTo>
                    <a:pt x="735" y="746"/>
                  </a:lnTo>
                  <a:lnTo>
                    <a:pt x="735" y="744"/>
                  </a:lnTo>
                  <a:lnTo>
                    <a:pt x="736" y="746"/>
                  </a:lnTo>
                  <a:lnTo>
                    <a:pt x="736" y="747"/>
                  </a:lnTo>
                  <a:lnTo>
                    <a:pt x="738" y="750"/>
                  </a:lnTo>
                  <a:lnTo>
                    <a:pt x="740" y="753"/>
                  </a:lnTo>
                  <a:lnTo>
                    <a:pt x="741" y="753"/>
                  </a:lnTo>
                  <a:lnTo>
                    <a:pt x="741" y="754"/>
                  </a:lnTo>
                  <a:lnTo>
                    <a:pt x="744" y="755"/>
                  </a:lnTo>
                  <a:lnTo>
                    <a:pt x="746" y="754"/>
                  </a:lnTo>
                  <a:lnTo>
                    <a:pt x="747" y="754"/>
                  </a:lnTo>
                  <a:lnTo>
                    <a:pt x="750" y="754"/>
                  </a:lnTo>
                  <a:lnTo>
                    <a:pt x="751" y="753"/>
                  </a:lnTo>
                  <a:lnTo>
                    <a:pt x="750" y="749"/>
                  </a:lnTo>
                  <a:lnTo>
                    <a:pt x="749" y="749"/>
                  </a:lnTo>
                  <a:lnTo>
                    <a:pt x="747" y="749"/>
                  </a:lnTo>
                  <a:lnTo>
                    <a:pt x="746" y="752"/>
                  </a:lnTo>
                  <a:lnTo>
                    <a:pt x="746" y="749"/>
                  </a:lnTo>
                  <a:lnTo>
                    <a:pt x="745" y="747"/>
                  </a:lnTo>
                  <a:lnTo>
                    <a:pt x="745" y="744"/>
                  </a:lnTo>
                  <a:lnTo>
                    <a:pt x="743" y="741"/>
                  </a:lnTo>
                  <a:lnTo>
                    <a:pt x="746" y="740"/>
                  </a:lnTo>
                  <a:lnTo>
                    <a:pt x="743" y="738"/>
                  </a:lnTo>
                  <a:lnTo>
                    <a:pt x="743" y="737"/>
                  </a:lnTo>
                  <a:lnTo>
                    <a:pt x="741" y="736"/>
                  </a:lnTo>
                  <a:lnTo>
                    <a:pt x="740" y="735"/>
                  </a:lnTo>
                  <a:lnTo>
                    <a:pt x="739" y="734"/>
                  </a:lnTo>
                  <a:lnTo>
                    <a:pt x="741" y="731"/>
                  </a:lnTo>
                  <a:lnTo>
                    <a:pt x="740" y="730"/>
                  </a:lnTo>
                  <a:lnTo>
                    <a:pt x="739" y="730"/>
                  </a:lnTo>
                  <a:lnTo>
                    <a:pt x="736" y="730"/>
                  </a:lnTo>
                  <a:lnTo>
                    <a:pt x="735" y="731"/>
                  </a:lnTo>
                  <a:lnTo>
                    <a:pt x="735" y="732"/>
                  </a:lnTo>
                  <a:lnTo>
                    <a:pt x="734" y="734"/>
                  </a:lnTo>
                  <a:lnTo>
                    <a:pt x="736" y="735"/>
                  </a:lnTo>
                  <a:lnTo>
                    <a:pt x="736" y="736"/>
                  </a:lnTo>
                  <a:lnTo>
                    <a:pt x="738" y="736"/>
                  </a:lnTo>
                  <a:lnTo>
                    <a:pt x="739" y="736"/>
                  </a:lnTo>
                  <a:lnTo>
                    <a:pt x="741" y="736"/>
                  </a:lnTo>
                  <a:lnTo>
                    <a:pt x="741" y="737"/>
                  </a:lnTo>
                  <a:lnTo>
                    <a:pt x="740" y="737"/>
                  </a:lnTo>
                  <a:lnTo>
                    <a:pt x="739" y="737"/>
                  </a:lnTo>
                  <a:lnTo>
                    <a:pt x="738" y="738"/>
                  </a:lnTo>
                  <a:lnTo>
                    <a:pt x="736" y="740"/>
                  </a:lnTo>
                  <a:lnTo>
                    <a:pt x="735" y="737"/>
                  </a:lnTo>
                  <a:lnTo>
                    <a:pt x="735" y="736"/>
                  </a:lnTo>
                  <a:lnTo>
                    <a:pt x="734" y="736"/>
                  </a:lnTo>
                  <a:lnTo>
                    <a:pt x="732" y="735"/>
                  </a:lnTo>
                  <a:lnTo>
                    <a:pt x="730" y="735"/>
                  </a:lnTo>
                  <a:lnTo>
                    <a:pt x="729" y="734"/>
                  </a:lnTo>
                  <a:lnTo>
                    <a:pt x="728" y="732"/>
                  </a:lnTo>
                  <a:lnTo>
                    <a:pt x="726" y="729"/>
                  </a:lnTo>
                  <a:lnTo>
                    <a:pt x="724" y="729"/>
                  </a:lnTo>
                  <a:lnTo>
                    <a:pt x="722" y="728"/>
                  </a:lnTo>
                  <a:lnTo>
                    <a:pt x="722" y="726"/>
                  </a:lnTo>
                  <a:lnTo>
                    <a:pt x="720" y="725"/>
                  </a:lnTo>
                  <a:lnTo>
                    <a:pt x="718" y="724"/>
                  </a:lnTo>
                  <a:lnTo>
                    <a:pt x="717" y="723"/>
                  </a:lnTo>
                  <a:lnTo>
                    <a:pt x="716" y="722"/>
                  </a:lnTo>
                  <a:lnTo>
                    <a:pt x="716" y="719"/>
                  </a:lnTo>
                  <a:lnTo>
                    <a:pt x="718" y="719"/>
                  </a:lnTo>
                  <a:lnTo>
                    <a:pt x="721" y="719"/>
                  </a:lnTo>
                  <a:lnTo>
                    <a:pt x="721" y="718"/>
                  </a:lnTo>
                  <a:lnTo>
                    <a:pt x="721" y="716"/>
                  </a:lnTo>
                  <a:lnTo>
                    <a:pt x="721" y="714"/>
                  </a:lnTo>
                  <a:lnTo>
                    <a:pt x="720" y="713"/>
                  </a:lnTo>
                  <a:lnTo>
                    <a:pt x="721" y="711"/>
                  </a:lnTo>
                  <a:lnTo>
                    <a:pt x="721" y="707"/>
                  </a:lnTo>
                  <a:lnTo>
                    <a:pt x="720" y="711"/>
                  </a:lnTo>
                  <a:lnTo>
                    <a:pt x="718" y="713"/>
                  </a:lnTo>
                  <a:lnTo>
                    <a:pt x="716" y="713"/>
                  </a:lnTo>
                  <a:lnTo>
                    <a:pt x="714" y="713"/>
                  </a:lnTo>
                  <a:lnTo>
                    <a:pt x="712" y="712"/>
                  </a:lnTo>
                  <a:lnTo>
                    <a:pt x="711" y="711"/>
                  </a:lnTo>
                  <a:lnTo>
                    <a:pt x="709" y="710"/>
                  </a:lnTo>
                  <a:lnTo>
                    <a:pt x="708" y="710"/>
                  </a:lnTo>
                  <a:lnTo>
                    <a:pt x="708" y="707"/>
                  </a:lnTo>
                  <a:lnTo>
                    <a:pt x="706" y="706"/>
                  </a:lnTo>
                  <a:lnTo>
                    <a:pt x="705" y="706"/>
                  </a:lnTo>
                  <a:lnTo>
                    <a:pt x="703" y="707"/>
                  </a:lnTo>
                  <a:lnTo>
                    <a:pt x="702" y="708"/>
                  </a:lnTo>
                  <a:lnTo>
                    <a:pt x="702" y="707"/>
                  </a:lnTo>
                  <a:lnTo>
                    <a:pt x="700" y="706"/>
                  </a:lnTo>
                  <a:lnTo>
                    <a:pt x="699" y="705"/>
                  </a:lnTo>
                  <a:lnTo>
                    <a:pt x="698" y="702"/>
                  </a:lnTo>
                  <a:lnTo>
                    <a:pt x="698" y="699"/>
                  </a:lnTo>
                  <a:lnTo>
                    <a:pt x="697" y="697"/>
                  </a:lnTo>
                  <a:lnTo>
                    <a:pt x="696" y="695"/>
                  </a:lnTo>
                  <a:lnTo>
                    <a:pt x="696" y="694"/>
                  </a:lnTo>
                  <a:lnTo>
                    <a:pt x="697" y="693"/>
                  </a:lnTo>
                  <a:lnTo>
                    <a:pt x="697" y="691"/>
                  </a:lnTo>
                  <a:lnTo>
                    <a:pt x="699" y="693"/>
                  </a:lnTo>
                  <a:lnTo>
                    <a:pt x="699" y="691"/>
                  </a:lnTo>
                  <a:lnTo>
                    <a:pt x="699" y="694"/>
                  </a:lnTo>
                  <a:lnTo>
                    <a:pt x="700" y="694"/>
                  </a:lnTo>
                  <a:lnTo>
                    <a:pt x="702" y="694"/>
                  </a:lnTo>
                  <a:lnTo>
                    <a:pt x="702" y="691"/>
                  </a:lnTo>
                  <a:lnTo>
                    <a:pt x="703" y="689"/>
                  </a:lnTo>
                  <a:lnTo>
                    <a:pt x="704" y="690"/>
                  </a:lnTo>
                  <a:lnTo>
                    <a:pt x="705" y="691"/>
                  </a:lnTo>
                  <a:lnTo>
                    <a:pt x="705" y="690"/>
                  </a:lnTo>
                  <a:lnTo>
                    <a:pt x="705" y="689"/>
                  </a:lnTo>
                  <a:lnTo>
                    <a:pt x="704" y="687"/>
                  </a:lnTo>
                  <a:lnTo>
                    <a:pt x="705" y="687"/>
                  </a:lnTo>
                  <a:lnTo>
                    <a:pt x="704" y="683"/>
                  </a:lnTo>
                  <a:lnTo>
                    <a:pt x="705" y="682"/>
                  </a:lnTo>
                  <a:lnTo>
                    <a:pt x="706" y="679"/>
                  </a:lnTo>
                  <a:lnTo>
                    <a:pt x="706" y="678"/>
                  </a:lnTo>
                  <a:lnTo>
                    <a:pt x="708" y="677"/>
                  </a:lnTo>
                  <a:lnTo>
                    <a:pt x="709" y="679"/>
                  </a:lnTo>
                  <a:lnTo>
                    <a:pt x="710" y="681"/>
                  </a:lnTo>
                  <a:lnTo>
                    <a:pt x="709" y="682"/>
                  </a:lnTo>
                  <a:lnTo>
                    <a:pt x="710" y="684"/>
                  </a:lnTo>
                  <a:lnTo>
                    <a:pt x="710" y="687"/>
                  </a:lnTo>
                  <a:lnTo>
                    <a:pt x="712" y="687"/>
                  </a:lnTo>
                  <a:lnTo>
                    <a:pt x="712" y="685"/>
                  </a:lnTo>
                  <a:lnTo>
                    <a:pt x="714" y="690"/>
                  </a:lnTo>
                  <a:lnTo>
                    <a:pt x="711" y="689"/>
                  </a:lnTo>
                  <a:lnTo>
                    <a:pt x="709" y="690"/>
                  </a:lnTo>
                  <a:lnTo>
                    <a:pt x="710" y="691"/>
                  </a:lnTo>
                  <a:lnTo>
                    <a:pt x="710" y="693"/>
                  </a:lnTo>
                  <a:lnTo>
                    <a:pt x="712" y="693"/>
                  </a:lnTo>
                  <a:lnTo>
                    <a:pt x="712" y="691"/>
                  </a:lnTo>
                  <a:lnTo>
                    <a:pt x="714" y="691"/>
                  </a:lnTo>
                  <a:lnTo>
                    <a:pt x="716" y="690"/>
                  </a:lnTo>
                  <a:lnTo>
                    <a:pt x="717" y="690"/>
                  </a:lnTo>
                  <a:lnTo>
                    <a:pt x="717" y="693"/>
                  </a:lnTo>
                  <a:lnTo>
                    <a:pt x="718" y="694"/>
                  </a:lnTo>
                  <a:lnTo>
                    <a:pt x="721" y="695"/>
                  </a:lnTo>
                  <a:lnTo>
                    <a:pt x="721" y="696"/>
                  </a:lnTo>
                  <a:lnTo>
                    <a:pt x="723" y="696"/>
                  </a:lnTo>
                  <a:lnTo>
                    <a:pt x="723" y="695"/>
                  </a:lnTo>
                  <a:lnTo>
                    <a:pt x="724" y="694"/>
                  </a:lnTo>
                  <a:lnTo>
                    <a:pt x="726" y="691"/>
                  </a:lnTo>
                  <a:lnTo>
                    <a:pt x="726" y="690"/>
                  </a:lnTo>
                  <a:lnTo>
                    <a:pt x="726" y="688"/>
                  </a:lnTo>
                  <a:lnTo>
                    <a:pt x="723" y="687"/>
                  </a:lnTo>
                  <a:lnTo>
                    <a:pt x="726" y="684"/>
                  </a:lnTo>
                  <a:lnTo>
                    <a:pt x="727" y="682"/>
                  </a:lnTo>
                  <a:lnTo>
                    <a:pt x="724" y="678"/>
                  </a:lnTo>
                  <a:lnTo>
                    <a:pt x="723" y="677"/>
                  </a:lnTo>
                  <a:lnTo>
                    <a:pt x="720" y="676"/>
                  </a:lnTo>
                  <a:lnTo>
                    <a:pt x="715" y="676"/>
                  </a:lnTo>
                  <a:lnTo>
                    <a:pt x="711" y="676"/>
                  </a:lnTo>
                  <a:lnTo>
                    <a:pt x="708" y="676"/>
                  </a:lnTo>
                  <a:lnTo>
                    <a:pt x="705" y="677"/>
                  </a:lnTo>
                  <a:lnTo>
                    <a:pt x="704" y="677"/>
                  </a:lnTo>
                  <a:lnTo>
                    <a:pt x="703" y="677"/>
                  </a:lnTo>
                  <a:lnTo>
                    <a:pt x="702" y="677"/>
                  </a:lnTo>
                  <a:lnTo>
                    <a:pt x="700" y="678"/>
                  </a:lnTo>
                  <a:lnTo>
                    <a:pt x="698" y="676"/>
                  </a:lnTo>
                  <a:lnTo>
                    <a:pt x="696" y="673"/>
                  </a:lnTo>
                  <a:lnTo>
                    <a:pt x="693" y="672"/>
                  </a:lnTo>
                  <a:lnTo>
                    <a:pt x="692" y="672"/>
                  </a:lnTo>
                  <a:lnTo>
                    <a:pt x="690" y="672"/>
                  </a:lnTo>
                  <a:lnTo>
                    <a:pt x="687" y="672"/>
                  </a:lnTo>
                  <a:lnTo>
                    <a:pt x="686" y="672"/>
                  </a:lnTo>
                  <a:lnTo>
                    <a:pt x="687" y="673"/>
                  </a:lnTo>
                  <a:lnTo>
                    <a:pt x="687" y="675"/>
                  </a:lnTo>
                  <a:lnTo>
                    <a:pt x="690" y="675"/>
                  </a:lnTo>
                  <a:lnTo>
                    <a:pt x="691" y="675"/>
                  </a:lnTo>
                  <a:lnTo>
                    <a:pt x="690" y="676"/>
                  </a:lnTo>
                  <a:lnTo>
                    <a:pt x="690" y="677"/>
                  </a:lnTo>
                  <a:lnTo>
                    <a:pt x="686" y="677"/>
                  </a:lnTo>
                  <a:lnTo>
                    <a:pt x="684" y="678"/>
                  </a:lnTo>
                  <a:lnTo>
                    <a:pt x="681" y="682"/>
                  </a:lnTo>
                  <a:lnTo>
                    <a:pt x="680" y="683"/>
                  </a:lnTo>
                  <a:lnTo>
                    <a:pt x="679" y="682"/>
                  </a:lnTo>
                  <a:lnTo>
                    <a:pt x="678" y="681"/>
                  </a:lnTo>
                  <a:lnTo>
                    <a:pt x="676" y="681"/>
                  </a:lnTo>
                  <a:lnTo>
                    <a:pt x="673" y="682"/>
                  </a:lnTo>
                  <a:lnTo>
                    <a:pt x="671" y="681"/>
                  </a:lnTo>
                  <a:lnTo>
                    <a:pt x="671" y="679"/>
                  </a:lnTo>
                  <a:lnTo>
                    <a:pt x="669" y="678"/>
                  </a:lnTo>
                  <a:lnTo>
                    <a:pt x="668" y="678"/>
                  </a:lnTo>
                  <a:lnTo>
                    <a:pt x="665" y="678"/>
                  </a:lnTo>
                  <a:lnTo>
                    <a:pt x="664" y="679"/>
                  </a:lnTo>
                  <a:lnTo>
                    <a:pt x="662" y="679"/>
                  </a:lnTo>
                  <a:lnTo>
                    <a:pt x="662" y="681"/>
                  </a:lnTo>
                  <a:lnTo>
                    <a:pt x="661" y="681"/>
                  </a:lnTo>
                  <a:lnTo>
                    <a:pt x="659" y="684"/>
                  </a:lnTo>
                  <a:lnTo>
                    <a:pt x="656" y="684"/>
                  </a:lnTo>
                  <a:lnTo>
                    <a:pt x="655" y="683"/>
                  </a:lnTo>
                  <a:lnTo>
                    <a:pt x="655" y="682"/>
                  </a:lnTo>
                  <a:lnTo>
                    <a:pt x="651" y="681"/>
                  </a:lnTo>
                  <a:lnTo>
                    <a:pt x="650" y="682"/>
                  </a:lnTo>
                  <a:lnTo>
                    <a:pt x="649" y="684"/>
                  </a:lnTo>
                  <a:lnTo>
                    <a:pt x="647" y="684"/>
                  </a:lnTo>
                  <a:lnTo>
                    <a:pt x="647" y="683"/>
                  </a:lnTo>
                  <a:lnTo>
                    <a:pt x="646" y="682"/>
                  </a:lnTo>
                  <a:lnTo>
                    <a:pt x="645" y="681"/>
                  </a:lnTo>
                  <a:lnTo>
                    <a:pt x="645" y="678"/>
                  </a:lnTo>
                  <a:lnTo>
                    <a:pt x="644" y="675"/>
                  </a:lnTo>
                  <a:lnTo>
                    <a:pt x="644" y="673"/>
                  </a:lnTo>
                  <a:lnTo>
                    <a:pt x="643" y="672"/>
                  </a:lnTo>
                  <a:lnTo>
                    <a:pt x="641" y="672"/>
                  </a:lnTo>
                  <a:lnTo>
                    <a:pt x="639" y="673"/>
                  </a:lnTo>
                  <a:lnTo>
                    <a:pt x="637" y="673"/>
                  </a:lnTo>
                  <a:lnTo>
                    <a:pt x="626" y="676"/>
                  </a:lnTo>
                  <a:lnTo>
                    <a:pt x="621" y="677"/>
                  </a:lnTo>
                  <a:lnTo>
                    <a:pt x="619" y="677"/>
                  </a:lnTo>
                  <a:lnTo>
                    <a:pt x="616" y="678"/>
                  </a:lnTo>
                  <a:lnTo>
                    <a:pt x="614" y="679"/>
                  </a:lnTo>
                  <a:lnTo>
                    <a:pt x="611" y="679"/>
                  </a:lnTo>
                  <a:lnTo>
                    <a:pt x="605" y="679"/>
                  </a:lnTo>
                  <a:lnTo>
                    <a:pt x="602" y="681"/>
                  </a:lnTo>
                  <a:lnTo>
                    <a:pt x="600" y="683"/>
                  </a:lnTo>
                  <a:lnTo>
                    <a:pt x="594" y="683"/>
                  </a:lnTo>
                  <a:lnTo>
                    <a:pt x="592" y="681"/>
                  </a:lnTo>
                  <a:lnTo>
                    <a:pt x="588" y="681"/>
                  </a:lnTo>
                  <a:lnTo>
                    <a:pt x="584" y="682"/>
                  </a:lnTo>
                  <a:lnTo>
                    <a:pt x="574" y="682"/>
                  </a:lnTo>
                  <a:lnTo>
                    <a:pt x="572" y="682"/>
                  </a:lnTo>
                  <a:lnTo>
                    <a:pt x="572" y="683"/>
                  </a:lnTo>
                  <a:lnTo>
                    <a:pt x="572" y="688"/>
                  </a:lnTo>
                  <a:lnTo>
                    <a:pt x="573" y="687"/>
                  </a:lnTo>
                  <a:lnTo>
                    <a:pt x="574" y="688"/>
                  </a:lnTo>
                  <a:lnTo>
                    <a:pt x="574" y="690"/>
                  </a:lnTo>
                  <a:lnTo>
                    <a:pt x="575" y="691"/>
                  </a:lnTo>
                  <a:lnTo>
                    <a:pt x="575" y="690"/>
                  </a:lnTo>
                  <a:lnTo>
                    <a:pt x="576" y="690"/>
                  </a:lnTo>
                  <a:lnTo>
                    <a:pt x="578" y="691"/>
                  </a:lnTo>
                  <a:lnTo>
                    <a:pt x="579" y="690"/>
                  </a:lnTo>
                  <a:lnTo>
                    <a:pt x="580" y="690"/>
                  </a:lnTo>
                  <a:lnTo>
                    <a:pt x="582" y="690"/>
                  </a:lnTo>
                  <a:lnTo>
                    <a:pt x="585" y="690"/>
                  </a:lnTo>
                  <a:lnTo>
                    <a:pt x="585" y="691"/>
                  </a:lnTo>
                  <a:lnTo>
                    <a:pt x="586" y="690"/>
                  </a:lnTo>
                  <a:lnTo>
                    <a:pt x="587" y="690"/>
                  </a:lnTo>
                  <a:lnTo>
                    <a:pt x="588" y="694"/>
                  </a:lnTo>
                  <a:lnTo>
                    <a:pt x="588" y="691"/>
                  </a:lnTo>
                  <a:lnTo>
                    <a:pt x="591" y="693"/>
                  </a:lnTo>
                  <a:lnTo>
                    <a:pt x="591" y="694"/>
                  </a:lnTo>
                  <a:lnTo>
                    <a:pt x="591" y="695"/>
                  </a:lnTo>
                  <a:lnTo>
                    <a:pt x="592" y="695"/>
                  </a:lnTo>
                  <a:lnTo>
                    <a:pt x="591" y="696"/>
                  </a:lnTo>
                  <a:lnTo>
                    <a:pt x="593" y="697"/>
                  </a:lnTo>
                  <a:lnTo>
                    <a:pt x="597" y="699"/>
                  </a:lnTo>
                  <a:lnTo>
                    <a:pt x="597" y="701"/>
                  </a:lnTo>
                  <a:lnTo>
                    <a:pt x="596" y="701"/>
                  </a:lnTo>
                  <a:lnTo>
                    <a:pt x="596" y="705"/>
                  </a:lnTo>
                  <a:lnTo>
                    <a:pt x="596" y="707"/>
                  </a:lnTo>
                  <a:lnTo>
                    <a:pt x="597" y="707"/>
                  </a:lnTo>
                  <a:lnTo>
                    <a:pt x="596" y="711"/>
                  </a:lnTo>
                  <a:lnTo>
                    <a:pt x="596" y="713"/>
                  </a:lnTo>
                  <a:lnTo>
                    <a:pt x="597" y="714"/>
                  </a:lnTo>
                  <a:lnTo>
                    <a:pt x="594" y="716"/>
                  </a:lnTo>
                  <a:lnTo>
                    <a:pt x="591" y="717"/>
                  </a:lnTo>
                  <a:lnTo>
                    <a:pt x="590" y="718"/>
                  </a:lnTo>
                  <a:lnTo>
                    <a:pt x="587" y="718"/>
                  </a:lnTo>
                  <a:lnTo>
                    <a:pt x="586" y="719"/>
                  </a:lnTo>
                  <a:lnTo>
                    <a:pt x="585" y="719"/>
                  </a:lnTo>
                  <a:lnTo>
                    <a:pt x="580" y="719"/>
                  </a:lnTo>
                  <a:lnTo>
                    <a:pt x="582" y="720"/>
                  </a:lnTo>
                  <a:lnTo>
                    <a:pt x="586" y="723"/>
                  </a:lnTo>
                  <a:lnTo>
                    <a:pt x="587" y="723"/>
                  </a:lnTo>
                  <a:lnTo>
                    <a:pt x="588" y="723"/>
                  </a:lnTo>
                  <a:lnTo>
                    <a:pt x="592" y="723"/>
                  </a:lnTo>
                  <a:lnTo>
                    <a:pt x="606" y="723"/>
                  </a:lnTo>
                  <a:lnTo>
                    <a:pt x="606" y="722"/>
                  </a:lnTo>
                  <a:lnTo>
                    <a:pt x="610" y="722"/>
                  </a:lnTo>
                  <a:lnTo>
                    <a:pt x="610" y="724"/>
                  </a:lnTo>
                  <a:lnTo>
                    <a:pt x="612" y="724"/>
                  </a:lnTo>
                  <a:lnTo>
                    <a:pt x="616" y="724"/>
                  </a:lnTo>
                  <a:lnTo>
                    <a:pt x="623" y="725"/>
                  </a:lnTo>
                  <a:lnTo>
                    <a:pt x="626" y="726"/>
                  </a:lnTo>
                  <a:lnTo>
                    <a:pt x="628" y="726"/>
                  </a:lnTo>
                  <a:lnTo>
                    <a:pt x="631" y="725"/>
                  </a:lnTo>
                  <a:lnTo>
                    <a:pt x="631" y="723"/>
                  </a:lnTo>
                  <a:lnTo>
                    <a:pt x="631" y="722"/>
                  </a:lnTo>
                  <a:lnTo>
                    <a:pt x="628" y="722"/>
                  </a:lnTo>
                  <a:lnTo>
                    <a:pt x="627" y="722"/>
                  </a:lnTo>
                  <a:lnTo>
                    <a:pt x="627" y="720"/>
                  </a:lnTo>
                  <a:lnTo>
                    <a:pt x="626" y="718"/>
                  </a:lnTo>
                  <a:lnTo>
                    <a:pt x="627" y="717"/>
                  </a:lnTo>
                  <a:lnTo>
                    <a:pt x="629" y="717"/>
                  </a:lnTo>
                  <a:lnTo>
                    <a:pt x="633" y="717"/>
                  </a:lnTo>
                  <a:lnTo>
                    <a:pt x="635" y="717"/>
                  </a:lnTo>
                  <a:lnTo>
                    <a:pt x="637" y="718"/>
                  </a:lnTo>
                  <a:lnTo>
                    <a:pt x="637" y="717"/>
                  </a:lnTo>
                  <a:lnTo>
                    <a:pt x="640" y="717"/>
                  </a:lnTo>
                  <a:lnTo>
                    <a:pt x="639" y="719"/>
                  </a:lnTo>
                  <a:lnTo>
                    <a:pt x="640" y="720"/>
                  </a:lnTo>
                  <a:lnTo>
                    <a:pt x="641" y="720"/>
                  </a:lnTo>
                  <a:lnTo>
                    <a:pt x="644" y="719"/>
                  </a:lnTo>
                  <a:lnTo>
                    <a:pt x="644" y="717"/>
                  </a:lnTo>
                  <a:lnTo>
                    <a:pt x="647" y="717"/>
                  </a:lnTo>
                  <a:lnTo>
                    <a:pt x="649" y="716"/>
                  </a:lnTo>
                  <a:lnTo>
                    <a:pt x="650" y="714"/>
                  </a:lnTo>
                  <a:lnTo>
                    <a:pt x="649" y="713"/>
                  </a:lnTo>
                  <a:lnTo>
                    <a:pt x="651" y="713"/>
                  </a:lnTo>
                  <a:lnTo>
                    <a:pt x="652" y="713"/>
                  </a:lnTo>
                  <a:lnTo>
                    <a:pt x="653" y="713"/>
                  </a:lnTo>
                  <a:lnTo>
                    <a:pt x="653" y="712"/>
                  </a:lnTo>
                  <a:lnTo>
                    <a:pt x="655" y="712"/>
                  </a:lnTo>
                  <a:lnTo>
                    <a:pt x="656" y="711"/>
                  </a:lnTo>
                  <a:lnTo>
                    <a:pt x="657" y="711"/>
                  </a:lnTo>
                  <a:lnTo>
                    <a:pt x="658" y="711"/>
                  </a:lnTo>
                  <a:lnTo>
                    <a:pt x="658" y="710"/>
                  </a:lnTo>
                  <a:lnTo>
                    <a:pt x="663" y="710"/>
                  </a:lnTo>
                  <a:lnTo>
                    <a:pt x="663" y="711"/>
                  </a:lnTo>
                  <a:lnTo>
                    <a:pt x="664" y="711"/>
                  </a:lnTo>
                  <a:lnTo>
                    <a:pt x="665" y="711"/>
                  </a:lnTo>
                  <a:lnTo>
                    <a:pt x="668" y="711"/>
                  </a:lnTo>
                  <a:lnTo>
                    <a:pt x="668" y="712"/>
                  </a:lnTo>
                  <a:lnTo>
                    <a:pt x="671" y="714"/>
                  </a:lnTo>
                  <a:lnTo>
                    <a:pt x="671" y="716"/>
                  </a:lnTo>
                  <a:lnTo>
                    <a:pt x="674" y="716"/>
                  </a:lnTo>
                  <a:lnTo>
                    <a:pt x="674" y="718"/>
                  </a:lnTo>
                  <a:lnTo>
                    <a:pt x="675" y="718"/>
                  </a:lnTo>
                  <a:lnTo>
                    <a:pt x="676" y="718"/>
                  </a:lnTo>
                  <a:lnTo>
                    <a:pt x="676" y="719"/>
                  </a:lnTo>
                  <a:lnTo>
                    <a:pt x="678" y="719"/>
                  </a:lnTo>
                  <a:lnTo>
                    <a:pt x="678" y="720"/>
                  </a:lnTo>
                  <a:lnTo>
                    <a:pt x="678" y="722"/>
                  </a:lnTo>
                  <a:lnTo>
                    <a:pt x="680" y="720"/>
                  </a:lnTo>
                  <a:lnTo>
                    <a:pt x="679" y="725"/>
                  </a:lnTo>
                  <a:lnTo>
                    <a:pt x="681" y="725"/>
                  </a:lnTo>
                  <a:lnTo>
                    <a:pt x="685" y="726"/>
                  </a:lnTo>
                  <a:lnTo>
                    <a:pt x="686" y="730"/>
                  </a:lnTo>
                  <a:lnTo>
                    <a:pt x="687" y="730"/>
                  </a:lnTo>
                  <a:lnTo>
                    <a:pt x="688" y="730"/>
                  </a:lnTo>
                  <a:lnTo>
                    <a:pt x="690" y="729"/>
                  </a:lnTo>
                  <a:lnTo>
                    <a:pt x="691" y="726"/>
                  </a:lnTo>
                  <a:lnTo>
                    <a:pt x="694" y="726"/>
                  </a:lnTo>
                  <a:lnTo>
                    <a:pt x="694" y="728"/>
                  </a:lnTo>
                  <a:lnTo>
                    <a:pt x="697" y="728"/>
                  </a:lnTo>
                  <a:lnTo>
                    <a:pt x="700" y="728"/>
                  </a:lnTo>
                  <a:lnTo>
                    <a:pt x="702" y="730"/>
                  </a:lnTo>
                  <a:lnTo>
                    <a:pt x="702" y="731"/>
                  </a:lnTo>
                  <a:lnTo>
                    <a:pt x="702" y="732"/>
                  </a:lnTo>
                  <a:lnTo>
                    <a:pt x="703" y="735"/>
                  </a:lnTo>
                  <a:lnTo>
                    <a:pt x="704" y="736"/>
                  </a:lnTo>
                  <a:lnTo>
                    <a:pt x="705" y="736"/>
                  </a:lnTo>
                  <a:lnTo>
                    <a:pt x="705" y="738"/>
                  </a:lnTo>
                  <a:lnTo>
                    <a:pt x="704" y="741"/>
                  </a:lnTo>
                  <a:lnTo>
                    <a:pt x="705" y="743"/>
                  </a:lnTo>
                  <a:lnTo>
                    <a:pt x="703" y="744"/>
                  </a:lnTo>
                  <a:lnTo>
                    <a:pt x="704" y="744"/>
                  </a:lnTo>
                  <a:lnTo>
                    <a:pt x="705" y="744"/>
                  </a:lnTo>
                  <a:lnTo>
                    <a:pt x="705" y="746"/>
                  </a:lnTo>
                  <a:lnTo>
                    <a:pt x="710" y="749"/>
                  </a:lnTo>
                  <a:lnTo>
                    <a:pt x="711" y="749"/>
                  </a:lnTo>
                  <a:lnTo>
                    <a:pt x="712" y="749"/>
                  </a:lnTo>
                  <a:lnTo>
                    <a:pt x="714" y="749"/>
                  </a:lnTo>
                  <a:lnTo>
                    <a:pt x="714" y="748"/>
                  </a:lnTo>
                  <a:lnTo>
                    <a:pt x="716" y="748"/>
                  </a:lnTo>
                  <a:lnTo>
                    <a:pt x="716" y="749"/>
                  </a:lnTo>
                  <a:lnTo>
                    <a:pt x="718" y="749"/>
                  </a:lnTo>
                  <a:lnTo>
                    <a:pt x="718" y="752"/>
                  </a:lnTo>
                  <a:lnTo>
                    <a:pt x="721" y="755"/>
                  </a:lnTo>
                  <a:lnTo>
                    <a:pt x="721" y="756"/>
                  </a:lnTo>
                  <a:lnTo>
                    <a:pt x="720" y="756"/>
                  </a:lnTo>
                  <a:lnTo>
                    <a:pt x="718" y="758"/>
                  </a:lnTo>
                  <a:lnTo>
                    <a:pt x="718" y="760"/>
                  </a:lnTo>
                  <a:lnTo>
                    <a:pt x="717" y="761"/>
                  </a:lnTo>
                  <a:lnTo>
                    <a:pt x="720" y="760"/>
                  </a:lnTo>
                  <a:lnTo>
                    <a:pt x="720" y="759"/>
                  </a:lnTo>
                  <a:lnTo>
                    <a:pt x="722" y="759"/>
                  </a:lnTo>
                  <a:lnTo>
                    <a:pt x="722" y="760"/>
                  </a:lnTo>
                  <a:lnTo>
                    <a:pt x="723" y="760"/>
                  </a:lnTo>
                  <a:lnTo>
                    <a:pt x="723" y="761"/>
                  </a:lnTo>
                  <a:lnTo>
                    <a:pt x="724" y="762"/>
                  </a:lnTo>
                  <a:lnTo>
                    <a:pt x="723" y="762"/>
                  </a:lnTo>
                  <a:lnTo>
                    <a:pt x="723" y="765"/>
                  </a:lnTo>
                  <a:lnTo>
                    <a:pt x="724" y="768"/>
                  </a:lnTo>
                  <a:lnTo>
                    <a:pt x="724" y="771"/>
                  </a:lnTo>
                  <a:lnTo>
                    <a:pt x="726" y="771"/>
                  </a:lnTo>
                  <a:lnTo>
                    <a:pt x="727" y="773"/>
                  </a:lnTo>
                  <a:lnTo>
                    <a:pt x="727" y="772"/>
                  </a:lnTo>
                  <a:lnTo>
                    <a:pt x="728" y="773"/>
                  </a:lnTo>
                  <a:lnTo>
                    <a:pt x="730" y="774"/>
                  </a:lnTo>
                  <a:lnTo>
                    <a:pt x="730" y="777"/>
                  </a:lnTo>
                  <a:lnTo>
                    <a:pt x="727" y="774"/>
                  </a:lnTo>
                  <a:lnTo>
                    <a:pt x="728" y="777"/>
                  </a:lnTo>
                  <a:lnTo>
                    <a:pt x="728" y="778"/>
                  </a:lnTo>
                  <a:lnTo>
                    <a:pt x="726" y="777"/>
                  </a:lnTo>
                  <a:lnTo>
                    <a:pt x="723" y="774"/>
                  </a:lnTo>
                  <a:lnTo>
                    <a:pt x="723" y="778"/>
                  </a:lnTo>
                  <a:lnTo>
                    <a:pt x="723" y="779"/>
                  </a:lnTo>
                  <a:lnTo>
                    <a:pt x="724" y="779"/>
                  </a:lnTo>
                  <a:lnTo>
                    <a:pt x="726" y="780"/>
                  </a:lnTo>
                  <a:lnTo>
                    <a:pt x="726" y="783"/>
                  </a:lnTo>
                  <a:lnTo>
                    <a:pt x="727" y="784"/>
                  </a:lnTo>
                  <a:lnTo>
                    <a:pt x="727" y="785"/>
                  </a:lnTo>
                  <a:lnTo>
                    <a:pt x="728" y="785"/>
                  </a:lnTo>
                  <a:lnTo>
                    <a:pt x="728" y="783"/>
                  </a:lnTo>
                  <a:lnTo>
                    <a:pt x="729" y="784"/>
                  </a:lnTo>
                  <a:lnTo>
                    <a:pt x="730" y="786"/>
                  </a:lnTo>
                  <a:lnTo>
                    <a:pt x="732" y="789"/>
                  </a:lnTo>
                  <a:lnTo>
                    <a:pt x="733" y="790"/>
                  </a:lnTo>
                  <a:lnTo>
                    <a:pt x="735" y="791"/>
                  </a:lnTo>
                  <a:lnTo>
                    <a:pt x="735" y="792"/>
                  </a:lnTo>
                  <a:lnTo>
                    <a:pt x="736" y="794"/>
                  </a:lnTo>
                  <a:lnTo>
                    <a:pt x="739" y="795"/>
                  </a:lnTo>
                  <a:lnTo>
                    <a:pt x="739" y="797"/>
                  </a:lnTo>
                  <a:lnTo>
                    <a:pt x="738" y="798"/>
                  </a:lnTo>
                  <a:lnTo>
                    <a:pt x="736" y="801"/>
                  </a:lnTo>
                  <a:lnTo>
                    <a:pt x="738" y="802"/>
                  </a:lnTo>
                  <a:lnTo>
                    <a:pt x="736" y="804"/>
                  </a:lnTo>
                  <a:lnTo>
                    <a:pt x="735" y="806"/>
                  </a:lnTo>
                  <a:lnTo>
                    <a:pt x="733" y="806"/>
                  </a:lnTo>
                  <a:lnTo>
                    <a:pt x="732" y="807"/>
                  </a:lnTo>
                  <a:lnTo>
                    <a:pt x="730" y="806"/>
                  </a:lnTo>
                  <a:lnTo>
                    <a:pt x="729" y="806"/>
                  </a:lnTo>
                  <a:lnTo>
                    <a:pt x="728" y="806"/>
                  </a:lnTo>
                  <a:lnTo>
                    <a:pt x="727" y="806"/>
                  </a:lnTo>
                  <a:lnTo>
                    <a:pt x="726" y="803"/>
                  </a:lnTo>
                  <a:lnTo>
                    <a:pt x="724" y="802"/>
                  </a:lnTo>
                  <a:lnTo>
                    <a:pt x="723" y="802"/>
                  </a:lnTo>
                  <a:lnTo>
                    <a:pt x="721" y="801"/>
                  </a:lnTo>
                  <a:lnTo>
                    <a:pt x="720" y="801"/>
                  </a:lnTo>
                  <a:lnTo>
                    <a:pt x="720" y="800"/>
                  </a:lnTo>
                  <a:lnTo>
                    <a:pt x="718" y="798"/>
                  </a:lnTo>
                  <a:lnTo>
                    <a:pt x="715" y="797"/>
                  </a:lnTo>
                  <a:lnTo>
                    <a:pt x="714" y="797"/>
                  </a:lnTo>
                  <a:lnTo>
                    <a:pt x="712" y="797"/>
                  </a:lnTo>
                  <a:lnTo>
                    <a:pt x="712" y="796"/>
                  </a:lnTo>
                  <a:lnTo>
                    <a:pt x="710" y="795"/>
                  </a:lnTo>
                  <a:lnTo>
                    <a:pt x="709" y="792"/>
                  </a:lnTo>
                  <a:lnTo>
                    <a:pt x="709" y="790"/>
                  </a:lnTo>
                  <a:lnTo>
                    <a:pt x="708" y="790"/>
                  </a:lnTo>
                  <a:lnTo>
                    <a:pt x="708" y="791"/>
                  </a:lnTo>
                  <a:lnTo>
                    <a:pt x="706" y="792"/>
                  </a:lnTo>
                  <a:lnTo>
                    <a:pt x="709" y="794"/>
                  </a:lnTo>
                  <a:lnTo>
                    <a:pt x="709" y="795"/>
                  </a:lnTo>
                  <a:lnTo>
                    <a:pt x="705" y="792"/>
                  </a:lnTo>
                  <a:lnTo>
                    <a:pt x="706" y="795"/>
                  </a:lnTo>
                  <a:lnTo>
                    <a:pt x="706" y="796"/>
                  </a:lnTo>
                  <a:lnTo>
                    <a:pt x="705" y="796"/>
                  </a:lnTo>
                  <a:lnTo>
                    <a:pt x="703" y="798"/>
                  </a:lnTo>
                  <a:lnTo>
                    <a:pt x="702" y="798"/>
                  </a:lnTo>
                  <a:lnTo>
                    <a:pt x="700" y="798"/>
                  </a:lnTo>
                  <a:lnTo>
                    <a:pt x="699" y="797"/>
                  </a:lnTo>
                  <a:lnTo>
                    <a:pt x="700" y="796"/>
                  </a:lnTo>
                  <a:lnTo>
                    <a:pt x="704" y="796"/>
                  </a:lnTo>
                  <a:lnTo>
                    <a:pt x="703" y="795"/>
                  </a:lnTo>
                  <a:lnTo>
                    <a:pt x="703" y="794"/>
                  </a:lnTo>
                  <a:lnTo>
                    <a:pt x="702" y="792"/>
                  </a:lnTo>
                  <a:lnTo>
                    <a:pt x="700" y="790"/>
                  </a:lnTo>
                  <a:lnTo>
                    <a:pt x="700" y="791"/>
                  </a:lnTo>
                  <a:lnTo>
                    <a:pt x="699" y="790"/>
                  </a:lnTo>
                  <a:lnTo>
                    <a:pt x="697" y="792"/>
                  </a:lnTo>
                  <a:lnTo>
                    <a:pt x="694" y="791"/>
                  </a:lnTo>
                  <a:lnTo>
                    <a:pt x="697" y="790"/>
                  </a:lnTo>
                  <a:lnTo>
                    <a:pt x="696" y="789"/>
                  </a:lnTo>
                  <a:lnTo>
                    <a:pt x="693" y="788"/>
                  </a:lnTo>
                  <a:lnTo>
                    <a:pt x="692" y="788"/>
                  </a:lnTo>
                  <a:lnTo>
                    <a:pt x="690" y="786"/>
                  </a:lnTo>
                  <a:lnTo>
                    <a:pt x="690" y="788"/>
                  </a:lnTo>
                  <a:lnTo>
                    <a:pt x="687" y="788"/>
                  </a:lnTo>
                  <a:lnTo>
                    <a:pt x="685" y="786"/>
                  </a:lnTo>
                  <a:lnTo>
                    <a:pt x="684" y="786"/>
                  </a:lnTo>
                  <a:lnTo>
                    <a:pt x="685" y="785"/>
                  </a:lnTo>
                  <a:lnTo>
                    <a:pt x="684" y="783"/>
                  </a:lnTo>
                  <a:lnTo>
                    <a:pt x="682" y="784"/>
                  </a:lnTo>
                  <a:lnTo>
                    <a:pt x="681" y="784"/>
                  </a:lnTo>
                  <a:lnTo>
                    <a:pt x="680" y="784"/>
                  </a:lnTo>
                  <a:lnTo>
                    <a:pt x="680" y="785"/>
                  </a:lnTo>
                  <a:lnTo>
                    <a:pt x="678" y="785"/>
                  </a:lnTo>
                  <a:lnTo>
                    <a:pt x="678" y="786"/>
                  </a:lnTo>
                  <a:lnTo>
                    <a:pt x="679" y="788"/>
                  </a:lnTo>
                  <a:lnTo>
                    <a:pt x="680" y="789"/>
                  </a:lnTo>
                  <a:lnTo>
                    <a:pt x="681" y="790"/>
                  </a:lnTo>
                  <a:lnTo>
                    <a:pt x="682" y="791"/>
                  </a:lnTo>
                  <a:lnTo>
                    <a:pt x="685" y="794"/>
                  </a:lnTo>
                  <a:lnTo>
                    <a:pt x="684" y="794"/>
                  </a:lnTo>
                  <a:lnTo>
                    <a:pt x="682" y="792"/>
                  </a:lnTo>
                  <a:lnTo>
                    <a:pt x="681" y="791"/>
                  </a:lnTo>
                  <a:lnTo>
                    <a:pt x="680" y="792"/>
                  </a:lnTo>
                  <a:lnTo>
                    <a:pt x="678" y="792"/>
                  </a:lnTo>
                  <a:lnTo>
                    <a:pt x="676" y="792"/>
                  </a:lnTo>
                  <a:lnTo>
                    <a:pt x="675" y="792"/>
                  </a:lnTo>
                  <a:lnTo>
                    <a:pt x="675" y="794"/>
                  </a:lnTo>
                  <a:lnTo>
                    <a:pt x="674" y="794"/>
                  </a:lnTo>
                  <a:lnTo>
                    <a:pt x="671" y="797"/>
                  </a:lnTo>
                  <a:lnTo>
                    <a:pt x="669" y="798"/>
                  </a:lnTo>
                  <a:lnTo>
                    <a:pt x="668" y="798"/>
                  </a:lnTo>
                  <a:lnTo>
                    <a:pt x="665" y="800"/>
                  </a:lnTo>
                  <a:lnTo>
                    <a:pt x="664" y="798"/>
                  </a:lnTo>
                  <a:lnTo>
                    <a:pt x="663" y="798"/>
                  </a:lnTo>
                  <a:lnTo>
                    <a:pt x="663" y="800"/>
                  </a:lnTo>
                  <a:lnTo>
                    <a:pt x="664" y="801"/>
                  </a:lnTo>
                  <a:lnTo>
                    <a:pt x="665" y="802"/>
                  </a:lnTo>
                  <a:lnTo>
                    <a:pt x="669" y="803"/>
                  </a:lnTo>
                  <a:lnTo>
                    <a:pt x="669" y="804"/>
                  </a:lnTo>
                  <a:lnTo>
                    <a:pt x="669" y="806"/>
                  </a:lnTo>
                  <a:lnTo>
                    <a:pt x="668" y="806"/>
                  </a:lnTo>
                  <a:lnTo>
                    <a:pt x="663" y="803"/>
                  </a:lnTo>
                  <a:lnTo>
                    <a:pt x="663" y="806"/>
                  </a:lnTo>
                  <a:lnTo>
                    <a:pt x="662" y="806"/>
                  </a:lnTo>
                  <a:lnTo>
                    <a:pt x="661" y="804"/>
                  </a:lnTo>
                  <a:lnTo>
                    <a:pt x="657" y="806"/>
                  </a:lnTo>
                  <a:lnTo>
                    <a:pt x="656" y="803"/>
                  </a:lnTo>
                  <a:lnTo>
                    <a:pt x="653" y="803"/>
                  </a:lnTo>
                  <a:lnTo>
                    <a:pt x="652" y="804"/>
                  </a:lnTo>
                  <a:lnTo>
                    <a:pt x="651" y="804"/>
                  </a:lnTo>
                  <a:lnTo>
                    <a:pt x="650" y="802"/>
                  </a:lnTo>
                  <a:lnTo>
                    <a:pt x="645" y="801"/>
                  </a:lnTo>
                  <a:lnTo>
                    <a:pt x="644" y="801"/>
                  </a:lnTo>
                  <a:lnTo>
                    <a:pt x="643" y="802"/>
                  </a:lnTo>
                  <a:lnTo>
                    <a:pt x="643" y="803"/>
                  </a:lnTo>
                  <a:lnTo>
                    <a:pt x="643" y="804"/>
                  </a:lnTo>
                  <a:lnTo>
                    <a:pt x="644" y="807"/>
                  </a:lnTo>
                  <a:lnTo>
                    <a:pt x="645" y="808"/>
                  </a:lnTo>
                  <a:lnTo>
                    <a:pt x="645" y="809"/>
                  </a:lnTo>
                  <a:lnTo>
                    <a:pt x="644" y="809"/>
                  </a:lnTo>
                  <a:lnTo>
                    <a:pt x="643" y="808"/>
                  </a:lnTo>
                  <a:lnTo>
                    <a:pt x="641" y="808"/>
                  </a:lnTo>
                  <a:lnTo>
                    <a:pt x="641" y="809"/>
                  </a:lnTo>
                  <a:lnTo>
                    <a:pt x="639" y="808"/>
                  </a:lnTo>
                  <a:lnTo>
                    <a:pt x="637" y="812"/>
                  </a:lnTo>
                  <a:lnTo>
                    <a:pt x="635" y="809"/>
                  </a:lnTo>
                  <a:lnTo>
                    <a:pt x="634" y="809"/>
                  </a:lnTo>
                  <a:lnTo>
                    <a:pt x="632" y="810"/>
                  </a:lnTo>
                  <a:lnTo>
                    <a:pt x="631" y="810"/>
                  </a:lnTo>
                  <a:lnTo>
                    <a:pt x="631" y="809"/>
                  </a:lnTo>
                  <a:lnTo>
                    <a:pt x="631" y="808"/>
                  </a:lnTo>
                  <a:lnTo>
                    <a:pt x="629" y="804"/>
                  </a:lnTo>
                  <a:lnTo>
                    <a:pt x="631" y="802"/>
                  </a:lnTo>
                  <a:lnTo>
                    <a:pt x="634" y="803"/>
                  </a:lnTo>
                  <a:lnTo>
                    <a:pt x="634" y="801"/>
                  </a:lnTo>
                  <a:lnTo>
                    <a:pt x="635" y="798"/>
                  </a:lnTo>
                  <a:lnTo>
                    <a:pt x="634" y="797"/>
                  </a:lnTo>
                  <a:lnTo>
                    <a:pt x="633" y="798"/>
                  </a:lnTo>
                  <a:lnTo>
                    <a:pt x="632" y="802"/>
                  </a:lnTo>
                  <a:lnTo>
                    <a:pt x="629" y="798"/>
                  </a:lnTo>
                  <a:lnTo>
                    <a:pt x="627" y="797"/>
                  </a:lnTo>
                  <a:lnTo>
                    <a:pt x="627" y="795"/>
                  </a:lnTo>
                  <a:lnTo>
                    <a:pt x="625" y="796"/>
                  </a:lnTo>
                  <a:lnTo>
                    <a:pt x="623" y="792"/>
                  </a:lnTo>
                  <a:lnTo>
                    <a:pt x="625" y="790"/>
                  </a:lnTo>
                  <a:lnTo>
                    <a:pt x="627" y="791"/>
                  </a:lnTo>
                  <a:lnTo>
                    <a:pt x="627" y="790"/>
                  </a:lnTo>
                  <a:lnTo>
                    <a:pt x="628" y="790"/>
                  </a:lnTo>
                  <a:lnTo>
                    <a:pt x="629" y="790"/>
                  </a:lnTo>
                  <a:lnTo>
                    <a:pt x="635" y="791"/>
                  </a:lnTo>
                  <a:lnTo>
                    <a:pt x="635" y="790"/>
                  </a:lnTo>
                  <a:lnTo>
                    <a:pt x="634" y="790"/>
                  </a:lnTo>
                  <a:lnTo>
                    <a:pt x="634" y="789"/>
                  </a:lnTo>
                  <a:lnTo>
                    <a:pt x="637" y="789"/>
                  </a:lnTo>
                  <a:lnTo>
                    <a:pt x="637" y="786"/>
                  </a:lnTo>
                  <a:lnTo>
                    <a:pt x="639" y="785"/>
                  </a:lnTo>
                  <a:lnTo>
                    <a:pt x="641" y="785"/>
                  </a:lnTo>
                  <a:lnTo>
                    <a:pt x="640" y="782"/>
                  </a:lnTo>
                  <a:lnTo>
                    <a:pt x="639" y="780"/>
                  </a:lnTo>
                  <a:lnTo>
                    <a:pt x="640" y="778"/>
                  </a:lnTo>
                  <a:lnTo>
                    <a:pt x="640" y="777"/>
                  </a:lnTo>
                  <a:lnTo>
                    <a:pt x="641" y="774"/>
                  </a:lnTo>
                  <a:lnTo>
                    <a:pt x="643" y="771"/>
                  </a:lnTo>
                  <a:lnTo>
                    <a:pt x="643" y="770"/>
                  </a:lnTo>
                  <a:lnTo>
                    <a:pt x="644" y="770"/>
                  </a:lnTo>
                  <a:lnTo>
                    <a:pt x="645" y="768"/>
                  </a:lnTo>
                  <a:lnTo>
                    <a:pt x="646" y="767"/>
                  </a:lnTo>
                  <a:lnTo>
                    <a:pt x="646" y="766"/>
                  </a:lnTo>
                  <a:lnTo>
                    <a:pt x="645" y="766"/>
                  </a:lnTo>
                  <a:lnTo>
                    <a:pt x="643" y="767"/>
                  </a:lnTo>
                  <a:lnTo>
                    <a:pt x="641" y="768"/>
                  </a:lnTo>
                  <a:lnTo>
                    <a:pt x="641" y="765"/>
                  </a:lnTo>
                  <a:lnTo>
                    <a:pt x="638" y="765"/>
                  </a:lnTo>
                  <a:lnTo>
                    <a:pt x="635" y="765"/>
                  </a:lnTo>
                  <a:lnTo>
                    <a:pt x="633" y="764"/>
                  </a:lnTo>
                  <a:lnTo>
                    <a:pt x="634" y="760"/>
                  </a:lnTo>
                  <a:lnTo>
                    <a:pt x="634" y="759"/>
                  </a:lnTo>
                  <a:lnTo>
                    <a:pt x="635" y="759"/>
                  </a:lnTo>
                  <a:lnTo>
                    <a:pt x="638" y="760"/>
                  </a:lnTo>
                  <a:lnTo>
                    <a:pt x="639" y="759"/>
                  </a:lnTo>
                  <a:lnTo>
                    <a:pt x="640" y="759"/>
                  </a:lnTo>
                  <a:lnTo>
                    <a:pt x="639" y="758"/>
                  </a:lnTo>
                  <a:lnTo>
                    <a:pt x="638" y="758"/>
                  </a:lnTo>
                  <a:lnTo>
                    <a:pt x="638" y="755"/>
                  </a:lnTo>
                  <a:lnTo>
                    <a:pt x="637" y="755"/>
                  </a:lnTo>
                  <a:lnTo>
                    <a:pt x="637" y="754"/>
                  </a:lnTo>
                  <a:lnTo>
                    <a:pt x="638" y="753"/>
                  </a:lnTo>
                  <a:lnTo>
                    <a:pt x="638" y="754"/>
                  </a:lnTo>
                  <a:lnTo>
                    <a:pt x="638" y="752"/>
                  </a:lnTo>
                  <a:lnTo>
                    <a:pt x="638" y="750"/>
                  </a:lnTo>
                  <a:lnTo>
                    <a:pt x="638" y="748"/>
                  </a:lnTo>
                  <a:lnTo>
                    <a:pt x="639" y="748"/>
                  </a:lnTo>
                  <a:lnTo>
                    <a:pt x="640" y="748"/>
                  </a:lnTo>
                  <a:lnTo>
                    <a:pt x="643" y="748"/>
                  </a:lnTo>
                  <a:lnTo>
                    <a:pt x="640" y="747"/>
                  </a:lnTo>
                  <a:lnTo>
                    <a:pt x="638" y="746"/>
                  </a:lnTo>
                  <a:lnTo>
                    <a:pt x="638" y="743"/>
                  </a:lnTo>
                  <a:lnTo>
                    <a:pt x="635" y="741"/>
                  </a:lnTo>
                  <a:lnTo>
                    <a:pt x="635" y="740"/>
                  </a:lnTo>
                  <a:lnTo>
                    <a:pt x="634" y="738"/>
                  </a:lnTo>
                  <a:lnTo>
                    <a:pt x="635" y="737"/>
                  </a:lnTo>
                  <a:lnTo>
                    <a:pt x="637" y="736"/>
                  </a:lnTo>
                  <a:lnTo>
                    <a:pt x="638" y="736"/>
                  </a:lnTo>
                  <a:lnTo>
                    <a:pt x="638" y="735"/>
                  </a:lnTo>
                  <a:lnTo>
                    <a:pt x="634" y="734"/>
                  </a:lnTo>
                  <a:lnTo>
                    <a:pt x="632" y="734"/>
                  </a:lnTo>
                  <a:lnTo>
                    <a:pt x="632" y="735"/>
                  </a:lnTo>
                  <a:lnTo>
                    <a:pt x="632" y="737"/>
                  </a:lnTo>
                  <a:lnTo>
                    <a:pt x="631" y="737"/>
                  </a:lnTo>
                  <a:lnTo>
                    <a:pt x="629" y="737"/>
                  </a:lnTo>
                  <a:lnTo>
                    <a:pt x="628" y="736"/>
                  </a:lnTo>
                  <a:lnTo>
                    <a:pt x="628" y="732"/>
                  </a:lnTo>
                  <a:lnTo>
                    <a:pt x="625" y="731"/>
                  </a:lnTo>
                  <a:lnTo>
                    <a:pt x="617" y="730"/>
                  </a:lnTo>
                  <a:lnTo>
                    <a:pt x="610" y="729"/>
                  </a:lnTo>
                  <a:lnTo>
                    <a:pt x="606" y="729"/>
                  </a:lnTo>
                  <a:lnTo>
                    <a:pt x="604" y="728"/>
                  </a:lnTo>
                  <a:lnTo>
                    <a:pt x="600" y="728"/>
                  </a:lnTo>
                  <a:lnTo>
                    <a:pt x="598" y="728"/>
                  </a:lnTo>
                  <a:lnTo>
                    <a:pt x="596" y="728"/>
                  </a:lnTo>
                  <a:lnTo>
                    <a:pt x="594" y="729"/>
                  </a:lnTo>
                  <a:lnTo>
                    <a:pt x="593" y="730"/>
                  </a:lnTo>
                  <a:lnTo>
                    <a:pt x="596" y="732"/>
                  </a:lnTo>
                  <a:lnTo>
                    <a:pt x="593" y="732"/>
                  </a:lnTo>
                  <a:lnTo>
                    <a:pt x="592" y="732"/>
                  </a:lnTo>
                  <a:lnTo>
                    <a:pt x="591" y="731"/>
                  </a:lnTo>
                  <a:lnTo>
                    <a:pt x="588" y="732"/>
                  </a:lnTo>
                  <a:lnTo>
                    <a:pt x="587" y="732"/>
                  </a:lnTo>
                  <a:lnTo>
                    <a:pt x="586" y="731"/>
                  </a:lnTo>
                  <a:lnTo>
                    <a:pt x="585" y="732"/>
                  </a:lnTo>
                  <a:lnTo>
                    <a:pt x="586" y="735"/>
                  </a:lnTo>
                  <a:lnTo>
                    <a:pt x="586" y="736"/>
                  </a:lnTo>
                  <a:lnTo>
                    <a:pt x="585" y="736"/>
                  </a:lnTo>
                  <a:lnTo>
                    <a:pt x="582" y="736"/>
                  </a:lnTo>
                  <a:lnTo>
                    <a:pt x="580" y="736"/>
                  </a:lnTo>
                  <a:lnTo>
                    <a:pt x="579" y="735"/>
                  </a:lnTo>
                  <a:lnTo>
                    <a:pt x="575" y="736"/>
                  </a:lnTo>
                  <a:lnTo>
                    <a:pt x="574" y="737"/>
                  </a:lnTo>
                  <a:lnTo>
                    <a:pt x="574" y="738"/>
                  </a:lnTo>
                  <a:lnTo>
                    <a:pt x="573" y="740"/>
                  </a:lnTo>
                  <a:lnTo>
                    <a:pt x="572" y="740"/>
                  </a:lnTo>
                  <a:lnTo>
                    <a:pt x="570" y="741"/>
                  </a:lnTo>
                  <a:lnTo>
                    <a:pt x="569" y="747"/>
                  </a:lnTo>
                  <a:lnTo>
                    <a:pt x="568" y="747"/>
                  </a:lnTo>
                  <a:lnTo>
                    <a:pt x="567" y="748"/>
                  </a:lnTo>
                  <a:lnTo>
                    <a:pt x="564" y="748"/>
                  </a:lnTo>
                  <a:lnTo>
                    <a:pt x="564" y="747"/>
                  </a:lnTo>
                  <a:lnTo>
                    <a:pt x="561" y="748"/>
                  </a:lnTo>
                  <a:lnTo>
                    <a:pt x="562" y="744"/>
                  </a:lnTo>
                  <a:lnTo>
                    <a:pt x="558" y="744"/>
                  </a:lnTo>
                  <a:lnTo>
                    <a:pt x="557" y="742"/>
                  </a:lnTo>
                  <a:lnTo>
                    <a:pt x="555" y="741"/>
                  </a:lnTo>
                  <a:lnTo>
                    <a:pt x="553" y="741"/>
                  </a:lnTo>
                  <a:lnTo>
                    <a:pt x="552" y="740"/>
                  </a:lnTo>
                  <a:lnTo>
                    <a:pt x="547" y="741"/>
                  </a:lnTo>
                  <a:lnTo>
                    <a:pt x="544" y="742"/>
                  </a:lnTo>
                  <a:lnTo>
                    <a:pt x="539" y="743"/>
                  </a:lnTo>
                  <a:lnTo>
                    <a:pt x="538" y="744"/>
                  </a:lnTo>
                  <a:lnTo>
                    <a:pt x="537" y="746"/>
                  </a:lnTo>
                  <a:lnTo>
                    <a:pt x="541" y="747"/>
                  </a:lnTo>
                  <a:lnTo>
                    <a:pt x="543" y="746"/>
                  </a:lnTo>
                  <a:lnTo>
                    <a:pt x="544" y="744"/>
                  </a:lnTo>
                  <a:lnTo>
                    <a:pt x="549" y="747"/>
                  </a:lnTo>
                  <a:lnTo>
                    <a:pt x="549" y="748"/>
                  </a:lnTo>
                  <a:lnTo>
                    <a:pt x="547" y="749"/>
                  </a:lnTo>
                  <a:lnTo>
                    <a:pt x="545" y="752"/>
                  </a:lnTo>
                  <a:lnTo>
                    <a:pt x="547" y="753"/>
                  </a:lnTo>
                  <a:lnTo>
                    <a:pt x="547" y="758"/>
                  </a:lnTo>
                  <a:lnTo>
                    <a:pt x="547" y="760"/>
                  </a:lnTo>
                  <a:lnTo>
                    <a:pt x="546" y="761"/>
                  </a:lnTo>
                  <a:lnTo>
                    <a:pt x="547" y="761"/>
                  </a:lnTo>
                  <a:lnTo>
                    <a:pt x="549" y="760"/>
                  </a:lnTo>
                  <a:lnTo>
                    <a:pt x="550" y="761"/>
                  </a:lnTo>
                  <a:lnTo>
                    <a:pt x="549" y="765"/>
                  </a:lnTo>
                  <a:lnTo>
                    <a:pt x="549" y="767"/>
                  </a:lnTo>
                  <a:lnTo>
                    <a:pt x="547" y="767"/>
                  </a:lnTo>
                  <a:lnTo>
                    <a:pt x="545" y="766"/>
                  </a:lnTo>
                  <a:lnTo>
                    <a:pt x="544" y="766"/>
                  </a:lnTo>
                  <a:lnTo>
                    <a:pt x="544" y="768"/>
                  </a:lnTo>
                  <a:lnTo>
                    <a:pt x="546" y="768"/>
                  </a:lnTo>
                  <a:lnTo>
                    <a:pt x="547" y="770"/>
                  </a:lnTo>
                  <a:lnTo>
                    <a:pt x="549" y="772"/>
                  </a:lnTo>
                  <a:lnTo>
                    <a:pt x="549" y="773"/>
                  </a:lnTo>
                  <a:lnTo>
                    <a:pt x="547" y="774"/>
                  </a:lnTo>
                  <a:lnTo>
                    <a:pt x="546" y="776"/>
                  </a:lnTo>
                  <a:lnTo>
                    <a:pt x="544" y="774"/>
                  </a:lnTo>
                  <a:lnTo>
                    <a:pt x="543" y="773"/>
                  </a:lnTo>
                  <a:lnTo>
                    <a:pt x="539" y="773"/>
                  </a:lnTo>
                  <a:lnTo>
                    <a:pt x="539" y="774"/>
                  </a:lnTo>
                  <a:lnTo>
                    <a:pt x="538" y="776"/>
                  </a:lnTo>
                  <a:lnTo>
                    <a:pt x="538" y="777"/>
                  </a:lnTo>
                  <a:lnTo>
                    <a:pt x="539" y="777"/>
                  </a:lnTo>
                  <a:lnTo>
                    <a:pt x="541" y="776"/>
                  </a:lnTo>
                  <a:lnTo>
                    <a:pt x="544" y="776"/>
                  </a:lnTo>
                  <a:lnTo>
                    <a:pt x="545" y="776"/>
                  </a:lnTo>
                  <a:lnTo>
                    <a:pt x="545" y="777"/>
                  </a:lnTo>
                  <a:lnTo>
                    <a:pt x="546" y="777"/>
                  </a:lnTo>
                  <a:lnTo>
                    <a:pt x="546" y="778"/>
                  </a:lnTo>
                  <a:lnTo>
                    <a:pt x="543" y="779"/>
                  </a:lnTo>
                  <a:lnTo>
                    <a:pt x="540" y="782"/>
                  </a:lnTo>
                  <a:lnTo>
                    <a:pt x="539" y="780"/>
                  </a:lnTo>
                  <a:lnTo>
                    <a:pt x="539" y="782"/>
                  </a:lnTo>
                  <a:lnTo>
                    <a:pt x="540" y="783"/>
                  </a:lnTo>
                  <a:lnTo>
                    <a:pt x="537" y="784"/>
                  </a:lnTo>
                  <a:lnTo>
                    <a:pt x="539" y="785"/>
                  </a:lnTo>
                  <a:lnTo>
                    <a:pt x="540" y="786"/>
                  </a:lnTo>
                  <a:lnTo>
                    <a:pt x="540" y="788"/>
                  </a:lnTo>
                  <a:lnTo>
                    <a:pt x="540" y="789"/>
                  </a:lnTo>
                  <a:lnTo>
                    <a:pt x="539" y="789"/>
                  </a:lnTo>
                  <a:lnTo>
                    <a:pt x="538" y="788"/>
                  </a:lnTo>
                  <a:lnTo>
                    <a:pt x="535" y="788"/>
                  </a:lnTo>
                  <a:lnTo>
                    <a:pt x="534" y="785"/>
                  </a:lnTo>
                  <a:lnTo>
                    <a:pt x="534" y="783"/>
                  </a:lnTo>
                  <a:lnTo>
                    <a:pt x="533" y="783"/>
                  </a:lnTo>
                  <a:lnTo>
                    <a:pt x="533" y="784"/>
                  </a:lnTo>
                  <a:lnTo>
                    <a:pt x="533" y="785"/>
                  </a:lnTo>
                  <a:lnTo>
                    <a:pt x="532" y="785"/>
                  </a:lnTo>
                  <a:lnTo>
                    <a:pt x="532" y="784"/>
                  </a:lnTo>
                  <a:lnTo>
                    <a:pt x="528" y="786"/>
                  </a:lnTo>
                  <a:lnTo>
                    <a:pt x="528" y="785"/>
                  </a:lnTo>
                  <a:lnTo>
                    <a:pt x="527" y="784"/>
                  </a:lnTo>
                  <a:lnTo>
                    <a:pt x="527" y="783"/>
                  </a:lnTo>
                  <a:lnTo>
                    <a:pt x="528" y="782"/>
                  </a:lnTo>
                  <a:lnTo>
                    <a:pt x="525" y="779"/>
                  </a:lnTo>
                  <a:lnTo>
                    <a:pt x="527" y="779"/>
                  </a:lnTo>
                  <a:lnTo>
                    <a:pt x="528" y="780"/>
                  </a:lnTo>
                  <a:lnTo>
                    <a:pt x="529" y="779"/>
                  </a:lnTo>
                  <a:lnTo>
                    <a:pt x="529" y="780"/>
                  </a:lnTo>
                  <a:lnTo>
                    <a:pt x="531" y="782"/>
                  </a:lnTo>
                  <a:lnTo>
                    <a:pt x="533" y="782"/>
                  </a:lnTo>
                  <a:lnTo>
                    <a:pt x="532" y="780"/>
                  </a:lnTo>
                  <a:lnTo>
                    <a:pt x="531" y="779"/>
                  </a:lnTo>
                  <a:lnTo>
                    <a:pt x="529" y="777"/>
                  </a:lnTo>
                  <a:lnTo>
                    <a:pt x="528" y="777"/>
                  </a:lnTo>
                  <a:lnTo>
                    <a:pt x="527" y="777"/>
                  </a:lnTo>
                  <a:lnTo>
                    <a:pt x="526" y="776"/>
                  </a:lnTo>
                  <a:lnTo>
                    <a:pt x="527" y="776"/>
                  </a:lnTo>
                  <a:lnTo>
                    <a:pt x="528" y="774"/>
                  </a:lnTo>
                  <a:lnTo>
                    <a:pt x="529" y="772"/>
                  </a:lnTo>
                  <a:lnTo>
                    <a:pt x="531" y="771"/>
                  </a:lnTo>
                  <a:lnTo>
                    <a:pt x="529" y="771"/>
                  </a:lnTo>
                  <a:lnTo>
                    <a:pt x="528" y="772"/>
                  </a:lnTo>
                  <a:lnTo>
                    <a:pt x="526" y="774"/>
                  </a:lnTo>
                  <a:lnTo>
                    <a:pt x="523" y="776"/>
                  </a:lnTo>
                  <a:lnTo>
                    <a:pt x="521" y="779"/>
                  </a:lnTo>
                  <a:lnTo>
                    <a:pt x="517" y="783"/>
                  </a:lnTo>
                  <a:lnTo>
                    <a:pt x="511" y="790"/>
                  </a:lnTo>
                  <a:lnTo>
                    <a:pt x="509" y="794"/>
                  </a:lnTo>
                  <a:lnTo>
                    <a:pt x="509" y="797"/>
                  </a:lnTo>
                  <a:lnTo>
                    <a:pt x="510" y="800"/>
                  </a:lnTo>
                  <a:lnTo>
                    <a:pt x="511" y="801"/>
                  </a:lnTo>
                  <a:lnTo>
                    <a:pt x="514" y="802"/>
                  </a:lnTo>
                  <a:lnTo>
                    <a:pt x="515" y="803"/>
                  </a:lnTo>
                  <a:lnTo>
                    <a:pt x="520" y="802"/>
                  </a:lnTo>
                  <a:lnTo>
                    <a:pt x="525" y="801"/>
                  </a:lnTo>
                  <a:lnTo>
                    <a:pt x="529" y="800"/>
                  </a:lnTo>
                  <a:lnTo>
                    <a:pt x="535" y="798"/>
                  </a:lnTo>
                  <a:lnTo>
                    <a:pt x="540" y="798"/>
                  </a:lnTo>
                  <a:lnTo>
                    <a:pt x="546" y="797"/>
                  </a:lnTo>
                  <a:lnTo>
                    <a:pt x="551" y="796"/>
                  </a:lnTo>
                  <a:lnTo>
                    <a:pt x="556" y="794"/>
                  </a:lnTo>
                  <a:lnTo>
                    <a:pt x="567" y="794"/>
                  </a:lnTo>
                  <a:lnTo>
                    <a:pt x="579" y="792"/>
                  </a:lnTo>
                  <a:lnTo>
                    <a:pt x="591" y="791"/>
                  </a:lnTo>
                  <a:lnTo>
                    <a:pt x="593" y="791"/>
                  </a:lnTo>
                  <a:lnTo>
                    <a:pt x="594" y="789"/>
                  </a:lnTo>
                  <a:lnTo>
                    <a:pt x="597" y="786"/>
                  </a:lnTo>
                  <a:lnTo>
                    <a:pt x="597" y="785"/>
                  </a:lnTo>
                  <a:lnTo>
                    <a:pt x="598" y="786"/>
                  </a:lnTo>
                  <a:lnTo>
                    <a:pt x="597" y="789"/>
                  </a:lnTo>
                  <a:lnTo>
                    <a:pt x="598" y="790"/>
                  </a:lnTo>
                  <a:lnTo>
                    <a:pt x="600" y="790"/>
                  </a:lnTo>
                  <a:lnTo>
                    <a:pt x="603" y="790"/>
                  </a:lnTo>
                  <a:lnTo>
                    <a:pt x="604" y="790"/>
                  </a:lnTo>
                  <a:lnTo>
                    <a:pt x="603" y="791"/>
                  </a:lnTo>
                  <a:lnTo>
                    <a:pt x="599" y="794"/>
                  </a:lnTo>
                  <a:lnTo>
                    <a:pt x="597" y="795"/>
                  </a:lnTo>
                  <a:lnTo>
                    <a:pt x="593" y="795"/>
                  </a:lnTo>
                  <a:lnTo>
                    <a:pt x="587" y="797"/>
                  </a:lnTo>
                  <a:lnTo>
                    <a:pt x="581" y="797"/>
                  </a:lnTo>
                  <a:lnTo>
                    <a:pt x="574" y="797"/>
                  </a:lnTo>
                  <a:lnTo>
                    <a:pt x="570" y="798"/>
                  </a:lnTo>
                  <a:lnTo>
                    <a:pt x="567" y="800"/>
                  </a:lnTo>
                  <a:lnTo>
                    <a:pt x="560" y="800"/>
                  </a:lnTo>
                  <a:lnTo>
                    <a:pt x="553" y="801"/>
                  </a:lnTo>
                  <a:lnTo>
                    <a:pt x="549" y="802"/>
                  </a:lnTo>
                  <a:lnTo>
                    <a:pt x="543" y="804"/>
                  </a:lnTo>
                  <a:lnTo>
                    <a:pt x="539" y="806"/>
                  </a:lnTo>
                  <a:lnTo>
                    <a:pt x="535" y="807"/>
                  </a:lnTo>
                  <a:lnTo>
                    <a:pt x="531" y="808"/>
                  </a:lnTo>
                  <a:lnTo>
                    <a:pt x="527" y="809"/>
                  </a:lnTo>
                  <a:lnTo>
                    <a:pt x="523" y="812"/>
                  </a:lnTo>
                  <a:lnTo>
                    <a:pt x="520" y="813"/>
                  </a:lnTo>
                  <a:lnTo>
                    <a:pt x="515" y="814"/>
                  </a:lnTo>
                  <a:lnTo>
                    <a:pt x="513" y="815"/>
                  </a:lnTo>
                  <a:lnTo>
                    <a:pt x="511" y="817"/>
                  </a:lnTo>
                  <a:lnTo>
                    <a:pt x="511" y="818"/>
                  </a:lnTo>
                  <a:lnTo>
                    <a:pt x="511" y="819"/>
                  </a:lnTo>
                  <a:lnTo>
                    <a:pt x="513" y="823"/>
                  </a:lnTo>
                  <a:lnTo>
                    <a:pt x="514" y="826"/>
                  </a:lnTo>
                  <a:lnTo>
                    <a:pt x="515" y="830"/>
                  </a:lnTo>
                  <a:lnTo>
                    <a:pt x="515" y="833"/>
                  </a:lnTo>
                  <a:lnTo>
                    <a:pt x="515" y="837"/>
                  </a:lnTo>
                  <a:lnTo>
                    <a:pt x="513" y="842"/>
                  </a:lnTo>
                  <a:lnTo>
                    <a:pt x="511" y="847"/>
                  </a:lnTo>
                  <a:lnTo>
                    <a:pt x="510" y="853"/>
                  </a:lnTo>
                  <a:lnTo>
                    <a:pt x="510" y="857"/>
                  </a:lnTo>
                  <a:lnTo>
                    <a:pt x="509" y="861"/>
                  </a:lnTo>
                  <a:lnTo>
                    <a:pt x="509" y="869"/>
                  </a:lnTo>
                  <a:lnTo>
                    <a:pt x="510" y="877"/>
                  </a:lnTo>
                  <a:lnTo>
                    <a:pt x="510" y="884"/>
                  </a:lnTo>
                  <a:lnTo>
                    <a:pt x="511" y="891"/>
                  </a:lnTo>
                  <a:lnTo>
                    <a:pt x="511" y="926"/>
                  </a:lnTo>
                  <a:lnTo>
                    <a:pt x="511" y="937"/>
                  </a:lnTo>
                  <a:lnTo>
                    <a:pt x="510" y="946"/>
                  </a:lnTo>
                  <a:lnTo>
                    <a:pt x="510" y="950"/>
                  </a:lnTo>
                  <a:lnTo>
                    <a:pt x="509" y="952"/>
                  </a:lnTo>
                  <a:lnTo>
                    <a:pt x="508" y="955"/>
                  </a:lnTo>
                  <a:lnTo>
                    <a:pt x="505" y="957"/>
                  </a:lnTo>
                  <a:lnTo>
                    <a:pt x="501" y="958"/>
                  </a:lnTo>
                  <a:lnTo>
                    <a:pt x="497" y="960"/>
                  </a:lnTo>
                  <a:lnTo>
                    <a:pt x="492" y="960"/>
                  </a:lnTo>
                  <a:lnTo>
                    <a:pt x="487" y="960"/>
                  </a:lnTo>
                  <a:lnTo>
                    <a:pt x="481" y="958"/>
                  </a:lnTo>
                  <a:lnTo>
                    <a:pt x="478" y="958"/>
                  </a:lnTo>
                  <a:lnTo>
                    <a:pt x="473" y="957"/>
                  </a:lnTo>
                  <a:lnTo>
                    <a:pt x="472" y="956"/>
                  </a:lnTo>
                  <a:lnTo>
                    <a:pt x="470" y="955"/>
                  </a:lnTo>
                  <a:lnTo>
                    <a:pt x="469" y="954"/>
                  </a:lnTo>
                  <a:lnTo>
                    <a:pt x="468" y="952"/>
                  </a:lnTo>
                  <a:lnTo>
                    <a:pt x="469" y="946"/>
                  </a:lnTo>
                  <a:lnTo>
                    <a:pt x="470" y="942"/>
                  </a:lnTo>
                  <a:lnTo>
                    <a:pt x="470" y="940"/>
                  </a:lnTo>
                  <a:lnTo>
                    <a:pt x="472" y="937"/>
                  </a:lnTo>
                  <a:lnTo>
                    <a:pt x="472" y="932"/>
                  </a:lnTo>
                  <a:lnTo>
                    <a:pt x="472" y="928"/>
                  </a:lnTo>
                  <a:lnTo>
                    <a:pt x="473" y="924"/>
                  </a:lnTo>
                  <a:lnTo>
                    <a:pt x="473" y="904"/>
                  </a:lnTo>
                  <a:lnTo>
                    <a:pt x="473" y="901"/>
                  </a:lnTo>
                  <a:lnTo>
                    <a:pt x="472" y="896"/>
                  </a:lnTo>
                  <a:lnTo>
                    <a:pt x="472" y="892"/>
                  </a:lnTo>
                  <a:lnTo>
                    <a:pt x="472" y="889"/>
                  </a:lnTo>
                  <a:lnTo>
                    <a:pt x="474" y="881"/>
                  </a:lnTo>
                  <a:lnTo>
                    <a:pt x="474" y="878"/>
                  </a:lnTo>
                  <a:lnTo>
                    <a:pt x="474" y="873"/>
                  </a:lnTo>
                  <a:lnTo>
                    <a:pt x="474" y="865"/>
                  </a:lnTo>
                  <a:lnTo>
                    <a:pt x="474" y="860"/>
                  </a:lnTo>
                  <a:lnTo>
                    <a:pt x="475" y="855"/>
                  </a:lnTo>
                  <a:lnTo>
                    <a:pt x="475" y="850"/>
                  </a:lnTo>
                  <a:lnTo>
                    <a:pt x="476" y="847"/>
                  </a:lnTo>
                  <a:lnTo>
                    <a:pt x="475" y="837"/>
                  </a:lnTo>
                  <a:lnTo>
                    <a:pt x="475" y="833"/>
                  </a:lnTo>
                  <a:lnTo>
                    <a:pt x="475" y="831"/>
                  </a:lnTo>
                  <a:lnTo>
                    <a:pt x="473" y="830"/>
                  </a:lnTo>
                  <a:lnTo>
                    <a:pt x="472" y="827"/>
                  </a:lnTo>
                  <a:lnTo>
                    <a:pt x="469" y="826"/>
                  </a:lnTo>
                  <a:lnTo>
                    <a:pt x="464" y="825"/>
                  </a:lnTo>
                  <a:lnTo>
                    <a:pt x="456" y="821"/>
                  </a:lnTo>
                  <a:lnTo>
                    <a:pt x="449" y="818"/>
                  </a:lnTo>
                  <a:lnTo>
                    <a:pt x="444" y="815"/>
                  </a:lnTo>
                  <a:lnTo>
                    <a:pt x="440" y="813"/>
                  </a:lnTo>
                  <a:lnTo>
                    <a:pt x="434" y="808"/>
                  </a:lnTo>
                  <a:lnTo>
                    <a:pt x="432" y="807"/>
                  </a:lnTo>
                  <a:lnTo>
                    <a:pt x="431" y="807"/>
                  </a:lnTo>
                  <a:lnTo>
                    <a:pt x="426" y="806"/>
                  </a:lnTo>
                  <a:lnTo>
                    <a:pt x="420" y="806"/>
                  </a:lnTo>
                  <a:lnTo>
                    <a:pt x="415" y="806"/>
                  </a:lnTo>
                  <a:lnTo>
                    <a:pt x="409" y="806"/>
                  </a:lnTo>
                  <a:lnTo>
                    <a:pt x="408" y="806"/>
                  </a:lnTo>
                  <a:lnTo>
                    <a:pt x="405" y="804"/>
                  </a:lnTo>
                  <a:lnTo>
                    <a:pt x="396" y="803"/>
                  </a:lnTo>
                  <a:lnTo>
                    <a:pt x="386" y="801"/>
                  </a:lnTo>
                  <a:lnTo>
                    <a:pt x="381" y="801"/>
                  </a:lnTo>
                  <a:lnTo>
                    <a:pt x="376" y="801"/>
                  </a:lnTo>
                  <a:lnTo>
                    <a:pt x="374" y="801"/>
                  </a:lnTo>
                  <a:lnTo>
                    <a:pt x="372" y="801"/>
                  </a:lnTo>
                  <a:lnTo>
                    <a:pt x="370" y="801"/>
                  </a:lnTo>
                  <a:lnTo>
                    <a:pt x="368" y="802"/>
                  </a:lnTo>
                  <a:lnTo>
                    <a:pt x="364" y="804"/>
                  </a:lnTo>
                  <a:lnTo>
                    <a:pt x="361" y="807"/>
                  </a:lnTo>
                  <a:lnTo>
                    <a:pt x="360" y="808"/>
                  </a:lnTo>
                  <a:lnTo>
                    <a:pt x="357" y="809"/>
                  </a:lnTo>
                  <a:lnTo>
                    <a:pt x="352" y="812"/>
                  </a:lnTo>
                  <a:lnTo>
                    <a:pt x="348" y="813"/>
                  </a:lnTo>
                  <a:lnTo>
                    <a:pt x="346" y="812"/>
                  </a:lnTo>
                  <a:lnTo>
                    <a:pt x="346" y="810"/>
                  </a:lnTo>
                  <a:lnTo>
                    <a:pt x="348" y="808"/>
                  </a:lnTo>
                  <a:lnTo>
                    <a:pt x="350" y="807"/>
                  </a:lnTo>
                  <a:lnTo>
                    <a:pt x="355" y="806"/>
                  </a:lnTo>
                  <a:lnTo>
                    <a:pt x="358" y="802"/>
                  </a:lnTo>
                  <a:lnTo>
                    <a:pt x="362" y="800"/>
                  </a:lnTo>
                  <a:lnTo>
                    <a:pt x="364" y="796"/>
                  </a:lnTo>
                  <a:lnTo>
                    <a:pt x="368" y="794"/>
                  </a:lnTo>
                  <a:lnTo>
                    <a:pt x="372" y="791"/>
                  </a:lnTo>
                  <a:lnTo>
                    <a:pt x="373" y="790"/>
                  </a:lnTo>
                  <a:lnTo>
                    <a:pt x="374" y="789"/>
                  </a:lnTo>
                  <a:lnTo>
                    <a:pt x="374" y="786"/>
                  </a:lnTo>
                  <a:lnTo>
                    <a:pt x="373" y="784"/>
                  </a:lnTo>
                  <a:lnTo>
                    <a:pt x="372" y="783"/>
                  </a:lnTo>
                  <a:lnTo>
                    <a:pt x="370" y="782"/>
                  </a:lnTo>
                  <a:lnTo>
                    <a:pt x="368" y="782"/>
                  </a:lnTo>
                  <a:lnTo>
                    <a:pt x="366" y="783"/>
                  </a:lnTo>
                  <a:lnTo>
                    <a:pt x="364" y="784"/>
                  </a:lnTo>
                  <a:lnTo>
                    <a:pt x="362" y="784"/>
                  </a:lnTo>
                  <a:lnTo>
                    <a:pt x="357" y="784"/>
                  </a:lnTo>
                  <a:lnTo>
                    <a:pt x="352" y="785"/>
                  </a:lnTo>
                  <a:lnTo>
                    <a:pt x="348" y="785"/>
                  </a:lnTo>
                  <a:lnTo>
                    <a:pt x="345" y="784"/>
                  </a:lnTo>
                  <a:lnTo>
                    <a:pt x="344" y="784"/>
                  </a:lnTo>
                  <a:lnTo>
                    <a:pt x="327" y="785"/>
                  </a:lnTo>
                  <a:lnTo>
                    <a:pt x="316" y="786"/>
                  </a:lnTo>
                  <a:lnTo>
                    <a:pt x="311" y="786"/>
                  </a:lnTo>
                  <a:lnTo>
                    <a:pt x="309" y="788"/>
                  </a:lnTo>
                  <a:lnTo>
                    <a:pt x="307" y="788"/>
                  </a:lnTo>
                  <a:lnTo>
                    <a:pt x="303" y="788"/>
                  </a:lnTo>
                  <a:lnTo>
                    <a:pt x="301" y="788"/>
                  </a:lnTo>
                  <a:lnTo>
                    <a:pt x="298" y="786"/>
                  </a:lnTo>
                  <a:lnTo>
                    <a:pt x="297" y="786"/>
                  </a:lnTo>
                  <a:lnTo>
                    <a:pt x="296" y="788"/>
                  </a:lnTo>
                  <a:lnTo>
                    <a:pt x="297" y="791"/>
                  </a:lnTo>
                  <a:lnTo>
                    <a:pt x="297" y="794"/>
                  </a:lnTo>
                  <a:lnTo>
                    <a:pt x="296" y="795"/>
                  </a:lnTo>
                  <a:lnTo>
                    <a:pt x="292" y="797"/>
                  </a:lnTo>
                  <a:lnTo>
                    <a:pt x="289" y="797"/>
                  </a:lnTo>
                  <a:lnTo>
                    <a:pt x="285" y="797"/>
                  </a:lnTo>
                  <a:lnTo>
                    <a:pt x="283" y="796"/>
                  </a:lnTo>
                  <a:lnTo>
                    <a:pt x="283" y="797"/>
                  </a:lnTo>
                  <a:lnTo>
                    <a:pt x="284" y="797"/>
                  </a:lnTo>
                  <a:lnTo>
                    <a:pt x="284" y="798"/>
                  </a:lnTo>
                  <a:lnTo>
                    <a:pt x="284" y="801"/>
                  </a:lnTo>
                  <a:lnTo>
                    <a:pt x="283" y="803"/>
                  </a:lnTo>
                  <a:lnTo>
                    <a:pt x="279" y="804"/>
                  </a:lnTo>
                  <a:lnTo>
                    <a:pt x="277" y="806"/>
                  </a:lnTo>
                  <a:lnTo>
                    <a:pt x="275" y="808"/>
                  </a:lnTo>
                  <a:lnTo>
                    <a:pt x="274" y="809"/>
                  </a:lnTo>
                  <a:lnTo>
                    <a:pt x="273" y="810"/>
                  </a:lnTo>
                  <a:lnTo>
                    <a:pt x="272" y="809"/>
                  </a:lnTo>
                  <a:lnTo>
                    <a:pt x="269" y="810"/>
                  </a:lnTo>
                  <a:lnTo>
                    <a:pt x="268" y="809"/>
                  </a:lnTo>
                  <a:lnTo>
                    <a:pt x="267" y="809"/>
                  </a:lnTo>
                  <a:lnTo>
                    <a:pt x="266" y="809"/>
                  </a:lnTo>
                  <a:lnTo>
                    <a:pt x="266" y="810"/>
                  </a:lnTo>
                  <a:lnTo>
                    <a:pt x="265" y="810"/>
                  </a:lnTo>
                  <a:lnTo>
                    <a:pt x="263" y="810"/>
                  </a:lnTo>
                  <a:lnTo>
                    <a:pt x="263" y="809"/>
                  </a:lnTo>
                  <a:lnTo>
                    <a:pt x="263" y="807"/>
                  </a:lnTo>
                  <a:lnTo>
                    <a:pt x="259" y="807"/>
                  </a:lnTo>
                  <a:lnTo>
                    <a:pt x="257" y="806"/>
                  </a:lnTo>
                  <a:lnTo>
                    <a:pt x="254" y="804"/>
                  </a:lnTo>
                  <a:lnTo>
                    <a:pt x="252" y="803"/>
                  </a:lnTo>
                  <a:lnTo>
                    <a:pt x="251" y="806"/>
                  </a:lnTo>
                  <a:lnTo>
                    <a:pt x="250" y="807"/>
                  </a:lnTo>
                  <a:lnTo>
                    <a:pt x="249" y="808"/>
                  </a:lnTo>
                  <a:lnTo>
                    <a:pt x="248" y="808"/>
                  </a:lnTo>
                  <a:lnTo>
                    <a:pt x="248" y="810"/>
                  </a:lnTo>
                  <a:lnTo>
                    <a:pt x="246" y="812"/>
                  </a:lnTo>
                  <a:lnTo>
                    <a:pt x="244" y="815"/>
                  </a:lnTo>
                  <a:lnTo>
                    <a:pt x="243" y="818"/>
                  </a:lnTo>
                  <a:lnTo>
                    <a:pt x="244" y="819"/>
                  </a:lnTo>
                  <a:lnTo>
                    <a:pt x="243" y="820"/>
                  </a:lnTo>
                  <a:lnTo>
                    <a:pt x="240" y="819"/>
                  </a:lnTo>
                  <a:lnTo>
                    <a:pt x="240" y="821"/>
                  </a:lnTo>
                  <a:lnTo>
                    <a:pt x="239" y="823"/>
                  </a:lnTo>
                  <a:lnTo>
                    <a:pt x="238" y="823"/>
                  </a:lnTo>
                  <a:lnTo>
                    <a:pt x="238" y="824"/>
                  </a:lnTo>
                  <a:lnTo>
                    <a:pt x="236" y="823"/>
                  </a:lnTo>
                  <a:lnTo>
                    <a:pt x="234" y="821"/>
                  </a:lnTo>
                  <a:lnTo>
                    <a:pt x="233" y="818"/>
                  </a:lnTo>
                  <a:lnTo>
                    <a:pt x="231" y="818"/>
                  </a:lnTo>
                  <a:lnTo>
                    <a:pt x="230" y="819"/>
                  </a:lnTo>
                  <a:lnTo>
                    <a:pt x="228" y="818"/>
                  </a:lnTo>
                  <a:lnTo>
                    <a:pt x="227" y="817"/>
                  </a:lnTo>
                  <a:lnTo>
                    <a:pt x="226" y="818"/>
                  </a:lnTo>
                  <a:lnTo>
                    <a:pt x="225" y="818"/>
                  </a:lnTo>
                  <a:lnTo>
                    <a:pt x="224" y="818"/>
                  </a:lnTo>
                  <a:lnTo>
                    <a:pt x="221" y="818"/>
                  </a:lnTo>
                  <a:lnTo>
                    <a:pt x="219" y="820"/>
                  </a:lnTo>
                  <a:lnTo>
                    <a:pt x="219" y="819"/>
                  </a:lnTo>
                  <a:lnTo>
                    <a:pt x="218" y="820"/>
                  </a:lnTo>
                  <a:lnTo>
                    <a:pt x="218" y="818"/>
                  </a:lnTo>
                  <a:lnTo>
                    <a:pt x="216" y="818"/>
                  </a:lnTo>
                  <a:lnTo>
                    <a:pt x="218" y="815"/>
                  </a:lnTo>
                  <a:lnTo>
                    <a:pt x="218" y="813"/>
                  </a:lnTo>
                  <a:lnTo>
                    <a:pt x="218" y="814"/>
                  </a:lnTo>
                  <a:lnTo>
                    <a:pt x="216" y="814"/>
                  </a:lnTo>
                  <a:lnTo>
                    <a:pt x="216" y="813"/>
                  </a:lnTo>
                  <a:lnTo>
                    <a:pt x="214" y="813"/>
                  </a:lnTo>
                  <a:lnTo>
                    <a:pt x="214" y="812"/>
                  </a:lnTo>
                  <a:lnTo>
                    <a:pt x="213" y="813"/>
                  </a:lnTo>
                  <a:lnTo>
                    <a:pt x="210" y="812"/>
                  </a:lnTo>
                  <a:lnTo>
                    <a:pt x="207" y="815"/>
                  </a:lnTo>
                  <a:lnTo>
                    <a:pt x="206" y="817"/>
                  </a:lnTo>
                  <a:lnTo>
                    <a:pt x="203" y="817"/>
                  </a:lnTo>
                  <a:lnTo>
                    <a:pt x="200" y="815"/>
                  </a:lnTo>
                  <a:lnTo>
                    <a:pt x="198" y="814"/>
                  </a:lnTo>
                  <a:lnTo>
                    <a:pt x="200" y="813"/>
                  </a:lnTo>
                  <a:lnTo>
                    <a:pt x="201" y="813"/>
                  </a:lnTo>
                  <a:lnTo>
                    <a:pt x="203" y="812"/>
                  </a:lnTo>
                  <a:lnTo>
                    <a:pt x="202" y="810"/>
                  </a:lnTo>
                  <a:lnTo>
                    <a:pt x="201" y="810"/>
                  </a:lnTo>
                  <a:lnTo>
                    <a:pt x="200" y="809"/>
                  </a:lnTo>
                  <a:lnTo>
                    <a:pt x="197" y="808"/>
                  </a:lnTo>
                  <a:lnTo>
                    <a:pt x="196" y="806"/>
                  </a:lnTo>
                  <a:lnTo>
                    <a:pt x="193" y="804"/>
                  </a:lnTo>
                  <a:lnTo>
                    <a:pt x="193" y="803"/>
                  </a:lnTo>
                  <a:lnTo>
                    <a:pt x="195" y="802"/>
                  </a:lnTo>
                  <a:lnTo>
                    <a:pt x="196" y="800"/>
                  </a:lnTo>
                  <a:lnTo>
                    <a:pt x="197" y="802"/>
                  </a:lnTo>
                  <a:lnTo>
                    <a:pt x="198" y="803"/>
                  </a:lnTo>
                  <a:lnTo>
                    <a:pt x="200" y="804"/>
                  </a:lnTo>
                  <a:lnTo>
                    <a:pt x="201" y="804"/>
                  </a:lnTo>
                  <a:lnTo>
                    <a:pt x="203" y="804"/>
                  </a:lnTo>
                  <a:lnTo>
                    <a:pt x="204" y="806"/>
                  </a:lnTo>
                  <a:lnTo>
                    <a:pt x="204" y="804"/>
                  </a:lnTo>
                  <a:lnTo>
                    <a:pt x="207" y="804"/>
                  </a:lnTo>
                  <a:lnTo>
                    <a:pt x="208" y="806"/>
                  </a:lnTo>
                  <a:lnTo>
                    <a:pt x="210" y="808"/>
                  </a:lnTo>
                  <a:lnTo>
                    <a:pt x="212" y="808"/>
                  </a:lnTo>
                  <a:lnTo>
                    <a:pt x="213" y="807"/>
                  </a:lnTo>
                  <a:lnTo>
                    <a:pt x="213" y="806"/>
                  </a:lnTo>
                  <a:lnTo>
                    <a:pt x="213" y="804"/>
                  </a:lnTo>
                  <a:lnTo>
                    <a:pt x="209" y="804"/>
                  </a:lnTo>
                  <a:lnTo>
                    <a:pt x="209" y="802"/>
                  </a:lnTo>
                  <a:lnTo>
                    <a:pt x="209" y="800"/>
                  </a:lnTo>
                  <a:lnTo>
                    <a:pt x="210" y="796"/>
                  </a:lnTo>
                  <a:lnTo>
                    <a:pt x="209" y="796"/>
                  </a:lnTo>
                  <a:lnTo>
                    <a:pt x="209" y="795"/>
                  </a:lnTo>
                  <a:lnTo>
                    <a:pt x="209" y="794"/>
                  </a:lnTo>
                  <a:lnTo>
                    <a:pt x="212" y="794"/>
                  </a:lnTo>
                  <a:lnTo>
                    <a:pt x="213" y="791"/>
                  </a:lnTo>
                  <a:lnTo>
                    <a:pt x="215" y="792"/>
                  </a:lnTo>
                  <a:lnTo>
                    <a:pt x="216" y="790"/>
                  </a:lnTo>
                  <a:lnTo>
                    <a:pt x="218" y="789"/>
                  </a:lnTo>
                  <a:lnTo>
                    <a:pt x="218" y="786"/>
                  </a:lnTo>
                  <a:lnTo>
                    <a:pt x="219" y="784"/>
                  </a:lnTo>
                  <a:lnTo>
                    <a:pt x="220" y="784"/>
                  </a:lnTo>
                  <a:lnTo>
                    <a:pt x="222" y="785"/>
                  </a:lnTo>
                  <a:lnTo>
                    <a:pt x="225" y="784"/>
                  </a:lnTo>
                  <a:lnTo>
                    <a:pt x="226" y="785"/>
                  </a:lnTo>
                  <a:lnTo>
                    <a:pt x="227" y="785"/>
                  </a:lnTo>
                  <a:lnTo>
                    <a:pt x="230" y="788"/>
                  </a:lnTo>
                  <a:lnTo>
                    <a:pt x="231" y="788"/>
                  </a:lnTo>
                  <a:lnTo>
                    <a:pt x="231" y="786"/>
                  </a:lnTo>
                  <a:lnTo>
                    <a:pt x="231" y="785"/>
                  </a:lnTo>
                  <a:lnTo>
                    <a:pt x="231" y="784"/>
                  </a:lnTo>
                  <a:lnTo>
                    <a:pt x="230" y="783"/>
                  </a:lnTo>
                  <a:lnTo>
                    <a:pt x="228" y="783"/>
                  </a:lnTo>
                  <a:lnTo>
                    <a:pt x="227" y="783"/>
                  </a:lnTo>
                  <a:lnTo>
                    <a:pt x="228" y="782"/>
                  </a:lnTo>
                  <a:lnTo>
                    <a:pt x="226" y="782"/>
                  </a:lnTo>
                  <a:lnTo>
                    <a:pt x="226" y="780"/>
                  </a:lnTo>
                  <a:lnTo>
                    <a:pt x="226" y="778"/>
                  </a:lnTo>
                  <a:lnTo>
                    <a:pt x="226" y="777"/>
                  </a:lnTo>
                  <a:lnTo>
                    <a:pt x="225" y="776"/>
                  </a:lnTo>
                  <a:lnTo>
                    <a:pt x="226" y="774"/>
                  </a:lnTo>
                  <a:lnTo>
                    <a:pt x="226" y="771"/>
                  </a:lnTo>
                  <a:lnTo>
                    <a:pt x="224" y="768"/>
                  </a:lnTo>
                  <a:lnTo>
                    <a:pt x="226" y="767"/>
                  </a:lnTo>
                  <a:lnTo>
                    <a:pt x="227" y="766"/>
                  </a:lnTo>
                  <a:lnTo>
                    <a:pt x="228" y="766"/>
                  </a:lnTo>
                  <a:lnTo>
                    <a:pt x="230" y="766"/>
                  </a:lnTo>
                  <a:lnTo>
                    <a:pt x="230" y="768"/>
                  </a:lnTo>
                  <a:lnTo>
                    <a:pt x="231" y="770"/>
                  </a:lnTo>
                  <a:lnTo>
                    <a:pt x="232" y="771"/>
                  </a:lnTo>
                  <a:lnTo>
                    <a:pt x="234" y="772"/>
                  </a:lnTo>
                  <a:lnTo>
                    <a:pt x="236" y="771"/>
                  </a:lnTo>
                  <a:lnTo>
                    <a:pt x="236" y="773"/>
                  </a:lnTo>
                  <a:lnTo>
                    <a:pt x="238" y="773"/>
                  </a:lnTo>
                  <a:lnTo>
                    <a:pt x="242" y="773"/>
                  </a:lnTo>
                  <a:lnTo>
                    <a:pt x="242" y="774"/>
                  </a:lnTo>
                  <a:lnTo>
                    <a:pt x="244" y="774"/>
                  </a:lnTo>
                  <a:lnTo>
                    <a:pt x="244" y="777"/>
                  </a:lnTo>
                  <a:lnTo>
                    <a:pt x="245" y="777"/>
                  </a:lnTo>
                  <a:lnTo>
                    <a:pt x="245" y="778"/>
                  </a:lnTo>
                  <a:lnTo>
                    <a:pt x="246" y="778"/>
                  </a:lnTo>
                  <a:lnTo>
                    <a:pt x="249" y="778"/>
                  </a:lnTo>
                  <a:lnTo>
                    <a:pt x="250" y="776"/>
                  </a:lnTo>
                  <a:lnTo>
                    <a:pt x="250" y="774"/>
                  </a:lnTo>
                  <a:lnTo>
                    <a:pt x="251" y="774"/>
                  </a:lnTo>
                  <a:lnTo>
                    <a:pt x="251" y="776"/>
                  </a:lnTo>
                  <a:lnTo>
                    <a:pt x="255" y="774"/>
                  </a:lnTo>
                  <a:lnTo>
                    <a:pt x="256" y="777"/>
                  </a:lnTo>
                  <a:lnTo>
                    <a:pt x="257" y="777"/>
                  </a:lnTo>
                  <a:lnTo>
                    <a:pt x="259" y="777"/>
                  </a:lnTo>
                  <a:lnTo>
                    <a:pt x="257" y="774"/>
                  </a:lnTo>
                  <a:lnTo>
                    <a:pt x="259" y="773"/>
                  </a:lnTo>
                  <a:lnTo>
                    <a:pt x="257" y="772"/>
                  </a:lnTo>
                  <a:lnTo>
                    <a:pt x="260" y="772"/>
                  </a:lnTo>
                  <a:lnTo>
                    <a:pt x="260" y="771"/>
                  </a:lnTo>
                  <a:lnTo>
                    <a:pt x="261" y="771"/>
                  </a:lnTo>
                  <a:lnTo>
                    <a:pt x="262" y="771"/>
                  </a:lnTo>
                  <a:lnTo>
                    <a:pt x="263" y="772"/>
                  </a:lnTo>
                  <a:lnTo>
                    <a:pt x="263" y="771"/>
                  </a:lnTo>
                  <a:lnTo>
                    <a:pt x="265" y="772"/>
                  </a:lnTo>
                  <a:lnTo>
                    <a:pt x="266" y="772"/>
                  </a:lnTo>
                  <a:lnTo>
                    <a:pt x="267" y="772"/>
                  </a:lnTo>
                  <a:lnTo>
                    <a:pt x="269" y="771"/>
                  </a:lnTo>
                  <a:lnTo>
                    <a:pt x="271" y="773"/>
                  </a:lnTo>
                  <a:lnTo>
                    <a:pt x="272" y="773"/>
                  </a:lnTo>
                  <a:lnTo>
                    <a:pt x="273" y="773"/>
                  </a:lnTo>
                  <a:lnTo>
                    <a:pt x="273" y="770"/>
                  </a:lnTo>
                  <a:lnTo>
                    <a:pt x="274" y="770"/>
                  </a:lnTo>
                  <a:lnTo>
                    <a:pt x="274" y="768"/>
                  </a:lnTo>
                  <a:lnTo>
                    <a:pt x="273" y="768"/>
                  </a:lnTo>
                  <a:lnTo>
                    <a:pt x="272" y="768"/>
                  </a:lnTo>
                  <a:lnTo>
                    <a:pt x="271" y="766"/>
                  </a:lnTo>
                  <a:lnTo>
                    <a:pt x="268" y="765"/>
                  </a:lnTo>
                  <a:lnTo>
                    <a:pt x="268" y="764"/>
                  </a:lnTo>
                  <a:lnTo>
                    <a:pt x="269" y="764"/>
                  </a:lnTo>
                  <a:lnTo>
                    <a:pt x="272" y="764"/>
                  </a:lnTo>
                  <a:lnTo>
                    <a:pt x="274" y="761"/>
                  </a:lnTo>
                  <a:lnTo>
                    <a:pt x="278" y="764"/>
                  </a:lnTo>
                  <a:lnTo>
                    <a:pt x="279" y="766"/>
                  </a:lnTo>
                  <a:lnTo>
                    <a:pt x="281" y="765"/>
                  </a:lnTo>
                  <a:lnTo>
                    <a:pt x="281" y="764"/>
                  </a:lnTo>
                  <a:lnTo>
                    <a:pt x="280" y="761"/>
                  </a:lnTo>
                  <a:lnTo>
                    <a:pt x="280" y="758"/>
                  </a:lnTo>
                  <a:lnTo>
                    <a:pt x="281" y="758"/>
                  </a:lnTo>
                  <a:lnTo>
                    <a:pt x="283" y="758"/>
                  </a:lnTo>
                  <a:lnTo>
                    <a:pt x="284" y="758"/>
                  </a:lnTo>
                  <a:lnTo>
                    <a:pt x="286" y="756"/>
                  </a:lnTo>
                  <a:lnTo>
                    <a:pt x="287" y="760"/>
                  </a:lnTo>
                  <a:lnTo>
                    <a:pt x="287" y="761"/>
                  </a:lnTo>
                  <a:lnTo>
                    <a:pt x="290" y="761"/>
                  </a:lnTo>
                  <a:lnTo>
                    <a:pt x="290" y="762"/>
                  </a:lnTo>
                  <a:lnTo>
                    <a:pt x="289" y="765"/>
                  </a:lnTo>
                  <a:lnTo>
                    <a:pt x="290" y="765"/>
                  </a:lnTo>
                  <a:lnTo>
                    <a:pt x="290" y="766"/>
                  </a:lnTo>
                  <a:lnTo>
                    <a:pt x="291" y="766"/>
                  </a:lnTo>
                  <a:lnTo>
                    <a:pt x="291" y="765"/>
                  </a:lnTo>
                  <a:lnTo>
                    <a:pt x="295" y="766"/>
                  </a:lnTo>
                  <a:lnTo>
                    <a:pt x="293" y="768"/>
                  </a:lnTo>
                  <a:lnTo>
                    <a:pt x="296" y="768"/>
                  </a:lnTo>
                  <a:lnTo>
                    <a:pt x="296" y="771"/>
                  </a:lnTo>
                  <a:lnTo>
                    <a:pt x="297" y="771"/>
                  </a:lnTo>
                  <a:lnTo>
                    <a:pt x="298" y="771"/>
                  </a:lnTo>
                  <a:lnTo>
                    <a:pt x="301" y="770"/>
                  </a:lnTo>
                  <a:lnTo>
                    <a:pt x="301" y="771"/>
                  </a:lnTo>
                  <a:lnTo>
                    <a:pt x="302" y="771"/>
                  </a:lnTo>
                  <a:lnTo>
                    <a:pt x="303" y="771"/>
                  </a:lnTo>
                  <a:lnTo>
                    <a:pt x="302" y="773"/>
                  </a:lnTo>
                  <a:lnTo>
                    <a:pt x="301" y="774"/>
                  </a:lnTo>
                  <a:lnTo>
                    <a:pt x="301" y="776"/>
                  </a:lnTo>
                  <a:lnTo>
                    <a:pt x="299" y="776"/>
                  </a:lnTo>
                  <a:lnTo>
                    <a:pt x="299" y="778"/>
                  </a:lnTo>
                  <a:lnTo>
                    <a:pt x="299" y="779"/>
                  </a:lnTo>
                  <a:lnTo>
                    <a:pt x="302" y="780"/>
                  </a:lnTo>
                  <a:lnTo>
                    <a:pt x="301" y="780"/>
                  </a:lnTo>
                  <a:lnTo>
                    <a:pt x="299" y="782"/>
                  </a:lnTo>
                  <a:lnTo>
                    <a:pt x="301" y="783"/>
                  </a:lnTo>
                  <a:lnTo>
                    <a:pt x="302" y="782"/>
                  </a:lnTo>
                  <a:lnTo>
                    <a:pt x="304" y="782"/>
                  </a:lnTo>
                  <a:lnTo>
                    <a:pt x="305" y="780"/>
                  </a:lnTo>
                  <a:lnTo>
                    <a:pt x="309" y="780"/>
                  </a:lnTo>
                  <a:lnTo>
                    <a:pt x="310" y="779"/>
                  </a:lnTo>
                  <a:lnTo>
                    <a:pt x="313" y="779"/>
                  </a:lnTo>
                  <a:lnTo>
                    <a:pt x="313" y="780"/>
                  </a:lnTo>
                  <a:lnTo>
                    <a:pt x="314" y="782"/>
                  </a:lnTo>
                  <a:lnTo>
                    <a:pt x="315" y="783"/>
                  </a:lnTo>
                  <a:lnTo>
                    <a:pt x="316" y="783"/>
                  </a:lnTo>
                  <a:lnTo>
                    <a:pt x="319" y="782"/>
                  </a:lnTo>
                  <a:lnTo>
                    <a:pt x="320" y="782"/>
                  </a:lnTo>
                  <a:lnTo>
                    <a:pt x="324" y="780"/>
                  </a:lnTo>
                  <a:lnTo>
                    <a:pt x="333" y="780"/>
                  </a:lnTo>
                  <a:lnTo>
                    <a:pt x="338" y="780"/>
                  </a:lnTo>
                  <a:lnTo>
                    <a:pt x="343" y="779"/>
                  </a:lnTo>
                  <a:lnTo>
                    <a:pt x="348" y="779"/>
                  </a:lnTo>
                  <a:lnTo>
                    <a:pt x="350" y="778"/>
                  </a:lnTo>
                  <a:lnTo>
                    <a:pt x="351" y="779"/>
                  </a:lnTo>
                  <a:lnTo>
                    <a:pt x="352" y="778"/>
                  </a:lnTo>
                  <a:lnTo>
                    <a:pt x="354" y="779"/>
                  </a:lnTo>
                  <a:lnTo>
                    <a:pt x="358" y="779"/>
                  </a:lnTo>
                  <a:lnTo>
                    <a:pt x="363" y="779"/>
                  </a:lnTo>
                  <a:lnTo>
                    <a:pt x="367" y="777"/>
                  </a:lnTo>
                  <a:lnTo>
                    <a:pt x="375" y="774"/>
                  </a:lnTo>
                  <a:lnTo>
                    <a:pt x="379" y="772"/>
                  </a:lnTo>
                  <a:lnTo>
                    <a:pt x="380" y="770"/>
                  </a:lnTo>
                  <a:lnTo>
                    <a:pt x="381" y="768"/>
                  </a:lnTo>
                  <a:lnTo>
                    <a:pt x="384" y="768"/>
                  </a:lnTo>
                  <a:lnTo>
                    <a:pt x="385" y="768"/>
                  </a:lnTo>
                  <a:lnTo>
                    <a:pt x="386" y="771"/>
                  </a:lnTo>
                  <a:lnTo>
                    <a:pt x="389" y="772"/>
                  </a:lnTo>
                  <a:lnTo>
                    <a:pt x="392" y="772"/>
                  </a:lnTo>
                  <a:lnTo>
                    <a:pt x="395" y="772"/>
                  </a:lnTo>
                  <a:lnTo>
                    <a:pt x="397" y="771"/>
                  </a:lnTo>
                  <a:lnTo>
                    <a:pt x="399" y="770"/>
                  </a:lnTo>
                  <a:lnTo>
                    <a:pt x="402" y="768"/>
                  </a:lnTo>
                  <a:lnTo>
                    <a:pt x="403" y="767"/>
                  </a:lnTo>
                  <a:lnTo>
                    <a:pt x="404" y="766"/>
                  </a:lnTo>
                  <a:lnTo>
                    <a:pt x="405" y="765"/>
                  </a:lnTo>
                  <a:lnTo>
                    <a:pt x="405" y="764"/>
                  </a:lnTo>
                  <a:lnTo>
                    <a:pt x="405" y="760"/>
                  </a:lnTo>
                  <a:lnTo>
                    <a:pt x="407" y="760"/>
                  </a:lnTo>
                  <a:lnTo>
                    <a:pt x="409" y="761"/>
                  </a:lnTo>
                  <a:lnTo>
                    <a:pt x="411" y="761"/>
                  </a:lnTo>
                  <a:lnTo>
                    <a:pt x="414" y="760"/>
                  </a:lnTo>
                  <a:lnTo>
                    <a:pt x="414" y="759"/>
                  </a:lnTo>
                  <a:lnTo>
                    <a:pt x="415" y="759"/>
                  </a:lnTo>
                  <a:lnTo>
                    <a:pt x="416" y="758"/>
                  </a:lnTo>
                  <a:lnTo>
                    <a:pt x="421" y="756"/>
                  </a:lnTo>
                  <a:lnTo>
                    <a:pt x="423" y="756"/>
                  </a:lnTo>
                  <a:lnTo>
                    <a:pt x="425" y="756"/>
                  </a:lnTo>
                  <a:lnTo>
                    <a:pt x="426" y="756"/>
                  </a:lnTo>
                  <a:lnTo>
                    <a:pt x="427" y="755"/>
                  </a:lnTo>
                  <a:lnTo>
                    <a:pt x="429" y="753"/>
                  </a:lnTo>
                  <a:lnTo>
                    <a:pt x="432" y="752"/>
                  </a:lnTo>
                  <a:lnTo>
                    <a:pt x="432" y="750"/>
                  </a:lnTo>
                  <a:lnTo>
                    <a:pt x="433" y="749"/>
                  </a:lnTo>
                  <a:lnTo>
                    <a:pt x="431" y="750"/>
                  </a:lnTo>
                  <a:lnTo>
                    <a:pt x="431" y="749"/>
                  </a:lnTo>
                  <a:lnTo>
                    <a:pt x="427" y="749"/>
                  </a:lnTo>
                  <a:lnTo>
                    <a:pt x="428" y="744"/>
                  </a:lnTo>
                  <a:lnTo>
                    <a:pt x="428" y="742"/>
                  </a:lnTo>
                  <a:lnTo>
                    <a:pt x="427" y="742"/>
                  </a:lnTo>
                  <a:lnTo>
                    <a:pt x="427" y="740"/>
                  </a:lnTo>
                  <a:lnTo>
                    <a:pt x="425" y="738"/>
                  </a:lnTo>
                  <a:lnTo>
                    <a:pt x="423" y="738"/>
                  </a:lnTo>
                  <a:lnTo>
                    <a:pt x="423" y="740"/>
                  </a:lnTo>
                  <a:lnTo>
                    <a:pt x="425" y="741"/>
                  </a:lnTo>
                  <a:lnTo>
                    <a:pt x="425" y="742"/>
                  </a:lnTo>
                  <a:lnTo>
                    <a:pt x="426" y="743"/>
                  </a:lnTo>
                  <a:lnTo>
                    <a:pt x="426" y="744"/>
                  </a:lnTo>
                  <a:lnTo>
                    <a:pt x="425" y="744"/>
                  </a:lnTo>
                  <a:lnTo>
                    <a:pt x="425" y="746"/>
                  </a:lnTo>
                  <a:lnTo>
                    <a:pt x="423" y="747"/>
                  </a:lnTo>
                  <a:lnTo>
                    <a:pt x="423" y="752"/>
                  </a:lnTo>
                  <a:lnTo>
                    <a:pt x="422" y="750"/>
                  </a:lnTo>
                  <a:lnTo>
                    <a:pt x="421" y="752"/>
                  </a:lnTo>
                  <a:lnTo>
                    <a:pt x="422" y="753"/>
                  </a:lnTo>
                  <a:lnTo>
                    <a:pt x="417" y="753"/>
                  </a:lnTo>
                  <a:lnTo>
                    <a:pt x="415" y="750"/>
                  </a:lnTo>
                  <a:lnTo>
                    <a:pt x="414" y="749"/>
                  </a:lnTo>
                  <a:lnTo>
                    <a:pt x="414" y="748"/>
                  </a:lnTo>
                  <a:lnTo>
                    <a:pt x="415" y="748"/>
                  </a:lnTo>
                  <a:lnTo>
                    <a:pt x="415" y="747"/>
                  </a:lnTo>
                  <a:lnTo>
                    <a:pt x="413" y="747"/>
                  </a:lnTo>
                  <a:lnTo>
                    <a:pt x="411" y="748"/>
                  </a:lnTo>
                  <a:lnTo>
                    <a:pt x="409" y="749"/>
                  </a:lnTo>
                  <a:lnTo>
                    <a:pt x="407" y="750"/>
                  </a:lnTo>
                  <a:lnTo>
                    <a:pt x="404" y="748"/>
                  </a:lnTo>
                  <a:lnTo>
                    <a:pt x="403" y="747"/>
                  </a:lnTo>
                  <a:lnTo>
                    <a:pt x="402" y="747"/>
                  </a:lnTo>
                  <a:lnTo>
                    <a:pt x="399" y="749"/>
                  </a:lnTo>
                  <a:lnTo>
                    <a:pt x="398" y="752"/>
                  </a:lnTo>
                  <a:lnTo>
                    <a:pt x="395" y="753"/>
                  </a:lnTo>
                  <a:lnTo>
                    <a:pt x="393" y="753"/>
                  </a:lnTo>
                  <a:lnTo>
                    <a:pt x="393" y="752"/>
                  </a:lnTo>
                  <a:lnTo>
                    <a:pt x="393" y="748"/>
                  </a:lnTo>
                  <a:lnTo>
                    <a:pt x="393" y="746"/>
                  </a:lnTo>
                  <a:lnTo>
                    <a:pt x="397" y="746"/>
                  </a:lnTo>
                  <a:lnTo>
                    <a:pt x="397" y="743"/>
                  </a:lnTo>
                  <a:lnTo>
                    <a:pt x="397" y="738"/>
                  </a:lnTo>
                  <a:lnTo>
                    <a:pt x="397" y="737"/>
                  </a:lnTo>
                  <a:lnTo>
                    <a:pt x="397" y="735"/>
                  </a:lnTo>
                  <a:lnTo>
                    <a:pt x="399" y="732"/>
                  </a:lnTo>
                  <a:lnTo>
                    <a:pt x="401" y="731"/>
                  </a:lnTo>
                  <a:lnTo>
                    <a:pt x="402" y="734"/>
                  </a:lnTo>
                  <a:lnTo>
                    <a:pt x="403" y="734"/>
                  </a:lnTo>
                  <a:lnTo>
                    <a:pt x="404" y="732"/>
                  </a:lnTo>
                  <a:lnTo>
                    <a:pt x="404" y="731"/>
                  </a:lnTo>
                  <a:lnTo>
                    <a:pt x="403" y="731"/>
                  </a:lnTo>
                  <a:lnTo>
                    <a:pt x="399" y="729"/>
                  </a:lnTo>
                  <a:lnTo>
                    <a:pt x="398" y="730"/>
                  </a:lnTo>
                  <a:lnTo>
                    <a:pt x="397" y="730"/>
                  </a:lnTo>
                  <a:lnTo>
                    <a:pt x="395" y="730"/>
                  </a:lnTo>
                  <a:lnTo>
                    <a:pt x="393" y="729"/>
                  </a:lnTo>
                  <a:lnTo>
                    <a:pt x="390" y="729"/>
                  </a:lnTo>
                  <a:lnTo>
                    <a:pt x="390" y="726"/>
                  </a:lnTo>
                  <a:lnTo>
                    <a:pt x="391" y="724"/>
                  </a:lnTo>
                  <a:lnTo>
                    <a:pt x="391" y="723"/>
                  </a:lnTo>
                  <a:lnTo>
                    <a:pt x="390" y="723"/>
                  </a:lnTo>
                  <a:lnTo>
                    <a:pt x="387" y="722"/>
                  </a:lnTo>
                  <a:lnTo>
                    <a:pt x="386" y="720"/>
                  </a:lnTo>
                  <a:lnTo>
                    <a:pt x="387" y="724"/>
                  </a:lnTo>
                  <a:lnTo>
                    <a:pt x="387" y="726"/>
                  </a:lnTo>
                  <a:lnTo>
                    <a:pt x="386" y="726"/>
                  </a:lnTo>
                  <a:lnTo>
                    <a:pt x="384" y="724"/>
                  </a:lnTo>
                  <a:lnTo>
                    <a:pt x="383" y="723"/>
                  </a:lnTo>
                  <a:lnTo>
                    <a:pt x="381" y="724"/>
                  </a:lnTo>
                  <a:lnTo>
                    <a:pt x="381" y="725"/>
                  </a:lnTo>
                  <a:lnTo>
                    <a:pt x="378" y="724"/>
                  </a:lnTo>
                  <a:lnTo>
                    <a:pt x="378" y="725"/>
                  </a:lnTo>
                  <a:lnTo>
                    <a:pt x="378" y="726"/>
                  </a:lnTo>
                  <a:lnTo>
                    <a:pt x="378" y="729"/>
                  </a:lnTo>
                  <a:lnTo>
                    <a:pt x="376" y="729"/>
                  </a:lnTo>
                  <a:lnTo>
                    <a:pt x="374" y="729"/>
                  </a:lnTo>
                  <a:lnTo>
                    <a:pt x="374" y="730"/>
                  </a:lnTo>
                  <a:lnTo>
                    <a:pt x="374" y="731"/>
                  </a:lnTo>
                  <a:lnTo>
                    <a:pt x="373" y="734"/>
                  </a:lnTo>
                  <a:lnTo>
                    <a:pt x="368" y="736"/>
                  </a:lnTo>
                  <a:lnTo>
                    <a:pt x="367" y="736"/>
                  </a:lnTo>
                  <a:lnTo>
                    <a:pt x="367" y="737"/>
                  </a:lnTo>
                  <a:lnTo>
                    <a:pt x="366" y="740"/>
                  </a:lnTo>
                  <a:lnTo>
                    <a:pt x="364" y="742"/>
                  </a:lnTo>
                  <a:lnTo>
                    <a:pt x="363" y="743"/>
                  </a:lnTo>
                  <a:lnTo>
                    <a:pt x="363" y="744"/>
                  </a:lnTo>
                  <a:lnTo>
                    <a:pt x="366" y="742"/>
                  </a:lnTo>
                  <a:lnTo>
                    <a:pt x="366" y="741"/>
                  </a:lnTo>
                  <a:lnTo>
                    <a:pt x="368" y="742"/>
                  </a:lnTo>
                  <a:lnTo>
                    <a:pt x="368" y="743"/>
                  </a:lnTo>
                  <a:lnTo>
                    <a:pt x="368" y="747"/>
                  </a:lnTo>
                  <a:lnTo>
                    <a:pt x="367" y="747"/>
                  </a:lnTo>
                  <a:lnTo>
                    <a:pt x="367" y="746"/>
                  </a:lnTo>
                  <a:lnTo>
                    <a:pt x="366" y="746"/>
                  </a:lnTo>
                  <a:lnTo>
                    <a:pt x="366" y="747"/>
                  </a:lnTo>
                  <a:lnTo>
                    <a:pt x="368" y="747"/>
                  </a:lnTo>
                  <a:lnTo>
                    <a:pt x="370" y="746"/>
                  </a:lnTo>
                  <a:lnTo>
                    <a:pt x="369" y="748"/>
                  </a:lnTo>
                  <a:lnTo>
                    <a:pt x="369" y="749"/>
                  </a:lnTo>
                  <a:lnTo>
                    <a:pt x="368" y="752"/>
                  </a:lnTo>
                  <a:lnTo>
                    <a:pt x="368" y="753"/>
                  </a:lnTo>
                  <a:lnTo>
                    <a:pt x="369" y="752"/>
                  </a:lnTo>
                  <a:lnTo>
                    <a:pt x="370" y="754"/>
                  </a:lnTo>
                  <a:lnTo>
                    <a:pt x="370" y="755"/>
                  </a:lnTo>
                  <a:lnTo>
                    <a:pt x="368" y="755"/>
                  </a:lnTo>
                  <a:lnTo>
                    <a:pt x="367" y="756"/>
                  </a:lnTo>
                  <a:lnTo>
                    <a:pt x="366" y="756"/>
                  </a:lnTo>
                  <a:lnTo>
                    <a:pt x="364" y="759"/>
                  </a:lnTo>
                  <a:lnTo>
                    <a:pt x="363" y="759"/>
                  </a:lnTo>
                  <a:lnTo>
                    <a:pt x="360" y="759"/>
                  </a:lnTo>
                  <a:lnTo>
                    <a:pt x="357" y="759"/>
                  </a:lnTo>
                  <a:lnTo>
                    <a:pt x="360" y="756"/>
                  </a:lnTo>
                  <a:lnTo>
                    <a:pt x="360" y="754"/>
                  </a:lnTo>
                  <a:lnTo>
                    <a:pt x="358" y="753"/>
                  </a:lnTo>
                  <a:lnTo>
                    <a:pt x="357" y="755"/>
                  </a:lnTo>
                  <a:lnTo>
                    <a:pt x="357" y="758"/>
                  </a:lnTo>
                  <a:lnTo>
                    <a:pt x="356" y="758"/>
                  </a:lnTo>
                  <a:lnTo>
                    <a:pt x="352" y="759"/>
                  </a:lnTo>
                  <a:lnTo>
                    <a:pt x="351" y="755"/>
                  </a:lnTo>
                  <a:lnTo>
                    <a:pt x="350" y="756"/>
                  </a:lnTo>
                  <a:lnTo>
                    <a:pt x="349" y="756"/>
                  </a:lnTo>
                  <a:lnTo>
                    <a:pt x="349" y="758"/>
                  </a:lnTo>
                  <a:lnTo>
                    <a:pt x="348" y="759"/>
                  </a:lnTo>
                  <a:lnTo>
                    <a:pt x="345" y="758"/>
                  </a:lnTo>
                  <a:lnTo>
                    <a:pt x="345" y="760"/>
                  </a:lnTo>
                  <a:lnTo>
                    <a:pt x="343" y="759"/>
                  </a:lnTo>
                  <a:lnTo>
                    <a:pt x="343" y="758"/>
                  </a:lnTo>
                  <a:lnTo>
                    <a:pt x="338" y="756"/>
                  </a:lnTo>
                  <a:lnTo>
                    <a:pt x="338" y="754"/>
                  </a:lnTo>
                  <a:lnTo>
                    <a:pt x="339" y="754"/>
                  </a:lnTo>
                  <a:lnTo>
                    <a:pt x="340" y="752"/>
                  </a:lnTo>
                  <a:lnTo>
                    <a:pt x="342" y="750"/>
                  </a:lnTo>
                  <a:lnTo>
                    <a:pt x="345" y="748"/>
                  </a:lnTo>
                  <a:lnTo>
                    <a:pt x="345" y="747"/>
                  </a:lnTo>
                  <a:lnTo>
                    <a:pt x="345" y="744"/>
                  </a:lnTo>
                  <a:lnTo>
                    <a:pt x="344" y="746"/>
                  </a:lnTo>
                  <a:lnTo>
                    <a:pt x="343" y="747"/>
                  </a:lnTo>
                  <a:lnTo>
                    <a:pt x="342" y="749"/>
                  </a:lnTo>
                  <a:lnTo>
                    <a:pt x="338" y="749"/>
                  </a:lnTo>
                  <a:lnTo>
                    <a:pt x="337" y="748"/>
                  </a:lnTo>
                  <a:lnTo>
                    <a:pt x="334" y="748"/>
                  </a:lnTo>
                  <a:lnTo>
                    <a:pt x="332" y="746"/>
                  </a:lnTo>
                  <a:lnTo>
                    <a:pt x="332" y="744"/>
                  </a:lnTo>
                  <a:lnTo>
                    <a:pt x="333" y="744"/>
                  </a:lnTo>
                  <a:lnTo>
                    <a:pt x="333" y="742"/>
                  </a:lnTo>
                  <a:lnTo>
                    <a:pt x="332" y="742"/>
                  </a:lnTo>
                  <a:lnTo>
                    <a:pt x="331" y="742"/>
                  </a:lnTo>
                  <a:lnTo>
                    <a:pt x="331" y="743"/>
                  </a:lnTo>
                  <a:lnTo>
                    <a:pt x="330" y="742"/>
                  </a:lnTo>
                  <a:lnTo>
                    <a:pt x="330" y="740"/>
                  </a:lnTo>
                  <a:lnTo>
                    <a:pt x="331" y="736"/>
                  </a:lnTo>
                  <a:lnTo>
                    <a:pt x="331" y="734"/>
                  </a:lnTo>
                  <a:lnTo>
                    <a:pt x="331" y="732"/>
                  </a:lnTo>
                  <a:lnTo>
                    <a:pt x="328" y="730"/>
                  </a:lnTo>
                  <a:lnTo>
                    <a:pt x="327" y="728"/>
                  </a:lnTo>
                  <a:lnTo>
                    <a:pt x="327" y="723"/>
                  </a:lnTo>
                  <a:lnTo>
                    <a:pt x="328" y="722"/>
                  </a:lnTo>
                  <a:lnTo>
                    <a:pt x="330" y="724"/>
                  </a:lnTo>
                  <a:lnTo>
                    <a:pt x="331" y="724"/>
                  </a:lnTo>
                  <a:lnTo>
                    <a:pt x="331" y="723"/>
                  </a:lnTo>
                  <a:lnTo>
                    <a:pt x="331" y="720"/>
                  </a:lnTo>
                  <a:lnTo>
                    <a:pt x="334" y="718"/>
                  </a:lnTo>
                  <a:lnTo>
                    <a:pt x="339" y="718"/>
                  </a:lnTo>
                  <a:lnTo>
                    <a:pt x="338" y="716"/>
                  </a:lnTo>
                  <a:lnTo>
                    <a:pt x="336" y="716"/>
                  </a:lnTo>
                  <a:lnTo>
                    <a:pt x="334" y="716"/>
                  </a:lnTo>
                  <a:lnTo>
                    <a:pt x="333" y="717"/>
                  </a:lnTo>
                  <a:lnTo>
                    <a:pt x="331" y="718"/>
                  </a:lnTo>
                  <a:lnTo>
                    <a:pt x="330" y="717"/>
                  </a:lnTo>
                  <a:lnTo>
                    <a:pt x="328" y="716"/>
                  </a:lnTo>
                  <a:lnTo>
                    <a:pt x="326" y="716"/>
                  </a:lnTo>
                  <a:lnTo>
                    <a:pt x="325" y="716"/>
                  </a:lnTo>
                  <a:lnTo>
                    <a:pt x="324" y="718"/>
                  </a:lnTo>
                  <a:lnTo>
                    <a:pt x="322" y="720"/>
                  </a:lnTo>
                  <a:lnTo>
                    <a:pt x="324" y="722"/>
                  </a:lnTo>
                  <a:lnTo>
                    <a:pt x="325" y="722"/>
                  </a:lnTo>
                  <a:lnTo>
                    <a:pt x="322" y="725"/>
                  </a:lnTo>
                  <a:lnTo>
                    <a:pt x="321" y="726"/>
                  </a:lnTo>
                  <a:lnTo>
                    <a:pt x="321" y="729"/>
                  </a:lnTo>
                  <a:lnTo>
                    <a:pt x="320" y="729"/>
                  </a:lnTo>
                  <a:lnTo>
                    <a:pt x="319" y="728"/>
                  </a:lnTo>
                  <a:lnTo>
                    <a:pt x="321" y="723"/>
                  </a:lnTo>
                  <a:lnTo>
                    <a:pt x="318" y="723"/>
                  </a:lnTo>
                  <a:lnTo>
                    <a:pt x="316" y="724"/>
                  </a:lnTo>
                  <a:lnTo>
                    <a:pt x="316" y="725"/>
                  </a:lnTo>
                  <a:lnTo>
                    <a:pt x="315" y="726"/>
                  </a:lnTo>
                  <a:lnTo>
                    <a:pt x="313" y="726"/>
                  </a:lnTo>
                  <a:lnTo>
                    <a:pt x="310" y="725"/>
                  </a:lnTo>
                  <a:lnTo>
                    <a:pt x="308" y="726"/>
                  </a:lnTo>
                  <a:lnTo>
                    <a:pt x="307" y="726"/>
                  </a:lnTo>
                  <a:lnTo>
                    <a:pt x="308" y="726"/>
                  </a:lnTo>
                  <a:lnTo>
                    <a:pt x="308" y="728"/>
                  </a:lnTo>
                  <a:lnTo>
                    <a:pt x="307" y="729"/>
                  </a:lnTo>
                  <a:lnTo>
                    <a:pt x="305" y="730"/>
                  </a:lnTo>
                  <a:lnTo>
                    <a:pt x="305" y="729"/>
                  </a:lnTo>
                  <a:lnTo>
                    <a:pt x="303" y="729"/>
                  </a:lnTo>
                  <a:lnTo>
                    <a:pt x="302" y="730"/>
                  </a:lnTo>
                  <a:lnTo>
                    <a:pt x="301" y="731"/>
                  </a:lnTo>
                  <a:lnTo>
                    <a:pt x="299" y="731"/>
                  </a:lnTo>
                  <a:lnTo>
                    <a:pt x="299" y="730"/>
                  </a:lnTo>
                  <a:lnTo>
                    <a:pt x="297" y="731"/>
                  </a:lnTo>
                  <a:lnTo>
                    <a:pt x="296" y="730"/>
                  </a:lnTo>
                  <a:lnTo>
                    <a:pt x="295" y="730"/>
                  </a:lnTo>
                  <a:lnTo>
                    <a:pt x="295" y="731"/>
                  </a:lnTo>
                  <a:lnTo>
                    <a:pt x="293" y="731"/>
                  </a:lnTo>
                  <a:lnTo>
                    <a:pt x="292" y="730"/>
                  </a:lnTo>
                  <a:lnTo>
                    <a:pt x="292" y="729"/>
                  </a:lnTo>
                  <a:lnTo>
                    <a:pt x="291" y="729"/>
                  </a:lnTo>
                  <a:lnTo>
                    <a:pt x="290" y="729"/>
                  </a:lnTo>
                  <a:lnTo>
                    <a:pt x="287" y="728"/>
                  </a:lnTo>
                  <a:lnTo>
                    <a:pt x="286" y="726"/>
                  </a:lnTo>
                  <a:lnTo>
                    <a:pt x="285" y="725"/>
                  </a:lnTo>
                  <a:lnTo>
                    <a:pt x="286" y="723"/>
                  </a:lnTo>
                  <a:lnTo>
                    <a:pt x="284" y="723"/>
                  </a:lnTo>
                  <a:lnTo>
                    <a:pt x="281" y="723"/>
                  </a:lnTo>
                  <a:lnTo>
                    <a:pt x="280" y="722"/>
                  </a:lnTo>
                  <a:lnTo>
                    <a:pt x="279" y="723"/>
                  </a:lnTo>
                  <a:lnTo>
                    <a:pt x="278" y="724"/>
                  </a:lnTo>
                  <a:lnTo>
                    <a:pt x="277" y="725"/>
                  </a:lnTo>
                  <a:lnTo>
                    <a:pt x="275" y="724"/>
                  </a:lnTo>
                  <a:lnTo>
                    <a:pt x="272" y="724"/>
                  </a:lnTo>
                  <a:lnTo>
                    <a:pt x="269" y="723"/>
                  </a:lnTo>
                  <a:lnTo>
                    <a:pt x="269" y="720"/>
                  </a:lnTo>
                  <a:lnTo>
                    <a:pt x="268" y="720"/>
                  </a:lnTo>
                  <a:lnTo>
                    <a:pt x="267" y="720"/>
                  </a:lnTo>
                  <a:lnTo>
                    <a:pt x="267" y="722"/>
                  </a:lnTo>
                  <a:lnTo>
                    <a:pt x="266" y="723"/>
                  </a:lnTo>
                  <a:lnTo>
                    <a:pt x="265" y="724"/>
                  </a:lnTo>
                  <a:lnTo>
                    <a:pt x="262" y="723"/>
                  </a:lnTo>
                  <a:lnTo>
                    <a:pt x="261" y="722"/>
                  </a:lnTo>
                  <a:lnTo>
                    <a:pt x="260" y="722"/>
                  </a:lnTo>
                  <a:lnTo>
                    <a:pt x="259" y="722"/>
                  </a:lnTo>
                  <a:lnTo>
                    <a:pt x="256" y="722"/>
                  </a:lnTo>
                  <a:lnTo>
                    <a:pt x="255" y="722"/>
                  </a:lnTo>
                  <a:lnTo>
                    <a:pt x="254" y="722"/>
                  </a:lnTo>
                  <a:lnTo>
                    <a:pt x="252" y="720"/>
                  </a:lnTo>
                  <a:lnTo>
                    <a:pt x="250" y="722"/>
                  </a:lnTo>
                  <a:lnTo>
                    <a:pt x="248" y="722"/>
                  </a:lnTo>
                  <a:lnTo>
                    <a:pt x="244" y="723"/>
                  </a:lnTo>
                  <a:lnTo>
                    <a:pt x="244" y="724"/>
                  </a:lnTo>
                  <a:lnTo>
                    <a:pt x="243" y="726"/>
                  </a:lnTo>
                  <a:lnTo>
                    <a:pt x="244" y="728"/>
                  </a:lnTo>
                  <a:lnTo>
                    <a:pt x="245" y="725"/>
                  </a:lnTo>
                  <a:lnTo>
                    <a:pt x="248" y="725"/>
                  </a:lnTo>
                  <a:lnTo>
                    <a:pt x="248" y="726"/>
                  </a:lnTo>
                  <a:lnTo>
                    <a:pt x="250" y="726"/>
                  </a:lnTo>
                  <a:lnTo>
                    <a:pt x="251" y="726"/>
                  </a:lnTo>
                  <a:lnTo>
                    <a:pt x="252" y="726"/>
                  </a:lnTo>
                  <a:lnTo>
                    <a:pt x="254" y="728"/>
                  </a:lnTo>
                  <a:lnTo>
                    <a:pt x="255" y="725"/>
                  </a:lnTo>
                  <a:lnTo>
                    <a:pt x="255" y="723"/>
                  </a:lnTo>
                  <a:lnTo>
                    <a:pt x="255" y="724"/>
                  </a:lnTo>
                  <a:lnTo>
                    <a:pt x="256" y="724"/>
                  </a:lnTo>
                  <a:lnTo>
                    <a:pt x="256" y="726"/>
                  </a:lnTo>
                  <a:lnTo>
                    <a:pt x="257" y="725"/>
                  </a:lnTo>
                  <a:lnTo>
                    <a:pt x="260" y="725"/>
                  </a:lnTo>
                  <a:lnTo>
                    <a:pt x="260" y="726"/>
                  </a:lnTo>
                  <a:lnTo>
                    <a:pt x="261" y="724"/>
                  </a:lnTo>
                  <a:lnTo>
                    <a:pt x="262" y="724"/>
                  </a:lnTo>
                  <a:lnTo>
                    <a:pt x="263" y="725"/>
                  </a:lnTo>
                  <a:lnTo>
                    <a:pt x="265" y="725"/>
                  </a:lnTo>
                  <a:lnTo>
                    <a:pt x="265" y="726"/>
                  </a:lnTo>
                  <a:lnTo>
                    <a:pt x="265" y="725"/>
                  </a:lnTo>
                  <a:lnTo>
                    <a:pt x="265" y="726"/>
                  </a:lnTo>
                  <a:lnTo>
                    <a:pt x="265" y="728"/>
                  </a:lnTo>
                  <a:lnTo>
                    <a:pt x="266" y="729"/>
                  </a:lnTo>
                  <a:lnTo>
                    <a:pt x="267" y="729"/>
                  </a:lnTo>
                  <a:lnTo>
                    <a:pt x="267" y="730"/>
                  </a:lnTo>
                  <a:lnTo>
                    <a:pt x="267" y="729"/>
                  </a:lnTo>
                  <a:lnTo>
                    <a:pt x="268" y="729"/>
                  </a:lnTo>
                  <a:lnTo>
                    <a:pt x="268" y="726"/>
                  </a:lnTo>
                  <a:lnTo>
                    <a:pt x="268" y="725"/>
                  </a:lnTo>
                  <a:lnTo>
                    <a:pt x="269" y="724"/>
                  </a:lnTo>
                  <a:lnTo>
                    <a:pt x="272" y="725"/>
                  </a:lnTo>
                  <a:lnTo>
                    <a:pt x="272" y="729"/>
                  </a:lnTo>
                  <a:lnTo>
                    <a:pt x="271" y="728"/>
                  </a:lnTo>
                  <a:lnTo>
                    <a:pt x="269" y="731"/>
                  </a:lnTo>
                  <a:lnTo>
                    <a:pt x="271" y="734"/>
                  </a:lnTo>
                  <a:lnTo>
                    <a:pt x="267" y="734"/>
                  </a:lnTo>
                  <a:lnTo>
                    <a:pt x="266" y="734"/>
                  </a:lnTo>
                  <a:lnTo>
                    <a:pt x="268" y="734"/>
                  </a:lnTo>
                  <a:lnTo>
                    <a:pt x="268" y="737"/>
                  </a:lnTo>
                  <a:lnTo>
                    <a:pt x="267" y="736"/>
                  </a:lnTo>
                  <a:lnTo>
                    <a:pt x="266" y="736"/>
                  </a:lnTo>
                  <a:lnTo>
                    <a:pt x="263" y="736"/>
                  </a:lnTo>
                  <a:lnTo>
                    <a:pt x="262" y="736"/>
                  </a:lnTo>
                  <a:lnTo>
                    <a:pt x="260" y="737"/>
                  </a:lnTo>
                  <a:lnTo>
                    <a:pt x="256" y="737"/>
                  </a:lnTo>
                  <a:lnTo>
                    <a:pt x="255" y="740"/>
                  </a:lnTo>
                  <a:lnTo>
                    <a:pt x="255" y="741"/>
                  </a:lnTo>
                  <a:lnTo>
                    <a:pt x="254" y="743"/>
                  </a:lnTo>
                  <a:lnTo>
                    <a:pt x="252" y="744"/>
                  </a:lnTo>
                  <a:lnTo>
                    <a:pt x="252" y="746"/>
                  </a:lnTo>
                  <a:lnTo>
                    <a:pt x="249" y="746"/>
                  </a:lnTo>
                  <a:lnTo>
                    <a:pt x="246" y="744"/>
                  </a:lnTo>
                  <a:lnTo>
                    <a:pt x="248" y="743"/>
                  </a:lnTo>
                  <a:lnTo>
                    <a:pt x="248" y="742"/>
                  </a:lnTo>
                  <a:lnTo>
                    <a:pt x="246" y="742"/>
                  </a:lnTo>
                  <a:lnTo>
                    <a:pt x="245" y="740"/>
                  </a:lnTo>
                  <a:lnTo>
                    <a:pt x="244" y="736"/>
                  </a:lnTo>
                  <a:lnTo>
                    <a:pt x="242" y="736"/>
                  </a:lnTo>
                  <a:lnTo>
                    <a:pt x="242" y="737"/>
                  </a:lnTo>
                  <a:lnTo>
                    <a:pt x="243" y="738"/>
                  </a:lnTo>
                  <a:lnTo>
                    <a:pt x="244" y="741"/>
                  </a:lnTo>
                  <a:lnTo>
                    <a:pt x="245" y="742"/>
                  </a:lnTo>
                  <a:lnTo>
                    <a:pt x="244" y="743"/>
                  </a:lnTo>
                  <a:lnTo>
                    <a:pt x="242" y="744"/>
                  </a:lnTo>
                  <a:lnTo>
                    <a:pt x="243" y="741"/>
                  </a:lnTo>
                  <a:lnTo>
                    <a:pt x="242" y="741"/>
                  </a:lnTo>
                  <a:lnTo>
                    <a:pt x="240" y="742"/>
                  </a:lnTo>
                  <a:lnTo>
                    <a:pt x="240" y="744"/>
                  </a:lnTo>
                  <a:lnTo>
                    <a:pt x="243" y="747"/>
                  </a:lnTo>
                  <a:lnTo>
                    <a:pt x="239" y="747"/>
                  </a:lnTo>
                  <a:lnTo>
                    <a:pt x="239" y="748"/>
                  </a:lnTo>
                  <a:lnTo>
                    <a:pt x="240" y="749"/>
                  </a:lnTo>
                  <a:lnTo>
                    <a:pt x="240" y="750"/>
                  </a:lnTo>
                  <a:lnTo>
                    <a:pt x="238" y="749"/>
                  </a:lnTo>
                  <a:lnTo>
                    <a:pt x="238" y="752"/>
                  </a:lnTo>
                  <a:lnTo>
                    <a:pt x="238" y="753"/>
                  </a:lnTo>
                  <a:lnTo>
                    <a:pt x="239" y="753"/>
                  </a:lnTo>
                  <a:lnTo>
                    <a:pt x="239" y="754"/>
                  </a:lnTo>
                  <a:lnTo>
                    <a:pt x="238" y="754"/>
                  </a:lnTo>
                  <a:lnTo>
                    <a:pt x="237" y="755"/>
                  </a:lnTo>
                  <a:lnTo>
                    <a:pt x="240" y="756"/>
                  </a:lnTo>
                  <a:lnTo>
                    <a:pt x="243" y="755"/>
                  </a:lnTo>
                  <a:lnTo>
                    <a:pt x="243" y="756"/>
                  </a:lnTo>
                  <a:lnTo>
                    <a:pt x="244" y="756"/>
                  </a:lnTo>
                  <a:lnTo>
                    <a:pt x="244" y="761"/>
                  </a:lnTo>
                  <a:lnTo>
                    <a:pt x="243" y="764"/>
                  </a:lnTo>
                  <a:lnTo>
                    <a:pt x="243" y="766"/>
                  </a:lnTo>
                  <a:lnTo>
                    <a:pt x="242" y="766"/>
                  </a:lnTo>
                  <a:lnTo>
                    <a:pt x="239" y="767"/>
                  </a:lnTo>
                  <a:lnTo>
                    <a:pt x="239" y="766"/>
                  </a:lnTo>
                  <a:lnTo>
                    <a:pt x="237" y="766"/>
                  </a:lnTo>
                  <a:lnTo>
                    <a:pt x="236" y="765"/>
                  </a:lnTo>
                  <a:lnTo>
                    <a:pt x="233" y="764"/>
                  </a:lnTo>
                  <a:lnTo>
                    <a:pt x="230" y="761"/>
                  </a:lnTo>
                  <a:lnTo>
                    <a:pt x="228" y="761"/>
                  </a:lnTo>
                  <a:lnTo>
                    <a:pt x="226" y="761"/>
                  </a:lnTo>
                  <a:lnTo>
                    <a:pt x="224" y="761"/>
                  </a:lnTo>
                  <a:lnTo>
                    <a:pt x="221" y="761"/>
                  </a:lnTo>
                  <a:lnTo>
                    <a:pt x="219" y="762"/>
                  </a:lnTo>
                  <a:lnTo>
                    <a:pt x="214" y="762"/>
                  </a:lnTo>
                  <a:lnTo>
                    <a:pt x="212" y="762"/>
                  </a:lnTo>
                  <a:lnTo>
                    <a:pt x="210" y="762"/>
                  </a:lnTo>
                  <a:lnTo>
                    <a:pt x="208" y="762"/>
                  </a:lnTo>
                  <a:lnTo>
                    <a:pt x="207" y="761"/>
                  </a:lnTo>
                  <a:lnTo>
                    <a:pt x="206" y="762"/>
                  </a:lnTo>
                  <a:lnTo>
                    <a:pt x="204" y="764"/>
                  </a:lnTo>
                  <a:lnTo>
                    <a:pt x="203" y="764"/>
                  </a:lnTo>
                  <a:lnTo>
                    <a:pt x="202" y="765"/>
                  </a:lnTo>
                  <a:lnTo>
                    <a:pt x="198" y="768"/>
                  </a:lnTo>
                  <a:lnTo>
                    <a:pt x="198" y="770"/>
                  </a:lnTo>
                  <a:lnTo>
                    <a:pt x="197" y="771"/>
                  </a:lnTo>
                  <a:lnTo>
                    <a:pt x="196" y="770"/>
                  </a:lnTo>
                  <a:lnTo>
                    <a:pt x="195" y="771"/>
                  </a:lnTo>
                  <a:lnTo>
                    <a:pt x="192" y="771"/>
                  </a:lnTo>
                  <a:lnTo>
                    <a:pt x="190" y="768"/>
                  </a:lnTo>
                  <a:lnTo>
                    <a:pt x="187" y="765"/>
                  </a:lnTo>
                  <a:lnTo>
                    <a:pt x="189" y="764"/>
                  </a:lnTo>
                  <a:lnTo>
                    <a:pt x="187" y="762"/>
                  </a:lnTo>
                  <a:lnTo>
                    <a:pt x="186" y="760"/>
                  </a:lnTo>
                  <a:lnTo>
                    <a:pt x="185" y="759"/>
                  </a:lnTo>
                  <a:lnTo>
                    <a:pt x="183" y="760"/>
                  </a:lnTo>
                  <a:lnTo>
                    <a:pt x="181" y="760"/>
                  </a:lnTo>
                  <a:lnTo>
                    <a:pt x="180" y="759"/>
                  </a:lnTo>
                  <a:lnTo>
                    <a:pt x="179" y="756"/>
                  </a:lnTo>
                  <a:lnTo>
                    <a:pt x="177" y="753"/>
                  </a:lnTo>
                  <a:lnTo>
                    <a:pt x="174" y="750"/>
                  </a:lnTo>
                  <a:lnTo>
                    <a:pt x="175" y="750"/>
                  </a:lnTo>
                  <a:lnTo>
                    <a:pt x="175" y="749"/>
                  </a:lnTo>
                  <a:lnTo>
                    <a:pt x="175" y="748"/>
                  </a:lnTo>
                  <a:lnTo>
                    <a:pt x="177" y="749"/>
                  </a:lnTo>
                  <a:lnTo>
                    <a:pt x="178" y="749"/>
                  </a:lnTo>
                  <a:lnTo>
                    <a:pt x="179" y="750"/>
                  </a:lnTo>
                  <a:lnTo>
                    <a:pt x="181" y="750"/>
                  </a:lnTo>
                  <a:lnTo>
                    <a:pt x="183" y="752"/>
                  </a:lnTo>
                  <a:lnTo>
                    <a:pt x="185" y="750"/>
                  </a:lnTo>
                  <a:lnTo>
                    <a:pt x="184" y="748"/>
                  </a:lnTo>
                  <a:lnTo>
                    <a:pt x="184" y="747"/>
                  </a:lnTo>
                  <a:lnTo>
                    <a:pt x="184" y="746"/>
                  </a:lnTo>
                  <a:lnTo>
                    <a:pt x="186" y="746"/>
                  </a:lnTo>
                  <a:lnTo>
                    <a:pt x="189" y="747"/>
                  </a:lnTo>
                  <a:lnTo>
                    <a:pt x="189" y="746"/>
                  </a:lnTo>
                  <a:lnTo>
                    <a:pt x="191" y="746"/>
                  </a:lnTo>
                  <a:lnTo>
                    <a:pt x="192" y="744"/>
                  </a:lnTo>
                  <a:lnTo>
                    <a:pt x="191" y="744"/>
                  </a:lnTo>
                  <a:lnTo>
                    <a:pt x="190" y="743"/>
                  </a:lnTo>
                  <a:lnTo>
                    <a:pt x="187" y="741"/>
                  </a:lnTo>
                  <a:lnTo>
                    <a:pt x="187" y="737"/>
                  </a:lnTo>
                  <a:lnTo>
                    <a:pt x="190" y="738"/>
                  </a:lnTo>
                  <a:lnTo>
                    <a:pt x="191" y="740"/>
                  </a:lnTo>
                  <a:lnTo>
                    <a:pt x="192" y="740"/>
                  </a:lnTo>
                  <a:lnTo>
                    <a:pt x="195" y="738"/>
                  </a:lnTo>
                  <a:lnTo>
                    <a:pt x="197" y="736"/>
                  </a:lnTo>
                  <a:lnTo>
                    <a:pt x="198" y="736"/>
                  </a:lnTo>
                  <a:lnTo>
                    <a:pt x="198" y="735"/>
                  </a:lnTo>
                  <a:lnTo>
                    <a:pt x="195" y="732"/>
                  </a:lnTo>
                  <a:lnTo>
                    <a:pt x="193" y="731"/>
                  </a:lnTo>
                  <a:lnTo>
                    <a:pt x="192" y="730"/>
                  </a:lnTo>
                  <a:lnTo>
                    <a:pt x="192" y="728"/>
                  </a:lnTo>
                  <a:lnTo>
                    <a:pt x="190" y="728"/>
                  </a:lnTo>
                  <a:lnTo>
                    <a:pt x="189" y="726"/>
                  </a:lnTo>
                  <a:lnTo>
                    <a:pt x="190" y="725"/>
                  </a:lnTo>
                  <a:lnTo>
                    <a:pt x="191" y="725"/>
                  </a:lnTo>
                  <a:lnTo>
                    <a:pt x="192" y="724"/>
                  </a:lnTo>
                  <a:lnTo>
                    <a:pt x="192" y="723"/>
                  </a:lnTo>
                  <a:lnTo>
                    <a:pt x="196" y="725"/>
                  </a:lnTo>
                  <a:lnTo>
                    <a:pt x="197" y="724"/>
                  </a:lnTo>
                  <a:lnTo>
                    <a:pt x="195" y="723"/>
                  </a:lnTo>
                  <a:lnTo>
                    <a:pt x="196" y="719"/>
                  </a:lnTo>
                  <a:lnTo>
                    <a:pt x="196" y="717"/>
                  </a:lnTo>
                  <a:lnTo>
                    <a:pt x="195" y="716"/>
                  </a:lnTo>
                  <a:lnTo>
                    <a:pt x="193" y="717"/>
                  </a:lnTo>
                  <a:lnTo>
                    <a:pt x="190" y="717"/>
                  </a:lnTo>
                  <a:lnTo>
                    <a:pt x="187" y="716"/>
                  </a:lnTo>
                  <a:lnTo>
                    <a:pt x="186" y="716"/>
                  </a:lnTo>
                  <a:lnTo>
                    <a:pt x="185" y="716"/>
                  </a:lnTo>
                  <a:lnTo>
                    <a:pt x="183" y="716"/>
                  </a:lnTo>
                  <a:lnTo>
                    <a:pt x="181" y="717"/>
                  </a:lnTo>
                  <a:lnTo>
                    <a:pt x="179" y="718"/>
                  </a:lnTo>
                  <a:lnTo>
                    <a:pt x="178" y="719"/>
                  </a:lnTo>
                  <a:lnTo>
                    <a:pt x="178" y="718"/>
                  </a:lnTo>
                  <a:lnTo>
                    <a:pt x="177" y="717"/>
                  </a:lnTo>
                  <a:lnTo>
                    <a:pt x="175" y="718"/>
                  </a:lnTo>
                  <a:lnTo>
                    <a:pt x="173" y="718"/>
                  </a:lnTo>
                  <a:lnTo>
                    <a:pt x="172" y="718"/>
                  </a:lnTo>
                  <a:lnTo>
                    <a:pt x="169" y="717"/>
                  </a:lnTo>
                  <a:lnTo>
                    <a:pt x="168" y="717"/>
                  </a:lnTo>
                  <a:lnTo>
                    <a:pt x="166" y="716"/>
                  </a:lnTo>
                  <a:lnTo>
                    <a:pt x="163" y="717"/>
                  </a:lnTo>
                  <a:lnTo>
                    <a:pt x="161" y="717"/>
                  </a:lnTo>
                  <a:lnTo>
                    <a:pt x="161" y="718"/>
                  </a:lnTo>
                  <a:lnTo>
                    <a:pt x="160" y="718"/>
                  </a:lnTo>
                  <a:lnTo>
                    <a:pt x="159" y="719"/>
                  </a:lnTo>
                  <a:lnTo>
                    <a:pt x="157" y="722"/>
                  </a:lnTo>
                  <a:lnTo>
                    <a:pt x="155" y="720"/>
                  </a:lnTo>
                  <a:lnTo>
                    <a:pt x="149" y="720"/>
                  </a:lnTo>
                  <a:lnTo>
                    <a:pt x="147" y="720"/>
                  </a:lnTo>
                  <a:lnTo>
                    <a:pt x="143" y="719"/>
                  </a:lnTo>
                  <a:lnTo>
                    <a:pt x="141" y="723"/>
                  </a:lnTo>
                  <a:lnTo>
                    <a:pt x="138" y="722"/>
                  </a:lnTo>
                  <a:lnTo>
                    <a:pt x="137" y="720"/>
                  </a:lnTo>
                  <a:lnTo>
                    <a:pt x="136" y="719"/>
                  </a:lnTo>
                  <a:lnTo>
                    <a:pt x="133" y="719"/>
                  </a:lnTo>
                  <a:lnTo>
                    <a:pt x="131" y="717"/>
                  </a:lnTo>
                  <a:lnTo>
                    <a:pt x="128" y="717"/>
                  </a:lnTo>
                  <a:lnTo>
                    <a:pt x="128" y="716"/>
                  </a:lnTo>
                  <a:lnTo>
                    <a:pt x="131" y="713"/>
                  </a:lnTo>
                  <a:lnTo>
                    <a:pt x="132" y="713"/>
                  </a:lnTo>
                  <a:lnTo>
                    <a:pt x="132" y="714"/>
                  </a:lnTo>
                  <a:lnTo>
                    <a:pt x="136" y="714"/>
                  </a:lnTo>
                  <a:lnTo>
                    <a:pt x="137" y="714"/>
                  </a:lnTo>
                  <a:lnTo>
                    <a:pt x="138" y="714"/>
                  </a:lnTo>
                  <a:lnTo>
                    <a:pt x="138" y="713"/>
                  </a:lnTo>
                  <a:lnTo>
                    <a:pt x="136" y="712"/>
                  </a:lnTo>
                  <a:lnTo>
                    <a:pt x="136" y="710"/>
                  </a:lnTo>
                  <a:lnTo>
                    <a:pt x="133" y="708"/>
                  </a:lnTo>
                  <a:lnTo>
                    <a:pt x="132" y="708"/>
                  </a:lnTo>
                  <a:lnTo>
                    <a:pt x="131" y="708"/>
                  </a:lnTo>
                  <a:lnTo>
                    <a:pt x="131" y="707"/>
                  </a:lnTo>
                  <a:lnTo>
                    <a:pt x="128" y="707"/>
                  </a:lnTo>
                  <a:lnTo>
                    <a:pt x="130" y="701"/>
                  </a:lnTo>
                  <a:lnTo>
                    <a:pt x="133" y="697"/>
                  </a:lnTo>
                  <a:lnTo>
                    <a:pt x="134" y="697"/>
                  </a:lnTo>
                  <a:lnTo>
                    <a:pt x="136" y="697"/>
                  </a:lnTo>
                  <a:lnTo>
                    <a:pt x="136" y="696"/>
                  </a:lnTo>
                  <a:lnTo>
                    <a:pt x="138" y="695"/>
                  </a:lnTo>
                  <a:lnTo>
                    <a:pt x="139" y="697"/>
                  </a:lnTo>
                  <a:lnTo>
                    <a:pt x="143" y="699"/>
                  </a:lnTo>
                  <a:lnTo>
                    <a:pt x="143" y="696"/>
                  </a:lnTo>
                  <a:lnTo>
                    <a:pt x="143" y="694"/>
                  </a:lnTo>
                  <a:lnTo>
                    <a:pt x="144" y="694"/>
                  </a:lnTo>
                  <a:lnTo>
                    <a:pt x="145" y="694"/>
                  </a:lnTo>
                  <a:lnTo>
                    <a:pt x="149" y="693"/>
                  </a:lnTo>
                  <a:lnTo>
                    <a:pt x="150" y="693"/>
                  </a:lnTo>
                  <a:lnTo>
                    <a:pt x="150" y="691"/>
                  </a:lnTo>
                  <a:lnTo>
                    <a:pt x="147" y="688"/>
                  </a:lnTo>
                  <a:lnTo>
                    <a:pt x="145" y="688"/>
                  </a:lnTo>
                  <a:lnTo>
                    <a:pt x="144" y="689"/>
                  </a:lnTo>
                  <a:lnTo>
                    <a:pt x="143" y="690"/>
                  </a:lnTo>
                  <a:lnTo>
                    <a:pt x="143" y="689"/>
                  </a:lnTo>
                  <a:lnTo>
                    <a:pt x="141" y="689"/>
                  </a:lnTo>
                  <a:lnTo>
                    <a:pt x="139" y="689"/>
                  </a:lnTo>
                  <a:lnTo>
                    <a:pt x="138" y="688"/>
                  </a:lnTo>
                  <a:lnTo>
                    <a:pt x="137" y="688"/>
                  </a:lnTo>
                  <a:lnTo>
                    <a:pt x="137" y="687"/>
                  </a:lnTo>
                  <a:lnTo>
                    <a:pt x="133" y="685"/>
                  </a:lnTo>
                  <a:lnTo>
                    <a:pt x="128" y="683"/>
                  </a:lnTo>
                  <a:lnTo>
                    <a:pt x="127" y="682"/>
                  </a:lnTo>
                  <a:lnTo>
                    <a:pt x="126" y="681"/>
                  </a:lnTo>
                  <a:lnTo>
                    <a:pt x="126" y="678"/>
                  </a:lnTo>
                  <a:lnTo>
                    <a:pt x="125" y="677"/>
                  </a:lnTo>
                  <a:lnTo>
                    <a:pt x="124" y="676"/>
                  </a:lnTo>
                  <a:lnTo>
                    <a:pt x="122" y="675"/>
                  </a:lnTo>
                  <a:lnTo>
                    <a:pt x="125" y="673"/>
                  </a:lnTo>
                  <a:lnTo>
                    <a:pt x="125" y="672"/>
                  </a:lnTo>
                  <a:lnTo>
                    <a:pt x="126" y="672"/>
                  </a:lnTo>
                  <a:lnTo>
                    <a:pt x="127" y="673"/>
                  </a:lnTo>
                  <a:lnTo>
                    <a:pt x="127" y="675"/>
                  </a:lnTo>
                  <a:lnTo>
                    <a:pt x="130" y="675"/>
                  </a:lnTo>
                  <a:lnTo>
                    <a:pt x="130" y="676"/>
                  </a:lnTo>
                  <a:lnTo>
                    <a:pt x="132" y="677"/>
                  </a:lnTo>
                  <a:lnTo>
                    <a:pt x="133" y="677"/>
                  </a:lnTo>
                  <a:lnTo>
                    <a:pt x="134" y="678"/>
                  </a:lnTo>
                  <a:lnTo>
                    <a:pt x="134" y="677"/>
                  </a:lnTo>
                  <a:lnTo>
                    <a:pt x="133" y="675"/>
                  </a:lnTo>
                  <a:lnTo>
                    <a:pt x="134" y="672"/>
                  </a:lnTo>
                  <a:lnTo>
                    <a:pt x="137" y="670"/>
                  </a:lnTo>
                  <a:lnTo>
                    <a:pt x="138" y="672"/>
                  </a:lnTo>
                  <a:lnTo>
                    <a:pt x="139" y="675"/>
                  </a:lnTo>
                  <a:lnTo>
                    <a:pt x="141" y="676"/>
                  </a:lnTo>
                  <a:lnTo>
                    <a:pt x="141" y="677"/>
                  </a:lnTo>
                  <a:lnTo>
                    <a:pt x="144" y="677"/>
                  </a:lnTo>
                  <a:lnTo>
                    <a:pt x="145" y="677"/>
                  </a:lnTo>
                  <a:lnTo>
                    <a:pt x="145" y="678"/>
                  </a:lnTo>
                  <a:lnTo>
                    <a:pt x="145" y="679"/>
                  </a:lnTo>
                  <a:lnTo>
                    <a:pt x="147" y="681"/>
                  </a:lnTo>
                  <a:lnTo>
                    <a:pt x="149" y="682"/>
                  </a:lnTo>
                  <a:lnTo>
                    <a:pt x="149" y="681"/>
                  </a:lnTo>
                  <a:lnTo>
                    <a:pt x="150" y="681"/>
                  </a:lnTo>
                  <a:lnTo>
                    <a:pt x="153" y="682"/>
                  </a:lnTo>
                  <a:lnTo>
                    <a:pt x="155" y="682"/>
                  </a:lnTo>
                  <a:lnTo>
                    <a:pt x="157" y="682"/>
                  </a:lnTo>
                  <a:lnTo>
                    <a:pt x="155" y="678"/>
                  </a:lnTo>
                  <a:lnTo>
                    <a:pt x="154" y="676"/>
                  </a:lnTo>
                  <a:lnTo>
                    <a:pt x="153" y="673"/>
                  </a:lnTo>
                  <a:lnTo>
                    <a:pt x="151" y="672"/>
                  </a:lnTo>
                  <a:lnTo>
                    <a:pt x="153" y="672"/>
                  </a:lnTo>
                  <a:lnTo>
                    <a:pt x="153" y="671"/>
                  </a:lnTo>
                  <a:lnTo>
                    <a:pt x="154" y="670"/>
                  </a:lnTo>
                  <a:lnTo>
                    <a:pt x="155" y="671"/>
                  </a:lnTo>
                  <a:lnTo>
                    <a:pt x="157" y="672"/>
                  </a:lnTo>
                  <a:lnTo>
                    <a:pt x="159" y="673"/>
                  </a:lnTo>
                  <a:lnTo>
                    <a:pt x="160" y="675"/>
                  </a:lnTo>
                  <a:lnTo>
                    <a:pt x="161" y="676"/>
                  </a:lnTo>
                  <a:lnTo>
                    <a:pt x="162" y="673"/>
                  </a:lnTo>
                  <a:lnTo>
                    <a:pt x="161" y="672"/>
                  </a:lnTo>
                  <a:lnTo>
                    <a:pt x="160" y="670"/>
                  </a:lnTo>
                  <a:lnTo>
                    <a:pt x="160" y="669"/>
                  </a:lnTo>
                  <a:lnTo>
                    <a:pt x="159" y="667"/>
                  </a:lnTo>
                  <a:lnTo>
                    <a:pt x="157" y="664"/>
                  </a:lnTo>
                  <a:lnTo>
                    <a:pt x="161" y="664"/>
                  </a:lnTo>
                  <a:lnTo>
                    <a:pt x="163" y="664"/>
                  </a:lnTo>
                  <a:lnTo>
                    <a:pt x="163" y="665"/>
                  </a:lnTo>
                  <a:lnTo>
                    <a:pt x="163" y="666"/>
                  </a:lnTo>
                  <a:lnTo>
                    <a:pt x="166" y="666"/>
                  </a:lnTo>
                  <a:lnTo>
                    <a:pt x="168" y="666"/>
                  </a:lnTo>
                  <a:lnTo>
                    <a:pt x="168" y="667"/>
                  </a:lnTo>
                  <a:lnTo>
                    <a:pt x="171" y="669"/>
                  </a:lnTo>
                  <a:lnTo>
                    <a:pt x="171" y="667"/>
                  </a:lnTo>
                  <a:lnTo>
                    <a:pt x="171" y="666"/>
                  </a:lnTo>
                  <a:lnTo>
                    <a:pt x="171" y="665"/>
                  </a:lnTo>
                  <a:lnTo>
                    <a:pt x="172" y="663"/>
                  </a:lnTo>
                  <a:lnTo>
                    <a:pt x="175" y="664"/>
                  </a:lnTo>
                  <a:lnTo>
                    <a:pt x="175" y="665"/>
                  </a:lnTo>
                  <a:lnTo>
                    <a:pt x="177" y="666"/>
                  </a:lnTo>
                  <a:lnTo>
                    <a:pt x="178" y="665"/>
                  </a:lnTo>
                  <a:lnTo>
                    <a:pt x="179" y="665"/>
                  </a:lnTo>
                  <a:lnTo>
                    <a:pt x="179" y="663"/>
                  </a:lnTo>
                  <a:lnTo>
                    <a:pt x="181" y="661"/>
                  </a:lnTo>
                  <a:lnTo>
                    <a:pt x="184" y="661"/>
                  </a:lnTo>
                  <a:lnTo>
                    <a:pt x="184" y="660"/>
                  </a:lnTo>
                  <a:lnTo>
                    <a:pt x="183" y="659"/>
                  </a:lnTo>
                  <a:lnTo>
                    <a:pt x="181" y="659"/>
                  </a:lnTo>
                  <a:lnTo>
                    <a:pt x="181" y="658"/>
                  </a:lnTo>
                  <a:lnTo>
                    <a:pt x="180" y="657"/>
                  </a:lnTo>
                  <a:lnTo>
                    <a:pt x="179" y="655"/>
                  </a:lnTo>
                  <a:lnTo>
                    <a:pt x="179" y="652"/>
                  </a:lnTo>
                  <a:lnTo>
                    <a:pt x="181" y="651"/>
                  </a:lnTo>
                  <a:lnTo>
                    <a:pt x="183" y="649"/>
                  </a:lnTo>
                  <a:lnTo>
                    <a:pt x="181" y="652"/>
                  </a:lnTo>
                  <a:lnTo>
                    <a:pt x="184" y="653"/>
                  </a:lnTo>
                  <a:lnTo>
                    <a:pt x="185" y="654"/>
                  </a:lnTo>
                  <a:lnTo>
                    <a:pt x="186" y="653"/>
                  </a:lnTo>
                  <a:lnTo>
                    <a:pt x="187" y="654"/>
                  </a:lnTo>
                  <a:lnTo>
                    <a:pt x="189" y="655"/>
                  </a:lnTo>
                  <a:lnTo>
                    <a:pt x="190" y="655"/>
                  </a:lnTo>
                  <a:lnTo>
                    <a:pt x="190" y="654"/>
                  </a:lnTo>
                  <a:lnTo>
                    <a:pt x="190" y="652"/>
                  </a:lnTo>
                  <a:lnTo>
                    <a:pt x="189" y="651"/>
                  </a:lnTo>
                  <a:lnTo>
                    <a:pt x="191" y="651"/>
                  </a:lnTo>
                  <a:lnTo>
                    <a:pt x="191" y="649"/>
                  </a:lnTo>
                  <a:lnTo>
                    <a:pt x="193" y="652"/>
                  </a:lnTo>
                  <a:lnTo>
                    <a:pt x="195" y="653"/>
                  </a:lnTo>
                  <a:lnTo>
                    <a:pt x="196" y="653"/>
                  </a:lnTo>
                  <a:lnTo>
                    <a:pt x="196" y="652"/>
                  </a:lnTo>
                  <a:lnTo>
                    <a:pt x="195" y="651"/>
                  </a:lnTo>
                  <a:lnTo>
                    <a:pt x="193" y="649"/>
                  </a:lnTo>
                  <a:lnTo>
                    <a:pt x="193" y="648"/>
                  </a:lnTo>
                  <a:lnTo>
                    <a:pt x="195" y="647"/>
                  </a:lnTo>
                  <a:lnTo>
                    <a:pt x="196" y="648"/>
                  </a:lnTo>
                  <a:lnTo>
                    <a:pt x="197" y="648"/>
                  </a:lnTo>
                  <a:lnTo>
                    <a:pt x="200" y="648"/>
                  </a:lnTo>
                  <a:lnTo>
                    <a:pt x="197" y="646"/>
                  </a:lnTo>
                  <a:lnTo>
                    <a:pt x="195" y="642"/>
                  </a:lnTo>
                  <a:lnTo>
                    <a:pt x="197" y="641"/>
                  </a:lnTo>
                  <a:lnTo>
                    <a:pt x="198" y="642"/>
                  </a:lnTo>
                  <a:lnTo>
                    <a:pt x="200" y="642"/>
                  </a:lnTo>
                  <a:lnTo>
                    <a:pt x="202" y="641"/>
                  </a:lnTo>
                  <a:lnTo>
                    <a:pt x="203" y="641"/>
                  </a:lnTo>
                  <a:lnTo>
                    <a:pt x="204" y="641"/>
                  </a:lnTo>
                  <a:lnTo>
                    <a:pt x="206" y="640"/>
                  </a:lnTo>
                  <a:lnTo>
                    <a:pt x="207" y="640"/>
                  </a:lnTo>
                  <a:lnTo>
                    <a:pt x="209" y="639"/>
                  </a:lnTo>
                  <a:lnTo>
                    <a:pt x="210" y="640"/>
                  </a:lnTo>
                  <a:lnTo>
                    <a:pt x="212" y="641"/>
                  </a:lnTo>
                  <a:lnTo>
                    <a:pt x="214" y="641"/>
                  </a:lnTo>
                  <a:lnTo>
                    <a:pt x="216" y="641"/>
                  </a:lnTo>
                  <a:lnTo>
                    <a:pt x="218" y="643"/>
                  </a:lnTo>
                  <a:lnTo>
                    <a:pt x="220" y="643"/>
                  </a:lnTo>
                  <a:lnTo>
                    <a:pt x="221" y="643"/>
                  </a:lnTo>
                  <a:lnTo>
                    <a:pt x="221" y="642"/>
                  </a:lnTo>
                  <a:lnTo>
                    <a:pt x="225" y="643"/>
                  </a:lnTo>
                  <a:lnTo>
                    <a:pt x="226" y="643"/>
                  </a:lnTo>
                  <a:lnTo>
                    <a:pt x="228" y="642"/>
                  </a:lnTo>
                  <a:lnTo>
                    <a:pt x="227" y="640"/>
                  </a:lnTo>
                  <a:lnTo>
                    <a:pt x="227" y="637"/>
                  </a:lnTo>
                  <a:lnTo>
                    <a:pt x="230" y="639"/>
                  </a:lnTo>
                  <a:lnTo>
                    <a:pt x="234" y="640"/>
                  </a:lnTo>
                  <a:lnTo>
                    <a:pt x="237" y="637"/>
                  </a:lnTo>
                  <a:lnTo>
                    <a:pt x="238" y="634"/>
                  </a:lnTo>
                  <a:lnTo>
                    <a:pt x="238" y="633"/>
                  </a:lnTo>
                  <a:lnTo>
                    <a:pt x="239" y="631"/>
                  </a:lnTo>
                  <a:lnTo>
                    <a:pt x="243" y="629"/>
                  </a:lnTo>
                  <a:lnTo>
                    <a:pt x="245" y="628"/>
                  </a:lnTo>
                  <a:lnTo>
                    <a:pt x="246" y="628"/>
                  </a:lnTo>
                  <a:lnTo>
                    <a:pt x="248" y="627"/>
                  </a:lnTo>
                  <a:lnTo>
                    <a:pt x="249" y="624"/>
                  </a:lnTo>
                  <a:lnTo>
                    <a:pt x="250" y="623"/>
                  </a:lnTo>
                  <a:lnTo>
                    <a:pt x="251" y="622"/>
                  </a:lnTo>
                  <a:lnTo>
                    <a:pt x="250" y="622"/>
                  </a:lnTo>
                  <a:lnTo>
                    <a:pt x="249" y="621"/>
                  </a:lnTo>
                  <a:lnTo>
                    <a:pt x="250" y="619"/>
                  </a:lnTo>
                  <a:lnTo>
                    <a:pt x="251" y="621"/>
                  </a:lnTo>
                  <a:lnTo>
                    <a:pt x="252" y="619"/>
                  </a:lnTo>
                  <a:lnTo>
                    <a:pt x="254" y="621"/>
                  </a:lnTo>
                  <a:lnTo>
                    <a:pt x="255" y="619"/>
                  </a:lnTo>
                  <a:lnTo>
                    <a:pt x="256" y="619"/>
                  </a:lnTo>
                  <a:lnTo>
                    <a:pt x="257" y="617"/>
                  </a:lnTo>
                  <a:lnTo>
                    <a:pt x="260" y="618"/>
                  </a:lnTo>
                  <a:lnTo>
                    <a:pt x="260" y="619"/>
                  </a:lnTo>
                  <a:lnTo>
                    <a:pt x="262" y="618"/>
                  </a:lnTo>
                  <a:lnTo>
                    <a:pt x="263" y="618"/>
                  </a:lnTo>
                  <a:lnTo>
                    <a:pt x="266" y="618"/>
                  </a:lnTo>
                  <a:lnTo>
                    <a:pt x="267" y="617"/>
                  </a:lnTo>
                  <a:lnTo>
                    <a:pt x="268" y="619"/>
                  </a:lnTo>
                  <a:lnTo>
                    <a:pt x="269" y="619"/>
                  </a:lnTo>
                  <a:lnTo>
                    <a:pt x="269" y="618"/>
                  </a:lnTo>
                  <a:lnTo>
                    <a:pt x="272" y="618"/>
                  </a:lnTo>
                  <a:lnTo>
                    <a:pt x="272" y="617"/>
                  </a:lnTo>
                  <a:lnTo>
                    <a:pt x="271" y="616"/>
                  </a:lnTo>
                  <a:lnTo>
                    <a:pt x="272" y="615"/>
                  </a:lnTo>
                  <a:lnTo>
                    <a:pt x="273" y="615"/>
                  </a:lnTo>
                  <a:lnTo>
                    <a:pt x="273" y="616"/>
                  </a:lnTo>
                  <a:lnTo>
                    <a:pt x="273" y="617"/>
                  </a:lnTo>
                  <a:lnTo>
                    <a:pt x="277" y="617"/>
                  </a:lnTo>
                  <a:lnTo>
                    <a:pt x="275" y="615"/>
                  </a:lnTo>
                  <a:lnTo>
                    <a:pt x="277" y="613"/>
                  </a:lnTo>
                  <a:lnTo>
                    <a:pt x="280" y="613"/>
                  </a:lnTo>
                  <a:lnTo>
                    <a:pt x="281" y="611"/>
                  </a:lnTo>
                  <a:lnTo>
                    <a:pt x="281" y="612"/>
                  </a:lnTo>
                  <a:lnTo>
                    <a:pt x="284" y="612"/>
                  </a:lnTo>
                  <a:lnTo>
                    <a:pt x="285" y="611"/>
                  </a:lnTo>
                  <a:lnTo>
                    <a:pt x="283" y="611"/>
                  </a:lnTo>
                  <a:lnTo>
                    <a:pt x="284" y="610"/>
                  </a:lnTo>
                  <a:lnTo>
                    <a:pt x="285" y="609"/>
                  </a:lnTo>
                  <a:lnTo>
                    <a:pt x="287" y="609"/>
                  </a:lnTo>
                  <a:lnTo>
                    <a:pt x="289" y="607"/>
                  </a:lnTo>
                  <a:lnTo>
                    <a:pt x="289" y="609"/>
                  </a:lnTo>
                  <a:lnTo>
                    <a:pt x="290" y="609"/>
                  </a:lnTo>
                  <a:lnTo>
                    <a:pt x="289" y="610"/>
                  </a:lnTo>
                  <a:lnTo>
                    <a:pt x="289" y="611"/>
                  </a:lnTo>
                  <a:lnTo>
                    <a:pt x="290" y="611"/>
                  </a:lnTo>
                  <a:lnTo>
                    <a:pt x="290" y="610"/>
                  </a:lnTo>
                  <a:lnTo>
                    <a:pt x="291" y="611"/>
                  </a:lnTo>
                  <a:lnTo>
                    <a:pt x="293" y="613"/>
                  </a:lnTo>
                  <a:lnTo>
                    <a:pt x="297" y="613"/>
                  </a:lnTo>
                  <a:lnTo>
                    <a:pt x="296" y="611"/>
                  </a:lnTo>
                  <a:lnTo>
                    <a:pt x="296" y="610"/>
                  </a:lnTo>
                  <a:lnTo>
                    <a:pt x="293" y="610"/>
                  </a:lnTo>
                  <a:lnTo>
                    <a:pt x="292" y="609"/>
                  </a:lnTo>
                  <a:lnTo>
                    <a:pt x="293" y="609"/>
                  </a:lnTo>
                  <a:lnTo>
                    <a:pt x="295" y="609"/>
                  </a:lnTo>
                  <a:lnTo>
                    <a:pt x="295" y="607"/>
                  </a:lnTo>
                  <a:lnTo>
                    <a:pt x="296" y="607"/>
                  </a:lnTo>
                  <a:lnTo>
                    <a:pt x="296" y="606"/>
                  </a:lnTo>
                  <a:lnTo>
                    <a:pt x="296" y="605"/>
                  </a:lnTo>
                  <a:lnTo>
                    <a:pt x="298" y="606"/>
                  </a:lnTo>
                  <a:lnTo>
                    <a:pt x="298" y="605"/>
                  </a:lnTo>
                  <a:lnTo>
                    <a:pt x="297" y="604"/>
                  </a:lnTo>
                  <a:lnTo>
                    <a:pt x="298" y="603"/>
                  </a:lnTo>
                  <a:lnTo>
                    <a:pt x="299" y="603"/>
                  </a:lnTo>
                  <a:lnTo>
                    <a:pt x="299" y="601"/>
                  </a:lnTo>
                  <a:lnTo>
                    <a:pt x="298" y="601"/>
                  </a:lnTo>
                  <a:lnTo>
                    <a:pt x="299" y="601"/>
                  </a:lnTo>
                  <a:lnTo>
                    <a:pt x="297" y="601"/>
                  </a:lnTo>
                  <a:lnTo>
                    <a:pt x="297" y="600"/>
                  </a:lnTo>
                  <a:lnTo>
                    <a:pt x="296" y="600"/>
                  </a:lnTo>
                  <a:lnTo>
                    <a:pt x="296" y="603"/>
                  </a:lnTo>
                  <a:lnTo>
                    <a:pt x="295" y="601"/>
                  </a:lnTo>
                  <a:lnTo>
                    <a:pt x="293" y="603"/>
                  </a:lnTo>
                  <a:lnTo>
                    <a:pt x="293" y="604"/>
                  </a:lnTo>
                  <a:lnTo>
                    <a:pt x="292" y="604"/>
                  </a:lnTo>
                  <a:lnTo>
                    <a:pt x="291" y="605"/>
                  </a:lnTo>
                  <a:lnTo>
                    <a:pt x="290" y="605"/>
                  </a:lnTo>
                  <a:lnTo>
                    <a:pt x="289" y="600"/>
                  </a:lnTo>
                  <a:lnTo>
                    <a:pt x="289" y="599"/>
                  </a:lnTo>
                  <a:lnTo>
                    <a:pt x="289" y="598"/>
                  </a:lnTo>
                  <a:lnTo>
                    <a:pt x="285" y="598"/>
                  </a:lnTo>
                  <a:lnTo>
                    <a:pt x="284" y="596"/>
                  </a:lnTo>
                  <a:lnTo>
                    <a:pt x="283" y="596"/>
                  </a:lnTo>
                  <a:lnTo>
                    <a:pt x="283" y="595"/>
                  </a:lnTo>
                  <a:lnTo>
                    <a:pt x="281" y="599"/>
                  </a:lnTo>
                  <a:lnTo>
                    <a:pt x="281" y="601"/>
                  </a:lnTo>
                  <a:lnTo>
                    <a:pt x="277" y="600"/>
                  </a:lnTo>
                  <a:lnTo>
                    <a:pt x="275" y="601"/>
                  </a:lnTo>
                  <a:lnTo>
                    <a:pt x="274" y="601"/>
                  </a:lnTo>
                  <a:lnTo>
                    <a:pt x="273" y="601"/>
                  </a:lnTo>
                  <a:lnTo>
                    <a:pt x="272" y="601"/>
                  </a:lnTo>
                  <a:lnTo>
                    <a:pt x="272" y="604"/>
                  </a:lnTo>
                  <a:lnTo>
                    <a:pt x="272" y="605"/>
                  </a:lnTo>
                  <a:lnTo>
                    <a:pt x="271" y="605"/>
                  </a:lnTo>
                  <a:lnTo>
                    <a:pt x="271" y="604"/>
                  </a:lnTo>
                  <a:lnTo>
                    <a:pt x="269" y="604"/>
                  </a:lnTo>
                  <a:lnTo>
                    <a:pt x="268" y="604"/>
                  </a:lnTo>
                  <a:lnTo>
                    <a:pt x="268" y="605"/>
                  </a:lnTo>
                  <a:lnTo>
                    <a:pt x="266" y="605"/>
                  </a:lnTo>
                  <a:lnTo>
                    <a:pt x="265" y="605"/>
                  </a:lnTo>
                  <a:lnTo>
                    <a:pt x="265" y="606"/>
                  </a:lnTo>
                  <a:lnTo>
                    <a:pt x="266" y="606"/>
                  </a:lnTo>
                  <a:lnTo>
                    <a:pt x="266" y="607"/>
                  </a:lnTo>
                  <a:lnTo>
                    <a:pt x="263" y="607"/>
                  </a:lnTo>
                  <a:lnTo>
                    <a:pt x="262" y="606"/>
                  </a:lnTo>
                  <a:lnTo>
                    <a:pt x="261" y="605"/>
                  </a:lnTo>
                  <a:lnTo>
                    <a:pt x="260" y="603"/>
                  </a:lnTo>
                  <a:lnTo>
                    <a:pt x="261" y="604"/>
                  </a:lnTo>
                  <a:lnTo>
                    <a:pt x="262" y="604"/>
                  </a:lnTo>
                  <a:lnTo>
                    <a:pt x="261" y="603"/>
                  </a:lnTo>
                  <a:lnTo>
                    <a:pt x="261" y="601"/>
                  </a:lnTo>
                  <a:lnTo>
                    <a:pt x="259" y="601"/>
                  </a:lnTo>
                  <a:lnTo>
                    <a:pt x="257" y="601"/>
                  </a:lnTo>
                  <a:lnTo>
                    <a:pt x="256" y="601"/>
                  </a:lnTo>
                  <a:lnTo>
                    <a:pt x="256" y="603"/>
                  </a:lnTo>
                  <a:lnTo>
                    <a:pt x="254" y="604"/>
                  </a:lnTo>
                  <a:lnTo>
                    <a:pt x="252" y="606"/>
                  </a:lnTo>
                  <a:lnTo>
                    <a:pt x="254" y="605"/>
                  </a:lnTo>
                  <a:lnTo>
                    <a:pt x="255" y="605"/>
                  </a:lnTo>
                  <a:lnTo>
                    <a:pt x="255" y="607"/>
                  </a:lnTo>
                  <a:lnTo>
                    <a:pt x="252" y="607"/>
                  </a:lnTo>
                  <a:lnTo>
                    <a:pt x="250" y="607"/>
                  </a:lnTo>
                  <a:lnTo>
                    <a:pt x="250" y="609"/>
                  </a:lnTo>
                  <a:lnTo>
                    <a:pt x="249" y="609"/>
                  </a:lnTo>
                  <a:lnTo>
                    <a:pt x="249" y="610"/>
                  </a:lnTo>
                  <a:lnTo>
                    <a:pt x="246" y="610"/>
                  </a:lnTo>
                  <a:lnTo>
                    <a:pt x="246" y="611"/>
                  </a:lnTo>
                  <a:lnTo>
                    <a:pt x="245" y="612"/>
                  </a:lnTo>
                  <a:lnTo>
                    <a:pt x="246" y="612"/>
                  </a:lnTo>
                  <a:lnTo>
                    <a:pt x="248" y="613"/>
                  </a:lnTo>
                  <a:lnTo>
                    <a:pt x="249" y="615"/>
                  </a:lnTo>
                  <a:lnTo>
                    <a:pt x="248" y="616"/>
                  </a:lnTo>
                  <a:lnTo>
                    <a:pt x="244" y="617"/>
                  </a:lnTo>
                  <a:lnTo>
                    <a:pt x="245" y="615"/>
                  </a:lnTo>
                  <a:lnTo>
                    <a:pt x="244" y="616"/>
                  </a:lnTo>
                  <a:lnTo>
                    <a:pt x="243" y="617"/>
                  </a:lnTo>
                  <a:lnTo>
                    <a:pt x="243" y="616"/>
                  </a:lnTo>
                  <a:lnTo>
                    <a:pt x="243" y="615"/>
                  </a:lnTo>
                  <a:lnTo>
                    <a:pt x="244" y="615"/>
                  </a:lnTo>
                  <a:lnTo>
                    <a:pt x="245" y="613"/>
                  </a:lnTo>
                  <a:lnTo>
                    <a:pt x="245" y="612"/>
                  </a:lnTo>
                  <a:lnTo>
                    <a:pt x="244" y="613"/>
                  </a:lnTo>
                  <a:lnTo>
                    <a:pt x="242" y="612"/>
                  </a:lnTo>
                  <a:lnTo>
                    <a:pt x="242" y="613"/>
                  </a:lnTo>
                  <a:lnTo>
                    <a:pt x="242" y="615"/>
                  </a:lnTo>
                  <a:lnTo>
                    <a:pt x="242" y="616"/>
                  </a:lnTo>
                  <a:lnTo>
                    <a:pt x="242" y="617"/>
                  </a:lnTo>
                  <a:lnTo>
                    <a:pt x="244" y="618"/>
                  </a:lnTo>
                  <a:lnTo>
                    <a:pt x="243" y="619"/>
                  </a:lnTo>
                  <a:lnTo>
                    <a:pt x="240" y="621"/>
                  </a:lnTo>
                  <a:lnTo>
                    <a:pt x="240" y="622"/>
                  </a:lnTo>
                  <a:lnTo>
                    <a:pt x="239" y="622"/>
                  </a:lnTo>
                  <a:lnTo>
                    <a:pt x="236" y="621"/>
                  </a:lnTo>
                  <a:lnTo>
                    <a:pt x="233" y="618"/>
                  </a:lnTo>
                  <a:lnTo>
                    <a:pt x="234" y="618"/>
                  </a:lnTo>
                  <a:lnTo>
                    <a:pt x="236" y="618"/>
                  </a:lnTo>
                  <a:lnTo>
                    <a:pt x="237" y="617"/>
                  </a:lnTo>
                  <a:lnTo>
                    <a:pt x="236" y="616"/>
                  </a:lnTo>
                  <a:lnTo>
                    <a:pt x="234" y="616"/>
                  </a:lnTo>
                  <a:lnTo>
                    <a:pt x="233" y="616"/>
                  </a:lnTo>
                  <a:lnTo>
                    <a:pt x="233" y="615"/>
                  </a:lnTo>
                  <a:lnTo>
                    <a:pt x="234" y="613"/>
                  </a:lnTo>
                  <a:lnTo>
                    <a:pt x="234" y="612"/>
                  </a:lnTo>
                  <a:lnTo>
                    <a:pt x="234" y="611"/>
                  </a:lnTo>
                  <a:lnTo>
                    <a:pt x="236" y="611"/>
                  </a:lnTo>
                  <a:lnTo>
                    <a:pt x="236" y="610"/>
                  </a:lnTo>
                  <a:lnTo>
                    <a:pt x="237" y="610"/>
                  </a:lnTo>
                  <a:lnTo>
                    <a:pt x="237" y="609"/>
                  </a:lnTo>
                  <a:lnTo>
                    <a:pt x="236" y="606"/>
                  </a:lnTo>
                  <a:lnTo>
                    <a:pt x="234" y="606"/>
                  </a:lnTo>
                  <a:lnTo>
                    <a:pt x="233" y="607"/>
                  </a:lnTo>
                  <a:lnTo>
                    <a:pt x="234" y="610"/>
                  </a:lnTo>
                  <a:lnTo>
                    <a:pt x="233" y="611"/>
                  </a:lnTo>
                  <a:lnTo>
                    <a:pt x="232" y="611"/>
                  </a:lnTo>
                  <a:lnTo>
                    <a:pt x="230" y="613"/>
                  </a:lnTo>
                  <a:lnTo>
                    <a:pt x="230" y="616"/>
                  </a:lnTo>
                  <a:lnTo>
                    <a:pt x="227" y="616"/>
                  </a:lnTo>
                  <a:lnTo>
                    <a:pt x="227" y="615"/>
                  </a:lnTo>
                  <a:lnTo>
                    <a:pt x="226" y="616"/>
                  </a:lnTo>
                  <a:lnTo>
                    <a:pt x="222" y="615"/>
                  </a:lnTo>
                  <a:lnTo>
                    <a:pt x="221" y="616"/>
                  </a:lnTo>
                  <a:lnTo>
                    <a:pt x="221" y="615"/>
                  </a:lnTo>
                  <a:lnTo>
                    <a:pt x="220" y="616"/>
                  </a:lnTo>
                  <a:lnTo>
                    <a:pt x="216" y="616"/>
                  </a:lnTo>
                  <a:lnTo>
                    <a:pt x="216" y="613"/>
                  </a:lnTo>
                  <a:lnTo>
                    <a:pt x="215" y="613"/>
                  </a:lnTo>
                  <a:lnTo>
                    <a:pt x="214" y="612"/>
                  </a:lnTo>
                  <a:lnTo>
                    <a:pt x="215" y="610"/>
                  </a:lnTo>
                  <a:lnTo>
                    <a:pt x="215" y="611"/>
                  </a:lnTo>
                  <a:lnTo>
                    <a:pt x="216" y="610"/>
                  </a:lnTo>
                  <a:lnTo>
                    <a:pt x="216" y="609"/>
                  </a:lnTo>
                  <a:lnTo>
                    <a:pt x="218" y="609"/>
                  </a:lnTo>
                  <a:lnTo>
                    <a:pt x="219" y="610"/>
                  </a:lnTo>
                  <a:lnTo>
                    <a:pt x="219" y="607"/>
                  </a:lnTo>
                  <a:lnTo>
                    <a:pt x="219" y="606"/>
                  </a:lnTo>
                  <a:lnTo>
                    <a:pt x="220" y="606"/>
                  </a:lnTo>
                  <a:lnTo>
                    <a:pt x="220" y="605"/>
                  </a:lnTo>
                  <a:lnTo>
                    <a:pt x="220" y="601"/>
                  </a:lnTo>
                  <a:lnTo>
                    <a:pt x="221" y="601"/>
                  </a:lnTo>
                  <a:lnTo>
                    <a:pt x="222" y="600"/>
                  </a:lnTo>
                  <a:lnTo>
                    <a:pt x="225" y="599"/>
                  </a:lnTo>
                  <a:lnTo>
                    <a:pt x="226" y="598"/>
                  </a:lnTo>
                  <a:lnTo>
                    <a:pt x="228" y="596"/>
                  </a:lnTo>
                  <a:lnTo>
                    <a:pt x="228" y="594"/>
                  </a:lnTo>
                  <a:lnTo>
                    <a:pt x="230" y="594"/>
                  </a:lnTo>
                  <a:lnTo>
                    <a:pt x="231" y="593"/>
                  </a:lnTo>
                  <a:lnTo>
                    <a:pt x="232" y="593"/>
                  </a:lnTo>
                  <a:lnTo>
                    <a:pt x="234" y="593"/>
                  </a:lnTo>
                  <a:lnTo>
                    <a:pt x="233" y="590"/>
                  </a:lnTo>
                  <a:lnTo>
                    <a:pt x="232" y="588"/>
                  </a:lnTo>
                  <a:lnTo>
                    <a:pt x="230" y="588"/>
                  </a:lnTo>
                  <a:lnTo>
                    <a:pt x="228" y="588"/>
                  </a:lnTo>
                  <a:lnTo>
                    <a:pt x="228" y="589"/>
                  </a:lnTo>
                  <a:lnTo>
                    <a:pt x="227" y="592"/>
                  </a:lnTo>
                  <a:lnTo>
                    <a:pt x="225" y="593"/>
                  </a:lnTo>
                  <a:lnTo>
                    <a:pt x="222" y="592"/>
                  </a:lnTo>
                  <a:lnTo>
                    <a:pt x="221" y="593"/>
                  </a:lnTo>
                  <a:lnTo>
                    <a:pt x="220" y="593"/>
                  </a:lnTo>
                  <a:lnTo>
                    <a:pt x="219" y="593"/>
                  </a:lnTo>
                  <a:lnTo>
                    <a:pt x="219" y="590"/>
                  </a:lnTo>
                  <a:lnTo>
                    <a:pt x="216" y="592"/>
                  </a:lnTo>
                  <a:lnTo>
                    <a:pt x="215" y="592"/>
                  </a:lnTo>
                  <a:lnTo>
                    <a:pt x="214" y="593"/>
                  </a:lnTo>
                  <a:lnTo>
                    <a:pt x="213" y="594"/>
                  </a:lnTo>
                  <a:lnTo>
                    <a:pt x="212" y="594"/>
                  </a:lnTo>
                  <a:lnTo>
                    <a:pt x="212" y="593"/>
                  </a:lnTo>
                  <a:lnTo>
                    <a:pt x="210" y="594"/>
                  </a:lnTo>
                  <a:lnTo>
                    <a:pt x="210" y="595"/>
                  </a:lnTo>
                  <a:lnTo>
                    <a:pt x="209" y="595"/>
                  </a:lnTo>
                  <a:lnTo>
                    <a:pt x="209" y="593"/>
                  </a:lnTo>
                  <a:lnTo>
                    <a:pt x="208" y="595"/>
                  </a:lnTo>
                  <a:lnTo>
                    <a:pt x="206" y="595"/>
                  </a:lnTo>
                  <a:lnTo>
                    <a:pt x="204" y="595"/>
                  </a:lnTo>
                  <a:lnTo>
                    <a:pt x="204" y="596"/>
                  </a:lnTo>
                  <a:lnTo>
                    <a:pt x="202" y="595"/>
                  </a:lnTo>
                  <a:lnTo>
                    <a:pt x="200" y="594"/>
                  </a:lnTo>
                  <a:lnTo>
                    <a:pt x="201" y="593"/>
                  </a:lnTo>
                  <a:lnTo>
                    <a:pt x="201" y="592"/>
                  </a:lnTo>
                  <a:lnTo>
                    <a:pt x="203" y="592"/>
                  </a:lnTo>
                  <a:lnTo>
                    <a:pt x="203" y="589"/>
                  </a:lnTo>
                  <a:lnTo>
                    <a:pt x="204" y="588"/>
                  </a:lnTo>
                  <a:lnTo>
                    <a:pt x="206" y="588"/>
                  </a:lnTo>
                  <a:lnTo>
                    <a:pt x="206" y="589"/>
                  </a:lnTo>
                  <a:lnTo>
                    <a:pt x="208" y="589"/>
                  </a:lnTo>
                  <a:lnTo>
                    <a:pt x="208" y="588"/>
                  </a:lnTo>
                  <a:lnTo>
                    <a:pt x="209" y="588"/>
                  </a:lnTo>
                  <a:lnTo>
                    <a:pt x="208" y="588"/>
                  </a:lnTo>
                  <a:lnTo>
                    <a:pt x="208" y="587"/>
                  </a:lnTo>
                  <a:lnTo>
                    <a:pt x="207" y="587"/>
                  </a:lnTo>
                  <a:lnTo>
                    <a:pt x="206" y="586"/>
                  </a:lnTo>
                  <a:lnTo>
                    <a:pt x="203" y="584"/>
                  </a:lnTo>
                  <a:lnTo>
                    <a:pt x="203" y="581"/>
                  </a:lnTo>
                  <a:lnTo>
                    <a:pt x="204" y="580"/>
                  </a:lnTo>
                  <a:lnTo>
                    <a:pt x="204" y="577"/>
                  </a:lnTo>
                  <a:lnTo>
                    <a:pt x="207" y="575"/>
                  </a:lnTo>
                  <a:lnTo>
                    <a:pt x="207" y="577"/>
                  </a:lnTo>
                  <a:lnTo>
                    <a:pt x="209" y="576"/>
                  </a:lnTo>
                  <a:lnTo>
                    <a:pt x="212" y="576"/>
                  </a:lnTo>
                  <a:lnTo>
                    <a:pt x="214" y="576"/>
                  </a:lnTo>
                  <a:lnTo>
                    <a:pt x="218" y="575"/>
                  </a:lnTo>
                  <a:lnTo>
                    <a:pt x="219" y="575"/>
                  </a:lnTo>
                  <a:lnTo>
                    <a:pt x="219" y="572"/>
                  </a:lnTo>
                  <a:lnTo>
                    <a:pt x="219" y="570"/>
                  </a:lnTo>
                  <a:lnTo>
                    <a:pt x="219" y="566"/>
                  </a:lnTo>
                  <a:lnTo>
                    <a:pt x="221" y="565"/>
                  </a:lnTo>
                  <a:lnTo>
                    <a:pt x="224" y="565"/>
                  </a:lnTo>
                  <a:lnTo>
                    <a:pt x="225" y="564"/>
                  </a:lnTo>
                  <a:lnTo>
                    <a:pt x="226" y="564"/>
                  </a:lnTo>
                  <a:lnTo>
                    <a:pt x="226" y="563"/>
                  </a:lnTo>
                  <a:lnTo>
                    <a:pt x="227" y="563"/>
                  </a:lnTo>
                  <a:lnTo>
                    <a:pt x="228" y="560"/>
                  </a:lnTo>
                  <a:lnTo>
                    <a:pt x="230" y="559"/>
                  </a:lnTo>
                  <a:lnTo>
                    <a:pt x="230" y="558"/>
                  </a:lnTo>
                  <a:lnTo>
                    <a:pt x="230" y="554"/>
                  </a:lnTo>
                  <a:lnTo>
                    <a:pt x="232" y="554"/>
                  </a:lnTo>
                  <a:lnTo>
                    <a:pt x="233" y="556"/>
                  </a:lnTo>
                  <a:lnTo>
                    <a:pt x="234" y="554"/>
                  </a:lnTo>
                  <a:lnTo>
                    <a:pt x="237" y="553"/>
                  </a:lnTo>
                  <a:lnTo>
                    <a:pt x="238" y="553"/>
                  </a:lnTo>
                  <a:lnTo>
                    <a:pt x="238" y="552"/>
                  </a:lnTo>
                  <a:lnTo>
                    <a:pt x="239" y="550"/>
                  </a:lnTo>
                  <a:lnTo>
                    <a:pt x="238" y="547"/>
                  </a:lnTo>
                  <a:lnTo>
                    <a:pt x="239" y="545"/>
                  </a:lnTo>
                  <a:lnTo>
                    <a:pt x="242" y="547"/>
                  </a:lnTo>
                  <a:lnTo>
                    <a:pt x="243" y="547"/>
                  </a:lnTo>
                  <a:lnTo>
                    <a:pt x="243" y="546"/>
                  </a:lnTo>
                  <a:lnTo>
                    <a:pt x="243" y="545"/>
                  </a:lnTo>
                  <a:lnTo>
                    <a:pt x="244" y="544"/>
                  </a:lnTo>
                  <a:lnTo>
                    <a:pt x="245" y="544"/>
                  </a:lnTo>
                  <a:lnTo>
                    <a:pt x="245" y="545"/>
                  </a:lnTo>
                  <a:lnTo>
                    <a:pt x="246" y="546"/>
                  </a:lnTo>
                  <a:lnTo>
                    <a:pt x="248" y="546"/>
                  </a:lnTo>
                  <a:lnTo>
                    <a:pt x="249" y="546"/>
                  </a:lnTo>
                  <a:lnTo>
                    <a:pt x="249" y="545"/>
                  </a:lnTo>
                  <a:lnTo>
                    <a:pt x="249" y="544"/>
                  </a:lnTo>
                  <a:lnTo>
                    <a:pt x="251" y="541"/>
                  </a:lnTo>
                  <a:lnTo>
                    <a:pt x="252" y="542"/>
                  </a:lnTo>
                  <a:lnTo>
                    <a:pt x="252" y="544"/>
                  </a:lnTo>
                  <a:lnTo>
                    <a:pt x="254" y="542"/>
                  </a:lnTo>
                  <a:lnTo>
                    <a:pt x="257" y="541"/>
                  </a:lnTo>
                  <a:lnTo>
                    <a:pt x="257" y="544"/>
                  </a:lnTo>
                  <a:lnTo>
                    <a:pt x="259" y="541"/>
                  </a:lnTo>
                  <a:lnTo>
                    <a:pt x="261" y="540"/>
                  </a:lnTo>
                  <a:lnTo>
                    <a:pt x="262" y="538"/>
                  </a:lnTo>
                  <a:lnTo>
                    <a:pt x="263" y="538"/>
                  </a:lnTo>
                  <a:lnTo>
                    <a:pt x="265" y="538"/>
                  </a:lnTo>
                  <a:lnTo>
                    <a:pt x="265" y="536"/>
                  </a:lnTo>
                  <a:lnTo>
                    <a:pt x="267" y="536"/>
                  </a:lnTo>
                  <a:lnTo>
                    <a:pt x="266" y="535"/>
                  </a:lnTo>
                  <a:lnTo>
                    <a:pt x="267" y="533"/>
                  </a:lnTo>
                  <a:lnTo>
                    <a:pt x="267" y="532"/>
                  </a:lnTo>
                  <a:lnTo>
                    <a:pt x="268" y="532"/>
                  </a:lnTo>
                  <a:lnTo>
                    <a:pt x="268" y="533"/>
                  </a:lnTo>
                  <a:lnTo>
                    <a:pt x="269" y="533"/>
                  </a:lnTo>
                  <a:lnTo>
                    <a:pt x="269" y="532"/>
                  </a:lnTo>
                  <a:lnTo>
                    <a:pt x="269" y="530"/>
                  </a:lnTo>
                  <a:lnTo>
                    <a:pt x="271" y="530"/>
                  </a:lnTo>
                  <a:lnTo>
                    <a:pt x="273" y="529"/>
                  </a:lnTo>
                  <a:lnTo>
                    <a:pt x="272" y="528"/>
                  </a:lnTo>
                  <a:lnTo>
                    <a:pt x="271" y="527"/>
                  </a:lnTo>
                  <a:lnTo>
                    <a:pt x="271" y="526"/>
                  </a:lnTo>
                  <a:lnTo>
                    <a:pt x="272" y="526"/>
                  </a:lnTo>
                  <a:lnTo>
                    <a:pt x="273" y="528"/>
                  </a:lnTo>
                  <a:lnTo>
                    <a:pt x="274" y="526"/>
                  </a:lnTo>
                  <a:lnTo>
                    <a:pt x="277" y="526"/>
                  </a:lnTo>
                  <a:lnTo>
                    <a:pt x="275" y="526"/>
                  </a:lnTo>
                  <a:lnTo>
                    <a:pt x="274" y="524"/>
                  </a:lnTo>
                  <a:lnTo>
                    <a:pt x="273" y="522"/>
                  </a:lnTo>
                  <a:lnTo>
                    <a:pt x="275" y="521"/>
                  </a:lnTo>
                  <a:lnTo>
                    <a:pt x="277" y="521"/>
                  </a:lnTo>
                  <a:lnTo>
                    <a:pt x="277" y="520"/>
                  </a:lnTo>
                  <a:lnTo>
                    <a:pt x="274" y="520"/>
                  </a:lnTo>
                  <a:lnTo>
                    <a:pt x="273" y="521"/>
                  </a:lnTo>
                  <a:lnTo>
                    <a:pt x="272" y="521"/>
                  </a:lnTo>
                  <a:lnTo>
                    <a:pt x="268" y="522"/>
                  </a:lnTo>
                  <a:lnTo>
                    <a:pt x="268" y="523"/>
                  </a:lnTo>
                  <a:lnTo>
                    <a:pt x="266" y="522"/>
                  </a:lnTo>
                  <a:lnTo>
                    <a:pt x="263" y="522"/>
                  </a:lnTo>
                  <a:lnTo>
                    <a:pt x="260" y="523"/>
                  </a:lnTo>
                  <a:lnTo>
                    <a:pt x="257" y="523"/>
                  </a:lnTo>
                  <a:lnTo>
                    <a:pt x="254" y="524"/>
                  </a:lnTo>
                  <a:lnTo>
                    <a:pt x="251" y="526"/>
                  </a:lnTo>
                  <a:lnTo>
                    <a:pt x="249" y="527"/>
                  </a:lnTo>
                  <a:lnTo>
                    <a:pt x="248" y="528"/>
                  </a:lnTo>
                  <a:lnTo>
                    <a:pt x="248" y="527"/>
                  </a:lnTo>
                  <a:lnTo>
                    <a:pt x="245" y="527"/>
                  </a:lnTo>
                  <a:lnTo>
                    <a:pt x="243" y="528"/>
                  </a:lnTo>
                  <a:lnTo>
                    <a:pt x="242" y="529"/>
                  </a:lnTo>
                  <a:lnTo>
                    <a:pt x="239" y="529"/>
                  </a:lnTo>
                  <a:lnTo>
                    <a:pt x="239" y="530"/>
                  </a:lnTo>
                  <a:lnTo>
                    <a:pt x="237" y="530"/>
                  </a:lnTo>
                  <a:lnTo>
                    <a:pt x="236" y="530"/>
                  </a:lnTo>
                  <a:lnTo>
                    <a:pt x="234" y="532"/>
                  </a:lnTo>
                  <a:lnTo>
                    <a:pt x="230" y="533"/>
                  </a:lnTo>
                  <a:lnTo>
                    <a:pt x="228" y="533"/>
                  </a:lnTo>
                  <a:lnTo>
                    <a:pt x="227" y="534"/>
                  </a:lnTo>
                  <a:lnTo>
                    <a:pt x="225" y="536"/>
                  </a:lnTo>
                  <a:lnTo>
                    <a:pt x="222" y="536"/>
                  </a:lnTo>
                  <a:lnTo>
                    <a:pt x="218" y="540"/>
                  </a:lnTo>
                  <a:lnTo>
                    <a:pt x="215" y="542"/>
                  </a:lnTo>
                  <a:lnTo>
                    <a:pt x="213" y="544"/>
                  </a:lnTo>
                  <a:lnTo>
                    <a:pt x="210" y="545"/>
                  </a:lnTo>
                  <a:lnTo>
                    <a:pt x="209" y="547"/>
                  </a:lnTo>
                  <a:lnTo>
                    <a:pt x="209" y="548"/>
                  </a:lnTo>
                  <a:lnTo>
                    <a:pt x="210" y="547"/>
                  </a:lnTo>
                  <a:lnTo>
                    <a:pt x="210" y="546"/>
                  </a:lnTo>
                  <a:lnTo>
                    <a:pt x="213" y="547"/>
                  </a:lnTo>
                  <a:lnTo>
                    <a:pt x="215" y="548"/>
                  </a:lnTo>
                  <a:lnTo>
                    <a:pt x="215" y="550"/>
                  </a:lnTo>
                  <a:lnTo>
                    <a:pt x="214" y="550"/>
                  </a:lnTo>
                  <a:lnTo>
                    <a:pt x="213" y="550"/>
                  </a:lnTo>
                  <a:lnTo>
                    <a:pt x="214" y="550"/>
                  </a:lnTo>
                  <a:lnTo>
                    <a:pt x="216" y="551"/>
                  </a:lnTo>
                  <a:lnTo>
                    <a:pt x="216" y="552"/>
                  </a:lnTo>
                  <a:lnTo>
                    <a:pt x="218" y="552"/>
                  </a:lnTo>
                  <a:lnTo>
                    <a:pt x="218" y="553"/>
                  </a:lnTo>
                  <a:lnTo>
                    <a:pt x="216" y="553"/>
                  </a:lnTo>
                  <a:lnTo>
                    <a:pt x="218" y="554"/>
                  </a:lnTo>
                  <a:lnTo>
                    <a:pt x="216" y="554"/>
                  </a:lnTo>
                  <a:lnTo>
                    <a:pt x="215" y="554"/>
                  </a:lnTo>
                  <a:lnTo>
                    <a:pt x="215" y="556"/>
                  </a:lnTo>
                  <a:lnTo>
                    <a:pt x="215" y="557"/>
                  </a:lnTo>
                  <a:lnTo>
                    <a:pt x="214" y="557"/>
                  </a:lnTo>
                  <a:lnTo>
                    <a:pt x="214" y="558"/>
                  </a:lnTo>
                  <a:lnTo>
                    <a:pt x="216" y="558"/>
                  </a:lnTo>
                  <a:lnTo>
                    <a:pt x="218" y="559"/>
                  </a:lnTo>
                  <a:lnTo>
                    <a:pt x="219" y="560"/>
                  </a:lnTo>
                  <a:lnTo>
                    <a:pt x="216" y="560"/>
                  </a:lnTo>
                  <a:lnTo>
                    <a:pt x="218" y="563"/>
                  </a:lnTo>
                  <a:lnTo>
                    <a:pt x="218" y="564"/>
                  </a:lnTo>
                  <a:lnTo>
                    <a:pt x="218" y="565"/>
                  </a:lnTo>
                  <a:lnTo>
                    <a:pt x="216" y="565"/>
                  </a:lnTo>
                  <a:lnTo>
                    <a:pt x="216" y="566"/>
                  </a:lnTo>
                  <a:lnTo>
                    <a:pt x="218" y="568"/>
                  </a:lnTo>
                  <a:lnTo>
                    <a:pt x="215" y="568"/>
                  </a:lnTo>
                  <a:lnTo>
                    <a:pt x="214" y="568"/>
                  </a:lnTo>
                  <a:lnTo>
                    <a:pt x="213" y="569"/>
                  </a:lnTo>
                  <a:lnTo>
                    <a:pt x="213" y="570"/>
                  </a:lnTo>
                  <a:lnTo>
                    <a:pt x="210" y="570"/>
                  </a:lnTo>
                  <a:lnTo>
                    <a:pt x="210" y="568"/>
                  </a:lnTo>
                  <a:lnTo>
                    <a:pt x="209" y="566"/>
                  </a:lnTo>
                  <a:lnTo>
                    <a:pt x="208" y="565"/>
                  </a:lnTo>
                  <a:lnTo>
                    <a:pt x="206" y="566"/>
                  </a:lnTo>
                  <a:lnTo>
                    <a:pt x="204" y="568"/>
                  </a:lnTo>
                  <a:lnTo>
                    <a:pt x="204" y="569"/>
                  </a:lnTo>
                  <a:lnTo>
                    <a:pt x="204" y="572"/>
                  </a:lnTo>
                  <a:lnTo>
                    <a:pt x="204" y="575"/>
                  </a:lnTo>
                  <a:lnTo>
                    <a:pt x="203" y="576"/>
                  </a:lnTo>
                  <a:lnTo>
                    <a:pt x="203" y="578"/>
                  </a:lnTo>
                  <a:lnTo>
                    <a:pt x="202" y="578"/>
                  </a:lnTo>
                  <a:lnTo>
                    <a:pt x="201" y="581"/>
                  </a:lnTo>
                  <a:lnTo>
                    <a:pt x="198" y="581"/>
                  </a:lnTo>
                  <a:lnTo>
                    <a:pt x="200" y="581"/>
                  </a:lnTo>
                  <a:lnTo>
                    <a:pt x="198" y="583"/>
                  </a:lnTo>
                  <a:lnTo>
                    <a:pt x="197" y="584"/>
                  </a:lnTo>
                  <a:lnTo>
                    <a:pt x="196" y="586"/>
                  </a:lnTo>
                  <a:lnTo>
                    <a:pt x="195" y="586"/>
                  </a:lnTo>
                  <a:lnTo>
                    <a:pt x="195" y="584"/>
                  </a:lnTo>
                  <a:lnTo>
                    <a:pt x="192" y="584"/>
                  </a:lnTo>
                  <a:lnTo>
                    <a:pt x="192" y="587"/>
                  </a:lnTo>
                  <a:lnTo>
                    <a:pt x="191" y="587"/>
                  </a:lnTo>
                  <a:lnTo>
                    <a:pt x="190" y="588"/>
                  </a:lnTo>
                  <a:lnTo>
                    <a:pt x="189" y="588"/>
                  </a:lnTo>
                  <a:lnTo>
                    <a:pt x="189" y="587"/>
                  </a:lnTo>
                  <a:lnTo>
                    <a:pt x="187" y="587"/>
                  </a:lnTo>
                  <a:lnTo>
                    <a:pt x="187" y="588"/>
                  </a:lnTo>
                  <a:lnTo>
                    <a:pt x="185" y="588"/>
                  </a:lnTo>
                  <a:lnTo>
                    <a:pt x="184" y="587"/>
                  </a:lnTo>
                  <a:lnTo>
                    <a:pt x="183" y="587"/>
                  </a:lnTo>
                  <a:lnTo>
                    <a:pt x="181" y="584"/>
                  </a:lnTo>
                  <a:lnTo>
                    <a:pt x="183" y="582"/>
                  </a:lnTo>
                  <a:lnTo>
                    <a:pt x="184" y="582"/>
                  </a:lnTo>
                  <a:lnTo>
                    <a:pt x="184" y="581"/>
                  </a:lnTo>
                  <a:lnTo>
                    <a:pt x="184" y="582"/>
                  </a:lnTo>
                  <a:lnTo>
                    <a:pt x="184" y="580"/>
                  </a:lnTo>
                  <a:lnTo>
                    <a:pt x="185" y="580"/>
                  </a:lnTo>
                  <a:lnTo>
                    <a:pt x="185" y="578"/>
                  </a:lnTo>
                  <a:lnTo>
                    <a:pt x="185" y="576"/>
                  </a:lnTo>
                  <a:lnTo>
                    <a:pt x="181" y="575"/>
                  </a:lnTo>
                  <a:lnTo>
                    <a:pt x="181" y="574"/>
                  </a:lnTo>
                  <a:lnTo>
                    <a:pt x="180" y="574"/>
                  </a:lnTo>
                  <a:lnTo>
                    <a:pt x="179" y="574"/>
                  </a:lnTo>
                  <a:lnTo>
                    <a:pt x="178" y="572"/>
                  </a:lnTo>
                  <a:lnTo>
                    <a:pt x="177" y="574"/>
                  </a:lnTo>
                  <a:lnTo>
                    <a:pt x="175" y="574"/>
                  </a:lnTo>
                  <a:lnTo>
                    <a:pt x="175" y="575"/>
                  </a:lnTo>
                  <a:lnTo>
                    <a:pt x="174" y="576"/>
                  </a:lnTo>
                  <a:lnTo>
                    <a:pt x="173" y="577"/>
                  </a:lnTo>
                  <a:lnTo>
                    <a:pt x="172" y="577"/>
                  </a:lnTo>
                  <a:lnTo>
                    <a:pt x="171" y="580"/>
                  </a:lnTo>
                  <a:lnTo>
                    <a:pt x="171" y="582"/>
                  </a:lnTo>
                  <a:lnTo>
                    <a:pt x="171" y="583"/>
                  </a:lnTo>
                  <a:lnTo>
                    <a:pt x="171" y="584"/>
                  </a:lnTo>
                  <a:lnTo>
                    <a:pt x="169" y="586"/>
                  </a:lnTo>
                  <a:lnTo>
                    <a:pt x="168" y="586"/>
                  </a:lnTo>
                  <a:lnTo>
                    <a:pt x="167" y="587"/>
                  </a:lnTo>
                  <a:lnTo>
                    <a:pt x="165" y="590"/>
                  </a:lnTo>
                  <a:lnTo>
                    <a:pt x="165" y="592"/>
                  </a:lnTo>
                  <a:lnTo>
                    <a:pt x="166" y="594"/>
                  </a:lnTo>
                  <a:lnTo>
                    <a:pt x="163" y="596"/>
                  </a:lnTo>
                  <a:lnTo>
                    <a:pt x="161" y="596"/>
                  </a:lnTo>
                  <a:lnTo>
                    <a:pt x="160" y="598"/>
                  </a:lnTo>
                  <a:lnTo>
                    <a:pt x="159" y="599"/>
                  </a:lnTo>
                  <a:lnTo>
                    <a:pt x="155" y="599"/>
                  </a:lnTo>
                  <a:lnTo>
                    <a:pt x="153" y="598"/>
                  </a:lnTo>
                  <a:lnTo>
                    <a:pt x="153" y="596"/>
                  </a:lnTo>
                  <a:lnTo>
                    <a:pt x="153" y="595"/>
                  </a:lnTo>
                  <a:lnTo>
                    <a:pt x="151" y="595"/>
                  </a:lnTo>
                  <a:lnTo>
                    <a:pt x="149" y="594"/>
                  </a:lnTo>
                  <a:lnTo>
                    <a:pt x="149" y="593"/>
                  </a:lnTo>
                  <a:lnTo>
                    <a:pt x="148" y="592"/>
                  </a:lnTo>
                  <a:lnTo>
                    <a:pt x="147" y="595"/>
                  </a:lnTo>
                  <a:lnTo>
                    <a:pt x="144" y="595"/>
                  </a:lnTo>
                  <a:lnTo>
                    <a:pt x="143" y="595"/>
                  </a:lnTo>
                  <a:lnTo>
                    <a:pt x="143" y="596"/>
                  </a:lnTo>
                  <a:lnTo>
                    <a:pt x="142" y="599"/>
                  </a:lnTo>
                  <a:lnTo>
                    <a:pt x="142" y="601"/>
                  </a:lnTo>
                  <a:lnTo>
                    <a:pt x="143" y="603"/>
                  </a:lnTo>
                  <a:lnTo>
                    <a:pt x="141" y="603"/>
                  </a:lnTo>
                  <a:lnTo>
                    <a:pt x="141" y="604"/>
                  </a:lnTo>
                  <a:lnTo>
                    <a:pt x="142" y="605"/>
                  </a:lnTo>
                  <a:lnTo>
                    <a:pt x="143" y="605"/>
                  </a:lnTo>
                  <a:lnTo>
                    <a:pt x="141" y="605"/>
                  </a:lnTo>
                  <a:lnTo>
                    <a:pt x="143" y="606"/>
                  </a:lnTo>
                  <a:lnTo>
                    <a:pt x="141" y="607"/>
                  </a:lnTo>
                  <a:lnTo>
                    <a:pt x="139" y="607"/>
                  </a:lnTo>
                  <a:lnTo>
                    <a:pt x="137" y="606"/>
                  </a:lnTo>
                  <a:lnTo>
                    <a:pt x="136" y="607"/>
                  </a:lnTo>
                  <a:lnTo>
                    <a:pt x="138" y="610"/>
                  </a:lnTo>
                  <a:lnTo>
                    <a:pt x="136" y="610"/>
                  </a:lnTo>
                  <a:lnTo>
                    <a:pt x="134" y="611"/>
                  </a:lnTo>
                  <a:lnTo>
                    <a:pt x="134" y="610"/>
                  </a:lnTo>
                  <a:lnTo>
                    <a:pt x="131" y="611"/>
                  </a:lnTo>
                  <a:lnTo>
                    <a:pt x="128" y="610"/>
                  </a:lnTo>
                  <a:lnTo>
                    <a:pt x="133" y="607"/>
                  </a:lnTo>
                  <a:lnTo>
                    <a:pt x="131" y="606"/>
                  </a:lnTo>
                  <a:lnTo>
                    <a:pt x="130" y="606"/>
                  </a:lnTo>
                  <a:lnTo>
                    <a:pt x="128" y="605"/>
                  </a:lnTo>
                  <a:lnTo>
                    <a:pt x="127" y="607"/>
                  </a:lnTo>
                  <a:lnTo>
                    <a:pt x="126" y="609"/>
                  </a:lnTo>
                  <a:lnTo>
                    <a:pt x="125" y="610"/>
                  </a:lnTo>
                  <a:lnTo>
                    <a:pt x="124" y="612"/>
                  </a:lnTo>
                  <a:lnTo>
                    <a:pt x="120" y="612"/>
                  </a:lnTo>
                  <a:lnTo>
                    <a:pt x="121" y="615"/>
                  </a:lnTo>
                  <a:lnTo>
                    <a:pt x="120" y="616"/>
                  </a:lnTo>
                  <a:lnTo>
                    <a:pt x="119" y="617"/>
                  </a:lnTo>
                  <a:lnTo>
                    <a:pt x="121" y="618"/>
                  </a:lnTo>
                  <a:lnTo>
                    <a:pt x="122" y="618"/>
                  </a:lnTo>
                  <a:lnTo>
                    <a:pt x="122" y="621"/>
                  </a:lnTo>
                  <a:lnTo>
                    <a:pt x="118" y="622"/>
                  </a:lnTo>
                  <a:lnTo>
                    <a:pt x="118" y="624"/>
                  </a:lnTo>
                  <a:lnTo>
                    <a:pt x="116" y="627"/>
                  </a:lnTo>
                  <a:lnTo>
                    <a:pt x="115" y="629"/>
                  </a:lnTo>
                  <a:lnTo>
                    <a:pt x="114" y="629"/>
                  </a:lnTo>
                  <a:lnTo>
                    <a:pt x="113" y="628"/>
                  </a:lnTo>
                  <a:lnTo>
                    <a:pt x="110" y="627"/>
                  </a:lnTo>
                  <a:lnTo>
                    <a:pt x="109" y="625"/>
                  </a:lnTo>
                  <a:lnTo>
                    <a:pt x="108" y="625"/>
                  </a:lnTo>
                  <a:lnTo>
                    <a:pt x="107" y="624"/>
                  </a:lnTo>
                  <a:lnTo>
                    <a:pt x="106" y="623"/>
                  </a:lnTo>
                  <a:lnTo>
                    <a:pt x="108" y="622"/>
                  </a:lnTo>
                  <a:lnTo>
                    <a:pt x="107" y="621"/>
                  </a:lnTo>
                  <a:lnTo>
                    <a:pt x="104" y="621"/>
                  </a:lnTo>
                  <a:lnTo>
                    <a:pt x="100" y="622"/>
                  </a:lnTo>
                  <a:lnTo>
                    <a:pt x="100" y="624"/>
                  </a:lnTo>
                  <a:lnTo>
                    <a:pt x="100" y="625"/>
                  </a:lnTo>
                  <a:lnTo>
                    <a:pt x="98" y="625"/>
                  </a:lnTo>
                  <a:lnTo>
                    <a:pt x="97" y="623"/>
                  </a:lnTo>
                  <a:lnTo>
                    <a:pt x="96" y="622"/>
                  </a:lnTo>
                  <a:lnTo>
                    <a:pt x="94" y="623"/>
                  </a:lnTo>
                  <a:lnTo>
                    <a:pt x="92" y="623"/>
                  </a:lnTo>
                  <a:lnTo>
                    <a:pt x="90" y="623"/>
                  </a:lnTo>
                  <a:lnTo>
                    <a:pt x="89" y="622"/>
                  </a:lnTo>
                  <a:lnTo>
                    <a:pt x="88" y="619"/>
                  </a:lnTo>
                  <a:lnTo>
                    <a:pt x="86" y="619"/>
                  </a:lnTo>
                  <a:lnTo>
                    <a:pt x="86" y="621"/>
                  </a:lnTo>
                  <a:lnTo>
                    <a:pt x="84" y="618"/>
                  </a:lnTo>
                  <a:lnTo>
                    <a:pt x="85" y="618"/>
                  </a:lnTo>
                  <a:lnTo>
                    <a:pt x="85" y="617"/>
                  </a:lnTo>
                  <a:lnTo>
                    <a:pt x="85" y="615"/>
                  </a:lnTo>
                  <a:lnTo>
                    <a:pt x="83" y="615"/>
                  </a:lnTo>
                  <a:lnTo>
                    <a:pt x="82" y="613"/>
                  </a:lnTo>
                  <a:lnTo>
                    <a:pt x="77" y="611"/>
                  </a:lnTo>
                  <a:lnTo>
                    <a:pt x="77" y="610"/>
                  </a:lnTo>
                  <a:lnTo>
                    <a:pt x="78" y="609"/>
                  </a:lnTo>
                  <a:lnTo>
                    <a:pt x="85" y="609"/>
                  </a:lnTo>
                  <a:lnTo>
                    <a:pt x="84" y="607"/>
                  </a:lnTo>
                  <a:lnTo>
                    <a:pt x="84" y="606"/>
                  </a:lnTo>
                  <a:lnTo>
                    <a:pt x="83" y="605"/>
                  </a:lnTo>
                  <a:lnTo>
                    <a:pt x="80" y="605"/>
                  </a:lnTo>
                  <a:lnTo>
                    <a:pt x="80" y="604"/>
                  </a:lnTo>
                  <a:lnTo>
                    <a:pt x="80" y="603"/>
                  </a:lnTo>
                  <a:lnTo>
                    <a:pt x="78" y="600"/>
                  </a:lnTo>
                  <a:lnTo>
                    <a:pt x="77" y="599"/>
                  </a:lnTo>
                  <a:lnTo>
                    <a:pt x="75" y="598"/>
                  </a:lnTo>
                  <a:lnTo>
                    <a:pt x="75" y="596"/>
                  </a:lnTo>
                  <a:lnTo>
                    <a:pt x="77" y="595"/>
                  </a:lnTo>
                  <a:lnTo>
                    <a:pt x="79" y="595"/>
                  </a:lnTo>
                  <a:lnTo>
                    <a:pt x="80" y="595"/>
                  </a:lnTo>
                  <a:lnTo>
                    <a:pt x="80" y="596"/>
                  </a:lnTo>
                  <a:lnTo>
                    <a:pt x="83" y="595"/>
                  </a:lnTo>
                  <a:lnTo>
                    <a:pt x="84" y="594"/>
                  </a:lnTo>
                  <a:lnTo>
                    <a:pt x="88" y="594"/>
                  </a:lnTo>
                  <a:lnTo>
                    <a:pt x="88" y="593"/>
                  </a:lnTo>
                  <a:lnTo>
                    <a:pt x="90" y="593"/>
                  </a:lnTo>
                  <a:lnTo>
                    <a:pt x="90" y="590"/>
                  </a:lnTo>
                  <a:lnTo>
                    <a:pt x="88" y="592"/>
                  </a:lnTo>
                  <a:lnTo>
                    <a:pt x="86" y="592"/>
                  </a:lnTo>
                  <a:lnTo>
                    <a:pt x="85" y="592"/>
                  </a:lnTo>
                  <a:lnTo>
                    <a:pt x="85" y="590"/>
                  </a:lnTo>
                  <a:lnTo>
                    <a:pt x="84" y="588"/>
                  </a:lnTo>
                  <a:lnTo>
                    <a:pt x="82" y="586"/>
                  </a:lnTo>
                  <a:lnTo>
                    <a:pt x="80" y="584"/>
                  </a:lnTo>
                  <a:lnTo>
                    <a:pt x="83" y="584"/>
                  </a:lnTo>
                  <a:lnTo>
                    <a:pt x="84" y="582"/>
                  </a:lnTo>
                  <a:lnTo>
                    <a:pt x="85" y="584"/>
                  </a:lnTo>
                  <a:lnTo>
                    <a:pt x="86" y="583"/>
                  </a:lnTo>
                  <a:lnTo>
                    <a:pt x="89" y="583"/>
                  </a:lnTo>
                  <a:lnTo>
                    <a:pt x="90" y="583"/>
                  </a:lnTo>
                  <a:lnTo>
                    <a:pt x="91" y="584"/>
                  </a:lnTo>
                  <a:lnTo>
                    <a:pt x="92" y="584"/>
                  </a:lnTo>
                  <a:lnTo>
                    <a:pt x="90" y="581"/>
                  </a:lnTo>
                  <a:lnTo>
                    <a:pt x="90" y="580"/>
                  </a:lnTo>
                  <a:lnTo>
                    <a:pt x="90" y="578"/>
                  </a:lnTo>
                  <a:lnTo>
                    <a:pt x="91" y="577"/>
                  </a:lnTo>
                  <a:lnTo>
                    <a:pt x="95" y="578"/>
                  </a:lnTo>
                  <a:lnTo>
                    <a:pt x="97" y="580"/>
                  </a:lnTo>
                  <a:lnTo>
                    <a:pt x="98" y="578"/>
                  </a:lnTo>
                  <a:lnTo>
                    <a:pt x="98" y="576"/>
                  </a:lnTo>
                  <a:lnTo>
                    <a:pt x="100" y="574"/>
                  </a:lnTo>
                  <a:lnTo>
                    <a:pt x="100" y="571"/>
                  </a:lnTo>
                  <a:lnTo>
                    <a:pt x="100" y="570"/>
                  </a:lnTo>
                  <a:lnTo>
                    <a:pt x="102" y="569"/>
                  </a:lnTo>
                  <a:lnTo>
                    <a:pt x="104" y="569"/>
                  </a:lnTo>
                  <a:lnTo>
                    <a:pt x="104" y="568"/>
                  </a:lnTo>
                  <a:lnTo>
                    <a:pt x="104" y="566"/>
                  </a:lnTo>
                  <a:lnTo>
                    <a:pt x="107" y="568"/>
                  </a:lnTo>
                  <a:lnTo>
                    <a:pt x="108" y="569"/>
                  </a:lnTo>
                  <a:lnTo>
                    <a:pt x="109" y="569"/>
                  </a:lnTo>
                  <a:lnTo>
                    <a:pt x="109" y="563"/>
                  </a:lnTo>
                  <a:lnTo>
                    <a:pt x="107" y="562"/>
                  </a:lnTo>
                  <a:lnTo>
                    <a:pt x="104" y="559"/>
                  </a:lnTo>
                  <a:lnTo>
                    <a:pt x="103" y="556"/>
                  </a:lnTo>
                  <a:lnTo>
                    <a:pt x="103" y="554"/>
                  </a:lnTo>
                  <a:lnTo>
                    <a:pt x="104" y="554"/>
                  </a:lnTo>
                  <a:lnTo>
                    <a:pt x="106" y="554"/>
                  </a:lnTo>
                  <a:lnTo>
                    <a:pt x="107" y="553"/>
                  </a:lnTo>
                  <a:lnTo>
                    <a:pt x="107" y="552"/>
                  </a:lnTo>
                  <a:lnTo>
                    <a:pt x="108" y="553"/>
                  </a:lnTo>
                  <a:lnTo>
                    <a:pt x="108" y="554"/>
                  </a:lnTo>
                  <a:lnTo>
                    <a:pt x="110" y="554"/>
                  </a:lnTo>
                  <a:lnTo>
                    <a:pt x="113" y="552"/>
                  </a:lnTo>
                  <a:lnTo>
                    <a:pt x="114" y="553"/>
                  </a:lnTo>
                  <a:lnTo>
                    <a:pt x="115" y="553"/>
                  </a:lnTo>
                  <a:lnTo>
                    <a:pt x="116" y="551"/>
                  </a:lnTo>
                  <a:lnTo>
                    <a:pt x="118" y="550"/>
                  </a:lnTo>
                  <a:lnTo>
                    <a:pt x="121" y="550"/>
                  </a:lnTo>
                  <a:lnTo>
                    <a:pt x="124" y="547"/>
                  </a:lnTo>
                  <a:lnTo>
                    <a:pt x="126" y="547"/>
                  </a:lnTo>
                  <a:lnTo>
                    <a:pt x="125" y="546"/>
                  </a:lnTo>
                  <a:lnTo>
                    <a:pt x="125" y="545"/>
                  </a:lnTo>
                  <a:lnTo>
                    <a:pt x="125" y="544"/>
                  </a:lnTo>
                  <a:lnTo>
                    <a:pt x="124" y="542"/>
                  </a:lnTo>
                  <a:lnTo>
                    <a:pt x="121" y="541"/>
                  </a:lnTo>
                  <a:lnTo>
                    <a:pt x="121" y="539"/>
                  </a:lnTo>
                  <a:lnTo>
                    <a:pt x="121" y="538"/>
                  </a:lnTo>
                  <a:lnTo>
                    <a:pt x="122" y="538"/>
                  </a:lnTo>
                  <a:lnTo>
                    <a:pt x="124" y="538"/>
                  </a:lnTo>
                  <a:lnTo>
                    <a:pt x="125" y="538"/>
                  </a:lnTo>
                  <a:lnTo>
                    <a:pt x="127" y="538"/>
                  </a:lnTo>
                  <a:lnTo>
                    <a:pt x="128" y="538"/>
                  </a:lnTo>
                  <a:lnTo>
                    <a:pt x="130" y="539"/>
                  </a:lnTo>
                  <a:lnTo>
                    <a:pt x="130" y="538"/>
                  </a:lnTo>
                  <a:lnTo>
                    <a:pt x="131" y="538"/>
                  </a:lnTo>
                  <a:lnTo>
                    <a:pt x="132" y="538"/>
                  </a:lnTo>
                  <a:lnTo>
                    <a:pt x="132" y="536"/>
                  </a:lnTo>
                  <a:lnTo>
                    <a:pt x="133" y="535"/>
                  </a:lnTo>
                  <a:lnTo>
                    <a:pt x="134" y="535"/>
                  </a:lnTo>
                  <a:lnTo>
                    <a:pt x="136" y="538"/>
                  </a:lnTo>
                  <a:lnTo>
                    <a:pt x="137" y="538"/>
                  </a:lnTo>
                  <a:lnTo>
                    <a:pt x="139" y="538"/>
                  </a:lnTo>
                  <a:lnTo>
                    <a:pt x="139" y="541"/>
                  </a:lnTo>
                  <a:lnTo>
                    <a:pt x="139" y="539"/>
                  </a:lnTo>
                  <a:lnTo>
                    <a:pt x="143" y="536"/>
                  </a:lnTo>
                  <a:lnTo>
                    <a:pt x="142" y="535"/>
                  </a:lnTo>
                  <a:lnTo>
                    <a:pt x="143" y="534"/>
                  </a:lnTo>
                  <a:lnTo>
                    <a:pt x="144" y="533"/>
                  </a:lnTo>
                  <a:lnTo>
                    <a:pt x="145" y="533"/>
                  </a:lnTo>
                  <a:lnTo>
                    <a:pt x="145" y="532"/>
                  </a:lnTo>
                  <a:lnTo>
                    <a:pt x="144" y="530"/>
                  </a:lnTo>
                  <a:lnTo>
                    <a:pt x="144" y="528"/>
                  </a:lnTo>
                  <a:lnTo>
                    <a:pt x="145" y="527"/>
                  </a:lnTo>
                  <a:lnTo>
                    <a:pt x="147" y="526"/>
                  </a:lnTo>
                  <a:lnTo>
                    <a:pt x="148" y="524"/>
                  </a:lnTo>
                  <a:lnTo>
                    <a:pt x="149" y="522"/>
                  </a:lnTo>
                  <a:lnTo>
                    <a:pt x="150" y="520"/>
                  </a:lnTo>
                  <a:lnTo>
                    <a:pt x="151" y="518"/>
                  </a:lnTo>
                  <a:lnTo>
                    <a:pt x="151" y="517"/>
                  </a:lnTo>
                  <a:lnTo>
                    <a:pt x="155" y="517"/>
                  </a:lnTo>
                  <a:lnTo>
                    <a:pt x="155" y="514"/>
                  </a:lnTo>
                  <a:lnTo>
                    <a:pt x="156" y="512"/>
                  </a:lnTo>
                  <a:lnTo>
                    <a:pt x="157" y="510"/>
                  </a:lnTo>
                  <a:lnTo>
                    <a:pt x="159" y="510"/>
                  </a:lnTo>
                  <a:lnTo>
                    <a:pt x="159" y="508"/>
                  </a:lnTo>
                  <a:lnTo>
                    <a:pt x="162" y="508"/>
                  </a:lnTo>
                  <a:lnTo>
                    <a:pt x="162" y="506"/>
                  </a:lnTo>
                  <a:lnTo>
                    <a:pt x="160" y="505"/>
                  </a:lnTo>
                  <a:lnTo>
                    <a:pt x="160" y="503"/>
                  </a:lnTo>
                  <a:lnTo>
                    <a:pt x="161" y="503"/>
                  </a:lnTo>
                  <a:lnTo>
                    <a:pt x="161" y="502"/>
                  </a:lnTo>
                  <a:lnTo>
                    <a:pt x="159" y="503"/>
                  </a:lnTo>
                  <a:lnTo>
                    <a:pt x="156" y="502"/>
                  </a:lnTo>
                  <a:lnTo>
                    <a:pt x="157" y="500"/>
                  </a:lnTo>
                  <a:lnTo>
                    <a:pt x="159" y="498"/>
                  </a:lnTo>
                  <a:lnTo>
                    <a:pt x="160" y="497"/>
                  </a:lnTo>
                  <a:lnTo>
                    <a:pt x="157" y="496"/>
                  </a:lnTo>
                  <a:lnTo>
                    <a:pt x="155" y="496"/>
                  </a:lnTo>
                  <a:lnTo>
                    <a:pt x="155" y="493"/>
                  </a:lnTo>
                  <a:lnTo>
                    <a:pt x="153" y="492"/>
                  </a:lnTo>
                  <a:lnTo>
                    <a:pt x="151" y="492"/>
                  </a:lnTo>
                  <a:lnTo>
                    <a:pt x="147" y="491"/>
                  </a:lnTo>
                  <a:lnTo>
                    <a:pt x="148" y="488"/>
                  </a:lnTo>
                  <a:lnTo>
                    <a:pt x="145" y="486"/>
                  </a:lnTo>
                  <a:lnTo>
                    <a:pt x="144" y="486"/>
                  </a:lnTo>
                  <a:lnTo>
                    <a:pt x="144" y="485"/>
                  </a:lnTo>
                  <a:lnTo>
                    <a:pt x="142" y="485"/>
                  </a:lnTo>
                  <a:lnTo>
                    <a:pt x="139" y="485"/>
                  </a:lnTo>
                  <a:lnTo>
                    <a:pt x="137" y="483"/>
                  </a:lnTo>
                  <a:lnTo>
                    <a:pt x="137" y="482"/>
                  </a:lnTo>
                  <a:lnTo>
                    <a:pt x="136" y="481"/>
                  </a:lnTo>
                  <a:lnTo>
                    <a:pt x="136" y="480"/>
                  </a:lnTo>
                  <a:lnTo>
                    <a:pt x="137" y="479"/>
                  </a:lnTo>
                  <a:lnTo>
                    <a:pt x="139" y="479"/>
                  </a:lnTo>
                  <a:lnTo>
                    <a:pt x="139" y="477"/>
                  </a:lnTo>
                  <a:lnTo>
                    <a:pt x="138" y="477"/>
                  </a:lnTo>
                  <a:lnTo>
                    <a:pt x="137" y="477"/>
                  </a:lnTo>
                  <a:lnTo>
                    <a:pt x="136" y="479"/>
                  </a:lnTo>
                  <a:lnTo>
                    <a:pt x="134" y="477"/>
                  </a:lnTo>
                  <a:lnTo>
                    <a:pt x="133" y="476"/>
                  </a:lnTo>
                  <a:lnTo>
                    <a:pt x="132" y="476"/>
                  </a:lnTo>
                  <a:lnTo>
                    <a:pt x="132" y="479"/>
                  </a:lnTo>
                  <a:lnTo>
                    <a:pt x="132" y="480"/>
                  </a:lnTo>
                  <a:lnTo>
                    <a:pt x="131" y="482"/>
                  </a:lnTo>
                  <a:lnTo>
                    <a:pt x="133" y="482"/>
                  </a:lnTo>
                  <a:lnTo>
                    <a:pt x="132" y="485"/>
                  </a:lnTo>
                  <a:lnTo>
                    <a:pt x="130" y="486"/>
                  </a:lnTo>
                  <a:lnTo>
                    <a:pt x="132" y="485"/>
                  </a:lnTo>
                  <a:lnTo>
                    <a:pt x="132" y="487"/>
                  </a:lnTo>
                  <a:lnTo>
                    <a:pt x="130" y="488"/>
                  </a:lnTo>
                  <a:lnTo>
                    <a:pt x="131" y="488"/>
                  </a:lnTo>
                  <a:lnTo>
                    <a:pt x="130" y="489"/>
                  </a:lnTo>
                  <a:lnTo>
                    <a:pt x="128" y="491"/>
                  </a:lnTo>
                  <a:lnTo>
                    <a:pt x="127" y="491"/>
                  </a:lnTo>
                  <a:lnTo>
                    <a:pt x="126" y="494"/>
                  </a:lnTo>
                  <a:lnTo>
                    <a:pt x="125" y="496"/>
                  </a:lnTo>
                  <a:lnTo>
                    <a:pt x="122" y="494"/>
                  </a:lnTo>
                  <a:lnTo>
                    <a:pt x="122" y="496"/>
                  </a:lnTo>
                  <a:lnTo>
                    <a:pt x="121" y="494"/>
                  </a:lnTo>
                  <a:lnTo>
                    <a:pt x="118" y="496"/>
                  </a:lnTo>
                  <a:lnTo>
                    <a:pt x="116" y="494"/>
                  </a:lnTo>
                  <a:lnTo>
                    <a:pt x="115" y="496"/>
                  </a:lnTo>
                  <a:lnTo>
                    <a:pt x="114" y="498"/>
                  </a:lnTo>
                  <a:lnTo>
                    <a:pt x="113" y="499"/>
                  </a:lnTo>
                  <a:lnTo>
                    <a:pt x="113" y="500"/>
                  </a:lnTo>
                  <a:lnTo>
                    <a:pt x="112" y="500"/>
                  </a:lnTo>
                  <a:lnTo>
                    <a:pt x="110" y="500"/>
                  </a:lnTo>
                  <a:lnTo>
                    <a:pt x="108" y="502"/>
                  </a:lnTo>
                  <a:lnTo>
                    <a:pt x="103" y="503"/>
                  </a:lnTo>
                  <a:lnTo>
                    <a:pt x="101" y="506"/>
                  </a:lnTo>
                  <a:lnTo>
                    <a:pt x="100" y="504"/>
                  </a:lnTo>
                  <a:lnTo>
                    <a:pt x="98" y="506"/>
                  </a:lnTo>
                  <a:lnTo>
                    <a:pt x="97" y="506"/>
                  </a:lnTo>
                  <a:lnTo>
                    <a:pt x="96" y="508"/>
                  </a:lnTo>
                  <a:lnTo>
                    <a:pt x="94" y="508"/>
                  </a:lnTo>
                  <a:lnTo>
                    <a:pt x="91" y="509"/>
                  </a:lnTo>
                  <a:lnTo>
                    <a:pt x="89" y="508"/>
                  </a:lnTo>
                  <a:lnTo>
                    <a:pt x="86" y="509"/>
                  </a:lnTo>
                  <a:lnTo>
                    <a:pt x="86" y="508"/>
                  </a:lnTo>
                  <a:lnTo>
                    <a:pt x="85" y="508"/>
                  </a:lnTo>
                  <a:lnTo>
                    <a:pt x="84" y="509"/>
                  </a:lnTo>
                  <a:lnTo>
                    <a:pt x="82" y="509"/>
                  </a:lnTo>
                  <a:lnTo>
                    <a:pt x="80" y="510"/>
                  </a:lnTo>
                  <a:lnTo>
                    <a:pt x="77" y="509"/>
                  </a:lnTo>
                  <a:lnTo>
                    <a:pt x="73" y="510"/>
                  </a:lnTo>
                  <a:lnTo>
                    <a:pt x="73" y="508"/>
                  </a:lnTo>
                  <a:lnTo>
                    <a:pt x="72" y="506"/>
                  </a:lnTo>
                  <a:lnTo>
                    <a:pt x="71" y="506"/>
                  </a:lnTo>
                  <a:lnTo>
                    <a:pt x="71" y="504"/>
                  </a:lnTo>
                  <a:lnTo>
                    <a:pt x="69" y="504"/>
                  </a:lnTo>
                  <a:lnTo>
                    <a:pt x="68" y="504"/>
                  </a:lnTo>
                  <a:lnTo>
                    <a:pt x="68" y="503"/>
                  </a:lnTo>
                  <a:lnTo>
                    <a:pt x="67" y="503"/>
                  </a:lnTo>
                  <a:lnTo>
                    <a:pt x="66" y="503"/>
                  </a:lnTo>
                  <a:lnTo>
                    <a:pt x="66" y="500"/>
                  </a:lnTo>
                  <a:lnTo>
                    <a:pt x="66" y="499"/>
                  </a:lnTo>
                  <a:lnTo>
                    <a:pt x="65" y="499"/>
                  </a:lnTo>
                  <a:lnTo>
                    <a:pt x="63" y="499"/>
                  </a:lnTo>
                  <a:lnTo>
                    <a:pt x="63" y="498"/>
                  </a:lnTo>
                  <a:lnTo>
                    <a:pt x="62" y="498"/>
                  </a:lnTo>
                  <a:lnTo>
                    <a:pt x="61" y="499"/>
                  </a:lnTo>
                  <a:lnTo>
                    <a:pt x="61" y="498"/>
                  </a:lnTo>
                  <a:lnTo>
                    <a:pt x="60" y="498"/>
                  </a:lnTo>
                  <a:lnTo>
                    <a:pt x="59" y="498"/>
                  </a:lnTo>
                  <a:lnTo>
                    <a:pt x="57" y="499"/>
                  </a:lnTo>
                  <a:lnTo>
                    <a:pt x="55" y="498"/>
                  </a:lnTo>
                  <a:lnTo>
                    <a:pt x="56" y="498"/>
                  </a:lnTo>
                  <a:lnTo>
                    <a:pt x="53" y="497"/>
                  </a:lnTo>
                  <a:lnTo>
                    <a:pt x="54" y="496"/>
                  </a:lnTo>
                  <a:lnTo>
                    <a:pt x="51" y="492"/>
                  </a:lnTo>
                  <a:lnTo>
                    <a:pt x="50" y="491"/>
                  </a:lnTo>
                  <a:lnTo>
                    <a:pt x="49" y="491"/>
                  </a:lnTo>
                  <a:lnTo>
                    <a:pt x="48" y="491"/>
                  </a:lnTo>
                  <a:lnTo>
                    <a:pt x="47" y="492"/>
                  </a:lnTo>
                  <a:lnTo>
                    <a:pt x="44" y="491"/>
                  </a:lnTo>
                  <a:lnTo>
                    <a:pt x="43" y="491"/>
                  </a:lnTo>
                  <a:lnTo>
                    <a:pt x="42" y="491"/>
                  </a:lnTo>
                  <a:lnTo>
                    <a:pt x="41" y="489"/>
                  </a:lnTo>
                  <a:lnTo>
                    <a:pt x="38" y="488"/>
                  </a:lnTo>
                  <a:lnTo>
                    <a:pt x="37" y="487"/>
                  </a:lnTo>
                  <a:lnTo>
                    <a:pt x="36" y="486"/>
                  </a:lnTo>
                  <a:lnTo>
                    <a:pt x="37" y="486"/>
                  </a:lnTo>
                  <a:lnTo>
                    <a:pt x="35" y="485"/>
                  </a:lnTo>
                  <a:lnTo>
                    <a:pt x="33" y="485"/>
                  </a:lnTo>
                  <a:lnTo>
                    <a:pt x="32" y="483"/>
                  </a:lnTo>
                  <a:lnTo>
                    <a:pt x="35" y="483"/>
                  </a:lnTo>
                  <a:lnTo>
                    <a:pt x="35" y="480"/>
                  </a:lnTo>
                  <a:lnTo>
                    <a:pt x="37" y="482"/>
                  </a:lnTo>
                  <a:lnTo>
                    <a:pt x="37" y="481"/>
                  </a:lnTo>
                  <a:lnTo>
                    <a:pt x="38" y="480"/>
                  </a:lnTo>
                  <a:lnTo>
                    <a:pt x="38" y="477"/>
                  </a:lnTo>
                  <a:lnTo>
                    <a:pt x="37" y="475"/>
                  </a:lnTo>
                  <a:lnTo>
                    <a:pt x="35" y="474"/>
                  </a:lnTo>
                  <a:lnTo>
                    <a:pt x="33" y="473"/>
                  </a:lnTo>
                  <a:lnTo>
                    <a:pt x="35" y="471"/>
                  </a:lnTo>
                  <a:lnTo>
                    <a:pt x="37" y="471"/>
                  </a:lnTo>
                  <a:lnTo>
                    <a:pt x="41" y="470"/>
                  </a:lnTo>
                  <a:lnTo>
                    <a:pt x="42" y="469"/>
                  </a:lnTo>
                  <a:lnTo>
                    <a:pt x="37" y="469"/>
                  </a:lnTo>
                  <a:lnTo>
                    <a:pt x="35" y="470"/>
                  </a:lnTo>
                  <a:lnTo>
                    <a:pt x="32" y="471"/>
                  </a:lnTo>
                  <a:lnTo>
                    <a:pt x="31" y="475"/>
                  </a:lnTo>
                  <a:lnTo>
                    <a:pt x="30" y="475"/>
                  </a:lnTo>
                  <a:lnTo>
                    <a:pt x="30" y="476"/>
                  </a:lnTo>
                  <a:lnTo>
                    <a:pt x="27" y="479"/>
                  </a:lnTo>
                  <a:lnTo>
                    <a:pt x="26" y="479"/>
                  </a:lnTo>
                  <a:lnTo>
                    <a:pt x="24" y="479"/>
                  </a:lnTo>
                  <a:lnTo>
                    <a:pt x="20" y="477"/>
                  </a:lnTo>
                  <a:lnTo>
                    <a:pt x="20" y="479"/>
                  </a:lnTo>
                  <a:lnTo>
                    <a:pt x="19" y="479"/>
                  </a:lnTo>
                  <a:lnTo>
                    <a:pt x="16" y="477"/>
                  </a:lnTo>
                  <a:lnTo>
                    <a:pt x="16" y="479"/>
                  </a:lnTo>
                  <a:lnTo>
                    <a:pt x="14" y="476"/>
                  </a:lnTo>
                  <a:lnTo>
                    <a:pt x="12" y="476"/>
                  </a:lnTo>
                  <a:lnTo>
                    <a:pt x="13" y="475"/>
                  </a:lnTo>
                  <a:lnTo>
                    <a:pt x="12" y="474"/>
                  </a:lnTo>
                  <a:lnTo>
                    <a:pt x="10" y="473"/>
                  </a:lnTo>
                  <a:lnTo>
                    <a:pt x="10" y="471"/>
                  </a:lnTo>
                  <a:lnTo>
                    <a:pt x="8" y="470"/>
                  </a:lnTo>
                  <a:lnTo>
                    <a:pt x="9" y="470"/>
                  </a:lnTo>
                  <a:lnTo>
                    <a:pt x="8" y="467"/>
                  </a:lnTo>
                  <a:lnTo>
                    <a:pt x="6" y="464"/>
                  </a:lnTo>
                  <a:lnTo>
                    <a:pt x="3" y="463"/>
                  </a:lnTo>
                  <a:lnTo>
                    <a:pt x="3" y="461"/>
                  </a:lnTo>
                  <a:lnTo>
                    <a:pt x="3" y="459"/>
                  </a:lnTo>
                  <a:lnTo>
                    <a:pt x="4" y="458"/>
                  </a:lnTo>
                  <a:lnTo>
                    <a:pt x="3" y="457"/>
                  </a:lnTo>
                  <a:lnTo>
                    <a:pt x="2" y="456"/>
                  </a:lnTo>
                  <a:lnTo>
                    <a:pt x="0" y="452"/>
                  </a:lnTo>
                  <a:lnTo>
                    <a:pt x="0" y="451"/>
                  </a:lnTo>
                  <a:lnTo>
                    <a:pt x="0" y="450"/>
                  </a:lnTo>
                  <a:lnTo>
                    <a:pt x="1" y="450"/>
                  </a:lnTo>
                  <a:lnTo>
                    <a:pt x="3" y="449"/>
                  </a:lnTo>
                  <a:lnTo>
                    <a:pt x="6" y="451"/>
                  </a:lnTo>
                  <a:lnTo>
                    <a:pt x="6" y="452"/>
                  </a:lnTo>
                  <a:lnTo>
                    <a:pt x="8" y="453"/>
                  </a:lnTo>
                  <a:lnTo>
                    <a:pt x="8" y="455"/>
                  </a:lnTo>
                  <a:lnTo>
                    <a:pt x="9" y="45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9" name="Freeform 62"/>
            <p:cNvSpPr>
              <a:spLocks/>
            </p:cNvSpPr>
            <p:nvPr userDrawn="1"/>
          </p:nvSpPr>
          <p:spPr bwMode="auto">
            <a:xfrm>
              <a:off x="3551238" y="6235701"/>
              <a:ext cx="344488" cy="290513"/>
            </a:xfrm>
            <a:custGeom>
              <a:avLst/>
              <a:gdLst/>
              <a:ahLst/>
              <a:cxnLst>
                <a:cxn ang="0">
                  <a:pos x="359" y="802"/>
                </a:cxn>
                <a:cxn ang="0">
                  <a:pos x="313" y="812"/>
                </a:cxn>
                <a:cxn ang="0">
                  <a:pos x="287" y="782"/>
                </a:cxn>
                <a:cxn ang="0">
                  <a:pos x="235" y="795"/>
                </a:cxn>
                <a:cxn ang="0">
                  <a:pos x="249" y="769"/>
                </a:cxn>
                <a:cxn ang="0">
                  <a:pos x="120" y="806"/>
                </a:cxn>
                <a:cxn ang="0">
                  <a:pos x="140" y="771"/>
                </a:cxn>
                <a:cxn ang="0">
                  <a:pos x="95" y="757"/>
                </a:cxn>
                <a:cxn ang="0">
                  <a:pos x="75" y="677"/>
                </a:cxn>
                <a:cxn ang="0">
                  <a:pos x="17" y="613"/>
                </a:cxn>
                <a:cxn ang="0">
                  <a:pos x="82" y="626"/>
                </a:cxn>
                <a:cxn ang="0">
                  <a:pos x="123" y="594"/>
                </a:cxn>
                <a:cxn ang="0">
                  <a:pos x="218" y="557"/>
                </a:cxn>
                <a:cxn ang="0">
                  <a:pos x="173" y="539"/>
                </a:cxn>
                <a:cxn ang="0">
                  <a:pos x="90" y="540"/>
                </a:cxn>
                <a:cxn ang="0">
                  <a:pos x="112" y="480"/>
                </a:cxn>
                <a:cxn ang="0">
                  <a:pos x="137" y="379"/>
                </a:cxn>
                <a:cxn ang="0">
                  <a:pos x="181" y="367"/>
                </a:cxn>
                <a:cxn ang="0">
                  <a:pos x="205" y="331"/>
                </a:cxn>
                <a:cxn ang="0">
                  <a:pos x="257" y="277"/>
                </a:cxn>
                <a:cxn ang="0">
                  <a:pos x="259" y="239"/>
                </a:cxn>
                <a:cxn ang="0">
                  <a:pos x="165" y="231"/>
                </a:cxn>
                <a:cxn ang="0">
                  <a:pos x="165" y="183"/>
                </a:cxn>
                <a:cxn ang="0">
                  <a:pos x="181" y="126"/>
                </a:cxn>
                <a:cxn ang="0">
                  <a:pos x="225" y="107"/>
                </a:cxn>
                <a:cxn ang="0">
                  <a:pos x="276" y="40"/>
                </a:cxn>
                <a:cxn ang="0">
                  <a:pos x="359" y="14"/>
                </a:cxn>
                <a:cxn ang="0">
                  <a:pos x="460" y="24"/>
                </a:cxn>
                <a:cxn ang="0">
                  <a:pos x="488" y="90"/>
                </a:cxn>
                <a:cxn ang="0">
                  <a:pos x="538" y="87"/>
                </a:cxn>
                <a:cxn ang="0">
                  <a:pos x="554" y="121"/>
                </a:cxn>
                <a:cxn ang="0">
                  <a:pos x="638" y="109"/>
                </a:cxn>
                <a:cxn ang="0">
                  <a:pos x="721" y="124"/>
                </a:cxn>
                <a:cxn ang="0">
                  <a:pos x="821" y="147"/>
                </a:cxn>
                <a:cxn ang="0">
                  <a:pos x="891" y="162"/>
                </a:cxn>
                <a:cxn ang="0">
                  <a:pos x="860" y="198"/>
                </a:cxn>
                <a:cxn ang="0">
                  <a:pos x="883" y="256"/>
                </a:cxn>
                <a:cxn ang="0">
                  <a:pos x="838" y="271"/>
                </a:cxn>
                <a:cxn ang="0">
                  <a:pos x="832" y="293"/>
                </a:cxn>
                <a:cxn ang="0">
                  <a:pos x="902" y="355"/>
                </a:cxn>
                <a:cxn ang="0">
                  <a:pos x="962" y="370"/>
                </a:cxn>
                <a:cxn ang="0">
                  <a:pos x="943" y="424"/>
                </a:cxn>
                <a:cxn ang="0">
                  <a:pos x="1003" y="444"/>
                </a:cxn>
                <a:cxn ang="0">
                  <a:pos x="1055" y="448"/>
                </a:cxn>
                <a:cxn ang="0">
                  <a:pos x="1068" y="521"/>
                </a:cxn>
                <a:cxn ang="0">
                  <a:pos x="1058" y="522"/>
                </a:cxn>
                <a:cxn ang="0">
                  <a:pos x="1080" y="578"/>
                </a:cxn>
                <a:cxn ang="0">
                  <a:pos x="1078" y="624"/>
                </a:cxn>
                <a:cxn ang="0">
                  <a:pos x="973" y="638"/>
                </a:cxn>
                <a:cxn ang="0">
                  <a:pos x="926" y="664"/>
                </a:cxn>
                <a:cxn ang="0">
                  <a:pos x="915" y="695"/>
                </a:cxn>
                <a:cxn ang="0">
                  <a:pos x="952" y="745"/>
                </a:cxn>
                <a:cxn ang="0">
                  <a:pos x="902" y="782"/>
                </a:cxn>
                <a:cxn ang="0">
                  <a:pos x="856" y="757"/>
                </a:cxn>
                <a:cxn ang="0">
                  <a:pos x="778" y="759"/>
                </a:cxn>
                <a:cxn ang="0">
                  <a:pos x="759" y="780"/>
                </a:cxn>
                <a:cxn ang="0">
                  <a:pos x="718" y="780"/>
                </a:cxn>
                <a:cxn ang="0">
                  <a:pos x="769" y="819"/>
                </a:cxn>
                <a:cxn ang="0">
                  <a:pos x="707" y="840"/>
                </a:cxn>
                <a:cxn ang="0">
                  <a:pos x="654" y="842"/>
                </a:cxn>
                <a:cxn ang="0">
                  <a:pos x="618" y="804"/>
                </a:cxn>
                <a:cxn ang="0">
                  <a:pos x="552" y="840"/>
                </a:cxn>
                <a:cxn ang="0">
                  <a:pos x="539" y="786"/>
                </a:cxn>
              </a:cxnLst>
              <a:rect l="0" t="0" r="r" b="b"/>
              <a:pathLst>
                <a:path w="1086" h="917">
                  <a:moveTo>
                    <a:pt x="511" y="917"/>
                  </a:moveTo>
                  <a:lnTo>
                    <a:pt x="354" y="917"/>
                  </a:lnTo>
                  <a:lnTo>
                    <a:pt x="358" y="911"/>
                  </a:lnTo>
                  <a:lnTo>
                    <a:pt x="361" y="898"/>
                  </a:lnTo>
                  <a:lnTo>
                    <a:pt x="362" y="889"/>
                  </a:lnTo>
                  <a:lnTo>
                    <a:pt x="365" y="884"/>
                  </a:lnTo>
                  <a:lnTo>
                    <a:pt x="367" y="879"/>
                  </a:lnTo>
                  <a:lnTo>
                    <a:pt x="372" y="872"/>
                  </a:lnTo>
                  <a:lnTo>
                    <a:pt x="375" y="863"/>
                  </a:lnTo>
                  <a:lnTo>
                    <a:pt x="372" y="849"/>
                  </a:lnTo>
                  <a:lnTo>
                    <a:pt x="375" y="838"/>
                  </a:lnTo>
                  <a:lnTo>
                    <a:pt x="379" y="832"/>
                  </a:lnTo>
                  <a:lnTo>
                    <a:pt x="382" y="826"/>
                  </a:lnTo>
                  <a:lnTo>
                    <a:pt x="383" y="815"/>
                  </a:lnTo>
                  <a:lnTo>
                    <a:pt x="384" y="808"/>
                  </a:lnTo>
                  <a:lnTo>
                    <a:pt x="383" y="806"/>
                  </a:lnTo>
                  <a:lnTo>
                    <a:pt x="381" y="806"/>
                  </a:lnTo>
                  <a:lnTo>
                    <a:pt x="375" y="813"/>
                  </a:lnTo>
                  <a:lnTo>
                    <a:pt x="370" y="813"/>
                  </a:lnTo>
                  <a:lnTo>
                    <a:pt x="369" y="812"/>
                  </a:lnTo>
                  <a:lnTo>
                    <a:pt x="365" y="812"/>
                  </a:lnTo>
                  <a:lnTo>
                    <a:pt x="358" y="813"/>
                  </a:lnTo>
                  <a:lnTo>
                    <a:pt x="356" y="809"/>
                  </a:lnTo>
                  <a:lnTo>
                    <a:pt x="359" y="802"/>
                  </a:lnTo>
                  <a:lnTo>
                    <a:pt x="359" y="800"/>
                  </a:lnTo>
                  <a:lnTo>
                    <a:pt x="356" y="801"/>
                  </a:lnTo>
                  <a:lnTo>
                    <a:pt x="353" y="800"/>
                  </a:lnTo>
                  <a:lnTo>
                    <a:pt x="350" y="798"/>
                  </a:lnTo>
                  <a:lnTo>
                    <a:pt x="350" y="796"/>
                  </a:lnTo>
                  <a:lnTo>
                    <a:pt x="349" y="790"/>
                  </a:lnTo>
                  <a:lnTo>
                    <a:pt x="348" y="789"/>
                  </a:lnTo>
                  <a:lnTo>
                    <a:pt x="348" y="792"/>
                  </a:lnTo>
                  <a:lnTo>
                    <a:pt x="349" y="798"/>
                  </a:lnTo>
                  <a:lnTo>
                    <a:pt x="347" y="800"/>
                  </a:lnTo>
                  <a:lnTo>
                    <a:pt x="346" y="798"/>
                  </a:lnTo>
                  <a:lnTo>
                    <a:pt x="343" y="800"/>
                  </a:lnTo>
                  <a:lnTo>
                    <a:pt x="336" y="800"/>
                  </a:lnTo>
                  <a:lnTo>
                    <a:pt x="334" y="801"/>
                  </a:lnTo>
                  <a:lnTo>
                    <a:pt x="331" y="802"/>
                  </a:lnTo>
                  <a:lnTo>
                    <a:pt x="330" y="804"/>
                  </a:lnTo>
                  <a:lnTo>
                    <a:pt x="331" y="807"/>
                  </a:lnTo>
                  <a:lnTo>
                    <a:pt x="331" y="809"/>
                  </a:lnTo>
                  <a:lnTo>
                    <a:pt x="328" y="809"/>
                  </a:lnTo>
                  <a:lnTo>
                    <a:pt x="325" y="808"/>
                  </a:lnTo>
                  <a:lnTo>
                    <a:pt x="324" y="812"/>
                  </a:lnTo>
                  <a:lnTo>
                    <a:pt x="320" y="809"/>
                  </a:lnTo>
                  <a:lnTo>
                    <a:pt x="317" y="810"/>
                  </a:lnTo>
                  <a:lnTo>
                    <a:pt x="313" y="812"/>
                  </a:lnTo>
                  <a:lnTo>
                    <a:pt x="316" y="813"/>
                  </a:lnTo>
                  <a:lnTo>
                    <a:pt x="311" y="814"/>
                  </a:lnTo>
                  <a:lnTo>
                    <a:pt x="302" y="813"/>
                  </a:lnTo>
                  <a:lnTo>
                    <a:pt x="297" y="812"/>
                  </a:lnTo>
                  <a:lnTo>
                    <a:pt x="294" y="809"/>
                  </a:lnTo>
                  <a:lnTo>
                    <a:pt x="291" y="806"/>
                  </a:lnTo>
                  <a:lnTo>
                    <a:pt x="289" y="802"/>
                  </a:lnTo>
                  <a:lnTo>
                    <a:pt x="289" y="798"/>
                  </a:lnTo>
                  <a:lnTo>
                    <a:pt x="289" y="796"/>
                  </a:lnTo>
                  <a:lnTo>
                    <a:pt x="291" y="795"/>
                  </a:lnTo>
                  <a:lnTo>
                    <a:pt x="297" y="794"/>
                  </a:lnTo>
                  <a:lnTo>
                    <a:pt x="299" y="791"/>
                  </a:lnTo>
                  <a:lnTo>
                    <a:pt x="297" y="786"/>
                  </a:lnTo>
                  <a:lnTo>
                    <a:pt x="299" y="785"/>
                  </a:lnTo>
                  <a:lnTo>
                    <a:pt x="305" y="783"/>
                  </a:lnTo>
                  <a:lnTo>
                    <a:pt x="308" y="780"/>
                  </a:lnTo>
                  <a:lnTo>
                    <a:pt x="308" y="778"/>
                  </a:lnTo>
                  <a:lnTo>
                    <a:pt x="307" y="774"/>
                  </a:lnTo>
                  <a:lnTo>
                    <a:pt x="303" y="772"/>
                  </a:lnTo>
                  <a:lnTo>
                    <a:pt x="300" y="771"/>
                  </a:lnTo>
                  <a:lnTo>
                    <a:pt x="297" y="773"/>
                  </a:lnTo>
                  <a:lnTo>
                    <a:pt x="293" y="777"/>
                  </a:lnTo>
                  <a:lnTo>
                    <a:pt x="289" y="779"/>
                  </a:lnTo>
                  <a:lnTo>
                    <a:pt x="287" y="782"/>
                  </a:lnTo>
                  <a:lnTo>
                    <a:pt x="284" y="786"/>
                  </a:lnTo>
                  <a:lnTo>
                    <a:pt x="281" y="786"/>
                  </a:lnTo>
                  <a:lnTo>
                    <a:pt x="277" y="783"/>
                  </a:lnTo>
                  <a:lnTo>
                    <a:pt x="276" y="783"/>
                  </a:lnTo>
                  <a:lnTo>
                    <a:pt x="275" y="786"/>
                  </a:lnTo>
                  <a:lnTo>
                    <a:pt x="273" y="796"/>
                  </a:lnTo>
                  <a:lnTo>
                    <a:pt x="272" y="797"/>
                  </a:lnTo>
                  <a:lnTo>
                    <a:pt x="271" y="798"/>
                  </a:lnTo>
                  <a:lnTo>
                    <a:pt x="264" y="798"/>
                  </a:lnTo>
                  <a:lnTo>
                    <a:pt x="264" y="802"/>
                  </a:lnTo>
                  <a:lnTo>
                    <a:pt x="263" y="803"/>
                  </a:lnTo>
                  <a:lnTo>
                    <a:pt x="261" y="804"/>
                  </a:lnTo>
                  <a:lnTo>
                    <a:pt x="255" y="806"/>
                  </a:lnTo>
                  <a:lnTo>
                    <a:pt x="254" y="806"/>
                  </a:lnTo>
                  <a:lnTo>
                    <a:pt x="252" y="803"/>
                  </a:lnTo>
                  <a:lnTo>
                    <a:pt x="248" y="801"/>
                  </a:lnTo>
                  <a:lnTo>
                    <a:pt x="249" y="797"/>
                  </a:lnTo>
                  <a:lnTo>
                    <a:pt x="255" y="788"/>
                  </a:lnTo>
                  <a:lnTo>
                    <a:pt x="254" y="785"/>
                  </a:lnTo>
                  <a:lnTo>
                    <a:pt x="251" y="785"/>
                  </a:lnTo>
                  <a:lnTo>
                    <a:pt x="243" y="791"/>
                  </a:lnTo>
                  <a:lnTo>
                    <a:pt x="238" y="794"/>
                  </a:lnTo>
                  <a:lnTo>
                    <a:pt x="241" y="795"/>
                  </a:lnTo>
                  <a:lnTo>
                    <a:pt x="235" y="795"/>
                  </a:lnTo>
                  <a:lnTo>
                    <a:pt x="226" y="795"/>
                  </a:lnTo>
                  <a:lnTo>
                    <a:pt x="220" y="790"/>
                  </a:lnTo>
                  <a:lnTo>
                    <a:pt x="211" y="785"/>
                  </a:lnTo>
                  <a:lnTo>
                    <a:pt x="208" y="783"/>
                  </a:lnTo>
                  <a:lnTo>
                    <a:pt x="207" y="782"/>
                  </a:lnTo>
                  <a:lnTo>
                    <a:pt x="210" y="780"/>
                  </a:lnTo>
                  <a:lnTo>
                    <a:pt x="211" y="780"/>
                  </a:lnTo>
                  <a:lnTo>
                    <a:pt x="212" y="778"/>
                  </a:lnTo>
                  <a:lnTo>
                    <a:pt x="213" y="772"/>
                  </a:lnTo>
                  <a:lnTo>
                    <a:pt x="216" y="771"/>
                  </a:lnTo>
                  <a:lnTo>
                    <a:pt x="216" y="768"/>
                  </a:lnTo>
                  <a:lnTo>
                    <a:pt x="218" y="769"/>
                  </a:lnTo>
                  <a:lnTo>
                    <a:pt x="222" y="773"/>
                  </a:lnTo>
                  <a:lnTo>
                    <a:pt x="223" y="774"/>
                  </a:lnTo>
                  <a:lnTo>
                    <a:pt x="225" y="774"/>
                  </a:lnTo>
                  <a:lnTo>
                    <a:pt x="225" y="772"/>
                  </a:lnTo>
                  <a:lnTo>
                    <a:pt x="228" y="771"/>
                  </a:lnTo>
                  <a:lnTo>
                    <a:pt x="231" y="771"/>
                  </a:lnTo>
                  <a:lnTo>
                    <a:pt x="235" y="772"/>
                  </a:lnTo>
                  <a:lnTo>
                    <a:pt x="236" y="772"/>
                  </a:lnTo>
                  <a:lnTo>
                    <a:pt x="240" y="771"/>
                  </a:lnTo>
                  <a:lnTo>
                    <a:pt x="242" y="769"/>
                  </a:lnTo>
                  <a:lnTo>
                    <a:pt x="244" y="768"/>
                  </a:lnTo>
                  <a:lnTo>
                    <a:pt x="249" y="769"/>
                  </a:lnTo>
                  <a:lnTo>
                    <a:pt x="249" y="766"/>
                  </a:lnTo>
                  <a:lnTo>
                    <a:pt x="246" y="760"/>
                  </a:lnTo>
                  <a:lnTo>
                    <a:pt x="242" y="757"/>
                  </a:lnTo>
                  <a:lnTo>
                    <a:pt x="236" y="762"/>
                  </a:lnTo>
                  <a:lnTo>
                    <a:pt x="232" y="765"/>
                  </a:lnTo>
                  <a:lnTo>
                    <a:pt x="228" y="766"/>
                  </a:lnTo>
                  <a:lnTo>
                    <a:pt x="210" y="766"/>
                  </a:lnTo>
                  <a:lnTo>
                    <a:pt x="195" y="766"/>
                  </a:lnTo>
                  <a:lnTo>
                    <a:pt x="188" y="765"/>
                  </a:lnTo>
                  <a:lnTo>
                    <a:pt x="184" y="765"/>
                  </a:lnTo>
                  <a:lnTo>
                    <a:pt x="184" y="767"/>
                  </a:lnTo>
                  <a:lnTo>
                    <a:pt x="188" y="774"/>
                  </a:lnTo>
                  <a:lnTo>
                    <a:pt x="189" y="778"/>
                  </a:lnTo>
                  <a:lnTo>
                    <a:pt x="188" y="780"/>
                  </a:lnTo>
                  <a:lnTo>
                    <a:pt x="177" y="784"/>
                  </a:lnTo>
                  <a:lnTo>
                    <a:pt x="176" y="783"/>
                  </a:lnTo>
                  <a:lnTo>
                    <a:pt x="171" y="782"/>
                  </a:lnTo>
                  <a:lnTo>
                    <a:pt x="165" y="783"/>
                  </a:lnTo>
                  <a:lnTo>
                    <a:pt x="160" y="782"/>
                  </a:lnTo>
                  <a:lnTo>
                    <a:pt x="157" y="776"/>
                  </a:lnTo>
                  <a:lnTo>
                    <a:pt x="151" y="779"/>
                  </a:lnTo>
                  <a:lnTo>
                    <a:pt x="143" y="785"/>
                  </a:lnTo>
                  <a:lnTo>
                    <a:pt x="135" y="794"/>
                  </a:lnTo>
                  <a:lnTo>
                    <a:pt x="120" y="806"/>
                  </a:lnTo>
                  <a:lnTo>
                    <a:pt x="113" y="809"/>
                  </a:lnTo>
                  <a:lnTo>
                    <a:pt x="107" y="810"/>
                  </a:lnTo>
                  <a:lnTo>
                    <a:pt x="102" y="810"/>
                  </a:lnTo>
                  <a:lnTo>
                    <a:pt x="110" y="809"/>
                  </a:lnTo>
                  <a:lnTo>
                    <a:pt x="117" y="806"/>
                  </a:lnTo>
                  <a:lnTo>
                    <a:pt x="125" y="800"/>
                  </a:lnTo>
                  <a:lnTo>
                    <a:pt x="137" y="789"/>
                  </a:lnTo>
                  <a:lnTo>
                    <a:pt x="140" y="785"/>
                  </a:lnTo>
                  <a:lnTo>
                    <a:pt x="113" y="798"/>
                  </a:lnTo>
                  <a:lnTo>
                    <a:pt x="96" y="806"/>
                  </a:lnTo>
                  <a:lnTo>
                    <a:pt x="125" y="791"/>
                  </a:lnTo>
                  <a:lnTo>
                    <a:pt x="143" y="779"/>
                  </a:lnTo>
                  <a:lnTo>
                    <a:pt x="145" y="778"/>
                  </a:lnTo>
                  <a:lnTo>
                    <a:pt x="140" y="774"/>
                  </a:lnTo>
                  <a:lnTo>
                    <a:pt x="134" y="769"/>
                  </a:lnTo>
                  <a:lnTo>
                    <a:pt x="131" y="769"/>
                  </a:lnTo>
                  <a:lnTo>
                    <a:pt x="125" y="774"/>
                  </a:lnTo>
                  <a:lnTo>
                    <a:pt x="114" y="784"/>
                  </a:lnTo>
                  <a:lnTo>
                    <a:pt x="111" y="785"/>
                  </a:lnTo>
                  <a:lnTo>
                    <a:pt x="116" y="782"/>
                  </a:lnTo>
                  <a:lnTo>
                    <a:pt x="123" y="776"/>
                  </a:lnTo>
                  <a:lnTo>
                    <a:pt x="129" y="767"/>
                  </a:lnTo>
                  <a:lnTo>
                    <a:pt x="134" y="767"/>
                  </a:lnTo>
                  <a:lnTo>
                    <a:pt x="140" y="771"/>
                  </a:lnTo>
                  <a:lnTo>
                    <a:pt x="147" y="777"/>
                  </a:lnTo>
                  <a:lnTo>
                    <a:pt x="151" y="777"/>
                  </a:lnTo>
                  <a:lnTo>
                    <a:pt x="153" y="773"/>
                  </a:lnTo>
                  <a:lnTo>
                    <a:pt x="155" y="771"/>
                  </a:lnTo>
                  <a:lnTo>
                    <a:pt x="153" y="768"/>
                  </a:lnTo>
                  <a:lnTo>
                    <a:pt x="151" y="765"/>
                  </a:lnTo>
                  <a:lnTo>
                    <a:pt x="147" y="762"/>
                  </a:lnTo>
                  <a:lnTo>
                    <a:pt x="141" y="762"/>
                  </a:lnTo>
                  <a:lnTo>
                    <a:pt x="134" y="761"/>
                  </a:lnTo>
                  <a:lnTo>
                    <a:pt x="127" y="762"/>
                  </a:lnTo>
                  <a:lnTo>
                    <a:pt x="122" y="765"/>
                  </a:lnTo>
                  <a:lnTo>
                    <a:pt x="119" y="769"/>
                  </a:lnTo>
                  <a:lnTo>
                    <a:pt x="118" y="772"/>
                  </a:lnTo>
                  <a:lnTo>
                    <a:pt x="116" y="774"/>
                  </a:lnTo>
                  <a:lnTo>
                    <a:pt x="112" y="776"/>
                  </a:lnTo>
                  <a:lnTo>
                    <a:pt x="111" y="773"/>
                  </a:lnTo>
                  <a:lnTo>
                    <a:pt x="108" y="767"/>
                  </a:lnTo>
                  <a:lnTo>
                    <a:pt x="111" y="763"/>
                  </a:lnTo>
                  <a:lnTo>
                    <a:pt x="111" y="762"/>
                  </a:lnTo>
                  <a:lnTo>
                    <a:pt x="107" y="762"/>
                  </a:lnTo>
                  <a:lnTo>
                    <a:pt x="100" y="767"/>
                  </a:lnTo>
                  <a:lnTo>
                    <a:pt x="98" y="767"/>
                  </a:lnTo>
                  <a:lnTo>
                    <a:pt x="98" y="763"/>
                  </a:lnTo>
                  <a:lnTo>
                    <a:pt x="95" y="757"/>
                  </a:lnTo>
                  <a:lnTo>
                    <a:pt x="96" y="753"/>
                  </a:lnTo>
                  <a:lnTo>
                    <a:pt x="101" y="747"/>
                  </a:lnTo>
                  <a:lnTo>
                    <a:pt x="102" y="745"/>
                  </a:lnTo>
                  <a:lnTo>
                    <a:pt x="101" y="743"/>
                  </a:lnTo>
                  <a:lnTo>
                    <a:pt x="96" y="738"/>
                  </a:lnTo>
                  <a:lnTo>
                    <a:pt x="95" y="733"/>
                  </a:lnTo>
                  <a:lnTo>
                    <a:pt x="93" y="730"/>
                  </a:lnTo>
                  <a:lnTo>
                    <a:pt x="93" y="725"/>
                  </a:lnTo>
                  <a:lnTo>
                    <a:pt x="99" y="719"/>
                  </a:lnTo>
                  <a:lnTo>
                    <a:pt x="101" y="717"/>
                  </a:lnTo>
                  <a:lnTo>
                    <a:pt x="102" y="715"/>
                  </a:lnTo>
                  <a:lnTo>
                    <a:pt x="96" y="712"/>
                  </a:lnTo>
                  <a:lnTo>
                    <a:pt x="95" y="711"/>
                  </a:lnTo>
                  <a:lnTo>
                    <a:pt x="98" y="707"/>
                  </a:lnTo>
                  <a:lnTo>
                    <a:pt x="105" y="703"/>
                  </a:lnTo>
                  <a:lnTo>
                    <a:pt x="107" y="701"/>
                  </a:lnTo>
                  <a:lnTo>
                    <a:pt x="108" y="699"/>
                  </a:lnTo>
                  <a:lnTo>
                    <a:pt x="110" y="690"/>
                  </a:lnTo>
                  <a:lnTo>
                    <a:pt x="111" y="685"/>
                  </a:lnTo>
                  <a:lnTo>
                    <a:pt x="113" y="679"/>
                  </a:lnTo>
                  <a:lnTo>
                    <a:pt x="93" y="681"/>
                  </a:lnTo>
                  <a:lnTo>
                    <a:pt x="84" y="682"/>
                  </a:lnTo>
                  <a:lnTo>
                    <a:pt x="80" y="681"/>
                  </a:lnTo>
                  <a:lnTo>
                    <a:pt x="75" y="677"/>
                  </a:lnTo>
                  <a:lnTo>
                    <a:pt x="74" y="676"/>
                  </a:lnTo>
                  <a:lnTo>
                    <a:pt x="70" y="677"/>
                  </a:lnTo>
                  <a:lnTo>
                    <a:pt x="68" y="682"/>
                  </a:lnTo>
                  <a:lnTo>
                    <a:pt x="60" y="681"/>
                  </a:lnTo>
                  <a:lnTo>
                    <a:pt x="51" y="677"/>
                  </a:lnTo>
                  <a:lnTo>
                    <a:pt x="45" y="677"/>
                  </a:lnTo>
                  <a:lnTo>
                    <a:pt x="39" y="678"/>
                  </a:lnTo>
                  <a:lnTo>
                    <a:pt x="34" y="676"/>
                  </a:lnTo>
                  <a:lnTo>
                    <a:pt x="25" y="669"/>
                  </a:lnTo>
                  <a:lnTo>
                    <a:pt x="21" y="660"/>
                  </a:lnTo>
                  <a:lnTo>
                    <a:pt x="16" y="656"/>
                  </a:lnTo>
                  <a:lnTo>
                    <a:pt x="15" y="654"/>
                  </a:lnTo>
                  <a:lnTo>
                    <a:pt x="15" y="652"/>
                  </a:lnTo>
                  <a:lnTo>
                    <a:pt x="17" y="643"/>
                  </a:lnTo>
                  <a:lnTo>
                    <a:pt x="16" y="646"/>
                  </a:lnTo>
                  <a:lnTo>
                    <a:pt x="11" y="640"/>
                  </a:lnTo>
                  <a:lnTo>
                    <a:pt x="4" y="624"/>
                  </a:lnTo>
                  <a:lnTo>
                    <a:pt x="0" y="617"/>
                  </a:lnTo>
                  <a:lnTo>
                    <a:pt x="0" y="614"/>
                  </a:lnTo>
                  <a:lnTo>
                    <a:pt x="4" y="614"/>
                  </a:lnTo>
                  <a:lnTo>
                    <a:pt x="9" y="613"/>
                  </a:lnTo>
                  <a:lnTo>
                    <a:pt x="11" y="611"/>
                  </a:lnTo>
                  <a:lnTo>
                    <a:pt x="13" y="611"/>
                  </a:lnTo>
                  <a:lnTo>
                    <a:pt x="17" y="613"/>
                  </a:lnTo>
                  <a:lnTo>
                    <a:pt x="21" y="619"/>
                  </a:lnTo>
                  <a:lnTo>
                    <a:pt x="25" y="622"/>
                  </a:lnTo>
                  <a:lnTo>
                    <a:pt x="30" y="624"/>
                  </a:lnTo>
                  <a:lnTo>
                    <a:pt x="31" y="626"/>
                  </a:lnTo>
                  <a:lnTo>
                    <a:pt x="35" y="636"/>
                  </a:lnTo>
                  <a:lnTo>
                    <a:pt x="35" y="638"/>
                  </a:lnTo>
                  <a:lnTo>
                    <a:pt x="37" y="637"/>
                  </a:lnTo>
                  <a:lnTo>
                    <a:pt x="40" y="634"/>
                  </a:lnTo>
                  <a:lnTo>
                    <a:pt x="42" y="629"/>
                  </a:lnTo>
                  <a:lnTo>
                    <a:pt x="46" y="628"/>
                  </a:lnTo>
                  <a:lnTo>
                    <a:pt x="51" y="629"/>
                  </a:lnTo>
                  <a:lnTo>
                    <a:pt x="55" y="629"/>
                  </a:lnTo>
                  <a:lnTo>
                    <a:pt x="61" y="626"/>
                  </a:lnTo>
                  <a:lnTo>
                    <a:pt x="59" y="625"/>
                  </a:lnTo>
                  <a:lnTo>
                    <a:pt x="57" y="622"/>
                  </a:lnTo>
                  <a:lnTo>
                    <a:pt x="53" y="618"/>
                  </a:lnTo>
                  <a:lnTo>
                    <a:pt x="54" y="614"/>
                  </a:lnTo>
                  <a:lnTo>
                    <a:pt x="60" y="612"/>
                  </a:lnTo>
                  <a:lnTo>
                    <a:pt x="66" y="611"/>
                  </a:lnTo>
                  <a:lnTo>
                    <a:pt x="70" y="613"/>
                  </a:lnTo>
                  <a:lnTo>
                    <a:pt x="70" y="620"/>
                  </a:lnTo>
                  <a:lnTo>
                    <a:pt x="78" y="624"/>
                  </a:lnTo>
                  <a:lnTo>
                    <a:pt x="76" y="625"/>
                  </a:lnTo>
                  <a:lnTo>
                    <a:pt x="82" y="626"/>
                  </a:lnTo>
                  <a:lnTo>
                    <a:pt x="92" y="630"/>
                  </a:lnTo>
                  <a:lnTo>
                    <a:pt x="94" y="631"/>
                  </a:lnTo>
                  <a:lnTo>
                    <a:pt x="95" y="629"/>
                  </a:lnTo>
                  <a:lnTo>
                    <a:pt x="96" y="624"/>
                  </a:lnTo>
                  <a:lnTo>
                    <a:pt x="102" y="626"/>
                  </a:lnTo>
                  <a:lnTo>
                    <a:pt x="116" y="634"/>
                  </a:lnTo>
                  <a:lnTo>
                    <a:pt x="118" y="635"/>
                  </a:lnTo>
                  <a:lnTo>
                    <a:pt x="120" y="632"/>
                  </a:lnTo>
                  <a:lnTo>
                    <a:pt x="123" y="628"/>
                  </a:lnTo>
                  <a:lnTo>
                    <a:pt x="125" y="626"/>
                  </a:lnTo>
                  <a:lnTo>
                    <a:pt x="127" y="628"/>
                  </a:lnTo>
                  <a:lnTo>
                    <a:pt x="131" y="628"/>
                  </a:lnTo>
                  <a:lnTo>
                    <a:pt x="140" y="625"/>
                  </a:lnTo>
                  <a:lnTo>
                    <a:pt x="147" y="625"/>
                  </a:lnTo>
                  <a:lnTo>
                    <a:pt x="149" y="624"/>
                  </a:lnTo>
                  <a:lnTo>
                    <a:pt x="146" y="622"/>
                  </a:lnTo>
                  <a:lnTo>
                    <a:pt x="136" y="614"/>
                  </a:lnTo>
                  <a:lnTo>
                    <a:pt x="135" y="610"/>
                  </a:lnTo>
                  <a:lnTo>
                    <a:pt x="133" y="607"/>
                  </a:lnTo>
                  <a:lnTo>
                    <a:pt x="129" y="607"/>
                  </a:lnTo>
                  <a:lnTo>
                    <a:pt x="127" y="605"/>
                  </a:lnTo>
                  <a:lnTo>
                    <a:pt x="124" y="601"/>
                  </a:lnTo>
                  <a:lnTo>
                    <a:pt x="122" y="599"/>
                  </a:lnTo>
                  <a:lnTo>
                    <a:pt x="123" y="594"/>
                  </a:lnTo>
                  <a:lnTo>
                    <a:pt x="129" y="590"/>
                  </a:lnTo>
                  <a:lnTo>
                    <a:pt x="130" y="587"/>
                  </a:lnTo>
                  <a:lnTo>
                    <a:pt x="133" y="583"/>
                  </a:lnTo>
                  <a:lnTo>
                    <a:pt x="139" y="582"/>
                  </a:lnTo>
                  <a:lnTo>
                    <a:pt x="145" y="578"/>
                  </a:lnTo>
                  <a:lnTo>
                    <a:pt x="152" y="572"/>
                  </a:lnTo>
                  <a:lnTo>
                    <a:pt x="157" y="568"/>
                  </a:lnTo>
                  <a:lnTo>
                    <a:pt x="159" y="566"/>
                  </a:lnTo>
                  <a:lnTo>
                    <a:pt x="159" y="564"/>
                  </a:lnTo>
                  <a:lnTo>
                    <a:pt x="160" y="562"/>
                  </a:lnTo>
                  <a:lnTo>
                    <a:pt x="163" y="562"/>
                  </a:lnTo>
                  <a:lnTo>
                    <a:pt x="173" y="568"/>
                  </a:lnTo>
                  <a:lnTo>
                    <a:pt x="183" y="564"/>
                  </a:lnTo>
                  <a:lnTo>
                    <a:pt x="188" y="563"/>
                  </a:lnTo>
                  <a:lnTo>
                    <a:pt x="192" y="560"/>
                  </a:lnTo>
                  <a:lnTo>
                    <a:pt x="196" y="554"/>
                  </a:lnTo>
                  <a:lnTo>
                    <a:pt x="201" y="552"/>
                  </a:lnTo>
                  <a:lnTo>
                    <a:pt x="202" y="551"/>
                  </a:lnTo>
                  <a:lnTo>
                    <a:pt x="204" y="547"/>
                  </a:lnTo>
                  <a:lnTo>
                    <a:pt x="205" y="547"/>
                  </a:lnTo>
                  <a:lnTo>
                    <a:pt x="206" y="551"/>
                  </a:lnTo>
                  <a:lnTo>
                    <a:pt x="211" y="558"/>
                  </a:lnTo>
                  <a:lnTo>
                    <a:pt x="216" y="558"/>
                  </a:lnTo>
                  <a:lnTo>
                    <a:pt x="218" y="557"/>
                  </a:lnTo>
                  <a:lnTo>
                    <a:pt x="220" y="554"/>
                  </a:lnTo>
                  <a:lnTo>
                    <a:pt x="224" y="549"/>
                  </a:lnTo>
                  <a:lnTo>
                    <a:pt x="226" y="547"/>
                  </a:lnTo>
                  <a:lnTo>
                    <a:pt x="226" y="542"/>
                  </a:lnTo>
                  <a:lnTo>
                    <a:pt x="226" y="540"/>
                  </a:lnTo>
                  <a:lnTo>
                    <a:pt x="223" y="537"/>
                  </a:lnTo>
                  <a:lnTo>
                    <a:pt x="219" y="539"/>
                  </a:lnTo>
                  <a:lnTo>
                    <a:pt x="216" y="543"/>
                  </a:lnTo>
                  <a:lnTo>
                    <a:pt x="214" y="543"/>
                  </a:lnTo>
                  <a:lnTo>
                    <a:pt x="212" y="541"/>
                  </a:lnTo>
                  <a:lnTo>
                    <a:pt x="210" y="537"/>
                  </a:lnTo>
                  <a:lnTo>
                    <a:pt x="208" y="535"/>
                  </a:lnTo>
                  <a:lnTo>
                    <a:pt x="206" y="534"/>
                  </a:lnTo>
                  <a:lnTo>
                    <a:pt x="201" y="535"/>
                  </a:lnTo>
                  <a:lnTo>
                    <a:pt x="199" y="539"/>
                  </a:lnTo>
                  <a:lnTo>
                    <a:pt x="199" y="542"/>
                  </a:lnTo>
                  <a:lnTo>
                    <a:pt x="196" y="543"/>
                  </a:lnTo>
                  <a:lnTo>
                    <a:pt x="193" y="541"/>
                  </a:lnTo>
                  <a:lnTo>
                    <a:pt x="185" y="537"/>
                  </a:lnTo>
                  <a:lnTo>
                    <a:pt x="179" y="535"/>
                  </a:lnTo>
                  <a:lnTo>
                    <a:pt x="173" y="533"/>
                  </a:lnTo>
                  <a:lnTo>
                    <a:pt x="171" y="534"/>
                  </a:lnTo>
                  <a:lnTo>
                    <a:pt x="171" y="536"/>
                  </a:lnTo>
                  <a:lnTo>
                    <a:pt x="173" y="539"/>
                  </a:lnTo>
                  <a:lnTo>
                    <a:pt x="179" y="545"/>
                  </a:lnTo>
                  <a:lnTo>
                    <a:pt x="179" y="546"/>
                  </a:lnTo>
                  <a:lnTo>
                    <a:pt x="176" y="546"/>
                  </a:lnTo>
                  <a:lnTo>
                    <a:pt x="166" y="543"/>
                  </a:lnTo>
                  <a:lnTo>
                    <a:pt x="161" y="543"/>
                  </a:lnTo>
                  <a:lnTo>
                    <a:pt x="157" y="551"/>
                  </a:lnTo>
                  <a:lnTo>
                    <a:pt x="154" y="552"/>
                  </a:lnTo>
                  <a:lnTo>
                    <a:pt x="151" y="551"/>
                  </a:lnTo>
                  <a:lnTo>
                    <a:pt x="146" y="549"/>
                  </a:lnTo>
                  <a:lnTo>
                    <a:pt x="145" y="543"/>
                  </a:lnTo>
                  <a:lnTo>
                    <a:pt x="147" y="537"/>
                  </a:lnTo>
                  <a:lnTo>
                    <a:pt x="143" y="536"/>
                  </a:lnTo>
                  <a:lnTo>
                    <a:pt x="130" y="536"/>
                  </a:lnTo>
                  <a:lnTo>
                    <a:pt x="130" y="539"/>
                  </a:lnTo>
                  <a:lnTo>
                    <a:pt x="129" y="541"/>
                  </a:lnTo>
                  <a:lnTo>
                    <a:pt x="124" y="543"/>
                  </a:lnTo>
                  <a:lnTo>
                    <a:pt x="119" y="543"/>
                  </a:lnTo>
                  <a:lnTo>
                    <a:pt x="118" y="540"/>
                  </a:lnTo>
                  <a:lnTo>
                    <a:pt x="116" y="540"/>
                  </a:lnTo>
                  <a:lnTo>
                    <a:pt x="107" y="545"/>
                  </a:lnTo>
                  <a:lnTo>
                    <a:pt x="104" y="547"/>
                  </a:lnTo>
                  <a:lnTo>
                    <a:pt x="101" y="548"/>
                  </a:lnTo>
                  <a:lnTo>
                    <a:pt x="98" y="545"/>
                  </a:lnTo>
                  <a:lnTo>
                    <a:pt x="90" y="540"/>
                  </a:lnTo>
                  <a:lnTo>
                    <a:pt x="88" y="537"/>
                  </a:lnTo>
                  <a:lnTo>
                    <a:pt x="88" y="535"/>
                  </a:lnTo>
                  <a:lnTo>
                    <a:pt x="90" y="531"/>
                  </a:lnTo>
                  <a:lnTo>
                    <a:pt x="88" y="529"/>
                  </a:lnTo>
                  <a:lnTo>
                    <a:pt x="82" y="527"/>
                  </a:lnTo>
                  <a:lnTo>
                    <a:pt x="78" y="523"/>
                  </a:lnTo>
                  <a:lnTo>
                    <a:pt x="76" y="515"/>
                  </a:lnTo>
                  <a:lnTo>
                    <a:pt x="78" y="512"/>
                  </a:lnTo>
                  <a:lnTo>
                    <a:pt x="83" y="512"/>
                  </a:lnTo>
                  <a:lnTo>
                    <a:pt x="90" y="513"/>
                  </a:lnTo>
                  <a:lnTo>
                    <a:pt x="95" y="517"/>
                  </a:lnTo>
                  <a:lnTo>
                    <a:pt x="101" y="522"/>
                  </a:lnTo>
                  <a:lnTo>
                    <a:pt x="102" y="521"/>
                  </a:lnTo>
                  <a:lnTo>
                    <a:pt x="101" y="516"/>
                  </a:lnTo>
                  <a:lnTo>
                    <a:pt x="100" y="515"/>
                  </a:lnTo>
                  <a:lnTo>
                    <a:pt x="102" y="512"/>
                  </a:lnTo>
                  <a:lnTo>
                    <a:pt x="106" y="507"/>
                  </a:lnTo>
                  <a:lnTo>
                    <a:pt x="110" y="501"/>
                  </a:lnTo>
                  <a:lnTo>
                    <a:pt x="116" y="498"/>
                  </a:lnTo>
                  <a:lnTo>
                    <a:pt x="122" y="493"/>
                  </a:lnTo>
                  <a:lnTo>
                    <a:pt x="123" y="488"/>
                  </a:lnTo>
                  <a:lnTo>
                    <a:pt x="124" y="486"/>
                  </a:lnTo>
                  <a:lnTo>
                    <a:pt x="123" y="485"/>
                  </a:lnTo>
                  <a:lnTo>
                    <a:pt x="112" y="480"/>
                  </a:lnTo>
                  <a:lnTo>
                    <a:pt x="108" y="476"/>
                  </a:lnTo>
                  <a:lnTo>
                    <a:pt x="107" y="468"/>
                  </a:lnTo>
                  <a:lnTo>
                    <a:pt x="107" y="452"/>
                  </a:lnTo>
                  <a:lnTo>
                    <a:pt x="108" y="447"/>
                  </a:lnTo>
                  <a:lnTo>
                    <a:pt x="110" y="442"/>
                  </a:lnTo>
                  <a:lnTo>
                    <a:pt x="104" y="440"/>
                  </a:lnTo>
                  <a:lnTo>
                    <a:pt x="100" y="438"/>
                  </a:lnTo>
                  <a:lnTo>
                    <a:pt x="96" y="433"/>
                  </a:lnTo>
                  <a:lnTo>
                    <a:pt x="94" y="424"/>
                  </a:lnTo>
                  <a:lnTo>
                    <a:pt x="98" y="418"/>
                  </a:lnTo>
                  <a:lnTo>
                    <a:pt x="104" y="412"/>
                  </a:lnTo>
                  <a:lnTo>
                    <a:pt x="106" y="406"/>
                  </a:lnTo>
                  <a:lnTo>
                    <a:pt x="104" y="402"/>
                  </a:lnTo>
                  <a:lnTo>
                    <a:pt x="104" y="396"/>
                  </a:lnTo>
                  <a:lnTo>
                    <a:pt x="108" y="390"/>
                  </a:lnTo>
                  <a:lnTo>
                    <a:pt x="112" y="385"/>
                  </a:lnTo>
                  <a:lnTo>
                    <a:pt x="111" y="378"/>
                  </a:lnTo>
                  <a:lnTo>
                    <a:pt x="111" y="376"/>
                  </a:lnTo>
                  <a:lnTo>
                    <a:pt x="113" y="375"/>
                  </a:lnTo>
                  <a:lnTo>
                    <a:pt x="119" y="378"/>
                  </a:lnTo>
                  <a:lnTo>
                    <a:pt x="125" y="380"/>
                  </a:lnTo>
                  <a:lnTo>
                    <a:pt x="133" y="378"/>
                  </a:lnTo>
                  <a:lnTo>
                    <a:pt x="135" y="378"/>
                  </a:lnTo>
                  <a:lnTo>
                    <a:pt x="137" y="379"/>
                  </a:lnTo>
                  <a:lnTo>
                    <a:pt x="141" y="382"/>
                  </a:lnTo>
                  <a:lnTo>
                    <a:pt x="146" y="385"/>
                  </a:lnTo>
                  <a:lnTo>
                    <a:pt x="151" y="382"/>
                  </a:lnTo>
                  <a:lnTo>
                    <a:pt x="152" y="382"/>
                  </a:lnTo>
                  <a:lnTo>
                    <a:pt x="153" y="385"/>
                  </a:lnTo>
                  <a:lnTo>
                    <a:pt x="154" y="393"/>
                  </a:lnTo>
                  <a:lnTo>
                    <a:pt x="155" y="396"/>
                  </a:lnTo>
                  <a:lnTo>
                    <a:pt x="159" y="398"/>
                  </a:lnTo>
                  <a:lnTo>
                    <a:pt x="164" y="399"/>
                  </a:lnTo>
                  <a:lnTo>
                    <a:pt x="166" y="396"/>
                  </a:lnTo>
                  <a:lnTo>
                    <a:pt x="169" y="391"/>
                  </a:lnTo>
                  <a:lnTo>
                    <a:pt x="167" y="387"/>
                  </a:lnTo>
                  <a:lnTo>
                    <a:pt x="163" y="384"/>
                  </a:lnTo>
                  <a:lnTo>
                    <a:pt x="152" y="379"/>
                  </a:lnTo>
                  <a:lnTo>
                    <a:pt x="148" y="378"/>
                  </a:lnTo>
                  <a:lnTo>
                    <a:pt x="148" y="374"/>
                  </a:lnTo>
                  <a:lnTo>
                    <a:pt x="151" y="366"/>
                  </a:lnTo>
                  <a:lnTo>
                    <a:pt x="153" y="361"/>
                  </a:lnTo>
                  <a:lnTo>
                    <a:pt x="152" y="356"/>
                  </a:lnTo>
                  <a:lnTo>
                    <a:pt x="155" y="355"/>
                  </a:lnTo>
                  <a:lnTo>
                    <a:pt x="161" y="356"/>
                  </a:lnTo>
                  <a:lnTo>
                    <a:pt x="169" y="357"/>
                  </a:lnTo>
                  <a:lnTo>
                    <a:pt x="176" y="363"/>
                  </a:lnTo>
                  <a:lnTo>
                    <a:pt x="181" y="367"/>
                  </a:lnTo>
                  <a:lnTo>
                    <a:pt x="185" y="366"/>
                  </a:lnTo>
                  <a:lnTo>
                    <a:pt x="185" y="364"/>
                  </a:lnTo>
                  <a:lnTo>
                    <a:pt x="183" y="362"/>
                  </a:lnTo>
                  <a:lnTo>
                    <a:pt x="173" y="351"/>
                  </a:lnTo>
                  <a:lnTo>
                    <a:pt x="166" y="349"/>
                  </a:lnTo>
                  <a:lnTo>
                    <a:pt x="166" y="344"/>
                  </a:lnTo>
                  <a:lnTo>
                    <a:pt x="171" y="332"/>
                  </a:lnTo>
                  <a:lnTo>
                    <a:pt x="175" y="331"/>
                  </a:lnTo>
                  <a:lnTo>
                    <a:pt x="179" y="331"/>
                  </a:lnTo>
                  <a:lnTo>
                    <a:pt x="183" y="328"/>
                  </a:lnTo>
                  <a:lnTo>
                    <a:pt x="188" y="331"/>
                  </a:lnTo>
                  <a:lnTo>
                    <a:pt x="193" y="331"/>
                  </a:lnTo>
                  <a:lnTo>
                    <a:pt x="195" y="332"/>
                  </a:lnTo>
                  <a:lnTo>
                    <a:pt x="196" y="337"/>
                  </a:lnTo>
                  <a:lnTo>
                    <a:pt x="196" y="345"/>
                  </a:lnTo>
                  <a:lnTo>
                    <a:pt x="198" y="348"/>
                  </a:lnTo>
                  <a:lnTo>
                    <a:pt x="200" y="345"/>
                  </a:lnTo>
                  <a:lnTo>
                    <a:pt x="206" y="343"/>
                  </a:lnTo>
                  <a:lnTo>
                    <a:pt x="208" y="339"/>
                  </a:lnTo>
                  <a:lnTo>
                    <a:pt x="211" y="335"/>
                  </a:lnTo>
                  <a:lnTo>
                    <a:pt x="210" y="333"/>
                  </a:lnTo>
                  <a:lnTo>
                    <a:pt x="207" y="332"/>
                  </a:lnTo>
                  <a:lnTo>
                    <a:pt x="206" y="332"/>
                  </a:lnTo>
                  <a:lnTo>
                    <a:pt x="205" y="331"/>
                  </a:lnTo>
                  <a:lnTo>
                    <a:pt x="204" y="327"/>
                  </a:lnTo>
                  <a:lnTo>
                    <a:pt x="204" y="317"/>
                  </a:lnTo>
                  <a:lnTo>
                    <a:pt x="202" y="315"/>
                  </a:lnTo>
                  <a:lnTo>
                    <a:pt x="200" y="314"/>
                  </a:lnTo>
                  <a:lnTo>
                    <a:pt x="189" y="314"/>
                  </a:lnTo>
                  <a:lnTo>
                    <a:pt x="182" y="309"/>
                  </a:lnTo>
                  <a:lnTo>
                    <a:pt x="178" y="305"/>
                  </a:lnTo>
                  <a:lnTo>
                    <a:pt x="178" y="304"/>
                  </a:lnTo>
                  <a:lnTo>
                    <a:pt x="182" y="297"/>
                  </a:lnTo>
                  <a:lnTo>
                    <a:pt x="188" y="291"/>
                  </a:lnTo>
                  <a:lnTo>
                    <a:pt x="193" y="289"/>
                  </a:lnTo>
                  <a:lnTo>
                    <a:pt x="195" y="286"/>
                  </a:lnTo>
                  <a:lnTo>
                    <a:pt x="200" y="287"/>
                  </a:lnTo>
                  <a:lnTo>
                    <a:pt x="210" y="291"/>
                  </a:lnTo>
                  <a:lnTo>
                    <a:pt x="218" y="291"/>
                  </a:lnTo>
                  <a:lnTo>
                    <a:pt x="225" y="291"/>
                  </a:lnTo>
                  <a:lnTo>
                    <a:pt x="232" y="290"/>
                  </a:lnTo>
                  <a:lnTo>
                    <a:pt x="240" y="291"/>
                  </a:lnTo>
                  <a:lnTo>
                    <a:pt x="243" y="291"/>
                  </a:lnTo>
                  <a:lnTo>
                    <a:pt x="247" y="291"/>
                  </a:lnTo>
                  <a:lnTo>
                    <a:pt x="249" y="289"/>
                  </a:lnTo>
                  <a:lnTo>
                    <a:pt x="252" y="284"/>
                  </a:lnTo>
                  <a:lnTo>
                    <a:pt x="253" y="280"/>
                  </a:lnTo>
                  <a:lnTo>
                    <a:pt x="257" y="277"/>
                  </a:lnTo>
                  <a:lnTo>
                    <a:pt x="263" y="272"/>
                  </a:lnTo>
                  <a:lnTo>
                    <a:pt x="264" y="269"/>
                  </a:lnTo>
                  <a:lnTo>
                    <a:pt x="263" y="268"/>
                  </a:lnTo>
                  <a:lnTo>
                    <a:pt x="258" y="268"/>
                  </a:lnTo>
                  <a:lnTo>
                    <a:pt x="254" y="268"/>
                  </a:lnTo>
                  <a:lnTo>
                    <a:pt x="248" y="272"/>
                  </a:lnTo>
                  <a:lnTo>
                    <a:pt x="246" y="266"/>
                  </a:lnTo>
                  <a:lnTo>
                    <a:pt x="242" y="263"/>
                  </a:lnTo>
                  <a:lnTo>
                    <a:pt x="237" y="262"/>
                  </a:lnTo>
                  <a:lnTo>
                    <a:pt x="238" y="261"/>
                  </a:lnTo>
                  <a:lnTo>
                    <a:pt x="236" y="257"/>
                  </a:lnTo>
                  <a:lnTo>
                    <a:pt x="226" y="251"/>
                  </a:lnTo>
                  <a:lnTo>
                    <a:pt x="223" y="248"/>
                  </a:lnTo>
                  <a:lnTo>
                    <a:pt x="230" y="247"/>
                  </a:lnTo>
                  <a:lnTo>
                    <a:pt x="236" y="248"/>
                  </a:lnTo>
                  <a:lnTo>
                    <a:pt x="237" y="250"/>
                  </a:lnTo>
                  <a:lnTo>
                    <a:pt x="242" y="250"/>
                  </a:lnTo>
                  <a:lnTo>
                    <a:pt x="246" y="250"/>
                  </a:lnTo>
                  <a:lnTo>
                    <a:pt x="247" y="249"/>
                  </a:lnTo>
                  <a:lnTo>
                    <a:pt x="248" y="248"/>
                  </a:lnTo>
                  <a:lnTo>
                    <a:pt x="251" y="244"/>
                  </a:lnTo>
                  <a:lnTo>
                    <a:pt x="254" y="236"/>
                  </a:lnTo>
                  <a:lnTo>
                    <a:pt x="255" y="239"/>
                  </a:lnTo>
                  <a:lnTo>
                    <a:pt x="259" y="239"/>
                  </a:lnTo>
                  <a:lnTo>
                    <a:pt x="260" y="242"/>
                  </a:lnTo>
                  <a:lnTo>
                    <a:pt x="263" y="248"/>
                  </a:lnTo>
                  <a:lnTo>
                    <a:pt x="267" y="251"/>
                  </a:lnTo>
                  <a:lnTo>
                    <a:pt x="269" y="253"/>
                  </a:lnTo>
                  <a:lnTo>
                    <a:pt x="271" y="249"/>
                  </a:lnTo>
                  <a:lnTo>
                    <a:pt x="279" y="238"/>
                  </a:lnTo>
                  <a:lnTo>
                    <a:pt x="284" y="235"/>
                  </a:lnTo>
                  <a:lnTo>
                    <a:pt x="284" y="231"/>
                  </a:lnTo>
                  <a:lnTo>
                    <a:pt x="277" y="227"/>
                  </a:lnTo>
                  <a:lnTo>
                    <a:pt x="273" y="225"/>
                  </a:lnTo>
                  <a:lnTo>
                    <a:pt x="265" y="225"/>
                  </a:lnTo>
                  <a:lnTo>
                    <a:pt x="255" y="227"/>
                  </a:lnTo>
                  <a:lnTo>
                    <a:pt x="251" y="227"/>
                  </a:lnTo>
                  <a:lnTo>
                    <a:pt x="248" y="226"/>
                  </a:lnTo>
                  <a:lnTo>
                    <a:pt x="244" y="225"/>
                  </a:lnTo>
                  <a:lnTo>
                    <a:pt x="241" y="225"/>
                  </a:lnTo>
                  <a:lnTo>
                    <a:pt x="235" y="222"/>
                  </a:lnTo>
                  <a:lnTo>
                    <a:pt x="217" y="218"/>
                  </a:lnTo>
                  <a:lnTo>
                    <a:pt x="214" y="215"/>
                  </a:lnTo>
                  <a:lnTo>
                    <a:pt x="206" y="215"/>
                  </a:lnTo>
                  <a:lnTo>
                    <a:pt x="194" y="221"/>
                  </a:lnTo>
                  <a:lnTo>
                    <a:pt x="185" y="226"/>
                  </a:lnTo>
                  <a:lnTo>
                    <a:pt x="173" y="228"/>
                  </a:lnTo>
                  <a:lnTo>
                    <a:pt x="165" y="231"/>
                  </a:lnTo>
                  <a:lnTo>
                    <a:pt x="147" y="232"/>
                  </a:lnTo>
                  <a:lnTo>
                    <a:pt x="143" y="235"/>
                  </a:lnTo>
                  <a:lnTo>
                    <a:pt x="140" y="238"/>
                  </a:lnTo>
                  <a:lnTo>
                    <a:pt x="134" y="238"/>
                  </a:lnTo>
                  <a:lnTo>
                    <a:pt x="130" y="236"/>
                  </a:lnTo>
                  <a:lnTo>
                    <a:pt x="125" y="236"/>
                  </a:lnTo>
                  <a:lnTo>
                    <a:pt x="118" y="233"/>
                  </a:lnTo>
                  <a:lnTo>
                    <a:pt x="111" y="230"/>
                  </a:lnTo>
                  <a:lnTo>
                    <a:pt x="108" y="225"/>
                  </a:lnTo>
                  <a:lnTo>
                    <a:pt x="111" y="219"/>
                  </a:lnTo>
                  <a:lnTo>
                    <a:pt x="116" y="215"/>
                  </a:lnTo>
                  <a:lnTo>
                    <a:pt x="119" y="214"/>
                  </a:lnTo>
                  <a:lnTo>
                    <a:pt x="120" y="209"/>
                  </a:lnTo>
                  <a:lnTo>
                    <a:pt x="118" y="203"/>
                  </a:lnTo>
                  <a:lnTo>
                    <a:pt x="123" y="203"/>
                  </a:lnTo>
                  <a:lnTo>
                    <a:pt x="133" y="203"/>
                  </a:lnTo>
                  <a:lnTo>
                    <a:pt x="137" y="201"/>
                  </a:lnTo>
                  <a:lnTo>
                    <a:pt x="142" y="202"/>
                  </a:lnTo>
                  <a:lnTo>
                    <a:pt x="147" y="200"/>
                  </a:lnTo>
                  <a:lnTo>
                    <a:pt x="147" y="195"/>
                  </a:lnTo>
                  <a:lnTo>
                    <a:pt x="151" y="192"/>
                  </a:lnTo>
                  <a:lnTo>
                    <a:pt x="154" y="188"/>
                  </a:lnTo>
                  <a:lnTo>
                    <a:pt x="157" y="185"/>
                  </a:lnTo>
                  <a:lnTo>
                    <a:pt x="165" y="183"/>
                  </a:lnTo>
                  <a:lnTo>
                    <a:pt x="167" y="182"/>
                  </a:lnTo>
                  <a:lnTo>
                    <a:pt x="169" y="179"/>
                  </a:lnTo>
                  <a:lnTo>
                    <a:pt x="163" y="173"/>
                  </a:lnTo>
                  <a:lnTo>
                    <a:pt x="155" y="170"/>
                  </a:lnTo>
                  <a:lnTo>
                    <a:pt x="155" y="173"/>
                  </a:lnTo>
                  <a:lnTo>
                    <a:pt x="154" y="174"/>
                  </a:lnTo>
                  <a:lnTo>
                    <a:pt x="149" y="173"/>
                  </a:lnTo>
                  <a:lnTo>
                    <a:pt x="139" y="172"/>
                  </a:lnTo>
                  <a:lnTo>
                    <a:pt x="136" y="172"/>
                  </a:lnTo>
                  <a:lnTo>
                    <a:pt x="136" y="168"/>
                  </a:lnTo>
                  <a:lnTo>
                    <a:pt x="139" y="162"/>
                  </a:lnTo>
                  <a:lnTo>
                    <a:pt x="142" y="159"/>
                  </a:lnTo>
                  <a:lnTo>
                    <a:pt x="143" y="155"/>
                  </a:lnTo>
                  <a:lnTo>
                    <a:pt x="143" y="150"/>
                  </a:lnTo>
                  <a:lnTo>
                    <a:pt x="142" y="144"/>
                  </a:lnTo>
                  <a:lnTo>
                    <a:pt x="145" y="141"/>
                  </a:lnTo>
                  <a:lnTo>
                    <a:pt x="145" y="137"/>
                  </a:lnTo>
                  <a:lnTo>
                    <a:pt x="149" y="137"/>
                  </a:lnTo>
                  <a:lnTo>
                    <a:pt x="157" y="140"/>
                  </a:lnTo>
                  <a:lnTo>
                    <a:pt x="164" y="138"/>
                  </a:lnTo>
                  <a:lnTo>
                    <a:pt x="171" y="137"/>
                  </a:lnTo>
                  <a:lnTo>
                    <a:pt x="173" y="134"/>
                  </a:lnTo>
                  <a:lnTo>
                    <a:pt x="176" y="128"/>
                  </a:lnTo>
                  <a:lnTo>
                    <a:pt x="181" y="126"/>
                  </a:lnTo>
                  <a:lnTo>
                    <a:pt x="185" y="130"/>
                  </a:lnTo>
                  <a:lnTo>
                    <a:pt x="190" y="130"/>
                  </a:lnTo>
                  <a:lnTo>
                    <a:pt x="198" y="129"/>
                  </a:lnTo>
                  <a:lnTo>
                    <a:pt x="202" y="126"/>
                  </a:lnTo>
                  <a:lnTo>
                    <a:pt x="204" y="125"/>
                  </a:lnTo>
                  <a:lnTo>
                    <a:pt x="205" y="123"/>
                  </a:lnTo>
                  <a:lnTo>
                    <a:pt x="200" y="123"/>
                  </a:lnTo>
                  <a:lnTo>
                    <a:pt x="192" y="125"/>
                  </a:lnTo>
                  <a:lnTo>
                    <a:pt x="189" y="121"/>
                  </a:lnTo>
                  <a:lnTo>
                    <a:pt x="188" y="113"/>
                  </a:lnTo>
                  <a:lnTo>
                    <a:pt x="184" y="112"/>
                  </a:lnTo>
                  <a:lnTo>
                    <a:pt x="183" y="111"/>
                  </a:lnTo>
                  <a:lnTo>
                    <a:pt x="185" y="108"/>
                  </a:lnTo>
                  <a:lnTo>
                    <a:pt x="190" y="103"/>
                  </a:lnTo>
                  <a:lnTo>
                    <a:pt x="192" y="100"/>
                  </a:lnTo>
                  <a:lnTo>
                    <a:pt x="195" y="96"/>
                  </a:lnTo>
                  <a:lnTo>
                    <a:pt x="202" y="97"/>
                  </a:lnTo>
                  <a:lnTo>
                    <a:pt x="211" y="99"/>
                  </a:lnTo>
                  <a:lnTo>
                    <a:pt x="213" y="99"/>
                  </a:lnTo>
                  <a:lnTo>
                    <a:pt x="214" y="101"/>
                  </a:lnTo>
                  <a:lnTo>
                    <a:pt x="214" y="106"/>
                  </a:lnTo>
                  <a:lnTo>
                    <a:pt x="219" y="107"/>
                  </a:lnTo>
                  <a:lnTo>
                    <a:pt x="224" y="107"/>
                  </a:lnTo>
                  <a:lnTo>
                    <a:pt x="225" y="107"/>
                  </a:lnTo>
                  <a:lnTo>
                    <a:pt x="226" y="111"/>
                  </a:lnTo>
                  <a:lnTo>
                    <a:pt x="229" y="108"/>
                  </a:lnTo>
                  <a:lnTo>
                    <a:pt x="232" y="97"/>
                  </a:lnTo>
                  <a:lnTo>
                    <a:pt x="241" y="89"/>
                  </a:lnTo>
                  <a:lnTo>
                    <a:pt x="246" y="85"/>
                  </a:lnTo>
                  <a:lnTo>
                    <a:pt x="249" y="85"/>
                  </a:lnTo>
                  <a:lnTo>
                    <a:pt x="253" y="87"/>
                  </a:lnTo>
                  <a:lnTo>
                    <a:pt x="257" y="84"/>
                  </a:lnTo>
                  <a:lnTo>
                    <a:pt x="263" y="79"/>
                  </a:lnTo>
                  <a:lnTo>
                    <a:pt x="264" y="79"/>
                  </a:lnTo>
                  <a:lnTo>
                    <a:pt x="267" y="78"/>
                  </a:lnTo>
                  <a:lnTo>
                    <a:pt x="275" y="72"/>
                  </a:lnTo>
                  <a:lnTo>
                    <a:pt x="279" y="71"/>
                  </a:lnTo>
                  <a:lnTo>
                    <a:pt x="281" y="70"/>
                  </a:lnTo>
                  <a:lnTo>
                    <a:pt x="279" y="67"/>
                  </a:lnTo>
                  <a:lnTo>
                    <a:pt x="277" y="65"/>
                  </a:lnTo>
                  <a:lnTo>
                    <a:pt x="273" y="60"/>
                  </a:lnTo>
                  <a:lnTo>
                    <a:pt x="272" y="60"/>
                  </a:lnTo>
                  <a:lnTo>
                    <a:pt x="272" y="57"/>
                  </a:lnTo>
                  <a:lnTo>
                    <a:pt x="275" y="49"/>
                  </a:lnTo>
                  <a:lnTo>
                    <a:pt x="278" y="45"/>
                  </a:lnTo>
                  <a:lnTo>
                    <a:pt x="281" y="45"/>
                  </a:lnTo>
                  <a:lnTo>
                    <a:pt x="281" y="42"/>
                  </a:lnTo>
                  <a:lnTo>
                    <a:pt x="276" y="40"/>
                  </a:lnTo>
                  <a:lnTo>
                    <a:pt x="276" y="35"/>
                  </a:lnTo>
                  <a:lnTo>
                    <a:pt x="281" y="30"/>
                  </a:lnTo>
                  <a:lnTo>
                    <a:pt x="283" y="28"/>
                  </a:lnTo>
                  <a:lnTo>
                    <a:pt x="288" y="29"/>
                  </a:lnTo>
                  <a:lnTo>
                    <a:pt x="295" y="27"/>
                  </a:lnTo>
                  <a:lnTo>
                    <a:pt x="297" y="24"/>
                  </a:lnTo>
                  <a:lnTo>
                    <a:pt x="294" y="21"/>
                  </a:lnTo>
                  <a:lnTo>
                    <a:pt x="293" y="19"/>
                  </a:lnTo>
                  <a:lnTo>
                    <a:pt x="296" y="18"/>
                  </a:lnTo>
                  <a:lnTo>
                    <a:pt x="305" y="18"/>
                  </a:lnTo>
                  <a:lnTo>
                    <a:pt x="312" y="19"/>
                  </a:lnTo>
                  <a:lnTo>
                    <a:pt x="317" y="18"/>
                  </a:lnTo>
                  <a:lnTo>
                    <a:pt x="322" y="19"/>
                  </a:lnTo>
                  <a:lnTo>
                    <a:pt x="324" y="19"/>
                  </a:lnTo>
                  <a:lnTo>
                    <a:pt x="328" y="17"/>
                  </a:lnTo>
                  <a:lnTo>
                    <a:pt x="331" y="12"/>
                  </a:lnTo>
                  <a:lnTo>
                    <a:pt x="334" y="10"/>
                  </a:lnTo>
                  <a:lnTo>
                    <a:pt x="335" y="7"/>
                  </a:lnTo>
                  <a:lnTo>
                    <a:pt x="335" y="6"/>
                  </a:lnTo>
                  <a:lnTo>
                    <a:pt x="338" y="6"/>
                  </a:lnTo>
                  <a:lnTo>
                    <a:pt x="346" y="6"/>
                  </a:lnTo>
                  <a:lnTo>
                    <a:pt x="352" y="10"/>
                  </a:lnTo>
                  <a:lnTo>
                    <a:pt x="355" y="14"/>
                  </a:lnTo>
                  <a:lnTo>
                    <a:pt x="359" y="14"/>
                  </a:lnTo>
                  <a:lnTo>
                    <a:pt x="361" y="14"/>
                  </a:lnTo>
                  <a:lnTo>
                    <a:pt x="365" y="12"/>
                  </a:lnTo>
                  <a:lnTo>
                    <a:pt x="375" y="4"/>
                  </a:lnTo>
                  <a:lnTo>
                    <a:pt x="388" y="0"/>
                  </a:lnTo>
                  <a:lnTo>
                    <a:pt x="390" y="0"/>
                  </a:lnTo>
                  <a:lnTo>
                    <a:pt x="393" y="2"/>
                  </a:lnTo>
                  <a:lnTo>
                    <a:pt x="401" y="8"/>
                  </a:lnTo>
                  <a:lnTo>
                    <a:pt x="406" y="14"/>
                  </a:lnTo>
                  <a:lnTo>
                    <a:pt x="409" y="16"/>
                  </a:lnTo>
                  <a:lnTo>
                    <a:pt x="414" y="11"/>
                  </a:lnTo>
                  <a:lnTo>
                    <a:pt x="419" y="13"/>
                  </a:lnTo>
                  <a:lnTo>
                    <a:pt x="423" y="19"/>
                  </a:lnTo>
                  <a:lnTo>
                    <a:pt x="425" y="21"/>
                  </a:lnTo>
                  <a:lnTo>
                    <a:pt x="429" y="22"/>
                  </a:lnTo>
                  <a:lnTo>
                    <a:pt x="428" y="24"/>
                  </a:lnTo>
                  <a:lnTo>
                    <a:pt x="430" y="23"/>
                  </a:lnTo>
                  <a:lnTo>
                    <a:pt x="435" y="18"/>
                  </a:lnTo>
                  <a:lnTo>
                    <a:pt x="438" y="16"/>
                  </a:lnTo>
                  <a:lnTo>
                    <a:pt x="440" y="11"/>
                  </a:lnTo>
                  <a:lnTo>
                    <a:pt x="442" y="10"/>
                  </a:lnTo>
                  <a:lnTo>
                    <a:pt x="447" y="12"/>
                  </a:lnTo>
                  <a:lnTo>
                    <a:pt x="454" y="19"/>
                  </a:lnTo>
                  <a:lnTo>
                    <a:pt x="458" y="22"/>
                  </a:lnTo>
                  <a:lnTo>
                    <a:pt x="460" y="24"/>
                  </a:lnTo>
                  <a:lnTo>
                    <a:pt x="461" y="28"/>
                  </a:lnTo>
                  <a:lnTo>
                    <a:pt x="462" y="35"/>
                  </a:lnTo>
                  <a:lnTo>
                    <a:pt x="465" y="45"/>
                  </a:lnTo>
                  <a:lnTo>
                    <a:pt x="461" y="51"/>
                  </a:lnTo>
                  <a:lnTo>
                    <a:pt x="458" y="54"/>
                  </a:lnTo>
                  <a:lnTo>
                    <a:pt x="456" y="58"/>
                  </a:lnTo>
                  <a:lnTo>
                    <a:pt x="456" y="61"/>
                  </a:lnTo>
                  <a:lnTo>
                    <a:pt x="458" y="66"/>
                  </a:lnTo>
                  <a:lnTo>
                    <a:pt x="462" y="71"/>
                  </a:lnTo>
                  <a:lnTo>
                    <a:pt x="466" y="70"/>
                  </a:lnTo>
                  <a:lnTo>
                    <a:pt x="468" y="67"/>
                  </a:lnTo>
                  <a:lnTo>
                    <a:pt x="472" y="65"/>
                  </a:lnTo>
                  <a:lnTo>
                    <a:pt x="473" y="69"/>
                  </a:lnTo>
                  <a:lnTo>
                    <a:pt x="473" y="75"/>
                  </a:lnTo>
                  <a:lnTo>
                    <a:pt x="470" y="79"/>
                  </a:lnTo>
                  <a:lnTo>
                    <a:pt x="466" y="83"/>
                  </a:lnTo>
                  <a:lnTo>
                    <a:pt x="465" y="85"/>
                  </a:lnTo>
                  <a:lnTo>
                    <a:pt x="466" y="87"/>
                  </a:lnTo>
                  <a:lnTo>
                    <a:pt x="470" y="87"/>
                  </a:lnTo>
                  <a:lnTo>
                    <a:pt x="472" y="88"/>
                  </a:lnTo>
                  <a:lnTo>
                    <a:pt x="476" y="90"/>
                  </a:lnTo>
                  <a:lnTo>
                    <a:pt x="479" y="93"/>
                  </a:lnTo>
                  <a:lnTo>
                    <a:pt x="483" y="94"/>
                  </a:lnTo>
                  <a:lnTo>
                    <a:pt x="488" y="90"/>
                  </a:lnTo>
                  <a:lnTo>
                    <a:pt x="495" y="88"/>
                  </a:lnTo>
                  <a:lnTo>
                    <a:pt x="496" y="85"/>
                  </a:lnTo>
                  <a:lnTo>
                    <a:pt x="497" y="83"/>
                  </a:lnTo>
                  <a:lnTo>
                    <a:pt x="499" y="82"/>
                  </a:lnTo>
                  <a:lnTo>
                    <a:pt x="495" y="81"/>
                  </a:lnTo>
                  <a:lnTo>
                    <a:pt x="489" y="76"/>
                  </a:lnTo>
                  <a:lnTo>
                    <a:pt x="487" y="72"/>
                  </a:lnTo>
                  <a:lnTo>
                    <a:pt x="488" y="67"/>
                  </a:lnTo>
                  <a:lnTo>
                    <a:pt x="490" y="66"/>
                  </a:lnTo>
                  <a:lnTo>
                    <a:pt x="499" y="69"/>
                  </a:lnTo>
                  <a:lnTo>
                    <a:pt x="503" y="72"/>
                  </a:lnTo>
                  <a:lnTo>
                    <a:pt x="503" y="76"/>
                  </a:lnTo>
                  <a:lnTo>
                    <a:pt x="505" y="79"/>
                  </a:lnTo>
                  <a:lnTo>
                    <a:pt x="507" y="79"/>
                  </a:lnTo>
                  <a:lnTo>
                    <a:pt x="509" y="76"/>
                  </a:lnTo>
                  <a:lnTo>
                    <a:pt x="512" y="75"/>
                  </a:lnTo>
                  <a:lnTo>
                    <a:pt x="518" y="72"/>
                  </a:lnTo>
                  <a:lnTo>
                    <a:pt x="525" y="69"/>
                  </a:lnTo>
                  <a:lnTo>
                    <a:pt x="529" y="69"/>
                  </a:lnTo>
                  <a:lnTo>
                    <a:pt x="532" y="71"/>
                  </a:lnTo>
                  <a:lnTo>
                    <a:pt x="533" y="76"/>
                  </a:lnTo>
                  <a:lnTo>
                    <a:pt x="535" y="82"/>
                  </a:lnTo>
                  <a:lnTo>
                    <a:pt x="536" y="85"/>
                  </a:lnTo>
                  <a:lnTo>
                    <a:pt x="538" y="87"/>
                  </a:lnTo>
                  <a:lnTo>
                    <a:pt x="541" y="83"/>
                  </a:lnTo>
                  <a:lnTo>
                    <a:pt x="547" y="81"/>
                  </a:lnTo>
                  <a:lnTo>
                    <a:pt x="555" y="82"/>
                  </a:lnTo>
                  <a:lnTo>
                    <a:pt x="555" y="85"/>
                  </a:lnTo>
                  <a:lnTo>
                    <a:pt x="555" y="90"/>
                  </a:lnTo>
                  <a:lnTo>
                    <a:pt x="558" y="91"/>
                  </a:lnTo>
                  <a:lnTo>
                    <a:pt x="560" y="94"/>
                  </a:lnTo>
                  <a:lnTo>
                    <a:pt x="558" y="97"/>
                  </a:lnTo>
                  <a:lnTo>
                    <a:pt x="559" y="100"/>
                  </a:lnTo>
                  <a:lnTo>
                    <a:pt x="558" y="102"/>
                  </a:lnTo>
                  <a:lnTo>
                    <a:pt x="554" y="102"/>
                  </a:lnTo>
                  <a:lnTo>
                    <a:pt x="554" y="106"/>
                  </a:lnTo>
                  <a:lnTo>
                    <a:pt x="554" y="113"/>
                  </a:lnTo>
                  <a:lnTo>
                    <a:pt x="553" y="115"/>
                  </a:lnTo>
                  <a:lnTo>
                    <a:pt x="544" y="115"/>
                  </a:lnTo>
                  <a:lnTo>
                    <a:pt x="542" y="114"/>
                  </a:lnTo>
                  <a:lnTo>
                    <a:pt x="539" y="115"/>
                  </a:lnTo>
                  <a:lnTo>
                    <a:pt x="537" y="118"/>
                  </a:lnTo>
                  <a:lnTo>
                    <a:pt x="535" y="120"/>
                  </a:lnTo>
                  <a:lnTo>
                    <a:pt x="536" y="125"/>
                  </a:lnTo>
                  <a:lnTo>
                    <a:pt x="536" y="124"/>
                  </a:lnTo>
                  <a:lnTo>
                    <a:pt x="539" y="121"/>
                  </a:lnTo>
                  <a:lnTo>
                    <a:pt x="548" y="121"/>
                  </a:lnTo>
                  <a:lnTo>
                    <a:pt x="554" y="121"/>
                  </a:lnTo>
                  <a:lnTo>
                    <a:pt x="555" y="124"/>
                  </a:lnTo>
                  <a:lnTo>
                    <a:pt x="556" y="128"/>
                  </a:lnTo>
                  <a:lnTo>
                    <a:pt x="559" y="126"/>
                  </a:lnTo>
                  <a:lnTo>
                    <a:pt x="561" y="120"/>
                  </a:lnTo>
                  <a:lnTo>
                    <a:pt x="562" y="117"/>
                  </a:lnTo>
                  <a:lnTo>
                    <a:pt x="567" y="115"/>
                  </a:lnTo>
                  <a:lnTo>
                    <a:pt x="572" y="114"/>
                  </a:lnTo>
                  <a:lnTo>
                    <a:pt x="576" y="115"/>
                  </a:lnTo>
                  <a:lnTo>
                    <a:pt x="582" y="119"/>
                  </a:lnTo>
                  <a:lnTo>
                    <a:pt x="588" y="121"/>
                  </a:lnTo>
                  <a:lnTo>
                    <a:pt x="598" y="121"/>
                  </a:lnTo>
                  <a:lnTo>
                    <a:pt x="602" y="121"/>
                  </a:lnTo>
                  <a:lnTo>
                    <a:pt x="603" y="124"/>
                  </a:lnTo>
                  <a:lnTo>
                    <a:pt x="603" y="126"/>
                  </a:lnTo>
                  <a:lnTo>
                    <a:pt x="603" y="129"/>
                  </a:lnTo>
                  <a:lnTo>
                    <a:pt x="606" y="130"/>
                  </a:lnTo>
                  <a:lnTo>
                    <a:pt x="609" y="130"/>
                  </a:lnTo>
                  <a:lnTo>
                    <a:pt x="612" y="129"/>
                  </a:lnTo>
                  <a:lnTo>
                    <a:pt x="614" y="120"/>
                  </a:lnTo>
                  <a:lnTo>
                    <a:pt x="618" y="115"/>
                  </a:lnTo>
                  <a:lnTo>
                    <a:pt x="621" y="113"/>
                  </a:lnTo>
                  <a:lnTo>
                    <a:pt x="626" y="113"/>
                  </a:lnTo>
                  <a:lnTo>
                    <a:pt x="633" y="113"/>
                  </a:lnTo>
                  <a:lnTo>
                    <a:pt x="638" y="109"/>
                  </a:lnTo>
                  <a:lnTo>
                    <a:pt x="641" y="107"/>
                  </a:lnTo>
                  <a:lnTo>
                    <a:pt x="647" y="109"/>
                  </a:lnTo>
                  <a:lnTo>
                    <a:pt x="653" y="109"/>
                  </a:lnTo>
                  <a:lnTo>
                    <a:pt x="656" y="109"/>
                  </a:lnTo>
                  <a:lnTo>
                    <a:pt x="660" y="113"/>
                  </a:lnTo>
                  <a:lnTo>
                    <a:pt x="663" y="113"/>
                  </a:lnTo>
                  <a:lnTo>
                    <a:pt x="667" y="111"/>
                  </a:lnTo>
                  <a:lnTo>
                    <a:pt x="671" y="111"/>
                  </a:lnTo>
                  <a:lnTo>
                    <a:pt x="674" y="114"/>
                  </a:lnTo>
                  <a:lnTo>
                    <a:pt x="680" y="114"/>
                  </a:lnTo>
                  <a:lnTo>
                    <a:pt x="690" y="108"/>
                  </a:lnTo>
                  <a:lnTo>
                    <a:pt x="696" y="105"/>
                  </a:lnTo>
                  <a:lnTo>
                    <a:pt x="702" y="103"/>
                  </a:lnTo>
                  <a:lnTo>
                    <a:pt x="708" y="103"/>
                  </a:lnTo>
                  <a:lnTo>
                    <a:pt x="709" y="107"/>
                  </a:lnTo>
                  <a:lnTo>
                    <a:pt x="707" y="112"/>
                  </a:lnTo>
                  <a:lnTo>
                    <a:pt x="707" y="114"/>
                  </a:lnTo>
                  <a:lnTo>
                    <a:pt x="709" y="117"/>
                  </a:lnTo>
                  <a:lnTo>
                    <a:pt x="715" y="119"/>
                  </a:lnTo>
                  <a:lnTo>
                    <a:pt x="718" y="120"/>
                  </a:lnTo>
                  <a:lnTo>
                    <a:pt x="716" y="124"/>
                  </a:lnTo>
                  <a:lnTo>
                    <a:pt x="716" y="125"/>
                  </a:lnTo>
                  <a:lnTo>
                    <a:pt x="720" y="126"/>
                  </a:lnTo>
                  <a:lnTo>
                    <a:pt x="721" y="124"/>
                  </a:lnTo>
                  <a:lnTo>
                    <a:pt x="724" y="121"/>
                  </a:lnTo>
                  <a:lnTo>
                    <a:pt x="727" y="121"/>
                  </a:lnTo>
                  <a:lnTo>
                    <a:pt x="731" y="129"/>
                  </a:lnTo>
                  <a:lnTo>
                    <a:pt x="733" y="132"/>
                  </a:lnTo>
                  <a:lnTo>
                    <a:pt x="736" y="136"/>
                  </a:lnTo>
                  <a:lnTo>
                    <a:pt x="737" y="140"/>
                  </a:lnTo>
                  <a:lnTo>
                    <a:pt x="741" y="141"/>
                  </a:lnTo>
                  <a:lnTo>
                    <a:pt x="743" y="138"/>
                  </a:lnTo>
                  <a:lnTo>
                    <a:pt x="747" y="137"/>
                  </a:lnTo>
                  <a:lnTo>
                    <a:pt x="754" y="141"/>
                  </a:lnTo>
                  <a:lnTo>
                    <a:pt x="760" y="143"/>
                  </a:lnTo>
                  <a:lnTo>
                    <a:pt x="762" y="137"/>
                  </a:lnTo>
                  <a:lnTo>
                    <a:pt x="765" y="136"/>
                  </a:lnTo>
                  <a:lnTo>
                    <a:pt x="767" y="138"/>
                  </a:lnTo>
                  <a:lnTo>
                    <a:pt x="773" y="143"/>
                  </a:lnTo>
                  <a:lnTo>
                    <a:pt x="777" y="146"/>
                  </a:lnTo>
                  <a:lnTo>
                    <a:pt x="784" y="147"/>
                  </a:lnTo>
                  <a:lnTo>
                    <a:pt x="791" y="148"/>
                  </a:lnTo>
                  <a:lnTo>
                    <a:pt x="797" y="147"/>
                  </a:lnTo>
                  <a:lnTo>
                    <a:pt x="798" y="143"/>
                  </a:lnTo>
                  <a:lnTo>
                    <a:pt x="803" y="143"/>
                  </a:lnTo>
                  <a:lnTo>
                    <a:pt x="810" y="148"/>
                  </a:lnTo>
                  <a:lnTo>
                    <a:pt x="816" y="148"/>
                  </a:lnTo>
                  <a:lnTo>
                    <a:pt x="821" y="147"/>
                  </a:lnTo>
                  <a:lnTo>
                    <a:pt x="826" y="147"/>
                  </a:lnTo>
                  <a:lnTo>
                    <a:pt x="837" y="148"/>
                  </a:lnTo>
                  <a:lnTo>
                    <a:pt x="845" y="149"/>
                  </a:lnTo>
                  <a:lnTo>
                    <a:pt x="850" y="148"/>
                  </a:lnTo>
                  <a:lnTo>
                    <a:pt x="854" y="144"/>
                  </a:lnTo>
                  <a:lnTo>
                    <a:pt x="855" y="144"/>
                  </a:lnTo>
                  <a:lnTo>
                    <a:pt x="855" y="148"/>
                  </a:lnTo>
                  <a:lnTo>
                    <a:pt x="853" y="160"/>
                  </a:lnTo>
                  <a:lnTo>
                    <a:pt x="851" y="165"/>
                  </a:lnTo>
                  <a:lnTo>
                    <a:pt x="854" y="166"/>
                  </a:lnTo>
                  <a:lnTo>
                    <a:pt x="857" y="166"/>
                  </a:lnTo>
                  <a:lnTo>
                    <a:pt x="860" y="168"/>
                  </a:lnTo>
                  <a:lnTo>
                    <a:pt x="865" y="170"/>
                  </a:lnTo>
                  <a:lnTo>
                    <a:pt x="869" y="170"/>
                  </a:lnTo>
                  <a:lnTo>
                    <a:pt x="871" y="170"/>
                  </a:lnTo>
                  <a:lnTo>
                    <a:pt x="871" y="167"/>
                  </a:lnTo>
                  <a:lnTo>
                    <a:pt x="867" y="164"/>
                  </a:lnTo>
                  <a:lnTo>
                    <a:pt x="867" y="162"/>
                  </a:lnTo>
                  <a:lnTo>
                    <a:pt x="871" y="160"/>
                  </a:lnTo>
                  <a:lnTo>
                    <a:pt x="880" y="158"/>
                  </a:lnTo>
                  <a:lnTo>
                    <a:pt x="883" y="156"/>
                  </a:lnTo>
                  <a:lnTo>
                    <a:pt x="885" y="159"/>
                  </a:lnTo>
                  <a:lnTo>
                    <a:pt x="890" y="165"/>
                  </a:lnTo>
                  <a:lnTo>
                    <a:pt x="891" y="162"/>
                  </a:lnTo>
                  <a:lnTo>
                    <a:pt x="891" y="165"/>
                  </a:lnTo>
                  <a:lnTo>
                    <a:pt x="892" y="177"/>
                  </a:lnTo>
                  <a:lnTo>
                    <a:pt x="889" y="183"/>
                  </a:lnTo>
                  <a:lnTo>
                    <a:pt x="890" y="185"/>
                  </a:lnTo>
                  <a:lnTo>
                    <a:pt x="886" y="185"/>
                  </a:lnTo>
                  <a:lnTo>
                    <a:pt x="880" y="185"/>
                  </a:lnTo>
                  <a:lnTo>
                    <a:pt x="879" y="189"/>
                  </a:lnTo>
                  <a:lnTo>
                    <a:pt x="879" y="191"/>
                  </a:lnTo>
                  <a:lnTo>
                    <a:pt x="875" y="191"/>
                  </a:lnTo>
                  <a:lnTo>
                    <a:pt x="866" y="189"/>
                  </a:lnTo>
                  <a:lnTo>
                    <a:pt x="867" y="192"/>
                  </a:lnTo>
                  <a:lnTo>
                    <a:pt x="867" y="197"/>
                  </a:lnTo>
                  <a:lnTo>
                    <a:pt x="862" y="197"/>
                  </a:lnTo>
                  <a:lnTo>
                    <a:pt x="859" y="194"/>
                  </a:lnTo>
                  <a:lnTo>
                    <a:pt x="856" y="194"/>
                  </a:lnTo>
                  <a:lnTo>
                    <a:pt x="851" y="195"/>
                  </a:lnTo>
                  <a:lnTo>
                    <a:pt x="844" y="197"/>
                  </a:lnTo>
                  <a:lnTo>
                    <a:pt x="843" y="197"/>
                  </a:lnTo>
                  <a:lnTo>
                    <a:pt x="843" y="200"/>
                  </a:lnTo>
                  <a:lnTo>
                    <a:pt x="844" y="202"/>
                  </a:lnTo>
                  <a:lnTo>
                    <a:pt x="849" y="201"/>
                  </a:lnTo>
                  <a:lnTo>
                    <a:pt x="855" y="197"/>
                  </a:lnTo>
                  <a:lnTo>
                    <a:pt x="857" y="197"/>
                  </a:lnTo>
                  <a:lnTo>
                    <a:pt x="860" y="198"/>
                  </a:lnTo>
                  <a:lnTo>
                    <a:pt x="868" y="202"/>
                  </a:lnTo>
                  <a:lnTo>
                    <a:pt x="871" y="206"/>
                  </a:lnTo>
                  <a:lnTo>
                    <a:pt x="877" y="207"/>
                  </a:lnTo>
                  <a:lnTo>
                    <a:pt x="879" y="212"/>
                  </a:lnTo>
                  <a:lnTo>
                    <a:pt x="880" y="216"/>
                  </a:lnTo>
                  <a:lnTo>
                    <a:pt x="883" y="219"/>
                  </a:lnTo>
                  <a:lnTo>
                    <a:pt x="889" y="220"/>
                  </a:lnTo>
                  <a:lnTo>
                    <a:pt x="895" y="222"/>
                  </a:lnTo>
                  <a:lnTo>
                    <a:pt x="897" y="226"/>
                  </a:lnTo>
                  <a:lnTo>
                    <a:pt x="902" y="231"/>
                  </a:lnTo>
                  <a:lnTo>
                    <a:pt x="908" y="231"/>
                  </a:lnTo>
                  <a:lnTo>
                    <a:pt x="908" y="236"/>
                  </a:lnTo>
                  <a:lnTo>
                    <a:pt x="901" y="248"/>
                  </a:lnTo>
                  <a:lnTo>
                    <a:pt x="895" y="250"/>
                  </a:lnTo>
                  <a:lnTo>
                    <a:pt x="891" y="250"/>
                  </a:lnTo>
                  <a:lnTo>
                    <a:pt x="890" y="248"/>
                  </a:lnTo>
                  <a:lnTo>
                    <a:pt x="887" y="247"/>
                  </a:lnTo>
                  <a:lnTo>
                    <a:pt x="883" y="247"/>
                  </a:lnTo>
                  <a:lnTo>
                    <a:pt x="880" y="249"/>
                  </a:lnTo>
                  <a:lnTo>
                    <a:pt x="878" y="249"/>
                  </a:lnTo>
                  <a:lnTo>
                    <a:pt x="869" y="248"/>
                  </a:lnTo>
                  <a:lnTo>
                    <a:pt x="873" y="250"/>
                  </a:lnTo>
                  <a:lnTo>
                    <a:pt x="878" y="253"/>
                  </a:lnTo>
                  <a:lnTo>
                    <a:pt x="883" y="256"/>
                  </a:lnTo>
                  <a:lnTo>
                    <a:pt x="884" y="262"/>
                  </a:lnTo>
                  <a:lnTo>
                    <a:pt x="884" y="267"/>
                  </a:lnTo>
                  <a:lnTo>
                    <a:pt x="884" y="271"/>
                  </a:lnTo>
                  <a:lnTo>
                    <a:pt x="881" y="271"/>
                  </a:lnTo>
                  <a:lnTo>
                    <a:pt x="872" y="267"/>
                  </a:lnTo>
                  <a:lnTo>
                    <a:pt x="867" y="265"/>
                  </a:lnTo>
                  <a:lnTo>
                    <a:pt x="862" y="265"/>
                  </a:lnTo>
                  <a:lnTo>
                    <a:pt x="857" y="262"/>
                  </a:lnTo>
                  <a:lnTo>
                    <a:pt x="855" y="261"/>
                  </a:lnTo>
                  <a:lnTo>
                    <a:pt x="855" y="265"/>
                  </a:lnTo>
                  <a:lnTo>
                    <a:pt x="853" y="265"/>
                  </a:lnTo>
                  <a:lnTo>
                    <a:pt x="849" y="261"/>
                  </a:lnTo>
                  <a:lnTo>
                    <a:pt x="843" y="253"/>
                  </a:lnTo>
                  <a:lnTo>
                    <a:pt x="839" y="250"/>
                  </a:lnTo>
                  <a:lnTo>
                    <a:pt x="837" y="248"/>
                  </a:lnTo>
                  <a:lnTo>
                    <a:pt x="833" y="248"/>
                  </a:lnTo>
                  <a:lnTo>
                    <a:pt x="832" y="250"/>
                  </a:lnTo>
                  <a:lnTo>
                    <a:pt x="830" y="251"/>
                  </a:lnTo>
                  <a:lnTo>
                    <a:pt x="822" y="251"/>
                  </a:lnTo>
                  <a:lnTo>
                    <a:pt x="818" y="251"/>
                  </a:lnTo>
                  <a:lnTo>
                    <a:pt x="819" y="257"/>
                  </a:lnTo>
                  <a:lnTo>
                    <a:pt x="822" y="263"/>
                  </a:lnTo>
                  <a:lnTo>
                    <a:pt x="830" y="265"/>
                  </a:lnTo>
                  <a:lnTo>
                    <a:pt x="838" y="271"/>
                  </a:lnTo>
                  <a:lnTo>
                    <a:pt x="838" y="272"/>
                  </a:lnTo>
                  <a:lnTo>
                    <a:pt x="839" y="274"/>
                  </a:lnTo>
                  <a:lnTo>
                    <a:pt x="847" y="281"/>
                  </a:lnTo>
                  <a:lnTo>
                    <a:pt x="848" y="284"/>
                  </a:lnTo>
                  <a:lnTo>
                    <a:pt x="847" y="285"/>
                  </a:lnTo>
                  <a:lnTo>
                    <a:pt x="842" y="286"/>
                  </a:lnTo>
                  <a:lnTo>
                    <a:pt x="830" y="284"/>
                  </a:lnTo>
                  <a:lnTo>
                    <a:pt x="827" y="284"/>
                  </a:lnTo>
                  <a:lnTo>
                    <a:pt x="826" y="284"/>
                  </a:lnTo>
                  <a:lnTo>
                    <a:pt x="824" y="284"/>
                  </a:lnTo>
                  <a:lnTo>
                    <a:pt x="822" y="280"/>
                  </a:lnTo>
                  <a:lnTo>
                    <a:pt x="822" y="273"/>
                  </a:lnTo>
                  <a:lnTo>
                    <a:pt x="815" y="268"/>
                  </a:lnTo>
                  <a:lnTo>
                    <a:pt x="802" y="263"/>
                  </a:lnTo>
                  <a:lnTo>
                    <a:pt x="800" y="263"/>
                  </a:lnTo>
                  <a:lnTo>
                    <a:pt x="802" y="266"/>
                  </a:lnTo>
                  <a:lnTo>
                    <a:pt x="807" y="272"/>
                  </a:lnTo>
                  <a:lnTo>
                    <a:pt x="808" y="277"/>
                  </a:lnTo>
                  <a:lnTo>
                    <a:pt x="809" y="283"/>
                  </a:lnTo>
                  <a:lnTo>
                    <a:pt x="812" y="281"/>
                  </a:lnTo>
                  <a:lnTo>
                    <a:pt x="815" y="285"/>
                  </a:lnTo>
                  <a:lnTo>
                    <a:pt x="824" y="291"/>
                  </a:lnTo>
                  <a:lnTo>
                    <a:pt x="830" y="293"/>
                  </a:lnTo>
                  <a:lnTo>
                    <a:pt x="832" y="293"/>
                  </a:lnTo>
                  <a:lnTo>
                    <a:pt x="837" y="298"/>
                  </a:lnTo>
                  <a:lnTo>
                    <a:pt x="844" y="304"/>
                  </a:lnTo>
                  <a:lnTo>
                    <a:pt x="847" y="308"/>
                  </a:lnTo>
                  <a:lnTo>
                    <a:pt x="848" y="313"/>
                  </a:lnTo>
                  <a:lnTo>
                    <a:pt x="851" y="317"/>
                  </a:lnTo>
                  <a:lnTo>
                    <a:pt x="854" y="323"/>
                  </a:lnTo>
                  <a:lnTo>
                    <a:pt x="859" y="325"/>
                  </a:lnTo>
                  <a:lnTo>
                    <a:pt x="867" y="323"/>
                  </a:lnTo>
                  <a:lnTo>
                    <a:pt x="871" y="325"/>
                  </a:lnTo>
                  <a:lnTo>
                    <a:pt x="872" y="326"/>
                  </a:lnTo>
                  <a:lnTo>
                    <a:pt x="872" y="333"/>
                  </a:lnTo>
                  <a:lnTo>
                    <a:pt x="873" y="335"/>
                  </a:lnTo>
                  <a:lnTo>
                    <a:pt x="875" y="337"/>
                  </a:lnTo>
                  <a:lnTo>
                    <a:pt x="880" y="334"/>
                  </a:lnTo>
                  <a:lnTo>
                    <a:pt x="881" y="333"/>
                  </a:lnTo>
                  <a:lnTo>
                    <a:pt x="884" y="334"/>
                  </a:lnTo>
                  <a:lnTo>
                    <a:pt x="887" y="341"/>
                  </a:lnTo>
                  <a:lnTo>
                    <a:pt x="890" y="341"/>
                  </a:lnTo>
                  <a:lnTo>
                    <a:pt x="891" y="346"/>
                  </a:lnTo>
                  <a:lnTo>
                    <a:pt x="890" y="355"/>
                  </a:lnTo>
                  <a:lnTo>
                    <a:pt x="891" y="357"/>
                  </a:lnTo>
                  <a:lnTo>
                    <a:pt x="893" y="357"/>
                  </a:lnTo>
                  <a:lnTo>
                    <a:pt x="898" y="357"/>
                  </a:lnTo>
                  <a:lnTo>
                    <a:pt x="902" y="355"/>
                  </a:lnTo>
                  <a:lnTo>
                    <a:pt x="904" y="351"/>
                  </a:lnTo>
                  <a:lnTo>
                    <a:pt x="907" y="350"/>
                  </a:lnTo>
                  <a:lnTo>
                    <a:pt x="913" y="350"/>
                  </a:lnTo>
                  <a:lnTo>
                    <a:pt x="918" y="349"/>
                  </a:lnTo>
                  <a:lnTo>
                    <a:pt x="919" y="346"/>
                  </a:lnTo>
                  <a:lnTo>
                    <a:pt x="919" y="345"/>
                  </a:lnTo>
                  <a:lnTo>
                    <a:pt x="924" y="344"/>
                  </a:lnTo>
                  <a:lnTo>
                    <a:pt x="933" y="344"/>
                  </a:lnTo>
                  <a:lnTo>
                    <a:pt x="936" y="345"/>
                  </a:lnTo>
                  <a:lnTo>
                    <a:pt x="937" y="348"/>
                  </a:lnTo>
                  <a:lnTo>
                    <a:pt x="936" y="354"/>
                  </a:lnTo>
                  <a:lnTo>
                    <a:pt x="934" y="358"/>
                  </a:lnTo>
                  <a:lnTo>
                    <a:pt x="937" y="360"/>
                  </a:lnTo>
                  <a:lnTo>
                    <a:pt x="940" y="360"/>
                  </a:lnTo>
                  <a:lnTo>
                    <a:pt x="944" y="357"/>
                  </a:lnTo>
                  <a:lnTo>
                    <a:pt x="951" y="357"/>
                  </a:lnTo>
                  <a:lnTo>
                    <a:pt x="952" y="358"/>
                  </a:lnTo>
                  <a:lnTo>
                    <a:pt x="955" y="356"/>
                  </a:lnTo>
                  <a:lnTo>
                    <a:pt x="960" y="352"/>
                  </a:lnTo>
                  <a:lnTo>
                    <a:pt x="962" y="352"/>
                  </a:lnTo>
                  <a:lnTo>
                    <a:pt x="963" y="354"/>
                  </a:lnTo>
                  <a:lnTo>
                    <a:pt x="962" y="361"/>
                  </a:lnTo>
                  <a:lnTo>
                    <a:pt x="962" y="368"/>
                  </a:lnTo>
                  <a:lnTo>
                    <a:pt x="962" y="370"/>
                  </a:lnTo>
                  <a:lnTo>
                    <a:pt x="966" y="374"/>
                  </a:lnTo>
                  <a:lnTo>
                    <a:pt x="974" y="372"/>
                  </a:lnTo>
                  <a:lnTo>
                    <a:pt x="979" y="367"/>
                  </a:lnTo>
                  <a:lnTo>
                    <a:pt x="981" y="366"/>
                  </a:lnTo>
                  <a:lnTo>
                    <a:pt x="984" y="366"/>
                  </a:lnTo>
                  <a:lnTo>
                    <a:pt x="985" y="370"/>
                  </a:lnTo>
                  <a:lnTo>
                    <a:pt x="987" y="374"/>
                  </a:lnTo>
                  <a:lnTo>
                    <a:pt x="993" y="380"/>
                  </a:lnTo>
                  <a:lnTo>
                    <a:pt x="997" y="386"/>
                  </a:lnTo>
                  <a:lnTo>
                    <a:pt x="996" y="388"/>
                  </a:lnTo>
                  <a:lnTo>
                    <a:pt x="992" y="391"/>
                  </a:lnTo>
                  <a:lnTo>
                    <a:pt x="981" y="392"/>
                  </a:lnTo>
                  <a:lnTo>
                    <a:pt x="978" y="391"/>
                  </a:lnTo>
                  <a:lnTo>
                    <a:pt x="975" y="393"/>
                  </a:lnTo>
                  <a:lnTo>
                    <a:pt x="973" y="397"/>
                  </a:lnTo>
                  <a:lnTo>
                    <a:pt x="968" y="400"/>
                  </a:lnTo>
                  <a:lnTo>
                    <a:pt x="967" y="400"/>
                  </a:lnTo>
                  <a:lnTo>
                    <a:pt x="962" y="404"/>
                  </a:lnTo>
                  <a:lnTo>
                    <a:pt x="956" y="409"/>
                  </a:lnTo>
                  <a:lnTo>
                    <a:pt x="950" y="410"/>
                  </a:lnTo>
                  <a:lnTo>
                    <a:pt x="945" y="411"/>
                  </a:lnTo>
                  <a:lnTo>
                    <a:pt x="944" y="414"/>
                  </a:lnTo>
                  <a:lnTo>
                    <a:pt x="942" y="420"/>
                  </a:lnTo>
                  <a:lnTo>
                    <a:pt x="943" y="424"/>
                  </a:lnTo>
                  <a:lnTo>
                    <a:pt x="948" y="429"/>
                  </a:lnTo>
                  <a:lnTo>
                    <a:pt x="945" y="432"/>
                  </a:lnTo>
                  <a:lnTo>
                    <a:pt x="933" y="432"/>
                  </a:lnTo>
                  <a:lnTo>
                    <a:pt x="928" y="432"/>
                  </a:lnTo>
                  <a:lnTo>
                    <a:pt x="926" y="435"/>
                  </a:lnTo>
                  <a:lnTo>
                    <a:pt x="926" y="441"/>
                  </a:lnTo>
                  <a:lnTo>
                    <a:pt x="928" y="442"/>
                  </a:lnTo>
                  <a:lnTo>
                    <a:pt x="943" y="442"/>
                  </a:lnTo>
                  <a:lnTo>
                    <a:pt x="943" y="440"/>
                  </a:lnTo>
                  <a:lnTo>
                    <a:pt x="945" y="440"/>
                  </a:lnTo>
                  <a:lnTo>
                    <a:pt x="951" y="442"/>
                  </a:lnTo>
                  <a:lnTo>
                    <a:pt x="962" y="447"/>
                  </a:lnTo>
                  <a:lnTo>
                    <a:pt x="967" y="446"/>
                  </a:lnTo>
                  <a:lnTo>
                    <a:pt x="967" y="442"/>
                  </a:lnTo>
                  <a:lnTo>
                    <a:pt x="968" y="441"/>
                  </a:lnTo>
                  <a:lnTo>
                    <a:pt x="973" y="442"/>
                  </a:lnTo>
                  <a:lnTo>
                    <a:pt x="981" y="446"/>
                  </a:lnTo>
                  <a:lnTo>
                    <a:pt x="985" y="445"/>
                  </a:lnTo>
                  <a:lnTo>
                    <a:pt x="992" y="439"/>
                  </a:lnTo>
                  <a:lnTo>
                    <a:pt x="996" y="433"/>
                  </a:lnTo>
                  <a:lnTo>
                    <a:pt x="999" y="434"/>
                  </a:lnTo>
                  <a:lnTo>
                    <a:pt x="1005" y="440"/>
                  </a:lnTo>
                  <a:lnTo>
                    <a:pt x="1005" y="441"/>
                  </a:lnTo>
                  <a:lnTo>
                    <a:pt x="1003" y="444"/>
                  </a:lnTo>
                  <a:lnTo>
                    <a:pt x="996" y="447"/>
                  </a:lnTo>
                  <a:lnTo>
                    <a:pt x="995" y="448"/>
                  </a:lnTo>
                  <a:lnTo>
                    <a:pt x="997" y="450"/>
                  </a:lnTo>
                  <a:lnTo>
                    <a:pt x="1010" y="455"/>
                  </a:lnTo>
                  <a:lnTo>
                    <a:pt x="1014" y="456"/>
                  </a:lnTo>
                  <a:lnTo>
                    <a:pt x="1016" y="458"/>
                  </a:lnTo>
                  <a:lnTo>
                    <a:pt x="1019" y="461"/>
                  </a:lnTo>
                  <a:lnTo>
                    <a:pt x="1022" y="462"/>
                  </a:lnTo>
                  <a:lnTo>
                    <a:pt x="1023" y="461"/>
                  </a:lnTo>
                  <a:lnTo>
                    <a:pt x="1023" y="459"/>
                  </a:lnTo>
                  <a:lnTo>
                    <a:pt x="1026" y="462"/>
                  </a:lnTo>
                  <a:lnTo>
                    <a:pt x="1030" y="465"/>
                  </a:lnTo>
                  <a:lnTo>
                    <a:pt x="1031" y="469"/>
                  </a:lnTo>
                  <a:lnTo>
                    <a:pt x="1033" y="470"/>
                  </a:lnTo>
                  <a:lnTo>
                    <a:pt x="1036" y="469"/>
                  </a:lnTo>
                  <a:lnTo>
                    <a:pt x="1043" y="464"/>
                  </a:lnTo>
                  <a:lnTo>
                    <a:pt x="1042" y="462"/>
                  </a:lnTo>
                  <a:lnTo>
                    <a:pt x="1042" y="458"/>
                  </a:lnTo>
                  <a:lnTo>
                    <a:pt x="1043" y="452"/>
                  </a:lnTo>
                  <a:lnTo>
                    <a:pt x="1043" y="450"/>
                  </a:lnTo>
                  <a:lnTo>
                    <a:pt x="1042" y="448"/>
                  </a:lnTo>
                  <a:lnTo>
                    <a:pt x="1046" y="447"/>
                  </a:lnTo>
                  <a:lnTo>
                    <a:pt x="1054" y="446"/>
                  </a:lnTo>
                  <a:lnTo>
                    <a:pt x="1055" y="448"/>
                  </a:lnTo>
                  <a:lnTo>
                    <a:pt x="1055" y="453"/>
                  </a:lnTo>
                  <a:lnTo>
                    <a:pt x="1058" y="455"/>
                  </a:lnTo>
                  <a:lnTo>
                    <a:pt x="1063" y="453"/>
                  </a:lnTo>
                  <a:lnTo>
                    <a:pt x="1067" y="455"/>
                  </a:lnTo>
                  <a:lnTo>
                    <a:pt x="1072" y="459"/>
                  </a:lnTo>
                  <a:lnTo>
                    <a:pt x="1076" y="465"/>
                  </a:lnTo>
                  <a:lnTo>
                    <a:pt x="1079" y="473"/>
                  </a:lnTo>
                  <a:lnTo>
                    <a:pt x="1074" y="475"/>
                  </a:lnTo>
                  <a:lnTo>
                    <a:pt x="1069" y="477"/>
                  </a:lnTo>
                  <a:lnTo>
                    <a:pt x="1061" y="479"/>
                  </a:lnTo>
                  <a:lnTo>
                    <a:pt x="1061" y="482"/>
                  </a:lnTo>
                  <a:lnTo>
                    <a:pt x="1062" y="481"/>
                  </a:lnTo>
                  <a:lnTo>
                    <a:pt x="1066" y="483"/>
                  </a:lnTo>
                  <a:lnTo>
                    <a:pt x="1076" y="492"/>
                  </a:lnTo>
                  <a:lnTo>
                    <a:pt x="1079" y="492"/>
                  </a:lnTo>
                  <a:lnTo>
                    <a:pt x="1079" y="493"/>
                  </a:lnTo>
                  <a:lnTo>
                    <a:pt x="1076" y="497"/>
                  </a:lnTo>
                  <a:lnTo>
                    <a:pt x="1069" y="501"/>
                  </a:lnTo>
                  <a:lnTo>
                    <a:pt x="1070" y="506"/>
                  </a:lnTo>
                  <a:lnTo>
                    <a:pt x="1074" y="516"/>
                  </a:lnTo>
                  <a:lnTo>
                    <a:pt x="1076" y="519"/>
                  </a:lnTo>
                  <a:lnTo>
                    <a:pt x="1075" y="521"/>
                  </a:lnTo>
                  <a:lnTo>
                    <a:pt x="1070" y="521"/>
                  </a:lnTo>
                  <a:lnTo>
                    <a:pt x="1068" y="521"/>
                  </a:lnTo>
                  <a:lnTo>
                    <a:pt x="1066" y="518"/>
                  </a:lnTo>
                  <a:lnTo>
                    <a:pt x="1064" y="513"/>
                  </a:lnTo>
                  <a:lnTo>
                    <a:pt x="1061" y="512"/>
                  </a:lnTo>
                  <a:lnTo>
                    <a:pt x="1056" y="512"/>
                  </a:lnTo>
                  <a:lnTo>
                    <a:pt x="1054" y="511"/>
                  </a:lnTo>
                  <a:lnTo>
                    <a:pt x="1054" y="509"/>
                  </a:lnTo>
                  <a:lnTo>
                    <a:pt x="1056" y="509"/>
                  </a:lnTo>
                  <a:lnTo>
                    <a:pt x="1050" y="507"/>
                  </a:lnTo>
                  <a:lnTo>
                    <a:pt x="1038" y="507"/>
                  </a:lnTo>
                  <a:lnTo>
                    <a:pt x="1033" y="509"/>
                  </a:lnTo>
                  <a:lnTo>
                    <a:pt x="1028" y="512"/>
                  </a:lnTo>
                  <a:lnTo>
                    <a:pt x="1030" y="513"/>
                  </a:lnTo>
                  <a:lnTo>
                    <a:pt x="1028" y="518"/>
                  </a:lnTo>
                  <a:lnTo>
                    <a:pt x="1023" y="521"/>
                  </a:lnTo>
                  <a:lnTo>
                    <a:pt x="1025" y="522"/>
                  </a:lnTo>
                  <a:lnTo>
                    <a:pt x="1027" y="523"/>
                  </a:lnTo>
                  <a:lnTo>
                    <a:pt x="1032" y="525"/>
                  </a:lnTo>
                  <a:lnTo>
                    <a:pt x="1036" y="530"/>
                  </a:lnTo>
                  <a:lnTo>
                    <a:pt x="1037" y="530"/>
                  </a:lnTo>
                  <a:lnTo>
                    <a:pt x="1038" y="528"/>
                  </a:lnTo>
                  <a:lnTo>
                    <a:pt x="1042" y="521"/>
                  </a:lnTo>
                  <a:lnTo>
                    <a:pt x="1045" y="517"/>
                  </a:lnTo>
                  <a:lnTo>
                    <a:pt x="1050" y="518"/>
                  </a:lnTo>
                  <a:lnTo>
                    <a:pt x="1058" y="522"/>
                  </a:lnTo>
                  <a:lnTo>
                    <a:pt x="1064" y="524"/>
                  </a:lnTo>
                  <a:lnTo>
                    <a:pt x="1069" y="525"/>
                  </a:lnTo>
                  <a:lnTo>
                    <a:pt x="1078" y="524"/>
                  </a:lnTo>
                  <a:lnTo>
                    <a:pt x="1082" y="523"/>
                  </a:lnTo>
                  <a:lnTo>
                    <a:pt x="1084" y="524"/>
                  </a:lnTo>
                  <a:lnTo>
                    <a:pt x="1085" y="525"/>
                  </a:lnTo>
                  <a:lnTo>
                    <a:pt x="1086" y="531"/>
                  </a:lnTo>
                  <a:lnTo>
                    <a:pt x="1084" y="537"/>
                  </a:lnTo>
                  <a:lnTo>
                    <a:pt x="1079" y="543"/>
                  </a:lnTo>
                  <a:lnTo>
                    <a:pt x="1076" y="546"/>
                  </a:lnTo>
                  <a:lnTo>
                    <a:pt x="1074" y="546"/>
                  </a:lnTo>
                  <a:lnTo>
                    <a:pt x="1070" y="542"/>
                  </a:lnTo>
                  <a:lnTo>
                    <a:pt x="1069" y="541"/>
                  </a:lnTo>
                  <a:lnTo>
                    <a:pt x="1067" y="542"/>
                  </a:lnTo>
                  <a:lnTo>
                    <a:pt x="1063" y="548"/>
                  </a:lnTo>
                  <a:lnTo>
                    <a:pt x="1061" y="549"/>
                  </a:lnTo>
                  <a:lnTo>
                    <a:pt x="1057" y="549"/>
                  </a:lnTo>
                  <a:lnTo>
                    <a:pt x="1056" y="551"/>
                  </a:lnTo>
                  <a:lnTo>
                    <a:pt x="1057" y="553"/>
                  </a:lnTo>
                  <a:lnTo>
                    <a:pt x="1064" y="557"/>
                  </a:lnTo>
                  <a:lnTo>
                    <a:pt x="1069" y="560"/>
                  </a:lnTo>
                  <a:lnTo>
                    <a:pt x="1076" y="569"/>
                  </a:lnTo>
                  <a:lnTo>
                    <a:pt x="1080" y="574"/>
                  </a:lnTo>
                  <a:lnTo>
                    <a:pt x="1080" y="578"/>
                  </a:lnTo>
                  <a:lnTo>
                    <a:pt x="1072" y="588"/>
                  </a:lnTo>
                  <a:lnTo>
                    <a:pt x="1072" y="590"/>
                  </a:lnTo>
                  <a:lnTo>
                    <a:pt x="1070" y="592"/>
                  </a:lnTo>
                  <a:lnTo>
                    <a:pt x="1066" y="598"/>
                  </a:lnTo>
                  <a:lnTo>
                    <a:pt x="1061" y="598"/>
                  </a:lnTo>
                  <a:lnTo>
                    <a:pt x="1054" y="598"/>
                  </a:lnTo>
                  <a:lnTo>
                    <a:pt x="1050" y="596"/>
                  </a:lnTo>
                  <a:lnTo>
                    <a:pt x="1046" y="596"/>
                  </a:lnTo>
                  <a:lnTo>
                    <a:pt x="1042" y="596"/>
                  </a:lnTo>
                  <a:lnTo>
                    <a:pt x="1042" y="598"/>
                  </a:lnTo>
                  <a:lnTo>
                    <a:pt x="1044" y="600"/>
                  </a:lnTo>
                  <a:lnTo>
                    <a:pt x="1049" y="602"/>
                  </a:lnTo>
                  <a:lnTo>
                    <a:pt x="1050" y="605"/>
                  </a:lnTo>
                  <a:lnTo>
                    <a:pt x="1046" y="612"/>
                  </a:lnTo>
                  <a:lnTo>
                    <a:pt x="1046" y="614"/>
                  </a:lnTo>
                  <a:lnTo>
                    <a:pt x="1048" y="617"/>
                  </a:lnTo>
                  <a:lnTo>
                    <a:pt x="1052" y="618"/>
                  </a:lnTo>
                  <a:lnTo>
                    <a:pt x="1058" y="618"/>
                  </a:lnTo>
                  <a:lnTo>
                    <a:pt x="1064" y="619"/>
                  </a:lnTo>
                  <a:lnTo>
                    <a:pt x="1067" y="620"/>
                  </a:lnTo>
                  <a:lnTo>
                    <a:pt x="1070" y="620"/>
                  </a:lnTo>
                  <a:lnTo>
                    <a:pt x="1075" y="618"/>
                  </a:lnTo>
                  <a:lnTo>
                    <a:pt x="1078" y="619"/>
                  </a:lnTo>
                  <a:lnTo>
                    <a:pt x="1078" y="624"/>
                  </a:lnTo>
                  <a:lnTo>
                    <a:pt x="1074" y="630"/>
                  </a:lnTo>
                  <a:lnTo>
                    <a:pt x="1067" y="637"/>
                  </a:lnTo>
                  <a:lnTo>
                    <a:pt x="1049" y="643"/>
                  </a:lnTo>
                  <a:lnTo>
                    <a:pt x="1044" y="650"/>
                  </a:lnTo>
                  <a:lnTo>
                    <a:pt x="1043" y="650"/>
                  </a:lnTo>
                  <a:lnTo>
                    <a:pt x="1038" y="649"/>
                  </a:lnTo>
                  <a:lnTo>
                    <a:pt x="1036" y="647"/>
                  </a:lnTo>
                  <a:lnTo>
                    <a:pt x="1033" y="642"/>
                  </a:lnTo>
                  <a:lnTo>
                    <a:pt x="1031" y="650"/>
                  </a:lnTo>
                  <a:lnTo>
                    <a:pt x="1031" y="652"/>
                  </a:lnTo>
                  <a:lnTo>
                    <a:pt x="1027" y="650"/>
                  </a:lnTo>
                  <a:lnTo>
                    <a:pt x="1021" y="649"/>
                  </a:lnTo>
                  <a:lnTo>
                    <a:pt x="1015" y="644"/>
                  </a:lnTo>
                  <a:lnTo>
                    <a:pt x="1013" y="640"/>
                  </a:lnTo>
                  <a:lnTo>
                    <a:pt x="1010" y="634"/>
                  </a:lnTo>
                  <a:lnTo>
                    <a:pt x="1004" y="630"/>
                  </a:lnTo>
                  <a:lnTo>
                    <a:pt x="1002" y="626"/>
                  </a:lnTo>
                  <a:lnTo>
                    <a:pt x="998" y="625"/>
                  </a:lnTo>
                  <a:lnTo>
                    <a:pt x="990" y="628"/>
                  </a:lnTo>
                  <a:lnTo>
                    <a:pt x="979" y="628"/>
                  </a:lnTo>
                  <a:lnTo>
                    <a:pt x="974" y="626"/>
                  </a:lnTo>
                  <a:lnTo>
                    <a:pt x="973" y="629"/>
                  </a:lnTo>
                  <a:lnTo>
                    <a:pt x="974" y="636"/>
                  </a:lnTo>
                  <a:lnTo>
                    <a:pt x="973" y="638"/>
                  </a:lnTo>
                  <a:lnTo>
                    <a:pt x="971" y="640"/>
                  </a:lnTo>
                  <a:lnTo>
                    <a:pt x="964" y="641"/>
                  </a:lnTo>
                  <a:lnTo>
                    <a:pt x="961" y="640"/>
                  </a:lnTo>
                  <a:lnTo>
                    <a:pt x="957" y="634"/>
                  </a:lnTo>
                  <a:lnTo>
                    <a:pt x="952" y="630"/>
                  </a:lnTo>
                  <a:lnTo>
                    <a:pt x="948" y="630"/>
                  </a:lnTo>
                  <a:lnTo>
                    <a:pt x="944" y="632"/>
                  </a:lnTo>
                  <a:lnTo>
                    <a:pt x="937" y="636"/>
                  </a:lnTo>
                  <a:lnTo>
                    <a:pt x="921" y="647"/>
                  </a:lnTo>
                  <a:lnTo>
                    <a:pt x="918" y="650"/>
                  </a:lnTo>
                  <a:lnTo>
                    <a:pt x="925" y="656"/>
                  </a:lnTo>
                  <a:lnTo>
                    <a:pt x="932" y="660"/>
                  </a:lnTo>
                  <a:lnTo>
                    <a:pt x="936" y="662"/>
                  </a:lnTo>
                  <a:lnTo>
                    <a:pt x="938" y="667"/>
                  </a:lnTo>
                  <a:lnTo>
                    <a:pt x="948" y="671"/>
                  </a:lnTo>
                  <a:lnTo>
                    <a:pt x="963" y="677"/>
                  </a:lnTo>
                  <a:lnTo>
                    <a:pt x="948" y="676"/>
                  </a:lnTo>
                  <a:lnTo>
                    <a:pt x="940" y="673"/>
                  </a:lnTo>
                  <a:lnTo>
                    <a:pt x="937" y="672"/>
                  </a:lnTo>
                  <a:lnTo>
                    <a:pt x="942" y="681"/>
                  </a:lnTo>
                  <a:lnTo>
                    <a:pt x="931" y="672"/>
                  </a:lnTo>
                  <a:lnTo>
                    <a:pt x="931" y="667"/>
                  </a:lnTo>
                  <a:lnTo>
                    <a:pt x="930" y="665"/>
                  </a:lnTo>
                  <a:lnTo>
                    <a:pt x="926" y="664"/>
                  </a:lnTo>
                  <a:lnTo>
                    <a:pt x="915" y="658"/>
                  </a:lnTo>
                  <a:lnTo>
                    <a:pt x="903" y="650"/>
                  </a:lnTo>
                  <a:lnTo>
                    <a:pt x="887" y="640"/>
                  </a:lnTo>
                  <a:lnTo>
                    <a:pt x="890" y="641"/>
                  </a:lnTo>
                  <a:lnTo>
                    <a:pt x="890" y="643"/>
                  </a:lnTo>
                  <a:lnTo>
                    <a:pt x="886" y="646"/>
                  </a:lnTo>
                  <a:lnTo>
                    <a:pt x="883" y="647"/>
                  </a:lnTo>
                  <a:lnTo>
                    <a:pt x="881" y="649"/>
                  </a:lnTo>
                  <a:lnTo>
                    <a:pt x="879" y="650"/>
                  </a:lnTo>
                  <a:lnTo>
                    <a:pt x="878" y="654"/>
                  </a:lnTo>
                  <a:lnTo>
                    <a:pt x="879" y="660"/>
                  </a:lnTo>
                  <a:lnTo>
                    <a:pt x="884" y="666"/>
                  </a:lnTo>
                  <a:lnTo>
                    <a:pt x="889" y="672"/>
                  </a:lnTo>
                  <a:lnTo>
                    <a:pt x="891" y="676"/>
                  </a:lnTo>
                  <a:lnTo>
                    <a:pt x="893" y="682"/>
                  </a:lnTo>
                  <a:lnTo>
                    <a:pt x="896" y="683"/>
                  </a:lnTo>
                  <a:lnTo>
                    <a:pt x="898" y="683"/>
                  </a:lnTo>
                  <a:lnTo>
                    <a:pt x="902" y="685"/>
                  </a:lnTo>
                  <a:lnTo>
                    <a:pt x="905" y="688"/>
                  </a:lnTo>
                  <a:lnTo>
                    <a:pt x="908" y="683"/>
                  </a:lnTo>
                  <a:lnTo>
                    <a:pt x="909" y="682"/>
                  </a:lnTo>
                  <a:lnTo>
                    <a:pt x="910" y="683"/>
                  </a:lnTo>
                  <a:lnTo>
                    <a:pt x="913" y="693"/>
                  </a:lnTo>
                  <a:lnTo>
                    <a:pt x="915" y="695"/>
                  </a:lnTo>
                  <a:lnTo>
                    <a:pt x="918" y="695"/>
                  </a:lnTo>
                  <a:lnTo>
                    <a:pt x="919" y="697"/>
                  </a:lnTo>
                  <a:lnTo>
                    <a:pt x="916" y="702"/>
                  </a:lnTo>
                  <a:lnTo>
                    <a:pt x="918" y="703"/>
                  </a:lnTo>
                  <a:lnTo>
                    <a:pt x="922" y="701"/>
                  </a:lnTo>
                  <a:lnTo>
                    <a:pt x="926" y="700"/>
                  </a:lnTo>
                  <a:lnTo>
                    <a:pt x="927" y="702"/>
                  </a:lnTo>
                  <a:lnTo>
                    <a:pt x="931" y="706"/>
                  </a:lnTo>
                  <a:lnTo>
                    <a:pt x="933" y="707"/>
                  </a:lnTo>
                  <a:lnTo>
                    <a:pt x="933" y="703"/>
                  </a:lnTo>
                  <a:lnTo>
                    <a:pt x="938" y="705"/>
                  </a:lnTo>
                  <a:lnTo>
                    <a:pt x="943" y="707"/>
                  </a:lnTo>
                  <a:lnTo>
                    <a:pt x="944" y="709"/>
                  </a:lnTo>
                  <a:lnTo>
                    <a:pt x="943" y="715"/>
                  </a:lnTo>
                  <a:lnTo>
                    <a:pt x="944" y="717"/>
                  </a:lnTo>
                  <a:lnTo>
                    <a:pt x="946" y="717"/>
                  </a:lnTo>
                  <a:lnTo>
                    <a:pt x="951" y="714"/>
                  </a:lnTo>
                  <a:lnTo>
                    <a:pt x="952" y="713"/>
                  </a:lnTo>
                  <a:lnTo>
                    <a:pt x="954" y="715"/>
                  </a:lnTo>
                  <a:lnTo>
                    <a:pt x="954" y="724"/>
                  </a:lnTo>
                  <a:lnTo>
                    <a:pt x="955" y="733"/>
                  </a:lnTo>
                  <a:lnTo>
                    <a:pt x="949" y="733"/>
                  </a:lnTo>
                  <a:lnTo>
                    <a:pt x="957" y="742"/>
                  </a:lnTo>
                  <a:lnTo>
                    <a:pt x="952" y="745"/>
                  </a:lnTo>
                  <a:lnTo>
                    <a:pt x="949" y="747"/>
                  </a:lnTo>
                  <a:lnTo>
                    <a:pt x="950" y="748"/>
                  </a:lnTo>
                  <a:lnTo>
                    <a:pt x="946" y="750"/>
                  </a:lnTo>
                  <a:lnTo>
                    <a:pt x="939" y="751"/>
                  </a:lnTo>
                  <a:lnTo>
                    <a:pt x="937" y="751"/>
                  </a:lnTo>
                  <a:lnTo>
                    <a:pt x="934" y="756"/>
                  </a:lnTo>
                  <a:lnTo>
                    <a:pt x="931" y="757"/>
                  </a:lnTo>
                  <a:lnTo>
                    <a:pt x="928" y="759"/>
                  </a:lnTo>
                  <a:lnTo>
                    <a:pt x="928" y="761"/>
                  </a:lnTo>
                  <a:lnTo>
                    <a:pt x="930" y="762"/>
                  </a:lnTo>
                  <a:lnTo>
                    <a:pt x="932" y="767"/>
                  </a:lnTo>
                  <a:lnTo>
                    <a:pt x="932" y="772"/>
                  </a:lnTo>
                  <a:lnTo>
                    <a:pt x="927" y="774"/>
                  </a:lnTo>
                  <a:lnTo>
                    <a:pt x="925" y="774"/>
                  </a:lnTo>
                  <a:lnTo>
                    <a:pt x="924" y="772"/>
                  </a:lnTo>
                  <a:lnTo>
                    <a:pt x="922" y="771"/>
                  </a:lnTo>
                  <a:lnTo>
                    <a:pt x="920" y="771"/>
                  </a:lnTo>
                  <a:lnTo>
                    <a:pt x="918" y="772"/>
                  </a:lnTo>
                  <a:lnTo>
                    <a:pt x="914" y="771"/>
                  </a:lnTo>
                  <a:lnTo>
                    <a:pt x="912" y="769"/>
                  </a:lnTo>
                  <a:lnTo>
                    <a:pt x="912" y="771"/>
                  </a:lnTo>
                  <a:lnTo>
                    <a:pt x="912" y="777"/>
                  </a:lnTo>
                  <a:lnTo>
                    <a:pt x="909" y="782"/>
                  </a:lnTo>
                  <a:lnTo>
                    <a:pt x="902" y="782"/>
                  </a:lnTo>
                  <a:lnTo>
                    <a:pt x="898" y="779"/>
                  </a:lnTo>
                  <a:lnTo>
                    <a:pt x="893" y="778"/>
                  </a:lnTo>
                  <a:lnTo>
                    <a:pt x="891" y="777"/>
                  </a:lnTo>
                  <a:lnTo>
                    <a:pt x="893" y="777"/>
                  </a:lnTo>
                  <a:lnTo>
                    <a:pt x="891" y="774"/>
                  </a:lnTo>
                  <a:lnTo>
                    <a:pt x="884" y="768"/>
                  </a:lnTo>
                  <a:lnTo>
                    <a:pt x="883" y="768"/>
                  </a:lnTo>
                  <a:lnTo>
                    <a:pt x="883" y="765"/>
                  </a:lnTo>
                  <a:lnTo>
                    <a:pt x="887" y="761"/>
                  </a:lnTo>
                  <a:lnTo>
                    <a:pt x="887" y="759"/>
                  </a:lnTo>
                  <a:lnTo>
                    <a:pt x="886" y="755"/>
                  </a:lnTo>
                  <a:lnTo>
                    <a:pt x="884" y="750"/>
                  </a:lnTo>
                  <a:lnTo>
                    <a:pt x="883" y="745"/>
                  </a:lnTo>
                  <a:lnTo>
                    <a:pt x="881" y="744"/>
                  </a:lnTo>
                  <a:lnTo>
                    <a:pt x="879" y="745"/>
                  </a:lnTo>
                  <a:lnTo>
                    <a:pt x="875" y="751"/>
                  </a:lnTo>
                  <a:lnTo>
                    <a:pt x="874" y="755"/>
                  </a:lnTo>
                  <a:lnTo>
                    <a:pt x="872" y="757"/>
                  </a:lnTo>
                  <a:lnTo>
                    <a:pt x="868" y="757"/>
                  </a:lnTo>
                  <a:lnTo>
                    <a:pt x="862" y="760"/>
                  </a:lnTo>
                  <a:lnTo>
                    <a:pt x="862" y="759"/>
                  </a:lnTo>
                  <a:lnTo>
                    <a:pt x="861" y="757"/>
                  </a:lnTo>
                  <a:lnTo>
                    <a:pt x="860" y="756"/>
                  </a:lnTo>
                  <a:lnTo>
                    <a:pt x="856" y="757"/>
                  </a:lnTo>
                  <a:lnTo>
                    <a:pt x="849" y="762"/>
                  </a:lnTo>
                  <a:lnTo>
                    <a:pt x="849" y="763"/>
                  </a:lnTo>
                  <a:lnTo>
                    <a:pt x="845" y="762"/>
                  </a:lnTo>
                  <a:lnTo>
                    <a:pt x="842" y="762"/>
                  </a:lnTo>
                  <a:lnTo>
                    <a:pt x="840" y="761"/>
                  </a:lnTo>
                  <a:lnTo>
                    <a:pt x="839" y="754"/>
                  </a:lnTo>
                  <a:lnTo>
                    <a:pt x="838" y="751"/>
                  </a:lnTo>
                  <a:lnTo>
                    <a:pt x="836" y="753"/>
                  </a:lnTo>
                  <a:lnTo>
                    <a:pt x="831" y="756"/>
                  </a:lnTo>
                  <a:lnTo>
                    <a:pt x="826" y="756"/>
                  </a:lnTo>
                  <a:lnTo>
                    <a:pt x="824" y="754"/>
                  </a:lnTo>
                  <a:lnTo>
                    <a:pt x="819" y="754"/>
                  </a:lnTo>
                  <a:lnTo>
                    <a:pt x="803" y="759"/>
                  </a:lnTo>
                  <a:lnTo>
                    <a:pt x="804" y="763"/>
                  </a:lnTo>
                  <a:lnTo>
                    <a:pt x="804" y="765"/>
                  </a:lnTo>
                  <a:lnTo>
                    <a:pt x="802" y="765"/>
                  </a:lnTo>
                  <a:lnTo>
                    <a:pt x="795" y="761"/>
                  </a:lnTo>
                  <a:lnTo>
                    <a:pt x="791" y="756"/>
                  </a:lnTo>
                  <a:lnTo>
                    <a:pt x="789" y="754"/>
                  </a:lnTo>
                  <a:lnTo>
                    <a:pt x="789" y="756"/>
                  </a:lnTo>
                  <a:lnTo>
                    <a:pt x="789" y="762"/>
                  </a:lnTo>
                  <a:lnTo>
                    <a:pt x="786" y="762"/>
                  </a:lnTo>
                  <a:lnTo>
                    <a:pt x="781" y="759"/>
                  </a:lnTo>
                  <a:lnTo>
                    <a:pt x="778" y="759"/>
                  </a:lnTo>
                  <a:lnTo>
                    <a:pt x="774" y="757"/>
                  </a:lnTo>
                  <a:lnTo>
                    <a:pt x="773" y="755"/>
                  </a:lnTo>
                  <a:lnTo>
                    <a:pt x="769" y="755"/>
                  </a:lnTo>
                  <a:lnTo>
                    <a:pt x="767" y="757"/>
                  </a:lnTo>
                  <a:lnTo>
                    <a:pt x="765" y="760"/>
                  </a:lnTo>
                  <a:lnTo>
                    <a:pt x="765" y="761"/>
                  </a:lnTo>
                  <a:lnTo>
                    <a:pt x="771" y="763"/>
                  </a:lnTo>
                  <a:lnTo>
                    <a:pt x="775" y="765"/>
                  </a:lnTo>
                  <a:lnTo>
                    <a:pt x="779" y="766"/>
                  </a:lnTo>
                  <a:lnTo>
                    <a:pt x="784" y="767"/>
                  </a:lnTo>
                  <a:lnTo>
                    <a:pt x="788" y="772"/>
                  </a:lnTo>
                  <a:lnTo>
                    <a:pt x="790" y="777"/>
                  </a:lnTo>
                  <a:lnTo>
                    <a:pt x="788" y="778"/>
                  </a:lnTo>
                  <a:lnTo>
                    <a:pt x="783" y="776"/>
                  </a:lnTo>
                  <a:lnTo>
                    <a:pt x="780" y="776"/>
                  </a:lnTo>
                  <a:lnTo>
                    <a:pt x="778" y="779"/>
                  </a:lnTo>
                  <a:lnTo>
                    <a:pt x="774" y="779"/>
                  </a:lnTo>
                  <a:lnTo>
                    <a:pt x="771" y="777"/>
                  </a:lnTo>
                  <a:lnTo>
                    <a:pt x="769" y="778"/>
                  </a:lnTo>
                  <a:lnTo>
                    <a:pt x="768" y="782"/>
                  </a:lnTo>
                  <a:lnTo>
                    <a:pt x="765" y="783"/>
                  </a:lnTo>
                  <a:lnTo>
                    <a:pt x="762" y="780"/>
                  </a:lnTo>
                  <a:lnTo>
                    <a:pt x="761" y="780"/>
                  </a:lnTo>
                  <a:lnTo>
                    <a:pt x="759" y="780"/>
                  </a:lnTo>
                  <a:lnTo>
                    <a:pt x="756" y="778"/>
                  </a:lnTo>
                  <a:lnTo>
                    <a:pt x="753" y="773"/>
                  </a:lnTo>
                  <a:lnTo>
                    <a:pt x="750" y="769"/>
                  </a:lnTo>
                  <a:lnTo>
                    <a:pt x="747" y="768"/>
                  </a:lnTo>
                  <a:lnTo>
                    <a:pt x="741" y="769"/>
                  </a:lnTo>
                  <a:lnTo>
                    <a:pt x="733" y="768"/>
                  </a:lnTo>
                  <a:lnTo>
                    <a:pt x="725" y="769"/>
                  </a:lnTo>
                  <a:lnTo>
                    <a:pt x="720" y="768"/>
                  </a:lnTo>
                  <a:lnTo>
                    <a:pt x="714" y="763"/>
                  </a:lnTo>
                  <a:lnTo>
                    <a:pt x="709" y="761"/>
                  </a:lnTo>
                  <a:lnTo>
                    <a:pt x="704" y="761"/>
                  </a:lnTo>
                  <a:lnTo>
                    <a:pt x="700" y="761"/>
                  </a:lnTo>
                  <a:lnTo>
                    <a:pt x="697" y="759"/>
                  </a:lnTo>
                  <a:lnTo>
                    <a:pt x="694" y="756"/>
                  </a:lnTo>
                  <a:lnTo>
                    <a:pt x="691" y="756"/>
                  </a:lnTo>
                  <a:lnTo>
                    <a:pt x="695" y="765"/>
                  </a:lnTo>
                  <a:lnTo>
                    <a:pt x="698" y="772"/>
                  </a:lnTo>
                  <a:lnTo>
                    <a:pt x="702" y="776"/>
                  </a:lnTo>
                  <a:lnTo>
                    <a:pt x="704" y="776"/>
                  </a:lnTo>
                  <a:lnTo>
                    <a:pt x="707" y="778"/>
                  </a:lnTo>
                  <a:lnTo>
                    <a:pt x="708" y="778"/>
                  </a:lnTo>
                  <a:lnTo>
                    <a:pt x="712" y="779"/>
                  </a:lnTo>
                  <a:lnTo>
                    <a:pt x="714" y="782"/>
                  </a:lnTo>
                  <a:lnTo>
                    <a:pt x="718" y="780"/>
                  </a:lnTo>
                  <a:lnTo>
                    <a:pt x="724" y="780"/>
                  </a:lnTo>
                  <a:lnTo>
                    <a:pt x="727" y="779"/>
                  </a:lnTo>
                  <a:lnTo>
                    <a:pt x="730" y="779"/>
                  </a:lnTo>
                  <a:lnTo>
                    <a:pt x="735" y="783"/>
                  </a:lnTo>
                  <a:lnTo>
                    <a:pt x="739" y="785"/>
                  </a:lnTo>
                  <a:lnTo>
                    <a:pt x="744" y="786"/>
                  </a:lnTo>
                  <a:lnTo>
                    <a:pt x="748" y="786"/>
                  </a:lnTo>
                  <a:lnTo>
                    <a:pt x="749" y="789"/>
                  </a:lnTo>
                  <a:lnTo>
                    <a:pt x="753" y="794"/>
                  </a:lnTo>
                  <a:lnTo>
                    <a:pt x="754" y="796"/>
                  </a:lnTo>
                  <a:lnTo>
                    <a:pt x="751" y="802"/>
                  </a:lnTo>
                  <a:lnTo>
                    <a:pt x="754" y="803"/>
                  </a:lnTo>
                  <a:lnTo>
                    <a:pt x="760" y="801"/>
                  </a:lnTo>
                  <a:lnTo>
                    <a:pt x="762" y="797"/>
                  </a:lnTo>
                  <a:lnTo>
                    <a:pt x="762" y="792"/>
                  </a:lnTo>
                  <a:lnTo>
                    <a:pt x="767" y="791"/>
                  </a:lnTo>
                  <a:lnTo>
                    <a:pt x="774" y="792"/>
                  </a:lnTo>
                  <a:lnTo>
                    <a:pt x="774" y="796"/>
                  </a:lnTo>
                  <a:lnTo>
                    <a:pt x="772" y="800"/>
                  </a:lnTo>
                  <a:lnTo>
                    <a:pt x="771" y="802"/>
                  </a:lnTo>
                  <a:lnTo>
                    <a:pt x="772" y="806"/>
                  </a:lnTo>
                  <a:lnTo>
                    <a:pt x="773" y="810"/>
                  </a:lnTo>
                  <a:lnTo>
                    <a:pt x="773" y="816"/>
                  </a:lnTo>
                  <a:lnTo>
                    <a:pt x="769" y="819"/>
                  </a:lnTo>
                  <a:lnTo>
                    <a:pt x="766" y="818"/>
                  </a:lnTo>
                  <a:lnTo>
                    <a:pt x="762" y="815"/>
                  </a:lnTo>
                  <a:lnTo>
                    <a:pt x="760" y="814"/>
                  </a:lnTo>
                  <a:lnTo>
                    <a:pt x="759" y="815"/>
                  </a:lnTo>
                  <a:lnTo>
                    <a:pt x="756" y="814"/>
                  </a:lnTo>
                  <a:lnTo>
                    <a:pt x="748" y="810"/>
                  </a:lnTo>
                  <a:lnTo>
                    <a:pt x="744" y="812"/>
                  </a:lnTo>
                  <a:lnTo>
                    <a:pt x="744" y="814"/>
                  </a:lnTo>
                  <a:lnTo>
                    <a:pt x="743" y="815"/>
                  </a:lnTo>
                  <a:lnTo>
                    <a:pt x="743" y="820"/>
                  </a:lnTo>
                  <a:lnTo>
                    <a:pt x="747" y="830"/>
                  </a:lnTo>
                  <a:lnTo>
                    <a:pt x="744" y="837"/>
                  </a:lnTo>
                  <a:lnTo>
                    <a:pt x="744" y="843"/>
                  </a:lnTo>
                  <a:lnTo>
                    <a:pt x="744" y="845"/>
                  </a:lnTo>
                  <a:lnTo>
                    <a:pt x="743" y="845"/>
                  </a:lnTo>
                  <a:lnTo>
                    <a:pt x="733" y="840"/>
                  </a:lnTo>
                  <a:lnTo>
                    <a:pt x="727" y="837"/>
                  </a:lnTo>
                  <a:lnTo>
                    <a:pt x="729" y="839"/>
                  </a:lnTo>
                  <a:lnTo>
                    <a:pt x="727" y="842"/>
                  </a:lnTo>
                  <a:lnTo>
                    <a:pt x="725" y="844"/>
                  </a:lnTo>
                  <a:lnTo>
                    <a:pt x="722" y="845"/>
                  </a:lnTo>
                  <a:lnTo>
                    <a:pt x="718" y="846"/>
                  </a:lnTo>
                  <a:lnTo>
                    <a:pt x="713" y="845"/>
                  </a:lnTo>
                  <a:lnTo>
                    <a:pt x="707" y="840"/>
                  </a:lnTo>
                  <a:lnTo>
                    <a:pt x="703" y="834"/>
                  </a:lnTo>
                  <a:lnTo>
                    <a:pt x="700" y="832"/>
                  </a:lnTo>
                  <a:lnTo>
                    <a:pt x="700" y="830"/>
                  </a:lnTo>
                  <a:lnTo>
                    <a:pt x="700" y="824"/>
                  </a:lnTo>
                  <a:lnTo>
                    <a:pt x="694" y="818"/>
                  </a:lnTo>
                  <a:lnTo>
                    <a:pt x="694" y="819"/>
                  </a:lnTo>
                  <a:lnTo>
                    <a:pt x="696" y="825"/>
                  </a:lnTo>
                  <a:lnTo>
                    <a:pt x="691" y="826"/>
                  </a:lnTo>
                  <a:lnTo>
                    <a:pt x="684" y="825"/>
                  </a:lnTo>
                  <a:lnTo>
                    <a:pt x="682" y="825"/>
                  </a:lnTo>
                  <a:lnTo>
                    <a:pt x="677" y="828"/>
                  </a:lnTo>
                  <a:lnTo>
                    <a:pt x="673" y="830"/>
                  </a:lnTo>
                  <a:lnTo>
                    <a:pt x="682" y="832"/>
                  </a:lnTo>
                  <a:lnTo>
                    <a:pt x="685" y="832"/>
                  </a:lnTo>
                  <a:lnTo>
                    <a:pt x="690" y="833"/>
                  </a:lnTo>
                  <a:lnTo>
                    <a:pt x="691" y="838"/>
                  </a:lnTo>
                  <a:lnTo>
                    <a:pt x="692" y="842"/>
                  </a:lnTo>
                  <a:lnTo>
                    <a:pt x="695" y="845"/>
                  </a:lnTo>
                  <a:lnTo>
                    <a:pt x="694" y="848"/>
                  </a:lnTo>
                  <a:lnTo>
                    <a:pt x="682" y="850"/>
                  </a:lnTo>
                  <a:lnTo>
                    <a:pt x="674" y="848"/>
                  </a:lnTo>
                  <a:lnTo>
                    <a:pt x="670" y="845"/>
                  </a:lnTo>
                  <a:lnTo>
                    <a:pt x="659" y="842"/>
                  </a:lnTo>
                  <a:lnTo>
                    <a:pt x="654" y="842"/>
                  </a:lnTo>
                  <a:lnTo>
                    <a:pt x="651" y="839"/>
                  </a:lnTo>
                  <a:lnTo>
                    <a:pt x="648" y="837"/>
                  </a:lnTo>
                  <a:lnTo>
                    <a:pt x="647" y="834"/>
                  </a:lnTo>
                  <a:lnTo>
                    <a:pt x="649" y="830"/>
                  </a:lnTo>
                  <a:lnTo>
                    <a:pt x="649" y="826"/>
                  </a:lnTo>
                  <a:lnTo>
                    <a:pt x="648" y="825"/>
                  </a:lnTo>
                  <a:lnTo>
                    <a:pt x="645" y="824"/>
                  </a:lnTo>
                  <a:lnTo>
                    <a:pt x="643" y="824"/>
                  </a:lnTo>
                  <a:lnTo>
                    <a:pt x="642" y="827"/>
                  </a:lnTo>
                  <a:lnTo>
                    <a:pt x="641" y="828"/>
                  </a:lnTo>
                  <a:lnTo>
                    <a:pt x="638" y="828"/>
                  </a:lnTo>
                  <a:lnTo>
                    <a:pt x="632" y="827"/>
                  </a:lnTo>
                  <a:lnTo>
                    <a:pt x="631" y="824"/>
                  </a:lnTo>
                  <a:lnTo>
                    <a:pt x="631" y="815"/>
                  </a:lnTo>
                  <a:lnTo>
                    <a:pt x="627" y="809"/>
                  </a:lnTo>
                  <a:lnTo>
                    <a:pt x="627" y="812"/>
                  </a:lnTo>
                  <a:lnTo>
                    <a:pt x="626" y="809"/>
                  </a:lnTo>
                  <a:lnTo>
                    <a:pt x="621" y="801"/>
                  </a:lnTo>
                  <a:lnTo>
                    <a:pt x="621" y="798"/>
                  </a:lnTo>
                  <a:lnTo>
                    <a:pt x="619" y="796"/>
                  </a:lnTo>
                  <a:lnTo>
                    <a:pt x="614" y="796"/>
                  </a:lnTo>
                  <a:lnTo>
                    <a:pt x="611" y="795"/>
                  </a:lnTo>
                  <a:lnTo>
                    <a:pt x="612" y="797"/>
                  </a:lnTo>
                  <a:lnTo>
                    <a:pt x="618" y="804"/>
                  </a:lnTo>
                  <a:lnTo>
                    <a:pt x="621" y="814"/>
                  </a:lnTo>
                  <a:lnTo>
                    <a:pt x="625" y="818"/>
                  </a:lnTo>
                  <a:lnTo>
                    <a:pt x="626" y="822"/>
                  </a:lnTo>
                  <a:lnTo>
                    <a:pt x="624" y="827"/>
                  </a:lnTo>
                  <a:lnTo>
                    <a:pt x="624" y="831"/>
                  </a:lnTo>
                  <a:lnTo>
                    <a:pt x="625" y="840"/>
                  </a:lnTo>
                  <a:lnTo>
                    <a:pt x="625" y="844"/>
                  </a:lnTo>
                  <a:lnTo>
                    <a:pt x="624" y="846"/>
                  </a:lnTo>
                  <a:lnTo>
                    <a:pt x="617" y="848"/>
                  </a:lnTo>
                  <a:lnTo>
                    <a:pt x="611" y="851"/>
                  </a:lnTo>
                  <a:lnTo>
                    <a:pt x="608" y="854"/>
                  </a:lnTo>
                  <a:lnTo>
                    <a:pt x="606" y="854"/>
                  </a:lnTo>
                  <a:lnTo>
                    <a:pt x="597" y="855"/>
                  </a:lnTo>
                  <a:lnTo>
                    <a:pt x="585" y="857"/>
                  </a:lnTo>
                  <a:lnTo>
                    <a:pt x="582" y="857"/>
                  </a:lnTo>
                  <a:lnTo>
                    <a:pt x="578" y="855"/>
                  </a:lnTo>
                  <a:lnTo>
                    <a:pt x="574" y="845"/>
                  </a:lnTo>
                  <a:lnTo>
                    <a:pt x="574" y="838"/>
                  </a:lnTo>
                  <a:lnTo>
                    <a:pt x="570" y="836"/>
                  </a:lnTo>
                  <a:lnTo>
                    <a:pt x="565" y="834"/>
                  </a:lnTo>
                  <a:lnTo>
                    <a:pt x="562" y="836"/>
                  </a:lnTo>
                  <a:lnTo>
                    <a:pt x="561" y="839"/>
                  </a:lnTo>
                  <a:lnTo>
                    <a:pt x="558" y="840"/>
                  </a:lnTo>
                  <a:lnTo>
                    <a:pt x="552" y="840"/>
                  </a:lnTo>
                  <a:lnTo>
                    <a:pt x="548" y="840"/>
                  </a:lnTo>
                  <a:lnTo>
                    <a:pt x="547" y="844"/>
                  </a:lnTo>
                  <a:lnTo>
                    <a:pt x="543" y="844"/>
                  </a:lnTo>
                  <a:lnTo>
                    <a:pt x="535" y="840"/>
                  </a:lnTo>
                  <a:lnTo>
                    <a:pt x="535" y="833"/>
                  </a:lnTo>
                  <a:lnTo>
                    <a:pt x="537" y="830"/>
                  </a:lnTo>
                  <a:lnTo>
                    <a:pt x="536" y="827"/>
                  </a:lnTo>
                  <a:lnTo>
                    <a:pt x="533" y="826"/>
                  </a:lnTo>
                  <a:lnTo>
                    <a:pt x="533" y="824"/>
                  </a:lnTo>
                  <a:lnTo>
                    <a:pt x="530" y="822"/>
                  </a:lnTo>
                  <a:lnTo>
                    <a:pt x="524" y="824"/>
                  </a:lnTo>
                  <a:lnTo>
                    <a:pt x="521" y="821"/>
                  </a:lnTo>
                  <a:lnTo>
                    <a:pt x="519" y="819"/>
                  </a:lnTo>
                  <a:lnTo>
                    <a:pt x="519" y="814"/>
                  </a:lnTo>
                  <a:lnTo>
                    <a:pt x="517" y="809"/>
                  </a:lnTo>
                  <a:lnTo>
                    <a:pt x="519" y="808"/>
                  </a:lnTo>
                  <a:lnTo>
                    <a:pt x="529" y="808"/>
                  </a:lnTo>
                  <a:lnTo>
                    <a:pt x="533" y="802"/>
                  </a:lnTo>
                  <a:lnTo>
                    <a:pt x="537" y="803"/>
                  </a:lnTo>
                  <a:lnTo>
                    <a:pt x="538" y="802"/>
                  </a:lnTo>
                  <a:lnTo>
                    <a:pt x="539" y="800"/>
                  </a:lnTo>
                  <a:lnTo>
                    <a:pt x="543" y="791"/>
                  </a:lnTo>
                  <a:lnTo>
                    <a:pt x="542" y="788"/>
                  </a:lnTo>
                  <a:lnTo>
                    <a:pt x="539" y="786"/>
                  </a:lnTo>
                  <a:lnTo>
                    <a:pt x="533" y="788"/>
                  </a:lnTo>
                  <a:lnTo>
                    <a:pt x="527" y="791"/>
                  </a:lnTo>
                  <a:lnTo>
                    <a:pt x="523" y="792"/>
                  </a:lnTo>
                  <a:lnTo>
                    <a:pt x="520" y="794"/>
                  </a:lnTo>
                  <a:lnTo>
                    <a:pt x="519" y="792"/>
                  </a:lnTo>
                  <a:lnTo>
                    <a:pt x="515" y="789"/>
                  </a:lnTo>
                  <a:lnTo>
                    <a:pt x="513" y="789"/>
                  </a:lnTo>
                  <a:lnTo>
                    <a:pt x="511" y="792"/>
                  </a:lnTo>
                  <a:lnTo>
                    <a:pt x="506" y="798"/>
                  </a:lnTo>
                  <a:lnTo>
                    <a:pt x="497" y="806"/>
                  </a:lnTo>
                  <a:lnTo>
                    <a:pt x="493" y="812"/>
                  </a:lnTo>
                  <a:lnTo>
                    <a:pt x="490" y="820"/>
                  </a:lnTo>
                  <a:lnTo>
                    <a:pt x="490" y="837"/>
                  </a:lnTo>
                  <a:lnTo>
                    <a:pt x="493" y="864"/>
                  </a:lnTo>
                  <a:lnTo>
                    <a:pt x="493" y="879"/>
                  </a:lnTo>
                  <a:lnTo>
                    <a:pt x="494" y="885"/>
                  </a:lnTo>
                  <a:lnTo>
                    <a:pt x="499" y="891"/>
                  </a:lnTo>
                  <a:lnTo>
                    <a:pt x="505" y="899"/>
                  </a:lnTo>
                  <a:lnTo>
                    <a:pt x="508" y="909"/>
                  </a:lnTo>
                  <a:lnTo>
                    <a:pt x="511" y="91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0" name="Freeform 63"/>
            <p:cNvSpPr>
              <a:spLocks/>
            </p:cNvSpPr>
            <p:nvPr userDrawn="1"/>
          </p:nvSpPr>
          <p:spPr bwMode="auto">
            <a:xfrm>
              <a:off x="4319588" y="6208713"/>
              <a:ext cx="287338" cy="350838"/>
            </a:xfrm>
            <a:custGeom>
              <a:avLst/>
              <a:gdLst/>
              <a:ahLst/>
              <a:cxnLst>
                <a:cxn ang="0">
                  <a:pos x="422" y="709"/>
                </a:cxn>
                <a:cxn ang="0">
                  <a:pos x="410" y="667"/>
                </a:cxn>
                <a:cxn ang="0">
                  <a:pos x="390" y="629"/>
                </a:cxn>
                <a:cxn ang="0">
                  <a:pos x="430" y="603"/>
                </a:cxn>
                <a:cxn ang="0">
                  <a:pos x="355" y="668"/>
                </a:cxn>
                <a:cxn ang="0">
                  <a:pos x="387" y="737"/>
                </a:cxn>
                <a:cxn ang="0">
                  <a:pos x="371" y="696"/>
                </a:cxn>
                <a:cxn ang="0">
                  <a:pos x="319" y="703"/>
                </a:cxn>
                <a:cxn ang="0">
                  <a:pos x="273" y="707"/>
                </a:cxn>
                <a:cxn ang="0">
                  <a:pos x="231" y="682"/>
                </a:cxn>
                <a:cxn ang="0">
                  <a:pos x="207" y="703"/>
                </a:cxn>
                <a:cxn ang="0">
                  <a:pos x="175" y="722"/>
                </a:cxn>
                <a:cxn ang="0">
                  <a:pos x="130" y="698"/>
                </a:cxn>
                <a:cxn ang="0">
                  <a:pos x="21" y="722"/>
                </a:cxn>
                <a:cxn ang="0">
                  <a:pos x="80" y="649"/>
                </a:cxn>
                <a:cxn ang="0">
                  <a:pos x="23" y="611"/>
                </a:cxn>
                <a:cxn ang="0">
                  <a:pos x="9" y="560"/>
                </a:cxn>
                <a:cxn ang="0">
                  <a:pos x="9" y="490"/>
                </a:cxn>
                <a:cxn ang="0">
                  <a:pos x="116" y="494"/>
                </a:cxn>
                <a:cxn ang="0">
                  <a:pos x="125" y="454"/>
                </a:cxn>
                <a:cxn ang="0">
                  <a:pos x="149" y="383"/>
                </a:cxn>
                <a:cxn ang="0">
                  <a:pos x="86" y="381"/>
                </a:cxn>
                <a:cxn ang="0">
                  <a:pos x="51" y="358"/>
                </a:cxn>
                <a:cxn ang="0">
                  <a:pos x="62" y="328"/>
                </a:cxn>
                <a:cxn ang="0">
                  <a:pos x="88" y="275"/>
                </a:cxn>
                <a:cxn ang="0">
                  <a:pos x="125" y="203"/>
                </a:cxn>
                <a:cxn ang="0">
                  <a:pos x="165" y="155"/>
                </a:cxn>
                <a:cxn ang="0">
                  <a:pos x="207" y="149"/>
                </a:cxn>
                <a:cxn ang="0">
                  <a:pos x="246" y="179"/>
                </a:cxn>
                <a:cxn ang="0">
                  <a:pos x="332" y="174"/>
                </a:cxn>
                <a:cxn ang="0">
                  <a:pos x="348" y="105"/>
                </a:cxn>
                <a:cxn ang="0">
                  <a:pos x="353" y="108"/>
                </a:cxn>
                <a:cxn ang="0">
                  <a:pos x="385" y="155"/>
                </a:cxn>
                <a:cxn ang="0">
                  <a:pos x="454" y="126"/>
                </a:cxn>
                <a:cxn ang="0">
                  <a:pos x="501" y="156"/>
                </a:cxn>
                <a:cxn ang="0">
                  <a:pos x="556" y="210"/>
                </a:cxn>
                <a:cxn ang="0">
                  <a:pos x="541" y="141"/>
                </a:cxn>
                <a:cxn ang="0">
                  <a:pos x="503" y="89"/>
                </a:cxn>
                <a:cxn ang="0">
                  <a:pos x="490" y="18"/>
                </a:cxn>
                <a:cxn ang="0">
                  <a:pos x="562" y="41"/>
                </a:cxn>
                <a:cxn ang="0">
                  <a:pos x="631" y="86"/>
                </a:cxn>
                <a:cxn ang="0">
                  <a:pos x="648" y="139"/>
                </a:cxn>
                <a:cxn ang="0">
                  <a:pos x="678" y="171"/>
                </a:cxn>
                <a:cxn ang="0">
                  <a:pos x="730" y="171"/>
                </a:cxn>
                <a:cxn ang="0">
                  <a:pos x="780" y="141"/>
                </a:cxn>
                <a:cxn ang="0">
                  <a:pos x="816" y="169"/>
                </a:cxn>
                <a:cxn ang="0">
                  <a:pos x="779" y="222"/>
                </a:cxn>
                <a:cxn ang="0">
                  <a:pos x="755" y="250"/>
                </a:cxn>
                <a:cxn ang="0">
                  <a:pos x="794" y="273"/>
                </a:cxn>
                <a:cxn ang="0">
                  <a:pos x="860" y="298"/>
                </a:cxn>
                <a:cxn ang="0">
                  <a:pos x="902" y="356"/>
                </a:cxn>
                <a:cxn ang="0">
                  <a:pos x="847" y="407"/>
                </a:cxn>
                <a:cxn ang="0">
                  <a:pos x="838" y="446"/>
                </a:cxn>
                <a:cxn ang="0">
                  <a:pos x="771" y="477"/>
                </a:cxn>
                <a:cxn ang="0">
                  <a:pos x="842" y="551"/>
                </a:cxn>
                <a:cxn ang="0">
                  <a:pos x="774" y="549"/>
                </a:cxn>
                <a:cxn ang="0">
                  <a:pos x="768" y="601"/>
                </a:cxn>
                <a:cxn ang="0">
                  <a:pos x="786" y="694"/>
                </a:cxn>
                <a:cxn ang="0">
                  <a:pos x="757" y="742"/>
                </a:cxn>
                <a:cxn ang="0">
                  <a:pos x="686" y="786"/>
                </a:cxn>
                <a:cxn ang="0">
                  <a:pos x="619" y="773"/>
                </a:cxn>
                <a:cxn ang="0">
                  <a:pos x="544" y="777"/>
                </a:cxn>
                <a:cxn ang="0">
                  <a:pos x="483" y="722"/>
                </a:cxn>
              </a:cxnLst>
              <a:rect l="0" t="0" r="r" b="b"/>
              <a:pathLst>
                <a:path w="906" h="1106">
                  <a:moveTo>
                    <a:pt x="472" y="1106"/>
                  </a:moveTo>
                  <a:lnTo>
                    <a:pt x="442" y="1106"/>
                  </a:lnTo>
                  <a:lnTo>
                    <a:pt x="440" y="1077"/>
                  </a:lnTo>
                  <a:lnTo>
                    <a:pt x="437" y="1060"/>
                  </a:lnTo>
                  <a:lnTo>
                    <a:pt x="437" y="1022"/>
                  </a:lnTo>
                  <a:lnTo>
                    <a:pt x="436" y="1017"/>
                  </a:lnTo>
                  <a:lnTo>
                    <a:pt x="438" y="1009"/>
                  </a:lnTo>
                  <a:lnTo>
                    <a:pt x="444" y="958"/>
                  </a:lnTo>
                  <a:lnTo>
                    <a:pt x="452" y="912"/>
                  </a:lnTo>
                  <a:lnTo>
                    <a:pt x="455" y="892"/>
                  </a:lnTo>
                  <a:lnTo>
                    <a:pt x="461" y="873"/>
                  </a:lnTo>
                  <a:lnTo>
                    <a:pt x="462" y="868"/>
                  </a:lnTo>
                  <a:lnTo>
                    <a:pt x="462" y="862"/>
                  </a:lnTo>
                  <a:lnTo>
                    <a:pt x="461" y="849"/>
                  </a:lnTo>
                  <a:lnTo>
                    <a:pt x="461" y="823"/>
                  </a:lnTo>
                  <a:lnTo>
                    <a:pt x="459" y="802"/>
                  </a:lnTo>
                  <a:lnTo>
                    <a:pt x="460" y="791"/>
                  </a:lnTo>
                  <a:lnTo>
                    <a:pt x="461" y="780"/>
                  </a:lnTo>
                  <a:lnTo>
                    <a:pt x="461" y="768"/>
                  </a:lnTo>
                  <a:lnTo>
                    <a:pt x="460" y="756"/>
                  </a:lnTo>
                  <a:lnTo>
                    <a:pt x="458" y="748"/>
                  </a:lnTo>
                  <a:lnTo>
                    <a:pt x="454" y="740"/>
                  </a:lnTo>
                  <a:lnTo>
                    <a:pt x="452" y="738"/>
                  </a:lnTo>
                  <a:lnTo>
                    <a:pt x="452" y="734"/>
                  </a:lnTo>
                  <a:lnTo>
                    <a:pt x="452" y="728"/>
                  </a:lnTo>
                  <a:lnTo>
                    <a:pt x="446" y="714"/>
                  </a:lnTo>
                  <a:lnTo>
                    <a:pt x="444" y="708"/>
                  </a:lnTo>
                  <a:lnTo>
                    <a:pt x="442" y="710"/>
                  </a:lnTo>
                  <a:lnTo>
                    <a:pt x="446" y="715"/>
                  </a:lnTo>
                  <a:lnTo>
                    <a:pt x="444" y="718"/>
                  </a:lnTo>
                  <a:lnTo>
                    <a:pt x="443" y="724"/>
                  </a:lnTo>
                  <a:lnTo>
                    <a:pt x="443" y="728"/>
                  </a:lnTo>
                  <a:lnTo>
                    <a:pt x="441" y="726"/>
                  </a:lnTo>
                  <a:lnTo>
                    <a:pt x="440" y="728"/>
                  </a:lnTo>
                  <a:lnTo>
                    <a:pt x="437" y="728"/>
                  </a:lnTo>
                  <a:lnTo>
                    <a:pt x="435" y="726"/>
                  </a:lnTo>
                  <a:lnTo>
                    <a:pt x="432" y="728"/>
                  </a:lnTo>
                  <a:lnTo>
                    <a:pt x="429" y="731"/>
                  </a:lnTo>
                  <a:lnTo>
                    <a:pt x="426" y="734"/>
                  </a:lnTo>
                  <a:lnTo>
                    <a:pt x="425" y="728"/>
                  </a:lnTo>
                  <a:lnTo>
                    <a:pt x="425" y="726"/>
                  </a:lnTo>
                  <a:lnTo>
                    <a:pt x="423" y="727"/>
                  </a:lnTo>
                  <a:lnTo>
                    <a:pt x="420" y="727"/>
                  </a:lnTo>
                  <a:lnTo>
                    <a:pt x="418" y="732"/>
                  </a:lnTo>
                  <a:lnTo>
                    <a:pt x="408" y="734"/>
                  </a:lnTo>
                  <a:lnTo>
                    <a:pt x="406" y="736"/>
                  </a:lnTo>
                  <a:lnTo>
                    <a:pt x="410" y="732"/>
                  </a:lnTo>
                  <a:lnTo>
                    <a:pt x="412" y="728"/>
                  </a:lnTo>
                  <a:lnTo>
                    <a:pt x="413" y="725"/>
                  </a:lnTo>
                  <a:lnTo>
                    <a:pt x="417" y="724"/>
                  </a:lnTo>
                  <a:lnTo>
                    <a:pt x="414" y="722"/>
                  </a:lnTo>
                  <a:lnTo>
                    <a:pt x="411" y="725"/>
                  </a:lnTo>
                  <a:lnTo>
                    <a:pt x="411" y="721"/>
                  </a:lnTo>
                  <a:lnTo>
                    <a:pt x="416" y="719"/>
                  </a:lnTo>
                  <a:lnTo>
                    <a:pt x="417" y="719"/>
                  </a:lnTo>
                  <a:lnTo>
                    <a:pt x="417" y="718"/>
                  </a:lnTo>
                  <a:lnTo>
                    <a:pt x="416" y="715"/>
                  </a:lnTo>
                  <a:lnTo>
                    <a:pt x="419" y="714"/>
                  </a:lnTo>
                  <a:lnTo>
                    <a:pt x="420" y="716"/>
                  </a:lnTo>
                  <a:lnTo>
                    <a:pt x="420" y="719"/>
                  </a:lnTo>
                  <a:lnTo>
                    <a:pt x="419" y="720"/>
                  </a:lnTo>
                  <a:lnTo>
                    <a:pt x="420" y="722"/>
                  </a:lnTo>
                  <a:lnTo>
                    <a:pt x="424" y="720"/>
                  </a:lnTo>
                  <a:lnTo>
                    <a:pt x="425" y="719"/>
                  </a:lnTo>
                  <a:lnTo>
                    <a:pt x="425" y="718"/>
                  </a:lnTo>
                  <a:lnTo>
                    <a:pt x="424" y="715"/>
                  </a:lnTo>
                  <a:lnTo>
                    <a:pt x="423" y="713"/>
                  </a:lnTo>
                  <a:lnTo>
                    <a:pt x="422" y="709"/>
                  </a:lnTo>
                  <a:lnTo>
                    <a:pt x="423" y="708"/>
                  </a:lnTo>
                  <a:lnTo>
                    <a:pt x="422" y="708"/>
                  </a:lnTo>
                  <a:lnTo>
                    <a:pt x="424" y="703"/>
                  </a:lnTo>
                  <a:lnTo>
                    <a:pt x="428" y="701"/>
                  </a:lnTo>
                  <a:lnTo>
                    <a:pt x="434" y="701"/>
                  </a:lnTo>
                  <a:lnTo>
                    <a:pt x="435" y="702"/>
                  </a:lnTo>
                  <a:lnTo>
                    <a:pt x="440" y="696"/>
                  </a:lnTo>
                  <a:lnTo>
                    <a:pt x="444" y="686"/>
                  </a:lnTo>
                  <a:lnTo>
                    <a:pt x="449" y="683"/>
                  </a:lnTo>
                  <a:lnTo>
                    <a:pt x="449" y="680"/>
                  </a:lnTo>
                  <a:lnTo>
                    <a:pt x="449" y="678"/>
                  </a:lnTo>
                  <a:lnTo>
                    <a:pt x="448" y="680"/>
                  </a:lnTo>
                  <a:lnTo>
                    <a:pt x="448" y="678"/>
                  </a:lnTo>
                  <a:lnTo>
                    <a:pt x="446" y="679"/>
                  </a:lnTo>
                  <a:lnTo>
                    <a:pt x="442" y="682"/>
                  </a:lnTo>
                  <a:lnTo>
                    <a:pt x="438" y="682"/>
                  </a:lnTo>
                  <a:lnTo>
                    <a:pt x="438" y="679"/>
                  </a:lnTo>
                  <a:lnTo>
                    <a:pt x="436" y="680"/>
                  </a:lnTo>
                  <a:lnTo>
                    <a:pt x="435" y="682"/>
                  </a:lnTo>
                  <a:lnTo>
                    <a:pt x="435" y="678"/>
                  </a:lnTo>
                  <a:lnTo>
                    <a:pt x="436" y="676"/>
                  </a:lnTo>
                  <a:lnTo>
                    <a:pt x="437" y="673"/>
                  </a:lnTo>
                  <a:lnTo>
                    <a:pt x="441" y="670"/>
                  </a:lnTo>
                  <a:lnTo>
                    <a:pt x="435" y="674"/>
                  </a:lnTo>
                  <a:lnTo>
                    <a:pt x="434" y="671"/>
                  </a:lnTo>
                  <a:lnTo>
                    <a:pt x="434" y="668"/>
                  </a:lnTo>
                  <a:lnTo>
                    <a:pt x="436" y="667"/>
                  </a:lnTo>
                  <a:lnTo>
                    <a:pt x="435" y="666"/>
                  </a:lnTo>
                  <a:lnTo>
                    <a:pt x="432" y="667"/>
                  </a:lnTo>
                  <a:lnTo>
                    <a:pt x="430" y="670"/>
                  </a:lnTo>
                  <a:lnTo>
                    <a:pt x="430" y="666"/>
                  </a:lnTo>
                  <a:lnTo>
                    <a:pt x="429" y="664"/>
                  </a:lnTo>
                  <a:lnTo>
                    <a:pt x="428" y="660"/>
                  </a:lnTo>
                  <a:lnTo>
                    <a:pt x="425" y="665"/>
                  </a:lnTo>
                  <a:lnTo>
                    <a:pt x="423" y="666"/>
                  </a:lnTo>
                  <a:lnTo>
                    <a:pt x="422" y="668"/>
                  </a:lnTo>
                  <a:lnTo>
                    <a:pt x="423" y="672"/>
                  </a:lnTo>
                  <a:lnTo>
                    <a:pt x="420" y="673"/>
                  </a:lnTo>
                  <a:lnTo>
                    <a:pt x="420" y="674"/>
                  </a:lnTo>
                  <a:lnTo>
                    <a:pt x="425" y="676"/>
                  </a:lnTo>
                  <a:lnTo>
                    <a:pt x="425" y="678"/>
                  </a:lnTo>
                  <a:lnTo>
                    <a:pt x="426" y="680"/>
                  </a:lnTo>
                  <a:lnTo>
                    <a:pt x="425" y="684"/>
                  </a:lnTo>
                  <a:lnTo>
                    <a:pt x="424" y="683"/>
                  </a:lnTo>
                  <a:lnTo>
                    <a:pt x="422" y="680"/>
                  </a:lnTo>
                  <a:lnTo>
                    <a:pt x="420" y="683"/>
                  </a:lnTo>
                  <a:lnTo>
                    <a:pt x="420" y="684"/>
                  </a:lnTo>
                  <a:lnTo>
                    <a:pt x="418" y="679"/>
                  </a:lnTo>
                  <a:lnTo>
                    <a:pt x="416" y="677"/>
                  </a:lnTo>
                  <a:lnTo>
                    <a:pt x="414" y="678"/>
                  </a:lnTo>
                  <a:lnTo>
                    <a:pt x="412" y="680"/>
                  </a:lnTo>
                  <a:lnTo>
                    <a:pt x="411" y="680"/>
                  </a:lnTo>
                  <a:lnTo>
                    <a:pt x="408" y="682"/>
                  </a:lnTo>
                  <a:lnTo>
                    <a:pt x="406" y="686"/>
                  </a:lnTo>
                  <a:lnTo>
                    <a:pt x="402" y="688"/>
                  </a:lnTo>
                  <a:lnTo>
                    <a:pt x="399" y="691"/>
                  </a:lnTo>
                  <a:lnTo>
                    <a:pt x="399" y="688"/>
                  </a:lnTo>
                  <a:lnTo>
                    <a:pt x="402" y="685"/>
                  </a:lnTo>
                  <a:lnTo>
                    <a:pt x="405" y="683"/>
                  </a:lnTo>
                  <a:lnTo>
                    <a:pt x="403" y="683"/>
                  </a:lnTo>
                  <a:lnTo>
                    <a:pt x="403" y="682"/>
                  </a:lnTo>
                  <a:lnTo>
                    <a:pt x="406" y="679"/>
                  </a:lnTo>
                  <a:lnTo>
                    <a:pt x="405" y="678"/>
                  </a:lnTo>
                  <a:lnTo>
                    <a:pt x="402" y="678"/>
                  </a:lnTo>
                  <a:lnTo>
                    <a:pt x="400" y="678"/>
                  </a:lnTo>
                  <a:lnTo>
                    <a:pt x="401" y="674"/>
                  </a:lnTo>
                  <a:lnTo>
                    <a:pt x="403" y="668"/>
                  </a:lnTo>
                  <a:lnTo>
                    <a:pt x="410" y="667"/>
                  </a:lnTo>
                  <a:lnTo>
                    <a:pt x="412" y="670"/>
                  </a:lnTo>
                  <a:lnTo>
                    <a:pt x="413" y="670"/>
                  </a:lnTo>
                  <a:lnTo>
                    <a:pt x="411" y="666"/>
                  </a:lnTo>
                  <a:lnTo>
                    <a:pt x="412" y="665"/>
                  </a:lnTo>
                  <a:lnTo>
                    <a:pt x="417" y="665"/>
                  </a:lnTo>
                  <a:lnTo>
                    <a:pt x="418" y="668"/>
                  </a:lnTo>
                  <a:lnTo>
                    <a:pt x="419" y="666"/>
                  </a:lnTo>
                  <a:lnTo>
                    <a:pt x="422" y="665"/>
                  </a:lnTo>
                  <a:lnTo>
                    <a:pt x="425" y="662"/>
                  </a:lnTo>
                  <a:lnTo>
                    <a:pt x="426" y="659"/>
                  </a:lnTo>
                  <a:lnTo>
                    <a:pt x="426" y="655"/>
                  </a:lnTo>
                  <a:lnTo>
                    <a:pt x="425" y="655"/>
                  </a:lnTo>
                  <a:lnTo>
                    <a:pt x="423" y="656"/>
                  </a:lnTo>
                  <a:lnTo>
                    <a:pt x="418" y="656"/>
                  </a:lnTo>
                  <a:lnTo>
                    <a:pt x="422" y="654"/>
                  </a:lnTo>
                  <a:lnTo>
                    <a:pt x="422" y="650"/>
                  </a:lnTo>
                  <a:lnTo>
                    <a:pt x="422" y="647"/>
                  </a:lnTo>
                  <a:lnTo>
                    <a:pt x="424" y="642"/>
                  </a:lnTo>
                  <a:lnTo>
                    <a:pt x="423" y="642"/>
                  </a:lnTo>
                  <a:lnTo>
                    <a:pt x="418" y="643"/>
                  </a:lnTo>
                  <a:lnTo>
                    <a:pt x="414" y="646"/>
                  </a:lnTo>
                  <a:lnTo>
                    <a:pt x="411" y="648"/>
                  </a:lnTo>
                  <a:lnTo>
                    <a:pt x="408" y="652"/>
                  </a:lnTo>
                  <a:lnTo>
                    <a:pt x="406" y="655"/>
                  </a:lnTo>
                  <a:lnTo>
                    <a:pt x="405" y="654"/>
                  </a:lnTo>
                  <a:lnTo>
                    <a:pt x="405" y="649"/>
                  </a:lnTo>
                  <a:lnTo>
                    <a:pt x="407" y="648"/>
                  </a:lnTo>
                  <a:lnTo>
                    <a:pt x="412" y="647"/>
                  </a:lnTo>
                  <a:lnTo>
                    <a:pt x="417" y="642"/>
                  </a:lnTo>
                  <a:lnTo>
                    <a:pt x="418" y="637"/>
                  </a:lnTo>
                  <a:lnTo>
                    <a:pt x="416" y="638"/>
                  </a:lnTo>
                  <a:lnTo>
                    <a:pt x="412" y="644"/>
                  </a:lnTo>
                  <a:lnTo>
                    <a:pt x="410" y="644"/>
                  </a:lnTo>
                  <a:lnTo>
                    <a:pt x="414" y="637"/>
                  </a:lnTo>
                  <a:lnTo>
                    <a:pt x="414" y="632"/>
                  </a:lnTo>
                  <a:lnTo>
                    <a:pt x="418" y="629"/>
                  </a:lnTo>
                  <a:lnTo>
                    <a:pt x="420" y="626"/>
                  </a:lnTo>
                  <a:lnTo>
                    <a:pt x="417" y="626"/>
                  </a:lnTo>
                  <a:lnTo>
                    <a:pt x="416" y="627"/>
                  </a:lnTo>
                  <a:lnTo>
                    <a:pt x="416" y="630"/>
                  </a:lnTo>
                  <a:lnTo>
                    <a:pt x="413" y="632"/>
                  </a:lnTo>
                  <a:lnTo>
                    <a:pt x="413" y="630"/>
                  </a:lnTo>
                  <a:lnTo>
                    <a:pt x="413" y="626"/>
                  </a:lnTo>
                  <a:lnTo>
                    <a:pt x="411" y="625"/>
                  </a:lnTo>
                  <a:lnTo>
                    <a:pt x="408" y="623"/>
                  </a:lnTo>
                  <a:lnTo>
                    <a:pt x="405" y="623"/>
                  </a:lnTo>
                  <a:lnTo>
                    <a:pt x="410" y="626"/>
                  </a:lnTo>
                  <a:lnTo>
                    <a:pt x="410" y="629"/>
                  </a:lnTo>
                  <a:lnTo>
                    <a:pt x="408" y="630"/>
                  </a:lnTo>
                  <a:lnTo>
                    <a:pt x="408" y="632"/>
                  </a:lnTo>
                  <a:lnTo>
                    <a:pt x="406" y="630"/>
                  </a:lnTo>
                  <a:lnTo>
                    <a:pt x="405" y="632"/>
                  </a:lnTo>
                  <a:lnTo>
                    <a:pt x="406" y="633"/>
                  </a:lnTo>
                  <a:lnTo>
                    <a:pt x="406" y="636"/>
                  </a:lnTo>
                  <a:lnTo>
                    <a:pt x="401" y="641"/>
                  </a:lnTo>
                  <a:lnTo>
                    <a:pt x="399" y="643"/>
                  </a:lnTo>
                  <a:lnTo>
                    <a:pt x="397" y="639"/>
                  </a:lnTo>
                  <a:lnTo>
                    <a:pt x="397" y="635"/>
                  </a:lnTo>
                  <a:lnTo>
                    <a:pt x="396" y="635"/>
                  </a:lnTo>
                  <a:lnTo>
                    <a:pt x="397" y="631"/>
                  </a:lnTo>
                  <a:lnTo>
                    <a:pt x="397" y="629"/>
                  </a:lnTo>
                  <a:lnTo>
                    <a:pt x="397" y="630"/>
                  </a:lnTo>
                  <a:lnTo>
                    <a:pt x="396" y="631"/>
                  </a:lnTo>
                  <a:lnTo>
                    <a:pt x="396" y="627"/>
                  </a:lnTo>
                  <a:lnTo>
                    <a:pt x="395" y="631"/>
                  </a:lnTo>
                  <a:lnTo>
                    <a:pt x="391" y="631"/>
                  </a:lnTo>
                  <a:lnTo>
                    <a:pt x="389" y="633"/>
                  </a:lnTo>
                  <a:lnTo>
                    <a:pt x="390" y="629"/>
                  </a:lnTo>
                  <a:lnTo>
                    <a:pt x="393" y="626"/>
                  </a:lnTo>
                  <a:lnTo>
                    <a:pt x="393" y="624"/>
                  </a:lnTo>
                  <a:lnTo>
                    <a:pt x="388" y="625"/>
                  </a:lnTo>
                  <a:lnTo>
                    <a:pt x="389" y="621"/>
                  </a:lnTo>
                  <a:lnTo>
                    <a:pt x="389" y="619"/>
                  </a:lnTo>
                  <a:lnTo>
                    <a:pt x="389" y="615"/>
                  </a:lnTo>
                  <a:lnTo>
                    <a:pt x="389" y="613"/>
                  </a:lnTo>
                  <a:lnTo>
                    <a:pt x="389" y="612"/>
                  </a:lnTo>
                  <a:lnTo>
                    <a:pt x="391" y="609"/>
                  </a:lnTo>
                  <a:lnTo>
                    <a:pt x="393" y="613"/>
                  </a:lnTo>
                  <a:lnTo>
                    <a:pt x="394" y="617"/>
                  </a:lnTo>
                  <a:lnTo>
                    <a:pt x="394" y="619"/>
                  </a:lnTo>
                  <a:lnTo>
                    <a:pt x="395" y="620"/>
                  </a:lnTo>
                  <a:lnTo>
                    <a:pt x="397" y="620"/>
                  </a:lnTo>
                  <a:lnTo>
                    <a:pt x="400" y="617"/>
                  </a:lnTo>
                  <a:lnTo>
                    <a:pt x="403" y="617"/>
                  </a:lnTo>
                  <a:lnTo>
                    <a:pt x="406" y="618"/>
                  </a:lnTo>
                  <a:lnTo>
                    <a:pt x="407" y="620"/>
                  </a:lnTo>
                  <a:lnTo>
                    <a:pt x="411" y="621"/>
                  </a:lnTo>
                  <a:lnTo>
                    <a:pt x="413" y="621"/>
                  </a:lnTo>
                  <a:lnTo>
                    <a:pt x="416" y="621"/>
                  </a:lnTo>
                  <a:lnTo>
                    <a:pt x="416" y="618"/>
                  </a:lnTo>
                  <a:lnTo>
                    <a:pt x="418" y="617"/>
                  </a:lnTo>
                  <a:lnTo>
                    <a:pt x="422" y="617"/>
                  </a:lnTo>
                  <a:lnTo>
                    <a:pt x="423" y="617"/>
                  </a:lnTo>
                  <a:lnTo>
                    <a:pt x="424" y="619"/>
                  </a:lnTo>
                  <a:lnTo>
                    <a:pt x="425" y="620"/>
                  </a:lnTo>
                  <a:lnTo>
                    <a:pt x="426" y="619"/>
                  </a:lnTo>
                  <a:lnTo>
                    <a:pt x="428" y="618"/>
                  </a:lnTo>
                  <a:lnTo>
                    <a:pt x="426" y="617"/>
                  </a:lnTo>
                  <a:lnTo>
                    <a:pt x="425" y="615"/>
                  </a:lnTo>
                  <a:lnTo>
                    <a:pt x="423" y="614"/>
                  </a:lnTo>
                  <a:lnTo>
                    <a:pt x="422" y="614"/>
                  </a:lnTo>
                  <a:lnTo>
                    <a:pt x="419" y="615"/>
                  </a:lnTo>
                  <a:lnTo>
                    <a:pt x="417" y="615"/>
                  </a:lnTo>
                  <a:lnTo>
                    <a:pt x="414" y="618"/>
                  </a:lnTo>
                  <a:lnTo>
                    <a:pt x="412" y="619"/>
                  </a:lnTo>
                  <a:lnTo>
                    <a:pt x="411" y="618"/>
                  </a:lnTo>
                  <a:lnTo>
                    <a:pt x="410" y="617"/>
                  </a:lnTo>
                  <a:lnTo>
                    <a:pt x="408" y="614"/>
                  </a:lnTo>
                  <a:lnTo>
                    <a:pt x="411" y="613"/>
                  </a:lnTo>
                  <a:lnTo>
                    <a:pt x="412" y="612"/>
                  </a:lnTo>
                  <a:lnTo>
                    <a:pt x="416" y="611"/>
                  </a:lnTo>
                  <a:lnTo>
                    <a:pt x="417" y="612"/>
                  </a:lnTo>
                  <a:lnTo>
                    <a:pt x="419" y="611"/>
                  </a:lnTo>
                  <a:lnTo>
                    <a:pt x="418" y="611"/>
                  </a:lnTo>
                  <a:lnTo>
                    <a:pt x="419" y="608"/>
                  </a:lnTo>
                  <a:lnTo>
                    <a:pt x="419" y="607"/>
                  </a:lnTo>
                  <a:lnTo>
                    <a:pt x="420" y="607"/>
                  </a:lnTo>
                  <a:lnTo>
                    <a:pt x="423" y="606"/>
                  </a:lnTo>
                  <a:lnTo>
                    <a:pt x="418" y="606"/>
                  </a:lnTo>
                  <a:lnTo>
                    <a:pt x="414" y="608"/>
                  </a:lnTo>
                  <a:lnTo>
                    <a:pt x="406" y="608"/>
                  </a:lnTo>
                  <a:lnTo>
                    <a:pt x="410" y="606"/>
                  </a:lnTo>
                  <a:lnTo>
                    <a:pt x="413" y="602"/>
                  </a:lnTo>
                  <a:lnTo>
                    <a:pt x="419" y="602"/>
                  </a:lnTo>
                  <a:lnTo>
                    <a:pt x="423" y="602"/>
                  </a:lnTo>
                  <a:lnTo>
                    <a:pt x="426" y="603"/>
                  </a:lnTo>
                  <a:lnTo>
                    <a:pt x="425" y="607"/>
                  </a:lnTo>
                  <a:lnTo>
                    <a:pt x="426" y="609"/>
                  </a:lnTo>
                  <a:lnTo>
                    <a:pt x="426" y="611"/>
                  </a:lnTo>
                  <a:lnTo>
                    <a:pt x="429" y="612"/>
                  </a:lnTo>
                  <a:lnTo>
                    <a:pt x="429" y="611"/>
                  </a:lnTo>
                  <a:lnTo>
                    <a:pt x="431" y="609"/>
                  </a:lnTo>
                  <a:lnTo>
                    <a:pt x="430" y="607"/>
                  </a:lnTo>
                  <a:lnTo>
                    <a:pt x="429" y="607"/>
                  </a:lnTo>
                  <a:lnTo>
                    <a:pt x="429" y="606"/>
                  </a:lnTo>
                  <a:lnTo>
                    <a:pt x="430" y="603"/>
                  </a:lnTo>
                  <a:lnTo>
                    <a:pt x="430" y="601"/>
                  </a:lnTo>
                  <a:lnTo>
                    <a:pt x="429" y="600"/>
                  </a:lnTo>
                  <a:lnTo>
                    <a:pt x="429" y="597"/>
                  </a:lnTo>
                  <a:lnTo>
                    <a:pt x="429" y="596"/>
                  </a:lnTo>
                  <a:lnTo>
                    <a:pt x="428" y="594"/>
                  </a:lnTo>
                  <a:lnTo>
                    <a:pt x="429" y="594"/>
                  </a:lnTo>
                  <a:lnTo>
                    <a:pt x="425" y="593"/>
                  </a:lnTo>
                  <a:lnTo>
                    <a:pt x="405" y="593"/>
                  </a:lnTo>
                  <a:lnTo>
                    <a:pt x="366" y="599"/>
                  </a:lnTo>
                  <a:lnTo>
                    <a:pt x="355" y="600"/>
                  </a:lnTo>
                  <a:lnTo>
                    <a:pt x="348" y="602"/>
                  </a:lnTo>
                  <a:lnTo>
                    <a:pt x="330" y="611"/>
                  </a:lnTo>
                  <a:lnTo>
                    <a:pt x="325" y="611"/>
                  </a:lnTo>
                  <a:lnTo>
                    <a:pt x="334" y="617"/>
                  </a:lnTo>
                  <a:lnTo>
                    <a:pt x="342" y="621"/>
                  </a:lnTo>
                  <a:lnTo>
                    <a:pt x="346" y="626"/>
                  </a:lnTo>
                  <a:lnTo>
                    <a:pt x="351" y="631"/>
                  </a:lnTo>
                  <a:lnTo>
                    <a:pt x="354" y="633"/>
                  </a:lnTo>
                  <a:lnTo>
                    <a:pt x="349" y="631"/>
                  </a:lnTo>
                  <a:lnTo>
                    <a:pt x="347" y="636"/>
                  </a:lnTo>
                  <a:lnTo>
                    <a:pt x="346" y="638"/>
                  </a:lnTo>
                  <a:lnTo>
                    <a:pt x="346" y="642"/>
                  </a:lnTo>
                  <a:lnTo>
                    <a:pt x="349" y="648"/>
                  </a:lnTo>
                  <a:lnTo>
                    <a:pt x="353" y="652"/>
                  </a:lnTo>
                  <a:lnTo>
                    <a:pt x="355" y="655"/>
                  </a:lnTo>
                  <a:lnTo>
                    <a:pt x="357" y="656"/>
                  </a:lnTo>
                  <a:lnTo>
                    <a:pt x="358" y="655"/>
                  </a:lnTo>
                  <a:lnTo>
                    <a:pt x="358" y="658"/>
                  </a:lnTo>
                  <a:lnTo>
                    <a:pt x="355" y="658"/>
                  </a:lnTo>
                  <a:lnTo>
                    <a:pt x="358" y="659"/>
                  </a:lnTo>
                  <a:lnTo>
                    <a:pt x="360" y="661"/>
                  </a:lnTo>
                  <a:lnTo>
                    <a:pt x="363" y="664"/>
                  </a:lnTo>
                  <a:lnTo>
                    <a:pt x="364" y="661"/>
                  </a:lnTo>
                  <a:lnTo>
                    <a:pt x="363" y="660"/>
                  </a:lnTo>
                  <a:lnTo>
                    <a:pt x="361" y="656"/>
                  </a:lnTo>
                  <a:lnTo>
                    <a:pt x="366" y="659"/>
                  </a:lnTo>
                  <a:lnTo>
                    <a:pt x="370" y="664"/>
                  </a:lnTo>
                  <a:lnTo>
                    <a:pt x="367" y="662"/>
                  </a:lnTo>
                  <a:lnTo>
                    <a:pt x="365" y="664"/>
                  </a:lnTo>
                  <a:lnTo>
                    <a:pt x="366" y="667"/>
                  </a:lnTo>
                  <a:lnTo>
                    <a:pt x="369" y="670"/>
                  </a:lnTo>
                  <a:lnTo>
                    <a:pt x="369" y="674"/>
                  </a:lnTo>
                  <a:lnTo>
                    <a:pt x="366" y="672"/>
                  </a:lnTo>
                  <a:lnTo>
                    <a:pt x="365" y="668"/>
                  </a:lnTo>
                  <a:lnTo>
                    <a:pt x="364" y="671"/>
                  </a:lnTo>
                  <a:lnTo>
                    <a:pt x="365" y="677"/>
                  </a:lnTo>
                  <a:lnTo>
                    <a:pt x="365" y="680"/>
                  </a:lnTo>
                  <a:lnTo>
                    <a:pt x="364" y="673"/>
                  </a:lnTo>
                  <a:lnTo>
                    <a:pt x="363" y="677"/>
                  </a:lnTo>
                  <a:lnTo>
                    <a:pt x="361" y="679"/>
                  </a:lnTo>
                  <a:lnTo>
                    <a:pt x="363" y="673"/>
                  </a:lnTo>
                  <a:lnTo>
                    <a:pt x="360" y="676"/>
                  </a:lnTo>
                  <a:lnTo>
                    <a:pt x="363" y="671"/>
                  </a:lnTo>
                  <a:lnTo>
                    <a:pt x="361" y="668"/>
                  </a:lnTo>
                  <a:lnTo>
                    <a:pt x="363" y="667"/>
                  </a:lnTo>
                  <a:lnTo>
                    <a:pt x="364" y="666"/>
                  </a:lnTo>
                  <a:lnTo>
                    <a:pt x="359" y="662"/>
                  </a:lnTo>
                  <a:lnTo>
                    <a:pt x="355" y="658"/>
                  </a:lnTo>
                  <a:lnTo>
                    <a:pt x="352" y="652"/>
                  </a:lnTo>
                  <a:lnTo>
                    <a:pt x="349" y="649"/>
                  </a:lnTo>
                  <a:lnTo>
                    <a:pt x="351" y="658"/>
                  </a:lnTo>
                  <a:lnTo>
                    <a:pt x="352" y="662"/>
                  </a:lnTo>
                  <a:lnTo>
                    <a:pt x="353" y="666"/>
                  </a:lnTo>
                  <a:lnTo>
                    <a:pt x="353" y="664"/>
                  </a:lnTo>
                  <a:lnTo>
                    <a:pt x="357" y="662"/>
                  </a:lnTo>
                  <a:lnTo>
                    <a:pt x="355" y="666"/>
                  </a:lnTo>
                  <a:lnTo>
                    <a:pt x="354" y="667"/>
                  </a:lnTo>
                  <a:lnTo>
                    <a:pt x="355" y="668"/>
                  </a:lnTo>
                  <a:lnTo>
                    <a:pt x="358" y="667"/>
                  </a:lnTo>
                  <a:lnTo>
                    <a:pt x="357" y="671"/>
                  </a:lnTo>
                  <a:lnTo>
                    <a:pt x="355" y="672"/>
                  </a:lnTo>
                  <a:lnTo>
                    <a:pt x="358" y="676"/>
                  </a:lnTo>
                  <a:lnTo>
                    <a:pt x="363" y="682"/>
                  </a:lnTo>
                  <a:lnTo>
                    <a:pt x="366" y="685"/>
                  </a:lnTo>
                  <a:lnTo>
                    <a:pt x="365" y="683"/>
                  </a:lnTo>
                  <a:lnTo>
                    <a:pt x="369" y="684"/>
                  </a:lnTo>
                  <a:lnTo>
                    <a:pt x="370" y="689"/>
                  </a:lnTo>
                  <a:lnTo>
                    <a:pt x="372" y="690"/>
                  </a:lnTo>
                  <a:lnTo>
                    <a:pt x="375" y="689"/>
                  </a:lnTo>
                  <a:lnTo>
                    <a:pt x="376" y="686"/>
                  </a:lnTo>
                  <a:lnTo>
                    <a:pt x="376" y="684"/>
                  </a:lnTo>
                  <a:lnTo>
                    <a:pt x="377" y="682"/>
                  </a:lnTo>
                  <a:lnTo>
                    <a:pt x="381" y="680"/>
                  </a:lnTo>
                  <a:lnTo>
                    <a:pt x="383" y="679"/>
                  </a:lnTo>
                  <a:lnTo>
                    <a:pt x="384" y="683"/>
                  </a:lnTo>
                  <a:lnTo>
                    <a:pt x="382" y="686"/>
                  </a:lnTo>
                  <a:lnTo>
                    <a:pt x="381" y="690"/>
                  </a:lnTo>
                  <a:lnTo>
                    <a:pt x="382" y="692"/>
                  </a:lnTo>
                  <a:lnTo>
                    <a:pt x="385" y="692"/>
                  </a:lnTo>
                  <a:lnTo>
                    <a:pt x="387" y="691"/>
                  </a:lnTo>
                  <a:lnTo>
                    <a:pt x="389" y="688"/>
                  </a:lnTo>
                  <a:lnTo>
                    <a:pt x="388" y="686"/>
                  </a:lnTo>
                  <a:lnTo>
                    <a:pt x="389" y="682"/>
                  </a:lnTo>
                  <a:lnTo>
                    <a:pt x="390" y="685"/>
                  </a:lnTo>
                  <a:lnTo>
                    <a:pt x="390" y="688"/>
                  </a:lnTo>
                  <a:lnTo>
                    <a:pt x="388" y="691"/>
                  </a:lnTo>
                  <a:lnTo>
                    <a:pt x="387" y="692"/>
                  </a:lnTo>
                  <a:lnTo>
                    <a:pt x="387" y="694"/>
                  </a:lnTo>
                  <a:lnTo>
                    <a:pt x="389" y="695"/>
                  </a:lnTo>
                  <a:lnTo>
                    <a:pt x="390" y="696"/>
                  </a:lnTo>
                  <a:lnTo>
                    <a:pt x="395" y="698"/>
                  </a:lnTo>
                  <a:lnTo>
                    <a:pt x="395" y="702"/>
                  </a:lnTo>
                  <a:lnTo>
                    <a:pt x="393" y="701"/>
                  </a:lnTo>
                  <a:lnTo>
                    <a:pt x="391" y="702"/>
                  </a:lnTo>
                  <a:lnTo>
                    <a:pt x="391" y="703"/>
                  </a:lnTo>
                  <a:lnTo>
                    <a:pt x="394" y="709"/>
                  </a:lnTo>
                  <a:lnTo>
                    <a:pt x="390" y="708"/>
                  </a:lnTo>
                  <a:lnTo>
                    <a:pt x="388" y="702"/>
                  </a:lnTo>
                  <a:lnTo>
                    <a:pt x="390" y="700"/>
                  </a:lnTo>
                  <a:lnTo>
                    <a:pt x="388" y="698"/>
                  </a:lnTo>
                  <a:lnTo>
                    <a:pt x="387" y="696"/>
                  </a:lnTo>
                  <a:lnTo>
                    <a:pt x="385" y="695"/>
                  </a:lnTo>
                  <a:lnTo>
                    <a:pt x="384" y="694"/>
                  </a:lnTo>
                  <a:lnTo>
                    <a:pt x="381" y="692"/>
                  </a:lnTo>
                  <a:lnTo>
                    <a:pt x="379" y="695"/>
                  </a:lnTo>
                  <a:lnTo>
                    <a:pt x="383" y="698"/>
                  </a:lnTo>
                  <a:lnTo>
                    <a:pt x="384" y="704"/>
                  </a:lnTo>
                  <a:lnTo>
                    <a:pt x="388" y="707"/>
                  </a:lnTo>
                  <a:lnTo>
                    <a:pt x="388" y="712"/>
                  </a:lnTo>
                  <a:lnTo>
                    <a:pt x="389" y="720"/>
                  </a:lnTo>
                  <a:lnTo>
                    <a:pt x="393" y="725"/>
                  </a:lnTo>
                  <a:lnTo>
                    <a:pt x="395" y="727"/>
                  </a:lnTo>
                  <a:lnTo>
                    <a:pt x="397" y="728"/>
                  </a:lnTo>
                  <a:lnTo>
                    <a:pt x="400" y="728"/>
                  </a:lnTo>
                  <a:lnTo>
                    <a:pt x="402" y="733"/>
                  </a:lnTo>
                  <a:lnTo>
                    <a:pt x="399" y="732"/>
                  </a:lnTo>
                  <a:lnTo>
                    <a:pt x="400" y="734"/>
                  </a:lnTo>
                  <a:lnTo>
                    <a:pt x="397" y="737"/>
                  </a:lnTo>
                  <a:lnTo>
                    <a:pt x="396" y="737"/>
                  </a:lnTo>
                  <a:lnTo>
                    <a:pt x="396" y="738"/>
                  </a:lnTo>
                  <a:lnTo>
                    <a:pt x="394" y="736"/>
                  </a:lnTo>
                  <a:lnTo>
                    <a:pt x="393" y="737"/>
                  </a:lnTo>
                  <a:lnTo>
                    <a:pt x="390" y="742"/>
                  </a:lnTo>
                  <a:lnTo>
                    <a:pt x="388" y="739"/>
                  </a:lnTo>
                  <a:lnTo>
                    <a:pt x="387" y="738"/>
                  </a:lnTo>
                  <a:lnTo>
                    <a:pt x="387" y="737"/>
                  </a:lnTo>
                  <a:lnTo>
                    <a:pt x="387" y="734"/>
                  </a:lnTo>
                  <a:lnTo>
                    <a:pt x="388" y="732"/>
                  </a:lnTo>
                  <a:lnTo>
                    <a:pt x="387" y="728"/>
                  </a:lnTo>
                  <a:lnTo>
                    <a:pt x="389" y="722"/>
                  </a:lnTo>
                  <a:lnTo>
                    <a:pt x="387" y="713"/>
                  </a:lnTo>
                  <a:lnTo>
                    <a:pt x="385" y="714"/>
                  </a:lnTo>
                  <a:lnTo>
                    <a:pt x="384" y="714"/>
                  </a:lnTo>
                  <a:lnTo>
                    <a:pt x="385" y="718"/>
                  </a:lnTo>
                  <a:lnTo>
                    <a:pt x="382" y="716"/>
                  </a:lnTo>
                  <a:lnTo>
                    <a:pt x="377" y="714"/>
                  </a:lnTo>
                  <a:lnTo>
                    <a:pt x="376" y="713"/>
                  </a:lnTo>
                  <a:lnTo>
                    <a:pt x="375" y="714"/>
                  </a:lnTo>
                  <a:lnTo>
                    <a:pt x="376" y="716"/>
                  </a:lnTo>
                  <a:lnTo>
                    <a:pt x="375" y="722"/>
                  </a:lnTo>
                  <a:lnTo>
                    <a:pt x="375" y="724"/>
                  </a:lnTo>
                  <a:lnTo>
                    <a:pt x="372" y="720"/>
                  </a:lnTo>
                  <a:lnTo>
                    <a:pt x="371" y="716"/>
                  </a:lnTo>
                  <a:lnTo>
                    <a:pt x="373" y="714"/>
                  </a:lnTo>
                  <a:lnTo>
                    <a:pt x="375" y="712"/>
                  </a:lnTo>
                  <a:lnTo>
                    <a:pt x="377" y="709"/>
                  </a:lnTo>
                  <a:lnTo>
                    <a:pt x="378" y="707"/>
                  </a:lnTo>
                  <a:lnTo>
                    <a:pt x="378" y="704"/>
                  </a:lnTo>
                  <a:lnTo>
                    <a:pt x="376" y="704"/>
                  </a:lnTo>
                  <a:lnTo>
                    <a:pt x="375" y="707"/>
                  </a:lnTo>
                  <a:lnTo>
                    <a:pt x="375" y="706"/>
                  </a:lnTo>
                  <a:lnTo>
                    <a:pt x="373" y="703"/>
                  </a:lnTo>
                  <a:lnTo>
                    <a:pt x="370" y="708"/>
                  </a:lnTo>
                  <a:lnTo>
                    <a:pt x="366" y="715"/>
                  </a:lnTo>
                  <a:lnTo>
                    <a:pt x="363" y="722"/>
                  </a:lnTo>
                  <a:lnTo>
                    <a:pt x="364" y="725"/>
                  </a:lnTo>
                  <a:lnTo>
                    <a:pt x="365" y="726"/>
                  </a:lnTo>
                  <a:lnTo>
                    <a:pt x="367" y="725"/>
                  </a:lnTo>
                  <a:lnTo>
                    <a:pt x="369" y="728"/>
                  </a:lnTo>
                  <a:lnTo>
                    <a:pt x="367" y="728"/>
                  </a:lnTo>
                  <a:lnTo>
                    <a:pt x="367" y="733"/>
                  </a:lnTo>
                  <a:lnTo>
                    <a:pt x="366" y="734"/>
                  </a:lnTo>
                  <a:lnTo>
                    <a:pt x="369" y="737"/>
                  </a:lnTo>
                  <a:lnTo>
                    <a:pt x="369" y="739"/>
                  </a:lnTo>
                  <a:lnTo>
                    <a:pt x="367" y="738"/>
                  </a:lnTo>
                  <a:lnTo>
                    <a:pt x="369" y="744"/>
                  </a:lnTo>
                  <a:lnTo>
                    <a:pt x="367" y="748"/>
                  </a:lnTo>
                  <a:lnTo>
                    <a:pt x="364" y="743"/>
                  </a:lnTo>
                  <a:lnTo>
                    <a:pt x="361" y="739"/>
                  </a:lnTo>
                  <a:lnTo>
                    <a:pt x="360" y="743"/>
                  </a:lnTo>
                  <a:lnTo>
                    <a:pt x="355" y="746"/>
                  </a:lnTo>
                  <a:lnTo>
                    <a:pt x="355" y="744"/>
                  </a:lnTo>
                  <a:lnTo>
                    <a:pt x="354" y="742"/>
                  </a:lnTo>
                  <a:lnTo>
                    <a:pt x="352" y="744"/>
                  </a:lnTo>
                  <a:lnTo>
                    <a:pt x="351" y="738"/>
                  </a:lnTo>
                  <a:lnTo>
                    <a:pt x="352" y="734"/>
                  </a:lnTo>
                  <a:lnTo>
                    <a:pt x="349" y="736"/>
                  </a:lnTo>
                  <a:lnTo>
                    <a:pt x="349" y="732"/>
                  </a:lnTo>
                  <a:lnTo>
                    <a:pt x="354" y="726"/>
                  </a:lnTo>
                  <a:lnTo>
                    <a:pt x="354" y="724"/>
                  </a:lnTo>
                  <a:lnTo>
                    <a:pt x="351" y="725"/>
                  </a:lnTo>
                  <a:lnTo>
                    <a:pt x="347" y="730"/>
                  </a:lnTo>
                  <a:lnTo>
                    <a:pt x="346" y="730"/>
                  </a:lnTo>
                  <a:lnTo>
                    <a:pt x="346" y="727"/>
                  </a:lnTo>
                  <a:lnTo>
                    <a:pt x="348" y="721"/>
                  </a:lnTo>
                  <a:lnTo>
                    <a:pt x="351" y="719"/>
                  </a:lnTo>
                  <a:lnTo>
                    <a:pt x="355" y="721"/>
                  </a:lnTo>
                  <a:lnTo>
                    <a:pt x="360" y="720"/>
                  </a:lnTo>
                  <a:lnTo>
                    <a:pt x="363" y="718"/>
                  </a:lnTo>
                  <a:lnTo>
                    <a:pt x="366" y="713"/>
                  </a:lnTo>
                  <a:lnTo>
                    <a:pt x="371" y="704"/>
                  </a:lnTo>
                  <a:lnTo>
                    <a:pt x="373" y="700"/>
                  </a:lnTo>
                  <a:lnTo>
                    <a:pt x="371" y="700"/>
                  </a:lnTo>
                  <a:lnTo>
                    <a:pt x="371" y="696"/>
                  </a:lnTo>
                  <a:lnTo>
                    <a:pt x="370" y="695"/>
                  </a:lnTo>
                  <a:lnTo>
                    <a:pt x="370" y="696"/>
                  </a:lnTo>
                  <a:lnTo>
                    <a:pt x="369" y="698"/>
                  </a:lnTo>
                  <a:lnTo>
                    <a:pt x="365" y="700"/>
                  </a:lnTo>
                  <a:lnTo>
                    <a:pt x="361" y="700"/>
                  </a:lnTo>
                  <a:lnTo>
                    <a:pt x="360" y="701"/>
                  </a:lnTo>
                  <a:lnTo>
                    <a:pt x="359" y="702"/>
                  </a:lnTo>
                  <a:lnTo>
                    <a:pt x="353" y="702"/>
                  </a:lnTo>
                  <a:lnTo>
                    <a:pt x="355" y="700"/>
                  </a:lnTo>
                  <a:lnTo>
                    <a:pt x="358" y="697"/>
                  </a:lnTo>
                  <a:lnTo>
                    <a:pt x="359" y="695"/>
                  </a:lnTo>
                  <a:lnTo>
                    <a:pt x="360" y="694"/>
                  </a:lnTo>
                  <a:lnTo>
                    <a:pt x="365" y="694"/>
                  </a:lnTo>
                  <a:lnTo>
                    <a:pt x="367" y="695"/>
                  </a:lnTo>
                  <a:lnTo>
                    <a:pt x="367" y="692"/>
                  </a:lnTo>
                  <a:lnTo>
                    <a:pt x="370" y="691"/>
                  </a:lnTo>
                  <a:lnTo>
                    <a:pt x="370" y="690"/>
                  </a:lnTo>
                  <a:lnTo>
                    <a:pt x="367" y="690"/>
                  </a:lnTo>
                  <a:lnTo>
                    <a:pt x="364" y="688"/>
                  </a:lnTo>
                  <a:lnTo>
                    <a:pt x="364" y="685"/>
                  </a:lnTo>
                  <a:lnTo>
                    <a:pt x="364" y="688"/>
                  </a:lnTo>
                  <a:lnTo>
                    <a:pt x="360" y="688"/>
                  </a:lnTo>
                  <a:lnTo>
                    <a:pt x="357" y="686"/>
                  </a:lnTo>
                  <a:lnTo>
                    <a:pt x="354" y="686"/>
                  </a:lnTo>
                  <a:lnTo>
                    <a:pt x="351" y="685"/>
                  </a:lnTo>
                  <a:lnTo>
                    <a:pt x="348" y="680"/>
                  </a:lnTo>
                  <a:lnTo>
                    <a:pt x="347" y="683"/>
                  </a:lnTo>
                  <a:lnTo>
                    <a:pt x="351" y="688"/>
                  </a:lnTo>
                  <a:lnTo>
                    <a:pt x="352" y="690"/>
                  </a:lnTo>
                  <a:lnTo>
                    <a:pt x="349" y="691"/>
                  </a:lnTo>
                  <a:lnTo>
                    <a:pt x="349" y="695"/>
                  </a:lnTo>
                  <a:lnTo>
                    <a:pt x="351" y="698"/>
                  </a:lnTo>
                  <a:lnTo>
                    <a:pt x="347" y="697"/>
                  </a:lnTo>
                  <a:lnTo>
                    <a:pt x="347" y="700"/>
                  </a:lnTo>
                  <a:lnTo>
                    <a:pt x="347" y="703"/>
                  </a:lnTo>
                  <a:lnTo>
                    <a:pt x="346" y="702"/>
                  </a:lnTo>
                  <a:lnTo>
                    <a:pt x="344" y="698"/>
                  </a:lnTo>
                  <a:lnTo>
                    <a:pt x="343" y="698"/>
                  </a:lnTo>
                  <a:lnTo>
                    <a:pt x="342" y="701"/>
                  </a:lnTo>
                  <a:lnTo>
                    <a:pt x="341" y="698"/>
                  </a:lnTo>
                  <a:lnTo>
                    <a:pt x="340" y="701"/>
                  </a:lnTo>
                  <a:lnTo>
                    <a:pt x="340" y="707"/>
                  </a:lnTo>
                  <a:lnTo>
                    <a:pt x="338" y="702"/>
                  </a:lnTo>
                  <a:lnTo>
                    <a:pt x="336" y="702"/>
                  </a:lnTo>
                  <a:lnTo>
                    <a:pt x="332" y="704"/>
                  </a:lnTo>
                  <a:lnTo>
                    <a:pt x="334" y="698"/>
                  </a:lnTo>
                  <a:lnTo>
                    <a:pt x="334" y="694"/>
                  </a:lnTo>
                  <a:lnTo>
                    <a:pt x="336" y="689"/>
                  </a:lnTo>
                  <a:lnTo>
                    <a:pt x="334" y="688"/>
                  </a:lnTo>
                  <a:lnTo>
                    <a:pt x="331" y="685"/>
                  </a:lnTo>
                  <a:lnTo>
                    <a:pt x="331" y="686"/>
                  </a:lnTo>
                  <a:lnTo>
                    <a:pt x="329" y="685"/>
                  </a:lnTo>
                  <a:lnTo>
                    <a:pt x="325" y="685"/>
                  </a:lnTo>
                  <a:lnTo>
                    <a:pt x="325" y="688"/>
                  </a:lnTo>
                  <a:lnTo>
                    <a:pt x="329" y="690"/>
                  </a:lnTo>
                  <a:lnTo>
                    <a:pt x="329" y="695"/>
                  </a:lnTo>
                  <a:lnTo>
                    <a:pt x="326" y="695"/>
                  </a:lnTo>
                  <a:lnTo>
                    <a:pt x="326" y="698"/>
                  </a:lnTo>
                  <a:lnTo>
                    <a:pt x="324" y="697"/>
                  </a:lnTo>
                  <a:lnTo>
                    <a:pt x="322" y="692"/>
                  </a:lnTo>
                  <a:lnTo>
                    <a:pt x="320" y="690"/>
                  </a:lnTo>
                  <a:lnTo>
                    <a:pt x="318" y="691"/>
                  </a:lnTo>
                  <a:lnTo>
                    <a:pt x="318" y="694"/>
                  </a:lnTo>
                  <a:lnTo>
                    <a:pt x="320" y="696"/>
                  </a:lnTo>
                  <a:lnTo>
                    <a:pt x="323" y="698"/>
                  </a:lnTo>
                  <a:lnTo>
                    <a:pt x="324" y="703"/>
                  </a:lnTo>
                  <a:lnTo>
                    <a:pt x="323" y="709"/>
                  </a:lnTo>
                  <a:lnTo>
                    <a:pt x="319" y="703"/>
                  </a:lnTo>
                  <a:lnTo>
                    <a:pt x="317" y="698"/>
                  </a:lnTo>
                  <a:lnTo>
                    <a:pt x="316" y="700"/>
                  </a:lnTo>
                  <a:lnTo>
                    <a:pt x="314" y="702"/>
                  </a:lnTo>
                  <a:lnTo>
                    <a:pt x="313" y="700"/>
                  </a:lnTo>
                  <a:lnTo>
                    <a:pt x="312" y="700"/>
                  </a:lnTo>
                  <a:lnTo>
                    <a:pt x="310" y="703"/>
                  </a:lnTo>
                  <a:lnTo>
                    <a:pt x="310" y="706"/>
                  </a:lnTo>
                  <a:lnTo>
                    <a:pt x="310" y="709"/>
                  </a:lnTo>
                  <a:lnTo>
                    <a:pt x="313" y="710"/>
                  </a:lnTo>
                  <a:lnTo>
                    <a:pt x="317" y="710"/>
                  </a:lnTo>
                  <a:lnTo>
                    <a:pt x="318" y="712"/>
                  </a:lnTo>
                  <a:lnTo>
                    <a:pt x="316" y="712"/>
                  </a:lnTo>
                  <a:lnTo>
                    <a:pt x="312" y="712"/>
                  </a:lnTo>
                  <a:lnTo>
                    <a:pt x="311" y="710"/>
                  </a:lnTo>
                  <a:lnTo>
                    <a:pt x="311" y="713"/>
                  </a:lnTo>
                  <a:lnTo>
                    <a:pt x="312" y="716"/>
                  </a:lnTo>
                  <a:lnTo>
                    <a:pt x="311" y="715"/>
                  </a:lnTo>
                  <a:lnTo>
                    <a:pt x="311" y="718"/>
                  </a:lnTo>
                  <a:lnTo>
                    <a:pt x="308" y="720"/>
                  </a:lnTo>
                  <a:lnTo>
                    <a:pt x="307" y="718"/>
                  </a:lnTo>
                  <a:lnTo>
                    <a:pt x="308" y="712"/>
                  </a:lnTo>
                  <a:lnTo>
                    <a:pt x="308" y="709"/>
                  </a:lnTo>
                  <a:lnTo>
                    <a:pt x="307" y="713"/>
                  </a:lnTo>
                  <a:lnTo>
                    <a:pt x="306" y="715"/>
                  </a:lnTo>
                  <a:lnTo>
                    <a:pt x="305" y="713"/>
                  </a:lnTo>
                  <a:lnTo>
                    <a:pt x="304" y="715"/>
                  </a:lnTo>
                  <a:lnTo>
                    <a:pt x="302" y="714"/>
                  </a:lnTo>
                  <a:lnTo>
                    <a:pt x="301" y="712"/>
                  </a:lnTo>
                  <a:lnTo>
                    <a:pt x="301" y="709"/>
                  </a:lnTo>
                  <a:lnTo>
                    <a:pt x="300" y="706"/>
                  </a:lnTo>
                  <a:lnTo>
                    <a:pt x="300" y="708"/>
                  </a:lnTo>
                  <a:lnTo>
                    <a:pt x="298" y="709"/>
                  </a:lnTo>
                  <a:lnTo>
                    <a:pt x="299" y="712"/>
                  </a:lnTo>
                  <a:lnTo>
                    <a:pt x="299" y="716"/>
                  </a:lnTo>
                  <a:lnTo>
                    <a:pt x="293" y="721"/>
                  </a:lnTo>
                  <a:lnTo>
                    <a:pt x="295" y="716"/>
                  </a:lnTo>
                  <a:lnTo>
                    <a:pt x="298" y="712"/>
                  </a:lnTo>
                  <a:lnTo>
                    <a:pt x="296" y="709"/>
                  </a:lnTo>
                  <a:lnTo>
                    <a:pt x="294" y="710"/>
                  </a:lnTo>
                  <a:lnTo>
                    <a:pt x="292" y="712"/>
                  </a:lnTo>
                  <a:lnTo>
                    <a:pt x="290" y="713"/>
                  </a:lnTo>
                  <a:lnTo>
                    <a:pt x="287" y="712"/>
                  </a:lnTo>
                  <a:lnTo>
                    <a:pt x="287" y="714"/>
                  </a:lnTo>
                  <a:lnTo>
                    <a:pt x="290" y="718"/>
                  </a:lnTo>
                  <a:lnTo>
                    <a:pt x="289" y="722"/>
                  </a:lnTo>
                  <a:lnTo>
                    <a:pt x="289" y="724"/>
                  </a:lnTo>
                  <a:lnTo>
                    <a:pt x="288" y="724"/>
                  </a:lnTo>
                  <a:lnTo>
                    <a:pt x="284" y="722"/>
                  </a:lnTo>
                  <a:lnTo>
                    <a:pt x="284" y="725"/>
                  </a:lnTo>
                  <a:lnTo>
                    <a:pt x="282" y="727"/>
                  </a:lnTo>
                  <a:lnTo>
                    <a:pt x="281" y="728"/>
                  </a:lnTo>
                  <a:lnTo>
                    <a:pt x="278" y="728"/>
                  </a:lnTo>
                  <a:lnTo>
                    <a:pt x="277" y="725"/>
                  </a:lnTo>
                  <a:lnTo>
                    <a:pt x="276" y="722"/>
                  </a:lnTo>
                  <a:lnTo>
                    <a:pt x="272" y="724"/>
                  </a:lnTo>
                  <a:lnTo>
                    <a:pt x="271" y="724"/>
                  </a:lnTo>
                  <a:lnTo>
                    <a:pt x="273" y="720"/>
                  </a:lnTo>
                  <a:lnTo>
                    <a:pt x="275" y="718"/>
                  </a:lnTo>
                  <a:lnTo>
                    <a:pt x="275" y="714"/>
                  </a:lnTo>
                  <a:lnTo>
                    <a:pt x="276" y="713"/>
                  </a:lnTo>
                  <a:lnTo>
                    <a:pt x="273" y="712"/>
                  </a:lnTo>
                  <a:lnTo>
                    <a:pt x="272" y="712"/>
                  </a:lnTo>
                  <a:lnTo>
                    <a:pt x="275" y="709"/>
                  </a:lnTo>
                  <a:lnTo>
                    <a:pt x="276" y="707"/>
                  </a:lnTo>
                  <a:lnTo>
                    <a:pt x="276" y="706"/>
                  </a:lnTo>
                  <a:lnTo>
                    <a:pt x="273" y="703"/>
                  </a:lnTo>
                  <a:lnTo>
                    <a:pt x="273" y="704"/>
                  </a:lnTo>
                  <a:lnTo>
                    <a:pt x="273" y="707"/>
                  </a:lnTo>
                  <a:lnTo>
                    <a:pt x="272" y="708"/>
                  </a:lnTo>
                  <a:lnTo>
                    <a:pt x="269" y="710"/>
                  </a:lnTo>
                  <a:lnTo>
                    <a:pt x="267" y="709"/>
                  </a:lnTo>
                  <a:lnTo>
                    <a:pt x="265" y="707"/>
                  </a:lnTo>
                  <a:lnTo>
                    <a:pt x="267" y="703"/>
                  </a:lnTo>
                  <a:lnTo>
                    <a:pt x="266" y="700"/>
                  </a:lnTo>
                  <a:lnTo>
                    <a:pt x="265" y="701"/>
                  </a:lnTo>
                  <a:lnTo>
                    <a:pt x="264" y="701"/>
                  </a:lnTo>
                  <a:lnTo>
                    <a:pt x="263" y="700"/>
                  </a:lnTo>
                  <a:lnTo>
                    <a:pt x="263" y="697"/>
                  </a:lnTo>
                  <a:lnTo>
                    <a:pt x="261" y="698"/>
                  </a:lnTo>
                  <a:lnTo>
                    <a:pt x="259" y="698"/>
                  </a:lnTo>
                  <a:lnTo>
                    <a:pt x="258" y="700"/>
                  </a:lnTo>
                  <a:lnTo>
                    <a:pt x="259" y="701"/>
                  </a:lnTo>
                  <a:lnTo>
                    <a:pt x="263" y="701"/>
                  </a:lnTo>
                  <a:lnTo>
                    <a:pt x="264" y="703"/>
                  </a:lnTo>
                  <a:lnTo>
                    <a:pt x="263" y="703"/>
                  </a:lnTo>
                  <a:lnTo>
                    <a:pt x="260" y="706"/>
                  </a:lnTo>
                  <a:lnTo>
                    <a:pt x="260" y="708"/>
                  </a:lnTo>
                  <a:lnTo>
                    <a:pt x="258" y="706"/>
                  </a:lnTo>
                  <a:lnTo>
                    <a:pt x="255" y="704"/>
                  </a:lnTo>
                  <a:lnTo>
                    <a:pt x="257" y="702"/>
                  </a:lnTo>
                  <a:lnTo>
                    <a:pt x="254" y="702"/>
                  </a:lnTo>
                  <a:lnTo>
                    <a:pt x="253" y="704"/>
                  </a:lnTo>
                  <a:lnTo>
                    <a:pt x="253" y="702"/>
                  </a:lnTo>
                  <a:lnTo>
                    <a:pt x="252" y="701"/>
                  </a:lnTo>
                  <a:lnTo>
                    <a:pt x="253" y="700"/>
                  </a:lnTo>
                  <a:lnTo>
                    <a:pt x="257" y="698"/>
                  </a:lnTo>
                  <a:lnTo>
                    <a:pt x="257" y="697"/>
                  </a:lnTo>
                  <a:lnTo>
                    <a:pt x="255" y="697"/>
                  </a:lnTo>
                  <a:lnTo>
                    <a:pt x="257" y="696"/>
                  </a:lnTo>
                  <a:lnTo>
                    <a:pt x="259" y="695"/>
                  </a:lnTo>
                  <a:lnTo>
                    <a:pt x="260" y="694"/>
                  </a:lnTo>
                  <a:lnTo>
                    <a:pt x="265" y="691"/>
                  </a:lnTo>
                  <a:lnTo>
                    <a:pt x="267" y="689"/>
                  </a:lnTo>
                  <a:lnTo>
                    <a:pt x="266" y="688"/>
                  </a:lnTo>
                  <a:lnTo>
                    <a:pt x="266" y="689"/>
                  </a:lnTo>
                  <a:lnTo>
                    <a:pt x="265" y="690"/>
                  </a:lnTo>
                  <a:lnTo>
                    <a:pt x="263" y="689"/>
                  </a:lnTo>
                  <a:lnTo>
                    <a:pt x="259" y="689"/>
                  </a:lnTo>
                  <a:lnTo>
                    <a:pt x="261" y="686"/>
                  </a:lnTo>
                  <a:lnTo>
                    <a:pt x="264" y="685"/>
                  </a:lnTo>
                  <a:lnTo>
                    <a:pt x="264" y="684"/>
                  </a:lnTo>
                  <a:lnTo>
                    <a:pt x="263" y="683"/>
                  </a:lnTo>
                  <a:lnTo>
                    <a:pt x="261" y="684"/>
                  </a:lnTo>
                  <a:lnTo>
                    <a:pt x="257" y="688"/>
                  </a:lnTo>
                  <a:lnTo>
                    <a:pt x="257" y="685"/>
                  </a:lnTo>
                  <a:lnTo>
                    <a:pt x="259" y="683"/>
                  </a:lnTo>
                  <a:lnTo>
                    <a:pt x="260" y="680"/>
                  </a:lnTo>
                  <a:lnTo>
                    <a:pt x="257" y="682"/>
                  </a:lnTo>
                  <a:lnTo>
                    <a:pt x="255" y="684"/>
                  </a:lnTo>
                  <a:lnTo>
                    <a:pt x="251" y="686"/>
                  </a:lnTo>
                  <a:lnTo>
                    <a:pt x="251" y="682"/>
                  </a:lnTo>
                  <a:lnTo>
                    <a:pt x="249" y="682"/>
                  </a:lnTo>
                  <a:lnTo>
                    <a:pt x="248" y="683"/>
                  </a:lnTo>
                  <a:lnTo>
                    <a:pt x="248" y="686"/>
                  </a:lnTo>
                  <a:lnTo>
                    <a:pt x="245" y="683"/>
                  </a:lnTo>
                  <a:lnTo>
                    <a:pt x="242" y="682"/>
                  </a:lnTo>
                  <a:lnTo>
                    <a:pt x="241" y="684"/>
                  </a:lnTo>
                  <a:lnTo>
                    <a:pt x="240" y="685"/>
                  </a:lnTo>
                  <a:lnTo>
                    <a:pt x="237" y="683"/>
                  </a:lnTo>
                  <a:lnTo>
                    <a:pt x="235" y="682"/>
                  </a:lnTo>
                  <a:lnTo>
                    <a:pt x="235" y="678"/>
                  </a:lnTo>
                  <a:lnTo>
                    <a:pt x="236" y="677"/>
                  </a:lnTo>
                  <a:lnTo>
                    <a:pt x="239" y="676"/>
                  </a:lnTo>
                  <a:lnTo>
                    <a:pt x="235" y="676"/>
                  </a:lnTo>
                  <a:lnTo>
                    <a:pt x="233" y="678"/>
                  </a:lnTo>
                  <a:lnTo>
                    <a:pt x="231" y="682"/>
                  </a:lnTo>
                  <a:lnTo>
                    <a:pt x="230" y="683"/>
                  </a:lnTo>
                  <a:lnTo>
                    <a:pt x="230" y="685"/>
                  </a:lnTo>
                  <a:lnTo>
                    <a:pt x="233" y="688"/>
                  </a:lnTo>
                  <a:lnTo>
                    <a:pt x="235" y="689"/>
                  </a:lnTo>
                  <a:lnTo>
                    <a:pt x="237" y="691"/>
                  </a:lnTo>
                  <a:lnTo>
                    <a:pt x="241" y="692"/>
                  </a:lnTo>
                  <a:lnTo>
                    <a:pt x="240" y="694"/>
                  </a:lnTo>
                  <a:lnTo>
                    <a:pt x="239" y="695"/>
                  </a:lnTo>
                  <a:lnTo>
                    <a:pt x="236" y="695"/>
                  </a:lnTo>
                  <a:lnTo>
                    <a:pt x="236" y="696"/>
                  </a:lnTo>
                  <a:lnTo>
                    <a:pt x="241" y="697"/>
                  </a:lnTo>
                  <a:lnTo>
                    <a:pt x="243" y="702"/>
                  </a:lnTo>
                  <a:lnTo>
                    <a:pt x="241" y="702"/>
                  </a:lnTo>
                  <a:lnTo>
                    <a:pt x="237" y="700"/>
                  </a:lnTo>
                  <a:lnTo>
                    <a:pt x="236" y="701"/>
                  </a:lnTo>
                  <a:lnTo>
                    <a:pt x="235" y="702"/>
                  </a:lnTo>
                  <a:lnTo>
                    <a:pt x="229" y="700"/>
                  </a:lnTo>
                  <a:lnTo>
                    <a:pt x="228" y="700"/>
                  </a:lnTo>
                  <a:lnTo>
                    <a:pt x="227" y="701"/>
                  </a:lnTo>
                  <a:lnTo>
                    <a:pt x="224" y="707"/>
                  </a:lnTo>
                  <a:lnTo>
                    <a:pt x="223" y="707"/>
                  </a:lnTo>
                  <a:lnTo>
                    <a:pt x="223" y="704"/>
                  </a:lnTo>
                  <a:lnTo>
                    <a:pt x="220" y="700"/>
                  </a:lnTo>
                  <a:lnTo>
                    <a:pt x="220" y="696"/>
                  </a:lnTo>
                  <a:lnTo>
                    <a:pt x="219" y="700"/>
                  </a:lnTo>
                  <a:lnTo>
                    <a:pt x="218" y="703"/>
                  </a:lnTo>
                  <a:lnTo>
                    <a:pt x="219" y="704"/>
                  </a:lnTo>
                  <a:lnTo>
                    <a:pt x="217" y="703"/>
                  </a:lnTo>
                  <a:lnTo>
                    <a:pt x="214" y="701"/>
                  </a:lnTo>
                  <a:lnTo>
                    <a:pt x="216" y="704"/>
                  </a:lnTo>
                  <a:lnTo>
                    <a:pt x="216" y="708"/>
                  </a:lnTo>
                  <a:lnTo>
                    <a:pt x="216" y="710"/>
                  </a:lnTo>
                  <a:lnTo>
                    <a:pt x="218" y="712"/>
                  </a:lnTo>
                  <a:lnTo>
                    <a:pt x="220" y="713"/>
                  </a:lnTo>
                  <a:lnTo>
                    <a:pt x="220" y="715"/>
                  </a:lnTo>
                  <a:lnTo>
                    <a:pt x="220" y="719"/>
                  </a:lnTo>
                  <a:lnTo>
                    <a:pt x="222" y="719"/>
                  </a:lnTo>
                  <a:lnTo>
                    <a:pt x="223" y="718"/>
                  </a:lnTo>
                  <a:lnTo>
                    <a:pt x="223" y="712"/>
                  </a:lnTo>
                  <a:lnTo>
                    <a:pt x="224" y="710"/>
                  </a:lnTo>
                  <a:lnTo>
                    <a:pt x="227" y="715"/>
                  </a:lnTo>
                  <a:lnTo>
                    <a:pt x="228" y="720"/>
                  </a:lnTo>
                  <a:lnTo>
                    <a:pt x="224" y="725"/>
                  </a:lnTo>
                  <a:lnTo>
                    <a:pt x="224" y="722"/>
                  </a:lnTo>
                  <a:lnTo>
                    <a:pt x="222" y="720"/>
                  </a:lnTo>
                  <a:lnTo>
                    <a:pt x="223" y="725"/>
                  </a:lnTo>
                  <a:lnTo>
                    <a:pt x="222" y="726"/>
                  </a:lnTo>
                  <a:lnTo>
                    <a:pt x="219" y="724"/>
                  </a:lnTo>
                  <a:lnTo>
                    <a:pt x="216" y="722"/>
                  </a:lnTo>
                  <a:lnTo>
                    <a:pt x="218" y="721"/>
                  </a:lnTo>
                  <a:lnTo>
                    <a:pt x="219" y="719"/>
                  </a:lnTo>
                  <a:lnTo>
                    <a:pt x="219" y="718"/>
                  </a:lnTo>
                  <a:lnTo>
                    <a:pt x="217" y="719"/>
                  </a:lnTo>
                  <a:lnTo>
                    <a:pt x="214" y="720"/>
                  </a:lnTo>
                  <a:lnTo>
                    <a:pt x="214" y="716"/>
                  </a:lnTo>
                  <a:lnTo>
                    <a:pt x="212" y="715"/>
                  </a:lnTo>
                  <a:lnTo>
                    <a:pt x="206" y="716"/>
                  </a:lnTo>
                  <a:lnTo>
                    <a:pt x="207" y="713"/>
                  </a:lnTo>
                  <a:lnTo>
                    <a:pt x="210" y="710"/>
                  </a:lnTo>
                  <a:lnTo>
                    <a:pt x="213" y="710"/>
                  </a:lnTo>
                  <a:lnTo>
                    <a:pt x="213" y="709"/>
                  </a:lnTo>
                  <a:lnTo>
                    <a:pt x="210" y="709"/>
                  </a:lnTo>
                  <a:lnTo>
                    <a:pt x="210" y="708"/>
                  </a:lnTo>
                  <a:lnTo>
                    <a:pt x="211" y="706"/>
                  </a:lnTo>
                  <a:lnTo>
                    <a:pt x="210" y="703"/>
                  </a:lnTo>
                  <a:lnTo>
                    <a:pt x="210" y="702"/>
                  </a:lnTo>
                  <a:lnTo>
                    <a:pt x="208" y="701"/>
                  </a:lnTo>
                  <a:lnTo>
                    <a:pt x="207" y="703"/>
                  </a:lnTo>
                  <a:lnTo>
                    <a:pt x="206" y="703"/>
                  </a:lnTo>
                  <a:lnTo>
                    <a:pt x="205" y="706"/>
                  </a:lnTo>
                  <a:lnTo>
                    <a:pt x="205" y="709"/>
                  </a:lnTo>
                  <a:lnTo>
                    <a:pt x="202" y="706"/>
                  </a:lnTo>
                  <a:lnTo>
                    <a:pt x="200" y="702"/>
                  </a:lnTo>
                  <a:lnTo>
                    <a:pt x="200" y="700"/>
                  </a:lnTo>
                  <a:lnTo>
                    <a:pt x="198" y="697"/>
                  </a:lnTo>
                  <a:lnTo>
                    <a:pt x="200" y="695"/>
                  </a:lnTo>
                  <a:lnTo>
                    <a:pt x="200" y="692"/>
                  </a:lnTo>
                  <a:lnTo>
                    <a:pt x="198" y="694"/>
                  </a:lnTo>
                  <a:lnTo>
                    <a:pt x="198" y="692"/>
                  </a:lnTo>
                  <a:lnTo>
                    <a:pt x="196" y="691"/>
                  </a:lnTo>
                  <a:lnTo>
                    <a:pt x="194" y="691"/>
                  </a:lnTo>
                  <a:lnTo>
                    <a:pt x="193" y="690"/>
                  </a:lnTo>
                  <a:lnTo>
                    <a:pt x="192" y="689"/>
                  </a:lnTo>
                  <a:lnTo>
                    <a:pt x="192" y="686"/>
                  </a:lnTo>
                  <a:lnTo>
                    <a:pt x="190" y="690"/>
                  </a:lnTo>
                  <a:lnTo>
                    <a:pt x="192" y="691"/>
                  </a:lnTo>
                  <a:lnTo>
                    <a:pt x="195" y="692"/>
                  </a:lnTo>
                  <a:lnTo>
                    <a:pt x="194" y="695"/>
                  </a:lnTo>
                  <a:lnTo>
                    <a:pt x="193" y="696"/>
                  </a:lnTo>
                  <a:lnTo>
                    <a:pt x="193" y="698"/>
                  </a:lnTo>
                  <a:lnTo>
                    <a:pt x="190" y="701"/>
                  </a:lnTo>
                  <a:lnTo>
                    <a:pt x="194" y="701"/>
                  </a:lnTo>
                  <a:lnTo>
                    <a:pt x="196" y="701"/>
                  </a:lnTo>
                  <a:lnTo>
                    <a:pt x="198" y="704"/>
                  </a:lnTo>
                  <a:lnTo>
                    <a:pt x="196" y="707"/>
                  </a:lnTo>
                  <a:lnTo>
                    <a:pt x="195" y="707"/>
                  </a:lnTo>
                  <a:lnTo>
                    <a:pt x="194" y="708"/>
                  </a:lnTo>
                  <a:lnTo>
                    <a:pt x="193" y="709"/>
                  </a:lnTo>
                  <a:lnTo>
                    <a:pt x="190" y="710"/>
                  </a:lnTo>
                  <a:lnTo>
                    <a:pt x="189" y="709"/>
                  </a:lnTo>
                  <a:lnTo>
                    <a:pt x="189" y="704"/>
                  </a:lnTo>
                  <a:lnTo>
                    <a:pt x="188" y="703"/>
                  </a:lnTo>
                  <a:lnTo>
                    <a:pt x="187" y="707"/>
                  </a:lnTo>
                  <a:lnTo>
                    <a:pt x="186" y="712"/>
                  </a:lnTo>
                  <a:lnTo>
                    <a:pt x="186" y="708"/>
                  </a:lnTo>
                  <a:lnTo>
                    <a:pt x="184" y="709"/>
                  </a:lnTo>
                  <a:lnTo>
                    <a:pt x="182" y="712"/>
                  </a:lnTo>
                  <a:lnTo>
                    <a:pt x="182" y="707"/>
                  </a:lnTo>
                  <a:lnTo>
                    <a:pt x="181" y="704"/>
                  </a:lnTo>
                  <a:lnTo>
                    <a:pt x="180" y="704"/>
                  </a:lnTo>
                  <a:lnTo>
                    <a:pt x="178" y="706"/>
                  </a:lnTo>
                  <a:lnTo>
                    <a:pt x="178" y="707"/>
                  </a:lnTo>
                  <a:lnTo>
                    <a:pt x="180" y="709"/>
                  </a:lnTo>
                  <a:lnTo>
                    <a:pt x="177" y="713"/>
                  </a:lnTo>
                  <a:lnTo>
                    <a:pt x="175" y="715"/>
                  </a:lnTo>
                  <a:lnTo>
                    <a:pt x="174" y="713"/>
                  </a:lnTo>
                  <a:lnTo>
                    <a:pt x="171" y="710"/>
                  </a:lnTo>
                  <a:lnTo>
                    <a:pt x="170" y="714"/>
                  </a:lnTo>
                  <a:lnTo>
                    <a:pt x="171" y="718"/>
                  </a:lnTo>
                  <a:lnTo>
                    <a:pt x="172" y="718"/>
                  </a:lnTo>
                  <a:lnTo>
                    <a:pt x="176" y="718"/>
                  </a:lnTo>
                  <a:lnTo>
                    <a:pt x="177" y="720"/>
                  </a:lnTo>
                  <a:lnTo>
                    <a:pt x="178" y="720"/>
                  </a:lnTo>
                  <a:lnTo>
                    <a:pt x="180" y="716"/>
                  </a:lnTo>
                  <a:lnTo>
                    <a:pt x="181" y="712"/>
                  </a:lnTo>
                  <a:lnTo>
                    <a:pt x="181" y="714"/>
                  </a:lnTo>
                  <a:lnTo>
                    <a:pt x="182" y="714"/>
                  </a:lnTo>
                  <a:lnTo>
                    <a:pt x="187" y="715"/>
                  </a:lnTo>
                  <a:lnTo>
                    <a:pt x="184" y="719"/>
                  </a:lnTo>
                  <a:lnTo>
                    <a:pt x="182" y="720"/>
                  </a:lnTo>
                  <a:lnTo>
                    <a:pt x="182" y="721"/>
                  </a:lnTo>
                  <a:lnTo>
                    <a:pt x="183" y="722"/>
                  </a:lnTo>
                  <a:lnTo>
                    <a:pt x="181" y="724"/>
                  </a:lnTo>
                  <a:lnTo>
                    <a:pt x="180" y="722"/>
                  </a:lnTo>
                  <a:lnTo>
                    <a:pt x="175" y="721"/>
                  </a:lnTo>
                  <a:lnTo>
                    <a:pt x="175" y="722"/>
                  </a:lnTo>
                  <a:lnTo>
                    <a:pt x="176" y="725"/>
                  </a:lnTo>
                  <a:lnTo>
                    <a:pt x="174" y="727"/>
                  </a:lnTo>
                  <a:lnTo>
                    <a:pt x="174" y="730"/>
                  </a:lnTo>
                  <a:lnTo>
                    <a:pt x="171" y="726"/>
                  </a:lnTo>
                  <a:lnTo>
                    <a:pt x="169" y="721"/>
                  </a:lnTo>
                  <a:lnTo>
                    <a:pt x="166" y="721"/>
                  </a:lnTo>
                  <a:lnTo>
                    <a:pt x="164" y="724"/>
                  </a:lnTo>
                  <a:lnTo>
                    <a:pt x="165" y="720"/>
                  </a:lnTo>
                  <a:lnTo>
                    <a:pt x="163" y="722"/>
                  </a:lnTo>
                  <a:lnTo>
                    <a:pt x="161" y="726"/>
                  </a:lnTo>
                  <a:lnTo>
                    <a:pt x="160" y="725"/>
                  </a:lnTo>
                  <a:lnTo>
                    <a:pt x="155" y="728"/>
                  </a:lnTo>
                  <a:lnTo>
                    <a:pt x="154" y="731"/>
                  </a:lnTo>
                  <a:lnTo>
                    <a:pt x="152" y="728"/>
                  </a:lnTo>
                  <a:lnTo>
                    <a:pt x="149" y="727"/>
                  </a:lnTo>
                  <a:lnTo>
                    <a:pt x="146" y="731"/>
                  </a:lnTo>
                  <a:lnTo>
                    <a:pt x="145" y="734"/>
                  </a:lnTo>
                  <a:lnTo>
                    <a:pt x="142" y="730"/>
                  </a:lnTo>
                  <a:lnTo>
                    <a:pt x="140" y="726"/>
                  </a:lnTo>
                  <a:lnTo>
                    <a:pt x="139" y="724"/>
                  </a:lnTo>
                  <a:lnTo>
                    <a:pt x="137" y="725"/>
                  </a:lnTo>
                  <a:lnTo>
                    <a:pt x="139" y="721"/>
                  </a:lnTo>
                  <a:lnTo>
                    <a:pt x="142" y="716"/>
                  </a:lnTo>
                  <a:lnTo>
                    <a:pt x="146" y="715"/>
                  </a:lnTo>
                  <a:lnTo>
                    <a:pt x="148" y="716"/>
                  </a:lnTo>
                  <a:lnTo>
                    <a:pt x="151" y="716"/>
                  </a:lnTo>
                  <a:lnTo>
                    <a:pt x="149" y="714"/>
                  </a:lnTo>
                  <a:lnTo>
                    <a:pt x="148" y="713"/>
                  </a:lnTo>
                  <a:lnTo>
                    <a:pt x="146" y="714"/>
                  </a:lnTo>
                  <a:lnTo>
                    <a:pt x="141" y="714"/>
                  </a:lnTo>
                  <a:lnTo>
                    <a:pt x="139" y="713"/>
                  </a:lnTo>
                  <a:lnTo>
                    <a:pt x="136" y="713"/>
                  </a:lnTo>
                  <a:lnTo>
                    <a:pt x="131" y="715"/>
                  </a:lnTo>
                  <a:lnTo>
                    <a:pt x="127" y="720"/>
                  </a:lnTo>
                  <a:lnTo>
                    <a:pt x="127" y="716"/>
                  </a:lnTo>
                  <a:lnTo>
                    <a:pt x="128" y="713"/>
                  </a:lnTo>
                  <a:lnTo>
                    <a:pt x="130" y="709"/>
                  </a:lnTo>
                  <a:lnTo>
                    <a:pt x="134" y="709"/>
                  </a:lnTo>
                  <a:lnTo>
                    <a:pt x="136" y="709"/>
                  </a:lnTo>
                  <a:lnTo>
                    <a:pt x="141" y="707"/>
                  </a:lnTo>
                  <a:lnTo>
                    <a:pt x="135" y="706"/>
                  </a:lnTo>
                  <a:lnTo>
                    <a:pt x="130" y="707"/>
                  </a:lnTo>
                  <a:lnTo>
                    <a:pt x="127" y="707"/>
                  </a:lnTo>
                  <a:lnTo>
                    <a:pt x="125" y="708"/>
                  </a:lnTo>
                  <a:lnTo>
                    <a:pt x="124" y="709"/>
                  </a:lnTo>
                  <a:lnTo>
                    <a:pt x="125" y="707"/>
                  </a:lnTo>
                  <a:lnTo>
                    <a:pt x="122" y="708"/>
                  </a:lnTo>
                  <a:lnTo>
                    <a:pt x="121" y="709"/>
                  </a:lnTo>
                  <a:lnTo>
                    <a:pt x="122" y="706"/>
                  </a:lnTo>
                  <a:lnTo>
                    <a:pt x="124" y="702"/>
                  </a:lnTo>
                  <a:lnTo>
                    <a:pt x="133" y="702"/>
                  </a:lnTo>
                  <a:lnTo>
                    <a:pt x="136" y="703"/>
                  </a:lnTo>
                  <a:lnTo>
                    <a:pt x="140" y="706"/>
                  </a:lnTo>
                  <a:lnTo>
                    <a:pt x="143" y="706"/>
                  </a:lnTo>
                  <a:lnTo>
                    <a:pt x="147" y="703"/>
                  </a:lnTo>
                  <a:lnTo>
                    <a:pt x="153" y="702"/>
                  </a:lnTo>
                  <a:lnTo>
                    <a:pt x="154" y="701"/>
                  </a:lnTo>
                  <a:lnTo>
                    <a:pt x="153" y="701"/>
                  </a:lnTo>
                  <a:lnTo>
                    <a:pt x="152" y="702"/>
                  </a:lnTo>
                  <a:lnTo>
                    <a:pt x="149" y="701"/>
                  </a:lnTo>
                  <a:lnTo>
                    <a:pt x="146" y="702"/>
                  </a:lnTo>
                  <a:lnTo>
                    <a:pt x="143" y="703"/>
                  </a:lnTo>
                  <a:lnTo>
                    <a:pt x="137" y="702"/>
                  </a:lnTo>
                  <a:lnTo>
                    <a:pt x="139" y="700"/>
                  </a:lnTo>
                  <a:lnTo>
                    <a:pt x="136" y="700"/>
                  </a:lnTo>
                  <a:lnTo>
                    <a:pt x="137" y="697"/>
                  </a:lnTo>
                  <a:lnTo>
                    <a:pt x="134" y="698"/>
                  </a:lnTo>
                  <a:lnTo>
                    <a:pt x="130" y="698"/>
                  </a:lnTo>
                  <a:lnTo>
                    <a:pt x="127" y="698"/>
                  </a:lnTo>
                  <a:lnTo>
                    <a:pt x="121" y="700"/>
                  </a:lnTo>
                  <a:lnTo>
                    <a:pt x="121" y="696"/>
                  </a:lnTo>
                  <a:lnTo>
                    <a:pt x="122" y="694"/>
                  </a:lnTo>
                  <a:lnTo>
                    <a:pt x="121" y="692"/>
                  </a:lnTo>
                  <a:lnTo>
                    <a:pt x="118" y="691"/>
                  </a:lnTo>
                  <a:lnTo>
                    <a:pt x="118" y="688"/>
                  </a:lnTo>
                  <a:lnTo>
                    <a:pt x="116" y="689"/>
                  </a:lnTo>
                  <a:lnTo>
                    <a:pt x="115" y="686"/>
                  </a:lnTo>
                  <a:lnTo>
                    <a:pt x="113" y="688"/>
                  </a:lnTo>
                  <a:lnTo>
                    <a:pt x="112" y="689"/>
                  </a:lnTo>
                  <a:lnTo>
                    <a:pt x="110" y="688"/>
                  </a:lnTo>
                  <a:lnTo>
                    <a:pt x="107" y="689"/>
                  </a:lnTo>
                  <a:lnTo>
                    <a:pt x="105" y="695"/>
                  </a:lnTo>
                  <a:lnTo>
                    <a:pt x="101" y="702"/>
                  </a:lnTo>
                  <a:lnTo>
                    <a:pt x="99" y="706"/>
                  </a:lnTo>
                  <a:lnTo>
                    <a:pt x="98" y="702"/>
                  </a:lnTo>
                  <a:lnTo>
                    <a:pt x="95" y="698"/>
                  </a:lnTo>
                  <a:lnTo>
                    <a:pt x="93" y="700"/>
                  </a:lnTo>
                  <a:lnTo>
                    <a:pt x="92" y="701"/>
                  </a:lnTo>
                  <a:lnTo>
                    <a:pt x="93" y="703"/>
                  </a:lnTo>
                  <a:lnTo>
                    <a:pt x="92" y="704"/>
                  </a:lnTo>
                  <a:lnTo>
                    <a:pt x="92" y="707"/>
                  </a:lnTo>
                  <a:lnTo>
                    <a:pt x="89" y="708"/>
                  </a:lnTo>
                  <a:lnTo>
                    <a:pt x="93" y="708"/>
                  </a:lnTo>
                  <a:lnTo>
                    <a:pt x="95" y="709"/>
                  </a:lnTo>
                  <a:lnTo>
                    <a:pt x="95" y="710"/>
                  </a:lnTo>
                  <a:lnTo>
                    <a:pt x="94" y="716"/>
                  </a:lnTo>
                  <a:lnTo>
                    <a:pt x="92" y="715"/>
                  </a:lnTo>
                  <a:lnTo>
                    <a:pt x="87" y="714"/>
                  </a:lnTo>
                  <a:lnTo>
                    <a:pt x="86" y="712"/>
                  </a:lnTo>
                  <a:lnTo>
                    <a:pt x="84" y="712"/>
                  </a:lnTo>
                  <a:lnTo>
                    <a:pt x="86" y="716"/>
                  </a:lnTo>
                  <a:lnTo>
                    <a:pt x="82" y="713"/>
                  </a:lnTo>
                  <a:lnTo>
                    <a:pt x="81" y="710"/>
                  </a:lnTo>
                  <a:lnTo>
                    <a:pt x="78" y="713"/>
                  </a:lnTo>
                  <a:lnTo>
                    <a:pt x="78" y="715"/>
                  </a:lnTo>
                  <a:lnTo>
                    <a:pt x="75" y="716"/>
                  </a:lnTo>
                  <a:lnTo>
                    <a:pt x="72" y="716"/>
                  </a:lnTo>
                  <a:lnTo>
                    <a:pt x="71" y="716"/>
                  </a:lnTo>
                  <a:lnTo>
                    <a:pt x="69" y="720"/>
                  </a:lnTo>
                  <a:lnTo>
                    <a:pt x="66" y="724"/>
                  </a:lnTo>
                  <a:lnTo>
                    <a:pt x="65" y="721"/>
                  </a:lnTo>
                  <a:lnTo>
                    <a:pt x="62" y="721"/>
                  </a:lnTo>
                  <a:lnTo>
                    <a:pt x="59" y="719"/>
                  </a:lnTo>
                  <a:lnTo>
                    <a:pt x="53" y="722"/>
                  </a:lnTo>
                  <a:lnTo>
                    <a:pt x="48" y="724"/>
                  </a:lnTo>
                  <a:lnTo>
                    <a:pt x="47" y="727"/>
                  </a:lnTo>
                  <a:lnTo>
                    <a:pt x="46" y="730"/>
                  </a:lnTo>
                  <a:lnTo>
                    <a:pt x="45" y="732"/>
                  </a:lnTo>
                  <a:lnTo>
                    <a:pt x="42" y="731"/>
                  </a:lnTo>
                  <a:lnTo>
                    <a:pt x="41" y="728"/>
                  </a:lnTo>
                  <a:lnTo>
                    <a:pt x="42" y="727"/>
                  </a:lnTo>
                  <a:lnTo>
                    <a:pt x="39" y="727"/>
                  </a:lnTo>
                  <a:lnTo>
                    <a:pt x="37" y="727"/>
                  </a:lnTo>
                  <a:lnTo>
                    <a:pt x="40" y="725"/>
                  </a:lnTo>
                  <a:lnTo>
                    <a:pt x="37" y="726"/>
                  </a:lnTo>
                  <a:lnTo>
                    <a:pt x="37" y="722"/>
                  </a:lnTo>
                  <a:lnTo>
                    <a:pt x="36" y="725"/>
                  </a:lnTo>
                  <a:lnTo>
                    <a:pt x="36" y="724"/>
                  </a:lnTo>
                  <a:lnTo>
                    <a:pt x="31" y="724"/>
                  </a:lnTo>
                  <a:lnTo>
                    <a:pt x="27" y="726"/>
                  </a:lnTo>
                  <a:lnTo>
                    <a:pt x="27" y="725"/>
                  </a:lnTo>
                  <a:lnTo>
                    <a:pt x="23" y="727"/>
                  </a:lnTo>
                  <a:lnTo>
                    <a:pt x="19" y="728"/>
                  </a:lnTo>
                  <a:lnTo>
                    <a:pt x="23" y="724"/>
                  </a:lnTo>
                  <a:lnTo>
                    <a:pt x="23" y="722"/>
                  </a:lnTo>
                  <a:lnTo>
                    <a:pt x="21" y="722"/>
                  </a:lnTo>
                  <a:lnTo>
                    <a:pt x="24" y="716"/>
                  </a:lnTo>
                  <a:lnTo>
                    <a:pt x="28" y="712"/>
                  </a:lnTo>
                  <a:lnTo>
                    <a:pt x="31" y="710"/>
                  </a:lnTo>
                  <a:lnTo>
                    <a:pt x="29" y="709"/>
                  </a:lnTo>
                  <a:lnTo>
                    <a:pt x="22" y="714"/>
                  </a:lnTo>
                  <a:lnTo>
                    <a:pt x="19" y="719"/>
                  </a:lnTo>
                  <a:lnTo>
                    <a:pt x="24" y="710"/>
                  </a:lnTo>
                  <a:lnTo>
                    <a:pt x="23" y="706"/>
                  </a:lnTo>
                  <a:lnTo>
                    <a:pt x="22" y="703"/>
                  </a:lnTo>
                  <a:lnTo>
                    <a:pt x="27" y="698"/>
                  </a:lnTo>
                  <a:lnTo>
                    <a:pt x="23" y="698"/>
                  </a:lnTo>
                  <a:lnTo>
                    <a:pt x="21" y="701"/>
                  </a:lnTo>
                  <a:lnTo>
                    <a:pt x="16" y="703"/>
                  </a:lnTo>
                  <a:lnTo>
                    <a:pt x="15" y="701"/>
                  </a:lnTo>
                  <a:lnTo>
                    <a:pt x="15" y="695"/>
                  </a:lnTo>
                  <a:lnTo>
                    <a:pt x="17" y="691"/>
                  </a:lnTo>
                  <a:lnTo>
                    <a:pt x="19" y="690"/>
                  </a:lnTo>
                  <a:lnTo>
                    <a:pt x="22" y="691"/>
                  </a:lnTo>
                  <a:lnTo>
                    <a:pt x="25" y="690"/>
                  </a:lnTo>
                  <a:lnTo>
                    <a:pt x="30" y="688"/>
                  </a:lnTo>
                  <a:lnTo>
                    <a:pt x="33" y="686"/>
                  </a:lnTo>
                  <a:lnTo>
                    <a:pt x="35" y="684"/>
                  </a:lnTo>
                  <a:lnTo>
                    <a:pt x="36" y="684"/>
                  </a:lnTo>
                  <a:lnTo>
                    <a:pt x="37" y="689"/>
                  </a:lnTo>
                  <a:lnTo>
                    <a:pt x="39" y="686"/>
                  </a:lnTo>
                  <a:lnTo>
                    <a:pt x="42" y="686"/>
                  </a:lnTo>
                  <a:lnTo>
                    <a:pt x="45" y="685"/>
                  </a:lnTo>
                  <a:lnTo>
                    <a:pt x="52" y="682"/>
                  </a:lnTo>
                  <a:lnTo>
                    <a:pt x="58" y="683"/>
                  </a:lnTo>
                  <a:lnTo>
                    <a:pt x="54" y="684"/>
                  </a:lnTo>
                  <a:lnTo>
                    <a:pt x="52" y="686"/>
                  </a:lnTo>
                  <a:lnTo>
                    <a:pt x="48" y="688"/>
                  </a:lnTo>
                  <a:lnTo>
                    <a:pt x="48" y="691"/>
                  </a:lnTo>
                  <a:lnTo>
                    <a:pt x="47" y="692"/>
                  </a:lnTo>
                  <a:lnTo>
                    <a:pt x="48" y="692"/>
                  </a:lnTo>
                  <a:lnTo>
                    <a:pt x="53" y="691"/>
                  </a:lnTo>
                  <a:lnTo>
                    <a:pt x="54" y="689"/>
                  </a:lnTo>
                  <a:lnTo>
                    <a:pt x="56" y="686"/>
                  </a:lnTo>
                  <a:lnTo>
                    <a:pt x="57" y="685"/>
                  </a:lnTo>
                  <a:lnTo>
                    <a:pt x="58" y="685"/>
                  </a:lnTo>
                  <a:lnTo>
                    <a:pt x="62" y="685"/>
                  </a:lnTo>
                  <a:lnTo>
                    <a:pt x="65" y="684"/>
                  </a:lnTo>
                  <a:lnTo>
                    <a:pt x="63" y="683"/>
                  </a:lnTo>
                  <a:lnTo>
                    <a:pt x="60" y="684"/>
                  </a:lnTo>
                  <a:lnTo>
                    <a:pt x="60" y="682"/>
                  </a:lnTo>
                  <a:lnTo>
                    <a:pt x="63" y="676"/>
                  </a:lnTo>
                  <a:lnTo>
                    <a:pt x="66" y="673"/>
                  </a:lnTo>
                  <a:lnTo>
                    <a:pt x="68" y="671"/>
                  </a:lnTo>
                  <a:lnTo>
                    <a:pt x="69" y="670"/>
                  </a:lnTo>
                  <a:lnTo>
                    <a:pt x="65" y="671"/>
                  </a:lnTo>
                  <a:lnTo>
                    <a:pt x="64" y="674"/>
                  </a:lnTo>
                  <a:lnTo>
                    <a:pt x="64" y="670"/>
                  </a:lnTo>
                  <a:lnTo>
                    <a:pt x="62" y="670"/>
                  </a:lnTo>
                  <a:lnTo>
                    <a:pt x="56" y="674"/>
                  </a:lnTo>
                  <a:lnTo>
                    <a:pt x="60" y="666"/>
                  </a:lnTo>
                  <a:lnTo>
                    <a:pt x="63" y="662"/>
                  </a:lnTo>
                  <a:lnTo>
                    <a:pt x="68" y="660"/>
                  </a:lnTo>
                  <a:lnTo>
                    <a:pt x="66" y="656"/>
                  </a:lnTo>
                  <a:lnTo>
                    <a:pt x="68" y="654"/>
                  </a:lnTo>
                  <a:lnTo>
                    <a:pt x="64" y="653"/>
                  </a:lnTo>
                  <a:lnTo>
                    <a:pt x="58" y="654"/>
                  </a:lnTo>
                  <a:lnTo>
                    <a:pt x="63" y="649"/>
                  </a:lnTo>
                  <a:lnTo>
                    <a:pt x="68" y="647"/>
                  </a:lnTo>
                  <a:lnTo>
                    <a:pt x="66" y="647"/>
                  </a:lnTo>
                  <a:lnTo>
                    <a:pt x="72" y="646"/>
                  </a:lnTo>
                  <a:lnTo>
                    <a:pt x="76" y="648"/>
                  </a:lnTo>
                  <a:lnTo>
                    <a:pt x="78" y="649"/>
                  </a:lnTo>
                  <a:lnTo>
                    <a:pt x="80" y="649"/>
                  </a:lnTo>
                  <a:lnTo>
                    <a:pt x="83" y="649"/>
                  </a:lnTo>
                  <a:lnTo>
                    <a:pt x="86" y="649"/>
                  </a:lnTo>
                  <a:lnTo>
                    <a:pt x="84" y="648"/>
                  </a:lnTo>
                  <a:lnTo>
                    <a:pt x="78" y="647"/>
                  </a:lnTo>
                  <a:lnTo>
                    <a:pt x="77" y="644"/>
                  </a:lnTo>
                  <a:lnTo>
                    <a:pt x="80" y="643"/>
                  </a:lnTo>
                  <a:lnTo>
                    <a:pt x="82" y="641"/>
                  </a:lnTo>
                  <a:lnTo>
                    <a:pt x="81" y="638"/>
                  </a:lnTo>
                  <a:lnTo>
                    <a:pt x="78" y="638"/>
                  </a:lnTo>
                  <a:lnTo>
                    <a:pt x="76" y="642"/>
                  </a:lnTo>
                  <a:lnTo>
                    <a:pt x="76" y="639"/>
                  </a:lnTo>
                  <a:lnTo>
                    <a:pt x="75" y="636"/>
                  </a:lnTo>
                  <a:lnTo>
                    <a:pt x="77" y="633"/>
                  </a:lnTo>
                  <a:lnTo>
                    <a:pt x="75" y="633"/>
                  </a:lnTo>
                  <a:lnTo>
                    <a:pt x="75" y="631"/>
                  </a:lnTo>
                  <a:lnTo>
                    <a:pt x="74" y="633"/>
                  </a:lnTo>
                  <a:lnTo>
                    <a:pt x="70" y="635"/>
                  </a:lnTo>
                  <a:lnTo>
                    <a:pt x="69" y="638"/>
                  </a:lnTo>
                  <a:lnTo>
                    <a:pt x="69" y="633"/>
                  </a:lnTo>
                  <a:lnTo>
                    <a:pt x="70" y="631"/>
                  </a:lnTo>
                  <a:lnTo>
                    <a:pt x="68" y="635"/>
                  </a:lnTo>
                  <a:lnTo>
                    <a:pt x="70" y="629"/>
                  </a:lnTo>
                  <a:lnTo>
                    <a:pt x="71" y="626"/>
                  </a:lnTo>
                  <a:lnTo>
                    <a:pt x="75" y="624"/>
                  </a:lnTo>
                  <a:lnTo>
                    <a:pt x="78" y="619"/>
                  </a:lnTo>
                  <a:lnTo>
                    <a:pt x="82" y="615"/>
                  </a:lnTo>
                  <a:lnTo>
                    <a:pt x="80" y="615"/>
                  </a:lnTo>
                  <a:lnTo>
                    <a:pt x="78" y="617"/>
                  </a:lnTo>
                  <a:lnTo>
                    <a:pt x="77" y="615"/>
                  </a:lnTo>
                  <a:lnTo>
                    <a:pt x="76" y="617"/>
                  </a:lnTo>
                  <a:lnTo>
                    <a:pt x="75" y="619"/>
                  </a:lnTo>
                  <a:lnTo>
                    <a:pt x="75" y="617"/>
                  </a:lnTo>
                  <a:lnTo>
                    <a:pt x="74" y="620"/>
                  </a:lnTo>
                  <a:lnTo>
                    <a:pt x="71" y="618"/>
                  </a:lnTo>
                  <a:lnTo>
                    <a:pt x="70" y="618"/>
                  </a:lnTo>
                  <a:lnTo>
                    <a:pt x="68" y="623"/>
                  </a:lnTo>
                  <a:lnTo>
                    <a:pt x="68" y="619"/>
                  </a:lnTo>
                  <a:lnTo>
                    <a:pt x="69" y="615"/>
                  </a:lnTo>
                  <a:lnTo>
                    <a:pt x="66" y="614"/>
                  </a:lnTo>
                  <a:lnTo>
                    <a:pt x="64" y="612"/>
                  </a:lnTo>
                  <a:lnTo>
                    <a:pt x="63" y="609"/>
                  </a:lnTo>
                  <a:lnTo>
                    <a:pt x="64" y="607"/>
                  </a:lnTo>
                  <a:lnTo>
                    <a:pt x="63" y="606"/>
                  </a:lnTo>
                  <a:lnTo>
                    <a:pt x="60" y="602"/>
                  </a:lnTo>
                  <a:lnTo>
                    <a:pt x="52" y="608"/>
                  </a:lnTo>
                  <a:lnTo>
                    <a:pt x="50" y="618"/>
                  </a:lnTo>
                  <a:lnTo>
                    <a:pt x="46" y="625"/>
                  </a:lnTo>
                  <a:lnTo>
                    <a:pt x="42" y="629"/>
                  </a:lnTo>
                  <a:lnTo>
                    <a:pt x="45" y="625"/>
                  </a:lnTo>
                  <a:lnTo>
                    <a:pt x="48" y="619"/>
                  </a:lnTo>
                  <a:lnTo>
                    <a:pt x="48" y="613"/>
                  </a:lnTo>
                  <a:lnTo>
                    <a:pt x="45" y="615"/>
                  </a:lnTo>
                  <a:lnTo>
                    <a:pt x="40" y="617"/>
                  </a:lnTo>
                  <a:lnTo>
                    <a:pt x="45" y="614"/>
                  </a:lnTo>
                  <a:lnTo>
                    <a:pt x="50" y="611"/>
                  </a:lnTo>
                  <a:lnTo>
                    <a:pt x="50" y="608"/>
                  </a:lnTo>
                  <a:lnTo>
                    <a:pt x="41" y="613"/>
                  </a:lnTo>
                  <a:lnTo>
                    <a:pt x="34" y="619"/>
                  </a:lnTo>
                  <a:lnTo>
                    <a:pt x="39" y="613"/>
                  </a:lnTo>
                  <a:lnTo>
                    <a:pt x="33" y="614"/>
                  </a:lnTo>
                  <a:lnTo>
                    <a:pt x="31" y="613"/>
                  </a:lnTo>
                  <a:lnTo>
                    <a:pt x="36" y="613"/>
                  </a:lnTo>
                  <a:lnTo>
                    <a:pt x="34" y="611"/>
                  </a:lnTo>
                  <a:lnTo>
                    <a:pt x="30" y="612"/>
                  </a:lnTo>
                  <a:lnTo>
                    <a:pt x="28" y="613"/>
                  </a:lnTo>
                  <a:lnTo>
                    <a:pt x="25" y="613"/>
                  </a:lnTo>
                  <a:lnTo>
                    <a:pt x="25" y="611"/>
                  </a:lnTo>
                  <a:lnTo>
                    <a:pt x="23" y="611"/>
                  </a:lnTo>
                  <a:lnTo>
                    <a:pt x="21" y="612"/>
                  </a:lnTo>
                  <a:lnTo>
                    <a:pt x="21" y="607"/>
                  </a:lnTo>
                  <a:lnTo>
                    <a:pt x="23" y="605"/>
                  </a:lnTo>
                  <a:lnTo>
                    <a:pt x="22" y="605"/>
                  </a:lnTo>
                  <a:lnTo>
                    <a:pt x="23" y="602"/>
                  </a:lnTo>
                  <a:lnTo>
                    <a:pt x="22" y="601"/>
                  </a:lnTo>
                  <a:lnTo>
                    <a:pt x="22" y="600"/>
                  </a:lnTo>
                  <a:lnTo>
                    <a:pt x="23" y="599"/>
                  </a:lnTo>
                  <a:lnTo>
                    <a:pt x="24" y="597"/>
                  </a:lnTo>
                  <a:lnTo>
                    <a:pt x="29" y="596"/>
                  </a:lnTo>
                  <a:lnTo>
                    <a:pt x="33" y="595"/>
                  </a:lnTo>
                  <a:lnTo>
                    <a:pt x="34" y="595"/>
                  </a:lnTo>
                  <a:lnTo>
                    <a:pt x="33" y="594"/>
                  </a:lnTo>
                  <a:lnTo>
                    <a:pt x="34" y="593"/>
                  </a:lnTo>
                  <a:lnTo>
                    <a:pt x="33" y="591"/>
                  </a:lnTo>
                  <a:lnTo>
                    <a:pt x="34" y="589"/>
                  </a:lnTo>
                  <a:lnTo>
                    <a:pt x="36" y="588"/>
                  </a:lnTo>
                  <a:lnTo>
                    <a:pt x="30" y="589"/>
                  </a:lnTo>
                  <a:lnTo>
                    <a:pt x="28" y="587"/>
                  </a:lnTo>
                  <a:lnTo>
                    <a:pt x="23" y="585"/>
                  </a:lnTo>
                  <a:lnTo>
                    <a:pt x="25" y="584"/>
                  </a:lnTo>
                  <a:lnTo>
                    <a:pt x="29" y="582"/>
                  </a:lnTo>
                  <a:lnTo>
                    <a:pt x="33" y="582"/>
                  </a:lnTo>
                  <a:lnTo>
                    <a:pt x="37" y="582"/>
                  </a:lnTo>
                  <a:lnTo>
                    <a:pt x="39" y="585"/>
                  </a:lnTo>
                  <a:lnTo>
                    <a:pt x="43" y="588"/>
                  </a:lnTo>
                  <a:lnTo>
                    <a:pt x="47" y="588"/>
                  </a:lnTo>
                  <a:lnTo>
                    <a:pt x="47" y="585"/>
                  </a:lnTo>
                  <a:lnTo>
                    <a:pt x="51" y="585"/>
                  </a:lnTo>
                  <a:lnTo>
                    <a:pt x="53" y="585"/>
                  </a:lnTo>
                  <a:lnTo>
                    <a:pt x="56" y="583"/>
                  </a:lnTo>
                  <a:lnTo>
                    <a:pt x="58" y="583"/>
                  </a:lnTo>
                  <a:lnTo>
                    <a:pt x="60" y="582"/>
                  </a:lnTo>
                  <a:lnTo>
                    <a:pt x="63" y="581"/>
                  </a:lnTo>
                  <a:lnTo>
                    <a:pt x="63" y="578"/>
                  </a:lnTo>
                  <a:lnTo>
                    <a:pt x="65" y="577"/>
                  </a:lnTo>
                  <a:lnTo>
                    <a:pt x="65" y="575"/>
                  </a:lnTo>
                  <a:lnTo>
                    <a:pt x="66" y="571"/>
                  </a:lnTo>
                  <a:lnTo>
                    <a:pt x="63" y="573"/>
                  </a:lnTo>
                  <a:lnTo>
                    <a:pt x="57" y="577"/>
                  </a:lnTo>
                  <a:lnTo>
                    <a:pt x="56" y="579"/>
                  </a:lnTo>
                  <a:lnTo>
                    <a:pt x="54" y="573"/>
                  </a:lnTo>
                  <a:lnTo>
                    <a:pt x="52" y="569"/>
                  </a:lnTo>
                  <a:lnTo>
                    <a:pt x="52" y="565"/>
                  </a:lnTo>
                  <a:lnTo>
                    <a:pt x="48" y="565"/>
                  </a:lnTo>
                  <a:lnTo>
                    <a:pt x="43" y="569"/>
                  </a:lnTo>
                  <a:lnTo>
                    <a:pt x="42" y="571"/>
                  </a:lnTo>
                  <a:lnTo>
                    <a:pt x="41" y="566"/>
                  </a:lnTo>
                  <a:lnTo>
                    <a:pt x="39" y="566"/>
                  </a:lnTo>
                  <a:lnTo>
                    <a:pt x="36" y="565"/>
                  </a:lnTo>
                  <a:lnTo>
                    <a:pt x="33" y="564"/>
                  </a:lnTo>
                  <a:lnTo>
                    <a:pt x="33" y="565"/>
                  </a:lnTo>
                  <a:lnTo>
                    <a:pt x="31" y="563"/>
                  </a:lnTo>
                  <a:lnTo>
                    <a:pt x="31" y="555"/>
                  </a:lnTo>
                  <a:lnTo>
                    <a:pt x="28" y="559"/>
                  </a:lnTo>
                  <a:lnTo>
                    <a:pt x="29" y="565"/>
                  </a:lnTo>
                  <a:lnTo>
                    <a:pt x="29" y="573"/>
                  </a:lnTo>
                  <a:lnTo>
                    <a:pt x="28" y="577"/>
                  </a:lnTo>
                  <a:lnTo>
                    <a:pt x="22" y="567"/>
                  </a:lnTo>
                  <a:lnTo>
                    <a:pt x="19" y="566"/>
                  </a:lnTo>
                  <a:lnTo>
                    <a:pt x="17" y="567"/>
                  </a:lnTo>
                  <a:lnTo>
                    <a:pt x="15" y="570"/>
                  </a:lnTo>
                  <a:lnTo>
                    <a:pt x="15" y="565"/>
                  </a:lnTo>
                  <a:lnTo>
                    <a:pt x="15" y="564"/>
                  </a:lnTo>
                  <a:lnTo>
                    <a:pt x="13" y="563"/>
                  </a:lnTo>
                  <a:lnTo>
                    <a:pt x="11" y="563"/>
                  </a:lnTo>
                  <a:lnTo>
                    <a:pt x="9" y="564"/>
                  </a:lnTo>
                  <a:lnTo>
                    <a:pt x="9" y="560"/>
                  </a:lnTo>
                  <a:lnTo>
                    <a:pt x="10" y="555"/>
                  </a:lnTo>
                  <a:lnTo>
                    <a:pt x="15" y="552"/>
                  </a:lnTo>
                  <a:lnTo>
                    <a:pt x="13" y="551"/>
                  </a:lnTo>
                  <a:lnTo>
                    <a:pt x="15" y="547"/>
                  </a:lnTo>
                  <a:lnTo>
                    <a:pt x="16" y="543"/>
                  </a:lnTo>
                  <a:lnTo>
                    <a:pt x="18" y="540"/>
                  </a:lnTo>
                  <a:lnTo>
                    <a:pt x="18" y="542"/>
                  </a:lnTo>
                  <a:lnTo>
                    <a:pt x="21" y="541"/>
                  </a:lnTo>
                  <a:lnTo>
                    <a:pt x="21" y="540"/>
                  </a:lnTo>
                  <a:lnTo>
                    <a:pt x="24" y="535"/>
                  </a:lnTo>
                  <a:lnTo>
                    <a:pt x="27" y="530"/>
                  </a:lnTo>
                  <a:lnTo>
                    <a:pt x="28" y="532"/>
                  </a:lnTo>
                  <a:lnTo>
                    <a:pt x="29" y="531"/>
                  </a:lnTo>
                  <a:lnTo>
                    <a:pt x="31" y="530"/>
                  </a:lnTo>
                  <a:lnTo>
                    <a:pt x="34" y="529"/>
                  </a:lnTo>
                  <a:lnTo>
                    <a:pt x="36" y="528"/>
                  </a:lnTo>
                  <a:lnTo>
                    <a:pt x="39" y="526"/>
                  </a:lnTo>
                  <a:lnTo>
                    <a:pt x="29" y="523"/>
                  </a:lnTo>
                  <a:lnTo>
                    <a:pt x="21" y="518"/>
                  </a:lnTo>
                  <a:lnTo>
                    <a:pt x="19" y="520"/>
                  </a:lnTo>
                  <a:lnTo>
                    <a:pt x="19" y="525"/>
                  </a:lnTo>
                  <a:lnTo>
                    <a:pt x="17" y="525"/>
                  </a:lnTo>
                  <a:lnTo>
                    <a:pt x="15" y="529"/>
                  </a:lnTo>
                  <a:lnTo>
                    <a:pt x="12" y="530"/>
                  </a:lnTo>
                  <a:lnTo>
                    <a:pt x="11" y="531"/>
                  </a:lnTo>
                  <a:lnTo>
                    <a:pt x="11" y="528"/>
                  </a:lnTo>
                  <a:lnTo>
                    <a:pt x="11" y="524"/>
                  </a:lnTo>
                  <a:lnTo>
                    <a:pt x="13" y="523"/>
                  </a:lnTo>
                  <a:lnTo>
                    <a:pt x="13" y="520"/>
                  </a:lnTo>
                  <a:lnTo>
                    <a:pt x="15" y="517"/>
                  </a:lnTo>
                  <a:lnTo>
                    <a:pt x="16" y="518"/>
                  </a:lnTo>
                  <a:lnTo>
                    <a:pt x="19" y="518"/>
                  </a:lnTo>
                  <a:lnTo>
                    <a:pt x="15" y="514"/>
                  </a:lnTo>
                  <a:lnTo>
                    <a:pt x="11" y="513"/>
                  </a:lnTo>
                  <a:lnTo>
                    <a:pt x="10" y="511"/>
                  </a:lnTo>
                  <a:lnTo>
                    <a:pt x="13" y="512"/>
                  </a:lnTo>
                  <a:lnTo>
                    <a:pt x="17" y="514"/>
                  </a:lnTo>
                  <a:lnTo>
                    <a:pt x="27" y="520"/>
                  </a:lnTo>
                  <a:lnTo>
                    <a:pt x="42" y="524"/>
                  </a:lnTo>
                  <a:lnTo>
                    <a:pt x="34" y="518"/>
                  </a:lnTo>
                  <a:lnTo>
                    <a:pt x="33" y="517"/>
                  </a:lnTo>
                  <a:lnTo>
                    <a:pt x="33" y="520"/>
                  </a:lnTo>
                  <a:lnTo>
                    <a:pt x="29" y="517"/>
                  </a:lnTo>
                  <a:lnTo>
                    <a:pt x="28" y="513"/>
                  </a:lnTo>
                  <a:lnTo>
                    <a:pt x="21" y="507"/>
                  </a:lnTo>
                  <a:lnTo>
                    <a:pt x="16" y="504"/>
                  </a:lnTo>
                  <a:lnTo>
                    <a:pt x="16" y="506"/>
                  </a:lnTo>
                  <a:lnTo>
                    <a:pt x="17" y="511"/>
                  </a:lnTo>
                  <a:lnTo>
                    <a:pt x="15" y="508"/>
                  </a:lnTo>
                  <a:lnTo>
                    <a:pt x="12" y="508"/>
                  </a:lnTo>
                  <a:lnTo>
                    <a:pt x="12" y="505"/>
                  </a:lnTo>
                  <a:lnTo>
                    <a:pt x="12" y="504"/>
                  </a:lnTo>
                  <a:lnTo>
                    <a:pt x="11" y="506"/>
                  </a:lnTo>
                  <a:lnTo>
                    <a:pt x="5" y="508"/>
                  </a:lnTo>
                  <a:lnTo>
                    <a:pt x="0" y="508"/>
                  </a:lnTo>
                  <a:lnTo>
                    <a:pt x="4" y="506"/>
                  </a:lnTo>
                  <a:lnTo>
                    <a:pt x="5" y="504"/>
                  </a:lnTo>
                  <a:lnTo>
                    <a:pt x="5" y="502"/>
                  </a:lnTo>
                  <a:lnTo>
                    <a:pt x="10" y="502"/>
                  </a:lnTo>
                  <a:lnTo>
                    <a:pt x="13" y="504"/>
                  </a:lnTo>
                  <a:lnTo>
                    <a:pt x="16" y="502"/>
                  </a:lnTo>
                  <a:lnTo>
                    <a:pt x="9" y="494"/>
                  </a:lnTo>
                  <a:lnTo>
                    <a:pt x="6" y="493"/>
                  </a:lnTo>
                  <a:lnTo>
                    <a:pt x="1" y="490"/>
                  </a:lnTo>
                  <a:lnTo>
                    <a:pt x="0" y="488"/>
                  </a:lnTo>
                  <a:lnTo>
                    <a:pt x="4" y="489"/>
                  </a:lnTo>
                  <a:lnTo>
                    <a:pt x="6" y="490"/>
                  </a:lnTo>
                  <a:lnTo>
                    <a:pt x="9" y="490"/>
                  </a:lnTo>
                  <a:lnTo>
                    <a:pt x="11" y="489"/>
                  </a:lnTo>
                  <a:lnTo>
                    <a:pt x="13" y="492"/>
                  </a:lnTo>
                  <a:lnTo>
                    <a:pt x="16" y="494"/>
                  </a:lnTo>
                  <a:lnTo>
                    <a:pt x="17" y="498"/>
                  </a:lnTo>
                  <a:lnTo>
                    <a:pt x="16" y="496"/>
                  </a:lnTo>
                  <a:lnTo>
                    <a:pt x="16" y="498"/>
                  </a:lnTo>
                  <a:lnTo>
                    <a:pt x="12" y="494"/>
                  </a:lnTo>
                  <a:lnTo>
                    <a:pt x="10" y="493"/>
                  </a:lnTo>
                  <a:lnTo>
                    <a:pt x="16" y="501"/>
                  </a:lnTo>
                  <a:lnTo>
                    <a:pt x="28" y="512"/>
                  </a:lnTo>
                  <a:lnTo>
                    <a:pt x="30" y="511"/>
                  </a:lnTo>
                  <a:lnTo>
                    <a:pt x="34" y="510"/>
                  </a:lnTo>
                  <a:lnTo>
                    <a:pt x="36" y="511"/>
                  </a:lnTo>
                  <a:lnTo>
                    <a:pt x="34" y="513"/>
                  </a:lnTo>
                  <a:lnTo>
                    <a:pt x="34" y="516"/>
                  </a:lnTo>
                  <a:lnTo>
                    <a:pt x="42" y="524"/>
                  </a:lnTo>
                  <a:lnTo>
                    <a:pt x="46" y="524"/>
                  </a:lnTo>
                  <a:lnTo>
                    <a:pt x="48" y="519"/>
                  </a:lnTo>
                  <a:lnTo>
                    <a:pt x="50" y="519"/>
                  </a:lnTo>
                  <a:lnTo>
                    <a:pt x="50" y="517"/>
                  </a:lnTo>
                  <a:lnTo>
                    <a:pt x="50" y="513"/>
                  </a:lnTo>
                  <a:lnTo>
                    <a:pt x="52" y="513"/>
                  </a:lnTo>
                  <a:lnTo>
                    <a:pt x="57" y="517"/>
                  </a:lnTo>
                  <a:lnTo>
                    <a:pt x="58" y="519"/>
                  </a:lnTo>
                  <a:lnTo>
                    <a:pt x="62" y="520"/>
                  </a:lnTo>
                  <a:lnTo>
                    <a:pt x="63" y="520"/>
                  </a:lnTo>
                  <a:lnTo>
                    <a:pt x="63" y="514"/>
                  </a:lnTo>
                  <a:lnTo>
                    <a:pt x="63" y="512"/>
                  </a:lnTo>
                  <a:lnTo>
                    <a:pt x="65" y="510"/>
                  </a:lnTo>
                  <a:lnTo>
                    <a:pt x="70" y="505"/>
                  </a:lnTo>
                  <a:lnTo>
                    <a:pt x="74" y="502"/>
                  </a:lnTo>
                  <a:lnTo>
                    <a:pt x="80" y="502"/>
                  </a:lnTo>
                  <a:lnTo>
                    <a:pt x="82" y="505"/>
                  </a:lnTo>
                  <a:lnTo>
                    <a:pt x="86" y="505"/>
                  </a:lnTo>
                  <a:lnTo>
                    <a:pt x="89" y="507"/>
                  </a:lnTo>
                  <a:lnTo>
                    <a:pt x="86" y="507"/>
                  </a:lnTo>
                  <a:lnTo>
                    <a:pt x="86" y="511"/>
                  </a:lnTo>
                  <a:lnTo>
                    <a:pt x="89" y="511"/>
                  </a:lnTo>
                  <a:lnTo>
                    <a:pt x="92" y="512"/>
                  </a:lnTo>
                  <a:lnTo>
                    <a:pt x="94" y="512"/>
                  </a:lnTo>
                  <a:lnTo>
                    <a:pt x="94" y="511"/>
                  </a:lnTo>
                  <a:lnTo>
                    <a:pt x="94" y="507"/>
                  </a:lnTo>
                  <a:lnTo>
                    <a:pt x="92" y="508"/>
                  </a:lnTo>
                  <a:lnTo>
                    <a:pt x="89" y="508"/>
                  </a:lnTo>
                  <a:lnTo>
                    <a:pt x="92" y="507"/>
                  </a:lnTo>
                  <a:lnTo>
                    <a:pt x="92" y="506"/>
                  </a:lnTo>
                  <a:lnTo>
                    <a:pt x="92" y="505"/>
                  </a:lnTo>
                  <a:lnTo>
                    <a:pt x="89" y="504"/>
                  </a:lnTo>
                  <a:lnTo>
                    <a:pt x="88" y="502"/>
                  </a:lnTo>
                  <a:lnTo>
                    <a:pt x="92" y="500"/>
                  </a:lnTo>
                  <a:lnTo>
                    <a:pt x="93" y="499"/>
                  </a:lnTo>
                  <a:lnTo>
                    <a:pt x="94" y="496"/>
                  </a:lnTo>
                  <a:lnTo>
                    <a:pt x="89" y="498"/>
                  </a:lnTo>
                  <a:lnTo>
                    <a:pt x="86" y="495"/>
                  </a:lnTo>
                  <a:lnTo>
                    <a:pt x="89" y="495"/>
                  </a:lnTo>
                  <a:lnTo>
                    <a:pt x="89" y="493"/>
                  </a:lnTo>
                  <a:lnTo>
                    <a:pt x="93" y="494"/>
                  </a:lnTo>
                  <a:lnTo>
                    <a:pt x="95" y="494"/>
                  </a:lnTo>
                  <a:lnTo>
                    <a:pt x="93" y="493"/>
                  </a:lnTo>
                  <a:lnTo>
                    <a:pt x="98" y="493"/>
                  </a:lnTo>
                  <a:lnTo>
                    <a:pt x="102" y="494"/>
                  </a:lnTo>
                  <a:lnTo>
                    <a:pt x="106" y="493"/>
                  </a:lnTo>
                  <a:lnTo>
                    <a:pt x="107" y="488"/>
                  </a:lnTo>
                  <a:lnTo>
                    <a:pt x="109" y="489"/>
                  </a:lnTo>
                  <a:lnTo>
                    <a:pt x="111" y="493"/>
                  </a:lnTo>
                  <a:lnTo>
                    <a:pt x="111" y="498"/>
                  </a:lnTo>
                  <a:lnTo>
                    <a:pt x="113" y="496"/>
                  </a:lnTo>
                  <a:lnTo>
                    <a:pt x="116" y="494"/>
                  </a:lnTo>
                  <a:lnTo>
                    <a:pt x="116" y="492"/>
                  </a:lnTo>
                  <a:lnTo>
                    <a:pt x="117" y="489"/>
                  </a:lnTo>
                  <a:lnTo>
                    <a:pt x="118" y="487"/>
                  </a:lnTo>
                  <a:lnTo>
                    <a:pt x="116" y="486"/>
                  </a:lnTo>
                  <a:lnTo>
                    <a:pt x="118" y="486"/>
                  </a:lnTo>
                  <a:lnTo>
                    <a:pt x="118" y="483"/>
                  </a:lnTo>
                  <a:lnTo>
                    <a:pt x="121" y="483"/>
                  </a:lnTo>
                  <a:lnTo>
                    <a:pt x="125" y="482"/>
                  </a:lnTo>
                  <a:lnTo>
                    <a:pt x="124" y="484"/>
                  </a:lnTo>
                  <a:lnTo>
                    <a:pt x="124" y="487"/>
                  </a:lnTo>
                  <a:lnTo>
                    <a:pt x="127" y="486"/>
                  </a:lnTo>
                  <a:lnTo>
                    <a:pt x="129" y="483"/>
                  </a:lnTo>
                  <a:lnTo>
                    <a:pt x="133" y="480"/>
                  </a:lnTo>
                  <a:lnTo>
                    <a:pt x="135" y="477"/>
                  </a:lnTo>
                  <a:lnTo>
                    <a:pt x="135" y="475"/>
                  </a:lnTo>
                  <a:lnTo>
                    <a:pt x="133" y="474"/>
                  </a:lnTo>
                  <a:lnTo>
                    <a:pt x="129" y="474"/>
                  </a:lnTo>
                  <a:lnTo>
                    <a:pt x="124" y="475"/>
                  </a:lnTo>
                  <a:lnTo>
                    <a:pt x="121" y="475"/>
                  </a:lnTo>
                  <a:lnTo>
                    <a:pt x="122" y="472"/>
                  </a:lnTo>
                  <a:lnTo>
                    <a:pt x="125" y="470"/>
                  </a:lnTo>
                  <a:lnTo>
                    <a:pt x="125" y="468"/>
                  </a:lnTo>
                  <a:lnTo>
                    <a:pt x="124" y="464"/>
                  </a:lnTo>
                  <a:lnTo>
                    <a:pt x="117" y="459"/>
                  </a:lnTo>
                  <a:lnTo>
                    <a:pt x="115" y="460"/>
                  </a:lnTo>
                  <a:lnTo>
                    <a:pt x="112" y="463"/>
                  </a:lnTo>
                  <a:lnTo>
                    <a:pt x="113" y="459"/>
                  </a:lnTo>
                  <a:lnTo>
                    <a:pt x="116" y="458"/>
                  </a:lnTo>
                  <a:lnTo>
                    <a:pt x="112" y="456"/>
                  </a:lnTo>
                  <a:lnTo>
                    <a:pt x="111" y="456"/>
                  </a:lnTo>
                  <a:lnTo>
                    <a:pt x="109" y="458"/>
                  </a:lnTo>
                  <a:lnTo>
                    <a:pt x="105" y="459"/>
                  </a:lnTo>
                  <a:lnTo>
                    <a:pt x="106" y="458"/>
                  </a:lnTo>
                  <a:lnTo>
                    <a:pt x="109" y="456"/>
                  </a:lnTo>
                  <a:lnTo>
                    <a:pt x="107" y="454"/>
                  </a:lnTo>
                  <a:lnTo>
                    <a:pt x="109" y="452"/>
                  </a:lnTo>
                  <a:lnTo>
                    <a:pt x="105" y="453"/>
                  </a:lnTo>
                  <a:lnTo>
                    <a:pt x="101" y="458"/>
                  </a:lnTo>
                  <a:lnTo>
                    <a:pt x="100" y="456"/>
                  </a:lnTo>
                  <a:lnTo>
                    <a:pt x="98" y="457"/>
                  </a:lnTo>
                  <a:lnTo>
                    <a:pt x="93" y="457"/>
                  </a:lnTo>
                  <a:lnTo>
                    <a:pt x="99" y="456"/>
                  </a:lnTo>
                  <a:lnTo>
                    <a:pt x="100" y="452"/>
                  </a:lnTo>
                  <a:lnTo>
                    <a:pt x="104" y="452"/>
                  </a:lnTo>
                  <a:lnTo>
                    <a:pt x="107" y="451"/>
                  </a:lnTo>
                  <a:lnTo>
                    <a:pt x="102" y="445"/>
                  </a:lnTo>
                  <a:lnTo>
                    <a:pt x="102" y="444"/>
                  </a:lnTo>
                  <a:lnTo>
                    <a:pt x="104" y="441"/>
                  </a:lnTo>
                  <a:lnTo>
                    <a:pt x="106" y="441"/>
                  </a:lnTo>
                  <a:lnTo>
                    <a:pt x="109" y="440"/>
                  </a:lnTo>
                  <a:lnTo>
                    <a:pt x="112" y="441"/>
                  </a:lnTo>
                  <a:lnTo>
                    <a:pt x="110" y="445"/>
                  </a:lnTo>
                  <a:lnTo>
                    <a:pt x="107" y="447"/>
                  </a:lnTo>
                  <a:lnTo>
                    <a:pt x="106" y="446"/>
                  </a:lnTo>
                  <a:lnTo>
                    <a:pt x="104" y="445"/>
                  </a:lnTo>
                  <a:lnTo>
                    <a:pt x="107" y="451"/>
                  </a:lnTo>
                  <a:lnTo>
                    <a:pt x="110" y="451"/>
                  </a:lnTo>
                  <a:lnTo>
                    <a:pt x="112" y="452"/>
                  </a:lnTo>
                  <a:lnTo>
                    <a:pt x="115" y="450"/>
                  </a:lnTo>
                  <a:lnTo>
                    <a:pt x="113" y="453"/>
                  </a:lnTo>
                  <a:lnTo>
                    <a:pt x="118" y="458"/>
                  </a:lnTo>
                  <a:lnTo>
                    <a:pt x="127" y="464"/>
                  </a:lnTo>
                  <a:lnTo>
                    <a:pt x="128" y="466"/>
                  </a:lnTo>
                  <a:lnTo>
                    <a:pt x="129" y="463"/>
                  </a:lnTo>
                  <a:lnTo>
                    <a:pt x="128" y="462"/>
                  </a:lnTo>
                  <a:lnTo>
                    <a:pt x="128" y="460"/>
                  </a:lnTo>
                  <a:lnTo>
                    <a:pt x="128" y="458"/>
                  </a:lnTo>
                  <a:lnTo>
                    <a:pt x="125" y="454"/>
                  </a:lnTo>
                  <a:lnTo>
                    <a:pt x="127" y="451"/>
                  </a:lnTo>
                  <a:lnTo>
                    <a:pt x="133" y="452"/>
                  </a:lnTo>
                  <a:lnTo>
                    <a:pt x="129" y="450"/>
                  </a:lnTo>
                  <a:lnTo>
                    <a:pt x="124" y="452"/>
                  </a:lnTo>
                  <a:lnTo>
                    <a:pt x="121" y="458"/>
                  </a:lnTo>
                  <a:lnTo>
                    <a:pt x="121" y="453"/>
                  </a:lnTo>
                  <a:lnTo>
                    <a:pt x="122" y="451"/>
                  </a:lnTo>
                  <a:lnTo>
                    <a:pt x="122" y="447"/>
                  </a:lnTo>
                  <a:lnTo>
                    <a:pt x="123" y="445"/>
                  </a:lnTo>
                  <a:lnTo>
                    <a:pt x="124" y="440"/>
                  </a:lnTo>
                  <a:lnTo>
                    <a:pt x="128" y="438"/>
                  </a:lnTo>
                  <a:lnTo>
                    <a:pt x="125" y="436"/>
                  </a:lnTo>
                  <a:lnTo>
                    <a:pt x="129" y="435"/>
                  </a:lnTo>
                  <a:lnTo>
                    <a:pt x="131" y="432"/>
                  </a:lnTo>
                  <a:lnTo>
                    <a:pt x="131" y="429"/>
                  </a:lnTo>
                  <a:lnTo>
                    <a:pt x="129" y="430"/>
                  </a:lnTo>
                  <a:lnTo>
                    <a:pt x="129" y="428"/>
                  </a:lnTo>
                  <a:lnTo>
                    <a:pt x="128" y="427"/>
                  </a:lnTo>
                  <a:lnTo>
                    <a:pt x="130" y="424"/>
                  </a:lnTo>
                  <a:lnTo>
                    <a:pt x="131" y="422"/>
                  </a:lnTo>
                  <a:lnTo>
                    <a:pt x="133" y="419"/>
                  </a:lnTo>
                  <a:lnTo>
                    <a:pt x="133" y="416"/>
                  </a:lnTo>
                  <a:lnTo>
                    <a:pt x="129" y="418"/>
                  </a:lnTo>
                  <a:lnTo>
                    <a:pt x="125" y="422"/>
                  </a:lnTo>
                  <a:lnTo>
                    <a:pt x="127" y="416"/>
                  </a:lnTo>
                  <a:lnTo>
                    <a:pt x="128" y="412"/>
                  </a:lnTo>
                  <a:lnTo>
                    <a:pt x="129" y="411"/>
                  </a:lnTo>
                  <a:lnTo>
                    <a:pt x="127" y="410"/>
                  </a:lnTo>
                  <a:lnTo>
                    <a:pt x="130" y="409"/>
                  </a:lnTo>
                  <a:lnTo>
                    <a:pt x="134" y="406"/>
                  </a:lnTo>
                  <a:lnTo>
                    <a:pt x="131" y="406"/>
                  </a:lnTo>
                  <a:lnTo>
                    <a:pt x="130" y="405"/>
                  </a:lnTo>
                  <a:lnTo>
                    <a:pt x="125" y="406"/>
                  </a:lnTo>
                  <a:lnTo>
                    <a:pt x="128" y="403"/>
                  </a:lnTo>
                  <a:lnTo>
                    <a:pt x="133" y="399"/>
                  </a:lnTo>
                  <a:lnTo>
                    <a:pt x="133" y="398"/>
                  </a:lnTo>
                  <a:lnTo>
                    <a:pt x="135" y="398"/>
                  </a:lnTo>
                  <a:lnTo>
                    <a:pt x="139" y="398"/>
                  </a:lnTo>
                  <a:lnTo>
                    <a:pt x="141" y="395"/>
                  </a:lnTo>
                  <a:lnTo>
                    <a:pt x="142" y="395"/>
                  </a:lnTo>
                  <a:lnTo>
                    <a:pt x="146" y="395"/>
                  </a:lnTo>
                  <a:lnTo>
                    <a:pt x="149" y="393"/>
                  </a:lnTo>
                  <a:lnTo>
                    <a:pt x="149" y="397"/>
                  </a:lnTo>
                  <a:lnTo>
                    <a:pt x="153" y="398"/>
                  </a:lnTo>
                  <a:lnTo>
                    <a:pt x="154" y="395"/>
                  </a:lnTo>
                  <a:lnTo>
                    <a:pt x="157" y="397"/>
                  </a:lnTo>
                  <a:lnTo>
                    <a:pt x="159" y="395"/>
                  </a:lnTo>
                  <a:lnTo>
                    <a:pt x="158" y="394"/>
                  </a:lnTo>
                  <a:lnTo>
                    <a:pt x="157" y="393"/>
                  </a:lnTo>
                  <a:lnTo>
                    <a:pt x="157" y="392"/>
                  </a:lnTo>
                  <a:lnTo>
                    <a:pt x="159" y="386"/>
                  </a:lnTo>
                  <a:lnTo>
                    <a:pt x="161" y="385"/>
                  </a:lnTo>
                  <a:lnTo>
                    <a:pt x="163" y="385"/>
                  </a:lnTo>
                  <a:lnTo>
                    <a:pt x="161" y="388"/>
                  </a:lnTo>
                  <a:lnTo>
                    <a:pt x="164" y="389"/>
                  </a:lnTo>
                  <a:lnTo>
                    <a:pt x="166" y="387"/>
                  </a:lnTo>
                  <a:lnTo>
                    <a:pt x="168" y="388"/>
                  </a:lnTo>
                  <a:lnTo>
                    <a:pt x="168" y="386"/>
                  </a:lnTo>
                  <a:lnTo>
                    <a:pt x="164" y="382"/>
                  </a:lnTo>
                  <a:lnTo>
                    <a:pt x="159" y="382"/>
                  </a:lnTo>
                  <a:lnTo>
                    <a:pt x="155" y="387"/>
                  </a:lnTo>
                  <a:lnTo>
                    <a:pt x="154" y="383"/>
                  </a:lnTo>
                  <a:lnTo>
                    <a:pt x="154" y="382"/>
                  </a:lnTo>
                  <a:lnTo>
                    <a:pt x="155" y="380"/>
                  </a:lnTo>
                  <a:lnTo>
                    <a:pt x="154" y="377"/>
                  </a:lnTo>
                  <a:lnTo>
                    <a:pt x="153" y="380"/>
                  </a:lnTo>
                  <a:lnTo>
                    <a:pt x="151" y="379"/>
                  </a:lnTo>
                  <a:lnTo>
                    <a:pt x="149" y="383"/>
                  </a:lnTo>
                  <a:lnTo>
                    <a:pt x="145" y="386"/>
                  </a:lnTo>
                  <a:lnTo>
                    <a:pt x="143" y="387"/>
                  </a:lnTo>
                  <a:lnTo>
                    <a:pt x="143" y="383"/>
                  </a:lnTo>
                  <a:lnTo>
                    <a:pt x="139" y="381"/>
                  </a:lnTo>
                  <a:lnTo>
                    <a:pt x="142" y="381"/>
                  </a:lnTo>
                  <a:lnTo>
                    <a:pt x="142" y="379"/>
                  </a:lnTo>
                  <a:lnTo>
                    <a:pt x="143" y="377"/>
                  </a:lnTo>
                  <a:lnTo>
                    <a:pt x="142" y="374"/>
                  </a:lnTo>
                  <a:lnTo>
                    <a:pt x="141" y="375"/>
                  </a:lnTo>
                  <a:lnTo>
                    <a:pt x="140" y="371"/>
                  </a:lnTo>
                  <a:lnTo>
                    <a:pt x="135" y="370"/>
                  </a:lnTo>
                  <a:lnTo>
                    <a:pt x="130" y="376"/>
                  </a:lnTo>
                  <a:lnTo>
                    <a:pt x="128" y="380"/>
                  </a:lnTo>
                  <a:lnTo>
                    <a:pt x="129" y="374"/>
                  </a:lnTo>
                  <a:lnTo>
                    <a:pt x="128" y="368"/>
                  </a:lnTo>
                  <a:lnTo>
                    <a:pt x="125" y="374"/>
                  </a:lnTo>
                  <a:lnTo>
                    <a:pt x="123" y="371"/>
                  </a:lnTo>
                  <a:lnTo>
                    <a:pt x="121" y="373"/>
                  </a:lnTo>
                  <a:lnTo>
                    <a:pt x="119" y="373"/>
                  </a:lnTo>
                  <a:lnTo>
                    <a:pt x="118" y="374"/>
                  </a:lnTo>
                  <a:lnTo>
                    <a:pt x="116" y="379"/>
                  </a:lnTo>
                  <a:lnTo>
                    <a:pt x="116" y="381"/>
                  </a:lnTo>
                  <a:lnTo>
                    <a:pt x="115" y="382"/>
                  </a:lnTo>
                  <a:lnTo>
                    <a:pt x="111" y="385"/>
                  </a:lnTo>
                  <a:lnTo>
                    <a:pt x="110" y="386"/>
                  </a:lnTo>
                  <a:lnTo>
                    <a:pt x="107" y="383"/>
                  </a:lnTo>
                  <a:lnTo>
                    <a:pt x="107" y="382"/>
                  </a:lnTo>
                  <a:lnTo>
                    <a:pt x="105" y="386"/>
                  </a:lnTo>
                  <a:lnTo>
                    <a:pt x="105" y="393"/>
                  </a:lnTo>
                  <a:lnTo>
                    <a:pt x="102" y="389"/>
                  </a:lnTo>
                  <a:lnTo>
                    <a:pt x="101" y="385"/>
                  </a:lnTo>
                  <a:lnTo>
                    <a:pt x="100" y="389"/>
                  </a:lnTo>
                  <a:lnTo>
                    <a:pt x="99" y="391"/>
                  </a:lnTo>
                  <a:lnTo>
                    <a:pt x="98" y="389"/>
                  </a:lnTo>
                  <a:lnTo>
                    <a:pt x="94" y="391"/>
                  </a:lnTo>
                  <a:lnTo>
                    <a:pt x="93" y="394"/>
                  </a:lnTo>
                  <a:lnTo>
                    <a:pt x="90" y="397"/>
                  </a:lnTo>
                  <a:lnTo>
                    <a:pt x="89" y="399"/>
                  </a:lnTo>
                  <a:lnTo>
                    <a:pt x="90" y="393"/>
                  </a:lnTo>
                  <a:lnTo>
                    <a:pt x="92" y="388"/>
                  </a:lnTo>
                  <a:lnTo>
                    <a:pt x="88" y="388"/>
                  </a:lnTo>
                  <a:lnTo>
                    <a:pt x="88" y="387"/>
                  </a:lnTo>
                  <a:lnTo>
                    <a:pt x="87" y="387"/>
                  </a:lnTo>
                  <a:lnTo>
                    <a:pt x="89" y="386"/>
                  </a:lnTo>
                  <a:lnTo>
                    <a:pt x="92" y="382"/>
                  </a:lnTo>
                  <a:lnTo>
                    <a:pt x="94" y="379"/>
                  </a:lnTo>
                  <a:lnTo>
                    <a:pt x="98" y="379"/>
                  </a:lnTo>
                  <a:lnTo>
                    <a:pt x="102" y="379"/>
                  </a:lnTo>
                  <a:lnTo>
                    <a:pt x="106" y="379"/>
                  </a:lnTo>
                  <a:lnTo>
                    <a:pt x="106" y="376"/>
                  </a:lnTo>
                  <a:lnTo>
                    <a:pt x="104" y="374"/>
                  </a:lnTo>
                  <a:lnTo>
                    <a:pt x="101" y="374"/>
                  </a:lnTo>
                  <a:lnTo>
                    <a:pt x="98" y="376"/>
                  </a:lnTo>
                  <a:lnTo>
                    <a:pt x="96" y="376"/>
                  </a:lnTo>
                  <a:lnTo>
                    <a:pt x="98" y="373"/>
                  </a:lnTo>
                  <a:lnTo>
                    <a:pt x="99" y="370"/>
                  </a:lnTo>
                  <a:lnTo>
                    <a:pt x="96" y="368"/>
                  </a:lnTo>
                  <a:lnTo>
                    <a:pt x="94" y="370"/>
                  </a:lnTo>
                  <a:lnTo>
                    <a:pt x="93" y="368"/>
                  </a:lnTo>
                  <a:lnTo>
                    <a:pt x="92" y="370"/>
                  </a:lnTo>
                  <a:lnTo>
                    <a:pt x="89" y="371"/>
                  </a:lnTo>
                  <a:lnTo>
                    <a:pt x="89" y="374"/>
                  </a:lnTo>
                  <a:lnTo>
                    <a:pt x="93" y="374"/>
                  </a:lnTo>
                  <a:lnTo>
                    <a:pt x="94" y="376"/>
                  </a:lnTo>
                  <a:lnTo>
                    <a:pt x="90" y="380"/>
                  </a:lnTo>
                  <a:lnTo>
                    <a:pt x="89" y="382"/>
                  </a:lnTo>
                  <a:lnTo>
                    <a:pt x="89" y="380"/>
                  </a:lnTo>
                  <a:lnTo>
                    <a:pt x="86" y="381"/>
                  </a:lnTo>
                  <a:lnTo>
                    <a:pt x="80" y="385"/>
                  </a:lnTo>
                  <a:lnTo>
                    <a:pt x="82" y="380"/>
                  </a:lnTo>
                  <a:lnTo>
                    <a:pt x="81" y="376"/>
                  </a:lnTo>
                  <a:lnTo>
                    <a:pt x="80" y="376"/>
                  </a:lnTo>
                  <a:lnTo>
                    <a:pt x="81" y="374"/>
                  </a:lnTo>
                  <a:lnTo>
                    <a:pt x="82" y="371"/>
                  </a:lnTo>
                  <a:lnTo>
                    <a:pt x="83" y="370"/>
                  </a:lnTo>
                  <a:lnTo>
                    <a:pt x="80" y="370"/>
                  </a:lnTo>
                  <a:lnTo>
                    <a:pt x="82" y="367"/>
                  </a:lnTo>
                  <a:lnTo>
                    <a:pt x="82" y="365"/>
                  </a:lnTo>
                  <a:lnTo>
                    <a:pt x="83" y="365"/>
                  </a:lnTo>
                  <a:lnTo>
                    <a:pt x="87" y="367"/>
                  </a:lnTo>
                  <a:lnTo>
                    <a:pt x="88" y="364"/>
                  </a:lnTo>
                  <a:lnTo>
                    <a:pt x="83" y="363"/>
                  </a:lnTo>
                  <a:lnTo>
                    <a:pt x="80" y="364"/>
                  </a:lnTo>
                  <a:lnTo>
                    <a:pt x="74" y="364"/>
                  </a:lnTo>
                  <a:lnTo>
                    <a:pt x="77" y="362"/>
                  </a:lnTo>
                  <a:lnTo>
                    <a:pt x="81" y="359"/>
                  </a:lnTo>
                  <a:lnTo>
                    <a:pt x="83" y="361"/>
                  </a:lnTo>
                  <a:lnTo>
                    <a:pt x="87" y="362"/>
                  </a:lnTo>
                  <a:lnTo>
                    <a:pt x="92" y="364"/>
                  </a:lnTo>
                  <a:lnTo>
                    <a:pt x="94" y="364"/>
                  </a:lnTo>
                  <a:lnTo>
                    <a:pt x="98" y="362"/>
                  </a:lnTo>
                  <a:lnTo>
                    <a:pt x="99" y="359"/>
                  </a:lnTo>
                  <a:lnTo>
                    <a:pt x="99" y="356"/>
                  </a:lnTo>
                  <a:lnTo>
                    <a:pt x="95" y="356"/>
                  </a:lnTo>
                  <a:lnTo>
                    <a:pt x="90" y="358"/>
                  </a:lnTo>
                  <a:lnTo>
                    <a:pt x="89" y="361"/>
                  </a:lnTo>
                  <a:lnTo>
                    <a:pt x="86" y="359"/>
                  </a:lnTo>
                  <a:lnTo>
                    <a:pt x="86" y="356"/>
                  </a:lnTo>
                  <a:lnTo>
                    <a:pt x="89" y="352"/>
                  </a:lnTo>
                  <a:lnTo>
                    <a:pt x="89" y="349"/>
                  </a:lnTo>
                  <a:lnTo>
                    <a:pt x="86" y="347"/>
                  </a:lnTo>
                  <a:lnTo>
                    <a:pt x="84" y="345"/>
                  </a:lnTo>
                  <a:lnTo>
                    <a:pt x="86" y="343"/>
                  </a:lnTo>
                  <a:lnTo>
                    <a:pt x="82" y="339"/>
                  </a:lnTo>
                  <a:lnTo>
                    <a:pt x="78" y="337"/>
                  </a:lnTo>
                  <a:lnTo>
                    <a:pt x="80" y="341"/>
                  </a:lnTo>
                  <a:lnTo>
                    <a:pt x="78" y="344"/>
                  </a:lnTo>
                  <a:lnTo>
                    <a:pt x="76" y="340"/>
                  </a:lnTo>
                  <a:lnTo>
                    <a:pt x="74" y="340"/>
                  </a:lnTo>
                  <a:lnTo>
                    <a:pt x="75" y="343"/>
                  </a:lnTo>
                  <a:lnTo>
                    <a:pt x="72" y="344"/>
                  </a:lnTo>
                  <a:lnTo>
                    <a:pt x="72" y="345"/>
                  </a:lnTo>
                  <a:lnTo>
                    <a:pt x="75" y="347"/>
                  </a:lnTo>
                  <a:lnTo>
                    <a:pt x="76" y="349"/>
                  </a:lnTo>
                  <a:lnTo>
                    <a:pt x="74" y="351"/>
                  </a:lnTo>
                  <a:lnTo>
                    <a:pt x="72" y="355"/>
                  </a:lnTo>
                  <a:lnTo>
                    <a:pt x="76" y="358"/>
                  </a:lnTo>
                  <a:lnTo>
                    <a:pt x="72" y="356"/>
                  </a:lnTo>
                  <a:lnTo>
                    <a:pt x="71" y="359"/>
                  </a:lnTo>
                  <a:lnTo>
                    <a:pt x="70" y="356"/>
                  </a:lnTo>
                  <a:lnTo>
                    <a:pt x="68" y="351"/>
                  </a:lnTo>
                  <a:lnTo>
                    <a:pt x="63" y="351"/>
                  </a:lnTo>
                  <a:lnTo>
                    <a:pt x="64" y="358"/>
                  </a:lnTo>
                  <a:lnTo>
                    <a:pt x="60" y="359"/>
                  </a:lnTo>
                  <a:lnTo>
                    <a:pt x="57" y="361"/>
                  </a:lnTo>
                  <a:lnTo>
                    <a:pt x="59" y="364"/>
                  </a:lnTo>
                  <a:lnTo>
                    <a:pt x="56" y="369"/>
                  </a:lnTo>
                  <a:lnTo>
                    <a:pt x="52" y="374"/>
                  </a:lnTo>
                  <a:lnTo>
                    <a:pt x="53" y="370"/>
                  </a:lnTo>
                  <a:lnTo>
                    <a:pt x="54" y="365"/>
                  </a:lnTo>
                  <a:lnTo>
                    <a:pt x="56" y="365"/>
                  </a:lnTo>
                  <a:lnTo>
                    <a:pt x="57" y="363"/>
                  </a:lnTo>
                  <a:lnTo>
                    <a:pt x="56" y="362"/>
                  </a:lnTo>
                  <a:lnTo>
                    <a:pt x="54" y="361"/>
                  </a:lnTo>
                  <a:lnTo>
                    <a:pt x="52" y="362"/>
                  </a:lnTo>
                  <a:lnTo>
                    <a:pt x="51" y="358"/>
                  </a:lnTo>
                  <a:lnTo>
                    <a:pt x="47" y="357"/>
                  </a:lnTo>
                  <a:lnTo>
                    <a:pt x="43" y="362"/>
                  </a:lnTo>
                  <a:lnTo>
                    <a:pt x="45" y="356"/>
                  </a:lnTo>
                  <a:lnTo>
                    <a:pt x="41" y="361"/>
                  </a:lnTo>
                  <a:lnTo>
                    <a:pt x="40" y="362"/>
                  </a:lnTo>
                  <a:lnTo>
                    <a:pt x="39" y="362"/>
                  </a:lnTo>
                  <a:lnTo>
                    <a:pt x="40" y="359"/>
                  </a:lnTo>
                  <a:lnTo>
                    <a:pt x="39" y="358"/>
                  </a:lnTo>
                  <a:lnTo>
                    <a:pt x="39" y="356"/>
                  </a:lnTo>
                  <a:lnTo>
                    <a:pt x="36" y="356"/>
                  </a:lnTo>
                  <a:lnTo>
                    <a:pt x="41" y="352"/>
                  </a:lnTo>
                  <a:lnTo>
                    <a:pt x="45" y="352"/>
                  </a:lnTo>
                  <a:lnTo>
                    <a:pt x="46" y="350"/>
                  </a:lnTo>
                  <a:lnTo>
                    <a:pt x="50" y="347"/>
                  </a:lnTo>
                  <a:lnTo>
                    <a:pt x="50" y="345"/>
                  </a:lnTo>
                  <a:lnTo>
                    <a:pt x="45" y="344"/>
                  </a:lnTo>
                  <a:lnTo>
                    <a:pt x="41" y="343"/>
                  </a:lnTo>
                  <a:lnTo>
                    <a:pt x="41" y="345"/>
                  </a:lnTo>
                  <a:lnTo>
                    <a:pt x="40" y="346"/>
                  </a:lnTo>
                  <a:lnTo>
                    <a:pt x="36" y="343"/>
                  </a:lnTo>
                  <a:lnTo>
                    <a:pt x="33" y="344"/>
                  </a:lnTo>
                  <a:lnTo>
                    <a:pt x="36" y="347"/>
                  </a:lnTo>
                  <a:lnTo>
                    <a:pt x="33" y="352"/>
                  </a:lnTo>
                  <a:lnTo>
                    <a:pt x="29" y="355"/>
                  </a:lnTo>
                  <a:lnTo>
                    <a:pt x="27" y="356"/>
                  </a:lnTo>
                  <a:lnTo>
                    <a:pt x="24" y="351"/>
                  </a:lnTo>
                  <a:lnTo>
                    <a:pt x="25" y="345"/>
                  </a:lnTo>
                  <a:lnTo>
                    <a:pt x="28" y="345"/>
                  </a:lnTo>
                  <a:lnTo>
                    <a:pt x="31" y="344"/>
                  </a:lnTo>
                  <a:lnTo>
                    <a:pt x="35" y="341"/>
                  </a:lnTo>
                  <a:lnTo>
                    <a:pt x="37" y="340"/>
                  </a:lnTo>
                  <a:lnTo>
                    <a:pt x="34" y="340"/>
                  </a:lnTo>
                  <a:lnTo>
                    <a:pt x="30" y="339"/>
                  </a:lnTo>
                  <a:lnTo>
                    <a:pt x="30" y="338"/>
                  </a:lnTo>
                  <a:lnTo>
                    <a:pt x="29" y="338"/>
                  </a:lnTo>
                  <a:lnTo>
                    <a:pt x="28" y="338"/>
                  </a:lnTo>
                  <a:lnTo>
                    <a:pt x="27" y="338"/>
                  </a:lnTo>
                  <a:lnTo>
                    <a:pt x="22" y="340"/>
                  </a:lnTo>
                  <a:lnTo>
                    <a:pt x="23" y="338"/>
                  </a:lnTo>
                  <a:lnTo>
                    <a:pt x="24" y="333"/>
                  </a:lnTo>
                  <a:lnTo>
                    <a:pt x="23" y="334"/>
                  </a:lnTo>
                  <a:lnTo>
                    <a:pt x="22" y="333"/>
                  </a:lnTo>
                  <a:lnTo>
                    <a:pt x="22" y="332"/>
                  </a:lnTo>
                  <a:lnTo>
                    <a:pt x="27" y="331"/>
                  </a:lnTo>
                  <a:lnTo>
                    <a:pt x="28" y="334"/>
                  </a:lnTo>
                  <a:lnTo>
                    <a:pt x="31" y="337"/>
                  </a:lnTo>
                  <a:lnTo>
                    <a:pt x="34" y="337"/>
                  </a:lnTo>
                  <a:lnTo>
                    <a:pt x="33" y="332"/>
                  </a:lnTo>
                  <a:lnTo>
                    <a:pt x="30" y="331"/>
                  </a:lnTo>
                  <a:lnTo>
                    <a:pt x="31" y="326"/>
                  </a:lnTo>
                  <a:lnTo>
                    <a:pt x="34" y="328"/>
                  </a:lnTo>
                  <a:lnTo>
                    <a:pt x="34" y="334"/>
                  </a:lnTo>
                  <a:lnTo>
                    <a:pt x="36" y="335"/>
                  </a:lnTo>
                  <a:lnTo>
                    <a:pt x="36" y="333"/>
                  </a:lnTo>
                  <a:lnTo>
                    <a:pt x="35" y="332"/>
                  </a:lnTo>
                  <a:lnTo>
                    <a:pt x="36" y="331"/>
                  </a:lnTo>
                  <a:lnTo>
                    <a:pt x="39" y="329"/>
                  </a:lnTo>
                  <a:lnTo>
                    <a:pt x="41" y="331"/>
                  </a:lnTo>
                  <a:lnTo>
                    <a:pt x="42" y="332"/>
                  </a:lnTo>
                  <a:lnTo>
                    <a:pt x="47" y="331"/>
                  </a:lnTo>
                  <a:lnTo>
                    <a:pt x="48" y="333"/>
                  </a:lnTo>
                  <a:lnTo>
                    <a:pt x="53" y="334"/>
                  </a:lnTo>
                  <a:lnTo>
                    <a:pt x="59" y="338"/>
                  </a:lnTo>
                  <a:lnTo>
                    <a:pt x="59" y="337"/>
                  </a:lnTo>
                  <a:lnTo>
                    <a:pt x="58" y="335"/>
                  </a:lnTo>
                  <a:lnTo>
                    <a:pt x="56" y="334"/>
                  </a:lnTo>
                  <a:lnTo>
                    <a:pt x="59" y="331"/>
                  </a:lnTo>
                  <a:lnTo>
                    <a:pt x="62" y="328"/>
                  </a:lnTo>
                  <a:lnTo>
                    <a:pt x="64" y="325"/>
                  </a:lnTo>
                  <a:lnTo>
                    <a:pt x="65" y="322"/>
                  </a:lnTo>
                  <a:lnTo>
                    <a:pt x="62" y="326"/>
                  </a:lnTo>
                  <a:lnTo>
                    <a:pt x="58" y="329"/>
                  </a:lnTo>
                  <a:lnTo>
                    <a:pt x="52" y="331"/>
                  </a:lnTo>
                  <a:lnTo>
                    <a:pt x="53" y="327"/>
                  </a:lnTo>
                  <a:lnTo>
                    <a:pt x="56" y="322"/>
                  </a:lnTo>
                  <a:lnTo>
                    <a:pt x="58" y="320"/>
                  </a:lnTo>
                  <a:lnTo>
                    <a:pt x="60" y="317"/>
                  </a:lnTo>
                  <a:lnTo>
                    <a:pt x="60" y="320"/>
                  </a:lnTo>
                  <a:lnTo>
                    <a:pt x="63" y="319"/>
                  </a:lnTo>
                  <a:lnTo>
                    <a:pt x="66" y="317"/>
                  </a:lnTo>
                  <a:lnTo>
                    <a:pt x="63" y="314"/>
                  </a:lnTo>
                  <a:lnTo>
                    <a:pt x="60" y="316"/>
                  </a:lnTo>
                  <a:lnTo>
                    <a:pt x="57" y="316"/>
                  </a:lnTo>
                  <a:lnTo>
                    <a:pt x="53" y="316"/>
                  </a:lnTo>
                  <a:lnTo>
                    <a:pt x="52" y="317"/>
                  </a:lnTo>
                  <a:lnTo>
                    <a:pt x="52" y="314"/>
                  </a:lnTo>
                  <a:lnTo>
                    <a:pt x="46" y="308"/>
                  </a:lnTo>
                  <a:lnTo>
                    <a:pt x="52" y="306"/>
                  </a:lnTo>
                  <a:lnTo>
                    <a:pt x="54" y="302"/>
                  </a:lnTo>
                  <a:lnTo>
                    <a:pt x="50" y="304"/>
                  </a:lnTo>
                  <a:lnTo>
                    <a:pt x="51" y="299"/>
                  </a:lnTo>
                  <a:lnTo>
                    <a:pt x="56" y="293"/>
                  </a:lnTo>
                  <a:lnTo>
                    <a:pt x="60" y="291"/>
                  </a:lnTo>
                  <a:lnTo>
                    <a:pt x="54" y="290"/>
                  </a:lnTo>
                  <a:lnTo>
                    <a:pt x="45" y="293"/>
                  </a:lnTo>
                  <a:lnTo>
                    <a:pt x="35" y="303"/>
                  </a:lnTo>
                  <a:lnTo>
                    <a:pt x="30" y="310"/>
                  </a:lnTo>
                  <a:lnTo>
                    <a:pt x="30" y="306"/>
                  </a:lnTo>
                  <a:lnTo>
                    <a:pt x="31" y="303"/>
                  </a:lnTo>
                  <a:lnTo>
                    <a:pt x="33" y="298"/>
                  </a:lnTo>
                  <a:lnTo>
                    <a:pt x="29" y="300"/>
                  </a:lnTo>
                  <a:lnTo>
                    <a:pt x="31" y="292"/>
                  </a:lnTo>
                  <a:lnTo>
                    <a:pt x="34" y="287"/>
                  </a:lnTo>
                  <a:lnTo>
                    <a:pt x="35" y="287"/>
                  </a:lnTo>
                  <a:lnTo>
                    <a:pt x="40" y="288"/>
                  </a:lnTo>
                  <a:lnTo>
                    <a:pt x="39" y="285"/>
                  </a:lnTo>
                  <a:lnTo>
                    <a:pt x="40" y="285"/>
                  </a:lnTo>
                  <a:lnTo>
                    <a:pt x="43" y="281"/>
                  </a:lnTo>
                  <a:lnTo>
                    <a:pt x="45" y="278"/>
                  </a:lnTo>
                  <a:lnTo>
                    <a:pt x="33" y="276"/>
                  </a:lnTo>
                  <a:lnTo>
                    <a:pt x="24" y="274"/>
                  </a:lnTo>
                  <a:lnTo>
                    <a:pt x="30" y="274"/>
                  </a:lnTo>
                  <a:lnTo>
                    <a:pt x="33" y="274"/>
                  </a:lnTo>
                  <a:lnTo>
                    <a:pt x="33" y="272"/>
                  </a:lnTo>
                  <a:lnTo>
                    <a:pt x="35" y="272"/>
                  </a:lnTo>
                  <a:lnTo>
                    <a:pt x="35" y="270"/>
                  </a:lnTo>
                  <a:lnTo>
                    <a:pt x="39" y="272"/>
                  </a:lnTo>
                  <a:lnTo>
                    <a:pt x="37" y="269"/>
                  </a:lnTo>
                  <a:lnTo>
                    <a:pt x="41" y="270"/>
                  </a:lnTo>
                  <a:lnTo>
                    <a:pt x="42" y="268"/>
                  </a:lnTo>
                  <a:lnTo>
                    <a:pt x="46" y="272"/>
                  </a:lnTo>
                  <a:lnTo>
                    <a:pt x="47" y="274"/>
                  </a:lnTo>
                  <a:lnTo>
                    <a:pt x="50" y="278"/>
                  </a:lnTo>
                  <a:lnTo>
                    <a:pt x="51" y="280"/>
                  </a:lnTo>
                  <a:lnTo>
                    <a:pt x="53" y="280"/>
                  </a:lnTo>
                  <a:lnTo>
                    <a:pt x="54" y="278"/>
                  </a:lnTo>
                  <a:lnTo>
                    <a:pt x="54" y="276"/>
                  </a:lnTo>
                  <a:lnTo>
                    <a:pt x="56" y="275"/>
                  </a:lnTo>
                  <a:lnTo>
                    <a:pt x="58" y="275"/>
                  </a:lnTo>
                  <a:lnTo>
                    <a:pt x="64" y="273"/>
                  </a:lnTo>
                  <a:lnTo>
                    <a:pt x="69" y="275"/>
                  </a:lnTo>
                  <a:lnTo>
                    <a:pt x="71" y="275"/>
                  </a:lnTo>
                  <a:lnTo>
                    <a:pt x="75" y="275"/>
                  </a:lnTo>
                  <a:lnTo>
                    <a:pt x="81" y="275"/>
                  </a:lnTo>
                  <a:lnTo>
                    <a:pt x="83" y="275"/>
                  </a:lnTo>
                  <a:lnTo>
                    <a:pt x="88" y="275"/>
                  </a:lnTo>
                  <a:lnTo>
                    <a:pt x="88" y="272"/>
                  </a:lnTo>
                  <a:lnTo>
                    <a:pt x="90" y="273"/>
                  </a:lnTo>
                  <a:lnTo>
                    <a:pt x="92" y="274"/>
                  </a:lnTo>
                  <a:lnTo>
                    <a:pt x="92" y="275"/>
                  </a:lnTo>
                  <a:lnTo>
                    <a:pt x="95" y="274"/>
                  </a:lnTo>
                  <a:lnTo>
                    <a:pt x="100" y="275"/>
                  </a:lnTo>
                  <a:lnTo>
                    <a:pt x="105" y="276"/>
                  </a:lnTo>
                  <a:lnTo>
                    <a:pt x="109" y="279"/>
                  </a:lnTo>
                  <a:lnTo>
                    <a:pt x="112" y="280"/>
                  </a:lnTo>
                  <a:lnTo>
                    <a:pt x="116" y="280"/>
                  </a:lnTo>
                  <a:lnTo>
                    <a:pt x="117" y="275"/>
                  </a:lnTo>
                  <a:lnTo>
                    <a:pt x="117" y="272"/>
                  </a:lnTo>
                  <a:lnTo>
                    <a:pt x="118" y="269"/>
                  </a:lnTo>
                  <a:lnTo>
                    <a:pt x="115" y="272"/>
                  </a:lnTo>
                  <a:lnTo>
                    <a:pt x="112" y="270"/>
                  </a:lnTo>
                  <a:lnTo>
                    <a:pt x="111" y="273"/>
                  </a:lnTo>
                  <a:lnTo>
                    <a:pt x="111" y="269"/>
                  </a:lnTo>
                  <a:lnTo>
                    <a:pt x="106" y="268"/>
                  </a:lnTo>
                  <a:lnTo>
                    <a:pt x="105" y="267"/>
                  </a:lnTo>
                  <a:lnTo>
                    <a:pt x="105" y="266"/>
                  </a:lnTo>
                  <a:lnTo>
                    <a:pt x="102" y="267"/>
                  </a:lnTo>
                  <a:lnTo>
                    <a:pt x="100" y="268"/>
                  </a:lnTo>
                  <a:lnTo>
                    <a:pt x="101" y="264"/>
                  </a:lnTo>
                  <a:lnTo>
                    <a:pt x="101" y="258"/>
                  </a:lnTo>
                  <a:lnTo>
                    <a:pt x="96" y="261"/>
                  </a:lnTo>
                  <a:lnTo>
                    <a:pt x="93" y="263"/>
                  </a:lnTo>
                  <a:lnTo>
                    <a:pt x="92" y="262"/>
                  </a:lnTo>
                  <a:lnTo>
                    <a:pt x="88" y="260"/>
                  </a:lnTo>
                  <a:lnTo>
                    <a:pt x="86" y="263"/>
                  </a:lnTo>
                  <a:lnTo>
                    <a:pt x="86" y="260"/>
                  </a:lnTo>
                  <a:lnTo>
                    <a:pt x="88" y="256"/>
                  </a:lnTo>
                  <a:lnTo>
                    <a:pt x="86" y="254"/>
                  </a:lnTo>
                  <a:lnTo>
                    <a:pt x="89" y="254"/>
                  </a:lnTo>
                  <a:lnTo>
                    <a:pt x="93" y="254"/>
                  </a:lnTo>
                  <a:lnTo>
                    <a:pt x="95" y="255"/>
                  </a:lnTo>
                  <a:lnTo>
                    <a:pt x="98" y="252"/>
                  </a:lnTo>
                  <a:lnTo>
                    <a:pt x="95" y="250"/>
                  </a:lnTo>
                  <a:lnTo>
                    <a:pt x="93" y="248"/>
                  </a:lnTo>
                  <a:lnTo>
                    <a:pt x="93" y="245"/>
                  </a:lnTo>
                  <a:lnTo>
                    <a:pt x="89" y="248"/>
                  </a:lnTo>
                  <a:lnTo>
                    <a:pt x="90" y="244"/>
                  </a:lnTo>
                  <a:lnTo>
                    <a:pt x="95" y="240"/>
                  </a:lnTo>
                  <a:lnTo>
                    <a:pt x="100" y="242"/>
                  </a:lnTo>
                  <a:lnTo>
                    <a:pt x="101" y="243"/>
                  </a:lnTo>
                  <a:lnTo>
                    <a:pt x="104" y="240"/>
                  </a:lnTo>
                  <a:lnTo>
                    <a:pt x="107" y="238"/>
                  </a:lnTo>
                  <a:lnTo>
                    <a:pt x="109" y="236"/>
                  </a:lnTo>
                  <a:lnTo>
                    <a:pt x="115" y="233"/>
                  </a:lnTo>
                  <a:lnTo>
                    <a:pt x="113" y="230"/>
                  </a:lnTo>
                  <a:lnTo>
                    <a:pt x="110" y="227"/>
                  </a:lnTo>
                  <a:lnTo>
                    <a:pt x="110" y="226"/>
                  </a:lnTo>
                  <a:lnTo>
                    <a:pt x="111" y="227"/>
                  </a:lnTo>
                  <a:lnTo>
                    <a:pt x="113" y="228"/>
                  </a:lnTo>
                  <a:lnTo>
                    <a:pt x="116" y="226"/>
                  </a:lnTo>
                  <a:lnTo>
                    <a:pt x="116" y="224"/>
                  </a:lnTo>
                  <a:lnTo>
                    <a:pt x="121" y="222"/>
                  </a:lnTo>
                  <a:lnTo>
                    <a:pt x="124" y="221"/>
                  </a:lnTo>
                  <a:lnTo>
                    <a:pt x="128" y="219"/>
                  </a:lnTo>
                  <a:lnTo>
                    <a:pt x="130" y="218"/>
                  </a:lnTo>
                  <a:lnTo>
                    <a:pt x="128" y="213"/>
                  </a:lnTo>
                  <a:lnTo>
                    <a:pt x="127" y="210"/>
                  </a:lnTo>
                  <a:lnTo>
                    <a:pt x="123" y="215"/>
                  </a:lnTo>
                  <a:lnTo>
                    <a:pt x="118" y="219"/>
                  </a:lnTo>
                  <a:lnTo>
                    <a:pt x="119" y="215"/>
                  </a:lnTo>
                  <a:lnTo>
                    <a:pt x="125" y="209"/>
                  </a:lnTo>
                  <a:lnTo>
                    <a:pt x="128" y="207"/>
                  </a:lnTo>
                  <a:lnTo>
                    <a:pt x="125" y="207"/>
                  </a:lnTo>
                  <a:lnTo>
                    <a:pt x="125" y="203"/>
                  </a:lnTo>
                  <a:lnTo>
                    <a:pt x="125" y="202"/>
                  </a:lnTo>
                  <a:lnTo>
                    <a:pt x="121" y="203"/>
                  </a:lnTo>
                  <a:lnTo>
                    <a:pt x="115" y="205"/>
                  </a:lnTo>
                  <a:lnTo>
                    <a:pt x="109" y="208"/>
                  </a:lnTo>
                  <a:lnTo>
                    <a:pt x="111" y="202"/>
                  </a:lnTo>
                  <a:lnTo>
                    <a:pt x="113" y="199"/>
                  </a:lnTo>
                  <a:lnTo>
                    <a:pt x="116" y="196"/>
                  </a:lnTo>
                  <a:lnTo>
                    <a:pt x="119" y="195"/>
                  </a:lnTo>
                  <a:lnTo>
                    <a:pt x="125" y="196"/>
                  </a:lnTo>
                  <a:lnTo>
                    <a:pt x="125" y="193"/>
                  </a:lnTo>
                  <a:lnTo>
                    <a:pt x="111" y="192"/>
                  </a:lnTo>
                  <a:lnTo>
                    <a:pt x="110" y="190"/>
                  </a:lnTo>
                  <a:lnTo>
                    <a:pt x="113" y="189"/>
                  </a:lnTo>
                  <a:lnTo>
                    <a:pt x="117" y="187"/>
                  </a:lnTo>
                  <a:lnTo>
                    <a:pt x="119" y="186"/>
                  </a:lnTo>
                  <a:lnTo>
                    <a:pt x="122" y="185"/>
                  </a:lnTo>
                  <a:lnTo>
                    <a:pt x="127" y="186"/>
                  </a:lnTo>
                  <a:lnTo>
                    <a:pt x="129" y="190"/>
                  </a:lnTo>
                  <a:lnTo>
                    <a:pt x="129" y="189"/>
                  </a:lnTo>
                  <a:lnTo>
                    <a:pt x="130" y="186"/>
                  </a:lnTo>
                  <a:lnTo>
                    <a:pt x="134" y="187"/>
                  </a:lnTo>
                  <a:lnTo>
                    <a:pt x="135" y="185"/>
                  </a:lnTo>
                  <a:lnTo>
                    <a:pt x="134" y="183"/>
                  </a:lnTo>
                  <a:lnTo>
                    <a:pt x="129" y="180"/>
                  </a:lnTo>
                  <a:lnTo>
                    <a:pt x="128" y="178"/>
                  </a:lnTo>
                  <a:lnTo>
                    <a:pt x="127" y="177"/>
                  </a:lnTo>
                  <a:lnTo>
                    <a:pt x="125" y="174"/>
                  </a:lnTo>
                  <a:lnTo>
                    <a:pt x="125" y="171"/>
                  </a:lnTo>
                  <a:lnTo>
                    <a:pt x="127" y="168"/>
                  </a:lnTo>
                  <a:lnTo>
                    <a:pt x="127" y="166"/>
                  </a:lnTo>
                  <a:lnTo>
                    <a:pt x="129" y="168"/>
                  </a:lnTo>
                  <a:lnTo>
                    <a:pt x="130" y="167"/>
                  </a:lnTo>
                  <a:lnTo>
                    <a:pt x="133" y="171"/>
                  </a:lnTo>
                  <a:lnTo>
                    <a:pt x="135" y="171"/>
                  </a:lnTo>
                  <a:lnTo>
                    <a:pt x="136" y="177"/>
                  </a:lnTo>
                  <a:lnTo>
                    <a:pt x="136" y="181"/>
                  </a:lnTo>
                  <a:lnTo>
                    <a:pt x="137" y="186"/>
                  </a:lnTo>
                  <a:lnTo>
                    <a:pt x="140" y="189"/>
                  </a:lnTo>
                  <a:lnTo>
                    <a:pt x="145" y="190"/>
                  </a:lnTo>
                  <a:lnTo>
                    <a:pt x="148" y="191"/>
                  </a:lnTo>
                  <a:lnTo>
                    <a:pt x="153" y="189"/>
                  </a:lnTo>
                  <a:lnTo>
                    <a:pt x="155" y="189"/>
                  </a:lnTo>
                  <a:lnTo>
                    <a:pt x="155" y="187"/>
                  </a:lnTo>
                  <a:lnTo>
                    <a:pt x="158" y="186"/>
                  </a:lnTo>
                  <a:lnTo>
                    <a:pt x="159" y="187"/>
                  </a:lnTo>
                  <a:lnTo>
                    <a:pt x="160" y="185"/>
                  </a:lnTo>
                  <a:lnTo>
                    <a:pt x="163" y="184"/>
                  </a:lnTo>
                  <a:lnTo>
                    <a:pt x="165" y="181"/>
                  </a:lnTo>
                  <a:lnTo>
                    <a:pt x="166" y="179"/>
                  </a:lnTo>
                  <a:lnTo>
                    <a:pt x="168" y="178"/>
                  </a:lnTo>
                  <a:lnTo>
                    <a:pt x="166" y="178"/>
                  </a:lnTo>
                  <a:lnTo>
                    <a:pt x="166" y="174"/>
                  </a:lnTo>
                  <a:lnTo>
                    <a:pt x="166" y="173"/>
                  </a:lnTo>
                  <a:lnTo>
                    <a:pt x="165" y="171"/>
                  </a:lnTo>
                  <a:lnTo>
                    <a:pt x="165" y="167"/>
                  </a:lnTo>
                  <a:lnTo>
                    <a:pt x="168" y="168"/>
                  </a:lnTo>
                  <a:lnTo>
                    <a:pt x="169" y="169"/>
                  </a:lnTo>
                  <a:lnTo>
                    <a:pt x="170" y="168"/>
                  </a:lnTo>
                  <a:lnTo>
                    <a:pt x="169" y="167"/>
                  </a:lnTo>
                  <a:lnTo>
                    <a:pt x="172" y="166"/>
                  </a:lnTo>
                  <a:lnTo>
                    <a:pt x="175" y="166"/>
                  </a:lnTo>
                  <a:lnTo>
                    <a:pt x="174" y="162"/>
                  </a:lnTo>
                  <a:lnTo>
                    <a:pt x="172" y="155"/>
                  </a:lnTo>
                  <a:lnTo>
                    <a:pt x="171" y="156"/>
                  </a:lnTo>
                  <a:lnTo>
                    <a:pt x="169" y="155"/>
                  </a:lnTo>
                  <a:lnTo>
                    <a:pt x="168" y="157"/>
                  </a:lnTo>
                  <a:lnTo>
                    <a:pt x="166" y="157"/>
                  </a:lnTo>
                  <a:lnTo>
                    <a:pt x="165" y="155"/>
                  </a:lnTo>
                  <a:lnTo>
                    <a:pt x="165" y="154"/>
                  </a:lnTo>
                  <a:lnTo>
                    <a:pt x="164" y="151"/>
                  </a:lnTo>
                  <a:lnTo>
                    <a:pt x="166" y="151"/>
                  </a:lnTo>
                  <a:lnTo>
                    <a:pt x="170" y="154"/>
                  </a:lnTo>
                  <a:lnTo>
                    <a:pt x="170" y="150"/>
                  </a:lnTo>
                  <a:lnTo>
                    <a:pt x="169" y="147"/>
                  </a:lnTo>
                  <a:lnTo>
                    <a:pt x="170" y="147"/>
                  </a:lnTo>
                  <a:lnTo>
                    <a:pt x="171" y="144"/>
                  </a:lnTo>
                  <a:lnTo>
                    <a:pt x="172" y="143"/>
                  </a:lnTo>
                  <a:lnTo>
                    <a:pt x="174" y="143"/>
                  </a:lnTo>
                  <a:lnTo>
                    <a:pt x="175" y="143"/>
                  </a:lnTo>
                  <a:lnTo>
                    <a:pt x="175" y="147"/>
                  </a:lnTo>
                  <a:lnTo>
                    <a:pt x="177" y="147"/>
                  </a:lnTo>
                  <a:lnTo>
                    <a:pt x="178" y="148"/>
                  </a:lnTo>
                  <a:lnTo>
                    <a:pt x="178" y="149"/>
                  </a:lnTo>
                  <a:lnTo>
                    <a:pt x="175" y="150"/>
                  </a:lnTo>
                  <a:lnTo>
                    <a:pt x="174" y="154"/>
                  </a:lnTo>
                  <a:lnTo>
                    <a:pt x="174" y="157"/>
                  </a:lnTo>
                  <a:lnTo>
                    <a:pt x="175" y="161"/>
                  </a:lnTo>
                  <a:lnTo>
                    <a:pt x="177" y="160"/>
                  </a:lnTo>
                  <a:lnTo>
                    <a:pt x="176" y="157"/>
                  </a:lnTo>
                  <a:lnTo>
                    <a:pt x="176" y="154"/>
                  </a:lnTo>
                  <a:lnTo>
                    <a:pt x="176" y="153"/>
                  </a:lnTo>
                  <a:lnTo>
                    <a:pt x="177" y="153"/>
                  </a:lnTo>
                  <a:lnTo>
                    <a:pt x="178" y="153"/>
                  </a:lnTo>
                  <a:lnTo>
                    <a:pt x="181" y="153"/>
                  </a:lnTo>
                  <a:lnTo>
                    <a:pt x="182" y="153"/>
                  </a:lnTo>
                  <a:lnTo>
                    <a:pt x="182" y="154"/>
                  </a:lnTo>
                  <a:lnTo>
                    <a:pt x="180" y="159"/>
                  </a:lnTo>
                  <a:lnTo>
                    <a:pt x="182" y="161"/>
                  </a:lnTo>
                  <a:lnTo>
                    <a:pt x="184" y="162"/>
                  </a:lnTo>
                  <a:lnTo>
                    <a:pt x="184" y="163"/>
                  </a:lnTo>
                  <a:lnTo>
                    <a:pt x="180" y="167"/>
                  </a:lnTo>
                  <a:lnTo>
                    <a:pt x="182" y="167"/>
                  </a:lnTo>
                  <a:lnTo>
                    <a:pt x="183" y="166"/>
                  </a:lnTo>
                  <a:lnTo>
                    <a:pt x="186" y="165"/>
                  </a:lnTo>
                  <a:lnTo>
                    <a:pt x="188" y="163"/>
                  </a:lnTo>
                  <a:lnTo>
                    <a:pt x="190" y="161"/>
                  </a:lnTo>
                  <a:lnTo>
                    <a:pt x="188" y="160"/>
                  </a:lnTo>
                  <a:lnTo>
                    <a:pt x="183" y="159"/>
                  </a:lnTo>
                  <a:lnTo>
                    <a:pt x="183" y="155"/>
                  </a:lnTo>
                  <a:lnTo>
                    <a:pt x="182" y="150"/>
                  </a:lnTo>
                  <a:lnTo>
                    <a:pt x="183" y="150"/>
                  </a:lnTo>
                  <a:lnTo>
                    <a:pt x="184" y="149"/>
                  </a:lnTo>
                  <a:lnTo>
                    <a:pt x="186" y="149"/>
                  </a:lnTo>
                  <a:lnTo>
                    <a:pt x="188" y="149"/>
                  </a:lnTo>
                  <a:lnTo>
                    <a:pt x="189" y="151"/>
                  </a:lnTo>
                  <a:lnTo>
                    <a:pt x="192" y="149"/>
                  </a:lnTo>
                  <a:lnTo>
                    <a:pt x="195" y="150"/>
                  </a:lnTo>
                  <a:lnTo>
                    <a:pt x="195" y="151"/>
                  </a:lnTo>
                  <a:lnTo>
                    <a:pt x="198" y="153"/>
                  </a:lnTo>
                  <a:lnTo>
                    <a:pt x="196" y="156"/>
                  </a:lnTo>
                  <a:lnTo>
                    <a:pt x="199" y="157"/>
                  </a:lnTo>
                  <a:lnTo>
                    <a:pt x="201" y="155"/>
                  </a:lnTo>
                  <a:lnTo>
                    <a:pt x="200" y="159"/>
                  </a:lnTo>
                  <a:lnTo>
                    <a:pt x="201" y="161"/>
                  </a:lnTo>
                  <a:lnTo>
                    <a:pt x="202" y="157"/>
                  </a:lnTo>
                  <a:lnTo>
                    <a:pt x="204" y="160"/>
                  </a:lnTo>
                  <a:lnTo>
                    <a:pt x="206" y="159"/>
                  </a:lnTo>
                  <a:lnTo>
                    <a:pt x="208" y="156"/>
                  </a:lnTo>
                  <a:lnTo>
                    <a:pt x="206" y="157"/>
                  </a:lnTo>
                  <a:lnTo>
                    <a:pt x="205" y="157"/>
                  </a:lnTo>
                  <a:lnTo>
                    <a:pt x="205" y="155"/>
                  </a:lnTo>
                  <a:lnTo>
                    <a:pt x="204" y="154"/>
                  </a:lnTo>
                  <a:lnTo>
                    <a:pt x="204" y="153"/>
                  </a:lnTo>
                  <a:lnTo>
                    <a:pt x="206" y="153"/>
                  </a:lnTo>
                  <a:lnTo>
                    <a:pt x="206" y="150"/>
                  </a:lnTo>
                  <a:lnTo>
                    <a:pt x="207" y="149"/>
                  </a:lnTo>
                  <a:lnTo>
                    <a:pt x="208" y="149"/>
                  </a:lnTo>
                  <a:lnTo>
                    <a:pt x="211" y="149"/>
                  </a:lnTo>
                  <a:lnTo>
                    <a:pt x="212" y="151"/>
                  </a:lnTo>
                  <a:lnTo>
                    <a:pt x="213" y="149"/>
                  </a:lnTo>
                  <a:lnTo>
                    <a:pt x="214" y="148"/>
                  </a:lnTo>
                  <a:lnTo>
                    <a:pt x="214" y="147"/>
                  </a:lnTo>
                  <a:lnTo>
                    <a:pt x="214" y="138"/>
                  </a:lnTo>
                  <a:lnTo>
                    <a:pt x="217" y="142"/>
                  </a:lnTo>
                  <a:lnTo>
                    <a:pt x="217" y="145"/>
                  </a:lnTo>
                  <a:lnTo>
                    <a:pt x="219" y="145"/>
                  </a:lnTo>
                  <a:lnTo>
                    <a:pt x="219" y="148"/>
                  </a:lnTo>
                  <a:lnTo>
                    <a:pt x="218" y="149"/>
                  </a:lnTo>
                  <a:lnTo>
                    <a:pt x="217" y="151"/>
                  </a:lnTo>
                  <a:lnTo>
                    <a:pt x="218" y="155"/>
                  </a:lnTo>
                  <a:lnTo>
                    <a:pt x="220" y="157"/>
                  </a:lnTo>
                  <a:lnTo>
                    <a:pt x="222" y="155"/>
                  </a:lnTo>
                  <a:lnTo>
                    <a:pt x="224" y="157"/>
                  </a:lnTo>
                  <a:lnTo>
                    <a:pt x="225" y="162"/>
                  </a:lnTo>
                  <a:lnTo>
                    <a:pt x="229" y="160"/>
                  </a:lnTo>
                  <a:lnTo>
                    <a:pt x="231" y="161"/>
                  </a:lnTo>
                  <a:lnTo>
                    <a:pt x="234" y="161"/>
                  </a:lnTo>
                  <a:lnTo>
                    <a:pt x="234" y="163"/>
                  </a:lnTo>
                  <a:lnTo>
                    <a:pt x="236" y="165"/>
                  </a:lnTo>
                  <a:lnTo>
                    <a:pt x="237" y="168"/>
                  </a:lnTo>
                  <a:lnTo>
                    <a:pt x="240" y="172"/>
                  </a:lnTo>
                  <a:lnTo>
                    <a:pt x="241" y="173"/>
                  </a:lnTo>
                  <a:lnTo>
                    <a:pt x="233" y="168"/>
                  </a:lnTo>
                  <a:lnTo>
                    <a:pt x="225" y="165"/>
                  </a:lnTo>
                  <a:lnTo>
                    <a:pt x="223" y="161"/>
                  </a:lnTo>
                  <a:lnTo>
                    <a:pt x="223" y="165"/>
                  </a:lnTo>
                  <a:lnTo>
                    <a:pt x="225" y="168"/>
                  </a:lnTo>
                  <a:lnTo>
                    <a:pt x="225" y="171"/>
                  </a:lnTo>
                  <a:lnTo>
                    <a:pt x="227" y="173"/>
                  </a:lnTo>
                  <a:lnTo>
                    <a:pt x="230" y="174"/>
                  </a:lnTo>
                  <a:lnTo>
                    <a:pt x="234" y="175"/>
                  </a:lnTo>
                  <a:lnTo>
                    <a:pt x="229" y="177"/>
                  </a:lnTo>
                  <a:lnTo>
                    <a:pt x="231" y="186"/>
                  </a:lnTo>
                  <a:lnTo>
                    <a:pt x="234" y="191"/>
                  </a:lnTo>
                  <a:lnTo>
                    <a:pt x="236" y="190"/>
                  </a:lnTo>
                  <a:lnTo>
                    <a:pt x="237" y="191"/>
                  </a:lnTo>
                  <a:lnTo>
                    <a:pt x="239" y="195"/>
                  </a:lnTo>
                  <a:lnTo>
                    <a:pt x="240" y="195"/>
                  </a:lnTo>
                  <a:lnTo>
                    <a:pt x="241" y="193"/>
                  </a:lnTo>
                  <a:lnTo>
                    <a:pt x="242" y="195"/>
                  </a:lnTo>
                  <a:lnTo>
                    <a:pt x="242" y="199"/>
                  </a:lnTo>
                  <a:lnTo>
                    <a:pt x="242" y="203"/>
                  </a:lnTo>
                  <a:lnTo>
                    <a:pt x="243" y="204"/>
                  </a:lnTo>
                  <a:lnTo>
                    <a:pt x="246" y="203"/>
                  </a:lnTo>
                  <a:lnTo>
                    <a:pt x="247" y="203"/>
                  </a:lnTo>
                  <a:lnTo>
                    <a:pt x="247" y="199"/>
                  </a:lnTo>
                  <a:lnTo>
                    <a:pt x="249" y="197"/>
                  </a:lnTo>
                  <a:lnTo>
                    <a:pt x="252" y="196"/>
                  </a:lnTo>
                  <a:lnTo>
                    <a:pt x="257" y="195"/>
                  </a:lnTo>
                  <a:lnTo>
                    <a:pt x="253" y="193"/>
                  </a:lnTo>
                  <a:lnTo>
                    <a:pt x="247" y="195"/>
                  </a:lnTo>
                  <a:lnTo>
                    <a:pt x="245" y="193"/>
                  </a:lnTo>
                  <a:lnTo>
                    <a:pt x="245" y="191"/>
                  </a:lnTo>
                  <a:lnTo>
                    <a:pt x="247" y="190"/>
                  </a:lnTo>
                  <a:lnTo>
                    <a:pt x="248" y="187"/>
                  </a:lnTo>
                  <a:lnTo>
                    <a:pt x="249" y="186"/>
                  </a:lnTo>
                  <a:lnTo>
                    <a:pt x="253" y="185"/>
                  </a:lnTo>
                  <a:lnTo>
                    <a:pt x="255" y="184"/>
                  </a:lnTo>
                  <a:lnTo>
                    <a:pt x="257" y="183"/>
                  </a:lnTo>
                  <a:lnTo>
                    <a:pt x="255" y="180"/>
                  </a:lnTo>
                  <a:lnTo>
                    <a:pt x="254" y="177"/>
                  </a:lnTo>
                  <a:lnTo>
                    <a:pt x="248" y="181"/>
                  </a:lnTo>
                  <a:lnTo>
                    <a:pt x="246" y="183"/>
                  </a:lnTo>
                  <a:lnTo>
                    <a:pt x="246" y="179"/>
                  </a:lnTo>
                  <a:lnTo>
                    <a:pt x="245" y="178"/>
                  </a:lnTo>
                  <a:lnTo>
                    <a:pt x="245" y="177"/>
                  </a:lnTo>
                  <a:lnTo>
                    <a:pt x="245" y="173"/>
                  </a:lnTo>
                  <a:lnTo>
                    <a:pt x="243" y="171"/>
                  </a:lnTo>
                  <a:lnTo>
                    <a:pt x="245" y="169"/>
                  </a:lnTo>
                  <a:lnTo>
                    <a:pt x="241" y="162"/>
                  </a:lnTo>
                  <a:lnTo>
                    <a:pt x="245" y="165"/>
                  </a:lnTo>
                  <a:lnTo>
                    <a:pt x="248" y="163"/>
                  </a:lnTo>
                  <a:lnTo>
                    <a:pt x="251" y="165"/>
                  </a:lnTo>
                  <a:lnTo>
                    <a:pt x="254" y="166"/>
                  </a:lnTo>
                  <a:lnTo>
                    <a:pt x="257" y="160"/>
                  </a:lnTo>
                  <a:lnTo>
                    <a:pt x="255" y="157"/>
                  </a:lnTo>
                  <a:lnTo>
                    <a:pt x="252" y="159"/>
                  </a:lnTo>
                  <a:lnTo>
                    <a:pt x="249" y="159"/>
                  </a:lnTo>
                  <a:lnTo>
                    <a:pt x="248" y="155"/>
                  </a:lnTo>
                  <a:lnTo>
                    <a:pt x="247" y="153"/>
                  </a:lnTo>
                  <a:lnTo>
                    <a:pt x="252" y="153"/>
                  </a:lnTo>
                  <a:lnTo>
                    <a:pt x="255" y="154"/>
                  </a:lnTo>
                  <a:lnTo>
                    <a:pt x="258" y="153"/>
                  </a:lnTo>
                  <a:lnTo>
                    <a:pt x="259" y="151"/>
                  </a:lnTo>
                  <a:lnTo>
                    <a:pt x="261" y="151"/>
                  </a:lnTo>
                  <a:lnTo>
                    <a:pt x="261" y="148"/>
                  </a:lnTo>
                  <a:lnTo>
                    <a:pt x="263" y="149"/>
                  </a:lnTo>
                  <a:lnTo>
                    <a:pt x="264" y="153"/>
                  </a:lnTo>
                  <a:lnTo>
                    <a:pt x="265" y="156"/>
                  </a:lnTo>
                  <a:lnTo>
                    <a:pt x="267" y="155"/>
                  </a:lnTo>
                  <a:lnTo>
                    <a:pt x="267" y="157"/>
                  </a:lnTo>
                  <a:lnTo>
                    <a:pt x="269" y="160"/>
                  </a:lnTo>
                  <a:lnTo>
                    <a:pt x="270" y="160"/>
                  </a:lnTo>
                  <a:lnTo>
                    <a:pt x="272" y="162"/>
                  </a:lnTo>
                  <a:lnTo>
                    <a:pt x="275" y="163"/>
                  </a:lnTo>
                  <a:lnTo>
                    <a:pt x="275" y="165"/>
                  </a:lnTo>
                  <a:lnTo>
                    <a:pt x="276" y="171"/>
                  </a:lnTo>
                  <a:lnTo>
                    <a:pt x="277" y="173"/>
                  </a:lnTo>
                  <a:lnTo>
                    <a:pt x="278" y="177"/>
                  </a:lnTo>
                  <a:lnTo>
                    <a:pt x="279" y="174"/>
                  </a:lnTo>
                  <a:lnTo>
                    <a:pt x="281" y="177"/>
                  </a:lnTo>
                  <a:lnTo>
                    <a:pt x="284" y="174"/>
                  </a:lnTo>
                  <a:lnTo>
                    <a:pt x="287" y="174"/>
                  </a:lnTo>
                  <a:lnTo>
                    <a:pt x="287" y="169"/>
                  </a:lnTo>
                  <a:lnTo>
                    <a:pt x="290" y="172"/>
                  </a:lnTo>
                  <a:lnTo>
                    <a:pt x="294" y="175"/>
                  </a:lnTo>
                  <a:lnTo>
                    <a:pt x="295" y="177"/>
                  </a:lnTo>
                  <a:lnTo>
                    <a:pt x="298" y="178"/>
                  </a:lnTo>
                  <a:lnTo>
                    <a:pt x="300" y="180"/>
                  </a:lnTo>
                  <a:lnTo>
                    <a:pt x="300" y="184"/>
                  </a:lnTo>
                  <a:lnTo>
                    <a:pt x="304" y="184"/>
                  </a:lnTo>
                  <a:lnTo>
                    <a:pt x="307" y="181"/>
                  </a:lnTo>
                  <a:lnTo>
                    <a:pt x="304" y="181"/>
                  </a:lnTo>
                  <a:lnTo>
                    <a:pt x="305" y="179"/>
                  </a:lnTo>
                  <a:lnTo>
                    <a:pt x="305" y="177"/>
                  </a:lnTo>
                  <a:lnTo>
                    <a:pt x="306" y="175"/>
                  </a:lnTo>
                  <a:lnTo>
                    <a:pt x="310" y="175"/>
                  </a:lnTo>
                  <a:lnTo>
                    <a:pt x="310" y="174"/>
                  </a:lnTo>
                  <a:lnTo>
                    <a:pt x="311" y="172"/>
                  </a:lnTo>
                  <a:lnTo>
                    <a:pt x="313" y="171"/>
                  </a:lnTo>
                  <a:lnTo>
                    <a:pt x="314" y="172"/>
                  </a:lnTo>
                  <a:lnTo>
                    <a:pt x="317" y="174"/>
                  </a:lnTo>
                  <a:lnTo>
                    <a:pt x="319" y="174"/>
                  </a:lnTo>
                  <a:lnTo>
                    <a:pt x="322" y="174"/>
                  </a:lnTo>
                  <a:lnTo>
                    <a:pt x="322" y="175"/>
                  </a:lnTo>
                  <a:lnTo>
                    <a:pt x="322" y="179"/>
                  </a:lnTo>
                  <a:lnTo>
                    <a:pt x="324" y="178"/>
                  </a:lnTo>
                  <a:lnTo>
                    <a:pt x="324" y="177"/>
                  </a:lnTo>
                  <a:lnTo>
                    <a:pt x="326" y="175"/>
                  </a:lnTo>
                  <a:lnTo>
                    <a:pt x="328" y="174"/>
                  </a:lnTo>
                  <a:lnTo>
                    <a:pt x="331" y="177"/>
                  </a:lnTo>
                  <a:lnTo>
                    <a:pt x="332" y="174"/>
                  </a:lnTo>
                  <a:lnTo>
                    <a:pt x="329" y="173"/>
                  </a:lnTo>
                  <a:lnTo>
                    <a:pt x="326" y="173"/>
                  </a:lnTo>
                  <a:lnTo>
                    <a:pt x="325" y="172"/>
                  </a:lnTo>
                  <a:lnTo>
                    <a:pt x="325" y="167"/>
                  </a:lnTo>
                  <a:lnTo>
                    <a:pt x="328" y="168"/>
                  </a:lnTo>
                  <a:lnTo>
                    <a:pt x="330" y="167"/>
                  </a:lnTo>
                  <a:lnTo>
                    <a:pt x="332" y="165"/>
                  </a:lnTo>
                  <a:lnTo>
                    <a:pt x="334" y="163"/>
                  </a:lnTo>
                  <a:lnTo>
                    <a:pt x="335" y="163"/>
                  </a:lnTo>
                  <a:lnTo>
                    <a:pt x="337" y="165"/>
                  </a:lnTo>
                  <a:lnTo>
                    <a:pt x="340" y="168"/>
                  </a:lnTo>
                  <a:lnTo>
                    <a:pt x="342" y="166"/>
                  </a:lnTo>
                  <a:lnTo>
                    <a:pt x="343" y="165"/>
                  </a:lnTo>
                  <a:lnTo>
                    <a:pt x="342" y="162"/>
                  </a:lnTo>
                  <a:lnTo>
                    <a:pt x="342" y="161"/>
                  </a:lnTo>
                  <a:lnTo>
                    <a:pt x="343" y="160"/>
                  </a:lnTo>
                  <a:lnTo>
                    <a:pt x="346" y="159"/>
                  </a:lnTo>
                  <a:lnTo>
                    <a:pt x="346" y="157"/>
                  </a:lnTo>
                  <a:lnTo>
                    <a:pt x="348" y="155"/>
                  </a:lnTo>
                  <a:lnTo>
                    <a:pt x="351" y="154"/>
                  </a:lnTo>
                  <a:lnTo>
                    <a:pt x="344" y="155"/>
                  </a:lnTo>
                  <a:lnTo>
                    <a:pt x="341" y="156"/>
                  </a:lnTo>
                  <a:lnTo>
                    <a:pt x="340" y="157"/>
                  </a:lnTo>
                  <a:lnTo>
                    <a:pt x="340" y="156"/>
                  </a:lnTo>
                  <a:lnTo>
                    <a:pt x="343" y="151"/>
                  </a:lnTo>
                  <a:lnTo>
                    <a:pt x="344" y="148"/>
                  </a:lnTo>
                  <a:lnTo>
                    <a:pt x="346" y="147"/>
                  </a:lnTo>
                  <a:lnTo>
                    <a:pt x="348" y="144"/>
                  </a:lnTo>
                  <a:lnTo>
                    <a:pt x="349" y="142"/>
                  </a:lnTo>
                  <a:lnTo>
                    <a:pt x="352" y="141"/>
                  </a:lnTo>
                  <a:lnTo>
                    <a:pt x="357" y="141"/>
                  </a:lnTo>
                  <a:lnTo>
                    <a:pt x="358" y="142"/>
                  </a:lnTo>
                  <a:lnTo>
                    <a:pt x="359" y="142"/>
                  </a:lnTo>
                  <a:lnTo>
                    <a:pt x="361" y="142"/>
                  </a:lnTo>
                  <a:lnTo>
                    <a:pt x="361" y="141"/>
                  </a:lnTo>
                  <a:lnTo>
                    <a:pt x="364" y="141"/>
                  </a:lnTo>
                  <a:lnTo>
                    <a:pt x="361" y="133"/>
                  </a:lnTo>
                  <a:lnTo>
                    <a:pt x="360" y="135"/>
                  </a:lnTo>
                  <a:lnTo>
                    <a:pt x="359" y="137"/>
                  </a:lnTo>
                  <a:lnTo>
                    <a:pt x="359" y="133"/>
                  </a:lnTo>
                  <a:lnTo>
                    <a:pt x="359" y="131"/>
                  </a:lnTo>
                  <a:lnTo>
                    <a:pt x="354" y="130"/>
                  </a:lnTo>
                  <a:lnTo>
                    <a:pt x="348" y="131"/>
                  </a:lnTo>
                  <a:lnTo>
                    <a:pt x="341" y="131"/>
                  </a:lnTo>
                  <a:lnTo>
                    <a:pt x="343" y="130"/>
                  </a:lnTo>
                  <a:lnTo>
                    <a:pt x="344" y="127"/>
                  </a:lnTo>
                  <a:lnTo>
                    <a:pt x="348" y="127"/>
                  </a:lnTo>
                  <a:lnTo>
                    <a:pt x="353" y="125"/>
                  </a:lnTo>
                  <a:lnTo>
                    <a:pt x="354" y="127"/>
                  </a:lnTo>
                  <a:lnTo>
                    <a:pt x="360" y="130"/>
                  </a:lnTo>
                  <a:lnTo>
                    <a:pt x="361" y="130"/>
                  </a:lnTo>
                  <a:lnTo>
                    <a:pt x="357" y="118"/>
                  </a:lnTo>
                  <a:lnTo>
                    <a:pt x="353" y="111"/>
                  </a:lnTo>
                  <a:lnTo>
                    <a:pt x="352" y="113"/>
                  </a:lnTo>
                  <a:lnTo>
                    <a:pt x="348" y="114"/>
                  </a:lnTo>
                  <a:lnTo>
                    <a:pt x="347" y="115"/>
                  </a:lnTo>
                  <a:lnTo>
                    <a:pt x="347" y="112"/>
                  </a:lnTo>
                  <a:lnTo>
                    <a:pt x="347" y="108"/>
                  </a:lnTo>
                  <a:lnTo>
                    <a:pt x="349" y="109"/>
                  </a:lnTo>
                  <a:lnTo>
                    <a:pt x="349" y="106"/>
                  </a:lnTo>
                  <a:lnTo>
                    <a:pt x="346" y="106"/>
                  </a:lnTo>
                  <a:lnTo>
                    <a:pt x="342" y="108"/>
                  </a:lnTo>
                  <a:lnTo>
                    <a:pt x="338" y="112"/>
                  </a:lnTo>
                  <a:lnTo>
                    <a:pt x="338" y="106"/>
                  </a:lnTo>
                  <a:lnTo>
                    <a:pt x="340" y="103"/>
                  </a:lnTo>
                  <a:lnTo>
                    <a:pt x="342" y="102"/>
                  </a:lnTo>
                  <a:lnTo>
                    <a:pt x="346" y="102"/>
                  </a:lnTo>
                  <a:lnTo>
                    <a:pt x="348" y="105"/>
                  </a:lnTo>
                  <a:lnTo>
                    <a:pt x="344" y="97"/>
                  </a:lnTo>
                  <a:lnTo>
                    <a:pt x="338" y="97"/>
                  </a:lnTo>
                  <a:lnTo>
                    <a:pt x="334" y="100"/>
                  </a:lnTo>
                  <a:lnTo>
                    <a:pt x="332" y="105"/>
                  </a:lnTo>
                  <a:lnTo>
                    <a:pt x="330" y="106"/>
                  </a:lnTo>
                  <a:lnTo>
                    <a:pt x="330" y="103"/>
                  </a:lnTo>
                  <a:lnTo>
                    <a:pt x="328" y="100"/>
                  </a:lnTo>
                  <a:lnTo>
                    <a:pt x="329" y="96"/>
                  </a:lnTo>
                  <a:lnTo>
                    <a:pt x="330" y="95"/>
                  </a:lnTo>
                  <a:lnTo>
                    <a:pt x="334" y="96"/>
                  </a:lnTo>
                  <a:lnTo>
                    <a:pt x="340" y="96"/>
                  </a:lnTo>
                  <a:lnTo>
                    <a:pt x="342" y="95"/>
                  </a:lnTo>
                  <a:lnTo>
                    <a:pt x="338" y="95"/>
                  </a:lnTo>
                  <a:lnTo>
                    <a:pt x="335" y="95"/>
                  </a:lnTo>
                  <a:lnTo>
                    <a:pt x="335" y="92"/>
                  </a:lnTo>
                  <a:lnTo>
                    <a:pt x="338" y="91"/>
                  </a:lnTo>
                  <a:lnTo>
                    <a:pt x="338" y="90"/>
                  </a:lnTo>
                  <a:lnTo>
                    <a:pt x="335" y="90"/>
                  </a:lnTo>
                  <a:lnTo>
                    <a:pt x="334" y="91"/>
                  </a:lnTo>
                  <a:lnTo>
                    <a:pt x="331" y="92"/>
                  </a:lnTo>
                  <a:lnTo>
                    <a:pt x="330" y="90"/>
                  </a:lnTo>
                  <a:lnTo>
                    <a:pt x="334" y="89"/>
                  </a:lnTo>
                  <a:lnTo>
                    <a:pt x="338" y="89"/>
                  </a:lnTo>
                  <a:lnTo>
                    <a:pt x="336" y="86"/>
                  </a:lnTo>
                  <a:lnTo>
                    <a:pt x="332" y="86"/>
                  </a:lnTo>
                  <a:lnTo>
                    <a:pt x="329" y="89"/>
                  </a:lnTo>
                  <a:lnTo>
                    <a:pt x="325" y="85"/>
                  </a:lnTo>
                  <a:lnTo>
                    <a:pt x="326" y="84"/>
                  </a:lnTo>
                  <a:lnTo>
                    <a:pt x="330" y="83"/>
                  </a:lnTo>
                  <a:lnTo>
                    <a:pt x="332" y="85"/>
                  </a:lnTo>
                  <a:lnTo>
                    <a:pt x="335" y="85"/>
                  </a:lnTo>
                  <a:lnTo>
                    <a:pt x="331" y="82"/>
                  </a:lnTo>
                  <a:lnTo>
                    <a:pt x="328" y="82"/>
                  </a:lnTo>
                  <a:lnTo>
                    <a:pt x="324" y="80"/>
                  </a:lnTo>
                  <a:lnTo>
                    <a:pt x="319" y="77"/>
                  </a:lnTo>
                  <a:lnTo>
                    <a:pt x="323" y="77"/>
                  </a:lnTo>
                  <a:lnTo>
                    <a:pt x="328" y="78"/>
                  </a:lnTo>
                  <a:lnTo>
                    <a:pt x="332" y="80"/>
                  </a:lnTo>
                  <a:lnTo>
                    <a:pt x="337" y="85"/>
                  </a:lnTo>
                  <a:lnTo>
                    <a:pt x="338" y="85"/>
                  </a:lnTo>
                  <a:lnTo>
                    <a:pt x="340" y="82"/>
                  </a:lnTo>
                  <a:lnTo>
                    <a:pt x="337" y="78"/>
                  </a:lnTo>
                  <a:lnTo>
                    <a:pt x="335" y="77"/>
                  </a:lnTo>
                  <a:lnTo>
                    <a:pt x="329" y="76"/>
                  </a:lnTo>
                  <a:lnTo>
                    <a:pt x="326" y="73"/>
                  </a:lnTo>
                  <a:lnTo>
                    <a:pt x="337" y="73"/>
                  </a:lnTo>
                  <a:lnTo>
                    <a:pt x="338" y="77"/>
                  </a:lnTo>
                  <a:lnTo>
                    <a:pt x="340" y="79"/>
                  </a:lnTo>
                  <a:lnTo>
                    <a:pt x="342" y="77"/>
                  </a:lnTo>
                  <a:lnTo>
                    <a:pt x="344" y="76"/>
                  </a:lnTo>
                  <a:lnTo>
                    <a:pt x="346" y="72"/>
                  </a:lnTo>
                  <a:lnTo>
                    <a:pt x="346" y="71"/>
                  </a:lnTo>
                  <a:lnTo>
                    <a:pt x="347" y="70"/>
                  </a:lnTo>
                  <a:lnTo>
                    <a:pt x="351" y="70"/>
                  </a:lnTo>
                  <a:lnTo>
                    <a:pt x="354" y="70"/>
                  </a:lnTo>
                  <a:lnTo>
                    <a:pt x="358" y="68"/>
                  </a:lnTo>
                  <a:lnTo>
                    <a:pt x="354" y="74"/>
                  </a:lnTo>
                  <a:lnTo>
                    <a:pt x="348" y="74"/>
                  </a:lnTo>
                  <a:lnTo>
                    <a:pt x="344" y="78"/>
                  </a:lnTo>
                  <a:lnTo>
                    <a:pt x="344" y="80"/>
                  </a:lnTo>
                  <a:lnTo>
                    <a:pt x="343" y="83"/>
                  </a:lnTo>
                  <a:lnTo>
                    <a:pt x="347" y="84"/>
                  </a:lnTo>
                  <a:lnTo>
                    <a:pt x="346" y="86"/>
                  </a:lnTo>
                  <a:lnTo>
                    <a:pt x="344" y="92"/>
                  </a:lnTo>
                  <a:lnTo>
                    <a:pt x="346" y="90"/>
                  </a:lnTo>
                  <a:lnTo>
                    <a:pt x="348" y="94"/>
                  </a:lnTo>
                  <a:lnTo>
                    <a:pt x="348" y="97"/>
                  </a:lnTo>
                  <a:lnTo>
                    <a:pt x="353" y="108"/>
                  </a:lnTo>
                  <a:lnTo>
                    <a:pt x="361" y="127"/>
                  </a:lnTo>
                  <a:lnTo>
                    <a:pt x="364" y="127"/>
                  </a:lnTo>
                  <a:lnTo>
                    <a:pt x="367" y="125"/>
                  </a:lnTo>
                  <a:lnTo>
                    <a:pt x="366" y="121"/>
                  </a:lnTo>
                  <a:lnTo>
                    <a:pt x="367" y="120"/>
                  </a:lnTo>
                  <a:lnTo>
                    <a:pt x="367" y="118"/>
                  </a:lnTo>
                  <a:lnTo>
                    <a:pt x="370" y="119"/>
                  </a:lnTo>
                  <a:lnTo>
                    <a:pt x="372" y="120"/>
                  </a:lnTo>
                  <a:lnTo>
                    <a:pt x="373" y="121"/>
                  </a:lnTo>
                  <a:lnTo>
                    <a:pt x="373" y="120"/>
                  </a:lnTo>
                  <a:lnTo>
                    <a:pt x="372" y="115"/>
                  </a:lnTo>
                  <a:lnTo>
                    <a:pt x="375" y="115"/>
                  </a:lnTo>
                  <a:lnTo>
                    <a:pt x="377" y="117"/>
                  </a:lnTo>
                  <a:lnTo>
                    <a:pt x="378" y="117"/>
                  </a:lnTo>
                  <a:lnTo>
                    <a:pt x="381" y="114"/>
                  </a:lnTo>
                  <a:lnTo>
                    <a:pt x="382" y="112"/>
                  </a:lnTo>
                  <a:lnTo>
                    <a:pt x="383" y="112"/>
                  </a:lnTo>
                  <a:lnTo>
                    <a:pt x="387" y="114"/>
                  </a:lnTo>
                  <a:lnTo>
                    <a:pt x="389" y="115"/>
                  </a:lnTo>
                  <a:lnTo>
                    <a:pt x="387" y="117"/>
                  </a:lnTo>
                  <a:lnTo>
                    <a:pt x="387" y="118"/>
                  </a:lnTo>
                  <a:lnTo>
                    <a:pt x="390" y="118"/>
                  </a:lnTo>
                  <a:lnTo>
                    <a:pt x="390" y="120"/>
                  </a:lnTo>
                  <a:lnTo>
                    <a:pt x="393" y="123"/>
                  </a:lnTo>
                  <a:lnTo>
                    <a:pt x="393" y="124"/>
                  </a:lnTo>
                  <a:lnTo>
                    <a:pt x="394" y="125"/>
                  </a:lnTo>
                  <a:lnTo>
                    <a:pt x="395" y="126"/>
                  </a:lnTo>
                  <a:lnTo>
                    <a:pt x="387" y="124"/>
                  </a:lnTo>
                  <a:lnTo>
                    <a:pt x="379" y="123"/>
                  </a:lnTo>
                  <a:lnTo>
                    <a:pt x="378" y="124"/>
                  </a:lnTo>
                  <a:lnTo>
                    <a:pt x="378" y="126"/>
                  </a:lnTo>
                  <a:lnTo>
                    <a:pt x="378" y="127"/>
                  </a:lnTo>
                  <a:lnTo>
                    <a:pt x="379" y="131"/>
                  </a:lnTo>
                  <a:lnTo>
                    <a:pt x="379" y="135"/>
                  </a:lnTo>
                  <a:lnTo>
                    <a:pt x="383" y="132"/>
                  </a:lnTo>
                  <a:lnTo>
                    <a:pt x="383" y="133"/>
                  </a:lnTo>
                  <a:lnTo>
                    <a:pt x="387" y="133"/>
                  </a:lnTo>
                  <a:lnTo>
                    <a:pt x="385" y="135"/>
                  </a:lnTo>
                  <a:lnTo>
                    <a:pt x="388" y="135"/>
                  </a:lnTo>
                  <a:lnTo>
                    <a:pt x="391" y="133"/>
                  </a:lnTo>
                  <a:lnTo>
                    <a:pt x="391" y="135"/>
                  </a:lnTo>
                  <a:lnTo>
                    <a:pt x="394" y="135"/>
                  </a:lnTo>
                  <a:lnTo>
                    <a:pt x="395" y="137"/>
                  </a:lnTo>
                  <a:lnTo>
                    <a:pt x="400" y="137"/>
                  </a:lnTo>
                  <a:lnTo>
                    <a:pt x="395" y="138"/>
                  </a:lnTo>
                  <a:lnTo>
                    <a:pt x="394" y="139"/>
                  </a:lnTo>
                  <a:lnTo>
                    <a:pt x="394" y="141"/>
                  </a:lnTo>
                  <a:lnTo>
                    <a:pt x="393" y="143"/>
                  </a:lnTo>
                  <a:lnTo>
                    <a:pt x="394" y="148"/>
                  </a:lnTo>
                  <a:lnTo>
                    <a:pt x="394" y="151"/>
                  </a:lnTo>
                  <a:lnTo>
                    <a:pt x="393" y="153"/>
                  </a:lnTo>
                  <a:lnTo>
                    <a:pt x="391" y="151"/>
                  </a:lnTo>
                  <a:lnTo>
                    <a:pt x="390" y="148"/>
                  </a:lnTo>
                  <a:lnTo>
                    <a:pt x="389" y="147"/>
                  </a:lnTo>
                  <a:lnTo>
                    <a:pt x="387" y="147"/>
                  </a:lnTo>
                  <a:lnTo>
                    <a:pt x="381" y="148"/>
                  </a:lnTo>
                  <a:lnTo>
                    <a:pt x="378" y="145"/>
                  </a:lnTo>
                  <a:lnTo>
                    <a:pt x="376" y="144"/>
                  </a:lnTo>
                  <a:lnTo>
                    <a:pt x="369" y="147"/>
                  </a:lnTo>
                  <a:lnTo>
                    <a:pt x="371" y="155"/>
                  </a:lnTo>
                  <a:lnTo>
                    <a:pt x="372" y="156"/>
                  </a:lnTo>
                  <a:lnTo>
                    <a:pt x="373" y="156"/>
                  </a:lnTo>
                  <a:lnTo>
                    <a:pt x="375" y="154"/>
                  </a:lnTo>
                  <a:lnTo>
                    <a:pt x="376" y="153"/>
                  </a:lnTo>
                  <a:lnTo>
                    <a:pt x="379" y="151"/>
                  </a:lnTo>
                  <a:lnTo>
                    <a:pt x="383" y="154"/>
                  </a:lnTo>
                  <a:lnTo>
                    <a:pt x="383" y="156"/>
                  </a:lnTo>
                  <a:lnTo>
                    <a:pt x="385" y="155"/>
                  </a:lnTo>
                  <a:lnTo>
                    <a:pt x="389" y="154"/>
                  </a:lnTo>
                  <a:lnTo>
                    <a:pt x="390" y="156"/>
                  </a:lnTo>
                  <a:lnTo>
                    <a:pt x="393" y="157"/>
                  </a:lnTo>
                  <a:lnTo>
                    <a:pt x="396" y="157"/>
                  </a:lnTo>
                  <a:lnTo>
                    <a:pt x="399" y="160"/>
                  </a:lnTo>
                  <a:lnTo>
                    <a:pt x="397" y="162"/>
                  </a:lnTo>
                  <a:lnTo>
                    <a:pt x="400" y="162"/>
                  </a:lnTo>
                  <a:lnTo>
                    <a:pt x="403" y="160"/>
                  </a:lnTo>
                  <a:lnTo>
                    <a:pt x="405" y="157"/>
                  </a:lnTo>
                  <a:lnTo>
                    <a:pt x="406" y="160"/>
                  </a:lnTo>
                  <a:lnTo>
                    <a:pt x="407" y="159"/>
                  </a:lnTo>
                  <a:lnTo>
                    <a:pt x="408" y="160"/>
                  </a:lnTo>
                  <a:lnTo>
                    <a:pt x="410" y="161"/>
                  </a:lnTo>
                  <a:lnTo>
                    <a:pt x="413" y="161"/>
                  </a:lnTo>
                  <a:lnTo>
                    <a:pt x="413" y="160"/>
                  </a:lnTo>
                  <a:lnTo>
                    <a:pt x="414" y="160"/>
                  </a:lnTo>
                  <a:lnTo>
                    <a:pt x="414" y="159"/>
                  </a:lnTo>
                  <a:lnTo>
                    <a:pt x="414" y="156"/>
                  </a:lnTo>
                  <a:lnTo>
                    <a:pt x="416" y="155"/>
                  </a:lnTo>
                  <a:lnTo>
                    <a:pt x="420" y="151"/>
                  </a:lnTo>
                  <a:lnTo>
                    <a:pt x="422" y="150"/>
                  </a:lnTo>
                  <a:lnTo>
                    <a:pt x="423" y="148"/>
                  </a:lnTo>
                  <a:lnTo>
                    <a:pt x="425" y="145"/>
                  </a:lnTo>
                  <a:lnTo>
                    <a:pt x="428" y="143"/>
                  </a:lnTo>
                  <a:lnTo>
                    <a:pt x="424" y="139"/>
                  </a:lnTo>
                  <a:lnTo>
                    <a:pt x="420" y="130"/>
                  </a:lnTo>
                  <a:lnTo>
                    <a:pt x="422" y="131"/>
                  </a:lnTo>
                  <a:lnTo>
                    <a:pt x="423" y="135"/>
                  </a:lnTo>
                  <a:lnTo>
                    <a:pt x="424" y="132"/>
                  </a:lnTo>
                  <a:lnTo>
                    <a:pt x="426" y="131"/>
                  </a:lnTo>
                  <a:lnTo>
                    <a:pt x="428" y="130"/>
                  </a:lnTo>
                  <a:lnTo>
                    <a:pt x="429" y="130"/>
                  </a:lnTo>
                  <a:lnTo>
                    <a:pt x="429" y="132"/>
                  </a:lnTo>
                  <a:lnTo>
                    <a:pt x="428" y="133"/>
                  </a:lnTo>
                  <a:lnTo>
                    <a:pt x="424" y="137"/>
                  </a:lnTo>
                  <a:lnTo>
                    <a:pt x="425" y="139"/>
                  </a:lnTo>
                  <a:lnTo>
                    <a:pt x="426" y="137"/>
                  </a:lnTo>
                  <a:lnTo>
                    <a:pt x="429" y="136"/>
                  </a:lnTo>
                  <a:lnTo>
                    <a:pt x="431" y="136"/>
                  </a:lnTo>
                  <a:lnTo>
                    <a:pt x="431" y="139"/>
                  </a:lnTo>
                  <a:lnTo>
                    <a:pt x="428" y="141"/>
                  </a:lnTo>
                  <a:lnTo>
                    <a:pt x="430" y="144"/>
                  </a:lnTo>
                  <a:lnTo>
                    <a:pt x="434" y="145"/>
                  </a:lnTo>
                  <a:lnTo>
                    <a:pt x="438" y="145"/>
                  </a:lnTo>
                  <a:lnTo>
                    <a:pt x="435" y="142"/>
                  </a:lnTo>
                  <a:lnTo>
                    <a:pt x="436" y="141"/>
                  </a:lnTo>
                  <a:lnTo>
                    <a:pt x="440" y="141"/>
                  </a:lnTo>
                  <a:lnTo>
                    <a:pt x="440" y="144"/>
                  </a:lnTo>
                  <a:lnTo>
                    <a:pt x="442" y="147"/>
                  </a:lnTo>
                  <a:lnTo>
                    <a:pt x="444" y="144"/>
                  </a:lnTo>
                  <a:lnTo>
                    <a:pt x="444" y="141"/>
                  </a:lnTo>
                  <a:lnTo>
                    <a:pt x="442" y="139"/>
                  </a:lnTo>
                  <a:lnTo>
                    <a:pt x="441" y="136"/>
                  </a:lnTo>
                  <a:lnTo>
                    <a:pt x="443" y="138"/>
                  </a:lnTo>
                  <a:lnTo>
                    <a:pt x="442" y="136"/>
                  </a:lnTo>
                  <a:lnTo>
                    <a:pt x="441" y="135"/>
                  </a:lnTo>
                  <a:lnTo>
                    <a:pt x="442" y="135"/>
                  </a:lnTo>
                  <a:lnTo>
                    <a:pt x="444" y="132"/>
                  </a:lnTo>
                  <a:lnTo>
                    <a:pt x="446" y="130"/>
                  </a:lnTo>
                  <a:lnTo>
                    <a:pt x="447" y="129"/>
                  </a:lnTo>
                  <a:lnTo>
                    <a:pt x="447" y="126"/>
                  </a:lnTo>
                  <a:lnTo>
                    <a:pt x="449" y="126"/>
                  </a:lnTo>
                  <a:lnTo>
                    <a:pt x="452" y="125"/>
                  </a:lnTo>
                  <a:lnTo>
                    <a:pt x="452" y="130"/>
                  </a:lnTo>
                  <a:lnTo>
                    <a:pt x="452" y="131"/>
                  </a:lnTo>
                  <a:lnTo>
                    <a:pt x="454" y="131"/>
                  </a:lnTo>
                  <a:lnTo>
                    <a:pt x="456" y="130"/>
                  </a:lnTo>
                  <a:lnTo>
                    <a:pt x="454" y="126"/>
                  </a:lnTo>
                  <a:lnTo>
                    <a:pt x="456" y="125"/>
                  </a:lnTo>
                  <a:lnTo>
                    <a:pt x="456" y="124"/>
                  </a:lnTo>
                  <a:lnTo>
                    <a:pt x="456" y="123"/>
                  </a:lnTo>
                  <a:lnTo>
                    <a:pt x="456" y="124"/>
                  </a:lnTo>
                  <a:lnTo>
                    <a:pt x="458" y="133"/>
                  </a:lnTo>
                  <a:lnTo>
                    <a:pt x="460" y="132"/>
                  </a:lnTo>
                  <a:lnTo>
                    <a:pt x="462" y="136"/>
                  </a:lnTo>
                  <a:lnTo>
                    <a:pt x="465" y="133"/>
                  </a:lnTo>
                  <a:lnTo>
                    <a:pt x="462" y="131"/>
                  </a:lnTo>
                  <a:lnTo>
                    <a:pt x="461" y="130"/>
                  </a:lnTo>
                  <a:lnTo>
                    <a:pt x="461" y="129"/>
                  </a:lnTo>
                  <a:lnTo>
                    <a:pt x="462" y="126"/>
                  </a:lnTo>
                  <a:lnTo>
                    <a:pt x="462" y="124"/>
                  </a:lnTo>
                  <a:lnTo>
                    <a:pt x="464" y="121"/>
                  </a:lnTo>
                  <a:lnTo>
                    <a:pt x="462" y="119"/>
                  </a:lnTo>
                  <a:lnTo>
                    <a:pt x="465" y="118"/>
                  </a:lnTo>
                  <a:lnTo>
                    <a:pt x="465" y="117"/>
                  </a:lnTo>
                  <a:lnTo>
                    <a:pt x="466" y="115"/>
                  </a:lnTo>
                  <a:lnTo>
                    <a:pt x="470" y="113"/>
                  </a:lnTo>
                  <a:lnTo>
                    <a:pt x="471" y="117"/>
                  </a:lnTo>
                  <a:lnTo>
                    <a:pt x="472" y="120"/>
                  </a:lnTo>
                  <a:lnTo>
                    <a:pt x="473" y="121"/>
                  </a:lnTo>
                  <a:lnTo>
                    <a:pt x="473" y="124"/>
                  </a:lnTo>
                  <a:lnTo>
                    <a:pt x="472" y="124"/>
                  </a:lnTo>
                  <a:lnTo>
                    <a:pt x="472" y="126"/>
                  </a:lnTo>
                  <a:lnTo>
                    <a:pt x="473" y="132"/>
                  </a:lnTo>
                  <a:lnTo>
                    <a:pt x="475" y="133"/>
                  </a:lnTo>
                  <a:lnTo>
                    <a:pt x="472" y="135"/>
                  </a:lnTo>
                  <a:lnTo>
                    <a:pt x="469" y="133"/>
                  </a:lnTo>
                  <a:lnTo>
                    <a:pt x="469" y="136"/>
                  </a:lnTo>
                  <a:lnTo>
                    <a:pt x="472" y="137"/>
                  </a:lnTo>
                  <a:lnTo>
                    <a:pt x="473" y="138"/>
                  </a:lnTo>
                  <a:lnTo>
                    <a:pt x="475" y="139"/>
                  </a:lnTo>
                  <a:lnTo>
                    <a:pt x="476" y="142"/>
                  </a:lnTo>
                  <a:lnTo>
                    <a:pt x="476" y="143"/>
                  </a:lnTo>
                  <a:lnTo>
                    <a:pt x="477" y="143"/>
                  </a:lnTo>
                  <a:lnTo>
                    <a:pt x="481" y="142"/>
                  </a:lnTo>
                  <a:lnTo>
                    <a:pt x="482" y="142"/>
                  </a:lnTo>
                  <a:lnTo>
                    <a:pt x="483" y="143"/>
                  </a:lnTo>
                  <a:lnTo>
                    <a:pt x="483" y="147"/>
                  </a:lnTo>
                  <a:lnTo>
                    <a:pt x="485" y="147"/>
                  </a:lnTo>
                  <a:lnTo>
                    <a:pt x="488" y="149"/>
                  </a:lnTo>
                  <a:lnTo>
                    <a:pt x="490" y="150"/>
                  </a:lnTo>
                  <a:lnTo>
                    <a:pt x="489" y="154"/>
                  </a:lnTo>
                  <a:lnTo>
                    <a:pt x="491" y="156"/>
                  </a:lnTo>
                  <a:lnTo>
                    <a:pt x="494" y="156"/>
                  </a:lnTo>
                  <a:lnTo>
                    <a:pt x="496" y="157"/>
                  </a:lnTo>
                  <a:lnTo>
                    <a:pt x="497" y="154"/>
                  </a:lnTo>
                  <a:lnTo>
                    <a:pt x="499" y="150"/>
                  </a:lnTo>
                  <a:lnTo>
                    <a:pt x="499" y="145"/>
                  </a:lnTo>
                  <a:lnTo>
                    <a:pt x="499" y="142"/>
                  </a:lnTo>
                  <a:lnTo>
                    <a:pt x="499" y="141"/>
                  </a:lnTo>
                  <a:lnTo>
                    <a:pt x="500" y="141"/>
                  </a:lnTo>
                  <a:lnTo>
                    <a:pt x="500" y="139"/>
                  </a:lnTo>
                  <a:lnTo>
                    <a:pt x="499" y="139"/>
                  </a:lnTo>
                  <a:lnTo>
                    <a:pt x="497" y="133"/>
                  </a:lnTo>
                  <a:lnTo>
                    <a:pt x="500" y="131"/>
                  </a:lnTo>
                  <a:lnTo>
                    <a:pt x="501" y="132"/>
                  </a:lnTo>
                  <a:lnTo>
                    <a:pt x="502" y="133"/>
                  </a:lnTo>
                  <a:lnTo>
                    <a:pt x="503" y="135"/>
                  </a:lnTo>
                  <a:lnTo>
                    <a:pt x="501" y="139"/>
                  </a:lnTo>
                  <a:lnTo>
                    <a:pt x="501" y="141"/>
                  </a:lnTo>
                  <a:lnTo>
                    <a:pt x="503" y="139"/>
                  </a:lnTo>
                  <a:lnTo>
                    <a:pt x="502" y="143"/>
                  </a:lnTo>
                  <a:lnTo>
                    <a:pt x="500" y="148"/>
                  </a:lnTo>
                  <a:lnTo>
                    <a:pt x="499" y="156"/>
                  </a:lnTo>
                  <a:lnTo>
                    <a:pt x="499" y="159"/>
                  </a:lnTo>
                  <a:lnTo>
                    <a:pt x="501" y="156"/>
                  </a:lnTo>
                  <a:lnTo>
                    <a:pt x="505" y="154"/>
                  </a:lnTo>
                  <a:lnTo>
                    <a:pt x="506" y="156"/>
                  </a:lnTo>
                  <a:lnTo>
                    <a:pt x="506" y="159"/>
                  </a:lnTo>
                  <a:lnTo>
                    <a:pt x="508" y="156"/>
                  </a:lnTo>
                  <a:lnTo>
                    <a:pt x="511" y="155"/>
                  </a:lnTo>
                  <a:lnTo>
                    <a:pt x="512" y="153"/>
                  </a:lnTo>
                  <a:lnTo>
                    <a:pt x="514" y="151"/>
                  </a:lnTo>
                  <a:lnTo>
                    <a:pt x="515" y="153"/>
                  </a:lnTo>
                  <a:lnTo>
                    <a:pt x="517" y="154"/>
                  </a:lnTo>
                  <a:lnTo>
                    <a:pt x="520" y="153"/>
                  </a:lnTo>
                  <a:lnTo>
                    <a:pt x="523" y="154"/>
                  </a:lnTo>
                  <a:lnTo>
                    <a:pt x="526" y="154"/>
                  </a:lnTo>
                  <a:lnTo>
                    <a:pt x="519" y="156"/>
                  </a:lnTo>
                  <a:lnTo>
                    <a:pt x="513" y="156"/>
                  </a:lnTo>
                  <a:lnTo>
                    <a:pt x="508" y="161"/>
                  </a:lnTo>
                  <a:lnTo>
                    <a:pt x="503" y="165"/>
                  </a:lnTo>
                  <a:lnTo>
                    <a:pt x="499" y="167"/>
                  </a:lnTo>
                  <a:lnTo>
                    <a:pt x="495" y="172"/>
                  </a:lnTo>
                  <a:lnTo>
                    <a:pt x="495" y="174"/>
                  </a:lnTo>
                  <a:lnTo>
                    <a:pt x="497" y="172"/>
                  </a:lnTo>
                  <a:lnTo>
                    <a:pt x="499" y="169"/>
                  </a:lnTo>
                  <a:lnTo>
                    <a:pt x="501" y="168"/>
                  </a:lnTo>
                  <a:lnTo>
                    <a:pt x="507" y="166"/>
                  </a:lnTo>
                  <a:lnTo>
                    <a:pt x="502" y="173"/>
                  </a:lnTo>
                  <a:lnTo>
                    <a:pt x="500" y="175"/>
                  </a:lnTo>
                  <a:lnTo>
                    <a:pt x="505" y="178"/>
                  </a:lnTo>
                  <a:lnTo>
                    <a:pt x="508" y="180"/>
                  </a:lnTo>
                  <a:lnTo>
                    <a:pt x="511" y="179"/>
                  </a:lnTo>
                  <a:lnTo>
                    <a:pt x="514" y="178"/>
                  </a:lnTo>
                  <a:lnTo>
                    <a:pt x="517" y="178"/>
                  </a:lnTo>
                  <a:lnTo>
                    <a:pt x="519" y="179"/>
                  </a:lnTo>
                  <a:lnTo>
                    <a:pt x="519" y="180"/>
                  </a:lnTo>
                  <a:lnTo>
                    <a:pt x="520" y="183"/>
                  </a:lnTo>
                  <a:lnTo>
                    <a:pt x="521" y="184"/>
                  </a:lnTo>
                  <a:lnTo>
                    <a:pt x="521" y="187"/>
                  </a:lnTo>
                  <a:lnTo>
                    <a:pt x="523" y="190"/>
                  </a:lnTo>
                  <a:lnTo>
                    <a:pt x="521" y="192"/>
                  </a:lnTo>
                  <a:lnTo>
                    <a:pt x="521" y="195"/>
                  </a:lnTo>
                  <a:lnTo>
                    <a:pt x="524" y="197"/>
                  </a:lnTo>
                  <a:lnTo>
                    <a:pt x="525" y="193"/>
                  </a:lnTo>
                  <a:lnTo>
                    <a:pt x="526" y="191"/>
                  </a:lnTo>
                  <a:lnTo>
                    <a:pt x="530" y="187"/>
                  </a:lnTo>
                  <a:lnTo>
                    <a:pt x="530" y="186"/>
                  </a:lnTo>
                  <a:lnTo>
                    <a:pt x="531" y="192"/>
                  </a:lnTo>
                  <a:lnTo>
                    <a:pt x="531" y="196"/>
                  </a:lnTo>
                  <a:lnTo>
                    <a:pt x="534" y="192"/>
                  </a:lnTo>
                  <a:lnTo>
                    <a:pt x="535" y="197"/>
                  </a:lnTo>
                  <a:lnTo>
                    <a:pt x="535" y="199"/>
                  </a:lnTo>
                  <a:lnTo>
                    <a:pt x="537" y="198"/>
                  </a:lnTo>
                  <a:lnTo>
                    <a:pt x="540" y="197"/>
                  </a:lnTo>
                  <a:lnTo>
                    <a:pt x="540" y="201"/>
                  </a:lnTo>
                  <a:lnTo>
                    <a:pt x="542" y="198"/>
                  </a:lnTo>
                  <a:lnTo>
                    <a:pt x="543" y="199"/>
                  </a:lnTo>
                  <a:lnTo>
                    <a:pt x="544" y="198"/>
                  </a:lnTo>
                  <a:lnTo>
                    <a:pt x="548" y="202"/>
                  </a:lnTo>
                  <a:lnTo>
                    <a:pt x="542" y="202"/>
                  </a:lnTo>
                  <a:lnTo>
                    <a:pt x="536" y="202"/>
                  </a:lnTo>
                  <a:lnTo>
                    <a:pt x="534" y="202"/>
                  </a:lnTo>
                  <a:lnTo>
                    <a:pt x="535" y="205"/>
                  </a:lnTo>
                  <a:lnTo>
                    <a:pt x="536" y="205"/>
                  </a:lnTo>
                  <a:lnTo>
                    <a:pt x="538" y="205"/>
                  </a:lnTo>
                  <a:lnTo>
                    <a:pt x="540" y="207"/>
                  </a:lnTo>
                  <a:lnTo>
                    <a:pt x="542" y="205"/>
                  </a:lnTo>
                  <a:lnTo>
                    <a:pt x="544" y="205"/>
                  </a:lnTo>
                  <a:lnTo>
                    <a:pt x="548" y="207"/>
                  </a:lnTo>
                  <a:lnTo>
                    <a:pt x="552" y="208"/>
                  </a:lnTo>
                  <a:lnTo>
                    <a:pt x="554" y="208"/>
                  </a:lnTo>
                  <a:lnTo>
                    <a:pt x="556" y="210"/>
                  </a:lnTo>
                  <a:lnTo>
                    <a:pt x="558" y="205"/>
                  </a:lnTo>
                  <a:lnTo>
                    <a:pt x="559" y="204"/>
                  </a:lnTo>
                  <a:lnTo>
                    <a:pt x="560" y="202"/>
                  </a:lnTo>
                  <a:lnTo>
                    <a:pt x="562" y="198"/>
                  </a:lnTo>
                  <a:lnTo>
                    <a:pt x="564" y="198"/>
                  </a:lnTo>
                  <a:lnTo>
                    <a:pt x="561" y="202"/>
                  </a:lnTo>
                  <a:lnTo>
                    <a:pt x="562" y="203"/>
                  </a:lnTo>
                  <a:lnTo>
                    <a:pt x="564" y="202"/>
                  </a:lnTo>
                  <a:lnTo>
                    <a:pt x="567" y="202"/>
                  </a:lnTo>
                  <a:lnTo>
                    <a:pt x="566" y="201"/>
                  </a:lnTo>
                  <a:lnTo>
                    <a:pt x="565" y="198"/>
                  </a:lnTo>
                  <a:lnTo>
                    <a:pt x="565" y="196"/>
                  </a:lnTo>
                  <a:lnTo>
                    <a:pt x="565" y="195"/>
                  </a:lnTo>
                  <a:lnTo>
                    <a:pt x="564" y="193"/>
                  </a:lnTo>
                  <a:lnTo>
                    <a:pt x="559" y="195"/>
                  </a:lnTo>
                  <a:lnTo>
                    <a:pt x="554" y="196"/>
                  </a:lnTo>
                  <a:lnTo>
                    <a:pt x="555" y="192"/>
                  </a:lnTo>
                  <a:lnTo>
                    <a:pt x="556" y="190"/>
                  </a:lnTo>
                  <a:lnTo>
                    <a:pt x="559" y="189"/>
                  </a:lnTo>
                  <a:lnTo>
                    <a:pt x="562" y="189"/>
                  </a:lnTo>
                  <a:lnTo>
                    <a:pt x="565" y="190"/>
                  </a:lnTo>
                  <a:lnTo>
                    <a:pt x="566" y="192"/>
                  </a:lnTo>
                  <a:lnTo>
                    <a:pt x="567" y="192"/>
                  </a:lnTo>
                  <a:lnTo>
                    <a:pt x="568" y="191"/>
                  </a:lnTo>
                  <a:lnTo>
                    <a:pt x="572" y="190"/>
                  </a:lnTo>
                  <a:lnTo>
                    <a:pt x="574" y="190"/>
                  </a:lnTo>
                  <a:lnTo>
                    <a:pt x="576" y="187"/>
                  </a:lnTo>
                  <a:lnTo>
                    <a:pt x="577" y="185"/>
                  </a:lnTo>
                  <a:lnTo>
                    <a:pt x="579" y="184"/>
                  </a:lnTo>
                  <a:lnTo>
                    <a:pt x="580" y="183"/>
                  </a:lnTo>
                  <a:lnTo>
                    <a:pt x="583" y="184"/>
                  </a:lnTo>
                  <a:lnTo>
                    <a:pt x="583" y="181"/>
                  </a:lnTo>
                  <a:lnTo>
                    <a:pt x="580" y="181"/>
                  </a:lnTo>
                  <a:lnTo>
                    <a:pt x="577" y="184"/>
                  </a:lnTo>
                  <a:lnTo>
                    <a:pt x="577" y="180"/>
                  </a:lnTo>
                  <a:lnTo>
                    <a:pt x="578" y="178"/>
                  </a:lnTo>
                  <a:lnTo>
                    <a:pt x="576" y="181"/>
                  </a:lnTo>
                  <a:lnTo>
                    <a:pt x="573" y="185"/>
                  </a:lnTo>
                  <a:lnTo>
                    <a:pt x="571" y="187"/>
                  </a:lnTo>
                  <a:lnTo>
                    <a:pt x="570" y="186"/>
                  </a:lnTo>
                  <a:lnTo>
                    <a:pt x="568" y="183"/>
                  </a:lnTo>
                  <a:lnTo>
                    <a:pt x="570" y="179"/>
                  </a:lnTo>
                  <a:lnTo>
                    <a:pt x="574" y="177"/>
                  </a:lnTo>
                  <a:lnTo>
                    <a:pt x="574" y="174"/>
                  </a:lnTo>
                  <a:lnTo>
                    <a:pt x="576" y="173"/>
                  </a:lnTo>
                  <a:lnTo>
                    <a:pt x="578" y="169"/>
                  </a:lnTo>
                  <a:lnTo>
                    <a:pt x="576" y="167"/>
                  </a:lnTo>
                  <a:lnTo>
                    <a:pt x="568" y="161"/>
                  </a:lnTo>
                  <a:lnTo>
                    <a:pt x="561" y="153"/>
                  </a:lnTo>
                  <a:lnTo>
                    <a:pt x="552" y="130"/>
                  </a:lnTo>
                  <a:lnTo>
                    <a:pt x="550" y="132"/>
                  </a:lnTo>
                  <a:lnTo>
                    <a:pt x="552" y="138"/>
                  </a:lnTo>
                  <a:lnTo>
                    <a:pt x="553" y="145"/>
                  </a:lnTo>
                  <a:lnTo>
                    <a:pt x="552" y="143"/>
                  </a:lnTo>
                  <a:lnTo>
                    <a:pt x="550" y="139"/>
                  </a:lnTo>
                  <a:lnTo>
                    <a:pt x="549" y="144"/>
                  </a:lnTo>
                  <a:lnTo>
                    <a:pt x="550" y="143"/>
                  </a:lnTo>
                  <a:lnTo>
                    <a:pt x="552" y="145"/>
                  </a:lnTo>
                  <a:lnTo>
                    <a:pt x="550" y="149"/>
                  </a:lnTo>
                  <a:lnTo>
                    <a:pt x="549" y="154"/>
                  </a:lnTo>
                  <a:lnTo>
                    <a:pt x="549" y="156"/>
                  </a:lnTo>
                  <a:lnTo>
                    <a:pt x="548" y="151"/>
                  </a:lnTo>
                  <a:lnTo>
                    <a:pt x="546" y="148"/>
                  </a:lnTo>
                  <a:lnTo>
                    <a:pt x="543" y="147"/>
                  </a:lnTo>
                  <a:lnTo>
                    <a:pt x="543" y="149"/>
                  </a:lnTo>
                  <a:lnTo>
                    <a:pt x="542" y="147"/>
                  </a:lnTo>
                  <a:lnTo>
                    <a:pt x="542" y="144"/>
                  </a:lnTo>
                  <a:lnTo>
                    <a:pt x="541" y="141"/>
                  </a:lnTo>
                  <a:lnTo>
                    <a:pt x="540" y="141"/>
                  </a:lnTo>
                  <a:lnTo>
                    <a:pt x="537" y="143"/>
                  </a:lnTo>
                  <a:lnTo>
                    <a:pt x="534" y="144"/>
                  </a:lnTo>
                  <a:lnTo>
                    <a:pt x="531" y="147"/>
                  </a:lnTo>
                  <a:lnTo>
                    <a:pt x="530" y="148"/>
                  </a:lnTo>
                  <a:lnTo>
                    <a:pt x="531" y="143"/>
                  </a:lnTo>
                  <a:lnTo>
                    <a:pt x="532" y="138"/>
                  </a:lnTo>
                  <a:lnTo>
                    <a:pt x="531" y="137"/>
                  </a:lnTo>
                  <a:lnTo>
                    <a:pt x="529" y="139"/>
                  </a:lnTo>
                  <a:lnTo>
                    <a:pt x="526" y="142"/>
                  </a:lnTo>
                  <a:lnTo>
                    <a:pt x="525" y="144"/>
                  </a:lnTo>
                  <a:lnTo>
                    <a:pt x="525" y="138"/>
                  </a:lnTo>
                  <a:lnTo>
                    <a:pt x="524" y="137"/>
                  </a:lnTo>
                  <a:lnTo>
                    <a:pt x="525" y="136"/>
                  </a:lnTo>
                  <a:lnTo>
                    <a:pt x="526" y="132"/>
                  </a:lnTo>
                  <a:lnTo>
                    <a:pt x="525" y="131"/>
                  </a:lnTo>
                  <a:lnTo>
                    <a:pt x="526" y="131"/>
                  </a:lnTo>
                  <a:lnTo>
                    <a:pt x="526" y="130"/>
                  </a:lnTo>
                  <a:lnTo>
                    <a:pt x="528" y="127"/>
                  </a:lnTo>
                  <a:lnTo>
                    <a:pt x="532" y="127"/>
                  </a:lnTo>
                  <a:lnTo>
                    <a:pt x="534" y="125"/>
                  </a:lnTo>
                  <a:lnTo>
                    <a:pt x="532" y="126"/>
                  </a:lnTo>
                  <a:lnTo>
                    <a:pt x="534" y="125"/>
                  </a:lnTo>
                  <a:lnTo>
                    <a:pt x="536" y="120"/>
                  </a:lnTo>
                  <a:lnTo>
                    <a:pt x="537" y="119"/>
                  </a:lnTo>
                  <a:lnTo>
                    <a:pt x="535" y="120"/>
                  </a:lnTo>
                  <a:lnTo>
                    <a:pt x="531" y="123"/>
                  </a:lnTo>
                  <a:lnTo>
                    <a:pt x="532" y="119"/>
                  </a:lnTo>
                  <a:lnTo>
                    <a:pt x="530" y="119"/>
                  </a:lnTo>
                  <a:lnTo>
                    <a:pt x="528" y="118"/>
                  </a:lnTo>
                  <a:lnTo>
                    <a:pt x="525" y="119"/>
                  </a:lnTo>
                  <a:lnTo>
                    <a:pt x="524" y="119"/>
                  </a:lnTo>
                  <a:lnTo>
                    <a:pt x="520" y="118"/>
                  </a:lnTo>
                  <a:lnTo>
                    <a:pt x="521" y="117"/>
                  </a:lnTo>
                  <a:lnTo>
                    <a:pt x="520" y="115"/>
                  </a:lnTo>
                  <a:lnTo>
                    <a:pt x="515" y="114"/>
                  </a:lnTo>
                  <a:lnTo>
                    <a:pt x="515" y="111"/>
                  </a:lnTo>
                  <a:lnTo>
                    <a:pt x="518" y="112"/>
                  </a:lnTo>
                  <a:lnTo>
                    <a:pt x="520" y="109"/>
                  </a:lnTo>
                  <a:lnTo>
                    <a:pt x="519" y="107"/>
                  </a:lnTo>
                  <a:lnTo>
                    <a:pt x="523" y="105"/>
                  </a:lnTo>
                  <a:lnTo>
                    <a:pt x="525" y="106"/>
                  </a:lnTo>
                  <a:lnTo>
                    <a:pt x="528" y="106"/>
                  </a:lnTo>
                  <a:lnTo>
                    <a:pt x="526" y="103"/>
                  </a:lnTo>
                  <a:lnTo>
                    <a:pt x="525" y="101"/>
                  </a:lnTo>
                  <a:lnTo>
                    <a:pt x="524" y="100"/>
                  </a:lnTo>
                  <a:lnTo>
                    <a:pt x="524" y="103"/>
                  </a:lnTo>
                  <a:lnTo>
                    <a:pt x="521" y="100"/>
                  </a:lnTo>
                  <a:lnTo>
                    <a:pt x="520" y="96"/>
                  </a:lnTo>
                  <a:lnTo>
                    <a:pt x="519" y="94"/>
                  </a:lnTo>
                  <a:lnTo>
                    <a:pt x="517" y="95"/>
                  </a:lnTo>
                  <a:lnTo>
                    <a:pt x="515" y="95"/>
                  </a:lnTo>
                  <a:lnTo>
                    <a:pt x="515" y="89"/>
                  </a:lnTo>
                  <a:lnTo>
                    <a:pt x="517" y="85"/>
                  </a:lnTo>
                  <a:lnTo>
                    <a:pt x="517" y="83"/>
                  </a:lnTo>
                  <a:lnTo>
                    <a:pt x="517" y="80"/>
                  </a:lnTo>
                  <a:lnTo>
                    <a:pt x="517" y="78"/>
                  </a:lnTo>
                  <a:lnTo>
                    <a:pt x="514" y="83"/>
                  </a:lnTo>
                  <a:lnTo>
                    <a:pt x="514" y="85"/>
                  </a:lnTo>
                  <a:lnTo>
                    <a:pt x="512" y="90"/>
                  </a:lnTo>
                  <a:lnTo>
                    <a:pt x="511" y="88"/>
                  </a:lnTo>
                  <a:lnTo>
                    <a:pt x="509" y="84"/>
                  </a:lnTo>
                  <a:lnTo>
                    <a:pt x="509" y="80"/>
                  </a:lnTo>
                  <a:lnTo>
                    <a:pt x="508" y="79"/>
                  </a:lnTo>
                  <a:lnTo>
                    <a:pt x="507" y="79"/>
                  </a:lnTo>
                  <a:lnTo>
                    <a:pt x="507" y="84"/>
                  </a:lnTo>
                  <a:lnTo>
                    <a:pt x="506" y="88"/>
                  </a:lnTo>
                  <a:lnTo>
                    <a:pt x="503" y="89"/>
                  </a:lnTo>
                  <a:lnTo>
                    <a:pt x="503" y="91"/>
                  </a:lnTo>
                  <a:lnTo>
                    <a:pt x="502" y="92"/>
                  </a:lnTo>
                  <a:lnTo>
                    <a:pt x="501" y="95"/>
                  </a:lnTo>
                  <a:lnTo>
                    <a:pt x="500" y="94"/>
                  </a:lnTo>
                  <a:lnTo>
                    <a:pt x="500" y="96"/>
                  </a:lnTo>
                  <a:lnTo>
                    <a:pt x="499" y="97"/>
                  </a:lnTo>
                  <a:lnTo>
                    <a:pt x="497" y="95"/>
                  </a:lnTo>
                  <a:lnTo>
                    <a:pt x="497" y="90"/>
                  </a:lnTo>
                  <a:lnTo>
                    <a:pt x="496" y="89"/>
                  </a:lnTo>
                  <a:lnTo>
                    <a:pt x="496" y="88"/>
                  </a:lnTo>
                  <a:lnTo>
                    <a:pt x="496" y="89"/>
                  </a:lnTo>
                  <a:lnTo>
                    <a:pt x="494" y="90"/>
                  </a:lnTo>
                  <a:lnTo>
                    <a:pt x="493" y="90"/>
                  </a:lnTo>
                  <a:lnTo>
                    <a:pt x="489" y="92"/>
                  </a:lnTo>
                  <a:lnTo>
                    <a:pt x="488" y="95"/>
                  </a:lnTo>
                  <a:lnTo>
                    <a:pt x="487" y="96"/>
                  </a:lnTo>
                  <a:lnTo>
                    <a:pt x="487" y="91"/>
                  </a:lnTo>
                  <a:lnTo>
                    <a:pt x="488" y="85"/>
                  </a:lnTo>
                  <a:lnTo>
                    <a:pt x="489" y="83"/>
                  </a:lnTo>
                  <a:lnTo>
                    <a:pt x="489" y="82"/>
                  </a:lnTo>
                  <a:lnTo>
                    <a:pt x="488" y="82"/>
                  </a:lnTo>
                  <a:lnTo>
                    <a:pt x="487" y="82"/>
                  </a:lnTo>
                  <a:lnTo>
                    <a:pt x="487" y="79"/>
                  </a:lnTo>
                  <a:lnTo>
                    <a:pt x="488" y="74"/>
                  </a:lnTo>
                  <a:lnTo>
                    <a:pt x="489" y="72"/>
                  </a:lnTo>
                  <a:lnTo>
                    <a:pt x="491" y="70"/>
                  </a:lnTo>
                  <a:lnTo>
                    <a:pt x="493" y="66"/>
                  </a:lnTo>
                  <a:lnTo>
                    <a:pt x="494" y="64"/>
                  </a:lnTo>
                  <a:lnTo>
                    <a:pt x="494" y="61"/>
                  </a:lnTo>
                  <a:lnTo>
                    <a:pt x="491" y="65"/>
                  </a:lnTo>
                  <a:lnTo>
                    <a:pt x="490" y="66"/>
                  </a:lnTo>
                  <a:lnTo>
                    <a:pt x="490" y="62"/>
                  </a:lnTo>
                  <a:lnTo>
                    <a:pt x="487" y="66"/>
                  </a:lnTo>
                  <a:lnTo>
                    <a:pt x="484" y="66"/>
                  </a:lnTo>
                  <a:lnTo>
                    <a:pt x="483" y="64"/>
                  </a:lnTo>
                  <a:lnTo>
                    <a:pt x="477" y="66"/>
                  </a:lnTo>
                  <a:lnTo>
                    <a:pt x="475" y="67"/>
                  </a:lnTo>
                  <a:lnTo>
                    <a:pt x="470" y="77"/>
                  </a:lnTo>
                  <a:lnTo>
                    <a:pt x="466" y="79"/>
                  </a:lnTo>
                  <a:lnTo>
                    <a:pt x="465" y="82"/>
                  </a:lnTo>
                  <a:lnTo>
                    <a:pt x="462" y="79"/>
                  </a:lnTo>
                  <a:lnTo>
                    <a:pt x="464" y="73"/>
                  </a:lnTo>
                  <a:lnTo>
                    <a:pt x="466" y="67"/>
                  </a:lnTo>
                  <a:lnTo>
                    <a:pt x="465" y="65"/>
                  </a:lnTo>
                  <a:lnTo>
                    <a:pt x="467" y="61"/>
                  </a:lnTo>
                  <a:lnTo>
                    <a:pt x="470" y="60"/>
                  </a:lnTo>
                  <a:lnTo>
                    <a:pt x="473" y="61"/>
                  </a:lnTo>
                  <a:lnTo>
                    <a:pt x="478" y="61"/>
                  </a:lnTo>
                  <a:lnTo>
                    <a:pt x="483" y="58"/>
                  </a:lnTo>
                  <a:lnTo>
                    <a:pt x="488" y="55"/>
                  </a:lnTo>
                  <a:lnTo>
                    <a:pt x="488" y="53"/>
                  </a:lnTo>
                  <a:lnTo>
                    <a:pt x="487" y="50"/>
                  </a:lnTo>
                  <a:lnTo>
                    <a:pt x="487" y="46"/>
                  </a:lnTo>
                  <a:lnTo>
                    <a:pt x="484" y="46"/>
                  </a:lnTo>
                  <a:lnTo>
                    <a:pt x="485" y="40"/>
                  </a:lnTo>
                  <a:lnTo>
                    <a:pt x="484" y="38"/>
                  </a:lnTo>
                  <a:lnTo>
                    <a:pt x="483" y="41"/>
                  </a:lnTo>
                  <a:lnTo>
                    <a:pt x="478" y="48"/>
                  </a:lnTo>
                  <a:lnTo>
                    <a:pt x="477" y="49"/>
                  </a:lnTo>
                  <a:lnTo>
                    <a:pt x="475" y="44"/>
                  </a:lnTo>
                  <a:lnTo>
                    <a:pt x="475" y="37"/>
                  </a:lnTo>
                  <a:lnTo>
                    <a:pt x="476" y="35"/>
                  </a:lnTo>
                  <a:lnTo>
                    <a:pt x="473" y="35"/>
                  </a:lnTo>
                  <a:lnTo>
                    <a:pt x="476" y="28"/>
                  </a:lnTo>
                  <a:lnTo>
                    <a:pt x="481" y="25"/>
                  </a:lnTo>
                  <a:lnTo>
                    <a:pt x="483" y="23"/>
                  </a:lnTo>
                  <a:lnTo>
                    <a:pt x="487" y="20"/>
                  </a:lnTo>
                  <a:lnTo>
                    <a:pt x="490" y="18"/>
                  </a:lnTo>
                  <a:lnTo>
                    <a:pt x="490" y="14"/>
                  </a:lnTo>
                  <a:lnTo>
                    <a:pt x="484" y="12"/>
                  </a:lnTo>
                  <a:lnTo>
                    <a:pt x="479" y="11"/>
                  </a:lnTo>
                  <a:lnTo>
                    <a:pt x="484" y="11"/>
                  </a:lnTo>
                  <a:lnTo>
                    <a:pt x="487" y="8"/>
                  </a:lnTo>
                  <a:lnTo>
                    <a:pt x="490" y="7"/>
                  </a:lnTo>
                  <a:lnTo>
                    <a:pt x="490" y="5"/>
                  </a:lnTo>
                  <a:lnTo>
                    <a:pt x="490" y="2"/>
                  </a:lnTo>
                  <a:lnTo>
                    <a:pt x="491" y="1"/>
                  </a:lnTo>
                  <a:lnTo>
                    <a:pt x="495" y="0"/>
                  </a:lnTo>
                  <a:lnTo>
                    <a:pt x="497" y="0"/>
                  </a:lnTo>
                  <a:lnTo>
                    <a:pt x="501" y="0"/>
                  </a:lnTo>
                  <a:lnTo>
                    <a:pt x="501" y="1"/>
                  </a:lnTo>
                  <a:lnTo>
                    <a:pt x="502" y="1"/>
                  </a:lnTo>
                  <a:lnTo>
                    <a:pt x="502" y="4"/>
                  </a:lnTo>
                  <a:lnTo>
                    <a:pt x="505" y="2"/>
                  </a:lnTo>
                  <a:lnTo>
                    <a:pt x="506" y="2"/>
                  </a:lnTo>
                  <a:lnTo>
                    <a:pt x="507" y="2"/>
                  </a:lnTo>
                  <a:lnTo>
                    <a:pt x="509" y="2"/>
                  </a:lnTo>
                  <a:lnTo>
                    <a:pt x="511" y="1"/>
                  </a:lnTo>
                  <a:lnTo>
                    <a:pt x="513" y="0"/>
                  </a:lnTo>
                  <a:lnTo>
                    <a:pt x="511" y="6"/>
                  </a:lnTo>
                  <a:lnTo>
                    <a:pt x="508" y="16"/>
                  </a:lnTo>
                  <a:lnTo>
                    <a:pt x="508" y="18"/>
                  </a:lnTo>
                  <a:lnTo>
                    <a:pt x="511" y="14"/>
                  </a:lnTo>
                  <a:lnTo>
                    <a:pt x="512" y="16"/>
                  </a:lnTo>
                  <a:lnTo>
                    <a:pt x="513" y="20"/>
                  </a:lnTo>
                  <a:lnTo>
                    <a:pt x="512" y="26"/>
                  </a:lnTo>
                  <a:lnTo>
                    <a:pt x="514" y="31"/>
                  </a:lnTo>
                  <a:lnTo>
                    <a:pt x="514" y="29"/>
                  </a:lnTo>
                  <a:lnTo>
                    <a:pt x="518" y="30"/>
                  </a:lnTo>
                  <a:lnTo>
                    <a:pt x="518" y="28"/>
                  </a:lnTo>
                  <a:lnTo>
                    <a:pt x="518" y="23"/>
                  </a:lnTo>
                  <a:lnTo>
                    <a:pt x="523" y="22"/>
                  </a:lnTo>
                  <a:lnTo>
                    <a:pt x="528" y="24"/>
                  </a:lnTo>
                  <a:lnTo>
                    <a:pt x="530" y="28"/>
                  </a:lnTo>
                  <a:lnTo>
                    <a:pt x="531" y="32"/>
                  </a:lnTo>
                  <a:lnTo>
                    <a:pt x="529" y="34"/>
                  </a:lnTo>
                  <a:lnTo>
                    <a:pt x="526" y="32"/>
                  </a:lnTo>
                  <a:lnTo>
                    <a:pt x="526" y="34"/>
                  </a:lnTo>
                  <a:lnTo>
                    <a:pt x="524" y="32"/>
                  </a:lnTo>
                  <a:lnTo>
                    <a:pt x="523" y="31"/>
                  </a:lnTo>
                  <a:lnTo>
                    <a:pt x="523" y="35"/>
                  </a:lnTo>
                  <a:lnTo>
                    <a:pt x="524" y="37"/>
                  </a:lnTo>
                  <a:lnTo>
                    <a:pt x="526" y="40"/>
                  </a:lnTo>
                  <a:lnTo>
                    <a:pt x="529" y="42"/>
                  </a:lnTo>
                  <a:lnTo>
                    <a:pt x="530" y="46"/>
                  </a:lnTo>
                  <a:lnTo>
                    <a:pt x="531" y="49"/>
                  </a:lnTo>
                  <a:lnTo>
                    <a:pt x="534" y="50"/>
                  </a:lnTo>
                  <a:lnTo>
                    <a:pt x="536" y="49"/>
                  </a:lnTo>
                  <a:lnTo>
                    <a:pt x="537" y="52"/>
                  </a:lnTo>
                  <a:lnTo>
                    <a:pt x="538" y="50"/>
                  </a:lnTo>
                  <a:lnTo>
                    <a:pt x="540" y="49"/>
                  </a:lnTo>
                  <a:lnTo>
                    <a:pt x="541" y="49"/>
                  </a:lnTo>
                  <a:lnTo>
                    <a:pt x="544" y="49"/>
                  </a:lnTo>
                  <a:lnTo>
                    <a:pt x="547" y="52"/>
                  </a:lnTo>
                  <a:lnTo>
                    <a:pt x="547" y="49"/>
                  </a:lnTo>
                  <a:lnTo>
                    <a:pt x="544" y="46"/>
                  </a:lnTo>
                  <a:lnTo>
                    <a:pt x="546" y="41"/>
                  </a:lnTo>
                  <a:lnTo>
                    <a:pt x="546" y="37"/>
                  </a:lnTo>
                  <a:lnTo>
                    <a:pt x="548" y="37"/>
                  </a:lnTo>
                  <a:lnTo>
                    <a:pt x="550" y="35"/>
                  </a:lnTo>
                  <a:lnTo>
                    <a:pt x="554" y="36"/>
                  </a:lnTo>
                  <a:lnTo>
                    <a:pt x="556" y="38"/>
                  </a:lnTo>
                  <a:lnTo>
                    <a:pt x="559" y="41"/>
                  </a:lnTo>
                  <a:lnTo>
                    <a:pt x="562" y="41"/>
                  </a:lnTo>
                  <a:lnTo>
                    <a:pt x="566" y="38"/>
                  </a:lnTo>
                  <a:lnTo>
                    <a:pt x="562" y="41"/>
                  </a:lnTo>
                  <a:lnTo>
                    <a:pt x="561" y="44"/>
                  </a:lnTo>
                  <a:lnTo>
                    <a:pt x="559" y="43"/>
                  </a:lnTo>
                  <a:lnTo>
                    <a:pt x="556" y="43"/>
                  </a:lnTo>
                  <a:lnTo>
                    <a:pt x="552" y="50"/>
                  </a:lnTo>
                  <a:lnTo>
                    <a:pt x="556" y="50"/>
                  </a:lnTo>
                  <a:lnTo>
                    <a:pt x="561" y="53"/>
                  </a:lnTo>
                  <a:lnTo>
                    <a:pt x="566" y="55"/>
                  </a:lnTo>
                  <a:lnTo>
                    <a:pt x="562" y="56"/>
                  </a:lnTo>
                  <a:lnTo>
                    <a:pt x="562" y="61"/>
                  </a:lnTo>
                  <a:lnTo>
                    <a:pt x="561" y="62"/>
                  </a:lnTo>
                  <a:lnTo>
                    <a:pt x="560" y="61"/>
                  </a:lnTo>
                  <a:lnTo>
                    <a:pt x="559" y="53"/>
                  </a:lnTo>
                  <a:lnTo>
                    <a:pt x="555" y="52"/>
                  </a:lnTo>
                  <a:lnTo>
                    <a:pt x="550" y="53"/>
                  </a:lnTo>
                  <a:lnTo>
                    <a:pt x="549" y="58"/>
                  </a:lnTo>
                  <a:lnTo>
                    <a:pt x="548" y="61"/>
                  </a:lnTo>
                  <a:lnTo>
                    <a:pt x="549" y="67"/>
                  </a:lnTo>
                  <a:lnTo>
                    <a:pt x="553" y="66"/>
                  </a:lnTo>
                  <a:lnTo>
                    <a:pt x="556" y="68"/>
                  </a:lnTo>
                  <a:lnTo>
                    <a:pt x="558" y="71"/>
                  </a:lnTo>
                  <a:lnTo>
                    <a:pt x="559" y="73"/>
                  </a:lnTo>
                  <a:lnTo>
                    <a:pt x="558" y="76"/>
                  </a:lnTo>
                  <a:lnTo>
                    <a:pt x="561" y="78"/>
                  </a:lnTo>
                  <a:lnTo>
                    <a:pt x="561" y="84"/>
                  </a:lnTo>
                  <a:lnTo>
                    <a:pt x="561" y="88"/>
                  </a:lnTo>
                  <a:lnTo>
                    <a:pt x="562" y="90"/>
                  </a:lnTo>
                  <a:lnTo>
                    <a:pt x="562" y="94"/>
                  </a:lnTo>
                  <a:lnTo>
                    <a:pt x="561" y="97"/>
                  </a:lnTo>
                  <a:lnTo>
                    <a:pt x="562" y="100"/>
                  </a:lnTo>
                  <a:lnTo>
                    <a:pt x="566" y="100"/>
                  </a:lnTo>
                  <a:lnTo>
                    <a:pt x="570" y="97"/>
                  </a:lnTo>
                  <a:lnTo>
                    <a:pt x="573" y="96"/>
                  </a:lnTo>
                  <a:lnTo>
                    <a:pt x="574" y="95"/>
                  </a:lnTo>
                  <a:lnTo>
                    <a:pt x="578" y="94"/>
                  </a:lnTo>
                  <a:lnTo>
                    <a:pt x="578" y="91"/>
                  </a:lnTo>
                  <a:lnTo>
                    <a:pt x="580" y="91"/>
                  </a:lnTo>
                  <a:lnTo>
                    <a:pt x="583" y="91"/>
                  </a:lnTo>
                  <a:lnTo>
                    <a:pt x="584" y="92"/>
                  </a:lnTo>
                  <a:lnTo>
                    <a:pt x="587" y="92"/>
                  </a:lnTo>
                  <a:lnTo>
                    <a:pt x="584" y="95"/>
                  </a:lnTo>
                  <a:lnTo>
                    <a:pt x="587" y="94"/>
                  </a:lnTo>
                  <a:lnTo>
                    <a:pt x="589" y="94"/>
                  </a:lnTo>
                  <a:lnTo>
                    <a:pt x="590" y="95"/>
                  </a:lnTo>
                  <a:lnTo>
                    <a:pt x="594" y="95"/>
                  </a:lnTo>
                  <a:lnTo>
                    <a:pt x="596" y="92"/>
                  </a:lnTo>
                  <a:lnTo>
                    <a:pt x="599" y="90"/>
                  </a:lnTo>
                  <a:lnTo>
                    <a:pt x="600" y="91"/>
                  </a:lnTo>
                  <a:lnTo>
                    <a:pt x="601" y="94"/>
                  </a:lnTo>
                  <a:lnTo>
                    <a:pt x="603" y="95"/>
                  </a:lnTo>
                  <a:lnTo>
                    <a:pt x="607" y="94"/>
                  </a:lnTo>
                  <a:lnTo>
                    <a:pt x="606" y="94"/>
                  </a:lnTo>
                  <a:lnTo>
                    <a:pt x="606" y="95"/>
                  </a:lnTo>
                  <a:lnTo>
                    <a:pt x="611" y="96"/>
                  </a:lnTo>
                  <a:lnTo>
                    <a:pt x="613" y="100"/>
                  </a:lnTo>
                  <a:lnTo>
                    <a:pt x="615" y="97"/>
                  </a:lnTo>
                  <a:lnTo>
                    <a:pt x="618" y="97"/>
                  </a:lnTo>
                  <a:lnTo>
                    <a:pt x="618" y="96"/>
                  </a:lnTo>
                  <a:lnTo>
                    <a:pt x="619" y="95"/>
                  </a:lnTo>
                  <a:lnTo>
                    <a:pt x="621" y="94"/>
                  </a:lnTo>
                  <a:lnTo>
                    <a:pt x="623" y="92"/>
                  </a:lnTo>
                  <a:lnTo>
                    <a:pt x="625" y="95"/>
                  </a:lnTo>
                  <a:lnTo>
                    <a:pt x="626" y="95"/>
                  </a:lnTo>
                  <a:lnTo>
                    <a:pt x="627" y="97"/>
                  </a:lnTo>
                  <a:lnTo>
                    <a:pt x="630" y="96"/>
                  </a:lnTo>
                  <a:lnTo>
                    <a:pt x="630" y="92"/>
                  </a:lnTo>
                  <a:lnTo>
                    <a:pt x="629" y="91"/>
                  </a:lnTo>
                  <a:lnTo>
                    <a:pt x="630" y="89"/>
                  </a:lnTo>
                  <a:lnTo>
                    <a:pt x="631" y="86"/>
                  </a:lnTo>
                  <a:lnTo>
                    <a:pt x="633" y="84"/>
                  </a:lnTo>
                  <a:lnTo>
                    <a:pt x="637" y="83"/>
                  </a:lnTo>
                  <a:lnTo>
                    <a:pt x="639" y="84"/>
                  </a:lnTo>
                  <a:lnTo>
                    <a:pt x="642" y="85"/>
                  </a:lnTo>
                  <a:lnTo>
                    <a:pt x="644" y="85"/>
                  </a:lnTo>
                  <a:lnTo>
                    <a:pt x="644" y="86"/>
                  </a:lnTo>
                  <a:lnTo>
                    <a:pt x="645" y="86"/>
                  </a:lnTo>
                  <a:lnTo>
                    <a:pt x="645" y="77"/>
                  </a:lnTo>
                  <a:lnTo>
                    <a:pt x="642" y="74"/>
                  </a:lnTo>
                  <a:lnTo>
                    <a:pt x="639" y="71"/>
                  </a:lnTo>
                  <a:lnTo>
                    <a:pt x="641" y="68"/>
                  </a:lnTo>
                  <a:lnTo>
                    <a:pt x="641" y="67"/>
                  </a:lnTo>
                  <a:lnTo>
                    <a:pt x="642" y="66"/>
                  </a:lnTo>
                  <a:lnTo>
                    <a:pt x="643" y="67"/>
                  </a:lnTo>
                  <a:lnTo>
                    <a:pt x="643" y="65"/>
                  </a:lnTo>
                  <a:lnTo>
                    <a:pt x="645" y="65"/>
                  </a:lnTo>
                  <a:lnTo>
                    <a:pt x="648" y="65"/>
                  </a:lnTo>
                  <a:lnTo>
                    <a:pt x="649" y="65"/>
                  </a:lnTo>
                  <a:lnTo>
                    <a:pt x="652" y="65"/>
                  </a:lnTo>
                  <a:lnTo>
                    <a:pt x="650" y="68"/>
                  </a:lnTo>
                  <a:lnTo>
                    <a:pt x="652" y="71"/>
                  </a:lnTo>
                  <a:lnTo>
                    <a:pt x="655" y="71"/>
                  </a:lnTo>
                  <a:lnTo>
                    <a:pt x="661" y="71"/>
                  </a:lnTo>
                  <a:lnTo>
                    <a:pt x="658" y="73"/>
                  </a:lnTo>
                  <a:lnTo>
                    <a:pt x="654" y="76"/>
                  </a:lnTo>
                  <a:lnTo>
                    <a:pt x="652" y="78"/>
                  </a:lnTo>
                  <a:lnTo>
                    <a:pt x="650" y="79"/>
                  </a:lnTo>
                  <a:lnTo>
                    <a:pt x="653" y="78"/>
                  </a:lnTo>
                  <a:lnTo>
                    <a:pt x="656" y="77"/>
                  </a:lnTo>
                  <a:lnTo>
                    <a:pt x="654" y="79"/>
                  </a:lnTo>
                  <a:lnTo>
                    <a:pt x="656" y="82"/>
                  </a:lnTo>
                  <a:lnTo>
                    <a:pt x="658" y="83"/>
                  </a:lnTo>
                  <a:lnTo>
                    <a:pt x="654" y="83"/>
                  </a:lnTo>
                  <a:lnTo>
                    <a:pt x="650" y="85"/>
                  </a:lnTo>
                  <a:lnTo>
                    <a:pt x="654" y="85"/>
                  </a:lnTo>
                  <a:lnTo>
                    <a:pt x="659" y="84"/>
                  </a:lnTo>
                  <a:lnTo>
                    <a:pt x="664" y="85"/>
                  </a:lnTo>
                  <a:lnTo>
                    <a:pt x="667" y="84"/>
                  </a:lnTo>
                  <a:lnTo>
                    <a:pt x="662" y="88"/>
                  </a:lnTo>
                  <a:lnTo>
                    <a:pt x="659" y="90"/>
                  </a:lnTo>
                  <a:lnTo>
                    <a:pt x="656" y="92"/>
                  </a:lnTo>
                  <a:lnTo>
                    <a:pt x="653" y="95"/>
                  </a:lnTo>
                  <a:lnTo>
                    <a:pt x="653" y="98"/>
                  </a:lnTo>
                  <a:lnTo>
                    <a:pt x="655" y="98"/>
                  </a:lnTo>
                  <a:lnTo>
                    <a:pt x="659" y="98"/>
                  </a:lnTo>
                  <a:lnTo>
                    <a:pt x="662" y="96"/>
                  </a:lnTo>
                  <a:lnTo>
                    <a:pt x="665" y="96"/>
                  </a:lnTo>
                  <a:lnTo>
                    <a:pt x="668" y="97"/>
                  </a:lnTo>
                  <a:lnTo>
                    <a:pt x="667" y="97"/>
                  </a:lnTo>
                  <a:lnTo>
                    <a:pt x="666" y="98"/>
                  </a:lnTo>
                  <a:lnTo>
                    <a:pt x="666" y="103"/>
                  </a:lnTo>
                  <a:lnTo>
                    <a:pt x="668" y="106"/>
                  </a:lnTo>
                  <a:lnTo>
                    <a:pt x="670" y="109"/>
                  </a:lnTo>
                  <a:lnTo>
                    <a:pt x="666" y="111"/>
                  </a:lnTo>
                  <a:lnTo>
                    <a:pt x="667" y="113"/>
                  </a:lnTo>
                  <a:lnTo>
                    <a:pt x="667" y="118"/>
                  </a:lnTo>
                  <a:lnTo>
                    <a:pt x="666" y="120"/>
                  </a:lnTo>
                  <a:lnTo>
                    <a:pt x="665" y="118"/>
                  </a:lnTo>
                  <a:lnTo>
                    <a:pt x="664" y="120"/>
                  </a:lnTo>
                  <a:lnTo>
                    <a:pt x="662" y="125"/>
                  </a:lnTo>
                  <a:lnTo>
                    <a:pt x="661" y="127"/>
                  </a:lnTo>
                  <a:lnTo>
                    <a:pt x="661" y="132"/>
                  </a:lnTo>
                  <a:lnTo>
                    <a:pt x="659" y="133"/>
                  </a:lnTo>
                  <a:lnTo>
                    <a:pt x="656" y="137"/>
                  </a:lnTo>
                  <a:lnTo>
                    <a:pt x="653" y="137"/>
                  </a:lnTo>
                  <a:lnTo>
                    <a:pt x="653" y="139"/>
                  </a:lnTo>
                  <a:lnTo>
                    <a:pt x="648" y="142"/>
                  </a:lnTo>
                  <a:lnTo>
                    <a:pt x="648" y="139"/>
                  </a:lnTo>
                  <a:lnTo>
                    <a:pt x="645" y="138"/>
                  </a:lnTo>
                  <a:lnTo>
                    <a:pt x="645" y="137"/>
                  </a:lnTo>
                  <a:lnTo>
                    <a:pt x="644" y="141"/>
                  </a:lnTo>
                  <a:lnTo>
                    <a:pt x="642" y="144"/>
                  </a:lnTo>
                  <a:lnTo>
                    <a:pt x="643" y="137"/>
                  </a:lnTo>
                  <a:lnTo>
                    <a:pt x="641" y="142"/>
                  </a:lnTo>
                  <a:lnTo>
                    <a:pt x="638" y="138"/>
                  </a:lnTo>
                  <a:lnTo>
                    <a:pt x="636" y="141"/>
                  </a:lnTo>
                  <a:lnTo>
                    <a:pt x="637" y="144"/>
                  </a:lnTo>
                  <a:lnTo>
                    <a:pt x="639" y="145"/>
                  </a:lnTo>
                  <a:lnTo>
                    <a:pt x="633" y="147"/>
                  </a:lnTo>
                  <a:lnTo>
                    <a:pt x="630" y="148"/>
                  </a:lnTo>
                  <a:lnTo>
                    <a:pt x="627" y="151"/>
                  </a:lnTo>
                  <a:lnTo>
                    <a:pt x="629" y="153"/>
                  </a:lnTo>
                  <a:lnTo>
                    <a:pt x="631" y="154"/>
                  </a:lnTo>
                  <a:lnTo>
                    <a:pt x="635" y="154"/>
                  </a:lnTo>
                  <a:lnTo>
                    <a:pt x="636" y="157"/>
                  </a:lnTo>
                  <a:lnTo>
                    <a:pt x="633" y="159"/>
                  </a:lnTo>
                  <a:lnTo>
                    <a:pt x="629" y="157"/>
                  </a:lnTo>
                  <a:lnTo>
                    <a:pt x="629" y="155"/>
                  </a:lnTo>
                  <a:lnTo>
                    <a:pt x="627" y="155"/>
                  </a:lnTo>
                  <a:lnTo>
                    <a:pt x="627" y="160"/>
                  </a:lnTo>
                  <a:lnTo>
                    <a:pt x="630" y="160"/>
                  </a:lnTo>
                  <a:lnTo>
                    <a:pt x="633" y="161"/>
                  </a:lnTo>
                  <a:lnTo>
                    <a:pt x="633" y="166"/>
                  </a:lnTo>
                  <a:lnTo>
                    <a:pt x="635" y="167"/>
                  </a:lnTo>
                  <a:lnTo>
                    <a:pt x="641" y="165"/>
                  </a:lnTo>
                  <a:lnTo>
                    <a:pt x="645" y="161"/>
                  </a:lnTo>
                  <a:lnTo>
                    <a:pt x="644" y="160"/>
                  </a:lnTo>
                  <a:lnTo>
                    <a:pt x="643" y="157"/>
                  </a:lnTo>
                  <a:lnTo>
                    <a:pt x="645" y="154"/>
                  </a:lnTo>
                  <a:lnTo>
                    <a:pt x="648" y="150"/>
                  </a:lnTo>
                  <a:lnTo>
                    <a:pt x="650" y="148"/>
                  </a:lnTo>
                  <a:lnTo>
                    <a:pt x="652" y="150"/>
                  </a:lnTo>
                  <a:lnTo>
                    <a:pt x="654" y="149"/>
                  </a:lnTo>
                  <a:lnTo>
                    <a:pt x="655" y="149"/>
                  </a:lnTo>
                  <a:lnTo>
                    <a:pt x="656" y="148"/>
                  </a:lnTo>
                  <a:lnTo>
                    <a:pt x="659" y="148"/>
                  </a:lnTo>
                  <a:lnTo>
                    <a:pt x="661" y="147"/>
                  </a:lnTo>
                  <a:lnTo>
                    <a:pt x="660" y="150"/>
                  </a:lnTo>
                  <a:lnTo>
                    <a:pt x="659" y="153"/>
                  </a:lnTo>
                  <a:lnTo>
                    <a:pt x="660" y="154"/>
                  </a:lnTo>
                  <a:lnTo>
                    <a:pt x="660" y="155"/>
                  </a:lnTo>
                  <a:lnTo>
                    <a:pt x="661" y="154"/>
                  </a:lnTo>
                  <a:lnTo>
                    <a:pt x="661" y="156"/>
                  </a:lnTo>
                  <a:lnTo>
                    <a:pt x="662" y="157"/>
                  </a:lnTo>
                  <a:lnTo>
                    <a:pt x="665" y="156"/>
                  </a:lnTo>
                  <a:lnTo>
                    <a:pt x="662" y="153"/>
                  </a:lnTo>
                  <a:lnTo>
                    <a:pt x="664" y="148"/>
                  </a:lnTo>
                  <a:lnTo>
                    <a:pt x="666" y="149"/>
                  </a:lnTo>
                  <a:lnTo>
                    <a:pt x="670" y="147"/>
                  </a:lnTo>
                  <a:lnTo>
                    <a:pt x="671" y="148"/>
                  </a:lnTo>
                  <a:lnTo>
                    <a:pt x="673" y="150"/>
                  </a:lnTo>
                  <a:lnTo>
                    <a:pt x="676" y="151"/>
                  </a:lnTo>
                  <a:lnTo>
                    <a:pt x="676" y="155"/>
                  </a:lnTo>
                  <a:lnTo>
                    <a:pt x="672" y="157"/>
                  </a:lnTo>
                  <a:lnTo>
                    <a:pt x="672" y="154"/>
                  </a:lnTo>
                  <a:lnTo>
                    <a:pt x="668" y="156"/>
                  </a:lnTo>
                  <a:lnTo>
                    <a:pt x="660" y="162"/>
                  </a:lnTo>
                  <a:lnTo>
                    <a:pt x="662" y="165"/>
                  </a:lnTo>
                  <a:lnTo>
                    <a:pt x="665" y="163"/>
                  </a:lnTo>
                  <a:lnTo>
                    <a:pt x="664" y="167"/>
                  </a:lnTo>
                  <a:lnTo>
                    <a:pt x="670" y="169"/>
                  </a:lnTo>
                  <a:lnTo>
                    <a:pt x="671" y="172"/>
                  </a:lnTo>
                  <a:lnTo>
                    <a:pt x="672" y="173"/>
                  </a:lnTo>
                  <a:lnTo>
                    <a:pt x="673" y="172"/>
                  </a:lnTo>
                  <a:lnTo>
                    <a:pt x="676" y="173"/>
                  </a:lnTo>
                  <a:lnTo>
                    <a:pt x="678" y="171"/>
                  </a:lnTo>
                  <a:lnTo>
                    <a:pt x="676" y="177"/>
                  </a:lnTo>
                  <a:lnTo>
                    <a:pt x="674" y="179"/>
                  </a:lnTo>
                  <a:lnTo>
                    <a:pt x="674" y="183"/>
                  </a:lnTo>
                  <a:lnTo>
                    <a:pt x="674" y="184"/>
                  </a:lnTo>
                  <a:lnTo>
                    <a:pt x="677" y="184"/>
                  </a:lnTo>
                  <a:lnTo>
                    <a:pt x="679" y="184"/>
                  </a:lnTo>
                  <a:lnTo>
                    <a:pt x="682" y="183"/>
                  </a:lnTo>
                  <a:lnTo>
                    <a:pt x="684" y="178"/>
                  </a:lnTo>
                  <a:lnTo>
                    <a:pt x="685" y="175"/>
                  </a:lnTo>
                  <a:lnTo>
                    <a:pt x="683" y="173"/>
                  </a:lnTo>
                  <a:lnTo>
                    <a:pt x="684" y="169"/>
                  </a:lnTo>
                  <a:lnTo>
                    <a:pt x="685" y="167"/>
                  </a:lnTo>
                  <a:lnTo>
                    <a:pt x="688" y="165"/>
                  </a:lnTo>
                  <a:lnTo>
                    <a:pt x="689" y="163"/>
                  </a:lnTo>
                  <a:lnTo>
                    <a:pt x="691" y="163"/>
                  </a:lnTo>
                  <a:lnTo>
                    <a:pt x="694" y="163"/>
                  </a:lnTo>
                  <a:lnTo>
                    <a:pt x="695" y="166"/>
                  </a:lnTo>
                  <a:lnTo>
                    <a:pt x="697" y="166"/>
                  </a:lnTo>
                  <a:lnTo>
                    <a:pt x="697" y="167"/>
                  </a:lnTo>
                  <a:lnTo>
                    <a:pt x="697" y="171"/>
                  </a:lnTo>
                  <a:lnTo>
                    <a:pt x="698" y="172"/>
                  </a:lnTo>
                  <a:lnTo>
                    <a:pt x="697" y="173"/>
                  </a:lnTo>
                  <a:lnTo>
                    <a:pt x="694" y="174"/>
                  </a:lnTo>
                  <a:lnTo>
                    <a:pt x="696" y="177"/>
                  </a:lnTo>
                  <a:lnTo>
                    <a:pt x="694" y="178"/>
                  </a:lnTo>
                  <a:lnTo>
                    <a:pt x="694" y="180"/>
                  </a:lnTo>
                  <a:lnTo>
                    <a:pt x="695" y="183"/>
                  </a:lnTo>
                  <a:lnTo>
                    <a:pt x="696" y="183"/>
                  </a:lnTo>
                  <a:lnTo>
                    <a:pt x="697" y="183"/>
                  </a:lnTo>
                  <a:lnTo>
                    <a:pt x="697" y="181"/>
                  </a:lnTo>
                  <a:lnTo>
                    <a:pt x="698" y="180"/>
                  </a:lnTo>
                  <a:lnTo>
                    <a:pt x="701" y="180"/>
                  </a:lnTo>
                  <a:lnTo>
                    <a:pt x="701" y="183"/>
                  </a:lnTo>
                  <a:lnTo>
                    <a:pt x="702" y="180"/>
                  </a:lnTo>
                  <a:lnTo>
                    <a:pt x="706" y="179"/>
                  </a:lnTo>
                  <a:lnTo>
                    <a:pt x="708" y="177"/>
                  </a:lnTo>
                  <a:lnTo>
                    <a:pt x="711" y="175"/>
                  </a:lnTo>
                  <a:lnTo>
                    <a:pt x="712" y="174"/>
                  </a:lnTo>
                  <a:lnTo>
                    <a:pt x="712" y="173"/>
                  </a:lnTo>
                  <a:lnTo>
                    <a:pt x="711" y="173"/>
                  </a:lnTo>
                  <a:lnTo>
                    <a:pt x="709" y="172"/>
                  </a:lnTo>
                  <a:lnTo>
                    <a:pt x="713" y="169"/>
                  </a:lnTo>
                  <a:lnTo>
                    <a:pt x="714" y="169"/>
                  </a:lnTo>
                  <a:lnTo>
                    <a:pt x="714" y="173"/>
                  </a:lnTo>
                  <a:lnTo>
                    <a:pt x="717" y="172"/>
                  </a:lnTo>
                  <a:lnTo>
                    <a:pt x="715" y="169"/>
                  </a:lnTo>
                  <a:lnTo>
                    <a:pt x="709" y="165"/>
                  </a:lnTo>
                  <a:lnTo>
                    <a:pt x="706" y="166"/>
                  </a:lnTo>
                  <a:lnTo>
                    <a:pt x="701" y="165"/>
                  </a:lnTo>
                  <a:lnTo>
                    <a:pt x="701" y="162"/>
                  </a:lnTo>
                  <a:lnTo>
                    <a:pt x="702" y="162"/>
                  </a:lnTo>
                  <a:lnTo>
                    <a:pt x="704" y="162"/>
                  </a:lnTo>
                  <a:lnTo>
                    <a:pt x="704" y="161"/>
                  </a:lnTo>
                  <a:lnTo>
                    <a:pt x="706" y="161"/>
                  </a:lnTo>
                  <a:lnTo>
                    <a:pt x="707" y="159"/>
                  </a:lnTo>
                  <a:lnTo>
                    <a:pt x="708" y="160"/>
                  </a:lnTo>
                  <a:lnTo>
                    <a:pt x="709" y="159"/>
                  </a:lnTo>
                  <a:lnTo>
                    <a:pt x="711" y="161"/>
                  </a:lnTo>
                  <a:lnTo>
                    <a:pt x="713" y="166"/>
                  </a:lnTo>
                  <a:lnTo>
                    <a:pt x="718" y="169"/>
                  </a:lnTo>
                  <a:lnTo>
                    <a:pt x="719" y="169"/>
                  </a:lnTo>
                  <a:lnTo>
                    <a:pt x="721" y="168"/>
                  </a:lnTo>
                  <a:lnTo>
                    <a:pt x="721" y="167"/>
                  </a:lnTo>
                  <a:lnTo>
                    <a:pt x="723" y="165"/>
                  </a:lnTo>
                  <a:lnTo>
                    <a:pt x="725" y="165"/>
                  </a:lnTo>
                  <a:lnTo>
                    <a:pt x="726" y="167"/>
                  </a:lnTo>
                  <a:lnTo>
                    <a:pt x="727" y="168"/>
                  </a:lnTo>
                  <a:lnTo>
                    <a:pt x="730" y="171"/>
                  </a:lnTo>
                  <a:lnTo>
                    <a:pt x="730" y="169"/>
                  </a:lnTo>
                  <a:lnTo>
                    <a:pt x="732" y="168"/>
                  </a:lnTo>
                  <a:lnTo>
                    <a:pt x="733" y="166"/>
                  </a:lnTo>
                  <a:lnTo>
                    <a:pt x="736" y="167"/>
                  </a:lnTo>
                  <a:lnTo>
                    <a:pt x="737" y="168"/>
                  </a:lnTo>
                  <a:lnTo>
                    <a:pt x="737" y="161"/>
                  </a:lnTo>
                  <a:lnTo>
                    <a:pt x="729" y="160"/>
                  </a:lnTo>
                  <a:lnTo>
                    <a:pt x="720" y="159"/>
                  </a:lnTo>
                  <a:lnTo>
                    <a:pt x="720" y="156"/>
                  </a:lnTo>
                  <a:lnTo>
                    <a:pt x="723" y="155"/>
                  </a:lnTo>
                  <a:lnTo>
                    <a:pt x="725" y="154"/>
                  </a:lnTo>
                  <a:lnTo>
                    <a:pt x="726" y="154"/>
                  </a:lnTo>
                  <a:lnTo>
                    <a:pt x="726" y="153"/>
                  </a:lnTo>
                  <a:lnTo>
                    <a:pt x="730" y="151"/>
                  </a:lnTo>
                  <a:lnTo>
                    <a:pt x="732" y="151"/>
                  </a:lnTo>
                  <a:lnTo>
                    <a:pt x="733" y="149"/>
                  </a:lnTo>
                  <a:lnTo>
                    <a:pt x="735" y="151"/>
                  </a:lnTo>
                  <a:lnTo>
                    <a:pt x="736" y="150"/>
                  </a:lnTo>
                  <a:lnTo>
                    <a:pt x="736" y="151"/>
                  </a:lnTo>
                  <a:lnTo>
                    <a:pt x="736" y="156"/>
                  </a:lnTo>
                  <a:lnTo>
                    <a:pt x="738" y="161"/>
                  </a:lnTo>
                  <a:lnTo>
                    <a:pt x="741" y="163"/>
                  </a:lnTo>
                  <a:lnTo>
                    <a:pt x="743" y="162"/>
                  </a:lnTo>
                  <a:lnTo>
                    <a:pt x="747" y="159"/>
                  </a:lnTo>
                  <a:lnTo>
                    <a:pt x="748" y="156"/>
                  </a:lnTo>
                  <a:lnTo>
                    <a:pt x="749" y="153"/>
                  </a:lnTo>
                  <a:lnTo>
                    <a:pt x="753" y="151"/>
                  </a:lnTo>
                  <a:lnTo>
                    <a:pt x="754" y="153"/>
                  </a:lnTo>
                  <a:lnTo>
                    <a:pt x="754" y="154"/>
                  </a:lnTo>
                  <a:lnTo>
                    <a:pt x="754" y="156"/>
                  </a:lnTo>
                  <a:lnTo>
                    <a:pt x="756" y="156"/>
                  </a:lnTo>
                  <a:lnTo>
                    <a:pt x="757" y="154"/>
                  </a:lnTo>
                  <a:lnTo>
                    <a:pt x="760" y="154"/>
                  </a:lnTo>
                  <a:lnTo>
                    <a:pt x="762" y="154"/>
                  </a:lnTo>
                  <a:lnTo>
                    <a:pt x="761" y="156"/>
                  </a:lnTo>
                  <a:lnTo>
                    <a:pt x="762" y="159"/>
                  </a:lnTo>
                  <a:lnTo>
                    <a:pt x="766" y="160"/>
                  </a:lnTo>
                  <a:lnTo>
                    <a:pt x="762" y="161"/>
                  </a:lnTo>
                  <a:lnTo>
                    <a:pt x="759" y="161"/>
                  </a:lnTo>
                  <a:lnTo>
                    <a:pt x="756" y="162"/>
                  </a:lnTo>
                  <a:lnTo>
                    <a:pt x="754" y="162"/>
                  </a:lnTo>
                  <a:lnTo>
                    <a:pt x="755" y="163"/>
                  </a:lnTo>
                  <a:lnTo>
                    <a:pt x="751" y="163"/>
                  </a:lnTo>
                  <a:lnTo>
                    <a:pt x="754" y="167"/>
                  </a:lnTo>
                  <a:lnTo>
                    <a:pt x="756" y="172"/>
                  </a:lnTo>
                  <a:lnTo>
                    <a:pt x="759" y="171"/>
                  </a:lnTo>
                  <a:lnTo>
                    <a:pt x="760" y="172"/>
                  </a:lnTo>
                  <a:lnTo>
                    <a:pt x="762" y="171"/>
                  </a:lnTo>
                  <a:lnTo>
                    <a:pt x="766" y="171"/>
                  </a:lnTo>
                  <a:lnTo>
                    <a:pt x="762" y="168"/>
                  </a:lnTo>
                  <a:lnTo>
                    <a:pt x="761" y="163"/>
                  </a:lnTo>
                  <a:lnTo>
                    <a:pt x="763" y="165"/>
                  </a:lnTo>
                  <a:lnTo>
                    <a:pt x="766" y="162"/>
                  </a:lnTo>
                  <a:lnTo>
                    <a:pt x="768" y="160"/>
                  </a:lnTo>
                  <a:lnTo>
                    <a:pt x="770" y="156"/>
                  </a:lnTo>
                  <a:lnTo>
                    <a:pt x="771" y="154"/>
                  </a:lnTo>
                  <a:lnTo>
                    <a:pt x="772" y="154"/>
                  </a:lnTo>
                  <a:lnTo>
                    <a:pt x="776" y="154"/>
                  </a:lnTo>
                  <a:lnTo>
                    <a:pt x="777" y="153"/>
                  </a:lnTo>
                  <a:lnTo>
                    <a:pt x="776" y="153"/>
                  </a:lnTo>
                  <a:lnTo>
                    <a:pt x="776" y="150"/>
                  </a:lnTo>
                  <a:lnTo>
                    <a:pt x="776" y="147"/>
                  </a:lnTo>
                  <a:lnTo>
                    <a:pt x="774" y="147"/>
                  </a:lnTo>
                  <a:lnTo>
                    <a:pt x="776" y="144"/>
                  </a:lnTo>
                  <a:lnTo>
                    <a:pt x="778" y="143"/>
                  </a:lnTo>
                  <a:lnTo>
                    <a:pt x="776" y="142"/>
                  </a:lnTo>
                  <a:lnTo>
                    <a:pt x="778" y="141"/>
                  </a:lnTo>
                  <a:lnTo>
                    <a:pt x="780" y="141"/>
                  </a:lnTo>
                  <a:lnTo>
                    <a:pt x="779" y="138"/>
                  </a:lnTo>
                  <a:lnTo>
                    <a:pt x="780" y="135"/>
                  </a:lnTo>
                  <a:lnTo>
                    <a:pt x="783" y="132"/>
                  </a:lnTo>
                  <a:lnTo>
                    <a:pt x="785" y="133"/>
                  </a:lnTo>
                  <a:lnTo>
                    <a:pt x="789" y="133"/>
                  </a:lnTo>
                  <a:lnTo>
                    <a:pt x="789" y="130"/>
                  </a:lnTo>
                  <a:lnTo>
                    <a:pt x="786" y="129"/>
                  </a:lnTo>
                  <a:lnTo>
                    <a:pt x="782" y="130"/>
                  </a:lnTo>
                  <a:lnTo>
                    <a:pt x="784" y="127"/>
                  </a:lnTo>
                  <a:lnTo>
                    <a:pt x="786" y="125"/>
                  </a:lnTo>
                  <a:lnTo>
                    <a:pt x="790" y="127"/>
                  </a:lnTo>
                  <a:lnTo>
                    <a:pt x="792" y="127"/>
                  </a:lnTo>
                  <a:lnTo>
                    <a:pt x="794" y="130"/>
                  </a:lnTo>
                  <a:lnTo>
                    <a:pt x="797" y="131"/>
                  </a:lnTo>
                  <a:lnTo>
                    <a:pt x="797" y="132"/>
                  </a:lnTo>
                  <a:lnTo>
                    <a:pt x="803" y="127"/>
                  </a:lnTo>
                  <a:lnTo>
                    <a:pt x="803" y="126"/>
                  </a:lnTo>
                  <a:lnTo>
                    <a:pt x="803" y="124"/>
                  </a:lnTo>
                  <a:lnTo>
                    <a:pt x="806" y="121"/>
                  </a:lnTo>
                  <a:lnTo>
                    <a:pt x="807" y="120"/>
                  </a:lnTo>
                  <a:lnTo>
                    <a:pt x="809" y="120"/>
                  </a:lnTo>
                  <a:lnTo>
                    <a:pt x="808" y="125"/>
                  </a:lnTo>
                  <a:lnTo>
                    <a:pt x="810" y="124"/>
                  </a:lnTo>
                  <a:lnTo>
                    <a:pt x="813" y="120"/>
                  </a:lnTo>
                  <a:lnTo>
                    <a:pt x="815" y="121"/>
                  </a:lnTo>
                  <a:lnTo>
                    <a:pt x="816" y="123"/>
                  </a:lnTo>
                  <a:lnTo>
                    <a:pt x="820" y="123"/>
                  </a:lnTo>
                  <a:lnTo>
                    <a:pt x="821" y="124"/>
                  </a:lnTo>
                  <a:lnTo>
                    <a:pt x="816" y="126"/>
                  </a:lnTo>
                  <a:lnTo>
                    <a:pt x="810" y="129"/>
                  </a:lnTo>
                  <a:lnTo>
                    <a:pt x="813" y="132"/>
                  </a:lnTo>
                  <a:lnTo>
                    <a:pt x="815" y="130"/>
                  </a:lnTo>
                  <a:lnTo>
                    <a:pt x="821" y="125"/>
                  </a:lnTo>
                  <a:lnTo>
                    <a:pt x="822" y="126"/>
                  </a:lnTo>
                  <a:lnTo>
                    <a:pt x="818" y="131"/>
                  </a:lnTo>
                  <a:lnTo>
                    <a:pt x="820" y="135"/>
                  </a:lnTo>
                  <a:lnTo>
                    <a:pt x="816" y="136"/>
                  </a:lnTo>
                  <a:lnTo>
                    <a:pt x="815" y="137"/>
                  </a:lnTo>
                  <a:lnTo>
                    <a:pt x="818" y="139"/>
                  </a:lnTo>
                  <a:lnTo>
                    <a:pt x="820" y="139"/>
                  </a:lnTo>
                  <a:lnTo>
                    <a:pt x="824" y="142"/>
                  </a:lnTo>
                  <a:lnTo>
                    <a:pt x="825" y="141"/>
                  </a:lnTo>
                  <a:lnTo>
                    <a:pt x="826" y="142"/>
                  </a:lnTo>
                  <a:lnTo>
                    <a:pt x="830" y="143"/>
                  </a:lnTo>
                  <a:lnTo>
                    <a:pt x="831" y="144"/>
                  </a:lnTo>
                  <a:lnTo>
                    <a:pt x="831" y="145"/>
                  </a:lnTo>
                  <a:lnTo>
                    <a:pt x="832" y="145"/>
                  </a:lnTo>
                  <a:lnTo>
                    <a:pt x="832" y="149"/>
                  </a:lnTo>
                  <a:lnTo>
                    <a:pt x="827" y="149"/>
                  </a:lnTo>
                  <a:lnTo>
                    <a:pt x="830" y="151"/>
                  </a:lnTo>
                  <a:lnTo>
                    <a:pt x="831" y="154"/>
                  </a:lnTo>
                  <a:lnTo>
                    <a:pt x="832" y="155"/>
                  </a:lnTo>
                  <a:lnTo>
                    <a:pt x="836" y="153"/>
                  </a:lnTo>
                  <a:lnTo>
                    <a:pt x="836" y="155"/>
                  </a:lnTo>
                  <a:lnTo>
                    <a:pt x="837" y="161"/>
                  </a:lnTo>
                  <a:lnTo>
                    <a:pt x="838" y="162"/>
                  </a:lnTo>
                  <a:lnTo>
                    <a:pt x="837" y="165"/>
                  </a:lnTo>
                  <a:lnTo>
                    <a:pt x="837" y="168"/>
                  </a:lnTo>
                  <a:lnTo>
                    <a:pt x="835" y="173"/>
                  </a:lnTo>
                  <a:lnTo>
                    <a:pt x="833" y="165"/>
                  </a:lnTo>
                  <a:lnTo>
                    <a:pt x="832" y="157"/>
                  </a:lnTo>
                  <a:lnTo>
                    <a:pt x="827" y="156"/>
                  </a:lnTo>
                  <a:lnTo>
                    <a:pt x="821" y="154"/>
                  </a:lnTo>
                  <a:lnTo>
                    <a:pt x="821" y="156"/>
                  </a:lnTo>
                  <a:lnTo>
                    <a:pt x="822" y="161"/>
                  </a:lnTo>
                  <a:lnTo>
                    <a:pt x="821" y="165"/>
                  </a:lnTo>
                  <a:lnTo>
                    <a:pt x="820" y="167"/>
                  </a:lnTo>
                  <a:lnTo>
                    <a:pt x="816" y="169"/>
                  </a:lnTo>
                  <a:lnTo>
                    <a:pt x="813" y="169"/>
                  </a:lnTo>
                  <a:lnTo>
                    <a:pt x="812" y="168"/>
                  </a:lnTo>
                  <a:lnTo>
                    <a:pt x="808" y="169"/>
                  </a:lnTo>
                  <a:lnTo>
                    <a:pt x="802" y="172"/>
                  </a:lnTo>
                  <a:lnTo>
                    <a:pt x="796" y="172"/>
                  </a:lnTo>
                  <a:lnTo>
                    <a:pt x="794" y="172"/>
                  </a:lnTo>
                  <a:lnTo>
                    <a:pt x="792" y="174"/>
                  </a:lnTo>
                  <a:lnTo>
                    <a:pt x="792" y="175"/>
                  </a:lnTo>
                  <a:lnTo>
                    <a:pt x="792" y="177"/>
                  </a:lnTo>
                  <a:lnTo>
                    <a:pt x="797" y="174"/>
                  </a:lnTo>
                  <a:lnTo>
                    <a:pt x="796" y="177"/>
                  </a:lnTo>
                  <a:lnTo>
                    <a:pt x="800" y="175"/>
                  </a:lnTo>
                  <a:lnTo>
                    <a:pt x="804" y="172"/>
                  </a:lnTo>
                  <a:lnTo>
                    <a:pt x="813" y="173"/>
                  </a:lnTo>
                  <a:lnTo>
                    <a:pt x="818" y="173"/>
                  </a:lnTo>
                  <a:lnTo>
                    <a:pt x="821" y="173"/>
                  </a:lnTo>
                  <a:lnTo>
                    <a:pt x="824" y="177"/>
                  </a:lnTo>
                  <a:lnTo>
                    <a:pt x="820" y="177"/>
                  </a:lnTo>
                  <a:lnTo>
                    <a:pt x="818" y="178"/>
                  </a:lnTo>
                  <a:lnTo>
                    <a:pt x="819" y="179"/>
                  </a:lnTo>
                  <a:lnTo>
                    <a:pt x="816" y="179"/>
                  </a:lnTo>
                  <a:lnTo>
                    <a:pt x="814" y="183"/>
                  </a:lnTo>
                  <a:lnTo>
                    <a:pt x="814" y="184"/>
                  </a:lnTo>
                  <a:lnTo>
                    <a:pt x="810" y="183"/>
                  </a:lnTo>
                  <a:lnTo>
                    <a:pt x="813" y="187"/>
                  </a:lnTo>
                  <a:lnTo>
                    <a:pt x="816" y="190"/>
                  </a:lnTo>
                  <a:lnTo>
                    <a:pt x="816" y="191"/>
                  </a:lnTo>
                  <a:lnTo>
                    <a:pt x="815" y="195"/>
                  </a:lnTo>
                  <a:lnTo>
                    <a:pt x="814" y="196"/>
                  </a:lnTo>
                  <a:lnTo>
                    <a:pt x="813" y="192"/>
                  </a:lnTo>
                  <a:lnTo>
                    <a:pt x="812" y="193"/>
                  </a:lnTo>
                  <a:lnTo>
                    <a:pt x="810" y="193"/>
                  </a:lnTo>
                  <a:lnTo>
                    <a:pt x="807" y="190"/>
                  </a:lnTo>
                  <a:lnTo>
                    <a:pt x="806" y="184"/>
                  </a:lnTo>
                  <a:lnTo>
                    <a:pt x="806" y="181"/>
                  </a:lnTo>
                  <a:lnTo>
                    <a:pt x="803" y="179"/>
                  </a:lnTo>
                  <a:lnTo>
                    <a:pt x="800" y="179"/>
                  </a:lnTo>
                  <a:lnTo>
                    <a:pt x="798" y="183"/>
                  </a:lnTo>
                  <a:lnTo>
                    <a:pt x="797" y="186"/>
                  </a:lnTo>
                  <a:lnTo>
                    <a:pt x="795" y="189"/>
                  </a:lnTo>
                  <a:lnTo>
                    <a:pt x="789" y="196"/>
                  </a:lnTo>
                  <a:lnTo>
                    <a:pt x="789" y="192"/>
                  </a:lnTo>
                  <a:lnTo>
                    <a:pt x="789" y="189"/>
                  </a:lnTo>
                  <a:lnTo>
                    <a:pt x="786" y="192"/>
                  </a:lnTo>
                  <a:lnTo>
                    <a:pt x="779" y="199"/>
                  </a:lnTo>
                  <a:lnTo>
                    <a:pt x="780" y="195"/>
                  </a:lnTo>
                  <a:lnTo>
                    <a:pt x="782" y="192"/>
                  </a:lnTo>
                  <a:lnTo>
                    <a:pt x="782" y="190"/>
                  </a:lnTo>
                  <a:lnTo>
                    <a:pt x="777" y="190"/>
                  </a:lnTo>
                  <a:lnTo>
                    <a:pt x="774" y="193"/>
                  </a:lnTo>
                  <a:lnTo>
                    <a:pt x="774" y="197"/>
                  </a:lnTo>
                  <a:lnTo>
                    <a:pt x="773" y="199"/>
                  </a:lnTo>
                  <a:lnTo>
                    <a:pt x="771" y="203"/>
                  </a:lnTo>
                  <a:lnTo>
                    <a:pt x="770" y="205"/>
                  </a:lnTo>
                  <a:lnTo>
                    <a:pt x="767" y="208"/>
                  </a:lnTo>
                  <a:lnTo>
                    <a:pt x="768" y="208"/>
                  </a:lnTo>
                  <a:lnTo>
                    <a:pt x="771" y="207"/>
                  </a:lnTo>
                  <a:lnTo>
                    <a:pt x="772" y="208"/>
                  </a:lnTo>
                  <a:lnTo>
                    <a:pt x="774" y="205"/>
                  </a:lnTo>
                  <a:lnTo>
                    <a:pt x="774" y="210"/>
                  </a:lnTo>
                  <a:lnTo>
                    <a:pt x="771" y="215"/>
                  </a:lnTo>
                  <a:lnTo>
                    <a:pt x="770" y="219"/>
                  </a:lnTo>
                  <a:lnTo>
                    <a:pt x="772" y="219"/>
                  </a:lnTo>
                  <a:lnTo>
                    <a:pt x="770" y="221"/>
                  </a:lnTo>
                  <a:lnTo>
                    <a:pt x="770" y="225"/>
                  </a:lnTo>
                  <a:lnTo>
                    <a:pt x="772" y="224"/>
                  </a:lnTo>
                  <a:lnTo>
                    <a:pt x="777" y="224"/>
                  </a:lnTo>
                  <a:lnTo>
                    <a:pt x="779" y="222"/>
                  </a:lnTo>
                  <a:lnTo>
                    <a:pt x="784" y="224"/>
                  </a:lnTo>
                  <a:lnTo>
                    <a:pt x="786" y="225"/>
                  </a:lnTo>
                  <a:lnTo>
                    <a:pt x="785" y="226"/>
                  </a:lnTo>
                  <a:lnTo>
                    <a:pt x="786" y="227"/>
                  </a:lnTo>
                  <a:lnTo>
                    <a:pt x="784" y="228"/>
                  </a:lnTo>
                  <a:lnTo>
                    <a:pt x="784" y="231"/>
                  </a:lnTo>
                  <a:lnTo>
                    <a:pt x="783" y="232"/>
                  </a:lnTo>
                  <a:lnTo>
                    <a:pt x="782" y="237"/>
                  </a:lnTo>
                  <a:lnTo>
                    <a:pt x="779" y="233"/>
                  </a:lnTo>
                  <a:lnTo>
                    <a:pt x="776" y="232"/>
                  </a:lnTo>
                  <a:lnTo>
                    <a:pt x="774" y="231"/>
                  </a:lnTo>
                  <a:lnTo>
                    <a:pt x="773" y="230"/>
                  </a:lnTo>
                  <a:lnTo>
                    <a:pt x="772" y="228"/>
                  </a:lnTo>
                  <a:lnTo>
                    <a:pt x="770" y="230"/>
                  </a:lnTo>
                  <a:lnTo>
                    <a:pt x="767" y="232"/>
                  </a:lnTo>
                  <a:lnTo>
                    <a:pt x="772" y="232"/>
                  </a:lnTo>
                  <a:lnTo>
                    <a:pt x="767" y="233"/>
                  </a:lnTo>
                  <a:lnTo>
                    <a:pt x="767" y="236"/>
                  </a:lnTo>
                  <a:lnTo>
                    <a:pt x="771" y="237"/>
                  </a:lnTo>
                  <a:lnTo>
                    <a:pt x="776" y="237"/>
                  </a:lnTo>
                  <a:lnTo>
                    <a:pt x="779" y="236"/>
                  </a:lnTo>
                  <a:lnTo>
                    <a:pt x="780" y="238"/>
                  </a:lnTo>
                  <a:lnTo>
                    <a:pt x="782" y="238"/>
                  </a:lnTo>
                  <a:lnTo>
                    <a:pt x="780" y="239"/>
                  </a:lnTo>
                  <a:lnTo>
                    <a:pt x="782" y="240"/>
                  </a:lnTo>
                  <a:lnTo>
                    <a:pt x="782" y="243"/>
                  </a:lnTo>
                  <a:lnTo>
                    <a:pt x="780" y="243"/>
                  </a:lnTo>
                  <a:lnTo>
                    <a:pt x="783" y="245"/>
                  </a:lnTo>
                  <a:lnTo>
                    <a:pt x="780" y="248"/>
                  </a:lnTo>
                  <a:lnTo>
                    <a:pt x="778" y="244"/>
                  </a:lnTo>
                  <a:lnTo>
                    <a:pt x="774" y="239"/>
                  </a:lnTo>
                  <a:lnTo>
                    <a:pt x="773" y="240"/>
                  </a:lnTo>
                  <a:lnTo>
                    <a:pt x="774" y="244"/>
                  </a:lnTo>
                  <a:lnTo>
                    <a:pt x="772" y="245"/>
                  </a:lnTo>
                  <a:lnTo>
                    <a:pt x="772" y="248"/>
                  </a:lnTo>
                  <a:lnTo>
                    <a:pt x="772" y="254"/>
                  </a:lnTo>
                  <a:lnTo>
                    <a:pt x="771" y="248"/>
                  </a:lnTo>
                  <a:lnTo>
                    <a:pt x="770" y="250"/>
                  </a:lnTo>
                  <a:lnTo>
                    <a:pt x="768" y="246"/>
                  </a:lnTo>
                  <a:lnTo>
                    <a:pt x="768" y="242"/>
                  </a:lnTo>
                  <a:lnTo>
                    <a:pt x="767" y="242"/>
                  </a:lnTo>
                  <a:lnTo>
                    <a:pt x="763" y="239"/>
                  </a:lnTo>
                  <a:lnTo>
                    <a:pt x="765" y="243"/>
                  </a:lnTo>
                  <a:lnTo>
                    <a:pt x="763" y="251"/>
                  </a:lnTo>
                  <a:lnTo>
                    <a:pt x="761" y="250"/>
                  </a:lnTo>
                  <a:lnTo>
                    <a:pt x="760" y="248"/>
                  </a:lnTo>
                  <a:lnTo>
                    <a:pt x="759" y="243"/>
                  </a:lnTo>
                  <a:lnTo>
                    <a:pt x="759" y="244"/>
                  </a:lnTo>
                  <a:lnTo>
                    <a:pt x="757" y="252"/>
                  </a:lnTo>
                  <a:lnTo>
                    <a:pt x="762" y="256"/>
                  </a:lnTo>
                  <a:lnTo>
                    <a:pt x="762" y="261"/>
                  </a:lnTo>
                  <a:lnTo>
                    <a:pt x="761" y="263"/>
                  </a:lnTo>
                  <a:lnTo>
                    <a:pt x="761" y="264"/>
                  </a:lnTo>
                  <a:lnTo>
                    <a:pt x="759" y="264"/>
                  </a:lnTo>
                  <a:lnTo>
                    <a:pt x="759" y="267"/>
                  </a:lnTo>
                  <a:lnTo>
                    <a:pt x="757" y="268"/>
                  </a:lnTo>
                  <a:lnTo>
                    <a:pt x="757" y="273"/>
                  </a:lnTo>
                  <a:lnTo>
                    <a:pt x="755" y="270"/>
                  </a:lnTo>
                  <a:lnTo>
                    <a:pt x="754" y="268"/>
                  </a:lnTo>
                  <a:lnTo>
                    <a:pt x="754" y="267"/>
                  </a:lnTo>
                  <a:lnTo>
                    <a:pt x="753" y="264"/>
                  </a:lnTo>
                  <a:lnTo>
                    <a:pt x="751" y="262"/>
                  </a:lnTo>
                  <a:lnTo>
                    <a:pt x="750" y="262"/>
                  </a:lnTo>
                  <a:lnTo>
                    <a:pt x="750" y="258"/>
                  </a:lnTo>
                  <a:lnTo>
                    <a:pt x="753" y="255"/>
                  </a:lnTo>
                  <a:lnTo>
                    <a:pt x="756" y="252"/>
                  </a:lnTo>
                  <a:lnTo>
                    <a:pt x="757" y="248"/>
                  </a:lnTo>
                  <a:lnTo>
                    <a:pt x="755" y="250"/>
                  </a:lnTo>
                  <a:lnTo>
                    <a:pt x="753" y="251"/>
                  </a:lnTo>
                  <a:lnTo>
                    <a:pt x="754" y="246"/>
                  </a:lnTo>
                  <a:lnTo>
                    <a:pt x="750" y="249"/>
                  </a:lnTo>
                  <a:lnTo>
                    <a:pt x="748" y="250"/>
                  </a:lnTo>
                  <a:lnTo>
                    <a:pt x="745" y="252"/>
                  </a:lnTo>
                  <a:lnTo>
                    <a:pt x="745" y="249"/>
                  </a:lnTo>
                  <a:lnTo>
                    <a:pt x="744" y="250"/>
                  </a:lnTo>
                  <a:lnTo>
                    <a:pt x="739" y="249"/>
                  </a:lnTo>
                  <a:lnTo>
                    <a:pt x="737" y="249"/>
                  </a:lnTo>
                  <a:lnTo>
                    <a:pt x="741" y="251"/>
                  </a:lnTo>
                  <a:lnTo>
                    <a:pt x="738" y="255"/>
                  </a:lnTo>
                  <a:lnTo>
                    <a:pt x="736" y="256"/>
                  </a:lnTo>
                  <a:lnTo>
                    <a:pt x="733" y="258"/>
                  </a:lnTo>
                  <a:lnTo>
                    <a:pt x="733" y="263"/>
                  </a:lnTo>
                  <a:lnTo>
                    <a:pt x="736" y="263"/>
                  </a:lnTo>
                  <a:lnTo>
                    <a:pt x="738" y="266"/>
                  </a:lnTo>
                  <a:lnTo>
                    <a:pt x="737" y="269"/>
                  </a:lnTo>
                  <a:lnTo>
                    <a:pt x="738" y="268"/>
                  </a:lnTo>
                  <a:lnTo>
                    <a:pt x="739" y="272"/>
                  </a:lnTo>
                  <a:lnTo>
                    <a:pt x="741" y="274"/>
                  </a:lnTo>
                  <a:lnTo>
                    <a:pt x="744" y="276"/>
                  </a:lnTo>
                  <a:lnTo>
                    <a:pt x="748" y="275"/>
                  </a:lnTo>
                  <a:lnTo>
                    <a:pt x="744" y="273"/>
                  </a:lnTo>
                  <a:lnTo>
                    <a:pt x="742" y="270"/>
                  </a:lnTo>
                  <a:lnTo>
                    <a:pt x="748" y="269"/>
                  </a:lnTo>
                  <a:lnTo>
                    <a:pt x="751" y="270"/>
                  </a:lnTo>
                  <a:lnTo>
                    <a:pt x="751" y="274"/>
                  </a:lnTo>
                  <a:lnTo>
                    <a:pt x="754" y="274"/>
                  </a:lnTo>
                  <a:lnTo>
                    <a:pt x="756" y="275"/>
                  </a:lnTo>
                  <a:lnTo>
                    <a:pt x="760" y="274"/>
                  </a:lnTo>
                  <a:lnTo>
                    <a:pt x="763" y="272"/>
                  </a:lnTo>
                  <a:lnTo>
                    <a:pt x="767" y="270"/>
                  </a:lnTo>
                  <a:lnTo>
                    <a:pt x="770" y="269"/>
                  </a:lnTo>
                  <a:lnTo>
                    <a:pt x="770" y="272"/>
                  </a:lnTo>
                  <a:lnTo>
                    <a:pt x="770" y="275"/>
                  </a:lnTo>
                  <a:lnTo>
                    <a:pt x="772" y="275"/>
                  </a:lnTo>
                  <a:lnTo>
                    <a:pt x="772" y="274"/>
                  </a:lnTo>
                  <a:lnTo>
                    <a:pt x="771" y="273"/>
                  </a:lnTo>
                  <a:lnTo>
                    <a:pt x="772" y="272"/>
                  </a:lnTo>
                  <a:lnTo>
                    <a:pt x="776" y="272"/>
                  </a:lnTo>
                  <a:lnTo>
                    <a:pt x="778" y="270"/>
                  </a:lnTo>
                  <a:lnTo>
                    <a:pt x="780" y="272"/>
                  </a:lnTo>
                  <a:lnTo>
                    <a:pt x="779" y="273"/>
                  </a:lnTo>
                  <a:lnTo>
                    <a:pt x="782" y="272"/>
                  </a:lnTo>
                  <a:lnTo>
                    <a:pt x="778" y="266"/>
                  </a:lnTo>
                  <a:lnTo>
                    <a:pt x="773" y="266"/>
                  </a:lnTo>
                  <a:lnTo>
                    <a:pt x="770" y="268"/>
                  </a:lnTo>
                  <a:lnTo>
                    <a:pt x="770" y="266"/>
                  </a:lnTo>
                  <a:lnTo>
                    <a:pt x="767" y="264"/>
                  </a:lnTo>
                  <a:lnTo>
                    <a:pt x="766" y="262"/>
                  </a:lnTo>
                  <a:lnTo>
                    <a:pt x="772" y="261"/>
                  </a:lnTo>
                  <a:lnTo>
                    <a:pt x="778" y="262"/>
                  </a:lnTo>
                  <a:lnTo>
                    <a:pt x="782" y="262"/>
                  </a:lnTo>
                  <a:lnTo>
                    <a:pt x="780" y="262"/>
                  </a:lnTo>
                  <a:lnTo>
                    <a:pt x="779" y="264"/>
                  </a:lnTo>
                  <a:lnTo>
                    <a:pt x="782" y="269"/>
                  </a:lnTo>
                  <a:lnTo>
                    <a:pt x="784" y="269"/>
                  </a:lnTo>
                  <a:lnTo>
                    <a:pt x="786" y="269"/>
                  </a:lnTo>
                  <a:lnTo>
                    <a:pt x="786" y="267"/>
                  </a:lnTo>
                  <a:lnTo>
                    <a:pt x="788" y="266"/>
                  </a:lnTo>
                  <a:lnTo>
                    <a:pt x="790" y="264"/>
                  </a:lnTo>
                  <a:lnTo>
                    <a:pt x="790" y="263"/>
                  </a:lnTo>
                  <a:lnTo>
                    <a:pt x="791" y="263"/>
                  </a:lnTo>
                  <a:lnTo>
                    <a:pt x="792" y="266"/>
                  </a:lnTo>
                  <a:lnTo>
                    <a:pt x="795" y="267"/>
                  </a:lnTo>
                  <a:lnTo>
                    <a:pt x="794" y="270"/>
                  </a:lnTo>
                  <a:lnTo>
                    <a:pt x="791" y="273"/>
                  </a:lnTo>
                  <a:lnTo>
                    <a:pt x="794" y="273"/>
                  </a:lnTo>
                  <a:lnTo>
                    <a:pt x="796" y="272"/>
                  </a:lnTo>
                  <a:lnTo>
                    <a:pt x="800" y="269"/>
                  </a:lnTo>
                  <a:lnTo>
                    <a:pt x="803" y="267"/>
                  </a:lnTo>
                  <a:lnTo>
                    <a:pt x="807" y="266"/>
                  </a:lnTo>
                  <a:lnTo>
                    <a:pt x="801" y="274"/>
                  </a:lnTo>
                  <a:lnTo>
                    <a:pt x="797" y="278"/>
                  </a:lnTo>
                  <a:lnTo>
                    <a:pt x="796" y="287"/>
                  </a:lnTo>
                  <a:lnTo>
                    <a:pt x="797" y="288"/>
                  </a:lnTo>
                  <a:lnTo>
                    <a:pt x="798" y="282"/>
                  </a:lnTo>
                  <a:lnTo>
                    <a:pt x="802" y="280"/>
                  </a:lnTo>
                  <a:lnTo>
                    <a:pt x="803" y="278"/>
                  </a:lnTo>
                  <a:lnTo>
                    <a:pt x="804" y="274"/>
                  </a:lnTo>
                  <a:lnTo>
                    <a:pt x="807" y="276"/>
                  </a:lnTo>
                  <a:lnTo>
                    <a:pt x="809" y="278"/>
                  </a:lnTo>
                  <a:lnTo>
                    <a:pt x="809" y="279"/>
                  </a:lnTo>
                  <a:lnTo>
                    <a:pt x="810" y="280"/>
                  </a:lnTo>
                  <a:lnTo>
                    <a:pt x="810" y="281"/>
                  </a:lnTo>
                  <a:lnTo>
                    <a:pt x="810" y="284"/>
                  </a:lnTo>
                  <a:lnTo>
                    <a:pt x="808" y="287"/>
                  </a:lnTo>
                  <a:lnTo>
                    <a:pt x="808" y="290"/>
                  </a:lnTo>
                  <a:lnTo>
                    <a:pt x="810" y="287"/>
                  </a:lnTo>
                  <a:lnTo>
                    <a:pt x="814" y="287"/>
                  </a:lnTo>
                  <a:lnTo>
                    <a:pt x="819" y="287"/>
                  </a:lnTo>
                  <a:lnTo>
                    <a:pt x="821" y="287"/>
                  </a:lnTo>
                  <a:lnTo>
                    <a:pt x="825" y="286"/>
                  </a:lnTo>
                  <a:lnTo>
                    <a:pt x="825" y="288"/>
                  </a:lnTo>
                  <a:lnTo>
                    <a:pt x="827" y="288"/>
                  </a:lnTo>
                  <a:lnTo>
                    <a:pt x="824" y="292"/>
                  </a:lnTo>
                  <a:lnTo>
                    <a:pt x="819" y="293"/>
                  </a:lnTo>
                  <a:lnTo>
                    <a:pt x="814" y="293"/>
                  </a:lnTo>
                  <a:lnTo>
                    <a:pt x="809" y="293"/>
                  </a:lnTo>
                  <a:lnTo>
                    <a:pt x="809" y="297"/>
                  </a:lnTo>
                  <a:lnTo>
                    <a:pt x="812" y="296"/>
                  </a:lnTo>
                  <a:lnTo>
                    <a:pt x="815" y="294"/>
                  </a:lnTo>
                  <a:lnTo>
                    <a:pt x="816" y="296"/>
                  </a:lnTo>
                  <a:lnTo>
                    <a:pt x="819" y="296"/>
                  </a:lnTo>
                  <a:lnTo>
                    <a:pt x="822" y="294"/>
                  </a:lnTo>
                  <a:lnTo>
                    <a:pt x="825" y="297"/>
                  </a:lnTo>
                  <a:lnTo>
                    <a:pt x="826" y="297"/>
                  </a:lnTo>
                  <a:lnTo>
                    <a:pt x="829" y="298"/>
                  </a:lnTo>
                  <a:lnTo>
                    <a:pt x="829" y="296"/>
                  </a:lnTo>
                  <a:lnTo>
                    <a:pt x="829" y="290"/>
                  </a:lnTo>
                  <a:lnTo>
                    <a:pt x="832" y="287"/>
                  </a:lnTo>
                  <a:lnTo>
                    <a:pt x="833" y="284"/>
                  </a:lnTo>
                  <a:lnTo>
                    <a:pt x="831" y="284"/>
                  </a:lnTo>
                  <a:lnTo>
                    <a:pt x="829" y="282"/>
                  </a:lnTo>
                  <a:lnTo>
                    <a:pt x="831" y="281"/>
                  </a:lnTo>
                  <a:lnTo>
                    <a:pt x="832" y="275"/>
                  </a:lnTo>
                  <a:lnTo>
                    <a:pt x="836" y="276"/>
                  </a:lnTo>
                  <a:lnTo>
                    <a:pt x="839" y="273"/>
                  </a:lnTo>
                  <a:lnTo>
                    <a:pt x="839" y="275"/>
                  </a:lnTo>
                  <a:lnTo>
                    <a:pt x="839" y="279"/>
                  </a:lnTo>
                  <a:lnTo>
                    <a:pt x="839" y="280"/>
                  </a:lnTo>
                  <a:lnTo>
                    <a:pt x="841" y="284"/>
                  </a:lnTo>
                  <a:lnTo>
                    <a:pt x="842" y="287"/>
                  </a:lnTo>
                  <a:lnTo>
                    <a:pt x="844" y="290"/>
                  </a:lnTo>
                  <a:lnTo>
                    <a:pt x="845" y="291"/>
                  </a:lnTo>
                  <a:lnTo>
                    <a:pt x="845" y="292"/>
                  </a:lnTo>
                  <a:lnTo>
                    <a:pt x="848" y="293"/>
                  </a:lnTo>
                  <a:lnTo>
                    <a:pt x="851" y="296"/>
                  </a:lnTo>
                  <a:lnTo>
                    <a:pt x="853" y="296"/>
                  </a:lnTo>
                  <a:lnTo>
                    <a:pt x="853" y="293"/>
                  </a:lnTo>
                  <a:lnTo>
                    <a:pt x="855" y="292"/>
                  </a:lnTo>
                  <a:lnTo>
                    <a:pt x="860" y="292"/>
                  </a:lnTo>
                  <a:lnTo>
                    <a:pt x="856" y="296"/>
                  </a:lnTo>
                  <a:lnTo>
                    <a:pt x="855" y="297"/>
                  </a:lnTo>
                  <a:lnTo>
                    <a:pt x="857" y="297"/>
                  </a:lnTo>
                  <a:lnTo>
                    <a:pt x="860" y="298"/>
                  </a:lnTo>
                  <a:lnTo>
                    <a:pt x="862" y="299"/>
                  </a:lnTo>
                  <a:lnTo>
                    <a:pt x="861" y="303"/>
                  </a:lnTo>
                  <a:lnTo>
                    <a:pt x="859" y="306"/>
                  </a:lnTo>
                  <a:lnTo>
                    <a:pt x="859" y="309"/>
                  </a:lnTo>
                  <a:lnTo>
                    <a:pt x="854" y="305"/>
                  </a:lnTo>
                  <a:lnTo>
                    <a:pt x="850" y="308"/>
                  </a:lnTo>
                  <a:lnTo>
                    <a:pt x="849" y="311"/>
                  </a:lnTo>
                  <a:lnTo>
                    <a:pt x="851" y="311"/>
                  </a:lnTo>
                  <a:lnTo>
                    <a:pt x="850" y="314"/>
                  </a:lnTo>
                  <a:lnTo>
                    <a:pt x="848" y="319"/>
                  </a:lnTo>
                  <a:lnTo>
                    <a:pt x="845" y="321"/>
                  </a:lnTo>
                  <a:lnTo>
                    <a:pt x="844" y="320"/>
                  </a:lnTo>
                  <a:lnTo>
                    <a:pt x="844" y="325"/>
                  </a:lnTo>
                  <a:lnTo>
                    <a:pt x="847" y="328"/>
                  </a:lnTo>
                  <a:lnTo>
                    <a:pt x="850" y="327"/>
                  </a:lnTo>
                  <a:lnTo>
                    <a:pt x="855" y="325"/>
                  </a:lnTo>
                  <a:lnTo>
                    <a:pt x="859" y="323"/>
                  </a:lnTo>
                  <a:lnTo>
                    <a:pt x="863" y="322"/>
                  </a:lnTo>
                  <a:lnTo>
                    <a:pt x="857" y="326"/>
                  </a:lnTo>
                  <a:lnTo>
                    <a:pt x="854" y="329"/>
                  </a:lnTo>
                  <a:lnTo>
                    <a:pt x="855" y="331"/>
                  </a:lnTo>
                  <a:lnTo>
                    <a:pt x="855" y="332"/>
                  </a:lnTo>
                  <a:lnTo>
                    <a:pt x="857" y="333"/>
                  </a:lnTo>
                  <a:lnTo>
                    <a:pt x="862" y="332"/>
                  </a:lnTo>
                  <a:lnTo>
                    <a:pt x="868" y="333"/>
                  </a:lnTo>
                  <a:lnTo>
                    <a:pt x="869" y="331"/>
                  </a:lnTo>
                  <a:lnTo>
                    <a:pt x="872" y="327"/>
                  </a:lnTo>
                  <a:lnTo>
                    <a:pt x="874" y="325"/>
                  </a:lnTo>
                  <a:lnTo>
                    <a:pt x="878" y="321"/>
                  </a:lnTo>
                  <a:lnTo>
                    <a:pt x="883" y="321"/>
                  </a:lnTo>
                  <a:lnTo>
                    <a:pt x="881" y="321"/>
                  </a:lnTo>
                  <a:lnTo>
                    <a:pt x="883" y="322"/>
                  </a:lnTo>
                  <a:lnTo>
                    <a:pt x="886" y="322"/>
                  </a:lnTo>
                  <a:lnTo>
                    <a:pt x="886" y="323"/>
                  </a:lnTo>
                  <a:lnTo>
                    <a:pt x="884" y="325"/>
                  </a:lnTo>
                  <a:lnTo>
                    <a:pt x="879" y="326"/>
                  </a:lnTo>
                  <a:lnTo>
                    <a:pt x="878" y="328"/>
                  </a:lnTo>
                  <a:lnTo>
                    <a:pt x="878" y="331"/>
                  </a:lnTo>
                  <a:lnTo>
                    <a:pt x="879" y="333"/>
                  </a:lnTo>
                  <a:lnTo>
                    <a:pt x="881" y="334"/>
                  </a:lnTo>
                  <a:lnTo>
                    <a:pt x="884" y="338"/>
                  </a:lnTo>
                  <a:lnTo>
                    <a:pt x="883" y="340"/>
                  </a:lnTo>
                  <a:lnTo>
                    <a:pt x="885" y="343"/>
                  </a:lnTo>
                  <a:lnTo>
                    <a:pt x="885" y="346"/>
                  </a:lnTo>
                  <a:lnTo>
                    <a:pt x="884" y="347"/>
                  </a:lnTo>
                  <a:lnTo>
                    <a:pt x="883" y="352"/>
                  </a:lnTo>
                  <a:lnTo>
                    <a:pt x="883" y="356"/>
                  </a:lnTo>
                  <a:lnTo>
                    <a:pt x="885" y="357"/>
                  </a:lnTo>
                  <a:lnTo>
                    <a:pt x="886" y="356"/>
                  </a:lnTo>
                  <a:lnTo>
                    <a:pt x="889" y="352"/>
                  </a:lnTo>
                  <a:lnTo>
                    <a:pt x="892" y="350"/>
                  </a:lnTo>
                  <a:lnTo>
                    <a:pt x="889" y="350"/>
                  </a:lnTo>
                  <a:lnTo>
                    <a:pt x="888" y="350"/>
                  </a:lnTo>
                  <a:lnTo>
                    <a:pt x="888" y="349"/>
                  </a:lnTo>
                  <a:lnTo>
                    <a:pt x="889" y="347"/>
                  </a:lnTo>
                  <a:lnTo>
                    <a:pt x="894" y="345"/>
                  </a:lnTo>
                  <a:lnTo>
                    <a:pt x="897" y="345"/>
                  </a:lnTo>
                  <a:lnTo>
                    <a:pt x="898" y="341"/>
                  </a:lnTo>
                  <a:lnTo>
                    <a:pt x="898" y="337"/>
                  </a:lnTo>
                  <a:lnTo>
                    <a:pt x="903" y="333"/>
                  </a:lnTo>
                  <a:lnTo>
                    <a:pt x="901" y="340"/>
                  </a:lnTo>
                  <a:lnTo>
                    <a:pt x="902" y="343"/>
                  </a:lnTo>
                  <a:lnTo>
                    <a:pt x="904" y="341"/>
                  </a:lnTo>
                  <a:lnTo>
                    <a:pt x="902" y="345"/>
                  </a:lnTo>
                  <a:lnTo>
                    <a:pt x="901" y="350"/>
                  </a:lnTo>
                  <a:lnTo>
                    <a:pt x="902" y="352"/>
                  </a:lnTo>
                  <a:lnTo>
                    <a:pt x="902" y="353"/>
                  </a:lnTo>
                  <a:lnTo>
                    <a:pt x="902" y="356"/>
                  </a:lnTo>
                  <a:lnTo>
                    <a:pt x="904" y="362"/>
                  </a:lnTo>
                  <a:lnTo>
                    <a:pt x="901" y="365"/>
                  </a:lnTo>
                  <a:lnTo>
                    <a:pt x="897" y="365"/>
                  </a:lnTo>
                  <a:lnTo>
                    <a:pt x="891" y="364"/>
                  </a:lnTo>
                  <a:lnTo>
                    <a:pt x="886" y="364"/>
                  </a:lnTo>
                  <a:lnTo>
                    <a:pt x="879" y="367"/>
                  </a:lnTo>
                  <a:lnTo>
                    <a:pt x="877" y="370"/>
                  </a:lnTo>
                  <a:lnTo>
                    <a:pt x="880" y="369"/>
                  </a:lnTo>
                  <a:lnTo>
                    <a:pt x="886" y="370"/>
                  </a:lnTo>
                  <a:lnTo>
                    <a:pt x="886" y="374"/>
                  </a:lnTo>
                  <a:lnTo>
                    <a:pt x="889" y="374"/>
                  </a:lnTo>
                  <a:lnTo>
                    <a:pt x="891" y="375"/>
                  </a:lnTo>
                  <a:lnTo>
                    <a:pt x="895" y="376"/>
                  </a:lnTo>
                  <a:lnTo>
                    <a:pt x="898" y="377"/>
                  </a:lnTo>
                  <a:lnTo>
                    <a:pt x="902" y="377"/>
                  </a:lnTo>
                  <a:lnTo>
                    <a:pt x="904" y="376"/>
                  </a:lnTo>
                  <a:lnTo>
                    <a:pt x="906" y="379"/>
                  </a:lnTo>
                  <a:lnTo>
                    <a:pt x="906" y="381"/>
                  </a:lnTo>
                  <a:lnTo>
                    <a:pt x="904" y="382"/>
                  </a:lnTo>
                  <a:lnTo>
                    <a:pt x="901" y="383"/>
                  </a:lnTo>
                  <a:lnTo>
                    <a:pt x="906" y="387"/>
                  </a:lnTo>
                  <a:lnTo>
                    <a:pt x="902" y="387"/>
                  </a:lnTo>
                  <a:lnTo>
                    <a:pt x="902" y="388"/>
                  </a:lnTo>
                  <a:lnTo>
                    <a:pt x="901" y="392"/>
                  </a:lnTo>
                  <a:lnTo>
                    <a:pt x="900" y="393"/>
                  </a:lnTo>
                  <a:lnTo>
                    <a:pt x="897" y="392"/>
                  </a:lnTo>
                  <a:lnTo>
                    <a:pt x="898" y="397"/>
                  </a:lnTo>
                  <a:lnTo>
                    <a:pt x="896" y="395"/>
                  </a:lnTo>
                  <a:lnTo>
                    <a:pt x="894" y="399"/>
                  </a:lnTo>
                  <a:lnTo>
                    <a:pt x="891" y="398"/>
                  </a:lnTo>
                  <a:lnTo>
                    <a:pt x="891" y="399"/>
                  </a:lnTo>
                  <a:lnTo>
                    <a:pt x="889" y="401"/>
                  </a:lnTo>
                  <a:lnTo>
                    <a:pt x="888" y="401"/>
                  </a:lnTo>
                  <a:lnTo>
                    <a:pt x="884" y="399"/>
                  </a:lnTo>
                  <a:lnTo>
                    <a:pt x="883" y="400"/>
                  </a:lnTo>
                  <a:lnTo>
                    <a:pt x="881" y="397"/>
                  </a:lnTo>
                  <a:lnTo>
                    <a:pt x="880" y="399"/>
                  </a:lnTo>
                  <a:lnTo>
                    <a:pt x="881" y="401"/>
                  </a:lnTo>
                  <a:lnTo>
                    <a:pt x="885" y="401"/>
                  </a:lnTo>
                  <a:lnTo>
                    <a:pt x="889" y="405"/>
                  </a:lnTo>
                  <a:lnTo>
                    <a:pt x="891" y="412"/>
                  </a:lnTo>
                  <a:lnTo>
                    <a:pt x="890" y="415"/>
                  </a:lnTo>
                  <a:lnTo>
                    <a:pt x="888" y="410"/>
                  </a:lnTo>
                  <a:lnTo>
                    <a:pt x="885" y="406"/>
                  </a:lnTo>
                  <a:lnTo>
                    <a:pt x="883" y="409"/>
                  </a:lnTo>
                  <a:lnTo>
                    <a:pt x="881" y="410"/>
                  </a:lnTo>
                  <a:lnTo>
                    <a:pt x="880" y="407"/>
                  </a:lnTo>
                  <a:lnTo>
                    <a:pt x="879" y="407"/>
                  </a:lnTo>
                  <a:lnTo>
                    <a:pt x="879" y="405"/>
                  </a:lnTo>
                  <a:lnTo>
                    <a:pt x="879" y="403"/>
                  </a:lnTo>
                  <a:lnTo>
                    <a:pt x="875" y="405"/>
                  </a:lnTo>
                  <a:lnTo>
                    <a:pt x="873" y="407"/>
                  </a:lnTo>
                  <a:lnTo>
                    <a:pt x="872" y="406"/>
                  </a:lnTo>
                  <a:lnTo>
                    <a:pt x="869" y="409"/>
                  </a:lnTo>
                  <a:lnTo>
                    <a:pt x="868" y="411"/>
                  </a:lnTo>
                  <a:lnTo>
                    <a:pt x="866" y="405"/>
                  </a:lnTo>
                  <a:lnTo>
                    <a:pt x="866" y="400"/>
                  </a:lnTo>
                  <a:lnTo>
                    <a:pt x="863" y="401"/>
                  </a:lnTo>
                  <a:lnTo>
                    <a:pt x="862" y="399"/>
                  </a:lnTo>
                  <a:lnTo>
                    <a:pt x="863" y="393"/>
                  </a:lnTo>
                  <a:lnTo>
                    <a:pt x="863" y="389"/>
                  </a:lnTo>
                  <a:lnTo>
                    <a:pt x="860" y="391"/>
                  </a:lnTo>
                  <a:lnTo>
                    <a:pt x="854" y="395"/>
                  </a:lnTo>
                  <a:lnTo>
                    <a:pt x="847" y="400"/>
                  </a:lnTo>
                  <a:lnTo>
                    <a:pt x="847" y="403"/>
                  </a:lnTo>
                  <a:lnTo>
                    <a:pt x="848" y="403"/>
                  </a:lnTo>
                  <a:lnTo>
                    <a:pt x="848" y="405"/>
                  </a:lnTo>
                  <a:lnTo>
                    <a:pt x="847" y="407"/>
                  </a:lnTo>
                  <a:lnTo>
                    <a:pt x="851" y="413"/>
                  </a:lnTo>
                  <a:lnTo>
                    <a:pt x="854" y="415"/>
                  </a:lnTo>
                  <a:lnTo>
                    <a:pt x="862" y="423"/>
                  </a:lnTo>
                  <a:lnTo>
                    <a:pt x="865" y="421"/>
                  </a:lnTo>
                  <a:lnTo>
                    <a:pt x="866" y="418"/>
                  </a:lnTo>
                  <a:lnTo>
                    <a:pt x="867" y="415"/>
                  </a:lnTo>
                  <a:lnTo>
                    <a:pt x="869" y="415"/>
                  </a:lnTo>
                  <a:lnTo>
                    <a:pt x="871" y="416"/>
                  </a:lnTo>
                  <a:lnTo>
                    <a:pt x="871" y="419"/>
                  </a:lnTo>
                  <a:lnTo>
                    <a:pt x="877" y="422"/>
                  </a:lnTo>
                  <a:lnTo>
                    <a:pt x="875" y="428"/>
                  </a:lnTo>
                  <a:lnTo>
                    <a:pt x="877" y="433"/>
                  </a:lnTo>
                  <a:lnTo>
                    <a:pt x="886" y="433"/>
                  </a:lnTo>
                  <a:lnTo>
                    <a:pt x="886" y="429"/>
                  </a:lnTo>
                  <a:lnTo>
                    <a:pt x="884" y="429"/>
                  </a:lnTo>
                  <a:lnTo>
                    <a:pt x="888" y="424"/>
                  </a:lnTo>
                  <a:lnTo>
                    <a:pt x="894" y="423"/>
                  </a:lnTo>
                  <a:lnTo>
                    <a:pt x="896" y="419"/>
                  </a:lnTo>
                  <a:lnTo>
                    <a:pt x="898" y="421"/>
                  </a:lnTo>
                  <a:lnTo>
                    <a:pt x="897" y="425"/>
                  </a:lnTo>
                  <a:lnTo>
                    <a:pt x="892" y="429"/>
                  </a:lnTo>
                  <a:lnTo>
                    <a:pt x="889" y="433"/>
                  </a:lnTo>
                  <a:lnTo>
                    <a:pt x="888" y="434"/>
                  </a:lnTo>
                  <a:lnTo>
                    <a:pt x="878" y="435"/>
                  </a:lnTo>
                  <a:lnTo>
                    <a:pt x="877" y="438"/>
                  </a:lnTo>
                  <a:lnTo>
                    <a:pt x="874" y="438"/>
                  </a:lnTo>
                  <a:lnTo>
                    <a:pt x="874" y="441"/>
                  </a:lnTo>
                  <a:lnTo>
                    <a:pt x="878" y="441"/>
                  </a:lnTo>
                  <a:lnTo>
                    <a:pt x="875" y="447"/>
                  </a:lnTo>
                  <a:lnTo>
                    <a:pt x="874" y="448"/>
                  </a:lnTo>
                  <a:lnTo>
                    <a:pt x="872" y="445"/>
                  </a:lnTo>
                  <a:lnTo>
                    <a:pt x="871" y="440"/>
                  </a:lnTo>
                  <a:lnTo>
                    <a:pt x="871" y="436"/>
                  </a:lnTo>
                  <a:lnTo>
                    <a:pt x="868" y="439"/>
                  </a:lnTo>
                  <a:lnTo>
                    <a:pt x="868" y="442"/>
                  </a:lnTo>
                  <a:lnTo>
                    <a:pt x="863" y="445"/>
                  </a:lnTo>
                  <a:lnTo>
                    <a:pt x="862" y="442"/>
                  </a:lnTo>
                  <a:lnTo>
                    <a:pt x="861" y="436"/>
                  </a:lnTo>
                  <a:lnTo>
                    <a:pt x="859" y="440"/>
                  </a:lnTo>
                  <a:lnTo>
                    <a:pt x="856" y="445"/>
                  </a:lnTo>
                  <a:lnTo>
                    <a:pt x="854" y="447"/>
                  </a:lnTo>
                  <a:lnTo>
                    <a:pt x="853" y="444"/>
                  </a:lnTo>
                  <a:lnTo>
                    <a:pt x="851" y="440"/>
                  </a:lnTo>
                  <a:lnTo>
                    <a:pt x="853" y="435"/>
                  </a:lnTo>
                  <a:lnTo>
                    <a:pt x="850" y="434"/>
                  </a:lnTo>
                  <a:lnTo>
                    <a:pt x="848" y="435"/>
                  </a:lnTo>
                  <a:lnTo>
                    <a:pt x="843" y="436"/>
                  </a:lnTo>
                  <a:lnTo>
                    <a:pt x="844" y="433"/>
                  </a:lnTo>
                  <a:lnTo>
                    <a:pt x="845" y="428"/>
                  </a:lnTo>
                  <a:lnTo>
                    <a:pt x="842" y="428"/>
                  </a:lnTo>
                  <a:lnTo>
                    <a:pt x="843" y="424"/>
                  </a:lnTo>
                  <a:lnTo>
                    <a:pt x="843" y="422"/>
                  </a:lnTo>
                  <a:lnTo>
                    <a:pt x="842" y="419"/>
                  </a:lnTo>
                  <a:lnTo>
                    <a:pt x="841" y="419"/>
                  </a:lnTo>
                  <a:lnTo>
                    <a:pt x="838" y="423"/>
                  </a:lnTo>
                  <a:lnTo>
                    <a:pt x="837" y="422"/>
                  </a:lnTo>
                  <a:lnTo>
                    <a:pt x="838" y="417"/>
                  </a:lnTo>
                  <a:lnTo>
                    <a:pt x="835" y="418"/>
                  </a:lnTo>
                  <a:lnTo>
                    <a:pt x="833" y="422"/>
                  </a:lnTo>
                  <a:lnTo>
                    <a:pt x="833" y="424"/>
                  </a:lnTo>
                  <a:lnTo>
                    <a:pt x="835" y="428"/>
                  </a:lnTo>
                  <a:lnTo>
                    <a:pt x="835" y="432"/>
                  </a:lnTo>
                  <a:lnTo>
                    <a:pt x="833" y="433"/>
                  </a:lnTo>
                  <a:lnTo>
                    <a:pt x="836" y="435"/>
                  </a:lnTo>
                  <a:lnTo>
                    <a:pt x="836" y="441"/>
                  </a:lnTo>
                  <a:lnTo>
                    <a:pt x="835" y="442"/>
                  </a:lnTo>
                  <a:lnTo>
                    <a:pt x="835" y="444"/>
                  </a:lnTo>
                  <a:lnTo>
                    <a:pt x="838" y="446"/>
                  </a:lnTo>
                  <a:lnTo>
                    <a:pt x="837" y="446"/>
                  </a:lnTo>
                  <a:lnTo>
                    <a:pt x="836" y="447"/>
                  </a:lnTo>
                  <a:lnTo>
                    <a:pt x="842" y="451"/>
                  </a:lnTo>
                  <a:lnTo>
                    <a:pt x="842" y="452"/>
                  </a:lnTo>
                  <a:lnTo>
                    <a:pt x="843" y="452"/>
                  </a:lnTo>
                  <a:lnTo>
                    <a:pt x="845" y="447"/>
                  </a:lnTo>
                  <a:lnTo>
                    <a:pt x="849" y="446"/>
                  </a:lnTo>
                  <a:lnTo>
                    <a:pt x="851" y="451"/>
                  </a:lnTo>
                  <a:lnTo>
                    <a:pt x="855" y="452"/>
                  </a:lnTo>
                  <a:lnTo>
                    <a:pt x="851" y="454"/>
                  </a:lnTo>
                  <a:lnTo>
                    <a:pt x="856" y="456"/>
                  </a:lnTo>
                  <a:lnTo>
                    <a:pt x="855" y="458"/>
                  </a:lnTo>
                  <a:lnTo>
                    <a:pt x="851" y="459"/>
                  </a:lnTo>
                  <a:lnTo>
                    <a:pt x="844" y="456"/>
                  </a:lnTo>
                  <a:lnTo>
                    <a:pt x="841" y="457"/>
                  </a:lnTo>
                  <a:lnTo>
                    <a:pt x="839" y="456"/>
                  </a:lnTo>
                  <a:lnTo>
                    <a:pt x="835" y="454"/>
                  </a:lnTo>
                  <a:lnTo>
                    <a:pt x="830" y="457"/>
                  </a:lnTo>
                  <a:lnTo>
                    <a:pt x="825" y="462"/>
                  </a:lnTo>
                  <a:lnTo>
                    <a:pt x="824" y="457"/>
                  </a:lnTo>
                  <a:lnTo>
                    <a:pt x="820" y="462"/>
                  </a:lnTo>
                  <a:lnTo>
                    <a:pt x="820" y="456"/>
                  </a:lnTo>
                  <a:lnTo>
                    <a:pt x="814" y="453"/>
                  </a:lnTo>
                  <a:lnTo>
                    <a:pt x="814" y="457"/>
                  </a:lnTo>
                  <a:lnTo>
                    <a:pt x="815" y="459"/>
                  </a:lnTo>
                  <a:lnTo>
                    <a:pt x="813" y="459"/>
                  </a:lnTo>
                  <a:lnTo>
                    <a:pt x="812" y="460"/>
                  </a:lnTo>
                  <a:lnTo>
                    <a:pt x="812" y="463"/>
                  </a:lnTo>
                  <a:lnTo>
                    <a:pt x="814" y="465"/>
                  </a:lnTo>
                  <a:lnTo>
                    <a:pt x="812" y="466"/>
                  </a:lnTo>
                  <a:lnTo>
                    <a:pt x="810" y="469"/>
                  </a:lnTo>
                  <a:lnTo>
                    <a:pt x="809" y="465"/>
                  </a:lnTo>
                  <a:lnTo>
                    <a:pt x="808" y="460"/>
                  </a:lnTo>
                  <a:lnTo>
                    <a:pt x="807" y="463"/>
                  </a:lnTo>
                  <a:lnTo>
                    <a:pt x="807" y="459"/>
                  </a:lnTo>
                  <a:lnTo>
                    <a:pt x="804" y="460"/>
                  </a:lnTo>
                  <a:lnTo>
                    <a:pt x="803" y="463"/>
                  </a:lnTo>
                  <a:lnTo>
                    <a:pt x="802" y="462"/>
                  </a:lnTo>
                  <a:lnTo>
                    <a:pt x="801" y="462"/>
                  </a:lnTo>
                  <a:lnTo>
                    <a:pt x="798" y="459"/>
                  </a:lnTo>
                  <a:lnTo>
                    <a:pt x="796" y="459"/>
                  </a:lnTo>
                  <a:lnTo>
                    <a:pt x="796" y="457"/>
                  </a:lnTo>
                  <a:lnTo>
                    <a:pt x="794" y="456"/>
                  </a:lnTo>
                  <a:lnTo>
                    <a:pt x="791" y="459"/>
                  </a:lnTo>
                  <a:lnTo>
                    <a:pt x="788" y="463"/>
                  </a:lnTo>
                  <a:lnTo>
                    <a:pt x="785" y="466"/>
                  </a:lnTo>
                  <a:lnTo>
                    <a:pt x="785" y="469"/>
                  </a:lnTo>
                  <a:lnTo>
                    <a:pt x="784" y="464"/>
                  </a:lnTo>
                  <a:lnTo>
                    <a:pt x="780" y="463"/>
                  </a:lnTo>
                  <a:lnTo>
                    <a:pt x="777" y="464"/>
                  </a:lnTo>
                  <a:lnTo>
                    <a:pt x="774" y="465"/>
                  </a:lnTo>
                  <a:lnTo>
                    <a:pt x="774" y="463"/>
                  </a:lnTo>
                  <a:lnTo>
                    <a:pt x="768" y="464"/>
                  </a:lnTo>
                  <a:lnTo>
                    <a:pt x="766" y="466"/>
                  </a:lnTo>
                  <a:lnTo>
                    <a:pt x="765" y="471"/>
                  </a:lnTo>
                  <a:lnTo>
                    <a:pt x="763" y="470"/>
                  </a:lnTo>
                  <a:lnTo>
                    <a:pt x="762" y="466"/>
                  </a:lnTo>
                  <a:lnTo>
                    <a:pt x="761" y="469"/>
                  </a:lnTo>
                  <a:lnTo>
                    <a:pt x="760" y="471"/>
                  </a:lnTo>
                  <a:lnTo>
                    <a:pt x="760" y="474"/>
                  </a:lnTo>
                  <a:lnTo>
                    <a:pt x="762" y="474"/>
                  </a:lnTo>
                  <a:lnTo>
                    <a:pt x="760" y="477"/>
                  </a:lnTo>
                  <a:lnTo>
                    <a:pt x="762" y="478"/>
                  </a:lnTo>
                  <a:lnTo>
                    <a:pt x="763" y="480"/>
                  </a:lnTo>
                  <a:lnTo>
                    <a:pt x="766" y="480"/>
                  </a:lnTo>
                  <a:lnTo>
                    <a:pt x="767" y="478"/>
                  </a:lnTo>
                  <a:lnTo>
                    <a:pt x="770" y="480"/>
                  </a:lnTo>
                  <a:lnTo>
                    <a:pt x="771" y="477"/>
                  </a:lnTo>
                  <a:lnTo>
                    <a:pt x="771" y="472"/>
                  </a:lnTo>
                  <a:lnTo>
                    <a:pt x="774" y="475"/>
                  </a:lnTo>
                  <a:lnTo>
                    <a:pt x="777" y="478"/>
                  </a:lnTo>
                  <a:lnTo>
                    <a:pt x="780" y="478"/>
                  </a:lnTo>
                  <a:lnTo>
                    <a:pt x="782" y="482"/>
                  </a:lnTo>
                  <a:lnTo>
                    <a:pt x="779" y="482"/>
                  </a:lnTo>
                  <a:lnTo>
                    <a:pt x="778" y="482"/>
                  </a:lnTo>
                  <a:lnTo>
                    <a:pt x="778" y="483"/>
                  </a:lnTo>
                  <a:lnTo>
                    <a:pt x="780" y="487"/>
                  </a:lnTo>
                  <a:lnTo>
                    <a:pt x="778" y="486"/>
                  </a:lnTo>
                  <a:lnTo>
                    <a:pt x="776" y="486"/>
                  </a:lnTo>
                  <a:lnTo>
                    <a:pt x="774" y="487"/>
                  </a:lnTo>
                  <a:lnTo>
                    <a:pt x="777" y="489"/>
                  </a:lnTo>
                  <a:lnTo>
                    <a:pt x="779" y="490"/>
                  </a:lnTo>
                  <a:lnTo>
                    <a:pt x="782" y="489"/>
                  </a:lnTo>
                  <a:lnTo>
                    <a:pt x="783" y="487"/>
                  </a:lnTo>
                  <a:lnTo>
                    <a:pt x="784" y="490"/>
                  </a:lnTo>
                  <a:lnTo>
                    <a:pt x="783" y="494"/>
                  </a:lnTo>
                  <a:lnTo>
                    <a:pt x="780" y="494"/>
                  </a:lnTo>
                  <a:lnTo>
                    <a:pt x="778" y="495"/>
                  </a:lnTo>
                  <a:lnTo>
                    <a:pt x="779" y="496"/>
                  </a:lnTo>
                  <a:lnTo>
                    <a:pt x="783" y="496"/>
                  </a:lnTo>
                  <a:lnTo>
                    <a:pt x="785" y="498"/>
                  </a:lnTo>
                  <a:lnTo>
                    <a:pt x="789" y="499"/>
                  </a:lnTo>
                  <a:lnTo>
                    <a:pt x="790" y="500"/>
                  </a:lnTo>
                  <a:lnTo>
                    <a:pt x="790" y="501"/>
                  </a:lnTo>
                  <a:lnTo>
                    <a:pt x="790" y="506"/>
                  </a:lnTo>
                  <a:lnTo>
                    <a:pt x="792" y="508"/>
                  </a:lnTo>
                  <a:lnTo>
                    <a:pt x="795" y="508"/>
                  </a:lnTo>
                  <a:lnTo>
                    <a:pt x="797" y="508"/>
                  </a:lnTo>
                  <a:lnTo>
                    <a:pt x="800" y="510"/>
                  </a:lnTo>
                  <a:lnTo>
                    <a:pt x="801" y="508"/>
                  </a:lnTo>
                  <a:lnTo>
                    <a:pt x="801" y="505"/>
                  </a:lnTo>
                  <a:lnTo>
                    <a:pt x="803" y="502"/>
                  </a:lnTo>
                  <a:lnTo>
                    <a:pt x="804" y="501"/>
                  </a:lnTo>
                  <a:lnTo>
                    <a:pt x="809" y="501"/>
                  </a:lnTo>
                  <a:lnTo>
                    <a:pt x="807" y="505"/>
                  </a:lnTo>
                  <a:lnTo>
                    <a:pt x="806" y="506"/>
                  </a:lnTo>
                  <a:lnTo>
                    <a:pt x="807" y="506"/>
                  </a:lnTo>
                  <a:lnTo>
                    <a:pt x="808" y="506"/>
                  </a:lnTo>
                  <a:lnTo>
                    <a:pt x="807" y="510"/>
                  </a:lnTo>
                  <a:lnTo>
                    <a:pt x="809" y="514"/>
                  </a:lnTo>
                  <a:lnTo>
                    <a:pt x="810" y="518"/>
                  </a:lnTo>
                  <a:lnTo>
                    <a:pt x="810" y="519"/>
                  </a:lnTo>
                  <a:lnTo>
                    <a:pt x="812" y="516"/>
                  </a:lnTo>
                  <a:lnTo>
                    <a:pt x="814" y="519"/>
                  </a:lnTo>
                  <a:lnTo>
                    <a:pt x="814" y="525"/>
                  </a:lnTo>
                  <a:lnTo>
                    <a:pt x="813" y="530"/>
                  </a:lnTo>
                  <a:lnTo>
                    <a:pt x="816" y="530"/>
                  </a:lnTo>
                  <a:lnTo>
                    <a:pt x="819" y="528"/>
                  </a:lnTo>
                  <a:lnTo>
                    <a:pt x="821" y="528"/>
                  </a:lnTo>
                  <a:lnTo>
                    <a:pt x="824" y="530"/>
                  </a:lnTo>
                  <a:lnTo>
                    <a:pt x="827" y="530"/>
                  </a:lnTo>
                  <a:lnTo>
                    <a:pt x="825" y="529"/>
                  </a:lnTo>
                  <a:lnTo>
                    <a:pt x="827" y="528"/>
                  </a:lnTo>
                  <a:lnTo>
                    <a:pt x="829" y="526"/>
                  </a:lnTo>
                  <a:lnTo>
                    <a:pt x="830" y="525"/>
                  </a:lnTo>
                  <a:lnTo>
                    <a:pt x="832" y="526"/>
                  </a:lnTo>
                  <a:lnTo>
                    <a:pt x="833" y="529"/>
                  </a:lnTo>
                  <a:lnTo>
                    <a:pt x="832" y="530"/>
                  </a:lnTo>
                  <a:lnTo>
                    <a:pt x="832" y="531"/>
                  </a:lnTo>
                  <a:lnTo>
                    <a:pt x="836" y="532"/>
                  </a:lnTo>
                  <a:lnTo>
                    <a:pt x="842" y="537"/>
                  </a:lnTo>
                  <a:lnTo>
                    <a:pt x="839" y="537"/>
                  </a:lnTo>
                  <a:lnTo>
                    <a:pt x="838" y="540"/>
                  </a:lnTo>
                  <a:lnTo>
                    <a:pt x="841" y="542"/>
                  </a:lnTo>
                  <a:lnTo>
                    <a:pt x="842" y="542"/>
                  </a:lnTo>
                  <a:lnTo>
                    <a:pt x="842" y="551"/>
                  </a:lnTo>
                  <a:lnTo>
                    <a:pt x="839" y="555"/>
                  </a:lnTo>
                  <a:lnTo>
                    <a:pt x="836" y="554"/>
                  </a:lnTo>
                  <a:lnTo>
                    <a:pt x="836" y="557"/>
                  </a:lnTo>
                  <a:lnTo>
                    <a:pt x="833" y="561"/>
                  </a:lnTo>
                  <a:lnTo>
                    <a:pt x="830" y="564"/>
                  </a:lnTo>
                  <a:lnTo>
                    <a:pt x="825" y="564"/>
                  </a:lnTo>
                  <a:lnTo>
                    <a:pt x="824" y="567"/>
                  </a:lnTo>
                  <a:lnTo>
                    <a:pt x="821" y="567"/>
                  </a:lnTo>
                  <a:lnTo>
                    <a:pt x="819" y="569"/>
                  </a:lnTo>
                  <a:lnTo>
                    <a:pt x="824" y="572"/>
                  </a:lnTo>
                  <a:lnTo>
                    <a:pt x="827" y="575"/>
                  </a:lnTo>
                  <a:lnTo>
                    <a:pt x="833" y="575"/>
                  </a:lnTo>
                  <a:lnTo>
                    <a:pt x="841" y="575"/>
                  </a:lnTo>
                  <a:lnTo>
                    <a:pt x="843" y="577"/>
                  </a:lnTo>
                  <a:lnTo>
                    <a:pt x="847" y="581"/>
                  </a:lnTo>
                  <a:lnTo>
                    <a:pt x="848" y="587"/>
                  </a:lnTo>
                  <a:lnTo>
                    <a:pt x="844" y="584"/>
                  </a:lnTo>
                  <a:lnTo>
                    <a:pt x="841" y="582"/>
                  </a:lnTo>
                  <a:lnTo>
                    <a:pt x="836" y="581"/>
                  </a:lnTo>
                  <a:lnTo>
                    <a:pt x="835" y="579"/>
                  </a:lnTo>
                  <a:lnTo>
                    <a:pt x="835" y="577"/>
                  </a:lnTo>
                  <a:lnTo>
                    <a:pt x="829" y="576"/>
                  </a:lnTo>
                  <a:lnTo>
                    <a:pt x="822" y="573"/>
                  </a:lnTo>
                  <a:lnTo>
                    <a:pt x="821" y="573"/>
                  </a:lnTo>
                  <a:lnTo>
                    <a:pt x="820" y="576"/>
                  </a:lnTo>
                  <a:lnTo>
                    <a:pt x="820" y="578"/>
                  </a:lnTo>
                  <a:lnTo>
                    <a:pt x="819" y="579"/>
                  </a:lnTo>
                  <a:lnTo>
                    <a:pt x="818" y="582"/>
                  </a:lnTo>
                  <a:lnTo>
                    <a:pt x="815" y="585"/>
                  </a:lnTo>
                  <a:lnTo>
                    <a:pt x="813" y="585"/>
                  </a:lnTo>
                  <a:lnTo>
                    <a:pt x="810" y="588"/>
                  </a:lnTo>
                  <a:lnTo>
                    <a:pt x="809" y="589"/>
                  </a:lnTo>
                  <a:lnTo>
                    <a:pt x="810" y="582"/>
                  </a:lnTo>
                  <a:lnTo>
                    <a:pt x="810" y="578"/>
                  </a:lnTo>
                  <a:lnTo>
                    <a:pt x="812" y="573"/>
                  </a:lnTo>
                  <a:lnTo>
                    <a:pt x="816" y="572"/>
                  </a:lnTo>
                  <a:lnTo>
                    <a:pt x="816" y="569"/>
                  </a:lnTo>
                  <a:lnTo>
                    <a:pt x="813" y="569"/>
                  </a:lnTo>
                  <a:lnTo>
                    <a:pt x="812" y="570"/>
                  </a:lnTo>
                  <a:lnTo>
                    <a:pt x="810" y="573"/>
                  </a:lnTo>
                  <a:lnTo>
                    <a:pt x="809" y="576"/>
                  </a:lnTo>
                  <a:lnTo>
                    <a:pt x="807" y="578"/>
                  </a:lnTo>
                  <a:lnTo>
                    <a:pt x="808" y="572"/>
                  </a:lnTo>
                  <a:lnTo>
                    <a:pt x="809" y="569"/>
                  </a:lnTo>
                  <a:lnTo>
                    <a:pt x="808" y="567"/>
                  </a:lnTo>
                  <a:lnTo>
                    <a:pt x="806" y="569"/>
                  </a:lnTo>
                  <a:lnTo>
                    <a:pt x="806" y="571"/>
                  </a:lnTo>
                  <a:lnTo>
                    <a:pt x="803" y="573"/>
                  </a:lnTo>
                  <a:lnTo>
                    <a:pt x="802" y="573"/>
                  </a:lnTo>
                  <a:lnTo>
                    <a:pt x="801" y="570"/>
                  </a:lnTo>
                  <a:lnTo>
                    <a:pt x="800" y="567"/>
                  </a:lnTo>
                  <a:lnTo>
                    <a:pt x="798" y="566"/>
                  </a:lnTo>
                  <a:lnTo>
                    <a:pt x="796" y="565"/>
                  </a:lnTo>
                  <a:lnTo>
                    <a:pt x="795" y="565"/>
                  </a:lnTo>
                  <a:lnTo>
                    <a:pt x="791" y="563"/>
                  </a:lnTo>
                  <a:lnTo>
                    <a:pt x="792" y="560"/>
                  </a:lnTo>
                  <a:lnTo>
                    <a:pt x="789" y="561"/>
                  </a:lnTo>
                  <a:lnTo>
                    <a:pt x="786" y="564"/>
                  </a:lnTo>
                  <a:lnTo>
                    <a:pt x="786" y="560"/>
                  </a:lnTo>
                  <a:lnTo>
                    <a:pt x="788" y="557"/>
                  </a:lnTo>
                  <a:lnTo>
                    <a:pt x="786" y="555"/>
                  </a:lnTo>
                  <a:lnTo>
                    <a:pt x="783" y="555"/>
                  </a:lnTo>
                  <a:lnTo>
                    <a:pt x="780" y="554"/>
                  </a:lnTo>
                  <a:lnTo>
                    <a:pt x="780" y="551"/>
                  </a:lnTo>
                  <a:lnTo>
                    <a:pt x="778" y="551"/>
                  </a:lnTo>
                  <a:lnTo>
                    <a:pt x="776" y="552"/>
                  </a:lnTo>
                  <a:lnTo>
                    <a:pt x="774" y="551"/>
                  </a:lnTo>
                  <a:lnTo>
                    <a:pt x="774" y="549"/>
                  </a:lnTo>
                  <a:lnTo>
                    <a:pt x="779" y="548"/>
                  </a:lnTo>
                  <a:lnTo>
                    <a:pt x="780" y="548"/>
                  </a:lnTo>
                  <a:lnTo>
                    <a:pt x="779" y="547"/>
                  </a:lnTo>
                  <a:lnTo>
                    <a:pt x="776" y="545"/>
                  </a:lnTo>
                  <a:lnTo>
                    <a:pt x="778" y="542"/>
                  </a:lnTo>
                  <a:lnTo>
                    <a:pt x="776" y="543"/>
                  </a:lnTo>
                  <a:lnTo>
                    <a:pt x="773" y="542"/>
                  </a:lnTo>
                  <a:lnTo>
                    <a:pt x="772" y="539"/>
                  </a:lnTo>
                  <a:lnTo>
                    <a:pt x="767" y="539"/>
                  </a:lnTo>
                  <a:lnTo>
                    <a:pt x="768" y="546"/>
                  </a:lnTo>
                  <a:lnTo>
                    <a:pt x="770" y="559"/>
                  </a:lnTo>
                  <a:lnTo>
                    <a:pt x="771" y="560"/>
                  </a:lnTo>
                  <a:lnTo>
                    <a:pt x="771" y="564"/>
                  </a:lnTo>
                  <a:lnTo>
                    <a:pt x="771" y="569"/>
                  </a:lnTo>
                  <a:lnTo>
                    <a:pt x="770" y="566"/>
                  </a:lnTo>
                  <a:lnTo>
                    <a:pt x="768" y="561"/>
                  </a:lnTo>
                  <a:lnTo>
                    <a:pt x="767" y="554"/>
                  </a:lnTo>
                  <a:lnTo>
                    <a:pt x="765" y="557"/>
                  </a:lnTo>
                  <a:lnTo>
                    <a:pt x="761" y="563"/>
                  </a:lnTo>
                  <a:lnTo>
                    <a:pt x="761" y="566"/>
                  </a:lnTo>
                  <a:lnTo>
                    <a:pt x="762" y="569"/>
                  </a:lnTo>
                  <a:lnTo>
                    <a:pt x="762" y="571"/>
                  </a:lnTo>
                  <a:lnTo>
                    <a:pt x="760" y="576"/>
                  </a:lnTo>
                  <a:lnTo>
                    <a:pt x="753" y="581"/>
                  </a:lnTo>
                  <a:lnTo>
                    <a:pt x="751" y="584"/>
                  </a:lnTo>
                  <a:lnTo>
                    <a:pt x="759" y="593"/>
                  </a:lnTo>
                  <a:lnTo>
                    <a:pt x="763" y="595"/>
                  </a:lnTo>
                  <a:lnTo>
                    <a:pt x="763" y="593"/>
                  </a:lnTo>
                  <a:lnTo>
                    <a:pt x="768" y="594"/>
                  </a:lnTo>
                  <a:lnTo>
                    <a:pt x="771" y="596"/>
                  </a:lnTo>
                  <a:lnTo>
                    <a:pt x="770" y="597"/>
                  </a:lnTo>
                  <a:lnTo>
                    <a:pt x="771" y="599"/>
                  </a:lnTo>
                  <a:lnTo>
                    <a:pt x="773" y="597"/>
                  </a:lnTo>
                  <a:lnTo>
                    <a:pt x="776" y="597"/>
                  </a:lnTo>
                  <a:lnTo>
                    <a:pt x="777" y="595"/>
                  </a:lnTo>
                  <a:lnTo>
                    <a:pt x="778" y="590"/>
                  </a:lnTo>
                  <a:lnTo>
                    <a:pt x="780" y="588"/>
                  </a:lnTo>
                  <a:lnTo>
                    <a:pt x="783" y="589"/>
                  </a:lnTo>
                  <a:lnTo>
                    <a:pt x="785" y="591"/>
                  </a:lnTo>
                  <a:lnTo>
                    <a:pt x="780" y="599"/>
                  </a:lnTo>
                  <a:lnTo>
                    <a:pt x="782" y="602"/>
                  </a:lnTo>
                  <a:lnTo>
                    <a:pt x="784" y="599"/>
                  </a:lnTo>
                  <a:lnTo>
                    <a:pt x="785" y="599"/>
                  </a:lnTo>
                  <a:lnTo>
                    <a:pt x="786" y="602"/>
                  </a:lnTo>
                  <a:lnTo>
                    <a:pt x="788" y="600"/>
                  </a:lnTo>
                  <a:lnTo>
                    <a:pt x="791" y="600"/>
                  </a:lnTo>
                  <a:lnTo>
                    <a:pt x="790" y="603"/>
                  </a:lnTo>
                  <a:lnTo>
                    <a:pt x="784" y="605"/>
                  </a:lnTo>
                  <a:lnTo>
                    <a:pt x="783" y="607"/>
                  </a:lnTo>
                  <a:lnTo>
                    <a:pt x="786" y="609"/>
                  </a:lnTo>
                  <a:lnTo>
                    <a:pt x="789" y="611"/>
                  </a:lnTo>
                  <a:lnTo>
                    <a:pt x="790" y="615"/>
                  </a:lnTo>
                  <a:lnTo>
                    <a:pt x="788" y="619"/>
                  </a:lnTo>
                  <a:lnTo>
                    <a:pt x="786" y="617"/>
                  </a:lnTo>
                  <a:lnTo>
                    <a:pt x="786" y="620"/>
                  </a:lnTo>
                  <a:lnTo>
                    <a:pt x="784" y="625"/>
                  </a:lnTo>
                  <a:lnTo>
                    <a:pt x="782" y="623"/>
                  </a:lnTo>
                  <a:lnTo>
                    <a:pt x="779" y="621"/>
                  </a:lnTo>
                  <a:lnTo>
                    <a:pt x="778" y="620"/>
                  </a:lnTo>
                  <a:lnTo>
                    <a:pt x="780" y="614"/>
                  </a:lnTo>
                  <a:lnTo>
                    <a:pt x="780" y="609"/>
                  </a:lnTo>
                  <a:lnTo>
                    <a:pt x="779" y="611"/>
                  </a:lnTo>
                  <a:lnTo>
                    <a:pt x="776" y="613"/>
                  </a:lnTo>
                  <a:lnTo>
                    <a:pt x="774" y="612"/>
                  </a:lnTo>
                  <a:lnTo>
                    <a:pt x="774" y="606"/>
                  </a:lnTo>
                  <a:lnTo>
                    <a:pt x="772" y="607"/>
                  </a:lnTo>
                  <a:lnTo>
                    <a:pt x="768" y="606"/>
                  </a:lnTo>
                  <a:lnTo>
                    <a:pt x="768" y="601"/>
                  </a:lnTo>
                  <a:lnTo>
                    <a:pt x="767" y="599"/>
                  </a:lnTo>
                  <a:lnTo>
                    <a:pt x="767" y="601"/>
                  </a:lnTo>
                  <a:lnTo>
                    <a:pt x="767" y="603"/>
                  </a:lnTo>
                  <a:lnTo>
                    <a:pt x="760" y="602"/>
                  </a:lnTo>
                  <a:lnTo>
                    <a:pt x="761" y="600"/>
                  </a:lnTo>
                  <a:lnTo>
                    <a:pt x="763" y="599"/>
                  </a:lnTo>
                  <a:lnTo>
                    <a:pt x="763" y="597"/>
                  </a:lnTo>
                  <a:lnTo>
                    <a:pt x="762" y="596"/>
                  </a:lnTo>
                  <a:lnTo>
                    <a:pt x="757" y="593"/>
                  </a:lnTo>
                  <a:lnTo>
                    <a:pt x="751" y="588"/>
                  </a:lnTo>
                  <a:lnTo>
                    <a:pt x="751" y="591"/>
                  </a:lnTo>
                  <a:lnTo>
                    <a:pt x="753" y="595"/>
                  </a:lnTo>
                  <a:lnTo>
                    <a:pt x="754" y="600"/>
                  </a:lnTo>
                  <a:lnTo>
                    <a:pt x="756" y="603"/>
                  </a:lnTo>
                  <a:lnTo>
                    <a:pt x="756" y="605"/>
                  </a:lnTo>
                  <a:lnTo>
                    <a:pt x="754" y="612"/>
                  </a:lnTo>
                  <a:lnTo>
                    <a:pt x="751" y="615"/>
                  </a:lnTo>
                  <a:lnTo>
                    <a:pt x="750" y="620"/>
                  </a:lnTo>
                  <a:lnTo>
                    <a:pt x="748" y="624"/>
                  </a:lnTo>
                  <a:lnTo>
                    <a:pt x="749" y="626"/>
                  </a:lnTo>
                  <a:lnTo>
                    <a:pt x="750" y="629"/>
                  </a:lnTo>
                  <a:lnTo>
                    <a:pt x="753" y="630"/>
                  </a:lnTo>
                  <a:lnTo>
                    <a:pt x="755" y="626"/>
                  </a:lnTo>
                  <a:lnTo>
                    <a:pt x="757" y="624"/>
                  </a:lnTo>
                  <a:lnTo>
                    <a:pt x="760" y="624"/>
                  </a:lnTo>
                  <a:lnTo>
                    <a:pt x="761" y="625"/>
                  </a:lnTo>
                  <a:lnTo>
                    <a:pt x="761" y="630"/>
                  </a:lnTo>
                  <a:lnTo>
                    <a:pt x="765" y="629"/>
                  </a:lnTo>
                  <a:lnTo>
                    <a:pt x="766" y="629"/>
                  </a:lnTo>
                  <a:lnTo>
                    <a:pt x="770" y="631"/>
                  </a:lnTo>
                  <a:lnTo>
                    <a:pt x="772" y="633"/>
                  </a:lnTo>
                  <a:lnTo>
                    <a:pt x="774" y="632"/>
                  </a:lnTo>
                  <a:lnTo>
                    <a:pt x="776" y="630"/>
                  </a:lnTo>
                  <a:lnTo>
                    <a:pt x="780" y="627"/>
                  </a:lnTo>
                  <a:lnTo>
                    <a:pt x="784" y="630"/>
                  </a:lnTo>
                  <a:lnTo>
                    <a:pt x="778" y="630"/>
                  </a:lnTo>
                  <a:lnTo>
                    <a:pt x="777" y="633"/>
                  </a:lnTo>
                  <a:lnTo>
                    <a:pt x="776" y="636"/>
                  </a:lnTo>
                  <a:lnTo>
                    <a:pt x="778" y="637"/>
                  </a:lnTo>
                  <a:lnTo>
                    <a:pt x="783" y="637"/>
                  </a:lnTo>
                  <a:lnTo>
                    <a:pt x="786" y="636"/>
                  </a:lnTo>
                  <a:lnTo>
                    <a:pt x="789" y="635"/>
                  </a:lnTo>
                  <a:lnTo>
                    <a:pt x="791" y="635"/>
                  </a:lnTo>
                  <a:lnTo>
                    <a:pt x="795" y="633"/>
                  </a:lnTo>
                  <a:lnTo>
                    <a:pt x="795" y="631"/>
                  </a:lnTo>
                  <a:lnTo>
                    <a:pt x="796" y="635"/>
                  </a:lnTo>
                  <a:lnTo>
                    <a:pt x="797" y="638"/>
                  </a:lnTo>
                  <a:lnTo>
                    <a:pt x="794" y="644"/>
                  </a:lnTo>
                  <a:lnTo>
                    <a:pt x="795" y="647"/>
                  </a:lnTo>
                  <a:lnTo>
                    <a:pt x="796" y="647"/>
                  </a:lnTo>
                  <a:lnTo>
                    <a:pt x="797" y="649"/>
                  </a:lnTo>
                  <a:lnTo>
                    <a:pt x="795" y="658"/>
                  </a:lnTo>
                  <a:lnTo>
                    <a:pt x="792" y="664"/>
                  </a:lnTo>
                  <a:lnTo>
                    <a:pt x="790" y="665"/>
                  </a:lnTo>
                  <a:lnTo>
                    <a:pt x="789" y="670"/>
                  </a:lnTo>
                  <a:lnTo>
                    <a:pt x="788" y="672"/>
                  </a:lnTo>
                  <a:lnTo>
                    <a:pt x="791" y="673"/>
                  </a:lnTo>
                  <a:lnTo>
                    <a:pt x="791" y="682"/>
                  </a:lnTo>
                  <a:lnTo>
                    <a:pt x="790" y="684"/>
                  </a:lnTo>
                  <a:lnTo>
                    <a:pt x="788" y="683"/>
                  </a:lnTo>
                  <a:lnTo>
                    <a:pt x="785" y="684"/>
                  </a:lnTo>
                  <a:lnTo>
                    <a:pt x="785" y="685"/>
                  </a:lnTo>
                  <a:lnTo>
                    <a:pt x="786" y="689"/>
                  </a:lnTo>
                  <a:lnTo>
                    <a:pt x="785" y="691"/>
                  </a:lnTo>
                  <a:lnTo>
                    <a:pt x="784" y="690"/>
                  </a:lnTo>
                  <a:lnTo>
                    <a:pt x="784" y="689"/>
                  </a:lnTo>
                  <a:lnTo>
                    <a:pt x="784" y="692"/>
                  </a:lnTo>
                  <a:lnTo>
                    <a:pt x="786" y="694"/>
                  </a:lnTo>
                  <a:lnTo>
                    <a:pt x="788" y="695"/>
                  </a:lnTo>
                  <a:lnTo>
                    <a:pt x="788" y="690"/>
                  </a:lnTo>
                  <a:lnTo>
                    <a:pt x="788" y="688"/>
                  </a:lnTo>
                  <a:lnTo>
                    <a:pt x="791" y="688"/>
                  </a:lnTo>
                  <a:lnTo>
                    <a:pt x="792" y="691"/>
                  </a:lnTo>
                  <a:lnTo>
                    <a:pt x="794" y="694"/>
                  </a:lnTo>
                  <a:lnTo>
                    <a:pt x="792" y="696"/>
                  </a:lnTo>
                  <a:lnTo>
                    <a:pt x="792" y="698"/>
                  </a:lnTo>
                  <a:lnTo>
                    <a:pt x="795" y="700"/>
                  </a:lnTo>
                  <a:lnTo>
                    <a:pt x="796" y="702"/>
                  </a:lnTo>
                  <a:lnTo>
                    <a:pt x="798" y="703"/>
                  </a:lnTo>
                  <a:lnTo>
                    <a:pt x="798" y="704"/>
                  </a:lnTo>
                  <a:lnTo>
                    <a:pt x="798" y="706"/>
                  </a:lnTo>
                  <a:lnTo>
                    <a:pt x="798" y="708"/>
                  </a:lnTo>
                  <a:lnTo>
                    <a:pt x="800" y="709"/>
                  </a:lnTo>
                  <a:lnTo>
                    <a:pt x="802" y="710"/>
                  </a:lnTo>
                  <a:lnTo>
                    <a:pt x="803" y="710"/>
                  </a:lnTo>
                  <a:lnTo>
                    <a:pt x="806" y="710"/>
                  </a:lnTo>
                  <a:lnTo>
                    <a:pt x="807" y="712"/>
                  </a:lnTo>
                  <a:lnTo>
                    <a:pt x="812" y="716"/>
                  </a:lnTo>
                  <a:lnTo>
                    <a:pt x="807" y="716"/>
                  </a:lnTo>
                  <a:lnTo>
                    <a:pt x="804" y="716"/>
                  </a:lnTo>
                  <a:lnTo>
                    <a:pt x="803" y="716"/>
                  </a:lnTo>
                  <a:lnTo>
                    <a:pt x="808" y="720"/>
                  </a:lnTo>
                  <a:lnTo>
                    <a:pt x="810" y="721"/>
                  </a:lnTo>
                  <a:lnTo>
                    <a:pt x="812" y="722"/>
                  </a:lnTo>
                  <a:lnTo>
                    <a:pt x="810" y="728"/>
                  </a:lnTo>
                  <a:lnTo>
                    <a:pt x="806" y="725"/>
                  </a:lnTo>
                  <a:lnTo>
                    <a:pt x="803" y="721"/>
                  </a:lnTo>
                  <a:lnTo>
                    <a:pt x="802" y="722"/>
                  </a:lnTo>
                  <a:lnTo>
                    <a:pt x="800" y="722"/>
                  </a:lnTo>
                  <a:lnTo>
                    <a:pt x="798" y="725"/>
                  </a:lnTo>
                  <a:lnTo>
                    <a:pt x="795" y="730"/>
                  </a:lnTo>
                  <a:lnTo>
                    <a:pt x="790" y="731"/>
                  </a:lnTo>
                  <a:lnTo>
                    <a:pt x="788" y="733"/>
                  </a:lnTo>
                  <a:lnTo>
                    <a:pt x="789" y="727"/>
                  </a:lnTo>
                  <a:lnTo>
                    <a:pt x="788" y="726"/>
                  </a:lnTo>
                  <a:lnTo>
                    <a:pt x="790" y="721"/>
                  </a:lnTo>
                  <a:lnTo>
                    <a:pt x="791" y="720"/>
                  </a:lnTo>
                  <a:lnTo>
                    <a:pt x="791" y="718"/>
                  </a:lnTo>
                  <a:lnTo>
                    <a:pt x="790" y="715"/>
                  </a:lnTo>
                  <a:lnTo>
                    <a:pt x="789" y="719"/>
                  </a:lnTo>
                  <a:lnTo>
                    <a:pt x="786" y="719"/>
                  </a:lnTo>
                  <a:lnTo>
                    <a:pt x="784" y="713"/>
                  </a:lnTo>
                  <a:lnTo>
                    <a:pt x="782" y="710"/>
                  </a:lnTo>
                  <a:lnTo>
                    <a:pt x="783" y="713"/>
                  </a:lnTo>
                  <a:lnTo>
                    <a:pt x="783" y="716"/>
                  </a:lnTo>
                  <a:lnTo>
                    <a:pt x="779" y="718"/>
                  </a:lnTo>
                  <a:lnTo>
                    <a:pt x="779" y="722"/>
                  </a:lnTo>
                  <a:lnTo>
                    <a:pt x="779" y="725"/>
                  </a:lnTo>
                  <a:lnTo>
                    <a:pt x="777" y="722"/>
                  </a:lnTo>
                  <a:lnTo>
                    <a:pt x="778" y="725"/>
                  </a:lnTo>
                  <a:lnTo>
                    <a:pt x="780" y="728"/>
                  </a:lnTo>
                  <a:lnTo>
                    <a:pt x="777" y="726"/>
                  </a:lnTo>
                  <a:lnTo>
                    <a:pt x="776" y="728"/>
                  </a:lnTo>
                  <a:lnTo>
                    <a:pt x="774" y="730"/>
                  </a:lnTo>
                  <a:lnTo>
                    <a:pt x="772" y="733"/>
                  </a:lnTo>
                  <a:lnTo>
                    <a:pt x="770" y="737"/>
                  </a:lnTo>
                  <a:lnTo>
                    <a:pt x="766" y="740"/>
                  </a:lnTo>
                  <a:lnTo>
                    <a:pt x="765" y="737"/>
                  </a:lnTo>
                  <a:lnTo>
                    <a:pt x="765" y="733"/>
                  </a:lnTo>
                  <a:lnTo>
                    <a:pt x="763" y="738"/>
                  </a:lnTo>
                  <a:lnTo>
                    <a:pt x="762" y="740"/>
                  </a:lnTo>
                  <a:lnTo>
                    <a:pt x="760" y="736"/>
                  </a:lnTo>
                  <a:lnTo>
                    <a:pt x="759" y="736"/>
                  </a:lnTo>
                  <a:lnTo>
                    <a:pt x="760" y="740"/>
                  </a:lnTo>
                  <a:lnTo>
                    <a:pt x="760" y="744"/>
                  </a:lnTo>
                  <a:lnTo>
                    <a:pt x="757" y="742"/>
                  </a:lnTo>
                  <a:lnTo>
                    <a:pt x="754" y="744"/>
                  </a:lnTo>
                  <a:lnTo>
                    <a:pt x="754" y="746"/>
                  </a:lnTo>
                  <a:lnTo>
                    <a:pt x="751" y="745"/>
                  </a:lnTo>
                  <a:lnTo>
                    <a:pt x="750" y="746"/>
                  </a:lnTo>
                  <a:lnTo>
                    <a:pt x="748" y="748"/>
                  </a:lnTo>
                  <a:lnTo>
                    <a:pt x="747" y="746"/>
                  </a:lnTo>
                  <a:lnTo>
                    <a:pt x="745" y="748"/>
                  </a:lnTo>
                  <a:lnTo>
                    <a:pt x="744" y="748"/>
                  </a:lnTo>
                  <a:lnTo>
                    <a:pt x="743" y="744"/>
                  </a:lnTo>
                  <a:lnTo>
                    <a:pt x="743" y="740"/>
                  </a:lnTo>
                  <a:lnTo>
                    <a:pt x="743" y="737"/>
                  </a:lnTo>
                  <a:lnTo>
                    <a:pt x="739" y="736"/>
                  </a:lnTo>
                  <a:lnTo>
                    <a:pt x="739" y="739"/>
                  </a:lnTo>
                  <a:lnTo>
                    <a:pt x="738" y="743"/>
                  </a:lnTo>
                  <a:lnTo>
                    <a:pt x="738" y="748"/>
                  </a:lnTo>
                  <a:lnTo>
                    <a:pt x="742" y="753"/>
                  </a:lnTo>
                  <a:lnTo>
                    <a:pt x="743" y="757"/>
                  </a:lnTo>
                  <a:lnTo>
                    <a:pt x="745" y="760"/>
                  </a:lnTo>
                  <a:lnTo>
                    <a:pt x="742" y="761"/>
                  </a:lnTo>
                  <a:lnTo>
                    <a:pt x="739" y="757"/>
                  </a:lnTo>
                  <a:lnTo>
                    <a:pt x="736" y="757"/>
                  </a:lnTo>
                  <a:lnTo>
                    <a:pt x="735" y="757"/>
                  </a:lnTo>
                  <a:lnTo>
                    <a:pt x="735" y="759"/>
                  </a:lnTo>
                  <a:lnTo>
                    <a:pt x="736" y="763"/>
                  </a:lnTo>
                  <a:lnTo>
                    <a:pt x="733" y="767"/>
                  </a:lnTo>
                  <a:lnTo>
                    <a:pt x="733" y="769"/>
                  </a:lnTo>
                  <a:lnTo>
                    <a:pt x="732" y="768"/>
                  </a:lnTo>
                  <a:lnTo>
                    <a:pt x="729" y="771"/>
                  </a:lnTo>
                  <a:lnTo>
                    <a:pt x="726" y="774"/>
                  </a:lnTo>
                  <a:lnTo>
                    <a:pt x="726" y="779"/>
                  </a:lnTo>
                  <a:lnTo>
                    <a:pt x="729" y="786"/>
                  </a:lnTo>
                  <a:lnTo>
                    <a:pt x="731" y="792"/>
                  </a:lnTo>
                  <a:lnTo>
                    <a:pt x="730" y="795"/>
                  </a:lnTo>
                  <a:lnTo>
                    <a:pt x="729" y="797"/>
                  </a:lnTo>
                  <a:lnTo>
                    <a:pt x="726" y="801"/>
                  </a:lnTo>
                  <a:lnTo>
                    <a:pt x="723" y="805"/>
                  </a:lnTo>
                  <a:lnTo>
                    <a:pt x="719" y="810"/>
                  </a:lnTo>
                  <a:lnTo>
                    <a:pt x="718" y="814"/>
                  </a:lnTo>
                  <a:lnTo>
                    <a:pt x="717" y="809"/>
                  </a:lnTo>
                  <a:lnTo>
                    <a:pt x="715" y="804"/>
                  </a:lnTo>
                  <a:lnTo>
                    <a:pt x="714" y="802"/>
                  </a:lnTo>
                  <a:lnTo>
                    <a:pt x="714" y="799"/>
                  </a:lnTo>
                  <a:lnTo>
                    <a:pt x="712" y="801"/>
                  </a:lnTo>
                  <a:lnTo>
                    <a:pt x="708" y="802"/>
                  </a:lnTo>
                  <a:lnTo>
                    <a:pt x="708" y="798"/>
                  </a:lnTo>
                  <a:lnTo>
                    <a:pt x="706" y="798"/>
                  </a:lnTo>
                  <a:lnTo>
                    <a:pt x="703" y="802"/>
                  </a:lnTo>
                  <a:lnTo>
                    <a:pt x="703" y="807"/>
                  </a:lnTo>
                  <a:lnTo>
                    <a:pt x="702" y="801"/>
                  </a:lnTo>
                  <a:lnTo>
                    <a:pt x="701" y="797"/>
                  </a:lnTo>
                  <a:lnTo>
                    <a:pt x="702" y="792"/>
                  </a:lnTo>
                  <a:lnTo>
                    <a:pt x="704" y="791"/>
                  </a:lnTo>
                  <a:lnTo>
                    <a:pt x="707" y="793"/>
                  </a:lnTo>
                  <a:lnTo>
                    <a:pt x="709" y="792"/>
                  </a:lnTo>
                  <a:lnTo>
                    <a:pt x="712" y="786"/>
                  </a:lnTo>
                  <a:lnTo>
                    <a:pt x="712" y="780"/>
                  </a:lnTo>
                  <a:lnTo>
                    <a:pt x="712" y="777"/>
                  </a:lnTo>
                  <a:lnTo>
                    <a:pt x="709" y="775"/>
                  </a:lnTo>
                  <a:lnTo>
                    <a:pt x="706" y="774"/>
                  </a:lnTo>
                  <a:lnTo>
                    <a:pt x="702" y="778"/>
                  </a:lnTo>
                  <a:lnTo>
                    <a:pt x="702" y="774"/>
                  </a:lnTo>
                  <a:lnTo>
                    <a:pt x="704" y="772"/>
                  </a:lnTo>
                  <a:lnTo>
                    <a:pt x="700" y="774"/>
                  </a:lnTo>
                  <a:lnTo>
                    <a:pt x="697" y="775"/>
                  </a:lnTo>
                  <a:lnTo>
                    <a:pt x="697" y="778"/>
                  </a:lnTo>
                  <a:lnTo>
                    <a:pt x="694" y="785"/>
                  </a:lnTo>
                  <a:lnTo>
                    <a:pt x="691" y="786"/>
                  </a:lnTo>
                  <a:lnTo>
                    <a:pt x="686" y="786"/>
                  </a:lnTo>
                  <a:lnTo>
                    <a:pt x="686" y="784"/>
                  </a:lnTo>
                  <a:lnTo>
                    <a:pt x="686" y="783"/>
                  </a:lnTo>
                  <a:lnTo>
                    <a:pt x="683" y="785"/>
                  </a:lnTo>
                  <a:lnTo>
                    <a:pt x="682" y="789"/>
                  </a:lnTo>
                  <a:lnTo>
                    <a:pt x="680" y="791"/>
                  </a:lnTo>
                  <a:lnTo>
                    <a:pt x="680" y="795"/>
                  </a:lnTo>
                  <a:lnTo>
                    <a:pt x="679" y="798"/>
                  </a:lnTo>
                  <a:lnTo>
                    <a:pt x="677" y="802"/>
                  </a:lnTo>
                  <a:lnTo>
                    <a:pt x="674" y="804"/>
                  </a:lnTo>
                  <a:lnTo>
                    <a:pt x="673" y="807"/>
                  </a:lnTo>
                  <a:lnTo>
                    <a:pt x="672" y="810"/>
                  </a:lnTo>
                  <a:lnTo>
                    <a:pt x="671" y="810"/>
                  </a:lnTo>
                  <a:lnTo>
                    <a:pt x="670" y="813"/>
                  </a:lnTo>
                  <a:lnTo>
                    <a:pt x="667" y="816"/>
                  </a:lnTo>
                  <a:lnTo>
                    <a:pt x="666" y="820"/>
                  </a:lnTo>
                  <a:lnTo>
                    <a:pt x="666" y="814"/>
                  </a:lnTo>
                  <a:lnTo>
                    <a:pt x="664" y="816"/>
                  </a:lnTo>
                  <a:lnTo>
                    <a:pt x="660" y="816"/>
                  </a:lnTo>
                  <a:lnTo>
                    <a:pt x="658" y="817"/>
                  </a:lnTo>
                  <a:lnTo>
                    <a:pt x="658" y="814"/>
                  </a:lnTo>
                  <a:lnTo>
                    <a:pt x="660" y="810"/>
                  </a:lnTo>
                  <a:lnTo>
                    <a:pt x="659" y="807"/>
                  </a:lnTo>
                  <a:lnTo>
                    <a:pt x="658" y="805"/>
                  </a:lnTo>
                  <a:lnTo>
                    <a:pt x="661" y="804"/>
                  </a:lnTo>
                  <a:lnTo>
                    <a:pt x="659" y="803"/>
                  </a:lnTo>
                  <a:lnTo>
                    <a:pt x="661" y="802"/>
                  </a:lnTo>
                  <a:lnTo>
                    <a:pt x="662" y="799"/>
                  </a:lnTo>
                  <a:lnTo>
                    <a:pt x="660" y="799"/>
                  </a:lnTo>
                  <a:lnTo>
                    <a:pt x="661" y="796"/>
                  </a:lnTo>
                  <a:lnTo>
                    <a:pt x="664" y="792"/>
                  </a:lnTo>
                  <a:lnTo>
                    <a:pt x="661" y="787"/>
                  </a:lnTo>
                  <a:lnTo>
                    <a:pt x="660" y="775"/>
                  </a:lnTo>
                  <a:lnTo>
                    <a:pt x="662" y="757"/>
                  </a:lnTo>
                  <a:lnTo>
                    <a:pt x="661" y="740"/>
                  </a:lnTo>
                  <a:lnTo>
                    <a:pt x="658" y="746"/>
                  </a:lnTo>
                  <a:lnTo>
                    <a:pt x="654" y="756"/>
                  </a:lnTo>
                  <a:lnTo>
                    <a:pt x="656" y="759"/>
                  </a:lnTo>
                  <a:lnTo>
                    <a:pt x="653" y="756"/>
                  </a:lnTo>
                  <a:lnTo>
                    <a:pt x="643" y="759"/>
                  </a:lnTo>
                  <a:lnTo>
                    <a:pt x="653" y="756"/>
                  </a:lnTo>
                  <a:lnTo>
                    <a:pt x="659" y="742"/>
                  </a:lnTo>
                  <a:lnTo>
                    <a:pt x="654" y="743"/>
                  </a:lnTo>
                  <a:lnTo>
                    <a:pt x="649" y="743"/>
                  </a:lnTo>
                  <a:lnTo>
                    <a:pt x="645" y="740"/>
                  </a:lnTo>
                  <a:lnTo>
                    <a:pt x="643" y="743"/>
                  </a:lnTo>
                  <a:lnTo>
                    <a:pt x="639" y="744"/>
                  </a:lnTo>
                  <a:lnTo>
                    <a:pt x="636" y="743"/>
                  </a:lnTo>
                  <a:lnTo>
                    <a:pt x="633" y="739"/>
                  </a:lnTo>
                  <a:lnTo>
                    <a:pt x="635" y="738"/>
                  </a:lnTo>
                  <a:lnTo>
                    <a:pt x="637" y="734"/>
                  </a:lnTo>
                  <a:lnTo>
                    <a:pt x="635" y="733"/>
                  </a:lnTo>
                  <a:lnTo>
                    <a:pt x="632" y="736"/>
                  </a:lnTo>
                  <a:lnTo>
                    <a:pt x="630" y="737"/>
                  </a:lnTo>
                  <a:lnTo>
                    <a:pt x="627" y="737"/>
                  </a:lnTo>
                  <a:lnTo>
                    <a:pt x="625" y="736"/>
                  </a:lnTo>
                  <a:lnTo>
                    <a:pt x="620" y="738"/>
                  </a:lnTo>
                  <a:lnTo>
                    <a:pt x="621" y="744"/>
                  </a:lnTo>
                  <a:lnTo>
                    <a:pt x="621" y="749"/>
                  </a:lnTo>
                  <a:lnTo>
                    <a:pt x="624" y="751"/>
                  </a:lnTo>
                  <a:lnTo>
                    <a:pt x="625" y="753"/>
                  </a:lnTo>
                  <a:lnTo>
                    <a:pt x="623" y="754"/>
                  </a:lnTo>
                  <a:lnTo>
                    <a:pt x="623" y="757"/>
                  </a:lnTo>
                  <a:lnTo>
                    <a:pt x="624" y="763"/>
                  </a:lnTo>
                  <a:lnTo>
                    <a:pt x="626" y="769"/>
                  </a:lnTo>
                  <a:lnTo>
                    <a:pt x="623" y="761"/>
                  </a:lnTo>
                  <a:lnTo>
                    <a:pt x="620" y="762"/>
                  </a:lnTo>
                  <a:lnTo>
                    <a:pt x="618" y="766"/>
                  </a:lnTo>
                  <a:lnTo>
                    <a:pt x="619" y="773"/>
                  </a:lnTo>
                  <a:lnTo>
                    <a:pt x="614" y="780"/>
                  </a:lnTo>
                  <a:lnTo>
                    <a:pt x="611" y="785"/>
                  </a:lnTo>
                  <a:lnTo>
                    <a:pt x="615" y="775"/>
                  </a:lnTo>
                  <a:lnTo>
                    <a:pt x="617" y="771"/>
                  </a:lnTo>
                  <a:lnTo>
                    <a:pt x="614" y="767"/>
                  </a:lnTo>
                  <a:lnTo>
                    <a:pt x="612" y="768"/>
                  </a:lnTo>
                  <a:lnTo>
                    <a:pt x="612" y="772"/>
                  </a:lnTo>
                  <a:lnTo>
                    <a:pt x="612" y="774"/>
                  </a:lnTo>
                  <a:lnTo>
                    <a:pt x="612" y="777"/>
                  </a:lnTo>
                  <a:lnTo>
                    <a:pt x="609" y="778"/>
                  </a:lnTo>
                  <a:lnTo>
                    <a:pt x="608" y="775"/>
                  </a:lnTo>
                  <a:lnTo>
                    <a:pt x="608" y="774"/>
                  </a:lnTo>
                  <a:lnTo>
                    <a:pt x="607" y="774"/>
                  </a:lnTo>
                  <a:lnTo>
                    <a:pt x="606" y="777"/>
                  </a:lnTo>
                  <a:lnTo>
                    <a:pt x="607" y="785"/>
                  </a:lnTo>
                  <a:lnTo>
                    <a:pt x="608" y="786"/>
                  </a:lnTo>
                  <a:lnTo>
                    <a:pt x="605" y="793"/>
                  </a:lnTo>
                  <a:lnTo>
                    <a:pt x="601" y="796"/>
                  </a:lnTo>
                  <a:lnTo>
                    <a:pt x="605" y="789"/>
                  </a:lnTo>
                  <a:lnTo>
                    <a:pt x="606" y="784"/>
                  </a:lnTo>
                  <a:lnTo>
                    <a:pt x="605" y="774"/>
                  </a:lnTo>
                  <a:lnTo>
                    <a:pt x="603" y="778"/>
                  </a:lnTo>
                  <a:lnTo>
                    <a:pt x="602" y="783"/>
                  </a:lnTo>
                  <a:lnTo>
                    <a:pt x="601" y="789"/>
                  </a:lnTo>
                  <a:lnTo>
                    <a:pt x="599" y="791"/>
                  </a:lnTo>
                  <a:lnTo>
                    <a:pt x="596" y="791"/>
                  </a:lnTo>
                  <a:lnTo>
                    <a:pt x="594" y="795"/>
                  </a:lnTo>
                  <a:lnTo>
                    <a:pt x="593" y="795"/>
                  </a:lnTo>
                  <a:lnTo>
                    <a:pt x="591" y="792"/>
                  </a:lnTo>
                  <a:lnTo>
                    <a:pt x="591" y="790"/>
                  </a:lnTo>
                  <a:lnTo>
                    <a:pt x="590" y="791"/>
                  </a:lnTo>
                  <a:lnTo>
                    <a:pt x="587" y="795"/>
                  </a:lnTo>
                  <a:lnTo>
                    <a:pt x="583" y="798"/>
                  </a:lnTo>
                  <a:lnTo>
                    <a:pt x="579" y="796"/>
                  </a:lnTo>
                  <a:lnTo>
                    <a:pt x="578" y="790"/>
                  </a:lnTo>
                  <a:lnTo>
                    <a:pt x="578" y="785"/>
                  </a:lnTo>
                  <a:lnTo>
                    <a:pt x="580" y="784"/>
                  </a:lnTo>
                  <a:lnTo>
                    <a:pt x="584" y="784"/>
                  </a:lnTo>
                  <a:lnTo>
                    <a:pt x="584" y="779"/>
                  </a:lnTo>
                  <a:lnTo>
                    <a:pt x="583" y="778"/>
                  </a:lnTo>
                  <a:lnTo>
                    <a:pt x="583" y="775"/>
                  </a:lnTo>
                  <a:lnTo>
                    <a:pt x="587" y="771"/>
                  </a:lnTo>
                  <a:lnTo>
                    <a:pt x="583" y="772"/>
                  </a:lnTo>
                  <a:lnTo>
                    <a:pt x="580" y="775"/>
                  </a:lnTo>
                  <a:lnTo>
                    <a:pt x="578" y="783"/>
                  </a:lnTo>
                  <a:lnTo>
                    <a:pt x="577" y="786"/>
                  </a:lnTo>
                  <a:lnTo>
                    <a:pt x="576" y="792"/>
                  </a:lnTo>
                  <a:lnTo>
                    <a:pt x="574" y="791"/>
                  </a:lnTo>
                  <a:lnTo>
                    <a:pt x="571" y="795"/>
                  </a:lnTo>
                  <a:lnTo>
                    <a:pt x="570" y="795"/>
                  </a:lnTo>
                  <a:lnTo>
                    <a:pt x="570" y="789"/>
                  </a:lnTo>
                  <a:lnTo>
                    <a:pt x="568" y="791"/>
                  </a:lnTo>
                  <a:lnTo>
                    <a:pt x="567" y="785"/>
                  </a:lnTo>
                  <a:lnTo>
                    <a:pt x="565" y="780"/>
                  </a:lnTo>
                  <a:lnTo>
                    <a:pt x="561" y="781"/>
                  </a:lnTo>
                  <a:lnTo>
                    <a:pt x="559" y="783"/>
                  </a:lnTo>
                  <a:lnTo>
                    <a:pt x="555" y="787"/>
                  </a:lnTo>
                  <a:lnTo>
                    <a:pt x="550" y="789"/>
                  </a:lnTo>
                  <a:lnTo>
                    <a:pt x="552" y="784"/>
                  </a:lnTo>
                  <a:lnTo>
                    <a:pt x="553" y="779"/>
                  </a:lnTo>
                  <a:lnTo>
                    <a:pt x="549" y="779"/>
                  </a:lnTo>
                  <a:lnTo>
                    <a:pt x="549" y="781"/>
                  </a:lnTo>
                  <a:lnTo>
                    <a:pt x="546" y="787"/>
                  </a:lnTo>
                  <a:lnTo>
                    <a:pt x="542" y="791"/>
                  </a:lnTo>
                  <a:lnTo>
                    <a:pt x="540" y="792"/>
                  </a:lnTo>
                  <a:lnTo>
                    <a:pt x="541" y="786"/>
                  </a:lnTo>
                  <a:lnTo>
                    <a:pt x="543" y="781"/>
                  </a:lnTo>
                  <a:lnTo>
                    <a:pt x="544" y="777"/>
                  </a:lnTo>
                  <a:lnTo>
                    <a:pt x="548" y="773"/>
                  </a:lnTo>
                  <a:lnTo>
                    <a:pt x="547" y="772"/>
                  </a:lnTo>
                  <a:lnTo>
                    <a:pt x="544" y="774"/>
                  </a:lnTo>
                  <a:lnTo>
                    <a:pt x="544" y="771"/>
                  </a:lnTo>
                  <a:lnTo>
                    <a:pt x="540" y="771"/>
                  </a:lnTo>
                  <a:lnTo>
                    <a:pt x="540" y="766"/>
                  </a:lnTo>
                  <a:lnTo>
                    <a:pt x="537" y="768"/>
                  </a:lnTo>
                  <a:lnTo>
                    <a:pt x="534" y="768"/>
                  </a:lnTo>
                  <a:lnTo>
                    <a:pt x="535" y="763"/>
                  </a:lnTo>
                  <a:lnTo>
                    <a:pt x="532" y="766"/>
                  </a:lnTo>
                  <a:lnTo>
                    <a:pt x="529" y="768"/>
                  </a:lnTo>
                  <a:lnTo>
                    <a:pt x="530" y="763"/>
                  </a:lnTo>
                  <a:lnTo>
                    <a:pt x="529" y="763"/>
                  </a:lnTo>
                  <a:lnTo>
                    <a:pt x="526" y="759"/>
                  </a:lnTo>
                  <a:lnTo>
                    <a:pt x="526" y="756"/>
                  </a:lnTo>
                  <a:lnTo>
                    <a:pt x="526" y="755"/>
                  </a:lnTo>
                  <a:lnTo>
                    <a:pt x="523" y="757"/>
                  </a:lnTo>
                  <a:lnTo>
                    <a:pt x="517" y="761"/>
                  </a:lnTo>
                  <a:lnTo>
                    <a:pt x="520" y="756"/>
                  </a:lnTo>
                  <a:lnTo>
                    <a:pt x="524" y="754"/>
                  </a:lnTo>
                  <a:lnTo>
                    <a:pt x="528" y="751"/>
                  </a:lnTo>
                  <a:lnTo>
                    <a:pt x="530" y="750"/>
                  </a:lnTo>
                  <a:lnTo>
                    <a:pt x="526" y="749"/>
                  </a:lnTo>
                  <a:lnTo>
                    <a:pt x="524" y="750"/>
                  </a:lnTo>
                  <a:lnTo>
                    <a:pt x="521" y="749"/>
                  </a:lnTo>
                  <a:lnTo>
                    <a:pt x="521" y="750"/>
                  </a:lnTo>
                  <a:lnTo>
                    <a:pt x="519" y="749"/>
                  </a:lnTo>
                  <a:lnTo>
                    <a:pt x="517" y="749"/>
                  </a:lnTo>
                  <a:lnTo>
                    <a:pt x="515" y="750"/>
                  </a:lnTo>
                  <a:lnTo>
                    <a:pt x="514" y="753"/>
                  </a:lnTo>
                  <a:lnTo>
                    <a:pt x="512" y="750"/>
                  </a:lnTo>
                  <a:lnTo>
                    <a:pt x="509" y="744"/>
                  </a:lnTo>
                  <a:lnTo>
                    <a:pt x="509" y="740"/>
                  </a:lnTo>
                  <a:lnTo>
                    <a:pt x="509" y="736"/>
                  </a:lnTo>
                  <a:lnTo>
                    <a:pt x="512" y="733"/>
                  </a:lnTo>
                  <a:lnTo>
                    <a:pt x="515" y="733"/>
                  </a:lnTo>
                  <a:lnTo>
                    <a:pt x="517" y="731"/>
                  </a:lnTo>
                  <a:lnTo>
                    <a:pt x="515" y="727"/>
                  </a:lnTo>
                  <a:lnTo>
                    <a:pt x="515" y="724"/>
                  </a:lnTo>
                  <a:lnTo>
                    <a:pt x="512" y="726"/>
                  </a:lnTo>
                  <a:lnTo>
                    <a:pt x="509" y="727"/>
                  </a:lnTo>
                  <a:lnTo>
                    <a:pt x="508" y="724"/>
                  </a:lnTo>
                  <a:lnTo>
                    <a:pt x="507" y="725"/>
                  </a:lnTo>
                  <a:lnTo>
                    <a:pt x="506" y="726"/>
                  </a:lnTo>
                  <a:lnTo>
                    <a:pt x="503" y="731"/>
                  </a:lnTo>
                  <a:lnTo>
                    <a:pt x="502" y="730"/>
                  </a:lnTo>
                  <a:lnTo>
                    <a:pt x="502" y="733"/>
                  </a:lnTo>
                  <a:lnTo>
                    <a:pt x="499" y="736"/>
                  </a:lnTo>
                  <a:lnTo>
                    <a:pt x="495" y="739"/>
                  </a:lnTo>
                  <a:lnTo>
                    <a:pt x="495" y="736"/>
                  </a:lnTo>
                  <a:lnTo>
                    <a:pt x="495" y="733"/>
                  </a:lnTo>
                  <a:lnTo>
                    <a:pt x="493" y="734"/>
                  </a:lnTo>
                  <a:lnTo>
                    <a:pt x="493" y="733"/>
                  </a:lnTo>
                  <a:lnTo>
                    <a:pt x="490" y="733"/>
                  </a:lnTo>
                  <a:lnTo>
                    <a:pt x="488" y="731"/>
                  </a:lnTo>
                  <a:lnTo>
                    <a:pt x="485" y="732"/>
                  </a:lnTo>
                  <a:lnTo>
                    <a:pt x="481" y="734"/>
                  </a:lnTo>
                  <a:lnTo>
                    <a:pt x="481" y="732"/>
                  </a:lnTo>
                  <a:lnTo>
                    <a:pt x="483" y="730"/>
                  </a:lnTo>
                  <a:lnTo>
                    <a:pt x="483" y="728"/>
                  </a:lnTo>
                  <a:lnTo>
                    <a:pt x="484" y="728"/>
                  </a:lnTo>
                  <a:lnTo>
                    <a:pt x="485" y="727"/>
                  </a:lnTo>
                  <a:lnTo>
                    <a:pt x="489" y="728"/>
                  </a:lnTo>
                  <a:lnTo>
                    <a:pt x="490" y="726"/>
                  </a:lnTo>
                  <a:lnTo>
                    <a:pt x="489" y="724"/>
                  </a:lnTo>
                  <a:lnTo>
                    <a:pt x="488" y="724"/>
                  </a:lnTo>
                  <a:lnTo>
                    <a:pt x="484" y="724"/>
                  </a:lnTo>
                  <a:lnTo>
                    <a:pt x="483" y="722"/>
                  </a:lnTo>
                  <a:lnTo>
                    <a:pt x="481" y="722"/>
                  </a:lnTo>
                  <a:lnTo>
                    <a:pt x="477" y="724"/>
                  </a:lnTo>
                  <a:lnTo>
                    <a:pt x="476" y="721"/>
                  </a:lnTo>
                  <a:lnTo>
                    <a:pt x="476" y="719"/>
                  </a:lnTo>
                  <a:lnTo>
                    <a:pt x="478" y="716"/>
                  </a:lnTo>
                  <a:lnTo>
                    <a:pt x="481" y="715"/>
                  </a:lnTo>
                  <a:lnTo>
                    <a:pt x="484" y="714"/>
                  </a:lnTo>
                  <a:lnTo>
                    <a:pt x="485" y="713"/>
                  </a:lnTo>
                  <a:lnTo>
                    <a:pt x="484" y="712"/>
                  </a:lnTo>
                  <a:lnTo>
                    <a:pt x="482" y="712"/>
                  </a:lnTo>
                  <a:lnTo>
                    <a:pt x="479" y="714"/>
                  </a:lnTo>
                  <a:lnTo>
                    <a:pt x="475" y="716"/>
                  </a:lnTo>
                  <a:lnTo>
                    <a:pt x="471" y="719"/>
                  </a:lnTo>
                  <a:lnTo>
                    <a:pt x="472" y="724"/>
                  </a:lnTo>
                  <a:lnTo>
                    <a:pt x="477" y="736"/>
                  </a:lnTo>
                  <a:lnTo>
                    <a:pt x="482" y="749"/>
                  </a:lnTo>
                  <a:lnTo>
                    <a:pt x="484" y="759"/>
                  </a:lnTo>
                  <a:lnTo>
                    <a:pt x="483" y="774"/>
                  </a:lnTo>
                  <a:lnTo>
                    <a:pt x="483" y="790"/>
                  </a:lnTo>
                  <a:lnTo>
                    <a:pt x="497" y="817"/>
                  </a:lnTo>
                  <a:lnTo>
                    <a:pt x="505" y="833"/>
                  </a:lnTo>
                  <a:lnTo>
                    <a:pt x="506" y="839"/>
                  </a:lnTo>
                  <a:lnTo>
                    <a:pt x="505" y="846"/>
                  </a:lnTo>
                  <a:lnTo>
                    <a:pt x="497" y="860"/>
                  </a:lnTo>
                  <a:lnTo>
                    <a:pt x="493" y="869"/>
                  </a:lnTo>
                  <a:lnTo>
                    <a:pt x="487" y="884"/>
                  </a:lnTo>
                  <a:lnTo>
                    <a:pt x="484" y="893"/>
                  </a:lnTo>
                  <a:lnTo>
                    <a:pt x="483" y="903"/>
                  </a:lnTo>
                  <a:lnTo>
                    <a:pt x="481" y="922"/>
                  </a:lnTo>
                  <a:lnTo>
                    <a:pt x="479" y="941"/>
                  </a:lnTo>
                  <a:lnTo>
                    <a:pt x="478" y="959"/>
                  </a:lnTo>
                  <a:lnTo>
                    <a:pt x="477" y="975"/>
                  </a:lnTo>
                  <a:lnTo>
                    <a:pt x="477" y="993"/>
                  </a:lnTo>
                  <a:lnTo>
                    <a:pt x="481" y="1041"/>
                  </a:lnTo>
                  <a:lnTo>
                    <a:pt x="479" y="1069"/>
                  </a:lnTo>
                  <a:lnTo>
                    <a:pt x="476" y="1088"/>
                  </a:lnTo>
                  <a:lnTo>
                    <a:pt x="472" y="110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1" name="Freeform 64"/>
            <p:cNvSpPr>
              <a:spLocks/>
            </p:cNvSpPr>
            <p:nvPr userDrawn="1"/>
          </p:nvSpPr>
          <p:spPr bwMode="auto">
            <a:xfrm>
              <a:off x="4610100" y="6411913"/>
              <a:ext cx="65088" cy="107950"/>
            </a:xfrm>
            <a:custGeom>
              <a:avLst/>
              <a:gdLst/>
              <a:ahLst/>
              <a:cxnLst>
                <a:cxn ang="0">
                  <a:pos x="106" y="18"/>
                </a:cxn>
                <a:cxn ang="0">
                  <a:pos x="118" y="40"/>
                </a:cxn>
                <a:cxn ang="0">
                  <a:pos x="122" y="58"/>
                </a:cxn>
                <a:cxn ang="0">
                  <a:pos x="136" y="71"/>
                </a:cxn>
                <a:cxn ang="0">
                  <a:pos x="132" y="81"/>
                </a:cxn>
                <a:cxn ang="0">
                  <a:pos x="140" y="88"/>
                </a:cxn>
                <a:cxn ang="0">
                  <a:pos x="155" y="112"/>
                </a:cxn>
                <a:cxn ang="0">
                  <a:pos x="141" y="113"/>
                </a:cxn>
                <a:cxn ang="0">
                  <a:pos x="158" y="131"/>
                </a:cxn>
                <a:cxn ang="0">
                  <a:pos x="161" y="140"/>
                </a:cxn>
                <a:cxn ang="0">
                  <a:pos x="176" y="149"/>
                </a:cxn>
                <a:cxn ang="0">
                  <a:pos x="165" y="155"/>
                </a:cxn>
                <a:cxn ang="0">
                  <a:pos x="173" y="164"/>
                </a:cxn>
                <a:cxn ang="0">
                  <a:pos x="183" y="171"/>
                </a:cxn>
                <a:cxn ang="0">
                  <a:pos x="182" y="183"/>
                </a:cxn>
                <a:cxn ang="0">
                  <a:pos x="175" y="195"/>
                </a:cxn>
                <a:cxn ang="0">
                  <a:pos x="170" y="204"/>
                </a:cxn>
                <a:cxn ang="0">
                  <a:pos x="157" y="203"/>
                </a:cxn>
                <a:cxn ang="0">
                  <a:pos x="145" y="202"/>
                </a:cxn>
                <a:cxn ang="0">
                  <a:pos x="165" y="218"/>
                </a:cxn>
                <a:cxn ang="0">
                  <a:pos x="180" y="225"/>
                </a:cxn>
                <a:cxn ang="0">
                  <a:pos x="183" y="236"/>
                </a:cxn>
                <a:cxn ang="0">
                  <a:pos x="198" y="241"/>
                </a:cxn>
                <a:cxn ang="0">
                  <a:pos x="186" y="247"/>
                </a:cxn>
                <a:cxn ang="0">
                  <a:pos x="193" y="257"/>
                </a:cxn>
                <a:cxn ang="0">
                  <a:pos x="194" y="265"/>
                </a:cxn>
                <a:cxn ang="0">
                  <a:pos x="191" y="271"/>
                </a:cxn>
                <a:cxn ang="0">
                  <a:pos x="180" y="277"/>
                </a:cxn>
                <a:cxn ang="0">
                  <a:pos x="167" y="296"/>
                </a:cxn>
                <a:cxn ang="0">
                  <a:pos x="145" y="301"/>
                </a:cxn>
                <a:cxn ang="0">
                  <a:pos x="112" y="320"/>
                </a:cxn>
                <a:cxn ang="0">
                  <a:pos x="76" y="308"/>
                </a:cxn>
                <a:cxn ang="0">
                  <a:pos x="49" y="320"/>
                </a:cxn>
                <a:cxn ang="0">
                  <a:pos x="17" y="307"/>
                </a:cxn>
                <a:cxn ang="0">
                  <a:pos x="22" y="284"/>
                </a:cxn>
                <a:cxn ang="0">
                  <a:pos x="23" y="265"/>
                </a:cxn>
                <a:cxn ang="0">
                  <a:pos x="33" y="256"/>
                </a:cxn>
                <a:cxn ang="0">
                  <a:pos x="28" y="245"/>
                </a:cxn>
                <a:cxn ang="0">
                  <a:pos x="15" y="236"/>
                </a:cxn>
                <a:cxn ang="0">
                  <a:pos x="23" y="221"/>
                </a:cxn>
                <a:cxn ang="0">
                  <a:pos x="29" y="217"/>
                </a:cxn>
                <a:cxn ang="0">
                  <a:pos x="52" y="207"/>
                </a:cxn>
                <a:cxn ang="0">
                  <a:pos x="40" y="207"/>
                </a:cxn>
                <a:cxn ang="0">
                  <a:pos x="31" y="194"/>
                </a:cxn>
                <a:cxn ang="0">
                  <a:pos x="28" y="189"/>
                </a:cxn>
                <a:cxn ang="0">
                  <a:pos x="17" y="180"/>
                </a:cxn>
                <a:cxn ang="0">
                  <a:pos x="29" y="164"/>
                </a:cxn>
                <a:cxn ang="0">
                  <a:pos x="27" y="150"/>
                </a:cxn>
                <a:cxn ang="0">
                  <a:pos x="51" y="138"/>
                </a:cxn>
                <a:cxn ang="0">
                  <a:pos x="40" y="138"/>
                </a:cxn>
                <a:cxn ang="0">
                  <a:pos x="45" y="125"/>
                </a:cxn>
                <a:cxn ang="0">
                  <a:pos x="68" y="112"/>
                </a:cxn>
                <a:cxn ang="0">
                  <a:pos x="46" y="111"/>
                </a:cxn>
                <a:cxn ang="0">
                  <a:pos x="92" y="95"/>
                </a:cxn>
                <a:cxn ang="0">
                  <a:pos x="74" y="85"/>
                </a:cxn>
                <a:cxn ang="0">
                  <a:pos x="67" y="69"/>
                </a:cxn>
                <a:cxn ang="0">
                  <a:pos x="76" y="59"/>
                </a:cxn>
                <a:cxn ang="0">
                  <a:pos x="87" y="54"/>
                </a:cxn>
                <a:cxn ang="0">
                  <a:pos x="82" y="35"/>
                </a:cxn>
                <a:cxn ang="0">
                  <a:pos x="93" y="39"/>
                </a:cxn>
                <a:cxn ang="0">
                  <a:pos x="81" y="23"/>
                </a:cxn>
                <a:cxn ang="0">
                  <a:pos x="97" y="13"/>
                </a:cxn>
                <a:cxn ang="0">
                  <a:pos x="97" y="9"/>
                </a:cxn>
              </a:cxnLst>
              <a:rect l="0" t="0" r="r" b="b"/>
              <a:pathLst>
                <a:path w="206" h="338">
                  <a:moveTo>
                    <a:pt x="103" y="6"/>
                  </a:moveTo>
                  <a:lnTo>
                    <a:pt x="104" y="4"/>
                  </a:lnTo>
                  <a:lnTo>
                    <a:pt x="105" y="0"/>
                  </a:lnTo>
                  <a:lnTo>
                    <a:pt x="105" y="3"/>
                  </a:lnTo>
                  <a:lnTo>
                    <a:pt x="104" y="4"/>
                  </a:lnTo>
                  <a:lnTo>
                    <a:pt x="103" y="6"/>
                  </a:lnTo>
                  <a:lnTo>
                    <a:pt x="104" y="7"/>
                  </a:lnTo>
                  <a:lnTo>
                    <a:pt x="104" y="5"/>
                  </a:lnTo>
                  <a:lnTo>
                    <a:pt x="105" y="5"/>
                  </a:lnTo>
                  <a:lnTo>
                    <a:pt x="104" y="7"/>
                  </a:lnTo>
                  <a:lnTo>
                    <a:pt x="106" y="6"/>
                  </a:lnTo>
                  <a:lnTo>
                    <a:pt x="108" y="6"/>
                  </a:lnTo>
                  <a:lnTo>
                    <a:pt x="103" y="9"/>
                  </a:lnTo>
                  <a:lnTo>
                    <a:pt x="104" y="9"/>
                  </a:lnTo>
                  <a:lnTo>
                    <a:pt x="105" y="9"/>
                  </a:lnTo>
                  <a:lnTo>
                    <a:pt x="104" y="10"/>
                  </a:lnTo>
                  <a:lnTo>
                    <a:pt x="106" y="10"/>
                  </a:lnTo>
                  <a:lnTo>
                    <a:pt x="104" y="10"/>
                  </a:lnTo>
                  <a:lnTo>
                    <a:pt x="104" y="11"/>
                  </a:lnTo>
                  <a:lnTo>
                    <a:pt x="104" y="12"/>
                  </a:lnTo>
                  <a:lnTo>
                    <a:pt x="105" y="12"/>
                  </a:lnTo>
                  <a:lnTo>
                    <a:pt x="104" y="12"/>
                  </a:lnTo>
                  <a:lnTo>
                    <a:pt x="105" y="12"/>
                  </a:lnTo>
                  <a:lnTo>
                    <a:pt x="104" y="12"/>
                  </a:lnTo>
                  <a:lnTo>
                    <a:pt x="104" y="13"/>
                  </a:lnTo>
                  <a:lnTo>
                    <a:pt x="104" y="12"/>
                  </a:lnTo>
                  <a:lnTo>
                    <a:pt x="105" y="13"/>
                  </a:lnTo>
                  <a:lnTo>
                    <a:pt x="106" y="11"/>
                  </a:lnTo>
                  <a:lnTo>
                    <a:pt x="105" y="13"/>
                  </a:lnTo>
                  <a:lnTo>
                    <a:pt x="106" y="13"/>
                  </a:lnTo>
                  <a:lnTo>
                    <a:pt x="106" y="12"/>
                  </a:lnTo>
                  <a:lnTo>
                    <a:pt x="106" y="13"/>
                  </a:lnTo>
                  <a:lnTo>
                    <a:pt x="105" y="13"/>
                  </a:lnTo>
                  <a:lnTo>
                    <a:pt x="106" y="13"/>
                  </a:lnTo>
                  <a:lnTo>
                    <a:pt x="105" y="15"/>
                  </a:lnTo>
                  <a:lnTo>
                    <a:pt x="106" y="16"/>
                  </a:lnTo>
                  <a:lnTo>
                    <a:pt x="106" y="15"/>
                  </a:lnTo>
                  <a:lnTo>
                    <a:pt x="109" y="13"/>
                  </a:lnTo>
                  <a:lnTo>
                    <a:pt x="108" y="15"/>
                  </a:lnTo>
                  <a:lnTo>
                    <a:pt x="109" y="15"/>
                  </a:lnTo>
                  <a:lnTo>
                    <a:pt x="110" y="15"/>
                  </a:lnTo>
                  <a:lnTo>
                    <a:pt x="109" y="15"/>
                  </a:lnTo>
                  <a:lnTo>
                    <a:pt x="108" y="15"/>
                  </a:lnTo>
                  <a:lnTo>
                    <a:pt x="109" y="16"/>
                  </a:lnTo>
                  <a:lnTo>
                    <a:pt x="108" y="16"/>
                  </a:lnTo>
                  <a:lnTo>
                    <a:pt x="106" y="16"/>
                  </a:lnTo>
                  <a:lnTo>
                    <a:pt x="108" y="16"/>
                  </a:lnTo>
                  <a:lnTo>
                    <a:pt x="106" y="16"/>
                  </a:lnTo>
                  <a:lnTo>
                    <a:pt x="105" y="16"/>
                  </a:lnTo>
                  <a:lnTo>
                    <a:pt x="106" y="17"/>
                  </a:lnTo>
                  <a:lnTo>
                    <a:pt x="105" y="16"/>
                  </a:lnTo>
                  <a:lnTo>
                    <a:pt x="103" y="17"/>
                  </a:lnTo>
                  <a:lnTo>
                    <a:pt x="103" y="18"/>
                  </a:lnTo>
                  <a:lnTo>
                    <a:pt x="104" y="18"/>
                  </a:lnTo>
                  <a:lnTo>
                    <a:pt x="105" y="18"/>
                  </a:lnTo>
                  <a:lnTo>
                    <a:pt x="106" y="18"/>
                  </a:lnTo>
                  <a:lnTo>
                    <a:pt x="106" y="17"/>
                  </a:lnTo>
                  <a:lnTo>
                    <a:pt x="108" y="17"/>
                  </a:lnTo>
                  <a:lnTo>
                    <a:pt x="106" y="18"/>
                  </a:lnTo>
                  <a:lnTo>
                    <a:pt x="108" y="18"/>
                  </a:lnTo>
                  <a:lnTo>
                    <a:pt x="108" y="19"/>
                  </a:lnTo>
                  <a:lnTo>
                    <a:pt x="106" y="19"/>
                  </a:lnTo>
                  <a:lnTo>
                    <a:pt x="108" y="21"/>
                  </a:lnTo>
                  <a:lnTo>
                    <a:pt x="105" y="19"/>
                  </a:lnTo>
                  <a:lnTo>
                    <a:pt x="104" y="19"/>
                  </a:lnTo>
                  <a:lnTo>
                    <a:pt x="105" y="19"/>
                  </a:lnTo>
                  <a:lnTo>
                    <a:pt x="105" y="21"/>
                  </a:lnTo>
                  <a:lnTo>
                    <a:pt x="106" y="21"/>
                  </a:lnTo>
                  <a:lnTo>
                    <a:pt x="105" y="22"/>
                  </a:lnTo>
                  <a:lnTo>
                    <a:pt x="106" y="23"/>
                  </a:lnTo>
                  <a:lnTo>
                    <a:pt x="105" y="23"/>
                  </a:lnTo>
                  <a:lnTo>
                    <a:pt x="105" y="24"/>
                  </a:lnTo>
                  <a:lnTo>
                    <a:pt x="106" y="24"/>
                  </a:lnTo>
                  <a:lnTo>
                    <a:pt x="105" y="24"/>
                  </a:lnTo>
                  <a:lnTo>
                    <a:pt x="105" y="25"/>
                  </a:lnTo>
                  <a:lnTo>
                    <a:pt x="106" y="25"/>
                  </a:lnTo>
                  <a:lnTo>
                    <a:pt x="106" y="24"/>
                  </a:lnTo>
                  <a:lnTo>
                    <a:pt x="106" y="25"/>
                  </a:lnTo>
                  <a:lnTo>
                    <a:pt x="106" y="27"/>
                  </a:lnTo>
                  <a:lnTo>
                    <a:pt x="106" y="25"/>
                  </a:lnTo>
                  <a:lnTo>
                    <a:pt x="105" y="25"/>
                  </a:lnTo>
                  <a:lnTo>
                    <a:pt x="105" y="27"/>
                  </a:lnTo>
                  <a:lnTo>
                    <a:pt x="106" y="27"/>
                  </a:lnTo>
                  <a:lnTo>
                    <a:pt x="109" y="28"/>
                  </a:lnTo>
                  <a:lnTo>
                    <a:pt x="111" y="30"/>
                  </a:lnTo>
                  <a:lnTo>
                    <a:pt x="112" y="30"/>
                  </a:lnTo>
                  <a:lnTo>
                    <a:pt x="111" y="30"/>
                  </a:lnTo>
                  <a:lnTo>
                    <a:pt x="112" y="30"/>
                  </a:lnTo>
                  <a:lnTo>
                    <a:pt x="114" y="31"/>
                  </a:lnTo>
                  <a:lnTo>
                    <a:pt x="111" y="31"/>
                  </a:lnTo>
                  <a:lnTo>
                    <a:pt x="111" y="33"/>
                  </a:lnTo>
                  <a:lnTo>
                    <a:pt x="111" y="31"/>
                  </a:lnTo>
                  <a:lnTo>
                    <a:pt x="111" y="30"/>
                  </a:lnTo>
                  <a:lnTo>
                    <a:pt x="110" y="30"/>
                  </a:lnTo>
                  <a:lnTo>
                    <a:pt x="110" y="31"/>
                  </a:lnTo>
                  <a:lnTo>
                    <a:pt x="110" y="30"/>
                  </a:lnTo>
                  <a:lnTo>
                    <a:pt x="109" y="30"/>
                  </a:lnTo>
                  <a:lnTo>
                    <a:pt x="110" y="31"/>
                  </a:lnTo>
                  <a:lnTo>
                    <a:pt x="109" y="33"/>
                  </a:lnTo>
                  <a:lnTo>
                    <a:pt x="109" y="34"/>
                  </a:lnTo>
                  <a:lnTo>
                    <a:pt x="110" y="34"/>
                  </a:lnTo>
                  <a:lnTo>
                    <a:pt x="111" y="34"/>
                  </a:lnTo>
                  <a:lnTo>
                    <a:pt x="110" y="35"/>
                  </a:lnTo>
                  <a:lnTo>
                    <a:pt x="110" y="34"/>
                  </a:lnTo>
                  <a:lnTo>
                    <a:pt x="110" y="35"/>
                  </a:lnTo>
                  <a:lnTo>
                    <a:pt x="111" y="35"/>
                  </a:lnTo>
                  <a:lnTo>
                    <a:pt x="112" y="36"/>
                  </a:lnTo>
                  <a:lnTo>
                    <a:pt x="111" y="36"/>
                  </a:lnTo>
                  <a:lnTo>
                    <a:pt x="111" y="37"/>
                  </a:lnTo>
                  <a:lnTo>
                    <a:pt x="112" y="36"/>
                  </a:lnTo>
                  <a:lnTo>
                    <a:pt x="114" y="36"/>
                  </a:lnTo>
                  <a:lnTo>
                    <a:pt x="114" y="37"/>
                  </a:lnTo>
                  <a:lnTo>
                    <a:pt x="115" y="39"/>
                  </a:lnTo>
                  <a:lnTo>
                    <a:pt x="116" y="39"/>
                  </a:lnTo>
                  <a:lnTo>
                    <a:pt x="117" y="39"/>
                  </a:lnTo>
                  <a:lnTo>
                    <a:pt x="118" y="40"/>
                  </a:lnTo>
                  <a:lnTo>
                    <a:pt x="120" y="40"/>
                  </a:lnTo>
                  <a:lnTo>
                    <a:pt x="118" y="40"/>
                  </a:lnTo>
                  <a:lnTo>
                    <a:pt x="120" y="40"/>
                  </a:lnTo>
                  <a:lnTo>
                    <a:pt x="121" y="40"/>
                  </a:lnTo>
                  <a:lnTo>
                    <a:pt x="121" y="41"/>
                  </a:lnTo>
                  <a:lnTo>
                    <a:pt x="123" y="42"/>
                  </a:lnTo>
                  <a:lnTo>
                    <a:pt x="124" y="42"/>
                  </a:lnTo>
                  <a:lnTo>
                    <a:pt x="124" y="43"/>
                  </a:lnTo>
                  <a:lnTo>
                    <a:pt x="126" y="43"/>
                  </a:lnTo>
                  <a:lnTo>
                    <a:pt x="126" y="45"/>
                  </a:lnTo>
                  <a:lnTo>
                    <a:pt x="127" y="45"/>
                  </a:lnTo>
                  <a:lnTo>
                    <a:pt x="128" y="47"/>
                  </a:lnTo>
                  <a:lnTo>
                    <a:pt x="127" y="46"/>
                  </a:lnTo>
                  <a:lnTo>
                    <a:pt x="127" y="47"/>
                  </a:lnTo>
                  <a:lnTo>
                    <a:pt x="126" y="46"/>
                  </a:lnTo>
                  <a:lnTo>
                    <a:pt x="126" y="45"/>
                  </a:lnTo>
                  <a:lnTo>
                    <a:pt x="123" y="43"/>
                  </a:lnTo>
                  <a:lnTo>
                    <a:pt x="124" y="45"/>
                  </a:lnTo>
                  <a:lnTo>
                    <a:pt x="123" y="45"/>
                  </a:lnTo>
                  <a:lnTo>
                    <a:pt x="123" y="46"/>
                  </a:lnTo>
                  <a:lnTo>
                    <a:pt x="123" y="45"/>
                  </a:lnTo>
                  <a:lnTo>
                    <a:pt x="123" y="43"/>
                  </a:lnTo>
                  <a:lnTo>
                    <a:pt x="123" y="45"/>
                  </a:lnTo>
                  <a:lnTo>
                    <a:pt x="123" y="46"/>
                  </a:lnTo>
                  <a:lnTo>
                    <a:pt x="122" y="46"/>
                  </a:lnTo>
                  <a:lnTo>
                    <a:pt x="122" y="47"/>
                  </a:lnTo>
                  <a:lnTo>
                    <a:pt x="123" y="47"/>
                  </a:lnTo>
                  <a:lnTo>
                    <a:pt x="123" y="48"/>
                  </a:lnTo>
                  <a:lnTo>
                    <a:pt x="123" y="49"/>
                  </a:lnTo>
                  <a:lnTo>
                    <a:pt x="123" y="51"/>
                  </a:lnTo>
                  <a:lnTo>
                    <a:pt x="123" y="52"/>
                  </a:lnTo>
                  <a:lnTo>
                    <a:pt x="122" y="52"/>
                  </a:lnTo>
                  <a:lnTo>
                    <a:pt x="123" y="52"/>
                  </a:lnTo>
                  <a:lnTo>
                    <a:pt x="123" y="53"/>
                  </a:lnTo>
                  <a:lnTo>
                    <a:pt x="124" y="53"/>
                  </a:lnTo>
                  <a:lnTo>
                    <a:pt x="126" y="53"/>
                  </a:lnTo>
                  <a:lnTo>
                    <a:pt x="124" y="53"/>
                  </a:lnTo>
                  <a:lnTo>
                    <a:pt x="126" y="54"/>
                  </a:lnTo>
                  <a:lnTo>
                    <a:pt x="126" y="53"/>
                  </a:lnTo>
                  <a:lnTo>
                    <a:pt x="127" y="53"/>
                  </a:lnTo>
                  <a:lnTo>
                    <a:pt x="127" y="54"/>
                  </a:lnTo>
                  <a:lnTo>
                    <a:pt x="128" y="54"/>
                  </a:lnTo>
                  <a:lnTo>
                    <a:pt x="127" y="54"/>
                  </a:lnTo>
                  <a:lnTo>
                    <a:pt x="129" y="54"/>
                  </a:lnTo>
                  <a:lnTo>
                    <a:pt x="128" y="55"/>
                  </a:lnTo>
                  <a:lnTo>
                    <a:pt x="127" y="54"/>
                  </a:lnTo>
                  <a:lnTo>
                    <a:pt x="128" y="57"/>
                  </a:lnTo>
                  <a:lnTo>
                    <a:pt x="127" y="54"/>
                  </a:lnTo>
                  <a:lnTo>
                    <a:pt x="127" y="55"/>
                  </a:lnTo>
                  <a:lnTo>
                    <a:pt x="126" y="55"/>
                  </a:lnTo>
                  <a:lnTo>
                    <a:pt x="126" y="54"/>
                  </a:lnTo>
                  <a:lnTo>
                    <a:pt x="124" y="54"/>
                  </a:lnTo>
                  <a:lnTo>
                    <a:pt x="124" y="55"/>
                  </a:lnTo>
                  <a:lnTo>
                    <a:pt x="124" y="58"/>
                  </a:lnTo>
                  <a:lnTo>
                    <a:pt x="123" y="58"/>
                  </a:lnTo>
                  <a:lnTo>
                    <a:pt x="123" y="57"/>
                  </a:lnTo>
                  <a:lnTo>
                    <a:pt x="123" y="58"/>
                  </a:lnTo>
                  <a:lnTo>
                    <a:pt x="123" y="57"/>
                  </a:lnTo>
                  <a:lnTo>
                    <a:pt x="122" y="58"/>
                  </a:lnTo>
                  <a:lnTo>
                    <a:pt x="122" y="57"/>
                  </a:lnTo>
                  <a:lnTo>
                    <a:pt x="122" y="58"/>
                  </a:lnTo>
                  <a:lnTo>
                    <a:pt x="121" y="58"/>
                  </a:lnTo>
                  <a:lnTo>
                    <a:pt x="121" y="57"/>
                  </a:lnTo>
                  <a:lnTo>
                    <a:pt x="121" y="55"/>
                  </a:lnTo>
                  <a:lnTo>
                    <a:pt x="120" y="55"/>
                  </a:lnTo>
                  <a:lnTo>
                    <a:pt x="120" y="57"/>
                  </a:lnTo>
                  <a:lnTo>
                    <a:pt x="120" y="58"/>
                  </a:lnTo>
                  <a:lnTo>
                    <a:pt x="120" y="59"/>
                  </a:lnTo>
                  <a:lnTo>
                    <a:pt x="121" y="59"/>
                  </a:lnTo>
                  <a:lnTo>
                    <a:pt x="122" y="60"/>
                  </a:lnTo>
                  <a:lnTo>
                    <a:pt x="123" y="60"/>
                  </a:lnTo>
                  <a:lnTo>
                    <a:pt x="124" y="61"/>
                  </a:lnTo>
                  <a:lnTo>
                    <a:pt x="126" y="61"/>
                  </a:lnTo>
                  <a:lnTo>
                    <a:pt x="127" y="61"/>
                  </a:lnTo>
                  <a:lnTo>
                    <a:pt x="128" y="61"/>
                  </a:lnTo>
                  <a:lnTo>
                    <a:pt x="129" y="61"/>
                  </a:lnTo>
                  <a:lnTo>
                    <a:pt x="129" y="60"/>
                  </a:lnTo>
                  <a:lnTo>
                    <a:pt x="129" y="61"/>
                  </a:lnTo>
                  <a:lnTo>
                    <a:pt x="130" y="61"/>
                  </a:lnTo>
                  <a:lnTo>
                    <a:pt x="132" y="60"/>
                  </a:lnTo>
                  <a:lnTo>
                    <a:pt x="133" y="60"/>
                  </a:lnTo>
                  <a:lnTo>
                    <a:pt x="130" y="61"/>
                  </a:lnTo>
                  <a:lnTo>
                    <a:pt x="134" y="61"/>
                  </a:lnTo>
                  <a:lnTo>
                    <a:pt x="132" y="63"/>
                  </a:lnTo>
                  <a:lnTo>
                    <a:pt x="130" y="63"/>
                  </a:lnTo>
                  <a:lnTo>
                    <a:pt x="132" y="63"/>
                  </a:lnTo>
                  <a:lnTo>
                    <a:pt x="130" y="61"/>
                  </a:lnTo>
                  <a:lnTo>
                    <a:pt x="129" y="61"/>
                  </a:lnTo>
                  <a:lnTo>
                    <a:pt x="129" y="63"/>
                  </a:lnTo>
                  <a:lnTo>
                    <a:pt x="129" y="64"/>
                  </a:lnTo>
                  <a:lnTo>
                    <a:pt x="129" y="65"/>
                  </a:lnTo>
                  <a:lnTo>
                    <a:pt x="128" y="65"/>
                  </a:lnTo>
                  <a:lnTo>
                    <a:pt x="129" y="65"/>
                  </a:lnTo>
                  <a:lnTo>
                    <a:pt x="129" y="66"/>
                  </a:lnTo>
                  <a:lnTo>
                    <a:pt x="130" y="67"/>
                  </a:lnTo>
                  <a:lnTo>
                    <a:pt x="130" y="66"/>
                  </a:lnTo>
                  <a:lnTo>
                    <a:pt x="132" y="66"/>
                  </a:lnTo>
                  <a:lnTo>
                    <a:pt x="132" y="67"/>
                  </a:lnTo>
                  <a:lnTo>
                    <a:pt x="134" y="66"/>
                  </a:lnTo>
                  <a:lnTo>
                    <a:pt x="134" y="65"/>
                  </a:lnTo>
                  <a:lnTo>
                    <a:pt x="136" y="64"/>
                  </a:lnTo>
                  <a:lnTo>
                    <a:pt x="135" y="65"/>
                  </a:lnTo>
                  <a:lnTo>
                    <a:pt x="136" y="65"/>
                  </a:lnTo>
                  <a:lnTo>
                    <a:pt x="136" y="66"/>
                  </a:lnTo>
                  <a:lnTo>
                    <a:pt x="135" y="66"/>
                  </a:lnTo>
                  <a:lnTo>
                    <a:pt x="135" y="67"/>
                  </a:lnTo>
                  <a:lnTo>
                    <a:pt x="135" y="66"/>
                  </a:lnTo>
                  <a:lnTo>
                    <a:pt x="134" y="66"/>
                  </a:lnTo>
                  <a:lnTo>
                    <a:pt x="135" y="67"/>
                  </a:lnTo>
                  <a:lnTo>
                    <a:pt x="134" y="67"/>
                  </a:lnTo>
                  <a:lnTo>
                    <a:pt x="133" y="67"/>
                  </a:lnTo>
                  <a:lnTo>
                    <a:pt x="134" y="67"/>
                  </a:lnTo>
                  <a:lnTo>
                    <a:pt x="135" y="69"/>
                  </a:lnTo>
                  <a:lnTo>
                    <a:pt x="134" y="69"/>
                  </a:lnTo>
                  <a:lnTo>
                    <a:pt x="133" y="69"/>
                  </a:lnTo>
                  <a:lnTo>
                    <a:pt x="132" y="69"/>
                  </a:lnTo>
                  <a:lnTo>
                    <a:pt x="132" y="70"/>
                  </a:lnTo>
                  <a:lnTo>
                    <a:pt x="133" y="71"/>
                  </a:lnTo>
                  <a:lnTo>
                    <a:pt x="134" y="71"/>
                  </a:lnTo>
                  <a:lnTo>
                    <a:pt x="136" y="71"/>
                  </a:lnTo>
                  <a:lnTo>
                    <a:pt x="135" y="71"/>
                  </a:lnTo>
                  <a:lnTo>
                    <a:pt x="135" y="72"/>
                  </a:lnTo>
                  <a:lnTo>
                    <a:pt x="136" y="73"/>
                  </a:lnTo>
                  <a:lnTo>
                    <a:pt x="135" y="72"/>
                  </a:lnTo>
                  <a:lnTo>
                    <a:pt x="134" y="72"/>
                  </a:lnTo>
                  <a:lnTo>
                    <a:pt x="134" y="73"/>
                  </a:lnTo>
                  <a:lnTo>
                    <a:pt x="134" y="72"/>
                  </a:lnTo>
                  <a:lnTo>
                    <a:pt x="133" y="73"/>
                  </a:lnTo>
                  <a:lnTo>
                    <a:pt x="132" y="73"/>
                  </a:lnTo>
                  <a:lnTo>
                    <a:pt x="133" y="73"/>
                  </a:lnTo>
                  <a:lnTo>
                    <a:pt x="132" y="73"/>
                  </a:lnTo>
                  <a:lnTo>
                    <a:pt x="132" y="75"/>
                  </a:lnTo>
                  <a:lnTo>
                    <a:pt x="133" y="75"/>
                  </a:lnTo>
                  <a:lnTo>
                    <a:pt x="134" y="76"/>
                  </a:lnTo>
                  <a:lnTo>
                    <a:pt x="134" y="77"/>
                  </a:lnTo>
                  <a:lnTo>
                    <a:pt x="135" y="77"/>
                  </a:lnTo>
                  <a:lnTo>
                    <a:pt x="135" y="78"/>
                  </a:lnTo>
                  <a:lnTo>
                    <a:pt x="136" y="78"/>
                  </a:lnTo>
                  <a:lnTo>
                    <a:pt x="138" y="78"/>
                  </a:lnTo>
                  <a:lnTo>
                    <a:pt x="139" y="78"/>
                  </a:lnTo>
                  <a:lnTo>
                    <a:pt x="139" y="79"/>
                  </a:lnTo>
                  <a:lnTo>
                    <a:pt x="138" y="79"/>
                  </a:lnTo>
                  <a:lnTo>
                    <a:pt x="139" y="79"/>
                  </a:lnTo>
                  <a:lnTo>
                    <a:pt x="139" y="81"/>
                  </a:lnTo>
                  <a:lnTo>
                    <a:pt x="138" y="81"/>
                  </a:lnTo>
                  <a:lnTo>
                    <a:pt x="138" y="79"/>
                  </a:lnTo>
                  <a:lnTo>
                    <a:pt x="138" y="81"/>
                  </a:lnTo>
                  <a:lnTo>
                    <a:pt x="138" y="79"/>
                  </a:lnTo>
                  <a:lnTo>
                    <a:pt x="136" y="79"/>
                  </a:lnTo>
                  <a:lnTo>
                    <a:pt x="135" y="78"/>
                  </a:lnTo>
                  <a:lnTo>
                    <a:pt x="135" y="79"/>
                  </a:lnTo>
                  <a:lnTo>
                    <a:pt x="135" y="81"/>
                  </a:lnTo>
                  <a:lnTo>
                    <a:pt x="135" y="82"/>
                  </a:lnTo>
                  <a:lnTo>
                    <a:pt x="135" y="81"/>
                  </a:lnTo>
                  <a:lnTo>
                    <a:pt x="135" y="79"/>
                  </a:lnTo>
                  <a:lnTo>
                    <a:pt x="134" y="81"/>
                  </a:lnTo>
                  <a:lnTo>
                    <a:pt x="134" y="82"/>
                  </a:lnTo>
                  <a:lnTo>
                    <a:pt x="133" y="81"/>
                  </a:lnTo>
                  <a:lnTo>
                    <a:pt x="133" y="79"/>
                  </a:lnTo>
                  <a:lnTo>
                    <a:pt x="133" y="81"/>
                  </a:lnTo>
                  <a:lnTo>
                    <a:pt x="132" y="81"/>
                  </a:lnTo>
                  <a:lnTo>
                    <a:pt x="132" y="79"/>
                  </a:lnTo>
                  <a:lnTo>
                    <a:pt x="132" y="78"/>
                  </a:lnTo>
                  <a:lnTo>
                    <a:pt x="130" y="79"/>
                  </a:lnTo>
                  <a:lnTo>
                    <a:pt x="130" y="78"/>
                  </a:lnTo>
                  <a:lnTo>
                    <a:pt x="130" y="77"/>
                  </a:lnTo>
                  <a:lnTo>
                    <a:pt x="129" y="77"/>
                  </a:lnTo>
                  <a:lnTo>
                    <a:pt x="129" y="78"/>
                  </a:lnTo>
                  <a:lnTo>
                    <a:pt x="129" y="79"/>
                  </a:lnTo>
                  <a:lnTo>
                    <a:pt x="129" y="78"/>
                  </a:lnTo>
                  <a:lnTo>
                    <a:pt x="129" y="77"/>
                  </a:lnTo>
                  <a:lnTo>
                    <a:pt x="129" y="76"/>
                  </a:lnTo>
                  <a:lnTo>
                    <a:pt x="128" y="76"/>
                  </a:lnTo>
                  <a:lnTo>
                    <a:pt x="128" y="77"/>
                  </a:lnTo>
                  <a:lnTo>
                    <a:pt x="128" y="78"/>
                  </a:lnTo>
                  <a:lnTo>
                    <a:pt x="129" y="78"/>
                  </a:lnTo>
                  <a:lnTo>
                    <a:pt x="129" y="79"/>
                  </a:lnTo>
                  <a:lnTo>
                    <a:pt x="130" y="81"/>
                  </a:lnTo>
                  <a:lnTo>
                    <a:pt x="132" y="81"/>
                  </a:lnTo>
                  <a:lnTo>
                    <a:pt x="132" y="82"/>
                  </a:lnTo>
                  <a:lnTo>
                    <a:pt x="133" y="82"/>
                  </a:lnTo>
                  <a:lnTo>
                    <a:pt x="134" y="83"/>
                  </a:lnTo>
                  <a:lnTo>
                    <a:pt x="135" y="82"/>
                  </a:lnTo>
                  <a:lnTo>
                    <a:pt x="136" y="82"/>
                  </a:lnTo>
                  <a:lnTo>
                    <a:pt x="138" y="82"/>
                  </a:lnTo>
                  <a:lnTo>
                    <a:pt x="139" y="82"/>
                  </a:lnTo>
                  <a:lnTo>
                    <a:pt x="139" y="81"/>
                  </a:lnTo>
                  <a:lnTo>
                    <a:pt x="140" y="79"/>
                  </a:lnTo>
                  <a:lnTo>
                    <a:pt x="140" y="78"/>
                  </a:lnTo>
                  <a:lnTo>
                    <a:pt x="141" y="78"/>
                  </a:lnTo>
                  <a:lnTo>
                    <a:pt x="140" y="77"/>
                  </a:lnTo>
                  <a:lnTo>
                    <a:pt x="141" y="77"/>
                  </a:lnTo>
                  <a:lnTo>
                    <a:pt x="141" y="78"/>
                  </a:lnTo>
                  <a:lnTo>
                    <a:pt x="144" y="76"/>
                  </a:lnTo>
                  <a:lnTo>
                    <a:pt x="145" y="76"/>
                  </a:lnTo>
                  <a:lnTo>
                    <a:pt x="144" y="76"/>
                  </a:lnTo>
                  <a:lnTo>
                    <a:pt x="146" y="76"/>
                  </a:lnTo>
                  <a:lnTo>
                    <a:pt x="145" y="77"/>
                  </a:lnTo>
                  <a:lnTo>
                    <a:pt x="144" y="77"/>
                  </a:lnTo>
                  <a:lnTo>
                    <a:pt x="145" y="78"/>
                  </a:lnTo>
                  <a:lnTo>
                    <a:pt x="144" y="77"/>
                  </a:lnTo>
                  <a:lnTo>
                    <a:pt x="142" y="78"/>
                  </a:lnTo>
                  <a:lnTo>
                    <a:pt x="144" y="79"/>
                  </a:lnTo>
                  <a:lnTo>
                    <a:pt x="142" y="78"/>
                  </a:lnTo>
                  <a:lnTo>
                    <a:pt x="142" y="79"/>
                  </a:lnTo>
                  <a:lnTo>
                    <a:pt x="141" y="79"/>
                  </a:lnTo>
                  <a:lnTo>
                    <a:pt x="141" y="81"/>
                  </a:lnTo>
                  <a:lnTo>
                    <a:pt x="142" y="82"/>
                  </a:lnTo>
                  <a:lnTo>
                    <a:pt x="141" y="81"/>
                  </a:lnTo>
                  <a:lnTo>
                    <a:pt x="140" y="81"/>
                  </a:lnTo>
                  <a:lnTo>
                    <a:pt x="141" y="82"/>
                  </a:lnTo>
                  <a:lnTo>
                    <a:pt x="142" y="82"/>
                  </a:lnTo>
                  <a:lnTo>
                    <a:pt x="141" y="83"/>
                  </a:lnTo>
                  <a:lnTo>
                    <a:pt x="142" y="83"/>
                  </a:lnTo>
                  <a:lnTo>
                    <a:pt x="142" y="84"/>
                  </a:lnTo>
                  <a:lnTo>
                    <a:pt x="141" y="84"/>
                  </a:lnTo>
                  <a:lnTo>
                    <a:pt x="142" y="85"/>
                  </a:lnTo>
                  <a:lnTo>
                    <a:pt x="141" y="85"/>
                  </a:lnTo>
                  <a:lnTo>
                    <a:pt x="140" y="84"/>
                  </a:lnTo>
                  <a:lnTo>
                    <a:pt x="140" y="83"/>
                  </a:lnTo>
                  <a:lnTo>
                    <a:pt x="140" y="84"/>
                  </a:lnTo>
                  <a:lnTo>
                    <a:pt x="140" y="85"/>
                  </a:lnTo>
                  <a:lnTo>
                    <a:pt x="139" y="85"/>
                  </a:lnTo>
                  <a:lnTo>
                    <a:pt x="139" y="87"/>
                  </a:lnTo>
                  <a:lnTo>
                    <a:pt x="140" y="87"/>
                  </a:lnTo>
                  <a:lnTo>
                    <a:pt x="140" y="85"/>
                  </a:lnTo>
                  <a:lnTo>
                    <a:pt x="140" y="87"/>
                  </a:lnTo>
                  <a:lnTo>
                    <a:pt x="141" y="87"/>
                  </a:lnTo>
                  <a:lnTo>
                    <a:pt x="142" y="87"/>
                  </a:lnTo>
                  <a:lnTo>
                    <a:pt x="144" y="88"/>
                  </a:lnTo>
                  <a:lnTo>
                    <a:pt x="142" y="88"/>
                  </a:lnTo>
                  <a:lnTo>
                    <a:pt x="141" y="88"/>
                  </a:lnTo>
                  <a:lnTo>
                    <a:pt x="142" y="88"/>
                  </a:lnTo>
                  <a:lnTo>
                    <a:pt x="142" y="89"/>
                  </a:lnTo>
                  <a:lnTo>
                    <a:pt x="141" y="88"/>
                  </a:lnTo>
                  <a:lnTo>
                    <a:pt x="141" y="89"/>
                  </a:lnTo>
                  <a:lnTo>
                    <a:pt x="141" y="88"/>
                  </a:lnTo>
                  <a:lnTo>
                    <a:pt x="140" y="88"/>
                  </a:lnTo>
                  <a:lnTo>
                    <a:pt x="141" y="89"/>
                  </a:lnTo>
                  <a:lnTo>
                    <a:pt x="140" y="90"/>
                  </a:lnTo>
                  <a:lnTo>
                    <a:pt x="140" y="89"/>
                  </a:lnTo>
                  <a:lnTo>
                    <a:pt x="139" y="89"/>
                  </a:lnTo>
                  <a:lnTo>
                    <a:pt x="139" y="88"/>
                  </a:lnTo>
                  <a:lnTo>
                    <a:pt x="139" y="89"/>
                  </a:lnTo>
                  <a:lnTo>
                    <a:pt x="138" y="89"/>
                  </a:lnTo>
                  <a:lnTo>
                    <a:pt x="138" y="90"/>
                  </a:lnTo>
                  <a:lnTo>
                    <a:pt x="138" y="91"/>
                  </a:lnTo>
                  <a:lnTo>
                    <a:pt x="139" y="90"/>
                  </a:lnTo>
                  <a:lnTo>
                    <a:pt x="139" y="91"/>
                  </a:lnTo>
                  <a:lnTo>
                    <a:pt x="138" y="91"/>
                  </a:lnTo>
                  <a:lnTo>
                    <a:pt x="140" y="91"/>
                  </a:lnTo>
                  <a:lnTo>
                    <a:pt x="140" y="93"/>
                  </a:lnTo>
                  <a:lnTo>
                    <a:pt x="141" y="93"/>
                  </a:lnTo>
                  <a:lnTo>
                    <a:pt x="141" y="94"/>
                  </a:lnTo>
                  <a:lnTo>
                    <a:pt x="142" y="95"/>
                  </a:lnTo>
                  <a:lnTo>
                    <a:pt x="142" y="94"/>
                  </a:lnTo>
                  <a:lnTo>
                    <a:pt x="144" y="95"/>
                  </a:lnTo>
                  <a:lnTo>
                    <a:pt x="145" y="94"/>
                  </a:lnTo>
                  <a:lnTo>
                    <a:pt x="145" y="95"/>
                  </a:lnTo>
                  <a:lnTo>
                    <a:pt x="145" y="96"/>
                  </a:lnTo>
                  <a:lnTo>
                    <a:pt x="144" y="96"/>
                  </a:lnTo>
                  <a:lnTo>
                    <a:pt x="144" y="95"/>
                  </a:lnTo>
                  <a:lnTo>
                    <a:pt x="144" y="96"/>
                  </a:lnTo>
                  <a:lnTo>
                    <a:pt x="142" y="96"/>
                  </a:lnTo>
                  <a:lnTo>
                    <a:pt x="144" y="96"/>
                  </a:lnTo>
                  <a:lnTo>
                    <a:pt x="144" y="97"/>
                  </a:lnTo>
                  <a:lnTo>
                    <a:pt x="144" y="99"/>
                  </a:lnTo>
                  <a:lnTo>
                    <a:pt x="144" y="100"/>
                  </a:lnTo>
                  <a:lnTo>
                    <a:pt x="145" y="100"/>
                  </a:lnTo>
                  <a:lnTo>
                    <a:pt x="145" y="101"/>
                  </a:lnTo>
                  <a:lnTo>
                    <a:pt x="146" y="101"/>
                  </a:lnTo>
                  <a:lnTo>
                    <a:pt x="147" y="101"/>
                  </a:lnTo>
                  <a:lnTo>
                    <a:pt x="146" y="101"/>
                  </a:lnTo>
                  <a:lnTo>
                    <a:pt x="148" y="103"/>
                  </a:lnTo>
                  <a:lnTo>
                    <a:pt x="150" y="106"/>
                  </a:lnTo>
                  <a:lnTo>
                    <a:pt x="151" y="106"/>
                  </a:lnTo>
                  <a:lnTo>
                    <a:pt x="152" y="106"/>
                  </a:lnTo>
                  <a:lnTo>
                    <a:pt x="151" y="106"/>
                  </a:lnTo>
                  <a:lnTo>
                    <a:pt x="151" y="107"/>
                  </a:lnTo>
                  <a:lnTo>
                    <a:pt x="153" y="108"/>
                  </a:lnTo>
                  <a:lnTo>
                    <a:pt x="152" y="108"/>
                  </a:lnTo>
                  <a:lnTo>
                    <a:pt x="151" y="107"/>
                  </a:lnTo>
                  <a:lnTo>
                    <a:pt x="152" y="110"/>
                  </a:lnTo>
                  <a:lnTo>
                    <a:pt x="153" y="108"/>
                  </a:lnTo>
                  <a:lnTo>
                    <a:pt x="153" y="110"/>
                  </a:lnTo>
                  <a:lnTo>
                    <a:pt x="155" y="111"/>
                  </a:lnTo>
                  <a:lnTo>
                    <a:pt x="153" y="111"/>
                  </a:lnTo>
                  <a:lnTo>
                    <a:pt x="155" y="111"/>
                  </a:lnTo>
                  <a:lnTo>
                    <a:pt x="156" y="111"/>
                  </a:lnTo>
                  <a:lnTo>
                    <a:pt x="157" y="112"/>
                  </a:lnTo>
                  <a:lnTo>
                    <a:pt x="156" y="113"/>
                  </a:lnTo>
                  <a:lnTo>
                    <a:pt x="158" y="114"/>
                  </a:lnTo>
                  <a:lnTo>
                    <a:pt x="156" y="113"/>
                  </a:lnTo>
                  <a:lnTo>
                    <a:pt x="156" y="114"/>
                  </a:lnTo>
                  <a:lnTo>
                    <a:pt x="155" y="114"/>
                  </a:lnTo>
                  <a:lnTo>
                    <a:pt x="155" y="113"/>
                  </a:lnTo>
                  <a:lnTo>
                    <a:pt x="155" y="112"/>
                  </a:lnTo>
                  <a:lnTo>
                    <a:pt x="153" y="113"/>
                  </a:lnTo>
                  <a:lnTo>
                    <a:pt x="153" y="111"/>
                  </a:lnTo>
                  <a:lnTo>
                    <a:pt x="153" y="114"/>
                  </a:lnTo>
                  <a:lnTo>
                    <a:pt x="152" y="113"/>
                  </a:lnTo>
                  <a:lnTo>
                    <a:pt x="152" y="114"/>
                  </a:lnTo>
                  <a:lnTo>
                    <a:pt x="151" y="114"/>
                  </a:lnTo>
                  <a:lnTo>
                    <a:pt x="151" y="113"/>
                  </a:lnTo>
                  <a:lnTo>
                    <a:pt x="151" y="112"/>
                  </a:lnTo>
                  <a:lnTo>
                    <a:pt x="150" y="111"/>
                  </a:lnTo>
                  <a:lnTo>
                    <a:pt x="148" y="111"/>
                  </a:lnTo>
                  <a:lnTo>
                    <a:pt x="148" y="112"/>
                  </a:lnTo>
                  <a:lnTo>
                    <a:pt x="148" y="111"/>
                  </a:lnTo>
                  <a:lnTo>
                    <a:pt x="148" y="110"/>
                  </a:lnTo>
                  <a:lnTo>
                    <a:pt x="147" y="110"/>
                  </a:lnTo>
                  <a:lnTo>
                    <a:pt x="146" y="110"/>
                  </a:lnTo>
                  <a:lnTo>
                    <a:pt x="146" y="111"/>
                  </a:lnTo>
                  <a:lnTo>
                    <a:pt x="147" y="112"/>
                  </a:lnTo>
                  <a:lnTo>
                    <a:pt x="148" y="112"/>
                  </a:lnTo>
                  <a:lnTo>
                    <a:pt x="148" y="114"/>
                  </a:lnTo>
                  <a:lnTo>
                    <a:pt x="150" y="114"/>
                  </a:lnTo>
                  <a:lnTo>
                    <a:pt x="150" y="116"/>
                  </a:lnTo>
                  <a:lnTo>
                    <a:pt x="152" y="117"/>
                  </a:lnTo>
                  <a:lnTo>
                    <a:pt x="153" y="118"/>
                  </a:lnTo>
                  <a:lnTo>
                    <a:pt x="152" y="118"/>
                  </a:lnTo>
                  <a:lnTo>
                    <a:pt x="153" y="119"/>
                  </a:lnTo>
                  <a:lnTo>
                    <a:pt x="152" y="118"/>
                  </a:lnTo>
                  <a:lnTo>
                    <a:pt x="151" y="119"/>
                  </a:lnTo>
                  <a:lnTo>
                    <a:pt x="151" y="118"/>
                  </a:lnTo>
                  <a:lnTo>
                    <a:pt x="151" y="117"/>
                  </a:lnTo>
                  <a:lnTo>
                    <a:pt x="150" y="117"/>
                  </a:lnTo>
                  <a:lnTo>
                    <a:pt x="150" y="118"/>
                  </a:lnTo>
                  <a:lnTo>
                    <a:pt x="150" y="116"/>
                  </a:lnTo>
                  <a:lnTo>
                    <a:pt x="148" y="118"/>
                  </a:lnTo>
                  <a:lnTo>
                    <a:pt x="148" y="119"/>
                  </a:lnTo>
                  <a:lnTo>
                    <a:pt x="148" y="118"/>
                  </a:lnTo>
                  <a:lnTo>
                    <a:pt x="148" y="117"/>
                  </a:lnTo>
                  <a:lnTo>
                    <a:pt x="147" y="117"/>
                  </a:lnTo>
                  <a:lnTo>
                    <a:pt x="148" y="114"/>
                  </a:lnTo>
                  <a:lnTo>
                    <a:pt x="148" y="113"/>
                  </a:lnTo>
                  <a:lnTo>
                    <a:pt x="148" y="114"/>
                  </a:lnTo>
                  <a:lnTo>
                    <a:pt x="147" y="117"/>
                  </a:lnTo>
                  <a:lnTo>
                    <a:pt x="147" y="116"/>
                  </a:lnTo>
                  <a:lnTo>
                    <a:pt x="147" y="113"/>
                  </a:lnTo>
                  <a:lnTo>
                    <a:pt x="147" y="114"/>
                  </a:lnTo>
                  <a:lnTo>
                    <a:pt x="147" y="116"/>
                  </a:lnTo>
                  <a:lnTo>
                    <a:pt x="147" y="112"/>
                  </a:lnTo>
                  <a:lnTo>
                    <a:pt x="146" y="114"/>
                  </a:lnTo>
                  <a:lnTo>
                    <a:pt x="146" y="116"/>
                  </a:lnTo>
                  <a:lnTo>
                    <a:pt x="145" y="116"/>
                  </a:lnTo>
                  <a:lnTo>
                    <a:pt x="145" y="113"/>
                  </a:lnTo>
                  <a:lnTo>
                    <a:pt x="144" y="113"/>
                  </a:lnTo>
                  <a:lnTo>
                    <a:pt x="144" y="112"/>
                  </a:lnTo>
                  <a:lnTo>
                    <a:pt x="144" y="111"/>
                  </a:lnTo>
                  <a:lnTo>
                    <a:pt x="144" y="112"/>
                  </a:lnTo>
                  <a:lnTo>
                    <a:pt x="144" y="113"/>
                  </a:lnTo>
                  <a:lnTo>
                    <a:pt x="142" y="113"/>
                  </a:lnTo>
                  <a:lnTo>
                    <a:pt x="142" y="112"/>
                  </a:lnTo>
                  <a:lnTo>
                    <a:pt x="141" y="112"/>
                  </a:lnTo>
                  <a:lnTo>
                    <a:pt x="141" y="113"/>
                  </a:lnTo>
                  <a:lnTo>
                    <a:pt x="142" y="114"/>
                  </a:lnTo>
                  <a:lnTo>
                    <a:pt x="141" y="114"/>
                  </a:lnTo>
                  <a:lnTo>
                    <a:pt x="142" y="114"/>
                  </a:lnTo>
                  <a:lnTo>
                    <a:pt x="142" y="116"/>
                  </a:lnTo>
                  <a:lnTo>
                    <a:pt x="144" y="117"/>
                  </a:lnTo>
                  <a:lnTo>
                    <a:pt x="145" y="117"/>
                  </a:lnTo>
                  <a:lnTo>
                    <a:pt x="146" y="118"/>
                  </a:lnTo>
                  <a:lnTo>
                    <a:pt x="145" y="118"/>
                  </a:lnTo>
                  <a:lnTo>
                    <a:pt x="146" y="118"/>
                  </a:lnTo>
                  <a:lnTo>
                    <a:pt x="147" y="119"/>
                  </a:lnTo>
                  <a:lnTo>
                    <a:pt x="146" y="119"/>
                  </a:lnTo>
                  <a:lnTo>
                    <a:pt x="147" y="120"/>
                  </a:lnTo>
                  <a:lnTo>
                    <a:pt x="147" y="119"/>
                  </a:lnTo>
                  <a:lnTo>
                    <a:pt x="148" y="119"/>
                  </a:lnTo>
                  <a:lnTo>
                    <a:pt x="148" y="120"/>
                  </a:lnTo>
                  <a:lnTo>
                    <a:pt x="150" y="120"/>
                  </a:lnTo>
                  <a:lnTo>
                    <a:pt x="148" y="120"/>
                  </a:lnTo>
                  <a:lnTo>
                    <a:pt x="148" y="122"/>
                  </a:lnTo>
                  <a:lnTo>
                    <a:pt x="150" y="122"/>
                  </a:lnTo>
                  <a:lnTo>
                    <a:pt x="148" y="122"/>
                  </a:lnTo>
                  <a:lnTo>
                    <a:pt x="150" y="123"/>
                  </a:lnTo>
                  <a:lnTo>
                    <a:pt x="151" y="123"/>
                  </a:lnTo>
                  <a:lnTo>
                    <a:pt x="152" y="123"/>
                  </a:lnTo>
                  <a:lnTo>
                    <a:pt x="151" y="124"/>
                  </a:lnTo>
                  <a:lnTo>
                    <a:pt x="152" y="125"/>
                  </a:lnTo>
                  <a:lnTo>
                    <a:pt x="151" y="124"/>
                  </a:lnTo>
                  <a:lnTo>
                    <a:pt x="150" y="124"/>
                  </a:lnTo>
                  <a:lnTo>
                    <a:pt x="150" y="125"/>
                  </a:lnTo>
                  <a:lnTo>
                    <a:pt x="151" y="125"/>
                  </a:lnTo>
                  <a:lnTo>
                    <a:pt x="152" y="125"/>
                  </a:lnTo>
                  <a:lnTo>
                    <a:pt x="153" y="126"/>
                  </a:lnTo>
                  <a:lnTo>
                    <a:pt x="153" y="125"/>
                  </a:lnTo>
                  <a:lnTo>
                    <a:pt x="155" y="126"/>
                  </a:lnTo>
                  <a:lnTo>
                    <a:pt x="153" y="126"/>
                  </a:lnTo>
                  <a:lnTo>
                    <a:pt x="155" y="126"/>
                  </a:lnTo>
                  <a:lnTo>
                    <a:pt x="155" y="128"/>
                  </a:lnTo>
                  <a:lnTo>
                    <a:pt x="153" y="128"/>
                  </a:lnTo>
                  <a:lnTo>
                    <a:pt x="152" y="128"/>
                  </a:lnTo>
                  <a:lnTo>
                    <a:pt x="152" y="129"/>
                  </a:lnTo>
                  <a:lnTo>
                    <a:pt x="152" y="128"/>
                  </a:lnTo>
                  <a:lnTo>
                    <a:pt x="152" y="126"/>
                  </a:lnTo>
                  <a:lnTo>
                    <a:pt x="152" y="128"/>
                  </a:lnTo>
                  <a:lnTo>
                    <a:pt x="151" y="128"/>
                  </a:lnTo>
                  <a:lnTo>
                    <a:pt x="151" y="126"/>
                  </a:lnTo>
                  <a:lnTo>
                    <a:pt x="151" y="128"/>
                  </a:lnTo>
                  <a:lnTo>
                    <a:pt x="151" y="129"/>
                  </a:lnTo>
                  <a:lnTo>
                    <a:pt x="152" y="129"/>
                  </a:lnTo>
                  <a:lnTo>
                    <a:pt x="151" y="129"/>
                  </a:lnTo>
                  <a:lnTo>
                    <a:pt x="152" y="129"/>
                  </a:lnTo>
                  <a:lnTo>
                    <a:pt x="153" y="129"/>
                  </a:lnTo>
                  <a:lnTo>
                    <a:pt x="155" y="128"/>
                  </a:lnTo>
                  <a:lnTo>
                    <a:pt x="155" y="129"/>
                  </a:lnTo>
                  <a:lnTo>
                    <a:pt x="156" y="129"/>
                  </a:lnTo>
                  <a:lnTo>
                    <a:pt x="157" y="130"/>
                  </a:lnTo>
                  <a:lnTo>
                    <a:pt x="156" y="130"/>
                  </a:lnTo>
                  <a:lnTo>
                    <a:pt x="155" y="130"/>
                  </a:lnTo>
                  <a:lnTo>
                    <a:pt x="156" y="131"/>
                  </a:lnTo>
                  <a:lnTo>
                    <a:pt x="157" y="131"/>
                  </a:lnTo>
                  <a:lnTo>
                    <a:pt x="158" y="131"/>
                  </a:lnTo>
                  <a:lnTo>
                    <a:pt x="159" y="131"/>
                  </a:lnTo>
                  <a:lnTo>
                    <a:pt x="161" y="131"/>
                  </a:lnTo>
                  <a:lnTo>
                    <a:pt x="161" y="132"/>
                  </a:lnTo>
                  <a:lnTo>
                    <a:pt x="162" y="132"/>
                  </a:lnTo>
                  <a:lnTo>
                    <a:pt x="163" y="134"/>
                  </a:lnTo>
                  <a:lnTo>
                    <a:pt x="164" y="134"/>
                  </a:lnTo>
                  <a:lnTo>
                    <a:pt x="164" y="132"/>
                  </a:lnTo>
                  <a:lnTo>
                    <a:pt x="165" y="132"/>
                  </a:lnTo>
                  <a:lnTo>
                    <a:pt x="165" y="134"/>
                  </a:lnTo>
                  <a:lnTo>
                    <a:pt x="164" y="134"/>
                  </a:lnTo>
                  <a:lnTo>
                    <a:pt x="164" y="135"/>
                  </a:lnTo>
                  <a:lnTo>
                    <a:pt x="165" y="135"/>
                  </a:lnTo>
                  <a:lnTo>
                    <a:pt x="167" y="135"/>
                  </a:lnTo>
                  <a:lnTo>
                    <a:pt x="168" y="135"/>
                  </a:lnTo>
                  <a:lnTo>
                    <a:pt x="167" y="136"/>
                  </a:lnTo>
                  <a:lnTo>
                    <a:pt x="167" y="135"/>
                  </a:lnTo>
                  <a:lnTo>
                    <a:pt x="165" y="135"/>
                  </a:lnTo>
                  <a:lnTo>
                    <a:pt x="165" y="136"/>
                  </a:lnTo>
                  <a:lnTo>
                    <a:pt x="167" y="137"/>
                  </a:lnTo>
                  <a:lnTo>
                    <a:pt x="168" y="137"/>
                  </a:lnTo>
                  <a:lnTo>
                    <a:pt x="170" y="137"/>
                  </a:lnTo>
                  <a:lnTo>
                    <a:pt x="171" y="137"/>
                  </a:lnTo>
                  <a:lnTo>
                    <a:pt x="170" y="138"/>
                  </a:lnTo>
                  <a:lnTo>
                    <a:pt x="171" y="138"/>
                  </a:lnTo>
                  <a:lnTo>
                    <a:pt x="171" y="140"/>
                  </a:lnTo>
                  <a:lnTo>
                    <a:pt x="170" y="138"/>
                  </a:lnTo>
                  <a:lnTo>
                    <a:pt x="169" y="138"/>
                  </a:lnTo>
                  <a:lnTo>
                    <a:pt x="170" y="140"/>
                  </a:lnTo>
                  <a:lnTo>
                    <a:pt x="169" y="140"/>
                  </a:lnTo>
                  <a:lnTo>
                    <a:pt x="169" y="138"/>
                  </a:lnTo>
                  <a:lnTo>
                    <a:pt x="168" y="137"/>
                  </a:lnTo>
                  <a:lnTo>
                    <a:pt x="168" y="138"/>
                  </a:lnTo>
                  <a:lnTo>
                    <a:pt x="169" y="140"/>
                  </a:lnTo>
                  <a:lnTo>
                    <a:pt x="171" y="141"/>
                  </a:lnTo>
                  <a:lnTo>
                    <a:pt x="170" y="141"/>
                  </a:lnTo>
                  <a:lnTo>
                    <a:pt x="169" y="141"/>
                  </a:lnTo>
                  <a:lnTo>
                    <a:pt x="169" y="142"/>
                  </a:lnTo>
                  <a:lnTo>
                    <a:pt x="169" y="141"/>
                  </a:lnTo>
                  <a:lnTo>
                    <a:pt x="169" y="140"/>
                  </a:lnTo>
                  <a:lnTo>
                    <a:pt x="168" y="140"/>
                  </a:lnTo>
                  <a:lnTo>
                    <a:pt x="168" y="142"/>
                  </a:lnTo>
                  <a:lnTo>
                    <a:pt x="168" y="143"/>
                  </a:lnTo>
                  <a:lnTo>
                    <a:pt x="167" y="143"/>
                  </a:lnTo>
                  <a:lnTo>
                    <a:pt x="167" y="142"/>
                  </a:lnTo>
                  <a:lnTo>
                    <a:pt x="165" y="142"/>
                  </a:lnTo>
                  <a:lnTo>
                    <a:pt x="165" y="141"/>
                  </a:lnTo>
                  <a:lnTo>
                    <a:pt x="164" y="141"/>
                  </a:lnTo>
                  <a:lnTo>
                    <a:pt x="164" y="142"/>
                  </a:lnTo>
                  <a:lnTo>
                    <a:pt x="164" y="143"/>
                  </a:lnTo>
                  <a:lnTo>
                    <a:pt x="163" y="143"/>
                  </a:lnTo>
                  <a:lnTo>
                    <a:pt x="163" y="141"/>
                  </a:lnTo>
                  <a:lnTo>
                    <a:pt x="163" y="142"/>
                  </a:lnTo>
                  <a:lnTo>
                    <a:pt x="162" y="141"/>
                  </a:lnTo>
                  <a:lnTo>
                    <a:pt x="161" y="141"/>
                  </a:lnTo>
                  <a:lnTo>
                    <a:pt x="162" y="141"/>
                  </a:lnTo>
                  <a:lnTo>
                    <a:pt x="162" y="140"/>
                  </a:lnTo>
                  <a:lnTo>
                    <a:pt x="162" y="138"/>
                  </a:lnTo>
                  <a:lnTo>
                    <a:pt x="161" y="138"/>
                  </a:lnTo>
                  <a:lnTo>
                    <a:pt x="161" y="140"/>
                  </a:lnTo>
                  <a:lnTo>
                    <a:pt x="162" y="140"/>
                  </a:lnTo>
                  <a:lnTo>
                    <a:pt x="161" y="141"/>
                  </a:lnTo>
                  <a:lnTo>
                    <a:pt x="161" y="142"/>
                  </a:lnTo>
                  <a:lnTo>
                    <a:pt x="161" y="143"/>
                  </a:lnTo>
                  <a:lnTo>
                    <a:pt x="161" y="142"/>
                  </a:lnTo>
                  <a:lnTo>
                    <a:pt x="159" y="142"/>
                  </a:lnTo>
                  <a:lnTo>
                    <a:pt x="159" y="140"/>
                  </a:lnTo>
                  <a:lnTo>
                    <a:pt x="159" y="141"/>
                  </a:lnTo>
                  <a:lnTo>
                    <a:pt x="158" y="141"/>
                  </a:lnTo>
                  <a:lnTo>
                    <a:pt x="158" y="142"/>
                  </a:lnTo>
                  <a:lnTo>
                    <a:pt x="158" y="143"/>
                  </a:lnTo>
                  <a:lnTo>
                    <a:pt x="159" y="143"/>
                  </a:lnTo>
                  <a:lnTo>
                    <a:pt x="161" y="144"/>
                  </a:lnTo>
                  <a:lnTo>
                    <a:pt x="159" y="144"/>
                  </a:lnTo>
                  <a:lnTo>
                    <a:pt x="159" y="143"/>
                  </a:lnTo>
                  <a:lnTo>
                    <a:pt x="159" y="144"/>
                  </a:lnTo>
                  <a:lnTo>
                    <a:pt x="159" y="146"/>
                  </a:lnTo>
                  <a:lnTo>
                    <a:pt x="161" y="146"/>
                  </a:lnTo>
                  <a:lnTo>
                    <a:pt x="161" y="144"/>
                  </a:lnTo>
                  <a:lnTo>
                    <a:pt x="161" y="146"/>
                  </a:lnTo>
                  <a:lnTo>
                    <a:pt x="162" y="146"/>
                  </a:lnTo>
                  <a:lnTo>
                    <a:pt x="163" y="144"/>
                  </a:lnTo>
                  <a:lnTo>
                    <a:pt x="164" y="144"/>
                  </a:lnTo>
                  <a:lnTo>
                    <a:pt x="167" y="144"/>
                  </a:lnTo>
                  <a:lnTo>
                    <a:pt x="168" y="144"/>
                  </a:lnTo>
                  <a:lnTo>
                    <a:pt x="168" y="146"/>
                  </a:lnTo>
                  <a:lnTo>
                    <a:pt x="168" y="144"/>
                  </a:lnTo>
                  <a:lnTo>
                    <a:pt x="169" y="144"/>
                  </a:lnTo>
                  <a:lnTo>
                    <a:pt x="170" y="144"/>
                  </a:lnTo>
                  <a:lnTo>
                    <a:pt x="170" y="146"/>
                  </a:lnTo>
                  <a:lnTo>
                    <a:pt x="171" y="146"/>
                  </a:lnTo>
                  <a:lnTo>
                    <a:pt x="173" y="146"/>
                  </a:lnTo>
                  <a:lnTo>
                    <a:pt x="174" y="146"/>
                  </a:lnTo>
                  <a:lnTo>
                    <a:pt x="175" y="146"/>
                  </a:lnTo>
                  <a:lnTo>
                    <a:pt x="175" y="147"/>
                  </a:lnTo>
                  <a:lnTo>
                    <a:pt x="176" y="147"/>
                  </a:lnTo>
                  <a:lnTo>
                    <a:pt x="177" y="147"/>
                  </a:lnTo>
                  <a:lnTo>
                    <a:pt x="177" y="148"/>
                  </a:lnTo>
                  <a:lnTo>
                    <a:pt x="179" y="148"/>
                  </a:lnTo>
                  <a:lnTo>
                    <a:pt x="180" y="148"/>
                  </a:lnTo>
                  <a:lnTo>
                    <a:pt x="181" y="148"/>
                  </a:lnTo>
                  <a:lnTo>
                    <a:pt x="182" y="148"/>
                  </a:lnTo>
                  <a:lnTo>
                    <a:pt x="181" y="148"/>
                  </a:lnTo>
                  <a:lnTo>
                    <a:pt x="181" y="149"/>
                  </a:lnTo>
                  <a:lnTo>
                    <a:pt x="183" y="149"/>
                  </a:lnTo>
                  <a:lnTo>
                    <a:pt x="182" y="150"/>
                  </a:lnTo>
                  <a:lnTo>
                    <a:pt x="181" y="149"/>
                  </a:lnTo>
                  <a:lnTo>
                    <a:pt x="181" y="150"/>
                  </a:lnTo>
                  <a:lnTo>
                    <a:pt x="180" y="150"/>
                  </a:lnTo>
                  <a:lnTo>
                    <a:pt x="180" y="149"/>
                  </a:lnTo>
                  <a:lnTo>
                    <a:pt x="179" y="149"/>
                  </a:lnTo>
                  <a:lnTo>
                    <a:pt x="179" y="150"/>
                  </a:lnTo>
                  <a:lnTo>
                    <a:pt x="179" y="152"/>
                  </a:lnTo>
                  <a:lnTo>
                    <a:pt x="177" y="152"/>
                  </a:lnTo>
                  <a:lnTo>
                    <a:pt x="177" y="153"/>
                  </a:lnTo>
                  <a:lnTo>
                    <a:pt x="176" y="153"/>
                  </a:lnTo>
                  <a:lnTo>
                    <a:pt x="176" y="152"/>
                  </a:lnTo>
                  <a:lnTo>
                    <a:pt x="176" y="150"/>
                  </a:lnTo>
                  <a:lnTo>
                    <a:pt x="176" y="149"/>
                  </a:lnTo>
                  <a:lnTo>
                    <a:pt x="176" y="148"/>
                  </a:lnTo>
                  <a:lnTo>
                    <a:pt x="175" y="148"/>
                  </a:lnTo>
                  <a:lnTo>
                    <a:pt x="176" y="148"/>
                  </a:lnTo>
                  <a:lnTo>
                    <a:pt x="176" y="149"/>
                  </a:lnTo>
                  <a:lnTo>
                    <a:pt x="175" y="149"/>
                  </a:lnTo>
                  <a:lnTo>
                    <a:pt x="176" y="150"/>
                  </a:lnTo>
                  <a:lnTo>
                    <a:pt x="176" y="152"/>
                  </a:lnTo>
                  <a:lnTo>
                    <a:pt x="175" y="152"/>
                  </a:lnTo>
                  <a:lnTo>
                    <a:pt x="175" y="150"/>
                  </a:lnTo>
                  <a:lnTo>
                    <a:pt x="174" y="150"/>
                  </a:lnTo>
                  <a:lnTo>
                    <a:pt x="174" y="149"/>
                  </a:lnTo>
                  <a:lnTo>
                    <a:pt x="174" y="150"/>
                  </a:lnTo>
                  <a:lnTo>
                    <a:pt x="174" y="152"/>
                  </a:lnTo>
                  <a:lnTo>
                    <a:pt x="174" y="153"/>
                  </a:lnTo>
                  <a:lnTo>
                    <a:pt x="173" y="153"/>
                  </a:lnTo>
                  <a:lnTo>
                    <a:pt x="173" y="152"/>
                  </a:lnTo>
                  <a:lnTo>
                    <a:pt x="173" y="150"/>
                  </a:lnTo>
                  <a:lnTo>
                    <a:pt x="173" y="149"/>
                  </a:lnTo>
                  <a:lnTo>
                    <a:pt x="171" y="150"/>
                  </a:lnTo>
                  <a:lnTo>
                    <a:pt x="171" y="149"/>
                  </a:lnTo>
                  <a:lnTo>
                    <a:pt x="171" y="148"/>
                  </a:lnTo>
                  <a:lnTo>
                    <a:pt x="171" y="149"/>
                  </a:lnTo>
                  <a:lnTo>
                    <a:pt x="171" y="150"/>
                  </a:lnTo>
                  <a:lnTo>
                    <a:pt x="171" y="152"/>
                  </a:lnTo>
                  <a:lnTo>
                    <a:pt x="171" y="150"/>
                  </a:lnTo>
                  <a:lnTo>
                    <a:pt x="170" y="150"/>
                  </a:lnTo>
                  <a:lnTo>
                    <a:pt x="170" y="152"/>
                  </a:lnTo>
                  <a:lnTo>
                    <a:pt x="170" y="150"/>
                  </a:lnTo>
                  <a:lnTo>
                    <a:pt x="169" y="150"/>
                  </a:lnTo>
                  <a:lnTo>
                    <a:pt x="169" y="152"/>
                  </a:lnTo>
                  <a:lnTo>
                    <a:pt x="169" y="153"/>
                  </a:lnTo>
                  <a:lnTo>
                    <a:pt x="169" y="154"/>
                  </a:lnTo>
                  <a:lnTo>
                    <a:pt x="168" y="154"/>
                  </a:lnTo>
                  <a:lnTo>
                    <a:pt x="168" y="153"/>
                  </a:lnTo>
                  <a:lnTo>
                    <a:pt x="168" y="152"/>
                  </a:lnTo>
                  <a:lnTo>
                    <a:pt x="167" y="152"/>
                  </a:lnTo>
                  <a:lnTo>
                    <a:pt x="167" y="150"/>
                  </a:lnTo>
                  <a:lnTo>
                    <a:pt x="167" y="152"/>
                  </a:lnTo>
                  <a:lnTo>
                    <a:pt x="165" y="152"/>
                  </a:lnTo>
                  <a:lnTo>
                    <a:pt x="165" y="153"/>
                  </a:lnTo>
                  <a:lnTo>
                    <a:pt x="165" y="154"/>
                  </a:lnTo>
                  <a:lnTo>
                    <a:pt x="165" y="153"/>
                  </a:lnTo>
                  <a:lnTo>
                    <a:pt x="164" y="153"/>
                  </a:lnTo>
                  <a:lnTo>
                    <a:pt x="164" y="154"/>
                  </a:lnTo>
                  <a:lnTo>
                    <a:pt x="163" y="154"/>
                  </a:lnTo>
                  <a:lnTo>
                    <a:pt x="163" y="153"/>
                  </a:lnTo>
                  <a:lnTo>
                    <a:pt x="163" y="152"/>
                  </a:lnTo>
                  <a:lnTo>
                    <a:pt x="163" y="153"/>
                  </a:lnTo>
                  <a:lnTo>
                    <a:pt x="163" y="154"/>
                  </a:lnTo>
                  <a:lnTo>
                    <a:pt x="162" y="154"/>
                  </a:lnTo>
                  <a:lnTo>
                    <a:pt x="162" y="153"/>
                  </a:lnTo>
                  <a:lnTo>
                    <a:pt x="161" y="153"/>
                  </a:lnTo>
                  <a:lnTo>
                    <a:pt x="161" y="154"/>
                  </a:lnTo>
                  <a:lnTo>
                    <a:pt x="162" y="154"/>
                  </a:lnTo>
                  <a:lnTo>
                    <a:pt x="163" y="154"/>
                  </a:lnTo>
                  <a:lnTo>
                    <a:pt x="164" y="154"/>
                  </a:lnTo>
                  <a:lnTo>
                    <a:pt x="167" y="154"/>
                  </a:lnTo>
                  <a:lnTo>
                    <a:pt x="165" y="154"/>
                  </a:lnTo>
                  <a:lnTo>
                    <a:pt x="165" y="155"/>
                  </a:lnTo>
                  <a:lnTo>
                    <a:pt x="165" y="156"/>
                  </a:lnTo>
                  <a:lnTo>
                    <a:pt x="164" y="155"/>
                  </a:lnTo>
                  <a:lnTo>
                    <a:pt x="163" y="155"/>
                  </a:lnTo>
                  <a:lnTo>
                    <a:pt x="163" y="154"/>
                  </a:lnTo>
                  <a:lnTo>
                    <a:pt x="162" y="154"/>
                  </a:lnTo>
                  <a:lnTo>
                    <a:pt x="162" y="155"/>
                  </a:lnTo>
                  <a:lnTo>
                    <a:pt x="163" y="155"/>
                  </a:lnTo>
                  <a:lnTo>
                    <a:pt x="163" y="156"/>
                  </a:lnTo>
                  <a:lnTo>
                    <a:pt x="163" y="158"/>
                  </a:lnTo>
                  <a:lnTo>
                    <a:pt x="162" y="156"/>
                  </a:lnTo>
                  <a:lnTo>
                    <a:pt x="162" y="155"/>
                  </a:lnTo>
                  <a:lnTo>
                    <a:pt x="161" y="155"/>
                  </a:lnTo>
                  <a:lnTo>
                    <a:pt x="161" y="156"/>
                  </a:lnTo>
                  <a:lnTo>
                    <a:pt x="161" y="155"/>
                  </a:lnTo>
                  <a:lnTo>
                    <a:pt x="159" y="155"/>
                  </a:lnTo>
                  <a:lnTo>
                    <a:pt x="161" y="156"/>
                  </a:lnTo>
                  <a:lnTo>
                    <a:pt x="159" y="156"/>
                  </a:lnTo>
                  <a:lnTo>
                    <a:pt x="159" y="158"/>
                  </a:lnTo>
                  <a:lnTo>
                    <a:pt x="159" y="156"/>
                  </a:lnTo>
                  <a:lnTo>
                    <a:pt x="158" y="156"/>
                  </a:lnTo>
                  <a:lnTo>
                    <a:pt x="158" y="155"/>
                  </a:lnTo>
                  <a:lnTo>
                    <a:pt x="158" y="154"/>
                  </a:lnTo>
                  <a:lnTo>
                    <a:pt x="158" y="153"/>
                  </a:lnTo>
                  <a:lnTo>
                    <a:pt x="158" y="152"/>
                  </a:lnTo>
                  <a:lnTo>
                    <a:pt x="158" y="153"/>
                  </a:lnTo>
                  <a:lnTo>
                    <a:pt x="158" y="154"/>
                  </a:lnTo>
                  <a:lnTo>
                    <a:pt x="158" y="155"/>
                  </a:lnTo>
                  <a:lnTo>
                    <a:pt x="158" y="156"/>
                  </a:lnTo>
                  <a:lnTo>
                    <a:pt x="158" y="158"/>
                  </a:lnTo>
                  <a:lnTo>
                    <a:pt x="157" y="158"/>
                  </a:lnTo>
                  <a:lnTo>
                    <a:pt x="157" y="156"/>
                  </a:lnTo>
                  <a:lnTo>
                    <a:pt x="157" y="158"/>
                  </a:lnTo>
                  <a:lnTo>
                    <a:pt x="156" y="158"/>
                  </a:lnTo>
                  <a:lnTo>
                    <a:pt x="155" y="158"/>
                  </a:lnTo>
                  <a:lnTo>
                    <a:pt x="155" y="159"/>
                  </a:lnTo>
                  <a:lnTo>
                    <a:pt x="156" y="159"/>
                  </a:lnTo>
                  <a:lnTo>
                    <a:pt x="156" y="160"/>
                  </a:lnTo>
                  <a:lnTo>
                    <a:pt x="155" y="160"/>
                  </a:lnTo>
                  <a:lnTo>
                    <a:pt x="153" y="159"/>
                  </a:lnTo>
                  <a:lnTo>
                    <a:pt x="153" y="160"/>
                  </a:lnTo>
                  <a:lnTo>
                    <a:pt x="153" y="161"/>
                  </a:lnTo>
                  <a:lnTo>
                    <a:pt x="155" y="161"/>
                  </a:lnTo>
                  <a:lnTo>
                    <a:pt x="156" y="161"/>
                  </a:lnTo>
                  <a:lnTo>
                    <a:pt x="157" y="161"/>
                  </a:lnTo>
                  <a:lnTo>
                    <a:pt x="158" y="161"/>
                  </a:lnTo>
                  <a:lnTo>
                    <a:pt x="158" y="162"/>
                  </a:lnTo>
                  <a:lnTo>
                    <a:pt x="159" y="162"/>
                  </a:lnTo>
                  <a:lnTo>
                    <a:pt x="159" y="161"/>
                  </a:lnTo>
                  <a:lnTo>
                    <a:pt x="161" y="162"/>
                  </a:lnTo>
                  <a:lnTo>
                    <a:pt x="162" y="162"/>
                  </a:lnTo>
                  <a:lnTo>
                    <a:pt x="164" y="162"/>
                  </a:lnTo>
                  <a:lnTo>
                    <a:pt x="165" y="162"/>
                  </a:lnTo>
                  <a:lnTo>
                    <a:pt x="167" y="162"/>
                  </a:lnTo>
                  <a:lnTo>
                    <a:pt x="168" y="162"/>
                  </a:lnTo>
                  <a:lnTo>
                    <a:pt x="169" y="162"/>
                  </a:lnTo>
                  <a:lnTo>
                    <a:pt x="170" y="162"/>
                  </a:lnTo>
                  <a:lnTo>
                    <a:pt x="170" y="164"/>
                  </a:lnTo>
                  <a:lnTo>
                    <a:pt x="171" y="164"/>
                  </a:lnTo>
                  <a:lnTo>
                    <a:pt x="173" y="164"/>
                  </a:lnTo>
                  <a:lnTo>
                    <a:pt x="173" y="162"/>
                  </a:lnTo>
                  <a:lnTo>
                    <a:pt x="173" y="164"/>
                  </a:lnTo>
                  <a:lnTo>
                    <a:pt x="174" y="165"/>
                  </a:lnTo>
                  <a:lnTo>
                    <a:pt x="174" y="164"/>
                  </a:lnTo>
                  <a:lnTo>
                    <a:pt x="174" y="165"/>
                  </a:lnTo>
                  <a:lnTo>
                    <a:pt x="175" y="164"/>
                  </a:lnTo>
                  <a:lnTo>
                    <a:pt x="176" y="164"/>
                  </a:lnTo>
                  <a:lnTo>
                    <a:pt x="177" y="164"/>
                  </a:lnTo>
                  <a:lnTo>
                    <a:pt x="179" y="164"/>
                  </a:lnTo>
                  <a:lnTo>
                    <a:pt x="179" y="165"/>
                  </a:lnTo>
                  <a:lnTo>
                    <a:pt x="177" y="165"/>
                  </a:lnTo>
                  <a:lnTo>
                    <a:pt x="176" y="165"/>
                  </a:lnTo>
                  <a:lnTo>
                    <a:pt x="176" y="166"/>
                  </a:lnTo>
                  <a:lnTo>
                    <a:pt x="175" y="166"/>
                  </a:lnTo>
                  <a:lnTo>
                    <a:pt x="175" y="165"/>
                  </a:lnTo>
                  <a:lnTo>
                    <a:pt x="174" y="165"/>
                  </a:lnTo>
                  <a:lnTo>
                    <a:pt x="174" y="166"/>
                  </a:lnTo>
                  <a:lnTo>
                    <a:pt x="174" y="165"/>
                  </a:lnTo>
                  <a:lnTo>
                    <a:pt x="173" y="165"/>
                  </a:lnTo>
                  <a:lnTo>
                    <a:pt x="173" y="166"/>
                  </a:lnTo>
                  <a:lnTo>
                    <a:pt x="173" y="167"/>
                  </a:lnTo>
                  <a:lnTo>
                    <a:pt x="173" y="168"/>
                  </a:lnTo>
                  <a:lnTo>
                    <a:pt x="174" y="168"/>
                  </a:lnTo>
                  <a:lnTo>
                    <a:pt x="175" y="168"/>
                  </a:lnTo>
                  <a:lnTo>
                    <a:pt x="176" y="168"/>
                  </a:lnTo>
                  <a:lnTo>
                    <a:pt x="177" y="168"/>
                  </a:lnTo>
                  <a:lnTo>
                    <a:pt x="179" y="168"/>
                  </a:lnTo>
                  <a:lnTo>
                    <a:pt x="180" y="167"/>
                  </a:lnTo>
                  <a:lnTo>
                    <a:pt x="180" y="168"/>
                  </a:lnTo>
                  <a:lnTo>
                    <a:pt x="181" y="168"/>
                  </a:lnTo>
                  <a:lnTo>
                    <a:pt x="182" y="167"/>
                  </a:lnTo>
                  <a:lnTo>
                    <a:pt x="183" y="167"/>
                  </a:lnTo>
                  <a:lnTo>
                    <a:pt x="182" y="167"/>
                  </a:lnTo>
                  <a:lnTo>
                    <a:pt x="182" y="168"/>
                  </a:lnTo>
                  <a:lnTo>
                    <a:pt x="183" y="168"/>
                  </a:lnTo>
                  <a:lnTo>
                    <a:pt x="185" y="168"/>
                  </a:lnTo>
                  <a:lnTo>
                    <a:pt x="185" y="170"/>
                  </a:lnTo>
                  <a:lnTo>
                    <a:pt x="183" y="170"/>
                  </a:lnTo>
                  <a:lnTo>
                    <a:pt x="185" y="170"/>
                  </a:lnTo>
                  <a:lnTo>
                    <a:pt x="185" y="171"/>
                  </a:lnTo>
                  <a:lnTo>
                    <a:pt x="185" y="170"/>
                  </a:lnTo>
                  <a:lnTo>
                    <a:pt x="186" y="170"/>
                  </a:lnTo>
                  <a:lnTo>
                    <a:pt x="187" y="170"/>
                  </a:lnTo>
                  <a:lnTo>
                    <a:pt x="186" y="170"/>
                  </a:lnTo>
                  <a:lnTo>
                    <a:pt x="186" y="171"/>
                  </a:lnTo>
                  <a:lnTo>
                    <a:pt x="187" y="171"/>
                  </a:lnTo>
                  <a:lnTo>
                    <a:pt x="186" y="171"/>
                  </a:lnTo>
                  <a:lnTo>
                    <a:pt x="185" y="171"/>
                  </a:lnTo>
                  <a:lnTo>
                    <a:pt x="185" y="172"/>
                  </a:lnTo>
                  <a:lnTo>
                    <a:pt x="185" y="173"/>
                  </a:lnTo>
                  <a:lnTo>
                    <a:pt x="183" y="173"/>
                  </a:lnTo>
                  <a:lnTo>
                    <a:pt x="183" y="172"/>
                  </a:lnTo>
                  <a:lnTo>
                    <a:pt x="183" y="173"/>
                  </a:lnTo>
                  <a:lnTo>
                    <a:pt x="183" y="172"/>
                  </a:lnTo>
                  <a:lnTo>
                    <a:pt x="183" y="171"/>
                  </a:lnTo>
                  <a:lnTo>
                    <a:pt x="182" y="171"/>
                  </a:lnTo>
                  <a:lnTo>
                    <a:pt x="182" y="170"/>
                  </a:lnTo>
                  <a:lnTo>
                    <a:pt x="182" y="171"/>
                  </a:lnTo>
                  <a:lnTo>
                    <a:pt x="183" y="171"/>
                  </a:lnTo>
                  <a:lnTo>
                    <a:pt x="183" y="172"/>
                  </a:lnTo>
                  <a:lnTo>
                    <a:pt x="182" y="172"/>
                  </a:lnTo>
                  <a:lnTo>
                    <a:pt x="182" y="173"/>
                  </a:lnTo>
                  <a:lnTo>
                    <a:pt x="183" y="173"/>
                  </a:lnTo>
                  <a:lnTo>
                    <a:pt x="182" y="173"/>
                  </a:lnTo>
                  <a:lnTo>
                    <a:pt x="182" y="174"/>
                  </a:lnTo>
                  <a:lnTo>
                    <a:pt x="182" y="176"/>
                  </a:lnTo>
                  <a:lnTo>
                    <a:pt x="182" y="174"/>
                  </a:lnTo>
                  <a:lnTo>
                    <a:pt x="182" y="172"/>
                  </a:lnTo>
                  <a:lnTo>
                    <a:pt x="182" y="173"/>
                  </a:lnTo>
                  <a:lnTo>
                    <a:pt x="181" y="173"/>
                  </a:lnTo>
                  <a:lnTo>
                    <a:pt x="182" y="173"/>
                  </a:lnTo>
                  <a:lnTo>
                    <a:pt x="181" y="174"/>
                  </a:lnTo>
                  <a:lnTo>
                    <a:pt x="182" y="174"/>
                  </a:lnTo>
                  <a:lnTo>
                    <a:pt x="181" y="174"/>
                  </a:lnTo>
                  <a:lnTo>
                    <a:pt x="181" y="177"/>
                  </a:lnTo>
                  <a:lnTo>
                    <a:pt x="181" y="176"/>
                  </a:lnTo>
                  <a:lnTo>
                    <a:pt x="181" y="173"/>
                  </a:lnTo>
                  <a:lnTo>
                    <a:pt x="180" y="174"/>
                  </a:lnTo>
                  <a:lnTo>
                    <a:pt x="180" y="173"/>
                  </a:lnTo>
                  <a:lnTo>
                    <a:pt x="179" y="173"/>
                  </a:lnTo>
                  <a:lnTo>
                    <a:pt x="179" y="172"/>
                  </a:lnTo>
                  <a:lnTo>
                    <a:pt x="179" y="171"/>
                  </a:lnTo>
                  <a:lnTo>
                    <a:pt x="179" y="172"/>
                  </a:lnTo>
                  <a:lnTo>
                    <a:pt x="177" y="172"/>
                  </a:lnTo>
                  <a:lnTo>
                    <a:pt x="177" y="173"/>
                  </a:lnTo>
                  <a:lnTo>
                    <a:pt x="179" y="173"/>
                  </a:lnTo>
                  <a:lnTo>
                    <a:pt x="179" y="174"/>
                  </a:lnTo>
                  <a:lnTo>
                    <a:pt x="177" y="174"/>
                  </a:lnTo>
                  <a:lnTo>
                    <a:pt x="179" y="174"/>
                  </a:lnTo>
                  <a:lnTo>
                    <a:pt x="177" y="174"/>
                  </a:lnTo>
                  <a:lnTo>
                    <a:pt x="177" y="176"/>
                  </a:lnTo>
                  <a:lnTo>
                    <a:pt x="177" y="174"/>
                  </a:lnTo>
                  <a:lnTo>
                    <a:pt x="176" y="174"/>
                  </a:lnTo>
                  <a:lnTo>
                    <a:pt x="176" y="176"/>
                  </a:lnTo>
                  <a:lnTo>
                    <a:pt x="177" y="176"/>
                  </a:lnTo>
                  <a:lnTo>
                    <a:pt x="177" y="177"/>
                  </a:lnTo>
                  <a:lnTo>
                    <a:pt x="177" y="178"/>
                  </a:lnTo>
                  <a:lnTo>
                    <a:pt x="179" y="179"/>
                  </a:lnTo>
                  <a:lnTo>
                    <a:pt x="180" y="179"/>
                  </a:lnTo>
                  <a:lnTo>
                    <a:pt x="180" y="180"/>
                  </a:lnTo>
                  <a:lnTo>
                    <a:pt x="181" y="180"/>
                  </a:lnTo>
                  <a:lnTo>
                    <a:pt x="182" y="182"/>
                  </a:lnTo>
                  <a:lnTo>
                    <a:pt x="183" y="182"/>
                  </a:lnTo>
                  <a:lnTo>
                    <a:pt x="185" y="180"/>
                  </a:lnTo>
                  <a:lnTo>
                    <a:pt x="185" y="182"/>
                  </a:lnTo>
                  <a:lnTo>
                    <a:pt x="183" y="182"/>
                  </a:lnTo>
                  <a:lnTo>
                    <a:pt x="185" y="182"/>
                  </a:lnTo>
                  <a:lnTo>
                    <a:pt x="186" y="182"/>
                  </a:lnTo>
                  <a:lnTo>
                    <a:pt x="185" y="182"/>
                  </a:lnTo>
                  <a:lnTo>
                    <a:pt x="185" y="183"/>
                  </a:lnTo>
                  <a:lnTo>
                    <a:pt x="185" y="182"/>
                  </a:lnTo>
                  <a:lnTo>
                    <a:pt x="183" y="182"/>
                  </a:lnTo>
                  <a:lnTo>
                    <a:pt x="183" y="183"/>
                  </a:lnTo>
                  <a:lnTo>
                    <a:pt x="185" y="183"/>
                  </a:lnTo>
                  <a:lnTo>
                    <a:pt x="183" y="183"/>
                  </a:lnTo>
                  <a:lnTo>
                    <a:pt x="182" y="183"/>
                  </a:lnTo>
                  <a:lnTo>
                    <a:pt x="182" y="182"/>
                  </a:lnTo>
                  <a:lnTo>
                    <a:pt x="182" y="183"/>
                  </a:lnTo>
                  <a:lnTo>
                    <a:pt x="182" y="184"/>
                  </a:lnTo>
                  <a:lnTo>
                    <a:pt x="183" y="184"/>
                  </a:lnTo>
                  <a:lnTo>
                    <a:pt x="183" y="185"/>
                  </a:lnTo>
                  <a:lnTo>
                    <a:pt x="185" y="184"/>
                  </a:lnTo>
                  <a:lnTo>
                    <a:pt x="186" y="184"/>
                  </a:lnTo>
                  <a:lnTo>
                    <a:pt x="187" y="183"/>
                  </a:lnTo>
                  <a:lnTo>
                    <a:pt x="187" y="184"/>
                  </a:lnTo>
                  <a:lnTo>
                    <a:pt x="188" y="184"/>
                  </a:lnTo>
                  <a:lnTo>
                    <a:pt x="187" y="184"/>
                  </a:lnTo>
                  <a:lnTo>
                    <a:pt x="187" y="185"/>
                  </a:lnTo>
                  <a:lnTo>
                    <a:pt x="186" y="185"/>
                  </a:lnTo>
                  <a:lnTo>
                    <a:pt x="186" y="186"/>
                  </a:lnTo>
                  <a:lnTo>
                    <a:pt x="186" y="185"/>
                  </a:lnTo>
                  <a:lnTo>
                    <a:pt x="185" y="185"/>
                  </a:lnTo>
                  <a:lnTo>
                    <a:pt x="185" y="186"/>
                  </a:lnTo>
                  <a:lnTo>
                    <a:pt x="185" y="185"/>
                  </a:lnTo>
                  <a:lnTo>
                    <a:pt x="183" y="185"/>
                  </a:lnTo>
                  <a:lnTo>
                    <a:pt x="183" y="186"/>
                  </a:lnTo>
                  <a:lnTo>
                    <a:pt x="185" y="188"/>
                  </a:lnTo>
                  <a:lnTo>
                    <a:pt x="186" y="188"/>
                  </a:lnTo>
                  <a:lnTo>
                    <a:pt x="185" y="188"/>
                  </a:lnTo>
                  <a:lnTo>
                    <a:pt x="185" y="189"/>
                  </a:lnTo>
                  <a:lnTo>
                    <a:pt x="186" y="189"/>
                  </a:lnTo>
                  <a:lnTo>
                    <a:pt x="187" y="189"/>
                  </a:lnTo>
                  <a:lnTo>
                    <a:pt x="186" y="189"/>
                  </a:lnTo>
                  <a:lnTo>
                    <a:pt x="185" y="189"/>
                  </a:lnTo>
                  <a:lnTo>
                    <a:pt x="186" y="189"/>
                  </a:lnTo>
                  <a:lnTo>
                    <a:pt x="186" y="190"/>
                  </a:lnTo>
                  <a:lnTo>
                    <a:pt x="185" y="190"/>
                  </a:lnTo>
                  <a:lnTo>
                    <a:pt x="185" y="191"/>
                  </a:lnTo>
                  <a:lnTo>
                    <a:pt x="185" y="190"/>
                  </a:lnTo>
                  <a:lnTo>
                    <a:pt x="183" y="190"/>
                  </a:lnTo>
                  <a:lnTo>
                    <a:pt x="183" y="191"/>
                  </a:lnTo>
                  <a:lnTo>
                    <a:pt x="183" y="194"/>
                  </a:lnTo>
                  <a:lnTo>
                    <a:pt x="182" y="194"/>
                  </a:lnTo>
                  <a:lnTo>
                    <a:pt x="182" y="192"/>
                  </a:lnTo>
                  <a:lnTo>
                    <a:pt x="182" y="194"/>
                  </a:lnTo>
                  <a:lnTo>
                    <a:pt x="182" y="192"/>
                  </a:lnTo>
                  <a:lnTo>
                    <a:pt x="181" y="192"/>
                  </a:lnTo>
                  <a:lnTo>
                    <a:pt x="181" y="191"/>
                  </a:lnTo>
                  <a:lnTo>
                    <a:pt x="181" y="192"/>
                  </a:lnTo>
                  <a:lnTo>
                    <a:pt x="180" y="192"/>
                  </a:lnTo>
                  <a:lnTo>
                    <a:pt x="180" y="191"/>
                  </a:lnTo>
                  <a:lnTo>
                    <a:pt x="180" y="192"/>
                  </a:lnTo>
                  <a:lnTo>
                    <a:pt x="180" y="194"/>
                  </a:lnTo>
                  <a:lnTo>
                    <a:pt x="180" y="195"/>
                  </a:lnTo>
                  <a:lnTo>
                    <a:pt x="180" y="194"/>
                  </a:lnTo>
                  <a:lnTo>
                    <a:pt x="179" y="194"/>
                  </a:lnTo>
                  <a:lnTo>
                    <a:pt x="180" y="195"/>
                  </a:lnTo>
                  <a:lnTo>
                    <a:pt x="179" y="195"/>
                  </a:lnTo>
                  <a:lnTo>
                    <a:pt x="179" y="194"/>
                  </a:lnTo>
                  <a:lnTo>
                    <a:pt x="177" y="194"/>
                  </a:lnTo>
                  <a:lnTo>
                    <a:pt x="177" y="192"/>
                  </a:lnTo>
                  <a:lnTo>
                    <a:pt x="177" y="194"/>
                  </a:lnTo>
                  <a:lnTo>
                    <a:pt x="176" y="194"/>
                  </a:lnTo>
                  <a:lnTo>
                    <a:pt x="176" y="195"/>
                  </a:lnTo>
                  <a:lnTo>
                    <a:pt x="176" y="194"/>
                  </a:lnTo>
                  <a:lnTo>
                    <a:pt x="175" y="194"/>
                  </a:lnTo>
                  <a:lnTo>
                    <a:pt x="175" y="195"/>
                  </a:lnTo>
                  <a:lnTo>
                    <a:pt x="175" y="196"/>
                  </a:lnTo>
                  <a:lnTo>
                    <a:pt x="175" y="195"/>
                  </a:lnTo>
                  <a:lnTo>
                    <a:pt x="174" y="195"/>
                  </a:lnTo>
                  <a:lnTo>
                    <a:pt x="174" y="196"/>
                  </a:lnTo>
                  <a:lnTo>
                    <a:pt x="173" y="197"/>
                  </a:lnTo>
                  <a:lnTo>
                    <a:pt x="174" y="198"/>
                  </a:lnTo>
                  <a:lnTo>
                    <a:pt x="175" y="198"/>
                  </a:lnTo>
                  <a:lnTo>
                    <a:pt x="175" y="197"/>
                  </a:lnTo>
                  <a:lnTo>
                    <a:pt x="175" y="198"/>
                  </a:lnTo>
                  <a:lnTo>
                    <a:pt x="176" y="198"/>
                  </a:lnTo>
                  <a:lnTo>
                    <a:pt x="176" y="197"/>
                  </a:lnTo>
                  <a:lnTo>
                    <a:pt x="177" y="197"/>
                  </a:lnTo>
                  <a:lnTo>
                    <a:pt x="179" y="197"/>
                  </a:lnTo>
                  <a:lnTo>
                    <a:pt x="180" y="197"/>
                  </a:lnTo>
                  <a:lnTo>
                    <a:pt x="179" y="197"/>
                  </a:lnTo>
                  <a:lnTo>
                    <a:pt x="179" y="198"/>
                  </a:lnTo>
                  <a:lnTo>
                    <a:pt x="177" y="198"/>
                  </a:lnTo>
                  <a:lnTo>
                    <a:pt x="176" y="198"/>
                  </a:lnTo>
                  <a:lnTo>
                    <a:pt x="177" y="198"/>
                  </a:lnTo>
                  <a:lnTo>
                    <a:pt x="177" y="200"/>
                  </a:lnTo>
                  <a:lnTo>
                    <a:pt x="176" y="200"/>
                  </a:lnTo>
                  <a:lnTo>
                    <a:pt x="176" y="198"/>
                  </a:lnTo>
                  <a:lnTo>
                    <a:pt x="175" y="198"/>
                  </a:lnTo>
                  <a:lnTo>
                    <a:pt x="175" y="200"/>
                  </a:lnTo>
                  <a:lnTo>
                    <a:pt x="176" y="200"/>
                  </a:lnTo>
                  <a:lnTo>
                    <a:pt x="176" y="201"/>
                  </a:lnTo>
                  <a:lnTo>
                    <a:pt x="175" y="201"/>
                  </a:lnTo>
                  <a:lnTo>
                    <a:pt x="176" y="202"/>
                  </a:lnTo>
                  <a:lnTo>
                    <a:pt x="175" y="202"/>
                  </a:lnTo>
                  <a:lnTo>
                    <a:pt x="175" y="203"/>
                  </a:lnTo>
                  <a:lnTo>
                    <a:pt x="175" y="202"/>
                  </a:lnTo>
                  <a:lnTo>
                    <a:pt x="175" y="201"/>
                  </a:lnTo>
                  <a:lnTo>
                    <a:pt x="175" y="200"/>
                  </a:lnTo>
                  <a:lnTo>
                    <a:pt x="174" y="200"/>
                  </a:lnTo>
                  <a:lnTo>
                    <a:pt x="174" y="198"/>
                  </a:lnTo>
                  <a:lnTo>
                    <a:pt x="174" y="200"/>
                  </a:lnTo>
                  <a:lnTo>
                    <a:pt x="174" y="198"/>
                  </a:lnTo>
                  <a:lnTo>
                    <a:pt x="174" y="200"/>
                  </a:lnTo>
                  <a:lnTo>
                    <a:pt x="174" y="201"/>
                  </a:lnTo>
                  <a:lnTo>
                    <a:pt x="174" y="202"/>
                  </a:lnTo>
                  <a:lnTo>
                    <a:pt x="174" y="203"/>
                  </a:lnTo>
                  <a:lnTo>
                    <a:pt x="173" y="203"/>
                  </a:lnTo>
                  <a:lnTo>
                    <a:pt x="173" y="202"/>
                  </a:lnTo>
                  <a:lnTo>
                    <a:pt x="173" y="201"/>
                  </a:lnTo>
                  <a:lnTo>
                    <a:pt x="173" y="200"/>
                  </a:lnTo>
                  <a:lnTo>
                    <a:pt x="173" y="198"/>
                  </a:lnTo>
                  <a:lnTo>
                    <a:pt x="173" y="200"/>
                  </a:lnTo>
                  <a:lnTo>
                    <a:pt x="173" y="201"/>
                  </a:lnTo>
                  <a:lnTo>
                    <a:pt x="171" y="201"/>
                  </a:lnTo>
                  <a:lnTo>
                    <a:pt x="171" y="202"/>
                  </a:lnTo>
                  <a:lnTo>
                    <a:pt x="173" y="202"/>
                  </a:lnTo>
                  <a:lnTo>
                    <a:pt x="173" y="203"/>
                  </a:lnTo>
                  <a:lnTo>
                    <a:pt x="171" y="203"/>
                  </a:lnTo>
                  <a:lnTo>
                    <a:pt x="171" y="202"/>
                  </a:lnTo>
                  <a:lnTo>
                    <a:pt x="170" y="202"/>
                  </a:lnTo>
                  <a:lnTo>
                    <a:pt x="170" y="203"/>
                  </a:lnTo>
                  <a:lnTo>
                    <a:pt x="171" y="203"/>
                  </a:lnTo>
                  <a:lnTo>
                    <a:pt x="170" y="203"/>
                  </a:lnTo>
                  <a:lnTo>
                    <a:pt x="170" y="204"/>
                  </a:lnTo>
                  <a:lnTo>
                    <a:pt x="170" y="203"/>
                  </a:lnTo>
                  <a:lnTo>
                    <a:pt x="170" y="202"/>
                  </a:lnTo>
                  <a:lnTo>
                    <a:pt x="169" y="202"/>
                  </a:lnTo>
                  <a:lnTo>
                    <a:pt x="169" y="203"/>
                  </a:lnTo>
                  <a:lnTo>
                    <a:pt x="168" y="202"/>
                  </a:lnTo>
                  <a:lnTo>
                    <a:pt x="168" y="203"/>
                  </a:lnTo>
                  <a:lnTo>
                    <a:pt x="168" y="204"/>
                  </a:lnTo>
                  <a:lnTo>
                    <a:pt x="168" y="206"/>
                  </a:lnTo>
                  <a:lnTo>
                    <a:pt x="168" y="207"/>
                  </a:lnTo>
                  <a:lnTo>
                    <a:pt x="168" y="206"/>
                  </a:lnTo>
                  <a:lnTo>
                    <a:pt x="167" y="204"/>
                  </a:lnTo>
                  <a:lnTo>
                    <a:pt x="165" y="204"/>
                  </a:lnTo>
                  <a:lnTo>
                    <a:pt x="165" y="206"/>
                  </a:lnTo>
                  <a:lnTo>
                    <a:pt x="167" y="206"/>
                  </a:lnTo>
                  <a:lnTo>
                    <a:pt x="167" y="207"/>
                  </a:lnTo>
                  <a:lnTo>
                    <a:pt x="165" y="207"/>
                  </a:lnTo>
                  <a:lnTo>
                    <a:pt x="165" y="206"/>
                  </a:lnTo>
                  <a:lnTo>
                    <a:pt x="164" y="206"/>
                  </a:lnTo>
                  <a:lnTo>
                    <a:pt x="164" y="204"/>
                  </a:lnTo>
                  <a:lnTo>
                    <a:pt x="164" y="203"/>
                  </a:lnTo>
                  <a:lnTo>
                    <a:pt x="164" y="202"/>
                  </a:lnTo>
                  <a:lnTo>
                    <a:pt x="163" y="202"/>
                  </a:lnTo>
                  <a:lnTo>
                    <a:pt x="164" y="203"/>
                  </a:lnTo>
                  <a:lnTo>
                    <a:pt x="164" y="204"/>
                  </a:lnTo>
                  <a:lnTo>
                    <a:pt x="164" y="206"/>
                  </a:lnTo>
                  <a:lnTo>
                    <a:pt x="164" y="204"/>
                  </a:lnTo>
                  <a:lnTo>
                    <a:pt x="163" y="204"/>
                  </a:lnTo>
                  <a:lnTo>
                    <a:pt x="163" y="206"/>
                  </a:lnTo>
                  <a:lnTo>
                    <a:pt x="164" y="207"/>
                  </a:lnTo>
                  <a:lnTo>
                    <a:pt x="164" y="208"/>
                  </a:lnTo>
                  <a:lnTo>
                    <a:pt x="163" y="208"/>
                  </a:lnTo>
                  <a:lnTo>
                    <a:pt x="163" y="207"/>
                  </a:lnTo>
                  <a:lnTo>
                    <a:pt x="163" y="208"/>
                  </a:lnTo>
                  <a:lnTo>
                    <a:pt x="162" y="208"/>
                  </a:lnTo>
                  <a:lnTo>
                    <a:pt x="162" y="207"/>
                  </a:lnTo>
                  <a:lnTo>
                    <a:pt x="161" y="207"/>
                  </a:lnTo>
                  <a:lnTo>
                    <a:pt x="161" y="208"/>
                  </a:lnTo>
                  <a:lnTo>
                    <a:pt x="161" y="209"/>
                  </a:lnTo>
                  <a:lnTo>
                    <a:pt x="161" y="208"/>
                  </a:lnTo>
                  <a:lnTo>
                    <a:pt x="161" y="207"/>
                  </a:lnTo>
                  <a:lnTo>
                    <a:pt x="159" y="207"/>
                  </a:lnTo>
                  <a:lnTo>
                    <a:pt x="159" y="206"/>
                  </a:lnTo>
                  <a:lnTo>
                    <a:pt x="159" y="204"/>
                  </a:lnTo>
                  <a:lnTo>
                    <a:pt x="159" y="206"/>
                  </a:lnTo>
                  <a:lnTo>
                    <a:pt x="159" y="207"/>
                  </a:lnTo>
                  <a:lnTo>
                    <a:pt x="158" y="207"/>
                  </a:lnTo>
                  <a:lnTo>
                    <a:pt x="158" y="208"/>
                  </a:lnTo>
                  <a:lnTo>
                    <a:pt x="158" y="207"/>
                  </a:lnTo>
                  <a:lnTo>
                    <a:pt x="158" y="206"/>
                  </a:lnTo>
                  <a:lnTo>
                    <a:pt x="158" y="204"/>
                  </a:lnTo>
                  <a:lnTo>
                    <a:pt x="158" y="206"/>
                  </a:lnTo>
                  <a:lnTo>
                    <a:pt x="158" y="207"/>
                  </a:lnTo>
                  <a:lnTo>
                    <a:pt x="157" y="207"/>
                  </a:lnTo>
                  <a:lnTo>
                    <a:pt x="157" y="206"/>
                  </a:lnTo>
                  <a:lnTo>
                    <a:pt x="157" y="204"/>
                  </a:lnTo>
                  <a:lnTo>
                    <a:pt x="157" y="203"/>
                  </a:lnTo>
                  <a:lnTo>
                    <a:pt x="156" y="202"/>
                  </a:lnTo>
                  <a:lnTo>
                    <a:pt x="156" y="203"/>
                  </a:lnTo>
                  <a:lnTo>
                    <a:pt x="157" y="203"/>
                  </a:lnTo>
                  <a:lnTo>
                    <a:pt x="157" y="204"/>
                  </a:lnTo>
                  <a:lnTo>
                    <a:pt x="156" y="204"/>
                  </a:lnTo>
                  <a:lnTo>
                    <a:pt x="157" y="204"/>
                  </a:lnTo>
                  <a:lnTo>
                    <a:pt x="156" y="204"/>
                  </a:lnTo>
                  <a:lnTo>
                    <a:pt x="157" y="204"/>
                  </a:lnTo>
                  <a:lnTo>
                    <a:pt x="157" y="206"/>
                  </a:lnTo>
                  <a:lnTo>
                    <a:pt x="157" y="207"/>
                  </a:lnTo>
                  <a:lnTo>
                    <a:pt x="157" y="206"/>
                  </a:lnTo>
                  <a:lnTo>
                    <a:pt x="156" y="206"/>
                  </a:lnTo>
                  <a:lnTo>
                    <a:pt x="156" y="207"/>
                  </a:lnTo>
                  <a:lnTo>
                    <a:pt x="156" y="208"/>
                  </a:lnTo>
                  <a:lnTo>
                    <a:pt x="156" y="209"/>
                  </a:lnTo>
                  <a:lnTo>
                    <a:pt x="156" y="210"/>
                  </a:lnTo>
                  <a:lnTo>
                    <a:pt x="156" y="209"/>
                  </a:lnTo>
                  <a:lnTo>
                    <a:pt x="155" y="209"/>
                  </a:lnTo>
                  <a:lnTo>
                    <a:pt x="155" y="210"/>
                  </a:lnTo>
                  <a:lnTo>
                    <a:pt x="155" y="212"/>
                  </a:lnTo>
                  <a:lnTo>
                    <a:pt x="153" y="212"/>
                  </a:lnTo>
                  <a:lnTo>
                    <a:pt x="153" y="210"/>
                  </a:lnTo>
                  <a:lnTo>
                    <a:pt x="153" y="209"/>
                  </a:lnTo>
                  <a:lnTo>
                    <a:pt x="153" y="208"/>
                  </a:lnTo>
                  <a:lnTo>
                    <a:pt x="153" y="207"/>
                  </a:lnTo>
                  <a:lnTo>
                    <a:pt x="153" y="206"/>
                  </a:lnTo>
                  <a:lnTo>
                    <a:pt x="152" y="206"/>
                  </a:lnTo>
                  <a:lnTo>
                    <a:pt x="152" y="208"/>
                  </a:lnTo>
                  <a:lnTo>
                    <a:pt x="152" y="209"/>
                  </a:lnTo>
                  <a:lnTo>
                    <a:pt x="152" y="210"/>
                  </a:lnTo>
                  <a:lnTo>
                    <a:pt x="152" y="212"/>
                  </a:lnTo>
                  <a:lnTo>
                    <a:pt x="152" y="210"/>
                  </a:lnTo>
                  <a:lnTo>
                    <a:pt x="152" y="209"/>
                  </a:lnTo>
                  <a:lnTo>
                    <a:pt x="151" y="208"/>
                  </a:lnTo>
                  <a:lnTo>
                    <a:pt x="151" y="207"/>
                  </a:lnTo>
                  <a:lnTo>
                    <a:pt x="151" y="208"/>
                  </a:lnTo>
                  <a:lnTo>
                    <a:pt x="150" y="208"/>
                  </a:lnTo>
                  <a:lnTo>
                    <a:pt x="150" y="209"/>
                  </a:lnTo>
                  <a:lnTo>
                    <a:pt x="151" y="209"/>
                  </a:lnTo>
                  <a:lnTo>
                    <a:pt x="151" y="210"/>
                  </a:lnTo>
                  <a:lnTo>
                    <a:pt x="151" y="212"/>
                  </a:lnTo>
                  <a:lnTo>
                    <a:pt x="150" y="212"/>
                  </a:lnTo>
                  <a:lnTo>
                    <a:pt x="150" y="210"/>
                  </a:lnTo>
                  <a:lnTo>
                    <a:pt x="150" y="208"/>
                  </a:lnTo>
                  <a:lnTo>
                    <a:pt x="150" y="207"/>
                  </a:lnTo>
                  <a:lnTo>
                    <a:pt x="150" y="206"/>
                  </a:lnTo>
                  <a:lnTo>
                    <a:pt x="150" y="204"/>
                  </a:lnTo>
                  <a:lnTo>
                    <a:pt x="148" y="204"/>
                  </a:lnTo>
                  <a:lnTo>
                    <a:pt x="148" y="203"/>
                  </a:lnTo>
                  <a:lnTo>
                    <a:pt x="148" y="204"/>
                  </a:lnTo>
                  <a:lnTo>
                    <a:pt x="147" y="204"/>
                  </a:lnTo>
                  <a:lnTo>
                    <a:pt x="147" y="206"/>
                  </a:lnTo>
                  <a:lnTo>
                    <a:pt x="147" y="207"/>
                  </a:lnTo>
                  <a:lnTo>
                    <a:pt x="146" y="206"/>
                  </a:lnTo>
                  <a:lnTo>
                    <a:pt x="146" y="204"/>
                  </a:lnTo>
                  <a:lnTo>
                    <a:pt x="146" y="203"/>
                  </a:lnTo>
                  <a:lnTo>
                    <a:pt x="146" y="202"/>
                  </a:lnTo>
                  <a:lnTo>
                    <a:pt x="146" y="201"/>
                  </a:lnTo>
                  <a:lnTo>
                    <a:pt x="146" y="203"/>
                  </a:lnTo>
                  <a:lnTo>
                    <a:pt x="145" y="202"/>
                  </a:lnTo>
                  <a:lnTo>
                    <a:pt x="145" y="201"/>
                  </a:lnTo>
                  <a:lnTo>
                    <a:pt x="145" y="202"/>
                  </a:lnTo>
                  <a:lnTo>
                    <a:pt x="144" y="201"/>
                  </a:lnTo>
                  <a:lnTo>
                    <a:pt x="144" y="200"/>
                  </a:lnTo>
                  <a:lnTo>
                    <a:pt x="144" y="198"/>
                  </a:lnTo>
                  <a:lnTo>
                    <a:pt x="144" y="197"/>
                  </a:lnTo>
                  <a:lnTo>
                    <a:pt x="142" y="197"/>
                  </a:lnTo>
                  <a:lnTo>
                    <a:pt x="142" y="198"/>
                  </a:lnTo>
                  <a:lnTo>
                    <a:pt x="144" y="200"/>
                  </a:lnTo>
                  <a:lnTo>
                    <a:pt x="144" y="201"/>
                  </a:lnTo>
                  <a:lnTo>
                    <a:pt x="144" y="202"/>
                  </a:lnTo>
                  <a:lnTo>
                    <a:pt x="144" y="203"/>
                  </a:lnTo>
                  <a:lnTo>
                    <a:pt x="142" y="203"/>
                  </a:lnTo>
                  <a:lnTo>
                    <a:pt x="142" y="204"/>
                  </a:lnTo>
                  <a:lnTo>
                    <a:pt x="144" y="204"/>
                  </a:lnTo>
                  <a:lnTo>
                    <a:pt x="145" y="204"/>
                  </a:lnTo>
                  <a:lnTo>
                    <a:pt x="146" y="206"/>
                  </a:lnTo>
                  <a:lnTo>
                    <a:pt x="145" y="206"/>
                  </a:lnTo>
                  <a:lnTo>
                    <a:pt x="144" y="206"/>
                  </a:lnTo>
                  <a:lnTo>
                    <a:pt x="144" y="207"/>
                  </a:lnTo>
                  <a:lnTo>
                    <a:pt x="144" y="208"/>
                  </a:lnTo>
                  <a:lnTo>
                    <a:pt x="145" y="209"/>
                  </a:lnTo>
                  <a:lnTo>
                    <a:pt x="145" y="210"/>
                  </a:lnTo>
                  <a:lnTo>
                    <a:pt x="146" y="212"/>
                  </a:lnTo>
                  <a:lnTo>
                    <a:pt x="147" y="212"/>
                  </a:lnTo>
                  <a:lnTo>
                    <a:pt x="148" y="212"/>
                  </a:lnTo>
                  <a:lnTo>
                    <a:pt x="148" y="213"/>
                  </a:lnTo>
                  <a:lnTo>
                    <a:pt x="150" y="213"/>
                  </a:lnTo>
                  <a:lnTo>
                    <a:pt x="151" y="213"/>
                  </a:lnTo>
                  <a:lnTo>
                    <a:pt x="152" y="213"/>
                  </a:lnTo>
                  <a:lnTo>
                    <a:pt x="153" y="213"/>
                  </a:lnTo>
                  <a:lnTo>
                    <a:pt x="155" y="214"/>
                  </a:lnTo>
                  <a:lnTo>
                    <a:pt x="156" y="214"/>
                  </a:lnTo>
                  <a:lnTo>
                    <a:pt x="157" y="214"/>
                  </a:lnTo>
                  <a:lnTo>
                    <a:pt x="158" y="215"/>
                  </a:lnTo>
                  <a:lnTo>
                    <a:pt x="157" y="215"/>
                  </a:lnTo>
                  <a:lnTo>
                    <a:pt x="156" y="214"/>
                  </a:lnTo>
                  <a:lnTo>
                    <a:pt x="156" y="215"/>
                  </a:lnTo>
                  <a:lnTo>
                    <a:pt x="155" y="214"/>
                  </a:lnTo>
                  <a:lnTo>
                    <a:pt x="155" y="215"/>
                  </a:lnTo>
                  <a:lnTo>
                    <a:pt x="156" y="215"/>
                  </a:lnTo>
                  <a:lnTo>
                    <a:pt x="155" y="215"/>
                  </a:lnTo>
                  <a:lnTo>
                    <a:pt x="153" y="215"/>
                  </a:lnTo>
                  <a:lnTo>
                    <a:pt x="153" y="217"/>
                  </a:lnTo>
                  <a:lnTo>
                    <a:pt x="152" y="215"/>
                  </a:lnTo>
                  <a:lnTo>
                    <a:pt x="152" y="217"/>
                  </a:lnTo>
                  <a:lnTo>
                    <a:pt x="153" y="217"/>
                  </a:lnTo>
                  <a:lnTo>
                    <a:pt x="155" y="217"/>
                  </a:lnTo>
                  <a:lnTo>
                    <a:pt x="156" y="217"/>
                  </a:lnTo>
                  <a:lnTo>
                    <a:pt x="157" y="218"/>
                  </a:lnTo>
                  <a:lnTo>
                    <a:pt x="158" y="217"/>
                  </a:lnTo>
                  <a:lnTo>
                    <a:pt x="158" y="218"/>
                  </a:lnTo>
                  <a:lnTo>
                    <a:pt x="159" y="218"/>
                  </a:lnTo>
                  <a:lnTo>
                    <a:pt x="158" y="218"/>
                  </a:lnTo>
                  <a:lnTo>
                    <a:pt x="159" y="219"/>
                  </a:lnTo>
                  <a:lnTo>
                    <a:pt x="161" y="219"/>
                  </a:lnTo>
                  <a:lnTo>
                    <a:pt x="161" y="218"/>
                  </a:lnTo>
                  <a:lnTo>
                    <a:pt x="162" y="218"/>
                  </a:lnTo>
                  <a:lnTo>
                    <a:pt x="163" y="218"/>
                  </a:lnTo>
                  <a:lnTo>
                    <a:pt x="164" y="218"/>
                  </a:lnTo>
                  <a:lnTo>
                    <a:pt x="165" y="218"/>
                  </a:lnTo>
                  <a:lnTo>
                    <a:pt x="167" y="217"/>
                  </a:lnTo>
                  <a:lnTo>
                    <a:pt x="168" y="217"/>
                  </a:lnTo>
                  <a:lnTo>
                    <a:pt x="168" y="215"/>
                  </a:lnTo>
                  <a:lnTo>
                    <a:pt x="168" y="217"/>
                  </a:lnTo>
                  <a:lnTo>
                    <a:pt x="169" y="217"/>
                  </a:lnTo>
                  <a:lnTo>
                    <a:pt x="169" y="215"/>
                  </a:lnTo>
                  <a:lnTo>
                    <a:pt x="170" y="215"/>
                  </a:lnTo>
                  <a:lnTo>
                    <a:pt x="171" y="215"/>
                  </a:lnTo>
                  <a:lnTo>
                    <a:pt x="173" y="215"/>
                  </a:lnTo>
                  <a:lnTo>
                    <a:pt x="171" y="214"/>
                  </a:lnTo>
                  <a:lnTo>
                    <a:pt x="173" y="214"/>
                  </a:lnTo>
                  <a:lnTo>
                    <a:pt x="174" y="214"/>
                  </a:lnTo>
                  <a:lnTo>
                    <a:pt x="175" y="214"/>
                  </a:lnTo>
                  <a:lnTo>
                    <a:pt x="176" y="214"/>
                  </a:lnTo>
                  <a:lnTo>
                    <a:pt x="177" y="214"/>
                  </a:lnTo>
                  <a:lnTo>
                    <a:pt x="179" y="213"/>
                  </a:lnTo>
                  <a:lnTo>
                    <a:pt x="180" y="213"/>
                  </a:lnTo>
                  <a:lnTo>
                    <a:pt x="179" y="213"/>
                  </a:lnTo>
                  <a:lnTo>
                    <a:pt x="179" y="214"/>
                  </a:lnTo>
                  <a:lnTo>
                    <a:pt x="180" y="214"/>
                  </a:lnTo>
                  <a:lnTo>
                    <a:pt x="180" y="213"/>
                  </a:lnTo>
                  <a:lnTo>
                    <a:pt x="180" y="214"/>
                  </a:lnTo>
                  <a:lnTo>
                    <a:pt x="181" y="214"/>
                  </a:lnTo>
                  <a:lnTo>
                    <a:pt x="180" y="214"/>
                  </a:lnTo>
                  <a:lnTo>
                    <a:pt x="179" y="214"/>
                  </a:lnTo>
                  <a:lnTo>
                    <a:pt x="179" y="215"/>
                  </a:lnTo>
                  <a:lnTo>
                    <a:pt x="177" y="215"/>
                  </a:lnTo>
                  <a:lnTo>
                    <a:pt x="177" y="214"/>
                  </a:lnTo>
                  <a:lnTo>
                    <a:pt x="177" y="215"/>
                  </a:lnTo>
                  <a:lnTo>
                    <a:pt x="176" y="214"/>
                  </a:lnTo>
                  <a:lnTo>
                    <a:pt x="176" y="215"/>
                  </a:lnTo>
                  <a:lnTo>
                    <a:pt x="177" y="217"/>
                  </a:lnTo>
                  <a:lnTo>
                    <a:pt x="177" y="218"/>
                  </a:lnTo>
                  <a:lnTo>
                    <a:pt x="176" y="219"/>
                  </a:lnTo>
                  <a:lnTo>
                    <a:pt x="176" y="220"/>
                  </a:lnTo>
                  <a:lnTo>
                    <a:pt x="176" y="219"/>
                  </a:lnTo>
                  <a:lnTo>
                    <a:pt x="176" y="218"/>
                  </a:lnTo>
                  <a:lnTo>
                    <a:pt x="175" y="218"/>
                  </a:lnTo>
                  <a:lnTo>
                    <a:pt x="175" y="219"/>
                  </a:lnTo>
                  <a:lnTo>
                    <a:pt x="176" y="220"/>
                  </a:lnTo>
                  <a:lnTo>
                    <a:pt x="175" y="220"/>
                  </a:lnTo>
                  <a:lnTo>
                    <a:pt x="175" y="221"/>
                  </a:lnTo>
                  <a:lnTo>
                    <a:pt x="174" y="221"/>
                  </a:lnTo>
                  <a:lnTo>
                    <a:pt x="174" y="223"/>
                  </a:lnTo>
                  <a:lnTo>
                    <a:pt x="175" y="221"/>
                  </a:lnTo>
                  <a:lnTo>
                    <a:pt x="176" y="221"/>
                  </a:lnTo>
                  <a:lnTo>
                    <a:pt x="177" y="221"/>
                  </a:lnTo>
                  <a:lnTo>
                    <a:pt x="179" y="221"/>
                  </a:lnTo>
                  <a:lnTo>
                    <a:pt x="179" y="223"/>
                  </a:lnTo>
                  <a:lnTo>
                    <a:pt x="177" y="223"/>
                  </a:lnTo>
                  <a:lnTo>
                    <a:pt x="176" y="223"/>
                  </a:lnTo>
                  <a:lnTo>
                    <a:pt x="176" y="224"/>
                  </a:lnTo>
                  <a:lnTo>
                    <a:pt x="175" y="223"/>
                  </a:lnTo>
                  <a:lnTo>
                    <a:pt x="175" y="224"/>
                  </a:lnTo>
                  <a:lnTo>
                    <a:pt x="176" y="224"/>
                  </a:lnTo>
                  <a:lnTo>
                    <a:pt x="177" y="224"/>
                  </a:lnTo>
                  <a:lnTo>
                    <a:pt x="179" y="224"/>
                  </a:lnTo>
                  <a:lnTo>
                    <a:pt x="180" y="224"/>
                  </a:lnTo>
                  <a:lnTo>
                    <a:pt x="180" y="225"/>
                  </a:lnTo>
                  <a:lnTo>
                    <a:pt x="179" y="225"/>
                  </a:lnTo>
                  <a:lnTo>
                    <a:pt x="180" y="225"/>
                  </a:lnTo>
                  <a:lnTo>
                    <a:pt x="181" y="225"/>
                  </a:lnTo>
                  <a:lnTo>
                    <a:pt x="182" y="224"/>
                  </a:lnTo>
                  <a:lnTo>
                    <a:pt x="183" y="224"/>
                  </a:lnTo>
                  <a:lnTo>
                    <a:pt x="183" y="225"/>
                  </a:lnTo>
                  <a:lnTo>
                    <a:pt x="183" y="224"/>
                  </a:lnTo>
                  <a:lnTo>
                    <a:pt x="185" y="224"/>
                  </a:lnTo>
                  <a:lnTo>
                    <a:pt x="186" y="223"/>
                  </a:lnTo>
                  <a:lnTo>
                    <a:pt x="186" y="224"/>
                  </a:lnTo>
                  <a:lnTo>
                    <a:pt x="187" y="223"/>
                  </a:lnTo>
                  <a:lnTo>
                    <a:pt x="188" y="223"/>
                  </a:lnTo>
                  <a:lnTo>
                    <a:pt x="187" y="224"/>
                  </a:lnTo>
                  <a:lnTo>
                    <a:pt x="187" y="225"/>
                  </a:lnTo>
                  <a:lnTo>
                    <a:pt x="188" y="225"/>
                  </a:lnTo>
                  <a:lnTo>
                    <a:pt x="187" y="225"/>
                  </a:lnTo>
                  <a:lnTo>
                    <a:pt x="186" y="224"/>
                  </a:lnTo>
                  <a:lnTo>
                    <a:pt x="185" y="224"/>
                  </a:lnTo>
                  <a:lnTo>
                    <a:pt x="186" y="225"/>
                  </a:lnTo>
                  <a:lnTo>
                    <a:pt x="186" y="226"/>
                  </a:lnTo>
                  <a:lnTo>
                    <a:pt x="186" y="225"/>
                  </a:lnTo>
                  <a:lnTo>
                    <a:pt x="185" y="225"/>
                  </a:lnTo>
                  <a:lnTo>
                    <a:pt x="183" y="225"/>
                  </a:lnTo>
                  <a:lnTo>
                    <a:pt x="185" y="226"/>
                  </a:lnTo>
                  <a:lnTo>
                    <a:pt x="185" y="227"/>
                  </a:lnTo>
                  <a:lnTo>
                    <a:pt x="186" y="227"/>
                  </a:lnTo>
                  <a:lnTo>
                    <a:pt x="187" y="227"/>
                  </a:lnTo>
                  <a:lnTo>
                    <a:pt x="187" y="226"/>
                  </a:lnTo>
                  <a:lnTo>
                    <a:pt x="187" y="227"/>
                  </a:lnTo>
                  <a:lnTo>
                    <a:pt x="188" y="227"/>
                  </a:lnTo>
                  <a:lnTo>
                    <a:pt x="189" y="227"/>
                  </a:lnTo>
                  <a:lnTo>
                    <a:pt x="188" y="227"/>
                  </a:lnTo>
                  <a:lnTo>
                    <a:pt x="187" y="227"/>
                  </a:lnTo>
                  <a:lnTo>
                    <a:pt x="187" y="229"/>
                  </a:lnTo>
                  <a:lnTo>
                    <a:pt x="188" y="229"/>
                  </a:lnTo>
                  <a:lnTo>
                    <a:pt x="187" y="229"/>
                  </a:lnTo>
                  <a:lnTo>
                    <a:pt x="186" y="227"/>
                  </a:lnTo>
                  <a:lnTo>
                    <a:pt x="186" y="229"/>
                  </a:lnTo>
                  <a:lnTo>
                    <a:pt x="186" y="230"/>
                  </a:lnTo>
                  <a:lnTo>
                    <a:pt x="186" y="229"/>
                  </a:lnTo>
                  <a:lnTo>
                    <a:pt x="185" y="229"/>
                  </a:lnTo>
                  <a:lnTo>
                    <a:pt x="186" y="230"/>
                  </a:lnTo>
                  <a:lnTo>
                    <a:pt x="185" y="230"/>
                  </a:lnTo>
                  <a:lnTo>
                    <a:pt x="185" y="229"/>
                  </a:lnTo>
                  <a:lnTo>
                    <a:pt x="183" y="229"/>
                  </a:lnTo>
                  <a:lnTo>
                    <a:pt x="185" y="230"/>
                  </a:lnTo>
                  <a:lnTo>
                    <a:pt x="183" y="230"/>
                  </a:lnTo>
                  <a:lnTo>
                    <a:pt x="183" y="229"/>
                  </a:lnTo>
                  <a:lnTo>
                    <a:pt x="183" y="230"/>
                  </a:lnTo>
                  <a:lnTo>
                    <a:pt x="183" y="231"/>
                  </a:lnTo>
                  <a:lnTo>
                    <a:pt x="182" y="231"/>
                  </a:lnTo>
                  <a:lnTo>
                    <a:pt x="182" y="232"/>
                  </a:lnTo>
                  <a:lnTo>
                    <a:pt x="182" y="233"/>
                  </a:lnTo>
                  <a:lnTo>
                    <a:pt x="181" y="232"/>
                  </a:lnTo>
                  <a:lnTo>
                    <a:pt x="181" y="233"/>
                  </a:lnTo>
                  <a:lnTo>
                    <a:pt x="182" y="233"/>
                  </a:lnTo>
                  <a:lnTo>
                    <a:pt x="181" y="235"/>
                  </a:lnTo>
                  <a:lnTo>
                    <a:pt x="182" y="235"/>
                  </a:lnTo>
                  <a:lnTo>
                    <a:pt x="183" y="236"/>
                  </a:lnTo>
                  <a:lnTo>
                    <a:pt x="182" y="236"/>
                  </a:lnTo>
                  <a:lnTo>
                    <a:pt x="181" y="235"/>
                  </a:lnTo>
                  <a:lnTo>
                    <a:pt x="181" y="236"/>
                  </a:lnTo>
                  <a:lnTo>
                    <a:pt x="181" y="235"/>
                  </a:lnTo>
                  <a:lnTo>
                    <a:pt x="180" y="235"/>
                  </a:lnTo>
                  <a:lnTo>
                    <a:pt x="180" y="236"/>
                  </a:lnTo>
                  <a:lnTo>
                    <a:pt x="181" y="236"/>
                  </a:lnTo>
                  <a:lnTo>
                    <a:pt x="182" y="236"/>
                  </a:lnTo>
                  <a:lnTo>
                    <a:pt x="183" y="236"/>
                  </a:lnTo>
                  <a:lnTo>
                    <a:pt x="185" y="236"/>
                  </a:lnTo>
                  <a:lnTo>
                    <a:pt x="186" y="236"/>
                  </a:lnTo>
                  <a:lnTo>
                    <a:pt x="187" y="236"/>
                  </a:lnTo>
                  <a:lnTo>
                    <a:pt x="188" y="236"/>
                  </a:lnTo>
                  <a:lnTo>
                    <a:pt x="187" y="237"/>
                  </a:lnTo>
                  <a:lnTo>
                    <a:pt x="186" y="237"/>
                  </a:lnTo>
                  <a:lnTo>
                    <a:pt x="186" y="238"/>
                  </a:lnTo>
                  <a:lnTo>
                    <a:pt x="186" y="237"/>
                  </a:lnTo>
                  <a:lnTo>
                    <a:pt x="185" y="237"/>
                  </a:lnTo>
                  <a:lnTo>
                    <a:pt x="185" y="238"/>
                  </a:lnTo>
                  <a:lnTo>
                    <a:pt x="186" y="238"/>
                  </a:lnTo>
                  <a:lnTo>
                    <a:pt x="186" y="239"/>
                  </a:lnTo>
                  <a:lnTo>
                    <a:pt x="186" y="241"/>
                  </a:lnTo>
                  <a:lnTo>
                    <a:pt x="185" y="242"/>
                  </a:lnTo>
                  <a:lnTo>
                    <a:pt x="185" y="241"/>
                  </a:lnTo>
                  <a:lnTo>
                    <a:pt x="185" y="239"/>
                  </a:lnTo>
                  <a:lnTo>
                    <a:pt x="185" y="238"/>
                  </a:lnTo>
                  <a:lnTo>
                    <a:pt x="183" y="238"/>
                  </a:lnTo>
                  <a:lnTo>
                    <a:pt x="183" y="239"/>
                  </a:lnTo>
                  <a:lnTo>
                    <a:pt x="182" y="239"/>
                  </a:lnTo>
                  <a:lnTo>
                    <a:pt x="182" y="238"/>
                  </a:lnTo>
                  <a:lnTo>
                    <a:pt x="182" y="239"/>
                  </a:lnTo>
                  <a:lnTo>
                    <a:pt x="182" y="241"/>
                  </a:lnTo>
                  <a:lnTo>
                    <a:pt x="183" y="241"/>
                  </a:lnTo>
                  <a:lnTo>
                    <a:pt x="183" y="242"/>
                  </a:lnTo>
                  <a:lnTo>
                    <a:pt x="182" y="242"/>
                  </a:lnTo>
                  <a:lnTo>
                    <a:pt x="183" y="242"/>
                  </a:lnTo>
                  <a:lnTo>
                    <a:pt x="185" y="242"/>
                  </a:lnTo>
                  <a:lnTo>
                    <a:pt x="186" y="242"/>
                  </a:lnTo>
                  <a:lnTo>
                    <a:pt x="186" y="241"/>
                  </a:lnTo>
                  <a:lnTo>
                    <a:pt x="187" y="241"/>
                  </a:lnTo>
                  <a:lnTo>
                    <a:pt x="188" y="241"/>
                  </a:lnTo>
                  <a:lnTo>
                    <a:pt x="189" y="241"/>
                  </a:lnTo>
                  <a:lnTo>
                    <a:pt x="191" y="241"/>
                  </a:lnTo>
                  <a:lnTo>
                    <a:pt x="192" y="241"/>
                  </a:lnTo>
                  <a:lnTo>
                    <a:pt x="192" y="239"/>
                  </a:lnTo>
                  <a:lnTo>
                    <a:pt x="193" y="239"/>
                  </a:lnTo>
                  <a:lnTo>
                    <a:pt x="194" y="239"/>
                  </a:lnTo>
                  <a:lnTo>
                    <a:pt x="194" y="241"/>
                  </a:lnTo>
                  <a:lnTo>
                    <a:pt x="195" y="239"/>
                  </a:lnTo>
                  <a:lnTo>
                    <a:pt x="197" y="239"/>
                  </a:lnTo>
                  <a:lnTo>
                    <a:pt x="197" y="238"/>
                  </a:lnTo>
                  <a:lnTo>
                    <a:pt x="197" y="239"/>
                  </a:lnTo>
                  <a:lnTo>
                    <a:pt x="199" y="239"/>
                  </a:lnTo>
                  <a:lnTo>
                    <a:pt x="198" y="239"/>
                  </a:lnTo>
                  <a:lnTo>
                    <a:pt x="197" y="239"/>
                  </a:lnTo>
                  <a:lnTo>
                    <a:pt x="197" y="241"/>
                  </a:lnTo>
                  <a:lnTo>
                    <a:pt x="198" y="241"/>
                  </a:lnTo>
                  <a:lnTo>
                    <a:pt x="198" y="242"/>
                  </a:lnTo>
                  <a:lnTo>
                    <a:pt x="198" y="241"/>
                  </a:lnTo>
                  <a:lnTo>
                    <a:pt x="197" y="241"/>
                  </a:lnTo>
                  <a:lnTo>
                    <a:pt x="195" y="241"/>
                  </a:lnTo>
                  <a:lnTo>
                    <a:pt x="195" y="242"/>
                  </a:lnTo>
                  <a:lnTo>
                    <a:pt x="195" y="241"/>
                  </a:lnTo>
                  <a:lnTo>
                    <a:pt x="194" y="241"/>
                  </a:lnTo>
                  <a:lnTo>
                    <a:pt x="194" y="242"/>
                  </a:lnTo>
                  <a:lnTo>
                    <a:pt x="195" y="242"/>
                  </a:lnTo>
                  <a:lnTo>
                    <a:pt x="195" y="243"/>
                  </a:lnTo>
                  <a:lnTo>
                    <a:pt x="195" y="244"/>
                  </a:lnTo>
                  <a:lnTo>
                    <a:pt x="194" y="244"/>
                  </a:lnTo>
                  <a:lnTo>
                    <a:pt x="194" y="245"/>
                  </a:lnTo>
                  <a:lnTo>
                    <a:pt x="193" y="244"/>
                  </a:lnTo>
                  <a:lnTo>
                    <a:pt x="193" y="243"/>
                  </a:lnTo>
                  <a:lnTo>
                    <a:pt x="193" y="244"/>
                  </a:lnTo>
                  <a:lnTo>
                    <a:pt x="193" y="243"/>
                  </a:lnTo>
                  <a:lnTo>
                    <a:pt x="192" y="242"/>
                  </a:lnTo>
                  <a:lnTo>
                    <a:pt x="192" y="243"/>
                  </a:lnTo>
                  <a:lnTo>
                    <a:pt x="192" y="242"/>
                  </a:lnTo>
                  <a:lnTo>
                    <a:pt x="191" y="242"/>
                  </a:lnTo>
                  <a:lnTo>
                    <a:pt x="192" y="243"/>
                  </a:lnTo>
                  <a:lnTo>
                    <a:pt x="192" y="244"/>
                  </a:lnTo>
                  <a:lnTo>
                    <a:pt x="191" y="243"/>
                  </a:lnTo>
                  <a:lnTo>
                    <a:pt x="191" y="244"/>
                  </a:lnTo>
                  <a:lnTo>
                    <a:pt x="192" y="245"/>
                  </a:lnTo>
                  <a:lnTo>
                    <a:pt x="192" y="247"/>
                  </a:lnTo>
                  <a:lnTo>
                    <a:pt x="191" y="247"/>
                  </a:lnTo>
                  <a:lnTo>
                    <a:pt x="191" y="245"/>
                  </a:lnTo>
                  <a:lnTo>
                    <a:pt x="191" y="244"/>
                  </a:lnTo>
                  <a:lnTo>
                    <a:pt x="189" y="244"/>
                  </a:lnTo>
                  <a:lnTo>
                    <a:pt x="189" y="245"/>
                  </a:lnTo>
                  <a:lnTo>
                    <a:pt x="188" y="245"/>
                  </a:lnTo>
                  <a:lnTo>
                    <a:pt x="188" y="244"/>
                  </a:lnTo>
                  <a:lnTo>
                    <a:pt x="188" y="245"/>
                  </a:lnTo>
                  <a:lnTo>
                    <a:pt x="189" y="247"/>
                  </a:lnTo>
                  <a:lnTo>
                    <a:pt x="188" y="247"/>
                  </a:lnTo>
                  <a:lnTo>
                    <a:pt x="188" y="245"/>
                  </a:lnTo>
                  <a:lnTo>
                    <a:pt x="188" y="247"/>
                  </a:lnTo>
                  <a:lnTo>
                    <a:pt x="188" y="248"/>
                  </a:lnTo>
                  <a:lnTo>
                    <a:pt x="189" y="248"/>
                  </a:lnTo>
                  <a:lnTo>
                    <a:pt x="191" y="249"/>
                  </a:lnTo>
                  <a:lnTo>
                    <a:pt x="192" y="249"/>
                  </a:lnTo>
                  <a:lnTo>
                    <a:pt x="191" y="249"/>
                  </a:lnTo>
                  <a:lnTo>
                    <a:pt x="191" y="250"/>
                  </a:lnTo>
                  <a:lnTo>
                    <a:pt x="189" y="250"/>
                  </a:lnTo>
                  <a:lnTo>
                    <a:pt x="189" y="249"/>
                  </a:lnTo>
                  <a:lnTo>
                    <a:pt x="188" y="249"/>
                  </a:lnTo>
                  <a:lnTo>
                    <a:pt x="189" y="249"/>
                  </a:lnTo>
                  <a:lnTo>
                    <a:pt x="189" y="250"/>
                  </a:lnTo>
                  <a:lnTo>
                    <a:pt x="188" y="250"/>
                  </a:lnTo>
                  <a:lnTo>
                    <a:pt x="187" y="250"/>
                  </a:lnTo>
                  <a:lnTo>
                    <a:pt x="187" y="249"/>
                  </a:lnTo>
                  <a:lnTo>
                    <a:pt x="188" y="249"/>
                  </a:lnTo>
                  <a:lnTo>
                    <a:pt x="187" y="248"/>
                  </a:lnTo>
                  <a:lnTo>
                    <a:pt x="187" y="249"/>
                  </a:lnTo>
                  <a:lnTo>
                    <a:pt x="187" y="248"/>
                  </a:lnTo>
                  <a:lnTo>
                    <a:pt x="186" y="248"/>
                  </a:lnTo>
                  <a:lnTo>
                    <a:pt x="186" y="249"/>
                  </a:lnTo>
                  <a:lnTo>
                    <a:pt x="186" y="248"/>
                  </a:lnTo>
                  <a:lnTo>
                    <a:pt x="186" y="247"/>
                  </a:lnTo>
                  <a:lnTo>
                    <a:pt x="186" y="245"/>
                  </a:lnTo>
                  <a:lnTo>
                    <a:pt x="185" y="247"/>
                  </a:lnTo>
                  <a:lnTo>
                    <a:pt x="185" y="248"/>
                  </a:lnTo>
                  <a:lnTo>
                    <a:pt x="185" y="249"/>
                  </a:lnTo>
                  <a:lnTo>
                    <a:pt x="186" y="249"/>
                  </a:lnTo>
                  <a:lnTo>
                    <a:pt x="185" y="250"/>
                  </a:lnTo>
                  <a:lnTo>
                    <a:pt x="186" y="250"/>
                  </a:lnTo>
                  <a:lnTo>
                    <a:pt x="187" y="251"/>
                  </a:lnTo>
                  <a:lnTo>
                    <a:pt x="188" y="251"/>
                  </a:lnTo>
                  <a:lnTo>
                    <a:pt x="189" y="251"/>
                  </a:lnTo>
                  <a:lnTo>
                    <a:pt x="191" y="251"/>
                  </a:lnTo>
                  <a:lnTo>
                    <a:pt x="191" y="253"/>
                  </a:lnTo>
                  <a:lnTo>
                    <a:pt x="189" y="253"/>
                  </a:lnTo>
                  <a:lnTo>
                    <a:pt x="188" y="251"/>
                  </a:lnTo>
                  <a:lnTo>
                    <a:pt x="188" y="253"/>
                  </a:lnTo>
                  <a:lnTo>
                    <a:pt x="188" y="254"/>
                  </a:lnTo>
                  <a:lnTo>
                    <a:pt x="187" y="253"/>
                  </a:lnTo>
                  <a:lnTo>
                    <a:pt x="187" y="251"/>
                  </a:lnTo>
                  <a:lnTo>
                    <a:pt x="186" y="251"/>
                  </a:lnTo>
                  <a:lnTo>
                    <a:pt x="186" y="253"/>
                  </a:lnTo>
                  <a:lnTo>
                    <a:pt x="186" y="254"/>
                  </a:lnTo>
                  <a:lnTo>
                    <a:pt x="186" y="255"/>
                  </a:lnTo>
                  <a:lnTo>
                    <a:pt x="186" y="254"/>
                  </a:lnTo>
                  <a:lnTo>
                    <a:pt x="186" y="253"/>
                  </a:lnTo>
                  <a:lnTo>
                    <a:pt x="186" y="254"/>
                  </a:lnTo>
                  <a:lnTo>
                    <a:pt x="185" y="253"/>
                  </a:lnTo>
                  <a:lnTo>
                    <a:pt x="185" y="251"/>
                  </a:lnTo>
                  <a:lnTo>
                    <a:pt x="185" y="253"/>
                  </a:lnTo>
                  <a:lnTo>
                    <a:pt x="185" y="254"/>
                  </a:lnTo>
                  <a:lnTo>
                    <a:pt x="185" y="253"/>
                  </a:lnTo>
                  <a:lnTo>
                    <a:pt x="183" y="253"/>
                  </a:lnTo>
                  <a:lnTo>
                    <a:pt x="183" y="251"/>
                  </a:lnTo>
                  <a:lnTo>
                    <a:pt x="183" y="253"/>
                  </a:lnTo>
                  <a:lnTo>
                    <a:pt x="183" y="254"/>
                  </a:lnTo>
                  <a:lnTo>
                    <a:pt x="183" y="255"/>
                  </a:lnTo>
                  <a:lnTo>
                    <a:pt x="183" y="256"/>
                  </a:lnTo>
                  <a:lnTo>
                    <a:pt x="183" y="257"/>
                  </a:lnTo>
                  <a:lnTo>
                    <a:pt x="185" y="259"/>
                  </a:lnTo>
                  <a:lnTo>
                    <a:pt x="183" y="257"/>
                  </a:lnTo>
                  <a:lnTo>
                    <a:pt x="183" y="259"/>
                  </a:lnTo>
                  <a:lnTo>
                    <a:pt x="185" y="259"/>
                  </a:lnTo>
                  <a:lnTo>
                    <a:pt x="186" y="259"/>
                  </a:lnTo>
                  <a:lnTo>
                    <a:pt x="187" y="259"/>
                  </a:lnTo>
                  <a:lnTo>
                    <a:pt x="187" y="257"/>
                  </a:lnTo>
                  <a:lnTo>
                    <a:pt x="188" y="257"/>
                  </a:lnTo>
                  <a:lnTo>
                    <a:pt x="189" y="256"/>
                  </a:lnTo>
                  <a:lnTo>
                    <a:pt x="191" y="256"/>
                  </a:lnTo>
                  <a:lnTo>
                    <a:pt x="191" y="255"/>
                  </a:lnTo>
                  <a:lnTo>
                    <a:pt x="192" y="255"/>
                  </a:lnTo>
                  <a:lnTo>
                    <a:pt x="192" y="254"/>
                  </a:lnTo>
                  <a:lnTo>
                    <a:pt x="192" y="255"/>
                  </a:lnTo>
                  <a:lnTo>
                    <a:pt x="193" y="255"/>
                  </a:lnTo>
                  <a:lnTo>
                    <a:pt x="193" y="256"/>
                  </a:lnTo>
                  <a:lnTo>
                    <a:pt x="192" y="256"/>
                  </a:lnTo>
                  <a:lnTo>
                    <a:pt x="191" y="257"/>
                  </a:lnTo>
                  <a:lnTo>
                    <a:pt x="191" y="259"/>
                  </a:lnTo>
                  <a:lnTo>
                    <a:pt x="192" y="259"/>
                  </a:lnTo>
                  <a:lnTo>
                    <a:pt x="192" y="257"/>
                  </a:lnTo>
                  <a:lnTo>
                    <a:pt x="193" y="257"/>
                  </a:lnTo>
                  <a:lnTo>
                    <a:pt x="194" y="257"/>
                  </a:lnTo>
                  <a:lnTo>
                    <a:pt x="195" y="257"/>
                  </a:lnTo>
                  <a:lnTo>
                    <a:pt x="195" y="256"/>
                  </a:lnTo>
                  <a:lnTo>
                    <a:pt x="197" y="256"/>
                  </a:lnTo>
                  <a:lnTo>
                    <a:pt x="198" y="255"/>
                  </a:lnTo>
                  <a:lnTo>
                    <a:pt x="199" y="254"/>
                  </a:lnTo>
                  <a:lnTo>
                    <a:pt x="201" y="253"/>
                  </a:lnTo>
                  <a:lnTo>
                    <a:pt x="203" y="253"/>
                  </a:lnTo>
                  <a:lnTo>
                    <a:pt x="203" y="251"/>
                  </a:lnTo>
                  <a:lnTo>
                    <a:pt x="204" y="251"/>
                  </a:lnTo>
                  <a:lnTo>
                    <a:pt x="205" y="251"/>
                  </a:lnTo>
                  <a:lnTo>
                    <a:pt x="206" y="250"/>
                  </a:lnTo>
                  <a:lnTo>
                    <a:pt x="206" y="251"/>
                  </a:lnTo>
                  <a:lnTo>
                    <a:pt x="205" y="251"/>
                  </a:lnTo>
                  <a:lnTo>
                    <a:pt x="205" y="253"/>
                  </a:lnTo>
                  <a:lnTo>
                    <a:pt x="204" y="251"/>
                  </a:lnTo>
                  <a:lnTo>
                    <a:pt x="204" y="253"/>
                  </a:lnTo>
                  <a:lnTo>
                    <a:pt x="205" y="253"/>
                  </a:lnTo>
                  <a:lnTo>
                    <a:pt x="204" y="253"/>
                  </a:lnTo>
                  <a:lnTo>
                    <a:pt x="203" y="254"/>
                  </a:lnTo>
                  <a:lnTo>
                    <a:pt x="204" y="254"/>
                  </a:lnTo>
                  <a:lnTo>
                    <a:pt x="203" y="254"/>
                  </a:lnTo>
                  <a:lnTo>
                    <a:pt x="203" y="255"/>
                  </a:lnTo>
                  <a:lnTo>
                    <a:pt x="201" y="254"/>
                  </a:lnTo>
                  <a:lnTo>
                    <a:pt x="201" y="255"/>
                  </a:lnTo>
                  <a:lnTo>
                    <a:pt x="201" y="256"/>
                  </a:lnTo>
                  <a:lnTo>
                    <a:pt x="203" y="256"/>
                  </a:lnTo>
                  <a:lnTo>
                    <a:pt x="201" y="256"/>
                  </a:lnTo>
                  <a:lnTo>
                    <a:pt x="200" y="256"/>
                  </a:lnTo>
                  <a:lnTo>
                    <a:pt x="200" y="255"/>
                  </a:lnTo>
                  <a:lnTo>
                    <a:pt x="200" y="256"/>
                  </a:lnTo>
                  <a:lnTo>
                    <a:pt x="200" y="257"/>
                  </a:lnTo>
                  <a:lnTo>
                    <a:pt x="200" y="256"/>
                  </a:lnTo>
                  <a:lnTo>
                    <a:pt x="199" y="256"/>
                  </a:lnTo>
                  <a:lnTo>
                    <a:pt x="200" y="257"/>
                  </a:lnTo>
                  <a:lnTo>
                    <a:pt x="200" y="259"/>
                  </a:lnTo>
                  <a:lnTo>
                    <a:pt x="200" y="260"/>
                  </a:lnTo>
                  <a:lnTo>
                    <a:pt x="200" y="261"/>
                  </a:lnTo>
                  <a:lnTo>
                    <a:pt x="200" y="260"/>
                  </a:lnTo>
                  <a:lnTo>
                    <a:pt x="199" y="260"/>
                  </a:lnTo>
                  <a:lnTo>
                    <a:pt x="199" y="259"/>
                  </a:lnTo>
                  <a:lnTo>
                    <a:pt x="199" y="260"/>
                  </a:lnTo>
                  <a:lnTo>
                    <a:pt x="199" y="261"/>
                  </a:lnTo>
                  <a:lnTo>
                    <a:pt x="199" y="262"/>
                  </a:lnTo>
                  <a:lnTo>
                    <a:pt x="199" y="261"/>
                  </a:lnTo>
                  <a:lnTo>
                    <a:pt x="198" y="261"/>
                  </a:lnTo>
                  <a:lnTo>
                    <a:pt x="198" y="262"/>
                  </a:lnTo>
                  <a:lnTo>
                    <a:pt x="198" y="263"/>
                  </a:lnTo>
                  <a:lnTo>
                    <a:pt x="197" y="263"/>
                  </a:lnTo>
                  <a:lnTo>
                    <a:pt x="197" y="262"/>
                  </a:lnTo>
                  <a:lnTo>
                    <a:pt x="197" y="261"/>
                  </a:lnTo>
                  <a:lnTo>
                    <a:pt x="197" y="262"/>
                  </a:lnTo>
                  <a:lnTo>
                    <a:pt x="195" y="261"/>
                  </a:lnTo>
                  <a:lnTo>
                    <a:pt x="195" y="262"/>
                  </a:lnTo>
                  <a:lnTo>
                    <a:pt x="195" y="263"/>
                  </a:lnTo>
                  <a:lnTo>
                    <a:pt x="195" y="265"/>
                  </a:lnTo>
                  <a:lnTo>
                    <a:pt x="195" y="266"/>
                  </a:lnTo>
                  <a:lnTo>
                    <a:pt x="194" y="266"/>
                  </a:lnTo>
                  <a:lnTo>
                    <a:pt x="194" y="265"/>
                  </a:lnTo>
                  <a:lnTo>
                    <a:pt x="194" y="263"/>
                  </a:lnTo>
                  <a:lnTo>
                    <a:pt x="194" y="265"/>
                  </a:lnTo>
                  <a:lnTo>
                    <a:pt x="194" y="263"/>
                  </a:lnTo>
                  <a:lnTo>
                    <a:pt x="193" y="263"/>
                  </a:lnTo>
                  <a:lnTo>
                    <a:pt x="193" y="265"/>
                  </a:lnTo>
                  <a:lnTo>
                    <a:pt x="193" y="263"/>
                  </a:lnTo>
                  <a:lnTo>
                    <a:pt x="192" y="263"/>
                  </a:lnTo>
                  <a:lnTo>
                    <a:pt x="192" y="265"/>
                  </a:lnTo>
                  <a:lnTo>
                    <a:pt x="193" y="265"/>
                  </a:lnTo>
                  <a:lnTo>
                    <a:pt x="193" y="266"/>
                  </a:lnTo>
                  <a:lnTo>
                    <a:pt x="194" y="266"/>
                  </a:lnTo>
                  <a:lnTo>
                    <a:pt x="195" y="267"/>
                  </a:lnTo>
                  <a:lnTo>
                    <a:pt x="197" y="267"/>
                  </a:lnTo>
                  <a:lnTo>
                    <a:pt x="199" y="267"/>
                  </a:lnTo>
                  <a:lnTo>
                    <a:pt x="198" y="267"/>
                  </a:lnTo>
                  <a:lnTo>
                    <a:pt x="197" y="268"/>
                  </a:lnTo>
                  <a:lnTo>
                    <a:pt x="198" y="268"/>
                  </a:lnTo>
                  <a:lnTo>
                    <a:pt x="199" y="269"/>
                  </a:lnTo>
                  <a:lnTo>
                    <a:pt x="198" y="269"/>
                  </a:lnTo>
                  <a:lnTo>
                    <a:pt x="198" y="268"/>
                  </a:lnTo>
                  <a:lnTo>
                    <a:pt x="198" y="269"/>
                  </a:lnTo>
                  <a:lnTo>
                    <a:pt x="197" y="269"/>
                  </a:lnTo>
                  <a:lnTo>
                    <a:pt x="197" y="268"/>
                  </a:lnTo>
                  <a:lnTo>
                    <a:pt x="197" y="269"/>
                  </a:lnTo>
                  <a:lnTo>
                    <a:pt x="195" y="269"/>
                  </a:lnTo>
                  <a:lnTo>
                    <a:pt x="195" y="268"/>
                  </a:lnTo>
                  <a:lnTo>
                    <a:pt x="194" y="268"/>
                  </a:lnTo>
                  <a:lnTo>
                    <a:pt x="194" y="269"/>
                  </a:lnTo>
                  <a:lnTo>
                    <a:pt x="195" y="269"/>
                  </a:lnTo>
                  <a:lnTo>
                    <a:pt x="195" y="271"/>
                  </a:lnTo>
                  <a:lnTo>
                    <a:pt x="194" y="271"/>
                  </a:lnTo>
                  <a:lnTo>
                    <a:pt x="195" y="272"/>
                  </a:lnTo>
                  <a:lnTo>
                    <a:pt x="194" y="271"/>
                  </a:lnTo>
                  <a:lnTo>
                    <a:pt x="193" y="269"/>
                  </a:lnTo>
                  <a:lnTo>
                    <a:pt x="193" y="268"/>
                  </a:lnTo>
                  <a:lnTo>
                    <a:pt x="192" y="268"/>
                  </a:lnTo>
                  <a:lnTo>
                    <a:pt x="192" y="269"/>
                  </a:lnTo>
                  <a:lnTo>
                    <a:pt x="191" y="269"/>
                  </a:lnTo>
                  <a:lnTo>
                    <a:pt x="192" y="271"/>
                  </a:lnTo>
                  <a:lnTo>
                    <a:pt x="192" y="272"/>
                  </a:lnTo>
                  <a:lnTo>
                    <a:pt x="193" y="272"/>
                  </a:lnTo>
                  <a:lnTo>
                    <a:pt x="194" y="272"/>
                  </a:lnTo>
                  <a:lnTo>
                    <a:pt x="194" y="273"/>
                  </a:lnTo>
                  <a:lnTo>
                    <a:pt x="195" y="274"/>
                  </a:lnTo>
                  <a:lnTo>
                    <a:pt x="194" y="274"/>
                  </a:lnTo>
                  <a:lnTo>
                    <a:pt x="193" y="274"/>
                  </a:lnTo>
                  <a:lnTo>
                    <a:pt x="193" y="273"/>
                  </a:lnTo>
                  <a:lnTo>
                    <a:pt x="193" y="272"/>
                  </a:lnTo>
                  <a:lnTo>
                    <a:pt x="192" y="272"/>
                  </a:lnTo>
                  <a:lnTo>
                    <a:pt x="192" y="273"/>
                  </a:lnTo>
                  <a:lnTo>
                    <a:pt x="193" y="274"/>
                  </a:lnTo>
                  <a:lnTo>
                    <a:pt x="192" y="274"/>
                  </a:lnTo>
                  <a:lnTo>
                    <a:pt x="192" y="273"/>
                  </a:lnTo>
                  <a:lnTo>
                    <a:pt x="192" y="274"/>
                  </a:lnTo>
                  <a:lnTo>
                    <a:pt x="191" y="274"/>
                  </a:lnTo>
                  <a:lnTo>
                    <a:pt x="191" y="273"/>
                  </a:lnTo>
                  <a:lnTo>
                    <a:pt x="191" y="272"/>
                  </a:lnTo>
                  <a:lnTo>
                    <a:pt x="189" y="272"/>
                  </a:lnTo>
                  <a:lnTo>
                    <a:pt x="191" y="271"/>
                  </a:lnTo>
                  <a:lnTo>
                    <a:pt x="189" y="271"/>
                  </a:lnTo>
                  <a:lnTo>
                    <a:pt x="188" y="269"/>
                  </a:lnTo>
                  <a:lnTo>
                    <a:pt x="188" y="271"/>
                  </a:lnTo>
                  <a:lnTo>
                    <a:pt x="188" y="272"/>
                  </a:lnTo>
                  <a:lnTo>
                    <a:pt x="189" y="273"/>
                  </a:lnTo>
                  <a:lnTo>
                    <a:pt x="189" y="274"/>
                  </a:lnTo>
                  <a:lnTo>
                    <a:pt x="189" y="275"/>
                  </a:lnTo>
                  <a:lnTo>
                    <a:pt x="188" y="275"/>
                  </a:lnTo>
                  <a:lnTo>
                    <a:pt x="188" y="274"/>
                  </a:lnTo>
                  <a:lnTo>
                    <a:pt x="188" y="273"/>
                  </a:lnTo>
                  <a:lnTo>
                    <a:pt x="187" y="273"/>
                  </a:lnTo>
                  <a:lnTo>
                    <a:pt x="187" y="274"/>
                  </a:lnTo>
                  <a:lnTo>
                    <a:pt x="187" y="275"/>
                  </a:lnTo>
                  <a:lnTo>
                    <a:pt x="187" y="277"/>
                  </a:lnTo>
                  <a:lnTo>
                    <a:pt x="186" y="277"/>
                  </a:lnTo>
                  <a:lnTo>
                    <a:pt x="186" y="275"/>
                  </a:lnTo>
                  <a:lnTo>
                    <a:pt x="186" y="274"/>
                  </a:lnTo>
                  <a:lnTo>
                    <a:pt x="186" y="272"/>
                  </a:lnTo>
                  <a:lnTo>
                    <a:pt x="186" y="274"/>
                  </a:lnTo>
                  <a:lnTo>
                    <a:pt x="186" y="273"/>
                  </a:lnTo>
                  <a:lnTo>
                    <a:pt x="186" y="272"/>
                  </a:lnTo>
                  <a:lnTo>
                    <a:pt x="185" y="272"/>
                  </a:lnTo>
                  <a:lnTo>
                    <a:pt x="185" y="271"/>
                  </a:lnTo>
                  <a:lnTo>
                    <a:pt x="185" y="269"/>
                  </a:lnTo>
                  <a:lnTo>
                    <a:pt x="185" y="271"/>
                  </a:lnTo>
                  <a:lnTo>
                    <a:pt x="185" y="272"/>
                  </a:lnTo>
                  <a:lnTo>
                    <a:pt x="185" y="273"/>
                  </a:lnTo>
                  <a:lnTo>
                    <a:pt x="185" y="274"/>
                  </a:lnTo>
                  <a:lnTo>
                    <a:pt x="186" y="275"/>
                  </a:lnTo>
                  <a:lnTo>
                    <a:pt x="186" y="277"/>
                  </a:lnTo>
                  <a:lnTo>
                    <a:pt x="185" y="277"/>
                  </a:lnTo>
                  <a:lnTo>
                    <a:pt x="185" y="275"/>
                  </a:lnTo>
                  <a:lnTo>
                    <a:pt x="185" y="274"/>
                  </a:lnTo>
                  <a:lnTo>
                    <a:pt x="183" y="274"/>
                  </a:lnTo>
                  <a:lnTo>
                    <a:pt x="185" y="274"/>
                  </a:lnTo>
                  <a:lnTo>
                    <a:pt x="183" y="273"/>
                  </a:lnTo>
                  <a:lnTo>
                    <a:pt x="183" y="274"/>
                  </a:lnTo>
                  <a:lnTo>
                    <a:pt x="183" y="275"/>
                  </a:lnTo>
                  <a:lnTo>
                    <a:pt x="183" y="274"/>
                  </a:lnTo>
                  <a:lnTo>
                    <a:pt x="183" y="273"/>
                  </a:lnTo>
                  <a:lnTo>
                    <a:pt x="182" y="273"/>
                  </a:lnTo>
                  <a:lnTo>
                    <a:pt x="182" y="272"/>
                  </a:lnTo>
                  <a:lnTo>
                    <a:pt x="182" y="273"/>
                  </a:lnTo>
                  <a:lnTo>
                    <a:pt x="182" y="274"/>
                  </a:lnTo>
                  <a:lnTo>
                    <a:pt x="182" y="275"/>
                  </a:lnTo>
                  <a:lnTo>
                    <a:pt x="182" y="277"/>
                  </a:lnTo>
                  <a:lnTo>
                    <a:pt x="183" y="278"/>
                  </a:lnTo>
                  <a:lnTo>
                    <a:pt x="182" y="278"/>
                  </a:lnTo>
                  <a:lnTo>
                    <a:pt x="182" y="279"/>
                  </a:lnTo>
                  <a:lnTo>
                    <a:pt x="181" y="279"/>
                  </a:lnTo>
                  <a:lnTo>
                    <a:pt x="181" y="278"/>
                  </a:lnTo>
                  <a:lnTo>
                    <a:pt x="180" y="277"/>
                  </a:lnTo>
                  <a:lnTo>
                    <a:pt x="180" y="274"/>
                  </a:lnTo>
                  <a:lnTo>
                    <a:pt x="180" y="273"/>
                  </a:lnTo>
                  <a:lnTo>
                    <a:pt x="180" y="272"/>
                  </a:lnTo>
                  <a:lnTo>
                    <a:pt x="180" y="273"/>
                  </a:lnTo>
                  <a:lnTo>
                    <a:pt x="180" y="274"/>
                  </a:lnTo>
                  <a:lnTo>
                    <a:pt x="180" y="275"/>
                  </a:lnTo>
                  <a:lnTo>
                    <a:pt x="180" y="277"/>
                  </a:lnTo>
                  <a:lnTo>
                    <a:pt x="180" y="278"/>
                  </a:lnTo>
                  <a:lnTo>
                    <a:pt x="181" y="278"/>
                  </a:lnTo>
                  <a:lnTo>
                    <a:pt x="181" y="279"/>
                  </a:lnTo>
                  <a:lnTo>
                    <a:pt x="181" y="280"/>
                  </a:lnTo>
                  <a:lnTo>
                    <a:pt x="181" y="281"/>
                  </a:lnTo>
                  <a:lnTo>
                    <a:pt x="181" y="283"/>
                  </a:lnTo>
                  <a:lnTo>
                    <a:pt x="182" y="284"/>
                  </a:lnTo>
                  <a:lnTo>
                    <a:pt x="183" y="283"/>
                  </a:lnTo>
                  <a:lnTo>
                    <a:pt x="185" y="283"/>
                  </a:lnTo>
                  <a:lnTo>
                    <a:pt x="186" y="281"/>
                  </a:lnTo>
                  <a:lnTo>
                    <a:pt x="187" y="281"/>
                  </a:lnTo>
                  <a:lnTo>
                    <a:pt x="188" y="281"/>
                  </a:lnTo>
                  <a:lnTo>
                    <a:pt x="188" y="283"/>
                  </a:lnTo>
                  <a:lnTo>
                    <a:pt x="187" y="283"/>
                  </a:lnTo>
                  <a:lnTo>
                    <a:pt x="188" y="283"/>
                  </a:lnTo>
                  <a:lnTo>
                    <a:pt x="187" y="284"/>
                  </a:lnTo>
                  <a:lnTo>
                    <a:pt x="187" y="283"/>
                  </a:lnTo>
                  <a:lnTo>
                    <a:pt x="186" y="283"/>
                  </a:lnTo>
                  <a:lnTo>
                    <a:pt x="187" y="284"/>
                  </a:lnTo>
                  <a:lnTo>
                    <a:pt x="186" y="285"/>
                  </a:lnTo>
                  <a:lnTo>
                    <a:pt x="186" y="284"/>
                  </a:lnTo>
                  <a:lnTo>
                    <a:pt x="186" y="285"/>
                  </a:lnTo>
                  <a:lnTo>
                    <a:pt x="186" y="286"/>
                  </a:lnTo>
                  <a:lnTo>
                    <a:pt x="185" y="286"/>
                  </a:lnTo>
                  <a:lnTo>
                    <a:pt x="185" y="287"/>
                  </a:lnTo>
                  <a:lnTo>
                    <a:pt x="183" y="287"/>
                  </a:lnTo>
                  <a:lnTo>
                    <a:pt x="185" y="289"/>
                  </a:lnTo>
                  <a:lnTo>
                    <a:pt x="183" y="289"/>
                  </a:lnTo>
                  <a:lnTo>
                    <a:pt x="182" y="289"/>
                  </a:lnTo>
                  <a:lnTo>
                    <a:pt x="182" y="287"/>
                  </a:lnTo>
                  <a:lnTo>
                    <a:pt x="181" y="287"/>
                  </a:lnTo>
                  <a:lnTo>
                    <a:pt x="182" y="289"/>
                  </a:lnTo>
                  <a:lnTo>
                    <a:pt x="182" y="290"/>
                  </a:lnTo>
                  <a:lnTo>
                    <a:pt x="181" y="290"/>
                  </a:lnTo>
                  <a:lnTo>
                    <a:pt x="180" y="291"/>
                  </a:lnTo>
                  <a:lnTo>
                    <a:pt x="180" y="290"/>
                  </a:lnTo>
                  <a:lnTo>
                    <a:pt x="180" y="291"/>
                  </a:lnTo>
                  <a:lnTo>
                    <a:pt x="179" y="291"/>
                  </a:lnTo>
                  <a:lnTo>
                    <a:pt x="179" y="290"/>
                  </a:lnTo>
                  <a:lnTo>
                    <a:pt x="179" y="291"/>
                  </a:lnTo>
                  <a:lnTo>
                    <a:pt x="177" y="291"/>
                  </a:lnTo>
                  <a:lnTo>
                    <a:pt x="177" y="290"/>
                  </a:lnTo>
                  <a:lnTo>
                    <a:pt x="176" y="290"/>
                  </a:lnTo>
                  <a:lnTo>
                    <a:pt x="175" y="290"/>
                  </a:lnTo>
                  <a:lnTo>
                    <a:pt x="174" y="290"/>
                  </a:lnTo>
                  <a:lnTo>
                    <a:pt x="174" y="291"/>
                  </a:lnTo>
                  <a:lnTo>
                    <a:pt x="173" y="291"/>
                  </a:lnTo>
                  <a:lnTo>
                    <a:pt x="171" y="290"/>
                  </a:lnTo>
                  <a:lnTo>
                    <a:pt x="171" y="291"/>
                  </a:lnTo>
                  <a:lnTo>
                    <a:pt x="170" y="291"/>
                  </a:lnTo>
                  <a:lnTo>
                    <a:pt x="169" y="291"/>
                  </a:lnTo>
                  <a:lnTo>
                    <a:pt x="169" y="292"/>
                  </a:lnTo>
                  <a:lnTo>
                    <a:pt x="168" y="292"/>
                  </a:lnTo>
                  <a:lnTo>
                    <a:pt x="168" y="293"/>
                  </a:lnTo>
                  <a:lnTo>
                    <a:pt x="167" y="293"/>
                  </a:lnTo>
                  <a:lnTo>
                    <a:pt x="168" y="293"/>
                  </a:lnTo>
                  <a:lnTo>
                    <a:pt x="167" y="293"/>
                  </a:lnTo>
                  <a:lnTo>
                    <a:pt x="167" y="295"/>
                  </a:lnTo>
                  <a:lnTo>
                    <a:pt x="167" y="296"/>
                  </a:lnTo>
                  <a:lnTo>
                    <a:pt x="167" y="295"/>
                  </a:lnTo>
                  <a:lnTo>
                    <a:pt x="165" y="295"/>
                  </a:lnTo>
                  <a:lnTo>
                    <a:pt x="165" y="296"/>
                  </a:lnTo>
                  <a:lnTo>
                    <a:pt x="165" y="297"/>
                  </a:lnTo>
                  <a:lnTo>
                    <a:pt x="164" y="296"/>
                  </a:lnTo>
                  <a:lnTo>
                    <a:pt x="164" y="297"/>
                  </a:lnTo>
                  <a:lnTo>
                    <a:pt x="165" y="297"/>
                  </a:lnTo>
                  <a:lnTo>
                    <a:pt x="165" y="298"/>
                  </a:lnTo>
                  <a:lnTo>
                    <a:pt x="164" y="297"/>
                  </a:lnTo>
                  <a:lnTo>
                    <a:pt x="164" y="296"/>
                  </a:lnTo>
                  <a:lnTo>
                    <a:pt x="164" y="297"/>
                  </a:lnTo>
                  <a:lnTo>
                    <a:pt x="164" y="298"/>
                  </a:lnTo>
                  <a:lnTo>
                    <a:pt x="164" y="299"/>
                  </a:lnTo>
                  <a:lnTo>
                    <a:pt x="164" y="301"/>
                  </a:lnTo>
                  <a:lnTo>
                    <a:pt x="165" y="301"/>
                  </a:lnTo>
                  <a:lnTo>
                    <a:pt x="165" y="302"/>
                  </a:lnTo>
                  <a:lnTo>
                    <a:pt x="165" y="303"/>
                  </a:lnTo>
                  <a:lnTo>
                    <a:pt x="167" y="303"/>
                  </a:lnTo>
                  <a:lnTo>
                    <a:pt x="167" y="304"/>
                  </a:lnTo>
                  <a:lnTo>
                    <a:pt x="167" y="305"/>
                  </a:lnTo>
                  <a:lnTo>
                    <a:pt x="167" y="307"/>
                  </a:lnTo>
                  <a:lnTo>
                    <a:pt x="165" y="307"/>
                  </a:lnTo>
                  <a:lnTo>
                    <a:pt x="165" y="308"/>
                  </a:lnTo>
                  <a:lnTo>
                    <a:pt x="165" y="307"/>
                  </a:lnTo>
                  <a:lnTo>
                    <a:pt x="164" y="307"/>
                  </a:lnTo>
                  <a:lnTo>
                    <a:pt x="164" y="305"/>
                  </a:lnTo>
                  <a:lnTo>
                    <a:pt x="163" y="305"/>
                  </a:lnTo>
                  <a:lnTo>
                    <a:pt x="162" y="307"/>
                  </a:lnTo>
                  <a:lnTo>
                    <a:pt x="161" y="307"/>
                  </a:lnTo>
                  <a:lnTo>
                    <a:pt x="161" y="308"/>
                  </a:lnTo>
                  <a:lnTo>
                    <a:pt x="159" y="308"/>
                  </a:lnTo>
                  <a:lnTo>
                    <a:pt x="159" y="309"/>
                  </a:lnTo>
                  <a:lnTo>
                    <a:pt x="158" y="309"/>
                  </a:lnTo>
                  <a:lnTo>
                    <a:pt x="158" y="310"/>
                  </a:lnTo>
                  <a:lnTo>
                    <a:pt x="157" y="310"/>
                  </a:lnTo>
                  <a:lnTo>
                    <a:pt x="157" y="309"/>
                  </a:lnTo>
                  <a:lnTo>
                    <a:pt x="157" y="308"/>
                  </a:lnTo>
                  <a:lnTo>
                    <a:pt x="157" y="307"/>
                  </a:lnTo>
                  <a:lnTo>
                    <a:pt x="157" y="305"/>
                  </a:lnTo>
                  <a:lnTo>
                    <a:pt x="157" y="304"/>
                  </a:lnTo>
                  <a:lnTo>
                    <a:pt x="158" y="304"/>
                  </a:lnTo>
                  <a:lnTo>
                    <a:pt x="157" y="303"/>
                  </a:lnTo>
                  <a:lnTo>
                    <a:pt x="157" y="302"/>
                  </a:lnTo>
                  <a:lnTo>
                    <a:pt x="156" y="302"/>
                  </a:lnTo>
                  <a:lnTo>
                    <a:pt x="155" y="302"/>
                  </a:lnTo>
                  <a:lnTo>
                    <a:pt x="153" y="302"/>
                  </a:lnTo>
                  <a:lnTo>
                    <a:pt x="152" y="302"/>
                  </a:lnTo>
                  <a:lnTo>
                    <a:pt x="151" y="302"/>
                  </a:lnTo>
                  <a:lnTo>
                    <a:pt x="151" y="301"/>
                  </a:lnTo>
                  <a:lnTo>
                    <a:pt x="150" y="301"/>
                  </a:lnTo>
                  <a:lnTo>
                    <a:pt x="150" y="299"/>
                  </a:lnTo>
                  <a:lnTo>
                    <a:pt x="148" y="299"/>
                  </a:lnTo>
                  <a:lnTo>
                    <a:pt x="147" y="299"/>
                  </a:lnTo>
                  <a:lnTo>
                    <a:pt x="147" y="301"/>
                  </a:lnTo>
                  <a:lnTo>
                    <a:pt x="146" y="299"/>
                  </a:lnTo>
                  <a:lnTo>
                    <a:pt x="146" y="298"/>
                  </a:lnTo>
                  <a:lnTo>
                    <a:pt x="146" y="299"/>
                  </a:lnTo>
                  <a:lnTo>
                    <a:pt x="146" y="301"/>
                  </a:lnTo>
                  <a:lnTo>
                    <a:pt x="145" y="301"/>
                  </a:lnTo>
                  <a:lnTo>
                    <a:pt x="144" y="301"/>
                  </a:lnTo>
                  <a:lnTo>
                    <a:pt x="144" y="302"/>
                  </a:lnTo>
                  <a:lnTo>
                    <a:pt x="142" y="302"/>
                  </a:lnTo>
                  <a:lnTo>
                    <a:pt x="142" y="303"/>
                  </a:lnTo>
                  <a:lnTo>
                    <a:pt x="142" y="301"/>
                  </a:lnTo>
                  <a:lnTo>
                    <a:pt x="141" y="302"/>
                  </a:lnTo>
                  <a:lnTo>
                    <a:pt x="141" y="303"/>
                  </a:lnTo>
                  <a:lnTo>
                    <a:pt x="140" y="303"/>
                  </a:lnTo>
                  <a:lnTo>
                    <a:pt x="140" y="302"/>
                  </a:lnTo>
                  <a:lnTo>
                    <a:pt x="140" y="303"/>
                  </a:lnTo>
                  <a:lnTo>
                    <a:pt x="139" y="303"/>
                  </a:lnTo>
                  <a:lnTo>
                    <a:pt x="138" y="303"/>
                  </a:lnTo>
                  <a:lnTo>
                    <a:pt x="136" y="302"/>
                  </a:lnTo>
                  <a:lnTo>
                    <a:pt x="135" y="303"/>
                  </a:lnTo>
                  <a:lnTo>
                    <a:pt x="134" y="304"/>
                  </a:lnTo>
                  <a:lnTo>
                    <a:pt x="133" y="304"/>
                  </a:lnTo>
                  <a:lnTo>
                    <a:pt x="134" y="305"/>
                  </a:lnTo>
                  <a:lnTo>
                    <a:pt x="133" y="305"/>
                  </a:lnTo>
                  <a:lnTo>
                    <a:pt x="133" y="307"/>
                  </a:lnTo>
                  <a:lnTo>
                    <a:pt x="132" y="307"/>
                  </a:lnTo>
                  <a:lnTo>
                    <a:pt x="133" y="308"/>
                  </a:lnTo>
                  <a:lnTo>
                    <a:pt x="132" y="307"/>
                  </a:lnTo>
                  <a:lnTo>
                    <a:pt x="130" y="307"/>
                  </a:lnTo>
                  <a:lnTo>
                    <a:pt x="129" y="305"/>
                  </a:lnTo>
                  <a:lnTo>
                    <a:pt x="128" y="305"/>
                  </a:lnTo>
                  <a:lnTo>
                    <a:pt x="127" y="305"/>
                  </a:lnTo>
                  <a:lnTo>
                    <a:pt x="126" y="305"/>
                  </a:lnTo>
                  <a:lnTo>
                    <a:pt x="124" y="305"/>
                  </a:lnTo>
                  <a:lnTo>
                    <a:pt x="124" y="304"/>
                  </a:lnTo>
                  <a:lnTo>
                    <a:pt x="124" y="303"/>
                  </a:lnTo>
                  <a:lnTo>
                    <a:pt x="123" y="304"/>
                  </a:lnTo>
                  <a:lnTo>
                    <a:pt x="123" y="305"/>
                  </a:lnTo>
                  <a:lnTo>
                    <a:pt x="123" y="307"/>
                  </a:lnTo>
                  <a:lnTo>
                    <a:pt x="123" y="308"/>
                  </a:lnTo>
                  <a:lnTo>
                    <a:pt x="122" y="308"/>
                  </a:lnTo>
                  <a:lnTo>
                    <a:pt x="122" y="309"/>
                  </a:lnTo>
                  <a:lnTo>
                    <a:pt x="122" y="310"/>
                  </a:lnTo>
                  <a:lnTo>
                    <a:pt x="122" y="311"/>
                  </a:lnTo>
                  <a:lnTo>
                    <a:pt x="122" y="313"/>
                  </a:lnTo>
                  <a:lnTo>
                    <a:pt x="121" y="313"/>
                  </a:lnTo>
                  <a:lnTo>
                    <a:pt x="121" y="314"/>
                  </a:lnTo>
                  <a:lnTo>
                    <a:pt x="120" y="314"/>
                  </a:lnTo>
                  <a:lnTo>
                    <a:pt x="120" y="315"/>
                  </a:lnTo>
                  <a:lnTo>
                    <a:pt x="118" y="315"/>
                  </a:lnTo>
                  <a:lnTo>
                    <a:pt x="118" y="314"/>
                  </a:lnTo>
                  <a:lnTo>
                    <a:pt x="118" y="315"/>
                  </a:lnTo>
                  <a:lnTo>
                    <a:pt x="118" y="314"/>
                  </a:lnTo>
                  <a:lnTo>
                    <a:pt x="117" y="314"/>
                  </a:lnTo>
                  <a:lnTo>
                    <a:pt x="116" y="314"/>
                  </a:lnTo>
                  <a:lnTo>
                    <a:pt x="116" y="313"/>
                  </a:lnTo>
                  <a:lnTo>
                    <a:pt x="115" y="313"/>
                  </a:lnTo>
                  <a:lnTo>
                    <a:pt x="115" y="314"/>
                  </a:lnTo>
                  <a:lnTo>
                    <a:pt x="114" y="314"/>
                  </a:lnTo>
                  <a:lnTo>
                    <a:pt x="114" y="315"/>
                  </a:lnTo>
                  <a:lnTo>
                    <a:pt x="114" y="316"/>
                  </a:lnTo>
                  <a:lnTo>
                    <a:pt x="114" y="317"/>
                  </a:lnTo>
                  <a:lnTo>
                    <a:pt x="112" y="317"/>
                  </a:lnTo>
                  <a:lnTo>
                    <a:pt x="112" y="319"/>
                  </a:lnTo>
                  <a:lnTo>
                    <a:pt x="112" y="320"/>
                  </a:lnTo>
                  <a:lnTo>
                    <a:pt x="112" y="322"/>
                  </a:lnTo>
                  <a:lnTo>
                    <a:pt x="112" y="327"/>
                  </a:lnTo>
                  <a:lnTo>
                    <a:pt x="112" y="331"/>
                  </a:lnTo>
                  <a:lnTo>
                    <a:pt x="112" y="334"/>
                  </a:lnTo>
                  <a:lnTo>
                    <a:pt x="112" y="336"/>
                  </a:lnTo>
                  <a:lnTo>
                    <a:pt x="112" y="337"/>
                  </a:lnTo>
                  <a:lnTo>
                    <a:pt x="111" y="338"/>
                  </a:lnTo>
                  <a:lnTo>
                    <a:pt x="110" y="338"/>
                  </a:lnTo>
                  <a:lnTo>
                    <a:pt x="103" y="337"/>
                  </a:lnTo>
                  <a:lnTo>
                    <a:pt x="103" y="331"/>
                  </a:lnTo>
                  <a:lnTo>
                    <a:pt x="103" y="325"/>
                  </a:lnTo>
                  <a:lnTo>
                    <a:pt x="103" y="317"/>
                  </a:lnTo>
                  <a:lnTo>
                    <a:pt x="102" y="316"/>
                  </a:lnTo>
                  <a:lnTo>
                    <a:pt x="102" y="315"/>
                  </a:lnTo>
                  <a:lnTo>
                    <a:pt x="100" y="315"/>
                  </a:lnTo>
                  <a:lnTo>
                    <a:pt x="99" y="315"/>
                  </a:lnTo>
                  <a:lnTo>
                    <a:pt x="99" y="314"/>
                  </a:lnTo>
                  <a:lnTo>
                    <a:pt x="98" y="314"/>
                  </a:lnTo>
                  <a:lnTo>
                    <a:pt x="98" y="313"/>
                  </a:lnTo>
                  <a:lnTo>
                    <a:pt x="99" y="313"/>
                  </a:lnTo>
                  <a:lnTo>
                    <a:pt x="99" y="311"/>
                  </a:lnTo>
                  <a:lnTo>
                    <a:pt x="99" y="310"/>
                  </a:lnTo>
                  <a:lnTo>
                    <a:pt x="99" y="311"/>
                  </a:lnTo>
                  <a:lnTo>
                    <a:pt x="99" y="310"/>
                  </a:lnTo>
                  <a:lnTo>
                    <a:pt x="100" y="310"/>
                  </a:lnTo>
                  <a:lnTo>
                    <a:pt x="99" y="310"/>
                  </a:lnTo>
                  <a:lnTo>
                    <a:pt x="99" y="309"/>
                  </a:lnTo>
                  <a:lnTo>
                    <a:pt x="99" y="308"/>
                  </a:lnTo>
                  <a:lnTo>
                    <a:pt x="98" y="308"/>
                  </a:lnTo>
                  <a:lnTo>
                    <a:pt x="97" y="308"/>
                  </a:lnTo>
                  <a:lnTo>
                    <a:pt x="96" y="308"/>
                  </a:lnTo>
                  <a:lnTo>
                    <a:pt x="96" y="309"/>
                  </a:lnTo>
                  <a:lnTo>
                    <a:pt x="94" y="309"/>
                  </a:lnTo>
                  <a:lnTo>
                    <a:pt x="94" y="308"/>
                  </a:lnTo>
                  <a:lnTo>
                    <a:pt x="94" y="309"/>
                  </a:lnTo>
                  <a:lnTo>
                    <a:pt x="93" y="309"/>
                  </a:lnTo>
                  <a:lnTo>
                    <a:pt x="92" y="310"/>
                  </a:lnTo>
                  <a:lnTo>
                    <a:pt x="91" y="311"/>
                  </a:lnTo>
                  <a:lnTo>
                    <a:pt x="91" y="313"/>
                  </a:lnTo>
                  <a:lnTo>
                    <a:pt x="91" y="311"/>
                  </a:lnTo>
                  <a:lnTo>
                    <a:pt x="89" y="313"/>
                  </a:lnTo>
                  <a:lnTo>
                    <a:pt x="89" y="314"/>
                  </a:lnTo>
                  <a:lnTo>
                    <a:pt x="88" y="314"/>
                  </a:lnTo>
                  <a:lnTo>
                    <a:pt x="87" y="314"/>
                  </a:lnTo>
                  <a:lnTo>
                    <a:pt x="86" y="314"/>
                  </a:lnTo>
                  <a:lnTo>
                    <a:pt x="85" y="313"/>
                  </a:lnTo>
                  <a:lnTo>
                    <a:pt x="83" y="311"/>
                  </a:lnTo>
                  <a:lnTo>
                    <a:pt x="83" y="313"/>
                  </a:lnTo>
                  <a:lnTo>
                    <a:pt x="82" y="313"/>
                  </a:lnTo>
                  <a:lnTo>
                    <a:pt x="81" y="313"/>
                  </a:lnTo>
                  <a:lnTo>
                    <a:pt x="81" y="311"/>
                  </a:lnTo>
                  <a:lnTo>
                    <a:pt x="80" y="311"/>
                  </a:lnTo>
                  <a:lnTo>
                    <a:pt x="80" y="310"/>
                  </a:lnTo>
                  <a:lnTo>
                    <a:pt x="79" y="310"/>
                  </a:lnTo>
                  <a:lnTo>
                    <a:pt x="79" y="309"/>
                  </a:lnTo>
                  <a:lnTo>
                    <a:pt x="77" y="309"/>
                  </a:lnTo>
                  <a:lnTo>
                    <a:pt x="77" y="308"/>
                  </a:lnTo>
                  <a:lnTo>
                    <a:pt x="76" y="307"/>
                  </a:lnTo>
                  <a:lnTo>
                    <a:pt x="76" y="308"/>
                  </a:lnTo>
                  <a:lnTo>
                    <a:pt x="75" y="308"/>
                  </a:lnTo>
                  <a:lnTo>
                    <a:pt x="75" y="307"/>
                  </a:lnTo>
                  <a:lnTo>
                    <a:pt x="75" y="308"/>
                  </a:lnTo>
                  <a:lnTo>
                    <a:pt x="74" y="308"/>
                  </a:lnTo>
                  <a:lnTo>
                    <a:pt x="73" y="308"/>
                  </a:lnTo>
                  <a:lnTo>
                    <a:pt x="71" y="308"/>
                  </a:lnTo>
                  <a:lnTo>
                    <a:pt x="70" y="309"/>
                  </a:lnTo>
                  <a:lnTo>
                    <a:pt x="69" y="310"/>
                  </a:lnTo>
                  <a:lnTo>
                    <a:pt x="69" y="311"/>
                  </a:lnTo>
                  <a:lnTo>
                    <a:pt x="68" y="311"/>
                  </a:lnTo>
                  <a:lnTo>
                    <a:pt x="67" y="311"/>
                  </a:lnTo>
                  <a:lnTo>
                    <a:pt x="65" y="311"/>
                  </a:lnTo>
                  <a:lnTo>
                    <a:pt x="65" y="310"/>
                  </a:lnTo>
                  <a:lnTo>
                    <a:pt x="65" y="309"/>
                  </a:lnTo>
                  <a:lnTo>
                    <a:pt x="65" y="308"/>
                  </a:lnTo>
                  <a:lnTo>
                    <a:pt x="65" y="309"/>
                  </a:lnTo>
                  <a:lnTo>
                    <a:pt x="65" y="310"/>
                  </a:lnTo>
                  <a:lnTo>
                    <a:pt x="64" y="310"/>
                  </a:lnTo>
                  <a:lnTo>
                    <a:pt x="64" y="309"/>
                  </a:lnTo>
                  <a:lnTo>
                    <a:pt x="64" y="308"/>
                  </a:lnTo>
                  <a:lnTo>
                    <a:pt x="64" y="309"/>
                  </a:lnTo>
                  <a:lnTo>
                    <a:pt x="64" y="310"/>
                  </a:lnTo>
                  <a:lnTo>
                    <a:pt x="63" y="310"/>
                  </a:lnTo>
                  <a:lnTo>
                    <a:pt x="63" y="311"/>
                  </a:lnTo>
                  <a:lnTo>
                    <a:pt x="63" y="310"/>
                  </a:lnTo>
                  <a:lnTo>
                    <a:pt x="63" y="309"/>
                  </a:lnTo>
                  <a:lnTo>
                    <a:pt x="62" y="310"/>
                  </a:lnTo>
                  <a:lnTo>
                    <a:pt x="62" y="311"/>
                  </a:lnTo>
                  <a:lnTo>
                    <a:pt x="62" y="310"/>
                  </a:lnTo>
                  <a:lnTo>
                    <a:pt x="62" y="309"/>
                  </a:lnTo>
                  <a:lnTo>
                    <a:pt x="61" y="309"/>
                  </a:lnTo>
                  <a:lnTo>
                    <a:pt x="61" y="310"/>
                  </a:lnTo>
                  <a:lnTo>
                    <a:pt x="59" y="310"/>
                  </a:lnTo>
                  <a:lnTo>
                    <a:pt x="58" y="310"/>
                  </a:lnTo>
                  <a:lnTo>
                    <a:pt x="58" y="311"/>
                  </a:lnTo>
                  <a:lnTo>
                    <a:pt x="58" y="310"/>
                  </a:lnTo>
                  <a:lnTo>
                    <a:pt x="58" y="311"/>
                  </a:lnTo>
                  <a:lnTo>
                    <a:pt x="58" y="313"/>
                  </a:lnTo>
                  <a:lnTo>
                    <a:pt x="57" y="313"/>
                  </a:lnTo>
                  <a:lnTo>
                    <a:pt x="57" y="314"/>
                  </a:lnTo>
                  <a:lnTo>
                    <a:pt x="56" y="314"/>
                  </a:lnTo>
                  <a:lnTo>
                    <a:pt x="56" y="315"/>
                  </a:lnTo>
                  <a:lnTo>
                    <a:pt x="56" y="316"/>
                  </a:lnTo>
                  <a:lnTo>
                    <a:pt x="55" y="316"/>
                  </a:lnTo>
                  <a:lnTo>
                    <a:pt x="55" y="317"/>
                  </a:lnTo>
                  <a:lnTo>
                    <a:pt x="55" y="319"/>
                  </a:lnTo>
                  <a:lnTo>
                    <a:pt x="53" y="319"/>
                  </a:lnTo>
                  <a:lnTo>
                    <a:pt x="53" y="320"/>
                  </a:lnTo>
                  <a:lnTo>
                    <a:pt x="52" y="320"/>
                  </a:lnTo>
                  <a:lnTo>
                    <a:pt x="52" y="319"/>
                  </a:lnTo>
                  <a:lnTo>
                    <a:pt x="52" y="317"/>
                  </a:lnTo>
                  <a:lnTo>
                    <a:pt x="51" y="319"/>
                  </a:lnTo>
                  <a:lnTo>
                    <a:pt x="51" y="320"/>
                  </a:lnTo>
                  <a:lnTo>
                    <a:pt x="51" y="321"/>
                  </a:lnTo>
                  <a:lnTo>
                    <a:pt x="50" y="321"/>
                  </a:lnTo>
                  <a:lnTo>
                    <a:pt x="49" y="321"/>
                  </a:lnTo>
                  <a:lnTo>
                    <a:pt x="49" y="320"/>
                  </a:lnTo>
                  <a:lnTo>
                    <a:pt x="49" y="321"/>
                  </a:lnTo>
                  <a:lnTo>
                    <a:pt x="49" y="320"/>
                  </a:lnTo>
                  <a:lnTo>
                    <a:pt x="47" y="319"/>
                  </a:lnTo>
                  <a:lnTo>
                    <a:pt x="46" y="320"/>
                  </a:lnTo>
                  <a:lnTo>
                    <a:pt x="47" y="320"/>
                  </a:lnTo>
                  <a:lnTo>
                    <a:pt x="47" y="321"/>
                  </a:lnTo>
                  <a:lnTo>
                    <a:pt x="46" y="321"/>
                  </a:lnTo>
                  <a:lnTo>
                    <a:pt x="47" y="321"/>
                  </a:lnTo>
                  <a:lnTo>
                    <a:pt x="47" y="322"/>
                  </a:lnTo>
                  <a:lnTo>
                    <a:pt x="47" y="324"/>
                  </a:lnTo>
                  <a:lnTo>
                    <a:pt x="46" y="324"/>
                  </a:lnTo>
                  <a:lnTo>
                    <a:pt x="46" y="325"/>
                  </a:lnTo>
                  <a:lnTo>
                    <a:pt x="45" y="325"/>
                  </a:lnTo>
                  <a:lnTo>
                    <a:pt x="45" y="326"/>
                  </a:lnTo>
                  <a:lnTo>
                    <a:pt x="44" y="326"/>
                  </a:lnTo>
                  <a:lnTo>
                    <a:pt x="43" y="327"/>
                  </a:lnTo>
                  <a:lnTo>
                    <a:pt x="43" y="326"/>
                  </a:lnTo>
                  <a:lnTo>
                    <a:pt x="43" y="325"/>
                  </a:lnTo>
                  <a:lnTo>
                    <a:pt x="43" y="324"/>
                  </a:lnTo>
                  <a:lnTo>
                    <a:pt x="41" y="324"/>
                  </a:lnTo>
                  <a:lnTo>
                    <a:pt x="40" y="324"/>
                  </a:lnTo>
                  <a:lnTo>
                    <a:pt x="40" y="322"/>
                  </a:lnTo>
                  <a:lnTo>
                    <a:pt x="39" y="322"/>
                  </a:lnTo>
                  <a:lnTo>
                    <a:pt x="39" y="321"/>
                  </a:lnTo>
                  <a:lnTo>
                    <a:pt x="38" y="321"/>
                  </a:lnTo>
                  <a:lnTo>
                    <a:pt x="37" y="321"/>
                  </a:lnTo>
                  <a:lnTo>
                    <a:pt x="35" y="321"/>
                  </a:lnTo>
                  <a:lnTo>
                    <a:pt x="34" y="321"/>
                  </a:lnTo>
                  <a:lnTo>
                    <a:pt x="33" y="321"/>
                  </a:lnTo>
                  <a:lnTo>
                    <a:pt x="33" y="320"/>
                  </a:lnTo>
                  <a:lnTo>
                    <a:pt x="32" y="320"/>
                  </a:lnTo>
                  <a:lnTo>
                    <a:pt x="32" y="319"/>
                  </a:lnTo>
                  <a:lnTo>
                    <a:pt x="31" y="319"/>
                  </a:lnTo>
                  <a:lnTo>
                    <a:pt x="29" y="319"/>
                  </a:lnTo>
                  <a:lnTo>
                    <a:pt x="29" y="317"/>
                  </a:lnTo>
                  <a:lnTo>
                    <a:pt x="29" y="316"/>
                  </a:lnTo>
                  <a:lnTo>
                    <a:pt x="29" y="315"/>
                  </a:lnTo>
                  <a:lnTo>
                    <a:pt x="29" y="316"/>
                  </a:lnTo>
                  <a:lnTo>
                    <a:pt x="29" y="315"/>
                  </a:lnTo>
                  <a:lnTo>
                    <a:pt x="28" y="316"/>
                  </a:lnTo>
                  <a:lnTo>
                    <a:pt x="28" y="315"/>
                  </a:lnTo>
                  <a:lnTo>
                    <a:pt x="28" y="314"/>
                  </a:lnTo>
                  <a:lnTo>
                    <a:pt x="27" y="314"/>
                  </a:lnTo>
                  <a:lnTo>
                    <a:pt x="27" y="313"/>
                  </a:lnTo>
                  <a:lnTo>
                    <a:pt x="26" y="313"/>
                  </a:lnTo>
                  <a:lnTo>
                    <a:pt x="26" y="311"/>
                  </a:lnTo>
                  <a:lnTo>
                    <a:pt x="24" y="311"/>
                  </a:lnTo>
                  <a:lnTo>
                    <a:pt x="24" y="310"/>
                  </a:lnTo>
                  <a:lnTo>
                    <a:pt x="26" y="309"/>
                  </a:lnTo>
                  <a:lnTo>
                    <a:pt x="24" y="309"/>
                  </a:lnTo>
                  <a:lnTo>
                    <a:pt x="24" y="308"/>
                  </a:lnTo>
                  <a:lnTo>
                    <a:pt x="24" y="309"/>
                  </a:lnTo>
                  <a:lnTo>
                    <a:pt x="23" y="309"/>
                  </a:lnTo>
                  <a:lnTo>
                    <a:pt x="23" y="308"/>
                  </a:lnTo>
                  <a:lnTo>
                    <a:pt x="22" y="307"/>
                  </a:lnTo>
                  <a:lnTo>
                    <a:pt x="22" y="308"/>
                  </a:lnTo>
                  <a:lnTo>
                    <a:pt x="21" y="308"/>
                  </a:lnTo>
                  <a:lnTo>
                    <a:pt x="21" y="307"/>
                  </a:lnTo>
                  <a:lnTo>
                    <a:pt x="20" y="307"/>
                  </a:lnTo>
                  <a:lnTo>
                    <a:pt x="18" y="307"/>
                  </a:lnTo>
                  <a:lnTo>
                    <a:pt x="17" y="307"/>
                  </a:lnTo>
                  <a:lnTo>
                    <a:pt x="17" y="305"/>
                  </a:lnTo>
                  <a:lnTo>
                    <a:pt x="17" y="304"/>
                  </a:lnTo>
                  <a:lnTo>
                    <a:pt x="16" y="303"/>
                  </a:lnTo>
                  <a:lnTo>
                    <a:pt x="15" y="303"/>
                  </a:lnTo>
                  <a:lnTo>
                    <a:pt x="14" y="303"/>
                  </a:lnTo>
                  <a:lnTo>
                    <a:pt x="12" y="303"/>
                  </a:lnTo>
                  <a:lnTo>
                    <a:pt x="11" y="303"/>
                  </a:lnTo>
                  <a:lnTo>
                    <a:pt x="11" y="302"/>
                  </a:lnTo>
                  <a:lnTo>
                    <a:pt x="11" y="301"/>
                  </a:lnTo>
                  <a:lnTo>
                    <a:pt x="10" y="301"/>
                  </a:lnTo>
                  <a:lnTo>
                    <a:pt x="10" y="302"/>
                  </a:lnTo>
                  <a:lnTo>
                    <a:pt x="10" y="301"/>
                  </a:lnTo>
                  <a:lnTo>
                    <a:pt x="10" y="299"/>
                  </a:lnTo>
                  <a:lnTo>
                    <a:pt x="9" y="299"/>
                  </a:lnTo>
                  <a:lnTo>
                    <a:pt x="8" y="299"/>
                  </a:lnTo>
                  <a:lnTo>
                    <a:pt x="8" y="298"/>
                  </a:lnTo>
                  <a:lnTo>
                    <a:pt x="6" y="298"/>
                  </a:lnTo>
                  <a:lnTo>
                    <a:pt x="5" y="298"/>
                  </a:lnTo>
                  <a:lnTo>
                    <a:pt x="4" y="298"/>
                  </a:lnTo>
                  <a:lnTo>
                    <a:pt x="4" y="297"/>
                  </a:lnTo>
                  <a:lnTo>
                    <a:pt x="5" y="297"/>
                  </a:lnTo>
                  <a:lnTo>
                    <a:pt x="4" y="297"/>
                  </a:lnTo>
                  <a:lnTo>
                    <a:pt x="4" y="296"/>
                  </a:lnTo>
                  <a:lnTo>
                    <a:pt x="4" y="295"/>
                  </a:lnTo>
                  <a:lnTo>
                    <a:pt x="4" y="293"/>
                  </a:lnTo>
                  <a:lnTo>
                    <a:pt x="4" y="292"/>
                  </a:lnTo>
                  <a:lnTo>
                    <a:pt x="4" y="291"/>
                  </a:lnTo>
                  <a:lnTo>
                    <a:pt x="4" y="290"/>
                  </a:lnTo>
                  <a:lnTo>
                    <a:pt x="4" y="289"/>
                  </a:lnTo>
                  <a:lnTo>
                    <a:pt x="3" y="289"/>
                  </a:lnTo>
                  <a:lnTo>
                    <a:pt x="4" y="289"/>
                  </a:lnTo>
                  <a:lnTo>
                    <a:pt x="3" y="289"/>
                  </a:lnTo>
                  <a:lnTo>
                    <a:pt x="3" y="287"/>
                  </a:lnTo>
                  <a:lnTo>
                    <a:pt x="2" y="287"/>
                  </a:lnTo>
                  <a:lnTo>
                    <a:pt x="0" y="286"/>
                  </a:lnTo>
                  <a:lnTo>
                    <a:pt x="0" y="285"/>
                  </a:lnTo>
                  <a:lnTo>
                    <a:pt x="2" y="285"/>
                  </a:lnTo>
                  <a:lnTo>
                    <a:pt x="3" y="286"/>
                  </a:lnTo>
                  <a:lnTo>
                    <a:pt x="4" y="286"/>
                  </a:lnTo>
                  <a:lnTo>
                    <a:pt x="5" y="287"/>
                  </a:lnTo>
                  <a:lnTo>
                    <a:pt x="6" y="287"/>
                  </a:lnTo>
                  <a:lnTo>
                    <a:pt x="9" y="289"/>
                  </a:lnTo>
                  <a:lnTo>
                    <a:pt x="10" y="289"/>
                  </a:lnTo>
                  <a:lnTo>
                    <a:pt x="11" y="289"/>
                  </a:lnTo>
                  <a:lnTo>
                    <a:pt x="12" y="289"/>
                  </a:lnTo>
                  <a:lnTo>
                    <a:pt x="15" y="290"/>
                  </a:lnTo>
                  <a:lnTo>
                    <a:pt x="16" y="290"/>
                  </a:lnTo>
                  <a:lnTo>
                    <a:pt x="17" y="290"/>
                  </a:lnTo>
                  <a:lnTo>
                    <a:pt x="20" y="289"/>
                  </a:lnTo>
                  <a:lnTo>
                    <a:pt x="21" y="289"/>
                  </a:lnTo>
                  <a:lnTo>
                    <a:pt x="24" y="289"/>
                  </a:lnTo>
                  <a:lnTo>
                    <a:pt x="26" y="287"/>
                  </a:lnTo>
                  <a:lnTo>
                    <a:pt x="26" y="286"/>
                  </a:lnTo>
                  <a:lnTo>
                    <a:pt x="27" y="285"/>
                  </a:lnTo>
                  <a:lnTo>
                    <a:pt x="26" y="285"/>
                  </a:lnTo>
                  <a:lnTo>
                    <a:pt x="24" y="285"/>
                  </a:lnTo>
                  <a:lnTo>
                    <a:pt x="24" y="284"/>
                  </a:lnTo>
                  <a:lnTo>
                    <a:pt x="23" y="284"/>
                  </a:lnTo>
                  <a:lnTo>
                    <a:pt x="22" y="284"/>
                  </a:lnTo>
                  <a:lnTo>
                    <a:pt x="21" y="284"/>
                  </a:lnTo>
                  <a:lnTo>
                    <a:pt x="21" y="283"/>
                  </a:lnTo>
                  <a:lnTo>
                    <a:pt x="21" y="281"/>
                  </a:lnTo>
                  <a:lnTo>
                    <a:pt x="20" y="283"/>
                  </a:lnTo>
                  <a:lnTo>
                    <a:pt x="20" y="281"/>
                  </a:lnTo>
                  <a:lnTo>
                    <a:pt x="20" y="283"/>
                  </a:lnTo>
                  <a:lnTo>
                    <a:pt x="18" y="283"/>
                  </a:lnTo>
                  <a:lnTo>
                    <a:pt x="17" y="281"/>
                  </a:lnTo>
                  <a:lnTo>
                    <a:pt x="17" y="280"/>
                  </a:lnTo>
                  <a:lnTo>
                    <a:pt x="16" y="279"/>
                  </a:lnTo>
                  <a:lnTo>
                    <a:pt x="16" y="278"/>
                  </a:lnTo>
                  <a:lnTo>
                    <a:pt x="15" y="278"/>
                  </a:lnTo>
                  <a:lnTo>
                    <a:pt x="15" y="277"/>
                  </a:lnTo>
                  <a:lnTo>
                    <a:pt x="15" y="275"/>
                  </a:lnTo>
                  <a:lnTo>
                    <a:pt x="16" y="277"/>
                  </a:lnTo>
                  <a:lnTo>
                    <a:pt x="18" y="277"/>
                  </a:lnTo>
                  <a:lnTo>
                    <a:pt x="20" y="277"/>
                  </a:lnTo>
                  <a:lnTo>
                    <a:pt x="21" y="277"/>
                  </a:lnTo>
                  <a:lnTo>
                    <a:pt x="22" y="277"/>
                  </a:lnTo>
                  <a:lnTo>
                    <a:pt x="23" y="275"/>
                  </a:lnTo>
                  <a:lnTo>
                    <a:pt x="23" y="274"/>
                  </a:lnTo>
                  <a:lnTo>
                    <a:pt x="22" y="274"/>
                  </a:lnTo>
                  <a:lnTo>
                    <a:pt x="22" y="273"/>
                  </a:lnTo>
                  <a:lnTo>
                    <a:pt x="21" y="273"/>
                  </a:lnTo>
                  <a:lnTo>
                    <a:pt x="21" y="272"/>
                  </a:lnTo>
                  <a:lnTo>
                    <a:pt x="20" y="272"/>
                  </a:lnTo>
                  <a:lnTo>
                    <a:pt x="18" y="272"/>
                  </a:lnTo>
                  <a:lnTo>
                    <a:pt x="17" y="271"/>
                  </a:lnTo>
                  <a:lnTo>
                    <a:pt x="16" y="271"/>
                  </a:lnTo>
                  <a:lnTo>
                    <a:pt x="16" y="269"/>
                  </a:lnTo>
                  <a:lnTo>
                    <a:pt x="15" y="269"/>
                  </a:lnTo>
                  <a:lnTo>
                    <a:pt x="15" y="268"/>
                  </a:lnTo>
                  <a:lnTo>
                    <a:pt x="14" y="268"/>
                  </a:lnTo>
                  <a:lnTo>
                    <a:pt x="14" y="267"/>
                  </a:lnTo>
                  <a:lnTo>
                    <a:pt x="14" y="266"/>
                  </a:lnTo>
                  <a:lnTo>
                    <a:pt x="14" y="265"/>
                  </a:lnTo>
                  <a:lnTo>
                    <a:pt x="12" y="265"/>
                  </a:lnTo>
                  <a:lnTo>
                    <a:pt x="12" y="263"/>
                  </a:lnTo>
                  <a:lnTo>
                    <a:pt x="14" y="263"/>
                  </a:lnTo>
                  <a:lnTo>
                    <a:pt x="14" y="265"/>
                  </a:lnTo>
                  <a:lnTo>
                    <a:pt x="15" y="265"/>
                  </a:lnTo>
                  <a:lnTo>
                    <a:pt x="14" y="263"/>
                  </a:lnTo>
                  <a:lnTo>
                    <a:pt x="14" y="262"/>
                  </a:lnTo>
                  <a:lnTo>
                    <a:pt x="15" y="262"/>
                  </a:lnTo>
                  <a:lnTo>
                    <a:pt x="14" y="262"/>
                  </a:lnTo>
                  <a:lnTo>
                    <a:pt x="14" y="261"/>
                  </a:lnTo>
                  <a:lnTo>
                    <a:pt x="15" y="261"/>
                  </a:lnTo>
                  <a:lnTo>
                    <a:pt x="14" y="261"/>
                  </a:lnTo>
                  <a:lnTo>
                    <a:pt x="14" y="260"/>
                  </a:lnTo>
                  <a:lnTo>
                    <a:pt x="15" y="260"/>
                  </a:lnTo>
                  <a:lnTo>
                    <a:pt x="16" y="260"/>
                  </a:lnTo>
                  <a:lnTo>
                    <a:pt x="16" y="261"/>
                  </a:lnTo>
                  <a:lnTo>
                    <a:pt x="17" y="261"/>
                  </a:lnTo>
                  <a:lnTo>
                    <a:pt x="17" y="262"/>
                  </a:lnTo>
                  <a:lnTo>
                    <a:pt x="18" y="263"/>
                  </a:lnTo>
                  <a:lnTo>
                    <a:pt x="20" y="263"/>
                  </a:lnTo>
                  <a:lnTo>
                    <a:pt x="21" y="265"/>
                  </a:lnTo>
                  <a:lnTo>
                    <a:pt x="22" y="265"/>
                  </a:lnTo>
                  <a:lnTo>
                    <a:pt x="23" y="265"/>
                  </a:lnTo>
                  <a:lnTo>
                    <a:pt x="22" y="263"/>
                  </a:lnTo>
                  <a:lnTo>
                    <a:pt x="23" y="263"/>
                  </a:lnTo>
                  <a:lnTo>
                    <a:pt x="23" y="262"/>
                  </a:lnTo>
                  <a:lnTo>
                    <a:pt x="22" y="262"/>
                  </a:lnTo>
                  <a:lnTo>
                    <a:pt x="22" y="261"/>
                  </a:lnTo>
                  <a:lnTo>
                    <a:pt x="22" y="260"/>
                  </a:lnTo>
                  <a:lnTo>
                    <a:pt x="23" y="260"/>
                  </a:lnTo>
                  <a:lnTo>
                    <a:pt x="24" y="260"/>
                  </a:lnTo>
                  <a:lnTo>
                    <a:pt x="24" y="261"/>
                  </a:lnTo>
                  <a:lnTo>
                    <a:pt x="26" y="261"/>
                  </a:lnTo>
                  <a:lnTo>
                    <a:pt x="24" y="260"/>
                  </a:lnTo>
                  <a:lnTo>
                    <a:pt x="24" y="259"/>
                  </a:lnTo>
                  <a:lnTo>
                    <a:pt x="26" y="257"/>
                  </a:lnTo>
                  <a:lnTo>
                    <a:pt x="26" y="259"/>
                  </a:lnTo>
                  <a:lnTo>
                    <a:pt x="27" y="259"/>
                  </a:lnTo>
                  <a:lnTo>
                    <a:pt x="27" y="260"/>
                  </a:lnTo>
                  <a:lnTo>
                    <a:pt x="27" y="259"/>
                  </a:lnTo>
                  <a:lnTo>
                    <a:pt x="28" y="260"/>
                  </a:lnTo>
                  <a:lnTo>
                    <a:pt x="27" y="260"/>
                  </a:lnTo>
                  <a:lnTo>
                    <a:pt x="28" y="261"/>
                  </a:lnTo>
                  <a:lnTo>
                    <a:pt x="27" y="261"/>
                  </a:lnTo>
                  <a:lnTo>
                    <a:pt x="28" y="261"/>
                  </a:lnTo>
                  <a:lnTo>
                    <a:pt x="28" y="262"/>
                  </a:lnTo>
                  <a:lnTo>
                    <a:pt x="29" y="262"/>
                  </a:lnTo>
                  <a:lnTo>
                    <a:pt x="28" y="263"/>
                  </a:lnTo>
                  <a:lnTo>
                    <a:pt x="29" y="263"/>
                  </a:lnTo>
                  <a:lnTo>
                    <a:pt x="29" y="265"/>
                  </a:lnTo>
                  <a:lnTo>
                    <a:pt x="31" y="265"/>
                  </a:lnTo>
                  <a:lnTo>
                    <a:pt x="32" y="265"/>
                  </a:lnTo>
                  <a:lnTo>
                    <a:pt x="33" y="265"/>
                  </a:lnTo>
                  <a:lnTo>
                    <a:pt x="34" y="265"/>
                  </a:lnTo>
                  <a:lnTo>
                    <a:pt x="35" y="265"/>
                  </a:lnTo>
                  <a:lnTo>
                    <a:pt x="37" y="265"/>
                  </a:lnTo>
                  <a:lnTo>
                    <a:pt x="38" y="265"/>
                  </a:lnTo>
                  <a:lnTo>
                    <a:pt x="38" y="263"/>
                  </a:lnTo>
                  <a:lnTo>
                    <a:pt x="38" y="262"/>
                  </a:lnTo>
                  <a:lnTo>
                    <a:pt x="37" y="262"/>
                  </a:lnTo>
                  <a:lnTo>
                    <a:pt x="37" y="263"/>
                  </a:lnTo>
                  <a:lnTo>
                    <a:pt x="35" y="265"/>
                  </a:lnTo>
                  <a:lnTo>
                    <a:pt x="35" y="263"/>
                  </a:lnTo>
                  <a:lnTo>
                    <a:pt x="37" y="263"/>
                  </a:lnTo>
                  <a:lnTo>
                    <a:pt x="37" y="262"/>
                  </a:lnTo>
                  <a:lnTo>
                    <a:pt x="37" y="261"/>
                  </a:lnTo>
                  <a:lnTo>
                    <a:pt x="37" y="262"/>
                  </a:lnTo>
                  <a:lnTo>
                    <a:pt x="37" y="261"/>
                  </a:lnTo>
                  <a:lnTo>
                    <a:pt x="35" y="261"/>
                  </a:lnTo>
                  <a:lnTo>
                    <a:pt x="35" y="262"/>
                  </a:lnTo>
                  <a:lnTo>
                    <a:pt x="35" y="261"/>
                  </a:lnTo>
                  <a:lnTo>
                    <a:pt x="35" y="260"/>
                  </a:lnTo>
                  <a:lnTo>
                    <a:pt x="37" y="260"/>
                  </a:lnTo>
                  <a:lnTo>
                    <a:pt x="35" y="259"/>
                  </a:lnTo>
                  <a:lnTo>
                    <a:pt x="35" y="260"/>
                  </a:lnTo>
                  <a:lnTo>
                    <a:pt x="34" y="260"/>
                  </a:lnTo>
                  <a:lnTo>
                    <a:pt x="33" y="260"/>
                  </a:lnTo>
                  <a:lnTo>
                    <a:pt x="33" y="259"/>
                  </a:lnTo>
                  <a:lnTo>
                    <a:pt x="33" y="257"/>
                  </a:lnTo>
                  <a:lnTo>
                    <a:pt x="34" y="257"/>
                  </a:lnTo>
                  <a:lnTo>
                    <a:pt x="34" y="256"/>
                  </a:lnTo>
                  <a:lnTo>
                    <a:pt x="33" y="256"/>
                  </a:lnTo>
                  <a:lnTo>
                    <a:pt x="33" y="257"/>
                  </a:lnTo>
                  <a:lnTo>
                    <a:pt x="32" y="257"/>
                  </a:lnTo>
                  <a:lnTo>
                    <a:pt x="31" y="257"/>
                  </a:lnTo>
                  <a:lnTo>
                    <a:pt x="31" y="256"/>
                  </a:lnTo>
                  <a:lnTo>
                    <a:pt x="32" y="256"/>
                  </a:lnTo>
                  <a:lnTo>
                    <a:pt x="33" y="255"/>
                  </a:lnTo>
                  <a:lnTo>
                    <a:pt x="33" y="254"/>
                  </a:lnTo>
                  <a:lnTo>
                    <a:pt x="33" y="255"/>
                  </a:lnTo>
                  <a:lnTo>
                    <a:pt x="32" y="255"/>
                  </a:lnTo>
                  <a:lnTo>
                    <a:pt x="31" y="255"/>
                  </a:lnTo>
                  <a:lnTo>
                    <a:pt x="32" y="254"/>
                  </a:lnTo>
                  <a:lnTo>
                    <a:pt x="33" y="254"/>
                  </a:lnTo>
                  <a:lnTo>
                    <a:pt x="34" y="254"/>
                  </a:lnTo>
                  <a:lnTo>
                    <a:pt x="34" y="253"/>
                  </a:lnTo>
                  <a:lnTo>
                    <a:pt x="33" y="253"/>
                  </a:lnTo>
                  <a:lnTo>
                    <a:pt x="33" y="254"/>
                  </a:lnTo>
                  <a:lnTo>
                    <a:pt x="32" y="254"/>
                  </a:lnTo>
                  <a:lnTo>
                    <a:pt x="31" y="254"/>
                  </a:lnTo>
                  <a:lnTo>
                    <a:pt x="32" y="253"/>
                  </a:lnTo>
                  <a:lnTo>
                    <a:pt x="32" y="251"/>
                  </a:lnTo>
                  <a:lnTo>
                    <a:pt x="31" y="253"/>
                  </a:lnTo>
                  <a:lnTo>
                    <a:pt x="32" y="251"/>
                  </a:lnTo>
                  <a:lnTo>
                    <a:pt x="31" y="251"/>
                  </a:lnTo>
                  <a:lnTo>
                    <a:pt x="31" y="250"/>
                  </a:lnTo>
                  <a:lnTo>
                    <a:pt x="32" y="250"/>
                  </a:lnTo>
                  <a:lnTo>
                    <a:pt x="33" y="250"/>
                  </a:lnTo>
                  <a:lnTo>
                    <a:pt x="33" y="249"/>
                  </a:lnTo>
                  <a:lnTo>
                    <a:pt x="34" y="248"/>
                  </a:lnTo>
                  <a:lnTo>
                    <a:pt x="35" y="248"/>
                  </a:lnTo>
                  <a:lnTo>
                    <a:pt x="34" y="245"/>
                  </a:lnTo>
                  <a:lnTo>
                    <a:pt x="34" y="247"/>
                  </a:lnTo>
                  <a:lnTo>
                    <a:pt x="34" y="248"/>
                  </a:lnTo>
                  <a:lnTo>
                    <a:pt x="34" y="247"/>
                  </a:lnTo>
                  <a:lnTo>
                    <a:pt x="33" y="248"/>
                  </a:lnTo>
                  <a:lnTo>
                    <a:pt x="33" y="247"/>
                  </a:lnTo>
                  <a:lnTo>
                    <a:pt x="33" y="245"/>
                  </a:lnTo>
                  <a:lnTo>
                    <a:pt x="33" y="248"/>
                  </a:lnTo>
                  <a:lnTo>
                    <a:pt x="32" y="248"/>
                  </a:lnTo>
                  <a:lnTo>
                    <a:pt x="32" y="249"/>
                  </a:lnTo>
                  <a:lnTo>
                    <a:pt x="32" y="248"/>
                  </a:lnTo>
                  <a:lnTo>
                    <a:pt x="32" y="247"/>
                  </a:lnTo>
                  <a:lnTo>
                    <a:pt x="32" y="245"/>
                  </a:lnTo>
                  <a:lnTo>
                    <a:pt x="33" y="245"/>
                  </a:lnTo>
                  <a:lnTo>
                    <a:pt x="33" y="244"/>
                  </a:lnTo>
                  <a:lnTo>
                    <a:pt x="33" y="243"/>
                  </a:lnTo>
                  <a:lnTo>
                    <a:pt x="32" y="243"/>
                  </a:lnTo>
                  <a:lnTo>
                    <a:pt x="32" y="244"/>
                  </a:lnTo>
                  <a:lnTo>
                    <a:pt x="32" y="245"/>
                  </a:lnTo>
                  <a:lnTo>
                    <a:pt x="32" y="247"/>
                  </a:lnTo>
                  <a:lnTo>
                    <a:pt x="31" y="247"/>
                  </a:lnTo>
                  <a:lnTo>
                    <a:pt x="31" y="245"/>
                  </a:lnTo>
                  <a:lnTo>
                    <a:pt x="31" y="244"/>
                  </a:lnTo>
                  <a:lnTo>
                    <a:pt x="31" y="243"/>
                  </a:lnTo>
                  <a:lnTo>
                    <a:pt x="32" y="243"/>
                  </a:lnTo>
                  <a:lnTo>
                    <a:pt x="31" y="243"/>
                  </a:lnTo>
                  <a:lnTo>
                    <a:pt x="31" y="244"/>
                  </a:lnTo>
                  <a:lnTo>
                    <a:pt x="29" y="244"/>
                  </a:lnTo>
                  <a:lnTo>
                    <a:pt x="29" y="245"/>
                  </a:lnTo>
                  <a:lnTo>
                    <a:pt x="28" y="245"/>
                  </a:lnTo>
                  <a:lnTo>
                    <a:pt x="28" y="244"/>
                  </a:lnTo>
                  <a:lnTo>
                    <a:pt x="27" y="244"/>
                  </a:lnTo>
                  <a:lnTo>
                    <a:pt x="27" y="247"/>
                  </a:lnTo>
                  <a:lnTo>
                    <a:pt x="27" y="245"/>
                  </a:lnTo>
                  <a:lnTo>
                    <a:pt x="26" y="244"/>
                  </a:lnTo>
                  <a:lnTo>
                    <a:pt x="26" y="245"/>
                  </a:lnTo>
                  <a:lnTo>
                    <a:pt x="24" y="245"/>
                  </a:lnTo>
                  <a:lnTo>
                    <a:pt x="24" y="247"/>
                  </a:lnTo>
                  <a:lnTo>
                    <a:pt x="24" y="245"/>
                  </a:lnTo>
                  <a:lnTo>
                    <a:pt x="24" y="244"/>
                  </a:lnTo>
                  <a:lnTo>
                    <a:pt x="23" y="244"/>
                  </a:lnTo>
                  <a:lnTo>
                    <a:pt x="23" y="243"/>
                  </a:lnTo>
                  <a:lnTo>
                    <a:pt x="24" y="242"/>
                  </a:lnTo>
                  <a:lnTo>
                    <a:pt x="23" y="242"/>
                  </a:lnTo>
                  <a:lnTo>
                    <a:pt x="22" y="242"/>
                  </a:lnTo>
                  <a:lnTo>
                    <a:pt x="22" y="243"/>
                  </a:lnTo>
                  <a:lnTo>
                    <a:pt x="22" y="242"/>
                  </a:lnTo>
                  <a:lnTo>
                    <a:pt x="21" y="243"/>
                  </a:lnTo>
                  <a:lnTo>
                    <a:pt x="20" y="243"/>
                  </a:lnTo>
                  <a:lnTo>
                    <a:pt x="18" y="243"/>
                  </a:lnTo>
                  <a:lnTo>
                    <a:pt x="20" y="243"/>
                  </a:lnTo>
                  <a:lnTo>
                    <a:pt x="20" y="242"/>
                  </a:lnTo>
                  <a:lnTo>
                    <a:pt x="21" y="242"/>
                  </a:lnTo>
                  <a:lnTo>
                    <a:pt x="22" y="241"/>
                  </a:lnTo>
                  <a:lnTo>
                    <a:pt x="23" y="239"/>
                  </a:lnTo>
                  <a:lnTo>
                    <a:pt x="24" y="238"/>
                  </a:lnTo>
                  <a:lnTo>
                    <a:pt x="23" y="238"/>
                  </a:lnTo>
                  <a:lnTo>
                    <a:pt x="23" y="239"/>
                  </a:lnTo>
                  <a:lnTo>
                    <a:pt x="22" y="239"/>
                  </a:lnTo>
                  <a:lnTo>
                    <a:pt x="21" y="239"/>
                  </a:lnTo>
                  <a:lnTo>
                    <a:pt x="21" y="238"/>
                  </a:lnTo>
                  <a:lnTo>
                    <a:pt x="21" y="239"/>
                  </a:lnTo>
                  <a:lnTo>
                    <a:pt x="21" y="241"/>
                  </a:lnTo>
                  <a:lnTo>
                    <a:pt x="21" y="242"/>
                  </a:lnTo>
                  <a:lnTo>
                    <a:pt x="20" y="242"/>
                  </a:lnTo>
                  <a:lnTo>
                    <a:pt x="20" y="241"/>
                  </a:lnTo>
                  <a:lnTo>
                    <a:pt x="20" y="239"/>
                  </a:lnTo>
                  <a:lnTo>
                    <a:pt x="20" y="241"/>
                  </a:lnTo>
                  <a:lnTo>
                    <a:pt x="20" y="242"/>
                  </a:lnTo>
                  <a:lnTo>
                    <a:pt x="18" y="242"/>
                  </a:lnTo>
                  <a:lnTo>
                    <a:pt x="18" y="241"/>
                  </a:lnTo>
                  <a:lnTo>
                    <a:pt x="18" y="239"/>
                  </a:lnTo>
                  <a:lnTo>
                    <a:pt x="18" y="238"/>
                  </a:lnTo>
                  <a:lnTo>
                    <a:pt x="18" y="239"/>
                  </a:lnTo>
                  <a:lnTo>
                    <a:pt x="17" y="239"/>
                  </a:lnTo>
                  <a:lnTo>
                    <a:pt x="17" y="241"/>
                  </a:lnTo>
                  <a:lnTo>
                    <a:pt x="17" y="242"/>
                  </a:lnTo>
                  <a:lnTo>
                    <a:pt x="17" y="241"/>
                  </a:lnTo>
                  <a:lnTo>
                    <a:pt x="17" y="239"/>
                  </a:lnTo>
                  <a:lnTo>
                    <a:pt x="17" y="238"/>
                  </a:lnTo>
                  <a:lnTo>
                    <a:pt x="16" y="237"/>
                  </a:lnTo>
                  <a:lnTo>
                    <a:pt x="17" y="237"/>
                  </a:lnTo>
                  <a:lnTo>
                    <a:pt x="17" y="236"/>
                  </a:lnTo>
                  <a:lnTo>
                    <a:pt x="16" y="236"/>
                  </a:lnTo>
                  <a:lnTo>
                    <a:pt x="16" y="237"/>
                  </a:lnTo>
                  <a:lnTo>
                    <a:pt x="16" y="238"/>
                  </a:lnTo>
                  <a:lnTo>
                    <a:pt x="15" y="238"/>
                  </a:lnTo>
                  <a:lnTo>
                    <a:pt x="15" y="237"/>
                  </a:lnTo>
                  <a:lnTo>
                    <a:pt x="15" y="236"/>
                  </a:lnTo>
                  <a:lnTo>
                    <a:pt x="14" y="238"/>
                  </a:lnTo>
                  <a:lnTo>
                    <a:pt x="12" y="238"/>
                  </a:lnTo>
                  <a:lnTo>
                    <a:pt x="12" y="237"/>
                  </a:lnTo>
                  <a:lnTo>
                    <a:pt x="12" y="238"/>
                  </a:lnTo>
                  <a:lnTo>
                    <a:pt x="12" y="239"/>
                  </a:lnTo>
                  <a:lnTo>
                    <a:pt x="12" y="241"/>
                  </a:lnTo>
                  <a:lnTo>
                    <a:pt x="11" y="239"/>
                  </a:lnTo>
                  <a:lnTo>
                    <a:pt x="11" y="238"/>
                  </a:lnTo>
                  <a:lnTo>
                    <a:pt x="11" y="239"/>
                  </a:lnTo>
                  <a:lnTo>
                    <a:pt x="10" y="239"/>
                  </a:lnTo>
                  <a:lnTo>
                    <a:pt x="10" y="238"/>
                  </a:lnTo>
                  <a:lnTo>
                    <a:pt x="10" y="237"/>
                  </a:lnTo>
                  <a:lnTo>
                    <a:pt x="9" y="237"/>
                  </a:lnTo>
                  <a:lnTo>
                    <a:pt x="10" y="236"/>
                  </a:lnTo>
                  <a:lnTo>
                    <a:pt x="11" y="235"/>
                  </a:lnTo>
                  <a:lnTo>
                    <a:pt x="14" y="233"/>
                  </a:lnTo>
                  <a:lnTo>
                    <a:pt x="15" y="232"/>
                  </a:lnTo>
                  <a:lnTo>
                    <a:pt x="17" y="232"/>
                  </a:lnTo>
                  <a:lnTo>
                    <a:pt x="18" y="232"/>
                  </a:lnTo>
                  <a:lnTo>
                    <a:pt x="20" y="232"/>
                  </a:lnTo>
                  <a:lnTo>
                    <a:pt x="21" y="232"/>
                  </a:lnTo>
                  <a:lnTo>
                    <a:pt x="22" y="232"/>
                  </a:lnTo>
                  <a:lnTo>
                    <a:pt x="23" y="231"/>
                  </a:lnTo>
                  <a:lnTo>
                    <a:pt x="24" y="231"/>
                  </a:lnTo>
                  <a:lnTo>
                    <a:pt x="24" y="230"/>
                  </a:lnTo>
                  <a:lnTo>
                    <a:pt x="23" y="230"/>
                  </a:lnTo>
                  <a:lnTo>
                    <a:pt x="22" y="231"/>
                  </a:lnTo>
                  <a:lnTo>
                    <a:pt x="22" y="230"/>
                  </a:lnTo>
                  <a:lnTo>
                    <a:pt x="23" y="230"/>
                  </a:lnTo>
                  <a:lnTo>
                    <a:pt x="22" y="229"/>
                  </a:lnTo>
                  <a:lnTo>
                    <a:pt x="23" y="230"/>
                  </a:lnTo>
                  <a:lnTo>
                    <a:pt x="23" y="229"/>
                  </a:lnTo>
                  <a:lnTo>
                    <a:pt x="24" y="230"/>
                  </a:lnTo>
                  <a:lnTo>
                    <a:pt x="26" y="230"/>
                  </a:lnTo>
                  <a:lnTo>
                    <a:pt x="27" y="231"/>
                  </a:lnTo>
                  <a:lnTo>
                    <a:pt x="28" y="231"/>
                  </a:lnTo>
                  <a:lnTo>
                    <a:pt x="31" y="230"/>
                  </a:lnTo>
                  <a:lnTo>
                    <a:pt x="32" y="229"/>
                  </a:lnTo>
                  <a:lnTo>
                    <a:pt x="33" y="230"/>
                  </a:lnTo>
                  <a:lnTo>
                    <a:pt x="33" y="229"/>
                  </a:lnTo>
                  <a:lnTo>
                    <a:pt x="33" y="227"/>
                  </a:lnTo>
                  <a:lnTo>
                    <a:pt x="33" y="226"/>
                  </a:lnTo>
                  <a:lnTo>
                    <a:pt x="32" y="226"/>
                  </a:lnTo>
                  <a:lnTo>
                    <a:pt x="32" y="227"/>
                  </a:lnTo>
                  <a:lnTo>
                    <a:pt x="32" y="226"/>
                  </a:lnTo>
                  <a:lnTo>
                    <a:pt x="31" y="226"/>
                  </a:lnTo>
                  <a:lnTo>
                    <a:pt x="29" y="226"/>
                  </a:lnTo>
                  <a:lnTo>
                    <a:pt x="28" y="225"/>
                  </a:lnTo>
                  <a:lnTo>
                    <a:pt x="27" y="224"/>
                  </a:lnTo>
                  <a:lnTo>
                    <a:pt x="26" y="224"/>
                  </a:lnTo>
                  <a:lnTo>
                    <a:pt x="26" y="223"/>
                  </a:lnTo>
                  <a:lnTo>
                    <a:pt x="24" y="223"/>
                  </a:lnTo>
                  <a:lnTo>
                    <a:pt x="24" y="221"/>
                  </a:lnTo>
                  <a:lnTo>
                    <a:pt x="26" y="221"/>
                  </a:lnTo>
                  <a:lnTo>
                    <a:pt x="24" y="221"/>
                  </a:lnTo>
                  <a:lnTo>
                    <a:pt x="24" y="223"/>
                  </a:lnTo>
                  <a:lnTo>
                    <a:pt x="23" y="224"/>
                  </a:lnTo>
                  <a:lnTo>
                    <a:pt x="23" y="223"/>
                  </a:lnTo>
                  <a:lnTo>
                    <a:pt x="23" y="221"/>
                  </a:lnTo>
                  <a:lnTo>
                    <a:pt x="23" y="223"/>
                  </a:lnTo>
                  <a:lnTo>
                    <a:pt x="23" y="224"/>
                  </a:lnTo>
                  <a:lnTo>
                    <a:pt x="23" y="225"/>
                  </a:lnTo>
                  <a:lnTo>
                    <a:pt x="22" y="224"/>
                  </a:lnTo>
                  <a:lnTo>
                    <a:pt x="22" y="223"/>
                  </a:lnTo>
                  <a:lnTo>
                    <a:pt x="22" y="221"/>
                  </a:lnTo>
                  <a:lnTo>
                    <a:pt x="23" y="220"/>
                  </a:lnTo>
                  <a:lnTo>
                    <a:pt x="22" y="220"/>
                  </a:lnTo>
                  <a:lnTo>
                    <a:pt x="22" y="219"/>
                  </a:lnTo>
                  <a:lnTo>
                    <a:pt x="21" y="219"/>
                  </a:lnTo>
                  <a:lnTo>
                    <a:pt x="21" y="220"/>
                  </a:lnTo>
                  <a:lnTo>
                    <a:pt x="21" y="219"/>
                  </a:lnTo>
                  <a:lnTo>
                    <a:pt x="21" y="218"/>
                  </a:lnTo>
                  <a:lnTo>
                    <a:pt x="21" y="217"/>
                  </a:lnTo>
                  <a:lnTo>
                    <a:pt x="21" y="215"/>
                  </a:lnTo>
                  <a:lnTo>
                    <a:pt x="20" y="215"/>
                  </a:lnTo>
                  <a:lnTo>
                    <a:pt x="20" y="217"/>
                  </a:lnTo>
                  <a:lnTo>
                    <a:pt x="20" y="218"/>
                  </a:lnTo>
                  <a:lnTo>
                    <a:pt x="20" y="219"/>
                  </a:lnTo>
                  <a:lnTo>
                    <a:pt x="20" y="220"/>
                  </a:lnTo>
                  <a:lnTo>
                    <a:pt x="20" y="219"/>
                  </a:lnTo>
                  <a:lnTo>
                    <a:pt x="20" y="218"/>
                  </a:lnTo>
                  <a:lnTo>
                    <a:pt x="20" y="219"/>
                  </a:lnTo>
                  <a:lnTo>
                    <a:pt x="18" y="219"/>
                  </a:lnTo>
                  <a:lnTo>
                    <a:pt x="18" y="218"/>
                  </a:lnTo>
                  <a:lnTo>
                    <a:pt x="18" y="217"/>
                  </a:lnTo>
                  <a:lnTo>
                    <a:pt x="18" y="218"/>
                  </a:lnTo>
                  <a:lnTo>
                    <a:pt x="18" y="219"/>
                  </a:lnTo>
                  <a:lnTo>
                    <a:pt x="18" y="220"/>
                  </a:lnTo>
                  <a:lnTo>
                    <a:pt x="17" y="218"/>
                  </a:lnTo>
                  <a:lnTo>
                    <a:pt x="17" y="219"/>
                  </a:lnTo>
                  <a:lnTo>
                    <a:pt x="17" y="220"/>
                  </a:lnTo>
                  <a:lnTo>
                    <a:pt x="17" y="219"/>
                  </a:lnTo>
                  <a:lnTo>
                    <a:pt x="17" y="218"/>
                  </a:lnTo>
                  <a:lnTo>
                    <a:pt x="16" y="218"/>
                  </a:lnTo>
                  <a:lnTo>
                    <a:pt x="15" y="218"/>
                  </a:lnTo>
                  <a:lnTo>
                    <a:pt x="15" y="219"/>
                  </a:lnTo>
                  <a:lnTo>
                    <a:pt x="15" y="220"/>
                  </a:lnTo>
                  <a:lnTo>
                    <a:pt x="15" y="219"/>
                  </a:lnTo>
                  <a:lnTo>
                    <a:pt x="15" y="218"/>
                  </a:lnTo>
                  <a:lnTo>
                    <a:pt x="14" y="219"/>
                  </a:lnTo>
                  <a:lnTo>
                    <a:pt x="14" y="218"/>
                  </a:lnTo>
                  <a:lnTo>
                    <a:pt x="14" y="217"/>
                  </a:lnTo>
                  <a:lnTo>
                    <a:pt x="15" y="217"/>
                  </a:lnTo>
                  <a:lnTo>
                    <a:pt x="15" y="218"/>
                  </a:lnTo>
                  <a:lnTo>
                    <a:pt x="16" y="217"/>
                  </a:lnTo>
                  <a:lnTo>
                    <a:pt x="17" y="217"/>
                  </a:lnTo>
                  <a:lnTo>
                    <a:pt x="17" y="215"/>
                  </a:lnTo>
                  <a:lnTo>
                    <a:pt x="18" y="215"/>
                  </a:lnTo>
                  <a:lnTo>
                    <a:pt x="20" y="215"/>
                  </a:lnTo>
                  <a:lnTo>
                    <a:pt x="21" y="215"/>
                  </a:lnTo>
                  <a:lnTo>
                    <a:pt x="22" y="215"/>
                  </a:lnTo>
                  <a:lnTo>
                    <a:pt x="23" y="215"/>
                  </a:lnTo>
                  <a:lnTo>
                    <a:pt x="24" y="215"/>
                  </a:lnTo>
                  <a:lnTo>
                    <a:pt x="26" y="215"/>
                  </a:lnTo>
                  <a:lnTo>
                    <a:pt x="27" y="215"/>
                  </a:lnTo>
                  <a:lnTo>
                    <a:pt x="28" y="215"/>
                  </a:lnTo>
                  <a:lnTo>
                    <a:pt x="28" y="217"/>
                  </a:lnTo>
                  <a:lnTo>
                    <a:pt x="29" y="217"/>
                  </a:lnTo>
                  <a:lnTo>
                    <a:pt x="32" y="217"/>
                  </a:lnTo>
                  <a:lnTo>
                    <a:pt x="33" y="217"/>
                  </a:lnTo>
                  <a:lnTo>
                    <a:pt x="34" y="217"/>
                  </a:lnTo>
                  <a:lnTo>
                    <a:pt x="35" y="217"/>
                  </a:lnTo>
                  <a:lnTo>
                    <a:pt x="37" y="217"/>
                  </a:lnTo>
                  <a:lnTo>
                    <a:pt x="38" y="217"/>
                  </a:lnTo>
                  <a:lnTo>
                    <a:pt x="39" y="217"/>
                  </a:lnTo>
                  <a:lnTo>
                    <a:pt x="40" y="217"/>
                  </a:lnTo>
                  <a:lnTo>
                    <a:pt x="41" y="217"/>
                  </a:lnTo>
                  <a:lnTo>
                    <a:pt x="43" y="215"/>
                  </a:lnTo>
                  <a:lnTo>
                    <a:pt x="44" y="215"/>
                  </a:lnTo>
                  <a:lnTo>
                    <a:pt x="45" y="214"/>
                  </a:lnTo>
                  <a:lnTo>
                    <a:pt x="46" y="214"/>
                  </a:lnTo>
                  <a:lnTo>
                    <a:pt x="46" y="213"/>
                  </a:lnTo>
                  <a:lnTo>
                    <a:pt x="46" y="214"/>
                  </a:lnTo>
                  <a:lnTo>
                    <a:pt x="45" y="214"/>
                  </a:lnTo>
                  <a:lnTo>
                    <a:pt x="46" y="213"/>
                  </a:lnTo>
                  <a:lnTo>
                    <a:pt x="45" y="213"/>
                  </a:lnTo>
                  <a:lnTo>
                    <a:pt x="44" y="213"/>
                  </a:lnTo>
                  <a:lnTo>
                    <a:pt x="46" y="213"/>
                  </a:lnTo>
                  <a:lnTo>
                    <a:pt x="46" y="212"/>
                  </a:lnTo>
                  <a:lnTo>
                    <a:pt x="47" y="212"/>
                  </a:lnTo>
                  <a:lnTo>
                    <a:pt x="47" y="213"/>
                  </a:lnTo>
                  <a:lnTo>
                    <a:pt x="49" y="213"/>
                  </a:lnTo>
                  <a:lnTo>
                    <a:pt x="49" y="214"/>
                  </a:lnTo>
                  <a:lnTo>
                    <a:pt x="50" y="213"/>
                  </a:lnTo>
                  <a:lnTo>
                    <a:pt x="52" y="212"/>
                  </a:lnTo>
                  <a:lnTo>
                    <a:pt x="53" y="213"/>
                  </a:lnTo>
                  <a:lnTo>
                    <a:pt x="55" y="213"/>
                  </a:lnTo>
                  <a:lnTo>
                    <a:pt x="56" y="212"/>
                  </a:lnTo>
                  <a:lnTo>
                    <a:pt x="57" y="212"/>
                  </a:lnTo>
                  <a:lnTo>
                    <a:pt x="58" y="212"/>
                  </a:lnTo>
                  <a:lnTo>
                    <a:pt x="58" y="210"/>
                  </a:lnTo>
                  <a:lnTo>
                    <a:pt x="59" y="208"/>
                  </a:lnTo>
                  <a:lnTo>
                    <a:pt x="61" y="208"/>
                  </a:lnTo>
                  <a:lnTo>
                    <a:pt x="61" y="207"/>
                  </a:lnTo>
                  <a:lnTo>
                    <a:pt x="59" y="206"/>
                  </a:lnTo>
                  <a:lnTo>
                    <a:pt x="59" y="204"/>
                  </a:lnTo>
                  <a:lnTo>
                    <a:pt x="58" y="206"/>
                  </a:lnTo>
                  <a:lnTo>
                    <a:pt x="57" y="206"/>
                  </a:lnTo>
                  <a:lnTo>
                    <a:pt x="57" y="207"/>
                  </a:lnTo>
                  <a:lnTo>
                    <a:pt x="57" y="208"/>
                  </a:lnTo>
                  <a:lnTo>
                    <a:pt x="57" y="209"/>
                  </a:lnTo>
                  <a:lnTo>
                    <a:pt x="56" y="209"/>
                  </a:lnTo>
                  <a:lnTo>
                    <a:pt x="56" y="208"/>
                  </a:lnTo>
                  <a:lnTo>
                    <a:pt x="56" y="207"/>
                  </a:lnTo>
                  <a:lnTo>
                    <a:pt x="55" y="207"/>
                  </a:lnTo>
                  <a:lnTo>
                    <a:pt x="56" y="208"/>
                  </a:lnTo>
                  <a:lnTo>
                    <a:pt x="55" y="208"/>
                  </a:lnTo>
                  <a:lnTo>
                    <a:pt x="55" y="207"/>
                  </a:lnTo>
                  <a:lnTo>
                    <a:pt x="55" y="206"/>
                  </a:lnTo>
                  <a:lnTo>
                    <a:pt x="53" y="206"/>
                  </a:lnTo>
                  <a:lnTo>
                    <a:pt x="52" y="206"/>
                  </a:lnTo>
                  <a:lnTo>
                    <a:pt x="53" y="204"/>
                  </a:lnTo>
                  <a:lnTo>
                    <a:pt x="52" y="204"/>
                  </a:lnTo>
                  <a:lnTo>
                    <a:pt x="52" y="206"/>
                  </a:lnTo>
                  <a:lnTo>
                    <a:pt x="52" y="207"/>
                  </a:lnTo>
                  <a:lnTo>
                    <a:pt x="52" y="208"/>
                  </a:lnTo>
                  <a:lnTo>
                    <a:pt x="52" y="207"/>
                  </a:lnTo>
                  <a:lnTo>
                    <a:pt x="52" y="206"/>
                  </a:lnTo>
                  <a:lnTo>
                    <a:pt x="52" y="204"/>
                  </a:lnTo>
                  <a:lnTo>
                    <a:pt x="52" y="203"/>
                  </a:lnTo>
                  <a:lnTo>
                    <a:pt x="52" y="204"/>
                  </a:lnTo>
                  <a:lnTo>
                    <a:pt x="51" y="204"/>
                  </a:lnTo>
                  <a:lnTo>
                    <a:pt x="51" y="206"/>
                  </a:lnTo>
                  <a:lnTo>
                    <a:pt x="51" y="207"/>
                  </a:lnTo>
                  <a:lnTo>
                    <a:pt x="51" y="208"/>
                  </a:lnTo>
                  <a:lnTo>
                    <a:pt x="50" y="207"/>
                  </a:lnTo>
                  <a:lnTo>
                    <a:pt x="50" y="206"/>
                  </a:lnTo>
                  <a:lnTo>
                    <a:pt x="50" y="204"/>
                  </a:lnTo>
                  <a:lnTo>
                    <a:pt x="51" y="203"/>
                  </a:lnTo>
                  <a:lnTo>
                    <a:pt x="50" y="203"/>
                  </a:lnTo>
                  <a:lnTo>
                    <a:pt x="50" y="206"/>
                  </a:lnTo>
                  <a:lnTo>
                    <a:pt x="50" y="204"/>
                  </a:lnTo>
                  <a:lnTo>
                    <a:pt x="49" y="206"/>
                  </a:lnTo>
                  <a:lnTo>
                    <a:pt x="49" y="207"/>
                  </a:lnTo>
                  <a:lnTo>
                    <a:pt x="49" y="206"/>
                  </a:lnTo>
                  <a:lnTo>
                    <a:pt x="49" y="204"/>
                  </a:lnTo>
                  <a:lnTo>
                    <a:pt x="49" y="202"/>
                  </a:lnTo>
                  <a:lnTo>
                    <a:pt x="47" y="203"/>
                  </a:lnTo>
                  <a:lnTo>
                    <a:pt x="47" y="204"/>
                  </a:lnTo>
                  <a:lnTo>
                    <a:pt x="47" y="206"/>
                  </a:lnTo>
                  <a:lnTo>
                    <a:pt x="49" y="207"/>
                  </a:lnTo>
                  <a:lnTo>
                    <a:pt x="47" y="208"/>
                  </a:lnTo>
                  <a:lnTo>
                    <a:pt x="47" y="207"/>
                  </a:lnTo>
                  <a:lnTo>
                    <a:pt x="47" y="206"/>
                  </a:lnTo>
                  <a:lnTo>
                    <a:pt x="47" y="207"/>
                  </a:lnTo>
                  <a:lnTo>
                    <a:pt x="46" y="207"/>
                  </a:lnTo>
                  <a:lnTo>
                    <a:pt x="46" y="206"/>
                  </a:lnTo>
                  <a:lnTo>
                    <a:pt x="46" y="204"/>
                  </a:lnTo>
                  <a:lnTo>
                    <a:pt x="46" y="203"/>
                  </a:lnTo>
                  <a:lnTo>
                    <a:pt x="46" y="204"/>
                  </a:lnTo>
                  <a:lnTo>
                    <a:pt x="46" y="206"/>
                  </a:lnTo>
                  <a:lnTo>
                    <a:pt x="46" y="207"/>
                  </a:lnTo>
                  <a:lnTo>
                    <a:pt x="45" y="207"/>
                  </a:lnTo>
                  <a:lnTo>
                    <a:pt x="45" y="206"/>
                  </a:lnTo>
                  <a:lnTo>
                    <a:pt x="45" y="207"/>
                  </a:lnTo>
                  <a:lnTo>
                    <a:pt x="45" y="208"/>
                  </a:lnTo>
                  <a:lnTo>
                    <a:pt x="44" y="209"/>
                  </a:lnTo>
                  <a:lnTo>
                    <a:pt x="44" y="208"/>
                  </a:lnTo>
                  <a:lnTo>
                    <a:pt x="44" y="207"/>
                  </a:lnTo>
                  <a:lnTo>
                    <a:pt x="44" y="206"/>
                  </a:lnTo>
                  <a:lnTo>
                    <a:pt x="43" y="206"/>
                  </a:lnTo>
                  <a:lnTo>
                    <a:pt x="43" y="207"/>
                  </a:lnTo>
                  <a:lnTo>
                    <a:pt x="44" y="207"/>
                  </a:lnTo>
                  <a:lnTo>
                    <a:pt x="44" y="208"/>
                  </a:lnTo>
                  <a:lnTo>
                    <a:pt x="44" y="209"/>
                  </a:lnTo>
                  <a:lnTo>
                    <a:pt x="43" y="209"/>
                  </a:lnTo>
                  <a:lnTo>
                    <a:pt x="43" y="208"/>
                  </a:lnTo>
                  <a:lnTo>
                    <a:pt x="43" y="207"/>
                  </a:lnTo>
                  <a:lnTo>
                    <a:pt x="41" y="207"/>
                  </a:lnTo>
                  <a:lnTo>
                    <a:pt x="41" y="208"/>
                  </a:lnTo>
                  <a:lnTo>
                    <a:pt x="41" y="209"/>
                  </a:lnTo>
                  <a:lnTo>
                    <a:pt x="41" y="208"/>
                  </a:lnTo>
                  <a:lnTo>
                    <a:pt x="40" y="207"/>
                  </a:lnTo>
                  <a:lnTo>
                    <a:pt x="39" y="208"/>
                  </a:lnTo>
                  <a:lnTo>
                    <a:pt x="39" y="207"/>
                  </a:lnTo>
                  <a:lnTo>
                    <a:pt x="40" y="207"/>
                  </a:lnTo>
                  <a:lnTo>
                    <a:pt x="40" y="206"/>
                  </a:lnTo>
                  <a:lnTo>
                    <a:pt x="41" y="206"/>
                  </a:lnTo>
                  <a:lnTo>
                    <a:pt x="43" y="206"/>
                  </a:lnTo>
                  <a:lnTo>
                    <a:pt x="43" y="204"/>
                  </a:lnTo>
                  <a:lnTo>
                    <a:pt x="44" y="204"/>
                  </a:lnTo>
                  <a:lnTo>
                    <a:pt x="44" y="203"/>
                  </a:lnTo>
                  <a:lnTo>
                    <a:pt x="45" y="203"/>
                  </a:lnTo>
                  <a:lnTo>
                    <a:pt x="49" y="201"/>
                  </a:lnTo>
                  <a:lnTo>
                    <a:pt x="47" y="201"/>
                  </a:lnTo>
                  <a:lnTo>
                    <a:pt x="46" y="202"/>
                  </a:lnTo>
                  <a:lnTo>
                    <a:pt x="45" y="202"/>
                  </a:lnTo>
                  <a:lnTo>
                    <a:pt x="45" y="201"/>
                  </a:lnTo>
                  <a:lnTo>
                    <a:pt x="45" y="200"/>
                  </a:lnTo>
                  <a:lnTo>
                    <a:pt x="46" y="198"/>
                  </a:lnTo>
                  <a:lnTo>
                    <a:pt x="46" y="197"/>
                  </a:lnTo>
                  <a:lnTo>
                    <a:pt x="46" y="196"/>
                  </a:lnTo>
                  <a:lnTo>
                    <a:pt x="45" y="196"/>
                  </a:lnTo>
                  <a:lnTo>
                    <a:pt x="45" y="197"/>
                  </a:lnTo>
                  <a:lnTo>
                    <a:pt x="45" y="198"/>
                  </a:lnTo>
                  <a:lnTo>
                    <a:pt x="45" y="197"/>
                  </a:lnTo>
                  <a:lnTo>
                    <a:pt x="44" y="197"/>
                  </a:lnTo>
                  <a:lnTo>
                    <a:pt x="43" y="197"/>
                  </a:lnTo>
                  <a:lnTo>
                    <a:pt x="43" y="198"/>
                  </a:lnTo>
                  <a:lnTo>
                    <a:pt x="43" y="197"/>
                  </a:lnTo>
                  <a:lnTo>
                    <a:pt x="41" y="197"/>
                  </a:lnTo>
                  <a:lnTo>
                    <a:pt x="43" y="197"/>
                  </a:lnTo>
                  <a:lnTo>
                    <a:pt x="43" y="196"/>
                  </a:lnTo>
                  <a:lnTo>
                    <a:pt x="44" y="196"/>
                  </a:lnTo>
                  <a:lnTo>
                    <a:pt x="44" y="195"/>
                  </a:lnTo>
                  <a:lnTo>
                    <a:pt x="43" y="195"/>
                  </a:lnTo>
                  <a:lnTo>
                    <a:pt x="43" y="196"/>
                  </a:lnTo>
                  <a:lnTo>
                    <a:pt x="41" y="197"/>
                  </a:lnTo>
                  <a:lnTo>
                    <a:pt x="41" y="196"/>
                  </a:lnTo>
                  <a:lnTo>
                    <a:pt x="40" y="197"/>
                  </a:lnTo>
                  <a:lnTo>
                    <a:pt x="40" y="198"/>
                  </a:lnTo>
                  <a:lnTo>
                    <a:pt x="40" y="197"/>
                  </a:lnTo>
                  <a:lnTo>
                    <a:pt x="40" y="196"/>
                  </a:lnTo>
                  <a:lnTo>
                    <a:pt x="40" y="195"/>
                  </a:lnTo>
                  <a:lnTo>
                    <a:pt x="39" y="195"/>
                  </a:lnTo>
                  <a:lnTo>
                    <a:pt x="38" y="195"/>
                  </a:lnTo>
                  <a:lnTo>
                    <a:pt x="38" y="196"/>
                  </a:lnTo>
                  <a:lnTo>
                    <a:pt x="38" y="198"/>
                  </a:lnTo>
                  <a:lnTo>
                    <a:pt x="37" y="196"/>
                  </a:lnTo>
                  <a:lnTo>
                    <a:pt x="37" y="195"/>
                  </a:lnTo>
                  <a:lnTo>
                    <a:pt x="37" y="196"/>
                  </a:lnTo>
                  <a:lnTo>
                    <a:pt x="37" y="197"/>
                  </a:lnTo>
                  <a:lnTo>
                    <a:pt x="37" y="196"/>
                  </a:lnTo>
                  <a:lnTo>
                    <a:pt x="35" y="196"/>
                  </a:lnTo>
                  <a:lnTo>
                    <a:pt x="35" y="195"/>
                  </a:lnTo>
                  <a:lnTo>
                    <a:pt x="35" y="196"/>
                  </a:lnTo>
                  <a:lnTo>
                    <a:pt x="34" y="196"/>
                  </a:lnTo>
                  <a:lnTo>
                    <a:pt x="34" y="195"/>
                  </a:lnTo>
                  <a:lnTo>
                    <a:pt x="33" y="196"/>
                  </a:lnTo>
                  <a:lnTo>
                    <a:pt x="33" y="195"/>
                  </a:lnTo>
                  <a:lnTo>
                    <a:pt x="32" y="196"/>
                  </a:lnTo>
                  <a:lnTo>
                    <a:pt x="32" y="195"/>
                  </a:lnTo>
                  <a:lnTo>
                    <a:pt x="32" y="196"/>
                  </a:lnTo>
                  <a:lnTo>
                    <a:pt x="31" y="195"/>
                  </a:lnTo>
                  <a:lnTo>
                    <a:pt x="31" y="194"/>
                  </a:lnTo>
                  <a:lnTo>
                    <a:pt x="31" y="192"/>
                  </a:lnTo>
                  <a:lnTo>
                    <a:pt x="29" y="192"/>
                  </a:lnTo>
                  <a:lnTo>
                    <a:pt x="29" y="194"/>
                  </a:lnTo>
                  <a:lnTo>
                    <a:pt x="29" y="195"/>
                  </a:lnTo>
                  <a:lnTo>
                    <a:pt x="29" y="197"/>
                  </a:lnTo>
                  <a:lnTo>
                    <a:pt x="29" y="196"/>
                  </a:lnTo>
                  <a:lnTo>
                    <a:pt x="29" y="195"/>
                  </a:lnTo>
                  <a:lnTo>
                    <a:pt x="28" y="194"/>
                  </a:lnTo>
                  <a:lnTo>
                    <a:pt x="28" y="195"/>
                  </a:lnTo>
                  <a:lnTo>
                    <a:pt x="28" y="196"/>
                  </a:lnTo>
                  <a:lnTo>
                    <a:pt x="28" y="197"/>
                  </a:lnTo>
                  <a:lnTo>
                    <a:pt x="28" y="196"/>
                  </a:lnTo>
                  <a:lnTo>
                    <a:pt x="28" y="195"/>
                  </a:lnTo>
                  <a:lnTo>
                    <a:pt x="27" y="195"/>
                  </a:lnTo>
                  <a:lnTo>
                    <a:pt x="27" y="196"/>
                  </a:lnTo>
                  <a:lnTo>
                    <a:pt x="27" y="197"/>
                  </a:lnTo>
                  <a:lnTo>
                    <a:pt x="27" y="198"/>
                  </a:lnTo>
                  <a:lnTo>
                    <a:pt x="27" y="200"/>
                  </a:lnTo>
                  <a:lnTo>
                    <a:pt x="26" y="198"/>
                  </a:lnTo>
                  <a:lnTo>
                    <a:pt x="26" y="197"/>
                  </a:lnTo>
                  <a:lnTo>
                    <a:pt x="24" y="197"/>
                  </a:lnTo>
                  <a:lnTo>
                    <a:pt x="24" y="196"/>
                  </a:lnTo>
                  <a:lnTo>
                    <a:pt x="26" y="196"/>
                  </a:lnTo>
                  <a:lnTo>
                    <a:pt x="26" y="195"/>
                  </a:lnTo>
                  <a:lnTo>
                    <a:pt x="27" y="194"/>
                  </a:lnTo>
                  <a:lnTo>
                    <a:pt x="26" y="194"/>
                  </a:lnTo>
                  <a:lnTo>
                    <a:pt x="27" y="194"/>
                  </a:lnTo>
                  <a:lnTo>
                    <a:pt x="27" y="192"/>
                  </a:lnTo>
                  <a:lnTo>
                    <a:pt x="28" y="192"/>
                  </a:lnTo>
                  <a:lnTo>
                    <a:pt x="29" y="192"/>
                  </a:lnTo>
                  <a:lnTo>
                    <a:pt x="29" y="191"/>
                  </a:lnTo>
                  <a:lnTo>
                    <a:pt x="31" y="190"/>
                  </a:lnTo>
                  <a:lnTo>
                    <a:pt x="33" y="190"/>
                  </a:lnTo>
                  <a:lnTo>
                    <a:pt x="34" y="190"/>
                  </a:lnTo>
                  <a:lnTo>
                    <a:pt x="35" y="190"/>
                  </a:lnTo>
                  <a:lnTo>
                    <a:pt x="34" y="189"/>
                  </a:lnTo>
                  <a:lnTo>
                    <a:pt x="35" y="189"/>
                  </a:lnTo>
                  <a:lnTo>
                    <a:pt x="37" y="189"/>
                  </a:lnTo>
                  <a:lnTo>
                    <a:pt x="38" y="189"/>
                  </a:lnTo>
                  <a:lnTo>
                    <a:pt x="38" y="188"/>
                  </a:lnTo>
                  <a:lnTo>
                    <a:pt x="37" y="186"/>
                  </a:lnTo>
                  <a:lnTo>
                    <a:pt x="35" y="186"/>
                  </a:lnTo>
                  <a:lnTo>
                    <a:pt x="35" y="188"/>
                  </a:lnTo>
                  <a:lnTo>
                    <a:pt x="35" y="186"/>
                  </a:lnTo>
                  <a:lnTo>
                    <a:pt x="34" y="188"/>
                  </a:lnTo>
                  <a:lnTo>
                    <a:pt x="34" y="186"/>
                  </a:lnTo>
                  <a:lnTo>
                    <a:pt x="34" y="188"/>
                  </a:lnTo>
                  <a:lnTo>
                    <a:pt x="33" y="189"/>
                  </a:lnTo>
                  <a:lnTo>
                    <a:pt x="33" y="190"/>
                  </a:lnTo>
                  <a:lnTo>
                    <a:pt x="33" y="189"/>
                  </a:lnTo>
                  <a:lnTo>
                    <a:pt x="33" y="188"/>
                  </a:lnTo>
                  <a:lnTo>
                    <a:pt x="32" y="188"/>
                  </a:lnTo>
                  <a:lnTo>
                    <a:pt x="32" y="186"/>
                  </a:lnTo>
                  <a:lnTo>
                    <a:pt x="31" y="188"/>
                  </a:lnTo>
                  <a:lnTo>
                    <a:pt x="31" y="189"/>
                  </a:lnTo>
                  <a:lnTo>
                    <a:pt x="29" y="189"/>
                  </a:lnTo>
                  <a:lnTo>
                    <a:pt x="28" y="189"/>
                  </a:lnTo>
                  <a:lnTo>
                    <a:pt x="28" y="190"/>
                  </a:lnTo>
                  <a:lnTo>
                    <a:pt x="28" y="189"/>
                  </a:lnTo>
                  <a:lnTo>
                    <a:pt x="28" y="188"/>
                  </a:lnTo>
                  <a:lnTo>
                    <a:pt x="27" y="188"/>
                  </a:lnTo>
                  <a:lnTo>
                    <a:pt x="27" y="186"/>
                  </a:lnTo>
                  <a:lnTo>
                    <a:pt x="27" y="188"/>
                  </a:lnTo>
                  <a:lnTo>
                    <a:pt x="27" y="189"/>
                  </a:lnTo>
                  <a:lnTo>
                    <a:pt x="26" y="189"/>
                  </a:lnTo>
                  <a:lnTo>
                    <a:pt x="26" y="190"/>
                  </a:lnTo>
                  <a:lnTo>
                    <a:pt x="26" y="191"/>
                  </a:lnTo>
                  <a:lnTo>
                    <a:pt x="26" y="190"/>
                  </a:lnTo>
                  <a:lnTo>
                    <a:pt x="26" y="189"/>
                  </a:lnTo>
                  <a:lnTo>
                    <a:pt x="24" y="188"/>
                  </a:lnTo>
                  <a:lnTo>
                    <a:pt x="24" y="189"/>
                  </a:lnTo>
                  <a:lnTo>
                    <a:pt x="24" y="190"/>
                  </a:lnTo>
                  <a:lnTo>
                    <a:pt x="23" y="189"/>
                  </a:lnTo>
                  <a:lnTo>
                    <a:pt x="23" y="188"/>
                  </a:lnTo>
                  <a:lnTo>
                    <a:pt x="22" y="188"/>
                  </a:lnTo>
                  <a:lnTo>
                    <a:pt x="22" y="189"/>
                  </a:lnTo>
                  <a:lnTo>
                    <a:pt x="21" y="189"/>
                  </a:lnTo>
                  <a:lnTo>
                    <a:pt x="20" y="190"/>
                  </a:lnTo>
                  <a:lnTo>
                    <a:pt x="20" y="191"/>
                  </a:lnTo>
                  <a:lnTo>
                    <a:pt x="18" y="191"/>
                  </a:lnTo>
                  <a:lnTo>
                    <a:pt x="18" y="190"/>
                  </a:lnTo>
                  <a:lnTo>
                    <a:pt x="18" y="189"/>
                  </a:lnTo>
                  <a:lnTo>
                    <a:pt x="18" y="190"/>
                  </a:lnTo>
                  <a:lnTo>
                    <a:pt x="17" y="190"/>
                  </a:lnTo>
                  <a:lnTo>
                    <a:pt x="18" y="189"/>
                  </a:lnTo>
                  <a:lnTo>
                    <a:pt x="18" y="188"/>
                  </a:lnTo>
                  <a:lnTo>
                    <a:pt x="20" y="186"/>
                  </a:lnTo>
                  <a:lnTo>
                    <a:pt x="20" y="185"/>
                  </a:lnTo>
                  <a:lnTo>
                    <a:pt x="20" y="184"/>
                  </a:lnTo>
                  <a:lnTo>
                    <a:pt x="20" y="186"/>
                  </a:lnTo>
                  <a:lnTo>
                    <a:pt x="18" y="185"/>
                  </a:lnTo>
                  <a:lnTo>
                    <a:pt x="18" y="184"/>
                  </a:lnTo>
                  <a:lnTo>
                    <a:pt x="18" y="183"/>
                  </a:lnTo>
                  <a:lnTo>
                    <a:pt x="20" y="182"/>
                  </a:lnTo>
                  <a:lnTo>
                    <a:pt x="20" y="180"/>
                  </a:lnTo>
                  <a:lnTo>
                    <a:pt x="18" y="180"/>
                  </a:lnTo>
                  <a:lnTo>
                    <a:pt x="17" y="180"/>
                  </a:lnTo>
                  <a:lnTo>
                    <a:pt x="17" y="183"/>
                  </a:lnTo>
                  <a:lnTo>
                    <a:pt x="17" y="185"/>
                  </a:lnTo>
                  <a:lnTo>
                    <a:pt x="17" y="184"/>
                  </a:lnTo>
                  <a:lnTo>
                    <a:pt x="17" y="183"/>
                  </a:lnTo>
                  <a:lnTo>
                    <a:pt x="17" y="182"/>
                  </a:lnTo>
                  <a:lnTo>
                    <a:pt x="16" y="182"/>
                  </a:lnTo>
                  <a:lnTo>
                    <a:pt x="17" y="183"/>
                  </a:lnTo>
                  <a:lnTo>
                    <a:pt x="16" y="184"/>
                  </a:lnTo>
                  <a:lnTo>
                    <a:pt x="16" y="185"/>
                  </a:lnTo>
                  <a:lnTo>
                    <a:pt x="16" y="186"/>
                  </a:lnTo>
                  <a:lnTo>
                    <a:pt x="15" y="185"/>
                  </a:lnTo>
                  <a:lnTo>
                    <a:pt x="15" y="184"/>
                  </a:lnTo>
                  <a:lnTo>
                    <a:pt x="15" y="183"/>
                  </a:lnTo>
                  <a:lnTo>
                    <a:pt x="14" y="183"/>
                  </a:lnTo>
                  <a:lnTo>
                    <a:pt x="12" y="183"/>
                  </a:lnTo>
                  <a:lnTo>
                    <a:pt x="12" y="182"/>
                  </a:lnTo>
                  <a:lnTo>
                    <a:pt x="14" y="182"/>
                  </a:lnTo>
                  <a:lnTo>
                    <a:pt x="15" y="182"/>
                  </a:lnTo>
                  <a:lnTo>
                    <a:pt x="15" y="180"/>
                  </a:lnTo>
                  <a:lnTo>
                    <a:pt x="16" y="180"/>
                  </a:lnTo>
                  <a:lnTo>
                    <a:pt x="17" y="180"/>
                  </a:lnTo>
                  <a:lnTo>
                    <a:pt x="20" y="179"/>
                  </a:lnTo>
                  <a:lnTo>
                    <a:pt x="21" y="179"/>
                  </a:lnTo>
                  <a:lnTo>
                    <a:pt x="22" y="179"/>
                  </a:lnTo>
                  <a:lnTo>
                    <a:pt x="23" y="178"/>
                  </a:lnTo>
                  <a:lnTo>
                    <a:pt x="24" y="178"/>
                  </a:lnTo>
                  <a:lnTo>
                    <a:pt x="26" y="178"/>
                  </a:lnTo>
                  <a:lnTo>
                    <a:pt x="27" y="178"/>
                  </a:lnTo>
                  <a:lnTo>
                    <a:pt x="29" y="177"/>
                  </a:lnTo>
                  <a:lnTo>
                    <a:pt x="32" y="177"/>
                  </a:lnTo>
                  <a:lnTo>
                    <a:pt x="33" y="177"/>
                  </a:lnTo>
                  <a:lnTo>
                    <a:pt x="34" y="177"/>
                  </a:lnTo>
                  <a:lnTo>
                    <a:pt x="34" y="176"/>
                  </a:lnTo>
                  <a:lnTo>
                    <a:pt x="34" y="174"/>
                  </a:lnTo>
                  <a:lnTo>
                    <a:pt x="35" y="174"/>
                  </a:lnTo>
                  <a:lnTo>
                    <a:pt x="34" y="173"/>
                  </a:lnTo>
                  <a:lnTo>
                    <a:pt x="34" y="172"/>
                  </a:lnTo>
                  <a:lnTo>
                    <a:pt x="33" y="172"/>
                  </a:lnTo>
                  <a:lnTo>
                    <a:pt x="33" y="173"/>
                  </a:lnTo>
                  <a:lnTo>
                    <a:pt x="32" y="176"/>
                  </a:lnTo>
                  <a:lnTo>
                    <a:pt x="31" y="176"/>
                  </a:lnTo>
                  <a:lnTo>
                    <a:pt x="31" y="174"/>
                  </a:lnTo>
                  <a:lnTo>
                    <a:pt x="31" y="176"/>
                  </a:lnTo>
                  <a:lnTo>
                    <a:pt x="29" y="174"/>
                  </a:lnTo>
                  <a:lnTo>
                    <a:pt x="28" y="174"/>
                  </a:lnTo>
                  <a:lnTo>
                    <a:pt x="29" y="173"/>
                  </a:lnTo>
                  <a:lnTo>
                    <a:pt x="29" y="172"/>
                  </a:lnTo>
                  <a:lnTo>
                    <a:pt x="29" y="171"/>
                  </a:lnTo>
                  <a:lnTo>
                    <a:pt x="28" y="170"/>
                  </a:lnTo>
                  <a:lnTo>
                    <a:pt x="28" y="171"/>
                  </a:lnTo>
                  <a:lnTo>
                    <a:pt x="27" y="170"/>
                  </a:lnTo>
                  <a:lnTo>
                    <a:pt x="26" y="168"/>
                  </a:lnTo>
                  <a:lnTo>
                    <a:pt x="27" y="170"/>
                  </a:lnTo>
                  <a:lnTo>
                    <a:pt x="27" y="171"/>
                  </a:lnTo>
                  <a:lnTo>
                    <a:pt x="27" y="172"/>
                  </a:lnTo>
                  <a:lnTo>
                    <a:pt x="26" y="173"/>
                  </a:lnTo>
                  <a:lnTo>
                    <a:pt x="26" y="174"/>
                  </a:lnTo>
                  <a:lnTo>
                    <a:pt x="24" y="174"/>
                  </a:lnTo>
                  <a:lnTo>
                    <a:pt x="23" y="174"/>
                  </a:lnTo>
                  <a:lnTo>
                    <a:pt x="23" y="173"/>
                  </a:lnTo>
                  <a:lnTo>
                    <a:pt x="22" y="173"/>
                  </a:lnTo>
                  <a:lnTo>
                    <a:pt x="21" y="173"/>
                  </a:lnTo>
                  <a:lnTo>
                    <a:pt x="22" y="172"/>
                  </a:lnTo>
                  <a:lnTo>
                    <a:pt x="23" y="172"/>
                  </a:lnTo>
                  <a:lnTo>
                    <a:pt x="23" y="171"/>
                  </a:lnTo>
                  <a:lnTo>
                    <a:pt x="24" y="170"/>
                  </a:lnTo>
                  <a:lnTo>
                    <a:pt x="24" y="168"/>
                  </a:lnTo>
                  <a:lnTo>
                    <a:pt x="24" y="167"/>
                  </a:lnTo>
                  <a:lnTo>
                    <a:pt x="26" y="167"/>
                  </a:lnTo>
                  <a:lnTo>
                    <a:pt x="27" y="167"/>
                  </a:lnTo>
                  <a:lnTo>
                    <a:pt x="27" y="166"/>
                  </a:lnTo>
                  <a:lnTo>
                    <a:pt x="28" y="166"/>
                  </a:lnTo>
                  <a:lnTo>
                    <a:pt x="29" y="166"/>
                  </a:lnTo>
                  <a:lnTo>
                    <a:pt x="32" y="165"/>
                  </a:lnTo>
                  <a:lnTo>
                    <a:pt x="33" y="164"/>
                  </a:lnTo>
                  <a:lnTo>
                    <a:pt x="32" y="164"/>
                  </a:lnTo>
                  <a:lnTo>
                    <a:pt x="32" y="162"/>
                  </a:lnTo>
                  <a:lnTo>
                    <a:pt x="31" y="162"/>
                  </a:lnTo>
                  <a:lnTo>
                    <a:pt x="31" y="164"/>
                  </a:lnTo>
                  <a:lnTo>
                    <a:pt x="29" y="164"/>
                  </a:lnTo>
                  <a:lnTo>
                    <a:pt x="31" y="162"/>
                  </a:lnTo>
                  <a:lnTo>
                    <a:pt x="29" y="162"/>
                  </a:lnTo>
                  <a:lnTo>
                    <a:pt x="28" y="162"/>
                  </a:lnTo>
                  <a:lnTo>
                    <a:pt x="29" y="162"/>
                  </a:lnTo>
                  <a:lnTo>
                    <a:pt x="29" y="161"/>
                  </a:lnTo>
                  <a:lnTo>
                    <a:pt x="31" y="161"/>
                  </a:lnTo>
                  <a:lnTo>
                    <a:pt x="32" y="161"/>
                  </a:lnTo>
                  <a:lnTo>
                    <a:pt x="33" y="161"/>
                  </a:lnTo>
                  <a:lnTo>
                    <a:pt x="34" y="161"/>
                  </a:lnTo>
                  <a:lnTo>
                    <a:pt x="34" y="160"/>
                  </a:lnTo>
                  <a:lnTo>
                    <a:pt x="35" y="160"/>
                  </a:lnTo>
                  <a:lnTo>
                    <a:pt x="35" y="159"/>
                  </a:lnTo>
                  <a:lnTo>
                    <a:pt x="37" y="159"/>
                  </a:lnTo>
                  <a:lnTo>
                    <a:pt x="37" y="158"/>
                  </a:lnTo>
                  <a:lnTo>
                    <a:pt x="37" y="156"/>
                  </a:lnTo>
                  <a:lnTo>
                    <a:pt x="38" y="156"/>
                  </a:lnTo>
                  <a:lnTo>
                    <a:pt x="39" y="154"/>
                  </a:lnTo>
                  <a:lnTo>
                    <a:pt x="40" y="153"/>
                  </a:lnTo>
                  <a:lnTo>
                    <a:pt x="39" y="152"/>
                  </a:lnTo>
                  <a:lnTo>
                    <a:pt x="39" y="153"/>
                  </a:lnTo>
                  <a:lnTo>
                    <a:pt x="38" y="153"/>
                  </a:lnTo>
                  <a:lnTo>
                    <a:pt x="38" y="154"/>
                  </a:lnTo>
                  <a:lnTo>
                    <a:pt x="38" y="155"/>
                  </a:lnTo>
                  <a:lnTo>
                    <a:pt x="37" y="154"/>
                  </a:lnTo>
                  <a:lnTo>
                    <a:pt x="37" y="153"/>
                  </a:lnTo>
                  <a:lnTo>
                    <a:pt x="35" y="153"/>
                  </a:lnTo>
                  <a:lnTo>
                    <a:pt x="35" y="154"/>
                  </a:lnTo>
                  <a:lnTo>
                    <a:pt x="35" y="155"/>
                  </a:lnTo>
                  <a:lnTo>
                    <a:pt x="35" y="154"/>
                  </a:lnTo>
                  <a:lnTo>
                    <a:pt x="35" y="153"/>
                  </a:lnTo>
                  <a:lnTo>
                    <a:pt x="35" y="154"/>
                  </a:lnTo>
                  <a:lnTo>
                    <a:pt x="34" y="154"/>
                  </a:lnTo>
                  <a:lnTo>
                    <a:pt x="34" y="153"/>
                  </a:lnTo>
                  <a:lnTo>
                    <a:pt x="34" y="154"/>
                  </a:lnTo>
                  <a:lnTo>
                    <a:pt x="33" y="154"/>
                  </a:lnTo>
                  <a:lnTo>
                    <a:pt x="33" y="153"/>
                  </a:lnTo>
                  <a:lnTo>
                    <a:pt x="32" y="153"/>
                  </a:lnTo>
                  <a:lnTo>
                    <a:pt x="33" y="154"/>
                  </a:lnTo>
                  <a:lnTo>
                    <a:pt x="33" y="156"/>
                  </a:lnTo>
                  <a:lnTo>
                    <a:pt x="32" y="156"/>
                  </a:lnTo>
                  <a:lnTo>
                    <a:pt x="32" y="158"/>
                  </a:lnTo>
                  <a:lnTo>
                    <a:pt x="31" y="158"/>
                  </a:lnTo>
                  <a:lnTo>
                    <a:pt x="31" y="156"/>
                  </a:lnTo>
                  <a:lnTo>
                    <a:pt x="31" y="155"/>
                  </a:lnTo>
                  <a:lnTo>
                    <a:pt x="32" y="154"/>
                  </a:lnTo>
                  <a:lnTo>
                    <a:pt x="32" y="153"/>
                  </a:lnTo>
                  <a:lnTo>
                    <a:pt x="32" y="150"/>
                  </a:lnTo>
                  <a:lnTo>
                    <a:pt x="32" y="149"/>
                  </a:lnTo>
                  <a:lnTo>
                    <a:pt x="31" y="149"/>
                  </a:lnTo>
                  <a:lnTo>
                    <a:pt x="31" y="150"/>
                  </a:lnTo>
                  <a:lnTo>
                    <a:pt x="29" y="150"/>
                  </a:lnTo>
                  <a:lnTo>
                    <a:pt x="29" y="149"/>
                  </a:lnTo>
                  <a:lnTo>
                    <a:pt x="29" y="148"/>
                  </a:lnTo>
                  <a:lnTo>
                    <a:pt x="29" y="150"/>
                  </a:lnTo>
                  <a:lnTo>
                    <a:pt x="28" y="150"/>
                  </a:lnTo>
                  <a:lnTo>
                    <a:pt x="28" y="149"/>
                  </a:lnTo>
                  <a:lnTo>
                    <a:pt x="27" y="148"/>
                  </a:lnTo>
                  <a:lnTo>
                    <a:pt x="27" y="149"/>
                  </a:lnTo>
                  <a:lnTo>
                    <a:pt x="27" y="150"/>
                  </a:lnTo>
                  <a:lnTo>
                    <a:pt x="27" y="152"/>
                  </a:lnTo>
                  <a:lnTo>
                    <a:pt x="27" y="150"/>
                  </a:lnTo>
                  <a:lnTo>
                    <a:pt x="27" y="149"/>
                  </a:lnTo>
                  <a:lnTo>
                    <a:pt x="27" y="148"/>
                  </a:lnTo>
                  <a:lnTo>
                    <a:pt x="26" y="147"/>
                  </a:lnTo>
                  <a:lnTo>
                    <a:pt x="27" y="146"/>
                  </a:lnTo>
                  <a:lnTo>
                    <a:pt x="26" y="146"/>
                  </a:lnTo>
                  <a:lnTo>
                    <a:pt x="26" y="144"/>
                  </a:lnTo>
                  <a:lnTo>
                    <a:pt x="24" y="144"/>
                  </a:lnTo>
                  <a:lnTo>
                    <a:pt x="24" y="143"/>
                  </a:lnTo>
                  <a:lnTo>
                    <a:pt x="26" y="143"/>
                  </a:lnTo>
                  <a:lnTo>
                    <a:pt x="27" y="144"/>
                  </a:lnTo>
                  <a:lnTo>
                    <a:pt x="27" y="143"/>
                  </a:lnTo>
                  <a:lnTo>
                    <a:pt x="27" y="144"/>
                  </a:lnTo>
                  <a:lnTo>
                    <a:pt x="28" y="144"/>
                  </a:lnTo>
                  <a:lnTo>
                    <a:pt x="28" y="143"/>
                  </a:lnTo>
                  <a:lnTo>
                    <a:pt x="28" y="144"/>
                  </a:lnTo>
                  <a:lnTo>
                    <a:pt x="29" y="144"/>
                  </a:lnTo>
                  <a:lnTo>
                    <a:pt x="31" y="146"/>
                  </a:lnTo>
                  <a:lnTo>
                    <a:pt x="33" y="146"/>
                  </a:lnTo>
                  <a:lnTo>
                    <a:pt x="34" y="146"/>
                  </a:lnTo>
                  <a:lnTo>
                    <a:pt x="35" y="147"/>
                  </a:lnTo>
                  <a:lnTo>
                    <a:pt x="37" y="147"/>
                  </a:lnTo>
                  <a:lnTo>
                    <a:pt x="38" y="147"/>
                  </a:lnTo>
                  <a:lnTo>
                    <a:pt x="39" y="147"/>
                  </a:lnTo>
                  <a:lnTo>
                    <a:pt x="40" y="147"/>
                  </a:lnTo>
                  <a:lnTo>
                    <a:pt x="41" y="147"/>
                  </a:lnTo>
                  <a:lnTo>
                    <a:pt x="43" y="148"/>
                  </a:lnTo>
                  <a:lnTo>
                    <a:pt x="45" y="147"/>
                  </a:lnTo>
                  <a:lnTo>
                    <a:pt x="46" y="147"/>
                  </a:lnTo>
                  <a:lnTo>
                    <a:pt x="47" y="147"/>
                  </a:lnTo>
                  <a:lnTo>
                    <a:pt x="47" y="146"/>
                  </a:lnTo>
                  <a:lnTo>
                    <a:pt x="47" y="144"/>
                  </a:lnTo>
                  <a:lnTo>
                    <a:pt x="49" y="144"/>
                  </a:lnTo>
                  <a:lnTo>
                    <a:pt x="50" y="146"/>
                  </a:lnTo>
                  <a:lnTo>
                    <a:pt x="51" y="146"/>
                  </a:lnTo>
                  <a:lnTo>
                    <a:pt x="52" y="144"/>
                  </a:lnTo>
                  <a:lnTo>
                    <a:pt x="53" y="144"/>
                  </a:lnTo>
                  <a:lnTo>
                    <a:pt x="55" y="143"/>
                  </a:lnTo>
                  <a:lnTo>
                    <a:pt x="56" y="142"/>
                  </a:lnTo>
                  <a:lnTo>
                    <a:pt x="57" y="141"/>
                  </a:lnTo>
                  <a:lnTo>
                    <a:pt x="58" y="140"/>
                  </a:lnTo>
                  <a:lnTo>
                    <a:pt x="57" y="140"/>
                  </a:lnTo>
                  <a:lnTo>
                    <a:pt x="58" y="138"/>
                  </a:lnTo>
                  <a:lnTo>
                    <a:pt x="58" y="137"/>
                  </a:lnTo>
                  <a:lnTo>
                    <a:pt x="57" y="137"/>
                  </a:lnTo>
                  <a:lnTo>
                    <a:pt x="57" y="138"/>
                  </a:lnTo>
                  <a:lnTo>
                    <a:pt x="56" y="137"/>
                  </a:lnTo>
                  <a:lnTo>
                    <a:pt x="56" y="138"/>
                  </a:lnTo>
                  <a:lnTo>
                    <a:pt x="56" y="141"/>
                  </a:lnTo>
                  <a:lnTo>
                    <a:pt x="55" y="140"/>
                  </a:lnTo>
                  <a:lnTo>
                    <a:pt x="55" y="138"/>
                  </a:lnTo>
                  <a:lnTo>
                    <a:pt x="53" y="138"/>
                  </a:lnTo>
                  <a:lnTo>
                    <a:pt x="53" y="140"/>
                  </a:lnTo>
                  <a:lnTo>
                    <a:pt x="53" y="141"/>
                  </a:lnTo>
                  <a:lnTo>
                    <a:pt x="52" y="140"/>
                  </a:lnTo>
                  <a:lnTo>
                    <a:pt x="52" y="138"/>
                  </a:lnTo>
                  <a:lnTo>
                    <a:pt x="52" y="140"/>
                  </a:lnTo>
                  <a:lnTo>
                    <a:pt x="51" y="138"/>
                  </a:lnTo>
                  <a:lnTo>
                    <a:pt x="51" y="137"/>
                  </a:lnTo>
                  <a:lnTo>
                    <a:pt x="51" y="140"/>
                  </a:lnTo>
                  <a:lnTo>
                    <a:pt x="51" y="141"/>
                  </a:lnTo>
                  <a:lnTo>
                    <a:pt x="51" y="140"/>
                  </a:lnTo>
                  <a:lnTo>
                    <a:pt x="50" y="138"/>
                  </a:lnTo>
                  <a:lnTo>
                    <a:pt x="49" y="138"/>
                  </a:lnTo>
                  <a:lnTo>
                    <a:pt x="49" y="140"/>
                  </a:lnTo>
                  <a:lnTo>
                    <a:pt x="50" y="141"/>
                  </a:lnTo>
                  <a:lnTo>
                    <a:pt x="49" y="141"/>
                  </a:lnTo>
                  <a:lnTo>
                    <a:pt x="49" y="140"/>
                  </a:lnTo>
                  <a:lnTo>
                    <a:pt x="49" y="138"/>
                  </a:lnTo>
                  <a:lnTo>
                    <a:pt x="47" y="137"/>
                  </a:lnTo>
                  <a:lnTo>
                    <a:pt x="47" y="140"/>
                  </a:lnTo>
                  <a:lnTo>
                    <a:pt x="49" y="141"/>
                  </a:lnTo>
                  <a:lnTo>
                    <a:pt x="47" y="140"/>
                  </a:lnTo>
                  <a:lnTo>
                    <a:pt x="47" y="138"/>
                  </a:lnTo>
                  <a:lnTo>
                    <a:pt x="47" y="141"/>
                  </a:lnTo>
                  <a:lnTo>
                    <a:pt x="46" y="141"/>
                  </a:lnTo>
                  <a:lnTo>
                    <a:pt x="46" y="140"/>
                  </a:lnTo>
                  <a:lnTo>
                    <a:pt x="45" y="140"/>
                  </a:lnTo>
                  <a:lnTo>
                    <a:pt x="45" y="141"/>
                  </a:lnTo>
                  <a:lnTo>
                    <a:pt x="44" y="140"/>
                  </a:lnTo>
                  <a:lnTo>
                    <a:pt x="44" y="142"/>
                  </a:lnTo>
                  <a:lnTo>
                    <a:pt x="43" y="143"/>
                  </a:lnTo>
                  <a:lnTo>
                    <a:pt x="43" y="142"/>
                  </a:lnTo>
                  <a:lnTo>
                    <a:pt x="41" y="142"/>
                  </a:lnTo>
                  <a:lnTo>
                    <a:pt x="41" y="144"/>
                  </a:lnTo>
                  <a:lnTo>
                    <a:pt x="41" y="143"/>
                  </a:lnTo>
                  <a:lnTo>
                    <a:pt x="40" y="142"/>
                  </a:lnTo>
                  <a:lnTo>
                    <a:pt x="40" y="143"/>
                  </a:lnTo>
                  <a:lnTo>
                    <a:pt x="40" y="142"/>
                  </a:lnTo>
                  <a:lnTo>
                    <a:pt x="39" y="141"/>
                  </a:lnTo>
                  <a:lnTo>
                    <a:pt x="39" y="142"/>
                  </a:lnTo>
                  <a:lnTo>
                    <a:pt x="39" y="143"/>
                  </a:lnTo>
                  <a:lnTo>
                    <a:pt x="39" y="144"/>
                  </a:lnTo>
                  <a:lnTo>
                    <a:pt x="39" y="146"/>
                  </a:lnTo>
                  <a:lnTo>
                    <a:pt x="38" y="146"/>
                  </a:lnTo>
                  <a:lnTo>
                    <a:pt x="38" y="144"/>
                  </a:lnTo>
                  <a:lnTo>
                    <a:pt x="38" y="143"/>
                  </a:lnTo>
                  <a:lnTo>
                    <a:pt x="38" y="142"/>
                  </a:lnTo>
                  <a:lnTo>
                    <a:pt x="37" y="143"/>
                  </a:lnTo>
                  <a:lnTo>
                    <a:pt x="37" y="144"/>
                  </a:lnTo>
                  <a:lnTo>
                    <a:pt x="37" y="143"/>
                  </a:lnTo>
                  <a:lnTo>
                    <a:pt x="37" y="144"/>
                  </a:lnTo>
                  <a:lnTo>
                    <a:pt x="35" y="146"/>
                  </a:lnTo>
                  <a:lnTo>
                    <a:pt x="35" y="144"/>
                  </a:lnTo>
                  <a:lnTo>
                    <a:pt x="35" y="143"/>
                  </a:lnTo>
                  <a:lnTo>
                    <a:pt x="34" y="144"/>
                  </a:lnTo>
                  <a:lnTo>
                    <a:pt x="34" y="143"/>
                  </a:lnTo>
                  <a:lnTo>
                    <a:pt x="35" y="143"/>
                  </a:lnTo>
                  <a:lnTo>
                    <a:pt x="37" y="143"/>
                  </a:lnTo>
                  <a:lnTo>
                    <a:pt x="35" y="142"/>
                  </a:lnTo>
                  <a:lnTo>
                    <a:pt x="37" y="142"/>
                  </a:lnTo>
                  <a:lnTo>
                    <a:pt x="38" y="142"/>
                  </a:lnTo>
                  <a:lnTo>
                    <a:pt x="38" y="141"/>
                  </a:lnTo>
                  <a:lnTo>
                    <a:pt x="38" y="140"/>
                  </a:lnTo>
                  <a:lnTo>
                    <a:pt x="39" y="140"/>
                  </a:lnTo>
                  <a:lnTo>
                    <a:pt x="39" y="138"/>
                  </a:lnTo>
                  <a:lnTo>
                    <a:pt x="40" y="138"/>
                  </a:lnTo>
                  <a:lnTo>
                    <a:pt x="40" y="137"/>
                  </a:lnTo>
                  <a:lnTo>
                    <a:pt x="41" y="137"/>
                  </a:lnTo>
                  <a:lnTo>
                    <a:pt x="41" y="136"/>
                  </a:lnTo>
                  <a:lnTo>
                    <a:pt x="41" y="135"/>
                  </a:lnTo>
                  <a:lnTo>
                    <a:pt x="40" y="136"/>
                  </a:lnTo>
                  <a:lnTo>
                    <a:pt x="40" y="137"/>
                  </a:lnTo>
                  <a:lnTo>
                    <a:pt x="39" y="137"/>
                  </a:lnTo>
                  <a:lnTo>
                    <a:pt x="39" y="136"/>
                  </a:lnTo>
                  <a:lnTo>
                    <a:pt x="39" y="137"/>
                  </a:lnTo>
                  <a:lnTo>
                    <a:pt x="39" y="136"/>
                  </a:lnTo>
                  <a:lnTo>
                    <a:pt x="39" y="135"/>
                  </a:lnTo>
                  <a:lnTo>
                    <a:pt x="40" y="135"/>
                  </a:lnTo>
                  <a:lnTo>
                    <a:pt x="40" y="134"/>
                  </a:lnTo>
                  <a:lnTo>
                    <a:pt x="39" y="134"/>
                  </a:lnTo>
                  <a:lnTo>
                    <a:pt x="40" y="134"/>
                  </a:lnTo>
                  <a:lnTo>
                    <a:pt x="43" y="134"/>
                  </a:lnTo>
                  <a:lnTo>
                    <a:pt x="44" y="132"/>
                  </a:lnTo>
                  <a:lnTo>
                    <a:pt x="45" y="132"/>
                  </a:lnTo>
                  <a:lnTo>
                    <a:pt x="46" y="131"/>
                  </a:lnTo>
                  <a:lnTo>
                    <a:pt x="47" y="130"/>
                  </a:lnTo>
                  <a:lnTo>
                    <a:pt x="49" y="130"/>
                  </a:lnTo>
                  <a:lnTo>
                    <a:pt x="50" y="130"/>
                  </a:lnTo>
                  <a:lnTo>
                    <a:pt x="51" y="130"/>
                  </a:lnTo>
                  <a:lnTo>
                    <a:pt x="52" y="129"/>
                  </a:lnTo>
                  <a:lnTo>
                    <a:pt x="53" y="129"/>
                  </a:lnTo>
                  <a:lnTo>
                    <a:pt x="53" y="128"/>
                  </a:lnTo>
                  <a:lnTo>
                    <a:pt x="52" y="128"/>
                  </a:lnTo>
                  <a:lnTo>
                    <a:pt x="53" y="128"/>
                  </a:lnTo>
                  <a:lnTo>
                    <a:pt x="55" y="128"/>
                  </a:lnTo>
                  <a:lnTo>
                    <a:pt x="56" y="126"/>
                  </a:lnTo>
                  <a:lnTo>
                    <a:pt x="56" y="125"/>
                  </a:lnTo>
                  <a:lnTo>
                    <a:pt x="56" y="124"/>
                  </a:lnTo>
                  <a:lnTo>
                    <a:pt x="56" y="123"/>
                  </a:lnTo>
                  <a:lnTo>
                    <a:pt x="55" y="122"/>
                  </a:lnTo>
                  <a:lnTo>
                    <a:pt x="55" y="123"/>
                  </a:lnTo>
                  <a:lnTo>
                    <a:pt x="55" y="124"/>
                  </a:lnTo>
                  <a:lnTo>
                    <a:pt x="53" y="124"/>
                  </a:lnTo>
                  <a:lnTo>
                    <a:pt x="52" y="124"/>
                  </a:lnTo>
                  <a:lnTo>
                    <a:pt x="52" y="123"/>
                  </a:lnTo>
                  <a:lnTo>
                    <a:pt x="52" y="124"/>
                  </a:lnTo>
                  <a:lnTo>
                    <a:pt x="52" y="125"/>
                  </a:lnTo>
                  <a:lnTo>
                    <a:pt x="51" y="124"/>
                  </a:lnTo>
                  <a:lnTo>
                    <a:pt x="51" y="123"/>
                  </a:lnTo>
                  <a:lnTo>
                    <a:pt x="51" y="124"/>
                  </a:lnTo>
                  <a:lnTo>
                    <a:pt x="50" y="124"/>
                  </a:lnTo>
                  <a:lnTo>
                    <a:pt x="50" y="123"/>
                  </a:lnTo>
                  <a:lnTo>
                    <a:pt x="50" y="124"/>
                  </a:lnTo>
                  <a:lnTo>
                    <a:pt x="50" y="125"/>
                  </a:lnTo>
                  <a:lnTo>
                    <a:pt x="50" y="126"/>
                  </a:lnTo>
                  <a:lnTo>
                    <a:pt x="49" y="126"/>
                  </a:lnTo>
                  <a:lnTo>
                    <a:pt x="49" y="125"/>
                  </a:lnTo>
                  <a:lnTo>
                    <a:pt x="49" y="124"/>
                  </a:lnTo>
                  <a:lnTo>
                    <a:pt x="49" y="125"/>
                  </a:lnTo>
                  <a:lnTo>
                    <a:pt x="47" y="125"/>
                  </a:lnTo>
                  <a:lnTo>
                    <a:pt x="47" y="124"/>
                  </a:lnTo>
                  <a:lnTo>
                    <a:pt x="46" y="125"/>
                  </a:lnTo>
                  <a:lnTo>
                    <a:pt x="46" y="124"/>
                  </a:lnTo>
                  <a:lnTo>
                    <a:pt x="46" y="125"/>
                  </a:lnTo>
                  <a:lnTo>
                    <a:pt x="45" y="125"/>
                  </a:lnTo>
                  <a:lnTo>
                    <a:pt x="45" y="126"/>
                  </a:lnTo>
                  <a:lnTo>
                    <a:pt x="45" y="128"/>
                  </a:lnTo>
                  <a:lnTo>
                    <a:pt x="44" y="128"/>
                  </a:lnTo>
                  <a:lnTo>
                    <a:pt x="44" y="126"/>
                  </a:lnTo>
                  <a:lnTo>
                    <a:pt x="44" y="125"/>
                  </a:lnTo>
                  <a:lnTo>
                    <a:pt x="43" y="125"/>
                  </a:lnTo>
                  <a:lnTo>
                    <a:pt x="41" y="125"/>
                  </a:lnTo>
                  <a:lnTo>
                    <a:pt x="41" y="124"/>
                  </a:lnTo>
                  <a:lnTo>
                    <a:pt x="41" y="125"/>
                  </a:lnTo>
                  <a:lnTo>
                    <a:pt x="40" y="125"/>
                  </a:lnTo>
                  <a:lnTo>
                    <a:pt x="39" y="125"/>
                  </a:lnTo>
                  <a:lnTo>
                    <a:pt x="40" y="124"/>
                  </a:lnTo>
                  <a:lnTo>
                    <a:pt x="41" y="123"/>
                  </a:lnTo>
                  <a:lnTo>
                    <a:pt x="43" y="123"/>
                  </a:lnTo>
                  <a:lnTo>
                    <a:pt x="44" y="123"/>
                  </a:lnTo>
                  <a:lnTo>
                    <a:pt x="45" y="122"/>
                  </a:lnTo>
                  <a:lnTo>
                    <a:pt x="44" y="122"/>
                  </a:lnTo>
                  <a:lnTo>
                    <a:pt x="43" y="122"/>
                  </a:lnTo>
                  <a:lnTo>
                    <a:pt x="45" y="120"/>
                  </a:lnTo>
                  <a:lnTo>
                    <a:pt x="44" y="120"/>
                  </a:lnTo>
                  <a:lnTo>
                    <a:pt x="45" y="120"/>
                  </a:lnTo>
                  <a:lnTo>
                    <a:pt x="46" y="119"/>
                  </a:lnTo>
                  <a:lnTo>
                    <a:pt x="47" y="119"/>
                  </a:lnTo>
                  <a:lnTo>
                    <a:pt x="47" y="118"/>
                  </a:lnTo>
                  <a:lnTo>
                    <a:pt x="49" y="118"/>
                  </a:lnTo>
                  <a:lnTo>
                    <a:pt x="50" y="118"/>
                  </a:lnTo>
                  <a:lnTo>
                    <a:pt x="50" y="117"/>
                  </a:lnTo>
                  <a:lnTo>
                    <a:pt x="51" y="118"/>
                  </a:lnTo>
                  <a:lnTo>
                    <a:pt x="52" y="118"/>
                  </a:lnTo>
                  <a:lnTo>
                    <a:pt x="52" y="117"/>
                  </a:lnTo>
                  <a:lnTo>
                    <a:pt x="53" y="117"/>
                  </a:lnTo>
                  <a:lnTo>
                    <a:pt x="53" y="116"/>
                  </a:lnTo>
                  <a:lnTo>
                    <a:pt x="55" y="117"/>
                  </a:lnTo>
                  <a:lnTo>
                    <a:pt x="56" y="117"/>
                  </a:lnTo>
                  <a:lnTo>
                    <a:pt x="56" y="116"/>
                  </a:lnTo>
                  <a:lnTo>
                    <a:pt x="58" y="116"/>
                  </a:lnTo>
                  <a:lnTo>
                    <a:pt x="59" y="114"/>
                  </a:lnTo>
                  <a:lnTo>
                    <a:pt x="61" y="114"/>
                  </a:lnTo>
                  <a:lnTo>
                    <a:pt x="62" y="114"/>
                  </a:lnTo>
                  <a:lnTo>
                    <a:pt x="63" y="114"/>
                  </a:lnTo>
                  <a:lnTo>
                    <a:pt x="64" y="113"/>
                  </a:lnTo>
                  <a:lnTo>
                    <a:pt x="65" y="113"/>
                  </a:lnTo>
                  <a:lnTo>
                    <a:pt x="67" y="113"/>
                  </a:lnTo>
                  <a:lnTo>
                    <a:pt x="68" y="112"/>
                  </a:lnTo>
                  <a:lnTo>
                    <a:pt x="68" y="113"/>
                  </a:lnTo>
                  <a:lnTo>
                    <a:pt x="69" y="113"/>
                  </a:lnTo>
                  <a:lnTo>
                    <a:pt x="70" y="113"/>
                  </a:lnTo>
                  <a:lnTo>
                    <a:pt x="70" y="112"/>
                  </a:lnTo>
                  <a:lnTo>
                    <a:pt x="71" y="112"/>
                  </a:lnTo>
                  <a:lnTo>
                    <a:pt x="73" y="112"/>
                  </a:lnTo>
                  <a:lnTo>
                    <a:pt x="74" y="112"/>
                  </a:lnTo>
                  <a:lnTo>
                    <a:pt x="74" y="111"/>
                  </a:lnTo>
                  <a:lnTo>
                    <a:pt x="73" y="111"/>
                  </a:lnTo>
                  <a:lnTo>
                    <a:pt x="73" y="112"/>
                  </a:lnTo>
                  <a:lnTo>
                    <a:pt x="71" y="112"/>
                  </a:lnTo>
                  <a:lnTo>
                    <a:pt x="70" y="112"/>
                  </a:lnTo>
                  <a:lnTo>
                    <a:pt x="69" y="112"/>
                  </a:lnTo>
                  <a:lnTo>
                    <a:pt x="69" y="113"/>
                  </a:lnTo>
                  <a:lnTo>
                    <a:pt x="68" y="112"/>
                  </a:lnTo>
                  <a:lnTo>
                    <a:pt x="67" y="112"/>
                  </a:lnTo>
                  <a:lnTo>
                    <a:pt x="65" y="112"/>
                  </a:lnTo>
                  <a:lnTo>
                    <a:pt x="65" y="113"/>
                  </a:lnTo>
                  <a:lnTo>
                    <a:pt x="64" y="113"/>
                  </a:lnTo>
                  <a:lnTo>
                    <a:pt x="63" y="113"/>
                  </a:lnTo>
                  <a:lnTo>
                    <a:pt x="63" y="112"/>
                  </a:lnTo>
                  <a:lnTo>
                    <a:pt x="62" y="113"/>
                  </a:lnTo>
                  <a:lnTo>
                    <a:pt x="61" y="113"/>
                  </a:lnTo>
                  <a:lnTo>
                    <a:pt x="61" y="114"/>
                  </a:lnTo>
                  <a:lnTo>
                    <a:pt x="59" y="113"/>
                  </a:lnTo>
                  <a:lnTo>
                    <a:pt x="59" y="114"/>
                  </a:lnTo>
                  <a:lnTo>
                    <a:pt x="58" y="114"/>
                  </a:lnTo>
                  <a:lnTo>
                    <a:pt x="57" y="113"/>
                  </a:lnTo>
                  <a:lnTo>
                    <a:pt x="57" y="114"/>
                  </a:lnTo>
                  <a:lnTo>
                    <a:pt x="57" y="113"/>
                  </a:lnTo>
                  <a:lnTo>
                    <a:pt x="56" y="112"/>
                  </a:lnTo>
                  <a:lnTo>
                    <a:pt x="56" y="113"/>
                  </a:lnTo>
                  <a:lnTo>
                    <a:pt x="56" y="114"/>
                  </a:lnTo>
                  <a:lnTo>
                    <a:pt x="55" y="116"/>
                  </a:lnTo>
                  <a:lnTo>
                    <a:pt x="55" y="114"/>
                  </a:lnTo>
                  <a:lnTo>
                    <a:pt x="55" y="113"/>
                  </a:lnTo>
                  <a:lnTo>
                    <a:pt x="53" y="116"/>
                  </a:lnTo>
                  <a:lnTo>
                    <a:pt x="53" y="114"/>
                  </a:lnTo>
                  <a:lnTo>
                    <a:pt x="53" y="113"/>
                  </a:lnTo>
                  <a:lnTo>
                    <a:pt x="53" y="112"/>
                  </a:lnTo>
                  <a:lnTo>
                    <a:pt x="52" y="114"/>
                  </a:lnTo>
                  <a:lnTo>
                    <a:pt x="52" y="116"/>
                  </a:lnTo>
                  <a:lnTo>
                    <a:pt x="51" y="116"/>
                  </a:lnTo>
                  <a:lnTo>
                    <a:pt x="51" y="114"/>
                  </a:lnTo>
                  <a:lnTo>
                    <a:pt x="51" y="116"/>
                  </a:lnTo>
                  <a:lnTo>
                    <a:pt x="51" y="117"/>
                  </a:lnTo>
                  <a:lnTo>
                    <a:pt x="50" y="117"/>
                  </a:lnTo>
                  <a:lnTo>
                    <a:pt x="50" y="116"/>
                  </a:lnTo>
                  <a:lnTo>
                    <a:pt x="49" y="114"/>
                  </a:lnTo>
                  <a:lnTo>
                    <a:pt x="49" y="113"/>
                  </a:lnTo>
                  <a:lnTo>
                    <a:pt x="49" y="114"/>
                  </a:lnTo>
                  <a:lnTo>
                    <a:pt x="49" y="116"/>
                  </a:lnTo>
                  <a:lnTo>
                    <a:pt x="47" y="116"/>
                  </a:lnTo>
                  <a:lnTo>
                    <a:pt x="47" y="114"/>
                  </a:lnTo>
                  <a:lnTo>
                    <a:pt x="47" y="116"/>
                  </a:lnTo>
                  <a:lnTo>
                    <a:pt x="47" y="117"/>
                  </a:lnTo>
                  <a:lnTo>
                    <a:pt x="46" y="117"/>
                  </a:lnTo>
                  <a:lnTo>
                    <a:pt x="46" y="116"/>
                  </a:lnTo>
                  <a:lnTo>
                    <a:pt x="45" y="116"/>
                  </a:lnTo>
                  <a:lnTo>
                    <a:pt x="45" y="114"/>
                  </a:lnTo>
                  <a:lnTo>
                    <a:pt x="44" y="113"/>
                  </a:lnTo>
                  <a:lnTo>
                    <a:pt x="44" y="114"/>
                  </a:lnTo>
                  <a:lnTo>
                    <a:pt x="43" y="116"/>
                  </a:lnTo>
                  <a:lnTo>
                    <a:pt x="43" y="114"/>
                  </a:lnTo>
                  <a:lnTo>
                    <a:pt x="40" y="116"/>
                  </a:lnTo>
                  <a:lnTo>
                    <a:pt x="40" y="114"/>
                  </a:lnTo>
                  <a:lnTo>
                    <a:pt x="41" y="114"/>
                  </a:lnTo>
                  <a:lnTo>
                    <a:pt x="43" y="114"/>
                  </a:lnTo>
                  <a:lnTo>
                    <a:pt x="41" y="113"/>
                  </a:lnTo>
                  <a:lnTo>
                    <a:pt x="43" y="113"/>
                  </a:lnTo>
                  <a:lnTo>
                    <a:pt x="44" y="113"/>
                  </a:lnTo>
                  <a:lnTo>
                    <a:pt x="44" y="112"/>
                  </a:lnTo>
                  <a:lnTo>
                    <a:pt x="45" y="112"/>
                  </a:lnTo>
                  <a:lnTo>
                    <a:pt x="46" y="111"/>
                  </a:lnTo>
                  <a:lnTo>
                    <a:pt x="47" y="110"/>
                  </a:lnTo>
                  <a:lnTo>
                    <a:pt x="46" y="110"/>
                  </a:lnTo>
                  <a:lnTo>
                    <a:pt x="46" y="108"/>
                  </a:lnTo>
                  <a:lnTo>
                    <a:pt x="47" y="108"/>
                  </a:lnTo>
                  <a:lnTo>
                    <a:pt x="47" y="107"/>
                  </a:lnTo>
                  <a:lnTo>
                    <a:pt x="47" y="108"/>
                  </a:lnTo>
                  <a:lnTo>
                    <a:pt x="49" y="108"/>
                  </a:lnTo>
                  <a:lnTo>
                    <a:pt x="50" y="108"/>
                  </a:lnTo>
                  <a:lnTo>
                    <a:pt x="52" y="107"/>
                  </a:lnTo>
                  <a:lnTo>
                    <a:pt x="53" y="107"/>
                  </a:lnTo>
                  <a:lnTo>
                    <a:pt x="53" y="106"/>
                  </a:lnTo>
                  <a:lnTo>
                    <a:pt x="53" y="107"/>
                  </a:lnTo>
                  <a:lnTo>
                    <a:pt x="55" y="107"/>
                  </a:lnTo>
                  <a:lnTo>
                    <a:pt x="55" y="106"/>
                  </a:lnTo>
                  <a:lnTo>
                    <a:pt x="56" y="106"/>
                  </a:lnTo>
                  <a:lnTo>
                    <a:pt x="57" y="106"/>
                  </a:lnTo>
                  <a:lnTo>
                    <a:pt x="59" y="106"/>
                  </a:lnTo>
                  <a:lnTo>
                    <a:pt x="59" y="105"/>
                  </a:lnTo>
                  <a:lnTo>
                    <a:pt x="61" y="105"/>
                  </a:lnTo>
                  <a:lnTo>
                    <a:pt x="62" y="105"/>
                  </a:lnTo>
                  <a:lnTo>
                    <a:pt x="63" y="103"/>
                  </a:lnTo>
                  <a:lnTo>
                    <a:pt x="64" y="103"/>
                  </a:lnTo>
                  <a:lnTo>
                    <a:pt x="65" y="102"/>
                  </a:lnTo>
                  <a:lnTo>
                    <a:pt x="67" y="102"/>
                  </a:lnTo>
                  <a:lnTo>
                    <a:pt x="68" y="102"/>
                  </a:lnTo>
                  <a:lnTo>
                    <a:pt x="69" y="102"/>
                  </a:lnTo>
                  <a:lnTo>
                    <a:pt x="71" y="102"/>
                  </a:lnTo>
                  <a:lnTo>
                    <a:pt x="73" y="102"/>
                  </a:lnTo>
                  <a:lnTo>
                    <a:pt x="74" y="101"/>
                  </a:lnTo>
                  <a:lnTo>
                    <a:pt x="75" y="101"/>
                  </a:lnTo>
                  <a:lnTo>
                    <a:pt x="76" y="101"/>
                  </a:lnTo>
                  <a:lnTo>
                    <a:pt x="79" y="101"/>
                  </a:lnTo>
                  <a:lnTo>
                    <a:pt x="80" y="100"/>
                  </a:lnTo>
                  <a:lnTo>
                    <a:pt x="81" y="101"/>
                  </a:lnTo>
                  <a:lnTo>
                    <a:pt x="82" y="101"/>
                  </a:lnTo>
                  <a:lnTo>
                    <a:pt x="82" y="100"/>
                  </a:lnTo>
                  <a:lnTo>
                    <a:pt x="83" y="100"/>
                  </a:lnTo>
                  <a:lnTo>
                    <a:pt x="85" y="100"/>
                  </a:lnTo>
                  <a:lnTo>
                    <a:pt x="86" y="100"/>
                  </a:lnTo>
                  <a:lnTo>
                    <a:pt x="87" y="100"/>
                  </a:lnTo>
                  <a:lnTo>
                    <a:pt x="88" y="100"/>
                  </a:lnTo>
                  <a:lnTo>
                    <a:pt x="88" y="99"/>
                  </a:lnTo>
                  <a:lnTo>
                    <a:pt x="89" y="99"/>
                  </a:lnTo>
                  <a:lnTo>
                    <a:pt x="89" y="97"/>
                  </a:lnTo>
                  <a:lnTo>
                    <a:pt x="91" y="97"/>
                  </a:lnTo>
                  <a:lnTo>
                    <a:pt x="92" y="97"/>
                  </a:lnTo>
                  <a:lnTo>
                    <a:pt x="92" y="96"/>
                  </a:lnTo>
                  <a:lnTo>
                    <a:pt x="93" y="95"/>
                  </a:lnTo>
                  <a:lnTo>
                    <a:pt x="94" y="95"/>
                  </a:lnTo>
                  <a:lnTo>
                    <a:pt x="94" y="93"/>
                  </a:lnTo>
                  <a:lnTo>
                    <a:pt x="94" y="91"/>
                  </a:lnTo>
                  <a:lnTo>
                    <a:pt x="93" y="93"/>
                  </a:lnTo>
                  <a:lnTo>
                    <a:pt x="93" y="91"/>
                  </a:lnTo>
                  <a:lnTo>
                    <a:pt x="93" y="90"/>
                  </a:lnTo>
                  <a:lnTo>
                    <a:pt x="92" y="91"/>
                  </a:lnTo>
                  <a:lnTo>
                    <a:pt x="93" y="93"/>
                  </a:lnTo>
                  <a:lnTo>
                    <a:pt x="93" y="94"/>
                  </a:lnTo>
                  <a:lnTo>
                    <a:pt x="93" y="95"/>
                  </a:lnTo>
                  <a:lnTo>
                    <a:pt x="92" y="95"/>
                  </a:lnTo>
                  <a:lnTo>
                    <a:pt x="92" y="96"/>
                  </a:lnTo>
                  <a:lnTo>
                    <a:pt x="91" y="97"/>
                  </a:lnTo>
                  <a:lnTo>
                    <a:pt x="91" y="96"/>
                  </a:lnTo>
                  <a:lnTo>
                    <a:pt x="89" y="97"/>
                  </a:lnTo>
                  <a:lnTo>
                    <a:pt x="88" y="97"/>
                  </a:lnTo>
                  <a:lnTo>
                    <a:pt x="89" y="96"/>
                  </a:lnTo>
                  <a:lnTo>
                    <a:pt x="89" y="95"/>
                  </a:lnTo>
                  <a:lnTo>
                    <a:pt x="89" y="94"/>
                  </a:lnTo>
                  <a:lnTo>
                    <a:pt x="89" y="93"/>
                  </a:lnTo>
                  <a:lnTo>
                    <a:pt x="89" y="91"/>
                  </a:lnTo>
                  <a:lnTo>
                    <a:pt x="88" y="93"/>
                  </a:lnTo>
                  <a:lnTo>
                    <a:pt x="89" y="93"/>
                  </a:lnTo>
                  <a:lnTo>
                    <a:pt x="88" y="93"/>
                  </a:lnTo>
                  <a:lnTo>
                    <a:pt x="88" y="94"/>
                  </a:lnTo>
                  <a:lnTo>
                    <a:pt x="88" y="93"/>
                  </a:lnTo>
                  <a:lnTo>
                    <a:pt x="87" y="93"/>
                  </a:lnTo>
                  <a:lnTo>
                    <a:pt x="87" y="94"/>
                  </a:lnTo>
                  <a:lnTo>
                    <a:pt x="87" y="95"/>
                  </a:lnTo>
                  <a:lnTo>
                    <a:pt x="86" y="95"/>
                  </a:lnTo>
                  <a:lnTo>
                    <a:pt x="86" y="94"/>
                  </a:lnTo>
                  <a:lnTo>
                    <a:pt x="86" y="95"/>
                  </a:lnTo>
                  <a:lnTo>
                    <a:pt x="85" y="95"/>
                  </a:lnTo>
                  <a:lnTo>
                    <a:pt x="85" y="96"/>
                  </a:lnTo>
                  <a:lnTo>
                    <a:pt x="85" y="95"/>
                  </a:lnTo>
                  <a:lnTo>
                    <a:pt x="83" y="95"/>
                  </a:lnTo>
                  <a:lnTo>
                    <a:pt x="85" y="96"/>
                  </a:lnTo>
                  <a:lnTo>
                    <a:pt x="85" y="97"/>
                  </a:lnTo>
                  <a:lnTo>
                    <a:pt x="83" y="97"/>
                  </a:lnTo>
                  <a:lnTo>
                    <a:pt x="83" y="96"/>
                  </a:lnTo>
                  <a:lnTo>
                    <a:pt x="83" y="95"/>
                  </a:lnTo>
                  <a:lnTo>
                    <a:pt x="83" y="96"/>
                  </a:lnTo>
                  <a:lnTo>
                    <a:pt x="83" y="97"/>
                  </a:lnTo>
                  <a:lnTo>
                    <a:pt x="82" y="97"/>
                  </a:lnTo>
                  <a:lnTo>
                    <a:pt x="82" y="99"/>
                  </a:lnTo>
                  <a:lnTo>
                    <a:pt x="82" y="97"/>
                  </a:lnTo>
                  <a:lnTo>
                    <a:pt x="81" y="97"/>
                  </a:lnTo>
                  <a:lnTo>
                    <a:pt x="81" y="96"/>
                  </a:lnTo>
                  <a:lnTo>
                    <a:pt x="80" y="96"/>
                  </a:lnTo>
                  <a:lnTo>
                    <a:pt x="81" y="95"/>
                  </a:lnTo>
                  <a:lnTo>
                    <a:pt x="81" y="94"/>
                  </a:lnTo>
                  <a:lnTo>
                    <a:pt x="81" y="95"/>
                  </a:lnTo>
                  <a:lnTo>
                    <a:pt x="80" y="94"/>
                  </a:lnTo>
                  <a:lnTo>
                    <a:pt x="80" y="93"/>
                  </a:lnTo>
                  <a:lnTo>
                    <a:pt x="79" y="94"/>
                  </a:lnTo>
                  <a:lnTo>
                    <a:pt x="79" y="93"/>
                  </a:lnTo>
                  <a:lnTo>
                    <a:pt x="79" y="91"/>
                  </a:lnTo>
                  <a:lnTo>
                    <a:pt x="77" y="91"/>
                  </a:lnTo>
                  <a:lnTo>
                    <a:pt x="77" y="88"/>
                  </a:lnTo>
                  <a:lnTo>
                    <a:pt x="77" y="87"/>
                  </a:lnTo>
                  <a:lnTo>
                    <a:pt x="77" y="88"/>
                  </a:lnTo>
                  <a:lnTo>
                    <a:pt x="76" y="88"/>
                  </a:lnTo>
                  <a:lnTo>
                    <a:pt x="76" y="87"/>
                  </a:lnTo>
                  <a:lnTo>
                    <a:pt x="75" y="87"/>
                  </a:lnTo>
                  <a:lnTo>
                    <a:pt x="75" y="88"/>
                  </a:lnTo>
                  <a:lnTo>
                    <a:pt x="75" y="89"/>
                  </a:lnTo>
                  <a:lnTo>
                    <a:pt x="74" y="89"/>
                  </a:lnTo>
                  <a:lnTo>
                    <a:pt x="74" y="88"/>
                  </a:lnTo>
                  <a:lnTo>
                    <a:pt x="74" y="87"/>
                  </a:lnTo>
                  <a:lnTo>
                    <a:pt x="74" y="85"/>
                  </a:lnTo>
                  <a:lnTo>
                    <a:pt x="73" y="85"/>
                  </a:lnTo>
                  <a:lnTo>
                    <a:pt x="73" y="84"/>
                  </a:lnTo>
                  <a:lnTo>
                    <a:pt x="74" y="83"/>
                  </a:lnTo>
                  <a:lnTo>
                    <a:pt x="74" y="82"/>
                  </a:lnTo>
                  <a:lnTo>
                    <a:pt x="73" y="82"/>
                  </a:lnTo>
                  <a:lnTo>
                    <a:pt x="73" y="83"/>
                  </a:lnTo>
                  <a:lnTo>
                    <a:pt x="71" y="83"/>
                  </a:lnTo>
                  <a:lnTo>
                    <a:pt x="70" y="82"/>
                  </a:lnTo>
                  <a:lnTo>
                    <a:pt x="70" y="84"/>
                  </a:lnTo>
                  <a:lnTo>
                    <a:pt x="70" y="83"/>
                  </a:lnTo>
                  <a:lnTo>
                    <a:pt x="70" y="82"/>
                  </a:lnTo>
                  <a:lnTo>
                    <a:pt x="69" y="81"/>
                  </a:lnTo>
                  <a:lnTo>
                    <a:pt x="69" y="79"/>
                  </a:lnTo>
                  <a:lnTo>
                    <a:pt x="69" y="78"/>
                  </a:lnTo>
                  <a:lnTo>
                    <a:pt x="68" y="78"/>
                  </a:lnTo>
                  <a:lnTo>
                    <a:pt x="68" y="79"/>
                  </a:lnTo>
                  <a:lnTo>
                    <a:pt x="67" y="79"/>
                  </a:lnTo>
                  <a:lnTo>
                    <a:pt x="67" y="78"/>
                  </a:lnTo>
                  <a:lnTo>
                    <a:pt x="67" y="77"/>
                  </a:lnTo>
                  <a:lnTo>
                    <a:pt x="67" y="76"/>
                  </a:lnTo>
                  <a:lnTo>
                    <a:pt x="65" y="76"/>
                  </a:lnTo>
                  <a:lnTo>
                    <a:pt x="67" y="76"/>
                  </a:lnTo>
                  <a:lnTo>
                    <a:pt x="67" y="75"/>
                  </a:lnTo>
                  <a:lnTo>
                    <a:pt x="68" y="75"/>
                  </a:lnTo>
                  <a:lnTo>
                    <a:pt x="68" y="73"/>
                  </a:lnTo>
                  <a:lnTo>
                    <a:pt x="67" y="73"/>
                  </a:lnTo>
                  <a:lnTo>
                    <a:pt x="65" y="75"/>
                  </a:lnTo>
                  <a:lnTo>
                    <a:pt x="65" y="76"/>
                  </a:lnTo>
                  <a:lnTo>
                    <a:pt x="65" y="75"/>
                  </a:lnTo>
                  <a:lnTo>
                    <a:pt x="65" y="76"/>
                  </a:lnTo>
                  <a:lnTo>
                    <a:pt x="65" y="75"/>
                  </a:lnTo>
                  <a:lnTo>
                    <a:pt x="65" y="73"/>
                  </a:lnTo>
                  <a:lnTo>
                    <a:pt x="64" y="73"/>
                  </a:lnTo>
                  <a:lnTo>
                    <a:pt x="65" y="73"/>
                  </a:lnTo>
                  <a:lnTo>
                    <a:pt x="65" y="72"/>
                  </a:lnTo>
                  <a:lnTo>
                    <a:pt x="67" y="72"/>
                  </a:lnTo>
                  <a:lnTo>
                    <a:pt x="65" y="72"/>
                  </a:lnTo>
                  <a:lnTo>
                    <a:pt x="64" y="72"/>
                  </a:lnTo>
                  <a:lnTo>
                    <a:pt x="65" y="72"/>
                  </a:lnTo>
                  <a:lnTo>
                    <a:pt x="65" y="71"/>
                  </a:lnTo>
                  <a:lnTo>
                    <a:pt x="64" y="71"/>
                  </a:lnTo>
                  <a:lnTo>
                    <a:pt x="63" y="71"/>
                  </a:lnTo>
                  <a:lnTo>
                    <a:pt x="63" y="70"/>
                  </a:lnTo>
                  <a:lnTo>
                    <a:pt x="62" y="70"/>
                  </a:lnTo>
                  <a:lnTo>
                    <a:pt x="62" y="71"/>
                  </a:lnTo>
                  <a:lnTo>
                    <a:pt x="62" y="70"/>
                  </a:lnTo>
                  <a:lnTo>
                    <a:pt x="61" y="70"/>
                  </a:lnTo>
                  <a:lnTo>
                    <a:pt x="61" y="69"/>
                  </a:lnTo>
                  <a:lnTo>
                    <a:pt x="63" y="69"/>
                  </a:lnTo>
                  <a:lnTo>
                    <a:pt x="64" y="70"/>
                  </a:lnTo>
                  <a:lnTo>
                    <a:pt x="65" y="70"/>
                  </a:lnTo>
                  <a:lnTo>
                    <a:pt x="67" y="70"/>
                  </a:lnTo>
                  <a:lnTo>
                    <a:pt x="67" y="71"/>
                  </a:lnTo>
                  <a:lnTo>
                    <a:pt x="68" y="71"/>
                  </a:lnTo>
                  <a:lnTo>
                    <a:pt x="69" y="71"/>
                  </a:lnTo>
                  <a:lnTo>
                    <a:pt x="69" y="70"/>
                  </a:lnTo>
                  <a:lnTo>
                    <a:pt x="68" y="70"/>
                  </a:lnTo>
                  <a:lnTo>
                    <a:pt x="68" y="69"/>
                  </a:lnTo>
                  <a:lnTo>
                    <a:pt x="67" y="69"/>
                  </a:lnTo>
                  <a:lnTo>
                    <a:pt x="65" y="69"/>
                  </a:lnTo>
                  <a:lnTo>
                    <a:pt x="64" y="69"/>
                  </a:lnTo>
                  <a:lnTo>
                    <a:pt x="65" y="67"/>
                  </a:lnTo>
                  <a:lnTo>
                    <a:pt x="64" y="67"/>
                  </a:lnTo>
                  <a:lnTo>
                    <a:pt x="65" y="67"/>
                  </a:lnTo>
                  <a:lnTo>
                    <a:pt x="67" y="67"/>
                  </a:lnTo>
                  <a:lnTo>
                    <a:pt x="68" y="67"/>
                  </a:lnTo>
                  <a:lnTo>
                    <a:pt x="68" y="69"/>
                  </a:lnTo>
                  <a:lnTo>
                    <a:pt x="69" y="70"/>
                  </a:lnTo>
                  <a:lnTo>
                    <a:pt x="69" y="69"/>
                  </a:lnTo>
                  <a:lnTo>
                    <a:pt x="68" y="69"/>
                  </a:lnTo>
                  <a:lnTo>
                    <a:pt x="69" y="69"/>
                  </a:lnTo>
                  <a:lnTo>
                    <a:pt x="69" y="67"/>
                  </a:lnTo>
                  <a:lnTo>
                    <a:pt x="70" y="67"/>
                  </a:lnTo>
                  <a:lnTo>
                    <a:pt x="70" y="69"/>
                  </a:lnTo>
                  <a:lnTo>
                    <a:pt x="70" y="70"/>
                  </a:lnTo>
                  <a:lnTo>
                    <a:pt x="71" y="71"/>
                  </a:lnTo>
                  <a:lnTo>
                    <a:pt x="73" y="71"/>
                  </a:lnTo>
                  <a:lnTo>
                    <a:pt x="73" y="70"/>
                  </a:lnTo>
                  <a:lnTo>
                    <a:pt x="74" y="70"/>
                  </a:lnTo>
                  <a:lnTo>
                    <a:pt x="75" y="70"/>
                  </a:lnTo>
                  <a:lnTo>
                    <a:pt x="75" y="69"/>
                  </a:lnTo>
                  <a:lnTo>
                    <a:pt x="74" y="69"/>
                  </a:lnTo>
                  <a:lnTo>
                    <a:pt x="74" y="67"/>
                  </a:lnTo>
                  <a:lnTo>
                    <a:pt x="73" y="67"/>
                  </a:lnTo>
                  <a:lnTo>
                    <a:pt x="71" y="67"/>
                  </a:lnTo>
                  <a:lnTo>
                    <a:pt x="71" y="66"/>
                  </a:lnTo>
                  <a:lnTo>
                    <a:pt x="70" y="66"/>
                  </a:lnTo>
                  <a:lnTo>
                    <a:pt x="71" y="66"/>
                  </a:lnTo>
                  <a:lnTo>
                    <a:pt x="71" y="65"/>
                  </a:lnTo>
                  <a:lnTo>
                    <a:pt x="71" y="64"/>
                  </a:lnTo>
                  <a:lnTo>
                    <a:pt x="73" y="65"/>
                  </a:lnTo>
                  <a:lnTo>
                    <a:pt x="74" y="65"/>
                  </a:lnTo>
                  <a:lnTo>
                    <a:pt x="74" y="66"/>
                  </a:lnTo>
                  <a:lnTo>
                    <a:pt x="75" y="66"/>
                  </a:lnTo>
                  <a:lnTo>
                    <a:pt x="75" y="65"/>
                  </a:lnTo>
                  <a:lnTo>
                    <a:pt x="75" y="66"/>
                  </a:lnTo>
                  <a:lnTo>
                    <a:pt x="76" y="66"/>
                  </a:lnTo>
                  <a:lnTo>
                    <a:pt x="77" y="67"/>
                  </a:lnTo>
                  <a:lnTo>
                    <a:pt x="79" y="66"/>
                  </a:lnTo>
                  <a:lnTo>
                    <a:pt x="80" y="66"/>
                  </a:lnTo>
                  <a:lnTo>
                    <a:pt x="80" y="65"/>
                  </a:lnTo>
                  <a:lnTo>
                    <a:pt x="81" y="65"/>
                  </a:lnTo>
                  <a:lnTo>
                    <a:pt x="80" y="64"/>
                  </a:lnTo>
                  <a:lnTo>
                    <a:pt x="81" y="64"/>
                  </a:lnTo>
                  <a:lnTo>
                    <a:pt x="80" y="64"/>
                  </a:lnTo>
                  <a:lnTo>
                    <a:pt x="80" y="63"/>
                  </a:lnTo>
                  <a:lnTo>
                    <a:pt x="81" y="63"/>
                  </a:lnTo>
                  <a:lnTo>
                    <a:pt x="81" y="61"/>
                  </a:lnTo>
                  <a:lnTo>
                    <a:pt x="80" y="61"/>
                  </a:lnTo>
                  <a:lnTo>
                    <a:pt x="80" y="63"/>
                  </a:lnTo>
                  <a:lnTo>
                    <a:pt x="80" y="61"/>
                  </a:lnTo>
                  <a:lnTo>
                    <a:pt x="79" y="61"/>
                  </a:lnTo>
                  <a:lnTo>
                    <a:pt x="80" y="61"/>
                  </a:lnTo>
                  <a:lnTo>
                    <a:pt x="79" y="61"/>
                  </a:lnTo>
                  <a:lnTo>
                    <a:pt x="77" y="61"/>
                  </a:lnTo>
                  <a:lnTo>
                    <a:pt x="77" y="60"/>
                  </a:lnTo>
                  <a:lnTo>
                    <a:pt x="77" y="59"/>
                  </a:lnTo>
                  <a:lnTo>
                    <a:pt x="76" y="59"/>
                  </a:lnTo>
                  <a:lnTo>
                    <a:pt x="76" y="60"/>
                  </a:lnTo>
                  <a:lnTo>
                    <a:pt x="75" y="60"/>
                  </a:lnTo>
                  <a:lnTo>
                    <a:pt x="75" y="59"/>
                  </a:lnTo>
                  <a:lnTo>
                    <a:pt x="75" y="58"/>
                  </a:lnTo>
                  <a:lnTo>
                    <a:pt x="74" y="58"/>
                  </a:lnTo>
                  <a:lnTo>
                    <a:pt x="74" y="57"/>
                  </a:lnTo>
                  <a:lnTo>
                    <a:pt x="74" y="58"/>
                  </a:lnTo>
                  <a:lnTo>
                    <a:pt x="74" y="57"/>
                  </a:lnTo>
                  <a:lnTo>
                    <a:pt x="74" y="55"/>
                  </a:lnTo>
                  <a:lnTo>
                    <a:pt x="74" y="57"/>
                  </a:lnTo>
                  <a:lnTo>
                    <a:pt x="73" y="57"/>
                  </a:lnTo>
                  <a:lnTo>
                    <a:pt x="71" y="57"/>
                  </a:lnTo>
                  <a:lnTo>
                    <a:pt x="73" y="57"/>
                  </a:lnTo>
                  <a:lnTo>
                    <a:pt x="73" y="55"/>
                  </a:lnTo>
                  <a:lnTo>
                    <a:pt x="74" y="55"/>
                  </a:lnTo>
                  <a:lnTo>
                    <a:pt x="74" y="54"/>
                  </a:lnTo>
                  <a:lnTo>
                    <a:pt x="73" y="54"/>
                  </a:lnTo>
                  <a:lnTo>
                    <a:pt x="71" y="55"/>
                  </a:lnTo>
                  <a:lnTo>
                    <a:pt x="73" y="54"/>
                  </a:lnTo>
                  <a:lnTo>
                    <a:pt x="71" y="53"/>
                  </a:lnTo>
                  <a:lnTo>
                    <a:pt x="70" y="54"/>
                  </a:lnTo>
                  <a:lnTo>
                    <a:pt x="71" y="53"/>
                  </a:lnTo>
                  <a:lnTo>
                    <a:pt x="70" y="53"/>
                  </a:lnTo>
                  <a:lnTo>
                    <a:pt x="69" y="53"/>
                  </a:lnTo>
                  <a:lnTo>
                    <a:pt x="69" y="52"/>
                  </a:lnTo>
                  <a:lnTo>
                    <a:pt x="68" y="52"/>
                  </a:lnTo>
                  <a:lnTo>
                    <a:pt x="68" y="51"/>
                  </a:lnTo>
                  <a:lnTo>
                    <a:pt x="67" y="51"/>
                  </a:lnTo>
                  <a:lnTo>
                    <a:pt x="65" y="51"/>
                  </a:lnTo>
                  <a:lnTo>
                    <a:pt x="67" y="51"/>
                  </a:lnTo>
                  <a:lnTo>
                    <a:pt x="67" y="49"/>
                  </a:lnTo>
                  <a:lnTo>
                    <a:pt x="65" y="49"/>
                  </a:lnTo>
                  <a:lnTo>
                    <a:pt x="67" y="49"/>
                  </a:lnTo>
                  <a:lnTo>
                    <a:pt x="68" y="51"/>
                  </a:lnTo>
                  <a:lnTo>
                    <a:pt x="69" y="51"/>
                  </a:lnTo>
                  <a:lnTo>
                    <a:pt x="69" y="52"/>
                  </a:lnTo>
                  <a:lnTo>
                    <a:pt x="70" y="52"/>
                  </a:lnTo>
                  <a:lnTo>
                    <a:pt x="71" y="52"/>
                  </a:lnTo>
                  <a:lnTo>
                    <a:pt x="71" y="51"/>
                  </a:lnTo>
                  <a:lnTo>
                    <a:pt x="71" y="52"/>
                  </a:lnTo>
                  <a:lnTo>
                    <a:pt x="71" y="53"/>
                  </a:lnTo>
                  <a:lnTo>
                    <a:pt x="73" y="53"/>
                  </a:lnTo>
                  <a:lnTo>
                    <a:pt x="73" y="52"/>
                  </a:lnTo>
                  <a:lnTo>
                    <a:pt x="73" y="53"/>
                  </a:lnTo>
                  <a:lnTo>
                    <a:pt x="74" y="53"/>
                  </a:lnTo>
                  <a:lnTo>
                    <a:pt x="75" y="54"/>
                  </a:lnTo>
                  <a:lnTo>
                    <a:pt x="75" y="53"/>
                  </a:lnTo>
                  <a:lnTo>
                    <a:pt x="75" y="54"/>
                  </a:lnTo>
                  <a:lnTo>
                    <a:pt x="77" y="55"/>
                  </a:lnTo>
                  <a:lnTo>
                    <a:pt x="79" y="55"/>
                  </a:lnTo>
                  <a:lnTo>
                    <a:pt x="79" y="57"/>
                  </a:lnTo>
                  <a:lnTo>
                    <a:pt x="80" y="57"/>
                  </a:lnTo>
                  <a:lnTo>
                    <a:pt x="81" y="57"/>
                  </a:lnTo>
                  <a:lnTo>
                    <a:pt x="82" y="57"/>
                  </a:lnTo>
                  <a:lnTo>
                    <a:pt x="83" y="57"/>
                  </a:lnTo>
                  <a:lnTo>
                    <a:pt x="85" y="55"/>
                  </a:lnTo>
                  <a:lnTo>
                    <a:pt x="86" y="55"/>
                  </a:lnTo>
                  <a:lnTo>
                    <a:pt x="87" y="55"/>
                  </a:lnTo>
                  <a:lnTo>
                    <a:pt x="87" y="54"/>
                  </a:lnTo>
                  <a:lnTo>
                    <a:pt x="86" y="54"/>
                  </a:lnTo>
                  <a:lnTo>
                    <a:pt x="85" y="54"/>
                  </a:lnTo>
                  <a:lnTo>
                    <a:pt x="86" y="54"/>
                  </a:lnTo>
                  <a:lnTo>
                    <a:pt x="87" y="53"/>
                  </a:lnTo>
                  <a:lnTo>
                    <a:pt x="87" y="52"/>
                  </a:lnTo>
                  <a:lnTo>
                    <a:pt x="86" y="52"/>
                  </a:lnTo>
                  <a:lnTo>
                    <a:pt x="86" y="51"/>
                  </a:lnTo>
                  <a:lnTo>
                    <a:pt x="87" y="51"/>
                  </a:lnTo>
                  <a:lnTo>
                    <a:pt x="88" y="52"/>
                  </a:lnTo>
                  <a:lnTo>
                    <a:pt x="89" y="49"/>
                  </a:lnTo>
                  <a:lnTo>
                    <a:pt x="91" y="49"/>
                  </a:lnTo>
                  <a:lnTo>
                    <a:pt x="91" y="48"/>
                  </a:lnTo>
                  <a:lnTo>
                    <a:pt x="92" y="48"/>
                  </a:lnTo>
                  <a:lnTo>
                    <a:pt x="93" y="47"/>
                  </a:lnTo>
                  <a:lnTo>
                    <a:pt x="93" y="46"/>
                  </a:lnTo>
                  <a:lnTo>
                    <a:pt x="92" y="46"/>
                  </a:lnTo>
                  <a:lnTo>
                    <a:pt x="93" y="46"/>
                  </a:lnTo>
                  <a:lnTo>
                    <a:pt x="93" y="45"/>
                  </a:lnTo>
                  <a:lnTo>
                    <a:pt x="92" y="45"/>
                  </a:lnTo>
                  <a:lnTo>
                    <a:pt x="91" y="45"/>
                  </a:lnTo>
                  <a:lnTo>
                    <a:pt x="91" y="46"/>
                  </a:lnTo>
                  <a:lnTo>
                    <a:pt x="91" y="45"/>
                  </a:lnTo>
                  <a:lnTo>
                    <a:pt x="91" y="46"/>
                  </a:lnTo>
                  <a:lnTo>
                    <a:pt x="89" y="46"/>
                  </a:lnTo>
                  <a:lnTo>
                    <a:pt x="89" y="45"/>
                  </a:lnTo>
                  <a:lnTo>
                    <a:pt x="88" y="46"/>
                  </a:lnTo>
                  <a:lnTo>
                    <a:pt x="89" y="45"/>
                  </a:lnTo>
                  <a:lnTo>
                    <a:pt x="88" y="45"/>
                  </a:lnTo>
                  <a:lnTo>
                    <a:pt x="87" y="45"/>
                  </a:lnTo>
                  <a:lnTo>
                    <a:pt x="87" y="43"/>
                  </a:lnTo>
                  <a:lnTo>
                    <a:pt x="87" y="42"/>
                  </a:lnTo>
                  <a:lnTo>
                    <a:pt x="87" y="41"/>
                  </a:lnTo>
                  <a:lnTo>
                    <a:pt x="88" y="42"/>
                  </a:lnTo>
                  <a:lnTo>
                    <a:pt x="88" y="41"/>
                  </a:lnTo>
                  <a:lnTo>
                    <a:pt x="87" y="41"/>
                  </a:lnTo>
                  <a:lnTo>
                    <a:pt x="87" y="40"/>
                  </a:lnTo>
                  <a:lnTo>
                    <a:pt x="86" y="41"/>
                  </a:lnTo>
                  <a:lnTo>
                    <a:pt x="86" y="40"/>
                  </a:lnTo>
                  <a:lnTo>
                    <a:pt x="87" y="40"/>
                  </a:lnTo>
                  <a:lnTo>
                    <a:pt x="86" y="40"/>
                  </a:lnTo>
                  <a:lnTo>
                    <a:pt x="86" y="37"/>
                  </a:lnTo>
                  <a:lnTo>
                    <a:pt x="86" y="39"/>
                  </a:lnTo>
                  <a:lnTo>
                    <a:pt x="85" y="39"/>
                  </a:lnTo>
                  <a:lnTo>
                    <a:pt x="85" y="40"/>
                  </a:lnTo>
                  <a:lnTo>
                    <a:pt x="85" y="39"/>
                  </a:lnTo>
                  <a:lnTo>
                    <a:pt x="83" y="39"/>
                  </a:lnTo>
                  <a:lnTo>
                    <a:pt x="85" y="39"/>
                  </a:lnTo>
                  <a:lnTo>
                    <a:pt x="85" y="37"/>
                  </a:lnTo>
                  <a:lnTo>
                    <a:pt x="83" y="37"/>
                  </a:lnTo>
                  <a:lnTo>
                    <a:pt x="85" y="37"/>
                  </a:lnTo>
                  <a:lnTo>
                    <a:pt x="86" y="37"/>
                  </a:lnTo>
                  <a:lnTo>
                    <a:pt x="86" y="36"/>
                  </a:lnTo>
                  <a:lnTo>
                    <a:pt x="85" y="36"/>
                  </a:lnTo>
                  <a:lnTo>
                    <a:pt x="83" y="36"/>
                  </a:lnTo>
                  <a:lnTo>
                    <a:pt x="85" y="36"/>
                  </a:lnTo>
                  <a:lnTo>
                    <a:pt x="83" y="36"/>
                  </a:lnTo>
                  <a:lnTo>
                    <a:pt x="82" y="36"/>
                  </a:lnTo>
                  <a:lnTo>
                    <a:pt x="83" y="35"/>
                  </a:lnTo>
                  <a:lnTo>
                    <a:pt x="82" y="35"/>
                  </a:lnTo>
                  <a:lnTo>
                    <a:pt x="83" y="35"/>
                  </a:lnTo>
                  <a:lnTo>
                    <a:pt x="82" y="35"/>
                  </a:lnTo>
                  <a:lnTo>
                    <a:pt x="81" y="35"/>
                  </a:lnTo>
                  <a:lnTo>
                    <a:pt x="80" y="35"/>
                  </a:lnTo>
                  <a:lnTo>
                    <a:pt x="80" y="34"/>
                  </a:lnTo>
                  <a:lnTo>
                    <a:pt x="81" y="34"/>
                  </a:lnTo>
                  <a:lnTo>
                    <a:pt x="82" y="34"/>
                  </a:lnTo>
                  <a:lnTo>
                    <a:pt x="81" y="33"/>
                  </a:lnTo>
                  <a:lnTo>
                    <a:pt x="81" y="34"/>
                  </a:lnTo>
                  <a:lnTo>
                    <a:pt x="80" y="34"/>
                  </a:lnTo>
                  <a:lnTo>
                    <a:pt x="80" y="33"/>
                  </a:lnTo>
                  <a:lnTo>
                    <a:pt x="79" y="33"/>
                  </a:lnTo>
                  <a:lnTo>
                    <a:pt x="79" y="34"/>
                  </a:lnTo>
                  <a:lnTo>
                    <a:pt x="79" y="33"/>
                  </a:lnTo>
                  <a:lnTo>
                    <a:pt x="77" y="33"/>
                  </a:lnTo>
                  <a:lnTo>
                    <a:pt x="76" y="33"/>
                  </a:lnTo>
                  <a:lnTo>
                    <a:pt x="77" y="33"/>
                  </a:lnTo>
                  <a:lnTo>
                    <a:pt x="77" y="31"/>
                  </a:lnTo>
                  <a:lnTo>
                    <a:pt x="75" y="30"/>
                  </a:lnTo>
                  <a:lnTo>
                    <a:pt x="76" y="30"/>
                  </a:lnTo>
                  <a:lnTo>
                    <a:pt x="77" y="31"/>
                  </a:lnTo>
                  <a:lnTo>
                    <a:pt x="79" y="31"/>
                  </a:lnTo>
                  <a:lnTo>
                    <a:pt x="77" y="30"/>
                  </a:lnTo>
                  <a:lnTo>
                    <a:pt x="79" y="31"/>
                  </a:lnTo>
                  <a:lnTo>
                    <a:pt x="80" y="31"/>
                  </a:lnTo>
                  <a:lnTo>
                    <a:pt x="80" y="33"/>
                  </a:lnTo>
                  <a:lnTo>
                    <a:pt x="81" y="31"/>
                  </a:lnTo>
                  <a:lnTo>
                    <a:pt x="81" y="33"/>
                  </a:lnTo>
                  <a:lnTo>
                    <a:pt x="82" y="33"/>
                  </a:lnTo>
                  <a:lnTo>
                    <a:pt x="81" y="33"/>
                  </a:lnTo>
                  <a:lnTo>
                    <a:pt x="82" y="33"/>
                  </a:lnTo>
                  <a:lnTo>
                    <a:pt x="82" y="31"/>
                  </a:lnTo>
                  <a:lnTo>
                    <a:pt x="82" y="33"/>
                  </a:lnTo>
                  <a:lnTo>
                    <a:pt x="83" y="33"/>
                  </a:lnTo>
                  <a:lnTo>
                    <a:pt x="83" y="34"/>
                  </a:lnTo>
                  <a:lnTo>
                    <a:pt x="85" y="35"/>
                  </a:lnTo>
                  <a:lnTo>
                    <a:pt x="85" y="34"/>
                  </a:lnTo>
                  <a:lnTo>
                    <a:pt x="85" y="35"/>
                  </a:lnTo>
                  <a:lnTo>
                    <a:pt x="86" y="35"/>
                  </a:lnTo>
                  <a:lnTo>
                    <a:pt x="86" y="36"/>
                  </a:lnTo>
                  <a:lnTo>
                    <a:pt x="87" y="36"/>
                  </a:lnTo>
                  <a:lnTo>
                    <a:pt x="87" y="35"/>
                  </a:lnTo>
                  <a:lnTo>
                    <a:pt x="87" y="36"/>
                  </a:lnTo>
                  <a:lnTo>
                    <a:pt x="86" y="36"/>
                  </a:lnTo>
                  <a:lnTo>
                    <a:pt x="87" y="35"/>
                  </a:lnTo>
                  <a:lnTo>
                    <a:pt x="87" y="34"/>
                  </a:lnTo>
                  <a:lnTo>
                    <a:pt x="87" y="35"/>
                  </a:lnTo>
                  <a:lnTo>
                    <a:pt x="88" y="35"/>
                  </a:lnTo>
                  <a:lnTo>
                    <a:pt x="88" y="34"/>
                  </a:lnTo>
                  <a:lnTo>
                    <a:pt x="88" y="35"/>
                  </a:lnTo>
                  <a:lnTo>
                    <a:pt x="88" y="36"/>
                  </a:lnTo>
                  <a:lnTo>
                    <a:pt x="87" y="36"/>
                  </a:lnTo>
                  <a:lnTo>
                    <a:pt x="87" y="37"/>
                  </a:lnTo>
                  <a:lnTo>
                    <a:pt x="88" y="37"/>
                  </a:lnTo>
                  <a:lnTo>
                    <a:pt x="88" y="39"/>
                  </a:lnTo>
                  <a:lnTo>
                    <a:pt x="89" y="39"/>
                  </a:lnTo>
                  <a:lnTo>
                    <a:pt x="91" y="40"/>
                  </a:lnTo>
                  <a:lnTo>
                    <a:pt x="92" y="40"/>
                  </a:lnTo>
                  <a:lnTo>
                    <a:pt x="93" y="39"/>
                  </a:lnTo>
                  <a:lnTo>
                    <a:pt x="93" y="37"/>
                  </a:lnTo>
                  <a:lnTo>
                    <a:pt x="93" y="39"/>
                  </a:lnTo>
                  <a:lnTo>
                    <a:pt x="92" y="37"/>
                  </a:lnTo>
                  <a:lnTo>
                    <a:pt x="93" y="37"/>
                  </a:lnTo>
                  <a:lnTo>
                    <a:pt x="93" y="36"/>
                  </a:lnTo>
                  <a:lnTo>
                    <a:pt x="92" y="36"/>
                  </a:lnTo>
                  <a:lnTo>
                    <a:pt x="92" y="35"/>
                  </a:lnTo>
                  <a:lnTo>
                    <a:pt x="93" y="35"/>
                  </a:lnTo>
                  <a:lnTo>
                    <a:pt x="94" y="35"/>
                  </a:lnTo>
                  <a:lnTo>
                    <a:pt x="94" y="34"/>
                  </a:lnTo>
                  <a:lnTo>
                    <a:pt x="93" y="34"/>
                  </a:lnTo>
                  <a:lnTo>
                    <a:pt x="92" y="34"/>
                  </a:lnTo>
                  <a:lnTo>
                    <a:pt x="92" y="33"/>
                  </a:lnTo>
                  <a:lnTo>
                    <a:pt x="93" y="33"/>
                  </a:lnTo>
                  <a:lnTo>
                    <a:pt x="92" y="33"/>
                  </a:lnTo>
                  <a:lnTo>
                    <a:pt x="91" y="33"/>
                  </a:lnTo>
                  <a:lnTo>
                    <a:pt x="89" y="33"/>
                  </a:lnTo>
                  <a:lnTo>
                    <a:pt x="89" y="34"/>
                  </a:lnTo>
                  <a:lnTo>
                    <a:pt x="89" y="33"/>
                  </a:lnTo>
                  <a:lnTo>
                    <a:pt x="91" y="31"/>
                  </a:lnTo>
                  <a:lnTo>
                    <a:pt x="89" y="31"/>
                  </a:lnTo>
                  <a:lnTo>
                    <a:pt x="89" y="30"/>
                  </a:lnTo>
                  <a:lnTo>
                    <a:pt x="89" y="31"/>
                  </a:lnTo>
                  <a:lnTo>
                    <a:pt x="89" y="33"/>
                  </a:lnTo>
                  <a:lnTo>
                    <a:pt x="88" y="33"/>
                  </a:lnTo>
                  <a:lnTo>
                    <a:pt x="88" y="31"/>
                  </a:lnTo>
                  <a:lnTo>
                    <a:pt x="87" y="30"/>
                  </a:lnTo>
                  <a:lnTo>
                    <a:pt x="88" y="30"/>
                  </a:lnTo>
                  <a:lnTo>
                    <a:pt x="88" y="29"/>
                  </a:lnTo>
                  <a:lnTo>
                    <a:pt x="87" y="29"/>
                  </a:lnTo>
                  <a:lnTo>
                    <a:pt x="86" y="29"/>
                  </a:lnTo>
                  <a:lnTo>
                    <a:pt x="86" y="28"/>
                  </a:lnTo>
                  <a:lnTo>
                    <a:pt x="87" y="28"/>
                  </a:lnTo>
                  <a:lnTo>
                    <a:pt x="86" y="27"/>
                  </a:lnTo>
                  <a:lnTo>
                    <a:pt x="85" y="27"/>
                  </a:lnTo>
                  <a:lnTo>
                    <a:pt x="83" y="27"/>
                  </a:lnTo>
                  <a:lnTo>
                    <a:pt x="83" y="28"/>
                  </a:lnTo>
                  <a:lnTo>
                    <a:pt x="82" y="28"/>
                  </a:lnTo>
                  <a:lnTo>
                    <a:pt x="82" y="27"/>
                  </a:lnTo>
                  <a:lnTo>
                    <a:pt x="83" y="27"/>
                  </a:lnTo>
                  <a:lnTo>
                    <a:pt x="83" y="25"/>
                  </a:lnTo>
                  <a:lnTo>
                    <a:pt x="83" y="27"/>
                  </a:lnTo>
                  <a:lnTo>
                    <a:pt x="82" y="27"/>
                  </a:lnTo>
                  <a:lnTo>
                    <a:pt x="83" y="25"/>
                  </a:lnTo>
                  <a:lnTo>
                    <a:pt x="82" y="25"/>
                  </a:lnTo>
                  <a:lnTo>
                    <a:pt x="81" y="27"/>
                  </a:lnTo>
                  <a:lnTo>
                    <a:pt x="81" y="25"/>
                  </a:lnTo>
                  <a:lnTo>
                    <a:pt x="81" y="24"/>
                  </a:lnTo>
                  <a:lnTo>
                    <a:pt x="81" y="25"/>
                  </a:lnTo>
                  <a:lnTo>
                    <a:pt x="80" y="25"/>
                  </a:lnTo>
                  <a:lnTo>
                    <a:pt x="80" y="24"/>
                  </a:lnTo>
                  <a:lnTo>
                    <a:pt x="81" y="24"/>
                  </a:lnTo>
                  <a:lnTo>
                    <a:pt x="80" y="24"/>
                  </a:lnTo>
                  <a:lnTo>
                    <a:pt x="79" y="23"/>
                  </a:lnTo>
                  <a:lnTo>
                    <a:pt x="80" y="23"/>
                  </a:lnTo>
                  <a:lnTo>
                    <a:pt x="81" y="24"/>
                  </a:lnTo>
                  <a:lnTo>
                    <a:pt x="81" y="23"/>
                  </a:lnTo>
                  <a:lnTo>
                    <a:pt x="80" y="23"/>
                  </a:lnTo>
                  <a:lnTo>
                    <a:pt x="81" y="23"/>
                  </a:lnTo>
                  <a:lnTo>
                    <a:pt x="82" y="23"/>
                  </a:lnTo>
                  <a:lnTo>
                    <a:pt x="82" y="24"/>
                  </a:lnTo>
                  <a:lnTo>
                    <a:pt x="83" y="24"/>
                  </a:lnTo>
                  <a:lnTo>
                    <a:pt x="85" y="24"/>
                  </a:lnTo>
                  <a:lnTo>
                    <a:pt x="85" y="25"/>
                  </a:lnTo>
                  <a:lnTo>
                    <a:pt x="85" y="24"/>
                  </a:lnTo>
                  <a:lnTo>
                    <a:pt x="86" y="24"/>
                  </a:lnTo>
                  <a:lnTo>
                    <a:pt x="86" y="25"/>
                  </a:lnTo>
                  <a:lnTo>
                    <a:pt x="87" y="25"/>
                  </a:lnTo>
                  <a:lnTo>
                    <a:pt x="87" y="27"/>
                  </a:lnTo>
                  <a:lnTo>
                    <a:pt x="88" y="27"/>
                  </a:lnTo>
                  <a:lnTo>
                    <a:pt x="89" y="27"/>
                  </a:lnTo>
                  <a:lnTo>
                    <a:pt x="91" y="28"/>
                  </a:lnTo>
                  <a:lnTo>
                    <a:pt x="92" y="29"/>
                  </a:lnTo>
                  <a:lnTo>
                    <a:pt x="92" y="28"/>
                  </a:lnTo>
                  <a:lnTo>
                    <a:pt x="92" y="27"/>
                  </a:lnTo>
                  <a:lnTo>
                    <a:pt x="91" y="27"/>
                  </a:lnTo>
                  <a:lnTo>
                    <a:pt x="89" y="27"/>
                  </a:lnTo>
                  <a:lnTo>
                    <a:pt x="91" y="25"/>
                  </a:lnTo>
                  <a:lnTo>
                    <a:pt x="91" y="27"/>
                  </a:lnTo>
                  <a:lnTo>
                    <a:pt x="92" y="27"/>
                  </a:lnTo>
                  <a:lnTo>
                    <a:pt x="92" y="25"/>
                  </a:lnTo>
                  <a:lnTo>
                    <a:pt x="93" y="25"/>
                  </a:lnTo>
                  <a:lnTo>
                    <a:pt x="94" y="25"/>
                  </a:lnTo>
                  <a:lnTo>
                    <a:pt x="96" y="25"/>
                  </a:lnTo>
                  <a:lnTo>
                    <a:pt x="97" y="25"/>
                  </a:lnTo>
                  <a:lnTo>
                    <a:pt x="96" y="25"/>
                  </a:lnTo>
                  <a:lnTo>
                    <a:pt x="96" y="24"/>
                  </a:lnTo>
                  <a:lnTo>
                    <a:pt x="97" y="23"/>
                  </a:lnTo>
                  <a:lnTo>
                    <a:pt x="96" y="23"/>
                  </a:lnTo>
                  <a:lnTo>
                    <a:pt x="96" y="24"/>
                  </a:lnTo>
                  <a:lnTo>
                    <a:pt x="94" y="24"/>
                  </a:lnTo>
                  <a:lnTo>
                    <a:pt x="94" y="25"/>
                  </a:lnTo>
                  <a:lnTo>
                    <a:pt x="94" y="24"/>
                  </a:lnTo>
                  <a:lnTo>
                    <a:pt x="93" y="25"/>
                  </a:lnTo>
                  <a:lnTo>
                    <a:pt x="93" y="24"/>
                  </a:lnTo>
                  <a:lnTo>
                    <a:pt x="92" y="24"/>
                  </a:lnTo>
                  <a:lnTo>
                    <a:pt x="93" y="24"/>
                  </a:lnTo>
                  <a:lnTo>
                    <a:pt x="94" y="24"/>
                  </a:lnTo>
                  <a:lnTo>
                    <a:pt x="94" y="23"/>
                  </a:lnTo>
                  <a:lnTo>
                    <a:pt x="96" y="23"/>
                  </a:lnTo>
                  <a:lnTo>
                    <a:pt x="97" y="22"/>
                  </a:lnTo>
                  <a:lnTo>
                    <a:pt x="98" y="22"/>
                  </a:lnTo>
                  <a:lnTo>
                    <a:pt x="97" y="22"/>
                  </a:lnTo>
                  <a:lnTo>
                    <a:pt x="97" y="21"/>
                  </a:lnTo>
                  <a:lnTo>
                    <a:pt x="98" y="21"/>
                  </a:lnTo>
                  <a:lnTo>
                    <a:pt x="97" y="21"/>
                  </a:lnTo>
                  <a:lnTo>
                    <a:pt x="97" y="19"/>
                  </a:lnTo>
                  <a:lnTo>
                    <a:pt x="97" y="18"/>
                  </a:lnTo>
                  <a:lnTo>
                    <a:pt x="96" y="17"/>
                  </a:lnTo>
                  <a:lnTo>
                    <a:pt x="96" y="16"/>
                  </a:lnTo>
                  <a:lnTo>
                    <a:pt x="97" y="16"/>
                  </a:lnTo>
                  <a:lnTo>
                    <a:pt x="96" y="15"/>
                  </a:lnTo>
                  <a:lnTo>
                    <a:pt x="96" y="16"/>
                  </a:lnTo>
                  <a:lnTo>
                    <a:pt x="94" y="15"/>
                  </a:lnTo>
                  <a:lnTo>
                    <a:pt x="96" y="15"/>
                  </a:lnTo>
                  <a:lnTo>
                    <a:pt x="94" y="15"/>
                  </a:lnTo>
                  <a:lnTo>
                    <a:pt x="96" y="15"/>
                  </a:lnTo>
                  <a:lnTo>
                    <a:pt x="97" y="13"/>
                  </a:lnTo>
                  <a:lnTo>
                    <a:pt x="97" y="15"/>
                  </a:lnTo>
                  <a:lnTo>
                    <a:pt x="97" y="13"/>
                  </a:lnTo>
                  <a:lnTo>
                    <a:pt x="98" y="13"/>
                  </a:lnTo>
                  <a:lnTo>
                    <a:pt x="97" y="13"/>
                  </a:lnTo>
                  <a:lnTo>
                    <a:pt x="96" y="13"/>
                  </a:lnTo>
                  <a:lnTo>
                    <a:pt x="96" y="12"/>
                  </a:lnTo>
                  <a:lnTo>
                    <a:pt x="96" y="13"/>
                  </a:lnTo>
                  <a:lnTo>
                    <a:pt x="94" y="13"/>
                  </a:lnTo>
                  <a:lnTo>
                    <a:pt x="94" y="12"/>
                  </a:lnTo>
                  <a:lnTo>
                    <a:pt x="96" y="12"/>
                  </a:lnTo>
                  <a:lnTo>
                    <a:pt x="94" y="12"/>
                  </a:lnTo>
                  <a:lnTo>
                    <a:pt x="94" y="13"/>
                  </a:lnTo>
                  <a:lnTo>
                    <a:pt x="94" y="12"/>
                  </a:lnTo>
                  <a:lnTo>
                    <a:pt x="93" y="12"/>
                  </a:lnTo>
                  <a:lnTo>
                    <a:pt x="93" y="13"/>
                  </a:lnTo>
                  <a:lnTo>
                    <a:pt x="92" y="12"/>
                  </a:lnTo>
                  <a:lnTo>
                    <a:pt x="93" y="12"/>
                  </a:lnTo>
                  <a:lnTo>
                    <a:pt x="92" y="12"/>
                  </a:lnTo>
                  <a:lnTo>
                    <a:pt x="92" y="11"/>
                  </a:lnTo>
                  <a:lnTo>
                    <a:pt x="91" y="11"/>
                  </a:lnTo>
                  <a:lnTo>
                    <a:pt x="92" y="11"/>
                  </a:lnTo>
                  <a:lnTo>
                    <a:pt x="93" y="11"/>
                  </a:lnTo>
                  <a:lnTo>
                    <a:pt x="94" y="11"/>
                  </a:lnTo>
                  <a:lnTo>
                    <a:pt x="93" y="11"/>
                  </a:lnTo>
                  <a:lnTo>
                    <a:pt x="93" y="10"/>
                  </a:lnTo>
                  <a:lnTo>
                    <a:pt x="94" y="10"/>
                  </a:lnTo>
                  <a:lnTo>
                    <a:pt x="94" y="11"/>
                  </a:lnTo>
                  <a:lnTo>
                    <a:pt x="96" y="11"/>
                  </a:lnTo>
                  <a:lnTo>
                    <a:pt x="96" y="12"/>
                  </a:lnTo>
                  <a:lnTo>
                    <a:pt x="97" y="12"/>
                  </a:lnTo>
                  <a:lnTo>
                    <a:pt x="97" y="11"/>
                  </a:lnTo>
                  <a:lnTo>
                    <a:pt x="96" y="12"/>
                  </a:lnTo>
                  <a:lnTo>
                    <a:pt x="96" y="11"/>
                  </a:lnTo>
                  <a:lnTo>
                    <a:pt x="96" y="10"/>
                  </a:lnTo>
                  <a:lnTo>
                    <a:pt x="94" y="10"/>
                  </a:lnTo>
                  <a:lnTo>
                    <a:pt x="93" y="10"/>
                  </a:lnTo>
                  <a:lnTo>
                    <a:pt x="93" y="9"/>
                  </a:lnTo>
                  <a:lnTo>
                    <a:pt x="96" y="9"/>
                  </a:lnTo>
                  <a:lnTo>
                    <a:pt x="94" y="9"/>
                  </a:lnTo>
                  <a:lnTo>
                    <a:pt x="93" y="9"/>
                  </a:lnTo>
                  <a:lnTo>
                    <a:pt x="93" y="7"/>
                  </a:lnTo>
                  <a:lnTo>
                    <a:pt x="94" y="7"/>
                  </a:lnTo>
                  <a:lnTo>
                    <a:pt x="94" y="9"/>
                  </a:lnTo>
                  <a:lnTo>
                    <a:pt x="93" y="6"/>
                  </a:lnTo>
                  <a:lnTo>
                    <a:pt x="92" y="5"/>
                  </a:lnTo>
                  <a:lnTo>
                    <a:pt x="91" y="4"/>
                  </a:lnTo>
                  <a:lnTo>
                    <a:pt x="92" y="4"/>
                  </a:lnTo>
                  <a:lnTo>
                    <a:pt x="93" y="5"/>
                  </a:lnTo>
                  <a:lnTo>
                    <a:pt x="94" y="6"/>
                  </a:lnTo>
                  <a:lnTo>
                    <a:pt x="94" y="7"/>
                  </a:lnTo>
                  <a:lnTo>
                    <a:pt x="96" y="7"/>
                  </a:lnTo>
                  <a:lnTo>
                    <a:pt x="96" y="9"/>
                  </a:lnTo>
                  <a:lnTo>
                    <a:pt x="97" y="9"/>
                  </a:lnTo>
                  <a:lnTo>
                    <a:pt x="97" y="7"/>
                  </a:lnTo>
                  <a:lnTo>
                    <a:pt x="98" y="7"/>
                  </a:lnTo>
                  <a:lnTo>
                    <a:pt x="98" y="6"/>
                  </a:lnTo>
                  <a:lnTo>
                    <a:pt x="98" y="7"/>
                  </a:lnTo>
                  <a:lnTo>
                    <a:pt x="97" y="7"/>
                  </a:lnTo>
                  <a:lnTo>
                    <a:pt x="97" y="9"/>
                  </a:lnTo>
                  <a:lnTo>
                    <a:pt x="97" y="10"/>
                  </a:lnTo>
                  <a:lnTo>
                    <a:pt x="98" y="10"/>
                  </a:lnTo>
                  <a:lnTo>
                    <a:pt x="98" y="9"/>
                  </a:lnTo>
                  <a:lnTo>
                    <a:pt x="98" y="10"/>
                  </a:lnTo>
                  <a:lnTo>
                    <a:pt x="97" y="10"/>
                  </a:lnTo>
                  <a:lnTo>
                    <a:pt x="97" y="11"/>
                  </a:lnTo>
                  <a:lnTo>
                    <a:pt x="98" y="11"/>
                  </a:lnTo>
                  <a:lnTo>
                    <a:pt x="98" y="10"/>
                  </a:lnTo>
                  <a:lnTo>
                    <a:pt x="98" y="11"/>
                  </a:lnTo>
                  <a:lnTo>
                    <a:pt x="97" y="12"/>
                  </a:lnTo>
                  <a:lnTo>
                    <a:pt x="98" y="12"/>
                  </a:lnTo>
                  <a:lnTo>
                    <a:pt x="98" y="11"/>
                  </a:lnTo>
                  <a:lnTo>
                    <a:pt x="99" y="11"/>
                  </a:lnTo>
                  <a:lnTo>
                    <a:pt x="99" y="10"/>
                  </a:lnTo>
                  <a:lnTo>
                    <a:pt x="98" y="10"/>
                  </a:lnTo>
                  <a:lnTo>
                    <a:pt x="99" y="10"/>
                  </a:lnTo>
                  <a:lnTo>
                    <a:pt x="99" y="9"/>
                  </a:lnTo>
                  <a:lnTo>
                    <a:pt x="98" y="9"/>
                  </a:lnTo>
                  <a:lnTo>
                    <a:pt x="97" y="9"/>
                  </a:lnTo>
                  <a:lnTo>
                    <a:pt x="98" y="9"/>
                  </a:lnTo>
                  <a:lnTo>
                    <a:pt x="99" y="9"/>
                  </a:lnTo>
                  <a:lnTo>
                    <a:pt x="99" y="7"/>
                  </a:lnTo>
                  <a:lnTo>
                    <a:pt x="99" y="6"/>
                  </a:lnTo>
                  <a:lnTo>
                    <a:pt x="99" y="5"/>
                  </a:lnTo>
                  <a:lnTo>
                    <a:pt x="99" y="4"/>
                  </a:lnTo>
                  <a:lnTo>
                    <a:pt x="100" y="4"/>
                  </a:lnTo>
                  <a:lnTo>
                    <a:pt x="100" y="5"/>
                  </a:lnTo>
                  <a:lnTo>
                    <a:pt x="100" y="6"/>
                  </a:lnTo>
                  <a:lnTo>
                    <a:pt x="100" y="7"/>
                  </a:lnTo>
                  <a:lnTo>
                    <a:pt x="100" y="9"/>
                  </a:lnTo>
                  <a:lnTo>
                    <a:pt x="99" y="10"/>
                  </a:lnTo>
                  <a:lnTo>
                    <a:pt x="99" y="11"/>
                  </a:lnTo>
                  <a:lnTo>
                    <a:pt x="100" y="10"/>
                  </a:lnTo>
                  <a:lnTo>
                    <a:pt x="100" y="11"/>
                  </a:lnTo>
                  <a:lnTo>
                    <a:pt x="102" y="11"/>
                  </a:lnTo>
                  <a:lnTo>
                    <a:pt x="102" y="10"/>
                  </a:lnTo>
                  <a:lnTo>
                    <a:pt x="102" y="9"/>
                  </a:lnTo>
                  <a:lnTo>
                    <a:pt x="103" y="10"/>
                  </a:lnTo>
                  <a:lnTo>
                    <a:pt x="102" y="9"/>
                  </a:lnTo>
                  <a:lnTo>
                    <a:pt x="103" y="9"/>
                  </a:lnTo>
                  <a:lnTo>
                    <a:pt x="102" y="7"/>
                  </a:lnTo>
                  <a:lnTo>
                    <a:pt x="103" y="7"/>
                  </a:lnTo>
                  <a:lnTo>
                    <a:pt x="102" y="6"/>
                  </a:lnTo>
                  <a:lnTo>
                    <a:pt x="100" y="5"/>
                  </a:lnTo>
                  <a:lnTo>
                    <a:pt x="102" y="5"/>
                  </a:lnTo>
                  <a:lnTo>
                    <a:pt x="103" y="6"/>
                  </a:lnTo>
                  <a:lnTo>
                    <a:pt x="103" y="5"/>
                  </a:lnTo>
                  <a:lnTo>
                    <a:pt x="102" y="5"/>
                  </a:lnTo>
                  <a:lnTo>
                    <a:pt x="103" y="4"/>
                  </a:lnTo>
                  <a:lnTo>
                    <a:pt x="103" y="5"/>
                  </a:lnTo>
                  <a:lnTo>
                    <a:pt x="103" y="4"/>
                  </a:lnTo>
                  <a:lnTo>
                    <a:pt x="103" y="3"/>
                  </a:lnTo>
                  <a:lnTo>
                    <a:pt x="103" y="4"/>
                  </a:lnTo>
                  <a:lnTo>
                    <a:pt x="103" y="5"/>
                  </a:lnTo>
                  <a:lnTo>
                    <a:pt x="103" y="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2" name="Freeform 65"/>
            <p:cNvSpPr>
              <a:spLocks/>
            </p:cNvSpPr>
            <p:nvPr userDrawn="1"/>
          </p:nvSpPr>
          <p:spPr bwMode="auto">
            <a:xfrm>
              <a:off x="4665663" y="6424613"/>
              <a:ext cx="95250" cy="114300"/>
            </a:xfrm>
            <a:custGeom>
              <a:avLst/>
              <a:gdLst/>
              <a:ahLst/>
              <a:cxnLst>
                <a:cxn ang="0">
                  <a:pos x="168" y="253"/>
                </a:cxn>
                <a:cxn ang="0">
                  <a:pos x="170" y="248"/>
                </a:cxn>
                <a:cxn ang="0">
                  <a:pos x="170" y="279"/>
                </a:cxn>
                <a:cxn ang="0">
                  <a:pos x="182" y="274"/>
                </a:cxn>
                <a:cxn ang="0">
                  <a:pos x="197" y="272"/>
                </a:cxn>
                <a:cxn ang="0">
                  <a:pos x="183" y="295"/>
                </a:cxn>
                <a:cxn ang="0">
                  <a:pos x="197" y="308"/>
                </a:cxn>
                <a:cxn ang="0">
                  <a:pos x="235" y="311"/>
                </a:cxn>
                <a:cxn ang="0">
                  <a:pos x="244" y="290"/>
                </a:cxn>
                <a:cxn ang="0">
                  <a:pos x="248" y="273"/>
                </a:cxn>
                <a:cxn ang="0">
                  <a:pos x="222" y="262"/>
                </a:cxn>
                <a:cxn ang="0">
                  <a:pos x="239" y="258"/>
                </a:cxn>
                <a:cxn ang="0">
                  <a:pos x="238" y="246"/>
                </a:cxn>
                <a:cxn ang="0">
                  <a:pos x="226" y="228"/>
                </a:cxn>
                <a:cxn ang="0">
                  <a:pos x="220" y="202"/>
                </a:cxn>
                <a:cxn ang="0">
                  <a:pos x="215" y="188"/>
                </a:cxn>
                <a:cxn ang="0">
                  <a:pos x="260" y="189"/>
                </a:cxn>
                <a:cxn ang="0">
                  <a:pos x="274" y="158"/>
                </a:cxn>
                <a:cxn ang="0">
                  <a:pos x="269" y="139"/>
                </a:cxn>
                <a:cxn ang="0">
                  <a:pos x="260" y="109"/>
                </a:cxn>
                <a:cxn ang="0">
                  <a:pos x="272" y="92"/>
                </a:cxn>
                <a:cxn ang="0">
                  <a:pos x="263" y="70"/>
                </a:cxn>
                <a:cxn ang="0">
                  <a:pos x="253" y="56"/>
                </a:cxn>
                <a:cxn ang="0">
                  <a:pos x="224" y="26"/>
                </a:cxn>
                <a:cxn ang="0">
                  <a:pos x="197" y="14"/>
                </a:cxn>
                <a:cxn ang="0">
                  <a:pos x="186" y="28"/>
                </a:cxn>
                <a:cxn ang="0">
                  <a:pos x="182" y="50"/>
                </a:cxn>
                <a:cxn ang="0">
                  <a:pos x="170" y="54"/>
                </a:cxn>
                <a:cxn ang="0">
                  <a:pos x="170" y="33"/>
                </a:cxn>
                <a:cxn ang="0">
                  <a:pos x="155" y="14"/>
                </a:cxn>
                <a:cxn ang="0">
                  <a:pos x="126" y="15"/>
                </a:cxn>
                <a:cxn ang="0">
                  <a:pos x="132" y="36"/>
                </a:cxn>
                <a:cxn ang="0">
                  <a:pos x="99" y="22"/>
                </a:cxn>
                <a:cxn ang="0">
                  <a:pos x="87" y="40"/>
                </a:cxn>
                <a:cxn ang="0">
                  <a:pos x="97" y="52"/>
                </a:cxn>
                <a:cxn ang="0">
                  <a:pos x="71" y="59"/>
                </a:cxn>
                <a:cxn ang="0">
                  <a:pos x="102" y="76"/>
                </a:cxn>
                <a:cxn ang="0">
                  <a:pos x="116" y="75"/>
                </a:cxn>
                <a:cxn ang="0">
                  <a:pos x="111" y="92"/>
                </a:cxn>
                <a:cxn ang="0">
                  <a:pos x="85" y="111"/>
                </a:cxn>
                <a:cxn ang="0">
                  <a:pos x="58" y="95"/>
                </a:cxn>
                <a:cxn ang="0">
                  <a:pos x="37" y="99"/>
                </a:cxn>
                <a:cxn ang="0">
                  <a:pos x="53" y="134"/>
                </a:cxn>
                <a:cxn ang="0">
                  <a:pos x="50" y="148"/>
                </a:cxn>
                <a:cxn ang="0">
                  <a:pos x="26" y="154"/>
                </a:cxn>
                <a:cxn ang="0">
                  <a:pos x="5" y="161"/>
                </a:cxn>
                <a:cxn ang="0">
                  <a:pos x="2" y="178"/>
                </a:cxn>
                <a:cxn ang="0">
                  <a:pos x="30" y="188"/>
                </a:cxn>
                <a:cxn ang="0">
                  <a:pos x="57" y="192"/>
                </a:cxn>
                <a:cxn ang="0">
                  <a:pos x="68" y="201"/>
                </a:cxn>
                <a:cxn ang="0">
                  <a:pos x="32" y="222"/>
                </a:cxn>
                <a:cxn ang="0">
                  <a:pos x="33" y="240"/>
                </a:cxn>
                <a:cxn ang="0">
                  <a:pos x="71" y="235"/>
                </a:cxn>
                <a:cxn ang="0">
                  <a:pos x="71" y="244"/>
                </a:cxn>
                <a:cxn ang="0">
                  <a:pos x="55" y="266"/>
                </a:cxn>
                <a:cxn ang="0">
                  <a:pos x="91" y="271"/>
                </a:cxn>
                <a:cxn ang="0">
                  <a:pos x="97" y="250"/>
                </a:cxn>
                <a:cxn ang="0">
                  <a:pos x="103" y="230"/>
                </a:cxn>
                <a:cxn ang="0">
                  <a:pos x="123" y="262"/>
                </a:cxn>
                <a:cxn ang="0">
                  <a:pos x="120" y="232"/>
                </a:cxn>
                <a:cxn ang="0">
                  <a:pos x="126" y="237"/>
                </a:cxn>
                <a:cxn ang="0">
                  <a:pos x="140" y="229"/>
                </a:cxn>
                <a:cxn ang="0">
                  <a:pos x="151" y="232"/>
                </a:cxn>
              </a:cxnLst>
              <a:rect l="0" t="0" r="r" b="b"/>
              <a:pathLst>
                <a:path w="297" h="363">
                  <a:moveTo>
                    <a:pt x="197" y="360"/>
                  </a:moveTo>
                  <a:lnTo>
                    <a:pt x="195" y="360"/>
                  </a:lnTo>
                  <a:lnTo>
                    <a:pt x="182" y="361"/>
                  </a:lnTo>
                  <a:lnTo>
                    <a:pt x="175" y="360"/>
                  </a:lnTo>
                  <a:lnTo>
                    <a:pt x="174" y="355"/>
                  </a:lnTo>
                  <a:lnTo>
                    <a:pt x="174" y="350"/>
                  </a:lnTo>
                  <a:lnTo>
                    <a:pt x="174" y="348"/>
                  </a:lnTo>
                  <a:lnTo>
                    <a:pt x="173" y="339"/>
                  </a:lnTo>
                  <a:lnTo>
                    <a:pt x="170" y="313"/>
                  </a:lnTo>
                  <a:lnTo>
                    <a:pt x="170" y="308"/>
                  </a:lnTo>
                  <a:lnTo>
                    <a:pt x="169" y="301"/>
                  </a:lnTo>
                  <a:lnTo>
                    <a:pt x="169" y="295"/>
                  </a:lnTo>
                  <a:lnTo>
                    <a:pt x="168" y="290"/>
                  </a:lnTo>
                  <a:lnTo>
                    <a:pt x="168" y="285"/>
                  </a:lnTo>
                  <a:lnTo>
                    <a:pt x="167" y="280"/>
                  </a:lnTo>
                  <a:lnTo>
                    <a:pt x="167" y="278"/>
                  </a:lnTo>
                  <a:lnTo>
                    <a:pt x="168" y="278"/>
                  </a:lnTo>
                  <a:lnTo>
                    <a:pt x="169" y="279"/>
                  </a:lnTo>
                  <a:lnTo>
                    <a:pt x="170" y="279"/>
                  </a:lnTo>
                  <a:lnTo>
                    <a:pt x="170" y="278"/>
                  </a:lnTo>
                  <a:lnTo>
                    <a:pt x="169" y="277"/>
                  </a:lnTo>
                  <a:lnTo>
                    <a:pt x="169" y="276"/>
                  </a:lnTo>
                  <a:lnTo>
                    <a:pt x="168" y="277"/>
                  </a:lnTo>
                  <a:lnTo>
                    <a:pt x="168" y="276"/>
                  </a:lnTo>
                  <a:lnTo>
                    <a:pt x="168" y="274"/>
                  </a:lnTo>
                  <a:lnTo>
                    <a:pt x="169" y="274"/>
                  </a:lnTo>
                  <a:lnTo>
                    <a:pt x="170" y="274"/>
                  </a:lnTo>
                  <a:lnTo>
                    <a:pt x="170" y="273"/>
                  </a:lnTo>
                  <a:lnTo>
                    <a:pt x="171" y="272"/>
                  </a:lnTo>
                  <a:lnTo>
                    <a:pt x="171" y="271"/>
                  </a:lnTo>
                  <a:lnTo>
                    <a:pt x="170" y="271"/>
                  </a:lnTo>
                  <a:lnTo>
                    <a:pt x="170" y="272"/>
                  </a:lnTo>
                  <a:lnTo>
                    <a:pt x="169" y="273"/>
                  </a:lnTo>
                  <a:lnTo>
                    <a:pt x="168" y="273"/>
                  </a:lnTo>
                  <a:lnTo>
                    <a:pt x="167" y="273"/>
                  </a:lnTo>
                  <a:lnTo>
                    <a:pt x="167" y="271"/>
                  </a:lnTo>
                  <a:lnTo>
                    <a:pt x="167" y="264"/>
                  </a:lnTo>
                  <a:lnTo>
                    <a:pt x="167" y="261"/>
                  </a:lnTo>
                  <a:lnTo>
                    <a:pt x="168" y="261"/>
                  </a:lnTo>
                  <a:lnTo>
                    <a:pt x="168" y="260"/>
                  </a:lnTo>
                  <a:lnTo>
                    <a:pt x="168" y="259"/>
                  </a:lnTo>
                  <a:lnTo>
                    <a:pt x="167" y="258"/>
                  </a:lnTo>
                  <a:lnTo>
                    <a:pt x="167" y="255"/>
                  </a:lnTo>
                  <a:lnTo>
                    <a:pt x="167" y="253"/>
                  </a:lnTo>
                  <a:lnTo>
                    <a:pt x="165" y="252"/>
                  </a:lnTo>
                  <a:lnTo>
                    <a:pt x="167" y="252"/>
                  </a:lnTo>
                  <a:lnTo>
                    <a:pt x="167" y="250"/>
                  </a:lnTo>
                  <a:lnTo>
                    <a:pt x="167" y="248"/>
                  </a:lnTo>
                  <a:lnTo>
                    <a:pt x="167" y="247"/>
                  </a:lnTo>
                  <a:lnTo>
                    <a:pt x="167" y="246"/>
                  </a:lnTo>
                  <a:lnTo>
                    <a:pt x="165" y="246"/>
                  </a:lnTo>
                  <a:lnTo>
                    <a:pt x="167" y="243"/>
                  </a:lnTo>
                  <a:lnTo>
                    <a:pt x="167" y="244"/>
                  </a:lnTo>
                  <a:lnTo>
                    <a:pt x="167" y="246"/>
                  </a:lnTo>
                  <a:lnTo>
                    <a:pt x="168" y="244"/>
                  </a:lnTo>
                  <a:lnTo>
                    <a:pt x="168" y="243"/>
                  </a:lnTo>
                  <a:lnTo>
                    <a:pt x="167" y="242"/>
                  </a:lnTo>
                  <a:lnTo>
                    <a:pt x="167" y="238"/>
                  </a:lnTo>
                  <a:lnTo>
                    <a:pt x="167" y="236"/>
                  </a:lnTo>
                  <a:lnTo>
                    <a:pt x="167" y="235"/>
                  </a:lnTo>
                  <a:lnTo>
                    <a:pt x="168" y="234"/>
                  </a:lnTo>
                  <a:lnTo>
                    <a:pt x="168" y="232"/>
                  </a:lnTo>
                  <a:lnTo>
                    <a:pt x="169" y="231"/>
                  </a:lnTo>
                  <a:lnTo>
                    <a:pt x="170" y="231"/>
                  </a:lnTo>
                  <a:lnTo>
                    <a:pt x="170" y="232"/>
                  </a:lnTo>
                  <a:lnTo>
                    <a:pt x="170" y="234"/>
                  </a:lnTo>
                  <a:lnTo>
                    <a:pt x="170" y="235"/>
                  </a:lnTo>
                  <a:lnTo>
                    <a:pt x="169" y="236"/>
                  </a:lnTo>
                  <a:lnTo>
                    <a:pt x="169" y="237"/>
                  </a:lnTo>
                  <a:lnTo>
                    <a:pt x="169" y="241"/>
                  </a:lnTo>
                  <a:lnTo>
                    <a:pt x="169" y="244"/>
                  </a:lnTo>
                  <a:lnTo>
                    <a:pt x="169" y="247"/>
                  </a:lnTo>
                  <a:lnTo>
                    <a:pt x="169" y="249"/>
                  </a:lnTo>
                  <a:lnTo>
                    <a:pt x="169" y="250"/>
                  </a:lnTo>
                  <a:lnTo>
                    <a:pt x="168" y="253"/>
                  </a:lnTo>
                  <a:lnTo>
                    <a:pt x="169" y="253"/>
                  </a:lnTo>
                  <a:lnTo>
                    <a:pt x="169" y="254"/>
                  </a:lnTo>
                  <a:lnTo>
                    <a:pt x="168" y="254"/>
                  </a:lnTo>
                  <a:lnTo>
                    <a:pt x="169" y="254"/>
                  </a:lnTo>
                  <a:lnTo>
                    <a:pt x="169" y="255"/>
                  </a:lnTo>
                  <a:lnTo>
                    <a:pt x="169" y="256"/>
                  </a:lnTo>
                  <a:lnTo>
                    <a:pt x="169" y="258"/>
                  </a:lnTo>
                  <a:lnTo>
                    <a:pt x="169" y="259"/>
                  </a:lnTo>
                  <a:lnTo>
                    <a:pt x="169" y="260"/>
                  </a:lnTo>
                  <a:lnTo>
                    <a:pt x="169" y="261"/>
                  </a:lnTo>
                  <a:lnTo>
                    <a:pt x="169" y="262"/>
                  </a:lnTo>
                  <a:lnTo>
                    <a:pt x="169" y="264"/>
                  </a:lnTo>
                  <a:lnTo>
                    <a:pt x="169" y="265"/>
                  </a:lnTo>
                  <a:lnTo>
                    <a:pt x="169" y="266"/>
                  </a:lnTo>
                  <a:lnTo>
                    <a:pt x="168" y="267"/>
                  </a:lnTo>
                  <a:lnTo>
                    <a:pt x="168" y="268"/>
                  </a:lnTo>
                  <a:lnTo>
                    <a:pt x="169" y="270"/>
                  </a:lnTo>
                  <a:lnTo>
                    <a:pt x="169" y="271"/>
                  </a:lnTo>
                  <a:lnTo>
                    <a:pt x="170" y="271"/>
                  </a:lnTo>
                  <a:lnTo>
                    <a:pt x="170" y="270"/>
                  </a:lnTo>
                  <a:lnTo>
                    <a:pt x="170" y="268"/>
                  </a:lnTo>
                  <a:lnTo>
                    <a:pt x="170" y="267"/>
                  </a:lnTo>
                  <a:lnTo>
                    <a:pt x="170" y="268"/>
                  </a:lnTo>
                  <a:lnTo>
                    <a:pt x="170" y="270"/>
                  </a:lnTo>
                  <a:lnTo>
                    <a:pt x="171" y="268"/>
                  </a:lnTo>
                  <a:lnTo>
                    <a:pt x="171" y="267"/>
                  </a:lnTo>
                  <a:lnTo>
                    <a:pt x="171" y="266"/>
                  </a:lnTo>
                  <a:lnTo>
                    <a:pt x="171" y="265"/>
                  </a:lnTo>
                  <a:lnTo>
                    <a:pt x="171" y="264"/>
                  </a:lnTo>
                  <a:lnTo>
                    <a:pt x="170" y="264"/>
                  </a:lnTo>
                  <a:lnTo>
                    <a:pt x="170" y="262"/>
                  </a:lnTo>
                  <a:lnTo>
                    <a:pt x="171" y="264"/>
                  </a:lnTo>
                  <a:lnTo>
                    <a:pt x="173" y="264"/>
                  </a:lnTo>
                  <a:lnTo>
                    <a:pt x="174" y="265"/>
                  </a:lnTo>
                  <a:lnTo>
                    <a:pt x="173" y="266"/>
                  </a:lnTo>
                  <a:lnTo>
                    <a:pt x="173" y="267"/>
                  </a:lnTo>
                  <a:lnTo>
                    <a:pt x="174" y="266"/>
                  </a:lnTo>
                  <a:lnTo>
                    <a:pt x="174" y="267"/>
                  </a:lnTo>
                  <a:lnTo>
                    <a:pt x="175" y="268"/>
                  </a:lnTo>
                  <a:lnTo>
                    <a:pt x="176" y="268"/>
                  </a:lnTo>
                  <a:lnTo>
                    <a:pt x="177" y="267"/>
                  </a:lnTo>
                  <a:lnTo>
                    <a:pt x="176" y="266"/>
                  </a:lnTo>
                  <a:lnTo>
                    <a:pt x="175" y="266"/>
                  </a:lnTo>
                  <a:lnTo>
                    <a:pt x="176" y="266"/>
                  </a:lnTo>
                  <a:lnTo>
                    <a:pt x="177" y="266"/>
                  </a:lnTo>
                  <a:lnTo>
                    <a:pt x="179" y="265"/>
                  </a:lnTo>
                  <a:lnTo>
                    <a:pt x="179" y="264"/>
                  </a:lnTo>
                  <a:lnTo>
                    <a:pt x="177" y="262"/>
                  </a:lnTo>
                  <a:lnTo>
                    <a:pt x="177" y="264"/>
                  </a:lnTo>
                  <a:lnTo>
                    <a:pt x="176" y="264"/>
                  </a:lnTo>
                  <a:lnTo>
                    <a:pt x="175" y="264"/>
                  </a:lnTo>
                  <a:lnTo>
                    <a:pt x="174" y="264"/>
                  </a:lnTo>
                  <a:lnTo>
                    <a:pt x="175" y="262"/>
                  </a:lnTo>
                  <a:lnTo>
                    <a:pt x="175" y="261"/>
                  </a:lnTo>
                  <a:lnTo>
                    <a:pt x="174" y="261"/>
                  </a:lnTo>
                  <a:lnTo>
                    <a:pt x="173" y="262"/>
                  </a:lnTo>
                  <a:lnTo>
                    <a:pt x="173" y="261"/>
                  </a:lnTo>
                  <a:lnTo>
                    <a:pt x="171" y="260"/>
                  </a:lnTo>
                  <a:lnTo>
                    <a:pt x="170" y="259"/>
                  </a:lnTo>
                  <a:lnTo>
                    <a:pt x="170" y="258"/>
                  </a:lnTo>
                  <a:lnTo>
                    <a:pt x="170" y="256"/>
                  </a:lnTo>
                  <a:lnTo>
                    <a:pt x="171" y="256"/>
                  </a:lnTo>
                  <a:lnTo>
                    <a:pt x="171" y="258"/>
                  </a:lnTo>
                  <a:lnTo>
                    <a:pt x="171" y="259"/>
                  </a:lnTo>
                  <a:lnTo>
                    <a:pt x="171" y="258"/>
                  </a:lnTo>
                  <a:lnTo>
                    <a:pt x="171" y="256"/>
                  </a:lnTo>
                  <a:lnTo>
                    <a:pt x="171" y="255"/>
                  </a:lnTo>
                  <a:lnTo>
                    <a:pt x="171" y="254"/>
                  </a:lnTo>
                  <a:lnTo>
                    <a:pt x="170" y="254"/>
                  </a:lnTo>
                  <a:lnTo>
                    <a:pt x="170" y="253"/>
                  </a:lnTo>
                  <a:lnTo>
                    <a:pt x="170" y="252"/>
                  </a:lnTo>
                  <a:lnTo>
                    <a:pt x="169" y="250"/>
                  </a:lnTo>
                  <a:lnTo>
                    <a:pt x="169" y="249"/>
                  </a:lnTo>
                  <a:lnTo>
                    <a:pt x="169" y="248"/>
                  </a:lnTo>
                  <a:lnTo>
                    <a:pt x="170" y="248"/>
                  </a:lnTo>
                  <a:lnTo>
                    <a:pt x="171" y="248"/>
                  </a:lnTo>
                  <a:lnTo>
                    <a:pt x="171" y="249"/>
                  </a:lnTo>
                  <a:lnTo>
                    <a:pt x="173" y="250"/>
                  </a:lnTo>
                  <a:lnTo>
                    <a:pt x="174" y="252"/>
                  </a:lnTo>
                  <a:lnTo>
                    <a:pt x="175" y="253"/>
                  </a:lnTo>
                  <a:lnTo>
                    <a:pt x="174" y="254"/>
                  </a:lnTo>
                  <a:lnTo>
                    <a:pt x="174" y="253"/>
                  </a:lnTo>
                  <a:lnTo>
                    <a:pt x="173" y="253"/>
                  </a:lnTo>
                  <a:lnTo>
                    <a:pt x="173" y="254"/>
                  </a:lnTo>
                  <a:lnTo>
                    <a:pt x="174" y="255"/>
                  </a:lnTo>
                  <a:lnTo>
                    <a:pt x="173" y="256"/>
                  </a:lnTo>
                  <a:lnTo>
                    <a:pt x="173" y="258"/>
                  </a:lnTo>
                  <a:lnTo>
                    <a:pt x="174" y="256"/>
                  </a:lnTo>
                  <a:lnTo>
                    <a:pt x="175" y="255"/>
                  </a:lnTo>
                  <a:lnTo>
                    <a:pt x="176" y="255"/>
                  </a:lnTo>
                  <a:lnTo>
                    <a:pt x="176" y="256"/>
                  </a:lnTo>
                  <a:lnTo>
                    <a:pt x="175" y="256"/>
                  </a:lnTo>
                  <a:lnTo>
                    <a:pt x="173" y="258"/>
                  </a:lnTo>
                  <a:lnTo>
                    <a:pt x="173" y="259"/>
                  </a:lnTo>
                  <a:lnTo>
                    <a:pt x="174" y="259"/>
                  </a:lnTo>
                  <a:lnTo>
                    <a:pt x="174" y="258"/>
                  </a:lnTo>
                  <a:lnTo>
                    <a:pt x="175" y="258"/>
                  </a:lnTo>
                  <a:lnTo>
                    <a:pt x="176" y="258"/>
                  </a:lnTo>
                  <a:lnTo>
                    <a:pt x="177" y="258"/>
                  </a:lnTo>
                  <a:lnTo>
                    <a:pt x="179" y="258"/>
                  </a:lnTo>
                  <a:lnTo>
                    <a:pt x="180" y="256"/>
                  </a:lnTo>
                  <a:lnTo>
                    <a:pt x="181" y="258"/>
                  </a:lnTo>
                  <a:lnTo>
                    <a:pt x="180" y="258"/>
                  </a:lnTo>
                  <a:lnTo>
                    <a:pt x="179" y="259"/>
                  </a:lnTo>
                  <a:lnTo>
                    <a:pt x="177" y="259"/>
                  </a:lnTo>
                  <a:lnTo>
                    <a:pt x="176" y="259"/>
                  </a:lnTo>
                  <a:lnTo>
                    <a:pt x="177" y="260"/>
                  </a:lnTo>
                  <a:lnTo>
                    <a:pt x="179" y="260"/>
                  </a:lnTo>
                  <a:lnTo>
                    <a:pt x="180" y="260"/>
                  </a:lnTo>
                  <a:lnTo>
                    <a:pt x="179" y="261"/>
                  </a:lnTo>
                  <a:lnTo>
                    <a:pt x="177" y="260"/>
                  </a:lnTo>
                  <a:lnTo>
                    <a:pt x="176" y="260"/>
                  </a:lnTo>
                  <a:lnTo>
                    <a:pt x="175" y="260"/>
                  </a:lnTo>
                  <a:lnTo>
                    <a:pt x="174" y="260"/>
                  </a:lnTo>
                  <a:lnTo>
                    <a:pt x="173" y="260"/>
                  </a:lnTo>
                  <a:lnTo>
                    <a:pt x="174" y="261"/>
                  </a:lnTo>
                  <a:lnTo>
                    <a:pt x="175" y="261"/>
                  </a:lnTo>
                  <a:lnTo>
                    <a:pt x="176" y="261"/>
                  </a:lnTo>
                  <a:lnTo>
                    <a:pt x="176" y="262"/>
                  </a:lnTo>
                  <a:lnTo>
                    <a:pt x="177" y="262"/>
                  </a:lnTo>
                  <a:lnTo>
                    <a:pt x="179" y="262"/>
                  </a:lnTo>
                  <a:lnTo>
                    <a:pt x="179" y="264"/>
                  </a:lnTo>
                  <a:lnTo>
                    <a:pt x="179" y="265"/>
                  </a:lnTo>
                  <a:lnTo>
                    <a:pt x="179" y="266"/>
                  </a:lnTo>
                  <a:lnTo>
                    <a:pt x="180" y="266"/>
                  </a:lnTo>
                  <a:lnTo>
                    <a:pt x="180" y="265"/>
                  </a:lnTo>
                  <a:lnTo>
                    <a:pt x="180" y="264"/>
                  </a:lnTo>
                  <a:lnTo>
                    <a:pt x="181" y="262"/>
                  </a:lnTo>
                  <a:lnTo>
                    <a:pt x="182" y="262"/>
                  </a:lnTo>
                  <a:lnTo>
                    <a:pt x="183" y="261"/>
                  </a:lnTo>
                  <a:lnTo>
                    <a:pt x="183" y="262"/>
                  </a:lnTo>
                  <a:lnTo>
                    <a:pt x="182" y="264"/>
                  </a:lnTo>
                  <a:lnTo>
                    <a:pt x="181" y="264"/>
                  </a:lnTo>
                  <a:lnTo>
                    <a:pt x="182" y="265"/>
                  </a:lnTo>
                  <a:lnTo>
                    <a:pt x="181" y="265"/>
                  </a:lnTo>
                  <a:lnTo>
                    <a:pt x="181" y="264"/>
                  </a:lnTo>
                  <a:lnTo>
                    <a:pt x="180" y="265"/>
                  </a:lnTo>
                  <a:lnTo>
                    <a:pt x="180" y="266"/>
                  </a:lnTo>
                  <a:lnTo>
                    <a:pt x="180" y="267"/>
                  </a:lnTo>
                  <a:lnTo>
                    <a:pt x="180" y="268"/>
                  </a:lnTo>
                  <a:lnTo>
                    <a:pt x="179" y="270"/>
                  </a:lnTo>
                  <a:lnTo>
                    <a:pt x="176" y="271"/>
                  </a:lnTo>
                  <a:lnTo>
                    <a:pt x="175" y="272"/>
                  </a:lnTo>
                  <a:lnTo>
                    <a:pt x="175" y="274"/>
                  </a:lnTo>
                  <a:lnTo>
                    <a:pt x="175" y="276"/>
                  </a:lnTo>
                  <a:lnTo>
                    <a:pt x="174" y="276"/>
                  </a:lnTo>
                  <a:lnTo>
                    <a:pt x="174" y="278"/>
                  </a:lnTo>
                  <a:lnTo>
                    <a:pt x="173" y="279"/>
                  </a:lnTo>
                  <a:lnTo>
                    <a:pt x="171" y="279"/>
                  </a:lnTo>
                  <a:lnTo>
                    <a:pt x="170" y="279"/>
                  </a:lnTo>
                  <a:lnTo>
                    <a:pt x="170" y="280"/>
                  </a:lnTo>
                  <a:lnTo>
                    <a:pt x="170" y="282"/>
                  </a:lnTo>
                  <a:lnTo>
                    <a:pt x="170" y="283"/>
                  </a:lnTo>
                  <a:lnTo>
                    <a:pt x="170" y="284"/>
                  </a:lnTo>
                  <a:lnTo>
                    <a:pt x="169" y="285"/>
                  </a:lnTo>
                  <a:lnTo>
                    <a:pt x="168" y="287"/>
                  </a:lnTo>
                  <a:lnTo>
                    <a:pt x="169" y="287"/>
                  </a:lnTo>
                  <a:lnTo>
                    <a:pt x="169" y="285"/>
                  </a:lnTo>
                  <a:lnTo>
                    <a:pt x="169" y="288"/>
                  </a:lnTo>
                  <a:lnTo>
                    <a:pt x="169" y="289"/>
                  </a:lnTo>
                  <a:lnTo>
                    <a:pt x="169" y="290"/>
                  </a:lnTo>
                  <a:lnTo>
                    <a:pt x="169" y="291"/>
                  </a:lnTo>
                  <a:lnTo>
                    <a:pt x="169" y="293"/>
                  </a:lnTo>
                  <a:lnTo>
                    <a:pt x="170" y="290"/>
                  </a:lnTo>
                  <a:lnTo>
                    <a:pt x="170" y="289"/>
                  </a:lnTo>
                  <a:lnTo>
                    <a:pt x="170" y="287"/>
                  </a:lnTo>
                  <a:lnTo>
                    <a:pt x="171" y="287"/>
                  </a:lnTo>
                  <a:lnTo>
                    <a:pt x="171" y="285"/>
                  </a:lnTo>
                  <a:lnTo>
                    <a:pt x="171" y="284"/>
                  </a:lnTo>
                  <a:lnTo>
                    <a:pt x="173" y="282"/>
                  </a:lnTo>
                  <a:lnTo>
                    <a:pt x="173" y="283"/>
                  </a:lnTo>
                  <a:lnTo>
                    <a:pt x="173" y="284"/>
                  </a:lnTo>
                  <a:lnTo>
                    <a:pt x="173" y="285"/>
                  </a:lnTo>
                  <a:lnTo>
                    <a:pt x="174" y="287"/>
                  </a:lnTo>
                  <a:lnTo>
                    <a:pt x="174" y="285"/>
                  </a:lnTo>
                  <a:lnTo>
                    <a:pt x="175" y="285"/>
                  </a:lnTo>
                  <a:lnTo>
                    <a:pt x="176" y="284"/>
                  </a:lnTo>
                  <a:lnTo>
                    <a:pt x="175" y="284"/>
                  </a:lnTo>
                  <a:lnTo>
                    <a:pt x="175" y="283"/>
                  </a:lnTo>
                  <a:lnTo>
                    <a:pt x="175" y="282"/>
                  </a:lnTo>
                  <a:lnTo>
                    <a:pt x="175" y="280"/>
                  </a:lnTo>
                  <a:lnTo>
                    <a:pt x="175" y="279"/>
                  </a:lnTo>
                  <a:lnTo>
                    <a:pt x="175" y="278"/>
                  </a:lnTo>
                  <a:lnTo>
                    <a:pt x="175" y="277"/>
                  </a:lnTo>
                  <a:lnTo>
                    <a:pt x="176" y="276"/>
                  </a:lnTo>
                  <a:lnTo>
                    <a:pt x="176" y="274"/>
                  </a:lnTo>
                  <a:lnTo>
                    <a:pt x="177" y="273"/>
                  </a:lnTo>
                  <a:lnTo>
                    <a:pt x="179" y="273"/>
                  </a:lnTo>
                  <a:lnTo>
                    <a:pt x="179" y="272"/>
                  </a:lnTo>
                  <a:lnTo>
                    <a:pt x="179" y="273"/>
                  </a:lnTo>
                  <a:lnTo>
                    <a:pt x="177" y="274"/>
                  </a:lnTo>
                  <a:lnTo>
                    <a:pt x="177" y="276"/>
                  </a:lnTo>
                  <a:lnTo>
                    <a:pt x="177" y="277"/>
                  </a:lnTo>
                  <a:lnTo>
                    <a:pt x="176" y="277"/>
                  </a:lnTo>
                  <a:lnTo>
                    <a:pt x="175" y="279"/>
                  </a:lnTo>
                  <a:lnTo>
                    <a:pt x="175" y="282"/>
                  </a:lnTo>
                  <a:lnTo>
                    <a:pt x="175" y="283"/>
                  </a:lnTo>
                  <a:lnTo>
                    <a:pt x="176" y="283"/>
                  </a:lnTo>
                  <a:lnTo>
                    <a:pt x="176" y="280"/>
                  </a:lnTo>
                  <a:lnTo>
                    <a:pt x="177" y="283"/>
                  </a:lnTo>
                  <a:lnTo>
                    <a:pt x="177" y="282"/>
                  </a:lnTo>
                  <a:lnTo>
                    <a:pt x="179" y="280"/>
                  </a:lnTo>
                  <a:lnTo>
                    <a:pt x="177" y="279"/>
                  </a:lnTo>
                  <a:lnTo>
                    <a:pt x="176" y="279"/>
                  </a:lnTo>
                  <a:lnTo>
                    <a:pt x="176" y="278"/>
                  </a:lnTo>
                  <a:lnTo>
                    <a:pt x="176" y="277"/>
                  </a:lnTo>
                  <a:lnTo>
                    <a:pt x="177" y="277"/>
                  </a:lnTo>
                  <a:lnTo>
                    <a:pt x="177" y="276"/>
                  </a:lnTo>
                  <a:lnTo>
                    <a:pt x="179" y="274"/>
                  </a:lnTo>
                  <a:lnTo>
                    <a:pt x="180" y="273"/>
                  </a:lnTo>
                  <a:lnTo>
                    <a:pt x="180" y="272"/>
                  </a:lnTo>
                  <a:lnTo>
                    <a:pt x="181" y="271"/>
                  </a:lnTo>
                  <a:lnTo>
                    <a:pt x="181" y="272"/>
                  </a:lnTo>
                  <a:lnTo>
                    <a:pt x="180" y="273"/>
                  </a:lnTo>
                  <a:lnTo>
                    <a:pt x="181" y="273"/>
                  </a:lnTo>
                  <a:lnTo>
                    <a:pt x="181" y="274"/>
                  </a:lnTo>
                  <a:lnTo>
                    <a:pt x="180" y="276"/>
                  </a:lnTo>
                  <a:lnTo>
                    <a:pt x="180" y="277"/>
                  </a:lnTo>
                  <a:lnTo>
                    <a:pt x="180" y="279"/>
                  </a:lnTo>
                  <a:lnTo>
                    <a:pt x="180" y="280"/>
                  </a:lnTo>
                  <a:lnTo>
                    <a:pt x="181" y="279"/>
                  </a:lnTo>
                  <a:lnTo>
                    <a:pt x="181" y="277"/>
                  </a:lnTo>
                  <a:lnTo>
                    <a:pt x="181" y="276"/>
                  </a:lnTo>
                  <a:lnTo>
                    <a:pt x="182" y="276"/>
                  </a:lnTo>
                  <a:lnTo>
                    <a:pt x="182" y="274"/>
                  </a:lnTo>
                  <a:lnTo>
                    <a:pt x="182" y="273"/>
                  </a:lnTo>
                  <a:lnTo>
                    <a:pt x="182" y="272"/>
                  </a:lnTo>
                  <a:lnTo>
                    <a:pt x="182" y="271"/>
                  </a:lnTo>
                  <a:lnTo>
                    <a:pt x="182" y="268"/>
                  </a:lnTo>
                  <a:lnTo>
                    <a:pt x="182" y="270"/>
                  </a:lnTo>
                  <a:lnTo>
                    <a:pt x="182" y="271"/>
                  </a:lnTo>
                  <a:lnTo>
                    <a:pt x="183" y="271"/>
                  </a:lnTo>
                  <a:lnTo>
                    <a:pt x="183" y="272"/>
                  </a:lnTo>
                  <a:lnTo>
                    <a:pt x="183" y="273"/>
                  </a:lnTo>
                  <a:lnTo>
                    <a:pt x="183" y="272"/>
                  </a:lnTo>
                  <a:lnTo>
                    <a:pt x="185" y="272"/>
                  </a:lnTo>
                  <a:lnTo>
                    <a:pt x="183" y="273"/>
                  </a:lnTo>
                  <a:lnTo>
                    <a:pt x="183" y="274"/>
                  </a:lnTo>
                  <a:lnTo>
                    <a:pt x="183" y="276"/>
                  </a:lnTo>
                  <a:lnTo>
                    <a:pt x="185" y="276"/>
                  </a:lnTo>
                  <a:lnTo>
                    <a:pt x="186" y="276"/>
                  </a:lnTo>
                  <a:lnTo>
                    <a:pt x="186" y="274"/>
                  </a:lnTo>
                  <a:lnTo>
                    <a:pt x="187" y="276"/>
                  </a:lnTo>
                  <a:lnTo>
                    <a:pt x="187" y="277"/>
                  </a:lnTo>
                  <a:lnTo>
                    <a:pt x="188" y="277"/>
                  </a:lnTo>
                  <a:lnTo>
                    <a:pt x="189" y="278"/>
                  </a:lnTo>
                  <a:lnTo>
                    <a:pt x="189" y="277"/>
                  </a:lnTo>
                  <a:lnTo>
                    <a:pt x="189" y="276"/>
                  </a:lnTo>
                  <a:lnTo>
                    <a:pt x="188" y="276"/>
                  </a:lnTo>
                  <a:lnTo>
                    <a:pt x="189" y="276"/>
                  </a:lnTo>
                  <a:lnTo>
                    <a:pt x="191" y="276"/>
                  </a:lnTo>
                  <a:lnTo>
                    <a:pt x="192" y="276"/>
                  </a:lnTo>
                  <a:lnTo>
                    <a:pt x="193" y="276"/>
                  </a:lnTo>
                  <a:lnTo>
                    <a:pt x="193" y="274"/>
                  </a:lnTo>
                  <a:lnTo>
                    <a:pt x="192" y="274"/>
                  </a:lnTo>
                  <a:lnTo>
                    <a:pt x="191" y="274"/>
                  </a:lnTo>
                  <a:lnTo>
                    <a:pt x="189" y="274"/>
                  </a:lnTo>
                  <a:lnTo>
                    <a:pt x="189" y="273"/>
                  </a:lnTo>
                  <a:lnTo>
                    <a:pt x="188" y="273"/>
                  </a:lnTo>
                  <a:lnTo>
                    <a:pt x="187" y="272"/>
                  </a:lnTo>
                  <a:lnTo>
                    <a:pt x="186" y="271"/>
                  </a:lnTo>
                  <a:lnTo>
                    <a:pt x="186" y="270"/>
                  </a:lnTo>
                  <a:lnTo>
                    <a:pt x="185" y="270"/>
                  </a:lnTo>
                  <a:lnTo>
                    <a:pt x="183" y="268"/>
                  </a:lnTo>
                  <a:lnTo>
                    <a:pt x="183" y="267"/>
                  </a:lnTo>
                  <a:lnTo>
                    <a:pt x="185" y="266"/>
                  </a:lnTo>
                  <a:lnTo>
                    <a:pt x="187" y="266"/>
                  </a:lnTo>
                  <a:lnTo>
                    <a:pt x="187" y="265"/>
                  </a:lnTo>
                  <a:lnTo>
                    <a:pt x="188" y="264"/>
                  </a:lnTo>
                  <a:lnTo>
                    <a:pt x="189" y="262"/>
                  </a:lnTo>
                  <a:lnTo>
                    <a:pt x="192" y="261"/>
                  </a:lnTo>
                  <a:lnTo>
                    <a:pt x="193" y="264"/>
                  </a:lnTo>
                  <a:lnTo>
                    <a:pt x="193" y="265"/>
                  </a:lnTo>
                  <a:lnTo>
                    <a:pt x="193" y="267"/>
                  </a:lnTo>
                  <a:lnTo>
                    <a:pt x="191" y="268"/>
                  </a:lnTo>
                  <a:lnTo>
                    <a:pt x="191" y="270"/>
                  </a:lnTo>
                  <a:lnTo>
                    <a:pt x="188" y="271"/>
                  </a:lnTo>
                  <a:lnTo>
                    <a:pt x="187" y="271"/>
                  </a:lnTo>
                  <a:lnTo>
                    <a:pt x="188" y="271"/>
                  </a:lnTo>
                  <a:lnTo>
                    <a:pt x="191" y="270"/>
                  </a:lnTo>
                  <a:lnTo>
                    <a:pt x="192" y="268"/>
                  </a:lnTo>
                  <a:lnTo>
                    <a:pt x="193" y="268"/>
                  </a:lnTo>
                  <a:lnTo>
                    <a:pt x="193" y="267"/>
                  </a:lnTo>
                  <a:lnTo>
                    <a:pt x="193" y="270"/>
                  </a:lnTo>
                  <a:lnTo>
                    <a:pt x="193" y="271"/>
                  </a:lnTo>
                  <a:lnTo>
                    <a:pt x="193" y="273"/>
                  </a:lnTo>
                  <a:lnTo>
                    <a:pt x="193" y="271"/>
                  </a:lnTo>
                  <a:lnTo>
                    <a:pt x="193" y="270"/>
                  </a:lnTo>
                  <a:lnTo>
                    <a:pt x="194" y="268"/>
                  </a:lnTo>
                  <a:lnTo>
                    <a:pt x="194" y="267"/>
                  </a:lnTo>
                  <a:lnTo>
                    <a:pt x="195" y="267"/>
                  </a:lnTo>
                  <a:lnTo>
                    <a:pt x="195" y="266"/>
                  </a:lnTo>
                  <a:lnTo>
                    <a:pt x="195" y="265"/>
                  </a:lnTo>
                  <a:lnTo>
                    <a:pt x="194" y="264"/>
                  </a:lnTo>
                  <a:lnTo>
                    <a:pt x="195" y="264"/>
                  </a:lnTo>
                  <a:lnTo>
                    <a:pt x="197" y="266"/>
                  </a:lnTo>
                  <a:lnTo>
                    <a:pt x="198" y="266"/>
                  </a:lnTo>
                  <a:lnTo>
                    <a:pt x="198" y="267"/>
                  </a:lnTo>
                  <a:lnTo>
                    <a:pt x="198" y="270"/>
                  </a:lnTo>
                  <a:lnTo>
                    <a:pt x="197" y="272"/>
                  </a:lnTo>
                  <a:lnTo>
                    <a:pt x="194" y="276"/>
                  </a:lnTo>
                  <a:lnTo>
                    <a:pt x="192" y="278"/>
                  </a:lnTo>
                  <a:lnTo>
                    <a:pt x="191" y="280"/>
                  </a:lnTo>
                  <a:lnTo>
                    <a:pt x="189" y="280"/>
                  </a:lnTo>
                  <a:lnTo>
                    <a:pt x="189" y="282"/>
                  </a:lnTo>
                  <a:lnTo>
                    <a:pt x="188" y="282"/>
                  </a:lnTo>
                  <a:lnTo>
                    <a:pt x="187" y="282"/>
                  </a:lnTo>
                  <a:lnTo>
                    <a:pt x="186" y="282"/>
                  </a:lnTo>
                  <a:lnTo>
                    <a:pt x="185" y="282"/>
                  </a:lnTo>
                  <a:lnTo>
                    <a:pt x="183" y="280"/>
                  </a:lnTo>
                  <a:lnTo>
                    <a:pt x="183" y="279"/>
                  </a:lnTo>
                  <a:lnTo>
                    <a:pt x="182" y="278"/>
                  </a:lnTo>
                  <a:lnTo>
                    <a:pt x="182" y="277"/>
                  </a:lnTo>
                  <a:lnTo>
                    <a:pt x="182" y="278"/>
                  </a:lnTo>
                  <a:lnTo>
                    <a:pt x="182" y="279"/>
                  </a:lnTo>
                  <a:lnTo>
                    <a:pt x="182" y="280"/>
                  </a:lnTo>
                  <a:lnTo>
                    <a:pt x="183" y="280"/>
                  </a:lnTo>
                  <a:lnTo>
                    <a:pt x="185" y="282"/>
                  </a:lnTo>
                  <a:lnTo>
                    <a:pt x="185" y="283"/>
                  </a:lnTo>
                  <a:lnTo>
                    <a:pt x="186" y="283"/>
                  </a:lnTo>
                  <a:lnTo>
                    <a:pt x="187" y="284"/>
                  </a:lnTo>
                  <a:lnTo>
                    <a:pt x="187" y="285"/>
                  </a:lnTo>
                  <a:lnTo>
                    <a:pt x="186" y="284"/>
                  </a:lnTo>
                  <a:lnTo>
                    <a:pt x="185" y="283"/>
                  </a:lnTo>
                  <a:lnTo>
                    <a:pt x="183" y="283"/>
                  </a:lnTo>
                  <a:lnTo>
                    <a:pt x="182" y="283"/>
                  </a:lnTo>
                  <a:lnTo>
                    <a:pt x="183" y="284"/>
                  </a:lnTo>
                  <a:lnTo>
                    <a:pt x="183" y="285"/>
                  </a:lnTo>
                  <a:lnTo>
                    <a:pt x="182" y="284"/>
                  </a:lnTo>
                  <a:lnTo>
                    <a:pt x="181" y="284"/>
                  </a:lnTo>
                  <a:lnTo>
                    <a:pt x="182" y="285"/>
                  </a:lnTo>
                  <a:lnTo>
                    <a:pt x="182" y="287"/>
                  </a:lnTo>
                  <a:lnTo>
                    <a:pt x="182" y="288"/>
                  </a:lnTo>
                  <a:lnTo>
                    <a:pt x="181" y="288"/>
                  </a:lnTo>
                  <a:lnTo>
                    <a:pt x="180" y="288"/>
                  </a:lnTo>
                  <a:lnTo>
                    <a:pt x="180" y="289"/>
                  </a:lnTo>
                  <a:lnTo>
                    <a:pt x="177" y="290"/>
                  </a:lnTo>
                  <a:lnTo>
                    <a:pt x="176" y="291"/>
                  </a:lnTo>
                  <a:lnTo>
                    <a:pt x="175" y="293"/>
                  </a:lnTo>
                  <a:lnTo>
                    <a:pt x="174" y="294"/>
                  </a:lnTo>
                  <a:lnTo>
                    <a:pt x="174" y="295"/>
                  </a:lnTo>
                  <a:lnTo>
                    <a:pt x="174" y="297"/>
                  </a:lnTo>
                  <a:lnTo>
                    <a:pt x="175" y="296"/>
                  </a:lnTo>
                  <a:lnTo>
                    <a:pt x="175" y="295"/>
                  </a:lnTo>
                  <a:lnTo>
                    <a:pt x="176" y="294"/>
                  </a:lnTo>
                  <a:lnTo>
                    <a:pt x="176" y="293"/>
                  </a:lnTo>
                  <a:lnTo>
                    <a:pt x="177" y="291"/>
                  </a:lnTo>
                  <a:lnTo>
                    <a:pt x="179" y="291"/>
                  </a:lnTo>
                  <a:lnTo>
                    <a:pt x="180" y="290"/>
                  </a:lnTo>
                  <a:lnTo>
                    <a:pt x="181" y="289"/>
                  </a:lnTo>
                  <a:lnTo>
                    <a:pt x="182" y="288"/>
                  </a:lnTo>
                  <a:lnTo>
                    <a:pt x="183" y="287"/>
                  </a:lnTo>
                  <a:lnTo>
                    <a:pt x="183" y="288"/>
                  </a:lnTo>
                  <a:lnTo>
                    <a:pt x="185" y="288"/>
                  </a:lnTo>
                  <a:lnTo>
                    <a:pt x="183" y="290"/>
                  </a:lnTo>
                  <a:lnTo>
                    <a:pt x="183" y="291"/>
                  </a:lnTo>
                  <a:lnTo>
                    <a:pt x="185" y="290"/>
                  </a:lnTo>
                  <a:lnTo>
                    <a:pt x="185" y="289"/>
                  </a:lnTo>
                  <a:lnTo>
                    <a:pt x="186" y="289"/>
                  </a:lnTo>
                  <a:lnTo>
                    <a:pt x="187" y="288"/>
                  </a:lnTo>
                  <a:lnTo>
                    <a:pt x="187" y="287"/>
                  </a:lnTo>
                  <a:lnTo>
                    <a:pt x="188" y="287"/>
                  </a:lnTo>
                  <a:lnTo>
                    <a:pt x="189" y="287"/>
                  </a:lnTo>
                  <a:lnTo>
                    <a:pt x="189" y="288"/>
                  </a:lnTo>
                  <a:lnTo>
                    <a:pt x="189" y="289"/>
                  </a:lnTo>
                  <a:lnTo>
                    <a:pt x="188" y="289"/>
                  </a:lnTo>
                  <a:lnTo>
                    <a:pt x="187" y="289"/>
                  </a:lnTo>
                  <a:lnTo>
                    <a:pt x="186" y="290"/>
                  </a:lnTo>
                  <a:lnTo>
                    <a:pt x="185" y="290"/>
                  </a:lnTo>
                  <a:lnTo>
                    <a:pt x="185" y="291"/>
                  </a:lnTo>
                  <a:lnTo>
                    <a:pt x="183" y="293"/>
                  </a:lnTo>
                  <a:lnTo>
                    <a:pt x="183" y="294"/>
                  </a:lnTo>
                  <a:lnTo>
                    <a:pt x="182" y="293"/>
                  </a:lnTo>
                  <a:lnTo>
                    <a:pt x="182" y="294"/>
                  </a:lnTo>
                  <a:lnTo>
                    <a:pt x="183" y="295"/>
                  </a:lnTo>
                  <a:lnTo>
                    <a:pt x="185" y="295"/>
                  </a:lnTo>
                  <a:lnTo>
                    <a:pt x="186" y="294"/>
                  </a:lnTo>
                  <a:lnTo>
                    <a:pt x="187" y="293"/>
                  </a:lnTo>
                  <a:lnTo>
                    <a:pt x="188" y="291"/>
                  </a:lnTo>
                  <a:lnTo>
                    <a:pt x="189" y="291"/>
                  </a:lnTo>
                  <a:lnTo>
                    <a:pt x="188" y="294"/>
                  </a:lnTo>
                  <a:lnTo>
                    <a:pt x="187" y="294"/>
                  </a:lnTo>
                  <a:lnTo>
                    <a:pt x="186" y="295"/>
                  </a:lnTo>
                  <a:lnTo>
                    <a:pt x="183" y="296"/>
                  </a:lnTo>
                  <a:lnTo>
                    <a:pt x="185" y="296"/>
                  </a:lnTo>
                  <a:lnTo>
                    <a:pt x="186" y="297"/>
                  </a:lnTo>
                  <a:lnTo>
                    <a:pt x="187" y="299"/>
                  </a:lnTo>
                  <a:lnTo>
                    <a:pt x="188" y="300"/>
                  </a:lnTo>
                  <a:lnTo>
                    <a:pt x="189" y="301"/>
                  </a:lnTo>
                  <a:lnTo>
                    <a:pt x="189" y="302"/>
                  </a:lnTo>
                  <a:lnTo>
                    <a:pt x="188" y="302"/>
                  </a:lnTo>
                  <a:lnTo>
                    <a:pt x="188" y="301"/>
                  </a:lnTo>
                  <a:lnTo>
                    <a:pt x="187" y="300"/>
                  </a:lnTo>
                  <a:lnTo>
                    <a:pt x="186" y="300"/>
                  </a:lnTo>
                  <a:lnTo>
                    <a:pt x="187" y="301"/>
                  </a:lnTo>
                  <a:lnTo>
                    <a:pt x="186" y="302"/>
                  </a:lnTo>
                  <a:lnTo>
                    <a:pt x="185" y="302"/>
                  </a:lnTo>
                  <a:lnTo>
                    <a:pt x="185" y="303"/>
                  </a:lnTo>
                  <a:lnTo>
                    <a:pt x="185" y="305"/>
                  </a:lnTo>
                  <a:lnTo>
                    <a:pt x="186" y="305"/>
                  </a:lnTo>
                  <a:lnTo>
                    <a:pt x="186" y="306"/>
                  </a:lnTo>
                  <a:lnTo>
                    <a:pt x="187" y="306"/>
                  </a:lnTo>
                  <a:lnTo>
                    <a:pt x="188" y="306"/>
                  </a:lnTo>
                  <a:lnTo>
                    <a:pt x="189" y="305"/>
                  </a:lnTo>
                  <a:lnTo>
                    <a:pt x="191" y="305"/>
                  </a:lnTo>
                  <a:lnTo>
                    <a:pt x="191" y="303"/>
                  </a:lnTo>
                  <a:lnTo>
                    <a:pt x="191" y="302"/>
                  </a:lnTo>
                  <a:lnTo>
                    <a:pt x="192" y="302"/>
                  </a:lnTo>
                  <a:lnTo>
                    <a:pt x="192" y="301"/>
                  </a:lnTo>
                  <a:lnTo>
                    <a:pt x="193" y="300"/>
                  </a:lnTo>
                  <a:lnTo>
                    <a:pt x="194" y="300"/>
                  </a:lnTo>
                  <a:lnTo>
                    <a:pt x="195" y="300"/>
                  </a:lnTo>
                  <a:lnTo>
                    <a:pt x="197" y="299"/>
                  </a:lnTo>
                  <a:lnTo>
                    <a:pt x="198" y="299"/>
                  </a:lnTo>
                  <a:lnTo>
                    <a:pt x="198" y="300"/>
                  </a:lnTo>
                  <a:lnTo>
                    <a:pt x="197" y="300"/>
                  </a:lnTo>
                  <a:lnTo>
                    <a:pt x="197" y="301"/>
                  </a:lnTo>
                  <a:lnTo>
                    <a:pt x="197" y="302"/>
                  </a:lnTo>
                  <a:lnTo>
                    <a:pt x="195" y="301"/>
                  </a:lnTo>
                  <a:lnTo>
                    <a:pt x="194" y="301"/>
                  </a:lnTo>
                  <a:lnTo>
                    <a:pt x="193" y="302"/>
                  </a:lnTo>
                  <a:lnTo>
                    <a:pt x="193" y="303"/>
                  </a:lnTo>
                  <a:lnTo>
                    <a:pt x="194" y="305"/>
                  </a:lnTo>
                  <a:lnTo>
                    <a:pt x="195" y="305"/>
                  </a:lnTo>
                  <a:lnTo>
                    <a:pt x="197" y="303"/>
                  </a:lnTo>
                  <a:lnTo>
                    <a:pt x="198" y="303"/>
                  </a:lnTo>
                  <a:lnTo>
                    <a:pt x="197" y="305"/>
                  </a:lnTo>
                  <a:lnTo>
                    <a:pt x="195" y="305"/>
                  </a:lnTo>
                  <a:lnTo>
                    <a:pt x="195" y="306"/>
                  </a:lnTo>
                  <a:lnTo>
                    <a:pt x="195" y="307"/>
                  </a:lnTo>
                  <a:lnTo>
                    <a:pt x="195" y="308"/>
                  </a:lnTo>
                  <a:lnTo>
                    <a:pt x="194" y="308"/>
                  </a:lnTo>
                  <a:lnTo>
                    <a:pt x="193" y="308"/>
                  </a:lnTo>
                  <a:lnTo>
                    <a:pt x="193" y="306"/>
                  </a:lnTo>
                  <a:lnTo>
                    <a:pt x="192" y="306"/>
                  </a:lnTo>
                  <a:lnTo>
                    <a:pt x="192" y="307"/>
                  </a:lnTo>
                  <a:lnTo>
                    <a:pt x="192" y="308"/>
                  </a:lnTo>
                  <a:lnTo>
                    <a:pt x="191" y="309"/>
                  </a:lnTo>
                  <a:lnTo>
                    <a:pt x="191" y="311"/>
                  </a:lnTo>
                  <a:lnTo>
                    <a:pt x="192" y="312"/>
                  </a:lnTo>
                  <a:lnTo>
                    <a:pt x="192" y="313"/>
                  </a:lnTo>
                  <a:lnTo>
                    <a:pt x="192" y="312"/>
                  </a:lnTo>
                  <a:lnTo>
                    <a:pt x="193" y="311"/>
                  </a:lnTo>
                  <a:lnTo>
                    <a:pt x="194" y="311"/>
                  </a:lnTo>
                  <a:lnTo>
                    <a:pt x="195" y="309"/>
                  </a:lnTo>
                  <a:lnTo>
                    <a:pt x="197" y="309"/>
                  </a:lnTo>
                  <a:lnTo>
                    <a:pt x="197" y="311"/>
                  </a:lnTo>
                  <a:lnTo>
                    <a:pt x="198" y="311"/>
                  </a:lnTo>
                  <a:lnTo>
                    <a:pt x="198" y="309"/>
                  </a:lnTo>
                  <a:lnTo>
                    <a:pt x="197" y="308"/>
                  </a:lnTo>
                  <a:lnTo>
                    <a:pt x="198" y="308"/>
                  </a:lnTo>
                  <a:lnTo>
                    <a:pt x="198" y="307"/>
                  </a:lnTo>
                  <a:lnTo>
                    <a:pt x="199" y="308"/>
                  </a:lnTo>
                  <a:lnTo>
                    <a:pt x="199" y="311"/>
                  </a:lnTo>
                  <a:lnTo>
                    <a:pt x="200" y="311"/>
                  </a:lnTo>
                  <a:lnTo>
                    <a:pt x="200" y="309"/>
                  </a:lnTo>
                  <a:lnTo>
                    <a:pt x="199" y="307"/>
                  </a:lnTo>
                  <a:lnTo>
                    <a:pt x="200" y="307"/>
                  </a:lnTo>
                  <a:lnTo>
                    <a:pt x="201" y="307"/>
                  </a:lnTo>
                  <a:lnTo>
                    <a:pt x="203" y="307"/>
                  </a:lnTo>
                  <a:lnTo>
                    <a:pt x="204" y="307"/>
                  </a:lnTo>
                  <a:lnTo>
                    <a:pt x="205" y="308"/>
                  </a:lnTo>
                  <a:lnTo>
                    <a:pt x="205" y="309"/>
                  </a:lnTo>
                  <a:lnTo>
                    <a:pt x="204" y="311"/>
                  </a:lnTo>
                  <a:lnTo>
                    <a:pt x="203" y="311"/>
                  </a:lnTo>
                  <a:lnTo>
                    <a:pt x="201" y="311"/>
                  </a:lnTo>
                  <a:lnTo>
                    <a:pt x="201" y="312"/>
                  </a:lnTo>
                  <a:lnTo>
                    <a:pt x="203" y="312"/>
                  </a:lnTo>
                  <a:lnTo>
                    <a:pt x="204" y="312"/>
                  </a:lnTo>
                  <a:lnTo>
                    <a:pt x="205" y="312"/>
                  </a:lnTo>
                  <a:lnTo>
                    <a:pt x="205" y="313"/>
                  </a:lnTo>
                  <a:lnTo>
                    <a:pt x="205" y="314"/>
                  </a:lnTo>
                  <a:lnTo>
                    <a:pt x="204" y="314"/>
                  </a:lnTo>
                  <a:lnTo>
                    <a:pt x="203" y="314"/>
                  </a:lnTo>
                  <a:lnTo>
                    <a:pt x="203" y="315"/>
                  </a:lnTo>
                  <a:lnTo>
                    <a:pt x="204" y="317"/>
                  </a:lnTo>
                  <a:lnTo>
                    <a:pt x="205" y="317"/>
                  </a:lnTo>
                  <a:lnTo>
                    <a:pt x="206" y="318"/>
                  </a:lnTo>
                  <a:lnTo>
                    <a:pt x="207" y="317"/>
                  </a:lnTo>
                  <a:lnTo>
                    <a:pt x="207" y="315"/>
                  </a:lnTo>
                  <a:lnTo>
                    <a:pt x="207" y="313"/>
                  </a:lnTo>
                  <a:lnTo>
                    <a:pt x="209" y="312"/>
                  </a:lnTo>
                  <a:lnTo>
                    <a:pt x="210" y="312"/>
                  </a:lnTo>
                  <a:lnTo>
                    <a:pt x="211" y="311"/>
                  </a:lnTo>
                  <a:lnTo>
                    <a:pt x="212" y="311"/>
                  </a:lnTo>
                  <a:lnTo>
                    <a:pt x="214" y="309"/>
                  </a:lnTo>
                  <a:lnTo>
                    <a:pt x="215" y="309"/>
                  </a:lnTo>
                  <a:lnTo>
                    <a:pt x="215" y="308"/>
                  </a:lnTo>
                  <a:lnTo>
                    <a:pt x="216" y="309"/>
                  </a:lnTo>
                  <a:lnTo>
                    <a:pt x="216" y="312"/>
                  </a:lnTo>
                  <a:lnTo>
                    <a:pt x="217" y="313"/>
                  </a:lnTo>
                  <a:lnTo>
                    <a:pt x="218" y="314"/>
                  </a:lnTo>
                  <a:lnTo>
                    <a:pt x="220" y="313"/>
                  </a:lnTo>
                  <a:lnTo>
                    <a:pt x="221" y="312"/>
                  </a:lnTo>
                  <a:lnTo>
                    <a:pt x="221" y="311"/>
                  </a:lnTo>
                  <a:lnTo>
                    <a:pt x="221" y="309"/>
                  </a:lnTo>
                  <a:lnTo>
                    <a:pt x="222" y="309"/>
                  </a:lnTo>
                  <a:lnTo>
                    <a:pt x="222" y="308"/>
                  </a:lnTo>
                  <a:lnTo>
                    <a:pt x="222" y="311"/>
                  </a:lnTo>
                  <a:lnTo>
                    <a:pt x="222" y="313"/>
                  </a:lnTo>
                  <a:lnTo>
                    <a:pt x="223" y="312"/>
                  </a:lnTo>
                  <a:lnTo>
                    <a:pt x="224" y="312"/>
                  </a:lnTo>
                  <a:lnTo>
                    <a:pt x="224" y="313"/>
                  </a:lnTo>
                  <a:lnTo>
                    <a:pt x="224" y="315"/>
                  </a:lnTo>
                  <a:lnTo>
                    <a:pt x="226" y="318"/>
                  </a:lnTo>
                  <a:lnTo>
                    <a:pt x="227" y="318"/>
                  </a:lnTo>
                  <a:lnTo>
                    <a:pt x="228" y="318"/>
                  </a:lnTo>
                  <a:lnTo>
                    <a:pt x="228" y="317"/>
                  </a:lnTo>
                  <a:lnTo>
                    <a:pt x="228" y="315"/>
                  </a:lnTo>
                  <a:lnTo>
                    <a:pt x="227" y="315"/>
                  </a:lnTo>
                  <a:lnTo>
                    <a:pt x="226" y="315"/>
                  </a:lnTo>
                  <a:lnTo>
                    <a:pt x="226" y="314"/>
                  </a:lnTo>
                  <a:lnTo>
                    <a:pt x="224" y="313"/>
                  </a:lnTo>
                  <a:lnTo>
                    <a:pt x="226" y="313"/>
                  </a:lnTo>
                  <a:lnTo>
                    <a:pt x="227" y="313"/>
                  </a:lnTo>
                  <a:lnTo>
                    <a:pt x="228" y="314"/>
                  </a:lnTo>
                  <a:lnTo>
                    <a:pt x="229" y="314"/>
                  </a:lnTo>
                  <a:lnTo>
                    <a:pt x="230" y="314"/>
                  </a:lnTo>
                  <a:lnTo>
                    <a:pt x="232" y="314"/>
                  </a:lnTo>
                  <a:lnTo>
                    <a:pt x="232" y="313"/>
                  </a:lnTo>
                  <a:lnTo>
                    <a:pt x="233" y="313"/>
                  </a:lnTo>
                  <a:lnTo>
                    <a:pt x="233" y="312"/>
                  </a:lnTo>
                  <a:lnTo>
                    <a:pt x="232" y="311"/>
                  </a:lnTo>
                  <a:lnTo>
                    <a:pt x="233" y="311"/>
                  </a:lnTo>
                  <a:lnTo>
                    <a:pt x="235" y="311"/>
                  </a:lnTo>
                  <a:lnTo>
                    <a:pt x="236" y="311"/>
                  </a:lnTo>
                  <a:lnTo>
                    <a:pt x="236" y="309"/>
                  </a:lnTo>
                  <a:lnTo>
                    <a:pt x="238" y="308"/>
                  </a:lnTo>
                  <a:lnTo>
                    <a:pt x="239" y="308"/>
                  </a:lnTo>
                  <a:lnTo>
                    <a:pt x="240" y="307"/>
                  </a:lnTo>
                  <a:lnTo>
                    <a:pt x="240" y="306"/>
                  </a:lnTo>
                  <a:lnTo>
                    <a:pt x="241" y="305"/>
                  </a:lnTo>
                  <a:lnTo>
                    <a:pt x="242" y="306"/>
                  </a:lnTo>
                  <a:lnTo>
                    <a:pt x="244" y="305"/>
                  </a:lnTo>
                  <a:lnTo>
                    <a:pt x="245" y="303"/>
                  </a:lnTo>
                  <a:lnTo>
                    <a:pt x="245" y="306"/>
                  </a:lnTo>
                  <a:lnTo>
                    <a:pt x="244" y="307"/>
                  </a:lnTo>
                  <a:lnTo>
                    <a:pt x="245" y="308"/>
                  </a:lnTo>
                  <a:lnTo>
                    <a:pt x="246" y="309"/>
                  </a:lnTo>
                  <a:lnTo>
                    <a:pt x="247" y="309"/>
                  </a:lnTo>
                  <a:lnTo>
                    <a:pt x="248" y="308"/>
                  </a:lnTo>
                  <a:lnTo>
                    <a:pt x="247" y="309"/>
                  </a:lnTo>
                  <a:lnTo>
                    <a:pt x="247" y="311"/>
                  </a:lnTo>
                  <a:lnTo>
                    <a:pt x="247" y="312"/>
                  </a:lnTo>
                  <a:lnTo>
                    <a:pt x="248" y="312"/>
                  </a:lnTo>
                  <a:lnTo>
                    <a:pt x="250" y="312"/>
                  </a:lnTo>
                  <a:lnTo>
                    <a:pt x="250" y="311"/>
                  </a:lnTo>
                  <a:lnTo>
                    <a:pt x="251" y="311"/>
                  </a:lnTo>
                  <a:lnTo>
                    <a:pt x="252" y="311"/>
                  </a:lnTo>
                  <a:lnTo>
                    <a:pt x="253" y="309"/>
                  </a:lnTo>
                  <a:lnTo>
                    <a:pt x="254" y="308"/>
                  </a:lnTo>
                  <a:lnTo>
                    <a:pt x="256" y="307"/>
                  </a:lnTo>
                  <a:lnTo>
                    <a:pt x="257" y="306"/>
                  </a:lnTo>
                  <a:lnTo>
                    <a:pt x="256" y="306"/>
                  </a:lnTo>
                  <a:lnTo>
                    <a:pt x="257" y="305"/>
                  </a:lnTo>
                  <a:lnTo>
                    <a:pt x="258" y="305"/>
                  </a:lnTo>
                  <a:lnTo>
                    <a:pt x="259" y="305"/>
                  </a:lnTo>
                  <a:lnTo>
                    <a:pt x="259" y="303"/>
                  </a:lnTo>
                  <a:lnTo>
                    <a:pt x="259" y="302"/>
                  </a:lnTo>
                  <a:lnTo>
                    <a:pt x="259" y="301"/>
                  </a:lnTo>
                  <a:lnTo>
                    <a:pt x="259" y="300"/>
                  </a:lnTo>
                  <a:lnTo>
                    <a:pt x="259" y="299"/>
                  </a:lnTo>
                  <a:lnTo>
                    <a:pt x="260" y="299"/>
                  </a:lnTo>
                  <a:lnTo>
                    <a:pt x="262" y="297"/>
                  </a:lnTo>
                  <a:lnTo>
                    <a:pt x="262" y="296"/>
                  </a:lnTo>
                  <a:lnTo>
                    <a:pt x="260" y="296"/>
                  </a:lnTo>
                  <a:lnTo>
                    <a:pt x="260" y="295"/>
                  </a:lnTo>
                  <a:lnTo>
                    <a:pt x="259" y="295"/>
                  </a:lnTo>
                  <a:lnTo>
                    <a:pt x="258" y="296"/>
                  </a:lnTo>
                  <a:lnTo>
                    <a:pt x="257" y="297"/>
                  </a:lnTo>
                  <a:lnTo>
                    <a:pt x="257" y="296"/>
                  </a:lnTo>
                  <a:lnTo>
                    <a:pt x="257" y="295"/>
                  </a:lnTo>
                  <a:lnTo>
                    <a:pt x="256" y="295"/>
                  </a:lnTo>
                  <a:lnTo>
                    <a:pt x="256" y="294"/>
                  </a:lnTo>
                  <a:lnTo>
                    <a:pt x="254" y="295"/>
                  </a:lnTo>
                  <a:lnTo>
                    <a:pt x="254" y="296"/>
                  </a:lnTo>
                  <a:lnTo>
                    <a:pt x="253" y="299"/>
                  </a:lnTo>
                  <a:lnTo>
                    <a:pt x="253" y="297"/>
                  </a:lnTo>
                  <a:lnTo>
                    <a:pt x="252" y="296"/>
                  </a:lnTo>
                  <a:lnTo>
                    <a:pt x="252" y="297"/>
                  </a:lnTo>
                  <a:lnTo>
                    <a:pt x="251" y="297"/>
                  </a:lnTo>
                  <a:lnTo>
                    <a:pt x="251" y="299"/>
                  </a:lnTo>
                  <a:lnTo>
                    <a:pt x="250" y="299"/>
                  </a:lnTo>
                  <a:lnTo>
                    <a:pt x="251" y="297"/>
                  </a:lnTo>
                  <a:lnTo>
                    <a:pt x="251" y="296"/>
                  </a:lnTo>
                  <a:lnTo>
                    <a:pt x="250" y="296"/>
                  </a:lnTo>
                  <a:lnTo>
                    <a:pt x="250" y="295"/>
                  </a:lnTo>
                  <a:lnTo>
                    <a:pt x="248" y="295"/>
                  </a:lnTo>
                  <a:lnTo>
                    <a:pt x="248" y="296"/>
                  </a:lnTo>
                  <a:lnTo>
                    <a:pt x="247" y="297"/>
                  </a:lnTo>
                  <a:lnTo>
                    <a:pt x="245" y="297"/>
                  </a:lnTo>
                  <a:lnTo>
                    <a:pt x="246" y="296"/>
                  </a:lnTo>
                  <a:lnTo>
                    <a:pt x="247" y="295"/>
                  </a:lnTo>
                  <a:lnTo>
                    <a:pt x="246" y="294"/>
                  </a:lnTo>
                  <a:lnTo>
                    <a:pt x="246" y="293"/>
                  </a:lnTo>
                  <a:lnTo>
                    <a:pt x="245" y="293"/>
                  </a:lnTo>
                  <a:lnTo>
                    <a:pt x="245" y="291"/>
                  </a:lnTo>
                  <a:lnTo>
                    <a:pt x="244" y="290"/>
                  </a:lnTo>
                  <a:lnTo>
                    <a:pt x="244" y="291"/>
                  </a:lnTo>
                  <a:lnTo>
                    <a:pt x="244" y="290"/>
                  </a:lnTo>
                  <a:lnTo>
                    <a:pt x="242" y="289"/>
                  </a:lnTo>
                  <a:lnTo>
                    <a:pt x="241" y="288"/>
                  </a:lnTo>
                  <a:lnTo>
                    <a:pt x="240" y="288"/>
                  </a:lnTo>
                  <a:lnTo>
                    <a:pt x="238" y="288"/>
                  </a:lnTo>
                  <a:lnTo>
                    <a:pt x="236" y="287"/>
                  </a:lnTo>
                  <a:lnTo>
                    <a:pt x="236" y="285"/>
                  </a:lnTo>
                  <a:lnTo>
                    <a:pt x="235" y="284"/>
                  </a:lnTo>
                  <a:lnTo>
                    <a:pt x="234" y="284"/>
                  </a:lnTo>
                  <a:lnTo>
                    <a:pt x="234" y="283"/>
                  </a:lnTo>
                  <a:lnTo>
                    <a:pt x="234" y="282"/>
                  </a:lnTo>
                  <a:lnTo>
                    <a:pt x="235" y="282"/>
                  </a:lnTo>
                  <a:lnTo>
                    <a:pt x="235" y="283"/>
                  </a:lnTo>
                  <a:lnTo>
                    <a:pt x="236" y="283"/>
                  </a:lnTo>
                  <a:lnTo>
                    <a:pt x="236" y="284"/>
                  </a:lnTo>
                  <a:lnTo>
                    <a:pt x="238" y="285"/>
                  </a:lnTo>
                  <a:lnTo>
                    <a:pt x="238" y="287"/>
                  </a:lnTo>
                  <a:lnTo>
                    <a:pt x="239" y="288"/>
                  </a:lnTo>
                  <a:lnTo>
                    <a:pt x="240" y="287"/>
                  </a:lnTo>
                  <a:lnTo>
                    <a:pt x="240" y="285"/>
                  </a:lnTo>
                  <a:lnTo>
                    <a:pt x="240" y="284"/>
                  </a:lnTo>
                  <a:lnTo>
                    <a:pt x="239" y="284"/>
                  </a:lnTo>
                  <a:lnTo>
                    <a:pt x="238" y="283"/>
                  </a:lnTo>
                  <a:lnTo>
                    <a:pt x="236" y="282"/>
                  </a:lnTo>
                  <a:lnTo>
                    <a:pt x="236" y="280"/>
                  </a:lnTo>
                  <a:lnTo>
                    <a:pt x="235" y="280"/>
                  </a:lnTo>
                  <a:lnTo>
                    <a:pt x="234" y="280"/>
                  </a:lnTo>
                  <a:lnTo>
                    <a:pt x="234" y="279"/>
                  </a:lnTo>
                  <a:lnTo>
                    <a:pt x="235" y="279"/>
                  </a:lnTo>
                  <a:lnTo>
                    <a:pt x="235" y="278"/>
                  </a:lnTo>
                  <a:lnTo>
                    <a:pt x="236" y="279"/>
                  </a:lnTo>
                  <a:lnTo>
                    <a:pt x="238" y="279"/>
                  </a:lnTo>
                  <a:lnTo>
                    <a:pt x="238" y="280"/>
                  </a:lnTo>
                  <a:lnTo>
                    <a:pt x="240" y="282"/>
                  </a:lnTo>
                  <a:lnTo>
                    <a:pt x="241" y="283"/>
                  </a:lnTo>
                  <a:lnTo>
                    <a:pt x="240" y="284"/>
                  </a:lnTo>
                  <a:lnTo>
                    <a:pt x="241" y="284"/>
                  </a:lnTo>
                  <a:lnTo>
                    <a:pt x="242" y="284"/>
                  </a:lnTo>
                  <a:lnTo>
                    <a:pt x="242" y="283"/>
                  </a:lnTo>
                  <a:lnTo>
                    <a:pt x="244" y="283"/>
                  </a:lnTo>
                  <a:lnTo>
                    <a:pt x="244" y="284"/>
                  </a:lnTo>
                  <a:lnTo>
                    <a:pt x="245" y="283"/>
                  </a:lnTo>
                  <a:lnTo>
                    <a:pt x="246" y="283"/>
                  </a:lnTo>
                  <a:lnTo>
                    <a:pt x="247" y="284"/>
                  </a:lnTo>
                  <a:lnTo>
                    <a:pt x="250" y="284"/>
                  </a:lnTo>
                  <a:lnTo>
                    <a:pt x="251" y="284"/>
                  </a:lnTo>
                  <a:lnTo>
                    <a:pt x="251" y="283"/>
                  </a:lnTo>
                  <a:lnTo>
                    <a:pt x="250" y="282"/>
                  </a:lnTo>
                  <a:lnTo>
                    <a:pt x="251" y="280"/>
                  </a:lnTo>
                  <a:lnTo>
                    <a:pt x="250" y="280"/>
                  </a:lnTo>
                  <a:lnTo>
                    <a:pt x="248" y="280"/>
                  </a:lnTo>
                  <a:lnTo>
                    <a:pt x="248" y="279"/>
                  </a:lnTo>
                  <a:lnTo>
                    <a:pt x="248" y="278"/>
                  </a:lnTo>
                  <a:lnTo>
                    <a:pt x="250" y="279"/>
                  </a:lnTo>
                  <a:lnTo>
                    <a:pt x="251" y="279"/>
                  </a:lnTo>
                  <a:lnTo>
                    <a:pt x="251" y="278"/>
                  </a:lnTo>
                  <a:lnTo>
                    <a:pt x="251" y="277"/>
                  </a:lnTo>
                  <a:lnTo>
                    <a:pt x="250" y="276"/>
                  </a:lnTo>
                  <a:lnTo>
                    <a:pt x="251" y="276"/>
                  </a:lnTo>
                  <a:lnTo>
                    <a:pt x="251" y="274"/>
                  </a:lnTo>
                  <a:lnTo>
                    <a:pt x="250" y="274"/>
                  </a:lnTo>
                  <a:lnTo>
                    <a:pt x="248" y="274"/>
                  </a:lnTo>
                  <a:lnTo>
                    <a:pt x="248" y="276"/>
                  </a:lnTo>
                  <a:lnTo>
                    <a:pt x="247" y="276"/>
                  </a:lnTo>
                  <a:lnTo>
                    <a:pt x="246" y="276"/>
                  </a:lnTo>
                  <a:lnTo>
                    <a:pt x="246" y="277"/>
                  </a:lnTo>
                  <a:lnTo>
                    <a:pt x="245" y="277"/>
                  </a:lnTo>
                  <a:lnTo>
                    <a:pt x="244" y="277"/>
                  </a:lnTo>
                  <a:lnTo>
                    <a:pt x="242" y="277"/>
                  </a:lnTo>
                  <a:lnTo>
                    <a:pt x="242" y="276"/>
                  </a:lnTo>
                  <a:lnTo>
                    <a:pt x="244" y="274"/>
                  </a:lnTo>
                  <a:lnTo>
                    <a:pt x="245" y="274"/>
                  </a:lnTo>
                  <a:lnTo>
                    <a:pt x="247" y="274"/>
                  </a:lnTo>
                  <a:lnTo>
                    <a:pt x="246" y="273"/>
                  </a:lnTo>
                  <a:lnTo>
                    <a:pt x="247" y="273"/>
                  </a:lnTo>
                  <a:lnTo>
                    <a:pt x="248" y="273"/>
                  </a:lnTo>
                  <a:lnTo>
                    <a:pt x="250" y="272"/>
                  </a:lnTo>
                  <a:lnTo>
                    <a:pt x="251" y="272"/>
                  </a:lnTo>
                  <a:lnTo>
                    <a:pt x="252" y="272"/>
                  </a:lnTo>
                  <a:lnTo>
                    <a:pt x="253" y="271"/>
                  </a:lnTo>
                  <a:lnTo>
                    <a:pt x="254" y="271"/>
                  </a:lnTo>
                  <a:lnTo>
                    <a:pt x="254" y="270"/>
                  </a:lnTo>
                  <a:lnTo>
                    <a:pt x="253" y="268"/>
                  </a:lnTo>
                  <a:lnTo>
                    <a:pt x="252" y="267"/>
                  </a:lnTo>
                  <a:lnTo>
                    <a:pt x="251" y="267"/>
                  </a:lnTo>
                  <a:lnTo>
                    <a:pt x="250" y="267"/>
                  </a:lnTo>
                  <a:lnTo>
                    <a:pt x="250" y="268"/>
                  </a:lnTo>
                  <a:lnTo>
                    <a:pt x="248" y="270"/>
                  </a:lnTo>
                  <a:lnTo>
                    <a:pt x="247" y="271"/>
                  </a:lnTo>
                  <a:lnTo>
                    <a:pt x="246" y="272"/>
                  </a:lnTo>
                  <a:lnTo>
                    <a:pt x="245" y="273"/>
                  </a:lnTo>
                  <a:lnTo>
                    <a:pt x="244" y="273"/>
                  </a:lnTo>
                  <a:lnTo>
                    <a:pt x="241" y="274"/>
                  </a:lnTo>
                  <a:lnTo>
                    <a:pt x="240" y="276"/>
                  </a:lnTo>
                  <a:lnTo>
                    <a:pt x="239" y="276"/>
                  </a:lnTo>
                  <a:lnTo>
                    <a:pt x="238" y="276"/>
                  </a:lnTo>
                  <a:lnTo>
                    <a:pt x="238" y="274"/>
                  </a:lnTo>
                  <a:lnTo>
                    <a:pt x="239" y="273"/>
                  </a:lnTo>
                  <a:lnTo>
                    <a:pt x="240" y="273"/>
                  </a:lnTo>
                  <a:lnTo>
                    <a:pt x="240" y="272"/>
                  </a:lnTo>
                  <a:lnTo>
                    <a:pt x="239" y="272"/>
                  </a:lnTo>
                  <a:lnTo>
                    <a:pt x="239" y="271"/>
                  </a:lnTo>
                  <a:lnTo>
                    <a:pt x="238" y="271"/>
                  </a:lnTo>
                  <a:lnTo>
                    <a:pt x="238" y="272"/>
                  </a:lnTo>
                  <a:lnTo>
                    <a:pt x="235" y="272"/>
                  </a:lnTo>
                  <a:lnTo>
                    <a:pt x="234" y="273"/>
                  </a:lnTo>
                  <a:lnTo>
                    <a:pt x="234" y="272"/>
                  </a:lnTo>
                  <a:lnTo>
                    <a:pt x="235" y="271"/>
                  </a:lnTo>
                  <a:lnTo>
                    <a:pt x="236" y="271"/>
                  </a:lnTo>
                  <a:lnTo>
                    <a:pt x="235" y="270"/>
                  </a:lnTo>
                  <a:lnTo>
                    <a:pt x="234" y="271"/>
                  </a:lnTo>
                  <a:lnTo>
                    <a:pt x="234" y="272"/>
                  </a:lnTo>
                  <a:lnTo>
                    <a:pt x="234" y="273"/>
                  </a:lnTo>
                  <a:lnTo>
                    <a:pt x="233" y="273"/>
                  </a:lnTo>
                  <a:lnTo>
                    <a:pt x="233" y="272"/>
                  </a:lnTo>
                  <a:lnTo>
                    <a:pt x="232" y="272"/>
                  </a:lnTo>
                  <a:lnTo>
                    <a:pt x="230" y="272"/>
                  </a:lnTo>
                  <a:lnTo>
                    <a:pt x="230" y="273"/>
                  </a:lnTo>
                  <a:lnTo>
                    <a:pt x="230" y="274"/>
                  </a:lnTo>
                  <a:lnTo>
                    <a:pt x="229" y="276"/>
                  </a:lnTo>
                  <a:lnTo>
                    <a:pt x="229" y="274"/>
                  </a:lnTo>
                  <a:lnTo>
                    <a:pt x="228" y="273"/>
                  </a:lnTo>
                  <a:lnTo>
                    <a:pt x="228" y="274"/>
                  </a:lnTo>
                  <a:lnTo>
                    <a:pt x="227" y="273"/>
                  </a:lnTo>
                  <a:lnTo>
                    <a:pt x="226" y="272"/>
                  </a:lnTo>
                  <a:lnTo>
                    <a:pt x="227" y="272"/>
                  </a:lnTo>
                  <a:lnTo>
                    <a:pt x="227" y="271"/>
                  </a:lnTo>
                  <a:lnTo>
                    <a:pt x="229" y="270"/>
                  </a:lnTo>
                  <a:lnTo>
                    <a:pt x="228" y="268"/>
                  </a:lnTo>
                  <a:lnTo>
                    <a:pt x="227" y="268"/>
                  </a:lnTo>
                  <a:lnTo>
                    <a:pt x="226" y="268"/>
                  </a:lnTo>
                  <a:lnTo>
                    <a:pt x="226" y="270"/>
                  </a:lnTo>
                  <a:lnTo>
                    <a:pt x="226" y="271"/>
                  </a:lnTo>
                  <a:lnTo>
                    <a:pt x="224" y="270"/>
                  </a:lnTo>
                  <a:lnTo>
                    <a:pt x="223" y="270"/>
                  </a:lnTo>
                  <a:lnTo>
                    <a:pt x="222" y="270"/>
                  </a:lnTo>
                  <a:lnTo>
                    <a:pt x="221" y="268"/>
                  </a:lnTo>
                  <a:lnTo>
                    <a:pt x="220" y="271"/>
                  </a:lnTo>
                  <a:lnTo>
                    <a:pt x="218" y="270"/>
                  </a:lnTo>
                  <a:lnTo>
                    <a:pt x="217" y="270"/>
                  </a:lnTo>
                  <a:lnTo>
                    <a:pt x="217" y="268"/>
                  </a:lnTo>
                  <a:lnTo>
                    <a:pt x="218" y="268"/>
                  </a:lnTo>
                  <a:lnTo>
                    <a:pt x="220" y="268"/>
                  </a:lnTo>
                  <a:lnTo>
                    <a:pt x="221" y="267"/>
                  </a:lnTo>
                  <a:lnTo>
                    <a:pt x="222" y="266"/>
                  </a:lnTo>
                  <a:lnTo>
                    <a:pt x="221" y="266"/>
                  </a:lnTo>
                  <a:lnTo>
                    <a:pt x="221" y="265"/>
                  </a:lnTo>
                  <a:lnTo>
                    <a:pt x="222" y="264"/>
                  </a:lnTo>
                  <a:lnTo>
                    <a:pt x="223" y="264"/>
                  </a:lnTo>
                  <a:lnTo>
                    <a:pt x="223" y="262"/>
                  </a:lnTo>
                  <a:lnTo>
                    <a:pt x="222" y="262"/>
                  </a:lnTo>
                  <a:lnTo>
                    <a:pt x="221" y="262"/>
                  </a:lnTo>
                  <a:lnTo>
                    <a:pt x="220" y="262"/>
                  </a:lnTo>
                  <a:lnTo>
                    <a:pt x="220" y="261"/>
                  </a:lnTo>
                  <a:lnTo>
                    <a:pt x="221" y="261"/>
                  </a:lnTo>
                  <a:lnTo>
                    <a:pt x="222" y="261"/>
                  </a:lnTo>
                  <a:lnTo>
                    <a:pt x="223" y="262"/>
                  </a:lnTo>
                  <a:lnTo>
                    <a:pt x="224" y="261"/>
                  </a:lnTo>
                  <a:lnTo>
                    <a:pt x="226" y="262"/>
                  </a:lnTo>
                  <a:lnTo>
                    <a:pt x="227" y="262"/>
                  </a:lnTo>
                  <a:lnTo>
                    <a:pt x="228" y="265"/>
                  </a:lnTo>
                  <a:lnTo>
                    <a:pt x="228" y="266"/>
                  </a:lnTo>
                  <a:lnTo>
                    <a:pt x="228" y="267"/>
                  </a:lnTo>
                  <a:lnTo>
                    <a:pt x="229" y="267"/>
                  </a:lnTo>
                  <a:lnTo>
                    <a:pt x="230" y="266"/>
                  </a:lnTo>
                  <a:lnTo>
                    <a:pt x="232" y="266"/>
                  </a:lnTo>
                  <a:lnTo>
                    <a:pt x="233" y="266"/>
                  </a:lnTo>
                  <a:lnTo>
                    <a:pt x="234" y="266"/>
                  </a:lnTo>
                  <a:lnTo>
                    <a:pt x="236" y="266"/>
                  </a:lnTo>
                  <a:lnTo>
                    <a:pt x="238" y="266"/>
                  </a:lnTo>
                  <a:lnTo>
                    <a:pt x="238" y="265"/>
                  </a:lnTo>
                  <a:lnTo>
                    <a:pt x="238" y="264"/>
                  </a:lnTo>
                  <a:lnTo>
                    <a:pt x="236" y="264"/>
                  </a:lnTo>
                  <a:lnTo>
                    <a:pt x="235" y="265"/>
                  </a:lnTo>
                  <a:lnTo>
                    <a:pt x="234" y="265"/>
                  </a:lnTo>
                  <a:lnTo>
                    <a:pt x="233" y="265"/>
                  </a:lnTo>
                  <a:lnTo>
                    <a:pt x="233" y="264"/>
                  </a:lnTo>
                  <a:lnTo>
                    <a:pt x="230" y="264"/>
                  </a:lnTo>
                  <a:lnTo>
                    <a:pt x="230" y="262"/>
                  </a:lnTo>
                  <a:lnTo>
                    <a:pt x="229" y="262"/>
                  </a:lnTo>
                  <a:lnTo>
                    <a:pt x="228" y="261"/>
                  </a:lnTo>
                  <a:lnTo>
                    <a:pt x="227" y="261"/>
                  </a:lnTo>
                  <a:lnTo>
                    <a:pt x="228" y="261"/>
                  </a:lnTo>
                  <a:lnTo>
                    <a:pt x="229" y="260"/>
                  </a:lnTo>
                  <a:lnTo>
                    <a:pt x="228" y="259"/>
                  </a:lnTo>
                  <a:lnTo>
                    <a:pt x="227" y="259"/>
                  </a:lnTo>
                  <a:lnTo>
                    <a:pt x="227" y="258"/>
                  </a:lnTo>
                  <a:lnTo>
                    <a:pt x="227" y="256"/>
                  </a:lnTo>
                  <a:lnTo>
                    <a:pt x="226" y="256"/>
                  </a:lnTo>
                  <a:lnTo>
                    <a:pt x="224" y="256"/>
                  </a:lnTo>
                  <a:lnTo>
                    <a:pt x="223" y="256"/>
                  </a:lnTo>
                  <a:lnTo>
                    <a:pt x="222" y="255"/>
                  </a:lnTo>
                  <a:lnTo>
                    <a:pt x="222" y="254"/>
                  </a:lnTo>
                  <a:lnTo>
                    <a:pt x="222" y="253"/>
                  </a:lnTo>
                  <a:lnTo>
                    <a:pt x="222" y="254"/>
                  </a:lnTo>
                  <a:lnTo>
                    <a:pt x="223" y="255"/>
                  </a:lnTo>
                  <a:lnTo>
                    <a:pt x="224" y="256"/>
                  </a:lnTo>
                  <a:lnTo>
                    <a:pt x="226" y="255"/>
                  </a:lnTo>
                  <a:lnTo>
                    <a:pt x="224" y="255"/>
                  </a:lnTo>
                  <a:lnTo>
                    <a:pt x="224" y="254"/>
                  </a:lnTo>
                  <a:lnTo>
                    <a:pt x="226" y="255"/>
                  </a:lnTo>
                  <a:lnTo>
                    <a:pt x="227" y="255"/>
                  </a:lnTo>
                  <a:lnTo>
                    <a:pt x="228" y="256"/>
                  </a:lnTo>
                  <a:lnTo>
                    <a:pt x="229" y="258"/>
                  </a:lnTo>
                  <a:lnTo>
                    <a:pt x="230" y="258"/>
                  </a:lnTo>
                  <a:lnTo>
                    <a:pt x="230" y="259"/>
                  </a:lnTo>
                  <a:lnTo>
                    <a:pt x="232" y="260"/>
                  </a:lnTo>
                  <a:lnTo>
                    <a:pt x="232" y="261"/>
                  </a:lnTo>
                  <a:lnTo>
                    <a:pt x="232" y="260"/>
                  </a:lnTo>
                  <a:lnTo>
                    <a:pt x="230" y="260"/>
                  </a:lnTo>
                  <a:lnTo>
                    <a:pt x="230" y="261"/>
                  </a:lnTo>
                  <a:lnTo>
                    <a:pt x="232" y="261"/>
                  </a:lnTo>
                  <a:lnTo>
                    <a:pt x="232" y="262"/>
                  </a:lnTo>
                  <a:lnTo>
                    <a:pt x="234" y="262"/>
                  </a:lnTo>
                  <a:lnTo>
                    <a:pt x="234" y="264"/>
                  </a:lnTo>
                  <a:lnTo>
                    <a:pt x="235" y="262"/>
                  </a:lnTo>
                  <a:lnTo>
                    <a:pt x="236" y="262"/>
                  </a:lnTo>
                  <a:lnTo>
                    <a:pt x="238" y="262"/>
                  </a:lnTo>
                  <a:lnTo>
                    <a:pt x="236" y="261"/>
                  </a:lnTo>
                  <a:lnTo>
                    <a:pt x="238" y="260"/>
                  </a:lnTo>
                  <a:lnTo>
                    <a:pt x="239" y="261"/>
                  </a:lnTo>
                  <a:lnTo>
                    <a:pt x="241" y="261"/>
                  </a:lnTo>
                  <a:lnTo>
                    <a:pt x="242" y="259"/>
                  </a:lnTo>
                  <a:lnTo>
                    <a:pt x="241" y="259"/>
                  </a:lnTo>
                  <a:lnTo>
                    <a:pt x="240" y="259"/>
                  </a:lnTo>
                  <a:lnTo>
                    <a:pt x="239" y="258"/>
                  </a:lnTo>
                  <a:lnTo>
                    <a:pt x="238" y="258"/>
                  </a:lnTo>
                  <a:lnTo>
                    <a:pt x="236" y="258"/>
                  </a:lnTo>
                  <a:lnTo>
                    <a:pt x="235" y="256"/>
                  </a:lnTo>
                  <a:lnTo>
                    <a:pt x="233" y="256"/>
                  </a:lnTo>
                  <a:lnTo>
                    <a:pt x="232" y="256"/>
                  </a:lnTo>
                  <a:lnTo>
                    <a:pt x="230" y="255"/>
                  </a:lnTo>
                  <a:lnTo>
                    <a:pt x="229" y="255"/>
                  </a:lnTo>
                  <a:lnTo>
                    <a:pt x="228" y="254"/>
                  </a:lnTo>
                  <a:lnTo>
                    <a:pt x="227" y="253"/>
                  </a:lnTo>
                  <a:lnTo>
                    <a:pt x="227" y="252"/>
                  </a:lnTo>
                  <a:lnTo>
                    <a:pt x="226" y="250"/>
                  </a:lnTo>
                  <a:lnTo>
                    <a:pt x="224" y="249"/>
                  </a:lnTo>
                  <a:lnTo>
                    <a:pt x="223" y="249"/>
                  </a:lnTo>
                  <a:lnTo>
                    <a:pt x="222" y="249"/>
                  </a:lnTo>
                  <a:lnTo>
                    <a:pt x="222" y="248"/>
                  </a:lnTo>
                  <a:lnTo>
                    <a:pt x="222" y="247"/>
                  </a:lnTo>
                  <a:lnTo>
                    <a:pt x="222" y="246"/>
                  </a:lnTo>
                  <a:lnTo>
                    <a:pt x="223" y="247"/>
                  </a:lnTo>
                  <a:lnTo>
                    <a:pt x="224" y="247"/>
                  </a:lnTo>
                  <a:lnTo>
                    <a:pt x="226" y="247"/>
                  </a:lnTo>
                  <a:lnTo>
                    <a:pt x="227" y="249"/>
                  </a:lnTo>
                  <a:lnTo>
                    <a:pt x="227" y="250"/>
                  </a:lnTo>
                  <a:lnTo>
                    <a:pt x="228" y="250"/>
                  </a:lnTo>
                  <a:lnTo>
                    <a:pt x="228" y="252"/>
                  </a:lnTo>
                  <a:lnTo>
                    <a:pt x="229" y="253"/>
                  </a:lnTo>
                  <a:lnTo>
                    <a:pt x="230" y="254"/>
                  </a:lnTo>
                  <a:lnTo>
                    <a:pt x="233" y="254"/>
                  </a:lnTo>
                  <a:lnTo>
                    <a:pt x="234" y="255"/>
                  </a:lnTo>
                  <a:lnTo>
                    <a:pt x="235" y="256"/>
                  </a:lnTo>
                  <a:lnTo>
                    <a:pt x="236" y="256"/>
                  </a:lnTo>
                  <a:lnTo>
                    <a:pt x="238" y="255"/>
                  </a:lnTo>
                  <a:lnTo>
                    <a:pt x="239" y="256"/>
                  </a:lnTo>
                  <a:lnTo>
                    <a:pt x="240" y="258"/>
                  </a:lnTo>
                  <a:lnTo>
                    <a:pt x="241" y="258"/>
                  </a:lnTo>
                  <a:lnTo>
                    <a:pt x="242" y="258"/>
                  </a:lnTo>
                  <a:lnTo>
                    <a:pt x="242" y="256"/>
                  </a:lnTo>
                  <a:lnTo>
                    <a:pt x="241" y="256"/>
                  </a:lnTo>
                  <a:lnTo>
                    <a:pt x="239" y="255"/>
                  </a:lnTo>
                  <a:lnTo>
                    <a:pt x="240" y="254"/>
                  </a:lnTo>
                  <a:lnTo>
                    <a:pt x="241" y="254"/>
                  </a:lnTo>
                  <a:lnTo>
                    <a:pt x="242" y="254"/>
                  </a:lnTo>
                  <a:lnTo>
                    <a:pt x="244" y="252"/>
                  </a:lnTo>
                  <a:lnTo>
                    <a:pt x="244" y="250"/>
                  </a:lnTo>
                  <a:lnTo>
                    <a:pt x="242" y="250"/>
                  </a:lnTo>
                  <a:lnTo>
                    <a:pt x="242" y="249"/>
                  </a:lnTo>
                  <a:lnTo>
                    <a:pt x="242" y="250"/>
                  </a:lnTo>
                  <a:lnTo>
                    <a:pt x="241" y="252"/>
                  </a:lnTo>
                  <a:lnTo>
                    <a:pt x="239" y="252"/>
                  </a:lnTo>
                  <a:lnTo>
                    <a:pt x="239" y="250"/>
                  </a:lnTo>
                  <a:lnTo>
                    <a:pt x="238" y="250"/>
                  </a:lnTo>
                  <a:lnTo>
                    <a:pt x="238" y="252"/>
                  </a:lnTo>
                  <a:lnTo>
                    <a:pt x="238" y="253"/>
                  </a:lnTo>
                  <a:lnTo>
                    <a:pt x="236" y="253"/>
                  </a:lnTo>
                  <a:lnTo>
                    <a:pt x="236" y="252"/>
                  </a:lnTo>
                  <a:lnTo>
                    <a:pt x="235" y="252"/>
                  </a:lnTo>
                  <a:lnTo>
                    <a:pt x="234" y="250"/>
                  </a:lnTo>
                  <a:lnTo>
                    <a:pt x="234" y="249"/>
                  </a:lnTo>
                  <a:lnTo>
                    <a:pt x="233" y="249"/>
                  </a:lnTo>
                  <a:lnTo>
                    <a:pt x="233" y="248"/>
                  </a:lnTo>
                  <a:lnTo>
                    <a:pt x="232" y="247"/>
                  </a:lnTo>
                  <a:lnTo>
                    <a:pt x="230" y="247"/>
                  </a:lnTo>
                  <a:lnTo>
                    <a:pt x="230" y="246"/>
                  </a:lnTo>
                  <a:lnTo>
                    <a:pt x="232" y="246"/>
                  </a:lnTo>
                  <a:lnTo>
                    <a:pt x="233" y="246"/>
                  </a:lnTo>
                  <a:lnTo>
                    <a:pt x="234" y="246"/>
                  </a:lnTo>
                  <a:lnTo>
                    <a:pt x="235" y="247"/>
                  </a:lnTo>
                  <a:lnTo>
                    <a:pt x="238" y="248"/>
                  </a:lnTo>
                  <a:lnTo>
                    <a:pt x="240" y="248"/>
                  </a:lnTo>
                  <a:lnTo>
                    <a:pt x="240" y="247"/>
                  </a:lnTo>
                  <a:lnTo>
                    <a:pt x="240" y="246"/>
                  </a:lnTo>
                  <a:lnTo>
                    <a:pt x="239" y="246"/>
                  </a:lnTo>
                  <a:lnTo>
                    <a:pt x="238" y="246"/>
                  </a:lnTo>
                  <a:lnTo>
                    <a:pt x="235" y="244"/>
                  </a:lnTo>
                  <a:lnTo>
                    <a:pt x="236" y="244"/>
                  </a:lnTo>
                  <a:lnTo>
                    <a:pt x="238" y="246"/>
                  </a:lnTo>
                  <a:lnTo>
                    <a:pt x="238" y="244"/>
                  </a:lnTo>
                  <a:lnTo>
                    <a:pt x="239" y="244"/>
                  </a:lnTo>
                  <a:lnTo>
                    <a:pt x="239" y="243"/>
                  </a:lnTo>
                  <a:lnTo>
                    <a:pt x="240" y="244"/>
                  </a:lnTo>
                  <a:lnTo>
                    <a:pt x="240" y="246"/>
                  </a:lnTo>
                  <a:lnTo>
                    <a:pt x="241" y="246"/>
                  </a:lnTo>
                  <a:lnTo>
                    <a:pt x="242" y="246"/>
                  </a:lnTo>
                  <a:lnTo>
                    <a:pt x="242" y="244"/>
                  </a:lnTo>
                  <a:lnTo>
                    <a:pt x="242" y="243"/>
                  </a:lnTo>
                  <a:lnTo>
                    <a:pt x="242" y="242"/>
                  </a:lnTo>
                  <a:lnTo>
                    <a:pt x="241" y="242"/>
                  </a:lnTo>
                  <a:lnTo>
                    <a:pt x="240" y="242"/>
                  </a:lnTo>
                  <a:lnTo>
                    <a:pt x="240" y="241"/>
                  </a:lnTo>
                  <a:lnTo>
                    <a:pt x="240" y="242"/>
                  </a:lnTo>
                  <a:lnTo>
                    <a:pt x="239" y="242"/>
                  </a:lnTo>
                  <a:lnTo>
                    <a:pt x="238" y="242"/>
                  </a:lnTo>
                  <a:lnTo>
                    <a:pt x="236" y="242"/>
                  </a:lnTo>
                  <a:lnTo>
                    <a:pt x="236" y="241"/>
                  </a:lnTo>
                  <a:lnTo>
                    <a:pt x="238" y="240"/>
                  </a:lnTo>
                  <a:lnTo>
                    <a:pt x="236" y="240"/>
                  </a:lnTo>
                  <a:lnTo>
                    <a:pt x="234" y="240"/>
                  </a:lnTo>
                  <a:lnTo>
                    <a:pt x="233" y="241"/>
                  </a:lnTo>
                  <a:lnTo>
                    <a:pt x="232" y="241"/>
                  </a:lnTo>
                  <a:lnTo>
                    <a:pt x="233" y="238"/>
                  </a:lnTo>
                  <a:lnTo>
                    <a:pt x="234" y="238"/>
                  </a:lnTo>
                  <a:lnTo>
                    <a:pt x="235" y="238"/>
                  </a:lnTo>
                  <a:lnTo>
                    <a:pt x="236" y="237"/>
                  </a:lnTo>
                  <a:lnTo>
                    <a:pt x="236" y="236"/>
                  </a:lnTo>
                  <a:lnTo>
                    <a:pt x="239" y="236"/>
                  </a:lnTo>
                  <a:lnTo>
                    <a:pt x="240" y="235"/>
                  </a:lnTo>
                  <a:lnTo>
                    <a:pt x="241" y="235"/>
                  </a:lnTo>
                  <a:lnTo>
                    <a:pt x="241" y="234"/>
                  </a:lnTo>
                  <a:lnTo>
                    <a:pt x="241" y="232"/>
                  </a:lnTo>
                  <a:lnTo>
                    <a:pt x="240" y="232"/>
                  </a:lnTo>
                  <a:lnTo>
                    <a:pt x="240" y="231"/>
                  </a:lnTo>
                  <a:lnTo>
                    <a:pt x="239" y="232"/>
                  </a:lnTo>
                  <a:lnTo>
                    <a:pt x="238" y="232"/>
                  </a:lnTo>
                  <a:lnTo>
                    <a:pt x="238" y="231"/>
                  </a:lnTo>
                  <a:lnTo>
                    <a:pt x="236" y="231"/>
                  </a:lnTo>
                  <a:lnTo>
                    <a:pt x="235" y="232"/>
                  </a:lnTo>
                  <a:lnTo>
                    <a:pt x="235" y="234"/>
                  </a:lnTo>
                  <a:lnTo>
                    <a:pt x="235" y="232"/>
                  </a:lnTo>
                  <a:lnTo>
                    <a:pt x="235" y="231"/>
                  </a:lnTo>
                  <a:lnTo>
                    <a:pt x="234" y="231"/>
                  </a:lnTo>
                  <a:lnTo>
                    <a:pt x="233" y="232"/>
                  </a:lnTo>
                  <a:lnTo>
                    <a:pt x="232" y="234"/>
                  </a:lnTo>
                  <a:lnTo>
                    <a:pt x="230" y="234"/>
                  </a:lnTo>
                  <a:lnTo>
                    <a:pt x="232" y="232"/>
                  </a:lnTo>
                  <a:lnTo>
                    <a:pt x="233" y="232"/>
                  </a:lnTo>
                  <a:lnTo>
                    <a:pt x="233" y="231"/>
                  </a:lnTo>
                  <a:lnTo>
                    <a:pt x="232" y="230"/>
                  </a:lnTo>
                  <a:lnTo>
                    <a:pt x="232" y="229"/>
                  </a:lnTo>
                  <a:lnTo>
                    <a:pt x="230" y="229"/>
                  </a:lnTo>
                  <a:lnTo>
                    <a:pt x="232" y="228"/>
                  </a:lnTo>
                  <a:lnTo>
                    <a:pt x="232" y="229"/>
                  </a:lnTo>
                  <a:lnTo>
                    <a:pt x="233" y="229"/>
                  </a:lnTo>
                  <a:lnTo>
                    <a:pt x="234" y="229"/>
                  </a:lnTo>
                  <a:lnTo>
                    <a:pt x="234" y="228"/>
                  </a:lnTo>
                  <a:lnTo>
                    <a:pt x="235" y="228"/>
                  </a:lnTo>
                  <a:lnTo>
                    <a:pt x="235" y="226"/>
                  </a:lnTo>
                  <a:lnTo>
                    <a:pt x="234" y="225"/>
                  </a:lnTo>
                  <a:lnTo>
                    <a:pt x="233" y="224"/>
                  </a:lnTo>
                  <a:lnTo>
                    <a:pt x="232" y="224"/>
                  </a:lnTo>
                  <a:lnTo>
                    <a:pt x="232" y="225"/>
                  </a:lnTo>
                  <a:lnTo>
                    <a:pt x="230" y="225"/>
                  </a:lnTo>
                  <a:lnTo>
                    <a:pt x="229" y="225"/>
                  </a:lnTo>
                  <a:lnTo>
                    <a:pt x="228" y="225"/>
                  </a:lnTo>
                  <a:lnTo>
                    <a:pt x="227" y="226"/>
                  </a:lnTo>
                  <a:lnTo>
                    <a:pt x="227" y="228"/>
                  </a:lnTo>
                  <a:lnTo>
                    <a:pt x="228" y="228"/>
                  </a:lnTo>
                  <a:lnTo>
                    <a:pt x="228" y="229"/>
                  </a:lnTo>
                  <a:lnTo>
                    <a:pt x="228" y="230"/>
                  </a:lnTo>
                  <a:lnTo>
                    <a:pt x="227" y="229"/>
                  </a:lnTo>
                  <a:lnTo>
                    <a:pt x="226" y="229"/>
                  </a:lnTo>
                  <a:lnTo>
                    <a:pt x="226" y="228"/>
                  </a:lnTo>
                  <a:lnTo>
                    <a:pt x="224" y="228"/>
                  </a:lnTo>
                  <a:lnTo>
                    <a:pt x="224" y="226"/>
                  </a:lnTo>
                  <a:lnTo>
                    <a:pt x="226" y="225"/>
                  </a:lnTo>
                  <a:lnTo>
                    <a:pt x="226" y="224"/>
                  </a:lnTo>
                  <a:lnTo>
                    <a:pt x="226" y="223"/>
                  </a:lnTo>
                  <a:lnTo>
                    <a:pt x="224" y="223"/>
                  </a:lnTo>
                  <a:lnTo>
                    <a:pt x="222" y="223"/>
                  </a:lnTo>
                  <a:lnTo>
                    <a:pt x="222" y="224"/>
                  </a:lnTo>
                  <a:lnTo>
                    <a:pt x="222" y="225"/>
                  </a:lnTo>
                  <a:lnTo>
                    <a:pt x="221" y="226"/>
                  </a:lnTo>
                  <a:lnTo>
                    <a:pt x="220" y="225"/>
                  </a:lnTo>
                  <a:lnTo>
                    <a:pt x="221" y="224"/>
                  </a:lnTo>
                  <a:lnTo>
                    <a:pt x="221" y="223"/>
                  </a:lnTo>
                  <a:lnTo>
                    <a:pt x="222" y="223"/>
                  </a:lnTo>
                  <a:lnTo>
                    <a:pt x="224" y="222"/>
                  </a:lnTo>
                  <a:lnTo>
                    <a:pt x="224" y="220"/>
                  </a:lnTo>
                  <a:lnTo>
                    <a:pt x="223" y="220"/>
                  </a:lnTo>
                  <a:lnTo>
                    <a:pt x="223" y="219"/>
                  </a:lnTo>
                  <a:lnTo>
                    <a:pt x="224" y="219"/>
                  </a:lnTo>
                  <a:lnTo>
                    <a:pt x="226" y="219"/>
                  </a:lnTo>
                  <a:lnTo>
                    <a:pt x="227" y="219"/>
                  </a:lnTo>
                  <a:lnTo>
                    <a:pt x="227" y="218"/>
                  </a:lnTo>
                  <a:lnTo>
                    <a:pt x="228" y="217"/>
                  </a:lnTo>
                  <a:lnTo>
                    <a:pt x="228" y="216"/>
                  </a:lnTo>
                  <a:lnTo>
                    <a:pt x="229" y="216"/>
                  </a:lnTo>
                  <a:lnTo>
                    <a:pt x="229" y="214"/>
                  </a:lnTo>
                  <a:lnTo>
                    <a:pt x="229" y="213"/>
                  </a:lnTo>
                  <a:lnTo>
                    <a:pt x="228" y="213"/>
                  </a:lnTo>
                  <a:lnTo>
                    <a:pt x="227" y="214"/>
                  </a:lnTo>
                  <a:lnTo>
                    <a:pt x="227" y="213"/>
                  </a:lnTo>
                  <a:lnTo>
                    <a:pt x="226" y="213"/>
                  </a:lnTo>
                  <a:lnTo>
                    <a:pt x="226" y="214"/>
                  </a:lnTo>
                  <a:lnTo>
                    <a:pt x="224" y="214"/>
                  </a:lnTo>
                  <a:lnTo>
                    <a:pt x="223" y="216"/>
                  </a:lnTo>
                  <a:lnTo>
                    <a:pt x="222" y="214"/>
                  </a:lnTo>
                  <a:lnTo>
                    <a:pt x="224" y="213"/>
                  </a:lnTo>
                  <a:lnTo>
                    <a:pt x="226" y="212"/>
                  </a:lnTo>
                  <a:lnTo>
                    <a:pt x="224" y="211"/>
                  </a:lnTo>
                  <a:lnTo>
                    <a:pt x="223" y="212"/>
                  </a:lnTo>
                  <a:lnTo>
                    <a:pt x="222" y="211"/>
                  </a:lnTo>
                  <a:lnTo>
                    <a:pt x="222" y="210"/>
                  </a:lnTo>
                  <a:lnTo>
                    <a:pt x="222" y="208"/>
                  </a:lnTo>
                  <a:lnTo>
                    <a:pt x="221" y="211"/>
                  </a:lnTo>
                  <a:lnTo>
                    <a:pt x="220" y="210"/>
                  </a:lnTo>
                  <a:lnTo>
                    <a:pt x="218" y="210"/>
                  </a:lnTo>
                  <a:lnTo>
                    <a:pt x="217" y="210"/>
                  </a:lnTo>
                  <a:lnTo>
                    <a:pt x="217" y="208"/>
                  </a:lnTo>
                  <a:lnTo>
                    <a:pt x="216" y="208"/>
                  </a:lnTo>
                  <a:lnTo>
                    <a:pt x="215" y="207"/>
                  </a:lnTo>
                  <a:lnTo>
                    <a:pt x="215" y="206"/>
                  </a:lnTo>
                  <a:lnTo>
                    <a:pt x="214" y="206"/>
                  </a:lnTo>
                  <a:lnTo>
                    <a:pt x="215" y="206"/>
                  </a:lnTo>
                  <a:lnTo>
                    <a:pt x="216" y="207"/>
                  </a:lnTo>
                  <a:lnTo>
                    <a:pt x="217" y="207"/>
                  </a:lnTo>
                  <a:lnTo>
                    <a:pt x="218" y="207"/>
                  </a:lnTo>
                  <a:lnTo>
                    <a:pt x="218" y="208"/>
                  </a:lnTo>
                  <a:lnTo>
                    <a:pt x="220" y="208"/>
                  </a:lnTo>
                  <a:lnTo>
                    <a:pt x="221" y="206"/>
                  </a:lnTo>
                  <a:lnTo>
                    <a:pt x="221" y="207"/>
                  </a:lnTo>
                  <a:lnTo>
                    <a:pt x="222" y="207"/>
                  </a:lnTo>
                  <a:lnTo>
                    <a:pt x="223" y="207"/>
                  </a:lnTo>
                  <a:lnTo>
                    <a:pt x="223" y="206"/>
                  </a:lnTo>
                  <a:lnTo>
                    <a:pt x="224" y="206"/>
                  </a:lnTo>
                  <a:lnTo>
                    <a:pt x="226" y="205"/>
                  </a:lnTo>
                  <a:lnTo>
                    <a:pt x="227" y="205"/>
                  </a:lnTo>
                  <a:lnTo>
                    <a:pt x="228" y="205"/>
                  </a:lnTo>
                  <a:lnTo>
                    <a:pt x="228" y="204"/>
                  </a:lnTo>
                  <a:lnTo>
                    <a:pt x="227" y="202"/>
                  </a:lnTo>
                  <a:lnTo>
                    <a:pt x="227" y="201"/>
                  </a:lnTo>
                  <a:lnTo>
                    <a:pt x="226" y="202"/>
                  </a:lnTo>
                  <a:lnTo>
                    <a:pt x="224" y="202"/>
                  </a:lnTo>
                  <a:lnTo>
                    <a:pt x="223" y="202"/>
                  </a:lnTo>
                  <a:lnTo>
                    <a:pt x="222" y="202"/>
                  </a:lnTo>
                  <a:lnTo>
                    <a:pt x="221" y="202"/>
                  </a:lnTo>
                  <a:lnTo>
                    <a:pt x="220" y="202"/>
                  </a:lnTo>
                  <a:lnTo>
                    <a:pt x="220" y="201"/>
                  </a:lnTo>
                  <a:lnTo>
                    <a:pt x="217" y="201"/>
                  </a:lnTo>
                  <a:lnTo>
                    <a:pt x="216" y="201"/>
                  </a:lnTo>
                  <a:lnTo>
                    <a:pt x="216" y="200"/>
                  </a:lnTo>
                  <a:lnTo>
                    <a:pt x="215" y="200"/>
                  </a:lnTo>
                  <a:lnTo>
                    <a:pt x="214" y="200"/>
                  </a:lnTo>
                  <a:lnTo>
                    <a:pt x="214" y="199"/>
                  </a:lnTo>
                  <a:lnTo>
                    <a:pt x="212" y="199"/>
                  </a:lnTo>
                  <a:lnTo>
                    <a:pt x="211" y="199"/>
                  </a:lnTo>
                  <a:lnTo>
                    <a:pt x="210" y="199"/>
                  </a:lnTo>
                  <a:lnTo>
                    <a:pt x="210" y="198"/>
                  </a:lnTo>
                  <a:lnTo>
                    <a:pt x="209" y="196"/>
                  </a:lnTo>
                  <a:lnTo>
                    <a:pt x="207" y="196"/>
                  </a:lnTo>
                  <a:lnTo>
                    <a:pt x="206" y="198"/>
                  </a:lnTo>
                  <a:lnTo>
                    <a:pt x="204" y="198"/>
                  </a:lnTo>
                  <a:lnTo>
                    <a:pt x="205" y="196"/>
                  </a:lnTo>
                  <a:lnTo>
                    <a:pt x="206" y="196"/>
                  </a:lnTo>
                  <a:lnTo>
                    <a:pt x="207" y="196"/>
                  </a:lnTo>
                  <a:lnTo>
                    <a:pt x="209" y="196"/>
                  </a:lnTo>
                  <a:lnTo>
                    <a:pt x="210" y="196"/>
                  </a:lnTo>
                  <a:lnTo>
                    <a:pt x="209" y="195"/>
                  </a:lnTo>
                  <a:lnTo>
                    <a:pt x="207" y="194"/>
                  </a:lnTo>
                  <a:lnTo>
                    <a:pt x="206" y="193"/>
                  </a:lnTo>
                  <a:lnTo>
                    <a:pt x="206" y="194"/>
                  </a:lnTo>
                  <a:lnTo>
                    <a:pt x="205" y="195"/>
                  </a:lnTo>
                  <a:lnTo>
                    <a:pt x="205" y="194"/>
                  </a:lnTo>
                  <a:lnTo>
                    <a:pt x="204" y="193"/>
                  </a:lnTo>
                  <a:lnTo>
                    <a:pt x="205" y="193"/>
                  </a:lnTo>
                  <a:lnTo>
                    <a:pt x="205" y="192"/>
                  </a:lnTo>
                  <a:lnTo>
                    <a:pt x="205" y="190"/>
                  </a:lnTo>
                  <a:lnTo>
                    <a:pt x="206" y="190"/>
                  </a:lnTo>
                  <a:lnTo>
                    <a:pt x="206" y="192"/>
                  </a:lnTo>
                  <a:lnTo>
                    <a:pt x="207" y="192"/>
                  </a:lnTo>
                  <a:lnTo>
                    <a:pt x="207" y="190"/>
                  </a:lnTo>
                  <a:lnTo>
                    <a:pt x="206" y="189"/>
                  </a:lnTo>
                  <a:lnTo>
                    <a:pt x="206" y="188"/>
                  </a:lnTo>
                  <a:lnTo>
                    <a:pt x="205" y="188"/>
                  </a:lnTo>
                  <a:lnTo>
                    <a:pt x="205" y="187"/>
                  </a:lnTo>
                  <a:lnTo>
                    <a:pt x="206" y="187"/>
                  </a:lnTo>
                  <a:lnTo>
                    <a:pt x="207" y="186"/>
                  </a:lnTo>
                  <a:lnTo>
                    <a:pt x="206" y="186"/>
                  </a:lnTo>
                  <a:lnTo>
                    <a:pt x="206" y="187"/>
                  </a:lnTo>
                  <a:lnTo>
                    <a:pt x="205" y="186"/>
                  </a:lnTo>
                  <a:lnTo>
                    <a:pt x="204" y="186"/>
                  </a:lnTo>
                  <a:lnTo>
                    <a:pt x="203" y="187"/>
                  </a:lnTo>
                  <a:lnTo>
                    <a:pt x="201" y="186"/>
                  </a:lnTo>
                  <a:lnTo>
                    <a:pt x="200" y="184"/>
                  </a:lnTo>
                  <a:lnTo>
                    <a:pt x="200" y="183"/>
                  </a:lnTo>
                  <a:lnTo>
                    <a:pt x="201" y="183"/>
                  </a:lnTo>
                  <a:lnTo>
                    <a:pt x="203" y="183"/>
                  </a:lnTo>
                  <a:lnTo>
                    <a:pt x="204" y="182"/>
                  </a:lnTo>
                  <a:lnTo>
                    <a:pt x="205" y="182"/>
                  </a:lnTo>
                  <a:lnTo>
                    <a:pt x="206" y="183"/>
                  </a:lnTo>
                  <a:lnTo>
                    <a:pt x="209" y="183"/>
                  </a:lnTo>
                  <a:lnTo>
                    <a:pt x="209" y="182"/>
                  </a:lnTo>
                  <a:lnTo>
                    <a:pt x="210" y="183"/>
                  </a:lnTo>
                  <a:lnTo>
                    <a:pt x="211" y="183"/>
                  </a:lnTo>
                  <a:lnTo>
                    <a:pt x="212" y="183"/>
                  </a:lnTo>
                  <a:lnTo>
                    <a:pt x="214" y="182"/>
                  </a:lnTo>
                  <a:lnTo>
                    <a:pt x="212" y="183"/>
                  </a:lnTo>
                  <a:lnTo>
                    <a:pt x="212" y="184"/>
                  </a:lnTo>
                  <a:lnTo>
                    <a:pt x="212" y="186"/>
                  </a:lnTo>
                  <a:lnTo>
                    <a:pt x="212" y="187"/>
                  </a:lnTo>
                  <a:lnTo>
                    <a:pt x="211" y="187"/>
                  </a:lnTo>
                  <a:lnTo>
                    <a:pt x="210" y="186"/>
                  </a:lnTo>
                  <a:lnTo>
                    <a:pt x="210" y="187"/>
                  </a:lnTo>
                  <a:lnTo>
                    <a:pt x="209" y="187"/>
                  </a:lnTo>
                  <a:lnTo>
                    <a:pt x="209" y="188"/>
                  </a:lnTo>
                  <a:lnTo>
                    <a:pt x="210" y="188"/>
                  </a:lnTo>
                  <a:lnTo>
                    <a:pt x="212" y="188"/>
                  </a:lnTo>
                  <a:lnTo>
                    <a:pt x="214" y="187"/>
                  </a:lnTo>
                  <a:lnTo>
                    <a:pt x="211" y="188"/>
                  </a:lnTo>
                  <a:lnTo>
                    <a:pt x="211" y="189"/>
                  </a:lnTo>
                  <a:lnTo>
                    <a:pt x="214" y="188"/>
                  </a:lnTo>
                  <a:lnTo>
                    <a:pt x="215" y="188"/>
                  </a:lnTo>
                  <a:lnTo>
                    <a:pt x="214" y="189"/>
                  </a:lnTo>
                  <a:lnTo>
                    <a:pt x="212" y="190"/>
                  </a:lnTo>
                  <a:lnTo>
                    <a:pt x="212" y="192"/>
                  </a:lnTo>
                  <a:lnTo>
                    <a:pt x="214" y="192"/>
                  </a:lnTo>
                  <a:lnTo>
                    <a:pt x="215" y="190"/>
                  </a:lnTo>
                  <a:lnTo>
                    <a:pt x="216" y="192"/>
                  </a:lnTo>
                  <a:lnTo>
                    <a:pt x="217" y="192"/>
                  </a:lnTo>
                  <a:lnTo>
                    <a:pt x="217" y="193"/>
                  </a:lnTo>
                  <a:lnTo>
                    <a:pt x="218" y="193"/>
                  </a:lnTo>
                  <a:lnTo>
                    <a:pt x="220" y="192"/>
                  </a:lnTo>
                  <a:lnTo>
                    <a:pt x="221" y="193"/>
                  </a:lnTo>
                  <a:lnTo>
                    <a:pt x="222" y="193"/>
                  </a:lnTo>
                  <a:lnTo>
                    <a:pt x="223" y="193"/>
                  </a:lnTo>
                  <a:lnTo>
                    <a:pt x="224" y="192"/>
                  </a:lnTo>
                  <a:lnTo>
                    <a:pt x="224" y="190"/>
                  </a:lnTo>
                  <a:lnTo>
                    <a:pt x="226" y="192"/>
                  </a:lnTo>
                  <a:lnTo>
                    <a:pt x="227" y="193"/>
                  </a:lnTo>
                  <a:lnTo>
                    <a:pt x="227" y="194"/>
                  </a:lnTo>
                  <a:lnTo>
                    <a:pt x="228" y="195"/>
                  </a:lnTo>
                  <a:lnTo>
                    <a:pt x="230" y="198"/>
                  </a:lnTo>
                  <a:lnTo>
                    <a:pt x="230" y="196"/>
                  </a:lnTo>
                  <a:lnTo>
                    <a:pt x="230" y="194"/>
                  </a:lnTo>
                  <a:lnTo>
                    <a:pt x="229" y="194"/>
                  </a:lnTo>
                  <a:lnTo>
                    <a:pt x="229" y="193"/>
                  </a:lnTo>
                  <a:lnTo>
                    <a:pt x="230" y="193"/>
                  </a:lnTo>
                  <a:lnTo>
                    <a:pt x="232" y="193"/>
                  </a:lnTo>
                  <a:lnTo>
                    <a:pt x="233" y="194"/>
                  </a:lnTo>
                  <a:lnTo>
                    <a:pt x="234" y="194"/>
                  </a:lnTo>
                  <a:lnTo>
                    <a:pt x="235" y="196"/>
                  </a:lnTo>
                  <a:lnTo>
                    <a:pt x="236" y="199"/>
                  </a:lnTo>
                  <a:lnTo>
                    <a:pt x="235" y="200"/>
                  </a:lnTo>
                  <a:lnTo>
                    <a:pt x="238" y="201"/>
                  </a:lnTo>
                  <a:lnTo>
                    <a:pt x="239" y="201"/>
                  </a:lnTo>
                  <a:lnTo>
                    <a:pt x="239" y="202"/>
                  </a:lnTo>
                  <a:lnTo>
                    <a:pt x="240" y="202"/>
                  </a:lnTo>
                  <a:lnTo>
                    <a:pt x="242" y="204"/>
                  </a:lnTo>
                  <a:lnTo>
                    <a:pt x="244" y="202"/>
                  </a:lnTo>
                  <a:lnTo>
                    <a:pt x="244" y="201"/>
                  </a:lnTo>
                  <a:lnTo>
                    <a:pt x="242" y="201"/>
                  </a:lnTo>
                  <a:lnTo>
                    <a:pt x="242" y="200"/>
                  </a:lnTo>
                  <a:lnTo>
                    <a:pt x="241" y="199"/>
                  </a:lnTo>
                  <a:lnTo>
                    <a:pt x="240" y="199"/>
                  </a:lnTo>
                  <a:lnTo>
                    <a:pt x="240" y="198"/>
                  </a:lnTo>
                  <a:lnTo>
                    <a:pt x="239" y="196"/>
                  </a:lnTo>
                  <a:lnTo>
                    <a:pt x="240" y="196"/>
                  </a:lnTo>
                  <a:lnTo>
                    <a:pt x="241" y="195"/>
                  </a:lnTo>
                  <a:lnTo>
                    <a:pt x="241" y="194"/>
                  </a:lnTo>
                  <a:lnTo>
                    <a:pt x="239" y="194"/>
                  </a:lnTo>
                  <a:lnTo>
                    <a:pt x="238" y="193"/>
                  </a:lnTo>
                  <a:lnTo>
                    <a:pt x="238" y="192"/>
                  </a:lnTo>
                  <a:lnTo>
                    <a:pt x="236" y="190"/>
                  </a:lnTo>
                  <a:lnTo>
                    <a:pt x="235" y="189"/>
                  </a:lnTo>
                  <a:lnTo>
                    <a:pt x="235" y="188"/>
                  </a:lnTo>
                  <a:lnTo>
                    <a:pt x="236" y="189"/>
                  </a:lnTo>
                  <a:lnTo>
                    <a:pt x="238" y="190"/>
                  </a:lnTo>
                  <a:lnTo>
                    <a:pt x="240" y="192"/>
                  </a:lnTo>
                  <a:lnTo>
                    <a:pt x="241" y="193"/>
                  </a:lnTo>
                  <a:lnTo>
                    <a:pt x="242" y="193"/>
                  </a:lnTo>
                  <a:lnTo>
                    <a:pt x="244" y="190"/>
                  </a:lnTo>
                  <a:lnTo>
                    <a:pt x="244" y="193"/>
                  </a:lnTo>
                  <a:lnTo>
                    <a:pt x="245" y="194"/>
                  </a:lnTo>
                  <a:lnTo>
                    <a:pt x="246" y="194"/>
                  </a:lnTo>
                  <a:lnTo>
                    <a:pt x="246" y="193"/>
                  </a:lnTo>
                  <a:lnTo>
                    <a:pt x="247" y="193"/>
                  </a:lnTo>
                  <a:lnTo>
                    <a:pt x="248" y="194"/>
                  </a:lnTo>
                  <a:lnTo>
                    <a:pt x="251" y="194"/>
                  </a:lnTo>
                  <a:lnTo>
                    <a:pt x="253" y="194"/>
                  </a:lnTo>
                  <a:lnTo>
                    <a:pt x="253" y="193"/>
                  </a:lnTo>
                  <a:lnTo>
                    <a:pt x="254" y="193"/>
                  </a:lnTo>
                  <a:lnTo>
                    <a:pt x="254" y="192"/>
                  </a:lnTo>
                  <a:lnTo>
                    <a:pt x="256" y="190"/>
                  </a:lnTo>
                  <a:lnTo>
                    <a:pt x="258" y="190"/>
                  </a:lnTo>
                  <a:lnTo>
                    <a:pt x="258" y="189"/>
                  </a:lnTo>
                  <a:lnTo>
                    <a:pt x="259" y="189"/>
                  </a:lnTo>
                  <a:lnTo>
                    <a:pt x="260" y="189"/>
                  </a:lnTo>
                  <a:lnTo>
                    <a:pt x="260" y="188"/>
                  </a:lnTo>
                  <a:lnTo>
                    <a:pt x="263" y="188"/>
                  </a:lnTo>
                  <a:lnTo>
                    <a:pt x="264" y="188"/>
                  </a:lnTo>
                  <a:lnTo>
                    <a:pt x="265" y="187"/>
                  </a:lnTo>
                  <a:lnTo>
                    <a:pt x="265" y="186"/>
                  </a:lnTo>
                  <a:lnTo>
                    <a:pt x="266" y="186"/>
                  </a:lnTo>
                  <a:lnTo>
                    <a:pt x="268" y="187"/>
                  </a:lnTo>
                  <a:lnTo>
                    <a:pt x="269" y="187"/>
                  </a:lnTo>
                  <a:lnTo>
                    <a:pt x="269" y="186"/>
                  </a:lnTo>
                  <a:lnTo>
                    <a:pt x="268" y="184"/>
                  </a:lnTo>
                  <a:lnTo>
                    <a:pt x="268" y="183"/>
                  </a:lnTo>
                  <a:lnTo>
                    <a:pt x="269" y="182"/>
                  </a:lnTo>
                  <a:lnTo>
                    <a:pt x="271" y="183"/>
                  </a:lnTo>
                  <a:lnTo>
                    <a:pt x="272" y="182"/>
                  </a:lnTo>
                  <a:lnTo>
                    <a:pt x="274" y="181"/>
                  </a:lnTo>
                  <a:lnTo>
                    <a:pt x="275" y="181"/>
                  </a:lnTo>
                  <a:lnTo>
                    <a:pt x="276" y="181"/>
                  </a:lnTo>
                  <a:lnTo>
                    <a:pt x="277" y="181"/>
                  </a:lnTo>
                  <a:lnTo>
                    <a:pt x="277" y="180"/>
                  </a:lnTo>
                  <a:lnTo>
                    <a:pt x="277" y="178"/>
                  </a:lnTo>
                  <a:lnTo>
                    <a:pt x="277" y="177"/>
                  </a:lnTo>
                  <a:lnTo>
                    <a:pt x="277" y="176"/>
                  </a:lnTo>
                  <a:lnTo>
                    <a:pt x="275" y="176"/>
                  </a:lnTo>
                  <a:lnTo>
                    <a:pt x="272" y="176"/>
                  </a:lnTo>
                  <a:lnTo>
                    <a:pt x="271" y="176"/>
                  </a:lnTo>
                  <a:lnTo>
                    <a:pt x="269" y="177"/>
                  </a:lnTo>
                  <a:lnTo>
                    <a:pt x="269" y="176"/>
                  </a:lnTo>
                  <a:lnTo>
                    <a:pt x="268" y="177"/>
                  </a:lnTo>
                  <a:lnTo>
                    <a:pt x="266" y="177"/>
                  </a:lnTo>
                  <a:lnTo>
                    <a:pt x="266" y="176"/>
                  </a:lnTo>
                  <a:lnTo>
                    <a:pt x="268" y="175"/>
                  </a:lnTo>
                  <a:lnTo>
                    <a:pt x="269" y="173"/>
                  </a:lnTo>
                  <a:lnTo>
                    <a:pt x="269" y="172"/>
                  </a:lnTo>
                  <a:lnTo>
                    <a:pt x="268" y="172"/>
                  </a:lnTo>
                  <a:lnTo>
                    <a:pt x="265" y="173"/>
                  </a:lnTo>
                  <a:lnTo>
                    <a:pt x="264" y="172"/>
                  </a:lnTo>
                  <a:lnTo>
                    <a:pt x="265" y="172"/>
                  </a:lnTo>
                  <a:lnTo>
                    <a:pt x="268" y="171"/>
                  </a:lnTo>
                  <a:lnTo>
                    <a:pt x="266" y="171"/>
                  </a:lnTo>
                  <a:lnTo>
                    <a:pt x="268" y="171"/>
                  </a:lnTo>
                  <a:lnTo>
                    <a:pt x="269" y="170"/>
                  </a:lnTo>
                  <a:lnTo>
                    <a:pt x="270" y="169"/>
                  </a:lnTo>
                  <a:lnTo>
                    <a:pt x="270" y="167"/>
                  </a:lnTo>
                  <a:lnTo>
                    <a:pt x="271" y="166"/>
                  </a:lnTo>
                  <a:lnTo>
                    <a:pt x="271" y="167"/>
                  </a:lnTo>
                  <a:lnTo>
                    <a:pt x="271" y="169"/>
                  </a:lnTo>
                  <a:lnTo>
                    <a:pt x="274" y="169"/>
                  </a:lnTo>
                  <a:lnTo>
                    <a:pt x="275" y="169"/>
                  </a:lnTo>
                  <a:lnTo>
                    <a:pt x="276" y="167"/>
                  </a:lnTo>
                  <a:lnTo>
                    <a:pt x="276" y="166"/>
                  </a:lnTo>
                  <a:lnTo>
                    <a:pt x="275" y="166"/>
                  </a:lnTo>
                  <a:lnTo>
                    <a:pt x="274" y="166"/>
                  </a:lnTo>
                  <a:lnTo>
                    <a:pt x="272" y="166"/>
                  </a:lnTo>
                  <a:lnTo>
                    <a:pt x="272" y="165"/>
                  </a:lnTo>
                  <a:lnTo>
                    <a:pt x="272" y="164"/>
                  </a:lnTo>
                  <a:lnTo>
                    <a:pt x="274" y="164"/>
                  </a:lnTo>
                  <a:lnTo>
                    <a:pt x="274" y="163"/>
                  </a:lnTo>
                  <a:lnTo>
                    <a:pt x="274" y="161"/>
                  </a:lnTo>
                  <a:lnTo>
                    <a:pt x="274" y="163"/>
                  </a:lnTo>
                  <a:lnTo>
                    <a:pt x="275" y="164"/>
                  </a:lnTo>
                  <a:lnTo>
                    <a:pt x="276" y="164"/>
                  </a:lnTo>
                  <a:lnTo>
                    <a:pt x="277" y="165"/>
                  </a:lnTo>
                  <a:lnTo>
                    <a:pt x="280" y="165"/>
                  </a:lnTo>
                  <a:lnTo>
                    <a:pt x="281" y="165"/>
                  </a:lnTo>
                  <a:lnTo>
                    <a:pt x="282" y="164"/>
                  </a:lnTo>
                  <a:lnTo>
                    <a:pt x="282" y="163"/>
                  </a:lnTo>
                  <a:lnTo>
                    <a:pt x="282" y="161"/>
                  </a:lnTo>
                  <a:lnTo>
                    <a:pt x="280" y="163"/>
                  </a:lnTo>
                  <a:lnTo>
                    <a:pt x="279" y="161"/>
                  </a:lnTo>
                  <a:lnTo>
                    <a:pt x="277" y="161"/>
                  </a:lnTo>
                  <a:lnTo>
                    <a:pt x="276" y="160"/>
                  </a:lnTo>
                  <a:lnTo>
                    <a:pt x="276" y="161"/>
                  </a:lnTo>
                  <a:lnTo>
                    <a:pt x="275" y="160"/>
                  </a:lnTo>
                  <a:lnTo>
                    <a:pt x="275" y="159"/>
                  </a:lnTo>
                  <a:lnTo>
                    <a:pt x="274" y="158"/>
                  </a:lnTo>
                  <a:lnTo>
                    <a:pt x="275" y="157"/>
                  </a:lnTo>
                  <a:lnTo>
                    <a:pt x="276" y="157"/>
                  </a:lnTo>
                  <a:lnTo>
                    <a:pt x="277" y="158"/>
                  </a:lnTo>
                  <a:lnTo>
                    <a:pt x="277" y="159"/>
                  </a:lnTo>
                  <a:lnTo>
                    <a:pt x="279" y="160"/>
                  </a:lnTo>
                  <a:lnTo>
                    <a:pt x="280" y="160"/>
                  </a:lnTo>
                  <a:lnTo>
                    <a:pt x="281" y="160"/>
                  </a:lnTo>
                  <a:lnTo>
                    <a:pt x="281" y="159"/>
                  </a:lnTo>
                  <a:lnTo>
                    <a:pt x="282" y="159"/>
                  </a:lnTo>
                  <a:lnTo>
                    <a:pt x="282" y="160"/>
                  </a:lnTo>
                  <a:lnTo>
                    <a:pt x="285" y="160"/>
                  </a:lnTo>
                  <a:lnTo>
                    <a:pt x="285" y="159"/>
                  </a:lnTo>
                  <a:lnTo>
                    <a:pt x="285" y="158"/>
                  </a:lnTo>
                  <a:lnTo>
                    <a:pt x="283" y="158"/>
                  </a:lnTo>
                  <a:lnTo>
                    <a:pt x="282" y="158"/>
                  </a:lnTo>
                  <a:lnTo>
                    <a:pt x="280" y="157"/>
                  </a:lnTo>
                  <a:lnTo>
                    <a:pt x="281" y="155"/>
                  </a:lnTo>
                  <a:lnTo>
                    <a:pt x="282" y="155"/>
                  </a:lnTo>
                  <a:lnTo>
                    <a:pt x="283" y="157"/>
                  </a:lnTo>
                  <a:lnTo>
                    <a:pt x="285" y="158"/>
                  </a:lnTo>
                  <a:lnTo>
                    <a:pt x="286" y="159"/>
                  </a:lnTo>
                  <a:lnTo>
                    <a:pt x="286" y="160"/>
                  </a:lnTo>
                  <a:lnTo>
                    <a:pt x="288" y="159"/>
                  </a:lnTo>
                  <a:lnTo>
                    <a:pt x="289" y="159"/>
                  </a:lnTo>
                  <a:lnTo>
                    <a:pt x="289" y="158"/>
                  </a:lnTo>
                  <a:lnTo>
                    <a:pt x="289" y="157"/>
                  </a:lnTo>
                  <a:lnTo>
                    <a:pt x="287" y="157"/>
                  </a:lnTo>
                  <a:lnTo>
                    <a:pt x="286" y="158"/>
                  </a:lnTo>
                  <a:lnTo>
                    <a:pt x="285" y="158"/>
                  </a:lnTo>
                  <a:lnTo>
                    <a:pt x="285" y="157"/>
                  </a:lnTo>
                  <a:lnTo>
                    <a:pt x="286" y="155"/>
                  </a:lnTo>
                  <a:lnTo>
                    <a:pt x="288" y="154"/>
                  </a:lnTo>
                  <a:lnTo>
                    <a:pt x="288" y="153"/>
                  </a:lnTo>
                  <a:lnTo>
                    <a:pt x="289" y="152"/>
                  </a:lnTo>
                  <a:lnTo>
                    <a:pt x="291" y="153"/>
                  </a:lnTo>
                  <a:lnTo>
                    <a:pt x="292" y="152"/>
                  </a:lnTo>
                  <a:lnTo>
                    <a:pt x="293" y="152"/>
                  </a:lnTo>
                  <a:lnTo>
                    <a:pt x="292" y="149"/>
                  </a:lnTo>
                  <a:lnTo>
                    <a:pt x="293" y="148"/>
                  </a:lnTo>
                  <a:lnTo>
                    <a:pt x="294" y="148"/>
                  </a:lnTo>
                  <a:lnTo>
                    <a:pt x="295" y="147"/>
                  </a:lnTo>
                  <a:lnTo>
                    <a:pt x="295" y="146"/>
                  </a:lnTo>
                  <a:lnTo>
                    <a:pt x="297" y="145"/>
                  </a:lnTo>
                  <a:lnTo>
                    <a:pt x="297" y="143"/>
                  </a:lnTo>
                  <a:lnTo>
                    <a:pt x="295" y="142"/>
                  </a:lnTo>
                  <a:lnTo>
                    <a:pt x="294" y="143"/>
                  </a:lnTo>
                  <a:lnTo>
                    <a:pt x="293" y="145"/>
                  </a:lnTo>
                  <a:lnTo>
                    <a:pt x="293" y="146"/>
                  </a:lnTo>
                  <a:lnTo>
                    <a:pt x="292" y="146"/>
                  </a:lnTo>
                  <a:lnTo>
                    <a:pt x="292" y="145"/>
                  </a:lnTo>
                  <a:lnTo>
                    <a:pt x="292" y="143"/>
                  </a:lnTo>
                  <a:lnTo>
                    <a:pt x="291" y="143"/>
                  </a:lnTo>
                  <a:lnTo>
                    <a:pt x="289" y="142"/>
                  </a:lnTo>
                  <a:lnTo>
                    <a:pt x="288" y="142"/>
                  </a:lnTo>
                  <a:lnTo>
                    <a:pt x="288" y="141"/>
                  </a:lnTo>
                  <a:lnTo>
                    <a:pt x="288" y="140"/>
                  </a:lnTo>
                  <a:lnTo>
                    <a:pt x="287" y="140"/>
                  </a:lnTo>
                  <a:lnTo>
                    <a:pt x="286" y="141"/>
                  </a:lnTo>
                  <a:lnTo>
                    <a:pt x="285" y="142"/>
                  </a:lnTo>
                  <a:lnTo>
                    <a:pt x="282" y="142"/>
                  </a:lnTo>
                  <a:lnTo>
                    <a:pt x="281" y="142"/>
                  </a:lnTo>
                  <a:lnTo>
                    <a:pt x="281" y="141"/>
                  </a:lnTo>
                  <a:lnTo>
                    <a:pt x="280" y="142"/>
                  </a:lnTo>
                  <a:lnTo>
                    <a:pt x="279" y="142"/>
                  </a:lnTo>
                  <a:lnTo>
                    <a:pt x="277" y="142"/>
                  </a:lnTo>
                  <a:lnTo>
                    <a:pt x="276" y="141"/>
                  </a:lnTo>
                  <a:lnTo>
                    <a:pt x="275" y="140"/>
                  </a:lnTo>
                  <a:lnTo>
                    <a:pt x="275" y="142"/>
                  </a:lnTo>
                  <a:lnTo>
                    <a:pt x="274" y="142"/>
                  </a:lnTo>
                  <a:lnTo>
                    <a:pt x="272" y="142"/>
                  </a:lnTo>
                  <a:lnTo>
                    <a:pt x="270" y="142"/>
                  </a:lnTo>
                  <a:lnTo>
                    <a:pt x="269" y="141"/>
                  </a:lnTo>
                  <a:lnTo>
                    <a:pt x="268" y="141"/>
                  </a:lnTo>
                  <a:lnTo>
                    <a:pt x="268" y="140"/>
                  </a:lnTo>
                  <a:lnTo>
                    <a:pt x="269" y="139"/>
                  </a:lnTo>
                  <a:lnTo>
                    <a:pt x="268" y="139"/>
                  </a:lnTo>
                  <a:lnTo>
                    <a:pt x="266" y="139"/>
                  </a:lnTo>
                  <a:lnTo>
                    <a:pt x="265" y="139"/>
                  </a:lnTo>
                  <a:lnTo>
                    <a:pt x="264" y="139"/>
                  </a:lnTo>
                  <a:lnTo>
                    <a:pt x="263" y="139"/>
                  </a:lnTo>
                  <a:lnTo>
                    <a:pt x="262" y="139"/>
                  </a:lnTo>
                  <a:lnTo>
                    <a:pt x="262" y="137"/>
                  </a:lnTo>
                  <a:lnTo>
                    <a:pt x="260" y="136"/>
                  </a:lnTo>
                  <a:lnTo>
                    <a:pt x="259" y="136"/>
                  </a:lnTo>
                  <a:lnTo>
                    <a:pt x="259" y="137"/>
                  </a:lnTo>
                  <a:lnTo>
                    <a:pt x="258" y="137"/>
                  </a:lnTo>
                  <a:lnTo>
                    <a:pt x="257" y="137"/>
                  </a:lnTo>
                  <a:lnTo>
                    <a:pt x="257" y="139"/>
                  </a:lnTo>
                  <a:lnTo>
                    <a:pt x="256" y="137"/>
                  </a:lnTo>
                  <a:lnTo>
                    <a:pt x="256" y="136"/>
                  </a:lnTo>
                  <a:lnTo>
                    <a:pt x="257" y="135"/>
                  </a:lnTo>
                  <a:lnTo>
                    <a:pt x="256" y="135"/>
                  </a:lnTo>
                  <a:lnTo>
                    <a:pt x="254" y="135"/>
                  </a:lnTo>
                  <a:lnTo>
                    <a:pt x="253" y="135"/>
                  </a:lnTo>
                  <a:lnTo>
                    <a:pt x="253" y="134"/>
                  </a:lnTo>
                  <a:lnTo>
                    <a:pt x="254" y="133"/>
                  </a:lnTo>
                  <a:lnTo>
                    <a:pt x="256" y="134"/>
                  </a:lnTo>
                  <a:lnTo>
                    <a:pt x="257" y="134"/>
                  </a:lnTo>
                  <a:lnTo>
                    <a:pt x="259" y="133"/>
                  </a:lnTo>
                  <a:lnTo>
                    <a:pt x="258" y="131"/>
                  </a:lnTo>
                  <a:lnTo>
                    <a:pt x="257" y="131"/>
                  </a:lnTo>
                  <a:lnTo>
                    <a:pt x="258" y="131"/>
                  </a:lnTo>
                  <a:lnTo>
                    <a:pt x="259" y="131"/>
                  </a:lnTo>
                  <a:lnTo>
                    <a:pt x="259" y="130"/>
                  </a:lnTo>
                  <a:lnTo>
                    <a:pt x="262" y="130"/>
                  </a:lnTo>
                  <a:lnTo>
                    <a:pt x="262" y="131"/>
                  </a:lnTo>
                  <a:lnTo>
                    <a:pt x="263" y="131"/>
                  </a:lnTo>
                  <a:lnTo>
                    <a:pt x="265" y="131"/>
                  </a:lnTo>
                  <a:lnTo>
                    <a:pt x="265" y="130"/>
                  </a:lnTo>
                  <a:lnTo>
                    <a:pt x="265" y="129"/>
                  </a:lnTo>
                  <a:lnTo>
                    <a:pt x="266" y="129"/>
                  </a:lnTo>
                  <a:lnTo>
                    <a:pt x="268" y="129"/>
                  </a:lnTo>
                  <a:lnTo>
                    <a:pt x="269" y="128"/>
                  </a:lnTo>
                  <a:lnTo>
                    <a:pt x="270" y="127"/>
                  </a:lnTo>
                  <a:lnTo>
                    <a:pt x="270" y="125"/>
                  </a:lnTo>
                  <a:lnTo>
                    <a:pt x="269" y="125"/>
                  </a:lnTo>
                  <a:lnTo>
                    <a:pt x="269" y="124"/>
                  </a:lnTo>
                  <a:lnTo>
                    <a:pt x="268" y="125"/>
                  </a:lnTo>
                  <a:lnTo>
                    <a:pt x="266" y="125"/>
                  </a:lnTo>
                  <a:lnTo>
                    <a:pt x="264" y="127"/>
                  </a:lnTo>
                  <a:lnTo>
                    <a:pt x="264" y="125"/>
                  </a:lnTo>
                  <a:lnTo>
                    <a:pt x="263" y="125"/>
                  </a:lnTo>
                  <a:lnTo>
                    <a:pt x="262" y="127"/>
                  </a:lnTo>
                  <a:lnTo>
                    <a:pt x="260" y="125"/>
                  </a:lnTo>
                  <a:lnTo>
                    <a:pt x="259" y="124"/>
                  </a:lnTo>
                  <a:lnTo>
                    <a:pt x="258" y="125"/>
                  </a:lnTo>
                  <a:lnTo>
                    <a:pt x="257" y="124"/>
                  </a:lnTo>
                  <a:lnTo>
                    <a:pt x="259" y="124"/>
                  </a:lnTo>
                  <a:lnTo>
                    <a:pt x="259" y="123"/>
                  </a:lnTo>
                  <a:lnTo>
                    <a:pt x="258" y="122"/>
                  </a:lnTo>
                  <a:lnTo>
                    <a:pt x="257" y="122"/>
                  </a:lnTo>
                  <a:lnTo>
                    <a:pt x="257" y="121"/>
                  </a:lnTo>
                  <a:lnTo>
                    <a:pt x="259" y="119"/>
                  </a:lnTo>
                  <a:lnTo>
                    <a:pt x="260" y="118"/>
                  </a:lnTo>
                  <a:lnTo>
                    <a:pt x="260" y="116"/>
                  </a:lnTo>
                  <a:lnTo>
                    <a:pt x="259" y="116"/>
                  </a:lnTo>
                  <a:lnTo>
                    <a:pt x="259" y="115"/>
                  </a:lnTo>
                  <a:lnTo>
                    <a:pt x="259" y="113"/>
                  </a:lnTo>
                  <a:lnTo>
                    <a:pt x="260" y="113"/>
                  </a:lnTo>
                  <a:lnTo>
                    <a:pt x="263" y="112"/>
                  </a:lnTo>
                  <a:lnTo>
                    <a:pt x="264" y="112"/>
                  </a:lnTo>
                  <a:lnTo>
                    <a:pt x="265" y="111"/>
                  </a:lnTo>
                  <a:lnTo>
                    <a:pt x="266" y="110"/>
                  </a:lnTo>
                  <a:lnTo>
                    <a:pt x="265" y="109"/>
                  </a:lnTo>
                  <a:lnTo>
                    <a:pt x="265" y="107"/>
                  </a:lnTo>
                  <a:lnTo>
                    <a:pt x="264" y="106"/>
                  </a:lnTo>
                  <a:lnTo>
                    <a:pt x="263" y="107"/>
                  </a:lnTo>
                  <a:lnTo>
                    <a:pt x="263" y="109"/>
                  </a:lnTo>
                  <a:lnTo>
                    <a:pt x="262" y="109"/>
                  </a:lnTo>
                  <a:lnTo>
                    <a:pt x="260" y="109"/>
                  </a:lnTo>
                  <a:lnTo>
                    <a:pt x="259" y="109"/>
                  </a:lnTo>
                  <a:lnTo>
                    <a:pt x="259" y="107"/>
                  </a:lnTo>
                  <a:lnTo>
                    <a:pt x="259" y="106"/>
                  </a:lnTo>
                  <a:lnTo>
                    <a:pt x="259" y="105"/>
                  </a:lnTo>
                  <a:lnTo>
                    <a:pt x="259" y="106"/>
                  </a:lnTo>
                  <a:lnTo>
                    <a:pt x="258" y="106"/>
                  </a:lnTo>
                  <a:lnTo>
                    <a:pt x="257" y="106"/>
                  </a:lnTo>
                  <a:lnTo>
                    <a:pt x="256" y="106"/>
                  </a:lnTo>
                  <a:lnTo>
                    <a:pt x="254" y="106"/>
                  </a:lnTo>
                  <a:lnTo>
                    <a:pt x="254" y="105"/>
                  </a:lnTo>
                  <a:lnTo>
                    <a:pt x="253" y="104"/>
                  </a:lnTo>
                  <a:lnTo>
                    <a:pt x="252" y="104"/>
                  </a:lnTo>
                  <a:lnTo>
                    <a:pt x="252" y="105"/>
                  </a:lnTo>
                  <a:lnTo>
                    <a:pt x="251" y="105"/>
                  </a:lnTo>
                  <a:lnTo>
                    <a:pt x="251" y="104"/>
                  </a:lnTo>
                  <a:lnTo>
                    <a:pt x="250" y="104"/>
                  </a:lnTo>
                  <a:lnTo>
                    <a:pt x="248" y="105"/>
                  </a:lnTo>
                  <a:lnTo>
                    <a:pt x="248" y="104"/>
                  </a:lnTo>
                  <a:lnTo>
                    <a:pt x="250" y="103"/>
                  </a:lnTo>
                  <a:lnTo>
                    <a:pt x="248" y="103"/>
                  </a:lnTo>
                  <a:lnTo>
                    <a:pt x="247" y="103"/>
                  </a:lnTo>
                  <a:lnTo>
                    <a:pt x="246" y="103"/>
                  </a:lnTo>
                  <a:lnTo>
                    <a:pt x="245" y="101"/>
                  </a:lnTo>
                  <a:lnTo>
                    <a:pt x="246" y="101"/>
                  </a:lnTo>
                  <a:lnTo>
                    <a:pt x="247" y="101"/>
                  </a:lnTo>
                  <a:lnTo>
                    <a:pt x="246" y="100"/>
                  </a:lnTo>
                  <a:lnTo>
                    <a:pt x="246" y="98"/>
                  </a:lnTo>
                  <a:lnTo>
                    <a:pt x="247" y="98"/>
                  </a:lnTo>
                  <a:lnTo>
                    <a:pt x="247" y="100"/>
                  </a:lnTo>
                  <a:lnTo>
                    <a:pt x="248" y="100"/>
                  </a:lnTo>
                  <a:lnTo>
                    <a:pt x="248" y="101"/>
                  </a:lnTo>
                  <a:lnTo>
                    <a:pt x="250" y="101"/>
                  </a:lnTo>
                  <a:lnTo>
                    <a:pt x="250" y="99"/>
                  </a:lnTo>
                  <a:lnTo>
                    <a:pt x="250" y="98"/>
                  </a:lnTo>
                  <a:lnTo>
                    <a:pt x="251" y="100"/>
                  </a:lnTo>
                  <a:lnTo>
                    <a:pt x="252" y="100"/>
                  </a:lnTo>
                  <a:lnTo>
                    <a:pt x="252" y="101"/>
                  </a:lnTo>
                  <a:lnTo>
                    <a:pt x="252" y="103"/>
                  </a:lnTo>
                  <a:lnTo>
                    <a:pt x="254" y="103"/>
                  </a:lnTo>
                  <a:lnTo>
                    <a:pt x="256" y="103"/>
                  </a:lnTo>
                  <a:lnTo>
                    <a:pt x="256" y="101"/>
                  </a:lnTo>
                  <a:lnTo>
                    <a:pt x="254" y="101"/>
                  </a:lnTo>
                  <a:lnTo>
                    <a:pt x="254" y="100"/>
                  </a:lnTo>
                  <a:lnTo>
                    <a:pt x="254" y="99"/>
                  </a:lnTo>
                  <a:lnTo>
                    <a:pt x="253" y="99"/>
                  </a:lnTo>
                  <a:lnTo>
                    <a:pt x="253" y="98"/>
                  </a:lnTo>
                  <a:lnTo>
                    <a:pt x="252" y="98"/>
                  </a:lnTo>
                  <a:lnTo>
                    <a:pt x="252" y="97"/>
                  </a:lnTo>
                  <a:lnTo>
                    <a:pt x="251" y="97"/>
                  </a:lnTo>
                  <a:lnTo>
                    <a:pt x="251" y="95"/>
                  </a:lnTo>
                  <a:lnTo>
                    <a:pt x="252" y="94"/>
                  </a:lnTo>
                  <a:lnTo>
                    <a:pt x="252" y="95"/>
                  </a:lnTo>
                  <a:lnTo>
                    <a:pt x="253" y="97"/>
                  </a:lnTo>
                  <a:lnTo>
                    <a:pt x="256" y="97"/>
                  </a:lnTo>
                  <a:lnTo>
                    <a:pt x="254" y="95"/>
                  </a:lnTo>
                  <a:lnTo>
                    <a:pt x="256" y="95"/>
                  </a:lnTo>
                  <a:lnTo>
                    <a:pt x="256" y="97"/>
                  </a:lnTo>
                  <a:lnTo>
                    <a:pt x="256" y="98"/>
                  </a:lnTo>
                  <a:lnTo>
                    <a:pt x="257" y="98"/>
                  </a:lnTo>
                  <a:lnTo>
                    <a:pt x="258" y="98"/>
                  </a:lnTo>
                  <a:lnTo>
                    <a:pt x="259" y="97"/>
                  </a:lnTo>
                  <a:lnTo>
                    <a:pt x="260" y="97"/>
                  </a:lnTo>
                  <a:lnTo>
                    <a:pt x="262" y="97"/>
                  </a:lnTo>
                  <a:lnTo>
                    <a:pt x="263" y="95"/>
                  </a:lnTo>
                  <a:lnTo>
                    <a:pt x="264" y="95"/>
                  </a:lnTo>
                  <a:lnTo>
                    <a:pt x="264" y="98"/>
                  </a:lnTo>
                  <a:lnTo>
                    <a:pt x="266" y="99"/>
                  </a:lnTo>
                  <a:lnTo>
                    <a:pt x="268" y="98"/>
                  </a:lnTo>
                  <a:lnTo>
                    <a:pt x="270" y="97"/>
                  </a:lnTo>
                  <a:lnTo>
                    <a:pt x="271" y="95"/>
                  </a:lnTo>
                  <a:lnTo>
                    <a:pt x="271" y="94"/>
                  </a:lnTo>
                  <a:lnTo>
                    <a:pt x="270" y="94"/>
                  </a:lnTo>
                  <a:lnTo>
                    <a:pt x="271" y="93"/>
                  </a:lnTo>
                  <a:lnTo>
                    <a:pt x="271" y="92"/>
                  </a:lnTo>
                  <a:lnTo>
                    <a:pt x="272" y="92"/>
                  </a:lnTo>
                  <a:lnTo>
                    <a:pt x="274" y="91"/>
                  </a:lnTo>
                  <a:lnTo>
                    <a:pt x="276" y="91"/>
                  </a:lnTo>
                  <a:lnTo>
                    <a:pt x="277" y="89"/>
                  </a:lnTo>
                  <a:lnTo>
                    <a:pt x="277" y="88"/>
                  </a:lnTo>
                  <a:lnTo>
                    <a:pt x="279" y="87"/>
                  </a:lnTo>
                  <a:lnTo>
                    <a:pt x="280" y="86"/>
                  </a:lnTo>
                  <a:lnTo>
                    <a:pt x="281" y="85"/>
                  </a:lnTo>
                  <a:lnTo>
                    <a:pt x="280" y="83"/>
                  </a:lnTo>
                  <a:lnTo>
                    <a:pt x="277" y="83"/>
                  </a:lnTo>
                  <a:lnTo>
                    <a:pt x="276" y="85"/>
                  </a:lnTo>
                  <a:lnTo>
                    <a:pt x="275" y="83"/>
                  </a:lnTo>
                  <a:lnTo>
                    <a:pt x="274" y="85"/>
                  </a:lnTo>
                  <a:lnTo>
                    <a:pt x="271" y="85"/>
                  </a:lnTo>
                  <a:lnTo>
                    <a:pt x="274" y="83"/>
                  </a:lnTo>
                  <a:lnTo>
                    <a:pt x="274" y="82"/>
                  </a:lnTo>
                  <a:lnTo>
                    <a:pt x="272" y="81"/>
                  </a:lnTo>
                  <a:lnTo>
                    <a:pt x="274" y="80"/>
                  </a:lnTo>
                  <a:lnTo>
                    <a:pt x="275" y="80"/>
                  </a:lnTo>
                  <a:lnTo>
                    <a:pt x="275" y="77"/>
                  </a:lnTo>
                  <a:lnTo>
                    <a:pt x="274" y="77"/>
                  </a:lnTo>
                  <a:lnTo>
                    <a:pt x="272" y="77"/>
                  </a:lnTo>
                  <a:lnTo>
                    <a:pt x="272" y="79"/>
                  </a:lnTo>
                  <a:lnTo>
                    <a:pt x="271" y="79"/>
                  </a:lnTo>
                  <a:lnTo>
                    <a:pt x="270" y="79"/>
                  </a:lnTo>
                  <a:lnTo>
                    <a:pt x="269" y="80"/>
                  </a:lnTo>
                  <a:lnTo>
                    <a:pt x="269" y="79"/>
                  </a:lnTo>
                  <a:lnTo>
                    <a:pt x="270" y="77"/>
                  </a:lnTo>
                  <a:lnTo>
                    <a:pt x="271" y="77"/>
                  </a:lnTo>
                  <a:lnTo>
                    <a:pt x="271" y="76"/>
                  </a:lnTo>
                  <a:lnTo>
                    <a:pt x="272" y="76"/>
                  </a:lnTo>
                  <a:lnTo>
                    <a:pt x="274" y="75"/>
                  </a:lnTo>
                  <a:lnTo>
                    <a:pt x="272" y="74"/>
                  </a:lnTo>
                  <a:lnTo>
                    <a:pt x="270" y="74"/>
                  </a:lnTo>
                  <a:lnTo>
                    <a:pt x="269" y="75"/>
                  </a:lnTo>
                  <a:lnTo>
                    <a:pt x="269" y="74"/>
                  </a:lnTo>
                  <a:lnTo>
                    <a:pt x="272" y="73"/>
                  </a:lnTo>
                  <a:lnTo>
                    <a:pt x="274" y="71"/>
                  </a:lnTo>
                  <a:lnTo>
                    <a:pt x="275" y="71"/>
                  </a:lnTo>
                  <a:lnTo>
                    <a:pt x="275" y="70"/>
                  </a:lnTo>
                  <a:lnTo>
                    <a:pt x="276" y="69"/>
                  </a:lnTo>
                  <a:lnTo>
                    <a:pt x="275" y="68"/>
                  </a:lnTo>
                  <a:lnTo>
                    <a:pt x="274" y="68"/>
                  </a:lnTo>
                  <a:lnTo>
                    <a:pt x="274" y="69"/>
                  </a:lnTo>
                  <a:lnTo>
                    <a:pt x="272" y="69"/>
                  </a:lnTo>
                  <a:lnTo>
                    <a:pt x="271" y="69"/>
                  </a:lnTo>
                  <a:lnTo>
                    <a:pt x="270" y="70"/>
                  </a:lnTo>
                  <a:lnTo>
                    <a:pt x="269" y="70"/>
                  </a:lnTo>
                  <a:lnTo>
                    <a:pt x="266" y="70"/>
                  </a:lnTo>
                  <a:lnTo>
                    <a:pt x="266" y="71"/>
                  </a:lnTo>
                  <a:lnTo>
                    <a:pt x="265" y="71"/>
                  </a:lnTo>
                  <a:lnTo>
                    <a:pt x="265" y="70"/>
                  </a:lnTo>
                  <a:lnTo>
                    <a:pt x="266" y="70"/>
                  </a:lnTo>
                  <a:lnTo>
                    <a:pt x="266" y="69"/>
                  </a:lnTo>
                  <a:lnTo>
                    <a:pt x="269" y="69"/>
                  </a:lnTo>
                  <a:lnTo>
                    <a:pt x="270" y="69"/>
                  </a:lnTo>
                  <a:lnTo>
                    <a:pt x="271" y="68"/>
                  </a:lnTo>
                  <a:lnTo>
                    <a:pt x="271" y="65"/>
                  </a:lnTo>
                  <a:lnTo>
                    <a:pt x="272" y="64"/>
                  </a:lnTo>
                  <a:lnTo>
                    <a:pt x="272" y="63"/>
                  </a:lnTo>
                  <a:lnTo>
                    <a:pt x="272" y="62"/>
                  </a:lnTo>
                  <a:lnTo>
                    <a:pt x="271" y="60"/>
                  </a:lnTo>
                  <a:lnTo>
                    <a:pt x="270" y="60"/>
                  </a:lnTo>
                  <a:lnTo>
                    <a:pt x="269" y="60"/>
                  </a:lnTo>
                  <a:lnTo>
                    <a:pt x="269" y="62"/>
                  </a:lnTo>
                  <a:lnTo>
                    <a:pt x="270" y="63"/>
                  </a:lnTo>
                  <a:lnTo>
                    <a:pt x="269" y="64"/>
                  </a:lnTo>
                  <a:lnTo>
                    <a:pt x="268" y="65"/>
                  </a:lnTo>
                  <a:lnTo>
                    <a:pt x="266" y="65"/>
                  </a:lnTo>
                  <a:lnTo>
                    <a:pt x="265" y="64"/>
                  </a:lnTo>
                  <a:lnTo>
                    <a:pt x="264" y="64"/>
                  </a:lnTo>
                  <a:lnTo>
                    <a:pt x="263" y="65"/>
                  </a:lnTo>
                  <a:lnTo>
                    <a:pt x="263" y="66"/>
                  </a:lnTo>
                  <a:lnTo>
                    <a:pt x="263" y="68"/>
                  </a:lnTo>
                  <a:lnTo>
                    <a:pt x="264" y="70"/>
                  </a:lnTo>
                  <a:lnTo>
                    <a:pt x="263" y="70"/>
                  </a:lnTo>
                  <a:lnTo>
                    <a:pt x="263" y="69"/>
                  </a:lnTo>
                  <a:lnTo>
                    <a:pt x="262" y="68"/>
                  </a:lnTo>
                  <a:lnTo>
                    <a:pt x="260" y="66"/>
                  </a:lnTo>
                  <a:lnTo>
                    <a:pt x="259" y="66"/>
                  </a:lnTo>
                  <a:lnTo>
                    <a:pt x="258" y="66"/>
                  </a:lnTo>
                  <a:lnTo>
                    <a:pt x="258" y="68"/>
                  </a:lnTo>
                  <a:lnTo>
                    <a:pt x="257" y="69"/>
                  </a:lnTo>
                  <a:lnTo>
                    <a:pt x="257" y="70"/>
                  </a:lnTo>
                  <a:lnTo>
                    <a:pt x="257" y="71"/>
                  </a:lnTo>
                  <a:lnTo>
                    <a:pt x="256" y="71"/>
                  </a:lnTo>
                  <a:lnTo>
                    <a:pt x="254" y="70"/>
                  </a:lnTo>
                  <a:lnTo>
                    <a:pt x="254" y="71"/>
                  </a:lnTo>
                  <a:lnTo>
                    <a:pt x="253" y="71"/>
                  </a:lnTo>
                  <a:lnTo>
                    <a:pt x="252" y="73"/>
                  </a:lnTo>
                  <a:lnTo>
                    <a:pt x="251" y="74"/>
                  </a:lnTo>
                  <a:lnTo>
                    <a:pt x="250" y="74"/>
                  </a:lnTo>
                  <a:lnTo>
                    <a:pt x="248" y="74"/>
                  </a:lnTo>
                  <a:lnTo>
                    <a:pt x="247" y="73"/>
                  </a:lnTo>
                  <a:lnTo>
                    <a:pt x="247" y="71"/>
                  </a:lnTo>
                  <a:lnTo>
                    <a:pt x="246" y="70"/>
                  </a:lnTo>
                  <a:lnTo>
                    <a:pt x="244" y="70"/>
                  </a:lnTo>
                  <a:lnTo>
                    <a:pt x="245" y="69"/>
                  </a:lnTo>
                  <a:lnTo>
                    <a:pt x="246" y="70"/>
                  </a:lnTo>
                  <a:lnTo>
                    <a:pt x="246" y="69"/>
                  </a:lnTo>
                  <a:lnTo>
                    <a:pt x="247" y="68"/>
                  </a:lnTo>
                  <a:lnTo>
                    <a:pt x="248" y="68"/>
                  </a:lnTo>
                  <a:lnTo>
                    <a:pt x="250" y="66"/>
                  </a:lnTo>
                  <a:lnTo>
                    <a:pt x="248" y="65"/>
                  </a:lnTo>
                  <a:lnTo>
                    <a:pt x="248" y="64"/>
                  </a:lnTo>
                  <a:lnTo>
                    <a:pt x="248" y="62"/>
                  </a:lnTo>
                  <a:lnTo>
                    <a:pt x="250" y="60"/>
                  </a:lnTo>
                  <a:lnTo>
                    <a:pt x="251" y="59"/>
                  </a:lnTo>
                  <a:lnTo>
                    <a:pt x="253" y="59"/>
                  </a:lnTo>
                  <a:lnTo>
                    <a:pt x="254" y="60"/>
                  </a:lnTo>
                  <a:lnTo>
                    <a:pt x="253" y="60"/>
                  </a:lnTo>
                  <a:lnTo>
                    <a:pt x="251" y="62"/>
                  </a:lnTo>
                  <a:lnTo>
                    <a:pt x="250" y="63"/>
                  </a:lnTo>
                  <a:lnTo>
                    <a:pt x="250" y="64"/>
                  </a:lnTo>
                  <a:lnTo>
                    <a:pt x="251" y="65"/>
                  </a:lnTo>
                  <a:lnTo>
                    <a:pt x="253" y="66"/>
                  </a:lnTo>
                  <a:lnTo>
                    <a:pt x="253" y="65"/>
                  </a:lnTo>
                  <a:lnTo>
                    <a:pt x="254" y="65"/>
                  </a:lnTo>
                  <a:lnTo>
                    <a:pt x="256" y="65"/>
                  </a:lnTo>
                  <a:lnTo>
                    <a:pt x="256" y="64"/>
                  </a:lnTo>
                  <a:lnTo>
                    <a:pt x="257" y="65"/>
                  </a:lnTo>
                  <a:lnTo>
                    <a:pt x="258" y="64"/>
                  </a:lnTo>
                  <a:lnTo>
                    <a:pt x="259" y="64"/>
                  </a:lnTo>
                  <a:lnTo>
                    <a:pt x="259" y="63"/>
                  </a:lnTo>
                  <a:lnTo>
                    <a:pt x="258" y="62"/>
                  </a:lnTo>
                  <a:lnTo>
                    <a:pt x="258" y="60"/>
                  </a:lnTo>
                  <a:lnTo>
                    <a:pt x="259" y="59"/>
                  </a:lnTo>
                  <a:lnTo>
                    <a:pt x="260" y="60"/>
                  </a:lnTo>
                  <a:lnTo>
                    <a:pt x="262" y="60"/>
                  </a:lnTo>
                  <a:lnTo>
                    <a:pt x="263" y="59"/>
                  </a:lnTo>
                  <a:lnTo>
                    <a:pt x="264" y="58"/>
                  </a:lnTo>
                  <a:lnTo>
                    <a:pt x="265" y="58"/>
                  </a:lnTo>
                  <a:lnTo>
                    <a:pt x="264" y="57"/>
                  </a:lnTo>
                  <a:lnTo>
                    <a:pt x="263" y="56"/>
                  </a:lnTo>
                  <a:lnTo>
                    <a:pt x="264" y="54"/>
                  </a:lnTo>
                  <a:lnTo>
                    <a:pt x="264" y="53"/>
                  </a:lnTo>
                  <a:lnTo>
                    <a:pt x="263" y="53"/>
                  </a:lnTo>
                  <a:lnTo>
                    <a:pt x="263" y="52"/>
                  </a:lnTo>
                  <a:lnTo>
                    <a:pt x="262" y="51"/>
                  </a:lnTo>
                  <a:lnTo>
                    <a:pt x="262" y="53"/>
                  </a:lnTo>
                  <a:lnTo>
                    <a:pt x="262" y="54"/>
                  </a:lnTo>
                  <a:lnTo>
                    <a:pt x="260" y="53"/>
                  </a:lnTo>
                  <a:lnTo>
                    <a:pt x="259" y="53"/>
                  </a:lnTo>
                  <a:lnTo>
                    <a:pt x="259" y="56"/>
                  </a:lnTo>
                  <a:lnTo>
                    <a:pt x="260" y="57"/>
                  </a:lnTo>
                  <a:lnTo>
                    <a:pt x="259" y="57"/>
                  </a:lnTo>
                  <a:lnTo>
                    <a:pt x="259" y="56"/>
                  </a:lnTo>
                  <a:lnTo>
                    <a:pt x="258" y="54"/>
                  </a:lnTo>
                  <a:lnTo>
                    <a:pt x="257" y="54"/>
                  </a:lnTo>
                  <a:lnTo>
                    <a:pt x="256" y="54"/>
                  </a:lnTo>
                  <a:lnTo>
                    <a:pt x="253" y="56"/>
                  </a:lnTo>
                  <a:lnTo>
                    <a:pt x="252" y="56"/>
                  </a:lnTo>
                  <a:lnTo>
                    <a:pt x="252" y="57"/>
                  </a:lnTo>
                  <a:lnTo>
                    <a:pt x="252" y="54"/>
                  </a:lnTo>
                  <a:lnTo>
                    <a:pt x="251" y="53"/>
                  </a:lnTo>
                  <a:lnTo>
                    <a:pt x="251" y="52"/>
                  </a:lnTo>
                  <a:lnTo>
                    <a:pt x="250" y="52"/>
                  </a:lnTo>
                  <a:lnTo>
                    <a:pt x="250" y="54"/>
                  </a:lnTo>
                  <a:lnTo>
                    <a:pt x="248" y="54"/>
                  </a:lnTo>
                  <a:lnTo>
                    <a:pt x="248" y="53"/>
                  </a:lnTo>
                  <a:lnTo>
                    <a:pt x="248" y="52"/>
                  </a:lnTo>
                  <a:lnTo>
                    <a:pt x="248" y="51"/>
                  </a:lnTo>
                  <a:lnTo>
                    <a:pt x="247" y="50"/>
                  </a:lnTo>
                  <a:lnTo>
                    <a:pt x="246" y="51"/>
                  </a:lnTo>
                  <a:lnTo>
                    <a:pt x="245" y="50"/>
                  </a:lnTo>
                  <a:lnTo>
                    <a:pt x="242" y="48"/>
                  </a:lnTo>
                  <a:lnTo>
                    <a:pt x="242" y="47"/>
                  </a:lnTo>
                  <a:lnTo>
                    <a:pt x="242" y="46"/>
                  </a:lnTo>
                  <a:lnTo>
                    <a:pt x="242" y="45"/>
                  </a:lnTo>
                  <a:lnTo>
                    <a:pt x="241" y="45"/>
                  </a:lnTo>
                  <a:lnTo>
                    <a:pt x="240" y="44"/>
                  </a:lnTo>
                  <a:lnTo>
                    <a:pt x="240" y="42"/>
                  </a:lnTo>
                  <a:lnTo>
                    <a:pt x="241" y="44"/>
                  </a:lnTo>
                  <a:lnTo>
                    <a:pt x="242" y="44"/>
                  </a:lnTo>
                  <a:lnTo>
                    <a:pt x="244" y="42"/>
                  </a:lnTo>
                  <a:lnTo>
                    <a:pt x="244" y="41"/>
                  </a:lnTo>
                  <a:lnTo>
                    <a:pt x="244" y="40"/>
                  </a:lnTo>
                  <a:lnTo>
                    <a:pt x="245" y="39"/>
                  </a:lnTo>
                  <a:lnTo>
                    <a:pt x="245" y="38"/>
                  </a:lnTo>
                  <a:lnTo>
                    <a:pt x="244" y="38"/>
                  </a:lnTo>
                  <a:lnTo>
                    <a:pt x="242" y="38"/>
                  </a:lnTo>
                  <a:lnTo>
                    <a:pt x="242" y="39"/>
                  </a:lnTo>
                  <a:lnTo>
                    <a:pt x="241" y="39"/>
                  </a:lnTo>
                  <a:lnTo>
                    <a:pt x="240" y="39"/>
                  </a:lnTo>
                  <a:lnTo>
                    <a:pt x="239" y="40"/>
                  </a:lnTo>
                  <a:lnTo>
                    <a:pt x="239" y="41"/>
                  </a:lnTo>
                  <a:lnTo>
                    <a:pt x="239" y="42"/>
                  </a:lnTo>
                  <a:lnTo>
                    <a:pt x="238" y="42"/>
                  </a:lnTo>
                  <a:lnTo>
                    <a:pt x="238" y="41"/>
                  </a:lnTo>
                  <a:lnTo>
                    <a:pt x="238" y="40"/>
                  </a:lnTo>
                  <a:lnTo>
                    <a:pt x="239" y="38"/>
                  </a:lnTo>
                  <a:lnTo>
                    <a:pt x="238" y="36"/>
                  </a:lnTo>
                  <a:lnTo>
                    <a:pt x="236" y="36"/>
                  </a:lnTo>
                  <a:lnTo>
                    <a:pt x="235" y="39"/>
                  </a:lnTo>
                  <a:lnTo>
                    <a:pt x="234" y="40"/>
                  </a:lnTo>
                  <a:lnTo>
                    <a:pt x="235" y="38"/>
                  </a:lnTo>
                  <a:lnTo>
                    <a:pt x="235" y="36"/>
                  </a:lnTo>
                  <a:lnTo>
                    <a:pt x="236" y="35"/>
                  </a:lnTo>
                  <a:lnTo>
                    <a:pt x="235" y="34"/>
                  </a:lnTo>
                  <a:lnTo>
                    <a:pt x="234" y="34"/>
                  </a:lnTo>
                  <a:lnTo>
                    <a:pt x="233" y="35"/>
                  </a:lnTo>
                  <a:lnTo>
                    <a:pt x="232" y="35"/>
                  </a:lnTo>
                  <a:lnTo>
                    <a:pt x="232" y="36"/>
                  </a:lnTo>
                  <a:lnTo>
                    <a:pt x="230" y="38"/>
                  </a:lnTo>
                  <a:lnTo>
                    <a:pt x="229" y="38"/>
                  </a:lnTo>
                  <a:lnTo>
                    <a:pt x="228" y="38"/>
                  </a:lnTo>
                  <a:lnTo>
                    <a:pt x="229" y="36"/>
                  </a:lnTo>
                  <a:lnTo>
                    <a:pt x="228" y="36"/>
                  </a:lnTo>
                  <a:lnTo>
                    <a:pt x="227" y="35"/>
                  </a:lnTo>
                  <a:lnTo>
                    <a:pt x="226" y="35"/>
                  </a:lnTo>
                  <a:lnTo>
                    <a:pt x="226" y="34"/>
                  </a:lnTo>
                  <a:lnTo>
                    <a:pt x="227" y="33"/>
                  </a:lnTo>
                  <a:lnTo>
                    <a:pt x="228" y="33"/>
                  </a:lnTo>
                  <a:lnTo>
                    <a:pt x="228" y="32"/>
                  </a:lnTo>
                  <a:lnTo>
                    <a:pt x="226" y="32"/>
                  </a:lnTo>
                  <a:lnTo>
                    <a:pt x="224" y="32"/>
                  </a:lnTo>
                  <a:lnTo>
                    <a:pt x="224" y="30"/>
                  </a:lnTo>
                  <a:lnTo>
                    <a:pt x="226" y="30"/>
                  </a:lnTo>
                  <a:lnTo>
                    <a:pt x="227" y="29"/>
                  </a:lnTo>
                  <a:lnTo>
                    <a:pt x="228" y="28"/>
                  </a:lnTo>
                  <a:lnTo>
                    <a:pt x="228" y="27"/>
                  </a:lnTo>
                  <a:lnTo>
                    <a:pt x="228" y="26"/>
                  </a:lnTo>
                  <a:lnTo>
                    <a:pt x="226" y="27"/>
                  </a:lnTo>
                  <a:lnTo>
                    <a:pt x="226" y="28"/>
                  </a:lnTo>
                  <a:lnTo>
                    <a:pt x="224" y="28"/>
                  </a:lnTo>
                  <a:lnTo>
                    <a:pt x="224" y="26"/>
                  </a:lnTo>
                  <a:lnTo>
                    <a:pt x="226" y="24"/>
                  </a:lnTo>
                  <a:lnTo>
                    <a:pt x="224" y="23"/>
                  </a:lnTo>
                  <a:lnTo>
                    <a:pt x="224" y="22"/>
                  </a:lnTo>
                  <a:lnTo>
                    <a:pt x="222" y="22"/>
                  </a:lnTo>
                  <a:lnTo>
                    <a:pt x="222" y="21"/>
                  </a:lnTo>
                  <a:lnTo>
                    <a:pt x="224" y="21"/>
                  </a:lnTo>
                  <a:lnTo>
                    <a:pt x="224" y="20"/>
                  </a:lnTo>
                  <a:lnTo>
                    <a:pt x="224" y="18"/>
                  </a:lnTo>
                  <a:lnTo>
                    <a:pt x="223" y="18"/>
                  </a:lnTo>
                  <a:lnTo>
                    <a:pt x="222" y="18"/>
                  </a:lnTo>
                  <a:lnTo>
                    <a:pt x="221" y="20"/>
                  </a:lnTo>
                  <a:lnTo>
                    <a:pt x="220" y="20"/>
                  </a:lnTo>
                  <a:lnTo>
                    <a:pt x="220" y="18"/>
                  </a:lnTo>
                  <a:lnTo>
                    <a:pt x="218" y="17"/>
                  </a:lnTo>
                  <a:lnTo>
                    <a:pt x="217" y="18"/>
                  </a:lnTo>
                  <a:lnTo>
                    <a:pt x="215" y="18"/>
                  </a:lnTo>
                  <a:lnTo>
                    <a:pt x="214" y="18"/>
                  </a:lnTo>
                  <a:lnTo>
                    <a:pt x="216" y="17"/>
                  </a:lnTo>
                  <a:lnTo>
                    <a:pt x="216" y="16"/>
                  </a:lnTo>
                  <a:lnTo>
                    <a:pt x="218" y="16"/>
                  </a:lnTo>
                  <a:lnTo>
                    <a:pt x="220" y="15"/>
                  </a:lnTo>
                  <a:lnTo>
                    <a:pt x="221" y="15"/>
                  </a:lnTo>
                  <a:lnTo>
                    <a:pt x="222" y="14"/>
                  </a:lnTo>
                  <a:lnTo>
                    <a:pt x="221" y="12"/>
                  </a:lnTo>
                  <a:lnTo>
                    <a:pt x="218" y="12"/>
                  </a:lnTo>
                  <a:lnTo>
                    <a:pt x="218" y="11"/>
                  </a:lnTo>
                  <a:lnTo>
                    <a:pt x="218" y="10"/>
                  </a:lnTo>
                  <a:lnTo>
                    <a:pt x="216" y="10"/>
                  </a:lnTo>
                  <a:lnTo>
                    <a:pt x="216" y="12"/>
                  </a:lnTo>
                  <a:lnTo>
                    <a:pt x="214" y="12"/>
                  </a:lnTo>
                  <a:lnTo>
                    <a:pt x="215" y="11"/>
                  </a:lnTo>
                  <a:lnTo>
                    <a:pt x="214" y="10"/>
                  </a:lnTo>
                  <a:lnTo>
                    <a:pt x="212" y="10"/>
                  </a:lnTo>
                  <a:lnTo>
                    <a:pt x="211" y="12"/>
                  </a:lnTo>
                  <a:lnTo>
                    <a:pt x="211" y="10"/>
                  </a:lnTo>
                  <a:lnTo>
                    <a:pt x="210" y="9"/>
                  </a:lnTo>
                  <a:lnTo>
                    <a:pt x="210" y="8"/>
                  </a:lnTo>
                  <a:lnTo>
                    <a:pt x="210" y="6"/>
                  </a:lnTo>
                  <a:lnTo>
                    <a:pt x="209" y="6"/>
                  </a:lnTo>
                  <a:lnTo>
                    <a:pt x="207" y="6"/>
                  </a:lnTo>
                  <a:lnTo>
                    <a:pt x="206" y="6"/>
                  </a:lnTo>
                  <a:lnTo>
                    <a:pt x="205" y="6"/>
                  </a:lnTo>
                  <a:lnTo>
                    <a:pt x="205" y="5"/>
                  </a:lnTo>
                  <a:lnTo>
                    <a:pt x="206" y="4"/>
                  </a:lnTo>
                  <a:lnTo>
                    <a:pt x="206" y="3"/>
                  </a:lnTo>
                  <a:lnTo>
                    <a:pt x="206" y="2"/>
                  </a:lnTo>
                  <a:lnTo>
                    <a:pt x="206" y="0"/>
                  </a:lnTo>
                  <a:lnTo>
                    <a:pt x="205" y="0"/>
                  </a:lnTo>
                  <a:lnTo>
                    <a:pt x="204" y="2"/>
                  </a:lnTo>
                  <a:lnTo>
                    <a:pt x="204" y="3"/>
                  </a:lnTo>
                  <a:lnTo>
                    <a:pt x="203" y="3"/>
                  </a:lnTo>
                  <a:lnTo>
                    <a:pt x="203" y="2"/>
                  </a:lnTo>
                  <a:lnTo>
                    <a:pt x="203" y="0"/>
                  </a:lnTo>
                  <a:lnTo>
                    <a:pt x="201" y="0"/>
                  </a:lnTo>
                  <a:lnTo>
                    <a:pt x="201" y="2"/>
                  </a:lnTo>
                  <a:lnTo>
                    <a:pt x="200" y="3"/>
                  </a:lnTo>
                  <a:lnTo>
                    <a:pt x="199" y="4"/>
                  </a:lnTo>
                  <a:lnTo>
                    <a:pt x="199" y="5"/>
                  </a:lnTo>
                  <a:lnTo>
                    <a:pt x="200" y="6"/>
                  </a:lnTo>
                  <a:lnTo>
                    <a:pt x="199" y="6"/>
                  </a:lnTo>
                  <a:lnTo>
                    <a:pt x="198" y="8"/>
                  </a:lnTo>
                  <a:lnTo>
                    <a:pt x="198" y="9"/>
                  </a:lnTo>
                  <a:lnTo>
                    <a:pt x="198" y="10"/>
                  </a:lnTo>
                  <a:lnTo>
                    <a:pt x="197" y="10"/>
                  </a:lnTo>
                  <a:lnTo>
                    <a:pt x="197" y="9"/>
                  </a:lnTo>
                  <a:lnTo>
                    <a:pt x="195" y="9"/>
                  </a:lnTo>
                  <a:lnTo>
                    <a:pt x="194" y="10"/>
                  </a:lnTo>
                  <a:lnTo>
                    <a:pt x="195" y="11"/>
                  </a:lnTo>
                  <a:lnTo>
                    <a:pt x="195" y="12"/>
                  </a:lnTo>
                  <a:lnTo>
                    <a:pt x="197" y="12"/>
                  </a:lnTo>
                  <a:lnTo>
                    <a:pt x="198" y="12"/>
                  </a:lnTo>
                  <a:lnTo>
                    <a:pt x="199" y="14"/>
                  </a:lnTo>
                  <a:lnTo>
                    <a:pt x="198" y="15"/>
                  </a:lnTo>
                  <a:lnTo>
                    <a:pt x="197" y="15"/>
                  </a:lnTo>
                  <a:lnTo>
                    <a:pt x="197" y="14"/>
                  </a:lnTo>
                  <a:lnTo>
                    <a:pt x="195" y="14"/>
                  </a:lnTo>
                  <a:lnTo>
                    <a:pt x="195" y="12"/>
                  </a:lnTo>
                  <a:lnTo>
                    <a:pt x="194" y="12"/>
                  </a:lnTo>
                  <a:lnTo>
                    <a:pt x="194" y="10"/>
                  </a:lnTo>
                  <a:lnTo>
                    <a:pt x="193" y="10"/>
                  </a:lnTo>
                  <a:lnTo>
                    <a:pt x="192" y="10"/>
                  </a:lnTo>
                  <a:lnTo>
                    <a:pt x="191" y="11"/>
                  </a:lnTo>
                  <a:lnTo>
                    <a:pt x="192" y="12"/>
                  </a:lnTo>
                  <a:lnTo>
                    <a:pt x="192" y="14"/>
                  </a:lnTo>
                  <a:lnTo>
                    <a:pt x="193" y="15"/>
                  </a:lnTo>
                  <a:lnTo>
                    <a:pt x="194" y="16"/>
                  </a:lnTo>
                  <a:lnTo>
                    <a:pt x="194" y="17"/>
                  </a:lnTo>
                  <a:lnTo>
                    <a:pt x="193" y="17"/>
                  </a:lnTo>
                  <a:lnTo>
                    <a:pt x="194" y="18"/>
                  </a:lnTo>
                  <a:lnTo>
                    <a:pt x="195" y="18"/>
                  </a:lnTo>
                  <a:lnTo>
                    <a:pt x="195" y="17"/>
                  </a:lnTo>
                  <a:lnTo>
                    <a:pt x="197" y="17"/>
                  </a:lnTo>
                  <a:lnTo>
                    <a:pt x="197" y="18"/>
                  </a:lnTo>
                  <a:lnTo>
                    <a:pt x="195" y="20"/>
                  </a:lnTo>
                  <a:lnTo>
                    <a:pt x="197" y="20"/>
                  </a:lnTo>
                  <a:lnTo>
                    <a:pt x="197" y="21"/>
                  </a:lnTo>
                  <a:lnTo>
                    <a:pt x="195" y="21"/>
                  </a:lnTo>
                  <a:lnTo>
                    <a:pt x="194" y="21"/>
                  </a:lnTo>
                  <a:lnTo>
                    <a:pt x="193" y="20"/>
                  </a:lnTo>
                  <a:lnTo>
                    <a:pt x="192" y="20"/>
                  </a:lnTo>
                  <a:lnTo>
                    <a:pt x="192" y="21"/>
                  </a:lnTo>
                  <a:lnTo>
                    <a:pt x="193" y="22"/>
                  </a:lnTo>
                  <a:lnTo>
                    <a:pt x="193" y="23"/>
                  </a:lnTo>
                  <a:lnTo>
                    <a:pt x="194" y="23"/>
                  </a:lnTo>
                  <a:lnTo>
                    <a:pt x="195" y="24"/>
                  </a:lnTo>
                  <a:lnTo>
                    <a:pt x="195" y="23"/>
                  </a:lnTo>
                  <a:lnTo>
                    <a:pt x="197" y="23"/>
                  </a:lnTo>
                  <a:lnTo>
                    <a:pt x="198" y="22"/>
                  </a:lnTo>
                  <a:lnTo>
                    <a:pt x="199" y="22"/>
                  </a:lnTo>
                  <a:lnTo>
                    <a:pt x="200" y="22"/>
                  </a:lnTo>
                  <a:lnTo>
                    <a:pt x="199" y="23"/>
                  </a:lnTo>
                  <a:lnTo>
                    <a:pt x="198" y="23"/>
                  </a:lnTo>
                  <a:lnTo>
                    <a:pt x="197" y="23"/>
                  </a:lnTo>
                  <a:lnTo>
                    <a:pt x="198" y="24"/>
                  </a:lnTo>
                  <a:lnTo>
                    <a:pt x="199" y="24"/>
                  </a:lnTo>
                  <a:lnTo>
                    <a:pt x="199" y="26"/>
                  </a:lnTo>
                  <a:lnTo>
                    <a:pt x="200" y="26"/>
                  </a:lnTo>
                  <a:lnTo>
                    <a:pt x="201" y="26"/>
                  </a:lnTo>
                  <a:lnTo>
                    <a:pt x="200" y="24"/>
                  </a:lnTo>
                  <a:lnTo>
                    <a:pt x="201" y="23"/>
                  </a:lnTo>
                  <a:lnTo>
                    <a:pt x="203" y="23"/>
                  </a:lnTo>
                  <a:lnTo>
                    <a:pt x="203" y="24"/>
                  </a:lnTo>
                  <a:lnTo>
                    <a:pt x="201" y="24"/>
                  </a:lnTo>
                  <a:lnTo>
                    <a:pt x="201" y="26"/>
                  </a:lnTo>
                  <a:lnTo>
                    <a:pt x="200" y="27"/>
                  </a:lnTo>
                  <a:lnTo>
                    <a:pt x="199" y="27"/>
                  </a:lnTo>
                  <a:lnTo>
                    <a:pt x="199" y="28"/>
                  </a:lnTo>
                  <a:lnTo>
                    <a:pt x="200" y="28"/>
                  </a:lnTo>
                  <a:lnTo>
                    <a:pt x="200" y="29"/>
                  </a:lnTo>
                  <a:lnTo>
                    <a:pt x="199" y="29"/>
                  </a:lnTo>
                  <a:lnTo>
                    <a:pt x="198" y="28"/>
                  </a:lnTo>
                  <a:lnTo>
                    <a:pt x="198" y="29"/>
                  </a:lnTo>
                  <a:lnTo>
                    <a:pt x="198" y="30"/>
                  </a:lnTo>
                  <a:lnTo>
                    <a:pt x="198" y="29"/>
                  </a:lnTo>
                  <a:lnTo>
                    <a:pt x="197" y="29"/>
                  </a:lnTo>
                  <a:lnTo>
                    <a:pt x="195" y="30"/>
                  </a:lnTo>
                  <a:lnTo>
                    <a:pt x="195" y="29"/>
                  </a:lnTo>
                  <a:lnTo>
                    <a:pt x="194" y="28"/>
                  </a:lnTo>
                  <a:lnTo>
                    <a:pt x="194" y="29"/>
                  </a:lnTo>
                  <a:lnTo>
                    <a:pt x="193" y="29"/>
                  </a:lnTo>
                  <a:lnTo>
                    <a:pt x="192" y="29"/>
                  </a:lnTo>
                  <a:lnTo>
                    <a:pt x="191" y="29"/>
                  </a:lnTo>
                  <a:lnTo>
                    <a:pt x="191" y="28"/>
                  </a:lnTo>
                  <a:lnTo>
                    <a:pt x="189" y="28"/>
                  </a:lnTo>
                  <a:lnTo>
                    <a:pt x="189" y="27"/>
                  </a:lnTo>
                  <a:lnTo>
                    <a:pt x="188" y="27"/>
                  </a:lnTo>
                  <a:lnTo>
                    <a:pt x="188" y="28"/>
                  </a:lnTo>
                  <a:lnTo>
                    <a:pt x="187" y="28"/>
                  </a:lnTo>
                  <a:lnTo>
                    <a:pt x="187" y="29"/>
                  </a:lnTo>
                  <a:lnTo>
                    <a:pt x="186" y="28"/>
                  </a:lnTo>
                  <a:lnTo>
                    <a:pt x="185" y="29"/>
                  </a:lnTo>
                  <a:lnTo>
                    <a:pt x="185" y="30"/>
                  </a:lnTo>
                  <a:lnTo>
                    <a:pt x="186" y="32"/>
                  </a:lnTo>
                  <a:lnTo>
                    <a:pt x="186" y="33"/>
                  </a:lnTo>
                  <a:lnTo>
                    <a:pt x="187" y="33"/>
                  </a:lnTo>
                  <a:lnTo>
                    <a:pt x="187" y="32"/>
                  </a:lnTo>
                  <a:lnTo>
                    <a:pt x="188" y="33"/>
                  </a:lnTo>
                  <a:lnTo>
                    <a:pt x="189" y="34"/>
                  </a:lnTo>
                  <a:lnTo>
                    <a:pt x="191" y="35"/>
                  </a:lnTo>
                  <a:lnTo>
                    <a:pt x="192" y="35"/>
                  </a:lnTo>
                  <a:lnTo>
                    <a:pt x="193" y="35"/>
                  </a:lnTo>
                  <a:lnTo>
                    <a:pt x="194" y="35"/>
                  </a:lnTo>
                  <a:lnTo>
                    <a:pt x="194" y="36"/>
                  </a:lnTo>
                  <a:lnTo>
                    <a:pt x="194" y="38"/>
                  </a:lnTo>
                  <a:lnTo>
                    <a:pt x="195" y="38"/>
                  </a:lnTo>
                  <a:lnTo>
                    <a:pt x="197" y="36"/>
                  </a:lnTo>
                  <a:lnTo>
                    <a:pt x="197" y="35"/>
                  </a:lnTo>
                  <a:lnTo>
                    <a:pt x="195" y="35"/>
                  </a:lnTo>
                  <a:lnTo>
                    <a:pt x="197" y="35"/>
                  </a:lnTo>
                  <a:lnTo>
                    <a:pt x="198" y="35"/>
                  </a:lnTo>
                  <a:lnTo>
                    <a:pt x="198" y="36"/>
                  </a:lnTo>
                  <a:lnTo>
                    <a:pt x="199" y="36"/>
                  </a:lnTo>
                  <a:lnTo>
                    <a:pt x="199" y="38"/>
                  </a:lnTo>
                  <a:lnTo>
                    <a:pt x="198" y="38"/>
                  </a:lnTo>
                  <a:lnTo>
                    <a:pt x="198" y="36"/>
                  </a:lnTo>
                  <a:lnTo>
                    <a:pt x="197" y="38"/>
                  </a:lnTo>
                  <a:lnTo>
                    <a:pt x="195" y="38"/>
                  </a:lnTo>
                  <a:lnTo>
                    <a:pt x="195" y="39"/>
                  </a:lnTo>
                  <a:lnTo>
                    <a:pt x="195" y="40"/>
                  </a:lnTo>
                  <a:lnTo>
                    <a:pt x="197" y="41"/>
                  </a:lnTo>
                  <a:lnTo>
                    <a:pt x="197" y="42"/>
                  </a:lnTo>
                  <a:lnTo>
                    <a:pt x="195" y="42"/>
                  </a:lnTo>
                  <a:lnTo>
                    <a:pt x="195" y="41"/>
                  </a:lnTo>
                  <a:lnTo>
                    <a:pt x="194" y="42"/>
                  </a:lnTo>
                  <a:lnTo>
                    <a:pt x="193" y="42"/>
                  </a:lnTo>
                  <a:lnTo>
                    <a:pt x="193" y="41"/>
                  </a:lnTo>
                  <a:lnTo>
                    <a:pt x="193" y="42"/>
                  </a:lnTo>
                  <a:lnTo>
                    <a:pt x="192" y="42"/>
                  </a:lnTo>
                  <a:lnTo>
                    <a:pt x="192" y="41"/>
                  </a:lnTo>
                  <a:lnTo>
                    <a:pt x="191" y="40"/>
                  </a:lnTo>
                  <a:lnTo>
                    <a:pt x="191" y="41"/>
                  </a:lnTo>
                  <a:lnTo>
                    <a:pt x="189" y="41"/>
                  </a:lnTo>
                  <a:lnTo>
                    <a:pt x="189" y="40"/>
                  </a:lnTo>
                  <a:lnTo>
                    <a:pt x="191" y="39"/>
                  </a:lnTo>
                  <a:lnTo>
                    <a:pt x="191" y="38"/>
                  </a:lnTo>
                  <a:lnTo>
                    <a:pt x="191" y="36"/>
                  </a:lnTo>
                  <a:lnTo>
                    <a:pt x="189" y="36"/>
                  </a:lnTo>
                  <a:lnTo>
                    <a:pt x="188" y="35"/>
                  </a:lnTo>
                  <a:lnTo>
                    <a:pt x="188" y="36"/>
                  </a:lnTo>
                  <a:lnTo>
                    <a:pt x="188" y="38"/>
                  </a:lnTo>
                  <a:lnTo>
                    <a:pt x="187" y="39"/>
                  </a:lnTo>
                  <a:lnTo>
                    <a:pt x="187" y="40"/>
                  </a:lnTo>
                  <a:lnTo>
                    <a:pt x="187" y="41"/>
                  </a:lnTo>
                  <a:lnTo>
                    <a:pt x="187" y="40"/>
                  </a:lnTo>
                  <a:lnTo>
                    <a:pt x="187" y="39"/>
                  </a:lnTo>
                  <a:lnTo>
                    <a:pt x="187" y="38"/>
                  </a:lnTo>
                  <a:lnTo>
                    <a:pt x="187" y="36"/>
                  </a:lnTo>
                  <a:lnTo>
                    <a:pt x="187" y="35"/>
                  </a:lnTo>
                  <a:lnTo>
                    <a:pt x="186" y="35"/>
                  </a:lnTo>
                  <a:lnTo>
                    <a:pt x="185" y="36"/>
                  </a:lnTo>
                  <a:lnTo>
                    <a:pt x="183" y="36"/>
                  </a:lnTo>
                  <a:lnTo>
                    <a:pt x="182" y="36"/>
                  </a:lnTo>
                  <a:lnTo>
                    <a:pt x="182" y="38"/>
                  </a:lnTo>
                  <a:lnTo>
                    <a:pt x="182" y="39"/>
                  </a:lnTo>
                  <a:lnTo>
                    <a:pt x="182" y="40"/>
                  </a:lnTo>
                  <a:lnTo>
                    <a:pt x="183" y="41"/>
                  </a:lnTo>
                  <a:lnTo>
                    <a:pt x="183" y="42"/>
                  </a:lnTo>
                  <a:lnTo>
                    <a:pt x="183" y="44"/>
                  </a:lnTo>
                  <a:lnTo>
                    <a:pt x="185" y="44"/>
                  </a:lnTo>
                  <a:lnTo>
                    <a:pt x="185" y="45"/>
                  </a:lnTo>
                  <a:lnTo>
                    <a:pt x="183" y="45"/>
                  </a:lnTo>
                  <a:lnTo>
                    <a:pt x="183" y="46"/>
                  </a:lnTo>
                  <a:lnTo>
                    <a:pt x="183" y="48"/>
                  </a:lnTo>
                  <a:lnTo>
                    <a:pt x="183" y="50"/>
                  </a:lnTo>
                  <a:lnTo>
                    <a:pt x="182" y="50"/>
                  </a:lnTo>
                  <a:lnTo>
                    <a:pt x="182" y="48"/>
                  </a:lnTo>
                  <a:lnTo>
                    <a:pt x="182" y="47"/>
                  </a:lnTo>
                  <a:lnTo>
                    <a:pt x="182" y="46"/>
                  </a:lnTo>
                  <a:lnTo>
                    <a:pt x="182" y="45"/>
                  </a:lnTo>
                  <a:lnTo>
                    <a:pt x="181" y="45"/>
                  </a:lnTo>
                  <a:lnTo>
                    <a:pt x="181" y="46"/>
                  </a:lnTo>
                  <a:lnTo>
                    <a:pt x="181" y="47"/>
                  </a:lnTo>
                  <a:lnTo>
                    <a:pt x="180" y="47"/>
                  </a:lnTo>
                  <a:lnTo>
                    <a:pt x="180" y="46"/>
                  </a:lnTo>
                  <a:lnTo>
                    <a:pt x="181" y="46"/>
                  </a:lnTo>
                  <a:lnTo>
                    <a:pt x="181" y="45"/>
                  </a:lnTo>
                  <a:lnTo>
                    <a:pt x="180" y="45"/>
                  </a:lnTo>
                  <a:lnTo>
                    <a:pt x="180" y="44"/>
                  </a:lnTo>
                  <a:lnTo>
                    <a:pt x="179" y="44"/>
                  </a:lnTo>
                  <a:lnTo>
                    <a:pt x="179" y="45"/>
                  </a:lnTo>
                  <a:lnTo>
                    <a:pt x="177" y="45"/>
                  </a:lnTo>
                  <a:lnTo>
                    <a:pt x="177" y="44"/>
                  </a:lnTo>
                  <a:lnTo>
                    <a:pt x="176" y="42"/>
                  </a:lnTo>
                  <a:lnTo>
                    <a:pt x="175" y="42"/>
                  </a:lnTo>
                  <a:lnTo>
                    <a:pt x="174" y="44"/>
                  </a:lnTo>
                  <a:lnTo>
                    <a:pt x="175" y="45"/>
                  </a:lnTo>
                  <a:lnTo>
                    <a:pt x="175" y="46"/>
                  </a:lnTo>
                  <a:lnTo>
                    <a:pt x="174" y="46"/>
                  </a:lnTo>
                  <a:lnTo>
                    <a:pt x="174" y="47"/>
                  </a:lnTo>
                  <a:lnTo>
                    <a:pt x="175" y="48"/>
                  </a:lnTo>
                  <a:lnTo>
                    <a:pt x="175" y="50"/>
                  </a:lnTo>
                  <a:lnTo>
                    <a:pt x="176" y="50"/>
                  </a:lnTo>
                  <a:lnTo>
                    <a:pt x="177" y="50"/>
                  </a:lnTo>
                  <a:lnTo>
                    <a:pt x="177" y="51"/>
                  </a:lnTo>
                  <a:lnTo>
                    <a:pt x="177" y="52"/>
                  </a:lnTo>
                  <a:lnTo>
                    <a:pt x="179" y="52"/>
                  </a:lnTo>
                  <a:lnTo>
                    <a:pt x="179" y="53"/>
                  </a:lnTo>
                  <a:lnTo>
                    <a:pt x="179" y="54"/>
                  </a:lnTo>
                  <a:lnTo>
                    <a:pt x="180" y="54"/>
                  </a:lnTo>
                  <a:lnTo>
                    <a:pt x="180" y="53"/>
                  </a:lnTo>
                  <a:lnTo>
                    <a:pt x="181" y="53"/>
                  </a:lnTo>
                  <a:lnTo>
                    <a:pt x="181" y="54"/>
                  </a:lnTo>
                  <a:lnTo>
                    <a:pt x="181" y="56"/>
                  </a:lnTo>
                  <a:lnTo>
                    <a:pt x="180" y="56"/>
                  </a:lnTo>
                  <a:lnTo>
                    <a:pt x="179" y="56"/>
                  </a:lnTo>
                  <a:lnTo>
                    <a:pt x="179" y="54"/>
                  </a:lnTo>
                  <a:lnTo>
                    <a:pt x="179" y="53"/>
                  </a:lnTo>
                  <a:lnTo>
                    <a:pt x="177" y="53"/>
                  </a:lnTo>
                  <a:lnTo>
                    <a:pt x="177" y="52"/>
                  </a:lnTo>
                  <a:lnTo>
                    <a:pt x="176" y="52"/>
                  </a:lnTo>
                  <a:lnTo>
                    <a:pt x="176" y="51"/>
                  </a:lnTo>
                  <a:lnTo>
                    <a:pt x="176" y="50"/>
                  </a:lnTo>
                  <a:lnTo>
                    <a:pt x="175" y="50"/>
                  </a:lnTo>
                  <a:lnTo>
                    <a:pt x="175" y="51"/>
                  </a:lnTo>
                  <a:lnTo>
                    <a:pt x="175" y="52"/>
                  </a:lnTo>
                  <a:lnTo>
                    <a:pt x="175" y="53"/>
                  </a:lnTo>
                  <a:lnTo>
                    <a:pt x="176" y="54"/>
                  </a:lnTo>
                  <a:lnTo>
                    <a:pt x="175" y="54"/>
                  </a:lnTo>
                  <a:lnTo>
                    <a:pt x="175" y="53"/>
                  </a:lnTo>
                  <a:lnTo>
                    <a:pt x="174" y="52"/>
                  </a:lnTo>
                  <a:lnTo>
                    <a:pt x="174" y="51"/>
                  </a:lnTo>
                  <a:lnTo>
                    <a:pt x="174" y="50"/>
                  </a:lnTo>
                  <a:lnTo>
                    <a:pt x="174" y="48"/>
                  </a:lnTo>
                  <a:lnTo>
                    <a:pt x="173" y="48"/>
                  </a:lnTo>
                  <a:lnTo>
                    <a:pt x="171" y="48"/>
                  </a:lnTo>
                  <a:lnTo>
                    <a:pt x="171" y="50"/>
                  </a:lnTo>
                  <a:lnTo>
                    <a:pt x="173" y="51"/>
                  </a:lnTo>
                  <a:lnTo>
                    <a:pt x="173" y="52"/>
                  </a:lnTo>
                  <a:lnTo>
                    <a:pt x="173" y="53"/>
                  </a:lnTo>
                  <a:lnTo>
                    <a:pt x="173" y="54"/>
                  </a:lnTo>
                  <a:lnTo>
                    <a:pt x="171" y="54"/>
                  </a:lnTo>
                  <a:lnTo>
                    <a:pt x="171" y="53"/>
                  </a:lnTo>
                  <a:lnTo>
                    <a:pt x="170" y="53"/>
                  </a:lnTo>
                  <a:lnTo>
                    <a:pt x="170" y="52"/>
                  </a:lnTo>
                  <a:lnTo>
                    <a:pt x="171" y="52"/>
                  </a:lnTo>
                  <a:lnTo>
                    <a:pt x="170" y="51"/>
                  </a:lnTo>
                  <a:lnTo>
                    <a:pt x="169" y="51"/>
                  </a:lnTo>
                  <a:lnTo>
                    <a:pt x="169" y="52"/>
                  </a:lnTo>
                  <a:lnTo>
                    <a:pt x="169" y="53"/>
                  </a:lnTo>
                  <a:lnTo>
                    <a:pt x="170" y="54"/>
                  </a:lnTo>
                  <a:lnTo>
                    <a:pt x="169" y="54"/>
                  </a:lnTo>
                  <a:lnTo>
                    <a:pt x="169" y="53"/>
                  </a:lnTo>
                  <a:lnTo>
                    <a:pt x="169" y="52"/>
                  </a:lnTo>
                  <a:lnTo>
                    <a:pt x="168" y="52"/>
                  </a:lnTo>
                  <a:lnTo>
                    <a:pt x="168" y="51"/>
                  </a:lnTo>
                  <a:lnTo>
                    <a:pt x="167" y="52"/>
                  </a:lnTo>
                  <a:lnTo>
                    <a:pt x="165" y="52"/>
                  </a:lnTo>
                  <a:lnTo>
                    <a:pt x="165" y="51"/>
                  </a:lnTo>
                  <a:lnTo>
                    <a:pt x="167" y="51"/>
                  </a:lnTo>
                  <a:lnTo>
                    <a:pt x="167" y="50"/>
                  </a:lnTo>
                  <a:lnTo>
                    <a:pt x="167" y="48"/>
                  </a:lnTo>
                  <a:lnTo>
                    <a:pt x="168" y="48"/>
                  </a:lnTo>
                  <a:lnTo>
                    <a:pt x="168" y="47"/>
                  </a:lnTo>
                  <a:lnTo>
                    <a:pt x="167" y="46"/>
                  </a:lnTo>
                  <a:lnTo>
                    <a:pt x="165" y="47"/>
                  </a:lnTo>
                  <a:lnTo>
                    <a:pt x="165" y="46"/>
                  </a:lnTo>
                  <a:lnTo>
                    <a:pt x="167" y="46"/>
                  </a:lnTo>
                  <a:lnTo>
                    <a:pt x="168" y="46"/>
                  </a:lnTo>
                  <a:lnTo>
                    <a:pt x="168" y="45"/>
                  </a:lnTo>
                  <a:lnTo>
                    <a:pt x="168" y="46"/>
                  </a:lnTo>
                  <a:lnTo>
                    <a:pt x="169" y="46"/>
                  </a:lnTo>
                  <a:lnTo>
                    <a:pt x="170" y="46"/>
                  </a:lnTo>
                  <a:lnTo>
                    <a:pt x="170" y="45"/>
                  </a:lnTo>
                  <a:lnTo>
                    <a:pt x="171" y="45"/>
                  </a:lnTo>
                  <a:lnTo>
                    <a:pt x="171" y="44"/>
                  </a:lnTo>
                  <a:lnTo>
                    <a:pt x="170" y="44"/>
                  </a:lnTo>
                  <a:lnTo>
                    <a:pt x="170" y="42"/>
                  </a:lnTo>
                  <a:lnTo>
                    <a:pt x="170" y="44"/>
                  </a:lnTo>
                  <a:lnTo>
                    <a:pt x="169" y="44"/>
                  </a:lnTo>
                  <a:lnTo>
                    <a:pt x="168" y="42"/>
                  </a:lnTo>
                  <a:lnTo>
                    <a:pt x="167" y="42"/>
                  </a:lnTo>
                  <a:lnTo>
                    <a:pt x="168" y="41"/>
                  </a:lnTo>
                  <a:lnTo>
                    <a:pt x="169" y="40"/>
                  </a:lnTo>
                  <a:lnTo>
                    <a:pt x="170" y="40"/>
                  </a:lnTo>
                  <a:lnTo>
                    <a:pt x="170" y="39"/>
                  </a:lnTo>
                  <a:lnTo>
                    <a:pt x="171" y="39"/>
                  </a:lnTo>
                  <a:lnTo>
                    <a:pt x="173" y="39"/>
                  </a:lnTo>
                  <a:lnTo>
                    <a:pt x="174" y="38"/>
                  </a:lnTo>
                  <a:lnTo>
                    <a:pt x="174" y="39"/>
                  </a:lnTo>
                  <a:lnTo>
                    <a:pt x="175" y="39"/>
                  </a:lnTo>
                  <a:lnTo>
                    <a:pt x="175" y="38"/>
                  </a:lnTo>
                  <a:lnTo>
                    <a:pt x="176" y="38"/>
                  </a:lnTo>
                  <a:lnTo>
                    <a:pt x="176" y="39"/>
                  </a:lnTo>
                  <a:lnTo>
                    <a:pt x="177" y="39"/>
                  </a:lnTo>
                  <a:lnTo>
                    <a:pt x="179" y="38"/>
                  </a:lnTo>
                  <a:lnTo>
                    <a:pt x="180" y="36"/>
                  </a:lnTo>
                  <a:lnTo>
                    <a:pt x="180" y="35"/>
                  </a:lnTo>
                  <a:lnTo>
                    <a:pt x="180" y="34"/>
                  </a:lnTo>
                  <a:lnTo>
                    <a:pt x="179" y="34"/>
                  </a:lnTo>
                  <a:lnTo>
                    <a:pt x="177" y="34"/>
                  </a:lnTo>
                  <a:lnTo>
                    <a:pt x="177" y="35"/>
                  </a:lnTo>
                  <a:lnTo>
                    <a:pt x="176" y="36"/>
                  </a:lnTo>
                  <a:lnTo>
                    <a:pt x="175" y="36"/>
                  </a:lnTo>
                  <a:lnTo>
                    <a:pt x="176" y="35"/>
                  </a:lnTo>
                  <a:lnTo>
                    <a:pt x="176" y="34"/>
                  </a:lnTo>
                  <a:lnTo>
                    <a:pt x="175" y="34"/>
                  </a:lnTo>
                  <a:lnTo>
                    <a:pt x="175" y="35"/>
                  </a:lnTo>
                  <a:lnTo>
                    <a:pt x="174" y="35"/>
                  </a:lnTo>
                  <a:lnTo>
                    <a:pt x="173" y="35"/>
                  </a:lnTo>
                  <a:lnTo>
                    <a:pt x="171" y="35"/>
                  </a:lnTo>
                  <a:lnTo>
                    <a:pt x="173" y="34"/>
                  </a:lnTo>
                  <a:lnTo>
                    <a:pt x="174" y="34"/>
                  </a:lnTo>
                  <a:lnTo>
                    <a:pt x="174" y="33"/>
                  </a:lnTo>
                  <a:lnTo>
                    <a:pt x="174" y="32"/>
                  </a:lnTo>
                  <a:lnTo>
                    <a:pt x="174" y="30"/>
                  </a:lnTo>
                  <a:lnTo>
                    <a:pt x="173" y="30"/>
                  </a:lnTo>
                  <a:lnTo>
                    <a:pt x="171" y="30"/>
                  </a:lnTo>
                  <a:lnTo>
                    <a:pt x="171" y="32"/>
                  </a:lnTo>
                  <a:lnTo>
                    <a:pt x="171" y="33"/>
                  </a:lnTo>
                  <a:lnTo>
                    <a:pt x="170" y="33"/>
                  </a:lnTo>
                  <a:lnTo>
                    <a:pt x="170" y="34"/>
                  </a:lnTo>
                  <a:lnTo>
                    <a:pt x="169" y="34"/>
                  </a:lnTo>
                  <a:lnTo>
                    <a:pt x="169" y="35"/>
                  </a:lnTo>
                  <a:lnTo>
                    <a:pt x="169" y="34"/>
                  </a:lnTo>
                  <a:lnTo>
                    <a:pt x="170" y="33"/>
                  </a:lnTo>
                  <a:lnTo>
                    <a:pt x="170" y="32"/>
                  </a:lnTo>
                  <a:lnTo>
                    <a:pt x="170" y="30"/>
                  </a:lnTo>
                  <a:lnTo>
                    <a:pt x="169" y="30"/>
                  </a:lnTo>
                  <a:lnTo>
                    <a:pt x="168" y="32"/>
                  </a:lnTo>
                  <a:lnTo>
                    <a:pt x="167" y="32"/>
                  </a:lnTo>
                  <a:lnTo>
                    <a:pt x="165" y="32"/>
                  </a:lnTo>
                  <a:lnTo>
                    <a:pt x="165" y="33"/>
                  </a:lnTo>
                  <a:lnTo>
                    <a:pt x="164" y="33"/>
                  </a:lnTo>
                  <a:lnTo>
                    <a:pt x="163" y="33"/>
                  </a:lnTo>
                  <a:lnTo>
                    <a:pt x="163" y="32"/>
                  </a:lnTo>
                  <a:lnTo>
                    <a:pt x="162" y="32"/>
                  </a:lnTo>
                  <a:lnTo>
                    <a:pt x="163" y="30"/>
                  </a:lnTo>
                  <a:lnTo>
                    <a:pt x="163" y="29"/>
                  </a:lnTo>
                  <a:lnTo>
                    <a:pt x="163" y="28"/>
                  </a:lnTo>
                  <a:lnTo>
                    <a:pt x="162" y="28"/>
                  </a:lnTo>
                  <a:lnTo>
                    <a:pt x="161" y="29"/>
                  </a:lnTo>
                  <a:lnTo>
                    <a:pt x="161" y="30"/>
                  </a:lnTo>
                  <a:lnTo>
                    <a:pt x="159" y="32"/>
                  </a:lnTo>
                  <a:lnTo>
                    <a:pt x="157" y="32"/>
                  </a:lnTo>
                  <a:lnTo>
                    <a:pt x="156" y="32"/>
                  </a:lnTo>
                  <a:lnTo>
                    <a:pt x="156" y="30"/>
                  </a:lnTo>
                  <a:lnTo>
                    <a:pt x="157" y="30"/>
                  </a:lnTo>
                  <a:lnTo>
                    <a:pt x="157" y="29"/>
                  </a:lnTo>
                  <a:lnTo>
                    <a:pt x="157" y="28"/>
                  </a:lnTo>
                  <a:lnTo>
                    <a:pt x="157" y="27"/>
                  </a:lnTo>
                  <a:lnTo>
                    <a:pt x="156" y="26"/>
                  </a:lnTo>
                  <a:lnTo>
                    <a:pt x="156" y="24"/>
                  </a:lnTo>
                  <a:lnTo>
                    <a:pt x="155" y="24"/>
                  </a:lnTo>
                  <a:lnTo>
                    <a:pt x="153" y="26"/>
                  </a:lnTo>
                  <a:lnTo>
                    <a:pt x="152" y="26"/>
                  </a:lnTo>
                  <a:lnTo>
                    <a:pt x="151" y="27"/>
                  </a:lnTo>
                  <a:lnTo>
                    <a:pt x="150" y="27"/>
                  </a:lnTo>
                  <a:lnTo>
                    <a:pt x="150" y="26"/>
                  </a:lnTo>
                  <a:lnTo>
                    <a:pt x="150" y="24"/>
                  </a:lnTo>
                  <a:lnTo>
                    <a:pt x="148" y="24"/>
                  </a:lnTo>
                  <a:lnTo>
                    <a:pt x="148" y="26"/>
                  </a:lnTo>
                  <a:lnTo>
                    <a:pt x="147" y="27"/>
                  </a:lnTo>
                  <a:lnTo>
                    <a:pt x="147" y="26"/>
                  </a:lnTo>
                  <a:lnTo>
                    <a:pt x="146" y="26"/>
                  </a:lnTo>
                  <a:lnTo>
                    <a:pt x="146" y="24"/>
                  </a:lnTo>
                  <a:lnTo>
                    <a:pt x="145" y="24"/>
                  </a:lnTo>
                  <a:lnTo>
                    <a:pt x="144" y="26"/>
                  </a:lnTo>
                  <a:lnTo>
                    <a:pt x="144" y="24"/>
                  </a:lnTo>
                  <a:lnTo>
                    <a:pt x="142" y="24"/>
                  </a:lnTo>
                  <a:lnTo>
                    <a:pt x="141" y="24"/>
                  </a:lnTo>
                  <a:lnTo>
                    <a:pt x="141" y="23"/>
                  </a:lnTo>
                  <a:lnTo>
                    <a:pt x="142" y="23"/>
                  </a:lnTo>
                  <a:lnTo>
                    <a:pt x="144" y="23"/>
                  </a:lnTo>
                  <a:lnTo>
                    <a:pt x="145" y="23"/>
                  </a:lnTo>
                  <a:lnTo>
                    <a:pt x="146" y="23"/>
                  </a:lnTo>
                  <a:lnTo>
                    <a:pt x="147" y="23"/>
                  </a:lnTo>
                  <a:lnTo>
                    <a:pt x="148" y="23"/>
                  </a:lnTo>
                  <a:lnTo>
                    <a:pt x="150" y="23"/>
                  </a:lnTo>
                  <a:lnTo>
                    <a:pt x="151" y="22"/>
                  </a:lnTo>
                  <a:lnTo>
                    <a:pt x="151" y="21"/>
                  </a:lnTo>
                  <a:lnTo>
                    <a:pt x="150" y="20"/>
                  </a:lnTo>
                  <a:lnTo>
                    <a:pt x="150" y="21"/>
                  </a:lnTo>
                  <a:lnTo>
                    <a:pt x="148" y="21"/>
                  </a:lnTo>
                  <a:lnTo>
                    <a:pt x="147" y="21"/>
                  </a:lnTo>
                  <a:lnTo>
                    <a:pt x="148" y="21"/>
                  </a:lnTo>
                  <a:lnTo>
                    <a:pt x="148" y="20"/>
                  </a:lnTo>
                  <a:lnTo>
                    <a:pt x="147" y="20"/>
                  </a:lnTo>
                  <a:lnTo>
                    <a:pt x="147" y="18"/>
                  </a:lnTo>
                  <a:lnTo>
                    <a:pt x="148" y="20"/>
                  </a:lnTo>
                  <a:lnTo>
                    <a:pt x="150" y="20"/>
                  </a:lnTo>
                  <a:lnTo>
                    <a:pt x="151" y="18"/>
                  </a:lnTo>
                  <a:lnTo>
                    <a:pt x="152" y="18"/>
                  </a:lnTo>
                  <a:lnTo>
                    <a:pt x="153" y="18"/>
                  </a:lnTo>
                  <a:lnTo>
                    <a:pt x="153" y="17"/>
                  </a:lnTo>
                  <a:lnTo>
                    <a:pt x="155" y="17"/>
                  </a:lnTo>
                  <a:lnTo>
                    <a:pt x="155" y="16"/>
                  </a:lnTo>
                  <a:lnTo>
                    <a:pt x="156" y="16"/>
                  </a:lnTo>
                  <a:lnTo>
                    <a:pt x="156" y="15"/>
                  </a:lnTo>
                  <a:lnTo>
                    <a:pt x="155" y="15"/>
                  </a:lnTo>
                  <a:lnTo>
                    <a:pt x="155" y="14"/>
                  </a:lnTo>
                  <a:lnTo>
                    <a:pt x="153" y="15"/>
                  </a:lnTo>
                  <a:lnTo>
                    <a:pt x="152" y="16"/>
                  </a:lnTo>
                  <a:lnTo>
                    <a:pt x="152" y="15"/>
                  </a:lnTo>
                  <a:lnTo>
                    <a:pt x="152" y="14"/>
                  </a:lnTo>
                  <a:lnTo>
                    <a:pt x="153" y="12"/>
                  </a:lnTo>
                  <a:lnTo>
                    <a:pt x="153" y="10"/>
                  </a:lnTo>
                  <a:lnTo>
                    <a:pt x="152" y="10"/>
                  </a:lnTo>
                  <a:lnTo>
                    <a:pt x="151" y="10"/>
                  </a:lnTo>
                  <a:lnTo>
                    <a:pt x="150" y="11"/>
                  </a:lnTo>
                  <a:lnTo>
                    <a:pt x="150" y="12"/>
                  </a:lnTo>
                  <a:lnTo>
                    <a:pt x="150" y="14"/>
                  </a:lnTo>
                  <a:lnTo>
                    <a:pt x="148" y="12"/>
                  </a:lnTo>
                  <a:lnTo>
                    <a:pt x="148" y="11"/>
                  </a:lnTo>
                  <a:lnTo>
                    <a:pt x="148" y="10"/>
                  </a:lnTo>
                  <a:lnTo>
                    <a:pt x="147" y="10"/>
                  </a:lnTo>
                  <a:lnTo>
                    <a:pt x="147" y="11"/>
                  </a:lnTo>
                  <a:lnTo>
                    <a:pt x="146" y="11"/>
                  </a:lnTo>
                  <a:lnTo>
                    <a:pt x="146" y="12"/>
                  </a:lnTo>
                  <a:lnTo>
                    <a:pt x="145" y="12"/>
                  </a:lnTo>
                  <a:lnTo>
                    <a:pt x="144" y="12"/>
                  </a:lnTo>
                  <a:lnTo>
                    <a:pt x="144" y="14"/>
                  </a:lnTo>
                  <a:lnTo>
                    <a:pt x="142" y="14"/>
                  </a:lnTo>
                  <a:lnTo>
                    <a:pt x="144" y="15"/>
                  </a:lnTo>
                  <a:lnTo>
                    <a:pt x="142" y="15"/>
                  </a:lnTo>
                  <a:lnTo>
                    <a:pt x="142" y="16"/>
                  </a:lnTo>
                  <a:lnTo>
                    <a:pt x="141" y="15"/>
                  </a:lnTo>
                  <a:lnTo>
                    <a:pt x="141" y="14"/>
                  </a:lnTo>
                  <a:lnTo>
                    <a:pt x="140" y="14"/>
                  </a:lnTo>
                  <a:lnTo>
                    <a:pt x="140" y="12"/>
                  </a:lnTo>
                  <a:lnTo>
                    <a:pt x="140" y="11"/>
                  </a:lnTo>
                  <a:lnTo>
                    <a:pt x="139" y="11"/>
                  </a:lnTo>
                  <a:lnTo>
                    <a:pt x="138" y="11"/>
                  </a:lnTo>
                  <a:lnTo>
                    <a:pt x="138" y="12"/>
                  </a:lnTo>
                  <a:lnTo>
                    <a:pt x="136" y="12"/>
                  </a:lnTo>
                  <a:lnTo>
                    <a:pt x="136" y="11"/>
                  </a:lnTo>
                  <a:lnTo>
                    <a:pt x="136" y="10"/>
                  </a:lnTo>
                  <a:lnTo>
                    <a:pt x="136" y="9"/>
                  </a:lnTo>
                  <a:lnTo>
                    <a:pt x="136" y="8"/>
                  </a:lnTo>
                  <a:lnTo>
                    <a:pt x="135" y="6"/>
                  </a:lnTo>
                  <a:lnTo>
                    <a:pt x="134" y="6"/>
                  </a:lnTo>
                  <a:lnTo>
                    <a:pt x="134" y="8"/>
                  </a:lnTo>
                  <a:lnTo>
                    <a:pt x="133" y="9"/>
                  </a:lnTo>
                  <a:lnTo>
                    <a:pt x="133" y="10"/>
                  </a:lnTo>
                  <a:lnTo>
                    <a:pt x="133" y="11"/>
                  </a:lnTo>
                  <a:lnTo>
                    <a:pt x="133" y="10"/>
                  </a:lnTo>
                  <a:lnTo>
                    <a:pt x="132" y="9"/>
                  </a:lnTo>
                  <a:lnTo>
                    <a:pt x="132" y="8"/>
                  </a:lnTo>
                  <a:lnTo>
                    <a:pt x="130" y="6"/>
                  </a:lnTo>
                  <a:lnTo>
                    <a:pt x="132" y="6"/>
                  </a:lnTo>
                  <a:lnTo>
                    <a:pt x="132" y="5"/>
                  </a:lnTo>
                  <a:lnTo>
                    <a:pt x="129" y="4"/>
                  </a:lnTo>
                  <a:lnTo>
                    <a:pt x="129" y="5"/>
                  </a:lnTo>
                  <a:lnTo>
                    <a:pt x="128" y="5"/>
                  </a:lnTo>
                  <a:lnTo>
                    <a:pt x="128" y="6"/>
                  </a:lnTo>
                  <a:lnTo>
                    <a:pt x="127" y="8"/>
                  </a:lnTo>
                  <a:lnTo>
                    <a:pt x="127" y="9"/>
                  </a:lnTo>
                  <a:lnTo>
                    <a:pt x="126" y="9"/>
                  </a:lnTo>
                  <a:lnTo>
                    <a:pt x="127" y="10"/>
                  </a:lnTo>
                  <a:lnTo>
                    <a:pt x="128" y="10"/>
                  </a:lnTo>
                  <a:lnTo>
                    <a:pt x="128" y="11"/>
                  </a:lnTo>
                  <a:lnTo>
                    <a:pt x="129" y="11"/>
                  </a:lnTo>
                  <a:lnTo>
                    <a:pt x="129" y="12"/>
                  </a:lnTo>
                  <a:lnTo>
                    <a:pt x="128" y="12"/>
                  </a:lnTo>
                  <a:lnTo>
                    <a:pt x="128" y="14"/>
                  </a:lnTo>
                  <a:lnTo>
                    <a:pt x="127" y="12"/>
                  </a:lnTo>
                  <a:lnTo>
                    <a:pt x="126" y="11"/>
                  </a:lnTo>
                  <a:lnTo>
                    <a:pt x="124" y="10"/>
                  </a:lnTo>
                  <a:lnTo>
                    <a:pt x="123" y="10"/>
                  </a:lnTo>
                  <a:lnTo>
                    <a:pt x="122" y="10"/>
                  </a:lnTo>
                  <a:lnTo>
                    <a:pt x="122" y="11"/>
                  </a:lnTo>
                  <a:lnTo>
                    <a:pt x="122" y="12"/>
                  </a:lnTo>
                  <a:lnTo>
                    <a:pt x="122" y="14"/>
                  </a:lnTo>
                  <a:lnTo>
                    <a:pt x="123" y="15"/>
                  </a:lnTo>
                  <a:lnTo>
                    <a:pt x="124" y="15"/>
                  </a:lnTo>
                  <a:lnTo>
                    <a:pt x="126" y="15"/>
                  </a:lnTo>
                  <a:lnTo>
                    <a:pt x="124" y="15"/>
                  </a:lnTo>
                  <a:lnTo>
                    <a:pt x="124" y="16"/>
                  </a:lnTo>
                  <a:lnTo>
                    <a:pt x="126" y="16"/>
                  </a:lnTo>
                  <a:lnTo>
                    <a:pt x="127" y="17"/>
                  </a:lnTo>
                  <a:lnTo>
                    <a:pt x="128" y="17"/>
                  </a:lnTo>
                  <a:lnTo>
                    <a:pt x="129" y="18"/>
                  </a:lnTo>
                  <a:lnTo>
                    <a:pt x="128" y="20"/>
                  </a:lnTo>
                  <a:lnTo>
                    <a:pt x="127" y="20"/>
                  </a:lnTo>
                  <a:lnTo>
                    <a:pt x="127" y="18"/>
                  </a:lnTo>
                  <a:lnTo>
                    <a:pt x="126" y="17"/>
                  </a:lnTo>
                  <a:lnTo>
                    <a:pt x="124" y="17"/>
                  </a:lnTo>
                  <a:lnTo>
                    <a:pt x="124" y="18"/>
                  </a:lnTo>
                  <a:lnTo>
                    <a:pt x="123" y="18"/>
                  </a:lnTo>
                  <a:lnTo>
                    <a:pt x="122" y="18"/>
                  </a:lnTo>
                  <a:lnTo>
                    <a:pt x="121" y="18"/>
                  </a:lnTo>
                  <a:lnTo>
                    <a:pt x="121" y="17"/>
                  </a:lnTo>
                  <a:lnTo>
                    <a:pt x="120" y="17"/>
                  </a:lnTo>
                  <a:lnTo>
                    <a:pt x="120" y="18"/>
                  </a:lnTo>
                  <a:lnTo>
                    <a:pt x="120" y="20"/>
                  </a:lnTo>
                  <a:lnTo>
                    <a:pt x="121" y="21"/>
                  </a:lnTo>
                  <a:lnTo>
                    <a:pt x="121" y="22"/>
                  </a:lnTo>
                  <a:lnTo>
                    <a:pt x="122" y="22"/>
                  </a:lnTo>
                  <a:lnTo>
                    <a:pt x="123" y="22"/>
                  </a:lnTo>
                  <a:lnTo>
                    <a:pt x="124" y="22"/>
                  </a:lnTo>
                  <a:lnTo>
                    <a:pt x="126" y="22"/>
                  </a:lnTo>
                  <a:lnTo>
                    <a:pt x="126" y="23"/>
                  </a:lnTo>
                  <a:lnTo>
                    <a:pt x="127" y="23"/>
                  </a:lnTo>
                  <a:lnTo>
                    <a:pt x="126" y="23"/>
                  </a:lnTo>
                  <a:lnTo>
                    <a:pt x="124" y="23"/>
                  </a:lnTo>
                  <a:lnTo>
                    <a:pt x="124" y="24"/>
                  </a:lnTo>
                  <a:lnTo>
                    <a:pt x="124" y="26"/>
                  </a:lnTo>
                  <a:lnTo>
                    <a:pt x="123" y="26"/>
                  </a:lnTo>
                  <a:lnTo>
                    <a:pt x="122" y="26"/>
                  </a:lnTo>
                  <a:lnTo>
                    <a:pt x="123" y="28"/>
                  </a:lnTo>
                  <a:lnTo>
                    <a:pt x="124" y="28"/>
                  </a:lnTo>
                  <a:lnTo>
                    <a:pt x="126" y="29"/>
                  </a:lnTo>
                  <a:lnTo>
                    <a:pt x="127" y="29"/>
                  </a:lnTo>
                  <a:lnTo>
                    <a:pt x="127" y="30"/>
                  </a:lnTo>
                  <a:lnTo>
                    <a:pt x="128" y="30"/>
                  </a:lnTo>
                  <a:lnTo>
                    <a:pt x="129" y="29"/>
                  </a:lnTo>
                  <a:lnTo>
                    <a:pt x="129" y="28"/>
                  </a:lnTo>
                  <a:lnTo>
                    <a:pt x="129" y="27"/>
                  </a:lnTo>
                  <a:lnTo>
                    <a:pt x="130" y="28"/>
                  </a:lnTo>
                  <a:lnTo>
                    <a:pt x="132" y="28"/>
                  </a:lnTo>
                  <a:lnTo>
                    <a:pt x="132" y="27"/>
                  </a:lnTo>
                  <a:lnTo>
                    <a:pt x="133" y="28"/>
                  </a:lnTo>
                  <a:lnTo>
                    <a:pt x="133" y="29"/>
                  </a:lnTo>
                  <a:lnTo>
                    <a:pt x="132" y="29"/>
                  </a:lnTo>
                  <a:lnTo>
                    <a:pt x="130" y="29"/>
                  </a:lnTo>
                  <a:lnTo>
                    <a:pt x="129" y="30"/>
                  </a:lnTo>
                  <a:lnTo>
                    <a:pt x="129" y="32"/>
                  </a:lnTo>
                  <a:lnTo>
                    <a:pt x="130" y="33"/>
                  </a:lnTo>
                  <a:lnTo>
                    <a:pt x="132" y="34"/>
                  </a:lnTo>
                  <a:lnTo>
                    <a:pt x="133" y="33"/>
                  </a:lnTo>
                  <a:lnTo>
                    <a:pt x="134" y="33"/>
                  </a:lnTo>
                  <a:lnTo>
                    <a:pt x="134" y="32"/>
                  </a:lnTo>
                  <a:lnTo>
                    <a:pt x="134" y="30"/>
                  </a:lnTo>
                  <a:lnTo>
                    <a:pt x="135" y="32"/>
                  </a:lnTo>
                  <a:lnTo>
                    <a:pt x="136" y="32"/>
                  </a:lnTo>
                  <a:lnTo>
                    <a:pt x="136" y="33"/>
                  </a:lnTo>
                  <a:lnTo>
                    <a:pt x="135" y="33"/>
                  </a:lnTo>
                  <a:lnTo>
                    <a:pt x="134" y="34"/>
                  </a:lnTo>
                  <a:lnTo>
                    <a:pt x="134" y="35"/>
                  </a:lnTo>
                  <a:lnTo>
                    <a:pt x="134" y="36"/>
                  </a:lnTo>
                  <a:lnTo>
                    <a:pt x="135" y="38"/>
                  </a:lnTo>
                  <a:lnTo>
                    <a:pt x="135" y="39"/>
                  </a:lnTo>
                  <a:lnTo>
                    <a:pt x="136" y="40"/>
                  </a:lnTo>
                  <a:lnTo>
                    <a:pt x="136" y="41"/>
                  </a:lnTo>
                  <a:lnTo>
                    <a:pt x="135" y="41"/>
                  </a:lnTo>
                  <a:lnTo>
                    <a:pt x="135" y="40"/>
                  </a:lnTo>
                  <a:lnTo>
                    <a:pt x="135" y="39"/>
                  </a:lnTo>
                  <a:lnTo>
                    <a:pt x="134" y="39"/>
                  </a:lnTo>
                  <a:lnTo>
                    <a:pt x="134" y="38"/>
                  </a:lnTo>
                  <a:lnTo>
                    <a:pt x="133" y="36"/>
                  </a:lnTo>
                  <a:lnTo>
                    <a:pt x="132" y="36"/>
                  </a:lnTo>
                  <a:lnTo>
                    <a:pt x="132" y="38"/>
                  </a:lnTo>
                  <a:lnTo>
                    <a:pt x="132" y="39"/>
                  </a:lnTo>
                  <a:lnTo>
                    <a:pt x="130" y="39"/>
                  </a:lnTo>
                  <a:lnTo>
                    <a:pt x="130" y="40"/>
                  </a:lnTo>
                  <a:lnTo>
                    <a:pt x="129" y="40"/>
                  </a:lnTo>
                  <a:lnTo>
                    <a:pt x="129" y="39"/>
                  </a:lnTo>
                  <a:lnTo>
                    <a:pt x="129" y="38"/>
                  </a:lnTo>
                  <a:lnTo>
                    <a:pt x="128" y="39"/>
                  </a:lnTo>
                  <a:lnTo>
                    <a:pt x="128" y="40"/>
                  </a:lnTo>
                  <a:lnTo>
                    <a:pt x="127" y="40"/>
                  </a:lnTo>
                  <a:lnTo>
                    <a:pt x="127" y="39"/>
                  </a:lnTo>
                  <a:lnTo>
                    <a:pt x="127" y="38"/>
                  </a:lnTo>
                  <a:lnTo>
                    <a:pt x="127" y="36"/>
                  </a:lnTo>
                  <a:lnTo>
                    <a:pt x="126" y="36"/>
                  </a:lnTo>
                  <a:lnTo>
                    <a:pt x="126" y="35"/>
                  </a:lnTo>
                  <a:lnTo>
                    <a:pt x="124" y="35"/>
                  </a:lnTo>
                  <a:lnTo>
                    <a:pt x="123" y="36"/>
                  </a:lnTo>
                  <a:lnTo>
                    <a:pt x="123" y="38"/>
                  </a:lnTo>
                  <a:lnTo>
                    <a:pt x="123" y="39"/>
                  </a:lnTo>
                  <a:lnTo>
                    <a:pt x="123" y="40"/>
                  </a:lnTo>
                  <a:lnTo>
                    <a:pt x="122" y="40"/>
                  </a:lnTo>
                  <a:lnTo>
                    <a:pt x="122" y="39"/>
                  </a:lnTo>
                  <a:lnTo>
                    <a:pt x="121" y="39"/>
                  </a:lnTo>
                  <a:lnTo>
                    <a:pt x="121" y="40"/>
                  </a:lnTo>
                  <a:lnTo>
                    <a:pt x="120" y="40"/>
                  </a:lnTo>
                  <a:lnTo>
                    <a:pt x="118" y="39"/>
                  </a:lnTo>
                  <a:lnTo>
                    <a:pt x="118" y="38"/>
                  </a:lnTo>
                  <a:lnTo>
                    <a:pt x="117" y="38"/>
                  </a:lnTo>
                  <a:lnTo>
                    <a:pt x="117" y="36"/>
                  </a:lnTo>
                  <a:lnTo>
                    <a:pt x="117" y="35"/>
                  </a:lnTo>
                  <a:lnTo>
                    <a:pt x="117" y="34"/>
                  </a:lnTo>
                  <a:lnTo>
                    <a:pt x="116" y="33"/>
                  </a:lnTo>
                  <a:lnTo>
                    <a:pt x="115" y="34"/>
                  </a:lnTo>
                  <a:lnTo>
                    <a:pt x="114" y="35"/>
                  </a:lnTo>
                  <a:lnTo>
                    <a:pt x="112" y="36"/>
                  </a:lnTo>
                  <a:lnTo>
                    <a:pt x="112" y="35"/>
                  </a:lnTo>
                  <a:lnTo>
                    <a:pt x="112" y="34"/>
                  </a:lnTo>
                  <a:lnTo>
                    <a:pt x="111" y="33"/>
                  </a:lnTo>
                  <a:lnTo>
                    <a:pt x="110" y="33"/>
                  </a:lnTo>
                  <a:lnTo>
                    <a:pt x="110" y="34"/>
                  </a:lnTo>
                  <a:lnTo>
                    <a:pt x="109" y="35"/>
                  </a:lnTo>
                  <a:lnTo>
                    <a:pt x="109" y="36"/>
                  </a:lnTo>
                  <a:lnTo>
                    <a:pt x="108" y="35"/>
                  </a:lnTo>
                  <a:lnTo>
                    <a:pt x="108" y="34"/>
                  </a:lnTo>
                  <a:lnTo>
                    <a:pt x="109" y="33"/>
                  </a:lnTo>
                  <a:lnTo>
                    <a:pt x="109" y="32"/>
                  </a:lnTo>
                  <a:lnTo>
                    <a:pt x="108" y="32"/>
                  </a:lnTo>
                  <a:lnTo>
                    <a:pt x="109" y="32"/>
                  </a:lnTo>
                  <a:lnTo>
                    <a:pt x="109" y="30"/>
                  </a:lnTo>
                  <a:lnTo>
                    <a:pt x="108" y="29"/>
                  </a:lnTo>
                  <a:lnTo>
                    <a:pt x="106" y="29"/>
                  </a:lnTo>
                  <a:lnTo>
                    <a:pt x="105" y="29"/>
                  </a:lnTo>
                  <a:lnTo>
                    <a:pt x="105" y="28"/>
                  </a:lnTo>
                  <a:lnTo>
                    <a:pt x="105" y="27"/>
                  </a:lnTo>
                  <a:lnTo>
                    <a:pt x="104" y="26"/>
                  </a:lnTo>
                  <a:lnTo>
                    <a:pt x="103" y="24"/>
                  </a:lnTo>
                  <a:lnTo>
                    <a:pt x="103" y="26"/>
                  </a:lnTo>
                  <a:lnTo>
                    <a:pt x="102" y="27"/>
                  </a:lnTo>
                  <a:lnTo>
                    <a:pt x="100" y="28"/>
                  </a:lnTo>
                  <a:lnTo>
                    <a:pt x="99" y="29"/>
                  </a:lnTo>
                  <a:lnTo>
                    <a:pt x="99" y="28"/>
                  </a:lnTo>
                  <a:lnTo>
                    <a:pt x="99" y="27"/>
                  </a:lnTo>
                  <a:lnTo>
                    <a:pt x="100" y="26"/>
                  </a:lnTo>
                  <a:lnTo>
                    <a:pt x="99" y="26"/>
                  </a:lnTo>
                  <a:lnTo>
                    <a:pt x="100" y="26"/>
                  </a:lnTo>
                  <a:lnTo>
                    <a:pt x="100" y="24"/>
                  </a:lnTo>
                  <a:lnTo>
                    <a:pt x="102" y="24"/>
                  </a:lnTo>
                  <a:lnTo>
                    <a:pt x="102" y="23"/>
                  </a:lnTo>
                  <a:lnTo>
                    <a:pt x="102" y="22"/>
                  </a:lnTo>
                  <a:lnTo>
                    <a:pt x="103" y="21"/>
                  </a:lnTo>
                  <a:lnTo>
                    <a:pt x="102" y="20"/>
                  </a:lnTo>
                  <a:lnTo>
                    <a:pt x="100" y="20"/>
                  </a:lnTo>
                  <a:lnTo>
                    <a:pt x="99" y="20"/>
                  </a:lnTo>
                  <a:lnTo>
                    <a:pt x="100" y="21"/>
                  </a:lnTo>
                  <a:lnTo>
                    <a:pt x="99" y="22"/>
                  </a:lnTo>
                  <a:lnTo>
                    <a:pt x="99" y="21"/>
                  </a:lnTo>
                  <a:lnTo>
                    <a:pt x="98" y="22"/>
                  </a:lnTo>
                  <a:lnTo>
                    <a:pt x="98" y="23"/>
                  </a:lnTo>
                  <a:lnTo>
                    <a:pt x="98" y="24"/>
                  </a:lnTo>
                  <a:lnTo>
                    <a:pt x="97" y="24"/>
                  </a:lnTo>
                  <a:lnTo>
                    <a:pt x="97" y="23"/>
                  </a:lnTo>
                  <a:lnTo>
                    <a:pt x="97" y="22"/>
                  </a:lnTo>
                  <a:lnTo>
                    <a:pt x="97" y="21"/>
                  </a:lnTo>
                  <a:lnTo>
                    <a:pt x="98" y="20"/>
                  </a:lnTo>
                  <a:lnTo>
                    <a:pt x="97" y="18"/>
                  </a:lnTo>
                  <a:lnTo>
                    <a:pt x="96" y="17"/>
                  </a:lnTo>
                  <a:lnTo>
                    <a:pt x="96" y="18"/>
                  </a:lnTo>
                  <a:lnTo>
                    <a:pt x="94" y="20"/>
                  </a:lnTo>
                  <a:lnTo>
                    <a:pt x="94" y="18"/>
                  </a:lnTo>
                  <a:lnTo>
                    <a:pt x="94" y="17"/>
                  </a:lnTo>
                  <a:lnTo>
                    <a:pt x="93" y="18"/>
                  </a:lnTo>
                  <a:lnTo>
                    <a:pt x="93" y="17"/>
                  </a:lnTo>
                  <a:lnTo>
                    <a:pt x="92" y="17"/>
                  </a:lnTo>
                  <a:lnTo>
                    <a:pt x="92" y="16"/>
                  </a:lnTo>
                  <a:lnTo>
                    <a:pt x="92" y="15"/>
                  </a:lnTo>
                  <a:lnTo>
                    <a:pt x="91" y="15"/>
                  </a:lnTo>
                  <a:lnTo>
                    <a:pt x="89" y="15"/>
                  </a:lnTo>
                  <a:lnTo>
                    <a:pt x="89" y="16"/>
                  </a:lnTo>
                  <a:lnTo>
                    <a:pt x="89" y="17"/>
                  </a:lnTo>
                  <a:lnTo>
                    <a:pt x="91" y="18"/>
                  </a:lnTo>
                  <a:lnTo>
                    <a:pt x="89" y="18"/>
                  </a:lnTo>
                  <a:lnTo>
                    <a:pt x="88" y="18"/>
                  </a:lnTo>
                  <a:lnTo>
                    <a:pt x="89" y="20"/>
                  </a:lnTo>
                  <a:lnTo>
                    <a:pt x="91" y="21"/>
                  </a:lnTo>
                  <a:lnTo>
                    <a:pt x="92" y="22"/>
                  </a:lnTo>
                  <a:lnTo>
                    <a:pt x="92" y="23"/>
                  </a:lnTo>
                  <a:lnTo>
                    <a:pt x="93" y="23"/>
                  </a:lnTo>
                  <a:lnTo>
                    <a:pt x="92" y="23"/>
                  </a:lnTo>
                  <a:lnTo>
                    <a:pt x="91" y="22"/>
                  </a:lnTo>
                  <a:lnTo>
                    <a:pt x="89" y="22"/>
                  </a:lnTo>
                  <a:lnTo>
                    <a:pt x="88" y="23"/>
                  </a:lnTo>
                  <a:lnTo>
                    <a:pt x="89" y="23"/>
                  </a:lnTo>
                  <a:lnTo>
                    <a:pt x="89" y="24"/>
                  </a:lnTo>
                  <a:lnTo>
                    <a:pt x="91" y="26"/>
                  </a:lnTo>
                  <a:lnTo>
                    <a:pt x="91" y="27"/>
                  </a:lnTo>
                  <a:lnTo>
                    <a:pt x="91" y="28"/>
                  </a:lnTo>
                  <a:lnTo>
                    <a:pt x="89" y="28"/>
                  </a:lnTo>
                  <a:lnTo>
                    <a:pt x="88" y="27"/>
                  </a:lnTo>
                  <a:lnTo>
                    <a:pt x="86" y="27"/>
                  </a:lnTo>
                  <a:lnTo>
                    <a:pt x="85" y="28"/>
                  </a:lnTo>
                  <a:lnTo>
                    <a:pt x="85" y="29"/>
                  </a:lnTo>
                  <a:lnTo>
                    <a:pt x="86" y="30"/>
                  </a:lnTo>
                  <a:lnTo>
                    <a:pt x="86" y="32"/>
                  </a:lnTo>
                  <a:lnTo>
                    <a:pt x="87" y="32"/>
                  </a:lnTo>
                  <a:lnTo>
                    <a:pt x="88" y="33"/>
                  </a:lnTo>
                  <a:lnTo>
                    <a:pt x="89" y="34"/>
                  </a:lnTo>
                  <a:lnTo>
                    <a:pt x="91" y="35"/>
                  </a:lnTo>
                  <a:lnTo>
                    <a:pt x="92" y="34"/>
                  </a:lnTo>
                  <a:lnTo>
                    <a:pt x="93" y="34"/>
                  </a:lnTo>
                  <a:lnTo>
                    <a:pt x="94" y="35"/>
                  </a:lnTo>
                  <a:lnTo>
                    <a:pt x="93" y="36"/>
                  </a:lnTo>
                  <a:lnTo>
                    <a:pt x="93" y="35"/>
                  </a:lnTo>
                  <a:lnTo>
                    <a:pt x="92" y="35"/>
                  </a:lnTo>
                  <a:lnTo>
                    <a:pt x="91" y="35"/>
                  </a:lnTo>
                  <a:lnTo>
                    <a:pt x="89" y="35"/>
                  </a:lnTo>
                  <a:lnTo>
                    <a:pt x="88" y="35"/>
                  </a:lnTo>
                  <a:lnTo>
                    <a:pt x="88" y="34"/>
                  </a:lnTo>
                  <a:lnTo>
                    <a:pt x="87" y="34"/>
                  </a:lnTo>
                  <a:lnTo>
                    <a:pt x="87" y="35"/>
                  </a:lnTo>
                  <a:lnTo>
                    <a:pt x="86" y="35"/>
                  </a:lnTo>
                  <a:lnTo>
                    <a:pt x="87" y="36"/>
                  </a:lnTo>
                  <a:lnTo>
                    <a:pt x="88" y="36"/>
                  </a:lnTo>
                  <a:lnTo>
                    <a:pt x="88" y="38"/>
                  </a:lnTo>
                  <a:lnTo>
                    <a:pt x="88" y="39"/>
                  </a:lnTo>
                  <a:lnTo>
                    <a:pt x="88" y="40"/>
                  </a:lnTo>
                  <a:lnTo>
                    <a:pt x="89" y="40"/>
                  </a:lnTo>
                  <a:lnTo>
                    <a:pt x="89" y="41"/>
                  </a:lnTo>
                  <a:lnTo>
                    <a:pt x="88" y="41"/>
                  </a:lnTo>
                  <a:lnTo>
                    <a:pt x="88" y="40"/>
                  </a:lnTo>
                  <a:lnTo>
                    <a:pt x="87" y="40"/>
                  </a:lnTo>
                  <a:lnTo>
                    <a:pt x="87" y="41"/>
                  </a:lnTo>
                  <a:lnTo>
                    <a:pt x="87" y="42"/>
                  </a:lnTo>
                  <a:lnTo>
                    <a:pt x="87" y="41"/>
                  </a:lnTo>
                  <a:lnTo>
                    <a:pt x="86" y="42"/>
                  </a:lnTo>
                  <a:lnTo>
                    <a:pt x="87" y="44"/>
                  </a:lnTo>
                  <a:lnTo>
                    <a:pt x="88" y="44"/>
                  </a:lnTo>
                  <a:lnTo>
                    <a:pt x="89" y="44"/>
                  </a:lnTo>
                  <a:lnTo>
                    <a:pt x="91" y="44"/>
                  </a:lnTo>
                  <a:lnTo>
                    <a:pt x="92" y="44"/>
                  </a:lnTo>
                  <a:lnTo>
                    <a:pt x="93" y="44"/>
                  </a:lnTo>
                  <a:lnTo>
                    <a:pt x="94" y="44"/>
                  </a:lnTo>
                  <a:lnTo>
                    <a:pt x="96" y="44"/>
                  </a:lnTo>
                  <a:lnTo>
                    <a:pt x="96" y="45"/>
                  </a:lnTo>
                  <a:lnTo>
                    <a:pt x="97" y="45"/>
                  </a:lnTo>
                  <a:lnTo>
                    <a:pt x="98" y="45"/>
                  </a:lnTo>
                  <a:lnTo>
                    <a:pt x="99" y="45"/>
                  </a:lnTo>
                  <a:lnTo>
                    <a:pt x="100" y="45"/>
                  </a:lnTo>
                  <a:lnTo>
                    <a:pt x="102" y="46"/>
                  </a:lnTo>
                  <a:lnTo>
                    <a:pt x="100" y="46"/>
                  </a:lnTo>
                  <a:lnTo>
                    <a:pt x="99" y="46"/>
                  </a:lnTo>
                  <a:lnTo>
                    <a:pt x="98" y="46"/>
                  </a:lnTo>
                  <a:lnTo>
                    <a:pt x="97" y="47"/>
                  </a:lnTo>
                  <a:lnTo>
                    <a:pt x="96" y="46"/>
                  </a:lnTo>
                  <a:lnTo>
                    <a:pt x="96" y="47"/>
                  </a:lnTo>
                  <a:lnTo>
                    <a:pt x="94" y="47"/>
                  </a:lnTo>
                  <a:lnTo>
                    <a:pt x="94" y="46"/>
                  </a:lnTo>
                  <a:lnTo>
                    <a:pt x="93" y="45"/>
                  </a:lnTo>
                  <a:lnTo>
                    <a:pt x="93" y="46"/>
                  </a:lnTo>
                  <a:lnTo>
                    <a:pt x="92" y="46"/>
                  </a:lnTo>
                  <a:lnTo>
                    <a:pt x="92" y="47"/>
                  </a:lnTo>
                  <a:lnTo>
                    <a:pt x="93" y="47"/>
                  </a:lnTo>
                  <a:lnTo>
                    <a:pt x="92" y="48"/>
                  </a:lnTo>
                  <a:lnTo>
                    <a:pt x="92" y="47"/>
                  </a:lnTo>
                  <a:lnTo>
                    <a:pt x="91" y="46"/>
                  </a:lnTo>
                  <a:lnTo>
                    <a:pt x="91" y="47"/>
                  </a:lnTo>
                  <a:lnTo>
                    <a:pt x="89" y="47"/>
                  </a:lnTo>
                  <a:lnTo>
                    <a:pt x="89" y="46"/>
                  </a:lnTo>
                  <a:lnTo>
                    <a:pt x="89" y="45"/>
                  </a:lnTo>
                  <a:lnTo>
                    <a:pt x="88" y="45"/>
                  </a:lnTo>
                  <a:lnTo>
                    <a:pt x="87" y="45"/>
                  </a:lnTo>
                  <a:lnTo>
                    <a:pt x="86" y="45"/>
                  </a:lnTo>
                  <a:lnTo>
                    <a:pt x="86" y="46"/>
                  </a:lnTo>
                  <a:lnTo>
                    <a:pt x="85" y="46"/>
                  </a:lnTo>
                  <a:lnTo>
                    <a:pt x="86" y="46"/>
                  </a:lnTo>
                  <a:lnTo>
                    <a:pt x="86" y="48"/>
                  </a:lnTo>
                  <a:lnTo>
                    <a:pt x="87" y="48"/>
                  </a:lnTo>
                  <a:lnTo>
                    <a:pt x="87" y="50"/>
                  </a:lnTo>
                  <a:lnTo>
                    <a:pt x="88" y="50"/>
                  </a:lnTo>
                  <a:lnTo>
                    <a:pt x="88" y="51"/>
                  </a:lnTo>
                  <a:lnTo>
                    <a:pt x="89" y="51"/>
                  </a:lnTo>
                  <a:lnTo>
                    <a:pt x="89" y="52"/>
                  </a:lnTo>
                  <a:lnTo>
                    <a:pt x="88" y="52"/>
                  </a:lnTo>
                  <a:lnTo>
                    <a:pt x="87" y="51"/>
                  </a:lnTo>
                  <a:lnTo>
                    <a:pt x="87" y="52"/>
                  </a:lnTo>
                  <a:lnTo>
                    <a:pt x="86" y="52"/>
                  </a:lnTo>
                  <a:lnTo>
                    <a:pt x="85" y="52"/>
                  </a:lnTo>
                  <a:lnTo>
                    <a:pt x="85" y="51"/>
                  </a:lnTo>
                  <a:lnTo>
                    <a:pt x="83" y="51"/>
                  </a:lnTo>
                  <a:lnTo>
                    <a:pt x="82" y="52"/>
                  </a:lnTo>
                  <a:lnTo>
                    <a:pt x="82" y="53"/>
                  </a:lnTo>
                  <a:lnTo>
                    <a:pt x="83" y="53"/>
                  </a:lnTo>
                  <a:lnTo>
                    <a:pt x="85" y="54"/>
                  </a:lnTo>
                  <a:lnTo>
                    <a:pt x="86" y="54"/>
                  </a:lnTo>
                  <a:lnTo>
                    <a:pt x="87" y="54"/>
                  </a:lnTo>
                  <a:lnTo>
                    <a:pt x="88" y="54"/>
                  </a:lnTo>
                  <a:lnTo>
                    <a:pt x="89" y="54"/>
                  </a:lnTo>
                  <a:lnTo>
                    <a:pt x="91" y="53"/>
                  </a:lnTo>
                  <a:lnTo>
                    <a:pt x="91" y="52"/>
                  </a:lnTo>
                  <a:lnTo>
                    <a:pt x="92" y="52"/>
                  </a:lnTo>
                  <a:lnTo>
                    <a:pt x="93" y="52"/>
                  </a:lnTo>
                  <a:lnTo>
                    <a:pt x="94" y="51"/>
                  </a:lnTo>
                  <a:lnTo>
                    <a:pt x="96" y="50"/>
                  </a:lnTo>
                  <a:lnTo>
                    <a:pt x="97" y="50"/>
                  </a:lnTo>
                  <a:lnTo>
                    <a:pt x="98" y="51"/>
                  </a:lnTo>
                  <a:lnTo>
                    <a:pt x="97" y="52"/>
                  </a:lnTo>
                  <a:lnTo>
                    <a:pt x="97" y="51"/>
                  </a:lnTo>
                  <a:lnTo>
                    <a:pt x="96" y="51"/>
                  </a:lnTo>
                  <a:lnTo>
                    <a:pt x="94" y="52"/>
                  </a:lnTo>
                  <a:lnTo>
                    <a:pt x="94" y="53"/>
                  </a:lnTo>
                  <a:lnTo>
                    <a:pt x="94" y="54"/>
                  </a:lnTo>
                  <a:lnTo>
                    <a:pt x="93" y="54"/>
                  </a:lnTo>
                  <a:lnTo>
                    <a:pt x="93" y="53"/>
                  </a:lnTo>
                  <a:lnTo>
                    <a:pt x="92" y="53"/>
                  </a:lnTo>
                  <a:lnTo>
                    <a:pt x="92" y="54"/>
                  </a:lnTo>
                  <a:lnTo>
                    <a:pt x="92" y="56"/>
                  </a:lnTo>
                  <a:lnTo>
                    <a:pt x="91" y="56"/>
                  </a:lnTo>
                  <a:lnTo>
                    <a:pt x="91" y="57"/>
                  </a:lnTo>
                  <a:lnTo>
                    <a:pt x="89" y="57"/>
                  </a:lnTo>
                  <a:lnTo>
                    <a:pt x="89" y="56"/>
                  </a:lnTo>
                  <a:lnTo>
                    <a:pt x="88" y="56"/>
                  </a:lnTo>
                  <a:lnTo>
                    <a:pt x="88" y="57"/>
                  </a:lnTo>
                  <a:lnTo>
                    <a:pt x="87" y="57"/>
                  </a:lnTo>
                  <a:lnTo>
                    <a:pt x="87" y="56"/>
                  </a:lnTo>
                  <a:lnTo>
                    <a:pt x="86" y="56"/>
                  </a:lnTo>
                  <a:lnTo>
                    <a:pt x="85" y="56"/>
                  </a:lnTo>
                  <a:lnTo>
                    <a:pt x="83" y="56"/>
                  </a:lnTo>
                  <a:lnTo>
                    <a:pt x="83" y="54"/>
                  </a:lnTo>
                  <a:lnTo>
                    <a:pt x="82" y="54"/>
                  </a:lnTo>
                  <a:lnTo>
                    <a:pt x="81" y="54"/>
                  </a:lnTo>
                  <a:lnTo>
                    <a:pt x="80" y="53"/>
                  </a:lnTo>
                  <a:lnTo>
                    <a:pt x="80" y="52"/>
                  </a:lnTo>
                  <a:lnTo>
                    <a:pt x="79" y="51"/>
                  </a:lnTo>
                  <a:lnTo>
                    <a:pt x="77" y="51"/>
                  </a:lnTo>
                  <a:lnTo>
                    <a:pt x="77" y="50"/>
                  </a:lnTo>
                  <a:lnTo>
                    <a:pt x="76" y="50"/>
                  </a:lnTo>
                  <a:lnTo>
                    <a:pt x="75" y="50"/>
                  </a:lnTo>
                  <a:lnTo>
                    <a:pt x="75" y="51"/>
                  </a:lnTo>
                  <a:lnTo>
                    <a:pt x="76" y="51"/>
                  </a:lnTo>
                  <a:lnTo>
                    <a:pt x="76" y="53"/>
                  </a:lnTo>
                  <a:lnTo>
                    <a:pt x="75" y="53"/>
                  </a:lnTo>
                  <a:lnTo>
                    <a:pt x="74" y="52"/>
                  </a:lnTo>
                  <a:lnTo>
                    <a:pt x="73" y="52"/>
                  </a:lnTo>
                  <a:lnTo>
                    <a:pt x="71" y="52"/>
                  </a:lnTo>
                  <a:lnTo>
                    <a:pt x="70" y="52"/>
                  </a:lnTo>
                  <a:lnTo>
                    <a:pt x="70" y="51"/>
                  </a:lnTo>
                  <a:lnTo>
                    <a:pt x="69" y="51"/>
                  </a:lnTo>
                  <a:lnTo>
                    <a:pt x="68" y="51"/>
                  </a:lnTo>
                  <a:lnTo>
                    <a:pt x="67" y="50"/>
                  </a:lnTo>
                  <a:lnTo>
                    <a:pt x="67" y="48"/>
                  </a:lnTo>
                  <a:lnTo>
                    <a:pt x="65" y="48"/>
                  </a:lnTo>
                  <a:lnTo>
                    <a:pt x="64" y="48"/>
                  </a:lnTo>
                  <a:lnTo>
                    <a:pt x="64" y="50"/>
                  </a:lnTo>
                  <a:lnTo>
                    <a:pt x="65" y="51"/>
                  </a:lnTo>
                  <a:lnTo>
                    <a:pt x="64" y="52"/>
                  </a:lnTo>
                  <a:lnTo>
                    <a:pt x="63" y="52"/>
                  </a:lnTo>
                  <a:lnTo>
                    <a:pt x="63" y="51"/>
                  </a:lnTo>
                  <a:lnTo>
                    <a:pt x="63" y="50"/>
                  </a:lnTo>
                  <a:lnTo>
                    <a:pt x="62" y="50"/>
                  </a:lnTo>
                  <a:lnTo>
                    <a:pt x="61" y="51"/>
                  </a:lnTo>
                  <a:lnTo>
                    <a:pt x="59" y="51"/>
                  </a:lnTo>
                  <a:lnTo>
                    <a:pt x="61" y="52"/>
                  </a:lnTo>
                  <a:lnTo>
                    <a:pt x="62" y="53"/>
                  </a:lnTo>
                  <a:lnTo>
                    <a:pt x="62" y="54"/>
                  </a:lnTo>
                  <a:lnTo>
                    <a:pt x="63" y="54"/>
                  </a:lnTo>
                  <a:lnTo>
                    <a:pt x="64" y="54"/>
                  </a:lnTo>
                  <a:lnTo>
                    <a:pt x="64" y="56"/>
                  </a:lnTo>
                  <a:lnTo>
                    <a:pt x="63" y="56"/>
                  </a:lnTo>
                  <a:lnTo>
                    <a:pt x="62" y="56"/>
                  </a:lnTo>
                  <a:lnTo>
                    <a:pt x="62" y="57"/>
                  </a:lnTo>
                  <a:lnTo>
                    <a:pt x="63" y="57"/>
                  </a:lnTo>
                  <a:lnTo>
                    <a:pt x="64" y="58"/>
                  </a:lnTo>
                  <a:lnTo>
                    <a:pt x="65" y="58"/>
                  </a:lnTo>
                  <a:lnTo>
                    <a:pt x="67" y="58"/>
                  </a:lnTo>
                  <a:lnTo>
                    <a:pt x="68" y="58"/>
                  </a:lnTo>
                  <a:lnTo>
                    <a:pt x="69" y="58"/>
                  </a:lnTo>
                  <a:lnTo>
                    <a:pt x="69" y="59"/>
                  </a:lnTo>
                  <a:lnTo>
                    <a:pt x="69" y="60"/>
                  </a:lnTo>
                  <a:lnTo>
                    <a:pt x="70" y="60"/>
                  </a:lnTo>
                  <a:lnTo>
                    <a:pt x="71" y="60"/>
                  </a:lnTo>
                  <a:lnTo>
                    <a:pt x="71" y="59"/>
                  </a:lnTo>
                  <a:lnTo>
                    <a:pt x="73" y="60"/>
                  </a:lnTo>
                  <a:lnTo>
                    <a:pt x="74" y="60"/>
                  </a:lnTo>
                  <a:lnTo>
                    <a:pt x="75" y="60"/>
                  </a:lnTo>
                  <a:lnTo>
                    <a:pt x="75" y="59"/>
                  </a:lnTo>
                  <a:lnTo>
                    <a:pt x="76" y="58"/>
                  </a:lnTo>
                  <a:lnTo>
                    <a:pt x="76" y="59"/>
                  </a:lnTo>
                  <a:lnTo>
                    <a:pt x="77" y="59"/>
                  </a:lnTo>
                  <a:lnTo>
                    <a:pt x="79" y="60"/>
                  </a:lnTo>
                  <a:lnTo>
                    <a:pt x="77" y="60"/>
                  </a:lnTo>
                  <a:lnTo>
                    <a:pt x="77" y="62"/>
                  </a:lnTo>
                  <a:lnTo>
                    <a:pt x="79" y="62"/>
                  </a:lnTo>
                  <a:lnTo>
                    <a:pt x="77" y="63"/>
                  </a:lnTo>
                  <a:lnTo>
                    <a:pt x="76" y="63"/>
                  </a:lnTo>
                  <a:lnTo>
                    <a:pt x="75" y="64"/>
                  </a:lnTo>
                  <a:lnTo>
                    <a:pt x="76" y="65"/>
                  </a:lnTo>
                  <a:lnTo>
                    <a:pt x="77" y="65"/>
                  </a:lnTo>
                  <a:lnTo>
                    <a:pt x="77" y="66"/>
                  </a:lnTo>
                  <a:lnTo>
                    <a:pt x="79" y="66"/>
                  </a:lnTo>
                  <a:lnTo>
                    <a:pt x="79" y="68"/>
                  </a:lnTo>
                  <a:lnTo>
                    <a:pt x="77" y="68"/>
                  </a:lnTo>
                  <a:lnTo>
                    <a:pt x="79" y="69"/>
                  </a:lnTo>
                  <a:lnTo>
                    <a:pt x="80" y="69"/>
                  </a:lnTo>
                  <a:lnTo>
                    <a:pt x="81" y="69"/>
                  </a:lnTo>
                  <a:lnTo>
                    <a:pt x="80" y="70"/>
                  </a:lnTo>
                  <a:lnTo>
                    <a:pt x="80" y="71"/>
                  </a:lnTo>
                  <a:lnTo>
                    <a:pt x="79" y="71"/>
                  </a:lnTo>
                  <a:lnTo>
                    <a:pt x="77" y="71"/>
                  </a:lnTo>
                  <a:lnTo>
                    <a:pt x="77" y="73"/>
                  </a:lnTo>
                  <a:lnTo>
                    <a:pt x="79" y="74"/>
                  </a:lnTo>
                  <a:lnTo>
                    <a:pt x="80" y="74"/>
                  </a:lnTo>
                  <a:lnTo>
                    <a:pt x="80" y="75"/>
                  </a:lnTo>
                  <a:lnTo>
                    <a:pt x="81" y="74"/>
                  </a:lnTo>
                  <a:lnTo>
                    <a:pt x="81" y="75"/>
                  </a:lnTo>
                  <a:lnTo>
                    <a:pt x="82" y="76"/>
                  </a:lnTo>
                  <a:lnTo>
                    <a:pt x="83" y="76"/>
                  </a:lnTo>
                  <a:lnTo>
                    <a:pt x="85" y="76"/>
                  </a:lnTo>
                  <a:lnTo>
                    <a:pt x="85" y="75"/>
                  </a:lnTo>
                  <a:lnTo>
                    <a:pt x="86" y="75"/>
                  </a:lnTo>
                  <a:lnTo>
                    <a:pt x="87" y="75"/>
                  </a:lnTo>
                  <a:lnTo>
                    <a:pt x="87" y="74"/>
                  </a:lnTo>
                  <a:lnTo>
                    <a:pt x="88" y="74"/>
                  </a:lnTo>
                  <a:lnTo>
                    <a:pt x="89" y="74"/>
                  </a:lnTo>
                  <a:lnTo>
                    <a:pt x="91" y="74"/>
                  </a:lnTo>
                  <a:lnTo>
                    <a:pt x="92" y="74"/>
                  </a:lnTo>
                  <a:lnTo>
                    <a:pt x="92" y="75"/>
                  </a:lnTo>
                  <a:lnTo>
                    <a:pt x="93" y="75"/>
                  </a:lnTo>
                  <a:lnTo>
                    <a:pt x="94" y="74"/>
                  </a:lnTo>
                  <a:lnTo>
                    <a:pt x="94" y="73"/>
                  </a:lnTo>
                  <a:lnTo>
                    <a:pt x="94" y="74"/>
                  </a:lnTo>
                  <a:lnTo>
                    <a:pt x="96" y="74"/>
                  </a:lnTo>
                  <a:lnTo>
                    <a:pt x="97" y="74"/>
                  </a:lnTo>
                  <a:lnTo>
                    <a:pt x="97" y="73"/>
                  </a:lnTo>
                  <a:lnTo>
                    <a:pt x="98" y="71"/>
                  </a:lnTo>
                  <a:lnTo>
                    <a:pt x="99" y="70"/>
                  </a:lnTo>
                  <a:lnTo>
                    <a:pt x="100" y="71"/>
                  </a:lnTo>
                  <a:lnTo>
                    <a:pt x="102" y="71"/>
                  </a:lnTo>
                  <a:lnTo>
                    <a:pt x="103" y="71"/>
                  </a:lnTo>
                  <a:lnTo>
                    <a:pt x="104" y="71"/>
                  </a:lnTo>
                  <a:lnTo>
                    <a:pt x="105" y="71"/>
                  </a:lnTo>
                  <a:lnTo>
                    <a:pt x="105" y="73"/>
                  </a:lnTo>
                  <a:lnTo>
                    <a:pt x="104" y="73"/>
                  </a:lnTo>
                  <a:lnTo>
                    <a:pt x="103" y="73"/>
                  </a:lnTo>
                  <a:lnTo>
                    <a:pt x="103" y="74"/>
                  </a:lnTo>
                  <a:lnTo>
                    <a:pt x="103" y="75"/>
                  </a:lnTo>
                  <a:lnTo>
                    <a:pt x="102" y="75"/>
                  </a:lnTo>
                  <a:lnTo>
                    <a:pt x="100" y="75"/>
                  </a:lnTo>
                  <a:lnTo>
                    <a:pt x="99" y="76"/>
                  </a:lnTo>
                  <a:lnTo>
                    <a:pt x="98" y="76"/>
                  </a:lnTo>
                  <a:lnTo>
                    <a:pt x="98" y="77"/>
                  </a:lnTo>
                  <a:lnTo>
                    <a:pt x="98" y="79"/>
                  </a:lnTo>
                  <a:lnTo>
                    <a:pt x="99" y="79"/>
                  </a:lnTo>
                  <a:lnTo>
                    <a:pt x="100" y="79"/>
                  </a:lnTo>
                  <a:lnTo>
                    <a:pt x="100" y="77"/>
                  </a:lnTo>
                  <a:lnTo>
                    <a:pt x="102" y="77"/>
                  </a:lnTo>
                  <a:lnTo>
                    <a:pt x="102" y="76"/>
                  </a:lnTo>
                  <a:lnTo>
                    <a:pt x="103" y="76"/>
                  </a:lnTo>
                  <a:lnTo>
                    <a:pt x="104" y="76"/>
                  </a:lnTo>
                  <a:lnTo>
                    <a:pt x="104" y="75"/>
                  </a:lnTo>
                  <a:lnTo>
                    <a:pt x="105" y="75"/>
                  </a:lnTo>
                  <a:lnTo>
                    <a:pt x="106" y="74"/>
                  </a:lnTo>
                  <a:lnTo>
                    <a:pt x="106" y="75"/>
                  </a:lnTo>
                  <a:lnTo>
                    <a:pt x="105" y="75"/>
                  </a:lnTo>
                  <a:lnTo>
                    <a:pt x="104" y="76"/>
                  </a:lnTo>
                  <a:lnTo>
                    <a:pt x="105" y="76"/>
                  </a:lnTo>
                  <a:lnTo>
                    <a:pt x="106" y="76"/>
                  </a:lnTo>
                  <a:lnTo>
                    <a:pt x="106" y="75"/>
                  </a:lnTo>
                  <a:lnTo>
                    <a:pt x="108" y="75"/>
                  </a:lnTo>
                  <a:lnTo>
                    <a:pt x="108" y="74"/>
                  </a:lnTo>
                  <a:lnTo>
                    <a:pt x="109" y="75"/>
                  </a:lnTo>
                  <a:lnTo>
                    <a:pt x="108" y="76"/>
                  </a:lnTo>
                  <a:lnTo>
                    <a:pt x="106" y="76"/>
                  </a:lnTo>
                  <a:lnTo>
                    <a:pt x="106" y="77"/>
                  </a:lnTo>
                  <a:lnTo>
                    <a:pt x="108" y="77"/>
                  </a:lnTo>
                  <a:lnTo>
                    <a:pt x="106" y="79"/>
                  </a:lnTo>
                  <a:lnTo>
                    <a:pt x="105" y="79"/>
                  </a:lnTo>
                  <a:lnTo>
                    <a:pt x="104" y="80"/>
                  </a:lnTo>
                  <a:lnTo>
                    <a:pt x="104" y="79"/>
                  </a:lnTo>
                  <a:lnTo>
                    <a:pt x="103" y="79"/>
                  </a:lnTo>
                  <a:lnTo>
                    <a:pt x="103" y="80"/>
                  </a:lnTo>
                  <a:lnTo>
                    <a:pt x="104" y="81"/>
                  </a:lnTo>
                  <a:lnTo>
                    <a:pt x="103" y="81"/>
                  </a:lnTo>
                  <a:lnTo>
                    <a:pt x="103" y="82"/>
                  </a:lnTo>
                  <a:lnTo>
                    <a:pt x="102" y="83"/>
                  </a:lnTo>
                  <a:lnTo>
                    <a:pt x="102" y="85"/>
                  </a:lnTo>
                  <a:lnTo>
                    <a:pt x="103" y="85"/>
                  </a:lnTo>
                  <a:lnTo>
                    <a:pt x="104" y="85"/>
                  </a:lnTo>
                  <a:lnTo>
                    <a:pt x="105" y="85"/>
                  </a:lnTo>
                  <a:lnTo>
                    <a:pt x="106" y="85"/>
                  </a:lnTo>
                  <a:lnTo>
                    <a:pt x="108" y="83"/>
                  </a:lnTo>
                  <a:lnTo>
                    <a:pt x="109" y="83"/>
                  </a:lnTo>
                  <a:lnTo>
                    <a:pt x="109" y="82"/>
                  </a:lnTo>
                  <a:lnTo>
                    <a:pt x="108" y="81"/>
                  </a:lnTo>
                  <a:lnTo>
                    <a:pt x="108" y="80"/>
                  </a:lnTo>
                  <a:lnTo>
                    <a:pt x="109" y="80"/>
                  </a:lnTo>
                  <a:lnTo>
                    <a:pt x="109" y="79"/>
                  </a:lnTo>
                  <a:lnTo>
                    <a:pt x="109" y="77"/>
                  </a:lnTo>
                  <a:lnTo>
                    <a:pt x="110" y="77"/>
                  </a:lnTo>
                  <a:lnTo>
                    <a:pt x="110" y="76"/>
                  </a:lnTo>
                  <a:lnTo>
                    <a:pt x="110" y="75"/>
                  </a:lnTo>
                  <a:lnTo>
                    <a:pt x="110" y="74"/>
                  </a:lnTo>
                  <a:lnTo>
                    <a:pt x="111" y="74"/>
                  </a:lnTo>
                  <a:lnTo>
                    <a:pt x="111" y="73"/>
                  </a:lnTo>
                  <a:lnTo>
                    <a:pt x="110" y="71"/>
                  </a:lnTo>
                  <a:lnTo>
                    <a:pt x="111" y="70"/>
                  </a:lnTo>
                  <a:lnTo>
                    <a:pt x="112" y="70"/>
                  </a:lnTo>
                  <a:lnTo>
                    <a:pt x="114" y="70"/>
                  </a:lnTo>
                  <a:lnTo>
                    <a:pt x="115" y="69"/>
                  </a:lnTo>
                  <a:lnTo>
                    <a:pt x="116" y="69"/>
                  </a:lnTo>
                  <a:lnTo>
                    <a:pt x="118" y="69"/>
                  </a:lnTo>
                  <a:lnTo>
                    <a:pt x="120" y="69"/>
                  </a:lnTo>
                  <a:lnTo>
                    <a:pt x="120" y="70"/>
                  </a:lnTo>
                  <a:lnTo>
                    <a:pt x="121" y="70"/>
                  </a:lnTo>
                  <a:lnTo>
                    <a:pt x="122" y="70"/>
                  </a:lnTo>
                  <a:lnTo>
                    <a:pt x="123" y="70"/>
                  </a:lnTo>
                  <a:lnTo>
                    <a:pt x="122" y="71"/>
                  </a:lnTo>
                  <a:lnTo>
                    <a:pt x="121" y="71"/>
                  </a:lnTo>
                  <a:lnTo>
                    <a:pt x="121" y="73"/>
                  </a:lnTo>
                  <a:lnTo>
                    <a:pt x="122" y="73"/>
                  </a:lnTo>
                  <a:lnTo>
                    <a:pt x="123" y="73"/>
                  </a:lnTo>
                  <a:lnTo>
                    <a:pt x="124" y="73"/>
                  </a:lnTo>
                  <a:lnTo>
                    <a:pt x="123" y="74"/>
                  </a:lnTo>
                  <a:lnTo>
                    <a:pt x="122" y="75"/>
                  </a:lnTo>
                  <a:lnTo>
                    <a:pt x="121" y="75"/>
                  </a:lnTo>
                  <a:lnTo>
                    <a:pt x="120" y="75"/>
                  </a:lnTo>
                  <a:lnTo>
                    <a:pt x="120" y="76"/>
                  </a:lnTo>
                  <a:lnTo>
                    <a:pt x="120" y="77"/>
                  </a:lnTo>
                  <a:lnTo>
                    <a:pt x="118" y="76"/>
                  </a:lnTo>
                  <a:lnTo>
                    <a:pt x="117" y="77"/>
                  </a:lnTo>
                  <a:lnTo>
                    <a:pt x="117" y="76"/>
                  </a:lnTo>
                  <a:lnTo>
                    <a:pt x="116" y="75"/>
                  </a:lnTo>
                  <a:lnTo>
                    <a:pt x="115" y="76"/>
                  </a:lnTo>
                  <a:lnTo>
                    <a:pt x="114" y="75"/>
                  </a:lnTo>
                  <a:lnTo>
                    <a:pt x="112" y="75"/>
                  </a:lnTo>
                  <a:lnTo>
                    <a:pt x="112" y="76"/>
                  </a:lnTo>
                  <a:lnTo>
                    <a:pt x="114" y="76"/>
                  </a:lnTo>
                  <a:lnTo>
                    <a:pt x="114" y="77"/>
                  </a:lnTo>
                  <a:lnTo>
                    <a:pt x="115" y="77"/>
                  </a:lnTo>
                  <a:lnTo>
                    <a:pt x="116" y="77"/>
                  </a:lnTo>
                  <a:lnTo>
                    <a:pt x="115" y="79"/>
                  </a:lnTo>
                  <a:lnTo>
                    <a:pt x="114" y="79"/>
                  </a:lnTo>
                  <a:lnTo>
                    <a:pt x="112" y="79"/>
                  </a:lnTo>
                  <a:lnTo>
                    <a:pt x="112" y="80"/>
                  </a:lnTo>
                  <a:lnTo>
                    <a:pt x="114" y="80"/>
                  </a:lnTo>
                  <a:lnTo>
                    <a:pt x="115" y="80"/>
                  </a:lnTo>
                  <a:lnTo>
                    <a:pt x="116" y="80"/>
                  </a:lnTo>
                  <a:lnTo>
                    <a:pt x="117" y="79"/>
                  </a:lnTo>
                  <a:lnTo>
                    <a:pt x="118" y="79"/>
                  </a:lnTo>
                  <a:lnTo>
                    <a:pt x="118" y="80"/>
                  </a:lnTo>
                  <a:lnTo>
                    <a:pt x="120" y="80"/>
                  </a:lnTo>
                  <a:lnTo>
                    <a:pt x="120" y="79"/>
                  </a:lnTo>
                  <a:lnTo>
                    <a:pt x="121" y="79"/>
                  </a:lnTo>
                  <a:lnTo>
                    <a:pt x="122" y="79"/>
                  </a:lnTo>
                  <a:lnTo>
                    <a:pt x="122" y="77"/>
                  </a:lnTo>
                  <a:lnTo>
                    <a:pt x="122" y="76"/>
                  </a:lnTo>
                  <a:lnTo>
                    <a:pt x="123" y="75"/>
                  </a:lnTo>
                  <a:lnTo>
                    <a:pt x="124" y="74"/>
                  </a:lnTo>
                  <a:lnTo>
                    <a:pt x="126" y="73"/>
                  </a:lnTo>
                  <a:lnTo>
                    <a:pt x="127" y="73"/>
                  </a:lnTo>
                  <a:lnTo>
                    <a:pt x="126" y="74"/>
                  </a:lnTo>
                  <a:lnTo>
                    <a:pt x="126" y="75"/>
                  </a:lnTo>
                  <a:lnTo>
                    <a:pt x="126" y="76"/>
                  </a:lnTo>
                  <a:lnTo>
                    <a:pt x="126" y="77"/>
                  </a:lnTo>
                  <a:lnTo>
                    <a:pt x="127" y="77"/>
                  </a:lnTo>
                  <a:lnTo>
                    <a:pt x="128" y="79"/>
                  </a:lnTo>
                  <a:lnTo>
                    <a:pt x="130" y="79"/>
                  </a:lnTo>
                  <a:lnTo>
                    <a:pt x="130" y="80"/>
                  </a:lnTo>
                  <a:lnTo>
                    <a:pt x="129" y="80"/>
                  </a:lnTo>
                  <a:lnTo>
                    <a:pt x="128" y="80"/>
                  </a:lnTo>
                  <a:lnTo>
                    <a:pt x="127" y="80"/>
                  </a:lnTo>
                  <a:lnTo>
                    <a:pt x="126" y="81"/>
                  </a:lnTo>
                  <a:lnTo>
                    <a:pt x="124" y="81"/>
                  </a:lnTo>
                  <a:lnTo>
                    <a:pt x="126" y="82"/>
                  </a:lnTo>
                  <a:lnTo>
                    <a:pt x="127" y="81"/>
                  </a:lnTo>
                  <a:lnTo>
                    <a:pt x="128" y="81"/>
                  </a:lnTo>
                  <a:lnTo>
                    <a:pt x="127" y="82"/>
                  </a:lnTo>
                  <a:lnTo>
                    <a:pt x="126" y="82"/>
                  </a:lnTo>
                  <a:lnTo>
                    <a:pt x="124" y="83"/>
                  </a:lnTo>
                  <a:lnTo>
                    <a:pt x="123" y="83"/>
                  </a:lnTo>
                  <a:lnTo>
                    <a:pt x="122" y="85"/>
                  </a:lnTo>
                  <a:lnTo>
                    <a:pt x="121" y="86"/>
                  </a:lnTo>
                  <a:lnTo>
                    <a:pt x="120" y="87"/>
                  </a:lnTo>
                  <a:lnTo>
                    <a:pt x="120" y="88"/>
                  </a:lnTo>
                  <a:lnTo>
                    <a:pt x="118" y="88"/>
                  </a:lnTo>
                  <a:lnTo>
                    <a:pt x="118" y="87"/>
                  </a:lnTo>
                  <a:lnTo>
                    <a:pt x="117" y="87"/>
                  </a:lnTo>
                  <a:lnTo>
                    <a:pt x="116" y="87"/>
                  </a:lnTo>
                  <a:lnTo>
                    <a:pt x="116" y="88"/>
                  </a:lnTo>
                  <a:lnTo>
                    <a:pt x="116" y="89"/>
                  </a:lnTo>
                  <a:lnTo>
                    <a:pt x="117" y="89"/>
                  </a:lnTo>
                  <a:lnTo>
                    <a:pt x="116" y="91"/>
                  </a:lnTo>
                  <a:lnTo>
                    <a:pt x="115" y="91"/>
                  </a:lnTo>
                  <a:lnTo>
                    <a:pt x="114" y="91"/>
                  </a:lnTo>
                  <a:lnTo>
                    <a:pt x="112" y="89"/>
                  </a:lnTo>
                  <a:lnTo>
                    <a:pt x="112" y="88"/>
                  </a:lnTo>
                  <a:lnTo>
                    <a:pt x="111" y="88"/>
                  </a:lnTo>
                  <a:lnTo>
                    <a:pt x="111" y="89"/>
                  </a:lnTo>
                  <a:lnTo>
                    <a:pt x="110" y="89"/>
                  </a:lnTo>
                  <a:lnTo>
                    <a:pt x="109" y="89"/>
                  </a:lnTo>
                  <a:lnTo>
                    <a:pt x="109" y="91"/>
                  </a:lnTo>
                  <a:lnTo>
                    <a:pt x="110" y="92"/>
                  </a:lnTo>
                  <a:lnTo>
                    <a:pt x="111" y="92"/>
                  </a:lnTo>
                  <a:lnTo>
                    <a:pt x="114" y="92"/>
                  </a:lnTo>
                  <a:lnTo>
                    <a:pt x="115" y="92"/>
                  </a:lnTo>
                  <a:lnTo>
                    <a:pt x="112" y="92"/>
                  </a:lnTo>
                  <a:lnTo>
                    <a:pt x="111" y="92"/>
                  </a:lnTo>
                  <a:lnTo>
                    <a:pt x="110" y="93"/>
                  </a:lnTo>
                  <a:lnTo>
                    <a:pt x="110" y="94"/>
                  </a:lnTo>
                  <a:lnTo>
                    <a:pt x="109" y="94"/>
                  </a:lnTo>
                  <a:lnTo>
                    <a:pt x="110" y="94"/>
                  </a:lnTo>
                  <a:lnTo>
                    <a:pt x="111" y="94"/>
                  </a:lnTo>
                  <a:lnTo>
                    <a:pt x="112" y="94"/>
                  </a:lnTo>
                  <a:lnTo>
                    <a:pt x="114" y="94"/>
                  </a:lnTo>
                  <a:lnTo>
                    <a:pt x="114" y="95"/>
                  </a:lnTo>
                  <a:lnTo>
                    <a:pt x="112" y="95"/>
                  </a:lnTo>
                  <a:lnTo>
                    <a:pt x="111" y="95"/>
                  </a:lnTo>
                  <a:lnTo>
                    <a:pt x="110" y="95"/>
                  </a:lnTo>
                  <a:lnTo>
                    <a:pt x="109" y="95"/>
                  </a:lnTo>
                  <a:lnTo>
                    <a:pt x="109" y="97"/>
                  </a:lnTo>
                  <a:lnTo>
                    <a:pt x="110" y="97"/>
                  </a:lnTo>
                  <a:lnTo>
                    <a:pt x="110" y="98"/>
                  </a:lnTo>
                  <a:lnTo>
                    <a:pt x="111" y="98"/>
                  </a:lnTo>
                  <a:lnTo>
                    <a:pt x="110" y="99"/>
                  </a:lnTo>
                  <a:lnTo>
                    <a:pt x="110" y="100"/>
                  </a:lnTo>
                  <a:lnTo>
                    <a:pt x="109" y="100"/>
                  </a:lnTo>
                  <a:lnTo>
                    <a:pt x="109" y="101"/>
                  </a:lnTo>
                  <a:lnTo>
                    <a:pt x="108" y="101"/>
                  </a:lnTo>
                  <a:lnTo>
                    <a:pt x="108" y="103"/>
                  </a:lnTo>
                  <a:lnTo>
                    <a:pt x="106" y="103"/>
                  </a:lnTo>
                  <a:lnTo>
                    <a:pt x="106" y="101"/>
                  </a:lnTo>
                  <a:lnTo>
                    <a:pt x="105" y="101"/>
                  </a:lnTo>
                  <a:lnTo>
                    <a:pt x="104" y="101"/>
                  </a:lnTo>
                  <a:lnTo>
                    <a:pt x="104" y="103"/>
                  </a:lnTo>
                  <a:lnTo>
                    <a:pt x="103" y="103"/>
                  </a:lnTo>
                  <a:lnTo>
                    <a:pt x="103" y="101"/>
                  </a:lnTo>
                  <a:lnTo>
                    <a:pt x="103" y="103"/>
                  </a:lnTo>
                  <a:lnTo>
                    <a:pt x="102" y="103"/>
                  </a:lnTo>
                  <a:lnTo>
                    <a:pt x="102" y="104"/>
                  </a:lnTo>
                  <a:lnTo>
                    <a:pt x="102" y="103"/>
                  </a:lnTo>
                  <a:lnTo>
                    <a:pt x="100" y="103"/>
                  </a:lnTo>
                  <a:lnTo>
                    <a:pt x="99" y="103"/>
                  </a:lnTo>
                  <a:lnTo>
                    <a:pt x="99" y="104"/>
                  </a:lnTo>
                  <a:lnTo>
                    <a:pt x="98" y="104"/>
                  </a:lnTo>
                  <a:lnTo>
                    <a:pt x="97" y="104"/>
                  </a:lnTo>
                  <a:lnTo>
                    <a:pt x="97" y="105"/>
                  </a:lnTo>
                  <a:lnTo>
                    <a:pt x="96" y="104"/>
                  </a:lnTo>
                  <a:lnTo>
                    <a:pt x="94" y="104"/>
                  </a:lnTo>
                  <a:lnTo>
                    <a:pt x="93" y="104"/>
                  </a:lnTo>
                  <a:lnTo>
                    <a:pt x="92" y="104"/>
                  </a:lnTo>
                  <a:lnTo>
                    <a:pt x="91" y="104"/>
                  </a:lnTo>
                  <a:lnTo>
                    <a:pt x="91" y="105"/>
                  </a:lnTo>
                  <a:lnTo>
                    <a:pt x="91" y="106"/>
                  </a:lnTo>
                  <a:lnTo>
                    <a:pt x="92" y="106"/>
                  </a:lnTo>
                  <a:lnTo>
                    <a:pt x="92" y="107"/>
                  </a:lnTo>
                  <a:lnTo>
                    <a:pt x="92" y="109"/>
                  </a:lnTo>
                  <a:lnTo>
                    <a:pt x="93" y="110"/>
                  </a:lnTo>
                  <a:lnTo>
                    <a:pt x="94" y="110"/>
                  </a:lnTo>
                  <a:lnTo>
                    <a:pt x="94" y="111"/>
                  </a:lnTo>
                  <a:lnTo>
                    <a:pt x="93" y="111"/>
                  </a:lnTo>
                  <a:lnTo>
                    <a:pt x="92" y="111"/>
                  </a:lnTo>
                  <a:lnTo>
                    <a:pt x="91" y="111"/>
                  </a:lnTo>
                  <a:lnTo>
                    <a:pt x="91" y="110"/>
                  </a:lnTo>
                  <a:lnTo>
                    <a:pt x="92" y="110"/>
                  </a:lnTo>
                  <a:lnTo>
                    <a:pt x="92" y="109"/>
                  </a:lnTo>
                  <a:lnTo>
                    <a:pt x="91" y="109"/>
                  </a:lnTo>
                  <a:lnTo>
                    <a:pt x="89" y="109"/>
                  </a:lnTo>
                  <a:lnTo>
                    <a:pt x="91" y="107"/>
                  </a:lnTo>
                  <a:lnTo>
                    <a:pt x="91" y="106"/>
                  </a:lnTo>
                  <a:lnTo>
                    <a:pt x="89" y="106"/>
                  </a:lnTo>
                  <a:lnTo>
                    <a:pt x="89" y="107"/>
                  </a:lnTo>
                  <a:lnTo>
                    <a:pt x="88" y="107"/>
                  </a:lnTo>
                  <a:lnTo>
                    <a:pt x="87" y="107"/>
                  </a:lnTo>
                  <a:lnTo>
                    <a:pt x="87" y="109"/>
                  </a:lnTo>
                  <a:lnTo>
                    <a:pt x="86" y="109"/>
                  </a:lnTo>
                  <a:lnTo>
                    <a:pt x="86" y="107"/>
                  </a:lnTo>
                  <a:lnTo>
                    <a:pt x="85" y="107"/>
                  </a:lnTo>
                  <a:lnTo>
                    <a:pt x="83" y="107"/>
                  </a:lnTo>
                  <a:lnTo>
                    <a:pt x="83" y="109"/>
                  </a:lnTo>
                  <a:lnTo>
                    <a:pt x="82" y="110"/>
                  </a:lnTo>
                  <a:lnTo>
                    <a:pt x="83" y="111"/>
                  </a:lnTo>
                  <a:lnTo>
                    <a:pt x="85" y="111"/>
                  </a:lnTo>
                  <a:lnTo>
                    <a:pt x="85" y="112"/>
                  </a:lnTo>
                  <a:lnTo>
                    <a:pt x="86" y="112"/>
                  </a:lnTo>
                  <a:lnTo>
                    <a:pt x="85" y="112"/>
                  </a:lnTo>
                  <a:lnTo>
                    <a:pt x="83" y="111"/>
                  </a:lnTo>
                  <a:lnTo>
                    <a:pt x="82" y="111"/>
                  </a:lnTo>
                  <a:lnTo>
                    <a:pt x="82" y="110"/>
                  </a:lnTo>
                  <a:lnTo>
                    <a:pt x="82" y="109"/>
                  </a:lnTo>
                  <a:lnTo>
                    <a:pt x="83" y="107"/>
                  </a:lnTo>
                  <a:lnTo>
                    <a:pt x="83" y="106"/>
                  </a:lnTo>
                  <a:lnTo>
                    <a:pt x="82" y="105"/>
                  </a:lnTo>
                  <a:lnTo>
                    <a:pt x="82" y="104"/>
                  </a:lnTo>
                  <a:lnTo>
                    <a:pt x="82" y="103"/>
                  </a:lnTo>
                  <a:lnTo>
                    <a:pt x="82" y="101"/>
                  </a:lnTo>
                  <a:lnTo>
                    <a:pt x="80" y="103"/>
                  </a:lnTo>
                  <a:lnTo>
                    <a:pt x="80" y="104"/>
                  </a:lnTo>
                  <a:lnTo>
                    <a:pt x="79" y="104"/>
                  </a:lnTo>
                  <a:lnTo>
                    <a:pt x="79" y="103"/>
                  </a:lnTo>
                  <a:lnTo>
                    <a:pt x="77" y="103"/>
                  </a:lnTo>
                  <a:lnTo>
                    <a:pt x="77" y="101"/>
                  </a:lnTo>
                  <a:lnTo>
                    <a:pt x="76" y="101"/>
                  </a:lnTo>
                  <a:lnTo>
                    <a:pt x="75" y="101"/>
                  </a:lnTo>
                  <a:lnTo>
                    <a:pt x="75" y="100"/>
                  </a:lnTo>
                  <a:lnTo>
                    <a:pt x="76" y="100"/>
                  </a:lnTo>
                  <a:lnTo>
                    <a:pt x="76" y="99"/>
                  </a:lnTo>
                  <a:lnTo>
                    <a:pt x="76" y="98"/>
                  </a:lnTo>
                  <a:lnTo>
                    <a:pt x="75" y="97"/>
                  </a:lnTo>
                  <a:lnTo>
                    <a:pt x="74" y="97"/>
                  </a:lnTo>
                  <a:lnTo>
                    <a:pt x="73" y="97"/>
                  </a:lnTo>
                  <a:lnTo>
                    <a:pt x="73" y="98"/>
                  </a:lnTo>
                  <a:lnTo>
                    <a:pt x="71" y="98"/>
                  </a:lnTo>
                  <a:lnTo>
                    <a:pt x="73" y="99"/>
                  </a:lnTo>
                  <a:lnTo>
                    <a:pt x="71" y="100"/>
                  </a:lnTo>
                  <a:lnTo>
                    <a:pt x="73" y="101"/>
                  </a:lnTo>
                  <a:lnTo>
                    <a:pt x="73" y="103"/>
                  </a:lnTo>
                  <a:lnTo>
                    <a:pt x="73" y="104"/>
                  </a:lnTo>
                  <a:lnTo>
                    <a:pt x="73" y="105"/>
                  </a:lnTo>
                  <a:lnTo>
                    <a:pt x="74" y="105"/>
                  </a:lnTo>
                  <a:lnTo>
                    <a:pt x="74" y="106"/>
                  </a:lnTo>
                  <a:lnTo>
                    <a:pt x="74" y="107"/>
                  </a:lnTo>
                  <a:lnTo>
                    <a:pt x="73" y="107"/>
                  </a:lnTo>
                  <a:lnTo>
                    <a:pt x="73" y="106"/>
                  </a:lnTo>
                  <a:lnTo>
                    <a:pt x="73" y="105"/>
                  </a:lnTo>
                  <a:lnTo>
                    <a:pt x="71" y="105"/>
                  </a:lnTo>
                  <a:lnTo>
                    <a:pt x="71" y="104"/>
                  </a:lnTo>
                  <a:lnTo>
                    <a:pt x="71" y="103"/>
                  </a:lnTo>
                  <a:lnTo>
                    <a:pt x="70" y="103"/>
                  </a:lnTo>
                  <a:lnTo>
                    <a:pt x="70" y="101"/>
                  </a:lnTo>
                  <a:lnTo>
                    <a:pt x="69" y="101"/>
                  </a:lnTo>
                  <a:lnTo>
                    <a:pt x="68" y="103"/>
                  </a:lnTo>
                  <a:lnTo>
                    <a:pt x="68" y="104"/>
                  </a:lnTo>
                  <a:lnTo>
                    <a:pt x="69" y="104"/>
                  </a:lnTo>
                  <a:lnTo>
                    <a:pt x="69" y="105"/>
                  </a:lnTo>
                  <a:lnTo>
                    <a:pt x="70" y="105"/>
                  </a:lnTo>
                  <a:lnTo>
                    <a:pt x="70" y="106"/>
                  </a:lnTo>
                  <a:lnTo>
                    <a:pt x="69" y="106"/>
                  </a:lnTo>
                  <a:lnTo>
                    <a:pt x="69" y="105"/>
                  </a:lnTo>
                  <a:lnTo>
                    <a:pt x="68" y="105"/>
                  </a:lnTo>
                  <a:lnTo>
                    <a:pt x="68" y="104"/>
                  </a:lnTo>
                  <a:lnTo>
                    <a:pt x="67" y="104"/>
                  </a:lnTo>
                  <a:lnTo>
                    <a:pt x="67" y="103"/>
                  </a:lnTo>
                  <a:lnTo>
                    <a:pt x="67" y="101"/>
                  </a:lnTo>
                  <a:lnTo>
                    <a:pt x="65" y="101"/>
                  </a:lnTo>
                  <a:lnTo>
                    <a:pt x="67" y="100"/>
                  </a:lnTo>
                  <a:lnTo>
                    <a:pt x="67" y="99"/>
                  </a:lnTo>
                  <a:lnTo>
                    <a:pt x="65" y="99"/>
                  </a:lnTo>
                  <a:lnTo>
                    <a:pt x="64" y="99"/>
                  </a:lnTo>
                  <a:lnTo>
                    <a:pt x="63" y="99"/>
                  </a:lnTo>
                  <a:lnTo>
                    <a:pt x="63" y="98"/>
                  </a:lnTo>
                  <a:lnTo>
                    <a:pt x="62" y="97"/>
                  </a:lnTo>
                  <a:lnTo>
                    <a:pt x="62" y="95"/>
                  </a:lnTo>
                  <a:lnTo>
                    <a:pt x="61" y="95"/>
                  </a:lnTo>
                  <a:lnTo>
                    <a:pt x="61" y="94"/>
                  </a:lnTo>
                  <a:lnTo>
                    <a:pt x="59" y="94"/>
                  </a:lnTo>
                  <a:lnTo>
                    <a:pt x="58" y="94"/>
                  </a:lnTo>
                  <a:lnTo>
                    <a:pt x="58" y="95"/>
                  </a:lnTo>
                  <a:lnTo>
                    <a:pt x="57" y="97"/>
                  </a:lnTo>
                  <a:lnTo>
                    <a:pt x="58" y="97"/>
                  </a:lnTo>
                  <a:lnTo>
                    <a:pt x="58" y="98"/>
                  </a:lnTo>
                  <a:lnTo>
                    <a:pt x="59" y="99"/>
                  </a:lnTo>
                  <a:lnTo>
                    <a:pt x="61" y="99"/>
                  </a:lnTo>
                  <a:lnTo>
                    <a:pt x="62" y="100"/>
                  </a:lnTo>
                  <a:lnTo>
                    <a:pt x="62" y="101"/>
                  </a:lnTo>
                  <a:lnTo>
                    <a:pt x="61" y="100"/>
                  </a:lnTo>
                  <a:lnTo>
                    <a:pt x="59" y="99"/>
                  </a:lnTo>
                  <a:lnTo>
                    <a:pt x="59" y="100"/>
                  </a:lnTo>
                  <a:lnTo>
                    <a:pt x="58" y="100"/>
                  </a:lnTo>
                  <a:lnTo>
                    <a:pt x="58" y="99"/>
                  </a:lnTo>
                  <a:lnTo>
                    <a:pt x="57" y="98"/>
                  </a:lnTo>
                  <a:lnTo>
                    <a:pt x="57" y="99"/>
                  </a:lnTo>
                  <a:lnTo>
                    <a:pt x="56" y="99"/>
                  </a:lnTo>
                  <a:lnTo>
                    <a:pt x="56" y="98"/>
                  </a:lnTo>
                  <a:lnTo>
                    <a:pt x="55" y="97"/>
                  </a:lnTo>
                  <a:lnTo>
                    <a:pt x="53" y="97"/>
                  </a:lnTo>
                  <a:lnTo>
                    <a:pt x="53" y="98"/>
                  </a:lnTo>
                  <a:lnTo>
                    <a:pt x="52" y="97"/>
                  </a:lnTo>
                  <a:lnTo>
                    <a:pt x="53" y="95"/>
                  </a:lnTo>
                  <a:lnTo>
                    <a:pt x="53" y="94"/>
                  </a:lnTo>
                  <a:lnTo>
                    <a:pt x="52" y="94"/>
                  </a:lnTo>
                  <a:lnTo>
                    <a:pt x="51" y="94"/>
                  </a:lnTo>
                  <a:lnTo>
                    <a:pt x="50" y="94"/>
                  </a:lnTo>
                  <a:lnTo>
                    <a:pt x="49" y="94"/>
                  </a:lnTo>
                  <a:lnTo>
                    <a:pt x="47" y="94"/>
                  </a:lnTo>
                  <a:lnTo>
                    <a:pt x="47" y="93"/>
                  </a:lnTo>
                  <a:lnTo>
                    <a:pt x="46" y="93"/>
                  </a:lnTo>
                  <a:lnTo>
                    <a:pt x="44" y="93"/>
                  </a:lnTo>
                  <a:lnTo>
                    <a:pt x="44" y="94"/>
                  </a:lnTo>
                  <a:lnTo>
                    <a:pt x="43" y="94"/>
                  </a:lnTo>
                  <a:lnTo>
                    <a:pt x="43" y="93"/>
                  </a:lnTo>
                  <a:lnTo>
                    <a:pt x="43" y="92"/>
                  </a:lnTo>
                  <a:lnTo>
                    <a:pt x="43" y="91"/>
                  </a:lnTo>
                  <a:lnTo>
                    <a:pt x="41" y="91"/>
                  </a:lnTo>
                  <a:lnTo>
                    <a:pt x="40" y="91"/>
                  </a:lnTo>
                  <a:lnTo>
                    <a:pt x="40" y="89"/>
                  </a:lnTo>
                  <a:lnTo>
                    <a:pt x="40" y="88"/>
                  </a:lnTo>
                  <a:lnTo>
                    <a:pt x="39" y="88"/>
                  </a:lnTo>
                  <a:lnTo>
                    <a:pt x="38" y="88"/>
                  </a:lnTo>
                  <a:lnTo>
                    <a:pt x="39" y="88"/>
                  </a:lnTo>
                  <a:lnTo>
                    <a:pt x="39" y="89"/>
                  </a:lnTo>
                  <a:lnTo>
                    <a:pt x="38" y="89"/>
                  </a:lnTo>
                  <a:lnTo>
                    <a:pt x="38" y="88"/>
                  </a:lnTo>
                  <a:lnTo>
                    <a:pt x="37" y="88"/>
                  </a:lnTo>
                  <a:lnTo>
                    <a:pt x="35" y="87"/>
                  </a:lnTo>
                  <a:lnTo>
                    <a:pt x="34" y="87"/>
                  </a:lnTo>
                  <a:lnTo>
                    <a:pt x="33" y="87"/>
                  </a:lnTo>
                  <a:lnTo>
                    <a:pt x="33" y="89"/>
                  </a:lnTo>
                  <a:lnTo>
                    <a:pt x="34" y="89"/>
                  </a:lnTo>
                  <a:lnTo>
                    <a:pt x="34" y="91"/>
                  </a:lnTo>
                  <a:lnTo>
                    <a:pt x="35" y="92"/>
                  </a:lnTo>
                  <a:lnTo>
                    <a:pt x="34" y="92"/>
                  </a:lnTo>
                  <a:lnTo>
                    <a:pt x="34" y="93"/>
                  </a:lnTo>
                  <a:lnTo>
                    <a:pt x="34" y="94"/>
                  </a:lnTo>
                  <a:lnTo>
                    <a:pt x="35" y="94"/>
                  </a:lnTo>
                  <a:lnTo>
                    <a:pt x="37" y="95"/>
                  </a:lnTo>
                  <a:lnTo>
                    <a:pt x="38" y="95"/>
                  </a:lnTo>
                  <a:lnTo>
                    <a:pt x="39" y="95"/>
                  </a:lnTo>
                  <a:lnTo>
                    <a:pt x="39" y="97"/>
                  </a:lnTo>
                  <a:lnTo>
                    <a:pt x="38" y="97"/>
                  </a:lnTo>
                  <a:lnTo>
                    <a:pt x="37" y="97"/>
                  </a:lnTo>
                  <a:lnTo>
                    <a:pt x="37" y="98"/>
                  </a:lnTo>
                  <a:lnTo>
                    <a:pt x="38" y="98"/>
                  </a:lnTo>
                  <a:lnTo>
                    <a:pt x="38" y="99"/>
                  </a:lnTo>
                  <a:lnTo>
                    <a:pt x="39" y="100"/>
                  </a:lnTo>
                  <a:lnTo>
                    <a:pt x="40" y="100"/>
                  </a:lnTo>
                  <a:lnTo>
                    <a:pt x="41" y="100"/>
                  </a:lnTo>
                  <a:lnTo>
                    <a:pt x="41" y="101"/>
                  </a:lnTo>
                  <a:lnTo>
                    <a:pt x="40" y="101"/>
                  </a:lnTo>
                  <a:lnTo>
                    <a:pt x="39" y="100"/>
                  </a:lnTo>
                  <a:lnTo>
                    <a:pt x="38" y="100"/>
                  </a:lnTo>
                  <a:lnTo>
                    <a:pt x="38" y="99"/>
                  </a:lnTo>
                  <a:lnTo>
                    <a:pt x="37" y="99"/>
                  </a:lnTo>
                  <a:lnTo>
                    <a:pt x="37" y="100"/>
                  </a:lnTo>
                  <a:lnTo>
                    <a:pt x="35" y="100"/>
                  </a:lnTo>
                  <a:lnTo>
                    <a:pt x="35" y="99"/>
                  </a:lnTo>
                  <a:lnTo>
                    <a:pt x="34" y="100"/>
                  </a:lnTo>
                  <a:lnTo>
                    <a:pt x="33" y="100"/>
                  </a:lnTo>
                  <a:lnTo>
                    <a:pt x="32" y="101"/>
                  </a:lnTo>
                  <a:lnTo>
                    <a:pt x="32" y="103"/>
                  </a:lnTo>
                  <a:lnTo>
                    <a:pt x="33" y="103"/>
                  </a:lnTo>
                  <a:lnTo>
                    <a:pt x="34" y="103"/>
                  </a:lnTo>
                  <a:lnTo>
                    <a:pt x="34" y="104"/>
                  </a:lnTo>
                  <a:lnTo>
                    <a:pt x="35" y="105"/>
                  </a:lnTo>
                  <a:lnTo>
                    <a:pt x="37" y="105"/>
                  </a:lnTo>
                  <a:lnTo>
                    <a:pt x="38" y="105"/>
                  </a:lnTo>
                  <a:lnTo>
                    <a:pt x="39" y="105"/>
                  </a:lnTo>
                  <a:lnTo>
                    <a:pt x="39" y="106"/>
                  </a:lnTo>
                  <a:lnTo>
                    <a:pt x="40" y="107"/>
                  </a:lnTo>
                  <a:lnTo>
                    <a:pt x="41" y="107"/>
                  </a:lnTo>
                  <a:lnTo>
                    <a:pt x="43" y="107"/>
                  </a:lnTo>
                  <a:lnTo>
                    <a:pt x="44" y="107"/>
                  </a:lnTo>
                  <a:lnTo>
                    <a:pt x="45" y="109"/>
                  </a:lnTo>
                  <a:lnTo>
                    <a:pt x="46" y="109"/>
                  </a:lnTo>
                  <a:lnTo>
                    <a:pt x="47" y="109"/>
                  </a:lnTo>
                  <a:lnTo>
                    <a:pt x="49" y="110"/>
                  </a:lnTo>
                  <a:lnTo>
                    <a:pt x="47" y="111"/>
                  </a:lnTo>
                  <a:lnTo>
                    <a:pt x="46" y="111"/>
                  </a:lnTo>
                  <a:lnTo>
                    <a:pt x="45" y="111"/>
                  </a:lnTo>
                  <a:lnTo>
                    <a:pt x="45" y="112"/>
                  </a:lnTo>
                  <a:lnTo>
                    <a:pt x="46" y="113"/>
                  </a:lnTo>
                  <a:lnTo>
                    <a:pt x="47" y="113"/>
                  </a:lnTo>
                  <a:lnTo>
                    <a:pt x="49" y="113"/>
                  </a:lnTo>
                  <a:lnTo>
                    <a:pt x="50" y="112"/>
                  </a:lnTo>
                  <a:lnTo>
                    <a:pt x="51" y="112"/>
                  </a:lnTo>
                  <a:lnTo>
                    <a:pt x="51" y="113"/>
                  </a:lnTo>
                  <a:lnTo>
                    <a:pt x="52" y="113"/>
                  </a:lnTo>
                  <a:lnTo>
                    <a:pt x="53" y="113"/>
                  </a:lnTo>
                  <a:lnTo>
                    <a:pt x="55" y="113"/>
                  </a:lnTo>
                  <a:lnTo>
                    <a:pt x="55" y="115"/>
                  </a:lnTo>
                  <a:lnTo>
                    <a:pt x="53" y="116"/>
                  </a:lnTo>
                  <a:lnTo>
                    <a:pt x="52" y="115"/>
                  </a:lnTo>
                  <a:lnTo>
                    <a:pt x="51" y="115"/>
                  </a:lnTo>
                  <a:lnTo>
                    <a:pt x="51" y="116"/>
                  </a:lnTo>
                  <a:lnTo>
                    <a:pt x="50" y="116"/>
                  </a:lnTo>
                  <a:lnTo>
                    <a:pt x="49" y="116"/>
                  </a:lnTo>
                  <a:lnTo>
                    <a:pt x="47" y="116"/>
                  </a:lnTo>
                  <a:lnTo>
                    <a:pt x="46" y="117"/>
                  </a:lnTo>
                  <a:lnTo>
                    <a:pt x="46" y="118"/>
                  </a:lnTo>
                  <a:lnTo>
                    <a:pt x="46" y="119"/>
                  </a:lnTo>
                  <a:lnTo>
                    <a:pt x="47" y="119"/>
                  </a:lnTo>
                  <a:lnTo>
                    <a:pt x="49" y="119"/>
                  </a:lnTo>
                  <a:lnTo>
                    <a:pt x="50" y="119"/>
                  </a:lnTo>
                  <a:lnTo>
                    <a:pt x="51" y="119"/>
                  </a:lnTo>
                  <a:lnTo>
                    <a:pt x="51" y="118"/>
                  </a:lnTo>
                  <a:lnTo>
                    <a:pt x="52" y="118"/>
                  </a:lnTo>
                  <a:lnTo>
                    <a:pt x="53" y="118"/>
                  </a:lnTo>
                  <a:lnTo>
                    <a:pt x="53" y="119"/>
                  </a:lnTo>
                  <a:lnTo>
                    <a:pt x="52" y="119"/>
                  </a:lnTo>
                  <a:lnTo>
                    <a:pt x="51" y="121"/>
                  </a:lnTo>
                  <a:lnTo>
                    <a:pt x="52" y="121"/>
                  </a:lnTo>
                  <a:lnTo>
                    <a:pt x="52" y="122"/>
                  </a:lnTo>
                  <a:lnTo>
                    <a:pt x="53" y="122"/>
                  </a:lnTo>
                  <a:lnTo>
                    <a:pt x="55" y="123"/>
                  </a:lnTo>
                  <a:lnTo>
                    <a:pt x="56" y="123"/>
                  </a:lnTo>
                  <a:lnTo>
                    <a:pt x="56" y="124"/>
                  </a:lnTo>
                  <a:lnTo>
                    <a:pt x="55" y="124"/>
                  </a:lnTo>
                  <a:lnTo>
                    <a:pt x="53" y="124"/>
                  </a:lnTo>
                  <a:lnTo>
                    <a:pt x="52" y="124"/>
                  </a:lnTo>
                  <a:lnTo>
                    <a:pt x="52" y="125"/>
                  </a:lnTo>
                  <a:lnTo>
                    <a:pt x="52" y="127"/>
                  </a:lnTo>
                  <a:lnTo>
                    <a:pt x="52" y="128"/>
                  </a:lnTo>
                  <a:lnTo>
                    <a:pt x="51" y="129"/>
                  </a:lnTo>
                  <a:lnTo>
                    <a:pt x="52" y="130"/>
                  </a:lnTo>
                  <a:lnTo>
                    <a:pt x="53" y="130"/>
                  </a:lnTo>
                  <a:lnTo>
                    <a:pt x="55" y="131"/>
                  </a:lnTo>
                  <a:lnTo>
                    <a:pt x="55" y="133"/>
                  </a:lnTo>
                  <a:lnTo>
                    <a:pt x="53" y="134"/>
                  </a:lnTo>
                  <a:lnTo>
                    <a:pt x="52" y="134"/>
                  </a:lnTo>
                  <a:lnTo>
                    <a:pt x="53" y="134"/>
                  </a:lnTo>
                  <a:lnTo>
                    <a:pt x="55" y="134"/>
                  </a:lnTo>
                  <a:lnTo>
                    <a:pt x="56" y="135"/>
                  </a:lnTo>
                  <a:lnTo>
                    <a:pt x="58" y="136"/>
                  </a:lnTo>
                  <a:lnTo>
                    <a:pt x="57" y="137"/>
                  </a:lnTo>
                  <a:lnTo>
                    <a:pt x="56" y="137"/>
                  </a:lnTo>
                  <a:lnTo>
                    <a:pt x="56" y="139"/>
                  </a:lnTo>
                  <a:lnTo>
                    <a:pt x="55" y="139"/>
                  </a:lnTo>
                  <a:lnTo>
                    <a:pt x="53" y="140"/>
                  </a:lnTo>
                  <a:lnTo>
                    <a:pt x="52" y="140"/>
                  </a:lnTo>
                  <a:lnTo>
                    <a:pt x="52" y="139"/>
                  </a:lnTo>
                  <a:lnTo>
                    <a:pt x="51" y="140"/>
                  </a:lnTo>
                  <a:lnTo>
                    <a:pt x="51" y="141"/>
                  </a:lnTo>
                  <a:lnTo>
                    <a:pt x="52" y="141"/>
                  </a:lnTo>
                  <a:lnTo>
                    <a:pt x="51" y="142"/>
                  </a:lnTo>
                  <a:lnTo>
                    <a:pt x="51" y="143"/>
                  </a:lnTo>
                  <a:lnTo>
                    <a:pt x="50" y="143"/>
                  </a:lnTo>
                  <a:lnTo>
                    <a:pt x="50" y="142"/>
                  </a:lnTo>
                  <a:lnTo>
                    <a:pt x="49" y="142"/>
                  </a:lnTo>
                  <a:lnTo>
                    <a:pt x="49" y="143"/>
                  </a:lnTo>
                  <a:lnTo>
                    <a:pt x="49" y="145"/>
                  </a:lnTo>
                  <a:lnTo>
                    <a:pt x="47" y="145"/>
                  </a:lnTo>
                  <a:lnTo>
                    <a:pt x="46" y="143"/>
                  </a:lnTo>
                  <a:lnTo>
                    <a:pt x="45" y="143"/>
                  </a:lnTo>
                  <a:lnTo>
                    <a:pt x="45" y="145"/>
                  </a:lnTo>
                  <a:lnTo>
                    <a:pt x="44" y="145"/>
                  </a:lnTo>
                  <a:lnTo>
                    <a:pt x="44" y="146"/>
                  </a:lnTo>
                  <a:lnTo>
                    <a:pt x="41" y="146"/>
                  </a:lnTo>
                  <a:lnTo>
                    <a:pt x="40" y="146"/>
                  </a:lnTo>
                  <a:lnTo>
                    <a:pt x="39" y="146"/>
                  </a:lnTo>
                  <a:lnTo>
                    <a:pt x="39" y="145"/>
                  </a:lnTo>
                  <a:lnTo>
                    <a:pt x="38" y="145"/>
                  </a:lnTo>
                  <a:lnTo>
                    <a:pt x="37" y="145"/>
                  </a:lnTo>
                  <a:lnTo>
                    <a:pt x="37" y="146"/>
                  </a:lnTo>
                  <a:lnTo>
                    <a:pt x="38" y="146"/>
                  </a:lnTo>
                  <a:lnTo>
                    <a:pt x="38" y="147"/>
                  </a:lnTo>
                  <a:lnTo>
                    <a:pt x="38" y="148"/>
                  </a:lnTo>
                  <a:lnTo>
                    <a:pt x="39" y="148"/>
                  </a:lnTo>
                  <a:lnTo>
                    <a:pt x="40" y="149"/>
                  </a:lnTo>
                  <a:lnTo>
                    <a:pt x="39" y="149"/>
                  </a:lnTo>
                  <a:lnTo>
                    <a:pt x="38" y="151"/>
                  </a:lnTo>
                  <a:lnTo>
                    <a:pt x="38" y="152"/>
                  </a:lnTo>
                  <a:lnTo>
                    <a:pt x="39" y="151"/>
                  </a:lnTo>
                  <a:lnTo>
                    <a:pt x="39" y="152"/>
                  </a:lnTo>
                  <a:lnTo>
                    <a:pt x="40" y="152"/>
                  </a:lnTo>
                  <a:lnTo>
                    <a:pt x="41" y="152"/>
                  </a:lnTo>
                  <a:lnTo>
                    <a:pt x="43" y="152"/>
                  </a:lnTo>
                  <a:lnTo>
                    <a:pt x="44" y="151"/>
                  </a:lnTo>
                  <a:lnTo>
                    <a:pt x="43" y="149"/>
                  </a:lnTo>
                  <a:lnTo>
                    <a:pt x="41" y="149"/>
                  </a:lnTo>
                  <a:lnTo>
                    <a:pt x="43" y="148"/>
                  </a:lnTo>
                  <a:lnTo>
                    <a:pt x="43" y="149"/>
                  </a:lnTo>
                  <a:lnTo>
                    <a:pt x="44" y="148"/>
                  </a:lnTo>
                  <a:lnTo>
                    <a:pt x="45" y="147"/>
                  </a:lnTo>
                  <a:lnTo>
                    <a:pt x="46" y="146"/>
                  </a:lnTo>
                  <a:lnTo>
                    <a:pt x="47" y="146"/>
                  </a:lnTo>
                  <a:lnTo>
                    <a:pt x="49" y="146"/>
                  </a:lnTo>
                  <a:lnTo>
                    <a:pt x="50" y="146"/>
                  </a:lnTo>
                  <a:lnTo>
                    <a:pt x="51" y="146"/>
                  </a:lnTo>
                  <a:lnTo>
                    <a:pt x="52" y="146"/>
                  </a:lnTo>
                  <a:lnTo>
                    <a:pt x="52" y="145"/>
                  </a:lnTo>
                  <a:lnTo>
                    <a:pt x="53" y="145"/>
                  </a:lnTo>
                  <a:lnTo>
                    <a:pt x="53" y="146"/>
                  </a:lnTo>
                  <a:lnTo>
                    <a:pt x="55" y="146"/>
                  </a:lnTo>
                  <a:lnTo>
                    <a:pt x="56" y="147"/>
                  </a:lnTo>
                  <a:lnTo>
                    <a:pt x="57" y="147"/>
                  </a:lnTo>
                  <a:lnTo>
                    <a:pt x="57" y="148"/>
                  </a:lnTo>
                  <a:lnTo>
                    <a:pt x="56" y="148"/>
                  </a:lnTo>
                  <a:lnTo>
                    <a:pt x="55" y="148"/>
                  </a:lnTo>
                  <a:lnTo>
                    <a:pt x="53" y="148"/>
                  </a:lnTo>
                  <a:lnTo>
                    <a:pt x="52" y="148"/>
                  </a:lnTo>
                  <a:lnTo>
                    <a:pt x="51" y="149"/>
                  </a:lnTo>
                  <a:lnTo>
                    <a:pt x="51" y="148"/>
                  </a:lnTo>
                  <a:lnTo>
                    <a:pt x="50" y="148"/>
                  </a:lnTo>
                  <a:lnTo>
                    <a:pt x="49" y="147"/>
                  </a:lnTo>
                  <a:lnTo>
                    <a:pt x="49" y="148"/>
                  </a:lnTo>
                  <a:lnTo>
                    <a:pt x="47" y="148"/>
                  </a:lnTo>
                  <a:lnTo>
                    <a:pt x="46" y="148"/>
                  </a:lnTo>
                  <a:lnTo>
                    <a:pt x="45" y="148"/>
                  </a:lnTo>
                  <a:lnTo>
                    <a:pt x="44" y="149"/>
                  </a:lnTo>
                  <a:lnTo>
                    <a:pt x="44" y="151"/>
                  </a:lnTo>
                  <a:lnTo>
                    <a:pt x="45" y="151"/>
                  </a:lnTo>
                  <a:lnTo>
                    <a:pt x="46" y="151"/>
                  </a:lnTo>
                  <a:lnTo>
                    <a:pt x="47" y="151"/>
                  </a:lnTo>
                  <a:lnTo>
                    <a:pt x="47" y="149"/>
                  </a:lnTo>
                  <a:lnTo>
                    <a:pt x="47" y="151"/>
                  </a:lnTo>
                  <a:lnTo>
                    <a:pt x="49" y="151"/>
                  </a:lnTo>
                  <a:lnTo>
                    <a:pt x="47" y="151"/>
                  </a:lnTo>
                  <a:lnTo>
                    <a:pt x="47" y="152"/>
                  </a:lnTo>
                  <a:lnTo>
                    <a:pt x="47" y="153"/>
                  </a:lnTo>
                  <a:lnTo>
                    <a:pt x="46" y="152"/>
                  </a:lnTo>
                  <a:lnTo>
                    <a:pt x="46" y="151"/>
                  </a:lnTo>
                  <a:lnTo>
                    <a:pt x="45" y="151"/>
                  </a:lnTo>
                  <a:lnTo>
                    <a:pt x="45" y="152"/>
                  </a:lnTo>
                  <a:lnTo>
                    <a:pt x="45" y="153"/>
                  </a:lnTo>
                  <a:lnTo>
                    <a:pt x="44" y="153"/>
                  </a:lnTo>
                  <a:lnTo>
                    <a:pt x="45" y="154"/>
                  </a:lnTo>
                  <a:lnTo>
                    <a:pt x="45" y="155"/>
                  </a:lnTo>
                  <a:lnTo>
                    <a:pt x="44" y="155"/>
                  </a:lnTo>
                  <a:lnTo>
                    <a:pt x="43" y="157"/>
                  </a:lnTo>
                  <a:lnTo>
                    <a:pt x="43" y="155"/>
                  </a:lnTo>
                  <a:lnTo>
                    <a:pt x="41" y="154"/>
                  </a:lnTo>
                  <a:lnTo>
                    <a:pt x="40" y="154"/>
                  </a:lnTo>
                  <a:lnTo>
                    <a:pt x="40" y="155"/>
                  </a:lnTo>
                  <a:lnTo>
                    <a:pt x="40" y="157"/>
                  </a:lnTo>
                  <a:lnTo>
                    <a:pt x="39" y="155"/>
                  </a:lnTo>
                  <a:lnTo>
                    <a:pt x="39" y="154"/>
                  </a:lnTo>
                  <a:lnTo>
                    <a:pt x="39" y="153"/>
                  </a:lnTo>
                  <a:lnTo>
                    <a:pt x="38" y="153"/>
                  </a:lnTo>
                  <a:lnTo>
                    <a:pt x="37" y="154"/>
                  </a:lnTo>
                  <a:lnTo>
                    <a:pt x="35" y="154"/>
                  </a:lnTo>
                  <a:lnTo>
                    <a:pt x="35" y="155"/>
                  </a:lnTo>
                  <a:lnTo>
                    <a:pt x="34" y="154"/>
                  </a:lnTo>
                  <a:lnTo>
                    <a:pt x="35" y="153"/>
                  </a:lnTo>
                  <a:lnTo>
                    <a:pt x="37" y="153"/>
                  </a:lnTo>
                  <a:lnTo>
                    <a:pt x="35" y="152"/>
                  </a:lnTo>
                  <a:lnTo>
                    <a:pt x="34" y="152"/>
                  </a:lnTo>
                  <a:lnTo>
                    <a:pt x="34" y="151"/>
                  </a:lnTo>
                  <a:lnTo>
                    <a:pt x="33" y="151"/>
                  </a:lnTo>
                  <a:lnTo>
                    <a:pt x="33" y="149"/>
                  </a:lnTo>
                  <a:lnTo>
                    <a:pt x="32" y="151"/>
                  </a:lnTo>
                  <a:lnTo>
                    <a:pt x="30" y="151"/>
                  </a:lnTo>
                  <a:lnTo>
                    <a:pt x="32" y="152"/>
                  </a:lnTo>
                  <a:lnTo>
                    <a:pt x="32" y="153"/>
                  </a:lnTo>
                  <a:lnTo>
                    <a:pt x="30" y="153"/>
                  </a:lnTo>
                  <a:lnTo>
                    <a:pt x="32" y="153"/>
                  </a:lnTo>
                  <a:lnTo>
                    <a:pt x="30" y="154"/>
                  </a:lnTo>
                  <a:lnTo>
                    <a:pt x="29" y="153"/>
                  </a:lnTo>
                  <a:lnTo>
                    <a:pt x="29" y="152"/>
                  </a:lnTo>
                  <a:lnTo>
                    <a:pt x="28" y="152"/>
                  </a:lnTo>
                  <a:lnTo>
                    <a:pt x="28" y="151"/>
                  </a:lnTo>
                  <a:lnTo>
                    <a:pt x="29" y="151"/>
                  </a:lnTo>
                  <a:lnTo>
                    <a:pt x="29" y="149"/>
                  </a:lnTo>
                  <a:lnTo>
                    <a:pt x="28" y="148"/>
                  </a:lnTo>
                  <a:lnTo>
                    <a:pt x="27" y="149"/>
                  </a:lnTo>
                  <a:lnTo>
                    <a:pt x="27" y="148"/>
                  </a:lnTo>
                  <a:lnTo>
                    <a:pt x="27" y="147"/>
                  </a:lnTo>
                  <a:lnTo>
                    <a:pt x="26" y="146"/>
                  </a:lnTo>
                  <a:lnTo>
                    <a:pt x="24" y="146"/>
                  </a:lnTo>
                  <a:lnTo>
                    <a:pt x="24" y="147"/>
                  </a:lnTo>
                  <a:lnTo>
                    <a:pt x="24" y="148"/>
                  </a:lnTo>
                  <a:lnTo>
                    <a:pt x="24" y="149"/>
                  </a:lnTo>
                  <a:lnTo>
                    <a:pt x="23" y="149"/>
                  </a:lnTo>
                  <a:lnTo>
                    <a:pt x="23" y="151"/>
                  </a:lnTo>
                  <a:lnTo>
                    <a:pt x="24" y="151"/>
                  </a:lnTo>
                  <a:lnTo>
                    <a:pt x="24" y="152"/>
                  </a:lnTo>
                  <a:lnTo>
                    <a:pt x="26" y="152"/>
                  </a:lnTo>
                  <a:lnTo>
                    <a:pt x="27" y="153"/>
                  </a:lnTo>
                  <a:lnTo>
                    <a:pt x="26" y="154"/>
                  </a:lnTo>
                  <a:lnTo>
                    <a:pt x="27" y="154"/>
                  </a:lnTo>
                  <a:lnTo>
                    <a:pt x="27" y="155"/>
                  </a:lnTo>
                  <a:lnTo>
                    <a:pt x="26" y="155"/>
                  </a:lnTo>
                  <a:lnTo>
                    <a:pt x="26" y="154"/>
                  </a:lnTo>
                  <a:lnTo>
                    <a:pt x="24" y="154"/>
                  </a:lnTo>
                  <a:lnTo>
                    <a:pt x="26" y="155"/>
                  </a:lnTo>
                  <a:lnTo>
                    <a:pt x="26" y="157"/>
                  </a:lnTo>
                  <a:lnTo>
                    <a:pt x="27" y="158"/>
                  </a:lnTo>
                  <a:lnTo>
                    <a:pt x="26" y="158"/>
                  </a:lnTo>
                  <a:lnTo>
                    <a:pt x="26" y="157"/>
                  </a:lnTo>
                  <a:lnTo>
                    <a:pt x="24" y="157"/>
                  </a:lnTo>
                  <a:lnTo>
                    <a:pt x="24" y="158"/>
                  </a:lnTo>
                  <a:lnTo>
                    <a:pt x="23" y="158"/>
                  </a:lnTo>
                  <a:lnTo>
                    <a:pt x="23" y="157"/>
                  </a:lnTo>
                  <a:lnTo>
                    <a:pt x="23" y="155"/>
                  </a:lnTo>
                  <a:lnTo>
                    <a:pt x="23" y="154"/>
                  </a:lnTo>
                  <a:lnTo>
                    <a:pt x="22" y="154"/>
                  </a:lnTo>
                  <a:lnTo>
                    <a:pt x="22" y="153"/>
                  </a:lnTo>
                  <a:lnTo>
                    <a:pt x="21" y="153"/>
                  </a:lnTo>
                  <a:lnTo>
                    <a:pt x="21" y="154"/>
                  </a:lnTo>
                  <a:lnTo>
                    <a:pt x="20" y="154"/>
                  </a:lnTo>
                  <a:lnTo>
                    <a:pt x="20" y="155"/>
                  </a:lnTo>
                  <a:lnTo>
                    <a:pt x="18" y="155"/>
                  </a:lnTo>
                  <a:lnTo>
                    <a:pt x="17" y="155"/>
                  </a:lnTo>
                  <a:lnTo>
                    <a:pt x="16" y="155"/>
                  </a:lnTo>
                  <a:lnTo>
                    <a:pt x="16" y="154"/>
                  </a:lnTo>
                  <a:lnTo>
                    <a:pt x="17" y="154"/>
                  </a:lnTo>
                  <a:lnTo>
                    <a:pt x="17" y="153"/>
                  </a:lnTo>
                  <a:lnTo>
                    <a:pt x="16" y="152"/>
                  </a:lnTo>
                  <a:lnTo>
                    <a:pt x="15" y="153"/>
                  </a:lnTo>
                  <a:lnTo>
                    <a:pt x="15" y="154"/>
                  </a:lnTo>
                  <a:lnTo>
                    <a:pt x="15" y="153"/>
                  </a:lnTo>
                  <a:lnTo>
                    <a:pt x="14" y="153"/>
                  </a:lnTo>
                  <a:lnTo>
                    <a:pt x="14" y="152"/>
                  </a:lnTo>
                  <a:lnTo>
                    <a:pt x="12" y="151"/>
                  </a:lnTo>
                  <a:lnTo>
                    <a:pt x="11" y="152"/>
                  </a:lnTo>
                  <a:lnTo>
                    <a:pt x="10" y="152"/>
                  </a:lnTo>
                  <a:lnTo>
                    <a:pt x="10" y="153"/>
                  </a:lnTo>
                  <a:lnTo>
                    <a:pt x="11" y="154"/>
                  </a:lnTo>
                  <a:lnTo>
                    <a:pt x="12" y="154"/>
                  </a:lnTo>
                  <a:lnTo>
                    <a:pt x="12" y="155"/>
                  </a:lnTo>
                  <a:lnTo>
                    <a:pt x="12" y="157"/>
                  </a:lnTo>
                  <a:lnTo>
                    <a:pt x="11" y="157"/>
                  </a:lnTo>
                  <a:lnTo>
                    <a:pt x="11" y="155"/>
                  </a:lnTo>
                  <a:lnTo>
                    <a:pt x="11" y="154"/>
                  </a:lnTo>
                  <a:lnTo>
                    <a:pt x="10" y="153"/>
                  </a:lnTo>
                  <a:lnTo>
                    <a:pt x="9" y="153"/>
                  </a:lnTo>
                  <a:lnTo>
                    <a:pt x="8" y="154"/>
                  </a:lnTo>
                  <a:lnTo>
                    <a:pt x="8" y="153"/>
                  </a:lnTo>
                  <a:lnTo>
                    <a:pt x="9" y="152"/>
                  </a:lnTo>
                  <a:lnTo>
                    <a:pt x="9" y="151"/>
                  </a:lnTo>
                  <a:lnTo>
                    <a:pt x="8" y="151"/>
                  </a:lnTo>
                  <a:lnTo>
                    <a:pt x="6" y="151"/>
                  </a:lnTo>
                  <a:lnTo>
                    <a:pt x="6" y="152"/>
                  </a:lnTo>
                  <a:lnTo>
                    <a:pt x="6" y="153"/>
                  </a:lnTo>
                  <a:lnTo>
                    <a:pt x="5" y="153"/>
                  </a:lnTo>
                  <a:lnTo>
                    <a:pt x="5" y="152"/>
                  </a:lnTo>
                  <a:lnTo>
                    <a:pt x="5" y="151"/>
                  </a:lnTo>
                  <a:lnTo>
                    <a:pt x="4" y="151"/>
                  </a:lnTo>
                  <a:lnTo>
                    <a:pt x="3" y="151"/>
                  </a:lnTo>
                  <a:lnTo>
                    <a:pt x="2" y="151"/>
                  </a:lnTo>
                  <a:lnTo>
                    <a:pt x="0" y="151"/>
                  </a:lnTo>
                  <a:lnTo>
                    <a:pt x="0" y="152"/>
                  </a:lnTo>
                  <a:lnTo>
                    <a:pt x="2" y="153"/>
                  </a:lnTo>
                  <a:lnTo>
                    <a:pt x="2" y="154"/>
                  </a:lnTo>
                  <a:lnTo>
                    <a:pt x="3" y="154"/>
                  </a:lnTo>
                  <a:lnTo>
                    <a:pt x="4" y="154"/>
                  </a:lnTo>
                  <a:lnTo>
                    <a:pt x="4" y="155"/>
                  </a:lnTo>
                  <a:lnTo>
                    <a:pt x="5" y="157"/>
                  </a:lnTo>
                  <a:lnTo>
                    <a:pt x="5" y="158"/>
                  </a:lnTo>
                  <a:lnTo>
                    <a:pt x="4" y="158"/>
                  </a:lnTo>
                  <a:lnTo>
                    <a:pt x="5" y="159"/>
                  </a:lnTo>
                  <a:lnTo>
                    <a:pt x="4" y="159"/>
                  </a:lnTo>
                  <a:lnTo>
                    <a:pt x="4" y="160"/>
                  </a:lnTo>
                  <a:lnTo>
                    <a:pt x="5" y="161"/>
                  </a:lnTo>
                  <a:lnTo>
                    <a:pt x="5" y="163"/>
                  </a:lnTo>
                  <a:lnTo>
                    <a:pt x="6" y="163"/>
                  </a:lnTo>
                  <a:lnTo>
                    <a:pt x="8" y="164"/>
                  </a:lnTo>
                  <a:lnTo>
                    <a:pt x="9" y="164"/>
                  </a:lnTo>
                  <a:lnTo>
                    <a:pt x="10" y="164"/>
                  </a:lnTo>
                  <a:lnTo>
                    <a:pt x="11" y="163"/>
                  </a:lnTo>
                  <a:lnTo>
                    <a:pt x="12" y="163"/>
                  </a:lnTo>
                  <a:lnTo>
                    <a:pt x="12" y="164"/>
                  </a:lnTo>
                  <a:lnTo>
                    <a:pt x="14" y="164"/>
                  </a:lnTo>
                  <a:lnTo>
                    <a:pt x="15" y="164"/>
                  </a:lnTo>
                  <a:lnTo>
                    <a:pt x="15" y="163"/>
                  </a:lnTo>
                  <a:lnTo>
                    <a:pt x="16" y="164"/>
                  </a:lnTo>
                  <a:lnTo>
                    <a:pt x="17" y="164"/>
                  </a:lnTo>
                  <a:lnTo>
                    <a:pt x="16" y="164"/>
                  </a:lnTo>
                  <a:lnTo>
                    <a:pt x="15" y="164"/>
                  </a:lnTo>
                  <a:lnTo>
                    <a:pt x="14" y="165"/>
                  </a:lnTo>
                  <a:lnTo>
                    <a:pt x="14" y="164"/>
                  </a:lnTo>
                  <a:lnTo>
                    <a:pt x="12" y="164"/>
                  </a:lnTo>
                  <a:lnTo>
                    <a:pt x="11" y="164"/>
                  </a:lnTo>
                  <a:lnTo>
                    <a:pt x="10" y="165"/>
                  </a:lnTo>
                  <a:lnTo>
                    <a:pt x="9" y="165"/>
                  </a:lnTo>
                  <a:lnTo>
                    <a:pt x="8" y="165"/>
                  </a:lnTo>
                  <a:lnTo>
                    <a:pt x="8" y="164"/>
                  </a:lnTo>
                  <a:lnTo>
                    <a:pt x="8" y="165"/>
                  </a:lnTo>
                  <a:lnTo>
                    <a:pt x="6" y="166"/>
                  </a:lnTo>
                  <a:lnTo>
                    <a:pt x="8" y="166"/>
                  </a:lnTo>
                  <a:lnTo>
                    <a:pt x="8" y="167"/>
                  </a:lnTo>
                  <a:lnTo>
                    <a:pt x="9" y="167"/>
                  </a:lnTo>
                  <a:lnTo>
                    <a:pt x="10" y="167"/>
                  </a:lnTo>
                  <a:lnTo>
                    <a:pt x="10" y="166"/>
                  </a:lnTo>
                  <a:lnTo>
                    <a:pt x="11" y="167"/>
                  </a:lnTo>
                  <a:lnTo>
                    <a:pt x="12" y="167"/>
                  </a:lnTo>
                  <a:lnTo>
                    <a:pt x="14" y="167"/>
                  </a:lnTo>
                  <a:lnTo>
                    <a:pt x="15" y="167"/>
                  </a:lnTo>
                  <a:lnTo>
                    <a:pt x="16" y="167"/>
                  </a:lnTo>
                  <a:lnTo>
                    <a:pt x="17" y="167"/>
                  </a:lnTo>
                  <a:lnTo>
                    <a:pt x="16" y="169"/>
                  </a:lnTo>
                  <a:lnTo>
                    <a:pt x="16" y="167"/>
                  </a:lnTo>
                  <a:lnTo>
                    <a:pt x="15" y="167"/>
                  </a:lnTo>
                  <a:lnTo>
                    <a:pt x="14" y="167"/>
                  </a:lnTo>
                  <a:lnTo>
                    <a:pt x="14" y="169"/>
                  </a:lnTo>
                  <a:lnTo>
                    <a:pt x="15" y="169"/>
                  </a:lnTo>
                  <a:lnTo>
                    <a:pt x="15" y="170"/>
                  </a:lnTo>
                  <a:lnTo>
                    <a:pt x="15" y="171"/>
                  </a:lnTo>
                  <a:lnTo>
                    <a:pt x="14" y="171"/>
                  </a:lnTo>
                  <a:lnTo>
                    <a:pt x="14" y="170"/>
                  </a:lnTo>
                  <a:lnTo>
                    <a:pt x="12" y="170"/>
                  </a:lnTo>
                  <a:lnTo>
                    <a:pt x="11" y="170"/>
                  </a:lnTo>
                  <a:lnTo>
                    <a:pt x="10" y="170"/>
                  </a:lnTo>
                  <a:lnTo>
                    <a:pt x="10" y="171"/>
                  </a:lnTo>
                  <a:lnTo>
                    <a:pt x="9" y="171"/>
                  </a:lnTo>
                  <a:lnTo>
                    <a:pt x="10" y="172"/>
                  </a:lnTo>
                  <a:lnTo>
                    <a:pt x="11" y="172"/>
                  </a:lnTo>
                  <a:lnTo>
                    <a:pt x="11" y="173"/>
                  </a:lnTo>
                  <a:lnTo>
                    <a:pt x="12" y="173"/>
                  </a:lnTo>
                  <a:lnTo>
                    <a:pt x="11" y="173"/>
                  </a:lnTo>
                  <a:lnTo>
                    <a:pt x="10" y="173"/>
                  </a:lnTo>
                  <a:lnTo>
                    <a:pt x="9" y="173"/>
                  </a:lnTo>
                  <a:lnTo>
                    <a:pt x="9" y="175"/>
                  </a:lnTo>
                  <a:lnTo>
                    <a:pt x="10" y="176"/>
                  </a:lnTo>
                  <a:lnTo>
                    <a:pt x="9" y="176"/>
                  </a:lnTo>
                  <a:lnTo>
                    <a:pt x="8" y="176"/>
                  </a:lnTo>
                  <a:lnTo>
                    <a:pt x="8" y="177"/>
                  </a:lnTo>
                  <a:lnTo>
                    <a:pt x="9" y="178"/>
                  </a:lnTo>
                  <a:lnTo>
                    <a:pt x="8" y="178"/>
                  </a:lnTo>
                  <a:lnTo>
                    <a:pt x="8" y="177"/>
                  </a:lnTo>
                  <a:lnTo>
                    <a:pt x="8" y="176"/>
                  </a:lnTo>
                  <a:lnTo>
                    <a:pt x="6" y="176"/>
                  </a:lnTo>
                  <a:lnTo>
                    <a:pt x="6" y="177"/>
                  </a:lnTo>
                  <a:lnTo>
                    <a:pt x="5" y="177"/>
                  </a:lnTo>
                  <a:lnTo>
                    <a:pt x="5" y="178"/>
                  </a:lnTo>
                  <a:lnTo>
                    <a:pt x="5" y="177"/>
                  </a:lnTo>
                  <a:lnTo>
                    <a:pt x="4" y="177"/>
                  </a:lnTo>
                  <a:lnTo>
                    <a:pt x="3" y="177"/>
                  </a:lnTo>
                  <a:lnTo>
                    <a:pt x="2" y="178"/>
                  </a:lnTo>
                  <a:lnTo>
                    <a:pt x="2" y="180"/>
                  </a:lnTo>
                  <a:lnTo>
                    <a:pt x="2" y="181"/>
                  </a:lnTo>
                  <a:lnTo>
                    <a:pt x="3" y="181"/>
                  </a:lnTo>
                  <a:lnTo>
                    <a:pt x="4" y="183"/>
                  </a:lnTo>
                  <a:lnTo>
                    <a:pt x="5" y="183"/>
                  </a:lnTo>
                  <a:lnTo>
                    <a:pt x="8" y="183"/>
                  </a:lnTo>
                  <a:lnTo>
                    <a:pt x="6" y="184"/>
                  </a:lnTo>
                  <a:lnTo>
                    <a:pt x="5" y="184"/>
                  </a:lnTo>
                  <a:lnTo>
                    <a:pt x="4" y="184"/>
                  </a:lnTo>
                  <a:lnTo>
                    <a:pt x="4" y="186"/>
                  </a:lnTo>
                  <a:lnTo>
                    <a:pt x="3" y="186"/>
                  </a:lnTo>
                  <a:lnTo>
                    <a:pt x="5" y="188"/>
                  </a:lnTo>
                  <a:lnTo>
                    <a:pt x="5" y="187"/>
                  </a:lnTo>
                  <a:lnTo>
                    <a:pt x="6" y="188"/>
                  </a:lnTo>
                  <a:lnTo>
                    <a:pt x="8" y="188"/>
                  </a:lnTo>
                  <a:lnTo>
                    <a:pt x="9" y="188"/>
                  </a:lnTo>
                  <a:lnTo>
                    <a:pt x="10" y="187"/>
                  </a:lnTo>
                  <a:lnTo>
                    <a:pt x="11" y="186"/>
                  </a:lnTo>
                  <a:lnTo>
                    <a:pt x="12" y="186"/>
                  </a:lnTo>
                  <a:lnTo>
                    <a:pt x="14" y="186"/>
                  </a:lnTo>
                  <a:lnTo>
                    <a:pt x="15" y="186"/>
                  </a:lnTo>
                  <a:lnTo>
                    <a:pt x="14" y="187"/>
                  </a:lnTo>
                  <a:lnTo>
                    <a:pt x="12" y="187"/>
                  </a:lnTo>
                  <a:lnTo>
                    <a:pt x="11" y="187"/>
                  </a:lnTo>
                  <a:lnTo>
                    <a:pt x="10" y="188"/>
                  </a:lnTo>
                  <a:lnTo>
                    <a:pt x="11" y="189"/>
                  </a:lnTo>
                  <a:lnTo>
                    <a:pt x="12" y="189"/>
                  </a:lnTo>
                  <a:lnTo>
                    <a:pt x="14" y="189"/>
                  </a:lnTo>
                  <a:lnTo>
                    <a:pt x="15" y="189"/>
                  </a:lnTo>
                  <a:lnTo>
                    <a:pt x="15" y="188"/>
                  </a:lnTo>
                  <a:lnTo>
                    <a:pt x="16" y="189"/>
                  </a:lnTo>
                  <a:lnTo>
                    <a:pt x="17" y="189"/>
                  </a:lnTo>
                  <a:lnTo>
                    <a:pt x="18" y="188"/>
                  </a:lnTo>
                  <a:lnTo>
                    <a:pt x="20" y="188"/>
                  </a:lnTo>
                  <a:lnTo>
                    <a:pt x="21" y="188"/>
                  </a:lnTo>
                  <a:lnTo>
                    <a:pt x="21" y="189"/>
                  </a:lnTo>
                  <a:lnTo>
                    <a:pt x="21" y="190"/>
                  </a:lnTo>
                  <a:lnTo>
                    <a:pt x="20" y="192"/>
                  </a:lnTo>
                  <a:lnTo>
                    <a:pt x="18" y="193"/>
                  </a:lnTo>
                  <a:lnTo>
                    <a:pt x="17" y="193"/>
                  </a:lnTo>
                  <a:lnTo>
                    <a:pt x="17" y="192"/>
                  </a:lnTo>
                  <a:lnTo>
                    <a:pt x="16" y="192"/>
                  </a:lnTo>
                  <a:lnTo>
                    <a:pt x="16" y="193"/>
                  </a:lnTo>
                  <a:lnTo>
                    <a:pt x="16" y="194"/>
                  </a:lnTo>
                  <a:lnTo>
                    <a:pt x="15" y="194"/>
                  </a:lnTo>
                  <a:lnTo>
                    <a:pt x="15" y="195"/>
                  </a:lnTo>
                  <a:lnTo>
                    <a:pt x="14" y="194"/>
                  </a:lnTo>
                  <a:lnTo>
                    <a:pt x="12" y="195"/>
                  </a:lnTo>
                  <a:lnTo>
                    <a:pt x="12" y="198"/>
                  </a:lnTo>
                  <a:lnTo>
                    <a:pt x="14" y="198"/>
                  </a:lnTo>
                  <a:lnTo>
                    <a:pt x="15" y="196"/>
                  </a:lnTo>
                  <a:lnTo>
                    <a:pt x="15" y="198"/>
                  </a:lnTo>
                  <a:lnTo>
                    <a:pt x="16" y="198"/>
                  </a:lnTo>
                  <a:lnTo>
                    <a:pt x="17" y="198"/>
                  </a:lnTo>
                  <a:lnTo>
                    <a:pt x="18" y="196"/>
                  </a:lnTo>
                  <a:lnTo>
                    <a:pt x="20" y="195"/>
                  </a:lnTo>
                  <a:lnTo>
                    <a:pt x="21" y="194"/>
                  </a:lnTo>
                  <a:lnTo>
                    <a:pt x="21" y="193"/>
                  </a:lnTo>
                  <a:lnTo>
                    <a:pt x="21" y="192"/>
                  </a:lnTo>
                  <a:lnTo>
                    <a:pt x="22" y="190"/>
                  </a:lnTo>
                  <a:lnTo>
                    <a:pt x="22" y="192"/>
                  </a:lnTo>
                  <a:lnTo>
                    <a:pt x="22" y="193"/>
                  </a:lnTo>
                  <a:lnTo>
                    <a:pt x="23" y="193"/>
                  </a:lnTo>
                  <a:lnTo>
                    <a:pt x="24" y="193"/>
                  </a:lnTo>
                  <a:lnTo>
                    <a:pt x="24" y="192"/>
                  </a:lnTo>
                  <a:lnTo>
                    <a:pt x="24" y="190"/>
                  </a:lnTo>
                  <a:lnTo>
                    <a:pt x="26" y="189"/>
                  </a:lnTo>
                  <a:lnTo>
                    <a:pt x="27" y="188"/>
                  </a:lnTo>
                  <a:lnTo>
                    <a:pt x="27" y="187"/>
                  </a:lnTo>
                  <a:lnTo>
                    <a:pt x="28" y="187"/>
                  </a:lnTo>
                  <a:lnTo>
                    <a:pt x="28" y="188"/>
                  </a:lnTo>
                  <a:lnTo>
                    <a:pt x="29" y="188"/>
                  </a:lnTo>
                  <a:lnTo>
                    <a:pt x="30" y="187"/>
                  </a:lnTo>
                  <a:lnTo>
                    <a:pt x="32" y="187"/>
                  </a:lnTo>
                  <a:lnTo>
                    <a:pt x="30" y="188"/>
                  </a:lnTo>
                  <a:lnTo>
                    <a:pt x="30" y="189"/>
                  </a:lnTo>
                  <a:lnTo>
                    <a:pt x="29" y="189"/>
                  </a:lnTo>
                  <a:lnTo>
                    <a:pt x="28" y="190"/>
                  </a:lnTo>
                  <a:lnTo>
                    <a:pt x="28" y="189"/>
                  </a:lnTo>
                  <a:lnTo>
                    <a:pt x="28" y="188"/>
                  </a:lnTo>
                  <a:lnTo>
                    <a:pt x="27" y="188"/>
                  </a:lnTo>
                  <a:lnTo>
                    <a:pt x="27" y="189"/>
                  </a:lnTo>
                  <a:lnTo>
                    <a:pt x="26" y="190"/>
                  </a:lnTo>
                  <a:lnTo>
                    <a:pt x="27" y="192"/>
                  </a:lnTo>
                  <a:lnTo>
                    <a:pt x="28" y="192"/>
                  </a:lnTo>
                  <a:lnTo>
                    <a:pt x="28" y="193"/>
                  </a:lnTo>
                  <a:lnTo>
                    <a:pt x="29" y="193"/>
                  </a:lnTo>
                  <a:lnTo>
                    <a:pt x="30" y="193"/>
                  </a:lnTo>
                  <a:lnTo>
                    <a:pt x="32" y="193"/>
                  </a:lnTo>
                  <a:lnTo>
                    <a:pt x="32" y="192"/>
                  </a:lnTo>
                  <a:lnTo>
                    <a:pt x="33" y="192"/>
                  </a:lnTo>
                  <a:lnTo>
                    <a:pt x="34" y="190"/>
                  </a:lnTo>
                  <a:lnTo>
                    <a:pt x="35" y="189"/>
                  </a:lnTo>
                  <a:lnTo>
                    <a:pt x="37" y="188"/>
                  </a:lnTo>
                  <a:lnTo>
                    <a:pt x="38" y="187"/>
                  </a:lnTo>
                  <a:lnTo>
                    <a:pt x="38" y="188"/>
                  </a:lnTo>
                  <a:lnTo>
                    <a:pt x="37" y="188"/>
                  </a:lnTo>
                  <a:lnTo>
                    <a:pt x="37" y="189"/>
                  </a:lnTo>
                  <a:lnTo>
                    <a:pt x="35" y="189"/>
                  </a:lnTo>
                  <a:lnTo>
                    <a:pt x="34" y="190"/>
                  </a:lnTo>
                  <a:lnTo>
                    <a:pt x="34" y="192"/>
                  </a:lnTo>
                  <a:lnTo>
                    <a:pt x="35" y="192"/>
                  </a:lnTo>
                  <a:lnTo>
                    <a:pt x="37" y="192"/>
                  </a:lnTo>
                  <a:lnTo>
                    <a:pt x="38" y="193"/>
                  </a:lnTo>
                  <a:lnTo>
                    <a:pt x="39" y="193"/>
                  </a:lnTo>
                  <a:lnTo>
                    <a:pt x="39" y="194"/>
                  </a:lnTo>
                  <a:lnTo>
                    <a:pt x="40" y="194"/>
                  </a:lnTo>
                  <a:lnTo>
                    <a:pt x="40" y="195"/>
                  </a:lnTo>
                  <a:lnTo>
                    <a:pt x="39" y="195"/>
                  </a:lnTo>
                  <a:lnTo>
                    <a:pt x="38" y="195"/>
                  </a:lnTo>
                  <a:lnTo>
                    <a:pt x="37" y="196"/>
                  </a:lnTo>
                  <a:lnTo>
                    <a:pt x="35" y="196"/>
                  </a:lnTo>
                  <a:lnTo>
                    <a:pt x="35" y="198"/>
                  </a:lnTo>
                  <a:lnTo>
                    <a:pt x="35" y="199"/>
                  </a:lnTo>
                  <a:lnTo>
                    <a:pt x="37" y="199"/>
                  </a:lnTo>
                  <a:lnTo>
                    <a:pt x="38" y="199"/>
                  </a:lnTo>
                  <a:lnTo>
                    <a:pt x="39" y="199"/>
                  </a:lnTo>
                  <a:lnTo>
                    <a:pt x="39" y="198"/>
                  </a:lnTo>
                  <a:lnTo>
                    <a:pt x="40" y="196"/>
                  </a:lnTo>
                  <a:lnTo>
                    <a:pt x="40" y="198"/>
                  </a:lnTo>
                  <a:lnTo>
                    <a:pt x="41" y="198"/>
                  </a:lnTo>
                  <a:lnTo>
                    <a:pt x="41" y="196"/>
                  </a:lnTo>
                  <a:lnTo>
                    <a:pt x="41" y="195"/>
                  </a:lnTo>
                  <a:lnTo>
                    <a:pt x="43" y="194"/>
                  </a:lnTo>
                  <a:lnTo>
                    <a:pt x="43" y="193"/>
                  </a:lnTo>
                  <a:lnTo>
                    <a:pt x="43" y="192"/>
                  </a:lnTo>
                  <a:lnTo>
                    <a:pt x="44" y="192"/>
                  </a:lnTo>
                  <a:lnTo>
                    <a:pt x="44" y="193"/>
                  </a:lnTo>
                  <a:lnTo>
                    <a:pt x="45" y="193"/>
                  </a:lnTo>
                  <a:lnTo>
                    <a:pt x="46" y="193"/>
                  </a:lnTo>
                  <a:lnTo>
                    <a:pt x="47" y="192"/>
                  </a:lnTo>
                  <a:lnTo>
                    <a:pt x="49" y="190"/>
                  </a:lnTo>
                  <a:lnTo>
                    <a:pt x="49" y="192"/>
                  </a:lnTo>
                  <a:lnTo>
                    <a:pt x="47" y="192"/>
                  </a:lnTo>
                  <a:lnTo>
                    <a:pt x="46" y="193"/>
                  </a:lnTo>
                  <a:lnTo>
                    <a:pt x="45" y="194"/>
                  </a:lnTo>
                  <a:lnTo>
                    <a:pt x="44" y="194"/>
                  </a:lnTo>
                  <a:lnTo>
                    <a:pt x="45" y="195"/>
                  </a:lnTo>
                  <a:lnTo>
                    <a:pt x="46" y="195"/>
                  </a:lnTo>
                  <a:lnTo>
                    <a:pt x="47" y="194"/>
                  </a:lnTo>
                  <a:lnTo>
                    <a:pt x="49" y="193"/>
                  </a:lnTo>
                  <a:lnTo>
                    <a:pt x="50" y="193"/>
                  </a:lnTo>
                  <a:lnTo>
                    <a:pt x="51" y="193"/>
                  </a:lnTo>
                  <a:lnTo>
                    <a:pt x="51" y="194"/>
                  </a:lnTo>
                  <a:lnTo>
                    <a:pt x="52" y="193"/>
                  </a:lnTo>
                  <a:lnTo>
                    <a:pt x="52" y="192"/>
                  </a:lnTo>
                  <a:lnTo>
                    <a:pt x="53" y="192"/>
                  </a:lnTo>
                  <a:lnTo>
                    <a:pt x="55" y="193"/>
                  </a:lnTo>
                  <a:lnTo>
                    <a:pt x="56" y="193"/>
                  </a:lnTo>
                  <a:lnTo>
                    <a:pt x="57" y="192"/>
                  </a:lnTo>
                  <a:lnTo>
                    <a:pt x="57" y="190"/>
                  </a:lnTo>
                  <a:lnTo>
                    <a:pt x="57" y="189"/>
                  </a:lnTo>
                  <a:lnTo>
                    <a:pt x="56" y="189"/>
                  </a:lnTo>
                  <a:lnTo>
                    <a:pt x="55" y="189"/>
                  </a:lnTo>
                  <a:lnTo>
                    <a:pt x="53" y="189"/>
                  </a:lnTo>
                  <a:lnTo>
                    <a:pt x="52" y="188"/>
                  </a:lnTo>
                  <a:lnTo>
                    <a:pt x="53" y="188"/>
                  </a:lnTo>
                  <a:lnTo>
                    <a:pt x="55" y="188"/>
                  </a:lnTo>
                  <a:lnTo>
                    <a:pt x="55" y="189"/>
                  </a:lnTo>
                  <a:lnTo>
                    <a:pt x="56" y="189"/>
                  </a:lnTo>
                  <a:lnTo>
                    <a:pt x="56" y="188"/>
                  </a:lnTo>
                  <a:lnTo>
                    <a:pt x="56" y="187"/>
                  </a:lnTo>
                  <a:lnTo>
                    <a:pt x="56" y="186"/>
                  </a:lnTo>
                  <a:lnTo>
                    <a:pt x="53" y="186"/>
                  </a:lnTo>
                  <a:lnTo>
                    <a:pt x="53" y="184"/>
                  </a:lnTo>
                  <a:lnTo>
                    <a:pt x="55" y="184"/>
                  </a:lnTo>
                  <a:lnTo>
                    <a:pt x="55" y="183"/>
                  </a:lnTo>
                  <a:lnTo>
                    <a:pt x="56" y="184"/>
                  </a:lnTo>
                  <a:lnTo>
                    <a:pt x="56" y="186"/>
                  </a:lnTo>
                  <a:lnTo>
                    <a:pt x="57" y="186"/>
                  </a:lnTo>
                  <a:lnTo>
                    <a:pt x="58" y="187"/>
                  </a:lnTo>
                  <a:lnTo>
                    <a:pt x="59" y="187"/>
                  </a:lnTo>
                  <a:lnTo>
                    <a:pt x="61" y="187"/>
                  </a:lnTo>
                  <a:lnTo>
                    <a:pt x="61" y="188"/>
                  </a:lnTo>
                  <a:lnTo>
                    <a:pt x="59" y="188"/>
                  </a:lnTo>
                  <a:lnTo>
                    <a:pt x="59" y="189"/>
                  </a:lnTo>
                  <a:lnTo>
                    <a:pt x="61" y="189"/>
                  </a:lnTo>
                  <a:lnTo>
                    <a:pt x="62" y="190"/>
                  </a:lnTo>
                  <a:lnTo>
                    <a:pt x="62" y="192"/>
                  </a:lnTo>
                  <a:lnTo>
                    <a:pt x="62" y="193"/>
                  </a:lnTo>
                  <a:lnTo>
                    <a:pt x="62" y="194"/>
                  </a:lnTo>
                  <a:lnTo>
                    <a:pt x="61" y="193"/>
                  </a:lnTo>
                  <a:lnTo>
                    <a:pt x="61" y="192"/>
                  </a:lnTo>
                  <a:lnTo>
                    <a:pt x="59" y="192"/>
                  </a:lnTo>
                  <a:lnTo>
                    <a:pt x="61" y="193"/>
                  </a:lnTo>
                  <a:lnTo>
                    <a:pt x="61" y="194"/>
                  </a:lnTo>
                  <a:lnTo>
                    <a:pt x="59" y="194"/>
                  </a:lnTo>
                  <a:lnTo>
                    <a:pt x="59" y="195"/>
                  </a:lnTo>
                  <a:lnTo>
                    <a:pt x="61" y="196"/>
                  </a:lnTo>
                  <a:lnTo>
                    <a:pt x="61" y="195"/>
                  </a:lnTo>
                  <a:lnTo>
                    <a:pt x="62" y="195"/>
                  </a:lnTo>
                  <a:lnTo>
                    <a:pt x="62" y="196"/>
                  </a:lnTo>
                  <a:lnTo>
                    <a:pt x="61" y="196"/>
                  </a:lnTo>
                  <a:lnTo>
                    <a:pt x="59" y="196"/>
                  </a:lnTo>
                  <a:lnTo>
                    <a:pt x="58" y="198"/>
                  </a:lnTo>
                  <a:lnTo>
                    <a:pt x="58" y="199"/>
                  </a:lnTo>
                  <a:lnTo>
                    <a:pt x="59" y="199"/>
                  </a:lnTo>
                  <a:lnTo>
                    <a:pt x="58" y="200"/>
                  </a:lnTo>
                  <a:lnTo>
                    <a:pt x="57" y="200"/>
                  </a:lnTo>
                  <a:lnTo>
                    <a:pt x="57" y="199"/>
                  </a:lnTo>
                  <a:lnTo>
                    <a:pt x="56" y="199"/>
                  </a:lnTo>
                  <a:lnTo>
                    <a:pt x="56" y="200"/>
                  </a:lnTo>
                  <a:lnTo>
                    <a:pt x="56" y="201"/>
                  </a:lnTo>
                  <a:lnTo>
                    <a:pt x="56" y="202"/>
                  </a:lnTo>
                  <a:lnTo>
                    <a:pt x="57" y="202"/>
                  </a:lnTo>
                  <a:lnTo>
                    <a:pt x="58" y="202"/>
                  </a:lnTo>
                  <a:lnTo>
                    <a:pt x="58" y="201"/>
                  </a:lnTo>
                  <a:lnTo>
                    <a:pt x="59" y="201"/>
                  </a:lnTo>
                  <a:lnTo>
                    <a:pt x="62" y="202"/>
                  </a:lnTo>
                  <a:lnTo>
                    <a:pt x="62" y="201"/>
                  </a:lnTo>
                  <a:lnTo>
                    <a:pt x="62" y="202"/>
                  </a:lnTo>
                  <a:lnTo>
                    <a:pt x="63" y="202"/>
                  </a:lnTo>
                  <a:lnTo>
                    <a:pt x="64" y="202"/>
                  </a:lnTo>
                  <a:lnTo>
                    <a:pt x="64" y="201"/>
                  </a:lnTo>
                  <a:lnTo>
                    <a:pt x="67" y="200"/>
                  </a:lnTo>
                  <a:lnTo>
                    <a:pt x="65" y="200"/>
                  </a:lnTo>
                  <a:lnTo>
                    <a:pt x="64" y="200"/>
                  </a:lnTo>
                  <a:lnTo>
                    <a:pt x="63" y="200"/>
                  </a:lnTo>
                  <a:lnTo>
                    <a:pt x="64" y="199"/>
                  </a:lnTo>
                  <a:lnTo>
                    <a:pt x="65" y="199"/>
                  </a:lnTo>
                  <a:lnTo>
                    <a:pt x="65" y="198"/>
                  </a:lnTo>
                  <a:lnTo>
                    <a:pt x="67" y="199"/>
                  </a:lnTo>
                  <a:lnTo>
                    <a:pt x="67" y="200"/>
                  </a:lnTo>
                  <a:lnTo>
                    <a:pt x="68" y="200"/>
                  </a:lnTo>
                  <a:lnTo>
                    <a:pt x="68" y="201"/>
                  </a:lnTo>
                  <a:lnTo>
                    <a:pt x="67" y="201"/>
                  </a:lnTo>
                  <a:lnTo>
                    <a:pt x="65" y="201"/>
                  </a:lnTo>
                  <a:lnTo>
                    <a:pt x="65" y="202"/>
                  </a:lnTo>
                  <a:lnTo>
                    <a:pt x="64" y="202"/>
                  </a:lnTo>
                  <a:lnTo>
                    <a:pt x="64" y="204"/>
                  </a:lnTo>
                  <a:lnTo>
                    <a:pt x="62" y="204"/>
                  </a:lnTo>
                  <a:lnTo>
                    <a:pt x="62" y="202"/>
                  </a:lnTo>
                  <a:lnTo>
                    <a:pt x="62" y="204"/>
                  </a:lnTo>
                  <a:lnTo>
                    <a:pt x="61" y="202"/>
                  </a:lnTo>
                  <a:lnTo>
                    <a:pt x="59" y="202"/>
                  </a:lnTo>
                  <a:lnTo>
                    <a:pt x="59" y="204"/>
                  </a:lnTo>
                  <a:lnTo>
                    <a:pt x="58" y="204"/>
                  </a:lnTo>
                  <a:lnTo>
                    <a:pt x="57" y="202"/>
                  </a:lnTo>
                  <a:lnTo>
                    <a:pt x="57" y="204"/>
                  </a:lnTo>
                  <a:lnTo>
                    <a:pt x="56" y="204"/>
                  </a:lnTo>
                  <a:lnTo>
                    <a:pt x="55" y="204"/>
                  </a:lnTo>
                  <a:lnTo>
                    <a:pt x="55" y="202"/>
                  </a:lnTo>
                  <a:lnTo>
                    <a:pt x="53" y="202"/>
                  </a:lnTo>
                  <a:lnTo>
                    <a:pt x="52" y="202"/>
                  </a:lnTo>
                  <a:lnTo>
                    <a:pt x="52" y="204"/>
                  </a:lnTo>
                  <a:lnTo>
                    <a:pt x="51" y="205"/>
                  </a:lnTo>
                  <a:lnTo>
                    <a:pt x="50" y="205"/>
                  </a:lnTo>
                  <a:lnTo>
                    <a:pt x="49" y="205"/>
                  </a:lnTo>
                  <a:lnTo>
                    <a:pt x="50" y="206"/>
                  </a:lnTo>
                  <a:lnTo>
                    <a:pt x="47" y="206"/>
                  </a:lnTo>
                  <a:lnTo>
                    <a:pt x="49" y="206"/>
                  </a:lnTo>
                  <a:lnTo>
                    <a:pt x="49" y="207"/>
                  </a:lnTo>
                  <a:lnTo>
                    <a:pt x="50" y="207"/>
                  </a:lnTo>
                  <a:lnTo>
                    <a:pt x="50" y="208"/>
                  </a:lnTo>
                  <a:lnTo>
                    <a:pt x="51" y="208"/>
                  </a:lnTo>
                  <a:lnTo>
                    <a:pt x="52" y="207"/>
                  </a:lnTo>
                  <a:lnTo>
                    <a:pt x="53" y="207"/>
                  </a:lnTo>
                  <a:lnTo>
                    <a:pt x="53" y="206"/>
                  </a:lnTo>
                  <a:lnTo>
                    <a:pt x="55" y="207"/>
                  </a:lnTo>
                  <a:lnTo>
                    <a:pt x="56" y="206"/>
                  </a:lnTo>
                  <a:lnTo>
                    <a:pt x="56" y="207"/>
                  </a:lnTo>
                  <a:lnTo>
                    <a:pt x="55" y="207"/>
                  </a:lnTo>
                  <a:lnTo>
                    <a:pt x="55" y="208"/>
                  </a:lnTo>
                  <a:lnTo>
                    <a:pt x="53" y="208"/>
                  </a:lnTo>
                  <a:lnTo>
                    <a:pt x="52" y="208"/>
                  </a:lnTo>
                  <a:lnTo>
                    <a:pt x="51" y="210"/>
                  </a:lnTo>
                  <a:lnTo>
                    <a:pt x="50" y="210"/>
                  </a:lnTo>
                  <a:lnTo>
                    <a:pt x="50" y="211"/>
                  </a:lnTo>
                  <a:lnTo>
                    <a:pt x="49" y="211"/>
                  </a:lnTo>
                  <a:lnTo>
                    <a:pt x="49" y="210"/>
                  </a:lnTo>
                  <a:lnTo>
                    <a:pt x="47" y="211"/>
                  </a:lnTo>
                  <a:lnTo>
                    <a:pt x="46" y="211"/>
                  </a:lnTo>
                  <a:lnTo>
                    <a:pt x="45" y="212"/>
                  </a:lnTo>
                  <a:lnTo>
                    <a:pt x="44" y="212"/>
                  </a:lnTo>
                  <a:lnTo>
                    <a:pt x="41" y="212"/>
                  </a:lnTo>
                  <a:lnTo>
                    <a:pt x="41" y="213"/>
                  </a:lnTo>
                  <a:lnTo>
                    <a:pt x="41" y="214"/>
                  </a:lnTo>
                  <a:lnTo>
                    <a:pt x="40" y="214"/>
                  </a:lnTo>
                  <a:lnTo>
                    <a:pt x="39" y="214"/>
                  </a:lnTo>
                  <a:lnTo>
                    <a:pt x="39" y="216"/>
                  </a:lnTo>
                  <a:lnTo>
                    <a:pt x="38" y="216"/>
                  </a:lnTo>
                  <a:lnTo>
                    <a:pt x="37" y="214"/>
                  </a:lnTo>
                  <a:lnTo>
                    <a:pt x="35" y="216"/>
                  </a:lnTo>
                  <a:lnTo>
                    <a:pt x="34" y="216"/>
                  </a:lnTo>
                  <a:lnTo>
                    <a:pt x="33" y="216"/>
                  </a:lnTo>
                  <a:lnTo>
                    <a:pt x="32" y="216"/>
                  </a:lnTo>
                  <a:lnTo>
                    <a:pt x="32" y="217"/>
                  </a:lnTo>
                  <a:lnTo>
                    <a:pt x="30" y="216"/>
                  </a:lnTo>
                  <a:lnTo>
                    <a:pt x="29" y="216"/>
                  </a:lnTo>
                  <a:lnTo>
                    <a:pt x="28" y="214"/>
                  </a:lnTo>
                  <a:lnTo>
                    <a:pt x="27" y="216"/>
                  </a:lnTo>
                  <a:lnTo>
                    <a:pt x="27" y="217"/>
                  </a:lnTo>
                  <a:lnTo>
                    <a:pt x="27" y="218"/>
                  </a:lnTo>
                  <a:lnTo>
                    <a:pt x="28" y="219"/>
                  </a:lnTo>
                  <a:lnTo>
                    <a:pt x="27" y="220"/>
                  </a:lnTo>
                  <a:lnTo>
                    <a:pt x="28" y="220"/>
                  </a:lnTo>
                  <a:lnTo>
                    <a:pt x="29" y="220"/>
                  </a:lnTo>
                  <a:lnTo>
                    <a:pt x="29" y="222"/>
                  </a:lnTo>
                  <a:lnTo>
                    <a:pt x="30" y="222"/>
                  </a:lnTo>
                  <a:lnTo>
                    <a:pt x="32" y="222"/>
                  </a:lnTo>
                  <a:lnTo>
                    <a:pt x="33" y="220"/>
                  </a:lnTo>
                  <a:lnTo>
                    <a:pt x="34" y="220"/>
                  </a:lnTo>
                  <a:lnTo>
                    <a:pt x="37" y="222"/>
                  </a:lnTo>
                  <a:lnTo>
                    <a:pt x="37" y="223"/>
                  </a:lnTo>
                  <a:lnTo>
                    <a:pt x="35" y="223"/>
                  </a:lnTo>
                  <a:lnTo>
                    <a:pt x="34" y="223"/>
                  </a:lnTo>
                  <a:lnTo>
                    <a:pt x="33" y="223"/>
                  </a:lnTo>
                  <a:lnTo>
                    <a:pt x="32" y="223"/>
                  </a:lnTo>
                  <a:lnTo>
                    <a:pt x="30" y="223"/>
                  </a:lnTo>
                  <a:lnTo>
                    <a:pt x="32" y="224"/>
                  </a:lnTo>
                  <a:lnTo>
                    <a:pt x="32" y="225"/>
                  </a:lnTo>
                  <a:lnTo>
                    <a:pt x="33" y="225"/>
                  </a:lnTo>
                  <a:lnTo>
                    <a:pt x="34" y="226"/>
                  </a:lnTo>
                  <a:lnTo>
                    <a:pt x="33" y="228"/>
                  </a:lnTo>
                  <a:lnTo>
                    <a:pt x="35" y="228"/>
                  </a:lnTo>
                  <a:lnTo>
                    <a:pt x="35" y="226"/>
                  </a:lnTo>
                  <a:lnTo>
                    <a:pt x="37" y="226"/>
                  </a:lnTo>
                  <a:lnTo>
                    <a:pt x="37" y="225"/>
                  </a:lnTo>
                  <a:lnTo>
                    <a:pt x="37" y="226"/>
                  </a:lnTo>
                  <a:lnTo>
                    <a:pt x="35" y="228"/>
                  </a:lnTo>
                  <a:lnTo>
                    <a:pt x="35" y="229"/>
                  </a:lnTo>
                  <a:lnTo>
                    <a:pt x="34" y="229"/>
                  </a:lnTo>
                  <a:lnTo>
                    <a:pt x="33" y="229"/>
                  </a:lnTo>
                  <a:lnTo>
                    <a:pt x="32" y="229"/>
                  </a:lnTo>
                  <a:lnTo>
                    <a:pt x="32" y="228"/>
                  </a:lnTo>
                  <a:lnTo>
                    <a:pt x="32" y="226"/>
                  </a:lnTo>
                  <a:lnTo>
                    <a:pt x="32" y="225"/>
                  </a:lnTo>
                  <a:lnTo>
                    <a:pt x="30" y="225"/>
                  </a:lnTo>
                  <a:lnTo>
                    <a:pt x="30" y="224"/>
                  </a:lnTo>
                  <a:lnTo>
                    <a:pt x="29" y="223"/>
                  </a:lnTo>
                  <a:lnTo>
                    <a:pt x="28" y="224"/>
                  </a:lnTo>
                  <a:lnTo>
                    <a:pt x="27" y="224"/>
                  </a:lnTo>
                  <a:lnTo>
                    <a:pt x="26" y="225"/>
                  </a:lnTo>
                  <a:lnTo>
                    <a:pt x="24" y="225"/>
                  </a:lnTo>
                  <a:lnTo>
                    <a:pt x="24" y="226"/>
                  </a:lnTo>
                  <a:lnTo>
                    <a:pt x="24" y="228"/>
                  </a:lnTo>
                  <a:lnTo>
                    <a:pt x="26" y="228"/>
                  </a:lnTo>
                  <a:lnTo>
                    <a:pt x="27" y="229"/>
                  </a:lnTo>
                  <a:lnTo>
                    <a:pt x="27" y="230"/>
                  </a:lnTo>
                  <a:lnTo>
                    <a:pt x="26" y="230"/>
                  </a:lnTo>
                  <a:lnTo>
                    <a:pt x="27" y="231"/>
                  </a:lnTo>
                  <a:lnTo>
                    <a:pt x="28" y="232"/>
                  </a:lnTo>
                  <a:lnTo>
                    <a:pt x="29" y="234"/>
                  </a:lnTo>
                  <a:lnTo>
                    <a:pt x="30" y="234"/>
                  </a:lnTo>
                  <a:lnTo>
                    <a:pt x="33" y="234"/>
                  </a:lnTo>
                  <a:lnTo>
                    <a:pt x="34" y="234"/>
                  </a:lnTo>
                  <a:lnTo>
                    <a:pt x="35" y="234"/>
                  </a:lnTo>
                  <a:lnTo>
                    <a:pt x="37" y="232"/>
                  </a:lnTo>
                  <a:lnTo>
                    <a:pt x="37" y="231"/>
                  </a:lnTo>
                  <a:lnTo>
                    <a:pt x="38" y="231"/>
                  </a:lnTo>
                  <a:lnTo>
                    <a:pt x="39" y="231"/>
                  </a:lnTo>
                  <a:lnTo>
                    <a:pt x="40" y="231"/>
                  </a:lnTo>
                  <a:lnTo>
                    <a:pt x="39" y="231"/>
                  </a:lnTo>
                  <a:lnTo>
                    <a:pt x="38" y="232"/>
                  </a:lnTo>
                  <a:lnTo>
                    <a:pt x="37" y="232"/>
                  </a:lnTo>
                  <a:lnTo>
                    <a:pt x="37" y="234"/>
                  </a:lnTo>
                  <a:lnTo>
                    <a:pt x="37" y="235"/>
                  </a:lnTo>
                  <a:lnTo>
                    <a:pt x="38" y="235"/>
                  </a:lnTo>
                  <a:lnTo>
                    <a:pt x="35" y="235"/>
                  </a:lnTo>
                  <a:lnTo>
                    <a:pt x="34" y="236"/>
                  </a:lnTo>
                  <a:lnTo>
                    <a:pt x="33" y="237"/>
                  </a:lnTo>
                  <a:lnTo>
                    <a:pt x="34" y="237"/>
                  </a:lnTo>
                  <a:lnTo>
                    <a:pt x="35" y="237"/>
                  </a:lnTo>
                  <a:lnTo>
                    <a:pt x="35" y="238"/>
                  </a:lnTo>
                  <a:lnTo>
                    <a:pt x="34" y="238"/>
                  </a:lnTo>
                  <a:lnTo>
                    <a:pt x="33" y="238"/>
                  </a:lnTo>
                  <a:lnTo>
                    <a:pt x="33" y="237"/>
                  </a:lnTo>
                  <a:lnTo>
                    <a:pt x="32" y="236"/>
                  </a:lnTo>
                  <a:lnTo>
                    <a:pt x="32" y="237"/>
                  </a:lnTo>
                  <a:lnTo>
                    <a:pt x="32" y="238"/>
                  </a:lnTo>
                  <a:lnTo>
                    <a:pt x="30" y="238"/>
                  </a:lnTo>
                  <a:lnTo>
                    <a:pt x="29" y="240"/>
                  </a:lnTo>
                  <a:lnTo>
                    <a:pt x="30" y="241"/>
                  </a:lnTo>
                  <a:lnTo>
                    <a:pt x="32" y="241"/>
                  </a:lnTo>
                  <a:lnTo>
                    <a:pt x="33" y="240"/>
                  </a:lnTo>
                  <a:lnTo>
                    <a:pt x="33" y="241"/>
                  </a:lnTo>
                  <a:lnTo>
                    <a:pt x="34" y="241"/>
                  </a:lnTo>
                  <a:lnTo>
                    <a:pt x="35" y="241"/>
                  </a:lnTo>
                  <a:lnTo>
                    <a:pt x="35" y="240"/>
                  </a:lnTo>
                  <a:lnTo>
                    <a:pt x="37" y="240"/>
                  </a:lnTo>
                  <a:lnTo>
                    <a:pt x="38" y="238"/>
                  </a:lnTo>
                  <a:lnTo>
                    <a:pt x="39" y="238"/>
                  </a:lnTo>
                  <a:lnTo>
                    <a:pt x="39" y="241"/>
                  </a:lnTo>
                  <a:lnTo>
                    <a:pt x="40" y="242"/>
                  </a:lnTo>
                  <a:lnTo>
                    <a:pt x="41" y="242"/>
                  </a:lnTo>
                  <a:lnTo>
                    <a:pt x="44" y="241"/>
                  </a:lnTo>
                  <a:lnTo>
                    <a:pt x="44" y="240"/>
                  </a:lnTo>
                  <a:lnTo>
                    <a:pt x="43" y="241"/>
                  </a:lnTo>
                  <a:lnTo>
                    <a:pt x="41" y="241"/>
                  </a:lnTo>
                  <a:lnTo>
                    <a:pt x="41" y="240"/>
                  </a:lnTo>
                  <a:lnTo>
                    <a:pt x="43" y="240"/>
                  </a:lnTo>
                  <a:lnTo>
                    <a:pt x="44" y="238"/>
                  </a:lnTo>
                  <a:lnTo>
                    <a:pt x="45" y="238"/>
                  </a:lnTo>
                  <a:lnTo>
                    <a:pt x="45" y="237"/>
                  </a:lnTo>
                  <a:lnTo>
                    <a:pt x="44" y="237"/>
                  </a:lnTo>
                  <a:lnTo>
                    <a:pt x="43" y="237"/>
                  </a:lnTo>
                  <a:lnTo>
                    <a:pt x="43" y="236"/>
                  </a:lnTo>
                  <a:lnTo>
                    <a:pt x="45" y="237"/>
                  </a:lnTo>
                  <a:lnTo>
                    <a:pt x="45" y="236"/>
                  </a:lnTo>
                  <a:lnTo>
                    <a:pt x="46" y="236"/>
                  </a:lnTo>
                  <a:lnTo>
                    <a:pt x="46" y="235"/>
                  </a:lnTo>
                  <a:lnTo>
                    <a:pt x="45" y="234"/>
                  </a:lnTo>
                  <a:lnTo>
                    <a:pt x="45" y="232"/>
                  </a:lnTo>
                  <a:lnTo>
                    <a:pt x="45" y="231"/>
                  </a:lnTo>
                  <a:lnTo>
                    <a:pt x="46" y="230"/>
                  </a:lnTo>
                  <a:lnTo>
                    <a:pt x="45" y="231"/>
                  </a:lnTo>
                  <a:lnTo>
                    <a:pt x="46" y="231"/>
                  </a:lnTo>
                  <a:lnTo>
                    <a:pt x="46" y="232"/>
                  </a:lnTo>
                  <a:lnTo>
                    <a:pt x="47" y="232"/>
                  </a:lnTo>
                  <a:lnTo>
                    <a:pt x="47" y="234"/>
                  </a:lnTo>
                  <a:lnTo>
                    <a:pt x="49" y="232"/>
                  </a:lnTo>
                  <a:lnTo>
                    <a:pt x="49" y="234"/>
                  </a:lnTo>
                  <a:lnTo>
                    <a:pt x="50" y="234"/>
                  </a:lnTo>
                  <a:lnTo>
                    <a:pt x="51" y="234"/>
                  </a:lnTo>
                  <a:lnTo>
                    <a:pt x="52" y="232"/>
                  </a:lnTo>
                  <a:lnTo>
                    <a:pt x="52" y="231"/>
                  </a:lnTo>
                  <a:lnTo>
                    <a:pt x="52" y="230"/>
                  </a:lnTo>
                  <a:lnTo>
                    <a:pt x="53" y="229"/>
                  </a:lnTo>
                  <a:lnTo>
                    <a:pt x="53" y="230"/>
                  </a:lnTo>
                  <a:lnTo>
                    <a:pt x="53" y="231"/>
                  </a:lnTo>
                  <a:lnTo>
                    <a:pt x="53" y="234"/>
                  </a:lnTo>
                  <a:lnTo>
                    <a:pt x="55" y="234"/>
                  </a:lnTo>
                  <a:lnTo>
                    <a:pt x="56" y="234"/>
                  </a:lnTo>
                  <a:lnTo>
                    <a:pt x="56" y="232"/>
                  </a:lnTo>
                  <a:lnTo>
                    <a:pt x="56" y="231"/>
                  </a:lnTo>
                  <a:lnTo>
                    <a:pt x="56" y="232"/>
                  </a:lnTo>
                  <a:lnTo>
                    <a:pt x="56" y="235"/>
                  </a:lnTo>
                  <a:lnTo>
                    <a:pt x="56" y="236"/>
                  </a:lnTo>
                  <a:lnTo>
                    <a:pt x="57" y="236"/>
                  </a:lnTo>
                  <a:lnTo>
                    <a:pt x="57" y="235"/>
                  </a:lnTo>
                  <a:lnTo>
                    <a:pt x="58" y="235"/>
                  </a:lnTo>
                  <a:lnTo>
                    <a:pt x="58" y="234"/>
                  </a:lnTo>
                  <a:lnTo>
                    <a:pt x="59" y="234"/>
                  </a:lnTo>
                  <a:lnTo>
                    <a:pt x="61" y="235"/>
                  </a:lnTo>
                  <a:lnTo>
                    <a:pt x="62" y="235"/>
                  </a:lnTo>
                  <a:lnTo>
                    <a:pt x="62" y="234"/>
                  </a:lnTo>
                  <a:lnTo>
                    <a:pt x="63" y="234"/>
                  </a:lnTo>
                  <a:lnTo>
                    <a:pt x="63" y="232"/>
                  </a:lnTo>
                  <a:lnTo>
                    <a:pt x="64" y="232"/>
                  </a:lnTo>
                  <a:lnTo>
                    <a:pt x="65" y="234"/>
                  </a:lnTo>
                  <a:lnTo>
                    <a:pt x="65" y="232"/>
                  </a:lnTo>
                  <a:lnTo>
                    <a:pt x="67" y="232"/>
                  </a:lnTo>
                  <a:lnTo>
                    <a:pt x="68" y="232"/>
                  </a:lnTo>
                  <a:lnTo>
                    <a:pt x="68" y="231"/>
                  </a:lnTo>
                  <a:lnTo>
                    <a:pt x="69" y="231"/>
                  </a:lnTo>
                  <a:lnTo>
                    <a:pt x="70" y="231"/>
                  </a:lnTo>
                  <a:lnTo>
                    <a:pt x="70" y="232"/>
                  </a:lnTo>
                  <a:lnTo>
                    <a:pt x="71" y="232"/>
                  </a:lnTo>
                  <a:lnTo>
                    <a:pt x="71" y="234"/>
                  </a:lnTo>
                  <a:lnTo>
                    <a:pt x="71" y="235"/>
                  </a:lnTo>
                  <a:lnTo>
                    <a:pt x="71" y="236"/>
                  </a:lnTo>
                  <a:lnTo>
                    <a:pt x="70" y="236"/>
                  </a:lnTo>
                  <a:lnTo>
                    <a:pt x="69" y="236"/>
                  </a:lnTo>
                  <a:lnTo>
                    <a:pt x="69" y="235"/>
                  </a:lnTo>
                  <a:lnTo>
                    <a:pt x="68" y="235"/>
                  </a:lnTo>
                  <a:lnTo>
                    <a:pt x="68" y="236"/>
                  </a:lnTo>
                  <a:lnTo>
                    <a:pt x="68" y="237"/>
                  </a:lnTo>
                  <a:lnTo>
                    <a:pt x="69" y="237"/>
                  </a:lnTo>
                  <a:lnTo>
                    <a:pt x="68" y="237"/>
                  </a:lnTo>
                  <a:lnTo>
                    <a:pt x="68" y="236"/>
                  </a:lnTo>
                  <a:lnTo>
                    <a:pt x="67" y="236"/>
                  </a:lnTo>
                  <a:lnTo>
                    <a:pt x="65" y="237"/>
                  </a:lnTo>
                  <a:lnTo>
                    <a:pt x="65" y="238"/>
                  </a:lnTo>
                  <a:lnTo>
                    <a:pt x="67" y="238"/>
                  </a:lnTo>
                  <a:lnTo>
                    <a:pt x="65" y="238"/>
                  </a:lnTo>
                  <a:lnTo>
                    <a:pt x="64" y="238"/>
                  </a:lnTo>
                  <a:lnTo>
                    <a:pt x="64" y="240"/>
                  </a:lnTo>
                  <a:lnTo>
                    <a:pt x="67" y="241"/>
                  </a:lnTo>
                  <a:lnTo>
                    <a:pt x="68" y="240"/>
                  </a:lnTo>
                  <a:lnTo>
                    <a:pt x="69" y="240"/>
                  </a:lnTo>
                  <a:lnTo>
                    <a:pt x="69" y="238"/>
                  </a:lnTo>
                  <a:lnTo>
                    <a:pt x="70" y="238"/>
                  </a:lnTo>
                  <a:lnTo>
                    <a:pt x="71" y="238"/>
                  </a:lnTo>
                  <a:lnTo>
                    <a:pt x="73" y="238"/>
                  </a:lnTo>
                  <a:lnTo>
                    <a:pt x="74" y="238"/>
                  </a:lnTo>
                  <a:lnTo>
                    <a:pt x="74" y="237"/>
                  </a:lnTo>
                  <a:lnTo>
                    <a:pt x="74" y="236"/>
                  </a:lnTo>
                  <a:lnTo>
                    <a:pt x="75" y="235"/>
                  </a:lnTo>
                  <a:lnTo>
                    <a:pt x="77" y="235"/>
                  </a:lnTo>
                  <a:lnTo>
                    <a:pt x="79" y="235"/>
                  </a:lnTo>
                  <a:lnTo>
                    <a:pt x="80" y="235"/>
                  </a:lnTo>
                  <a:lnTo>
                    <a:pt x="80" y="236"/>
                  </a:lnTo>
                  <a:lnTo>
                    <a:pt x="79" y="236"/>
                  </a:lnTo>
                  <a:lnTo>
                    <a:pt x="79" y="237"/>
                  </a:lnTo>
                  <a:lnTo>
                    <a:pt x="77" y="236"/>
                  </a:lnTo>
                  <a:lnTo>
                    <a:pt x="77" y="237"/>
                  </a:lnTo>
                  <a:lnTo>
                    <a:pt x="76" y="237"/>
                  </a:lnTo>
                  <a:lnTo>
                    <a:pt x="75" y="238"/>
                  </a:lnTo>
                  <a:lnTo>
                    <a:pt x="76" y="240"/>
                  </a:lnTo>
                  <a:lnTo>
                    <a:pt x="76" y="241"/>
                  </a:lnTo>
                  <a:lnTo>
                    <a:pt x="77" y="241"/>
                  </a:lnTo>
                  <a:lnTo>
                    <a:pt x="79" y="241"/>
                  </a:lnTo>
                  <a:lnTo>
                    <a:pt x="79" y="240"/>
                  </a:lnTo>
                  <a:lnTo>
                    <a:pt x="80" y="238"/>
                  </a:lnTo>
                  <a:lnTo>
                    <a:pt x="80" y="237"/>
                  </a:lnTo>
                  <a:lnTo>
                    <a:pt x="81" y="237"/>
                  </a:lnTo>
                  <a:lnTo>
                    <a:pt x="82" y="236"/>
                  </a:lnTo>
                  <a:lnTo>
                    <a:pt x="83" y="236"/>
                  </a:lnTo>
                  <a:lnTo>
                    <a:pt x="82" y="237"/>
                  </a:lnTo>
                  <a:lnTo>
                    <a:pt x="82" y="238"/>
                  </a:lnTo>
                  <a:lnTo>
                    <a:pt x="83" y="238"/>
                  </a:lnTo>
                  <a:lnTo>
                    <a:pt x="85" y="237"/>
                  </a:lnTo>
                  <a:lnTo>
                    <a:pt x="83" y="238"/>
                  </a:lnTo>
                  <a:lnTo>
                    <a:pt x="83" y="240"/>
                  </a:lnTo>
                  <a:lnTo>
                    <a:pt x="82" y="240"/>
                  </a:lnTo>
                  <a:lnTo>
                    <a:pt x="81" y="241"/>
                  </a:lnTo>
                  <a:lnTo>
                    <a:pt x="80" y="241"/>
                  </a:lnTo>
                  <a:lnTo>
                    <a:pt x="79" y="241"/>
                  </a:lnTo>
                  <a:lnTo>
                    <a:pt x="79" y="242"/>
                  </a:lnTo>
                  <a:lnTo>
                    <a:pt x="79" y="243"/>
                  </a:lnTo>
                  <a:lnTo>
                    <a:pt x="77" y="243"/>
                  </a:lnTo>
                  <a:lnTo>
                    <a:pt x="76" y="243"/>
                  </a:lnTo>
                  <a:lnTo>
                    <a:pt x="75" y="243"/>
                  </a:lnTo>
                  <a:lnTo>
                    <a:pt x="75" y="242"/>
                  </a:lnTo>
                  <a:lnTo>
                    <a:pt x="74" y="242"/>
                  </a:lnTo>
                  <a:lnTo>
                    <a:pt x="73" y="242"/>
                  </a:lnTo>
                  <a:lnTo>
                    <a:pt x="73" y="243"/>
                  </a:lnTo>
                  <a:lnTo>
                    <a:pt x="74" y="243"/>
                  </a:lnTo>
                  <a:lnTo>
                    <a:pt x="74" y="244"/>
                  </a:lnTo>
                  <a:lnTo>
                    <a:pt x="75" y="244"/>
                  </a:lnTo>
                  <a:lnTo>
                    <a:pt x="75" y="246"/>
                  </a:lnTo>
                  <a:lnTo>
                    <a:pt x="75" y="247"/>
                  </a:lnTo>
                  <a:lnTo>
                    <a:pt x="74" y="246"/>
                  </a:lnTo>
                  <a:lnTo>
                    <a:pt x="74" y="244"/>
                  </a:lnTo>
                  <a:lnTo>
                    <a:pt x="71" y="244"/>
                  </a:lnTo>
                  <a:lnTo>
                    <a:pt x="70" y="246"/>
                  </a:lnTo>
                  <a:lnTo>
                    <a:pt x="69" y="246"/>
                  </a:lnTo>
                  <a:lnTo>
                    <a:pt x="69" y="244"/>
                  </a:lnTo>
                  <a:lnTo>
                    <a:pt x="68" y="246"/>
                  </a:lnTo>
                  <a:lnTo>
                    <a:pt x="68" y="244"/>
                  </a:lnTo>
                  <a:lnTo>
                    <a:pt x="67" y="246"/>
                  </a:lnTo>
                  <a:lnTo>
                    <a:pt x="67" y="247"/>
                  </a:lnTo>
                  <a:lnTo>
                    <a:pt x="67" y="248"/>
                  </a:lnTo>
                  <a:lnTo>
                    <a:pt x="65" y="249"/>
                  </a:lnTo>
                  <a:lnTo>
                    <a:pt x="65" y="248"/>
                  </a:lnTo>
                  <a:lnTo>
                    <a:pt x="65" y="247"/>
                  </a:lnTo>
                  <a:lnTo>
                    <a:pt x="64" y="247"/>
                  </a:lnTo>
                  <a:lnTo>
                    <a:pt x="63" y="247"/>
                  </a:lnTo>
                  <a:lnTo>
                    <a:pt x="63" y="246"/>
                  </a:lnTo>
                  <a:lnTo>
                    <a:pt x="62" y="246"/>
                  </a:lnTo>
                  <a:lnTo>
                    <a:pt x="61" y="247"/>
                  </a:lnTo>
                  <a:lnTo>
                    <a:pt x="59" y="247"/>
                  </a:lnTo>
                  <a:lnTo>
                    <a:pt x="58" y="247"/>
                  </a:lnTo>
                  <a:lnTo>
                    <a:pt x="57" y="248"/>
                  </a:lnTo>
                  <a:lnTo>
                    <a:pt x="57" y="247"/>
                  </a:lnTo>
                  <a:lnTo>
                    <a:pt x="56" y="247"/>
                  </a:lnTo>
                  <a:lnTo>
                    <a:pt x="55" y="247"/>
                  </a:lnTo>
                  <a:lnTo>
                    <a:pt x="55" y="248"/>
                  </a:lnTo>
                  <a:lnTo>
                    <a:pt x="53" y="248"/>
                  </a:lnTo>
                  <a:lnTo>
                    <a:pt x="55" y="249"/>
                  </a:lnTo>
                  <a:lnTo>
                    <a:pt x="56" y="249"/>
                  </a:lnTo>
                  <a:lnTo>
                    <a:pt x="56" y="250"/>
                  </a:lnTo>
                  <a:lnTo>
                    <a:pt x="57" y="250"/>
                  </a:lnTo>
                  <a:lnTo>
                    <a:pt x="58" y="252"/>
                  </a:lnTo>
                  <a:lnTo>
                    <a:pt x="57" y="252"/>
                  </a:lnTo>
                  <a:lnTo>
                    <a:pt x="57" y="253"/>
                  </a:lnTo>
                  <a:lnTo>
                    <a:pt x="58" y="253"/>
                  </a:lnTo>
                  <a:lnTo>
                    <a:pt x="59" y="253"/>
                  </a:lnTo>
                  <a:lnTo>
                    <a:pt x="59" y="252"/>
                  </a:lnTo>
                  <a:lnTo>
                    <a:pt x="59" y="250"/>
                  </a:lnTo>
                  <a:lnTo>
                    <a:pt x="61" y="250"/>
                  </a:lnTo>
                  <a:lnTo>
                    <a:pt x="61" y="252"/>
                  </a:lnTo>
                  <a:lnTo>
                    <a:pt x="62" y="252"/>
                  </a:lnTo>
                  <a:lnTo>
                    <a:pt x="63" y="252"/>
                  </a:lnTo>
                  <a:lnTo>
                    <a:pt x="64" y="252"/>
                  </a:lnTo>
                  <a:lnTo>
                    <a:pt x="63" y="253"/>
                  </a:lnTo>
                  <a:lnTo>
                    <a:pt x="62" y="253"/>
                  </a:lnTo>
                  <a:lnTo>
                    <a:pt x="61" y="254"/>
                  </a:lnTo>
                  <a:lnTo>
                    <a:pt x="62" y="254"/>
                  </a:lnTo>
                  <a:lnTo>
                    <a:pt x="63" y="254"/>
                  </a:lnTo>
                  <a:lnTo>
                    <a:pt x="63" y="255"/>
                  </a:lnTo>
                  <a:lnTo>
                    <a:pt x="64" y="254"/>
                  </a:lnTo>
                  <a:lnTo>
                    <a:pt x="65" y="254"/>
                  </a:lnTo>
                  <a:lnTo>
                    <a:pt x="65" y="253"/>
                  </a:lnTo>
                  <a:lnTo>
                    <a:pt x="67" y="253"/>
                  </a:lnTo>
                  <a:lnTo>
                    <a:pt x="68" y="253"/>
                  </a:lnTo>
                  <a:lnTo>
                    <a:pt x="68" y="254"/>
                  </a:lnTo>
                  <a:lnTo>
                    <a:pt x="67" y="254"/>
                  </a:lnTo>
                  <a:lnTo>
                    <a:pt x="65" y="255"/>
                  </a:lnTo>
                  <a:lnTo>
                    <a:pt x="64" y="256"/>
                  </a:lnTo>
                  <a:lnTo>
                    <a:pt x="64" y="258"/>
                  </a:lnTo>
                  <a:lnTo>
                    <a:pt x="65" y="258"/>
                  </a:lnTo>
                  <a:lnTo>
                    <a:pt x="64" y="259"/>
                  </a:lnTo>
                  <a:lnTo>
                    <a:pt x="63" y="259"/>
                  </a:lnTo>
                  <a:lnTo>
                    <a:pt x="63" y="258"/>
                  </a:lnTo>
                  <a:lnTo>
                    <a:pt x="62" y="259"/>
                  </a:lnTo>
                  <a:lnTo>
                    <a:pt x="62" y="260"/>
                  </a:lnTo>
                  <a:lnTo>
                    <a:pt x="63" y="260"/>
                  </a:lnTo>
                  <a:lnTo>
                    <a:pt x="62" y="261"/>
                  </a:lnTo>
                  <a:lnTo>
                    <a:pt x="61" y="261"/>
                  </a:lnTo>
                  <a:lnTo>
                    <a:pt x="61" y="262"/>
                  </a:lnTo>
                  <a:lnTo>
                    <a:pt x="59" y="262"/>
                  </a:lnTo>
                  <a:lnTo>
                    <a:pt x="58" y="262"/>
                  </a:lnTo>
                  <a:lnTo>
                    <a:pt x="58" y="264"/>
                  </a:lnTo>
                  <a:lnTo>
                    <a:pt x="59" y="266"/>
                  </a:lnTo>
                  <a:lnTo>
                    <a:pt x="59" y="267"/>
                  </a:lnTo>
                  <a:lnTo>
                    <a:pt x="58" y="266"/>
                  </a:lnTo>
                  <a:lnTo>
                    <a:pt x="57" y="266"/>
                  </a:lnTo>
                  <a:lnTo>
                    <a:pt x="56" y="266"/>
                  </a:lnTo>
                  <a:lnTo>
                    <a:pt x="55" y="266"/>
                  </a:lnTo>
                  <a:lnTo>
                    <a:pt x="55" y="267"/>
                  </a:lnTo>
                  <a:lnTo>
                    <a:pt x="55" y="268"/>
                  </a:lnTo>
                  <a:lnTo>
                    <a:pt x="56" y="267"/>
                  </a:lnTo>
                  <a:lnTo>
                    <a:pt x="56" y="268"/>
                  </a:lnTo>
                  <a:lnTo>
                    <a:pt x="56" y="270"/>
                  </a:lnTo>
                  <a:lnTo>
                    <a:pt x="57" y="270"/>
                  </a:lnTo>
                  <a:lnTo>
                    <a:pt x="58" y="270"/>
                  </a:lnTo>
                  <a:lnTo>
                    <a:pt x="58" y="268"/>
                  </a:lnTo>
                  <a:lnTo>
                    <a:pt x="59" y="268"/>
                  </a:lnTo>
                  <a:lnTo>
                    <a:pt x="61" y="270"/>
                  </a:lnTo>
                  <a:lnTo>
                    <a:pt x="62" y="268"/>
                  </a:lnTo>
                  <a:lnTo>
                    <a:pt x="63" y="270"/>
                  </a:lnTo>
                  <a:lnTo>
                    <a:pt x="64" y="270"/>
                  </a:lnTo>
                  <a:lnTo>
                    <a:pt x="65" y="271"/>
                  </a:lnTo>
                  <a:lnTo>
                    <a:pt x="67" y="270"/>
                  </a:lnTo>
                  <a:lnTo>
                    <a:pt x="68" y="270"/>
                  </a:lnTo>
                  <a:lnTo>
                    <a:pt x="69" y="270"/>
                  </a:lnTo>
                  <a:lnTo>
                    <a:pt x="69" y="268"/>
                  </a:lnTo>
                  <a:lnTo>
                    <a:pt x="70" y="270"/>
                  </a:lnTo>
                  <a:lnTo>
                    <a:pt x="69" y="271"/>
                  </a:lnTo>
                  <a:lnTo>
                    <a:pt x="69" y="272"/>
                  </a:lnTo>
                  <a:lnTo>
                    <a:pt x="70" y="272"/>
                  </a:lnTo>
                  <a:lnTo>
                    <a:pt x="70" y="273"/>
                  </a:lnTo>
                  <a:lnTo>
                    <a:pt x="69" y="273"/>
                  </a:lnTo>
                  <a:lnTo>
                    <a:pt x="68" y="273"/>
                  </a:lnTo>
                  <a:lnTo>
                    <a:pt x="67" y="273"/>
                  </a:lnTo>
                  <a:lnTo>
                    <a:pt x="67" y="274"/>
                  </a:lnTo>
                  <a:lnTo>
                    <a:pt x="65" y="274"/>
                  </a:lnTo>
                  <a:lnTo>
                    <a:pt x="65" y="276"/>
                  </a:lnTo>
                  <a:lnTo>
                    <a:pt x="67" y="276"/>
                  </a:lnTo>
                  <a:lnTo>
                    <a:pt x="67" y="277"/>
                  </a:lnTo>
                  <a:lnTo>
                    <a:pt x="68" y="277"/>
                  </a:lnTo>
                  <a:lnTo>
                    <a:pt x="69" y="278"/>
                  </a:lnTo>
                  <a:lnTo>
                    <a:pt x="70" y="277"/>
                  </a:lnTo>
                  <a:lnTo>
                    <a:pt x="71" y="277"/>
                  </a:lnTo>
                  <a:lnTo>
                    <a:pt x="73" y="276"/>
                  </a:lnTo>
                  <a:lnTo>
                    <a:pt x="73" y="274"/>
                  </a:lnTo>
                  <a:lnTo>
                    <a:pt x="74" y="274"/>
                  </a:lnTo>
                  <a:lnTo>
                    <a:pt x="74" y="273"/>
                  </a:lnTo>
                  <a:lnTo>
                    <a:pt x="75" y="272"/>
                  </a:lnTo>
                  <a:lnTo>
                    <a:pt x="75" y="271"/>
                  </a:lnTo>
                  <a:lnTo>
                    <a:pt x="76" y="270"/>
                  </a:lnTo>
                  <a:lnTo>
                    <a:pt x="76" y="268"/>
                  </a:lnTo>
                  <a:lnTo>
                    <a:pt x="76" y="267"/>
                  </a:lnTo>
                  <a:lnTo>
                    <a:pt x="77" y="267"/>
                  </a:lnTo>
                  <a:lnTo>
                    <a:pt x="77" y="268"/>
                  </a:lnTo>
                  <a:lnTo>
                    <a:pt x="77" y="270"/>
                  </a:lnTo>
                  <a:lnTo>
                    <a:pt x="77" y="271"/>
                  </a:lnTo>
                  <a:lnTo>
                    <a:pt x="76" y="272"/>
                  </a:lnTo>
                  <a:lnTo>
                    <a:pt x="76" y="273"/>
                  </a:lnTo>
                  <a:lnTo>
                    <a:pt x="77" y="273"/>
                  </a:lnTo>
                  <a:lnTo>
                    <a:pt x="79" y="273"/>
                  </a:lnTo>
                  <a:lnTo>
                    <a:pt x="79" y="274"/>
                  </a:lnTo>
                  <a:lnTo>
                    <a:pt x="80" y="274"/>
                  </a:lnTo>
                  <a:lnTo>
                    <a:pt x="81" y="273"/>
                  </a:lnTo>
                  <a:lnTo>
                    <a:pt x="81" y="272"/>
                  </a:lnTo>
                  <a:lnTo>
                    <a:pt x="80" y="272"/>
                  </a:lnTo>
                  <a:lnTo>
                    <a:pt x="81" y="272"/>
                  </a:lnTo>
                  <a:lnTo>
                    <a:pt x="82" y="272"/>
                  </a:lnTo>
                  <a:lnTo>
                    <a:pt x="83" y="273"/>
                  </a:lnTo>
                  <a:lnTo>
                    <a:pt x="83" y="274"/>
                  </a:lnTo>
                  <a:lnTo>
                    <a:pt x="83" y="276"/>
                  </a:lnTo>
                  <a:lnTo>
                    <a:pt x="85" y="276"/>
                  </a:lnTo>
                  <a:lnTo>
                    <a:pt x="86" y="276"/>
                  </a:lnTo>
                  <a:lnTo>
                    <a:pt x="86" y="274"/>
                  </a:lnTo>
                  <a:lnTo>
                    <a:pt x="87" y="274"/>
                  </a:lnTo>
                  <a:lnTo>
                    <a:pt x="88" y="274"/>
                  </a:lnTo>
                  <a:lnTo>
                    <a:pt x="88" y="273"/>
                  </a:lnTo>
                  <a:lnTo>
                    <a:pt x="89" y="272"/>
                  </a:lnTo>
                  <a:lnTo>
                    <a:pt x="88" y="272"/>
                  </a:lnTo>
                  <a:lnTo>
                    <a:pt x="87" y="273"/>
                  </a:lnTo>
                  <a:lnTo>
                    <a:pt x="87" y="272"/>
                  </a:lnTo>
                  <a:lnTo>
                    <a:pt x="88" y="271"/>
                  </a:lnTo>
                  <a:lnTo>
                    <a:pt x="89" y="271"/>
                  </a:lnTo>
                  <a:lnTo>
                    <a:pt x="91" y="271"/>
                  </a:lnTo>
                  <a:lnTo>
                    <a:pt x="91" y="270"/>
                  </a:lnTo>
                  <a:lnTo>
                    <a:pt x="91" y="268"/>
                  </a:lnTo>
                  <a:lnTo>
                    <a:pt x="89" y="268"/>
                  </a:lnTo>
                  <a:lnTo>
                    <a:pt x="91" y="267"/>
                  </a:lnTo>
                  <a:lnTo>
                    <a:pt x="91" y="266"/>
                  </a:lnTo>
                  <a:lnTo>
                    <a:pt x="91" y="265"/>
                  </a:lnTo>
                  <a:lnTo>
                    <a:pt x="92" y="265"/>
                  </a:lnTo>
                  <a:lnTo>
                    <a:pt x="92" y="264"/>
                  </a:lnTo>
                  <a:lnTo>
                    <a:pt x="93" y="264"/>
                  </a:lnTo>
                  <a:lnTo>
                    <a:pt x="93" y="262"/>
                  </a:lnTo>
                  <a:lnTo>
                    <a:pt x="92" y="262"/>
                  </a:lnTo>
                  <a:lnTo>
                    <a:pt x="92" y="261"/>
                  </a:lnTo>
                  <a:lnTo>
                    <a:pt x="92" y="260"/>
                  </a:lnTo>
                  <a:lnTo>
                    <a:pt x="93" y="261"/>
                  </a:lnTo>
                  <a:lnTo>
                    <a:pt x="94" y="261"/>
                  </a:lnTo>
                  <a:lnTo>
                    <a:pt x="94" y="262"/>
                  </a:lnTo>
                  <a:lnTo>
                    <a:pt x="94" y="264"/>
                  </a:lnTo>
                  <a:lnTo>
                    <a:pt x="94" y="265"/>
                  </a:lnTo>
                  <a:lnTo>
                    <a:pt x="96" y="265"/>
                  </a:lnTo>
                  <a:lnTo>
                    <a:pt x="96" y="266"/>
                  </a:lnTo>
                  <a:lnTo>
                    <a:pt x="98" y="266"/>
                  </a:lnTo>
                  <a:lnTo>
                    <a:pt x="99" y="266"/>
                  </a:lnTo>
                  <a:lnTo>
                    <a:pt x="99" y="265"/>
                  </a:lnTo>
                  <a:lnTo>
                    <a:pt x="99" y="264"/>
                  </a:lnTo>
                  <a:lnTo>
                    <a:pt x="98" y="262"/>
                  </a:lnTo>
                  <a:lnTo>
                    <a:pt x="97" y="262"/>
                  </a:lnTo>
                  <a:lnTo>
                    <a:pt x="96" y="261"/>
                  </a:lnTo>
                  <a:lnTo>
                    <a:pt x="94" y="260"/>
                  </a:lnTo>
                  <a:lnTo>
                    <a:pt x="94" y="259"/>
                  </a:lnTo>
                  <a:lnTo>
                    <a:pt x="96" y="259"/>
                  </a:lnTo>
                  <a:lnTo>
                    <a:pt x="96" y="258"/>
                  </a:lnTo>
                  <a:lnTo>
                    <a:pt x="97" y="258"/>
                  </a:lnTo>
                  <a:lnTo>
                    <a:pt x="98" y="256"/>
                  </a:lnTo>
                  <a:lnTo>
                    <a:pt x="99" y="256"/>
                  </a:lnTo>
                  <a:lnTo>
                    <a:pt x="99" y="255"/>
                  </a:lnTo>
                  <a:lnTo>
                    <a:pt x="98" y="256"/>
                  </a:lnTo>
                  <a:lnTo>
                    <a:pt x="97" y="256"/>
                  </a:lnTo>
                  <a:lnTo>
                    <a:pt x="97" y="255"/>
                  </a:lnTo>
                  <a:lnTo>
                    <a:pt x="98" y="255"/>
                  </a:lnTo>
                  <a:lnTo>
                    <a:pt x="99" y="255"/>
                  </a:lnTo>
                  <a:lnTo>
                    <a:pt x="100" y="255"/>
                  </a:lnTo>
                  <a:lnTo>
                    <a:pt x="102" y="255"/>
                  </a:lnTo>
                  <a:lnTo>
                    <a:pt x="103" y="255"/>
                  </a:lnTo>
                  <a:lnTo>
                    <a:pt x="103" y="254"/>
                  </a:lnTo>
                  <a:lnTo>
                    <a:pt x="102" y="254"/>
                  </a:lnTo>
                  <a:lnTo>
                    <a:pt x="100" y="254"/>
                  </a:lnTo>
                  <a:lnTo>
                    <a:pt x="102" y="253"/>
                  </a:lnTo>
                  <a:lnTo>
                    <a:pt x="103" y="254"/>
                  </a:lnTo>
                  <a:lnTo>
                    <a:pt x="104" y="255"/>
                  </a:lnTo>
                  <a:lnTo>
                    <a:pt x="105" y="255"/>
                  </a:lnTo>
                  <a:lnTo>
                    <a:pt x="106" y="254"/>
                  </a:lnTo>
                  <a:lnTo>
                    <a:pt x="106" y="253"/>
                  </a:lnTo>
                  <a:lnTo>
                    <a:pt x="105" y="253"/>
                  </a:lnTo>
                  <a:lnTo>
                    <a:pt x="105" y="252"/>
                  </a:lnTo>
                  <a:lnTo>
                    <a:pt x="104" y="252"/>
                  </a:lnTo>
                  <a:lnTo>
                    <a:pt x="103" y="252"/>
                  </a:lnTo>
                  <a:lnTo>
                    <a:pt x="102" y="252"/>
                  </a:lnTo>
                  <a:lnTo>
                    <a:pt x="100" y="252"/>
                  </a:lnTo>
                  <a:lnTo>
                    <a:pt x="99" y="250"/>
                  </a:lnTo>
                  <a:lnTo>
                    <a:pt x="99" y="249"/>
                  </a:lnTo>
                  <a:lnTo>
                    <a:pt x="99" y="250"/>
                  </a:lnTo>
                  <a:lnTo>
                    <a:pt x="102" y="250"/>
                  </a:lnTo>
                  <a:lnTo>
                    <a:pt x="103" y="250"/>
                  </a:lnTo>
                  <a:lnTo>
                    <a:pt x="104" y="249"/>
                  </a:lnTo>
                  <a:lnTo>
                    <a:pt x="104" y="248"/>
                  </a:lnTo>
                  <a:lnTo>
                    <a:pt x="104" y="247"/>
                  </a:lnTo>
                  <a:lnTo>
                    <a:pt x="103" y="247"/>
                  </a:lnTo>
                  <a:lnTo>
                    <a:pt x="103" y="248"/>
                  </a:lnTo>
                  <a:lnTo>
                    <a:pt x="102" y="247"/>
                  </a:lnTo>
                  <a:lnTo>
                    <a:pt x="102" y="248"/>
                  </a:lnTo>
                  <a:lnTo>
                    <a:pt x="100" y="248"/>
                  </a:lnTo>
                  <a:lnTo>
                    <a:pt x="99" y="248"/>
                  </a:lnTo>
                  <a:lnTo>
                    <a:pt x="98" y="249"/>
                  </a:lnTo>
                  <a:lnTo>
                    <a:pt x="98" y="250"/>
                  </a:lnTo>
                  <a:lnTo>
                    <a:pt x="97" y="250"/>
                  </a:lnTo>
                  <a:lnTo>
                    <a:pt x="98" y="249"/>
                  </a:lnTo>
                  <a:lnTo>
                    <a:pt x="98" y="248"/>
                  </a:lnTo>
                  <a:lnTo>
                    <a:pt x="99" y="247"/>
                  </a:lnTo>
                  <a:lnTo>
                    <a:pt x="100" y="247"/>
                  </a:lnTo>
                  <a:lnTo>
                    <a:pt x="99" y="246"/>
                  </a:lnTo>
                  <a:lnTo>
                    <a:pt x="98" y="247"/>
                  </a:lnTo>
                  <a:lnTo>
                    <a:pt x="98" y="246"/>
                  </a:lnTo>
                  <a:lnTo>
                    <a:pt x="97" y="244"/>
                  </a:lnTo>
                  <a:lnTo>
                    <a:pt x="97" y="246"/>
                  </a:lnTo>
                  <a:lnTo>
                    <a:pt x="97" y="247"/>
                  </a:lnTo>
                  <a:lnTo>
                    <a:pt x="96" y="247"/>
                  </a:lnTo>
                  <a:lnTo>
                    <a:pt x="96" y="246"/>
                  </a:lnTo>
                  <a:lnTo>
                    <a:pt x="96" y="244"/>
                  </a:lnTo>
                  <a:lnTo>
                    <a:pt x="94" y="244"/>
                  </a:lnTo>
                  <a:lnTo>
                    <a:pt x="94" y="243"/>
                  </a:lnTo>
                  <a:lnTo>
                    <a:pt x="93" y="242"/>
                  </a:lnTo>
                  <a:lnTo>
                    <a:pt x="93" y="241"/>
                  </a:lnTo>
                  <a:lnTo>
                    <a:pt x="94" y="240"/>
                  </a:lnTo>
                  <a:lnTo>
                    <a:pt x="96" y="241"/>
                  </a:lnTo>
                  <a:lnTo>
                    <a:pt x="97" y="241"/>
                  </a:lnTo>
                  <a:lnTo>
                    <a:pt x="97" y="242"/>
                  </a:lnTo>
                  <a:lnTo>
                    <a:pt x="98" y="242"/>
                  </a:lnTo>
                  <a:lnTo>
                    <a:pt x="99" y="242"/>
                  </a:lnTo>
                  <a:lnTo>
                    <a:pt x="99" y="241"/>
                  </a:lnTo>
                  <a:lnTo>
                    <a:pt x="99" y="240"/>
                  </a:lnTo>
                  <a:lnTo>
                    <a:pt x="100" y="240"/>
                  </a:lnTo>
                  <a:lnTo>
                    <a:pt x="99" y="240"/>
                  </a:lnTo>
                  <a:lnTo>
                    <a:pt x="98" y="240"/>
                  </a:lnTo>
                  <a:lnTo>
                    <a:pt x="97" y="240"/>
                  </a:lnTo>
                  <a:lnTo>
                    <a:pt x="96" y="240"/>
                  </a:lnTo>
                  <a:lnTo>
                    <a:pt x="94" y="238"/>
                  </a:lnTo>
                  <a:lnTo>
                    <a:pt x="93" y="237"/>
                  </a:lnTo>
                  <a:lnTo>
                    <a:pt x="93" y="236"/>
                  </a:lnTo>
                  <a:lnTo>
                    <a:pt x="93" y="235"/>
                  </a:lnTo>
                  <a:lnTo>
                    <a:pt x="92" y="235"/>
                  </a:lnTo>
                  <a:lnTo>
                    <a:pt x="91" y="234"/>
                  </a:lnTo>
                  <a:lnTo>
                    <a:pt x="91" y="232"/>
                  </a:lnTo>
                  <a:lnTo>
                    <a:pt x="91" y="231"/>
                  </a:lnTo>
                  <a:lnTo>
                    <a:pt x="91" y="230"/>
                  </a:lnTo>
                  <a:lnTo>
                    <a:pt x="91" y="229"/>
                  </a:lnTo>
                  <a:lnTo>
                    <a:pt x="92" y="228"/>
                  </a:lnTo>
                  <a:lnTo>
                    <a:pt x="92" y="226"/>
                  </a:lnTo>
                  <a:lnTo>
                    <a:pt x="93" y="225"/>
                  </a:lnTo>
                  <a:lnTo>
                    <a:pt x="94" y="226"/>
                  </a:lnTo>
                  <a:lnTo>
                    <a:pt x="96" y="228"/>
                  </a:lnTo>
                  <a:lnTo>
                    <a:pt x="94" y="229"/>
                  </a:lnTo>
                  <a:lnTo>
                    <a:pt x="94" y="228"/>
                  </a:lnTo>
                  <a:lnTo>
                    <a:pt x="93" y="228"/>
                  </a:lnTo>
                  <a:lnTo>
                    <a:pt x="93" y="229"/>
                  </a:lnTo>
                  <a:lnTo>
                    <a:pt x="92" y="229"/>
                  </a:lnTo>
                  <a:lnTo>
                    <a:pt x="93" y="229"/>
                  </a:lnTo>
                  <a:lnTo>
                    <a:pt x="93" y="230"/>
                  </a:lnTo>
                  <a:lnTo>
                    <a:pt x="93" y="231"/>
                  </a:lnTo>
                  <a:lnTo>
                    <a:pt x="94" y="231"/>
                  </a:lnTo>
                  <a:lnTo>
                    <a:pt x="94" y="230"/>
                  </a:lnTo>
                  <a:lnTo>
                    <a:pt x="96" y="229"/>
                  </a:lnTo>
                  <a:lnTo>
                    <a:pt x="97" y="229"/>
                  </a:lnTo>
                  <a:lnTo>
                    <a:pt x="98" y="229"/>
                  </a:lnTo>
                  <a:lnTo>
                    <a:pt x="99" y="229"/>
                  </a:lnTo>
                  <a:lnTo>
                    <a:pt x="100" y="229"/>
                  </a:lnTo>
                  <a:lnTo>
                    <a:pt x="100" y="230"/>
                  </a:lnTo>
                  <a:lnTo>
                    <a:pt x="100" y="231"/>
                  </a:lnTo>
                  <a:lnTo>
                    <a:pt x="99" y="231"/>
                  </a:lnTo>
                  <a:lnTo>
                    <a:pt x="98" y="231"/>
                  </a:lnTo>
                  <a:lnTo>
                    <a:pt x="97" y="231"/>
                  </a:lnTo>
                  <a:lnTo>
                    <a:pt x="97" y="232"/>
                  </a:lnTo>
                  <a:lnTo>
                    <a:pt x="98" y="234"/>
                  </a:lnTo>
                  <a:lnTo>
                    <a:pt x="99" y="235"/>
                  </a:lnTo>
                  <a:lnTo>
                    <a:pt x="100" y="235"/>
                  </a:lnTo>
                  <a:lnTo>
                    <a:pt x="102" y="235"/>
                  </a:lnTo>
                  <a:lnTo>
                    <a:pt x="100" y="234"/>
                  </a:lnTo>
                  <a:lnTo>
                    <a:pt x="102" y="234"/>
                  </a:lnTo>
                  <a:lnTo>
                    <a:pt x="102" y="232"/>
                  </a:lnTo>
                  <a:lnTo>
                    <a:pt x="102" y="231"/>
                  </a:lnTo>
                  <a:lnTo>
                    <a:pt x="103" y="230"/>
                  </a:lnTo>
                  <a:lnTo>
                    <a:pt x="104" y="231"/>
                  </a:lnTo>
                  <a:lnTo>
                    <a:pt x="105" y="231"/>
                  </a:lnTo>
                  <a:lnTo>
                    <a:pt x="106" y="231"/>
                  </a:lnTo>
                  <a:lnTo>
                    <a:pt x="108" y="231"/>
                  </a:lnTo>
                  <a:lnTo>
                    <a:pt x="108" y="230"/>
                  </a:lnTo>
                  <a:lnTo>
                    <a:pt x="108" y="229"/>
                  </a:lnTo>
                  <a:lnTo>
                    <a:pt x="106" y="229"/>
                  </a:lnTo>
                  <a:lnTo>
                    <a:pt x="105" y="229"/>
                  </a:lnTo>
                  <a:lnTo>
                    <a:pt x="106" y="229"/>
                  </a:lnTo>
                  <a:lnTo>
                    <a:pt x="108" y="229"/>
                  </a:lnTo>
                  <a:lnTo>
                    <a:pt x="109" y="229"/>
                  </a:lnTo>
                  <a:lnTo>
                    <a:pt x="110" y="228"/>
                  </a:lnTo>
                  <a:lnTo>
                    <a:pt x="111" y="229"/>
                  </a:lnTo>
                  <a:lnTo>
                    <a:pt x="112" y="228"/>
                  </a:lnTo>
                  <a:lnTo>
                    <a:pt x="111" y="228"/>
                  </a:lnTo>
                  <a:lnTo>
                    <a:pt x="111" y="226"/>
                  </a:lnTo>
                  <a:lnTo>
                    <a:pt x="112" y="226"/>
                  </a:lnTo>
                  <a:lnTo>
                    <a:pt x="114" y="226"/>
                  </a:lnTo>
                  <a:lnTo>
                    <a:pt x="114" y="228"/>
                  </a:lnTo>
                  <a:lnTo>
                    <a:pt x="112" y="229"/>
                  </a:lnTo>
                  <a:lnTo>
                    <a:pt x="114" y="229"/>
                  </a:lnTo>
                  <a:lnTo>
                    <a:pt x="115" y="228"/>
                  </a:lnTo>
                  <a:lnTo>
                    <a:pt x="115" y="226"/>
                  </a:lnTo>
                  <a:lnTo>
                    <a:pt x="115" y="225"/>
                  </a:lnTo>
                  <a:lnTo>
                    <a:pt x="115" y="226"/>
                  </a:lnTo>
                  <a:lnTo>
                    <a:pt x="116" y="226"/>
                  </a:lnTo>
                  <a:lnTo>
                    <a:pt x="115" y="228"/>
                  </a:lnTo>
                  <a:lnTo>
                    <a:pt x="115" y="229"/>
                  </a:lnTo>
                  <a:lnTo>
                    <a:pt x="114" y="229"/>
                  </a:lnTo>
                  <a:lnTo>
                    <a:pt x="114" y="230"/>
                  </a:lnTo>
                  <a:lnTo>
                    <a:pt x="112" y="231"/>
                  </a:lnTo>
                  <a:lnTo>
                    <a:pt x="114" y="231"/>
                  </a:lnTo>
                  <a:lnTo>
                    <a:pt x="115" y="230"/>
                  </a:lnTo>
                  <a:lnTo>
                    <a:pt x="115" y="231"/>
                  </a:lnTo>
                  <a:lnTo>
                    <a:pt x="114" y="232"/>
                  </a:lnTo>
                  <a:lnTo>
                    <a:pt x="115" y="232"/>
                  </a:lnTo>
                  <a:lnTo>
                    <a:pt x="115" y="234"/>
                  </a:lnTo>
                  <a:lnTo>
                    <a:pt x="114" y="238"/>
                  </a:lnTo>
                  <a:lnTo>
                    <a:pt x="114" y="240"/>
                  </a:lnTo>
                  <a:lnTo>
                    <a:pt x="114" y="241"/>
                  </a:lnTo>
                  <a:lnTo>
                    <a:pt x="114" y="242"/>
                  </a:lnTo>
                  <a:lnTo>
                    <a:pt x="114" y="243"/>
                  </a:lnTo>
                  <a:lnTo>
                    <a:pt x="115" y="244"/>
                  </a:lnTo>
                  <a:lnTo>
                    <a:pt x="114" y="244"/>
                  </a:lnTo>
                  <a:lnTo>
                    <a:pt x="115" y="246"/>
                  </a:lnTo>
                  <a:lnTo>
                    <a:pt x="116" y="246"/>
                  </a:lnTo>
                  <a:lnTo>
                    <a:pt x="116" y="247"/>
                  </a:lnTo>
                  <a:lnTo>
                    <a:pt x="116" y="248"/>
                  </a:lnTo>
                  <a:lnTo>
                    <a:pt x="117" y="248"/>
                  </a:lnTo>
                  <a:lnTo>
                    <a:pt x="117" y="250"/>
                  </a:lnTo>
                  <a:lnTo>
                    <a:pt x="117" y="252"/>
                  </a:lnTo>
                  <a:lnTo>
                    <a:pt x="117" y="254"/>
                  </a:lnTo>
                  <a:lnTo>
                    <a:pt x="117" y="255"/>
                  </a:lnTo>
                  <a:lnTo>
                    <a:pt x="116" y="258"/>
                  </a:lnTo>
                  <a:lnTo>
                    <a:pt x="116" y="259"/>
                  </a:lnTo>
                  <a:lnTo>
                    <a:pt x="116" y="260"/>
                  </a:lnTo>
                  <a:lnTo>
                    <a:pt x="117" y="260"/>
                  </a:lnTo>
                  <a:lnTo>
                    <a:pt x="117" y="259"/>
                  </a:lnTo>
                  <a:lnTo>
                    <a:pt x="117" y="258"/>
                  </a:lnTo>
                  <a:lnTo>
                    <a:pt x="117" y="256"/>
                  </a:lnTo>
                  <a:lnTo>
                    <a:pt x="118" y="255"/>
                  </a:lnTo>
                  <a:lnTo>
                    <a:pt x="120" y="256"/>
                  </a:lnTo>
                  <a:lnTo>
                    <a:pt x="120" y="258"/>
                  </a:lnTo>
                  <a:lnTo>
                    <a:pt x="121" y="259"/>
                  </a:lnTo>
                  <a:lnTo>
                    <a:pt x="121" y="260"/>
                  </a:lnTo>
                  <a:lnTo>
                    <a:pt x="121" y="261"/>
                  </a:lnTo>
                  <a:lnTo>
                    <a:pt x="122" y="262"/>
                  </a:lnTo>
                  <a:lnTo>
                    <a:pt x="122" y="264"/>
                  </a:lnTo>
                  <a:lnTo>
                    <a:pt x="123" y="265"/>
                  </a:lnTo>
                  <a:lnTo>
                    <a:pt x="124" y="266"/>
                  </a:lnTo>
                  <a:lnTo>
                    <a:pt x="124" y="267"/>
                  </a:lnTo>
                  <a:lnTo>
                    <a:pt x="126" y="268"/>
                  </a:lnTo>
                  <a:lnTo>
                    <a:pt x="126" y="267"/>
                  </a:lnTo>
                  <a:lnTo>
                    <a:pt x="126" y="266"/>
                  </a:lnTo>
                  <a:lnTo>
                    <a:pt x="123" y="262"/>
                  </a:lnTo>
                  <a:lnTo>
                    <a:pt x="122" y="260"/>
                  </a:lnTo>
                  <a:lnTo>
                    <a:pt x="122" y="259"/>
                  </a:lnTo>
                  <a:lnTo>
                    <a:pt x="121" y="258"/>
                  </a:lnTo>
                  <a:lnTo>
                    <a:pt x="120" y="256"/>
                  </a:lnTo>
                  <a:lnTo>
                    <a:pt x="120" y="255"/>
                  </a:lnTo>
                  <a:lnTo>
                    <a:pt x="118" y="253"/>
                  </a:lnTo>
                  <a:lnTo>
                    <a:pt x="118" y="252"/>
                  </a:lnTo>
                  <a:lnTo>
                    <a:pt x="118" y="248"/>
                  </a:lnTo>
                  <a:lnTo>
                    <a:pt x="117" y="246"/>
                  </a:lnTo>
                  <a:lnTo>
                    <a:pt x="116" y="243"/>
                  </a:lnTo>
                  <a:lnTo>
                    <a:pt x="115" y="242"/>
                  </a:lnTo>
                  <a:lnTo>
                    <a:pt x="115" y="240"/>
                  </a:lnTo>
                  <a:lnTo>
                    <a:pt x="115" y="238"/>
                  </a:lnTo>
                  <a:lnTo>
                    <a:pt x="116" y="235"/>
                  </a:lnTo>
                  <a:lnTo>
                    <a:pt x="117" y="232"/>
                  </a:lnTo>
                  <a:lnTo>
                    <a:pt x="117" y="230"/>
                  </a:lnTo>
                  <a:lnTo>
                    <a:pt x="117" y="226"/>
                  </a:lnTo>
                  <a:lnTo>
                    <a:pt x="117" y="225"/>
                  </a:lnTo>
                  <a:lnTo>
                    <a:pt x="117" y="224"/>
                  </a:lnTo>
                  <a:lnTo>
                    <a:pt x="118" y="220"/>
                  </a:lnTo>
                  <a:lnTo>
                    <a:pt x="118" y="219"/>
                  </a:lnTo>
                  <a:lnTo>
                    <a:pt x="120" y="219"/>
                  </a:lnTo>
                  <a:lnTo>
                    <a:pt x="120" y="220"/>
                  </a:lnTo>
                  <a:lnTo>
                    <a:pt x="120" y="222"/>
                  </a:lnTo>
                  <a:lnTo>
                    <a:pt x="120" y="223"/>
                  </a:lnTo>
                  <a:lnTo>
                    <a:pt x="118" y="224"/>
                  </a:lnTo>
                  <a:lnTo>
                    <a:pt x="118" y="225"/>
                  </a:lnTo>
                  <a:lnTo>
                    <a:pt x="117" y="226"/>
                  </a:lnTo>
                  <a:lnTo>
                    <a:pt x="117" y="228"/>
                  </a:lnTo>
                  <a:lnTo>
                    <a:pt x="117" y="230"/>
                  </a:lnTo>
                  <a:lnTo>
                    <a:pt x="117" y="231"/>
                  </a:lnTo>
                  <a:lnTo>
                    <a:pt x="117" y="232"/>
                  </a:lnTo>
                  <a:lnTo>
                    <a:pt x="117" y="234"/>
                  </a:lnTo>
                  <a:lnTo>
                    <a:pt x="117" y="236"/>
                  </a:lnTo>
                  <a:lnTo>
                    <a:pt x="117" y="237"/>
                  </a:lnTo>
                  <a:lnTo>
                    <a:pt x="116" y="238"/>
                  </a:lnTo>
                  <a:lnTo>
                    <a:pt x="116" y="240"/>
                  </a:lnTo>
                  <a:lnTo>
                    <a:pt x="116" y="241"/>
                  </a:lnTo>
                  <a:lnTo>
                    <a:pt x="117" y="242"/>
                  </a:lnTo>
                  <a:lnTo>
                    <a:pt x="116" y="243"/>
                  </a:lnTo>
                  <a:lnTo>
                    <a:pt x="117" y="243"/>
                  </a:lnTo>
                  <a:lnTo>
                    <a:pt x="118" y="243"/>
                  </a:lnTo>
                  <a:lnTo>
                    <a:pt x="120" y="243"/>
                  </a:lnTo>
                  <a:lnTo>
                    <a:pt x="118" y="243"/>
                  </a:lnTo>
                  <a:lnTo>
                    <a:pt x="118" y="242"/>
                  </a:lnTo>
                  <a:lnTo>
                    <a:pt x="120" y="242"/>
                  </a:lnTo>
                  <a:lnTo>
                    <a:pt x="118" y="241"/>
                  </a:lnTo>
                  <a:lnTo>
                    <a:pt x="120" y="241"/>
                  </a:lnTo>
                  <a:lnTo>
                    <a:pt x="121" y="241"/>
                  </a:lnTo>
                  <a:lnTo>
                    <a:pt x="120" y="241"/>
                  </a:lnTo>
                  <a:lnTo>
                    <a:pt x="118" y="240"/>
                  </a:lnTo>
                  <a:lnTo>
                    <a:pt x="120" y="240"/>
                  </a:lnTo>
                  <a:lnTo>
                    <a:pt x="120" y="238"/>
                  </a:lnTo>
                  <a:lnTo>
                    <a:pt x="118" y="238"/>
                  </a:lnTo>
                  <a:lnTo>
                    <a:pt x="118" y="237"/>
                  </a:lnTo>
                  <a:lnTo>
                    <a:pt x="118" y="236"/>
                  </a:lnTo>
                  <a:lnTo>
                    <a:pt x="118" y="235"/>
                  </a:lnTo>
                  <a:lnTo>
                    <a:pt x="118" y="234"/>
                  </a:lnTo>
                  <a:lnTo>
                    <a:pt x="118" y="231"/>
                  </a:lnTo>
                  <a:lnTo>
                    <a:pt x="118" y="230"/>
                  </a:lnTo>
                  <a:lnTo>
                    <a:pt x="118" y="228"/>
                  </a:lnTo>
                  <a:lnTo>
                    <a:pt x="118" y="225"/>
                  </a:lnTo>
                  <a:lnTo>
                    <a:pt x="120" y="225"/>
                  </a:lnTo>
                  <a:lnTo>
                    <a:pt x="120" y="224"/>
                  </a:lnTo>
                  <a:lnTo>
                    <a:pt x="121" y="225"/>
                  </a:lnTo>
                  <a:lnTo>
                    <a:pt x="121" y="226"/>
                  </a:lnTo>
                  <a:lnTo>
                    <a:pt x="121" y="228"/>
                  </a:lnTo>
                  <a:lnTo>
                    <a:pt x="121" y="229"/>
                  </a:lnTo>
                  <a:lnTo>
                    <a:pt x="121" y="228"/>
                  </a:lnTo>
                  <a:lnTo>
                    <a:pt x="121" y="226"/>
                  </a:lnTo>
                  <a:lnTo>
                    <a:pt x="121" y="229"/>
                  </a:lnTo>
                  <a:lnTo>
                    <a:pt x="121" y="230"/>
                  </a:lnTo>
                  <a:lnTo>
                    <a:pt x="121" y="231"/>
                  </a:lnTo>
                  <a:lnTo>
                    <a:pt x="121" y="232"/>
                  </a:lnTo>
                  <a:lnTo>
                    <a:pt x="120" y="232"/>
                  </a:lnTo>
                  <a:lnTo>
                    <a:pt x="121" y="234"/>
                  </a:lnTo>
                  <a:lnTo>
                    <a:pt x="122" y="232"/>
                  </a:lnTo>
                  <a:lnTo>
                    <a:pt x="122" y="231"/>
                  </a:lnTo>
                  <a:lnTo>
                    <a:pt x="123" y="231"/>
                  </a:lnTo>
                  <a:lnTo>
                    <a:pt x="123" y="232"/>
                  </a:lnTo>
                  <a:lnTo>
                    <a:pt x="123" y="234"/>
                  </a:lnTo>
                  <a:lnTo>
                    <a:pt x="123" y="235"/>
                  </a:lnTo>
                  <a:lnTo>
                    <a:pt x="123" y="234"/>
                  </a:lnTo>
                  <a:lnTo>
                    <a:pt x="124" y="232"/>
                  </a:lnTo>
                  <a:lnTo>
                    <a:pt x="124" y="231"/>
                  </a:lnTo>
                  <a:lnTo>
                    <a:pt x="123" y="231"/>
                  </a:lnTo>
                  <a:lnTo>
                    <a:pt x="122" y="230"/>
                  </a:lnTo>
                  <a:lnTo>
                    <a:pt x="122" y="229"/>
                  </a:lnTo>
                  <a:lnTo>
                    <a:pt x="122" y="228"/>
                  </a:lnTo>
                  <a:lnTo>
                    <a:pt x="122" y="226"/>
                  </a:lnTo>
                  <a:lnTo>
                    <a:pt x="122" y="225"/>
                  </a:lnTo>
                  <a:lnTo>
                    <a:pt x="122" y="224"/>
                  </a:lnTo>
                  <a:lnTo>
                    <a:pt x="121" y="224"/>
                  </a:lnTo>
                  <a:lnTo>
                    <a:pt x="121" y="223"/>
                  </a:lnTo>
                  <a:lnTo>
                    <a:pt x="121" y="222"/>
                  </a:lnTo>
                  <a:lnTo>
                    <a:pt x="121" y="220"/>
                  </a:lnTo>
                  <a:lnTo>
                    <a:pt x="122" y="222"/>
                  </a:lnTo>
                  <a:lnTo>
                    <a:pt x="122" y="223"/>
                  </a:lnTo>
                  <a:lnTo>
                    <a:pt x="122" y="224"/>
                  </a:lnTo>
                  <a:lnTo>
                    <a:pt x="123" y="224"/>
                  </a:lnTo>
                  <a:lnTo>
                    <a:pt x="124" y="224"/>
                  </a:lnTo>
                  <a:lnTo>
                    <a:pt x="124" y="223"/>
                  </a:lnTo>
                  <a:lnTo>
                    <a:pt x="123" y="222"/>
                  </a:lnTo>
                  <a:lnTo>
                    <a:pt x="124" y="222"/>
                  </a:lnTo>
                  <a:lnTo>
                    <a:pt x="124" y="223"/>
                  </a:lnTo>
                  <a:lnTo>
                    <a:pt x="126" y="224"/>
                  </a:lnTo>
                  <a:lnTo>
                    <a:pt x="124" y="224"/>
                  </a:lnTo>
                  <a:lnTo>
                    <a:pt x="123" y="224"/>
                  </a:lnTo>
                  <a:lnTo>
                    <a:pt x="123" y="225"/>
                  </a:lnTo>
                  <a:lnTo>
                    <a:pt x="124" y="226"/>
                  </a:lnTo>
                  <a:lnTo>
                    <a:pt x="126" y="226"/>
                  </a:lnTo>
                  <a:lnTo>
                    <a:pt x="127" y="225"/>
                  </a:lnTo>
                  <a:lnTo>
                    <a:pt x="129" y="225"/>
                  </a:lnTo>
                  <a:lnTo>
                    <a:pt x="129" y="224"/>
                  </a:lnTo>
                  <a:lnTo>
                    <a:pt x="130" y="224"/>
                  </a:lnTo>
                  <a:lnTo>
                    <a:pt x="130" y="225"/>
                  </a:lnTo>
                  <a:lnTo>
                    <a:pt x="132" y="225"/>
                  </a:lnTo>
                  <a:lnTo>
                    <a:pt x="130" y="225"/>
                  </a:lnTo>
                  <a:lnTo>
                    <a:pt x="130" y="226"/>
                  </a:lnTo>
                  <a:lnTo>
                    <a:pt x="129" y="226"/>
                  </a:lnTo>
                  <a:lnTo>
                    <a:pt x="128" y="226"/>
                  </a:lnTo>
                  <a:lnTo>
                    <a:pt x="129" y="226"/>
                  </a:lnTo>
                  <a:lnTo>
                    <a:pt x="129" y="228"/>
                  </a:lnTo>
                  <a:lnTo>
                    <a:pt x="129" y="229"/>
                  </a:lnTo>
                  <a:lnTo>
                    <a:pt x="128" y="229"/>
                  </a:lnTo>
                  <a:lnTo>
                    <a:pt x="128" y="230"/>
                  </a:lnTo>
                  <a:lnTo>
                    <a:pt x="128" y="229"/>
                  </a:lnTo>
                  <a:lnTo>
                    <a:pt x="127" y="229"/>
                  </a:lnTo>
                  <a:lnTo>
                    <a:pt x="126" y="230"/>
                  </a:lnTo>
                  <a:lnTo>
                    <a:pt x="126" y="231"/>
                  </a:lnTo>
                  <a:lnTo>
                    <a:pt x="127" y="231"/>
                  </a:lnTo>
                  <a:lnTo>
                    <a:pt x="128" y="232"/>
                  </a:lnTo>
                  <a:lnTo>
                    <a:pt x="128" y="234"/>
                  </a:lnTo>
                  <a:lnTo>
                    <a:pt x="127" y="234"/>
                  </a:lnTo>
                  <a:lnTo>
                    <a:pt x="126" y="234"/>
                  </a:lnTo>
                  <a:lnTo>
                    <a:pt x="124" y="234"/>
                  </a:lnTo>
                  <a:lnTo>
                    <a:pt x="124" y="235"/>
                  </a:lnTo>
                  <a:lnTo>
                    <a:pt x="123" y="235"/>
                  </a:lnTo>
                  <a:lnTo>
                    <a:pt x="122" y="235"/>
                  </a:lnTo>
                  <a:lnTo>
                    <a:pt x="122" y="236"/>
                  </a:lnTo>
                  <a:lnTo>
                    <a:pt x="122" y="237"/>
                  </a:lnTo>
                  <a:lnTo>
                    <a:pt x="123" y="237"/>
                  </a:lnTo>
                  <a:lnTo>
                    <a:pt x="124" y="237"/>
                  </a:lnTo>
                  <a:lnTo>
                    <a:pt x="123" y="237"/>
                  </a:lnTo>
                  <a:lnTo>
                    <a:pt x="123" y="238"/>
                  </a:lnTo>
                  <a:lnTo>
                    <a:pt x="123" y="240"/>
                  </a:lnTo>
                  <a:lnTo>
                    <a:pt x="124" y="240"/>
                  </a:lnTo>
                  <a:lnTo>
                    <a:pt x="126" y="240"/>
                  </a:lnTo>
                  <a:lnTo>
                    <a:pt x="126" y="238"/>
                  </a:lnTo>
                  <a:lnTo>
                    <a:pt x="126" y="237"/>
                  </a:lnTo>
                  <a:lnTo>
                    <a:pt x="127" y="237"/>
                  </a:lnTo>
                  <a:lnTo>
                    <a:pt x="128" y="236"/>
                  </a:lnTo>
                  <a:lnTo>
                    <a:pt x="129" y="236"/>
                  </a:lnTo>
                  <a:lnTo>
                    <a:pt x="129" y="235"/>
                  </a:lnTo>
                  <a:lnTo>
                    <a:pt x="129" y="234"/>
                  </a:lnTo>
                  <a:lnTo>
                    <a:pt x="130" y="232"/>
                  </a:lnTo>
                  <a:lnTo>
                    <a:pt x="132" y="231"/>
                  </a:lnTo>
                  <a:lnTo>
                    <a:pt x="132" y="230"/>
                  </a:lnTo>
                  <a:lnTo>
                    <a:pt x="132" y="229"/>
                  </a:lnTo>
                  <a:lnTo>
                    <a:pt x="132" y="228"/>
                  </a:lnTo>
                  <a:lnTo>
                    <a:pt x="133" y="228"/>
                  </a:lnTo>
                  <a:lnTo>
                    <a:pt x="134" y="226"/>
                  </a:lnTo>
                  <a:lnTo>
                    <a:pt x="134" y="228"/>
                  </a:lnTo>
                  <a:lnTo>
                    <a:pt x="135" y="229"/>
                  </a:lnTo>
                  <a:lnTo>
                    <a:pt x="134" y="229"/>
                  </a:lnTo>
                  <a:lnTo>
                    <a:pt x="134" y="228"/>
                  </a:lnTo>
                  <a:lnTo>
                    <a:pt x="133" y="228"/>
                  </a:lnTo>
                  <a:lnTo>
                    <a:pt x="132" y="229"/>
                  </a:lnTo>
                  <a:lnTo>
                    <a:pt x="133" y="229"/>
                  </a:lnTo>
                  <a:lnTo>
                    <a:pt x="132" y="230"/>
                  </a:lnTo>
                  <a:lnTo>
                    <a:pt x="132" y="231"/>
                  </a:lnTo>
                  <a:lnTo>
                    <a:pt x="132" y="232"/>
                  </a:lnTo>
                  <a:lnTo>
                    <a:pt x="132" y="234"/>
                  </a:lnTo>
                  <a:lnTo>
                    <a:pt x="130" y="234"/>
                  </a:lnTo>
                  <a:lnTo>
                    <a:pt x="130" y="236"/>
                  </a:lnTo>
                  <a:lnTo>
                    <a:pt x="129" y="237"/>
                  </a:lnTo>
                  <a:lnTo>
                    <a:pt x="129" y="238"/>
                  </a:lnTo>
                  <a:lnTo>
                    <a:pt x="130" y="238"/>
                  </a:lnTo>
                  <a:lnTo>
                    <a:pt x="132" y="238"/>
                  </a:lnTo>
                  <a:lnTo>
                    <a:pt x="132" y="237"/>
                  </a:lnTo>
                  <a:lnTo>
                    <a:pt x="133" y="237"/>
                  </a:lnTo>
                  <a:lnTo>
                    <a:pt x="134" y="237"/>
                  </a:lnTo>
                  <a:lnTo>
                    <a:pt x="133" y="237"/>
                  </a:lnTo>
                  <a:lnTo>
                    <a:pt x="134" y="238"/>
                  </a:lnTo>
                  <a:lnTo>
                    <a:pt x="134" y="237"/>
                  </a:lnTo>
                  <a:lnTo>
                    <a:pt x="135" y="237"/>
                  </a:lnTo>
                  <a:lnTo>
                    <a:pt x="135" y="236"/>
                  </a:lnTo>
                  <a:lnTo>
                    <a:pt x="136" y="236"/>
                  </a:lnTo>
                  <a:lnTo>
                    <a:pt x="136" y="235"/>
                  </a:lnTo>
                  <a:lnTo>
                    <a:pt x="138" y="235"/>
                  </a:lnTo>
                  <a:lnTo>
                    <a:pt x="139" y="234"/>
                  </a:lnTo>
                  <a:lnTo>
                    <a:pt x="139" y="232"/>
                  </a:lnTo>
                  <a:lnTo>
                    <a:pt x="139" y="231"/>
                  </a:lnTo>
                  <a:lnTo>
                    <a:pt x="139" y="232"/>
                  </a:lnTo>
                  <a:lnTo>
                    <a:pt x="139" y="234"/>
                  </a:lnTo>
                  <a:lnTo>
                    <a:pt x="139" y="236"/>
                  </a:lnTo>
                  <a:lnTo>
                    <a:pt x="140" y="236"/>
                  </a:lnTo>
                  <a:lnTo>
                    <a:pt x="141" y="236"/>
                  </a:lnTo>
                  <a:lnTo>
                    <a:pt x="141" y="235"/>
                  </a:lnTo>
                  <a:lnTo>
                    <a:pt x="141" y="234"/>
                  </a:lnTo>
                  <a:lnTo>
                    <a:pt x="142" y="235"/>
                  </a:lnTo>
                  <a:lnTo>
                    <a:pt x="142" y="236"/>
                  </a:lnTo>
                  <a:lnTo>
                    <a:pt x="142" y="235"/>
                  </a:lnTo>
                  <a:lnTo>
                    <a:pt x="142" y="234"/>
                  </a:lnTo>
                  <a:lnTo>
                    <a:pt x="144" y="234"/>
                  </a:lnTo>
                  <a:lnTo>
                    <a:pt x="145" y="234"/>
                  </a:lnTo>
                  <a:lnTo>
                    <a:pt x="146" y="232"/>
                  </a:lnTo>
                  <a:lnTo>
                    <a:pt x="146" y="231"/>
                  </a:lnTo>
                  <a:lnTo>
                    <a:pt x="146" y="230"/>
                  </a:lnTo>
                  <a:lnTo>
                    <a:pt x="145" y="230"/>
                  </a:lnTo>
                  <a:lnTo>
                    <a:pt x="145" y="231"/>
                  </a:lnTo>
                  <a:lnTo>
                    <a:pt x="144" y="230"/>
                  </a:lnTo>
                  <a:lnTo>
                    <a:pt x="144" y="231"/>
                  </a:lnTo>
                  <a:lnTo>
                    <a:pt x="142" y="231"/>
                  </a:lnTo>
                  <a:lnTo>
                    <a:pt x="141" y="231"/>
                  </a:lnTo>
                  <a:lnTo>
                    <a:pt x="141" y="230"/>
                  </a:lnTo>
                  <a:lnTo>
                    <a:pt x="142" y="229"/>
                  </a:lnTo>
                  <a:lnTo>
                    <a:pt x="144" y="229"/>
                  </a:lnTo>
                  <a:lnTo>
                    <a:pt x="144" y="226"/>
                  </a:lnTo>
                  <a:lnTo>
                    <a:pt x="144" y="225"/>
                  </a:lnTo>
                  <a:lnTo>
                    <a:pt x="142" y="225"/>
                  </a:lnTo>
                  <a:lnTo>
                    <a:pt x="142" y="226"/>
                  </a:lnTo>
                  <a:lnTo>
                    <a:pt x="141" y="228"/>
                  </a:lnTo>
                  <a:lnTo>
                    <a:pt x="141" y="229"/>
                  </a:lnTo>
                  <a:lnTo>
                    <a:pt x="140" y="229"/>
                  </a:lnTo>
                  <a:lnTo>
                    <a:pt x="140" y="228"/>
                  </a:lnTo>
                  <a:lnTo>
                    <a:pt x="141" y="226"/>
                  </a:lnTo>
                  <a:lnTo>
                    <a:pt x="142" y="225"/>
                  </a:lnTo>
                  <a:lnTo>
                    <a:pt x="144" y="225"/>
                  </a:lnTo>
                  <a:lnTo>
                    <a:pt x="145" y="224"/>
                  </a:lnTo>
                  <a:lnTo>
                    <a:pt x="146" y="224"/>
                  </a:lnTo>
                  <a:lnTo>
                    <a:pt x="146" y="225"/>
                  </a:lnTo>
                  <a:lnTo>
                    <a:pt x="146" y="226"/>
                  </a:lnTo>
                  <a:lnTo>
                    <a:pt x="145" y="228"/>
                  </a:lnTo>
                  <a:lnTo>
                    <a:pt x="145" y="229"/>
                  </a:lnTo>
                  <a:lnTo>
                    <a:pt x="146" y="228"/>
                  </a:lnTo>
                  <a:lnTo>
                    <a:pt x="146" y="226"/>
                  </a:lnTo>
                  <a:lnTo>
                    <a:pt x="147" y="225"/>
                  </a:lnTo>
                  <a:lnTo>
                    <a:pt x="147" y="224"/>
                  </a:lnTo>
                  <a:lnTo>
                    <a:pt x="148" y="224"/>
                  </a:lnTo>
                  <a:lnTo>
                    <a:pt x="150" y="223"/>
                  </a:lnTo>
                  <a:lnTo>
                    <a:pt x="151" y="222"/>
                  </a:lnTo>
                  <a:lnTo>
                    <a:pt x="152" y="222"/>
                  </a:lnTo>
                  <a:lnTo>
                    <a:pt x="152" y="220"/>
                  </a:lnTo>
                  <a:lnTo>
                    <a:pt x="153" y="220"/>
                  </a:lnTo>
                  <a:lnTo>
                    <a:pt x="153" y="222"/>
                  </a:lnTo>
                  <a:lnTo>
                    <a:pt x="153" y="223"/>
                  </a:lnTo>
                  <a:lnTo>
                    <a:pt x="153" y="224"/>
                  </a:lnTo>
                  <a:lnTo>
                    <a:pt x="152" y="224"/>
                  </a:lnTo>
                  <a:lnTo>
                    <a:pt x="151" y="224"/>
                  </a:lnTo>
                  <a:lnTo>
                    <a:pt x="151" y="223"/>
                  </a:lnTo>
                  <a:lnTo>
                    <a:pt x="150" y="223"/>
                  </a:lnTo>
                  <a:lnTo>
                    <a:pt x="151" y="224"/>
                  </a:lnTo>
                  <a:lnTo>
                    <a:pt x="151" y="225"/>
                  </a:lnTo>
                  <a:lnTo>
                    <a:pt x="152" y="225"/>
                  </a:lnTo>
                  <a:lnTo>
                    <a:pt x="153" y="225"/>
                  </a:lnTo>
                  <a:lnTo>
                    <a:pt x="152" y="226"/>
                  </a:lnTo>
                  <a:lnTo>
                    <a:pt x="151" y="228"/>
                  </a:lnTo>
                  <a:lnTo>
                    <a:pt x="151" y="229"/>
                  </a:lnTo>
                  <a:lnTo>
                    <a:pt x="150" y="230"/>
                  </a:lnTo>
                  <a:lnTo>
                    <a:pt x="150" y="231"/>
                  </a:lnTo>
                  <a:lnTo>
                    <a:pt x="148" y="231"/>
                  </a:lnTo>
                  <a:lnTo>
                    <a:pt x="148" y="232"/>
                  </a:lnTo>
                  <a:lnTo>
                    <a:pt x="148" y="234"/>
                  </a:lnTo>
                  <a:lnTo>
                    <a:pt x="147" y="235"/>
                  </a:lnTo>
                  <a:lnTo>
                    <a:pt x="146" y="235"/>
                  </a:lnTo>
                  <a:lnTo>
                    <a:pt x="145" y="236"/>
                  </a:lnTo>
                  <a:lnTo>
                    <a:pt x="145" y="235"/>
                  </a:lnTo>
                  <a:lnTo>
                    <a:pt x="144" y="235"/>
                  </a:lnTo>
                  <a:lnTo>
                    <a:pt x="144" y="236"/>
                  </a:lnTo>
                  <a:lnTo>
                    <a:pt x="142" y="236"/>
                  </a:lnTo>
                  <a:lnTo>
                    <a:pt x="142" y="237"/>
                  </a:lnTo>
                  <a:lnTo>
                    <a:pt x="144" y="238"/>
                  </a:lnTo>
                  <a:lnTo>
                    <a:pt x="144" y="237"/>
                  </a:lnTo>
                  <a:lnTo>
                    <a:pt x="145" y="236"/>
                  </a:lnTo>
                  <a:lnTo>
                    <a:pt x="146" y="236"/>
                  </a:lnTo>
                  <a:lnTo>
                    <a:pt x="147" y="236"/>
                  </a:lnTo>
                  <a:lnTo>
                    <a:pt x="148" y="235"/>
                  </a:lnTo>
                  <a:lnTo>
                    <a:pt x="150" y="234"/>
                  </a:lnTo>
                  <a:lnTo>
                    <a:pt x="148" y="235"/>
                  </a:lnTo>
                  <a:lnTo>
                    <a:pt x="148" y="236"/>
                  </a:lnTo>
                  <a:lnTo>
                    <a:pt x="147" y="237"/>
                  </a:lnTo>
                  <a:lnTo>
                    <a:pt x="147" y="238"/>
                  </a:lnTo>
                  <a:lnTo>
                    <a:pt x="146" y="241"/>
                  </a:lnTo>
                  <a:lnTo>
                    <a:pt x="145" y="241"/>
                  </a:lnTo>
                  <a:lnTo>
                    <a:pt x="146" y="242"/>
                  </a:lnTo>
                  <a:lnTo>
                    <a:pt x="147" y="241"/>
                  </a:lnTo>
                  <a:lnTo>
                    <a:pt x="147" y="240"/>
                  </a:lnTo>
                  <a:lnTo>
                    <a:pt x="148" y="238"/>
                  </a:lnTo>
                  <a:lnTo>
                    <a:pt x="148" y="237"/>
                  </a:lnTo>
                  <a:lnTo>
                    <a:pt x="150" y="236"/>
                  </a:lnTo>
                  <a:lnTo>
                    <a:pt x="150" y="235"/>
                  </a:lnTo>
                  <a:lnTo>
                    <a:pt x="150" y="237"/>
                  </a:lnTo>
                  <a:lnTo>
                    <a:pt x="151" y="238"/>
                  </a:lnTo>
                  <a:lnTo>
                    <a:pt x="151" y="237"/>
                  </a:lnTo>
                  <a:lnTo>
                    <a:pt x="151" y="236"/>
                  </a:lnTo>
                  <a:lnTo>
                    <a:pt x="151" y="235"/>
                  </a:lnTo>
                  <a:lnTo>
                    <a:pt x="150" y="234"/>
                  </a:lnTo>
                  <a:lnTo>
                    <a:pt x="150" y="232"/>
                  </a:lnTo>
                  <a:lnTo>
                    <a:pt x="151" y="232"/>
                  </a:lnTo>
                  <a:lnTo>
                    <a:pt x="152" y="234"/>
                  </a:lnTo>
                  <a:lnTo>
                    <a:pt x="153" y="235"/>
                  </a:lnTo>
                  <a:lnTo>
                    <a:pt x="153" y="234"/>
                  </a:lnTo>
                  <a:lnTo>
                    <a:pt x="152" y="232"/>
                  </a:lnTo>
                  <a:lnTo>
                    <a:pt x="151" y="232"/>
                  </a:lnTo>
                  <a:lnTo>
                    <a:pt x="151" y="231"/>
                  </a:lnTo>
                  <a:lnTo>
                    <a:pt x="151" y="230"/>
                  </a:lnTo>
                  <a:lnTo>
                    <a:pt x="152" y="229"/>
                  </a:lnTo>
                  <a:lnTo>
                    <a:pt x="152" y="228"/>
                  </a:lnTo>
                  <a:lnTo>
                    <a:pt x="153" y="228"/>
                  </a:lnTo>
                  <a:lnTo>
                    <a:pt x="155" y="228"/>
                  </a:lnTo>
                  <a:lnTo>
                    <a:pt x="155" y="232"/>
                  </a:lnTo>
                  <a:lnTo>
                    <a:pt x="155" y="238"/>
                  </a:lnTo>
                  <a:lnTo>
                    <a:pt x="155" y="244"/>
                  </a:lnTo>
                  <a:lnTo>
                    <a:pt x="155" y="252"/>
                  </a:lnTo>
                  <a:lnTo>
                    <a:pt x="155" y="256"/>
                  </a:lnTo>
                  <a:lnTo>
                    <a:pt x="155" y="255"/>
                  </a:lnTo>
                  <a:lnTo>
                    <a:pt x="153" y="255"/>
                  </a:lnTo>
                  <a:lnTo>
                    <a:pt x="153" y="254"/>
                  </a:lnTo>
                  <a:lnTo>
                    <a:pt x="152" y="254"/>
                  </a:lnTo>
                  <a:lnTo>
                    <a:pt x="151" y="254"/>
                  </a:lnTo>
                  <a:lnTo>
                    <a:pt x="151" y="255"/>
                  </a:lnTo>
                  <a:lnTo>
                    <a:pt x="150" y="254"/>
                  </a:lnTo>
                  <a:lnTo>
                    <a:pt x="150" y="255"/>
                  </a:lnTo>
                  <a:lnTo>
                    <a:pt x="148" y="254"/>
                  </a:lnTo>
                  <a:lnTo>
                    <a:pt x="148" y="255"/>
                  </a:lnTo>
                  <a:lnTo>
                    <a:pt x="147" y="255"/>
                  </a:lnTo>
                  <a:lnTo>
                    <a:pt x="147" y="256"/>
                  </a:lnTo>
                  <a:lnTo>
                    <a:pt x="146" y="256"/>
                  </a:lnTo>
                  <a:lnTo>
                    <a:pt x="146" y="258"/>
                  </a:lnTo>
                  <a:lnTo>
                    <a:pt x="148" y="259"/>
                  </a:lnTo>
                  <a:lnTo>
                    <a:pt x="150" y="259"/>
                  </a:lnTo>
                  <a:lnTo>
                    <a:pt x="151" y="258"/>
                  </a:lnTo>
                  <a:lnTo>
                    <a:pt x="152" y="258"/>
                  </a:lnTo>
                  <a:lnTo>
                    <a:pt x="152" y="259"/>
                  </a:lnTo>
                  <a:lnTo>
                    <a:pt x="153" y="260"/>
                  </a:lnTo>
                  <a:lnTo>
                    <a:pt x="155" y="261"/>
                  </a:lnTo>
                  <a:lnTo>
                    <a:pt x="155" y="264"/>
                  </a:lnTo>
                  <a:lnTo>
                    <a:pt x="155" y="270"/>
                  </a:lnTo>
                  <a:lnTo>
                    <a:pt x="155" y="276"/>
                  </a:lnTo>
                  <a:lnTo>
                    <a:pt x="155" y="284"/>
                  </a:lnTo>
                  <a:lnTo>
                    <a:pt x="156" y="291"/>
                  </a:lnTo>
                  <a:lnTo>
                    <a:pt x="156" y="300"/>
                  </a:lnTo>
                  <a:lnTo>
                    <a:pt x="156" y="308"/>
                  </a:lnTo>
                  <a:lnTo>
                    <a:pt x="157" y="317"/>
                  </a:lnTo>
                  <a:lnTo>
                    <a:pt x="157" y="337"/>
                  </a:lnTo>
                  <a:lnTo>
                    <a:pt x="157" y="348"/>
                  </a:lnTo>
                  <a:lnTo>
                    <a:pt x="158" y="359"/>
                  </a:lnTo>
                  <a:lnTo>
                    <a:pt x="156" y="360"/>
                  </a:lnTo>
                  <a:lnTo>
                    <a:pt x="148" y="362"/>
                  </a:lnTo>
                  <a:lnTo>
                    <a:pt x="141" y="362"/>
                  </a:lnTo>
                  <a:lnTo>
                    <a:pt x="142" y="363"/>
                  </a:lnTo>
                  <a:lnTo>
                    <a:pt x="140" y="363"/>
                  </a:lnTo>
                  <a:lnTo>
                    <a:pt x="153" y="362"/>
                  </a:lnTo>
                  <a:lnTo>
                    <a:pt x="161" y="362"/>
                  </a:lnTo>
                  <a:lnTo>
                    <a:pt x="165" y="362"/>
                  </a:lnTo>
                  <a:lnTo>
                    <a:pt x="168" y="362"/>
                  </a:lnTo>
                  <a:lnTo>
                    <a:pt x="173" y="361"/>
                  </a:lnTo>
                  <a:lnTo>
                    <a:pt x="177" y="362"/>
                  </a:lnTo>
                  <a:lnTo>
                    <a:pt x="189" y="362"/>
                  </a:lnTo>
                  <a:lnTo>
                    <a:pt x="195" y="362"/>
                  </a:lnTo>
                  <a:lnTo>
                    <a:pt x="198" y="361"/>
                  </a:lnTo>
                  <a:lnTo>
                    <a:pt x="197" y="36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3" name="Freeform 66"/>
            <p:cNvSpPr>
              <a:spLocks/>
            </p:cNvSpPr>
            <p:nvPr userDrawn="1"/>
          </p:nvSpPr>
          <p:spPr bwMode="auto">
            <a:xfrm>
              <a:off x="4795838" y="6443663"/>
              <a:ext cx="60325" cy="85725"/>
            </a:xfrm>
            <a:custGeom>
              <a:avLst/>
              <a:gdLst/>
              <a:ahLst/>
              <a:cxnLst>
                <a:cxn ang="0">
                  <a:pos x="146" y="147"/>
                </a:cxn>
                <a:cxn ang="0">
                  <a:pos x="148" y="144"/>
                </a:cxn>
                <a:cxn ang="0">
                  <a:pos x="166" y="142"/>
                </a:cxn>
                <a:cxn ang="0">
                  <a:pos x="168" y="124"/>
                </a:cxn>
                <a:cxn ang="0">
                  <a:pos x="175" y="130"/>
                </a:cxn>
                <a:cxn ang="0">
                  <a:pos x="180" y="124"/>
                </a:cxn>
                <a:cxn ang="0">
                  <a:pos x="184" y="113"/>
                </a:cxn>
                <a:cxn ang="0">
                  <a:pos x="170" y="103"/>
                </a:cxn>
                <a:cxn ang="0">
                  <a:pos x="160" y="89"/>
                </a:cxn>
                <a:cxn ang="0">
                  <a:pos x="180" y="88"/>
                </a:cxn>
                <a:cxn ang="0">
                  <a:pos x="182" y="82"/>
                </a:cxn>
                <a:cxn ang="0">
                  <a:pos x="175" y="78"/>
                </a:cxn>
                <a:cxn ang="0">
                  <a:pos x="187" y="72"/>
                </a:cxn>
                <a:cxn ang="0">
                  <a:pos x="189" y="67"/>
                </a:cxn>
                <a:cxn ang="0">
                  <a:pos x="174" y="73"/>
                </a:cxn>
                <a:cxn ang="0">
                  <a:pos x="168" y="72"/>
                </a:cxn>
                <a:cxn ang="0">
                  <a:pos x="158" y="65"/>
                </a:cxn>
                <a:cxn ang="0">
                  <a:pos x="158" y="53"/>
                </a:cxn>
                <a:cxn ang="0">
                  <a:pos x="143" y="54"/>
                </a:cxn>
                <a:cxn ang="0">
                  <a:pos x="143" y="43"/>
                </a:cxn>
                <a:cxn ang="0">
                  <a:pos x="137" y="41"/>
                </a:cxn>
                <a:cxn ang="0">
                  <a:pos x="135" y="40"/>
                </a:cxn>
                <a:cxn ang="0">
                  <a:pos x="124" y="30"/>
                </a:cxn>
                <a:cxn ang="0">
                  <a:pos x="116" y="34"/>
                </a:cxn>
                <a:cxn ang="0">
                  <a:pos x="110" y="34"/>
                </a:cxn>
                <a:cxn ang="0">
                  <a:pos x="102" y="11"/>
                </a:cxn>
                <a:cxn ang="0">
                  <a:pos x="93" y="2"/>
                </a:cxn>
                <a:cxn ang="0">
                  <a:pos x="88" y="6"/>
                </a:cxn>
                <a:cxn ang="0">
                  <a:pos x="95" y="30"/>
                </a:cxn>
                <a:cxn ang="0">
                  <a:pos x="89" y="30"/>
                </a:cxn>
                <a:cxn ang="0">
                  <a:pos x="86" y="43"/>
                </a:cxn>
                <a:cxn ang="0">
                  <a:pos x="74" y="52"/>
                </a:cxn>
                <a:cxn ang="0">
                  <a:pos x="68" y="59"/>
                </a:cxn>
                <a:cxn ang="0">
                  <a:pos x="59" y="50"/>
                </a:cxn>
                <a:cxn ang="0">
                  <a:pos x="58" y="38"/>
                </a:cxn>
                <a:cxn ang="0">
                  <a:pos x="52" y="42"/>
                </a:cxn>
                <a:cxn ang="0">
                  <a:pos x="48" y="46"/>
                </a:cxn>
                <a:cxn ang="0">
                  <a:pos x="37" y="55"/>
                </a:cxn>
                <a:cxn ang="0">
                  <a:pos x="33" y="60"/>
                </a:cxn>
                <a:cxn ang="0">
                  <a:pos x="28" y="65"/>
                </a:cxn>
                <a:cxn ang="0">
                  <a:pos x="30" y="70"/>
                </a:cxn>
                <a:cxn ang="0">
                  <a:pos x="39" y="76"/>
                </a:cxn>
                <a:cxn ang="0">
                  <a:pos x="25" y="73"/>
                </a:cxn>
                <a:cxn ang="0">
                  <a:pos x="31" y="79"/>
                </a:cxn>
                <a:cxn ang="0">
                  <a:pos x="10" y="84"/>
                </a:cxn>
                <a:cxn ang="0">
                  <a:pos x="3" y="83"/>
                </a:cxn>
                <a:cxn ang="0">
                  <a:pos x="4" y="90"/>
                </a:cxn>
                <a:cxn ang="0">
                  <a:pos x="28" y="102"/>
                </a:cxn>
                <a:cxn ang="0">
                  <a:pos x="23" y="114"/>
                </a:cxn>
                <a:cxn ang="0">
                  <a:pos x="4" y="123"/>
                </a:cxn>
                <a:cxn ang="0">
                  <a:pos x="16" y="137"/>
                </a:cxn>
                <a:cxn ang="0">
                  <a:pos x="17" y="160"/>
                </a:cxn>
                <a:cxn ang="0">
                  <a:pos x="39" y="155"/>
                </a:cxn>
                <a:cxn ang="0">
                  <a:pos x="27" y="172"/>
                </a:cxn>
                <a:cxn ang="0">
                  <a:pos x="36" y="174"/>
                </a:cxn>
                <a:cxn ang="0">
                  <a:pos x="43" y="178"/>
                </a:cxn>
                <a:cxn ang="0">
                  <a:pos x="57" y="171"/>
                </a:cxn>
                <a:cxn ang="0">
                  <a:pos x="63" y="177"/>
                </a:cxn>
                <a:cxn ang="0">
                  <a:pos x="70" y="168"/>
                </a:cxn>
                <a:cxn ang="0">
                  <a:pos x="86" y="165"/>
                </a:cxn>
                <a:cxn ang="0">
                  <a:pos x="94" y="167"/>
                </a:cxn>
                <a:cxn ang="0">
                  <a:pos x="96" y="171"/>
                </a:cxn>
                <a:cxn ang="0">
                  <a:pos x="105" y="166"/>
                </a:cxn>
              </a:cxnLst>
              <a:rect l="0" t="0" r="r" b="b"/>
              <a:pathLst>
                <a:path w="193" h="268">
                  <a:moveTo>
                    <a:pt x="133" y="268"/>
                  </a:moveTo>
                  <a:lnTo>
                    <a:pt x="129" y="262"/>
                  </a:lnTo>
                  <a:lnTo>
                    <a:pt x="131" y="245"/>
                  </a:lnTo>
                  <a:lnTo>
                    <a:pt x="130" y="232"/>
                  </a:lnTo>
                  <a:lnTo>
                    <a:pt x="134" y="215"/>
                  </a:lnTo>
                  <a:lnTo>
                    <a:pt x="134" y="204"/>
                  </a:lnTo>
                  <a:lnTo>
                    <a:pt x="140" y="179"/>
                  </a:lnTo>
                  <a:lnTo>
                    <a:pt x="142" y="168"/>
                  </a:lnTo>
                  <a:lnTo>
                    <a:pt x="141" y="155"/>
                  </a:lnTo>
                  <a:lnTo>
                    <a:pt x="136" y="149"/>
                  </a:lnTo>
                  <a:lnTo>
                    <a:pt x="136" y="145"/>
                  </a:lnTo>
                  <a:lnTo>
                    <a:pt x="136" y="144"/>
                  </a:lnTo>
                  <a:lnTo>
                    <a:pt x="137" y="143"/>
                  </a:lnTo>
                  <a:lnTo>
                    <a:pt x="139" y="144"/>
                  </a:lnTo>
                  <a:lnTo>
                    <a:pt x="140" y="145"/>
                  </a:lnTo>
                  <a:lnTo>
                    <a:pt x="140" y="147"/>
                  </a:lnTo>
                  <a:lnTo>
                    <a:pt x="141" y="147"/>
                  </a:lnTo>
                  <a:lnTo>
                    <a:pt x="140" y="147"/>
                  </a:lnTo>
                  <a:lnTo>
                    <a:pt x="140" y="148"/>
                  </a:lnTo>
                  <a:lnTo>
                    <a:pt x="141" y="148"/>
                  </a:lnTo>
                  <a:lnTo>
                    <a:pt x="142" y="147"/>
                  </a:lnTo>
                  <a:lnTo>
                    <a:pt x="143" y="148"/>
                  </a:lnTo>
                  <a:lnTo>
                    <a:pt x="143" y="147"/>
                  </a:lnTo>
                  <a:lnTo>
                    <a:pt x="145" y="148"/>
                  </a:lnTo>
                  <a:lnTo>
                    <a:pt x="143" y="147"/>
                  </a:lnTo>
                  <a:lnTo>
                    <a:pt x="143" y="145"/>
                  </a:lnTo>
                  <a:lnTo>
                    <a:pt x="142" y="145"/>
                  </a:lnTo>
                  <a:lnTo>
                    <a:pt x="141" y="144"/>
                  </a:lnTo>
                  <a:lnTo>
                    <a:pt x="140" y="144"/>
                  </a:lnTo>
                  <a:lnTo>
                    <a:pt x="140" y="145"/>
                  </a:lnTo>
                  <a:lnTo>
                    <a:pt x="139" y="145"/>
                  </a:lnTo>
                  <a:lnTo>
                    <a:pt x="139" y="143"/>
                  </a:lnTo>
                  <a:lnTo>
                    <a:pt x="141" y="143"/>
                  </a:lnTo>
                  <a:lnTo>
                    <a:pt x="146" y="147"/>
                  </a:lnTo>
                  <a:lnTo>
                    <a:pt x="147" y="149"/>
                  </a:lnTo>
                  <a:lnTo>
                    <a:pt x="148" y="149"/>
                  </a:lnTo>
                  <a:lnTo>
                    <a:pt x="148" y="151"/>
                  </a:lnTo>
                  <a:lnTo>
                    <a:pt x="148" y="153"/>
                  </a:lnTo>
                  <a:lnTo>
                    <a:pt x="148" y="150"/>
                  </a:lnTo>
                  <a:lnTo>
                    <a:pt x="148" y="149"/>
                  </a:lnTo>
                  <a:lnTo>
                    <a:pt x="149" y="149"/>
                  </a:lnTo>
                  <a:lnTo>
                    <a:pt x="151" y="151"/>
                  </a:lnTo>
                  <a:lnTo>
                    <a:pt x="152" y="151"/>
                  </a:lnTo>
                  <a:lnTo>
                    <a:pt x="151" y="150"/>
                  </a:lnTo>
                  <a:lnTo>
                    <a:pt x="149" y="149"/>
                  </a:lnTo>
                  <a:lnTo>
                    <a:pt x="148" y="149"/>
                  </a:lnTo>
                  <a:lnTo>
                    <a:pt x="147" y="147"/>
                  </a:lnTo>
                  <a:lnTo>
                    <a:pt x="145" y="144"/>
                  </a:lnTo>
                  <a:lnTo>
                    <a:pt x="140" y="142"/>
                  </a:lnTo>
                  <a:lnTo>
                    <a:pt x="139" y="142"/>
                  </a:lnTo>
                  <a:lnTo>
                    <a:pt x="139" y="141"/>
                  </a:lnTo>
                  <a:lnTo>
                    <a:pt x="139" y="139"/>
                  </a:lnTo>
                  <a:lnTo>
                    <a:pt x="140" y="139"/>
                  </a:lnTo>
                  <a:lnTo>
                    <a:pt x="139" y="139"/>
                  </a:lnTo>
                  <a:lnTo>
                    <a:pt x="140" y="139"/>
                  </a:lnTo>
                  <a:lnTo>
                    <a:pt x="141" y="138"/>
                  </a:lnTo>
                  <a:lnTo>
                    <a:pt x="141" y="139"/>
                  </a:lnTo>
                  <a:lnTo>
                    <a:pt x="142" y="139"/>
                  </a:lnTo>
                  <a:lnTo>
                    <a:pt x="143" y="141"/>
                  </a:lnTo>
                  <a:lnTo>
                    <a:pt x="143" y="142"/>
                  </a:lnTo>
                  <a:lnTo>
                    <a:pt x="143" y="143"/>
                  </a:lnTo>
                  <a:lnTo>
                    <a:pt x="145" y="142"/>
                  </a:lnTo>
                  <a:lnTo>
                    <a:pt x="145" y="143"/>
                  </a:lnTo>
                  <a:lnTo>
                    <a:pt x="146" y="143"/>
                  </a:lnTo>
                  <a:lnTo>
                    <a:pt x="146" y="142"/>
                  </a:lnTo>
                  <a:lnTo>
                    <a:pt x="147" y="143"/>
                  </a:lnTo>
                  <a:lnTo>
                    <a:pt x="147" y="144"/>
                  </a:lnTo>
                  <a:lnTo>
                    <a:pt x="148" y="144"/>
                  </a:lnTo>
                  <a:lnTo>
                    <a:pt x="148" y="143"/>
                  </a:lnTo>
                  <a:lnTo>
                    <a:pt x="149" y="144"/>
                  </a:lnTo>
                  <a:lnTo>
                    <a:pt x="153" y="147"/>
                  </a:lnTo>
                  <a:lnTo>
                    <a:pt x="154" y="149"/>
                  </a:lnTo>
                  <a:lnTo>
                    <a:pt x="154" y="148"/>
                  </a:lnTo>
                  <a:lnTo>
                    <a:pt x="155" y="149"/>
                  </a:lnTo>
                  <a:lnTo>
                    <a:pt x="155" y="150"/>
                  </a:lnTo>
                  <a:lnTo>
                    <a:pt x="157" y="151"/>
                  </a:lnTo>
                  <a:lnTo>
                    <a:pt x="157" y="154"/>
                  </a:lnTo>
                  <a:lnTo>
                    <a:pt x="157" y="153"/>
                  </a:lnTo>
                  <a:lnTo>
                    <a:pt x="158" y="154"/>
                  </a:lnTo>
                  <a:lnTo>
                    <a:pt x="157" y="151"/>
                  </a:lnTo>
                  <a:lnTo>
                    <a:pt x="155" y="149"/>
                  </a:lnTo>
                  <a:lnTo>
                    <a:pt x="155" y="148"/>
                  </a:lnTo>
                  <a:lnTo>
                    <a:pt x="155" y="147"/>
                  </a:lnTo>
                  <a:lnTo>
                    <a:pt x="157" y="148"/>
                  </a:lnTo>
                  <a:lnTo>
                    <a:pt x="159" y="149"/>
                  </a:lnTo>
                  <a:lnTo>
                    <a:pt x="159" y="150"/>
                  </a:lnTo>
                  <a:lnTo>
                    <a:pt x="160" y="151"/>
                  </a:lnTo>
                  <a:lnTo>
                    <a:pt x="161" y="150"/>
                  </a:lnTo>
                  <a:lnTo>
                    <a:pt x="161" y="151"/>
                  </a:lnTo>
                  <a:lnTo>
                    <a:pt x="163" y="151"/>
                  </a:lnTo>
                  <a:lnTo>
                    <a:pt x="164" y="150"/>
                  </a:lnTo>
                  <a:lnTo>
                    <a:pt x="164" y="149"/>
                  </a:lnTo>
                  <a:lnTo>
                    <a:pt x="165" y="149"/>
                  </a:lnTo>
                  <a:lnTo>
                    <a:pt x="165" y="147"/>
                  </a:lnTo>
                  <a:lnTo>
                    <a:pt x="165" y="145"/>
                  </a:lnTo>
                  <a:lnTo>
                    <a:pt x="164" y="145"/>
                  </a:lnTo>
                  <a:lnTo>
                    <a:pt x="164" y="144"/>
                  </a:lnTo>
                  <a:lnTo>
                    <a:pt x="165" y="145"/>
                  </a:lnTo>
                  <a:lnTo>
                    <a:pt x="165" y="144"/>
                  </a:lnTo>
                  <a:lnTo>
                    <a:pt x="166" y="144"/>
                  </a:lnTo>
                  <a:lnTo>
                    <a:pt x="166" y="143"/>
                  </a:lnTo>
                  <a:lnTo>
                    <a:pt x="166" y="142"/>
                  </a:lnTo>
                  <a:lnTo>
                    <a:pt x="168" y="141"/>
                  </a:lnTo>
                  <a:lnTo>
                    <a:pt x="168" y="139"/>
                  </a:lnTo>
                  <a:lnTo>
                    <a:pt x="168" y="138"/>
                  </a:lnTo>
                  <a:lnTo>
                    <a:pt x="169" y="137"/>
                  </a:lnTo>
                  <a:lnTo>
                    <a:pt x="168" y="137"/>
                  </a:lnTo>
                  <a:lnTo>
                    <a:pt x="168" y="136"/>
                  </a:lnTo>
                  <a:lnTo>
                    <a:pt x="166" y="136"/>
                  </a:lnTo>
                  <a:lnTo>
                    <a:pt x="166" y="135"/>
                  </a:lnTo>
                  <a:lnTo>
                    <a:pt x="166" y="133"/>
                  </a:lnTo>
                  <a:lnTo>
                    <a:pt x="165" y="133"/>
                  </a:lnTo>
                  <a:lnTo>
                    <a:pt x="165" y="135"/>
                  </a:lnTo>
                  <a:lnTo>
                    <a:pt x="165" y="133"/>
                  </a:lnTo>
                  <a:lnTo>
                    <a:pt x="164" y="133"/>
                  </a:lnTo>
                  <a:lnTo>
                    <a:pt x="165" y="132"/>
                  </a:lnTo>
                  <a:lnTo>
                    <a:pt x="164" y="132"/>
                  </a:lnTo>
                  <a:lnTo>
                    <a:pt x="163" y="131"/>
                  </a:lnTo>
                  <a:lnTo>
                    <a:pt x="164" y="131"/>
                  </a:lnTo>
                  <a:lnTo>
                    <a:pt x="164" y="130"/>
                  </a:lnTo>
                  <a:lnTo>
                    <a:pt x="164" y="129"/>
                  </a:lnTo>
                  <a:lnTo>
                    <a:pt x="164" y="127"/>
                  </a:lnTo>
                  <a:lnTo>
                    <a:pt x="165" y="127"/>
                  </a:lnTo>
                  <a:lnTo>
                    <a:pt x="166" y="127"/>
                  </a:lnTo>
                  <a:lnTo>
                    <a:pt x="168" y="129"/>
                  </a:lnTo>
                  <a:lnTo>
                    <a:pt x="168" y="130"/>
                  </a:lnTo>
                  <a:lnTo>
                    <a:pt x="169" y="129"/>
                  </a:lnTo>
                  <a:lnTo>
                    <a:pt x="169" y="130"/>
                  </a:lnTo>
                  <a:lnTo>
                    <a:pt x="169" y="129"/>
                  </a:lnTo>
                  <a:lnTo>
                    <a:pt x="169" y="127"/>
                  </a:lnTo>
                  <a:lnTo>
                    <a:pt x="169" y="126"/>
                  </a:lnTo>
                  <a:lnTo>
                    <a:pt x="168" y="126"/>
                  </a:lnTo>
                  <a:lnTo>
                    <a:pt x="168" y="125"/>
                  </a:lnTo>
                  <a:lnTo>
                    <a:pt x="168" y="124"/>
                  </a:lnTo>
                  <a:lnTo>
                    <a:pt x="168" y="125"/>
                  </a:lnTo>
                  <a:lnTo>
                    <a:pt x="168" y="124"/>
                  </a:lnTo>
                  <a:lnTo>
                    <a:pt x="166" y="125"/>
                  </a:lnTo>
                  <a:lnTo>
                    <a:pt x="165" y="125"/>
                  </a:lnTo>
                  <a:lnTo>
                    <a:pt x="166" y="124"/>
                  </a:lnTo>
                  <a:lnTo>
                    <a:pt x="166" y="123"/>
                  </a:lnTo>
                  <a:lnTo>
                    <a:pt x="165" y="123"/>
                  </a:lnTo>
                  <a:lnTo>
                    <a:pt x="165" y="120"/>
                  </a:lnTo>
                  <a:lnTo>
                    <a:pt x="166" y="120"/>
                  </a:lnTo>
                  <a:lnTo>
                    <a:pt x="168" y="121"/>
                  </a:lnTo>
                  <a:lnTo>
                    <a:pt x="168" y="120"/>
                  </a:lnTo>
                  <a:lnTo>
                    <a:pt x="168" y="121"/>
                  </a:lnTo>
                  <a:lnTo>
                    <a:pt x="169" y="121"/>
                  </a:lnTo>
                  <a:lnTo>
                    <a:pt x="169" y="123"/>
                  </a:lnTo>
                  <a:lnTo>
                    <a:pt x="170" y="123"/>
                  </a:lnTo>
                  <a:lnTo>
                    <a:pt x="170" y="124"/>
                  </a:lnTo>
                  <a:lnTo>
                    <a:pt x="169" y="124"/>
                  </a:lnTo>
                  <a:lnTo>
                    <a:pt x="169" y="125"/>
                  </a:lnTo>
                  <a:lnTo>
                    <a:pt x="169" y="124"/>
                  </a:lnTo>
                  <a:lnTo>
                    <a:pt x="170" y="124"/>
                  </a:lnTo>
                  <a:lnTo>
                    <a:pt x="170" y="125"/>
                  </a:lnTo>
                  <a:lnTo>
                    <a:pt x="169" y="125"/>
                  </a:lnTo>
                  <a:lnTo>
                    <a:pt x="169" y="126"/>
                  </a:lnTo>
                  <a:lnTo>
                    <a:pt x="169" y="127"/>
                  </a:lnTo>
                  <a:lnTo>
                    <a:pt x="170" y="126"/>
                  </a:lnTo>
                  <a:lnTo>
                    <a:pt x="170" y="127"/>
                  </a:lnTo>
                  <a:lnTo>
                    <a:pt x="171" y="127"/>
                  </a:lnTo>
                  <a:lnTo>
                    <a:pt x="172" y="127"/>
                  </a:lnTo>
                  <a:lnTo>
                    <a:pt x="172" y="129"/>
                  </a:lnTo>
                  <a:lnTo>
                    <a:pt x="172" y="130"/>
                  </a:lnTo>
                  <a:lnTo>
                    <a:pt x="172" y="129"/>
                  </a:lnTo>
                  <a:lnTo>
                    <a:pt x="174" y="129"/>
                  </a:lnTo>
                  <a:lnTo>
                    <a:pt x="174" y="130"/>
                  </a:lnTo>
                  <a:lnTo>
                    <a:pt x="175" y="130"/>
                  </a:lnTo>
                  <a:lnTo>
                    <a:pt x="175" y="129"/>
                  </a:lnTo>
                  <a:lnTo>
                    <a:pt x="175" y="130"/>
                  </a:lnTo>
                  <a:lnTo>
                    <a:pt x="175" y="129"/>
                  </a:lnTo>
                  <a:lnTo>
                    <a:pt x="174" y="129"/>
                  </a:lnTo>
                  <a:lnTo>
                    <a:pt x="174" y="127"/>
                  </a:lnTo>
                  <a:lnTo>
                    <a:pt x="175" y="127"/>
                  </a:lnTo>
                  <a:lnTo>
                    <a:pt x="174" y="127"/>
                  </a:lnTo>
                  <a:lnTo>
                    <a:pt x="172" y="127"/>
                  </a:lnTo>
                  <a:lnTo>
                    <a:pt x="174" y="127"/>
                  </a:lnTo>
                  <a:lnTo>
                    <a:pt x="172" y="127"/>
                  </a:lnTo>
                  <a:lnTo>
                    <a:pt x="172" y="126"/>
                  </a:lnTo>
                  <a:lnTo>
                    <a:pt x="171" y="126"/>
                  </a:lnTo>
                  <a:lnTo>
                    <a:pt x="171" y="125"/>
                  </a:lnTo>
                  <a:lnTo>
                    <a:pt x="171" y="123"/>
                  </a:lnTo>
                  <a:lnTo>
                    <a:pt x="171" y="124"/>
                  </a:lnTo>
                  <a:lnTo>
                    <a:pt x="172" y="124"/>
                  </a:lnTo>
                  <a:lnTo>
                    <a:pt x="172" y="125"/>
                  </a:lnTo>
                  <a:lnTo>
                    <a:pt x="171" y="125"/>
                  </a:lnTo>
                  <a:lnTo>
                    <a:pt x="172" y="126"/>
                  </a:lnTo>
                  <a:lnTo>
                    <a:pt x="172" y="125"/>
                  </a:lnTo>
                  <a:lnTo>
                    <a:pt x="174" y="125"/>
                  </a:lnTo>
                  <a:lnTo>
                    <a:pt x="174" y="124"/>
                  </a:lnTo>
                  <a:lnTo>
                    <a:pt x="175" y="124"/>
                  </a:lnTo>
                  <a:lnTo>
                    <a:pt x="175" y="125"/>
                  </a:lnTo>
                  <a:lnTo>
                    <a:pt x="176" y="125"/>
                  </a:lnTo>
                  <a:lnTo>
                    <a:pt x="177" y="125"/>
                  </a:lnTo>
                  <a:lnTo>
                    <a:pt x="177" y="126"/>
                  </a:lnTo>
                  <a:lnTo>
                    <a:pt x="176" y="126"/>
                  </a:lnTo>
                  <a:lnTo>
                    <a:pt x="176" y="127"/>
                  </a:lnTo>
                  <a:lnTo>
                    <a:pt x="177" y="129"/>
                  </a:lnTo>
                  <a:lnTo>
                    <a:pt x="178" y="127"/>
                  </a:lnTo>
                  <a:lnTo>
                    <a:pt x="178" y="126"/>
                  </a:lnTo>
                  <a:lnTo>
                    <a:pt x="180" y="125"/>
                  </a:lnTo>
                  <a:lnTo>
                    <a:pt x="178" y="125"/>
                  </a:lnTo>
                  <a:lnTo>
                    <a:pt x="180" y="125"/>
                  </a:lnTo>
                  <a:lnTo>
                    <a:pt x="180" y="124"/>
                  </a:lnTo>
                  <a:lnTo>
                    <a:pt x="180" y="123"/>
                  </a:lnTo>
                  <a:lnTo>
                    <a:pt x="180" y="124"/>
                  </a:lnTo>
                  <a:lnTo>
                    <a:pt x="180" y="123"/>
                  </a:lnTo>
                  <a:lnTo>
                    <a:pt x="180" y="121"/>
                  </a:lnTo>
                  <a:lnTo>
                    <a:pt x="180" y="120"/>
                  </a:lnTo>
                  <a:lnTo>
                    <a:pt x="178" y="120"/>
                  </a:lnTo>
                  <a:lnTo>
                    <a:pt x="177" y="119"/>
                  </a:lnTo>
                  <a:lnTo>
                    <a:pt x="177" y="118"/>
                  </a:lnTo>
                  <a:lnTo>
                    <a:pt x="177" y="117"/>
                  </a:lnTo>
                  <a:lnTo>
                    <a:pt x="176" y="117"/>
                  </a:lnTo>
                  <a:lnTo>
                    <a:pt x="175" y="115"/>
                  </a:lnTo>
                  <a:lnTo>
                    <a:pt x="176" y="115"/>
                  </a:lnTo>
                  <a:lnTo>
                    <a:pt x="177" y="115"/>
                  </a:lnTo>
                  <a:lnTo>
                    <a:pt x="180" y="115"/>
                  </a:lnTo>
                  <a:lnTo>
                    <a:pt x="182" y="115"/>
                  </a:lnTo>
                  <a:lnTo>
                    <a:pt x="181" y="115"/>
                  </a:lnTo>
                  <a:lnTo>
                    <a:pt x="182" y="117"/>
                  </a:lnTo>
                  <a:lnTo>
                    <a:pt x="182" y="115"/>
                  </a:lnTo>
                  <a:lnTo>
                    <a:pt x="182" y="114"/>
                  </a:lnTo>
                  <a:lnTo>
                    <a:pt x="183" y="114"/>
                  </a:lnTo>
                  <a:lnTo>
                    <a:pt x="183" y="115"/>
                  </a:lnTo>
                  <a:lnTo>
                    <a:pt x="184" y="115"/>
                  </a:lnTo>
                  <a:lnTo>
                    <a:pt x="184" y="117"/>
                  </a:lnTo>
                  <a:lnTo>
                    <a:pt x="184" y="115"/>
                  </a:lnTo>
                  <a:lnTo>
                    <a:pt x="184" y="114"/>
                  </a:lnTo>
                  <a:lnTo>
                    <a:pt x="186" y="114"/>
                  </a:lnTo>
                  <a:lnTo>
                    <a:pt x="184" y="115"/>
                  </a:lnTo>
                  <a:lnTo>
                    <a:pt x="186" y="117"/>
                  </a:lnTo>
                  <a:lnTo>
                    <a:pt x="186" y="115"/>
                  </a:lnTo>
                  <a:lnTo>
                    <a:pt x="186" y="114"/>
                  </a:lnTo>
                  <a:lnTo>
                    <a:pt x="184" y="114"/>
                  </a:lnTo>
                  <a:lnTo>
                    <a:pt x="184" y="113"/>
                  </a:lnTo>
                  <a:lnTo>
                    <a:pt x="186" y="113"/>
                  </a:lnTo>
                  <a:lnTo>
                    <a:pt x="184" y="113"/>
                  </a:lnTo>
                  <a:lnTo>
                    <a:pt x="183" y="113"/>
                  </a:lnTo>
                  <a:lnTo>
                    <a:pt x="182" y="112"/>
                  </a:lnTo>
                  <a:lnTo>
                    <a:pt x="182" y="113"/>
                  </a:lnTo>
                  <a:lnTo>
                    <a:pt x="182" y="114"/>
                  </a:lnTo>
                  <a:lnTo>
                    <a:pt x="182" y="113"/>
                  </a:lnTo>
                  <a:lnTo>
                    <a:pt x="182" y="114"/>
                  </a:lnTo>
                  <a:lnTo>
                    <a:pt x="183" y="113"/>
                  </a:lnTo>
                  <a:lnTo>
                    <a:pt x="183" y="114"/>
                  </a:lnTo>
                  <a:lnTo>
                    <a:pt x="181" y="115"/>
                  </a:lnTo>
                  <a:lnTo>
                    <a:pt x="177" y="115"/>
                  </a:lnTo>
                  <a:lnTo>
                    <a:pt x="177" y="114"/>
                  </a:lnTo>
                  <a:lnTo>
                    <a:pt x="177" y="113"/>
                  </a:lnTo>
                  <a:lnTo>
                    <a:pt x="177" y="114"/>
                  </a:lnTo>
                  <a:lnTo>
                    <a:pt x="176" y="114"/>
                  </a:lnTo>
                  <a:lnTo>
                    <a:pt x="177" y="113"/>
                  </a:lnTo>
                  <a:lnTo>
                    <a:pt x="176" y="112"/>
                  </a:lnTo>
                  <a:lnTo>
                    <a:pt x="177" y="112"/>
                  </a:lnTo>
                  <a:lnTo>
                    <a:pt x="177" y="110"/>
                  </a:lnTo>
                  <a:lnTo>
                    <a:pt x="177" y="109"/>
                  </a:lnTo>
                  <a:lnTo>
                    <a:pt x="177" y="108"/>
                  </a:lnTo>
                  <a:lnTo>
                    <a:pt x="176" y="109"/>
                  </a:lnTo>
                  <a:lnTo>
                    <a:pt x="177" y="108"/>
                  </a:lnTo>
                  <a:lnTo>
                    <a:pt x="177" y="107"/>
                  </a:lnTo>
                  <a:lnTo>
                    <a:pt x="177" y="106"/>
                  </a:lnTo>
                  <a:lnTo>
                    <a:pt x="176" y="106"/>
                  </a:lnTo>
                  <a:lnTo>
                    <a:pt x="175" y="106"/>
                  </a:lnTo>
                  <a:lnTo>
                    <a:pt x="175" y="104"/>
                  </a:lnTo>
                  <a:lnTo>
                    <a:pt x="174" y="104"/>
                  </a:lnTo>
                  <a:lnTo>
                    <a:pt x="174" y="103"/>
                  </a:lnTo>
                  <a:lnTo>
                    <a:pt x="172" y="102"/>
                  </a:lnTo>
                  <a:lnTo>
                    <a:pt x="171" y="102"/>
                  </a:lnTo>
                  <a:lnTo>
                    <a:pt x="172" y="103"/>
                  </a:lnTo>
                  <a:lnTo>
                    <a:pt x="171" y="103"/>
                  </a:lnTo>
                  <a:lnTo>
                    <a:pt x="170" y="103"/>
                  </a:lnTo>
                  <a:lnTo>
                    <a:pt x="169" y="103"/>
                  </a:lnTo>
                  <a:lnTo>
                    <a:pt x="168" y="102"/>
                  </a:lnTo>
                  <a:lnTo>
                    <a:pt x="168" y="101"/>
                  </a:lnTo>
                  <a:lnTo>
                    <a:pt x="169" y="101"/>
                  </a:lnTo>
                  <a:lnTo>
                    <a:pt x="168" y="100"/>
                  </a:lnTo>
                  <a:lnTo>
                    <a:pt x="169" y="100"/>
                  </a:lnTo>
                  <a:lnTo>
                    <a:pt x="169" y="101"/>
                  </a:lnTo>
                  <a:lnTo>
                    <a:pt x="169" y="102"/>
                  </a:lnTo>
                  <a:lnTo>
                    <a:pt x="170" y="101"/>
                  </a:lnTo>
                  <a:lnTo>
                    <a:pt x="169" y="100"/>
                  </a:lnTo>
                  <a:lnTo>
                    <a:pt x="170" y="100"/>
                  </a:lnTo>
                  <a:lnTo>
                    <a:pt x="169" y="98"/>
                  </a:lnTo>
                  <a:lnTo>
                    <a:pt x="169" y="97"/>
                  </a:lnTo>
                  <a:lnTo>
                    <a:pt x="170" y="97"/>
                  </a:lnTo>
                  <a:lnTo>
                    <a:pt x="170" y="98"/>
                  </a:lnTo>
                  <a:lnTo>
                    <a:pt x="170" y="100"/>
                  </a:lnTo>
                  <a:lnTo>
                    <a:pt x="170" y="98"/>
                  </a:lnTo>
                  <a:lnTo>
                    <a:pt x="170" y="97"/>
                  </a:lnTo>
                  <a:lnTo>
                    <a:pt x="169" y="96"/>
                  </a:lnTo>
                  <a:lnTo>
                    <a:pt x="169" y="95"/>
                  </a:lnTo>
                  <a:lnTo>
                    <a:pt x="166" y="94"/>
                  </a:lnTo>
                  <a:lnTo>
                    <a:pt x="165" y="94"/>
                  </a:lnTo>
                  <a:lnTo>
                    <a:pt x="164" y="94"/>
                  </a:lnTo>
                  <a:lnTo>
                    <a:pt x="164" y="92"/>
                  </a:lnTo>
                  <a:lnTo>
                    <a:pt x="164" y="94"/>
                  </a:lnTo>
                  <a:lnTo>
                    <a:pt x="163" y="92"/>
                  </a:lnTo>
                  <a:lnTo>
                    <a:pt x="161" y="91"/>
                  </a:lnTo>
                  <a:lnTo>
                    <a:pt x="163" y="91"/>
                  </a:lnTo>
                  <a:lnTo>
                    <a:pt x="163" y="90"/>
                  </a:lnTo>
                  <a:lnTo>
                    <a:pt x="163" y="89"/>
                  </a:lnTo>
                  <a:lnTo>
                    <a:pt x="161" y="89"/>
                  </a:lnTo>
                  <a:lnTo>
                    <a:pt x="163" y="89"/>
                  </a:lnTo>
                  <a:lnTo>
                    <a:pt x="161" y="89"/>
                  </a:lnTo>
                  <a:lnTo>
                    <a:pt x="160" y="89"/>
                  </a:lnTo>
                  <a:lnTo>
                    <a:pt x="160" y="88"/>
                  </a:lnTo>
                  <a:lnTo>
                    <a:pt x="163" y="86"/>
                  </a:lnTo>
                  <a:lnTo>
                    <a:pt x="163" y="88"/>
                  </a:lnTo>
                  <a:lnTo>
                    <a:pt x="163" y="86"/>
                  </a:lnTo>
                  <a:lnTo>
                    <a:pt x="164" y="88"/>
                  </a:lnTo>
                  <a:lnTo>
                    <a:pt x="165" y="88"/>
                  </a:lnTo>
                  <a:lnTo>
                    <a:pt x="165" y="86"/>
                  </a:lnTo>
                  <a:lnTo>
                    <a:pt x="165" y="85"/>
                  </a:lnTo>
                  <a:lnTo>
                    <a:pt x="165" y="86"/>
                  </a:lnTo>
                  <a:lnTo>
                    <a:pt x="166" y="85"/>
                  </a:lnTo>
                  <a:lnTo>
                    <a:pt x="168" y="85"/>
                  </a:lnTo>
                  <a:lnTo>
                    <a:pt x="168" y="86"/>
                  </a:lnTo>
                  <a:lnTo>
                    <a:pt x="169" y="86"/>
                  </a:lnTo>
                  <a:lnTo>
                    <a:pt x="169" y="85"/>
                  </a:lnTo>
                  <a:lnTo>
                    <a:pt x="168" y="85"/>
                  </a:lnTo>
                  <a:lnTo>
                    <a:pt x="168" y="84"/>
                  </a:lnTo>
                  <a:lnTo>
                    <a:pt x="170" y="85"/>
                  </a:lnTo>
                  <a:lnTo>
                    <a:pt x="171" y="85"/>
                  </a:lnTo>
                  <a:lnTo>
                    <a:pt x="171" y="84"/>
                  </a:lnTo>
                  <a:lnTo>
                    <a:pt x="171" y="85"/>
                  </a:lnTo>
                  <a:lnTo>
                    <a:pt x="172" y="84"/>
                  </a:lnTo>
                  <a:lnTo>
                    <a:pt x="175" y="85"/>
                  </a:lnTo>
                  <a:lnTo>
                    <a:pt x="175" y="86"/>
                  </a:lnTo>
                  <a:lnTo>
                    <a:pt x="175" y="88"/>
                  </a:lnTo>
                  <a:lnTo>
                    <a:pt x="176" y="86"/>
                  </a:lnTo>
                  <a:lnTo>
                    <a:pt x="176" y="85"/>
                  </a:lnTo>
                  <a:lnTo>
                    <a:pt x="175" y="84"/>
                  </a:lnTo>
                  <a:lnTo>
                    <a:pt x="176" y="85"/>
                  </a:lnTo>
                  <a:lnTo>
                    <a:pt x="177" y="85"/>
                  </a:lnTo>
                  <a:lnTo>
                    <a:pt x="177" y="88"/>
                  </a:lnTo>
                  <a:lnTo>
                    <a:pt x="178" y="86"/>
                  </a:lnTo>
                  <a:lnTo>
                    <a:pt x="178" y="88"/>
                  </a:lnTo>
                  <a:lnTo>
                    <a:pt x="178" y="89"/>
                  </a:lnTo>
                  <a:lnTo>
                    <a:pt x="180" y="88"/>
                  </a:lnTo>
                  <a:lnTo>
                    <a:pt x="180" y="86"/>
                  </a:lnTo>
                  <a:lnTo>
                    <a:pt x="181" y="86"/>
                  </a:lnTo>
                  <a:lnTo>
                    <a:pt x="181" y="88"/>
                  </a:lnTo>
                  <a:lnTo>
                    <a:pt x="181" y="86"/>
                  </a:lnTo>
                  <a:lnTo>
                    <a:pt x="182" y="85"/>
                  </a:lnTo>
                  <a:lnTo>
                    <a:pt x="182" y="86"/>
                  </a:lnTo>
                  <a:lnTo>
                    <a:pt x="182" y="88"/>
                  </a:lnTo>
                  <a:lnTo>
                    <a:pt x="182" y="86"/>
                  </a:lnTo>
                  <a:lnTo>
                    <a:pt x="182" y="85"/>
                  </a:lnTo>
                  <a:lnTo>
                    <a:pt x="183" y="85"/>
                  </a:lnTo>
                  <a:lnTo>
                    <a:pt x="183" y="86"/>
                  </a:lnTo>
                  <a:lnTo>
                    <a:pt x="184" y="88"/>
                  </a:lnTo>
                  <a:lnTo>
                    <a:pt x="184" y="86"/>
                  </a:lnTo>
                  <a:lnTo>
                    <a:pt x="184" y="85"/>
                  </a:lnTo>
                  <a:lnTo>
                    <a:pt x="184" y="84"/>
                  </a:lnTo>
                  <a:lnTo>
                    <a:pt x="186" y="84"/>
                  </a:lnTo>
                  <a:lnTo>
                    <a:pt x="186" y="85"/>
                  </a:lnTo>
                  <a:lnTo>
                    <a:pt x="187" y="85"/>
                  </a:lnTo>
                  <a:lnTo>
                    <a:pt x="187" y="86"/>
                  </a:lnTo>
                  <a:lnTo>
                    <a:pt x="188" y="85"/>
                  </a:lnTo>
                  <a:lnTo>
                    <a:pt x="187" y="84"/>
                  </a:lnTo>
                  <a:lnTo>
                    <a:pt x="188" y="84"/>
                  </a:lnTo>
                  <a:lnTo>
                    <a:pt x="189" y="84"/>
                  </a:lnTo>
                  <a:lnTo>
                    <a:pt x="189" y="85"/>
                  </a:lnTo>
                  <a:lnTo>
                    <a:pt x="190" y="84"/>
                  </a:lnTo>
                  <a:lnTo>
                    <a:pt x="189" y="83"/>
                  </a:lnTo>
                  <a:lnTo>
                    <a:pt x="189" y="82"/>
                  </a:lnTo>
                  <a:lnTo>
                    <a:pt x="188" y="82"/>
                  </a:lnTo>
                  <a:lnTo>
                    <a:pt x="187" y="83"/>
                  </a:lnTo>
                  <a:lnTo>
                    <a:pt x="186" y="83"/>
                  </a:lnTo>
                  <a:lnTo>
                    <a:pt x="184" y="83"/>
                  </a:lnTo>
                  <a:lnTo>
                    <a:pt x="183" y="83"/>
                  </a:lnTo>
                  <a:lnTo>
                    <a:pt x="183" y="82"/>
                  </a:lnTo>
                  <a:lnTo>
                    <a:pt x="182" y="82"/>
                  </a:lnTo>
                  <a:lnTo>
                    <a:pt x="182" y="83"/>
                  </a:lnTo>
                  <a:lnTo>
                    <a:pt x="181" y="83"/>
                  </a:lnTo>
                  <a:lnTo>
                    <a:pt x="181" y="82"/>
                  </a:lnTo>
                  <a:lnTo>
                    <a:pt x="181" y="83"/>
                  </a:lnTo>
                  <a:lnTo>
                    <a:pt x="180" y="83"/>
                  </a:lnTo>
                  <a:lnTo>
                    <a:pt x="178" y="83"/>
                  </a:lnTo>
                  <a:lnTo>
                    <a:pt x="178" y="82"/>
                  </a:lnTo>
                  <a:lnTo>
                    <a:pt x="177" y="82"/>
                  </a:lnTo>
                  <a:lnTo>
                    <a:pt x="177" y="83"/>
                  </a:lnTo>
                  <a:lnTo>
                    <a:pt x="176" y="83"/>
                  </a:lnTo>
                  <a:lnTo>
                    <a:pt x="177" y="82"/>
                  </a:lnTo>
                  <a:lnTo>
                    <a:pt x="176" y="83"/>
                  </a:lnTo>
                  <a:lnTo>
                    <a:pt x="176" y="82"/>
                  </a:lnTo>
                  <a:lnTo>
                    <a:pt x="175" y="82"/>
                  </a:lnTo>
                  <a:lnTo>
                    <a:pt x="176" y="82"/>
                  </a:lnTo>
                  <a:lnTo>
                    <a:pt x="176" y="80"/>
                  </a:lnTo>
                  <a:lnTo>
                    <a:pt x="175" y="82"/>
                  </a:lnTo>
                  <a:lnTo>
                    <a:pt x="174" y="82"/>
                  </a:lnTo>
                  <a:lnTo>
                    <a:pt x="172" y="82"/>
                  </a:lnTo>
                  <a:lnTo>
                    <a:pt x="172" y="83"/>
                  </a:lnTo>
                  <a:lnTo>
                    <a:pt x="172" y="82"/>
                  </a:lnTo>
                  <a:lnTo>
                    <a:pt x="171" y="82"/>
                  </a:lnTo>
                  <a:lnTo>
                    <a:pt x="170" y="82"/>
                  </a:lnTo>
                  <a:lnTo>
                    <a:pt x="170" y="80"/>
                  </a:lnTo>
                  <a:lnTo>
                    <a:pt x="169" y="79"/>
                  </a:lnTo>
                  <a:lnTo>
                    <a:pt x="170" y="79"/>
                  </a:lnTo>
                  <a:lnTo>
                    <a:pt x="171" y="79"/>
                  </a:lnTo>
                  <a:lnTo>
                    <a:pt x="171" y="78"/>
                  </a:lnTo>
                  <a:lnTo>
                    <a:pt x="172" y="78"/>
                  </a:lnTo>
                  <a:lnTo>
                    <a:pt x="172" y="79"/>
                  </a:lnTo>
                  <a:lnTo>
                    <a:pt x="172" y="78"/>
                  </a:lnTo>
                  <a:lnTo>
                    <a:pt x="172" y="77"/>
                  </a:lnTo>
                  <a:lnTo>
                    <a:pt x="174" y="77"/>
                  </a:lnTo>
                  <a:lnTo>
                    <a:pt x="175" y="78"/>
                  </a:lnTo>
                  <a:lnTo>
                    <a:pt x="176" y="77"/>
                  </a:lnTo>
                  <a:lnTo>
                    <a:pt x="176" y="78"/>
                  </a:lnTo>
                  <a:lnTo>
                    <a:pt x="177" y="78"/>
                  </a:lnTo>
                  <a:lnTo>
                    <a:pt x="177" y="77"/>
                  </a:lnTo>
                  <a:lnTo>
                    <a:pt x="178" y="78"/>
                  </a:lnTo>
                  <a:lnTo>
                    <a:pt x="180" y="78"/>
                  </a:lnTo>
                  <a:lnTo>
                    <a:pt x="180" y="77"/>
                  </a:lnTo>
                  <a:lnTo>
                    <a:pt x="181" y="77"/>
                  </a:lnTo>
                  <a:lnTo>
                    <a:pt x="182" y="77"/>
                  </a:lnTo>
                  <a:lnTo>
                    <a:pt x="183" y="77"/>
                  </a:lnTo>
                  <a:lnTo>
                    <a:pt x="184" y="78"/>
                  </a:lnTo>
                  <a:lnTo>
                    <a:pt x="184" y="79"/>
                  </a:lnTo>
                  <a:lnTo>
                    <a:pt x="184" y="78"/>
                  </a:lnTo>
                  <a:lnTo>
                    <a:pt x="184" y="77"/>
                  </a:lnTo>
                  <a:lnTo>
                    <a:pt x="183" y="77"/>
                  </a:lnTo>
                  <a:lnTo>
                    <a:pt x="183" y="76"/>
                  </a:lnTo>
                  <a:lnTo>
                    <a:pt x="182" y="74"/>
                  </a:lnTo>
                  <a:lnTo>
                    <a:pt x="182" y="76"/>
                  </a:lnTo>
                  <a:lnTo>
                    <a:pt x="182" y="77"/>
                  </a:lnTo>
                  <a:lnTo>
                    <a:pt x="182" y="76"/>
                  </a:lnTo>
                  <a:lnTo>
                    <a:pt x="181" y="77"/>
                  </a:lnTo>
                  <a:lnTo>
                    <a:pt x="180" y="76"/>
                  </a:lnTo>
                  <a:lnTo>
                    <a:pt x="178" y="76"/>
                  </a:lnTo>
                  <a:lnTo>
                    <a:pt x="177" y="76"/>
                  </a:lnTo>
                  <a:lnTo>
                    <a:pt x="177" y="77"/>
                  </a:lnTo>
                  <a:lnTo>
                    <a:pt x="177" y="76"/>
                  </a:lnTo>
                  <a:lnTo>
                    <a:pt x="177" y="74"/>
                  </a:lnTo>
                  <a:lnTo>
                    <a:pt x="180" y="73"/>
                  </a:lnTo>
                  <a:lnTo>
                    <a:pt x="183" y="73"/>
                  </a:lnTo>
                  <a:lnTo>
                    <a:pt x="184" y="73"/>
                  </a:lnTo>
                  <a:lnTo>
                    <a:pt x="186" y="73"/>
                  </a:lnTo>
                  <a:lnTo>
                    <a:pt x="184" y="73"/>
                  </a:lnTo>
                  <a:lnTo>
                    <a:pt x="184" y="72"/>
                  </a:lnTo>
                  <a:lnTo>
                    <a:pt x="187" y="72"/>
                  </a:lnTo>
                  <a:lnTo>
                    <a:pt x="188" y="72"/>
                  </a:lnTo>
                  <a:lnTo>
                    <a:pt x="188" y="73"/>
                  </a:lnTo>
                  <a:lnTo>
                    <a:pt x="188" y="72"/>
                  </a:lnTo>
                  <a:lnTo>
                    <a:pt x="189" y="72"/>
                  </a:lnTo>
                  <a:lnTo>
                    <a:pt x="190" y="72"/>
                  </a:lnTo>
                  <a:lnTo>
                    <a:pt x="190" y="73"/>
                  </a:lnTo>
                  <a:lnTo>
                    <a:pt x="190" y="74"/>
                  </a:lnTo>
                  <a:lnTo>
                    <a:pt x="190" y="73"/>
                  </a:lnTo>
                  <a:lnTo>
                    <a:pt x="189" y="72"/>
                  </a:lnTo>
                  <a:lnTo>
                    <a:pt x="190" y="72"/>
                  </a:lnTo>
                  <a:lnTo>
                    <a:pt x="192" y="72"/>
                  </a:lnTo>
                  <a:lnTo>
                    <a:pt x="192" y="74"/>
                  </a:lnTo>
                  <a:lnTo>
                    <a:pt x="192" y="73"/>
                  </a:lnTo>
                  <a:lnTo>
                    <a:pt x="192" y="74"/>
                  </a:lnTo>
                  <a:lnTo>
                    <a:pt x="192" y="73"/>
                  </a:lnTo>
                  <a:lnTo>
                    <a:pt x="192" y="72"/>
                  </a:lnTo>
                  <a:lnTo>
                    <a:pt x="193" y="71"/>
                  </a:lnTo>
                  <a:lnTo>
                    <a:pt x="190" y="72"/>
                  </a:lnTo>
                  <a:lnTo>
                    <a:pt x="189" y="72"/>
                  </a:lnTo>
                  <a:lnTo>
                    <a:pt x="189" y="71"/>
                  </a:lnTo>
                  <a:lnTo>
                    <a:pt x="189" y="72"/>
                  </a:lnTo>
                  <a:lnTo>
                    <a:pt x="189" y="71"/>
                  </a:lnTo>
                  <a:lnTo>
                    <a:pt x="188" y="72"/>
                  </a:lnTo>
                  <a:lnTo>
                    <a:pt x="187" y="72"/>
                  </a:lnTo>
                  <a:lnTo>
                    <a:pt x="184" y="72"/>
                  </a:lnTo>
                  <a:lnTo>
                    <a:pt x="187" y="70"/>
                  </a:lnTo>
                  <a:lnTo>
                    <a:pt x="188" y="70"/>
                  </a:lnTo>
                  <a:lnTo>
                    <a:pt x="188" y="68"/>
                  </a:lnTo>
                  <a:lnTo>
                    <a:pt x="189" y="68"/>
                  </a:lnTo>
                  <a:lnTo>
                    <a:pt x="190" y="68"/>
                  </a:lnTo>
                  <a:lnTo>
                    <a:pt x="192" y="68"/>
                  </a:lnTo>
                  <a:lnTo>
                    <a:pt x="192" y="67"/>
                  </a:lnTo>
                  <a:lnTo>
                    <a:pt x="190" y="67"/>
                  </a:lnTo>
                  <a:lnTo>
                    <a:pt x="189" y="67"/>
                  </a:lnTo>
                  <a:lnTo>
                    <a:pt x="189" y="68"/>
                  </a:lnTo>
                  <a:lnTo>
                    <a:pt x="189" y="67"/>
                  </a:lnTo>
                  <a:lnTo>
                    <a:pt x="188" y="68"/>
                  </a:lnTo>
                  <a:lnTo>
                    <a:pt x="188" y="67"/>
                  </a:lnTo>
                  <a:lnTo>
                    <a:pt x="187" y="67"/>
                  </a:lnTo>
                  <a:lnTo>
                    <a:pt x="187" y="66"/>
                  </a:lnTo>
                  <a:lnTo>
                    <a:pt x="187" y="67"/>
                  </a:lnTo>
                  <a:lnTo>
                    <a:pt x="187" y="68"/>
                  </a:lnTo>
                  <a:lnTo>
                    <a:pt x="187" y="67"/>
                  </a:lnTo>
                  <a:lnTo>
                    <a:pt x="186" y="66"/>
                  </a:lnTo>
                  <a:lnTo>
                    <a:pt x="186" y="67"/>
                  </a:lnTo>
                  <a:lnTo>
                    <a:pt x="187" y="68"/>
                  </a:lnTo>
                  <a:lnTo>
                    <a:pt x="186" y="70"/>
                  </a:lnTo>
                  <a:lnTo>
                    <a:pt x="184" y="70"/>
                  </a:lnTo>
                  <a:lnTo>
                    <a:pt x="184" y="71"/>
                  </a:lnTo>
                  <a:lnTo>
                    <a:pt x="184" y="72"/>
                  </a:lnTo>
                  <a:lnTo>
                    <a:pt x="183" y="72"/>
                  </a:lnTo>
                  <a:lnTo>
                    <a:pt x="183" y="71"/>
                  </a:lnTo>
                  <a:lnTo>
                    <a:pt x="183" y="72"/>
                  </a:lnTo>
                  <a:lnTo>
                    <a:pt x="182" y="71"/>
                  </a:lnTo>
                  <a:lnTo>
                    <a:pt x="182" y="72"/>
                  </a:lnTo>
                  <a:lnTo>
                    <a:pt x="181" y="73"/>
                  </a:lnTo>
                  <a:lnTo>
                    <a:pt x="181" y="72"/>
                  </a:lnTo>
                  <a:lnTo>
                    <a:pt x="182" y="72"/>
                  </a:lnTo>
                  <a:lnTo>
                    <a:pt x="182" y="71"/>
                  </a:lnTo>
                  <a:lnTo>
                    <a:pt x="181" y="72"/>
                  </a:lnTo>
                  <a:lnTo>
                    <a:pt x="181" y="73"/>
                  </a:lnTo>
                  <a:lnTo>
                    <a:pt x="178" y="73"/>
                  </a:lnTo>
                  <a:lnTo>
                    <a:pt x="177" y="74"/>
                  </a:lnTo>
                  <a:lnTo>
                    <a:pt x="177" y="73"/>
                  </a:lnTo>
                  <a:lnTo>
                    <a:pt x="176" y="74"/>
                  </a:lnTo>
                  <a:lnTo>
                    <a:pt x="175" y="74"/>
                  </a:lnTo>
                  <a:lnTo>
                    <a:pt x="174" y="74"/>
                  </a:lnTo>
                  <a:lnTo>
                    <a:pt x="174" y="73"/>
                  </a:lnTo>
                  <a:lnTo>
                    <a:pt x="175" y="73"/>
                  </a:lnTo>
                  <a:lnTo>
                    <a:pt x="175" y="72"/>
                  </a:lnTo>
                  <a:lnTo>
                    <a:pt x="175" y="73"/>
                  </a:lnTo>
                  <a:lnTo>
                    <a:pt x="174" y="73"/>
                  </a:lnTo>
                  <a:lnTo>
                    <a:pt x="172" y="73"/>
                  </a:lnTo>
                  <a:lnTo>
                    <a:pt x="172" y="74"/>
                  </a:lnTo>
                  <a:lnTo>
                    <a:pt x="171" y="74"/>
                  </a:lnTo>
                  <a:lnTo>
                    <a:pt x="171" y="76"/>
                  </a:lnTo>
                  <a:lnTo>
                    <a:pt x="171" y="74"/>
                  </a:lnTo>
                  <a:lnTo>
                    <a:pt x="170" y="76"/>
                  </a:lnTo>
                  <a:lnTo>
                    <a:pt x="170" y="77"/>
                  </a:lnTo>
                  <a:lnTo>
                    <a:pt x="169" y="77"/>
                  </a:lnTo>
                  <a:lnTo>
                    <a:pt x="168" y="78"/>
                  </a:lnTo>
                  <a:lnTo>
                    <a:pt x="168" y="77"/>
                  </a:lnTo>
                  <a:lnTo>
                    <a:pt x="168" y="76"/>
                  </a:lnTo>
                  <a:lnTo>
                    <a:pt x="169" y="74"/>
                  </a:lnTo>
                  <a:lnTo>
                    <a:pt x="169" y="73"/>
                  </a:lnTo>
                  <a:lnTo>
                    <a:pt x="170" y="73"/>
                  </a:lnTo>
                  <a:lnTo>
                    <a:pt x="170" y="72"/>
                  </a:lnTo>
                  <a:lnTo>
                    <a:pt x="171" y="72"/>
                  </a:lnTo>
                  <a:lnTo>
                    <a:pt x="170" y="73"/>
                  </a:lnTo>
                  <a:lnTo>
                    <a:pt x="170" y="74"/>
                  </a:lnTo>
                  <a:lnTo>
                    <a:pt x="171" y="73"/>
                  </a:lnTo>
                  <a:lnTo>
                    <a:pt x="171" y="72"/>
                  </a:lnTo>
                  <a:lnTo>
                    <a:pt x="172" y="71"/>
                  </a:lnTo>
                  <a:lnTo>
                    <a:pt x="171" y="71"/>
                  </a:lnTo>
                  <a:lnTo>
                    <a:pt x="170" y="72"/>
                  </a:lnTo>
                  <a:lnTo>
                    <a:pt x="170" y="73"/>
                  </a:lnTo>
                  <a:lnTo>
                    <a:pt x="169" y="73"/>
                  </a:lnTo>
                  <a:lnTo>
                    <a:pt x="169" y="72"/>
                  </a:lnTo>
                  <a:lnTo>
                    <a:pt x="170" y="72"/>
                  </a:lnTo>
                  <a:lnTo>
                    <a:pt x="169" y="71"/>
                  </a:lnTo>
                  <a:lnTo>
                    <a:pt x="169" y="72"/>
                  </a:lnTo>
                  <a:lnTo>
                    <a:pt x="168" y="72"/>
                  </a:lnTo>
                  <a:lnTo>
                    <a:pt x="168" y="73"/>
                  </a:lnTo>
                  <a:lnTo>
                    <a:pt x="169" y="73"/>
                  </a:lnTo>
                  <a:lnTo>
                    <a:pt x="168" y="74"/>
                  </a:lnTo>
                  <a:lnTo>
                    <a:pt x="168" y="73"/>
                  </a:lnTo>
                  <a:lnTo>
                    <a:pt x="166" y="73"/>
                  </a:lnTo>
                  <a:lnTo>
                    <a:pt x="168" y="72"/>
                  </a:lnTo>
                  <a:lnTo>
                    <a:pt x="169" y="71"/>
                  </a:lnTo>
                  <a:lnTo>
                    <a:pt x="168" y="71"/>
                  </a:lnTo>
                  <a:lnTo>
                    <a:pt x="168" y="72"/>
                  </a:lnTo>
                  <a:lnTo>
                    <a:pt x="166" y="72"/>
                  </a:lnTo>
                  <a:lnTo>
                    <a:pt x="166" y="71"/>
                  </a:lnTo>
                  <a:lnTo>
                    <a:pt x="166" y="72"/>
                  </a:lnTo>
                  <a:lnTo>
                    <a:pt x="168" y="74"/>
                  </a:lnTo>
                  <a:lnTo>
                    <a:pt x="168" y="76"/>
                  </a:lnTo>
                  <a:lnTo>
                    <a:pt x="166" y="74"/>
                  </a:lnTo>
                  <a:lnTo>
                    <a:pt x="165" y="76"/>
                  </a:lnTo>
                  <a:lnTo>
                    <a:pt x="165" y="74"/>
                  </a:lnTo>
                  <a:lnTo>
                    <a:pt x="164" y="74"/>
                  </a:lnTo>
                  <a:lnTo>
                    <a:pt x="164" y="76"/>
                  </a:lnTo>
                  <a:lnTo>
                    <a:pt x="163" y="77"/>
                  </a:lnTo>
                  <a:lnTo>
                    <a:pt x="161" y="73"/>
                  </a:lnTo>
                  <a:lnTo>
                    <a:pt x="159" y="70"/>
                  </a:lnTo>
                  <a:lnTo>
                    <a:pt x="159" y="68"/>
                  </a:lnTo>
                  <a:lnTo>
                    <a:pt x="160" y="67"/>
                  </a:lnTo>
                  <a:lnTo>
                    <a:pt x="161" y="65"/>
                  </a:lnTo>
                  <a:lnTo>
                    <a:pt x="163" y="65"/>
                  </a:lnTo>
                  <a:lnTo>
                    <a:pt x="163" y="64"/>
                  </a:lnTo>
                  <a:lnTo>
                    <a:pt x="161" y="64"/>
                  </a:lnTo>
                  <a:lnTo>
                    <a:pt x="160" y="64"/>
                  </a:lnTo>
                  <a:lnTo>
                    <a:pt x="161" y="62"/>
                  </a:lnTo>
                  <a:lnTo>
                    <a:pt x="160" y="64"/>
                  </a:lnTo>
                  <a:lnTo>
                    <a:pt x="160" y="62"/>
                  </a:lnTo>
                  <a:lnTo>
                    <a:pt x="159" y="65"/>
                  </a:lnTo>
                  <a:lnTo>
                    <a:pt x="158" y="65"/>
                  </a:lnTo>
                  <a:lnTo>
                    <a:pt x="157" y="66"/>
                  </a:lnTo>
                  <a:lnTo>
                    <a:pt x="155" y="66"/>
                  </a:lnTo>
                  <a:lnTo>
                    <a:pt x="155" y="65"/>
                  </a:lnTo>
                  <a:lnTo>
                    <a:pt x="155" y="66"/>
                  </a:lnTo>
                  <a:lnTo>
                    <a:pt x="153" y="66"/>
                  </a:lnTo>
                  <a:lnTo>
                    <a:pt x="151" y="66"/>
                  </a:lnTo>
                  <a:lnTo>
                    <a:pt x="149" y="66"/>
                  </a:lnTo>
                  <a:lnTo>
                    <a:pt x="149" y="65"/>
                  </a:lnTo>
                  <a:lnTo>
                    <a:pt x="148" y="64"/>
                  </a:lnTo>
                  <a:lnTo>
                    <a:pt x="147" y="64"/>
                  </a:lnTo>
                  <a:lnTo>
                    <a:pt x="147" y="62"/>
                  </a:lnTo>
                  <a:lnTo>
                    <a:pt x="148" y="61"/>
                  </a:lnTo>
                  <a:lnTo>
                    <a:pt x="151" y="61"/>
                  </a:lnTo>
                  <a:lnTo>
                    <a:pt x="153" y="60"/>
                  </a:lnTo>
                  <a:lnTo>
                    <a:pt x="155" y="60"/>
                  </a:lnTo>
                  <a:lnTo>
                    <a:pt x="154" y="60"/>
                  </a:lnTo>
                  <a:lnTo>
                    <a:pt x="153" y="60"/>
                  </a:lnTo>
                  <a:lnTo>
                    <a:pt x="157" y="59"/>
                  </a:lnTo>
                  <a:lnTo>
                    <a:pt x="158" y="59"/>
                  </a:lnTo>
                  <a:lnTo>
                    <a:pt x="159" y="59"/>
                  </a:lnTo>
                  <a:lnTo>
                    <a:pt x="159" y="60"/>
                  </a:lnTo>
                  <a:lnTo>
                    <a:pt x="159" y="59"/>
                  </a:lnTo>
                  <a:lnTo>
                    <a:pt x="160" y="60"/>
                  </a:lnTo>
                  <a:lnTo>
                    <a:pt x="160" y="59"/>
                  </a:lnTo>
                  <a:lnTo>
                    <a:pt x="161" y="59"/>
                  </a:lnTo>
                  <a:lnTo>
                    <a:pt x="160" y="59"/>
                  </a:lnTo>
                  <a:lnTo>
                    <a:pt x="160" y="58"/>
                  </a:lnTo>
                  <a:lnTo>
                    <a:pt x="161" y="58"/>
                  </a:lnTo>
                  <a:lnTo>
                    <a:pt x="161" y="56"/>
                  </a:lnTo>
                  <a:lnTo>
                    <a:pt x="161" y="55"/>
                  </a:lnTo>
                  <a:lnTo>
                    <a:pt x="160" y="55"/>
                  </a:lnTo>
                  <a:lnTo>
                    <a:pt x="159" y="55"/>
                  </a:lnTo>
                  <a:lnTo>
                    <a:pt x="159" y="54"/>
                  </a:lnTo>
                  <a:lnTo>
                    <a:pt x="158" y="53"/>
                  </a:lnTo>
                  <a:lnTo>
                    <a:pt x="159" y="53"/>
                  </a:lnTo>
                  <a:lnTo>
                    <a:pt x="160" y="54"/>
                  </a:lnTo>
                  <a:lnTo>
                    <a:pt x="160" y="53"/>
                  </a:lnTo>
                  <a:lnTo>
                    <a:pt x="160" y="52"/>
                  </a:lnTo>
                  <a:lnTo>
                    <a:pt x="159" y="52"/>
                  </a:lnTo>
                  <a:lnTo>
                    <a:pt x="159" y="50"/>
                  </a:lnTo>
                  <a:lnTo>
                    <a:pt x="158" y="50"/>
                  </a:lnTo>
                  <a:lnTo>
                    <a:pt x="158" y="52"/>
                  </a:lnTo>
                  <a:lnTo>
                    <a:pt x="157" y="52"/>
                  </a:lnTo>
                  <a:lnTo>
                    <a:pt x="157" y="50"/>
                  </a:lnTo>
                  <a:lnTo>
                    <a:pt x="155" y="50"/>
                  </a:lnTo>
                  <a:lnTo>
                    <a:pt x="155" y="52"/>
                  </a:lnTo>
                  <a:lnTo>
                    <a:pt x="154" y="52"/>
                  </a:lnTo>
                  <a:lnTo>
                    <a:pt x="154" y="50"/>
                  </a:lnTo>
                  <a:lnTo>
                    <a:pt x="154" y="52"/>
                  </a:lnTo>
                  <a:lnTo>
                    <a:pt x="153" y="53"/>
                  </a:lnTo>
                  <a:lnTo>
                    <a:pt x="152" y="53"/>
                  </a:lnTo>
                  <a:lnTo>
                    <a:pt x="151" y="53"/>
                  </a:lnTo>
                  <a:lnTo>
                    <a:pt x="151" y="52"/>
                  </a:lnTo>
                  <a:lnTo>
                    <a:pt x="149" y="52"/>
                  </a:lnTo>
                  <a:lnTo>
                    <a:pt x="149" y="53"/>
                  </a:lnTo>
                  <a:lnTo>
                    <a:pt x="149" y="54"/>
                  </a:lnTo>
                  <a:lnTo>
                    <a:pt x="149" y="55"/>
                  </a:lnTo>
                  <a:lnTo>
                    <a:pt x="148" y="54"/>
                  </a:lnTo>
                  <a:lnTo>
                    <a:pt x="148" y="53"/>
                  </a:lnTo>
                  <a:lnTo>
                    <a:pt x="148" y="52"/>
                  </a:lnTo>
                  <a:lnTo>
                    <a:pt x="147" y="52"/>
                  </a:lnTo>
                  <a:lnTo>
                    <a:pt x="146" y="52"/>
                  </a:lnTo>
                  <a:lnTo>
                    <a:pt x="146" y="50"/>
                  </a:lnTo>
                  <a:lnTo>
                    <a:pt x="145" y="50"/>
                  </a:lnTo>
                  <a:lnTo>
                    <a:pt x="143" y="52"/>
                  </a:lnTo>
                  <a:lnTo>
                    <a:pt x="145" y="53"/>
                  </a:lnTo>
                  <a:lnTo>
                    <a:pt x="143" y="53"/>
                  </a:lnTo>
                  <a:lnTo>
                    <a:pt x="143" y="54"/>
                  </a:lnTo>
                  <a:lnTo>
                    <a:pt x="142" y="54"/>
                  </a:lnTo>
                  <a:lnTo>
                    <a:pt x="142" y="53"/>
                  </a:lnTo>
                  <a:lnTo>
                    <a:pt x="141" y="53"/>
                  </a:lnTo>
                  <a:lnTo>
                    <a:pt x="141" y="50"/>
                  </a:lnTo>
                  <a:lnTo>
                    <a:pt x="141" y="49"/>
                  </a:lnTo>
                  <a:lnTo>
                    <a:pt x="141" y="50"/>
                  </a:lnTo>
                  <a:lnTo>
                    <a:pt x="141" y="49"/>
                  </a:lnTo>
                  <a:lnTo>
                    <a:pt x="141" y="48"/>
                  </a:lnTo>
                  <a:lnTo>
                    <a:pt x="142" y="48"/>
                  </a:lnTo>
                  <a:lnTo>
                    <a:pt x="143" y="48"/>
                  </a:lnTo>
                  <a:lnTo>
                    <a:pt x="143" y="49"/>
                  </a:lnTo>
                  <a:lnTo>
                    <a:pt x="143" y="48"/>
                  </a:lnTo>
                  <a:lnTo>
                    <a:pt x="143" y="47"/>
                  </a:lnTo>
                  <a:lnTo>
                    <a:pt x="142" y="48"/>
                  </a:lnTo>
                  <a:lnTo>
                    <a:pt x="141" y="48"/>
                  </a:lnTo>
                  <a:lnTo>
                    <a:pt x="141" y="47"/>
                  </a:lnTo>
                  <a:lnTo>
                    <a:pt x="141" y="46"/>
                  </a:lnTo>
                  <a:lnTo>
                    <a:pt x="142" y="46"/>
                  </a:lnTo>
                  <a:lnTo>
                    <a:pt x="142" y="47"/>
                  </a:lnTo>
                  <a:lnTo>
                    <a:pt x="143" y="47"/>
                  </a:lnTo>
                  <a:lnTo>
                    <a:pt x="143" y="46"/>
                  </a:lnTo>
                  <a:lnTo>
                    <a:pt x="142" y="46"/>
                  </a:lnTo>
                  <a:lnTo>
                    <a:pt x="143" y="44"/>
                  </a:lnTo>
                  <a:lnTo>
                    <a:pt x="145" y="44"/>
                  </a:lnTo>
                  <a:lnTo>
                    <a:pt x="146" y="43"/>
                  </a:lnTo>
                  <a:lnTo>
                    <a:pt x="147" y="43"/>
                  </a:lnTo>
                  <a:lnTo>
                    <a:pt x="147" y="44"/>
                  </a:lnTo>
                  <a:lnTo>
                    <a:pt x="148" y="43"/>
                  </a:lnTo>
                  <a:lnTo>
                    <a:pt x="148" y="42"/>
                  </a:lnTo>
                  <a:lnTo>
                    <a:pt x="147" y="42"/>
                  </a:lnTo>
                  <a:lnTo>
                    <a:pt x="146" y="42"/>
                  </a:lnTo>
                  <a:lnTo>
                    <a:pt x="146" y="43"/>
                  </a:lnTo>
                  <a:lnTo>
                    <a:pt x="145" y="43"/>
                  </a:lnTo>
                  <a:lnTo>
                    <a:pt x="143" y="43"/>
                  </a:lnTo>
                  <a:lnTo>
                    <a:pt x="142" y="44"/>
                  </a:lnTo>
                  <a:lnTo>
                    <a:pt x="143" y="43"/>
                  </a:lnTo>
                  <a:lnTo>
                    <a:pt x="142" y="42"/>
                  </a:lnTo>
                  <a:lnTo>
                    <a:pt x="142" y="43"/>
                  </a:lnTo>
                  <a:lnTo>
                    <a:pt x="141" y="42"/>
                  </a:lnTo>
                  <a:lnTo>
                    <a:pt x="140" y="42"/>
                  </a:lnTo>
                  <a:lnTo>
                    <a:pt x="140" y="43"/>
                  </a:lnTo>
                  <a:lnTo>
                    <a:pt x="139" y="44"/>
                  </a:lnTo>
                  <a:lnTo>
                    <a:pt x="139" y="43"/>
                  </a:lnTo>
                  <a:lnTo>
                    <a:pt x="137" y="43"/>
                  </a:lnTo>
                  <a:lnTo>
                    <a:pt x="137" y="44"/>
                  </a:lnTo>
                  <a:lnTo>
                    <a:pt x="137" y="46"/>
                  </a:lnTo>
                  <a:lnTo>
                    <a:pt x="136" y="46"/>
                  </a:lnTo>
                  <a:lnTo>
                    <a:pt x="137" y="46"/>
                  </a:lnTo>
                  <a:lnTo>
                    <a:pt x="137" y="44"/>
                  </a:lnTo>
                  <a:lnTo>
                    <a:pt x="136" y="44"/>
                  </a:lnTo>
                  <a:lnTo>
                    <a:pt x="135" y="46"/>
                  </a:lnTo>
                  <a:lnTo>
                    <a:pt x="135" y="47"/>
                  </a:lnTo>
                  <a:lnTo>
                    <a:pt x="135" y="48"/>
                  </a:lnTo>
                  <a:lnTo>
                    <a:pt x="135" y="47"/>
                  </a:lnTo>
                  <a:lnTo>
                    <a:pt x="136" y="47"/>
                  </a:lnTo>
                  <a:lnTo>
                    <a:pt x="136" y="48"/>
                  </a:lnTo>
                  <a:lnTo>
                    <a:pt x="134" y="49"/>
                  </a:lnTo>
                  <a:lnTo>
                    <a:pt x="133" y="50"/>
                  </a:lnTo>
                  <a:lnTo>
                    <a:pt x="133" y="49"/>
                  </a:lnTo>
                  <a:lnTo>
                    <a:pt x="133" y="47"/>
                  </a:lnTo>
                  <a:lnTo>
                    <a:pt x="134" y="47"/>
                  </a:lnTo>
                  <a:lnTo>
                    <a:pt x="134" y="46"/>
                  </a:lnTo>
                  <a:lnTo>
                    <a:pt x="135" y="44"/>
                  </a:lnTo>
                  <a:lnTo>
                    <a:pt x="134" y="44"/>
                  </a:lnTo>
                  <a:lnTo>
                    <a:pt x="135" y="40"/>
                  </a:lnTo>
                  <a:lnTo>
                    <a:pt x="136" y="40"/>
                  </a:lnTo>
                  <a:lnTo>
                    <a:pt x="136" y="41"/>
                  </a:lnTo>
                  <a:lnTo>
                    <a:pt x="137" y="41"/>
                  </a:lnTo>
                  <a:lnTo>
                    <a:pt x="137" y="40"/>
                  </a:lnTo>
                  <a:lnTo>
                    <a:pt x="139" y="40"/>
                  </a:lnTo>
                  <a:lnTo>
                    <a:pt x="140" y="40"/>
                  </a:lnTo>
                  <a:lnTo>
                    <a:pt x="141" y="40"/>
                  </a:lnTo>
                  <a:lnTo>
                    <a:pt x="142" y="40"/>
                  </a:lnTo>
                  <a:lnTo>
                    <a:pt x="143" y="40"/>
                  </a:lnTo>
                  <a:lnTo>
                    <a:pt x="143" y="41"/>
                  </a:lnTo>
                  <a:lnTo>
                    <a:pt x="143" y="40"/>
                  </a:lnTo>
                  <a:lnTo>
                    <a:pt x="143" y="38"/>
                  </a:lnTo>
                  <a:lnTo>
                    <a:pt x="142" y="38"/>
                  </a:lnTo>
                  <a:lnTo>
                    <a:pt x="142" y="37"/>
                  </a:lnTo>
                  <a:lnTo>
                    <a:pt x="141" y="38"/>
                  </a:lnTo>
                  <a:lnTo>
                    <a:pt x="141" y="37"/>
                  </a:lnTo>
                  <a:lnTo>
                    <a:pt x="140" y="38"/>
                  </a:lnTo>
                  <a:lnTo>
                    <a:pt x="139" y="38"/>
                  </a:lnTo>
                  <a:lnTo>
                    <a:pt x="140" y="38"/>
                  </a:lnTo>
                  <a:lnTo>
                    <a:pt x="139" y="38"/>
                  </a:lnTo>
                  <a:lnTo>
                    <a:pt x="139" y="37"/>
                  </a:lnTo>
                  <a:lnTo>
                    <a:pt x="137" y="37"/>
                  </a:lnTo>
                  <a:lnTo>
                    <a:pt x="137" y="38"/>
                  </a:lnTo>
                  <a:lnTo>
                    <a:pt x="136" y="38"/>
                  </a:lnTo>
                  <a:lnTo>
                    <a:pt x="137" y="37"/>
                  </a:lnTo>
                  <a:lnTo>
                    <a:pt x="139" y="36"/>
                  </a:lnTo>
                  <a:lnTo>
                    <a:pt x="137" y="36"/>
                  </a:lnTo>
                  <a:lnTo>
                    <a:pt x="137" y="35"/>
                  </a:lnTo>
                  <a:lnTo>
                    <a:pt x="137" y="36"/>
                  </a:lnTo>
                  <a:lnTo>
                    <a:pt x="136" y="36"/>
                  </a:lnTo>
                  <a:lnTo>
                    <a:pt x="136" y="37"/>
                  </a:lnTo>
                  <a:lnTo>
                    <a:pt x="136" y="35"/>
                  </a:lnTo>
                  <a:lnTo>
                    <a:pt x="135" y="36"/>
                  </a:lnTo>
                  <a:lnTo>
                    <a:pt x="134" y="36"/>
                  </a:lnTo>
                  <a:lnTo>
                    <a:pt x="134" y="37"/>
                  </a:lnTo>
                  <a:lnTo>
                    <a:pt x="134" y="38"/>
                  </a:lnTo>
                  <a:lnTo>
                    <a:pt x="135" y="40"/>
                  </a:lnTo>
                  <a:lnTo>
                    <a:pt x="134" y="38"/>
                  </a:lnTo>
                  <a:lnTo>
                    <a:pt x="135" y="40"/>
                  </a:lnTo>
                  <a:lnTo>
                    <a:pt x="134" y="43"/>
                  </a:lnTo>
                  <a:lnTo>
                    <a:pt x="133" y="43"/>
                  </a:lnTo>
                  <a:lnTo>
                    <a:pt x="133" y="44"/>
                  </a:lnTo>
                  <a:lnTo>
                    <a:pt x="131" y="44"/>
                  </a:lnTo>
                  <a:lnTo>
                    <a:pt x="131" y="43"/>
                  </a:lnTo>
                  <a:lnTo>
                    <a:pt x="130" y="44"/>
                  </a:lnTo>
                  <a:lnTo>
                    <a:pt x="130" y="43"/>
                  </a:lnTo>
                  <a:lnTo>
                    <a:pt x="129" y="43"/>
                  </a:lnTo>
                  <a:lnTo>
                    <a:pt x="128" y="43"/>
                  </a:lnTo>
                  <a:lnTo>
                    <a:pt x="129" y="43"/>
                  </a:lnTo>
                  <a:lnTo>
                    <a:pt x="129" y="42"/>
                  </a:lnTo>
                  <a:lnTo>
                    <a:pt x="128" y="42"/>
                  </a:lnTo>
                  <a:lnTo>
                    <a:pt x="127" y="42"/>
                  </a:lnTo>
                  <a:lnTo>
                    <a:pt x="127" y="43"/>
                  </a:lnTo>
                  <a:lnTo>
                    <a:pt x="125" y="43"/>
                  </a:lnTo>
                  <a:lnTo>
                    <a:pt x="124" y="43"/>
                  </a:lnTo>
                  <a:lnTo>
                    <a:pt x="124" y="40"/>
                  </a:lnTo>
                  <a:lnTo>
                    <a:pt x="125" y="38"/>
                  </a:lnTo>
                  <a:lnTo>
                    <a:pt x="125" y="40"/>
                  </a:lnTo>
                  <a:lnTo>
                    <a:pt x="125" y="38"/>
                  </a:lnTo>
                  <a:lnTo>
                    <a:pt x="127" y="38"/>
                  </a:lnTo>
                  <a:lnTo>
                    <a:pt x="128" y="38"/>
                  </a:lnTo>
                  <a:lnTo>
                    <a:pt x="127" y="37"/>
                  </a:lnTo>
                  <a:lnTo>
                    <a:pt x="127" y="36"/>
                  </a:lnTo>
                  <a:lnTo>
                    <a:pt x="128" y="35"/>
                  </a:lnTo>
                  <a:lnTo>
                    <a:pt x="127" y="34"/>
                  </a:lnTo>
                  <a:lnTo>
                    <a:pt x="127" y="32"/>
                  </a:lnTo>
                  <a:lnTo>
                    <a:pt x="125" y="34"/>
                  </a:lnTo>
                  <a:lnTo>
                    <a:pt x="125" y="32"/>
                  </a:lnTo>
                  <a:lnTo>
                    <a:pt x="125" y="31"/>
                  </a:lnTo>
                  <a:lnTo>
                    <a:pt x="125" y="30"/>
                  </a:lnTo>
                  <a:lnTo>
                    <a:pt x="124" y="30"/>
                  </a:lnTo>
                  <a:lnTo>
                    <a:pt x="124" y="31"/>
                  </a:lnTo>
                  <a:lnTo>
                    <a:pt x="123" y="31"/>
                  </a:lnTo>
                  <a:lnTo>
                    <a:pt x="124" y="32"/>
                  </a:lnTo>
                  <a:lnTo>
                    <a:pt x="124" y="31"/>
                  </a:lnTo>
                  <a:lnTo>
                    <a:pt x="124" y="32"/>
                  </a:lnTo>
                  <a:lnTo>
                    <a:pt x="124" y="34"/>
                  </a:lnTo>
                  <a:lnTo>
                    <a:pt x="124" y="35"/>
                  </a:lnTo>
                  <a:lnTo>
                    <a:pt x="125" y="35"/>
                  </a:lnTo>
                  <a:lnTo>
                    <a:pt x="124" y="36"/>
                  </a:lnTo>
                  <a:lnTo>
                    <a:pt x="124" y="37"/>
                  </a:lnTo>
                  <a:lnTo>
                    <a:pt x="123" y="37"/>
                  </a:lnTo>
                  <a:lnTo>
                    <a:pt x="124" y="38"/>
                  </a:lnTo>
                  <a:lnTo>
                    <a:pt x="123" y="37"/>
                  </a:lnTo>
                  <a:lnTo>
                    <a:pt x="123" y="38"/>
                  </a:lnTo>
                  <a:lnTo>
                    <a:pt x="122" y="38"/>
                  </a:lnTo>
                  <a:lnTo>
                    <a:pt x="123" y="38"/>
                  </a:lnTo>
                  <a:lnTo>
                    <a:pt x="123" y="40"/>
                  </a:lnTo>
                  <a:lnTo>
                    <a:pt x="123" y="41"/>
                  </a:lnTo>
                  <a:lnTo>
                    <a:pt x="122" y="42"/>
                  </a:lnTo>
                  <a:lnTo>
                    <a:pt x="121" y="42"/>
                  </a:lnTo>
                  <a:lnTo>
                    <a:pt x="119" y="42"/>
                  </a:lnTo>
                  <a:lnTo>
                    <a:pt x="119" y="41"/>
                  </a:lnTo>
                  <a:lnTo>
                    <a:pt x="118" y="41"/>
                  </a:lnTo>
                  <a:lnTo>
                    <a:pt x="117" y="41"/>
                  </a:lnTo>
                  <a:lnTo>
                    <a:pt x="118" y="40"/>
                  </a:lnTo>
                  <a:lnTo>
                    <a:pt x="118" y="38"/>
                  </a:lnTo>
                  <a:lnTo>
                    <a:pt x="119" y="38"/>
                  </a:lnTo>
                  <a:lnTo>
                    <a:pt x="119" y="37"/>
                  </a:lnTo>
                  <a:lnTo>
                    <a:pt x="119" y="36"/>
                  </a:lnTo>
                  <a:lnTo>
                    <a:pt x="119" y="35"/>
                  </a:lnTo>
                  <a:lnTo>
                    <a:pt x="119" y="34"/>
                  </a:lnTo>
                  <a:lnTo>
                    <a:pt x="118" y="34"/>
                  </a:lnTo>
                  <a:lnTo>
                    <a:pt x="117" y="34"/>
                  </a:lnTo>
                  <a:lnTo>
                    <a:pt x="116" y="34"/>
                  </a:lnTo>
                  <a:lnTo>
                    <a:pt x="116" y="35"/>
                  </a:lnTo>
                  <a:lnTo>
                    <a:pt x="115" y="35"/>
                  </a:lnTo>
                  <a:lnTo>
                    <a:pt x="115" y="36"/>
                  </a:lnTo>
                  <a:lnTo>
                    <a:pt x="113" y="36"/>
                  </a:lnTo>
                  <a:lnTo>
                    <a:pt x="112" y="36"/>
                  </a:lnTo>
                  <a:lnTo>
                    <a:pt x="112" y="37"/>
                  </a:lnTo>
                  <a:lnTo>
                    <a:pt x="113" y="37"/>
                  </a:lnTo>
                  <a:lnTo>
                    <a:pt x="115" y="37"/>
                  </a:lnTo>
                  <a:lnTo>
                    <a:pt x="115" y="38"/>
                  </a:lnTo>
                  <a:lnTo>
                    <a:pt x="115" y="40"/>
                  </a:lnTo>
                  <a:lnTo>
                    <a:pt x="113" y="41"/>
                  </a:lnTo>
                  <a:lnTo>
                    <a:pt x="115" y="41"/>
                  </a:lnTo>
                  <a:lnTo>
                    <a:pt x="115" y="42"/>
                  </a:lnTo>
                  <a:lnTo>
                    <a:pt x="113" y="42"/>
                  </a:lnTo>
                  <a:lnTo>
                    <a:pt x="113" y="41"/>
                  </a:lnTo>
                  <a:lnTo>
                    <a:pt x="113" y="40"/>
                  </a:lnTo>
                  <a:lnTo>
                    <a:pt x="112" y="41"/>
                  </a:lnTo>
                  <a:lnTo>
                    <a:pt x="112" y="42"/>
                  </a:lnTo>
                  <a:lnTo>
                    <a:pt x="111" y="42"/>
                  </a:lnTo>
                  <a:lnTo>
                    <a:pt x="111" y="41"/>
                  </a:lnTo>
                  <a:lnTo>
                    <a:pt x="110" y="41"/>
                  </a:lnTo>
                  <a:lnTo>
                    <a:pt x="110" y="40"/>
                  </a:lnTo>
                  <a:lnTo>
                    <a:pt x="110" y="38"/>
                  </a:lnTo>
                  <a:lnTo>
                    <a:pt x="109" y="38"/>
                  </a:lnTo>
                  <a:lnTo>
                    <a:pt x="109" y="40"/>
                  </a:lnTo>
                  <a:lnTo>
                    <a:pt x="107" y="40"/>
                  </a:lnTo>
                  <a:lnTo>
                    <a:pt x="109" y="38"/>
                  </a:lnTo>
                  <a:lnTo>
                    <a:pt x="107" y="37"/>
                  </a:lnTo>
                  <a:lnTo>
                    <a:pt x="107" y="36"/>
                  </a:lnTo>
                  <a:lnTo>
                    <a:pt x="107" y="37"/>
                  </a:lnTo>
                  <a:lnTo>
                    <a:pt x="109" y="36"/>
                  </a:lnTo>
                  <a:lnTo>
                    <a:pt x="109" y="35"/>
                  </a:lnTo>
                  <a:lnTo>
                    <a:pt x="110" y="35"/>
                  </a:lnTo>
                  <a:lnTo>
                    <a:pt x="110" y="34"/>
                  </a:lnTo>
                  <a:lnTo>
                    <a:pt x="110" y="32"/>
                  </a:lnTo>
                  <a:lnTo>
                    <a:pt x="110" y="31"/>
                  </a:lnTo>
                  <a:lnTo>
                    <a:pt x="110" y="32"/>
                  </a:lnTo>
                  <a:lnTo>
                    <a:pt x="109" y="32"/>
                  </a:lnTo>
                  <a:lnTo>
                    <a:pt x="109" y="31"/>
                  </a:lnTo>
                  <a:lnTo>
                    <a:pt x="109" y="30"/>
                  </a:lnTo>
                  <a:lnTo>
                    <a:pt x="109" y="29"/>
                  </a:lnTo>
                  <a:lnTo>
                    <a:pt x="107" y="29"/>
                  </a:lnTo>
                  <a:lnTo>
                    <a:pt x="107" y="30"/>
                  </a:lnTo>
                  <a:lnTo>
                    <a:pt x="107" y="29"/>
                  </a:lnTo>
                  <a:lnTo>
                    <a:pt x="106" y="29"/>
                  </a:lnTo>
                  <a:lnTo>
                    <a:pt x="106" y="28"/>
                  </a:lnTo>
                  <a:lnTo>
                    <a:pt x="105" y="29"/>
                  </a:lnTo>
                  <a:lnTo>
                    <a:pt x="105" y="28"/>
                  </a:lnTo>
                  <a:lnTo>
                    <a:pt x="104" y="28"/>
                  </a:lnTo>
                  <a:lnTo>
                    <a:pt x="104" y="29"/>
                  </a:lnTo>
                  <a:lnTo>
                    <a:pt x="102" y="31"/>
                  </a:lnTo>
                  <a:lnTo>
                    <a:pt x="101" y="31"/>
                  </a:lnTo>
                  <a:lnTo>
                    <a:pt x="101" y="30"/>
                  </a:lnTo>
                  <a:lnTo>
                    <a:pt x="100" y="29"/>
                  </a:lnTo>
                  <a:lnTo>
                    <a:pt x="100" y="28"/>
                  </a:lnTo>
                  <a:lnTo>
                    <a:pt x="101" y="29"/>
                  </a:lnTo>
                  <a:lnTo>
                    <a:pt x="101" y="26"/>
                  </a:lnTo>
                  <a:lnTo>
                    <a:pt x="100" y="26"/>
                  </a:lnTo>
                  <a:lnTo>
                    <a:pt x="100" y="25"/>
                  </a:lnTo>
                  <a:lnTo>
                    <a:pt x="100" y="24"/>
                  </a:lnTo>
                  <a:lnTo>
                    <a:pt x="99" y="18"/>
                  </a:lnTo>
                  <a:lnTo>
                    <a:pt x="99" y="14"/>
                  </a:lnTo>
                  <a:lnTo>
                    <a:pt x="100" y="13"/>
                  </a:lnTo>
                  <a:lnTo>
                    <a:pt x="101" y="13"/>
                  </a:lnTo>
                  <a:lnTo>
                    <a:pt x="104" y="13"/>
                  </a:lnTo>
                  <a:lnTo>
                    <a:pt x="104" y="12"/>
                  </a:lnTo>
                  <a:lnTo>
                    <a:pt x="104" y="11"/>
                  </a:lnTo>
                  <a:lnTo>
                    <a:pt x="102" y="11"/>
                  </a:lnTo>
                  <a:lnTo>
                    <a:pt x="101" y="11"/>
                  </a:lnTo>
                  <a:lnTo>
                    <a:pt x="102" y="11"/>
                  </a:lnTo>
                  <a:lnTo>
                    <a:pt x="101" y="10"/>
                  </a:lnTo>
                  <a:lnTo>
                    <a:pt x="101" y="11"/>
                  </a:lnTo>
                  <a:lnTo>
                    <a:pt x="101" y="12"/>
                  </a:lnTo>
                  <a:lnTo>
                    <a:pt x="101" y="13"/>
                  </a:lnTo>
                  <a:lnTo>
                    <a:pt x="100" y="13"/>
                  </a:lnTo>
                  <a:lnTo>
                    <a:pt x="99" y="13"/>
                  </a:lnTo>
                  <a:lnTo>
                    <a:pt x="99" y="14"/>
                  </a:lnTo>
                  <a:lnTo>
                    <a:pt x="99" y="13"/>
                  </a:lnTo>
                  <a:lnTo>
                    <a:pt x="99" y="12"/>
                  </a:lnTo>
                  <a:lnTo>
                    <a:pt x="98" y="13"/>
                  </a:lnTo>
                  <a:lnTo>
                    <a:pt x="98" y="11"/>
                  </a:lnTo>
                  <a:lnTo>
                    <a:pt x="96" y="10"/>
                  </a:lnTo>
                  <a:lnTo>
                    <a:pt x="96" y="8"/>
                  </a:lnTo>
                  <a:lnTo>
                    <a:pt x="96" y="7"/>
                  </a:lnTo>
                  <a:lnTo>
                    <a:pt x="96" y="8"/>
                  </a:lnTo>
                  <a:lnTo>
                    <a:pt x="96" y="7"/>
                  </a:lnTo>
                  <a:lnTo>
                    <a:pt x="95" y="7"/>
                  </a:lnTo>
                  <a:lnTo>
                    <a:pt x="95" y="8"/>
                  </a:lnTo>
                  <a:lnTo>
                    <a:pt x="95" y="7"/>
                  </a:lnTo>
                  <a:lnTo>
                    <a:pt x="94" y="7"/>
                  </a:lnTo>
                  <a:lnTo>
                    <a:pt x="94" y="8"/>
                  </a:lnTo>
                  <a:lnTo>
                    <a:pt x="94" y="7"/>
                  </a:lnTo>
                  <a:lnTo>
                    <a:pt x="93" y="7"/>
                  </a:lnTo>
                  <a:lnTo>
                    <a:pt x="93" y="6"/>
                  </a:lnTo>
                  <a:lnTo>
                    <a:pt x="93" y="5"/>
                  </a:lnTo>
                  <a:lnTo>
                    <a:pt x="93" y="3"/>
                  </a:lnTo>
                  <a:lnTo>
                    <a:pt x="93" y="5"/>
                  </a:lnTo>
                  <a:lnTo>
                    <a:pt x="93" y="3"/>
                  </a:lnTo>
                  <a:lnTo>
                    <a:pt x="93" y="5"/>
                  </a:lnTo>
                  <a:lnTo>
                    <a:pt x="92" y="5"/>
                  </a:lnTo>
                  <a:lnTo>
                    <a:pt x="92" y="3"/>
                  </a:lnTo>
                  <a:lnTo>
                    <a:pt x="93" y="2"/>
                  </a:lnTo>
                  <a:lnTo>
                    <a:pt x="92" y="3"/>
                  </a:lnTo>
                  <a:lnTo>
                    <a:pt x="92" y="5"/>
                  </a:lnTo>
                  <a:lnTo>
                    <a:pt x="92" y="3"/>
                  </a:lnTo>
                  <a:lnTo>
                    <a:pt x="92" y="2"/>
                  </a:lnTo>
                  <a:lnTo>
                    <a:pt x="92" y="0"/>
                  </a:lnTo>
                  <a:lnTo>
                    <a:pt x="92" y="1"/>
                  </a:lnTo>
                  <a:lnTo>
                    <a:pt x="90" y="0"/>
                  </a:lnTo>
                  <a:lnTo>
                    <a:pt x="92" y="2"/>
                  </a:lnTo>
                  <a:lnTo>
                    <a:pt x="90" y="1"/>
                  </a:lnTo>
                  <a:lnTo>
                    <a:pt x="92" y="2"/>
                  </a:lnTo>
                  <a:lnTo>
                    <a:pt x="90" y="2"/>
                  </a:lnTo>
                  <a:lnTo>
                    <a:pt x="92" y="3"/>
                  </a:lnTo>
                  <a:lnTo>
                    <a:pt x="92" y="5"/>
                  </a:lnTo>
                  <a:lnTo>
                    <a:pt x="90" y="3"/>
                  </a:lnTo>
                  <a:lnTo>
                    <a:pt x="92" y="5"/>
                  </a:lnTo>
                  <a:lnTo>
                    <a:pt x="93" y="6"/>
                  </a:lnTo>
                  <a:lnTo>
                    <a:pt x="92" y="6"/>
                  </a:lnTo>
                  <a:lnTo>
                    <a:pt x="92" y="5"/>
                  </a:lnTo>
                  <a:lnTo>
                    <a:pt x="90" y="6"/>
                  </a:lnTo>
                  <a:lnTo>
                    <a:pt x="90" y="5"/>
                  </a:lnTo>
                  <a:lnTo>
                    <a:pt x="90" y="3"/>
                  </a:lnTo>
                  <a:lnTo>
                    <a:pt x="90" y="2"/>
                  </a:lnTo>
                  <a:lnTo>
                    <a:pt x="90" y="1"/>
                  </a:lnTo>
                  <a:lnTo>
                    <a:pt x="90" y="0"/>
                  </a:lnTo>
                  <a:lnTo>
                    <a:pt x="89" y="0"/>
                  </a:lnTo>
                  <a:lnTo>
                    <a:pt x="90" y="1"/>
                  </a:lnTo>
                  <a:lnTo>
                    <a:pt x="89" y="1"/>
                  </a:lnTo>
                  <a:lnTo>
                    <a:pt x="89" y="2"/>
                  </a:lnTo>
                  <a:lnTo>
                    <a:pt x="89" y="3"/>
                  </a:lnTo>
                  <a:lnTo>
                    <a:pt x="89" y="5"/>
                  </a:lnTo>
                  <a:lnTo>
                    <a:pt x="89" y="6"/>
                  </a:lnTo>
                  <a:lnTo>
                    <a:pt x="89" y="5"/>
                  </a:lnTo>
                  <a:lnTo>
                    <a:pt x="88" y="5"/>
                  </a:lnTo>
                  <a:lnTo>
                    <a:pt x="88" y="6"/>
                  </a:lnTo>
                  <a:lnTo>
                    <a:pt x="87" y="5"/>
                  </a:lnTo>
                  <a:lnTo>
                    <a:pt x="87" y="6"/>
                  </a:lnTo>
                  <a:lnTo>
                    <a:pt x="88" y="6"/>
                  </a:lnTo>
                  <a:lnTo>
                    <a:pt x="88" y="7"/>
                  </a:lnTo>
                  <a:lnTo>
                    <a:pt x="88" y="8"/>
                  </a:lnTo>
                  <a:lnTo>
                    <a:pt x="88" y="7"/>
                  </a:lnTo>
                  <a:lnTo>
                    <a:pt x="89" y="8"/>
                  </a:lnTo>
                  <a:lnTo>
                    <a:pt x="90" y="11"/>
                  </a:lnTo>
                  <a:lnTo>
                    <a:pt x="93" y="17"/>
                  </a:lnTo>
                  <a:lnTo>
                    <a:pt x="94" y="20"/>
                  </a:lnTo>
                  <a:lnTo>
                    <a:pt x="94" y="19"/>
                  </a:lnTo>
                  <a:lnTo>
                    <a:pt x="94" y="20"/>
                  </a:lnTo>
                  <a:lnTo>
                    <a:pt x="93" y="20"/>
                  </a:lnTo>
                  <a:lnTo>
                    <a:pt x="93" y="19"/>
                  </a:lnTo>
                  <a:lnTo>
                    <a:pt x="94" y="20"/>
                  </a:lnTo>
                  <a:lnTo>
                    <a:pt x="95" y="22"/>
                  </a:lnTo>
                  <a:lnTo>
                    <a:pt x="94" y="22"/>
                  </a:lnTo>
                  <a:lnTo>
                    <a:pt x="93" y="20"/>
                  </a:lnTo>
                  <a:lnTo>
                    <a:pt x="93" y="22"/>
                  </a:lnTo>
                  <a:lnTo>
                    <a:pt x="92" y="20"/>
                  </a:lnTo>
                  <a:lnTo>
                    <a:pt x="93" y="22"/>
                  </a:lnTo>
                  <a:lnTo>
                    <a:pt x="92" y="22"/>
                  </a:lnTo>
                  <a:lnTo>
                    <a:pt x="94" y="22"/>
                  </a:lnTo>
                  <a:lnTo>
                    <a:pt x="95" y="22"/>
                  </a:lnTo>
                  <a:lnTo>
                    <a:pt x="95" y="23"/>
                  </a:lnTo>
                  <a:lnTo>
                    <a:pt x="94" y="23"/>
                  </a:lnTo>
                  <a:lnTo>
                    <a:pt x="93" y="24"/>
                  </a:lnTo>
                  <a:lnTo>
                    <a:pt x="94" y="24"/>
                  </a:lnTo>
                  <a:lnTo>
                    <a:pt x="95" y="24"/>
                  </a:lnTo>
                  <a:lnTo>
                    <a:pt x="98" y="26"/>
                  </a:lnTo>
                  <a:lnTo>
                    <a:pt x="96" y="28"/>
                  </a:lnTo>
                  <a:lnTo>
                    <a:pt x="96" y="29"/>
                  </a:lnTo>
                  <a:lnTo>
                    <a:pt x="95" y="29"/>
                  </a:lnTo>
                  <a:lnTo>
                    <a:pt x="95" y="30"/>
                  </a:lnTo>
                  <a:lnTo>
                    <a:pt x="95" y="31"/>
                  </a:lnTo>
                  <a:lnTo>
                    <a:pt x="96" y="32"/>
                  </a:lnTo>
                  <a:lnTo>
                    <a:pt x="96" y="34"/>
                  </a:lnTo>
                  <a:lnTo>
                    <a:pt x="96" y="35"/>
                  </a:lnTo>
                  <a:lnTo>
                    <a:pt x="96" y="36"/>
                  </a:lnTo>
                  <a:lnTo>
                    <a:pt x="96" y="37"/>
                  </a:lnTo>
                  <a:lnTo>
                    <a:pt x="98" y="38"/>
                  </a:lnTo>
                  <a:lnTo>
                    <a:pt x="96" y="38"/>
                  </a:lnTo>
                  <a:lnTo>
                    <a:pt x="95" y="38"/>
                  </a:lnTo>
                  <a:lnTo>
                    <a:pt x="95" y="40"/>
                  </a:lnTo>
                  <a:lnTo>
                    <a:pt x="95" y="41"/>
                  </a:lnTo>
                  <a:lnTo>
                    <a:pt x="94" y="40"/>
                  </a:lnTo>
                  <a:lnTo>
                    <a:pt x="94" y="41"/>
                  </a:lnTo>
                  <a:lnTo>
                    <a:pt x="94" y="40"/>
                  </a:lnTo>
                  <a:lnTo>
                    <a:pt x="93" y="38"/>
                  </a:lnTo>
                  <a:lnTo>
                    <a:pt x="93" y="40"/>
                  </a:lnTo>
                  <a:lnTo>
                    <a:pt x="93" y="38"/>
                  </a:lnTo>
                  <a:lnTo>
                    <a:pt x="92" y="38"/>
                  </a:lnTo>
                  <a:lnTo>
                    <a:pt x="90" y="38"/>
                  </a:lnTo>
                  <a:lnTo>
                    <a:pt x="92" y="38"/>
                  </a:lnTo>
                  <a:lnTo>
                    <a:pt x="92" y="40"/>
                  </a:lnTo>
                  <a:lnTo>
                    <a:pt x="90" y="38"/>
                  </a:lnTo>
                  <a:lnTo>
                    <a:pt x="90" y="37"/>
                  </a:lnTo>
                  <a:lnTo>
                    <a:pt x="90" y="36"/>
                  </a:lnTo>
                  <a:lnTo>
                    <a:pt x="89" y="36"/>
                  </a:lnTo>
                  <a:lnTo>
                    <a:pt x="89" y="35"/>
                  </a:lnTo>
                  <a:lnTo>
                    <a:pt x="90" y="34"/>
                  </a:lnTo>
                  <a:lnTo>
                    <a:pt x="89" y="35"/>
                  </a:lnTo>
                  <a:lnTo>
                    <a:pt x="89" y="34"/>
                  </a:lnTo>
                  <a:lnTo>
                    <a:pt x="90" y="34"/>
                  </a:lnTo>
                  <a:lnTo>
                    <a:pt x="90" y="32"/>
                  </a:lnTo>
                  <a:lnTo>
                    <a:pt x="89" y="32"/>
                  </a:lnTo>
                  <a:lnTo>
                    <a:pt x="89" y="31"/>
                  </a:lnTo>
                  <a:lnTo>
                    <a:pt x="89" y="30"/>
                  </a:lnTo>
                  <a:lnTo>
                    <a:pt x="89" y="31"/>
                  </a:lnTo>
                  <a:lnTo>
                    <a:pt x="88" y="34"/>
                  </a:lnTo>
                  <a:lnTo>
                    <a:pt x="88" y="32"/>
                  </a:lnTo>
                  <a:lnTo>
                    <a:pt x="88" y="31"/>
                  </a:lnTo>
                  <a:lnTo>
                    <a:pt x="87" y="31"/>
                  </a:lnTo>
                  <a:lnTo>
                    <a:pt x="88" y="31"/>
                  </a:lnTo>
                  <a:lnTo>
                    <a:pt x="87" y="31"/>
                  </a:lnTo>
                  <a:lnTo>
                    <a:pt x="86" y="31"/>
                  </a:lnTo>
                  <a:lnTo>
                    <a:pt x="86" y="30"/>
                  </a:lnTo>
                  <a:lnTo>
                    <a:pt x="86" y="31"/>
                  </a:lnTo>
                  <a:lnTo>
                    <a:pt x="84" y="32"/>
                  </a:lnTo>
                  <a:lnTo>
                    <a:pt x="86" y="31"/>
                  </a:lnTo>
                  <a:lnTo>
                    <a:pt x="86" y="32"/>
                  </a:lnTo>
                  <a:lnTo>
                    <a:pt x="86" y="34"/>
                  </a:lnTo>
                  <a:lnTo>
                    <a:pt x="86" y="35"/>
                  </a:lnTo>
                  <a:lnTo>
                    <a:pt x="87" y="35"/>
                  </a:lnTo>
                  <a:lnTo>
                    <a:pt x="88" y="35"/>
                  </a:lnTo>
                  <a:lnTo>
                    <a:pt x="88" y="36"/>
                  </a:lnTo>
                  <a:lnTo>
                    <a:pt x="87" y="36"/>
                  </a:lnTo>
                  <a:lnTo>
                    <a:pt x="87" y="37"/>
                  </a:lnTo>
                  <a:lnTo>
                    <a:pt x="87" y="38"/>
                  </a:lnTo>
                  <a:lnTo>
                    <a:pt x="88" y="38"/>
                  </a:lnTo>
                  <a:lnTo>
                    <a:pt x="89" y="41"/>
                  </a:lnTo>
                  <a:lnTo>
                    <a:pt x="89" y="42"/>
                  </a:lnTo>
                  <a:lnTo>
                    <a:pt x="89" y="43"/>
                  </a:lnTo>
                  <a:lnTo>
                    <a:pt x="89" y="42"/>
                  </a:lnTo>
                  <a:lnTo>
                    <a:pt x="88" y="42"/>
                  </a:lnTo>
                  <a:lnTo>
                    <a:pt x="88" y="43"/>
                  </a:lnTo>
                  <a:lnTo>
                    <a:pt x="89" y="43"/>
                  </a:lnTo>
                  <a:lnTo>
                    <a:pt x="89" y="44"/>
                  </a:lnTo>
                  <a:lnTo>
                    <a:pt x="88" y="44"/>
                  </a:lnTo>
                  <a:lnTo>
                    <a:pt x="87" y="44"/>
                  </a:lnTo>
                  <a:lnTo>
                    <a:pt x="87" y="43"/>
                  </a:lnTo>
                  <a:lnTo>
                    <a:pt x="86" y="43"/>
                  </a:lnTo>
                  <a:lnTo>
                    <a:pt x="84" y="46"/>
                  </a:lnTo>
                  <a:lnTo>
                    <a:pt x="84" y="44"/>
                  </a:lnTo>
                  <a:lnTo>
                    <a:pt x="83" y="44"/>
                  </a:lnTo>
                  <a:lnTo>
                    <a:pt x="83" y="43"/>
                  </a:lnTo>
                  <a:lnTo>
                    <a:pt x="82" y="43"/>
                  </a:lnTo>
                  <a:lnTo>
                    <a:pt x="82" y="44"/>
                  </a:lnTo>
                  <a:lnTo>
                    <a:pt x="81" y="44"/>
                  </a:lnTo>
                  <a:lnTo>
                    <a:pt x="81" y="43"/>
                  </a:lnTo>
                  <a:lnTo>
                    <a:pt x="81" y="44"/>
                  </a:lnTo>
                  <a:lnTo>
                    <a:pt x="81" y="46"/>
                  </a:lnTo>
                  <a:lnTo>
                    <a:pt x="80" y="47"/>
                  </a:lnTo>
                  <a:lnTo>
                    <a:pt x="80" y="48"/>
                  </a:lnTo>
                  <a:lnTo>
                    <a:pt x="78" y="48"/>
                  </a:lnTo>
                  <a:lnTo>
                    <a:pt x="78" y="47"/>
                  </a:lnTo>
                  <a:lnTo>
                    <a:pt x="78" y="48"/>
                  </a:lnTo>
                  <a:lnTo>
                    <a:pt x="77" y="48"/>
                  </a:lnTo>
                  <a:lnTo>
                    <a:pt x="76" y="48"/>
                  </a:lnTo>
                  <a:lnTo>
                    <a:pt x="77" y="48"/>
                  </a:lnTo>
                  <a:lnTo>
                    <a:pt x="77" y="47"/>
                  </a:lnTo>
                  <a:lnTo>
                    <a:pt x="77" y="46"/>
                  </a:lnTo>
                  <a:lnTo>
                    <a:pt x="76" y="46"/>
                  </a:lnTo>
                  <a:lnTo>
                    <a:pt x="76" y="47"/>
                  </a:lnTo>
                  <a:lnTo>
                    <a:pt x="76" y="48"/>
                  </a:lnTo>
                  <a:lnTo>
                    <a:pt x="76" y="49"/>
                  </a:lnTo>
                  <a:lnTo>
                    <a:pt x="75" y="49"/>
                  </a:lnTo>
                  <a:lnTo>
                    <a:pt x="74" y="49"/>
                  </a:lnTo>
                  <a:lnTo>
                    <a:pt x="74" y="48"/>
                  </a:lnTo>
                  <a:lnTo>
                    <a:pt x="72" y="48"/>
                  </a:lnTo>
                  <a:lnTo>
                    <a:pt x="74" y="50"/>
                  </a:lnTo>
                  <a:lnTo>
                    <a:pt x="75" y="52"/>
                  </a:lnTo>
                  <a:lnTo>
                    <a:pt x="76" y="52"/>
                  </a:lnTo>
                  <a:lnTo>
                    <a:pt x="76" y="53"/>
                  </a:lnTo>
                  <a:lnTo>
                    <a:pt x="75" y="53"/>
                  </a:lnTo>
                  <a:lnTo>
                    <a:pt x="74" y="52"/>
                  </a:lnTo>
                  <a:lnTo>
                    <a:pt x="74" y="50"/>
                  </a:lnTo>
                  <a:lnTo>
                    <a:pt x="74" y="49"/>
                  </a:lnTo>
                  <a:lnTo>
                    <a:pt x="72" y="50"/>
                  </a:lnTo>
                  <a:lnTo>
                    <a:pt x="72" y="52"/>
                  </a:lnTo>
                  <a:lnTo>
                    <a:pt x="71" y="52"/>
                  </a:lnTo>
                  <a:lnTo>
                    <a:pt x="72" y="52"/>
                  </a:lnTo>
                  <a:lnTo>
                    <a:pt x="71" y="53"/>
                  </a:lnTo>
                  <a:lnTo>
                    <a:pt x="71" y="52"/>
                  </a:lnTo>
                  <a:lnTo>
                    <a:pt x="71" y="50"/>
                  </a:lnTo>
                  <a:lnTo>
                    <a:pt x="71" y="49"/>
                  </a:lnTo>
                  <a:lnTo>
                    <a:pt x="71" y="50"/>
                  </a:lnTo>
                  <a:lnTo>
                    <a:pt x="70" y="50"/>
                  </a:lnTo>
                  <a:lnTo>
                    <a:pt x="71" y="49"/>
                  </a:lnTo>
                  <a:lnTo>
                    <a:pt x="70" y="49"/>
                  </a:lnTo>
                  <a:lnTo>
                    <a:pt x="70" y="50"/>
                  </a:lnTo>
                  <a:lnTo>
                    <a:pt x="70" y="49"/>
                  </a:lnTo>
                  <a:lnTo>
                    <a:pt x="70" y="50"/>
                  </a:lnTo>
                  <a:lnTo>
                    <a:pt x="70" y="52"/>
                  </a:lnTo>
                  <a:lnTo>
                    <a:pt x="70" y="53"/>
                  </a:lnTo>
                  <a:lnTo>
                    <a:pt x="69" y="53"/>
                  </a:lnTo>
                  <a:lnTo>
                    <a:pt x="68" y="53"/>
                  </a:lnTo>
                  <a:lnTo>
                    <a:pt x="68" y="54"/>
                  </a:lnTo>
                  <a:lnTo>
                    <a:pt x="66" y="54"/>
                  </a:lnTo>
                  <a:lnTo>
                    <a:pt x="65" y="54"/>
                  </a:lnTo>
                  <a:lnTo>
                    <a:pt x="65" y="55"/>
                  </a:lnTo>
                  <a:lnTo>
                    <a:pt x="64" y="55"/>
                  </a:lnTo>
                  <a:lnTo>
                    <a:pt x="65" y="56"/>
                  </a:lnTo>
                  <a:lnTo>
                    <a:pt x="65" y="58"/>
                  </a:lnTo>
                  <a:lnTo>
                    <a:pt x="66" y="58"/>
                  </a:lnTo>
                  <a:lnTo>
                    <a:pt x="66" y="56"/>
                  </a:lnTo>
                  <a:lnTo>
                    <a:pt x="66" y="58"/>
                  </a:lnTo>
                  <a:lnTo>
                    <a:pt x="68" y="58"/>
                  </a:lnTo>
                  <a:lnTo>
                    <a:pt x="66" y="59"/>
                  </a:lnTo>
                  <a:lnTo>
                    <a:pt x="68" y="59"/>
                  </a:lnTo>
                  <a:lnTo>
                    <a:pt x="68" y="60"/>
                  </a:lnTo>
                  <a:lnTo>
                    <a:pt x="68" y="61"/>
                  </a:lnTo>
                  <a:lnTo>
                    <a:pt x="68" y="60"/>
                  </a:lnTo>
                  <a:lnTo>
                    <a:pt x="69" y="61"/>
                  </a:lnTo>
                  <a:lnTo>
                    <a:pt x="68" y="61"/>
                  </a:lnTo>
                  <a:lnTo>
                    <a:pt x="66" y="60"/>
                  </a:lnTo>
                  <a:lnTo>
                    <a:pt x="66" y="61"/>
                  </a:lnTo>
                  <a:lnTo>
                    <a:pt x="65" y="60"/>
                  </a:lnTo>
                  <a:lnTo>
                    <a:pt x="65" y="59"/>
                  </a:lnTo>
                  <a:lnTo>
                    <a:pt x="65" y="60"/>
                  </a:lnTo>
                  <a:lnTo>
                    <a:pt x="65" y="61"/>
                  </a:lnTo>
                  <a:lnTo>
                    <a:pt x="63" y="60"/>
                  </a:lnTo>
                  <a:lnTo>
                    <a:pt x="64" y="59"/>
                  </a:lnTo>
                  <a:lnTo>
                    <a:pt x="63" y="60"/>
                  </a:lnTo>
                  <a:lnTo>
                    <a:pt x="63" y="59"/>
                  </a:lnTo>
                  <a:lnTo>
                    <a:pt x="62" y="60"/>
                  </a:lnTo>
                  <a:lnTo>
                    <a:pt x="59" y="58"/>
                  </a:lnTo>
                  <a:lnTo>
                    <a:pt x="56" y="56"/>
                  </a:lnTo>
                  <a:lnTo>
                    <a:pt x="57" y="55"/>
                  </a:lnTo>
                  <a:lnTo>
                    <a:pt x="57" y="56"/>
                  </a:lnTo>
                  <a:lnTo>
                    <a:pt x="58" y="56"/>
                  </a:lnTo>
                  <a:lnTo>
                    <a:pt x="58" y="55"/>
                  </a:lnTo>
                  <a:lnTo>
                    <a:pt x="59" y="56"/>
                  </a:lnTo>
                  <a:lnTo>
                    <a:pt x="58" y="55"/>
                  </a:lnTo>
                  <a:lnTo>
                    <a:pt x="57" y="55"/>
                  </a:lnTo>
                  <a:lnTo>
                    <a:pt x="57" y="54"/>
                  </a:lnTo>
                  <a:lnTo>
                    <a:pt x="57" y="53"/>
                  </a:lnTo>
                  <a:lnTo>
                    <a:pt x="58" y="52"/>
                  </a:lnTo>
                  <a:lnTo>
                    <a:pt x="58" y="50"/>
                  </a:lnTo>
                  <a:lnTo>
                    <a:pt x="59" y="50"/>
                  </a:lnTo>
                  <a:lnTo>
                    <a:pt x="59" y="52"/>
                  </a:lnTo>
                  <a:lnTo>
                    <a:pt x="58" y="53"/>
                  </a:lnTo>
                  <a:lnTo>
                    <a:pt x="59" y="52"/>
                  </a:lnTo>
                  <a:lnTo>
                    <a:pt x="59" y="50"/>
                  </a:lnTo>
                  <a:lnTo>
                    <a:pt x="58" y="50"/>
                  </a:lnTo>
                  <a:lnTo>
                    <a:pt x="57" y="50"/>
                  </a:lnTo>
                  <a:lnTo>
                    <a:pt x="57" y="48"/>
                  </a:lnTo>
                  <a:lnTo>
                    <a:pt x="58" y="48"/>
                  </a:lnTo>
                  <a:lnTo>
                    <a:pt x="58" y="47"/>
                  </a:lnTo>
                  <a:lnTo>
                    <a:pt x="58" y="46"/>
                  </a:lnTo>
                  <a:lnTo>
                    <a:pt x="58" y="44"/>
                  </a:lnTo>
                  <a:lnTo>
                    <a:pt x="59" y="44"/>
                  </a:lnTo>
                  <a:lnTo>
                    <a:pt x="58" y="44"/>
                  </a:lnTo>
                  <a:lnTo>
                    <a:pt x="59" y="43"/>
                  </a:lnTo>
                  <a:lnTo>
                    <a:pt x="59" y="42"/>
                  </a:lnTo>
                  <a:lnTo>
                    <a:pt x="60" y="42"/>
                  </a:lnTo>
                  <a:lnTo>
                    <a:pt x="60" y="41"/>
                  </a:lnTo>
                  <a:lnTo>
                    <a:pt x="62" y="41"/>
                  </a:lnTo>
                  <a:lnTo>
                    <a:pt x="62" y="42"/>
                  </a:lnTo>
                  <a:lnTo>
                    <a:pt x="62" y="43"/>
                  </a:lnTo>
                  <a:lnTo>
                    <a:pt x="62" y="42"/>
                  </a:lnTo>
                  <a:lnTo>
                    <a:pt x="63" y="42"/>
                  </a:lnTo>
                  <a:lnTo>
                    <a:pt x="62" y="41"/>
                  </a:lnTo>
                  <a:lnTo>
                    <a:pt x="60" y="40"/>
                  </a:lnTo>
                  <a:lnTo>
                    <a:pt x="60" y="38"/>
                  </a:lnTo>
                  <a:lnTo>
                    <a:pt x="62" y="38"/>
                  </a:lnTo>
                  <a:lnTo>
                    <a:pt x="62" y="40"/>
                  </a:lnTo>
                  <a:lnTo>
                    <a:pt x="63" y="40"/>
                  </a:lnTo>
                  <a:lnTo>
                    <a:pt x="62" y="38"/>
                  </a:lnTo>
                  <a:lnTo>
                    <a:pt x="60" y="38"/>
                  </a:lnTo>
                  <a:lnTo>
                    <a:pt x="62" y="37"/>
                  </a:lnTo>
                  <a:lnTo>
                    <a:pt x="60" y="37"/>
                  </a:lnTo>
                  <a:lnTo>
                    <a:pt x="60" y="36"/>
                  </a:lnTo>
                  <a:lnTo>
                    <a:pt x="62" y="35"/>
                  </a:lnTo>
                  <a:lnTo>
                    <a:pt x="60" y="37"/>
                  </a:lnTo>
                  <a:lnTo>
                    <a:pt x="59" y="37"/>
                  </a:lnTo>
                  <a:lnTo>
                    <a:pt x="59" y="38"/>
                  </a:lnTo>
                  <a:lnTo>
                    <a:pt x="58" y="38"/>
                  </a:lnTo>
                  <a:lnTo>
                    <a:pt x="58" y="37"/>
                  </a:lnTo>
                  <a:lnTo>
                    <a:pt x="58" y="38"/>
                  </a:lnTo>
                  <a:lnTo>
                    <a:pt x="59" y="38"/>
                  </a:lnTo>
                  <a:lnTo>
                    <a:pt x="59" y="40"/>
                  </a:lnTo>
                  <a:lnTo>
                    <a:pt x="58" y="38"/>
                  </a:lnTo>
                  <a:lnTo>
                    <a:pt x="59" y="40"/>
                  </a:lnTo>
                  <a:lnTo>
                    <a:pt x="59" y="41"/>
                  </a:lnTo>
                  <a:lnTo>
                    <a:pt x="58" y="41"/>
                  </a:lnTo>
                  <a:lnTo>
                    <a:pt x="57" y="42"/>
                  </a:lnTo>
                  <a:lnTo>
                    <a:pt x="57" y="43"/>
                  </a:lnTo>
                  <a:lnTo>
                    <a:pt x="58" y="42"/>
                  </a:lnTo>
                  <a:lnTo>
                    <a:pt x="58" y="43"/>
                  </a:lnTo>
                  <a:lnTo>
                    <a:pt x="58" y="44"/>
                  </a:lnTo>
                  <a:lnTo>
                    <a:pt x="57" y="47"/>
                  </a:lnTo>
                  <a:lnTo>
                    <a:pt x="57" y="50"/>
                  </a:lnTo>
                  <a:lnTo>
                    <a:pt x="56" y="50"/>
                  </a:lnTo>
                  <a:lnTo>
                    <a:pt x="56" y="52"/>
                  </a:lnTo>
                  <a:lnTo>
                    <a:pt x="54" y="52"/>
                  </a:lnTo>
                  <a:lnTo>
                    <a:pt x="54" y="53"/>
                  </a:lnTo>
                  <a:lnTo>
                    <a:pt x="54" y="52"/>
                  </a:lnTo>
                  <a:lnTo>
                    <a:pt x="53" y="49"/>
                  </a:lnTo>
                  <a:lnTo>
                    <a:pt x="52" y="47"/>
                  </a:lnTo>
                  <a:lnTo>
                    <a:pt x="53" y="47"/>
                  </a:lnTo>
                  <a:lnTo>
                    <a:pt x="52" y="47"/>
                  </a:lnTo>
                  <a:lnTo>
                    <a:pt x="52" y="46"/>
                  </a:lnTo>
                  <a:lnTo>
                    <a:pt x="53" y="46"/>
                  </a:lnTo>
                  <a:lnTo>
                    <a:pt x="52" y="46"/>
                  </a:lnTo>
                  <a:lnTo>
                    <a:pt x="53" y="44"/>
                  </a:lnTo>
                  <a:lnTo>
                    <a:pt x="53" y="43"/>
                  </a:lnTo>
                  <a:lnTo>
                    <a:pt x="53" y="44"/>
                  </a:lnTo>
                  <a:lnTo>
                    <a:pt x="52" y="44"/>
                  </a:lnTo>
                  <a:lnTo>
                    <a:pt x="52" y="46"/>
                  </a:lnTo>
                  <a:lnTo>
                    <a:pt x="51" y="43"/>
                  </a:lnTo>
                  <a:lnTo>
                    <a:pt x="52" y="42"/>
                  </a:lnTo>
                  <a:lnTo>
                    <a:pt x="53" y="42"/>
                  </a:lnTo>
                  <a:lnTo>
                    <a:pt x="52" y="42"/>
                  </a:lnTo>
                  <a:lnTo>
                    <a:pt x="53" y="41"/>
                  </a:lnTo>
                  <a:lnTo>
                    <a:pt x="52" y="42"/>
                  </a:lnTo>
                  <a:lnTo>
                    <a:pt x="52" y="41"/>
                  </a:lnTo>
                  <a:lnTo>
                    <a:pt x="52" y="42"/>
                  </a:lnTo>
                  <a:lnTo>
                    <a:pt x="51" y="42"/>
                  </a:lnTo>
                  <a:lnTo>
                    <a:pt x="51" y="41"/>
                  </a:lnTo>
                  <a:lnTo>
                    <a:pt x="51" y="40"/>
                  </a:lnTo>
                  <a:lnTo>
                    <a:pt x="51" y="38"/>
                  </a:lnTo>
                  <a:lnTo>
                    <a:pt x="50" y="38"/>
                  </a:lnTo>
                  <a:lnTo>
                    <a:pt x="50" y="40"/>
                  </a:lnTo>
                  <a:lnTo>
                    <a:pt x="48" y="40"/>
                  </a:lnTo>
                  <a:lnTo>
                    <a:pt x="48" y="38"/>
                  </a:lnTo>
                  <a:lnTo>
                    <a:pt x="48" y="40"/>
                  </a:lnTo>
                  <a:lnTo>
                    <a:pt x="48" y="41"/>
                  </a:lnTo>
                  <a:lnTo>
                    <a:pt x="48" y="42"/>
                  </a:lnTo>
                  <a:lnTo>
                    <a:pt x="48" y="43"/>
                  </a:lnTo>
                  <a:lnTo>
                    <a:pt x="48" y="42"/>
                  </a:lnTo>
                  <a:lnTo>
                    <a:pt x="47" y="42"/>
                  </a:lnTo>
                  <a:lnTo>
                    <a:pt x="46" y="42"/>
                  </a:lnTo>
                  <a:lnTo>
                    <a:pt x="45" y="42"/>
                  </a:lnTo>
                  <a:lnTo>
                    <a:pt x="45" y="41"/>
                  </a:lnTo>
                  <a:lnTo>
                    <a:pt x="45" y="42"/>
                  </a:lnTo>
                  <a:lnTo>
                    <a:pt x="45" y="43"/>
                  </a:lnTo>
                  <a:lnTo>
                    <a:pt x="45" y="44"/>
                  </a:lnTo>
                  <a:lnTo>
                    <a:pt x="45" y="43"/>
                  </a:lnTo>
                  <a:lnTo>
                    <a:pt x="46" y="42"/>
                  </a:lnTo>
                  <a:lnTo>
                    <a:pt x="46" y="43"/>
                  </a:lnTo>
                  <a:lnTo>
                    <a:pt x="47" y="44"/>
                  </a:lnTo>
                  <a:lnTo>
                    <a:pt x="46" y="43"/>
                  </a:lnTo>
                  <a:lnTo>
                    <a:pt x="46" y="44"/>
                  </a:lnTo>
                  <a:lnTo>
                    <a:pt x="47" y="44"/>
                  </a:lnTo>
                  <a:lnTo>
                    <a:pt x="48" y="46"/>
                  </a:lnTo>
                  <a:lnTo>
                    <a:pt x="47" y="52"/>
                  </a:lnTo>
                  <a:lnTo>
                    <a:pt x="47" y="50"/>
                  </a:lnTo>
                  <a:lnTo>
                    <a:pt x="46" y="50"/>
                  </a:lnTo>
                  <a:lnTo>
                    <a:pt x="46" y="52"/>
                  </a:lnTo>
                  <a:lnTo>
                    <a:pt x="46" y="53"/>
                  </a:lnTo>
                  <a:lnTo>
                    <a:pt x="45" y="52"/>
                  </a:lnTo>
                  <a:lnTo>
                    <a:pt x="43" y="52"/>
                  </a:lnTo>
                  <a:lnTo>
                    <a:pt x="43" y="53"/>
                  </a:lnTo>
                  <a:lnTo>
                    <a:pt x="43" y="54"/>
                  </a:lnTo>
                  <a:lnTo>
                    <a:pt x="45" y="54"/>
                  </a:lnTo>
                  <a:lnTo>
                    <a:pt x="45" y="55"/>
                  </a:lnTo>
                  <a:lnTo>
                    <a:pt x="45" y="56"/>
                  </a:lnTo>
                  <a:lnTo>
                    <a:pt x="46" y="56"/>
                  </a:lnTo>
                  <a:lnTo>
                    <a:pt x="46" y="58"/>
                  </a:lnTo>
                  <a:lnTo>
                    <a:pt x="45" y="58"/>
                  </a:lnTo>
                  <a:lnTo>
                    <a:pt x="43" y="56"/>
                  </a:lnTo>
                  <a:lnTo>
                    <a:pt x="42" y="55"/>
                  </a:lnTo>
                  <a:lnTo>
                    <a:pt x="43" y="56"/>
                  </a:lnTo>
                  <a:lnTo>
                    <a:pt x="43" y="58"/>
                  </a:lnTo>
                  <a:lnTo>
                    <a:pt x="42" y="58"/>
                  </a:lnTo>
                  <a:lnTo>
                    <a:pt x="42" y="56"/>
                  </a:lnTo>
                  <a:lnTo>
                    <a:pt x="41" y="58"/>
                  </a:lnTo>
                  <a:lnTo>
                    <a:pt x="41" y="59"/>
                  </a:lnTo>
                  <a:lnTo>
                    <a:pt x="42" y="60"/>
                  </a:lnTo>
                  <a:lnTo>
                    <a:pt x="41" y="59"/>
                  </a:lnTo>
                  <a:lnTo>
                    <a:pt x="40" y="59"/>
                  </a:lnTo>
                  <a:lnTo>
                    <a:pt x="40" y="58"/>
                  </a:lnTo>
                  <a:lnTo>
                    <a:pt x="39" y="56"/>
                  </a:lnTo>
                  <a:lnTo>
                    <a:pt x="40" y="55"/>
                  </a:lnTo>
                  <a:lnTo>
                    <a:pt x="39" y="55"/>
                  </a:lnTo>
                  <a:lnTo>
                    <a:pt x="37" y="55"/>
                  </a:lnTo>
                  <a:lnTo>
                    <a:pt x="39" y="56"/>
                  </a:lnTo>
                  <a:lnTo>
                    <a:pt x="37" y="56"/>
                  </a:lnTo>
                  <a:lnTo>
                    <a:pt x="37" y="55"/>
                  </a:lnTo>
                  <a:lnTo>
                    <a:pt x="37" y="53"/>
                  </a:lnTo>
                  <a:lnTo>
                    <a:pt x="36" y="53"/>
                  </a:lnTo>
                  <a:lnTo>
                    <a:pt x="35" y="53"/>
                  </a:lnTo>
                  <a:lnTo>
                    <a:pt x="34" y="53"/>
                  </a:lnTo>
                  <a:lnTo>
                    <a:pt x="34" y="52"/>
                  </a:lnTo>
                  <a:lnTo>
                    <a:pt x="33" y="49"/>
                  </a:lnTo>
                  <a:lnTo>
                    <a:pt x="31" y="49"/>
                  </a:lnTo>
                  <a:lnTo>
                    <a:pt x="31" y="50"/>
                  </a:lnTo>
                  <a:lnTo>
                    <a:pt x="33" y="49"/>
                  </a:lnTo>
                  <a:lnTo>
                    <a:pt x="33" y="50"/>
                  </a:lnTo>
                  <a:lnTo>
                    <a:pt x="34" y="53"/>
                  </a:lnTo>
                  <a:lnTo>
                    <a:pt x="33" y="53"/>
                  </a:lnTo>
                  <a:lnTo>
                    <a:pt x="33" y="52"/>
                  </a:lnTo>
                  <a:lnTo>
                    <a:pt x="31" y="52"/>
                  </a:lnTo>
                  <a:lnTo>
                    <a:pt x="31" y="53"/>
                  </a:lnTo>
                  <a:lnTo>
                    <a:pt x="33" y="52"/>
                  </a:lnTo>
                  <a:lnTo>
                    <a:pt x="33" y="53"/>
                  </a:lnTo>
                  <a:lnTo>
                    <a:pt x="31" y="54"/>
                  </a:lnTo>
                  <a:lnTo>
                    <a:pt x="30" y="54"/>
                  </a:lnTo>
                  <a:lnTo>
                    <a:pt x="30" y="55"/>
                  </a:lnTo>
                  <a:lnTo>
                    <a:pt x="30" y="56"/>
                  </a:lnTo>
                  <a:lnTo>
                    <a:pt x="31" y="56"/>
                  </a:lnTo>
                  <a:lnTo>
                    <a:pt x="33" y="56"/>
                  </a:lnTo>
                  <a:lnTo>
                    <a:pt x="33" y="58"/>
                  </a:lnTo>
                  <a:lnTo>
                    <a:pt x="31" y="56"/>
                  </a:lnTo>
                  <a:lnTo>
                    <a:pt x="33" y="58"/>
                  </a:lnTo>
                  <a:lnTo>
                    <a:pt x="31" y="58"/>
                  </a:lnTo>
                  <a:lnTo>
                    <a:pt x="33" y="58"/>
                  </a:lnTo>
                  <a:lnTo>
                    <a:pt x="34" y="58"/>
                  </a:lnTo>
                  <a:lnTo>
                    <a:pt x="33" y="58"/>
                  </a:lnTo>
                  <a:lnTo>
                    <a:pt x="33" y="59"/>
                  </a:lnTo>
                  <a:lnTo>
                    <a:pt x="34" y="60"/>
                  </a:lnTo>
                  <a:lnTo>
                    <a:pt x="34" y="61"/>
                  </a:lnTo>
                  <a:lnTo>
                    <a:pt x="33" y="60"/>
                  </a:lnTo>
                  <a:lnTo>
                    <a:pt x="31" y="60"/>
                  </a:lnTo>
                  <a:lnTo>
                    <a:pt x="31" y="59"/>
                  </a:lnTo>
                  <a:lnTo>
                    <a:pt x="30" y="58"/>
                  </a:lnTo>
                  <a:lnTo>
                    <a:pt x="30" y="59"/>
                  </a:lnTo>
                  <a:lnTo>
                    <a:pt x="30" y="60"/>
                  </a:lnTo>
                  <a:lnTo>
                    <a:pt x="29" y="60"/>
                  </a:lnTo>
                  <a:lnTo>
                    <a:pt x="28" y="60"/>
                  </a:lnTo>
                  <a:lnTo>
                    <a:pt x="27" y="60"/>
                  </a:lnTo>
                  <a:lnTo>
                    <a:pt x="27" y="62"/>
                  </a:lnTo>
                  <a:lnTo>
                    <a:pt x="27" y="61"/>
                  </a:lnTo>
                  <a:lnTo>
                    <a:pt x="27" y="60"/>
                  </a:lnTo>
                  <a:lnTo>
                    <a:pt x="25" y="59"/>
                  </a:lnTo>
                  <a:lnTo>
                    <a:pt x="25" y="60"/>
                  </a:lnTo>
                  <a:lnTo>
                    <a:pt x="25" y="61"/>
                  </a:lnTo>
                  <a:lnTo>
                    <a:pt x="24" y="61"/>
                  </a:lnTo>
                  <a:lnTo>
                    <a:pt x="24" y="60"/>
                  </a:lnTo>
                  <a:lnTo>
                    <a:pt x="23" y="60"/>
                  </a:lnTo>
                  <a:lnTo>
                    <a:pt x="22" y="60"/>
                  </a:lnTo>
                  <a:lnTo>
                    <a:pt x="22" y="59"/>
                  </a:lnTo>
                  <a:lnTo>
                    <a:pt x="22" y="58"/>
                  </a:lnTo>
                  <a:lnTo>
                    <a:pt x="21" y="58"/>
                  </a:lnTo>
                  <a:lnTo>
                    <a:pt x="21" y="59"/>
                  </a:lnTo>
                  <a:lnTo>
                    <a:pt x="22" y="59"/>
                  </a:lnTo>
                  <a:lnTo>
                    <a:pt x="22" y="60"/>
                  </a:lnTo>
                  <a:lnTo>
                    <a:pt x="22" y="61"/>
                  </a:lnTo>
                  <a:lnTo>
                    <a:pt x="23" y="60"/>
                  </a:lnTo>
                  <a:lnTo>
                    <a:pt x="23" y="61"/>
                  </a:lnTo>
                  <a:lnTo>
                    <a:pt x="23" y="62"/>
                  </a:lnTo>
                  <a:lnTo>
                    <a:pt x="24" y="61"/>
                  </a:lnTo>
                  <a:lnTo>
                    <a:pt x="25" y="62"/>
                  </a:lnTo>
                  <a:lnTo>
                    <a:pt x="27" y="62"/>
                  </a:lnTo>
                  <a:lnTo>
                    <a:pt x="28" y="64"/>
                  </a:lnTo>
                  <a:lnTo>
                    <a:pt x="27" y="64"/>
                  </a:lnTo>
                  <a:lnTo>
                    <a:pt x="28" y="65"/>
                  </a:lnTo>
                  <a:lnTo>
                    <a:pt x="28" y="64"/>
                  </a:lnTo>
                  <a:lnTo>
                    <a:pt x="29" y="64"/>
                  </a:lnTo>
                  <a:lnTo>
                    <a:pt x="29" y="65"/>
                  </a:lnTo>
                  <a:lnTo>
                    <a:pt x="29" y="66"/>
                  </a:lnTo>
                  <a:lnTo>
                    <a:pt x="30" y="66"/>
                  </a:lnTo>
                  <a:lnTo>
                    <a:pt x="33" y="68"/>
                  </a:lnTo>
                  <a:lnTo>
                    <a:pt x="33" y="70"/>
                  </a:lnTo>
                  <a:lnTo>
                    <a:pt x="30" y="70"/>
                  </a:lnTo>
                  <a:lnTo>
                    <a:pt x="28" y="68"/>
                  </a:lnTo>
                  <a:lnTo>
                    <a:pt x="25" y="67"/>
                  </a:lnTo>
                  <a:lnTo>
                    <a:pt x="28" y="68"/>
                  </a:lnTo>
                  <a:lnTo>
                    <a:pt x="25" y="68"/>
                  </a:lnTo>
                  <a:lnTo>
                    <a:pt x="24" y="67"/>
                  </a:lnTo>
                  <a:lnTo>
                    <a:pt x="23" y="67"/>
                  </a:lnTo>
                  <a:lnTo>
                    <a:pt x="23" y="66"/>
                  </a:lnTo>
                  <a:lnTo>
                    <a:pt x="21" y="65"/>
                  </a:lnTo>
                  <a:lnTo>
                    <a:pt x="22" y="67"/>
                  </a:lnTo>
                  <a:lnTo>
                    <a:pt x="23" y="67"/>
                  </a:lnTo>
                  <a:lnTo>
                    <a:pt x="22" y="67"/>
                  </a:lnTo>
                  <a:lnTo>
                    <a:pt x="19" y="66"/>
                  </a:lnTo>
                  <a:lnTo>
                    <a:pt x="18" y="65"/>
                  </a:lnTo>
                  <a:lnTo>
                    <a:pt x="21" y="66"/>
                  </a:lnTo>
                  <a:lnTo>
                    <a:pt x="22" y="67"/>
                  </a:lnTo>
                  <a:lnTo>
                    <a:pt x="22" y="68"/>
                  </a:lnTo>
                  <a:lnTo>
                    <a:pt x="23" y="70"/>
                  </a:lnTo>
                  <a:lnTo>
                    <a:pt x="23" y="68"/>
                  </a:lnTo>
                  <a:lnTo>
                    <a:pt x="23" y="67"/>
                  </a:lnTo>
                  <a:lnTo>
                    <a:pt x="24" y="68"/>
                  </a:lnTo>
                  <a:lnTo>
                    <a:pt x="27" y="68"/>
                  </a:lnTo>
                  <a:lnTo>
                    <a:pt x="28" y="71"/>
                  </a:lnTo>
                  <a:lnTo>
                    <a:pt x="28" y="68"/>
                  </a:lnTo>
                  <a:lnTo>
                    <a:pt x="30" y="70"/>
                  </a:lnTo>
                  <a:lnTo>
                    <a:pt x="31" y="70"/>
                  </a:lnTo>
                  <a:lnTo>
                    <a:pt x="30" y="70"/>
                  </a:lnTo>
                  <a:lnTo>
                    <a:pt x="30" y="71"/>
                  </a:lnTo>
                  <a:lnTo>
                    <a:pt x="31" y="71"/>
                  </a:lnTo>
                  <a:lnTo>
                    <a:pt x="33" y="72"/>
                  </a:lnTo>
                  <a:lnTo>
                    <a:pt x="31" y="71"/>
                  </a:lnTo>
                  <a:lnTo>
                    <a:pt x="33" y="71"/>
                  </a:lnTo>
                  <a:lnTo>
                    <a:pt x="34" y="71"/>
                  </a:lnTo>
                  <a:lnTo>
                    <a:pt x="35" y="71"/>
                  </a:lnTo>
                  <a:lnTo>
                    <a:pt x="35" y="72"/>
                  </a:lnTo>
                  <a:lnTo>
                    <a:pt x="36" y="72"/>
                  </a:lnTo>
                  <a:lnTo>
                    <a:pt x="36" y="73"/>
                  </a:lnTo>
                  <a:lnTo>
                    <a:pt x="36" y="72"/>
                  </a:lnTo>
                  <a:lnTo>
                    <a:pt x="37" y="72"/>
                  </a:lnTo>
                  <a:lnTo>
                    <a:pt x="39" y="73"/>
                  </a:lnTo>
                  <a:lnTo>
                    <a:pt x="39" y="74"/>
                  </a:lnTo>
                  <a:lnTo>
                    <a:pt x="39" y="73"/>
                  </a:lnTo>
                  <a:lnTo>
                    <a:pt x="39" y="74"/>
                  </a:lnTo>
                  <a:lnTo>
                    <a:pt x="40" y="76"/>
                  </a:lnTo>
                  <a:lnTo>
                    <a:pt x="40" y="74"/>
                  </a:lnTo>
                  <a:lnTo>
                    <a:pt x="41" y="74"/>
                  </a:lnTo>
                  <a:lnTo>
                    <a:pt x="41" y="76"/>
                  </a:lnTo>
                  <a:lnTo>
                    <a:pt x="42" y="76"/>
                  </a:lnTo>
                  <a:lnTo>
                    <a:pt x="42" y="77"/>
                  </a:lnTo>
                  <a:lnTo>
                    <a:pt x="42" y="78"/>
                  </a:lnTo>
                  <a:lnTo>
                    <a:pt x="41" y="79"/>
                  </a:lnTo>
                  <a:lnTo>
                    <a:pt x="41" y="78"/>
                  </a:lnTo>
                  <a:lnTo>
                    <a:pt x="40" y="79"/>
                  </a:lnTo>
                  <a:lnTo>
                    <a:pt x="40" y="78"/>
                  </a:lnTo>
                  <a:lnTo>
                    <a:pt x="39" y="77"/>
                  </a:lnTo>
                  <a:lnTo>
                    <a:pt x="39" y="78"/>
                  </a:lnTo>
                  <a:lnTo>
                    <a:pt x="37" y="78"/>
                  </a:lnTo>
                  <a:lnTo>
                    <a:pt x="36" y="78"/>
                  </a:lnTo>
                  <a:lnTo>
                    <a:pt x="37" y="77"/>
                  </a:lnTo>
                  <a:lnTo>
                    <a:pt x="39" y="77"/>
                  </a:lnTo>
                  <a:lnTo>
                    <a:pt x="39" y="76"/>
                  </a:lnTo>
                  <a:lnTo>
                    <a:pt x="37" y="76"/>
                  </a:lnTo>
                  <a:lnTo>
                    <a:pt x="37" y="77"/>
                  </a:lnTo>
                  <a:lnTo>
                    <a:pt x="36" y="77"/>
                  </a:lnTo>
                  <a:lnTo>
                    <a:pt x="36" y="76"/>
                  </a:lnTo>
                  <a:lnTo>
                    <a:pt x="36" y="74"/>
                  </a:lnTo>
                  <a:lnTo>
                    <a:pt x="36" y="73"/>
                  </a:lnTo>
                  <a:lnTo>
                    <a:pt x="35" y="73"/>
                  </a:lnTo>
                  <a:lnTo>
                    <a:pt x="34" y="73"/>
                  </a:lnTo>
                  <a:lnTo>
                    <a:pt x="34" y="74"/>
                  </a:lnTo>
                  <a:lnTo>
                    <a:pt x="34" y="73"/>
                  </a:lnTo>
                  <a:lnTo>
                    <a:pt x="33" y="74"/>
                  </a:lnTo>
                  <a:lnTo>
                    <a:pt x="33" y="76"/>
                  </a:lnTo>
                  <a:lnTo>
                    <a:pt x="33" y="77"/>
                  </a:lnTo>
                  <a:lnTo>
                    <a:pt x="33" y="78"/>
                  </a:lnTo>
                  <a:lnTo>
                    <a:pt x="31" y="78"/>
                  </a:lnTo>
                  <a:lnTo>
                    <a:pt x="30" y="78"/>
                  </a:lnTo>
                  <a:lnTo>
                    <a:pt x="31" y="78"/>
                  </a:lnTo>
                  <a:lnTo>
                    <a:pt x="30" y="77"/>
                  </a:lnTo>
                  <a:lnTo>
                    <a:pt x="30" y="76"/>
                  </a:lnTo>
                  <a:lnTo>
                    <a:pt x="31" y="76"/>
                  </a:lnTo>
                  <a:lnTo>
                    <a:pt x="30" y="74"/>
                  </a:lnTo>
                  <a:lnTo>
                    <a:pt x="30" y="76"/>
                  </a:lnTo>
                  <a:lnTo>
                    <a:pt x="29" y="78"/>
                  </a:lnTo>
                  <a:lnTo>
                    <a:pt x="28" y="76"/>
                  </a:lnTo>
                  <a:lnTo>
                    <a:pt x="28" y="74"/>
                  </a:lnTo>
                  <a:lnTo>
                    <a:pt x="29" y="74"/>
                  </a:lnTo>
                  <a:lnTo>
                    <a:pt x="29" y="73"/>
                  </a:lnTo>
                  <a:lnTo>
                    <a:pt x="28" y="73"/>
                  </a:lnTo>
                  <a:lnTo>
                    <a:pt x="28" y="74"/>
                  </a:lnTo>
                  <a:lnTo>
                    <a:pt x="27" y="72"/>
                  </a:lnTo>
                  <a:lnTo>
                    <a:pt x="27" y="74"/>
                  </a:lnTo>
                  <a:lnTo>
                    <a:pt x="28" y="74"/>
                  </a:lnTo>
                  <a:lnTo>
                    <a:pt x="28" y="76"/>
                  </a:lnTo>
                  <a:lnTo>
                    <a:pt x="25" y="73"/>
                  </a:lnTo>
                  <a:lnTo>
                    <a:pt x="28" y="76"/>
                  </a:lnTo>
                  <a:lnTo>
                    <a:pt x="27" y="76"/>
                  </a:lnTo>
                  <a:lnTo>
                    <a:pt x="25" y="76"/>
                  </a:lnTo>
                  <a:lnTo>
                    <a:pt x="25" y="77"/>
                  </a:lnTo>
                  <a:lnTo>
                    <a:pt x="24" y="76"/>
                  </a:lnTo>
                  <a:lnTo>
                    <a:pt x="23" y="76"/>
                  </a:lnTo>
                  <a:lnTo>
                    <a:pt x="23" y="77"/>
                  </a:lnTo>
                  <a:lnTo>
                    <a:pt x="22" y="77"/>
                  </a:lnTo>
                  <a:lnTo>
                    <a:pt x="22" y="76"/>
                  </a:lnTo>
                  <a:lnTo>
                    <a:pt x="21" y="76"/>
                  </a:lnTo>
                  <a:lnTo>
                    <a:pt x="19" y="76"/>
                  </a:lnTo>
                  <a:lnTo>
                    <a:pt x="19" y="74"/>
                  </a:lnTo>
                  <a:lnTo>
                    <a:pt x="19" y="73"/>
                  </a:lnTo>
                  <a:lnTo>
                    <a:pt x="18" y="74"/>
                  </a:lnTo>
                  <a:lnTo>
                    <a:pt x="18" y="76"/>
                  </a:lnTo>
                  <a:lnTo>
                    <a:pt x="18" y="74"/>
                  </a:lnTo>
                  <a:lnTo>
                    <a:pt x="17" y="74"/>
                  </a:lnTo>
                  <a:lnTo>
                    <a:pt x="17" y="73"/>
                  </a:lnTo>
                  <a:lnTo>
                    <a:pt x="17" y="74"/>
                  </a:lnTo>
                  <a:lnTo>
                    <a:pt x="17" y="76"/>
                  </a:lnTo>
                  <a:lnTo>
                    <a:pt x="18" y="76"/>
                  </a:lnTo>
                  <a:lnTo>
                    <a:pt x="19" y="76"/>
                  </a:lnTo>
                  <a:lnTo>
                    <a:pt x="24" y="78"/>
                  </a:lnTo>
                  <a:lnTo>
                    <a:pt x="27" y="78"/>
                  </a:lnTo>
                  <a:lnTo>
                    <a:pt x="25" y="80"/>
                  </a:lnTo>
                  <a:lnTo>
                    <a:pt x="27" y="80"/>
                  </a:lnTo>
                  <a:lnTo>
                    <a:pt x="27" y="79"/>
                  </a:lnTo>
                  <a:lnTo>
                    <a:pt x="28" y="79"/>
                  </a:lnTo>
                  <a:lnTo>
                    <a:pt x="28" y="80"/>
                  </a:lnTo>
                  <a:lnTo>
                    <a:pt x="28" y="79"/>
                  </a:lnTo>
                  <a:lnTo>
                    <a:pt x="29" y="80"/>
                  </a:lnTo>
                  <a:lnTo>
                    <a:pt x="29" y="79"/>
                  </a:lnTo>
                  <a:lnTo>
                    <a:pt x="29" y="78"/>
                  </a:lnTo>
                  <a:lnTo>
                    <a:pt x="31" y="79"/>
                  </a:lnTo>
                  <a:lnTo>
                    <a:pt x="33" y="79"/>
                  </a:lnTo>
                  <a:lnTo>
                    <a:pt x="33" y="80"/>
                  </a:lnTo>
                  <a:lnTo>
                    <a:pt x="31" y="83"/>
                  </a:lnTo>
                  <a:lnTo>
                    <a:pt x="30" y="84"/>
                  </a:lnTo>
                  <a:lnTo>
                    <a:pt x="29" y="84"/>
                  </a:lnTo>
                  <a:lnTo>
                    <a:pt x="28" y="84"/>
                  </a:lnTo>
                  <a:lnTo>
                    <a:pt x="27" y="83"/>
                  </a:lnTo>
                  <a:lnTo>
                    <a:pt x="25" y="84"/>
                  </a:lnTo>
                  <a:lnTo>
                    <a:pt x="24" y="84"/>
                  </a:lnTo>
                  <a:lnTo>
                    <a:pt x="25" y="85"/>
                  </a:lnTo>
                  <a:lnTo>
                    <a:pt x="24" y="86"/>
                  </a:lnTo>
                  <a:lnTo>
                    <a:pt x="23" y="88"/>
                  </a:lnTo>
                  <a:lnTo>
                    <a:pt x="23" y="89"/>
                  </a:lnTo>
                  <a:lnTo>
                    <a:pt x="22" y="89"/>
                  </a:lnTo>
                  <a:lnTo>
                    <a:pt x="21" y="89"/>
                  </a:lnTo>
                  <a:lnTo>
                    <a:pt x="19" y="89"/>
                  </a:lnTo>
                  <a:lnTo>
                    <a:pt x="19" y="90"/>
                  </a:lnTo>
                  <a:lnTo>
                    <a:pt x="18" y="90"/>
                  </a:lnTo>
                  <a:lnTo>
                    <a:pt x="17" y="89"/>
                  </a:lnTo>
                  <a:lnTo>
                    <a:pt x="18" y="91"/>
                  </a:lnTo>
                  <a:lnTo>
                    <a:pt x="17" y="91"/>
                  </a:lnTo>
                  <a:lnTo>
                    <a:pt x="17" y="92"/>
                  </a:lnTo>
                  <a:lnTo>
                    <a:pt x="16" y="92"/>
                  </a:lnTo>
                  <a:lnTo>
                    <a:pt x="13" y="91"/>
                  </a:lnTo>
                  <a:lnTo>
                    <a:pt x="13" y="90"/>
                  </a:lnTo>
                  <a:lnTo>
                    <a:pt x="13" y="89"/>
                  </a:lnTo>
                  <a:lnTo>
                    <a:pt x="13" y="90"/>
                  </a:lnTo>
                  <a:lnTo>
                    <a:pt x="12" y="90"/>
                  </a:lnTo>
                  <a:lnTo>
                    <a:pt x="11" y="89"/>
                  </a:lnTo>
                  <a:lnTo>
                    <a:pt x="9" y="88"/>
                  </a:lnTo>
                  <a:lnTo>
                    <a:pt x="10" y="88"/>
                  </a:lnTo>
                  <a:lnTo>
                    <a:pt x="11" y="86"/>
                  </a:lnTo>
                  <a:lnTo>
                    <a:pt x="11" y="85"/>
                  </a:lnTo>
                  <a:lnTo>
                    <a:pt x="10" y="84"/>
                  </a:lnTo>
                  <a:lnTo>
                    <a:pt x="10" y="86"/>
                  </a:lnTo>
                  <a:lnTo>
                    <a:pt x="9" y="88"/>
                  </a:lnTo>
                  <a:lnTo>
                    <a:pt x="9" y="86"/>
                  </a:lnTo>
                  <a:lnTo>
                    <a:pt x="10" y="85"/>
                  </a:lnTo>
                  <a:lnTo>
                    <a:pt x="9" y="86"/>
                  </a:lnTo>
                  <a:lnTo>
                    <a:pt x="7" y="86"/>
                  </a:lnTo>
                  <a:lnTo>
                    <a:pt x="9" y="85"/>
                  </a:lnTo>
                  <a:lnTo>
                    <a:pt x="9" y="84"/>
                  </a:lnTo>
                  <a:lnTo>
                    <a:pt x="9" y="85"/>
                  </a:lnTo>
                  <a:lnTo>
                    <a:pt x="10" y="84"/>
                  </a:lnTo>
                  <a:lnTo>
                    <a:pt x="9" y="83"/>
                  </a:lnTo>
                  <a:lnTo>
                    <a:pt x="7" y="84"/>
                  </a:lnTo>
                  <a:lnTo>
                    <a:pt x="7" y="85"/>
                  </a:lnTo>
                  <a:lnTo>
                    <a:pt x="7" y="84"/>
                  </a:lnTo>
                  <a:lnTo>
                    <a:pt x="9" y="83"/>
                  </a:lnTo>
                  <a:lnTo>
                    <a:pt x="9" y="82"/>
                  </a:lnTo>
                  <a:lnTo>
                    <a:pt x="9" y="83"/>
                  </a:lnTo>
                  <a:lnTo>
                    <a:pt x="9" y="82"/>
                  </a:lnTo>
                  <a:lnTo>
                    <a:pt x="9" y="80"/>
                  </a:lnTo>
                  <a:lnTo>
                    <a:pt x="10" y="79"/>
                  </a:lnTo>
                  <a:lnTo>
                    <a:pt x="7" y="80"/>
                  </a:lnTo>
                  <a:lnTo>
                    <a:pt x="7" y="79"/>
                  </a:lnTo>
                  <a:lnTo>
                    <a:pt x="7" y="78"/>
                  </a:lnTo>
                  <a:lnTo>
                    <a:pt x="6" y="78"/>
                  </a:lnTo>
                  <a:lnTo>
                    <a:pt x="7" y="79"/>
                  </a:lnTo>
                  <a:lnTo>
                    <a:pt x="6" y="79"/>
                  </a:lnTo>
                  <a:lnTo>
                    <a:pt x="5" y="79"/>
                  </a:lnTo>
                  <a:lnTo>
                    <a:pt x="5" y="80"/>
                  </a:lnTo>
                  <a:lnTo>
                    <a:pt x="5" y="82"/>
                  </a:lnTo>
                  <a:lnTo>
                    <a:pt x="4" y="82"/>
                  </a:lnTo>
                  <a:lnTo>
                    <a:pt x="3" y="82"/>
                  </a:lnTo>
                  <a:lnTo>
                    <a:pt x="4" y="82"/>
                  </a:lnTo>
                  <a:lnTo>
                    <a:pt x="4" y="83"/>
                  </a:lnTo>
                  <a:lnTo>
                    <a:pt x="3" y="83"/>
                  </a:lnTo>
                  <a:lnTo>
                    <a:pt x="1" y="82"/>
                  </a:lnTo>
                  <a:lnTo>
                    <a:pt x="0" y="83"/>
                  </a:lnTo>
                  <a:lnTo>
                    <a:pt x="0" y="84"/>
                  </a:lnTo>
                  <a:lnTo>
                    <a:pt x="1" y="83"/>
                  </a:lnTo>
                  <a:lnTo>
                    <a:pt x="1" y="84"/>
                  </a:lnTo>
                  <a:lnTo>
                    <a:pt x="3" y="84"/>
                  </a:lnTo>
                  <a:lnTo>
                    <a:pt x="3" y="83"/>
                  </a:lnTo>
                  <a:lnTo>
                    <a:pt x="4" y="84"/>
                  </a:lnTo>
                  <a:lnTo>
                    <a:pt x="5" y="84"/>
                  </a:lnTo>
                  <a:lnTo>
                    <a:pt x="6" y="85"/>
                  </a:lnTo>
                  <a:lnTo>
                    <a:pt x="5" y="85"/>
                  </a:lnTo>
                  <a:lnTo>
                    <a:pt x="5" y="86"/>
                  </a:lnTo>
                  <a:lnTo>
                    <a:pt x="6" y="86"/>
                  </a:lnTo>
                  <a:lnTo>
                    <a:pt x="7" y="86"/>
                  </a:lnTo>
                  <a:lnTo>
                    <a:pt x="9" y="86"/>
                  </a:lnTo>
                  <a:lnTo>
                    <a:pt x="7" y="86"/>
                  </a:lnTo>
                  <a:lnTo>
                    <a:pt x="6" y="86"/>
                  </a:lnTo>
                  <a:lnTo>
                    <a:pt x="7" y="86"/>
                  </a:lnTo>
                  <a:lnTo>
                    <a:pt x="7" y="88"/>
                  </a:lnTo>
                  <a:lnTo>
                    <a:pt x="7" y="89"/>
                  </a:lnTo>
                  <a:lnTo>
                    <a:pt x="6" y="88"/>
                  </a:lnTo>
                  <a:lnTo>
                    <a:pt x="6" y="89"/>
                  </a:lnTo>
                  <a:lnTo>
                    <a:pt x="5" y="89"/>
                  </a:lnTo>
                  <a:lnTo>
                    <a:pt x="5" y="88"/>
                  </a:lnTo>
                  <a:lnTo>
                    <a:pt x="4" y="88"/>
                  </a:lnTo>
                  <a:lnTo>
                    <a:pt x="5" y="88"/>
                  </a:lnTo>
                  <a:lnTo>
                    <a:pt x="4" y="88"/>
                  </a:lnTo>
                  <a:lnTo>
                    <a:pt x="4" y="89"/>
                  </a:lnTo>
                  <a:lnTo>
                    <a:pt x="3" y="89"/>
                  </a:lnTo>
                  <a:lnTo>
                    <a:pt x="4" y="90"/>
                  </a:lnTo>
                  <a:lnTo>
                    <a:pt x="4" y="91"/>
                  </a:lnTo>
                  <a:lnTo>
                    <a:pt x="4" y="92"/>
                  </a:lnTo>
                  <a:lnTo>
                    <a:pt x="4" y="91"/>
                  </a:lnTo>
                  <a:lnTo>
                    <a:pt x="4" y="90"/>
                  </a:lnTo>
                  <a:lnTo>
                    <a:pt x="5" y="90"/>
                  </a:lnTo>
                  <a:lnTo>
                    <a:pt x="5" y="91"/>
                  </a:lnTo>
                  <a:lnTo>
                    <a:pt x="6" y="90"/>
                  </a:lnTo>
                  <a:lnTo>
                    <a:pt x="6" y="91"/>
                  </a:lnTo>
                  <a:lnTo>
                    <a:pt x="7" y="91"/>
                  </a:lnTo>
                  <a:lnTo>
                    <a:pt x="6" y="92"/>
                  </a:lnTo>
                  <a:lnTo>
                    <a:pt x="7" y="92"/>
                  </a:lnTo>
                  <a:lnTo>
                    <a:pt x="7" y="91"/>
                  </a:lnTo>
                  <a:lnTo>
                    <a:pt x="9" y="91"/>
                  </a:lnTo>
                  <a:lnTo>
                    <a:pt x="11" y="91"/>
                  </a:lnTo>
                  <a:lnTo>
                    <a:pt x="12" y="92"/>
                  </a:lnTo>
                  <a:lnTo>
                    <a:pt x="15" y="92"/>
                  </a:lnTo>
                  <a:lnTo>
                    <a:pt x="16" y="94"/>
                  </a:lnTo>
                  <a:lnTo>
                    <a:pt x="17" y="95"/>
                  </a:lnTo>
                  <a:lnTo>
                    <a:pt x="17" y="96"/>
                  </a:lnTo>
                  <a:lnTo>
                    <a:pt x="18" y="97"/>
                  </a:lnTo>
                  <a:lnTo>
                    <a:pt x="18" y="96"/>
                  </a:lnTo>
                  <a:lnTo>
                    <a:pt x="18" y="95"/>
                  </a:lnTo>
                  <a:lnTo>
                    <a:pt x="18" y="96"/>
                  </a:lnTo>
                  <a:lnTo>
                    <a:pt x="19" y="95"/>
                  </a:lnTo>
                  <a:lnTo>
                    <a:pt x="21" y="95"/>
                  </a:lnTo>
                  <a:lnTo>
                    <a:pt x="21" y="96"/>
                  </a:lnTo>
                  <a:lnTo>
                    <a:pt x="22" y="95"/>
                  </a:lnTo>
                  <a:lnTo>
                    <a:pt x="22" y="96"/>
                  </a:lnTo>
                  <a:lnTo>
                    <a:pt x="22" y="97"/>
                  </a:lnTo>
                  <a:lnTo>
                    <a:pt x="23" y="96"/>
                  </a:lnTo>
                  <a:lnTo>
                    <a:pt x="23" y="97"/>
                  </a:lnTo>
                  <a:lnTo>
                    <a:pt x="24" y="97"/>
                  </a:lnTo>
                  <a:lnTo>
                    <a:pt x="24" y="98"/>
                  </a:lnTo>
                  <a:lnTo>
                    <a:pt x="25" y="97"/>
                  </a:lnTo>
                  <a:lnTo>
                    <a:pt x="27" y="97"/>
                  </a:lnTo>
                  <a:lnTo>
                    <a:pt x="27" y="98"/>
                  </a:lnTo>
                  <a:lnTo>
                    <a:pt x="27" y="100"/>
                  </a:lnTo>
                  <a:lnTo>
                    <a:pt x="28" y="102"/>
                  </a:lnTo>
                  <a:lnTo>
                    <a:pt x="27" y="102"/>
                  </a:lnTo>
                  <a:lnTo>
                    <a:pt x="25" y="101"/>
                  </a:lnTo>
                  <a:lnTo>
                    <a:pt x="27" y="101"/>
                  </a:lnTo>
                  <a:lnTo>
                    <a:pt x="25" y="101"/>
                  </a:lnTo>
                  <a:lnTo>
                    <a:pt x="25" y="102"/>
                  </a:lnTo>
                  <a:lnTo>
                    <a:pt x="24" y="102"/>
                  </a:lnTo>
                  <a:lnTo>
                    <a:pt x="24" y="103"/>
                  </a:lnTo>
                  <a:lnTo>
                    <a:pt x="25" y="104"/>
                  </a:lnTo>
                  <a:lnTo>
                    <a:pt x="24" y="106"/>
                  </a:lnTo>
                  <a:lnTo>
                    <a:pt x="23" y="107"/>
                  </a:lnTo>
                  <a:lnTo>
                    <a:pt x="23" y="108"/>
                  </a:lnTo>
                  <a:lnTo>
                    <a:pt x="22" y="107"/>
                  </a:lnTo>
                  <a:lnTo>
                    <a:pt x="22" y="108"/>
                  </a:lnTo>
                  <a:lnTo>
                    <a:pt x="21" y="108"/>
                  </a:lnTo>
                  <a:lnTo>
                    <a:pt x="21" y="109"/>
                  </a:lnTo>
                  <a:lnTo>
                    <a:pt x="19" y="109"/>
                  </a:lnTo>
                  <a:lnTo>
                    <a:pt x="18" y="109"/>
                  </a:lnTo>
                  <a:lnTo>
                    <a:pt x="17" y="109"/>
                  </a:lnTo>
                  <a:lnTo>
                    <a:pt x="16" y="110"/>
                  </a:lnTo>
                  <a:lnTo>
                    <a:pt x="17" y="110"/>
                  </a:lnTo>
                  <a:lnTo>
                    <a:pt x="17" y="112"/>
                  </a:lnTo>
                  <a:lnTo>
                    <a:pt x="17" y="110"/>
                  </a:lnTo>
                  <a:lnTo>
                    <a:pt x="17" y="112"/>
                  </a:lnTo>
                  <a:lnTo>
                    <a:pt x="17" y="113"/>
                  </a:lnTo>
                  <a:lnTo>
                    <a:pt x="18" y="112"/>
                  </a:lnTo>
                  <a:lnTo>
                    <a:pt x="19" y="112"/>
                  </a:lnTo>
                  <a:lnTo>
                    <a:pt x="19" y="113"/>
                  </a:lnTo>
                  <a:lnTo>
                    <a:pt x="19" y="114"/>
                  </a:lnTo>
                  <a:lnTo>
                    <a:pt x="21" y="113"/>
                  </a:lnTo>
                  <a:lnTo>
                    <a:pt x="21" y="114"/>
                  </a:lnTo>
                  <a:lnTo>
                    <a:pt x="21" y="115"/>
                  </a:lnTo>
                  <a:lnTo>
                    <a:pt x="22" y="114"/>
                  </a:lnTo>
                  <a:lnTo>
                    <a:pt x="23" y="113"/>
                  </a:lnTo>
                  <a:lnTo>
                    <a:pt x="23" y="114"/>
                  </a:lnTo>
                  <a:lnTo>
                    <a:pt x="23" y="115"/>
                  </a:lnTo>
                  <a:lnTo>
                    <a:pt x="22" y="115"/>
                  </a:lnTo>
                  <a:lnTo>
                    <a:pt x="23" y="115"/>
                  </a:lnTo>
                  <a:lnTo>
                    <a:pt x="24" y="115"/>
                  </a:lnTo>
                  <a:lnTo>
                    <a:pt x="23" y="117"/>
                  </a:lnTo>
                  <a:lnTo>
                    <a:pt x="23" y="118"/>
                  </a:lnTo>
                  <a:lnTo>
                    <a:pt x="21" y="118"/>
                  </a:lnTo>
                  <a:lnTo>
                    <a:pt x="19" y="117"/>
                  </a:lnTo>
                  <a:lnTo>
                    <a:pt x="18" y="117"/>
                  </a:lnTo>
                  <a:lnTo>
                    <a:pt x="18" y="115"/>
                  </a:lnTo>
                  <a:lnTo>
                    <a:pt x="17" y="115"/>
                  </a:lnTo>
                  <a:lnTo>
                    <a:pt x="16" y="115"/>
                  </a:lnTo>
                  <a:lnTo>
                    <a:pt x="15" y="115"/>
                  </a:lnTo>
                  <a:lnTo>
                    <a:pt x="13" y="115"/>
                  </a:lnTo>
                  <a:lnTo>
                    <a:pt x="13" y="117"/>
                  </a:lnTo>
                  <a:lnTo>
                    <a:pt x="12" y="118"/>
                  </a:lnTo>
                  <a:lnTo>
                    <a:pt x="13" y="117"/>
                  </a:lnTo>
                  <a:lnTo>
                    <a:pt x="12" y="117"/>
                  </a:lnTo>
                  <a:lnTo>
                    <a:pt x="11" y="117"/>
                  </a:lnTo>
                  <a:lnTo>
                    <a:pt x="11" y="118"/>
                  </a:lnTo>
                  <a:lnTo>
                    <a:pt x="10" y="119"/>
                  </a:lnTo>
                  <a:lnTo>
                    <a:pt x="10" y="120"/>
                  </a:lnTo>
                  <a:lnTo>
                    <a:pt x="9" y="120"/>
                  </a:lnTo>
                  <a:lnTo>
                    <a:pt x="9" y="119"/>
                  </a:lnTo>
                  <a:lnTo>
                    <a:pt x="9" y="118"/>
                  </a:lnTo>
                  <a:lnTo>
                    <a:pt x="9" y="119"/>
                  </a:lnTo>
                  <a:lnTo>
                    <a:pt x="7" y="119"/>
                  </a:lnTo>
                  <a:lnTo>
                    <a:pt x="7" y="118"/>
                  </a:lnTo>
                  <a:lnTo>
                    <a:pt x="6" y="118"/>
                  </a:lnTo>
                  <a:lnTo>
                    <a:pt x="5" y="119"/>
                  </a:lnTo>
                  <a:lnTo>
                    <a:pt x="5" y="120"/>
                  </a:lnTo>
                  <a:lnTo>
                    <a:pt x="4" y="120"/>
                  </a:lnTo>
                  <a:lnTo>
                    <a:pt x="4" y="121"/>
                  </a:lnTo>
                  <a:lnTo>
                    <a:pt x="4" y="123"/>
                  </a:lnTo>
                  <a:lnTo>
                    <a:pt x="4" y="124"/>
                  </a:lnTo>
                  <a:lnTo>
                    <a:pt x="4" y="123"/>
                  </a:lnTo>
                  <a:lnTo>
                    <a:pt x="5" y="123"/>
                  </a:lnTo>
                  <a:lnTo>
                    <a:pt x="5" y="125"/>
                  </a:lnTo>
                  <a:lnTo>
                    <a:pt x="5" y="126"/>
                  </a:lnTo>
                  <a:lnTo>
                    <a:pt x="6" y="127"/>
                  </a:lnTo>
                  <a:lnTo>
                    <a:pt x="6" y="130"/>
                  </a:lnTo>
                  <a:lnTo>
                    <a:pt x="6" y="129"/>
                  </a:lnTo>
                  <a:lnTo>
                    <a:pt x="7" y="127"/>
                  </a:lnTo>
                  <a:lnTo>
                    <a:pt x="7" y="129"/>
                  </a:lnTo>
                  <a:lnTo>
                    <a:pt x="9" y="129"/>
                  </a:lnTo>
                  <a:lnTo>
                    <a:pt x="10" y="127"/>
                  </a:lnTo>
                  <a:lnTo>
                    <a:pt x="10" y="126"/>
                  </a:lnTo>
                  <a:lnTo>
                    <a:pt x="10" y="127"/>
                  </a:lnTo>
                  <a:lnTo>
                    <a:pt x="11" y="126"/>
                  </a:lnTo>
                  <a:lnTo>
                    <a:pt x="11" y="129"/>
                  </a:lnTo>
                  <a:lnTo>
                    <a:pt x="12" y="127"/>
                  </a:lnTo>
                  <a:lnTo>
                    <a:pt x="12" y="129"/>
                  </a:lnTo>
                  <a:lnTo>
                    <a:pt x="12" y="130"/>
                  </a:lnTo>
                  <a:lnTo>
                    <a:pt x="13" y="129"/>
                  </a:lnTo>
                  <a:lnTo>
                    <a:pt x="13" y="130"/>
                  </a:lnTo>
                  <a:lnTo>
                    <a:pt x="15" y="130"/>
                  </a:lnTo>
                  <a:lnTo>
                    <a:pt x="15" y="131"/>
                  </a:lnTo>
                  <a:lnTo>
                    <a:pt x="16" y="130"/>
                  </a:lnTo>
                  <a:lnTo>
                    <a:pt x="16" y="132"/>
                  </a:lnTo>
                  <a:lnTo>
                    <a:pt x="17" y="133"/>
                  </a:lnTo>
                  <a:lnTo>
                    <a:pt x="17" y="135"/>
                  </a:lnTo>
                  <a:lnTo>
                    <a:pt x="16" y="135"/>
                  </a:lnTo>
                  <a:lnTo>
                    <a:pt x="15" y="136"/>
                  </a:lnTo>
                  <a:lnTo>
                    <a:pt x="15" y="138"/>
                  </a:lnTo>
                  <a:lnTo>
                    <a:pt x="15" y="139"/>
                  </a:lnTo>
                  <a:lnTo>
                    <a:pt x="15" y="137"/>
                  </a:lnTo>
                  <a:lnTo>
                    <a:pt x="16" y="136"/>
                  </a:lnTo>
                  <a:lnTo>
                    <a:pt x="16" y="137"/>
                  </a:lnTo>
                  <a:lnTo>
                    <a:pt x="16" y="138"/>
                  </a:lnTo>
                  <a:lnTo>
                    <a:pt x="17" y="138"/>
                  </a:lnTo>
                  <a:lnTo>
                    <a:pt x="16" y="139"/>
                  </a:lnTo>
                  <a:lnTo>
                    <a:pt x="15" y="139"/>
                  </a:lnTo>
                  <a:lnTo>
                    <a:pt x="13" y="141"/>
                  </a:lnTo>
                  <a:lnTo>
                    <a:pt x="13" y="143"/>
                  </a:lnTo>
                  <a:lnTo>
                    <a:pt x="13" y="142"/>
                  </a:lnTo>
                  <a:lnTo>
                    <a:pt x="15" y="141"/>
                  </a:lnTo>
                  <a:lnTo>
                    <a:pt x="15" y="142"/>
                  </a:lnTo>
                  <a:lnTo>
                    <a:pt x="16" y="142"/>
                  </a:lnTo>
                  <a:lnTo>
                    <a:pt x="16" y="141"/>
                  </a:lnTo>
                  <a:lnTo>
                    <a:pt x="16" y="143"/>
                  </a:lnTo>
                  <a:lnTo>
                    <a:pt x="17" y="142"/>
                  </a:lnTo>
                  <a:lnTo>
                    <a:pt x="17" y="144"/>
                  </a:lnTo>
                  <a:lnTo>
                    <a:pt x="17" y="145"/>
                  </a:lnTo>
                  <a:lnTo>
                    <a:pt x="16" y="147"/>
                  </a:lnTo>
                  <a:lnTo>
                    <a:pt x="17" y="145"/>
                  </a:lnTo>
                  <a:lnTo>
                    <a:pt x="17" y="148"/>
                  </a:lnTo>
                  <a:lnTo>
                    <a:pt x="18" y="149"/>
                  </a:lnTo>
                  <a:lnTo>
                    <a:pt x="17" y="150"/>
                  </a:lnTo>
                  <a:lnTo>
                    <a:pt x="18" y="150"/>
                  </a:lnTo>
                  <a:lnTo>
                    <a:pt x="18" y="151"/>
                  </a:lnTo>
                  <a:lnTo>
                    <a:pt x="18" y="153"/>
                  </a:lnTo>
                  <a:lnTo>
                    <a:pt x="19" y="153"/>
                  </a:lnTo>
                  <a:lnTo>
                    <a:pt x="19" y="155"/>
                  </a:lnTo>
                  <a:lnTo>
                    <a:pt x="19" y="153"/>
                  </a:lnTo>
                  <a:lnTo>
                    <a:pt x="21" y="154"/>
                  </a:lnTo>
                  <a:lnTo>
                    <a:pt x="19" y="154"/>
                  </a:lnTo>
                  <a:lnTo>
                    <a:pt x="21" y="156"/>
                  </a:lnTo>
                  <a:lnTo>
                    <a:pt x="19" y="156"/>
                  </a:lnTo>
                  <a:lnTo>
                    <a:pt x="18" y="157"/>
                  </a:lnTo>
                  <a:lnTo>
                    <a:pt x="17" y="156"/>
                  </a:lnTo>
                  <a:lnTo>
                    <a:pt x="17" y="159"/>
                  </a:lnTo>
                  <a:lnTo>
                    <a:pt x="17" y="160"/>
                  </a:lnTo>
                  <a:lnTo>
                    <a:pt x="17" y="159"/>
                  </a:lnTo>
                  <a:lnTo>
                    <a:pt x="18" y="160"/>
                  </a:lnTo>
                  <a:lnTo>
                    <a:pt x="19" y="160"/>
                  </a:lnTo>
                  <a:lnTo>
                    <a:pt x="19" y="159"/>
                  </a:lnTo>
                  <a:lnTo>
                    <a:pt x="19" y="160"/>
                  </a:lnTo>
                  <a:lnTo>
                    <a:pt x="21" y="161"/>
                  </a:lnTo>
                  <a:lnTo>
                    <a:pt x="22" y="160"/>
                  </a:lnTo>
                  <a:lnTo>
                    <a:pt x="23" y="160"/>
                  </a:lnTo>
                  <a:lnTo>
                    <a:pt x="24" y="159"/>
                  </a:lnTo>
                  <a:lnTo>
                    <a:pt x="24" y="157"/>
                  </a:lnTo>
                  <a:lnTo>
                    <a:pt x="24" y="160"/>
                  </a:lnTo>
                  <a:lnTo>
                    <a:pt x="25" y="161"/>
                  </a:lnTo>
                  <a:lnTo>
                    <a:pt x="27" y="161"/>
                  </a:lnTo>
                  <a:lnTo>
                    <a:pt x="28" y="160"/>
                  </a:lnTo>
                  <a:lnTo>
                    <a:pt x="28" y="161"/>
                  </a:lnTo>
                  <a:lnTo>
                    <a:pt x="28" y="162"/>
                  </a:lnTo>
                  <a:lnTo>
                    <a:pt x="29" y="160"/>
                  </a:lnTo>
                  <a:lnTo>
                    <a:pt x="30" y="159"/>
                  </a:lnTo>
                  <a:lnTo>
                    <a:pt x="30" y="157"/>
                  </a:lnTo>
                  <a:lnTo>
                    <a:pt x="30" y="156"/>
                  </a:lnTo>
                  <a:lnTo>
                    <a:pt x="31" y="157"/>
                  </a:lnTo>
                  <a:lnTo>
                    <a:pt x="30" y="160"/>
                  </a:lnTo>
                  <a:lnTo>
                    <a:pt x="30" y="161"/>
                  </a:lnTo>
                  <a:lnTo>
                    <a:pt x="30" y="160"/>
                  </a:lnTo>
                  <a:lnTo>
                    <a:pt x="31" y="159"/>
                  </a:lnTo>
                  <a:lnTo>
                    <a:pt x="31" y="157"/>
                  </a:lnTo>
                  <a:lnTo>
                    <a:pt x="33" y="157"/>
                  </a:lnTo>
                  <a:lnTo>
                    <a:pt x="33" y="156"/>
                  </a:lnTo>
                  <a:lnTo>
                    <a:pt x="34" y="156"/>
                  </a:lnTo>
                  <a:lnTo>
                    <a:pt x="34" y="155"/>
                  </a:lnTo>
                  <a:lnTo>
                    <a:pt x="35" y="155"/>
                  </a:lnTo>
                  <a:lnTo>
                    <a:pt x="37" y="154"/>
                  </a:lnTo>
                  <a:lnTo>
                    <a:pt x="39" y="154"/>
                  </a:lnTo>
                  <a:lnTo>
                    <a:pt x="39" y="155"/>
                  </a:lnTo>
                  <a:lnTo>
                    <a:pt x="39" y="156"/>
                  </a:lnTo>
                  <a:lnTo>
                    <a:pt x="40" y="157"/>
                  </a:lnTo>
                  <a:lnTo>
                    <a:pt x="39" y="157"/>
                  </a:lnTo>
                  <a:lnTo>
                    <a:pt x="37" y="157"/>
                  </a:lnTo>
                  <a:lnTo>
                    <a:pt x="36" y="157"/>
                  </a:lnTo>
                  <a:lnTo>
                    <a:pt x="35" y="157"/>
                  </a:lnTo>
                  <a:lnTo>
                    <a:pt x="35" y="156"/>
                  </a:lnTo>
                  <a:lnTo>
                    <a:pt x="34" y="156"/>
                  </a:lnTo>
                  <a:lnTo>
                    <a:pt x="34" y="157"/>
                  </a:lnTo>
                  <a:lnTo>
                    <a:pt x="35" y="157"/>
                  </a:lnTo>
                  <a:lnTo>
                    <a:pt x="34" y="159"/>
                  </a:lnTo>
                  <a:lnTo>
                    <a:pt x="33" y="159"/>
                  </a:lnTo>
                  <a:lnTo>
                    <a:pt x="31" y="159"/>
                  </a:lnTo>
                  <a:lnTo>
                    <a:pt x="31" y="160"/>
                  </a:lnTo>
                  <a:lnTo>
                    <a:pt x="31" y="161"/>
                  </a:lnTo>
                  <a:lnTo>
                    <a:pt x="31" y="163"/>
                  </a:lnTo>
                  <a:lnTo>
                    <a:pt x="29" y="165"/>
                  </a:lnTo>
                  <a:lnTo>
                    <a:pt x="28" y="165"/>
                  </a:lnTo>
                  <a:lnTo>
                    <a:pt x="28" y="163"/>
                  </a:lnTo>
                  <a:lnTo>
                    <a:pt x="27" y="163"/>
                  </a:lnTo>
                  <a:lnTo>
                    <a:pt x="25" y="163"/>
                  </a:lnTo>
                  <a:lnTo>
                    <a:pt x="27" y="165"/>
                  </a:lnTo>
                  <a:lnTo>
                    <a:pt x="28" y="165"/>
                  </a:lnTo>
                  <a:lnTo>
                    <a:pt x="27" y="165"/>
                  </a:lnTo>
                  <a:lnTo>
                    <a:pt x="25" y="166"/>
                  </a:lnTo>
                  <a:lnTo>
                    <a:pt x="24" y="166"/>
                  </a:lnTo>
                  <a:lnTo>
                    <a:pt x="23" y="167"/>
                  </a:lnTo>
                  <a:lnTo>
                    <a:pt x="23" y="169"/>
                  </a:lnTo>
                  <a:lnTo>
                    <a:pt x="24" y="171"/>
                  </a:lnTo>
                  <a:lnTo>
                    <a:pt x="25" y="171"/>
                  </a:lnTo>
                  <a:lnTo>
                    <a:pt x="25" y="172"/>
                  </a:lnTo>
                  <a:lnTo>
                    <a:pt x="25" y="171"/>
                  </a:lnTo>
                  <a:lnTo>
                    <a:pt x="27" y="171"/>
                  </a:lnTo>
                  <a:lnTo>
                    <a:pt x="27" y="172"/>
                  </a:lnTo>
                  <a:lnTo>
                    <a:pt x="28" y="171"/>
                  </a:lnTo>
                  <a:lnTo>
                    <a:pt x="28" y="172"/>
                  </a:lnTo>
                  <a:lnTo>
                    <a:pt x="29" y="173"/>
                  </a:lnTo>
                  <a:lnTo>
                    <a:pt x="30" y="173"/>
                  </a:lnTo>
                  <a:lnTo>
                    <a:pt x="29" y="174"/>
                  </a:lnTo>
                  <a:lnTo>
                    <a:pt x="29" y="173"/>
                  </a:lnTo>
                  <a:lnTo>
                    <a:pt x="28" y="174"/>
                  </a:lnTo>
                  <a:lnTo>
                    <a:pt x="27" y="177"/>
                  </a:lnTo>
                  <a:lnTo>
                    <a:pt x="28" y="177"/>
                  </a:lnTo>
                  <a:lnTo>
                    <a:pt x="28" y="178"/>
                  </a:lnTo>
                  <a:lnTo>
                    <a:pt x="27" y="178"/>
                  </a:lnTo>
                  <a:lnTo>
                    <a:pt x="27" y="179"/>
                  </a:lnTo>
                  <a:lnTo>
                    <a:pt x="27" y="180"/>
                  </a:lnTo>
                  <a:lnTo>
                    <a:pt x="27" y="179"/>
                  </a:lnTo>
                  <a:lnTo>
                    <a:pt x="28" y="178"/>
                  </a:lnTo>
                  <a:lnTo>
                    <a:pt x="28" y="179"/>
                  </a:lnTo>
                  <a:lnTo>
                    <a:pt x="29" y="180"/>
                  </a:lnTo>
                  <a:lnTo>
                    <a:pt x="29" y="181"/>
                  </a:lnTo>
                  <a:lnTo>
                    <a:pt x="30" y="183"/>
                  </a:lnTo>
                  <a:lnTo>
                    <a:pt x="30" y="181"/>
                  </a:lnTo>
                  <a:lnTo>
                    <a:pt x="31" y="180"/>
                  </a:lnTo>
                  <a:lnTo>
                    <a:pt x="33" y="179"/>
                  </a:lnTo>
                  <a:lnTo>
                    <a:pt x="33" y="180"/>
                  </a:lnTo>
                  <a:lnTo>
                    <a:pt x="34" y="179"/>
                  </a:lnTo>
                  <a:lnTo>
                    <a:pt x="34" y="180"/>
                  </a:lnTo>
                  <a:lnTo>
                    <a:pt x="35" y="180"/>
                  </a:lnTo>
                  <a:lnTo>
                    <a:pt x="35" y="178"/>
                  </a:lnTo>
                  <a:lnTo>
                    <a:pt x="34" y="178"/>
                  </a:lnTo>
                  <a:lnTo>
                    <a:pt x="35" y="177"/>
                  </a:lnTo>
                  <a:lnTo>
                    <a:pt x="36" y="177"/>
                  </a:lnTo>
                  <a:lnTo>
                    <a:pt x="36" y="178"/>
                  </a:lnTo>
                  <a:lnTo>
                    <a:pt x="36" y="177"/>
                  </a:lnTo>
                  <a:lnTo>
                    <a:pt x="36" y="175"/>
                  </a:lnTo>
                  <a:lnTo>
                    <a:pt x="36" y="174"/>
                  </a:lnTo>
                  <a:lnTo>
                    <a:pt x="37" y="174"/>
                  </a:lnTo>
                  <a:lnTo>
                    <a:pt x="37" y="175"/>
                  </a:lnTo>
                  <a:lnTo>
                    <a:pt x="39" y="174"/>
                  </a:lnTo>
                  <a:lnTo>
                    <a:pt x="40" y="173"/>
                  </a:lnTo>
                  <a:lnTo>
                    <a:pt x="41" y="172"/>
                  </a:lnTo>
                  <a:lnTo>
                    <a:pt x="41" y="171"/>
                  </a:lnTo>
                  <a:lnTo>
                    <a:pt x="41" y="169"/>
                  </a:lnTo>
                  <a:lnTo>
                    <a:pt x="41" y="171"/>
                  </a:lnTo>
                  <a:lnTo>
                    <a:pt x="41" y="169"/>
                  </a:lnTo>
                  <a:lnTo>
                    <a:pt x="42" y="169"/>
                  </a:lnTo>
                  <a:lnTo>
                    <a:pt x="43" y="168"/>
                  </a:lnTo>
                  <a:lnTo>
                    <a:pt x="43" y="169"/>
                  </a:lnTo>
                  <a:lnTo>
                    <a:pt x="43" y="171"/>
                  </a:lnTo>
                  <a:lnTo>
                    <a:pt x="45" y="169"/>
                  </a:lnTo>
                  <a:lnTo>
                    <a:pt x="45" y="171"/>
                  </a:lnTo>
                  <a:lnTo>
                    <a:pt x="45" y="169"/>
                  </a:lnTo>
                  <a:lnTo>
                    <a:pt x="46" y="171"/>
                  </a:lnTo>
                  <a:lnTo>
                    <a:pt x="46" y="169"/>
                  </a:lnTo>
                  <a:lnTo>
                    <a:pt x="47" y="169"/>
                  </a:lnTo>
                  <a:lnTo>
                    <a:pt x="47" y="171"/>
                  </a:lnTo>
                  <a:lnTo>
                    <a:pt x="47" y="172"/>
                  </a:lnTo>
                  <a:lnTo>
                    <a:pt x="48" y="173"/>
                  </a:lnTo>
                  <a:lnTo>
                    <a:pt x="48" y="174"/>
                  </a:lnTo>
                  <a:lnTo>
                    <a:pt x="48" y="175"/>
                  </a:lnTo>
                  <a:lnTo>
                    <a:pt x="48" y="174"/>
                  </a:lnTo>
                  <a:lnTo>
                    <a:pt x="47" y="174"/>
                  </a:lnTo>
                  <a:lnTo>
                    <a:pt x="47" y="175"/>
                  </a:lnTo>
                  <a:lnTo>
                    <a:pt x="46" y="177"/>
                  </a:lnTo>
                  <a:lnTo>
                    <a:pt x="46" y="175"/>
                  </a:lnTo>
                  <a:lnTo>
                    <a:pt x="46" y="174"/>
                  </a:lnTo>
                  <a:lnTo>
                    <a:pt x="46" y="175"/>
                  </a:lnTo>
                  <a:lnTo>
                    <a:pt x="45" y="175"/>
                  </a:lnTo>
                  <a:lnTo>
                    <a:pt x="45" y="177"/>
                  </a:lnTo>
                  <a:lnTo>
                    <a:pt x="43" y="178"/>
                  </a:lnTo>
                  <a:lnTo>
                    <a:pt x="45" y="179"/>
                  </a:lnTo>
                  <a:lnTo>
                    <a:pt x="43" y="180"/>
                  </a:lnTo>
                  <a:lnTo>
                    <a:pt x="43" y="181"/>
                  </a:lnTo>
                  <a:lnTo>
                    <a:pt x="45" y="180"/>
                  </a:lnTo>
                  <a:lnTo>
                    <a:pt x="45" y="181"/>
                  </a:lnTo>
                  <a:lnTo>
                    <a:pt x="46" y="180"/>
                  </a:lnTo>
                  <a:lnTo>
                    <a:pt x="47" y="181"/>
                  </a:lnTo>
                  <a:lnTo>
                    <a:pt x="47" y="180"/>
                  </a:lnTo>
                  <a:lnTo>
                    <a:pt x="47" y="181"/>
                  </a:lnTo>
                  <a:lnTo>
                    <a:pt x="48" y="181"/>
                  </a:lnTo>
                  <a:lnTo>
                    <a:pt x="48" y="183"/>
                  </a:lnTo>
                  <a:lnTo>
                    <a:pt x="50" y="181"/>
                  </a:lnTo>
                  <a:lnTo>
                    <a:pt x="50" y="180"/>
                  </a:lnTo>
                  <a:lnTo>
                    <a:pt x="51" y="179"/>
                  </a:lnTo>
                  <a:lnTo>
                    <a:pt x="51" y="178"/>
                  </a:lnTo>
                  <a:lnTo>
                    <a:pt x="51" y="179"/>
                  </a:lnTo>
                  <a:lnTo>
                    <a:pt x="51" y="180"/>
                  </a:lnTo>
                  <a:lnTo>
                    <a:pt x="52" y="180"/>
                  </a:lnTo>
                  <a:lnTo>
                    <a:pt x="52" y="178"/>
                  </a:lnTo>
                  <a:lnTo>
                    <a:pt x="52" y="179"/>
                  </a:lnTo>
                  <a:lnTo>
                    <a:pt x="53" y="179"/>
                  </a:lnTo>
                  <a:lnTo>
                    <a:pt x="53" y="180"/>
                  </a:lnTo>
                  <a:lnTo>
                    <a:pt x="53" y="179"/>
                  </a:lnTo>
                  <a:lnTo>
                    <a:pt x="54" y="178"/>
                  </a:lnTo>
                  <a:lnTo>
                    <a:pt x="54" y="177"/>
                  </a:lnTo>
                  <a:lnTo>
                    <a:pt x="54" y="179"/>
                  </a:lnTo>
                  <a:lnTo>
                    <a:pt x="54" y="177"/>
                  </a:lnTo>
                  <a:lnTo>
                    <a:pt x="54" y="175"/>
                  </a:lnTo>
                  <a:lnTo>
                    <a:pt x="54" y="174"/>
                  </a:lnTo>
                  <a:lnTo>
                    <a:pt x="54" y="173"/>
                  </a:lnTo>
                  <a:lnTo>
                    <a:pt x="54" y="172"/>
                  </a:lnTo>
                  <a:lnTo>
                    <a:pt x="56" y="171"/>
                  </a:lnTo>
                  <a:lnTo>
                    <a:pt x="57" y="169"/>
                  </a:lnTo>
                  <a:lnTo>
                    <a:pt x="57" y="171"/>
                  </a:lnTo>
                  <a:lnTo>
                    <a:pt x="57" y="169"/>
                  </a:lnTo>
                  <a:lnTo>
                    <a:pt x="57" y="168"/>
                  </a:lnTo>
                  <a:lnTo>
                    <a:pt x="58" y="167"/>
                  </a:lnTo>
                  <a:lnTo>
                    <a:pt x="59" y="166"/>
                  </a:lnTo>
                  <a:lnTo>
                    <a:pt x="59" y="165"/>
                  </a:lnTo>
                  <a:lnTo>
                    <a:pt x="60" y="165"/>
                  </a:lnTo>
                  <a:lnTo>
                    <a:pt x="60" y="163"/>
                  </a:lnTo>
                  <a:lnTo>
                    <a:pt x="62" y="162"/>
                  </a:lnTo>
                  <a:lnTo>
                    <a:pt x="63" y="163"/>
                  </a:lnTo>
                  <a:lnTo>
                    <a:pt x="64" y="163"/>
                  </a:lnTo>
                  <a:lnTo>
                    <a:pt x="64" y="162"/>
                  </a:lnTo>
                  <a:lnTo>
                    <a:pt x="65" y="162"/>
                  </a:lnTo>
                  <a:lnTo>
                    <a:pt x="65" y="163"/>
                  </a:lnTo>
                  <a:lnTo>
                    <a:pt x="64" y="166"/>
                  </a:lnTo>
                  <a:lnTo>
                    <a:pt x="63" y="167"/>
                  </a:lnTo>
                  <a:lnTo>
                    <a:pt x="63" y="168"/>
                  </a:lnTo>
                  <a:lnTo>
                    <a:pt x="62" y="171"/>
                  </a:lnTo>
                  <a:lnTo>
                    <a:pt x="60" y="172"/>
                  </a:lnTo>
                  <a:lnTo>
                    <a:pt x="60" y="173"/>
                  </a:lnTo>
                  <a:lnTo>
                    <a:pt x="60" y="174"/>
                  </a:lnTo>
                  <a:lnTo>
                    <a:pt x="60" y="175"/>
                  </a:lnTo>
                  <a:lnTo>
                    <a:pt x="60" y="174"/>
                  </a:lnTo>
                  <a:lnTo>
                    <a:pt x="62" y="174"/>
                  </a:lnTo>
                  <a:lnTo>
                    <a:pt x="62" y="175"/>
                  </a:lnTo>
                  <a:lnTo>
                    <a:pt x="62" y="178"/>
                  </a:lnTo>
                  <a:lnTo>
                    <a:pt x="62" y="179"/>
                  </a:lnTo>
                  <a:lnTo>
                    <a:pt x="62" y="180"/>
                  </a:lnTo>
                  <a:lnTo>
                    <a:pt x="62" y="179"/>
                  </a:lnTo>
                  <a:lnTo>
                    <a:pt x="62" y="178"/>
                  </a:lnTo>
                  <a:lnTo>
                    <a:pt x="63" y="178"/>
                  </a:lnTo>
                  <a:lnTo>
                    <a:pt x="63" y="179"/>
                  </a:lnTo>
                  <a:lnTo>
                    <a:pt x="64" y="179"/>
                  </a:lnTo>
                  <a:lnTo>
                    <a:pt x="63" y="178"/>
                  </a:lnTo>
                  <a:lnTo>
                    <a:pt x="63" y="177"/>
                  </a:lnTo>
                  <a:lnTo>
                    <a:pt x="64" y="177"/>
                  </a:lnTo>
                  <a:lnTo>
                    <a:pt x="64" y="178"/>
                  </a:lnTo>
                  <a:lnTo>
                    <a:pt x="65" y="177"/>
                  </a:lnTo>
                  <a:lnTo>
                    <a:pt x="65" y="178"/>
                  </a:lnTo>
                  <a:lnTo>
                    <a:pt x="66" y="179"/>
                  </a:lnTo>
                  <a:lnTo>
                    <a:pt x="66" y="180"/>
                  </a:lnTo>
                  <a:lnTo>
                    <a:pt x="66" y="179"/>
                  </a:lnTo>
                  <a:lnTo>
                    <a:pt x="68" y="179"/>
                  </a:lnTo>
                  <a:lnTo>
                    <a:pt x="69" y="179"/>
                  </a:lnTo>
                  <a:lnTo>
                    <a:pt x="68" y="180"/>
                  </a:lnTo>
                  <a:lnTo>
                    <a:pt x="68" y="181"/>
                  </a:lnTo>
                  <a:lnTo>
                    <a:pt x="68" y="183"/>
                  </a:lnTo>
                  <a:lnTo>
                    <a:pt x="69" y="181"/>
                  </a:lnTo>
                  <a:lnTo>
                    <a:pt x="69" y="180"/>
                  </a:lnTo>
                  <a:lnTo>
                    <a:pt x="70" y="183"/>
                  </a:lnTo>
                  <a:lnTo>
                    <a:pt x="70" y="181"/>
                  </a:lnTo>
                  <a:lnTo>
                    <a:pt x="70" y="180"/>
                  </a:lnTo>
                  <a:lnTo>
                    <a:pt x="70" y="179"/>
                  </a:lnTo>
                  <a:lnTo>
                    <a:pt x="70" y="178"/>
                  </a:lnTo>
                  <a:lnTo>
                    <a:pt x="70" y="177"/>
                  </a:lnTo>
                  <a:lnTo>
                    <a:pt x="70" y="175"/>
                  </a:lnTo>
                  <a:lnTo>
                    <a:pt x="69" y="175"/>
                  </a:lnTo>
                  <a:lnTo>
                    <a:pt x="69" y="174"/>
                  </a:lnTo>
                  <a:lnTo>
                    <a:pt x="69" y="173"/>
                  </a:lnTo>
                  <a:lnTo>
                    <a:pt x="69" y="172"/>
                  </a:lnTo>
                  <a:lnTo>
                    <a:pt x="68" y="172"/>
                  </a:lnTo>
                  <a:lnTo>
                    <a:pt x="66" y="171"/>
                  </a:lnTo>
                  <a:lnTo>
                    <a:pt x="66" y="169"/>
                  </a:lnTo>
                  <a:lnTo>
                    <a:pt x="68" y="168"/>
                  </a:lnTo>
                  <a:lnTo>
                    <a:pt x="68" y="169"/>
                  </a:lnTo>
                  <a:lnTo>
                    <a:pt x="69" y="171"/>
                  </a:lnTo>
                  <a:lnTo>
                    <a:pt x="70" y="169"/>
                  </a:lnTo>
                  <a:lnTo>
                    <a:pt x="69" y="168"/>
                  </a:lnTo>
                  <a:lnTo>
                    <a:pt x="70" y="168"/>
                  </a:lnTo>
                  <a:lnTo>
                    <a:pt x="70" y="167"/>
                  </a:lnTo>
                  <a:lnTo>
                    <a:pt x="69" y="167"/>
                  </a:lnTo>
                  <a:lnTo>
                    <a:pt x="70" y="166"/>
                  </a:lnTo>
                  <a:lnTo>
                    <a:pt x="71" y="167"/>
                  </a:lnTo>
                  <a:lnTo>
                    <a:pt x="70" y="168"/>
                  </a:lnTo>
                  <a:lnTo>
                    <a:pt x="71" y="167"/>
                  </a:lnTo>
                  <a:lnTo>
                    <a:pt x="71" y="168"/>
                  </a:lnTo>
                  <a:lnTo>
                    <a:pt x="72" y="171"/>
                  </a:lnTo>
                  <a:lnTo>
                    <a:pt x="72" y="169"/>
                  </a:lnTo>
                  <a:lnTo>
                    <a:pt x="74" y="168"/>
                  </a:lnTo>
                  <a:lnTo>
                    <a:pt x="74" y="169"/>
                  </a:lnTo>
                  <a:lnTo>
                    <a:pt x="75" y="168"/>
                  </a:lnTo>
                  <a:lnTo>
                    <a:pt x="74" y="167"/>
                  </a:lnTo>
                  <a:lnTo>
                    <a:pt x="74" y="166"/>
                  </a:lnTo>
                  <a:lnTo>
                    <a:pt x="75" y="167"/>
                  </a:lnTo>
                  <a:lnTo>
                    <a:pt x="75" y="166"/>
                  </a:lnTo>
                  <a:lnTo>
                    <a:pt x="76" y="166"/>
                  </a:lnTo>
                  <a:lnTo>
                    <a:pt x="77" y="167"/>
                  </a:lnTo>
                  <a:lnTo>
                    <a:pt x="77" y="166"/>
                  </a:lnTo>
                  <a:lnTo>
                    <a:pt x="78" y="165"/>
                  </a:lnTo>
                  <a:lnTo>
                    <a:pt x="78" y="166"/>
                  </a:lnTo>
                  <a:lnTo>
                    <a:pt x="78" y="167"/>
                  </a:lnTo>
                  <a:lnTo>
                    <a:pt x="80" y="168"/>
                  </a:lnTo>
                  <a:lnTo>
                    <a:pt x="80" y="167"/>
                  </a:lnTo>
                  <a:lnTo>
                    <a:pt x="80" y="168"/>
                  </a:lnTo>
                  <a:lnTo>
                    <a:pt x="81" y="167"/>
                  </a:lnTo>
                  <a:lnTo>
                    <a:pt x="81" y="166"/>
                  </a:lnTo>
                  <a:lnTo>
                    <a:pt x="81" y="165"/>
                  </a:lnTo>
                  <a:lnTo>
                    <a:pt x="82" y="166"/>
                  </a:lnTo>
                  <a:lnTo>
                    <a:pt x="82" y="165"/>
                  </a:lnTo>
                  <a:lnTo>
                    <a:pt x="82" y="163"/>
                  </a:lnTo>
                  <a:lnTo>
                    <a:pt x="83" y="165"/>
                  </a:lnTo>
                  <a:lnTo>
                    <a:pt x="84" y="163"/>
                  </a:lnTo>
                  <a:lnTo>
                    <a:pt x="86" y="165"/>
                  </a:lnTo>
                  <a:lnTo>
                    <a:pt x="84" y="167"/>
                  </a:lnTo>
                  <a:lnTo>
                    <a:pt x="86" y="167"/>
                  </a:lnTo>
                  <a:lnTo>
                    <a:pt x="87" y="166"/>
                  </a:lnTo>
                  <a:lnTo>
                    <a:pt x="87" y="165"/>
                  </a:lnTo>
                  <a:lnTo>
                    <a:pt x="88" y="165"/>
                  </a:lnTo>
                  <a:lnTo>
                    <a:pt x="88" y="163"/>
                  </a:lnTo>
                  <a:lnTo>
                    <a:pt x="88" y="166"/>
                  </a:lnTo>
                  <a:lnTo>
                    <a:pt x="88" y="167"/>
                  </a:lnTo>
                  <a:lnTo>
                    <a:pt x="88" y="168"/>
                  </a:lnTo>
                  <a:lnTo>
                    <a:pt x="88" y="167"/>
                  </a:lnTo>
                  <a:lnTo>
                    <a:pt x="89" y="167"/>
                  </a:lnTo>
                  <a:lnTo>
                    <a:pt x="89" y="168"/>
                  </a:lnTo>
                  <a:lnTo>
                    <a:pt x="90" y="167"/>
                  </a:lnTo>
                  <a:lnTo>
                    <a:pt x="90" y="166"/>
                  </a:lnTo>
                  <a:lnTo>
                    <a:pt x="90" y="165"/>
                  </a:lnTo>
                  <a:lnTo>
                    <a:pt x="90" y="166"/>
                  </a:lnTo>
                  <a:lnTo>
                    <a:pt x="89" y="166"/>
                  </a:lnTo>
                  <a:lnTo>
                    <a:pt x="88" y="166"/>
                  </a:lnTo>
                  <a:lnTo>
                    <a:pt x="88" y="163"/>
                  </a:lnTo>
                  <a:lnTo>
                    <a:pt x="89" y="163"/>
                  </a:lnTo>
                  <a:lnTo>
                    <a:pt x="89" y="162"/>
                  </a:lnTo>
                  <a:lnTo>
                    <a:pt x="90" y="162"/>
                  </a:lnTo>
                  <a:lnTo>
                    <a:pt x="90" y="161"/>
                  </a:lnTo>
                  <a:lnTo>
                    <a:pt x="92" y="160"/>
                  </a:lnTo>
                  <a:lnTo>
                    <a:pt x="92" y="161"/>
                  </a:lnTo>
                  <a:lnTo>
                    <a:pt x="92" y="163"/>
                  </a:lnTo>
                  <a:lnTo>
                    <a:pt x="92" y="162"/>
                  </a:lnTo>
                  <a:lnTo>
                    <a:pt x="92" y="163"/>
                  </a:lnTo>
                  <a:lnTo>
                    <a:pt x="93" y="165"/>
                  </a:lnTo>
                  <a:lnTo>
                    <a:pt x="92" y="166"/>
                  </a:lnTo>
                  <a:lnTo>
                    <a:pt x="92" y="167"/>
                  </a:lnTo>
                  <a:lnTo>
                    <a:pt x="92" y="168"/>
                  </a:lnTo>
                  <a:lnTo>
                    <a:pt x="93" y="167"/>
                  </a:lnTo>
                  <a:lnTo>
                    <a:pt x="94" y="167"/>
                  </a:lnTo>
                  <a:lnTo>
                    <a:pt x="95" y="167"/>
                  </a:lnTo>
                  <a:lnTo>
                    <a:pt x="96" y="165"/>
                  </a:lnTo>
                  <a:lnTo>
                    <a:pt x="96" y="163"/>
                  </a:lnTo>
                  <a:lnTo>
                    <a:pt x="98" y="163"/>
                  </a:lnTo>
                  <a:lnTo>
                    <a:pt x="98" y="162"/>
                  </a:lnTo>
                  <a:lnTo>
                    <a:pt x="99" y="162"/>
                  </a:lnTo>
                  <a:lnTo>
                    <a:pt x="99" y="163"/>
                  </a:lnTo>
                  <a:lnTo>
                    <a:pt x="99" y="165"/>
                  </a:lnTo>
                  <a:lnTo>
                    <a:pt x="100" y="166"/>
                  </a:lnTo>
                  <a:lnTo>
                    <a:pt x="101" y="165"/>
                  </a:lnTo>
                  <a:lnTo>
                    <a:pt x="100" y="163"/>
                  </a:lnTo>
                  <a:lnTo>
                    <a:pt x="100" y="162"/>
                  </a:lnTo>
                  <a:lnTo>
                    <a:pt x="101" y="163"/>
                  </a:lnTo>
                  <a:lnTo>
                    <a:pt x="104" y="165"/>
                  </a:lnTo>
                  <a:lnTo>
                    <a:pt x="105" y="166"/>
                  </a:lnTo>
                  <a:lnTo>
                    <a:pt x="105" y="167"/>
                  </a:lnTo>
                  <a:lnTo>
                    <a:pt x="104" y="166"/>
                  </a:lnTo>
                  <a:lnTo>
                    <a:pt x="104" y="165"/>
                  </a:lnTo>
                  <a:lnTo>
                    <a:pt x="102" y="166"/>
                  </a:lnTo>
                  <a:lnTo>
                    <a:pt x="102" y="167"/>
                  </a:lnTo>
                  <a:lnTo>
                    <a:pt x="101" y="167"/>
                  </a:lnTo>
                  <a:lnTo>
                    <a:pt x="100" y="167"/>
                  </a:lnTo>
                  <a:lnTo>
                    <a:pt x="100" y="166"/>
                  </a:lnTo>
                  <a:lnTo>
                    <a:pt x="100" y="167"/>
                  </a:lnTo>
                  <a:lnTo>
                    <a:pt x="99" y="168"/>
                  </a:lnTo>
                  <a:lnTo>
                    <a:pt x="99" y="167"/>
                  </a:lnTo>
                  <a:lnTo>
                    <a:pt x="98" y="167"/>
                  </a:lnTo>
                  <a:lnTo>
                    <a:pt x="96" y="167"/>
                  </a:lnTo>
                  <a:lnTo>
                    <a:pt x="96" y="168"/>
                  </a:lnTo>
                  <a:lnTo>
                    <a:pt x="98" y="168"/>
                  </a:lnTo>
                  <a:lnTo>
                    <a:pt x="98" y="169"/>
                  </a:lnTo>
                  <a:lnTo>
                    <a:pt x="96" y="171"/>
                  </a:lnTo>
                  <a:lnTo>
                    <a:pt x="95" y="171"/>
                  </a:lnTo>
                  <a:lnTo>
                    <a:pt x="96" y="171"/>
                  </a:lnTo>
                  <a:lnTo>
                    <a:pt x="96" y="172"/>
                  </a:lnTo>
                  <a:lnTo>
                    <a:pt x="98" y="171"/>
                  </a:lnTo>
                  <a:lnTo>
                    <a:pt x="98" y="169"/>
                  </a:lnTo>
                  <a:lnTo>
                    <a:pt x="99" y="171"/>
                  </a:lnTo>
                  <a:lnTo>
                    <a:pt x="99" y="172"/>
                  </a:lnTo>
                  <a:lnTo>
                    <a:pt x="100" y="171"/>
                  </a:lnTo>
                  <a:lnTo>
                    <a:pt x="100" y="172"/>
                  </a:lnTo>
                  <a:lnTo>
                    <a:pt x="101" y="171"/>
                  </a:lnTo>
                  <a:lnTo>
                    <a:pt x="102" y="171"/>
                  </a:lnTo>
                  <a:lnTo>
                    <a:pt x="104" y="171"/>
                  </a:lnTo>
                  <a:lnTo>
                    <a:pt x="104" y="172"/>
                  </a:lnTo>
                  <a:lnTo>
                    <a:pt x="102" y="172"/>
                  </a:lnTo>
                  <a:lnTo>
                    <a:pt x="101" y="172"/>
                  </a:lnTo>
                  <a:lnTo>
                    <a:pt x="100" y="173"/>
                  </a:lnTo>
                  <a:lnTo>
                    <a:pt x="100" y="174"/>
                  </a:lnTo>
                  <a:lnTo>
                    <a:pt x="101" y="173"/>
                  </a:lnTo>
                  <a:lnTo>
                    <a:pt x="101" y="174"/>
                  </a:lnTo>
                  <a:lnTo>
                    <a:pt x="101" y="175"/>
                  </a:lnTo>
                  <a:lnTo>
                    <a:pt x="102" y="174"/>
                  </a:lnTo>
                  <a:lnTo>
                    <a:pt x="102" y="173"/>
                  </a:lnTo>
                  <a:lnTo>
                    <a:pt x="102" y="174"/>
                  </a:lnTo>
                  <a:lnTo>
                    <a:pt x="102" y="175"/>
                  </a:lnTo>
                  <a:lnTo>
                    <a:pt x="102" y="177"/>
                  </a:lnTo>
                  <a:lnTo>
                    <a:pt x="102" y="178"/>
                  </a:lnTo>
                  <a:lnTo>
                    <a:pt x="104" y="178"/>
                  </a:lnTo>
                  <a:lnTo>
                    <a:pt x="104" y="179"/>
                  </a:lnTo>
                  <a:lnTo>
                    <a:pt x="104" y="178"/>
                  </a:lnTo>
                  <a:lnTo>
                    <a:pt x="105" y="177"/>
                  </a:lnTo>
                  <a:lnTo>
                    <a:pt x="105" y="175"/>
                  </a:lnTo>
                  <a:lnTo>
                    <a:pt x="105" y="174"/>
                  </a:lnTo>
                  <a:lnTo>
                    <a:pt x="105" y="173"/>
                  </a:lnTo>
                  <a:lnTo>
                    <a:pt x="105" y="171"/>
                  </a:lnTo>
                  <a:lnTo>
                    <a:pt x="105" y="167"/>
                  </a:lnTo>
                  <a:lnTo>
                    <a:pt x="105" y="166"/>
                  </a:lnTo>
                  <a:lnTo>
                    <a:pt x="107" y="168"/>
                  </a:lnTo>
                  <a:lnTo>
                    <a:pt x="113" y="172"/>
                  </a:lnTo>
                  <a:lnTo>
                    <a:pt x="116" y="183"/>
                  </a:lnTo>
                  <a:lnTo>
                    <a:pt x="118" y="195"/>
                  </a:lnTo>
                  <a:lnTo>
                    <a:pt x="119" y="207"/>
                  </a:lnTo>
                  <a:lnTo>
                    <a:pt x="119" y="213"/>
                  </a:lnTo>
                  <a:lnTo>
                    <a:pt x="121" y="222"/>
                  </a:lnTo>
                  <a:lnTo>
                    <a:pt x="123" y="227"/>
                  </a:lnTo>
                  <a:lnTo>
                    <a:pt x="123" y="233"/>
                  </a:lnTo>
                  <a:lnTo>
                    <a:pt x="122" y="234"/>
                  </a:lnTo>
                  <a:lnTo>
                    <a:pt x="123" y="237"/>
                  </a:lnTo>
                  <a:lnTo>
                    <a:pt x="122" y="243"/>
                  </a:lnTo>
                  <a:lnTo>
                    <a:pt x="119" y="252"/>
                  </a:lnTo>
                  <a:lnTo>
                    <a:pt x="118" y="260"/>
                  </a:lnTo>
                  <a:lnTo>
                    <a:pt x="117" y="266"/>
                  </a:lnTo>
                  <a:lnTo>
                    <a:pt x="133" y="26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4" name="Freeform 67"/>
            <p:cNvSpPr>
              <a:spLocks/>
            </p:cNvSpPr>
            <p:nvPr userDrawn="1"/>
          </p:nvSpPr>
          <p:spPr bwMode="auto">
            <a:xfrm>
              <a:off x="6640513" y="6230938"/>
              <a:ext cx="80963" cy="246063"/>
            </a:xfrm>
            <a:custGeom>
              <a:avLst/>
              <a:gdLst/>
              <a:ahLst/>
              <a:cxnLst>
                <a:cxn ang="0">
                  <a:pos x="228" y="160"/>
                </a:cxn>
                <a:cxn ang="0">
                  <a:pos x="227" y="154"/>
                </a:cxn>
                <a:cxn ang="0">
                  <a:pos x="195" y="150"/>
                </a:cxn>
                <a:cxn ang="0">
                  <a:pos x="193" y="143"/>
                </a:cxn>
                <a:cxn ang="0">
                  <a:pos x="203" y="102"/>
                </a:cxn>
                <a:cxn ang="0">
                  <a:pos x="196" y="89"/>
                </a:cxn>
                <a:cxn ang="0">
                  <a:pos x="163" y="83"/>
                </a:cxn>
                <a:cxn ang="0">
                  <a:pos x="163" y="64"/>
                </a:cxn>
                <a:cxn ang="0">
                  <a:pos x="160" y="63"/>
                </a:cxn>
                <a:cxn ang="0">
                  <a:pos x="167" y="51"/>
                </a:cxn>
                <a:cxn ang="0">
                  <a:pos x="169" y="37"/>
                </a:cxn>
                <a:cxn ang="0">
                  <a:pos x="166" y="23"/>
                </a:cxn>
                <a:cxn ang="0">
                  <a:pos x="158" y="11"/>
                </a:cxn>
                <a:cxn ang="0">
                  <a:pos x="146" y="2"/>
                </a:cxn>
                <a:cxn ang="0">
                  <a:pos x="139" y="1"/>
                </a:cxn>
                <a:cxn ang="0">
                  <a:pos x="132" y="0"/>
                </a:cxn>
                <a:cxn ang="0">
                  <a:pos x="118" y="2"/>
                </a:cxn>
                <a:cxn ang="0">
                  <a:pos x="105" y="11"/>
                </a:cxn>
                <a:cxn ang="0">
                  <a:pos x="97" y="23"/>
                </a:cxn>
                <a:cxn ang="0">
                  <a:pos x="95" y="30"/>
                </a:cxn>
                <a:cxn ang="0">
                  <a:pos x="95" y="37"/>
                </a:cxn>
                <a:cxn ang="0">
                  <a:pos x="97" y="51"/>
                </a:cxn>
                <a:cxn ang="0">
                  <a:pos x="99" y="57"/>
                </a:cxn>
                <a:cxn ang="0">
                  <a:pos x="103" y="61"/>
                </a:cxn>
                <a:cxn ang="0">
                  <a:pos x="95" y="64"/>
                </a:cxn>
                <a:cxn ang="0">
                  <a:pos x="95" y="83"/>
                </a:cxn>
                <a:cxn ang="0">
                  <a:pos x="62" y="89"/>
                </a:cxn>
                <a:cxn ang="0">
                  <a:pos x="55" y="102"/>
                </a:cxn>
                <a:cxn ang="0">
                  <a:pos x="66" y="143"/>
                </a:cxn>
                <a:cxn ang="0">
                  <a:pos x="63" y="150"/>
                </a:cxn>
                <a:cxn ang="0">
                  <a:pos x="31" y="154"/>
                </a:cxn>
                <a:cxn ang="0">
                  <a:pos x="31" y="160"/>
                </a:cxn>
                <a:cxn ang="0">
                  <a:pos x="10" y="162"/>
                </a:cxn>
                <a:cxn ang="0">
                  <a:pos x="0" y="166"/>
                </a:cxn>
                <a:cxn ang="0">
                  <a:pos x="0" y="186"/>
                </a:cxn>
                <a:cxn ang="0">
                  <a:pos x="0" y="190"/>
                </a:cxn>
                <a:cxn ang="0">
                  <a:pos x="48" y="272"/>
                </a:cxn>
                <a:cxn ang="0">
                  <a:pos x="91" y="272"/>
                </a:cxn>
                <a:cxn ang="0">
                  <a:pos x="95" y="483"/>
                </a:cxn>
                <a:cxn ang="0">
                  <a:pos x="95" y="629"/>
                </a:cxn>
                <a:cxn ang="0">
                  <a:pos x="93" y="678"/>
                </a:cxn>
                <a:cxn ang="0">
                  <a:pos x="92" y="691"/>
                </a:cxn>
                <a:cxn ang="0">
                  <a:pos x="91" y="696"/>
                </a:cxn>
                <a:cxn ang="0">
                  <a:pos x="86" y="699"/>
                </a:cxn>
                <a:cxn ang="0">
                  <a:pos x="83" y="701"/>
                </a:cxn>
                <a:cxn ang="0">
                  <a:pos x="80" y="706"/>
                </a:cxn>
                <a:cxn ang="0">
                  <a:pos x="80" y="774"/>
                </a:cxn>
                <a:cxn ang="0">
                  <a:pos x="130" y="774"/>
                </a:cxn>
                <a:cxn ang="0">
                  <a:pos x="179" y="774"/>
                </a:cxn>
                <a:cxn ang="0">
                  <a:pos x="179" y="706"/>
                </a:cxn>
                <a:cxn ang="0">
                  <a:pos x="175" y="701"/>
                </a:cxn>
                <a:cxn ang="0">
                  <a:pos x="172" y="699"/>
                </a:cxn>
                <a:cxn ang="0">
                  <a:pos x="167" y="696"/>
                </a:cxn>
                <a:cxn ang="0">
                  <a:pos x="164" y="678"/>
                </a:cxn>
                <a:cxn ang="0">
                  <a:pos x="163" y="629"/>
                </a:cxn>
                <a:cxn ang="0">
                  <a:pos x="164" y="483"/>
                </a:cxn>
                <a:cxn ang="0">
                  <a:pos x="167" y="272"/>
                </a:cxn>
                <a:cxn ang="0">
                  <a:pos x="210" y="272"/>
                </a:cxn>
                <a:cxn ang="0">
                  <a:pos x="258" y="190"/>
                </a:cxn>
                <a:cxn ang="0">
                  <a:pos x="258" y="186"/>
                </a:cxn>
                <a:cxn ang="0">
                  <a:pos x="258" y="166"/>
                </a:cxn>
                <a:cxn ang="0">
                  <a:pos x="248" y="162"/>
                </a:cxn>
                <a:cxn ang="0">
                  <a:pos x="228" y="160"/>
                </a:cxn>
              </a:cxnLst>
              <a:rect l="0" t="0" r="r" b="b"/>
              <a:pathLst>
                <a:path w="258" h="774">
                  <a:moveTo>
                    <a:pt x="228" y="160"/>
                  </a:moveTo>
                  <a:lnTo>
                    <a:pt x="227" y="154"/>
                  </a:lnTo>
                  <a:lnTo>
                    <a:pt x="195" y="150"/>
                  </a:lnTo>
                  <a:lnTo>
                    <a:pt x="193" y="143"/>
                  </a:lnTo>
                  <a:lnTo>
                    <a:pt x="203" y="102"/>
                  </a:lnTo>
                  <a:lnTo>
                    <a:pt x="196" y="89"/>
                  </a:lnTo>
                  <a:lnTo>
                    <a:pt x="163" y="83"/>
                  </a:lnTo>
                  <a:lnTo>
                    <a:pt x="163" y="64"/>
                  </a:lnTo>
                  <a:lnTo>
                    <a:pt x="160" y="63"/>
                  </a:lnTo>
                  <a:lnTo>
                    <a:pt x="167" y="51"/>
                  </a:lnTo>
                  <a:lnTo>
                    <a:pt x="169" y="37"/>
                  </a:lnTo>
                  <a:lnTo>
                    <a:pt x="166" y="23"/>
                  </a:lnTo>
                  <a:lnTo>
                    <a:pt x="158" y="11"/>
                  </a:lnTo>
                  <a:lnTo>
                    <a:pt x="146" y="2"/>
                  </a:lnTo>
                  <a:lnTo>
                    <a:pt x="139" y="1"/>
                  </a:lnTo>
                  <a:lnTo>
                    <a:pt x="132" y="0"/>
                  </a:lnTo>
                  <a:lnTo>
                    <a:pt x="118" y="2"/>
                  </a:lnTo>
                  <a:lnTo>
                    <a:pt x="105" y="11"/>
                  </a:lnTo>
                  <a:lnTo>
                    <a:pt x="97" y="23"/>
                  </a:lnTo>
                  <a:lnTo>
                    <a:pt x="95" y="30"/>
                  </a:lnTo>
                  <a:lnTo>
                    <a:pt x="95" y="37"/>
                  </a:lnTo>
                  <a:lnTo>
                    <a:pt x="97" y="51"/>
                  </a:lnTo>
                  <a:lnTo>
                    <a:pt x="99" y="57"/>
                  </a:lnTo>
                  <a:lnTo>
                    <a:pt x="103" y="61"/>
                  </a:lnTo>
                  <a:lnTo>
                    <a:pt x="95" y="64"/>
                  </a:lnTo>
                  <a:lnTo>
                    <a:pt x="95" y="83"/>
                  </a:lnTo>
                  <a:lnTo>
                    <a:pt x="62" y="89"/>
                  </a:lnTo>
                  <a:lnTo>
                    <a:pt x="55" y="102"/>
                  </a:lnTo>
                  <a:lnTo>
                    <a:pt x="66" y="143"/>
                  </a:lnTo>
                  <a:lnTo>
                    <a:pt x="63" y="150"/>
                  </a:lnTo>
                  <a:lnTo>
                    <a:pt x="31" y="154"/>
                  </a:lnTo>
                  <a:lnTo>
                    <a:pt x="31" y="160"/>
                  </a:lnTo>
                  <a:lnTo>
                    <a:pt x="10" y="162"/>
                  </a:lnTo>
                  <a:lnTo>
                    <a:pt x="0" y="166"/>
                  </a:lnTo>
                  <a:lnTo>
                    <a:pt x="0" y="186"/>
                  </a:lnTo>
                  <a:lnTo>
                    <a:pt x="0" y="190"/>
                  </a:lnTo>
                  <a:lnTo>
                    <a:pt x="48" y="272"/>
                  </a:lnTo>
                  <a:lnTo>
                    <a:pt x="91" y="272"/>
                  </a:lnTo>
                  <a:lnTo>
                    <a:pt x="95" y="483"/>
                  </a:lnTo>
                  <a:lnTo>
                    <a:pt x="95" y="629"/>
                  </a:lnTo>
                  <a:lnTo>
                    <a:pt x="93" y="678"/>
                  </a:lnTo>
                  <a:lnTo>
                    <a:pt x="92" y="691"/>
                  </a:lnTo>
                  <a:lnTo>
                    <a:pt x="91" y="696"/>
                  </a:lnTo>
                  <a:lnTo>
                    <a:pt x="86" y="699"/>
                  </a:lnTo>
                  <a:lnTo>
                    <a:pt x="83" y="701"/>
                  </a:lnTo>
                  <a:lnTo>
                    <a:pt x="80" y="706"/>
                  </a:lnTo>
                  <a:lnTo>
                    <a:pt x="80" y="774"/>
                  </a:lnTo>
                  <a:lnTo>
                    <a:pt x="130" y="774"/>
                  </a:lnTo>
                  <a:lnTo>
                    <a:pt x="179" y="774"/>
                  </a:lnTo>
                  <a:lnTo>
                    <a:pt x="179" y="706"/>
                  </a:lnTo>
                  <a:lnTo>
                    <a:pt x="175" y="701"/>
                  </a:lnTo>
                  <a:lnTo>
                    <a:pt x="172" y="699"/>
                  </a:lnTo>
                  <a:lnTo>
                    <a:pt x="167" y="696"/>
                  </a:lnTo>
                  <a:lnTo>
                    <a:pt x="164" y="678"/>
                  </a:lnTo>
                  <a:lnTo>
                    <a:pt x="163" y="629"/>
                  </a:lnTo>
                  <a:lnTo>
                    <a:pt x="164" y="483"/>
                  </a:lnTo>
                  <a:lnTo>
                    <a:pt x="167" y="272"/>
                  </a:lnTo>
                  <a:lnTo>
                    <a:pt x="210" y="272"/>
                  </a:lnTo>
                  <a:lnTo>
                    <a:pt x="258" y="190"/>
                  </a:lnTo>
                  <a:lnTo>
                    <a:pt x="258" y="186"/>
                  </a:lnTo>
                  <a:lnTo>
                    <a:pt x="258" y="166"/>
                  </a:lnTo>
                  <a:lnTo>
                    <a:pt x="248" y="162"/>
                  </a:lnTo>
                  <a:lnTo>
                    <a:pt x="228" y="160"/>
                  </a:ln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5" name="Freeform 68"/>
            <p:cNvSpPr>
              <a:spLocks/>
            </p:cNvSpPr>
            <p:nvPr userDrawn="1"/>
          </p:nvSpPr>
          <p:spPr bwMode="auto">
            <a:xfrm>
              <a:off x="5983288" y="6507163"/>
              <a:ext cx="96838" cy="104775"/>
            </a:xfrm>
            <a:custGeom>
              <a:avLst/>
              <a:gdLst/>
              <a:ahLst/>
              <a:cxnLst>
                <a:cxn ang="0">
                  <a:pos x="274" y="146"/>
                </a:cxn>
                <a:cxn ang="0">
                  <a:pos x="258" y="129"/>
                </a:cxn>
                <a:cxn ang="0">
                  <a:pos x="228" y="113"/>
                </a:cxn>
                <a:cxn ang="0">
                  <a:pos x="221" y="109"/>
                </a:cxn>
                <a:cxn ang="0">
                  <a:pos x="241" y="107"/>
                </a:cxn>
                <a:cxn ang="0">
                  <a:pos x="248" y="92"/>
                </a:cxn>
                <a:cxn ang="0">
                  <a:pos x="244" y="77"/>
                </a:cxn>
                <a:cxn ang="0">
                  <a:pos x="228" y="61"/>
                </a:cxn>
                <a:cxn ang="0">
                  <a:pos x="215" y="50"/>
                </a:cxn>
                <a:cxn ang="0">
                  <a:pos x="195" y="55"/>
                </a:cxn>
                <a:cxn ang="0">
                  <a:pos x="182" y="58"/>
                </a:cxn>
                <a:cxn ang="0">
                  <a:pos x="162" y="71"/>
                </a:cxn>
                <a:cxn ang="0">
                  <a:pos x="150" y="83"/>
                </a:cxn>
                <a:cxn ang="0">
                  <a:pos x="164" y="65"/>
                </a:cxn>
                <a:cxn ang="0">
                  <a:pos x="179" y="59"/>
                </a:cxn>
                <a:cxn ang="0">
                  <a:pos x="200" y="45"/>
                </a:cxn>
                <a:cxn ang="0">
                  <a:pos x="192" y="23"/>
                </a:cxn>
                <a:cxn ang="0">
                  <a:pos x="181" y="14"/>
                </a:cxn>
                <a:cxn ang="0">
                  <a:pos x="165" y="10"/>
                </a:cxn>
                <a:cxn ang="0">
                  <a:pos x="147" y="16"/>
                </a:cxn>
                <a:cxn ang="0">
                  <a:pos x="134" y="9"/>
                </a:cxn>
                <a:cxn ang="0">
                  <a:pos x="122" y="18"/>
                </a:cxn>
                <a:cxn ang="0">
                  <a:pos x="109" y="23"/>
                </a:cxn>
                <a:cxn ang="0">
                  <a:pos x="97" y="29"/>
                </a:cxn>
                <a:cxn ang="0">
                  <a:pos x="93" y="40"/>
                </a:cxn>
                <a:cxn ang="0">
                  <a:pos x="80" y="57"/>
                </a:cxn>
                <a:cxn ang="0">
                  <a:pos x="62" y="71"/>
                </a:cxn>
                <a:cxn ang="0">
                  <a:pos x="52" y="83"/>
                </a:cxn>
                <a:cxn ang="0">
                  <a:pos x="32" y="97"/>
                </a:cxn>
                <a:cxn ang="0">
                  <a:pos x="23" y="127"/>
                </a:cxn>
                <a:cxn ang="0">
                  <a:pos x="56" y="130"/>
                </a:cxn>
                <a:cxn ang="0">
                  <a:pos x="25" y="159"/>
                </a:cxn>
                <a:cxn ang="0">
                  <a:pos x="34" y="170"/>
                </a:cxn>
                <a:cxn ang="0">
                  <a:pos x="63" y="158"/>
                </a:cxn>
                <a:cxn ang="0">
                  <a:pos x="56" y="168"/>
                </a:cxn>
                <a:cxn ang="0">
                  <a:pos x="23" y="194"/>
                </a:cxn>
                <a:cxn ang="0">
                  <a:pos x="6" y="232"/>
                </a:cxn>
                <a:cxn ang="0">
                  <a:pos x="31" y="230"/>
                </a:cxn>
                <a:cxn ang="0">
                  <a:pos x="46" y="249"/>
                </a:cxn>
                <a:cxn ang="0">
                  <a:pos x="52" y="251"/>
                </a:cxn>
                <a:cxn ang="0">
                  <a:pos x="57" y="238"/>
                </a:cxn>
                <a:cxn ang="0">
                  <a:pos x="103" y="238"/>
                </a:cxn>
                <a:cxn ang="0">
                  <a:pos x="63" y="257"/>
                </a:cxn>
                <a:cxn ang="0">
                  <a:pos x="71" y="271"/>
                </a:cxn>
                <a:cxn ang="0">
                  <a:pos x="87" y="258"/>
                </a:cxn>
                <a:cxn ang="0">
                  <a:pos x="118" y="267"/>
                </a:cxn>
                <a:cxn ang="0">
                  <a:pos x="129" y="288"/>
                </a:cxn>
                <a:cxn ang="0">
                  <a:pos x="199" y="270"/>
                </a:cxn>
                <a:cxn ang="0">
                  <a:pos x="233" y="272"/>
                </a:cxn>
                <a:cxn ang="0">
                  <a:pos x="198" y="269"/>
                </a:cxn>
                <a:cxn ang="0">
                  <a:pos x="173" y="251"/>
                </a:cxn>
                <a:cxn ang="0">
                  <a:pos x="189" y="247"/>
                </a:cxn>
                <a:cxn ang="0">
                  <a:pos x="216" y="253"/>
                </a:cxn>
                <a:cxn ang="0">
                  <a:pos x="238" y="252"/>
                </a:cxn>
                <a:cxn ang="0">
                  <a:pos x="263" y="231"/>
                </a:cxn>
                <a:cxn ang="0">
                  <a:pos x="232" y="219"/>
                </a:cxn>
                <a:cxn ang="0">
                  <a:pos x="209" y="204"/>
                </a:cxn>
                <a:cxn ang="0">
                  <a:pos x="226" y="204"/>
                </a:cxn>
                <a:cxn ang="0">
                  <a:pos x="211" y="181"/>
                </a:cxn>
                <a:cxn ang="0">
                  <a:pos x="242" y="198"/>
                </a:cxn>
                <a:cxn ang="0">
                  <a:pos x="277" y="212"/>
                </a:cxn>
                <a:cxn ang="0">
                  <a:pos x="257" y="182"/>
                </a:cxn>
                <a:cxn ang="0">
                  <a:pos x="283" y="172"/>
                </a:cxn>
              </a:cxnLst>
              <a:rect l="0" t="0" r="r" b="b"/>
              <a:pathLst>
                <a:path w="305" h="329">
                  <a:moveTo>
                    <a:pt x="303" y="156"/>
                  </a:moveTo>
                  <a:lnTo>
                    <a:pt x="304" y="156"/>
                  </a:lnTo>
                  <a:lnTo>
                    <a:pt x="303" y="156"/>
                  </a:lnTo>
                  <a:lnTo>
                    <a:pt x="301" y="156"/>
                  </a:lnTo>
                  <a:lnTo>
                    <a:pt x="300" y="156"/>
                  </a:lnTo>
                  <a:lnTo>
                    <a:pt x="300" y="154"/>
                  </a:lnTo>
                  <a:lnTo>
                    <a:pt x="299" y="154"/>
                  </a:lnTo>
                  <a:lnTo>
                    <a:pt x="299" y="156"/>
                  </a:lnTo>
                  <a:lnTo>
                    <a:pt x="299" y="157"/>
                  </a:lnTo>
                  <a:lnTo>
                    <a:pt x="297" y="157"/>
                  </a:lnTo>
                  <a:lnTo>
                    <a:pt x="298" y="156"/>
                  </a:lnTo>
                  <a:lnTo>
                    <a:pt x="298" y="154"/>
                  </a:lnTo>
                  <a:lnTo>
                    <a:pt x="299" y="153"/>
                  </a:lnTo>
                  <a:lnTo>
                    <a:pt x="298" y="153"/>
                  </a:lnTo>
                  <a:lnTo>
                    <a:pt x="297" y="153"/>
                  </a:lnTo>
                  <a:lnTo>
                    <a:pt x="297" y="154"/>
                  </a:lnTo>
                  <a:lnTo>
                    <a:pt x="295" y="156"/>
                  </a:lnTo>
                  <a:lnTo>
                    <a:pt x="294" y="156"/>
                  </a:lnTo>
                  <a:lnTo>
                    <a:pt x="294" y="157"/>
                  </a:lnTo>
                  <a:lnTo>
                    <a:pt x="293" y="157"/>
                  </a:lnTo>
                  <a:lnTo>
                    <a:pt x="293" y="156"/>
                  </a:lnTo>
                  <a:lnTo>
                    <a:pt x="292" y="154"/>
                  </a:lnTo>
                  <a:lnTo>
                    <a:pt x="291" y="156"/>
                  </a:lnTo>
                  <a:lnTo>
                    <a:pt x="289" y="156"/>
                  </a:lnTo>
                  <a:lnTo>
                    <a:pt x="291" y="154"/>
                  </a:lnTo>
                  <a:lnTo>
                    <a:pt x="291" y="153"/>
                  </a:lnTo>
                  <a:lnTo>
                    <a:pt x="292" y="152"/>
                  </a:lnTo>
                  <a:lnTo>
                    <a:pt x="292" y="150"/>
                  </a:lnTo>
                  <a:lnTo>
                    <a:pt x="291" y="151"/>
                  </a:lnTo>
                  <a:lnTo>
                    <a:pt x="291" y="150"/>
                  </a:lnTo>
                  <a:lnTo>
                    <a:pt x="289" y="151"/>
                  </a:lnTo>
                  <a:lnTo>
                    <a:pt x="289" y="152"/>
                  </a:lnTo>
                  <a:lnTo>
                    <a:pt x="288" y="152"/>
                  </a:lnTo>
                  <a:lnTo>
                    <a:pt x="287" y="153"/>
                  </a:lnTo>
                  <a:lnTo>
                    <a:pt x="287" y="152"/>
                  </a:lnTo>
                  <a:lnTo>
                    <a:pt x="286" y="152"/>
                  </a:lnTo>
                  <a:lnTo>
                    <a:pt x="286" y="151"/>
                  </a:lnTo>
                  <a:lnTo>
                    <a:pt x="285" y="148"/>
                  </a:lnTo>
                  <a:lnTo>
                    <a:pt x="283" y="148"/>
                  </a:lnTo>
                  <a:lnTo>
                    <a:pt x="282" y="148"/>
                  </a:lnTo>
                  <a:lnTo>
                    <a:pt x="282" y="147"/>
                  </a:lnTo>
                  <a:lnTo>
                    <a:pt x="283" y="146"/>
                  </a:lnTo>
                  <a:lnTo>
                    <a:pt x="282" y="146"/>
                  </a:lnTo>
                  <a:lnTo>
                    <a:pt x="281" y="146"/>
                  </a:lnTo>
                  <a:lnTo>
                    <a:pt x="281" y="147"/>
                  </a:lnTo>
                  <a:lnTo>
                    <a:pt x="280" y="147"/>
                  </a:lnTo>
                  <a:lnTo>
                    <a:pt x="279" y="147"/>
                  </a:lnTo>
                  <a:lnTo>
                    <a:pt x="277" y="147"/>
                  </a:lnTo>
                  <a:lnTo>
                    <a:pt x="279" y="147"/>
                  </a:lnTo>
                  <a:lnTo>
                    <a:pt x="279" y="146"/>
                  </a:lnTo>
                  <a:lnTo>
                    <a:pt x="279" y="145"/>
                  </a:lnTo>
                  <a:lnTo>
                    <a:pt x="279" y="144"/>
                  </a:lnTo>
                  <a:lnTo>
                    <a:pt x="277" y="145"/>
                  </a:lnTo>
                  <a:lnTo>
                    <a:pt x="276" y="145"/>
                  </a:lnTo>
                  <a:lnTo>
                    <a:pt x="276" y="146"/>
                  </a:lnTo>
                  <a:lnTo>
                    <a:pt x="275" y="145"/>
                  </a:lnTo>
                  <a:lnTo>
                    <a:pt x="274" y="145"/>
                  </a:lnTo>
                  <a:lnTo>
                    <a:pt x="274" y="146"/>
                  </a:lnTo>
                  <a:lnTo>
                    <a:pt x="273" y="146"/>
                  </a:lnTo>
                  <a:lnTo>
                    <a:pt x="271" y="145"/>
                  </a:lnTo>
                  <a:lnTo>
                    <a:pt x="271" y="144"/>
                  </a:lnTo>
                  <a:lnTo>
                    <a:pt x="271" y="142"/>
                  </a:lnTo>
                  <a:lnTo>
                    <a:pt x="270" y="142"/>
                  </a:lnTo>
                  <a:lnTo>
                    <a:pt x="269" y="144"/>
                  </a:lnTo>
                  <a:lnTo>
                    <a:pt x="268" y="145"/>
                  </a:lnTo>
                  <a:lnTo>
                    <a:pt x="267" y="145"/>
                  </a:lnTo>
                  <a:lnTo>
                    <a:pt x="267" y="144"/>
                  </a:lnTo>
                  <a:lnTo>
                    <a:pt x="268" y="144"/>
                  </a:lnTo>
                  <a:lnTo>
                    <a:pt x="268" y="142"/>
                  </a:lnTo>
                  <a:lnTo>
                    <a:pt x="268" y="141"/>
                  </a:lnTo>
                  <a:lnTo>
                    <a:pt x="269" y="140"/>
                  </a:lnTo>
                  <a:lnTo>
                    <a:pt x="268" y="140"/>
                  </a:lnTo>
                  <a:lnTo>
                    <a:pt x="268" y="139"/>
                  </a:lnTo>
                  <a:lnTo>
                    <a:pt x="268" y="140"/>
                  </a:lnTo>
                  <a:lnTo>
                    <a:pt x="267" y="140"/>
                  </a:lnTo>
                  <a:lnTo>
                    <a:pt x="265" y="141"/>
                  </a:lnTo>
                  <a:lnTo>
                    <a:pt x="264" y="140"/>
                  </a:lnTo>
                  <a:lnTo>
                    <a:pt x="264" y="141"/>
                  </a:lnTo>
                  <a:lnTo>
                    <a:pt x="263" y="141"/>
                  </a:lnTo>
                  <a:lnTo>
                    <a:pt x="262" y="141"/>
                  </a:lnTo>
                  <a:lnTo>
                    <a:pt x="260" y="141"/>
                  </a:lnTo>
                  <a:lnTo>
                    <a:pt x="259" y="141"/>
                  </a:lnTo>
                  <a:lnTo>
                    <a:pt x="260" y="141"/>
                  </a:lnTo>
                  <a:lnTo>
                    <a:pt x="260" y="140"/>
                  </a:lnTo>
                  <a:lnTo>
                    <a:pt x="262" y="139"/>
                  </a:lnTo>
                  <a:lnTo>
                    <a:pt x="263" y="138"/>
                  </a:lnTo>
                  <a:lnTo>
                    <a:pt x="262" y="138"/>
                  </a:lnTo>
                  <a:lnTo>
                    <a:pt x="262" y="136"/>
                  </a:lnTo>
                  <a:lnTo>
                    <a:pt x="263" y="136"/>
                  </a:lnTo>
                  <a:lnTo>
                    <a:pt x="263" y="138"/>
                  </a:lnTo>
                  <a:lnTo>
                    <a:pt x="264" y="136"/>
                  </a:lnTo>
                  <a:lnTo>
                    <a:pt x="267" y="135"/>
                  </a:lnTo>
                  <a:lnTo>
                    <a:pt x="268" y="134"/>
                  </a:lnTo>
                  <a:lnTo>
                    <a:pt x="269" y="134"/>
                  </a:lnTo>
                  <a:lnTo>
                    <a:pt x="269" y="133"/>
                  </a:lnTo>
                  <a:lnTo>
                    <a:pt x="269" y="132"/>
                  </a:lnTo>
                  <a:lnTo>
                    <a:pt x="269" y="130"/>
                  </a:lnTo>
                  <a:lnTo>
                    <a:pt x="270" y="129"/>
                  </a:lnTo>
                  <a:lnTo>
                    <a:pt x="269" y="129"/>
                  </a:lnTo>
                  <a:lnTo>
                    <a:pt x="268" y="129"/>
                  </a:lnTo>
                  <a:lnTo>
                    <a:pt x="267" y="128"/>
                  </a:lnTo>
                  <a:lnTo>
                    <a:pt x="267" y="127"/>
                  </a:lnTo>
                  <a:lnTo>
                    <a:pt x="265" y="128"/>
                  </a:lnTo>
                  <a:lnTo>
                    <a:pt x="264" y="129"/>
                  </a:lnTo>
                  <a:lnTo>
                    <a:pt x="264" y="130"/>
                  </a:lnTo>
                  <a:lnTo>
                    <a:pt x="263" y="130"/>
                  </a:lnTo>
                  <a:lnTo>
                    <a:pt x="263" y="128"/>
                  </a:lnTo>
                  <a:lnTo>
                    <a:pt x="264" y="128"/>
                  </a:lnTo>
                  <a:lnTo>
                    <a:pt x="263" y="127"/>
                  </a:lnTo>
                  <a:lnTo>
                    <a:pt x="263" y="128"/>
                  </a:lnTo>
                  <a:lnTo>
                    <a:pt x="262" y="127"/>
                  </a:lnTo>
                  <a:lnTo>
                    <a:pt x="262" y="128"/>
                  </a:lnTo>
                  <a:lnTo>
                    <a:pt x="260" y="128"/>
                  </a:lnTo>
                  <a:lnTo>
                    <a:pt x="259" y="128"/>
                  </a:lnTo>
                  <a:lnTo>
                    <a:pt x="259" y="129"/>
                  </a:lnTo>
                  <a:lnTo>
                    <a:pt x="258" y="129"/>
                  </a:lnTo>
                  <a:lnTo>
                    <a:pt x="258" y="128"/>
                  </a:lnTo>
                  <a:lnTo>
                    <a:pt x="258" y="127"/>
                  </a:lnTo>
                  <a:lnTo>
                    <a:pt x="257" y="125"/>
                  </a:lnTo>
                  <a:lnTo>
                    <a:pt x="257" y="127"/>
                  </a:lnTo>
                  <a:lnTo>
                    <a:pt x="256" y="127"/>
                  </a:lnTo>
                  <a:lnTo>
                    <a:pt x="256" y="125"/>
                  </a:lnTo>
                  <a:lnTo>
                    <a:pt x="257" y="124"/>
                  </a:lnTo>
                  <a:lnTo>
                    <a:pt x="256" y="123"/>
                  </a:lnTo>
                  <a:lnTo>
                    <a:pt x="256" y="122"/>
                  </a:lnTo>
                  <a:lnTo>
                    <a:pt x="256" y="123"/>
                  </a:lnTo>
                  <a:lnTo>
                    <a:pt x="254" y="123"/>
                  </a:lnTo>
                  <a:lnTo>
                    <a:pt x="254" y="124"/>
                  </a:lnTo>
                  <a:lnTo>
                    <a:pt x="253" y="124"/>
                  </a:lnTo>
                  <a:lnTo>
                    <a:pt x="253" y="125"/>
                  </a:lnTo>
                  <a:lnTo>
                    <a:pt x="252" y="125"/>
                  </a:lnTo>
                  <a:lnTo>
                    <a:pt x="251" y="125"/>
                  </a:lnTo>
                  <a:lnTo>
                    <a:pt x="251" y="127"/>
                  </a:lnTo>
                  <a:lnTo>
                    <a:pt x="250" y="127"/>
                  </a:lnTo>
                  <a:lnTo>
                    <a:pt x="248" y="127"/>
                  </a:lnTo>
                  <a:lnTo>
                    <a:pt x="248" y="128"/>
                  </a:lnTo>
                  <a:lnTo>
                    <a:pt x="247" y="128"/>
                  </a:lnTo>
                  <a:lnTo>
                    <a:pt x="247" y="127"/>
                  </a:lnTo>
                  <a:lnTo>
                    <a:pt x="248" y="127"/>
                  </a:lnTo>
                  <a:lnTo>
                    <a:pt x="248" y="125"/>
                  </a:lnTo>
                  <a:lnTo>
                    <a:pt x="248" y="124"/>
                  </a:lnTo>
                  <a:lnTo>
                    <a:pt x="247" y="123"/>
                  </a:lnTo>
                  <a:lnTo>
                    <a:pt x="247" y="124"/>
                  </a:lnTo>
                  <a:lnTo>
                    <a:pt x="247" y="123"/>
                  </a:lnTo>
                  <a:lnTo>
                    <a:pt x="246" y="123"/>
                  </a:lnTo>
                  <a:lnTo>
                    <a:pt x="245" y="123"/>
                  </a:lnTo>
                  <a:lnTo>
                    <a:pt x="245" y="122"/>
                  </a:lnTo>
                  <a:lnTo>
                    <a:pt x="242" y="122"/>
                  </a:lnTo>
                  <a:lnTo>
                    <a:pt x="241" y="123"/>
                  </a:lnTo>
                  <a:lnTo>
                    <a:pt x="240" y="123"/>
                  </a:lnTo>
                  <a:lnTo>
                    <a:pt x="240" y="124"/>
                  </a:lnTo>
                  <a:lnTo>
                    <a:pt x="240" y="123"/>
                  </a:lnTo>
                  <a:lnTo>
                    <a:pt x="239" y="124"/>
                  </a:lnTo>
                  <a:lnTo>
                    <a:pt x="239" y="123"/>
                  </a:lnTo>
                  <a:lnTo>
                    <a:pt x="239" y="122"/>
                  </a:lnTo>
                  <a:lnTo>
                    <a:pt x="238" y="122"/>
                  </a:lnTo>
                  <a:lnTo>
                    <a:pt x="236" y="122"/>
                  </a:lnTo>
                  <a:lnTo>
                    <a:pt x="236" y="121"/>
                  </a:lnTo>
                  <a:lnTo>
                    <a:pt x="235" y="121"/>
                  </a:lnTo>
                  <a:lnTo>
                    <a:pt x="235" y="122"/>
                  </a:lnTo>
                  <a:lnTo>
                    <a:pt x="236" y="122"/>
                  </a:lnTo>
                  <a:lnTo>
                    <a:pt x="235" y="122"/>
                  </a:lnTo>
                  <a:lnTo>
                    <a:pt x="234" y="121"/>
                  </a:lnTo>
                  <a:lnTo>
                    <a:pt x="235" y="119"/>
                  </a:lnTo>
                  <a:lnTo>
                    <a:pt x="235" y="118"/>
                  </a:lnTo>
                  <a:lnTo>
                    <a:pt x="235" y="117"/>
                  </a:lnTo>
                  <a:lnTo>
                    <a:pt x="235" y="116"/>
                  </a:lnTo>
                  <a:lnTo>
                    <a:pt x="235" y="117"/>
                  </a:lnTo>
                  <a:lnTo>
                    <a:pt x="234" y="117"/>
                  </a:lnTo>
                  <a:lnTo>
                    <a:pt x="233" y="117"/>
                  </a:lnTo>
                  <a:lnTo>
                    <a:pt x="229" y="116"/>
                  </a:lnTo>
                  <a:lnTo>
                    <a:pt x="229" y="115"/>
                  </a:lnTo>
                  <a:lnTo>
                    <a:pt x="228" y="115"/>
                  </a:lnTo>
                  <a:lnTo>
                    <a:pt x="228" y="113"/>
                  </a:lnTo>
                  <a:lnTo>
                    <a:pt x="227" y="113"/>
                  </a:lnTo>
                  <a:lnTo>
                    <a:pt x="227" y="115"/>
                  </a:lnTo>
                  <a:lnTo>
                    <a:pt x="226" y="113"/>
                  </a:lnTo>
                  <a:lnTo>
                    <a:pt x="224" y="113"/>
                  </a:lnTo>
                  <a:lnTo>
                    <a:pt x="223" y="113"/>
                  </a:lnTo>
                  <a:lnTo>
                    <a:pt x="222" y="113"/>
                  </a:lnTo>
                  <a:lnTo>
                    <a:pt x="221" y="113"/>
                  </a:lnTo>
                  <a:lnTo>
                    <a:pt x="220" y="113"/>
                  </a:lnTo>
                  <a:lnTo>
                    <a:pt x="220" y="112"/>
                  </a:lnTo>
                  <a:lnTo>
                    <a:pt x="218" y="111"/>
                  </a:lnTo>
                  <a:lnTo>
                    <a:pt x="218" y="112"/>
                  </a:lnTo>
                  <a:lnTo>
                    <a:pt x="217" y="112"/>
                  </a:lnTo>
                  <a:lnTo>
                    <a:pt x="217" y="111"/>
                  </a:lnTo>
                  <a:lnTo>
                    <a:pt x="218" y="111"/>
                  </a:lnTo>
                  <a:lnTo>
                    <a:pt x="217" y="110"/>
                  </a:lnTo>
                  <a:lnTo>
                    <a:pt x="217" y="111"/>
                  </a:lnTo>
                  <a:lnTo>
                    <a:pt x="216" y="110"/>
                  </a:lnTo>
                  <a:lnTo>
                    <a:pt x="217" y="110"/>
                  </a:lnTo>
                  <a:lnTo>
                    <a:pt x="216" y="110"/>
                  </a:lnTo>
                  <a:lnTo>
                    <a:pt x="216" y="109"/>
                  </a:lnTo>
                  <a:lnTo>
                    <a:pt x="217" y="107"/>
                  </a:lnTo>
                  <a:lnTo>
                    <a:pt x="216" y="107"/>
                  </a:lnTo>
                  <a:lnTo>
                    <a:pt x="216" y="106"/>
                  </a:lnTo>
                  <a:lnTo>
                    <a:pt x="215" y="106"/>
                  </a:lnTo>
                  <a:lnTo>
                    <a:pt x="215" y="105"/>
                  </a:lnTo>
                  <a:lnTo>
                    <a:pt x="214" y="105"/>
                  </a:lnTo>
                  <a:lnTo>
                    <a:pt x="214" y="104"/>
                  </a:lnTo>
                  <a:lnTo>
                    <a:pt x="212" y="104"/>
                  </a:lnTo>
                  <a:lnTo>
                    <a:pt x="212" y="103"/>
                  </a:lnTo>
                  <a:lnTo>
                    <a:pt x="214" y="103"/>
                  </a:lnTo>
                  <a:lnTo>
                    <a:pt x="214" y="101"/>
                  </a:lnTo>
                  <a:lnTo>
                    <a:pt x="212" y="101"/>
                  </a:lnTo>
                  <a:lnTo>
                    <a:pt x="214" y="101"/>
                  </a:lnTo>
                  <a:lnTo>
                    <a:pt x="215" y="101"/>
                  </a:lnTo>
                  <a:lnTo>
                    <a:pt x="215" y="100"/>
                  </a:lnTo>
                  <a:lnTo>
                    <a:pt x="216" y="100"/>
                  </a:lnTo>
                  <a:lnTo>
                    <a:pt x="216" y="101"/>
                  </a:lnTo>
                  <a:lnTo>
                    <a:pt x="216" y="100"/>
                  </a:lnTo>
                  <a:lnTo>
                    <a:pt x="217" y="100"/>
                  </a:lnTo>
                  <a:lnTo>
                    <a:pt x="217" y="101"/>
                  </a:lnTo>
                  <a:lnTo>
                    <a:pt x="217" y="100"/>
                  </a:lnTo>
                  <a:lnTo>
                    <a:pt x="218" y="100"/>
                  </a:lnTo>
                  <a:lnTo>
                    <a:pt x="218" y="101"/>
                  </a:lnTo>
                  <a:lnTo>
                    <a:pt x="220" y="101"/>
                  </a:lnTo>
                  <a:lnTo>
                    <a:pt x="220" y="103"/>
                  </a:lnTo>
                  <a:lnTo>
                    <a:pt x="221" y="104"/>
                  </a:lnTo>
                  <a:lnTo>
                    <a:pt x="220" y="104"/>
                  </a:lnTo>
                  <a:lnTo>
                    <a:pt x="220" y="105"/>
                  </a:lnTo>
                  <a:lnTo>
                    <a:pt x="220" y="106"/>
                  </a:lnTo>
                  <a:lnTo>
                    <a:pt x="221" y="106"/>
                  </a:lnTo>
                  <a:lnTo>
                    <a:pt x="221" y="107"/>
                  </a:lnTo>
                  <a:lnTo>
                    <a:pt x="222" y="107"/>
                  </a:lnTo>
                  <a:lnTo>
                    <a:pt x="222" y="109"/>
                  </a:lnTo>
                  <a:lnTo>
                    <a:pt x="223" y="109"/>
                  </a:lnTo>
                  <a:lnTo>
                    <a:pt x="222" y="109"/>
                  </a:lnTo>
                  <a:lnTo>
                    <a:pt x="223" y="109"/>
                  </a:lnTo>
                  <a:lnTo>
                    <a:pt x="222" y="109"/>
                  </a:lnTo>
                  <a:lnTo>
                    <a:pt x="221" y="109"/>
                  </a:lnTo>
                  <a:lnTo>
                    <a:pt x="220" y="109"/>
                  </a:lnTo>
                  <a:lnTo>
                    <a:pt x="220" y="110"/>
                  </a:lnTo>
                  <a:lnTo>
                    <a:pt x="221" y="110"/>
                  </a:lnTo>
                  <a:lnTo>
                    <a:pt x="220" y="110"/>
                  </a:lnTo>
                  <a:lnTo>
                    <a:pt x="221" y="110"/>
                  </a:lnTo>
                  <a:lnTo>
                    <a:pt x="221" y="111"/>
                  </a:lnTo>
                  <a:lnTo>
                    <a:pt x="222" y="111"/>
                  </a:lnTo>
                  <a:lnTo>
                    <a:pt x="222" y="112"/>
                  </a:lnTo>
                  <a:lnTo>
                    <a:pt x="222" y="111"/>
                  </a:lnTo>
                  <a:lnTo>
                    <a:pt x="223" y="111"/>
                  </a:lnTo>
                  <a:lnTo>
                    <a:pt x="223" y="112"/>
                  </a:lnTo>
                  <a:lnTo>
                    <a:pt x="223" y="111"/>
                  </a:lnTo>
                  <a:lnTo>
                    <a:pt x="223" y="112"/>
                  </a:lnTo>
                  <a:lnTo>
                    <a:pt x="224" y="112"/>
                  </a:lnTo>
                  <a:lnTo>
                    <a:pt x="224" y="111"/>
                  </a:lnTo>
                  <a:lnTo>
                    <a:pt x="224" y="112"/>
                  </a:lnTo>
                  <a:lnTo>
                    <a:pt x="224" y="111"/>
                  </a:lnTo>
                  <a:lnTo>
                    <a:pt x="226" y="111"/>
                  </a:lnTo>
                  <a:lnTo>
                    <a:pt x="227" y="111"/>
                  </a:lnTo>
                  <a:lnTo>
                    <a:pt x="228" y="111"/>
                  </a:lnTo>
                  <a:lnTo>
                    <a:pt x="229" y="111"/>
                  </a:lnTo>
                  <a:lnTo>
                    <a:pt x="229" y="110"/>
                  </a:lnTo>
                  <a:lnTo>
                    <a:pt x="228" y="110"/>
                  </a:lnTo>
                  <a:lnTo>
                    <a:pt x="228" y="109"/>
                  </a:lnTo>
                  <a:lnTo>
                    <a:pt x="227" y="109"/>
                  </a:lnTo>
                  <a:lnTo>
                    <a:pt x="227" y="107"/>
                  </a:lnTo>
                  <a:lnTo>
                    <a:pt x="227" y="106"/>
                  </a:lnTo>
                  <a:lnTo>
                    <a:pt x="228" y="106"/>
                  </a:lnTo>
                  <a:lnTo>
                    <a:pt x="228" y="105"/>
                  </a:lnTo>
                  <a:lnTo>
                    <a:pt x="227" y="105"/>
                  </a:lnTo>
                  <a:lnTo>
                    <a:pt x="226" y="105"/>
                  </a:lnTo>
                  <a:lnTo>
                    <a:pt x="226" y="104"/>
                  </a:lnTo>
                  <a:lnTo>
                    <a:pt x="227" y="104"/>
                  </a:lnTo>
                  <a:lnTo>
                    <a:pt x="226" y="104"/>
                  </a:lnTo>
                  <a:lnTo>
                    <a:pt x="227" y="104"/>
                  </a:lnTo>
                  <a:lnTo>
                    <a:pt x="228" y="104"/>
                  </a:lnTo>
                  <a:lnTo>
                    <a:pt x="228" y="105"/>
                  </a:lnTo>
                  <a:lnTo>
                    <a:pt x="229" y="105"/>
                  </a:lnTo>
                  <a:lnTo>
                    <a:pt x="230" y="105"/>
                  </a:lnTo>
                  <a:lnTo>
                    <a:pt x="232" y="105"/>
                  </a:lnTo>
                  <a:lnTo>
                    <a:pt x="233" y="105"/>
                  </a:lnTo>
                  <a:lnTo>
                    <a:pt x="233" y="106"/>
                  </a:lnTo>
                  <a:lnTo>
                    <a:pt x="234" y="107"/>
                  </a:lnTo>
                  <a:lnTo>
                    <a:pt x="234" y="106"/>
                  </a:lnTo>
                  <a:lnTo>
                    <a:pt x="234" y="107"/>
                  </a:lnTo>
                  <a:lnTo>
                    <a:pt x="235" y="107"/>
                  </a:lnTo>
                  <a:lnTo>
                    <a:pt x="236" y="106"/>
                  </a:lnTo>
                  <a:lnTo>
                    <a:pt x="238" y="106"/>
                  </a:lnTo>
                  <a:lnTo>
                    <a:pt x="239" y="106"/>
                  </a:lnTo>
                  <a:lnTo>
                    <a:pt x="239" y="105"/>
                  </a:lnTo>
                  <a:lnTo>
                    <a:pt x="239" y="106"/>
                  </a:lnTo>
                  <a:lnTo>
                    <a:pt x="240" y="106"/>
                  </a:lnTo>
                  <a:lnTo>
                    <a:pt x="240" y="107"/>
                  </a:lnTo>
                  <a:lnTo>
                    <a:pt x="241" y="107"/>
                  </a:lnTo>
                  <a:lnTo>
                    <a:pt x="241" y="106"/>
                  </a:lnTo>
                  <a:lnTo>
                    <a:pt x="241" y="107"/>
                  </a:lnTo>
                  <a:lnTo>
                    <a:pt x="242" y="107"/>
                  </a:lnTo>
                  <a:lnTo>
                    <a:pt x="241" y="107"/>
                  </a:lnTo>
                  <a:lnTo>
                    <a:pt x="241" y="109"/>
                  </a:lnTo>
                  <a:lnTo>
                    <a:pt x="242" y="109"/>
                  </a:lnTo>
                  <a:lnTo>
                    <a:pt x="242" y="107"/>
                  </a:lnTo>
                  <a:lnTo>
                    <a:pt x="242" y="109"/>
                  </a:lnTo>
                  <a:lnTo>
                    <a:pt x="244" y="107"/>
                  </a:lnTo>
                  <a:lnTo>
                    <a:pt x="245" y="109"/>
                  </a:lnTo>
                  <a:lnTo>
                    <a:pt x="245" y="107"/>
                  </a:lnTo>
                  <a:lnTo>
                    <a:pt x="245" y="106"/>
                  </a:lnTo>
                  <a:lnTo>
                    <a:pt x="244" y="106"/>
                  </a:lnTo>
                  <a:lnTo>
                    <a:pt x="242" y="106"/>
                  </a:lnTo>
                  <a:lnTo>
                    <a:pt x="244" y="106"/>
                  </a:lnTo>
                  <a:lnTo>
                    <a:pt x="242" y="106"/>
                  </a:lnTo>
                  <a:lnTo>
                    <a:pt x="242" y="105"/>
                  </a:lnTo>
                  <a:lnTo>
                    <a:pt x="244" y="105"/>
                  </a:lnTo>
                  <a:lnTo>
                    <a:pt x="242" y="105"/>
                  </a:lnTo>
                  <a:lnTo>
                    <a:pt x="241" y="105"/>
                  </a:lnTo>
                  <a:lnTo>
                    <a:pt x="241" y="104"/>
                  </a:lnTo>
                  <a:lnTo>
                    <a:pt x="242" y="104"/>
                  </a:lnTo>
                  <a:lnTo>
                    <a:pt x="244" y="104"/>
                  </a:lnTo>
                  <a:lnTo>
                    <a:pt x="244" y="105"/>
                  </a:lnTo>
                  <a:lnTo>
                    <a:pt x="245" y="105"/>
                  </a:lnTo>
                  <a:lnTo>
                    <a:pt x="246" y="105"/>
                  </a:lnTo>
                  <a:lnTo>
                    <a:pt x="245" y="105"/>
                  </a:lnTo>
                  <a:lnTo>
                    <a:pt x="246" y="105"/>
                  </a:lnTo>
                  <a:lnTo>
                    <a:pt x="246" y="106"/>
                  </a:lnTo>
                  <a:lnTo>
                    <a:pt x="247" y="106"/>
                  </a:lnTo>
                  <a:lnTo>
                    <a:pt x="247" y="105"/>
                  </a:lnTo>
                  <a:lnTo>
                    <a:pt x="248" y="105"/>
                  </a:lnTo>
                  <a:lnTo>
                    <a:pt x="250" y="105"/>
                  </a:lnTo>
                  <a:lnTo>
                    <a:pt x="250" y="104"/>
                  </a:lnTo>
                  <a:lnTo>
                    <a:pt x="250" y="105"/>
                  </a:lnTo>
                  <a:lnTo>
                    <a:pt x="251" y="104"/>
                  </a:lnTo>
                  <a:lnTo>
                    <a:pt x="252" y="104"/>
                  </a:lnTo>
                  <a:lnTo>
                    <a:pt x="252" y="103"/>
                  </a:lnTo>
                  <a:lnTo>
                    <a:pt x="252" y="101"/>
                  </a:lnTo>
                  <a:lnTo>
                    <a:pt x="252" y="100"/>
                  </a:lnTo>
                  <a:lnTo>
                    <a:pt x="253" y="100"/>
                  </a:lnTo>
                  <a:lnTo>
                    <a:pt x="253" y="99"/>
                  </a:lnTo>
                  <a:lnTo>
                    <a:pt x="253" y="98"/>
                  </a:lnTo>
                  <a:lnTo>
                    <a:pt x="254" y="98"/>
                  </a:lnTo>
                  <a:lnTo>
                    <a:pt x="254" y="97"/>
                  </a:lnTo>
                  <a:lnTo>
                    <a:pt x="254" y="95"/>
                  </a:lnTo>
                  <a:lnTo>
                    <a:pt x="253" y="95"/>
                  </a:lnTo>
                  <a:lnTo>
                    <a:pt x="253" y="97"/>
                  </a:lnTo>
                  <a:lnTo>
                    <a:pt x="252" y="97"/>
                  </a:lnTo>
                  <a:lnTo>
                    <a:pt x="251" y="97"/>
                  </a:lnTo>
                  <a:lnTo>
                    <a:pt x="251" y="95"/>
                  </a:lnTo>
                  <a:lnTo>
                    <a:pt x="250" y="95"/>
                  </a:lnTo>
                  <a:lnTo>
                    <a:pt x="248" y="95"/>
                  </a:lnTo>
                  <a:lnTo>
                    <a:pt x="248" y="94"/>
                  </a:lnTo>
                  <a:lnTo>
                    <a:pt x="248" y="95"/>
                  </a:lnTo>
                  <a:lnTo>
                    <a:pt x="247" y="95"/>
                  </a:lnTo>
                  <a:lnTo>
                    <a:pt x="247" y="94"/>
                  </a:lnTo>
                  <a:lnTo>
                    <a:pt x="248" y="94"/>
                  </a:lnTo>
                  <a:lnTo>
                    <a:pt x="248" y="93"/>
                  </a:lnTo>
                  <a:lnTo>
                    <a:pt x="250" y="93"/>
                  </a:lnTo>
                  <a:lnTo>
                    <a:pt x="250" y="92"/>
                  </a:lnTo>
                  <a:lnTo>
                    <a:pt x="248" y="92"/>
                  </a:lnTo>
                  <a:lnTo>
                    <a:pt x="250" y="92"/>
                  </a:lnTo>
                  <a:lnTo>
                    <a:pt x="250" y="91"/>
                  </a:lnTo>
                  <a:lnTo>
                    <a:pt x="251" y="91"/>
                  </a:lnTo>
                  <a:lnTo>
                    <a:pt x="251" y="89"/>
                  </a:lnTo>
                  <a:lnTo>
                    <a:pt x="251" y="88"/>
                  </a:lnTo>
                  <a:lnTo>
                    <a:pt x="252" y="88"/>
                  </a:lnTo>
                  <a:lnTo>
                    <a:pt x="251" y="87"/>
                  </a:lnTo>
                  <a:lnTo>
                    <a:pt x="252" y="87"/>
                  </a:lnTo>
                  <a:lnTo>
                    <a:pt x="252" y="86"/>
                  </a:lnTo>
                  <a:lnTo>
                    <a:pt x="252" y="85"/>
                  </a:lnTo>
                  <a:lnTo>
                    <a:pt x="252" y="83"/>
                  </a:lnTo>
                  <a:lnTo>
                    <a:pt x="252" y="82"/>
                  </a:lnTo>
                  <a:lnTo>
                    <a:pt x="252" y="81"/>
                  </a:lnTo>
                  <a:lnTo>
                    <a:pt x="251" y="81"/>
                  </a:lnTo>
                  <a:lnTo>
                    <a:pt x="251" y="82"/>
                  </a:lnTo>
                  <a:lnTo>
                    <a:pt x="250" y="82"/>
                  </a:lnTo>
                  <a:lnTo>
                    <a:pt x="250" y="83"/>
                  </a:lnTo>
                  <a:lnTo>
                    <a:pt x="248" y="83"/>
                  </a:lnTo>
                  <a:lnTo>
                    <a:pt x="248" y="82"/>
                  </a:lnTo>
                  <a:lnTo>
                    <a:pt x="248" y="81"/>
                  </a:lnTo>
                  <a:lnTo>
                    <a:pt x="247" y="81"/>
                  </a:lnTo>
                  <a:lnTo>
                    <a:pt x="247" y="82"/>
                  </a:lnTo>
                  <a:lnTo>
                    <a:pt x="246" y="82"/>
                  </a:lnTo>
                  <a:lnTo>
                    <a:pt x="246" y="83"/>
                  </a:lnTo>
                  <a:lnTo>
                    <a:pt x="246" y="82"/>
                  </a:lnTo>
                  <a:lnTo>
                    <a:pt x="245" y="82"/>
                  </a:lnTo>
                  <a:lnTo>
                    <a:pt x="244" y="83"/>
                  </a:lnTo>
                  <a:lnTo>
                    <a:pt x="242" y="83"/>
                  </a:lnTo>
                  <a:lnTo>
                    <a:pt x="242" y="85"/>
                  </a:lnTo>
                  <a:lnTo>
                    <a:pt x="241" y="85"/>
                  </a:lnTo>
                  <a:lnTo>
                    <a:pt x="240" y="85"/>
                  </a:lnTo>
                  <a:lnTo>
                    <a:pt x="241" y="85"/>
                  </a:lnTo>
                  <a:lnTo>
                    <a:pt x="241" y="83"/>
                  </a:lnTo>
                  <a:lnTo>
                    <a:pt x="242" y="83"/>
                  </a:lnTo>
                  <a:lnTo>
                    <a:pt x="242" y="82"/>
                  </a:lnTo>
                  <a:lnTo>
                    <a:pt x="242" y="81"/>
                  </a:lnTo>
                  <a:lnTo>
                    <a:pt x="241" y="81"/>
                  </a:lnTo>
                  <a:lnTo>
                    <a:pt x="240" y="81"/>
                  </a:lnTo>
                  <a:lnTo>
                    <a:pt x="241" y="81"/>
                  </a:lnTo>
                  <a:lnTo>
                    <a:pt x="240" y="81"/>
                  </a:lnTo>
                  <a:lnTo>
                    <a:pt x="239" y="81"/>
                  </a:lnTo>
                  <a:lnTo>
                    <a:pt x="239" y="82"/>
                  </a:lnTo>
                  <a:lnTo>
                    <a:pt x="238" y="82"/>
                  </a:lnTo>
                  <a:lnTo>
                    <a:pt x="236" y="82"/>
                  </a:lnTo>
                  <a:lnTo>
                    <a:pt x="235" y="82"/>
                  </a:lnTo>
                  <a:lnTo>
                    <a:pt x="235" y="81"/>
                  </a:lnTo>
                  <a:lnTo>
                    <a:pt x="234" y="81"/>
                  </a:lnTo>
                  <a:lnTo>
                    <a:pt x="235" y="81"/>
                  </a:lnTo>
                  <a:lnTo>
                    <a:pt x="236" y="81"/>
                  </a:lnTo>
                  <a:lnTo>
                    <a:pt x="236" y="80"/>
                  </a:lnTo>
                  <a:lnTo>
                    <a:pt x="238" y="80"/>
                  </a:lnTo>
                  <a:lnTo>
                    <a:pt x="239" y="80"/>
                  </a:lnTo>
                  <a:lnTo>
                    <a:pt x="239" y="79"/>
                  </a:lnTo>
                  <a:lnTo>
                    <a:pt x="240" y="79"/>
                  </a:lnTo>
                  <a:lnTo>
                    <a:pt x="241" y="79"/>
                  </a:lnTo>
                  <a:lnTo>
                    <a:pt x="242" y="79"/>
                  </a:lnTo>
                  <a:lnTo>
                    <a:pt x="242" y="77"/>
                  </a:lnTo>
                  <a:lnTo>
                    <a:pt x="244" y="77"/>
                  </a:lnTo>
                  <a:lnTo>
                    <a:pt x="244" y="76"/>
                  </a:lnTo>
                  <a:lnTo>
                    <a:pt x="245" y="76"/>
                  </a:lnTo>
                  <a:lnTo>
                    <a:pt x="246" y="75"/>
                  </a:lnTo>
                  <a:lnTo>
                    <a:pt x="245" y="75"/>
                  </a:lnTo>
                  <a:lnTo>
                    <a:pt x="246" y="75"/>
                  </a:lnTo>
                  <a:lnTo>
                    <a:pt x="245" y="75"/>
                  </a:lnTo>
                  <a:lnTo>
                    <a:pt x="245" y="74"/>
                  </a:lnTo>
                  <a:lnTo>
                    <a:pt x="246" y="74"/>
                  </a:lnTo>
                  <a:lnTo>
                    <a:pt x="246" y="73"/>
                  </a:lnTo>
                  <a:lnTo>
                    <a:pt x="247" y="73"/>
                  </a:lnTo>
                  <a:lnTo>
                    <a:pt x="246" y="71"/>
                  </a:lnTo>
                  <a:lnTo>
                    <a:pt x="245" y="71"/>
                  </a:lnTo>
                  <a:lnTo>
                    <a:pt x="245" y="73"/>
                  </a:lnTo>
                  <a:lnTo>
                    <a:pt x="245" y="71"/>
                  </a:lnTo>
                  <a:lnTo>
                    <a:pt x="244" y="71"/>
                  </a:lnTo>
                  <a:lnTo>
                    <a:pt x="244" y="73"/>
                  </a:lnTo>
                  <a:lnTo>
                    <a:pt x="242" y="73"/>
                  </a:lnTo>
                  <a:lnTo>
                    <a:pt x="242" y="71"/>
                  </a:lnTo>
                  <a:lnTo>
                    <a:pt x="242" y="70"/>
                  </a:lnTo>
                  <a:lnTo>
                    <a:pt x="241" y="71"/>
                  </a:lnTo>
                  <a:lnTo>
                    <a:pt x="240" y="71"/>
                  </a:lnTo>
                  <a:lnTo>
                    <a:pt x="240" y="73"/>
                  </a:lnTo>
                  <a:lnTo>
                    <a:pt x="240" y="74"/>
                  </a:lnTo>
                  <a:lnTo>
                    <a:pt x="239" y="74"/>
                  </a:lnTo>
                  <a:lnTo>
                    <a:pt x="239" y="73"/>
                  </a:lnTo>
                  <a:lnTo>
                    <a:pt x="238" y="73"/>
                  </a:lnTo>
                  <a:lnTo>
                    <a:pt x="236" y="73"/>
                  </a:lnTo>
                  <a:lnTo>
                    <a:pt x="235" y="73"/>
                  </a:lnTo>
                  <a:lnTo>
                    <a:pt x="234" y="74"/>
                  </a:lnTo>
                  <a:lnTo>
                    <a:pt x="234" y="75"/>
                  </a:lnTo>
                  <a:lnTo>
                    <a:pt x="233" y="75"/>
                  </a:lnTo>
                  <a:lnTo>
                    <a:pt x="234" y="74"/>
                  </a:lnTo>
                  <a:lnTo>
                    <a:pt x="234" y="73"/>
                  </a:lnTo>
                  <a:lnTo>
                    <a:pt x="234" y="71"/>
                  </a:lnTo>
                  <a:lnTo>
                    <a:pt x="233" y="71"/>
                  </a:lnTo>
                  <a:lnTo>
                    <a:pt x="233" y="70"/>
                  </a:lnTo>
                  <a:lnTo>
                    <a:pt x="233" y="69"/>
                  </a:lnTo>
                  <a:lnTo>
                    <a:pt x="234" y="69"/>
                  </a:lnTo>
                  <a:lnTo>
                    <a:pt x="234" y="68"/>
                  </a:lnTo>
                  <a:lnTo>
                    <a:pt x="233" y="68"/>
                  </a:lnTo>
                  <a:lnTo>
                    <a:pt x="233" y="69"/>
                  </a:lnTo>
                  <a:lnTo>
                    <a:pt x="233" y="68"/>
                  </a:lnTo>
                  <a:lnTo>
                    <a:pt x="232" y="68"/>
                  </a:lnTo>
                  <a:lnTo>
                    <a:pt x="230" y="68"/>
                  </a:lnTo>
                  <a:lnTo>
                    <a:pt x="230" y="69"/>
                  </a:lnTo>
                  <a:lnTo>
                    <a:pt x="229" y="69"/>
                  </a:lnTo>
                  <a:lnTo>
                    <a:pt x="229" y="68"/>
                  </a:lnTo>
                  <a:lnTo>
                    <a:pt x="228" y="68"/>
                  </a:lnTo>
                  <a:lnTo>
                    <a:pt x="229" y="67"/>
                  </a:lnTo>
                  <a:lnTo>
                    <a:pt x="229" y="65"/>
                  </a:lnTo>
                  <a:lnTo>
                    <a:pt x="228" y="65"/>
                  </a:lnTo>
                  <a:lnTo>
                    <a:pt x="227" y="65"/>
                  </a:lnTo>
                  <a:lnTo>
                    <a:pt x="226" y="64"/>
                  </a:lnTo>
                  <a:lnTo>
                    <a:pt x="226" y="63"/>
                  </a:lnTo>
                  <a:lnTo>
                    <a:pt x="226" y="62"/>
                  </a:lnTo>
                  <a:lnTo>
                    <a:pt x="227" y="62"/>
                  </a:lnTo>
                  <a:lnTo>
                    <a:pt x="227" y="61"/>
                  </a:lnTo>
                  <a:lnTo>
                    <a:pt x="228" y="61"/>
                  </a:lnTo>
                  <a:lnTo>
                    <a:pt x="227" y="61"/>
                  </a:lnTo>
                  <a:lnTo>
                    <a:pt x="228" y="59"/>
                  </a:lnTo>
                  <a:lnTo>
                    <a:pt x="229" y="59"/>
                  </a:lnTo>
                  <a:lnTo>
                    <a:pt x="230" y="59"/>
                  </a:lnTo>
                  <a:lnTo>
                    <a:pt x="230" y="58"/>
                  </a:lnTo>
                  <a:lnTo>
                    <a:pt x="230" y="57"/>
                  </a:lnTo>
                  <a:lnTo>
                    <a:pt x="229" y="57"/>
                  </a:lnTo>
                  <a:lnTo>
                    <a:pt x="230" y="56"/>
                  </a:lnTo>
                  <a:lnTo>
                    <a:pt x="232" y="56"/>
                  </a:lnTo>
                  <a:lnTo>
                    <a:pt x="232" y="55"/>
                  </a:lnTo>
                  <a:lnTo>
                    <a:pt x="233" y="55"/>
                  </a:lnTo>
                  <a:lnTo>
                    <a:pt x="233" y="53"/>
                  </a:lnTo>
                  <a:lnTo>
                    <a:pt x="233" y="52"/>
                  </a:lnTo>
                  <a:lnTo>
                    <a:pt x="233" y="51"/>
                  </a:lnTo>
                  <a:lnTo>
                    <a:pt x="233" y="50"/>
                  </a:lnTo>
                  <a:lnTo>
                    <a:pt x="233" y="49"/>
                  </a:lnTo>
                  <a:lnTo>
                    <a:pt x="232" y="49"/>
                  </a:lnTo>
                  <a:lnTo>
                    <a:pt x="232" y="50"/>
                  </a:lnTo>
                  <a:lnTo>
                    <a:pt x="230" y="50"/>
                  </a:lnTo>
                  <a:lnTo>
                    <a:pt x="229" y="50"/>
                  </a:lnTo>
                  <a:lnTo>
                    <a:pt x="228" y="50"/>
                  </a:lnTo>
                  <a:lnTo>
                    <a:pt x="228" y="51"/>
                  </a:lnTo>
                  <a:lnTo>
                    <a:pt x="227" y="51"/>
                  </a:lnTo>
                  <a:lnTo>
                    <a:pt x="227" y="52"/>
                  </a:lnTo>
                  <a:lnTo>
                    <a:pt x="226" y="52"/>
                  </a:lnTo>
                  <a:lnTo>
                    <a:pt x="224" y="52"/>
                  </a:lnTo>
                  <a:lnTo>
                    <a:pt x="223" y="52"/>
                  </a:lnTo>
                  <a:lnTo>
                    <a:pt x="222" y="52"/>
                  </a:lnTo>
                  <a:lnTo>
                    <a:pt x="222" y="51"/>
                  </a:lnTo>
                  <a:lnTo>
                    <a:pt x="223" y="51"/>
                  </a:lnTo>
                  <a:lnTo>
                    <a:pt x="223" y="50"/>
                  </a:lnTo>
                  <a:lnTo>
                    <a:pt x="224" y="50"/>
                  </a:lnTo>
                  <a:lnTo>
                    <a:pt x="223" y="50"/>
                  </a:lnTo>
                  <a:lnTo>
                    <a:pt x="223" y="49"/>
                  </a:lnTo>
                  <a:lnTo>
                    <a:pt x="223" y="47"/>
                  </a:lnTo>
                  <a:lnTo>
                    <a:pt x="223" y="46"/>
                  </a:lnTo>
                  <a:lnTo>
                    <a:pt x="223" y="45"/>
                  </a:lnTo>
                  <a:lnTo>
                    <a:pt x="222" y="45"/>
                  </a:lnTo>
                  <a:lnTo>
                    <a:pt x="221" y="45"/>
                  </a:lnTo>
                  <a:lnTo>
                    <a:pt x="221" y="46"/>
                  </a:lnTo>
                  <a:lnTo>
                    <a:pt x="220" y="46"/>
                  </a:lnTo>
                  <a:lnTo>
                    <a:pt x="220" y="45"/>
                  </a:lnTo>
                  <a:lnTo>
                    <a:pt x="220" y="44"/>
                  </a:lnTo>
                  <a:lnTo>
                    <a:pt x="218" y="44"/>
                  </a:lnTo>
                  <a:lnTo>
                    <a:pt x="218" y="45"/>
                  </a:lnTo>
                  <a:lnTo>
                    <a:pt x="218" y="46"/>
                  </a:lnTo>
                  <a:lnTo>
                    <a:pt x="217" y="46"/>
                  </a:lnTo>
                  <a:lnTo>
                    <a:pt x="217" y="47"/>
                  </a:lnTo>
                  <a:lnTo>
                    <a:pt x="217" y="49"/>
                  </a:lnTo>
                  <a:lnTo>
                    <a:pt x="218" y="49"/>
                  </a:lnTo>
                  <a:lnTo>
                    <a:pt x="218" y="50"/>
                  </a:lnTo>
                  <a:lnTo>
                    <a:pt x="218" y="51"/>
                  </a:lnTo>
                  <a:lnTo>
                    <a:pt x="217" y="51"/>
                  </a:lnTo>
                  <a:lnTo>
                    <a:pt x="216" y="51"/>
                  </a:lnTo>
                  <a:lnTo>
                    <a:pt x="215" y="51"/>
                  </a:lnTo>
                  <a:lnTo>
                    <a:pt x="215" y="52"/>
                  </a:lnTo>
                  <a:lnTo>
                    <a:pt x="215" y="51"/>
                  </a:lnTo>
                  <a:lnTo>
                    <a:pt x="215" y="50"/>
                  </a:lnTo>
                  <a:lnTo>
                    <a:pt x="216" y="50"/>
                  </a:lnTo>
                  <a:lnTo>
                    <a:pt x="216" y="49"/>
                  </a:lnTo>
                  <a:lnTo>
                    <a:pt x="216" y="47"/>
                  </a:lnTo>
                  <a:lnTo>
                    <a:pt x="215" y="46"/>
                  </a:lnTo>
                  <a:lnTo>
                    <a:pt x="215" y="47"/>
                  </a:lnTo>
                  <a:lnTo>
                    <a:pt x="214" y="49"/>
                  </a:lnTo>
                  <a:lnTo>
                    <a:pt x="214" y="47"/>
                  </a:lnTo>
                  <a:lnTo>
                    <a:pt x="212" y="47"/>
                  </a:lnTo>
                  <a:lnTo>
                    <a:pt x="212" y="49"/>
                  </a:lnTo>
                  <a:lnTo>
                    <a:pt x="211" y="50"/>
                  </a:lnTo>
                  <a:lnTo>
                    <a:pt x="210" y="50"/>
                  </a:lnTo>
                  <a:lnTo>
                    <a:pt x="210" y="51"/>
                  </a:lnTo>
                  <a:lnTo>
                    <a:pt x="210" y="52"/>
                  </a:lnTo>
                  <a:lnTo>
                    <a:pt x="210" y="53"/>
                  </a:lnTo>
                  <a:lnTo>
                    <a:pt x="210" y="55"/>
                  </a:lnTo>
                  <a:lnTo>
                    <a:pt x="209" y="56"/>
                  </a:lnTo>
                  <a:lnTo>
                    <a:pt x="208" y="56"/>
                  </a:lnTo>
                  <a:lnTo>
                    <a:pt x="208" y="55"/>
                  </a:lnTo>
                  <a:lnTo>
                    <a:pt x="209" y="55"/>
                  </a:lnTo>
                  <a:lnTo>
                    <a:pt x="208" y="53"/>
                  </a:lnTo>
                  <a:lnTo>
                    <a:pt x="208" y="52"/>
                  </a:lnTo>
                  <a:lnTo>
                    <a:pt x="208" y="51"/>
                  </a:lnTo>
                  <a:lnTo>
                    <a:pt x="209" y="51"/>
                  </a:lnTo>
                  <a:lnTo>
                    <a:pt x="209" y="50"/>
                  </a:lnTo>
                  <a:lnTo>
                    <a:pt x="208" y="50"/>
                  </a:lnTo>
                  <a:lnTo>
                    <a:pt x="206" y="51"/>
                  </a:lnTo>
                  <a:lnTo>
                    <a:pt x="206" y="50"/>
                  </a:lnTo>
                  <a:lnTo>
                    <a:pt x="206" y="49"/>
                  </a:lnTo>
                  <a:lnTo>
                    <a:pt x="205" y="49"/>
                  </a:lnTo>
                  <a:lnTo>
                    <a:pt x="205" y="47"/>
                  </a:lnTo>
                  <a:lnTo>
                    <a:pt x="205" y="49"/>
                  </a:lnTo>
                  <a:lnTo>
                    <a:pt x="204" y="49"/>
                  </a:lnTo>
                  <a:lnTo>
                    <a:pt x="203" y="49"/>
                  </a:lnTo>
                  <a:lnTo>
                    <a:pt x="203" y="47"/>
                  </a:lnTo>
                  <a:lnTo>
                    <a:pt x="201" y="47"/>
                  </a:lnTo>
                  <a:lnTo>
                    <a:pt x="201" y="49"/>
                  </a:lnTo>
                  <a:lnTo>
                    <a:pt x="201" y="50"/>
                  </a:lnTo>
                  <a:lnTo>
                    <a:pt x="200" y="49"/>
                  </a:lnTo>
                  <a:lnTo>
                    <a:pt x="200" y="50"/>
                  </a:lnTo>
                  <a:lnTo>
                    <a:pt x="199" y="50"/>
                  </a:lnTo>
                  <a:lnTo>
                    <a:pt x="199" y="51"/>
                  </a:lnTo>
                  <a:lnTo>
                    <a:pt x="198" y="51"/>
                  </a:lnTo>
                  <a:lnTo>
                    <a:pt x="198" y="52"/>
                  </a:lnTo>
                  <a:lnTo>
                    <a:pt x="198" y="53"/>
                  </a:lnTo>
                  <a:lnTo>
                    <a:pt x="199" y="53"/>
                  </a:lnTo>
                  <a:lnTo>
                    <a:pt x="199" y="55"/>
                  </a:lnTo>
                  <a:lnTo>
                    <a:pt x="199" y="53"/>
                  </a:lnTo>
                  <a:lnTo>
                    <a:pt x="199" y="55"/>
                  </a:lnTo>
                  <a:lnTo>
                    <a:pt x="199" y="56"/>
                  </a:lnTo>
                  <a:lnTo>
                    <a:pt x="199" y="57"/>
                  </a:lnTo>
                  <a:lnTo>
                    <a:pt x="199" y="58"/>
                  </a:lnTo>
                  <a:lnTo>
                    <a:pt x="198" y="58"/>
                  </a:lnTo>
                  <a:lnTo>
                    <a:pt x="198" y="57"/>
                  </a:lnTo>
                  <a:lnTo>
                    <a:pt x="198" y="56"/>
                  </a:lnTo>
                  <a:lnTo>
                    <a:pt x="197" y="56"/>
                  </a:lnTo>
                  <a:lnTo>
                    <a:pt x="195" y="55"/>
                  </a:lnTo>
                  <a:lnTo>
                    <a:pt x="195" y="56"/>
                  </a:lnTo>
                  <a:lnTo>
                    <a:pt x="195" y="55"/>
                  </a:lnTo>
                  <a:lnTo>
                    <a:pt x="194" y="53"/>
                  </a:lnTo>
                  <a:lnTo>
                    <a:pt x="193" y="53"/>
                  </a:lnTo>
                  <a:lnTo>
                    <a:pt x="193" y="55"/>
                  </a:lnTo>
                  <a:lnTo>
                    <a:pt x="193" y="56"/>
                  </a:lnTo>
                  <a:lnTo>
                    <a:pt x="192" y="56"/>
                  </a:lnTo>
                  <a:lnTo>
                    <a:pt x="192" y="55"/>
                  </a:lnTo>
                  <a:lnTo>
                    <a:pt x="191" y="55"/>
                  </a:lnTo>
                  <a:lnTo>
                    <a:pt x="191" y="56"/>
                  </a:lnTo>
                  <a:lnTo>
                    <a:pt x="191" y="57"/>
                  </a:lnTo>
                  <a:lnTo>
                    <a:pt x="192" y="57"/>
                  </a:lnTo>
                  <a:lnTo>
                    <a:pt x="191" y="57"/>
                  </a:lnTo>
                  <a:lnTo>
                    <a:pt x="192" y="58"/>
                  </a:lnTo>
                  <a:lnTo>
                    <a:pt x="191" y="58"/>
                  </a:lnTo>
                  <a:lnTo>
                    <a:pt x="191" y="59"/>
                  </a:lnTo>
                  <a:lnTo>
                    <a:pt x="191" y="58"/>
                  </a:lnTo>
                  <a:lnTo>
                    <a:pt x="189" y="58"/>
                  </a:lnTo>
                  <a:lnTo>
                    <a:pt x="189" y="59"/>
                  </a:lnTo>
                  <a:lnTo>
                    <a:pt x="189" y="61"/>
                  </a:lnTo>
                  <a:lnTo>
                    <a:pt x="188" y="61"/>
                  </a:lnTo>
                  <a:lnTo>
                    <a:pt x="188" y="59"/>
                  </a:lnTo>
                  <a:lnTo>
                    <a:pt x="188" y="58"/>
                  </a:lnTo>
                  <a:lnTo>
                    <a:pt x="187" y="58"/>
                  </a:lnTo>
                  <a:lnTo>
                    <a:pt x="187" y="59"/>
                  </a:lnTo>
                  <a:lnTo>
                    <a:pt x="186" y="59"/>
                  </a:lnTo>
                  <a:lnTo>
                    <a:pt x="186" y="58"/>
                  </a:lnTo>
                  <a:lnTo>
                    <a:pt x="186" y="59"/>
                  </a:lnTo>
                  <a:lnTo>
                    <a:pt x="185" y="59"/>
                  </a:lnTo>
                  <a:lnTo>
                    <a:pt x="185" y="61"/>
                  </a:lnTo>
                  <a:lnTo>
                    <a:pt x="186" y="61"/>
                  </a:lnTo>
                  <a:lnTo>
                    <a:pt x="186" y="62"/>
                  </a:lnTo>
                  <a:lnTo>
                    <a:pt x="187" y="62"/>
                  </a:lnTo>
                  <a:lnTo>
                    <a:pt x="187" y="61"/>
                  </a:lnTo>
                  <a:lnTo>
                    <a:pt x="188" y="61"/>
                  </a:lnTo>
                  <a:lnTo>
                    <a:pt x="188" y="62"/>
                  </a:lnTo>
                  <a:lnTo>
                    <a:pt x="187" y="62"/>
                  </a:lnTo>
                  <a:lnTo>
                    <a:pt x="186" y="62"/>
                  </a:lnTo>
                  <a:lnTo>
                    <a:pt x="185" y="62"/>
                  </a:lnTo>
                  <a:lnTo>
                    <a:pt x="185" y="61"/>
                  </a:lnTo>
                  <a:lnTo>
                    <a:pt x="183" y="61"/>
                  </a:lnTo>
                  <a:lnTo>
                    <a:pt x="185" y="59"/>
                  </a:lnTo>
                  <a:lnTo>
                    <a:pt x="185" y="58"/>
                  </a:lnTo>
                  <a:lnTo>
                    <a:pt x="186" y="58"/>
                  </a:lnTo>
                  <a:lnTo>
                    <a:pt x="185" y="57"/>
                  </a:lnTo>
                  <a:lnTo>
                    <a:pt x="186" y="57"/>
                  </a:lnTo>
                  <a:lnTo>
                    <a:pt x="186" y="56"/>
                  </a:lnTo>
                  <a:lnTo>
                    <a:pt x="185" y="56"/>
                  </a:lnTo>
                  <a:lnTo>
                    <a:pt x="185" y="57"/>
                  </a:lnTo>
                  <a:lnTo>
                    <a:pt x="183" y="57"/>
                  </a:lnTo>
                  <a:lnTo>
                    <a:pt x="183" y="56"/>
                  </a:lnTo>
                  <a:lnTo>
                    <a:pt x="182" y="56"/>
                  </a:lnTo>
                  <a:lnTo>
                    <a:pt x="182" y="57"/>
                  </a:lnTo>
                  <a:lnTo>
                    <a:pt x="182" y="56"/>
                  </a:lnTo>
                  <a:lnTo>
                    <a:pt x="181" y="56"/>
                  </a:lnTo>
                  <a:lnTo>
                    <a:pt x="182" y="56"/>
                  </a:lnTo>
                  <a:lnTo>
                    <a:pt x="181" y="56"/>
                  </a:lnTo>
                  <a:lnTo>
                    <a:pt x="181" y="57"/>
                  </a:lnTo>
                  <a:lnTo>
                    <a:pt x="182" y="57"/>
                  </a:lnTo>
                  <a:lnTo>
                    <a:pt x="182" y="58"/>
                  </a:lnTo>
                  <a:lnTo>
                    <a:pt x="182" y="59"/>
                  </a:lnTo>
                  <a:lnTo>
                    <a:pt x="183" y="59"/>
                  </a:lnTo>
                  <a:lnTo>
                    <a:pt x="183" y="61"/>
                  </a:lnTo>
                  <a:lnTo>
                    <a:pt x="183" y="62"/>
                  </a:lnTo>
                  <a:lnTo>
                    <a:pt x="182" y="63"/>
                  </a:lnTo>
                  <a:lnTo>
                    <a:pt x="182" y="62"/>
                  </a:lnTo>
                  <a:lnTo>
                    <a:pt x="181" y="62"/>
                  </a:lnTo>
                  <a:lnTo>
                    <a:pt x="180" y="62"/>
                  </a:lnTo>
                  <a:lnTo>
                    <a:pt x="179" y="62"/>
                  </a:lnTo>
                  <a:lnTo>
                    <a:pt x="177" y="62"/>
                  </a:lnTo>
                  <a:lnTo>
                    <a:pt x="176" y="63"/>
                  </a:lnTo>
                  <a:lnTo>
                    <a:pt x="176" y="62"/>
                  </a:lnTo>
                  <a:lnTo>
                    <a:pt x="176" y="63"/>
                  </a:lnTo>
                  <a:lnTo>
                    <a:pt x="175" y="63"/>
                  </a:lnTo>
                  <a:lnTo>
                    <a:pt x="175" y="62"/>
                  </a:lnTo>
                  <a:lnTo>
                    <a:pt x="175" y="63"/>
                  </a:lnTo>
                  <a:lnTo>
                    <a:pt x="174" y="63"/>
                  </a:lnTo>
                  <a:lnTo>
                    <a:pt x="174" y="62"/>
                  </a:lnTo>
                  <a:lnTo>
                    <a:pt x="175" y="62"/>
                  </a:lnTo>
                  <a:lnTo>
                    <a:pt x="174" y="62"/>
                  </a:lnTo>
                  <a:lnTo>
                    <a:pt x="174" y="63"/>
                  </a:lnTo>
                  <a:lnTo>
                    <a:pt x="174" y="64"/>
                  </a:lnTo>
                  <a:lnTo>
                    <a:pt x="175" y="64"/>
                  </a:lnTo>
                  <a:lnTo>
                    <a:pt x="175" y="65"/>
                  </a:lnTo>
                  <a:lnTo>
                    <a:pt x="175" y="64"/>
                  </a:lnTo>
                  <a:lnTo>
                    <a:pt x="175" y="65"/>
                  </a:lnTo>
                  <a:lnTo>
                    <a:pt x="175" y="67"/>
                  </a:lnTo>
                  <a:lnTo>
                    <a:pt x="176" y="67"/>
                  </a:lnTo>
                  <a:lnTo>
                    <a:pt x="176" y="68"/>
                  </a:lnTo>
                  <a:lnTo>
                    <a:pt x="175" y="68"/>
                  </a:lnTo>
                  <a:lnTo>
                    <a:pt x="175" y="67"/>
                  </a:lnTo>
                  <a:lnTo>
                    <a:pt x="175" y="65"/>
                  </a:lnTo>
                  <a:lnTo>
                    <a:pt x="174" y="65"/>
                  </a:lnTo>
                  <a:lnTo>
                    <a:pt x="174" y="67"/>
                  </a:lnTo>
                  <a:lnTo>
                    <a:pt x="174" y="65"/>
                  </a:lnTo>
                  <a:lnTo>
                    <a:pt x="174" y="67"/>
                  </a:lnTo>
                  <a:lnTo>
                    <a:pt x="174" y="68"/>
                  </a:lnTo>
                  <a:lnTo>
                    <a:pt x="173" y="68"/>
                  </a:lnTo>
                  <a:lnTo>
                    <a:pt x="173" y="67"/>
                  </a:lnTo>
                  <a:lnTo>
                    <a:pt x="171" y="67"/>
                  </a:lnTo>
                  <a:lnTo>
                    <a:pt x="170" y="67"/>
                  </a:lnTo>
                  <a:lnTo>
                    <a:pt x="170" y="68"/>
                  </a:lnTo>
                  <a:lnTo>
                    <a:pt x="169" y="68"/>
                  </a:lnTo>
                  <a:lnTo>
                    <a:pt x="168" y="68"/>
                  </a:lnTo>
                  <a:lnTo>
                    <a:pt x="167" y="68"/>
                  </a:lnTo>
                  <a:lnTo>
                    <a:pt x="167" y="69"/>
                  </a:lnTo>
                  <a:lnTo>
                    <a:pt x="165" y="69"/>
                  </a:lnTo>
                  <a:lnTo>
                    <a:pt x="164" y="69"/>
                  </a:lnTo>
                  <a:lnTo>
                    <a:pt x="163" y="69"/>
                  </a:lnTo>
                  <a:lnTo>
                    <a:pt x="163" y="70"/>
                  </a:lnTo>
                  <a:lnTo>
                    <a:pt x="162" y="70"/>
                  </a:lnTo>
                  <a:lnTo>
                    <a:pt x="161" y="70"/>
                  </a:lnTo>
                  <a:lnTo>
                    <a:pt x="162" y="70"/>
                  </a:lnTo>
                  <a:lnTo>
                    <a:pt x="163" y="70"/>
                  </a:lnTo>
                  <a:lnTo>
                    <a:pt x="163" y="71"/>
                  </a:lnTo>
                  <a:lnTo>
                    <a:pt x="162" y="71"/>
                  </a:lnTo>
                  <a:lnTo>
                    <a:pt x="163" y="71"/>
                  </a:lnTo>
                  <a:lnTo>
                    <a:pt x="162" y="71"/>
                  </a:lnTo>
                  <a:lnTo>
                    <a:pt x="161" y="73"/>
                  </a:lnTo>
                  <a:lnTo>
                    <a:pt x="161" y="71"/>
                  </a:lnTo>
                  <a:lnTo>
                    <a:pt x="161" y="70"/>
                  </a:lnTo>
                  <a:lnTo>
                    <a:pt x="161" y="71"/>
                  </a:lnTo>
                  <a:lnTo>
                    <a:pt x="161" y="73"/>
                  </a:lnTo>
                  <a:lnTo>
                    <a:pt x="159" y="73"/>
                  </a:lnTo>
                  <a:lnTo>
                    <a:pt x="159" y="71"/>
                  </a:lnTo>
                  <a:lnTo>
                    <a:pt x="158" y="71"/>
                  </a:lnTo>
                  <a:lnTo>
                    <a:pt x="158" y="73"/>
                  </a:lnTo>
                  <a:lnTo>
                    <a:pt x="157" y="73"/>
                  </a:lnTo>
                  <a:lnTo>
                    <a:pt x="156" y="73"/>
                  </a:lnTo>
                  <a:lnTo>
                    <a:pt x="156" y="74"/>
                  </a:lnTo>
                  <a:lnTo>
                    <a:pt x="156" y="73"/>
                  </a:lnTo>
                  <a:lnTo>
                    <a:pt x="155" y="73"/>
                  </a:lnTo>
                  <a:lnTo>
                    <a:pt x="155" y="74"/>
                  </a:lnTo>
                  <a:lnTo>
                    <a:pt x="155" y="75"/>
                  </a:lnTo>
                  <a:lnTo>
                    <a:pt x="155" y="76"/>
                  </a:lnTo>
                  <a:lnTo>
                    <a:pt x="155" y="77"/>
                  </a:lnTo>
                  <a:lnTo>
                    <a:pt x="156" y="77"/>
                  </a:lnTo>
                  <a:lnTo>
                    <a:pt x="157" y="77"/>
                  </a:lnTo>
                  <a:lnTo>
                    <a:pt x="157" y="79"/>
                  </a:lnTo>
                  <a:lnTo>
                    <a:pt x="158" y="79"/>
                  </a:lnTo>
                  <a:lnTo>
                    <a:pt x="158" y="77"/>
                  </a:lnTo>
                  <a:lnTo>
                    <a:pt x="158" y="76"/>
                  </a:lnTo>
                  <a:lnTo>
                    <a:pt x="158" y="77"/>
                  </a:lnTo>
                  <a:lnTo>
                    <a:pt x="158" y="79"/>
                  </a:lnTo>
                  <a:lnTo>
                    <a:pt x="158" y="77"/>
                  </a:lnTo>
                  <a:lnTo>
                    <a:pt x="159" y="76"/>
                  </a:lnTo>
                  <a:lnTo>
                    <a:pt x="161" y="76"/>
                  </a:lnTo>
                  <a:lnTo>
                    <a:pt x="161" y="77"/>
                  </a:lnTo>
                  <a:lnTo>
                    <a:pt x="159" y="77"/>
                  </a:lnTo>
                  <a:lnTo>
                    <a:pt x="159" y="79"/>
                  </a:lnTo>
                  <a:lnTo>
                    <a:pt x="158" y="79"/>
                  </a:lnTo>
                  <a:lnTo>
                    <a:pt x="157" y="79"/>
                  </a:lnTo>
                  <a:lnTo>
                    <a:pt x="157" y="80"/>
                  </a:lnTo>
                  <a:lnTo>
                    <a:pt x="157" y="81"/>
                  </a:lnTo>
                  <a:lnTo>
                    <a:pt x="157" y="82"/>
                  </a:lnTo>
                  <a:lnTo>
                    <a:pt x="157" y="81"/>
                  </a:lnTo>
                  <a:lnTo>
                    <a:pt x="156" y="81"/>
                  </a:lnTo>
                  <a:lnTo>
                    <a:pt x="156" y="80"/>
                  </a:lnTo>
                  <a:lnTo>
                    <a:pt x="157" y="80"/>
                  </a:lnTo>
                  <a:lnTo>
                    <a:pt x="157" y="79"/>
                  </a:lnTo>
                  <a:lnTo>
                    <a:pt x="156" y="79"/>
                  </a:lnTo>
                  <a:lnTo>
                    <a:pt x="156" y="80"/>
                  </a:lnTo>
                  <a:lnTo>
                    <a:pt x="156" y="79"/>
                  </a:lnTo>
                  <a:lnTo>
                    <a:pt x="155" y="79"/>
                  </a:lnTo>
                  <a:lnTo>
                    <a:pt x="153" y="79"/>
                  </a:lnTo>
                  <a:lnTo>
                    <a:pt x="153" y="80"/>
                  </a:lnTo>
                  <a:lnTo>
                    <a:pt x="152" y="80"/>
                  </a:lnTo>
                  <a:lnTo>
                    <a:pt x="152" y="81"/>
                  </a:lnTo>
                  <a:lnTo>
                    <a:pt x="152" y="82"/>
                  </a:lnTo>
                  <a:lnTo>
                    <a:pt x="151" y="82"/>
                  </a:lnTo>
                  <a:lnTo>
                    <a:pt x="151" y="83"/>
                  </a:lnTo>
                  <a:lnTo>
                    <a:pt x="152" y="83"/>
                  </a:lnTo>
                  <a:lnTo>
                    <a:pt x="151" y="83"/>
                  </a:lnTo>
                  <a:lnTo>
                    <a:pt x="151" y="85"/>
                  </a:lnTo>
                  <a:lnTo>
                    <a:pt x="150" y="85"/>
                  </a:lnTo>
                  <a:lnTo>
                    <a:pt x="150" y="83"/>
                  </a:lnTo>
                  <a:lnTo>
                    <a:pt x="150" y="85"/>
                  </a:lnTo>
                  <a:lnTo>
                    <a:pt x="149" y="85"/>
                  </a:lnTo>
                  <a:lnTo>
                    <a:pt x="150" y="85"/>
                  </a:lnTo>
                  <a:lnTo>
                    <a:pt x="150" y="83"/>
                  </a:lnTo>
                  <a:lnTo>
                    <a:pt x="151" y="83"/>
                  </a:lnTo>
                  <a:lnTo>
                    <a:pt x="150" y="83"/>
                  </a:lnTo>
                  <a:lnTo>
                    <a:pt x="150" y="82"/>
                  </a:lnTo>
                  <a:lnTo>
                    <a:pt x="150" y="81"/>
                  </a:lnTo>
                  <a:lnTo>
                    <a:pt x="151" y="81"/>
                  </a:lnTo>
                  <a:lnTo>
                    <a:pt x="151" y="80"/>
                  </a:lnTo>
                  <a:lnTo>
                    <a:pt x="151" y="79"/>
                  </a:lnTo>
                  <a:lnTo>
                    <a:pt x="152" y="79"/>
                  </a:lnTo>
                  <a:lnTo>
                    <a:pt x="152" y="77"/>
                  </a:lnTo>
                  <a:lnTo>
                    <a:pt x="152" y="76"/>
                  </a:lnTo>
                  <a:lnTo>
                    <a:pt x="152" y="75"/>
                  </a:lnTo>
                  <a:lnTo>
                    <a:pt x="152" y="74"/>
                  </a:lnTo>
                  <a:lnTo>
                    <a:pt x="153" y="74"/>
                  </a:lnTo>
                  <a:lnTo>
                    <a:pt x="152" y="74"/>
                  </a:lnTo>
                  <a:lnTo>
                    <a:pt x="152" y="73"/>
                  </a:lnTo>
                  <a:lnTo>
                    <a:pt x="153" y="73"/>
                  </a:lnTo>
                  <a:lnTo>
                    <a:pt x="153" y="71"/>
                  </a:lnTo>
                  <a:lnTo>
                    <a:pt x="153" y="70"/>
                  </a:lnTo>
                  <a:lnTo>
                    <a:pt x="155" y="70"/>
                  </a:lnTo>
                  <a:lnTo>
                    <a:pt x="156" y="70"/>
                  </a:lnTo>
                  <a:lnTo>
                    <a:pt x="155" y="70"/>
                  </a:lnTo>
                  <a:lnTo>
                    <a:pt x="156" y="70"/>
                  </a:lnTo>
                  <a:lnTo>
                    <a:pt x="156" y="69"/>
                  </a:lnTo>
                  <a:lnTo>
                    <a:pt x="155" y="69"/>
                  </a:lnTo>
                  <a:lnTo>
                    <a:pt x="156" y="69"/>
                  </a:lnTo>
                  <a:lnTo>
                    <a:pt x="156" y="68"/>
                  </a:lnTo>
                  <a:lnTo>
                    <a:pt x="156" y="69"/>
                  </a:lnTo>
                  <a:lnTo>
                    <a:pt x="155" y="68"/>
                  </a:lnTo>
                  <a:lnTo>
                    <a:pt x="155" y="69"/>
                  </a:lnTo>
                  <a:lnTo>
                    <a:pt x="155" y="68"/>
                  </a:lnTo>
                  <a:lnTo>
                    <a:pt x="156" y="68"/>
                  </a:lnTo>
                  <a:lnTo>
                    <a:pt x="157" y="68"/>
                  </a:lnTo>
                  <a:lnTo>
                    <a:pt x="158" y="68"/>
                  </a:lnTo>
                  <a:lnTo>
                    <a:pt x="159" y="68"/>
                  </a:lnTo>
                  <a:lnTo>
                    <a:pt x="161" y="68"/>
                  </a:lnTo>
                  <a:lnTo>
                    <a:pt x="161" y="67"/>
                  </a:lnTo>
                  <a:lnTo>
                    <a:pt x="161" y="65"/>
                  </a:lnTo>
                  <a:lnTo>
                    <a:pt x="159" y="65"/>
                  </a:lnTo>
                  <a:lnTo>
                    <a:pt x="158" y="65"/>
                  </a:lnTo>
                  <a:lnTo>
                    <a:pt x="157" y="65"/>
                  </a:lnTo>
                  <a:lnTo>
                    <a:pt x="157" y="64"/>
                  </a:lnTo>
                  <a:lnTo>
                    <a:pt x="158" y="64"/>
                  </a:lnTo>
                  <a:lnTo>
                    <a:pt x="158" y="63"/>
                  </a:lnTo>
                  <a:lnTo>
                    <a:pt x="158" y="64"/>
                  </a:lnTo>
                  <a:lnTo>
                    <a:pt x="158" y="65"/>
                  </a:lnTo>
                  <a:lnTo>
                    <a:pt x="159" y="65"/>
                  </a:lnTo>
                  <a:lnTo>
                    <a:pt x="161" y="65"/>
                  </a:lnTo>
                  <a:lnTo>
                    <a:pt x="162" y="65"/>
                  </a:lnTo>
                  <a:lnTo>
                    <a:pt x="162" y="64"/>
                  </a:lnTo>
                  <a:lnTo>
                    <a:pt x="162" y="65"/>
                  </a:lnTo>
                  <a:lnTo>
                    <a:pt x="162" y="64"/>
                  </a:lnTo>
                  <a:lnTo>
                    <a:pt x="163" y="64"/>
                  </a:lnTo>
                  <a:lnTo>
                    <a:pt x="163" y="65"/>
                  </a:lnTo>
                  <a:lnTo>
                    <a:pt x="164" y="65"/>
                  </a:lnTo>
                  <a:lnTo>
                    <a:pt x="164" y="64"/>
                  </a:lnTo>
                  <a:lnTo>
                    <a:pt x="165" y="64"/>
                  </a:lnTo>
                  <a:lnTo>
                    <a:pt x="167" y="64"/>
                  </a:lnTo>
                  <a:lnTo>
                    <a:pt x="168" y="63"/>
                  </a:lnTo>
                  <a:lnTo>
                    <a:pt x="167" y="63"/>
                  </a:lnTo>
                  <a:lnTo>
                    <a:pt x="167" y="62"/>
                  </a:lnTo>
                  <a:lnTo>
                    <a:pt x="165" y="62"/>
                  </a:lnTo>
                  <a:lnTo>
                    <a:pt x="165" y="63"/>
                  </a:lnTo>
                  <a:lnTo>
                    <a:pt x="164" y="63"/>
                  </a:lnTo>
                  <a:lnTo>
                    <a:pt x="164" y="62"/>
                  </a:lnTo>
                  <a:lnTo>
                    <a:pt x="165" y="62"/>
                  </a:lnTo>
                  <a:lnTo>
                    <a:pt x="167" y="62"/>
                  </a:lnTo>
                  <a:lnTo>
                    <a:pt x="168" y="62"/>
                  </a:lnTo>
                  <a:lnTo>
                    <a:pt x="168" y="63"/>
                  </a:lnTo>
                  <a:lnTo>
                    <a:pt x="168" y="62"/>
                  </a:lnTo>
                  <a:lnTo>
                    <a:pt x="167" y="62"/>
                  </a:lnTo>
                  <a:lnTo>
                    <a:pt x="168" y="62"/>
                  </a:lnTo>
                  <a:lnTo>
                    <a:pt x="168" y="61"/>
                  </a:lnTo>
                  <a:lnTo>
                    <a:pt x="168" y="59"/>
                  </a:lnTo>
                  <a:lnTo>
                    <a:pt x="168" y="58"/>
                  </a:lnTo>
                  <a:lnTo>
                    <a:pt x="169" y="58"/>
                  </a:lnTo>
                  <a:lnTo>
                    <a:pt x="170" y="58"/>
                  </a:lnTo>
                  <a:lnTo>
                    <a:pt x="170" y="59"/>
                  </a:lnTo>
                  <a:lnTo>
                    <a:pt x="169" y="59"/>
                  </a:lnTo>
                  <a:lnTo>
                    <a:pt x="169" y="58"/>
                  </a:lnTo>
                  <a:lnTo>
                    <a:pt x="169" y="59"/>
                  </a:lnTo>
                  <a:lnTo>
                    <a:pt x="170" y="59"/>
                  </a:lnTo>
                  <a:lnTo>
                    <a:pt x="169" y="59"/>
                  </a:lnTo>
                  <a:lnTo>
                    <a:pt x="169" y="61"/>
                  </a:lnTo>
                  <a:lnTo>
                    <a:pt x="169" y="59"/>
                  </a:lnTo>
                  <a:lnTo>
                    <a:pt x="168" y="59"/>
                  </a:lnTo>
                  <a:lnTo>
                    <a:pt x="169" y="61"/>
                  </a:lnTo>
                  <a:lnTo>
                    <a:pt x="170" y="61"/>
                  </a:lnTo>
                  <a:lnTo>
                    <a:pt x="171" y="61"/>
                  </a:lnTo>
                  <a:lnTo>
                    <a:pt x="171" y="62"/>
                  </a:lnTo>
                  <a:lnTo>
                    <a:pt x="173" y="62"/>
                  </a:lnTo>
                  <a:lnTo>
                    <a:pt x="173" y="61"/>
                  </a:lnTo>
                  <a:lnTo>
                    <a:pt x="173" y="59"/>
                  </a:lnTo>
                  <a:lnTo>
                    <a:pt x="173" y="61"/>
                  </a:lnTo>
                  <a:lnTo>
                    <a:pt x="171" y="61"/>
                  </a:lnTo>
                  <a:lnTo>
                    <a:pt x="173" y="61"/>
                  </a:lnTo>
                  <a:lnTo>
                    <a:pt x="171" y="61"/>
                  </a:lnTo>
                  <a:lnTo>
                    <a:pt x="171" y="59"/>
                  </a:lnTo>
                  <a:lnTo>
                    <a:pt x="173" y="59"/>
                  </a:lnTo>
                  <a:lnTo>
                    <a:pt x="171" y="59"/>
                  </a:lnTo>
                  <a:lnTo>
                    <a:pt x="173" y="59"/>
                  </a:lnTo>
                  <a:lnTo>
                    <a:pt x="173" y="58"/>
                  </a:lnTo>
                  <a:lnTo>
                    <a:pt x="174" y="58"/>
                  </a:lnTo>
                  <a:lnTo>
                    <a:pt x="174" y="57"/>
                  </a:lnTo>
                  <a:lnTo>
                    <a:pt x="174" y="58"/>
                  </a:lnTo>
                  <a:lnTo>
                    <a:pt x="175" y="58"/>
                  </a:lnTo>
                  <a:lnTo>
                    <a:pt x="175" y="57"/>
                  </a:lnTo>
                  <a:lnTo>
                    <a:pt x="176" y="57"/>
                  </a:lnTo>
                  <a:lnTo>
                    <a:pt x="177" y="58"/>
                  </a:lnTo>
                  <a:lnTo>
                    <a:pt x="177" y="57"/>
                  </a:lnTo>
                  <a:lnTo>
                    <a:pt x="177" y="58"/>
                  </a:lnTo>
                  <a:lnTo>
                    <a:pt x="177" y="59"/>
                  </a:lnTo>
                  <a:lnTo>
                    <a:pt x="179" y="59"/>
                  </a:lnTo>
                  <a:lnTo>
                    <a:pt x="179" y="61"/>
                  </a:lnTo>
                  <a:lnTo>
                    <a:pt x="180" y="59"/>
                  </a:lnTo>
                  <a:lnTo>
                    <a:pt x="180" y="61"/>
                  </a:lnTo>
                  <a:lnTo>
                    <a:pt x="181" y="59"/>
                  </a:lnTo>
                  <a:lnTo>
                    <a:pt x="180" y="59"/>
                  </a:lnTo>
                  <a:lnTo>
                    <a:pt x="180" y="58"/>
                  </a:lnTo>
                  <a:lnTo>
                    <a:pt x="180" y="59"/>
                  </a:lnTo>
                  <a:lnTo>
                    <a:pt x="180" y="58"/>
                  </a:lnTo>
                  <a:lnTo>
                    <a:pt x="180" y="57"/>
                  </a:lnTo>
                  <a:lnTo>
                    <a:pt x="179" y="57"/>
                  </a:lnTo>
                  <a:lnTo>
                    <a:pt x="179" y="56"/>
                  </a:lnTo>
                  <a:lnTo>
                    <a:pt x="180" y="56"/>
                  </a:lnTo>
                  <a:lnTo>
                    <a:pt x="179" y="56"/>
                  </a:lnTo>
                  <a:lnTo>
                    <a:pt x="179" y="55"/>
                  </a:lnTo>
                  <a:lnTo>
                    <a:pt x="180" y="55"/>
                  </a:lnTo>
                  <a:lnTo>
                    <a:pt x="181" y="55"/>
                  </a:lnTo>
                  <a:lnTo>
                    <a:pt x="181" y="56"/>
                  </a:lnTo>
                  <a:lnTo>
                    <a:pt x="181" y="55"/>
                  </a:lnTo>
                  <a:lnTo>
                    <a:pt x="182" y="55"/>
                  </a:lnTo>
                  <a:lnTo>
                    <a:pt x="183" y="55"/>
                  </a:lnTo>
                  <a:lnTo>
                    <a:pt x="185" y="55"/>
                  </a:lnTo>
                  <a:lnTo>
                    <a:pt x="185" y="56"/>
                  </a:lnTo>
                  <a:lnTo>
                    <a:pt x="186" y="56"/>
                  </a:lnTo>
                  <a:lnTo>
                    <a:pt x="186" y="55"/>
                  </a:lnTo>
                  <a:lnTo>
                    <a:pt x="185" y="55"/>
                  </a:lnTo>
                  <a:lnTo>
                    <a:pt x="186" y="55"/>
                  </a:lnTo>
                  <a:lnTo>
                    <a:pt x="187" y="55"/>
                  </a:lnTo>
                  <a:lnTo>
                    <a:pt x="188" y="56"/>
                  </a:lnTo>
                  <a:lnTo>
                    <a:pt x="187" y="56"/>
                  </a:lnTo>
                  <a:lnTo>
                    <a:pt x="188" y="56"/>
                  </a:lnTo>
                  <a:lnTo>
                    <a:pt x="188" y="57"/>
                  </a:lnTo>
                  <a:lnTo>
                    <a:pt x="189" y="57"/>
                  </a:lnTo>
                  <a:lnTo>
                    <a:pt x="189" y="56"/>
                  </a:lnTo>
                  <a:lnTo>
                    <a:pt x="188" y="56"/>
                  </a:lnTo>
                  <a:lnTo>
                    <a:pt x="189" y="56"/>
                  </a:lnTo>
                  <a:lnTo>
                    <a:pt x="188" y="55"/>
                  </a:lnTo>
                  <a:lnTo>
                    <a:pt x="188" y="53"/>
                  </a:lnTo>
                  <a:lnTo>
                    <a:pt x="189" y="53"/>
                  </a:lnTo>
                  <a:lnTo>
                    <a:pt x="189" y="55"/>
                  </a:lnTo>
                  <a:lnTo>
                    <a:pt x="189" y="53"/>
                  </a:lnTo>
                  <a:lnTo>
                    <a:pt x="191" y="53"/>
                  </a:lnTo>
                  <a:lnTo>
                    <a:pt x="191" y="52"/>
                  </a:lnTo>
                  <a:lnTo>
                    <a:pt x="192" y="52"/>
                  </a:lnTo>
                  <a:lnTo>
                    <a:pt x="193" y="52"/>
                  </a:lnTo>
                  <a:lnTo>
                    <a:pt x="193" y="51"/>
                  </a:lnTo>
                  <a:lnTo>
                    <a:pt x="194" y="51"/>
                  </a:lnTo>
                  <a:lnTo>
                    <a:pt x="194" y="50"/>
                  </a:lnTo>
                  <a:lnTo>
                    <a:pt x="195" y="50"/>
                  </a:lnTo>
                  <a:lnTo>
                    <a:pt x="197" y="50"/>
                  </a:lnTo>
                  <a:lnTo>
                    <a:pt x="197" y="49"/>
                  </a:lnTo>
                  <a:lnTo>
                    <a:pt x="198" y="49"/>
                  </a:lnTo>
                  <a:lnTo>
                    <a:pt x="198" y="47"/>
                  </a:lnTo>
                  <a:lnTo>
                    <a:pt x="198" y="46"/>
                  </a:lnTo>
                  <a:lnTo>
                    <a:pt x="197" y="46"/>
                  </a:lnTo>
                  <a:lnTo>
                    <a:pt x="198" y="46"/>
                  </a:lnTo>
                  <a:lnTo>
                    <a:pt x="198" y="45"/>
                  </a:lnTo>
                  <a:lnTo>
                    <a:pt x="199" y="45"/>
                  </a:lnTo>
                  <a:lnTo>
                    <a:pt x="200" y="45"/>
                  </a:lnTo>
                  <a:lnTo>
                    <a:pt x="200" y="44"/>
                  </a:lnTo>
                  <a:lnTo>
                    <a:pt x="201" y="44"/>
                  </a:lnTo>
                  <a:lnTo>
                    <a:pt x="201" y="43"/>
                  </a:lnTo>
                  <a:lnTo>
                    <a:pt x="200" y="43"/>
                  </a:lnTo>
                  <a:lnTo>
                    <a:pt x="199" y="43"/>
                  </a:lnTo>
                  <a:lnTo>
                    <a:pt x="199" y="41"/>
                  </a:lnTo>
                  <a:lnTo>
                    <a:pt x="198" y="41"/>
                  </a:lnTo>
                  <a:lnTo>
                    <a:pt x="197" y="41"/>
                  </a:lnTo>
                  <a:lnTo>
                    <a:pt x="197" y="43"/>
                  </a:lnTo>
                  <a:lnTo>
                    <a:pt x="197" y="41"/>
                  </a:lnTo>
                  <a:lnTo>
                    <a:pt x="198" y="41"/>
                  </a:lnTo>
                  <a:lnTo>
                    <a:pt x="198" y="40"/>
                  </a:lnTo>
                  <a:lnTo>
                    <a:pt x="199" y="40"/>
                  </a:lnTo>
                  <a:lnTo>
                    <a:pt x="199" y="39"/>
                  </a:lnTo>
                  <a:lnTo>
                    <a:pt x="199" y="38"/>
                  </a:lnTo>
                  <a:lnTo>
                    <a:pt x="200" y="38"/>
                  </a:lnTo>
                  <a:lnTo>
                    <a:pt x="200" y="37"/>
                  </a:lnTo>
                  <a:lnTo>
                    <a:pt x="200" y="35"/>
                  </a:lnTo>
                  <a:lnTo>
                    <a:pt x="199" y="35"/>
                  </a:lnTo>
                  <a:lnTo>
                    <a:pt x="199" y="37"/>
                  </a:lnTo>
                  <a:lnTo>
                    <a:pt x="198" y="37"/>
                  </a:lnTo>
                  <a:lnTo>
                    <a:pt x="197" y="37"/>
                  </a:lnTo>
                  <a:lnTo>
                    <a:pt x="195" y="37"/>
                  </a:lnTo>
                  <a:lnTo>
                    <a:pt x="195" y="35"/>
                  </a:lnTo>
                  <a:lnTo>
                    <a:pt x="197" y="35"/>
                  </a:lnTo>
                  <a:lnTo>
                    <a:pt x="198" y="35"/>
                  </a:lnTo>
                  <a:lnTo>
                    <a:pt x="198" y="34"/>
                  </a:lnTo>
                  <a:lnTo>
                    <a:pt x="198" y="33"/>
                  </a:lnTo>
                  <a:lnTo>
                    <a:pt x="199" y="33"/>
                  </a:lnTo>
                  <a:lnTo>
                    <a:pt x="198" y="33"/>
                  </a:lnTo>
                  <a:lnTo>
                    <a:pt x="199" y="33"/>
                  </a:lnTo>
                  <a:lnTo>
                    <a:pt x="199" y="32"/>
                  </a:lnTo>
                  <a:lnTo>
                    <a:pt x="199" y="31"/>
                  </a:lnTo>
                  <a:lnTo>
                    <a:pt x="198" y="31"/>
                  </a:lnTo>
                  <a:lnTo>
                    <a:pt x="198" y="32"/>
                  </a:lnTo>
                  <a:lnTo>
                    <a:pt x="197" y="32"/>
                  </a:lnTo>
                  <a:lnTo>
                    <a:pt x="197" y="31"/>
                  </a:lnTo>
                  <a:lnTo>
                    <a:pt x="197" y="29"/>
                  </a:lnTo>
                  <a:lnTo>
                    <a:pt x="198" y="29"/>
                  </a:lnTo>
                  <a:lnTo>
                    <a:pt x="197" y="29"/>
                  </a:lnTo>
                  <a:lnTo>
                    <a:pt x="197" y="28"/>
                  </a:lnTo>
                  <a:lnTo>
                    <a:pt x="197" y="27"/>
                  </a:lnTo>
                  <a:lnTo>
                    <a:pt x="197" y="26"/>
                  </a:lnTo>
                  <a:lnTo>
                    <a:pt x="197" y="25"/>
                  </a:lnTo>
                  <a:lnTo>
                    <a:pt x="195" y="25"/>
                  </a:lnTo>
                  <a:lnTo>
                    <a:pt x="195" y="26"/>
                  </a:lnTo>
                  <a:lnTo>
                    <a:pt x="195" y="27"/>
                  </a:lnTo>
                  <a:lnTo>
                    <a:pt x="195" y="28"/>
                  </a:lnTo>
                  <a:lnTo>
                    <a:pt x="194" y="28"/>
                  </a:lnTo>
                  <a:lnTo>
                    <a:pt x="194" y="27"/>
                  </a:lnTo>
                  <a:lnTo>
                    <a:pt x="193" y="26"/>
                  </a:lnTo>
                  <a:lnTo>
                    <a:pt x="194" y="26"/>
                  </a:lnTo>
                  <a:lnTo>
                    <a:pt x="194" y="25"/>
                  </a:lnTo>
                  <a:lnTo>
                    <a:pt x="194" y="23"/>
                  </a:lnTo>
                  <a:lnTo>
                    <a:pt x="193" y="23"/>
                  </a:lnTo>
                  <a:lnTo>
                    <a:pt x="193" y="25"/>
                  </a:lnTo>
                  <a:lnTo>
                    <a:pt x="192" y="25"/>
                  </a:lnTo>
                  <a:lnTo>
                    <a:pt x="192" y="23"/>
                  </a:lnTo>
                  <a:lnTo>
                    <a:pt x="193" y="23"/>
                  </a:lnTo>
                  <a:lnTo>
                    <a:pt x="192" y="23"/>
                  </a:lnTo>
                  <a:lnTo>
                    <a:pt x="193" y="23"/>
                  </a:lnTo>
                  <a:lnTo>
                    <a:pt x="193" y="22"/>
                  </a:lnTo>
                  <a:lnTo>
                    <a:pt x="192" y="22"/>
                  </a:lnTo>
                  <a:lnTo>
                    <a:pt x="192" y="21"/>
                  </a:lnTo>
                  <a:lnTo>
                    <a:pt x="193" y="21"/>
                  </a:lnTo>
                  <a:lnTo>
                    <a:pt x="192" y="21"/>
                  </a:lnTo>
                  <a:lnTo>
                    <a:pt x="193" y="20"/>
                  </a:lnTo>
                  <a:lnTo>
                    <a:pt x="193" y="21"/>
                  </a:lnTo>
                  <a:lnTo>
                    <a:pt x="193" y="20"/>
                  </a:lnTo>
                  <a:lnTo>
                    <a:pt x="194" y="20"/>
                  </a:lnTo>
                  <a:lnTo>
                    <a:pt x="194" y="18"/>
                  </a:lnTo>
                  <a:lnTo>
                    <a:pt x="193" y="17"/>
                  </a:lnTo>
                  <a:lnTo>
                    <a:pt x="193" y="18"/>
                  </a:lnTo>
                  <a:lnTo>
                    <a:pt x="193" y="17"/>
                  </a:lnTo>
                  <a:lnTo>
                    <a:pt x="193" y="16"/>
                  </a:lnTo>
                  <a:lnTo>
                    <a:pt x="192" y="15"/>
                  </a:lnTo>
                  <a:lnTo>
                    <a:pt x="192" y="16"/>
                  </a:lnTo>
                  <a:lnTo>
                    <a:pt x="192" y="17"/>
                  </a:lnTo>
                  <a:lnTo>
                    <a:pt x="191" y="17"/>
                  </a:lnTo>
                  <a:lnTo>
                    <a:pt x="189" y="17"/>
                  </a:lnTo>
                  <a:lnTo>
                    <a:pt x="189" y="18"/>
                  </a:lnTo>
                  <a:lnTo>
                    <a:pt x="189" y="20"/>
                  </a:lnTo>
                  <a:lnTo>
                    <a:pt x="188" y="20"/>
                  </a:lnTo>
                  <a:lnTo>
                    <a:pt x="187" y="20"/>
                  </a:lnTo>
                  <a:lnTo>
                    <a:pt x="187" y="18"/>
                  </a:lnTo>
                  <a:lnTo>
                    <a:pt x="188" y="18"/>
                  </a:lnTo>
                  <a:lnTo>
                    <a:pt x="187" y="18"/>
                  </a:lnTo>
                  <a:lnTo>
                    <a:pt x="188" y="17"/>
                  </a:lnTo>
                  <a:lnTo>
                    <a:pt x="188" y="16"/>
                  </a:lnTo>
                  <a:lnTo>
                    <a:pt x="188" y="15"/>
                  </a:lnTo>
                  <a:lnTo>
                    <a:pt x="188" y="14"/>
                  </a:lnTo>
                  <a:lnTo>
                    <a:pt x="189" y="12"/>
                  </a:lnTo>
                  <a:lnTo>
                    <a:pt x="189" y="11"/>
                  </a:lnTo>
                  <a:lnTo>
                    <a:pt x="189" y="10"/>
                  </a:lnTo>
                  <a:lnTo>
                    <a:pt x="188" y="10"/>
                  </a:lnTo>
                  <a:lnTo>
                    <a:pt x="188" y="9"/>
                  </a:lnTo>
                  <a:lnTo>
                    <a:pt x="188" y="8"/>
                  </a:lnTo>
                  <a:lnTo>
                    <a:pt x="187" y="8"/>
                  </a:lnTo>
                  <a:lnTo>
                    <a:pt x="187" y="9"/>
                  </a:lnTo>
                  <a:lnTo>
                    <a:pt x="187" y="10"/>
                  </a:lnTo>
                  <a:lnTo>
                    <a:pt x="186" y="10"/>
                  </a:lnTo>
                  <a:lnTo>
                    <a:pt x="186" y="11"/>
                  </a:lnTo>
                  <a:lnTo>
                    <a:pt x="186" y="10"/>
                  </a:lnTo>
                  <a:lnTo>
                    <a:pt x="185" y="10"/>
                  </a:lnTo>
                  <a:lnTo>
                    <a:pt x="183" y="10"/>
                  </a:lnTo>
                  <a:lnTo>
                    <a:pt x="183" y="11"/>
                  </a:lnTo>
                  <a:lnTo>
                    <a:pt x="183" y="10"/>
                  </a:lnTo>
                  <a:lnTo>
                    <a:pt x="183" y="9"/>
                  </a:lnTo>
                  <a:lnTo>
                    <a:pt x="182" y="9"/>
                  </a:lnTo>
                  <a:lnTo>
                    <a:pt x="181" y="9"/>
                  </a:lnTo>
                  <a:lnTo>
                    <a:pt x="181" y="10"/>
                  </a:lnTo>
                  <a:lnTo>
                    <a:pt x="181" y="11"/>
                  </a:lnTo>
                  <a:lnTo>
                    <a:pt x="182" y="11"/>
                  </a:lnTo>
                  <a:lnTo>
                    <a:pt x="182" y="12"/>
                  </a:lnTo>
                  <a:lnTo>
                    <a:pt x="181" y="12"/>
                  </a:lnTo>
                  <a:lnTo>
                    <a:pt x="181" y="14"/>
                  </a:lnTo>
                  <a:lnTo>
                    <a:pt x="182" y="14"/>
                  </a:lnTo>
                  <a:lnTo>
                    <a:pt x="182" y="15"/>
                  </a:lnTo>
                  <a:lnTo>
                    <a:pt x="182" y="16"/>
                  </a:lnTo>
                  <a:lnTo>
                    <a:pt x="182" y="17"/>
                  </a:lnTo>
                  <a:lnTo>
                    <a:pt x="181" y="17"/>
                  </a:lnTo>
                  <a:lnTo>
                    <a:pt x="181" y="18"/>
                  </a:lnTo>
                  <a:lnTo>
                    <a:pt x="180" y="18"/>
                  </a:lnTo>
                  <a:lnTo>
                    <a:pt x="180" y="17"/>
                  </a:lnTo>
                  <a:lnTo>
                    <a:pt x="179" y="17"/>
                  </a:lnTo>
                  <a:lnTo>
                    <a:pt x="179" y="16"/>
                  </a:lnTo>
                  <a:lnTo>
                    <a:pt x="179" y="15"/>
                  </a:lnTo>
                  <a:lnTo>
                    <a:pt x="177" y="15"/>
                  </a:lnTo>
                  <a:lnTo>
                    <a:pt x="177" y="14"/>
                  </a:lnTo>
                  <a:lnTo>
                    <a:pt x="177" y="12"/>
                  </a:lnTo>
                  <a:lnTo>
                    <a:pt x="177" y="11"/>
                  </a:lnTo>
                  <a:lnTo>
                    <a:pt x="176" y="11"/>
                  </a:lnTo>
                  <a:lnTo>
                    <a:pt x="176" y="12"/>
                  </a:lnTo>
                  <a:lnTo>
                    <a:pt x="176" y="14"/>
                  </a:lnTo>
                  <a:lnTo>
                    <a:pt x="175" y="14"/>
                  </a:lnTo>
                  <a:lnTo>
                    <a:pt x="174" y="14"/>
                  </a:lnTo>
                  <a:lnTo>
                    <a:pt x="174" y="15"/>
                  </a:lnTo>
                  <a:lnTo>
                    <a:pt x="174" y="16"/>
                  </a:lnTo>
                  <a:lnTo>
                    <a:pt x="174" y="15"/>
                  </a:lnTo>
                  <a:lnTo>
                    <a:pt x="173" y="15"/>
                  </a:lnTo>
                  <a:lnTo>
                    <a:pt x="173" y="16"/>
                  </a:lnTo>
                  <a:lnTo>
                    <a:pt x="171" y="16"/>
                  </a:lnTo>
                  <a:lnTo>
                    <a:pt x="171" y="15"/>
                  </a:lnTo>
                  <a:lnTo>
                    <a:pt x="173" y="15"/>
                  </a:lnTo>
                  <a:lnTo>
                    <a:pt x="171" y="14"/>
                  </a:lnTo>
                  <a:lnTo>
                    <a:pt x="171" y="12"/>
                  </a:lnTo>
                  <a:lnTo>
                    <a:pt x="170" y="12"/>
                  </a:lnTo>
                  <a:lnTo>
                    <a:pt x="171" y="12"/>
                  </a:lnTo>
                  <a:lnTo>
                    <a:pt x="171" y="11"/>
                  </a:lnTo>
                  <a:lnTo>
                    <a:pt x="170" y="11"/>
                  </a:lnTo>
                  <a:lnTo>
                    <a:pt x="171" y="10"/>
                  </a:lnTo>
                  <a:lnTo>
                    <a:pt x="173" y="10"/>
                  </a:lnTo>
                  <a:lnTo>
                    <a:pt x="173" y="9"/>
                  </a:lnTo>
                  <a:lnTo>
                    <a:pt x="173" y="8"/>
                  </a:lnTo>
                  <a:lnTo>
                    <a:pt x="174" y="6"/>
                  </a:lnTo>
                  <a:lnTo>
                    <a:pt x="173" y="5"/>
                  </a:lnTo>
                  <a:lnTo>
                    <a:pt x="173" y="6"/>
                  </a:lnTo>
                  <a:lnTo>
                    <a:pt x="171" y="5"/>
                  </a:lnTo>
                  <a:lnTo>
                    <a:pt x="171" y="4"/>
                  </a:lnTo>
                  <a:lnTo>
                    <a:pt x="170" y="4"/>
                  </a:lnTo>
                  <a:lnTo>
                    <a:pt x="170" y="5"/>
                  </a:lnTo>
                  <a:lnTo>
                    <a:pt x="169" y="5"/>
                  </a:lnTo>
                  <a:lnTo>
                    <a:pt x="169" y="6"/>
                  </a:lnTo>
                  <a:lnTo>
                    <a:pt x="169" y="8"/>
                  </a:lnTo>
                  <a:lnTo>
                    <a:pt x="170" y="8"/>
                  </a:lnTo>
                  <a:lnTo>
                    <a:pt x="170" y="9"/>
                  </a:lnTo>
                  <a:lnTo>
                    <a:pt x="169" y="9"/>
                  </a:lnTo>
                  <a:lnTo>
                    <a:pt x="169" y="10"/>
                  </a:lnTo>
                  <a:lnTo>
                    <a:pt x="169" y="9"/>
                  </a:lnTo>
                  <a:lnTo>
                    <a:pt x="168" y="9"/>
                  </a:lnTo>
                  <a:lnTo>
                    <a:pt x="167" y="9"/>
                  </a:lnTo>
                  <a:lnTo>
                    <a:pt x="167" y="10"/>
                  </a:lnTo>
                  <a:lnTo>
                    <a:pt x="165" y="11"/>
                  </a:lnTo>
                  <a:lnTo>
                    <a:pt x="165" y="10"/>
                  </a:lnTo>
                  <a:lnTo>
                    <a:pt x="165" y="9"/>
                  </a:lnTo>
                  <a:lnTo>
                    <a:pt x="164" y="9"/>
                  </a:lnTo>
                  <a:lnTo>
                    <a:pt x="165" y="8"/>
                  </a:lnTo>
                  <a:lnTo>
                    <a:pt x="165" y="6"/>
                  </a:lnTo>
                  <a:lnTo>
                    <a:pt x="164" y="6"/>
                  </a:lnTo>
                  <a:lnTo>
                    <a:pt x="163" y="6"/>
                  </a:lnTo>
                  <a:lnTo>
                    <a:pt x="163" y="5"/>
                  </a:lnTo>
                  <a:lnTo>
                    <a:pt x="162" y="5"/>
                  </a:lnTo>
                  <a:lnTo>
                    <a:pt x="162" y="4"/>
                  </a:lnTo>
                  <a:lnTo>
                    <a:pt x="162" y="3"/>
                  </a:lnTo>
                  <a:lnTo>
                    <a:pt x="161" y="3"/>
                  </a:lnTo>
                  <a:lnTo>
                    <a:pt x="161" y="4"/>
                  </a:lnTo>
                  <a:lnTo>
                    <a:pt x="159" y="5"/>
                  </a:lnTo>
                  <a:lnTo>
                    <a:pt x="159" y="4"/>
                  </a:lnTo>
                  <a:lnTo>
                    <a:pt x="159" y="3"/>
                  </a:lnTo>
                  <a:lnTo>
                    <a:pt x="159" y="2"/>
                  </a:lnTo>
                  <a:lnTo>
                    <a:pt x="158" y="2"/>
                  </a:lnTo>
                  <a:lnTo>
                    <a:pt x="158" y="0"/>
                  </a:lnTo>
                  <a:lnTo>
                    <a:pt x="157" y="0"/>
                  </a:lnTo>
                  <a:lnTo>
                    <a:pt x="157" y="2"/>
                  </a:lnTo>
                  <a:lnTo>
                    <a:pt x="157" y="3"/>
                  </a:lnTo>
                  <a:lnTo>
                    <a:pt x="157" y="4"/>
                  </a:lnTo>
                  <a:lnTo>
                    <a:pt x="156" y="4"/>
                  </a:lnTo>
                  <a:lnTo>
                    <a:pt x="157" y="5"/>
                  </a:lnTo>
                  <a:lnTo>
                    <a:pt x="157" y="6"/>
                  </a:lnTo>
                  <a:lnTo>
                    <a:pt x="156" y="6"/>
                  </a:lnTo>
                  <a:lnTo>
                    <a:pt x="156" y="8"/>
                  </a:lnTo>
                  <a:lnTo>
                    <a:pt x="156" y="9"/>
                  </a:lnTo>
                  <a:lnTo>
                    <a:pt x="157" y="9"/>
                  </a:lnTo>
                  <a:lnTo>
                    <a:pt x="157" y="10"/>
                  </a:lnTo>
                  <a:lnTo>
                    <a:pt x="157" y="11"/>
                  </a:lnTo>
                  <a:lnTo>
                    <a:pt x="157" y="12"/>
                  </a:lnTo>
                  <a:lnTo>
                    <a:pt x="157" y="14"/>
                  </a:lnTo>
                  <a:lnTo>
                    <a:pt x="157" y="15"/>
                  </a:lnTo>
                  <a:lnTo>
                    <a:pt x="157" y="16"/>
                  </a:lnTo>
                  <a:lnTo>
                    <a:pt x="157" y="15"/>
                  </a:lnTo>
                  <a:lnTo>
                    <a:pt x="156" y="15"/>
                  </a:lnTo>
                  <a:lnTo>
                    <a:pt x="155" y="15"/>
                  </a:lnTo>
                  <a:lnTo>
                    <a:pt x="153" y="15"/>
                  </a:lnTo>
                  <a:lnTo>
                    <a:pt x="153" y="14"/>
                  </a:lnTo>
                  <a:lnTo>
                    <a:pt x="152" y="14"/>
                  </a:lnTo>
                  <a:lnTo>
                    <a:pt x="152" y="15"/>
                  </a:lnTo>
                  <a:lnTo>
                    <a:pt x="153" y="16"/>
                  </a:lnTo>
                  <a:lnTo>
                    <a:pt x="153" y="17"/>
                  </a:lnTo>
                  <a:lnTo>
                    <a:pt x="153" y="18"/>
                  </a:lnTo>
                  <a:lnTo>
                    <a:pt x="153" y="20"/>
                  </a:lnTo>
                  <a:lnTo>
                    <a:pt x="152" y="20"/>
                  </a:lnTo>
                  <a:lnTo>
                    <a:pt x="152" y="18"/>
                  </a:lnTo>
                  <a:lnTo>
                    <a:pt x="152" y="17"/>
                  </a:lnTo>
                  <a:lnTo>
                    <a:pt x="152" y="16"/>
                  </a:lnTo>
                  <a:lnTo>
                    <a:pt x="151" y="16"/>
                  </a:lnTo>
                  <a:lnTo>
                    <a:pt x="150" y="17"/>
                  </a:lnTo>
                  <a:lnTo>
                    <a:pt x="149" y="17"/>
                  </a:lnTo>
                  <a:lnTo>
                    <a:pt x="150" y="18"/>
                  </a:lnTo>
                  <a:lnTo>
                    <a:pt x="149" y="18"/>
                  </a:lnTo>
                  <a:lnTo>
                    <a:pt x="149" y="17"/>
                  </a:lnTo>
                  <a:lnTo>
                    <a:pt x="147" y="17"/>
                  </a:lnTo>
                  <a:lnTo>
                    <a:pt x="147" y="16"/>
                  </a:lnTo>
                  <a:lnTo>
                    <a:pt x="149" y="16"/>
                  </a:lnTo>
                  <a:lnTo>
                    <a:pt x="149" y="15"/>
                  </a:lnTo>
                  <a:lnTo>
                    <a:pt x="149" y="14"/>
                  </a:lnTo>
                  <a:lnTo>
                    <a:pt x="147" y="14"/>
                  </a:lnTo>
                  <a:lnTo>
                    <a:pt x="147" y="15"/>
                  </a:lnTo>
                  <a:lnTo>
                    <a:pt x="146" y="15"/>
                  </a:lnTo>
                  <a:lnTo>
                    <a:pt x="145" y="15"/>
                  </a:lnTo>
                  <a:lnTo>
                    <a:pt x="146" y="15"/>
                  </a:lnTo>
                  <a:lnTo>
                    <a:pt x="145" y="15"/>
                  </a:lnTo>
                  <a:lnTo>
                    <a:pt x="145" y="14"/>
                  </a:lnTo>
                  <a:lnTo>
                    <a:pt x="145" y="12"/>
                  </a:lnTo>
                  <a:lnTo>
                    <a:pt x="144" y="12"/>
                  </a:lnTo>
                  <a:lnTo>
                    <a:pt x="144" y="11"/>
                  </a:lnTo>
                  <a:lnTo>
                    <a:pt x="142" y="11"/>
                  </a:lnTo>
                  <a:lnTo>
                    <a:pt x="144" y="11"/>
                  </a:lnTo>
                  <a:lnTo>
                    <a:pt x="144" y="10"/>
                  </a:lnTo>
                  <a:lnTo>
                    <a:pt x="145" y="10"/>
                  </a:lnTo>
                  <a:lnTo>
                    <a:pt x="145" y="9"/>
                  </a:lnTo>
                  <a:lnTo>
                    <a:pt x="144" y="9"/>
                  </a:lnTo>
                  <a:lnTo>
                    <a:pt x="142" y="9"/>
                  </a:lnTo>
                  <a:lnTo>
                    <a:pt x="142" y="8"/>
                  </a:lnTo>
                  <a:lnTo>
                    <a:pt x="142" y="6"/>
                  </a:lnTo>
                  <a:lnTo>
                    <a:pt x="142" y="5"/>
                  </a:lnTo>
                  <a:lnTo>
                    <a:pt x="141" y="5"/>
                  </a:lnTo>
                  <a:lnTo>
                    <a:pt x="141" y="4"/>
                  </a:lnTo>
                  <a:lnTo>
                    <a:pt x="140" y="3"/>
                  </a:lnTo>
                  <a:lnTo>
                    <a:pt x="140" y="4"/>
                  </a:lnTo>
                  <a:lnTo>
                    <a:pt x="139" y="4"/>
                  </a:lnTo>
                  <a:lnTo>
                    <a:pt x="139" y="5"/>
                  </a:lnTo>
                  <a:lnTo>
                    <a:pt x="139" y="6"/>
                  </a:lnTo>
                  <a:lnTo>
                    <a:pt x="139" y="8"/>
                  </a:lnTo>
                  <a:lnTo>
                    <a:pt x="139" y="9"/>
                  </a:lnTo>
                  <a:lnTo>
                    <a:pt x="138" y="9"/>
                  </a:lnTo>
                  <a:lnTo>
                    <a:pt x="138" y="8"/>
                  </a:lnTo>
                  <a:lnTo>
                    <a:pt x="138" y="9"/>
                  </a:lnTo>
                  <a:lnTo>
                    <a:pt x="138" y="10"/>
                  </a:lnTo>
                  <a:lnTo>
                    <a:pt x="139" y="10"/>
                  </a:lnTo>
                  <a:lnTo>
                    <a:pt x="140" y="11"/>
                  </a:lnTo>
                  <a:lnTo>
                    <a:pt x="140" y="12"/>
                  </a:lnTo>
                  <a:lnTo>
                    <a:pt x="141" y="12"/>
                  </a:lnTo>
                  <a:lnTo>
                    <a:pt x="141" y="14"/>
                  </a:lnTo>
                  <a:lnTo>
                    <a:pt x="141" y="15"/>
                  </a:lnTo>
                  <a:lnTo>
                    <a:pt x="141" y="16"/>
                  </a:lnTo>
                  <a:lnTo>
                    <a:pt x="140" y="16"/>
                  </a:lnTo>
                  <a:lnTo>
                    <a:pt x="140" y="15"/>
                  </a:lnTo>
                  <a:lnTo>
                    <a:pt x="139" y="15"/>
                  </a:lnTo>
                  <a:lnTo>
                    <a:pt x="138" y="16"/>
                  </a:lnTo>
                  <a:lnTo>
                    <a:pt x="138" y="15"/>
                  </a:lnTo>
                  <a:lnTo>
                    <a:pt x="136" y="15"/>
                  </a:lnTo>
                  <a:lnTo>
                    <a:pt x="136" y="14"/>
                  </a:lnTo>
                  <a:lnTo>
                    <a:pt x="136" y="12"/>
                  </a:lnTo>
                  <a:lnTo>
                    <a:pt x="136" y="11"/>
                  </a:lnTo>
                  <a:lnTo>
                    <a:pt x="136" y="10"/>
                  </a:lnTo>
                  <a:lnTo>
                    <a:pt x="135" y="10"/>
                  </a:lnTo>
                  <a:lnTo>
                    <a:pt x="135" y="9"/>
                  </a:lnTo>
                  <a:lnTo>
                    <a:pt x="135" y="8"/>
                  </a:lnTo>
                  <a:lnTo>
                    <a:pt x="134" y="8"/>
                  </a:lnTo>
                  <a:lnTo>
                    <a:pt x="134" y="9"/>
                  </a:lnTo>
                  <a:lnTo>
                    <a:pt x="134" y="10"/>
                  </a:lnTo>
                  <a:lnTo>
                    <a:pt x="133" y="10"/>
                  </a:lnTo>
                  <a:lnTo>
                    <a:pt x="133" y="9"/>
                  </a:lnTo>
                  <a:lnTo>
                    <a:pt x="133" y="8"/>
                  </a:lnTo>
                  <a:lnTo>
                    <a:pt x="132" y="6"/>
                  </a:lnTo>
                  <a:lnTo>
                    <a:pt x="132" y="8"/>
                  </a:lnTo>
                  <a:lnTo>
                    <a:pt x="132" y="6"/>
                  </a:lnTo>
                  <a:lnTo>
                    <a:pt x="130" y="6"/>
                  </a:lnTo>
                  <a:lnTo>
                    <a:pt x="130" y="5"/>
                  </a:lnTo>
                  <a:lnTo>
                    <a:pt x="129" y="5"/>
                  </a:lnTo>
                  <a:lnTo>
                    <a:pt x="129" y="6"/>
                  </a:lnTo>
                  <a:lnTo>
                    <a:pt x="129" y="8"/>
                  </a:lnTo>
                  <a:lnTo>
                    <a:pt x="129" y="9"/>
                  </a:lnTo>
                  <a:lnTo>
                    <a:pt x="129" y="10"/>
                  </a:lnTo>
                  <a:lnTo>
                    <a:pt x="130" y="11"/>
                  </a:lnTo>
                  <a:lnTo>
                    <a:pt x="130" y="12"/>
                  </a:lnTo>
                  <a:lnTo>
                    <a:pt x="132" y="12"/>
                  </a:lnTo>
                  <a:lnTo>
                    <a:pt x="133" y="12"/>
                  </a:lnTo>
                  <a:lnTo>
                    <a:pt x="132" y="14"/>
                  </a:lnTo>
                  <a:lnTo>
                    <a:pt x="130" y="14"/>
                  </a:lnTo>
                  <a:lnTo>
                    <a:pt x="129" y="14"/>
                  </a:lnTo>
                  <a:lnTo>
                    <a:pt x="129" y="15"/>
                  </a:lnTo>
                  <a:lnTo>
                    <a:pt x="129" y="16"/>
                  </a:lnTo>
                  <a:lnTo>
                    <a:pt x="128" y="16"/>
                  </a:lnTo>
                  <a:lnTo>
                    <a:pt x="128" y="15"/>
                  </a:lnTo>
                  <a:lnTo>
                    <a:pt x="128" y="14"/>
                  </a:lnTo>
                  <a:lnTo>
                    <a:pt x="127" y="12"/>
                  </a:lnTo>
                  <a:lnTo>
                    <a:pt x="127" y="14"/>
                  </a:lnTo>
                  <a:lnTo>
                    <a:pt x="126" y="14"/>
                  </a:lnTo>
                  <a:lnTo>
                    <a:pt x="126" y="12"/>
                  </a:lnTo>
                  <a:lnTo>
                    <a:pt x="124" y="12"/>
                  </a:lnTo>
                  <a:lnTo>
                    <a:pt x="124" y="11"/>
                  </a:lnTo>
                  <a:lnTo>
                    <a:pt x="123" y="12"/>
                  </a:lnTo>
                  <a:lnTo>
                    <a:pt x="123" y="14"/>
                  </a:lnTo>
                  <a:lnTo>
                    <a:pt x="124" y="15"/>
                  </a:lnTo>
                  <a:lnTo>
                    <a:pt x="124" y="16"/>
                  </a:lnTo>
                  <a:lnTo>
                    <a:pt x="124" y="17"/>
                  </a:lnTo>
                  <a:lnTo>
                    <a:pt x="126" y="17"/>
                  </a:lnTo>
                  <a:lnTo>
                    <a:pt x="126" y="21"/>
                  </a:lnTo>
                  <a:lnTo>
                    <a:pt x="126" y="22"/>
                  </a:lnTo>
                  <a:lnTo>
                    <a:pt x="124" y="22"/>
                  </a:lnTo>
                  <a:lnTo>
                    <a:pt x="124" y="23"/>
                  </a:lnTo>
                  <a:lnTo>
                    <a:pt x="126" y="23"/>
                  </a:lnTo>
                  <a:lnTo>
                    <a:pt x="126" y="25"/>
                  </a:lnTo>
                  <a:lnTo>
                    <a:pt x="126" y="26"/>
                  </a:lnTo>
                  <a:lnTo>
                    <a:pt x="126" y="25"/>
                  </a:lnTo>
                  <a:lnTo>
                    <a:pt x="126" y="26"/>
                  </a:lnTo>
                  <a:lnTo>
                    <a:pt x="126" y="27"/>
                  </a:lnTo>
                  <a:lnTo>
                    <a:pt x="124" y="27"/>
                  </a:lnTo>
                  <a:lnTo>
                    <a:pt x="123" y="27"/>
                  </a:lnTo>
                  <a:lnTo>
                    <a:pt x="123" y="26"/>
                  </a:lnTo>
                  <a:lnTo>
                    <a:pt x="123" y="25"/>
                  </a:lnTo>
                  <a:lnTo>
                    <a:pt x="122" y="25"/>
                  </a:lnTo>
                  <a:lnTo>
                    <a:pt x="122" y="23"/>
                  </a:lnTo>
                  <a:lnTo>
                    <a:pt x="122" y="22"/>
                  </a:lnTo>
                  <a:lnTo>
                    <a:pt x="122" y="21"/>
                  </a:lnTo>
                  <a:lnTo>
                    <a:pt x="122" y="20"/>
                  </a:lnTo>
                  <a:lnTo>
                    <a:pt x="122" y="18"/>
                  </a:lnTo>
                  <a:lnTo>
                    <a:pt x="122" y="20"/>
                  </a:lnTo>
                  <a:lnTo>
                    <a:pt x="121" y="18"/>
                  </a:lnTo>
                  <a:lnTo>
                    <a:pt x="121" y="17"/>
                  </a:lnTo>
                  <a:lnTo>
                    <a:pt x="120" y="17"/>
                  </a:lnTo>
                  <a:lnTo>
                    <a:pt x="118" y="17"/>
                  </a:lnTo>
                  <a:lnTo>
                    <a:pt x="118" y="18"/>
                  </a:lnTo>
                  <a:lnTo>
                    <a:pt x="120" y="20"/>
                  </a:lnTo>
                  <a:lnTo>
                    <a:pt x="120" y="21"/>
                  </a:lnTo>
                  <a:lnTo>
                    <a:pt x="118" y="21"/>
                  </a:lnTo>
                  <a:lnTo>
                    <a:pt x="118" y="22"/>
                  </a:lnTo>
                  <a:lnTo>
                    <a:pt x="118" y="23"/>
                  </a:lnTo>
                  <a:lnTo>
                    <a:pt x="120" y="23"/>
                  </a:lnTo>
                  <a:lnTo>
                    <a:pt x="120" y="25"/>
                  </a:lnTo>
                  <a:lnTo>
                    <a:pt x="121" y="25"/>
                  </a:lnTo>
                  <a:lnTo>
                    <a:pt x="121" y="26"/>
                  </a:lnTo>
                  <a:lnTo>
                    <a:pt x="120" y="26"/>
                  </a:lnTo>
                  <a:lnTo>
                    <a:pt x="120" y="27"/>
                  </a:lnTo>
                  <a:lnTo>
                    <a:pt x="120" y="26"/>
                  </a:lnTo>
                  <a:lnTo>
                    <a:pt x="118" y="26"/>
                  </a:lnTo>
                  <a:lnTo>
                    <a:pt x="118" y="27"/>
                  </a:lnTo>
                  <a:lnTo>
                    <a:pt x="118" y="26"/>
                  </a:lnTo>
                  <a:lnTo>
                    <a:pt x="118" y="25"/>
                  </a:lnTo>
                  <a:lnTo>
                    <a:pt x="118" y="23"/>
                  </a:lnTo>
                  <a:lnTo>
                    <a:pt x="117" y="23"/>
                  </a:lnTo>
                  <a:lnTo>
                    <a:pt x="117" y="22"/>
                  </a:lnTo>
                  <a:lnTo>
                    <a:pt x="117" y="23"/>
                  </a:lnTo>
                  <a:lnTo>
                    <a:pt x="116" y="23"/>
                  </a:lnTo>
                  <a:lnTo>
                    <a:pt x="115" y="23"/>
                  </a:lnTo>
                  <a:lnTo>
                    <a:pt x="115" y="22"/>
                  </a:lnTo>
                  <a:lnTo>
                    <a:pt x="116" y="22"/>
                  </a:lnTo>
                  <a:lnTo>
                    <a:pt x="116" y="21"/>
                  </a:lnTo>
                  <a:lnTo>
                    <a:pt x="117" y="21"/>
                  </a:lnTo>
                  <a:lnTo>
                    <a:pt x="117" y="20"/>
                  </a:lnTo>
                  <a:lnTo>
                    <a:pt x="116" y="20"/>
                  </a:lnTo>
                  <a:lnTo>
                    <a:pt x="116" y="18"/>
                  </a:lnTo>
                  <a:lnTo>
                    <a:pt x="116" y="17"/>
                  </a:lnTo>
                  <a:lnTo>
                    <a:pt x="115" y="17"/>
                  </a:lnTo>
                  <a:lnTo>
                    <a:pt x="115" y="18"/>
                  </a:lnTo>
                  <a:lnTo>
                    <a:pt x="114" y="18"/>
                  </a:lnTo>
                  <a:lnTo>
                    <a:pt x="114" y="17"/>
                  </a:lnTo>
                  <a:lnTo>
                    <a:pt x="114" y="16"/>
                  </a:lnTo>
                  <a:lnTo>
                    <a:pt x="114" y="15"/>
                  </a:lnTo>
                  <a:lnTo>
                    <a:pt x="112" y="15"/>
                  </a:lnTo>
                  <a:lnTo>
                    <a:pt x="112" y="14"/>
                  </a:lnTo>
                  <a:lnTo>
                    <a:pt x="111" y="14"/>
                  </a:lnTo>
                  <a:lnTo>
                    <a:pt x="111" y="12"/>
                  </a:lnTo>
                  <a:lnTo>
                    <a:pt x="111" y="14"/>
                  </a:lnTo>
                  <a:lnTo>
                    <a:pt x="110" y="14"/>
                  </a:lnTo>
                  <a:lnTo>
                    <a:pt x="110" y="15"/>
                  </a:lnTo>
                  <a:lnTo>
                    <a:pt x="110" y="16"/>
                  </a:lnTo>
                  <a:lnTo>
                    <a:pt x="109" y="17"/>
                  </a:lnTo>
                  <a:lnTo>
                    <a:pt x="109" y="18"/>
                  </a:lnTo>
                  <a:lnTo>
                    <a:pt x="110" y="18"/>
                  </a:lnTo>
                  <a:lnTo>
                    <a:pt x="110" y="20"/>
                  </a:lnTo>
                  <a:lnTo>
                    <a:pt x="109" y="20"/>
                  </a:lnTo>
                  <a:lnTo>
                    <a:pt x="109" y="21"/>
                  </a:lnTo>
                  <a:lnTo>
                    <a:pt x="109" y="22"/>
                  </a:lnTo>
                  <a:lnTo>
                    <a:pt x="109" y="23"/>
                  </a:lnTo>
                  <a:lnTo>
                    <a:pt x="110" y="23"/>
                  </a:lnTo>
                  <a:lnTo>
                    <a:pt x="110" y="25"/>
                  </a:lnTo>
                  <a:lnTo>
                    <a:pt x="110" y="23"/>
                  </a:lnTo>
                  <a:lnTo>
                    <a:pt x="110" y="25"/>
                  </a:lnTo>
                  <a:lnTo>
                    <a:pt x="110" y="26"/>
                  </a:lnTo>
                  <a:lnTo>
                    <a:pt x="109" y="25"/>
                  </a:lnTo>
                  <a:lnTo>
                    <a:pt x="109" y="23"/>
                  </a:lnTo>
                  <a:lnTo>
                    <a:pt x="108" y="23"/>
                  </a:lnTo>
                  <a:lnTo>
                    <a:pt x="108" y="22"/>
                  </a:lnTo>
                  <a:lnTo>
                    <a:pt x="106" y="22"/>
                  </a:lnTo>
                  <a:lnTo>
                    <a:pt x="106" y="21"/>
                  </a:lnTo>
                  <a:lnTo>
                    <a:pt x="106" y="20"/>
                  </a:lnTo>
                  <a:lnTo>
                    <a:pt x="106" y="18"/>
                  </a:lnTo>
                  <a:lnTo>
                    <a:pt x="106" y="17"/>
                  </a:lnTo>
                  <a:lnTo>
                    <a:pt x="106" y="16"/>
                  </a:lnTo>
                  <a:lnTo>
                    <a:pt x="105" y="16"/>
                  </a:lnTo>
                  <a:lnTo>
                    <a:pt x="104" y="16"/>
                  </a:lnTo>
                  <a:lnTo>
                    <a:pt x="103" y="16"/>
                  </a:lnTo>
                  <a:lnTo>
                    <a:pt x="103" y="15"/>
                  </a:lnTo>
                  <a:lnTo>
                    <a:pt x="102" y="15"/>
                  </a:lnTo>
                  <a:lnTo>
                    <a:pt x="100" y="14"/>
                  </a:lnTo>
                  <a:lnTo>
                    <a:pt x="100" y="12"/>
                  </a:lnTo>
                  <a:lnTo>
                    <a:pt x="99" y="12"/>
                  </a:lnTo>
                  <a:lnTo>
                    <a:pt x="98" y="12"/>
                  </a:lnTo>
                  <a:lnTo>
                    <a:pt x="98" y="14"/>
                  </a:lnTo>
                  <a:lnTo>
                    <a:pt x="98" y="15"/>
                  </a:lnTo>
                  <a:lnTo>
                    <a:pt x="98" y="16"/>
                  </a:lnTo>
                  <a:lnTo>
                    <a:pt x="97" y="16"/>
                  </a:lnTo>
                  <a:lnTo>
                    <a:pt x="97" y="17"/>
                  </a:lnTo>
                  <a:lnTo>
                    <a:pt x="97" y="18"/>
                  </a:lnTo>
                  <a:lnTo>
                    <a:pt x="98" y="18"/>
                  </a:lnTo>
                  <a:lnTo>
                    <a:pt x="97" y="18"/>
                  </a:lnTo>
                  <a:lnTo>
                    <a:pt x="96" y="18"/>
                  </a:lnTo>
                  <a:lnTo>
                    <a:pt x="97" y="20"/>
                  </a:lnTo>
                  <a:lnTo>
                    <a:pt x="96" y="20"/>
                  </a:lnTo>
                  <a:lnTo>
                    <a:pt x="96" y="18"/>
                  </a:lnTo>
                  <a:lnTo>
                    <a:pt x="94" y="18"/>
                  </a:lnTo>
                  <a:lnTo>
                    <a:pt x="93" y="17"/>
                  </a:lnTo>
                  <a:lnTo>
                    <a:pt x="93" y="18"/>
                  </a:lnTo>
                  <a:lnTo>
                    <a:pt x="92" y="18"/>
                  </a:lnTo>
                  <a:lnTo>
                    <a:pt x="92" y="20"/>
                  </a:lnTo>
                  <a:lnTo>
                    <a:pt x="91" y="20"/>
                  </a:lnTo>
                  <a:lnTo>
                    <a:pt x="92" y="20"/>
                  </a:lnTo>
                  <a:lnTo>
                    <a:pt x="92" y="21"/>
                  </a:lnTo>
                  <a:lnTo>
                    <a:pt x="92" y="22"/>
                  </a:lnTo>
                  <a:lnTo>
                    <a:pt x="93" y="23"/>
                  </a:lnTo>
                  <a:lnTo>
                    <a:pt x="93" y="25"/>
                  </a:lnTo>
                  <a:lnTo>
                    <a:pt x="94" y="25"/>
                  </a:lnTo>
                  <a:lnTo>
                    <a:pt x="94" y="26"/>
                  </a:lnTo>
                  <a:lnTo>
                    <a:pt x="96" y="26"/>
                  </a:lnTo>
                  <a:lnTo>
                    <a:pt x="97" y="26"/>
                  </a:lnTo>
                  <a:lnTo>
                    <a:pt x="98" y="26"/>
                  </a:lnTo>
                  <a:lnTo>
                    <a:pt x="98" y="27"/>
                  </a:lnTo>
                  <a:lnTo>
                    <a:pt x="99" y="27"/>
                  </a:lnTo>
                  <a:lnTo>
                    <a:pt x="99" y="28"/>
                  </a:lnTo>
                  <a:lnTo>
                    <a:pt x="99" y="29"/>
                  </a:lnTo>
                  <a:lnTo>
                    <a:pt x="98" y="29"/>
                  </a:lnTo>
                  <a:lnTo>
                    <a:pt x="97" y="29"/>
                  </a:lnTo>
                  <a:lnTo>
                    <a:pt x="96" y="29"/>
                  </a:lnTo>
                  <a:lnTo>
                    <a:pt x="94" y="29"/>
                  </a:lnTo>
                  <a:lnTo>
                    <a:pt x="94" y="28"/>
                  </a:lnTo>
                  <a:lnTo>
                    <a:pt x="93" y="28"/>
                  </a:lnTo>
                  <a:lnTo>
                    <a:pt x="93" y="27"/>
                  </a:lnTo>
                  <a:lnTo>
                    <a:pt x="93" y="26"/>
                  </a:lnTo>
                  <a:lnTo>
                    <a:pt x="92" y="26"/>
                  </a:lnTo>
                  <a:lnTo>
                    <a:pt x="91" y="26"/>
                  </a:lnTo>
                  <a:lnTo>
                    <a:pt x="91" y="25"/>
                  </a:lnTo>
                  <a:lnTo>
                    <a:pt x="90" y="25"/>
                  </a:lnTo>
                  <a:lnTo>
                    <a:pt x="88" y="25"/>
                  </a:lnTo>
                  <a:lnTo>
                    <a:pt x="87" y="25"/>
                  </a:lnTo>
                  <a:lnTo>
                    <a:pt x="87" y="23"/>
                  </a:lnTo>
                  <a:lnTo>
                    <a:pt x="86" y="23"/>
                  </a:lnTo>
                  <a:lnTo>
                    <a:pt x="86" y="25"/>
                  </a:lnTo>
                  <a:lnTo>
                    <a:pt x="86" y="26"/>
                  </a:lnTo>
                  <a:lnTo>
                    <a:pt x="85" y="26"/>
                  </a:lnTo>
                  <a:lnTo>
                    <a:pt x="85" y="28"/>
                  </a:lnTo>
                  <a:lnTo>
                    <a:pt x="83" y="28"/>
                  </a:lnTo>
                  <a:lnTo>
                    <a:pt x="83" y="27"/>
                  </a:lnTo>
                  <a:lnTo>
                    <a:pt x="82" y="27"/>
                  </a:lnTo>
                  <a:lnTo>
                    <a:pt x="82" y="26"/>
                  </a:lnTo>
                  <a:lnTo>
                    <a:pt x="81" y="26"/>
                  </a:lnTo>
                  <a:lnTo>
                    <a:pt x="81" y="27"/>
                  </a:lnTo>
                  <a:lnTo>
                    <a:pt x="81" y="28"/>
                  </a:lnTo>
                  <a:lnTo>
                    <a:pt x="82" y="29"/>
                  </a:lnTo>
                  <a:lnTo>
                    <a:pt x="81" y="31"/>
                  </a:lnTo>
                  <a:lnTo>
                    <a:pt x="81" y="32"/>
                  </a:lnTo>
                  <a:lnTo>
                    <a:pt x="81" y="33"/>
                  </a:lnTo>
                  <a:lnTo>
                    <a:pt x="82" y="33"/>
                  </a:lnTo>
                  <a:lnTo>
                    <a:pt x="82" y="34"/>
                  </a:lnTo>
                  <a:lnTo>
                    <a:pt x="83" y="34"/>
                  </a:lnTo>
                  <a:lnTo>
                    <a:pt x="82" y="34"/>
                  </a:lnTo>
                  <a:lnTo>
                    <a:pt x="82" y="35"/>
                  </a:lnTo>
                  <a:lnTo>
                    <a:pt x="82" y="37"/>
                  </a:lnTo>
                  <a:lnTo>
                    <a:pt x="83" y="37"/>
                  </a:lnTo>
                  <a:lnTo>
                    <a:pt x="83" y="38"/>
                  </a:lnTo>
                  <a:lnTo>
                    <a:pt x="85" y="38"/>
                  </a:lnTo>
                  <a:lnTo>
                    <a:pt x="86" y="38"/>
                  </a:lnTo>
                  <a:lnTo>
                    <a:pt x="87" y="38"/>
                  </a:lnTo>
                  <a:lnTo>
                    <a:pt x="87" y="39"/>
                  </a:lnTo>
                  <a:lnTo>
                    <a:pt x="86" y="39"/>
                  </a:lnTo>
                  <a:lnTo>
                    <a:pt x="85" y="39"/>
                  </a:lnTo>
                  <a:lnTo>
                    <a:pt x="83" y="39"/>
                  </a:lnTo>
                  <a:lnTo>
                    <a:pt x="83" y="40"/>
                  </a:lnTo>
                  <a:lnTo>
                    <a:pt x="85" y="41"/>
                  </a:lnTo>
                  <a:lnTo>
                    <a:pt x="86" y="43"/>
                  </a:lnTo>
                  <a:lnTo>
                    <a:pt x="87" y="43"/>
                  </a:lnTo>
                  <a:lnTo>
                    <a:pt x="90" y="43"/>
                  </a:lnTo>
                  <a:lnTo>
                    <a:pt x="91" y="43"/>
                  </a:lnTo>
                  <a:lnTo>
                    <a:pt x="91" y="41"/>
                  </a:lnTo>
                  <a:lnTo>
                    <a:pt x="91" y="43"/>
                  </a:lnTo>
                  <a:lnTo>
                    <a:pt x="92" y="43"/>
                  </a:lnTo>
                  <a:lnTo>
                    <a:pt x="93" y="44"/>
                  </a:lnTo>
                  <a:lnTo>
                    <a:pt x="93" y="43"/>
                  </a:lnTo>
                  <a:lnTo>
                    <a:pt x="94" y="43"/>
                  </a:lnTo>
                  <a:lnTo>
                    <a:pt x="94" y="41"/>
                  </a:lnTo>
                  <a:lnTo>
                    <a:pt x="93" y="40"/>
                  </a:lnTo>
                  <a:lnTo>
                    <a:pt x="94" y="40"/>
                  </a:lnTo>
                  <a:lnTo>
                    <a:pt x="94" y="41"/>
                  </a:lnTo>
                  <a:lnTo>
                    <a:pt x="96" y="41"/>
                  </a:lnTo>
                  <a:lnTo>
                    <a:pt x="96" y="43"/>
                  </a:lnTo>
                  <a:lnTo>
                    <a:pt x="97" y="43"/>
                  </a:lnTo>
                  <a:lnTo>
                    <a:pt x="97" y="44"/>
                  </a:lnTo>
                  <a:lnTo>
                    <a:pt x="98" y="44"/>
                  </a:lnTo>
                  <a:lnTo>
                    <a:pt x="97" y="44"/>
                  </a:lnTo>
                  <a:lnTo>
                    <a:pt x="97" y="45"/>
                  </a:lnTo>
                  <a:lnTo>
                    <a:pt x="96" y="45"/>
                  </a:lnTo>
                  <a:lnTo>
                    <a:pt x="96" y="46"/>
                  </a:lnTo>
                  <a:lnTo>
                    <a:pt x="96" y="45"/>
                  </a:lnTo>
                  <a:lnTo>
                    <a:pt x="94" y="45"/>
                  </a:lnTo>
                  <a:lnTo>
                    <a:pt x="94" y="46"/>
                  </a:lnTo>
                  <a:lnTo>
                    <a:pt x="93" y="46"/>
                  </a:lnTo>
                  <a:lnTo>
                    <a:pt x="92" y="46"/>
                  </a:lnTo>
                  <a:lnTo>
                    <a:pt x="92" y="47"/>
                  </a:lnTo>
                  <a:lnTo>
                    <a:pt x="93" y="47"/>
                  </a:lnTo>
                  <a:lnTo>
                    <a:pt x="93" y="49"/>
                  </a:lnTo>
                  <a:lnTo>
                    <a:pt x="94" y="49"/>
                  </a:lnTo>
                  <a:lnTo>
                    <a:pt x="94" y="47"/>
                  </a:lnTo>
                  <a:lnTo>
                    <a:pt x="96" y="47"/>
                  </a:lnTo>
                  <a:lnTo>
                    <a:pt x="94" y="47"/>
                  </a:lnTo>
                  <a:lnTo>
                    <a:pt x="96" y="47"/>
                  </a:lnTo>
                  <a:lnTo>
                    <a:pt x="96" y="46"/>
                  </a:lnTo>
                  <a:lnTo>
                    <a:pt x="97" y="45"/>
                  </a:lnTo>
                  <a:lnTo>
                    <a:pt x="98" y="46"/>
                  </a:lnTo>
                  <a:lnTo>
                    <a:pt x="97" y="46"/>
                  </a:lnTo>
                  <a:lnTo>
                    <a:pt x="97" y="47"/>
                  </a:lnTo>
                  <a:lnTo>
                    <a:pt x="98" y="47"/>
                  </a:lnTo>
                  <a:lnTo>
                    <a:pt x="98" y="49"/>
                  </a:lnTo>
                  <a:lnTo>
                    <a:pt x="97" y="49"/>
                  </a:lnTo>
                  <a:lnTo>
                    <a:pt x="96" y="49"/>
                  </a:lnTo>
                  <a:lnTo>
                    <a:pt x="96" y="50"/>
                  </a:lnTo>
                  <a:lnTo>
                    <a:pt x="94" y="50"/>
                  </a:lnTo>
                  <a:lnTo>
                    <a:pt x="94" y="51"/>
                  </a:lnTo>
                  <a:lnTo>
                    <a:pt x="93" y="51"/>
                  </a:lnTo>
                  <a:lnTo>
                    <a:pt x="93" y="50"/>
                  </a:lnTo>
                  <a:lnTo>
                    <a:pt x="92" y="50"/>
                  </a:lnTo>
                  <a:lnTo>
                    <a:pt x="91" y="50"/>
                  </a:lnTo>
                  <a:lnTo>
                    <a:pt x="91" y="52"/>
                  </a:lnTo>
                  <a:lnTo>
                    <a:pt x="91" y="51"/>
                  </a:lnTo>
                  <a:lnTo>
                    <a:pt x="90" y="51"/>
                  </a:lnTo>
                  <a:lnTo>
                    <a:pt x="90" y="52"/>
                  </a:lnTo>
                  <a:lnTo>
                    <a:pt x="88" y="52"/>
                  </a:lnTo>
                  <a:lnTo>
                    <a:pt x="87" y="52"/>
                  </a:lnTo>
                  <a:lnTo>
                    <a:pt x="87" y="53"/>
                  </a:lnTo>
                  <a:lnTo>
                    <a:pt x="86" y="53"/>
                  </a:lnTo>
                  <a:lnTo>
                    <a:pt x="86" y="52"/>
                  </a:lnTo>
                  <a:lnTo>
                    <a:pt x="85" y="53"/>
                  </a:lnTo>
                  <a:lnTo>
                    <a:pt x="83" y="53"/>
                  </a:lnTo>
                  <a:lnTo>
                    <a:pt x="82" y="53"/>
                  </a:lnTo>
                  <a:lnTo>
                    <a:pt x="82" y="55"/>
                  </a:lnTo>
                  <a:lnTo>
                    <a:pt x="82" y="57"/>
                  </a:lnTo>
                  <a:lnTo>
                    <a:pt x="82" y="58"/>
                  </a:lnTo>
                  <a:lnTo>
                    <a:pt x="81" y="58"/>
                  </a:lnTo>
                  <a:lnTo>
                    <a:pt x="81" y="57"/>
                  </a:lnTo>
                  <a:lnTo>
                    <a:pt x="80" y="57"/>
                  </a:lnTo>
                  <a:lnTo>
                    <a:pt x="80" y="56"/>
                  </a:lnTo>
                  <a:lnTo>
                    <a:pt x="80" y="55"/>
                  </a:lnTo>
                  <a:lnTo>
                    <a:pt x="79" y="55"/>
                  </a:lnTo>
                  <a:lnTo>
                    <a:pt x="79" y="56"/>
                  </a:lnTo>
                  <a:lnTo>
                    <a:pt x="77" y="57"/>
                  </a:lnTo>
                  <a:lnTo>
                    <a:pt x="76" y="57"/>
                  </a:lnTo>
                  <a:lnTo>
                    <a:pt x="76" y="56"/>
                  </a:lnTo>
                  <a:lnTo>
                    <a:pt x="76" y="55"/>
                  </a:lnTo>
                  <a:lnTo>
                    <a:pt x="75" y="53"/>
                  </a:lnTo>
                  <a:lnTo>
                    <a:pt x="75" y="55"/>
                  </a:lnTo>
                  <a:lnTo>
                    <a:pt x="74" y="55"/>
                  </a:lnTo>
                  <a:lnTo>
                    <a:pt x="74" y="53"/>
                  </a:lnTo>
                  <a:lnTo>
                    <a:pt x="73" y="53"/>
                  </a:lnTo>
                  <a:lnTo>
                    <a:pt x="71" y="53"/>
                  </a:lnTo>
                  <a:lnTo>
                    <a:pt x="71" y="55"/>
                  </a:lnTo>
                  <a:lnTo>
                    <a:pt x="73" y="56"/>
                  </a:lnTo>
                  <a:lnTo>
                    <a:pt x="73" y="57"/>
                  </a:lnTo>
                  <a:lnTo>
                    <a:pt x="73" y="58"/>
                  </a:lnTo>
                  <a:lnTo>
                    <a:pt x="74" y="58"/>
                  </a:lnTo>
                  <a:lnTo>
                    <a:pt x="74" y="59"/>
                  </a:lnTo>
                  <a:lnTo>
                    <a:pt x="75" y="61"/>
                  </a:lnTo>
                  <a:lnTo>
                    <a:pt x="74" y="61"/>
                  </a:lnTo>
                  <a:lnTo>
                    <a:pt x="74" y="62"/>
                  </a:lnTo>
                  <a:lnTo>
                    <a:pt x="73" y="62"/>
                  </a:lnTo>
                  <a:lnTo>
                    <a:pt x="73" y="61"/>
                  </a:lnTo>
                  <a:lnTo>
                    <a:pt x="73" y="59"/>
                  </a:lnTo>
                  <a:lnTo>
                    <a:pt x="71" y="59"/>
                  </a:lnTo>
                  <a:lnTo>
                    <a:pt x="71" y="61"/>
                  </a:lnTo>
                  <a:lnTo>
                    <a:pt x="70" y="61"/>
                  </a:lnTo>
                  <a:lnTo>
                    <a:pt x="71" y="61"/>
                  </a:lnTo>
                  <a:lnTo>
                    <a:pt x="70" y="62"/>
                  </a:lnTo>
                  <a:lnTo>
                    <a:pt x="70" y="63"/>
                  </a:lnTo>
                  <a:lnTo>
                    <a:pt x="71" y="63"/>
                  </a:lnTo>
                  <a:lnTo>
                    <a:pt x="71" y="64"/>
                  </a:lnTo>
                  <a:lnTo>
                    <a:pt x="71" y="65"/>
                  </a:lnTo>
                  <a:lnTo>
                    <a:pt x="73" y="65"/>
                  </a:lnTo>
                  <a:lnTo>
                    <a:pt x="73" y="67"/>
                  </a:lnTo>
                  <a:lnTo>
                    <a:pt x="74" y="67"/>
                  </a:lnTo>
                  <a:lnTo>
                    <a:pt x="74" y="65"/>
                  </a:lnTo>
                  <a:lnTo>
                    <a:pt x="74" y="67"/>
                  </a:lnTo>
                  <a:lnTo>
                    <a:pt x="74" y="68"/>
                  </a:lnTo>
                  <a:lnTo>
                    <a:pt x="73" y="68"/>
                  </a:lnTo>
                  <a:lnTo>
                    <a:pt x="73" y="67"/>
                  </a:lnTo>
                  <a:lnTo>
                    <a:pt x="71" y="68"/>
                  </a:lnTo>
                  <a:lnTo>
                    <a:pt x="70" y="68"/>
                  </a:lnTo>
                  <a:lnTo>
                    <a:pt x="70" y="69"/>
                  </a:lnTo>
                  <a:lnTo>
                    <a:pt x="69" y="69"/>
                  </a:lnTo>
                  <a:lnTo>
                    <a:pt x="69" y="68"/>
                  </a:lnTo>
                  <a:lnTo>
                    <a:pt x="68" y="68"/>
                  </a:lnTo>
                  <a:lnTo>
                    <a:pt x="67" y="68"/>
                  </a:lnTo>
                  <a:lnTo>
                    <a:pt x="65" y="69"/>
                  </a:lnTo>
                  <a:lnTo>
                    <a:pt x="67" y="69"/>
                  </a:lnTo>
                  <a:lnTo>
                    <a:pt x="67" y="70"/>
                  </a:lnTo>
                  <a:lnTo>
                    <a:pt x="65" y="70"/>
                  </a:lnTo>
                  <a:lnTo>
                    <a:pt x="65" y="71"/>
                  </a:lnTo>
                  <a:lnTo>
                    <a:pt x="64" y="71"/>
                  </a:lnTo>
                  <a:lnTo>
                    <a:pt x="63" y="71"/>
                  </a:lnTo>
                  <a:lnTo>
                    <a:pt x="62" y="71"/>
                  </a:lnTo>
                  <a:lnTo>
                    <a:pt x="63" y="71"/>
                  </a:lnTo>
                  <a:lnTo>
                    <a:pt x="63" y="73"/>
                  </a:lnTo>
                  <a:lnTo>
                    <a:pt x="63" y="74"/>
                  </a:lnTo>
                  <a:lnTo>
                    <a:pt x="62" y="75"/>
                  </a:lnTo>
                  <a:lnTo>
                    <a:pt x="62" y="74"/>
                  </a:lnTo>
                  <a:lnTo>
                    <a:pt x="61" y="74"/>
                  </a:lnTo>
                  <a:lnTo>
                    <a:pt x="59" y="73"/>
                  </a:lnTo>
                  <a:lnTo>
                    <a:pt x="58" y="73"/>
                  </a:lnTo>
                  <a:lnTo>
                    <a:pt x="57" y="73"/>
                  </a:lnTo>
                  <a:lnTo>
                    <a:pt x="57" y="74"/>
                  </a:lnTo>
                  <a:lnTo>
                    <a:pt x="57" y="75"/>
                  </a:lnTo>
                  <a:lnTo>
                    <a:pt x="57" y="74"/>
                  </a:lnTo>
                  <a:lnTo>
                    <a:pt x="56" y="74"/>
                  </a:lnTo>
                  <a:lnTo>
                    <a:pt x="55" y="74"/>
                  </a:lnTo>
                  <a:lnTo>
                    <a:pt x="55" y="75"/>
                  </a:lnTo>
                  <a:lnTo>
                    <a:pt x="53" y="75"/>
                  </a:lnTo>
                  <a:lnTo>
                    <a:pt x="53" y="74"/>
                  </a:lnTo>
                  <a:lnTo>
                    <a:pt x="52" y="74"/>
                  </a:lnTo>
                  <a:lnTo>
                    <a:pt x="52" y="75"/>
                  </a:lnTo>
                  <a:lnTo>
                    <a:pt x="52" y="76"/>
                  </a:lnTo>
                  <a:lnTo>
                    <a:pt x="53" y="76"/>
                  </a:lnTo>
                  <a:lnTo>
                    <a:pt x="52" y="77"/>
                  </a:lnTo>
                  <a:lnTo>
                    <a:pt x="53" y="77"/>
                  </a:lnTo>
                  <a:lnTo>
                    <a:pt x="55" y="77"/>
                  </a:lnTo>
                  <a:lnTo>
                    <a:pt x="55" y="79"/>
                  </a:lnTo>
                  <a:lnTo>
                    <a:pt x="55" y="80"/>
                  </a:lnTo>
                  <a:lnTo>
                    <a:pt x="53" y="80"/>
                  </a:lnTo>
                  <a:lnTo>
                    <a:pt x="53" y="79"/>
                  </a:lnTo>
                  <a:lnTo>
                    <a:pt x="52" y="79"/>
                  </a:lnTo>
                  <a:lnTo>
                    <a:pt x="51" y="79"/>
                  </a:lnTo>
                  <a:lnTo>
                    <a:pt x="51" y="77"/>
                  </a:lnTo>
                  <a:lnTo>
                    <a:pt x="51" y="76"/>
                  </a:lnTo>
                  <a:lnTo>
                    <a:pt x="50" y="76"/>
                  </a:lnTo>
                  <a:lnTo>
                    <a:pt x="50" y="77"/>
                  </a:lnTo>
                  <a:lnTo>
                    <a:pt x="50" y="76"/>
                  </a:lnTo>
                  <a:lnTo>
                    <a:pt x="49" y="76"/>
                  </a:lnTo>
                  <a:lnTo>
                    <a:pt x="49" y="75"/>
                  </a:lnTo>
                  <a:lnTo>
                    <a:pt x="49" y="76"/>
                  </a:lnTo>
                  <a:lnTo>
                    <a:pt x="47" y="76"/>
                  </a:lnTo>
                  <a:lnTo>
                    <a:pt x="49" y="76"/>
                  </a:lnTo>
                  <a:lnTo>
                    <a:pt x="49" y="79"/>
                  </a:lnTo>
                  <a:lnTo>
                    <a:pt x="47" y="79"/>
                  </a:lnTo>
                  <a:lnTo>
                    <a:pt x="46" y="79"/>
                  </a:lnTo>
                  <a:lnTo>
                    <a:pt x="46" y="77"/>
                  </a:lnTo>
                  <a:lnTo>
                    <a:pt x="45" y="79"/>
                  </a:lnTo>
                  <a:lnTo>
                    <a:pt x="46" y="79"/>
                  </a:lnTo>
                  <a:lnTo>
                    <a:pt x="46" y="80"/>
                  </a:lnTo>
                  <a:lnTo>
                    <a:pt x="46" y="81"/>
                  </a:lnTo>
                  <a:lnTo>
                    <a:pt x="47" y="81"/>
                  </a:lnTo>
                  <a:lnTo>
                    <a:pt x="49" y="81"/>
                  </a:lnTo>
                  <a:lnTo>
                    <a:pt x="47" y="82"/>
                  </a:lnTo>
                  <a:lnTo>
                    <a:pt x="49" y="82"/>
                  </a:lnTo>
                  <a:lnTo>
                    <a:pt x="49" y="81"/>
                  </a:lnTo>
                  <a:lnTo>
                    <a:pt x="50" y="81"/>
                  </a:lnTo>
                  <a:lnTo>
                    <a:pt x="49" y="82"/>
                  </a:lnTo>
                  <a:lnTo>
                    <a:pt x="50" y="82"/>
                  </a:lnTo>
                  <a:lnTo>
                    <a:pt x="51" y="83"/>
                  </a:lnTo>
                  <a:lnTo>
                    <a:pt x="52" y="83"/>
                  </a:lnTo>
                  <a:lnTo>
                    <a:pt x="53" y="83"/>
                  </a:lnTo>
                  <a:lnTo>
                    <a:pt x="53" y="85"/>
                  </a:lnTo>
                  <a:lnTo>
                    <a:pt x="55" y="85"/>
                  </a:lnTo>
                  <a:lnTo>
                    <a:pt x="55" y="86"/>
                  </a:lnTo>
                  <a:lnTo>
                    <a:pt x="56" y="86"/>
                  </a:lnTo>
                  <a:lnTo>
                    <a:pt x="57" y="87"/>
                  </a:lnTo>
                  <a:lnTo>
                    <a:pt x="58" y="87"/>
                  </a:lnTo>
                  <a:lnTo>
                    <a:pt x="58" y="88"/>
                  </a:lnTo>
                  <a:lnTo>
                    <a:pt x="59" y="88"/>
                  </a:lnTo>
                  <a:lnTo>
                    <a:pt x="57" y="88"/>
                  </a:lnTo>
                  <a:lnTo>
                    <a:pt x="56" y="88"/>
                  </a:lnTo>
                  <a:lnTo>
                    <a:pt x="55" y="89"/>
                  </a:lnTo>
                  <a:lnTo>
                    <a:pt x="53" y="91"/>
                  </a:lnTo>
                  <a:lnTo>
                    <a:pt x="53" y="89"/>
                  </a:lnTo>
                  <a:lnTo>
                    <a:pt x="52" y="89"/>
                  </a:lnTo>
                  <a:lnTo>
                    <a:pt x="52" y="91"/>
                  </a:lnTo>
                  <a:lnTo>
                    <a:pt x="51" y="91"/>
                  </a:lnTo>
                  <a:lnTo>
                    <a:pt x="51" y="89"/>
                  </a:lnTo>
                  <a:lnTo>
                    <a:pt x="50" y="89"/>
                  </a:lnTo>
                  <a:lnTo>
                    <a:pt x="50" y="88"/>
                  </a:lnTo>
                  <a:lnTo>
                    <a:pt x="49" y="88"/>
                  </a:lnTo>
                  <a:lnTo>
                    <a:pt x="49" y="89"/>
                  </a:lnTo>
                  <a:lnTo>
                    <a:pt x="49" y="91"/>
                  </a:lnTo>
                  <a:lnTo>
                    <a:pt x="47" y="91"/>
                  </a:lnTo>
                  <a:lnTo>
                    <a:pt x="46" y="91"/>
                  </a:lnTo>
                  <a:lnTo>
                    <a:pt x="45" y="91"/>
                  </a:lnTo>
                  <a:lnTo>
                    <a:pt x="44" y="91"/>
                  </a:lnTo>
                  <a:lnTo>
                    <a:pt x="43" y="91"/>
                  </a:lnTo>
                  <a:lnTo>
                    <a:pt x="43" y="92"/>
                  </a:lnTo>
                  <a:lnTo>
                    <a:pt x="43" y="91"/>
                  </a:lnTo>
                  <a:lnTo>
                    <a:pt x="41" y="91"/>
                  </a:lnTo>
                  <a:lnTo>
                    <a:pt x="41" y="92"/>
                  </a:lnTo>
                  <a:lnTo>
                    <a:pt x="40" y="92"/>
                  </a:lnTo>
                  <a:lnTo>
                    <a:pt x="40" y="91"/>
                  </a:lnTo>
                  <a:lnTo>
                    <a:pt x="39" y="91"/>
                  </a:lnTo>
                  <a:lnTo>
                    <a:pt x="38" y="91"/>
                  </a:lnTo>
                  <a:lnTo>
                    <a:pt x="39" y="91"/>
                  </a:lnTo>
                  <a:lnTo>
                    <a:pt x="39" y="92"/>
                  </a:lnTo>
                  <a:lnTo>
                    <a:pt x="39" y="93"/>
                  </a:lnTo>
                  <a:lnTo>
                    <a:pt x="39" y="94"/>
                  </a:lnTo>
                  <a:lnTo>
                    <a:pt x="38" y="94"/>
                  </a:lnTo>
                  <a:lnTo>
                    <a:pt x="37" y="95"/>
                  </a:lnTo>
                  <a:lnTo>
                    <a:pt x="38" y="95"/>
                  </a:lnTo>
                  <a:lnTo>
                    <a:pt x="39" y="97"/>
                  </a:lnTo>
                  <a:lnTo>
                    <a:pt x="40" y="98"/>
                  </a:lnTo>
                  <a:lnTo>
                    <a:pt x="40" y="99"/>
                  </a:lnTo>
                  <a:lnTo>
                    <a:pt x="39" y="99"/>
                  </a:lnTo>
                  <a:lnTo>
                    <a:pt x="40" y="99"/>
                  </a:lnTo>
                  <a:lnTo>
                    <a:pt x="39" y="100"/>
                  </a:lnTo>
                  <a:lnTo>
                    <a:pt x="38" y="100"/>
                  </a:lnTo>
                  <a:lnTo>
                    <a:pt x="37" y="99"/>
                  </a:lnTo>
                  <a:lnTo>
                    <a:pt x="37" y="98"/>
                  </a:lnTo>
                  <a:lnTo>
                    <a:pt x="35" y="99"/>
                  </a:lnTo>
                  <a:lnTo>
                    <a:pt x="35" y="98"/>
                  </a:lnTo>
                  <a:lnTo>
                    <a:pt x="35" y="97"/>
                  </a:lnTo>
                  <a:lnTo>
                    <a:pt x="34" y="97"/>
                  </a:lnTo>
                  <a:lnTo>
                    <a:pt x="33" y="97"/>
                  </a:lnTo>
                  <a:lnTo>
                    <a:pt x="32" y="97"/>
                  </a:lnTo>
                  <a:lnTo>
                    <a:pt x="32" y="95"/>
                  </a:lnTo>
                  <a:lnTo>
                    <a:pt x="31" y="97"/>
                  </a:lnTo>
                  <a:lnTo>
                    <a:pt x="31" y="98"/>
                  </a:lnTo>
                  <a:lnTo>
                    <a:pt x="32" y="98"/>
                  </a:lnTo>
                  <a:lnTo>
                    <a:pt x="32" y="99"/>
                  </a:lnTo>
                  <a:lnTo>
                    <a:pt x="33" y="100"/>
                  </a:lnTo>
                  <a:lnTo>
                    <a:pt x="35" y="100"/>
                  </a:lnTo>
                  <a:lnTo>
                    <a:pt x="35" y="101"/>
                  </a:lnTo>
                  <a:lnTo>
                    <a:pt x="35" y="103"/>
                  </a:lnTo>
                  <a:lnTo>
                    <a:pt x="37" y="103"/>
                  </a:lnTo>
                  <a:lnTo>
                    <a:pt x="38" y="104"/>
                  </a:lnTo>
                  <a:lnTo>
                    <a:pt x="38" y="105"/>
                  </a:lnTo>
                  <a:lnTo>
                    <a:pt x="39" y="105"/>
                  </a:lnTo>
                  <a:lnTo>
                    <a:pt x="39" y="106"/>
                  </a:lnTo>
                  <a:lnTo>
                    <a:pt x="40" y="106"/>
                  </a:lnTo>
                  <a:lnTo>
                    <a:pt x="40" y="105"/>
                  </a:lnTo>
                  <a:lnTo>
                    <a:pt x="41" y="105"/>
                  </a:lnTo>
                  <a:lnTo>
                    <a:pt x="43" y="105"/>
                  </a:lnTo>
                  <a:lnTo>
                    <a:pt x="44" y="106"/>
                  </a:lnTo>
                  <a:lnTo>
                    <a:pt x="43" y="106"/>
                  </a:lnTo>
                  <a:lnTo>
                    <a:pt x="41" y="107"/>
                  </a:lnTo>
                  <a:lnTo>
                    <a:pt x="41" y="109"/>
                  </a:lnTo>
                  <a:lnTo>
                    <a:pt x="40" y="109"/>
                  </a:lnTo>
                  <a:lnTo>
                    <a:pt x="40" y="110"/>
                  </a:lnTo>
                  <a:lnTo>
                    <a:pt x="39" y="110"/>
                  </a:lnTo>
                  <a:lnTo>
                    <a:pt x="38" y="110"/>
                  </a:lnTo>
                  <a:lnTo>
                    <a:pt x="37" y="110"/>
                  </a:lnTo>
                  <a:lnTo>
                    <a:pt x="35" y="110"/>
                  </a:lnTo>
                  <a:lnTo>
                    <a:pt x="35" y="111"/>
                  </a:lnTo>
                  <a:lnTo>
                    <a:pt x="37" y="111"/>
                  </a:lnTo>
                  <a:lnTo>
                    <a:pt x="37" y="112"/>
                  </a:lnTo>
                  <a:lnTo>
                    <a:pt x="35" y="112"/>
                  </a:lnTo>
                  <a:lnTo>
                    <a:pt x="37" y="113"/>
                  </a:lnTo>
                  <a:lnTo>
                    <a:pt x="38" y="116"/>
                  </a:lnTo>
                  <a:lnTo>
                    <a:pt x="37" y="117"/>
                  </a:lnTo>
                  <a:lnTo>
                    <a:pt x="37" y="118"/>
                  </a:lnTo>
                  <a:lnTo>
                    <a:pt x="37" y="119"/>
                  </a:lnTo>
                  <a:lnTo>
                    <a:pt x="37" y="121"/>
                  </a:lnTo>
                  <a:lnTo>
                    <a:pt x="35" y="119"/>
                  </a:lnTo>
                  <a:lnTo>
                    <a:pt x="35" y="121"/>
                  </a:lnTo>
                  <a:lnTo>
                    <a:pt x="35" y="122"/>
                  </a:lnTo>
                  <a:lnTo>
                    <a:pt x="33" y="122"/>
                  </a:lnTo>
                  <a:lnTo>
                    <a:pt x="32" y="122"/>
                  </a:lnTo>
                  <a:lnTo>
                    <a:pt x="31" y="122"/>
                  </a:lnTo>
                  <a:lnTo>
                    <a:pt x="31" y="121"/>
                  </a:lnTo>
                  <a:lnTo>
                    <a:pt x="31" y="122"/>
                  </a:lnTo>
                  <a:lnTo>
                    <a:pt x="29" y="122"/>
                  </a:lnTo>
                  <a:lnTo>
                    <a:pt x="28" y="122"/>
                  </a:lnTo>
                  <a:lnTo>
                    <a:pt x="27" y="123"/>
                  </a:lnTo>
                  <a:lnTo>
                    <a:pt x="26" y="123"/>
                  </a:lnTo>
                  <a:lnTo>
                    <a:pt x="25" y="123"/>
                  </a:lnTo>
                  <a:lnTo>
                    <a:pt x="23" y="123"/>
                  </a:lnTo>
                  <a:lnTo>
                    <a:pt x="23" y="122"/>
                  </a:lnTo>
                  <a:lnTo>
                    <a:pt x="23" y="123"/>
                  </a:lnTo>
                  <a:lnTo>
                    <a:pt x="23" y="124"/>
                  </a:lnTo>
                  <a:lnTo>
                    <a:pt x="25" y="125"/>
                  </a:lnTo>
                  <a:lnTo>
                    <a:pt x="25" y="127"/>
                  </a:lnTo>
                  <a:lnTo>
                    <a:pt x="23" y="127"/>
                  </a:lnTo>
                  <a:lnTo>
                    <a:pt x="22" y="127"/>
                  </a:lnTo>
                  <a:lnTo>
                    <a:pt x="21" y="127"/>
                  </a:lnTo>
                  <a:lnTo>
                    <a:pt x="20" y="127"/>
                  </a:lnTo>
                  <a:lnTo>
                    <a:pt x="18" y="127"/>
                  </a:lnTo>
                  <a:lnTo>
                    <a:pt x="16" y="127"/>
                  </a:lnTo>
                  <a:lnTo>
                    <a:pt x="16" y="128"/>
                  </a:lnTo>
                  <a:lnTo>
                    <a:pt x="17" y="128"/>
                  </a:lnTo>
                  <a:lnTo>
                    <a:pt x="17" y="129"/>
                  </a:lnTo>
                  <a:lnTo>
                    <a:pt x="20" y="130"/>
                  </a:lnTo>
                  <a:lnTo>
                    <a:pt x="21" y="130"/>
                  </a:lnTo>
                  <a:lnTo>
                    <a:pt x="21" y="132"/>
                  </a:lnTo>
                  <a:lnTo>
                    <a:pt x="22" y="132"/>
                  </a:lnTo>
                  <a:lnTo>
                    <a:pt x="22" y="133"/>
                  </a:lnTo>
                  <a:lnTo>
                    <a:pt x="23" y="134"/>
                  </a:lnTo>
                  <a:lnTo>
                    <a:pt x="25" y="134"/>
                  </a:lnTo>
                  <a:lnTo>
                    <a:pt x="26" y="133"/>
                  </a:lnTo>
                  <a:lnTo>
                    <a:pt x="26" y="134"/>
                  </a:lnTo>
                  <a:lnTo>
                    <a:pt x="27" y="133"/>
                  </a:lnTo>
                  <a:lnTo>
                    <a:pt x="27" y="134"/>
                  </a:lnTo>
                  <a:lnTo>
                    <a:pt x="28" y="133"/>
                  </a:lnTo>
                  <a:lnTo>
                    <a:pt x="29" y="134"/>
                  </a:lnTo>
                  <a:lnTo>
                    <a:pt x="31" y="133"/>
                  </a:lnTo>
                  <a:lnTo>
                    <a:pt x="31" y="132"/>
                  </a:lnTo>
                  <a:lnTo>
                    <a:pt x="32" y="132"/>
                  </a:lnTo>
                  <a:lnTo>
                    <a:pt x="33" y="132"/>
                  </a:lnTo>
                  <a:lnTo>
                    <a:pt x="33" y="130"/>
                  </a:lnTo>
                  <a:lnTo>
                    <a:pt x="33" y="129"/>
                  </a:lnTo>
                  <a:lnTo>
                    <a:pt x="34" y="129"/>
                  </a:lnTo>
                  <a:lnTo>
                    <a:pt x="34" y="130"/>
                  </a:lnTo>
                  <a:lnTo>
                    <a:pt x="33" y="132"/>
                  </a:lnTo>
                  <a:lnTo>
                    <a:pt x="33" y="133"/>
                  </a:lnTo>
                  <a:lnTo>
                    <a:pt x="34" y="134"/>
                  </a:lnTo>
                  <a:lnTo>
                    <a:pt x="34" y="135"/>
                  </a:lnTo>
                  <a:lnTo>
                    <a:pt x="35" y="134"/>
                  </a:lnTo>
                  <a:lnTo>
                    <a:pt x="37" y="134"/>
                  </a:lnTo>
                  <a:lnTo>
                    <a:pt x="37" y="133"/>
                  </a:lnTo>
                  <a:lnTo>
                    <a:pt x="37" y="132"/>
                  </a:lnTo>
                  <a:lnTo>
                    <a:pt x="38" y="132"/>
                  </a:lnTo>
                  <a:lnTo>
                    <a:pt x="39" y="130"/>
                  </a:lnTo>
                  <a:lnTo>
                    <a:pt x="39" y="132"/>
                  </a:lnTo>
                  <a:lnTo>
                    <a:pt x="40" y="132"/>
                  </a:lnTo>
                  <a:lnTo>
                    <a:pt x="41" y="130"/>
                  </a:lnTo>
                  <a:lnTo>
                    <a:pt x="43" y="130"/>
                  </a:lnTo>
                  <a:lnTo>
                    <a:pt x="44" y="130"/>
                  </a:lnTo>
                  <a:lnTo>
                    <a:pt x="45" y="130"/>
                  </a:lnTo>
                  <a:lnTo>
                    <a:pt x="46" y="132"/>
                  </a:lnTo>
                  <a:lnTo>
                    <a:pt x="47" y="132"/>
                  </a:lnTo>
                  <a:lnTo>
                    <a:pt x="49" y="130"/>
                  </a:lnTo>
                  <a:lnTo>
                    <a:pt x="50" y="130"/>
                  </a:lnTo>
                  <a:lnTo>
                    <a:pt x="50" y="132"/>
                  </a:lnTo>
                  <a:lnTo>
                    <a:pt x="51" y="132"/>
                  </a:lnTo>
                  <a:lnTo>
                    <a:pt x="52" y="133"/>
                  </a:lnTo>
                  <a:lnTo>
                    <a:pt x="53" y="132"/>
                  </a:lnTo>
                  <a:lnTo>
                    <a:pt x="55" y="132"/>
                  </a:lnTo>
                  <a:lnTo>
                    <a:pt x="53" y="130"/>
                  </a:lnTo>
                  <a:lnTo>
                    <a:pt x="55" y="129"/>
                  </a:lnTo>
                  <a:lnTo>
                    <a:pt x="55" y="130"/>
                  </a:lnTo>
                  <a:lnTo>
                    <a:pt x="56" y="130"/>
                  </a:lnTo>
                  <a:lnTo>
                    <a:pt x="57" y="130"/>
                  </a:lnTo>
                  <a:lnTo>
                    <a:pt x="58" y="130"/>
                  </a:lnTo>
                  <a:lnTo>
                    <a:pt x="58" y="132"/>
                  </a:lnTo>
                  <a:lnTo>
                    <a:pt x="58" y="133"/>
                  </a:lnTo>
                  <a:lnTo>
                    <a:pt x="57" y="133"/>
                  </a:lnTo>
                  <a:lnTo>
                    <a:pt x="57" y="132"/>
                  </a:lnTo>
                  <a:lnTo>
                    <a:pt x="57" y="133"/>
                  </a:lnTo>
                  <a:lnTo>
                    <a:pt x="56" y="133"/>
                  </a:lnTo>
                  <a:lnTo>
                    <a:pt x="56" y="134"/>
                  </a:lnTo>
                  <a:lnTo>
                    <a:pt x="56" y="133"/>
                  </a:lnTo>
                  <a:lnTo>
                    <a:pt x="56" y="134"/>
                  </a:lnTo>
                  <a:lnTo>
                    <a:pt x="56" y="135"/>
                  </a:lnTo>
                  <a:lnTo>
                    <a:pt x="56" y="136"/>
                  </a:lnTo>
                  <a:lnTo>
                    <a:pt x="55" y="135"/>
                  </a:lnTo>
                  <a:lnTo>
                    <a:pt x="55" y="136"/>
                  </a:lnTo>
                  <a:lnTo>
                    <a:pt x="56" y="136"/>
                  </a:lnTo>
                  <a:lnTo>
                    <a:pt x="56" y="138"/>
                  </a:lnTo>
                  <a:lnTo>
                    <a:pt x="55" y="138"/>
                  </a:lnTo>
                  <a:lnTo>
                    <a:pt x="53" y="138"/>
                  </a:lnTo>
                  <a:lnTo>
                    <a:pt x="52" y="138"/>
                  </a:lnTo>
                  <a:lnTo>
                    <a:pt x="51" y="139"/>
                  </a:lnTo>
                  <a:lnTo>
                    <a:pt x="50" y="140"/>
                  </a:lnTo>
                  <a:lnTo>
                    <a:pt x="50" y="141"/>
                  </a:lnTo>
                  <a:lnTo>
                    <a:pt x="49" y="141"/>
                  </a:lnTo>
                  <a:lnTo>
                    <a:pt x="47" y="142"/>
                  </a:lnTo>
                  <a:lnTo>
                    <a:pt x="47" y="144"/>
                  </a:lnTo>
                  <a:lnTo>
                    <a:pt x="46" y="144"/>
                  </a:lnTo>
                  <a:lnTo>
                    <a:pt x="45" y="145"/>
                  </a:lnTo>
                  <a:lnTo>
                    <a:pt x="44" y="146"/>
                  </a:lnTo>
                  <a:lnTo>
                    <a:pt x="44" y="145"/>
                  </a:lnTo>
                  <a:lnTo>
                    <a:pt x="43" y="146"/>
                  </a:lnTo>
                  <a:lnTo>
                    <a:pt x="41" y="146"/>
                  </a:lnTo>
                  <a:lnTo>
                    <a:pt x="41" y="147"/>
                  </a:lnTo>
                  <a:lnTo>
                    <a:pt x="40" y="147"/>
                  </a:lnTo>
                  <a:lnTo>
                    <a:pt x="39" y="147"/>
                  </a:lnTo>
                  <a:lnTo>
                    <a:pt x="38" y="147"/>
                  </a:lnTo>
                  <a:lnTo>
                    <a:pt x="38" y="148"/>
                  </a:lnTo>
                  <a:lnTo>
                    <a:pt x="37" y="148"/>
                  </a:lnTo>
                  <a:lnTo>
                    <a:pt x="37" y="150"/>
                  </a:lnTo>
                  <a:lnTo>
                    <a:pt x="37" y="151"/>
                  </a:lnTo>
                  <a:lnTo>
                    <a:pt x="37" y="152"/>
                  </a:lnTo>
                  <a:lnTo>
                    <a:pt x="35" y="152"/>
                  </a:lnTo>
                  <a:lnTo>
                    <a:pt x="37" y="152"/>
                  </a:lnTo>
                  <a:lnTo>
                    <a:pt x="35" y="152"/>
                  </a:lnTo>
                  <a:lnTo>
                    <a:pt x="34" y="153"/>
                  </a:lnTo>
                  <a:lnTo>
                    <a:pt x="33" y="153"/>
                  </a:lnTo>
                  <a:lnTo>
                    <a:pt x="31" y="153"/>
                  </a:lnTo>
                  <a:lnTo>
                    <a:pt x="31" y="154"/>
                  </a:lnTo>
                  <a:lnTo>
                    <a:pt x="28" y="154"/>
                  </a:lnTo>
                  <a:lnTo>
                    <a:pt x="27" y="153"/>
                  </a:lnTo>
                  <a:lnTo>
                    <a:pt x="27" y="154"/>
                  </a:lnTo>
                  <a:lnTo>
                    <a:pt x="26" y="154"/>
                  </a:lnTo>
                  <a:lnTo>
                    <a:pt x="25" y="154"/>
                  </a:lnTo>
                  <a:lnTo>
                    <a:pt x="26" y="157"/>
                  </a:lnTo>
                  <a:lnTo>
                    <a:pt x="27" y="157"/>
                  </a:lnTo>
                  <a:lnTo>
                    <a:pt x="26" y="158"/>
                  </a:lnTo>
                  <a:lnTo>
                    <a:pt x="25" y="158"/>
                  </a:lnTo>
                  <a:lnTo>
                    <a:pt x="25" y="159"/>
                  </a:lnTo>
                  <a:lnTo>
                    <a:pt x="23" y="159"/>
                  </a:lnTo>
                  <a:lnTo>
                    <a:pt x="22" y="159"/>
                  </a:lnTo>
                  <a:lnTo>
                    <a:pt x="23" y="160"/>
                  </a:lnTo>
                  <a:lnTo>
                    <a:pt x="22" y="162"/>
                  </a:lnTo>
                  <a:lnTo>
                    <a:pt x="21" y="162"/>
                  </a:lnTo>
                  <a:lnTo>
                    <a:pt x="20" y="162"/>
                  </a:lnTo>
                  <a:lnTo>
                    <a:pt x="18" y="162"/>
                  </a:lnTo>
                  <a:lnTo>
                    <a:pt x="17" y="162"/>
                  </a:lnTo>
                  <a:lnTo>
                    <a:pt x="16" y="162"/>
                  </a:lnTo>
                  <a:lnTo>
                    <a:pt x="17" y="164"/>
                  </a:lnTo>
                  <a:lnTo>
                    <a:pt x="17" y="165"/>
                  </a:lnTo>
                  <a:lnTo>
                    <a:pt x="18" y="165"/>
                  </a:lnTo>
                  <a:lnTo>
                    <a:pt x="20" y="165"/>
                  </a:lnTo>
                  <a:lnTo>
                    <a:pt x="21" y="166"/>
                  </a:lnTo>
                  <a:lnTo>
                    <a:pt x="20" y="166"/>
                  </a:lnTo>
                  <a:lnTo>
                    <a:pt x="18" y="166"/>
                  </a:lnTo>
                  <a:lnTo>
                    <a:pt x="17" y="168"/>
                  </a:lnTo>
                  <a:lnTo>
                    <a:pt x="17" y="170"/>
                  </a:lnTo>
                  <a:lnTo>
                    <a:pt x="18" y="171"/>
                  </a:lnTo>
                  <a:lnTo>
                    <a:pt x="18" y="172"/>
                  </a:lnTo>
                  <a:lnTo>
                    <a:pt x="18" y="174"/>
                  </a:lnTo>
                  <a:lnTo>
                    <a:pt x="17" y="175"/>
                  </a:lnTo>
                  <a:lnTo>
                    <a:pt x="17" y="176"/>
                  </a:lnTo>
                  <a:lnTo>
                    <a:pt x="18" y="177"/>
                  </a:lnTo>
                  <a:lnTo>
                    <a:pt x="20" y="177"/>
                  </a:lnTo>
                  <a:lnTo>
                    <a:pt x="18" y="178"/>
                  </a:lnTo>
                  <a:lnTo>
                    <a:pt x="18" y="180"/>
                  </a:lnTo>
                  <a:lnTo>
                    <a:pt x="17" y="181"/>
                  </a:lnTo>
                  <a:lnTo>
                    <a:pt x="17" y="180"/>
                  </a:lnTo>
                  <a:lnTo>
                    <a:pt x="16" y="180"/>
                  </a:lnTo>
                  <a:lnTo>
                    <a:pt x="16" y="181"/>
                  </a:lnTo>
                  <a:lnTo>
                    <a:pt x="15" y="181"/>
                  </a:lnTo>
                  <a:lnTo>
                    <a:pt x="16" y="181"/>
                  </a:lnTo>
                  <a:lnTo>
                    <a:pt x="16" y="182"/>
                  </a:lnTo>
                  <a:lnTo>
                    <a:pt x="17" y="182"/>
                  </a:lnTo>
                  <a:lnTo>
                    <a:pt x="18" y="182"/>
                  </a:lnTo>
                  <a:lnTo>
                    <a:pt x="20" y="182"/>
                  </a:lnTo>
                  <a:lnTo>
                    <a:pt x="21" y="182"/>
                  </a:lnTo>
                  <a:lnTo>
                    <a:pt x="21" y="181"/>
                  </a:lnTo>
                  <a:lnTo>
                    <a:pt x="25" y="181"/>
                  </a:lnTo>
                  <a:lnTo>
                    <a:pt x="25" y="180"/>
                  </a:lnTo>
                  <a:lnTo>
                    <a:pt x="26" y="178"/>
                  </a:lnTo>
                  <a:lnTo>
                    <a:pt x="27" y="177"/>
                  </a:lnTo>
                  <a:lnTo>
                    <a:pt x="27" y="176"/>
                  </a:lnTo>
                  <a:lnTo>
                    <a:pt x="27" y="175"/>
                  </a:lnTo>
                  <a:lnTo>
                    <a:pt x="28" y="174"/>
                  </a:lnTo>
                  <a:lnTo>
                    <a:pt x="28" y="172"/>
                  </a:lnTo>
                  <a:lnTo>
                    <a:pt x="29" y="171"/>
                  </a:lnTo>
                  <a:lnTo>
                    <a:pt x="31" y="172"/>
                  </a:lnTo>
                  <a:lnTo>
                    <a:pt x="32" y="172"/>
                  </a:lnTo>
                  <a:lnTo>
                    <a:pt x="33" y="171"/>
                  </a:lnTo>
                  <a:lnTo>
                    <a:pt x="33" y="172"/>
                  </a:lnTo>
                  <a:lnTo>
                    <a:pt x="34" y="172"/>
                  </a:lnTo>
                  <a:lnTo>
                    <a:pt x="35" y="174"/>
                  </a:lnTo>
                  <a:lnTo>
                    <a:pt x="37" y="172"/>
                  </a:lnTo>
                  <a:lnTo>
                    <a:pt x="37" y="171"/>
                  </a:lnTo>
                  <a:lnTo>
                    <a:pt x="35" y="170"/>
                  </a:lnTo>
                  <a:lnTo>
                    <a:pt x="34" y="170"/>
                  </a:lnTo>
                  <a:lnTo>
                    <a:pt x="34" y="169"/>
                  </a:lnTo>
                  <a:lnTo>
                    <a:pt x="34" y="168"/>
                  </a:lnTo>
                  <a:lnTo>
                    <a:pt x="33" y="168"/>
                  </a:lnTo>
                  <a:lnTo>
                    <a:pt x="32" y="168"/>
                  </a:lnTo>
                  <a:lnTo>
                    <a:pt x="32" y="166"/>
                  </a:lnTo>
                  <a:lnTo>
                    <a:pt x="33" y="166"/>
                  </a:lnTo>
                  <a:lnTo>
                    <a:pt x="34" y="166"/>
                  </a:lnTo>
                  <a:lnTo>
                    <a:pt x="35" y="166"/>
                  </a:lnTo>
                  <a:lnTo>
                    <a:pt x="37" y="166"/>
                  </a:lnTo>
                  <a:lnTo>
                    <a:pt x="38" y="165"/>
                  </a:lnTo>
                  <a:lnTo>
                    <a:pt x="39" y="165"/>
                  </a:lnTo>
                  <a:lnTo>
                    <a:pt x="38" y="164"/>
                  </a:lnTo>
                  <a:lnTo>
                    <a:pt x="39" y="164"/>
                  </a:lnTo>
                  <a:lnTo>
                    <a:pt x="40" y="164"/>
                  </a:lnTo>
                  <a:lnTo>
                    <a:pt x="39" y="163"/>
                  </a:lnTo>
                  <a:lnTo>
                    <a:pt x="40" y="163"/>
                  </a:lnTo>
                  <a:lnTo>
                    <a:pt x="41" y="163"/>
                  </a:lnTo>
                  <a:lnTo>
                    <a:pt x="43" y="163"/>
                  </a:lnTo>
                  <a:lnTo>
                    <a:pt x="43" y="164"/>
                  </a:lnTo>
                  <a:lnTo>
                    <a:pt x="44" y="163"/>
                  </a:lnTo>
                  <a:lnTo>
                    <a:pt x="44" y="162"/>
                  </a:lnTo>
                  <a:lnTo>
                    <a:pt x="45" y="162"/>
                  </a:lnTo>
                  <a:lnTo>
                    <a:pt x="46" y="162"/>
                  </a:lnTo>
                  <a:lnTo>
                    <a:pt x="45" y="160"/>
                  </a:lnTo>
                  <a:lnTo>
                    <a:pt x="46" y="160"/>
                  </a:lnTo>
                  <a:lnTo>
                    <a:pt x="47" y="160"/>
                  </a:lnTo>
                  <a:lnTo>
                    <a:pt x="49" y="160"/>
                  </a:lnTo>
                  <a:lnTo>
                    <a:pt x="49" y="159"/>
                  </a:lnTo>
                  <a:lnTo>
                    <a:pt x="50" y="159"/>
                  </a:lnTo>
                  <a:lnTo>
                    <a:pt x="51" y="159"/>
                  </a:lnTo>
                  <a:lnTo>
                    <a:pt x="51" y="158"/>
                  </a:lnTo>
                  <a:lnTo>
                    <a:pt x="51" y="157"/>
                  </a:lnTo>
                  <a:lnTo>
                    <a:pt x="51" y="156"/>
                  </a:lnTo>
                  <a:lnTo>
                    <a:pt x="52" y="154"/>
                  </a:lnTo>
                  <a:lnTo>
                    <a:pt x="53" y="153"/>
                  </a:lnTo>
                  <a:lnTo>
                    <a:pt x="53" y="154"/>
                  </a:lnTo>
                  <a:lnTo>
                    <a:pt x="53" y="156"/>
                  </a:lnTo>
                  <a:lnTo>
                    <a:pt x="55" y="156"/>
                  </a:lnTo>
                  <a:lnTo>
                    <a:pt x="55" y="158"/>
                  </a:lnTo>
                  <a:lnTo>
                    <a:pt x="55" y="157"/>
                  </a:lnTo>
                  <a:lnTo>
                    <a:pt x="53" y="157"/>
                  </a:lnTo>
                  <a:lnTo>
                    <a:pt x="52" y="158"/>
                  </a:lnTo>
                  <a:lnTo>
                    <a:pt x="52" y="159"/>
                  </a:lnTo>
                  <a:lnTo>
                    <a:pt x="52" y="160"/>
                  </a:lnTo>
                  <a:lnTo>
                    <a:pt x="51" y="160"/>
                  </a:lnTo>
                  <a:lnTo>
                    <a:pt x="51" y="162"/>
                  </a:lnTo>
                  <a:lnTo>
                    <a:pt x="52" y="162"/>
                  </a:lnTo>
                  <a:lnTo>
                    <a:pt x="53" y="162"/>
                  </a:lnTo>
                  <a:lnTo>
                    <a:pt x="55" y="160"/>
                  </a:lnTo>
                  <a:lnTo>
                    <a:pt x="56" y="160"/>
                  </a:lnTo>
                  <a:lnTo>
                    <a:pt x="56" y="159"/>
                  </a:lnTo>
                  <a:lnTo>
                    <a:pt x="57" y="159"/>
                  </a:lnTo>
                  <a:lnTo>
                    <a:pt x="58" y="159"/>
                  </a:lnTo>
                  <a:lnTo>
                    <a:pt x="59" y="159"/>
                  </a:lnTo>
                  <a:lnTo>
                    <a:pt x="59" y="158"/>
                  </a:lnTo>
                  <a:lnTo>
                    <a:pt x="61" y="158"/>
                  </a:lnTo>
                  <a:lnTo>
                    <a:pt x="62" y="158"/>
                  </a:lnTo>
                  <a:lnTo>
                    <a:pt x="63" y="158"/>
                  </a:lnTo>
                  <a:lnTo>
                    <a:pt x="65" y="158"/>
                  </a:lnTo>
                  <a:lnTo>
                    <a:pt x="67" y="157"/>
                  </a:lnTo>
                  <a:lnTo>
                    <a:pt x="65" y="157"/>
                  </a:lnTo>
                  <a:lnTo>
                    <a:pt x="67" y="156"/>
                  </a:lnTo>
                  <a:lnTo>
                    <a:pt x="68" y="156"/>
                  </a:lnTo>
                  <a:lnTo>
                    <a:pt x="70" y="154"/>
                  </a:lnTo>
                  <a:lnTo>
                    <a:pt x="69" y="152"/>
                  </a:lnTo>
                  <a:lnTo>
                    <a:pt x="69" y="151"/>
                  </a:lnTo>
                  <a:lnTo>
                    <a:pt x="68" y="151"/>
                  </a:lnTo>
                  <a:lnTo>
                    <a:pt x="69" y="150"/>
                  </a:lnTo>
                  <a:lnTo>
                    <a:pt x="69" y="151"/>
                  </a:lnTo>
                  <a:lnTo>
                    <a:pt x="69" y="152"/>
                  </a:lnTo>
                  <a:lnTo>
                    <a:pt x="70" y="153"/>
                  </a:lnTo>
                  <a:lnTo>
                    <a:pt x="71" y="152"/>
                  </a:lnTo>
                  <a:lnTo>
                    <a:pt x="73" y="152"/>
                  </a:lnTo>
                  <a:lnTo>
                    <a:pt x="74" y="152"/>
                  </a:lnTo>
                  <a:lnTo>
                    <a:pt x="75" y="153"/>
                  </a:lnTo>
                  <a:lnTo>
                    <a:pt x="76" y="153"/>
                  </a:lnTo>
                  <a:lnTo>
                    <a:pt x="77" y="153"/>
                  </a:lnTo>
                  <a:lnTo>
                    <a:pt x="77" y="154"/>
                  </a:lnTo>
                  <a:lnTo>
                    <a:pt x="77" y="157"/>
                  </a:lnTo>
                  <a:lnTo>
                    <a:pt x="77" y="156"/>
                  </a:lnTo>
                  <a:lnTo>
                    <a:pt x="76" y="156"/>
                  </a:lnTo>
                  <a:lnTo>
                    <a:pt x="75" y="157"/>
                  </a:lnTo>
                  <a:lnTo>
                    <a:pt x="75" y="156"/>
                  </a:lnTo>
                  <a:lnTo>
                    <a:pt x="74" y="156"/>
                  </a:lnTo>
                  <a:lnTo>
                    <a:pt x="73" y="156"/>
                  </a:lnTo>
                  <a:lnTo>
                    <a:pt x="73" y="157"/>
                  </a:lnTo>
                  <a:lnTo>
                    <a:pt x="74" y="157"/>
                  </a:lnTo>
                  <a:lnTo>
                    <a:pt x="74" y="158"/>
                  </a:lnTo>
                  <a:lnTo>
                    <a:pt x="73" y="158"/>
                  </a:lnTo>
                  <a:lnTo>
                    <a:pt x="73" y="159"/>
                  </a:lnTo>
                  <a:lnTo>
                    <a:pt x="74" y="158"/>
                  </a:lnTo>
                  <a:lnTo>
                    <a:pt x="75" y="158"/>
                  </a:lnTo>
                  <a:lnTo>
                    <a:pt x="76" y="158"/>
                  </a:lnTo>
                  <a:lnTo>
                    <a:pt x="75" y="159"/>
                  </a:lnTo>
                  <a:lnTo>
                    <a:pt x="74" y="159"/>
                  </a:lnTo>
                  <a:lnTo>
                    <a:pt x="74" y="160"/>
                  </a:lnTo>
                  <a:lnTo>
                    <a:pt x="73" y="160"/>
                  </a:lnTo>
                  <a:lnTo>
                    <a:pt x="71" y="160"/>
                  </a:lnTo>
                  <a:lnTo>
                    <a:pt x="70" y="159"/>
                  </a:lnTo>
                  <a:lnTo>
                    <a:pt x="69" y="159"/>
                  </a:lnTo>
                  <a:lnTo>
                    <a:pt x="68" y="159"/>
                  </a:lnTo>
                  <a:lnTo>
                    <a:pt x="68" y="160"/>
                  </a:lnTo>
                  <a:lnTo>
                    <a:pt x="68" y="162"/>
                  </a:lnTo>
                  <a:lnTo>
                    <a:pt x="67" y="163"/>
                  </a:lnTo>
                  <a:lnTo>
                    <a:pt x="67" y="164"/>
                  </a:lnTo>
                  <a:lnTo>
                    <a:pt x="67" y="165"/>
                  </a:lnTo>
                  <a:lnTo>
                    <a:pt x="65" y="165"/>
                  </a:lnTo>
                  <a:lnTo>
                    <a:pt x="64" y="166"/>
                  </a:lnTo>
                  <a:lnTo>
                    <a:pt x="65" y="166"/>
                  </a:lnTo>
                  <a:lnTo>
                    <a:pt x="64" y="166"/>
                  </a:lnTo>
                  <a:lnTo>
                    <a:pt x="62" y="166"/>
                  </a:lnTo>
                  <a:lnTo>
                    <a:pt x="62" y="168"/>
                  </a:lnTo>
                  <a:lnTo>
                    <a:pt x="61" y="168"/>
                  </a:lnTo>
                  <a:lnTo>
                    <a:pt x="58" y="169"/>
                  </a:lnTo>
                  <a:lnTo>
                    <a:pt x="57" y="168"/>
                  </a:lnTo>
                  <a:lnTo>
                    <a:pt x="56" y="168"/>
                  </a:lnTo>
                  <a:lnTo>
                    <a:pt x="55" y="168"/>
                  </a:lnTo>
                  <a:lnTo>
                    <a:pt x="53" y="168"/>
                  </a:lnTo>
                  <a:lnTo>
                    <a:pt x="53" y="166"/>
                  </a:lnTo>
                  <a:lnTo>
                    <a:pt x="52" y="166"/>
                  </a:lnTo>
                  <a:lnTo>
                    <a:pt x="51" y="168"/>
                  </a:lnTo>
                  <a:lnTo>
                    <a:pt x="50" y="168"/>
                  </a:lnTo>
                  <a:lnTo>
                    <a:pt x="49" y="169"/>
                  </a:lnTo>
                  <a:lnTo>
                    <a:pt x="47" y="170"/>
                  </a:lnTo>
                  <a:lnTo>
                    <a:pt x="46" y="170"/>
                  </a:lnTo>
                  <a:lnTo>
                    <a:pt x="47" y="170"/>
                  </a:lnTo>
                  <a:lnTo>
                    <a:pt x="46" y="171"/>
                  </a:lnTo>
                  <a:lnTo>
                    <a:pt x="47" y="172"/>
                  </a:lnTo>
                  <a:lnTo>
                    <a:pt x="46" y="172"/>
                  </a:lnTo>
                  <a:lnTo>
                    <a:pt x="46" y="174"/>
                  </a:lnTo>
                  <a:lnTo>
                    <a:pt x="47" y="174"/>
                  </a:lnTo>
                  <a:lnTo>
                    <a:pt x="49" y="175"/>
                  </a:lnTo>
                  <a:lnTo>
                    <a:pt x="47" y="175"/>
                  </a:lnTo>
                  <a:lnTo>
                    <a:pt x="46" y="174"/>
                  </a:lnTo>
                  <a:lnTo>
                    <a:pt x="45" y="174"/>
                  </a:lnTo>
                  <a:lnTo>
                    <a:pt x="44" y="172"/>
                  </a:lnTo>
                  <a:lnTo>
                    <a:pt x="44" y="174"/>
                  </a:lnTo>
                  <a:lnTo>
                    <a:pt x="43" y="174"/>
                  </a:lnTo>
                  <a:lnTo>
                    <a:pt x="43" y="175"/>
                  </a:lnTo>
                  <a:lnTo>
                    <a:pt x="43" y="176"/>
                  </a:lnTo>
                  <a:lnTo>
                    <a:pt x="41" y="176"/>
                  </a:lnTo>
                  <a:lnTo>
                    <a:pt x="40" y="178"/>
                  </a:lnTo>
                  <a:lnTo>
                    <a:pt x="39" y="178"/>
                  </a:lnTo>
                  <a:lnTo>
                    <a:pt x="38" y="178"/>
                  </a:lnTo>
                  <a:lnTo>
                    <a:pt x="37" y="177"/>
                  </a:lnTo>
                  <a:lnTo>
                    <a:pt x="37" y="178"/>
                  </a:lnTo>
                  <a:lnTo>
                    <a:pt x="35" y="178"/>
                  </a:lnTo>
                  <a:lnTo>
                    <a:pt x="34" y="178"/>
                  </a:lnTo>
                  <a:lnTo>
                    <a:pt x="34" y="180"/>
                  </a:lnTo>
                  <a:lnTo>
                    <a:pt x="35" y="180"/>
                  </a:lnTo>
                  <a:lnTo>
                    <a:pt x="34" y="181"/>
                  </a:lnTo>
                  <a:lnTo>
                    <a:pt x="35" y="182"/>
                  </a:lnTo>
                  <a:lnTo>
                    <a:pt x="34" y="182"/>
                  </a:lnTo>
                  <a:lnTo>
                    <a:pt x="34" y="183"/>
                  </a:lnTo>
                  <a:lnTo>
                    <a:pt x="34" y="184"/>
                  </a:lnTo>
                  <a:lnTo>
                    <a:pt x="34" y="186"/>
                  </a:lnTo>
                  <a:lnTo>
                    <a:pt x="35" y="186"/>
                  </a:lnTo>
                  <a:lnTo>
                    <a:pt x="34" y="187"/>
                  </a:lnTo>
                  <a:lnTo>
                    <a:pt x="34" y="188"/>
                  </a:lnTo>
                  <a:lnTo>
                    <a:pt x="33" y="188"/>
                  </a:lnTo>
                  <a:lnTo>
                    <a:pt x="33" y="187"/>
                  </a:lnTo>
                  <a:lnTo>
                    <a:pt x="32" y="187"/>
                  </a:lnTo>
                  <a:lnTo>
                    <a:pt x="32" y="188"/>
                  </a:lnTo>
                  <a:lnTo>
                    <a:pt x="31" y="188"/>
                  </a:lnTo>
                  <a:lnTo>
                    <a:pt x="29" y="188"/>
                  </a:lnTo>
                  <a:lnTo>
                    <a:pt x="28" y="189"/>
                  </a:lnTo>
                  <a:lnTo>
                    <a:pt x="28" y="190"/>
                  </a:lnTo>
                  <a:lnTo>
                    <a:pt x="27" y="189"/>
                  </a:lnTo>
                  <a:lnTo>
                    <a:pt x="26" y="190"/>
                  </a:lnTo>
                  <a:lnTo>
                    <a:pt x="25" y="190"/>
                  </a:lnTo>
                  <a:lnTo>
                    <a:pt x="25" y="192"/>
                  </a:lnTo>
                  <a:lnTo>
                    <a:pt x="26" y="193"/>
                  </a:lnTo>
                  <a:lnTo>
                    <a:pt x="25" y="194"/>
                  </a:lnTo>
                  <a:lnTo>
                    <a:pt x="23" y="194"/>
                  </a:lnTo>
                  <a:lnTo>
                    <a:pt x="23" y="195"/>
                  </a:lnTo>
                  <a:lnTo>
                    <a:pt x="21" y="195"/>
                  </a:lnTo>
                  <a:lnTo>
                    <a:pt x="21" y="196"/>
                  </a:lnTo>
                  <a:lnTo>
                    <a:pt x="20" y="198"/>
                  </a:lnTo>
                  <a:lnTo>
                    <a:pt x="18" y="198"/>
                  </a:lnTo>
                  <a:lnTo>
                    <a:pt x="18" y="199"/>
                  </a:lnTo>
                  <a:lnTo>
                    <a:pt x="18" y="200"/>
                  </a:lnTo>
                  <a:lnTo>
                    <a:pt x="18" y="201"/>
                  </a:lnTo>
                  <a:lnTo>
                    <a:pt x="17" y="201"/>
                  </a:lnTo>
                  <a:lnTo>
                    <a:pt x="18" y="202"/>
                  </a:lnTo>
                  <a:lnTo>
                    <a:pt x="17" y="204"/>
                  </a:lnTo>
                  <a:lnTo>
                    <a:pt x="17" y="205"/>
                  </a:lnTo>
                  <a:lnTo>
                    <a:pt x="16" y="205"/>
                  </a:lnTo>
                  <a:lnTo>
                    <a:pt x="17" y="206"/>
                  </a:lnTo>
                  <a:lnTo>
                    <a:pt x="17" y="207"/>
                  </a:lnTo>
                  <a:lnTo>
                    <a:pt x="17" y="208"/>
                  </a:lnTo>
                  <a:lnTo>
                    <a:pt x="17" y="207"/>
                  </a:lnTo>
                  <a:lnTo>
                    <a:pt x="16" y="207"/>
                  </a:lnTo>
                  <a:lnTo>
                    <a:pt x="15" y="210"/>
                  </a:lnTo>
                  <a:lnTo>
                    <a:pt x="14" y="211"/>
                  </a:lnTo>
                  <a:lnTo>
                    <a:pt x="12" y="211"/>
                  </a:lnTo>
                  <a:lnTo>
                    <a:pt x="11" y="211"/>
                  </a:lnTo>
                  <a:lnTo>
                    <a:pt x="12" y="212"/>
                  </a:lnTo>
                  <a:lnTo>
                    <a:pt x="12" y="213"/>
                  </a:lnTo>
                  <a:lnTo>
                    <a:pt x="11" y="213"/>
                  </a:lnTo>
                  <a:lnTo>
                    <a:pt x="10" y="213"/>
                  </a:lnTo>
                  <a:lnTo>
                    <a:pt x="10" y="214"/>
                  </a:lnTo>
                  <a:lnTo>
                    <a:pt x="10" y="216"/>
                  </a:lnTo>
                  <a:lnTo>
                    <a:pt x="9" y="217"/>
                  </a:lnTo>
                  <a:lnTo>
                    <a:pt x="8" y="217"/>
                  </a:lnTo>
                  <a:lnTo>
                    <a:pt x="8" y="218"/>
                  </a:lnTo>
                  <a:lnTo>
                    <a:pt x="8" y="219"/>
                  </a:lnTo>
                  <a:lnTo>
                    <a:pt x="6" y="219"/>
                  </a:lnTo>
                  <a:lnTo>
                    <a:pt x="6" y="220"/>
                  </a:lnTo>
                  <a:lnTo>
                    <a:pt x="6" y="219"/>
                  </a:lnTo>
                  <a:lnTo>
                    <a:pt x="5" y="220"/>
                  </a:lnTo>
                  <a:lnTo>
                    <a:pt x="4" y="219"/>
                  </a:lnTo>
                  <a:lnTo>
                    <a:pt x="3" y="220"/>
                  </a:lnTo>
                  <a:lnTo>
                    <a:pt x="3" y="219"/>
                  </a:lnTo>
                  <a:lnTo>
                    <a:pt x="0" y="219"/>
                  </a:lnTo>
                  <a:lnTo>
                    <a:pt x="0" y="220"/>
                  </a:lnTo>
                  <a:lnTo>
                    <a:pt x="2" y="222"/>
                  </a:lnTo>
                  <a:lnTo>
                    <a:pt x="2" y="223"/>
                  </a:lnTo>
                  <a:lnTo>
                    <a:pt x="3" y="223"/>
                  </a:lnTo>
                  <a:lnTo>
                    <a:pt x="4" y="223"/>
                  </a:lnTo>
                  <a:lnTo>
                    <a:pt x="5" y="223"/>
                  </a:lnTo>
                  <a:lnTo>
                    <a:pt x="5" y="224"/>
                  </a:lnTo>
                  <a:lnTo>
                    <a:pt x="6" y="226"/>
                  </a:lnTo>
                  <a:lnTo>
                    <a:pt x="6" y="228"/>
                  </a:lnTo>
                  <a:lnTo>
                    <a:pt x="6" y="229"/>
                  </a:lnTo>
                  <a:lnTo>
                    <a:pt x="8" y="229"/>
                  </a:lnTo>
                  <a:lnTo>
                    <a:pt x="5" y="230"/>
                  </a:lnTo>
                  <a:lnTo>
                    <a:pt x="5" y="231"/>
                  </a:lnTo>
                  <a:lnTo>
                    <a:pt x="4" y="230"/>
                  </a:lnTo>
                  <a:lnTo>
                    <a:pt x="4" y="231"/>
                  </a:lnTo>
                  <a:lnTo>
                    <a:pt x="4" y="232"/>
                  </a:lnTo>
                  <a:lnTo>
                    <a:pt x="5" y="232"/>
                  </a:lnTo>
                  <a:lnTo>
                    <a:pt x="6" y="232"/>
                  </a:lnTo>
                  <a:lnTo>
                    <a:pt x="8" y="232"/>
                  </a:lnTo>
                  <a:lnTo>
                    <a:pt x="9" y="231"/>
                  </a:lnTo>
                  <a:lnTo>
                    <a:pt x="9" y="230"/>
                  </a:lnTo>
                  <a:lnTo>
                    <a:pt x="10" y="229"/>
                  </a:lnTo>
                  <a:lnTo>
                    <a:pt x="11" y="229"/>
                  </a:lnTo>
                  <a:lnTo>
                    <a:pt x="11" y="228"/>
                  </a:lnTo>
                  <a:lnTo>
                    <a:pt x="11" y="226"/>
                  </a:lnTo>
                  <a:lnTo>
                    <a:pt x="12" y="226"/>
                  </a:lnTo>
                  <a:lnTo>
                    <a:pt x="14" y="226"/>
                  </a:lnTo>
                  <a:lnTo>
                    <a:pt x="15" y="226"/>
                  </a:lnTo>
                  <a:lnTo>
                    <a:pt x="16" y="226"/>
                  </a:lnTo>
                  <a:lnTo>
                    <a:pt x="18" y="226"/>
                  </a:lnTo>
                  <a:lnTo>
                    <a:pt x="17" y="225"/>
                  </a:lnTo>
                  <a:lnTo>
                    <a:pt x="17" y="224"/>
                  </a:lnTo>
                  <a:lnTo>
                    <a:pt x="18" y="225"/>
                  </a:lnTo>
                  <a:lnTo>
                    <a:pt x="20" y="225"/>
                  </a:lnTo>
                  <a:lnTo>
                    <a:pt x="21" y="226"/>
                  </a:lnTo>
                  <a:lnTo>
                    <a:pt x="21" y="228"/>
                  </a:lnTo>
                  <a:lnTo>
                    <a:pt x="21" y="229"/>
                  </a:lnTo>
                  <a:lnTo>
                    <a:pt x="21" y="230"/>
                  </a:lnTo>
                  <a:lnTo>
                    <a:pt x="22" y="230"/>
                  </a:lnTo>
                  <a:lnTo>
                    <a:pt x="22" y="231"/>
                  </a:lnTo>
                  <a:lnTo>
                    <a:pt x="22" y="230"/>
                  </a:lnTo>
                  <a:lnTo>
                    <a:pt x="23" y="231"/>
                  </a:lnTo>
                  <a:lnTo>
                    <a:pt x="25" y="231"/>
                  </a:lnTo>
                  <a:lnTo>
                    <a:pt x="25" y="230"/>
                  </a:lnTo>
                  <a:lnTo>
                    <a:pt x="25" y="229"/>
                  </a:lnTo>
                  <a:lnTo>
                    <a:pt x="26" y="228"/>
                  </a:lnTo>
                  <a:lnTo>
                    <a:pt x="26" y="226"/>
                  </a:lnTo>
                  <a:lnTo>
                    <a:pt x="27" y="226"/>
                  </a:lnTo>
                  <a:lnTo>
                    <a:pt x="28" y="226"/>
                  </a:lnTo>
                  <a:lnTo>
                    <a:pt x="29" y="226"/>
                  </a:lnTo>
                  <a:lnTo>
                    <a:pt x="28" y="226"/>
                  </a:lnTo>
                  <a:lnTo>
                    <a:pt x="28" y="225"/>
                  </a:lnTo>
                  <a:lnTo>
                    <a:pt x="29" y="225"/>
                  </a:lnTo>
                  <a:lnTo>
                    <a:pt x="31" y="225"/>
                  </a:lnTo>
                  <a:lnTo>
                    <a:pt x="31" y="224"/>
                  </a:lnTo>
                  <a:lnTo>
                    <a:pt x="31" y="223"/>
                  </a:lnTo>
                  <a:lnTo>
                    <a:pt x="32" y="223"/>
                  </a:lnTo>
                  <a:lnTo>
                    <a:pt x="32" y="222"/>
                  </a:lnTo>
                  <a:lnTo>
                    <a:pt x="33" y="222"/>
                  </a:lnTo>
                  <a:lnTo>
                    <a:pt x="34" y="224"/>
                  </a:lnTo>
                  <a:lnTo>
                    <a:pt x="35" y="224"/>
                  </a:lnTo>
                  <a:lnTo>
                    <a:pt x="37" y="223"/>
                  </a:lnTo>
                  <a:lnTo>
                    <a:pt x="38" y="223"/>
                  </a:lnTo>
                  <a:lnTo>
                    <a:pt x="38" y="224"/>
                  </a:lnTo>
                  <a:lnTo>
                    <a:pt x="39" y="225"/>
                  </a:lnTo>
                  <a:lnTo>
                    <a:pt x="38" y="226"/>
                  </a:lnTo>
                  <a:lnTo>
                    <a:pt x="37" y="228"/>
                  </a:lnTo>
                  <a:lnTo>
                    <a:pt x="38" y="226"/>
                  </a:lnTo>
                  <a:lnTo>
                    <a:pt x="37" y="226"/>
                  </a:lnTo>
                  <a:lnTo>
                    <a:pt x="35" y="226"/>
                  </a:lnTo>
                  <a:lnTo>
                    <a:pt x="34" y="228"/>
                  </a:lnTo>
                  <a:lnTo>
                    <a:pt x="33" y="228"/>
                  </a:lnTo>
                  <a:lnTo>
                    <a:pt x="32" y="228"/>
                  </a:lnTo>
                  <a:lnTo>
                    <a:pt x="31" y="228"/>
                  </a:lnTo>
                  <a:lnTo>
                    <a:pt x="31" y="229"/>
                  </a:lnTo>
                  <a:lnTo>
                    <a:pt x="31" y="230"/>
                  </a:lnTo>
                  <a:lnTo>
                    <a:pt x="29" y="230"/>
                  </a:lnTo>
                  <a:lnTo>
                    <a:pt x="29" y="231"/>
                  </a:lnTo>
                  <a:lnTo>
                    <a:pt x="28" y="231"/>
                  </a:lnTo>
                  <a:lnTo>
                    <a:pt x="28" y="232"/>
                  </a:lnTo>
                  <a:lnTo>
                    <a:pt x="28" y="234"/>
                  </a:lnTo>
                  <a:lnTo>
                    <a:pt x="28" y="235"/>
                  </a:lnTo>
                  <a:lnTo>
                    <a:pt x="29" y="236"/>
                  </a:lnTo>
                  <a:lnTo>
                    <a:pt x="31" y="236"/>
                  </a:lnTo>
                  <a:lnTo>
                    <a:pt x="31" y="235"/>
                  </a:lnTo>
                  <a:lnTo>
                    <a:pt x="32" y="235"/>
                  </a:lnTo>
                  <a:lnTo>
                    <a:pt x="33" y="235"/>
                  </a:lnTo>
                  <a:lnTo>
                    <a:pt x="33" y="236"/>
                  </a:lnTo>
                  <a:lnTo>
                    <a:pt x="34" y="235"/>
                  </a:lnTo>
                  <a:lnTo>
                    <a:pt x="35" y="236"/>
                  </a:lnTo>
                  <a:lnTo>
                    <a:pt x="35" y="237"/>
                  </a:lnTo>
                  <a:lnTo>
                    <a:pt x="35" y="238"/>
                  </a:lnTo>
                  <a:lnTo>
                    <a:pt x="37" y="237"/>
                  </a:lnTo>
                  <a:lnTo>
                    <a:pt x="38" y="237"/>
                  </a:lnTo>
                  <a:lnTo>
                    <a:pt x="38" y="238"/>
                  </a:lnTo>
                  <a:lnTo>
                    <a:pt x="38" y="237"/>
                  </a:lnTo>
                  <a:lnTo>
                    <a:pt x="39" y="238"/>
                  </a:lnTo>
                  <a:lnTo>
                    <a:pt x="40" y="237"/>
                  </a:lnTo>
                  <a:lnTo>
                    <a:pt x="40" y="238"/>
                  </a:lnTo>
                  <a:lnTo>
                    <a:pt x="41" y="238"/>
                  </a:lnTo>
                  <a:lnTo>
                    <a:pt x="43" y="238"/>
                  </a:lnTo>
                  <a:lnTo>
                    <a:pt x="45" y="237"/>
                  </a:lnTo>
                  <a:lnTo>
                    <a:pt x="45" y="236"/>
                  </a:lnTo>
                  <a:lnTo>
                    <a:pt x="46" y="236"/>
                  </a:lnTo>
                  <a:lnTo>
                    <a:pt x="47" y="236"/>
                  </a:lnTo>
                  <a:lnTo>
                    <a:pt x="47" y="235"/>
                  </a:lnTo>
                  <a:lnTo>
                    <a:pt x="47" y="236"/>
                  </a:lnTo>
                  <a:lnTo>
                    <a:pt x="46" y="237"/>
                  </a:lnTo>
                  <a:lnTo>
                    <a:pt x="45" y="237"/>
                  </a:lnTo>
                  <a:lnTo>
                    <a:pt x="45" y="238"/>
                  </a:lnTo>
                  <a:lnTo>
                    <a:pt x="45" y="240"/>
                  </a:lnTo>
                  <a:lnTo>
                    <a:pt x="46" y="238"/>
                  </a:lnTo>
                  <a:lnTo>
                    <a:pt x="46" y="240"/>
                  </a:lnTo>
                  <a:lnTo>
                    <a:pt x="46" y="241"/>
                  </a:lnTo>
                  <a:lnTo>
                    <a:pt x="45" y="241"/>
                  </a:lnTo>
                  <a:lnTo>
                    <a:pt x="46" y="242"/>
                  </a:lnTo>
                  <a:lnTo>
                    <a:pt x="47" y="242"/>
                  </a:lnTo>
                  <a:lnTo>
                    <a:pt x="49" y="242"/>
                  </a:lnTo>
                  <a:lnTo>
                    <a:pt x="50" y="242"/>
                  </a:lnTo>
                  <a:lnTo>
                    <a:pt x="51" y="242"/>
                  </a:lnTo>
                  <a:lnTo>
                    <a:pt x="51" y="243"/>
                  </a:lnTo>
                  <a:lnTo>
                    <a:pt x="52" y="245"/>
                  </a:lnTo>
                  <a:lnTo>
                    <a:pt x="52" y="243"/>
                  </a:lnTo>
                  <a:lnTo>
                    <a:pt x="53" y="243"/>
                  </a:lnTo>
                  <a:lnTo>
                    <a:pt x="53" y="245"/>
                  </a:lnTo>
                  <a:lnTo>
                    <a:pt x="52" y="246"/>
                  </a:lnTo>
                  <a:lnTo>
                    <a:pt x="52" y="247"/>
                  </a:lnTo>
                  <a:lnTo>
                    <a:pt x="50" y="248"/>
                  </a:lnTo>
                  <a:lnTo>
                    <a:pt x="49" y="248"/>
                  </a:lnTo>
                  <a:lnTo>
                    <a:pt x="49" y="247"/>
                  </a:lnTo>
                  <a:lnTo>
                    <a:pt x="47" y="247"/>
                  </a:lnTo>
                  <a:lnTo>
                    <a:pt x="47" y="248"/>
                  </a:lnTo>
                  <a:lnTo>
                    <a:pt x="46" y="248"/>
                  </a:lnTo>
                  <a:lnTo>
                    <a:pt x="46" y="249"/>
                  </a:lnTo>
                  <a:lnTo>
                    <a:pt x="46" y="251"/>
                  </a:lnTo>
                  <a:lnTo>
                    <a:pt x="46" y="252"/>
                  </a:lnTo>
                  <a:lnTo>
                    <a:pt x="46" y="253"/>
                  </a:lnTo>
                  <a:lnTo>
                    <a:pt x="47" y="253"/>
                  </a:lnTo>
                  <a:lnTo>
                    <a:pt x="49" y="253"/>
                  </a:lnTo>
                  <a:lnTo>
                    <a:pt x="49" y="254"/>
                  </a:lnTo>
                  <a:lnTo>
                    <a:pt x="50" y="254"/>
                  </a:lnTo>
                  <a:lnTo>
                    <a:pt x="49" y="255"/>
                  </a:lnTo>
                  <a:lnTo>
                    <a:pt x="47" y="255"/>
                  </a:lnTo>
                  <a:lnTo>
                    <a:pt x="46" y="254"/>
                  </a:lnTo>
                  <a:lnTo>
                    <a:pt x="45" y="254"/>
                  </a:lnTo>
                  <a:lnTo>
                    <a:pt x="45" y="255"/>
                  </a:lnTo>
                  <a:lnTo>
                    <a:pt x="44" y="257"/>
                  </a:lnTo>
                  <a:lnTo>
                    <a:pt x="44" y="258"/>
                  </a:lnTo>
                  <a:lnTo>
                    <a:pt x="43" y="258"/>
                  </a:lnTo>
                  <a:lnTo>
                    <a:pt x="43" y="259"/>
                  </a:lnTo>
                  <a:lnTo>
                    <a:pt x="43" y="258"/>
                  </a:lnTo>
                  <a:lnTo>
                    <a:pt x="43" y="259"/>
                  </a:lnTo>
                  <a:lnTo>
                    <a:pt x="43" y="260"/>
                  </a:lnTo>
                  <a:lnTo>
                    <a:pt x="44" y="260"/>
                  </a:lnTo>
                  <a:lnTo>
                    <a:pt x="43" y="260"/>
                  </a:lnTo>
                  <a:lnTo>
                    <a:pt x="43" y="261"/>
                  </a:lnTo>
                  <a:lnTo>
                    <a:pt x="44" y="263"/>
                  </a:lnTo>
                  <a:lnTo>
                    <a:pt x="45" y="263"/>
                  </a:lnTo>
                  <a:lnTo>
                    <a:pt x="45" y="261"/>
                  </a:lnTo>
                  <a:lnTo>
                    <a:pt x="46" y="263"/>
                  </a:lnTo>
                  <a:lnTo>
                    <a:pt x="47" y="261"/>
                  </a:lnTo>
                  <a:lnTo>
                    <a:pt x="47" y="263"/>
                  </a:lnTo>
                  <a:lnTo>
                    <a:pt x="49" y="261"/>
                  </a:lnTo>
                  <a:lnTo>
                    <a:pt x="50" y="261"/>
                  </a:lnTo>
                  <a:lnTo>
                    <a:pt x="50" y="260"/>
                  </a:lnTo>
                  <a:lnTo>
                    <a:pt x="51" y="260"/>
                  </a:lnTo>
                  <a:lnTo>
                    <a:pt x="52" y="260"/>
                  </a:lnTo>
                  <a:lnTo>
                    <a:pt x="52" y="259"/>
                  </a:lnTo>
                  <a:lnTo>
                    <a:pt x="53" y="258"/>
                  </a:lnTo>
                  <a:lnTo>
                    <a:pt x="55" y="259"/>
                  </a:lnTo>
                  <a:lnTo>
                    <a:pt x="56" y="259"/>
                  </a:lnTo>
                  <a:lnTo>
                    <a:pt x="56" y="258"/>
                  </a:lnTo>
                  <a:lnTo>
                    <a:pt x="55" y="258"/>
                  </a:lnTo>
                  <a:lnTo>
                    <a:pt x="55" y="255"/>
                  </a:lnTo>
                  <a:lnTo>
                    <a:pt x="53" y="257"/>
                  </a:lnTo>
                  <a:lnTo>
                    <a:pt x="53" y="258"/>
                  </a:lnTo>
                  <a:lnTo>
                    <a:pt x="52" y="258"/>
                  </a:lnTo>
                  <a:lnTo>
                    <a:pt x="52" y="259"/>
                  </a:lnTo>
                  <a:lnTo>
                    <a:pt x="51" y="259"/>
                  </a:lnTo>
                  <a:lnTo>
                    <a:pt x="50" y="259"/>
                  </a:lnTo>
                  <a:lnTo>
                    <a:pt x="49" y="259"/>
                  </a:lnTo>
                  <a:lnTo>
                    <a:pt x="49" y="258"/>
                  </a:lnTo>
                  <a:lnTo>
                    <a:pt x="50" y="257"/>
                  </a:lnTo>
                  <a:lnTo>
                    <a:pt x="50" y="258"/>
                  </a:lnTo>
                  <a:lnTo>
                    <a:pt x="50" y="257"/>
                  </a:lnTo>
                  <a:lnTo>
                    <a:pt x="51" y="257"/>
                  </a:lnTo>
                  <a:lnTo>
                    <a:pt x="51" y="255"/>
                  </a:lnTo>
                  <a:lnTo>
                    <a:pt x="51" y="254"/>
                  </a:lnTo>
                  <a:lnTo>
                    <a:pt x="50" y="254"/>
                  </a:lnTo>
                  <a:lnTo>
                    <a:pt x="51" y="253"/>
                  </a:lnTo>
                  <a:lnTo>
                    <a:pt x="52" y="252"/>
                  </a:lnTo>
                  <a:lnTo>
                    <a:pt x="52" y="251"/>
                  </a:lnTo>
                  <a:lnTo>
                    <a:pt x="53" y="251"/>
                  </a:lnTo>
                  <a:lnTo>
                    <a:pt x="53" y="252"/>
                  </a:lnTo>
                  <a:lnTo>
                    <a:pt x="55" y="252"/>
                  </a:lnTo>
                  <a:lnTo>
                    <a:pt x="53" y="252"/>
                  </a:lnTo>
                  <a:lnTo>
                    <a:pt x="52" y="253"/>
                  </a:lnTo>
                  <a:lnTo>
                    <a:pt x="53" y="253"/>
                  </a:lnTo>
                  <a:lnTo>
                    <a:pt x="55" y="253"/>
                  </a:lnTo>
                  <a:lnTo>
                    <a:pt x="55" y="252"/>
                  </a:lnTo>
                  <a:lnTo>
                    <a:pt x="56" y="252"/>
                  </a:lnTo>
                  <a:lnTo>
                    <a:pt x="56" y="251"/>
                  </a:lnTo>
                  <a:lnTo>
                    <a:pt x="57" y="251"/>
                  </a:lnTo>
                  <a:lnTo>
                    <a:pt x="58" y="249"/>
                  </a:lnTo>
                  <a:lnTo>
                    <a:pt x="59" y="248"/>
                  </a:lnTo>
                  <a:lnTo>
                    <a:pt x="61" y="248"/>
                  </a:lnTo>
                  <a:lnTo>
                    <a:pt x="61" y="247"/>
                  </a:lnTo>
                  <a:lnTo>
                    <a:pt x="59" y="247"/>
                  </a:lnTo>
                  <a:lnTo>
                    <a:pt x="59" y="246"/>
                  </a:lnTo>
                  <a:lnTo>
                    <a:pt x="58" y="245"/>
                  </a:lnTo>
                  <a:lnTo>
                    <a:pt x="59" y="245"/>
                  </a:lnTo>
                  <a:lnTo>
                    <a:pt x="58" y="243"/>
                  </a:lnTo>
                  <a:lnTo>
                    <a:pt x="59" y="243"/>
                  </a:lnTo>
                  <a:lnTo>
                    <a:pt x="59" y="245"/>
                  </a:lnTo>
                  <a:lnTo>
                    <a:pt x="62" y="245"/>
                  </a:lnTo>
                  <a:lnTo>
                    <a:pt x="62" y="243"/>
                  </a:lnTo>
                  <a:lnTo>
                    <a:pt x="63" y="243"/>
                  </a:lnTo>
                  <a:lnTo>
                    <a:pt x="64" y="242"/>
                  </a:lnTo>
                  <a:lnTo>
                    <a:pt x="65" y="242"/>
                  </a:lnTo>
                  <a:lnTo>
                    <a:pt x="67" y="242"/>
                  </a:lnTo>
                  <a:lnTo>
                    <a:pt x="67" y="241"/>
                  </a:lnTo>
                  <a:lnTo>
                    <a:pt x="67" y="240"/>
                  </a:lnTo>
                  <a:lnTo>
                    <a:pt x="68" y="238"/>
                  </a:lnTo>
                  <a:lnTo>
                    <a:pt x="67" y="237"/>
                  </a:lnTo>
                  <a:lnTo>
                    <a:pt x="67" y="238"/>
                  </a:lnTo>
                  <a:lnTo>
                    <a:pt x="65" y="237"/>
                  </a:lnTo>
                  <a:lnTo>
                    <a:pt x="64" y="236"/>
                  </a:lnTo>
                  <a:lnTo>
                    <a:pt x="64" y="237"/>
                  </a:lnTo>
                  <a:lnTo>
                    <a:pt x="64" y="236"/>
                  </a:lnTo>
                  <a:lnTo>
                    <a:pt x="64" y="235"/>
                  </a:lnTo>
                  <a:lnTo>
                    <a:pt x="64" y="236"/>
                  </a:lnTo>
                  <a:lnTo>
                    <a:pt x="64" y="235"/>
                  </a:lnTo>
                  <a:lnTo>
                    <a:pt x="64" y="234"/>
                  </a:lnTo>
                  <a:lnTo>
                    <a:pt x="63" y="232"/>
                  </a:lnTo>
                  <a:lnTo>
                    <a:pt x="63" y="234"/>
                  </a:lnTo>
                  <a:lnTo>
                    <a:pt x="63" y="235"/>
                  </a:lnTo>
                  <a:lnTo>
                    <a:pt x="63" y="236"/>
                  </a:lnTo>
                  <a:lnTo>
                    <a:pt x="62" y="236"/>
                  </a:lnTo>
                  <a:lnTo>
                    <a:pt x="62" y="235"/>
                  </a:lnTo>
                  <a:lnTo>
                    <a:pt x="62" y="236"/>
                  </a:lnTo>
                  <a:lnTo>
                    <a:pt x="63" y="236"/>
                  </a:lnTo>
                  <a:lnTo>
                    <a:pt x="63" y="237"/>
                  </a:lnTo>
                  <a:lnTo>
                    <a:pt x="62" y="237"/>
                  </a:lnTo>
                  <a:lnTo>
                    <a:pt x="61" y="237"/>
                  </a:lnTo>
                  <a:lnTo>
                    <a:pt x="61" y="236"/>
                  </a:lnTo>
                  <a:lnTo>
                    <a:pt x="59" y="237"/>
                  </a:lnTo>
                  <a:lnTo>
                    <a:pt x="61" y="237"/>
                  </a:lnTo>
                  <a:lnTo>
                    <a:pt x="59" y="238"/>
                  </a:lnTo>
                  <a:lnTo>
                    <a:pt x="58" y="238"/>
                  </a:lnTo>
                  <a:lnTo>
                    <a:pt x="57" y="238"/>
                  </a:lnTo>
                  <a:lnTo>
                    <a:pt x="57" y="236"/>
                  </a:lnTo>
                  <a:lnTo>
                    <a:pt x="58" y="236"/>
                  </a:lnTo>
                  <a:lnTo>
                    <a:pt x="57" y="235"/>
                  </a:lnTo>
                  <a:lnTo>
                    <a:pt x="57" y="234"/>
                  </a:lnTo>
                  <a:lnTo>
                    <a:pt x="57" y="232"/>
                  </a:lnTo>
                  <a:lnTo>
                    <a:pt x="58" y="232"/>
                  </a:lnTo>
                  <a:lnTo>
                    <a:pt x="59" y="232"/>
                  </a:lnTo>
                  <a:lnTo>
                    <a:pt x="61" y="232"/>
                  </a:lnTo>
                  <a:lnTo>
                    <a:pt x="62" y="232"/>
                  </a:lnTo>
                  <a:lnTo>
                    <a:pt x="63" y="232"/>
                  </a:lnTo>
                  <a:lnTo>
                    <a:pt x="64" y="232"/>
                  </a:lnTo>
                  <a:lnTo>
                    <a:pt x="65" y="232"/>
                  </a:lnTo>
                  <a:lnTo>
                    <a:pt x="67" y="231"/>
                  </a:lnTo>
                  <a:lnTo>
                    <a:pt x="69" y="230"/>
                  </a:lnTo>
                  <a:lnTo>
                    <a:pt x="70" y="230"/>
                  </a:lnTo>
                  <a:lnTo>
                    <a:pt x="70" y="231"/>
                  </a:lnTo>
                  <a:lnTo>
                    <a:pt x="69" y="231"/>
                  </a:lnTo>
                  <a:lnTo>
                    <a:pt x="70" y="232"/>
                  </a:lnTo>
                  <a:lnTo>
                    <a:pt x="71" y="232"/>
                  </a:lnTo>
                  <a:lnTo>
                    <a:pt x="73" y="234"/>
                  </a:lnTo>
                  <a:lnTo>
                    <a:pt x="74" y="234"/>
                  </a:lnTo>
                  <a:lnTo>
                    <a:pt x="75" y="234"/>
                  </a:lnTo>
                  <a:lnTo>
                    <a:pt x="76" y="234"/>
                  </a:lnTo>
                  <a:lnTo>
                    <a:pt x="76" y="232"/>
                  </a:lnTo>
                  <a:lnTo>
                    <a:pt x="77" y="232"/>
                  </a:lnTo>
                  <a:lnTo>
                    <a:pt x="79" y="234"/>
                  </a:lnTo>
                  <a:lnTo>
                    <a:pt x="80" y="234"/>
                  </a:lnTo>
                  <a:lnTo>
                    <a:pt x="80" y="235"/>
                  </a:lnTo>
                  <a:lnTo>
                    <a:pt x="81" y="235"/>
                  </a:lnTo>
                  <a:lnTo>
                    <a:pt x="81" y="234"/>
                  </a:lnTo>
                  <a:lnTo>
                    <a:pt x="82" y="234"/>
                  </a:lnTo>
                  <a:lnTo>
                    <a:pt x="83" y="235"/>
                  </a:lnTo>
                  <a:lnTo>
                    <a:pt x="85" y="234"/>
                  </a:lnTo>
                  <a:lnTo>
                    <a:pt x="85" y="231"/>
                  </a:lnTo>
                  <a:lnTo>
                    <a:pt x="86" y="231"/>
                  </a:lnTo>
                  <a:lnTo>
                    <a:pt x="87" y="231"/>
                  </a:lnTo>
                  <a:lnTo>
                    <a:pt x="88" y="231"/>
                  </a:lnTo>
                  <a:lnTo>
                    <a:pt x="92" y="232"/>
                  </a:lnTo>
                  <a:lnTo>
                    <a:pt x="93" y="232"/>
                  </a:lnTo>
                  <a:lnTo>
                    <a:pt x="94" y="232"/>
                  </a:lnTo>
                  <a:lnTo>
                    <a:pt x="97" y="232"/>
                  </a:lnTo>
                  <a:lnTo>
                    <a:pt x="98" y="234"/>
                  </a:lnTo>
                  <a:lnTo>
                    <a:pt x="100" y="234"/>
                  </a:lnTo>
                  <a:lnTo>
                    <a:pt x="102" y="234"/>
                  </a:lnTo>
                  <a:lnTo>
                    <a:pt x="103" y="234"/>
                  </a:lnTo>
                  <a:lnTo>
                    <a:pt x="105" y="234"/>
                  </a:lnTo>
                  <a:lnTo>
                    <a:pt x="109" y="234"/>
                  </a:lnTo>
                  <a:lnTo>
                    <a:pt x="110" y="235"/>
                  </a:lnTo>
                  <a:lnTo>
                    <a:pt x="110" y="236"/>
                  </a:lnTo>
                  <a:lnTo>
                    <a:pt x="109" y="236"/>
                  </a:lnTo>
                  <a:lnTo>
                    <a:pt x="109" y="237"/>
                  </a:lnTo>
                  <a:lnTo>
                    <a:pt x="109" y="236"/>
                  </a:lnTo>
                  <a:lnTo>
                    <a:pt x="108" y="237"/>
                  </a:lnTo>
                  <a:lnTo>
                    <a:pt x="106" y="237"/>
                  </a:lnTo>
                  <a:lnTo>
                    <a:pt x="105" y="236"/>
                  </a:lnTo>
                  <a:lnTo>
                    <a:pt x="105" y="237"/>
                  </a:lnTo>
                  <a:lnTo>
                    <a:pt x="104" y="237"/>
                  </a:lnTo>
                  <a:lnTo>
                    <a:pt x="103" y="238"/>
                  </a:lnTo>
                  <a:lnTo>
                    <a:pt x="103" y="240"/>
                  </a:lnTo>
                  <a:lnTo>
                    <a:pt x="102" y="240"/>
                  </a:lnTo>
                  <a:lnTo>
                    <a:pt x="102" y="241"/>
                  </a:lnTo>
                  <a:lnTo>
                    <a:pt x="102" y="242"/>
                  </a:lnTo>
                  <a:lnTo>
                    <a:pt x="102" y="243"/>
                  </a:lnTo>
                  <a:lnTo>
                    <a:pt x="102" y="245"/>
                  </a:lnTo>
                  <a:lnTo>
                    <a:pt x="103" y="246"/>
                  </a:lnTo>
                  <a:lnTo>
                    <a:pt x="104" y="246"/>
                  </a:lnTo>
                  <a:lnTo>
                    <a:pt x="105" y="247"/>
                  </a:lnTo>
                  <a:lnTo>
                    <a:pt x="108" y="247"/>
                  </a:lnTo>
                  <a:lnTo>
                    <a:pt x="106" y="247"/>
                  </a:lnTo>
                  <a:lnTo>
                    <a:pt x="105" y="248"/>
                  </a:lnTo>
                  <a:lnTo>
                    <a:pt x="103" y="248"/>
                  </a:lnTo>
                  <a:lnTo>
                    <a:pt x="98" y="248"/>
                  </a:lnTo>
                  <a:lnTo>
                    <a:pt x="97" y="248"/>
                  </a:lnTo>
                  <a:lnTo>
                    <a:pt x="94" y="248"/>
                  </a:lnTo>
                  <a:lnTo>
                    <a:pt x="92" y="249"/>
                  </a:lnTo>
                  <a:lnTo>
                    <a:pt x="91" y="249"/>
                  </a:lnTo>
                  <a:lnTo>
                    <a:pt x="90" y="249"/>
                  </a:lnTo>
                  <a:lnTo>
                    <a:pt x="90" y="248"/>
                  </a:lnTo>
                  <a:lnTo>
                    <a:pt x="90" y="247"/>
                  </a:lnTo>
                  <a:lnTo>
                    <a:pt x="91" y="248"/>
                  </a:lnTo>
                  <a:lnTo>
                    <a:pt x="91" y="247"/>
                  </a:lnTo>
                  <a:lnTo>
                    <a:pt x="92" y="246"/>
                  </a:lnTo>
                  <a:lnTo>
                    <a:pt x="91" y="246"/>
                  </a:lnTo>
                  <a:lnTo>
                    <a:pt x="88" y="246"/>
                  </a:lnTo>
                  <a:lnTo>
                    <a:pt x="87" y="246"/>
                  </a:lnTo>
                  <a:lnTo>
                    <a:pt x="87" y="247"/>
                  </a:lnTo>
                  <a:lnTo>
                    <a:pt x="86" y="247"/>
                  </a:lnTo>
                  <a:lnTo>
                    <a:pt x="85" y="246"/>
                  </a:lnTo>
                  <a:lnTo>
                    <a:pt x="83" y="246"/>
                  </a:lnTo>
                  <a:lnTo>
                    <a:pt x="83" y="245"/>
                  </a:lnTo>
                  <a:lnTo>
                    <a:pt x="82" y="245"/>
                  </a:lnTo>
                  <a:lnTo>
                    <a:pt x="81" y="243"/>
                  </a:lnTo>
                  <a:lnTo>
                    <a:pt x="80" y="243"/>
                  </a:lnTo>
                  <a:lnTo>
                    <a:pt x="79" y="243"/>
                  </a:lnTo>
                  <a:lnTo>
                    <a:pt x="77" y="243"/>
                  </a:lnTo>
                  <a:lnTo>
                    <a:pt x="76" y="245"/>
                  </a:lnTo>
                  <a:lnTo>
                    <a:pt x="75" y="246"/>
                  </a:lnTo>
                  <a:lnTo>
                    <a:pt x="74" y="247"/>
                  </a:lnTo>
                  <a:lnTo>
                    <a:pt x="74" y="248"/>
                  </a:lnTo>
                  <a:lnTo>
                    <a:pt x="73" y="247"/>
                  </a:lnTo>
                  <a:lnTo>
                    <a:pt x="73" y="248"/>
                  </a:lnTo>
                  <a:lnTo>
                    <a:pt x="71" y="249"/>
                  </a:lnTo>
                  <a:lnTo>
                    <a:pt x="70" y="251"/>
                  </a:lnTo>
                  <a:lnTo>
                    <a:pt x="70" y="249"/>
                  </a:lnTo>
                  <a:lnTo>
                    <a:pt x="69" y="249"/>
                  </a:lnTo>
                  <a:lnTo>
                    <a:pt x="68" y="249"/>
                  </a:lnTo>
                  <a:lnTo>
                    <a:pt x="67" y="249"/>
                  </a:lnTo>
                  <a:lnTo>
                    <a:pt x="65" y="249"/>
                  </a:lnTo>
                  <a:lnTo>
                    <a:pt x="65" y="251"/>
                  </a:lnTo>
                  <a:lnTo>
                    <a:pt x="65" y="252"/>
                  </a:lnTo>
                  <a:lnTo>
                    <a:pt x="64" y="253"/>
                  </a:lnTo>
                  <a:lnTo>
                    <a:pt x="64" y="254"/>
                  </a:lnTo>
                  <a:lnTo>
                    <a:pt x="64" y="255"/>
                  </a:lnTo>
                  <a:lnTo>
                    <a:pt x="65" y="255"/>
                  </a:lnTo>
                  <a:lnTo>
                    <a:pt x="64" y="255"/>
                  </a:lnTo>
                  <a:lnTo>
                    <a:pt x="63" y="257"/>
                  </a:lnTo>
                  <a:lnTo>
                    <a:pt x="62" y="257"/>
                  </a:lnTo>
                  <a:lnTo>
                    <a:pt x="61" y="257"/>
                  </a:lnTo>
                  <a:lnTo>
                    <a:pt x="59" y="258"/>
                  </a:lnTo>
                  <a:lnTo>
                    <a:pt x="59" y="259"/>
                  </a:lnTo>
                  <a:lnTo>
                    <a:pt x="59" y="260"/>
                  </a:lnTo>
                  <a:lnTo>
                    <a:pt x="61" y="261"/>
                  </a:lnTo>
                  <a:lnTo>
                    <a:pt x="59" y="260"/>
                  </a:lnTo>
                  <a:lnTo>
                    <a:pt x="58" y="260"/>
                  </a:lnTo>
                  <a:lnTo>
                    <a:pt x="58" y="261"/>
                  </a:lnTo>
                  <a:lnTo>
                    <a:pt x="58" y="263"/>
                  </a:lnTo>
                  <a:lnTo>
                    <a:pt x="58" y="264"/>
                  </a:lnTo>
                  <a:lnTo>
                    <a:pt x="57" y="265"/>
                  </a:lnTo>
                  <a:lnTo>
                    <a:pt x="56" y="266"/>
                  </a:lnTo>
                  <a:lnTo>
                    <a:pt x="57" y="266"/>
                  </a:lnTo>
                  <a:lnTo>
                    <a:pt x="58" y="266"/>
                  </a:lnTo>
                  <a:lnTo>
                    <a:pt x="58" y="267"/>
                  </a:lnTo>
                  <a:lnTo>
                    <a:pt x="57" y="267"/>
                  </a:lnTo>
                  <a:lnTo>
                    <a:pt x="56" y="270"/>
                  </a:lnTo>
                  <a:lnTo>
                    <a:pt x="57" y="269"/>
                  </a:lnTo>
                  <a:lnTo>
                    <a:pt x="56" y="269"/>
                  </a:lnTo>
                  <a:lnTo>
                    <a:pt x="56" y="270"/>
                  </a:lnTo>
                  <a:lnTo>
                    <a:pt x="55" y="271"/>
                  </a:lnTo>
                  <a:lnTo>
                    <a:pt x="53" y="272"/>
                  </a:lnTo>
                  <a:lnTo>
                    <a:pt x="52" y="272"/>
                  </a:lnTo>
                  <a:lnTo>
                    <a:pt x="52" y="273"/>
                  </a:lnTo>
                  <a:lnTo>
                    <a:pt x="53" y="276"/>
                  </a:lnTo>
                  <a:lnTo>
                    <a:pt x="55" y="277"/>
                  </a:lnTo>
                  <a:lnTo>
                    <a:pt x="56" y="276"/>
                  </a:lnTo>
                  <a:lnTo>
                    <a:pt x="57" y="276"/>
                  </a:lnTo>
                  <a:lnTo>
                    <a:pt x="57" y="275"/>
                  </a:lnTo>
                  <a:lnTo>
                    <a:pt x="58" y="275"/>
                  </a:lnTo>
                  <a:lnTo>
                    <a:pt x="59" y="275"/>
                  </a:lnTo>
                  <a:lnTo>
                    <a:pt x="59" y="273"/>
                  </a:lnTo>
                  <a:lnTo>
                    <a:pt x="61" y="273"/>
                  </a:lnTo>
                  <a:lnTo>
                    <a:pt x="62" y="273"/>
                  </a:lnTo>
                  <a:lnTo>
                    <a:pt x="63" y="272"/>
                  </a:lnTo>
                  <a:lnTo>
                    <a:pt x="63" y="271"/>
                  </a:lnTo>
                  <a:lnTo>
                    <a:pt x="64" y="272"/>
                  </a:lnTo>
                  <a:lnTo>
                    <a:pt x="63" y="272"/>
                  </a:lnTo>
                  <a:lnTo>
                    <a:pt x="64" y="272"/>
                  </a:lnTo>
                  <a:lnTo>
                    <a:pt x="64" y="273"/>
                  </a:lnTo>
                  <a:lnTo>
                    <a:pt x="65" y="273"/>
                  </a:lnTo>
                  <a:lnTo>
                    <a:pt x="64" y="273"/>
                  </a:lnTo>
                  <a:lnTo>
                    <a:pt x="65" y="271"/>
                  </a:lnTo>
                  <a:lnTo>
                    <a:pt x="67" y="271"/>
                  </a:lnTo>
                  <a:lnTo>
                    <a:pt x="67" y="272"/>
                  </a:lnTo>
                  <a:lnTo>
                    <a:pt x="68" y="271"/>
                  </a:lnTo>
                  <a:lnTo>
                    <a:pt x="67" y="271"/>
                  </a:lnTo>
                  <a:lnTo>
                    <a:pt x="68" y="270"/>
                  </a:lnTo>
                  <a:lnTo>
                    <a:pt x="69" y="270"/>
                  </a:lnTo>
                  <a:lnTo>
                    <a:pt x="70" y="270"/>
                  </a:lnTo>
                  <a:lnTo>
                    <a:pt x="71" y="270"/>
                  </a:lnTo>
                  <a:lnTo>
                    <a:pt x="71" y="269"/>
                  </a:lnTo>
                  <a:lnTo>
                    <a:pt x="73" y="269"/>
                  </a:lnTo>
                  <a:lnTo>
                    <a:pt x="73" y="270"/>
                  </a:lnTo>
                  <a:lnTo>
                    <a:pt x="74" y="270"/>
                  </a:lnTo>
                  <a:lnTo>
                    <a:pt x="73" y="271"/>
                  </a:lnTo>
                  <a:lnTo>
                    <a:pt x="71" y="271"/>
                  </a:lnTo>
                  <a:lnTo>
                    <a:pt x="71" y="272"/>
                  </a:lnTo>
                  <a:lnTo>
                    <a:pt x="73" y="271"/>
                  </a:lnTo>
                  <a:lnTo>
                    <a:pt x="73" y="272"/>
                  </a:lnTo>
                  <a:lnTo>
                    <a:pt x="74" y="272"/>
                  </a:lnTo>
                  <a:lnTo>
                    <a:pt x="75" y="272"/>
                  </a:lnTo>
                  <a:lnTo>
                    <a:pt x="76" y="273"/>
                  </a:lnTo>
                  <a:lnTo>
                    <a:pt x="77" y="273"/>
                  </a:lnTo>
                  <a:lnTo>
                    <a:pt x="77" y="275"/>
                  </a:lnTo>
                  <a:lnTo>
                    <a:pt x="79" y="275"/>
                  </a:lnTo>
                  <a:lnTo>
                    <a:pt x="79" y="273"/>
                  </a:lnTo>
                  <a:lnTo>
                    <a:pt x="79" y="275"/>
                  </a:lnTo>
                  <a:lnTo>
                    <a:pt x="77" y="275"/>
                  </a:lnTo>
                  <a:lnTo>
                    <a:pt x="76" y="276"/>
                  </a:lnTo>
                  <a:lnTo>
                    <a:pt x="79" y="276"/>
                  </a:lnTo>
                  <a:lnTo>
                    <a:pt x="80" y="276"/>
                  </a:lnTo>
                  <a:lnTo>
                    <a:pt x="81" y="276"/>
                  </a:lnTo>
                  <a:lnTo>
                    <a:pt x="82" y="276"/>
                  </a:lnTo>
                  <a:lnTo>
                    <a:pt x="83" y="276"/>
                  </a:lnTo>
                  <a:lnTo>
                    <a:pt x="85" y="275"/>
                  </a:lnTo>
                  <a:lnTo>
                    <a:pt x="86" y="276"/>
                  </a:lnTo>
                  <a:lnTo>
                    <a:pt x="85" y="277"/>
                  </a:lnTo>
                  <a:lnTo>
                    <a:pt x="85" y="278"/>
                  </a:lnTo>
                  <a:lnTo>
                    <a:pt x="86" y="277"/>
                  </a:lnTo>
                  <a:lnTo>
                    <a:pt x="87" y="277"/>
                  </a:lnTo>
                  <a:lnTo>
                    <a:pt x="87" y="278"/>
                  </a:lnTo>
                  <a:lnTo>
                    <a:pt x="88" y="278"/>
                  </a:lnTo>
                  <a:lnTo>
                    <a:pt x="88" y="277"/>
                  </a:lnTo>
                  <a:lnTo>
                    <a:pt x="90" y="278"/>
                  </a:lnTo>
                  <a:lnTo>
                    <a:pt x="90" y="277"/>
                  </a:lnTo>
                  <a:lnTo>
                    <a:pt x="90" y="276"/>
                  </a:lnTo>
                  <a:lnTo>
                    <a:pt x="88" y="276"/>
                  </a:lnTo>
                  <a:lnTo>
                    <a:pt x="88" y="275"/>
                  </a:lnTo>
                  <a:lnTo>
                    <a:pt x="88" y="273"/>
                  </a:lnTo>
                  <a:lnTo>
                    <a:pt x="90" y="275"/>
                  </a:lnTo>
                  <a:lnTo>
                    <a:pt x="91" y="275"/>
                  </a:lnTo>
                  <a:lnTo>
                    <a:pt x="91" y="273"/>
                  </a:lnTo>
                  <a:lnTo>
                    <a:pt x="92" y="273"/>
                  </a:lnTo>
                  <a:lnTo>
                    <a:pt x="92" y="272"/>
                  </a:lnTo>
                  <a:lnTo>
                    <a:pt x="92" y="271"/>
                  </a:lnTo>
                  <a:lnTo>
                    <a:pt x="91" y="271"/>
                  </a:lnTo>
                  <a:lnTo>
                    <a:pt x="90" y="271"/>
                  </a:lnTo>
                  <a:lnTo>
                    <a:pt x="88" y="271"/>
                  </a:lnTo>
                  <a:lnTo>
                    <a:pt x="87" y="270"/>
                  </a:lnTo>
                  <a:lnTo>
                    <a:pt x="86" y="270"/>
                  </a:lnTo>
                  <a:lnTo>
                    <a:pt x="86" y="269"/>
                  </a:lnTo>
                  <a:lnTo>
                    <a:pt x="87" y="267"/>
                  </a:lnTo>
                  <a:lnTo>
                    <a:pt x="87" y="266"/>
                  </a:lnTo>
                  <a:lnTo>
                    <a:pt x="86" y="266"/>
                  </a:lnTo>
                  <a:lnTo>
                    <a:pt x="86" y="265"/>
                  </a:lnTo>
                  <a:lnTo>
                    <a:pt x="85" y="264"/>
                  </a:lnTo>
                  <a:lnTo>
                    <a:pt x="86" y="264"/>
                  </a:lnTo>
                  <a:lnTo>
                    <a:pt x="86" y="263"/>
                  </a:lnTo>
                  <a:lnTo>
                    <a:pt x="87" y="263"/>
                  </a:lnTo>
                  <a:lnTo>
                    <a:pt x="88" y="263"/>
                  </a:lnTo>
                  <a:lnTo>
                    <a:pt x="88" y="261"/>
                  </a:lnTo>
                  <a:lnTo>
                    <a:pt x="87" y="260"/>
                  </a:lnTo>
                  <a:lnTo>
                    <a:pt x="87" y="259"/>
                  </a:lnTo>
                  <a:lnTo>
                    <a:pt x="87" y="258"/>
                  </a:lnTo>
                  <a:lnTo>
                    <a:pt x="87" y="259"/>
                  </a:lnTo>
                  <a:lnTo>
                    <a:pt x="87" y="258"/>
                  </a:lnTo>
                  <a:lnTo>
                    <a:pt x="87" y="257"/>
                  </a:lnTo>
                  <a:lnTo>
                    <a:pt x="86" y="257"/>
                  </a:lnTo>
                  <a:lnTo>
                    <a:pt x="87" y="255"/>
                  </a:lnTo>
                  <a:lnTo>
                    <a:pt x="88" y="253"/>
                  </a:lnTo>
                  <a:lnTo>
                    <a:pt x="87" y="252"/>
                  </a:lnTo>
                  <a:lnTo>
                    <a:pt x="88" y="252"/>
                  </a:lnTo>
                  <a:lnTo>
                    <a:pt x="90" y="252"/>
                  </a:lnTo>
                  <a:lnTo>
                    <a:pt x="90" y="253"/>
                  </a:lnTo>
                  <a:lnTo>
                    <a:pt x="91" y="253"/>
                  </a:lnTo>
                  <a:lnTo>
                    <a:pt x="91" y="252"/>
                  </a:lnTo>
                  <a:lnTo>
                    <a:pt x="92" y="251"/>
                  </a:lnTo>
                  <a:lnTo>
                    <a:pt x="97" y="251"/>
                  </a:lnTo>
                  <a:lnTo>
                    <a:pt x="98" y="251"/>
                  </a:lnTo>
                  <a:lnTo>
                    <a:pt x="99" y="249"/>
                  </a:lnTo>
                  <a:lnTo>
                    <a:pt x="102" y="249"/>
                  </a:lnTo>
                  <a:lnTo>
                    <a:pt x="103" y="251"/>
                  </a:lnTo>
                  <a:lnTo>
                    <a:pt x="102" y="251"/>
                  </a:lnTo>
                  <a:lnTo>
                    <a:pt x="103" y="252"/>
                  </a:lnTo>
                  <a:lnTo>
                    <a:pt x="103" y="251"/>
                  </a:lnTo>
                  <a:lnTo>
                    <a:pt x="104" y="252"/>
                  </a:lnTo>
                  <a:lnTo>
                    <a:pt x="105" y="251"/>
                  </a:lnTo>
                  <a:lnTo>
                    <a:pt x="105" y="252"/>
                  </a:lnTo>
                  <a:lnTo>
                    <a:pt x="106" y="253"/>
                  </a:lnTo>
                  <a:lnTo>
                    <a:pt x="108" y="252"/>
                  </a:lnTo>
                  <a:lnTo>
                    <a:pt x="109" y="253"/>
                  </a:lnTo>
                  <a:lnTo>
                    <a:pt x="110" y="254"/>
                  </a:lnTo>
                  <a:lnTo>
                    <a:pt x="111" y="257"/>
                  </a:lnTo>
                  <a:lnTo>
                    <a:pt x="112" y="257"/>
                  </a:lnTo>
                  <a:lnTo>
                    <a:pt x="114" y="257"/>
                  </a:lnTo>
                  <a:lnTo>
                    <a:pt x="114" y="255"/>
                  </a:lnTo>
                  <a:lnTo>
                    <a:pt x="115" y="255"/>
                  </a:lnTo>
                  <a:lnTo>
                    <a:pt x="115" y="254"/>
                  </a:lnTo>
                  <a:lnTo>
                    <a:pt x="116" y="254"/>
                  </a:lnTo>
                  <a:lnTo>
                    <a:pt x="118" y="254"/>
                  </a:lnTo>
                  <a:lnTo>
                    <a:pt x="120" y="254"/>
                  </a:lnTo>
                  <a:lnTo>
                    <a:pt x="122" y="255"/>
                  </a:lnTo>
                  <a:lnTo>
                    <a:pt x="121" y="257"/>
                  </a:lnTo>
                  <a:lnTo>
                    <a:pt x="120" y="255"/>
                  </a:lnTo>
                  <a:lnTo>
                    <a:pt x="118" y="257"/>
                  </a:lnTo>
                  <a:lnTo>
                    <a:pt x="117" y="257"/>
                  </a:lnTo>
                  <a:lnTo>
                    <a:pt x="118" y="257"/>
                  </a:lnTo>
                  <a:lnTo>
                    <a:pt x="118" y="258"/>
                  </a:lnTo>
                  <a:lnTo>
                    <a:pt x="118" y="260"/>
                  </a:lnTo>
                  <a:lnTo>
                    <a:pt x="118" y="261"/>
                  </a:lnTo>
                  <a:lnTo>
                    <a:pt x="117" y="261"/>
                  </a:lnTo>
                  <a:lnTo>
                    <a:pt x="118" y="263"/>
                  </a:lnTo>
                  <a:lnTo>
                    <a:pt x="120" y="264"/>
                  </a:lnTo>
                  <a:lnTo>
                    <a:pt x="118" y="265"/>
                  </a:lnTo>
                  <a:lnTo>
                    <a:pt x="120" y="266"/>
                  </a:lnTo>
                  <a:lnTo>
                    <a:pt x="120" y="265"/>
                  </a:lnTo>
                  <a:lnTo>
                    <a:pt x="121" y="265"/>
                  </a:lnTo>
                  <a:lnTo>
                    <a:pt x="121" y="266"/>
                  </a:lnTo>
                  <a:lnTo>
                    <a:pt x="122" y="266"/>
                  </a:lnTo>
                  <a:lnTo>
                    <a:pt x="120" y="266"/>
                  </a:lnTo>
                  <a:lnTo>
                    <a:pt x="118" y="266"/>
                  </a:lnTo>
                  <a:lnTo>
                    <a:pt x="118" y="267"/>
                  </a:lnTo>
                  <a:lnTo>
                    <a:pt x="120" y="267"/>
                  </a:lnTo>
                  <a:lnTo>
                    <a:pt x="121" y="267"/>
                  </a:lnTo>
                  <a:lnTo>
                    <a:pt x="121" y="269"/>
                  </a:lnTo>
                  <a:lnTo>
                    <a:pt x="122" y="269"/>
                  </a:lnTo>
                  <a:lnTo>
                    <a:pt x="121" y="270"/>
                  </a:lnTo>
                  <a:lnTo>
                    <a:pt x="121" y="271"/>
                  </a:lnTo>
                  <a:lnTo>
                    <a:pt x="122" y="270"/>
                  </a:lnTo>
                  <a:lnTo>
                    <a:pt x="123" y="269"/>
                  </a:lnTo>
                  <a:lnTo>
                    <a:pt x="123" y="270"/>
                  </a:lnTo>
                  <a:lnTo>
                    <a:pt x="123" y="269"/>
                  </a:lnTo>
                  <a:lnTo>
                    <a:pt x="124" y="270"/>
                  </a:lnTo>
                  <a:lnTo>
                    <a:pt x="124" y="269"/>
                  </a:lnTo>
                  <a:lnTo>
                    <a:pt x="126" y="267"/>
                  </a:lnTo>
                  <a:lnTo>
                    <a:pt x="124" y="267"/>
                  </a:lnTo>
                  <a:lnTo>
                    <a:pt x="123" y="269"/>
                  </a:lnTo>
                  <a:lnTo>
                    <a:pt x="124" y="267"/>
                  </a:lnTo>
                  <a:lnTo>
                    <a:pt x="124" y="266"/>
                  </a:lnTo>
                  <a:lnTo>
                    <a:pt x="126" y="266"/>
                  </a:lnTo>
                  <a:lnTo>
                    <a:pt x="124" y="266"/>
                  </a:lnTo>
                  <a:lnTo>
                    <a:pt x="124" y="265"/>
                  </a:lnTo>
                  <a:lnTo>
                    <a:pt x="124" y="264"/>
                  </a:lnTo>
                  <a:lnTo>
                    <a:pt x="126" y="266"/>
                  </a:lnTo>
                  <a:lnTo>
                    <a:pt x="127" y="266"/>
                  </a:lnTo>
                  <a:lnTo>
                    <a:pt x="127" y="267"/>
                  </a:lnTo>
                  <a:lnTo>
                    <a:pt x="129" y="269"/>
                  </a:lnTo>
                  <a:lnTo>
                    <a:pt x="130" y="271"/>
                  </a:lnTo>
                  <a:lnTo>
                    <a:pt x="132" y="273"/>
                  </a:lnTo>
                  <a:lnTo>
                    <a:pt x="129" y="276"/>
                  </a:lnTo>
                  <a:lnTo>
                    <a:pt x="126" y="275"/>
                  </a:lnTo>
                  <a:lnTo>
                    <a:pt x="124" y="275"/>
                  </a:lnTo>
                  <a:lnTo>
                    <a:pt x="122" y="273"/>
                  </a:lnTo>
                  <a:lnTo>
                    <a:pt x="121" y="273"/>
                  </a:lnTo>
                  <a:lnTo>
                    <a:pt x="118" y="273"/>
                  </a:lnTo>
                  <a:lnTo>
                    <a:pt x="115" y="272"/>
                  </a:lnTo>
                  <a:lnTo>
                    <a:pt x="108" y="272"/>
                  </a:lnTo>
                  <a:lnTo>
                    <a:pt x="103" y="271"/>
                  </a:lnTo>
                  <a:lnTo>
                    <a:pt x="102" y="271"/>
                  </a:lnTo>
                  <a:lnTo>
                    <a:pt x="102" y="270"/>
                  </a:lnTo>
                  <a:lnTo>
                    <a:pt x="102" y="271"/>
                  </a:lnTo>
                  <a:lnTo>
                    <a:pt x="100" y="271"/>
                  </a:lnTo>
                  <a:lnTo>
                    <a:pt x="99" y="271"/>
                  </a:lnTo>
                  <a:lnTo>
                    <a:pt x="100" y="272"/>
                  </a:lnTo>
                  <a:lnTo>
                    <a:pt x="103" y="273"/>
                  </a:lnTo>
                  <a:lnTo>
                    <a:pt x="104" y="273"/>
                  </a:lnTo>
                  <a:lnTo>
                    <a:pt x="109" y="273"/>
                  </a:lnTo>
                  <a:lnTo>
                    <a:pt x="111" y="275"/>
                  </a:lnTo>
                  <a:lnTo>
                    <a:pt x="114" y="275"/>
                  </a:lnTo>
                  <a:lnTo>
                    <a:pt x="116" y="275"/>
                  </a:lnTo>
                  <a:lnTo>
                    <a:pt x="118" y="275"/>
                  </a:lnTo>
                  <a:lnTo>
                    <a:pt x="120" y="276"/>
                  </a:lnTo>
                  <a:lnTo>
                    <a:pt x="122" y="277"/>
                  </a:lnTo>
                  <a:lnTo>
                    <a:pt x="126" y="278"/>
                  </a:lnTo>
                  <a:lnTo>
                    <a:pt x="128" y="278"/>
                  </a:lnTo>
                  <a:lnTo>
                    <a:pt x="130" y="279"/>
                  </a:lnTo>
                  <a:lnTo>
                    <a:pt x="130" y="282"/>
                  </a:lnTo>
                  <a:lnTo>
                    <a:pt x="129" y="283"/>
                  </a:lnTo>
                  <a:lnTo>
                    <a:pt x="129" y="284"/>
                  </a:lnTo>
                  <a:lnTo>
                    <a:pt x="129" y="288"/>
                  </a:lnTo>
                  <a:lnTo>
                    <a:pt x="130" y="289"/>
                  </a:lnTo>
                  <a:lnTo>
                    <a:pt x="130" y="293"/>
                  </a:lnTo>
                  <a:lnTo>
                    <a:pt x="132" y="295"/>
                  </a:lnTo>
                  <a:lnTo>
                    <a:pt x="132" y="299"/>
                  </a:lnTo>
                  <a:lnTo>
                    <a:pt x="130" y="303"/>
                  </a:lnTo>
                  <a:lnTo>
                    <a:pt x="130" y="306"/>
                  </a:lnTo>
                  <a:lnTo>
                    <a:pt x="130" y="318"/>
                  </a:lnTo>
                  <a:lnTo>
                    <a:pt x="130" y="321"/>
                  </a:lnTo>
                  <a:lnTo>
                    <a:pt x="130" y="324"/>
                  </a:lnTo>
                  <a:lnTo>
                    <a:pt x="130" y="326"/>
                  </a:lnTo>
                  <a:lnTo>
                    <a:pt x="132" y="327"/>
                  </a:lnTo>
                  <a:lnTo>
                    <a:pt x="133" y="329"/>
                  </a:lnTo>
                  <a:lnTo>
                    <a:pt x="134" y="329"/>
                  </a:lnTo>
                  <a:lnTo>
                    <a:pt x="136" y="329"/>
                  </a:lnTo>
                  <a:lnTo>
                    <a:pt x="141" y="329"/>
                  </a:lnTo>
                  <a:lnTo>
                    <a:pt x="144" y="327"/>
                  </a:lnTo>
                  <a:lnTo>
                    <a:pt x="145" y="326"/>
                  </a:lnTo>
                  <a:lnTo>
                    <a:pt x="145" y="323"/>
                  </a:lnTo>
                  <a:lnTo>
                    <a:pt x="145" y="320"/>
                  </a:lnTo>
                  <a:lnTo>
                    <a:pt x="144" y="317"/>
                  </a:lnTo>
                  <a:lnTo>
                    <a:pt x="144" y="311"/>
                  </a:lnTo>
                  <a:lnTo>
                    <a:pt x="144" y="308"/>
                  </a:lnTo>
                  <a:lnTo>
                    <a:pt x="145" y="307"/>
                  </a:lnTo>
                  <a:lnTo>
                    <a:pt x="144" y="302"/>
                  </a:lnTo>
                  <a:lnTo>
                    <a:pt x="144" y="300"/>
                  </a:lnTo>
                  <a:lnTo>
                    <a:pt x="142" y="294"/>
                  </a:lnTo>
                  <a:lnTo>
                    <a:pt x="142" y="287"/>
                  </a:lnTo>
                  <a:lnTo>
                    <a:pt x="144" y="284"/>
                  </a:lnTo>
                  <a:lnTo>
                    <a:pt x="146" y="283"/>
                  </a:lnTo>
                  <a:lnTo>
                    <a:pt x="152" y="281"/>
                  </a:lnTo>
                  <a:lnTo>
                    <a:pt x="155" y="279"/>
                  </a:lnTo>
                  <a:lnTo>
                    <a:pt x="157" y="277"/>
                  </a:lnTo>
                  <a:lnTo>
                    <a:pt x="161" y="277"/>
                  </a:lnTo>
                  <a:lnTo>
                    <a:pt x="164" y="277"/>
                  </a:lnTo>
                  <a:lnTo>
                    <a:pt x="165" y="277"/>
                  </a:lnTo>
                  <a:lnTo>
                    <a:pt x="167" y="276"/>
                  </a:lnTo>
                  <a:lnTo>
                    <a:pt x="170" y="276"/>
                  </a:lnTo>
                  <a:lnTo>
                    <a:pt x="174" y="275"/>
                  </a:lnTo>
                  <a:lnTo>
                    <a:pt x="176" y="275"/>
                  </a:lnTo>
                  <a:lnTo>
                    <a:pt x="179" y="275"/>
                  </a:lnTo>
                  <a:lnTo>
                    <a:pt x="180" y="275"/>
                  </a:lnTo>
                  <a:lnTo>
                    <a:pt x="181" y="276"/>
                  </a:lnTo>
                  <a:lnTo>
                    <a:pt x="182" y="277"/>
                  </a:lnTo>
                  <a:lnTo>
                    <a:pt x="183" y="278"/>
                  </a:lnTo>
                  <a:lnTo>
                    <a:pt x="185" y="278"/>
                  </a:lnTo>
                  <a:lnTo>
                    <a:pt x="187" y="278"/>
                  </a:lnTo>
                  <a:lnTo>
                    <a:pt x="185" y="276"/>
                  </a:lnTo>
                  <a:lnTo>
                    <a:pt x="181" y="275"/>
                  </a:lnTo>
                  <a:lnTo>
                    <a:pt x="180" y="272"/>
                  </a:lnTo>
                  <a:lnTo>
                    <a:pt x="177" y="271"/>
                  </a:lnTo>
                  <a:lnTo>
                    <a:pt x="179" y="269"/>
                  </a:lnTo>
                  <a:lnTo>
                    <a:pt x="182" y="269"/>
                  </a:lnTo>
                  <a:lnTo>
                    <a:pt x="185" y="270"/>
                  </a:lnTo>
                  <a:lnTo>
                    <a:pt x="187" y="270"/>
                  </a:lnTo>
                  <a:lnTo>
                    <a:pt x="188" y="269"/>
                  </a:lnTo>
                  <a:lnTo>
                    <a:pt x="194" y="270"/>
                  </a:lnTo>
                  <a:lnTo>
                    <a:pt x="198" y="270"/>
                  </a:lnTo>
                  <a:lnTo>
                    <a:pt x="199" y="270"/>
                  </a:lnTo>
                  <a:lnTo>
                    <a:pt x="200" y="270"/>
                  </a:lnTo>
                  <a:lnTo>
                    <a:pt x="201" y="270"/>
                  </a:lnTo>
                  <a:lnTo>
                    <a:pt x="203" y="270"/>
                  </a:lnTo>
                  <a:lnTo>
                    <a:pt x="204" y="270"/>
                  </a:lnTo>
                  <a:lnTo>
                    <a:pt x="204" y="271"/>
                  </a:lnTo>
                  <a:lnTo>
                    <a:pt x="204" y="272"/>
                  </a:lnTo>
                  <a:lnTo>
                    <a:pt x="205" y="273"/>
                  </a:lnTo>
                  <a:lnTo>
                    <a:pt x="208" y="273"/>
                  </a:lnTo>
                  <a:lnTo>
                    <a:pt x="209" y="273"/>
                  </a:lnTo>
                  <a:lnTo>
                    <a:pt x="209" y="275"/>
                  </a:lnTo>
                  <a:lnTo>
                    <a:pt x="209" y="276"/>
                  </a:lnTo>
                  <a:lnTo>
                    <a:pt x="210" y="276"/>
                  </a:lnTo>
                  <a:lnTo>
                    <a:pt x="211" y="277"/>
                  </a:lnTo>
                  <a:lnTo>
                    <a:pt x="212" y="277"/>
                  </a:lnTo>
                  <a:lnTo>
                    <a:pt x="214" y="278"/>
                  </a:lnTo>
                  <a:lnTo>
                    <a:pt x="215" y="278"/>
                  </a:lnTo>
                  <a:lnTo>
                    <a:pt x="216" y="277"/>
                  </a:lnTo>
                  <a:lnTo>
                    <a:pt x="217" y="277"/>
                  </a:lnTo>
                  <a:lnTo>
                    <a:pt x="217" y="276"/>
                  </a:lnTo>
                  <a:lnTo>
                    <a:pt x="220" y="276"/>
                  </a:lnTo>
                  <a:lnTo>
                    <a:pt x="221" y="277"/>
                  </a:lnTo>
                  <a:lnTo>
                    <a:pt x="221" y="278"/>
                  </a:lnTo>
                  <a:lnTo>
                    <a:pt x="222" y="279"/>
                  </a:lnTo>
                  <a:lnTo>
                    <a:pt x="222" y="281"/>
                  </a:lnTo>
                  <a:lnTo>
                    <a:pt x="223" y="281"/>
                  </a:lnTo>
                  <a:lnTo>
                    <a:pt x="224" y="282"/>
                  </a:lnTo>
                  <a:lnTo>
                    <a:pt x="226" y="282"/>
                  </a:lnTo>
                  <a:lnTo>
                    <a:pt x="227" y="281"/>
                  </a:lnTo>
                  <a:lnTo>
                    <a:pt x="228" y="281"/>
                  </a:lnTo>
                  <a:lnTo>
                    <a:pt x="230" y="281"/>
                  </a:lnTo>
                  <a:lnTo>
                    <a:pt x="232" y="282"/>
                  </a:lnTo>
                  <a:lnTo>
                    <a:pt x="232" y="281"/>
                  </a:lnTo>
                  <a:lnTo>
                    <a:pt x="232" y="279"/>
                  </a:lnTo>
                  <a:lnTo>
                    <a:pt x="232" y="278"/>
                  </a:lnTo>
                  <a:lnTo>
                    <a:pt x="232" y="279"/>
                  </a:lnTo>
                  <a:lnTo>
                    <a:pt x="233" y="279"/>
                  </a:lnTo>
                  <a:lnTo>
                    <a:pt x="233" y="278"/>
                  </a:lnTo>
                  <a:lnTo>
                    <a:pt x="233" y="279"/>
                  </a:lnTo>
                  <a:lnTo>
                    <a:pt x="234" y="278"/>
                  </a:lnTo>
                  <a:lnTo>
                    <a:pt x="235" y="279"/>
                  </a:lnTo>
                  <a:lnTo>
                    <a:pt x="236" y="279"/>
                  </a:lnTo>
                  <a:lnTo>
                    <a:pt x="238" y="279"/>
                  </a:lnTo>
                  <a:lnTo>
                    <a:pt x="236" y="278"/>
                  </a:lnTo>
                  <a:lnTo>
                    <a:pt x="238" y="278"/>
                  </a:lnTo>
                  <a:lnTo>
                    <a:pt x="238" y="277"/>
                  </a:lnTo>
                  <a:lnTo>
                    <a:pt x="239" y="277"/>
                  </a:lnTo>
                  <a:lnTo>
                    <a:pt x="240" y="276"/>
                  </a:lnTo>
                  <a:lnTo>
                    <a:pt x="239" y="275"/>
                  </a:lnTo>
                  <a:lnTo>
                    <a:pt x="238" y="276"/>
                  </a:lnTo>
                  <a:lnTo>
                    <a:pt x="236" y="276"/>
                  </a:lnTo>
                  <a:lnTo>
                    <a:pt x="235" y="276"/>
                  </a:lnTo>
                  <a:lnTo>
                    <a:pt x="234" y="277"/>
                  </a:lnTo>
                  <a:lnTo>
                    <a:pt x="233" y="276"/>
                  </a:lnTo>
                  <a:lnTo>
                    <a:pt x="234" y="276"/>
                  </a:lnTo>
                  <a:lnTo>
                    <a:pt x="234" y="275"/>
                  </a:lnTo>
                  <a:lnTo>
                    <a:pt x="234" y="273"/>
                  </a:lnTo>
                  <a:lnTo>
                    <a:pt x="234" y="272"/>
                  </a:lnTo>
                  <a:lnTo>
                    <a:pt x="233" y="272"/>
                  </a:lnTo>
                  <a:lnTo>
                    <a:pt x="233" y="271"/>
                  </a:lnTo>
                  <a:lnTo>
                    <a:pt x="232" y="272"/>
                  </a:lnTo>
                  <a:lnTo>
                    <a:pt x="232" y="271"/>
                  </a:lnTo>
                  <a:lnTo>
                    <a:pt x="230" y="269"/>
                  </a:lnTo>
                  <a:lnTo>
                    <a:pt x="229" y="270"/>
                  </a:lnTo>
                  <a:lnTo>
                    <a:pt x="229" y="269"/>
                  </a:lnTo>
                  <a:lnTo>
                    <a:pt x="227" y="270"/>
                  </a:lnTo>
                  <a:lnTo>
                    <a:pt x="227" y="269"/>
                  </a:lnTo>
                  <a:lnTo>
                    <a:pt x="228" y="269"/>
                  </a:lnTo>
                  <a:lnTo>
                    <a:pt x="228" y="266"/>
                  </a:lnTo>
                  <a:lnTo>
                    <a:pt x="229" y="266"/>
                  </a:lnTo>
                  <a:lnTo>
                    <a:pt x="228" y="266"/>
                  </a:lnTo>
                  <a:lnTo>
                    <a:pt x="228" y="264"/>
                  </a:lnTo>
                  <a:lnTo>
                    <a:pt x="229" y="264"/>
                  </a:lnTo>
                  <a:lnTo>
                    <a:pt x="228" y="263"/>
                  </a:lnTo>
                  <a:lnTo>
                    <a:pt x="227" y="264"/>
                  </a:lnTo>
                  <a:lnTo>
                    <a:pt x="226" y="265"/>
                  </a:lnTo>
                  <a:lnTo>
                    <a:pt x="223" y="265"/>
                  </a:lnTo>
                  <a:lnTo>
                    <a:pt x="222" y="266"/>
                  </a:lnTo>
                  <a:lnTo>
                    <a:pt x="221" y="267"/>
                  </a:lnTo>
                  <a:lnTo>
                    <a:pt x="220" y="266"/>
                  </a:lnTo>
                  <a:lnTo>
                    <a:pt x="221" y="266"/>
                  </a:lnTo>
                  <a:lnTo>
                    <a:pt x="220" y="266"/>
                  </a:lnTo>
                  <a:lnTo>
                    <a:pt x="218" y="265"/>
                  </a:lnTo>
                  <a:lnTo>
                    <a:pt x="217" y="266"/>
                  </a:lnTo>
                  <a:lnTo>
                    <a:pt x="217" y="265"/>
                  </a:lnTo>
                  <a:lnTo>
                    <a:pt x="216" y="265"/>
                  </a:lnTo>
                  <a:lnTo>
                    <a:pt x="215" y="265"/>
                  </a:lnTo>
                  <a:lnTo>
                    <a:pt x="214" y="264"/>
                  </a:lnTo>
                  <a:lnTo>
                    <a:pt x="212" y="265"/>
                  </a:lnTo>
                  <a:lnTo>
                    <a:pt x="212" y="264"/>
                  </a:lnTo>
                  <a:lnTo>
                    <a:pt x="214" y="263"/>
                  </a:lnTo>
                  <a:lnTo>
                    <a:pt x="212" y="261"/>
                  </a:lnTo>
                  <a:lnTo>
                    <a:pt x="211" y="261"/>
                  </a:lnTo>
                  <a:lnTo>
                    <a:pt x="210" y="263"/>
                  </a:lnTo>
                  <a:lnTo>
                    <a:pt x="210" y="261"/>
                  </a:lnTo>
                  <a:lnTo>
                    <a:pt x="210" y="260"/>
                  </a:lnTo>
                  <a:lnTo>
                    <a:pt x="209" y="260"/>
                  </a:lnTo>
                  <a:lnTo>
                    <a:pt x="208" y="259"/>
                  </a:lnTo>
                  <a:lnTo>
                    <a:pt x="206" y="261"/>
                  </a:lnTo>
                  <a:lnTo>
                    <a:pt x="206" y="263"/>
                  </a:lnTo>
                  <a:lnTo>
                    <a:pt x="205" y="263"/>
                  </a:lnTo>
                  <a:lnTo>
                    <a:pt x="205" y="264"/>
                  </a:lnTo>
                  <a:lnTo>
                    <a:pt x="204" y="264"/>
                  </a:lnTo>
                  <a:lnTo>
                    <a:pt x="205" y="265"/>
                  </a:lnTo>
                  <a:lnTo>
                    <a:pt x="204" y="265"/>
                  </a:lnTo>
                  <a:lnTo>
                    <a:pt x="203" y="264"/>
                  </a:lnTo>
                  <a:lnTo>
                    <a:pt x="201" y="265"/>
                  </a:lnTo>
                  <a:lnTo>
                    <a:pt x="203" y="265"/>
                  </a:lnTo>
                  <a:lnTo>
                    <a:pt x="203" y="266"/>
                  </a:lnTo>
                  <a:lnTo>
                    <a:pt x="204" y="266"/>
                  </a:lnTo>
                  <a:lnTo>
                    <a:pt x="204" y="267"/>
                  </a:lnTo>
                  <a:lnTo>
                    <a:pt x="203" y="267"/>
                  </a:lnTo>
                  <a:lnTo>
                    <a:pt x="203" y="269"/>
                  </a:lnTo>
                  <a:lnTo>
                    <a:pt x="201" y="269"/>
                  </a:lnTo>
                  <a:lnTo>
                    <a:pt x="201" y="267"/>
                  </a:lnTo>
                  <a:lnTo>
                    <a:pt x="199" y="267"/>
                  </a:lnTo>
                  <a:lnTo>
                    <a:pt x="198" y="269"/>
                  </a:lnTo>
                  <a:lnTo>
                    <a:pt x="194" y="267"/>
                  </a:lnTo>
                  <a:lnTo>
                    <a:pt x="192" y="267"/>
                  </a:lnTo>
                  <a:lnTo>
                    <a:pt x="188" y="267"/>
                  </a:lnTo>
                  <a:lnTo>
                    <a:pt x="187" y="267"/>
                  </a:lnTo>
                  <a:lnTo>
                    <a:pt x="186" y="267"/>
                  </a:lnTo>
                  <a:lnTo>
                    <a:pt x="185" y="267"/>
                  </a:lnTo>
                  <a:lnTo>
                    <a:pt x="183" y="267"/>
                  </a:lnTo>
                  <a:lnTo>
                    <a:pt x="181" y="267"/>
                  </a:lnTo>
                  <a:lnTo>
                    <a:pt x="180" y="266"/>
                  </a:lnTo>
                  <a:lnTo>
                    <a:pt x="177" y="266"/>
                  </a:lnTo>
                  <a:lnTo>
                    <a:pt x="176" y="265"/>
                  </a:lnTo>
                  <a:lnTo>
                    <a:pt x="175" y="264"/>
                  </a:lnTo>
                  <a:lnTo>
                    <a:pt x="174" y="264"/>
                  </a:lnTo>
                  <a:lnTo>
                    <a:pt x="171" y="265"/>
                  </a:lnTo>
                  <a:lnTo>
                    <a:pt x="170" y="264"/>
                  </a:lnTo>
                  <a:lnTo>
                    <a:pt x="168" y="264"/>
                  </a:lnTo>
                  <a:lnTo>
                    <a:pt x="167" y="261"/>
                  </a:lnTo>
                  <a:lnTo>
                    <a:pt x="167" y="260"/>
                  </a:lnTo>
                  <a:lnTo>
                    <a:pt x="165" y="261"/>
                  </a:lnTo>
                  <a:lnTo>
                    <a:pt x="164" y="260"/>
                  </a:lnTo>
                  <a:lnTo>
                    <a:pt x="163" y="260"/>
                  </a:lnTo>
                  <a:lnTo>
                    <a:pt x="162" y="260"/>
                  </a:lnTo>
                  <a:lnTo>
                    <a:pt x="159" y="259"/>
                  </a:lnTo>
                  <a:lnTo>
                    <a:pt x="158" y="257"/>
                  </a:lnTo>
                  <a:lnTo>
                    <a:pt x="158" y="258"/>
                  </a:lnTo>
                  <a:lnTo>
                    <a:pt x="158" y="257"/>
                  </a:lnTo>
                  <a:lnTo>
                    <a:pt x="159" y="257"/>
                  </a:lnTo>
                  <a:lnTo>
                    <a:pt x="159" y="255"/>
                  </a:lnTo>
                  <a:lnTo>
                    <a:pt x="159" y="254"/>
                  </a:lnTo>
                  <a:lnTo>
                    <a:pt x="161" y="254"/>
                  </a:lnTo>
                  <a:lnTo>
                    <a:pt x="159" y="255"/>
                  </a:lnTo>
                  <a:lnTo>
                    <a:pt x="161" y="255"/>
                  </a:lnTo>
                  <a:lnTo>
                    <a:pt x="161" y="257"/>
                  </a:lnTo>
                  <a:lnTo>
                    <a:pt x="161" y="258"/>
                  </a:lnTo>
                  <a:lnTo>
                    <a:pt x="162" y="258"/>
                  </a:lnTo>
                  <a:lnTo>
                    <a:pt x="163" y="258"/>
                  </a:lnTo>
                  <a:lnTo>
                    <a:pt x="164" y="258"/>
                  </a:lnTo>
                  <a:lnTo>
                    <a:pt x="164" y="257"/>
                  </a:lnTo>
                  <a:lnTo>
                    <a:pt x="165" y="257"/>
                  </a:lnTo>
                  <a:lnTo>
                    <a:pt x="167" y="258"/>
                  </a:lnTo>
                  <a:lnTo>
                    <a:pt x="168" y="257"/>
                  </a:lnTo>
                  <a:lnTo>
                    <a:pt x="169" y="257"/>
                  </a:lnTo>
                  <a:lnTo>
                    <a:pt x="169" y="258"/>
                  </a:lnTo>
                  <a:lnTo>
                    <a:pt x="170" y="258"/>
                  </a:lnTo>
                  <a:lnTo>
                    <a:pt x="171" y="258"/>
                  </a:lnTo>
                  <a:lnTo>
                    <a:pt x="171" y="257"/>
                  </a:lnTo>
                  <a:lnTo>
                    <a:pt x="171" y="255"/>
                  </a:lnTo>
                  <a:lnTo>
                    <a:pt x="170" y="255"/>
                  </a:lnTo>
                  <a:lnTo>
                    <a:pt x="170" y="253"/>
                  </a:lnTo>
                  <a:lnTo>
                    <a:pt x="170" y="252"/>
                  </a:lnTo>
                  <a:lnTo>
                    <a:pt x="169" y="252"/>
                  </a:lnTo>
                  <a:lnTo>
                    <a:pt x="169" y="251"/>
                  </a:lnTo>
                  <a:lnTo>
                    <a:pt x="168" y="252"/>
                  </a:lnTo>
                  <a:lnTo>
                    <a:pt x="168" y="251"/>
                  </a:lnTo>
                  <a:lnTo>
                    <a:pt x="169" y="251"/>
                  </a:lnTo>
                  <a:lnTo>
                    <a:pt x="170" y="251"/>
                  </a:lnTo>
                  <a:lnTo>
                    <a:pt x="171" y="251"/>
                  </a:lnTo>
                  <a:lnTo>
                    <a:pt x="173" y="251"/>
                  </a:lnTo>
                  <a:lnTo>
                    <a:pt x="173" y="249"/>
                  </a:lnTo>
                  <a:lnTo>
                    <a:pt x="171" y="248"/>
                  </a:lnTo>
                  <a:lnTo>
                    <a:pt x="173" y="248"/>
                  </a:lnTo>
                  <a:lnTo>
                    <a:pt x="174" y="247"/>
                  </a:lnTo>
                  <a:lnTo>
                    <a:pt x="173" y="248"/>
                  </a:lnTo>
                  <a:lnTo>
                    <a:pt x="174" y="249"/>
                  </a:lnTo>
                  <a:lnTo>
                    <a:pt x="174" y="248"/>
                  </a:lnTo>
                  <a:lnTo>
                    <a:pt x="175" y="248"/>
                  </a:lnTo>
                  <a:lnTo>
                    <a:pt x="176" y="248"/>
                  </a:lnTo>
                  <a:lnTo>
                    <a:pt x="176" y="251"/>
                  </a:lnTo>
                  <a:lnTo>
                    <a:pt x="177" y="249"/>
                  </a:lnTo>
                  <a:lnTo>
                    <a:pt x="177" y="251"/>
                  </a:lnTo>
                  <a:lnTo>
                    <a:pt x="180" y="252"/>
                  </a:lnTo>
                  <a:lnTo>
                    <a:pt x="181" y="254"/>
                  </a:lnTo>
                  <a:lnTo>
                    <a:pt x="181" y="255"/>
                  </a:lnTo>
                  <a:lnTo>
                    <a:pt x="181" y="254"/>
                  </a:lnTo>
                  <a:lnTo>
                    <a:pt x="180" y="254"/>
                  </a:lnTo>
                  <a:lnTo>
                    <a:pt x="180" y="255"/>
                  </a:lnTo>
                  <a:lnTo>
                    <a:pt x="180" y="257"/>
                  </a:lnTo>
                  <a:lnTo>
                    <a:pt x="181" y="257"/>
                  </a:lnTo>
                  <a:lnTo>
                    <a:pt x="180" y="257"/>
                  </a:lnTo>
                  <a:lnTo>
                    <a:pt x="179" y="255"/>
                  </a:lnTo>
                  <a:lnTo>
                    <a:pt x="179" y="257"/>
                  </a:lnTo>
                  <a:lnTo>
                    <a:pt x="180" y="257"/>
                  </a:lnTo>
                  <a:lnTo>
                    <a:pt x="180" y="258"/>
                  </a:lnTo>
                  <a:lnTo>
                    <a:pt x="179" y="258"/>
                  </a:lnTo>
                  <a:lnTo>
                    <a:pt x="179" y="259"/>
                  </a:lnTo>
                  <a:lnTo>
                    <a:pt x="180" y="259"/>
                  </a:lnTo>
                  <a:lnTo>
                    <a:pt x="181" y="259"/>
                  </a:lnTo>
                  <a:lnTo>
                    <a:pt x="182" y="260"/>
                  </a:lnTo>
                  <a:lnTo>
                    <a:pt x="183" y="260"/>
                  </a:lnTo>
                  <a:lnTo>
                    <a:pt x="182" y="260"/>
                  </a:lnTo>
                  <a:lnTo>
                    <a:pt x="182" y="259"/>
                  </a:lnTo>
                  <a:lnTo>
                    <a:pt x="183" y="258"/>
                  </a:lnTo>
                  <a:lnTo>
                    <a:pt x="183" y="260"/>
                  </a:lnTo>
                  <a:lnTo>
                    <a:pt x="185" y="260"/>
                  </a:lnTo>
                  <a:lnTo>
                    <a:pt x="186" y="259"/>
                  </a:lnTo>
                  <a:lnTo>
                    <a:pt x="186" y="260"/>
                  </a:lnTo>
                  <a:lnTo>
                    <a:pt x="187" y="260"/>
                  </a:lnTo>
                  <a:lnTo>
                    <a:pt x="188" y="260"/>
                  </a:lnTo>
                  <a:lnTo>
                    <a:pt x="189" y="260"/>
                  </a:lnTo>
                  <a:lnTo>
                    <a:pt x="189" y="259"/>
                  </a:lnTo>
                  <a:lnTo>
                    <a:pt x="188" y="258"/>
                  </a:lnTo>
                  <a:lnTo>
                    <a:pt x="187" y="255"/>
                  </a:lnTo>
                  <a:lnTo>
                    <a:pt x="188" y="257"/>
                  </a:lnTo>
                  <a:lnTo>
                    <a:pt x="189" y="257"/>
                  </a:lnTo>
                  <a:lnTo>
                    <a:pt x="191" y="257"/>
                  </a:lnTo>
                  <a:lnTo>
                    <a:pt x="192" y="257"/>
                  </a:lnTo>
                  <a:lnTo>
                    <a:pt x="192" y="255"/>
                  </a:lnTo>
                  <a:lnTo>
                    <a:pt x="193" y="253"/>
                  </a:lnTo>
                  <a:lnTo>
                    <a:pt x="193" y="252"/>
                  </a:lnTo>
                  <a:lnTo>
                    <a:pt x="194" y="249"/>
                  </a:lnTo>
                  <a:lnTo>
                    <a:pt x="194" y="248"/>
                  </a:lnTo>
                  <a:lnTo>
                    <a:pt x="193" y="247"/>
                  </a:lnTo>
                  <a:lnTo>
                    <a:pt x="193" y="248"/>
                  </a:lnTo>
                  <a:lnTo>
                    <a:pt x="192" y="247"/>
                  </a:lnTo>
                  <a:lnTo>
                    <a:pt x="191" y="246"/>
                  </a:lnTo>
                  <a:lnTo>
                    <a:pt x="189" y="247"/>
                  </a:lnTo>
                  <a:lnTo>
                    <a:pt x="189" y="246"/>
                  </a:lnTo>
                  <a:lnTo>
                    <a:pt x="191" y="246"/>
                  </a:lnTo>
                  <a:lnTo>
                    <a:pt x="192" y="246"/>
                  </a:lnTo>
                  <a:lnTo>
                    <a:pt x="193" y="246"/>
                  </a:lnTo>
                  <a:lnTo>
                    <a:pt x="195" y="246"/>
                  </a:lnTo>
                  <a:lnTo>
                    <a:pt x="195" y="247"/>
                  </a:lnTo>
                  <a:lnTo>
                    <a:pt x="194" y="248"/>
                  </a:lnTo>
                  <a:lnTo>
                    <a:pt x="195" y="248"/>
                  </a:lnTo>
                  <a:lnTo>
                    <a:pt x="195" y="249"/>
                  </a:lnTo>
                  <a:lnTo>
                    <a:pt x="197" y="249"/>
                  </a:lnTo>
                  <a:lnTo>
                    <a:pt x="195" y="248"/>
                  </a:lnTo>
                  <a:lnTo>
                    <a:pt x="197" y="248"/>
                  </a:lnTo>
                  <a:lnTo>
                    <a:pt x="198" y="249"/>
                  </a:lnTo>
                  <a:lnTo>
                    <a:pt x="199" y="249"/>
                  </a:lnTo>
                  <a:lnTo>
                    <a:pt x="200" y="249"/>
                  </a:lnTo>
                  <a:lnTo>
                    <a:pt x="200" y="251"/>
                  </a:lnTo>
                  <a:lnTo>
                    <a:pt x="201" y="249"/>
                  </a:lnTo>
                  <a:lnTo>
                    <a:pt x="203" y="251"/>
                  </a:lnTo>
                  <a:lnTo>
                    <a:pt x="204" y="251"/>
                  </a:lnTo>
                  <a:lnTo>
                    <a:pt x="205" y="251"/>
                  </a:lnTo>
                  <a:lnTo>
                    <a:pt x="206" y="249"/>
                  </a:lnTo>
                  <a:lnTo>
                    <a:pt x="208" y="248"/>
                  </a:lnTo>
                  <a:lnTo>
                    <a:pt x="209" y="248"/>
                  </a:lnTo>
                  <a:lnTo>
                    <a:pt x="210" y="248"/>
                  </a:lnTo>
                  <a:lnTo>
                    <a:pt x="211" y="248"/>
                  </a:lnTo>
                  <a:lnTo>
                    <a:pt x="214" y="248"/>
                  </a:lnTo>
                  <a:lnTo>
                    <a:pt x="215" y="247"/>
                  </a:lnTo>
                  <a:lnTo>
                    <a:pt x="216" y="248"/>
                  </a:lnTo>
                  <a:lnTo>
                    <a:pt x="217" y="247"/>
                  </a:lnTo>
                  <a:lnTo>
                    <a:pt x="217" y="248"/>
                  </a:lnTo>
                  <a:lnTo>
                    <a:pt x="218" y="248"/>
                  </a:lnTo>
                  <a:lnTo>
                    <a:pt x="220" y="247"/>
                  </a:lnTo>
                  <a:lnTo>
                    <a:pt x="220" y="248"/>
                  </a:lnTo>
                  <a:lnTo>
                    <a:pt x="221" y="247"/>
                  </a:lnTo>
                  <a:lnTo>
                    <a:pt x="222" y="248"/>
                  </a:lnTo>
                  <a:lnTo>
                    <a:pt x="222" y="249"/>
                  </a:lnTo>
                  <a:lnTo>
                    <a:pt x="221" y="249"/>
                  </a:lnTo>
                  <a:lnTo>
                    <a:pt x="220" y="249"/>
                  </a:lnTo>
                  <a:lnTo>
                    <a:pt x="218" y="249"/>
                  </a:lnTo>
                  <a:lnTo>
                    <a:pt x="218" y="248"/>
                  </a:lnTo>
                  <a:lnTo>
                    <a:pt x="218" y="249"/>
                  </a:lnTo>
                  <a:lnTo>
                    <a:pt x="217" y="248"/>
                  </a:lnTo>
                  <a:lnTo>
                    <a:pt x="217" y="249"/>
                  </a:lnTo>
                  <a:lnTo>
                    <a:pt x="216" y="248"/>
                  </a:lnTo>
                  <a:lnTo>
                    <a:pt x="216" y="249"/>
                  </a:lnTo>
                  <a:lnTo>
                    <a:pt x="215" y="248"/>
                  </a:lnTo>
                  <a:lnTo>
                    <a:pt x="215" y="249"/>
                  </a:lnTo>
                  <a:lnTo>
                    <a:pt x="215" y="251"/>
                  </a:lnTo>
                  <a:lnTo>
                    <a:pt x="214" y="248"/>
                  </a:lnTo>
                  <a:lnTo>
                    <a:pt x="212" y="249"/>
                  </a:lnTo>
                  <a:lnTo>
                    <a:pt x="214" y="249"/>
                  </a:lnTo>
                  <a:lnTo>
                    <a:pt x="214" y="252"/>
                  </a:lnTo>
                  <a:lnTo>
                    <a:pt x="215" y="252"/>
                  </a:lnTo>
                  <a:lnTo>
                    <a:pt x="214" y="252"/>
                  </a:lnTo>
                  <a:lnTo>
                    <a:pt x="214" y="253"/>
                  </a:lnTo>
                  <a:lnTo>
                    <a:pt x="215" y="253"/>
                  </a:lnTo>
                  <a:lnTo>
                    <a:pt x="215" y="252"/>
                  </a:lnTo>
                  <a:lnTo>
                    <a:pt x="216" y="253"/>
                  </a:lnTo>
                  <a:lnTo>
                    <a:pt x="216" y="252"/>
                  </a:lnTo>
                  <a:lnTo>
                    <a:pt x="217" y="253"/>
                  </a:lnTo>
                  <a:lnTo>
                    <a:pt x="218" y="253"/>
                  </a:lnTo>
                  <a:lnTo>
                    <a:pt x="220" y="255"/>
                  </a:lnTo>
                  <a:lnTo>
                    <a:pt x="221" y="255"/>
                  </a:lnTo>
                  <a:lnTo>
                    <a:pt x="222" y="254"/>
                  </a:lnTo>
                  <a:lnTo>
                    <a:pt x="222" y="253"/>
                  </a:lnTo>
                  <a:lnTo>
                    <a:pt x="223" y="253"/>
                  </a:lnTo>
                  <a:lnTo>
                    <a:pt x="222" y="254"/>
                  </a:lnTo>
                  <a:lnTo>
                    <a:pt x="223" y="255"/>
                  </a:lnTo>
                  <a:lnTo>
                    <a:pt x="223" y="254"/>
                  </a:lnTo>
                  <a:lnTo>
                    <a:pt x="223" y="255"/>
                  </a:lnTo>
                  <a:lnTo>
                    <a:pt x="222" y="257"/>
                  </a:lnTo>
                  <a:lnTo>
                    <a:pt x="224" y="257"/>
                  </a:lnTo>
                  <a:lnTo>
                    <a:pt x="223" y="258"/>
                  </a:lnTo>
                  <a:lnTo>
                    <a:pt x="224" y="258"/>
                  </a:lnTo>
                  <a:lnTo>
                    <a:pt x="223" y="259"/>
                  </a:lnTo>
                  <a:lnTo>
                    <a:pt x="224" y="259"/>
                  </a:lnTo>
                  <a:lnTo>
                    <a:pt x="223" y="259"/>
                  </a:lnTo>
                  <a:lnTo>
                    <a:pt x="222" y="260"/>
                  </a:lnTo>
                  <a:lnTo>
                    <a:pt x="222" y="261"/>
                  </a:lnTo>
                  <a:lnTo>
                    <a:pt x="222" y="263"/>
                  </a:lnTo>
                  <a:lnTo>
                    <a:pt x="223" y="263"/>
                  </a:lnTo>
                  <a:lnTo>
                    <a:pt x="224" y="263"/>
                  </a:lnTo>
                  <a:lnTo>
                    <a:pt x="226" y="263"/>
                  </a:lnTo>
                  <a:lnTo>
                    <a:pt x="226" y="261"/>
                  </a:lnTo>
                  <a:lnTo>
                    <a:pt x="228" y="261"/>
                  </a:lnTo>
                  <a:lnTo>
                    <a:pt x="229" y="261"/>
                  </a:lnTo>
                  <a:lnTo>
                    <a:pt x="230" y="261"/>
                  </a:lnTo>
                  <a:lnTo>
                    <a:pt x="232" y="261"/>
                  </a:lnTo>
                  <a:lnTo>
                    <a:pt x="234" y="261"/>
                  </a:lnTo>
                  <a:lnTo>
                    <a:pt x="235" y="261"/>
                  </a:lnTo>
                  <a:lnTo>
                    <a:pt x="236" y="261"/>
                  </a:lnTo>
                  <a:lnTo>
                    <a:pt x="236" y="263"/>
                  </a:lnTo>
                  <a:lnTo>
                    <a:pt x="238" y="264"/>
                  </a:lnTo>
                  <a:lnTo>
                    <a:pt x="239" y="264"/>
                  </a:lnTo>
                  <a:lnTo>
                    <a:pt x="240" y="264"/>
                  </a:lnTo>
                  <a:lnTo>
                    <a:pt x="241" y="264"/>
                  </a:lnTo>
                  <a:lnTo>
                    <a:pt x="241" y="263"/>
                  </a:lnTo>
                  <a:lnTo>
                    <a:pt x="241" y="261"/>
                  </a:lnTo>
                  <a:lnTo>
                    <a:pt x="242" y="260"/>
                  </a:lnTo>
                  <a:lnTo>
                    <a:pt x="244" y="260"/>
                  </a:lnTo>
                  <a:lnTo>
                    <a:pt x="245" y="259"/>
                  </a:lnTo>
                  <a:lnTo>
                    <a:pt x="246" y="258"/>
                  </a:lnTo>
                  <a:lnTo>
                    <a:pt x="246" y="257"/>
                  </a:lnTo>
                  <a:lnTo>
                    <a:pt x="245" y="257"/>
                  </a:lnTo>
                  <a:lnTo>
                    <a:pt x="245" y="258"/>
                  </a:lnTo>
                  <a:lnTo>
                    <a:pt x="244" y="258"/>
                  </a:lnTo>
                  <a:lnTo>
                    <a:pt x="242" y="258"/>
                  </a:lnTo>
                  <a:lnTo>
                    <a:pt x="242" y="257"/>
                  </a:lnTo>
                  <a:lnTo>
                    <a:pt x="242" y="255"/>
                  </a:lnTo>
                  <a:lnTo>
                    <a:pt x="241" y="257"/>
                  </a:lnTo>
                  <a:lnTo>
                    <a:pt x="241" y="255"/>
                  </a:lnTo>
                  <a:lnTo>
                    <a:pt x="240" y="255"/>
                  </a:lnTo>
                  <a:lnTo>
                    <a:pt x="241" y="254"/>
                  </a:lnTo>
                  <a:lnTo>
                    <a:pt x="241" y="253"/>
                  </a:lnTo>
                  <a:lnTo>
                    <a:pt x="239" y="253"/>
                  </a:lnTo>
                  <a:lnTo>
                    <a:pt x="238" y="252"/>
                  </a:lnTo>
                  <a:lnTo>
                    <a:pt x="239" y="251"/>
                  </a:lnTo>
                  <a:lnTo>
                    <a:pt x="240" y="251"/>
                  </a:lnTo>
                  <a:lnTo>
                    <a:pt x="240" y="249"/>
                  </a:lnTo>
                  <a:lnTo>
                    <a:pt x="241" y="249"/>
                  </a:lnTo>
                  <a:lnTo>
                    <a:pt x="240" y="248"/>
                  </a:lnTo>
                  <a:lnTo>
                    <a:pt x="239" y="248"/>
                  </a:lnTo>
                  <a:lnTo>
                    <a:pt x="239" y="247"/>
                  </a:lnTo>
                  <a:lnTo>
                    <a:pt x="239" y="246"/>
                  </a:lnTo>
                  <a:lnTo>
                    <a:pt x="240" y="246"/>
                  </a:lnTo>
                  <a:lnTo>
                    <a:pt x="241" y="246"/>
                  </a:lnTo>
                  <a:lnTo>
                    <a:pt x="242" y="246"/>
                  </a:lnTo>
                  <a:lnTo>
                    <a:pt x="244" y="246"/>
                  </a:lnTo>
                  <a:lnTo>
                    <a:pt x="245" y="247"/>
                  </a:lnTo>
                  <a:lnTo>
                    <a:pt x="245" y="246"/>
                  </a:lnTo>
                  <a:lnTo>
                    <a:pt x="246" y="246"/>
                  </a:lnTo>
                  <a:lnTo>
                    <a:pt x="247" y="246"/>
                  </a:lnTo>
                  <a:lnTo>
                    <a:pt x="248" y="246"/>
                  </a:lnTo>
                  <a:lnTo>
                    <a:pt x="250" y="246"/>
                  </a:lnTo>
                  <a:lnTo>
                    <a:pt x="251" y="246"/>
                  </a:lnTo>
                  <a:lnTo>
                    <a:pt x="252" y="247"/>
                  </a:lnTo>
                  <a:lnTo>
                    <a:pt x="253" y="247"/>
                  </a:lnTo>
                  <a:lnTo>
                    <a:pt x="257" y="247"/>
                  </a:lnTo>
                  <a:lnTo>
                    <a:pt x="258" y="248"/>
                  </a:lnTo>
                  <a:lnTo>
                    <a:pt x="258" y="247"/>
                  </a:lnTo>
                  <a:lnTo>
                    <a:pt x="259" y="247"/>
                  </a:lnTo>
                  <a:lnTo>
                    <a:pt x="260" y="247"/>
                  </a:lnTo>
                  <a:lnTo>
                    <a:pt x="262" y="246"/>
                  </a:lnTo>
                  <a:lnTo>
                    <a:pt x="260" y="245"/>
                  </a:lnTo>
                  <a:lnTo>
                    <a:pt x="259" y="245"/>
                  </a:lnTo>
                  <a:lnTo>
                    <a:pt x="258" y="245"/>
                  </a:lnTo>
                  <a:lnTo>
                    <a:pt x="259" y="245"/>
                  </a:lnTo>
                  <a:lnTo>
                    <a:pt x="259" y="243"/>
                  </a:lnTo>
                  <a:lnTo>
                    <a:pt x="260" y="243"/>
                  </a:lnTo>
                  <a:lnTo>
                    <a:pt x="260" y="242"/>
                  </a:lnTo>
                  <a:lnTo>
                    <a:pt x="262" y="242"/>
                  </a:lnTo>
                  <a:lnTo>
                    <a:pt x="262" y="241"/>
                  </a:lnTo>
                  <a:lnTo>
                    <a:pt x="260" y="240"/>
                  </a:lnTo>
                  <a:lnTo>
                    <a:pt x="259" y="240"/>
                  </a:lnTo>
                  <a:lnTo>
                    <a:pt x="259" y="238"/>
                  </a:lnTo>
                  <a:lnTo>
                    <a:pt x="258" y="238"/>
                  </a:lnTo>
                  <a:lnTo>
                    <a:pt x="258" y="240"/>
                  </a:lnTo>
                  <a:lnTo>
                    <a:pt x="257" y="240"/>
                  </a:lnTo>
                  <a:lnTo>
                    <a:pt x="257" y="238"/>
                  </a:lnTo>
                  <a:lnTo>
                    <a:pt x="256" y="238"/>
                  </a:lnTo>
                  <a:lnTo>
                    <a:pt x="254" y="237"/>
                  </a:lnTo>
                  <a:lnTo>
                    <a:pt x="256" y="236"/>
                  </a:lnTo>
                  <a:lnTo>
                    <a:pt x="257" y="236"/>
                  </a:lnTo>
                  <a:lnTo>
                    <a:pt x="258" y="236"/>
                  </a:lnTo>
                  <a:lnTo>
                    <a:pt x="259" y="236"/>
                  </a:lnTo>
                  <a:lnTo>
                    <a:pt x="260" y="235"/>
                  </a:lnTo>
                  <a:lnTo>
                    <a:pt x="262" y="235"/>
                  </a:lnTo>
                  <a:lnTo>
                    <a:pt x="262" y="234"/>
                  </a:lnTo>
                  <a:lnTo>
                    <a:pt x="263" y="234"/>
                  </a:lnTo>
                  <a:lnTo>
                    <a:pt x="263" y="232"/>
                  </a:lnTo>
                  <a:lnTo>
                    <a:pt x="264" y="231"/>
                  </a:lnTo>
                  <a:lnTo>
                    <a:pt x="263" y="231"/>
                  </a:lnTo>
                  <a:lnTo>
                    <a:pt x="263" y="230"/>
                  </a:lnTo>
                  <a:lnTo>
                    <a:pt x="263" y="231"/>
                  </a:lnTo>
                  <a:lnTo>
                    <a:pt x="262" y="231"/>
                  </a:lnTo>
                  <a:lnTo>
                    <a:pt x="260" y="232"/>
                  </a:lnTo>
                  <a:lnTo>
                    <a:pt x="259" y="232"/>
                  </a:lnTo>
                  <a:lnTo>
                    <a:pt x="260" y="231"/>
                  </a:lnTo>
                  <a:lnTo>
                    <a:pt x="259" y="230"/>
                  </a:lnTo>
                  <a:lnTo>
                    <a:pt x="258" y="231"/>
                  </a:lnTo>
                  <a:lnTo>
                    <a:pt x="257" y="232"/>
                  </a:lnTo>
                  <a:lnTo>
                    <a:pt x="256" y="234"/>
                  </a:lnTo>
                  <a:lnTo>
                    <a:pt x="254" y="234"/>
                  </a:lnTo>
                  <a:lnTo>
                    <a:pt x="252" y="234"/>
                  </a:lnTo>
                  <a:lnTo>
                    <a:pt x="253" y="232"/>
                  </a:lnTo>
                  <a:lnTo>
                    <a:pt x="253" y="231"/>
                  </a:lnTo>
                  <a:lnTo>
                    <a:pt x="253" y="230"/>
                  </a:lnTo>
                  <a:lnTo>
                    <a:pt x="252" y="230"/>
                  </a:lnTo>
                  <a:lnTo>
                    <a:pt x="252" y="231"/>
                  </a:lnTo>
                  <a:lnTo>
                    <a:pt x="251" y="231"/>
                  </a:lnTo>
                  <a:lnTo>
                    <a:pt x="251" y="230"/>
                  </a:lnTo>
                  <a:lnTo>
                    <a:pt x="251" y="229"/>
                  </a:lnTo>
                  <a:lnTo>
                    <a:pt x="252" y="228"/>
                  </a:lnTo>
                  <a:lnTo>
                    <a:pt x="251" y="228"/>
                  </a:lnTo>
                  <a:lnTo>
                    <a:pt x="250" y="228"/>
                  </a:lnTo>
                  <a:lnTo>
                    <a:pt x="248" y="229"/>
                  </a:lnTo>
                  <a:lnTo>
                    <a:pt x="247" y="229"/>
                  </a:lnTo>
                  <a:lnTo>
                    <a:pt x="247" y="228"/>
                  </a:lnTo>
                  <a:lnTo>
                    <a:pt x="246" y="228"/>
                  </a:lnTo>
                  <a:lnTo>
                    <a:pt x="246" y="229"/>
                  </a:lnTo>
                  <a:lnTo>
                    <a:pt x="245" y="229"/>
                  </a:lnTo>
                  <a:lnTo>
                    <a:pt x="245" y="228"/>
                  </a:lnTo>
                  <a:lnTo>
                    <a:pt x="244" y="226"/>
                  </a:lnTo>
                  <a:lnTo>
                    <a:pt x="242" y="226"/>
                  </a:lnTo>
                  <a:lnTo>
                    <a:pt x="244" y="226"/>
                  </a:lnTo>
                  <a:lnTo>
                    <a:pt x="244" y="225"/>
                  </a:lnTo>
                  <a:lnTo>
                    <a:pt x="245" y="225"/>
                  </a:lnTo>
                  <a:lnTo>
                    <a:pt x="245" y="224"/>
                  </a:lnTo>
                  <a:lnTo>
                    <a:pt x="244" y="223"/>
                  </a:lnTo>
                  <a:lnTo>
                    <a:pt x="244" y="224"/>
                  </a:lnTo>
                  <a:lnTo>
                    <a:pt x="242" y="224"/>
                  </a:lnTo>
                  <a:lnTo>
                    <a:pt x="241" y="224"/>
                  </a:lnTo>
                  <a:lnTo>
                    <a:pt x="241" y="225"/>
                  </a:lnTo>
                  <a:lnTo>
                    <a:pt x="241" y="224"/>
                  </a:lnTo>
                  <a:lnTo>
                    <a:pt x="241" y="223"/>
                  </a:lnTo>
                  <a:lnTo>
                    <a:pt x="240" y="223"/>
                  </a:lnTo>
                  <a:lnTo>
                    <a:pt x="240" y="224"/>
                  </a:lnTo>
                  <a:lnTo>
                    <a:pt x="239" y="224"/>
                  </a:lnTo>
                  <a:lnTo>
                    <a:pt x="239" y="223"/>
                  </a:lnTo>
                  <a:lnTo>
                    <a:pt x="240" y="223"/>
                  </a:lnTo>
                  <a:lnTo>
                    <a:pt x="240" y="222"/>
                  </a:lnTo>
                  <a:lnTo>
                    <a:pt x="239" y="222"/>
                  </a:lnTo>
                  <a:lnTo>
                    <a:pt x="239" y="223"/>
                  </a:lnTo>
                  <a:lnTo>
                    <a:pt x="238" y="223"/>
                  </a:lnTo>
                  <a:lnTo>
                    <a:pt x="239" y="222"/>
                  </a:lnTo>
                  <a:lnTo>
                    <a:pt x="239" y="220"/>
                  </a:lnTo>
                  <a:lnTo>
                    <a:pt x="238" y="220"/>
                  </a:lnTo>
                  <a:lnTo>
                    <a:pt x="236" y="220"/>
                  </a:lnTo>
                  <a:lnTo>
                    <a:pt x="236" y="219"/>
                  </a:lnTo>
                  <a:lnTo>
                    <a:pt x="235" y="219"/>
                  </a:lnTo>
                  <a:lnTo>
                    <a:pt x="234" y="219"/>
                  </a:lnTo>
                  <a:lnTo>
                    <a:pt x="232" y="219"/>
                  </a:lnTo>
                  <a:lnTo>
                    <a:pt x="232" y="220"/>
                  </a:lnTo>
                  <a:lnTo>
                    <a:pt x="230" y="220"/>
                  </a:lnTo>
                  <a:lnTo>
                    <a:pt x="229" y="220"/>
                  </a:lnTo>
                  <a:lnTo>
                    <a:pt x="228" y="220"/>
                  </a:lnTo>
                  <a:lnTo>
                    <a:pt x="228" y="219"/>
                  </a:lnTo>
                  <a:lnTo>
                    <a:pt x="227" y="219"/>
                  </a:lnTo>
                  <a:lnTo>
                    <a:pt x="226" y="219"/>
                  </a:lnTo>
                  <a:lnTo>
                    <a:pt x="224" y="219"/>
                  </a:lnTo>
                  <a:lnTo>
                    <a:pt x="224" y="218"/>
                  </a:lnTo>
                  <a:lnTo>
                    <a:pt x="224" y="217"/>
                  </a:lnTo>
                  <a:lnTo>
                    <a:pt x="223" y="217"/>
                  </a:lnTo>
                  <a:lnTo>
                    <a:pt x="223" y="216"/>
                  </a:lnTo>
                  <a:lnTo>
                    <a:pt x="221" y="214"/>
                  </a:lnTo>
                  <a:lnTo>
                    <a:pt x="220" y="213"/>
                  </a:lnTo>
                  <a:lnTo>
                    <a:pt x="221" y="212"/>
                  </a:lnTo>
                  <a:lnTo>
                    <a:pt x="220" y="213"/>
                  </a:lnTo>
                  <a:lnTo>
                    <a:pt x="220" y="212"/>
                  </a:lnTo>
                  <a:lnTo>
                    <a:pt x="218" y="213"/>
                  </a:lnTo>
                  <a:lnTo>
                    <a:pt x="218" y="212"/>
                  </a:lnTo>
                  <a:lnTo>
                    <a:pt x="217" y="212"/>
                  </a:lnTo>
                  <a:lnTo>
                    <a:pt x="216" y="212"/>
                  </a:lnTo>
                  <a:lnTo>
                    <a:pt x="215" y="212"/>
                  </a:lnTo>
                  <a:lnTo>
                    <a:pt x="214" y="212"/>
                  </a:lnTo>
                  <a:lnTo>
                    <a:pt x="212" y="212"/>
                  </a:lnTo>
                  <a:lnTo>
                    <a:pt x="214" y="211"/>
                  </a:lnTo>
                  <a:lnTo>
                    <a:pt x="212" y="211"/>
                  </a:lnTo>
                  <a:lnTo>
                    <a:pt x="212" y="212"/>
                  </a:lnTo>
                  <a:lnTo>
                    <a:pt x="211" y="212"/>
                  </a:lnTo>
                  <a:lnTo>
                    <a:pt x="211" y="211"/>
                  </a:lnTo>
                  <a:lnTo>
                    <a:pt x="210" y="211"/>
                  </a:lnTo>
                  <a:lnTo>
                    <a:pt x="210" y="210"/>
                  </a:lnTo>
                  <a:lnTo>
                    <a:pt x="209" y="210"/>
                  </a:lnTo>
                  <a:lnTo>
                    <a:pt x="208" y="210"/>
                  </a:lnTo>
                  <a:lnTo>
                    <a:pt x="209" y="210"/>
                  </a:lnTo>
                  <a:lnTo>
                    <a:pt x="208" y="208"/>
                  </a:lnTo>
                  <a:lnTo>
                    <a:pt x="206" y="208"/>
                  </a:lnTo>
                  <a:lnTo>
                    <a:pt x="206" y="210"/>
                  </a:lnTo>
                  <a:lnTo>
                    <a:pt x="208" y="210"/>
                  </a:lnTo>
                  <a:lnTo>
                    <a:pt x="206" y="210"/>
                  </a:lnTo>
                  <a:lnTo>
                    <a:pt x="205" y="210"/>
                  </a:lnTo>
                  <a:lnTo>
                    <a:pt x="204" y="211"/>
                  </a:lnTo>
                  <a:lnTo>
                    <a:pt x="204" y="210"/>
                  </a:lnTo>
                  <a:lnTo>
                    <a:pt x="205" y="210"/>
                  </a:lnTo>
                  <a:lnTo>
                    <a:pt x="205" y="208"/>
                  </a:lnTo>
                  <a:lnTo>
                    <a:pt x="204" y="208"/>
                  </a:lnTo>
                  <a:lnTo>
                    <a:pt x="205" y="207"/>
                  </a:lnTo>
                  <a:lnTo>
                    <a:pt x="204" y="207"/>
                  </a:lnTo>
                  <a:lnTo>
                    <a:pt x="204" y="208"/>
                  </a:lnTo>
                  <a:lnTo>
                    <a:pt x="204" y="207"/>
                  </a:lnTo>
                  <a:lnTo>
                    <a:pt x="203" y="206"/>
                  </a:lnTo>
                  <a:lnTo>
                    <a:pt x="204" y="206"/>
                  </a:lnTo>
                  <a:lnTo>
                    <a:pt x="205" y="206"/>
                  </a:lnTo>
                  <a:lnTo>
                    <a:pt x="205" y="207"/>
                  </a:lnTo>
                  <a:lnTo>
                    <a:pt x="206" y="207"/>
                  </a:lnTo>
                  <a:lnTo>
                    <a:pt x="208" y="206"/>
                  </a:lnTo>
                  <a:lnTo>
                    <a:pt x="208" y="205"/>
                  </a:lnTo>
                  <a:lnTo>
                    <a:pt x="209" y="205"/>
                  </a:lnTo>
                  <a:lnTo>
                    <a:pt x="209" y="204"/>
                  </a:lnTo>
                  <a:lnTo>
                    <a:pt x="209" y="205"/>
                  </a:lnTo>
                  <a:lnTo>
                    <a:pt x="210" y="206"/>
                  </a:lnTo>
                  <a:lnTo>
                    <a:pt x="211" y="206"/>
                  </a:lnTo>
                  <a:lnTo>
                    <a:pt x="212" y="206"/>
                  </a:lnTo>
                  <a:lnTo>
                    <a:pt x="214" y="207"/>
                  </a:lnTo>
                  <a:lnTo>
                    <a:pt x="215" y="208"/>
                  </a:lnTo>
                  <a:lnTo>
                    <a:pt x="216" y="208"/>
                  </a:lnTo>
                  <a:lnTo>
                    <a:pt x="216" y="207"/>
                  </a:lnTo>
                  <a:lnTo>
                    <a:pt x="217" y="207"/>
                  </a:lnTo>
                  <a:lnTo>
                    <a:pt x="216" y="207"/>
                  </a:lnTo>
                  <a:lnTo>
                    <a:pt x="216" y="206"/>
                  </a:lnTo>
                  <a:lnTo>
                    <a:pt x="217" y="206"/>
                  </a:lnTo>
                  <a:lnTo>
                    <a:pt x="218" y="206"/>
                  </a:lnTo>
                  <a:lnTo>
                    <a:pt x="220" y="207"/>
                  </a:lnTo>
                  <a:lnTo>
                    <a:pt x="218" y="207"/>
                  </a:lnTo>
                  <a:lnTo>
                    <a:pt x="218" y="208"/>
                  </a:lnTo>
                  <a:lnTo>
                    <a:pt x="220" y="208"/>
                  </a:lnTo>
                  <a:lnTo>
                    <a:pt x="221" y="208"/>
                  </a:lnTo>
                  <a:lnTo>
                    <a:pt x="221" y="210"/>
                  </a:lnTo>
                  <a:lnTo>
                    <a:pt x="222" y="210"/>
                  </a:lnTo>
                  <a:lnTo>
                    <a:pt x="221" y="210"/>
                  </a:lnTo>
                  <a:lnTo>
                    <a:pt x="221" y="211"/>
                  </a:lnTo>
                  <a:lnTo>
                    <a:pt x="222" y="212"/>
                  </a:lnTo>
                  <a:lnTo>
                    <a:pt x="222" y="211"/>
                  </a:lnTo>
                  <a:lnTo>
                    <a:pt x="223" y="211"/>
                  </a:lnTo>
                  <a:lnTo>
                    <a:pt x="222" y="210"/>
                  </a:lnTo>
                  <a:lnTo>
                    <a:pt x="222" y="211"/>
                  </a:lnTo>
                  <a:lnTo>
                    <a:pt x="223" y="210"/>
                  </a:lnTo>
                  <a:lnTo>
                    <a:pt x="223" y="212"/>
                  </a:lnTo>
                  <a:lnTo>
                    <a:pt x="222" y="212"/>
                  </a:lnTo>
                  <a:lnTo>
                    <a:pt x="223" y="213"/>
                  </a:lnTo>
                  <a:lnTo>
                    <a:pt x="224" y="213"/>
                  </a:lnTo>
                  <a:lnTo>
                    <a:pt x="226" y="213"/>
                  </a:lnTo>
                  <a:lnTo>
                    <a:pt x="226" y="212"/>
                  </a:lnTo>
                  <a:lnTo>
                    <a:pt x="224" y="212"/>
                  </a:lnTo>
                  <a:lnTo>
                    <a:pt x="226" y="211"/>
                  </a:lnTo>
                  <a:lnTo>
                    <a:pt x="226" y="210"/>
                  </a:lnTo>
                  <a:lnTo>
                    <a:pt x="224" y="208"/>
                  </a:lnTo>
                  <a:lnTo>
                    <a:pt x="226" y="208"/>
                  </a:lnTo>
                  <a:lnTo>
                    <a:pt x="226" y="210"/>
                  </a:lnTo>
                  <a:lnTo>
                    <a:pt x="227" y="210"/>
                  </a:lnTo>
                  <a:lnTo>
                    <a:pt x="227" y="211"/>
                  </a:lnTo>
                  <a:lnTo>
                    <a:pt x="228" y="211"/>
                  </a:lnTo>
                  <a:lnTo>
                    <a:pt x="229" y="211"/>
                  </a:lnTo>
                  <a:lnTo>
                    <a:pt x="230" y="211"/>
                  </a:lnTo>
                  <a:lnTo>
                    <a:pt x="232" y="211"/>
                  </a:lnTo>
                  <a:lnTo>
                    <a:pt x="233" y="210"/>
                  </a:lnTo>
                  <a:lnTo>
                    <a:pt x="232" y="210"/>
                  </a:lnTo>
                  <a:lnTo>
                    <a:pt x="232" y="208"/>
                  </a:lnTo>
                  <a:lnTo>
                    <a:pt x="230" y="210"/>
                  </a:lnTo>
                  <a:lnTo>
                    <a:pt x="230" y="208"/>
                  </a:lnTo>
                  <a:lnTo>
                    <a:pt x="230" y="207"/>
                  </a:lnTo>
                  <a:lnTo>
                    <a:pt x="230" y="206"/>
                  </a:lnTo>
                  <a:lnTo>
                    <a:pt x="229" y="206"/>
                  </a:lnTo>
                  <a:lnTo>
                    <a:pt x="228" y="205"/>
                  </a:lnTo>
                  <a:lnTo>
                    <a:pt x="228" y="204"/>
                  </a:lnTo>
                  <a:lnTo>
                    <a:pt x="227" y="204"/>
                  </a:lnTo>
                  <a:lnTo>
                    <a:pt x="226" y="204"/>
                  </a:lnTo>
                  <a:lnTo>
                    <a:pt x="226" y="202"/>
                  </a:lnTo>
                  <a:lnTo>
                    <a:pt x="227" y="201"/>
                  </a:lnTo>
                  <a:lnTo>
                    <a:pt x="228" y="201"/>
                  </a:lnTo>
                  <a:lnTo>
                    <a:pt x="228" y="202"/>
                  </a:lnTo>
                  <a:lnTo>
                    <a:pt x="228" y="204"/>
                  </a:lnTo>
                  <a:lnTo>
                    <a:pt x="229" y="204"/>
                  </a:lnTo>
                  <a:lnTo>
                    <a:pt x="230" y="204"/>
                  </a:lnTo>
                  <a:lnTo>
                    <a:pt x="230" y="202"/>
                  </a:lnTo>
                  <a:lnTo>
                    <a:pt x="232" y="202"/>
                  </a:lnTo>
                  <a:lnTo>
                    <a:pt x="233" y="204"/>
                  </a:lnTo>
                  <a:lnTo>
                    <a:pt x="234" y="204"/>
                  </a:lnTo>
                  <a:lnTo>
                    <a:pt x="234" y="205"/>
                  </a:lnTo>
                  <a:lnTo>
                    <a:pt x="235" y="205"/>
                  </a:lnTo>
                  <a:lnTo>
                    <a:pt x="236" y="205"/>
                  </a:lnTo>
                  <a:lnTo>
                    <a:pt x="236" y="204"/>
                  </a:lnTo>
                  <a:lnTo>
                    <a:pt x="238" y="202"/>
                  </a:lnTo>
                  <a:lnTo>
                    <a:pt x="236" y="204"/>
                  </a:lnTo>
                  <a:lnTo>
                    <a:pt x="236" y="202"/>
                  </a:lnTo>
                  <a:lnTo>
                    <a:pt x="235" y="201"/>
                  </a:lnTo>
                  <a:lnTo>
                    <a:pt x="235" y="202"/>
                  </a:lnTo>
                  <a:lnTo>
                    <a:pt x="234" y="201"/>
                  </a:lnTo>
                  <a:lnTo>
                    <a:pt x="235" y="201"/>
                  </a:lnTo>
                  <a:lnTo>
                    <a:pt x="236" y="200"/>
                  </a:lnTo>
                  <a:lnTo>
                    <a:pt x="236" y="199"/>
                  </a:lnTo>
                  <a:lnTo>
                    <a:pt x="236" y="198"/>
                  </a:lnTo>
                  <a:lnTo>
                    <a:pt x="235" y="198"/>
                  </a:lnTo>
                  <a:lnTo>
                    <a:pt x="234" y="198"/>
                  </a:lnTo>
                  <a:lnTo>
                    <a:pt x="233" y="198"/>
                  </a:lnTo>
                  <a:lnTo>
                    <a:pt x="230" y="196"/>
                  </a:lnTo>
                  <a:lnTo>
                    <a:pt x="230" y="195"/>
                  </a:lnTo>
                  <a:lnTo>
                    <a:pt x="230" y="194"/>
                  </a:lnTo>
                  <a:lnTo>
                    <a:pt x="229" y="194"/>
                  </a:lnTo>
                  <a:lnTo>
                    <a:pt x="228" y="193"/>
                  </a:lnTo>
                  <a:lnTo>
                    <a:pt x="227" y="192"/>
                  </a:lnTo>
                  <a:lnTo>
                    <a:pt x="227" y="190"/>
                  </a:lnTo>
                  <a:lnTo>
                    <a:pt x="226" y="190"/>
                  </a:lnTo>
                  <a:lnTo>
                    <a:pt x="224" y="190"/>
                  </a:lnTo>
                  <a:lnTo>
                    <a:pt x="224" y="188"/>
                  </a:lnTo>
                  <a:lnTo>
                    <a:pt x="223" y="187"/>
                  </a:lnTo>
                  <a:lnTo>
                    <a:pt x="223" y="188"/>
                  </a:lnTo>
                  <a:lnTo>
                    <a:pt x="222" y="187"/>
                  </a:lnTo>
                  <a:lnTo>
                    <a:pt x="222" y="188"/>
                  </a:lnTo>
                  <a:lnTo>
                    <a:pt x="221" y="187"/>
                  </a:lnTo>
                  <a:lnTo>
                    <a:pt x="220" y="186"/>
                  </a:lnTo>
                  <a:lnTo>
                    <a:pt x="220" y="187"/>
                  </a:lnTo>
                  <a:lnTo>
                    <a:pt x="218" y="187"/>
                  </a:lnTo>
                  <a:lnTo>
                    <a:pt x="217" y="186"/>
                  </a:lnTo>
                  <a:lnTo>
                    <a:pt x="217" y="187"/>
                  </a:lnTo>
                  <a:lnTo>
                    <a:pt x="217" y="186"/>
                  </a:lnTo>
                  <a:lnTo>
                    <a:pt x="216" y="184"/>
                  </a:lnTo>
                  <a:lnTo>
                    <a:pt x="215" y="184"/>
                  </a:lnTo>
                  <a:lnTo>
                    <a:pt x="215" y="183"/>
                  </a:lnTo>
                  <a:lnTo>
                    <a:pt x="214" y="182"/>
                  </a:lnTo>
                  <a:lnTo>
                    <a:pt x="214" y="183"/>
                  </a:lnTo>
                  <a:lnTo>
                    <a:pt x="214" y="182"/>
                  </a:lnTo>
                  <a:lnTo>
                    <a:pt x="212" y="182"/>
                  </a:lnTo>
                  <a:lnTo>
                    <a:pt x="212" y="181"/>
                  </a:lnTo>
                  <a:lnTo>
                    <a:pt x="211" y="181"/>
                  </a:lnTo>
                  <a:lnTo>
                    <a:pt x="212" y="180"/>
                  </a:lnTo>
                  <a:lnTo>
                    <a:pt x="211" y="178"/>
                  </a:lnTo>
                  <a:lnTo>
                    <a:pt x="212" y="178"/>
                  </a:lnTo>
                  <a:lnTo>
                    <a:pt x="214" y="178"/>
                  </a:lnTo>
                  <a:lnTo>
                    <a:pt x="214" y="180"/>
                  </a:lnTo>
                  <a:lnTo>
                    <a:pt x="215" y="180"/>
                  </a:lnTo>
                  <a:lnTo>
                    <a:pt x="216" y="180"/>
                  </a:lnTo>
                  <a:lnTo>
                    <a:pt x="217" y="180"/>
                  </a:lnTo>
                  <a:lnTo>
                    <a:pt x="218" y="180"/>
                  </a:lnTo>
                  <a:lnTo>
                    <a:pt x="220" y="181"/>
                  </a:lnTo>
                  <a:lnTo>
                    <a:pt x="221" y="181"/>
                  </a:lnTo>
                  <a:lnTo>
                    <a:pt x="222" y="181"/>
                  </a:lnTo>
                  <a:lnTo>
                    <a:pt x="223" y="181"/>
                  </a:lnTo>
                  <a:lnTo>
                    <a:pt x="223" y="182"/>
                  </a:lnTo>
                  <a:lnTo>
                    <a:pt x="224" y="182"/>
                  </a:lnTo>
                  <a:lnTo>
                    <a:pt x="226" y="182"/>
                  </a:lnTo>
                  <a:lnTo>
                    <a:pt x="227" y="183"/>
                  </a:lnTo>
                  <a:lnTo>
                    <a:pt x="228" y="183"/>
                  </a:lnTo>
                  <a:lnTo>
                    <a:pt x="229" y="184"/>
                  </a:lnTo>
                  <a:lnTo>
                    <a:pt x="232" y="186"/>
                  </a:lnTo>
                  <a:lnTo>
                    <a:pt x="233" y="187"/>
                  </a:lnTo>
                  <a:lnTo>
                    <a:pt x="234" y="188"/>
                  </a:lnTo>
                  <a:lnTo>
                    <a:pt x="233" y="188"/>
                  </a:lnTo>
                  <a:lnTo>
                    <a:pt x="232" y="188"/>
                  </a:lnTo>
                  <a:lnTo>
                    <a:pt x="233" y="188"/>
                  </a:lnTo>
                  <a:lnTo>
                    <a:pt x="233" y="189"/>
                  </a:lnTo>
                  <a:lnTo>
                    <a:pt x="232" y="189"/>
                  </a:lnTo>
                  <a:lnTo>
                    <a:pt x="232" y="190"/>
                  </a:lnTo>
                  <a:lnTo>
                    <a:pt x="233" y="192"/>
                  </a:lnTo>
                  <a:lnTo>
                    <a:pt x="232" y="192"/>
                  </a:lnTo>
                  <a:lnTo>
                    <a:pt x="232" y="193"/>
                  </a:lnTo>
                  <a:lnTo>
                    <a:pt x="232" y="194"/>
                  </a:lnTo>
                  <a:lnTo>
                    <a:pt x="232" y="195"/>
                  </a:lnTo>
                  <a:lnTo>
                    <a:pt x="233" y="195"/>
                  </a:lnTo>
                  <a:lnTo>
                    <a:pt x="234" y="195"/>
                  </a:lnTo>
                  <a:lnTo>
                    <a:pt x="234" y="194"/>
                  </a:lnTo>
                  <a:lnTo>
                    <a:pt x="235" y="194"/>
                  </a:lnTo>
                  <a:lnTo>
                    <a:pt x="235" y="196"/>
                  </a:lnTo>
                  <a:lnTo>
                    <a:pt x="235" y="198"/>
                  </a:lnTo>
                  <a:lnTo>
                    <a:pt x="236" y="198"/>
                  </a:lnTo>
                  <a:lnTo>
                    <a:pt x="236" y="199"/>
                  </a:lnTo>
                  <a:lnTo>
                    <a:pt x="238" y="199"/>
                  </a:lnTo>
                  <a:lnTo>
                    <a:pt x="236" y="199"/>
                  </a:lnTo>
                  <a:lnTo>
                    <a:pt x="238" y="199"/>
                  </a:lnTo>
                  <a:lnTo>
                    <a:pt x="238" y="200"/>
                  </a:lnTo>
                  <a:lnTo>
                    <a:pt x="238" y="201"/>
                  </a:lnTo>
                  <a:lnTo>
                    <a:pt x="239" y="200"/>
                  </a:lnTo>
                  <a:lnTo>
                    <a:pt x="240" y="201"/>
                  </a:lnTo>
                  <a:lnTo>
                    <a:pt x="241" y="201"/>
                  </a:lnTo>
                  <a:lnTo>
                    <a:pt x="241" y="202"/>
                  </a:lnTo>
                  <a:lnTo>
                    <a:pt x="242" y="201"/>
                  </a:lnTo>
                  <a:lnTo>
                    <a:pt x="244" y="201"/>
                  </a:lnTo>
                  <a:lnTo>
                    <a:pt x="244" y="200"/>
                  </a:lnTo>
                  <a:lnTo>
                    <a:pt x="242" y="200"/>
                  </a:lnTo>
                  <a:lnTo>
                    <a:pt x="242" y="199"/>
                  </a:lnTo>
                  <a:lnTo>
                    <a:pt x="242" y="200"/>
                  </a:lnTo>
                  <a:lnTo>
                    <a:pt x="242" y="199"/>
                  </a:lnTo>
                  <a:lnTo>
                    <a:pt x="242" y="198"/>
                  </a:lnTo>
                  <a:lnTo>
                    <a:pt x="244" y="198"/>
                  </a:lnTo>
                  <a:lnTo>
                    <a:pt x="245" y="196"/>
                  </a:lnTo>
                  <a:lnTo>
                    <a:pt x="246" y="196"/>
                  </a:lnTo>
                  <a:lnTo>
                    <a:pt x="246" y="198"/>
                  </a:lnTo>
                  <a:lnTo>
                    <a:pt x="247" y="199"/>
                  </a:lnTo>
                  <a:lnTo>
                    <a:pt x="247" y="201"/>
                  </a:lnTo>
                  <a:lnTo>
                    <a:pt x="248" y="201"/>
                  </a:lnTo>
                  <a:lnTo>
                    <a:pt x="250" y="202"/>
                  </a:lnTo>
                  <a:lnTo>
                    <a:pt x="250" y="204"/>
                  </a:lnTo>
                  <a:lnTo>
                    <a:pt x="250" y="205"/>
                  </a:lnTo>
                  <a:lnTo>
                    <a:pt x="251" y="205"/>
                  </a:lnTo>
                  <a:lnTo>
                    <a:pt x="252" y="206"/>
                  </a:lnTo>
                  <a:lnTo>
                    <a:pt x="253" y="206"/>
                  </a:lnTo>
                  <a:lnTo>
                    <a:pt x="253" y="205"/>
                  </a:lnTo>
                  <a:lnTo>
                    <a:pt x="254" y="204"/>
                  </a:lnTo>
                  <a:lnTo>
                    <a:pt x="256" y="204"/>
                  </a:lnTo>
                  <a:lnTo>
                    <a:pt x="257" y="205"/>
                  </a:lnTo>
                  <a:lnTo>
                    <a:pt x="257" y="206"/>
                  </a:lnTo>
                  <a:lnTo>
                    <a:pt x="258" y="206"/>
                  </a:lnTo>
                  <a:lnTo>
                    <a:pt x="258" y="207"/>
                  </a:lnTo>
                  <a:lnTo>
                    <a:pt x="257" y="207"/>
                  </a:lnTo>
                  <a:lnTo>
                    <a:pt x="258" y="207"/>
                  </a:lnTo>
                  <a:lnTo>
                    <a:pt x="257" y="208"/>
                  </a:lnTo>
                  <a:lnTo>
                    <a:pt x="258" y="208"/>
                  </a:lnTo>
                  <a:lnTo>
                    <a:pt x="259" y="207"/>
                  </a:lnTo>
                  <a:lnTo>
                    <a:pt x="259" y="208"/>
                  </a:lnTo>
                  <a:lnTo>
                    <a:pt x="258" y="210"/>
                  </a:lnTo>
                  <a:lnTo>
                    <a:pt x="259" y="210"/>
                  </a:lnTo>
                  <a:lnTo>
                    <a:pt x="260" y="210"/>
                  </a:lnTo>
                  <a:lnTo>
                    <a:pt x="262" y="208"/>
                  </a:lnTo>
                  <a:lnTo>
                    <a:pt x="260" y="208"/>
                  </a:lnTo>
                  <a:lnTo>
                    <a:pt x="262" y="208"/>
                  </a:lnTo>
                  <a:lnTo>
                    <a:pt x="262" y="207"/>
                  </a:lnTo>
                  <a:lnTo>
                    <a:pt x="262" y="208"/>
                  </a:lnTo>
                  <a:lnTo>
                    <a:pt x="263" y="208"/>
                  </a:lnTo>
                  <a:lnTo>
                    <a:pt x="263" y="210"/>
                  </a:lnTo>
                  <a:lnTo>
                    <a:pt x="264" y="210"/>
                  </a:lnTo>
                  <a:lnTo>
                    <a:pt x="264" y="211"/>
                  </a:lnTo>
                  <a:lnTo>
                    <a:pt x="265" y="212"/>
                  </a:lnTo>
                  <a:lnTo>
                    <a:pt x="264" y="212"/>
                  </a:lnTo>
                  <a:lnTo>
                    <a:pt x="264" y="213"/>
                  </a:lnTo>
                  <a:lnTo>
                    <a:pt x="265" y="213"/>
                  </a:lnTo>
                  <a:lnTo>
                    <a:pt x="265" y="214"/>
                  </a:lnTo>
                  <a:lnTo>
                    <a:pt x="267" y="216"/>
                  </a:lnTo>
                  <a:lnTo>
                    <a:pt x="268" y="216"/>
                  </a:lnTo>
                  <a:lnTo>
                    <a:pt x="268" y="214"/>
                  </a:lnTo>
                  <a:lnTo>
                    <a:pt x="269" y="214"/>
                  </a:lnTo>
                  <a:lnTo>
                    <a:pt x="270" y="213"/>
                  </a:lnTo>
                  <a:lnTo>
                    <a:pt x="269" y="213"/>
                  </a:lnTo>
                  <a:lnTo>
                    <a:pt x="270" y="213"/>
                  </a:lnTo>
                  <a:lnTo>
                    <a:pt x="271" y="213"/>
                  </a:lnTo>
                  <a:lnTo>
                    <a:pt x="273" y="214"/>
                  </a:lnTo>
                  <a:lnTo>
                    <a:pt x="273" y="213"/>
                  </a:lnTo>
                  <a:lnTo>
                    <a:pt x="274" y="213"/>
                  </a:lnTo>
                  <a:lnTo>
                    <a:pt x="275" y="213"/>
                  </a:lnTo>
                  <a:lnTo>
                    <a:pt x="276" y="212"/>
                  </a:lnTo>
                  <a:lnTo>
                    <a:pt x="276" y="213"/>
                  </a:lnTo>
                  <a:lnTo>
                    <a:pt x="277" y="212"/>
                  </a:lnTo>
                  <a:lnTo>
                    <a:pt x="276" y="212"/>
                  </a:lnTo>
                  <a:lnTo>
                    <a:pt x="276" y="211"/>
                  </a:lnTo>
                  <a:lnTo>
                    <a:pt x="277" y="211"/>
                  </a:lnTo>
                  <a:lnTo>
                    <a:pt x="280" y="210"/>
                  </a:lnTo>
                  <a:lnTo>
                    <a:pt x="279" y="208"/>
                  </a:lnTo>
                  <a:lnTo>
                    <a:pt x="277" y="208"/>
                  </a:lnTo>
                  <a:lnTo>
                    <a:pt x="279" y="207"/>
                  </a:lnTo>
                  <a:lnTo>
                    <a:pt x="279" y="206"/>
                  </a:lnTo>
                  <a:lnTo>
                    <a:pt x="280" y="205"/>
                  </a:lnTo>
                  <a:lnTo>
                    <a:pt x="279" y="205"/>
                  </a:lnTo>
                  <a:lnTo>
                    <a:pt x="279" y="204"/>
                  </a:lnTo>
                  <a:lnTo>
                    <a:pt x="279" y="205"/>
                  </a:lnTo>
                  <a:lnTo>
                    <a:pt x="277" y="204"/>
                  </a:lnTo>
                  <a:lnTo>
                    <a:pt x="276" y="204"/>
                  </a:lnTo>
                  <a:lnTo>
                    <a:pt x="275" y="204"/>
                  </a:lnTo>
                  <a:lnTo>
                    <a:pt x="275" y="202"/>
                  </a:lnTo>
                  <a:lnTo>
                    <a:pt x="276" y="204"/>
                  </a:lnTo>
                  <a:lnTo>
                    <a:pt x="276" y="202"/>
                  </a:lnTo>
                  <a:lnTo>
                    <a:pt x="277" y="202"/>
                  </a:lnTo>
                  <a:lnTo>
                    <a:pt x="279" y="201"/>
                  </a:lnTo>
                  <a:lnTo>
                    <a:pt x="277" y="200"/>
                  </a:lnTo>
                  <a:lnTo>
                    <a:pt x="276" y="200"/>
                  </a:lnTo>
                  <a:lnTo>
                    <a:pt x="274" y="200"/>
                  </a:lnTo>
                  <a:lnTo>
                    <a:pt x="275" y="199"/>
                  </a:lnTo>
                  <a:lnTo>
                    <a:pt x="275" y="198"/>
                  </a:lnTo>
                  <a:lnTo>
                    <a:pt x="274" y="199"/>
                  </a:lnTo>
                  <a:lnTo>
                    <a:pt x="273" y="199"/>
                  </a:lnTo>
                  <a:lnTo>
                    <a:pt x="271" y="196"/>
                  </a:lnTo>
                  <a:lnTo>
                    <a:pt x="271" y="195"/>
                  </a:lnTo>
                  <a:lnTo>
                    <a:pt x="270" y="194"/>
                  </a:lnTo>
                  <a:lnTo>
                    <a:pt x="269" y="195"/>
                  </a:lnTo>
                  <a:lnTo>
                    <a:pt x="269" y="193"/>
                  </a:lnTo>
                  <a:lnTo>
                    <a:pt x="270" y="192"/>
                  </a:lnTo>
                  <a:lnTo>
                    <a:pt x="270" y="190"/>
                  </a:lnTo>
                  <a:lnTo>
                    <a:pt x="269" y="189"/>
                  </a:lnTo>
                  <a:lnTo>
                    <a:pt x="269" y="190"/>
                  </a:lnTo>
                  <a:lnTo>
                    <a:pt x="268" y="190"/>
                  </a:lnTo>
                  <a:lnTo>
                    <a:pt x="267" y="189"/>
                  </a:lnTo>
                  <a:lnTo>
                    <a:pt x="265" y="188"/>
                  </a:lnTo>
                  <a:lnTo>
                    <a:pt x="264" y="188"/>
                  </a:lnTo>
                  <a:lnTo>
                    <a:pt x="263" y="188"/>
                  </a:lnTo>
                  <a:lnTo>
                    <a:pt x="263" y="187"/>
                  </a:lnTo>
                  <a:lnTo>
                    <a:pt x="264" y="186"/>
                  </a:lnTo>
                  <a:lnTo>
                    <a:pt x="264" y="184"/>
                  </a:lnTo>
                  <a:lnTo>
                    <a:pt x="263" y="184"/>
                  </a:lnTo>
                  <a:lnTo>
                    <a:pt x="262" y="184"/>
                  </a:lnTo>
                  <a:lnTo>
                    <a:pt x="262" y="186"/>
                  </a:lnTo>
                  <a:lnTo>
                    <a:pt x="262" y="184"/>
                  </a:lnTo>
                  <a:lnTo>
                    <a:pt x="260" y="184"/>
                  </a:lnTo>
                  <a:lnTo>
                    <a:pt x="259" y="184"/>
                  </a:lnTo>
                  <a:lnTo>
                    <a:pt x="258" y="184"/>
                  </a:lnTo>
                  <a:lnTo>
                    <a:pt x="258" y="186"/>
                  </a:lnTo>
                  <a:lnTo>
                    <a:pt x="258" y="184"/>
                  </a:lnTo>
                  <a:lnTo>
                    <a:pt x="257" y="184"/>
                  </a:lnTo>
                  <a:lnTo>
                    <a:pt x="257" y="183"/>
                  </a:lnTo>
                  <a:lnTo>
                    <a:pt x="256" y="183"/>
                  </a:lnTo>
                  <a:lnTo>
                    <a:pt x="256" y="182"/>
                  </a:lnTo>
                  <a:lnTo>
                    <a:pt x="257" y="182"/>
                  </a:lnTo>
                  <a:lnTo>
                    <a:pt x="257" y="181"/>
                  </a:lnTo>
                  <a:lnTo>
                    <a:pt x="256" y="181"/>
                  </a:lnTo>
                  <a:lnTo>
                    <a:pt x="256" y="180"/>
                  </a:lnTo>
                  <a:lnTo>
                    <a:pt x="254" y="180"/>
                  </a:lnTo>
                  <a:lnTo>
                    <a:pt x="254" y="178"/>
                  </a:lnTo>
                  <a:lnTo>
                    <a:pt x="253" y="177"/>
                  </a:lnTo>
                  <a:lnTo>
                    <a:pt x="252" y="176"/>
                  </a:lnTo>
                  <a:lnTo>
                    <a:pt x="252" y="175"/>
                  </a:lnTo>
                  <a:lnTo>
                    <a:pt x="251" y="175"/>
                  </a:lnTo>
                  <a:lnTo>
                    <a:pt x="250" y="174"/>
                  </a:lnTo>
                  <a:lnTo>
                    <a:pt x="251" y="174"/>
                  </a:lnTo>
                  <a:lnTo>
                    <a:pt x="251" y="172"/>
                  </a:lnTo>
                  <a:lnTo>
                    <a:pt x="252" y="172"/>
                  </a:lnTo>
                  <a:lnTo>
                    <a:pt x="252" y="171"/>
                  </a:lnTo>
                  <a:lnTo>
                    <a:pt x="251" y="170"/>
                  </a:lnTo>
                  <a:lnTo>
                    <a:pt x="252" y="170"/>
                  </a:lnTo>
                  <a:lnTo>
                    <a:pt x="253" y="170"/>
                  </a:lnTo>
                  <a:lnTo>
                    <a:pt x="253" y="169"/>
                  </a:lnTo>
                  <a:lnTo>
                    <a:pt x="254" y="169"/>
                  </a:lnTo>
                  <a:lnTo>
                    <a:pt x="256" y="169"/>
                  </a:lnTo>
                  <a:lnTo>
                    <a:pt x="256" y="168"/>
                  </a:lnTo>
                  <a:lnTo>
                    <a:pt x="256" y="166"/>
                  </a:lnTo>
                  <a:lnTo>
                    <a:pt x="257" y="166"/>
                  </a:lnTo>
                  <a:lnTo>
                    <a:pt x="258" y="166"/>
                  </a:lnTo>
                  <a:lnTo>
                    <a:pt x="259" y="166"/>
                  </a:lnTo>
                  <a:lnTo>
                    <a:pt x="259" y="165"/>
                  </a:lnTo>
                  <a:lnTo>
                    <a:pt x="259" y="164"/>
                  </a:lnTo>
                  <a:lnTo>
                    <a:pt x="258" y="164"/>
                  </a:lnTo>
                  <a:lnTo>
                    <a:pt x="259" y="164"/>
                  </a:lnTo>
                  <a:lnTo>
                    <a:pt x="260" y="164"/>
                  </a:lnTo>
                  <a:lnTo>
                    <a:pt x="260" y="165"/>
                  </a:lnTo>
                  <a:lnTo>
                    <a:pt x="260" y="166"/>
                  </a:lnTo>
                  <a:lnTo>
                    <a:pt x="262" y="166"/>
                  </a:lnTo>
                  <a:lnTo>
                    <a:pt x="260" y="166"/>
                  </a:lnTo>
                  <a:lnTo>
                    <a:pt x="260" y="168"/>
                  </a:lnTo>
                  <a:lnTo>
                    <a:pt x="262" y="168"/>
                  </a:lnTo>
                  <a:lnTo>
                    <a:pt x="262" y="169"/>
                  </a:lnTo>
                  <a:lnTo>
                    <a:pt x="263" y="170"/>
                  </a:lnTo>
                  <a:lnTo>
                    <a:pt x="264" y="170"/>
                  </a:lnTo>
                  <a:lnTo>
                    <a:pt x="265" y="170"/>
                  </a:lnTo>
                  <a:lnTo>
                    <a:pt x="267" y="170"/>
                  </a:lnTo>
                  <a:lnTo>
                    <a:pt x="267" y="171"/>
                  </a:lnTo>
                  <a:lnTo>
                    <a:pt x="268" y="172"/>
                  </a:lnTo>
                  <a:lnTo>
                    <a:pt x="268" y="171"/>
                  </a:lnTo>
                  <a:lnTo>
                    <a:pt x="268" y="172"/>
                  </a:lnTo>
                  <a:lnTo>
                    <a:pt x="269" y="172"/>
                  </a:lnTo>
                  <a:lnTo>
                    <a:pt x="270" y="172"/>
                  </a:lnTo>
                  <a:lnTo>
                    <a:pt x="271" y="174"/>
                  </a:lnTo>
                  <a:lnTo>
                    <a:pt x="274" y="175"/>
                  </a:lnTo>
                  <a:lnTo>
                    <a:pt x="275" y="175"/>
                  </a:lnTo>
                  <a:lnTo>
                    <a:pt x="276" y="175"/>
                  </a:lnTo>
                  <a:lnTo>
                    <a:pt x="277" y="175"/>
                  </a:lnTo>
                  <a:lnTo>
                    <a:pt x="279" y="175"/>
                  </a:lnTo>
                  <a:lnTo>
                    <a:pt x="280" y="175"/>
                  </a:lnTo>
                  <a:lnTo>
                    <a:pt x="281" y="175"/>
                  </a:lnTo>
                  <a:lnTo>
                    <a:pt x="281" y="174"/>
                  </a:lnTo>
                  <a:lnTo>
                    <a:pt x="282" y="172"/>
                  </a:lnTo>
                  <a:lnTo>
                    <a:pt x="283" y="172"/>
                  </a:lnTo>
                  <a:lnTo>
                    <a:pt x="285" y="171"/>
                  </a:lnTo>
                  <a:lnTo>
                    <a:pt x="286" y="171"/>
                  </a:lnTo>
                  <a:lnTo>
                    <a:pt x="287" y="171"/>
                  </a:lnTo>
                  <a:lnTo>
                    <a:pt x="288" y="171"/>
                  </a:lnTo>
                  <a:lnTo>
                    <a:pt x="287" y="170"/>
                  </a:lnTo>
                  <a:lnTo>
                    <a:pt x="288" y="169"/>
                  </a:lnTo>
                  <a:lnTo>
                    <a:pt x="289" y="169"/>
                  </a:lnTo>
                  <a:lnTo>
                    <a:pt x="291" y="169"/>
                  </a:lnTo>
                  <a:lnTo>
                    <a:pt x="292" y="169"/>
                  </a:lnTo>
                  <a:lnTo>
                    <a:pt x="292" y="168"/>
                  </a:lnTo>
                  <a:lnTo>
                    <a:pt x="293" y="168"/>
                  </a:lnTo>
                  <a:lnTo>
                    <a:pt x="293" y="166"/>
                  </a:lnTo>
                  <a:lnTo>
                    <a:pt x="294" y="166"/>
                  </a:lnTo>
                  <a:lnTo>
                    <a:pt x="294" y="165"/>
                  </a:lnTo>
                  <a:lnTo>
                    <a:pt x="293" y="165"/>
                  </a:lnTo>
                  <a:lnTo>
                    <a:pt x="293" y="164"/>
                  </a:lnTo>
                  <a:lnTo>
                    <a:pt x="293" y="163"/>
                  </a:lnTo>
                  <a:lnTo>
                    <a:pt x="294" y="163"/>
                  </a:lnTo>
                  <a:lnTo>
                    <a:pt x="293" y="162"/>
                  </a:lnTo>
                  <a:lnTo>
                    <a:pt x="292" y="162"/>
                  </a:lnTo>
                  <a:lnTo>
                    <a:pt x="293" y="162"/>
                  </a:lnTo>
                  <a:lnTo>
                    <a:pt x="294" y="162"/>
                  </a:lnTo>
                  <a:lnTo>
                    <a:pt x="295" y="163"/>
                  </a:lnTo>
                  <a:lnTo>
                    <a:pt x="295" y="164"/>
                  </a:lnTo>
                  <a:lnTo>
                    <a:pt x="297" y="164"/>
                  </a:lnTo>
                  <a:lnTo>
                    <a:pt x="298" y="164"/>
                  </a:lnTo>
                  <a:lnTo>
                    <a:pt x="299" y="164"/>
                  </a:lnTo>
                  <a:lnTo>
                    <a:pt x="300" y="164"/>
                  </a:lnTo>
                  <a:lnTo>
                    <a:pt x="301" y="164"/>
                  </a:lnTo>
                  <a:lnTo>
                    <a:pt x="303" y="162"/>
                  </a:lnTo>
                  <a:lnTo>
                    <a:pt x="303" y="160"/>
                  </a:lnTo>
                  <a:lnTo>
                    <a:pt x="305" y="158"/>
                  </a:lnTo>
                  <a:lnTo>
                    <a:pt x="304" y="158"/>
                  </a:lnTo>
                  <a:lnTo>
                    <a:pt x="305" y="157"/>
                  </a:lnTo>
                  <a:lnTo>
                    <a:pt x="305" y="154"/>
                  </a:lnTo>
                  <a:lnTo>
                    <a:pt x="304" y="154"/>
                  </a:lnTo>
                  <a:lnTo>
                    <a:pt x="303" y="1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6" name="Freeform 69"/>
            <p:cNvSpPr>
              <a:spLocks/>
            </p:cNvSpPr>
            <p:nvPr userDrawn="1"/>
          </p:nvSpPr>
          <p:spPr bwMode="auto">
            <a:xfrm>
              <a:off x="5962650" y="6515101"/>
              <a:ext cx="2976563" cy="144463"/>
            </a:xfrm>
            <a:custGeom>
              <a:avLst/>
              <a:gdLst/>
              <a:ahLst/>
              <a:cxnLst>
                <a:cxn ang="0">
                  <a:pos x="25" y="436"/>
                </a:cxn>
                <a:cxn ang="0">
                  <a:pos x="154" y="358"/>
                </a:cxn>
                <a:cxn ang="0">
                  <a:pos x="302" y="286"/>
                </a:cxn>
                <a:cxn ang="0">
                  <a:pos x="395" y="246"/>
                </a:cxn>
                <a:cxn ang="0">
                  <a:pos x="556" y="188"/>
                </a:cxn>
                <a:cxn ang="0">
                  <a:pos x="680" y="150"/>
                </a:cxn>
                <a:cxn ang="0">
                  <a:pos x="888" y="99"/>
                </a:cxn>
                <a:cxn ang="0">
                  <a:pos x="1042" y="71"/>
                </a:cxn>
                <a:cxn ang="0">
                  <a:pos x="1208" y="47"/>
                </a:cxn>
                <a:cxn ang="0">
                  <a:pos x="1387" y="30"/>
                </a:cxn>
                <a:cxn ang="0">
                  <a:pos x="1577" y="21"/>
                </a:cxn>
                <a:cxn ang="0">
                  <a:pos x="2005" y="19"/>
                </a:cxn>
                <a:cxn ang="0">
                  <a:pos x="2476" y="27"/>
                </a:cxn>
                <a:cxn ang="0">
                  <a:pos x="2960" y="44"/>
                </a:cxn>
                <a:cxn ang="0">
                  <a:pos x="3842" y="86"/>
                </a:cxn>
                <a:cxn ang="0">
                  <a:pos x="4485" y="126"/>
                </a:cxn>
                <a:cxn ang="0">
                  <a:pos x="4908" y="114"/>
                </a:cxn>
                <a:cxn ang="0">
                  <a:pos x="5281" y="99"/>
                </a:cxn>
                <a:cxn ang="0">
                  <a:pos x="5621" y="78"/>
                </a:cxn>
                <a:cxn ang="0">
                  <a:pos x="6421" y="17"/>
                </a:cxn>
                <a:cxn ang="0">
                  <a:pos x="6840" y="0"/>
                </a:cxn>
                <a:cxn ang="0">
                  <a:pos x="7011" y="1"/>
                </a:cxn>
                <a:cxn ang="0">
                  <a:pos x="7112" y="8"/>
                </a:cxn>
                <a:cxn ang="0">
                  <a:pos x="7541" y="77"/>
                </a:cxn>
                <a:cxn ang="0">
                  <a:pos x="8314" y="210"/>
                </a:cxn>
                <a:cxn ang="0">
                  <a:pos x="8947" y="326"/>
                </a:cxn>
                <a:cxn ang="0">
                  <a:pos x="9373" y="407"/>
                </a:cxn>
                <a:cxn ang="0">
                  <a:pos x="8201" y="412"/>
                </a:cxn>
                <a:cxn ang="0">
                  <a:pos x="7029" y="418"/>
                </a:cxn>
                <a:cxn ang="0">
                  <a:pos x="5858" y="424"/>
                </a:cxn>
                <a:cxn ang="0">
                  <a:pos x="4686" y="430"/>
                </a:cxn>
                <a:cxn ang="0">
                  <a:pos x="3515" y="435"/>
                </a:cxn>
                <a:cxn ang="0">
                  <a:pos x="2343" y="441"/>
                </a:cxn>
                <a:cxn ang="0">
                  <a:pos x="1172" y="447"/>
                </a:cxn>
                <a:cxn ang="0">
                  <a:pos x="0" y="453"/>
                </a:cxn>
              </a:cxnLst>
              <a:rect l="0" t="0" r="r" b="b"/>
              <a:pathLst>
                <a:path w="9373" h="453">
                  <a:moveTo>
                    <a:pt x="0" y="453"/>
                  </a:moveTo>
                  <a:lnTo>
                    <a:pt x="25" y="436"/>
                  </a:lnTo>
                  <a:lnTo>
                    <a:pt x="99" y="389"/>
                  </a:lnTo>
                  <a:lnTo>
                    <a:pt x="154" y="358"/>
                  </a:lnTo>
                  <a:lnTo>
                    <a:pt x="223" y="323"/>
                  </a:lnTo>
                  <a:lnTo>
                    <a:pt x="302" y="286"/>
                  </a:lnTo>
                  <a:lnTo>
                    <a:pt x="347" y="267"/>
                  </a:lnTo>
                  <a:lnTo>
                    <a:pt x="395" y="246"/>
                  </a:lnTo>
                  <a:lnTo>
                    <a:pt x="500" y="208"/>
                  </a:lnTo>
                  <a:lnTo>
                    <a:pt x="556" y="188"/>
                  </a:lnTo>
                  <a:lnTo>
                    <a:pt x="617" y="169"/>
                  </a:lnTo>
                  <a:lnTo>
                    <a:pt x="680" y="150"/>
                  </a:lnTo>
                  <a:lnTo>
                    <a:pt x="747" y="132"/>
                  </a:lnTo>
                  <a:lnTo>
                    <a:pt x="888" y="99"/>
                  </a:lnTo>
                  <a:lnTo>
                    <a:pt x="963" y="84"/>
                  </a:lnTo>
                  <a:lnTo>
                    <a:pt x="1042" y="71"/>
                  </a:lnTo>
                  <a:lnTo>
                    <a:pt x="1124" y="57"/>
                  </a:lnTo>
                  <a:lnTo>
                    <a:pt x="1208" y="47"/>
                  </a:lnTo>
                  <a:lnTo>
                    <a:pt x="1296" y="38"/>
                  </a:lnTo>
                  <a:lnTo>
                    <a:pt x="1387" y="30"/>
                  </a:lnTo>
                  <a:lnTo>
                    <a:pt x="1481" y="25"/>
                  </a:lnTo>
                  <a:lnTo>
                    <a:pt x="1577" y="21"/>
                  </a:lnTo>
                  <a:lnTo>
                    <a:pt x="1783" y="19"/>
                  </a:lnTo>
                  <a:lnTo>
                    <a:pt x="2005" y="19"/>
                  </a:lnTo>
                  <a:lnTo>
                    <a:pt x="2236" y="23"/>
                  </a:lnTo>
                  <a:lnTo>
                    <a:pt x="2476" y="27"/>
                  </a:lnTo>
                  <a:lnTo>
                    <a:pt x="2718" y="35"/>
                  </a:lnTo>
                  <a:lnTo>
                    <a:pt x="2960" y="44"/>
                  </a:lnTo>
                  <a:lnTo>
                    <a:pt x="3426" y="65"/>
                  </a:lnTo>
                  <a:lnTo>
                    <a:pt x="3842" y="86"/>
                  </a:lnTo>
                  <a:lnTo>
                    <a:pt x="4178" y="107"/>
                  </a:lnTo>
                  <a:lnTo>
                    <a:pt x="4485" y="126"/>
                  </a:lnTo>
                  <a:lnTo>
                    <a:pt x="4608" y="124"/>
                  </a:lnTo>
                  <a:lnTo>
                    <a:pt x="4908" y="114"/>
                  </a:lnTo>
                  <a:lnTo>
                    <a:pt x="5092" y="108"/>
                  </a:lnTo>
                  <a:lnTo>
                    <a:pt x="5281" y="99"/>
                  </a:lnTo>
                  <a:lnTo>
                    <a:pt x="5462" y="89"/>
                  </a:lnTo>
                  <a:lnTo>
                    <a:pt x="5621" y="78"/>
                  </a:lnTo>
                  <a:lnTo>
                    <a:pt x="5982" y="47"/>
                  </a:lnTo>
                  <a:lnTo>
                    <a:pt x="6421" y="17"/>
                  </a:lnTo>
                  <a:lnTo>
                    <a:pt x="6639" y="5"/>
                  </a:lnTo>
                  <a:lnTo>
                    <a:pt x="6840" y="0"/>
                  </a:lnTo>
                  <a:lnTo>
                    <a:pt x="6929" y="0"/>
                  </a:lnTo>
                  <a:lnTo>
                    <a:pt x="7011" y="1"/>
                  </a:lnTo>
                  <a:lnTo>
                    <a:pt x="7081" y="6"/>
                  </a:lnTo>
                  <a:lnTo>
                    <a:pt x="7112" y="8"/>
                  </a:lnTo>
                  <a:lnTo>
                    <a:pt x="7140" y="12"/>
                  </a:lnTo>
                  <a:lnTo>
                    <a:pt x="7541" y="77"/>
                  </a:lnTo>
                  <a:lnTo>
                    <a:pt x="7937" y="144"/>
                  </a:lnTo>
                  <a:lnTo>
                    <a:pt x="8314" y="210"/>
                  </a:lnTo>
                  <a:lnTo>
                    <a:pt x="8656" y="271"/>
                  </a:lnTo>
                  <a:lnTo>
                    <a:pt x="8947" y="326"/>
                  </a:lnTo>
                  <a:lnTo>
                    <a:pt x="9175" y="369"/>
                  </a:lnTo>
                  <a:lnTo>
                    <a:pt x="9373" y="407"/>
                  </a:lnTo>
                  <a:lnTo>
                    <a:pt x="8787" y="410"/>
                  </a:lnTo>
                  <a:lnTo>
                    <a:pt x="8201" y="412"/>
                  </a:lnTo>
                  <a:lnTo>
                    <a:pt x="7614" y="414"/>
                  </a:lnTo>
                  <a:lnTo>
                    <a:pt x="7029" y="418"/>
                  </a:lnTo>
                  <a:lnTo>
                    <a:pt x="6443" y="420"/>
                  </a:lnTo>
                  <a:lnTo>
                    <a:pt x="5858" y="424"/>
                  </a:lnTo>
                  <a:lnTo>
                    <a:pt x="5271" y="426"/>
                  </a:lnTo>
                  <a:lnTo>
                    <a:pt x="4686" y="430"/>
                  </a:lnTo>
                  <a:lnTo>
                    <a:pt x="4100" y="433"/>
                  </a:lnTo>
                  <a:lnTo>
                    <a:pt x="3515" y="435"/>
                  </a:lnTo>
                  <a:lnTo>
                    <a:pt x="2928" y="437"/>
                  </a:lnTo>
                  <a:lnTo>
                    <a:pt x="2343" y="441"/>
                  </a:lnTo>
                  <a:lnTo>
                    <a:pt x="1757" y="443"/>
                  </a:lnTo>
                  <a:lnTo>
                    <a:pt x="1172" y="447"/>
                  </a:lnTo>
                  <a:lnTo>
                    <a:pt x="585" y="449"/>
                  </a:lnTo>
                  <a:lnTo>
                    <a:pt x="0" y="45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7" name="Freeform 70"/>
            <p:cNvSpPr>
              <a:spLocks/>
            </p:cNvSpPr>
            <p:nvPr userDrawn="1"/>
          </p:nvSpPr>
          <p:spPr bwMode="auto">
            <a:xfrm>
              <a:off x="6608763" y="6438901"/>
              <a:ext cx="2020888" cy="225425"/>
            </a:xfrm>
            <a:custGeom>
              <a:avLst/>
              <a:gdLst/>
              <a:ahLst/>
              <a:cxnLst>
                <a:cxn ang="0">
                  <a:pos x="53" y="521"/>
                </a:cxn>
                <a:cxn ang="0">
                  <a:pos x="115" y="517"/>
                </a:cxn>
                <a:cxn ang="0">
                  <a:pos x="205" y="489"/>
                </a:cxn>
                <a:cxn ang="0">
                  <a:pos x="323" y="427"/>
                </a:cxn>
                <a:cxn ang="0">
                  <a:pos x="416" y="380"/>
                </a:cxn>
                <a:cxn ang="0">
                  <a:pos x="480" y="354"/>
                </a:cxn>
                <a:cxn ang="0">
                  <a:pos x="554" y="337"/>
                </a:cxn>
                <a:cxn ang="0">
                  <a:pos x="673" y="330"/>
                </a:cxn>
                <a:cxn ang="0">
                  <a:pos x="923" y="330"/>
                </a:cxn>
                <a:cxn ang="0">
                  <a:pos x="1322" y="341"/>
                </a:cxn>
                <a:cxn ang="0">
                  <a:pos x="1705" y="346"/>
                </a:cxn>
                <a:cxn ang="0">
                  <a:pos x="1948" y="330"/>
                </a:cxn>
                <a:cxn ang="0">
                  <a:pos x="2194" y="296"/>
                </a:cxn>
                <a:cxn ang="0">
                  <a:pos x="3062" y="160"/>
                </a:cxn>
                <a:cxn ang="0">
                  <a:pos x="3779" y="52"/>
                </a:cxn>
                <a:cxn ang="0">
                  <a:pos x="4065" y="16"/>
                </a:cxn>
                <a:cxn ang="0">
                  <a:pos x="4267" y="0"/>
                </a:cxn>
                <a:cxn ang="0">
                  <a:pos x="4399" y="9"/>
                </a:cxn>
                <a:cxn ang="0">
                  <a:pos x="4573" y="35"/>
                </a:cxn>
                <a:cxn ang="0">
                  <a:pos x="4854" y="89"/>
                </a:cxn>
                <a:cxn ang="0">
                  <a:pos x="5322" y="193"/>
                </a:cxn>
                <a:cxn ang="0">
                  <a:pos x="6010" y="349"/>
                </a:cxn>
                <a:cxn ang="0">
                  <a:pos x="6141" y="372"/>
                </a:cxn>
                <a:cxn ang="0">
                  <a:pos x="6197" y="378"/>
                </a:cxn>
                <a:cxn ang="0">
                  <a:pos x="6283" y="374"/>
                </a:cxn>
                <a:cxn ang="0">
                  <a:pos x="6327" y="379"/>
                </a:cxn>
                <a:cxn ang="0">
                  <a:pos x="6354" y="392"/>
                </a:cxn>
                <a:cxn ang="0">
                  <a:pos x="6365" y="412"/>
                </a:cxn>
                <a:cxn ang="0">
                  <a:pos x="6360" y="436"/>
                </a:cxn>
                <a:cxn ang="0">
                  <a:pos x="6344" y="463"/>
                </a:cxn>
                <a:cxn ang="0">
                  <a:pos x="6287" y="526"/>
                </a:cxn>
                <a:cxn ang="0">
                  <a:pos x="6211" y="591"/>
                </a:cxn>
                <a:cxn ang="0">
                  <a:pos x="6048" y="706"/>
                </a:cxn>
                <a:cxn ang="0">
                  <a:pos x="4390" y="691"/>
                </a:cxn>
                <a:cxn ang="0">
                  <a:pos x="2732" y="676"/>
                </a:cxn>
                <a:cxn ang="0">
                  <a:pos x="1739" y="680"/>
                </a:cxn>
                <a:cxn ang="0">
                  <a:pos x="747" y="685"/>
                </a:cxn>
                <a:cxn ang="0">
                  <a:pos x="62" y="529"/>
                </a:cxn>
                <a:cxn ang="0">
                  <a:pos x="0" y="513"/>
                </a:cxn>
              </a:cxnLst>
              <a:rect l="0" t="0" r="r" b="b"/>
              <a:pathLst>
                <a:path w="6365" h="706">
                  <a:moveTo>
                    <a:pt x="21" y="516"/>
                  </a:moveTo>
                  <a:lnTo>
                    <a:pt x="53" y="521"/>
                  </a:lnTo>
                  <a:lnTo>
                    <a:pt x="85" y="521"/>
                  </a:lnTo>
                  <a:lnTo>
                    <a:pt x="115" y="517"/>
                  </a:lnTo>
                  <a:lnTo>
                    <a:pt x="145" y="510"/>
                  </a:lnTo>
                  <a:lnTo>
                    <a:pt x="205" y="489"/>
                  </a:lnTo>
                  <a:lnTo>
                    <a:pt x="264" y="460"/>
                  </a:lnTo>
                  <a:lnTo>
                    <a:pt x="323" y="427"/>
                  </a:lnTo>
                  <a:lnTo>
                    <a:pt x="384" y="395"/>
                  </a:lnTo>
                  <a:lnTo>
                    <a:pt x="416" y="380"/>
                  </a:lnTo>
                  <a:lnTo>
                    <a:pt x="447" y="366"/>
                  </a:lnTo>
                  <a:lnTo>
                    <a:pt x="480" y="354"/>
                  </a:lnTo>
                  <a:lnTo>
                    <a:pt x="513" y="344"/>
                  </a:lnTo>
                  <a:lnTo>
                    <a:pt x="554" y="337"/>
                  </a:lnTo>
                  <a:lnTo>
                    <a:pt x="608" y="332"/>
                  </a:lnTo>
                  <a:lnTo>
                    <a:pt x="673" y="330"/>
                  </a:lnTo>
                  <a:lnTo>
                    <a:pt x="749" y="329"/>
                  </a:lnTo>
                  <a:lnTo>
                    <a:pt x="923" y="330"/>
                  </a:lnTo>
                  <a:lnTo>
                    <a:pt x="1118" y="336"/>
                  </a:lnTo>
                  <a:lnTo>
                    <a:pt x="1322" y="341"/>
                  </a:lnTo>
                  <a:lnTo>
                    <a:pt x="1522" y="346"/>
                  </a:lnTo>
                  <a:lnTo>
                    <a:pt x="1705" y="346"/>
                  </a:lnTo>
                  <a:lnTo>
                    <a:pt x="1861" y="338"/>
                  </a:lnTo>
                  <a:lnTo>
                    <a:pt x="1948" y="330"/>
                  </a:lnTo>
                  <a:lnTo>
                    <a:pt x="2060" y="315"/>
                  </a:lnTo>
                  <a:lnTo>
                    <a:pt x="2194" y="296"/>
                  </a:lnTo>
                  <a:lnTo>
                    <a:pt x="2347" y="273"/>
                  </a:lnTo>
                  <a:lnTo>
                    <a:pt x="3062" y="160"/>
                  </a:lnTo>
                  <a:lnTo>
                    <a:pt x="3434" y="103"/>
                  </a:lnTo>
                  <a:lnTo>
                    <a:pt x="3779" y="52"/>
                  </a:lnTo>
                  <a:lnTo>
                    <a:pt x="3930" y="32"/>
                  </a:lnTo>
                  <a:lnTo>
                    <a:pt x="4065" y="16"/>
                  </a:lnTo>
                  <a:lnTo>
                    <a:pt x="4180" y="5"/>
                  </a:lnTo>
                  <a:lnTo>
                    <a:pt x="4267" y="0"/>
                  </a:lnTo>
                  <a:lnTo>
                    <a:pt x="4349" y="4"/>
                  </a:lnTo>
                  <a:lnTo>
                    <a:pt x="4399" y="9"/>
                  </a:lnTo>
                  <a:lnTo>
                    <a:pt x="4452" y="16"/>
                  </a:lnTo>
                  <a:lnTo>
                    <a:pt x="4573" y="35"/>
                  </a:lnTo>
                  <a:lnTo>
                    <a:pt x="4708" y="59"/>
                  </a:lnTo>
                  <a:lnTo>
                    <a:pt x="4854" y="89"/>
                  </a:lnTo>
                  <a:lnTo>
                    <a:pt x="5007" y="122"/>
                  </a:lnTo>
                  <a:lnTo>
                    <a:pt x="5322" y="193"/>
                  </a:lnTo>
                  <a:lnTo>
                    <a:pt x="5898" y="325"/>
                  </a:lnTo>
                  <a:lnTo>
                    <a:pt x="6010" y="349"/>
                  </a:lnTo>
                  <a:lnTo>
                    <a:pt x="6102" y="366"/>
                  </a:lnTo>
                  <a:lnTo>
                    <a:pt x="6141" y="372"/>
                  </a:lnTo>
                  <a:lnTo>
                    <a:pt x="6172" y="376"/>
                  </a:lnTo>
                  <a:lnTo>
                    <a:pt x="6197" y="378"/>
                  </a:lnTo>
                  <a:lnTo>
                    <a:pt x="6217" y="378"/>
                  </a:lnTo>
                  <a:lnTo>
                    <a:pt x="6283" y="374"/>
                  </a:lnTo>
                  <a:lnTo>
                    <a:pt x="6307" y="376"/>
                  </a:lnTo>
                  <a:lnTo>
                    <a:pt x="6327" y="379"/>
                  </a:lnTo>
                  <a:lnTo>
                    <a:pt x="6343" y="385"/>
                  </a:lnTo>
                  <a:lnTo>
                    <a:pt x="6354" y="392"/>
                  </a:lnTo>
                  <a:lnTo>
                    <a:pt x="6361" y="401"/>
                  </a:lnTo>
                  <a:lnTo>
                    <a:pt x="6365" y="412"/>
                  </a:lnTo>
                  <a:lnTo>
                    <a:pt x="6364" y="422"/>
                  </a:lnTo>
                  <a:lnTo>
                    <a:pt x="6360" y="436"/>
                  </a:lnTo>
                  <a:lnTo>
                    <a:pt x="6354" y="449"/>
                  </a:lnTo>
                  <a:lnTo>
                    <a:pt x="6344" y="463"/>
                  </a:lnTo>
                  <a:lnTo>
                    <a:pt x="6319" y="493"/>
                  </a:lnTo>
                  <a:lnTo>
                    <a:pt x="6287" y="526"/>
                  </a:lnTo>
                  <a:lnTo>
                    <a:pt x="6250" y="559"/>
                  </a:lnTo>
                  <a:lnTo>
                    <a:pt x="6211" y="591"/>
                  </a:lnTo>
                  <a:lnTo>
                    <a:pt x="6132" y="648"/>
                  </a:lnTo>
                  <a:lnTo>
                    <a:pt x="6048" y="706"/>
                  </a:lnTo>
                  <a:lnTo>
                    <a:pt x="5219" y="698"/>
                  </a:lnTo>
                  <a:lnTo>
                    <a:pt x="4390" y="691"/>
                  </a:lnTo>
                  <a:lnTo>
                    <a:pt x="3561" y="683"/>
                  </a:lnTo>
                  <a:lnTo>
                    <a:pt x="2732" y="676"/>
                  </a:lnTo>
                  <a:lnTo>
                    <a:pt x="2235" y="677"/>
                  </a:lnTo>
                  <a:lnTo>
                    <a:pt x="1739" y="680"/>
                  </a:lnTo>
                  <a:lnTo>
                    <a:pt x="1243" y="682"/>
                  </a:lnTo>
                  <a:lnTo>
                    <a:pt x="747" y="685"/>
                  </a:lnTo>
                  <a:lnTo>
                    <a:pt x="319" y="588"/>
                  </a:lnTo>
                  <a:lnTo>
                    <a:pt x="62" y="529"/>
                  </a:lnTo>
                  <a:lnTo>
                    <a:pt x="3" y="515"/>
                  </a:lnTo>
                  <a:lnTo>
                    <a:pt x="0" y="513"/>
                  </a:lnTo>
                  <a:lnTo>
                    <a:pt x="21" y="5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8" name="Freeform 71"/>
            <p:cNvSpPr>
              <a:spLocks/>
            </p:cNvSpPr>
            <p:nvPr userDrawn="1"/>
          </p:nvSpPr>
          <p:spPr bwMode="auto">
            <a:xfrm>
              <a:off x="6940550" y="6437313"/>
              <a:ext cx="165100" cy="203200"/>
            </a:xfrm>
            <a:custGeom>
              <a:avLst/>
              <a:gdLst/>
              <a:ahLst/>
              <a:cxnLst>
                <a:cxn ang="0">
                  <a:pos x="243" y="410"/>
                </a:cxn>
                <a:cxn ang="0">
                  <a:pos x="230" y="392"/>
                </a:cxn>
                <a:cxn ang="0">
                  <a:pos x="227" y="366"/>
                </a:cxn>
                <a:cxn ang="0">
                  <a:pos x="248" y="352"/>
                </a:cxn>
                <a:cxn ang="0">
                  <a:pos x="206" y="384"/>
                </a:cxn>
                <a:cxn ang="0">
                  <a:pos x="225" y="430"/>
                </a:cxn>
                <a:cxn ang="0">
                  <a:pos x="215" y="404"/>
                </a:cxn>
                <a:cxn ang="0">
                  <a:pos x="186" y="412"/>
                </a:cxn>
                <a:cxn ang="0">
                  <a:pos x="157" y="408"/>
                </a:cxn>
                <a:cxn ang="0">
                  <a:pos x="132" y="397"/>
                </a:cxn>
                <a:cxn ang="0">
                  <a:pos x="118" y="409"/>
                </a:cxn>
                <a:cxn ang="0">
                  <a:pos x="100" y="421"/>
                </a:cxn>
                <a:cxn ang="0">
                  <a:pos x="77" y="404"/>
                </a:cxn>
                <a:cxn ang="0">
                  <a:pos x="13" y="419"/>
                </a:cxn>
                <a:cxn ang="0">
                  <a:pos x="43" y="376"/>
                </a:cxn>
                <a:cxn ang="0">
                  <a:pos x="19" y="354"/>
                </a:cxn>
                <a:cxn ang="0">
                  <a:pos x="9" y="329"/>
                </a:cxn>
                <a:cxn ang="0">
                  <a:pos x="6" y="291"/>
                </a:cxn>
                <a:cxn ang="0">
                  <a:pos x="53" y="285"/>
                </a:cxn>
                <a:cxn ang="0">
                  <a:pos x="63" y="261"/>
                </a:cxn>
                <a:cxn ang="0">
                  <a:pos x="96" y="225"/>
                </a:cxn>
                <a:cxn ang="0">
                  <a:pos x="56" y="217"/>
                </a:cxn>
                <a:cxn ang="0">
                  <a:pos x="35" y="208"/>
                </a:cxn>
                <a:cxn ang="0">
                  <a:pos x="27" y="193"/>
                </a:cxn>
                <a:cxn ang="0">
                  <a:pos x="32" y="160"/>
                </a:cxn>
                <a:cxn ang="0">
                  <a:pos x="73" y="124"/>
                </a:cxn>
                <a:cxn ang="0">
                  <a:pos x="97" y="91"/>
                </a:cxn>
                <a:cxn ang="0">
                  <a:pos x="120" y="87"/>
                </a:cxn>
                <a:cxn ang="0">
                  <a:pos x="141" y="100"/>
                </a:cxn>
                <a:cxn ang="0">
                  <a:pos x="191" y="97"/>
                </a:cxn>
                <a:cxn ang="0">
                  <a:pos x="189" y="57"/>
                </a:cxn>
                <a:cxn ang="0">
                  <a:pos x="212" y="69"/>
                </a:cxn>
                <a:cxn ang="0">
                  <a:pos x="232" y="93"/>
                </a:cxn>
                <a:cxn ang="0">
                  <a:pos x="267" y="73"/>
                </a:cxn>
                <a:cxn ang="0">
                  <a:pos x="303" y="89"/>
                </a:cxn>
                <a:cxn ang="0">
                  <a:pos x="320" y="112"/>
                </a:cxn>
                <a:cxn ang="0">
                  <a:pos x="304" y="75"/>
                </a:cxn>
                <a:cxn ang="0">
                  <a:pos x="280" y="49"/>
                </a:cxn>
                <a:cxn ang="0">
                  <a:pos x="292" y="2"/>
                </a:cxn>
                <a:cxn ang="0">
                  <a:pos x="316" y="34"/>
                </a:cxn>
                <a:cxn ang="0">
                  <a:pos x="370" y="39"/>
                </a:cxn>
                <a:cxn ang="0">
                  <a:pos x="362" y="88"/>
                </a:cxn>
                <a:cxn ang="0">
                  <a:pos x="395" y="101"/>
                </a:cxn>
                <a:cxn ang="0">
                  <a:pos x="423" y="87"/>
                </a:cxn>
                <a:cxn ang="0">
                  <a:pos x="467" y="70"/>
                </a:cxn>
                <a:cxn ang="0">
                  <a:pos x="473" y="104"/>
                </a:cxn>
                <a:cxn ang="0">
                  <a:pos x="443" y="136"/>
                </a:cxn>
                <a:cxn ang="0">
                  <a:pos x="425" y="153"/>
                </a:cxn>
                <a:cxn ang="0">
                  <a:pos x="466" y="160"/>
                </a:cxn>
                <a:cxn ang="0">
                  <a:pos x="487" y="186"/>
                </a:cxn>
                <a:cxn ang="0">
                  <a:pos x="522" y="220"/>
                </a:cxn>
                <a:cxn ang="0">
                  <a:pos x="513" y="246"/>
                </a:cxn>
                <a:cxn ang="0">
                  <a:pos x="481" y="264"/>
                </a:cxn>
                <a:cxn ang="0">
                  <a:pos x="451" y="282"/>
                </a:cxn>
                <a:cxn ang="0">
                  <a:pos x="482" y="336"/>
                </a:cxn>
                <a:cxn ang="0">
                  <a:pos x="440" y="331"/>
                </a:cxn>
                <a:cxn ang="0">
                  <a:pos x="434" y="365"/>
                </a:cxn>
                <a:cxn ang="0">
                  <a:pos x="466" y="418"/>
                </a:cxn>
                <a:cxn ang="0">
                  <a:pos x="425" y="442"/>
                </a:cxn>
                <a:cxn ang="0">
                  <a:pos x="380" y="467"/>
                </a:cxn>
                <a:cxn ang="0">
                  <a:pos x="349" y="450"/>
                </a:cxn>
                <a:cxn ang="0">
                  <a:pos x="299" y="438"/>
                </a:cxn>
                <a:cxn ang="0">
                  <a:pos x="279" y="457"/>
                </a:cxn>
              </a:cxnLst>
              <a:rect l="0" t="0" r="r" b="b"/>
              <a:pathLst>
                <a:path w="523" h="640">
                  <a:moveTo>
                    <a:pt x="272" y="640"/>
                  </a:moveTo>
                  <a:lnTo>
                    <a:pt x="255" y="640"/>
                  </a:lnTo>
                  <a:lnTo>
                    <a:pt x="254" y="623"/>
                  </a:lnTo>
                  <a:lnTo>
                    <a:pt x="253" y="614"/>
                  </a:lnTo>
                  <a:lnTo>
                    <a:pt x="253" y="592"/>
                  </a:lnTo>
                  <a:lnTo>
                    <a:pt x="251" y="588"/>
                  </a:lnTo>
                  <a:lnTo>
                    <a:pt x="253" y="584"/>
                  </a:lnTo>
                  <a:lnTo>
                    <a:pt x="256" y="555"/>
                  </a:lnTo>
                  <a:lnTo>
                    <a:pt x="259" y="540"/>
                  </a:lnTo>
                  <a:lnTo>
                    <a:pt x="261" y="525"/>
                  </a:lnTo>
                  <a:lnTo>
                    <a:pt x="263" y="511"/>
                  </a:lnTo>
                  <a:lnTo>
                    <a:pt x="266" y="502"/>
                  </a:lnTo>
                  <a:lnTo>
                    <a:pt x="272" y="490"/>
                  </a:lnTo>
                  <a:lnTo>
                    <a:pt x="274" y="485"/>
                  </a:lnTo>
                  <a:lnTo>
                    <a:pt x="269" y="471"/>
                  </a:lnTo>
                  <a:lnTo>
                    <a:pt x="265" y="461"/>
                  </a:lnTo>
                  <a:lnTo>
                    <a:pt x="266" y="451"/>
                  </a:lnTo>
                  <a:lnTo>
                    <a:pt x="266" y="445"/>
                  </a:lnTo>
                  <a:lnTo>
                    <a:pt x="265" y="438"/>
                  </a:lnTo>
                  <a:lnTo>
                    <a:pt x="265" y="432"/>
                  </a:lnTo>
                  <a:lnTo>
                    <a:pt x="262" y="428"/>
                  </a:lnTo>
                  <a:lnTo>
                    <a:pt x="260" y="426"/>
                  </a:lnTo>
                  <a:lnTo>
                    <a:pt x="260" y="422"/>
                  </a:lnTo>
                  <a:lnTo>
                    <a:pt x="257" y="413"/>
                  </a:lnTo>
                  <a:lnTo>
                    <a:pt x="256" y="410"/>
                  </a:lnTo>
                  <a:lnTo>
                    <a:pt x="255" y="412"/>
                  </a:lnTo>
                  <a:lnTo>
                    <a:pt x="257" y="414"/>
                  </a:lnTo>
                  <a:lnTo>
                    <a:pt x="256" y="415"/>
                  </a:lnTo>
                  <a:lnTo>
                    <a:pt x="256" y="419"/>
                  </a:lnTo>
                  <a:lnTo>
                    <a:pt x="255" y="422"/>
                  </a:lnTo>
                  <a:lnTo>
                    <a:pt x="254" y="420"/>
                  </a:lnTo>
                  <a:lnTo>
                    <a:pt x="254" y="422"/>
                  </a:lnTo>
                  <a:lnTo>
                    <a:pt x="251" y="421"/>
                  </a:lnTo>
                  <a:lnTo>
                    <a:pt x="250" y="421"/>
                  </a:lnTo>
                  <a:lnTo>
                    <a:pt x="249" y="421"/>
                  </a:lnTo>
                  <a:lnTo>
                    <a:pt x="246" y="424"/>
                  </a:lnTo>
                  <a:lnTo>
                    <a:pt x="245" y="425"/>
                  </a:lnTo>
                  <a:lnTo>
                    <a:pt x="245" y="422"/>
                  </a:lnTo>
                  <a:lnTo>
                    <a:pt x="245" y="421"/>
                  </a:lnTo>
                  <a:lnTo>
                    <a:pt x="244" y="421"/>
                  </a:lnTo>
                  <a:lnTo>
                    <a:pt x="243" y="421"/>
                  </a:lnTo>
                  <a:lnTo>
                    <a:pt x="240" y="424"/>
                  </a:lnTo>
                  <a:lnTo>
                    <a:pt x="236" y="426"/>
                  </a:lnTo>
                  <a:lnTo>
                    <a:pt x="234" y="426"/>
                  </a:lnTo>
                  <a:lnTo>
                    <a:pt x="236" y="424"/>
                  </a:lnTo>
                  <a:lnTo>
                    <a:pt x="237" y="421"/>
                  </a:lnTo>
                  <a:lnTo>
                    <a:pt x="238" y="420"/>
                  </a:lnTo>
                  <a:lnTo>
                    <a:pt x="240" y="419"/>
                  </a:lnTo>
                  <a:lnTo>
                    <a:pt x="239" y="419"/>
                  </a:lnTo>
                  <a:lnTo>
                    <a:pt x="237" y="420"/>
                  </a:lnTo>
                  <a:lnTo>
                    <a:pt x="237" y="418"/>
                  </a:lnTo>
                  <a:lnTo>
                    <a:pt x="239" y="416"/>
                  </a:lnTo>
                  <a:lnTo>
                    <a:pt x="240" y="415"/>
                  </a:lnTo>
                  <a:lnTo>
                    <a:pt x="239" y="414"/>
                  </a:lnTo>
                  <a:lnTo>
                    <a:pt x="242" y="414"/>
                  </a:lnTo>
                  <a:lnTo>
                    <a:pt x="243" y="416"/>
                  </a:lnTo>
                  <a:lnTo>
                    <a:pt x="242" y="418"/>
                  </a:lnTo>
                  <a:lnTo>
                    <a:pt x="243" y="419"/>
                  </a:lnTo>
                  <a:lnTo>
                    <a:pt x="244" y="416"/>
                  </a:lnTo>
                  <a:lnTo>
                    <a:pt x="245" y="415"/>
                  </a:lnTo>
                  <a:lnTo>
                    <a:pt x="244" y="414"/>
                  </a:lnTo>
                  <a:lnTo>
                    <a:pt x="244" y="413"/>
                  </a:lnTo>
                  <a:lnTo>
                    <a:pt x="243" y="410"/>
                  </a:lnTo>
                  <a:lnTo>
                    <a:pt x="244" y="409"/>
                  </a:lnTo>
                  <a:lnTo>
                    <a:pt x="243" y="409"/>
                  </a:lnTo>
                  <a:lnTo>
                    <a:pt x="244" y="408"/>
                  </a:lnTo>
                  <a:lnTo>
                    <a:pt x="246" y="406"/>
                  </a:lnTo>
                  <a:lnTo>
                    <a:pt x="250" y="406"/>
                  </a:lnTo>
                  <a:lnTo>
                    <a:pt x="251" y="407"/>
                  </a:lnTo>
                  <a:lnTo>
                    <a:pt x="254" y="403"/>
                  </a:lnTo>
                  <a:lnTo>
                    <a:pt x="256" y="397"/>
                  </a:lnTo>
                  <a:lnTo>
                    <a:pt x="259" y="395"/>
                  </a:lnTo>
                  <a:lnTo>
                    <a:pt x="259" y="394"/>
                  </a:lnTo>
                  <a:lnTo>
                    <a:pt x="260" y="392"/>
                  </a:lnTo>
                  <a:lnTo>
                    <a:pt x="259" y="394"/>
                  </a:lnTo>
                  <a:lnTo>
                    <a:pt x="259" y="392"/>
                  </a:lnTo>
                  <a:lnTo>
                    <a:pt x="257" y="394"/>
                  </a:lnTo>
                  <a:lnTo>
                    <a:pt x="255" y="395"/>
                  </a:lnTo>
                  <a:lnTo>
                    <a:pt x="253" y="395"/>
                  </a:lnTo>
                  <a:lnTo>
                    <a:pt x="253" y="394"/>
                  </a:lnTo>
                  <a:lnTo>
                    <a:pt x="251" y="394"/>
                  </a:lnTo>
                  <a:lnTo>
                    <a:pt x="250" y="395"/>
                  </a:lnTo>
                  <a:lnTo>
                    <a:pt x="251" y="392"/>
                  </a:lnTo>
                  <a:lnTo>
                    <a:pt x="251" y="391"/>
                  </a:lnTo>
                  <a:lnTo>
                    <a:pt x="251" y="390"/>
                  </a:lnTo>
                  <a:lnTo>
                    <a:pt x="254" y="388"/>
                  </a:lnTo>
                  <a:lnTo>
                    <a:pt x="250" y="390"/>
                  </a:lnTo>
                  <a:lnTo>
                    <a:pt x="250" y="389"/>
                  </a:lnTo>
                  <a:lnTo>
                    <a:pt x="250" y="388"/>
                  </a:lnTo>
                  <a:lnTo>
                    <a:pt x="251" y="386"/>
                  </a:lnTo>
                  <a:lnTo>
                    <a:pt x="249" y="386"/>
                  </a:lnTo>
                  <a:lnTo>
                    <a:pt x="248" y="388"/>
                  </a:lnTo>
                  <a:lnTo>
                    <a:pt x="248" y="386"/>
                  </a:lnTo>
                  <a:lnTo>
                    <a:pt x="246" y="384"/>
                  </a:lnTo>
                  <a:lnTo>
                    <a:pt x="246" y="383"/>
                  </a:lnTo>
                  <a:lnTo>
                    <a:pt x="245" y="385"/>
                  </a:lnTo>
                  <a:lnTo>
                    <a:pt x="244" y="386"/>
                  </a:lnTo>
                  <a:lnTo>
                    <a:pt x="243" y="388"/>
                  </a:lnTo>
                  <a:lnTo>
                    <a:pt x="243" y="389"/>
                  </a:lnTo>
                  <a:lnTo>
                    <a:pt x="242" y="390"/>
                  </a:lnTo>
                  <a:lnTo>
                    <a:pt x="243" y="391"/>
                  </a:lnTo>
                  <a:lnTo>
                    <a:pt x="245" y="391"/>
                  </a:lnTo>
                  <a:lnTo>
                    <a:pt x="245" y="392"/>
                  </a:lnTo>
                  <a:lnTo>
                    <a:pt x="245" y="394"/>
                  </a:lnTo>
                  <a:lnTo>
                    <a:pt x="245" y="396"/>
                  </a:lnTo>
                  <a:lnTo>
                    <a:pt x="244" y="395"/>
                  </a:lnTo>
                  <a:lnTo>
                    <a:pt x="243" y="395"/>
                  </a:lnTo>
                  <a:lnTo>
                    <a:pt x="242" y="395"/>
                  </a:lnTo>
                  <a:lnTo>
                    <a:pt x="242" y="396"/>
                  </a:lnTo>
                  <a:lnTo>
                    <a:pt x="240" y="394"/>
                  </a:lnTo>
                  <a:lnTo>
                    <a:pt x="239" y="392"/>
                  </a:lnTo>
                  <a:lnTo>
                    <a:pt x="237" y="394"/>
                  </a:lnTo>
                  <a:lnTo>
                    <a:pt x="237" y="395"/>
                  </a:lnTo>
                  <a:lnTo>
                    <a:pt x="234" y="395"/>
                  </a:lnTo>
                  <a:lnTo>
                    <a:pt x="234" y="397"/>
                  </a:lnTo>
                  <a:lnTo>
                    <a:pt x="232" y="398"/>
                  </a:lnTo>
                  <a:lnTo>
                    <a:pt x="230" y="400"/>
                  </a:lnTo>
                  <a:lnTo>
                    <a:pt x="230" y="398"/>
                  </a:lnTo>
                  <a:lnTo>
                    <a:pt x="232" y="397"/>
                  </a:lnTo>
                  <a:lnTo>
                    <a:pt x="233" y="396"/>
                  </a:lnTo>
                  <a:lnTo>
                    <a:pt x="232" y="396"/>
                  </a:lnTo>
                  <a:lnTo>
                    <a:pt x="232" y="395"/>
                  </a:lnTo>
                  <a:lnTo>
                    <a:pt x="234" y="394"/>
                  </a:lnTo>
                  <a:lnTo>
                    <a:pt x="233" y="392"/>
                  </a:lnTo>
                  <a:lnTo>
                    <a:pt x="232" y="392"/>
                  </a:lnTo>
                  <a:lnTo>
                    <a:pt x="230" y="392"/>
                  </a:lnTo>
                  <a:lnTo>
                    <a:pt x="231" y="390"/>
                  </a:lnTo>
                  <a:lnTo>
                    <a:pt x="232" y="388"/>
                  </a:lnTo>
                  <a:lnTo>
                    <a:pt x="236" y="386"/>
                  </a:lnTo>
                  <a:lnTo>
                    <a:pt x="238" y="388"/>
                  </a:lnTo>
                  <a:lnTo>
                    <a:pt x="237" y="386"/>
                  </a:lnTo>
                  <a:lnTo>
                    <a:pt x="237" y="385"/>
                  </a:lnTo>
                  <a:lnTo>
                    <a:pt x="240" y="385"/>
                  </a:lnTo>
                  <a:lnTo>
                    <a:pt x="240" y="388"/>
                  </a:lnTo>
                  <a:lnTo>
                    <a:pt x="242" y="386"/>
                  </a:lnTo>
                  <a:lnTo>
                    <a:pt x="243" y="385"/>
                  </a:lnTo>
                  <a:lnTo>
                    <a:pt x="245" y="384"/>
                  </a:lnTo>
                  <a:lnTo>
                    <a:pt x="246" y="382"/>
                  </a:lnTo>
                  <a:lnTo>
                    <a:pt x="246" y="379"/>
                  </a:lnTo>
                  <a:lnTo>
                    <a:pt x="245" y="379"/>
                  </a:lnTo>
                  <a:lnTo>
                    <a:pt x="244" y="380"/>
                  </a:lnTo>
                  <a:lnTo>
                    <a:pt x="242" y="380"/>
                  </a:lnTo>
                  <a:lnTo>
                    <a:pt x="243" y="379"/>
                  </a:lnTo>
                  <a:lnTo>
                    <a:pt x="243" y="377"/>
                  </a:lnTo>
                  <a:lnTo>
                    <a:pt x="243" y="374"/>
                  </a:lnTo>
                  <a:lnTo>
                    <a:pt x="244" y="372"/>
                  </a:lnTo>
                  <a:lnTo>
                    <a:pt x="240" y="373"/>
                  </a:lnTo>
                  <a:lnTo>
                    <a:pt x="238" y="374"/>
                  </a:lnTo>
                  <a:lnTo>
                    <a:pt x="237" y="376"/>
                  </a:lnTo>
                  <a:lnTo>
                    <a:pt x="236" y="377"/>
                  </a:lnTo>
                  <a:lnTo>
                    <a:pt x="234" y="380"/>
                  </a:lnTo>
                  <a:lnTo>
                    <a:pt x="233" y="379"/>
                  </a:lnTo>
                  <a:lnTo>
                    <a:pt x="233" y="376"/>
                  </a:lnTo>
                  <a:lnTo>
                    <a:pt x="234" y="376"/>
                  </a:lnTo>
                  <a:lnTo>
                    <a:pt x="237" y="374"/>
                  </a:lnTo>
                  <a:lnTo>
                    <a:pt x="240" y="372"/>
                  </a:lnTo>
                  <a:lnTo>
                    <a:pt x="240" y="370"/>
                  </a:lnTo>
                  <a:lnTo>
                    <a:pt x="239" y="370"/>
                  </a:lnTo>
                  <a:lnTo>
                    <a:pt x="237" y="373"/>
                  </a:lnTo>
                  <a:lnTo>
                    <a:pt x="236" y="373"/>
                  </a:lnTo>
                  <a:lnTo>
                    <a:pt x="238" y="368"/>
                  </a:lnTo>
                  <a:lnTo>
                    <a:pt x="239" y="366"/>
                  </a:lnTo>
                  <a:lnTo>
                    <a:pt x="240" y="364"/>
                  </a:lnTo>
                  <a:lnTo>
                    <a:pt x="242" y="362"/>
                  </a:lnTo>
                  <a:lnTo>
                    <a:pt x="240" y="362"/>
                  </a:lnTo>
                  <a:lnTo>
                    <a:pt x="239" y="364"/>
                  </a:lnTo>
                  <a:lnTo>
                    <a:pt x="239" y="365"/>
                  </a:lnTo>
                  <a:lnTo>
                    <a:pt x="238" y="366"/>
                  </a:lnTo>
                  <a:lnTo>
                    <a:pt x="238" y="365"/>
                  </a:lnTo>
                  <a:lnTo>
                    <a:pt x="238" y="364"/>
                  </a:lnTo>
                  <a:lnTo>
                    <a:pt x="237" y="362"/>
                  </a:lnTo>
                  <a:lnTo>
                    <a:pt x="236" y="361"/>
                  </a:lnTo>
                  <a:lnTo>
                    <a:pt x="233" y="361"/>
                  </a:lnTo>
                  <a:lnTo>
                    <a:pt x="236" y="362"/>
                  </a:lnTo>
                  <a:lnTo>
                    <a:pt x="236" y="365"/>
                  </a:lnTo>
                  <a:lnTo>
                    <a:pt x="234" y="366"/>
                  </a:lnTo>
                  <a:lnTo>
                    <a:pt x="234" y="365"/>
                  </a:lnTo>
                  <a:lnTo>
                    <a:pt x="233" y="366"/>
                  </a:lnTo>
                  <a:lnTo>
                    <a:pt x="233" y="368"/>
                  </a:lnTo>
                  <a:lnTo>
                    <a:pt x="231" y="371"/>
                  </a:lnTo>
                  <a:lnTo>
                    <a:pt x="230" y="373"/>
                  </a:lnTo>
                  <a:lnTo>
                    <a:pt x="230" y="371"/>
                  </a:lnTo>
                  <a:lnTo>
                    <a:pt x="228" y="367"/>
                  </a:lnTo>
                  <a:lnTo>
                    <a:pt x="228" y="368"/>
                  </a:lnTo>
                  <a:lnTo>
                    <a:pt x="230" y="366"/>
                  </a:lnTo>
                  <a:lnTo>
                    <a:pt x="230" y="365"/>
                  </a:lnTo>
                  <a:lnTo>
                    <a:pt x="228" y="366"/>
                  </a:lnTo>
                  <a:lnTo>
                    <a:pt x="228" y="364"/>
                  </a:lnTo>
                  <a:lnTo>
                    <a:pt x="227" y="366"/>
                  </a:lnTo>
                  <a:lnTo>
                    <a:pt x="226" y="366"/>
                  </a:lnTo>
                  <a:lnTo>
                    <a:pt x="225" y="367"/>
                  </a:lnTo>
                  <a:lnTo>
                    <a:pt x="225" y="365"/>
                  </a:lnTo>
                  <a:lnTo>
                    <a:pt x="226" y="362"/>
                  </a:lnTo>
                  <a:lnTo>
                    <a:pt x="224" y="362"/>
                  </a:lnTo>
                  <a:lnTo>
                    <a:pt x="224" y="360"/>
                  </a:lnTo>
                  <a:lnTo>
                    <a:pt x="224" y="359"/>
                  </a:lnTo>
                  <a:lnTo>
                    <a:pt x="224" y="356"/>
                  </a:lnTo>
                  <a:lnTo>
                    <a:pt x="224" y="355"/>
                  </a:lnTo>
                  <a:lnTo>
                    <a:pt x="226" y="353"/>
                  </a:lnTo>
                  <a:lnTo>
                    <a:pt x="226" y="355"/>
                  </a:lnTo>
                  <a:lnTo>
                    <a:pt x="227" y="358"/>
                  </a:lnTo>
                  <a:lnTo>
                    <a:pt x="227" y="359"/>
                  </a:lnTo>
                  <a:lnTo>
                    <a:pt x="227" y="360"/>
                  </a:lnTo>
                  <a:lnTo>
                    <a:pt x="230" y="359"/>
                  </a:lnTo>
                  <a:lnTo>
                    <a:pt x="231" y="358"/>
                  </a:lnTo>
                  <a:lnTo>
                    <a:pt x="232" y="358"/>
                  </a:lnTo>
                  <a:lnTo>
                    <a:pt x="234" y="358"/>
                  </a:lnTo>
                  <a:lnTo>
                    <a:pt x="234" y="359"/>
                  </a:lnTo>
                  <a:lnTo>
                    <a:pt x="237" y="360"/>
                  </a:lnTo>
                  <a:lnTo>
                    <a:pt x="238" y="360"/>
                  </a:lnTo>
                  <a:lnTo>
                    <a:pt x="239" y="360"/>
                  </a:lnTo>
                  <a:lnTo>
                    <a:pt x="239" y="359"/>
                  </a:lnTo>
                  <a:lnTo>
                    <a:pt x="240" y="358"/>
                  </a:lnTo>
                  <a:lnTo>
                    <a:pt x="243" y="358"/>
                  </a:lnTo>
                  <a:lnTo>
                    <a:pt x="244" y="358"/>
                  </a:lnTo>
                  <a:lnTo>
                    <a:pt x="244" y="359"/>
                  </a:lnTo>
                  <a:lnTo>
                    <a:pt x="245" y="359"/>
                  </a:lnTo>
                  <a:lnTo>
                    <a:pt x="246" y="359"/>
                  </a:lnTo>
                  <a:lnTo>
                    <a:pt x="246" y="358"/>
                  </a:lnTo>
                  <a:lnTo>
                    <a:pt x="245" y="356"/>
                  </a:lnTo>
                  <a:lnTo>
                    <a:pt x="244" y="356"/>
                  </a:lnTo>
                  <a:lnTo>
                    <a:pt x="243" y="355"/>
                  </a:lnTo>
                  <a:lnTo>
                    <a:pt x="242" y="356"/>
                  </a:lnTo>
                  <a:lnTo>
                    <a:pt x="240" y="356"/>
                  </a:lnTo>
                  <a:lnTo>
                    <a:pt x="239" y="358"/>
                  </a:lnTo>
                  <a:lnTo>
                    <a:pt x="238" y="359"/>
                  </a:lnTo>
                  <a:lnTo>
                    <a:pt x="237" y="359"/>
                  </a:lnTo>
                  <a:lnTo>
                    <a:pt x="236" y="358"/>
                  </a:lnTo>
                  <a:lnTo>
                    <a:pt x="236" y="356"/>
                  </a:lnTo>
                  <a:lnTo>
                    <a:pt x="237" y="355"/>
                  </a:lnTo>
                  <a:lnTo>
                    <a:pt x="237" y="354"/>
                  </a:lnTo>
                  <a:lnTo>
                    <a:pt x="239" y="354"/>
                  </a:lnTo>
                  <a:lnTo>
                    <a:pt x="240" y="355"/>
                  </a:lnTo>
                  <a:lnTo>
                    <a:pt x="242" y="354"/>
                  </a:lnTo>
                  <a:lnTo>
                    <a:pt x="240" y="354"/>
                  </a:lnTo>
                  <a:lnTo>
                    <a:pt x="242" y="353"/>
                  </a:lnTo>
                  <a:lnTo>
                    <a:pt x="243" y="352"/>
                  </a:lnTo>
                  <a:lnTo>
                    <a:pt x="242" y="352"/>
                  </a:lnTo>
                  <a:lnTo>
                    <a:pt x="239" y="353"/>
                  </a:lnTo>
                  <a:lnTo>
                    <a:pt x="234" y="353"/>
                  </a:lnTo>
                  <a:lnTo>
                    <a:pt x="236" y="352"/>
                  </a:lnTo>
                  <a:lnTo>
                    <a:pt x="238" y="349"/>
                  </a:lnTo>
                  <a:lnTo>
                    <a:pt x="242" y="349"/>
                  </a:lnTo>
                  <a:lnTo>
                    <a:pt x="244" y="349"/>
                  </a:lnTo>
                  <a:lnTo>
                    <a:pt x="245" y="350"/>
                  </a:lnTo>
                  <a:lnTo>
                    <a:pt x="245" y="352"/>
                  </a:lnTo>
                  <a:lnTo>
                    <a:pt x="246" y="353"/>
                  </a:lnTo>
                  <a:lnTo>
                    <a:pt x="245" y="354"/>
                  </a:lnTo>
                  <a:lnTo>
                    <a:pt x="246" y="355"/>
                  </a:lnTo>
                  <a:lnTo>
                    <a:pt x="248" y="354"/>
                  </a:lnTo>
                  <a:lnTo>
                    <a:pt x="249" y="353"/>
                  </a:lnTo>
                  <a:lnTo>
                    <a:pt x="248" y="352"/>
                  </a:lnTo>
                  <a:lnTo>
                    <a:pt x="246" y="352"/>
                  </a:lnTo>
                  <a:lnTo>
                    <a:pt x="248" y="349"/>
                  </a:lnTo>
                  <a:lnTo>
                    <a:pt x="248" y="348"/>
                  </a:lnTo>
                  <a:lnTo>
                    <a:pt x="248" y="347"/>
                  </a:lnTo>
                  <a:lnTo>
                    <a:pt x="246" y="345"/>
                  </a:lnTo>
                  <a:lnTo>
                    <a:pt x="246" y="344"/>
                  </a:lnTo>
                  <a:lnTo>
                    <a:pt x="248" y="344"/>
                  </a:lnTo>
                  <a:lnTo>
                    <a:pt x="245" y="343"/>
                  </a:lnTo>
                  <a:lnTo>
                    <a:pt x="233" y="343"/>
                  </a:lnTo>
                  <a:lnTo>
                    <a:pt x="212" y="347"/>
                  </a:lnTo>
                  <a:lnTo>
                    <a:pt x="201" y="349"/>
                  </a:lnTo>
                  <a:lnTo>
                    <a:pt x="191" y="354"/>
                  </a:lnTo>
                  <a:lnTo>
                    <a:pt x="187" y="354"/>
                  </a:lnTo>
                  <a:lnTo>
                    <a:pt x="192" y="358"/>
                  </a:lnTo>
                  <a:lnTo>
                    <a:pt x="197" y="360"/>
                  </a:lnTo>
                  <a:lnTo>
                    <a:pt x="200" y="364"/>
                  </a:lnTo>
                  <a:lnTo>
                    <a:pt x="202" y="366"/>
                  </a:lnTo>
                  <a:lnTo>
                    <a:pt x="204" y="367"/>
                  </a:lnTo>
                  <a:lnTo>
                    <a:pt x="201" y="366"/>
                  </a:lnTo>
                  <a:lnTo>
                    <a:pt x="200" y="368"/>
                  </a:lnTo>
                  <a:lnTo>
                    <a:pt x="200" y="372"/>
                  </a:lnTo>
                  <a:lnTo>
                    <a:pt x="201" y="376"/>
                  </a:lnTo>
                  <a:lnTo>
                    <a:pt x="203" y="378"/>
                  </a:lnTo>
                  <a:lnTo>
                    <a:pt x="204" y="379"/>
                  </a:lnTo>
                  <a:lnTo>
                    <a:pt x="206" y="380"/>
                  </a:lnTo>
                  <a:lnTo>
                    <a:pt x="207" y="379"/>
                  </a:lnTo>
                  <a:lnTo>
                    <a:pt x="206" y="380"/>
                  </a:lnTo>
                  <a:lnTo>
                    <a:pt x="206" y="382"/>
                  </a:lnTo>
                  <a:lnTo>
                    <a:pt x="207" y="383"/>
                  </a:lnTo>
                  <a:lnTo>
                    <a:pt x="209" y="384"/>
                  </a:lnTo>
                  <a:lnTo>
                    <a:pt x="209" y="383"/>
                  </a:lnTo>
                  <a:lnTo>
                    <a:pt x="209" y="382"/>
                  </a:lnTo>
                  <a:lnTo>
                    <a:pt x="209" y="380"/>
                  </a:lnTo>
                  <a:lnTo>
                    <a:pt x="210" y="382"/>
                  </a:lnTo>
                  <a:lnTo>
                    <a:pt x="213" y="384"/>
                  </a:lnTo>
                  <a:lnTo>
                    <a:pt x="212" y="384"/>
                  </a:lnTo>
                  <a:lnTo>
                    <a:pt x="210" y="385"/>
                  </a:lnTo>
                  <a:lnTo>
                    <a:pt x="212" y="386"/>
                  </a:lnTo>
                  <a:lnTo>
                    <a:pt x="213" y="388"/>
                  </a:lnTo>
                  <a:lnTo>
                    <a:pt x="213" y="390"/>
                  </a:lnTo>
                  <a:lnTo>
                    <a:pt x="212" y="389"/>
                  </a:lnTo>
                  <a:lnTo>
                    <a:pt x="210" y="388"/>
                  </a:lnTo>
                  <a:lnTo>
                    <a:pt x="210" y="389"/>
                  </a:lnTo>
                  <a:lnTo>
                    <a:pt x="210" y="391"/>
                  </a:lnTo>
                  <a:lnTo>
                    <a:pt x="210" y="394"/>
                  </a:lnTo>
                  <a:lnTo>
                    <a:pt x="209" y="390"/>
                  </a:lnTo>
                  <a:lnTo>
                    <a:pt x="209" y="391"/>
                  </a:lnTo>
                  <a:lnTo>
                    <a:pt x="208" y="394"/>
                  </a:lnTo>
                  <a:lnTo>
                    <a:pt x="209" y="390"/>
                  </a:lnTo>
                  <a:lnTo>
                    <a:pt x="208" y="391"/>
                  </a:lnTo>
                  <a:lnTo>
                    <a:pt x="209" y="389"/>
                  </a:lnTo>
                  <a:lnTo>
                    <a:pt x="209" y="388"/>
                  </a:lnTo>
                  <a:lnTo>
                    <a:pt x="209" y="386"/>
                  </a:lnTo>
                  <a:lnTo>
                    <a:pt x="209" y="385"/>
                  </a:lnTo>
                  <a:lnTo>
                    <a:pt x="207" y="384"/>
                  </a:lnTo>
                  <a:lnTo>
                    <a:pt x="204" y="382"/>
                  </a:lnTo>
                  <a:lnTo>
                    <a:pt x="202" y="378"/>
                  </a:lnTo>
                  <a:lnTo>
                    <a:pt x="202" y="377"/>
                  </a:lnTo>
                  <a:lnTo>
                    <a:pt x="202" y="380"/>
                  </a:lnTo>
                  <a:lnTo>
                    <a:pt x="202" y="384"/>
                  </a:lnTo>
                  <a:lnTo>
                    <a:pt x="203" y="386"/>
                  </a:lnTo>
                  <a:lnTo>
                    <a:pt x="203" y="384"/>
                  </a:lnTo>
                  <a:lnTo>
                    <a:pt x="206" y="384"/>
                  </a:lnTo>
                  <a:lnTo>
                    <a:pt x="204" y="385"/>
                  </a:lnTo>
                  <a:lnTo>
                    <a:pt x="204" y="386"/>
                  </a:lnTo>
                  <a:lnTo>
                    <a:pt x="204" y="388"/>
                  </a:lnTo>
                  <a:lnTo>
                    <a:pt x="207" y="386"/>
                  </a:lnTo>
                  <a:lnTo>
                    <a:pt x="206" y="389"/>
                  </a:lnTo>
                  <a:lnTo>
                    <a:pt x="206" y="391"/>
                  </a:lnTo>
                  <a:lnTo>
                    <a:pt x="209" y="395"/>
                  </a:lnTo>
                  <a:lnTo>
                    <a:pt x="210" y="397"/>
                  </a:lnTo>
                  <a:lnTo>
                    <a:pt x="210" y="396"/>
                  </a:lnTo>
                  <a:lnTo>
                    <a:pt x="213" y="396"/>
                  </a:lnTo>
                  <a:lnTo>
                    <a:pt x="213" y="398"/>
                  </a:lnTo>
                  <a:lnTo>
                    <a:pt x="214" y="400"/>
                  </a:lnTo>
                  <a:lnTo>
                    <a:pt x="216" y="400"/>
                  </a:lnTo>
                  <a:lnTo>
                    <a:pt x="216" y="398"/>
                  </a:lnTo>
                  <a:lnTo>
                    <a:pt x="216" y="396"/>
                  </a:lnTo>
                  <a:lnTo>
                    <a:pt x="218" y="395"/>
                  </a:lnTo>
                  <a:lnTo>
                    <a:pt x="220" y="394"/>
                  </a:lnTo>
                  <a:lnTo>
                    <a:pt x="221" y="394"/>
                  </a:lnTo>
                  <a:lnTo>
                    <a:pt x="221" y="396"/>
                  </a:lnTo>
                  <a:lnTo>
                    <a:pt x="220" y="397"/>
                  </a:lnTo>
                  <a:lnTo>
                    <a:pt x="220" y="400"/>
                  </a:lnTo>
                  <a:lnTo>
                    <a:pt x="220" y="401"/>
                  </a:lnTo>
                  <a:lnTo>
                    <a:pt x="222" y="401"/>
                  </a:lnTo>
                  <a:lnTo>
                    <a:pt x="224" y="401"/>
                  </a:lnTo>
                  <a:lnTo>
                    <a:pt x="225" y="398"/>
                  </a:lnTo>
                  <a:lnTo>
                    <a:pt x="224" y="397"/>
                  </a:lnTo>
                  <a:lnTo>
                    <a:pt x="225" y="395"/>
                  </a:lnTo>
                  <a:lnTo>
                    <a:pt x="225" y="397"/>
                  </a:lnTo>
                  <a:lnTo>
                    <a:pt x="225" y="398"/>
                  </a:lnTo>
                  <a:lnTo>
                    <a:pt x="224" y="401"/>
                  </a:lnTo>
                  <a:lnTo>
                    <a:pt x="222" y="402"/>
                  </a:lnTo>
                  <a:lnTo>
                    <a:pt x="225" y="403"/>
                  </a:lnTo>
                  <a:lnTo>
                    <a:pt x="227" y="404"/>
                  </a:lnTo>
                  <a:lnTo>
                    <a:pt x="228" y="407"/>
                  </a:lnTo>
                  <a:lnTo>
                    <a:pt x="226" y="406"/>
                  </a:lnTo>
                  <a:lnTo>
                    <a:pt x="226" y="407"/>
                  </a:lnTo>
                  <a:lnTo>
                    <a:pt x="227" y="410"/>
                  </a:lnTo>
                  <a:lnTo>
                    <a:pt x="225" y="409"/>
                  </a:lnTo>
                  <a:lnTo>
                    <a:pt x="224" y="407"/>
                  </a:lnTo>
                  <a:lnTo>
                    <a:pt x="225" y="406"/>
                  </a:lnTo>
                  <a:lnTo>
                    <a:pt x="224" y="404"/>
                  </a:lnTo>
                  <a:lnTo>
                    <a:pt x="222" y="403"/>
                  </a:lnTo>
                  <a:lnTo>
                    <a:pt x="221" y="402"/>
                  </a:lnTo>
                  <a:lnTo>
                    <a:pt x="220" y="401"/>
                  </a:lnTo>
                  <a:lnTo>
                    <a:pt x="219" y="402"/>
                  </a:lnTo>
                  <a:lnTo>
                    <a:pt x="221" y="404"/>
                  </a:lnTo>
                  <a:lnTo>
                    <a:pt x="221" y="408"/>
                  </a:lnTo>
                  <a:lnTo>
                    <a:pt x="224" y="409"/>
                  </a:lnTo>
                  <a:lnTo>
                    <a:pt x="224" y="413"/>
                  </a:lnTo>
                  <a:lnTo>
                    <a:pt x="225" y="418"/>
                  </a:lnTo>
                  <a:lnTo>
                    <a:pt x="226" y="420"/>
                  </a:lnTo>
                  <a:lnTo>
                    <a:pt x="227" y="421"/>
                  </a:lnTo>
                  <a:lnTo>
                    <a:pt x="230" y="421"/>
                  </a:lnTo>
                  <a:lnTo>
                    <a:pt x="231" y="422"/>
                  </a:lnTo>
                  <a:lnTo>
                    <a:pt x="232" y="425"/>
                  </a:lnTo>
                  <a:lnTo>
                    <a:pt x="230" y="424"/>
                  </a:lnTo>
                  <a:lnTo>
                    <a:pt x="231" y="425"/>
                  </a:lnTo>
                  <a:lnTo>
                    <a:pt x="228" y="427"/>
                  </a:lnTo>
                  <a:lnTo>
                    <a:pt x="228" y="426"/>
                  </a:lnTo>
                  <a:lnTo>
                    <a:pt x="228" y="427"/>
                  </a:lnTo>
                  <a:lnTo>
                    <a:pt x="227" y="426"/>
                  </a:lnTo>
                  <a:lnTo>
                    <a:pt x="226" y="427"/>
                  </a:lnTo>
                  <a:lnTo>
                    <a:pt x="225" y="430"/>
                  </a:lnTo>
                  <a:lnTo>
                    <a:pt x="224" y="428"/>
                  </a:lnTo>
                  <a:lnTo>
                    <a:pt x="222" y="427"/>
                  </a:lnTo>
                  <a:lnTo>
                    <a:pt x="224" y="424"/>
                  </a:lnTo>
                  <a:lnTo>
                    <a:pt x="224" y="421"/>
                  </a:lnTo>
                  <a:lnTo>
                    <a:pt x="224" y="419"/>
                  </a:lnTo>
                  <a:lnTo>
                    <a:pt x="222" y="413"/>
                  </a:lnTo>
                  <a:lnTo>
                    <a:pt x="222" y="414"/>
                  </a:lnTo>
                  <a:lnTo>
                    <a:pt x="221" y="414"/>
                  </a:lnTo>
                  <a:lnTo>
                    <a:pt x="222" y="415"/>
                  </a:lnTo>
                  <a:lnTo>
                    <a:pt x="220" y="415"/>
                  </a:lnTo>
                  <a:lnTo>
                    <a:pt x="218" y="414"/>
                  </a:lnTo>
                  <a:lnTo>
                    <a:pt x="216" y="413"/>
                  </a:lnTo>
                  <a:lnTo>
                    <a:pt x="216" y="414"/>
                  </a:lnTo>
                  <a:lnTo>
                    <a:pt x="216" y="419"/>
                  </a:lnTo>
                  <a:lnTo>
                    <a:pt x="215" y="419"/>
                  </a:lnTo>
                  <a:lnTo>
                    <a:pt x="214" y="416"/>
                  </a:lnTo>
                  <a:lnTo>
                    <a:pt x="214" y="414"/>
                  </a:lnTo>
                  <a:lnTo>
                    <a:pt x="215" y="414"/>
                  </a:lnTo>
                  <a:lnTo>
                    <a:pt x="216" y="413"/>
                  </a:lnTo>
                  <a:lnTo>
                    <a:pt x="216" y="410"/>
                  </a:lnTo>
                  <a:lnTo>
                    <a:pt x="218" y="409"/>
                  </a:lnTo>
                  <a:lnTo>
                    <a:pt x="218" y="408"/>
                  </a:lnTo>
                  <a:lnTo>
                    <a:pt x="216" y="408"/>
                  </a:lnTo>
                  <a:lnTo>
                    <a:pt x="216" y="409"/>
                  </a:lnTo>
                  <a:lnTo>
                    <a:pt x="215" y="408"/>
                  </a:lnTo>
                  <a:lnTo>
                    <a:pt x="215" y="407"/>
                  </a:lnTo>
                  <a:lnTo>
                    <a:pt x="213" y="410"/>
                  </a:lnTo>
                  <a:lnTo>
                    <a:pt x="212" y="414"/>
                  </a:lnTo>
                  <a:lnTo>
                    <a:pt x="209" y="418"/>
                  </a:lnTo>
                  <a:lnTo>
                    <a:pt x="210" y="420"/>
                  </a:lnTo>
                  <a:lnTo>
                    <a:pt x="212" y="420"/>
                  </a:lnTo>
                  <a:lnTo>
                    <a:pt x="213" y="421"/>
                  </a:lnTo>
                  <a:lnTo>
                    <a:pt x="212" y="421"/>
                  </a:lnTo>
                  <a:lnTo>
                    <a:pt x="212" y="425"/>
                  </a:lnTo>
                  <a:lnTo>
                    <a:pt x="210" y="426"/>
                  </a:lnTo>
                  <a:lnTo>
                    <a:pt x="213" y="426"/>
                  </a:lnTo>
                  <a:lnTo>
                    <a:pt x="213" y="428"/>
                  </a:lnTo>
                  <a:lnTo>
                    <a:pt x="212" y="427"/>
                  </a:lnTo>
                  <a:lnTo>
                    <a:pt x="213" y="431"/>
                  </a:lnTo>
                  <a:lnTo>
                    <a:pt x="212" y="433"/>
                  </a:lnTo>
                  <a:lnTo>
                    <a:pt x="209" y="431"/>
                  </a:lnTo>
                  <a:lnTo>
                    <a:pt x="208" y="428"/>
                  </a:lnTo>
                  <a:lnTo>
                    <a:pt x="208" y="430"/>
                  </a:lnTo>
                  <a:lnTo>
                    <a:pt x="206" y="432"/>
                  </a:lnTo>
                  <a:lnTo>
                    <a:pt x="204" y="431"/>
                  </a:lnTo>
                  <a:lnTo>
                    <a:pt x="204" y="430"/>
                  </a:lnTo>
                  <a:lnTo>
                    <a:pt x="203" y="431"/>
                  </a:lnTo>
                  <a:lnTo>
                    <a:pt x="202" y="427"/>
                  </a:lnTo>
                  <a:lnTo>
                    <a:pt x="203" y="425"/>
                  </a:lnTo>
                  <a:lnTo>
                    <a:pt x="202" y="426"/>
                  </a:lnTo>
                  <a:lnTo>
                    <a:pt x="201" y="424"/>
                  </a:lnTo>
                  <a:lnTo>
                    <a:pt x="204" y="420"/>
                  </a:lnTo>
                  <a:lnTo>
                    <a:pt x="204" y="419"/>
                  </a:lnTo>
                  <a:lnTo>
                    <a:pt x="202" y="420"/>
                  </a:lnTo>
                  <a:lnTo>
                    <a:pt x="200" y="422"/>
                  </a:lnTo>
                  <a:lnTo>
                    <a:pt x="200" y="421"/>
                  </a:lnTo>
                  <a:lnTo>
                    <a:pt x="201" y="418"/>
                  </a:lnTo>
                  <a:lnTo>
                    <a:pt x="202" y="416"/>
                  </a:lnTo>
                  <a:lnTo>
                    <a:pt x="204" y="418"/>
                  </a:lnTo>
                  <a:lnTo>
                    <a:pt x="208" y="416"/>
                  </a:lnTo>
                  <a:lnTo>
                    <a:pt x="210" y="413"/>
                  </a:lnTo>
                  <a:lnTo>
                    <a:pt x="214" y="408"/>
                  </a:lnTo>
                  <a:lnTo>
                    <a:pt x="215" y="404"/>
                  </a:lnTo>
                  <a:lnTo>
                    <a:pt x="214" y="404"/>
                  </a:lnTo>
                  <a:lnTo>
                    <a:pt x="214" y="403"/>
                  </a:lnTo>
                  <a:lnTo>
                    <a:pt x="213" y="402"/>
                  </a:lnTo>
                  <a:lnTo>
                    <a:pt x="213" y="404"/>
                  </a:lnTo>
                  <a:lnTo>
                    <a:pt x="210" y="406"/>
                  </a:lnTo>
                  <a:lnTo>
                    <a:pt x="208" y="406"/>
                  </a:lnTo>
                  <a:lnTo>
                    <a:pt x="207" y="407"/>
                  </a:lnTo>
                  <a:lnTo>
                    <a:pt x="203" y="407"/>
                  </a:lnTo>
                  <a:lnTo>
                    <a:pt x="206" y="406"/>
                  </a:lnTo>
                  <a:lnTo>
                    <a:pt x="207" y="404"/>
                  </a:lnTo>
                  <a:lnTo>
                    <a:pt x="208" y="401"/>
                  </a:lnTo>
                  <a:lnTo>
                    <a:pt x="210" y="402"/>
                  </a:lnTo>
                  <a:lnTo>
                    <a:pt x="212" y="402"/>
                  </a:lnTo>
                  <a:lnTo>
                    <a:pt x="212" y="401"/>
                  </a:lnTo>
                  <a:lnTo>
                    <a:pt x="213" y="401"/>
                  </a:lnTo>
                  <a:lnTo>
                    <a:pt x="213" y="400"/>
                  </a:lnTo>
                  <a:lnTo>
                    <a:pt x="212" y="400"/>
                  </a:lnTo>
                  <a:lnTo>
                    <a:pt x="210" y="398"/>
                  </a:lnTo>
                  <a:lnTo>
                    <a:pt x="209" y="397"/>
                  </a:lnTo>
                  <a:lnTo>
                    <a:pt x="209" y="398"/>
                  </a:lnTo>
                  <a:lnTo>
                    <a:pt x="208" y="398"/>
                  </a:lnTo>
                  <a:lnTo>
                    <a:pt x="206" y="397"/>
                  </a:lnTo>
                  <a:lnTo>
                    <a:pt x="204" y="397"/>
                  </a:lnTo>
                  <a:lnTo>
                    <a:pt x="202" y="397"/>
                  </a:lnTo>
                  <a:lnTo>
                    <a:pt x="201" y="395"/>
                  </a:lnTo>
                  <a:lnTo>
                    <a:pt x="200" y="395"/>
                  </a:lnTo>
                  <a:lnTo>
                    <a:pt x="202" y="398"/>
                  </a:lnTo>
                  <a:lnTo>
                    <a:pt x="203" y="400"/>
                  </a:lnTo>
                  <a:lnTo>
                    <a:pt x="202" y="400"/>
                  </a:lnTo>
                  <a:lnTo>
                    <a:pt x="201" y="403"/>
                  </a:lnTo>
                  <a:lnTo>
                    <a:pt x="202" y="404"/>
                  </a:lnTo>
                  <a:lnTo>
                    <a:pt x="200" y="403"/>
                  </a:lnTo>
                  <a:lnTo>
                    <a:pt x="201" y="406"/>
                  </a:lnTo>
                  <a:lnTo>
                    <a:pt x="200" y="408"/>
                  </a:lnTo>
                  <a:lnTo>
                    <a:pt x="198" y="404"/>
                  </a:lnTo>
                  <a:lnTo>
                    <a:pt x="197" y="404"/>
                  </a:lnTo>
                  <a:lnTo>
                    <a:pt x="197" y="406"/>
                  </a:lnTo>
                  <a:lnTo>
                    <a:pt x="196" y="404"/>
                  </a:lnTo>
                  <a:lnTo>
                    <a:pt x="196" y="406"/>
                  </a:lnTo>
                  <a:lnTo>
                    <a:pt x="196" y="409"/>
                  </a:lnTo>
                  <a:lnTo>
                    <a:pt x="195" y="407"/>
                  </a:lnTo>
                  <a:lnTo>
                    <a:pt x="194" y="407"/>
                  </a:lnTo>
                  <a:lnTo>
                    <a:pt x="192" y="408"/>
                  </a:lnTo>
                  <a:lnTo>
                    <a:pt x="192" y="404"/>
                  </a:lnTo>
                  <a:lnTo>
                    <a:pt x="192" y="402"/>
                  </a:lnTo>
                  <a:lnTo>
                    <a:pt x="194" y="400"/>
                  </a:lnTo>
                  <a:lnTo>
                    <a:pt x="192" y="398"/>
                  </a:lnTo>
                  <a:lnTo>
                    <a:pt x="191" y="397"/>
                  </a:lnTo>
                  <a:lnTo>
                    <a:pt x="190" y="397"/>
                  </a:lnTo>
                  <a:lnTo>
                    <a:pt x="187" y="397"/>
                  </a:lnTo>
                  <a:lnTo>
                    <a:pt x="187" y="398"/>
                  </a:lnTo>
                  <a:lnTo>
                    <a:pt x="190" y="400"/>
                  </a:lnTo>
                  <a:lnTo>
                    <a:pt x="190" y="402"/>
                  </a:lnTo>
                  <a:lnTo>
                    <a:pt x="189" y="402"/>
                  </a:lnTo>
                  <a:lnTo>
                    <a:pt x="187" y="404"/>
                  </a:lnTo>
                  <a:lnTo>
                    <a:pt x="186" y="403"/>
                  </a:lnTo>
                  <a:lnTo>
                    <a:pt x="185" y="401"/>
                  </a:lnTo>
                  <a:lnTo>
                    <a:pt x="185" y="400"/>
                  </a:lnTo>
                  <a:lnTo>
                    <a:pt x="184" y="400"/>
                  </a:lnTo>
                  <a:lnTo>
                    <a:pt x="183" y="402"/>
                  </a:lnTo>
                  <a:lnTo>
                    <a:pt x="184" y="403"/>
                  </a:lnTo>
                  <a:lnTo>
                    <a:pt x="186" y="407"/>
                  </a:lnTo>
                  <a:lnTo>
                    <a:pt x="186" y="412"/>
                  </a:lnTo>
                  <a:lnTo>
                    <a:pt x="184" y="408"/>
                  </a:lnTo>
                  <a:lnTo>
                    <a:pt x="183" y="404"/>
                  </a:lnTo>
                  <a:lnTo>
                    <a:pt x="181" y="404"/>
                  </a:lnTo>
                  <a:lnTo>
                    <a:pt x="181" y="407"/>
                  </a:lnTo>
                  <a:lnTo>
                    <a:pt x="180" y="406"/>
                  </a:lnTo>
                  <a:lnTo>
                    <a:pt x="179" y="407"/>
                  </a:lnTo>
                  <a:lnTo>
                    <a:pt x="178" y="409"/>
                  </a:lnTo>
                  <a:lnTo>
                    <a:pt x="179" y="410"/>
                  </a:lnTo>
                  <a:lnTo>
                    <a:pt x="180" y="412"/>
                  </a:lnTo>
                  <a:lnTo>
                    <a:pt x="183" y="412"/>
                  </a:lnTo>
                  <a:lnTo>
                    <a:pt x="184" y="412"/>
                  </a:lnTo>
                  <a:lnTo>
                    <a:pt x="181" y="413"/>
                  </a:lnTo>
                  <a:lnTo>
                    <a:pt x="180" y="413"/>
                  </a:lnTo>
                  <a:lnTo>
                    <a:pt x="179" y="412"/>
                  </a:lnTo>
                  <a:lnTo>
                    <a:pt x="179" y="413"/>
                  </a:lnTo>
                  <a:lnTo>
                    <a:pt x="179" y="415"/>
                  </a:lnTo>
                  <a:lnTo>
                    <a:pt x="179" y="414"/>
                  </a:lnTo>
                  <a:lnTo>
                    <a:pt x="179" y="415"/>
                  </a:lnTo>
                  <a:lnTo>
                    <a:pt x="178" y="416"/>
                  </a:lnTo>
                  <a:lnTo>
                    <a:pt x="177" y="415"/>
                  </a:lnTo>
                  <a:lnTo>
                    <a:pt x="178" y="412"/>
                  </a:lnTo>
                  <a:lnTo>
                    <a:pt x="178" y="410"/>
                  </a:lnTo>
                  <a:lnTo>
                    <a:pt x="177" y="413"/>
                  </a:lnTo>
                  <a:lnTo>
                    <a:pt x="177" y="414"/>
                  </a:lnTo>
                  <a:lnTo>
                    <a:pt x="175" y="413"/>
                  </a:lnTo>
                  <a:lnTo>
                    <a:pt x="175" y="414"/>
                  </a:lnTo>
                  <a:lnTo>
                    <a:pt x="174" y="414"/>
                  </a:lnTo>
                  <a:lnTo>
                    <a:pt x="173" y="412"/>
                  </a:lnTo>
                  <a:lnTo>
                    <a:pt x="174" y="410"/>
                  </a:lnTo>
                  <a:lnTo>
                    <a:pt x="173" y="409"/>
                  </a:lnTo>
                  <a:lnTo>
                    <a:pt x="173" y="410"/>
                  </a:lnTo>
                  <a:lnTo>
                    <a:pt x="172" y="410"/>
                  </a:lnTo>
                  <a:lnTo>
                    <a:pt x="172" y="413"/>
                  </a:lnTo>
                  <a:lnTo>
                    <a:pt x="172" y="415"/>
                  </a:lnTo>
                  <a:lnTo>
                    <a:pt x="169" y="418"/>
                  </a:lnTo>
                  <a:lnTo>
                    <a:pt x="169" y="415"/>
                  </a:lnTo>
                  <a:lnTo>
                    <a:pt x="172" y="413"/>
                  </a:lnTo>
                  <a:lnTo>
                    <a:pt x="171" y="412"/>
                  </a:lnTo>
                  <a:lnTo>
                    <a:pt x="169" y="412"/>
                  </a:lnTo>
                  <a:lnTo>
                    <a:pt x="168" y="412"/>
                  </a:lnTo>
                  <a:lnTo>
                    <a:pt x="167" y="413"/>
                  </a:lnTo>
                  <a:lnTo>
                    <a:pt x="165" y="413"/>
                  </a:lnTo>
                  <a:lnTo>
                    <a:pt x="165" y="414"/>
                  </a:lnTo>
                  <a:lnTo>
                    <a:pt x="167" y="415"/>
                  </a:lnTo>
                  <a:lnTo>
                    <a:pt x="167" y="418"/>
                  </a:lnTo>
                  <a:lnTo>
                    <a:pt x="166" y="419"/>
                  </a:lnTo>
                  <a:lnTo>
                    <a:pt x="163" y="418"/>
                  </a:lnTo>
                  <a:lnTo>
                    <a:pt x="163" y="420"/>
                  </a:lnTo>
                  <a:lnTo>
                    <a:pt x="162" y="421"/>
                  </a:lnTo>
                  <a:lnTo>
                    <a:pt x="161" y="422"/>
                  </a:lnTo>
                  <a:lnTo>
                    <a:pt x="160" y="421"/>
                  </a:lnTo>
                  <a:lnTo>
                    <a:pt x="160" y="420"/>
                  </a:lnTo>
                  <a:lnTo>
                    <a:pt x="159" y="419"/>
                  </a:lnTo>
                  <a:lnTo>
                    <a:pt x="156" y="419"/>
                  </a:lnTo>
                  <a:lnTo>
                    <a:pt x="157" y="416"/>
                  </a:lnTo>
                  <a:lnTo>
                    <a:pt x="159" y="414"/>
                  </a:lnTo>
                  <a:lnTo>
                    <a:pt x="159" y="413"/>
                  </a:lnTo>
                  <a:lnTo>
                    <a:pt x="157" y="413"/>
                  </a:lnTo>
                  <a:lnTo>
                    <a:pt x="156" y="412"/>
                  </a:lnTo>
                  <a:lnTo>
                    <a:pt x="157" y="410"/>
                  </a:lnTo>
                  <a:lnTo>
                    <a:pt x="159" y="409"/>
                  </a:lnTo>
                  <a:lnTo>
                    <a:pt x="159" y="408"/>
                  </a:lnTo>
                  <a:lnTo>
                    <a:pt x="157" y="408"/>
                  </a:lnTo>
                  <a:lnTo>
                    <a:pt x="157" y="409"/>
                  </a:lnTo>
                  <a:lnTo>
                    <a:pt x="156" y="410"/>
                  </a:lnTo>
                  <a:lnTo>
                    <a:pt x="155" y="412"/>
                  </a:lnTo>
                  <a:lnTo>
                    <a:pt x="154" y="410"/>
                  </a:lnTo>
                  <a:lnTo>
                    <a:pt x="153" y="409"/>
                  </a:lnTo>
                  <a:lnTo>
                    <a:pt x="154" y="407"/>
                  </a:lnTo>
                  <a:lnTo>
                    <a:pt x="154" y="404"/>
                  </a:lnTo>
                  <a:lnTo>
                    <a:pt x="153" y="406"/>
                  </a:lnTo>
                  <a:lnTo>
                    <a:pt x="151" y="406"/>
                  </a:lnTo>
                  <a:lnTo>
                    <a:pt x="151" y="403"/>
                  </a:lnTo>
                  <a:lnTo>
                    <a:pt x="150" y="404"/>
                  </a:lnTo>
                  <a:lnTo>
                    <a:pt x="149" y="404"/>
                  </a:lnTo>
                  <a:lnTo>
                    <a:pt x="149" y="406"/>
                  </a:lnTo>
                  <a:lnTo>
                    <a:pt x="151" y="406"/>
                  </a:lnTo>
                  <a:lnTo>
                    <a:pt x="151" y="408"/>
                  </a:lnTo>
                  <a:lnTo>
                    <a:pt x="151" y="407"/>
                  </a:lnTo>
                  <a:lnTo>
                    <a:pt x="150" y="409"/>
                  </a:lnTo>
                  <a:lnTo>
                    <a:pt x="150" y="410"/>
                  </a:lnTo>
                  <a:lnTo>
                    <a:pt x="149" y="408"/>
                  </a:lnTo>
                  <a:lnTo>
                    <a:pt x="147" y="408"/>
                  </a:lnTo>
                  <a:lnTo>
                    <a:pt x="148" y="407"/>
                  </a:lnTo>
                  <a:lnTo>
                    <a:pt x="147" y="407"/>
                  </a:lnTo>
                  <a:lnTo>
                    <a:pt x="145" y="408"/>
                  </a:lnTo>
                  <a:lnTo>
                    <a:pt x="145" y="407"/>
                  </a:lnTo>
                  <a:lnTo>
                    <a:pt x="145" y="406"/>
                  </a:lnTo>
                  <a:lnTo>
                    <a:pt x="145" y="404"/>
                  </a:lnTo>
                  <a:lnTo>
                    <a:pt x="148" y="404"/>
                  </a:lnTo>
                  <a:lnTo>
                    <a:pt x="148" y="403"/>
                  </a:lnTo>
                  <a:lnTo>
                    <a:pt x="147" y="403"/>
                  </a:lnTo>
                  <a:lnTo>
                    <a:pt x="148" y="403"/>
                  </a:lnTo>
                  <a:lnTo>
                    <a:pt x="149" y="402"/>
                  </a:lnTo>
                  <a:lnTo>
                    <a:pt x="150" y="402"/>
                  </a:lnTo>
                  <a:lnTo>
                    <a:pt x="153" y="401"/>
                  </a:lnTo>
                  <a:lnTo>
                    <a:pt x="154" y="398"/>
                  </a:lnTo>
                  <a:lnTo>
                    <a:pt x="153" y="400"/>
                  </a:lnTo>
                  <a:lnTo>
                    <a:pt x="151" y="400"/>
                  </a:lnTo>
                  <a:lnTo>
                    <a:pt x="149" y="398"/>
                  </a:lnTo>
                  <a:lnTo>
                    <a:pt x="151" y="397"/>
                  </a:lnTo>
                  <a:lnTo>
                    <a:pt x="151" y="396"/>
                  </a:lnTo>
                  <a:lnTo>
                    <a:pt x="150" y="396"/>
                  </a:lnTo>
                  <a:lnTo>
                    <a:pt x="148" y="398"/>
                  </a:lnTo>
                  <a:lnTo>
                    <a:pt x="148" y="397"/>
                  </a:lnTo>
                  <a:lnTo>
                    <a:pt x="149" y="395"/>
                  </a:lnTo>
                  <a:lnTo>
                    <a:pt x="150" y="394"/>
                  </a:lnTo>
                  <a:lnTo>
                    <a:pt x="148" y="395"/>
                  </a:lnTo>
                  <a:lnTo>
                    <a:pt x="147" y="396"/>
                  </a:lnTo>
                  <a:lnTo>
                    <a:pt x="144" y="397"/>
                  </a:lnTo>
                  <a:lnTo>
                    <a:pt x="144" y="395"/>
                  </a:lnTo>
                  <a:lnTo>
                    <a:pt x="143" y="396"/>
                  </a:lnTo>
                  <a:lnTo>
                    <a:pt x="143" y="398"/>
                  </a:lnTo>
                  <a:lnTo>
                    <a:pt x="141" y="396"/>
                  </a:lnTo>
                  <a:lnTo>
                    <a:pt x="139" y="395"/>
                  </a:lnTo>
                  <a:lnTo>
                    <a:pt x="138" y="396"/>
                  </a:lnTo>
                  <a:lnTo>
                    <a:pt x="138" y="397"/>
                  </a:lnTo>
                  <a:lnTo>
                    <a:pt x="137" y="396"/>
                  </a:lnTo>
                  <a:lnTo>
                    <a:pt x="136" y="395"/>
                  </a:lnTo>
                  <a:lnTo>
                    <a:pt x="136" y="392"/>
                  </a:lnTo>
                  <a:lnTo>
                    <a:pt x="136" y="391"/>
                  </a:lnTo>
                  <a:lnTo>
                    <a:pt x="137" y="391"/>
                  </a:lnTo>
                  <a:lnTo>
                    <a:pt x="135" y="391"/>
                  </a:lnTo>
                  <a:lnTo>
                    <a:pt x="133" y="392"/>
                  </a:lnTo>
                  <a:lnTo>
                    <a:pt x="133" y="395"/>
                  </a:lnTo>
                  <a:lnTo>
                    <a:pt x="132" y="397"/>
                  </a:lnTo>
                  <a:lnTo>
                    <a:pt x="133" y="398"/>
                  </a:lnTo>
                  <a:lnTo>
                    <a:pt x="136" y="400"/>
                  </a:lnTo>
                  <a:lnTo>
                    <a:pt x="137" y="401"/>
                  </a:lnTo>
                  <a:lnTo>
                    <a:pt x="138" y="401"/>
                  </a:lnTo>
                  <a:lnTo>
                    <a:pt x="138" y="402"/>
                  </a:lnTo>
                  <a:lnTo>
                    <a:pt x="137" y="402"/>
                  </a:lnTo>
                  <a:lnTo>
                    <a:pt x="136" y="403"/>
                  </a:lnTo>
                  <a:lnTo>
                    <a:pt x="139" y="403"/>
                  </a:lnTo>
                  <a:lnTo>
                    <a:pt x="141" y="407"/>
                  </a:lnTo>
                  <a:lnTo>
                    <a:pt x="138" y="407"/>
                  </a:lnTo>
                  <a:lnTo>
                    <a:pt x="136" y="406"/>
                  </a:lnTo>
                  <a:lnTo>
                    <a:pt x="135" y="407"/>
                  </a:lnTo>
                  <a:lnTo>
                    <a:pt x="132" y="404"/>
                  </a:lnTo>
                  <a:lnTo>
                    <a:pt x="131" y="406"/>
                  </a:lnTo>
                  <a:lnTo>
                    <a:pt x="130" y="406"/>
                  </a:lnTo>
                  <a:lnTo>
                    <a:pt x="128" y="409"/>
                  </a:lnTo>
                  <a:lnTo>
                    <a:pt x="128" y="408"/>
                  </a:lnTo>
                  <a:lnTo>
                    <a:pt x="127" y="406"/>
                  </a:lnTo>
                  <a:lnTo>
                    <a:pt x="127" y="403"/>
                  </a:lnTo>
                  <a:lnTo>
                    <a:pt x="126" y="406"/>
                  </a:lnTo>
                  <a:lnTo>
                    <a:pt x="126" y="407"/>
                  </a:lnTo>
                  <a:lnTo>
                    <a:pt x="126" y="408"/>
                  </a:lnTo>
                  <a:lnTo>
                    <a:pt x="125" y="407"/>
                  </a:lnTo>
                  <a:lnTo>
                    <a:pt x="122" y="406"/>
                  </a:lnTo>
                  <a:lnTo>
                    <a:pt x="124" y="408"/>
                  </a:lnTo>
                  <a:lnTo>
                    <a:pt x="124" y="410"/>
                  </a:lnTo>
                  <a:lnTo>
                    <a:pt x="124" y="412"/>
                  </a:lnTo>
                  <a:lnTo>
                    <a:pt x="125" y="413"/>
                  </a:lnTo>
                  <a:lnTo>
                    <a:pt x="126" y="413"/>
                  </a:lnTo>
                  <a:lnTo>
                    <a:pt x="127" y="414"/>
                  </a:lnTo>
                  <a:lnTo>
                    <a:pt x="127" y="416"/>
                  </a:lnTo>
                  <a:lnTo>
                    <a:pt x="128" y="415"/>
                  </a:lnTo>
                  <a:lnTo>
                    <a:pt x="128" y="413"/>
                  </a:lnTo>
                  <a:lnTo>
                    <a:pt x="130" y="412"/>
                  </a:lnTo>
                  <a:lnTo>
                    <a:pt x="130" y="414"/>
                  </a:lnTo>
                  <a:lnTo>
                    <a:pt x="131" y="418"/>
                  </a:lnTo>
                  <a:lnTo>
                    <a:pt x="130" y="420"/>
                  </a:lnTo>
                  <a:lnTo>
                    <a:pt x="128" y="418"/>
                  </a:lnTo>
                  <a:lnTo>
                    <a:pt x="127" y="416"/>
                  </a:lnTo>
                  <a:lnTo>
                    <a:pt x="128" y="420"/>
                  </a:lnTo>
                  <a:lnTo>
                    <a:pt x="127" y="420"/>
                  </a:lnTo>
                  <a:lnTo>
                    <a:pt x="126" y="419"/>
                  </a:lnTo>
                  <a:lnTo>
                    <a:pt x="124" y="419"/>
                  </a:lnTo>
                  <a:lnTo>
                    <a:pt x="125" y="418"/>
                  </a:lnTo>
                  <a:lnTo>
                    <a:pt x="126" y="416"/>
                  </a:lnTo>
                  <a:lnTo>
                    <a:pt x="126" y="415"/>
                  </a:lnTo>
                  <a:lnTo>
                    <a:pt x="125" y="416"/>
                  </a:lnTo>
                  <a:lnTo>
                    <a:pt x="124" y="416"/>
                  </a:lnTo>
                  <a:lnTo>
                    <a:pt x="124" y="415"/>
                  </a:lnTo>
                  <a:lnTo>
                    <a:pt x="121" y="414"/>
                  </a:lnTo>
                  <a:lnTo>
                    <a:pt x="119" y="415"/>
                  </a:lnTo>
                  <a:lnTo>
                    <a:pt x="119" y="413"/>
                  </a:lnTo>
                  <a:lnTo>
                    <a:pt x="121" y="412"/>
                  </a:lnTo>
                  <a:lnTo>
                    <a:pt x="122" y="412"/>
                  </a:lnTo>
                  <a:lnTo>
                    <a:pt x="122" y="410"/>
                  </a:lnTo>
                  <a:lnTo>
                    <a:pt x="121" y="410"/>
                  </a:lnTo>
                  <a:lnTo>
                    <a:pt x="121" y="409"/>
                  </a:lnTo>
                  <a:lnTo>
                    <a:pt x="121" y="408"/>
                  </a:lnTo>
                  <a:lnTo>
                    <a:pt x="121" y="407"/>
                  </a:lnTo>
                  <a:lnTo>
                    <a:pt x="120" y="406"/>
                  </a:lnTo>
                  <a:lnTo>
                    <a:pt x="119" y="407"/>
                  </a:lnTo>
                  <a:lnTo>
                    <a:pt x="119" y="408"/>
                  </a:lnTo>
                  <a:lnTo>
                    <a:pt x="118" y="409"/>
                  </a:lnTo>
                  <a:lnTo>
                    <a:pt x="118" y="410"/>
                  </a:lnTo>
                  <a:lnTo>
                    <a:pt x="116" y="409"/>
                  </a:lnTo>
                  <a:lnTo>
                    <a:pt x="115" y="407"/>
                  </a:lnTo>
                  <a:lnTo>
                    <a:pt x="115" y="406"/>
                  </a:lnTo>
                  <a:lnTo>
                    <a:pt x="114" y="404"/>
                  </a:lnTo>
                  <a:lnTo>
                    <a:pt x="115" y="402"/>
                  </a:lnTo>
                  <a:lnTo>
                    <a:pt x="115" y="401"/>
                  </a:lnTo>
                  <a:lnTo>
                    <a:pt x="114" y="402"/>
                  </a:lnTo>
                  <a:lnTo>
                    <a:pt x="114" y="401"/>
                  </a:lnTo>
                  <a:lnTo>
                    <a:pt x="113" y="401"/>
                  </a:lnTo>
                  <a:lnTo>
                    <a:pt x="112" y="400"/>
                  </a:lnTo>
                  <a:lnTo>
                    <a:pt x="110" y="400"/>
                  </a:lnTo>
                  <a:lnTo>
                    <a:pt x="110" y="398"/>
                  </a:lnTo>
                  <a:lnTo>
                    <a:pt x="110" y="397"/>
                  </a:lnTo>
                  <a:lnTo>
                    <a:pt x="109" y="400"/>
                  </a:lnTo>
                  <a:lnTo>
                    <a:pt x="110" y="401"/>
                  </a:lnTo>
                  <a:lnTo>
                    <a:pt x="112" y="401"/>
                  </a:lnTo>
                  <a:lnTo>
                    <a:pt x="112" y="402"/>
                  </a:lnTo>
                  <a:lnTo>
                    <a:pt x="112" y="403"/>
                  </a:lnTo>
                  <a:lnTo>
                    <a:pt x="110" y="404"/>
                  </a:lnTo>
                  <a:lnTo>
                    <a:pt x="109" y="406"/>
                  </a:lnTo>
                  <a:lnTo>
                    <a:pt x="112" y="406"/>
                  </a:lnTo>
                  <a:lnTo>
                    <a:pt x="113" y="406"/>
                  </a:lnTo>
                  <a:lnTo>
                    <a:pt x="114" y="408"/>
                  </a:lnTo>
                  <a:lnTo>
                    <a:pt x="113" y="409"/>
                  </a:lnTo>
                  <a:lnTo>
                    <a:pt x="112" y="409"/>
                  </a:lnTo>
                  <a:lnTo>
                    <a:pt x="110" y="410"/>
                  </a:lnTo>
                  <a:lnTo>
                    <a:pt x="109" y="412"/>
                  </a:lnTo>
                  <a:lnTo>
                    <a:pt x="108" y="410"/>
                  </a:lnTo>
                  <a:lnTo>
                    <a:pt x="109" y="408"/>
                  </a:lnTo>
                  <a:lnTo>
                    <a:pt x="108" y="407"/>
                  </a:lnTo>
                  <a:lnTo>
                    <a:pt x="108" y="409"/>
                  </a:lnTo>
                  <a:lnTo>
                    <a:pt x="107" y="412"/>
                  </a:lnTo>
                  <a:lnTo>
                    <a:pt x="107" y="410"/>
                  </a:lnTo>
                  <a:lnTo>
                    <a:pt x="106" y="410"/>
                  </a:lnTo>
                  <a:lnTo>
                    <a:pt x="104" y="412"/>
                  </a:lnTo>
                  <a:lnTo>
                    <a:pt x="104" y="409"/>
                  </a:lnTo>
                  <a:lnTo>
                    <a:pt x="103" y="408"/>
                  </a:lnTo>
                  <a:lnTo>
                    <a:pt x="102" y="409"/>
                  </a:lnTo>
                  <a:lnTo>
                    <a:pt x="103" y="410"/>
                  </a:lnTo>
                  <a:lnTo>
                    <a:pt x="102" y="413"/>
                  </a:lnTo>
                  <a:lnTo>
                    <a:pt x="101" y="414"/>
                  </a:lnTo>
                  <a:lnTo>
                    <a:pt x="100" y="413"/>
                  </a:lnTo>
                  <a:lnTo>
                    <a:pt x="98" y="412"/>
                  </a:lnTo>
                  <a:lnTo>
                    <a:pt x="97" y="414"/>
                  </a:lnTo>
                  <a:lnTo>
                    <a:pt x="98" y="415"/>
                  </a:lnTo>
                  <a:lnTo>
                    <a:pt x="100" y="416"/>
                  </a:lnTo>
                  <a:lnTo>
                    <a:pt x="101" y="415"/>
                  </a:lnTo>
                  <a:lnTo>
                    <a:pt x="102" y="418"/>
                  </a:lnTo>
                  <a:lnTo>
                    <a:pt x="103" y="418"/>
                  </a:lnTo>
                  <a:lnTo>
                    <a:pt x="103" y="414"/>
                  </a:lnTo>
                  <a:lnTo>
                    <a:pt x="104" y="413"/>
                  </a:lnTo>
                  <a:lnTo>
                    <a:pt x="104" y="414"/>
                  </a:lnTo>
                  <a:lnTo>
                    <a:pt x="107" y="414"/>
                  </a:lnTo>
                  <a:lnTo>
                    <a:pt x="107" y="416"/>
                  </a:lnTo>
                  <a:lnTo>
                    <a:pt x="104" y="418"/>
                  </a:lnTo>
                  <a:lnTo>
                    <a:pt x="106" y="419"/>
                  </a:lnTo>
                  <a:lnTo>
                    <a:pt x="104" y="419"/>
                  </a:lnTo>
                  <a:lnTo>
                    <a:pt x="103" y="419"/>
                  </a:lnTo>
                  <a:lnTo>
                    <a:pt x="101" y="418"/>
                  </a:lnTo>
                  <a:lnTo>
                    <a:pt x="101" y="419"/>
                  </a:lnTo>
                  <a:lnTo>
                    <a:pt x="101" y="420"/>
                  </a:lnTo>
                  <a:lnTo>
                    <a:pt x="100" y="421"/>
                  </a:lnTo>
                  <a:lnTo>
                    <a:pt x="100" y="422"/>
                  </a:lnTo>
                  <a:lnTo>
                    <a:pt x="98" y="421"/>
                  </a:lnTo>
                  <a:lnTo>
                    <a:pt x="97" y="418"/>
                  </a:lnTo>
                  <a:lnTo>
                    <a:pt x="95" y="418"/>
                  </a:lnTo>
                  <a:lnTo>
                    <a:pt x="95" y="419"/>
                  </a:lnTo>
                  <a:lnTo>
                    <a:pt x="95" y="416"/>
                  </a:lnTo>
                  <a:lnTo>
                    <a:pt x="94" y="419"/>
                  </a:lnTo>
                  <a:lnTo>
                    <a:pt x="92" y="421"/>
                  </a:lnTo>
                  <a:lnTo>
                    <a:pt x="92" y="420"/>
                  </a:lnTo>
                  <a:lnTo>
                    <a:pt x="89" y="422"/>
                  </a:lnTo>
                  <a:lnTo>
                    <a:pt x="89" y="424"/>
                  </a:lnTo>
                  <a:lnTo>
                    <a:pt x="88" y="421"/>
                  </a:lnTo>
                  <a:lnTo>
                    <a:pt x="86" y="421"/>
                  </a:lnTo>
                  <a:lnTo>
                    <a:pt x="84" y="424"/>
                  </a:lnTo>
                  <a:lnTo>
                    <a:pt x="83" y="425"/>
                  </a:lnTo>
                  <a:lnTo>
                    <a:pt x="82" y="422"/>
                  </a:lnTo>
                  <a:lnTo>
                    <a:pt x="80" y="420"/>
                  </a:lnTo>
                  <a:lnTo>
                    <a:pt x="80" y="419"/>
                  </a:lnTo>
                  <a:lnTo>
                    <a:pt x="79" y="420"/>
                  </a:lnTo>
                  <a:lnTo>
                    <a:pt x="79" y="418"/>
                  </a:lnTo>
                  <a:lnTo>
                    <a:pt x="82" y="415"/>
                  </a:lnTo>
                  <a:lnTo>
                    <a:pt x="84" y="414"/>
                  </a:lnTo>
                  <a:lnTo>
                    <a:pt x="85" y="415"/>
                  </a:lnTo>
                  <a:lnTo>
                    <a:pt x="86" y="415"/>
                  </a:lnTo>
                  <a:lnTo>
                    <a:pt x="85" y="414"/>
                  </a:lnTo>
                  <a:lnTo>
                    <a:pt x="85" y="413"/>
                  </a:lnTo>
                  <a:lnTo>
                    <a:pt x="84" y="414"/>
                  </a:lnTo>
                  <a:lnTo>
                    <a:pt x="82" y="413"/>
                  </a:lnTo>
                  <a:lnTo>
                    <a:pt x="79" y="413"/>
                  </a:lnTo>
                  <a:lnTo>
                    <a:pt x="78" y="413"/>
                  </a:lnTo>
                  <a:lnTo>
                    <a:pt x="76" y="414"/>
                  </a:lnTo>
                  <a:lnTo>
                    <a:pt x="73" y="418"/>
                  </a:lnTo>
                  <a:lnTo>
                    <a:pt x="73" y="415"/>
                  </a:lnTo>
                  <a:lnTo>
                    <a:pt x="73" y="413"/>
                  </a:lnTo>
                  <a:lnTo>
                    <a:pt x="74" y="410"/>
                  </a:lnTo>
                  <a:lnTo>
                    <a:pt x="77" y="410"/>
                  </a:lnTo>
                  <a:lnTo>
                    <a:pt x="78" y="410"/>
                  </a:lnTo>
                  <a:lnTo>
                    <a:pt x="82" y="409"/>
                  </a:lnTo>
                  <a:lnTo>
                    <a:pt x="78" y="408"/>
                  </a:lnTo>
                  <a:lnTo>
                    <a:pt x="74" y="409"/>
                  </a:lnTo>
                  <a:lnTo>
                    <a:pt x="73" y="409"/>
                  </a:lnTo>
                  <a:lnTo>
                    <a:pt x="72" y="410"/>
                  </a:lnTo>
                  <a:lnTo>
                    <a:pt x="71" y="410"/>
                  </a:lnTo>
                  <a:lnTo>
                    <a:pt x="72" y="409"/>
                  </a:lnTo>
                  <a:lnTo>
                    <a:pt x="69" y="410"/>
                  </a:lnTo>
                  <a:lnTo>
                    <a:pt x="69" y="409"/>
                  </a:lnTo>
                  <a:lnTo>
                    <a:pt x="72" y="407"/>
                  </a:lnTo>
                  <a:lnTo>
                    <a:pt x="76" y="407"/>
                  </a:lnTo>
                  <a:lnTo>
                    <a:pt x="78" y="408"/>
                  </a:lnTo>
                  <a:lnTo>
                    <a:pt x="80" y="409"/>
                  </a:lnTo>
                  <a:lnTo>
                    <a:pt x="82" y="409"/>
                  </a:lnTo>
                  <a:lnTo>
                    <a:pt x="84" y="408"/>
                  </a:lnTo>
                  <a:lnTo>
                    <a:pt x="88" y="407"/>
                  </a:lnTo>
                  <a:lnTo>
                    <a:pt x="89" y="406"/>
                  </a:lnTo>
                  <a:lnTo>
                    <a:pt x="88" y="407"/>
                  </a:lnTo>
                  <a:lnTo>
                    <a:pt x="85" y="406"/>
                  </a:lnTo>
                  <a:lnTo>
                    <a:pt x="84" y="407"/>
                  </a:lnTo>
                  <a:lnTo>
                    <a:pt x="82" y="407"/>
                  </a:lnTo>
                  <a:lnTo>
                    <a:pt x="79" y="407"/>
                  </a:lnTo>
                  <a:lnTo>
                    <a:pt x="79" y="406"/>
                  </a:lnTo>
                  <a:lnTo>
                    <a:pt x="78" y="404"/>
                  </a:lnTo>
                  <a:lnTo>
                    <a:pt x="79" y="403"/>
                  </a:lnTo>
                  <a:lnTo>
                    <a:pt x="77" y="404"/>
                  </a:lnTo>
                  <a:lnTo>
                    <a:pt x="74" y="404"/>
                  </a:lnTo>
                  <a:lnTo>
                    <a:pt x="73" y="404"/>
                  </a:lnTo>
                  <a:lnTo>
                    <a:pt x="69" y="404"/>
                  </a:lnTo>
                  <a:lnTo>
                    <a:pt x="69" y="403"/>
                  </a:lnTo>
                  <a:lnTo>
                    <a:pt x="71" y="402"/>
                  </a:lnTo>
                  <a:lnTo>
                    <a:pt x="69" y="401"/>
                  </a:lnTo>
                  <a:lnTo>
                    <a:pt x="67" y="401"/>
                  </a:lnTo>
                  <a:lnTo>
                    <a:pt x="68" y="398"/>
                  </a:lnTo>
                  <a:lnTo>
                    <a:pt x="66" y="398"/>
                  </a:lnTo>
                  <a:lnTo>
                    <a:pt x="66" y="397"/>
                  </a:lnTo>
                  <a:lnTo>
                    <a:pt x="65" y="398"/>
                  </a:lnTo>
                  <a:lnTo>
                    <a:pt x="63" y="400"/>
                  </a:lnTo>
                  <a:lnTo>
                    <a:pt x="63" y="398"/>
                  </a:lnTo>
                  <a:lnTo>
                    <a:pt x="61" y="400"/>
                  </a:lnTo>
                  <a:lnTo>
                    <a:pt x="60" y="403"/>
                  </a:lnTo>
                  <a:lnTo>
                    <a:pt x="57" y="407"/>
                  </a:lnTo>
                  <a:lnTo>
                    <a:pt x="56" y="409"/>
                  </a:lnTo>
                  <a:lnTo>
                    <a:pt x="55" y="404"/>
                  </a:lnTo>
                  <a:lnTo>
                    <a:pt x="54" y="406"/>
                  </a:lnTo>
                  <a:lnTo>
                    <a:pt x="53" y="406"/>
                  </a:lnTo>
                  <a:lnTo>
                    <a:pt x="53" y="407"/>
                  </a:lnTo>
                  <a:lnTo>
                    <a:pt x="53" y="408"/>
                  </a:lnTo>
                  <a:lnTo>
                    <a:pt x="53" y="409"/>
                  </a:lnTo>
                  <a:lnTo>
                    <a:pt x="51" y="410"/>
                  </a:lnTo>
                  <a:lnTo>
                    <a:pt x="53" y="409"/>
                  </a:lnTo>
                  <a:lnTo>
                    <a:pt x="55" y="412"/>
                  </a:lnTo>
                  <a:lnTo>
                    <a:pt x="54" y="415"/>
                  </a:lnTo>
                  <a:lnTo>
                    <a:pt x="53" y="414"/>
                  </a:lnTo>
                  <a:lnTo>
                    <a:pt x="50" y="413"/>
                  </a:lnTo>
                  <a:lnTo>
                    <a:pt x="49" y="412"/>
                  </a:lnTo>
                  <a:lnTo>
                    <a:pt x="49" y="413"/>
                  </a:lnTo>
                  <a:lnTo>
                    <a:pt x="49" y="414"/>
                  </a:lnTo>
                  <a:lnTo>
                    <a:pt x="47" y="413"/>
                  </a:lnTo>
                  <a:lnTo>
                    <a:pt x="47" y="412"/>
                  </a:lnTo>
                  <a:lnTo>
                    <a:pt x="45" y="413"/>
                  </a:lnTo>
                  <a:lnTo>
                    <a:pt x="45" y="414"/>
                  </a:lnTo>
                  <a:lnTo>
                    <a:pt x="43" y="415"/>
                  </a:lnTo>
                  <a:lnTo>
                    <a:pt x="42" y="415"/>
                  </a:lnTo>
                  <a:lnTo>
                    <a:pt x="41" y="415"/>
                  </a:lnTo>
                  <a:lnTo>
                    <a:pt x="39" y="418"/>
                  </a:lnTo>
                  <a:lnTo>
                    <a:pt x="38" y="419"/>
                  </a:lnTo>
                  <a:lnTo>
                    <a:pt x="37" y="418"/>
                  </a:lnTo>
                  <a:lnTo>
                    <a:pt x="35" y="418"/>
                  </a:lnTo>
                  <a:lnTo>
                    <a:pt x="33" y="416"/>
                  </a:lnTo>
                  <a:lnTo>
                    <a:pt x="30" y="418"/>
                  </a:lnTo>
                  <a:lnTo>
                    <a:pt x="27" y="419"/>
                  </a:lnTo>
                  <a:lnTo>
                    <a:pt x="26" y="421"/>
                  </a:lnTo>
                  <a:lnTo>
                    <a:pt x="26" y="422"/>
                  </a:lnTo>
                  <a:lnTo>
                    <a:pt x="25" y="424"/>
                  </a:lnTo>
                  <a:lnTo>
                    <a:pt x="24" y="422"/>
                  </a:lnTo>
                  <a:lnTo>
                    <a:pt x="24" y="421"/>
                  </a:lnTo>
                  <a:lnTo>
                    <a:pt x="21" y="421"/>
                  </a:lnTo>
                  <a:lnTo>
                    <a:pt x="23" y="420"/>
                  </a:lnTo>
                  <a:lnTo>
                    <a:pt x="21" y="420"/>
                  </a:lnTo>
                  <a:lnTo>
                    <a:pt x="21" y="419"/>
                  </a:lnTo>
                  <a:lnTo>
                    <a:pt x="20" y="420"/>
                  </a:lnTo>
                  <a:lnTo>
                    <a:pt x="20" y="419"/>
                  </a:lnTo>
                  <a:lnTo>
                    <a:pt x="18" y="419"/>
                  </a:lnTo>
                  <a:lnTo>
                    <a:pt x="15" y="421"/>
                  </a:lnTo>
                  <a:lnTo>
                    <a:pt x="15" y="420"/>
                  </a:lnTo>
                  <a:lnTo>
                    <a:pt x="13" y="421"/>
                  </a:lnTo>
                  <a:lnTo>
                    <a:pt x="10" y="422"/>
                  </a:lnTo>
                  <a:lnTo>
                    <a:pt x="13" y="419"/>
                  </a:lnTo>
                  <a:lnTo>
                    <a:pt x="12" y="419"/>
                  </a:lnTo>
                  <a:lnTo>
                    <a:pt x="14" y="415"/>
                  </a:lnTo>
                  <a:lnTo>
                    <a:pt x="15" y="412"/>
                  </a:lnTo>
                  <a:lnTo>
                    <a:pt x="18" y="412"/>
                  </a:lnTo>
                  <a:lnTo>
                    <a:pt x="17" y="410"/>
                  </a:lnTo>
                  <a:lnTo>
                    <a:pt x="13" y="413"/>
                  </a:lnTo>
                  <a:lnTo>
                    <a:pt x="10" y="416"/>
                  </a:lnTo>
                  <a:lnTo>
                    <a:pt x="13" y="412"/>
                  </a:lnTo>
                  <a:lnTo>
                    <a:pt x="13" y="409"/>
                  </a:lnTo>
                  <a:lnTo>
                    <a:pt x="12" y="407"/>
                  </a:lnTo>
                  <a:lnTo>
                    <a:pt x="14" y="404"/>
                  </a:lnTo>
                  <a:lnTo>
                    <a:pt x="13" y="404"/>
                  </a:lnTo>
                  <a:lnTo>
                    <a:pt x="12" y="406"/>
                  </a:lnTo>
                  <a:lnTo>
                    <a:pt x="8" y="408"/>
                  </a:lnTo>
                  <a:lnTo>
                    <a:pt x="8" y="406"/>
                  </a:lnTo>
                  <a:lnTo>
                    <a:pt x="8" y="402"/>
                  </a:lnTo>
                  <a:lnTo>
                    <a:pt x="10" y="400"/>
                  </a:lnTo>
                  <a:lnTo>
                    <a:pt x="12" y="400"/>
                  </a:lnTo>
                  <a:lnTo>
                    <a:pt x="14" y="400"/>
                  </a:lnTo>
                  <a:lnTo>
                    <a:pt x="18" y="398"/>
                  </a:lnTo>
                  <a:lnTo>
                    <a:pt x="18" y="397"/>
                  </a:lnTo>
                  <a:lnTo>
                    <a:pt x="20" y="396"/>
                  </a:lnTo>
                  <a:lnTo>
                    <a:pt x="21" y="398"/>
                  </a:lnTo>
                  <a:lnTo>
                    <a:pt x="23" y="397"/>
                  </a:lnTo>
                  <a:lnTo>
                    <a:pt x="24" y="397"/>
                  </a:lnTo>
                  <a:lnTo>
                    <a:pt x="26" y="397"/>
                  </a:lnTo>
                  <a:lnTo>
                    <a:pt x="30" y="395"/>
                  </a:lnTo>
                  <a:lnTo>
                    <a:pt x="32" y="396"/>
                  </a:lnTo>
                  <a:lnTo>
                    <a:pt x="31" y="396"/>
                  </a:lnTo>
                  <a:lnTo>
                    <a:pt x="30" y="397"/>
                  </a:lnTo>
                  <a:lnTo>
                    <a:pt x="27" y="398"/>
                  </a:lnTo>
                  <a:lnTo>
                    <a:pt x="27" y="400"/>
                  </a:lnTo>
                  <a:lnTo>
                    <a:pt x="26" y="401"/>
                  </a:lnTo>
                  <a:lnTo>
                    <a:pt x="27" y="401"/>
                  </a:lnTo>
                  <a:lnTo>
                    <a:pt x="30" y="400"/>
                  </a:lnTo>
                  <a:lnTo>
                    <a:pt x="31" y="398"/>
                  </a:lnTo>
                  <a:lnTo>
                    <a:pt x="31" y="397"/>
                  </a:lnTo>
                  <a:lnTo>
                    <a:pt x="33" y="397"/>
                  </a:lnTo>
                  <a:lnTo>
                    <a:pt x="35" y="397"/>
                  </a:lnTo>
                  <a:lnTo>
                    <a:pt x="37" y="396"/>
                  </a:lnTo>
                  <a:lnTo>
                    <a:pt x="36" y="396"/>
                  </a:lnTo>
                  <a:lnTo>
                    <a:pt x="35" y="396"/>
                  </a:lnTo>
                  <a:lnTo>
                    <a:pt x="35" y="395"/>
                  </a:lnTo>
                  <a:lnTo>
                    <a:pt x="36" y="391"/>
                  </a:lnTo>
                  <a:lnTo>
                    <a:pt x="38" y="390"/>
                  </a:lnTo>
                  <a:lnTo>
                    <a:pt x="38" y="389"/>
                  </a:lnTo>
                  <a:lnTo>
                    <a:pt x="39" y="388"/>
                  </a:lnTo>
                  <a:lnTo>
                    <a:pt x="37" y="389"/>
                  </a:lnTo>
                  <a:lnTo>
                    <a:pt x="36" y="390"/>
                  </a:lnTo>
                  <a:lnTo>
                    <a:pt x="37" y="388"/>
                  </a:lnTo>
                  <a:lnTo>
                    <a:pt x="35" y="388"/>
                  </a:lnTo>
                  <a:lnTo>
                    <a:pt x="32" y="391"/>
                  </a:lnTo>
                  <a:lnTo>
                    <a:pt x="35" y="386"/>
                  </a:lnTo>
                  <a:lnTo>
                    <a:pt x="36" y="384"/>
                  </a:lnTo>
                  <a:lnTo>
                    <a:pt x="38" y="382"/>
                  </a:lnTo>
                  <a:lnTo>
                    <a:pt x="38" y="380"/>
                  </a:lnTo>
                  <a:lnTo>
                    <a:pt x="39" y="379"/>
                  </a:lnTo>
                  <a:lnTo>
                    <a:pt x="37" y="378"/>
                  </a:lnTo>
                  <a:lnTo>
                    <a:pt x="33" y="379"/>
                  </a:lnTo>
                  <a:lnTo>
                    <a:pt x="36" y="376"/>
                  </a:lnTo>
                  <a:lnTo>
                    <a:pt x="38" y="374"/>
                  </a:lnTo>
                  <a:lnTo>
                    <a:pt x="42" y="374"/>
                  </a:lnTo>
                  <a:lnTo>
                    <a:pt x="43" y="376"/>
                  </a:lnTo>
                  <a:lnTo>
                    <a:pt x="45" y="377"/>
                  </a:lnTo>
                  <a:lnTo>
                    <a:pt x="45" y="376"/>
                  </a:lnTo>
                  <a:lnTo>
                    <a:pt x="48" y="377"/>
                  </a:lnTo>
                  <a:lnTo>
                    <a:pt x="49" y="377"/>
                  </a:lnTo>
                  <a:lnTo>
                    <a:pt x="48" y="376"/>
                  </a:lnTo>
                  <a:lnTo>
                    <a:pt x="44" y="374"/>
                  </a:lnTo>
                  <a:lnTo>
                    <a:pt x="44" y="373"/>
                  </a:lnTo>
                  <a:lnTo>
                    <a:pt x="45" y="372"/>
                  </a:lnTo>
                  <a:lnTo>
                    <a:pt x="47" y="371"/>
                  </a:lnTo>
                  <a:lnTo>
                    <a:pt x="45" y="370"/>
                  </a:lnTo>
                  <a:lnTo>
                    <a:pt x="44" y="370"/>
                  </a:lnTo>
                  <a:lnTo>
                    <a:pt x="44" y="372"/>
                  </a:lnTo>
                  <a:lnTo>
                    <a:pt x="43" y="371"/>
                  </a:lnTo>
                  <a:lnTo>
                    <a:pt x="43" y="368"/>
                  </a:lnTo>
                  <a:lnTo>
                    <a:pt x="44" y="367"/>
                  </a:lnTo>
                  <a:lnTo>
                    <a:pt x="43" y="367"/>
                  </a:lnTo>
                  <a:lnTo>
                    <a:pt x="43" y="366"/>
                  </a:lnTo>
                  <a:lnTo>
                    <a:pt x="42" y="367"/>
                  </a:lnTo>
                  <a:lnTo>
                    <a:pt x="39" y="368"/>
                  </a:lnTo>
                  <a:lnTo>
                    <a:pt x="39" y="370"/>
                  </a:lnTo>
                  <a:lnTo>
                    <a:pt x="39" y="367"/>
                  </a:lnTo>
                  <a:lnTo>
                    <a:pt x="39" y="366"/>
                  </a:lnTo>
                  <a:lnTo>
                    <a:pt x="38" y="367"/>
                  </a:lnTo>
                  <a:lnTo>
                    <a:pt x="39" y="364"/>
                  </a:lnTo>
                  <a:lnTo>
                    <a:pt x="41" y="362"/>
                  </a:lnTo>
                  <a:lnTo>
                    <a:pt x="43" y="361"/>
                  </a:lnTo>
                  <a:lnTo>
                    <a:pt x="45" y="359"/>
                  </a:lnTo>
                  <a:lnTo>
                    <a:pt x="47" y="356"/>
                  </a:lnTo>
                  <a:lnTo>
                    <a:pt x="45" y="356"/>
                  </a:lnTo>
                  <a:lnTo>
                    <a:pt x="44" y="358"/>
                  </a:lnTo>
                  <a:lnTo>
                    <a:pt x="44" y="356"/>
                  </a:lnTo>
                  <a:lnTo>
                    <a:pt x="43" y="358"/>
                  </a:lnTo>
                  <a:lnTo>
                    <a:pt x="43" y="359"/>
                  </a:lnTo>
                  <a:lnTo>
                    <a:pt x="43" y="358"/>
                  </a:lnTo>
                  <a:lnTo>
                    <a:pt x="42" y="359"/>
                  </a:lnTo>
                  <a:lnTo>
                    <a:pt x="41" y="359"/>
                  </a:lnTo>
                  <a:lnTo>
                    <a:pt x="39" y="359"/>
                  </a:lnTo>
                  <a:lnTo>
                    <a:pt x="38" y="361"/>
                  </a:lnTo>
                  <a:lnTo>
                    <a:pt x="38" y="359"/>
                  </a:lnTo>
                  <a:lnTo>
                    <a:pt x="39" y="356"/>
                  </a:lnTo>
                  <a:lnTo>
                    <a:pt x="38" y="356"/>
                  </a:lnTo>
                  <a:lnTo>
                    <a:pt x="36" y="355"/>
                  </a:lnTo>
                  <a:lnTo>
                    <a:pt x="36" y="353"/>
                  </a:lnTo>
                  <a:lnTo>
                    <a:pt x="37" y="352"/>
                  </a:lnTo>
                  <a:lnTo>
                    <a:pt x="36" y="350"/>
                  </a:lnTo>
                  <a:lnTo>
                    <a:pt x="35" y="349"/>
                  </a:lnTo>
                  <a:lnTo>
                    <a:pt x="30" y="353"/>
                  </a:lnTo>
                  <a:lnTo>
                    <a:pt x="29" y="358"/>
                  </a:lnTo>
                  <a:lnTo>
                    <a:pt x="24" y="364"/>
                  </a:lnTo>
                  <a:lnTo>
                    <a:pt x="27" y="359"/>
                  </a:lnTo>
                  <a:lnTo>
                    <a:pt x="27" y="355"/>
                  </a:lnTo>
                  <a:lnTo>
                    <a:pt x="25" y="356"/>
                  </a:lnTo>
                  <a:lnTo>
                    <a:pt x="23" y="358"/>
                  </a:lnTo>
                  <a:lnTo>
                    <a:pt x="26" y="356"/>
                  </a:lnTo>
                  <a:lnTo>
                    <a:pt x="29" y="354"/>
                  </a:lnTo>
                  <a:lnTo>
                    <a:pt x="29" y="353"/>
                  </a:lnTo>
                  <a:lnTo>
                    <a:pt x="23" y="355"/>
                  </a:lnTo>
                  <a:lnTo>
                    <a:pt x="19" y="359"/>
                  </a:lnTo>
                  <a:lnTo>
                    <a:pt x="21" y="355"/>
                  </a:lnTo>
                  <a:lnTo>
                    <a:pt x="19" y="356"/>
                  </a:lnTo>
                  <a:lnTo>
                    <a:pt x="18" y="355"/>
                  </a:lnTo>
                  <a:lnTo>
                    <a:pt x="20" y="355"/>
                  </a:lnTo>
                  <a:lnTo>
                    <a:pt x="19" y="354"/>
                  </a:lnTo>
                  <a:lnTo>
                    <a:pt x="18" y="354"/>
                  </a:lnTo>
                  <a:lnTo>
                    <a:pt x="15" y="355"/>
                  </a:lnTo>
                  <a:lnTo>
                    <a:pt x="14" y="355"/>
                  </a:lnTo>
                  <a:lnTo>
                    <a:pt x="14" y="354"/>
                  </a:lnTo>
                  <a:lnTo>
                    <a:pt x="13" y="354"/>
                  </a:lnTo>
                  <a:lnTo>
                    <a:pt x="10" y="354"/>
                  </a:lnTo>
                  <a:lnTo>
                    <a:pt x="12" y="352"/>
                  </a:lnTo>
                  <a:lnTo>
                    <a:pt x="13" y="350"/>
                  </a:lnTo>
                  <a:lnTo>
                    <a:pt x="12" y="350"/>
                  </a:lnTo>
                  <a:lnTo>
                    <a:pt x="13" y="349"/>
                  </a:lnTo>
                  <a:lnTo>
                    <a:pt x="12" y="349"/>
                  </a:lnTo>
                  <a:lnTo>
                    <a:pt x="13" y="348"/>
                  </a:lnTo>
                  <a:lnTo>
                    <a:pt x="13" y="347"/>
                  </a:lnTo>
                  <a:lnTo>
                    <a:pt x="17" y="345"/>
                  </a:lnTo>
                  <a:lnTo>
                    <a:pt x="19" y="344"/>
                  </a:lnTo>
                  <a:lnTo>
                    <a:pt x="18" y="344"/>
                  </a:lnTo>
                  <a:lnTo>
                    <a:pt x="19" y="343"/>
                  </a:lnTo>
                  <a:lnTo>
                    <a:pt x="18" y="343"/>
                  </a:lnTo>
                  <a:lnTo>
                    <a:pt x="19" y="342"/>
                  </a:lnTo>
                  <a:lnTo>
                    <a:pt x="20" y="341"/>
                  </a:lnTo>
                  <a:lnTo>
                    <a:pt x="17" y="341"/>
                  </a:lnTo>
                  <a:lnTo>
                    <a:pt x="15" y="341"/>
                  </a:lnTo>
                  <a:lnTo>
                    <a:pt x="13" y="339"/>
                  </a:lnTo>
                  <a:lnTo>
                    <a:pt x="14" y="338"/>
                  </a:lnTo>
                  <a:lnTo>
                    <a:pt x="17" y="337"/>
                  </a:lnTo>
                  <a:lnTo>
                    <a:pt x="19" y="337"/>
                  </a:lnTo>
                  <a:lnTo>
                    <a:pt x="21" y="337"/>
                  </a:lnTo>
                  <a:lnTo>
                    <a:pt x="23" y="339"/>
                  </a:lnTo>
                  <a:lnTo>
                    <a:pt x="25" y="341"/>
                  </a:lnTo>
                  <a:lnTo>
                    <a:pt x="26" y="341"/>
                  </a:lnTo>
                  <a:lnTo>
                    <a:pt x="27" y="339"/>
                  </a:lnTo>
                  <a:lnTo>
                    <a:pt x="29" y="339"/>
                  </a:lnTo>
                  <a:lnTo>
                    <a:pt x="31" y="339"/>
                  </a:lnTo>
                  <a:lnTo>
                    <a:pt x="32" y="338"/>
                  </a:lnTo>
                  <a:lnTo>
                    <a:pt x="33" y="338"/>
                  </a:lnTo>
                  <a:lnTo>
                    <a:pt x="35" y="337"/>
                  </a:lnTo>
                  <a:lnTo>
                    <a:pt x="36" y="337"/>
                  </a:lnTo>
                  <a:lnTo>
                    <a:pt x="36" y="335"/>
                  </a:lnTo>
                  <a:lnTo>
                    <a:pt x="37" y="335"/>
                  </a:lnTo>
                  <a:lnTo>
                    <a:pt x="37" y="332"/>
                  </a:lnTo>
                  <a:lnTo>
                    <a:pt x="38" y="331"/>
                  </a:lnTo>
                  <a:lnTo>
                    <a:pt x="36" y="332"/>
                  </a:lnTo>
                  <a:lnTo>
                    <a:pt x="32" y="335"/>
                  </a:lnTo>
                  <a:lnTo>
                    <a:pt x="31" y="336"/>
                  </a:lnTo>
                  <a:lnTo>
                    <a:pt x="31" y="332"/>
                  </a:lnTo>
                  <a:lnTo>
                    <a:pt x="30" y="330"/>
                  </a:lnTo>
                  <a:lnTo>
                    <a:pt x="30" y="327"/>
                  </a:lnTo>
                  <a:lnTo>
                    <a:pt x="27" y="327"/>
                  </a:lnTo>
                  <a:lnTo>
                    <a:pt x="25" y="329"/>
                  </a:lnTo>
                  <a:lnTo>
                    <a:pt x="24" y="331"/>
                  </a:lnTo>
                  <a:lnTo>
                    <a:pt x="24" y="329"/>
                  </a:lnTo>
                  <a:lnTo>
                    <a:pt x="21" y="329"/>
                  </a:lnTo>
                  <a:lnTo>
                    <a:pt x="20" y="327"/>
                  </a:lnTo>
                  <a:lnTo>
                    <a:pt x="19" y="327"/>
                  </a:lnTo>
                  <a:lnTo>
                    <a:pt x="18" y="326"/>
                  </a:lnTo>
                  <a:lnTo>
                    <a:pt x="18" y="321"/>
                  </a:lnTo>
                  <a:lnTo>
                    <a:pt x="15" y="324"/>
                  </a:lnTo>
                  <a:lnTo>
                    <a:pt x="17" y="327"/>
                  </a:lnTo>
                  <a:lnTo>
                    <a:pt x="17" y="332"/>
                  </a:lnTo>
                  <a:lnTo>
                    <a:pt x="15" y="335"/>
                  </a:lnTo>
                  <a:lnTo>
                    <a:pt x="12" y="329"/>
                  </a:lnTo>
                  <a:lnTo>
                    <a:pt x="10" y="329"/>
                  </a:lnTo>
                  <a:lnTo>
                    <a:pt x="9" y="329"/>
                  </a:lnTo>
                  <a:lnTo>
                    <a:pt x="8" y="331"/>
                  </a:lnTo>
                  <a:lnTo>
                    <a:pt x="8" y="327"/>
                  </a:lnTo>
                  <a:lnTo>
                    <a:pt x="7" y="326"/>
                  </a:lnTo>
                  <a:lnTo>
                    <a:pt x="6" y="326"/>
                  </a:lnTo>
                  <a:lnTo>
                    <a:pt x="4" y="326"/>
                  </a:lnTo>
                  <a:lnTo>
                    <a:pt x="4" y="325"/>
                  </a:lnTo>
                  <a:lnTo>
                    <a:pt x="6" y="323"/>
                  </a:lnTo>
                  <a:lnTo>
                    <a:pt x="8" y="320"/>
                  </a:lnTo>
                  <a:lnTo>
                    <a:pt x="7" y="319"/>
                  </a:lnTo>
                  <a:lnTo>
                    <a:pt x="8" y="317"/>
                  </a:lnTo>
                  <a:lnTo>
                    <a:pt x="8" y="314"/>
                  </a:lnTo>
                  <a:lnTo>
                    <a:pt x="9" y="313"/>
                  </a:lnTo>
                  <a:lnTo>
                    <a:pt x="10" y="314"/>
                  </a:lnTo>
                  <a:lnTo>
                    <a:pt x="10" y="313"/>
                  </a:lnTo>
                  <a:lnTo>
                    <a:pt x="12" y="313"/>
                  </a:lnTo>
                  <a:lnTo>
                    <a:pt x="14" y="311"/>
                  </a:lnTo>
                  <a:lnTo>
                    <a:pt x="15" y="307"/>
                  </a:lnTo>
                  <a:lnTo>
                    <a:pt x="15" y="308"/>
                  </a:lnTo>
                  <a:lnTo>
                    <a:pt x="17" y="308"/>
                  </a:lnTo>
                  <a:lnTo>
                    <a:pt x="18" y="307"/>
                  </a:lnTo>
                  <a:lnTo>
                    <a:pt x="19" y="307"/>
                  </a:lnTo>
                  <a:lnTo>
                    <a:pt x="20" y="306"/>
                  </a:lnTo>
                  <a:lnTo>
                    <a:pt x="23" y="305"/>
                  </a:lnTo>
                  <a:lnTo>
                    <a:pt x="17" y="302"/>
                  </a:lnTo>
                  <a:lnTo>
                    <a:pt x="12" y="300"/>
                  </a:lnTo>
                  <a:lnTo>
                    <a:pt x="10" y="302"/>
                  </a:lnTo>
                  <a:lnTo>
                    <a:pt x="10" y="305"/>
                  </a:lnTo>
                  <a:lnTo>
                    <a:pt x="9" y="305"/>
                  </a:lnTo>
                  <a:lnTo>
                    <a:pt x="8" y="306"/>
                  </a:lnTo>
                  <a:lnTo>
                    <a:pt x="6" y="308"/>
                  </a:lnTo>
                  <a:lnTo>
                    <a:pt x="6" y="306"/>
                  </a:lnTo>
                  <a:lnTo>
                    <a:pt x="6" y="305"/>
                  </a:lnTo>
                  <a:lnTo>
                    <a:pt x="7" y="303"/>
                  </a:lnTo>
                  <a:lnTo>
                    <a:pt x="7" y="301"/>
                  </a:lnTo>
                  <a:lnTo>
                    <a:pt x="8" y="300"/>
                  </a:lnTo>
                  <a:lnTo>
                    <a:pt x="9" y="300"/>
                  </a:lnTo>
                  <a:lnTo>
                    <a:pt x="10" y="300"/>
                  </a:lnTo>
                  <a:lnTo>
                    <a:pt x="8" y="299"/>
                  </a:lnTo>
                  <a:lnTo>
                    <a:pt x="6" y="297"/>
                  </a:lnTo>
                  <a:lnTo>
                    <a:pt x="6" y="296"/>
                  </a:lnTo>
                  <a:lnTo>
                    <a:pt x="7" y="296"/>
                  </a:lnTo>
                  <a:lnTo>
                    <a:pt x="9" y="299"/>
                  </a:lnTo>
                  <a:lnTo>
                    <a:pt x="15" y="301"/>
                  </a:lnTo>
                  <a:lnTo>
                    <a:pt x="24" y="305"/>
                  </a:lnTo>
                  <a:lnTo>
                    <a:pt x="19" y="300"/>
                  </a:lnTo>
                  <a:lnTo>
                    <a:pt x="18" y="300"/>
                  </a:lnTo>
                  <a:lnTo>
                    <a:pt x="18" y="301"/>
                  </a:lnTo>
                  <a:lnTo>
                    <a:pt x="17" y="300"/>
                  </a:lnTo>
                  <a:lnTo>
                    <a:pt x="15" y="297"/>
                  </a:lnTo>
                  <a:lnTo>
                    <a:pt x="12" y="294"/>
                  </a:lnTo>
                  <a:lnTo>
                    <a:pt x="9" y="291"/>
                  </a:lnTo>
                  <a:lnTo>
                    <a:pt x="9" y="294"/>
                  </a:lnTo>
                  <a:lnTo>
                    <a:pt x="9" y="296"/>
                  </a:lnTo>
                  <a:lnTo>
                    <a:pt x="8" y="295"/>
                  </a:lnTo>
                  <a:lnTo>
                    <a:pt x="7" y="295"/>
                  </a:lnTo>
                  <a:lnTo>
                    <a:pt x="7" y="293"/>
                  </a:lnTo>
                  <a:lnTo>
                    <a:pt x="6" y="293"/>
                  </a:lnTo>
                  <a:lnTo>
                    <a:pt x="6" y="294"/>
                  </a:lnTo>
                  <a:lnTo>
                    <a:pt x="2" y="295"/>
                  </a:lnTo>
                  <a:lnTo>
                    <a:pt x="0" y="295"/>
                  </a:lnTo>
                  <a:lnTo>
                    <a:pt x="2" y="293"/>
                  </a:lnTo>
                  <a:lnTo>
                    <a:pt x="2" y="291"/>
                  </a:lnTo>
                  <a:lnTo>
                    <a:pt x="6" y="291"/>
                  </a:lnTo>
                  <a:lnTo>
                    <a:pt x="7" y="291"/>
                  </a:lnTo>
                  <a:lnTo>
                    <a:pt x="8" y="291"/>
                  </a:lnTo>
                  <a:lnTo>
                    <a:pt x="4" y="287"/>
                  </a:lnTo>
                  <a:lnTo>
                    <a:pt x="3" y="285"/>
                  </a:lnTo>
                  <a:lnTo>
                    <a:pt x="0" y="284"/>
                  </a:lnTo>
                  <a:lnTo>
                    <a:pt x="0" y="283"/>
                  </a:lnTo>
                  <a:lnTo>
                    <a:pt x="1" y="283"/>
                  </a:lnTo>
                  <a:lnTo>
                    <a:pt x="3" y="284"/>
                  </a:lnTo>
                  <a:lnTo>
                    <a:pt x="4" y="284"/>
                  </a:lnTo>
                  <a:lnTo>
                    <a:pt x="6" y="284"/>
                  </a:lnTo>
                  <a:lnTo>
                    <a:pt x="9" y="287"/>
                  </a:lnTo>
                  <a:lnTo>
                    <a:pt x="9" y="289"/>
                  </a:lnTo>
                  <a:lnTo>
                    <a:pt x="8" y="288"/>
                  </a:lnTo>
                  <a:lnTo>
                    <a:pt x="8" y="289"/>
                  </a:lnTo>
                  <a:lnTo>
                    <a:pt x="7" y="287"/>
                  </a:lnTo>
                  <a:lnTo>
                    <a:pt x="4" y="287"/>
                  </a:lnTo>
                  <a:lnTo>
                    <a:pt x="8" y="290"/>
                  </a:lnTo>
                  <a:lnTo>
                    <a:pt x="15" y="296"/>
                  </a:lnTo>
                  <a:lnTo>
                    <a:pt x="17" y="296"/>
                  </a:lnTo>
                  <a:lnTo>
                    <a:pt x="19" y="295"/>
                  </a:lnTo>
                  <a:lnTo>
                    <a:pt x="20" y="296"/>
                  </a:lnTo>
                  <a:lnTo>
                    <a:pt x="19" y="297"/>
                  </a:lnTo>
                  <a:lnTo>
                    <a:pt x="19" y="299"/>
                  </a:lnTo>
                  <a:lnTo>
                    <a:pt x="24" y="303"/>
                  </a:lnTo>
                  <a:lnTo>
                    <a:pt x="26" y="303"/>
                  </a:lnTo>
                  <a:lnTo>
                    <a:pt x="27" y="301"/>
                  </a:lnTo>
                  <a:lnTo>
                    <a:pt x="29" y="300"/>
                  </a:lnTo>
                  <a:lnTo>
                    <a:pt x="27" y="297"/>
                  </a:lnTo>
                  <a:lnTo>
                    <a:pt x="30" y="297"/>
                  </a:lnTo>
                  <a:lnTo>
                    <a:pt x="32" y="300"/>
                  </a:lnTo>
                  <a:lnTo>
                    <a:pt x="33" y="301"/>
                  </a:lnTo>
                  <a:lnTo>
                    <a:pt x="36" y="302"/>
                  </a:lnTo>
                  <a:lnTo>
                    <a:pt x="36" y="299"/>
                  </a:lnTo>
                  <a:lnTo>
                    <a:pt x="37" y="295"/>
                  </a:lnTo>
                  <a:lnTo>
                    <a:pt x="41" y="293"/>
                  </a:lnTo>
                  <a:lnTo>
                    <a:pt x="42" y="291"/>
                  </a:lnTo>
                  <a:lnTo>
                    <a:pt x="45" y="291"/>
                  </a:lnTo>
                  <a:lnTo>
                    <a:pt x="47" y="293"/>
                  </a:lnTo>
                  <a:lnTo>
                    <a:pt x="49" y="293"/>
                  </a:lnTo>
                  <a:lnTo>
                    <a:pt x="50" y="294"/>
                  </a:lnTo>
                  <a:lnTo>
                    <a:pt x="49" y="294"/>
                  </a:lnTo>
                  <a:lnTo>
                    <a:pt x="49" y="296"/>
                  </a:lnTo>
                  <a:lnTo>
                    <a:pt x="50" y="296"/>
                  </a:lnTo>
                  <a:lnTo>
                    <a:pt x="53" y="296"/>
                  </a:lnTo>
                  <a:lnTo>
                    <a:pt x="54" y="297"/>
                  </a:lnTo>
                  <a:lnTo>
                    <a:pt x="54" y="296"/>
                  </a:lnTo>
                  <a:lnTo>
                    <a:pt x="54" y="294"/>
                  </a:lnTo>
                  <a:lnTo>
                    <a:pt x="53" y="295"/>
                  </a:lnTo>
                  <a:lnTo>
                    <a:pt x="51" y="295"/>
                  </a:lnTo>
                  <a:lnTo>
                    <a:pt x="53" y="294"/>
                  </a:lnTo>
                  <a:lnTo>
                    <a:pt x="53" y="293"/>
                  </a:lnTo>
                  <a:lnTo>
                    <a:pt x="51" y="293"/>
                  </a:lnTo>
                  <a:lnTo>
                    <a:pt x="50" y="291"/>
                  </a:lnTo>
                  <a:lnTo>
                    <a:pt x="53" y="290"/>
                  </a:lnTo>
                  <a:lnTo>
                    <a:pt x="53" y="289"/>
                  </a:lnTo>
                  <a:lnTo>
                    <a:pt x="54" y="288"/>
                  </a:lnTo>
                  <a:lnTo>
                    <a:pt x="51" y="289"/>
                  </a:lnTo>
                  <a:lnTo>
                    <a:pt x="49" y="288"/>
                  </a:lnTo>
                  <a:lnTo>
                    <a:pt x="51" y="287"/>
                  </a:lnTo>
                  <a:lnTo>
                    <a:pt x="51" y="285"/>
                  </a:lnTo>
                  <a:lnTo>
                    <a:pt x="53" y="287"/>
                  </a:lnTo>
                  <a:lnTo>
                    <a:pt x="55" y="287"/>
                  </a:lnTo>
                  <a:lnTo>
                    <a:pt x="53" y="285"/>
                  </a:lnTo>
                  <a:lnTo>
                    <a:pt x="56" y="285"/>
                  </a:lnTo>
                  <a:lnTo>
                    <a:pt x="59" y="287"/>
                  </a:lnTo>
                  <a:lnTo>
                    <a:pt x="61" y="285"/>
                  </a:lnTo>
                  <a:lnTo>
                    <a:pt x="61" y="283"/>
                  </a:lnTo>
                  <a:lnTo>
                    <a:pt x="62" y="284"/>
                  </a:lnTo>
                  <a:lnTo>
                    <a:pt x="63" y="285"/>
                  </a:lnTo>
                  <a:lnTo>
                    <a:pt x="63" y="288"/>
                  </a:lnTo>
                  <a:lnTo>
                    <a:pt x="65" y="288"/>
                  </a:lnTo>
                  <a:lnTo>
                    <a:pt x="66" y="285"/>
                  </a:lnTo>
                  <a:lnTo>
                    <a:pt x="67" y="282"/>
                  </a:lnTo>
                  <a:lnTo>
                    <a:pt x="66" y="282"/>
                  </a:lnTo>
                  <a:lnTo>
                    <a:pt x="68" y="282"/>
                  </a:lnTo>
                  <a:lnTo>
                    <a:pt x="67" y="281"/>
                  </a:lnTo>
                  <a:lnTo>
                    <a:pt x="69" y="281"/>
                  </a:lnTo>
                  <a:lnTo>
                    <a:pt x="72" y="279"/>
                  </a:lnTo>
                  <a:lnTo>
                    <a:pt x="71" y="281"/>
                  </a:lnTo>
                  <a:lnTo>
                    <a:pt x="71" y="282"/>
                  </a:lnTo>
                  <a:lnTo>
                    <a:pt x="73" y="282"/>
                  </a:lnTo>
                  <a:lnTo>
                    <a:pt x="74" y="279"/>
                  </a:lnTo>
                  <a:lnTo>
                    <a:pt x="77" y="278"/>
                  </a:lnTo>
                  <a:lnTo>
                    <a:pt x="77" y="276"/>
                  </a:lnTo>
                  <a:lnTo>
                    <a:pt x="76" y="275"/>
                  </a:lnTo>
                  <a:lnTo>
                    <a:pt x="74" y="275"/>
                  </a:lnTo>
                  <a:lnTo>
                    <a:pt x="72" y="276"/>
                  </a:lnTo>
                  <a:lnTo>
                    <a:pt x="69" y="276"/>
                  </a:lnTo>
                  <a:lnTo>
                    <a:pt x="69" y="273"/>
                  </a:lnTo>
                  <a:lnTo>
                    <a:pt x="72" y="272"/>
                  </a:lnTo>
                  <a:lnTo>
                    <a:pt x="72" y="271"/>
                  </a:lnTo>
                  <a:lnTo>
                    <a:pt x="72" y="270"/>
                  </a:lnTo>
                  <a:lnTo>
                    <a:pt x="67" y="266"/>
                  </a:lnTo>
                  <a:lnTo>
                    <a:pt x="66" y="267"/>
                  </a:lnTo>
                  <a:lnTo>
                    <a:pt x="65" y="269"/>
                  </a:lnTo>
                  <a:lnTo>
                    <a:pt x="65" y="266"/>
                  </a:lnTo>
                  <a:lnTo>
                    <a:pt x="66" y="266"/>
                  </a:lnTo>
                  <a:lnTo>
                    <a:pt x="65" y="264"/>
                  </a:lnTo>
                  <a:lnTo>
                    <a:pt x="63" y="265"/>
                  </a:lnTo>
                  <a:lnTo>
                    <a:pt x="62" y="266"/>
                  </a:lnTo>
                  <a:lnTo>
                    <a:pt x="60" y="266"/>
                  </a:lnTo>
                  <a:lnTo>
                    <a:pt x="61" y="265"/>
                  </a:lnTo>
                  <a:lnTo>
                    <a:pt x="62" y="264"/>
                  </a:lnTo>
                  <a:lnTo>
                    <a:pt x="61" y="264"/>
                  </a:lnTo>
                  <a:lnTo>
                    <a:pt x="62" y="263"/>
                  </a:lnTo>
                  <a:lnTo>
                    <a:pt x="60" y="264"/>
                  </a:lnTo>
                  <a:lnTo>
                    <a:pt x="57" y="266"/>
                  </a:lnTo>
                  <a:lnTo>
                    <a:pt x="57" y="265"/>
                  </a:lnTo>
                  <a:lnTo>
                    <a:pt x="56" y="265"/>
                  </a:lnTo>
                  <a:lnTo>
                    <a:pt x="53" y="265"/>
                  </a:lnTo>
                  <a:lnTo>
                    <a:pt x="56" y="264"/>
                  </a:lnTo>
                  <a:lnTo>
                    <a:pt x="57" y="263"/>
                  </a:lnTo>
                  <a:lnTo>
                    <a:pt x="60" y="263"/>
                  </a:lnTo>
                  <a:lnTo>
                    <a:pt x="61" y="261"/>
                  </a:lnTo>
                  <a:lnTo>
                    <a:pt x="59" y="258"/>
                  </a:lnTo>
                  <a:lnTo>
                    <a:pt x="59" y="257"/>
                  </a:lnTo>
                  <a:lnTo>
                    <a:pt x="61" y="257"/>
                  </a:lnTo>
                  <a:lnTo>
                    <a:pt x="62" y="255"/>
                  </a:lnTo>
                  <a:lnTo>
                    <a:pt x="65" y="255"/>
                  </a:lnTo>
                  <a:lnTo>
                    <a:pt x="62" y="258"/>
                  </a:lnTo>
                  <a:lnTo>
                    <a:pt x="61" y="260"/>
                  </a:lnTo>
                  <a:lnTo>
                    <a:pt x="61" y="259"/>
                  </a:lnTo>
                  <a:lnTo>
                    <a:pt x="60" y="258"/>
                  </a:lnTo>
                  <a:lnTo>
                    <a:pt x="61" y="261"/>
                  </a:lnTo>
                  <a:lnTo>
                    <a:pt x="62" y="261"/>
                  </a:lnTo>
                  <a:lnTo>
                    <a:pt x="63" y="261"/>
                  </a:lnTo>
                  <a:lnTo>
                    <a:pt x="66" y="261"/>
                  </a:lnTo>
                  <a:lnTo>
                    <a:pt x="65" y="264"/>
                  </a:lnTo>
                  <a:lnTo>
                    <a:pt x="68" y="266"/>
                  </a:lnTo>
                  <a:lnTo>
                    <a:pt x="72" y="269"/>
                  </a:lnTo>
                  <a:lnTo>
                    <a:pt x="73" y="270"/>
                  </a:lnTo>
                  <a:lnTo>
                    <a:pt x="74" y="269"/>
                  </a:lnTo>
                  <a:lnTo>
                    <a:pt x="73" y="267"/>
                  </a:lnTo>
                  <a:lnTo>
                    <a:pt x="73" y="266"/>
                  </a:lnTo>
                  <a:lnTo>
                    <a:pt x="73" y="265"/>
                  </a:lnTo>
                  <a:lnTo>
                    <a:pt x="72" y="264"/>
                  </a:lnTo>
                  <a:lnTo>
                    <a:pt x="73" y="261"/>
                  </a:lnTo>
                  <a:lnTo>
                    <a:pt x="77" y="263"/>
                  </a:lnTo>
                  <a:lnTo>
                    <a:pt x="74" y="260"/>
                  </a:lnTo>
                  <a:lnTo>
                    <a:pt x="71" y="263"/>
                  </a:lnTo>
                  <a:lnTo>
                    <a:pt x="69" y="265"/>
                  </a:lnTo>
                  <a:lnTo>
                    <a:pt x="69" y="263"/>
                  </a:lnTo>
                  <a:lnTo>
                    <a:pt x="69" y="261"/>
                  </a:lnTo>
                  <a:lnTo>
                    <a:pt x="69" y="259"/>
                  </a:lnTo>
                  <a:lnTo>
                    <a:pt x="71" y="258"/>
                  </a:lnTo>
                  <a:lnTo>
                    <a:pt x="72" y="255"/>
                  </a:lnTo>
                  <a:lnTo>
                    <a:pt x="73" y="254"/>
                  </a:lnTo>
                  <a:lnTo>
                    <a:pt x="72" y="253"/>
                  </a:lnTo>
                  <a:lnTo>
                    <a:pt x="74" y="252"/>
                  </a:lnTo>
                  <a:lnTo>
                    <a:pt x="76" y="251"/>
                  </a:lnTo>
                  <a:lnTo>
                    <a:pt x="76" y="249"/>
                  </a:lnTo>
                  <a:lnTo>
                    <a:pt x="74" y="249"/>
                  </a:lnTo>
                  <a:lnTo>
                    <a:pt x="74" y="248"/>
                  </a:lnTo>
                  <a:lnTo>
                    <a:pt x="73" y="248"/>
                  </a:lnTo>
                  <a:lnTo>
                    <a:pt x="74" y="246"/>
                  </a:lnTo>
                  <a:lnTo>
                    <a:pt x="76" y="245"/>
                  </a:lnTo>
                  <a:lnTo>
                    <a:pt x="77" y="243"/>
                  </a:lnTo>
                  <a:lnTo>
                    <a:pt x="76" y="241"/>
                  </a:lnTo>
                  <a:lnTo>
                    <a:pt x="74" y="243"/>
                  </a:lnTo>
                  <a:lnTo>
                    <a:pt x="72" y="245"/>
                  </a:lnTo>
                  <a:lnTo>
                    <a:pt x="72" y="241"/>
                  </a:lnTo>
                  <a:lnTo>
                    <a:pt x="73" y="240"/>
                  </a:lnTo>
                  <a:lnTo>
                    <a:pt x="74" y="238"/>
                  </a:lnTo>
                  <a:lnTo>
                    <a:pt x="73" y="237"/>
                  </a:lnTo>
                  <a:lnTo>
                    <a:pt x="74" y="237"/>
                  </a:lnTo>
                  <a:lnTo>
                    <a:pt x="77" y="236"/>
                  </a:lnTo>
                  <a:lnTo>
                    <a:pt x="76" y="236"/>
                  </a:lnTo>
                  <a:lnTo>
                    <a:pt x="76" y="235"/>
                  </a:lnTo>
                  <a:lnTo>
                    <a:pt x="72" y="236"/>
                  </a:lnTo>
                  <a:lnTo>
                    <a:pt x="73" y="234"/>
                  </a:lnTo>
                  <a:lnTo>
                    <a:pt x="76" y="231"/>
                  </a:lnTo>
                  <a:lnTo>
                    <a:pt x="78" y="231"/>
                  </a:lnTo>
                  <a:lnTo>
                    <a:pt x="79" y="231"/>
                  </a:lnTo>
                  <a:lnTo>
                    <a:pt x="82" y="229"/>
                  </a:lnTo>
                  <a:lnTo>
                    <a:pt x="84" y="230"/>
                  </a:lnTo>
                  <a:lnTo>
                    <a:pt x="86" y="228"/>
                  </a:lnTo>
                  <a:lnTo>
                    <a:pt x="85" y="230"/>
                  </a:lnTo>
                  <a:lnTo>
                    <a:pt x="88" y="231"/>
                  </a:lnTo>
                  <a:lnTo>
                    <a:pt x="89" y="229"/>
                  </a:lnTo>
                  <a:lnTo>
                    <a:pt x="90" y="230"/>
                  </a:lnTo>
                  <a:lnTo>
                    <a:pt x="91" y="229"/>
                  </a:lnTo>
                  <a:lnTo>
                    <a:pt x="90" y="228"/>
                  </a:lnTo>
                  <a:lnTo>
                    <a:pt x="91" y="224"/>
                  </a:lnTo>
                  <a:lnTo>
                    <a:pt x="92" y="223"/>
                  </a:lnTo>
                  <a:lnTo>
                    <a:pt x="94" y="224"/>
                  </a:lnTo>
                  <a:lnTo>
                    <a:pt x="92" y="225"/>
                  </a:lnTo>
                  <a:lnTo>
                    <a:pt x="95" y="226"/>
                  </a:lnTo>
                  <a:lnTo>
                    <a:pt x="96" y="224"/>
                  </a:lnTo>
                  <a:lnTo>
                    <a:pt x="96" y="225"/>
                  </a:lnTo>
                  <a:lnTo>
                    <a:pt x="96" y="224"/>
                  </a:lnTo>
                  <a:lnTo>
                    <a:pt x="95" y="222"/>
                  </a:lnTo>
                  <a:lnTo>
                    <a:pt x="91" y="222"/>
                  </a:lnTo>
                  <a:lnTo>
                    <a:pt x="89" y="224"/>
                  </a:lnTo>
                  <a:lnTo>
                    <a:pt x="89" y="223"/>
                  </a:lnTo>
                  <a:lnTo>
                    <a:pt x="89" y="222"/>
                  </a:lnTo>
                  <a:lnTo>
                    <a:pt x="90" y="220"/>
                  </a:lnTo>
                  <a:lnTo>
                    <a:pt x="89" y="219"/>
                  </a:lnTo>
                  <a:lnTo>
                    <a:pt x="88" y="220"/>
                  </a:lnTo>
                  <a:lnTo>
                    <a:pt x="86" y="220"/>
                  </a:lnTo>
                  <a:lnTo>
                    <a:pt x="86" y="223"/>
                  </a:lnTo>
                  <a:lnTo>
                    <a:pt x="83" y="224"/>
                  </a:lnTo>
                  <a:lnTo>
                    <a:pt x="83" y="225"/>
                  </a:lnTo>
                  <a:lnTo>
                    <a:pt x="82" y="223"/>
                  </a:lnTo>
                  <a:lnTo>
                    <a:pt x="80" y="220"/>
                  </a:lnTo>
                  <a:lnTo>
                    <a:pt x="82" y="220"/>
                  </a:lnTo>
                  <a:lnTo>
                    <a:pt x="82" y="219"/>
                  </a:lnTo>
                  <a:lnTo>
                    <a:pt x="82" y="217"/>
                  </a:lnTo>
                  <a:lnTo>
                    <a:pt x="82" y="218"/>
                  </a:lnTo>
                  <a:lnTo>
                    <a:pt x="80" y="216"/>
                  </a:lnTo>
                  <a:lnTo>
                    <a:pt x="78" y="214"/>
                  </a:lnTo>
                  <a:lnTo>
                    <a:pt x="74" y="218"/>
                  </a:lnTo>
                  <a:lnTo>
                    <a:pt x="73" y="220"/>
                  </a:lnTo>
                  <a:lnTo>
                    <a:pt x="74" y="217"/>
                  </a:lnTo>
                  <a:lnTo>
                    <a:pt x="73" y="213"/>
                  </a:lnTo>
                  <a:lnTo>
                    <a:pt x="72" y="217"/>
                  </a:lnTo>
                  <a:lnTo>
                    <a:pt x="71" y="216"/>
                  </a:lnTo>
                  <a:lnTo>
                    <a:pt x="68" y="217"/>
                  </a:lnTo>
                  <a:lnTo>
                    <a:pt x="68" y="216"/>
                  </a:lnTo>
                  <a:lnTo>
                    <a:pt x="67" y="217"/>
                  </a:lnTo>
                  <a:lnTo>
                    <a:pt x="66" y="219"/>
                  </a:lnTo>
                  <a:lnTo>
                    <a:pt x="66" y="220"/>
                  </a:lnTo>
                  <a:lnTo>
                    <a:pt x="66" y="222"/>
                  </a:lnTo>
                  <a:lnTo>
                    <a:pt x="63" y="224"/>
                  </a:lnTo>
                  <a:lnTo>
                    <a:pt x="62" y="223"/>
                  </a:lnTo>
                  <a:lnTo>
                    <a:pt x="61" y="222"/>
                  </a:lnTo>
                  <a:lnTo>
                    <a:pt x="60" y="224"/>
                  </a:lnTo>
                  <a:lnTo>
                    <a:pt x="60" y="228"/>
                  </a:lnTo>
                  <a:lnTo>
                    <a:pt x="59" y="226"/>
                  </a:lnTo>
                  <a:lnTo>
                    <a:pt x="59" y="223"/>
                  </a:lnTo>
                  <a:lnTo>
                    <a:pt x="57" y="225"/>
                  </a:lnTo>
                  <a:lnTo>
                    <a:pt x="57" y="226"/>
                  </a:lnTo>
                  <a:lnTo>
                    <a:pt x="56" y="226"/>
                  </a:lnTo>
                  <a:lnTo>
                    <a:pt x="54" y="226"/>
                  </a:lnTo>
                  <a:lnTo>
                    <a:pt x="54" y="229"/>
                  </a:lnTo>
                  <a:lnTo>
                    <a:pt x="51" y="230"/>
                  </a:lnTo>
                  <a:lnTo>
                    <a:pt x="51" y="231"/>
                  </a:lnTo>
                  <a:lnTo>
                    <a:pt x="51" y="228"/>
                  </a:lnTo>
                  <a:lnTo>
                    <a:pt x="53" y="225"/>
                  </a:lnTo>
                  <a:lnTo>
                    <a:pt x="50" y="225"/>
                  </a:lnTo>
                  <a:lnTo>
                    <a:pt x="49" y="225"/>
                  </a:lnTo>
                  <a:lnTo>
                    <a:pt x="51" y="224"/>
                  </a:lnTo>
                  <a:lnTo>
                    <a:pt x="53" y="222"/>
                  </a:lnTo>
                  <a:lnTo>
                    <a:pt x="54" y="220"/>
                  </a:lnTo>
                  <a:lnTo>
                    <a:pt x="56" y="219"/>
                  </a:lnTo>
                  <a:lnTo>
                    <a:pt x="59" y="219"/>
                  </a:lnTo>
                  <a:lnTo>
                    <a:pt x="61" y="220"/>
                  </a:lnTo>
                  <a:lnTo>
                    <a:pt x="61" y="218"/>
                  </a:lnTo>
                  <a:lnTo>
                    <a:pt x="59" y="217"/>
                  </a:lnTo>
                  <a:lnTo>
                    <a:pt x="57" y="217"/>
                  </a:lnTo>
                  <a:lnTo>
                    <a:pt x="55" y="219"/>
                  </a:lnTo>
                  <a:lnTo>
                    <a:pt x="55" y="218"/>
                  </a:lnTo>
                  <a:lnTo>
                    <a:pt x="56" y="217"/>
                  </a:lnTo>
                  <a:lnTo>
                    <a:pt x="57" y="214"/>
                  </a:lnTo>
                  <a:lnTo>
                    <a:pt x="55" y="213"/>
                  </a:lnTo>
                  <a:lnTo>
                    <a:pt x="54" y="214"/>
                  </a:lnTo>
                  <a:lnTo>
                    <a:pt x="53" y="213"/>
                  </a:lnTo>
                  <a:lnTo>
                    <a:pt x="53" y="214"/>
                  </a:lnTo>
                  <a:lnTo>
                    <a:pt x="51" y="216"/>
                  </a:lnTo>
                  <a:lnTo>
                    <a:pt x="51" y="217"/>
                  </a:lnTo>
                  <a:lnTo>
                    <a:pt x="53" y="217"/>
                  </a:lnTo>
                  <a:lnTo>
                    <a:pt x="54" y="219"/>
                  </a:lnTo>
                  <a:lnTo>
                    <a:pt x="51" y="220"/>
                  </a:lnTo>
                  <a:lnTo>
                    <a:pt x="51" y="222"/>
                  </a:lnTo>
                  <a:lnTo>
                    <a:pt x="50" y="220"/>
                  </a:lnTo>
                  <a:lnTo>
                    <a:pt x="49" y="222"/>
                  </a:lnTo>
                  <a:lnTo>
                    <a:pt x="45" y="224"/>
                  </a:lnTo>
                  <a:lnTo>
                    <a:pt x="47" y="220"/>
                  </a:lnTo>
                  <a:lnTo>
                    <a:pt x="47" y="218"/>
                  </a:lnTo>
                  <a:lnTo>
                    <a:pt x="45" y="217"/>
                  </a:lnTo>
                  <a:lnTo>
                    <a:pt x="48" y="216"/>
                  </a:lnTo>
                  <a:lnTo>
                    <a:pt x="45" y="214"/>
                  </a:lnTo>
                  <a:lnTo>
                    <a:pt x="47" y="213"/>
                  </a:lnTo>
                  <a:lnTo>
                    <a:pt x="48" y="212"/>
                  </a:lnTo>
                  <a:lnTo>
                    <a:pt x="50" y="213"/>
                  </a:lnTo>
                  <a:lnTo>
                    <a:pt x="50" y="211"/>
                  </a:lnTo>
                  <a:lnTo>
                    <a:pt x="48" y="211"/>
                  </a:lnTo>
                  <a:lnTo>
                    <a:pt x="45" y="211"/>
                  </a:lnTo>
                  <a:lnTo>
                    <a:pt x="42" y="211"/>
                  </a:lnTo>
                  <a:lnTo>
                    <a:pt x="44" y="211"/>
                  </a:lnTo>
                  <a:lnTo>
                    <a:pt x="47" y="208"/>
                  </a:lnTo>
                  <a:lnTo>
                    <a:pt x="48" y="210"/>
                  </a:lnTo>
                  <a:lnTo>
                    <a:pt x="49" y="210"/>
                  </a:lnTo>
                  <a:lnTo>
                    <a:pt x="53" y="211"/>
                  </a:lnTo>
                  <a:lnTo>
                    <a:pt x="54" y="211"/>
                  </a:lnTo>
                  <a:lnTo>
                    <a:pt x="56" y="210"/>
                  </a:lnTo>
                  <a:lnTo>
                    <a:pt x="57" y="207"/>
                  </a:lnTo>
                  <a:lnTo>
                    <a:pt x="55" y="206"/>
                  </a:lnTo>
                  <a:lnTo>
                    <a:pt x="51" y="207"/>
                  </a:lnTo>
                  <a:lnTo>
                    <a:pt x="50" y="208"/>
                  </a:lnTo>
                  <a:lnTo>
                    <a:pt x="49" y="208"/>
                  </a:lnTo>
                  <a:lnTo>
                    <a:pt x="49" y="207"/>
                  </a:lnTo>
                  <a:lnTo>
                    <a:pt x="51" y="205"/>
                  </a:lnTo>
                  <a:lnTo>
                    <a:pt x="51" y="202"/>
                  </a:lnTo>
                  <a:lnTo>
                    <a:pt x="49" y="201"/>
                  </a:lnTo>
                  <a:lnTo>
                    <a:pt x="48" y="200"/>
                  </a:lnTo>
                  <a:lnTo>
                    <a:pt x="49" y="199"/>
                  </a:lnTo>
                  <a:lnTo>
                    <a:pt x="47" y="196"/>
                  </a:lnTo>
                  <a:lnTo>
                    <a:pt x="44" y="195"/>
                  </a:lnTo>
                  <a:lnTo>
                    <a:pt x="45" y="199"/>
                  </a:lnTo>
                  <a:lnTo>
                    <a:pt x="44" y="200"/>
                  </a:lnTo>
                  <a:lnTo>
                    <a:pt x="43" y="198"/>
                  </a:lnTo>
                  <a:lnTo>
                    <a:pt x="42" y="198"/>
                  </a:lnTo>
                  <a:lnTo>
                    <a:pt x="43" y="199"/>
                  </a:lnTo>
                  <a:lnTo>
                    <a:pt x="42" y="199"/>
                  </a:lnTo>
                  <a:lnTo>
                    <a:pt x="42" y="201"/>
                  </a:lnTo>
                  <a:lnTo>
                    <a:pt x="43" y="202"/>
                  </a:lnTo>
                  <a:lnTo>
                    <a:pt x="42" y="206"/>
                  </a:lnTo>
                  <a:lnTo>
                    <a:pt x="43" y="208"/>
                  </a:lnTo>
                  <a:lnTo>
                    <a:pt x="42" y="207"/>
                  </a:lnTo>
                  <a:lnTo>
                    <a:pt x="41" y="208"/>
                  </a:lnTo>
                  <a:lnTo>
                    <a:pt x="39" y="206"/>
                  </a:lnTo>
                  <a:lnTo>
                    <a:pt x="38" y="204"/>
                  </a:lnTo>
                  <a:lnTo>
                    <a:pt x="36" y="204"/>
                  </a:lnTo>
                  <a:lnTo>
                    <a:pt x="37" y="208"/>
                  </a:lnTo>
                  <a:lnTo>
                    <a:pt x="35" y="208"/>
                  </a:lnTo>
                  <a:lnTo>
                    <a:pt x="32" y="210"/>
                  </a:lnTo>
                  <a:lnTo>
                    <a:pt x="33" y="212"/>
                  </a:lnTo>
                  <a:lnTo>
                    <a:pt x="32" y="214"/>
                  </a:lnTo>
                  <a:lnTo>
                    <a:pt x="30" y="217"/>
                  </a:lnTo>
                  <a:lnTo>
                    <a:pt x="30" y="214"/>
                  </a:lnTo>
                  <a:lnTo>
                    <a:pt x="31" y="212"/>
                  </a:lnTo>
                  <a:lnTo>
                    <a:pt x="32" y="211"/>
                  </a:lnTo>
                  <a:lnTo>
                    <a:pt x="31" y="210"/>
                  </a:lnTo>
                  <a:lnTo>
                    <a:pt x="30" y="210"/>
                  </a:lnTo>
                  <a:lnTo>
                    <a:pt x="29" y="208"/>
                  </a:lnTo>
                  <a:lnTo>
                    <a:pt x="27" y="207"/>
                  </a:lnTo>
                  <a:lnTo>
                    <a:pt x="25" y="210"/>
                  </a:lnTo>
                  <a:lnTo>
                    <a:pt x="25" y="207"/>
                  </a:lnTo>
                  <a:lnTo>
                    <a:pt x="24" y="210"/>
                  </a:lnTo>
                  <a:lnTo>
                    <a:pt x="23" y="210"/>
                  </a:lnTo>
                  <a:lnTo>
                    <a:pt x="23" y="208"/>
                  </a:lnTo>
                  <a:lnTo>
                    <a:pt x="21" y="207"/>
                  </a:lnTo>
                  <a:lnTo>
                    <a:pt x="23" y="207"/>
                  </a:lnTo>
                  <a:lnTo>
                    <a:pt x="20" y="206"/>
                  </a:lnTo>
                  <a:lnTo>
                    <a:pt x="23" y="205"/>
                  </a:lnTo>
                  <a:lnTo>
                    <a:pt x="25" y="205"/>
                  </a:lnTo>
                  <a:lnTo>
                    <a:pt x="26" y="204"/>
                  </a:lnTo>
                  <a:lnTo>
                    <a:pt x="27" y="202"/>
                  </a:lnTo>
                  <a:lnTo>
                    <a:pt x="29" y="200"/>
                  </a:lnTo>
                  <a:lnTo>
                    <a:pt x="25" y="200"/>
                  </a:lnTo>
                  <a:lnTo>
                    <a:pt x="24" y="199"/>
                  </a:lnTo>
                  <a:lnTo>
                    <a:pt x="23" y="201"/>
                  </a:lnTo>
                  <a:lnTo>
                    <a:pt x="20" y="199"/>
                  </a:lnTo>
                  <a:lnTo>
                    <a:pt x="19" y="200"/>
                  </a:lnTo>
                  <a:lnTo>
                    <a:pt x="20" y="202"/>
                  </a:lnTo>
                  <a:lnTo>
                    <a:pt x="18" y="205"/>
                  </a:lnTo>
                  <a:lnTo>
                    <a:pt x="15" y="206"/>
                  </a:lnTo>
                  <a:lnTo>
                    <a:pt x="14" y="204"/>
                  </a:lnTo>
                  <a:lnTo>
                    <a:pt x="14" y="200"/>
                  </a:lnTo>
                  <a:lnTo>
                    <a:pt x="15" y="200"/>
                  </a:lnTo>
                  <a:lnTo>
                    <a:pt x="18" y="200"/>
                  </a:lnTo>
                  <a:lnTo>
                    <a:pt x="20" y="199"/>
                  </a:lnTo>
                  <a:lnTo>
                    <a:pt x="21" y="198"/>
                  </a:lnTo>
                  <a:lnTo>
                    <a:pt x="19" y="198"/>
                  </a:lnTo>
                  <a:lnTo>
                    <a:pt x="18" y="196"/>
                  </a:lnTo>
                  <a:lnTo>
                    <a:pt x="17" y="196"/>
                  </a:lnTo>
                  <a:lnTo>
                    <a:pt x="15" y="196"/>
                  </a:lnTo>
                  <a:lnTo>
                    <a:pt x="12" y="198"/>
                  </a:lnTo>
                  <a:lnTo>
                    <a:pt x="13" y="196"/>
                  </a:lnTo>
                  <a:lnTo>
                    <a:pt x="14" y="194"/>
                  </a:lnTo>
                  <a:lnTo>
                    <a:pt x="13" y="194"/>
                  </a:lnTo>
                  <a:lnTo>
                    <a:pt x="12" y="193"/>
                  </a:lnTo>
                  <a:lnTo>
                    <a:pt x="15" y="192"/>
                  </a:lnTo>
                  <a:lnTo>
                    <a:pt x="15" y="194"/>
                  </a:lnTo>
                  <a:lnTo>
                    <a:pt x="18" y="195"/>
                  </a:lnTo>
                  <a:lnTo>
                    <a:pt x="19" y="195"/>
                  </a:lnTo>
                  <a:lnTo>
                    <a:pt x="19" y="193"/>
                  </a:lnTo>
                  <a:lnTo>
                    <a:pt x="18" y="192"/>
                  </a:lnTo>
                  <a:lnTo>
                    <a:pt x="18" y="189"/>
                  </a:lnTo>
                  <a:lnTo>
                    <a:pt x="19" y="190"/>
                  </a:lnTo>
                  <a:lnTo>
                    <a:pt x="19" y="194"/>
                  </a:lnTo>
                  <a:lnTo>
                    <a:pt x="20" y="195"/>
                  </a:lnTo>
                  <a:lnTo>
                    <a:pt x="20" y="194"/>
                  </a:lnTo>
                  <a:lnTo>
                    <a:pt x="20" y="193"/>
                  </a:lnTo>
                  <a:lnTo>
                    <a:pt x="21" y="192"/>
                  </a:lnTo>
                  <a:lnTo>
                    <a:pt x="24" y="193"/>
                  </a:lnTo>
                  <a:lnTo>
                    <a:pt x="27" y="192"/>
                  </a:lnTo>
                  <a:lnTo>
                    <a:pt x="27" y="193"/>
                  </a:lnTo>
                  <a:lnTo>
                    <a:pt x="30" y="194"/>
                  </a:lnTo>
                  <a:lnTo>
                    <a:pt x="33" y="196"/>
                  </a:lnTo>
                  <a:lnTo>
                    <a:pt x="33" y="194"/>
                  </a:lnTo>
                  <a:lnTo>
                    <a:pt x="31" y="194"/>
                  </a:lnTo>
                  <a:lnTo>
                    <a:pt x="33" y="192"/>
                  </a:lnTo>
                  <a:lnTo>
                    <a:pt x="36" y="190"/>
                  </a:lnTo>
                  <a:lnTo>
                    <a:pt x="37" y="188"/>
                  </a:lnTo>
                  <a:lnTo>
                    <a:pt x="37" y="187"/>
                  </a:lnTo>
                  <a:lnTo>
                    <a:pt x="35" y="189"/>
                  </a:lnTo>
                  <a:lnTo>
                    <a:pt x="33" y="192"/>
                  </a:lnTo>
                  <a:lnTo>
                    <a:pt x="30" y="192"/>
                  </a:lnTo>
                  <a:lnTo>
                    <a:pt x="30" y="190"/>
                  </a:lnTo>
                  <a:lnTo>
                    <a:pt x="32" y="187"/>
                  </a:lnTo>
                  <a:lnTo>
                    <a:pt x="33" y="186"/>
                  </a:lnTo>
                  <a:lnTo>
                    <a:pt x="35" y="184"/>
                  </a:lnTo>
                  <a:lnTo>
                    <a:pt x="35" y="186"/>
                  </a:lnTo>
                  <a:lnTo>
                    <a:pt x="36" y="186"/>
                  </a:lnTo>
                  <a:lnTo>
                    <a:pt x="38" y="184"/>
                  </a:lnTo>
                  <a:lnTo>
                    <a:pt x="36" y="182"/>
                  </a:lnTo>
                  <a:lnTo>
                    <a:pt x="32" y="183"/>
                  </a:lnTo>
                  <a:lnTo>
                    <a:pt x="30" y="184"/>
                  </a:lnTo>
                  <a:lnTo>
                    <a:pt x="30" y="182"/>
                  </a:lnTo>
                  <a:lnTo>
                    <a:pt x="26" y="180"/>
                  </a:lnTo>
                  <a:lnTo>
                    <a:pt x="30" y="178"/>
                  </a:lnTo>
                  <a:lnTo>
                    <a:pt x="31" y="175"/>
                  </a:lnTo>
                  <a:lnTo>
                    <a:pt x="29" y="176"/>
                  </a:lnTo>
                  <a:lnTo>
                    <a:pt x="29" y="174"/>
                  </a:lnTo>
                  <a:lnTo>
                    <a:pt x="32" y="171"/>
                  </a:lnTo>
                  <a:lnTo>
                    <a:pt x="35" y="169"/>
                  </a:lnTo>
                  <a:lnTo>
                    <a:pt x="31" y="169"/>
                  </a:lnTo>
                  <a:lnTo>
                    <a:pt x="25" y="170"/>
                  </a:lnTo>
                  <a:lnTo>
                    <a:pt x="20" y="176"/>
                  </a:lnTo>
                  <a:lnTo>
                    <a:pt x="17" y="180"/>
                  </a:lnTo>
                  <a:lnTo>
                    <a:pt x="17" y="178"/>
                  </a:lnTo>
                  <a:lnTo>
                    <a:pt x="18" y="176"/>
                  </a:lnTo>
                  <a:lnTo>
                    <a:pt x="18" y="174"/>
                  </a:lnTo>
                  <a:lnTo>
                    <a:pt x="17" y="175"/>
                  </a:lnTo>
                  <a:lnTo>
                    <a:pt x="18" y="170"/>
                  </a:lnTo>
                  <a:lnTo>
                    <a:pt x="19" y="168"/>
                  </a:lnTo>
                  <a:lnTo>
                    <a:pt x="20" y="166"/>
                  </a:lnTo>
                  <a:lnTo>
                    <a:pt x="23" y="168"/>
                  </a:lnTo>
                  <a:lnTo>
                    <a:pt x="21" y="165"/>
                  </a:lnTo>
                  <a:lnTo>
                    <a:pt x="23" y="165"/>
                  </a:lnTo>
                  <a:lnTo>
                    <a:pt x="25" y="163"/>
                  </a:lnTo>
                  <a:lnTo>
                    <a:pt x="25" y="162"/>
                  </a:lnTo>
                  <a:lnTo>
                    <a:pt x="19" y="162"/>
                  </a:lnTo>
                  <a:lnTo>
                    <a:pt x="13" y="159"/>
                  </a:lnTo>
                  <a:lnTo>
                    <a:pt x="17" y="159"/>
                  </a:lnTo>
                  <a:lnTo>
                    <a:pt x="19" y="159"/>
                  </a:lnTo>
                  <a:lnTo>
                    <a:pt x="19" y="158"/>
                  </a:lnTo>
                  <a:lnTo>
                    <a:pt x="20" y="158"/>
                  </a:lnTo>
                  <a:lnTo>
                    <a:pt x="20" y="157"/>
                  </a:lnTo>
                  <a:lnTo>
                    <a:pt x="21" y="158"/>
                  </a:lnTo>
                  <a:lnTo>
                    <a:pt x="21" y="157"/>
                  </a:lnTo>
                  <a:lnTo>
                    <a:pt x="24" y="157"/>
                  </a:lnTo>
                  <a:lnTo>
                    <a:pt x="26" y="158"/>
                  </a:lnTo>
                  <a:lnTo>
                    <a:pt x="27" y="159"/>
                  </a:lnTo>
                  <a:lnTo>
                    <a:pt x="29" y="162"/>
                  </a:lnTo>
                  <a:lnTo>
                    <a:pt x="29" y="163"/>
                  </a:lnTo>
                  <a:lnTo>
                    <a:pt x="31" y="163"/>
                  </a:lnTo>
                  <a:lnTo>
                    <a:pt x="31" y="162"/>
                  </a:lnTo>
                  <a:lnTo>
                    <a:pt x="31" y="160"/>
                  </a:lnTo>
                  <a:lnTo>
                    <a:pt x="32" y="160"/>
                  </a:lnTo>
                  <a:lnTo>
                    <a:pt x="36" y="159"/>
                  </a:lnTo>
                  <a:lnTo>
                    <a:pt x="39" y="160"/>
                  </a:lnTo>
                  <a:lnTo>
                    <a:pt x="41" y="160"/>
                  </a:lnTo>
                  <a:lnTo>
                    <a:pt x="43" y="160"/>
                  </a:lnTo>
                  <a:lnTo>
                    <a:pt x="45" y="160"/>
                  </a:lnTo>
                  <a:lnTo>
                    <a:pt x="48" y="160"/>
                  </a:lnTo>
                  <a:lnTo>
                    <a:pt x="50" y="160"/>
                  </a:lnTo>
                  <a:lnTo>
                    <a:pt x="50" y="158"/>
                  </a:lnTo>
                  <a:lnTo>
                    <a:pt x="51" y="158"/>
                  </a:lnTo>
                  <a:lnTo>
                    <a:pt x="53" y="160"/>
                  </a:lnTo>
                  <a:lnTo>
                    <a:pt x="54" y="159"/>
                  </a:lnTo>
                  <a:lnTo>
                    <a:pt x="57" y="160"/>
                  </a:lnTo>
                  <a:lnTo>
                    <a:pt x="60" y="160"/>
                  </a:lnTo>
                  <a:lnTo>
                    <a:pt x="62" y="163"/>
                  </a:lnTo>
                  <a:lnTo>
                    <a:pt x="65" y="163"/>
                  </a:lnTo>
                  <a:lnTo>
                    <a:pt x="66" y="163"/>
                  </a:lnTo>
                  <a:lnTo>
                    <a:pt x="67" y="160"/>
                  </a:lnTo>
                  <a:lnTo>
                    <a:pt x="67" y="157"/>
                  </a:lnTo>
                  <a:lnTo>
                    <a:pt x="66" y="158"/>
                  </a:lnTo>
                  <a:lnTo>
                    <a:pt x="65" y="157"/>
                  </a:lnTo>
                  <a:lnTo>
                    <a:pt x="63" y="158"/>
                  </a:lnTo>
                  <a:lnTo>
                    <a:pt x="63" y="157"/>
                  </a:lnTo>
                  <a:lnTo>
                    <a:pt x="61" y="156"/>
                  </a:lnTo>
                  <a:lnTo>
                    <a:pt x="60" y="154"/>
                  </a:lnTo>
                  <a:lnTo>
                    <a:pt x="59" y="156"/>
                  </a:lnTo>
                  <a:lnTo>
                    <a:pt x="57" y="157"/>
                  </a:lnTo>
                  <a:lnTo>
                    <a:pt x="57" y="153"/>
                  </a:lnTo>
                  <a:lnTo>
                    <a:pt x="57" y="151"/>
                  </a:lnTo>
                  <a:lnTo>
                    <a:pt x="55" y="152"/>
                  </a:lnTo>
                  <a:lnTo>
                    <a:pt x="54" y="153"/>
                  </a:lnTo>
                  <a:lnTo>
                    <a:pt x="53" y="152"/>
                  </a:lnTo>
                  <a:lnTo>
                    <a:pt x="50" y="151"/>
                  </a:lnTo>
                  <a:lnTo>
                    <a:pt x="49" y="153"/>
                  </a:lnTo>
                  <a:lnTo>
                    <a:pt x="49" y="151"/>
                  </a:lnTo>
                  <a:lnTo>
                    <a:pt x="50" y="150"/>
                  </a:lnTo>
                  <a:lnTo>
                    <a:pt x="49" y="148"/>
                  </a:lnTo>
                  <a:lnTo>
                    <a:pt x="51" y="147"/>
                  </a:lnTo>
                  <a:lnTo>
                    <a:pt x="54" y="147"/>
                  </a:lnTo>
                  <a:lnTo>
                    <a:pt x="55" y="148"/>
                  </a:lnTo>
                  <a:lnTo>
                    <a:pt x="55" y="147"/>
                  </a:lnTo>
                  <a:lnTo>
                    <a:pt x="55" y="145"/>
                  </a:lnTo>
                  <a:lnTo>
                    <a:pt x="53" y="144"/>
                  </a:lnTo>
                  <a:lnTo>
                    <a:pt x="53" y="142"/>
                  </a:lnTo>
                  <a:lnTo>
                    <a:pt x="51" y="144"/>
                  </a:lnTo>
                  <a:lnTo>
                    <a:pt x="51" y="142"/>
                  </a:lnTo>
                  <a:lnTo>
                    <a:pt x="54" y="140"/>
                  </a:lnTo>
                  <a:lnTo>
                    <a:pt x="57" y="140"/>
                  </a:lnTo>
                  <a:lnTo>
                    <a:pt x="59" y="141"/>
                  </a:lnTo>
                  <a:lnTo>
                    <a:pt x="60" y="140"/>
                  </a:lnTo>
                  <a:lnTo>
                    <a:pt x="61" y="139"/>
                  </a:lnTo>
                  <a:lnTo>
                    <a:pt x="62" y="136"/>
                  </a:lnTo>
                  <a:lnTo>
                    <a:pt x="66" y="136"/>
                  </a:lnTo>
                  <a:lnTo>
                    <a:pt x="65" y="134"/>
                  </a:lnTo>
                  <a:lnTo>
                    <a:pt x="62" y="133"/>
                  </a:lnTo>
                  <a:lnTo>
                    <a:pt x="62" y="131"/>
                  </a:lnTo>
                  <a:lnTo>
                    <a:pt x="65" y="133"/>
                  </a:lnTo>
                  <a:lnTo>
                    <a:pt x="66" y="131"/>
                  </a:lnTo>
                  <a:lnTo>
                    <a:pt x="67" y="130"/>
                  </a:lnTo>
                  <a:lnTo>
                    <a:pt x="69" y="130"/>
                  </a:lnTo>
                  <a:lnTo>
                    <a:pt x="72" y="129"/>
                  </a:lnTo>
                  <a:lnTo>
                    <a:pt x="73" y="128"/>
                  </a:lnTo>
                  <a:lnTo>
                    <a:pt x="74" y="127"/>
                  </a:lnTo>
                  <a:lnTo>
                    <a:pt x="73" y="124"/>
                  </a:lnTo>
                  <a:lnTo>
                    <a:pt x="73" y="122"/>
                  </a:lnTo>
                  <a:lnTo>
                    <a:pt x="71" y="125"/>
                  </a:lnTo>
                  <a:lnTo>
                    <a:pt x="67" y="128"/>
                  </a:lnTo>
                  <a:lnTo>
                    <a:pt x="68" y="125"/>
                  </a:lnTo>
                  <a:lnTo>
                    <a:pt x="72" y="122"/>
                  </a:lnTo>
                  <a:lnTo>
                    <a:pt x="73" y="121"/>
                  </a:lnTo>
                  <a:lnTo>
                    <a:pt x="72" y="121"/>
                  </a:lnTo>
                  <a:lnTo>
                    <a:pt x="72" y="118"/>
                  </a:lnTo>
                  <a:lnTo>
                    <a:pt x="72" y="117"/>
                  </a:lnTo>
                  <a:lnTo>
                    <a:pt x="69" y="118"/>
                  </a:lnTo>
                  <a:lnTo>
                    <a:pt x="66" y="119"/>
                  </a:lnTo>
                  <a:lnTo>
                    <a:pt x="62" y="121"/>
                  </a:lnTo>
                  <a:lnTo>
                    <a:pt x="63" y="118"/>
                  </a:lnTo>
                  <a:lnTo>
                    <a:pt x="65" y="116"/>
                  </a:lnTo>
                  <a:lnTo>
                    <a:pt x="66" y="115"/>
                  </a:lnTo>
                  <a:lnTo>
                    <a:pt x="68" y="113"/>
                  </a:lnTo>
                  <a:lnTo>
                    <a:pt x="72" y="115"/>
                  </a:lnTo>
                  <a:lnTo>
                    <a:pt x="72" y="112"/>
                  </a:lnTo>
                  <a:lnTo>
                    <a:pt x="63" y="112"/>
                  </a:lnTo>
                  <a:lnTo>
                    <a:pt x="62" y="111"/>
                  </a:lnTo>
                  <a:lnTo>
                    <a:pt x="65" y="110"/>
                  </a:lnTo>
                  <a:lnTo>
                    <a:pt x="67" y="109"/>
                  </a:lnTo>
                  <a:lnTo>
                    <a:pt x="68" y="109"/>
                  </a:lnTo>
                  <a:lnTo>
                    <a:pt x="69" y="109"/>
                  </a:lnTo>
                  <a:lnTo>
                    <a:pt x="72" y="109"/>
                  </a:lnTo>
                  <a:lnTo>
                    <a:pt x="74" y="111"/>
                  </a:lnTo>
                  <a:lnTo>
                    <a:pt x="74" y="109"/>
                  </a:lnTo>
                  <a:lnTo>
                    <a:pt x="77" y="109"/>
                  </a:lnTo>
                  <a:lnTo>
                    <a:pt x="77" y="106"/>
                  </a:lnTo>
                  <a:lnTo>
                    <a:pt x="74" y="105"/>
                  </a:lnTo>
                  <a:lnTo>
                    <a:pt x="73" y="104"/>
                  </a:lnTo>
                  <a:lnTo>
                    <a:pt x="72" y="101"/>
                  </a:lnTo>
                  <a:lnTo>
                    <a:pt x="72" y="99"/>
                  </a:lnTo>
                  <a:lnTo>
                    <a:pt x="73" y="97"/>
                  </a:lnTo>
                  <a:lnTo>
                    <a:pt x="74" y="98"/>
                  </a:lnTo>
                  <a:lnTo>
                    <a:pt x="76" y="100"/>
                  </a:lnTo>
                  <a:lnTo>
                    <a:pt x="77" y="99"/>
                  </a:lnTo>
                  <a:lnTo>
                    <a:pt x="78" y="103"/>
                  </a:lnTo>
                  <a:lnTo>
                    <a:pt x="78" y="106"/>
                  </a:lnTo>
                  <a:lnTo>
                    <a:pt x="79" y="109"/>
                  </a:lnTo>
                  <a:lnTo>
                    <a:pt x="80" y="110"/>
                  </a:lnTo>
                  <a:lnTo>
                    <a:pt x="83" y="111"/>
                  </a:lnTo>
                  <a:lnTo>
                    <a:pt x="85" y="111"/>
                  </a:lnTo>
                  <a:lnTo>
                    <a:pt x="88" y="110"/>
                  </a:lnTo>
                  <a:lnTo>
                    <a:pt x="90" y="109"/>
                  </a:lnTo>
                  <a:lnTo>
                    <a:pt x="91" y="109"/>
                  </a:lnTo>
                  <a:lnTo>
                    <a:pt x="92" y="107"/>
                  </a:lnTo>
                  <a:lnTo>
                    <a:pt x="94" y="107"/>
                  </a:lnTo>
                  <a:lnTo>
                    <a:pt x="95" y="106"/>
                  </a:lnTo>
                  <a:lnTo>
                    <a:pt x="95" y="105"/>
                  </a:lnTo>
                  <a:lnTo>
                    <a:pt x="96" y="104"/>
                  </a:lnTo>
                  <a:lnTo>
                    <a:pt x="96" y="101"/>
                  </a:lnTo>
                  <a:lnTo>
                    <a:pt x="95" y="100"/>
                  </a:lnTo>
                  <a:lnTo>
                    <a:pt x="95" y="99"/>
                  </a:lnTo>
                  <a:lnTo>
                    <a:pt x="95" y="98"/>
                  </a:lnTo>
                  <a:lnTo>
                    <a:pt x="96" y="98"/>
                  </a:lnTo>
                  <a:lnTo>
                    <a:pt x="97" y="99"/>
                  </a:lnTo>
                  <a:lnTo>
                    <a:pt x="98" y="98"/>
                  </a:lnTo>
                  <a:lnTo>
                    <a:pt x="97" y="97"/>
                  </a:lnTo>
                  <a:lnTo>
                    <a:pt x="100" y="97"/>
                  </a:lnTo>
                  <a:lnTo>
                    <a:pt x="100" y="95"/>
                  </a:lnTo>
                  <a:lnTo>
                    <a:pt x="98" y="91"/>
                  </a:lnTo>
                  <a:lnTo>
                    <a:pt x="97" y="91"/>
                  </a:lnTo>
                  <a:lnTo>
                    <a:pt x="96" y="92"/>
                  </a:lnTo>
                  <a:lnTo>
                    <a:pt x="95" y="91"/>
                  </a:lnTo>
                  <a:lnTo>
                    <a:pt x="95" y="89"/>
                  </a:lnTo>
                  <a:lnTo>
                    <a:pt x="95" y="88"/>
                  </a:lnTo>
                  <a:lnTo>
                    <a:pt x="96" y="88"/>
                  </a:lnTo>
                  <a:lnTo>
                    <a:pt x="98" y="89"/>
                  </a:lnTo>
                  <a:lnTo>
                    <a:pt x="97" y="87"/>
                  </a:lnTo>
                  <a:lnTo>
                    <a:pt x="97" y="86"/>
                  </a:lnTo>
                  <a:lnTo>
                    <a:pt x="98" y="86"/>
                  </a:lnTo>
                  <a:lnTo>
                    <a:pt x="98" y="85"/>
                  </a:lnTo>
                  <a:lnTo>
                    <a:pt x="98" y="83"/>
                  </a:lnTo>
                  <a:lnTo>
                    <a:pt x="100" y="83"/>
                  </a:lnTo>
                  <a:lnTo>
                    <a:pt x="101" y="83"/>
                  </a:lnTo>
                  <a:lnTo>
                    <a:pt x="101" y="86"/>
                  </a:lnTo>
                  <a:lnTo>
                    <a:pt x="102" y="86"/>
                  </a:lnTo>
                  <a:lnTo>
                    <a:pt x="102" y="87"/>
                  </a:lnTo>
                  <a:lnTo>
                    <a:pt x="100" y="88"/>
                  </a:lnTo>
                  <a:lnTo>
                    <a:pt x="100" y="89"/>
                  </a:lnTo>
                  <a:lnTo>
                    <a:pt x="100" y="92"/>
                  </a:lnTo>
                  <a:lnTo>
                    <a:pt x="100" y="94"/>
                  </a:lnTo>
                  <a:lnTo>
                    <a:pt x="102" y="93"/>
                  </a:lnTo>
                  <a:lnTo>
                    <a:pt x="101" y="92"/>
                  </a:lnTo>
                  <a:lnTo>
                    <a:pt x="101" y="91"/>
                  </a:lnTo>
                  <a:lnTo>
                    <a:pt x="101" y="89"/>
                  </a:lnTo>
                  <a:lnTo>
                    <a:pt x="102" y="89"/>
                  </a:lnTo>
                  <a:lnTo>
                    <a:pt x="104" y="89"/>
                  </a:lnTo>
                  <a:lnTo>
                    <a:pt x="103" y="93"/>
                  </a:lnTo>
                  <a:lnTo>
                    <a:pt x="104" y="94"/>
                  </a:lnTo>
                  <a:lnTo>
                    <a:pt x="106" y="95"/>
                  </a:lnTo>
                  <a:lnTo>
                    <a:pt x="103" y="98"/>
                  </a:lnTo>
                  <a:lnTo>
                    <a:pt x="104" y="98"/>
                  </a:lnTo>
                  <a:lnTo>
                    <a:pt x="106" y="97"/>
                  </a:lnTo>
                  <a:lnTo>
                    <a:pt x="107" y="97"/>
                  </a:lnTo>
                  <a:lnTo>
                    <a:pt x="108" y="95"/>
                  </a:lnTo>
                  <a:lnTo>
                    <a:pt x="109" y="94"/>
                  </a:lnTo>
                  <a:lnTo>
                    <a:pt x="108" y="93"/>
                  </a:lnTo>
                  <a:lnTo>
                    <a:pt x="106" y="93"/>
                  </a:lnTo>
                  <a:lnTo>
                    <a:pt x="106" y="91"/>
                  </a:lnTo>
                  <a:lnTo>
                    <a:pt x="104" y="87"/>
                  </a:lnTo>
                  <a:lnTo>
                    <a:pt x="106" y="88"/>
                  </a:lnTo>
                  <a:lnTo>
                    <a:pt x="106" y="87"/>
                  </a:lnTo>
                  <a:lnTo>
                    <a:pt x="107" y="87"/>
                  </a:lnTo>
                  <a:lnTo>
                    <a:pt x="108" y="87"/>
                  </a:lnTo>
                  <a:lnTo>
                    <a:pt x="109" y="88"/>
                  </a:lnTo>
                  <a:lnTo>
                    <a:pt x="110" y="87"/>
                  </a:lnTo>
                  <a:lnTo>
                    <a:pt x="112" y="88"/>
                  </a:lnTo>
                  <a:lnTo>
                    <a:pt x="113" y="88"/>
                  </a:lnTo>
                  <a:lnTo>
                    <a:pt x="113" y="89"/>
                  </a:lnTo>
                  <a:lnTo>
                    <a:pt x="113" y="92"/>
                  </a:lnTo>
                  <a:lnTo>
                    <a:pt x="114" y="92"/>
                  </a:lnTo>
                  <a:lnTo>
                    <a:pt x="115" y="91"/>
                  </a:lnTo>
                  <a:lnTo>
                    <a:pt x="115" y="93"/>
                  </a:lnTo>
                  <a:lnTo>
                    <a:pt x="115" y="94"/>
                  </a:lnTo>
                  <a:lnTo>
                    <a:pt x="116" y="92"/>
                  </a:lnTo>
                  <a:lnTo>
                    <a:pt x="116" y="93"/>
                  </a:lnTo>
                  <a:lnTo>
                    <a:pt x="119" y="93"/>
                  </a:lnTo>
                  <a:lnTo>
                    <a:pt x="120" y="91"/>
                  </a:lnTo>
                  <a:lnTo>
                    <a:pt x="118" y="92"/>
                  </a:lnTo>
                  <a:lnTo>
                    <a:pt x="118" y="91"/>
                  </a:lnTo>
                  <a:lnTo>
                    <a:pt x="118" y="89"/>
                  </a:lnTo>
                  <a:lnTo>
                    <a:pt x="119" y="89"/>
                  </a:lnTo>
                  <a:lnTo>
                    <a:pt x="119" y="87"/>
                  </a:lnTo>
                  <a:lnTo>
                    <a:pt x="120" y="87"/>
                  </a:lnTo>
                  <a:lnTo>
                    <a:pt x="121" y="87"/>
                  </a:lnTo>
                  <a:lnTo>
                    <a:pt x="121" y="88"/>
                  </a:lnTo>
                  <a:lnTo>
                    <a:pt x="122" y="87"/>
                  </a:lnTo>
                  <a:lnTo>
                    <a:pt x="124" y="86"/>
                  </a:lnTo>
                  <a:lnTo>
                    <a:pt x="124" y="81"/>
                  </a:lnTo>
                  <a:lnTo>
                    <a:pt x="125" y="83"/>
                  </a:lnTo>
                  <a:lnTo>
                    <a:pt x="125" y="85"/>
                  </a:lnTo>
                  <a:lnTo>
                    <a:pt x="126" y="85"/>
                  </a:lnTo>
                  <a:lnTo>
                    <a:pt x="126" y="87"/>
                  </a:lnTo>
                  <a:lnTo>
                    <a:pt x="125" y="88"/>
                  </a:lnTo>
                  <a:lnTo>
                    <a:pt x="125" y="91"/>
                  </a:lnTo>
                  <a:lnTo>
                    <a:pt x="127" y="92"/>
                  </a:lnTo>
                  <a:lnTo>
                    <a:pt x="127" y="91"/>
                  </a:lnTo>
                  <a:lnTo>
                    <a:pt x="130" y="92"/>
                  </a:lnTo>
                  <a:lnTo>
                    <a:pt x="130" y="95"/>
                  </a:lnTo>
                  <a:lnTo>
                    <a:pt x="132" y="93"/>
                  </a:lnTo>
                  <a:lnTo>
                    <a:pt x="133" y="94"/>
                  </a:lnTo>
                  <a:lnTo>
                    <a:pt x="135" y="94"/>
                  </a:lnTo>
                  <a:lnTo>
                    <a:pt x="135" y="95"/>
                  </a:lnTo>
                  <a:lnTo>
                    <a:pt x="136" y="97"/>
                  </a:lnTo>
                  <a:lnTo>
                    <a:pt x="137" y="98"/>
                  </a:lnTo>
                  <a:lnTo>
                    <a:pt x="138" y="100"/>
                  </a:lnTo>
                  <a:lnTo>
                    <a:pt x="138" y="101"/>
                  </a:lnTo>
                  <a:lnTo>
                    <a:pt x="135" y="98"/>
                  </a:lnTo>
                  <a:lnTo>
                    <a:pt x="130" y="97"/>
                  </a:lnTo>
                  <a:lnTo>
                    <a:pt x="128" y="94"/>
                  </a:lnTo>
                  <a:lnTo>
                    <a:pt x="128" y="97"/>
                  </a:lnTo>
                  <a:lnTo>
                    <a:pt x="130" y="98"/>
                  </a:lnTo>
                  <a:lnTo>
                    <a:pt x="131" y="101"/>
                  </a:lnTo>
                  <a:lnTo>
                    <a:pt x="132" y="101"/>
                  </a:lnTo>
                  <a:lnTo>
                    <a:pt x="135" y="103"/>
                  </a:lnTo>
                  <a:lnTo>
                    <a:pt x="132" y="104"/>
                  </a:lnTo>
                  <a:lnTo>
                    <a:pt x="133" y="109"/>
                  </a:lnTo>
                  <a:lnTo>
                    <a:pt x="135" y="111"/>
                  </a:lnTo>
                  <a:lnTo>
                    <a:pt x="137" y="111"/>
                  </a:lnTo>
                  <a:lnTo>
                    <a:pt x="137" y="113"/>
                  </a:lnTo>
                  <a:lnTo>
                    <a:pt x="138" y="113"/>
                  </a:lnTo>
                  <a:lnTo>
                    <a:pt x="139" y="113"/>
                  </a:lnTo>
                  <a:lnTo>
                    <a:pt x="139" y="117"/>
                  </a:lnTo>
                  <a:lnTo>
                    <a:pt x="141" y="118"/>
                  </a:lnTo>
                  <a:lnTo>
                    <a:pt x="142" y="118"/>
                  </a:lnTo>
                  <a:lnTo>
                    <a:pt x="143" y="116"/>
                  </a:lnTo>
                  <a:lnTo>
                    <a:pt x="144" y="115"/>
                  </a:lnTo>
                  <a:lnTo>
                    <a:pt x="145" y="115"/>
                  </a:lnTo>
                  <a:lnTo>
                    <a:pt x="148" y="113"/>
                  </a:lnTo>
                  <a:lnTo>
                    <a:pt x="145" y="112"/>
                  </a:lnTo>
                  <a:lnTo>
                    <a:pt x="143" y="113"/>
                  </a:lnTo>
                  <a:lnTo>
                    <a:pt x="141" y="112"/>
                  </a:lnTo>
                  <a:lnTo>
                    <a:pt x="141" y="111"/>
                  </a:lnTo>
                  <a:lnTo>
                    <a:pt x="142" y="111"/>
                  </a:lnTo>
                  <a:lnTo>
                    <a:pt x="143" y="109"/>
                  </a:lnTo>
                  <a:lnTo>
                    <a:pt x="144" y="109"/>
                  </a:lnTo>
                  <a:lnTo>
                    <a:pt x="145" y="107"/>
                  </a:lnTo>
                  <a:lnTo>
                    <a:pt x="147" y="107"/>
                  </a:lnTo>
                  <a:lnTo>
                    <a:pt x="148" y="106"/>
                  </a:lnTo>
                  <a:lnTo>
                    <a:pt x="148" y="105"/>
                  </a:lnTo>
                  <a:lnTo>
                    <a:pt x="147" y="103"/>
                  </a:lnTo>
                  <a:lnTo>
                    <a:pt x="143" y="105"/>
                  </a:lnTo>
                  <a:lnTo>
                    <a:pt x="142" y="106"/>
                  </a:lnTo>
                  <a:lnTo>
                    <a:pt x="142" y="105"/>
                  </a:lnTo>
                  <a:lnTo>
                    <a:pt x="141" y="104"/>
                  </a:lnTo>
                  <a:lnTo>
                    <a:pt x="141" y="103"/>
                  </a:lnTo>
                  <a:lnTo>
                    <a:pt x="141" y="100"/>
                  </a:lnTo>
                  <a:lnTo>
                    <a:pt x="141" y="99"/>
                  </a:lnTo>
                  <a:lnTo>
                    <a:pt x="138" y="94"/>
                  </a:lnTo>
                  <a:lnTo>
                    <a:pt x="141" y="97"/>
                  </a:lnTo>
                  <a:lnTo>
                    <a:pt x="143" y="95"/>
                  </a:lnTo>
                  <a:lnTo>
                    <a:pt x="144" y="95"/>
                  </a:lnTo>
                  <a:lnTo>
                    <a:pt x="147" y="97"/>
                  </a:lnTo>
                  <a:lnTo>
                    <a:pt x="148" y="93"/>
                  </a:lnTo>
                  <a:lnTo>
                    <a:pt x="147" y="92"/>
                  </a:lnTo>
                  <a:lnTo>
                    <a:pt x="145" y="93"/>
                  </a:lnTo>
                  <a:lnTo>
                    <a:pt x="143" y="93"/>
                  </a:lnTo>
                  <a:lnTo>
                    <a:pt x="143" y="91"/>
                  </a:lnTo>
                  <a:lnTo>
                    <a:pt x="142" y="89"/>
                  </a:lnTo>
                  <a:lnTo>
                    <a:pt x="145" y="89"/>
                  </a:lnTo>
                  <a:lnTo>
                    <a:pt x="148" y="89"/>
                  </a:lnTo>
                  <a:lnTo>
                    <a:pt x="149" y="89"/>
                  </a:lnTo>
                  <a:lnTo>
                    <a:pt x="149" y="88"/>
                  </a:lnTo>
                  <a:lnTo>
                    <a:pt x="150" y="88"/>
                  </a:lnTo>
                  <a:lnTo>
                    <a:pt x="150" y="87"/>
                  </a:lnTo>
                  <a:lnTo>
                    <a:pt x="153" y="89"/>
                  </a:lnTo>
                  <a:lnTo>
                    <a:pt x="153" y="91"/>
                  </a:lnTo>
                  <a:lnTo>
                    <a:pt x="154" y="91"/>
                  </a:lnTo>
                  <a:lnTo>
                    <a:pt x="154" y="92"/>
                  </a:lnTo>
                  <a:lnTo>
                    <a:pt x="156" y="94"/>
                  </a:lnTo>
                  <a:lnTo>
                    <a:pt x="157" y="95"/>
                  </a:lnTo>
                  <a:lnTo>
                    <a:pt x="159" y="97"/>
                  </a:lnTo>
                  <a:lnTo>
                    <a:pt x="159" y="99"/>
                  </a:lnTo>
                  <a:lnTo>
                    <a:pt x="160" y="101"/>
                  </a:lnTo>
                  <a:lnTo>
                    <a:pt x="160" y="103"/>
                  </a:lnTo>
                  <a:lnTo>
                    <a:pt x="161" y="101"/>
                  </a:lnTo>
                  <a:lnTo>
                    <a:pt x="162" y="103"/>
                  </a:lnTo>
                  <a:lnTo>
                    <a:pt x="163" y="101"/>
                  </a:lnTo>
                  <a:lnTo>
                    <a:pt x="165" y="101"/>
                  </a:lnTo>
                  <a:lnTo>
                    <a:pt x="166" y="99"/>
                  </a:lnTo>
                  <a:lnTo>
                    <a:pt x="167" y="100"/>
                  </a:lnTo>
                  <a:lnTo>
                    <a:pt x="169" y="103"/>
                  </a:lnTo>
                  <a:lnTo>
                    <a:pt x="171" y="104"/>
                  </a:lnTo>
                  <a:lnTo>
                    <a:pt x="173" y="105"/>
                  </a:lnTo>
                  <a:lnTo>
                    <a:pt x="173" y="107"/>
                  </a:lnTo>
                  <a:lnTo>
                    <a:pt x="175" y="107"/>
                  </a:lnTo>
                  <a:lnTo>
                    <a:pt x="177" y="106"/>
                  </a:lnTo>
                  <a:lnTo>
                    <a:pt x="175" y="106"/>
                  </a:lnTo>
                  <a:lnTo>
                    <a:pt x="175" y="104"/>
                  </a:lnTo>
                  <a:lnTo>
                    <a:pt x="177" y="103"/>
                  </a:lnTo>
                  <a:lnTo>
                    <a:pt x="178" y="103"/>
                  </a:lnTo>
                  <a:lnTo>
                    <a:pt x="178" y="101"/>
                  </a:lnTo>
                  <a:lnTo>
                    <a:pt x="179" y="100"/>
                  </a:lnTo>
                  <a:lnTo>
                    <a:pt x="181" y="100"/>
                  </a:lnTo>
                  <a:lnTo>
                    <a:pt x="183" y="101"/>
                  </a:lnTo>
                  <a:lnTo>
                    <a:pt x="184" y="101"/>
                  </a:lnTo>
                  <a:lnTo>
                    <a:pt x="185" y="101"/>
                  </a:lnTo>
                  <a:lnTo>
                    <a:pt x="185" y="103"/>
                  </a:lnTo>
                  <a:lnTo>
                    <a:pt x="185" y="105"/>
                  </a:lnTo>
                  <a:lnTo>
                    <a:pt x="186" y="104"/>
                  </a:lnTo>
                  <a:lnTo>
                    <a:pt x="187" y="103"/>
                  </a:lnTo>
                  <a:lnTo>
                    <a:pt x="189" y="101"/>
                  </a:lnTo>
                  <a:lnTo>
                    <a:pt x="191" y="104"/>
                  </a:lnTo>
                  <a:lnTo>
                    <a:pt x="191" y="101"/>
                  </a:lnTo>
                  <a:lnTo>
                    <a:pt x="189" y="101"/>
                  </a:lnTo>
                  <a:lnTo>
                    <a:pt x="187" y="100"/>
                  </a:lnTo>
                  <a:lnTo>
                    <a:pt x="187" y="97"/>
                  </a:lnTo>
                  <a:lnTo>
                    <a:pt x="189" y="98"/>
                  </a:lnTo>
                  <a:lnTo>
                    <a:pt x="190" y="98"/>
                  </a:lnTo>
                  <a:lnTo>
                    <a:pt x="191" y="97"/>
                  </a:lnTo>
                  <a:lnTo>
                    <a:pt x="192" y="95"/>
                  </a:lnTo>
                  <a:lnTo>
                    <a:pt x="194" y="95"/>
                  </a:lnTo>
                  <a:lnTo>
                    <a:pt x="195" y="97"/>
                  </a:lnTo>
                  <a:lnTo>
                    <a:pt x="196" y="98"/>
                  </a:lnTo>
                  <a:lnTo>
                    <a:pt x="197" y="97"/>
                  </a:lnTo>
                  <a:lnTo>
                    <a:pt x="198" y="97"/>
                  </a:lnTo>
                  <a:lnTo>
                    <a:pt x="197" y="95"/>
                  </a:lnTo>
                  <a:lnTo>
                    <a:pt x="197" y="94"/>
                  </a:lnTo>
                  <a:lnTo>
                    <a:pt x="198" y="93"/>
                  </a:lnTo>
                  <a:lnTo>
                    <a:pt x="200" y="92"/>
                  </a:lnTo>
                  <a:lnTo>
                    <a:pt x="201" y="91"/>
                  </a:lnTo>
                  <a:lnTo>
                    <a:pt x="202" y="89"/>
                  </a:lnTo>
                  <a:lnTo>
                    <a:pt x="198" y="91"/>
                  </a:lnTo>
                  <a:lnTo>
                    <a:pt x="196" y="92"/>
                  </a:lnTo>
                  <a:lnTo>
                    <a:pt x="196" y="91"/>
                  </a:lnTo>
                  <a:lnTo>
                    <a:pt x="197" y="88"/>
                  </a:lnTo>
                  <a:lnTo>
                    <a:pt x="198" y="86"/>
                  </a:lnTo>
                  <a:lnTo>
                    <a:pt x="200" y="86"/>
                  </a:lnTo>
                  <a:lnTo>
                    <a:pt x="201" y="85"/>
                  </a:lnTo>
                  <a:lnTo>
                    <a:pt x="201" y="83"/>
                  </a:lnTo>
                  <a:lnTo>
                    <a:pt x="202" y="82"/>
                  </a:lnTo>
                  <a:lnTo>
                    <a:pt x="207" y="83"/>
                  </a:lnTo>
                  <a:lnTo>
                    <a:pt x="208" y="82"/>
                  </a:lnTo>
                  <a:lnTo>
                    <a:pt x="210" y="82"/>
                  </a:lnTo>
                  <a:lnTo>
                    <a:pt x="208" y="77"/>
                  </a:lnTo>
                  <a:lnTo>
                    <a:pt x="208" y="79"/>
                  </a:lnTo>
                  <a:lnTo>
                    <a:pt x="207" y="80"/>
                  </a:lnTo>
                  <a:lnTo>
                    <a:pt x="207" y="77"/>
                  </a:lnTo>
                  <a:lnTo>
                    <a:pt x="204" y="76"/>
                  </a:lnTo>
                  <a:lnTo>
                    <a:pt x="201" y="77"/>
                  </a:lnTo>
                  <a:lnTo>
                    <a:pt x="197" y="77"/>
                  </a:lnTo>
                  <a:lnTo>
                    <a:pt x="197" y="76"/>
                  </a:lnTo>
                  <a:lnTo>
                    <a:pt x="198" y="75"/>
                  </a:lnTo>
                  <a:lnTo>
                    <a:pt x="201" y="75"/>
                  </a:lnTo>
                  <a:lnTo>
                    <a:pt x="203" y="74"/>
                  </a:lnTo>
                  <a:lnTo>
                    <a:pt x="204" y="75"/>
                  </a:lnTo>
                  <a:lnTo>
                    <a:pt x="207" y="76"/>
                  </a:lnTo>
                  <a:lnTo>
                    <a:pt x="208" y="76"/>
                  </a:lnTo>
                  <a:lnTo>
                    <a:pt x="206" y="69"/>
                  </a:lnTo>
                  <a:lnTo>
                    <a:pt x="203" y="65"/>
                  </a:lnTo>
                  <a:lnTo>
                    <a:pt x="203" y="67"/>
                  </a:lnTo>
                  <a:lnTo>
                    <a:pt x="201" y="67"/>
                  </a:lnTo>
                  <a:lnTo>
                    <a:pt x="200" y="68"/>
                  </a:lnTo>
                  <a:lnTo>
                    <a:pt x="200" y="65"/>
                  </a:lnTo>
                  <a:lnTo>
                    <a:pt x="201" y="63"/>
                  </a:lnTo>
                  <a:lnTo>
                    <a:pt x="201" y="64"/>
                  </a:lnTo>
                  <a:lnTo>
                    <a:pt x="202" y="62"/>
                  </a:lnTo>
                  <a:lnTo>
                    <a:pt x="200" y="62"/>
                  </a:lnTo>
                  <a:lnTo>
                    <a:pt x="197" y="63"/>
                  </a:lnTo>
                  <a:lnTo>
                    <a:pt x="195" y="65"/>
                  </a:lnTo>
                  <a:lnTo>
                    <a:pt x="196" y="62"/>
                  </a:lnTo>
                  <a:lnTo>
                    <a:pt x="196" y="61"/>
                  </a:lnTo>
                  <a:lnTo>
                    <a:pt x="197" y="59"/>
                  </a:lnTo>
                  <a:lnTo>
                    <a:pt x="200" y="61"/>
                  </a:lnTo>
                  <a:lnTo>
                    <a:pt x="201" y="62"/>
                  </a:lnTo>
                  <a:lnTo>
                    <a:pt x="198" y="57"/>
                  </a:lnTo>
                  <a:lnTo>
                    <a:pt x="195" y="57"/>
                  </a:lnTo>
                  <a:lnTo>
                    <a:pt x="192" y="59"/>
                  </a:lnTo>
                  <a:lnTo>
                    <a:pt x="192" y="62"/>
                  </a:lnTo>
                  <a:lnTo>
                    <a:pt x="190" y="62"/>
                  </a:lnTo>
                  <a:lnTo>
                    <a:pt x="190" y="61"/>
                  </a:lnTo>
                  <a:lnTo>
                    <a:pt x="189" y="59"/>
                  </a:lnTo>
                  <a:lnTo>
                    <a:pt x="189" y="57"/>
                  </a:lnTo>
                  <a:lnTo>
                    <a:pt x="190" y="56"/>
                  </a:lnTo>
                  <a:lnTo>
                    <a:pt x="192" y="57"/>
                  </a:lnTo>
                  <a:lnTo>
                    <a:pt x="196" y="56"/>
                  </a:lnTo>
                  <a:lnTo>
                    <a:pt x="197" y="56"/>
                  </a:lnTo>
                  <a:lnTo>
                    <a:pt x="195" y="56"/>
                  </a:lnTo>
                  <a:lnTo>
                    <a:pt x="192" y="56"/>
                  </a:lnTo>
                  <a:lnTo>
                    <a:pt x="194" y="55"/>
                  </a:lnTo>
                  <a:lnTo>
                    <a:pt x="195" y="53"/>
                  </a:lnTo>
                  <a:lnTo>
                    <a:pt x="194" y="53"/>
                  </a:lnTo>
                  <a:lnTo>
                    <a:pt x="192" y="53"/>
                  </a:lnTo>
                  <a:lnTo>
                    <a:pt x="191" y="55"/>
                  </a:lnTo>
                  <a:lnTo>
                    <a:pt x="190" y="53"/>
                  </a:lnTo>
                  <a:lnTo>
                    <a:pt x="192" y="52"/>
                  </a:lnTo>
                  <a:lnTo>
                    <a:pt x="195" y="52"/>
                  </a:lnTo>
                  <a:lnTo>
                    <a:pt x="194" y="51"/>
                  </a:lnTo>
                  <a:lnTo>
                    <a:pt x="191" y="51"/>
                  </a:lnTo>
                  <a:lnTo>
                    <a:pt x="189" y="52"/>
                  </a:lnTo>
                  <a:lnTo>
                    <a:pt x="187" y="50"/>
                  </a:lnTo>
                  <a:lnTo>
                    <a:pt x="190" y="49"/>
                  </a:lnTo>
                  <a:lnTo>
                    <a:pt x="191" y="51"/>
                  </a:lnTo>
                  <a:lnTo>
                    <a:pt x="194" y="50"/>
                  </a:lnTo>
                  <a:lnTo>
                    <a:pt x="191" y="49"/>
                  </a:lnTo>
                  <a:lnTo>
                    <a:pt x="189" y="47"/>
                  </a:lnTo>
                  <a:lnTo>
                    <a:pt x="187" y="47"/>
                  </a:lnTo>
                  <a:lnTo>
                    <a:pt x="184" y="46"/>
                  </a:lnTo>
                  <a:lnTo>
                    <a:pt x="186" y="45"/>
                  </a:lnTo>
                  <a:lnTo>
                    <a:pt x="189" y="46"/>
                  </a:lnTo>
                  <a:lnTo>
                    <a:pt x="191" y="47"/>
                  </a:lnTo>
                  <a:lnTo>
                    <a:pt x="194" y="50"/>
                  </a:lnTo>
                  <a:lnTo>
                    <a:pt x="195" y="50"/>
                  </a:lnTo>
                  <a:lnTo>
                    <a:pt x="196" y="49"/>
                  </a:lnTo>
                  <a:lnTo>
                    <a:pt x="195" y="46"/>
                  </a:lnTo>
                  <a:lnTo>
                    <a:pt x="192" y="45"/>
                  </a:lnTo>
                  <a:lnTo>
                    <a:pt x="190" y="45"/>
                  </a:lnTo>
                  <a:lnTo>
                    <a:pt x="187" y="44"/>
                  </a:lnTo>
                  <a:lnTo>
                    <a:pt x="194" y="44"/>
                  </a:lnTo>
                  <a:lnTo>
                    <a:pt x="195" y="45"/>
                  </a:lnTo>
                  <a:lnTo>
                    <a:pt x="196" y="46"/>
                  </a:lnTo>
                  <a:lnTo>
                    <a:pt x="197" y="45"/>
                  </a:lnTo>
                  <a:lnTo>
                    <a:pt x="198" y="45"/>
                  </a:lnTo>
                  <a:lnTo>
                    <a:pt x="198" y="43"/>
                  </a:lnTo>
                  <a:lnTo>
                    <a:pt x="201" y="41"/>
                  </a:lnTo>
                  <a:lnTo>
                    <a:pt x="202" y="41"/>
                  </a:lnTo>
                  <a:lnTo>
                    <a:pt x="204" y="41"/>
                  </a:lnTo>
                  <a:lnTo>
                    <a:pt x="206" y="40"/>
                  </a:lnTo>
                  <a:lnTo>
                    <a:pt x="204" y="44"/>
                  </a:lnTo>
                  <a:lnTo>
                    <a:pt x="201" y="45"/>
                  </a:lnTo>
                  <a:lnTo>
                    <a:pt x="198" y="46"/>
                  </a:lnTo>
                  <a:lnTo>
                    <a:pt x="198" y="47"/>
                  </a:lnTo>
                  <a:lnTo>
                    <a:pt x="198" y="49"/>
                  </a:lnTo>
                  <a:lnTo>
                    <a:pt x="200" y="50"/>
                  </a:lnTo>
                  <a:lnTo>
                    <a:pt x="200" y="51"/>
                  </a:lnTo>
                  <a:lnTo>
                    <a:pt x="198" y="55"/>
                  </a:lnTo>
                  <a:lnTo>
                    <a:pt x="200" y="53"/>
                  </a:lnTo>
                  <a:lnTo>
                    <a:pt x="201" y="55"/>
                  </a:lnTo>
                  <a:lnTo>
                    <a:pt x="201" y="57"/>
                  </a:lnTo>
                  <a:lnTo>
                    <a:pt x="203" y="64"/>
                  </a:lnTo>
                  <a:lnTo>
                    <a:pt x="208" y="75"/>
                  </a:lnTo>
                  <a:lnTo>
                    <a:pt x="210" y="74"/>
                  </a:lnTo>
                  <a:lnTo>
                    <a:pt x="212" y="74"/>
                  </a:lnTo>
                  <a:lnTo>
                    <a:pt x="212" y="71"/>
                  </a:lnTo>
                  <a:lnTo>
                    <a:pt x="212" y="70"/>
                  </a:lnTo>
                  <a:lnTo>
                    <a:pt x="212" y="69"/>
                  </a:lnTo>
                  <a:lnTo>
                    <a:pt x="213" y="69"/>
                  </a:lnTo>
                  <a:lnTo>
                    <a:pt x="214" y="70"/>
                  </a:lnTo>
                  <a:lnTo>
                    <a:pt x="215" y="70"/>
                  </a:lnTo>
                  <a:lnTo>
                    <a:pt x="214" y="68"/>
                  </a:lnTo>
                  <a:lnTo>
                    <a:pt x="216" y="68"/>
                  </a:lnTo>
                  <a:lnTo>
                    <a:pt x="218" y="68"/>
                  </a:lnTo>
                  <a:lnTo>
                    <a:pt x="219" y="67"/>
                  </a:lnTo>
                  <a:lnTo>
                    <a:pt x="221" y="65"/>
                  </a:lnTo>
                  <a:lnTo>
                    <a:pt x="222" y="67"/>
                  </a:lnTo>
                  <a:lnTo>
                    <a:pt x="224" y="68"/>
                  </a:lnTo>
                  <a:lnTo>
                    <a:pt x="222" y="68"/>
                  </a:lnTo>
                  <a:lnTo>
                    <a:pt x="224" y="69"/>
                  </a:lnTo>
                  <a:lnTo>
                    <a:pt x="225" y="69"/>
                  </a:lnTo>
                  <a:lnTo>
                    <a:pt x="225" y="70"/>
                  </a:lnTo>
                  <a:lnTo>
                    <a:pt x="226" y="71"/>
                  </a:lnTo>
                  <a:lnTo>
                    <a:pt x="226" y="73"/>
                  </a:lnTo>
                  <a:lnTo>
                    <a:pt x="227" y="73"/>
                  </a:lnTo>
                  <a:lnTo>
                    <a:pt x="227" y="74"/>
                  </a:lnTo>
                  <a:lnTo>
                    <a:pt x="222" y="73"/>
                  </a:lnTo>
                  <a:lnTo>
                    <a:pt x="219" y="71"/>
                  </a:lnTo>
                  <a:lnTo>
                    <a:pt x="218" y="73"/>
                  </a:lnTo>
                  <a:lnTo>
                    <a:pt x="219" y="74"/>
                  </a:lnTo>
                  <a:lnTo>
                    <a:pt x="218" y="75"/>
                  </a:lnTo>
                  <a:lnTo>
                    <a:pt x="219" y="77"/>
                  </a:lnTo>
                  <a:lnTo>
                    <a:pt x="219" y="79"/>
                  </a:lnTo>
                  <a:lnTo>
                    <a:pt x="220" y="77"/>
                  </a:lnTo>
                  <a:lnTo>
                    <a:pt x="221" y="77"/>
                  </a:lnTo>
                  <a:lnTo>
                    <a:pt x="222" y="77"/>
                  </a:lnTo>
                  <a:lnTo>
                    <a:pt x="222" y="79"/>
                  </a:lnTo>
                  <a:lnTo>
                    <a:pt x="224" y="79"/>
                  </a:lnTo>
                  <a:lnTo>
                    <a:pt x="226" y="79"/>
                  </a:lnTo>
                  <a:lnTo>
                    <a:pt x="227" y="79"/>
                  </a:lnTo>
                  <a:lnTo>
                    <a:pt x="227" y="80"/>
                  </a:lnTo>
                  <a:lnTo>
                    <a:pt x="231" y="81"/>
                  </a:lnTo>
                  <a:lnTo>
                    <a:pt x="227" y="81"/>
                  </a:lnTo>
                  <a:lnTo>
                    <a:pt x="227" y="82"/>
                  </a:lnTo>
                  <a:lnTo>
                    <a:pt x="226" y="83"/>
                  </a:lnTo>
                  <a:lnTo>
                    <a:pt x="227" y="87"/>
                  </a:lnTo>
                  <a:lnTo>
                    <a:pt x="227" y="88"/>
                  </a:lnTo>
                  <a:lnTo>
                    <a:pt x="226" y="89"/>
                  </a:lnTo>
                  <a:lnTo>
                    <a:pt x="225" y="88"/>
                  </a:lnTo>
                  <a:lnTo>
                    <a:pt x="225" y="87"/>
                  </a:lnTo>
                  <a:lnTo>
                    <a:pt x="225" y="86"/>
                  </a:lnTo>
                  <a:lnTo>
                    <a:pt x="222" y="86"/>
                  </a:lnTo>
                  <a:lnTo>
                    <a:pt x="220" y="86"/>
                  </a:lnTo>
                  <a:lnTo>
                    <a:pt x="218" y="85"/>
                  </a:lnTo>
                  <a:lnTo>
                    <a:pt x="216" y="85"/>
                  </a:lnTo>
                  <a:lnTo>
                    <a:pt x="213" y="86"/>
                  </a:lnTo>
                  <a:lnTo>
                    <a:pt x="214" y="91"/>
                  </a:lnTo>
                  <a:lnTo>
                    <a:pt x="215" y="91"/>
                  </a:lnTo>
                  <a:lnTo>
                    <a:pt x="216" y="89"/>
                  </a:lnTo>
                  <a:lnTo>
                    <a:pt x="219" y="88"/>
                  </a:lnTo>
                  <a:lnTo>
                    <a:pt x="221" y="89"/>
                  </a:lnTo>
                  <a:lnTo>
                    <a:pt x="221" y="91"/>
                  </a:lnTo>
                  <a:lnTo>
                    <a:pt x="222" y="91"/>
                  </a:lnTo>
                  <a:lnTo>
                    <a:pt x="224" y="91"/>
                  </a:lnTo>
                  <a:lnTo>
                    <a:pt x="225" y="91"/>
                  </a:lnTo>
                  <a:lnTo>
                    <a:pt x="226" y="92"/>
                  </a:lnTo>
                  <a:lnTo>
                    <a:pt x="228" y="92"/>
                  </a:lnTo>
                  <a:lnTo>
                    <a:pt x="230" y="94"/>
                  </a:lnTo>
                  <a:lnTo>
                    <a:pt x="228" y="94"/>
                  </a:lnTo>
                  <a:lnTo>
                    <a:pt x="231" y="94"/>
                  </a:lnTo>
                  <a:lnTo>
                    <a:pt x="232" y="93"/>
                  </a:lnTo>
                  <a:lnTo>
                    <a:pt x="233" y="92"/>
                  </a:lnTo>
                  <a:lnTo>
                    <a:pt x="233" y="93"/>
                  </a:lnTo>
                  <a:lnTo>
                    <a:pt x="234" y="93"/>
                  </a:lnTo>
                  <a:lnTo>
                    <a:pt x="236" y="93"/>
                  </a:lnTo>
                  <a:lnTo>
                    <a:pt x="236" y="94"/>
                  </a:lnTo>
                  <a:lnTo>
                    <a:pt x="238" y="94"/>
                  </a:lnTo>
                  <a:lnTo>
                    <a:pt x="238" y="93"/>
                  </a:lnTo>
                  <a:lnTo>
                    <a:pt x="239" y="93"/>
                  </a:lnTo>
                  <a:lnTo>
                    <a:pt x="239" y="91"/>
                  </a:lnTo>
                  <a:lnTo>
                    <a:pt x="243" y="88"/>
                  </a:lnTo>
                  <a:lnTo>
                    <a:pt x="243" y="87"/>
                  </a:lnTo>
                  <a:lnTo>
                    <a:pt x="244" y="87"/>
                  </a:lnTo>
                  <a:lnTo>
                    <a:pt x="245" y="86"/>
                  </a:lnTo>
                  <a:lnTo>
                    <a:pt x="246" y="83"/>
                  </a:lnTo>
                  <a:lnTo>
                    <a:pt x="244" y="81"/>
                  </a:lnTo>
                  <a:lnTo>
                    <a:pt x="242" y="76"/>
                  </a:lnTo>
                  <a:lnTo>
                    <a:pt x="243" y="76"/>
                  </a:lnTo>
                  <a:lnTo>
                    <a:pt x="244" y="79"/>
                  </a:lnTo>
                  <a:lnTo>
                    <a:pt x="244" y="77"/>
                  </a:lnTo>
                  <a:lnTo>
                    <a:pt x="245" y="76"/>
                  </a:lnTo>
                  <a:lnTo>
                    <a:pt x="246" y="76"/>
                  </a:lnTo>
                  <a:lnTo>
                    <a:pt x="248" y="76"/>
                  </a:lnTo>
                  <a:lnTo>
                    <a:pt x="248" y="77"/>
                  </a:lnTo>
                  <a:lnTo>
                    <a:pt x="246" y="79"/>
                  </a:lnTo>
                  <a:lnTo>
                    <a:pt x="245" y="80"/>
                  </a:lnTo>
                  <a:lnTo>
                    <a:pt x="245" y="81"/>
                  </a:lnTo>
                  <a:lnTo>
                    <a:pt x="248" y="80"/>
                  </a:lnTo>
                  <a:lnTo>
                    <a:pt x="249" y="79"/>
                  </a:lnTo>
                  <a:lnTo>
                    <a:pt x="249" y="81"/>
                  </a:lnTo>
                  <a:lnTo>
                    <a:pt x="246" y="82"/>
                  </a:lnTo>
                  <a:lnTo>
                    <a:pt x="248" y="85"/>
                  </a:lnTo>
                  <a:lnTo>
                    <a:pt x="250" y="85"/>
                  </a:lnTo>
                  <a:lnTo>
                    <a:pt x="253" y="85"/>
                  </a:lnTo>
                  <a:lnTo>
                    <a:pt x="250" y="83"/>
                  </a:lnTo>
                  <a:lnTo>
                    <a:pt x="251" y="82"/>
                  </a:lnTo>
                  <a:lnTo>
                    <a:pt x="254" y="82"/>
                  </a:lnTo>
                  <a:lnTo>
                    <a:pt x="254" y="85"/>
                  </a:lnTo>
                  <a:lnTo>
                    <a:pt x="255" y="86"/>
                  </a:lnTo>
                  <a:lnTo>
                    <a:pt x="256" y="85"/>
                  </a:lnTo>
                  <a:lnTo>
                    <a:pt x="256" y="82"/>
                  </a:lnTo>
                  <a:lnTo>
                    <a:pt x="255" y="81"/>
                  </a:lnTo>
                  <a:lnTo>
                    <a:pt x="254" y="80"/>
                  </a:lnTo>
                  <a:lnTo>
                    <a:pt x="255" y="81"/>
                  </a:lnTo>
                  <a:lnTo>
                    <a:pt x="255" y="80"/>
                  </a:lnTo>
                  <a:lnTo>
                    <a:pt x="255" y="79"/>
                  </a:lnTo>
                  <a:lnTo>
                    <a:pt x="256" y="77"/>
                  </a:lnTo>
                  <a:lnTo>
                    <a:pt x="257" y="76"/>
                  </a:lnTo>
                  <a:lnTo>
                    <a:pt x="257" y="75"/>
                  </a:lnTo>
                  <a:lnTo>
                    <a:pt x="257" y="74"/>
                  </a:lnTo>
                  <a:lnTo>
                    <a:pt x="260" y="74"/>
                  </a:lnTo>
                  <a:lnTo>
                    <a:pt x="261" y="76"/>
                  </a:lnTo>
                  <a:lnTo>
                    <a:pt x="262" y="76"/>
                  </a:lnTo>
                  <a:lnTo>
                    <a:pt x="263" y="76"/>
                  </a:lnTo>
                  <a:lnTo>
                    <a:pt x="262" y="74"/>
                  </a:lnTo>
                  <a:lnTo>
                    <a:pt x="263" y="73"/>
                  </a:lnTo>
                  <a:lnTo>
                    <a:pt x="263" y="77"/>
                  </a:lnTo>
                  <a:lnTo>
                    <a:pt x="265" y="77"/>
                  </a:lnTo>
                  <a:lnTo>
                    <a:pt x="267" y="79"/>
                  </a:lnTo>
                  <a:lnTo>
                    <a:pt x="268" y="79"/>
                  </a:lnTo>
                  <a:lnTo>
                    <a:pt x="267" y="76"/>
                  </a:lnTo>
                  <a:lnTo>
                    <a:pt x="266" y="75"/>
                  </a:lnTo>
                  <a:lnTo>
                    <a:pt x="267" y="74"/>
                  </a:lnTo>
                  <a:lnTo>
                    <a:pt x="267" y="73"/>
                  </a:lnTo>
                  <a:lnTo>
                    <a:pt x="267" y="71"/>
                  </a:lnTo>
                  <a:lnTo>
                    <a:pt x="267" y="70"/>
                  </a:lnTo>
                  <a:lnTo>
                    <a:pt x="268" y="69"/>
                  </a:lnTo>
                  <a:lnTo>
                    <a:pt x="268" y="68"/>
                  </a:lnTo>
                  <a:lnTo>
                    <a:pt x="269" y="68"/>
                  </a:lnTo>
                  <a:lnTo>
                    <a:pt x="271" y="67"/>
                  </a:lnTo>
                  <a:lnTo>
                    <a:pt x="272" y="68"/>
                  </a:lnTo>
                  <a:lnTo>
                    <a:pt x="272" y="70"/>
                  </a:lnTo>
                  <a:lnTo>
                    <a:pt x="273" y="73"/>
                  </a:lnTo>
                  <a:lnTo>
                    <a:pt x="272" y="74"/>
                  </a:lnTo>
                  <a:lnTo>
                    <a:pt x="273" y="77"/>
                  </a:lnTo>
                  <a:lnTo>
                    <a:pt x="273" y="79"/>
                  </a:lnTo>
                  <a:lnTo>
                    <a:pt x="272" y="79"/>
                  </a:lnTo>
                  <a:lnTo>
                    <a:pt x="271" y="79"/>
                  </a:lnTo>
                  <a:lnTo>
                    <a:pt x="271" y="80"/>
                  </a:lnTo>
                  <a:lnTo>
                    <a:pt x="272" y="80"/>
                  </a:lnTo>
                  <a:lnTo>
                    <a:pt x="273" y="81"/>
                  </a:lnTo>
                  <a:lnTo>
                    <a:pt x="274" y="82"/>
                  </a:lnTo>
                  <a:lnTo>
                    <a:pt x="274" y="83"/>
                  </a:lnTo>
                  <a:lnTo>
                    <a:pt x="275" y="83"/>
                  </a:lnTo>
                  <a:lnTo>
                    <a:pt x="277" y="82"/>
                  </a:lnTo>
                  <a:lnTo>
                    <a:pt x="278" y="83"/>
                  </a:lnTo>
                  <a:lnTo>
                    <a:pt x="279" y="83"/>
                  </a:lnTo>
                  <a:lnTo>
                    <a:pt x="279" y="86"/>
                  </a:lnTo>
                  <a:lnTo>
                    <a:pt x="280" y="86"/>
                  </a:lnTo>
                  <a:lnTo>
                    <a:pt x="281" y="87"/>
                  </a:lnTo>
                  <a:lnTo>
                    <a:pt x="283" y="88"/>
                  </a:lnTo>
                  <a:lnTo>
                    <a:pt x="283" y="89"/>
                  </a:lnTo>
                  <a:lnTo>
                    <a:pt x="284" y="91"/>
                  </a:lnTo>
                  <a:lnTo>
                    <a:pt x="285" y="91"/>
                  </a:lnTo>
                  <a:lnTo>
                    <a:pt x="286" y="92"/>
                  </a:lnTo>
                  <a:lnTo>
                    <a:pt x="287" y="91"/>
                  </a:lnTo>
                  <a:lnTo>
                    <a:pt x="287" y="87"/>
                  </a:lnTo>
                  <a:lnTo>
                    <a:pt x="287" y="85"/>
                  </a:lnTo>
                  <a:lnTo>
                    <a:pt x="287" y="83"/>
                  </a:lnTo>
                  <a:lnTo>
                    <a:pt x="287" y="82"/>
                  </a:lnTo>
                  <a:lnTo>
                    <a:pt x="289" y="82"/>
                  </a:lnTo>
                  <a:lnTo>
                    <a:pt x="289" y="81"/>
                  </a:lnTo>
                  <a:lnTo>
                    <a:pt x="287" y="81"/>
                  </a:lnTo>
                  <a:lnTo>
                    <a:pt x="287" y="79"/>
                  </a:lnTo>
                  <a:lnTo>
                    <a:pt x="287" y="76"/>
                  </a:lnTo>
                  <a:lnTo>
                    <a:pt x="289" y="77"/>
                  </a:lnTo>
                  <a:lnTo>
                    <a:pt x="290" y="77"/>
                  </a:lnTo>
                  <a:lnTo>
                    <a:pt x="290" y="79"/>
                  </a:lnTo>
                  <a:lnTo>
                    <a:pt x="290" y="82"/>
                  </a:lnTo>
                  <a:lnTo>
                    <a:pt x="289" y="82"/>
                  </a:lnTo>
                  <a:lnTo>
                    <a:pt x="291" y="82"/>
                  </a:lnTo>
                  <a:lnTo>
                    <a:pt x="290" y="83"/>
                  </a:lnTo>
                  <a:lnTo>
                    <a:pt x="289" y="87"/>
                  </a:lnTo>
                  <a:lnTo>
                    <a:pt x="287" y="92"/>
                  </a:lnTo>
                  <a:lnTo>
                    <a:pt x="287" y="93"/>
                  </a:lnTo>
                  <a:lnTo>
                    <a:pt x="289" y="92"/>
                  </a:lnTo>
                  <a:lnTo>
                    <a:pt x="291" y="91"/>
                  </a:lnTo>
                  <a:lnTo>
                    <a:pt x="291" y="92"/>
                  </a:lnTo>
                  <a:lnTo>
                    <a:pt x="292" y="92"/>
                  </a:lnTo>
                  <a:lnTo>
                    <a:pt x="293" y="92"/>
                  </a:lnTo>
                  <a:lnTo>
                    <a:pt x="295" y="89"/>
                  </a:lnTo>
                  <a:lnTo>
                    <a:pt x="296" y="88"/>
                  </a:lnTo>
                  <a:lnTo>
                    <a:pt x="297" y="89"/>
                  </a:lnTo>
                  <a:lnTo>
                    <a:pt x="298" y="89"/>
                  </a:lnTo>
                  <a:lnTo>
                    <a:pt x="299" y="89"/>
                  </a:lnTo>
                  <a:lnTo>
                    <a:pt x="302" y="89"/>
                  </a:lnTo>
                  <a:lnTo>
                    <a:pt x="303" y="89"/>
                  </a:lnTo>
                  <a:lnTo>
                    <a:pt x="299" y="92"/>
                  </a:lnTo>
                  <a:lnTo>
                    <a:pt x="296" y="92"/>
                  </a:lnTo>
                  <a:lnTo>
                    <a:pt x="293" y="94"/>
                  </a:lnTo>
                  <a:lnTo>
                    <a:pt x="291" y="97"/>
                  </a:lnTo>
                  <a:lnTo>
                    <a:pt x="287" y="98"/>
                  </a:lnTo>
                  <a:lnTo>
                    <a:pt x="286" y="100"/>
                  </a:lnTo>
                  <a:lnTo>
                    <a:pt x="285" y="101"/>
                  </a:lnTo>
                  <a:lnTo>
                    <a:pt x="286" y="100"/>
                  </a:lnTo>
                  <a:lnTo>
                    <a:pt x="289" y="99"/>
                  </a:lnTo>
                  <a:lnTo>
                    <a:pt x="292" y="97"/>
                  </a:lnTo>
                  <a:lnTo>
                    <a:pt x="290" y="101"/>
                  </a:lnTo>
                  <a:lnTo>
                    <a:pt x="289" y="103"/>
                  </a:lnTo>
                  <a:lnTo>
                    <a:pt x="291" y="104"/>
                  </a:lnTo>
                  <a:lnTo>
                    <a:pt x="293" y="105"/>
                  </a:lnTo>
                  <a:lnTo>
                    <a:pt x="295" y="104"/>
                  </a:lnTo>
                  <a:lnTo>
                    <a:pt x="298" y="104"/>
                  </a:lnTo>
                  <a:lnTo>
                    <a:pt x="299" y="105"/>
                  </a:lnTo>
                  <a:lnTo>
                    <a:pt x="299" y="106"/>
                  </a:lnTo>
                  <a:lnTo>
                    <a:pt x="301" y="107"/>
                  </a:lnTo>
                  <a:lnTo>
                    <a:pt x="301" y="110"/>
                  </a:lnTo>
                  <a:lnTo>
                    <a:pt x="301" y="111"/>
                  </a:lnTo>
                  <a:lnTo>
                    <a:pt x="301" y="112"/>
                  </a:lnTo>
                  <a:lnTo>
                    <a:pt x="301" y="113"/>
                  </a:lnTo>
                  <a:lnTo>
                    <a:pt x="302" y="115"/>
                  </a:lnTo>
                  <a:lnTo>
                    <a:pt x="303" y="112"/>
                  </a:lnTo>
                  <a:lnTo>
                    <a:pt x="303" y="111"/>
                  </a:lnTo>
                  <a:lnTo>
                    <a:pt x="305" y="109"/>
                  </a:lnTo>
                  <a:lnTo>
                    <a:pt x="305" y="112"/>
                  </a:lnTo>
                  <a:lnTo>
                    <a:pt x="307" y="115"/>
                  </a:lnTo>
                  <a:lnTo>
                    <a:pt x="308" y="112"/>
                  </a:lnTo>
                  <a:lnTo>
                    <a:pt x="308" y="115"/>
                  </a:lnTo>
                  <a:lnTo>
                    <a:pt x="309" y="116"/>
                  </a:lnTo>
                  <a:lnTo>
                    <a:pt x="311" y="115"/>
                  </a:lnTo>
                  <a:lnTo>
                    <a:pt x="311" y="117"/>
                  </a:lnTo>
                  <a:lnTo>
                    <a:pt x="313" y="116"/>
                  </a:lnTo>
                  <a:lnTo>
                    <a:pt x="314" y="116"/>
                  </a:lnTo>
                  <a:lnTo>
                    <a:pt x="316" y="117"/>
                  </a:lnTo>
                  <a:lnTo>
                    <a:pt x="313" y="118"/>
                  </a:lnTo>
                  <a:lnTo>
                    <a:pt x="308" y="118"/>
                  </a:lnTo>
                  <a:lnTo>
                    <a:pt x="309" y="119"/>
                  </a:lnTo>
                  <a:lnTo>
                    <a:pt x="310" y="119"/>
                  </a:lnTo>
                  <a:lnTo>
                    <a:pt x="311" y="121"/>
                  </a:lnTo>
                  <a:lnTo>
                    <a:pt x="313" y="119"/>
                  </a:lnTo>
                  <a:lnTo>
                    <a:pt x="314" y="119"/>
                  </a:lnTo>
                  <a:lnTo>
                    <a:pt x="316" y="121"/>
                  </a:lnTo>
                  <a:lnTo>
                    <a:pt x="319" y="121"/>
                  </a:lnTo>
                  <a:lnTo>
                    <a:pt x="319" y="122"/>
                  </a:lnTo>
                  <a:lnTo>
                    <a:pt x="321" y="122"/>
                  </a:lnTo>
                  <a:lnTo>
                    <a:pt x="321" y="121"/>
                  </a:lnTo>
                  <a:lnTo>
                    <a:pt x="322" y="119"/>
                  </a:lnTo>
                  <a:lnTo>
                    <a:pt x="322" y="117"/>
                  </a:lnTo>
                  <a:lnTo>
                    <a:pt x="325" y="116"/>
                  </a:lnTo>
                  <a:lnTo>
                    <a:pt x="324" y="118"/>
                  </a:lnTo>
                  <a:lnTo>
                    <a:pt x="325" y="118"/>
                  </a:lnTo>
                  <a:lnTo>
                    <a:pt x="326" y="118"/>
                  </a:lnTo>
                  <a:lnTo>
                    <a:pt x="327" y="117"/>
                  </a:lnTo>
                  <a:lnTo>
                    <a:pt x="326" y="117"/>
                  </a:lnTo>
                  <a:lnTo>
                    <a:pt x="326" y="116"/>
                  </a:lnTo>
                  <a:lnTo>
                    <a:pt x="326" y="115"/>
                  </a:lnTo>
                  <a:lnTo>
                    <a:pt x="325" y="112"/>
                  </a:lnTo>
                  <a:lnTo>
                    <a:pt x="322" y="113"/>
                  </a:lnTo>
                  <a:lnTo>
                    <a:pt x="320" y="115"/>
                  </a:lnTo>
                  <a:lnTo>
                    <a:pt x="320" y="112"/>
                  </a:lnTo>
                  <a:lnTo>
                    <a:pt x="322" y="110"/>
                  </a:lnTo>
                  <a:lnTo>
                    <a:pt x="324" y="110"/>
                  </a:lnTo>
                  <a:lnTo>
                    <a:pt x="326" y="111"/>
                  </a:lnTo>
                  <a:lnTo>
                    <a:pt x="326" y="112"/>
                  </a:lnTo>
                  <a:lnTo>
                    <a:pt x="328" y="111"/>
                  </a:lnTo>
                  <a:lnTo>
                    <a:pt x="330" y="111"/>
                  </a:lnTo>
                  <a:lnTo>
                    <a:pt x="331" y="111"/>
                  </a:lnTo>
                  <a:lnTo>
                    <a:pt x="332" y="109"/>
                  </a:lnTo>
                  <a:lnTo>
                    <a:pt x="333" y="107"/>
                  </a:lnTo>
                  <a:lnTo>
                    <a:pt x="334" y="107"/>
                  </a:lnTo>
                  <a:lnTo>
                    <a:pt x="336" y="107"/>
                  </a:lnTo>
                  <a:lnTo>
                    <a:pt x="336" y="106"/>
                  </a:lnTo>
                  <a:lnTo>
                    <a:pt x="334" y="105"/>
                  </a:lnTo>
                  <a:lnTo>
                    <a:pt x="333" y="107"/>
                  </a:lnTo>
                  <a:lnTo>
                    <a:pt x="333" y="105"/>
                  </a:lnTo>
                  <a:lnTo>
                    <a:pt x="333" y="104"/>
                  </a:lnTo>
                  <a:lnTo>
                    <a:pt x="332" y="106"/>
                  </a:lnTo>
                  <a:lnTo>
                    <a:pt x="331" y="109"/>
                  </a:lnTo>
                  <a:lnTo>
                    <a:pt x="330" y="109"/>
                  </a:lnTo>
                  <a:lnTo>
                    <a:pt x="328" y="109"/>
                  </a:lnTo>
                  <a:lnTo>
                    <a:pt x="328" y="106"/>
                  </a:lnTo>
                  <a:lnTo>
                    <a:pt x="328" y="105"/>
                  </a:lnTo>
                  <a:lnTo>
                    <a:pt x="331" y="103"/>
                  </a:lnTo>
                  <a:lnTo>
                    <a:pt x="332" y="101"/>
                  </a:lnTo>
                  <a:lnTo>
                    <a:pt x="332" y="100"/>
                  </a:lnTo>
                  <a:lnTo>
                    <a:pt x="333" y="99"/>
                  </a:lnTo>
                  <a:lnTo>
                    <a:pt x="332" y="97"/>
                  </a:lnTo>
                  <a:lnTo>
                    <a:pt x="324" y="89"/>
                  </a:lnTo>
                  <a:lnTo>
                    <a:pt x="318" y="76"/>
                  </a:lnTo>
                  <a:lnTo>
                    <a:pt x="318" y="77"/>
                  </a:lnTo>
                  <a:lnTo>
                    <a:pt x="319" y="81"/>
                  </a:lnTo>
                  <a:lnTo>
                    <a:pt x="319" y="85"/>
                  </a:lnTo>
                  <a:lnTo>
                    <a:pt x="318" y="83"/>
                  </a:lnTo>
                  <a:lnTo>
                    <a:pt x="318" y="82"/>
                  </a:lnTo>
                  <a:lnTo>
                    <a:pt x="318" y="81"/>
                  </a:lnTo>
                  <a:lnTo>
                    <a:pt x="318" y="82"/>
                  </a:lnTo>
                  <a:lnTo>
                    <a:pt x="316" y="85"/>
                  </a:lnTo>
                  <a:lnTo>
                    <a:pt x="318" y="85"/>
                  </a:lnTo>
                  <a:lnTo>
                    <a:pt x="318" y="87"/>
                  </a:lnTo>
                  <a:lnTo>
                    <a:pt x="316" y="89"/>
                  </a:lnTo>
                  <a:lnTo>
                    <a:pt x="316" y="92"/>
                  </a:lnTo>
                  <a:lnTo>
                    <a:pt x="316" y="88"/>
                  </a:lnTo>
                  <a:lnTo>
                    <a:pt x="315" y="86"/>
                  </a:lnTo>
                  <a:lnTo>
                    <a:pt x="314" y="86"/>
                  </a:lnTo>
                  <a:lnTo>
                    <a:pt x="314" y="87"/>
                  </a:lnTo>
                  <a:lnTo>
                    <a:pt x="313" y="86"/>
                  </a:lnTo>
                  <a:lnTo>
                    <a:pt x="313" y="85"/>
                  </a:lnTo>
                  <a:lnTo>
                    <a:pt x="311" y="82"/>
                  </a:lnTo>
                  <a:lnTo>
                    <a:pt x="309" y="83"/>
                  </a:lnTo>
                  <a:lnTo>
                    <a:pt x="308" y="85"/>
                  </a:lnTo>
                  <a:lnTo>
                    <a:pt x="307" y="86"/>
                  </a:lnTo>
                  <a:lnTo>
                    <a:pt x="305" y="87"/>
                  </a:lnTo>
                  <a:lnTo>
                    <a:pt x="305" y="83"/>
                  </a:lnTo>
                  <a:lnTo>
                    <a:pt x="308" y="81"/>
                  </a:lnTo>
                  <a:lnTo>
                    <a:pt x="307" y="81"/>
                  </a:lnTo>
                  <a:lnTo>
                    <a:pt x="303" y="83"/>
                  </a:lnTo>
                  <a:lnTo>
                    <a:pt x="303" y="85"/>
                  </a:lnTo>
                  <a:lnTo>
                    <a:pt x="303" y="81"/>
                  </a:lnTo>
                  <a:lnTo>
                    <a:pt x="302" y="80"/>
                  </a:lnTo>
                  <a:lnTo>
                    <a:pt x="303" y="80"/>
                  </a:lnTo>
                  <a:lnTo>
                    <a:pt x="303" y="77"/>
                  </a:lnTo>
                  <a:lnTo>
                    <a:pt x="303" y="76"/>
                  </a:lnTo>
                  <a:lnTo>
                    <a:pt x="304" y="75"/>
                  </a:lnTo>
                  <a:lnTo>
                    <a:pt x="308" y="75"/>
                  </a:lnTo>
                  <a:lnTo>
                    <a:pt x="308" y="74"/>
                  </a:lnTo>
                  <a:lnTo>
                    <a:pt x="308" y="73"/>
                  </a:lnTo>
                  <a:lnTo>
                    <a:pt x="309" y="70"/>
                  </a:lnTo>
                  <a:lnTo>
                    <a:pt x="310" y="70"/>
                  </a:lnTo>
                  <a:lnTo>
                    <a:pt x="308" y="70"/>
                  </a:lnTo>
                  <a:lnTo>
                    <a:pt x="307" y="71"/>
                  </a:lnTo>
                  <a:lnTo>
                    <a:pt x="307" y="70"/>
                  </a:lnTo>
                  <a:lnTo>
                    <a:pt x="305" y="70"/>
                  </a:lnTo>
                  <a:lnTo>
                    <a:pt x="304" y="69"/>
                  </a:lnTo>
                  <a:lnTo>
                    <a:pt x="303" y="70"/>
                  </a:lnTo>
                  <a:lnTo>
                    <a:pt x="302" y="69"/>
                  </a:lnTo>
                  <a:lnTo>
                    <a:pt x="301" y="69"/>
                  </a:lnTo>
                  <a:lnTo>
                    <a:pt x="301" y="68"/>
                  </a:lnTo>
                  <a:lnTo>
                    <a:pt x="297" y="67"/>
                  </a:lnTo>
                  <a:lnTo>
                    <a:pt x="297" y="65"/>
                  </a:lnTo>
                  <a:lnTo>
                    <a:pt x="299" y="65"/>
                  </a:lnTo>
                  <a:lnTo>
                    <a:pt x="299" y="64"/>
                  </a:lnTo>
                  <a:lnTo>
                    <a:pt x="299" y="63"/>
                  </a:lnTo>
                  <a:lnTo>
                    <a:pt x="301" y="62"/>
                  </a:lnTo>
                  <a:lnTo>
                    <a:pt x="303" y="62"/>
                  </a:lnTo>
                  <a:lnTo>
                    <a:pt x="304" y="62"/>
                  </a:lnTo>
                  <a:lnTo>
                    <a:pt x="303" y="61"/>
                  </a:lnTo>
                  <a:lnTo>
                    <a:pt x="303" y="59"/>
                  </a:lnTo>
                  <a:lnTo>
                    <a:pt x="302" y="58"/>
                  </a:lnTo>
                  <a:lnTo>
                    <a:pt x="302" y="61"/>
                  </a:lnTo>
                  <a:lnTo>
                    <a:pt x="301" y="58"/>
                  </a:lnTo>
                  <a:lnTo>
                    <a:pt x="299" y="56"/>
                  </a:lnTo>
                  <a:lnTo>
                    <a:pt x="298" y="56"/>
                  </a:lnTo>
                  <a:lnTo>
                    <a:pt x="297" y="56"/>
                  </a:lnTo>
                  <a:lnTo>
                    <a:pt x="297" y="52"/>
                  </a:lnTo>
                  <a:lnTo>
                    <a:pt x="298" y="50"/>
                  </a:lnTo>
                  <a:lnTo>
                    <a:pt x="298" y="47"/>
                  </a:lnTo>
                  <a:lnTo>
                    <a:pt x="298" y="46"/>
                  </a:lnTo>
                  <a:lnTo>
                    <a:pt x="297" y="49"/>
                  </a:lnTo>
                  <a:lnTo>
                    <a:pt x="296" y="50"/>
                  </a:lnTo>
                  <a:lnTo>
                    <a:pt x="295" y="53"/>
                  </a:lnTo>
                  <a:lnTo>
                    <a:pt x="295" y="52"/>
                  </a:lnTo>
                  <a:lnTo>
                    <a:pt x="293" y="50"/>
                  </a:lnTo>
                  <a:lnTo>
                    <a:pt x="293" y="47"/>
                  </a:lnTo>
                  <a:lnTo>
                    <a:pt x="293" y="46"/>
                  </a:lnTo>
                  <a:lnTo>
                    <a:pt x="292" y="46"/>
                  </a:lnTo>
                  <a:lnTo>
                    <a:pt x="292" y="50"/>
                  </a:lnTo>
                  <a:lnTo>
                    <a:pt x="291" y="52"/>
                  </a:lnTo>
                  <a:lnTo>
                    <a:pt x="290" y="52"/>
                  </a:lnTo>
                  <a:lnTo>
                    <a:pt x="290" y="53"/>
                  </a:lnTo>
                  <a:lnTo>
                    <a:pt x="290" y="55"/>
                  </a:lnTo>
                  <a:lnTo>
                    <a:pt x="289" y="56"/>
                  </a:lnTo>
                  <a:lnTo>
                    <a:pt x="289" y="55"/>
                  </a:lnTo>
                  <a:lnTo>
                    <a:pt x="289" y="57"/>
                  </a:lnTo>
                  <a:lnTo>
                    <a:pt x="287" y="57"/>
                  </a:lnTo>
                  <a:lnTo>
                    <a:pt x="287" y="56"/>
                  </a:lnTo>
                  <a:lnTo>
                    <a:pt x="286" y="53"/>
                  </a:lnTo>
                  <a:lnTo>
                    <a:pt x="286" y="52"/>
                  </a:lnTo>
                  <a:lnTo>
                    <a:pt x="285" y="53"/>
                  </a:lnTo>
                  <a:lnTo>
                    <a:pt x="284" y="53"/>
                  </a:lnTo>
                  <a:lnTo>
                    <a:pt x="283" y="55"/>
                  </a:lnTo>
                  <a:lnTo>
                    <a:pt x="281" y="56"/>
                  </a:lnTo>
                  <a:lnTo>
                    <a:pt x="280" y="57"/>
                  </a:lnTo>
                  <a:lnTo>
                    <a:pt x="280" y="53"/>
                  </a:lnTo>
                  <a:lnTo>
                    <a:pt x="281" y="51"/>
                  </a:lnTo>
                  <a:lnTo>
                    <a:pt x="281" y="49"/>
                  </a:lnTo>
                  <a:lnTo>
                    <a:pt x="280" y="49"/>
                  </a:lnTo>
                  <a:lnTo>
                    <a:pt x="280" y="46"/>
                  </a:lnTo>
                  <a:lnTo>
                    <a:pt x="281" y="44"/>
                  </a:lnTo>
                  <a:lnTo>
                    <a:pt x="283" y="43"/>
                  </a:lnTo>
                  <a:lnTo>
                    <a:pt x="283" y="41"/>
                  </a:lnTo>
                  <a:lnTo>
                    <a:pt x="284" y="39"/>
                  </a:lnTo>
                  <a:lnTo>
                    <a:pt x="285" y="38"/>
                  </a:lnTo>
                  <a:lnTo>
                    <a:pt x="285" y="37"/>
                  </a:lnTo>
                  <a:lnTo>
                    <a:pt x="284" y="38"/>
                  </a:lnTo>
                  <a:lnTo>
                    <a:pt x="283" y="39"/>
                  </a:lnTo>
                  <a:lnTo>
                    <a:pt x="283" y="38"/>
                  </a:lnTo>
                  <a:lnTo>
                    <a:pt x="280" y="39"/>
                  </a:lnTo>
                  <a:lnTo>
                    <a:pt x="279" y="39"/>
                  </a:lnTo>
                  <a:lnTo>
                    <a:pt x="278" y="38"/>
                  </a:lnTo>
                  <a:lnTo>
                    <a:pt x="275" y="39"/>
                  </a:lnTo>
                  <a:lnTo>
                    <a:pt x="274" y="40"/>
                  </a:lnTo>
                  <a:lnTo>
                    <a:pt x="271" y="45"/>
                  </a:lnTo>
                  <a:lnTo>
                    <a:pt x="269" y="46"/>
                  </a:lnTo>
                  <a:lnTo>
                    <a:pt x="268" y="49"/>
                  </a:lnTo>
                  <a:lnTo>
                    <a:pt x="267" y="46"/>
                  </a:lnTo>
                  <a:lnTo>
                    <a:pt x="267" y="43"/>
                  </a:lnTo>
                  <a:lnTo>
                    <a:pt x="268" y="40"/>
                  </a:lnTo>
                  <a:lnTo>
                    <a:pt x="268" y="38"/>
                  </a:lnTo>
                  <a:lnTo>
                    <a:pt x="269" y="37"/>
                  </a:lnTo>
                  <a:lnTo>
                    <a:pt x="271" y="35"/>
                  </a:lnTo>
                  <a:lnTo>
                    <a:pt x="273" y="37"/>
                  </a:lnTo>
                  <a:lnTo>
                    <a:pt x="277" y="37"/>
                  </a:lnTo>
                  <a:lnTo>
                    <a:pt x="279" y="34"/>
                  </a:lnTo>
                  <a:lnTo>
                    <a:pt x="281" y="33"/>
                  </a:lnTo>
                  <a:lnTo>
                    <a:pt x="281" y="32"/>
                  </a:lnTo>
                  <a:lnTo>
                    <a:pt x="280" y="31"/>
                  </a:lnTo>
                  <a:lnTo>
                    <a:pt x="280" y="28"/>
                  </a:lnTo>
                  <a:lnTo>
                    <a:pt x="279" y="27"/>
                  </a:lnTo>
                  <a:lnTo>
                    <a:pt x="280" y="24"/>
                  </a:lnTo>
                  <a:lnTo>
                    <a:pt x="278" y="24"/>
                  </a:lnTo>
                  <a:lnTo>
                    <a:pt x="277" y="28"/>
                  </a:lnTo>
                  <a:lnTo>
                    <a:pt x="274" y="29"/>
                  </a:lnTo>
                  <a:lnTo>
                    <a:pt x="274" y="27"/>
                  </a:lnTo>
                  <a:lnTo>
                    <a:pt x="274" y="22"/>
                  </a:lnTo>
                  <a:lnTo>
                    <a:pt x="274" y="21"/>
                  </a:lnTo>
                  <a:lnTo>
                    <a:pt x="273" y="21"/>
                  </a:lnTo>
                  <a:lnTo>
                    <a:pt x="274" y="17"/>
                  </a:lnTo>
                  <a:lnTo>
                    <a:pt x="278" y="16"/>
                  </a:lnTo>
                  <a:lnTo>
                    <a:pt x="279" y="14"/>
                  </a:lnTo>
                  <a:lnTo>
                    <a:pt x="280" y="12"/>
                  </a:lnTo>
                  <a:lnTo>
                    <a:pt x="283" y="11"/>
                  </a:lnTo>
                  <a:lnTo>
                    <a:pt x="283" y="9"/>
                  </a:lnTo>
                  <a:lnTo>
                    <a:pt x="279" y="8"/>
                  </a:lnTo>
                  <a:lnTo>
                    <a:pt x="277" y="6"/>
                  </a:lnTo>
                  <a:lnTo>
                    <a:pt x="279" y="6"/>
                  </a:lnTo>
                  <a:lnTo>
                    <a:pt x="281" y="6"/>
                  </a:lnTo>
                  <a:lnTo>
                    <a:pt x="283" y="5"/>
                  </a:lnTo>
                  <a:lnTo>
                    <a:pt x="283" y="4"/>
                  </a:lnTo>
                  <a:lnTo>
                    <a:pt x="283" y="3"/>
                  </a:lnTo>
                  <a:lnTo>
                    <a:pt x="284" y="2"/>
                  </a:lnTo>
                  <a:lnTo>
                    <a:pt x="285" y="0"/>
                  </a:lnTo>
                  <a:lnTo>
                    <a:pt x="286" y="0"/>
                  </a:lnTo>
                  <a:lnTo>
                    <a:pt x="287" y="0"/>
                  </a:lnTo>
                  <a:lnTo>
                    <a:pt x="289" y="0"/>
                  </a:lnTo>
                  <a:lnTo>
                    <a:pt x="289" y="2"/>
                  </a:lnTo>
                  <a:lnTo>
                    <a:pt x="290" y="2"/>
                  </a:lnTo>
                  <a:lnTo>
                    <a:pt x="290" y="3"/>
                  </a:lnTo>
                  <a:lnTo>
                    <a:pt x="291" y="3"/>
                  </a:lnTo>
                  <a:lnTo>
                    <a:pt x="292" y="2"/>
                  </a:lnTo>
                  <a:lnTo>
                    <a:pt x="293" y="2"/>
                  </a:lnTo>
                  <a:lnTo>
                    <a:pt x="295" y="2"/>
                  </a:lnTo>
                  <a:lnTo>
                    <a:pt x="296" y="0"/>
                  </a:lnTo>
                  <a:lnTo>
                    <a:pt x="295" y="4"/>
                  </a:lnTo>
                  <a:lnTo>
                    <a:pt x="292" y="10"/>
                  </a:lnTo>
                  <a:lnTo>
                    <a:pt x="293" y="11"/>
                  </a:lnTo>
                  <a:lnTo>
                    <a:pt x="295" y="9"/>
                  </a:lnTo>
                  <a:lnTo>
                    <a:pt x="296" y="12"/>
                  </a:lnTo>
                  <a:lnTo>
                    <a:pt x="296" y="16"/>
                  </a:lnTo>
                  <a:lnTo>
                    <a:pt x="297" y="18"/>
                  </a:lnTo>
                  <a:lnTo>
                    <a:pt x="297" y="17"/>
                  </a:lnTo>
                  <a:lnTo>
                    <a:pt x="298" y="18"/>
                  </a:lnTo>
                  <a:lnTo>
                    <a:pt x="299" y="17"/>
                  </a:lnTo>
                  <a:lnTo>
                    <a:pt x="298" y="14"/>
                  </a:lnTo>
                  <a:lnTo>
                    <a:pt x="301" y="14"/>
                  </a:lnTo>
                  <a:lnTo>
                    <a:pt x="304" y="15"/>
                  </a:lnTo>
                  <a:lnTo>
                    <a:pt x="305" y="17"/>
                  </a:lnTo>
                  <a:lnTo>
                    <a:pt x="307" y="20"/>
                  </a:lnTo>
                  <a:lnTo>
                    <a:pt x="305" y="20"/>
                  </a:lnTo>
                  <a:lnTo>
                    <a:pt x="304" y="21"/>
                  </a:lnTo>
                  <a:lnTo>
                    <a:pt x="304" y="20"/>
                  </a:lnTo>
                  <a:lnTo>
                    <a:pt x="303" y="21"/>
                  </a:lnTo>
                  <a:lnTo>
                    <a:pt x="302" y="20"/>
                  </a:lnTo>
                  <a:lnTo>
                    <a:pt x="301" y="18"/>
                  </a:lnTo>
                  <a:lnTo>
                    <a:pt x="301" y="21"/>
                  </a:lnTo>
                  <a:lnTo>
                    <a:pt x="302" y="22"/>
                  </a:lnTo>
                  <a:lnTo>
                    <a:pt x="303" y="24"/>
                  </a:lnTo>
                  <a:lnTo>
                    <a:pt x="304" y="26"/>
                  </a:lnTo>
                  <a:lnTo>
                    <a:pt x="305" y="27"/>
                  </a:lnTo>
                  <a:lnTo>
                    <a:pt x="307" y="29"/>
                  </a:lnTo>
                  <a:lnTo>
                    <a:pt x="308" y="31"/>
                  </a:lnTo>
                  <a:lnTo>
                    <a:pt x="309" y="29"/>
                  </a:lnTo>
                  <a:lnTo>
                    <a:pt x="309" y="31"/>
                  </a:lnTo>
                  <a:lnTo>
                    <a:pt x="310" y="31"/>
                  </a:lnTo>
                  <a:lnTo>
                    <a:pt x="311" y="29"/>
                  </a:lnTo>
                  <a:lnTo>
                    <a:pt x="314" y="29"/>
                  </a:lnTo>
                  <a:lnTo>
                    <a:pt x="315" y="31"/>
                  </a:lnTo>
                  <a:lnTo>
                    <a:pt x="315" y="29"/>
                  </a:lnTo>
                  <a:lnTo>
                    <a:pt x="314" y="28"/>
                  </a:lnTo>
                  <a:lnTo>
                    <a:pt x="314" y="24"/>
                  </a:lnTo>
                  <a:lnTo>
                    <a:pt x="315" y="22"/>
                  </a:lnTo>
                  <a:lnTo>
                    <a:pt x="316" y="22"/>
                  </a:lnTo>
                  <a:lnTo>
                    <a:pt x="318" y="21"/>
                  </a:lnTo>
                  <a:lnTo>
                    <a:pt x="319" y="22"/>
                  </a:lnTo>
                  <a:lnTo>
                    <a:pt x="321" y="23"/>
                  </a:lnTo>
                  <a:lnTo>
                    <a:pt x="322" y="24"/>
                  </a:lnTo>
                  <a:lnTo>
                    <a:pt x="325" y="24"/>
                  </a:lnTo>
                  <a:lnTo>
                    <a:pt x="327" y="23"/>
                  </a:lnTo>
                  <a:lnTo>
                    <a:pt x="325" y="24"/>
                  </a:lnTo>
                  <a:lnTo>
                    <a:pt x="324" y="27"/>
                  </a:lnTo>
                  <a:lnTo>
                    <a:pt x="322" y="26"/>
                  </a:lnTo>
                  <a:lnTo>
                    <a:pt x="321" y="26"/>
                  </a:lnTo>
                  <a:lnTo>
                    <a:pt x="319" y="29"/>
                  </a:lnTo>
                  <a:lnTo>
                    <a:pt x="321" y="31"/>
                  </a:lnTo>
                  <a:lnTo>
                    <a:pt x="324" y="32"/>
                  </a:lnTo>
                  <a:lnTo>
                    <a:pt x="326" y="33"/>
                  </a:lnTo>
                  <a:lnTo>
                    <a:pt x="325" y="34"/>
                  </a:lnTo>
                  <a:lnTo>
                    <a:pt x="325" y="37"/>
                  </a:lnTo>
                  <a:lnTo>
                    <a:pt x="324" y="37"/>
                  </a:lnTo>
                  <a:lnTo>
                    <a:pt x="322" y="32"/>
                  </a:lnTo>
                  <a:lnTo>
                    <a:pt x="320" y="31"/>
                  </a:lnTo>
                  <a:lnTo>
                    <a:pt x="318" y="32"/>
                  </a:lnTo>
                  <a:lnTo>
                    <a:pt x="316" y="34"/>
                  </a:lnTo>
                  <a:lnTo>
                    <a:pt x="316" y="37"/>
                  </a:lnTo>
                  <a:lnTo>
                    <a:pt x="318" y="40"/>
                  </a:lnTo>
                  <a:lnTo>
                    <a:pt x="319" y="39"/>
                  </a:lnTo>
                  <a:lnTo>
                    <a:pt x="321" y="41"/>
                  </a:lnTo>
                  <a:lnTo>
                    <a:pt x="322" y="44"/>
                  </a:lnTo>
                  <a:lnTo>
                    <a:pt x="322" y="45"/>
                  </a:lnTo>
                  <a:lnTo>
                    <a:pt x="324" y="46"/>
                  </a:lnTo>
                  <a:lnTo>
                    <a:pt x="324" y="50"/>
                  </a:lnTo>
                  <a:lnTo>
                    <a:pt x="324" y="51"/>
                  </a:lnTo>
                  <a:lnTo>
                    <a:pt x="325" y="53"/>
                  </a:lnTo>
                  <a:lnTo>
                    <a:pt x="325" y="56"/>
                  </a:lnTo>
                  <a:lnTo>
                    <a:pt x="324" y="57"/>
                  </a:lnTo>
                  <a:lnTo>
                    <a:pt x="325" y="59"/>
                  </a:lnTo>
                  <a:lnTo>
                    <a:pt x="326" y="58"/>
                  </a:lnTo>
                  <a:lnTo>
                    <a:pt x="328" y="57"/>
                  </a:lnTo>
                  <a:lnTo>
                    <a:pt x="331" y="57"/>
                  </a:lnTo>
                  <a:lnTo>
                    <a:pt x="332" y="56"/>
                  </a:lnTo>
                  <a:lnTo>
                    <a:pt x="333" y="55"/>
                  </a:lnTo>
                  <a:lnTo>
                    <a:pt x="333" y="53"/>
                  </a:lnTo>
                  <a:lnTo>
                    <a:pt x="336" y="55"/>
                  </a:lnTo>
                  <a:lnTo>
                    <a:pt x="336" y="53"/>
                  </a:lnTo>
                  <a:lnTo>
                    <a:pt x="337" y="55"/>
                  </a:lnTo>
                  <a:lnTo>
                    <a:pt x="338" y="55"/>
                  </a:lnTo>
                  <a:lnTo>
                    <a:pt x="337" y="56"/>
                  </a:lnTo>
                  <a:lnTo>
                    <a:pt x="338" y="55"/>
                  </a:lnTo>
                  <a:lnTo>
                    <a:pt x="339" y="55"/>
                  </a:lnTo>
                  <a:lnTo>
                    <a:pt x="340" y="56"/>
                  </a:lnTo>
                  <a:lnTo>
                    <a:pt x="342" y="56"/>
                  </a:lnTo>
                  <a:lnTo>
                    <a:pt x="344" y="55"/>
                  </a:lnTo>
                  <a:lnTo>
                    <a:pt x="345" y="53"/>
                  </a:lnTo>
                  <a:lnTo>
                    <a:pt x="346" y="53"/>
                  </a:lnTo>
                  <a:lnTo>
                    <a:pt x="346" y="55"/>
                  </a:lnTo>
                  <a:lnTo>
                    <a:pt x="349" y="56"/>
                  </a:lnTo>
                  <a:lnTo>
                    <a:pt x="350" y="55"/>
                  </a:lnTo>
                  <a:lnTo>
                    <a:pt x="350" y="56"/>
                  </a:lnTo>
                  <a:lnTo>
                    <a:pt x="352" y="57"/>
                  </a:lnTo>
                  <a:lnTo>
                    <a:pt x="354" y="58"/>
                  </a:lnTo>
                  <a:lnTo>
                    <a:pt x="355" y="57"/>
                  </a:lnTo>
                  <a:lnTo>
                    <a:pt x="356" y="57"/>
                  </a:lnTo>
                  <a:lnTo>
                    <a:pt x="356" y="56"/>
                  </a:lnTo>
                  <a:lnTo>
                    <a:pt x="357" y="56"/>
                  </a:lnTo>
                  <a:lnTo>
                    <a:pt x="358" y="56"/>
                  </a:lnTo>
                  <a:lnTo>
                    <a:pt x="358" y="55"/>
                  </a:lnTo>
                  <a:lnTo>
                    <a:pt x="360" y="56"/>
                  </a:lnTo>
                  <a:lnTo>
                    <a:pt x="361" y="56"/>
                  </a:lnTo>
                  <a:lnTo>
                    <a:pt x="362" y="57"/>
                  </a:lnTo>
                  <a:lnTo>
                    <a:pt x="363" y="56"/>
                  </a:lnTo>
                  <a:lnTo>
                    <a:pt x="363" y="55"/>
                  </a:lnTo>
                  <a:lnTo>
                    <a:pt x="363" y="52"/>
                  </a:lnTo>
                  <a:lnTo>
                    <a:pt x="364" y="51"/>
                  </a:lnTo>
                  <a:lnTo>
                    <a:pt x="366" y="50"/>
                  </a:lnTo>
                  <a:lnTo>
                    <a:pt x="367" y="49"/>
                  </a:lnTo>
                  <a:lnTo>
                    <a:pt x="369" y="50"/>
                  </a:lnTo>
                  <a:lnTo>
                    <a:pt x="370" y="50"/>
                  </a:lnTo>
                  <a:lnTo>
                    <a:pt x="372" y="50"/>
                  </a:lnTo>
                  <a:lnTo>
                    <a:pt x="372" y="51"/>
                  </a:lnTo>
                  <a:lnTo>
                    <a:pt x="373" y="51"/>
                  </a:lnTo>
                  <a:lnTo>
                    <a:pt x="372" y="46"/>
                  </a:lnTo>
                  <a:lnTo>
                    <a:pt x="370" y="44"/>
                  </a:lnTo>
                  <a:lnTo>
                    <a:pt x="369" y="43"/>
                  </a:lnTo>
                  <a:lnTo>
                    <a:pt x="369" y="41"/>
                  </a:lnTo>
                  <a:lnTo>
                    <a:pt x="369" y="40"/>
                  </a:lnTo>
                  <a:lnTo>
                    <a:pt x="370" y="39"/>
                  </a:lnTo>
                  <a:lnTo>
                    <a:pt x="370" y="40"/>
                  </a:lnTo>
                  <a:lnTo>
                    <a:pt x="372" y="39"/>
                  </a:lnTo>
                  <a:lnTo>
                    <a:pt x="373" y="39"/>
                  </a:lnTo>
                  <a:lnTo>
                    <a:pt x="374" y="39"/>
                  </a:lnTo>
                  <a:lnTo>
                    <a:pt x="377" y="39"/>
                  </a:lnTo>
                  <a:lnTo>
                    <a:pt x="375" y="41"/>
                  </a:lnTo>
                  <a:lnTo>
                    <a:pt x="377" y="41"/>
                  </a:lnTo>
                  <a:lnTo>
                    <a:pt x="378" y="41"/>
                  </a:lnTo>
                  <a:lnTo>
                    <a:pt x="381" y="41"/>
                  </a:lnTo>
                  <a:lnTo>
                    <a:pt x="379" y="44"/>
                  </a:lnTo>
                  <a:lnTo>
                    <a:pt x="378" y="45"/>
                  </a:lnTo>
                  <a:lnTo>
                    <a:pt x="377" y="46"/>
                  </a:lnTo>
                  <a:lnTo>
                    <a:pt x="375" y="47"/>
                  </a:lnTo>
                  <a:lnTo>
                    <a:pt x="377" y="46"/>
                  </a:lnTo>
                  <a:lnTo>
                    <a:pt x="379" y="46"/>
                  </a:lnTo>
                  <a:lnTo>
                    <a:pt x="378" y="46"/>
                  </a:lnTo>
                  <a:lnTo>
                    <a:pt x="379" y="49"/>
                  </a:lnTo>
                  <a:lnTo>
                    <a:pt x="377" y="49"/>
                  </a:lnTo>
                  <a:lnTo>
                    <a:pt x="375" y="50"/>
                  </a:lnTo>
                  <a:lnTo>
                    <a:pt x="377" y="51"/>
                  </a:lnTo>
                  <a:lnTo>
                    <a:pt x="380" y="50"/>
                  </a:lnTo>
                  <a:lnTo>
                    <a:pt x="383" y="50"/>
                  </a:lnTo>
                  <a:lnTo>
                    <a:pt x="385" y="50"/>
                  </a:lnTo>
                  <a:lnTo>
                    <a:pt x="383" y="52"/>
                  </a:lnTo>
                  <a:lnTo>
                    <a:pt x="379" y="55"/>
                  </a:lnTo>
                  <a:lnTo>
                    <a:pt x="377" y="56"/>
                  </a:lnTo>
                  <a:lnTo>
                    <a:pt x="377" y="58"/>
                  </a:lnTo>
                  <a:lnTo>
                    <a:pt x="378" y="58"/>
                  </a:lnTo>
                  <a:lnTo>
                    <a:pt x="380" y="58"/>
                  </a:lnTo>
                  <a:lnTo>
                    <a:pt x="381" y="57"/>
                  </a:lnTo>
                  <a:lnTo>
                    <a:pt x="384" y="56"/>
                  </a:lnTo>
                  <a:lnTo>
                    <a:pt x="385" y="57"/>
                  </a:lnTo>
                  <a:lnTo>
                    <a:pt x="384" y="58"/>
                  </a:lnTo>
                  <a:lnTo>
                    <a:pt x="384" y="61"/>
                  </a:lnTo>
                  <a:lnTo>
                    <a:pt x="385" y="62"/>
                  </a:lnTo>
                  <a:lnTo>
                    <a:pt x="386" y="64"/>
                  </a:lnTo>
                  <a:lnTo>
                    <a:pt x="384" y="64"/>
                  </a:lnTo>
                  <a:lnTo>
                    <a:pt x="385" y="67"/>
                  </a:lnTo>
                  <a:lnTo>
                    <a:pt x="385" y="69"/>
                  </a:lnTo>
                  <a:lnTo>
                    <a:pt x="384" y="70"/>
                  </a:lnTo>
                  <a:lnTo>
                    <a:pt x="384" y="69"/>
                  </a:lnTo>
                  <a:lnTo>
                    <a:pt x="383" y="70"/>
                  </a:lnTo>
                  <a:lnTo>
                    <a:pt x="383" y="73"/>
                  </a:lnTo>
                  <a:lnTo>
                    <a:pt x="381" y="74"/>
                  </a:lnTo>
                  <a:lnTo>
                    <a:pt x="381" y="77"/>
                  </a:lnTo>
                  <a:lnTo>
                    <a:pt x="380" y="77"/>
                  </a:lnTo>
                  <a:lnTo>
                    <a:pt x="378" y="80"/>
                  </a:lnTo>
                  <a:lnTo>
                    <a:pt x="377" y="80"/>
                  </a:lnTo>
                  <a:lnTo>
                    <a:pt x="377" y="82"/>
                  </a:lnTo>
                  <a:lnTo>
                    <a:pt x="374" y="83"/>
                  </a:lnTo>
                  <a:lnTo>
                    <a:pt x="374" y="82"/>
                  </a:lnTo>
                  <a:lnTo>
                    <a:pt x="373" y="81"/>
                  </a:lnTo>
                  <a:lnTo>
                    <a:pt x="372" y="80"/>
                  </a:lnTo>
                  <a:lnTo>
                    <a:pt x="372" y="82"/>
                  </a:lnTo>
                  <a:lnTo>
                    <a:pt x="370" y="85"/>
                  </a:lnTo>
                  <a:lnTo>
                    <a:pt x="370" y="81"/>
                  </a:lnTo>
                  <a:lnTo>
                    <a:pt x="369" y="83"/>
                  </a:lnTo>
                  <a:lnTo>
                    <a:pt x="368" y="81"/>
                  </a:lnTo>
                  <a:lnTo>
                    <a:pt x="367" y="82"/>
                  </a:lnTo>
                  <a:lnTo>
                    <a:pt x="368" y="85"/>
                  </a:lnTo>
                  <a:lnTo>
                    <a:pt x="366" y="86"/>
                  </a:lnTo>
                  <a:lnTo>
                    <a:pt x="363" y="87"/>
                  </a:lnTo>
                  <a:lnTo>
                    <a:pt x="362" y="88"/>
                  </a:lnTo>
                  <a:lnTo>
                    <a:pt x="362" y="89"/>
                  </a:lnTo>
                  <a:lnTo>
                    <a:pt x="364" y="89"/>
                  </a:lnTo>
                  <a:lnTo>
                    <a:pt x="366" y="91"/>
                  </a:lnTo>
                  <a:lnTo>
                    <a:pt x="367" y="92"/>
                  </a:lnTo>
                  <a:lnTo>
                    <a:pt x="366" y="93"/>
                  </a:lnTo>
                  <a:lnTo>
                    <a:pt x="363" y="92"/>
                  </a:lnTo>
                  <a:lnTo>
                    <a:pt x="363" y="91"/>
                  </a:lnTo>
                  <a:lnTo>
                    <a:pt x="362" y="91"/>
                  </a:lnTo>
                  <a:lnTo>
                    <a:pt x="362" y="93"/>
                  </a:lnTo>
                  <a:lnTo>
                    <a:pt x="366" y="94"/>
                  </a:lnTo>
                  <a:lnTo>
                    <a:pt x="366" y="97"/>
                  </a:lnTo>
                  <a:lnTo>
                    <a:pt x="366" y="98"/>
                  </a:lnTo>
                  <a:lnTo>
                    <a:pt x="369" y="97"/>
                  </a:lnTo>
                  <a:lnTo>
                    <a:pt x="373" y="94"/>
                  </a:lnTo>
                  <a:lnTo>
                    <a:pt x="372" y="92"/>
                  </a:lnTo>
                  <a:lnTo>
                    <a:pt x="372" y="89"/>
                  </a:lnTo>
                  <a:lnTo>
                    <a:pt x="374" y="88"/>
                  </a:lnTo>
                  <a:lnTo>
                    <a:pt x="375" y="86"/>
                  </a:lnTo>
                  <a:lnTo>
                    <a:pt x="375" y="88"/>
                  </a:lnTo>
                  <a:lnTo>
                    <a:pt x="377" y="87"/>
                  </a:lnTo>
                  <a:lnTo>
                    <a:pt x="378" y="87"/>
                  </a:lnTo>
                  <a:lnTo>
                    <a:pt x="379" y="86"/>
                  </a:lnTo>
                  <a:lnTo>
                    <a:pt x="380" y="86"/>
                  </a:lnTo>
                  <a:lnTo>
                    <a:pt x="381" y="86"/>
                  </a:lnTo>
                  <a:lnTo>
                    <a:pt x="381" y="88"/>
                  </a:lnTo>
                  <a:lnTo>
                    <a:pt x="380" y="89"/>
                  </a:lnTo>
                  <a:lnTo>
                    <a:pt x="381" y="89"/>
                  </a:lnTo>
                  <a:lnTo>
                    <a:pt x="380" y="91"/>
                  </a:lnTo>
                  <a:lnTo>
                    <a:pt x="381" y="89"/>
                  </a:lnTo>
                  <a:lnTo>
                    <a:pt x="381" y="92"/>
                  </a:lnTo>
                  <a:lnTo>
                    <a:pt x="383" y="92"/>
                  </a:lnTo>
                  <a:lnTo>
                    <a:pt x="384" y="91"/>
                  </a:lnTo>
                  <a:lnTo>
                    <a:pt x="383" y="89"/>
                  </a:lnTo>
                  <a:lnTo>
                    <a:pt x="383" y="87"/>
                  </a:lnTo>
                  <a:lnTo>
                    <a:pt x="385" y="87"/>
                  </a:lnTo>
                  <a:lnTo>
                    <a:pt x="386" y="86"/>
                  </a:lnTo>
                  <a:lnTo>
                    <a:pt x="387" y="87"/>
                  </a:lnTo>
                  <a:lnTo>
                    <a:pt x="389" y="87"/>
                  </a:lnTo>
                  <a:lnTo>
                    <a:pt x="390" y="88"/>
                  </a:lnTo>
                  <a:lnTo>
                    <a:pt x="390" y="91"/>
                  </a:lnTo>
                  <a:lnTo>
                    <a:pt x="387" y="92"/>
                  </a:lnTo>
                  <a:lnTo>
                    <a:pt x="387" y="91"/>
                  </a:lnTo>
                  <a:lnTo>
                    <a:pt x="385" y="91"/>
                  </a:lnTo>
                  <a:lnTo>
                    <a:pt x="380" y="95"/>
                  </a:lnTo>
                  <a:lnTo>
                    <a:pt x="381" y="97"/>
                  </a:lnTo>
                  <a:lnTo>
                    <a:pt x="384" y="95"/>
                  </a:lnTo>
                  <a:lnTo>
                    <a:pt x="384" y="98"/>
                  </a:lnTo>
                  <a:lnTo>
                    <a:pt x="386" y="99"/>
                  </a:lnTo>
                  <a:lnTo>
                    <a:pt x="387" y="100"/>
                  </a:lnTo>
                  <a:lnTo>
                    <a:pt x="387" y="101"/>
                  </a:lnTo>
                  <a:lnTo>
                    <a:pt x="389" y="100"/>
                  </a:lnTo>
                  <a:lnTo>
                    <a:pt x="390" y="101"/>
                  </a:lnTo>
                  <a:lnTo>
                    <a:pt x="391" y="99"/>
                  </a:lnTo>
                  <a:lnTo>
                    <a:pt x="390" y="103"/>
                  </a:lnTo>
                  <a:lnTo>
                    <a:pt x="389" y="105"/>
                  </a:lnTo>
                  <a:lnTo>
                    <a:pt x="389" y="106"/>
                  </a:lnTo>
                  <a:lnTo>
                    <a:pt x="390" y="107"/>
                  </a:lnTo>
                  <a:lnTo>
                    <a:pt x="391" y="107"/>
                  </a:lnTo>
                  <a:lnTo>
                    <a:pt x="392" y="107"/>
                  </a:lnTo>
                  <a:lnTo>
                    <a:pt x="393" y="106"/>
                  </a:lnTo>
                  <a:lnTo>
                    <a:pt x="395" y="104"/>
                  </a:lnTo>
                  <a:lnTo>
                    <a:pt x="395" y="103"/>
                  </a:lnTo>
                  <a:lnTo>
                    <a:pt x="395" y="101"/>
                  </a:lnTo>
                  <a:lnTo>
                    <a:pt x="395" y="99"/>
                  </a:lnTo>
                  <a:lnTo>
                    <a:pt x="396" y="98"/>
                  </a:lnTo>
                  <a:lnTo>
                    <a:pt x="397" y="97"/>
                  </a:lnTo>
                  <a:lnTo>
                    <a:pt x="397" y="95"/>
                  </a:lnTo>
                  <a:lnTo>
                    <a:pt x="398" y="95"/>
                  </a:lnTo>
                  <a:lnTo>
                    <a:pt x="401" y="95"/>
                  </a:lnTo>
                  <a:lnTo>
                    <a:pt x="401" y="97"/>
                  </a:lnTo>
                  <a:lnTo>
                    <a:pt x="402" y="97"/>
                  </a:lnTo>
                  <a:lnTo>
                    <a:pt x="403" y="98"/>
                  </a:lnTo>
                  <a:lnTo>
                    <a:pt x="403" y="99"/>
                  </a:lnTo>
                  <a:lnTo>
                    <a:pt x="402" y="101"/>
                  </a:lnTo>
                  <a:lnTo>
                    <a:pt x="401" y="101"/>
                  </a:lnTo>
                  <a:lnTo>
                    <a:pt x="402" y="103"/>
                  </a:lnTo>
                  <a:lnTo>
                    <a:pt x="401" y="104"/>
                  </a:lnTo>
                  <a:lnTo>
                    <a:pt x="401" y="105"/>
                  </a:lnTo>
                  <a:lnTo>
                    <a:pt x="401" y="106"/>
                  </a:lnTo>
                  <a:lnTo>
                    <a:pt x="402" y="106"/>
                  </a:lnTo>
                  <a:lnTo>
                    <a:pt x="403" y="105"/>
                  </a:lnTo>
                  <a:lnTo>
                    <a:pt x="404" y="105"/>
                  </a:lnTo>
                  <a:lnTo>
                    <a:pt x="404" y="106"/>
                  </a:lnTo>
                  <a:lnTo>
                    <a:pt x="405" y="105"/>
                  </a:lnTo>
                  <a:lnTo>
                    <a:pt x="407" y="105"/>
                  </a:lnTo>
                  <a:lnTo>
                    <a:pt x="409" y="104"/>
                  </a:lnTo>
                  <a:lnTo>
                    <a:pt x="410" y="103"/>
                  </a:lnTo>
                  <a:lnTo>
                    <a:pt x="410" y="101"/>
                  </a:lnTo>
                  <a:lnTo>
                    <a:pt x="409" y="100"/>
                  </a:lnTo>
                  <a:lnTo>
                    <a:pt x="411" y="99"/>
                  </a:lnTo>
                  <a:lnTo>
                    <a:pt x="413" y="99"/>
                  </a:lnTo>
                  <a:lnTo>
                    <a:pt x="411" y="100"/>
                  </a:lnTo>
                  <a:lnTo>
                    <a:pt x="414" y="100"/>
                  </a:lnTo>
                  <a:lnTo>
                    <a:pt x="413" y="99"/>
                  </a:lnTo>
                  <a:lnTo>
                    <a:pt x="409" y="95"/>
                  </a:lnTo>
                  <a:lnTo>
                    <a:pt x="407" y="97"/>
                  </a:lnTo>
                  <a:lnTo>
                    <a:pt x="404" y="95"/>
                  </a:lnTo>
                  <a:lnTo>
                    <a:pt x="405" y="94"/>
                  </a:lnTo>
                  <a:lnTo>
                    <a:pt x="407" y="94"/>
                  </a:lnTo>
                  <a:lnTo>
                    <a:pt x="408" y="94"/>
                  </a:lnTo>
                  <a:lnTo>
                    <a:pt x="408" y="93"/>
                  </a:lnTo>
                  <a:lnTo>
                    <a:pt x="409" y="93"/>
                  </a:lnTo>
                  <a:lnTo>
                    <a:pt x="410" y="94"/>
                  </a:lnTo>
                  <a:lnTo>
                    <a:pt x="411" y="97"/>
                  </a:lnTo>
                  <a:lnTo>
                    <a:pt x="414" y="99"/>
                  </a:lnTo>
                  <a:lnTo>
                    <a:pt x="415" y="99"/>
                  </a:lnTo>
                  <a:lnTo>
                    <a:pt x="416" y="98"/>
                  </a:lnTo>
                  <a:lnTo>
                    <a:pt x="417" y="95"/>
                  </a:lnTo>
                  <a:lnTo>
                    <a:pt x="419" y="97"/>
                  </a:lnTo>
                  <a:lnTo>
                    <a:pt x="420" y="97"/>
                  </a:lnTo>
                  <a:lnTo>
                    <a:pt x="420" y="98"/>
                  </a:lnTo>
                  <a:lnTo>
                    <a:pt x="421" y="100"/>
                  </a:lnTo>
                  <a:lnTo>
                    <a:pt x="421" y="99"/>
                  </a:lnTo>
                  <a:lnTo>
                    <a:pt x="422" y="98"/>
                  </a:lnTo>
                  <a:lnTo>
                    <a:pt x="422" y="97"/>
                  </a:lnTo>
                  <a:lnTo>
                    <a:pt x="425" y="98"/>
                  </a:lnTo>
                  <a:lnTo>
                    <a:pt x="426" y="98"/>
                  </a:lnTo>
                  <a:lnTo>
                    <a:pt x="425" y="94"/>
                  </a:lnTo>
                  <a:lnTo>
                    <a:pt x="420" y="93"/>
                  </a:lnTo>
                  <a:lnTo>
                    <a:pt x="416" y="92"/>
                  </a:lnTo>
                  <a:lnTo>
                    <a:pt x="417" y="91"/>
                  </a:lnTo>
                  <a:lnTo>
                    <a:pt x="419" y="89"/>
                  </a:lnTo>
                  <a:lnTo>
                    <a:pt x="420" y="89"/>
                  </a:lnTo>
                  <a:lnTo>
                    <a:pt x="421" y="88"/>
                  </a:lnTo>
                  <a:lnTo>
                    <a:pt x="422" y="88"/>
                  </a:lnTo>
                  <a:lnTo>
                    <a:pt x="423" y="87"/>
                  </a:lnTo>
                  <a:lnTo>
                    <a:pt x="423" y="88"/>
                  </a:lnTo>
                  <a:lnTo>
                    <a:pt x="425" y="88"/>
                  </a:lnTo>
                  <a:lnTo>
                    <a:pt x="425" y="91"/>
                  </a:lnTo>
                  <a:lnTo>
                    <a:pt x="426" y="94"/>
                  </a:lnTo>
                  <a:lnTo>
                    <a:pt x="427" y="95"/>
                  </a:lnTo>
                  <a:lnTo>
                    <a:pt x="429" y="94"/>
                  </a:lnTo>
                  <a:lnTo>
                    <a:pt x="431" y="93"/>
                  </a:lnTo>
                  <a:lnTo>
                    <a:pt x="432" y="91"/>
                  </a:lnTo>
                  <a:lnTo>
                    <a:pt x="432" y="89"/>
                  </a:lnTo>
                  <a:lnTo>
                    <a:pt x="434" y="88"/>
                  </a:lnTo>
                  <a:lnTo>
                    <a:pt x="434" y="89"/>
                  </a:lnTo>
                  <a:lnTo>
                    <a:pt x="436" y="91"/>
                  </a:lnTo>
                  <a:lnTo>
                    <a:pt x="437" y="92"/>
                  </a:lnTo>
                  <a:lnTo>
                    <a:pt x="438" y="89"/>
                  </a:lnTo>
                  <a:lnTo>
                    <a:pt x="439" y="91"/>
                  </a:lnTo>
                  <a:lnTo>
                    <a:pt x="440" y="92"/>
                  </a:lnTo>
                  <a:lnTo>
                    <a:pt x="442" y="94"/>
                  </a:lnTo>
                  <a:lnTo>
                    <a:pt x="440" y="94"/>
                  </a:lnTo>
                  <a:lnTo>
                    <a:pt x="438" y="94"/>
                  </a:lnTo>
                  <a:lnTo>
                    <a:pt x="437" y="95"/>
                  </a:lnTo>
                  <a:lnTo>
                    <a:pt x="434" y="95"/>
                  </a:lnTo>
                  <a:lnTo>
                    <a:pt x="436" y="95"/>
                  </a:lnTo>
                  <a:lnTo>
                    <a:pt x="433" y="95"/>
                  </a:lnTo>
                  <a:lnTo>
                    <a:pt x="436" y="98"/>
                  </a:lnTo>
                  <a:lnTo>
                    <a:pt x="437" y="100"/>
                  </a:lnTo>
                  <a:lnTo>
                    <a:pt x="438" y="99"/>
                  </a:lnTo>
                  <a:lnTo>
                    <a:pt x="439" y="100"/>
                  </a:lnTo>
                  <a:lnTo>
                    <a:pt x="439" y="99"/>
                  </a:lnTo>
                  <a:lnTo>
                    <a:pt x="442" y="99"/>
                  </a:lnTo>
                  <a:lnTo>
                    <a:pt x="440" y="98"/>
                  </a:lnTo>
                  <a:lnTo>
                    <a:pt x="439" y="95"/>
                  </a:lnTo>
                  <a:lnTo>
                    <a:pt x="440" y="97"/>
                  </a:lnTo>
                  <a:lnTo>
                    <a:pt x="443" y="93"/>
                  </a:lnTo>
                  <a:lnTo>
                    <a:pt x="444" y="92"/>
                  </a:lnTo>
                  <a:lnTo>
                    <a:pt x="445" y="89"/>
                  </a:lnTo>
                  <a:lnTo>
                    <a:pt x="448" y="89"/>
                  </a:lnTo>
                  <a:lnTo>
                    <a:pt x="448" y="88"/>
                  </a:lnTo>
                  <a:lnTo>
                    <a:pt x="448" y="86"/>
                  </a:lnTo>
                  <a:lnTo>
                    <a:pt x="448" y="85"/>
                  </a:lnTo>
                  <a:lnTo>
                    <a:pt x="449" y="83"/>
                  </a:lnTo>
                  <a:lnTo>
                    <a:pt x="448" y="83"/>
                  </a:lnTo>
                  <a:lnTo>
                    <a:pt x="449" y="82"/>
                  </a:lnTo>
                  <a:lnTo>
                    <a:pt x="450" y="82"/>
                  </a:lnTo>
                  <a:lnTo>
                    <a:pt x="450" y="81"/>
                  </a:lnTo>
                  <a:lnTo>
                    <a:pt x="450" y="79"/>
                  </a:lnTo>
                  <a:lnTo>
                    <a:pt x="451" y="77"/>
                  </a:lnTo>
                  <a:lnTo>
                    <a:pt x="452" y="79"/>
                  </a:lnTo>
                  <a:lnTo>
                    <a:pt x="456" y="79"/>
                  </a:lnTo>
                  <a:lnTo>
                    <a:pt x="455" y="76"/>
                  </a:lnTo>
                  <a:lnTo>
                    <a:pt x="454" y="75"/>
                  </a:lnTo>
                  <a:lnTo>
                    <a:pt x="451" y="76"/>
                  </a:lnTo>
                  <a:lnTo>
                    <a:pt x="452" y="75"/>
                  </a:lnTo>
                  <a:lnTo>
                    <a:pt x="454" y="74"/>
                  </a:lnTo>
                  <a:lnTo>
                    <a:pt x="456" y="75"/>
                  </a:lnTo>
                  <a:lnTo>
                    <a:pt x="457" y="74"/>
                  </a:lnTo>
                  <a:lnTo>
                    <a:pt x="458" y="76"/>
                  </a:lnTo>
                  <a:lnTo>
                    <a:pt x="460" y="76"/>
                  </a:lnTo>
                  <a:lnTo>
                    <a:pt x="461" y="77"/>
                  </a:lnTo>
                  <a:lnTo>
                    <a:pt x="464" y="75"/>
                  </a:lnTo>
                  <a:lnTo>
                    <a:pt x="463" y="73"/>
                  </a:lnTo>
                  <a:lnTo>
                    <a:pt x="464" y="71"/>
                  </a:lnTo>
                  <a:lnTo>
                    <a:pt x="466" y="70"/>
                  </a:lnTo>
                  <a:lnTo>
                    <a:pt x="467" y="70"/>
                  </a:lnTo>
                  <a:lnTo>
                    <a:pt x="466" y="73"/>
                  </a:lnTo>
                  <a:lnTo>
                    <a:pt x="467" y="73"/>
                  </a:lnTo>
                  <a:lnTo>
                    <a:pt x="469" y="70"/>
                  </a:lnTo>
                  <a:lnTo>
                    <a:pt x="470" y="71"/>
                  </a:lnTo>
                  <a:lnTo>
                    <a:pt x="472" y="73"/>
                  </a:lnTo>
                  <a:lnTo>
                    <a:pt x="473" y="73"/>
                  </a:lnTo>
                  <a:lnTo>
                    <a:pt x="474" y="73"/>
                  </a:lnTo>
                  <a:lnTo>
                    <a:pt x="472" y="74"/>
                  </a:lnTo>
                  <a:lnTo>
                    <a:pt x="468" y="75"/>
                  </a:lnTo>
                  <a:lnTo>
                    <a:pt x="469" y="77"/>
                  </a:lnTo>
                  <a:lnTo>
                    <a:pt x="470" y="76"/>
                  </a:lnTo>
                  <a:lnTo>
                    <a:pt x="474" y="74"/>
                  </a:lnTo>
                  <a:lnTo>
                    <a:pt x="472" y="77"/>
                  </a:lnTo>
                  <a:lnTo>
                    <a:pt x="473" y="79"/>
                  </a:lnTo>
                  <a:lnTo>
                    <a:pt x="472" y="79"/>
                  </a:lnTo>
                  <a:lnTo>
                    <a:pt x="470" y="80"/>
                  </a:lnTo>
                  <a:lnTo>
                    <a:pt x="472" y="81"/>
                  </a:lnTo>
                  <a:lnTo>
                    <a:pt x="473" y="81"/>
                  </a:lnTo>
                  <a:lnTo>
                    <a:pt x="475" y="82"/>
                  </a:lnTo>
                  <a:lnTo>
                    <a:pt x="476" y="82"/>
                  </a:lnTo>
                  <a:lnTo>
                    <a:pt x="476" y="83"/>
                  </a:lnTo>
                  <a:lnTo>
                    <a:pt x="479" y="83"/>
                  </a:lnTo>
                  <a:lnTo>
                    <a:pt x="480" y="85"/>
                  </a:lnTo>
                  <a:lnTo>
                    <a:pt x="479" y="85"/>
                  </a:lnTo>
                  <a:lnTo>
                    <a:pt x="480" y="86"/>
                  </a:lnTo>
                  <a:lnTo>
                    <a:pt x="480" y="87"/>
                  </a:lnTo>
                  <a:lnTo>
                    <a:pt x="478" y="87"/>
                  </a:lnTo>
                  <a:lnTo>
                    <a:pt x="479" y="88"/>
                  </a:lnTo>
                  <a:lnTo>
                    <a:pt x="480" y="91"/>
                  </a:lnTo>
                  <a:lnTo>
                    <a:pt x="482" y="89"/>
                  </a:lnTo>
                  <a:lnTo>
                    <a:pt x="482" y="91"/>
                  </a:lnTo>
                  <a:lnTo>
                    <a:pt x="482" y="94"/>
                  </a:lnTo>
                  <a:lnTo>
                    <a:pt x="484" y="94"/>
                  </a:lnTo>
                  <a:lnTo>
                    <a:pt x="482" y="97"/>
                  </a:lnTo>
                  <a:lnTo>
                    <a:pt x="484" y="98"/>
                  </a:lnTo>
                  <a:lnTo>
                    <a:pt x="481" y="101"/>
                  </a:lnTo>
                  <a:lnTo>
                    <a:pt x="481" y="97"/>
                  </a:lnTo>
                  <a:lnTo>
                    <a:pt x="480" y="92"/>
                  </a:lnTo>
                  <a:lnTo>
                    <a:pt x="478" y="92"/>
                  </a:lnTo>
                  <a:lnTo>
                    <a:pt x="474" y="89"/>
                  </a:lnTo>
                  <a:lnTo>
                    <a:pt x="474" y="91"/>
                  </a:lnTo>
                  <a:lnTo>
                    <a:pt x="474" y="94"/>
                  </a:lnTo>
                  <a:lnTo>
                    <a:pt x="474" y="95"/>
                  </a:lnTo>
                  <a:lnTo>
                    <a:pt x="473" y="98"/>
                  </a:lnTo>
                  <a:lnTo>
                    <a:pt x="472" y="99"/>
                  </a:lnTo>
                  <a:lnTo>
                    <a:pt x="469" y="99"/>
                  </a:lnTo>
                  <a:lnTo>
                    <a:pt x="468" y="98"/>
                  </a:lnTo>
                  <a:lnTo>
                    <a:pt x="467" y="99"/>
                  </a:lnTo>
                  <a:lnTo>
                    <a:pt x="460" y="100"/>
                  </a:lnTo>
                  <a:lnTo>
                    <a:pt x="457" y="100"/>
                  </a:lnTo>
                  <a:lnTo>
                    <a:pt x="457" y="101"/>
                  </a:lnTo>
                  <a:lnTo>
                    <a:pt x="457" y="103"/>
                  </a:lnTo>
                  <a:lnTo>
                    <a:pt x="460" y="101"/>
                  </a:lnTo>
                  <a:lnTo>
                    <a:pt x="460" y="103"/>
                  </a:lnTo>
                  <a:lnTo>
                    <a:pt x="461" y="103"/>
                  </a:lnTo>
                  <a:lnTo>
                    <a:pt x="464" y="100"/>
                  </a:lnTo>
                  <a:lnTo>
                    <a:pt x="469" y="100"/>
                  </a:lnTo>
                  <a:lnTo>
                    <a:pt x="472" y="100"/>
                  </a:lnTo>
                  <a:lnTo>
                    <a:pt x="474" y="101"/>
                  </a:lnTo>
                  <a:lnTo>
                    <a:pt x="475" y="103"/>
                  </a:lnTo>
                  <a:lnTo>
                    <a:pt x="474" y="103"/>
                  </a:lnTo>
                  <a:lnTo>
                    <a:pt x="472" y="104"/>
                  </a:lnTo>
                  <a:lnTo>
                    <a:pt x="473" y="104"/>
                  </a:lnTo>
                  <a:lnTo>
                    <a:pt x="470" y="105"/>
                  </a:lnTo>
                  <a:lnTo>
                    <a:pt x="469" y="106"/>
                  </a:lnTo>
                  <a:lnTo>
                    <a:pt x="470" y="107"/>
                  </a:lnTo>
                  <a:lnTo>
                    <a:pt x="468" y="107"/>
                  </a:lnTo>
                  <a:lnTo>
                    <a:pt x="469" y="109"/>
                  </a:lnTo>
                  <a:lnTo>
                    <a:pt x="472" y="111"/>
                  </a:lnTo>
                  <a:lnTo>
                    <a:pt x="470" y="111"/>
                  </a:lnTo>
                  <a:lnTo>
                    <a:pt x="470" y="113"/>
                  </a:lnTo>
                  <a:lnTo>
                    <a:pt x="470" y="115"/>
                  </a:lnTo>
                  <a:lnTo>
                    <a:pt x="469" y="112"/>
                  </a:lnTo>
                  <a:lnTo>
                    <a:pt x="469" y="113"/>
                  </a:lnTo>
                  <a:lnTo>
                    <a:pt x="468" y="112"/>
                  </a:lnTo>
                  <a:lnTo>
                    <a:pt x="467" y="113"/>
                  </a:lnTo>
                  <a:lnTo>
                    <a:pt x="466" y="111"/>
                  </a:lnTo>
                  <a:lnTo>
                    <a:pt x="466" y="107"/>
                  </a:lnTo>
                  <a:lnTo>
                    <a:pt x="466" y="106"/>
                  </a:lnTo>
                  <a:lnTo>
                    <a:pt x="463" y="105"/>
                  </a:lnTo>
                  <a:lnTo>
                    <a:pt x="462" y="104"/>
                  </a:lnTo>
                  <a:lnTo>
                    <a:pt x="461" y="106"/>
                  </a:lnTo>
                  <a:lnTo>
                    <a:pt x="460" y="109"/>
                  </a:lnTo>
                  <a:lnTo>
                    <a:pt x="458" y="110"/>
                  </a:lnTo>
                  <a:lnTo>
                    <a:pt x="455" y="115"/>
                  </a:lnTo>
                  <a:lnTo>
                    <a:pt x="455" y="112"/>
                  </a:lnTo>
                  <a:lnTo>
                    <a:pt x="456" y="110"/>
                  </a:lnTo>
                  <a:lnTo>
                    <a:pt x="454" y="112"/>
                  </a:lnTo>
                  <a:lnTo>
                    <a:pt x="450" y="116"/>
                  </a:lnTo>
                  <a:lnTo>
                    <a:pt x="450" y="113"/>
                  </a:lnTo>
                  <a:lnTo>
                    <a:pt x="451" y="112"/>
                  </a:lnTo>
                  <a:lnTo>
                    <a:pt x="451" y="111"/>
                  </a:lnTo>
                  <a:lnTo>
                    <a:pt x="449" y="111"/>
                  </a:lnTo>
                  <a:lnTo>
                    <a:pt x="448" y="113"/>
                  </a:lnTo>
                  <a:lnTo>
                    <a:pt x="446" y="115"/>
                  </a:lnTo>
                  <a:lnTo>
                    <a:pt x="446" y="116"/>
                  </a:lnTo>
                  <a:lnTo>
                    <a:pt x="445" y="118"/>
                  </a:lnTo>
                  <a:lnTo>
                    <a:pt x="444" y="119"/>
                  </a:lnTo>
                  <a:lnTo>
                    <a:pt x="443" y="121"/>
                  </a:lnTo>
                  <a:lnTo>
                    <a:pt x="444" y="122"/>
                  </a:lnTo>
                  <a:lnTo>
                    <a:pt x="445" y="121"/>
                  </a:lnTo>
                  <a:lnTo>
                    <a:pt x="446" y="119"/>
                  </a:lnTo>
                  <a:lnTo>
                    <a:pt x="446" y="122"/>
                  </a:lnTo>
                  <a:lnTo>
                    <a:pt x="445" y="125"/>
                  </a:lnTo>
                  <a:lnTo>
                    <a:pt x="444" y="128"/>
                  </a:lnTo>
                  <a:lnTo>
                    <a:pt x="445" y="128"/>
                  </a:lnTo>
                  <a:lnTo>
                    <a:pt x="444" y="129"/>
                  </a:lnTo>
                  <a:lnTo>
                    <a:pt x="444" y="131"/>
                  </a:lnTo>
                  <a:lnTo>
                    <a:pt x="445" y="130"/>
                  </a:lnTo>
                  <a:lnTo>
                    <a:pt x="448" y="130"/>
                  </a:lnTo>
                  <a:lnTo>
                    <a:pt x="450" y="129"/>
                  </a:lnTo>
                  <a:lnTo>
                    <a:pt x="452" y="130"/>
                  </a:lnTo>
                  <a:lnTo>
                    <a:pt x="454" y="131"/>
                  </a:lnTo>
                  <a:lnTo>
                    <a:pt x="454" y="133"/>
                  </a:lnTo>
                  <a:lnTo>
                    <a:pt x="452" y="133"/>
                  </a:lnTo>
                  <a:lnTo>
                    <a:pt x="452" y="135"/>
                  </a:lnTo>
                  <a:lnTo>
                    <a:pt x="451" y="135"/>
                  </a:lnTo>
                  <a:lnTo>
                    <a:pt x="451" y="138"/>
                  </a:lnTo>
                  <a:lnTo>
                    <a:pt x="449" y="136"/>
                  </a:lnTo>
                  <a:lnTo>
                    <a:pt x="448" y="135"/>
                  </a:lnTo>
                  <a:lnTo>
                    <a:pt x="446" y="134"/>
                  </a:lnTo>
                  <a:lnTo>
                    <a:pt x="445" y="133"/>
                  </a:lnTo>
                  <a:lnTo>
                    <a:pt x="444" y="134"/>
                  </a:lnTo>
                  <a:lnTo>
                    <a:pt x="443" y="135"/>
                  </a:lnTo>
                  <a:lnTo>
                    <a:pt x="445" y="135"/>
                  </a:lnTo>
                  <a:lnTo>
                    <a:pt x="443" y="136"/>
                  </a:lnTo>
                  <a:lnTo>
                    <a:pt x="443" y="138"/>
                  </a:lnTo>
                  <a:lnTo>
                    <a:pt x="445" y="138"/>
                  </a:lnTo>
                  <a:lnTo>
                    <a:pt x="448" y="138"/>
                  </a:lnTo>
                  <a:lnTo>
                    <a:pt x="450" y="138"/>
                  </a:lnTo>
                  <a:lnTo>
                    <a:pt x="450" y="139"/>
                  </a:lnTo>
                  <a:lnTo>
                    <a:pt x="451" y="139"/>
                  </a:lnTo>
                  <a:lnTo>
                    <a:pt x="450" y="139"/>
                  </a:lnTo>
                  <a:lnTo>
                    <a:pt x="451" y="140"/>
                  </a:lnTo>
                  <a:lnTo>
                    <a:pt x="451" y="141"/>
                  </a:lnTo>
                  <a:lnTo>
                    <a:pt x="450" y="141"/>
                  </a:lnTo>
                  <a:lnTo>
                    <a:pt x="451" y="144"/>
                  </a:lnTo>
                  <a:lnTo>
                    <a:pt x="451" y="145"/>
                  </a:lnTo>
                  <a:lnTo>
                    <a:pt x="449" y="141"/>
                  </a:lnTo>
                  <a:lnTo>
                    <a:pt x="446" y="139"/>
                  </a:lnTo>
                  <a:lnTo>
                    <a:pt x="446" y="140"/>
                  </a:lnTo>
                  <a:lnTo>
                    <a:pt x="446" y="141"/>
                  </a:lnTo>
                  <a:lnTo>
                    <a:pt x="445" y="144"/>
                  </a:lnTo>
                  <a:lnTo>
                    <a:pt x="445" y="147"/>
                  </a:lnTo>
                  <a:lnTo>
                    <a:pt x="445" y="145"/>
                  </a:lnTo>
                  <a:lnTo>
                    <a:pt x="444" y="146"/>
                  </a:lnTo>
                  <a:lnTo>
                    <a:pt x="443" y="144"/>
                  </a:lnTo>
                  <a:lnTo>
                    <a:pt x="444" y="140"/>
                  </a:lnTo>
                  <a:lnTo>
                    <a:pt x="443" y="140"/>
                  </a:lnTo>
                  <a:lnTo>
                    <a:pt x="440" y="140"/>
                  </a:lnTo>
                  <a:lnTo>
                    <a:pt x="442" y="141"/>
                  </a:lnTo>
                  <a:lnTo>
                    <a:pt x="440" y="146"/>
                  </a:lnTo>
                  <a:lnTo>
                    <a:pt x="438" y="144"/>
                  </a:lnTo>
                  <a:lnTo>
                    <a:pt x="438" y="141"/>
                  </a:lnTo>
                  <a:lnTo>
                    <a:pt x="438" y="142"/>
                  </a:lnTo>
                  <a:lnTo>
                    <a:pt x="438" y="147"/>
                  </a:lnTo>
                  <a:lnTo>
                    <a:pt x="440" y="150"/>
                  </a:lnTo>
                  <a:lnTo>
                    <a:pt x="440" y="152"/>
                  </a:lnTo>
                  <a:lnTo>
                    <a:pt x="439" y="153"/>
                  </a:lnTo>
                  <a:lnTo>
                    <a:pt x="439" y="154"/>
                  </a:lnTo>
                  <a:lnTo>
                    <a:pt x="438" y="154"/>
                  </a:lnTo>
                  <a:lnTo>
                    <a:pt x="438" y="156"/>
                  </a:lnTo>
                  <a:lnTo>
                    <a:pt x="437" y="156"/>
                  </a:lnTo>
                  <a:lnTo>
                    <a:pt x="437" y="159"/>
                  </a:lnTo>
                  <a:lnTo>
                    <a:pt x="436" y="157"/>
                  </a:lnTo>
                  <a:lnTo>
                    <a:pt x="436" y="156"/>
                  </a:lnTo>
                  <a:lnTo>
                    <a:pt x="434" y="156"/>
                  </a:lnTo>
                  <a:lnTo>
                    <a:pt x="434" y="154"/>
                  </a:lnTo>
                  <a:lnTo>
                    <a:pt x="434" y="152"/>
                  </a:lnTo>
                  <a:lnTo>
                    <a:pt x="433" y="152"/>
                  </a:lnTo>
                  <a:lnTo>
                    <a:pt x="433" y="151"/>
                  </a:lnTo>
                  <a:lnTo>
                    <a:pt x="434" y="148"/>
                  </a:lnTo>
                  <a:lnTo>
                    <a:pt x="437" y="147"/>
                  </a:lnTo>
                  <a:lnTo>
                    <a:pt x="437" y="145"/>
                  </a:lnTo>
                  <a:lnTo>
                    <a:pt x="436" y="145"/>
                  </a:lnTo>
                  <a:lnTo>
                    <a:pt x="434" y="146"/>
                  </a:lnTo>
                  <a:lnTo>
                    <a:pt x="436" y="144"/>
                  </a:lnTo>
                  <a:lnTo>
                    <a:pt x="433" y="145"/>
                  </a:lnTo>
                  <a:lnTo>
                    <a:pt x="432" y="145"/>
                  </a:lnTo>
                  <a:lnTo>
                    <a:pt x="431" y="147"/>
                  </a:lnTo>
                  <a:lnTo>
                    <a:pt x="431" y="145"/>
                  </a:lnTo>
                  <a:lnTo>
                    <a:pt x="429" y="145"/>
                  </a:lnTo>
                  <a:lnTo>
                    <a:pt x="427" y="145"/>
                  </a:lnTo>
                  <a:lnTo>
                    <a:pt x="425" y="145"/>
                  </a:lnTo>
                  <a:lnTo>
                    <a:pt x="427" y="146"/>
                  </a:lnTo>
                  <a:lnTo>
                    <a:pt x="426" y="148"/>
                  </a:lnTo>
                  <a:lnTo>
                    <a:pt x="423" y="151"/>
                  </a:lnTo>
                  <a:lnTo>
                    <a:pt x="422" y="153"/>
                  </a:lnTo>
                  <a:lnTo>
                    <a:pt x="425" y="153"/>
                  </a:lnTo>
                  <a:lnTo>
                    <a:pt x="426" y="154"/>
                  </a:lnTo>
                  <a:lnTo>
                    <a:pt x="425" y="157"/>
                  </a:lnTo>
                  <a:lnTo>
                    <a:pt x="426" y="157"/>
                  </a:lnTo>
                  <a:lnTo>
                    <a:pt x="427" y="158"/>
                  </a:lnTo>
                  <a:lnTo>
                    <a:pt x="427" y="159"/>
                  </a:lnTo>
                  <a:lnTo>
                    <a:pt x="429" y="160"/>
                  </a:lnTo>
                  <a:lnTo>
                    <a:pt x="431" y="160"/>
                  </a:lnTo>
                  <a:lnTo>
                    <a:pt x="429" y="159"/>
                  </a:lnTo>
                  <a:lnTo>
                    <a:pt x="428" y="158"/>
                  </a:lnTo>
                  <a:lnTo>
                    <a:pt x="431" y="157"/>
                  </a:lnTo>
                  <a:lnTo>
                    <a:pt x="433" y="158"/>
                  </a:lnTo>
                  <a:lnTo>
                    <a:pt x="433" y="159"/>
                  </a:lnTo>
                  <a:lnTo>
                    <a:pt x="436" y="159"/>
                  </a:lnTo>
                  <a:lnTo>
                    <a:pt x="437" y="160"/>
                  </a:lnTo>
                  <a:lnTo>
                    <a:pt x="438" y="159"/>
                  </a:lnTo>
                  <a:lnTo>
                    <a:pt x="440" y="158"/>
                  </a:lnTo>
                  <a:lnTo>
                    <a:pt x="443" y="157"/>
                  </a:lnTo>
                  <a:lnTo>
                    <a:pt x="444" y="158"/>
                  </a:lnTo>
                  <a:lnTo>
                    <a:pt x="444" y="160"/>
                  </a:lnTo>
                  <a:lnTo>
                    <a:pt x="445" y="160"/>
                  </a:lnTo>
                  <a:lnTo>
                    <a:pt x="445" y="159"/>
                  </a:lnTo>
                  <a:lnTo>
                    <a:pt x="445" y="158"/>
                  </a:lnTo>
                  <a:lnTo>
                    <a:pt x="446" y="158"/>
                  </a:lnTo>
                  <a:lnTo>
                    <a:pt x="448" y="158"/>
                  </a:lnTo>
                  <a:lnTo>
                    <a:pt x="449" y="158"/>
                  </a:lnTo>
                  <a:lnTo>
                    <a:pt x="450" y="158"/>
                  </a:lnTo>
                  <a:lnTo>
                    <a:pt x="450" y="159"/>
                  </a:lnTo>
                  <a:lnTo>
                    <a:pt x="451" y="158"/>
                  </a:lnTo>
                  <a:lnTo>
                    <a:pt x="449" y="154"/>
                  </a:lnTo>
                  <a:lnTo>
                    <a:pt x="446" y="154"/>
                  </a:lnTo>
                  <a:lnTo>
                    <a:pt x="444" y="156"/>
                  </a:lnTo>
                  <a:lnTo>
                    <a:pt x="444" y="154"/>
                  </a:lnTo>
                  <a:lnTo>
                    <a:pt x="443" y="154"/>
                  </a:lnTo>
                  <a:lnTo>
                    <a:pt x="443" y="153"/>
                  </a:lnTo>
                  <a:lnTo>
                    <a:pt x="445" y="152"/>
                  </a:lnTo>
                  <a:lnTo>
                    <a:pt x="449" y="153"/>
                  </a:lnTo>
                  <a:lnTo>
                    <a:pt x="451" y="152"/>
                  </a:lnTo>
                  <a:lnTo>
                    <a:pt x="450" y="154"/>
                  </a:lnTo>
                  <a:lnTo>
                    <a:pt x="451" y="157"/>
                  </a:lnTo>
                  <a:lnTo>
                    <a:pt x="452" y="157"/>
                  </a:lnTo>
                  <a:lnTo>
                    <a:pt x="454" y="157"/>
                  </a:lnTo>
                  <a:lnTo>
                    <a:pt x="454" y="156"/>
                  </a:lnTo>
                  <a:lnTo>
                    <a:pt x="455" y="154"/>
                  </a:lnTo>
                  <a:lnTo>
                    <a:pt x="456" y="154"/>
                  </a:lnTo>
                  <a:lnTo>
                    <a:pt x="456" y="153"/>
                  </a:lnTo>
                  <a:lnTo>
                    <a:pt x="457" y="153"/>
                  </a:lnTo>
                  <a:lnTo>
                    <a:pt x="457" y="154"/>
                  </a:lnTo>
                  <a:lnTo>
                    <a:pt x="458" y="156"/>
                  </a:lnTo>
                  <a:lnTo>
                    <a:pt x="457" y="157"/>
                  </a:lnTo>
                  <a:lnTo>
                    <a:pt x="457" y="159"/>
                  </a:lnTo>
                  <a:lnTo>
                    <a:pt x="458" y="159"/>
                  </a:lnTo>
                  <a:lnTo>
                    <a:pt x="460" y="158"/>
                  </a:lnTo>
                  <a:lnTo>
                    <a:pt x="462" y="157"/>
                  </a:lnTo>
                  <a:lnTo>
                    <a:pt x="463" y="156"/>
                  </a:lnTo>
                  <a:lnTo>
                    <a:pt x="466" y="154"/>
                  </a:lnTo>
                  <a:lnTo>
                    <a:pt x="462" y="159"/>
                  </a:lnTo>
                  <a:lnTo>
                    <a:pt x="460" y="162"/>
                  </a:lnTo>
                  <a:lnTo>
                    <a:pt x="460" y="168"/>
                  </a:lnTo>
                  <a:lnTo>
                    <a:pt x="461" y="164"/>
                  </a:lnTo>
                  <a:lnTo>
                    <a:pt x="463" y="163"/>
                  </a:lnTo>
                  <a:lnTo>
                    <a:pt x="463" y="162"/>
                  </a:lnTo>
                  <a:lnTo>
                    <a:pt x="464" y="159"/>
                  </a:lnTo>
                  <a:lnTo>
                    <a:pt x="466" y="160"/>
                  </a:lnTo>
                  <a:lnTo>
                    <a:pt x="467" y="162"/>
                  </a:lnTo>
                  <a:lnTo>
                    <a:pt x="468" y="163"/>
                  </a:lnTo>
                  <a:lnTo>
                    <a:pt x="468" y="164"/>
                  </a:lnTo>
                  <a:lnTo>
                    <a:pt x="468" y="165"/>
                  </a:lnTo>
                  <a:lnTo>
                    <a:pt x="466" y="166"/>
                  </a:lnTo>
                  <a:lnTo>
                    <a:pt x="466" y="169"/>
                  </a:lnTo>
                  <a:lnTo>
                    <a:pt x="468" y="168"/>
                  </a:lnTo>
                  <a:lnTo>
                    <a:pt x="469" y="166"/>
                  </a:lnTo>
                  <a:lnTo>
                    <a:pt x="473" y="168"/>
                  </a:lnTo>
                  <a:lnTo>
                    <a:pt x="474" y="168"/>
                  </a:lnTo>
                  <a:lnTo>
                    <a:pt x="476" y="166"/>
                  </a:lnTo>
                  <a:lnTo>
                    <a:pt x="476" y="168"/>
                  </a:lnTo>
                  <a:lnTo>
                    <a:pt x="478" y="168"/>
                  </a:lnTo>
                  <a:lnTo>
                    <a:pt x="475" y="170"/>
                  </a:lnTo>
                  <a:lnTo>
                    <a:pt x="472" y="170"/>
                  </a:lnTo>
                  <a:lnTo>
                    <a:pt x="469" y="170"/>
                  </a:lnTo>
                  <a:lnTo>
                    <a:pt x="467" y="170"/>
                  </a:lnTo>
                  <a:lnTo>
                    <a:pt x="467" y="172"/>
                  </a:lnTo>
                  <a:lnTo>
                    <a:pt x="468" y="171"/>
                  </a:lnTo>
                  <a:lnTo>
                    <a:pt x="470" y="171"/>
                  </a:lnTo>
                  <a:lnTo>
                    <a:pt x="472" y="172"/>
                  </a:lnTo>
                  <a:lnTo>
                    <a:pt x="473" y="171"/>
                  </a:lnTo>
                  <a:lnTo>
                    <a:pt x="474" y="171"/>
                  </a:lnTo>
                  <a:lnTo>
                    <a:pt x="475" y="172"/>
                  </a:lnTo>
                  <a:lnTo>
                    <a:pt x="476" y="172"/>
                  </a:lnTo>
                  <a:lnTo>
                    <a:pt x="478" y="174"/>
                  </a:lnTo>
                  <a:lnTo>
                    <a:pt x="478" y="171"/>
                  </a:lnTo>
                  <a:lnTo>
                    <a:pt x="478" y="169"/>
                  </a:lnTo>
                  <a:lnTo>
                    <a:pt x="480" y="166"/>
                  </a:lnTo>
                  <a:lnTo>
                    <a:pt x="481" y="165"/>
                  </a:lnTo>
                  <a:lnTo>
                    <a:pt x="479" y="165"/>
                  </a:lnTo>
                  <a:lnTo>
                    <a:pt x="479" y="164"/>
                  </a:lnTo>
                  <a:lnTo>
                    <a:pt x="480" y="160"/>
                  </a:lnTo>
                  <a:lnTo>
                    <a:pt x="482" y="160"/>
                  </a:lnTo>
                  <a:lnTo>
                    <a:pt x="484" y="158"/>
                  </a:lnTo>
                  <a:lnTo>
                    <a:pt x="484" y="160"/>
                  </a:lnTo>
                  <a:lnTo>
                    <a:pt x="484" y="162"/>
                  </a:lnTo>
                  <a:lnTo>
                    <a:pt x="485" y="163"/>
                  </a:lnTo>
                  <a:lnTo>
                    <a:pt x="485" y="165"/>
                  </a:lnTo>
                  <a:lnTo>
                    <a:pt x="486" y="168"/>
                  </a:lnTo>
                  <a:lnTo>
                    <a:pt x="487" y="169"/>
                  </a:lnTo>
                  <a:lnTo>
                    <a:pt x="488" y="169"/>
                  </a:lnTo>
                  <a:lnTo>
                    <a:pt x="487" y="170"/>
                  </a:lnTo>
                  <a:lnTo>
                    <a:pt x="488" y="171"/>
                  </a:lnTo>
                  <a:lnTo>
                    <a:pt x="491" y="171"/>
                  </a:lnTo>
                  <a:lnTo>
                    <a:pt x="492" y="171"/>
                  </a:lnTo>
                  <a:lnTo>
                    <a:pt x="493" y="170"/>
                  </a:lnTo>
                  <a:lnTo>
                    <a:pt x="497" y="170"/>
                  </a:lnTo>
                  <a:lnTo>
                    <a:pt x="495" y="171"/>
                  </a:lnTo>
                  <a:lnTo>
                    <a:pt x="493" y="172"/>
                  </a:lnTo>
                  <a:lnTo>
                    <a:pt x="495" y="172"/>
                  </a:lnTo>
                  <a:lnTo>
                    <a:pt x="496" y="174"/>
                  </a:lnTo>
                  <a:lnTo>
                    <a:pt x="498" y="175"/>
                  </a:lnTo>
                  <a:lnTo>
                    <a:pt x="497" y="176"/>
                  </a:lnTo>
                  <a:lnTo>
                    <a:pt x="496" y="178"/>
                  </a:lnTo>
                  <a:lnTo>
                    <a:pt x="496" y="180"/>
                  </a:lnTo>
                  <a:lnTo>
                    <a:pt x="493" y="177"/>
                  </a:lnTo>
                  <a:lnTo>
                    <a:pt x="491" y="178"/>
                  </a:lnTo>
                  <a:lnTo>
                    <a:pt x="490" y="181"/>
                  </a:lnTo>
                  <a:lnTo>
                    <a:pt x="491" y="181"/>
                  </a:lnTo>
                  <a:lnTo>
                    <a:pt x="491" y="182"/>
                  </a:lnTo>
                  <a:lnTo>
                    <a:pt x="488" y="184"/>
                  </a:lnTo>
                  <a:lnTo>
                    <a:pt x="487" y="186"/>
                  </a:lnTo>
                  <a:lnTo>
                    <a:pt x="487" y="188"/>
                  </a:lnTo>
                  <a:lnTo>
                    <a:pt x="488" y="190"/>
                  </a:lnTo>
                  <a:lnTo>
                    <a:pt x="491" y="190"/>
                  </a:lnTo>
                  <a:lnTo>
                    <a:pt x="493" y="189"/>
                  </a:lnTo>
                  <a:lnTo>
                    <a:pt x="496" y="188"/>
                  </a:lnTo>
                  <a:lnTo>
                    <a:pt x="498" y="187"/>
                  </a:lnTo>
                  <a:lnTo>
                    <a:pt x="495" y="189"/>
                  </a:lnTo>
                  <a:lnTo>
                    <a:pt x="492" y="192"/>
                  </a:lnTo>
                  <a:lnTo>
                    <a:pt x="493" y="192"/>
                  </a:lnTo>
                  <a:lnTo>
                    <a:pt x="495" y="193"/>
                  </a:lnTo>
                  <a:lnTo>
                    <a:pt x="498" y="193"/>
                  </a:lnTo>
                  <a:lnTo>
                    <a:pt x="502" y="193"/>
                  </a:lnTo>
                  <a:lnTo>
                    <a:pt x="502" y="192"/>
                  </a:lnTo>
                  <a:lnTo>
                    <a:pt x="503" y="190"/>
                  </a:lnTo>
                  <a:lnTo>
                    <a:pt x="504" y="189"/>
                  </a:lnTo>
                  <a:lnTo>
                    <a:pt x="507" y="187"/>
                  </a:lnTo>
                  <a:lnTo>
                    <a:pt x="509" y="187"/>
                  </a:lnTo>
                  <a:lnTo>
                    <a:pt x="511" y="187"/>
                  </a:lnTo>
                  <a:lnTo>
                    <a:pt x="510" y="188"/>
                  </a:lnTo>
                  <a:lnTo>
                    <a:pt x="507" y="190"/>
                  </a:lnTo>
                  <a:lnTo>
                    <a:pt x="508" y="193"/>
                  </a:lnTo>
                  <a:lnTo>
                    <a:pt x="509" y="194"/>
                  </a:lnTo>
                  <a:lnTo>
                    <a:pt x="510" y="196"/>
                  </a:lnTo>
                  <a:lnTo>
                    <a:pt x="509" y="198"/>
                  </a:lnTo>
                  <a:lnTo>
                    <a:pt x="511" y="199"/>
                  </a:lnTo>
                  <a:lnTo>
                    <a:pt x="511" y="201"/>
                  </a:lnTo>
                  <a:lnTo>
                    <a:pt x="510" y="201"/>
                  </a:lnTo>
                  <a:lnTo>
                    <a:pt x="509" y="205"/>
                  </a:lnTo>
                  <a:lnTo>
                    <a:pt x="509" y="206"/>
                  </a:lnTo>
                  <a:lnTo>
                    <a:pt x="511" y="206"/>
                  </a:lnTo>
                  <a:lnTo>
                    <a:pt x="513" y="205"/>
                  </a:lnTo>
                  <a:lnTo>
                    <a:pt x="515" y="204"/>
                  </a:lnTo>
                  <a:lnTo>
                    <a:pt x="513" y="204"/>
                  </a:lnTo>
                  <a:lnTo>
                    <a:pt x="513" y="201"/>
                  </a:lnTo>
                  <a:lnTo>
                    <a:pt x="516" y="200"/>
                  </a:lnTo>
                  <a:lnTo>
                    <a:pt x="517" y="200"/>
                  </a:lnTo>
                  <a:lnTo>
                    <a:pt x="519" y="199"/>
                  </a:lnTo>
                  <a:lnTo>
                    <a:pt x="519" y="195"/>
                  </a:lnTo>
                  <a:lnTo>
                    <a:pt x="521" y="193"/>
                  </a:lnTo>
                  <a:lnTo>
                    <a:pt x="520" y="198"/>
                  </a:lnTo>
                  <a:lnTo>
                    <a:pt x="521" y="199"/>
                  </a:lnTo>
                  <a:lnTo>
                    <a:pt x="522" y="199"/>
                  </a:lnTo>
                  <a:lnTo>
                    <a:pt x="521" y="200"/>
                  </a:lnTo>
                  <a:lnTo>
                    <a:pt x="520" y="204"/>
                  </a:lnTo>
                  <a:lnTo>
                    <a:pt x="521" y="205"/>
                  </a:lnTo>
                  <a:lnTo>
                    <a:pt x="520" y="207"/>
                  </a:lnTo>
                  <a:lnTo>
                    <a:pt x="522" y="210"/>
                  </a:lnTo>
                  <a:lnTo>
                    <a:pt x="520" y="212"/>
                  </a:lnTo>
                  <a:lnTo>
                    <a:pt x="517" y="212"/>
                  </a:lnTo>
                  <a:lnTo>
                    <a:pt x="514" y="212"/>
                  </a:lnTo>
                  <a:lnTo>
                    <a:pt x="511" y="211"/>
                  </a:lnTo>
                  <a:lnTo>
                    <a:pt x="508" y="213"/>
                  </a:lnTo>
                  <a:lnTo>
                    <a:pt x="507" y="214"/>
                  </a:lnTo>
                  <a:lnTo>
                    <a:pt x="508" y="214"/>
                  </a:lnTo>
                  <a:lnTo>
                    <a:pt x="511" y="214"/>
                  </a:lnTo>
                  <a:lnTo>
                    <a:pt x="511" y="217"/>
                  </a:lnTo>
                  <a:lnTo>
                    <a:pt x="514" y="217"/>
                  </a:lnTo>
                  <a:lnTo>
                    <a:pt x="514" y="218"/>
                  </a:lnTo>
                  <a:lnTo>
                    <a:pt x="516" y="218"/>
                  </a:lnTo>
                  <a:lnTo>
                    <a:pt x="519" y="219"/>
                  </a:lnTo>
                  <a:lnTo>
                    <a:pt x="521" y="219"/>
                  </a:lnTo>
                  <a:lnTo>
                    <a:pt x="522" y="218"/>
                  </a:lnTo>
                  <a:lnTo>
                    <a:pt x="522" y="220"/>
                  </a:lnTo>
                  <a:lnTo>
                    <a:pt x="523" y="222"/>
                  </a:lnTo>
                  <a:lnTo>
                    <a:pt x="521" y="222"/>
                  </a:lnTo>
                  <a:lnTo>
                    <a:pt x="520" y="223"/>
                  </a:lnTo>
                  <a:lnTo>
                    <a:pt x="522" y="225"/>
                  </a:lnTo>
                  <a:lnTo>
                    <a:pt x="521" y="225"/>
                  </a:lnTo>
                  <a:lnTo>
                    <a:pt x="520" y="228"/>
                  </a:lnTo>
                  <a:lnTo>
                    <a:pt x="519" y="228"/>
                  </a:lnTo>
                  <a:lnTo>
                    <a:pt x="517" y="228"/>
                  </a:lnTo>
                  <a:lnTo>
                    <a:pt x="519" y="230"/>
                  </a:lnTo>
                  <a:lnTo>
                    <a:pt x="517" y="229"/>
                  </a:lnTo>
                  <a:lnTo>
                    <a:pt x="516" y="231"/>
                  </a:lnTo>
                  <a:lnTo>
                    <a:pt x="515" y="231"/>
                  </a:lnTo>
                  <a:lnTo>
                    <a:pt x="514" y="231"/>
                  </a:lnTo>
                  <a:lnTo>
                    <a:pt x="514" y="232"/>
                  </a:lnTo>
                  <a:lnTo>
                    <a:pt x="511" y="232"/>
                  </a:lnTo>
                  <a:lnTo>
                    <a:pt x="510" y="231"/>
                  </a:lnTo>
                  <a:lnTo>
                    <a:pt x="510" y="232"/>
                  </a:lnTo>
                  <a:lnTo>
                    <a:pt x="509" y="230"/>
                  </a:lnTo>
                  <a:lnTo>
                    <a:pt x="508" y="231"/>
                  </a:lnTo>
                  <a:lnTo>
                    <a:pt x="509" y="232"/>
                  </a:lnTo>
                  <a:lnTo>
                    <a:pt x="510" y="234"/>
                  </a:lnTo>
                  <a:lnTo>
                    <a:pt x="513" y="235"/>
                  </a:lnTo>
                  <a:lnTo>
                    <a:pt x="514" y="238"/>
                  </a:lnTo>
                  <a:lnTo>
                    <a:pt x="514" y="241"/>
                  </a:lnTo>
                  <a:lnTo>
                    <a:pt x="513" y="237"/>
                  </a:lnTo>
                  <a:lnTo>
                    <a:pt x="510" y="236"/>
                  </a:lnTo>
                  <a:lnTo>
                    <a:pt x="509" y="237"/>
                  </a:lnTo>
                  <a:lnTo>
                    <a:pt x="508" y="236"/>
                  </a:lnTo>
                  <a:lnTo>
                    <a:pt x="507" y="237"/>
                  </a:lnTo>
                  <a:lnTo>
                    <a:pt x="508" y="235"/>
                  </a:lnTo>
                  <a:lnTo>
                    <a:pt x="507" y="234"/>
                  </a:lnTo>
                  <a:lnTo>
                    <a:pt x="505" y="235"/>
                  </a:lnTo>
                  <a:lnTo>
                    <a:pt x="504" y="237"/>
                  </a:lnTo>
                  <a:lnTo>
                    <a:pt x="503" y="236"/>
                  </a:lnTo>
                  <a:lnTo>
                    <a:pt x="502" y="237"/>
                  </a:lnTo>
                  <a:lnTo>
                    <a:pt x="501" y="238"/>
                  </a:lnTo>
                  <a:lnTo>
                    <a:pt x="499" y="235"/>
                  </a:lnTo>
                  <a:lnTo>
                    <a:pt x="499" y="232"/>
                  </a:lnTo>
                  <a:lnTo>
                    <a:pt x="498" y="232"/>
                  </a:lnTo>
                  <a:lnTo>
                    <a:pt x="497" y="231"/>
                  </a:lnTo>
                  <a:lnTo>
                    <a:pt x="498" y="228"/>
                  </a:lnTo>
                  <a:lnTo>
                    <a:pt x="498" y="225"/>
                  </a:lnTo>
                  <a:lnTo>
                    <a:pt x="496" y="226"/>
                  </a:lnTo>
                  <a:lnTo>
                    <a:pt x="492" y="229"/>
                  </a:lnTo>
                  <a:lnTo>
                    <a:pt x="488" y="232"/>
                  </a:lnTo>
                  <a:lnTo>
                    <a:pt x="488" y="234"/>
                  </a:lnTo>
                  <a:lnTo>
                    <a:pt x="490" y="234"/>
                  </a:lnTo>
                  <a:lnTo>
                    <a:pt x="490" y="235"/>
                  </a:lnTo>
                  <a:lnTo>
                    <a:pt x="488" y="236"/>
                  </a:lnTo>
                  <a:lnTo>
                    <a:pt x="491" y="240"/>
                  </a:lnTo>
                  <a:lnTo>
                    <a:pt x="492" y="241"/>
                  </a:lnTo>
                  <a:lnTo>
                    <a:pt x="498" y="246"/>
                  </a:lnTo>
                  <a:lnTo>
                    <a:pt x="499" y="243"/>
                  </a:lnTo>
                  <a:lnTo>
                    <a:pt x="501" y="241"/>
                  </a:lnTo>
                  <a:lnTo>
                    <a:pt x="503" y="242"/>
                  </a:lnTo>
                  <a:lnTo>
                    <a:pt x="502" y="243"/>
                  </a:lnTo>
                  <a:lnTo>
                    <a:pt x="507" y="245"/>
                  </a:lnTo>
                  <a:lnTo>
                    <a:pt x="505" y="248"/>
                  </a:lnTo>
                  <a:lnTo>
                    <a:pt x="507" y="252"/>
                  </a:lnTo>
                  <a:lnTo>
                    <a:pt x="511" y="251"/>
                  </a:lnTo>
                  <a:lnTo>
                    <a:pt x="511" y="249"/>
                  </a:lnTo>
                  <a:lnTo>
                    <a:pt x="510" y="249"/>
                  </a:lnTo>
                  <a:lnTo>
                    <a:pt x="513" y="246"/>
                  </a:lnTo>
                  <a:lnTo>
                    <a:pt x="515" y="246"/>
                  </a:lnTo>
                  <a:lnTo>
                    <a:pt x="517" y="243"/>
                  </a:lnTo>
                  <a:lnTo>
                    <a:pt x="519" y="245"/>
                  </a:lnTo>
                  <a:lnTo>
                    <a:pt x="517" y="247"/>
                  </a:lnTo>
                  <a:lnTo>
                    <a:pt x="515" y="249"/>
                  </a:lnTo>
                  <a:lnTo>
                    <a:pt x="513" y="251"/>
                  </a:lnTo>
                  <a:lnTo>
                    <a:pt x="513" y="252"/>
                  </a:lnTo>
                  <a:lnTo>
                    <a:pt x="507" y="252"/>
                  </a:lnTo>
                  <a:lnTo>
                    <a:pt x="507" y="254"/>
                  </a:lnTo>
                  <a:lnTo>
                    <a:pt x="505" y="254"/>
                  </a:lnTo>
                  <a:lnTo>
                    <a:pt x="504" y="255"/>
                  </a:lnTo>
                  <a:lnTo>
                    <a:pt x="507" y="257"/>
                  </a:lnTo>
                  <a:lnTo>
                    <a:pt x="505" y="259"/>
                  </a:lnTo>
                  <a:lnTo>
                    <a:pt x="504" y="260"/>
                  </a:lnTo>
                  <a:lnTo>
                    <a:pt x="503" y="258"/>
                  </a:lnTo>
                  <a:lnTo>
                    <a:pt x="503" y="255"/>
                  </a:lnTo>
                  <a:lnTo>
                    <a:pt x="503" y="253"/>
                  </a:lnTo>
                  <a:lnTo>
                    <a:pt x="502" y="254"/>
                  </a:lnTo>
                  <a:lnTo>
                    <a:pt x="501" y="257"/>
                  </a:lnTo>
                  <a:lnTo>
                    <a:pt x="498" y="258"/>
                  </a:lnTo>
                  <a:lnTo>
                    <a:pt x="497" y="257"/>
                  </a:lnTo>
                  <a:lnTo>
                    <a:pt x="497" y="253"/>
                  </a:lnTo>
                  <a:lnTo>
                    <a:pt x="496" y="255"/>
                  </a:lnTo>
                  <a:lnTo>
                    <a:pt x="495" y="258"/>
                  </a:lnTo>
                  <a:lnTo>
                    <a:pt x="492" y="259"/>
                  </a:lnTo>
                  <a:lnTo>
                    <a:pt x="492" y="258"/>
                  </a:lnTo>
                  <a:lnTo>
                    <a:pt x="491" y="255"/>
                  </a:lnTo>
                  <a:lnTo>
                    <a:pt x="492" y="253"/>
                  </a:lnTo>
                  <a:lnTo>
                    <a:pt x="491" y="252"/>
                  </a:lnTo>
                  <a:lnTo>
                    <a:pt x="490" y="253"/>
                  </a:lnTo>
                  <a:lnTo>
                    <a:pt x="487" y="253"/>
                  </a:lnTo>
                  <a:lnTo>
                    <a:pt x="487" y="251"/>
                  </a:lnTo>
                  <a:lnTo>
                    <a:pt x="487" y="248"/>
                  </a:lnTo>
                  <a:lnTo>
                    <a:pt x="486" y="248"/>
                  </a:lnTo>
                  <a:lnTo>
                    <a:pt x="487" y="246"/>
                  </a:lnTo>
                  <a:lnTo>
                    <a:pt x="486" y="243"/>
                  </a:lnTo>
                  <a:lnTo>
                    <a:pt x="485" y="243"/>
                  </a:lnTo>
                  <a:lnTo>
                    <a:pt x="484" y="246"/>
                  </a:lnTo>
                  <a:lnTo>
                    <a:pt x="482" y="245"/>
                  </a:lnTo>
                  <a:lnTo>
                    <a:pt x="484" y="242"/>
                  </a:lnTo>
                  <a:lnTo>
                    <a:pt x="481" y="242"/>
                  </a:lnTo>
                  <a:lnTo>
                    <a:pt x="481" y="245"/>
                  </a:lnTo>
                  <a:lnTo>
                    <a:pt x="481" y="247"/>
                  </a:lnTo>
                  <a:lnTo>
                    <a:pt x="481" y="248"/>
                  </a:lnTo>
                  <a:lnTo>
                    <a:pt x="481" y="251"/>
                  </a:lnTo>
                  <a:lnTo>
                    <a:pt x="481" y="252"/>
                  </a:lnTo>
                  <a:lnTo>
                    <a:pt x="482" y="252"/>
                  </a:lnTo>
                  <a:lnTo>
                    <a:pt x="482" y="255"/>
                  </a:lnTo>
                  <a:lnTo>
                    <a:pt x="481" y="258"/>
                  </a:lnTo>
                  <a:lnTo>
                    <a:pt x="484" y="259"/>
                  </a:lnTo>
                  <a:lnTo>
                    <a:pt x="482" y="260"/>
                  </a:lnTo>
                  <a:lnTo>
                    <a:pt x="485" y="261"/>
                  </a:lnTo>
                  <a:lnTo>
                    <a:pt x="486" y="261"/>
                  </a:lnTo>
                  <a:lnTo>
                    <a:pt x="487" y="259"/>
                  </a:lnTo>
                  <a:lnTo>
                    <a:pt x="490" y="259"/>
                  </a:lnTo>
                  <a:lnTo>
                    <a:pt x="491" y="261"/>
                  </a:lnTo>
                  <a:lnTo>
                    <a:pt x="493" y="263"/>
                  </a:lnTo>
                  <a:lnTo>
                    <a:pt x="492" y="264"/>
                  </a:lnTo>
                  <a:lnTo>
                    <a:pt x="495" y="265"/>
                  </a:lnTo>
                  <a:lnTo>
                    <a:pt x="492" y="266"/>
                  </a:lnTo>
                  <a:lnTo>
                    <a:pt x="487" y="265"/>
                  </a:lnTo>
                  <a:lnTo>
                    <a:pt x="485" y="265"/>
                  </a:lnTo>
                  <a:lnTo>
                    <a:pt x="481" y="264"/>
                  </a:lnTo>
                  <a:lnTo>
                    <a:pt x="479" y="265"/>
                  </a:lnTo>
                  <a:lnTo>
                    <a:pt x="475" y="267"/>
                  </a:lnTo>
                  <a:lnTo>
                    <a:pt x="475" y="265"/>
                  </a:lnTo>
                  <a:lnTo>
                    <a:pt x="473" y="267"/>
                  </a:lnTo>
                  <a:lnTo>
                    <a:pt x="473" y="264"/>
                  </a:lnTo>
                  <a:lnTo>
                    <a:pt x="469" y="263"/>
                  </a:lnTo>
                  <a:lnTo>
                    <a:pt x="469" y="265"/>
                  </a:lnTo>
                  <a:lnTo>
                    <a:pt x="470" y="266"/>
                  </a:lnTo>
                  <a:lnTo>
                    <a:pt x="469" y="266"/>
                  </a:lnTo>
                  <a:lnTo>
                    <a:pt x="468" y="269"/>
                  </a:lnTo>
                  <a:lnTo>
                    <a:pt x="469" y="270"/>
                  </a:lnTo>
                  <a:lnTo>
                    <a:pt x="468" y="270"/>
                  </a:lnTo>
                  <a:lnTo>
                    <a:pt x="468" y="272"/>
                  </a:lnTo>
                  <a:lnTo>
                    <a:pt x="467" y="270"/>
                  </a:lnTo>
                  <a:lnTo>
                    <a:pt x="466" y="267"/>
                  </a:lnTo>
                  <a:lnTo>
                    <a:pt x="466" y="269"/>
                  </a:lnTo>
                  <a:lnTo>
                    <a:pt x="466" y="266"/>
                  </a:lnTo>
                  <a:lnTo>
                    <a:pt x="464" y="267"/>
                  </a:lnTo>
                  <a:lnTo>
                    <a:pt x="463" y="269"/>
                  </a:lnTo>
                  <a:lnTo>
                    <a:pt x="463" y="267"/>
                  </a:lnTo>
                  <a:lnTo>
                    <a:pt x="462" y="267"/>
                  </a:lnTo>
                  <a:lnTo>
                    <a:pt x="461" y="266"/>
                  </a:lnTo>
                  <a:lnTo>
                    <a:pt x="460" y="266"/>
                  </a:lnTo>
                  <a:lnTo>
                    <a:pt x="460" y="265"/>
                  </a:lnTo>
                  <a:lnTo>
                    <a:pt x="457" y="265"/>
                  </a:lnTo>
                  <a:lnTo>
                    <a:pt x="456" y="266"/>
                  </a:lnTo>
                  <a:lnTo>
                    <a:pt x="455" y="269"/>
                  </a:lnTo>
                  <a:lnTo>
                    <a:pt x="454" y="270"/>
                  </a:lnTo>
                  <a:lnTo>
                    <a:pt x="452" y="272"/>
                  </a:lnTo>
                  <a:lnTo>
                    <a:pt x="452" y="269"/>
                  </a:lnTo>
                  <a:lnTo>
                    <a:pt x="450" y="269"/>
                  </a:lnTo>
                  <a:lnTo>
                    <a:pt x="448" y="269"/>
                  </a:lnTo>
                  <a:lnTo>
                    <a:pt x="448" y="270"/>
                  </a:lnTo>
                  <a:lnTo>
                    <a:pt x="446" y="269"/>
                  </a:lnTo>
                  <a:lnTo>
                    <a:pt x="444" y="269"/>
                  </a:lnTo>
                  <a:lnTo>
                    <a:pt x="442" y="270"/>
                  </a:lnTo>
                  <a:lnTo>
                    <a:pt x="442" y="273"/>
                  </a:lnTo>
                  <a:lnTo>
                    <a:pt x="440" y="272"/>
                  </a:lnTo>
                  <a:lnTo>
                    <a:pt x="439" y="271"/>
                  </a:lnTo>
                  <a:lnTo>
                    <a:pt x="439" y="272"/>
                  </a:lnTo>
                  <a:lnTo>
                    <a:pt x="438" y="273"/>
                  </a:lnTo>
                  <a:lnTo>
                    <a:pt x="439" y="275"/>
                  </a:lnTo>
                  <a:lnTo>
                    <a:pt x="440" y="275"/>
                  </a:lnTo>
                  <a:lnTo>
                    <a:pt x="439" y="277"/>
                  </a:lnTo>
                  <a:lnTo>
                    <a:pt x="439" y="278"/>
                  </a:lnTo>
                  <a:lnTo>
                    <a:pt x="440" y="278"/>
                  </a:lnTo>
                  <a:lnTo>
                    <a:pt x="443" y="278"/>
                  </a:lnTo>
                  <a:lnTo>
                    <a:pt x="443" y="277"/>
                  </a:lnTo>
                  <a:lnTo>
                    <a:pt x="444" y="278"/>
                  </a:lnTo>
                  <a:lnTo>
                    <a:pt x="445" y="277"/>
                  </a:lnTo>
                  <a:lnTo>
                    <a:pt x="445" y="273"/>
                  </a:lnTo>
                  <a:lnTo>
                    <a:pt x="448" y="276"/>
                  </a:lnTo>
                  <a:lnTo>
                    <a:pt x="448" y="277"/>
                  </a:lnTo>
                  <a:lnTo>
                    <a:pt x="450" y="277"/>
                  </a:lnTo>
                  <a:lnTo>
                    <a:pt x="451" y="279"/>
                  </a:lnTo>
                  <a:lnTo>
                    <a:pt x="450" y="279"/>
                  </a:lnTo>
                  <a:lnTo>
                    <a:pt x="449" y="281"/>
                  </a:lnTo>
                  <a:lnTo>
                    <a:pt x="450" y="282"/>
                  </a:lnTo>
                  <a:lnTo>
                    <a:pt x="449" y="282"/>
                  </a:lnTo>
                  <a:lnTo>
                    <a:pt x="448" y="283"/>
                  </a:lnTo>
                  <a:lnTo>
                    <a:pt x="450" y="284"/>
                  </a:lnTo>
                  <a:lnTo>
                    <a:pt x="451" y="283"/>
                  </a:lnTo>
                  <a:lnTo>
                    <a:pt x="451" y="282"/>
                  </a:lnTo>
                  <a:lnTo>
                    <a:pt x="452" y="284"/>
                  </a:lnTo>
                  <a:lnTo>
                    <a:pt x="451" y="287"/>
                  </a:lnTo>
                  <a:lnTo>
                    <a:pt x="450" y="287"/>
                  </a:lnTo>
                  <a:lnTo>
                    <a:pt x="450" y="288"/>
                  </a:lnTo>
                  <a:lnTo>
                    <a:pt x="452" y="288"/>
                  </a:lnTo>
                  <a:lnTo>
                    <a:pt x="454" y="289"/>
                  </a:lnTo>
                  <a:lnTo>
                    <a:pt x="455" y="289"/>
                  </a:lnTo>
                  <a:lnTo>
                    <a:pt x="456" y="290"/>
                  </a:lnTo>
                  <a:lnTo>
                    <a:pt x="456" y="294"/>
                  </a:lnTo>
                  <a:lnTo>
                    <a:pt x="457" y="295"/>
                  </a:lnTo>
                  <a:lnTo>
                    <a:pt x="458" y="295"/>
                  </a:lnTo>
                  <a:lnTo>
                    <a:pt x="461" y="295"/>
                  </a:lnTo>
                  <a:lnTo>
                    <a:pt x="462" y="295"/>
                  </a:lnTo>
                  <a:lnTo>
                    <a:pt x="462" y="293"/>
                  </a:lnTo>
                  <a:lnTo>
                    <a:pt x="463" y="291"/>
                  </a:lnTo>
                  <a:lnTo>
                    <a:pt x="464" y="290"/>
                  </a:lnTo>
                  <a:lnTo>
                    <a:pt x="467" y="290"/>
                  </a:lnTo>
                  <a:lnTo>
                    <a:pt x="466" y="293"/>
                  </a:lnTo>
                  <a:lnTo>
                    <a:pt x="466" y="294"/>
                  </a:lnTo>
                  <a:lnTo>
                    <a:pt x="467" y="294"/>
                  </a:lnTo>
                  <a:lnTo>
                    <a:pt x="466" y="296"/>
                  </a:lnTo>
                  <a:lnTo>
                    <a:pt x="467" y="299"/>
                  </a:lnTo>
                  <a:lnTo>
                    <a:pt x="468" y="300"/>
                  </a:lnTo>
                  <a:lnTo>
                    <a:pt x="468" y="301"/>
                  </a:lnTo>
                  <a:lnTo>
                    <a:pt x="468" y="300"/>
                  </a:lnTo>
                  <a:lnTo>
                    <a:pt x="469" y="301"/>
                  </a:lnTo>
                  <a:lnTo>
                    <a:pt x="469" y="305"/>
                  </a:lnTo>
                  <a:lnTo>
                    <a:pt x="469" y="307"/>
                  </a:lnTo>
                  <a:lnTo>
                    <a:pt x="472" y="307"/>
                  </a:lnTo>
                  <a:lnTo>
                    <a:pt x="473" y="306"/>
                  </a:lnTo>
                  <a:lnTo>
                    <a:pt x="474" y="306"/>
                  </a:lnTo>
                  <a:lnTo>
                    <a:pt x="475" y="307"/>
                  </a:lnTo>
                  <a:lnTo>
                    <a:pt x="478" y="307"/>
                  </a:lnTo>
                  <a:lnTo>
                    <a:pt x="476" y="307"/>
                  </a:lnTo>
                  <a:lnTo>
                    <a:pt x="478" y="306"/>
                  </a:lnTo>
                  <a:lnTo>
                    <a:pt x="479" y="305"/>
                  </a:lnTo>
                  <a:lnTo>
                    <a:pt x="480" y="305"/>
                  </a:lnTo>
                  <a:lnTo>
                    <a:pt x="481" y="307"/>
                  </a:lnTo>
                  <a:lnTo>
                    <a:pt x="480" y="308"/>
                  </a:lnTo>
                  <a:lnTo>
                    <a:pt x="482" y="309"/>
                  </a:lnTo>
                  <a:lnTo>
                    <a:pt x="486" y="312"/>
                  </a:lnTo>
                  <a:lnTo>
                    <a:pt x="485" y="312"/>
                  </a:lnTo>
                  <a:lnTo>
                    <a:pt x="484" y="313"/>
                  </a:lnTo>
                  <a:lnTo>
                    <a:pt x="485" y="314"/>
                  </a:lnTo>
                  <a:lnTo>
                    <a:pt x="486" y="314"/>
                  </a:lnTo>
                  <a:lnTo>
                    <a:pt x="486" y="319"/>
                  </a:lnTo>
                  <a:lnTo>
                    <a:pt x="484" y="321"/>
                  </a:lnTo>
                  <a:lnTo>
                    <a:pt x="482" y="321"/>
                  </a:lnTo>
                  <a:lnTo>
                    <a:pt x="482" y="323"/>
                  </a:lnTo>
                  <a:lnTo>
                    <a:pt x="479" y="326"/>
                  </a:lnTo>
                  <a:lnTo>
                    <a:pt x="476" y="327"/>
                  </a:lnTo>
                  <a:lnTo>
                    <a:pt x="475" y="329"/>
                  </a:lnTo>
                  <a:lnTo>
                    <a:pt x="474" y="329"/>
                  </a:lnTo>
                  <a:lnTo>
                    <a:pt x="473" y="330"/>
                  </a:lnTo>
                  <a:lnTo>
                    <a:pt x="475" y="331"/>
                  </a:lnTo>
                  <a:lnTo>
                    <a:pt x="481" y="333"/>
                  </a:lnTo>
                  <a:lnTo>
                    <a:pt x="485" y="333"/>
                  </a:lnTo>
                  <a:lnTo>
                    <a:pt x="486" y="335"/>
                  </a:lnTo>
                  <a:lnTo>
                    <a:pt x="488" y="337"/>
                  </a:lnTo>
                  <a:lnTo>
                    <a:pt x="488" y="339"/>
                  </a:lnTo>
                  <a:lnTo>
                    <a:pt x="487" y="338"/>
                  </a:lnTo>
                  <a:lnTo>
                    <a:pt x="485" y="337"/>
                  </a:lnTo>
                  <a:lnTo>
                    <a:pt x="482" y="336"/>
                  </a:lnTo>
                  <a:lnTo>
                    <a:pt x="481" y="336"/>
                  </a:lnTo>
                  <a:lnTo>
                    <a:pt x="481" y="335"/>
                  </a:lnTo>
                  <a:lnTo>
                    <a:pt x="479" y="333"/>
                  </a:lnTo>
                  <a:lnTo>
                    <a:pt x="474" y="332"/>
                  </a:lnTo>
                  <a:lnTo>
                    <a:pt x="474" y="333"/>
                  </a:lnTo>
                  <a:lnTo>
                    <a:pt x="473" y="335"/>
                  </a:lnTo>
                  <a:lnTo>
                    <a:pt x="472" y="336"/>
                  </a:lnTo>
                  <a:lnTo>
                    <a:pt x="472" y="337"/>
                  </a:lnTo>
                  <a:lnTo>
                    <a:pt x="470" y="339"/>
                  </a:lnTo>
                  <a:lnTo>
                    <a:pt x="469" y="339"/>
                  </a:lnTo>
                  <a:lnTo>
                    <a:pt x="468" y="341"/>
                  </a:lnTo>
                  <a:lnTo>
                    <a:pt x="467" y="341"/>
                  </a:lnTo>
                  <a:lnTo>
                    <a:pt x="468" y="337"/>
                  </a:lnTo>
                  <a:lnTo>
                    <a:pt x="468" y="335"/>
                  </a:lnTo>
                  <a:lnTo>
                    <a:pt x="468" y="332"/>
                  </a:lnTo>
                  <a:lnTo>
                    <a:pt x="470" y="331"/>
                  </a:lnTo>
                  <a:lnTo>
                    <a:pt x="472" y="330"/>
                  </a:lnTo>
                  <a:lnTo>
                    <a:pt x="469" y="330"/>
                  </a:lnTo>
                  <a:lnTo>
                    <a:pt x="468" y="330"/>
                  </a:lnTo>
                  <a:lnTo>
                    <a:pt x="467" y="332"/>
                  </a:lnTo>
                  <a:lnTo>
                    <a:pt x="467" y="333"/>
                  </a:lnTo>
                  <a:lnTo>
                    <a:pt x="466" y="335"/>
                  </a:lnTo>
                  <a:lnTo>
                    <a:pt x="466" y="332"/>
                  </a:lnTo>
                  <a:lnTo>
                    <a:pt x="467" y="329"/>
                  </a:lnTo>
                  <a:lnTo>
                    <a:pt x="464" y="330"/>
                  </a:lnTo>
                  <a:lnTo>
                    <a:pt x="464" y="331"/>
                  </a:lnTo>
                  <a:lnTo>
                    <a:pt x="463" y="332"/>
                  </a:lnTo>
                  <a:lnTo>
                    <a:pt x="462" y="330"/>
                  </a:lnTo>
                  <a:lnTo>
                    <a:pt x="461" y="329"/>
                  </a:lnTo>
                  <a:lnTo>
                    <a:pt x="460" y="327"/>
                  </a:lnTo>
                  <a:lnTo>
                    <a:pt x="458" y="327"/>
                  </a:lnTo>
                  <a:lnTo>
                    <a:pt x="457" y="326"/>
                  </a:lnTo>
                  <a:lnTo>
                    <a:pt x="457" y="324"/>
                  </a:lnTo>
                  <a:lnTo>
                    <a:pt x="455" y="325"/>
                  </a:lnTo>
                  <a:lnTo>
                    <a:pt x="454" y="326"/>
                  </a:lnTo>
                  <a:lnTo>
                    <a:pt x="454" y="325"/>
                  </a:lnTo>
                  <a:lnTo>
                    <a:pt x="455" y="323"/>
                  </a:lnTo>
                  <a:lnTo>
                    <a:pt x="454" y="321"/>
                  </a:lnTo>
                  <a:lnTo>
                    <a:pt x="450" y="321"/>
                  </a:lnTo>
                  <a:lnTo>
                    <a:pt x="450" y="319"/>
                  </a:lnTo>
                  <a:lnTo>
                    <a:pt x="449" y="319"/>
                  </a:lnTo>
                  <a:lnTo>
                    <a:pt x="448" y="320"/>
                  </a:lnTo>
                  <a:lnTo>
                    <a:pt x="446" y="319"/>
                  </a:lnTo>
                  <a:lnTo>
                    <a:pt x="450" y="318"/>
                  </a:lnTo>
                  <a:lnTo>
                    <a:pt x="450" y="317"/>
                  </a:lnTo>
                  <a:lnTo>
                    <a:pt x="448" y="315"/>
                  </a:lnTo>
                  <a:lnTo>
                    <a:pt x="449" y="314"/>
                  </a:lnTo>
                  <a:lnTo>
                    <a:pt x="448" y="315"/>
                  </a:lnTo>
                  <a:lnTo>
                    <a:pt x="446" y="314"/>
                  </a:lnTo>
                  <a:lnTo>
                    <a:pt x="445" y="312"/>
                  </a:lnTo>
                  <a:lnTo>
                    <a:pt x="443" y="312"/>
                  </a:lnTo>
                  <a:lnTo>
                    <a:pt x="444" y="317"/>
                  </a:lnTo>
                  <a:lnTo>
                    <a:pt x="444" y="324"/>
                  </a:lnTo>
                  <a:lnTo>
                    <a:pt x="444" y="325"/>
                  </a:lnTo>
                  <a:lnTo>
                    <a:pt x="445" y="327"/>
                  </a:lnTo>
                  <a:lnTo>
                    <a:pt x="445" y="330"/>
                  </a:lnTo>
                  <a:lnTo>
                    <a:pt x="444" y="329"/>
                  </a:lnTo>
                  <a:lnTo>
                    <a:pt x="443" y="325"/>
                  </a:lnTo>
                  <a:lnTo>
                    <a:pt x="443" y="321"/>
                  </a:lnTo>
                  <a:lnTo>
                    <a:pt x="442" y="323"/>
                  </a:lnTo>
                  <a:lnTo>
                    <a:pt x="439" y="326"/>
                  </a:lnTo>
                  <a:lnTo>
                    <a:pt x="439" y="327"/>
                  </a:lnTo>
                  <a:lnTo>
                    <a:pt x="440" y="331"/>
                  </a:lnTo>
                  <a:lnTo>
                    <a:pt x="438" y="333"/>
                  </a:lnTo>
                  <a:lnTo>
                    <a:pt x="434" y="337"/>
                  </a:lnTo>
                  <a:lnTo>
                    <a:pt x="433" y="338"/>
                  </a:lnTo>
                  <a:lnTo>
                    <a:pt x="438" y="343"/>
                  </a:lnTo>
                  <a:lnTo>
                    <a:pt x="440" y="344"/>
                  </a:lnTo>
                  <a:lnTo>
                    <a:pt x="440" y="343"/>
                  </a:lnTo>
                  <a:lnTo>
                    <a:pt x="444" y="344"/>
                  </a:lnTo>
                  <a:lnTo>
                    <a:pt x="445" y="345"/>
                  </a:lnTo>
                  <a:lnTo>
                    <a:pt x="444" y="347"/>
                  </a:lnTo>
                  <a:lnTo>
                    <a:pt x="445" y="347"/>
                  </a:lnTo>
                  <a:lnTo>
                    <a:pt x="446" y="347"/>
                  </a:lnTo>
                  <a:lnTo>
                    <a:pt x="448" y="347"/>
                  </a:lnTo>
                  <a:lnTo>
                    <a:pt x="449" y="344"/>
                  </a:lnTo>
                  <a:lnTo>
                    <a:pt x="449" y="342"/>
                  </a:lnTo>
                  <a:lnTo>
                    <a:pt x="450" y="341"/>
                  </a:lnTo>
                  <a:lnTo>
                    <a:pt x="452" y="343"/>
                  </a:lnTo>
                  <a:lnTo>
                    <a:pt x="451" y="347"/>
                  </a:lnTo>
                  <a:lnTo>
                    <a:pt x="451" y="349"/>
                  </a:lnTo>
                  <a:lnTo>
                    <a:pt x="452" y="347"/>
                  </a:lnTo>
                  <a:lnTo>
                    <a:pt x="454" y="347"/>
                  </a:lnTo>
                  <a:lnTo>
                    <a:pt x="454" y="349"/>
                  </a:lnTo>
                  <a:lnTo>
                    <a:pt x="455" y="348"/>
                  </a:lnTo>
                  <a:lnTo>
                    <a:pt x="456" y="348"/>
                  </a:lnTo>
                  <a:lnTo>
                    <a:pt x="456" y="350"/>
                  </a:lnTo>
                  <a:lnTo>
                    <a:pt x="452" y="350"/>
                  </a:lnTo>
                  <a:lnTo>
                    <a:pt x="452" y="352"/>
                  </a:lnTo>
                  <a:lnTo>
                    <a:pt x="454" y="353"/>
                  </a:lnTo>
                  <a:lnTo>
                    <a:pt x="455" y="354"/>
                  </a:lnTo>
                  <a:lnTo>
                    <a:pt x="456" y="356"/>
                  </a:lnTo>
                  <a:lnTo>
                    <a:pt x="455" y="359"/>
                  </a:lnTo>
                  <a:lnTo>
                    <a:pt x="454" y="358"/>
                  </a:lnTo>
                  <a:lnTo>
                    <a:pt x="454" y="359"/>
                  </a:lnTo>
                  <a:lnTo>
                    <a:pt x="452" y="362"/>
                  </a:lnTo>
                  <a:lnTo>
                    <a:pt x="451" y="361"/>
                  </a:lnTo>
                  <a:lnTo>
                    <a:pt x="449" y="359"/>
                  </a:lnTo>
                  <a:lnTo>
                    <a:pt x="450" y="356"/>
                  </a:lnTo>
                  <a:lnTo>
                    <a:pt x="450" y="353"/>
                  </a:lnTo>
                  <a:lnTo>
                    <a:pt x="449" y="354"/>
                  </a:lnTo>
                  <a:lnTo>
                    <a:pt x="448" y="355"/>
                  </a:lnTo>
                  <a:lnTo>
                    <a:pt x="446" y="355"/>
                  </a:lnTo>
                  <a:lnTo>
                    <a:pt x="446" y="352"/>
                  </a:lnTo>
                  <a:lnTo>
                    <a:pt x="445" y="352"/>
                  </a:lnTo>
                  <a:lnTo>
                    <a:pt x="444" y="352"/>
                  </a:lnTo>
                  <a:lnTo>
                    <a:pt x="443" y="348"/>
                  </a:lnTo>
                  <a:lnTo>
                    <a:pt x="443" y="347"/>
                  </a:lnTo>
                  <a:lnTo>
                    <a:pt x="443" y="349"/>
                  </a:lnTo>
                  <a:lnTo>
                    <a:pt x="439" y="349"/>
                  </a:lnTo>
                  <a:lnTo>
                    <a:pt x="439" y="348"/>
                  </a:lnTo>
                  <a:lnTo>
                    <a:pt x="440" y="347"/>
                  </a:lnTo>
                  <a:lnTo>
                    <a:pt x="440" y="345"/>
                  </a:lnTo>
                  <a:lnTo>
                    <a:pt x="437" y="343"/>
                  </a:lnTo>
                  <a:lnTo>
                    <a:pt x="434" y="341"/>
                  </a:lnTo>
                  <a:lnTo>
                    <a:pt x="433" y="343"/>
                  </a:lnTo>
                  <a:lnTo>
                    <a:pt x="434" y="344"/>
                  </a:lnTo>
                  <a:lnTo>
                    <a:pt x="436" y="348"/>
                  </a:lnTo>
                  <a:lnTo>
                    <a:pt x="437" y="350"/>
                  </a:lnTo>
                  <a:lnTo>
                    <a:pt x="434" y="355"/>
                  </a:lnTo>
                  <a:lnTo>
                    <a:pt x="433" y="356"/>
                  </a:lnTo>
                  <a:lnTo>
                    <a:pt x="433" y="359"/>
                  </a:lnTo>
                  <a:lnTo>
                    <a:pt x="432" y="361"/>
                  </a:lnTo>
                  <a:lnTo>
                    <a:pt x="432" y="362"/>
                  </a:lnTo>
                  <a:lnTo>
                    <a:pt x="433" y="365"/>
                  </a:lnTo>
                  <a:lnTo>
                    <a:pt x="434" y="365"/>
                  </a:lnTo>
                  <a:lnTo>
                    <a:pt x="436" y="362"/>
                  </a:lnTo>
                  <a:lnTo>
                    <a:pt x="437" y="361"/>
                  </a:lnTo>
                  <a:lnTo>
                    <a:pt x="439" y="362"/>
                  </a:lnTo>
                  <a:lnTo>
                    <a:pt x="439" y="365"/>
                  </a:lnTo>
                  <a:lnTo>
                    <a:pt x="442" y="365"/>
                  </a:lnTo>
                  <a:lnTo>
                    <a:pt x="444" y="366"/>
                  </a:lnTo>
                  <a:lnTo>
                    <a:pt x="445" y="367"/>
                  </a:lnTo>
                  <a:lnTo>
                    <a:pt x="446" y="366"/>
                  </a:lnTo>
                  <a:lnTo>
                    <a:pt x="448" y="365"/>
                  </a:lnTo>
                  <a:lnTo>
                    <a:pt x="450" y="364"/>
                  </a:lnTo>
                  <a:lnTo>
                    <a:pt x="452" y="365"/>
                  </a:lnTo>
                  <a:lnTo>
                    <a:pt x="449" y="365"/>
                  </a:lnTo>
                  <a:lnTo>
                    <a:pt x="448" y="367"/>
                  </a:lnTo>
                  <a:lnTo>
                    <a:pt x="448" y="368"/>
                  </a:lnTo>
                  <a:lnTo>
                    <a:pt x="449" y="368"/>
                  </a:lnTo>
                  <a:lnTo>
                    <a:pt x="452" y="368"/>
                  </a:lnTo>
                  <a:lnTo>
                    <a:pt x="454" y="368"/>
                  </a:lnTo>
                  <a:lnTo>
                    <a:pt x="455" y="367"/>
                  </a:lnTo>
                  <a:lnTo>
                    <a:pt x="456" y="367"/>
                  </a:lnTo>
                  <a:lnTo>
                    <a:pt x="458" y="367"/>
                  </a:lnTo>
                  <a:lnTo>
                    <a:pt x="458" y="366"/>
                  </a:lnTo>
                  <a:lnTo>
                    <a:pt x="460" y="367"/>
                  </a:lnTo>
                  <a:lnTo>
                    <a:pt x="460" y="370"/>
                  </a:lnTo>
                  <a:lnTo>
                    <a:pt x="457" y="373"/>
                  </a:lnTo>
                  <a:lnTo>
                    <a:pt x="458" y="374"/>
                  </a:lnTo>
                  <a:lnTo>
                    <a:pt x="460" y="376"/>
                  </a:lnTo>
                  <a:lnTo>
                    <a:pt x="458" y="380"/>
                  </a:lnTo>
                  <a:lnTo>
                    <a:pt x="457" y="384"/>
                  </a:lnTo>
                  <a:lnTo>
                    <a:pt x="456" y="385"/>
                  </a:lnTo>
                  <a:lnTo>
                    <a:pt x="456" y="388"/>
                  </a:lnTo>
                  <a:lnTo>
                    <a:pt x="455" y="389"/>
                  </a:lnTo>
                  <a:lnTo>
                    <a:pt x="457" y="390"/>
                  </a:lnTo>
                  <a:lnTo>
                    <a:pt x="456" y="395"/>
                  </a:lnTo>
                  <a:lnTo>
                    <a:pt x="456" y="396"/>
                  </a:lnTo>
                  <a:lnTo>
                    <a:pt x="454" y="396"/>
                  </a:lnTo>
                  <a:lnTo>
                    <a:pt x="454" y="397"/>
                  </a:lnTo>
                  <a:lnTo>
                    <a:pt x="454" y="400"/>
                  </a:lnTo>
                  <a:lnTo>
                    <a:pt x="452" y="400"/>
                  </a:lnTo>
                  <a:lnTo>
                    <a:pt x="452" y="398"/>
                  </a:lnTo>
                  <a:lnTo>
                    <a:pt x="452" y="401"/>
                  </a:lnTo>
                  <a:lnTo>
                    <a:pt x="454" y="402"/>
                  </a:lnTo>
                  <a:lnTo>
                    <a:pt x="455" y="402"/>
                  </a:lnTo>
                  <a:lnTo>
                    <a:pt x="455" y="400"/>
                  </a:lnTo>
                  <a:lnTo>
                    <a:pt x="455" y="398"/>
                  </a:lnTo>
                  <a:lnTo>
                    <a:pt x="456" y="398"/>
                  </a:lnTo>
                  <a:lnTo>
                    <a:pt x="457" y="402"/>
                  </a:lnTo>
                  <a:lnTo>
                    <a:pt x="457" y="404"/>
                  </a:lnTo>
                  <a:lnTo>
                    <a:pt x="458" y="406"/>
                  </a:lnTo>
                  <a:lnTo>
                    <a:pt x="460" y="407"/>
                  </a:lnTo>
                  <a:lnTo>
                    <a:pt x="461" y="408"/>
                  </a:lnTo>
                  <a:lnTo>
                    <a:pt x="461" y="409"/>
                  </a:lnTo>
                  <a:lnTo>
                    <a:pt x="461" y="410"/>
                  </a:lnTo>
                  <a:lnTo>
                    <a:pt x="462" y="410"/>
                  </a:lnTo>
                  <a:lnTo>
                    <a:pt x="462" y="412"/>
                  </a:lnTo>
                  <a:lnTo>
                    <a:pt x="463" y="412"/>
                  </a:lnTo>
                  <a:lnTo>
                    <a:pt x="464" y="412"/>
                  </a:lnTo>
                  <a:lnTo>
                    <a:pt x="466" y="413"/>
                  </a:lnTo>
                  <a:lnTo>
                    <a:pt x="468" y="415"/>
                  </a:lnTo>
                  <a:lnTo>
                    <a:pt x="466" y="415"/>
                  </a:lnTo>
                  <a:lnTo>
                    <a:pt x="464" y="415"/>
                  </a:lnTo>
                  <a:lnTo>
                    <a:pt x="463" y="414"/>
                  </a:lnTo>
                  <a:lnTo>
                    <a:pt x="463" y="415"/>
                  </a:lnTo>
                  <a:lnTo>
                    <a:pt x="466" y="418"/>
                  </a:lnTo>
                  <a:lnTo>
                    <a:pt x="468" y="419"/>
                  </a:lnTo>
                  <a:lnTo>
                    <a:pt x="468" y="421"/>
                  </a:lnTo>
                  <a:lnTo>
                    <a:pt x="466" y="420"/>
                  </a:lnTo>
                  <a:lnTo>
                    <a:pt x="463" y="418"/>
                  </a:lnTo>
                  <a:lnTo>
                    <a:pt x="463" y="419"/>
                  </a:lnTo>
                  <a:lnTo>
                    <a:pt x="461" y="419"/>
                  </a:lnTo>
                  <a:lnTo>
                    <a:pt x="461" y="420"/>
                  </a:lnTo>
                  <a:lnTo>
                    <a:pt x="458" y="422"/>
                  </a:lnTo>
                  <a:lnTo>
                    <a:pt x="456" y="424"/>
                  </a:lnTo>
                  <a:lnTo>
                    <a:pt x="455" y="425"/>
                  </a:lnTo>
                  <a:lnTo>
                    <a:pt x="455" y="421"/>
                  </a:lnTo>
                  <a:lnTo>
                    <a:pt x="455" y="420"/>
                  </a:lnTo>
                  <a:lnTo>
                    <a:pt x="456" y="418"/>
                  </a:lnTo>
                  <a:lnTo>
                    <a:pt x="457" y="415"/>
                  </a:lnTo>
                  <a:lnTo>
                    <a:pt x="456" y="414"/>
                  </a:lnTo>
                  <a:lnTo>
                    <a:pt x="455" y="416"/>
                  </a:lnTo>
                  <a:lnTo>
                    <a:pt x="454" y="416"/>
                  </a:lnTo>
                  <a:lnTo>
                    <a:pt x="452" y="413"/>
                  </a:lnTo>
                  <a:lnTo>
                    <a:pt x="451" y="412"/>
                  </a:lnTo>
                  <a:lnTo>
                    <a:pt x="451" y="415"/>
                  </a:lnTo>
                  <a:lnTo>
                    <a:pt x="449" y="415"/>
                  </a:lnTo>
                  <a:lnTo>
                    <a:pt x="449" y="418"/>
                  </a:lnTo>
                  <a:lnTo>
                    <a:pt x="450" y="420"/>
                  </a:lnTo>
                  <a:lnTo>
                    <a:pt x="448" y="418"/>
                  </a:lnTo>
                  <a:lnTo>
                    <a:pt x="449" y="420"/>
                  </a:lnTo>
                  <a:lnTo>
                    <a:pt x="450" y="421"/>
                  </a:lnTo>
                  <a:lnTo>
                    <a:pt x="448" y="420"/>
                  </a:lnTo>
                  <a:lnTo>
                    <a:pt x="448" y="421"/>
                  </a:lnTo>
                  <a:lnTo>
                    <a:pt x="446" y="422"/>
                  </a:lnTo>
                  <a:lnTo>
                    <a:pt x="445" y="425"/>
                  </a:lnTo>
                  <a:lnTo>
                    <a:pt x="444" y="426"/>
                  </a:lnTo>
                  <a:lnTo>
                    <a:pt x="443" y="428"/>
                  </a:lnTo>
                  <a:lnTo>
                    <a:pt x="442" y="427"/>
                  </a:lnTo>
                  <a:lnTo>
                    <a:pt x="442" y="425"/>
                  </a:lnTo>
                  <a:lnTo>
                    <a:pt x="440" y="427"/>
                  </a:lnTo>
                  <a:lnTo>
                    <a:pt x="440" y="428"/>
                  </a:lnTo>
                  <a:lnTo>
                    <a:pt x="439" y="426"/>
                  </a:lnTo>
                  <a:lnTo>
                    <a:pt x="438" y="426"/>
                  </a:lnTo>
                  <a:lnTo>
                    <a:pt x="438" y="428"/>
                  </a:lnTo>
                  <a:lnTo>
                    <a:pt x="438" y="431"/>
                  </a:lnTo>
                  <a:lnTo>
                    <a:pt x="437" y="430"/>
                  </a:lnTo>
                  <a:lnTo>
                    <a:pt x="436" y="431"/>
                  </a:lnTo>
                  <a:lnTo>
                    <a:pt x="434" y="432"/>
                  </a:lnTo>
                  <a:lnTo>
                    <a:pt x="433" y="432"/>
                  </a:lnTo>
                  <a:lnTo>
                    <a:pt x="432" y="433"/>
                  </a:lnTo>
                  <a:lnTo>
                    <a:pt x="431" y="432"/>
                  </a:lnTo>
                  <a:lnTo>
                    <a:pt x="431" y="433"/>
                  </a:lnTo>
                  <a:lnTo>
                    <a:pt x="429" y="433"/>
                  </a:lnTo>
                  <a:lnTo>
                    <a:pt x="429" y="431"/>
                  </a:lnTo>
                  <a:lnTo>
                    <a:pt x="428" y="428"/>
                  </a:lnTo>
                  <a:lnTo>
                    <a:pt x="428" y="426"/>
                  </a:lnTo>
                  <a:lnTo>
                    <a:pt x="427" y="426"/>
                  </a:lnTo>
                  <a:lnTo>
                    <a:pt x="427" y="428"/>
                  </a:lnTo>
                  <a:lnTo>
                    <a:pt x="426" y="431"/>
                  </a:lnTo>
                  <a:lnTo>
                    <a:pt x="426" y="433"/>
                  </a:lnTo>
                  <a:lnTo>
                    <a:pt x="428" y="436"/>
                  </a:lnTo>
                  <a:lnTo>
                    <a:pt x="428" y="439"/>
                  </a:lnTo>
                  <a:lnTo>
                    <a:pt x="429" y="440"/>
                  </a:lnTo>
                  <a:lnTo>
                    <a:pt x="428" y="440"/>
                  </a:lnTo>
                  <a:lnTo>
                    <a:pt x="426" y="438"/>
                  </a:lnTo>
                  <a:lnTo>
                    <a:pt x="425" y="438"/>
                  </a:lnTo>
                  <a:lnTo>
                    <a:pt x="423" y="439"/>
                  </a:lnTo>
                  <a:lnTo>
                    <a:pt x="425" y="442"/>
                  </a:lnTo>
                  <a:lnTo>
                    <a:pt x="423" y="444"/>
                  </a:lnTo>
                  <a:lnTo>
                    <a:pt x="423" y="445"/>
                  </a:lnTo>
                  <a:lnTo>
                    <a:pt x="422" y="444"/>
                  </a:lnTo>
                  <a:lnTo>
                    <a:pt x="421" y="445"/>
                  </a:lnTo>
                  <a:lnTo>
                    <a:pt x="419" y="448"/>
                  </a:lnTo>
                  <a:lnTo>
                    <a:pt x="419" y="451"/>
                  </a:lnTo>
                  <a:lnTo>
                    <a:pt x="420" y="455"/>
                  </a:lnTo>
                  <a:lnTo>
                    <a:pt x="422" y="458"/>
                  </a:lnTo>
                  <a:lnTo>
                    <a:pt x="421" y="460"/>
                  </a:lnTo>
                  <a:lnTo>
                    <a:pt x="420" y="461"/>
                  </a:lnTo>
                  <a:lnTo>
                    <a:pt x="419" y="463"/>
                  </a:lnTo>
                  <a:lnTo>
                    <a:pt x="417" y="467"/>
                  </a:lnTo>
                  <a:lnTo>
                    <a:pt x="415" y="469"/>
                  </a:lnTo>
                  <a:lnTo>
                    <a:pt x="414" y="472"/>
                  </a:lnTo>
                  <a:lnTo>
                    <a:pt x="414" y="468"/>
                  </a:lnTo>
                  <a:lnTo>
                    <a:pt x="413" y="466"/>
                  </a:lnTo>
                  <a:lnTo>
                    <a:pt x="411" y="463"/>
                  </a:lnTo>
                  <a:lnTo>
                    <a:pt x="410" y="463"/>
                  </a:lnTo>
                  <a:lnTo>
                    <a:pt x="408" y="465"/>
                  </a:lnTo>
                  <a:lnTo>
                    <a:pt x="409" y="462"/>
                  </a:lnTo>
                  <a:lnTo>
                    <a:pt x="408" y="462"/>
                  </a:lnTo>
                  <a:lnTo>
                    <a:pt x="407" y="465"/>
                  </a:lnTo>
                  <a:lnTo>
                    <a:pt x="405" y="467"/>
                  </a:lnTo>
                  <a:lnTo>
                    <a:pt x="405" y="463"/>
                  </a:lnTo>
                  <a:lnTo>
                    <a:pt x="404" y="461"/>
                  </a:lnTo>
                  <a:lnTo>
                    <a:pt x="405" y="458"/>
                  </a:lnTo>
                  <a:lnTo>
                    <a:pt x="407" y="458"/>
                  </a:lnTo>
                  <a:lnTo>
                    <a:pt x="408" y="460"/>
                  </a:lnTo>
                  <a:lnTo>
                    <a:pt x="409" y="458"/>
                  </a:lnTo>
                  <a:lnTo>
                    <a:pt x="410" y="455"/>
                  </a:lnTo>
                  <a:lnTo>
                    <a:pt x="410" y="451"/>
                  </a:lnTo>
                  <a:lnTo>
                    <a:pt x="411" y="449"/>
                  </a:lnTo>
                  <a:lnTo>
                    <a:pt x="409" y="449"/>
                  </a:lnTo>
                  <a:lnTo>
                    <a:pt x="407" y="448"/>
                  </a:lnTo>
                  <a:lnTo>
                    <a:pt x="405" y="450"/>
                  </a:lnTo>
                  <a:lnTo>
                    <a:pt x="405" y="448"/>
                  </a:lnTo>
                  <a:lnTo>
                    <a:pt x="407" y="446"/>
                  </a:lnTo>
                  <a:lnTo>
                    <a:pt x="404" y="449"/>
                  </a:lnTo>
                  <a:lnTo>
                    <a:pt x="402" y="450"/>
                  </a:lnTo>
                  <a:lnTo>
                    <a:pt x="401" y="454"/>
                  </a:lnTo>
                  <a:lnTo>
                    <a:pt x="398" y="455"/>
                  </a:lnTo>
                  <a:lnTo>
                    <a:pt x="396" y="455"/>
                  </a:lnTo>
                  <a:lnTo>
                    <a:pt x="396" y="454"/>
                  </a:lnTo>
                  <a:lnTo>
                    <a:pt x="396" y="452"/>
                  </a:lnTo>
                  <a:lnTo>
                    <a:pt x="393" y="455"/>
                  </a:lnTo>
                  <a:lnTo>
                    <a:pt x="393" y="456"/>
                  </a:lnTo>
                  <a:lnTo>
                    <a:pt x="393" y="458"/>
                  </a:lnTo>
                  <a:lnTo>
                    <a:pt x="393" y="460"/>
                  </a:lnTo>
                  <a:lnTo>
                    <a:pt x="392" y="462"/>
                  </a:lnTo>
                  <a:lnTo>
                    <a:pt x="391" y="463"/>
                  </a:lnTo>
                  <a:lnTo>
                    <a:pt x="390" y="466"/>
                  </a:lnTo>
                  <a:lnTo>
                    <a:pt x="389" y="467"/>
                  </a:lnTo>
                  <a:lnTo>
                    <a:pt x="387" y="469"/>
                  </a:lnTo>
                  <a:lnTo>
                    <a:pt x="386" y="471"/>
                  </a:lnTo>
                  <a:lnTo>
                    <a:pt x="385" y="473"/>
                  </a:lnTo>
                  <a:lnTo>
                    <a:pt x="385" y="474"/>
                  </a:lnTo>
                  <a:lnTo>
                    <a:pt x="384" y="472"/>
                  </a:lnTo>
                  <a:lnTo>
                    <a:pt x="384" y="473"/>
                  </a:lnTo>
                  <a:lnTo>
                    <a:pt x="381" y="473"/>
                  </a:lnTo>
                  <a:lnTo>
                    <a:pt x="379" y="473"/>
                  </a:lnTo>
                  <a:lnTo>
                    <a:pt x="379" y="472"/>
                  </a:lnTo>
                  <a:lnTo>
                    <a:pt x="381" y="469"/>
                  </a:lnTo>
                  <a:lnTo>
                    <a:pt x="380" y="467"/>
                  </a:lnTo>
                  <a:lnTo>
                    <a:pt x="379" y="467"/>
                  </a:lnTo>
                  <a:lnTo>
                    <a:pt x="381" y="466"/>
                  </a:lnTo>
                  <a:lnTo>
                    <a:pt x="380" y="466"/>
                  </a:lnTo>
                  <a:lnTo>
                    <a:pt x="381" y="465"/>
                  </a:lnTo>
                  <a:lnTo>
                    <a:pt x="383" y="462"/>
                  </a:lnTo>
                  <a:lnTo>
                    <a:pt x="381" y="463"/>
                  </a:lnTo>
                  <a:lnTo>
                    <a:pt x="381" y="461"/>
                  </a:lnTo>
                  <a:lnTo>
                    <a:pt x="383" y="458"/>
                  </a:lnTo>
                  <a:lnTo>
                    <a:pt x="381" y="456"/>
                  </a:lnTo>
                  <a:lnTo>
                    <a:pt x="381" y="449"/>
                  </a:lnTo>
                  <a:lnTo>
                    <a:pt x="383" y="438"/>
                  </a:lnTo>
                  <a:lnTo>
                    <a:pt x="381" y="428"/>
                  </a:lnTo>
                  <a:lnTo>
                    <a:pt x="379" y="432"/>
                  </a:lnTo>
                  <a:lnTo>
                    <a:pt x="378" y="438"/>
                  </a:lnTo>
                  <a:lnTo>
                    <a:pt x="379" y="439"/>
                  </a:lnTo>
                  <a:lnTo>
                    <a:pt x="377" y="438"/>
                  </a:lnTo>
                  <a:lnTo>
                    <a:pt x="370" y="439"/>
                  </a:lnTo>
                  <a:lnTo>
                    <a:pt x="377" y="438"/>
                  </a:lnTo>
                  <a:lnTo>
                    <a:pt x="380" y="430"/>
                  </a:lnTo>
                  <a:lnTo>
                    <a:pt x="378" y="430"/>
                  </a:lnTo>
                  <a:lnTo>
                    <a:pt x="374" y="430"/>
                  </a:lnTo>
                  <a:lnTo>
                    <a:pt x="373" y="430"/>
                  </a:lnTo>
                  <a:lnTo>
                    <a:pt x="370" y="431"/>
                  </a:lnTo>
                  <a:lnTo>
                    <a:pt x="369" y="431"/>
                  </a:lnTo>
                  <a:lnTo>
                    <a:pt x="367" y="430"/>
                  </a:lnTo>
                  <a:lnTo>
                    <a:pt x="366" y="427"/>
                  </a:lnTo>
                  <a:lnTo>
                    <a:pt x="367" y="425"/>
                  </a:lnTo>
                  <a:lnTo>
                    <a:pt x="364" y="426"/>
                  </a:lnTo>
                  <a:lnTo>
                    <a:pt x="362" y="427"/>
                  </a:lnTo>
                  <a:lnTo>
                    <a:pt x="361" y="426"/>
                  </a:lnTo>
                  <a:lnTo>
                    <a:pt x="357" y="427"/>
                  </a:lnTo>
                  <a:lnTo>
                    <a:pt x="358" y="431"/>
                  </a:lnTo>
                  <a:lnTo>
                    <a:pt x="358" y="433"/>
                  </a:lnTo>
                  <a:lnTo>
                    <a:pt x="360" y="434"/>
                  </a:lnTo>
                  <a:lnTo>
                    <a:pt x="360" y="436"/>
                  </a:lnTo>
                  <a:lnTo>
                    <a:pt x="358" y="437"/>
                  </a:lnTo>
                  <a:lnTo>
                    <a:pt x="358" y="439"/>
                  </a:lnTo>
                  <a:lnTo>
                    <a:pt x="360" y="442"/>
                  </a:lnTo>
                  <a:lnTo>
                    <a:pt x="361" y="445"/>
                  </a:lnTo>
                  <a:lnTo>
                    <a:pt x="358" y="440"/>
                  </a:lnTo>
                  <a:lnTo>
                    <a:pt x="357" y="442"/>
                  </a:lnTo>
                  <a:lnTo>
                    <a:pt x="356" y="443"/>
                  </a:lnTo>
                  <a:lnTo>
                    <a:pt x="357" y="448"/>
                  </a:lnTo>
                  <a:lnTo>
                    <a:pt x="355" y="451"/>
                  </a:lnTo>
                  <a:lnTo>
                    <a:pt x="352" y="454"/>
                  </a:lnTo>
                  <a:lnTo>
                    <a:pt x="355" y="449"/>
                  </a:lnTo>
                  <a:lnTo>
                    <a:pt x="355" y="446"/>
                  </a:lnTo>
                  <a:lnTo>
                    <a:pt x="355" y="444"/>
                  </a:lnTo>
                  <a:lnTo>
                    <a:pt x="352" y="444"/>
                  </a:lnTo>
                  <a:lnTo>
                    <a:pt x="352" y="446"/>
                  </a:lnTo>
                  <a:lnTo>
                    <a:pt x="352" y="448"/>
                  </a:lnTo>
                  <a:lnTo>
                    <a:pt x="351" y="450"/>
                  </a:lnTo>
                  <a:lnTo>
                    <a:pt x="351" y="448"/>
                  </a:lnTo>
                  <a:lnTo>
                    <a:pt x="350" y="448"/>
                  </a:lnTo>
                  <a:lnTo>
                    <a:pt x="350" y="450"/>
                  </a:lnTo>
                  <a:lnTo>
                    <a:pt x="350" y="454"/>
                  </a:lnTo>
                  <a:lnTo>
                    <a:pt x="351" y="455"/>
                  </a:lnTo>
                  <a:lnTo>
                    <a:pt x="349" y="460"/>
                  </a:lnTo>
                  <a:lnTo>
                    <a:pt x="346" y="461"/>
                  </a:lnTo>
                  <a:lnTo>
                    <a:pt x="349" y="456"/>
                  </a:lnTo>
                  <a:lnTo>
                    <a:pt x="349" y="454"/>
                  </a:lnTo>
                  <a:lnTo>
                    <a:pt x="349" y="448"/>
                  </a:lnTo>
                  <a:lnTo>
                    <a:pt x="349" y="450"/>
                  </a:lnTo>
                  <a:lnTo>
                    <a:pt x="348" y="452"/>
                  </a:lnTo>
                  <a:lnTo>
                    <a:pt x="346" y="456"/>
                  </a:lnTo>
                  <a:lnTo>
                    <a:pt x="345" y="457"/>
                  </a:lnTo>
                  <a:lnTo>
                    <a:pt x="344" y="458"/>
                  </a:lnTo>
                  <a:lnTo>
                    <a:pt x="343" y="460"/>
                  </a:lnTo>
                  <a:lnTo>
                    <a:pt x="342" y="458"/>
                  </a:lnTo>
                  <a:lnTo>
                    <a:pt x="340" y="457"/>
                  </a:lnTo>
                  <a:lnTo>
                    <a:pt x="340" y="458"/>
                  </a:lnTo>
                  <a:lnTo>
                    <a:pt x="338" y="460"/>
                  </a:lnTo>
                  <a:lnTo>
                    <a:pt x="336" y="462"/>
                  </a:lnTo>
                  <a:lnTo>
                    <a:pt x="334" y="461"/>
                  </a:lnTo>
                  <a:lnTo>
                    <a:pt x="333" y="457"/>
                  </a:lnTo>
                  <a:lnTo>
                    <a:pt x="333" y="455"/>
                  </a:lnTo>
                  <a:lnTo>
                    <a:pt x="336" y="454"/>
                  </a:lnTo>
                  <a:lnTo>
                    <a:pt x="337" y="454"/>
                  </a:lnTo>
                  <a:lnTo>
                    <a:pt x="337" y="451"/>
                  </a:lnTo>
                  <a:lnTo>
                    <a:pt x="336" y="450"/>
                  </a:lnTo>
                  <a:lnTo>
                    <a:pt x="337" y="449"/>
                  </a:lnTo>
                  <a:lnTo>
                    <a:pt x="338" y="446"/>
                  </a:lnTo>
                  <a:lnTo>
                    <a:pt x="337" y="446"/>
                  </a:lnTo>
                  <a:lnTo>
                    <a:pt x="334" y="449"/>
                  </a:lnTo>
                  <a:lnTo>
                    <a:pt x="333" y="452"/>
                  </a:lnTo>
                  <a:lnTo>
                    <a:pt x="332" y="455"/>
                  </a:lnTo>
                  <a:lnTo>
                    <a:pt x="332" y="458"/>
                  </a:lnTo>
                  <a:lnTo>
                    <a:pt x="332" y="457"/>
                  </a:lnTo>
                  <a:lnTo>
                    <a:pt x="330" y="460"/>
                  </a:lnTo>
                  <a:lnTo>
                    <a:pt x="328" y="460"/>
                  </a:lnTo>
                  <a:lnTo>
                    <a:pt x="328" y="457"/>
                  </a:lnTo>
                  <a:lnTo>
                    <a:pt x="327" y="454"/>
                  </a:lnTo>
                  <a:lnTo>
                    <a:pt x="326" y="451"/>
                  </a:lnTo>
                  <a:lnTo>
                    <a:pt x="324" y="452"/>
                  </a:lnTo>
                  <a:lnTo>
                    <a:pt x="322" y="452"/>
                  </a:lnTo>
                  <a:lnTo>
                    <a:pt x="320" y="456"/>
                  </a:lnTo>
                  <a:lnTo>
                    <a:pt x="318" y="456"/>
                  </a:lnTo>
                  <a:lnTo>
                    <a:pt x="319" y="454"/>
                  </a:lnTo>
                  <a:lnTo>
                    <a:pt x="319" y="451"/>
                  </a:lnTo>
                  <a:lnTo>
                    <a:pt x="316" y="451"/>
                  </a:lnTo>
                  <a:lnTo>
                    <a:pt x="318" y="452"/>
                  </a:lnTo>
                  <a:lnTo>
                    <a:pt x="315" y="456"/>
                  </a:lnTo>
                  <a:lnTo>
                    <a:pt x="313" y="457"/>
                  </a:lnTo>
                  <a:lnTo>
                    <a:pt x="310" y="458"/>
                  </a:lnTo>
                  <a:lnTo>
                    <a:pt x="313" y="455"/>
                  </a:lnTo>
                  <a:lnTo>
                    <a:pt x="314" y="452"/>
                  </a:lnTo>
                  <a:lnTo>
                    <a:pt x="314" y="450"/>
                  </a:lnTo>
                  <a:lnTo>
                    <a:pt x="316" y="448"/>
                  </a:lnTo>
                  <a:lnTo>
                    <a:pt x="315" y="446"/>
                  </a:lnTo>
                  <a:lnTo>
                    <a:pt x="314" y="448"/>
                  </a:lnTo>
                  <a:lnTo>
                    <a:pt x="314" y="446"/>
                  </a:lnTo>
                  <a:lnTo>
                    <a:pt x="311" y="446"/>
                  </a:lnTo>
                  <a:lnTo>
                    <a:pt x="311" y="444"/>
                  </a:lnTo>
                  <a:lnTo>
                    <a:pt x="309" y="444"/>
                  </a:lnTo>
                  <a:lnTo>
                    <a:pt x="308" y="445"/>
                  </a:lnTo>
                  <a:lnTo>
                    <a:pt x="309" y="443"/>
                  </a:lnTo>
                  <a:lnTo>
                    <a:pt x="307" y="443"/>
                  </a:lnTo>
                  <a:lnTo>
                    <a:pt x="305" y="444"/>
                  </a:lnTo>
                  <a:lnTo>
                    <a:pt x="305" y="442"/>
                  </a:lnTo>
                  <a:lnTo>
                    <a:pt x="304" y="442"/>
                  </a:lnTo>
                  <a:lnTo>
                    <a:pt x="303" y="439"/>
                  </a:lnTo>
                  <a:lnTo>
                    <a:pt x="303" y="438"/>
                  </a:lnTo>
                  <a:lnTo>
                    <a:pt x="304" y="437"/>
                  </a:lnTo>
                  <a:lnTo>
                    <a:pt x="301" y="439"/>
                  </a:lnTo>
                  <a:lnTo>
                    <a:pt x="298" y="440"/>
                  </a:lnTo>
                  <a:lnTo>
                    <a:pt x="299" y="438"/>
                  </a:lnTo>
                  <a:lnTo>
                    <a:pt x="302" y="437"/>
                  </a:lnTo>
                  <a:lnTo>
                    <a:pt x="304" y="436"/>
                  </a:lnTo>
                  <a:lnTo>
                    <a:pt x="305" y="434"/>
                  </a:lnTo>
                  <a:lnTo>
                    <a:pt x="304" y="434"/>
                  </a:lnTo>
                  <a:lnTo>
                    <a:pt x="302" y="434"/>
                  </a:lnTo>
                  <a:lnTo>
                    <a:pt x="301" y="433"/>
                  </a:lnTo>
                  <a:lnTo>
                    <a:pt x="301" y="434"/>
                  </a:lnTo>
                  <a:lnTo>
                    <a:pt x="299" y="434"/>
                  </a:lnTo>
                  <a:lnTo>
                    <a:pt x="297" y="434"/>
                  </a:lnTo>
                  <a:lnTo>
                    <a:pt x="297" y="436"/>
                  </a:lnTo>
                  <a:lnTo>
                    <a:pt x="295" y="434"/>
                  </a:lnTo>
                  <a:lnTo>
                    <a:pt x="293" y="431"/>
                  </a:lnTo>
                  <a:lnTo>
                    <a:pt x="293" y="428"/>
                  </a:lnTo>
                  <a:lnTo>
                    <a:pt x="293" y="426"/>
                  </a:lnTo>
                  <a:lnTo>
                    <a:pt x="296" y="425"/>
                  </a:lnTo>
                  <a:lnTo>
                    <a:pt x="297" y="425"/>
                  </a:lnTo>
                  <a:lnTo>
                    <a:pt x="298" y="424"/>
                  </a:lnTo>
                  <a:lnTo>
                    <a:pt x="297" y="421"/>
                  </a:lnTo>
                  <a:lnTo>
                    <a:pt x="297" y="419"/>
                  </a:lnTo>
                  <a:lnTo>
                    <a:pt x="295" y="420"/>
                  </a:lnTo>
                  <a:lnTo>
                    <a:pt x="293" y="421"/>
                  </a:lnTo>
                  <a:lnTo>
                    <a:pt x="293" y="419"/>
                  </a:lnTo>
                  <a:lnTo>
                    <a:pt x="292" y="421"/>
                  </a:lnTo>
                  <a:lnTo>
                    <a:pt x="291" y="424"/>
                  </a:lnTo>
                  <a:lnTo>
                    <a:pt x="290" y="422"/>
                  </a:lnTo>
                  <a:lnTo>
                    <a:pt x="290" y="425"/>
                  </a:lnTo>
                  <a:lnTo>
                    <a:pt x="287" y="426"/>
                  </a:lnTo>
                  <a:lnTo>
                    <a:pt x="285" y="428"/>
                  </a:lnTo>
                  <a:lnTo>
                    <a:pt x="285" y="426"/>
                  </a:lnTo>
                  <a:lnTo>
                    <a:pt x="286" y="425"/>
                  </a:lnTo>
                  <a:lnTo>
                    <a:pt x="284" y="426"/>
                  </a:lnTo>
                  <a:lnTo>
                    <a:pt x="284" y="425"/>
                  </a:lnTo>
                  <a:lnTo>
                    <a:pt x="283" y="425"/>
                  </a:lnTo>
                  <a:lnTo>
                    <a:pt x="281" y="424"/>
                  </a:lnTo>
                  <a:lnTo>
                    <a:pt x="280" y="424"/>
                  </a:lnTo>
                  <a:lnTo>
                    <a:pt x="278" y="425"/>
                  </a:lnTo>
                  <a:lnTo>
                    <a:pt x="277" y="424"/>
                  </a:lnTo>
                  <a:lnTo>
                    <a:pt x="279" y="422"/>
                  </a:lnTo>
                  <a:lnTo>
                    <a:pt x="278" y="422"/>
                  </a:lnTo>
                  <a:lnTo>
                    <a:pt x="279" y="421"/>
                  </a:lnTo>
                  <a:lnTo>
                    <a:pt x="280" y="421"/>
                  </a:lnTo>
                  <a:lnTo>
                    <a:pt x="281" y="422"/>
                  </a:lnTo>
                  <a:lnTo>
                    <a:pt x="283" y="420"/>
                  </a:lnTo>
                  <a:lnTo>
                    <a:pt x="281" y="419"/>
                  </a:lnTo>
                  <a:lnTo>
                    <a:pt x="279" y="419"/>
                  </a:lnTo>
                  <a:lnTo>
                    <a:pt x="278" y="418"/>
                  </a:lnTo>
                  <a:lnTo>
                    <a:pt x="277" y="419"/>
                  </a:lnTo>
                  <a:lnTo>
                    <a:pt x="275" y="419"/>
                  </a:lnTo>
                  <a:lnTo>
                    <a:pt x="274" y="419"/>
                  </a:lnTo>
                  <a:lnTo>
                    <a:pt x="274" y="418"/>
                  </a:lnTo>
                  <a:lnTo>
                    <a:pt x="274" y="416"/>
                  </a:lnTo>
                  <a:lnTo>
                    <a:pt x="275" y="415"/>
                  </a:lnTo>
                  <a:lnTo>
                    <a:pt x="278" y="414"/>
                  </a:lnTo>
                  <a:lnTo>
                    <a:pt x="280" y="413"/>
                  </a:lnTo>
                  <a:lnTo>
                    <a:pt x="279" y="413"/>
                  </a:lnTo>
                  <a:lnTo>
                    <a:pt x="278" y="413"/>
                  </a:lnTo>
                  <a:lnTo>
                    <a:pt x="277" y="413"/>
                  </a:lnTo>
                  <a:lnTo>
                    <a:pt x="274" y="415"/>
                  </a:lnTo>
                  <a:lnTo>
                    <a:pt x="272" y="416"/>
                  </a:lnTo>
                  <a:lnTo>
                    <a:pt x="274" y="426"/>
                  </a:lnTo>
                  <a:lnTo>
                    <a:pt x="279" y="439"/>
                  </a:lnTo>
                  <a:lnTo>
                    <a:pt x="278" y="448"/>
                  </a:lnTo>
                  <a:lnTo>
                    <a:pt x="279" y="457"/>
                  </a:lnTo>
                  <a:lnTo>
                    <a:pt x="286" y="473"/>
                  </a:lnTo>
                  <a:lnTo>
                    <a:pt x="291" y="483"/>
                  </a:lnTo>
                  <a:lnTo>
                    <a:pt x="291" y="490"/>
                  </a:lnTo>
                  <a:lnTo>
                    <a:pt x="286" y="498"/>
                  </a:lnTo>
                  <a:lnTo>
                    <a:pt x="280" y="511"/>
                  </a:lnTo>
                  <a:lnTo>
                    <a:pt x="275" y="533"/>
                  </a:lnTo>
                  <a:lnTo>
                    <a:pt x="273" y="553"/>
                  </a:lnTo>
                  <a:lnTo>
                    <a:pt x="271" y="574"/>
                  </a:lnTo>
                  <a:lnTo>
                    <a:pt x="269" y="603"/>
                  </a:lnTo>
                  <a:lnTo>
                    <a:pt x="271" y="630"/>
                  </a:lnTo>
                  <a:lnTo>
                    <a:pt x="272" y="64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9" name="Freeform 72"/>
            <p:cNvSpPr>
              <a:spLocks/>
            </p:cNvSpPr>
            <p:nvPr userDrawn="1"/>
          </p:nvSpPr>
          <p:spPr bwMode="auto">
            <a:xfrm>
              <a:off x="8397875" y="6397626"/>
              <a:ext cx="176213" cy="188913"/>
            </a:xfrm>
            <a:custGeom>
              <a:avLst/>
              <a:gdLst/>
              <a:ahLst/>
              <a:cxnLst>
                <a:cxn ang="0">
                  <a:pos x="71" y="263"/>
                </a:cxn>
                <a:cxn ang="0">
                  <a:pos x="95" y="226"/>
                </a:cxn>
                <a:cxn ang="0">
                  <a:pos x="156" y="203"/>
                </a:cxn>
                <a:cxn ang="0">
                  <a:pos x="154" y="199"/>
                </a:cxn>
                <a:cxn ang="0">
                  <a:pos x="116" y="196"/>
                </a:cxn>
                <a:cxn ang="0">
                  <a:pos x="102" y="173"/>
                </a:cxn>
                <a:cxn ang="0">
                  <a:pos x="120" y="145"/>
                </a:cxn>
                <a:cxn ang="0">
                  <a:pos x="129" y="131"/>
                </a:cxn>
                <a:cxn ang="0">
                  <a:pos x="132" y="88"/>
                </a:cxn>
                <a:cxn ang="0">
                  <a:pos x="167" y="86"/>
                </a:cxn>
                <a:cxn ang="0">
                  <a:pos x="200" y="98"/>
                </a:cxn>
                <a:cxn ang="0">
                  <a:pos x="222" y="101"/>
                </a:cxn>
                <a:cxn ang="0">
                  <a:pos x="248" y="121"/>
                </a:cxn>
                <a:cxn ang="0">
                  <a:pos x="266" y="139"/>
                </a:cxn>
                <a:cxn ang="0">
                  <a:pos x="273" y="125"/>
                </a:cxn>
                <a:cxn ang="0">
                  <a:pos x="252" y="108"/>
                </a:cxn>
                <a:cxn ang="0">
                  <a:pos x="230" y="98"/>
                </a:cxn>
                <a:cxn ang="0">
                  <a:pos x="199" y="74"/>
                </a:cxn>
                <a:cxn ang="0">
                  <a:pos x="206" y="43"/>
                </a:cxn>
                <a:cxn ang="0">
                  <a:pos x="217" y="19"/>
                </a:cxn>
                <a:cxn ang="0">
                  <a:pos x="241" y="13"/>
                </a:cxn>
                <a:cxn ang="0">
                  <a:pos x="271" y="17"/>
                </a:cxn>
                <a:cxn ang="0">
                  <a:pos x="300" y="7"/>
                </a:cxn>
                <a:cxn ang="0">
                  <a:pos x="320" y="8"/>
                </a:cxn>
                <a:cxn ang="0">
                  <a:pos x="336" y="32"/>
                </a:cxn>
                <a:cxn ang="0">
                  <a:pos x="355" y="35"/>
                </a:cxn>
                <a:cxn ang="0">
                  <a:pos x="386" y="43"/>
                </a:cxn>
                <a:cxn ang="0">
                  <a:pos x="402" y="66"/>
                </a:cxn>
                <a:cxn ang="0">
                  <a:pos x="380" y="83"/>
                </a:cxn>
                <a:cxn ang="0">
                  <a:pos x="426" y="108"/>
                </a:cxn>
                <a:cxn ang="0">
                  <a:pos x="459" y="143"/>
                </a:cxn>
                <a:cxn ang="0">
                  <a:pos x="467" y="160"/>
                </a:cxn>
                <a:cxn ang="0">
                  <a:pos x="477" y="193"/>
                </a:cxn>
                <a:cxn ang="0">
                  <a:pos x="495" y="235"/>
                </a:cxn>
                <a:cxn ang="0">
                  <a:pos x="488" y="268"/>
                </a:cxn>
                <a:cxn ang="0">
                  <a:pos x="504" y="312"/>
                </a:cxn>
                <a:cxn ang="0">
                  <a:pos x="456" y="291"/>
                </a:cxn>
                <a:cxn ang="0">
                  <a:pos x="445" y="304"/>
                </a:cxn>
                <a:cxn ang="0">
                  <a:pos x="520" y="358"/>
                </a:cxn>
                <a:cxn ang="0">
                  <a:pos x="536" y="416"/>
                </a:cxn>
                <a:cxn ang="0">
                  <a:pos x="503" y="428"/>
                </a:cxn>
                <a:cxn ang="0">
                  <a:pos x="473" y="461"/>
                </a:cxn>
                <a:cxn ang="0">
                  <a:pos x="439" y="440"/>
                </a:cxn>
                <a:cxn ang="0">
                  <a:pos x="396" y="419"/>
                </a:cxn>
                <a:cxn ang="0">
                  <a:pos x="427" y="454"/>
                </a:cxn>
                <a:cxn ang="0">
                  <a:pos x="426" y="487"/>
                </a:cxn>
                <a:cxn ang="0">
                  <a:pos x="400" y="465"/>
                </a:cxn>
                <a:cxn ang="0">
                  <a:pos x="329" y="484"/>
                </a:cxn>
                <a:cxn ang="0">
                  <a:pos x="225" y="502"/>
                </a:cxn>
                <a:cxn ang="0">
                  <a:pos x="128" y="501"/>
                </a:cxn>
                <a:cxn ang="0">
                  <a:pos x="187" y="487"/>
                </a:cxn>
                <a:cxn ang="0">
                  <a:pos x="237" y="451"/>
                </a:cxn>
                <a:cxn ang="0">
                  <a:pos x="176" y="449"/>
                </a:cxn>
                <a:cxn ang="0">
                  <a:pos x="137" y="473"/>
                </a:cxn>
                <a:cxn ang="0">
                  <a:pos x="82" y="440"/>
                </a:cxn>
                <a:cxn ang="0">
                  <a:pos x="118" y="407"/>
                </a:cxn>
                <a:cxn ang="0">
                  <a:pos x="184" y="376"/>
                </a:cxn>
                <a:cxn ang="0">
                  <a:pos x="138" y="373"/>
                </a:cxn>
                <a:cxn ang="0">
                  <a:pos x="167" y="332"/>
                </a:cxn>
                <a:cxn ang="0">
                  <a:pos x="113" y="363"/>
                </a:cxn>
                <a:cxn ang="0">
                  <a:pos x="48" y="379"/>
                </a:cxn>
                <a:cxn ang="0">
                  <a:pos x="101" y="315"/>
                </a:cxn>
                <a:cxn ang="0">
                  <a:pos x="22" y="300"/>
                </a:cxn>
              </a:cxnLst>
              <a:rect l="0" t="0" r="r" b="b"/>
              <a:pathLst>
                <a:path w="556" h="597">
                  <a:moveTo>
                    <a:pt x="5" y="282"/>
                  </a:moveTo>
                  <a:lnTo>
                    <a:pt x="4" y="281"/>
                  </a:lnTo>
                  <a:lnTo>
                    <a:pt x="6" y="281"/>
                  </a:lnTo>
                  <a:lnTo>
                    <a:pt x="8" y="281"/>
                  </a:lnTo>
                  <a:lnTo>
                    <a:pt x="8" y="282"/>
                  </a:lnTo>
                  <a:lnTo>
                    <a:pt x="10" y="282"/>
                  </a:lnTo>
                  <a:lnTo>
                    <a:pt x="10" y="280"/>
                  </a:lnTo>
                  <a:lnTo>
                    <a:pt x="12" y="280"/>
                  </a:lnTo>
                  <a:lnTo>
                    <a:pt x="12" y="282"/>
                  </a:lnTo>
                  <a:lnTo>
                    <a:pt x="13" y="282"/>
                  </a:lnTo>
                  <a:lnTo>
                    <a:pt x="16" y="284"/>
                  </a:lnTo>
                  <a:lnTo>
                    <a:pt x="13" y="282"/>
                  </a:lnTo>
                  <a:lnTo>
                    <a:pt x="13" y="281"/>
                  </a:lnTo>
                  <a:lnTo>
                    <a:pt x="12" y="278"/>
                  </a:lnTo>
                  <a:lnTo>
                    <a:pt x="13" y="278"/>
                  </a:lnTo>
                  <a:lnTo>
                    <a:pt x="16" y="278"/>
                  </a:lnTo>
                  <a:lnTo>
                    <a:pt x="17" y="279"/>
                  </a:lnTo>
                  <a:lnTo>
                    <a:pt x="17" y="280"/>
                  </a:lnTo>
                  <a:lnTo>
                    <a:pt x="18" y="281"/>
                  </a:lnTo>
                  <a:lnTo>
                    <a:pt x="20" y="282"/>
                  </a:lnTo>
                  <a:lnTo>
                    <a:pt x="20" y="284"/>
                  </a:lnTo>
                  <a:lnTo>
                    <a:pt x="23" y="284"/>
                  </a:lnTo>
                  <a:lnTo>
                    <a:pt x="23" y="281"/>
                  </a:lnTo>
                  <a:lnTo>
                    <a:pt x="24" y="279"/>
                  </a:lnTo>
                  <a:lnTo>
                    <a:pt x="25" y="280"/>
                  </a:lnTo>
                  <a:lnTo>
                    <a:pt x="26" y="281"/>
                  </a:lnTo>
                  <a:lnTo>
                    <a:pt x="29" y="281"/>
                  </a:lnTo>
                  <a:lnTo>
                    <a:pt x="26" y="279"/>
                  </a:lnTo>
                  <a:lnTo>
                    <a:pt x="26" y="276"/>
                  </a:lnTo>
                  <a:lnTo>
                    <a:pt x="25" y="275"/>
                  </a:lnTo>
                  <a:lnTo>
                    <a:pt x="24" y="273"/>
                  </a:lnTo>
                  <a:lnTo>
                    <a:pt x="25" y="270"/>
                  </a:lnTo>
                  <a:lnTo>
                    <a:pt x="26" y="272"/>
                  </a:lnTo>
                  <a:lnTo>
                    <a:pt x="28" y="272"/>
                  </a:lnTo>
                  <a:lnTo>
                    <a:pt x="29" y="273"/>
                  </a:lnTo>
                  <a:lnTo>
                    <a:pt x="30" y="274"/>
                  </a:lnTo>
                  <a:lnTo>
                    <a:pt x="31" y="275"/>
                  </a:lnTo>
                  <a:lnTo>
                    <a:pt x="32" y="275"/>
                  </a:lnTo>
                  <a:lnTo>
                    <a:pt x="34" y="278"/>
                  </a:lnTo>
                  <a:lnTo>
                    <a:pt x="32" y="276"/>
                  </a:lnTo>
                  <a:lnTo>
                    <a:pt x="32" y="274"/>
                  </a:lnTo>
                  <a:lnTo>
                    <a:pt x="35" y="274"/>
                  </a:lnTo>
                  <a:lnTo>
                    <a:pt x="37" y="274"/>
                  </a:lnTo>
                  <a:lnTo>
                    <a:pt x="36" y="273"/>
                  </a:lnTo>
                  <a:lnTo>
                    <a:pt x="37" y="270"/>
                  </a:lnTo>
                  <a:lnTo>
                    <a:pt x="38" y="268"/>
                  </a:lnTo>
                  <a:lnTo>
                    <a:pt x="41" y="269"/>
                  </a:lnTo>
                  <a:lnTo>
                    <a:pt x="43" y="268"/>
                  </a:lnTo>
                  <a:lnTo>
                    <a:pt x="42" y="267"/>
                  </a:lnTo>
                  <a:lnTo>
                    <a:pt x="41" y="264"/>
                  </a:lnTo>
                  <a:lnTo>
                    <a:pt x="42" y="264"/>
                  </a:lnTo>
                  <a:lnTo>
                    <a:pt x="43" y="264"/>
                  </a:lnTo>
                  <a:lnTo>
                    <a:pt x="45" y="264"/>
                  </a:lnTo>
                  <a:lnTo>
                    <a:pt x="46" y="264"/>
                  </a:lnTo>
                  <a:lnTo>
                    <a:pt x="46" y="266"/>
                  </a:lnTo>
                  <a:lnTo>
                    <a:pt x="47" y="267"/>
                  </a:lnTo>
                  <a:lnTo>
                    <a:pt x="48" y="267"/>
                  </a:lnTo>
                  <a:lnTo>
                    <a:pt x="49" y="266"/>
                  </a:lnTo>
                  <a:lnTo>
                    <a:pt x="51" y="267"/>
                  </a:lnTo>
                  <a:lnTo>
                    <a:pt x="49" y="266"/>
                  </a:lnTo>
                  <a:lnTo>
                    <a:pt x="49" y="263"/>
                  </a:lnTo>
                  <a:lnTo>
                    <a:pt x="48" y="262"/>
                  </a:lnTo>
                  <a:lnTo>
                    <a:pt x="48" y="261"/>
                  </a:lnTo>
                  <a:lnTo>
                    <a:pt x="49" y="261"/>
                  </a:lnTo>
                  <a:lnTo>
                    <a:pt x="51" y="262"/>
                  </a:lnTo>
                  <a:lnTo>
                    <a:pt x="52" y="263"/>
                  </a:lnTo>
                  <a:lnTo>
                    <a:pt x="53" y="263"/>
                  </a:lnTo>
                  <a:lnTo>
                    <a:pt x="55" y="263"/>
                  </a:lnTo>
                  <a:lnTo>
                    <a:pt x="55" y="262"/>
                  </a:lnTo>
                  <a:lnTo>
                    <a:pt x="57" y="262"/>
                  </a:lnTo>
                  <a:lnTo>
                    <a:pt x="58" y="263"/>
                  </a:lnTo>
                  <a:lnTo>
                    <a:pt x="59" y="263"/>
                  </a:lnTo>
                  <a:lnTo>
                    <a:pt x="59" y="264"/>
                  </a:lnTo>
                  <a:lnTo>
                    <a:pt x="60" y="264"/>
                  </a:lnTo>
                  <a:lnTo>
                    <a:pt x="61" y="263"/>
                  </a:lnTo>
                  <a:lnTo>
                    <a:pt x="64" y="262"/>
                  </a:lnTo>
                  <a:lnTo>
                    <a:pt x="63" y="261"/>
                  </a:lnTo>
                  <a:lnTo>
                    <a:pt x="63" y="259"/>
                  </a:lnTo>
                  <a:lnTo>
                    <a:pt x="63" y="258"/>
                  </a:lnTo>
                  <a:lnTo>
                    <a:pt x="64" y="258"/>
                  </a:lnTo>
                  <a:lnTo>
                    <a:pt x="65" y="258"/>
                  </a:lnTo>
                  <a:lnTo>
                    <a:pt x="66" y="259"/>
                  </a:lnTo>
                  <a:lnTo>
                    <a:pt x="67" y="261"/>
                  </a:lnTo>
                  <a:lnTo>
                    <a:pt x="69" y="263"/>
                  </a:lnTo>
                  <a:lnTo>
                    <a:pt x="71" y="263"/>
                  </a:lnTo>
                  <a:lnTo>
                    <a:pt x="70" y="261"/>
                  </a:lnTo>
                  <a:lnTo>
                    <a:pt x="70" y="259"/>
                  </a:lnTo>
                  <a:lnTo>
                    <a:pt x="69" y="258"/>
                  </a:lnTo>
                  <a:lnTo>
                    <a:pt x="69" y="256"/>
                  </a:lnTo>
                  <a:lnTo>
                    <a:pt x="69" y="255"/>
                  </a:lnTo>
                  <a:lnTo>
                    <a:pt x="67" y="255"/>
                  </a:lnTo>
                  <a:lnTo>
                    <a:pt x="67" y="253"/>
                  </a:lnTo>
                  <a:lnTo>
                    <a:pt x="69" y="252"/>
                  </a:lnTo>
                  <a:lnTo>
                    <a:pt x="70" y="252"/>
                  </a:lnTo>
                  <a:lnTo>
                    <a:pt x="71" y="253"/>
                  </a:lnTo>
                  <a:lnTo>
                    <a:pt x="72" y="253"/>
                  </a:lnTo>
                  <a:lnTo>
                    <a:pt x="72" y="255"/>
                  </a:lnTo>
                  <a:lnTo>
                    <a:pt x="73" y="256"/>
                  </a:lnTo>
                  <a:lnTo>
                    <a:pt x="75" y="255"/>
                  </a:lnTo>
                  <a:lnTo>
                    <a:pt x="76" y="256"/>
                  </a:lnTo>
                  <a:lnTo>
                    <a:pt x="77" y="255"/>
                  </a:lnTo>
                  <a:lnTo>
                    <a:pt x="78" y="255"/>
                  </a:lnTo>
                  <a:lnTo>
                    <a:pt x="79" y="256"/>
                  </a:lnTo>
                  <a:lnTo>
                    <a:pt x="82" y="256"/>
                  </a:lnTo>
                  <a:lnTo>
                    <a:pt x="84" y="256"/>
                  </a:lnTo>
                  <a:lnTo>
                    <a:pt x="83" y="255"/>
                  </a:lnTo>
                  <a:lnTo>
                    <a:pt x="82" y="253"/>
                  </a:lnTo>
                  <a:lnTo>
                    <a:pt x="81" y="251"/>
                  </a:lnTo>
                  <a:lnTo>
                    <a:pt x="78" y="250"/>
                  </a:lnTo>
                  <a:lnTo>
                    <a:pt x="78" y="249"/>
                  </a:lnTo>
                  <a:lnTo>
                    <a:pt x="79" y="246"/>
                  </a:lnTo>
                  <a:lnTo>
                    <a:pt x="78" y="247"/>
                  </a:lnTo>
                  <a:lnTo>
                    <a:pt x="77" y="247"/>
                  </a:lnTo>
                  <a:lnTo>
                    <a:pt x="76" y="246"/>
                  </a:lnTo>
                  <a:lnTo>
                    <a:pt x="75" y="246"/>
                  </a:lnTo>
                  <a:lnTo>
                    <a:pt x="72" y="245"/>
                  </a:lnTo>
                  <a:lnTo>
                    <a:pt x="71" y="245"/>
                  </a:lnTo>
                  <a:lnTo>
                    <a:pt x="71" y="244"/>
                  </a:lnTo>
                  <a:lnTo>
                    <a:pt x="70" y="244"/>
                  </a:lnTo>
                  <a:lnTo>
                    <a:pt x="69" y="243"/>
                  </a:lnTo>
                  <a:lnTo>
                    <a:pt x="69" y="241"/>
                  </a:lnTo>
                  <a:lnTo>
                    <a:pt x="67" y="241"/>
                  </a:lnTo>
                  <a:lnTo>
                    <a:pt x="66" y="240"/>
                  </a:lnTo>
                  <a:lnTo>
                    <a:pt x="67" y="239"/>
                  </a:lnTo>
                  <a:lnTo>
                    <a:pt x="67" y="238"/>
                  </a:lnTo>
                  <a:lnTo>
                    <a:pt x="66" y="235"/>
                  </a:lnTo>
                  <a:lnTo>
                    <a:pt x="65" y="233"/>
                  </a:lnTo>
                  <a:lnTo>
                    <a:pt x="66" y="233"/>
                  </a:lnTo>
                  <a:lnTo>
                    <a:pt x="67" y="233"/>
                  </a:lnTo>
                  <a:lnTo>
                    <a:pt x="69" y="233"/>
                  </a:lnTo>
                  <a:lnTo>
                    <a:pt x="69" y="234"/>
                  </a:lnTo>
                  <a:lnTo>
                    <a:pt x="70" y="234"/>
                  </a:lnTo>
                  <a:lnTo>
                    <a:pt x="70" y="232"/>
                  </a:lnTo>
                  <a:lnTo>
                    <a:pt x="70" y="231"/>
                  </a:lnTo>
                  <a:lnTo>
                    <a:pt x="72" y="231"/>
                  </a:lnTo>
                  <a:lnTo>
                    <a:pt x="73" y="232"/>
                  </a:lnTo>
                  <a:lnTo>
                    <a:pt x="75" y="233"/>
                  </a:lnTo>
                  <a:lnTo>
                    <a:pt x="75" y="234"/>
                  </a:lnTo>
                  <a:lnTo>
                    <a:pt x="76" y="235"/>
                  </a:lnTo>
                  <a:lnTo>
                    <a:pt x="78" y="234"/>
                  </a:lnTo>
                  <a:lnTo>
                    <a:pt x="77" y="232"/>
                  </a:lnTo>
                  <a:lnTo>
                    <a:pt x="77" y="231"/>
                  </a:lnTo>
                  <a:lnTo>
                    <a:pt x="76" y="231"/>
                  </a:lnTo>
                  <a:lnTo>
                    <a:pt x="78" y="229"/>
                  </a:lnTo>
                  <a:lnTo>
                    <a:pt x="78" y="231"/>
                  </a:lnTo>
                  <a:lnTo>
                    <a:pt x="79" y="229"/>
                  </a:lnTo>
                  <a:lnTo>
                    <a:pt x="79" y="231"/>
                  </a:lnTo>
                  <a:lnTo>
                    <a:pt x="82" y="231"/>
                  </a:lnTo>
                  <a:lnTo>
                    <a:pt x="83" y="232"/>
                  </a:lnTo>
                  <a:lnTo>
                    <a:pt x="84" y="233"/>
                  </a:lnTo>
                  <a:lnTo>
                    <a:pt x="85" y="233"/>
                  </a:lnTo>
                  <a:lnTo>
                    <a:pt x="85" y="232"/>
                  </a:lnTo>
                  <a:lnTo>
                    <a:pt x="85" y="231"/>
                  </a:lnTo>
                  <a:lnTo>
                    <a:pt x="87" y="228"/>
                  </a:lnTo>
                  <a:lnTo>
                    <a:pt x="87" y="227"/>
                  </a:lnTo>
                  <a:lnTo>
                    <a:pt x="89" y="227"/>
                  </a:lnTo>
                  <a:lnTo>
                    <a:pt x="89" y="229"/>
                  </a:lnTo>
                  <a:lnTo>
                    <a:pt x="89" y="231"/>
                  </a:lnTo>
                  <a:lnTo>
                    <a:pt x="90" y="231"/>
                  </a:lnTo>
                  <a:lnTo>
                    <a:pt x="90" y="227"/>
                  </a:lnTo>
                  <a:lnTo>
                    <a:pt x="89" y="225"/>
                  </a:lnTo>
                  <a:lnTo>
                    <a:pt x="90" y="222"/>
                  </a:lnTo>
                  <a:lnTo>
                    <a:pt x="90" y="221"/>
                  </a:lnTo>
                  <a:lnTo>
                    <a:pt x="91" y="222"/>
                  </a:lnTo>
                  <a:lnTo>
                    <a:pt x="93" y="222"/>
                  </a:lnTo>
                  <a:lnTo>
                    <a:pt x="93" y="223"/>
                  </a:lnTo>
                  <a:lnTo>
                    <a:pt x="94" y="222"/>
                  </a:lnTo>
                  <a:lnTo>
                    <a:pt x="94" y="223"/>
                  </a:lnTo>
                  <a:lnTo>
                    <a:pt x="94" y="226"/>
                  </a:lnTo>
                  <a:lnTo>
                    <a:pt x="95" y="226"/>
                  </a:lnTo>
                  <a:lnTo>
                    <a:pt x="96" y="227"/>
                  </a:lnTo>
                  <a:lnTo>
                    <a:pt x="95" y="227"/>
                  </a:lnTo>
                  <a:lnTo>
                    <a:pt x="96" y="227"/>
                  </a:lnTo>
                  <a:lnTo>
                    <a:pt x="97" y="227"/>
                  </a:lnTo>
                  <a:lnTo>
                    <a:pt x="99" y="228"/>
                  </a:lnTo>
                  <a:lnTo>
                    <a:pt x="100" y="228"/>
                  </a:lnTo>
                  <a:lnTo>
                    <a:pt x="101" y="229"/>
                  </a:lnTo>
                  <a:lnTo>
                    <a:pt x="104" y="229"/>
                  </a:lnTo>
                  <a:lnTo>
                    <a:pt x="104" y="231"/>
                  </a:lnTo>
                  <a:lnTo>
                    <a:pt x="105" y="232"/>
                  </a:lnTo>
                  <a:lnTo>
                    <a:pt x="106" y="231"/>
                  </a:lnTo>
                  <a:lnTo>
                    <a:pt x="106" y="229"/>
                  </a:lnTo>
                  <a:lnTo>
                    <a:pt x="105" y="228"/>
                  </a:lnTo>
                  <a:lnTo>
                    <a:pt x="104" y="227"/>
                  </a:lnTo>
                  <a:lnTo>
                    <a:pt x="104" y="225"/>
                  </a:lnTo>
                  <a:lnTo>
                    <a:pt x="105" y="223"/>
                  </a:lnTo>
                  <a:lnTo>
                    <a:pt x="106" y="223"/>
                  </a:lnTo>
                  <a:lnTo>
                    <a:pt x="107" y="225"/>
                  </a:lnTo>
                  <a:lnTo>
                    <a:pt x="107" y="223"/>
                  </a:lnTo>
                  <a:lnTo>
                    <a:pt x="108" y="222"/>
                  </a:lnTo>
                  <a:lnTo>
                    <a:pt x="108" y="223"/>
                  </a:lnTo>
                  <a:lnTo>
                    <a:pt x="110" y="223"/>
                  </a:lnTo>
                  <a:lnTo>
                    <a:pt x="110" y="222"/>
                  </a:lnTo>
                  <a:lnTo>
                    <a:pt x="111" y="222"/>
                  </a:lnTo>
                  <a:lnTo>
                    <a:pt x="111" y="221"/>
                  </a:lnTo>
                  <a:lnTo>
                    <a:pt x="114" y="221"/>
                  </a:lnTo>
                  <a:lnTo>
                    <a:pt x="116" y="221"/>
                  </a:lnTo>
                  <a:lnTo>
                    <a:pt x="117" y="222"/>
                  </a:lnTo>
                  <a:lnTo>
                    <a:pt x="118" y="222"/>
                  </a:lnTo>
                  <a:lnTo>
                    <a:pt x="118" y="223"/>
                  </a:lnTo>
                  <a:lnTo>
                    <a:pt x="119" y="223"/>
                  </a:lnTo>
                  <a:lnTo>
                    <a:pt x="120" y="223"/>
                  </a:lnTo>
                  <a:lnTo>
                    <a:pt x="120" y="222"/>
                  </a:lnTo>
                  <a:lnTo>
                    <a:pt x="122" y="221"/>
                  </a:lnTo>
                  <a:lnTo>
                    <a:pt x="124" y="221"/>
                  </a:lnTo>
                  <a:lnTo>
                    <a:pt x="125" y="220"/>
                  </a:lnTo>
                  <a:lnTo>
                    <a:pt x="126" y="219"/>
                  </a:lnTo>
                  <a:lnTo>
                    <a:pt x="128" y="219"/>
                  </a:lnTo>
                  <a:lnTo>
                    <a:pt x="126" y="220"/>
                  </a:lnTo>
                  <a:lnTo>
                    <a:pt x="126" y="221"/>
                  </a:lnTo>
                  <a:lnTo>
                    <a:pt x="126" y="220"/>
                  </a:lnTo>
                  <a:lnTo>
                    <a:pt x="128" y="220"/>
                  </a:lnTo>
                  <a:lnTo>
                    <a:pt x="129" y="220"/>
                  </a:lnTo>
                  <a:lnTo>
                    <a:pt x="130" y="219"/>
                  </a:lnTo>
                  <a:lnTo>
                    <a:pt x="130" y="217"/>
                  </a:lnTo>
                  <a:lnTo>
                    <a:pt x="129" y="217"/>
                  </a:lnTo>
                  <a:lnTo>
                    <a:pt x="128" y="219"/>
                  </a:lnTo>
                  <a:lnTo>
                    <a:pt x="128" y="217"/>
                  </a:lnTo>
                  <a:lnTo>
                    <a:pt x="128" y="215"/>
                  </a:lnTo>
                  <a:lnTo>
                    <a:pt x="128" y="214"/>
                  </a:lnTo>
                  <a:lnTo>
                    <a:pt x="128" y="213"/>
                  </a:lnTo>
                  <a:lnTo>
                    <a:pt x="128" y="211"/>
                  </a:lnTo>
                  <a:lnTo>
                    <a:pt x="129" y="210"/>
                  </a:lnTo>
                  <a:lnTo>
                    <a:pt x="129" y="211"/>
                  </a:lnTo>
                  <a:lnTo>
                    <a:pt x="131" y="211"/>
                  </a:lnTo>
                  <a:lnTo>
                    <a:pt x="132" y="213"/>
                  </a:lnTo>
                  <a:lnTo>
                    <a:pt x="134" y="211"/>
                  </a:lnTo>
                  <a:lnTo>
                    <a:pt x="136" y="210"/>
                  </a:lnTo>
                  <a:lnTo>
                    <a:pt x="138" y="209"/>
                  </a:lnTo>
                  <a:lnTo>
                    <a:pt x="138" y="208"/>
                  </a:lnTo>
                  <a:lnTo>
                    <a:pt x="138" y="207"/>
                  </a:lnTo>
                  <a:lnTo>
                    <a:pt x="140" y="207"/>
                  </a:lnTo>
                  <a:lnTo>
                    <a:pt x="141" y="207"/>
                  </a:lnTo>
                  <a:lnTo>
                    <a:pt x="141" y="205"/>
                  </a:lnTo>
                  <a:lnTo>
                    <a:pt x="141" y="204"/>
                  </a:lnTo>
                  <a:lnTo>
                    <a:pt x="142" y="205"/>
                  </a:lnTo>
                  <a:lnTo>
                    <a:pt x="143" y="205"/>
                  </a:lnTo>
                  <a:lnTo>
                    <a:pt x="144" y="207"/>
                  </a:lnTo>
                  <a:lnTo>
                    <a:pt x="144" y="205"/>
                  </a:lnTo>
                  <a:lnTo>
                    <a:pt x="146" y="205"/>
                  </a:lnTo>
                  <a:lnTo>
                    <a:pt x="147" y="205"/>
                  </a:lnTo>
                  <a:lnTo>
                    <a:pt x="148" y="205"/>
                  </a:lnTo>
                  <a:lnTo>
                    <a:pt x="149" y="205"/>
                  </a:lnTo>
                  <a:lnTo>
                    <a:pt x="149" y="207"/>
                  </a:lnTo>
                  <a:lnTo>
                    <a:pt x="150" y="205"/>
                  </a:lnTo>
                  <a:lnTo>
                    <a:pt x="152" y="205"/>
                  </a:lnTo>
                  <a:lnTo>
                    <a:pt x="153" y="205"/>
                  </a:lnTo>
                  <a:lnTo>
                    <a:pt x="153" y="204"/>
                  </a:lnTo>
                  <a:lnTo>
                    <a:pt x="155" y="204"/>
                  </a:lnTo>
                  <a:lnTo>
                    <a:pt x="154" y="204"/>
                  </a:lnTo>
                  <a:lnTo>
                    <a:pt x="155" y="204"/>
                  </a:lnTo>
                  <a:lnTo>
                    <a:pt x="155" y="205"/>
                  </a:lnTo>
                  <a:lnTo>
                    <a:pt x="155" y="204"/>
                  </a:lnTo>
                  <a:lnTo>
                    <a:pt x="155" y="203"/>
                  </a:lnTo>
                  <a:lnTo>
                    <a:pt x="156" y="203"/>
                  </a:lnTo>
                  <a:lnTo>
                    <a:pt x="155" y="203"/>
                  </a:lnTo>
                  <a:lnTo>
                    <a:pt x="156" y="202"/>
                  </a:lnTo>
                  <a:lnTo>
                    <a:pt x="158" y="202"/>
                  </a:lnTo>
                  <a:lnTo>
                    <a:pt x="159" y="202"/>
                  </a:lnTo>
                  <a:lnTo>
                    <a:pt x="160" y="202"/>
                  </a:lnTo>
                  <a:lnTo>
                    <a:pt x="160" y="203"/>
                  </a:lnTo>
                  <a:lnTo>
                    <a:pt x="160" y="202"/>
                  </a:lnTo>
                  <a:lnTo>
                    <a:pt x="159" y="201"/>
                  </a:lnTo>
                  <a:lnTo>
                    <a:pt x="160" y="201"/>
                  </a:lnTo>
                  <a:lnTo>
                    <a:pt x="159" y="199"/>
                  </a:lnTo>
                  <a:lnTo>
                    <a:pt x="160" y="199"/>
                  </a:lnTo>
                  <a:lnTo>
                    <a:pt x="161" y="199"/>
                  </a:lnTo>
                  <a:lnTo>
                    <a:pt x="161" y="201"/>
                  </a:lnTo>
                  <a:lnTo>
                    <a:pt x="161" y="199"/>
                  </a:lnTo>
                  <a:lnTo>
                    <a:pt x="163" y="199"/>
                  </a:lnTo>
                  <a:lnTo>
                    <a:pt x="161" y="199"/>
                  </a:lnTo>
                  <a:lnTo>
                    <a:pt x="163" y="198"/>
                  </a:lnTo>
                  <a:lnTo>
                    <a:pt x="163" y="197"/>
                  </a:lnTo>
                  <a:lnTo>
                    <a:pt x="163" y="196"/>
                  </a:lnTo>
                  <a:lnTo>
                    <a:pt x="161" y="196"/>
                  </a:lnTo>
                  <a:lnTo>
                    <a:pt x="163" y="195"/>
                  </a:lnTo>
                  <a:lnTo>
                    <a:pt x="163" y="193"/>
                  </a:lnTo>
                  <a:lnTo>
                    <a:pt x="164" y="195"/>
                  </a:lnTo>
                  <a:lnTo>
                    <a:pt x="164" y="193"/>
                  </a:lnTo>
                  <a:lnTo>
                    <a:pt x="163" y="193"/>
                  </a:lnTo>
                  <a:lnTo>
                    <a:pt x="165" y="192"/>
                  </a:lnTo>
                  <a:lnTo>
                    <a:pt x="166" y="191"/>
                  </a:lnTo>
                  <a:lnTo>
                    <a:pt x="166" y="190"/>
                  </a:lnTo>
                  <a:lnTo>
                    <a:pt x="167" y="190"/>
                  </a:lnTo>
                  <a:lnTo>
                    <a:pt x="167" y="189"/>
                  </a:lnTo>
                  <a:lnTo>
                    <a:pt x="167" y="187"/>
                  </a:lnTo>
                  <a:lnTo>
                    <a:pt x="169" y="187"/>
                  </a:lnTo>
                  <a:lnTo>
                    <a:pt x="169" y="186"/>
                  </a:lnTo>
                  <a:lnTo>
                    <a:pt x="170" y="186"/>
                  </a:lnTo>
                  <a:lnTo>
                    <a:pt x="169" y="186"/>
                  </a:lnTo>
                  <a:lnTo>
                    <a:pt x="169" y="185"/>
                  </a:lnTo>
                  <a:lnTo>
                    <a:pt x="169" y="184"/>
                  </a:lnTo>
                  <a:lnTo>
                    <a:pt x="169" y="183"/>
                  </a:lnTo>
                  <a:lnTo>
                    <a:pt x="167" y="183"/>
                  </a:lnTo>
                  <a:lnTo>
                    <a:pt x="166" y="183"/>
                  </a:lnTo>
                  <a:lnTo>
                    <a:pt x="166" y="184"/>
                  </a:lnTo>
                  <a:lnTo>
                    <a:pt x="166" y="183"/>
                  </a:lnTo>
                  <a:lnTo>
                    <a:pt x="166" y="184"/>
                  </a:lnTo>
                  <a:lnTo>
                    <a:pt x="165" y="183"/>
                  </a:lnTo>
                  <a:lnTo>
                    <a:pt x="164" y="181"/>
                  </a:lnTo>
                  <a:lnTo>
                    <a:pt x="164" y="183"/>
                  </a:lnTo>
                  <a:lnTo>
                    <a:pt x="163" y="183"/>
                  </a:lnTo>
                  <a:lnTo>
                    <a:pt x="161" y="183"/>
                  </a:lnTo>
                  <a:lnTo>
                    <a:pt x="160" y="183"/>
                  </a:lnTo>
                  <a:lnTo>
                    <a:pt x="160" y="181"/>
                  </a:lnTo>
                  <a:lnTo>
                    <a:pt x="159" y="183"/>
                  </a:lnTo>
                  <a:lnTo>
                    <a:pt x="158" y="183"/>
                  </a:lnTo>
                  <a:lnTo>
                    <a:pt x="158" y="184"/>
                  </a:lnTo>
                  <a:lnTo>
                    <a:pt x="156" y="184"/>
                  </a:lnTo>
                  <a:lnTo>
                    <a:pt x="156" y="185"/>
                  </a:lnTo>
                  <a:lnTo>
                    <a:pt x="155" y="185"/>
                  </a:lnTo>
                  <a:lnTo>
                    <a:pt x="155" y="186"/>
                  </a:lnTo>
                  <a:lnTo>
                    <a:pt x="155" y="187"/>
                  </a:lnTo>
                  <a:lnTo>
                    <a:pt x="155" y="189"/>
                  </a:lnTo>
                  <a:lnTo>
                    <a:pt x="156" y="189"/>
                  </a:lnTo>
                  <a:lnTo>
                    <a:pt x="156" y="190"/>
                  </a:lnTo>
                  <a:lnTo>
                    <a:pt x="155" y="191"/>
                  </a:lnTo>
                  <a:lnTo>
                    <a:pt x="155" y="192"/>
                  </a:lnTo>
                  <a:lnTo>
                    <a:pt x="154" y="192"/>
                  </a:lnTo>
                  <a:lnTo>
                    <a:pt x="154" y="193"/>
                  </a:lnTo>
                  <a:lnTo>
                    <a:pt x="153" y="193"/>
                  </a:lnTo>
                  <a:lnTo>
                    <a:pt x="153" y="195"/>
                  </a:lnTo>
                  <a:lnTo>
                    <a:pt x="152" y="195"/>
                  </a:lnTo>
                  <a:lnTo>
                    <a:pt x="152" y="196"/>
                  </a:lnTo>
                  <a:lnTo>
                    <a:pt x="150" y="196"/>
                  </a:lnTo>
                  <a:lnTo>
                    <a:pt x="152" y="196"/>
                  </a:lnTo>
                  <a:lnTo>
                    <a:pt x="150" y="196"/>
                  </a:lnTo>
                  <a:lnTo>
                    <a:pt x="152" y="197"/>
                  </a:lnTo>
                  <a:lnTo>
                    <a:pt x="152" y="196"/>
                  </a:lnTo>
                  <a:lnTo>
                    <a:pt x="153" y="196"/>
                  </a:lnTo>
                  <a:lnTo>
                    <a:pt x="154" y="196"/>
                  </a:lnTo>
                  <a:lnTo>
                    <a:pt x="155" y="197"/>
                  </a:lnTo>
                  <a:lnTo>
                    <a:pt x="156" y="197"/>
                  </a:lnTo>
                  <a:lnTo>
                    <a:pt x="156" y="198"/>
                  </a:lnTo>
                  <a:lnTo>
                    <a:pt x="155" y="198"/>
                  </a:lnTo>
                  <a:lnTo>
                    <a:pt x="156" y="198"/>
                  </a:lnTo>
                  <a:lnTo>
                    <a:pt x="155" y="198"/>
                  </a:lnTo>
                  <a:lnTo>
                    <a:pt x="154" y="199"/>
                  </a:lnTo>
                  <a:lnTo>
                    <a:pt x="154" y="201"/>
                  </a:lnTo>
                  <a:lnTo>
                    <a:pt x="154" y="199"/>
                  </a:lnTo>
                  <a:lnTo>
                    <a:pt x="154" y="201"/>
                  </a:lnTo>
                  <a:lnTo>
                    <a:pt x="153" y="202"/>
                  </a:lnTo>
                  <a:lnTo>
                    <a:pt x="152" y="202"/>
                  </a:lnTo>
                  <a:lnTo>
                    <a:pt x="150" y="201"/>
                  </a:lnTo>
                  <a:lnTo>
                    <a:pt x="150" y="202"/>
                  </a:lnTo>
                  <a:lnTo>
                    <a:pt x="149" y="202"/>
                  </a:lnTo>
                  <a:lnTo>
                    <a:pt x="148" y="202"/>
                  </a:lnTo>
                  <a:lnTo>
                    <a:pt x="147" y="202"/>
                  </a:lnTo>
                  <a:lnTo>
                    <a:pt x="147" y="201"/>
                  </a:lnTo>
                  <a:lnTo>
                    <a:pt x="146" y="201"/>
                  </a:lnTo>
                  <a:lnTo>
                    <a:pt x="144" y="201"/>
                  </a:lnTo>
                  <a:lnTo>
                    <a:pt x="143" y="201"/>
                  </a:lnTo>
                  <a:lnTo>
                    <a:pt x="142" y="201"/>
                  </a:lnTo>
                  <a:lnTo>
                    <a:pt x="142" y="202"/>
                  </a:lnTo>
                  <a:lnTo>
                    <a:pt x="141" y="201"/>
                  </a:lnTo>
                  <a:lnTo>
                    <a:pt x="140" y="201"/>
                  </a:lnTo>
                  <a:lnTo>
                    <a:pt x="140" y="199"/>
                  </a:lnTo>
                  <a:lnTo>
                    <a:pt x="140" y="198"/>
                  </a:lnTo>
                  <a:lnTo>
                    <a:pt x="142" y="198"/>
                  </a:lnTo>
                  <a:lnTo>
                    <a:pt x="142" y="197"/>
                  </a:lnTo>
                  <a:lnTo>
                    <a:pt x="141" y="196"/>
                  </a:lnTo>
                  <a:lnTo>
                    <a:pt x="142" y="196"/>
                  </a:lnTo>
                  <a:lnTo>
                    <a:pt x="143" y="195"/>
                  </a:lnTo>
                  <a:lnTo>
                    <a:pt x="143" y="193"/>
                  </a:lnTo>
                  <a:lnTo>
                    <a:pt x="142" y="193"/>
                  </a:lnTo>
                  <a:lnTo>
                    <a:pt x="142" y="192"/>
                  </a:lnTo>
                  <a:lnTo>
                    <a:pt x="142" y="191"/>
                  </a:lnTo>
                  <a:lnTo>
                    <a:pt x="143" y="190"/>
                  </a:lnTo>
                  <a:lnTo>
                    <a:pt x="142" y="190"/>
                  </a:lnTo>
                  <a:lnTo>
                    <a:pt x="143" y="190"/>
                  </a:lnTo>
                  <a:lnTo>
                    <a:pt x="144" y="190"/>
                  </a:lnTo>
                  <a:lnTo>
                    <a:pt x="146" y="190"/>
                  </a:lnTo>
                  <a:lnTo>
                    <a:pt x="146" y="187"/>
                  </a:lnTo>
                  <a:lnTo>
                    <a:pt x="144" y="187"/>
                  </a:lnTo>
                  <a:lnTo>
                    <a:pt x="143" y="187"/>
                  </a:lnTo>
                  <a:lnTo>
                    <a:pt x="144" y="187"/>
                  </a:lnTo>
                  <a:lnTo>
                    <a:pt x="143" y="187"/>
                  </a:lnTo>
                  <a:lnTo>
                    <a:pt x="142" y="187"/>
                  </a:lnTo>
                  <a:lnTo>
                    <a:pt x="141" y="189"/>
                  </a:lnTo>
                  <a:lnTo>
                    <a:pt x="140" y="189"/>
                  </a:lnTo>
                  <a:lnTo>
                    <a:pt x="140" y="190"/>
                  </a:lnTo>
                  <a:lnTo>
                    <a:pt x="138" y="190"/>
                  </a:lnTo>
                  <a:lnTo>
                    <a:pt x="137" y="190"/>
                  </a:lnTo>
                  <a:lnTo>
                    <a:pt x="137" y="191"/>
                  </a:lnTo>
                  <a:lnTo>
                    <a:pt x="137" y="190"/>
                  </a:lnTo>
                  <a:lnTo>
                    <a:pt x="136" y="190"/>
                  </a:lnTo>
                  <a:lnTo>
                    <a:pt x="135" y="191"/>
                  </a:lnTo>
                  <a:lnTo>
                    <a:pt x="135" y="190"/>
                  </a:lnTo>
                  <a:lnTo>
                    <a:pt x="134" y="190"/>
                  </a:lnTo>
                  <a:lnTo>
                    <a:pt x="134" y="191"/>
                  </a:lnTo>
                  <a:lnTo>
                    <a:pt x="132" y="191"/>
                  </a:lnTo>
                  <a:lnTo>
                    <a:pt x="134" y="191"/>
                  </a:lnTo>
                  <a:lnTo>
                    <a:pt x="134" y="192"/>
                  </a:lnTo>
                  <a:lnTo>
                    <a:pt x="132" y="192"/>
                  </a:lnTo>
                  <a:lnTo>
                    <a:pt x="132" y="191"/>
                  </a:lnTo>
                  <a:lnTo>
                    <a:pt x="131" y="192"/>
                  </a:lnTo>
                  <a:lnTo>
                    <a:pt x="131" y="193"/>
                  </a:lnTo>
                  <a:lnTo>
                    <a:pt x="132" y="193"/>
                  </a:lnTo>
                  <a:lnTo>
                    <a:pt x="131" y="193"/>
                  </a:lnTo>
                  <a:lnTo>
                    <a:pt x="130" y="193"/>
                  </a:lnTo>
                  <a:lnTo>
                    <a:pt x="129" y="193"/>
                  </a:lnTo>
                  <a:lnTo>
                    <a:pt x="128" y="193"/>
                  </a:lnTo>
                  <a:lnTo>
                    <a:pt x="126" y="193"/>
                  </a:lnTo>
                  <a:lnTo>
                    <a:pt x="125" y="193"/>
                  </a:lnTo>
                  <a:lnTo>
                    <a:pt x="125" y="192"/>
                  </a:lnTo>
                  <a:lnTo>
                    <a:pt x="124" y="192"/>
                  </a:lnTo>
                  <a:lnTo>
                    <a:pt x="123" y="192"/>
                  </a:lnTo>
                  <a:lnTo>
                    <a:pt x="123" y="191"/>
                  </a:lnTo>
                  <a:lnTo>
                    <a:pt x="122" y="190"/>
                  </a:lnTo>
                  <a:lnTo>
                    <a:pt x="122" y="191"/>
                  </a:lnTo>
                  <a:lnTo>
                    <a:pt x="122" y="192"/>
                  </a:lnTo>
                  <a:lnTo>
                    <a:pt x="120" y="191"/>
                  </a:lnTo>
                  <a:lnTo>
                    <a:pt x="120" y="192"/>
                  </a:lnTo>
                  <a:lnTo>
                    <a:pt x="120" y="193"/>
                  </a:lnTo>
                  <a:lnTo>
                    <a:pt x="119" y="193"/>
                  </a:lnTo>
                  <a:lnTo>
                    <a:pt x="119" y="195"/>
                  </a:lnTo>
                  <a:lnTo>
                    <a:pt x="118" y="195"/>
                  </a:lnTo>
                  <a:lnTo>
                    <a:pt x="117" y="193"/>
                  </a:lnTo>
                  <a:lnTo>
                    <a:pt x="117" y="192"/>
                  </a:lnTo>
                  <a:lnTo>
                    <a:pt x="117" y="193"/>
                  </a:lnTo>
                  <a:lnTo>
                    <a:pt x="116" y="193"/>
                  </a:lnTo>
                  <a:lnTo>
                    <a:pt x="116" y="195"/>
                  </a:lnTo>
                  <a:lnTo>
                    <a:pt x="116" y="196"/>
                  </a:lnTo>
                  <a:lnTo>
                    <a:pt x="116" y="195"/>
                  </a:lnTo>
                  <a:lnTo>
                    <a:pt x="116" y="196"/>
                  </a:lnTo>
                  <a:lnTo>
                    <a:pt x="114" y="197"/>
                  </a:lnTo>
                  <a:lnTo>
                    <a:pt x="114" y="196"/>
                  </a:lnTo>
                  <a:lnTo>
                    <a:pt x="113" y="196"/>
                  </a:lnTo>
                  <a:lnTo>
                    <a:pt x="113" y="195"/>
                  </a:lnTo>
                  <a:lnTo>
                    <a:pt x="112" y="195"/>
                  </a:lnTo>
                  <a:lnTo>
                    <a:pt x="112" y="196"/>
                  </a:lnTo>
                  <a:lnTo>
                    <a:pt x="111" y="196"/>
                  </a:lnTo>
                  <a:lnTo>
                    <a:pt x="111" y="195"/>
                  </a:lnTo>
                  <a:lnTo>
                    <a:pt x="111" y="193"/>
                  </a:lnTo>
                  <a:lnTo>
                    <a:pt x="111" y="192"/>
                  </a:lnTo>
                  <a:lnTo>
                    <a:pt x="112" y="192"/>
                  </a:lnTo>
                  <a:lnTo>
                    <a:pt x="113" y="192"/>
                  </a:lnTo>
                  <a:lnTo>
                    <a:pt x="114" y="192"/>
                  </a:lnTo>
                  <a:lnTo>
                    <a:pt x="113" y="191"/>
                  </a:lnTo>
                  <a:lnTo>
                    <a:pt x="114" y="191"/>
                  </a:lnTo>
                  <a:lnTo>
                    <a:pt x="113" y="191"/>
                  </a:lnTo>
                  <a:lnTo>
                    <a:pt x="113" y="190"/>
                  </a:lnTo>
                  <a:lnTo>
                    <a:pt x="116" y="190"/>
                  </a:lnTo>
                  <a:lnTo>
                    <a:pt x="114" y="190"/>
                  </a:lnTo>
                  <a:lnTo>
                    <a:pt x="116" y="190"/>
                  </a:lnTo>
                  <a:lnTo>
                    <a:pt x="117" y="190"/>
                  </a:lnTo>
                  <a:lnTo>
                    <a:pt x="117" y="189"/>
                  </a:lnTo>
                  <a:lnTo>
                    <a:pt x="116" y="189"/>
                  </a:lnTo>
                  <a:lnTo>
                    <a:pt x="116" y="187"/>
                  </a:lnTo>
                  <a:lnTo>
                    <a:pt x="114" y="187"/>
                  </a:lnTo>
                  <a:lnTo>
                    <a:pt x="113" y="187"/>
                  </a:lnTo>
                  <a:lnTo>
                    <a:pt x="113" y="189"/>
                  </a:lnTo>
                  <a:lnTo>
                    <a:pt x="111" y="189"/>
                  </a:lnTo>
                  <a:lnTo>
                    <a:pt x="110" y="190"/>
                  </a:lnTo>
                  <a:lnTo>
                    <a:pt x="110" y="191"/>
                  </a:lnTo>
                  <a:lnTo>
                    <a:pt x="110" y="190"/>
                  </a:lnTo>
                  <a:lnTo>
                    <a:pt x="110" y="189"/>
                  </a:lnTo>
                  <a:lnTo>
                    <a:pt x="108" y="190"/>
                  </a:lnTo>
                  <a:lnTo>
                    <a:pt x="107" y="191"/>
                  </a:lnTo>
                  <a:lnTo>
                    <a:pt x="107" y="192"/>
                  </a:lnTo>
                  <a:lnTo>
                    <a:pt x="107" y="191"/>
                  </a:lnTo>
                  <a:lnTo>
                    <a:pt x="106" y="191"/>
                  </a:lnTo>
                  <a:lnTo>
                    <a:pt x="106" y="190"/>
                  </a:lnTo>
                  <a:lnTo>
                    <a:pt x="105" y="190"/>
                  </a:lnTo>
                  <a:lnTo>
                    <a:pt x="104" y="190"/>
                  </a:lnTo>
                  <a:lnTo>
                    <a:pt x="102" y="190"/>
                  </a:lnTo>
                  <a:lnTo>
                    <a:pt x="102" y="189"/>
                  </a:lnTo>
                  <a:lnTo>
                    <a:pt x="101" y="189"/>
                  </a:lnTo>
                  <a:lnTo>
                    <a:pt x="100" y="189"/>
                  </a:lnTo>
                  <a:lnTo>
                    <a:pt x="100" y="187"/>
                  </a:lnTo>
                  <a:lnTo>
                    <a:pt x="99" y="187"/>
                  </a:lnTo>
                  <a:lnTo>
                    <a:pt x="99" y="186"/>
                  </a:lnTo>
                  <a:lnTo>
                    <a:pt x="97" y="186"/>
                  </a:lnTo>
                  <a:lnTo>
                    <a:pt x="96" y="186"/>
                  </a:lnTo>
                  <a:lnTo>
                    <a:pt x="97" y="186"/>
                  </a:lnTo>
                  <a:lnTo>
                    <a:pt x="97" y="185"/>
                  </a:lnTo>
                  <a:lnTo>
                    <a:pt x="96" y="184"/>
                  </a:lnTo>
                  <a:lnTo>
                    <a:pt x="97" y="184"/>
                  </a:lnTo>
                  <a:lnTo>
                    <a:pt x="97" y="183"/>
                  </a:lnTo>
                  <a:lnTo>
                    <a:pt x="96" y="183"/>
                  </a:lnTo>
                  <a:lnTo>
                    <a:pt x="97" y="183"/>
                  </a:lnTo>
                  <a:lnTo>
                    <a:pt x="97" y="181"/>
                  </a:lnTo>
                  <a:lnTo>
                    <a:pt x="97" y="183"/>
                  </a:lnTo>
                  <a:lnTo>
                    <a:pt x="96" y="183"/>
                  </a:lnTo>
                  <a:lnTo>
                    <a:pt x="96" y="181"/>
                  </a:lnTo>
                  <a:lnTo>
                    <a:pt x="95" y="181"/>
                  </a:lnTo>
                  <a:lnTo>
                    <a:pt x="95" y="180"/>
                  </a:lnTo>
                  <a:lnTo>
                    <a:pt x="95" y="179"/>
                  </a:lnTo>
                  <a:lnTo>
                    <a:pt x="94" y="179"/>
                  </a:lnTo>
                  <a:lnTo>
                    <a:pt x="94" y="178"/>
                  </a:lnTo>
                  <a:lnTo>
                    <a:pt x="94" y="177"/>
                  </a:lnTo>
                  <a:lnTo>
                    <a:pt x="94" y="175"/>
                  </a:lnTo>
                  <a:lnTo>
                    <a:pt x="93" y="174"/>
                  </a:lnTo>
                  <a:lnTo>
                    <a:pt x="94" y="174"/>
                  </a:lnTo>
                  <a:lnTo>
                    <a:pt x="94" y="173"/>
                  </a:lnTo>
                  <a:lnTo>
                    <a:pt x="95" y="173"/>
                  </a:lnTo>
                  <a:lnTo>
                    <a:pt x="95" y="174"/>
                  </a:lnTo>
                  <a:lnTo>
                    <a:pt x="96" y="174"/>
                  </a:lnTo>
                  <a:lnTo>
                    <a:pt x="96" y="175"/>
                  </a:lnTo>
                  <a:lnTo>
                    <a:pt x="96" y="174"/>
                  </a:lnTo>
                  <a:lnTo>
                    <a:pt x="97" y="174"/>
                  </a:lnTo>
                  <a:lnTo>
                    <a:pt x="96" y="174"/>
                  </a:lnTo>
                  <a:lnTo>
                    <a:pt x="97" y="174"/>
                  </a:lnTo>
                  <a:lnTo>
                    <a:pt x="99" y="174"/>
                  </a:lnTo>
                  <a:lnTo>
                    <a:pt x="99" y="173"/>
                  </a:lnTo>
                  <a:lnTo>
                    <a:pt x="100" y="173"/>
                  </a:lnTo>
                  <a:lnTo>
                    <a:pt x="100" y="172"/>
                  </a:lnTo>
                  <a:lnTo>
                    <a:pt x="101" y="172"/>
                  </a:lnTo>
                  <a:lnTo>
                    <a:pt x="101" y="173"/>
                  </a:lnTo>
                  <a:lnTo>
                    <a:pt x="102" y="173"/>
                  </a:lnTo>
                  <a:lnTo>
                    <a:pt x="104" y="173"/>
                  </a:lnTo>
                  <a:lnTo>
                    <a:pt x="104" y="172"/>
                  </a:lnTo>
                  <a:lnTo>
                    <a:pt x="104" y="171"/>
                  </a:lnTo>
                  <a:lnTo>
                    <a:pt x="104" y="172"/>
                  </a:lnTo>
                  <a:lnTo>
                    <a:pt x="105" y="172"/>
                  </a:lnTo>
                  <a:lnTo>
                    <a:pt x="106" y="172"/>
                  </a:lnTo>
                  <a:lnTo>
                    <a:pt x="105" y="172"/>
                  </a:lnTo>
                  <a:lnTo>
                    <a:pt x="105" y="171"/>
                  </a:lnTo>
                  <a:lnTo>
                    <a:pt x="105" y="169"/>
                  </a:lnTo>
                  <a:lnTo>
                    <a:pt x="104" y="169"/>
                  </a:lnTo>
                  <a:lnTo>
                    <a:pt x="104" y="168"/>
                  </a:lnTo>
                  <a:lnTo>
                    <a:pt x="102" y="168"/>
                  </a:lnTo>
                  <a:lnTo>
                    <a:pt x="102" y="167"/>
                  </a:lnTo>
                  <a:lnTo>
                    <a:pt x="102" y="166"/>
                  </a:lnTo>
                  <a:lnTo>
                    <a:pt x="104" y="166"/>
                  </a:lnTo>
                  <a:lnTo>
                    <a:pt x="102" y="166"/>
                  </a:lnTo>
                  <a:lnTo>
                    <a:pt x="102" y="165"/>
                  </a:lnTo>
                  <a:lnTo>
                    <a:pt x="101" y="165"/>
                  </a:lnTo>
                  <a:lnTo>
                    <a:pt x="100" y="163"/>
                  </a:lnTo>
                  <a:lnTo>
                    <a:pt x="100" y="162"/>
                  </a:lnTo>
                  <a:lnTo>
                    <a:pt x="100" y="161"/>
                  </a:lnTo>
                  <a:lnTo>
                    <a:pt x="100" y="160"/>
                  </a:lnTo>
                  <a:lnTo>
                    <a:pt x="99" y="160"/>
                  </a:lnTo>
                  <a:lnTo>
                    <a:pt x="99" y="159"/>
                  </a:lnTo>
                  <a:lnTo>
                    <a:pt x="99" y="157"/>
                  </a:lnTo>
                  <a:lnTo>
                    <a:pt x="97" y="157"/>
                  </a:lnTo>
                  <a:lnTo>
                    <a:pt x="97" y="156"/>
                  </a:lnTo>
                  <a:lnTo>
                    <a:pt x="97" y="155"/>
                  </a:lnTo>
                  <a:lnTo>
                    <a:pt x="97" y="154"/>
                  </a:lnTo>
                  <a:lnTo>
                    <a:pt x="97" y="152"/>
                  </a:lnTo>
                  <a:lnTo>
                    <a:pt x="97" y="151"/>
                  </a:lnTo>
                  <a:lnTo>
                    <a:pt x="97" y="150"/>
                  </a:lnTo>
                  <a:lnTo>
                    <a:pt x="97" y="149"/>
                  </a:lnTo>
                  <a:lnTo>
                    <a:pt x="96" y="148"/>
                  </a:lnTo>
                  <a:lnTo>
                    <a:pt x="96" y="146"/>
                  </a:lnTo>
                  <a:lnTo>
                    <a:pt x="97" y="145"/>
                  </a:lnTo>
                  <a:lnTo>
                    <a:pt x="99" y="145"/>
                  </a:lnTo>
                  <a:lnTo>
                    <a:pt x="99" y="146"/>
                  </a:lnTo>
                  <a:lnTo>
                    <a:pt x="99" y="148"/>
                  </a:lnTo>
                  <a:lnTo>
                    <a:pt x="100" y="148"/>
                  </a:lnTo>
                  <a:lnTo>
                    <a:pt x="100" y="149"/>
                  </a:lnTo>
                  <a:lnTo>
                    <a:pt x="101" y="149"/>
                  </a:lnTo>
                  <a:lnTo>
                    <a:pt x="102" y="149"/>
                  </a:lnTo>
                  <a:lnTo>
                    <a:pt x="102" y="150"/>
                  </a:lnTo>
                  <a:lnTo>
                    <a:pt x="104" y="150"/>
                  </a:lnTo>
                  <a:lnTo>
                    <a:pt x="104" y="151"/>
                  </a:lnTo>
                  <a:lnTo>
                    <a:pt x="105" y="151"/>
                  </a:lnTo>
                  <a:lnTo>
                    <a:pt x="105" y="150"/>
                  </a:lnTo>
                  <a:lnTo>
                    <a:pt x="105" y="149"/>
                  </a:lnTo>
                  <a:lnTo>
                    <a:pt x="105" y="148"/>
                  </a:lnTo>
                  <a:lnTo>
                    <a:pt x="105" y="146"/>
                  </a:lnTo>
                  <a:lnTo>
                    <a:pt x="106" y="146"/>
                  </a:lnTo>
                  <a:lnTo>
                    <a:pt x="107" y="146"/>
                  </a:lnTo>
                  <a:lnTo>
                    <a:pt x="107" y="148"/>
                  </a:lnTo>
                  <a:lnTo>
                    <a:pt x="107" y="149"/>
                  </a:lnTo>
                  <a:lnTo>
                    <a:pt x="108" y="149"/>
                  </a:lnTo>
                  <a:lnTo>
                    <a:pt x="108" y="150"/>
                  </a:lnTo>
                  <a:lnTo>
                    <a:pt x="108" y="149"/>
                  </a:lnTo>
                  <a:lnTo>
                    <a:pt x="110" y="148"/>
                  </a:lnTo>
                  <a:lnTo>
                    <a:pt x="111" y="148"/>
                  </a:lnTo>
                  <a:lnTo>
                    <a:pt x="111" y="149"/>
                  </a:lnTo>
                  <a:lnTo>
                    <a:pt x="112" y="149"/>
                  </a:lnTo>
                  <a:lnTo>
                    <a:pt x="112" y="150"/>
                  </a:lnTo>
                  <a:lnTo>
                    <a:pt x="113" y="150"/>
                  </a:lnTo>
                  <a:lnTo>
                    <a:pt x="113" y="151"/>
                  </a:lnTo>
                  <a:lnTo>
                    <a:pt x="114" y="151"/>
                  </a:lnTo>
                  <a:lnTo>
                    <a:pt x="114" y="152"/>
                  </a:lnTo>
                  <a:lnTo>
                    <a:pt x="116" y="152"/>
                  </a:lnTo>
                  <a:lnTo>
                    <a:pt x="116" y="154"/>
                  </a:lnTo>
                  <a:lnTo>
                    <a:pt x="117" y="154"/>
                  </a:lnTo>
                  <a:lnTo>
                    <a:pt x="118" y="154"/>
                  </a:lnTo>
                  <a:lnTo>
                    <a:pt x="118" y="152"/>
                  </a:lnTo>
                  <a:lnTo>
                    <a:pt x="117" y="151"/>
                  </a:lnTo>
                  <a:lnTo>
                    <a:pt x="116" y="151"/>
                  </a:lnTo>
                  <a:lnTo>
                    <a:pt x="116" y="150"/>
                  </a:lnTo>
                  <a:lnTo>
                    <a:pt x="114" y="149"/>
                  </a:lnTo>
                  <a:lnTo>
                    <a:pt x="114" y="148"/>
                  </a:lnTo>
                  <a:lnTo>
                    <a:pt x="114" y="146"/>
                  </a:lnTo>
                  <a:lnTo>
                    <a:pt x="116" y="146"/>
                  </a:lnTo>
                  <a:lnTo>
                    <a:pt x="116" y="145"/>
                  </a:lnTo>
                  <a:lnTo>
                    <a:pt x="117" y="145"/>
                  </a:lnTo>
                  <a:lnTo>
                    <a:pt x="117" y="146"/>
                  </a:lnTo>
                  <a:lnTo>
                    <a:pt x="118" y="146"/>
                  </a:lnTo>
                  <a:lnTo>
                    <a:pt x="119" y="146"/>
                  </a:lnTo>
                  <a:lnTo>
                    <a:pt x="120" y="145"/>
                  </a:lnTo>
                  <a:lnTo>
                    <a:pt x="120" y="146"/>
                  </a:lnTo>
                  <a:lnTo>
                    <a:pt x="122" y="146"/>
                  </a:lnTo>
                  <a:lnTo>
                    <a:pt x="122" y="148"/>
                  </a:lnTo>
                  <a:lnTo>
                    <a:pt x="123" y="148"/>
                  </a:lnTo>
                  <a:lnTo>
                    <a:pt x="125" y="148"/>
                  </a:lnTo>
                  <a:lnTo>
                    <a:pt x="125" y="149"/>
                  </a:lnTo>
                  <a:lnTo>
                    <a:pt x="126" y="149"/>
                  </a:lnTo>
                  <a:lnTo>
                    <a:pt x="128" y="149"/>
                  </a:lnTo>
                  <a:lnTo>
                    <a:pt x="128" y="148"/>
                  </a:lnTo>
                  <a:lnTo>
                    <a:pt x="129" y="146"/>
                  </a:lnTo>
                  <a:lnTo>
                    <a:pt x="129" y="145"/>
                  </a:lnTo>
                  <a:lnTo>
                    <a:pt x="129" y="146"/>
                  </a:lnTo>
                  <a:lnTo>
                    <a:pt x="128" y="145"/>
                  </a:lnTo>
                  <a:lnTo>
                    <a:pt x="128" y="146"/>
                  </a:lnTo>
                  <a:lnTo>
                    <a:pt x="126" y="146"/>
                  </a:lnTo>
                  <a:lnTo>
                    <a:pt x="126" y="145"/>
                  </a:lnTo>
                  <a:lnTo>
                    <a:pt x="125" y="144"/>
                  </a:lnTo>
                  <a:lnTo>
                    <a:pt x="124" y="144"/>
                  </a:lnTo>
                  <a:lnTo>
                    <a:pt x="123" y="144"/>
                  </a:lnTo>
                  <a:lnTo>
                    <a:pt x="123" y="143"/>
                  </a:lnTo>
                  <a:lnTo>
                    <a:pt x="122" y="143"/>
                  </a:lnTo>
                  <a:lnTo>
                    <a:pt x="122" y="140"/>
                  </a:lnTo>
                  <a:lnTo>
                    <a:pt x="120" y="140"/>
                  </a:lnTo>
                  <a:lnTo>
                    <a:pt x="120" y="142"/>
                  </a:lnTo>
                  <a:lnTo>
                    <a:pt x="119" y="142"/>
                  </a:lnTo>
                  <a:lnTo>
                    <a:pt x="118" y="142"/>
                  </a:lnTo>
                  <a:lnTo>
                    <a:pt x="117" y="142"/>
                  </a:lnTo>
                  <a:lnTo>
                    <a:pt x="116" y="142"/>
                  </a:lnTo>
                  <a:lnTo>
                    <a:pt x="116" y="140"/>
                  </a:lnTo>
                  <a:lnTo>
                    <a:pt x="114" y="142"/>
                  </a:lnTo>
                  <a:lnTo>
                    <a:pt x="114" y="140"/>
                  </a:lnTo>
                  <a:lnTo>
                    <a:pt x="114" y="139"/>
                  </a:lnTo>
                  <a:lnTo>
                    <a:pt x="113" y="138"/>
                  </a:lnTo>
                  <a:lnTo>
                    <a:pt x="113" y="137"/>
                  </a:lnTo>
                  <a:lnTo>
                    <a:pt x="112" y="137"/>
                  </a:lnTo>
                  <a:lnTo>
                    <a:pt x="111" y="137"/>
                  </a:lnTo>
                  <a:lnTo>
                    <a:pt x="110" y="137"/>
                  </a:lnTo>
                  <a:lnTo>
                    <a:pt x="110" y="136"/>
                  </a:lnTo>
                  <a:lnTo>
                    <a:pt x="110" y="134"/>
                  </a:lnTo>
                  <a:lnTo>
                    <a:pt x="110" y="133"/>
                  </a:lnTo>
                  <a:lnTo>
                    <a:pt x="110" y="132"/>
                  </a:lnTo>
                  <a:lnTo>
                    <a:pt x="108" y="132"/>
                  </a:lnTo>
                  <a:lnTo>
                    <a:pt x="108" y="131"/>
                  </a:lnTo>
                  <a:lnTo>
                    <a:pt x="107" y="131"/>
                  </a:lnTo>
                  <a:lnTo>
                    <a:pt x="107" y="130"/>
                  </a:lnTo>
                  <a:lnTo>
                    <a:pt x="108" y="130"/>
                  </a:lnTo>
                  <a:lnTo>
                    <a:pt x="108" y="128"/>
                  </a:lnTo>
                  <a:lnTo>
                    <a:pt x="110" y="128"/>
                  </a:lnTo>
                  <a:lnTo>
                    <a:pt x="110" y="130"/>
                  </a:lnTo>
                  <a:lnTo>
                    <a:pt x="111" y="130"/>
                  </a:lnTo>
                  <a:lnTo>
                    <a:pt x="112" y="130"/>
                  </a:lnTo>
                  <a:lnTo>
                    <a:pt x="113" y="130"/>
                  </a:lnTo>
                  <a:lnTo>
                    <a:pt x="113" y="131"/>
                  </a:lnTo>
                  <a:lnTo>
                    <a:pt x="114" y="131"/>
                  </a:lnTo>
                  <a:lnTo>
                    <a:pt x="116" y="131"/>
                  </a:lnTo>
                  <a:lnTo>
                    <a:pt x="116" y="130"/>
                  </a:lnTo>
                  <a:lnTo>
                    <a:pt x="114" y="130"/>
                  </a:lnTo>
                  <a:lnTo>
                    <a:pt x="114" y="128"/>
                  </a:lnTo>
                  <a:lnTo>
                    <a:pt x="114" y="127"/>
                  </a:lnTo>
                  <a:lnTo>
                    <a:pt x="114" y="126"/>
                  </a:lnTo>
                  <a:lnTo>
                    <a:pt x="116" y="126"/>
                  </a:lnTo>
                  <a:lnTo>
                    <a:pt x="116" y="127"/>
                  </a:lnTo>
                  <a:lnTo>
                    <a:pt x="117" y="128"/>
                  </a:lnTo>
                  <a:lnTo>
                    <a:pt x="118" y="128"/>
                  </a:lnTo>
                  <a:lnTo>
                    <a:pt x="119" y="128"/>
                  </a:lnTo>
                  <a:lnTo>
                    <a:pt x="119" y="131"/>
                  </a:lnTo>
                  <a:lnTo>
                    <a:pt x="119" y="132"/>
                  </a:lnTo>
                  <a:lnTo>
                    <a:pt x="120" y="132"/>
                  </a:lnTo>
                  <a:lnTo>
                    <a:pt x="120" y="133"/>
                  </a:lnTo>
                  <a:lnTo>
                    <a:pt x="120" y="132"/>
                  </a:lnTo>
                  <a:lnTo>
                    <a:pt x="122" y="132"/>
                  </a:lnTo>
                  <a:lnTo>
                    <a:pt x="123" y="132"/>
                  </a:lnTo>
                  <a:lnTo>
                    <a:pt x="123" y="131"/>
                  </a:lnTo>
                  <a:lnTo>
                    <a:pt x="124" y="131"/>
                  </a:lnTo>
                  <a:lnTo>
                    <a:pt x="126" y="131"/>
                  </a:lnTo>
                  <a:lnTo>
                    <a:pt x="129" y="131"/>
                  </a:lnTo>
                  <a:lnTo>
                    <a:pt x="129" y="132"/>
                  </a:lnTo>
                  <a:lnTo>
                    <a:pt x="129" y="133"/>
                  </a:lnTo>
                  <a:lnTo>
                    <a:pt x="130" y="133"/>
                  </a:lnTo>
                  <a:lnTo>
                    <a:pt x="130" y="134"/>
                  </a:lnTo>
                  <a:lnTo>
                    <a:pt x="131" y="134"/>
                  </a:lnTo>
                  <a:lnTo>
                    <a:pt x="131" y="133"/>
                  </a:lnTo>
                  <a:lnTo>
                    <a:pt x="130" y="132"/>
                  </a:lnTo>
                  <a:lnTo>
                    <a:pt x="130" y="131"/>
                  </a:lnTo>
                  <a:lnTo>
                    <a:pt x="129" y="131"/>
                  </a:lnTo>
                  <a:lnTo>
                    <a:pt x="129" y="130"/>
                  </a:lnTo>
                  <a:lnTo>
                    <a:pt x="129" y="128"/>
                  </a:lnTo>
                  <a:lnTo>
                    <a:pt x="130" y="127"/>
                  </a:lnTo>
                  <a:lnTo>
                    <a:pt x="130" y="128"/>
                  </a:lnTo>
                  <a:lnTo>
                    <a:pt x="131" y="128"/>
                  </a:lnTo>
                  <a:lnTo>
                    <a:pt x="132" y="130"/>
                  </a:lnTo>
                  <a:lnTo>
                    <a:pt x="132" y="128"/>
                  </a:lnTo>
                  <a:lnTo>
                    <a:pt x="132" y="126"/>
                  </a:lnTo>
                  <a:lnTo>
                    <a:pt x="131" y="125"/>
                  </a:lnTo>
                  <a:lnTo>
                    <a:pt x="131" y="124"/>
                  </a:lnTo>
                  <a:lnTo>
                    <a:pt x="131" y="122"/>
                  </a:lnTo>
                  <a:lnTo>
                    <a:pt x="132" y="122"/>
                  </a:lnTo>
                  <a:lnTo>
                    <a:pt x="132" y="124"/>
                  </a:lnTo>
                  <a:lnTo>
                    <a:pt x="134" y="122"/>
                  </a:lnTo>
                  <a:lnTo>
                    <a:pt x="135" y="122"/>
                  </a:lnTo>
                  <a:lnTo>
                    <a:pt x="136" y="124"/>
                  </a:lnTo>
                  <a:lnTo>
                    <a:pt x="136" y="125"/>
                  </a:lnTo>
                  <a:lnTo>
                    <a:pt x="136" y="124"/>
                  </a:lnTo>
                  <a:lnTo>
                    <a:pt x="137" y="125"/>
                  </a:lnTo>
                  <a:lnTo>
                    <a:pt x="138" y="125"/>
                  </a:lnTo>
                  <a:lnTo>
                    <a:pt x="138" y="124"/>
                  </a:lnTo>
                  <a:lnTo>
                    <a:pt x="140" y="124"/>
                  </a:lnTo>
                  <a:lnTo>
                    <a:pt x="140" y="122"/>
                  </a:lnTo>
                  <a:lnTo>
                    <a:pt x="138" y="122"/>
                  </a:lnTo>
                  <a:lnTo>
                    <a:pt x="140" y="121"/>
                  </a:lnTo>
                  <a:lnTo>
                    <a:pt x="140" y="120"/>
                  </a:lnTo>
                  <a:lnTo>
                    <a:pt x="138" y="120"/>
                  </a:lnTo>
                  <a:lnTo>
                    <a:pt x="138" y="119"/>
                  </a:lnTo>
                  <a:lnTo>
                    <a:pt x="138" y="118"/>
                  </a:lnTo>
                  <a:lnTo>
                    <a:pt x="140" y="118"/>
                  </a:lnTo>
                  <a:lnTo>
                    <a:pt x="140" y="116"/>
                  </a:lnTo>
                  <a:lnTo>
                    <a:pt x="141" y="116"/>
                  </a:lnTo>
                  <a:lnTo>
                    <a:pt x="141" y="118"/>
                  </a:lnTo>
                  <a:lnTo>
                    <a:pt x="142" y="118"/>
                  </a:lnTo>
                  <a:lnTo>
                    <a:pt x="142" y="119"/>
                  </a:lnTo>
                  <a:lnTo>
                    <a:pt x="143" y="119"/>
                  </a:lnTo>
                  <a:lnTo>
                    <a:pt x="143" y="118"/>
                  </a:lnTo>
                  <a:lnTo>
                    <a:pt x="144" y="116"/>
                  </a:lnTo>
                  <a:lnTo>
                    <a:pt x="144" y="115"/>
                  </a:lnTo>
                  <a:lnTo>
                    <a:pt x="146" y="116"/>
                  </a:lnTo>
                  <a:lnTo>
                    <a:pt x="146" y="115"/>
                  </a:lnTo>
                  <a:lnTo>
                    <a:pt x="146" y="114"/>
                  </a:lnTo>
                  <a:lnTo>
                    <a:pt x="144" y="114"/>
                  </a:lnTo>
                  <a:lnTo>
                    <a:pt x="144" y="113"/>
                  </a:lnTo>
                  <a:lnTo>
                    <a:pt x="144" y="112"/>
                  </a:lnTo>
                  <a:lnTo>
                    <a:pt x="143" y="110"/>
                  </a:lnTo>
                  <a:lnTo>
                    <a:pt x="143" y="112"/>
                  </a:lnTo>
                  <a:lnTo>
                    <a:pt x="143" y="110"/>
                  </a:lnTo>
                  <a:lnTo>
                    <a:pt x="142" y="110"/>
                  </a:lnTo>
                  <a:lnTo>
                    <a:pt x="143" y="109"/>
                  </a:lnTo>
                  <a:lnTo>
                    <a:pt x="142" y="109"/>
                  </a:lnTo>
                  <a:lnTo>
                    <a:pt x="142" y="108"/>
                  </a:lnTo>
                  <a:lnTo>
                    <a:pt x="141" y="107"/>
                  </a:lnTo>
                  <a:lnTo>
                    <a:pt x="141" y="108"/>
                  </a:lnTo>
                  <a:lnTo>
                    <a:pt x="141" y="107"/>
                  </a:lnTo>
                  <a:lnTo>
                    <a:pt x="141" y="108"/>
                  </a:lnTo>
                  <a:lnTo>
                    <a:pt x="140" y="108"/>
                  </a:lnTo>
                  <a:lnTo>
                    <a:pt x="138" y="107"/>
                  </a:lnTo>
                  <a:lnTo>
                    <a:pt x="138" y="106"/>
                  </a:lnTo>
                  <a:lnTo>
                    <a:pt x="137" y="106"/>
                  </a:lnTo>
                  <a:lnTo>
                    <a:pt x="136" y="106"/>
                  </a:lnTo>
                  <a:lnTo>
                    <a:pt x="136" y="104"/>
                  </a:lnTo>
                  <a:lnTo>
                    <a:pt x="136" y="103"/>
                  </a:lnTo>
                  <a:lnTo>
                    <a:pt x="136" y="102"/>
                  </a:lnTo>
                  <a:lnTo>
                    <a:pt x="137" y="102"/>
                  </a:lnTo>
                  <a:lnTo>
                    <a:pt x="137" y="103"/>
                  </a:lnTo>
                  <a:lnTo>
                    <a:pt x="138" y="102"/>
                  </a:lnTo>
                  <a:lnTo>
                    <a:pt x="140" y="102"/>
                  </a:lnTo>
                  <a:lnTo>
                    <a:pt x="138" y="101"/>
                  </a:lnTo>
                  <a:lnTo>
                    <a:pt x="137" y="101"/>
                  </a:lnTo>
                  <a:lnTo>
                    <a:pt x="136" y="101"/>
                  </a:lnTo>
                  <a:lnTo>
                    <a:pt x="135" y="101"/>
                  </a:lnTo>
                  <a:lnTo>
                    <a:pt x="135" y="100"/>
                  </a:lnTo>
                  <a:lnTo>
                    <a:pt x="135" y="98"/>
                  </a:lnTo>
                  <a:lnTo>
                    <a:pt x="134" y="98"/>
                  </a:lnTo>
                  <a:lnTo>
                    <a:pt x="132" y="98"/>
                  </a:lnTo>
                  <a:lnTo>
                    <a:pt x="132" y="97"/>
                  </a:lnTo>
                  <a:lnTo>
                    <a:pt x="131" y="97"/>
                  </a:lnTo>
                  <a:lnTo>
                    <a:pt x="132" y="96"/>
                  </a:lnTo>
                  <a:lnTo>
                    <a:pt x="132" y="94"/>
                  </a:lnTo>
                  <a:lnTo>
                    <a:pt x="134" y="92"/>
                  </a:lnTo>
                  <a:lnTo>
                    <a:pt x="132" y="91"/>
                  </a:lnTo>
                  <a:lnTo>
                    <a:pt x="132" y="90"/>
                  </a:lnTo>
                  <a:lnTo>
                    <a:pt x="132" y="89"/>
                  </a:lnTo>
                  <a:lnTo>
                    <a:pt x="132" y="88"/>
                  </a:lnTo>
                  <a:lnTo>
                    <a:pt x="134" y="88"/>
                  </a:lnTo>
                  <a:lnTo>
                    <a:pt x="135" y="88"/>
                  </a:lnTo>
                  <a:lnTo>
                    <a:pt x="135" y="89"/>
                  </a:lnTo>
                  <a:lnTo>
                    <a:pt x="136" y="90"/>
                  </a:lnTo>
                  <a:lnTo>
                    <a:pt x="136" y="89"/>
                  </a:lnTo>
                  <a:lnTo>
                    <a:pt x="137" y="89"/>
                  </a:lnTo>
                  <a:lnTo>
                    <a:pt x="140" y="89"/>
                  </a:lnTo>
                  <a:lnTo>
                    <a:pt x="140" y="88"/>
                  </a:lnTo>
                  <a:lnTo>
                    <a:pt x="141" y="88"/>
                  </a:lnTo>
                  <a:lnTo>
                    <a:pt x="140" y="89"/>
                  </a:lnTo>
                  <a:lnTo>
                    <a:pt x="141" y="89"/>
                  </a:lnTo>
                  <a:lnTo>
                    <a:pt x="141" y="90"/>
                  </a:lnTo>
                  <a:lnTo>
                    <a:pt x="142" y="91"/>
                  </a:lnTo>
                  <a:lnTo>
                    <a:pt x="143" y="92"/>
                  </a:lnTo>
                  <a:lnTo>
                    <a:pt x="143" y="94"/>
                  </a:lnTo>
                  <a:lnTo>
                    <a:pt x="144" y="94"/>
                  </a:lnTo>
                  <a:lnTo>
                    <a:pt x="146" y="94"/>
                  </a:lnTo>
                  <a:lnTo>
                    <a:pt x="147" y="94"/>
                  </a:lnTo>
                  <a:lnTo>
                    <a:pt x="146" y="94"/>
                  </a:lnTo>
                  <a:lnTo>
                    <a:pt x="147" y="92"/>
                  </a:lnTo>
                  <a:lnTo>
                    <a:pt x="148" y="92"/>
                  </a:lnTo>
                  <a:lnTo>
                    <a:pt x="148" y="94"/>
                  </a:lnTo>
                  <a:lnTo>
                    <a:pt x="148" y="95"/>
                  </a:lnTo>
                  <a:lnTo>
                    <a:pt x="149" y="94"/>
                  </a:lnTo>
                  <a:lnTo>
                    <a:pt x="150" y="94"/>
                  </a:lnTo>
                  <a:lnTo>
                    <a:pt x="152" y="94"/>
                  </a:lnTo>
                  <a:lnTo>
                    <a:pt x="152" y="92"/>
                  </a:lnTo>
                  <a:lnTo>
                    <a:pt x="153" y="92"/>
                  </a:lnTo>
                  <a:lnTo>
                    <a:pt x="152" y="92"/>
                  </a:lnTo>
                  <a:lnTo>
                    <a:pt x="150" y="91"/>
                  </a:lnTo>
                  <a:lnTo>
                    <a:pt x="150" y="90"/>
                  </a:lnTo>
                  <a:lnTo>
                    <a:pt x="149" y="90"/>
                  </a:lnTo>
                  <a:lnTo>
                    <a:pt x="149" y="89"/>
                  </a:lnTo>
                  <a:lnTo>
                    <a:pt x="148" y="89"/>
                  </a:lnTo>
                  <a:lnTo>
                    <a:pt x="149" y="89"/>
                  </a:lnTo>
                  <a:lnTo>
                    <a:pt x="149" y="86"/>
                  </a:lnTo>
                  <a:lnTo>
                    <a:pt x="149" y="85"/>
                  </a:lnTo>
                  <a:lnTo>
                    <a:pt x="149" y="84"/>
                  </a:lnTo>
                  <a:lnTo>
                    <a:pt x="150" y="84"/>
                  </a:lnTo>
                  <a:lnTo>
                    <a:pt x="150" y="83"/>
                  </a:lnTo>
                  <a:lnTo>
                    <a:pt x="150" y="82"/>
                  </a:lnTo>
                  <a:lnTo>
                    <a:pt x="150" y="80"/>
                  </a:lnTo>
                  <a:lnTo>
                    <a:pt x="152" y="80"/>
                  </a:lnTo>
                  <a:lnTo>
                    <a:pt x="153" y="80"/>
                  </a:lnTo>
                  <a:lnTo>
                    <a:pt x="154" y="80"/>
                  </a:lnTo>
                  <a:lnTo>
                    <a:pt x="154" y="82"/>
                  </a:lnTo>
                  <a:lnTo>
                    <a:pt x="155" y="83"/>
                  </a:lnTo>
                  <a:lnTo>
                    <a:pt x="155" y="82"/>
                  </a:lnTo>
                  <a:lnTo>
                    <a:pt x="155" y="79"/>
                  </a:lnTo>
                  <a:lnTo>
                    <a:pt x="158" y="79"/>
                  </a:lnTo>
                  <a:lnTo>
                    <a:pt x="158" y="82"/>
                  </a:lnTo>
                  <a:lnTo>
                    <a:pt x="159" y="82"/>
                  </a:lnTo>
                  <a:lnTo>
                    <a:pt x="159" y="83"/>
                  </a:lnTo>
                  <a:lnTo>
                    <a:pt x="160" y="83"/>
                  </a:lnTo>
                  <a:lnTo>
                    <a:pt x="160" y="84"/>
                  </a:lnTo>
                  <a:lnTo>
                    <a:pt x="160" y="85"/>
                  </a:lnTo>
                  <a:lnTo>
                    <a:pt x="160" y="88"/>
                  </a:lnTo>
                  <a:lnTo>
                    <a:pt x="159" y="88"/>
                  </a:lnTo>
                  <a:lnTo>
                    <a:pt x="159" y="89"/>
                  </a:lnTo>
                  <a:lnTo>
                    <a:pt x="159" y="90"/>
                  </a:lnTo>
                  <a:lnTo>
                    <a:pt x="159" y="91"/>
                  </a:lnTo>
                  <a:lnTo>
                    <a:pt x="159" y="92"/>
                  </a:lnTo>
                  <a:lnTo>
                    <a:pt x="160" y="92"/>
                  </a:lnTo>
                  <a:lnTo>
                    <a:pt x="161" y="92"/>
                  </a:lnTo>
                  <a:lnTo>
                    <a:pt x="161" y="91"/>
                  </a:lnTo>
                  <a:lnTo>
                    <a:pt x="163" y="91"/>
                  </a:lnTo>
                  <a:lnTo>
                    <a:pt x="163" y="92"/>
                  </a:lnTo>
                  <a:lnTo>
                    <a:pt x="164" y="92"/>
                  </a:lnTo>
                  <a:lnTo>
                    <a:pt x="164" y="91"/>
                  </a:lnTo>
                  <a:lnTo>
                    <a:pt x="164" y="92"/>
                  </a:lnTo>
                  <a:lnTo>
                    <a:pt x="165" y="92"/>
                  </a:lnTo>
                  <a:lnTo>
                    <a:pt x="166" y="92"/>
                  </a:lnTo>
                  <a:lnTo>
                    <a:pt x="165" y="92"/>
                  </a:lnTo>
                  <a:lnTo>
                    <a:pt x="165" y="91"/>
                  </a:lnTo>
                  <a:lnTo>
                    <a:pt x="164" y="90"/>
                  </a:lnTo>
                  <a:lnTo>
                    <a:pt x="165" y="90"/>
                  </a:lnTo>
                  <a:lnTo>
                    <a:pt x="165" y="89"/>
                  </a:lnTo>
                  <a:lnTo>
                    <a:pt x="164" y="88"/>
                  </a:lnTo>
                  <a:lnTo>
                    <a:pt x="164" y="86"/>
                  </a:lnTo>
                  <a:lnTo>
                    <a:pt x="164" y="85"/>
                  </a:lnTo>
                  <a:lnTo>
                    <a:pt x="164" y="84"/>
                  </a:lnTo>
                  <a:lnTo>
                    <a:pt x="165" y="84"/>
                  </a:lnTo>
                  <a:lnTo>
                    <a:pt x="166" y="83"/>
                  </a:lnTo>
                  <a:lnTo>
                    <a:pt x="166" y="84"/>
                  </a:lnTo>
                  <a:lnTo>
                    <a:pt x="167" y="86"/>
                  </a:lnTo>
                  <a:lnTo>
                    <a:pt x="167" y="85"/>
                  </a:lnTo>
                  <a:lnTo>
                    <a:pt x="169" y="86"/>
                  </a:lnTo>
                  <a:lnTo>
                    <a:pt x="169" y="85"/>
                  </a:lnTo>
                  <a:lnTo>
                    <a:pt x="170" y="85"/>
                  </a:lnTo>
                  <a:lnTo>
                    <a:pt x="170" y="86"/>
                  </a:lnTo>
                  <a:lnTo>
                    <a:pt x="170" y="88"/>
                  </a:lnTo>
                  <a:lnTo>
                    <a:pt x="171" y="89"/>
                  </a:lnTo>
                  <a:lnTo>
                    <a:pt x="172" y="89"/>
                  </a:lnTo>
                  <a:lnTo>
                    <a:pt x="173" y="89"/>
                  </a:lnTo>
                  <a:lnTo>
                    <a:pt x="175" y="89"/>
                  </a:lnTo>
                  <a:lnTo>
                    <a:pt x="175" y="90"/>
                  </a:lnTo>
                  <a:lnTo>
                    <a:pt x="175" y="91"/>
                  </a:lnTo>
                  <a:lnTo>
                    <a:pt x="175" y="92"/>
                  </a:lnTo>
                  <a:lnTo>
                    <a:pt x="173" y="92"/>
                  </a:lnTo>
                  <a:lnTo>
                    <a:pt x="173" y="94"/>
                  </a:lnTo>
                  <a:lnTo>
                    <a:pt x="173" y="95"/>
                  </a:lnTo>
                  <a:lnTo>
                    <a:pt x="173" y="97"/>
                  </a:lnTo>
                  <a:lnTo>
                    <a:pt x="175" y="97"/>
                  </a:lnTo>
                  <a:lnTo>
                    <a:pt x="175" y="98"/>
                  </a:lnTo>
                  <a:lnTo>
                    <a:pt x="175" y="100"/>
                  </a:lnTo>
                  <a:lnTo>
                    <a:pt x="176" y="100"/>
                  </a:lnTo>
                  <a:lnTo>
                    <a:pt x="177" y="100"/>
                  </a:lnTo>
                  <a:lnTo>
                    <a:pt x="178" y="100"/>
                  </a:lnTo>
                  <a:lnTo>
                    <a:pt x="178" y="98"/>
                  </a:lnTo>
                  <a:lnTo>
                    <a:pt x="177" y="98"/>
                  </a:lnTo>
                  <a:lnTo>
                    <a:pt x="177" y="97"/>
                  </a:lnTo>
                  <a:lnTo>
                    <a:pt x="177" y="96"/>
                  </a:lnTo>
                  <a:lnTo>
                    <a:pt x="178" y="96"/>
                  </a:lnTo>
                  <a:lnTo>
                    <a:pt x="178" y="95"/>
                  </a:lnTo>
                  <a:lnTo>
                    <a:pt x="178" y="94"/>
                  </a:lnTo>
                  <a:lnTo>
                    <a:pt x="177" y="92"/>
                  </a:lnTo>
                  <a:lnTo>
                    <a:pt x="177" y="91"/>
                  </a:lnTo>
                  <a:lnTo>
                    <a:pt x="176" y="91"/>
                  </a:lnTo>
                  <a:lnTo>
                    <a:pt x="177" y="90"/>
                  </a:lnTo>
                  <a:lnTo>
                    <a:pt x="177" y="89"/>
                  </a:lnTo>
                  <a:lnTo>
                    <a:pt x="178" y="89"/>
                  </a:lnTo>
                  <a:lnTo>
                    <a:pt x="178" y="90"/>
                  </a:lnTo>
                  <a:lnTo>
                    <a:pt x="179" y="90"/>
                  </a:lnTo>
                  <a:lnTo>
                    <a:pt x="181" y="90"/>
                  </a:lnTo>
                  <a:lnTo>
                    <a:pt x="181" y="89"/>
                  </a:lnTo>
                  <a:lnTo>
                    <a:pt x="182" y="89"/>
                  </a:lnTo>
                  <a:lnTo>
                    <a:pt x="182" y="88"/>
                  </a:lnTo>
                  <a:lnTo>
                    <a:pt x="182" y="86"/>
                  </a:lnTo>
                  <a:lnTo>
                    <a:pt x="182" y="85"/>
                  </a:lnTo>
                  <a:lnTo>
                    <a:pt x="183" y="85"/>
                  </a:lnTo>
                  <a:lnTo>
                    <a:pt x="183" y="86"/>
                  </a:lnTo>
                  <a:lnTo>
                    <a:pt x="184" y="86"/>
                  </a:lnTo>
                  <a:lnTo>
                    <a:pt x="185" y="86"/>
                  </a:lnTo>
                  <a:lnTo>
                    <a:pt x="187" y="86"/>
                  </a:lnTo>
                  <a:lnTo>
                    <a:pt x="187" y="85"/>
                  </a:lnTo>
                  <a:lnTo>
                    <a:pt x="188" y="85"/>
                  </a:lnTo>
                  <a:lnTo>
                    <a:pt x="189" y="85"/>
                  </a:lnTo>
                  <a:lnTo>
                    <a:pt x="189" y="86"/>
                  </a:lnTo>
                  <a:lnTo>
                    <a:pt x="189" y="89"/>
                  </a:lnTo>
                  <a:lnTo>
                    <a:pt x="189" y="90"/>
                  </a:lnTo>
                  <a:lnTo>
                    <a:pt x="190" y="89"/>
                  </a:lnTo>
                  <a:lnTo>
                    <a:pt x="191" y="88"/>
                  </a:lnTo>
                  <a:lnTo>
                    <a:pt x="191" y="89"/>
                  </a:lnTo>
                  <a:lnTo>
                    <a:pt x="191" y="90"/>
                  </a:lnTo>
                  <a:lnTo>
                    <a:pt x="193" y="90"/>
                  </a:lnTo>
                  <a:lnTo>
                    <a:pt x="193" y="91"/>
                  </a:lnTo>
                  <a:lnTo>
                    <a:pt x="194" y="91"/>
                  </a:lnTo>
                  <a:lnTo>
                    <a:pt x="194" y="92"/>
                  </a:lnTo>
                  <a:lnTo>
                    <a:pt x="195" y="92"/>
                  </a:lnTo>
                  <a:lnTo>
                    <a:pt x="195" y="94"/>
                  </a:lnTo>
                  <a:lnTo>
                    <a:pt x="196" y="94"/>
                  </a:lnTo>
                  <a:lnTo>
                    <a:pt x="196" y="95"/>
                  </a:lnTo>
                  <a:lnTo>
                    <a:pt x="195" y="96"/>
                  </a:lnTo>
                  <a:lnTo>
                    <a:pt x="194" y="97"/>
                  </a:lnTo>
                  <a:lnTo>
                    <a:pt x="194" y="98"/>
                  </a:lnTo>
                  <a:lnTo>
                    <a:pt x="194" y="100"/>
                  </a:lnTo>
                  <a:lnTo>
                    <a:pt x="194" y="101"/>
                  </a:lnTo>
                  <a:lnTo>
                    <a:pt x="194" y="102"/>
                  </a:lnTo>
                  <a:lnTo>
                    <a:pt x="194" y="103"/>
                  </a:lnTo>
                  <a:lnTo>
                    <a:pt x="195" y="103"/>
                  </a:lnTo>
                  <a:lnTo>
                    <a:pt x="196" y="104"/>
                  </a:lnTo>
                  <a:lnTo>
                    <a:pt x="196" y="103"/>
                  </a:lnTo>
                  <a:lnTo>
                    <a:pt x="195" y="103"/>
                  </a:lnTo>
                  <a:lnTo>
                    <a:pt x="195" y="102"/>
                  </a:lnTo>
                  <a:lnTo>
                    <a:pt x="196" y="101"/>
                  </a:lnTo>
                  <a:lnTo>
                    <a:pt x="197" y="101"/>
                  </a:lnTo>
                  <a:lnTo>
                    <a:pt x="199" y="100"/>
                  </a:lnTo>
                  <a:lnTo>
                    <a:pt x="200" y="100"/>
                  </a:lnTo>
                  <a:lnTo>
                    <a:pt x="201" y="100"/>
                  </a:lnTo>
                  <a:lnTo>
                    <a:pt x="200" y="98"/>
                  </a:lnTo>
                  <a:lnTo>
                    <a:pt x="201" y="98"/>
                  </a:lnTo>
                  <a:lnTo>
                    <a:pt x="201" y="97"/>
                  </a:lnTo>
                  <a:lnTo>
                    <a:pt x="201" y="96"/>
                  </a:lnTo>
                  <a:lnTo>
                    <a:pt x="202" y="96"/>
                  </a:lnTo>
                  <a:lnTo>
                    <a:pt x="203" y="96"/>
                  </a:lnTo>
                  <a:lnTo>
                    <a:pt x="205" y="96"/>
                  </a:lnTo>
                  <a:lnTo>
                    <a:pt x="205" y="97"/>
                  </a:lnTo>
                  <a:lnTo>
                    <a:pt x="206" y="98"/>
                  </a:lnTo>
                  <a:lnTo>
                    <a:pt x="206" y="100"/>
                  </a:lnTo>
                  <a:lnTo>
                    <a:pt x="205" y="100"/>
                  </a:lnTo>
                  <a:lnTo>
                    <a:pt x="206" y="100"/>
                  </a:lnTo>
                  <a:lnTo>
                    <a:pt x="206" y="98"/>
                  </a:lnTo>
                  <a:lnTo>
                    <a:pt x="207" y="98"/>
                  </a:lnTo>
                  <a:lnTo>
                    <a:pt x="207" y="97"/>
                  </a:lnTo>
                  <a:lnTo>
                    <a:pt x="208" y="97"/>
                  </a:lnTo>
                  <a:lnTo>
                    <a:pt x="208" y="98"/>
                  </a:lnTo>
                  <a:lnTo>
                    <a:pt x="208" y="100"/>
                  </a:lnTo>
                  <a:lnTo>
                    <a:pt x="209" y="100"/>
                  </a:lnTo>
                  <a:lnTo>
                    <a:pt x="209" y="101"/>
                  </a:lnTo>
                  <a:lnTo>
                    <a:pt x="208" y="101"/>
                  </a:lnTo>
                  <a:lnTo>
                    <a:pt x="208" y="102"/>
                  </a:lnTo>
                  <a:lnTo>
                    <a:pt x="207" y="102"/>
                  </a:lnTo>
                  <a:lnTo>
                    <a:pt x="208" y="102"/>
                  </a:lnTo>
                  <a:lnTo>
                    <a:pt x="208" y="103"/>
                  </a:lnTo>
                  <a:lnTo>
                    <a:pt x="208" y="104"/>
                  </a:lnTo>
                  <a:lnTo>
                    <a:pt x="208" y="106"/>
                  </a:lnTo>
                  <a:lnTo>
                    <a:pt x="208" y="107"/>
                  </a:lnTo>
                  <a:lnTo>
                    <a:pt x="208" y="108"/>
                  </a:lnTo>
                  <a:lnTo>
                    <a:pt x="209" y="107"/>
                  </a:lnTo>
                  <a:lnTo>
                    <a:pt x="208" y="106"/>
                  </a:lnTo>
                  <a:lnTo>
                    <a:pt x="208" y="104"/>
                  </a:lnTo>
                  <a:lnTo>
                    <a:pt x="209" y="104"/>
                  </a:lnTo>
                  <a:lnTo>
                    <a:pt x="211" y="104"/>
                  </a:lnTo>
                  <a:lnTo>
                    <a:pt x="211" y="107"/>
                  </a:lnTo>
                  <a:lnTo>
                    <a:pt x="212" y="108"/>
                  </a:lnTo>
                  <a:lnTo>
                    <a:pt x="213" y="108"/>
                  </a:lnTo>
                  <a:lnTo>
                    <a:pt x="213" y="109"/>
                  </a:lnTo>
                  <a:lnTo>
                    <a:pt x="213" y="108"/>
                  </a:lnTo>
                  <a:lnTo>
                    <a:pt x="213" y="107"/>
                  </a:lnTo>
                  <a:lnTo>
                    <a:pt x="213" y="106"/>
                  </a:lnTo>
                  <a:lnTo>
                    <a:pt x="213" y="104"/>
                  </a:lnTo>
                  <a:lnTo>
                    <a:pt x="213" y="103"/>
                  </a:lnTo>
                  <a:lnTo>
                    <a:pt x="214" y="103"/>
                  </a:lnTo>
                  <a:lnTo>
                    <a:pt x="214" y="104"/>
                  </a:lnTo>
                  <a:lnTo>
                    <a:pt x="215" y="104"/>
                  </a:lnTo>
                  <a:lnTo>
                    <a:pt x="215" y="106"/>
                  </a:lnTo>
                  <a:lnTo>
                    <a:pt x="215" y="107"/>
                  </a:lnTo>
                  <a:lnTo>
                    <a:pt x="217" y="108"/>
                  </a:lnTo>
                  <a:lnTo>
                    <a:pt x="217" y="107"/>
                  </a:lnTo>
                  <a:lnTo>
                    <a:pt x="217" y="106"/>
                  </a:lnTo>
                  <a:lnTo>
                    <a:pt x="218" y="106"/>
                  </a:lnTo>
                  <a:lnTo>
                    <a:pt x="218" y="107"/>
                  </a:lnTo>
                  <a:lnTo>
                    <a:pt x="219" y="107"/>
                  </a:lnTo>
                  <a:lnTo>
                    <a:pt x="219" y="108"/>
                  </a:lnTo>
                  <a:lnTo>
                    <a:pt x="219" y="109"/>
                  </a:lnTo>
                  <a:lnTo>
                    <a:pt x="218" y="109"/>
                  </a:lnTo>
                  <a:lnTo>
                    <a:pt x="217" y="110"/>
                  </a:lnTo>
                  <a:lnTo>
                    <a:pt x="215" y="110"/>
                  </a:lnTo>
                  <a:lnTo>
                    <a:pt x="215" y="109"/>
                  </a:lnTo>
                  <a:lnTo>
                    <a:pt x="214" y="109"/>
                  </a:lnTo>
                  <a:lnTo>
                    <a:pt x="214" y="110"/>
                  </a:lnTo>
                  <a:lnTo>
                    <a:pt x="214" y="112"/>
                  </a:lnTo>
                  <a:lnTo>
                    <a:pt x="214" y="110"/>
                  </a:lnTo>
                  <a:lnTo>
                    <a:pt x="215" y="110"/>
                  </a:lnTo>
                  <a:lnTo>
                    <a:pt x="217" y="112"/>
                  </a:lnTo>
                  <a:lnTo>
                    <a:pt x="218" y="112"/>
                  </a:lnTo>
                  <a:lnTo>
                    <a:pt x="219" y="112"/>
                  </a:lnTo>
                  <a:lnTo>
                    <a:pt x="220" y="112"/>
                  </a:lnTo>
                  <a:lnTo>
                    <a:pt x="220" y="110"/>
                  </a:lnTo>
                  <a:lnTo>
                    <a:pt x="220" y="109"/>
                  </a:lnTo>
                  <a:lnTo>
                    <a:pt x="222" y="109"/>
                  </a:lnTo>
                  <a:lnTo>
                    <a:pt x="222" y="108"/>
                  </a:lnTo>
                  <a:lnTo>
                    <a:pt x="220" y="108"/>
                  </a:lnTo>
                  <a:lnTo>
                    <a:pt x="220" y="107"/>
                  </a:lnTo>
                  <a:lnTo>
                    <a:pt x="220" y="106"/>
                  </a:lnTo>
                  <a:lnTo>
                    <a:pt x="219" y="106"/>
                  </a:lnTo>
                  <a:lnTo>
                    <a:pt x="219" y="104"/>
                  </a:lnTo>
                  <a:lnTo>
                    <a:pt x="219" y="103"/>
                  </a:lnTo>
                  <a:lnTo>
                    <a:pt x="219" y="102"/>
                  </a:lnTo>
                  <a:lnTo>
                    <a:pt x="218" y="102"/>
                  </a:lnTo>
                  <a:lnTo>
                    <a:pt x="218" y="101"/>
                  </a:lnTo>
                  <a:lnTo>
                    <a:pt x="219" y="101"/>
                  </a:lnTo>
                  <a:lnTo>
                    <a:pt x="220" y="101"/>
                  </a:lnTo>
                  <a:lnTo>
                    <a:pt x="220" y="102"/>
                  </a:lnTo>
                  <a:lnTo>
                    <a:pt x="222" y="101"/>
                  </a:lnTo>
                  <a:lnTo>
                    <a:pt x="223" y="101"/>
                  </a:lnTo>
                  <a:lnTo>
                    <a:pt x="224" y="101"/>
                  </a:lnTo>
                  <a:lnTo>
                    <a:pt x="224" y="102"/>
                  </a:lnTo>
                  <a:lnTo>
                    <a:pt x="224" y="101"/>
                  </a:lnTo>
                  <a:lnTo>
                    <a:pt x="225" y="101"/>
                  </a:lnTo>
                  <a:lnTo>
                    <a:pt x="224" y="101"/>
                  </a:lnTo>
                  <a:lnTo>
                    <a:pt x="224" y="100"/>
                  </a:lnTo>
                  <a:lnTo>
                    <a:pt x="225" y="100"/>
                  </a:lnTo>
                  <a:lnTo>
                    <a:pt x="225" y="101"/>
                  </a:lnTo>
                  <a:lnTo>
                    <a:pt x="226" y="101"/>
                  </a:lnTo>
                  <a:lnTo>
                    <a:pt x="226" y="102"/>
                  </a:lnTo>
                  <a:lnTo>
                    <a:pt x="225" y="102"/>
                  </a:lnTo>
                  <a:lnTo>
                    <a:pt x="225" y="103"/>
                  </a:lnTo>
                  <a:lnTo>
                    <a:pt x="225" y="104"/>
                  </a:lnTo>
                  <a:lnTo>
                    <a:pt x="224" y="104"/>
                  </a:lnTo>
                  <a:lnTo>
                    <a:pt x="224" y="106"/>
                  </a:lnTo>
                  <a:lnTo>
                    <a:pt x="224" y="107"/>
                  </a:lnTo>
                  <a:lnTo>
                    <a:pt x="223" y="107"/>
                  </a:lnTo>
                  <a:lnTo>
                    <a:pt x="222" y="107"/>
                  </a:lnTo>
                  <a:lnTo>
                    <a:pt x="222" y="108"/>
                  </a:lnTo>
                  <a:lnTo>
                    <a:pt x="223" y="108"/>
                  </a:lnTo>
                  <a:lnTo>
                    <a:pt x="223" y="110"/>
                  </a:lnTo>
                  <a:lnTo>
                    <a:pt x="222" y="110"/>
                  </a:lnTo>
                  <a:lnTo>
                    <a:pt x="223" y="112"/>
                  </a:lnTo>
                  <a:lnTo>
                    <a:pt x="223" y="113"/>
                  </a:lnTo>
                  <a:lnTo>
                    <a:pt x="224" y="113"/>
                  </a:lnTo>
                  <a:lnTo>
                    <a:pt x="224" y="112"/>
                  </a:lnTo>
                  <a:lnTo>
                    <a:pt x="225" y="112"/>
                  </a:lnTo>
                  <a:lnTo>
                    <a:pt x="228" y="112"/>
                  </a:lnTo>
                  <a:lnTo>
                    <a:pt x="229" y="110"/>
                  </a:lnTo>
                  <a:lnTo>
                    <a:pt x="229" y="112"/>
                  </a:lnTo>
                  <a:lnTo>
                    <a:pt x="230" y="112"/>
                  </a:lnTo>
                  <a:lnTo>
                    <a:pt x="231" y="112"/>
                  </a:lnTo>
                  <a:lnTo>
                    <a:pt x="231" y="110"/>
                  </a:lnTo>
                  <a:lnTo>
                    <a:pt x="232" y="110"/>
                  </a:lnTo>
                  <a:lnTo>
                    <a:pt x="232" y="112"/>
                  </a:lnTo>
                  <a:lnTo>
                    <a:pt x="234" y="112"/>
                  </a:lnTo>
                  <a:lnTo>
                    <a:pt x="235" y="113"/>
                  </a:lnTo>
                  <a:lnTo>
                    <a:pt x="235" y="112"/>
                  </a:lnTo>
                  <a:lnTo>
                    <a:pt x="235" y="113"/>
                  </a:lnTo>
                  <a:lnTo>
                    <a:pt x="236" y="113"/>
                  </a:lnTo>
                  <a:lnTo>
                    <a:pt x="237" y="112"/>
                  </a:lnTo>
                  <a:lnTo>
                    <a:pt x="238" y="112"/>
                  </a:lnTo>
                  <a:lnTo>
                    <a:pt x="238" y="113"/>
                  </a:lnTo>
                  <a:lnTo>
                    <a:pt x="240" y="113"/>
                  </a:lnTo>
                  <a:lnTo>
                    <a:pt x="238" y="112"/>
                  </a:lnTo>
                  <a:lnTo>
                    <a:pt x="240" y="110"/>
                  </a:lnTo>
                  <a:lnTo>
                    <a:pt x="238" y="110"/>
                  </a:lnTo>
                  <a:lnTo>
                    <a:pt x="240" y="110"/>
                  </a:lnTo>
                  <a:lnTo>
                    <a:pt x="240" y="112"/>
                  </a:lnTo>
                  <a:lnTo>
                    <a:pt x="240" y="113"/>
                  </a:lnTo>
                  <a:lnTo>
                    <a:pt x="240" y="114"/>
                  </a:lnTo>
                  <a:lnTo>
                    <a:pt x="238" y="115"/>
                  </a:lnTo>
                  <a:lnTo>
                    <a:pt x="238" y="116"/>
                  </a:lnTo>
                  <a:lnTo>
                    <a:pt x="237" y="116"/>
                  </a:lnTo>
                  <a:lnTo>
                    <a:pt x="236" y="116"/>
                  </a:lnTo>
                  <a:lnTo>
                    <a:pt x="237" y="116"/>
                  </a:lnTo>
                  <a:lnTo>
                    <a:pt x="237" y="119"/>
                  </a:lnTo>
                  <a:lnTo>
                    <a:pt x="237" y="120"/>
                  </a:lnTo>
                  <a:lnTo>
                    <a:pt x="236" y="121"/>
                  </a:lnTo>
                  <a:lnTo>
                    <a:pt x="236" y="120"/>
                  </a:lnTo>
                  <a:lnTo>
                    <a:pt x="236" y="121"/>
                  </a:lnTo>
                  <a:lnTo>
                    <a:pt x="236" y="122"/>
                  </a:lnTo>
                  <a:lnTo>
                    <a:pt x="237" y="122"/>
                  </a:lnTo>
                  <a:lnTo>
                    <a:pt x="237" y="121"/>
                  </a:lnTo>
                  <a:lnTo>
                    <a:pt x="237" y="120"/>
                  </a:lnTo>
                  <a:lnTo>
                    <a:pt x="238" y="119"/>
                  </a:lnTo>
                  <a:lnTo>
                    <a:pt x="238" y="120"/>
                  </a:lnTo>
                  <a:lnTo>
                    <a:pt x="240" y="120"/>
                  </a:lnTo>
                  <a:lnTo>
                    <a:pt x="240" y="119"/>
                  </a:lnTo>
                  <a:lnTo>
                    <a:pt x="241" y="119"/>
                  </a:lnTo>
                  <a:lnTo>
                    <a:pt x="241" y="120"/>
                  </a:lnTo>
                  <a:lnTo>
                    <a:pt x="240" y="120"/>
                  </a:lnTo>
                  <a:lnTo>
                    <a:pt x="240" y="121"/>
                  </a:lnTo>
                  <a:lnTo>
                    <a:pt x="240" y="122"/>
                  </a:lnTo>
                  <a:lnTo>
                    <a:pt x="241" y="122"/>
                  </a:lnTo>
                  <a:lnTo>
                    <a:pt x="242" y="122"/>
                  </a:lnTo>
                  <a:lnTo>
                    <a:pt x="242" y="121"/>
                  </a:lnTo>
                  <a:lnTo>
                    <a:pt x="243" y="121"/>
                  </a:lnTo>
                  <a:lnTo>
                    <a:pt x="243" y="120"/>
                  </a:lnTo>
                  <a:lnTo>
                    <a:pt x="244" y="120"/>
                  </a:lnTo>
                  <a:lnTo>
                    <a:pt x="246" y="120"/>
                  </a:lnTo>
                  <a:lnTo>
                    <a:pt x="246" y="121"/>
                  </a:lnTo>
                  <a:lnTo>
                    <a:pt x="247" y="121"/>
                  </a:lnTo>
                  <a:lnTo>
                    <a:pt x="248" y="121"/>
                  </a:lnTo>
                  <a:lnTo>
                    <a:pt x="248" y="122"/>
                  </a:lnTo>
                  <a:lnTo>
                    <a:pt x="249" y="122"/>
                  </a:lnTo>
                  <a:lnTo>
                    <a:pt x="250" y="122"/>
                  </a:lnTo>
                  <a:lnTo>
                    <a:pt x="250" y="121"/>
                  </a:lnTo>
                  <a:lnTo>
                    <a:pt x="252" y="121"/>
                  </a:lnTo>
                  <a:lnTo>
                    <a:pt x="253" y="122"/>
                  </a:lnTo>
                  <a:lnTo>
                    <a:pt x="253" y="124"/>
                  </a:lnTo>
                  <a:lnTo>
                    <a:pt x="254" y="124"/>
                  </a:lnTo>
                  <a:lnTo>
                    <a:pt x="254" y="125"/>
                  </a:lnTo>
                  <a:lnTo>
                    <a:pt x="255" y="125"/>
                  </a:lnTo>
                  <a:lnTo>
                    <a:pt x="256" y="125"/>
                  </a:lnTo>
                  <a:lnTo>
                    <a:pt x="256" y="124"/>
                  </a:lnTo>
                  <a:lnTo>
                    <a:pt x="258" y="124"/>
                  </a:lnTo>
                  <a:lnTo>
                    <a:pt x="258" y="125"/>
                  </a:lnTo>
                  <a:lnTo>
                    <a:pt x="259" y="125"/>
                  </a:lnTo>
                  <a:lnTo>
                    <a:pt x="259" y="126"/>
                  </a:lnTo>
                  <a:lnTo>
                    <a:pt x="259" y="127"/>
                  </a:lnTo>
                  <a:lnTo>
                    <a:pt x="260" y="127"/>
                  </a:lnTo>
                  <a:lnTo>
                    <a:pt x="260" y="126"/>
                  </a:lnTo>
                  <a:lnTo>
                    <a:pt x="261" y="126"/>
                  </a:lnTo>
                  <a:lnTo>
                    <a:pt x="262" y="126"/>
                  </a:lnTo>
                  <a:lnTo>
                    <a:pt x="262" y="127"/>
                  </a:lnTo>
                  <a:lnTo>
                    <a:pt x="261" y="127"/>
                  </a:lnTo>
                  <a:lnTo>
                    <a:pt x="260" y="127"/>
                  </a:lnTo>
                  <a:lnTo>
                    <a:pt x="260" y="128"/>
                  </a:lnTo>
                  <a:lnTo>
                    <a:pt x="260" y="127"/>
                  </a:lnTo>
                  <a:lnTo>
                    <a:pt x="260" y="128"/>
                  </a:lnTo>
                  <a:lnTo>
                    <a:pt x="261" y="128"/>
                  </a:lnTo>
                  <a:lnTo>
                    <a:pt x="260" y="128"/>
                  </a:lnTo>
                  <a:lnTo>
                    <a:pt x="260" y="130"/>
                  </a:lnTo>
                  <a:lnTo>
                    <a:pt x="261" y="130"/>
                  </a:lnTo>
                  <a:lnTo>
                    <a:pt x="262" y="130"/>
                  </a:lnTo>
                  <a:lnTo>
                    <a:pt x="262" y="128"/>
                  </a:lnTo>
                  <a:lnTo>
                    <a:pt x="262" y="130"/>
                  </a:lnTo>
                  <a:lnTo>
                    <a:pt x="264" y="128"/>
                  </a:lnTo>
                  <a:lnTo>
                    <a:pt x="264" y="127"/>
                  </a:lnTo>
                  <a:lnTo>
                    <a:pt x="264" y="126"/>
                  </a:lnTo>
                  <a:lnTo>
                    <a:pt x="264" y="127"/>
                  </a:lnTo>
                  <a:lnTo>
                    <a:pt x="265" y="127"/>
                  </a:lnTo>
                  <a:lnTo>
                    <a:pt x="265" y="128"/>
                  </a:lnTo>
                  <a:lnTo>
                    <a:pt x="264" y="128"/>
                  </a:lnTo>
                  <a:lnTo>
                    <a:pt x="265" y="128"/>
                  </a:lnTo>
                  <a:lnTo>
                    <a:pt x="265" y="130"/>
                  </a:lnTo>
                  <a:lnTo>
                    <a:pt x="265" y="131"/>
                  </a:lnTo>
                  <a:lnTo>
                    <a:pt x="265" y="130"/>
                  </a:lnTo>
                  <a:lnTo>
                    <a:pt x="267" y="130"/>
                  </a:lnTo>
                  <a:lnTo>
                    <a:pt x="268" y="130"/>
                  </a:lnTo>
                  <a:lnTo>
                    <a:pt x="270" y="130"/>
                  </a:lnTo>
                  <a:lnTo>
                    <a:pt x="271" y="130"/>
                  </a:lnTo>
                  <a:lnTo>
                    <a:pt x="271" y="131"/>
                  </a:lnTo>
                  <a:lnTo>
                    <a:pt x="272" y="131"/>
                  </a:lnTo>
                  <a:lnTo>
                    <a:pt x="272" y="132"/>
                  </a:lnTo>
                  <a:lnTo>
                    <a:pt x="272" y="131"/>
                  </a:lnTo>
                  <a:lnTo>
                    <a:pt x="273" y="131"/>
                  </a:lnTo>
                  <a:lnTo>
                    <a:pt x="273" y="132"/>
                  </a:lnTo>
                  <a:lnTo>
                    <a:pt x="274" y="132"/>
                  </a:lnTo>
                  <a:lnTo>
                    <a:pt x="273" y="133"/>
                  </a:lnTo>
                  <a:lnTo>
                    <a:pt x="274" y="133"/>
                  </a:lnTo>
                  <a:lnTo>
                    <a:pt x="274" y="134"/>
                  </a:lnTo>
                  <a:lnTo>
                    <a:pt x="273" y="134"/>
                  </a:lnTo>
                  <a:lnTo>
                    <a:pt x="274" y="134"/>
                  </a:lnTo>
                  <a:lnTo>
                    <a:pt x="274" y="136"/>
                  </a:lnTo>
                  <a:lnTo>
                    <a:pt x="274" y="137"/>
                  </a:lnTo>
                  <a:lnTo>
                    <a:pt x="273" y="138"/>
                  </a:lnTo>
                  <a:lnTo>
                    <a:pt x="274" y="138"/>
                  </a:lnTo>
                  <a:lnTo>
                    <a:pt x="273" y="138"/>
                  </a:lnTo>
                  <a:lnTo>
                    <a:pt x="273" y="139"/>
                  </a:lnTo>
                  <a:lnTo>
                    <a:pt x="272" y="139"/>
                  </a:lnTo>
                  <a:lnTo>
                    <a:pt x="272" y="140"/>
                  </a:lnTo>
                  <a:lnTo>
                    <a:pt x="271" y="140"/>
                  </a:lnTo>
                  <a:lnTo>
                    <a:pt x="270" y="140"/>
                  </a:lnTo>
                  <a:lnTo>
                    <a:pt x="268" y="140"/>
                  </a:lnTo>
                  <a:lnTo>
                    <a:pt x="268" y="139"/>
                  </a:lnTo>
                  <a:lnTo>
                    <a:pt x="268" y="138"/>
                  </a:lnTo>
                  <a:lnTo>
                    <a:pt x="268" y="139"/>
                  </a:lnTo>
                  <a:lnTo>
                    <a:pt x="267" y="140"/>
                  </a:lnTo>
                  <a:lnTo>
                    <a:pt x="267" y="139"/>
                  </a:lnTo>
                  <a:lnTo>
                    <a:pt x="267" y="138"/>
                  </a:lnTo>
                  <a:lnTo>
                    <a:pt x="266" y="138"/>
                  </a:lnTo>
                  <a:lnTo>
                    <a:pt x="265" y="137"/>
                  </a:lnTo>
                  <a:lnTo>
                    <a:pt x="264" y="137"/>
                  </a:lnTo>
                  <a:lnTo>
                    <a:pt x="265" y="138"/>
                  </a:lnTo>
                  <a:lnTo>
                    <a:pt x="265" y="140"/>
                  </a:lnTo>
                  <a:lnTo>
                    <a:pt x="265" y="139"/>
                  </a:lnTo>
                  <a:lnTo>
                    <a:pt x="266" y="139"/>
                  </a:lnTo>
                  <a:lnTo>
                    <a:pt x="266" y="138"/>
                  </a:lnTo>
                  <a:lnTo>
                    <a:pt x="266" y="139"/>
                  </a:lnTo>
                  <a:lnTo>
                    <a:pt x="266" y="140"/>
                  </a:lnTo>
                  <a:lnTo>
                    <a:pt x="265" y="140"/>
                  </a:lnTo>
                  <a:lnTo>
                    <a:pt x="266" y="140"/>
                  </a:lnTo>
                  <a:lnTo>
                    <a:pt x="268" y="140"/>
                  </a:lnTo>
                  <a:lnTo>
                    <a:pt x="270" y="140"/>
                  </a:lnTo>
                  <a:lnTo>
                    <a:pt x="270" y="142"/>
                  </a:lnTo>
                  <a:lnTo>
                    <a:pt x="271" y="143"/>
                  </a:lnTo>
                  <a:lnTo>
                    <a:pt x="271" y="144"/>
                  </a:lnTo>
                  <a:lnTo>
                    <a:pt x="270" y="145"/>
                  </a:lnTo>
                  <a:lnTo>
                    <a:pt x="270" y="146"/>
                  </a:lnTo>
                  <a:lnTo>
                    <a:pt x="271" y="146"/>
                  </a:lnTo>
                  <a:lnTo>
                    <a:pt x="271" y="148"/>
                  </a:lnTo>
                  <a:lnTo>
                    <a:pt x="270" y="148"/>
                  </a:lnTo>
                  <a:lnTo>
                    <a:pt x="271" y="148"/>
                  </a:lnTo>
                  <a:lnTo>
                    <a:pt x="271" y="146"/>
                  </a:lnTo>
                  <a:lnTo>
                    <a:pt x="272" y="146"/>
                  </a:lnTo>
                  <a:lnTo>
                    <a:pt x="272" y="145"/>
                  </a:lnTo>
                  <a:lnTo>
                    <a:pt x="273" y="145"/>
                  </a:lnTo>
                  <a:lnTo>
                    <a:pt x="272" y="144"/>
                  </a:lnTo>
                  <a:lnTo>
                    <a:pt x="271" y="144"/>
                  </a:lnTo>
                  <a:lnTo>
                    <a:pt x="271" y="143"/>
                  </a:lnTo>
                  <a:lnTo>
                    <a:pt x="271" y="142"/>
                  </a:lnTo>
                  <a:lnTo>
                    <a:pt x="272" y="142"/>
                  </a:lnTo>
                  <a:lnTo>
                    <a:pt x="273" y="143"/>
                  </a:lnTo>
                  <a:lnTo>
                    <a:pt x="273" y="142"/>
                  </a:lnTo>
                  <a:lnTo>
                    <a:pt x="274" y="142"/>
                  </a:lnTo>
                  <a:lnTo>
                    <a:pt x="276" y="142"/>
                  </a:lnTo>
                  <a:lnTo>
                    <a:pt x="277" y="143"/>
                  </a:lnTo>
                  <a:lnTo>
                    <a:pt x="278" y="143"/>
                  </a:lnTo>
                  <a:lnTo>
                    <a:pt x="278" y="144"/>
                  </a:lnTo>
                  <a:lnTo>
                    <a:pt x="279" y="144"/>
                  </a:lnTo>
                  <a:lnTo>
                    <a:pt x="279" y="145"/>
                  </a:lnTo>
                  <a:lnTo>
                    <a:pt x="279" y="146"/>
                  </a:lnTo>
                  <a:lnTo>
                    <a:pt x="281" y="148"/>
                  </a:lnTo>
                  <a:lnTo>
                    <a:pt x="282" y="148"/>
                  </a:lnTo>
                  <a:lnTo>
                    <a:pt x="282" y="149"/>
                  </a:lnTo>
                  <a:lnTo>
                    <a:pt x="281" y="149"/>
                  </a:lnTo>
                  <a:lnTo>
                    <a:pt x="282" y="149"/>
                  </a:lnTo>
                  <a:lnTo>
                    <a:pt x="281" y="149"/>
                  </a:lnTo>
                  <a:lnTo>
                    <a:pt x="279" y="150"/>
                  </a:lnTo>
                  <a:lnTo>
                    <a:pt x="279" y="151"/>
                  </a:lnTo>
                  <a:lnTo>
                    <a:pt x="281" y="151"/>
                  </a:lnTo>
                  <a:lnTo>
                    <a:pt x="282" y="151"/>
                  </a:lnTo>
                  <a:lnTo>
                    <a:pt x="283" y="152"/>
                  </a:lnTo>
                  <a:lnTo>
                    <a:pt x="283" y="151"/>
                  </a:lnTo>
                  <a:lnTo>
                    <a:pt x="283" y="152"/>
                  </a:lnTo>
                  <a:lnTo>
                    <a:pt x="284" y="152"/>
                  </a:lnTo>
                  <a:lnTo>
                    <a:pt x="284" y="154"/>
                  </a:lnTo>
                  <a:lnTo>
                    <a:pt x="284" y="152"/>
                  </a:lnTo>
                  <a:lnTo>
                    <a:pt x="284" y="151"/>
                  </a:lnTo>
                  <a:lnTo>
                    <a:pt x="283" y="151"/>
                  </a:lnTo>
                  <a:lnTo>
                    <a:pt x="283" y="150"/>
                  </a:lnTo>
                  <a:lnTo>
                    <a:pt x="282" y="150"/>
                  </a:lnTo>
                  <a:lnTo>
                    <a:pt x="283" y="150"/>
                  </a:lnTo>
                  <a:lnTo>
                    <a:pt x="284" y="149"/>
                  </a:lnTo>
                  <a:lnTo>
                    <a:pt x="283" y="148"/>
                  </a:lnTo>
                  <a:lnTo>
                    <a:pt x="283" y="146"/>
                  </a:lnTo>
                  <a:lnTo>
                    <a:pt x="282" y="146"/>
                  </a:lnTo>
                  <a:lnTo>
                    <a:pt x="282" y="145"/>
                  </a:lnTo>
                  <a:lnTo>
                    <a:pt x="281" y="145"/>
                  </a:lnTo>
                  <a:lnTo>
                    <a:pt x="281" y="144"/>
                  </a:lnTo>
                  <a:lnTo>
                    <a:pt x="282" y="144"/>
                  </a:lnTo>
                  <a:lnTo>
                    <a:pt x="281" y="143"/>
                  </a:lnTo>
                  <a:lnTo>
                    <a:pt x="281" y="142"/>
                  </a:lnTo>
                  <a:lnTo>
                    <a:pt x="279" y="142"/>
                  </a:lnTo>
                  <a:lnTo>
                    <a:pt x="279" y="140"/>
                  </a:lnTo>
                  <a:lnTo>
                    <a:pt x="279" y="139"/>
                  </a:lnTo>
                  <a:lnTo>
                    <a:pt x="279" y="137"/>
                  </a:lnTo>
                  <a:lnTo>
                    <a:pt x="279" y="136"/>
                  </a:lnTo>
                  <a:lnTo>
                    <a:pt x="279" y="134"/>
                  </a:lnTo>
                  <a:lnTo>
                    <a:pt x="278" y="134"/>
                  </a:lnTo>
                  <a:lnTo>
                    <a:pt x="278" y="133"/>
                  </a:lnTo>
                  <a:lnTo>
                    <a:pt x="278" y="132"/>
                  </a:lnTo>
                  <a:lnTo>
                    <a:pt x="278" y="131"/>
                  </a:lnTo>
                  <a:lnTo>
                    <a:pt x="277" y="131"/>
                  </a:lnTo>
                  <a:lnTo>
                    <a:pt x="277" y="130"/>
                  </a:lnTo>
                  <a:lnTo>
                    <a:pt x="277" y="128"/>
                  </a:lnTo>
                  <a:lnTo>
                    <a:pt x="277" y="127"/>
                  </a:lnTo>
                  <a:lnTo>
                    <a:pt x="277" y="126"/>
                  </a:lnTo>
                  <a:lnTo>
                    <a:pt x="276" y="126"/>
                  </a:lnTo>
                  <a:lnTo>
                    <a:pt x="274" y="126"/>
                  </a:lnTo>
                  <a:lnTo>
                    <a:pt x="273" y="126"/>
                  </a:lnTo>
                  <a:lnTo>
                    <a:pt x="273" y="125"/>
                  </a:lnTo>
                  <a:lnTo>
                    <a:pt x="274" y="125"/>
                  </a:lnTo>
                  <a:lnTo>
                    <a:pt x="273" y="125"/>
                  </a:lnTo>
                  <a:lnTo>
                    <a:pt x="273" y="124"/>
                  </a:lnTo>
                  <a:lnTo>
                    <a:pt x="273" y="122"/>
                  </a:lnTo>
                  <a:lnTo>
                    <a:pt x="273" y="124"/>
                  </a:lnTo>
                  <a:lnTo>
                    <a:pt x="274" y="124"/>
                  </a:lnTo>
                  <a:lnTo>
                    <a:pt x="274" y="122"/>
                  </a:lnTo>
                  <a:lnTo>
                    <a:pt x="273" y="122"/>
                  </a:lnTo>
                  <a:lnTo>
                    <a:pt x="273" y="121"/>
                  </a:lnTo>
                  <a:lnTo>
                    <a:pt x="272" y="121"/>
                  </a:lnTo>
                  <a:lnTo>
                    <a:pt x="272" y="122"/>
                  </a:lnTo>
                  <a:lnTo>
                    <a:pt x="272" y="121"/>
                  </a:lnTo>
                  <a:lnTo>
                    <a:pt x="271" y="121"/>
                  </a:lnTo>
                  <a:lnTo>
                    <a:pt x="271" y="122"/>
                  </a:lnTo>
                  <a:lnTo>
                    <a:pt x="270" y="122"/>
                  </a:lnTo>
                  <a:lnTo>
                    <a:pt x="268" y="122"/>
                  </a:lnTo>
                  <a:lnTo>
                    <a:pt x="267" y="122"/>
                  </a:lnTo>
                  <a:lnTo>
                    <a:pt x="267" y="121"/>
                  </a:lnTo>
                  <a:lnTo>
                    <a:pt x="266" y="121"/>
                  </a:lnTo>
                  <a:lnTo>
                    <a:pt x="265" y="121"/>
                  </a:lnTo>
                  <a:lnTo>
                    <a:pt x="265" y="120"/>
                  </a:lnTo>
                  <a:lnTo>
                    <a:pt x="265" y="119"/>
                  </a:lnTo>
                  <a:lnTo>
                    <a:pt x="266" y="118"/>
                  </a:lnTo>
                  <a:lnTo>
                    <a:pt x="266" y="119"/>
                  </a:lnTo>
                  <a:lnTo>
                    <a:pt x="266" y="118"/>
                  </a:lnTo>
                  <a:lnTo>
                    <a:pt x="267" y="119"/>
                  </a:lnTo>
                  <a:lnTo>
                    <a:pt x="267" y="118"/>
                  </a:lnTo>
                  <a:lnTo>
                    <a:pt x="268" y="118"/>
                  </a:lnTo>
                  <a:lnTo>
                    <a:pt x="268" y="116"/>
                  </a:lnTo>
                  <a:lnTo>
                    <a:pt x="270" y="116"/>
                  </a:lnTo>
                  <a:lnTo>
                    <a:pt x="270" y="118"/>
                  </a:lnTo>
                  <a:lnTo>
                    <a:pt x="271" y="118"/>
                  </a:lnTo>
                  <a:lnTo>
                    <a:pt x="271" y="116"/>
                  </a:lnTo>
                  <a:lnTo>
                    <a:pt x="270" y="116"/>
                  </a:lnTo>
                  <a:lnTo>
                    <a:pt x="270" y="115"/>
                  </a:lnTo>
                  <a:lnTo>
                    <a:pt x="268" y="115"/>
                  </a:lnTo>
                  <a:lnTo>
                    <a:pt x="268" y="114"/>
                  </a:lnTo>
                  <a:lnTo>
                    <a:pt x="267" y="114"/>
                  </a:lnTo>
                  <a:lnTo>
                    <a:pt x="267" y="115"/>
                  </a:lnTo>
                  <a:lnTo>
                    <a:pt x="267" y="116"/>
                  </a:lnTo>
                  <a:lnTo>
                    <a:pt x="267" y="118"/>
                  </a:lnTo>
                  <a:lnTo>
                    <a:pt x="267" y="116"/>
                  </a:lnTo>
                  <a:lnTo>
                    <a:pt x="266" y="116"/>
                  </a:lnTo>
                  <a:lnTo>
                    <a:pt x="265" y="118"/>
                  </a:lnTo>
                  <a:lnTo>
                    <a:pt x="264" y="118"/>
                  </a:lnTo>
                  <a:lnTo>
                    <a:pt x="262" y="118"/>
                  </a:lnTo>
                  <a:lnTo>
                    <a:pt x="261" y="116"/>
                  </a:lnTo>
                  <a:lnTo>
                    <a:pt x="261" y="115"/>
                  </a:lnTo>
                  <a:lnTo>
                    <a:pt x="261" y="116"/>
                  </a:lnTo>
                  <a:lnTo>
                    <a:pt x="260" y="116"/>
                  </a:lnTo>
                  <a:lnTo>
                    <a:pt x="259" y="116"/>
                  </a:lnTo>
                  <a:lnTo>
                    <a:pt x="258" y="116"/>
                  </a:lnTo>
                  <a:lnTo>
                    <a:pt x="258" y="115"/>
                  </a:lnTo>
                  <a:lnTo>
                    <a:pt x="256" y="115"/>
                  </a:lnTo>
                  <a:lnTo>
                    <a:pt x="255" y="115"/>
                  </a:lnTo>
                  <a:lnTo>
                    <a:pt x="254" y="115"/>
                  </a:lnTo>
                  <a:lnTo>
                    <a:pt x="253" y="115"/>
                  </a:lnTo>
                  <a:lnTo>
                    <a:pt x="252" y="114"/>
                  </a:lnTo>
                  <a:lnTo>
                    <a:pt x="253" y="114"/>
                  </a:lnTo>
                  <a:lnTo>
                    <a:pt x="253" y="113"/>
                  </a:lnTo>
                  <a:lnTo>
                    <a:pt x="253" y="112"/>
                  </a:lnTo>
                  <a:lnTo>
                    <a:pt x="254" y="112"/>
                  </a:lnTo>
                  <a:lnTo>
                    <a:pt x="255" y="112"/>
                  </a:lnTo>
                  <a:lnTo>
                    <a:pt x="255" y="113"/>
                  </a:lnTo>
                  <a:lnTo>
                    <a:pt x="256" y="113"/>
                  </a:lnTo>
                  <a:lnTo>
                    <a:pt x="256" y="112"/>
                  </a:lnTo>
                  <a:lnTo>
                    <a:pt x="255" y="110"/>
                  </a:lnTo>
                  <a:lnTo>
                    <a:pt x="254" y="110"/>
                  </a:lnTo>
                  <a:lnTo>
                    <a:pt x="253" y="110"/>
                  </a:lnTo>
                  <a:lnTo>
                    <a:pt x="253" y="112"/>
                  </a:lnTo>
                  <a:lnTo>
                    <a:pt x="253" y="110"/>
                  </a:lnTo>
                  <a:lnTo>
                    <a:pt x="252" y="112"/>
                  </a:lnTo>
                  <a:lnTo>
                    <a:pt x="250" y="112"/>
                  </a:lnTo>
                  <a:lnTo>
                    <a:pt x="250" y="113"/>
                  </a:lnTo>
                  <a:lnTo>
                    <a:pt x="249" y="113"/>
                  </a:lnTo>
                  <a:lnTo>
                    <a:pt x="249" y="112"/>
                  </a:lnTo>
                  <a:lnTo>
                    <a:pt x="250" y="112"/>
                  </a:lnTo>
                  <a:lnTo>
                    <a:pt x="250" y="110"/>
                  </a:lnTo>
                  <a:lnTo>
                    <a:pt x="252" y="110"/>
                  </a:lnTo>
                  <a:lnTo>
                    <a:pt x="250" y="110"/>
                  </a:lnTo>
                  <a:lnTo>
                    <a:pt x="250" y="109"/>
                  </a:lnTo>
                  <a:lnTo>
                    <a:pt x="252" y="109"/>
                  </a:lnTo>
                  <a:lnTo>
                    <a:pt x="252" y="108"/>
                  </a:lnTo>
                  <a:lnTo>
                    <a:pt x="250" y="108"/>
                  </a:lnTo>
                  <a:lnTo>
                    <a:pt x="252" y="108"/>
                  </a:lnTo>
                  <a:lnTo>
                    <a:pt x="252" y="107"/>
                  </a:lnTo>
                  <a:lnTo>
                    <a:pt x="250" y="106"/>
                  </a:lnTo>
                  <a:lnTo>
                    <a:pt x="250" y="104"/>
                  </a:lnTo>
                  <a:lnTo>
                    <a:pt x="249" y="104"/>
                  </a:lnTo>
                  <a:lnTo>
                    <a:pt x="248" y="104"/>
                  </a:lnTo>
                  <a:lnTo>
                    <a:pt x="247" y="104"/>
                  </a:lnTo>
                  <a:lnTo>
                    <a:pt x="247" y="106"/>
                  </a:lnTo>
                  <a:lnTo>
                    <a:pt x="248" y="106"/>
                  </a:lnTo>
                  <a:lnTo>
                    <a:pt x="247" y="107"/>
                  </a:lnTo>
                  <a:lnTo>
                    <a:pt x="248" y="107"/>
                  </a:lnTo>
                  <a:lnTo>
                    <a:pt x="249" y="107"/>
                  </a:lnTo>
                  <a:lnTo>
                    <a:pt x="248" y="107"/>
                  </a:lnTo>
                  <a:lnTo>
                    <a:pt x="248" y="108"/>
                  </a:lnTo>
                  <a:lnTo>
                    <a:pt x="249" y="108"/>
                  </a:lnTo>
                  <a:lnTo>
                    <a:pt x="249" y="109"/>
                  </a:lnTo>
                  <a:lnTo>
                    <a:pt x="249" y="108"/>
                  </a:lnTo>
                  <a:lnTo>
                    <a:pt x="248" y="108"/>
                  </a:lnTo>
                  <a:lnTo>
                    <a:pt x="248" y="109"/>
                  </a:lnTo>
                  <a:lnTo>
                    <a:pt x="247" y="109"/>
                  </a:lnTo>
                  <a:lnTo>
                    <a:pt x="246" y="109"/>
                  </a:lnTo>
                  <a:lnTo>
                    <a:pt x="244" y="109"/>
                  </a:lnTo>
                  <a:lnTo>
                    <a:pt x="244" y="110"/>
                  </a:lnTo>
                  <a:lnTo>
                    <a:pt x="243" y="110"/>
                  </a:lnTo>
                  <a:lnTo>
                    <a:pt x="243" y="112"/>
                  </a:lnTo>
                  <a:lnTo>
                    <a:pt x="242" y="112"/>
                  </a:lnTo>
                  <a:lnTo>
                    <a:pt x="241" y="110"/>
                  </a:lnTo>
                  <a:lnTo>
                    <a:pt x="242" y="110"/>
                  </a:lnTo>
                  <a:lnTo>
                    <a:pt x="242" y="109"/>
                  </a:lnTo>
                  <a:lnTo>
                    <a:pt x="241" y="108"/>
                  </a:lnTo>
                  <a:lnTo>
                    <a:pt x="241" y="107"/>
                  </a:lnTo>
                  <a:lnTo>
                    <a:pt x="242" y="107"/>
                  </a:lnTo>
                  <a:lnTo>
                    <a:pt x="242" y="108"/>
                  </a:lnTo>
                  <a:lnTo>
                    <a:pt x="243" y="108"/>
                  </a:lnTo>
                  <a:lnTo>
                    <a:pt x="243" y="109"/>
                  </a:lnTo>
                  <a:lnTo>
                    <a:pt x="244" y="109"/>
                  </a:lnTo>
                  <a:lnTo>
                    <a:pt x="244" y="108"/>
                  </a:lnTo>
                  <a:lnTo>
                    <a:pt x="243" y="109"/>
                  </a:lnTo>
                  <a:lnTo>
                    <a:pt x="243" y="108"/>
                  </a:lnTo>
                  <a:lnTo>
                    <a:pt x="243" y="107"/>
                  </a:lnTo>
                  <a:lnTo>
                    <a:pt x="243" y="106"/>
                  </a:lnTo>
                  <a:lnTo>
                    <a:pt x="243" y="107"/>
                  </a:lnTo>
                  <a:lnTo>
                    <a:pt x="242" y="107"/>
                  </a:lnTo>
                  <a:lnTo>
                    <a:pt x="242" y="106"/>
                  </a:lnTo>
                  <a:lnTo>
                    <a:pt x="242" y="104"/>
                  </a:lnTo>
                  <a:lnTo>
                    <a:pt x="241" y="103"/>
                  </a:lnTo>
                  <a:lnTo>
                    <a:pt x="240" y="103"/>
                  </a:lnTo>
                  <a:lnTo>
                    <a:pt x="241" y="102"/>
                  </a:lnTo>
                  <a:lnTo>
                    <a:pt x="240" y="103"/>
                  </a:lnTo>
                  <a:lnTo>
                    <a:pt x="241" y="104"/>
                  </a:lnTo>
                  <a:lnTo>
                    <a:pt x="240" y="104"/>
                  </a:lnTo>
                  <a:lnTo>
                    <a:pt x="240" y="106"/>
                  </a:lnTo>
                  <a:lnTo>
                    <a:pt x="240" y="104"/>
                  </a:lnTo>
                  <a:lnTo>
                    <a:pt x="240" y="103"/>
                  </a:lnTo>
                  <a:lnTo>
                    <a:pt x="238" y="103"/>
                  </a:lnTo>
                  <a:lnTo>
                    <a:pt x="237" y="103"/>
                  </a:lnTo>
                  <a:lnTo>
                    <a:pt x="237" y="104"/>
                  </a:lnTo>
                  <a:lnTo>
                    <a:pt x="237" y="103"/>
                  </a:lnTo>
                  <a:lnTo>
                    <a:pt x="236" y="103"/>
                  </a:lnTo>
                  <a:lnTo>
                    <a:pt x="236" y="102"/>
                  </a:lnTo>
                  <a:lnTo>
                    <a:pt x="235" y="102"/>
                  </a:lnTo>
                  <a:lnTo>
                    <a:pt x="235" y="103"/>
                  </a:lnTo>
                  <a:lnTo>
                    <a:pt x="234" y="104"/>
                  </a:lnTo>
                  <a:lnTo>
                    <a:pt x="234" y="103"/>
                  </a:lnTo>
                  <a:lnTo>
                    <a:pt x="232" y="104"/>
                  </a:lnTo>
                  <a:lnTo>
                    <a:pt x="234" y="104"/>
                  </a:lnTo>
                  <a:lnTo>
                    <a:pt x="234" y="106"/>
                  </a:lnTo>
                  <a:lnTo>
                    <a:pt x="232" y="106"/>
                  </a:lnTo>
                  <a:lnTo>
                    <a:pt x="232" y="107"/>
                  </a:lnTo>
                  <a:lnTo>
                    <a:pt x="231" y="108"/>
                  </a:lnTo>
                  <a:lnTo>
                    <a:pt x="230" y="108"/>
                  </a:lnTo>
                  <a:lnTo>
                    <a:pt x="228" y="108"/>
                  </a:lnTo>
                  <a:lnTo>
                    <a:pt x="228" y="107"/>
                  </a:lnTo>
                  <a:lnTo>
                    <a:pt x="228" y="106"/>
                  </a:lnTo>
                  <a:lnTo>
                    <a:pt x="229" y="106"/>
                  </a:lnTo>
                  <a:lnTo>
                    <a:pt x="229" y="104"/>
                  </a:lnTo>
                  <a:lnTo>
                    <a:pt x="229" y="106"/>
                  </a:lnTo>
                  <a:lnTo>
                    <a:pt x="228" y="106"/>
                  </a:lnTo>
                  <a:lnTo>
                    <a:pt x="228" y="104"/>
                  </a:lnTo>
                  <a:lnTo>
                    <a:pt x="229" y="104"/>
                  </a:lnTo>
                  <a:lnTo>
                    <a:pt x="229" y="103"/>
                  </a:lnTo>
                  <a:lnTo>
                    <a:pt x="229" y="102"/>
                  </a:lnTo>
                  <a:lnTo>
                    <a:pt x="230" y="102"/>
                  </a:lnTo>
                  <a:lnTo>
                    <a:pt x="230" y="101"/>
                  </a:lnTo>
                  <a:lnTo>
                    <a:pt x="230" y="100"/>
                  </a:lnTo>
                  <a:lnTo>
                    <a:pt x="230" y="98"/>
                  </a:lnTo>
                  <a:lnTo>
                    <a:pt x="229" y="98"/>
                  </a:lnTo>
                  <a:lnTo>
                    <a:pt x="228" y="98"/>
                  </a:lnTo>
                  <a:lnTo>
                    <a:pt x="228" y="100"/>
                  </a:lnTo>
                  <a:lnTo>
                    <a:pt x="226" y="100"/>
                  </a:lnTo>
                  <a:lnTo>
                    <a:pt x="226" y="98"/>
                  </a:lnTo>
                  <a:lnTo>
                    <a:pt x="225" y="98"/>
                  </a:lnTo>
                  <a:lnTo>
                    <a:pt x="224" y="98"/>
                  </a:lnTo>
                  <a:lnTo>
                    <a:pt x="224" y="97"/>
                  </a:lnTo>
                  <a:lnTo>
                    <a:pt x="223" y="97"/>
                  </a:lnTo>
                  <a:lnTo>
                    <a:pt x="222" y="97"/>
                  </a:lnTo>
                  <a:lnTo>
                    <a:pt x="219" y="97"/>
                  </a:lnTo>
                  <a:lnTo>
                    <a:pt x="219" y="98"/>
                  </a:lnTo>
                  <a:lnTo>
                    <a:pt x="220" y="98"/>
                  </a:lnTo>
                  <a:lnTo>
                    <a:pt x="220" y="100"/>
                  </a:lnTo>
                  <a:lnTo>
                    <a:pt x="219" y="100"/>
                  </a:lnTo>
                  <a:lnTo>
                    <a:pt x="219" y="98"/>
                  </a:lnTo>
                  <a:lnTo>
                    <a:pt x="218" y="98"/>
                  </a:lnTo>
                  <a:lnTo>
                    <a:pt x="219" y="97"/>
                  </a:lnTo>
                  <a:lnTo>
                    <a:pt x="218" y="97"/>
                  </a:lnTo>
                  <a:lnTo>
                    <a:pt x="217" y="98"/>
                  </a:lnTo>
                  <a:lnTo>
                    <a:pt x="215" y="98"/>
                  </a:lnTo>
                  <a:lnTo>
                    <a:pt x="214" y="98"/>
                  </a:lnTo>
                  <a:lnTo>
                    <a:pt x="214" y="100"/>
                  </a:lnTo>
                  <a:lnTo>
                    <a:pt x="215" y="100"/>
                  </a:lnTo>
                  <a:lnTo>
                    <a:pt x="215" y="101"/>
                  </a:lnTo>
                  <a:lnTo>
                    <a:pt x="214" y="101"/>
                  </a:lnTo>
                  <a:lnTo>
                    <a:pt x="213" y="102"/>
                  </a:lnTo>
                  <a:lnTo>
                    <a:pt x="213" y="103"/>
                  </a:lnTo>
                  <a:lnTo>
                    <a:pt x="212" y="102"/>
                  </a:lnTo>
                  <a:lnTo>
                    <a:pt x="211" y="101"/>
                  </a:lnTo>
                  <a:lnTo>
                    <a:pt x="211" y="100"/>
                  </a:lnTo>
                  <a:lnTo>
                    <a:pt x="211" y="101"/>
                  </a:lnTo>
                  <a:lnTo>
                    <a:pt x="212" y="100"/>
                  </a:lnTo>
                  <a:lnTo>
                    <a:pt x="213" y="100"/>
                  </a:lnTo>
                  <a:lnTo>
                    <a:pt x="212" y="100"/>
                  </a:lnTo>
                  <a:lnTo>
                    <a:pt x="213" y="98"/>
                  </a:lnTo>
                  <a:lnTo>
                    <a:pt x="213" y="97"/>
                  </a:lnTo>
                  <a:lnTo>
                    <a:pt x="213" y="96"/>
                  </a:lnTo>
                  <a:lnTo>
                    <a:pt x="212" y="96"/>
                  </a:lnTo>
                  <a:lnTo>
                    <a:pt x="212" y="97"/>
                  </a:lnTo>
                  <a:lnTo>
                    <a:pt x="211" y="97"/>
                  </a:lnTo>
                  <a:lnTo>
                    <a:pt x="211" y="96"/>
                  </a:lnTo>
                  <a:lnTo>
                    <a:pt x="209" y="96"/>
                  </a:lnTo>
                  <a:lnTo>
                    <a:pt x="209" y="95"/>
                  </a:lnTo>
                  <a:lnTo>
                    <a:pt x="208" y="95"/>
                  </a:lnTo>
                  <a:lnTo>
                    <a:pt x="208" y="94"/>
                  </a:lnTo>
                  <a:lnTo>
                    <a:pt x="207" y="94"/>
                  </a:lnTo>
                  <a:lnTo>
                    <a:pt x="206" y="92"/>
                  </a:lnTo>
                  <a:lnTo>
                    <a:pt x="205" y="92"/>
                  </a:lnTo>
                  <a:lnTo>
                    <a:pt x="203" y="91"/>
                  </a:lnTo>
                  <a:lnTo>
                    <a:pt x="202" y="91"/>
                  </a:lnTo>
                  <a:lnTo>
                    <a:pt x="202" y="90"/>
                  </a:lnTo>
                  <a:lnTo>
                    <a:pt x="202" y="89"/>
                  </a:lnTo>
                  <a:lnTo>
                    <a:pt x="201" y="89"/>
                  </a:lnTo>
                  <a:lnTo>
                    <a:pt x="200" y="89"/>
                  </a:lnTo>
                  <a:lnTo>
                    <a:pt x="199" y="89"/>
                  </a:lnTo>
                  <a:lnTo>
                    <a:pt x="199" y="88"/>
                  </a:lnTo>
                  <a:lnTo>
                    <a:pt x="197" y="86"/>
                  </a:lnTo>
                  <a:lnTo>
                    <a:pt x="196" y="86"/>
                  </a:lnTo>
                  <a:lnTo>
                    <a:pt x="196" y="85"/>
                  </a:lnTo>
                  <a:lnTo>
                    <a:pt x="196" y="84"/>
                  </a:lnTo>
                  <a:lnTo>
                    <a:pt x="196" y="83"/>
                  </a:lnTo>
                  <a:lnTo>
                    <a:pt x="197" y="82"/>
                  </a:lnTo>
                  <a:lnTo>
                    <a:pt x="196" y="82"/>
                  </a:lnTo>
                  <a:lnTo>
                    <a:pt x="195" y="82"/>
                  </a:lnTo>
                  <a:lnTo>
                    <a:pt x="195" y="80"/>
                  </a:lnTo>
                  <a:lnTo>
                    <a:pt x="194" y="80"/>
                  </a:lnTo>
                  <a:lnTo>
                    <a:pt x="193" y="80"/>
                  </a:lnTo>
                  <a:lnTo>
                    <a:pt x="191" y="80"/>
                  </a:lnTo>
                  <a:lnTo>
                    <a:pt x="191" y="79"/>
                  </a:lnTo>
                  <a:lnTo>
                    <a:pt x="190" y="78"/>
                  </a:lnTo>
                  <a:lnTo>
                    <a:pt x="189" y="78"/>
                  </a:lnTo>
                  <a:lnTo>
                    <a:pt x="190" y="77"/>
                  </a:lnTo>
                  <a:lnTo>
                    <a:pt x="190" y="76"/>
                  </a:lnTo>
                  <a:lnTo>
                    <a:pt x="191" y="76"/>
                  </a:lnTo>
                  <a:lnTo>
                    <a:pt x="193" y="76"/>
                  </a:lnTo>
                  <a:lnTo>
                    <a:pt x="194" y="74"/>
                  </a:lnTo>
                  <a:lnTo>
                    <a:pt x="194" y="73"/>
                  </a:lnTo>
                  <a:lnTo>
                    <a:pt x="195" y="73"/>
                  </a:lnTo>
                  <a:lnTo>
                    <a:pt x="196" y="73"/>
                  </a:lnTo>
                  <a:lnTo>
                    <a:pt x="196" y="74"/>
                  </a:lnTo>
                  <a:lnTo>
                    <a:pt x="197" y="74"/>
                  </a:lnTo>
                  <a:lnTo>
                    <a:pt x="199" y="74"/>
                  </a:lnTo>
                  <a:lnTo>
                    <a:pt x="199" y="76"/>
                  </a:lnTo>
                  <a:lnTo>
                    <a:pt x="199" y="74"/>
                  </a:lnTo>
                  <a:lnTo>
                    <a:pt x="197" y="73"/>
                  </a:lnTo>
                  <a:lnTo>
                    <a:pt x="196" y="73"/>
                  </a:lnTo>
                  <a:lnTo>
                    <a:pt x="196" y="72"/>
                  </a:lnTo>
                  <a:lnTo>
                    <a:pt x="195" y="72"/>
                  </a:lnTo>
                  <a:lnTo>
                    <a:pt x="194" y="72"/>
                  </a:lnTo>
                  <a:lnTo>
                    <a:pt x="194" y="71"/>
                  </a:lnTo>
                  <a:lnTo>
                    <a:pt x="194" y="70"/>
                  </a:lnTo>
                  <a:lnTo>
                    <a:pt x="193" y="70"/>
                  </a:lnTo>
                  <a:lnTo>
                    <a:pt x="193" y="68"/>
                  </a:lnTo>
                  <a:lnTo>
                    <a:pt x="193" y="67"/>
                  </a:lnTo>
                  <a:lnTo>
                    <a:pt x="191" y="67"/>
                  </a:lnTo>
                  <a:lnTo>
                    <a:pt x="191" y="66"/>
                  </a:lnTo>
                  <a:lnTo>
                    <a:pt x="191" y="65"/>
                  </a:lnTo>
                  <a:lnTo>
                    <a:pt x="191" y="64"/>
                  </a:lnTo>
                  <a:lnTo>
                    <a:pt x="193" y="64"/>
                  </a:lnTo>
                  <a:lnTo>
                    <a:pt x="194" y="65"/>
                  </a:lnTo>
                  <a:lnTo>
                    <a:pt x="196" y="65"/>
                  </a:lnTo>
                  <a:lnTo>
                    <a:pt x="197" y="65"/>
                  </a:lnTo>
                  <a:lnTo>
                    <a:pt x="199" y="66"/>
                  </a:lnTo>
                  <a:lnTo>
                    <a:pt x="200" y="66"/>
                  </a:lnTo>
                  <a:lnTo>
                    <a:pt x="201" y="66"/>
                  </a:lnTo>
                  <a:lnTo>
                    <a:pt x="201" y="65"/>
                  </a:lnTo>
                  <a:lnTo>
                    <a:pt x="201" y="64"/>
                  </a:lnTo>
                  <a:lnTo>
                    <a:pt x="200" y="64"/>
                  </a:lnTo>
                  <a:lnTo>
                    <a:pt x="201" y="64"/>
                  </a:lnTo>
                  <a:lnTo>
                    <a:pt x="201" y="62"/>
                  </a:lnTo>
                  <a:lnTo>
                    <a:pt x="200" y="62"/>
                  </a:lnTo>
                  <a:lnTo>
                    <a:pt x="199" y="62"/>
                  </a:lnTo>
                  <a:lnTo>
                    <a:pt x="197" y="62"/>
                  </a:lnTo>
                  <a:lnTo>
                    <a:pt x="196" y="62"/>
                  </a:lnTo>
                  <a:lnTo>
                    <a:pt x="196" y="61"/>
                  </a:lnTo>
                  <a:lnTo>
                    <a:pt x="195" y="61"/>
                  </a:lnTo>
                  <a:lnTo>
                    <a:pt x="196" y="61"/>
                  </a:lnTo>
                  <a:lnTo>
                    <a:pt x="195" y="60"/>
                  </a:lnTo>
                  <a:lnTo>
                    <a:pt x="195" y="59"/>
                  </a:lnTo>
                  <a:lnTo>
                    <a:pt x="195" y="58"/>
                  </a:lnTo>
                  <a:lnTo>
                    <a:pt x="194" y="58"/>
                  </a:lnTo>
                  <a:lnTo>
                    <a:pt x="194" y="56"/>
                  </a:lnTo>
                  <a:lnTo>
                    <a:pt x="194" y="55"/>
                  </a:lnTo>
                  <a:lnTo>
                    <a:pt x="195" y="55"/>
                  </a:lnTo>
                  <a:lnTo>
                    <a:pt x="196" y="55"/>
                  </a:lnTo>
                  <a:lnTo>
                    <a:pt x="196" y="56"/>
                  </a:lnTo>
                  <a:lnTo>
                    <a:pt x="197" y="56"/>
                  </a:lnTo>
                  <a:lnTo>
                    <a:pt x="197" y="58"/>
                  </a:lnTo>
                  <a:lnTo>
                    <a:pt x="199" y="56"/>
                  </a:lnTo>
                  <a:lnTo>
                    <a:pt x="199" y="55"/>
                  </a:lnTo>
                  <a:lnTo>
                    <a:pt x="197" y="55"/>
                  </a:lnTo>
                  <a:lnTo>
                    <a:pt x="197" y="54"/>
                  </a:lnTo>
                  <a:lnTo>
                    <a:pt x="199" y="54"/>
                  </a:lnTo>
                  <a:lnTo>
                    <a:pt x="199" y="53"/>
                  </a:lnTo>
                  <a:lnTo>
                    <a:pt x="197" y="53"/>
                  </a:lnTo>
                  <a:lnTo>
                    <a:pt x="197" y="52"/>
                  </a:lnTo>
                  <a:lnTo>
                    <a:pt x="196" y="52"/>
                  </a:lnTo>
                  <a:lnTo>
                    <a:pt x="197" y="52"/>
                  </a:lnTo>
                  <a:lnTo>
                    <a:pt x="197" y="50"/>
                  </a:lnTo>
                  <a:lnTo>
                    <a:pt x="197" y="49"/>
                  </a:lnTo>
                  <a:lnTo>
                    <a:pt x="199" y="49"/>
                  </a:lnTo>
                  <a:lnTo>
                    <a:pt x="199" y="48"/>
                  </a:lnTo>
                  <a:lnTo>
                    <a:pt x="199" y="47"/>
                  </a:lnTo>
                  <a:lnTo>
                    <a:pt x="197" y="47"/>
                  </a:lnTo>
                  <a:lnTo>
                    <a:pt x="197" y="45"/>
                  </a:lnTo>
                  <a:lnTo>
                    <a:pt x="197" y="44"/>
                  </a:lnTo>
                  <a:lnTo>
                    <a:pt x="199" y="44"/>
                  </a:lnTo>
                  <a:lnTo>
                    <a:pt x="200" y="43"/>
                  </a:lnTo>
                  <a:lnTo>
                    <a:pt x="200" y="44"/>
                  </a:lnTo>
                  <a:lnTo>
                    <a:pt x="201" y="44"/>
                  </a:lnTo>
                  <a:lnTo>
                    <a:pt x="201" y="45"/>
                  </a:lnTo>
                  <a:lnTo>
                    <a:pt x="201" y="47"/>
                  </a:lnTo>
                  <a:lnTo>
                    <a:pt x="201" y="48"/>
                  </a:lnTo>
                  <a:lnTo>
                    <a:pt x="201" y="49"/>
                  </a:lnTo>
                  <a:lnTo>
                    <a:pt x="201" y="50"/>
                  </a:lnTo>
                  <a:lnTo>
                    <a:pt x="202" y="49"/>
                  </a:lnTo>
                  <a:lnTo>
                    <a:pt x="202" y="48"/>
                  </a:lnTo>
                  <a:lnTo>
                    <a:pt x="203" y="48"/>
                  </a:lnTo>
                  <a:lnTo>
                    <a:pt x="203" y="47"/>
                  </a:lnTo>
                  <a:lnTo>
                    <a:pt x="203" y="45"/>
                  </a:lnTo>
                  <a:lnTo>
                    <a:pt x="202" y="45"/>
                  </a:lnTo>
                  <a:lnTo>
                    <a:pt x="202" y="44"/>
                  </a:lnTo>
                  <a:lnTo>
                    <a:pt x="201" y="44"/>
                  </a:lnTo>
                  <a:lnTo>
                    <a:pt x="202" y="43"/>
                  </a:lnTo>
                  <a:lnTo>
                    <a:pt x="202" y="42"/>
                  </a:lnTo>
                  <a:lnTo>
                    <a:pt x="203" y="42"/>
                  </a:lnTo>
                  <a:lnTo>
                    <a:pt x="205" y="42"/>
                  </a:lnTo>
                  <a:lnTo>
                    <a:pt x="205" y="43"/>
                  </a:lnTo>
                  <a:lnTo>
                    <a:pt x="206" y="43"/>
                  </a:lnTo>
                  <a:lnTo>
                    <a:pt x="207" y="43"/>
                  </a:lnTo>
                  <a:lnTo>
                    <a:pt x="207" y="42"/>
                  </a:lnTo>
                  <a:lnTo>
                    <a:pt x="205" y="42"/>
                  </a:lnTo>
                  <a:lnTo>
                    <a:pt x="206" y="42"/>
                  </a:lnTo>
                  <a:lnTo>
                    <a:pt x="205" y="41"/>
                  </a:lnTo>
                  <a:lnTo>
                    <a:pt x="205" y="39"/>
                  </a:lnTo>
                  <a:lnTo>
                    <a:pt x="206" y="38"/>
                  </a:lnTo>
                  <a:lnTo>
                    <a:pt x="207" y="38"/>
                  </a:lnTo>
                  <a:lnTo>
                    <a:pt x="206" y="38"/>
                  </a:lnTo>
                  <a:lnTo>
                    <a:pt x="207" y="37"/>
                  </a:lnTo>
                  <a:lnTo>
                    <a:pt x="206" y="37"/>
                  </a:lnTo>
                  <a:lnTo>
                    <a:pt x="206" y="36"/>
                  </a:lnTo>
                  <a:lnTo>
                    <a:pt x="205" y="36"/>
                  </a:lnTo>
                  <a:lnTo>
                    <a:pt x="203" y="35"/>
                  </a:lnTo>
                  <a:lnTo>
                    <a:pt x="202" y="35"/>
                  </a:lnTo>
                  <a:lnTo>
                    <a:pt x="202" y="33"/>
                  </a:lnTo>
                  <a:lnTo>
                    <a:pt x="203" y="33"/>
                  </a:lnTo>
                  <a:lnTo>
                    <a:pt x="203" y="32"/>
                  </a:lnTo>
                  <a:lnTo>
                    <a:pt x="203" y="31"/>
                  </a:lnTo>
                  <a:lnTo>
                    <a:pt x="205" y="32"/>
                  </a:lnTo>
                  <a:lnTo>
                    <a:pt x="205" y="31"/>
                  </a:lnTo>
                  <a:lnTo>
                    <a:pt x="205" y="30"/>
                  </a:lnTo>
                  <a:lnTo>
                    <a:pt x="205" y="29"/>
                  </a:lnTo>
                  <a:lnTo>
                    <a:pt x="203" y="29"/>
                  </a:lnTo>
                  <a:lnTo>
                    <a:pt x="203" y="27"/>
                  </a:lnTo>
                  <a:lnTo>
                    <a:pt x="205" y="27"/>
                  </a:lnTo>
                  <a:lnTo>
                    <a:pt x="206" y="27"/>
                  </a:lnTo>
                  <a:lnTo>
                    <a:pt x="206" y="26"/>
                  </a:lnTo>
                  <a:lnTo>
                    <a:pt x="207" y="27"/>
                  </a:lnTo>
                  <a:lnTo>
                    <a:pt x="207" y="29"/>
                  </a:lnTo>
                  <a:lnTo>
                    <a:pt x="207" y="30"/>
                  </a:lnTo>
                  <a:lnTo>
                    <a:pt x="208" y="30"/>
                  </a:lnTo>
                  <a:lnTo>
                    <a:pt x="208" y="31"/>
                  </a:lnTo>
                  <a:lnTo>
                    <a:pt x="209" y="31"/>
                  </a:lnTo>
                  <a:lnTo>
                    <a:pt x="209" y="30"/>
                  </a:lnTo>
                  <a:lnTo>
                    <a:pt x="211" y="30"/>
                  </a:lnTo>
                  <a:lnTo>
                    <a:pt x="211" y="31"/>
                  </a:lnTo>
                  <a:lnTo>
                    <a:pt x="211" y="32"/>
                  </a:lnTo>
                  <a:lnTo>
                    <a:pt x="211" y="35"/>
                  </a:lnTo>
                  <a:lnTo>
                    <a:pt x="212" y="35"/>
                  </a:lnTo>
                  <a:lnTo>
                    <a:pt x="213" y="35"/>
                  </a:lnTo>
                  <a:lnTo>
                    <a:pt x="214" y="35"/>
                  </a:lnTo>
                  <a:lnTo>
                    <a:pt x="215" y="35"/>
                  </a:lnTo>
                  <a:lnTo>
                    <a:pt x="215" y="33"/>
                  </a:lnTo>
                  <a:lnTo>
                    <a:pt x="217" y="33"/>
                  </a:lnTo>
                  <a:lnTo>
                    <a:pt x="215" y="33"/>
                  </a:lnTo>
                  <a:lnTo>
                    <a:pt x="214" y="32"/>
                  </a:lnTo>
                  <a:lnTo>
                    <a:pt x="215" y="32"/>
                  </a:lnTo>
                  <a:lnTo>
                    <a:pt x="214" y="32"/>
                  </a:lnTo>
                  <a:lnTo>
                    <a:pt x="214" y="31"/>
                  </a:lnTo>
                  <a:lnTo>
                    <a:pt x="214" y="30"/>
                  </a:lnTo>
                  <a:lnTo>
                    <a:pt x="213" y="30"/>
                  </a:lnTo>
                  <a:lnTo>
                    <a:pt x="214" y="29"/>
                  </a:lnTo>
                  <a:lnTo>
                    <a:pt x="213" y="29"/>
                  </a:lnTo>
                  <a:lnTo>
                    <a:pt x="213" y="27"/>
                  </a:lnTo>
                  <a:lnTo>
                    <a:pt x="213" y="26"/>
                  </a:lnTo>
                  <a:lnTo>
                    <a:pt x="213" y="25"/>
                  </a:lnTo>
                  <a:lnTo>
                    <a:pt x="213" y="24"/>
                  </a:lnTo>
                  <a:lnTo>
                    <a:pt x="212" y="24"/>
                  </a:lnTo>
                  <a:lnTo>
                    <a:pt x="212" y="23"/>
                  </a:lnTo>
                  <a:lnTo>
                    <a:pt x="212" y="21"/>
                  </a:lnTo>
                  <a:lnTo>
                    <a:pt x="211" y="21"/>
                  </a:lnTo>
                  <a:lnTo>
                    <a:pt x="212" y="20"/>
                  </a:lnTo>
                  <a:lnTo>
                    <a:pt x="211" y="20"/>
                  </a:lnTo>
                  <a:lnTo>
                    <a:pt x="211" y="19"/>
                  </a:lnTo>
                  <a:lnTo>
                    <a:pt x="211" y="18"/>
                  </a:lnTo>
                  <a:lnTo>
                    <a:pt x="212" y="18"/>
                  </a:lnTo>
                  <a:lnTo>
                    <a:pt x="212" y="17"/>
                  </a:lnTo>
                  <a:lnTo>
                    <a:pt x="213" y="17"/>
                  </a:lnTo>
                  <a:lnTo>
                    <a:pt x="212" y="18"/>
                  </a:lnTo>
                  <a:lnTo>
                    <a:pt x="213" y="18"/>
                  </a:lnTo>
                  <a:lnTo>
                    <a:pt x="213" y="17"/>
                  </a:lnTo>
                  <a:lnTo>
                    <a:pt x="213" y="15"/>
                  </a:lnTo>
                  <a:lnTo>
                    <a:pt x="213" y="14"/>
                  </a:lnTo>
                  <a:lnTo>
                    <a:pt x="213" y="13"/>
                  </a:lnTo>
                  <a:lnTo>
                    <a:pt x="214" y="12"/>
                  </a:lnTo>
                  <a:lnTo>
                    <a:pt x="214" y="13"/>
                  </a:lnTo>
                  <a:lnTo>
                    <a:pt x="217" y="13"/>
                  </a:lnTo>
                  <a:lnTo>
                    <a:pt x="215" y="13"/>
                  </a:lnTo>
                  <a:lnTo>
                    <a:pt x="215" y="14"/>
                  </a:lnTo>
                  <a:lnTo>
                    <a:pt x="217" y="14"/>
                  </a:lnTo>
                  <a:lnTo>
                    <a:pt x="215" y="15"/>
                  </a:lnTo>
                  <a:lnTo>
                    <a:pt x="217" y="17"/>
                  </a:lnTo>
                  <a:lnTo>
                    <a:pt x="217" y="18"/>
                  </a:lnTo>
                  <a:lnTo>
                    <a:pt x="217" y="19"/>
                  </a:lnTo>
                  <a:lnTo>
                    <a:pt x="218" y="19"/>
                  </a:lnTo>
                  <a:lnTo>
                    <a:pt x="218" y="18"/>
                  </a:lnTo>
                  <a:lnTo>
                    <a:pt x="219" y="18"/>
                  </a:lnTo>
                  <a:lnTo>
                    <a:pt x="220" y="18"/>
                  </a:lnTo>
                  <a:lnTo>
                    <a:pt x="222" y="18"/>
                  </a:lnTo>
                  <a:lnTo>
                    <a:pt x="222" y="19"/>
                  </a:lnTo>
                  <a:lnTo>
                    <a:pt x="223" y="19"/>
                  </a:lnTo>
                  <a:lnTo>
                    <a:pt x="223" y="18"/>
                  </a:lnTo>
                  <a:lnTo>
                    <a:pt x="223" y="17"/>
                  </a:lnTo>
                  <a:lnTo>
                    <a:pt x="223" y="15"/>
                  </a:lnTo>
                  <a:lnTo>
                    <a:pt x="224" y="14"/>
                  </a:lnTo>
                  <a:lnTo>
                    <a:pt x="224" y="15"/>
                  </a:lnTo>
                  <a:lnTo>
                    <a:pt x="225" y="15"/>
                  </a:lnTo>
                  <a:lnTo>
                    <a:pt x="226" y="15"/>
                  </a:lnTo>
                  <a:lnTo>
                    <a:pt x="226" y="17"/>
                  </a:lnTo>
                  <a:lnTo>
                    <a:pt x="226" y="18"/>
                  </a:lnTo>
                  <a:lnTo>
                    <a:pt x="225" y="18"/>
                  </a:lnTo>
                  <a:lnTo>
                    <a:pt x="225" y="19"/>
                  </a:lnTo>
                  <a:lnTo>
                    <a:pt x="225" y="21"/>
                  </a:lnTo>
                  <a:lnTo>
                    <a:pt x="226" y="21"/>
                  </a:lnTo>
                  <a:lnTo>
                    <a:pt x="226" y="23"/>
                  </a:lnTo>
                  <a:lnTo>
                    <a:pt x="228" y="23"/>
                  </a:lnTo>
                  <a:lnTo>
                    <a:pt x="226" y="23"/>
                  </a:lnTo>
                  <a:lnTo>
                    <a:pt x="226" y="24"/>
                  </a:lnTo>
                  <a:lnTo>
                    <a:pt x="225" y="24"/>
                  </a:lnTo>
                  <a:lnTo>
                    <a:pt x="225" y="25"/>
                  </a:lnTo>
                  <a:lnTo>
                    <a:pt x="224" y="26"/>
                  </a:lnTo>
                  <a:lnTo>
                    <a:pt x="224" y="27"/>
                  </a:lnTo>
                  <a:lnTo>
                    <a:pt x="224" y="29"/>
                  </a:lnTo>
                  <a:lnTo>
                    <a:pt x="225" y="29"/>
                  </a:lnTo>
                  <a:lnTo>
                    <a:pt x="225" y="30"/>
                  </a:lnTo>
                  <a:lnTo>
                    <a:pt x="225" y="31"/>
                  </a:lnTo>
                  <a:lnTo>
                    <a:pt x="226" y="30"/>
                  </a:lnTo>
                  <a:lnTo>
                    <a:pt x="226" y="31"/>
                  </a:lnTo>
                  <a:lnTo>
                    <a:pt x="228" y="31"/>
                  </a:lnTo>
                  <a:lnTo>
                    <a:pt x="229" y="32"/>
                  </a:lnTo>
                  <a:lnTo>
                    <a:pt x="229" y="31"/>
                  </a:lnTo>
                  <a:lnTo>
                    <a:pt x="230" y="31"/>
                  </a:lnTo>
                  <a:lnTo>
                    <a:pt x="230" y="30"/>
                  </a:lnTo>
                  <a:lnTo>
                    <a:pt x="230" y="29"/>
                  </a:lnTo>
                  <a:lnTo>
                    <a:pt x="231" y="29"/>
                  </a:lnTo>
                  <a:lnTo>
                    <a:pt x="231" y="27"/>
                  </a:lnTo>
                  <a:lnTo>
                    <a:pt x="231" y="26"/>
                  </a:lnTo>
                  <a:lnTo>
                    <a:pt x="232" y="25"/>
                  </a:lnTo>
                  <a:lnTo>
                    <a:pt x="232" y="23"/>
                  </a:lnTo>
                  <a:lnTo>
                    <a:pt x="232" y="21"/>
                  </a:lnTo>
                  <a:lnTo>
                    <a:pt x="232" y="20"/>
                  </a:lnTo>
                  <a:lnTo>
                    <a:pt x="234" y="20"/>
                  </a:lnTo>
                  <a:lnTo>
                    <a:pt x="235" y="19"/>
                  </a:lnTo>
                  <a:lnTo>
                    <a:pt x="235" y="20"/>
                  </a:lnTo>
                  <a:lnTo>
                    <a:pt x="236" y="20"/>
                  </a:lnTo>
                  <a:lnTo>
                    <a:pt x="236" y="21"/>
                  </a:lnTo>
                  <a:lnTo>
                    <a:pt x="236" y="23"/>
                  </a:lnTo>
                  <a:lnTo>
                    <a:pt x="236" y="24"/>
                  </a:lnTo>
                  <a:lnTo>
                    <a:pt x="237" y="24"/>
                  </a:lnTo>
                  <a:lnTo>
                    <a:pt x="238" y="24"/>
                  </a:lnTo>
                  <a:lnTo>
                    <a:pt x="238" y="25"/>
                  </a:lnTo>
                  <a:lnTo>
                    <a:pt x="238" y="26"/>
                  </a:lnTo>
                  <a:lnTo>
                    <a:pt x="240" y="27"/>
                  </a:lnTo>
                  <a:lnTo>
                    <a:pt x="240" y="26"/>
                  </a:lnTo>
                  <a:lnTo>
                    <a:pt x="241" y="26"/>
                  </a:lnTo>
                  <a:lnTo>
                    <a:pt x="241" y="25"/>
                  </a:lnTo>
                  <a:lnTo>
                    <a:pt x="242" y="26"/>
                  </a:lnTo>
                  <a:lnTo>
                    <a:pt x="243" y="27"/>
                  </a:lnTo>
                  <a:lnTo>
                    <a:pt x="243" y="26"/>
                  </a:lnTo>
                  <a:lnTo>
                    <a:pt x="242" y="26"/>
                  </a:lnTo>
                  <a:lnTo>
                    <a:pt x="242" y="25"/>
                  </a:lnTo>
                  <a:lnTo>
                    <a:pt x="243" y="25"/>
                  </a:lnTo>
                  <a:lnTo>
                    <a:pt x="243" y="24"/>
                  </a:lnTo>
                  <a:lnTo>
                    <a:pt x="243" y="23"/>
                  </a:lnTo>
                  <a:lnTo>
                    <a:pt x="244" y="23"/>
                  </a:lnTo>
                  <a:lnTo>
                    <a:pt x="246" y="21"/>
                  </a:lnTo>
                  <a:lnTo>
                    <a:pt x="244" y="21"/>
                  </a:lnTo>
                  <a:lnTo>
                    <a:pt x="244" y="20"/>
                  </a:lnTo>
                  <a:lnTo>
                    <a:pt x="244" y="19"/>
                  </a:lnTo>
                  <a:lnTo>
                    <a:pt x="244" y="18"/>
                  </a:lnTo>
                  <a:lnTo>
                    <a:pt x="244" y="19"/>
                  </a:lnTo>
                  <a:lnTo>
                    <a:pt x="246" y="19"/>
                  </a:lnTo>
                  <a:lnTo>
                    <a:pt x="244" y="18"/>
                  </a:lnTo>
                  <a:lnTo>
                    <a:pt x="244" y="17"/>
                  </a:lnTo>
                  <a:lnTo>
                    <a:pt x="243" y="17"/>
                  </a:lnTo>
                  <a:lnTo>
                    <a:pt x="242" y="17"/>
                  </a:lnTo>
                  <a:lnTo>
                    <a:pt x="242" y="15"/>
                  </a:lnTo>
                  <a:lnTo>
                    <a:pt x="242" y="14"/>
                  </a:lnTo>
                  <a:lnTo>
                    <a:pt x="241" y="13"/>
                  </a:lnTo>
                  <a:lnTo>
                    <a:pt x="241" y="12"/>
                  </a:lnTo>
                  <a:lnTo>
                    <a:pt x="240" y="11"/>
                  </a:lnTo>
                  <a:lnTo>
                    <a:pt x="241" y="9"/>
                  </a:lnTo>
                  <a:lnTo>
                    <a:pt x="242" y="9"/>
                  </a:lnTo>
                  <a:lnTo>
                    <a:pt x="242" y="11"/>
                  </a:lnTo>
                  <a:lnTo>
                    <a:pt x="243" y="11"/>
                  </a:lnTo>
                  <a:lnTo>
                    <a:pt x="243" y="8"/>
                  </a:lnTo>
                  <a:lnTo>
                    <a:pt x="243" y="7"/>
                  </a:lnTo>
                  <a:lnTo>
                    <a:pt x="244" y="6"/>
                  </a:lnTo>
                  <a:lnTo>
                    <a:pt x="246" y="5"/>
                  </a:lnTo>
                  <a:lnTo>
                    <a:pt x="246" y="6"/>
                  </a:lnTo>
                  <a:lnTo>
                    <a:pt x="247" y="5"/>
                  </a:lnTo>
                  <a:lnTo>
                    <a:pt x="247" y="6"/>
                  </a:lnTo>
                  <a:lnTo>
                    <a:pt x="247" y="7"/>
                  </a:lnTo>
                  <a:lnTo>
                    <a:pt x="247" y="8"/>
                  </a:lnTo>
                  <a:lnTo>
                    <a:pt x="248" y="8"/>
                  </a:lnTo>
                  <a:lnTo>
                    <a:pt x="248" y="9"/>
                  </a:lnTo>
                  <a:lnTo>
                    <a:pt x="249" y="9"/>
                  </a:lnTo>
                  <a:lnTo>
                    <a:pt x="249" y="11"/>
                  </a:lnTo>
                  <a:lnTo>
                    <a:pt x="249" y="12"/>
                  </a:lnTo>
                  <a:lnTo>
                    <a:pt x="248" y="12"/>
                  </a:lnTo>
                  <a:lnTo>
                    <a:pt x="248" y="13"/>
                  </a:lnTo>
                  <a:lnTo>
                    <a:pt x="247" y="13"/>
                  </a:lnTo>
                  <a:lnTo>
                    <a:pt x="247" y="14"/>
                  </a:lnTo>
                  <a:lnTo>
                    <a:pt x="247" y="15"/>
                  </a:lnTo>
                  <a:lnTo>
                    <a:pt x="248" y="15"/>
                  </a:lnTo>
                  <a:lnTo>
                    <a:pt x="248" y="17"/>
                  </a:lnTo>
                  <a:lnTo>
                    <a:pt x="248" y="15"/>
                  </a:lnTo>
                  <a:lnTo>
                    <a:pt x="249" y="15"/>
                  </a:lnTo>
                  <a:lnTo>
                    <a:pt x="250" y="14"/>
                  </a:lnTo>
                  <a:lnTo>
                    <a:pt x="252" y="14"/>
                  </a:lnTo>
                  <a:lnTo>
                    <a:pt x="253" y="14"/>
                  </a:lnTo>
                  <a:lnTo>
                    <a:pt x="253" y="15"/>
                  </a:lnTo>
                  <a:lnTo>
                    <a:pt x="253" y="18"/>
                  </a:lnTo>
                  <a:lnTo>
                    <a:pt x="254" y="18"/>
                  </a:lnTo>
                  <a:lnTo>
                    <a:pt x="254" y="19"/>
                  </a:lnTo>
                  <a:lnTo>
                    <a:pt x="255" y="20"/>
                  </a:lnTo>
                  <a:lnTo>
                    <a:pt x="255" y="18"/>
                  </a:lnTo>
                  <a:lnTo>
                    <a:pt x="256" y="18"/>
                  </a:lnTo>
                  <a:lnTo>
                    <a:pt x="256" y="17"/>
                  </a:lnTo>
                  <a:lnTo>
                    <a:pt x="255" y="17"/>
                  </a:lnTo>
                  <a:lnTo>
                    <a:pt x="255" y="15"/>
                  </a:lnTo>
                  <a:lnTo>
                    <a:pt x="256" y="15"/>
                  </a:lnTo>
                  <a:lnTo>
                    <a:pt x="255" y="13"/>
                  </a:lnTo>
                  <a:lnTo>
                    <a:pt x="255" y="12"/>
                  </a:lnTo>
                  <a:lnTo>
                    <a:pt x="256" y="12"/>
                  </a:lnTo>
                  <a:lnTo>
                    <a:pt x="256" y="11"/>
                  </a:lnTo>
                  <a:lnTo>
                    <a:pt x="258" y="9"/>
                  </a:lnTo>
                  <a:lnTo>
                    <a:pt x="259" y="9"/>
                  </a:lnTo>
                  <a:lnTo>
                    <a:pt x="260" y="11"/>
                  </a:lnTo>
                  <a:lnTo>
                    <a:pt x="260" y="9"/>
                  </a:lnTo>
                  <a:lnTo>
                    <a:pt x="260" y="8"/>
                  </a:lnTo>
                  <a:lnTo>
                    <a:pt x="260" y="7"/>
                  </a:lnTo>
                  <a:lnTo>
                    <a:pt x="261" y="7"/>
                  </a:lnTo>
                  <a:lnTo>
                    <a:pt x="261" y="6"/>
                  </a:lnTo>
                  <a:lnTo>
                    <a:pt x="261" y="3"/>
                  </a:lnTo>
                  <a:lnTo>
                    <a:pt x="264" y="3"/>
                  </a:lnTo>
                  <a:lnTo>
                    <a:pt x="264" y="5"/>
                  </a:lnTo>
                  <a:lnTo>
                    <a:pt x="264" y="6"/>
                  </a:lnTo>
                  <a:lnTo>
                    <a:pt x="265" y="7"/>
                  </a:lnTo>
                  <a:lnTo>
                    <a:pt x="265" y="6"/>
                  </a:lnTo>
                  <a:lnTo>
                    <a:pt x="266" y="5"/>
                  </a:lnTo>
                  <a:lnTo>
                    <a:pt x="266" y="3"/>
                  </a:lnTo>
                  <a:lnTo>
                    <a:pt x="267" y="2"/>
                  </a:lnTo>
                  <a:lnTo>
                    <a:pt x="267" y="0"/>
                  </a:lnTo>
                  <a:lnTo>
                    <a:pt x="268" y="0"/>
                  </a:lnTo>
                  <a:lnTo>
                    <a:pt x="271" y="0"/>
                  </a:lnTo>
                  <a:lnTo>
                    <a:pt x="271" y="1"/>
                  </a:lnTo>
                  <a:lnTo>
                    <a:pt x="271" y="2"/>
                  </a:lnTo>
                  <a:lnTo>
                    <a:pt x="270" y="3"/>
                  </a:lnTo>
                  <a:lnTo>
                    <a:pt x="270" y="5"/>
                  </a:lnTo>
                  <a:lnTo>
                    <a:pt x="271" y="6"/>
                  </a:lnTo>
                  <a:lnTo>
                    <a:pt x="272" y="6"/>
                  </a:lnTo>
                  <a:lnTo>
                    <a:pt x="272" y="7"/>
                  </a:lnTo>
                  <a:lnTo>
                    <a:pt x="271" y="8"/>
                  </a:lnTo>
                  <a:lnTo>
                    <a:pt x="271" y="9"/>
                  </a:lnTo>
                  <a:lnTo>
                    <a:pt x="270" y="11"/>
                  </a:lnTo>
                  <a:lnTo>
                    <a:pt x="271" y="11"/>
                  </a:lnTo>
                  <a:lnTo>
                    <a:pt x="272" y="11"/>
                  </a:lnTo>
                  <a:lnTo>
                    <a:pt x="272" y="12"/>
                  </a:lnTo>
                  <a:lnTo>
                    <a:pt x="272" y="13"/>
                  </a:lnTo>
                  <a:lnTo>
                    <a:pt x="272" y="14"/>
                  </a:lnTo>
                  <a:lnTo>
                    <a:pt x="272" y="15"/>
                  </a:lnTo>
                  <a:lnTo>
                    <a:pt x="271" y="15"/>
                  </a:lnTo>
                  <a:lnTo>
                    <a:pt x="271" y="17"/>
                  </a:lnTo>
                  <a:lnTo>
                    <a:pt x="271" y="18"/>
                  </a:lnTo>
                  <a:lnTo>
                    <a:pt x="270" y="18"/>
                  </a:lnTo>
                  <a:lnTo>
                    <a:pt x="271" y="18"/>
                  </a:lnTo>
                  <a:lnTo>
                    <a:pt x="271" y="19"/>
                  </a:lnTo>
                  <a:lnTo>
                    <a:pt x="271" y="20"/>
                  </a:lnTo>
                  <a:lnTo>
                    <a:pt x="271" y="21"/>
                  </a:lnTo>
                  <a:lnTo>
                    <a:pt x="270" y="23"/>
                  </a:lnTo>
                  <a:lnTo>
                    <a:pt x="270" y="24"/>
                  </a:lnTo>
                  <a:lnTo>
                    <a:pt x="270" y="25"/>
                  </a:lnTo>
                  <a:lnTo>
                    <a:pt x="270" y="26"/>
                  </a:lnTo>
                  <a:lnTo>
                    <a:pt x="270" y="27"/>
                  </a:lnTo>
                  <a:lnTo>
                    <a:pt x="270" y="26"/>
                  </a:lnTo>
                  <a:lnTo>
                    <a:pt x="271" y="25"/>
                  </a:lnTo>
                  <a:lnTo>
                    <a:pt x="272" y="25"/>
                  </a:lnTo>
                  <a:lnTo>
                    <a:pt x="272" y="26"/>
                  </a:lnTo>
                  <a:lnTo>
                    <a:pt x="273" y="26"/>
                  </a:lnTo>
                  <a:lnTo>
                    <a:pt x="274" y="25"/>
                  </a:lnTo>
                  <a:lnTo>
                    <a:pt x="276" y="25"/>
                  </a:lnTo>
                  <a:lnTo>
                    <a:pt x="276" y="24"/>
                  </a:lnTo>
                  <a:lnTo>
                    <a:pt x="277" y="24"/>
                  </a:lnTo>
                  <a:lnTo>
                    <a:pt x="278" y="24"/>
                  </a:lnTo>
                  <a:lnTo>
                    <a:pt x="278" y="25"/>
                  </a:lnTo>
                  <a:lnTo>
                    <a:pt x="278" y="26"/>
                  </a:lnTo>
                  <a:lnTo>
                    <a:pt x="278" y="27"/>
                  </a:lnTo>
                  <a:lnTo>
                    <a:pt x="277" y="29"/>
                  </a:lnTo>
                  <a:lnTo>
                    <a:pt x="277" y="30"/>
                  </a:lnTo>
                  <a:lnTo>
                    <a:pt x="277" y="31"/>
                  </a:lnTo>
                  <a:lnTo>
                    <a:pt x="277" y="32"/>
                  </a:lnTo>
                  <a:lnTo>
                    <a:pt x="277" y="33"/>
                  </a:lnTo>
                  <a:lnTo>
                    <a:pt x="277" y="35"/>
                  </a:lnTo>
                  <a:lnTo>
                    <a:pt x="278" y="35"/>
                  </a:lnTo>
                  <a:lnTo>
                    <a:pt x="278" y="33"/>
                  </a:lnTo>
                  <a:lnTo>
                    <a:pt x="279" y="33"/>
                  </a:lnTo>
                  <a:lnTo>
                    <a:pt x="279" y="32"/>
                  </a:lnTo>
                  <a:lnTo>
                    <a:pt x="279" y="31"/>
                  </a:lnTo>
                  <a:lnTo>
                    <a:pt x="279" y="30"/>
                  </a:lnTo>
                  <a:lnTo>
                    <a:pt x="281" y="29"/>
                  </a:lnTo>
                  <a:lnTo>
                    <a:pt x="283" y="30"/>
                  </a:lnTo>
                  <a:lnTo>
                    <a:pt x="284" y="30"/>
                  </a:lnTo>
                  <a:lnTo>
                    <a:pt x="285" y="30"/>
                  </a:lnTo>
                  <a:lnTo>
                    <a:pt x="284" y="31"/>
                  </a:lnTo>
                  <a:lnTo>
                    <a:pt x="284" y="32"/>
                  </a:lnTo>
                  <a:lnTo>
                    <a:pt x="285" y="31"/>
                  </a:lnTo>
                  <a:lnTo>
                    <a:pt x="288" y="31"/>
                  </a:lnTo>
                  <a:lnTo>
                    <a:pt x="288" y="30"/>
                  </a:lnTo>
                  <a:lnTo>
                    <a:pt x="287" y="30"/>
                  </a:lnTo>
                  <a:lnTo>
                    <a:pt x="287" y="29"/>
                  </a:lnTo>
                  <a:lnTo>
                    <a:pt x="288" y="29"/>
                  </a:lnTo>
                  <a:lnTo>
                    <a:pt x="288" y="27"/>
                  </a:lnTo>
                  <a:lnTo>
                    <a:pt x="287" y="27"/>
                  </a:lnTo>
                  <a:lnTo>
                    <a:pt x="287" y="26"/>
                  </a:lnTo>
                  <a:lnTo>
                    <a:pt x="287" y="24"/>
                  </a:lnTo>
                  <a:lnTo>
                    <a:pt x="287" y="23"/>
                  </a:lnTo>
                  <a:lnTo>
                    <a:pt x="288" y="23"/>
                  </a:lnTo>
                  <a:lnTo>
                    <a:pt x="288" y="24"/>
                  </a:lnTo>
                  <a:lnTo>
                    <a:pt x="289" y="25"/>
                  </a:lnTo>
                  <a:lnTo>
                    <a:pt x="290" y="25"/>
                  </a:lnTo>
                  <a:lnTo>
                    <a:pt x="290" y="26"/>
                  </a:lnTo>
                  <a:lnTo>
                    <a:pt x="291" y="26"/>
                  </a:lnTo>
                  <a:lnTo>
                    <a:pt x="291" y="25"/>
                  </a:lnTo>
                  <a:lnTo>
                    <a:pt x="291" y="24"/>
                  </a:lnTo>
                  <a:lnTo>
                    <a:pt x="293" y="24"/>
                  </a:lnTo>
                  <a:lnTo>
                    <a:pt x="293" y="23"/>
                  </a:lnTo>
                  <a:lnTo>
                    <a:pt x="293" y="21"/>
                  </a:lnTo>
                  <a:lnTo>
                    <a:pt x="294" y="20"/>
                  </a:lnTo>
                  <a:lnTo>
                    <a:pt x="295" y="20"/>
                  </a:lnTo>
                  <a:lnTo>
                    <a:pt x="296" y="19"/>
                  </a:lnTo>
                  <a:lnTo>
                    <a:pt x="295" y="18"/>
                  </a:lnTo>
                  <a:lnTo>
                    <a:pt x="294" y="18"/>
                  </a:lnTo>
                  <a:lnTo>
                    <a:pt x="293" y="17"/>
                  </a:lnTo>
                  <a:lnTo>
                    <a:pt x="293" y="15"/>
                  </a:lnTo>
                  <a:lnTo>
                    <a:pt x="294" y="15"/>
                  </a:lnTo>
                  <a:lnTo>
                    <a:pt x="294" y="14"/>
                  </a:lnTo>
                  <a:lnTo>
                    <a:pt x="295" y="14"/>
                  </a:lnTo>
                  <a:lnTo>
                    <a:pt x="296" y="15"/>
                  </a:lnTo>
                  <a:lnTo>
                    <a:pt x="296" y="14"/>
                  </a:lnTo>
                  <a:lnTo>
                    <a:pt x="296" y="13"/>
                  </a:lnTo>
                  <a:lnTo>
                    <a:pt x="296" y="12"/>
                  </a:lnTo>
                  <a:lnTo>
                    <a:pt x="296" y="11"/>
                  </a:lnTo>
                  <a:lnTo>
                    <a:pt x="296" y="9"/>
                  </a:lnTo>
                  <a:lnTo>
                    <a:pt x="296" y="8"/>
                  </a:lnTo>
                  <a:lnTo>
                    <a:pt x="297" y="8"/>
                  </a:lnTo>
                  <a:lnTo>
                    <a:pt x="299" y="8"/>
                  </a:lnTo>
                  <a:lnTo>
                    <a:pt x="299" y="7"/>
                  </a:lnTo>
                  <a:lnTo>
                    <a:pt x="300" y="7"/>
                  </a:lnTo>
                  <a:lnTo>
                    <a:pt x="300" y="6"/>
                  </a:lnTo>
                  <a:lnTo>
                    <a:pt x="300" y="5"/>
                  </a:lnTo>
                  <a:lnTo>
                    <a:pt x="301" y="5"/>
                  </a:lnTo>
                  <a:lnTo>
                    <a:pt x="301" y="6"/>
                  </a:lnTo>
                  <a:lnTo>
                    <a:pt x="302" y="6"/>
                  </a:lnTo>
                  <a:lnTo>
                    <a:pt x="303" y="6"/>
                  </a:lnTo>
                  <a:lnTo>
                    <a:pt x="303" y="7"/>
                  </a:lnTo>
                  <a:lnTo>
                    <a:pt x="302" y="7"/>
                  </a:lnTo>
                  <a:lnTo>
                    <a:pt x="302" y="8"/>
                  </a:lnTo>
                  <a:lnTo>
                    <a:pt x="302" y="9"/>
                  </a:lnTo>
                  <a:lnTo>
                    <a:pt x="302" y="11"/>
                  </a:lnTo>
                  <a:lnTo>
                    <a:pt x="302" y="12"/>
                  </a:lnTo>
                  <a:lnTo>
                    <a:pt x="302" y="13"/>
                  </a:lnTo>
                  <a:lnTo>
                    <a:pt x="302" y="14"/>
                  </a:lnTo>
                  <a:lnTo>
                    <a:pt x="302" y="15"/>
                  </a:lnTo>
                  <a:lnTo>
                    <a:pt x="302" y="14"/>
                  </a:lnTo>
                  <a:lnTo>
                    <a:pt x="303" y="14"/>
                  </a:lnTo>
                  <a:lnTo>
                    <a:pt x="305" y="14"/>
                  </a:lnTo>
                  <a:lnTo>
                    <a:pt x="305" y="13"/>
                  </a:lnTo>
                  <a:lnTo>
                    <a:pt x="305" y="14"/>
                  </a:lnTo>
                  <a:lnTo>
                    <a:pt x="306" y="14"/>
                  </a:lnTo>
                  <a:lnTo>
                    <a:pt x="306" y="15"/>
                  </a:lnTo>
                  <a:lnTo>
                    <a:pt x="306" y="17"/>
                  </a:lnTo>
                  <a:lnTo>
                    <a:pt x="305" y="17"/>
                  </a:lnTo>
                  <a:lnTo>
                    <a:pt x="303" y="18"/>
                  </a:lnTo>
                  <a:lnTo>
                    <a:pt x="302" y="18"/>
                  </a:lnTo>
                  <a:lnTo>
                    <a:pt x="302" y="19"/>
                  </a:lnTo>
                  <a:lnTo>
                    <a:pt x="301" y="19"/>
                  </a:lnTo>
                  <a:lnTo>
                    <a:pt x="301" y="20"/>
                  </a:lnTo>
                  <a:lnTo>
                    <a:pt x="300" y="21"/>
                  </a:lnTo>
                  <a:lnTo>
                    <a:pt x="299" y="21"/>
                  </a:lnTo>
                  <a:lnTo>
                    <a:pt x="299" y="23"/>
                  </a:lnTo>
                  <a:lnTo>
                    <a:pt x="300" y="23"/>
                  </a:lnTo>
                  <a:lnTo>
                    <a:pt x="300" y="24"/>
                  </a:lnTo>
                  <a:lnTo>
                    <a:pt x="300" y="25"/>
                  </a:lnTo>
                  <a:lnTo>
                    <a:pt x="299" y="25"/>
                  </a:lnTo>
                  <a:lnTo>
                    <a:pt x="299" y="26"/>
                  </a:lnTo>
                  <a:lnTo>
                    <a:pt x="299" y="27"/>
                  </a:lnTo>
                  <a:lnTo>
                    <a:pt x="300" y="27"/>
                  </a:lnTo>
                  <a:lnTo>
                    <a:pt x="300" y="29"/>
                  </a:lnTo>
                  <a:lnTo>
                    <a:pt x="300" y="27"/>
                  </a:lnTo>
                  <a:lnTo>
                    <a:pt x="301" y="26"/>
                  </a:lnTo>
                  <a:lnTo>
                    <a:pt x="300" y="26"/>
                  </a:lnTo>
                  <a:lnTo>
                    <a:pt x="301" y="26"/>
                  </a:lnTo>
                  <a:lnTo>
                    <a:pt x="302" y="26"/>
                  </a:lnTo>
                  <a:lnTo>
                    <a:pt x="302" y="25"/>
                  </a:lnTo>
                  <a:lnTo>
                    <a:pt x="302" y="26"/>
                  </a:lnTo>
                  <a:lnTo>
                    <a:pt x="303" y="26"/>
                  </a:lnTo>
                  <a:lnTo>
                    <a:pt x="305" y="27"/>
                  </a:lnTo>
                  <a:lnTo>
                    <a:pt x="306" y="27"/>
                  </a:lnTo>
                  <a:lnTo>
                    <a:pt x="306" y="26"/>
                  </a:lnTo>
                  <a:lnTo>
                    <a:pt x="306" y="25"/>
                  </a:lnTo>
                  <a:lnTo>
                    <a:pt x="307" y="25"/>
                  </a:lnTo>
                  <a:lnTo>
                    <a:pt x="308" y="25"/>
                  </a:lnTo>
                  <a:lnTo>
                    <a:pt x="308" y="24"/>
                  </a:lnTo>
                  <a:lnTo>
                    <a:pt x="308" y="21"/>
                  </a:lnTo>
                  <a:lnTo>
                    <a:pt x="308" y="20"/>
                  </a:lnTo>
                  <a:lnTo>
                    <a:pt x="308" y="19"/>
                  </a:lnTo>
                  <a:lnTo>
                    <a:pt x="307" y="18"/>
                  </a:lnTo>
                  <a:lnTo>
                    <a:pt x="308" y="18"/>
                  </a:lnTo>
                  <a:lnTo>
                    <a:pt x="308" y="17"/>
                  </a:lnTo>
                  <a:lnTo>
                    <a:pt x="309" y="17"/>
                  </a:lnTo>
                  <a:lnTo>
                    <a:pt x="309" y="15"/>
                  </a:lnTo>
                  <a:lnTo>
                    <a:pt x="311" y="14"/>
                  </a:lnTo>
                  <a:lnTo>
                    <a:pt x="311" y="13"/>
                  </a:lnTo>
                  <a:lnTo>
                    <a:pt x="312" y="13"/>
                  </a:lnTo>
                  <a:lnTo>
                    <a:pt x="312" y="14"/>
                  </a:lnTo>
                  <a:lnTo>
                    <a:pt x="312" y="15"/>
                  </a:lnTo>
                  <a:lnTo>
                    <a:pt x="313" y="18"/>
                  </a:lnTo>
                  <a:lnTo>
                    <a:pt x="313" y="17"/>
                  </a:lnTo>
                  <a:lnTo>
                    <a:pt x="314" y="15"/>
                  </a:lnTo>
                  <a:lnTo>
                    <a:pt x="314" y="14"/>
                  </a:lnTo>
                  <a:lnTo>
                    <a:pt x="314" y="13"/>
                  </a:lnTo>
                  <a:lnTo>
                    <a:pt x="315" y="12"/>
                  </a:lnTo>
                  <a:lnTo>
                    <a:pt x="315" y="11"/>
                  </a:lnTo>
                  <a:lnTo>
                    <a:pt x="317" y="11"/>
                  </a:lnTo>
                  <a:lnTo>
                    <a:pt x="317" y="12"/>
                  </a:lnTo>
                  <a:lnTo>
                    <a:pt x="318" y="12"/>
                  </a:lnTo>
                  <a:lnTo>
                    <a:pt x="318" y="11"/>
                  </a:lnTo>
                  <a:lnTo>
                    <a:pt x="318" y="9"/>
                  </a:lnTo>
                  <a:lnTo>
                    <a:pt x="318" y="8"/>
                  </a:lnTo>
                  <a:lnTo>
                    <a:pt x="319" y="8"/>
                  </a:lnTo>
                  <a:lnTo>
                    <a:pt x="319" y="7"/>
                  </a:lnTo>
                  <a:lnTo>
                    <a:pt x="319" y="8"/>
                  </a:lnTo>
                  <a:lnTo>
                    <a:pt x="320" y="8"/>
                  </a:lnTo>
                  <a:lnTo>
                    <a:pt x="321" y="8"/>
                  </a:lnTo>
                  <a:lnTo>
                    <a:pt x="321" y="9"/>
                  </a:lnTo>
                  <a:lnTo>
                    <a:pt x="320" y="11"/>
                  </a:lnTo>
                  <a:lnTo>
                    <a:pt x="320" y="12"/>
                  </a:lnTo>
                  <a:lnTo>
                    <a:pt x="320" y="13"/>
                  </a:lnTo>
                  <a:lnTo>
                    <a:pt x="321" y="14"/>
                  </a:lnTo>
                  <a:lnTo>
                    <a:pt x="321" y="15"/>
                  </a:lnTo>
                  <a:lnTo>
                    <a:pt x="321" y="17"/>
                  </a:lnTo>
                  <a:lnTo>
                    <a:pt x="320" y="17"/>
                  </a:lnTo>
                  <a:lnTo>
                    <a:pt x="320" y="18"/>
                  </a:lnTo>
                  <a:lnTo>
                    <a:pt x="319" y="18"/>
                  </a:lnTo>
                  <a:lnTo>
                    <a:pt x="319" y="19"/>
                  </a:lnTo>
                  <a:lnTo>
                    <a:pt x="319" y="20"/>
                  </a:lnTo>
                  <a:lnTo>
                    <a:pt x="318" y="20"/>
                  </a:lnTo>
                  <a:lnTo>
                    <a:pt x="317" y="20"/>
                  </a:lnTo>
                  <a:lnTo>
                    <a:pt x="317" y="21"/>
                  </a:lnTo>
                  <a:lnTo>
                    <a:pt x="315" y="21"/>
                  </a:lnTo>
                  <a:lnTo>
                    <a:pt x="314" y="23"/>
                  </a:lnTo>
                  <a:lnTo>
                    <a:pt x="315" y="23"/>
                  </a:lnTo>
                  <a:lnTo>
                    <a:pt x="317" y="23"/>
                  </a:lnTo>
                  <a:lnTo>
                    <a:pt x="317" y="24"/>
                  </a:lnTo>
                  <a:lnTo>
                    <a:pt x="318" y="23"/>
                  </a:lnTo>
                  <a:lnTo>
                    <a:pt x="319" y="23"/>
                  </a:lnTo>
                  <a:lnTo>
                    <a:pt x="320" y="23"/>
                  </a:lnTo>
                  <a:lnTo>
                    <a:pt x="320" y="24"/>
                  </a:lnTo>
                  <a:lnTo>
                    <a:pt x="320" y="25"/>
                  </a:lnTo>
                  <a:lnTo>
                    <a:pt x="321" y="26"/>
                  </a:lnTo>
                  <a:lnTo>
                    <a:pt x="321" y="27"/>
                  </a:lnTo>
                  <a:lnTo>
                    <a:pt x="323" y="27"/>
                  </a:lnTo>
                  <a:lnTo>
                    <a:pt x="323" y="26"/>
                  </a:lnTo>
                  <a:lnTo>
                    <a:pt x="324" y="26"/>
                  </a:lnTo>
                  <a:lnTo>
                    <a:pt x="323" y="25"/>
                  </a:lnTo>
                  <a:lnTo>
                    <a:pt x="324" y="23"/>
                  </a:lnTo>
                  <a:lnTo>
                    <a:pt x="325" y="23"/>
                  </a:lnTo>
                  <a:lnTo>
                    <a:pt x="326" y="24"/>
                  </a:lnTo>
                  <a:lnTo>
                    <a:pt x="326" y="23"/>
                  </a:lnTo>
                  <a:lnTo>
                    <a:pt x="327" y="23"/>
                  </a:lnTo>
                  <a:lnTo>
                    <a:pt x="329" y="21"/>
                  </a:lnTo>
                  <a:lnTo>
                    <a:pt x="330" y="20"/>
                  </a:lnTo>
                  <a:lnTo>
                    <a:pt x="331" y="19"/>
                  </a:lnTo>
                  <a:lnTo>
                    <a:pt x="332" y="21"/>
                  </a:lnTo>
                  <a:lnTo>
                    <a:pt x="332" y="23"/>
                  </a:lnTo>
                  <a:lnTo>
                    <a:pt x="331" y="24"/>
                  </a:lnTo>
                  <a:lnTo>
                    <a:pt x="330" y="25"/>
                  </a:lnTo>
                  <a:lnTo>
                    <a:pt x="330" y="26"/>
                  </a:lnTo>
                  <a:lnTo>
                    <a:pt x="329" y="27"/>
                  </a:lnTo>
                  <a:lnTo>
                    <a:pt x="329" y="30"/>
                  </a:lnTo>
                  <a:lnTo>
                    <a:pt x="327" y="30"/>
                  </a:lnTo>
                  <a:lnTo>
                    <a:pt x="327" y="31"/>
                  </a:lnTo>
                  <a:lnTo>
                    <a:pt x="326" y="37"/>
                  </a:lnTo>
                  <a:lnTo>
                    <a:pt x="326" y="38"/>
                  </a:lnTo>
                  <a:lnTo>
                    <a:pt x="327" y="38"/>
                  </a:lnTo>
                  <a:lnTo>
                    <a:pt x="327" y="39"/>
                  </a:lnTo>
                  <a:lnTo>
                    <a:pt x="327" y="38"/>
                  </a:lnTo>
                  <a:lnTo>
                    <a:pt x="329" y="38"/>
                  </a:lnTo>
                  <a:lnTo>
                    <a:pt x="330" y="38"/>
                  </a:lnTo>
                  <a:lnTo>
                    <a:pt x="329" y="39"/>
                  </a:lnTo>
                  <a:lnTo>
                    <a:pt x="329" y="41"/>
                  </a:lnTo>
                  <a:lnTo>
                    <a:pt x="327" y="41"/>
                  </a:lnTo>
                  <a:lnTo>
                    <a:pt x="327" y="42"/>
                  </a:lnTo>
                  <a:lnTo>
                    <a:pt x="326" y="43"/>
                  </a:lnTo>
                  <a:lnTo>
                    <a:pt x="327" y="43"/>
                  </a:lnTo>
                  <a:lnTo>
                    <a:pt x="327" y="44"/>
                  </a:lnTo>
                  <a:lnTo>
                    <a:pt x="327" y="45"/>
                  </a:lnTo>
                  <a:lnTo>
                    <a:pt x="327" y="47"/>
                  </a:lnTo>
                  <a:lnTo>
                    <a:pt x="329" y="48"/>
                  </a:lnTo>
                  <a:lnTo>
                    <a:pt x="330" y="48"/>
                  </a:lnTo>
                  <a:lnTo>
                    <a:pt x="330" y="47"/>
                  </a:lnTo>
                  <a:lnTo>
                    <a:pt x="331" y="47"/>
                  </a:lnTo>
                  <a:lnTo>
                    <a:pt x="331" y="45"/>
                  </a:lnTo>
                  <a:lnTo>
                    <a:pt x="332" y="45"/>
                  </a:lnTo>
                  <a:lnTo>
                    <a:pt x="332" y="43"/>
                  </a:lnTo>
                  <a:lnTo>
                    <a:pt x="333" y="43"/>
                  </a:lnTo>
                  <a:lnTo>
                    <a:pt x="333" y="42"/>
                  </a:lnTo>
                  <a:lnTo>
                    <a:pt x="333" y="41"/>
                  </a:lnTo>
                  <a:lnTo>
                    <a:pt x="332" y="38"/>
                  </a:lnTo>
                  <a:lnTo>
                    <a:pt x="332" y="37"/>
                  </a:lnTo>
                  <a:lnTo>
                    <a:pt x="333" y="37"/>
                  </a:lnTo>
                  <a:lnTo>
                    <a:pt x="333" y="36"/>
                  </a:lnTo>
                  <a:lnTo>
                    <a:pt x="333" y="35"/>
                  </a:lnTo>
                  <a:lnTo>
                    <a:pt x="332" y="35"/>
                  </a:lnTo>
                  <a:lnTo>
                    <a:pt x="333" y="33"/>
                  </a:lnTo>
                  <a:lnTo>
                    <a:pt x="335" y="33"/>
                  </a:lnTo>
                  <a:lnTo>
                    <a:pt x="336" y="33"/>
                  </a:lnTo>
                  <a:lnTo>
                    <a:pt x="336" y="32"/>
                  </a:lnTo>
                  <a:lnTo>
                    <a:pt x="336" y="31"/>
                  </a:lnTo>
                  <a:lnTo>
                    <a:pt x="336" y="30"/>
                  </a:lnTo>
                  <a:lnTo>
                    <a:pt x="337" y="30"/>
                  </a:lnTo>
                  <a:lnTo>
                    <a:pt x="338" y="30"/>
                  </a:lnTo>
                  <a:lnTo>
                    <a:pt x="340" y="30"/>
                  </a:lnTo>
                  <a:lnTo>
                    <a:pt x="340" y="31"/>
                  </a:lnTo>
                  <a:lnTo>
                    <a:pt x="340" y="32"/>
                  </a:lnTo>
                  <a:lnTo>
                    <a:pt x="340" y="35"/>
                  </a:lnTo>
                  <a:lnTo>
                    <a:pt x="338" y="35"/>
                  </a:lnTo>
                  <a:lnTo>
                    <a:pt x="338" y="36"/>
                  </a:lnTo>
                  <a:lnTo>
                    <a:pt x="338" y="37"/>
                  </a:lnTo>
                  <a:lnTo>
                    <a:pt x="340" y="38"/>
                  </a:lnTo>
                  <a:lnTo>
                    <a:pt x="340" y="37"/>
                  </a:lnTo>
                  <a:lnTo>
                    <a:pt x="341" y="37"/>
                  </a:lnTo>
                  <a:lnTo>
                    <a:pt x="341" y="38"/>
                  </a:lnTo>
                  <a:lnTo>
                    <a:pt x="342" y="38"/>
                  </a:lnTo>
                  <a:lnTo>
                    <a:pt x="341" y="38"/>
                  </a:lnTo>
                  <a:lnTo>
                    <a:pt x="341" y="39"/>
                  </a:lnTo>
                  <a:lnTo>
                    <a:pt x="340" y="39"/>
                  </a:lnTo>
                  <a:lnTo>
                    <a:pt x="340" y="41"/>
                  </a:lnTo>
                  <a:lnTo>
                    <a:pt x="338" y="41"/>
                  </a:lnTo>
                  <a:lnTo>
                    <a:pt x="338" y="42"/>
                  </a:lnTo>
                  <a:lnTo>
                    <a:pt x="337" y="42"/>
                  </a:lnTo>
                  <a:lnTo>
                    <a:pt x="337" y="43"/>
                  </a:lnTo>
                  <a:lnTo>
                    <a:pt x="336" y="43"/>
                  </a:lnTo>
                  <a:lnTo>
                    <a:pt x="336" y="44"/>
                  </a:lnTo>
                  <a:lnTo>
                    <a:pt x="337" y="44"/>
                  </a:lnTo>
                  <a:lnTo>
                    <a:pt x="336" y="44"/>
                  </a:lnTo>
                  <a:lnTo>
                    <a:pt x="337" y="45"/>
                  </a:lnTo>
                  <a:lnTo>
                    <a:pt x="338" y="47"/>
                  </a:lnTo>
                  <a:lnTo>
                    <a:pt x="340" y="47"/>
                  </a:lnTo>
                  <a:lnTo>
                    <a:pt x="341" y="47"/>
                  </a:lnTo>
                  <a:lnTo>
                    <a:pt x="341" y="45"/>
                  </a:lnTo>
                  <a:lnTo>
                    <a:pt x="341" y="44"/>
                  </a:lnTo>
                  <a:lnTo>
                    <a:pt x="342" y="41"/>
                  </a:lnTo>
                  <a:lnTo>
                    <a:pt x="343" y="39"/>
                  </a:lnTo>
                  <a:lnTo>
                    <a:pt x="343" y="41"/>
                  </a:lnTo>
                  <a:lnTo>
                    <a:pt x="344" y="41"/>
                  </a:lnTo>
                  <a:lnTo>
                    <a:pt x="346" y="41"/>
                  </a:lnTo>
                  <a:lnTo>
                    <a:pt x="347" y="41"/>
                  </a:lnTo>
                  <a:lnTo>
                    <a:pt x="348" y="41"/>
                  </a:lnTo>
                  <a:lnTo>
                    <a:pt x="347" y="41"/>
                  </a:lnTo>
                  <a:lnTo>
                    <a:pt x="348" y="39"/>
                  </a:lnTo>
                  <a:lnTo>
                    <a:pt x="347" y="39"/>
                  </a:lnTo>
                  <a:lnTo>
                    <a:pt x="344" y="39"/>
                  </a:lnTo>
                  <a:lnTo>
                    <a:pt x="346" y="39"/>
                  </a:lnTo>
                  <a:lnTo>
                    <a:pt x="344" y="39"/>
                  </a:lnTo>
                  <a:lnTo>
                    <a:pt x="344" y="38"/>
                  </a:lnTo>
                  <a:lnTo>
                    <a:pt x="344" y="37"/>
                  </a:lnTo>
                  <a:lnTo>
                    <a:pt x="343" y="37"/>
                  </a:lnTo>
                  <a:lnTo>
                    <a:pt x="343" y="36"/>
                  </a:lnTo>
                  <a:lnTo>
                    <a:pt x="344" y="35"/>
                  </a:lnTo>
                  <a:lnTo>
                    <a:pt x="344" y="33"/>
                  </a:lnTo>
                  <a:lnTo>
                    <a:pt x="344" y="32"/>
                  </a:lnTo>
                  <a:lnTo>
                    <a:pt x="344" y="31"/>
                  </a:lnTo>
                  <a:lnTo>
                    <a:pt x="346" y="31"/>
                  </a:lnTo>
                  <a:lnTo>
                    <a:pt x="347" y="31"/>
                  </a:lnTo>
                  <a:lnTo>
                    <a:pt x="347" y="32"/>
                  </a:lnTo>
                  <a:lnTo>
                    <a:pt x="348" y="32"/>
                  </a:lnTo>
                  <a:lnTo>
                    <a:pt x="348" y="31"/>
                  </a:lnTo>
                  <a:lnTo>
                    <a:pt x="349" y="31"/>
                  </a:lnTo>
                  <a:lnTo>
                    <a:pt x="349" y="30"/>
                  </a:lnTo>
                  <a:lnTo>
                    <a:pt x="349" y="29"/>
                  </a:lnTo>
                  <a:lnTo>
                    <a:pt x="349" y="27"/>
                  </a:lnTo>
                  <a:lnTo>
                    <a:pt x="350" y="26"/>
                  </a:lnTo>
                  <a:lnTo>
                    <a:pt x="352" y="26"/>
                  </a:lnTo>
                  <a:lnTo>
                    <a:pt x="352" y="25"/>
                  </a:lnTo>
                  <a:lnTo>
                    <a:pt x="352" y="24"/>
                  </a:lnTo>
                  <a:lnTo>
                    <a:pt x="353" y="24"/>
                  </a:lnTo>
                  <a:lnTo>
                    <a:pt x="353" y="23"/>
                  </a:lnTo>
                  <a:lnTo>
                    <a:pt x="354" y="23"/>
                  </a:lnTo>
                  <a:lnTo>
                    <a:pt x="354" y="24"/>
                  </a:lnTo>
                  <a:lnTo>
                    <a:pt x="355" y="24"/>
                  </a:lnTo>
                  <a:lnTo>
                    <a:pt x="356" y="24"/>
                  </a:lnTo>
                  <a:lnTo>
                    <a:pt x="356" y="25"/>
                  </a:lnTo>
                  <a:lnTo>
                    <a:pt x="356" y="26"/>
                  </a:lnTo>
                  <a:lnTo>
                    <a:pt x="356" y="27"/>
                  </a:lnTo>
                  <a:lnTo>
                    <a:pt x="356" y="29"/>
                  </a:lnTo>
                  <a:lnTo>
                    <a:pt x="356" y="30"/>
                  </a:lnTo>
                  <a:lnTo>
                    <a:pt x="358" y="30"/>
                  </a:lnTo>
                  <a:lnTo>
                    <a:pt x="358" y="31"/>
                  </a:lnTo>
                  <a:lnTo>
                    <a:pt x="358" y="32"/>
                  </a:lnTo>
                  <a:lnTo>
                    <a:pt x="356" y="33"/>
                  </a:lnTo>
                  <a:lnTo>
                    <a:pt x="355" y="33"/>
                  </a:lnTo>
                  <a:lnTo>
                    <a:pt x="355" y="35"/>
                  </a:lnTo>
                  <a:lnTo>
                    <a:pt x="356" y="35"/>
                  </a:lnTo>
                  <a:lnTo>
                    <a:pt x="356" y="36"/>
                  </a:lnTo>
                  <a:lnTo>
                    <a:pt x="358" y="36"/>
                  </a:lnTo>
                  <a:lnTo>
                    <a:pt x="358" y="37"/>
                  </a:lnTo>
                  <a:lnTo>
                    <a:pt x="359" y="37"/>
                  </a:lnTo>
                  <a:lnTo>
                    <a:pt x="359" y="38"/>
                  </a:lnTo>
                  <a:lnTo>
                    <a:pt x="358" y="39"/>
                  </a:lnTo>
                  <a:lnTo>
                    <a:pt x="358" y="41"/>
                  </a:lnTo>
                  <a:lnTo>
                    <a:pt x="358" y="42"/>
                  </a:lnTo>
                  <a:lnTo>
                    <a:pt x="356" y="42"/>
                  </a:lnTo>
                  <a:lnTo>
                    <a:pt x="356" y="43"/>
                  </a:lnTo>
                  <a:lnTo>
                    <a:pt x="355" y="43"/>
                  </a:lnTo>
                  <a:lnTo>
                    <a:pt x="355" y="42"/>
                  </a:lnTo>
                  <a:lnTo>
                    <a:pt x="355" y="43"/>
                  </a:lnTo>
                  <a:lnTo>
                    <a:pt x="355" y="44"/>
                  </a:lnTo>
                  <a:lnTo>
                    <a:pt x="356" y="44"/>
                  </a:lnTo>
                  <a:lnTo>
                    <a:pt x="358" y="43"/>
                  </a:lnTo>
                  <a:lnTo>
                    <a:pt x="359" y="42"/>
                  </a:lnTo>
                  <a:lnTo>
                    <a:pt x="359" y="41"/>
                  </a:lnTo>
                  <a:lnTo>
                    <a:pt x="360" y="39"/>
                  </a:lnTo>
                  <a:lnTo>
                    <a:pt x="359" y="39"/>
                  </a:lnTo>
                  <a:lnTo>
                    <a:pt x="360" y="38"/>
                  </a:lnTo>
                  <a:lnTo>
                    <a:pt x="361" y="38"/>
                  </a:lnTo>
                  <a:lnTo>
                    <a:pt x="362" y="38"/>
                  </a:lnTo>
                  <a:lnTo>
                    <a:pt x="362" y="37"/>
                  </a:lnTo>
                  <a:lnTo>
                    <a:pt x="364" y="37"/>
                  </a:lnTo>
                  <a:lnTo>
                    <a:pt x="362" y="36"/>
                  </a:lnTo>
                  <a:lnTo>
                    <a:pt x="362" y="35"/>
                  </a:lnTo>
                  <a:lnTo>
                    <a:pt x="361" y="35"/>
                  </a:lnTo>
                  <a:lnTo>
                    <a:pt x="362" y="33"/>
                  </a:lnTo>
                  <a:lnTo>
                    <a:pt x="361" y="33"/>
                  </a:lnTo>
                  <a:lnTo>
                    <a:pt x="362" y="32"/>
                  </a:lnTo>
                  <a:lnTo>
                    <a:pt x="362" y="31"/>
                  </a:lnTo>
                  <a:lnTo>
                    <a:pt x="362" y="30"/>
                  </a:lnTo>
                  <a:lnTo>
                    <a:pt x="364" y="29"/>
                  </a:lnTo>
                  <a:lnTo>
                    <a:pt x="365" y="29"/>
                  </a:lnTo>
                  <a:lnTo>
                    <a:pt x="365" y="27"/>
                  </a:lnTo>
                  <a:lnTo>
                    <a:pt x="366" y="27"/>
                  </a:lnTo>
                  <a:lnTo>
                    <a:pt x="368" y="27"/>
                  </a:lnTo>
                  <a:lnTo>
                    <a:pt x="370" y="26"/>
                  </a:lnTo>
                  <a:lnTo>
                    <a:pt x="371" y="25"/>
                  </a:lnTo>
                  <a:lnTo>
                    <a:pt x="372" y="25"/>
                  </a:lnTo>
                  <a:lnTo>
                    <a:pt x="372" y="24"/>
                  </a:lnTo>
                  <a:lnTo>
                    <a:pt x="373" y="23"/>
                  </a:lnTo>
                  <a:lnTo>
                    <a:pt x="373" y="21"/>
                  </a:lnTo>
                  <a:lnTo>
                    <a:pt x="374" y="21"/>
                  </a:lnTo>
                  <a:lnTo>
                    <a:pt x="374" y="20"/>
                  </a:lnTo>
                  <a:lnTo>
                    <a:pt x="376" y="21"/>
                  </a:lnTo>
                  <a:lnTo>
                    <a:pt x="377" y="21"/>
                  </a:lnTo>
                  <a:lnTo>
                    <a:pt x="377" y="24"/>
                  </a:lnTo>
                  <a:lnTo>
                    <a:pt x="377" y="25"/>
                  </a:lnTo>
                  <a:lnTo>
                    <a:pt x="377" y="26"/>
                  </a:lnTo>
                  <a:lnTo>
                    <a:pt x="378" y="27"/>
                  </a:lnTo>
                  <a:lnTo>
                    <a:pt x="379" y="27"/>
                  </a:lnTo>
                  <a:lnTo>
                    <a:pt x="379" y="29"/>
                  </a:lnTo>
                  <a:lnTo>
                    <a:pt x="380" y="29"/>
                  </a:lnTo>
                  <a:lnTo>
                    <a:pt x="380" y="30"/>
                  </a:lnTo>
                  <a:lnTo>
                    <a:pt x="379" y="31"/>
                  </a:lnTo>
                  <a:lnTo>
                    <a:pt x="379" y="32"/>
                  </a:lnTo>
                  <a:lnTo>
                    <a:pt x="382" y="32"/>
                  </a:lnTo>
                  <a:lnTo>
                    <a:pt x="382" y="33"/>
                  </a:lnTo>
                  <a:lnTo>
                    <a:pt x="380" y="33"/>
                  </a:lnTo>
                  <a:lnTo>
                    <a:pt x="382" y="33"/>
                  </a:lnTo>
                  <a:lnTo>
                    <a:pt x="382" y="32"/>
                  </a:lnTo>
                  <a:lnTo>
                    <a:pt x="383" y="32"/>
                  </a:lnTo>
                  <a:lnTo>
                    <a:pt x="384" y="32"/>
                  </a:lnTo>
                  <a:lnTo>
                    <a:pt x="385" y="32"/>
                  </a:lnTo>
                  <a:lnTo>
                    <a:pt x="385" y="31"/>
                  </a:lnTo>
                  <a:lnTo>
                    <a:pt x="386" y="31"/>
                  </a:lnTo>
                  <a:lnTo>
                    <a:pt x="386" y="32"/>
                  </a:lnTo>
                  <a:lnTo>
                    <a:pt x="388" y="32"/>
                  </a:lnTo>
                  <a:lnTo>
                    <a:pt x="388" y="33"/>
                  </a:lnTo>
                  <a:lnTo>
                    <a:pt x="389" y="35"/>
                  </a:lnTo>
                  <a:lnTo>
                    <a:pt x="390" y="33"/>
                  </a:lnTo>
                  <a:lnTo>
                    <a:pt x="390" y="35"/>
                  </a:lnTo>
                  <a:lnTo>
                    <a:pt x="390" y="36"/>
                  </a:lnTo>
                  <a:lnTo>
                    <a:pt x="389" y="36"/>
                  </a:lnTo>
                  <a:lnTo>
                    <a:pt x="389" y="37"/>
                  </a:lnTo>
                  <a:lnTo>
                    <a:pt x="389" y="38"/>
                  </a:lnTo>
                  <a:lnTo>
                    <a:pt x="388" y="38"/>
                  </a:lnTo>
                  <a:lnTo>
                    <a:pt x="388" y="39"/>
                  </a:lnTo>
                  <a:lnTo>
                    <a:pt x="388" y="41"/>
                  </a:lnTo>
                  <a:lnTo>
                    <a:pt x="386" y="41"/>
                  </a:lnTo>
                  <a:lnTo>
                    <a:pt x="386" y="42"/>
                  </a:lnTo>
                  <a:lnTo>
                    <a:pt x="386" y="43"/>
                  </a:lnTo>
                  <a:lnTo>
                    <a:pt x="385" y="43"/>
                  </a:lnTo>
                  <a:lnTo>
                    <a:pt x="385" y="44"/>
                  </a:lnTo>
                  <a:lnTo>
                    <a:pt x="384" y="44"/>
                  </a:lnTo>
                  <a:lnTo>
                    <a:pt x="383" y="44"/>
                  </a:lnTo>
                  <a:lnTo>
                    <a:pt x="382" y="45"/>
                  </a:lnTo>
                  <a:lnTo>
                    <a:pt x="380" y="45"/>
                  </a:lnTo>
                  <a:lnTo>
                    <a:pt x="380" y="47"/>
                  </a:lnTo>
                  <a:lnTo>
                    <a:pt x="379" y="45"/>
                  </a:lnTo>
                  <a:lnTo>
                    <a:pt x="378" y="45"/>
                  </a:lnTo>
                  <a:lnTo>
                    <a:pt x="377" y="47"/>
                  </a:lnTo>
                  <a:lnTo>
                    <a:pt x="377" y="48"/>
                  </a:lnTo>
                  <a:lnTo>
                    <a:pt x="376" y="48"/>
                  </a:lnTo>
                  <a:lnTo>
                    <a:pt x="376" y="49"/>
                  </a:lnTo>
                  <a:lnTo>
                    <a:pt x="374" y="50"/>
                  </a:lnTo>
                  <a:lnTo>
                    <a:pt x="374" y="52"/>
                  </a:lnTo>
                  <a:lnTo>
                    <a:pt x="376" y="53"/>
                  </a:lnTo>
                  <a:lnTo>
                    <a:pt x="377" y="53"/>
                  </a:lnTo>
                  <a:lnTo>
                    <a:pt x="378" y="52"/>
                  </a:lnTo>
                  <a:lnTo>
                    <a:pt x="379" y="52"/>
                  </a:lnTo>
                  <a:lnTo>
                    <a:pt x="380" y="52"/>
                  </a:lnTo>
                  <a:lnTo>
                    <a:pt x="382" y="52"/>
                  </a:lnTo>
                  <a:lnTo>
                    <a:pt x="383" y="52"/>
                  </a:lnTo>
                  <a:lnTo>
                    <a:pt x="383" y="50"/>
                  </a:lnTo>
                  <a:lnTo>
                    <a:pt x="384" y="50"/>
                  </a:lnTo>
                  <a:lnTo>
                    <a:pt x="385" y="50"/>
                  </a:lnTo>
                  <a:lnTo>
                    <a:pt x="385" y="49"/>
                  </a:lnTo>
                  <a:lnTo>
                    <a:pt x="385" y="48"/>
                  </a:lnTo>
                  <a:lnTo>
                    <a:pt x="386" y="48"/>
                  </a:lnTo>
                  <a:lnTo>
                    <a:pt x="386" y="47"/>
                  </a:lnTo>
                  <a:lnTo>
                    <a:pt x="389" y="47"/>
                  </a:lnTo>
                  <a:lnTo>
                    <a:pt x="389" y="45"/>
                  </a:lnTo>
                  <a:lnTo>
                    <a:pt x="390" y="45"/>
                  </a:lnTo>
                  <a:lnTo>
                    <a:pt x="390" y="44"/>
                  </a:lnTo>
                  <a:lnTo>
                    <a:pt x="391" y="43"/>
                  </a:lnTo>
                  <a:lnTo>
                    <a:pt x="392" y="43"/>
                  </a:lnTo>
                  <a:lnTo>
                    <a:pt x="392" y="42"/>
                  </a:lnTo>
                  <a:lnTo>
                    <a:pt x="394" y="43"/>
                  </a:lnTo>
                  <a:lnTo>
                    <a:pt x="395" y="43"/>
                  </a:lnTo>
                  <a:lnTo>
                    <a:pt x="396" y="43"/>
                  </a:lnTo>
                  <a:lnTo>
                    <a:pt x="397" y="43"/>
                  </a:lnTo>
                  <a:lnTo>
                    <a:pt x="397" y="42"/>
                  </a:lnTo>
                  <a:lnTo>
                    <a:pt x="398" y="42"/>
                  </a:lnTo>
                  <a:lnTo>
                    <a:pt x="398" y="43"/>
                  </a:lnTo>
                  <a:lnTo>
                    <a:pt x="400" y="43"/>
                  </a:lnTo>
                  <a:lnTo>
                    <a:pt x="401" y="44"/>
                  </a:lnTo>
                  <a:lnTo>
                    <a:pt x="401" y="45"/>
                  </a:lnTo>
                  <a:lnTo>
                    <a:pt x="401" y="47"/>
                  </a:lnTo>
                  <a:lnTo>
                    <a:pt x="401" y="49"/>
                  </a:lnTo>
                  <a:lnTo>
                    <a:pt x="402" y="49"/>
                  </a:lnTo>
                  <a:lnTo>
                    <a:pt x="403" y="49"/>
                  </a:lnTo>
                  <a:lnTo>
                    <a:pt x="403" y="48"/>
                  </a:lnTo>
                  <a:lnTo>
                    <a:pt x="405" y="48"/>
                  </a:lnTo>
                  <a:lnTo>
                    <a:pt x="405" y="47"/>
                  </a:lnTo>
                  <a:lnTo>
                    <a:pt x="406" y="47"/>
                  </a:lnTo>
                  <a:lnTo>
                    <a:pt x="406" y="45"/>
                  </a:lnTo>
                  <a:lnTo>
                    <a:pt x="406" y="44"/>
                  </a:lnTo>
                  <a:lnTo>
                    <a:pt x="407" y="44"/>
                  </a:lnTo>
                  <a:lnTo>
                    <a:pt x="408" y="44"/>
                  </a:lnTo>
                  <a:lnTo>
                    <a:pt x="408" y="45"/>
                  </a:lnTo>
                  <a:lnTo>
                    <a:pt x="408" y="47"/>
                  </a:lnTo>
                  <a:lnTo>
                    <a:pt x="408" y="48"/>
                  </a:lnTo>
                  <a:lnTo>
                    <a:pt x="408" y="49"/>
                  </a:lnTo>
                  <a:lnTo>
                    <a:pt x="408" y="50"/>
                  </a:lnTo>
                  <a:lnTo>
                    <a:pt x="407" y="50"/>
                  </a:lnTo>
                  <a:lnTo>
                    <a:pt x="407" y="52"/>
                  </a:lnTo>
                  <a:lnTo>
                    <a:pt x="407" y="53"/>
                  </a:lnTo>
                  <a:lnTo>
                    <a:pt x="408" y="54"/>
                  </a:lnTo>
                  <a:lnTo>
                    <a:pt x="409" y="54"/>
                  </a:lnTo>
                  <a:lnTo>
                    <a:pt x="409" y="56"/>
                  </a:lnTo>
                  <a:lnTo>
                    <a:pt x="408" y="56"/>
                  </a:lnTo>
                  <a:lnTo>
                    <a:pt x="408" y="58"/>
                  </a:lnTo>
                  <a:lnTo>
                    <a:pt x="407" y="59"/>
                  </a:lnTo>
                  <a:lnTo>
                    <a:pt x="406" y="59"/>
                  </a:lnTo>
                  <a:lnTo>
                    <a:pt x="406" y="60"/>
                  </a:lnTo>
                  <a:lnTo>
                    <a:pt x="405" y="61"/>
                  </a:lnTo>
                  <a:lnTo>
                    <a:pt x="405" y="62"/>
                  </a:lnTo>
                  <a:lnTo>
                    <a:pt x="405" y="61"/>
                  </a:lnTo>
                  <a:lnTo>
                    <a:pt x="406" y="61"/>
                  </a:lnTo>
                  <a:lnTo>
                    <a:pt x="406" y="64"/>
                  </a:lnTo>
                  <a:lnTo>
                    <a:pt x="406" y="65"/>
                  </a:lnTo>
                  <a:lnTo>
                    <a:pt x="405" y="66"/>
                  </a:lnTo>
                  <a:lnTo>
                    <a:pt x="403" y="66"/>
                  </a:lnTo>
                  <a:lnTo>
                    <a:pt x="403" y="67"/>
                  </a:lnTo>
                  <a:lnTo>
                    <a:pt x="402" y="67"/>
                  </a:lnTo>
                  <a:lnTo>
                    <a:pt x="402" y="66"/>
                  </a:lnTo>
                  <a:lnTo>
                    <a:pt x="401" y="67"/>
                  </a:lnTo>
                  <a:lnTo>
                    <a:pt x="401" y="68"/>
                  </a:lnTo>
                  <a:lnTo>
                    <a:pt x="400" y="68"/>
                  </a:lnTo>
                  <a:lnTo>
                    <a:pt x="398" y="68"/>
                  </a:lnTo>
                  <a:lnTo>
                    <a:pt x="397" y="68"/>
                  </a:lnTo>
                  <a:lnTo>
                    <a:pt x="397" y="71"/>
                  </a:lnTo>
                  <a:lnTo>
                    <a:pt x="398" y="71"/>
                  </a:lnTo>
                  <a:lnTo>
                    <a:pt x="398" y="70"/>
                  </a:lnTo>
                  <a:lnTo>
                    <a:pt x="400" y="70"/>
                  </a:lnTo>
                  <a:lnTo>
                    <a:pt x="400" y="68"/>
                  </a:lnTo>
                  <a:lnTo>
                    <a:pt x="401" y="68"/>
                  </a:lnTo>
                  <a:lnTo>
                    <a:pt x="402" y="70"/>
                  </a:lnTo>
                  <a:lnTo>
                    <a:pt x="403" y="70"/>
                  </a:lnTo>
                  <a:lnTo>
                    <a:pt x="403" y="68"/>
                  </a:lnTo>
                  <a:lnTo>
                    <a:pt x="403" y="70"/>
                  </a:lnTo>
                  <a:lnTo>
                    <a:pt x="405" y="70"/>
                  </a:lnTo>
                  <a:lnTo>
                    <a:pt x="405" y="72"/>
                  </a:lnTo>
                  <a:lnTo>
                    <a:pt x="403" y="72"/>
                  </a:lnTo>
                  <a:lnTo>
                    <a:pt x="403" y="73"/>
                  </a:lnTo>
                  <a:lnTo>
                    <a:pt x="402" y="73"/>
                  </a:lnTo>
                  <a:lnTo>
                    <a:pt x="401" y="74"/>
                  </a:lnTo>
                  <a:lnTo>
                    <a:pt x="401" y="76"/>
                  </a:lnTo>
                  <a:lnTo>
                    <a:pt x="400" y="76"/>
                  </a:lnTo>
                  <a:lnTo>
                    <a:pt x="398" y="76"/>
                  </a:lnTo>
                  <a:lnTo>
                    <a:pt x="397" y="76"/>
                  </a:lnTo>
                  <a:lnTo>
                    <a:pt x="396" y="77"/>
                  </a:lnTo>
                  <a:lnTo>
                    <a:pt x="394" y="77"/>
                  </a:lnTo>
                  <a:lnTo>
                    <a:pt x="392" y="76"/>
                  </a:lnTo>
                  <a:lnTo>
                    <a:pt x="391" y="76"/>
                  </a:lnTo>
                  <a:lnTo>
                    <a:pt x="391" y="74"/>
                  </a:lnTo>
                  <a:lnTo>
                    <a:pt x="391" y="73"/>
                  </a:lnTo>
                  <a:lnTo>
                    <a:pt x="391" y="74"/>
                  </a:lnTo>
                  <a:lnTo>
                    <a:pt x="390" y="73"/>
                  </a:lnTo>
                  <a:lnTo>
                    <a:pt x="390" y="74"/>
                  </a:lnTo>
                  <a:lnTo>
                    <a:pt x="391" y="74"/>
                  </a:lnTo>
                  <a:lnTo>
                    <a:pt x="391" y="76"/>
                  </a:lnTo>
                  <a:lnTo>
                    <a:pt x="390" y="76"/>
                  </a:lnTo>
                  <a:lnTo>
                    <a:pt x="390" y="77"/>
                  </a:lnTo>
                  <a:lnTo>
                    <a:pt x="389" y="77"/>
                  </a:lnTo>
                  <a:lnTo>
                    <a:pt x="388" y="78"/>
                  </a:lnTo>
                  <a:lnTo>
                    <a:pt x="386" y="77"/>
                  </a:lnTo>
                  <a:lnTo>
                    <a:pt x="385" y="77"/>
                  </a:lnTo>
                  <a:lnTo>
                    <a:pt x="385" y="76"/>
                  </a:lnTo>
                  <a:lnTo>
                    <a:pt x="385" y="74"/>
                  </a:lnTo>
                  <a:lnTo>
                    <a:pt x="385" y="73"/>
                  </a:lnTo>
                  <a:lnTo>
                    <a:pt x="384" y="72"/>
                  </a:lnTo>
                  <a:lnTo>
                    <a:pt x="384" y="73"/>
                  </a:lnTo>
                  <a:lnTo>
                    <a:pt x="383" y="73"/>
                  </a:lnTo>
                  <a:lnTo>
                    <a:pt x="382" y="74"/>
                  </a:lnTo>
                  <a:lnTo>
                    <a:pt x="380" y="76"/>
                  </a:lnTo>
                  <a:lnTo>
                    <a:pt x="379" y="77"/>
                  </a:lnTo>
                  <a:lnTo>
                    <a:pt x="379" y="78"/>
                  </a:lnTo>
                  <a:lnTo>
                    <a:pt x="380" y="78"/>
                  </a:lnTo>
                  <a:lnTo>
                    <a:pt x="380" y="79"/>
                  </a:lnTo>
                  <a:lnTo>
                    <a:pt x="378" y="78"/>
                  </a:lnTo>
                  <a:lnTo>
                    <a:pt x="379" y="79"/>
                  </a:lnTo>
                  <a:lnTo>
                    <a:pt x="380" y="79"/>
                  </a:lnTo>
                  <a:lnTo>
                    <a:pt x="380" y="80"/>
                  </a:lnTo>
                  <a:lnTo>
                    <a:pt x="382" y="80"/>
                  </a:lnTo>
                  <a:lnTo>
                    <a:pt x="382" y="82"/>
                  </a:lnTo>
                  <a:lnTo>
                    <a:pt x="383" y="82"/>
                  </a:lnTo>
                  <a:lnTo>
                    <a:pt x="383" y="80"/>
                  </a:lnTo>
                  <a:lnTo>
                    <a:pt x="384" y="82"/>
                  </a:lnTo>
                  <a:lnTo>
                    <a:pt x="384" y="83"/>
                  </a:lnTo>
                  <a:lnTo>
                    <a:pt x="386" y="83"/>
                  </a:lnTo>
                  <a:lnTo>
                    <a:pt x="388" y="82"/>
                  </a:lnTo>
                  <a:lnTo>
                    <a:pt x="388" y="83"/>
                  </a:lnTo>
                  <a:lnTo>
                    <a:pt x="389" y="83"/>
                  </a:lnTo>
                  <a:lnTo>
                    <a:pt x="389" y="84"/>
                  </a:lnTo>
                  <a:lnTo>
                    <a:pt x="389" y="85"/>
                  </a:lnTo>
                  <a:lnTo>
                    <a:pt x="388" y="85"/>
                  </a:lnTo>
                  <a:lnTo>
                    <a:pt x="386" y="86"/>
                  </a:lnTo>
                  <a:lnTo>
                    <a:pt x="385" y="86"/>
                  </a:lnTo>
                  <a:lnTo>
                    <a:pt x="385" y="88"/>
                  </a:lnTo>
                  <a:lnTo>
                    <a:pt x="384" y="86"/>
                  </a:lnTo>
                  <a:lnTo>
                    <a:pt x="383" y="86"/>
                  </a:lnTo>
                  <a:lnTo>
                    <a:pt x="383" y="85"/>
                  </a:lnTo>
                  <a:lnTo>
                    <a:pt x="383" y="84"/>
                  </a:lnTo>
                  <a:lnTo>
                    <a:pt x="382" y="83"/>
                  </a:lnTo>
                  <a:lnTo>
                    <a:pt x="382" y="82"/>
                  </a:lnTo>
                  <a:lnTo>
                    <a:pt x="380" y="82"/>
                  </a:lnTo>
                  <a:lnTo>
                    <a:pt x="379" y="80"/>
                  </a:lnTo>
                  <a:lnTo>
                    <a:pt x="378" y="82"/>
                  </a:lnTo>
                  <a:lnTo>
                    <a:pt x="380" y="82"/>
                  </a:lnTo>
                  <a:lnTo>
                    <a:pt x="380" y="83"/>
                  </a:lnTo>
                  <a:lnTo>
                    <a:pt x="379" y="84"/>
                  </a:lnTo>
                  <a:lnTo>
                    <a:pt x="378" y="84"/>
                  </a:lnTo>
                  <a:lnTo>
                    <a:pt x="378" y="85"/>
                  </a:lnTo>
                  <a:lnTo>
                    <a:pt x="378" y="86"/>
                  </a:lnTo>
                  <a:lnTo>
                    <a:pt x="379" y="88"/>
                  </a:lnTo>
                  <a:lnTo>
                    <a:pt x="380" y="88"/>
                  </a:lnTo>
                  <a:lnTo>
                    <a:pt x="382" y="86"/>
                  </a:lnTo>
                  <a:lnTo>
                    <a:pt x="383" y="86"/>
                  </a:lnTo>
                  <a:lnTo>
                    <a:pt x="383" y="88"/>
                  </a:lnTo>
                  <a:lnTo>
                    <a:pt x="383" y="89"/>
                  </a:lnTo>
                  <a:lnTo>
                    <a:pt x="383" y="90"/>
                  </a:lnTo>
                  <a:lnTo>
                    <a:pt x="383" y="91"/>
                  </a:lnTo>
                  <a:lnTo>
                    <a:pt x="384" y="91"/>
                  </a:lnTo>
                  <a:lnTo>
                    <a:pt x="385" y="91"/>
                  </a:lnTo>
                  <a:lnTo>
                    <a:pt x="386" y="91"/>
                  </a:lnTo>
                  <a:lnTo>
                    <a:pt x="386" y="90"/>
                  </a:lnTo>
                  <a:lnTo>
                    <a:pt x="388" y="90"/>
                  </a:lnTo>
                  <a:lnTo>
                    <a:pt x="388" y="89"/>
                  </a:lnTo>
                  <a:lnTo>
                    <a:pt x="389" y="89"/>
                  </a:lnTo>
                  <a:lnTo>
                    <a:pt x="390" y="90"/>
                  </a:lnTo>
                  <a:lnTo>
                    <a:pt x="391" y="92"/>
                  </a:lnTo>
                  <a:lnTo>
                    <a:pt x="392" y="92"/>
                  </a:lnTo>
                  <a:lnTo>
                    <a:pt x="394" y="92"/>
                  </a:lnTo>
                  <a:lnTo>
                    <a:pt x="394" y="94"/>
                  </a:lnTo>
                  <a:lnTo>
                    <a:pt x="395" y="95"/>
                  </a:lnTo>
                  <a:lnTo>
                    <a:pt x="396" y="95"/>
                  </a:lnTo>
                  <a:lnTo>
                    <a:pt x="397" y="95"/>
                  </a:lnTo>
                  <a:lnTo>
                    <a:pt x="398" y="95"/>
                  </a:lnTo>
                  <a:lnTo>
                    <a:pt x="401" y="95"/>
                  </a:lnTo>
                  <a:lnTo>
                    <a:pt x="402" y="96"/>
                  </a:lnTo>
                  <a:lnTo>
                    <a:pt x="403" y="96"/>
                  </a:lnTo>
                  <a:lnTo>
                    <a:pt x="405" y="96"/>
                  </a:lnTo>
                  <a:lnTo>
                    <a:pt x="406" y="96"/>
                  </a:lnTo>
                  <a:lnTo>
                    <a:pt x="406" y="97"/>
                  </a:lnTo>
                  <a:lnTo>
                    <a:pt x="406" y="98"/>
                  </a:lnTo>
                  <a:lnTo>
                    <a:pt x="406" y="102"/>
                  </a:lnTo>
                  <a:lnTo>
                    <a:pt x="406" y="104"/>
                  </a:lnTo>
                  <a:lnTo>
                    <a:pt x="407" y="106"/>
                  </a:lnTo>
                  <a:lnTo>
                    <a:pt x="408" y="106"/>
                  </a:lnTo>
                  <a:lnTo>
                    <a:pt x="408" y="104"/>
                  </a:lnTo>
                  <a:lnTo>
                    <a:pt x="409" y="104"/>
                  </a:lnTo>
                  <a:lnTo>
                    <a:pt x="409" y="103"/>
                  </a:lnTo>
                  <a:lnTo>
                    <a:pt x="408" y="103"/>
                  </a:lnTo>
                  <a:lnTo>
                    <a:pt x="409" y="102"/>
                  </a:lnTo>
                  <a:lnTo>
                    <a:pt x="409" y="100"/>
                  </a:lnTo>
                  <a:lnTo>
                    <a:pt x="411" y="100"/>
                  </a:lnTo>
                  <a:lnTo>
                    <a:pt x="411" y="98"/>
                  </a:lnTo>
                  <a:lnTo>
                    <a:pt x="412" y="98"/>
                  </a:lnTo>
                  <a:lnTo>
                    <a:pt x="413" y="98"/>
                  </a:lnTo>
                  <a:lnTo>
                    <a:pt x="413" y="100"/>
                  </a:lnTo>
                  <a:lnTo>
                    <a:pt x="413" y="101"/>
                  </a:lnTo>
                  <a:lnTo>
                    <a:pt x="414" y="102"/>
                  </a:lnTo>
                  <a:lnTo>
                    <a:pt x="415" y="102"/>
                  </a:lnTo>
                  <a:lnTo>
                    <a:pt x="417" y="101"/>
                  </a:lnTo>
                  <a:lnTo>
                    <a:pt x="417" y="100"/>
                  </a:lnTo>
                  <a:lnTo>
                    <a:pt x="417" y="98"/>
                  </a:lnTo>
                  <a:lnTo>
                    <a:pt x="417" y="97"/>
                  </a:lnTo>
                  <a:lnTo>
                    <a:pt x="418" y="97"/>
                  </a:lnTo>
                  <a:lnTo>
                    <a:pt x="419" y="97"/>
                  </a:lnTo>
                  <a:lnTo>
                    <a:pt x="420" y="97"/>
                  </a:lnTo>
                  <a:lnTo>
                    <a:pt x="421" y="97"/>
                  </a:lnTo>
                  <a:lnTo>
                    <a:pt x="423" y="96"/>
                  </a:lnTo>
                  <a:lnTo>
                    <a:pt x="423" y="95"/>
                  </a:lnTo>
                  <a:lnTo>
                    <a:pt x="424" y="96"/>
                  </a:lnTo>
                  <a:lnTo>
                    <a:pt x="425" y="96"/>
                  </a:lnTo>
                  <a:lnTo>
                    <a:pt x="425" y="97"/>
                  </a:lnTo>
                  <a:lnTo>
                    <a:pt x="425" y="98"/>
                  </a:lnTo>
                  <a:lnTo>
                    <a:pt x="425" y="100"/>
                  </a:lnTo>
                  <a:lnTo>
                    <a:pt x="424" y="100"/>
                  </a:lnTo>
                  <a:lnTo>
                    <a:pt x="424" y="101"/>
                  </a:lnTo>
                  <a:lnTo>
                    <a:pt x="424" y="102"/>
                  </a:lnTo>
                  <a:lnTo>
                    <a:pt x="424" y="103"/>
                  </a:lnTo>
                  <a:lnTo>
                    <a:pt x="423" y="104"/>
                  </a:lnTo>
                  <a:lnTo>
                    <a:pt x="423" y="106"/>
                  </a:lnTo>
                  <a:lnTo>
                    <a:pt x="421" y="106"/>
                  </a:lnTo>
                  <a:lnTo>
                    <a:pt x="420" y="107"/>
                  </a:lnTo>
                  <a:lnTo>
                    <a:pt x="420" y="109"/>
                  </a:lnTo>
                  <a:lnTo>
                    <a:pt x="420" y="110"/>
                  </a:lnTo>
                  <a:lnTo>
                    <a:pt x="421" y="112"/>
                  </a:lnTo>
                  <a:lnTo>
                    <a:pt x="423" y="112"/>
                  </a:lnTo>
                  <a:lnTo>
                    <a:pt x="424" y="110"/>
                  </a:lnTo>
                  <a:lnTo>
                    <a:pt x="424" y="109"/>
                  </a:lnTo>
                  <a:lnTo>
                    <a:pt x="424" y="108"/>
                  </a:lnTo>
                  <a:lnTo>
                    <a:pt x="425" y="108"/>
                  </a:lnTo>
                  <a:lnTo>
                    <a:pt x="426" y="108"/>
                  </a:lnTo>
                  <a:lnTo>
                    <a:pt x="427" y="108"/>
                  </a:lnTo>
                  <a:lnTo>
                    <a:pt x="427" y="109"/>
                  </a:lnTo>
                  <a:lnTo>
                    <a:pt x="427" y="110"/>
                  </a:lnTo>
                  <a:lnTo>
                    <a:pt x="427" y="112"/>
                  </a:lnTo>
                  <a:lnTo>
                    <a:pt x="427" y="113"/>
                  </a:lnTo>
                  <a:lnTo>
                    <a:pt x="426" y="114"/>
                  </a:lnTo>
                  <a:lnTo>
                    <a:pt x="425" y="115"/>
                  </a:lnTo>
                  <a:lnTo>
                    <a:pt x="425" y="116"/>
                  </a:lnTo>
                  <a:lnTo>
                    <a:pt x="425" y="118"/>
                  </a:lnTo>
                  <a:lnTo>
                    <a:pt x="424" y="119"/>
                  </a:lnTo>
                  <a:lnTo>
                    <a:pt x="423" y="119"/>
                  </a:lnTo>
                  <a:lnTo>
                    <a:pt x="421" y="119"/>
                  </a:lnTo>
                  <a:lnTo>
                    <a:pt x="420" y="120"/>
                  </a:lnTo>
                  <a:lnTo>
                    <a:pt x="421" y="120"/>
                  </a:lnTo>
                  <a:lnTo>
                    <a:pt x="421" y="121"/>
                  </a:lnTo>
                  <a:lnTo>
                    <a:pt x="423" y="121"/>
                  </a:lnTo>
                  <a:lnTo>
                    <a:pt x="424" y="121"/>
                  </a:lnTo>
                  <a:lnTo>
                    <a:pt x="425" y="121"/>
                  </a:lnTo>
                  <a:lnTo>
                    <a:pt x="427" y="121"/>
                  </a:lnTo>
                  <a:lnTo>
                    <a:pt x="429" y="121"/>
                  </a:lnTo>
                  <a:lnTo>
                    <a:pt x="429" y="122"/>
                  </a:lnTo>
                  <a:lnTo>
                    <a:pt x="427" y="124"/>
                  </a:lnTo>
                  <a:lnTo>
                    <a:pt x="429" y="124"/>
                  </a:lnTo>
                  <a:lnTo>
                    <a:pt x="430" y="125"/>
                  </a:lnTo>
                  <a:lnTo>
                    <a:pt x="430" y="124"/>
                  </a:lnTo>
                  <a:lnTo>
                    <a:pt x="431" y="124"/>
                  </a:lnTo>
                  <a:lnTo>
                    <a:pt x="431" y="122"/>
                  </a:lnTo>
                  <a:lnTo>
                    <a:pt x="432" y="122"/>
                  </a:lnTo>
                  <a:lnTo>
                    <a:pt x="433" y="122"/>
                  </a:lnTo>
                  <a:lnTo>
                    <a:pt x="435" y="122"/>
                  </a:lnTo>
                  <a:lnTo>
                    <a:pt x="436" y="122"/>
                  </a:lnTo>
                  <a:lnTo>
                    <a:pt x="436" y="124"/>
                  </a:lnTo>
                  <a:lnTo>
                    <a:pt x="435" y="126"/>
                  </a:lnTo>
                  <a:lnTo>
                    <a:pt x="436" y="126"/>
                  </a:lnTo>
                  <a:lnTo>
                    <a:pt x="437" y="126"/>
                  </a:lnTo>
                  <a:lnTo>
                    <a:pt x="437" y="128"/>
                  </a:lnTo>
                  <a:lnTo>
                    <a:pt x="438" y="128"/>
                  </a:lnTo>
                  <a:lnTo>
                    <a:pt x="439" y="128"/>
                  </a:lnTo>
                  <a:lnTo>
                    <a:pt x="442" y="127"/>
                  </a:lnTo>
                  <a:lnTo>
                    <a:pt x="443" y="127"/>
                  </a:lnTo>
                  <a:lnTo>
                    <a:pt x="443" y="128"/>
                  </a:lnTo>
                  <a:lnTo>
                    <a:pt x="443" y="130"/>
                  </a:lnTo>
                  <a:lnTo>
                    <a:pt x="442" y="130"/>
                  </a:lnTo>
                  <a:lnTo>
                    <a:pt x="442" y="131"/>
                  </a:lnTo>
                  <a:lnTo>
                    <a:pt x="441" y="133"/>
                  </a:lnTo>
                  <a:lnTo>
                    <a:pt x="442" y="133"/>
                  </a:lnTo>
                  <a:lnTo>
                    <a:pt x="442" y="134"/>
                  </a:lnTo>
                  <a:lnTo>
                    <a:pt x="443" y="134"/>
                  </a:lnTo>
                  <a:lnTo>
                    <a:pt x="443" y="133"/>
                  </a:lnTo>
                  <a:lnTo>
                    <a:pt x="444" y="133"/>
                  </a:lnTo>
                  <a:lnTo>
                    <a:pt x="444" y="132"/>
                  </a:lnTo>
                  <a:lnTo>
                    <a:pt x="445" y="132"/>
                  </a:lnTo>
                  <a:lnTo>
                    <a:pt x="447" y="132"/>
                  </a:lnTo>
                  <a:lnTo>
                    <a:pt x="448" y="132"/>
                  </a:lnTo>
                  <a:lnTo>
                    <a:pt x="449" y="132"/>
                  </a:lnTo>
                  <a:lnTo>
                    <a:pt x="449" y="131"/>
                  </a:lnTo>
                  <a:lnTo>
                    <a:pt x="450" y="131"/>
                  </a:lnTo>
                  <a:lnTo>
                    <a:pt x="451" y="131"/>
                  </a:lnTo>
                  <a:lnTo>
                    <a:pt x="451" y="132"/>
                  </a:lnTo>
                  <a:lnTo>
                    <a:pt x="451" y="133"/>
                  </a:lnTo>
                  <a:lnTo>
                    <a:pt x="451" y="134"/>
                  </a:lnTo>
                  <a:lnTo>
                    <a:pt x="453" y="133"/>
                  </a:lnTo>
                  <a:lnTo>
                    <a:pt x="454" y="133"/>
                  </a:lnTo>
                  <a:lnTo>
                    <a:pt x="455" y="134"/>
                  </a:lnTo>
                  <a:lnTo>
                    <a:pt x="455" y="133"/>
                  </a:lnTo>
                  <a:lnTo>
                    <a:pt x="455" y="134"/>
                  </a:lnTo>
                  <a:lnTo>
                    <a:pt x="456" y="134"/>
                  </a:lnTo>
                  <a:lnTo>
                    <a:pt x="457" y="134"/>
                  </a:lnTo>
                  <a:lnTo>
                    <a:pt x="459" y="134"/>
                  </a:lnTo>
                  <a:lnTo>
                    <a:pt x="459" y="133"/>
                  </a:lnTo>
                  <a:lnTo>
                    <a:pt x="460" y="133"/>
                  </a:lnTo>
                  <a:lnTo>
                    <a:pt x="461" y="134"/>
                  </a:lnTo>
                  <a:lnTo>
                    <a:pt x="461" y="136"/>
                  </a:lnTo>
                  <a:lnTo>
                    <a:pt x="460" y="136"/>
                  </a:lnTo>
                  <a:lnTo>
                    <a:pt x="460" y="137"/>
                  </a:lnTo>
                  <a:lnTo>
                    <a:pt x="460" y="138"/>
                  </a:lnTo>
                  <a:lnTo>
                    <a:pt x="460" y="139"/>
                  </a:lnTo>
                  <a:lnTo>
                    <a:pt x="459" y="139"/>
                  </a:lnTo>
                  <a:lnTo>
                    <a:pt x="457" y="139"/>
                  </a:lnTo>
                  <a:lnTo>
                    <a:pt x="457" y="140"/>
                  </a:lnTo>
                  <a:lnTo>
                    <a:pt x="456" y="140"/>
                  </a:lnTo>
                  <a:lnTo>
                    <a:pt x="456" y="142"/>
                  </a:lnTo>
                  <a:lnTo>
                    <a:pt x="456" y="143"/>
                  </a:lnTo>
                  <a:lnTo>
                    <a:pt x="457" y="143"/>
                  </a:lnTo>
                  <a:lnTo>
                    <a:pt x="459" y="143"/>
                  </a:lnTo>
                  <a:lnTo>
                    <a:pt x="459" y="142"/>
                  </a:lnTo>
                  <a:lnTo>
                    <a:pt x="461" y="142"/>
                  </a:lnTo>
                  <a:lnTo>
                    <a:pt x="462" y="142"/>
                  </a:lnTo>
                  <a:lnTo>
                    <a:pt x="462" y="140"/>
                  </a:lnTo>
                  <a:lnTo>
                    <a:pt x="462" y="139"/>
                  </a:lnTo>
                  <a:lnTo>
                    <a:pt x="464" y="139"/>
                  </a:lnTo>
                  <a:lnTo>
                    <a:pt x="464" y="138"/>
                  </a:lnTo>
                  <a:lnTo>
                    <a:pt x="465" y="138"/>
                  </a:lnTo>
                  <a:lnTo>
                    <a:pt x="465" y="139"/>
                  </a:lnTo>
                  <a:lnTo>
                    <a:pt x="465" y="138"/>
                  </a:lnTo>
                  <a:lnTo>
                    <a:pt x="466" y="138"/>
                  </a:lnTo>
                  <a:lnTo>
                    <a:pt x="467" y="138"/>
                  </a:lnTo>
                  <a:lnTo>
                    <a:pt x="467" y="137"/>
                  </a:lnTo>
                  <a:lnTo>
                    <a:pt x="468" y="136"/>
                  </a:lnTo>
                  <a:lnTo>
                    <a:pt x="468" y="137"/>
                  </a:lnTo>
                  <a:lnTo>
                    <a:pt x="470" y="137"/>
                  </a:lnTo>
                  <a:lnTo>
                    <a:pt x="468" y="138"/>
                  </a:lnTo>
                  <a:lnTo>
                    <a:pt x="468" y="142"/>
                  </a:lnTo>
                  <a:lnTo>
                    <a:pt x="470" y="140"/>
                  </a:lnTo>
                  <a:lnTo>
                    <a:pt x="471" y="142"/>
                  </a:lnTo>
                  <a:lnTo>
                    <a:pt x="471" y="140"/>
                  </a:lnTo>
                  <a:lnTo>
                    <a:pt x="472" y="139"/>
                  </a:lnTo>
                  <a:lnTo>
                    <a:pt x="473" y="139"/>
                  </a:lnTo>
                  <a:lnTo>
                    <a:pt x="473" y="140"/>
                  </a:lnTo>
                  <a:lnTo>
                    <a:pt x="473" y="142"/>
                  </a:lnTo>
                  <a:lnTo>
                    <a:pt x="472" y="143"/>
                  </a:lnTo>
                  <a:lnTo>
                    <a:pt x="471" y="143"/>
                  </a:lnTo>
                  <a:lnTo>
                    <a:pt x="471" y="144"/>
                  </a:lnTo>
                  <a:lnTo>
                    <a:pt x="471" y="145"/>
                  </a:lnTo>
                  <a:lnTo>
                    <a:pt x="471" y="146"/>
                  </a:lnTo>
                  <a:lnTo>
                    <a:pt x="470" y="146"/>
                  </a:lnTo>
                  <a:lnTo>
                    <a:pt x="467" y="146"/>
                  </a:lnTo>
                  <a:lnTo>
                    <a:pt x="468" y="148"/>
                  </a:lnTo>
                  <a:lnTo>
                    <a:pt x="467" y="146"/>
                  </a:lnTo>
                  <a:lnTo>
                    <a:pt x="466" y="146"/>
                  </a:lnTo>
                  <a:lnTo>
                    <a:pt x="467" y="148"/>
                  </a:lnTo>
                  <a:lnTo>
                    <a:pt x="468" y="148"/>
                  </a:lnTo>
                  <a:lnTo>
                    <a:pt x="467" y="149"/>
                  </a:lnTo>
                  <a:lnTo>
                    <a:pt x="466" y="149"/>
                  </a:lnTo>
                  <a:lnTo>
                    <a:pt x="465" y="149"/>
                  </a:lnTo>
                  <a:lnTo>
                    <a:pt x="464" y="150"/>
                  </a:lnTo>
                  <a:lnTo>
                    <a:pt x="462" y="150"/>
                  </a:lnTo>
                  <a:lnTo>
                    <a:pt x="461" y="150"/>
                  </a:lnTo>
                  <a:lnTo>
                    <a:pt x="460" y="150"/>
                  </a:lnTo>
                  <a:lnTo>
                    <a:pt x="460" y="149"/>
                  </a:lnTo>
                  <a:lnTo>
                    <a:pt x="457" y="150"/>
                  </a:lnTo>
                  <a:lnTo>
                    <a:pt x="459" y="151"/>
                  </a:lnTo>
                  <a:lnTo>
                    <a:pt x="459" y="152"/>
                  </a:lnTo>
                  <a:lnTo>
                    <a:pt x="457" y="152"/>
                  </a:lnTo>
                  <a:lnTo>
                    <a:pt x="456" y="154"/>
                  </a:lnTo>
                  <a:lnTo>
                    <a:pt x="455" y="154"/>
                  </a:lnTo>
                  <a:lnTo>
                    <a:pt x="455" y="155"/>
                  </a:lnTo>
                  <a:lnTo>
                    <a:pt x="454" y="155"/>
                  </a:lnTo>
                  <a:lnTo>
                    <a:pt x="454" y="156"/>
                  </a:lnTo>
                  <a:lnTo>
                    <a:pt x="453" y="156"/>
                  </a:lnTo>
                  <a:lnTo>
                    <a:pt x="453" y="157"/>
                  </a:lnTo>
                  <a:lnTo>
                    <a:pt x="451" y="157"/>
                  </a:lnTo>
                  <a:lnTo>
                    <a:pt x="450" y="159"/>
                  </a:lnTo>
                  <a:lnTo>
                    <a:pt x="449" y="160"/>
                  </a:lnTo>
                  <a:lnTo>
                    <a:pt x="448" y="160"/>
                  </a:lnTo>
                  <a:lnTo>
                    <a:pt x="449" y="160"/>
                  </a:lnTo>
                  <a:lnTo>
                    <a:pt x="451" y="160"/>
                  </a:lnTo>
                  <a:lnTo>
                    <a:pt x="453" y="160"/>
                  </a:lnTo>
                  <a:lnTo>
                    <a:pt x="454" y="160"/>
                  </a:lnTo>
                  <a:lnTo>
                    <a:pt x="455" y="160"/>
                  </a:lnTo>
                  <a:lnTo>
                    <a:pt x="455" y="161"/>
                  </a:lnTo>
                  <a:lnTo>
                    <a:pt x="456" y="161"/>
                  </a:lnTo>
                  <a:lnTo>
                    <a:pt x="456" y="162"/>
                  </a:lnTo>
                  <a:lnTo>
                    <a:pt x="457" y="163"/>
                  </a:lnTo>
                  <a:lnTo>
                    <a:pt x="457" y="162"/>
                  </a:lnTo>
                  <a:lnTo>
                    <a:pt x="459" y="162"/>
                  </a:lnTo>
                  <a:lnTo>
                    <a:pt x="460" y="161"/>
                  </a:lnTo>
                  <a:lnTo>
                    <a:pt x="460" y="162"/>
                  </a:lnTo>
                  <a:lnTo>
                    <a:pt x="461" y="162"/>
                  </a:lnTo>
                  <a:lnTo>
                    <a:pt x="460" y="162"/>
                  </a:lnTo>
                  <a:lnTo>
                    <a:pt x="460" y="163"/>
                  </a:lnTo>
                  <a:lnTo>
                    <a:pt x="461" y="163"/>
                  </a:lnTo>
                  <a:lnTo>
                    <a:pt x="461" y="165"/>
                  </a:lnTo>
                  <a:lnTo>
                    <a:pt x="461" y="163"/>
                  </a:lnTo>
                  <a:lnTo>
                    <a:pt x="462" y="163"/>
                  </a:lnTo>
                  <a:lnTo>
                    <a:pt x="462" y="162"/>
                  </a:lnTo>
                  <a:lnTo>
                    <a:pt x="464" y="162"/>
                  </a:lnTo>
                  <a:lnTo>
                    <a:pt x="464" y="161"/>
                  </a:lnTo>
                  <a:lnTo>
                    <a:pt x="466" y="160"/>
                  </a:lnTo>
                  <a:lnTo>
                    <a:pt x="467" y="160"/>
                  </a:lnTo>
                  <a:lnTo>
                    <a:pt x="468" y="161"/>
                  </a:lnTo>
                  <a:lnTo>
                    <a:pt x="468" y="162"/>
                  </a:lnTo>
                  <a:lnTo>
                    <a:pt x="467" y="162"/>
                  </a:lnTo>
                  <a:lnTo>
                    <a:pt x="467" y="163"/>
                  </a:lnTo>
                  <a:lnTo>
                    <a:pt x="468" y="165"/>
                  </a:lnTo>
                  <a:lnTo>
                    <a:pt x="470" y="165"/>
                  </a:lnTo>
                  <a:lnTo>
                    <a:pt x="471" y="165"/>
                  </a:lnTo>
                  <a:lnTo>
                    <a:pt x="472" y="165"/>
                  </a:lnTo>
                  <a:lnTo>
                    <a:pt x="473" y="165"/>
                  </a:lnTo>
                  <a:lnTo>
                    <a:pt x="473" y="163"/>
                  </a:lnTo>
                  <a:lnTo>
                    <a:pt x="474" y="163"/>
                  </a:lnTo>
                  <a:lnTo>
                    <a:pt x="476" y="163"/>
                  </a:lnTo>
                  <a:lnTo>
                    <a:pt x="477" y="165"/>
                  </a:lnTo>
                  <a:lnTo>
                    <a:pt x="478" y="165"/>
                  </a:lnTo>
                  <a:lnTo>
                    <a:pt x="479" y="165"/>
                  </a:lnTo>
                  <a:lnTo>
                    <a:pt x="480" y="163"/>
                  </a:lnTo>
                  <a:lnTo>
                    <a:pt x="480" y="165"/>
                  </a:lnTo>
                  <a:lnTo>
                    <a:pt x="482" y="165"/>
                  </a:lnTo>
                  <a:lnTo>
                    <a:pt x="483" y="166"/>
                  </a:lnTo>
                  <a:lnTo>
                    <a:pt x="483" y="165"/>
                  </a:lnTo>
                  <a:lnTo>
                    <a:pt x="483" y="163"/>
                  </a:lnTo>
                  <a:lnTo>
                    <a:pt x="484" y="163"/>
                  </a:lnTo>
                  <a:lnTo>
                    <a:pt x="484" y="162"/>
                  </a:lnTo>
                  <a:lnTo>
                    <a:pt x="484" y="165"/>
                  </a:lnTo>
                  <a:lnTo>
                    <a:pt x="485" y="165"/>
                  </a:lnTo>
                  <a:lnTo>
                    <a:pt x="485" y="163"/>
                  </a:lnTo>
                  <a:lnTo>
                    <a:pt x="486" y="163"/>
                  </a:lnTo>
                  <a:lnTo>
                    <a:pt x="485" y="165"/>
                  </a:lnTo>
                  <a:lnTo>
                    <a:pt x="485" y="166"/>
                  </a:lnTo>
                  <a:lnTo>
                    <a:pt x="484" y="166"/>
                  </a:lnTo>
                  <a:lnTo>
                    <a:pt x="484" y="167"/>
                  </a:lnTo>
                  <a:lnTo>
                    <a:pt x="484" y="168"/>
                  </a:lnTo>
                  <a:lnTo>
                    <a:pt x="485" y="168"/>
                  </a:lnTo>
                  <a:lnTo>
                    <a:pt x="485" y="169"/>
                  </a:lnTo>
                  <a:lnTo>
                    <a:pt x="486" y="169"/>
                  </a:lnTo>
                  <a:lnTo>
                    <a:pt x="486" y="171"/>
                  </a:lnTo>
                  <a:lnTo>
                    <a:pt x="488" y="171"/>
                  </a:lnTo>
                  <a:lnTo>
                    <a:pt x="488" y="172"/>
                  </a:lnTo>
                  <a:lnTo>
                    <a:pt x="488" y="173"/>
                  </a:lnTo>
                  <a:lnTo>
                    <a:pt x="484" y="173"/>
                  </a:lnTo>
                  <a:lnTo>
                    <a:pt x="484" y="175"/>
                  </a:lnTo>
                  <a:lnTo>
                    <a:pt x="482" y="177"/>
                  </a:lnTo>
                  <a:lnTo>
                    <a:pt x="483" y="178"/>
                  </a:lnTo>
                  <a:lnTo>
                    <a:pt x="484" y="178"/>
                  </a:lnTo>
                  <a:lnTo>
                    <a:pt x="483" y="180"/>
                  </a:lnTo>
                  <a:lnTo>
                    <a:pt x="485" y="181"/>
                  </a:lnTo>
                  <a:lnTo>
                    <a:pt x="485" y="180"/>
                  </a:lnTo>
                  <a:lnTo>
                    <a:pt x="486" y="180"/>
                  </a:lnTo>
                  <a:lnTo>
                    <a:pt x="489" y="180"/>
                  </a:lnTo>
                  <a:lnTo>
                    <a:pt x="490" y="179"/>
                  </a:lnTo>
                  <a:lnTo>
                    <a:pt x="490" y="178"/>
                  </a:lnTo>
                  <a:lnTo>
                    <a:pt x="491" y="177"/>
                  </a:lnTo>
                  <a:lnTo>
                    <a:pt x="492" y="175"/>
                  </a:lnTo>
                  <a:lnTo>
                    <a:pt x="494" y="175"/>
                  </a:lnTo>
                  <a:lnTo>
                    <a:pt x="494" y="174"/>
                  </a:lnTo>
                  <a:lnTo>
                    <a:pt x="495" y="174"/>
                  </a:lnTo>
                  <a:lnTo>
                    <a:pt x="496" y="174"/>
                  </a:lnTo>
                  <a:lnTo>
                    <a:pt x="497" y="173"/>
                  </a:lnTo>
                  <a:lnTo>
                    <a:pt x="498" y="173"/>
                  </a:lnTo>
                  <a:lnTo>
                    <a:pt x="500" y="174"/>
                  </a:lnTo>
                  <a:lnTo>
                    <a:pt x="500" y="175"/>
                  </a:lnTo>
                  <a:lnTo>
                    <a:pt x="500" y="177"/>
                  </a:lnTo>
                  <a:lnTo>
                    <a:pt x="498" y="178"/>
                  </a:lnTo>
                  <a:lnTo>
                    <a:pt x="498" y="179"/>
                  </a:lnTo>
                  <a:lnTo>
                    <a:pt x="496" y="180"/>
                  </a:lnTo>
                  <a:lnTo>
                    <a:pt x="495" y="180"/>
                  </a:lnTo>
                  <a:lnTo>
                    <a:pt x="492" y="181"/>
                  </a:lnTo>
                  <a:lnTo>
                    <a:pt x="491" y="183"/>
                  </a:lnTo>
                  <a:lnTo>
                    <a:pt x="492" y="185"/>
                  </a:lnTo>
                  <a:lnTo>
                    <a:pt x="491" y="185"/>
                  </a:lnTo>
                  <a:lnTo>
                    <a:pt x="491" y="186"/>
                  </a:lnTo>
                  <a:lnTo>
                    <a:pt x="489" y="186"/>
                  </a:lnTo>
                  <a:lnTo>
                    <a:pt x="488" y="187"/>
                  </a:lnTo>
                  <a:lnTo>
                    <a:pt x="486" y="189"/>
                  </a:lnTo>
                  <a:lnTo>
                    <a:pt x="486" y="190"/>
                  </a:lnTo>
                  <a:lnTo>
                    <a:pt x="485" y="190"/>
                  </a:lnTo>
                  <a:lnTo>
                    <a:pt x="485" y="191"/>
                  </a:lnTo>
                  <a:lnTo>
                    <a:pt x="484" y="191"/>
                  </a:lnTo>
                  <a:lnTo>
                    <a:pt x="483" y="190"/>
                  </a:lnTo>
                  <a:lnTo>
                    <a:pt x="482" y="191"/>
                  </a:lnTo>
                  <a:lnTo>
                    <a:pt x="480" y="190"/>
                  </a:lnTo>
                  <a:lnTo>
                    <a:pt x="478" y="191"/>
                  </a:lnTo>
                  <a:lnTo>
                    <a:pt x="477" y="192"/>
                  </a:lnTo>
                  <a:lnTo>
                    <a:pt x="476" y="192"/>
                  </a:lnTo>
                  <a:lnTo>
                    <a:pt x="477" y="193"/>
                  </a:lnTo>
                  <a:lnTo>
                    <a:pt x="479" y="193"/>
                  </a:lnTo>
                  <a:lnTo>
                    <a:pt x="479" y="196"/>
                  </a:lnTo>
                  <a:lnTo>
                    <a:pt x="480" y="196"/>
                  </a:lnTo>
                  <a:lnTo>
                    <a:pt x="482" y="196"/>
                  </a:lnTo>
                  <a:lnTo>
                    <a:pt x="482" y="197"/>
                  </a:lnTo>
                  <a:lnTo>
                    <a:pt x="482" y="198"/>
                  </a:lnTo>
                  <a:lnTo>
                    <a:pt x="484" y="199"/>
                  </a:lnTo>
                  <a:lnTo>
                    <a:pt x="485" y="198"/>
                  </a:lnTo>
                  <a:lnTo>
                    <a:pt x="488" y="198"/>
                  </a:lnTo>
                  <a:lnTo>
                    <a:pt x="489" y="199"/>
                  </a:lnTo>
                  <a:lnTo>
                    <a:pt x="490" y="198"/>
                  </a:lnTo>
                  <a:lnTo>
                    <a:pt x="491" y="198"/>
                  </a:lnTo>
                  <a:lnTo>
                    <a:pt x="491" y="199"/>
                  </a:lnTo>
                  <a:lnTo>
                    <a:pt x="490" y="201"/>
                  </a:lnTo>
                  <a:lnTo>
                    <a:pt x="489" y="202"/>
                  </a:lnTo>
                  <a:lnTo>
                    <a:pt x="489" y="203"/>
                  </a:lnTo>
                  <a:lnTo>
                    <a:pt x="490" y="202"/>
                  </a:lnTo>
                  <a:lnTo>
                    <a:pt x="491" y="202"/>
                  </a:lnTo>
                  <a:lnTo>
                    <a:pt x="491" y="203"/>
                  </a:lnTo>
                  <a:lnTo>
                    <a:pt x="491" y="204"/>
                  </a:lnTo>
                  <a:lnTo>
                    <a:pt x="490" y="207"/>
                  </a:lnTo>
                  <a:lnTo>
                    <a:pt x="486" y="209"/>
                  </a:lnTo>
                  <a:lnTo>
                    <a:pt x="489" y="210"/>
                  </a:lnTo>
                  <a:lnTo>
                    <a:pt x="489" y="213"/>
                  </a:lnTo>
                  <a:lnTo>
                    <a:pt x="489" y="214"/>
                  </a:lnTo>
                  <a:lnTo>
                    <a:pt x="490" y="214"/>
                  </a:lnTo>
                  <a:lnTo>
                    <a:pt x="490" y="216"/>
                  </a:lnTo>
                  <a:lnTo>
                    <a:pt x="489" y="217"/>
                  </a:lnTo>
                  <a:lnTo>
                    <a:pt x="491" y="217"/>
                  </a:lnTo>
                  <a:lnTo>
                    <a:pt x="491" y="219"/>
                  </a:lnTo>
                  <a:lnTo>
                    <a:pt x="492" y="220"/>
                  </a:lnTo>
                  <a:lnTo>
                    <a:pt x="495" y="220"/>
                  </a:lnTo>
                  <a:lnTo>
                    <a:pt x="496" y="220"/>
                  </a:lnTo>
                  <a:lnTo>
                    <a:pt x="497" y="220"/>
                  </a:lnTo>
                  <a:lnTo>
                    <a:pt x="498" y="220"/>
                  </a:lnTo>
                  <a:lnTo>
                    <a:pt x="500" y="220"/>
                  </a:lnTo>
                  <a:lnTo>
                    <a:pt x="501" y="220"/>
                  </a:lnTo>
                  <a:lnTo>
                    <a:pt x="502" y="220"/>
                  </a:lnTo>
                  <a:lnTo>
                    <a:pt x="506" y="221"/>
                  </a:lnTo>
                  <a:lnTo>
                    <a:pt x="506" y="222"/>
                  </a:lnTo>
                  <a:lnTo>
                    <a:pt x="508" y="222"/>
                  </a:lnTo>
                  <a:lnTo>
                    <a:pt x="509" y="222"/>
                  </a:lnTo>
                  <a:lnTo>
                    <a:pt x="510" y="222"/>
                  </a:lnTo>
                  <a:lnTo>
                    <a:pt x="513" y="221"/>
                  </a:lnTo>
                  <a:lnTo>
                    <a:pt x="514" y="221"/>
                  </a:lnTo>
                  <a:lnTo>
                    <a:pt x="514" y="222"/>
                  </a:lnTo>
                  <a:lnTo>
                    <a:pt x="513" y="223"/>
                  </a:lnTo>
                  <a:lnTo>
                    <a:pt x="512" y="227"/>
                  </a:lnTo>
                  <a:lnTo>
                    <a:pt x="512" y="228"/>
                  </a:lnTo>
                  <a:lnTo>
                    <a:pt x="513" y="228"/>
                  </a:lnTo>
                  <a:lnTo>
                    <a:pt x="515" y="228"/>
                  </a:lnTo>
                  <a:lnTo>
                    <a:pt x="518" y="228"/>
                  </a:lnTo>
                  <a:lnTo>
                    <a:pt x="519" y="229"/>
                  </a:lnTo>
                  <a:lnTo>
                    <a:pt x="521" y="229"/>
                  </a:lnTo>
                  <a:lnTo>
                    <a:pt x="523" y="229"/>
                  </a:lnTo>
                  <a:lnTo>
                    <a:pt x="523" y="228"/>
                  </a:lnTo>
                  <a:lnTo>
                    <a:pt x="525" y="228"/>
                  </a:lnTo>
                  <a:lnTo>
                    <a:pt x="526" y="229"/>
                  </a:lnTo>
                  <a:lnTo>
                    <a:pt x="526" y="231"/>
                  </a:lnTo>
                  <a:lnTo>
                    <a:pt x="525" y="232"/>
                  </a:lnTo>
                  <a:lnTo>
                    <a:pt x="524" y="233"/>
                  </a:lnTo>
                  <a:lnTo>
                    <a:pt x="521" y="235"/>
                  </a:lnTo>
                  <a:lnTo>
                    <a:pt x="519" y="235"/>
                  </a:lnTo>
                  <a:lnTo>
                    <a:pt x="519" y="237"/>
                  </a:lnTo>
                  <a:lnTo>
                    <a:pt x="518" y="237"/>
                  </a:lnTo>
                  <a:lnTo>
                    <a:pt x="516" y="238"/>
                  </a:lnTo>
                  <a:lnTo>
                    <a:pt x="514" y="240"/>
                  </a:lnTo>
                  <a:lnTo>
                    <a:pt x="513" y="241"/>
                  </a:lnTo>
                  <a:lnTo>
                    <a:pt x="512" y="241"/>
                  </a:lnTo>
                  <a:lnTo>
                    <a:pt x="510" y="241"/>
                  </a:lnTo>
                  <a:lnTo>
                    <a:pt x="509" y="240"/>
                  </a:lnTo>
                  <a:lnTo>
                    <a:pt x="508" y="241"/>
                  </a:lnTo>
                  <a:lnTo>
                    <a:pt x="507" y="241"/>
                  </a:lnTo>
                  <a:lnTo>
                    <a:pt x="504" y="241"/>
                  </a:lnTo>
                  <a:lnTo>
                    <a:pt x="502" y="241"/>
                  </a:lnTo>
                  <a:lnTo>
                    <a:pt x="501" y="240"/>
                  </a:lnTo>
                  <a:lnTo>
                    <a:pt x="501" y="239"/>
                  </a:lnTo>
                  <a:lnTo>
                    <a:pt x="500" y="239"/>
                  </a:lnTo>
                  <a:lnTo>
                    <a:pt x="498" y="239"/>
                  </a:lnTo>
                  <a:lnTo>
                    <a:pt x="497" y="238"/>
                  </a:lnTo>
                  <a:lnTo>
                    <a:pt x="496" y="237"/>
                  </a:lnTo>
                  <a:lnTo>
                    <a:pt x="496" y="235"/>
                  </a:lnTo>
                  <a:lnTo>
                    <a:pt x="496" y="234"/>
                  </a:lnTo>
                  <a:lnTo>
                    <a:pt x="494" y="234"/>
                  </a:lnTo>
                  <a:lnTo>
                    <a:pt x="495" y="235"/>
                  </a:lnTo>
                  <a:lnTo>
                    <a:pt x="495" y="238"/>
                  </a:lnTo>
                  <a:lnTo>
                    <a:pt x="496" y="238"/>
                  </a:lnTo>
                  <a:lnTo>
                    <a:pt x="496" y="240"/>
                  </a:lnTo>
                  <a:lnTo>
                    <a:pt x="496" y="241"/>
                  </a:lnTo>
                  <a:lnTo>
                    <a:pt x="495" y="243"/>
                  </a:lnTo>
                  <a:lnTo>
                    <a:pt x="494" y="244"/>
                  </a:lnTo>
                  <a:lnTo>
                    <a:pt x="491" y="243"/>
                  </a:lnTo>
                  <a:lnTo>
                    <a:pt x="490" y="241"/>
                  </a:lnTo>
                  <a:lnTo>
                    <a:pt x="490" y="240"/>
                  </a:lnTo>
                  <a:lnTo>
                    <a:pt x="489" y="240"/>
                  </a:lnTo>
                  <a:lnTo>
                    <a:pt x="489" y="238"/>
                  </a:lnTo>
                  <a:lnTo>
                    <a:pt x="486" y="238"/>
                  </a:lnTo>
                  <a:lnTo>
                    <a:pt x="486" y="237"/>
                  </a:lnTo>
                  <a:lnTo>
                    <a:pt x="485" y="237"/>
                  </a:lnTo>
                  <a:lnTo>
                    <a:pt x="484" y="238"/>
                  </a:lnTo>
                  <a:lnTo>
                    <a:pt x="483" y="238"/>
                  </a:lnTo>
                  <a:lnTo>
                    <a:pt x="483" y="237"/>
                  </a:lnTo>
                  <a:lnTo>
                    <a:pt x="482" y="237"/>
                  </a:lnTo>
                  <a:lnTo>
                    <a:pt x="479" y="234"/>
                  </a:lnTo>
                  <a:lnTo>
                    <a:pt x="477" y="235"/>
                  </a:lnTo>
                  <a:lnTo>
                    <a:pt x="476" y="237"/>
                  </a:lnTo>
                  <a:lnTo>
                    <a:pt x="474" y="235"/>
                  </a:lnTo>
                  <a:lnTo>
                    <a:pt x="472" y="237"/>
                  </a:lnTo>
                  <a:lnTo>
                    <a:pt x="468" y="237"/>
                  </a:lnTo>
                  <a:lnTo>
                    <a:pt x="468" y="235"/>
                  </a:lnTo>
                  <a:lnTo>
                    <a:pt x="467" y="237"/>
                  </a:lnTo>
                  <a:lnTo>
                    <a:pt x="466" y="237"/>
                  </a:lnTo>
                  <a:lnTo>
                    <a:pt x="465" y="238"/>
                  </a:lnTo>
                  <a:lnTo>
                    <a:pt x="462" y="238"/>
                  </a:lnTo>
                  <a:lnTo>
                    <a:pt x="461" y="240"/>
                  </a:lnTo>
                  <a:lnTo>
                    <a:pt x="457" y="238"/>
                  </a:lnTo>
                  <a:lnTo>
                    <a:pt x="457" y="235"/>
                  </a:lnTo>
                  <a:lnTo>
                    <a:pt x="457" y="234"/>
                  </a:lnTo>
                  <a:lnTo>
                    <a:pt x="456" y="234"/>
                  </a:lnTo>
                  <a:lnTo>
                    <a:pt x="454" y="235"/>
                  </a:lnTo>
                  <a:lnTo>
                    <a:pt x="453" y="235"/>
                  </a:lnTo>
                  <a:lnTo>
                    <a:pt x="451" y="235"/>
                  </a:lnTo>
                  <a:lnTo>
                    <a:pt x="450" y="237"/>
                  </a:lnTo>
                  <a:lnTo>
                    <a:pt x="450" y="238"/>
                  </a:lnTo>
                  <a:lnTo>
                    <a:pt x="450" y="240"/>
                  </a:lnTo>
                  <a:lnTo>
                    <a:pt x="451" y="239"/>
                  </a:lnTo>
                  <a:lnTo>
                    <a:pt x="453" y="238"/>
                  </a:lnTo>
                  <a:lnTo>
                    <a:pt x="453" y="239"/>
                  </a:lnTo>
                  <a:lnTo>
                    <a:pt x="453" y="240"/>
                  </a:lnTo>
                  <a:lnTo>
                    <a:pt x="453" y="243"/>
                  </a:lnTo>
                  <a:lnTo>
                    <a:pt x="454" y="240"/>
                  </a:lnTo>
                  <a:lnTo>
                    <a:pt x="454" y="243"/>
                  </a:lnTo>
                  <a:lnTo>
                    <a:pt x="454" y="244"/>
                  </a:lnTo>
                  <a:lnTo>
                    <a:pt x="454" y="245"/>
                  </a:lnTo>
                  <a:lnTo>
                    <a:pt x="455" y="245"/>
                  </a:lnTo>
                  <a:lnTo>
                    <a:pt x="455" y="246"/>
                  </a:lnTo>
                  <a:lnTo>
                    <a:pt x="456" y="245"/>
                  </a:lnTo>
                  <a:lnTo>
                    <a:pt x="456" y="246"/>
                  </a:lnTo>
                  <a:lnTo>
                    <a:pt x="454" y="246"/>
                  </a:lnTo>
                  <a:lnTo>
                    <a:pt x="455" y="249"/>
                  </a:lnTo>
                  <a:lnTo>
                    <a:pt x="456" y="247"/>
                  </a:lnTo>
                  <a:lnTo>
                    <a:pt x="457" y="249"/>
                  </a:lnTo>
                  <a:lnTo>
                    <a:pt x="459" y="249"/>
                  </a:lnTo>
                  <a:lnTo>
                    <a:pt x="460" y="249"/>
                  </a:lnTo>
                  <a:lnTo>
                    <a:pt x="462" y="250"/>
                  </a:lnTo>
                  <a:lnTo>
                    <a:pt x="464" y="250"/>
                  </a:lnTo>
                  <a:lnTo>
                    <a:pt x="464" y="251"/>
                  </a:lnTo>
                  <a:lnTo>
                    <a:pt x="465" y="252"/>
                  </a:lnTo>
                  <a:lnTo>
                    <a:pt x="465" y="253"/>
                  </a:lnTo>
                  <a:lnTo>
                    <a:pt x="465" y="255"/>
                  </a:lnTo>
                  <a:lnTo>
                    <a:pt x="466" y="255"/>
                  </a:lnTo>
                  <a:lnTo>
                    <a:pt x="467" y="256"/>
                  </a:lnTo>
                  <a:lnTo>
                    <a:pt x="470" y="257"/>
                  </a:lnTo>
                  <a:lnTo>
                    <a:pt x="471" y="259"/>
                  </a:lnTo>
                  <a:lnTo>
                    <a:pt x="472" y="259"/>
                  </a:lnTo>
                  <a:lnTo>
                    <a:pt x="473" y="261"/>
                  </a:lnTo>
                  <a:lnTo>
                    <a:pt x="473" y="262"/>
                  </a:lnTo>
                  <a:lnTo>
                    <a:pt x="474" y="262"/>
                  </a:lnTo>
                  <a:lnTo>
                    <a:pt x="474" y="263"/>
                  </a:lnTo>
                  <a:lnTo>
                    <a:pt x="476" y="263"/>
                  </a:lnTo>
                  <a:lnTo>
                    <a:pt x="476" y="262"/>
                  </a:lnTo>
                  <a:lnTo>
                    <a:pt x="479" y="263"/>
                  </a:lnTo>
                  <a:lnTo>
                    <a:pt x="480" y="263"/>
                  </a:lnTo>
                  <a:lnTo>
                    <a:pt x="480" y="264"/>
                  </a:lnTo>
                  <a:lnTo>
                    <a:pt x="482" y="266"/>
                  </a:lnTo>
                  <a:lnTo>
                    <a:pt x="484" y="266"/>
                  </a:lnTo>
                  <a:lnTo>
                    <a:pt x="484" y="267"/>
                  </a:lnTo>
                  <a:lnTo>
                    <a:pt x="486" y="267"/>
                  </a:lnTo>
                  <a:lnTo>
                    <a:pt x="486" y="268"/>
                  </a:lnTo>
                  <a:lnTo>
                    <a:pt x="488" y="268"/>
                  </a:lnTo>
                  <a:lnTo>
                    <a:pt x="489" y="269"/>
                  </a:lnTo>
                  <a:lnTo>
                    <a:pt x="490" y="269"/>
                  </a:lnTo>
                  <a:lnTo>
                    <a:pt x="490" y="270"/>
                  </a:lnTo>
                  <a:lnTo>
                    <a:pt x="489" y="272"/>
                  </a:lnTo>
                  <a:lnTo>
                    <a:pt x="490" y="273"/>
                  </a:lnTo>
                  <a:lnTo>
                    <a:pt x="490" y="274"/>
                  </a:lnTo>
                  <a:lnTo>
                    <a:pt x="491" y="275"/>
                  </a:lnTo>
                  <a:lnTo>
                    <a:pt x="490" y="276"/>
                  </a:lnTo>
                  <a:lnTo>
                    <a:pt x="492" y="276"/>
                  </a:lnTo>
                  <a:lnTo>
                    <a:pt x="496" y="276"/>
                  </a:lnTo>
                  <a:lnTo>
                    <a:pt x="500" y="276"/>
                  </a:lnTo>
                  <a:lnTo>
                    <a:pt x="500" y="279"/>
                  </a:lnTo>
                  <a:lnTo>
                    <a:pt x="501" y="279"/>
                  </a:lnTo>
                  <a:lnTo>
                    <a:pt x="503" y="279"/>
                  </a:lnTo>
                  <a:lnTo>
                    <a:pt x="506" y="279"/>
                  </a:lnTo>
                  <a:lnTo>
                    <a:pt x="507" y="278"/>
                  </a:lnTo>
                  <a:lnTo>
                    <a:pt x="508" y="280"/>
                  </a:lnTo>
                  <a:lnTo>
                    <a:pt x="509" y="280"/>
                  </a:lnTo>
                  <a:lnTo>
                    <a:pt x="510" y="280"/>
                  </a:lnTo>
                  <a:lnTo>
                    <a:pt x="510" y="281"/>
                  </a:lnTo>
                  <a:lnTo>
                    <a:pt x="509" y="284"/>
                  </a:lnTo>
                  <a:lnTo>
                    <a:pt x="508" y="285"/>
                  </a:lnTo>
                  <a:lnTo>
                    <a:pt x="507" y="285"/>
                  </a:lnTo>
                  <a:lnTo>
                    <a:pt x="508" y="286"/>
                  </a:lnTo>
                  <a:lnTo>
                    <a:pt x="510" y="287"/>
                  </a:lnTo>
                  <a:lnTo>
                    <a:pt x="512" y="288"/>
                  </a:lnTo>
                  <a:lnTo>
                    <a:pt x="514" y="288"/>
                  </a:lnTo>
                  <a:lnTo>
                    <a:pt x="515" y="288"/>
                  </a:lnTo>
                  <a:lnTo>
                    <a:pt x="514" y="291"/>
                  </a:lnTo>
                  <a:lnTo>
                    <a:pt x="516" y="292"/>
                  </a:lnTo>
                  <a:lnTo>
                    <a:pt x="519" y="293"/>
                  </a:lnTo>
                  <a:lnTo>
                    <a:pt x="520" y="293"/>
                  </a:lnTo>
                  <a:lnTo>
                    <a:pt x="521" y="293"/>
                  </a:lnTo>
                  <a:lnTo>
                    <a:pt x="523" y="293"/>
                  </a:lnTo>
                  <a:lnTo>
                    <a:pt x="525" y="293"/>
                  </a:lnTo>
                  <a:lnTo>
                    <a:pt x="526" y="293"/>
                  </a:lnTo>
                  <a:lnTo>
                    <a:pt x="525" y="297"/>
                  </a:lnTo>
                  <a:lnTo>
                    <a:pt x="524" y="298"/>
                  </a:lnTo>
                  <a:lnTo>
                    <a:pt x="523" y="299"/>
                  </a:lnTo>
                  <a:lnTo>
                    <a:pt x="521" y="300"/>
                  </a:lnTo>
                  <a:lnTo>
                    <a:pt x="520" y="300"/>
                  </a:lnTo>
                  <a:lnTo>
                    <a:pt x="518" y="302"/>
                  </a:lnTo>
                  <a:lnTo>
                    <a:pt x="520" y="302"/>
                  </a:lnTo>
                  <a:lnTo>
                    <a:pt x="523" y="302"/>
                  </a:lnTo>
                  <a:lnTo>
                    <a:pt x="524" y="304"/>
                  </a:lnTo>
                  <a:lnTo>
                    <a:pt x="526" y="305"/>
                  </a:lnTo>
                  <a:lnTo>
                    <a:pt x="525" y="308"/>
                  </a:lnTo>
                  <a:lnTo>
                    <a:pt x="524" y="309"/>
                  </a:lnTo>
                  <a:lnTo>
                    <a:pt x="523" y="310"/>
                  </a:lnTo>
                  <a:lnTo>
                    <a:pt x="523" y="311"/>
                  </a:lnTo>
                  <a:lnTo>
                    <a:pt x="523" y="312"/>
                  </a:lnTo>
                  <a:lnTo>
                    <a:pt x="523" y="314"/>
                  </a:lnTo>
                  <a:lnTo>
                    <a:pt x="523" y="315"/>
                  </a:lnTo>
                  <a:lnTo>
                    <a:pt x="525" y="316"/>
                  </a:lnTo>
                  <a:lnTo>
                    <a:pt x="525" y="317"/>
                  </a:lnTo>
                  <a:lnTo>
                    <a:pt x="525" y="320"/>
                  </a:lnTo>
                  <a:lnTo>
                    <a:pt x="524" y="320"/>
                  </a:lnTo>
                  <a:lnTo>
                    <a:pt x="524" y="321"/>
                  </a:lnTo>
                  <a:lnTo>
                    <a:pt x="521" y="321"/>
                  </a:lnTo>
                  <a:lnTo>
                    <a:pt x="519" y="321"/>
                  </a:lnTo>
                  <a:lnTo>
                    <a:pt x="521" y="324"/>
                  </a:lnTo>
                  <a:lnTo>
                    <a:pt x="523" y="326"/>
                  </a:lnTo>
                  <a:lnTo>
                    <a:pt x="524" y="327"/>
                  </a:lnTo>
                  <a:lnTo>
                    <a:pt x="524" y="326"/>
                  </a:lnTo>
                  <a:lnTo>
                    <a:pt x="525" y="326"/>
                  </a:lnTo>
                  <a:lnTo>
                    <a:pt x="526" y="326"/>
                  </a:lnTo>
                  <a:lnTo>
                    <a:pt x="526" y="327"/>
                  </a:lnTo>
                  <a:lnTo>
                    <a:pt x="527" y="327"/>
                  </a:lnTo>
                  <a:lnTo>
                    <a:pt x="527" y="328"/>
                  </a:lnTo>
                  <a:lnTo>
                    <a:pt x="526" y="329"/>
                  </a:lnTo>
                  <a:lnTo>
                    <a:pt x="525" y="330"/>
                  </a:lnTo>
                  <a:lnTo>
                    <a:pt x="523" y="330"/>
                  </a:lnTo>
                  <a:lnTo>
                    <a:pt x="520" y="330"/>
                  </a:lnTo>
                  <a:lnTo>
                    <a:pt x="520" y="329"/>
                  </a:lnTo>
                  <a:lnTo>
                    <a:pt x="518" y="329"/>
                  </a:lnTo>
                  <a:lnTo>
                    <a:pt x="516" y="328"/>
                  </a:lnTo>
                  <a:lnTo>
                    <a:pt x="512" y="327"/>
                  </a:lnTo>
                  <a:lnTo>
                    <a:pt x="510" y="324"/>
                  </a:lnTo>
                  <a:lnTo>
                    <a:pt x="509" y="323"/>
                  </a:lnTo>
                  <a:lnTo>
                    <a:pt x="508" y="321"/>
                  </a:lnTo>
                  <a:lnTo>
                    <a:pt x="507" y="318"/>
                  </a:lnTo>
                  <a:lnTo>
                    <a:pt x="506" y="317"/>
                  </a:lnTo>
                  <a:lnTo>
                    <a:pt x="506" y="315"/>
                  </a:lnTo>
                  <a:lnTo>
                    <a:pt x="504" y="315"/>
                  </a:lnTo>
                  <a:lnTo>
                    <a:pt x="504" y="312"/>
                  </a:lnTo>
                  <a:lnTo>
                    <a:pt x="502" y="311"/>
                  </a:lnTo>
                  <a:lnTo>
                    <a:pt x="501" y="311"/>
                  </a:lnTo>
                  <a:lnTo>
                    <a:pt x="500" y="312"/>
                  </a:lnTo>
                  <a:lnTo>
                    <a:pt x="498" y="312"/>
                  </a:lnTo>
                  <a:lnTo>
                    <a:pt x="497" y="311"/>
                  </a:lnTo>
                  <a:lnTo>
                    <a:pt x="496" y="311"/>
                  </a:lnTo>
                  <a:lnTo>
                    <a:pt x="495" y="311"/>
                  </a:lnTo>
                  <a:lnTo>
                    <a:pt x="494" y="312"/>
                  </a:lnTo>
                  <a:lnTo>
                    <a:pt x="492" y="314"/>
                  </a:lnTo>
                  <a:lnTo>
                    <a:pt x="490" y="312"/>
                  </a:lnTo>
                  <a:lnTo>
                    <a:pt x="490" y="310"/>
                  </a:lnTo>
                  <a:lnTo>
                    <a:pt x="490" y="309"/>
                  </a:lnTo>
                  <a:lnTo>
                    <a:pt x="491" y="308"/>
                  </a:lnTo>
                  <a:lnTo>
                    <a:pt x="492" y="308"/>
                  </a:lnTo>
                  <a:lnTo>
                    <a:pt x="494" y="308"/>
                  </a:lnTo>
                  <a:lnTo>
                    <a:pt x="494" y="306"/>
                  </a:lnTo>
                  <a:lnTo>
                    <a:pt x="492" y="305"/>
                  </a:lnTo>
                  <a:lnTo>
                    <a:pt x="494" y="304"/>
                  </a:lnTo>
                  <a:lnTo>
                    <a:pt x="495" y="304"/>
                  </a:lnTo>
                  <a:lnTo>
                    <a:pt x="496" y="304"/>
                  </a:lnTo>
                  <a:lnTo>
                    <a:pt x="497" y="304"/>
                  </a:lnTo>
                  <a:lnTo>
                    <a:pt x="497" y="302"/>
                  </a:lnTo>
                  <a:lnTo>
                    <a:pt x="495" y="303"/>
                  </a:lnTo>
                  <a:lnTo>
                    <a:pt x="495" y="302"/>
                  </a:lnTo>
                  <a:lnTo>
                    <a:pt x="494" y="302"/>
                  </a:lnTo>
                  <a:lnTo>
                    <a:pt x="491" y="302"/>
                  </a:lnTo>
                  <a:lnTo>
                    <a:pt x="490" y="302"/>
                  </a:lnTo>
                  <a:lnTo>
                    <a:pt x="488" y="300"/>
                  </a:lnTo>
                  <a:lnTo>
                    <a:pt x="486" y="299"/>
                  </a:lnTo>
                  <a:lnTo>
                    <a:pt x="484" y="299"/>
                  </a:lnTo>
                  <a:lnTo>
                    <a:pt x="486" y="298"/>
                  </a:lnTo>
                  <a:lnTo>
                    <a:pt x="484" y="298"/>
                  </a:lnTo>
                  <a:lnTo>
                    <a:pt x="484" y="296"/>
                  </a:lnTo>
                  <a:lnTo>
                    <a:pt x="484" y="294"/>
                  </a:lnTo>
                  <a:lnTo>
                    <a:pt x="483" y="294"/>
                  </a:lnTo>
                  <a:lnTo>
                    <a:pt x="483" y="296"/>
                  </a:lnTo>
                  <a:lnTo>
                    <a:pt x="480" y="296"/>
                  </a:lnTo>
                  <a:lnTo>
                    <a:pt x="479" y="296"/>
                  </a:lnTo>
                  <a:lnTo>
                    <a:pt x="478" y="297"/>
                  </a:lnTo>
                  <a:lnTo>
                    <a:pt x="477" y="296"/>
                  </a:lnTo>
                  <a:lnTo>
                    <a:pt x="476" y="294"/>
                  </a:lnTo>
                  <a:lnTo>
                    <a:pt x="476" y="293"/>
                  </a:lnTo>
                  <a:lnTo>
                    <a:pt x="473" y="293"/>
                  </a:lnTo>
                  <a:lnTo>
                    <a:pt x="472" y="292"/>
                  </a:lnTo>
                  <a:lnTo>
                    <a:pt x="473" y="291"/>
                  </a:lnTo>
                  <a:lnTo>
                    <a:pt x="472" y="291"/>
                  </a:lnTo>
                  <a:lnTo>
                    <a:pt x="471" y="291"/>
                  </a:lnTo>
                  <a:lnTo>
                    <a:pt x="470" y="290"/>
                  </a:lnTo>
                  <a:lnTo>
                    <a:pt x="468" y="290"/>
                  </a:lnTo>
                  <a:lnTo>
                    <a:pt x="467" y="290"/>
                  </a:lnTo>
                  <a:lnTo>
                    <a:pt x="466" y="288"/>
                  </a:lnTo>
                  <a:lnTo>
                    <a:pt x="465" y="290"/>
                  </a:lnTo>
                  <a:lnTo>
                    <a:pt x="464" y="287"/>
                  </a:lnTo>
                  <a:lnTo>
                    <a:pt x="464" y="286"/>
                  </a:lnTo>
                  <a:lnTo>
                    <a:pt x="462" y="286"/>
                  </a:lnTo>
                  <a:lnTo>
                    <a:pt x="462" y="285"/>
                  </a:lnTo>
                  <a:lnTo>
                    <a:pt x="462" y="282"/>
                  </a:lnTo>
                  <a:lnTo>
                    <a:pt x="464" y="282"/>
                  </a:lnTo>
                  <a:lnTo>
                    <a:pt x="462" y="282"/>
                  </a:lnTo>
                  <a:lnTo>
                    <a:pt x="462" y="281"/>
                  </a:lnTo>
                  <a:lnTo>
                    <a:pt x="461" y="280"/>
                  </a:lnTo>
                  <a:lnTo>
                    <a:pt x="460" y="279"/>
                  </a:lnTo>
                  <a:lnTo>
                    <a:pt x="459" y="278"/>
                  </a:lnTo>
                  <a:lnTo>
                    <a:pt x="459" y="279"/>
                  </a:lnTo>
                  <a:lnTo>
                    <a:pt x="459" y="280"/>
                  </a:lnTo>
                  <a:lnTo>
                    <a:pt x="459" y="281"/>
                  </a:lnTo>
                  <a:lnTo>
                    <a:pt x="457" y="282"/>
                  </a:lnTo>
                  <a:lnTo>
                    <a:pt x="455" y="282"/>
                  </a:lnTo>
                  <a:lnTo>
                    <a:pt x="455" y="284"/>
                  </a:lnTo>
                  <a:lnTo>
                    <a:pt x="456" y="285"/>
                  </a:lnTo>
                  <a:lnTo>
                    <a:pt x="457" y="285"/>
                  </a:lnTo>
                  <a:lnTo>
                    <a:pt x="459" y="285"/>
                  </a:lnTo>
                  <a:lnTo>
                    <a:pt x="460" y="285"/>
                  </a:lnTo>
                  <a:lnTo>
                    <a:pt x="460" y="287"/>
                  </a:lnTo>
                  <a:lnTo>
                    <a:pt x="461" y="287"/>
                  </a:lnTo>
                  <a:lnTo>
                    <a:pt x="461" y="288"/>
                  </a:lnTo>
                  <a:lnTo>
                    <a:pt x="461" y="290"/>
                  </a:lnTo>
                  <a:lnTo>
                    <a:pt x="461" y="291"/>
                  </a:lnTo>
                  <a:lnTo>
                    <a:pt x="462" y="292"/>
                  </a:lnTo>
                  <a:lnTo>
                    <a:pt x="462" y="293"/>
                  </a:lnTo>
                  <a:lnTo>
                    <a:pt x="460" y="292"/>
                  </a:lnTo>
                  <a:lnTo>
                    <a:pt x="460" y="293"/>
                  </a:lnTo>
                  <a:lnTo>
                    <a:pt x="459" y="292"/>
                  </a:lnTo>
                  <a:lnTo>
                    <a:pt x="457" y="291"/>
                  </a:lnTo>
                  <a:lnTo>
                    <a:pt x="456" y="291"/>
                  </a:lnTo>
                  <a:lnTo>
                    <a:pt x="456" y="290"/>
                  </a:lnTo>
                  <a:lnTo>
                    <a:pt x="455" y="290"/>
                  </a:lnTo>
                  <a:lnTo>
                    <a:pt x="455" y="288"/>
                  </a:lnTo>
                  <a:lnTo>
                    <a:pt x="451" y="288"/>
                  </a:lnTo>
                  <a:lnTo>
                    <a:pt x="450" y="287"/>
                  </a:lnTo>
                  <a:lnTo>
                    <a:pt x="449" y="287"/>
                  </a:lnTo>
                  <a:lnTo>
                    <a:pt x="447" y="287"/>
                  </a:lnTo>
                  <a:lnTo>
                    <a:pt x="445" y="287"/>
                  </a:lnTo>
                  <a:lnTo>
                    <a:pt x="444" y="286"/>
                  </a:lnTo>
                  <a:lnTo>
                    <a:pt x="441" y="286"/>
                  </a:lnTo>
                  <a:lnTo>
                    <a:pt x="438" y="285"/>
                  </a:lnTo>
                  <a:lnTo>
                    <a:pt x="437" y="285"/>
                  </a:lnTo>
                  <a:lnTo>
                    <a:pt x="435" y="285"/>
                  </a:lnTo>
                  <a:lnTo>
                    <a:pt x="436" y="284"/>
                  </a:lnTo>
                  <a:lnTo>
                    <a:pt x="433" y="282"/>
                  </a:lnTo>
                  <a:lnTo>
                    <a:pt x="432" y="282"/>
                  </a:lnTo>
                  <a:lnTo>
                    <a:pt x="429" y="279"/>
                  </a:lnTo>
                  <a:lnTo>
                    <a:pt x="430" y="276"/>
                  </a:lnTo>
                  <a:lnTo>
                    <a:pt x="431" y="274"/>
                  </a:lnTo>
                  <a:lnTo>
                    <a:pt x="431" y="272"/>
                  </a:lnTo>
                  <a:lnTo>
                    <a:pt x="431" y="273"/>
                  </a:lnTo>
                  <a:lnTo>
                    <a:pt x="430" y="273"/>
                  </a:lnTo>
                  <a:lnTo>
                    <a:pt x="430" y="274"/>
                  </a:lnTo>
                  <a:lnTo>
                    <a:pt x="430" y="275"/>
                  </a:lnTo>
                  <a:lnTo>
                    <a:pt x="429" y="276"/>
                  </a:lnTo>
                  <a:lnTo>
                    <a:pt x="426" y="275"/>
                  </a:lnTo>
                  <a:lnTo>
                    <a:pt x="425" y="275"/>
                  </a:lnTo>
                  <a:lnTo>
                    <a:pt x="424" y="274"/>
                  </a:lnTo>
                  <a:lnTo>
                    <a:pt x="421" y="275"/>
                  </a:lnTo>
                  <a:lnTo>
                    <a:pt x="420" y="278"/>
                  </a:lnTo>
                  <a:lnTo>
                    <a:pt x="418" y="279"/>
                  </a:lnTo>
                  <a:lnTo>
                    <a:pt x="418" y="278"/>
                  </a:lnTo>
                  <a:lnTo>
                    <a:pt x="417" y="278"/>
                  </a:lnTo>
                  <a:lnTo>
                    <a:pt x="415" y="278"/>
                  </a:lnTo>
                  <a:lnTo>
                    <a:pt x="414" y="279"/>
                  </a:lnTo>
                  <a:lnTo>
                    <a:pt x="414" y="282"/>
                  </a:lnTo>
                  <a:lnTo>
                    <a:pt x="415" y="281"/>
                  </a:lnTo>
                  <a:lnTo>
                    <a:pt x="417" y="281"/>
                  </a:lnTo>
                  <a:lnTo>
                    <a:pt x="418" y="282"/>
                  </a:lnTo>
                  <a:lnTo>
                    <a:pt x="419" y="284"/>
                  </a:lnTo>
                  <a:lnTo>
                    <a:pt x="419" y="281"/>
                  </a:lnTo>
                  <a:lnTo>
                    <a:pt x="420" y="281"/>
                  </a:lnTo>
                  <a:lnTo>
                    <a:pt x="423" y="281"/>
                  </a:lnTo>
                  <a:lnTo>
                    <a:pt x="424" y="281"/>
                  </a:lnTo>
                  <a:lnTo>
                    <a:pt x="423" y="282"/>
                  </a:lnTo>
                  <a:lnTo>
                    <a:pt x="423" y="284"/>
                  </a:lnTo>
                  <a:lnTo>
                    <a:pt x="423" y="285"/>
                  </a:lnTo>
                  <a:lnTo>
                    <a:pt x="423" y="287"/>
                  </a:lnTo>
                  <a:lnTo>
                    <a:pt x="424" y="287"/>
                  </a:lnTo>
                  <a:lnTo>
                    <a:pt x="421" y="287"/>
                  </a:lnTo>
                  <a:lnTo>
                    <a:pt x="420" y="287"/>
                  </a:lnTo>
                  <a:lnTo>
                    <a:pt x="419" y="286"/>
                  </a:lnTo>
                  <a:lnTo>
                    <a:pt x="419" y="285"/>
                  </a:lnTo>
                  <a:lnTo>
                    <a:pt x="418" y="285"/>
                  </a:lnTo>
                  <a:lnTo>
                    <a:pt x="418" y="287"/>
                  </a:lnTo>
                  <a:lnTo>
                    <a:pt x="419" y="287"/>
                  </a:lnTo>
                  <a:lnTo>
                    <a:pt x="421" y="288"/>
                  </a:lnTo>
                  <a:lnTo>
                    <a:pt x="421" y="290"/>
                  </a:lnTo>
                  <a:lnTo>
                    <a:pt x="425" y="291"/>
                  </a:lnTo>
                  <a:lnTo>
                    <a:pt x="425" y="290"/>
                  </a:lnTo>
                  <a:lnTo>
                    <a:pt x="426" y="290"/>
                  </a:lnTo>
                  <a:lnTo>
                    <a:pt x="429" y="288"/>
                  </a:lnTo>
                  <a:lnTo>
                    <a:pt x="429" y="287"/>
                  </a:lnTo>
                  <a:lnTo>
                    <a:pt x="430" y="287"/>
                  </a:lnTo>
                  <a:lnTo>
                    <a:pt x="431" y="288"/>
                  </a:lnTo>
                  <a:lnTo>
                    <a:pt x="432" y="290"/>
                  </a:lnTo>
                  <a:lnTo>
                    <a:pt x="431" y="290"/>
                  </a:lnTo>
                  <a:lnTo>
                    <a:pt x="432" y="291"/>
                  </a:lnTo>
                  <a:lnTo>
                    <a:pt x="431" y="292"/>
                  </a:lnTo>
                  <a:lnTo>
                    <a:pt x="433" y="293"/>
                  </a:lnTo>
                  <a:lnTo>
                    <a:pt x="435" y="294"/>
                  </a:lnTo>
                  <a:lnTo>
                    <a:pt x="435" y="296"/>
                  </a:lnTo>
                  <a:lnTo>
                    <a:pt x="433" y="296"/>
                  </a:lnTo>
                  <a:lnTo>
                    <a:pt x="435" y="296"/>
                  </a:lnTo>
                  <a:lnTo>
                    <a:pt x="433" y="298"/>
                  </a:lnTo>
                  <a:lnTo>
                    <a:pt x="435" y="299"/>
                  </a:lnTo>
                  <a:lnTo>
                    <a:pt x="436" y="298"/>
                  </a:lnTo>
                  <a:lnTo>
                    <a:pt x="437" y="299"/>
                  </a:lnTo>
                  <a:lnTo>
                    <a:pt x="438" y="300"/>
                  </a:lnTo>
                  <a:lnTo>
                    <a:pt x="437" y="302"/>
                  </a:lnTo>
                  <a:lnTo>
                    <a:pt x="439" y="302"/>
                  </a:lnTo>
                  <a:lnTo>
                    <a:pt x="443" y="302"/>
                  </a:lnTo>
                  <a:lnTo>
                    <a:pt x="444" y="303"/>
                  </a:lnTo>
                  <a:lnTo>
                    <a:pt x="444" y="304"/>
                  </a:lnTo>
                  <a:lnTo>
                    <a:pt x="445" y="304"/>
                  </a:lnTo>
                  <a:lnTo>
                    <a:pt x="449" y="305"/>
                  </a:lnTo>
                  <a:lnTo>
                    <a:pt x="451" y="304"/>
                  </a:lnTo>
                  <a:lnTo>
                    <a:pt x="453" y="303"/>
                  </a:lnTo>
                  <a:lnTo>
                    <a:pt x="454" y="303"/>
                  </a:lnTo>
                  <a:lnTo>
                    <a:pt x="455" y="304"/>
                  </a:lnTo>
                  <a:lnTo>
                    <a:pt x="456" y="304"/>
                  </a:lnTo>
                  <a:lnTo>
                    <a:pt x="457" y="304"/>
                  </a:lnTo>
                  <a:lnTo>
                    <a:pt x="460" y="304"/>
                  </a:lnTo>
                  <a:lnTo>
                    <a:pt x="459" y="303"/>
                  </a:lnTo>
                  <a:lnTo>
                    <a:pt x="460" y="302"/>
                  </a:lnTo>
                  <a:lnTo>
                    <a:pt x="460" y="303"/>
                  </a:lnTo>
                  <a:lnTo>
                    <a:pt x="464" y="303"/>
                  </a:lnTo>
                  <a:lnTo>
                    <a:pt x="462" y="303"/>
                  </a:lnTo>
                  <a:lnTo>
                    <a:pt x="465" y="304"/>
                  </a:lnTo>
                  <a:lnTo>
                    <a:pt x="467" y="305"/>
                  </a:lnTo>
                  <a:lnTo>
                    <a:pt x="468" y="305"/>
                  </a:lnTo>
                  <a:lnTo>
                    <a:pt x="468" y="306"/>
                  </a:lnTo>
                  <a:lnTo>
                    <a:pt x="470" y="306"/>
                  </a:lnTo>
                  <a:lnTo>
                    <a:pt x="472" y="308"/>
                  </a:lnTo>
                  <a:lnTo>
                    <a:pt x="472" y="309"/>
                  </a:lnTo>
                  <a:lnTo>
                    <a:pt x="471" y="309"/>
                  </a:lnTo>
                  <a:lnTo>
                    <a:pt x="471" y="310"/>
                  </a:lnTo>
                  <a:lnTo>
                    <a:pt x="471" y="311"/>
                  </a:lnTo>
                  <a:lnTo>
                    <a:pt x="471" y="315"/>
                  </a:lnTo>
                  <a:lnTo>
                    <a:pt x="468" y="315"/>
                  </a:lnTo>
                  <a:lnTo>
                    <a:pt x="467" y="316"/>
                  </a:lnTo>
                  <a:lnTo>
                    <a:pt x="467" y="317"/>
                  </a:lnTo>
                  <a:lnTo>
                    <a:pt x="470" y="317"/>
                  </a:lnTo>
                  <a:lnTo>
                    <a:pt x="470" y="316"/>
                  </a:lnTo>
                  <a:lnTo>
                    <a:pt x="471" y="315"/>
                  </a:lnTo>
                  <a:lnTo>
                    <a:pt x="472" y="314"/>
                  </a:lnTo>
                  <a:lnTo>
                    <a:pt x="473" y="314"/>
                  </a:lnTo>
                  <a:lnTo>
                    <a:pt x="474" y="314"/>
                  </a:lnTo>
                  <a:lnTo>
                    <a:pt x="476" y="314"/>
                  </a:lnTo>
                  <a:lnTo>
                    <a:pt x="476" y="312"/>
                  </a:lnTo>
                  <a:lnTo>
                    <a:pt x="477" y="315"/>
                  </a:lnTo>
                  <a:lnTo>
                    <a:pt x="477" y="314"/>
                  </a:lnTo>
                  <a:lnTo>
                    <a:pt x="477" y="315"/>
                  </a:lnTo>
                  <a:lnTo>
                    <a:pt x="478" y="315"/>
                  </a:lnTo>
                  <a:lnTo>
                    <a:pt x="478" y="316"/>
                  </a:lnTo>
                  <a:lnTo>
                    <a:pt x="479" y="317"/>
                  </a:lnTo>
                  <a:lnTo>
                    <a:pt x="479" y="318"/>
                  </a:lnTo>
                  <a:lnTo>
                    <a:pt x="480" y="320"/>
                  </a:lnTo>
                  <a:lnTo>
                    <a:pt x="482" y="320"/>
                  </a:lnTo>
                  <a:lnTo>
                    <a:pt x="484" y="322"/>
                  </a:lnTo>
                  <a:lnTo>
                    <a:pt x="484" y="323"/>
                  </a:lnTo>
                  <a:lnTo>
                    <a:pt x="485" y="323"/>
                  </a:lnTo>
                  <a:lnTo>
                    <a:pt x="486" y="323"/>
                  </a:lnTo>
                  <a:lnTo>
                    <a:pt x="488" y="322"/>
                  </a:lnTo>
                  <a:lnTo>
                    <a:pt x="490" y="322"/>
                  </a:lnTo>
                  <a:lnTo>
                    <a:pt x="489" y="323"/>
                  </a:lnTo>
                  <a:lnTo>
                    <a:pt x="490" y="323"/>
                  </a:lnTo>
                  <a:lnTo>
                    <a:pt x="491" y="323"/>
                  </a:lnTo>
                  <a:lnTo>
                    <a:pt x="492" y="323"/>
                  </a:lnTo>
                  <a:lnTo>
                    <a:pt x="492" y="324"/>
                  </a:lnTo>
                  <a:lnTo>
                    <a:pt x="492" y="328"/>
                  </a:lnTo>
                  <a:lnTo>
                    <a:pt x="492" y="330"/>
                  </a:lnTo>
                  <a:lnTo>
                    <a:pt x="494" y="330"/>
                  </a:lnTo>
                  <a:lnTo>
                    <a:pt x="494" y="333"/>
                  </a:lnTo>
                  <a:lnTo>
                    <a:pt x="494" y="335"/>
                  </a:lnTo>
                  <a:lnTo>
                    <a:pt x="492" y="336"/>
                  </a:lnTo>
                  <a:lnTo>
                    <a:pt x="492" y="339"/>
                  </a:lnTo>
                  <a:lnTo>
                    <a:pt x="494" y="339"/>
                  </a:lnTo>
                  <a:lnTo>
                    <a:pt x="495" y="340"/>
                  </a:lnTo>
                  <a:lnTo>
                    <a:pt x="496" y="340"/>
                  </a:lnTo>
                  <a:lnTo>
                    <a:pt x="497" y="340"/>
                  </a:lnTo>
                  <a:lnTo>
                    <a:pt x="498" y="339"/>
                  </a:lnTo>
                  <a:lnTo>
                    <a:pt x="498" y="340"/>
                  </a:lnTo>
                  <a:lnTo>
                    <a:pt x="500" y="340"/>
                  </a:lnTo>
                  <a:lnTo>
                    <a:pt x="503" y="341"/>
                  </a:lnTo>
                  <a:lnTo>
                    <a:pt x="503" y="342"/>
                  </a:lnTo>
                  <a:lnTo>
                    <a:pt x="504" y="344"/>
                  </a:lnTo>
                  <a:lnTo>
                    <a:pt x="508" y="344"/>
                  </a:lnTo>
                  <a:lnTo>
                    <a:pt x="509" y="344"/>
                  </a:lnTo>
                  <a:lnTo>
                    <a:pt x="510" y="345"/>
                  </a:lnTo>
                  <a:lnTo>
                    <a:pt x="510" y="348"/>
                  </a:lnTo>
                  <a:lnTo>
                    <a:pt x="509" y="350"/>
                  </a:lnTo>
                  <a:lnTo>
                    <a:pt x="512" y="351"/>
                  </a:lnTo>
                  <a:lnTo>
                    <a:pt x="512" y="352"/>
                  </a:lnTo>
                  <a:lnTo>
                    <a:pt x="513" y="352"/>
                  </a:lnTo>
                  <a:lnTo>
                    <a:pt x="514" y="354"/>
                  </a:lnTo>
                  <a:lnTo>
                    <a:pt x="518" y="354"/>
                  </a:lnTo>
                  <a:lnTo>
                    <a:pt x="519" y="357"/>
                  </a:lnTo>
                  <a:lnTo>
                    <a:pt x="519" y="358"/>
                  </a:lnTo>
                  <a:lnTo>
                    <a:pt x="520" y="358"/>
                  </a:lnTo>
                  <a:lnTo>
                    <a:pt x="521" y="358"/>
                  </a:lnTo>
                  <a:lnTo>
                    <a:pt x="523" y="358"/>
                  </a:lnTo>
                  <a:lnTo>
                    <a:pt x="521" y="359"/>
                  </a:lnTo>
                  <a:lnTo>
                    <a:pt x="521" y="360"/>
                  </a:lnTo>
                  <a:lnTo>
                    <a:pt x="521" y="362"/>
                  </a:lnTo>
                  <a:lnTo>
                    <a:pt x="521" y="364"/>
                  </a:lnTo>
                  <a:lnTo>
                    <a:pt x="523" y="365"/>
                  </a:lnTo>
                  <a:lnTo>
                    <a:pt x="524" y="365"/>
                  </a:lnTo>
                  <a:lnTo>
                    <a:pt x="521" y="366"/>
                  </a:lnTo>
                  <a:lnTo>
                    <a:pt x="523" y="368"/>
                  </a:lnTo>
                  <a:lnTo>
                    <a:pt x="524" y="369"/>
                  </a:lnTo>
                  <a:lnTo>
                    <a:pt x="525" y="370"/>
                  </a:lnTo>
                  <a:lnTo>
                    <a:pt x="526" y="371"/>
                  </a:lnTo>
                  <a:lnTo>
                    <a:pt x="525" y="373"/>
                  </a:lnTo>
                  <a:lnTo>
                    <a:pt x="524" y="375"/>
                  </a:lnTo>
                  <a:lnTo>
                    <a:pt x="525" y="377"/>
                  </a:lnTo>
                  <a:lnTo>
                    <a:pt x="525" y="376"/>
                  </a:lnTo>
                  <a:lnTo>
                    <a:pt x="527" y="376"/>
                  </a:lnTo>
                  <a:lnTo>
                    <a:pt x="530" y="380"/>
                  </a:lnTo>
                  <a:lnTo>
                    <a:pt x="530" y="381"/>
                  </a:lnTo>
                  <a:lnTo>
                    <a:pt x="532" y="381"/>
                  </a:lnTo>
                  <a:lnTo>
                    <a:pt x="533" y="381"/>
                  </a:lnTo>
                  <a:lnTo>
                    <a:pt x="533" y="382"/>
                  </a:lnTo>
                  <a:lnTo>
                    <a:pt x="536" y="382"/>
                  </a:lnTo>
                  <a:lnTo>
                    <a:pt x="535" y="385"/>
                  </a:lnTo>
                  <a:lnTo>
                    <a:pt x="533" y="386"/>
                  </a:lnTo>
                  <a:lnTo>
                    <a:pt x="532" y="387"/>
                  </a:lnTo>
                  <a:lnTo>
                    <a:pt x="535" y="388"/>
                  </a:lnTo>
                  <a:lnTo>
                    <a:pt x="535" y="387"/>
                  </a:lnTo>
                  <a:lnTo>
                    <a:pt x="536" y="387"/>
                  </a:lnTo>
                  <a:lnTo>
                    <a:pt x="536" y="388"/>
                  </a:lnTo>
                  <a:lnTo>
                    <a:pt x="537" y="388"/>
                  </a:lnTo>
                  <a:lnTo>
                    <a:pt x="537" y="389"/>
                  </a:lnTo>
                  <a:lnTo>
                    <a:pt x="537" y="391"/>
                  </a:lnTo>
                  <a:lnTo>
                    <a:pt x="538" y="391"/>
                  </a:lnTo>
                  <a:lnTo>
                    <a:pt x="539" y="393"/>
                  </a:lnTo>
                  <a:lnTo>
                    <a:pt x="539" y="392"/>
                  </a:lnTo>
                  <a:lnTo>
                    <a:pt x="542" y="394"/>
                  </a:lnTo>
                  <a:lnTo>
                    <a:pt x="542" y="395"/>
                  </a:lnTo>
                  <a:lnTo>
                    <a:pt x="541" y="397"/>
                  </a:lnTo>
                  <a:lnTo>
                    <a:pt x="543" y="398"/>
                  </a:lnTo>
                  <a:lnTo>
                    <a:pt x="544" y="399"/>
                  </a:lnTo>
                  <a:lnTo>
                    <a:pt x="545" y="400"/>
                  </a:lnTo>
                  <a:lnTo>
                    <a:pt x="547" y="399"/>
                  </a:lnTo>
                  <a:lnTo>
                    <a:pt x="548" y="398"/>
                  </a:lnTo>
                  <a:lnTo>
                    <a:pt x="549" y="398"/>
                  </a:lnTo>
                  <a:lnTo>
                    <a:pt x="550" y="399"/>
                  </a:lnTo>
                  <a:lnTo>
                    <a:pt x="550" y="400"/>
                  </a:lnTo>
                  <a:lnTo>
                    <a:pt x="551" y="399"/>
                  </a:lnTo>
                  <a:lnTo>
                    <a:pt x="554" y="398"/>
                  </a:lnTo>
                  <a:lnTo>
                    <a:pt x="556" y="399"/>
                  </a:lnTo>
                  <a:lnTo>
                    <a:pt x="555" y="400"/>
                  </a:lnTo>
                  <a:lnTo>
                    <a:pt x="555" y="401"/>
                  </a:lnTo>
                  <a:lnTo>
                    <a:pt x="554" y="403"/>
                  </a:lnTo>
                  <a:lnTo>
                    <a:pt x="553" y="401"/>
                  </a:lnTo>
                  <a:lnTo>
                    <a:pt x="553" y="403"/>
                  </a:lnTo>
                  <a:lnTo>
                    <a:pt x="550" y="404"/>
                  </a:lnTo>
                  <a:lnTo>
                    <a:pt x="549" y="404"/>
                  </a:lnTo>
                  <a:lnTo>
                    <a:pt x="548" y="405"/>
                  </a:lnTo>
                  <a:lnTo>
                    <a:pt x="547" y="404"/>
                  </a:lnTo>
                  <a:lnTo>
                    <a:pt x="547" y="405"/>
                  </a:lnTo>
                  <a:lnTo>
                    <a:pt x="545" y="406"/>
                  </a:lnTo>
                  <a:lnTo>
                    <a:pt x="547" y="407"/>
                  </a:lnTo>
                  <a:lnTo>
                    <a:pt x="544" y="410"/>
                  </a:lnTo>
                  <a:lnTo>
                    <a:pt x="544" y="411"/>
                  </a:lnTo>
                  <a:lnTo>
                    <a:pt x="543" y="412"/>
                  </a:lnTo>
                  <a:lnTo>
                    <a:pt x="544" y="413"/>
                  </a:lnTo>
                  <a:lnTo>
                    <a:pt x="544" y="415"/>
                  </a:lnTo>
                  <a:lnTo>
                    <a:pt x="543" y="416"/>
                  </a:lnTo>
                  <a:lnTo>
                    <a:pt x="545" y="417"/>
                  </a:lnTo>
                  <a:lnTo>
                    <a:pt x="547" y="418"/>
                  </a:lnTo>
                  <a:lnTo>
                    <a:pt x="548" y="418"/>
                  </a:lnTo>
                  <a:lnTo>
                    <a:pt x="549" y="419"/>
                  </a:lnTo>
                  <a:lnTo>
                    <a:pt x="549" y="421"/>
                  </a:lnTo>
                  <a:lnTo>
                    <a:pt x="547" y="421"/>
                  </a:lnTo>
                  <a:lnTo>
                    <a:pt x="547" y="422"/>
                  </a:lnTo>
                  <a:lnTo>
                    <a:pt x="545" y="422"/>
                  </a:lnTo>
                  <a:lnTo>
                    <a:pt x="544" y="422"/>
                  </a:lnTo>
                  <a:lnTo>
                    <a:pt x="544" y="421"/>
                  </a:lnTo>
                  <a:lnTo>
                    <a:pt x="542" y="421"/>
                  </a:lnTo>
                  <a:lnTo>
                    <a:pt x="541" y="419"/>
                  </a:lnTo>
                  <a:lnTo>
                    <a:pt x="541" y="418"/>
                  </a:lnTo>
                  <a:lnTo>
                    <a:pt x="539" y="418"/>
                  </a:lnTo>
                  <a:lnTo>
                    <a:pt x="538" y="416"/>
                  </a:lnTo>
                  <a:lnTo>
                    <a:pt x="536" y="416"/>
                  </a:lnTo>
                  <a:lnTo>
                    <a:pt x="535" y="413"/>
                  </a:lnTo>
                  <a:lnTo>
                    <a:pt x="535" y="412"/>
                  </a:lnTo>
                  <a:lnTo>
                    <a:pt x="535" y="411"/>
                  </a:lnTo>
                  <a:lnTo>
                    <a:pt x="533" y="411"/>
                  </a:lnTo>
                  <a:lnTo>
                    <a:pt x="532" y="411"/>
                  </a:lnTo>
                  <a:lnTo>
                    <a:pt x="530" y="411"/>
                  </a:lnTo>
                  <a:lnTo>
                    <a:pt x="527" y="411"/>
                  </a:lnTo>
                  <a:lnTo>
                    <a:pt x="523" y="411"/>
                  </a:lnTo>
                  <a:lnTo>
                    <a:pt x="524" y="410"/>
                  </a:lnTo>
                  <a:lnTo>
                    <a:pt x="524" y="407"/>
                  </a:lnTo>
                  <a:lnTo>
                    <a:pt x="524" y="405"/>
                  </a:lnTo>
                  <a:lnTo>
                    <a:pt x="523" y="407"/>
                  </a:lnTo>
                  <a:lnTo>
                    <a:pt x="523" y="409"/>
                  </a:lnTo>
                  <a:lnTo>
                    <a:pt x="520" y="410"/>
                  </a:lnTo>
                  <a:lnTo>
                    <a:pt x="518" y="411"/>
                  </a:lnTo>
                  <a:lnTo>
                    <a:pt x="516" y="411"/>
                  </a:lnTo>
                  <a:lnTo>
                    <a:pt x="516" y="413"/>
                  </a:lnTo>
                  <a:lnTo>
                    <a:pt x="518" y="413"/>
                  </a:lnTo>
                  <a:lnTo>
                    <a:pt x="518" y="416"/>
                  </a:lnTo>
                  <a:lnTo>
                    <a:pt x="518" y="417"/>
                  </a:lnTo>
                  <a:lnTo>
                    <a:pt x="516" y="418"/>
                  </a:lnTo>
                  <a:lnTo>
                    <a:pt x="516" y="417"/>
                  </a:lnTo>
                  <a:lnTo>
                    <a:pt x="515" y="418"/>
                  </a:lnTo>
                  <a:lnTo>
                    <a:pt x="514" y="418"/>
                  </a:lnTo>
                  <a:lnTo>
                    <a:pt x="513" y="418"/>
                  </a:lnTo>
                  <a:lnTo>
                    <a:pt x="512" y="419"/>
                  </a:lnTo>
                  <a:lnTo>
                    <a:pt x="510" y="419"/>
                  </a:lnTo>
                  <a:lnTo>
                    <a:pt x="512" y="418"/>
                  </a:lnTo>
                  <a:lnTo>
                    <a:pt x="512" y="416"/>
                  </a:lnTo>
                  <a:lnTo>
                    <a:pt x="510" y="416"/>
                  </a:lnTo>
                  <a:lnTo>
                    <a:pt x="510" y="415"/>
                  </a:lnTo>
                  <a:lnTo>
                    <a:pt x="509" y="413"/>
                  </a:lnTo>
                  <a:lnTo>
                    <a:pt x="509" y="412"/>
                  </a:lnTo>
                  <a:lnTo>
                    <a:pt x="508" y="411"/>
                  </a:lnTo>
                  <a:lnTo>
                    <a:pt x="507" y="411"/>
                  </a:lnTo>
                  <a:lnTo>
                    <a:pt x="506" y="411"/>
                  </a:lnTo>
                  <a:lnTo>
                    <a:pt x="504" y="411"/>
                  </a:lnTo>
                  <a:lnTo>
                    <a:pt x="503" y="410"/>
                  </a:lnTo>
                  <a:lnTo>
                    <a:pt x="504" y="409"/>
                  </a:lnTo>
                  <a:lnTo>
                    <a:pt x="503" y="409"/>
                  </a:lnTo>
                  <a:lnTo>
                    <a:pt x="501" y="407"/>
                  </a:lnTo>
                  <a:lnTo>
                    <a:pt x="500" y="406"/>
                  </a:lnTo>
                  <a:lnTo>
                    <a:pt x="500" y="405"/>
                  </a:lnTo>
                  <a:lnTo>
                    <a:pt x="498" y="404"/>
                  </a:lnTo>
                  <a:lnTo>
                    <a:pt x="497" y="403"/>
                  </a:lnTo>
                  <a:lnTo>
                    <a:pt x="496" y="403"/>
                  </a:lnTo>
                  <a:lnTo>
                    <a:pt x="495" y="405"/>
                  </a:lnTo>
                  <a:lnTo>
                    <a:pt x="494" y="405"/>
                  </a:lnTo>
                  <a:lnTo>
                    <a:pt x="494" y="406"/>
                  </a:lnTo>
                  <a:lnTo>
                    <a:pt x="491" y="406"/>
                  </a:lnTo>
                  <a:lnTo>
                    <a:pt x="490" y="404"/>
                  </a:lnTo>
                  <a:lnTo>
                    <a:pt x="488" y="405"/>
                  </a:lnTo>
                  <a:lnTo>
                    <a:pt x="488" y="406"/>
                  </a:lnTo>
                  <a:lnTo>
                    <a:pt x="486" y="406"/>
                  </a:lnTo>
                  <a:lnTo>
                    <a:pt x="485" y="407"/>
                  </a:lnTo>
                  <a:lnTo>
                    <a:pt x="484" y="410"/>
                  </a:lnTo>
                  <a:lnTo>
                    <a:pt x="486" y="410"/>
                  </a:lnTo>
                  <a:lnTo>
                    <a:pt x="488" y="411"/>
                  </a:lnTo>
                  <a:lnTo>
                    <a:pt x="489" y="412"/>
                  </a:lnTo>
                  <a:lnTo>
                    <a:pt x="488" y="411"/>
                  </a:lnTo>
                  <a:lnTo>
                    <a:pt x="490" y="411"/>
                  </a:lnTo>
                  <a:lnTo>
                    <a:pt x="491" y="411"/>
                  </a:lnTo>
                  <a:lnTo>
                    <a:pt x="492" y="411"/>
                  </a:lnTo>
                  <a:lnTo>
                    <a:pt x="494" y="413"/>
                  </a:lnTo>
                  <a:lnTo>
                    <a:pt x="494" y="412"/>
                  </a:lnTo>
                  <a:lnTo>
                    <a:pt x="495" y="412"/>
                  </a:lnTo>
                  <a:lnTo>
                    <a:pt x="497" y="412"/>
                  </a:lnTo>
                  <a:lnTo>
                    <a:pt x="498" y="412"/>
                  </a:lnTo>
                  <a:lnTo>
                    <a:pt x="498" y="413"/>
                  </a:lnTo>
                  <a:lnTo>
                    <a:pt x="500" y="413"/>
                  </a:lnTo>
                  <a:lnTo>
                    <a:pt x="500" y="415"/>
                  </a:lnTo>
                  <a:lnTo>
                    <a:pt x="501" y="415"/>
                  </a:lnTo>
                  <a:lnTo>
                    <a:pt x="501" y="416"/>
                  </a:lnTo>
                  <a:lnTo>
                    <a:pt x="501" y="417"/>
                  </a:lnTo>
                  <a:lnTo>
                    <a:pt x="502" y="417"/>
                  </a:lnTo>
                  <a:lnTo>
                    <a:pt x="502" y="418"/>
                  </a:lnTo>
                  <a:lnTo>
                    <a:pt x="504" y="419"/>
                  </a:lnTo>
                  <a:lnTo>
                    <a:pt x="506" y="419"/>
                  </a:lnTo>
                  <a:lnTo>
                    <a:pt x="506" y="421"/>
                  </a:lnTo>
                  <a:lnTo>
                    <a:pt x="504" y="421"/>
                  </a:lnTo>
                  <a:lnTo>
                    <a:pt x="504" y="422"/>
                  </a:lnTo>
                  <a:lnTo>
                    <a:pt x="504" y="423"/>
                  </a:lnTo>
                  <a:lnTo>
                    <a:pt x="504" y="425"/>
                  </a:lnTo>
                  <a:lnTo>
                    <a:pt x="504" y="427"/>
                  </a:lnTo>
                  <a:lnTo>
                    <a:pt x="503" y="428"/>
                  </a:lnTo>
                  <a:lnTo>
                    <a:pt x="502" y="427"/>
                  </a:lnTo>
                  <a:lnTo>
                    <a:pt x="500" y="428"/>
                  </a:lnTo>
                  <a:lnTo>
                    <a:pt x="500" y="427"/>
                  </a:lnTo>
                  <a:lnTo>
                    <a:pt x="497" y="427"/>
                  </a:lnTo>
                  <a:lnTo>
                    <a:pt x="496" y="427"/>
                  </a:lnTo>
                  <a:lnTo>
                    <a:pt x="495" y="427"/>
                  </a:lnTo>
                  <a:lnTo>
                    <a:pt x="495" y="428"/>
                  </a:lnTo>
                  <a:lnTo>
                    <a:pt x="492" y="427"/>
                  </a:lnTo>
                  <a:lnTo>
                    <a:pt x="491" y="428"/>
                  </a:lnTo>
                  <a:lnTo>
                    <a:pt x="491" y="429"/>
                  </a:lnTo>
                  <a:lnTo>
                    <a:pt x="490" y="430"/>
                  </a:lnTo>
                  <a:lnTo>
                    <a:pt x="491" y="431"/>
                  </a:lnTo>
                  <a:lnTo>
                    <a:pt x="490" y="431"/>
                  </a:lnTo>
                  <a:lnTo>
                    <a:pt x="489" y="431"/>
                  </a:lnTo>
                  <a:lnTo>
                    <a:pt x="488" y="430"/>
                  </a:lnTo>
                  <a:lnTo>
                    <a:pt x="488" y="433"/>
                  </a:lnTo>
                  <a:lnTo>
                    <a:pt x="486" y="430"/>
                  </a:lnTo>
                  <a:lnTo>
                    <a:pt x="488" y="431"/>
                  </a:lnTo>
                  <a:lnTo>
                    <a:pt x="486" y="433"/>
                  </a:lnTo>
                  <a:lnTo>
                    <a:pt x="485" y="431"/>
                  </a:lnTo>
                  <a:lnTo>
                    <a:pt x="484" y="431"/>
                  </a:lnTo>
                  <a:lnTo>
                    <a:pt x="483" y="431"/>
                  </a:lnTo>
                  <a:lnTo>
                    <a:pt x="482" y="433"/>
                  </a:lnTo>
                  <a:lnTo>
                    <a:pt x="480" y="431"/>
                  </a:lnTo>
                  <a:lnTo>
                    <a:pt x="478" y="431"/>
                  </a:lnTo>
                  <a:lnTo>
                    <a:pt x="474" y="430"/>
                  </a:lnTo>
                  <a:lnTo>
                    <a:pt x="473" y="429"/>
                  </a:lnTo>
                  <a:lnTo>
                    <a:pt x="472" y="429"/>
                  </a:lnTo>
                  <a:lnTo>
                    <a:pt x="471" y="429"/>
                  </a:lnTo>
                  <a:lnTo>
                    <a:pt x="471" y="428"/>
                  </a:lnTo>
                  <a:lnTo>
                    <a:pt x="470" y="427"/>
                  </a:lnTo>
                  <a:lnTo>
                    <a:pt x="468" y="428"/>
                  </a:lnTo>
                  <a:lnTo>
                    <a:pt x="470" y="429"/>
                  </a:lnTo>
                  <a:lnTo>
                    <a:pt x="472" y="429"/>
                  </a:lnTo>
                  <a:lnTo>
                    <a:pt x="473" y="430"/>
                  </a:lnTo>
                  <a:lnTo>
                    <a:pt x="474" y="431"/>
                  </a:lnTo>
                  <a:lnTo>
                    <a:pt x="473" y="433"/>
                  </a:lnTo>
                  <a:lnTo>
                    <a:pt x="473" y="435"/>
                  </a:lnTo>
                  <a:lnTo>
                    <a:pt x="473" y="433"/>
                  </a:lnTo>
                  <a:lnTo>
                    <a:pt x="472" y="435"/>
                  </a:lnTo>
                  <a:lnTo>
                    <a:pt x="471" y="436"/>
                  </a:lnTo>
                  <a:lnTo>
                    <a:pt x="473" y="437"/>
                  </a:lnTo>
                  <a:lnTo>
                    <a:pt x="471" y="439"/>
                  </a:lnTo>
                  <a:lnTo>
                    <a:pt x="470" y="439"/>
                  </a:lnTo>
                  <a:lnTo>
                    <a:pt x="468" y="440"/>
                  </a:lnTo>
                  <a:lnTo>
                    <a:pt x="467" y="440"/>
                  </a:lnTo>
                  <a:lnTo>
                    <a:pt x="466" y="439"/>
                  </a:lnTo>
                  <a:lnTo>
                    <a:pt x="465" y="440"/>
                  </a:lnTo>
                  <a:lnTo>
                    <a:pt x="464" y="440"/>
                  </a:lnTo>
                  <a:lnTo>
                    <a:pt x="462" y="441"/>
                  </a:lnTo>
                  <a:lnTo>
                    <a:pt x="464" y="442"/>
                  </a:lnTo>
                  <a:lnTo>
                    <a:pt x="462" y="443"/>
                  </a:lnTo>
                  <a:lnTo>
                    <a:pt x="460" y="441"/>
                  </a:lnTo>
                  <a:lnTo>
                    <a:pt x="459" y="441"/>
                  </a:lnTo>
                  <a:lnTo>
                    <a:pt x="460" y="443"/>
                  </a:lnTo>
                  <a:lnTo>
                    <a:pt x="460" y="445"/>
                  </a:lnTo>
                  <a:lnTo>
                    <a:pt x="461" y="446"/>
                  </a:lnTo>
                  <a:lnTo>
                    <a:pt x="460" y="447"/>
                  </a:lnTo>
                  <a:lnTo>
                    <a:pt x="461" y="448"/>
                  </a:lnTo>
                  <a:lnTo>
                    <a:pt x="462" y="449"/>
                  </a:lnTo>
                  <a:lnTo>
                    <a:pt x="465" y="449"/>
                  </a:lnTo>
                  <a:lnTo>
                    <a:pt x="466" y="449"/>
                  </a:lnTo>
                  <a:lnTo>
                    <a:pt x="468" y="449"/>
                  </a:lnTo>
                  <a:lnTo>
                    <a:pt x="467" y="448"/>
                  </a:lnTo>
                  <a:lnTo>
                    <a:pt x="468" y="448"/>
                  </a:lnTo>
                  <a:lnTo>
                    <a:pt x="470" y="447"/>
                  </a:lnTo>
                  <a:lnTo>
                    <a:pt x="471" y="447"/>
                  </a:lnTo>
                  <a:lnTo>
                    <a:pt x="470" y="449"/>
                  </a:lnTo>
                  <a:lnTo>
                    <a:pt x="471" y="449"/>
                  </a:lnTo>
                  <a:lnTo>
                    <a:pt x="472" y="451"/>
                  </a:lnTo>
                  <a:lnTo>
                    <a:pt x="472" y="452"/>
                  </a:lnTo>
                  <a:lnTo>
                    <a:pt x="471" y="453"/>
                  </a:lnTo>
                  <a:lnTo>
                    <a:pt x="471" y="455"/>
                  </a:lnTo>
                  <a:lnTo>
                    <a:pt x="473" y="457"/>
                  </a:lnTo>
                  <a:lnTo>
                    <a:pt x="471" y="459"/>
                  </a:lnTo>
                  <a:lnTo>
                    <a:pt x="470" y="459"/>
                  </a:lnTo>
                  <a:lnTo>
                    <a:pt x="470" y="458"/>
                  </a:lnTo>
                  <a:lnTo>
                    <a:pt x="468" y="458"/>
                  </a:lnTo>
                  <a:lnTo>
                    <a:pt x="468" y="459"/>
                  </a:lnTo>
                  <a:lnTo>
                    <a:pt x="468" y="461"/>
                  </a:lnTo>
                  <a:lnTo>
                    <a:pt x="466" y="461"/>
                  </a:lnTo>
                  <a:lnTo>
                    <a:pt x="467" y="463"/>
                  </a:lnTo>
                  <a:lnTo>
                    <a:pt x="470" y="463"/>
                  </a:lnTo>
                  <a:lnTo>
                    <a:pt x="472" y="461"/>
                  </a:lnTo>
                  <a:lnTo>
                    <a:pt x="473" y="461"/>
                  </a:lnTo>
                  <a:lnTo>
                    <a:pt x="473" y="463"/>
                  </a:lnTo>
                  <a:lnTo>
                    <a:pt x="473" y="464"/>
                  </a:lnTo>
                  <a:lnTo>
                    <a:pt x="476" y="466"/>
                  </a:lnTo>
                  <a:lnTo>
                    <a:pt x="476" y="467"/>
                  </a:lnTo>
                  <a:lnTo>
                    <a:pt x="477" y="467"/>
                  </a:lnTo>
                  <a:lnTo>
                    <a:pt x="478" y="467"/>
                  </a:lnTo>
                  <a:lnTo>
                    <a:pt x="478" y="469"/>
                  </a:lnTo>
                  <a:lnTo>
                    <a:pt x="479" y="470"/>
                  </a:lnTo>
                  <a:lnTo>
                    <a:pt x="479" y="471"/>
                  </a:lnTo>
                  <a:lnTo>
                    <a:pt x="478" y="471"/>
                  </a:lnTo>
                  <a:lnTo>
                    <a:pt x="476" y="472"/>
                  </a:lnTo>
                  <a:lnTo>
                    <a:pt x="478" y="472"/>
                  </a:lnTo>
                  <a:lnTo>
                    <a:pt x="477" y="473"/>
                  </a:lnTo>
                  <a:lnTo>
                    <a:pt x="477" y="475"/>
                  </a:lnTo>
                  <a:lnTo>
                    <a:pt x="476" y="476"/>
                  </a:lnTo>
                  <a:lnTo>
                    <a:pt x="473" y="475"/>
                  </a:lnTo>
                  <a:lnTo>
                    <a:pt x="472" y="476"/>
                  </a:lnTo>
                  <a:lnTo>
                    <a:pt x="471" y="473"/>
                  </a:lnTo>
                  <a:lnTo>
                    <a:pt x="470" y="475"/>
                  </a:lnTo>
                  <a:lnTo>
                    <a:pt x="467" y="475"/>
                  </a:lnTo>
                  <a:lnTo>
                    <a:pt x="466" y="475"/>
                  </a:lnTo>
                  <a:lnTo>
                    <a:pt x="466" y="473"/>
                  </a:lnTo>
                  <a:lnTo>
                    <a:pt x="465" y="472"/>
                  </a:lnTo>
                  <a:lnTo>
                    <a:pt x="464" y="472"/>
                  </a:lnTo>
                  <a:lnTo>
                    <a:pt x="461" y="472"/>
                  </a:lnTo>
                  <a:lnTo>
                    <a:pt x="460" y="470"/>
                  </a:lnTo>
                  <a:lnTo>
                    <a:pt x="459" y="469"/>
                  </a:lnTo>
                  <a:lnTo>
                    <a:pt x="456" y="469"/>
                  </a:lnTo>
                  <a:lnTo>
                    <a:pt x="454" y="469"/>
                  </a:lnTo>
                  <a:lnTo>
                    <a:pt x="454" y="467"/>
                  </a:lnTo>
                  <a:lnTo>
                    <a:pt x="457" y="467"/>
                  </a:lnTo>
                  <a:lnTo>
                    <a:pt x="456" y="465"/>
                  </a:lnTo>
                  <a:lnTo>
                    <a:pt x="457" y="464"/>
                  </a:lnTo>
                  <a:lnTo>
                    <a:pt x="459" y="465"/>
                  </a:lnTo>
                  <a:lnTo>
                    <a:pt x="460" y="466"/>
                  </a:lnTo>
                  <a:lnTo>
                    <a:pt x="461" y="469"/>
                  </a:lnTo>
                  <a:lnTo>
                    <a:pt x="464" y="470"/>
                  </a:lnTo>
                  <a:lnTo>
                    <a:pt x="465" y="470"/>
                  </a:lnTo>
                  <a:lnTo>
                    <a:pt x="465" y="469"/>
                  </a:lnTo>
                  <a:lnTo>
                    <a:pt x="466" y="469"/>
                  </a:lnTo>
                  <a:lnTo>
                    <a:pt x="467" y="469"/>
                  </a:lnTo>
                  <a:lnTo>
                    <a:pt x="465" y="466"/>
                  </a:lnTo>
                  <a:lnTo>
                    <a:pt x="465" y="467"/>
                  </a:lnTo>
                  <a:lnTo>
                    <a:pt x="465" y="466"/>
                  </a:lnTo>
                  <a:lnTo>
                    <a:pt x="464" y="465"/>
                  </a:lnTo>
                  <a:lnTo>
                    <a:pt x="464" y="463"/>
                  </a:lnTo>
                  <a:lnTo>
                    <a:pt x="462" y="461"/>
                  </a:lnTo>
                  <a:lnTo>
                    <a:pt x="465" y="460"/>
                  </a:lnTo>
                  <a:lnTo>
                    <a:pt x="462" y="460"/>
                  </a:lnTo>
                  <a:lnTo>
                    <a:pt x="462" y="458"/>
                  </a:lnTo>
                  <a:lnTo>
                    <a:pt x="461" y="458"/>
                  </a:lnTo>
                  <a:lnTo>
                    <a:pt x="460" y="457"/>
                  </a:lnTo>
                  <a:lnTo>
                    <a:pt x="461" y="455"/>
                  </a:lnTo>
                  <a:lnTo>
                    <a:pt x="457" y="455"/>
                  </a:lnTo>
                  <a:lnTo>
                    <a:pt x="457" y="457"/>
                  </a:lnTo>
                  <a:lnTo>
                    <a:pt x="459" y="457"/>
                  </a:lnTo>
                  <a:lnTo>
                    <a:pt x="459" y="458"/>
                  </a:lnTo>
                  <a:lnTo>
                    <a:pt x="460" y="458"/>
                  </a:lnTo>
                  <a:lnTo>
                    <a:pt x="461" y="458"/>
                  </a:lnTo>
                  <a:lnTo>
                    <a:pt x="459" y="460"/>
                  </a:lnTo>
                  <a:lnTo>
                    <a:pt x="456" y="458"/>
                  </a:lnTo>
                  <a:lnTo>
                    <a:pt x="455" y="457"/>
                  </a:lnTo>
                  <a:lnTo>
                    <a:pt x="454" y="457"/>
                  </a:lnTo>
                  <a:lnTo>
                    <a:pt x="454" y="455"/>
                  </a:lnTo>
                  <a:lnTo>
                    <a:pt x="451" y="454"/>
                  </a:lnTo>
                  <a:lnTo>
                    <a:pt x="450" y="453"/>
                  </a:lnTo>
                  <a:lnTo>
                    <a:pt x="449" y="452"/>
                  </a:lnTo>
                  <a:lnTo>
                    <a:pt x="448" y="451"/>
                  </a:lnTo>
                  <a:lnTo>
                    <a:pt x="445" y="449"/>
                  </a:lnTo>
                  <a:lnTo>
                    <a:pt x="445" y="447"/>
                  </a:lnTo>
                  <a:lnTo>
                    <a:pt x="447" y="447"/>
                  </a:lnTo>
                  <a:lnTo>
                    <a:pt x="448" y="447"/>
                  </a:lnTo>
                  <a:lnTo>
                    <a:pt x="448" y="446"/>
                  </a:lnTo>
                  <a:lnTo>
                    <a:pt x="449" y="446"/>
                  </a:lnTo>
                  <a:lnTo>
                    <a:pt x="449" y="445"/>
                  </a:lnTo>
                  <a:lnTo>
                    <a:pt x="448" y="443"/>
                  </a:lnTo>
                  <a:lnTo>
                    <a:pt x="449" y="442"/>
                  </a:lnTo>
                  <a:lnTo>
                    <a:pt x="448" y="440"/>
                  </a:lnTo>
                  <a:lnTo>
                    <a:pt x="448" y="442"/>
                  </a:lnTo>
                  <a:lnTo>
                    <a:pt x="448" y="443"/>
                  </a:lnTo>
                  <a:lnTo>
                    <a:pt x="444" y="443"/>
                  </a:lnTo>
                  <a:lnTo>
                    <a:pt x="443" y="442"/>
                  </a:lnTo>
                  <a:lnTo>
                    <a:pt x="442" y="441"/>
                  </a:lnTo>
                  <a:lnTo>
                    <a:pt x="441" y="441"/>
                  </a:lnTo>
                  <a:lnTo>
                    <a:pt x="439" y="440"/>
                  </a:lnTo>
                  <a:lnTo>
                    <a:pt x="438" y="440"/>
                  </a:lnTo>
                  <a:lnTo>
                    <a:pt x="437" y="440"/>
                  </a:lnTo>
                  <a:lnTo>
                    <a:pt x="436" y="440"/>
                  </a:lnTo>
                  <a:lnTo>
                    <a:pt x="435" y="439"/>
                  </a:lnTo>
                  <a:lnTo>
                    <a:pt x="435" y="437"/>
                  </a:lnTo>
                  <a:lnTo>
                    <a:pt x="435" y="435"/>
                  </a:lnTo>
                  <a:lnTo>
                    <a:pt x="433" y="433"/>
                  </a:lnTo>
                  <a:lnTo>
                    <a:pt x="435" y="430"/>
                  </a:lnTo>
                  <a:lnTo>
                    <a:pt x="436" y="431"/>
                  </a:lnTo>
                  <a:lnTo>
                    <a:pt x="435" y="430"/>
                  </a:lnTo>
                  <a:lnTo>
                    <a:pt x="436" y="431"/>
                  </a:lnTo>
                  <a:lnTo>
                    <a:pt x="437" y="430"/>
                  </a:lnTo>
                  <a:lnTo>
                    <a:pt x="438" y="429"/>
                  </a:lnTo>
                  <a:lnTo>
                    <a:pt x="439" y="429"/>
                  </a:lnTo>
                  <a:lnTo>
                    <a:pt x="438" y="429"/>
                  </a:lnTo>
                  <a:lnTo>
                    <a:pt x="438" y="428"/>
                  </a:lnTo>
                  <a:lnTo>
                    <a:pt x="438" y="427"/>
                  </a:lnTo>
                  <a:lnTo>
                    <a:pt x="439" y="428"/>
                  </a:lnTo>
                  <a:lnTo>
                    <a:pt x="438" y="425"/>
                  </a:lnTo>
                  <a:lnTo>
                    <a:pt x="438" y="424"/>
                  </a:lnTo>
                  <a:lnTo>
                    <a:pt x="441" y="421"/>
                  </a:lnTo>
                  <a:lnTo>
                    <a:pt x="441" y="423"/>
                  </a:lnTo>
                  <a:lnTo>
                    <a:pt x="442" y="423"/>
                  </a:lnTo>
                  <a:lnTo>
                    <a:pt x="442" y="424"/>
                  </a:lnTo>
                  <a:lnTo>
                    <a:pt x="442" y="425"/>
                  </a:lnTo>
                  <a:lnTo>
                    <a:pt x="442" y="427"/>
                  </a:lnTo>
                  <a:lnTo>
                    <a:pt x="443" y="428"/>
                  </a:lnTo>
                  <a:lnTo>
                    <a:pt x="443" y="427"/>
                  </a:lnTo>
                  <a:lnTo>
                    <a:pt x="444" y="429"/>
                  </a:lnTo>
                  <a:lnTo>
                    <a:pt x="442" y="429"/>
                  </a:lnTo>
                  <a:lnTo>
                    <a:pt x="441" y="429"/>
                  </a:lnTo>
                  <a:lnTo>
                    <a:pt x="442" y="430"/>
                  </a:lnTo>
                  <a:lnTo>
                    <a:pt x="442" y="431"/>
                  </a:lnTo>
                  <a:lnTo>
                    <a:pt x="444" y="431"/>
                  </a:lnTo>
                  <a:lnTo>
                    <a:pt x="444" y="430"/>
                  </a:lnTo>
                  <a:lnTo>
                    <a:pt x="445" y="429"/>
                  </a:lnTo>
                  <a:lnTo>
                    <a:pt x="447" y="429"/>
                  </a:lnTo>
                  <a:lnTo>
                    <a:pt x="447" y="431"/>
                  </a:lnTo>
                  <a:lnTo>
                    <a:pt x="448" y="433"/>
                  </a:lnTo>
                  <a:lnTo>
                    <a:pt x="450" y="434"/>
                  </a:lnTo>
                  <a:lnTo>
                    <a:pt x="451" y="431"/>
                  </a:lnTo>
                  <a:lnTo>
                    <a:pt x="451" y="429"/>
                  </a:lnTo>
                  <a:lnTo>
                    <a:pt x="451" y="428"/>
                  </a:lnTo>
                  <a:lnTo>
                    <a:pt x="450" y="428"/>
                  </a:lnTo>
                  <a:lnTo>
                    <a:pt x="451" y="425"/>
                  </a:lnTo>
                  <a:lnTo>
                    <a:pt x="453" y="424"/>
                  </a:lnTo>
                  <a:lnTo>
                    <a:pt x="451" y="422"/>
                  </a:lnTo>
                  <a:lnTo>
                    <a:pt x="450" y="421"/>
                  </a:lnTo>
                  <a:lnTo>
                    <a:pt x="448" y="421"/>
                  </a:lnTo>
                  <a:lnTo>
                    <a:pt x="445" y="421"/>
                  </a:lnTo>
                  <a:lnTo>
                    <a:pt x="442" y="421"/>
                  </a:lnTo>
                  <a:lnTo>
                    <a:pt x="441" y="421"/>
                  </a:lnTo>
                  <a:lnTo>
                    <a:pt x="438" y="422"/>
                  </a:lnTo>
                  <a:lnTo>
                    <a:pt x="436" y="422"/>
                  </a:lnTo>
                  <a:lnTo>
                    <a:pt x="435" y="421"/>
                  </a:lnTo>
                  <a:lnTo>
                    <a:pt x="431" y="418"/>
                  </a:lnTo>
                  <a:lnTo>
                    <a:pt x="429" y="418"/>
                  </a:lnTo>
                  <a:lnTo>
                    <a:pt x="427" y="418"/>
                  </a:lnTo>
                  <a:lnTo>
                    <a:pt x="427" y="419"/>
                  </a:lnTo>
                  <a:lnTo>
                    <a:pt x="429" y="421"/>
                  </a:lnTo>
                  <a:lnTo>
                    <a:pt x="430" y="419"/>
                  </a:lnTo>
                  <a:lnTo>
                    <a:pt x="429" y="421"/>
                  </a:lnTo>
                  <a:lnTo>
                    <a:pt x="429" y="422"/>
                  </a:lnTo>
                  <a:lnTo>
                    <a:pt x="427" y="421"/>
                  </a:lnTo>
                  <a:lnTo>
                    <a:pt x="425" y="422"/>
                  </a:lnTo>
                  <a:lnTo>
                    <a:pt x="424" y="424"/>
                  </a:lnTo>
                  <a:lnTo>
                    <a:pt x="421" y="424"/>
                  </a:lnTo>
                  <a:lnTo>
                    <a:pt x="419" y="424"/>
                  </a:lnTo>
                  <a:lnTo>
                    <a:pt x="418" y="423"/>
                  </a:lnTo>
                  <a:lnTo>
                    <a:pt x="417" y="422"/>
                  </a:lnTo>
                  <a:lnTo>
                    <a:pt x="415" y="422"/>
                  </a:lnTo>
                  <a:lnTo>
                    <a:pt x="414" y="422"/>
                  </a:lnTo>
                  <a:lnTo>
                    <a:pt x="413" y="423"/>
                  </a:lnTo>
                  <a:lnTo>
                    <a:pt x="412" y="423"/>
                  </a:lnTo>
                  <a:lnTo>
                    <a:pt x="411" y="424"/>
                  </a:lnTo>
                  <a:lnTo>
                    <a:pt x="411" y="425"/>
                  </a:lnTo>
                  <a:lnTo>
                    <a:pt x="408" y="425"/>
                  </a:lnTo>
                  <a:lnTo>
                    <a:pt x="407" y="424"/>
                  </a:lnTo>
                  <a:lnTo>
                    <a:pt x="406" y="423"/>
                  </a:lnTo>
                  <a:lnTo>
                    <a:pt x="403" y="425"/>
                  </a:lnTo>
                  <a:lnTo>
                    <a:pt x="402" y="424"/>
                  </a:lnTo>
                  <a:lnTo>
                    <a:pt x="401" y="419"/>
                  </a:lnTo>
                  <a:lnTo>
                    <a:pt x="400" y="418"/>
                  </a:lnTo>
                  <a:lnTo>
                    <a:pt x="397" y="419"/>
                  </a:lnTo>
                  <a:lnTo>
                    <a:pt x="396" y="419"/>
                  </a:lnTo>
                  <a:lnTo>
                    <a:pt x="389" y="421"/>
                  </a:lnTo>
                  <a:lnTo>
                    <a:pt x="386" y="421"/>
                  </a:lnTo>
                  <a:lnTo>
                    <a:pt x="385" y="421"/>
                  </a:lnTo>
                  <a:lnTo>
                    <a:pt x="384" y="422"/>
                  </a:lnTo>
                  <a:lnTo>
                    <a:pt x="380" y="423"/>
                  </a:lnTo>
                  <a:lnTo>
                    <a:pt x="377" y="423"/>
                  </a:lnTo>
                  <a:lnTo>
                    <a:pt x="374" y="423"/>
                  </a:lnTo>
                  <a:lnTo>
                    <a:pt x="374" y="424"/>
                  </a:lnTo>
                  <a:lnTo>
                    <a:pt x="370" y="424"/>
                  </a:lnTo>
                  <a:lnTo>
                    <a:pt x="368" y="423"/>
                  </a:lnTo>
                  <a:lnTo>
                    <a:pt x="364" y="424"/>
                  </a:lnTo>
                  <a:lnTo>
                    <a:pt x="358" y="424"/>
                  </a:lnTo>
                  <a:lnTo>
                    <a:pt x="355" y="425"/>
                  </a:lnTo>
                  <a:lnTo>
                    <a:pt x="355" y="428"/>
                  </a:lnTo>
                  <a:lnTo>
                    <a:pt x="358" y="428"/>
                  </a:lnTo>
                  <a:lnTo>
                    <a:pt x="358" y="430"/>
                  </a:lnTo>
                  <a:lnTo>
                    <a:pt x="359" y="430"/>
                  </a:lnTo>
                  <a:lnTo>
                    <a:pt x="361" y="430"/>
                  </a:lnTo>
                  <a:lnTo>
                    <a:pt x="362" y="430"/>
                  </a:lnTo>
                  <a:lnTo>
                    <a:pt x="364" y="429"/>
                  </a:lnTo>
                  <a:lnTo>
                    <a:pt x="364" y="430"/>
                  </a:lnTo>
                  <a:lnTo>
                    <a:pt x="365" y="429"/>
                  </a:lnTo>
                  <a:lnTo>
                    <a:pt x="366" y="431"/>
                  </a:lnTo>
                  <a:lnTo>
                    <a:pt x="366" y="430"/>
                  </a:lnTo>
                  <a:lnTo>
                    <a:pt x="367" y="431"/>
                  </a:lnTo>
                  <a:lnTo>
                    <a:pt x="367" y="433"/>
                  </a:lnTo>
                  <a:lnTo>
                    <a:pt x="370" y="434"/>
                  </a:lnTo>
                  <a:lnTo>
                    <a:pt x="372" y="435"/>
                  </a:lnTo>
                  <a:lnTo>
                    <a:pt x="372" y="436"/>
                  </a:lnTo>
                  <a:lnTo>
                    <a:pt x="371" y="436"/>
                  </a:lnTo>
                  <a:lnTo>
                    <a:pt x="371" y="439"/>
                  </a:lnTo>
                  <a:lnTo>
                    <a:pt x="371" y="440"/>
                  </a:lnTo>
                  <a:lnTo>
                    <a:pt x="371" y="442"/>
                  </a:lnTo>
                  <a:lnTo>
                    <a:pt x="371" y="443"/>
                  </a:lnTo>
                  <a:lnTo>
                    <a:pt x="370" y="445"/>
                  </a:lnTo>
                  <a:lnTo>
                    <a:pt x="367" y="446"/>
                  </a:lnTo>
                  <a:lnTo>
                    <a:pt x="367" y="447"/>
                  </a:lnTo>
                  <a:lnTo>
                    <a:pt x="366" y="447"/>
                  </a:lnTo>
                  <a:lnTo>
                    <a:pt x="365" y="447"/>
                  </a:lnTo>
                  <a:lnTo>
                    <a:pt x="364" y="447"/>
                  </a:lnTo>
                  <a:lnTo>
                    <a:pt x="361" y="447"/>
                  </a:lnTo>
                  <a:lnTo>
                    <a:pt x="362" y="448"/>
                  </a:lnTo>
                  <a:lnTo>
                    <a:pt x="365" y="449"/>
                  </a:lnTo>
                  <a:lnTo>
                    <a:pt x="368" y="449"/>
                  </a:lnTo>
                  <a:lnTo>
                    <a:pt x="378" y="449"/>
                  </a:lnTo>
                  <a:lnTo>
                    <a:pt x="379" y="449"/>
                  </a:lnTo>
                  <a:lnTo>
                    <a:pt x="379" y="451"/>
                  </a:lnTo>
                  <a:lnTo>
                    <a:pt x="383" y="451"/>
                  </a:lnTo>
                  <a:lnTo>
                    <a:pt x="388" y="452"/>
                  </a:lnTo>
                  <a:lnTo>
                    <a:pt x="389" y="452"/>
                  </a:lnTo>
                  <a:lnTo>
                    <a:pt x="391" y="452"/>
                  </a:lnTo>
                  <a:lnTo>
                    <a:pt x="392" y="452"/>
                  </a:lnTo>
                  <a:lnTo>
                    <a:pt x="392" y="449"/>
                  </a:lnTo>
                  <a:lnTo>
                    <a:pt x="392" y="448"/>
                  </a:lnTo>
                  <a:lnTo>
                    <a:pt x="391" y="449"/>
                  </a:lnTo>
                  <a:lnTo>
                    <a:pt x="390" y="449"/>
                  </a:lnTo>
                  <a:lnTo>
                    <a:pt x="390" y="448"/>
                  </a:lnTo>
                  <a:lnTo>
                    <a:pt x="390" y="447"/>
                  </a:lnTo>
                  <a:lnTo>
                    <a:pt x="391" y="446"/>
                  </a:lnTo>
                  <a:lnTo>
                    <a:pt x="396" y="447"/>
                  </a:lnTo>
                  <a:lnTo>
                    <a:pt x="396" y="446"/>
                  </a:lnTo>
                  <a:lnTo>
                    <a:pt x="398" y="446"/>
                  </a:lnTo>
                  <a:lnTo>
                    <a:pt x="397" y="447"/>
                  </a:lnTo>
                  <a:lnTo>
                    <a:pt x="400" y="448"/>
                  </a:lnTo>
                  <a:lnTo>
                    <a:pt x="401" y="446"/>
                  </a:lnTo>
                  <a:lnTo>
                    <a:pt x="405" y="445"/>
                  </a:lnTo>
                  <a:lnTo>
                    <a:pt x="403" y="443"/>
                  </a:lnTo>
                  <a:lnTo>
                    <a:pt x="405" y="443"/>
                  </a:lnTo>
                  <a:lnTo>
                    <a:pt x="407" y="442"/>
                  </a:lnTo>
                  <a:lnTo>
                    <a:pt x="408" y="442"/>
                  </a:lnTo>
                  <a:lnTo>
                    <a:pt x="409" y="441"/>
                  </a:lnTo>
                  <a:lnTo>
                    <a:pt x="413" y="441"/>
                  </a:lnTo>
                  <a:lnTo>
                    <a:pt x="414" y="442"/>
                  </a:lnTo>
                  <a:lnTo>
                    <a:pt x="415" y="442"/>
                  </a:lnTo>
                  <a:lnTo>
                    <a:pt x="417" y="443"/>
                  </a:lnTo>
                  <a:lnTo>
                    <a:pt x="418" y="445"/>
                  </a:lnTo>
                  <a:lnTo>
                    <a:pt x="419" y="445"/>
                  </a:lnTo>
                  <a:lnTo>
                    <a:pt x="419" y="447"/>
                  </a:lnTo>
                  <a:lnTo>
                    <a:pt x="421" y="448"/>
                  </a:lnTo>
                  <a:lnTo>
                    <a:pt x="421" y="449"/>
                  </a:lnTo>
                  <a:lnTo>
                    <a:pt x="423" y="448"/>
                  </a:lnTo>
                  <a:lnTo>
                    <a:pt x="423" y="451"/>
                  </a:lnTo>
                  <a:lnTo>
                    <a:pt x="424" y="451"/>
                  </a:lnTo>
                  <a:lnTo>
                    <a:pt x="426" y="452"/>
                  </a:lnTo>
                  <a:lnTo>
                    <a:pt x="427" y="454"/>
                  </a:lnTo>
                  <a:lnTo>
                    <a:pt x="429" y="453"/>
                  </a:lnTo>
                  <a:lnTo>
                    <a:pt x="430" y="452"/>
                  </a:lnTo>
                  <a:lnTo>
                    <a:pt x="432" y="452"/>
                  </a:lnTo>
                  <a:lnTo>
                    <a:pt x="432" y="453"/>
                  </a:lnTo>
                  <a:lnTo>
                    <a:pt x="433" y="453"/>
                  </a:lnTo>
                  <a:lnTo>
                    <a:pt x="436" y="453"/>
                  </a:lnTo>
                  <a:lnTo>
                    <a:pt x="437" y="454"/>
                  </a:lnTo>
                  <a:lnTo>
                    <a:pt x="437" y="455"/>
                  </a:lnTo>
                  <a:lnTo>
                    <a:pt x="437" y="458"/>
                  </a:lnTo>
                  <a:lnTo>
                    <a:pt x="439" y="458"/>
                  </a:lnTo>
                  <a:lnTo>
                    <a:pt x="439" y="459"/>
                  </a:lnTo>
                  <a:lnTo>
                    <a:pt x="438" y="461"/>
                  </a:lnTo>
                  <a:lnTo>
                    <a:pt x="438" y="463"/>
                  </a:lnTo>
                  <a:lnTo>
                    <a:pt x="437" y="463"/>
                  </a:lnTo>
                  <a:lnTo>
                    <a:pt x="439" y="464"/>
                  </a:lnTo>
                  <a:lnTo>
                    <a:pt x="442" y="466"/>
                  </a:lnTo>
                  <a:lnTo>
                    <a:pt x="443" y="466"/>
                  </a:lnTo>
                  <a:lnTo>
                    <a:pt x="444" y="466"/>
                  </a:lnTo>
                  <a:lnTo>
                    <a:pt x="445" y="465"/>
                  </a:lnTo>
                  <a:lnTo>
                    <a:pt x="447" y="466"/>
                  </a:lnTo>
                  <a:lnTo>
                    <a:pt x="447" y="467"/>
                  </a:lnTo>
                  <a:lnTo>
                    <a:pt x="449" y="470"/>
                  </a:lnTo>
                  <a:lnTo>
                    <a:pt x="447" y="471"/>
                  </a:lnTo>
                  <a:lnTo>
                    <a:pt x="447" y="472"/>
                  </a:lnTo>
                  <a:lnTo>
                    <a:pt x="447" y="473"/>
                  </a:lnTo>
                  <a:lnTo>
                    <a:pt x="448" y="472"/>
                  </a:lnTo>
                  <a:lnTo>
                    <a:pt x="449" y="472"/>
                  </a:lnTo>
                  <a:lnTo>
                    <a:pt x="450" y="475"/>
                  </a:lnTo>
                  <a:lnTo>
                    <a:pt x="450" y="476"/>
                  </a:lnTo>
                  <a:lnTo>
                    <a:pt x="450" y="478"/>
                  </a:lnTo>
                  <a:lnTo>
                    <a:pt x="451" y="480"/>
                  </a:lnTo>
                  <a:lnTo>
                    <a:pt x="453" y="481"/>
                  </a:lnTo>
                  <a:lnTo>
                    <a:pt x="453" y="482"/>
                  </a:lnTo>
                  <a:lnTo>
                    <a:pt x="455" y="483"/>
                  </a:lnTo>
                  <a:lnTo>
                    <a:pt x="453" y="482"/>
                  </a:lnTo>
                  <a:lnTo>
                    <a:pt x="453" y="483"/>
                  </a:lnTo>
                  <a:lnTo>
                    <a:pt x="453" y="484"/>
                  </a:lnTo>
                  <a:lnTo>
                    <a:pt x="450" y="482"/>
                  </a:lnTo>
                  <a:lnTo>
                    <a:pt x="450" y="484"/>
                  </a:lnTo>
                  <a:lnTo>
                    <a:pt x="451" y="486"/>
                  </a:lnTo>
                  <a:lnTo>
                    <a:pt x="453" y="488"/>
                  </a:lnTo>
                  <a:lnTo>
                    <a:pt x="454" y="488"/>
                  </a:lnTo>
                  <a:lnTo>
                    <a:pt x="455" y="489"/>
                  </a:lnTo>
                  <a:lnTo>
                    <a:pt x="456" y="492"/>
                  </a:lnTo>
                  <a:lnTo>
                    <a:pt x="459" y="494"/>
                  </a:lnTo>
                  <a:lnTo>
                    <a:pt x="460" y="494"/>
                  </a:lnTo>
                  <a:lnTo>
                    <a:pt x="460" y="496"/>
                  </a:lnTo>
                  <a:lnTo>
                    <a:pt x="459" y="498"/>
                  </a:lnTo>
                  <a:lnTo>
                    <a:pt x="459" y="501"/>
                  </a:lnTo>
                  <a:lnTo>
                    <a:pt x="456" y="501"/>
                  </a:lnTo>
                  <a:lnTo>
                    <a:pt x="454" y="501"/>
                  </a:lnTo>
                  <a:lnTo>
                    <a:pt x="453" y="501"/>
                  </a:lnTo>
                  <a:lnTo>
                    <a:pt x="451" y="500"/>
                  </a:lnTo>
                  <a:lnTo>
                    <a:pt x="451" y="499"/>
                  </a:lnTo>
                  <a:lnTo>
                    <a:pt x="450" y="499"/>
                  </a:lnTo>
                  <a:lnTo>
                    <a:pt x="449" y="499"/>
                  </a:lnTo>
                  <a:lnTo>
                    <a:pt x="447" y="496"/>
                  </a:lnTo>
                  <a:lnTo>
                    <a:pt x="445" y="496"/>
                  </a:lnTo>
                  <a:lnTo>
                    <a:pt x="444" y="496"/>
                  </a:lnTo>
                  <a:lnTo>
                    <a:pt x="443" y="496"/>
                  </a:lnTo>
                  <a:lnTo>
                    <a:pt x="443" y="495"/>
                  </a:lnTo>
                  <a:lnTo>
                    <a:pt x="442" y="494"/>
                  </a:lnTo>
                  <a:lnTo>
                    <a:pt x="442" y="492"/>
                  </a:lnTo>
                  <a:lnTo>
                    <a:pt x="441" y="492"/>
                  </a:lnTo>
                  <a:lnTo>
                    <a:pt x="439" y="493"/>
                  </a:lnTo>
                  <a:lnTo>
                    <a:pt x="442" y="494"/>
                  </a:lnTo>
                  <a:lnTo>
                    <a:pt x="442" y="495"/>
                  </a:lnTo>
                  <a:lnTo>
                    <a:pt x="438" y="494"/>
                  </a:lnTo>
                  <a:lnTo>
                    <a:pt x="439" y="495"/>
                  </a:lnTo>
                  <a:lnTo>
                    <a:pt x="436" y="496"/>
                  </a:lnTo>
                  <a:lnTo>
                    <a:pt x="438" y="495"/>
                  </a:lnTo>
                  <a:lnTo>
                    <a:pt x="436" y="492"/>
                  </a:lnTo>
                  <a:lnTo>
                    <a:pt x="436" y="493"/>
                  </a:lnTo>
                  <a:lnTo>
                    <a:pt x="435" y="492"/>
                  </a:lnTo>
                  <a:lnTo>
                    <a:pt x="435" y="493"/>
                  </a:lnTo>
                  <a:lnTo>
                    <a:pt x="432" y="492"/>
                  </a:lnTo>
                  <a:lnTo>
                    <a:pt x="433" y="492"/>
                  </a:lnTo>
                  <a:lnTo>
                    <a:pt x="432" y="490"/>
                  </a:lnTo>
                  <a:lnTo>
                    <a:pt x="431" y="490"/>
                  </a:lnTo>
                  <a:lnTo>
                    <a:pt x="429" y="489"/>
                  </a:lnTo>
                  <a:lnTo>
                    <a:pt x="429" y="490"/>
                  </a:lnTo>
                  <a:lnTo>
                    <a:pt x="426" y="489"/>
                  </a:lnTo>
                  <a:lnTo>
                    <a:pt x="425" y="489"/>
                  </a:lnTo>
                  <a:lnTo>
                    <a:pt x="426" y="489"/>
                  </a:lnTo>
                  <a:lnTo>
                    <a:pt x="426" y="487"/>
                  </a:lnTo>
                  <a:lnTo>
                    <a:pt x="425" y="488"/>
                  </a:lnTo>
                  <a:lnTo>
                    <a:pt x="424" y="489"/>
                  </a:lnTo>
                  <a:lnTo>
                    <a:pt x="423" y="489"/>
                  </a:lnTo>
                  <a:lnTo>
                    <a:pt x="424" y="490"/>
                  </a:lnTo>
                  <a:lnTo>
                    <a:pt x="425" y="493"/>
                  </a:lnTo>
                  <a:lnTo>
                    <a:pt x="426" y="494"/>
                  </a:lnTo>
                  <a:lnTo>
                    <a:pt x="424" y="493"/>
                  </a:lnTo>
                  <a:lnTo>
                    <a:pt x="423" y="494"/>
                  </a:lnTo>
                  <a:lnTo>
                    <a:pt x="421" y="493"/>
                  </a:lnTo>
                  <a:lnTo>
                    <a:pt x="419" y="494"/>
                  </a:lnTo>
                  <a:lnTo>
                    <a:pt x="418" y="496"/>
                  </a:lnTo>
                  <a:lnTo>
                    <a:pt x="415" y="496"/>
                  </a:lnTo>
                  <a:lnTo>
                    <a:pt x="414" y="498"/>
                  </a:lnTo>
                  <a:lnTo>
                    <a:pt x="413" y="498"/>
                  </a:lnTo>
                  <a:lnTo>
                    <a:pt x="413" y="496"/>
                  </a:lnTo>
                  <a:lnTo>
                    <a:pt x="413" y="498"/>
                  </a:lnTo>
                  <a:lnTo>
                    <a:pt x="413" y="499"/>
                  </a:lnTo>
                  <a:lnTo>
                    <a:pt x="414" y="499"/>
                  </a:lnTo>
                  <a:lnTo>
                    <a:pt x="417" y="500"/>
                  </a:lnTo>
                  <a:lnTo>
                    <a:pt x="415" y="501"/>
                  </a:lnTo>
                  <a:lnTo>
                    <a:pt x="413" y="500"/>
                  </a:lnTo>
                  <a:lnTo>
                    <a:pt x="412" y="501"/>
                  </a:lnTo>
                  <a:lnTo>
                    <a:pt x="411" y="501"/>
                  </a:lnTo>
                  <a:lnTo>
                    <a:pt x="409" y="501"/>
                  </a:lnTo>
                  <a:lnTo>
                    <a:pt x="408" y="500"/>
                  </a:lnTo>
                  <a:lnTo>
                    <a:pt x="406" y="501"/>
                  </a:lnTo>
                  <a:lnTo>
                    <a:pt x="405" y="500"/>
                  </a:lnTo>
                  <a:lnTo>
                    <a:pt x="402" y="499"/>
                  </a:lnTo>
                  <a:lnTo>
                    <a:pt x="400" y="500"/>
                  </a:lnTo>
                  <a:lnTo>
                    <a:pt x="401" y="502"/>
                  </a:lnTo>
                  <a:lnTo>
                    <a:pt x="401" y="504"/>
                  </a:lnTo>
                  <a:lnTo>
                    <a:pt x="398" y="504"/>
                  </a:lnTo>
                  <a:lnTo>
                    <a:pt x="397" y="502"/>
                  </a:lnTo>
                  <a:lnTo>
                    <a:pt x="396" y="505"/>
                  </a:lnTo>
                  <a:lnTo>
                    <a:pt x="396" y="504"/>
                  </a:lnTo>
                  <a:lnTo>
                    <a:pt x="395" y="504"/>
                  </a:lnTo>
                  <a:lnTo>
                    <a:pt x="394" y="504"/>
                  </a:lnTo>
                  <a:lnTo>
                    <a:pt x="394" y="505"/>
                  </a:lnTo>
                  <a:lnTo>
                    <a:pt x="392" y="502"/>
                  </a:lnTo>
                  <a:lnTo>
                    <a:pt x="392" y="501"/>
                  </a:lnTo>
                  <a:lnTo>
                    <a:pt x="392" y="499"/>
                  </a:lnTo>
                  <a:lnTo>
                    <a:pt x="395" y="500"/>
                  </a:lnTo>
                  <a:lnTo>
                    <a:pt x="395" y="498"/>
                  </a:lnTo>
                  <a:lnTo>
                    <a:pt x="395" y="496"/>
                  </a:lnTo>
                  <a:lnTo>
                    <a:pt x="394" y="498"/>
                  </a:lnTo>
                  <a:lnTo>
                    <a:pt x="394" y="499"/>
                  </a:lnTo>
                  <a:lnTo>
                    <a:pt x="391" y="498"/>
                  </a:lnTo>
                  <a:lnTo>
                    <a:pt x="390" y="495"/>
                  </a:lnTo>
                  <a:lnTo>
                    <a:pt x="389" y="495"/>
                  </a:lnTo>
                  <a:lnTo>
                    <a:pt x="388" y="493"/>
                  </a:lnTo>
                  <a:lnTo>
                    <a:pt x="389" y="492"/>
                  </a:lnTo>
                  <a:lnTo>
                    <a:pt x="390" y="493"/>
                  </a:lnTo>
                  <a:lnTo>
                    <a:pt x="390" y="492"/>
                  </a:lnTo>
                  <a:lnTo>
                    <a:pt x="391" y="492"/>
                  </a:lnTo>
                  <a:lnTo>
                    <a:pt x="392" y="492"/>
                  </a:lnTo>
                  <a:lnTo>
                    <a:pt x="396" y="493"/>
                  </a:lnTo>
                  <a:lnTo>
                    <a:pt x="395" y="490"/>
                  </a:lnTo>
                  <a:lnTo>
                    <a:pt x="396" y="490"/>
                  </a:lnTo>
                  <a:lnTo>
                    <a:pt x="396" y="489"/>
                  </a:lnTo>
                  <a:lnTo>
                    <a:pt x="397" y="488"/>
                  </a:lnTo>
                  <a:lnTo>
                    <a:pt x="398" y="489"/>
                  </a:lnTo>
                  <a:lnTo>
                    <a:pt x="398" y="487"/>
                  </a:lnTo>
                  <a:lnTo>
                    <a:pt x="397" y="486"/>
                  </a:lnTo>
                  <a:lnTo>
                    <a:pt x="398" y="484"/>
                  </a:lnTo>
                  <a:lnTo>
                    <a:pt x="398" y="483"/>
                  </a:lnTo>
                  <a:lnTo>
                    <a:pt x="398" y="482"/>
                  </a:lnTo>
                  <a:lnTo>
                    <a:pt x="400" y="480"/>
                  </a:lnTo>
                  <a:lnTo>
                    <a:pt x="402" y="477"/>
                  </a:lnTo>
                  <a:lnTo>
                    <a:pt x="401" y="477"/>
                  </a:lnTo>
                  <a:lnTo>
                    <a:pt x="400" y="478"/>
                  </a:lnTo>
                  <a:lnTo>
                    <a:pt x="398" y="476"/>
                  </a:lnTo>
                  <a:lnTo>
                    <a:pt x="397" y="476"/>
                  </a:lnTo>
                  <a:lnTo>
                    <a:pt x="394" y="475"/>
                  </a:lnTo>
                  <a:lnTo>
                    <a:pt x="395" y="473"/>
                  </a:lnTo>
                  <a:lnTo>
                    <a:pt x="395" y="472"/>
                  </a:lnTo>
                  <a:lnTo>
                    <a:pt x="396" y="473"/>
                  </a:lnTo>
                  <a:lnTo>
                    <a:pt x="397" y="471"/>
                  </a:lnTo>
                  <a:lnTo>
                    <a:pt x="397" y="472"/>
                  </a:lnTo>
                  <a:lnTo>
                    <a:pt x="396" y="470"/>
                  </a:lnTo>
                  <a:lnTo>
                    <a:pt x="396" y="469"/>
                  </a:lnTo>
                  <a:lnTo>
                    <a:pt x="397" y="469"/>
                  </a:lnTo>
                  <a:lnTo>
                    <a:pt x="397" y="467"/>
                  </a:lnTo>
                  <a:lnTo>
                    <a:pt x="397" y="466"/>
                  </a:lnTo>
                  <a:lnTo>
                    <a:pt x="398" y="465"/>
                  </a:lnTo>
                  <a:lnTo>
                    <a:pt x="400" y="465"/>
                  </a:lnTo>
                  <a:lnTo>
                    <a:pt x="398" y="465"/>
                  </a:lnTo>
                  <a:lnTo>
                    <a:pt x="397" y="464"/>
                  </a:lnTo>
                  <a:lnTo>
                    <a:pt x="397" y="463"/>
                  </a:lnTo>
                  <a:lnTo>
                    <a:pt x="395" y="459"/>
                  </a:lnTo>
                  <a:lnTo>
                    <a:pt x="397" y="458"/>
                  </a:lnTo>
                  <a:lnTo>
                    <a:pt x="395" y="457"/>
                  </a:lnTo>
                  <a:lnTo>
                    <a:pt x="394" y="458"/>
                  </a:lnTo>
                  <a:lnTo>
                    <a:pt x="392" y="459"/>
                  </a:lnTo>
                  <a:lnTo>
                    <a:pt x="392" y="458"/>
                  </a:lnTo>
                  <a:lnTo>
                    <a:pt x="391" y="458"/>
                  </a:lnTo>
                  <a:lnTo>
                    <a:pt x="391" y="455"/>
                  </a:lnTo>
                  <a:lnTo>
                    <a:pt x="389" y="455"/>
                  </a:lnTo>
                  <a:lnTo>
                    <a:pt x="379" y="453"/>
                  </a:lnTo>
                  <a:lnTo>
                    <a:pt x="377" y="453"/>
                  </a:lnTo>
                  <a:lnTo>
                    <a:pt x="376" y="453"/>
                  </a:lnTo>
                  <a:lnTo>
                    <a:pt x="372" y="453"/>
                  </a:lnTo>
                  <a:lnTo>
                    <a:pt x="370" y="454"/>
                  </a:lnTo>
                  <a:lnTo>
                    <a:pt x="371" y="455"/>
                  </a:lnTo>
                  <a:lnTo>
                    <a:pt x="370" y="455"/>
                  </a:lnTo>
                  <a:lnTo>
                    <a:pt x="368" y="455"/>
                  </a:lnTo>
                  <a:lnTo>
                    <a:pt x="366" y="455"/>
                  </a:lnTo>
                  <a:lnTo>
                    <a:pt x="365" y="455"/>
                  </a:lnTo>
                  <a:lnTo>
                    <a:pt x="364" y="455"/>
                  </a:lnTo>
                  <a:lnTo>
                    <a:pt x="365" y="457"/>
                  </a:lnTo>
                  <a:lnTo>
                    <a:pt x="362" y="458"/>
                  </a:lnTo>
                  <a:lnTo>
                    <a:pt x="360" y="458"/>
                  </a:lnTo>
                  <a:lnTo>
                    <a:pt x="358" y="458"/>
                  </a:lnTo>
                  <a:lnTo>
                    <a:pt x="356" y="460"/>
                  </a:lnTo>
                  <a:lnTo>
                    <a:pt x="355" y="460"/>
                  </a:lnTo>
                  <a:lnTo>
                    <a:pt x="354" y="464"/>
                  </a:lnTo>
                  <a:lnTo>
                    <a:pt x="350" y="464"/>
                  </a:lnTo>
                  <a:lnTo>
                    <a:pt x="349" y="465"/>
                  </a:lnTo>
                  <a:lnTo>
                    <a:pt x="349" y="464"/>
                  </a:lnTo>
                  <a:lnTo>
                    <a:pt x="348" y="463"/>
                  </a:lnTo>
                  <a:lnTo>
                    <a:pt x="347" y="461"/>
                  </a:lnTo>
                  <a:lnTo>
                    <a:pt x="344" y="460"/>
                  </a:lnTo>
                  <a:lnTo>
                    <a:pt x="341" y="460"/>
                  </a:lnTo>
                  <a:lnTo>
                    <a:pt x="338" y="461"/>
                  </a:lnTo>
                  <a:lnTo>
                    <a:pt x="336" y="463"/>
                  </a:lnTo>
                  <a:lnTo>
                    <a:pt x="333" y="464"/>
                  </a:lnTo>
                  <a:lnTo>
                    <a:pt x="337" y="465"/>
                  </a:lnTo>
                  <a:lnTo>
                    <a:pt x="338" y="463"/>
                  </a:lnTo>
                  <a:lnTo>
                    <a:pt x="341" y="464"/>
                  </a:lnTo>
                  <a:lnTo>
                    <a:pt x="342" y="465"/>
                  </a:lnTo>
                  <a:lnTo>
                    <a:pt x="341" y="466"/>
                  </a:lnTo>
                  <a:lnTo>
                    <a:pt x="340" y="467"/>
                  </a:lnTo>
                  <a:lnTo>
                    <a:pt x="341" y="469"/>
                  </a:lnTo>
                  <a:lnTo>
                    <a:pt x="341" y="471"/>
                  </a:lnTo>
                  <a:lnTo>
                    <a:pt x="341" y="472"/>
                  </a:lnTo>
                  <a:lnTo>
                    <a:pt x="340" y="473"/>
                  </a:lnTo>
                  <a:lnTo>
                    <a:pt x="341" y="473"/>
                  </a:lnTo>
                  <a:lnTo>
                    <a:pt x="342" y="473"/>
                  </a:lnTo>
                  <a:lnTo>
                    <a:pt x="342" y="476"/>
                  </a:lnTo>
                  <a:lnTo>
                    <a:pt x="342" y="477"/>
                  </a:lnTo>
                  <a:lnTo>
                    <a:pt x="340" y="477"/>
                  </a:lnTo>
                  <a:lnTo>
                    <a:pt x="338" y="478"/>
                  </a:lnTo>
                  <a:lnTo>
                    <a:pt x="341" y="481"/>
                  </a:lnTo>
                  <a:lnTo>
                    <a:pt x="338" y="482"/>
                  </a:lnTo>
                  <a:lnTo>
                    <a:pt x="337" y="482"/>
                  </a:lnTo>
                  <a:lnTo>
                    <a:pt x="336" y="481"/>
                  </a:lnTo>
                  <a:lnTo>
                    <a:pt x="336" y="482"/>
                  </a:lnTo>
                  <a:lnTo>
                    <a:pt x="335" y="483"/>
                  </a:lnTo>
                  <a:lnTo>
                    <a:pt x="337" y="483"/>
                  </a:lnTo>
                  <a:lnTo>
                    <a:pt x="340" y="483"/>
                  </a:lnTo>
                  <a:lnTo>
                    <a:pt x="340" y="484"/>
                  </a:lnTo>
                  <a:lnTo>
                    <a:pt x="338" y="484"/>
                  </a:lnTo>
                  <a:lnTo>
                    <a:pt x="336" y="486"/>
                  </a:lnTo>
                  <a:lnTo>
                    <a:pt x="336" y="487"/>
                  </a:lnTo>
                  <a:lnTo>
                    <a:pt x="335" y="488"/>
                  </a:lnTo>
                  <a:lnTo>
                    <a:pt x="336" y="488"/>
                  </a:lnTo>
                  <a:lnTo>
                    <a:pt x="336" y="489"/>
                  </a:lnTo>
                  <a:lnTo>
                    <a:pt x="336" y="490"/>
                  </a:lnTo>
                  <a:lnTo>
                    <a:pt x="335" y="490"/>
                  </a:lnTo>
                  <a:lnTo>
                    <a:pt x="332" y="490"/>
                  </a:lnTo>
                  <a:lnTo>
                    <a:pt x="332" y="487"/>
                  </a:lnTo>
                  <a:lnTo>
                    <a:pt x="331" y="488"/>
                  </a:lnTo>
                  <a:lnTo>
                    <a:pt x="329" y="489"/>
                  </a:lnTo>
                  <a:lnTo>
                    <a:pt x="329" y="488"/>
                  </a:lnTo>
                  <a:lnTo>
                    <a:pt x="329" y="487"/>
                  </a:lnTo>
                  <a:lnTo>
                    <a:pt x="326" y="486"/>
                  </a:lnTo>
                  <a:lnTo>
                    <a:pt x="329" y="486"/>
                  </a:lnTo>
                  <a:lnTo>
                    <a:pt x="331" y="487"/>
                  </a:lnTo>
                  <a:lnTo>
                    <a:pt x="330" y="486"/>
                  </a:lnTo>
                  <a:lnTo>
                    <a:pt x="330" y="483"/>
                  </a:lnTo>
                  <a:lnTo>
                    <a:pt x="329" y="484"/>
                  </a:lnTo>
                  <a:lnTo>
                    <a:pt x="329" y="482"/>
                  </a:lnTo>
                  <a:lnTo>
                    <a:pt x="329" y="481"/>
                  </a:lnTo>
                  <a:lnTo>
                    <a:pt x="330" y="480"/>
                  </a:lnTo>
                  <a:lnTo>
                    <a:pt x="327" y="482"/>
                  </a:lnTo>
                  <a:lnTo>
                    <a:pt x="325" y="483"/>
                  </a:lnTo>
                  <a:lnTo>
                    <a:pt x="324" y="484"/>
                  </a:lnTo>
                  <a:lnTo>
                    <a:pt x="321" y="487"/>
                  </a:lnTo>
                  <a:lnTo>
                    <a:pt x="318" y="492"/>
                  </a:lnTo>
                  <a:lnTo>
                    <a:pt x="317" y="496"/>
                  </a:lnTo>
                  <a:lnTo>
                    <a:pt x="320" y="500"/>
                  </a:lnTo>
                  <a:lnTo>
                    <a:pt x="326" y="499"/>
                  </a:lnTo>
                  <a:lnTo>
                    <a:pt x="330" y="498"/>
                  </a:lnTo>
                  <a:lnTo>
                    <a:pt x="332" y="496"/>
                  </a:lnTo>
                  <a:lnTo>
                    <a:pt x="336" y="496"/>
                  </a:lnTo>
                  <a:lnTo>
                    <a:pt x="340" y="496"/>
                  </a:lnTo>
                  <a:lnTo>
                    <a:pt x="346" y="494"/>
                  </a:lnTo>
                  <a:lnTo>
                    <a:pt x="360" y="494"/>
                  </a:lnTo>
                  <a:lnTo>
                    <a:pt x="368" y="493"/>
                  </a:lnTo>
                  <a:lnTo>
                    <a:pt x="370" y="492"/>
                  </a:lnTo>
                  <a:lnTo>
                    <a:pt x="371" y="489"/>
                  </a:lnTo>
                  <a:lnTo>
                    <a:pt x="372" y="489"/>
                  </a:lnTo>
                  <a:lnTo>
                    <a:pt x="372" y="492"/>
                  </a:lnTo>
                  <a:lnTo>
                    <a:pt x="374" y="492"/>
                  </a:lnTo>
                  <a:lnTo>
                    <a:pt x="376" y="493"/>
                  </a:lnTo>
                  <a:lnTo>
                    <a:pt x="373" y="494"/>
                  </a:lnTo>
                  <a:lnTo>
                    <a:pt x="370" y="495"/>
                  </a:lnTo>
                  <a:lnTo>
                    <a:pt x="366" y="496"/>
                  </a:lnTo>
                  <a:lnTo>
                    <a:pt x="358" y="496"/>
                  </a:lnTo>
                  <a:lnTo>
                    <a:pt x="353" y="498"/>
                  </a:lnTo>
                  <a:lnTo>
                    <a:pt x="348" y="498"/>
                  </a:lnTo>
                  <a:lnTo>
                    <a:pt x="344" y="499"/>
                  </a:lnTo>
                  <a:lnTo>
                    <a:pt x="341" y="499"/>
                  </a:lnTo>
                  <a:lnTo>
                    <a:pt x="338" y="501"/>
                  </a:lnTo>
                  <a:lnTo>
                    <a:pt x="333" y="502"/>
                  </a:lnTo>
                  <a:lnTo>
                    <a:pt x="329" y="504"/>
                  </a:lnTo>
                  <a:lnTo>
                    <a:pt x="324" y="506"/>
                  </a:lnTo>
                  <a:lnTo>
                    <a:pt x="318" y="508"/>
                  </a:lnTo>
                  <a:lnTo>
                    <a:pt x="319" y="512"/>
                  </a:lnTo>
                  <a:lnTo>
                    <a:pt x="319" y="514"/>
                  </a:lnTo>
                  <a:lnTo>
                    <a:pt x="320" y="517"/>
                  </a:lnTo>
                  <a:lnTo>
                    <a:pt x="320" y="522"/>
                  </a:lnTo>
                  <a:lnTo>
                    <a:pt x="319" y="524"/>
                  </a:lnTo>
                  <a:lnTo>
                    <a:pt x="318" y="531"/>
                  </a:lnTo>
                  <a:lnTo>
                    <a:pt x="317" y="536"/>
                  </a:lnTo>
                  <a:lnTo>
                    <a:pt x="317" y="541"/>
                  </a:lnTo>
                  <a:lnTo>
                    <a:pt x="318" y="550"/>
                  </a:lnTo>
                  <a:lnTo>
                    <a:pt x="318" y="554"/>
                  </a:lnTo>
                  <a:lnTo>
                    <a:pt x="318" y="576"/>
                  </a:lnTo>
                  <a:lnTo>
                    <a:pt x="318" y="583"/>
                  </a:lnTo>
                  <a:lnTo>
                    <a:pt x="318" y="589"/>
                  </a:lnTo>
                  <a:lnTo>
                    <a:pt x="318" y="591"/>
                  </a:lnTo>
                  <a:lnTo>
                    <a:pt x="317" y="594"/>
                  </a:lnTo>
                  <a:lnTo>
                    <a:pt x="314" y="596"/>
                  </a:lnTo>
                  <a:lnTo>
                    <a:pt x="312" y="596"/>
                  </a:lnTo>
                  <a:lnTo>
                    <a:pt x="307" y="597"/>
                  </a:lnTo>
                  <a:lnTo>
                    <a:pt x="300" y="597"/>
                  </a:lnTo>
                  <a:lnTo>
                    <a:pt x="294" y="595"/>
                  </a:lnTo>
                  <a:lnTo>
                    <a:pt x="291" y="593"/>
                  </a:lnTo>
                  <a:lnTo>
                    <a:pt x="293" y="586"/>
                  </a:lnTo>
                  <a:lnTo>
                    <a:pt x="294" y="580"/>
                  </a:lnTo>
                  <a:lnTo>
                    <a:pt x="294" y="574"/>
                  </a:lnTo>
                  <a:lnTo>
                    <a:pt x="294" y="564"/>
                  </a:lnTo>
                  <a:lnTo>
                    <a:pt x="294" y="560"/>
                  </a:lnTo>
                  <a:lnTo>
                    <a:pt x="294" y="558"/>
                  </a:lnTo>
                  <a:lnTo>
                    <a:pt x="295" y="548"/>
                  </a:lnTo>
                  <a:lnTo>
                    <a:pt x="295" y="543"/>
                  </a:lnTo>
                  <a:lnTo>
                    <a:pt x="296" y="532"/>
                  </a:lnTo>
                  <a:lnTo>
                    <a:pt x="296" y="520"/>
                  </a:lnTo>
                  <a:lnTo>
                    <a:pt x="295" y="516"/>
                  </a:lnTo>
                  <a:lnTo>
                    <a:pt x="289" y="513"/>
                  </a:lnTo>
                  <a:lnTo>
                    <a:pt x="279" y="508"/>
                  </a:lnTo>
                  <a:lnTo>
                    <a:pt x="273" y="506"/>
                  </a:lnTo>
                  <a:lnTo>
                    <a:pt x="270" y="504"/>
                  </a:lnTo>
                  <a:lnTo>
                    <a:pt x="265" y="501"/>
                  </a:lnTo>
                  <a:lnTo>
                    <a:pt x="258" y="501"/>
                  </a:lnTo>
                  <a:lnTo>
                    <a:pt x="255" y="501"/>
                  </a:lnTo>
                  <a:lnTo>
                    <a:pt x="252" y="501"/>
                  </a:lnTo>
                  <a:lnTo>
                    <a:pt x="246" y="500"/>
                  </a:lnTo>
                  <a:lnTo>
                    <a:pt x="240" y="499"/>
                  </a:lnTo>
                  <a:lnTo>
                    <a:pt x="235" y="499"/>
                  </a:lnTo>
                  <a:lnTo>
                    <a:pt x="231" y="499"/>
                  </a:lnTo>
                  <a:lnTo>
                    <a:pt x="230" y="499"/>
                  </a:lnTo>
                  <a:lnTo>
                    <a:pt x="229" y="499"/>
                  </a:lnTo>
                  <a:lnTo>
                    <a:pt x="226" y="500"/>
                  </a:lnTo>
                  <a:lnTo>
                    <a:pt x="225" y="502"/>
                  </a:lnTo>
                  <a:lnTo>
                    <a:pt x="222" y="504"/>
                  </a:lnTo>
                  <a:lnTo>
                    <a:pt x="219" y="506"/>
                  </a:lnTo>
                  <a:lnTo>
                    <a:pt x="217" y="506"/>
                  </a:lnTo>
                  <a:lnTo>
                    <a:pt x="215" y="504"/>
                  </a:lnTo>
                  <a:lnTo>
                    <a:pt x="220" y="501"/>
                  </a:lnTo>
                  <a:lnTo>
                    <a:pt x="225" y="498"/>
                  </a:lnTo>
                  <a:lnTo>
                    <a:pt x="229" y="494"/>
                  </a:lnTo>
                  <a:lnTo>
                    <a:pt x="231" y="493"/>
                  </a:lnTo>
                  <a:lnTo>
                    <a:pt x="232" y="490"/>
                  </a:lnTo>
                  <a:lnTo>
                    <a:pt x="232" y="488"/>
                  </a:lnTo>
                  <a:lnTo>
                    <a:pt x="230" y="487"/>
                  </a:lnTo>
                  <a:lnTo>
                    <a:pt x="225" y="488"/>
                  </a:lnTo>
                  <a:lnTo>
                    <a:pt x="219" y="488"/>
                  </a:lnTo>
                  <a:lnTo>
                    <a:pt x="217" y="488"/>
                  </a:lnTo>
                  <a:lnTo>
                    <a:pt x="213" y="488"/>
                  </a:lnTo>
                  <a:lnTo>
                    <a:pt x="203" y="489"/>
                  </a:lnTo>
                  <a:lnTo>
                    <a:pt x="196" y="489"/>
                  </a:lnTo>
                  <a:lnTo>
                    <a:pt x="194" y="489"/>
                  </a:lnTo>
                  <a:lnTo>
                    <a:pt x="191" y="490"/>
                  </a:lnTo>
                  <a:lnTo>
                    <a:pt x="188" y="490"/>
                  </a:lnTo>
                  <a:lnTo>
                    <a:pt x="187" y="490"/>
                  </a:lnTo>
                  <a:lnTo>
                    <a:pt x="185" y="489"/>
                  </a:lnTo>
                  <a:lnTo>
                    <a:pt x="184" y="492"/>
                  </a:lnTo>
                  <a:lnTo>
                    <a:pt x="184" y="495"/>
                  </a:lnTo>
                  <a:lnTo>
                    <a:pt x="182" y="496"/>
                  </a:lnTo>
                  <a:lnTo>
                    <a:pt x="179" y="496"/>
                  </a:lnTo>
                  <a:lnTo>
                    <a:pt x="177" y="496"/>
                  </a:lnTo>
                  <a:lnTo>
                    <a:pt x="176" y="495"/>
                  </a:lnTo>
                  <a:lnTo>
                    <a:pt x="176" y="496"/>
                  </a:lnTo>
                  <a:lnTo>
                    <a:pt x="176" y="499"/>
                  </a:lnTo>
                  <a:lnTo>
                    <a:pt x="176" y="500"/>
                  </a:lnTo>
                  <a:lnTo>
                    <a:pt x="173" y="501"/>
                  </a:lnTo>
                  <a:lnTo>
                    <a:pt x="171" y="502"/>
                  </a:lnTo>
                  <a:lnTo>
                    <a:pt x="169" y="504"/>
                  </a:lnTo>
                  <a:lnTo>
                    <a:pt x="167" y="505"/>
                  </a:lnTo>
                  <a:lnTo>
                    <a:pt x="166" y="504"/>
                  </a:lnTo>
                  <a:lnTo>
                    <a:pt x="164" y="505"/>
                  </a:lnTo>
                  <a:lnTo>
                    <a:pt x="164" y="502"/>
                  </a:lnTo>
                  <a:lnTo>
                    <a:pt x="161" y="502"/>
                  </a:lnTo>
                  <a:lnTo>
                    <a:pt x="160" y="501"/>
                  </a:lnTo>
                  <a:lnTo>
                    <a:pt x="158" y="501"/>
                  </a:lnTo>
                  <a:lnTo>
                    <a:pt x="156" y="500"/>
                  </a:lnTo>
                  <a:lnTo>
                    <a:pt x="156" y="501"/>
                  </a:lnTo>
                  <a:lnTo>
                    <a:pt x="154" y="502"/>
                  </a:lnTo>
                  <a:lnTo>
                    <a:pt x="153" y="506"/>
                  </a:lnTo>
                  <a:lnTo>
                    <a:pt x="152" y="507"/>
                  </a:lnTo>
                  <a:lnTo>
                    <a:pt x="152" y="508"/>
                  </a:lnTo>
                  <a:lnTo>
                    <a:pt x="152" y="510"/>
                  </a:lnTo>
                  <a:lnTo>
                    <a:pt x="149" y="510"/>
                  </a:lnTo>
                  <a:lnTo>
                    <a:pt x="148" y="512"/>
                  </a:lnTo>
                  <a:lnTo>
                    <a:pt x="147" y="512"/>
                  </a:lnTo>
                  <a:lnTo>
                    <a:pt x="146" y="511"/>
                  </a:lnTo>
                  <a:lnTo>
                    <a:pt x="146" y="510"/>
                  </a:lnTo>
                  <a:lnTo>
                    <a:pt x="143" y="508"/>
                  </a:lnTo>
                  <a:lnTo>
                    <a:pt x="142" y="510"/>
                  </a:lnTo>
                  <a:lnTo>
                    <a:pt x="142" y="508"/>
                  </a:lnTo>
                  <a:lnTo>
                    <a:pt x="141" y="508"/>
                  </a:lnTo>
                  <a:lnTo>
                    <a:pt x="137" y="508"/>
                  </a:lnTo>
                  <a:lnTo>
                    <a:pt x="136" y="510"/>
                  </a:lnTo>
                  <a:lnTo>
                    <a:pt x="135" y="511"/>
                  </a:lnTo>
                  <a:lnTo>
                    <a:pt x="135" y="510"/>
                  </a:lnTo>
                  <a:lnTo>
                    <a:pt x="135" y="507"/>
                  </a:lnTo>
                  <a:lnTo>
                    <a:pt x="136" y="506"/>
                  </a:lnTo>
                  <a:lnTo>
                    <a:pt x="135" y="507"/>
                  </a:lnTo>
                  <a:lnTo>
                    <a:pt x="132" y="506"/>
                  </a:lnTo>
                  <a:lnTo>
                    <a:pt x="134" y="505"/>
                  </a:lnTo>
                  <a:lnTo>
                    <a:pt x="131" y="506"/>
                  </a:lnTo>
                  <a:lnTo>
                    <a:pt x="130" y="505"/>
                  </a:lnTo>
                  <a:lnTo>
                    <a:pt x="129" y="507"/>
                  </a:lnTo>
                  <a:lnTo>
                    <a:pt x="125" y="508"/>
                  </a:lnTo>
                  <a:lnTo>
                    <a:pt x="123" y="507"/>
                  </a:lnTo>
                  <a:lnTo>
                    <a:pt x="126" y="506"/>
                  </a:lnTo>
                  <a:lnTo>
                    <a:pt x="124" y="504"/>
                  </a:lnTo>
                  <a:lnTo>
                    <a:pt x="123" y="502"/>
                  </a:lnTo>
                  <a:lnTo>
                    <a:pt x="122" y="501"/>
                  </a:lnTo>
                  <a:lnTo>
                    <a:pt x="120" y="501"/>
                  </a:lnTo>
                  <a:lnTo>
                    <a:pt x="120" y="500"/>
                  </a:lnTo>
                  <a:lnTo>
                    <a:pt x="120" y="499"/>
                  </a:lnTo>
                  <a:lnTo>
                    <a:pt x="122" y="498"/>
                  </a:lnTo>
                  <a:lnTo>
                    <a:pt x="122" y="499"/>
                  </a:lnTo>
                  <a:lnTo>
                    <a:pt x="124" y="500"/>
                  </a:lnTo>
                  <a:lnTo>
                    <a:pt x="125" y="500"/>
                  </a:lnTo>
                  <a:lnTo>
                    <a:pt x="126" y="501"/>
                  </a:lnTo>
                  <a:lnTo>
                    <a:pt x="126" y="500"/>
                  </a:lnTo>
                  <a:lnTo>
                    <a:pt x="128" y="501"/>
                  </a:lnTo>
                  <a:lnTo>
                    <a:pt x="128" y="500"/>
                  </a:lnTo>
                  <a:lnTo>
                    <a:pt x="128" y="501"/>
                  </a:lnTo>
                  <a:lnTo>
                    <a:pt x="129" y="501"/>
                  </a:lnTo>
                  <a:lnTo>
                    <a:pt x="131" y="502"/>
                  </a:lnTo>
                  <a:lnTo>
                    <a:pt x="131" y="501"/>
                  </a:lnTo>
                  <a:lnTo>
                    <a:pt x="130" y="500"/>
                  </a:lnTo>
                  <a:lnTo>
                    <a:pt x="130" y="499"/>
                  </a:lnTo>
                  <a:lnTo>
                    <a:pt x="130" y="498"/>
                  </a:lnTo>
                  <a:lnTo>
                    <a:pt x="131" y="495"/>
                  </a:lnTo>
                  <a:lnTo>
                    <a:pt x="131" y="494"/>
                  </a:lnTo>
                  <a:lnTo>
                    <a:pt x="132" y="493"/>
                  </a:lnTo>
                  <a:lnTo>
                    <a:pt x="134" y="493"/>
                  </a:lnTo>
                  <a:lnTo>
                    <a:pt x="135" y="492"/>
                  </a:lnTo>
                  <a:lnTo>
                    <a:pt x="136" y="489"/>
                  </a:lnTo>
                  <a:lnTo>
                    <a:pt x="137" y="488"/>
                  </a:lnTo>
                  <a:lnTo>
                    <a:pt x="138" y="489"/>
                  </a:lnTo>
                  <a:lnTo>
                    <a:pt x="140" y="488"/>
                  </a:lnTo>
                  <a:lnTo>
                    <a:pt x="142" y="490"/>
                  </a:lnTo>
                  <a:lnTo>
                    <a:pt x="143" y="488"/>
                  </a:lnTo>
                  <a:lnTo>
                    <a:pt x="141" y="488"/>
                  </a:lnTo>
                  <a:lnTo>
                    <a:pt x="142" y="487"/>
                  </a:lnTo>
                  <a:lnTo>
                    <a:pt x="140" y="486"/>
                  </a:lnTo>
                  <a:lnTo>
                    <a:pt x="141" y="483"/>
                  </a:lnTo>
                  <a:lnTo>
                    <a:pt x="140" y="483"/>
                  </a:lnTo>
                  <a:lnTo>
                    <a:pt x="141" y="482"/>
                  </a:lnTo>
                  <a:lnTo>
                    <a:pt x="141" y="480"/>
                  </a:lnTo>
                  <a:lnTo>
                    <a:pt x="138" y="478"/>
                  </a:lnTo>
                  <a:lnTo>
                    <a:pt x="140" y="477"/>
                  </a:lnTo>
                  <a:lnTo>
                    <a:pt x="141" y="477"/>
                  </a:lnTo>
                  <a:lnTo>
                    <a:pt x="141" y="476"/>
                  </a:lnTo>
                  <a:lnTo>
                    <a:pt x="143" y="478"/>
                  </a:lnTo>
                  <a:lnTo>
                    <a:pt x="144" y="480"/>
                  </a:lnTo>
                  <a:lnTo>
                    <a:pt x="146" y="481"/>
                  </a:lnTo>
                  <a:lnTo>
                    <a:pt x="147" y="480"/>
                  </a:lnTo>
                  <a:lnTo>
                    <a:pt x="149" y="482"/>
                  </a:lnTo>
                  <a:lnTo>
                    <a:pt x="152" y="482"/>
                  </a:lnTo>
                  <a:lnTo>
                    <a:pt x="152" y="483"/>
                  </a:lnTo>
                  <a:lnTo>
                    <a:pt x="154" y="484"/>
                  </a:lnTo>
                  <a:lnTo>
                    <a:pt x="155" y="483"/>
                  </a:lnTo>
                  <a:lnTo>
                    <a:pt x="155" y="482"/>
                  </a:lnTo>
                  <a:lnTo>
                    <a:pt x="156" y="483"/>
                  </a:lnTo>
                  <a:lnTo>
                    <a:pt x="159" y="482"/>
                  </a:lnTo>
                  <a:lnTo>
                    <a:pt x="160" y="484"/>
                  </a:lnTo>
                  <a:lnTo>
                    <a:pt x="160" y="482"/>
                  </a:lnTo>
                  <a:lnTo>
                    <a:pt x="160" y="481"/>
                  </a:lnTo>
                  <a:lnTo>
                    <a:pt x="161" y="481"/>
                  </a:lnTo>
                  <a:lnTo>
                    <a:pt x="161" y="480"/>
                  </a:lnTo>
                  <a:lnTo>
                    <a:pt x="163" y="480"/>
                  </a:lnTo>
                  <a:lnTo>
                    <a:pt x="164" y="481"/>
                  </a:lnTo>
                  <a:lnTo>
                    <a:pt x="164" y="480"/>
                  </a:lnTo>
                  <a:lnTo>
                    <a:pt x="166" y="481"/>
                  </a:lnTo>
                  <a:lnTo>
                    <a:pt x="167" y="480"/>
                  </a:lnTo>
                  <a:lnTo>
                    <a:pt x="170" y="482"/>
                  </a:lnTo>
                  <a:lnTo>
                    <a:pt x="170" y="478"/>
                  </a:lnTo>
                  <a:lnTo>
                    <a:pt x="169" y="478"/>
                  </a:lnTo>
                  <a:lnTo>
                    <a:pt x="169" y="477"/>
                  </a:lnTo>
                  <a:lnTo>
                    <a:pt x="167" y="476"/>
                  </a:lnTo>
                  <a:lnTo>
                    <a:pt x="169" y="475"/>
                  </a:lnTo>
                  <a:lnTo>
                    <a:pt x="171" y="473"/>
                  </a:lnTo>
                  <a:lnTo>
                    <a:pt x="172" y="475"/>
                  </a:lnTo>
                  <a:lnTo>
                    <a:pt x="173" y="476"/>
                  </a:lnTo>
                  <a:lnTo>
                    <a:pt x="175" y="476"/>
                  </a:lnTo>
                  <a:lnTo>
                    <a:pt x="175" y="475"/>
                  </a:lnTo>
                  <a:lnTo>
                    <a:pt x="175" y="473"/>
                  </a:lnTo>
                  <a:lnTo>
                    <a:pt x="175" y="471"/>
                  </a:lnTo>
                  <a:lnTo>
                    <a:pt x="176" y="471"/>
                  </a:lnTo>
                  <a:lnTo>
                    <a:pt x="178" y="470"/>
                  </a:lnTo>
                  <a:lnTo>
                    <a:pt x="179" y="473"/>
                  </a:lnTo>
                  <a:lnTo>
                    <a:pt x="179" y="476"/>
                  </a:lnTo>
                  <a:lnTo>
                    <a:pt x="181" y="476"/>
                  </a:lnTo>
                  <a:lnTo>
                    <a:pt x="183" y="477"/>
                  </a:lnTo>
                  <a:lnTo>
                    <a:pt x="183" y="478"/>
                  </a:lnTo>
                  <a:lnTo>
                    <a:pt x="184" y="478"/>
                  </a:lnTo>
                  <a:lnTo>
                    <a:pt x="184" y="480"/>
                  </a:lnTo>
                  <a:lnTo>
                    <a:pt x="185" y="480"/>
                  </a:lnTo>
                  <a:lnTo>
                    <a:pt x="187" y="480"/>
                  </a:lnTo>
                  <a:lnTo>
                    <a:pt x="189" y="480"/>
                  </a:lnTo>
                  <a:lnTo>
                    <a:pt x="188" y="481"/>
                  </a:lnTo>
                  <a:lnTo>
                    <a:pt x="187" y="482"/>
                  </a:lnTo>
                  <a:lnTo>
                    <a:pt x="187" y="483"/>
                  </a:lnTo>
                  <a:lnTo>
                    <a:pt x="185" y="483"/>
                  </a:lnTo>
                  <a:lnTo>
                    <a:pt x="185" y="484"/>
                  </a:lnTo>
                  <a:lnTo>
                    <a:pt x="185" y="486"/>
                  </a:lnTo>
                  <a:lnTo>
                    <a:pt x="188" y="486"/>
                  </a:lnTo>
                  <a:lnTo>
                    <a:pt x="187" y="487"/>
                  </a:lnTo>
                  <a:lnTo>
                    <a:pt x="187" y="488"/>
                  </a:lnTo>
                  <a:lnTo>
                    <a:pt x="188" y="487"/>
                  </a:lnTo>
                  <a:lnTo>
                    <a:pt x="189" y="487"/>
                  </a:lnTo>
                  <a:lnTo>
                    <a:pt x="190" y="486"/>
                  </a:lnTo>
                  <a:lnTo>
                    <a:pt x="193" y="484"/>
                  </a:lnTo>
                  <a:lnTo>
                    <a:pt x="194" y="484"/>
                  </a:lnTo>
                  <a:lnTo>
                    <a:pt x="195" y="486"/>
                  </a:lnTo>
                  <a:lnTo>
                    <a:pt x="196" y="487"/>
                  </a:lnTo>
                  <a:lnTo>
                    <a:pt x="201" y="486"/>
                  </a:lnTo>
                  <a:lnTo>
                    <a:pt x="207" y="486"/>
                  </a:lnTo>
                  <a:lnTo>
                    <a:pt x="213" y="486"/>
                  </a:lnTo>
                  <a:lnTo>
                    <a:pt x="215" y="486"/>
                  </a:lnTo>
                  <a:lnTo>
                    <a:pt x="218" y="484"/>
                  </a:lnTo>
                  <a:lnTo>
                    <a:pt x="219" y="484"/>
                  </a:lnTo>
                  <a:lnTo>
                    <a:pt x="220" y="484"/>
                  </a:lnTo>
                  <a:lnTo>
                    <a:pt x="223" y="484"/>
                  </a:lnTo>
                  <a:lnTo>
                    <a:pt x="226" y="484"/>
                  </a:lnTo>
                  <a:lnTo>
                    <a:pt x="228" y="484"/>
                  </a:lnTo>
                  <a:lnTo>
                    <a:pt x="234" y="482"/>
                  </a:lnTo>
                  <a:lnTo>
                    <a:pt x="236" y="481"/>
                  </a:lnTo>
                  <a:lnTo>
                    <a:pt x="236" y="478"/>
                  </a:lnTo>
                  <a:lnTo>
                    <a:pt x="238" y="478"/>
                  </a:lnTo>
                  <a:lnTo>
                    <a:pt x="241" y="480"/>
                  </a:lnTo>
                  <a:lnTo>
                    <a:pt x="243" y="481"/>
                  </a:lnTo>
                  <a:lnTo>
                    <a:pt x="247" y="480"/>
                  </a:lnTo>
                  <a:lnTo>
                    <a:pt x="250" y="478"/>
                  </a:lnTo>
                  <a:lnTo>
                    <a:pt x="252" y="477"/>
                  </a:lnTo>
                  <a:lnTo>
                    <a:pt x="252" y="475"/>
                  </a:lnTo>
                  <a:lnTo>
                    <a:pt x="252" y="473"/>
                  </a:lnTo>
                  <a:lnTo>
                    <a:pt x="254" y="473"/>
                  </a:lnTo>
                  <a:lnTo>
                    <a:pt x="258" y="472"/>
                  </a:lnTo>
                  <a:lnTo>
                    <a:pt x="259" y="471"/>
                  </a:lnTo>
                  <a:lnTo>
                    <a:pt x="262" y="471"/>
                  </a:lnTo>
                  <a:lnTo>
                    <a:pt x="265" y="470"/>
                  </a:lnTo>
                  <a:lnTo>
                    <a:pt x="267" y="469"/>
                  </a:lnTo>
                  <a:lnTo>
                    <a:pt x="270" y="466"/>
                  </a:lnTo>
                  <a:lnTo>
                    <a:pt x="268" y="467"/>
                  </a:lnTo>
                  <a:lnTo>
                    <a:pt x="267" y="466"/>
                  </a:lnTo>
                  <a:lnTo>
                    <a:pt x="266" y="466"/>
                  </a:lnTo>
                  <a:lnTo>
                    <a:pt x="266" y="463"/>
                  </a:lnTo>
                  <a:lnTo>
                    <a:pt x="267" y="461"/>
                  </a:lnTo>
                  <a:lnTo>
                    <a:pt x="266" y="461"/>
                  </a:lnTo>
                  <a:lnTo>
                    <a:pt x="266" y="460"/>
                  </a:lnTo>
                  <a:lnTo>
                    <a:pt x="264" y="460"/>
                  </a:lnTo>
                  <a:lnTo>
                    <a:pt x="264" y="461"/>
                  </a:lnTo>
                  <a:lnTo>
                    <a:pt x="265" y="463"/>
                  </a:lnTo>
                  <a:lnTo>
                    <a:pt x="264" y="464"/>
                  </a:lnTo>
                  <a:lnTo>
                    <a:pt x="264" y="465"/>
                  </a:lnTo>
                  <a:lnTo>
                    <a:pt x="264" y="467"/>
                  </a:lnTo>
                  <a:lnTo>
                    <a:pt x="262" y="467"/>
                  </a:lnTo>
                  <a:lnTo>
                    <a:pt x="260" y="469"/>
                  </a:lnTo>
                  <a:lnTo>
                    <a:pt x="258" y="466"/>
                  </a:lnTo>
                  <a:lnTo>
                    <a:pt x="258" y="465"/>
                  </a:lnTo>
                  <a:lnTo>
                    <a:pt x="255" y="466"/>
                  </a:lnTo>
                  <a:lnTo>
                    <a:pt x="253" y="466"/>
                  </a:lnTo>
                  <a:lnTo>
                    <a:pt x="249" y="465"/>
                  </a:lnTo>
                  <a:lnTo>
                    <a:pt x="248" y="466"/>
                  </a:lnTo>
                  <a:lnTo>
                    <a:pt x="248" y="467"/>
                  </a:lnTo>
                  <a:lnTo>
                    <a:pt x="246" y="469"/>
                  </a:lnTo>
                  <a:lnTo>
                    <a:pt x="244" y="469"/>
                  </a:lnTo>
                  <a:lnTo>
                    <a:pt x="244" y="467"/>
                  </a:lnTo>
                  <a:lnTo>
                    <a:pt x="244" y="465"/>
                  </a:lnTo>
                  <a:lnTo>
                    <a:pt x="246" y="464"/>
                  </a:lnTo>
                  <a:lnTo>
                    <a:pt x="247" y="464"/>
                  </a:lnTo>
                  <a:lnTo>
                    <a:pt x="247" y="463"/>
                  </a:lnTo>
                  <a:lnTo>
                    <a:pt x="247" y="459"/>
                  </a:lnTo>
                  <a:lnTo>
                    <a:pt x="247" y="458"/>
                  </a:lnTo>
                  <a:lnTo>
                    <a:pt x="248" y="455"/>
                  </a:lnTo>
                  <a:lnTo>
                    <a:pt x="249" y="455"/>
                  </a:lnTo>
                  <a:lnTo>
                    <a:pt x="250" y="457"/>
                  </a:lnTo>
                  <a:lnTo>
                    <a:pt x="250" y="454"/>
                  </a:lnTo>
                  <a:lnTo>
                    <a:pt x="249" y="453"/>
                  </a:lnTo>
                  <a:lnTo>
                    <a:pt x="248" y="454"/>
                  </a:lnTo>
                  <a:lnTo>
                    <a:pt x="247" y="454"/>
                  </a:lnTo>
                  <a:lnTo>
                    <a:pt x="246" y="454"/>
                  </a:lnTo>
                  <a:lnTo>
                    <a:pt x="244" y="453"/>
                  </a:lnTo>
                  <a:lnTo>
                    <a:pt x="242" y="453"/>
                  </a:lnTo>
                  <a:lnTo>
                    <a:pt x="242" y="452"/>
                  </a:lnTo>
                  <a:lnTo>
                    <a:pt x="243" y="451"/>
                  </a:lnTo>
                  <a:lnTo>
                    <a:pt x="242" y="449"/>
                  </a:lnTo>
                  <a:lnTo>
                    <a:pt x="240" y="448"/>
                  </a:lnTo>
                  <a:lnTo>
                    <a:pt x="241" y="451"/>
                  </a:lnTo>
                  <a:lnTo>
                    <a:pt x="240" y="452"/>
                  </a:lnTo>
                  <a:lnTo>
                    <a:pt x="238" y="451"/>
                  </a:lnTo>
                  <a:lnTo>
                    <a:pt x="237" y="451"/>
                  </a:lnTo>
                  <a:lnTo>
                    <a:pt x="235" y="451"/>
                  </a:lnTo>
                  <a:lnTo>
                    <a:pt x="235" y="454"/>
                  </a:lnTo>
                  <a:lnTo>
                    <a:pt x="234" y="453"/>
                  </a:lnTo>
                  <a:lnTo>
                    <a:pt x="232" y="454"/>
                  </a:lnTo>
                  <a:lnTo>
                    <a:pt x="231" y="457"/>
                  </a:lnTo>
                  <a:lnTo>
                    <a:pt x="229" y="458"/>
                  </a:lnTo>
                  <a:lnTo>
                    <a:pt x="228" y="460"/>
                  </a:lnTo>
                  <a:lnTo>
                    <a:pt x="226" y="463"/>
                  </a:lnTo>
                  <a:lnTo>
                    <a:pt x="228" y="461"/>
                  </a:lnTo>
                  <a:lnTo>
                    <a:pt x="229" y="461"/>
                  </a:lnTo>
                  <a:lnTo>
                    <a:pt x="229" y="463"/>
                  </a:lnTo>
                  <a:lnTo>
                    <a:pt x="229" y="464"/>
                  </a:lnTo>
                  <a:lnTo>
                    <a:pt x="228" y="465"/>
                  </a:lnTo>
                  <a:lnTo>
                    <a:pt x="229" y="465"/>
                  </a:lnTo>
                  <a:lnTo>
                    <a:pt x="230" y="464"/>
                  </a:lnTo>
                  <a:lnTo>
                    <a:pt x="230" y="465"/>
                  </a:lnTo>
                  <a:lnTo>
                    <a:pt x="230" y="466"/>
                  </a:lnTo>
                  <a:lnTo>
                    <a:pt x="229" y="469"/>
                  </a:lnTo>
                  <a:lnTo>
                    <a:pt x="230" y="467"/>
                  </a:lnTo>
                  <a:lnTo>
                    <a:pt x="231" y="469"/>
                  </a:lnTo>
                  <a:lnTo>
                    <a:pt x="229" y="470"/>
                  </a:lnTo>
                  <a:lnTo>
                    <a:pt x="228" y="471"/>
                  </a:lnTo>
                  <a:lnTo>
                    <a:pt x="226" y="472"/>
                  </a:lnTo>
                  <a:lnTo>
                    <a:pt x="224" y="472"/>
                  </a:lnTo>
                  <a:lnTo>
                    <a:pt x="223" y="472"/>
                  </a:lnTo>
                  <a:lnTo>
                    <a:pt x="224" y="471"/>
                  </a:lnTo>
                  <a:lnTo>
                    <a:pt x="224" y="469"/>
                  </a:lnTo>
                  <a:lnTo>
                    <a:pt x="223" y="469"/>
                  </a:lnTo>
                  <a:lnTo>
                    <a:pt x="222" y="472"/>
                  </a:lnTo>
                  <a:lnTo>
                    <a:pt x="219" y="472"/>
                  </a:lnTo>
                  <a:lnTo>
                    <a:pt x="219" y="470"/>
                  </a:lnTo>
                  <a:lnTo>
                    <a:pt x="218" y="471"/>
                  </a:lnTo>
                  <a:lnTo>
                    <a:pt x="217" y="471"/>
                  </a:lnTo>
                  <a:lnTo>
                    <a:pt x="214" y="471"/>
                  </a:lnTo>
                  <a:lnTo>
                    <a:pt x="214" y="472"/>
                  </a:lnTo>
                  <a:lnTo>
                    <a:pt x="213" y="471"/>
                  </a:lnTo>
                  <a:lnTo>
                    <a:pt x="211" y="471"/>
                  </a:lnTo>
                  <a:lnTo>
                    <a:pt x="211" y="470"/>
                  </a:lnTo>
                  <a:lnTo>
                    <a:pt x="213" y="466"/>
                  </a:lnTo>
                  <a:lnTo>
                    <a:pt x="214" y="464"/>
                  </a:lnTo>
                  <a:lnTo>
                    <a:pt x="212" y="466"/>
                  </a:lnTo>
                  <a:lnTo>
                    <a:pt x="211" y="466"/>
                  </a:lnTo>
                  <a:lnTo>
                    <a:pt x="209" y="465"/>
                  </a:lnTo>
                  <a:lnTo>
                    <a:pt x="208" y="465"/>
                  </a:lnTo>
                  <a:lnTo>
                    <a:pt x="207" y="464"/>
                  </a:lnTo>
                  <a:lnTo>
                    <a:pt x="207" y="463"/>
                  </a:lnTo>
                  <a:lnTo>
                    <a:pt x="206" y="463"/>
                  </a:lnTo>
                  <a:lnTo>
                    <a:pt x="206" y="458"/>
                  </a:lnTo>
                  <a:lnTo>
                    <a:pt x="206" y="455"/>
                  </a:lnTo>
                  <a:lnTo>
                    <a:pt x="203" y="453"/>
                  </a:lnTo>
                  <a:lnTo>
                    <a:pt x="203" y="449"/>
                  </a:lnTo>
                  <a:lnTo>
                    <a:pt x="205" y="451"/>
                  </a:lnTo>
                  <a:lnTo>
                    <a:pt x="206" y="448"/>
                  </a:lnTo>
                  <a:lnTo>
                    <a:pt x="208" y="447"/>
                  </a:lnTo>
                  <a:lnTo>
                    <a:pt x="211" y="447"/>
                  </a:lnTo>
                  <a:lnTo>
                    <a:pt x="211" y="445"/>
                  </a:lnTo>
                  <a:lnTo>
                    <a:pt x="208" y="445"/>
                  </a:lnTo>
                  <a:lnTo>
                    <a:pt x="207" y="446"/>
                  </a:lnTo>
                  <a:lnTo>
                    <a:pt x="205" y="446"/>
                  </a:lnTo>
                  <a:lnTo>
                    <a:pt x="203" y="445"/>
                  </a:lnTo>
                  <a:lnTo>
                    <a:pt x="201" y="446"/>
                  </a:lnTo>
                  <a:lnTo>
                    <a:pt x="201" y="448"/>
                  </a:lnTo>
                  <a:lnTo>
                    <a:pt x="202" y="449"/>
                  </a:lnTo>
                  <a:lnTo>
                    <a:pt x="201" y="451"/>
                  </a:lnTo>
                  <a:lnTo>
                    <a:pt x="200" y="452"/>
                  </a:lnTo>
                  <a:lnTo>
                    <a:pt x="200" y="453"/>
                  </a:lnTo>
                  <a:lnTo>
                    <a:pt x="199" y="453"/>
                  </a:lnTo>
                  <a:lnTo>
                    <a:pt x="200" y="449"/>
                  </a:lnTo>
                  <a:lnTo>
                    <a:pt x="197" y="449"/>
                  </a:lnTo>
                  <a:lnTo>
                    <a:pt x="196" y="452"/>
                  </a:lnTo>
                  <a:lnTo>
                    <a:pt x="194" y="452"/>
                  </a:lnTo>
                  <a:lnTo>
                    <a:pt x="191" y="452"/>
                  </a:lnTo>
                  <a:lnTo>
                    <a:pt x="190" y="452"/>
                  </a:lnTo>
                  <a:lnTo>
                    <a:pt x="190" y="453"/>
                  </a:lnTo>
                  <a:lnTo>
                    <a:pt x="189" y="453"/>
                  </a:lnTo>
                  <a:lnTo>
                    <a:pt x="188" y="454"/>
                  </a:lnTo>
                  <a:lnTo>
                    <a:pt x="185" y="455"/>
                  </a:lnTo>
                  <a:lnTo>
                    <a:pt x="185" y="454"/>
                  </a:lnTo>
                  <a:lnTo>
                    <a:pt x="184" y="455"/>
                  </a:lnTo>
                  <a:lnTo>
                    <a:pt x="183" y="454"/>
                  </a:lnTo>
                  <a:lnTo>
                    <a:pt x="182" y="453"/>
                  </a:lnTo>
                  <a:lnTo>
                    <a:pt x="181" y="453"/>
                  </a:lnTo>
                  <a:lnTo>
                    <a:pt x="178" y="452"/>
                  </a:lnTo>
                  <a:lnTo>
                    <a:pt x="178" y="449"/>
                  </a:lnTo>
                  <a:lnTo>
                    <a:pt x="176" y="449"/>
                  </a:lnTo>
                  <a:lnTo>
                    <a:pt x="175" y="449"/>
                  </a:lnTo>
                  <a:lnTo>
                    <a:pt x="172" y="451"/>
                  </a:lnTo>
                  <a:lnTo>
                    <a:pt x="171" y="451"/>
                  </a:lnTo>
                  <a:lnTo>
                    <a:pt x="167" y="449"/>
                  </a:lnTo>
                  <a:lnTo>
                    <a:pt x="167" y="448"/>
                  </a:lnTo>
                  <a:lnTo>
                    <a:pt x="166" y="448"/>
                  </a:lnTo>
                  <a:lnTo>
                    <a:pt x="164" y="449"/>
                  </a:lnTo>
                  <a:lnTo>
                    <a:pt x="161" y="448"/>
                  </a:lnTo>
                  <a:lnTo>
                    <a:pt x="161" y="449"/>
                  </a:lnTo>
                  <a:lnTo>
                    <a:pt x="159" y="449"/>
                  </a:lnTo>
                  <a:lnTo>
                    <a:pt x="158" y="448"/>
                  </a:lnTo>
                  <a:lnTo>
                    <a:pt x="156" y="448"/>
                  </a:lnTo>
                  <a:lnTo>
                    <a:pt x="155" y="449"/>
                  </a:lnTo>
                  <a:lnTo>
                    <a:pt x="154" y="448"/>
                  </a:lnTo>
                  <a:lnTo>
                    <a:pt x="152" y="449"/>
                  </a:lnTo>
                  <a:lnTo>
                    <a:pt x="152" y="451"/>
                  </a:lnTo>
                  <a:lnTo>
                    <a:pt x="152" y="452"/>
                  </a:lnTo>
                  <a:lnTo>
                    <a:pt x="152" y="453"/>
                  </a:lnTo>
                  <a:lnTo>
                    <a:pt x="152" y="452"/>
                  </a:lnTo>
                  <a:lnTo>
                    <a:pt x="154" y="452"/>
                  </a:lnTo>
                  <a:lnTo>
                    <a:pt x="155" y="452"/>
                  </a:lnTo>
                  <a:lnTo>
                    <a:pt x="156" y="452"/>
                  </a:lnTo>
                  <a:lnTo>
                    <a:pt x="158" y="452"/>
                  </a:lnTo>
                  <a:lnTo>
                    <a:pt x="159" y="452"/>
                  </a:lnTo>
                  <a:lnTo>
                    <a:pt x="158" y="452"/>
                  </a:lnTo>
                  <a:lnTo>
                    <a:pt x="159" y="449"/>
                  </a:lnTo>
                  <a:lnTo>
                    <a:pt x="159" y="451"/>
                  </a:lnTo>
                  <a:lnTo>
                    <a:pt x="159" y="452"/>
                  </a:lnTo>
                  <a:lnTo>
                    <a:pt x="160" y="451"/>
                  </a:lnTo>
                  <a:lnTo>
                    <a:pt x="161" y="451"/>
                  </a:lnTo>
                  <a:lnTo>
                    <a:pt x="161" y="452"/>
                  </a:lnTo>
                  <a:lnTo>
                    <a:pt x="163" y="451"/>
                  </a:lnTo>
                  <a:lnTo>
                    <a:pt x="164" y="452"/>
                  </a:lnTo>
                  <a:lnTo>
                    <a:pt x="164" y="451"/>
                  </a:lnTo>
                  <a:lnTo>
                    <a:pt x="164" y="452"/>
                  </a:lnTo>
                  <a:lnTo>
                    <a:pt x="165" y="452"/>
                  </a:lnTo>
                  <a:lnTo>
                    <a:pt x="166" y="453"/>
                  </a:lnTo>
                  <a:lnTo>
                    <a:pt x="166" y="454"/>
                  </a:lnTo>
                  <a:lnTo>
                    <a:pt x="166" y="452"/>
                  </a:lnTo>
                  <a:lnTo>
                    <a:pt x="167" y="451"/>
                  </a:lnTo>
                  <a:lnTo>
                    <a:pt x="169" y="451"/>
                  </a:lnTo>
                  <a:lnTo>
                    <a:pt x="169" y="453"/>
                  </a:lnTo>
                  <a:lnTo>
                    <a:pt x="167" y="457"/>
                  </a:lnTo>
                  <a:lnTo>
                    <a:pt x="166" y="457"/>
                  </a:lnTo>
                  <a:lnTo>
                    <a:pt x="165" y="457"/>
                  </a:lnTo>
                  <a:lnTo>
                    <a:pt x="166" y="457"/>
                  </a:lnTo>
                  <a:lnTo>
                    <a:pt x="166" y="459"/>
                  </a:lnTo>
                  <a:lnTo>
                    <a:pt x="166" y="458"/>
                  </a:lnTo>
                  <a:lnTo>
                    <a:pt x="165" y="458"/>
                  </a:lnTo>
                  <a:lnTo>
                    <a:pt x="164" y="458"/>
                  </a:lnTo>
                  <a:lnTo>
                    <a:pt x="163" y="458"/>
                  </a:lnTo>
                  <a:lnTo>
                    <a:pt x="161" y="458"/>
                  </a:lnTo>
                  <a:lnTo>
                    <a:pt x="159" y="459"/>
                  </a:lnTo>
                  <a:lnTo>
                    <a:pt x="156" y="464"/>
                  </a:lnTo>
                  <a:lnTo>
                    <a:pt x="154" y="464"/>
                  </a:lnTo>
                  <a:lnTo>
                    <a:pt x="154" y="463"/>
                  </a:lnTo>
                  <a:lnTo>
                    <a:pt x="153" y="460"/>
                  </a:lnTo>
                  <a:lnTo>
                    <a:pt x="152" y="458"/>
                  </a:lnTo>
                  <a:lnTo>
                    <a:pt x="150" y="458"/>
                  </a:lnTo>
                  <a:lnTo>
                    <a:pt x="152" y="461"/>
                  </a:lnTo>
                  <a:lnTo>
                    <a:pt x="152" y="463"/>
                  </a:lnTo>
                  <a:lnTo>
                    <a:pt x="150" y="463"/>
                  </a:lnTo>
                  <a:lnTo>
                    <a:pt x="150" y="461"/>
                  </a:lnTo>
                  <a:lnTo>
                    <a:pt x="149" y="464"/>
                  </a:lnTo>
                  <a:lnTo>
                    <a:pt x="150" y="465"/>
                  </a:lnTo>
                  <a:lnTo>
                    <a:pt x="148" y="464"/>
                  </a:lnTo>
                  <a:lnTo>
                    <a:pt x="149" y="466"/>
                  </a:lnTo>
                  <a:lnTo>
                    <a:pt x="148" y="466"/>
                  </a:lnTo>
                  <a:lnTo>
                    <a:pt x="149" y="469"/>
                  </a:lnTo>
                  <a:lnTo>
                    <a:pt x="147" y="470"/>
                  </a:lnTo>
                  <a:lnTo>
                    <a:pt x="149" y="471"/>
                  </a:lnTo>
                  <a:lnTo>
                    <a:pt x="150" y="470"/>
                  </a:lnTo>
                  <a:lnTo>
                    <a:pt x="150" y="471"/>
                  </a:lnTo>
                  <a:lnTo>
                    <a:pt x="152" y="471"/>
                  </a:lnTo>
                  <a:lnTo>
                    <a:pt x="152" y="473"/>
                  </a:lnTo>
                  <a:lnTo>
                    <a:pt x="152" y="476"/>
                  </a:lnTo>
                  <a:lnTo>
                    <a:pt x="150" y="477"/>
                  </a:lnTo>
                  <a:lnTo>
                    <a:pt x="150" y="476"/>
                  </a:lnTo>
                  <a:lnTo>
                    <a:pt x="148" y="477"/>
                  </a:lnTo>
                  <a:lnTo>
                    <a:pt x="147" y="477"/>
                  </a:lnTo>
                  <a:lnTo>
                    <a:pt x="147" y="476"/>
                  </a:lnTo>
                  <a:lnTo>
                    <a:pt x="144" y="475"/>
                  </a:lnTo>
                  <a:lnTo>
                    <a:pt x="141" y="473"/>
                  </a:lnTo>
                  <a:lnTo>
                    <a:pt x="138" y="473"/>
                  </a:lnTo>
                  <a:lnTo>
                    <a:pt x="137" y="473"/>
                  </a:lnTo>
                  <a:lnTo>
                    <a:pt x="136" y="475"/>
                  </a:lnTo>
                  <a:lnTo>
                    <a:pt x="130" y="475"/>
                  </a:lnTo>
                  <a:lnTo>
                    <a:pt x="129" y="473"/>
                  </a:lnTo>
                  <a:lnTo>
                    <a:pt x="126" y="475"/>
                  </a:lnTo>
                  <a:lnTo>
                    <a:pt x="125" y="476"/>
                  </a:lnTo>
                  <a:lnTo>
                    <a:pt x="124" y="478"/>
                  </a:lnTo>
                  <a:lnTo>
                    <a:pt x="122" y="478"/>
                  </a:lnTo>
                  <a:lnTo>
                    <a:pt x="119" y="480"/>
                  </a:lnTo>
                  <a:lnTo>
                    <a:pt x="118" y="478"/>
                  </a:lnTo>
                  <a:lnTo>
                    <a:pt x="117" y="476"/>
                  </a:lnTo>
                  <a:lnTo>
                    <a:pt x="117" y="475"/>
                  </a:lnTo>
                  <a:lnTo>
                    <a:pt x="114" y="472"/>
                  </a:lnTo>
                  <a:lnTo>
                    <a:pt x="112" y="472"/>
                  </a:lnTo>
                  <a:lnTo>
                    <a:pt x="112" y="470"/>
                  </a:lnTo>
                  <a:lnTo>
                    <a:pt x="110" y="469"/>
                  </a:lnTo>
                  <a:lnTo>
                    <a:pt x="108" y="466"/>
                  </a:lnTo>
                  <a:lnTo>
                    <a:pt x="108" y="465"/>
                  </a:lnTo>
                  <a:lnTo>
                    <a:pt x="110" y="466"/>
                  </a:lnTo>
                  <a:lnTo>
                    <a:pt x="111" y="466"/>
                  </a:lnTo>
                  <a:lnTo>
                    <a:pt x="111" y="467"/>
                  </a:lnTo>
                  <a:lnTo>
                    <a:pt x="112" y="466"/>
                  </a:lnTo>
                  <a:lnTo>
                    <a:pt x="113" y="466"/>
                  </a:lnTo>
                  <a:lnTo>
                    <a:pt x="113" y="467"/>
                  </a:lnTo>
                  <a:lnTo>
                    <a:pt x="114" y="466"/>
                  </a:lnTo>
                  <a:lnTo>
                    <a:pt x="114" y="465"/>
                  </a:lnTo>
                  <a:lnTo>
                    <a:pt x="116" y="464"/>
                  </a:lnTo>
                  <a:lnTo>
                    <a:pt x="117" y="465"/>
                  </a:lnTo>
                  <a:lnTo>
                    <a:pt x="117" y="464"/>
                  </a:lnTo>
                  <a:lnTo>
                    <a:pt x="118" y="464"/>
                  </a:lnTo>
                  <a:lnTo>
                    <a:pt x="119" y="463"/>
                  </a:lnTo>
                  <a:lnTo>
                    <a:pt x="117" y="460"/>
                  </a:lnTo>
                  <a:lnTo>
                    <a:pt x="117" y="459"/>
                  </a:lnTo>
                  <a:lnTo>
                    <a:pt x="118" y="459"/>
                  </a:lnTo>
                  <a:lnTo>
                    <a:pt x="122" y="459"/>
                  </a:lnTo>
                  <a:lnTo>
                    <a:pt x="123" y="458"/>
                  </a:lnTo>
                  <a:lnTo>
                    <a:pt x="123" y="457"/>
                  </a:lnTo>
                  <a:lnTo>
                    <a:pt x="120" y="455"/>
                  </a:lnTo>
                  <a:lnTo>
                    <a:pt x="120" y="454"/>
                  </a:lnTo>
                  <a:lnTo>
                    <a:pt x="119" y="454"/>
                  </a:lnTo>
                  <a:lnTo>
                    <a:pt x="119" y="453"/>
                  </a:lnTo>
                  <a:lnTo>
                    <a:pt x="117" y="452"/>
                  </a:lnTo>
                  <a:lnTo>
                    <a:pt x="118" y="452"/>
                  </a:lnTo>
                  <a:lnTo>
                    <a:pt x="118" y="451"/>
                  </a:lnTo>
                  <a:lnTo>
                    <a:pt x="119" y="449"/>
                  </a:lnTo>
                  <a:lnTo>
                    <a:pt x="122" y="451"/>
                  </a:lnTo>
                  <a:lnTo>
                    <a:pt x="123" y="451"/>
                  </a:lnTo>
                  <a:lnTo>
                    <a:pt x="122" y="449"/>
                  </a:lnTo>
                  <a:lnTo>
                    <a:pt x="122" y="447"/>
                  </a:lnTo>
                  <a:lnTo>
                    <a:pt x="122" y="445"/>
                  </a:lnTo>
                  <a:lnTo>
                    <a:pt x="120" y="446"/>
                  </a:lnTo>
                  <a:lnTo>
                    <a:pt x="118" y="446"/>
                  </a:lnTo>
                  <a:lnTo>
                    <a:pt x="117" y="446"/>
                  </a:lnTo>
                  <a:lnTo>
                    <a:pt x="116" y="446"/>
                  </a:lnTo>
                  <a:lnTo>
                    <a:pt x="114" y="445"/>
                  </a:lnTo>
                  <a:lnTo>
                    <a:pt x="113" y="445"/>
                  </a:lnTo>
                  <a:lnTo>
                    <a:pt x="112" y="446"/>
                  </a:lnTo>
                  <a:lnTo>
                    <a:pt x="112" y="447"/>
                  </a:lnTo>
                  <a:lnTo>
                    <a:pt x="110" y="447"/>
                  </a:lnTo>
                  <a:lnTo>
                    <a:pt x="110" y="446"/>
                  </a:lnTo>
                  <a:lnTo>
                    <a:pt x="108" y="447"/>
                  </a:lnTo>
                  <a:lnTo>
                    <a:pt x="107" y="446"/>
                  </a:lnTo>
                  <a:lnTo>
                    <a:pt x="106" y="446"/>
                  </a:lnTo>
                  <a:lnTo>
                    <a:pt x="105" y="446"/>
                  </a:lnTo>
                  <a:lnTo>
                    <a:pt x="102" y="445"/>
                  </a:lnTo>
                  <a:lnTo>
                    <a:pt x="101" y="446"/>
                  </a:lnTo>
                  <a:lnTo>
                    <a:pt x="100" y="446"/>
                  </a:lnTo>
                  <a:lnTo>
                    <a:pt x="97" y="447"/>
                  </a:lnTo>
                  <a:lnTo>
                    <a:pt x="97" y="448"/>
                  </a:lnTo>
                  <a:lnTo>
                    <a:pt x="96" y="448"/>
                  </a:lnTo>
                  <a:lnTo>
                    <a:pt x="89" y="447"/>
                  </a:lnTo>
                  <a:lnTo>
                    <a:pt x="87" y="449"/>
                  </a:lnTo>
                  <a:lnTo>
                    <a:pt x="85" y="449"/>
                  </a:lnTo>
                  <a:lnTo>
                    <a:pt x="84" y="447"/>
                  </a:lnTo>
                  <a:lnTo>
                    <a:pt x="83" y="447"/>
                  </a:lnTo>
                  <a:lnTo>
                    <a:pt x="81" y="446"/>
                  </a:lnTo>
                  <a:lnTo>
                    <a:pt x="79" y="445"/>
                  </a:lnTo>
                  <a:lnTo>
                    <a:pt x="81" y="443"/>
                  </a:lnTo>
                  <a:lnTo>
                    <a:pt x="82" y="443"/>
                  </a:lnTo>
                  <a:lnTo>
                    <a:pt x="82" y="445"/>
                  </a:lnTo>
                  <a:lnTo>
                    <a:pt x="84" y="445"/>
                  </a:lnTo>
                  <a:lnTo>
                    <a:pt x="85" y="443"/>
                  </a:lnTo>
                  <a:lnTo>
                    <a:pt x="84" y="443"/>
                  </a:lnTo>
                  <a:lnTo>
                    <a:pt x="84" y="442"/>
                  </a:lnTo>
                  <a:lnTo>
                    <a:pt x="82" y="441"/>
                  </a:lnTo>
                  <a:lnTo>
                    <a:pt x="82" y="440"/>
                  </a:lnTo>
                  <a:lnTo>
                    <a:pt x="81" y="440"/>
                  </a:lnTo>
                  <a:lnTo>
                    <a:pt x="79" y="440"/>
                  </a:lnTo>
                  <a:lnTo>
                    <a:pt x="81" y="436"/>
                  </a:lnTo>
                  <a:lnTo>
                    <a:pt x="82" y="434"/>
                  </a:lnTo>
                  <a:lnTo>
                    <a:pt x="83" y="434"/>
                  </a:lnTo>
                  <a:lnTo>
                    <a:pt x="84" y="434"/>
                  </a:lnTo>
                  <a:lnTo>
                    <a:pt x="85" y="433"/>
                  </a:lnTo>
                  <a:lnTo>
                    <a:pt x="87" y="434"/>
                  </a:lnTo>
                  <a:lnTo>
                    <a:pt x="89" y="435"/>
                  </a:lnTo>
                  <a:lnTo>
                    <a:pt x="89" y="433"/>
                  </a:lnTo>
                  <a:lnTo>
                    <a:pt x="89" y="431"/>
                  </a:lnTo>
                  <a:lnTo>
                    <a:pt x="90" y="431"/>
                  </a:lnTo>
                  <a:lnTo>
                    <a:pt x="93" y="430"/>
                  </a:lnTo>
                  <a:lnTo>
                    <a:pt x="90" y="428"/>
                  </a:lnTo>
                  <a:lnTo>
                    <a:pt x="89" y="429"/>
                  </a:lnTo>
                  <a:lnTo>
                    <a:pt x="85" y="428"/>
                  </a:lnTo>
                  <a:lnTo>
                    <a:pt x="84" y="428"/>
                  </a:lnTo>
                  <a:lnTo>
                    <a:pt x="83" y="427"/>
                  </a:lnTo>
                  <a:lnTo>
                    <a:pt x="79" y="425"/>
                  </a:lnTo>
                  <a:lnTo>
                    <a:pt x="79" y="424"/>
                  </a:lnTo>
                  <a:lnTo>
                    <a:pt x="78" y="423"/>
                  </a:lnTo>
                  <a:lnTo>
                    <a:pt x="78" y="422"/>
                  </a:lnTo>
                  <a:lnTo>
                    <a:pt x="76" y="419"/>
                  </a:lnTo>
                  <a:lnTo>
                    <a:pt x="77" y="419"/>
                  </a:lnTo>
                  <a:lnTo>
                    <a:pt x="77" y="418"/>
                  </a:lnTo>
                  <a:lnTo>
                    <a:pt x="78" y="418"/>
                  </a:lnTo>
                  <a:lnTo>
                    <a:pt x="78" y="419"/>
                  </a:lnTo>
                  <a:lnTo>
                    <a:pt x="81" y="419"/>
                  </a:lnTo>
                  <a:lnTo>
                    <a:pt x="81" y="421"/>
                  </a:lnTo>
                  <a:lnTo>
                    <a:pt x="82" y="421"/>
                  </a:lnTo>
                  <a:lnTo>
                    <a:pt x="83" y="422"/>
                  </a:lnTo>
                  <a:lnTo>
                    <a:pt x="83" y="419"/>
                  </a:lnTo>
                  <a:lnTo>
                    <a:pt x="83" y="418"/>
                  </a:lnTo>
                  <a:lnTo>
                    <a:pt x="85" y="417"/>
                  </a:lnTo>
                  <a:lnTo>
                    <a:pt x="85" y="418"/>
                  </a:lnTo>
                  <a:lnTo>
                    <a:pt x="87" y="419"/>
                  </a:lnTo>
                  <a:lnTo>
                    <a:pt x="88" y="422"/>
                  </a:lnTo>
                  <a:lnTo>
                    <a:pt x="89" y="422"/>
                  </a:lnTo>
                  <a:lnTo>
                    <a:pt x="90" y="423"/>
                  </a:lnTo>
                  <a:lnTo>
                    <a:pt x="90" y="424"/>
                  </a:lnTo>
                  <a:lnTo>
                    <a:pt x="93" y="424"/>
                  </a:lnTo>
                  <a:lnTo>
                    <a:pt x="97" y="424"/>
                  </a:lnTo>
                  <a:lnTo>
                    <a:pt x="96" y="422"/>
                  </a:lnTo>
                  <a:lnTo>
                    <a:pt x="95" y="421"/>
                  </a:lnTo>
                  <a:lnTo>
                    <a:pt x="94" y="419"/>
                  </a:lnTo>
                  <a:lnTo>
                    <a:pt x="95" y="418"/>
                  </a:lnTo>
                  <a:lnTo>
                    <a:pt x="95" y="417"/>
                  </a:lnTo>
                  <a:lnTo>
                    <a:pt x="96" y="418"/>
                  </a:lnTo>
                  <a:lnTo>
                    <a:pt x="97" y="418"/>
                  </a:lnTo>
                  <a:lnTo>
                    <a:pt x="99" y="418"/>
                  </a:lnTo>
                  <a:lnTo>
                    <a:pt x="99" y="421"/>
                  </a:lnTo>
                  <a:lnTo>
                    <a:pt x="100" y="421"/>
                  </a:lnTo>
                  <a:lnTo>
                    <a:pt x="100" y="419"/>
                  </a:lnTo>
                  <a:lnTo>
                    <a:pt x="100" y="418"/>
                  </a:lnTo>
                  <a:lnTo>
                    <a:pt x="99" y="417"/>
                  </a:lnTo>
                  <a:lnTo>
                    <a:pt x="100" y="416"/>
                  </a:lnTo>
                  <a:lnTo>
                    <a:pt x="99" y="416"/>
                  </a:lnTo>
                  <a:lnTo>
                    <a:pt x="97" y="413"/>
                  </a:lnTo>
                  <a:lnTo>
                    <a:pt x="100" y="413"/>
                  </a:lnTo>
                  <a:lnTo>
                    <a:pt x="101" y="413"/>
                  </a:lnTo>
                  <a:lnTo>
                    <a:pt x="104" y="415"/>
                  </a:lnTo>
                  <a:lnTo>
                    <a:pt x="104" y="416"/>
                  </a:lnTo>
                  <a:lnTo>
                    <a:pt x="106" y="416"/>
                  </a:lnTo>
                  <a:lnTo>
                    <a:pt x="106" y="415"/>
                  </a:lnTo>
                  <a:lnTo>
                    <a:pt x="106" y="413"/>
                  </a:lnTo>
                  <a:lnTo>
                    <a:pt x="107" y="412"/>
                  </a:lnTo>
                  <a:lnTo>
                    <a:pt x="108" y="413"/>
                  </a:lnTo>
                  <a:lnTo>
                    <a:pt x="110" y="413"/>
                  </a:lnTo>
                  <a:lnTo>
                    <a:pt x="110" y="415"/>
                  </a:lnTo>
                  <a:lnTo>
                    <a:pt x="111" y="413"/>
                  </a:lnTo>
                  <a:lnTo>
                    <a:pt x="111" y="412"/>
                  </a:lnTo>
                  <a:lnTo>
                    <a:pt x="112" y="411"/>
                  </a:lnTo>
                  <a:lnTo>
                    <a:pt x="114" y="411"/>
                  </a:lnTo>
                  <a:lnTo>
                    <a:pt x="113" y="410"/>
                  </a:lnTo>
                  <a:lnTo>
                    <a:pt x="113" y="409"/>
                  </a:lnTo>
                  <a:lnTo>
                    <a:pt x="112" y="409"/>
                  </a:lnTo>
                  <a:lnTo>
                    <a:pt x="111" y="407"/>
                  </a:lnTo>
                  <a:lnTo>
                    <a:pt x="112" y="405"/>
                  </a:lnTo>
                  <a:lnTo>
                    <a:pt x="113" y="405"/>
                  </a:lnTo>
                  <a:lnTo>
                    <a:pt x="113" y="404"/>
                  </a:lnTo>
                  <a:lnTo>
                    <a:pt x="113" y="405"/>
                  </a:lnTo>
                  <a:lnTo>
                    <a:pt x="114" y="406"/>
                  </a:lnTo>
                  <a:lnTo>
                    <a:pt x="116" y="406"/>
                  </a:lnTo>
                  <a:lnTo>
                    <a:pt x="117" y="407"/>
                  </a:lnTo>
                  <a:lnTo>
                    <a:pt x="118" y="407"/>
                  </a:lnTo>
                  <a:lnTo>
                    <a:pt x="118" y="405"/>
                  </a:lnTo>
                  <a:lnTo>
                    <a:pt x="117" y="405"/>
                  </a:lnTo>
                  <a:lnTo>
                    <a:pt x="118" y="405"/>
                  </a:lnTo>
                  <a:lnTo>
                    <a:pt x="119" y="404"/>
                  </a:lnTo>
                  <a:lnTo>
                    <a:pt x="120" y="406"/>
                  </a:lnTo>
                  <a:lnTo>
                    <a:pt x="120" y="405"/>
                  </a:lnTo>
                  <a:lnTo>
                    <a:pt x="120" y="404"/>
                  </a:lnTo>
                  <a:lnTo>
                    <a:pt x="120" y="403"/>
                  </a:lnTo>
                  <a:lnTo>
                    <a:pt x="122" y="403"/>
                  </a:lnTo>
                  <a:lnTo>
                    <a:pt x="123" y="404"/>
                  </a:lnTo>
                  <a:lnTo>
                    <a:pt x="124" y="404"/>
                  </a:lnTo>
                  <a:lnTo>
                    <a:pt x="122" y="403"/>
                  </a:lnTo>
                  <a:lnTo>
                    <a:pt x="122" y="400"/>
                  </a:lnTo>
                  <a:lnTo>
                    <a:pt x="123" y="399"/>
                  </a:lnTo>
                  <a:lnTo>
                    <a:pt x="124" y="400"/>
                  </a:lnTo>
                  <a:lnTo>
                    <a:pt x="125" y="399"/>
                  </a:lnTo>
                  <a:lnTo>
                    <a:pt x="126" y="399"/>
                  </a:lnTo>
                  <a:lnTo>
                    <a:pt x="128" y="398"/>
                  </a:lnTo>
                  <a:lnTo>
                    <a:pt x="129" y="398"/>
                  </a:lnTo>
                  <a:lnTo>
                    <a:pt x="130" y="398"/>
                  </a:lnTo>
                  <a:lnTo>
                    <a:pt x="131" y="398"/>
                  </a:lnTo>
                  <a:lnTo>
                    <a:pt x="135" y="399"/>
                  </a:lnTo>
                  <a:lnTo>
                    <a:pt x="135" y="400"/>
                  </a:lnTo>
                  <a:lnTo>
                    <a:pt x="137" y="400"/>
                  </a:lnTo>
                  <a:lnTo>
                    <a:pt x="140" y="400"/>
                  </a:lnTo>
                  <a:lnTo>
                    <a:pt x="141" y="400"/>
                  </a:lnTo>
                  <a:lnTo>
                    <a:pt x="142" y="399"/>
                  </a:lnTo>
                  <a:lnTo>
                    <a:pt x="141" y="398"/>
                  </a:lnTo>
                  <a:lnTo>
                    <a:pt x="141" y="397"/>
                  </a:lnTo>
                  <a:lnTo>
                    <a:pt x="142" y="397"/>
                  </a:lnTo>
                  <a:lnTo>
                    <a:pt x="146" y="398"/>
                  </a:lnTo>
                  <a:lnTo>
                    <a:pt x="147" y="397"/>
                  </a:lnTo>
                  <a:lnTo>
                    <a:pt x="148" y="394"/>
                  </a:lnTo>
                  <a:lnTo>
                    <a:pt x="148" y="393"/>
                  </a:lnTo>
                  <a:lnTo>
                    <a:pt x="149" y="393"/>
                  </a:lnTo>
                  <a:lnTo>
                    <a:pt x="150" y="391"/>
                  </a:lnTo>
                  <a:lnTo>
                    <a:pt x="154" y="389"/>
                  </a:lnTo>
                  <a:lnTo>
                    <a:pt x="154" y="388"/>
                  </a:lnTo>
                  <a:lnTo>
                    <a:pt x="155" y="387"/>
                  </a:lnTo>
                  <a:lnTo>
                    <a:pt x="155" y="385"/>
                  </a:lnTo>
                  <a:lnTo>
                    <a:pt x="156" y="386"/>
                  </a:lnTo>
                  <a:lnTo>
                    <a:pt x="158" y="386"/>
                  </a:lnTo>
                  <a:lnTo>
                    <a:pt x="159" y="386"/>
                  </a:lnTo>
                  <a:lnTo>
                    <a:pt x="160" y="385"/>
                  </a:lnTo>
                  <a:lnTo>
                    <a:pt x="161" y="385"/>
                  </a:lnTo>
                  <a:lnTo>
                    <a:pt x="163" y="385"/>
                  </a:lnTo>
                  <a:lnTo>
                    <a:pt x="164" y="385"/>
                  </a:lnTo>
                  <a:lnTo>
                    <a:pt x="165" y="385"/>
                  </a:lnTo>
                  <a:lnTo>
                    <a:pt x="166" y="385"/>
                  </a:lnTo>
                  <a:lnTo>
                    <a:pt x="167" y="385"/>
                  </a:lnTo>
                  <a:lnTo>
                    <a:pt x="169" y="385"/>
                  </a:lnTo>
                  <a:lnTo>
                    <a:pt x="169" y="383"/>
                  </a:lnTo>
                  <a:lnTo>
                    <a:pt x="169" y="382"/>
                  </a:lnTo>
                  <a:lnTo>
                    <a:pt x="170" y="382"/>
                  </a:lnTo>
                  <a:lnTo>
                    <a:pt x="170" y="383"/>
                  </a:lnTo>
                  <a:lnTo>
                    <a:pt x="170" y="385"/>
                  </a:lnTo>
                  <a:lnTo>
                    <a:pt x="172" y="383"/>
                  </a:lnTo>
                  <a:lnTo>
                    <a:pt x="171" y="382"/>
                  </a:lnTo>
                  <a:lnTo>
                    <a:pt x="172" y="382"/>
                  </a:lnTo>
                  <a:lnTo>
                    <a:pt x="173" y="381"/>
                  </a:lnTo>
                  <a:lnTo>
                    <a:pt x="175" y="380"/>
                  </a:lnTo>
                  <a:lnTo>
                    <a:pt x="175" y="381"/>
                  </a:lnTo>
                  <a:lnTo>
                    <a:pt x="177" y="381"/>
                  </a:lnTo>
                  <a:lnTo>
                    <a:pt x="177" y="380"/>
                  </a:lnTo>
                  <a:lnTo>
                    <a:pt x="176" y="380"/>
                  </a:lnTo>
                  <a:lnTo>
                    <a:pt x="177" y="380"/>
                  </a:lnTo>
                  <a:lnTo>
                    <a:pt x="177" y="379"/>
                  </a:lnTo>
                  <a:lnTo>
                    <a:pt x="178" y="379"/>
                  </a:lnTo>
                  <a:lnTo>
                    <a:pt x="179" y="379"/>
                  </a:lnTo>
                  <a:lnTo>
                    <a:pt x="179" y="381"/>
                  </a:lnTo>
                  <a:lnTo>
                    <a:pt x="181" y="381"/>
                  </a:lnTo>
                  <a:lnTo>
                    <a:pt x="181" y="380"/>
                  </a:lnTo>
                  <a:lnTo>
                    <a:pt x="183" y="381"/>
                  </a:lnTo>
                  <a:lnTo>
                    <a:pt x="184" y="381"/>
                  </a:lnTo>
                  <a:lnTo>
                    <a:pt x="184" y="380"/>
                  </a:lnTo>
                  <a:lnTo>
                    <a:pt x="183" y="380"/>
                  </a:lnTo>
                  <a:lnTo>
                    <a:pt x="182" y="380"/>
                  </a:lnTo>
                  <a:lnTo>
                    <a:pt x="182" y="379"/>
                  </a:lnTo>
                  <a:lnTo>
                    <a:pt x="183" y="379"/>
                  </a:lnTo>
                  <a:lnTo>
                    <a:pt x="183" y="377"/>
                  </a:lnTo>
                  <a:lnTo>
                    <a:pt x="184" y="377"/>
                  </a:lnTo>
                  <a:lnTo>
                    <a:pt x="184" y="376"/>
                  </a:lnTo>
                  <a:lnTo>
                    <a:pt x="185" y="377"/>
                  </a:lnTo>
                  <a:lnTo>
                    <a:pt x="185" y="376"/>
                  </a:lnTo>
                  <a:lnTo>
                    <a:pt x="184" y="376"/>
                  </a:lnTo>
                  <a:lnTo>
                    <a:pt x="187" y="374"/>
                  </a:lnTo>
                  <a:lnTo>
                    <a:pt x="185" y="374"/>
                  </a:lnTo>
                  <a:lnTo>
                    <a:pt x="185" y="373"/>
                  </a:lnTo>
                  <a:lnTo>
                    <a:pt x="184" y="374"/>
                  </a:lnTo>
                  <a:lnTo>
                    <a:pt x="184" y="375"/>
                  </a:lnTo>
                  <a:lnTo>
                    <a:pt x="183" y="375"/>
                  </a:lnTo>
                  <a:lnTo>
                    <a:pt x="183" y="376"/>
                  </a:lnTo>
                  <a:lnTo>
                    <a:pt x="182" y="376"/>
                  </a:lnTo>
                  <a:lnTo>
                    <a:pt x="179" y="376"/>
                  </a:lnTo>
                  <a:lnTo>
                    <a:pt x="179" y="374"/>
                  </a:lnTo>
                  <a:lnTo>
                    <a:pt x="179" y="373"/>
                  </a:lnTo>
                  <a:lnTo>
                    <a:pt x="177" y="371"/>
                  </a:lnTo>
                  <a:lnTo>
                    <a:pt x="176" y="371"/>
                  </a:lnTo>
                  <a:lnTo>
                    <a:pt x="176" y="370"/>
                  </a:lnTo>
                  <a:lnTo>
                    <a:pt x="176" y="373"/>
                  </a:lnTo>
                  <a:lnTo>
                    <a:pt x="175" y="374"/>
                  </a:lnTo>
                  <a:lnTo>
                    <a:pt x="172" y="374"/>
                  </a:lnTo>
                  <a:lnTo>
                    <a:pt x="171" y="374"/>
                  </a:lnTo>
                  <a:lnTo>
                    <a:pt x="169" y="374"/>
                  </a:lnTo>
                  <a:lnTo>
                    <a:pt x="169" y="376"/>
                  </a:lnTo>
                  <a:lnTo>
                    <a:pt x="166" y="376"/>
                  </a:lnTo>
                  <a:lnTo>
                    <a:pt x="165" y="377"/>
                  </a:lnTo>
                  <a:lnTo>
                    <a:pt x="164" y="377"/>
                  </a:lnTo>
                  <a:lnTo>
                    <a:pt x="163" y="377"/>
                  </a:lnTo>
                  <a:lnTo>
                    <a:pt x="163" y="376"/>
                  </a:lnTo>
                  <a:lnTo>
                    <a:pt x="161" y="375"/>
                  </a:lnTo>
                  <a:lnTo>
                    <a:pt x="163" y="375"/>
                  </a:lnTo>
                  <a:lnTo>
                    <a:pt x="163" y="374"/>
                  </a:lnTo>
                  <a:lnTo>
                    <a:pt x="160" y="374"/>
                  </a:lnTo>
                  <a:lnTo>
                    <a:pt x="159" y="375"/>
                  </a:lnTo>
                  <a:lnTo>
                    <a:pt x="158" y="376"/>
                  </a:lnTo>
                  <a:lnTo>
                    <a:pt x="158" y="377"/>
                  </a:lnTo>
                  <a:lnTo>
                    <a:pt x="158" y="376"/>
                  </a:lnTo>
                  <a:lnTo>
                    <a:pt x="159" y="376"/>
                  </a:lnTo>
                  <a:lnTo>
                    <a:pt x="158" y="377"/>
                  </a:lnTo>
                  <a:lnTo>
                    <a:pt x="155" y="379"/>
                  </a:lnTo>
                  <a:lnTo>
                    <a:pt x="154" y="379"/>
                  </a:lnTo>
                  <a:lnTo>
                    <a:pt x="154" y="380"/>
                  </a:lnTo>
                  <a:lnTo>
                    <a:pt x="153" y="380"/>
                  </a:lnTo>
                  <a:lnTo>
                    <a:pt x="153" y="381"/>
                  </a:lnTo>
                  <a:lnTo>
                    <a:pt x="154" y="382"/>
                  </a:lnTo>
                  <a:lnTo>
                    <a:pt x="154" y="383"/>
                  </a:lnTo>
                  <a:lnTo>
                    <a:pt x="152" y="383"/>
                  </a:lnTo>
                  <a:lnTo>
                    <a:pt x="153" y="382"/>
                  </a:lnTo>
                  <a:lnTo>
                    <a:pt x="150" y="383"/>
                  </a:lnTo>
                  <a:lnTo>
                    <a:pt x="152" y="381"/>
                  </a:lnTo>
                  <a:lnTo>
                    <a:pt x="150" y="381"/>
                  </a:lnTo>
                  <a:lnTo>
                    <a:pt x="150" y="383"/>
                  </a:lnTo>
                  <a:lnTo>
                    <a:pt x="152" y="385"/>
                  </a:lnTo>
                  <a:lnTo>
                    <a:pt x="150" y="386"/>
                  </a:lnTo>
                  <a:lnTo>
                    <a:pt x="149" y="386"/>
                  </a:lnTo>
                  <a:lnTo>
                    <a:pt x="148" y="387"/>
                  </a:lnTo>
                  <a:lnTo>
                    <a:pt x="147" y="387"/>
                  </a:lnTo>
                  <a:lnTo>
                    <a:pt x="146" y="385"/>
                  </a:lnTo>
                  <a:lnTo>
                    <a:pt x="147" y="383"/>
                  </a:lnTo>
                  <a:lnTo>
                    <a:pt x="144" y="382"/>
                  </a:lnTo>
                  <a:lnTo>
                    <a:pt x="146" y="381"/>
                  </a:lnTo>
                  <a:lnTo>
                    <a:pt x="146" y="380"/>
                  </a:lnTo>
                  <a:lnTo>
                    <a:pt x="147" y="379"/>
                  </a:lnTo>
                  <a:lnTo>
                    <a:pt x="146" y="377"/>
                  </a:lnTo>
                  <a:lnTo>
                    <a:pt x="146" y="380"/>
                  </a:lnTo>
                  <a:lnTo>
                    <a:pt x="144" y="380"/>
                  </a:lnTo>
                  <a:lnTo>
                    <a:pt x="143" y="380"/>
                  </a:lnTo>
                  <a:lnTo>
                    <a:pt x="143" y="382"/>
                  </a:lnTo>
                  <a:lnTo>
                    <a:pt x="142" y="383"/>
                  </a:lnTo>
                  <a:lnTo>
                    <a:pt x="141" y="383"/>
                  </a:lnTo>
                  <a:lnTo>
                    <a:pt x="141" y="382"/>
                  </a:lnTo>
                  <a:lnTo>
                    <a:pt x="141" y="383"/>
                  </a:lnTo>
                  <a:lnTo>
                    <a:pt x="138" y="382"/>
                  </a:lnTo>
                  <a:lnTo>
                    <a:pt x="137" y="383"/>
                  </a:lnTo>
                  <a:lnTo>
                    <a:pt x="137" y="382"/>
                  </a:lnTo>
                  <a:lnTo>
                    <a:pt x="136" y="383"/>
                  </a:lnTo>
                  <a:lnTo>
                    <a:pt x="135" y="383"/>
                  </a:lnTo>
                  <a:lnTo>
                    <a:pt x="135" y="382"/>
                  </a:lnTo>
                  <a:lnTo>
                    <a:pt x="134" y="382"/>
                  </a:lnTo>
                  <a:lnTo>
                    <a:pt x="132" y="381"/>
                  </a:lnTo>
                  <a:lnTo>
                    <a:pt x="134" y="380"/>
                  </a:lnTo>
                  <a:lnTo>
                    <a:pt x="134" y="379"/>
                  </a:lnTo>
                  <a:lnTo>
                    <a:pt x="135" y="379"/>
                  </a:lnTo>
                  <a:lnTo>
                    <a:pt x="136" y="379"/>
                  </a:lnTo>
                  <a:lnTo>
                    <a:pt x="136" y="377"/>
                  </a:lnTo>
                  <a:lnTo>
                    <a:pt x="136" y="376"/>
                  </a:lnTo>
                  <a:lnTo>
                    <a:pt x="136" y="375"/>
                  </a:lnTo>
                  <a:lnTo>
                    <a:pt x="137" y="374"/>
                  </a:lnTo>
                  <a:lnTo>
                    <a:pt x="138" y="373"/>
                  </a:lnTo>
                  <a:lnTo>
                    <a:pt x="138" y="374"/>
                  </a:lnTo>
                  <a:lnTo>
                    <a:pt x="140" y="373"/>
                  </a:lnTo>
                  <a:lnTo>
                    <a:pt x="141" y="373"/>
                  </a:lnTo>
                  <a:lnTo>
                    <a:pt x="142" y="371"/>
                  </a:lnTo>
                  <a:lnTo>
                    <a:pt x="142" y="370"/>
                  </a:lnTo>
                  <a:lnTo>
                    <a:pt x="142" y="369"/>
                  </a:lnTo>
                  <a:lnTo>
                    <a:pt x="143" y="369"/>
                  </a:lnTo>
                  <a:lnTo>
                    <a:pt x="144" y="369"/>
                  </a:lnTo>
                  <a:lnTo>
                    <a:pt x="146" y="369"/>
                  </a:lnTo>
                  <a:lnTo>
                    <a:pt x="144" y="368"/>
                  </a:lnTo>
                  <a:lnTo>
                    <a:pt x="144" y="366"/>
                  </a:lnTo>
                  <a:lnTo>
                    <a:pt x="143" y="365"/>
                  </a:lnTo>
                  <a:lnTo>
                    <a:pt x="142" y="365"/>
                  </a:lnTo>
                  <a:lnTo>
                    <a:pt x="142" y="366"/>
                  </a:lnTo>
                  <a:lnTo>
                    <a:pt x="141" y="368"/>
                  </a:lnTo>
                  <a:lnTo>
                    <a:pt x="140" y="369"/>
                  </a:lnTo>
                  <a:lnTo>
                    <a:pt x="138" y="369"/>
                  </a:lnTo>
                  <a:lnTo>
                    <a:pt x="136" y="369"/>
                  </a:lnTo>
                  <a:lnTo>
                    <a:pt x="136" y="368"/>
                  </a:lnTo>
                  <a:lnTo>
                    <a:pt x="135" y="368"/>
                  </a:lnTo>
                  <a:lnTo>
                    <a:pt x="134" y="368"/>
                  </a:lnTo>
                  <a:lnTo>
                    <a:pt x="132" y="369"/>
                  </a:lnTo>
                  <a:lnTo>
                    <a:pt x="131" y="369"/>
                  </a:lnTo>
                  <a:lnTo>
                    <a:pt x="130" y="369"/>
                  </a:lnTo>
                  <a:lnTo>
                    <a:pt x="129" y="370"/>
                  </a:lnTo>
                  <a:lnTo>
                    <a:pt x="128" y="370"/>
                  </a:lnTo>
                  <a:lnTo>
                    <a:pt x="126" y="371"/>
                  </a:lnTo>
                  <a:lnTo>
                    <a:pt x="125" y="370"/>
                  </a:lnTo>
                  <a:lnTo>
                    <a:pt x="124" y="370"/>
                  </a:lnTo>
                  <a:lnTo>
                    <a:pt x="125" y="369"/>
                  </a:lnTo>
                  <a:lnTo>
                    <a:pt x="124" y="368"/>
                  </a:lnTo>
                  <a:lnTo>
                    <a:pt x="126" y="368"/>
                  </a:lnTo>
                  <a:lnTo>
                    <a:pt x="126" y="366"/>
                  </a:lnTo>
                  <a:lnTo>
                    <a:pt x="128" y="365"/>
                  </a:lnTo>
                  <a:lnTo>
                    <a:pt x="128" y="366"/>
                  </a:lnTo>
                  <a:lnTo>
                    <a:pt x="129" y="366"/>
                  </a:lnTo>
                  <a:lnTo>
                    <a:pt x="129" y="365"/>
                  </a:lnTo>
                  <a:lnTo>
                    <a:pt x="128" y="364"/>
                  </a:lnTo>
                  <a:lnTo>
                    <a:pt x="126" y="363"/>
                  </a:lnTo>
                  <a:lnTo>
                    <a:pt x="126" y="362"/>
                  </a:lnTo>
                  <a:lnTo>
                    <a:pt x="126" y="360"/>
                  </a:lnTo>
                  <a:lnTo>
                    <a:pt x="126" y="359"/>
                  </a:lnTo>
                  <a:lnTo>
                    <a:pt x="128" y="358"/>
                  </a:lnTo>
                  <a:lnTo>
                    <a:pt x="129" y="358"/>
                  </a:lnTo>
                  <a:lnTo>
                    <a:pt x="130" y="358"/>
                  </a:lnTo>
                  <a:lnTo>
                    <a:pt x="132" y="358"/>
                  </a:lnTo>
                  <a:lnTo>
                    <a:pt x="136" y="357"/>
                  </a:lnTo>
                  <a:lnTo>
                    <a:pt x="136" y="354"/>
                  </a:lnTo>
                  <a:lnTo>
                    <a:pt x="136" y="352"/>
                  </a:lnTo>
                  <a:lnTo>
                    <a:pt x="137" y="351"/>
                  </a:lnTo>
                  <a:lnTo>
                    <a:pt x="138" y="351"/>
                  </a:lnTo>
                  <a:lnTo>
                    <a:pt x="140" y="351"/>
                  </a:lnTo>
                  <a:lnTo>
                    <a:pt x="141" y="350"/>
                  </a:lnTo>
                  <a:lnTo>
                    <a:pt x="142" y="348"/>
                  </a:lnTo>
                  <a:lnTo>
                    <a:pt x="142" y="347"/>
                  </a:lnTo>
                  <a:lnTo>
                    <a:pt x="142" y="345"/>
                  </a:lnTo>
                  <a:lnTo>
                    <a:pt x="144" y="345"/>
                  </a:lnTo>
                  <a:lnTo>
                    <a:pt x="144" y="346"/>
                  </a:lnTo>
                  <a:lnTo>
                    <a:pt x="144" y="345"/>
                  </a:lnTo>
                  <a:lnTo>
                    <a:pt x="146" y="345"/>
                  </a:lnTo>
                  <a:lnTo>
                    <a:pt x="147" y="345"/>
                  </a:lnTo>
                  <a:lnTo>
                    <a:pt x="148" y="341"/>
                  </a:lnTo>
                  <a:lnTo>
                    <a:pt x="148" y="340"/>
                  </a:lnTo>
                  <a:lnTo>
                    <a:pt x="149" y="339"/>
                  </a:lnTo>
                  <a:lnTo>
                    <a:pt x="150" y="340"/>
                  </a:lnTo>
                  <a:lnTo>
                    <a:pt x="150" y="339"/>
                  </a:lnTo>
                  <a:lnTo>
                    <a:pt x="152" y="338"/>
                  </a:lnTo>
                  <a:lnTo>
                    <a:pt x="153" y="339"/>
                  </a:lnTo>
                  <a:lnTo>
                    <a:pt x="153" y="340"/>
                  </a:lnTo>
                  <a:lnTo>
                    <a:pt x="154" y="339"/>
                  </a:lnTo>
                  <a:lnTo>
                    <a:pt x="155" y="338"/>
                  </a:lnTo>
                  <a:lnTo>
                    <a:pt x="156" y="336"/>
                  </a:lnTo>
                  <a:lnTo>
                    <a:pt x="156" y="338"/>
                  </a:lnTo>
                  <a:lnTo>
                    <a:pt x="158" y="338"/>
                  </a:lnTo>
                  <a:lnTo>
                    <a:pt x="160" y="336"/>
                  </a:lnTo>
                  <a:lnTo>
                    <a:pt x="160" y="339"/>
                  </a:lnTo>
                  <a:lnTo>
                    <a:pt x="161" y="336"/>
                  </a:lnTo>
                  <a:lnTo>
                    <a:pt x="161" y="335"/>
                  </a:lnTo>
                  <a:lnTo>
                    <a:pt x="163" y="334"/>
                  </a:lnTo>
                  <a:lnTo>
                    <a:pt x="165" y="334"/>
                  </a:lnTo>
                  <a:lnTo>
                    <a:pt x="166" y="334"/>
                  </a:lnTo>
                  <a:lnTo>
                    <a:pt x="165" y="333"/>
                  </a:lnTo>
                  <a:lnTo>
                    <a:pt x="166" y="332"/>
                  </a:lnTo>
                  <a:lnTo>
                    <a:pt x="167" y="330"/>
                  </a:lnTo>
                  <a:lnTo>
                    <a:pt x="167" y="332"/>
                  </a:lnTo>
                  <a:lnTo>
                    <a:pt x="167" y="329"/>
                  </a:lnTo>
                  <a:lnTo>
                    <a:pt x="170" y="329"/>
                  </a:lnTo>
                  <a:lnTo>
                    <a:pt x="169" y="328"/>
                  </a:lnTo>
                  <a:lnTo>
                    <a:pt x="169" y="327"/>
                  </a:lnTo>
                  <a:lnTo>
                    <a:pt x="170" y="328"/>
                  </a:lnTo>
                  <a:lnTo>
                    <a:pt x="170" y="327"/>
                  </a:lnTo>
                  <a:lnTo>
                    <a:pt x="172" y="327"/>
                  </a:lnTo>
                  <a:lnTo>
                    <a:pt x="170" y="324"/>
                  </a:lnTo>
                  <a:lnTo>
                    <a:pt x="171" y="323"/>
                  </a:lnTo>
                  <a:lnTo>
                    <a:pt x="171" y="324"/>
                  </a:lnTo>
                  <a:lnTo>
                    <a:pt x="172" y="323"/>
                  </a:lnTo>
                  <a:lnTo>
                    <a:pt x="170" y="323"/>
                  </a:lnTo>
                  <a:lnTo>
                    <a:pt x="169" y="323"/>
                  </a:lnTo>
                  <a:lnTo>
                    <a:pt x="167" y="324"/>
                  </a:lnTo>
                  <a:lnTo>
                    <a:pt x="166" y="324"/>
                  </a:lnTo>
                  <a:lnTo>
                    <a:pt x="165" y="324"/>
                  </a:lnTo>
                  <a:lnTo>
                    <a:pt x="164" y="324"/>
                  </a:lnTo>
                  <a:lnTo>
                    <a:pt x="161" y="326"/>
                  </a:lnTo>
                  <a:lnTo>
                    <a:pt x="160" y="326"/>
                  </a:lnTo>
                  <a:lnTo>
                    <a:pt x="158" y="326"/>
                  </a:lnTo>
                  <a:lnTo>
                    <a:pt x="156" y="327"/>
                  </a:lnTo>
                  <a:lnTo>
                    <a:pt x="154" y="328"/>
                  </a:lnTo>
                  <a:lnTo>
                    <a:pt x="155" y="328"/>
                  </a:lnTo>
                  <a:lnTo>
                    <a:pt x="154" y="328"/>
                  </a:lnTo>
                  <a:lnTo>
                    <a:pt x="153" y="328"/>
                  </a:lnTo>
                  <a:lnTo>
                    <a:pt x="150" y="328"/>
                  </a:lnTo>
                  <a:lnTo>
                    <a:pt x="149" y="329"/>
                  </a:lnTo>
                  <a:lnTo>
                    <a:pt x="148" y="329"/>
                  </a:lnTo>
                  <a:lnTo>
                    <a:pt x="147" y="329"/>
                  </a:lnTo>
                  <a:lnTo>
                    <a:pt x="147" y="330"/>
                  </a:lnTo>
                  <a:lnTo>
                    <a:pt x="146" y="330"/>
                  </a:lnTo>
                  <a:lnTo>
                    <a:pt x="143" y="332"/>
                  </a:lnTo>
                  <a:lnTo>
                    <a:pt x="141" y="333"/>
                  </a:lnTo>
                  <a:lnTo>
                    <a:pt x="140" y="333"/>
                  </a:lnTo>
                  <a:lnTo>
                    <a:pt x="138" y="334"/>
                  </a:lnTo>
                  <a:lnTo>
                    <a:pt x="135" y="335"/>
                  </a:lnTo>
                  <a:lnTo>
                    <a:pt x="134" y="336"/>
                  </a:lnTo>
                  <a:lnTo>
                    <a:pt x="132" y="338"/>
                  </a:lnTo>
                  <a:lnTo>
                    <a:pt x="130" y="340"/>
                  </a:lnTo>
                  <a:lnTo>
                    <a:pt x="130" y="341"/>
                  </a:lnTo>
                  <a:lnTo>
                    <a:pt x="130" y="340"/>
                  </a:lnTo>
                  <a:lnTo>
                    <a:pt x="131" y="340"/>
                  </a:lnTo>
                  <a:lnTo>
                    <a:pt x="132" y="340"/>
                  </a:lnTo>
                  <a:lnTo>
                    <a:pt x="134" y="341"/>
                  </a:lnTo>
                  <a:lnTo>
                    <a:pt x="132" y="341"/>
                  </a:lnTo>
                  <a:lnTo>
                    <a:pt x="134" y="342"/>
                  </a:lnTo>
                  <a:lnTo>
                    <a:pt x="135" y="342"/>
                  </a:lnTo>
                  <a:lnTo>
                    <a:pt x="134" y="342"/>
                  </a:lnTo>
                  <a:lnTo>
                    <a:pt x="135" y="344"/>
                  </a:lnTo>
                  <a:lnTo>
                    <a:pt x="135" y="345"/>
                  </a:lnTo>
                  <a:lnTo>
                    <a:pt x="134" y="345"/>
                  </a:lnTo>
                  <a:lnTo>
                    <a:pt x="132" y="347"/>
                  </a:lnTo>
                  <a:lnTo>
                    <a:pt x="135" y="347"/>
                  </a:lnTo>
                  <a:lnTo>
                    <a:pt x="136" y="348"/>
                  </a:lnTo>
                  <a:lnTo>
                    <a:pt x="135" y="348"/>
                  </a:lnTo>
                  <a:lnTo>
                    <a:pt x="135" y="350"/>
                  </a:lnTo>
                  <a:lnTo>
                    <a:pt x="135" y="351"/>
                  </a:lnTo>
                  <a:lnTo>
                    <a:pt x="135" y="352"/>
                  </a:lnTo>
                  <a:lnTo>
                    <a:pt x="135" y="353"/>
                  </a:lnTo>
                  <a:lnTo>
                    <a:pt x="134" y="353"/>
                  </a:lnTo>
                  <a:lnTo>
                    <a:pt x="132" y="354"/>
                  </a:lnTo>
                  <a:lnTo>
                    <a:pt x="130" y="354"/>
                  </a:lnTo>
                  <a:lnTo>
                    <a:pt x="131" y="353"/>
                  </a:lnTo>
                  <a:lnTo>
                    <a:pt x="128" y="352"/>
                  </a:lnTo>
                  <a:lnTo>
                    <a:pt x="128" y="356"/>
                  </a:lnTo>
                  <a:lnTo>
                    <a:pt x="126" y="358"/>
                  </a:lnTo>
                  <a:lnTo>
                    <a:pt x="126" y="359"/>
                  </a:lnTo>
                  <a:lnTo>
                    <a:pt x="125" y="359"/>
                  </a:lnTo>
                  <a:lnTo>
                    <a:pt x="124" y="360"/>
                  </a:lnTo>
                  <a:lnTo>
                    <a:pt x="125" y="362"/>
                  </a:lnTo>
                  <a:lnTo>
                    <a:pt x="123" y="360"/>
                  </a:lnTo>
                  <a:lnTo>
                    <a:pt x="124" y="362"/>
                  </a:lnTo>
                  <a:lnTo>
                    <a:pt x="124" y="363"/>
                  </a:lnTo>
                  <a:lnTo>
                    <a:pt x="123" y="364"/>
                  </a:lnTo>
                  <a:lnTo>
                    <a:pt x="122" y="364"/>
                  </a:lnTo>
                  <a:lnTo>
                    <a:pt x="120" y="363"/>
                  </a:lnTo>
                  <a:lnTo>
                    <a:pt x="119" y="364"/>
                  </a:lnTo>
                  <a:lnTo>
                    <a:pt x="119" y="365"/>
                  </a:lnTo>
                  <a:lnTo>
                    <a:pt x="118" y="365"/>
                  </a:lnTo>
                  <a:lnTo>
                    <a:pt x="117" y="365"/>
                  </a:lnTo>
                  <a:lnTo>
                    <a:pt x="117" y="366"/>
                  </a:lnTo>
                  <a:lnTo>
                    <a:pt x="114" y="365"/>
                  </a:lnTo>
                  <a:lnTo>
                    <a:pt x="113" y="365"/>
                  </a:lnTo>
                  <a:lnTo>
                    <a:pt x="113" y="364"/>
                  </a:lnTo>
                  <a:lnTo>
                    <a:pt x="113" y="363"/>
                  </a:lnTo>
                  <a:lnTo>
                    <a:pt x="114" y="362"/>
                  </a:lnTo>
                  <a:lnTo>
                    <a:pt x="114" y="360"/>
                  </a:lnTo>
                  <a:lnTo>
                    <a:pt x="116" y="359"/>
                  </a:lnTo>
                  <a:lnTo>
                    <a:pt x="114" y="358"/>
                  </a:lnTo>
                  <a:lnTo>
                    <a:pt x="113" y="357"/>
                  </a:lnTo>
                  <a:lnTo>
                    <a:pt x="111" y="356"/>
                  </a:lnTo>
                  <a:lnTo>
                    <a:pt x="110" y="357"/>
                  </a:lnTo>
                  <a:lnTo>
                    <a:pt x="108" y="358"/>
                  </a:lnTo>
                  <a:lnTo>
                    <a:pt x="106" y="360"/>
                  </a:lnTo>
                  <a:lnTo>
                    <a:pt x="105" y="364"/>
                  </a:lnTo>
                  <a:lnTo>
                    <a:pt x="104" y="365"/>
                  </a:lnTo>
                  <a:lnTo>
                    <a:pt x="102" y="366"/>
                  </a:lnTo>
                  <a:lnTo>
                    <a:pt x="102" y="368"/>
                  </a:lnTo>
                  <a:lnTo>
                    <a:pt x="102" y="370"/>
                  </a:lnTo>
                  <a:lnTo>
                    <a:pt x="101" y="370"/>
                  </a:lnTo>
                  <a:lnTo>
                    <a:pt x="100" y="371"/>
                  </a:lnTo>
                  <a:lnTo>
                    <a:pt x="99" y="371"/>
                  </a:lnTo>
                  <a:lnTo>
                    <a:pt x="99" y="373"/>
                  </a:lnTo>
                  <a:lnTo>
                    <a:pt x="96" y="373"/>
                  </a:lnTo>
                  <a:lnTo>
                    <a:pt x="95" y="373"/>
                  </a:lnTo>
                  <a:lnTo>
                    <a:pt x="95" y="371"/>
                  </a:lnTo>
                  <a:lnTo>
                    <a:pt x="95" y="370"/>
                  </a:lnTo>
                  <a:lnTo>
                    <a:pt x="94" y="370"/>
                  </a:lnTo>
                  <a:lnTo>
                    <a:pt x="93" y="370"/>
                  </a:lnTo>
                  <a:lnTo>
                    <a:pt x="93" y="369"/>
                  </a:lnTo>
                  <a:lnTo>
                    <a:pt x="91" y="369"/>
                  </a:lnTo>
                  <a:lnTo>
                    <a:pt x="91" y="370"/>
                  </a:lnTo>
                  <a:lnTo>
                    <a:pt x="89" y="370"/>
                  </a:lnTo>
                  <a:lnTo>
                    <a:pt x="89" y="371"/>
                  </a:lnTo>
                  <a:lnTo>
                    <a:pt x="88" y="373"/>
                  </a:lnTo>
                  <a:lnTo>
                    <a:pt x="88" y="374"/>
                  </a:lnTo>
                  <a:lnTo>
                    <a:pt x="88" y="375"/>
                  </a:lnTo>
                  <a:lnTo>
                    <a:pt x="87" y="376"/>
                  </a:lnTo>
                  <a:lnTo>
                    <a:pt x="88" y="376"/>
                  </a:lnTo>
                  <a:lnTo>
                    <a:pt x="87" y="376"/>
                  </a:lnTo>
                  <a:lnTo>
                    <a:pt x="89" y="377"/>
                  </a:lnTo>
                  <a:lnTo>
                    <a:pt x="87" y="379"/>
                  </a:lnTo>
                  <a:lnTo>
                    <a:pt x="87" y="377"/>
                  </a:lnTo>
                  <a:lnTo>
                    <a:pt x="85" y="376"/>
                  </a:lnTo>
                  <a:lnTo>
                    <a:pt x="84" y="377"/>
                  </a:lnTo>
                  <a:lnTo>
                    <a:pt x="85" y="380"/>
                  </a:lnTo>
                  <a:lnTo>
                    <a:pt x="84" y="380"/>
                  </a:lnTo>
                  <a:lnTo>
                    <a:pt x="83" y="380"/>
                  </a:lnTo>
                  <a:lnTo>
                    <a:pt x="81" y="380"/>
                  </a:lnTo>
                  <a:lnTo>
                    <a:pt x="79" y="379"/>
                  </a:lnTo>
                  <a:lnTo>
                    <a:pt x="83" y="377"/>
                  </a:lnTo>
                  <a:lnTo>
                    <a:pt x="81" y="377"/>
                  </a:lnTo>
                  <a:lnTo>
                    <a:pt x="79" y="376"/>
                  </a:lnTo>
                  <a:lnTo>
                    <a:pt x="79" y="379"/>
                  </a:lnTo>
                  <a:lnTo>
                    <a:pt x="78" y="379"/>
                  </a:lnTo>
                  <a:lnTo>
                    <a:pt x="76" y="381"/>
                  </a:lnTo>
                  <a:lnTo>
                    <a:pt x="75" y="381"/>
                  </a:lnTo>
                  <a:lnTo>
                    <a:pt x="75" y="382"/>
                  </a:lnTo>
                  <a:lnTo>
                    <a:pt x="75" y="383"/>
                  </a:lnTo>
                  <a:lnTo>
                    <a:pt x="73" y="383"/>
                  </a:lnTo>
                  <a:lnTo>
                    <a:pt x="75" y="385"/>
                  </a:lnTo>
                  <a:lnTo>
                    <a:pt x="76" y="385"/>
                  </a:lnTo>
                  <a:lnTo>
                    <a:pt x="76" y="386"/>
                  </a:lnTo>
                  <a:lnTo>
                    <a:pt x="73" y="387"/>
                  </a:lnTo>
                  <a:lnTo>
                    <a:pt x="73" y="388"/>
                  </a:lnTo>
                  <a:lnTo>
                    <a:pt x="72" y="389"/>
                  </a:lnTo>
                  <a:lnTo>
                    <a:pt x="71" y="391"/>
                  </a:lnTo>
                  <a:lnTo>
                    <a:pt x="70" y="391"/>
                  </a:lnTo>
                  <a:lnTo>
                    <a:pt x="69" y="391"/>
                  </a:lnTo>
                  <a:lnTo>
                    <a:pt x="67" y="389"/>
                  </a:lnTo>
                  <a:lnTo>
                    <a:pt x="66" y="388"/>
                  </a:lnTo>
                  <a:lnTo>
                    <a:pt x="65" y="387"/>
                  </a:lnTo>
                  <a:lnTo>
                    <a:pt x="67" y="387"/>
                  </a:lnTo>
                  <a:lnTo>
                    <a:pt x="64" y="386"/>
                  </a:lnTo>
                  <a:lnTo>
                    <a:pt x="61" y="387"/>
                  </a:lnTo>
                  <a:lnTo>
                    <a:pt x="60" y="388"/>
                  </a:lnTo>
                  <a:lnTo>
                    <a:pt x="59" y="387"/>
                  </a:lnTo>
                  <a:lnTo>
                    <a:pt x="58" y="387"/>
                  </a:lnTo>
                  <a:lnTo>
                    <a:pt x="57" y="387"/>
                  </a:lnTo>
                  <a:lnTo>
                    <a:pt x="54" y="387"/>
                  </a:lnTo>
                  <a:lnTo>
                    <a:pt x="54" y="386"/>
                  </a:lnTo>
                  <a:lnTo>
                    <a:pt x="52" y="385"/>
                  </a:lnTo>
                  <a:lnTo>
                    <a:pt x="53" y="385"/>
                  </a:lnTo>
                  <a:lnTo>
                    <a:pt x="53" y="383"/>
                  </a:lnTo>
                  <a:lnTo>
                    <a:pt x="53" y="382"/>
                  </a:lnTo>
                  <a:lnTo>
                    <a:pt x="52" y="382"/>
                  </a:lnTo>
                  <a:lnTo>
                    <a:pt x="51" y="382"/>
                  </a:lnTo>
                  <a:lnTo>
                    <a:pt x="51" y="381"/>
                  </a:lnTo>
                  <a:lnTo>
                    <a:pt x="47" y="380"/>
                  </a:lnTo>
                  <a:lnTo>
                    <a:pt x="48" y="379"/>
                  </a:lnTo>
                  <a:lnTo>
                    <a:pt x="53" y="379"/>
                  </a:lnTo>
                  <a:lnTo>
                    <a:pt x="52" y="377"/>
                  </a:lnTo>
                  <a:lnTo>
                    <a:pt x="49" y="376"/>
                  </a:lnTo>
                  <a:lnTo>
                    <a:pt x="48" y="374"/>
                  </a:lnTo>
                  <a:lnTo>
                    <a:pt x="47" y="373"/>
                  </a:lnTo>
                  <a:lnTo>
                    <a:pt x="47" y="371"/>
                  </a:lnTo>
                  <a:lnTo>
                    <a:pt x="48" y="370"/>
                  </a:lnTo>
                  <a:lnTo>
                    <a:pt x="49" y="370"/>
                  </a:lnTo>
                  <a:lnTo>
                    <a:pt x="49" y="371"/>
                  </a:lnTo>
                  <a:lnTo>
                    <a:pt x="52" y="370"/>
                  </a:lnTo>
                  <a:lnTo>
                    <a:pt x="52" y="369"/>
                  </a:lnTo>
                  <a:lnTo>
                    <a:pt x="54" y="369"/>
                  </a:lnTo>
                  <a:lnTo>
                    <a:pt x="55" y="369"/>
                  </a:lnTo>
                  <a:lnTo>
                    <a:pt x="57" y="368"/>
                  </a:lnTo>
                  <a:lnTo>
                    <a:pt x="54" y="369"/>
                  </a:lnTo>
                  <a:lnTo>
                    <a:pt x="54" y="368"/>
                  </a:lnTo>
                  <a:lnTo>
                    <a:pt x="53" y="368"/>
                  </a:lnTo>
                  <a:lnTo>
                    <a:pt x="52" y="366"/>
                  </a:lnTo>
                  <a:lnTo>
                    <a:pt x="51" y="364"/>
                  </a:lnTo>
                  <a:lnTo>
                    <a:pt x="49" y="364"/>
                  </a:lnTo>
                  <a:lnTo>
                    <a:pt x="51" y="363"/>
                  </a:lnTo>
                  <a:lnTo>
                    <a:pt x="52" y="363"/>
                  </a:lnTo>
                  <a:lnTo>
                    <a:pt x="53" y="363"/>
                  </a:lnTo>
                  <a:lnTo>
                    <a:pt x="54" y="363"/>
                  </a:lnTo>
                  <a:lnTo>
                    <a:pt x="57" y="363"/>
                  </a:lnTo>
                  <a:lnTo>
                    <a:pt x="55" y="362"/>
                  </a:lnTo>
                  <a:lnTo>
                    <a:pt x="57" y="359"/>
                  </a:lnTo>
                  <a:lnTo>
                    <a:pt x="59" y="359"/>
                  </a:lnTo>
                  <a:lnTo>
                    <a:pt x="60" y="360"/>
                  </a:lnTo>
                  <a:lnTo>
                    <a:pt x="61" y="359"/>
                  </a:lnTo>
                  <a:lnTo>
                    <a:pt x="61" y="357"/>
                  </a:lnTo>
                  <a:lnTo>
                    <a:pt x="61" y="356"/>
                  </a:lnTo>
                  <a:lnTo>
                    <a:pt x="61" y="354"/>
                  </a:lnTo>
                  <a:lnTo>
                    <a:pt x="63" y="354"/>
                  </a:lnTo>
                  <a:lnTo>
                    <a:pt x="65" y="352"/>
                  </a:lnTo>
                  <a:lnTo>
                    <a:pt x="67" y="353"/>
                  </a:lnTo>
                  <a:lnTo>
                    <a:pt x="67" y="351"/>
                  </a:lnTo>
                  <a:lnTo>
                    <a:pt x="65" y="347"/>
                  </a:lnTo>
                  <a:lnTo>
                    <a:pt x="64" y="346"/>
                  </a:lnTo>
                  <a:lnTo>
                    <a:pt x="65" y="345"/>
                  </a:lnTo>
                  <a:lnTo>
                    <a:pt x="66" y="344"/>
                  </a:lnTo>
                  <a:lnTo>
                    <a:pt x="67" y="345"/>
                  </a:lnTo>
                  <a:lnTo>
                    <a:pt x="69" y="345"/>
                  </a:lnTo>
                  <a:lnTo>
                    <a:pt x="70" y="344"/>
                  </a:lnTo>
                  <a:lnTo>
                    <a:pt x="71" y="344"/>
                  </a:lnTo>
                  <a:lnTo>
                    <a:pt x="72" y="342"/>
                  </a:lnTo>
                  <a:lnTo>
                    <a:pt x="73" y="341"/>
                  </a:lnTo>
                  <a:lnTo>
                    <a:pt x="76" y="341"/>
                  </a:lnTo>
                  <a:lnTo>
                    <a:pt x="76" y="340"/>
                  </a:lnTo>
                  <a:lnTo>
                    <a:pt x="77" y="340"/>
                  </a:lnTo>
                  <a:lnTo>
                    <a:pt x="78" y="340"/>
                  </a:lnTo>
                  <a:lnTo>
                    <a:pt x="77" y="339"/>
                  </a:lnTo>
                  <a:lnTo>
                    <a:pt x="76" y="336"/>
                  </a:lnTo>
                  <a:lnTo>
                    <a:pt x="76" y="334"/>
                  </a:lnTo>
                  <a:lnTo>
                    <a:pt x="77" y="335"/>
                  </a:lnTo>
                  <a:lnTo>
                    <a:pt x="77" y="334"/>
                  </a:lnTo>
                  <a:lnTo>
                    <a:pt x="78" y="334"/>
                  </a:lnTo>
                  <a:lnTo>
                    <a:pt x="79" y="334"/>
                  </a:lnTo>
                  <a:lnTo>
                    <a:pt x="81" y="335"/>
                  </a:lnTo>
                  <a:lnTo>
                    <a:pt x="81" y="334"/>
                  </a:lnTo>
                  <a:lnTo>
                    <a:pt x="83" y="333"/>
                  </a:lnTo>
                  <a:lnTo>
                    <a:pt x="85" y="334"/>
                  </a:lnTo>
                  <a:lnTo>
                    <a:pt x="87" y="334"/>
                  </a:lnTo>
                  <a:lnTo>
                    <a:pt x="87" y="336"/>
                  </a:lnTo>
                  <a:lnTo>
                    <a:pt x="87" y="335"/>
                  </a:lnTo>
                  <a:lnTo>
                    <a:pt x="88" y="334"/>
                  </a:lnTo>
                  <a:lnTo>
                    <a:pt x="88" y="333"/>
                  </a:lnTo>
                  <a:lnTo>
                    <a:pt x="89" y="333"/>
                  </a:lnTo>
                  <a:lnTo>
                    <a:pt x="90" y="332"/>
                  </a:lnTo>
                  <a:lnTo>
                    <a:pt x="90" y="330"/>
                  </a:lnTo>
                  <a:lnTo>
                    <a:pt x="89" y="329"/>
                  </a:lnTo>
                  <a:lnTo>
                    <a:pt x="89" y="328"/>
                  </a:lnTo>
                  <a:lnTo>
                    <a:pt x="90" y="328"/>
                  </a:lnTo>
                  <a:lnTo>
                    <a:pt x="90" y="327"/>
                  </a:lnTo>
                  <a:lnTo>
                    <a:pt x="91" y="326"/>
                  </a:lnTo>
                  <a:lnTo>
                    <a:pt x="93" y="324"/>
                  </a:lnTo>
                  <a:lnTo>
                    <a:pt x="93" y="323"/>
                  </a:lnTo>
                  <a:lnTo>
                    <a:pt x="94" y="322"/>
                  </a:lnTo>
                  <a:lnTo>
                    <a:pt x="96" y="321"/>
                  </a:lnTo>
                  <a:lnTo>
                    <a:pt x="96" y="320"/>
                  </a:lnTo>
                  <a:lnTo>
                    <a:pt x="97" y="318"/>
                  </a:lnTo>
                  <a:lnTo>
                    <a:pt x="97" y="317"/>
                  </a:lnTo>
                  <a:lnTo>
                    <a:pt x="99" y="316"/>
                  </a:lnTo>
                  <a:lnTo>
                    <a:pt x="100" y="316"/>
                  </a:lnTo>
                  <a:lnTo>
                    <a:pt x="101" y="315"/>
                  </a:lnTo>
                  <a:lnTo>
                    <a:pt x="99" y="314"/>
                  </a:lnTo>
                  <a:lnTo>
                    <a:pt x="99" y="312"/>
                  </a:lnTo>
                  <a:lnTo>
                    <a:pt x="100" y="312"/>
                  </a:lnTo>
                  <a:lnTo>
                    <a:pt x="99" y="312"/>
                  </a:lnTo>
                  <a:lnTo>
                    <a:pt x="97" y="311"/>
                  </a:lnTo>
                  <a:lnTo>
                    <a:pt x="97" y="310"/>
                  </a:lnTo>
                  <a:lnTo>
                    <a:pt x="99" y="309"/>
                  </a:lnTo>
                  <a:lnTo>
                    <a:pt x="97" y="308"/>
                  </a:lnTo>
                  <a:lnTo>
                    <a:pt x="96" y="308"/>
                  </a:lnTo>
                  <a:lnTo>
                    <a:pt x="96" y="306"/>
                  </a:lnTo>
                  <a:lnTo>
                    <a:pt x="95" y="306"/>
                  </a:lnTo>
                  <a:lnTo>
                    <a:pt x="94" y="306"/>
                  </a:lnTo>
                  <a:lnTo>
                    <a:pt x="90" y="305"/>
                  </a:lnTo>
                  <a:lnTo>
                    <a:pt x="91" y="304"/>
                  </a:lnTo>
                  <a:lnTo>
                    <a:pt x="90" y="302"/>
                  </a:lnTo>
                  <a:lnTo>
                    <a:pt x="89" y="302"/>
                  </a:lnTo>
                  <a:lnTo>
                    <a:pt x="88" y="302"/>
                  </a:lnTo>
                  <a:lnTo>
                    <a:pt x="87" y="302"/>
                  </a:lnTo>
                  <a:lnTo>
                    <a:pt x="84" y="300"/>
                  </a:lnTo>
                  <a:lnTo>
                    <a:pt x="84" y="299"/>
                  </a:lnTo>
                  <a:lnTo>
                    <a:pt x="85" y="298"/>
                  </a:lnTo>
                  <a:lnTo>
                    <a:pt x="85" y="297"/>
                  </a:lnTo>
                  <a:lnTo>
                    <a:pt x="84" y="298"/>
                  </a:lnTo>
                  <a:lnTo>
                    <a:pt x="82" y="297"/>
                  </a:lnTo>
                  <a:lnTo>
                    <a:pt x="82" y="298"/>
                  </a:lnTo>
                  <a:lnTo>
                    <a:pt x="82" y="299"/>
                  </a:lnTo>
                  <a:lnTo>
                    <a:pt x="83" y="300"/>
                  </a:lnTo>
                  <a:lnTo>
                    <a:pt x="82" y="302"/>
                  </a:lnTo>
                  <a:lnTo>
                    <a:pt x="81" y="302"/>
                  </a:lnTo>
                  <a:lnTo>
                    <a:pt x="82" y="302"/>
                  </a:lnTo>
                  <a:lnTo>
                    <a:pt x="82" y="303"/>
                  </a:lnTo>
                  <a:lnTo>
                    <a:pt x="81" y="303"/>
                  </a:lnTo>
                  <a:lnTo>
                    <a:pt x="81" y="304"/>
                  </a:lnTo>
                  <a:lnTo>
                    <a:pt x="79" y="305"/>
                  </a:lnTo>
                  <a:lnTo>
                    <a:pt x="78" y="308"/>
                  </a:lnTo>
                  <a:lnTo>
                    <a:pt x="77" y="309"/>
                  </a:lnTo>
                  <a:lnTo>
                    <a:pt x="76" y="308"/>
                  </a:lnTo>
                  <a:lnTo>
                    <a:pt x="75" y="308"/>
                  </a:lnTo>
                  <a:lnTo>
                    <a:pt x="72" y="308"/>
                  </a:lnTo>
                  <a:lnTo>
                    <a:pt x="71" y="308"/>
                  </a:lnTo>
                  <a:lnTo>
                    <a:pt x="71" y="310"/>
                  </a:lnTo>
                  <a:lnTo>
                    <a:pt x="70" y="311"/>
                  </a:lnTo>
                  <a:lnTo>
                    <a:pt x="69" y="311"/>
                  </a:lnTo>
                  <a:lnTo>
                    <a:pt x="66" y="311"/>
                  </a:lnTo>
                  <a:lnTo>
                    <a:pt x="64" y="312"/>
                  </a:lnTo>
                  <a:lnTo>
                    <a:pt x="63" y="315"/>
                  </a:lnTo>
                  <a:lnTo>
                    <a:pt x="61" y="314"/>
                  </a:lnTo>
                  <a:lnTo>
                    <a:pt x="60" y="315"/>
                  </a:lnTo>
                  <a:lnTo>
                    <a:pt x="58" y="316"/>
                  </a:lnTo>
                  <a:lnTo>
                    <a:pt x="57" y="316"/>
                  </a:lnTo>
                  <a:lnTo>
                    <a:pt x="55" y="316"/>
                  </a:lnTo>
                  <a:lnTo>
                    <a:pt x="53" y="316"/>
                  </a:lnTo>
                  <a:lnTo>
                    <a:pt x="52" y="316"/>
                  </a:lnTo>
                  <a:lnTo>
                    <a:pt x="51" y="316"/>
                  </a:lnTo>
                  <a:lnTo>
                    <a:pt x="49" y="317"/>
                  </a:lnTo>
                  <a:lnTo>
                    <a:pt x="47" y="316"/>
                  </a:lnTo>
                  <a:lnTo>
                    <a:pt x="45" y="317"/>
                  </a:lnTo>
                  <a:lnTo>
                    <a:pt x="45" y="316"/>
                  </a:lnTo>
                  <a:lnTo>
                    <a:pt x="45" y="315"/>
                  </a:lnTo>
                  <a:lnTo>
                    <a:pt x="43" y="315"/>
                  </a:lnTo>
                  <a:lnTo>
                    <a:pt x="43" y="314"/>
                  </a:lnTo>
                  <a:lnTo>
                    <a:pt x="42" y="312"/>
                  </a:lnTo>
                  <a:lnTo>
                    <a:pt x="41" y="311"/>
                  </a:lnTo>
                  <a:lnTo>
                    <a:pt x="40" y="310"/>
                  </a:lnTo>
                  <a:lnTo>
                    <a:pt x="38" y="310"/>
                  </a:lnTo>
                  <a:lnTo>
                    <a:pt x="37" y="311"/>
                  </a:lnTo>
                  <a:lnTo>
                    <a:pt x="37" y="310"/>
                  </a:lnTo>
                  <a:lnTo>
                    <a:pt x="36" y="310"/>
                  </a:lnTo>
                  <a:lnTo>
                    <a:pt x="34" y="310"/>
                  </a:lnTo>
                  <a:lnTo>
                    <a:pt x="35" y="309"/>
                  </a:lnTo>
                  <a:lnTo>
                    <a:pt x="32" y="309"/>
                  </a:lnTo>
                  <a:lnTo>
                    <a:pt x="32" y="308"/>
                  </a:lnTo>
                  <a:lnTo>
                    <a:pt x="31" y="306"/>
                  </a:lnTo>
                  <a:lnTo>
                    <a:pt x="31" y="305"/>
                  </a:lnTo>
                  <a:lnTo>
                    <a:pt x="30" y="305"/>
                  </a:lnTo>
                  <a:lnTo>
                    <a:pt x="29" y="305"/>
                  </a:lnTo>
                  <a:lnTo>
                    <a:pt x="29" y="306"/>
                  </a:lnTo>
                  <a:lnTo>
                    <a:pt x="28" y="305"/>
                  </a:lnTo>
                  <a:lnTo>
                    <a:pt x="25" y="305"/>
                  </a:lnTo>
                  <a:lnTo>
                    <a:pt x="25" y="304"/>
                  </a:lnTo>
                  <a:lnTo>
                    <a:pt x="24" y="304"/>
                  </a:lnTo>
                  <a:lnTo>
                    <a:pt x="23" y="302"/>
                  </a:lnTo>
                  <a:lnTo>
                    <a:pt x="22" y="302"/>
                  </a:lnTo>
                  <a:lnTo>
                    <a:pt x="20" y="302"/>
                  </a:lnTo>
                  <a:lnTo>
                    <a:pt x="22" y="300"/>
                  </a:lnTo>
                  <a:lnTo>
                    <a:pt x="22" y="299"/>
                  </a:lnTo>
                  <a:lnTo>
                    <a:pt x="23" y="299"/>
                  </a:lnTo>
                  <a:lnTo>
                    <a:pt x="23" y="298"/>
                  </a:lnTo>
                  <a:lnTo>
                    <a:pt x="24" y="297"/>
                  </a:lnTo>
                  <a:lnTo>
                    <a:pt x="23" y="296"/>
                  </a:lnTo>
                  <a:lnTo>
                    <a:pt x="20" y="294"/>
                  </a:lnTo>
                  <a:lnTo>
                    <a:pt x="23" y="293"/>
                  </a:lnTo>
                  <a:lnTo>
                    <a:pt x="24" y="292"/>
                  </a:lnTo>
                  <a:lnTo>
                    <a:pt x="25" y="292"/>
                  </a:lnTo>
                  <a:lnTo>
                    <a:pt x="23" y="292"/>
                  </a:lnTo>
                  <a:lnTo>
                    <a:pt x="19" y="293"/>
                  </a:lnTo>
                  <a:lnTo>
                    <a:pt x="19" y="296"/>
                  </a:lnTo>
                  <a:lnTo>
                    <a:pt x="18" y="296"/>
                  </a:lnTo>
                  <a:lnTo>
                    <a:pt x="18" y="297"/>
                  </a:lnTo>
                  <a:lnTo>
                    <a:pt x="17" y="297"/>
                  </a:lnTo>
                  <a:lnTo>
                    <a:pt x="14" y="298"/>
                  </a:lnTo>
                  <a:lnTo>
                    <a:pt x="12" y="297"/>
                  </a:lnTo>
                  <a:lnTo>
                    <a:pt x="11" y="298"/>
                  </a:lnTo>
                  <a:lnTo>
                    <a:pt x="10" y="297"/>
                  </a:lnTo>
                  <a:lnTo>
                    <a:pt x="10" y="298"/>
                  </a:lnTo>
                  <a:lnTo>
                    <a:pt x="8" y="297"/>
                  </a:lnTo>
                  <a:lnTo>
                    <a:pt x="7" y="296"/>
                  </a:lnTo>
                  <a:lnTo>
                    <a:pt x="6" y="293"/>
                  </a:lnTo>
                  <a:lnTo>
                    <a:pt x="5" y="293"/>
                  </a:lnTo>
                  <a:lnTo>
                    <a:pt x="5" y="292"/>
                  </a:lnTo>
                  <a:lnTo>
                    <a:pt x="5" y="290"/>
                  </a:lnTo>
                  <a:lnTo>
                    <a:pt x="1" y="287"/>
                  </a:lnTo>
                  <a:lnTo>
                    <a:pt x="2" y="285"/>
                  </a:lnTo>
                  <a:lnTo>
                    <a:pt x="1" y="284"/>
                  </a:lnTo>
                  <a:lnTo>
                    <a:pt x="0" y="280"/>
                  </a:lnTo>
                  <a:lnTo>
                    <a:pt x="2" y="279"/>
                  </a:lnTo>
                  <a:lnTo>
                    <a:pt x="2" y="280"/>
                  </a:lnTo>
                  <a:lnTo>
                    <a:pt x="5" y="281"/>
                  </a:lnTo>
                  <a:lnTo>
                    <a:pt x="5" y="28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0" name="Freeform 73"/>
            <p:cNvSpPr>
              <a:spLocks/>
            </p:cNvSpPr>
            <p:nvPr userDrawn="1"/>
          </p:nvSpPr>
          <p:spPr bwMode="auto">
            <a:xfrm>
              <a:off x="7435850" y="6467476"/>
              <a:ext cx="103188" cy="111125"/>
            </a:xfrm>
            <a:custGeom>
              <a:avLst/>
              <a:gdLst/>
              <a:ahLst/>
              <a:cxnLst>
                <a:cxn ang="0">
                  <a:pos x="37" y="151"/>
                </a:cxn>
                <a:cxn ang="0">
                  <a:pos x="52" y="131"/>
                </a:cxn>
                <a:cxn ang="0">
                  <a:pos x="90" y="120"/>
                </a:cxn>
                <a:cxn ang="0">
                  <a:pos x="82" y="116"/>
                </a:cxn>
                <a:cxn ang="0">
                  <a:pos x="61" y="112"/>
                </a:cxn>
                <a:cxn ang="0">
                  <a:pos x="64" y="87"/>
                </a:cxn>
                <a:cxn ang="0">
                  <a:pos x="75" y="77"/>
                </a:cxn>
                <a:cxn ang="0">
                  <a:pos x="78" y="52"/>
                </a:cxn>
                <a:cxn ang="0">
                  <a:pos x="103" y="58"/>
                </a:cxn>
                <a:cxn ang="0">
                  <a:pos x="122" y="62"/>
                </a:cxn>
                <a:cxn ang="0">
                  <a:pos x="139" y="65"/>
                </a:cxn>
                <a:cxn ang="0">
                  <a:pos x="158" y="77"/>
                </a:cxn>
                <a:cxn ang="0">
                  <a:pos x="165" y="88"/>
                </a:cxn>
                <a:cxn ang="0">
                  <a:pos x="150" y="66"/>
                </a:cxn>
                <a:cxn ang="0">
                  <a:pos x="133" y="60"/>
                </a:cxn>
                <a:cxn ang="0">
                  <a:pos x="116" y="44"/>
                </a:cxn>
                <a:cxn ang="0">
                  <a:pos x="120" y="23"/>
                </a:cxn>
                <a:cxn ang="0">
                  <a:pos x="133" y="13"/>
                </a:cxn>
                <a:cxn ang="0">
                  <a:pos x="146" y="9"/>
                </a:cxn>
                <a:cxn ang="0">
                  <a:pos x="162" y="18"/>
                </a:cxn>
                <a:cxn ang="0">
                  <a:pos x="174" y="15"/>
                </a:cxn>
                <a:cxn ang="0">
                  <a:pos x="192" y="13"/>
                </a:cxn>
                <a:cxn ang="0">
                  <a:pos x="200" y="22"/>
                </a:cxn>
                <a:cxn ang="0">
                  <a:pos x="220" y="15"/>
                </a:cxn>
                <a:cxn ang="0">
                  <a:pos x="238" y="31"/>
                </a:cxn>
                <a:cxn ang="0">
                  <a:pos x="223" y="50"/>
                </a:cxn>
                <a:cxn ang="0">
                  <a:pos x="245" y="64"/>
                </a:cxn>
                <a:cxn ang="0">
                  <a:pos x="268" y="83"/>
                </a:cxn>
                <a:cxn ang="0">
                  <a:pos x="276" y="96"/>
                </a:cxn>
                <a:cxn ang="0">
                  <a:pos x="282" y="117"/>
                </a:cxn>
                <a:cxn ang="0">
                  <a:pos x="289" y="140"/>
                </a:cxn>
                <a:cxn ang="0">
                  <a:pos x="275" y="153"/>
                </a:cxn>
                <a:cxn ang="0">
                  <a:pos x="305" y="187"/>
                </a:cxn>
                <a:cxn ang="0">
                  <a:pos x="274" y="170"/>
                </a:cxn>
                <a:cxn ang="0">
                  <a:pos x="246" y="164"/>
                </a:cxn>
                <a:cxn ang="0">
                  <a:pos x="275" y="183"/>
                </a:cxn>
                <a:cxn ang="0">
                  <a:pos x="311" y="223"/>
                </a:cxn>
                <a:cxn ang="0">
                  <a:pos x="301" y="239"/>
                </a:cxn>
                <a:cxn ang="0">
                  <a:pos x="283" y="253"/>
                </a:cxn>
                <a:cxn ang="0">
                  <a:pos x="279" y="274"/>
                </a:cxn>
                <a:cxn ang="0">
                  <a:pos x="255" y="256"/>
                </a:cxn>
                <a:cxn ang="0">
                  <a:pos x="234" y="245"/>
                </a:cxn>
                <a:cxn ang="0">
                  <a:pos x="241" y="259"/>
                </a:cxn>
                <a:cxn ang="0">
                  <a:pos x="257" y="289"/>
                </a:cxn>
                <a:cxn ang="0">
                  <a:pos x="232" y="285"/>
                </a:cxn>
                <a:cxn ang="0">
                  <a:pos x="199" y="278"/>
                </a:cxn>
                <a:cxn ang="0">
                  <a:pos x="186" y="296"/>
                </a:cxn>
                <a:cxn ang="0">
                  <a:pos x="118" y="285"/>
                </a:cxn>
                <a:cxn ang="0">
                  <a:pos x="76" y="289"/>
                </a:cxn>
                <a:cxn ang="0">
                  <a:pos x="121" y="283"/>
                </a:cxn>
                <a:cxn ang="0">
                  <a:pos x="139" y="262"/>
                </a:cxn>
                <a:cxn ang="0">
                  <a:pos x="106" y="265"/>
                </a:cxn>
                <a:cxn ang="0">
                  <a:pos x="79" y="277"/>
                </a:cxn>
                <a:cxn ang="0">
                  <a:pos x="50" y="258"/>
                </a:cxn>
                <a:cxn ang="0">
                  <a:pos x="65" y="236"/>
                </a:cxn>
                <a:cxn ang="0">
                  <a:pos x="105" y="220"/>
                </a:cxn>
                <a:cxn ang="0">
                  <a:pos x="84" y="224"/>
                </a:cxn>
                <a:cxn ang="0">
                  <a:pos x="84" y="202"/>
                </a:cxn>
                <a:cxn ang="0">
                  <a:pos x="79" y="202"/>
                </a:cxn>
                <a:cxn ang="0">
                  <a:pos x="44" y="223"/>
                </a:cxn>
                <a:cxn ang="0">
                  <a:pos x="46" y="199"/>
                </a:cxn>
                <a:cxn ang="0">
                  <a:pos x="43" y="179"/>
                </a:cxn>
                <a:cxn ang="0">
                  <a:pos x="2" y="167"/>
                </a:cxn>
              </a:cxnLst>
              <a:rect l="0" t="0" r="r" b="b"/>
              <a:pathLst>
                <a:path w="324" h="349">
                  <a:moveTo>
                    <a:pt x="3" y="165"/>
                  </a:moveTo>
                  <a:lnTo>
                    <a:pt x="3" y="164"/>
                  </a:lnTo>
                  <a:lnTo>
                    <a:pt x="4" y="165"/>
                  </a:lnTo>
                  <a:lnTo>
                    <a:pt x="5" y="164"/>
                  </a:lnTo>
                  <a:lnTo>
                    <a:pt x="5" y="165"/>
                  </a:lnTo>
                  <a:lnTo>
                    <a:pt x="5" y="164"/>
                  </a:lnTo>
                  <a:lnTo>
                    <a:pt x="8" y="164"/>
                  </a:lnTo>
                  <a:lnTo>
                    <a:pt x="8" y="165"/>
                  </a:lnTo>
                  <a:lnTo>
                    <a:pt x="9" y="165"/>
                  </a:lnTo>
                  <a:lnTo>
                    <a:pt x="8" y="165"/>
                  </a:lnTo>
                  <a:lnTo>
                    <a:pt x="8" y="164"/>
                  </a:lnTo>
                  <a:lnTo>
                    <a:pt x="8" y="163"/>
                  </a:lnTo>
                  <a:lnTo>
                    <a:pt x="9" y="163"/>
                  </a:lnTo>
                  <a:lnTo>
                    <a:pt x="10" y="163"/>
                  </a:lnTo>
                  <a:lnTo>
                    <a:pt x="10" y="164"/>
                  </a:lnTo>
                  <a:lnTo>
                    <a:pt x="10" y="165"/>
                  </a:lnTo>
                  <a:lnTo>
                    <a:pt x="13" y="165"/>
                  </a:lnTo>
                  <a:lnTo>
                    <a:pt x="13" y="166"/>
                  </a:lnTo>
                  <a:lnTo>
                    <a:pt x="14" y="166"/>
                  </a:lnTo>
                  <a:lnTo>
                    <a:pt x="14" y="164"/>
                  </a:lnTo>
                  <a:lnTo>
                    <a:pt x="15" y="164"/>
                  </a:lnTo>
                  <a:lnTo>
                    <a:pt x="16" y="164"/>
                  </a:lnTo>
                  <a:lnTo>
                    <a:pt x="17" y="165"/>
                  </a:lnTo>
                  <a:lnTo>
                    <a:pt x="16" y="163"/>
                  </a:lnTo>
                  <a:lnTo>
                    <a:pt x="16" y="161"/>
                  </a:lnTo>
                  <a:lnTo>
                    <a:pt x="15" y="160"/>
                  </a:lnTo>
                  <a:lnTo>
                    <a:pt x="15" y="158"/>
                  </a:lnTo>
                  <a:lnTo>
                    <a:pt x="16" y="159"/>
                  </a:lnTo>
                  <a:lnTo>
                    <a:pt x="17" y="159"/>
                  </a:lnTo>
                  <a:lnTo>
                    <a:pt x="17" y="160"/>
                  </a:lnTo>
                  <a:lnTo>
                    <a:pt x="19" y="161"/>
                  </a:lnTo>
                  <a:lnTo>
                    <a:pt x="20" y="163"/>
                  </a:lnTo>
                  <a:lnTo>
                    <a:pt x="20" y="161"/>
                  </a:lnTo>
                  <a:lnTo>
                    <a:pt x="20" y="160"/>
                  </a:lnTo>
                  <a:lnTo>
                    <a:pt x="21" y="160"/>
                  </a:lnTo>
                  <a:lnTo>
                    <a:pt x="22" y="160"/>
                  </a:lnTo>
                  <a:lnTo>
                    <a:pt x="21" y="159"/>
                  </a:lnTo>
                  <a:lnTo>
                    <a:pt x="23" y="157"/>
                  </a:lnTo>
                  <a:lnTo>
                    <a:pt x="23" y="158"/>
                  </a:lnTo>
                  <a:lnTo>
                    <a:pt x="26" y="157"/>
                  </a:lnTo>
                  <a:lnTo>
                    <a:pt x="25" y="155"/>
                  </a:lnTo>
                  <a:lnTo>
                    <a:pt x="25" y="154"/>
                  </a:lnTo>
                  <a:lnTo>
                    <a:pt x="26" y="154"/>
                  </a:lnTo>
                  <a:lnTo>
                    <a:pt x="27" y="154"/>
                  </a:lnTo>
                  <a:lnTo>
                    <a:pt x="27" y="155"/>
                  </a:lnTo>
                  <a:lnTo>
                    <a:pt x="28" y="155"/>
                  </a:lnTo>
                  <a:lnTo>
                    <a:pt x="29" y="157"/>
                  </a:lnTo>
                  <a:lnTo>
                    <a:pt x="29" y="155"/>
                  </a:lnTo>
                  <a:lnTo>
                    <a:pt x="28" y="154"/>
                  </a:lnTo>
                  <a:lnTo>
                    <a:pt x="28" y="153"/>
                  </a:lnTo>
                  <a:lnTo>
                    <a:pt x="28" y="152"/>
                  </a:lnTo>
                  <a:lnTo>
                    <a:pt x="29" y="153"/>
                  </a:lnTo>
                  <a:lnTo>
                    <a:pt x="31" y="154"/>
                  </a:lnTo>
                  <a:lnTo>
                    <a:pt x="32" y="154"/>
                  </a:lnTo>
                  <a:lnTo>
                    <a:pt x="33" y="153"/>
                  </a:lnTo>
                  <a:lnTo>
                    <a:pt x="34" y="154"/>
                  </a:lnTo>
                  <a:lnTo>
                    <a:pt x="35" y="154"/>
                  </a:lnTo>
                  <a:lnTo>
                    <a:pt x="37" y="154"/>
                  </a:lnTo>
                  <a:lnTo>
                    <a:pt x="37" y="153"/>
                  </a:lnTo>
                  <a:lnTo>
                    <a:pt x="37" y="152"/>
                  </a:lnTo>
                  <a:lnTo>
                    <a:pt x="37" y="151"/>
                  </a:lnTo>
                  <a:lnTo>
                    <a:pt x="38" y="151"/>
                  </a:lnTo>
                  <a:lnTo>
                    <a:pt x="39" y="152"/>
                  </a:lnTo>
                  <a:lnTo>
                    <a:pt x="39" y="153"/>
                  </a:lnTo>
                  <a:lnTo>
                    <a:pt x="40" y="154"/>
                  </a:lnTo>
                  <a:lnTo>
                    <a:pt x="41" y="154"/>
                  </a:lnTo>
                  <a:lnTo>
                    <a:pt x="41" y="153"/>
                  </a:lnTo>
                  <a:lnTo>
                    <a:pt x="40" y="152"/>
                  </a:lnTo>
                  <a:lnTo>
                    <a:pt x="40" y="149"/>
                  </a:lnTo>
                  <a:lnTo>
                    <a:pt x="39" y="148"/>
                  </a:lnTo>
                  <a:lnTo>
                    <a:pt x="40" y="148"/>
                  </a:lnTo>
                  <a:lnTo>
                    <a:pt x="40" y="147"/>
                  </a:lnTo>
                  <a:lnTo>
                    <a:pt x="41" y="148"/>
                  </a:lnTo>
                  <a:lnTo>
                    <a:pt x="43" y="148"/>
                  </a:lnTo>
                  <a:lnTo>
                    <a:pt x="44" y="149"/>
                  </a:lnTo>
                  <a:lnTo>
                    <a:pt x="44" y="148"/>
                  </a:lnTo>
                  <a:lnTo>
                    <a:pt x="45" y="149"/>
                  </a:lnTo>
                  <a:lnTo>
                    <a:pt x="46" y="149"/>
                  </a:lnTo>
                  <a:lnTo>
                    <a:pt x="47" y="149"/>
                  </a:lnTo>
                  <a:lnTo>
                    <a:pt x="49" y="149"/>
                  </a:lnTo>
                  <a:lnTo>
                    <a:pt x="47" y="148"/>
                  </a:lnTo>
                  <a:lnTo>
                    <a:pt x="47" y="147"/>
                  </a:lnTo>
                  <a:lnTo>
                    <a:pt x="45" y="146"/>
                  </a:lnTo>
                  <a:lnTo>
                    <a:pt x="46" y="146"/>
                  </a:lnTo>
                  <a:lnTo>
                    <a:pt x="46" y="144"/>
                  </a:lnTo>
                  <a:lnTo>
                    <a:pt x="45" y="144"/>
                  </a:lnTo>
                  <a:lnTo>
                    <a:pt x="45" y="146"/>
                  </a:lnTo>
                  <a:lnTo>
                    <a:pt x="45" y="144"/>
                  </a:lnTo>
                  <a:lnTo>
                    <a:pt x="44" y="143"/>
                  </a:lnTo>
                  <a:lnTo>
                    <a:pt x="43" y="143"/>
                  </a:lnTo>
                  <a:lnTo>
                    <a:pt x="41" y="143"/>
                  </a:lnTo>
                  <a:lnTo>
                    <a:pt x="40" y="142"/>
                  </a:lnTo>
                  <a:lnTo>
                    <a:pt x="39" y="141"/>
                  </a:lnTo>
                  <a:lnTo>
                    <a:pt x="40" y="141"/>
                  </a:lnTo>
                  <a:lnTo>
                    <a:pt x="39" y="141"/>
                  </a:lnTo>
                  <a:lnTo>
                    <a:pt x="39" y="140"/>
                  </a:lnTo>
                  <a:lnTo>
                    <a:pt x="39" y="138"/>
                  </a:lnTo>
                  <a:lnTo>
                    <a:pt x="38" y="136"/>
                  </a:lnTo>
                  <a:lnTo>
                    <a:pt x="39" y="136"/>
                  </a:lnTo>
                  <a:lnTo>
                    <a:pt x="40" y="136"/>
                  </a:lnTo>
                  <a:lnTo>
                    <a:pt x="40" y="137"/>
                  </a:lnTo>
                  <a:lnTo>
                    <a:pt x="41" y="136"/>
                  </a:lnTo>
                  <a:lnTo>
                    <a:pt x="41" y="135"/>
                  </a:lnTo>
                  <a:lnTo>
                    <a:pt x="43" y="135"/>
                  </a:lnTo>
                  <a:lnTo>
                    <a:pt x="43" y="136"/>
                  </a:lnTo>
                  <a:lnTo>
                    <a:pt x="44" y="136"/>
                  </a:lnTo>
                  <a:lnTo>
                    <a:pt x="44" y="137"/>
                  </a:lnTo>
                  <a:lnTo>
                    <a:pt x="46" y="137"/>
                  </a:lnTo>
                  <a:lnTo>
                    <a:pt x="45" y="136"/>
                  </a:lnTo>
                  <a:lnTo>
                    <a:pt x="45" y="135"/>
                  </a:lnTo>
                  <a:lnTo>
                    <a:pt x="46" y="134"/>
                  </a:lnTo>
                  <a:lnTo>
                    <a:pt x="46" y="135"/>
                  </a:lnTo>
                  <a:lnTo>
                    <a:pt x="49" y="135"/>
                  </a:lnTo>
                  <a:lnTo>
                    <a:pt x="49" y="136"/>
                  </a:lnTo>
                  <a:lnTo>
                    <a:pt x="50" y="136"/>
                  </a:lnTo>
                  <a:lnTo>
                    <a:pt x="50" y="135"/>
                  </a:lnTo>
                  <a:lnTo>
                    <a:pt x="51" y="134"/>
                  </a:lnTo>
                  <a:lnTo>
                    <a:pt x="52" y="134"/>
                  </a:lnTo>
                  <a:lnTo>
                    <a:pt x="52" y="135"/>
                  </a:lnTo>
                  <a:lnTo>
                    <a:pt x="53" y="135"/>
                  </a:lnTo>
                  <a:lnTo>
                    <a:pt x="52" y="132"/>
                  </a:lnTo>
                  <a:lnTo>
                    <a:pt x="52" y="131"/>
                  </a:lnTo>
                  <a:lnTo>
                    <a:pt x="52" y="130"/>
                  </a:lnTo>
                  <a:lnTo>
                    <a:pt x="53" y="130"/>
                  </a:lnTo>
                  <a:lnTo>
                    <a:pt x="55" y="130"/>
                  </a:lnTo>
                  <a:lnTo>
                    <a:pt x="55" y="131"/>
                  </a:lnTo>
                  <a:lnTo>
                    <a:pt x="55" y="130"/>
                  </a:lnTo>
                  <a:lnTo>
                    <a:pt x="55" y="131"/>
                  </a:lnTo>
                  <a:lnTo>
                    <a:pt x="55" y="132"/>
                  </a:lnTo>
                  <a:lnTo>
                    <a:pt x="56" y="131"/>
                  </a:lnTo>
                  <a:lnTo>
                    <a:pt x="56" y="132"/>
                  </a:lnTo>
                  <a:lnTo>
                    <a:pt x="56" y="134"/>
                  </a:lnTo>
                  <a:lnTo>
                    <a:pt x="56" y="132"/>
                  </a:lnTo>
                  <a:lnTo>
                    <a:pt x="57" y="132"/>
                  </a:lnTo>
                  <a:lnTo>
                    <a:pt x="58" y="134"/>
                  </a:lnTo>
                  <a:lnTo>
                    <a:pt x="59" y="134"/>
                  </a:lnTo>
                  <a:lnTo>
                    <a:pt x="61" y="135"/>
                  </a:lnTo>
                  <a:lnTo>
                    <a:pt x="61" y="136"/>
                  </a:lnTo>
                  <a:lnTo>
                    <a:pt x="62" y="135"/>
                  </a:lnTo>
                  <a:lnTo>
                    <a:pt x="62" y="134"/>
                  </a:lnTo>
                  <a:lnTo>
                    <a:pt x="61" y="134"/>
                  </a:lnTo>
                  <a:lnTo>
                    <a:pt x="61" y="131"/>
                  </a:lnTo>
                  <a:lnTo>
                    <a:pt x="62" y="130"/>
                  </a:lnTo>
                  <a:lnTo>
                    <a:pt x="62" y="131"/>
                  </a:lnTo>
                  <a:lnTo>
                    <a:pt x="63" y="131"/>
                  </a:lnTo>
                  <a:lnTo>
                    <a:pt x="62" y="131"/>
                  </a:lnTo>
                  <a:lnTo>
                    <a:pt x="63" y="130"/>
                  </a:lnTo>
                  <a:lnTo>
                    <a:pt x="64" y="130"/>
                  </a:lnTo>
                  <a:lnTo>
                    <a:pt x="65" y="130"/>
                  </a:lnTo>
                  <a:lnTo>
                    <a:pt x="67" y="129"/>
                  </a:lnTo>
                  <a:lnTo>
                    <a:pt x="68" y="129"/>
                  </a:lnTo>
                  <a:lnTo>
                    <a:pt x="68" y="130"/>
                  </a:lnTo>
                  <a:lnTo>
                    <a:pt x="69" y="130"/>
                  </a:lnTo>
                  <a:lnTo>
                    <a:pt x="69" y="131"/>
                  </a:lnTo>
                  <a:lnTo>
                    <a:pt x="70" y="131"/>
                  </a:lnTo>
                  <a:lnTo>
                    <a:pt x="70" y="130"/>
                  </a:lnTo>
                  <a:lnTo>
                    <a:pt x="72" y="129"/>
                  </a:lnTo>
                  <a:lnTo>
                    <a:pt x="73" y="129"/>
                  </a:lnTo>
                  <a:lnTo>
                    <a:pt x="74" y="129"/>
                  </a:lnTo>
                  <a:lnTo>
                    <a:pt x="74" y="128"/>
                  </a:lnTo>
                  <a:lnTo>
                    <a:pt x="74" y="129"/>
                  </a:lnTo>
                  <a:lnTo>
                    <a:pt x="75" y="129"/>
                  </a:lnTo>
                  <a:lnTo>
                    <a:pt x="75" y="128"/>
                  </a:lnTo>
                  <a:lnTo>
                    <a:pt x="75" y="126"/>
                  </a:lnTo>
                  <a:lnTo>
                    <a:pt x="74" y="125"/>
                  </a:lnTo>
                  <a:lnTo>
                    <a:pt x="75" y="124"/>
                  </a:lnTo>
                  <a:lnTo>
                    <a:pt x="75" y="123"/>
                  </a:lnTo>
                  <a:lnTo>
                    <a:pt x="75" y="124"/>
                  </a:lnTo>
                  <a:lnTo>
                    <a:pt x="76" y="124"/>
                  </a:lnTo>
                  <a:lnTo>
                    <a:pt x="78" y="124"/>
                  </a:lnTo>
                  <a:lnTo>
                    <a:pt x="81" y="123"/>
                  </a:lnTo>
                  <a:lnTo>
                    <a:pt x="80" y="122"/>
                  </a:lnTo>
                  <a:lnTo>
                    <a:pt x="81" y="122"/>
                  </a:lnTo>
                  <a:lnTo>
                    <a:pt x="82" y="122"/>
                  </a:lnTo>
                  <a:lnTo>
                    <a:pt x="82" y="120"/>
                  </a:lnTo>
                  <a:lnTo>
                    <a:pt x="82" y="119"/>
                  </a:lnTo>
                  <a:lnTo>
                    <a:pt x="84" y="120"/>
                  </a:lnTo>
                  <a:lnTo>
                    <a:pt x="84" y="122"/>
                  </a:lnTo>
                  <a:lnTo>
                    <a:pt x="85" y="120"/>
                  </a:lnTo>
                  <a:lnTo>
                    <a:pt x="86" y="120"/>
                  </a:lnTo>
                  <a:lnTo>
                    <a:pt x="87" y="120"/>
                  </a:lnTo>
                  <a:lnTo>
                    <a:pt x="88" y="120"/>
                  </a:lnTo>
                  <a:lnTo>
                    <a:pt x="90" y="120"/>
                  </a:lnTo>
                  <a:lnTo>
                    <a:pt x="90" y="119"/>
                  </a:lnTo>
                  <a:lnTo>
                    <a:pt x="91" y="119"/>
                  </a:lnTo>
                  <a:lnTo>
                    <a:pt x="91" y="120"/>
                  </a:lnTo>
                  <a:lnTo>
                    <a:pt x="91" y="119"/>
                  </a:lnTo>
                  <a:lnTo>
                    <a:pt x="91" y="118"/>
                  </a:lnTo>
                  <a:lnTo>
                    <a:pt x="92" y="118"/>
                  </a:lnTo>
                  <a:lnTo>
                    <a:pt x="93" y="118"/>
                  </a:lnTo>
                  <a:lnTo>
                    <a:pt x="93" y="117"/>
                  </a:lnTo>
                  <a:lnTo>
                    <a:pt x="94" y="117"/>
                  </a:lnTo>
                  <a:lnTo>
                    <a:pt x="94" y="116"/>
                  </a:lnTo>
                  <a:lnTo>
                    <a:pt x="96" y="116"/>
                  </a:lnTo>
                  <a:lnTo>
                    <a:pt x="94" y="116"/>
                  </a:lnTo>
                  <a:lnTo>
                    <a:pt x="94" y="114"/>
                  </a:lnTo>
                  <a:lnTo>
                    <a:pt x="94" y="113"/>
                  </a:lnTo>
                  <a:lnTo>
                    <a:pt x="96" y="113"/>
                  </a:lnTo>
                  <a:lnTo>
                    <a:pt x="94" y="113"/>
                  </a:lnTo>
                  <a:lnTo>
                    <a:pt x="96" y="113"/>
                  </a:lnTo>
                  <a:lnTo>
                    <a:pt x="97" y="113"/>
                  </a:lnTo>
                  <a:lnTo>
                    <a:pt x="96" y="112"/>
                  </a:lnTo>
                  <a:lnTo>
                    <a:pt x="97" y="112"/>
                  </a:lnTo>
                  <a:lnTo>
                    <a:pt x="97" y="111"/>
                  </a:lnTo>
                  <a:lnTo>
                    <a:pt x="98" y="110"/>
                  </a:lnTo>
                  <a:lnTo>
                    <a:pt x="99" y="108"/>
                  </a:lnTo>
                  <a:lnTo>
                    <a:pt x="98" y="108"/>
                  </a:lnTo>
                  <a:lnTo>
                    <a:pt x="98" y="107"/>
                  </a:lnTo>
                  <a:lnTo>
                    <a:pt x="97" y="107"/>
                  </a:lnTo>
                  <a:lnTo>
                    <a:pt x="96" y="107"/>
                  </a:lnTo>
                  <a:lnTo>
                    <a:pt x="96" y="106"/>
                  </a:lnTo>
                  <a:lnTo>
                    <a:pt x="96" y="107"/>
                  </a:lnTo>
                  <a:lnTo>
                    <a:pt x="94" y="107"/>
                  </a:lnTo>
                  <a:lnTo>
                    <a:pt x="93" y="107"/>
                  </a:lnTo>
                  <a:lnTo>
                    <a:pt x="92" y="107"/>
                  </a:lnTo>
                  <a:lnTo>
                    <a:pt x="91" y="107"/>
                  </a:lnTo>
                  <a:lnTo>
                    <a:pt x="91" y="108"/>
                  </a:lnTo>
                  <a:lnTo>
                    <a:pt x="91" y="110"/>
                  </a:lnTo>
                  <a:lnTo>
                    <a:pt x="91" y="111"/>
                  </a:lnTo>
                  <a:lnTo>
                    <a:pt x="92" y="111"/>
                  </a:lnTo>
                  <a:lnTo>
                    <a:pt x="91" y="112"/>
                  </a:lnTo>
                  <a:lnTo>
                    <a:pt x="91" y="113"/>
                  </a:lnTo>
                  <a:lnTo>
                    <a:pt x="90" y="113"/>
                  </a:lnTo>
                  <a:lnTo>
                    <a:pt x="88" y="114"/>
                  </a:lnTo>
                  <a:lnTo>
                    <a:pt x="88" y="116"/>
                  </a:lnTo>
                  <a:lnTo>
                    <a:pt x="88" y="114"/>
                  </a:lnTo>
                  <a:lnTo>
                    <a:pt x="90" y="114"/>
                  </a:lnTo>
                  <a:lnTo>
                    <a:pt x="91" y="116"/>
                  </a:lnTo>
                  <a:lnTo>
                    <a:pt x="92" y="116"/>
                  </a:lnTo>
                  <a:lnTo>
                    <a:pt x="91" y="116"/>
                  </a:lnTo>
                  <a:lnTo>
                    <a:pt x="91" y="117"/>
                  </a:lnTo>
                  <a:lnTo>
                    <a:pt x="90" y="117"/>
                  </a:lnTo>
                  <a:lnTo>
                    <a:pt x="90" y="118"/>
                  </a:lnTo>
                  <a:lnTo>
                    <a:pt x="88" y="118"/>
                  </a:lnTo>
                  <a:lnTo>
                    <a:pt x="87" y="118"/>
                  </a:lnTo>
                  <a:lnTo>
                    <a:pt x="86" y="118"/>
                  </a:lnTo>
                  <a:lnTo>
                    <a:pt x="85" y="118"/>
                  </a:lnTo>
                  <a:lnTo>
                    <a:pt x="84" y="118"/>
                  </a:lnTo>
                  <a:lnTo>
                    <a:pt x="84" y="117"/>
                  </a:lnTo>
                  <a:lnTo>
                    <a:pt x="82" y="117"/>
                  </a:lnTo>
                  <a:lnTo>
                    <a:pt x="82" y="118"/>
                  </a:lnTo>
                  <a:lnTo>
                    <a:pt x="82" y="117"/>
                  </a:lnTo>
                  <a:lnTo>
                    <a:pt x="81" y="117"/>
                  </a:lnTo>
                  <a:lnTo>
                    <a:pt x="82" y="116"/>
                  </a:lnTo>
                  <a:lnTo>
                    <a:pt x="82" y="114"/>
                  </a:lnTo>
                  <a:lnTo>
                    <a:pt x="84" y="114"/>
                  </a:lnTo>
                  <a:lnTo>
                    <a:pt x="84" y="113"/>
                  </a:lnTo>
                  <a:lnTo>
                    <a:pt x="82" y="112"/>
                  </a:lnTo>
                  <a:lnTo>
                    <a:pt x="84" y="112"/>
                  </a:lnTo>
                  <a:lnTo>
                    <a:pt x="84" y="111"/>
                  </a:lnTo>
                  <a:lnTo>
                    <a:pt x="85" y="111"/>
                  </a:lnTo>
                  <a:lnTo>
                    <a:pt x="85" y="110"/>
                  </a:lnTo>
                  <a:lnTo>
                    <a:pt x="84" y="110"/>
                  </a:lnTo>
                  <a:lnTo>
                    <a:pt x="82" y="110"/>
                  </a:lnTo>
                  <a:lnTo>
                    <a:pt x="82" y="111"/>
                  </a:lnTo>
                  <a:lnTo>
                    <a:pt x="81" y="111"/>
                  </a:lnTo>
                  <a:lnTo>
                    <a:pt x="80" y="111"/>
                  </a:lnTo>
                  <a:lnTo>
                    <a:pt x="80" y="112"/>
                  </a:lnTo>
                  <a:lnTo>
                    <a:pt x="80" y="111"/>
                  </a:lnTo>
                  <a:lnTo>
                    <a:pt x="79" y="111"/>
                  </a:lnTo>
                  <a:lnTo>
                    <a:pt x="79" y="112"/>
                  </a:lnTo>
                  <a:lnTo>
                    <a:pt x="79" y="111"/>
                  </a:lnTo>
                  <a:lnTo>
                    <a:pt x="78" y="111"/>
                  </a:lnTo>
                  <a:lnTo>
                    <a:pt x="78" y="112"/>
                  </a:lnTo>
                  <a:lnTo>
                    <a:pt x="76" y="112"/>
                  </a:lnTo>
                  <a:lnTo>
                    <a:pt x="76" y="113"/>
                  </a:lnTo>
                  <a:lnTo>
                    <a:pt x="78" y="113"/>
                  </a:lnTo>
                  <a:lnTo>
                    <a:pt x="76" y="113"/>
                  </a:lnTo>
                  <a:lnTo>
                    <a:pt x="75" y="113"/>
                  </a:lnTo>
                  <a:lnTo>
                    <a:pt x="74" y="113"/>
                  </a:lnTo>
                  <a:lnTo>
                    <a:pt x="73" y="113"/>
                  </a:lnTo>
                  <a:lnTo>
                    <a:pt x="73" y="112"/>
                  </a:lnTo>
                  <a:lnTo>
                    <a:pt x="72" y="112"/>
                  </a:lnTo>
                  <a:lnTo>
                    <a:pt x="70" y="112"/>
                  </a:lnTo>
                  <a:lnTo>
                    <a:pt x="70" y="113"/>
                  </a:lnTo>
                  <a:lnTo>
                    <a:pt x="69" y="113"/>
                  </a:lnTo>
                  <a:lnTo>
                    <a:pt x="69" y="114"/>
                  </a:lnTo>
                  <a:lnTo>
                    <a:pt x="69" y="113"/>
                  </a:lnTo>
                  <a:lnTo>
                    <a:pt x="68" y="113"/>
                  </a:lnTo>
                  <a:lnTo>
                    <a:pt x="68" y="114"/>
                  </a:lnTo>
                  <a:lnTo>
                    <a:pt x="67" y="114"/>
                  </a:lnTo>
                  <a:lnTo>
                    <a:pt x="67" y="116"/>
                  </a:lnTo>
                  <a:lnTo>
                    <a:pt x="67" y="114"/>
                  </a:lnTo>
                  <a:lnTo>
                    <a:pt x="65" y="114"/>
                  </a:lnTo>
                  <a:lnTo>
                    <a:pt x="64" y="114"/>
                  </a:lnTo>
                  <a:lnTo>
                    <a:pt x="64" y="113"/>
                  </a:lnTo>
                  <a:lnTo>
                    <a:pt x="64" y="112"/>
                  </a:lnTo>
                  <a:lnTo>
                    <a:pt x="65" y="112"/>
                  </a:lnTo>
                  <a:lnTo>
                    <a:pt x="65" y="113"/>
                  </a:lnTo>
                  <a:lnTo>
                    <a:pt x="67" y="113"/>
                  </a:lnTo>
                  <a:lnTo>
                    <a:pt x="67" y="112"/>
                  </a:lnTo>
                  <a:lnTo>
                    <a:pt x="67" y="111"/>
                  </a:lnTo>
                  <a:lnTo>
                    <a:pt x="68" y="111"/>
                  </a:lnTo>
                  <a:lnTo>
                    <a:pt x="67" y="110"/>
                  </a:lnTo>
                  <a:lnTo>
                    <a:pt x="67" y="111"/>
                  </a:lnTo>
                  <a:lnTo>
                    <a:pt x="65" y="111"/>
                  </a:lnTo>
                  <a:lnTo>
                    <a:pt x="64" y="111"/>
                  </a:lnTo>
                  <a:lnTo>
                    <a:pt x="64" y="112"/>
                  </a:lnTo>
                  <a:lnTo>
                    <a:pt x="64" y="111"/>
                  </a:lnTo>
                  <a:lnTo>
                    <a:pt x="63" y="111"/>
                  </a:lnTo>
                  <a:lnTo>
                    <a:pt x="63" y="112"/>
                  </a:lnTo>
                  <a:lnTo>
                    <a:pt x="63" y="113"/>
                  </a:lnTo>
                  <a:lnTo>
                    <a:pt x="63" y="112"/>
                  </a:lnTo>
                  <a:lnTo>
                    <a:pt x="62" y="112"/>
                  </a:lnTo>
                  <a:lnTo>
                    <a:pt x="61" y="112"/>
                  </a:lnTo>
                  <a:lnTo>
                    <a:pt x="61" y="111"/>
                  </a:lnTo>
                  <a:lnTo>
                    <a:pt x="59" y="111"/>
                  </a:lnTo>
                  <a:lnTo>
                    <a:pt x="58" y="111"/>
                  </a:lnTo>
                  <a:lnTo>
                    <a:pt x="58" y="110"/>
                  </a:lnTo>
                  <a:lnTo>
                    <a:pt x="57" y="110"/>
                  </a:lnTo>
                  <a:lnTo>
                    <a:pt x="57" y="108"/>
                  </a:lnTo>
                  <a:lnTo>
                    <a:pt x="56" y="107"/>
                  </a:lnTo>
                  <a:lnTo>
                    <a:pt x="57" y="107"/>
                  </a:lnTo>
                  <a:lnTo>
                    <a:pt x="57" y="106"/>
                  </a:lnTo>
                  <a:lnTo>
                    <a:pt x="57" y="107"/>
                  </a:lnTo>
                  <a:lnTo>
                    <a:pt x="56" y="106"/>
                  </a:lnTo>
                  <a:lnTo>
                    <a:pt x="56" y="105"/>
                  </a:lnTo>
                  <a:lnTo>
                    <a:pt x="55" y="105"/>
                  </a:lnTo>
                  <a:lnTo>
                    <a:pt x="55" y="104"/>
                  </a:lnTo>
                  <a:lnTo>
                    <a:pt x="55" y="102"/>
                  </a:lnTo>
                  <a:lnTo>
                    <a:pt x="55" y="101"/>
                  </a:lnTo>
                  <a:lnTo>
                    <a:pt x="56" y="101"/>
                  </a:lnTo>
                  <a:lnTo>
                    <a:pt x="56" y="102"/>
                  </a:lnTo>
                  <a:lnTo>
                    <a:pt x="57" y="102"/>
                  </a:lnTo>
                  <a:lnTo>
                    <a:pt x="58" y="102"/>
                  </a:lnTo>
                  <a:lnTo>
                    <a:pt x="58" y="101"/>
                  </a:lnTo>
                  <a:lnTo>
                    <a:pt x="59" y="101"/>
                  </a:lnTo>
                  <a:lnTo>
                    <a:pt x="61" y="101"/>
                  </a:lnTo>
                  <a:lnTo>
                    <a:pt x="61" y="100"/>
                  </a:lnTo>
                  <a:lnTo>
                    <a:pt x="61" y="101"/>
                  </a:lnTo>
                  <a:lnTo>
                    <a:pt x="62" y="101"/>
                  </a:lnTo>
                  <a:lnTo>
                    <a:pt x="62" y="100"/>
                  </a:lnTo>
                  <a:lnTo>
                    <a:pt x="61" y="100"/>
                  </a:lnTo>
                  <a:lnTo>
                    <a:pt x="61" y="99"/>
                  </a:lnTo>
                  <a:lnTo>
                    <a:pt x="59" y="99"/>
                  </a:lnTo>
                  <a:lnTo>
                    <a:pt x="59" y="98"/>
                  </a:lnTo>
                  <a:lnTo>
                    <a:pt x="61" y="98"/>
                  </a:lnTo>
                  <a:lnTo>
                    <a:pt x="59" y="98"/>
                  </a:lnTo>
                  <a:lnTo>
                    <a:pt x="59" y="96"/>
                  </a:lnTo>
                  <a:lnTo>
                    <a:pt x="58" y="96"/>
                  </a:lnTo>
                  <a:lnTo>
                    <a:pt x="58" y="95"/>
                  </a:lnTo>
                  <a:lnTo>
                    <a:pt x="58" y="94"/>
                  </a:lnTo>
                  <a:lnTo>
                    <a:pt x="58" y="93"/>
                  </a:lnTo>
                  <a:lnTo>
                    <a:pt x="57" y="93"/>
                  </a:lnTo>
                  <a:lnTo>
                    <a:pt x="57" y="92"/>
                  </a:lnTo>
                  <a:lnTo>
                    <a:pt x="57" y="90"/>
                  </a:lnTo>
                  <a:lnTo>
                    <a:pt x="57" y="89"/>
                  </a:lnTo>
                  <a:lnTo>
                    <a:pt x="57" y="88"/>
                  </a:lnTo>
                  <a:lnTo>
                    <a:pt x="57" y="87"/>
                  </a:lnTo>
                  <a:lnTo>
                    <a:pt x="56" y="87"/>
                  </a:lnTo>
                  <a:lnTo>
                    <a:pt x="57" y="87"/>
                  </a:lnTo>
                  <a:lnTo>
                    <a:pt x="57" y="86"/>
                  </a:lnTo>
                  <a:lnTo>
                    <a:pt x="58" y="86"/>
                  </a:lnTo>
                  <a:lnTo>
                    <a:pt x="58" y="87"/>
                  </a:lnTo>
                  <a:lnTo>
                    <a:pt x="59" y="87"/>
                  </a:lnTo>
                  <a:lnTo>
                    <a:pt x="59" y="88"/>
                  </a:lnTo>
                  <a:lnTo>
                    <a:pt x="61" y="88"/>
                  </a:lnTo>
                  <a:lnTo>
                    <a:pt x="61" y="89"/>
                  </a:lnTo>
                  <a:lnTo>
                    <a:pt x="61" y="88"/>
                  </a:lnTo>
                  <a:lnTo>
                    <a:pt x="61" y="87"/>
                  </a:lnTo>
                  <a:lnTo>
                    <a:pt x="62" y="87"/>
                  </a:lnTo>
                  <a:lnTo>
                    <a:pt x="62" y="86"/>
                  </a:lnTo>
                  <a:lnTo>
                    <a:pt x="63" y="87"/>
                  </a:lnTo>
                  <a:lnTo>
                    <a:pt x="63" y="88"/>
                  </a:lnTo>
                  <a:lnTo>
                    <a:pt x="63" y="87"/>
                  </a:lnTo>
                  <a:lnTo>
                    <a:pt x="64" y="87"/>
                  </a:lnTo>
                  <a:lnTo>
                    <a:pt x="65" y="87"/>
                  </a:lnTo>
                  <a:lnTo>
                    <a:pt x="65" y="88"/>
                  </a:lnTo>
                  <a:lnTo>
                    <a:pt x="67" y="88"/>
                  </a:lnTo>
                  <a:lnTo>
                    <a:pt x="67" y="89"/>
                  </a:lnTo>
                  <a:lnTo>
                    <a:pt x="68" y="90"/>
                  </a:lnTo>
                  <a:lnTo>
                    <a:pt x="69" y="90"/>
                  </a:lnTo>
                  <a:lnTo>
                    <a:pt x="69" y="89"/>
                  </a:lnTo>
                  <a:lnTo>
                    <a:pt x="68" y="89"/>
                  </a:lnTo>
                  <a:lnTo>
                    <a:pt x="68" y="88"/>
                  </a:lnTo>
                  <a:lnTo>
                    <a:pt x="67" y="88"/>
                  </a:lnTo>
                  <a:lnTo>
                    <a:pt x="67" y="87"/>
                  </a:lnTo>
                  <a:lnTo>
                    <a:pt x="67" y="86"/>
                  </a:lnTo>
                  <a:lnTo>
                    <a:pt x="68" y="86"/>
                  </a:lnTo>
                  <a:lnTo>
                    <a:pt x="69" y="86"/>
                  </a:lnTo>
                  <a:lnTo>
                    <a:pt x="70" y="86"/>
                  </a:lnTo>
                  <a:lnTo>
                    <a:pt x="70" y="87"/>
                  </a:lnTo>
                  <a:lnTo>
                    <a:pt x="72" y="87"/>
                  </a:lnTo>
                  <a:lnTo>
                    <a:pt x="73" y="87"/>
                  </a:lnTo>
                  <a:lnTo>
                    <a:pt x="74" y="87"/>
                  </a:lnTo>
                  <a:lnTo>
                    <a:pt x="75" y="87"/>
                  </a:lnTo>
                  <a:lnTo>
                    <a:pt x="75" y="86"/>
                  </a:lnTo>
                  <a:lnTo>
                    <a:pt x="74" y="86"/>
                  </a:lnTo>
                  <a:lnTo>
                    <a:pt x="74" y="84"/>
                  </a:lnTo>
                  <a:lnTo>
                    <a:pt x="73" y="84"/>
                  </a:lnTo>
                  <a:lnTo>
                    <a:pt x="72" y="84"/>
                  </a:lnTo>
                  <a:lnTo>
                    <a:pt x="72" y="83"/>
                  </a:lnTo>
                  <a:lnTo>
                    <a:pt x="70" y="83"/>
                  </a:lnTo>
                  <a:lnTo>
                    <a:pt x="69" y="83"/>
                  </a:lnTo>
                  <a:lnTo>
                    <a:pt x="68" y="83"/>
                  </a:lnTo>
                  <a:lnTo>
                    <a:pt x="67" y="83"/>
                  </a:lnTo>
                  <a:lnTo>
                    <a:pt x="67" y="82"/>
                  </a:lnTo>
                  <a:lnTo>
                    <a:pt x="67" y="81"/>
                  </a:lnTo>
                  <a:lnTo>
                    <a:pt x="65" y="81"/>
                  </a:lnTo>
                  <a:lnTo>
                    <a:pt x="64" y="81"/>
                  </a:lnTo>
                  <a:lnTo>
                    <a:pt x="64" y="80"/>
                  </a:lnTo>
                  <a:lnTo>
                    <a:pt x="64" y="78"/>
                  </a:lnTo>
                  <a:lnTo>
                    <a:pt x="64" y="77"/>
                  </a:lnTo>
                  <a:lnTo>
                    <a:pt x="63" y="77"/>
                  </a:lnTo>
                  <a:lnTo>
                    <a:pt x="62" y="77"/>
                  </a:lnTo>
                  <a:lnTo>
                    <a:pt x="63" y="76"/>
                  </a:lnTo>
                  <a:lnTo>
                    <a:pt x="64" y="76"/>
                  </a:lnTo>
                  <a:lnTo>
                    <a:pt x="65" y="76"/>
                  </a:lnTo>
                  <a:lnTo>
                    <a:pt x="67" y="76"/>
                  </a:lnTo>
                  <a:lnTo>
                    <a:pt x="67" y="77"/>
                  </a:lnTo>
                  <a:lnTo>
                    <a:pt x="67" y="76"/>
                  </a:lnTo>
                  <a:lnTo>
                    <a:pt x="67" y="75"/>
                  </a:lnTo>
                  <a:lnTo>
                    <a:pt x="67" y="74"/>
                  </a:lnTo>
                  <a:lnTo>
                    <a:pt x="68" y="74"/>
                  </a:lnTo>
                  <a:lnTo>
                    <a:pt x="68" y="75"/>
                  </a:lnTo>
                  <a:lnTo>
                    <a:pt x="68" y="76"/>
                  </a:lnTo>
                  <a:lnTo>
                    <a:pt x="69" y="76"/>
                  </a:lnTo>
                  <a:lnTo>
                    <a:pt x="69" y="75"/>
                  </a:lnTo>
                  <a:lnTo>
                    <a:pt x="70" y="76"/>
                  </a:lnTo>
                  <a:lnTo>
                    <a:pt x="69" y="76"/>
                  </a:lnTo>
                  <a:lnTo>
                    <a:pt x="69" y="77"/>
                  </a:lnTo>
                  <a:lnTo>
                    <a:pt x="70" y="77"/>
                  </a:lnTo>
                  <a:lnTo>
                    <a:pt x="70" y="78"/>
                  </a:lnTo>
                  <a:lnTo>
                    <a:pt x="72" y="77"/>
                  </a:lnTo>
                  <a:lnTo>
                    <a:pt x="73" y="77"/>
                  </a:lnTo>
                  <a:lnTo>
                    <a:pt x="74" y="77"/>
                  </a:lnTo>
                  <a:lnTo>
                    <a:pt x="75" y="77"/>
                  </a:lnTo>
                  <a:lnTo>
                    <a:pt x="75" y="78"/>
                  </a:lnTo>
                  <a:lnTo>
                    <a:pt x="76" y="78"/>
                  </a:lnTo>
                  <a:lnTo>
                    <a:pt x="76" y="80"/>
                  </a:lnTo>
                  <a:lnTo>
                    <a:pt x="76" y="78"/>
                  </a:lnTo>
                  <a:lnTo>
                    <a:pt x="76" y="77"/>
                  </a:lnTo>
                  <a:lnTo>
                    <a:pt x="75" y="77"/>
                  </a:lnTo>
                  <a:lnTo>
                    <a:pt x="75" y="76"/>
                  </a:lnTo>
                  <a:lnTo>
                    <a:pt x="75" y="75"/>
                  </a:lnTo>
                  <a:lnTo>
                    <a:pt x="76" y="75"/>
                  </a:lnTo>
                  <a:lnTo>
                    <a:pt x="76" y="76"/>
                  </a:lnTo>
                  <a:lnTo>
                    <a:pt x="78" y="76"/>
                  </a:lnTo>
                  <a:lnTo>
                    <a:pt x="78" y="75"/>
                  </a:lnTo>
                  <a:lnTo>
                    <a:pt x="78" y="74"/>
                  </a:lnTo>
                  <a:lnTo>
                    <a:pt x="76" y="74"/>
                  </a:lnTo>
                  <a:lnTo>
                    <a:pt x="76" y="72"/>
                  </a:lnTo>
                  <a:lnTo>
                    <a:pt x="78" y="72"/>
                  </a:lnTo>
                  <a:lnTo>
                    <a:pt x="79" y="72"/>
                  </a:lnTo>
                  <a:lnTo>
                    <a:pt x="80" y="72"/>
                  </a:lnTo>
                  <a:lnTo>
                    <a:pt x="80" y="74"/>
                  </a:lnTo>
                  <a:lnTo>
                    <a:pt x="81" y="74"/>
                  </a:lnTo>
                  <a:lnTo>
                    <a:pt x="81" y="72"/>
                  </a:lnTo>
                  <a:lnTo>
                    <a:pt x="81" y="71"/>
                  </a:lnTo>
                  <a:lnTo>
                    <a:pt x="82" y="71"/>
                  </a:lnTo>
                  <a:lnTo>
                    <a:pt x="81" y="71"/>
                  </a:lnTo>
                  <a:lnTo>
                    <a:pt x="81" y="70"/>
                  </a:lnTo>
                  <a:lnTo>
                    <a:pt x="81" y="69"/>
                  </a:lnTo>
                  <a:lnTo>
                    <a:pt x="82" y="69"/>
                  </a:lnTo>
                  <a:lnTo>
                    <a:pt x="82" y="70"/>
                  </a:lnTo>
                  <a:lnTo>
                    <a:pt x="84" y="70"/>
                  </a:lnTo>
                  <a:lnTo>
                    <a:pt x="84" y="69"/>
                  </a:lnTo>
                  <a:lnTo>
                    <a:pt x="85" y="69"/>
                  </a:lnTo>
                  <a:lnTo>
                    <a:pt x="85" y="68"/>
                  </a:lnTo>
                  <a:lnTo>
                    <a:pt x="85" y="69"/>
                  </a:lnTo>
                  <a:lnTo>
                    <a:pt x="85" y="68"/>
                  </a:lnTo>
                  <a:lnTo>
                    <a:pt x="85" y="66"/>
                  </a:lnTo>
                  <a:lnTo>
                    <a:pt x="84" y="65"/>
                  </a:lnTo>
                  <a:lnTo>
                    <a:pt x="84" y="64"/>
                  </a:lnTo>
                  <a:lnTo>
                    <a:pt x="82" y="64"/>
                  </a:lnTo>
                  <a:lnTo>
                    <a:pt x="84" y="64"/>
                  </a:lnTo>
                  <a:lnTo>
                    <a:pt x="82" y="63"/>
                  </a:lnTo>
                  <a:lnTo>
                    <a:pt x="82" y="64"/>
                  </a:lnTo>
                  <a:lnTo>
                    <a:pt x="81" y="64"/>
                  </a:lnTo>
                  <a:lnTo>
                    <a:pt x="81" y="63"/>
                  </a:lnTo>
                  <a:lnTo>
                    <a:pt x="80" y="63"/>
                  </a:lnTo>
                  <a:lnTo>
                    <a:pt x="80" y="62"/>
                  </a:lnTo>
                  <a:lnTo>
                    <a:pt x="79" y="62"/>
                  </a:lnTo>
                  <a:lnTo>
                    <a:pt x="80" y="62"/>
                  </a:lnTo>
                  <a:lnTo>
                    <a:pt x="80" y="60"/>
                  </a:lnTo>
                  <a:lnTo>
                    <a:pt x="81" y="60"/>
                  </a:lnTo>
                  <a:lnTo>
                    <a:pt x="81" y="59"/>
                  </a:lnTo>
                  <a:lnTo>
                    <a:pt x="80" y="59"/>
                  </a:lnTo>
                  <a:lnTo>
                    <a:pt x="79" y="59"/>
                  </a:lnTo>
                  <a:lnTo>
                    <a:pt x="79" y="58"/>
                  </a:lnTo>
                  <a:lnTo>
                    <a:pt x="78" y="58"/>
                  </a:lnTo>
                  <a:lnTo>
                    <a:pt x="78" y="57"/>
                  </a:lnTo>
                  <a:lnTo>
                    <a:pt x="76" y="57"/>
                  </a:lnTo>
                  <a:lnTo>
                    <a:pt x="78" y="57"/>
                  </a:lnTo>
                  <a:lnTo>
                    <a:pt x="78" y="56"/>
                  </a:lnTo>
                  <a:lnTo>
                    <a:pt x="78" y="54"/>
                  </a:lnTo>
                  <a:lnTo>
                    <a:pt x="78" y="53"/>
                  </a:lnTo>
                  <a:lnTo>
                    <a:pt x="78" y="52"/>
                  </a:lnTo>
                  <a:lnTo>
                    <a:pt x="79" y="52"/>
                  </a:lnTo>
                  <a:lnTo>
                    <a:pt x="79" y="53"/>
                  </a:lnTo>
                  <a:lnTo>
                    <a:pt x="80" y="53"/>
                  </a:lnTo>
                  <a:lnTo>
                    <a:pt x="80" y="52"/>
                  </a:lnTo>
                  <a:lnTo>
                    <a:pt x="81" y="52"/>
                  </a:lnTo>
                  <a:lnTo>
                    <a:pt x="82" y="52"/>
                  </a:lnTo>
                  <a:lnTo>
                    <a:pt x="82" y="53"/>
                  </a:lnTo>
                  <a:lnTo>
                    <a:pt x="84" y="54"/>
                  </a:lnTo>
                  <a:lnTo>
                    <a:pt x="84" y="56"/>
                  </a:lnTo>
                  <a:lnTo>
                    <a:pt x="85" y="56"/>
                  </a:lnTo>
                  <a:lnTo>
                    <a:pt x="86" y="56"/>
                  </a:lnTo>
                  <a:lnTo>
                    <a:pt x="85" y="54"/>
                  </a:lnTo>
                  <a:lnTo>
                    <a:pt x="86" y="54"/>
                  </a:lnTo>
                  <a:lnTo>
                    <a:pt x="86" y="56"/>
                  </a:lnTo>
                  <a:lnTo>
                    <a:pt x="87" y="56"/>
                  </a:lnTo>
                  <a:lnTo>
                    <a:pt x="88" y="56"/>
                  </a:lnTo>
                  <a:lnTo>
                    <a:pt x="88" y="54"/>
                  </a:lnTo>
                  <a:lnTo>
                    <a:pt x="87" y="53"/>
                  </a:lnTo>
                  <a:lnTo>
                    <a:pt x="87" y="52"/>
                  </a:lnTo>
                  <a:lnTo>
                    <a:pt x="87" y="51"/>
                  </a:lnTo>
                  <a:lnTo>
                    <a:pt x="87" y="50"/>
                  </a:lnTo>
                  <a:lnTo>
                    <a:pt x="88" y="50"/>
                  </a:lnTo>
                  <a:lnTo>
                    <a:pt x="88" y="48"/>
                  </a:lnTo>
                  <a:lnTo>
                    <a:pt x="88" y="47"/>
                  </a:lnTo>
                  <a:lnTo>
                    <a:pt x="90" y="47"/>
                  </a:lnTo>
                  <a:lnTo>
                    <a:pt x="90" y="48"/>
                  </a:lnTo>
                  <a:lnTo>
                    <a:pt x="91" y="48"/>
                  </a:lnTo>
                  <a:lnTo>
                    <a:pt x="91" y="50"/>
                  </a:lnTo>
                  <a:lnTo>
                    <a:pt x="91" y="48"/>
                  </a:lnTo>
                  <a:lnTo>
                    <a:pt x="91" y="47"/>
                  </a:lnTo>
                  <a:lnTo>
                    <a:pt x="92" y="47"/>
                  </a:lnTo>
                  <a:lnTo>
                    <a:pt x="92" y="48"/>
                  </a:lnTo>
                  <a:lnTo>
                    <a:pt x="93" y="48"/>
                  </a:lnTo>
                  <a:lnTo>
                    <a:pt x="93" y="50"/>
                  </a:lnTo>
                  <a:lnTo>
                    <a:pt x="93" y="51"/>
                  </a:lnTo>
                  <a:lnTo>
                    <a:pt x="93" y="52"/>
                  </a:lnTo>
                  <a:lnTo>
                    <a:pt x="93" y="53"/>
                  </a:lnTo>
                  <a:lnTo>
                    <a:pt x="93" y="54"/>
                  </a:lnTo>
                  <a:lnTo>
                    <a:pt x="94" y="54"/>
                  </a:lnTo>
                  <a:lnTo>
                    <a:pt x="96" y="54"/>
                  </a:lnTo>
                  <a:lnTo>
                    <a:pt x="97" y="54"/>
                  </a:lnTo>
                  <a:lnTo>
                    <a:pt x="96" y="53"/>
                  </a:lnTo>
                  <a:lnTo>
                    <a:pt x="96" y="52"/>
                  </a:lnTo>
                  <a:lnTo>
                    <a:pt x="96" y="51"/>
                  </a:lnTo>
                  <a:lnTo>
                    <a:pt x="96" y="50"/>
                  </a:lnTo>
                  <a:lnTo>
                    <a:pt x="97" y="50"/>
                  </a:lnTo>
                  <a:lnTo>
                    <a:pt x="97" y="51"/>
                  </a:lnTo>
                  <a:lnTo>
                    <a:pt x="98" y="51"/>
                  </a:lnTo>
                  <a:lnTo>
                    <a:pt x="99" y="51"/>
                  </a:lnTo>
                  <a:lnTo>
                    <a:pt x="99" y="52"/>
                  </a:lnTo>
                  <a:lnTo>
                    <a:pt x="100" y="52"/>
                  </a:lnTo>
                  <a:lnTo>
                    <a:pt x="102" y="52"/>
                  </a:lnTo>
                  <a:lnTo>
                    <a:pt x="102" y="53"/>
                  </a:lnTo>
                  <a:lnTo>
                    <a:pt x="102" y="54"/>
                  </a:lnTo>
                  <a:lnTo>
                    <a:pt x="102" y="56"/>
                  </a:lnTo>
                  <a:lnTo>
                    <a:pt x="102" y="57"/>
                  </a:lnTo>
                  <a:lnTo>
                    <a:pt x="102" y="58"/>
                  </a:lnTo>
                  <a:lnTo>
                    <a:pt x="103" y="59"/>
                  </a:lnTo>
                  <a:lnTo>
                    <a:pt x="104" y="59"/>
                  </a:lnTo>
                  <a:lnTo>
                    <a:pt x="104" y="58"/>
                  </a:lnTo>
                  <a:lnTo>
                    <a:pt x="103" y="58"/>
                  </a:lnTo>
                  <a:lnTo>
                    <a:pt x="103" y="57"/>
                  </a:lnTo>
                  <a:lnTo>
                    <a:pt x="104" y="57"/>
                  </a:lnTo>
                  <a:lnTo>
                    <a:pt x="104" y="56"/>
                  </a:lnTo>
                  <a:lnTo>
                    <a:pt x="104" y="54"/>
                  </a:lnTo>
                  <a:lnTo>
                    <a:pt x="103" y="54"/>
                  </a:lnTo>
                  <a:lnTo>
                    <a:pt x="103" y="53"/>
                  </a:lnTo>
                  <a:lnTo>
                    <a:pt x="104" y="53"/>
                  </a:lnTo>
                  <a:lnTo>
                    <a:pt x="105" y="53"/>
                  </a:lnTo>
                  <a:lnTo>
                    <a:pt x="105" y="52"/>
                  </a:lnTo>
                  <a:lnTo>
                    <a:pt x="106" y="52"/>
                  </a:lnTo>
                  <a:lnTo>
                    <a:pt x="105" y="51"/>
                  </a:lnTo>
                  <a:lnTo>
                    <a:pt x="106" y="51"/>
                  </a:lnTo>
                  <a:lnTo>
                    <a:pt x="108" y="51"/>
                  </a:lnTo>
                  <a:lnTo>
                    <a:pt x="109" y="51"/>
                  </a:lnTo>
                  <a:lnTo>
                    <a:pt x="110" y="51"/>
                  </a:lnTo>
                  <a:lnTo>
                    <a:pt x="110" y="52"/>
                  </a:lnTo>
                  <a:lnTo>
                    <a:pt x="110" y="53"/>
                  </a:lnTo>
                  <a:lnTo>
                    <a:pt x="110" y="52"/>
                  </a:lnTo>
                  <a:lnTo>
                    <a:pt x="111" y="52"/>
                  </a:lnTo>
                  <a:lnTo>
                    <a:pt x="111" y="53"/>
                  </a:lnTo>
                  <a:lnTo>
                    <a:pt x="112" y="53"/>
                  </a:lnTo>
                  <a:lnTo>
                    <a:pt x="112" y="54"/>
                  </a:lnTo>
                  <a:lnTo>
                    <a:pt x="114" y="54"/>
                  </a:lnTo>
                  <a:lnTo>
                    <a:pt x="114" y="56"/>
                  </a:lnTo>
                  <a:lnTo>
                    <a:pt x="115" y="56"/>
                  </a:lnTo>
                  <a:lnTo>
                    <a:pt x="114" y="57"/>
                  </a:lnTo>
                  <a:lnTo>
                    <a:pt x="112" y="57"/>
                  </a:lnTo>
                  <a:lnTo>
                    <a:pt x="112" y="58"/>
                  </a:lnTo>
                  <a:lnTo>
                    <a:pt x="112" y="59"/>
                  </a:lnTo>
                  <a:lnTo>
                    <a:pt x="112" y="60"/>
                  </a:lnTo>
                  <a:lnTo>
                    <a:pt x="114" y="60"/>
                  </a:lnTo>
                  <a:lnTo>
                    <a:pt x="114" y="62"/>
                  </a:lnTo>
                  <a:lnTo>
                    <a:pt x="115" y="62"/>
                  </a:lnTo>
                  <a:lnTo>
                    <a:pt x="114" y="62"/>
                  </a:lnTo>
                  <a:lnTo>
                    <a:pt x="114" y="60"/>
                  </a:lnTo>
                  <a:lnTo>
                    <a:pt x="115" y="60"/>
                  </a:lnTo>
                  <a:lnTo>
                    <a:pt x="115" y="59"/>
                  </a:lnTo>
                  <a:lnTo>
                    <a:pt x="116" y="59"/>
                  </a:lnTo>
                  <a:lnTo>
                    <a:pt x="116" y="58"/>
                  </a:lnTo>
                  <a:lnTo>
                    <a:pt x="117" y="58"/>
                  </a:lnTo>
                  <a:lnTo>
                    <a:pt x="117" y="57"/>
                  </a:lnTo>
                  <a:lnTo>
                    <a:pt x="118" y="57"/>
                  </a:lnTo>
                  <a:lnTo>
                    <a:pt x="120" y="57"/>
                  </a:lnTo>
                  <a:lnTo>
                    <a:pt x="120" y="58"/>
                  </a:lnTo>
                  <a:lnTo>
                    <a:pt x="120" y="59"/>
                  </a:lnTo>
                  <a:lnTo>
                    <a:pt x="121" y="59"/>
                  </a:lnTo>
                  <a:lnTo>
                    <a:pt x="121" y="58"/>
                  </a:lnTo>
                  <a:lnTo>
                    <a:pt x="120" y="58"/>
                  </a:lnTo>
                  <a:lnTo>
                    <a:pt x="121" y="58"/>
                  </a:lnTo>
                  <a:lnTo>
                    <a:pt x="122" y="58"/>
                  </a:lnTo>
                  <a:lnTo>
                    <a:pt x="122" y="59"/>
                  </a:lnTo>
                  <a:lnTo>
                    <a:pt x="122" y="60"/>
                  </a:lnTo>
                  <a:lnTo>
                    <a:pt x="121" y="60"/>
                  </a:lnTo>
                  <a:lnTo>
                    <a:pt x="122" y="60"/>
                  </a:lnTo>
                  <a:lnTo>
                    <a:pt x="121" y="60"/>
                  </a:lnTo>
                  <a:lnTo>
                    <a:pt x="121" y="62"/>
                  </a:lnTo>
                  <a:lnTo>
                    <a:pt x="121" y="63"/>
                  </a:lnTo>
                  <a:lnTo>
                    <a:pt x="122" y="63"/>
                  </a:lnTo>
                  <a:lnTo>
                    <a:pt x="122" y="64"/>
                  </a:lnTo>
                  <a:lnTo>
                    <a:pt x="122" y="63"/>
                  </a:lnTo>
                  <a:lnTo>
                    <a:pt x="122" y="62"/>
                  </a:lnTo>
                  <a:lnTo>
                    <a:pt x="123" y="62"/>
                  </a:lnTo>
                  <a:lnTo>
                    <a:pt x="123" y="63"/>
                  </a:lnTo>
                  <a:lnTo>
                    <a:pt x="123" y="64"/>
                  </a:lnTo>
                  <a:lnTo>
                    <a:pt x="124" y="64"/>
                  </a:lnTo>
                  <a:lnTo>
                    <a:pt x="124" y="63"/>
                  </a:lnTo>
                  <a:lnTo>
                    <a:pt x="124" y="62"/>
                  </a:lnTo>
                  <a:lnTo>
                    <a:pt x="126" y="62"/>
                  </a:lnTo>
                  <a:lnTo>
                    <a:pt x="126" y="63"/>
                  </a:lnTo>
                  <a:lnTo>
                    <a:pt x="126" y="64"/>
                  </a:lnTo>
                  <a:lnTo>
                    <a:pt x="127" y="63"/>
                  </a:lnTo>
                  <a:lnTo>
                    <a:pt x="127" y="62"/>
                  </a:lnTo>
                  <a:lnTo>
                    <a:pt x="127" y="63"/>
                  </a:lnTo>
                  <a:lnTo>
                    <a:pt x="128" y="63"/>
                  </a:lnTo>
                  <a:lnTo>
                    <a:pt x="128" y="64"/>
                  </a:lnTo>
                  <a:lnTo>
                    <a:pt x="127" y="64"/>
                  </a:lnTo>
                  <a:lnTo>
                    <a:pt x="127" y="65"/>
                  </a:lnTo>
                  <a:lnTo>
                    <a:pt x="126" y="65"/>
                  </a:lnTo>
                  <a:lnTo>
                    <a:pt x="126" y="64"/>
                  </a:lnTo>
                  <a:lnTo>
                    <a:pt x="124" y="64"/>
                  </a:lnTo>
                  <a:lnTo>
                    <a:pt x="124" y="65"/>
                  </a:lnTo>
                  <a:lnTo>
                    <a:pt x="126" y="65"/>
                  </a:lnTo>
                  <a:lnTo>
                    <a:pt x="127" y="65"/>
                  </a:lnTo>
                  <a:lnTo>
                    <a:pt x="127" y="66"/>
                  </a:lnTo>
                  <a:lnTo>
                    <a:pt x="128" y="66"/>
                  </a:lnTo>
                  <a:lnTo>
                    <a:pt x="128" y="65"/>
                  </a:lnTo>
                  <a:lnTo>
                    <a:pt x="129" y="65"/>
                  </a:lnTo>
                  <a:lnTo>
                    <a:pt x="129" y="64"/>
                  </a:lnTo>
                  <a:lnTo>
                    <a:pt x="129" y="63"/>
                  </a:lnTo>
                  <a:lnTo>
                    <a:pt x="128" y="63"/>
                  </a:lnTo>
                  <a:lnTo>
                    <a:pt x="128" y="62"/>
                  </a:lnTo>
                  <a:lnTo>
                    <a:pt x="128" y="60"/>
                  </a:lnTo>
                  <a:lnTo>
                    <a:pt x="127" y="60"/>
                  </a:lnTo>
                  <a:lnTo>
                    <a:pt x="127" y="59"/>
                  </a:lnTo>
                  <a:lnTo>
                    <a:pt x="128" y="59"/>
                  </a:lnTo>
                  <a:lnTo>
                    <a:pt x="128" y="60"/>
                  </a:lnTo>
                  <a:lnTo>
                    <a:pt x="129" y="59"/>
                  </a:lnTo>
                  <a:lnTo>
                    <a:pt x="131" y="59"/>
                  </a:lnTo>
                  <a:lnTo>
                    <a:pt x="131" y="60"/>
                  </a:lnTo>
                  <a:lnTo>
                    <a:pt x="131" y="59"/>
                  </a:lnTo>
                  <a:lnTo>
                    <a:pt x="132" y="59"/>
                  </a:lnTo>
                  <a:lnTo>
                    <a:pt x="132" y="60"/>
                  </a:lnTo>
                  <a:lnTo>
                    <a:pt x="131" y="60"/>
                  </a:lnTo>
                  <a:lnTo>
                    <a:pt x="131" y="62"/>
                  </a:lnTo>
                  <a:lnTo>
                    <a:pt x="131" y="63"/>
                  </a:lnTo>
                  <a:lnTo>
                    <a:pt x="129" y="63"/>
                  </a:lnTo>
                  <a:lnTo>
                    <a:pt x="129" y="64"/>
                  </a:lnTo>
                  <a:lnTo>
                    <a:pt x="129" y="65"/>
                  </a:lnTo>
                  <a:lnTo>
                    <a:pt x="129" y="66"/>
                  </a:lnTo>
                  <a:lnTo>
                    <a:pt x="131" y="66"/>
                  </a:lnTo>
                  <a:lnTo>
                    <a:pt x="131" y="65"/>
                  </a:lnTo>
                  <a:lnTo>
                    <a:pt x="132" y="65"/>
                  </a:lnTo>
                  <a:lnTo>
                    <a:pt x="133" y="65"/>
                  </a:lnTo>
                  <a:lnTo>
                    <a:pt x="134" y="65"/>
                  </a:lnTo>
                  <a:lnTo>
                    <a:pt x="135" y="65"/>
                  </a:lnTo>
                  <a:lnTo>
                    <a:pt x="137" y="66"/>
                  </a:lnTo>
                  <a:lnTo>
                    <a:pt x="137" y="65"/>
                  </a:lnTo>
                  <a:lnTo>
                    <a:pt x="138" y="66"/>
                  </a:lnTo>
                  <a:lnTo>
                    <a:pt x="138" y="65"/>
                  </a:lnTo>
                  <a:lnTo>
                    <a:pt x="139" y="65"/>
                  </a:lnTo>
                  <a:lnTo>
                    <a:pt x="139" y="66"/>
                  </a:lnTo>
                  <a:lnTo>
                    <a:pt x="139" y="65"/>
                  </a:lnTo>
                  <a:lnTo>
                    <a:pt x="139" y="66"/>
                  </a:lnTo>
                  <a:lnTo>
                    <a:pt x="139" y="65"/>
                  </a:lnTo>
                  <a:lnTo>
                    <a:pt x="140" y="65"/>
                  </a:lnTo>
                  <a:lnTo>
                    <a:pt x="140" y="66"/>
                  </a:lnTo>
                  <a:lnTo>
                    <a:pt x="140" y="68"/>
                  </a:lnTo>
                  <a:lnTo>
                    <a:pt x="139" y="68"/>
                  </a:lnTo>
                  <a:lnTo>
                    <a:pt x="139" y="69"/>
                  </a:lnTo>
                  <a:lnTo>
                    <a:pt x="138" y="69"/>
                  </a:lnTo>
                  <a:lnTo>
                    <a:pt x="138" y="70"/>
                  </a:lnTo>
                  <a:lnTo>
                    <a:pt x="139" y="70"/>
                  </a:lnTo>
                  <a:lnTo>
                    <a:pt x="138" y="71"/>
                  </a:lnTo>
                  <a:lnTo>
                    <a:pt x="138" y="72"/>
                  </a:lnTo>
                  <a:lnTo>
                    <a:pt x="138" y="71"/>
                  </a:lnTo>
                  <a:lnTo>
                    <a:pt x="139" y="70"/>
                  </a:lnTo>
                  <a:lnTo>
                    <a:pt x="139" y="71"/>
                  </a:lnTo>
                  <a:lnTo>
                    <a:pt x="140" y="70"/>
                  </a:lnTo>
                  <a:lnTo>
                    <a:pt x="139" y="70"/>
                  </a:lnTo>
                  <a:lnTo>
                    <a:pt x="140" y="70"/>
                  </a:lnTo>
                  <a:lnTo>
                    <a:pt x="140" y="71"/>
                  </a:lnTo>
                  <a:lnTo>
                    <a:pt x="140" y="72"/>
                  </a:lnTo>
                  <a:lnTo>
                    <a:pt x="141" y="72"/>
                  </a:lnTo>
                  <a:lnTo>
                    <a:pt x="141" y="71"/>
                  </a:lnTo>
                  <a:lnTo>
                    <a:pt x="143" y="70"/>
                  </a:lnTo>
                  <a:lnTo>
                    <a:pt x="143" y="71"/>
                  </a:lnTo>
                  <a:lnTo>
                    <a:pt x="144" y="71"/>
                  </a:lnTo>
                  <a:lnTo>
                    <a:pt x="145" y="71"/>
                  </a:lnTo>
                  <a:lnTo>
                    <a:pt x="145" y="72"/>
                  </a:lnTo>
                  <a:lnTo>
                    <a:pt x="146" y="71"/>
                  </a:lnTo>
                  <a:lnTo>
                    <a:pt x="147" y="71"/>
                  </a:lnTo>
                  <a:lnTo>
                    <a:pt x="147" y="72"/>
                  </a:lnTo>
                  <a:lnTo>
                    <a:pt x="147" y="74"/>
                  </a:lnTo>
                  <a:lnTo>
                    <a:pt x="149" y="74"/>
                  </a:lnTo>
                  <a:lnTo>
                    <a:pt x="150" y="74"/>
                  </a:lnTo>
                  <a:lnTo>
                    <a:pt x="151" y="74"/>
                  </a:lnTo>
                  <a:lnTo>
                    <a:pt x="151" y="75"/>
                  </a:lnTo>
                  <a:lnTo>
                    <a:pt x="152" y="75"/>
                  </a:lnTo>
                  <a:lnTo>
                    <a:pt x="151" y="75"/>
                  </a:lnTo>
                  <a:lnTo>
                    <a:pt x="151" y="74"/>
                  </a:lnTo>
                  <a:lnTo>
                    <a:pt x="152" y="74"/>
                  </a:lnTo>
                  <a:lnTo>
                    <a:pt x="152" y="75"/>
                  </a:lnTo>
                  <a:lnTo>
                    <a:pt x="152" y="74"/>
                  </a:lnTo>
                  <a:lnTo>
                    <a:pt x="153" y="75"/>
                  </a:lnTo>
                  <a:lnTo>
                    <a:pt x="152" y="75"/>
                  </a:lnTo>
                  <a:lnTo>
                    <a:pt x="151" y="75"/>
                  </a:lnTo>
                  <a:lnTo>
                    <a:pt x="152" y="75"/>
                  </a:lnTo>
                  <a:lnTo>
                    <a:pt x="152" y="76"/>
                  </a:lnTo>
                  <a:lnTo>
                    <a:pt x="153" y="76"/>
                  </a:lnTo>
                  <a:lnTo>
                    <a:pt x="153" y="75"/>
                  </a:lnTo>
                  <a:lnTo>
                    <a:pt x="153" y="74"/>
                  </a:lnTo>
                  <a:lnTo>
                    <a:pt x="153" y="75"/>
                  </a:lnTo>
                  <a:lnTo>
                    <a:pt x="155" y="75"/>
                  </a:lnTo>
                  <a:lnTo>
                    <a:pt x="153" y="76"/>
                  </a:lnTo>
                  <a:lnTo>
                    <a:pt x="155" y="76"/>
                  </a:lnTo>
                  <a:lnTo>
                    <a:pt x="155" y="77"/>
                  </a:lnTo>
                  <a:lnTo>
                    <a:pt x="155" y="76"/>
                  </a:lnTo>
                  <a:lnTo>
                    <a:pt x="156" y="76"/>
                  </a:lnTo>
                  <a:lnTo>
                    <a:pt x="157" y="76"/>
                  </a:lnTo>
                  <a:lnTo>
                    <a:pt x="158" y="76"/>
                  </a:lnTo>
                  <a:lnTo>
                    <a:pt x="158" y="77"/>
                  </a:lnTo>
                  <a:lnTo>
                    <a:pt x="158" y="78"/>
                  </a:lnTo>
                  <a:lnTo>
                    <a:pt x="158" y="77"/>
                  </a:lnTo>
                  <a:lnTo>
                    <a:pt x="159" y="77"/>
                  </a:lnTo>
                  <a:lnTo>
                    <a:pt x="159" y="78"/>
                  </a:lnTo>
                  <a:lnTo>
                    <a:pt x="159" y="80"/>
                  </a:lnTo>
                  <a:lnTo>
                    <a:pt x="161" y="80"/>
                  </a:lnTo>
                  <a:lnTo>
                    <a:pt x="159" y="80"/>
                  </a:lnTo>
                  <a:lnTo>
                    <a:pt x="161" y="80"/>
                  </a:lnTo>
                  <a:lnTo>
                    <a:pt x="159" y="81"/>
                  </a:lnTo>
                  <a:lnTo>
                    <a:pt x="159" y="82"/>
                  </a:lnTo>
                  <a:lnTo>
                    <a:pt x="158" y="82"/>
                  </a:lnTo>
                  <a:lnTo>
                    <a:pt x="157" y="82"/>
                  </a:lnTo>
                  <a:lnTo>
                    <a:pt x="157" y="83"/>
                  </a:lnTo>
                  <a:lnTo>
                    <a:pt x="156" y="83"/>
                  </a:lnTo>
                  <a:lnTo>
                    <a:pt x="156" y="82"/>
                  </a:lnTo>
                  <a:lnTo>
                    <a:pt x="157" y="82"/>
                  </a:lnTo>
                  <a:lnTo>
                    <a:pt x="157" y="81"/>
                  </a:lnTo>
                  <a:lnTo>
                    <a:pt x="157" y="82"/>
                  </a:lnTo>
                  <a:lnTo>
                    <a:pt x="156" y="82"/>
                  </a:lnTo>
                  <a:lnTo>
                    <a:pt x="156" y="83"/>
                  </a:lnTo>
                  <a:lnTo>
                    <a:pt x="156" y="82"/>
                  </a:lnTo>
                  <a:lnTo>
                    <a:pt x="156" y="81"/>
                  </a:lnTo>
                  <a:lnTo>
                    <a:pt x="155" y="81"/>
                  </a:lnTo>
                  <a:lnTo>
                    <a:pt x="153" y="81"/>
                  </a:lnTo>
                  <a:lnTo>
                    <a:pt x="155" y="82"/>
                  </a:lnTo>
                  <a:lnTo>
                    <a:pt x="155" y="81"/>
                  </a:lnTo>
                  <a:lnTo>
                    <a:pt x="155" y="82"/>
                  </a:lnTo>
                  <a:lnTo>
                    <a:pt x="156" y="82"/>
                  </a:lnTo>
                  <a:lnTo>
                    <a:pt x="155" y="82"/>
                  </a:lnTo>
                  <a:lnTo>
                    <a:pt x="156" y="82"/>
                  </a:lnTo>
                  <a:lnTo>
                    <a:pt x="155" y="83"/>
                  </a:lnTo>
                  <a:lnTo>
                    <a:pt x="157" y="83"/>
                  </a:lnTo>
                  <a:lnTo>
                    <a:pt x="158" y="83"/>
                  </a:lnTo>
                  <a:lnTo>
                    <a:pt x="158" y="84"/>
                  </a:lnTo>
                  <a:lnTo>
                    <a:pt x="157" y="86"/>
                  </a:lnTo>
                  <a:lnTo>
                    <a:pt x="158" y="86"/>
                  </a:lnTo>
                  <a:lnTo>
                    <a:pt x="158" y="87"/>
                  </a:lnTo>
                  <a:lnTo>
                    <a:pt x="157" y="87"/>
                  </a:lnTo>
                  <a:lnTo>
                    <a:pt x="158" y="87"/>
                  </a:lnTo>
                  <a:lnTo>
                    <a:pt x="158" y="86"/>
                  </a:lnTo>
                  <a:lnTo>
                    <a:pt x="159" y="86"/>
                  </a:lnTo>
                  <a:lnTo>
                    <a:pt x="159" y="84"/>
                  </a:lnTo>
                  <a:lnTo>
                    <a:pt x="158" y="84"/>
                  </a:lnTo>
                  <a:lnTo>
                    <a:pt x="158" y="83"/>
                  </a:lnTo>
                  <a:lnTo>
                    <a:pt x="159" y="83"/>
                  </a:lnTo>
                  <a:lnTo>
                    <a:pt x="159" y="84"/>
                  </a:lnTo>
                  <a:lnTo>
                    <a:pt x="159" y="83"/>
                  </a:lnTo>
                  <a:lnTo>
                    <a:pt x="161" y="83"/>
                  </a:lnTo>
                  <a:lnTo>
                    <a:pt x="161" y="84"/>
                  </a:lnTo>
                  <a:lnTo>
                    <a:pt x="162" y="84"/>
                  </a:lnTo>
                  <a:lnTo>
                    <a:pt x="163" y="84"/>
                  </a:lnTo>
                  <a:lnTo>
                    <a:pt x="163" y="86"/>
                  </a:lnTo>
                  <a:lnTo>
                    <a:pt x="163" y="87"/>
                  </a:lnTo>
                  <a:lnTo>
                    <a:pt x="164" y="87"/>
                  </a:lnTo>
                  <a:lnTo>
                    <a:pt x="164" y="88"/>
                  </a:lnTo>
                  <a:lnTo>
                    <a:pt x="163" y="87"/>
                  </a:lnTo>
                  <a:lnTo>
                    <a:pt x="163" y="88"/>
                  </a:lnTo>
                  <a:lnTo>
                    <a:pt x="163" y="89"/>
                  </a:lnTo>
                  <a:lnTo>
                    <a:pt x="164" y="89"/>
                  </a:lnTo>
                  <a:lnTo>
                    <a:pt x="165" y="89"/>
                  </a:lnTo>
                  <a:lnTo>
                    <a:pt x="165" y="90"/>
                  </a:lnTo>
                  <a:lnTo>
                    <a:pt x="165" y="89"/>
                  </a:lnTo>
                  <a:lnTo>
                    <a:pt x="165" y="88"/>
                  </a:lnTo>
                  <a:lnTo>
                    <a:pt x="164" y="88"/>
                  </a:lnTo>
                  <a:lnTo>
                    <a:pt x="165" y="88"/>
                  </a:lnTo>
                  <a:lnTo>
                    <a:pt x="165" y="87"/>
                  </a:lnTo>
                  <a:lnTo>
                    <a:pt x="164" y="87"/>
                  </a:lnTo>
                  <a:lnTo>
                    <a:pt x="164" y="86"/>
                  </a:lnTo>
                  <a:lnTo>
                    <a:pt x="163" y="86"/>
                  </a:lnTo>
                  <a:lnTo>
                    <a:pt x="163" y="84"/>
                  </a:lnTo>
                  <a:lnTo>
                    <a:pt x="164" y="84"/>
                  </a:lnTo>
                  <a:lnTo>
                    <a:pt x="164" y="83"/>
                  </a:lnTo>
                  <a:lnTo>
                    <a:pt x="163" y="83"/>
                  </a:lnTo>
                  <a:lnTo>
                    <a:pt x="163" y="82"/>
                  </a:lnTo>
                  <a:lnTo>
                    <a:pt x="163" y="81"/>
                  </a:lnTo>
                  <a:lnTo>
                    <a:pt x="163" y="80"/>
                  </a:lnTo>
                  <a:lnTo>
                    <a:pt x="162" y="80"/>
                  </a:lnTo>
                  <a:lnTo>
                    <a:pt x="162" y="78"/>
                  </a:lnTo>
                  <a:lnTo>
                    <a:pt x="162" y="77"/>
                  </a:lnTo>
                  <a:lnTo>
                    <a:pt x="162" y="76"/>
                  </a:lnTo>
                  <a:lnTo>
                    <a:pt x="162" y="75"/>
                  </a:lnTo>
                  <a:lnTo>
                    <a:pt x="161" y="75"/>
                  </a:lnTo>
                  <a:lnTo>
                    <a:pt x="162" y="75"/>
                  </a:lnTo>
                  <a:lnTo>
                    <a:pt x="161" y="75"/>
                  </a:lnTo>
                  <a:lnTo>
                    <a:pt x="161" y="74"/>
                  </a:lnTo>
                  <a:lnTo>
                    <a:pt x="161" y="75"/>
                  </a:lnTo>
                  <a:lnTo>
                    <a:pt x="159" y="75"/>
                  </a:lnTo>
                  <a:lnTo>
                    <a:pt x="159" y="74"/>
                  </a:lnTo>
                  <a:lnTo>
                    <a:pt x="159" y="72"/>
                  </a:lnTo>
                  <a:lnTo>
                    <a:pt x="161" y="72"/>
                  </a:lnTo>
                  <a:lnTo>
                    <a:pt x="159" y="72"/>
                  </a:lnTo>
                  <a:lnTo>
                    <a:pt x="159" y="71"/>
                  </a:lnTo>
                  <a:lnTo>
                    <a:pt x="159" y="72"/>
                  </a:lnTo>
                  <a:lnTo>
                    <a:pt x="158" y="71"/>
                  </a:lnTo>
                  <a:lnTo>
                    <a:pt x="157" y="72"/>
                  </a:lnTo>
                  <a:lnTo>
                    <a:pt x="156" y="72"/>
                  </a:lnTo>
                  <a:lnTo>
                    <a:pt x="156" y="71"/>
                  </a:lnTo>
                  <a:lnTo>
                    <a:pt x="155" y="71"/>
                  </a:lnTo>
                  <a:lnTo>
                    <a:pt x="155" y="70"/>
                  </a:lnTo>
                  <a:lnTo>
                    <a:pt x="156" y="70"/>
                  </a:lnTo>
                  <a:lnTo>
                    <a:pt x="156" y="69"/>
                  </a:lnTo>
                  <a:lnTo>
                    <a:pt x="157" y="69"/>
                  </a:lnTo>
                  <a:lnTo>
                    <a:pt x="158" y="69"/>
                  </a:lnTo>
                  <a:lnTo>
                    <a:pt x="157" y="69"/>
                  </a:lnTo>
                  <a:lnTo>
                    <a:pt x="157" y="68"/>
                  </a:lnTo>
                  <a:lnTo>
                    <a:pt x="156" y="68"/>
                  </a:lnTo>
                  <a:lnTo>
                    <a:pt x="156" y="69"/>
                  </a:lnTo>
                  <a:lnTo>
                    <a:pt x="155" y="69"/>
                  </a:lnTo>
                  <a:lnTo>
                    <a:pt x="153" y="69"/>
                  </a:lnTo>
                  <a:lnTo>
                    <a:pt x="152" y="69"/>
                  </a:lnTo>
                  <a:lnTo>
                    <a:pt x="152" y="68"/>
                  </a:lnTo>
                  <a:lnTo>
                    <a:pt x="152" y="69"/>
                  </a:lnTo>
                  <a:lnTo>
                    <a:pt x="151" y="69"/>
                  </a:lnTo>
                  <a:lnTo>
                    <a:pt x="150" y="69"/>
                  </a:lnTo>
                  <a:lnTo>
                    <a:pt x="150" y="68"/>
                  </a:lnTo>
                  <a:lnTo>
                    <a:pt x="149" y="68"/>
                  </a:lnTo>
                  <a:lnTo>
                    <a:pt x="147" y="68"/>
                  </a:lnTo>
                  <a:lnTo>
                    <a:pt x="146" y="68"/>
                  </a:lnTo>
                  <a:lnTo>
                    <a:pt x="147" y="68"/>
                  </a:lnTo>
                  <a:lnTo>
                    <a:pt x="147" y="66"/>
                  </a:lnTo>
                  <a:lnTo>
                    <a:pt x="147" y="65"/>
                  </a:lnTo>
                  <a:lnTo>
                    <a:pt x="149" y="65"/>
                  </a:lnTo>
                  <a:lnTo>
                    <a:pt x="149" y="66"/>
                  </a:lnTo>
                  <a:lnTo>
                    <a:pt x="150" y="66"/>
                  </a:lnTo>
                  <a:lnTo>
                    <a:pt x="150" y="65"/>
                  </a:lnTo>
                  <a:lnTo>
                    <a:pt x="149" y="65"/>
                  </a:lnTo>
                  <a:lnTo>
                    <a:pt x="147" y="65"/>
                  </a:lnTo>
                  <a:lnTo>
                    <a:pt x="146" y="65"/>
                  </a:lnTo>
                  <a:lnTo>
                    <a:pt x="146" y="66"/>
                  </a:lnTo>
                  <a:lnTo>
                    <a:pt x="145" y="66"/>
                  </a:lnTo>
                  <a:lnTo>
                    <a:pt x="146" y="65"/>
                  </a:lnTo>
                  <a:lnTo>
                    <a:pt x="147" y="65"/>
                  </a:lnTo>
                  <a:lnTo>
                    <a:pt x="146" y="65"/>
                  </a:lnTo>
                  <a:lnTo>
                    <a:pt x="146" y="64"/>
                  </a:lnTo>
                  <a:lnTo>
                    <a:pt x="146" y="63"/>
                  </a:lnTo>
                  <a:lnTo>
                    <a:pt x="146" y="62"/>
                  </a:lnTo>
                  <a:lnTo>
                    <a:pt x="145" y="62"/>
                  </a:lnTo>
                  <a:lnTo>
                    <a:pt x="144" y="62"/>
                  </a:lnTo>
                  <a:lnTo>
                    <a:pt x="144" y="63"/>
                  </a:lnTo>
                  <a:lnTo>
                    <a:pt x="145" y="63"/>
                  </a:lnTo>
                  <a:lnTo>
                    <a:pt x="144" y="63"/>
                  </a:lnTo>
                  <a:lnTo>
                    <a:pt x="145" y="63"/>
                  </a:lnTo>
                  <a:lnTo>
                    <a:pt x="145" y="64"/>
                  </a:lnTo>
                  <a:lnTo>
                    <a:pt x="144" y="64"/>
                  </a:lnTo>
                  <a:lnTo>
                    <a:pt x="143" y="64"/>
                  </a:lnTo>
                  <a:lnTo>
                    <a:pt x="143" y="65"/>
                  </a:lnTo>
                  <a:lnTo>
                    <a:pt x="141" y="65"/>
                  </a:lnTo>
                  <a:lnTo>
                    <a:pt x="141" y="66"/>
                  </a:lnTo>
                  <a:lnTo>
                    <a:pt x="141" y="65"/>
                  </a:lnTo>
                  <a:lnTo>
                    <a:pt x="140" y="65"/>
                  </a:lnTo>
                  <a:lnTo>
                    <a:pt x="141" y="65"/>
                  </a:lnTo>
                  <a:lnTo>
                    <a:pt x="141" y="64"/>
                  </a:lnTo>
                  <a:lnTo>
                    <a:pt x="140" y="64"/>
                  </a:lnTo>
                  <a:lnTo>
                    <a:pt x="140" y="63"/>
                  </a:lnTo>
                  <a:lnTo>
                    <a:pt x="141" y="63"/>
                  </a:lnTo>
                  <a:lnTo>
                    <a:pt x="141" y="64"/>
                  </a:lnTo>
                  <a:lnTo>
                    <a:pt x="143" y="64"/>
                  </a:lnTo>
                  <a:lnTo>
                    <a:pt x="141" y="64"/>
                  </a:lnTo>
                  <a:lnTo>
                    <a:pt x="141" y="63"/>
                  </a:lnTo>
                  <a:lnTo>
                    <a:pt x="141" y="62"/>
                  </a:lnTo>
                  <a:lnTo>
                    <a:pt x="140" y="62"/>
                  </a:lnTo>
                  <a:lnTo>
                    <a:pt x="140" y="60"/>
                  </a:lnTo>
                  <a:lnTo>
                    <a:pt x="140" y="62"/>
                  </a:lnTo>
                  <a:lnTo>
                    <a:pt x="139" y="62"/>
                  </a:lnTo>
                  <a:lnTo>
                    <a:pt x="138" y="62"/>
                  </a:lnTo>
                  <a:lnTo>
                    <a:pt x="138" y="60"/>
                  </a:lnTo>
                  <a:lnTo>
                    <a:pt x="137" y="60"/>
                  </a:lnTo>
                  <a:lnTo>
                    <a:pt x="137" y="62"/>
                  </a:lnTo>
                  <a:lnTo>
                    <a:pt x="135" y="62"/>
                  </a:lnTo>
                  <a:lnTo>
                    <a:pt x="137" y="60"/>
                  </a:lnTo>
                  <a:lnTo>
                    <a:pt x="135" y="62"/>
                  </a:lnTo>
                  <a:lnTo>
                    <a:pt x="137" y="62"/>
                  </a:lnTo>
                  <a:lnTo>
                    <a:pt x="135" y="62"/>
                  </a:lnTo>
                  <a:lnTo>
                    <a:pt x="135" y="63"/>
                  </a:lnTo>
                  <a:lnTo>
                    <a:pt x="135" y="64"/>
                  </a:lnTo>
                  <a:lnTo>
                    <a:pt x="135" y="63"/>
                  </a:lnTo>
                  <a:lnTo>
                    <a:pt x="134" y="64"/>
                  </a:lnTo>
                  <a:lnTo>
                    <a:pt x="133" y="64"/>
                  </a:lnTo>
                  <a:lnTo>
                    <a:pt x="133" y="63"/>
                  </a:lnTo>
                  <a:lnTo>
                    <a:pt x="134" y="62"/>
                  </a:lnTo>
                  <a:lnTo>
                    <a:pt x="133" y="62"/>
                  </a:lnTo>
                  <a:lnTo>
                    <a:pt x="133" y="63"/>
                  </a:lnTo>
                  <a:lnTo>
                    <a:pt x="133" y="62"/>
                  </a:lnTo>
                  <a:lnTo>
                    <a:pt x="134" y="60"/>
                  </a:lnTo>
                  <a:lnTo>
                    <a:pt x="133" y="60"/>
                  </a:lnTo>
                  <a:lnTo>
                    <a:pt x="134" y="60"/>
                  </a:lnTo>
                  <a:lnTo>
                    <a:pt x="134" y="59"/>
                  </a:lnTo>
                  <a:lnTo>
                    <a:pt x="134" y="58"/>
                  </a:lnTo>
                  <a:lnTo>
                    <a:pt x="133" y="58"/>
                  </a:lnTo>
                  <a:lnTo>
                    <a:pt x="133" y="59"/>
                  </a:lnTo>
                  <a:lnTo>
                    <a:pt x="132" y="59"/>
                  </a:lnTo>
                  <a:lnTo>
                    <a:pt x="132" y="58"/>
                  </a:lnTo>
                  <a:lnTo>
                    <a:pt x="131" y="58"/>
                  </a:lnTo>
                  <a:lnTo>
                    <a:pt x="129" y="58"/>
                  </a:lnTo>
                  <a:lnTo>
                    <a:pt x="128" y="58"/>
                  </a:lnTo>
                  <a:lnTo>
                    <a:pt x="128" y="59"/>
                  </a:lnTo>
                  <a:lnTo>
                    <a:pt x="127" y="58"/>
                  </a:lnTo>
                  <a:lnTo>
                    <a:pt x="128" y="58"/>
                  </a:lnTo>
                  <a:lnTo>
                    <a:pt x="127" y="58"/>
                  </a:lnTo>
                  <a:lnTo>
                    <a:pt x="126" y="58"/>
                  </a:lnTo>
                  <a:lnTo>
                    <a:pt x="124" y="58"/>
                  </a:lnTo>
                  <a:lnTo>
                    <a:pt x="124" y="59"/>
                  </a:lnTo>
                  <a:lnTo>
                    <a:pt x="126" y="59"/>
                  </a:lnTo>
                  <a:lnTo>
                    <a:pt x="124" y="59"/>
                  </a:lnTo>
                  <a:lnTo>
                    <a:pt x="124" y="60"/>
                  </a:lnTo>
                  <a:lnTo>
                    <a:pt x="123" y="60"/>
                  </a:lnTo>
                  <a:lnTo>
                    <a:pt x="123" y="59"/>
                  </a:lnTo>
                  <a:lnTo>
                    <a:pt x="124" y="59"/>
                  </a:lnTo>
                  <a:lnTo>
                    <a:pt x="123" y="59"/>
                  </a:lnTo>
                  <a:lnTo>
                    <a:pt x="124" y="58"/>
                  </a:lnTo>
                  <a:lnTo>
                    <a:pt x="124" y="57"/>
                  </a:lnTo>
                  <a:lnTo>
                    <a:pt x="123" y="57"/>
                  </a:lnTo>
                  <a:lnTo>
                    <a:pt x="123" y="58"/>
                  </a:lnTo>
                  <a:lnTo>
                    <a:pt x="123" y="57"/>
                  </a:lnTo>
                  <a:lnTo>
                    <a:pt x="122" y="57"/>
                  </a:lnTo>
                  <a:lnTo>
                    <a:pt x="122" y="56"/>
                  </a:lnTo>
                  <a:lnTo>
                    <a:pt x="121" y="56"/>
                  </a:lnTo>
                  <a:lnTo>
                    <a:pt x="120" y="54"/>
                  </a:lnTo>
                  <a:lnTo>
                    <a:pt x="118" y="54"/>
                  </a:lnTo>
                  <a:lnTo>
                    <a:pt x="118" y="53"/>
                  </a:lnTo>
                  <a:lnTo>
                    <a:pt x="117" y="53"/>
                  </a:lnTo>
                  <a:lnTo>
                    <a:pt x="118" y="53"/>
                  </a:lnTo>
                  <a:lnTo>
                    <a:pt x="117" y="53"/>
                  </a:lnTo>
                  <a:lnTo>
                    <a:pt x="116" y="52"/>
                  </a:lnTo>
                  <a:lnTo>
                    <a:pt x="115" y="51"/>
                  </a:lnTo>
                  <a:lnTo>
                    <a:pt x="114" y="51"/>
                  </a:lnTo>
                  <a:lnTo>
                    <a:pt x="115" y="50"/>
                  </a:lnTo>
                  <a:lnTo>
                    <a:pt x="115" y="48"/>
                  </a:lnTo>
                  <a:lnTo>
                    <a:pt x="114" y="48"/>
                  </a:lnTo>
                  <a:lnTo>
                    <a:pt x="114" y="47"/>
                  </a:lnTo>
                  <a:lnTo>
                    <a:pt x="114" y="48"/>
                  </a:lnTo>
                  <a:lnTo>
                    <a:pt x="114" y="47"/>
                  </a:lnTo>
                  <a:lnTo>
                    <a:pt x="112" y="47"/>
                  </a:lnTo>
                  <a:lnTo>
                    <a:pt x="112" y="48"/>
                  </a:lnTo>
                  <a:lnTo>
                    <a:pt x="112" y="47"/>
                  </a:lnTo>
                  <a:lnTo>
                    <a:pt x="111" y="47"/>
                  </a:lnTo>
                  <a:lnTo>
                    <a:pt x="111" y="46"/>
                  </a:lnTo>
                  <a:lnTo>
                    <a:pt x="110" y="46"/>
                  </a:lnTo>
                  <a:lnTo>
                    <a:pt x="111" y="46"/>
                  </a:lnTo>
                  <a:lnTo>
                    <a:pt x="111" y="45"/>
                  </a:lnTo>
                  <a:lnTo>
                    <a:pt x="112" y="45"/>
                  </a:lnTo>
                  <a:lnTo>
                    <a:pt x="112" y="44"/>
                  </a:lnTo>
                  <a:lnTo>
                    <a:pt x="114" y="44"/>
                  </a:lnTo>
                  <a:lnTo>
                    <a:pt x="115" y="44"/>
                  </a:lnTo>
                  <a:lnTo>
                    <a:pt x="116" y="45"/>
                  </a:lnTo>
                  <a:lnTo>
                    <a:pt x="116" y="44"/>
                  </a:lnTo>
                  <a:lnTo>
                    <a:pt x="115" y="44"/>
                  </a:lnTo>
                  <a:lnTo>
                    <a:pt x="114" y="42"/>
                  </a:lnTo>
                  <a:lnTo>
                    <a:pt x="114" y="44"/>
                  </a:lnTo>
                  <a:lnTo>
                    <a:pt x="114" y="42"/>
                  </a:lnTo>
                  <a:lnTo>
                    <a:pt x="112" y="42"/>
                  </a:lnTo>
                  <a:lnTo>
                    <a:pt x="112" y="41"/>
                  </a:lnTo>
                  <a:lnTo>
                    <a:pt x="112" y="40"/>
                  </a:lnTo>
                  <a:lnTo>
                    <a:pt x="111" y="40"/>
                  </a:lnTo>
                  <a:lnTo>
                    <a:pt x="111" y="39"/>
                  </a:lnTo>
                  <a:lnTo>
                    <a:pt x="111" y="37"/>
                  </a:lnTo>
                  <a:lnTo>
                    <a:pt x="112" y="37"/>
                  </a:lnTo>
                  <a:lnTo>
                    <a:pt x="112" y="39"/>
                  </a:lnTo>
                  <a:lnTo>
                    <a:pt x="114" y="39"/>
                  </a:lnTo>
                  <a:lnTo>
                    <a:pt x="115" y="39"/>
                  </a:lnTo>
                  <a:lnTo>
                    <a:pt x="116" y="39"/>
                  </a:lnTo>
                  <a:lnTo>
                    <a:pt x="117" y="39"/>
                  </a:lnTo>
                  <a:lnTo>
                    <a:pt x="117" y="37"/>
                  </a:lnTo>
                  <a:lnTo>
                    <a:pt x="116" y="37"/>
                  </a:lnTo>
                  <a:lnTo>
                    <a:pt x="115" y="37"/>
                  </a:lnTo>
                  <a:lnTo>
                    <a:pt x="115" y="36"/>
                  </a:lnTo>
                  <a:lnTo>
                    <a:pt x="115" y="37"/>
                  </a:lnTo>
                  <a:lnTo>
                    <a:pt x="115" y="36"/>
                  </a:lnTo>
                  <a:lnTo>
                    <a:pt x="114" y="36"/>
                  </a:lnTo>
                  <a:lnTo>
                    <a:pt x="114" y="35"/>
                  </a:lnTo>
                  <a:lnTo>
                    <a:pt x="114" y="34"/>
                  </a:lnTo>
                  <a:lnTo>
                    <a:pt x="112" y="34"/>
                  </a:lnTo>
                  <a:lnTo>
                    <a:pt x="112" y="33"/>
                  </a:lnTo>
                  <a:lnTo>
                    <a:pt x="114" y="33"/>
                  </a:lnTo>
                  <a:lnTo>
                    <a:pt x="115" y="33"/>
                  </a:lnTo>
                  <a:lnTo>
                    <a:pt x="115" y="34"/>
                  </a:lnTo>
                  <a:lnTo>
                    <a:pt x="116" y="34"/>
                  </a:lnTo>
                  <a:lnTo>
                    <a:pt x="116" y="33"/>
                  </a:lnTo>
                  <a:lnTo>
                    <a:pt x="115" y="33"/>
                  </a:lnTo>
                  <a:lnTo>
                    <a:pt x="116" y="33"/>
                  </a:lnTo>
                  <a:lnTo>
                    <a:pt x="116" y="31"/>
                  </a:lnTo>
                  <a:lnTo>
                    <a:pt x="115" y="31"/>
                  </a:lnTo>
                  <a:lnTo>
                    <a:pt x="115" y="30"/>
                  </a:lnTo>
                  <a:lnTo>
                    <a:pt x="115" y="29"/>
                  </a:lnTo>
                  <a:lnTo>
                    <a:pt x="116" y="29"/>
                  </a:lnTo>
                  <a:lnTo>
                    <a:pt x="116" y="28"/>
                  </a:lnTo>
                  <a:lnTo>
                    <a:pt x="115" y="28"/>
                  </a:lnTo>
                  <a:lnTo>
                    <a:pt x="115" y="27"/>
                  </a:lnTo>
                  <a:lnTo>
                    <a:pt x="116" y="27"/>
                  </a:lnTo>
                  <a:lnTo>
                    <a:pt x="117" y="27"/>
                  </a:lnTo>
                  <a:lnTo>
                    <a:pt x="117" y="28"/>
                  </a:lnTo>
                  <a:lnTo>
                    <a:pt x="117" y="29"/>
                  </a:lnTo>
                  <a:lnTo>
                    <a:pt x="117" y="30"/>
                  </a:lnTo>
                  <a:lnTo>
                    <a:pt x="117" y="29"/>
                  </a:lnTo>
                  <a:lnTo>
                    <a:pt x="118" y="29"/>
                  </a:lnTo>
                  <a:lnTo>
                    <a:pt x="118" y="28"/>
                  </a:lnTo>
                  <a:lnTo>
                    <a:pt x="118" y="27"/>
                  </a:lnTo>
                  <a:lnTo>
                    <a:pt x="117" y="27"/>
                  </a:lnTo>
                  <a:lnTo>
                    <a:pt x="117" y="25"/>
                  </a:lnTo>
                  <a:lnTo>
                    <a:pt x="118" y="25"/>
                  </a:lnTo>
                  <a:lnTo>
                    <a:pt x="118" y="24"/>
                  </a:lnTo>
                  <a:lnTo>
                    <a:pt x="118" y="25"/>
                  </a:lnTo>
                  <a:lnTo>
                    <a:pt x="120" y="25"/>
                  </a:lnTo>
                  <a:lnTo>
                    <a:pt x="121" y="25"/>
                  </a:lnTo>
                  <a:lnTo>
                    <a:pt x="120" y="25"/>
                  </a:lnTo>
                  <a:lnTo>
                    <a:pt x="120" y="24"/>
                  </a:lnTo>
                  <a:lnTo>
                    <a:pt x="120" y="23"/>
                  </a:lnTo>
                  <a:lnTo>
                    <a:pt x="121" y="23"/>
                  </a:lnTo>
                  <a:lnTo>
                    <a:pt x="120" y="22"/>
                  </a:lnTo>
                  <a:lnTo>
                    <a:pt x="121" y="22"/>
                  </a:lnTo>
                  <a:lnTo>
                    <a:pt x="120" y="22"/>
                  </a:lnTo>
                  <a:lnTo>
                    <a:pt x="118" y="21"/>
                  </a:lnTo>
                  <a:lnTo>
                    <a:pt x="118" y="19"/>
                  </a:lnTo>
                  <a:lnTo>
                    <a:pt x="120" y="19"/>
                  </a:lnTo>
                  <a:lnTo>
                    <a:pt x="120" y="18"/>
                  </a:lnTo>
                  <a:lnTo>
                    <a:pt x="120" y="17"/>
                  </a:lnTo>
                  <a:lnTo>
                    <a:pt x="118" y="17"/>
                  </a:lnTo>
                  <a:lnTo>
                    <a:pt x="120" y="17"/>
                  </a:lnTo>
                  <a:lnTo>
                    <a:pt x="120" y="16"/>
                  </a:lnTo>
                  <a:lnTo>
                    <a:pt x="120" y="17"/>
                  </a:lnTo>
                  <a:lnTo>
                    <a:pt x="120" y="16"/>
                  </a:lnTo>
                  <a:lnTo>
                    <a:pt x="121" y="16"/>
                  </a:lnTo>
                  <a:lnTo>
                    <a:pt x="121" y="17"/>
                  </a:lnTo>
                  <a:lnTo>
                    <a:pt x="121" y="18"/>
                  </a:lnTo>
                  <a:lnTo>
                    <a:pt x="122" y="18"/>
                  </a:lnTo>
                  <a:lnTo>
                    <a:pt x="123" y="18"/>
                  </a:lnTo>
                  <a:lnTo>
                    <a:pt x="123" y="19"/>
                  </a:lnTo>
                  <a:lnTo>
                    <a:pt x="123" y="21"/>
                  </a:lnTo>
                  <a:lnTo>
                    <a:pt x="124" y="21"/>
                  </a:lnTo>
                  <a:lnTo>
                    <a:pt x="126" y="21"/>
                  </a:lnTo>
                  <a:lnTo>
                    <a:pt x="126" y="19"/>
                  </a:lnTo>
                  <a:lnTo>
                    <a:pt x="126" y="21"/>
                  </a:lnTo>
                  <a:lnTo>
                    <a:pt x="126" y="19"/>
                  </a:lnTo>
                  <a:lnTo>
                    <a:pt x="124" y="19"/>
                  </a:lnTo>
                  <a:lnTo>
                    <a:pt x="126" y="19"/>
                  </a:lnTo>
                  <a:lnTo>
                    <a:pt x="124" y="19"/>
                  </a:lnTo>
                  <a:lnTo>
                    <a:pt x="124" y="18"/>
                  </a:lnTo>
                  <a:lnTo>
                    <a:pt x="124" y="17"/>
                  </a:lnTo>
                  <a:lnTo>
                    <a:pt x="124" y="16"/>
                  </a:lnTo>
                  <a:lnTo>
                    <a:pt x="124" y="15"/>
                  </a:lnTo>
                  <a:lnTo>
                    <a:pt x="123" y="15"/>
                  </a:lnTo>
                  <a:lnTo>
                    <a:pt x="123" y="13"/>
                  </a:lnTo>
                  <a:lnTo>
                    <a:pt x="123" y="12"/>
                  </a:lnTo>
                  <a:lnTo>
                    <a:pt x="123" y="11"/>
                  </a:lnTo>
                  <a:lnTo>
                    <a:pt x="124" y="11"/>
                  </a:lnTo>
                  <a:lnTo>
                    <a:pt x="123" y="11"/>
                  </a:lnTo>
                  <a:lnTo>
                    <a:pt x="124" y="11"/>
                  </a:lnTo>
                  <a:lnTo>
                    <a:pt x="124" y="10"/>
                  </a:lnTo>
                  <a:lnTo>
                    <a:pt x="124" y="9"/>
                  </a:lnTo>
                  <a:lnTo>
                    <a:pt x="124" y="7"/>
                  </a:lnTo>
                  <a:lnTo>
                    <a:pt x="124" y="9"/>
                  </a:lnTo>
                  <a:lnTo>
                    <a:pt x="126" y="9"/>
                  </a:lnTo>
                  <a:lnTo>
                    <a:pt x="126" y="10"/>
                  </a:lnTo>
                  <a:lnTo>
                    <a:pt x="127" y="10"/>
                  </a:lnTo>
                  <a:lnTo>
                    <a:pt x="127" y="11"/>
                  </a:lnTo>
                  <a:lnTo>
                    <a:pt x="127" y="12"/>
                  </a:lnTo>
                  <a:lnTo>
                    <a:pt x="127" y="11"/>
                  </a:lnTo>
                  <a:lnTo>
                    <a:pt x="128" y="11"/>
                  </a:lnTo>
                  <a:lnTo>
                    <a:pt x="129" y="11"/>
                  </a:lnTo>
                  <a:lnTo>
                    <a:pt x="129" y="12"/>
                  </a:lnTo>
                  <a:lnTo>
                    <a:pt x="129" y="11"/>
                  </a:lnTo>
                  <a:lnTo>
                    <a:pt x="131" y="11"/>
                  </a:lnTo>
                  <a:lnTo>
                    <a:pt x="131" y="10"/>
                  </a:lnTo>
                  <a:lnTo>
                    <a:pt x="132" y="10"/>
                  </a:lnTo>
                  <a:lnTo>
                    <a:pt x="132" y="11"/>
                  </a:lnTo>
                  <a:lnTo>
                    <a:pt x="132" y="12"/>
                  </a:lnTo>
                  <a:lnTo>
                    <a:pt x="132" y="13"/>
                  </a:lnTo>
                  <a:lnTo>
                    <a:pt x="133" y="13"/>
                  </a:lnTo>
                  <a:lnTo>
                    <a:pt x="132" y="15"/>
                  </a:lnTo>
                  <a:lnTo>
                    <a:pt x="131" y="16"/>
                  </a:lnTo>
                  <a:lnTo>
                    <a:pt x="131" y="17"/>
                  </a:lnTo>
                  <a:lnTo>
                    <a:pt x="131" y="18"/>
                  </a:lnTo>
                  <a:lnTo>
                    <a:pt x="132" y="18"/>
                  </a:lnTo>
                  <a:lnTo>
                    <a:pt x="133" y="18"/>
                  </a:lnTo>
                  <a:lnTo>
                    <a:pt x="133" y="19"/>
                  </a:lnTo>
                  <a:lnTo>
                    <a:pt x="134" y="19"/>
                  </a:lnTo>
                  <a:lnTo>
                    <a:pt x="133" y="19"/>
                  </a:lnTo>
                  <a:lnTo>
                    <a:pt x="134" y="19"/>
                  </a:lnTo>
                  <a:lnTo>
                    <a:pt x="134" y="18"/>
                  </a:lnTo>
                  <a:lnTo>
                    <a:pt x="134" y="17"/>
                  </a:lnTo>
                  <a:lnTo>
                    <a:pt x="134" y="16"/>
                  </a:lnTo>
                  <a:lnTo>
                    <a:pt x="135" y="16"/>
                  </a:lnTo>
                  <a:lnTo>
                    <a:pt x="135" y="15"/>
                  </a:lnTo>
                  <a:lnTo>
                    <a:pt x="135" y="13"/>
                  </a:lnTo>
                  <a:lnTo>
                    <a:pt x="135" y="12"/>
                  </a:lnTo>
                  <a:lnTo>
                    <a:pt x="137" y="12"/>
                  </a:lnTo>
                  <a:lnTo>
                    <a:pt x="138" y="12"/>
                  </a:lnTo>
                  <a:lnTo>
                    <a:pt x="138" y="13"/>
                  </a:lnTo>
                  <a:lnTo>
                    <a:pt x="138" y="15"/>
                  </a:lnTo>
                  <a:lnTo>
                    <a:pt x="139" y="15"/>
                  </a:lnTo>
                  <a:lnTo>
                    <a:pt x="139" y="16"/>
                  </a:lnTo>
                  <a:lnTo>
                    <a:pt x="140" y="17"/>
                  </a:lnTo>
                  <a:lnTo>
                    <a:pt x="140" y="16"/>
                  </a:lnTo>
                  <a:lnTo>
                    <a:pt x="141" y="16"/>
                  </a:lnTo>
                  <a:lnTo>
                    <a:pt x="141" y="17"/>
                  </a:lnTo>
                  <a:lnTo>
                    <a:pt x="143" y="17"/>
                  </a:lnTo>
                  <a:lnTo>
                    <a:pt x="141" y="16"/>
                  </a:lnTo>
                  <a:lnTo>
                    <a:pt x="141" y="15"/>
                  </a:lnTo>
                  <a:lnTo>
                    <a:pt x="143" y="15"/>
                  </a:lnTo>
                  <a:lnTo>
                    <a:pt x="143" y="13"/>
                  </a:lnTo>
                  <a:lnTo>
                    <a:pt x="143" y="12"/>
                  </a:lnTo>
                  <a:lnTo>
                    <a:pt x="143" y="11"/>
                  </a:lnTo>
                  <a:lnTo>
                    <a:pt x="143" y="12"/>
                  </a:lnTo>
                  <a:lnTo>
                    <a:pt x="144" y="11"/>
                  </a:lnTo>
                  <a:lnTo>
                    <a:pt x="143" y="11"/>
                  </a:lnTo>
                  <a:lnTo>
                    <a:pt x="141" y="10"/>
                  </a:lnTo>
                  <a:lnTo>
                    <a:pt x="141" y="11"/>
                  </a:lnTo>
                  <a:lnTo>
                    <a:pt x="141" y="10"/>
                  </a:lnTo>
                  <a:lnTo>
                    <a:pt x="141" y="9"/>
                  </a:lnTo>
                  <a:lnTo>
                    <a:pt x="140" y="9"/>
                  </a:lnTo>
                  <a:lnTo>
                    <a:pt x="140" y="7"/>
                  </a:lnTo>
                  <a:lnTo>
                    <a:pt x="139" y="7"/>
                  </a:lnTo>
                  <a:lnTo>
                    <a:pt x="140" y="6"/>
                  </a:lnTo>
                  <a:lnTo>
                    <a:pt x="141" y="6"/>
                  </a:lnTo>
                  <a:lnTo>
                    <a:pt x="141" y="7"/>
                  </a:lnTo>
                  <a:lnTo>
                    <a:pt x="141" y="6"/>
                  </a:lnTo>
                  <a:lnTo>
                    <a:pt x="141" y="5"/>
                  </a:lnTo>
                  <a:lnTo>
                    <a:pt x="143" y="4"/>
                  </a:lnTo>
                  <a:lnTo>
                    <a:pt x="144" y="4"/>
                  </a:lnTo>
                  <a:lnTo>
                    <a:pt x="144" y="5"/>
                  </a:lnTo>
                  <a:lnTo>
                    <a:pt x="145" y="5"/>
                  </a:lnTo>
                  <a:lnTo>
                    <a:pt x="145" y="6"/>
                  </a:lnTo>
                  <a:lnTo>
                    <a:pt x="145" y="7"/>
                  </a:lnTo>
                  <a:lnTo>
                    <a:pt x="145" y="9"/>
                  </a:lnTo>
                  <a:lnTo>
                    <a:pt x="144" y="9"/>
                  </a:lnTo>
                  <a:lnTo>
                    <a:pt x="144" y="10"/>
                  </a:lnTo>
                  <a:lnTo>
                    <a:pt x="145" y="10"/>
                  </a:lnTo>
                  <a:lnTo>
                    <a:pt x="146" y="10"/>
                  </a:lnTo>
                  <a:lnTo>
                    <a:pt x="146" y="9"/>
                  </a:lnTo>
                  <a:lnTo>
                    <a:pt x="147" y="9"/>
                  </a:lnTo>
                  <a:lnTo>
                    <a:pt x="147" y="10"/>
                  </a:lnTo>
                  <a:lnTo>
                    <a:pt x="147" y="11"/>
                  </a:lnTo>
                  <a:lnTo>
                    <a:pt x="149" y="11"/>
                  </a:lnTo>
                  <a:lnTo>
                    <a:pt x="149" y="12"/>
                  </a:lnTo>
                  <a:lnTo>
                    <a:pt x="149" y="11"/>
                  </a:lnTo>
                  <a:lnTo>
                    <a:pt x="150" y="11"/>
                  </a:lnTo>
                  <a:lnTo>
                    <a:pt x="149" y="10"/>
                  </a:lnTo>
                  <a:lnTo>
                    <a:pt x="150" y="10"/>
                  </a:lnTo>
                  <a:lnTo>
                    <a:pt x="149" y="9"/>
                  </a:lnTo>
                  <a:lnTo>
                    <a:pt x="149" y="7"/>
                  </a:lnTo>
                  <a:lnTo>
                    <a:pt x="150" y="7"/>
                  </a:lnTo>
                  <a:lnTo>
                    <a:pt x="150" y="6"/>
                  </a:lnTo>
                  <a:lnTo>
                    <a:pt x="151" y="6"/>
                  </a:lnTo>
                  <a:lnTo>
                    <a:pt x="151" y="7"/>
                  </a:lnTo>
                  <a:lnTo>
                    <a:pt x="151" y="6"/>
                  </a:lnTo>
                  <a:lnTo>
                    <a:pt x="152" y="6"/>
                  </a:lnTo>
                  <a:lnTo>
                    <a:pt x="152" y="5"/>
                  </a:lnTo>
                  <a:lnTo>
                    <a:pt x="152" y="4"/>
                  </a:lnTo>
                  <a:lnTo>
                    <a:pt x="152" y="3"/>
                  </a:lnTo>
                  <a:lnTo>
                    <a:pt x="153" y="3"/>
                  </a:lnTo>
                  <a:lnTo>
                    <a:pt x="153" y="4"/>
                  </a:lnTo>
                  <a:lnTo>
                    <a:pt x="155" y="5"/>
                  </a:lnTo>
                  <a:lnTo>
                    <a:pt x="155" y="4"/>
                  </a:lnTo>
                  <a:lnTo>
                    <a:pt x="155" y="3"/>
                  </a:lnTo>
                  <a:lnTo>
                    <a:pt x="156" y="3"/>
                  </a:lnTo>
                  <a:lnTo>
                    <a:pt x="156" y="1"/>
                  </a:lnTo>
                  <a:lnTo>
                    <a:pt x="156" y="0"/>
                  </a:lnTo>
                  <a:lnTo>
                    <a:pt x="157" y="0"/>
                  </a:lnTo>
                  <a:lnTo>
                    <a:pt x="158" y="0"/>
                  </a:lnTo>
                  <a:lnTo>
                    <a:pt x="158" y="1"/>
                  </a:lnTo>
                  <a:lnTo>
                    <a:pt x="158" y="3"/>
                  </a:lnTo>
                  <a:lnTo>
                    <a:pt x="157" y="3"/>
                  </a:lnTo>
                  <a:lnTo>
                    <a:pt x="157" y="4"/>
                  </a:lnTo>
                  <a:lnTo>
                    <a:pt x="158" y="4"/>
                  </a:lnTo>
                  <a:lnTo>
                    <a:pt x="158" y="5"/>
                  </a:lnTo>
                  <a:lnTo>
                    <a:pt x="158" y="6"/>
                  </a:lnTo>
                  <a:lnTo>
                    <a:pt x="157" y="6"/>
                  </a:lnTo>
                  <a:lnTo>
                    <a:pt x="158" y="7"/>
                  </a:lnTo>
                  <a:lnTo>
                    <a:pt x="159" y="7"/>
                  </a:lnTo>
                  <a:lnTo>
                    <a:pt x="159" y="9"/>
                  </a:lnTo>
                  <a:lnTo>
                    <a:pt x="158" y="9"/>
                  </a:lnTo>
                  <a:lnTo>
                    <a:pt x="158" y="10"/>
                  </a:lnTo>
                  <a:lnTo>
                    <a:pt x="158" y="11"/>
                  </a:lnTo>
                  <a:lnTo>
                    <a:pt x="157" y="11"/>
                  </a:lnTo>
                  <a:lnTo>
                    <a:pt x="158" y="11"/>
                  </a:lnTo>
                  <a:lnTo>
                    <a:pt x="158" y="12"/>
                  </a:lnTo>
                  <a:lnTo>
                    <a:pt x="158" y="13"/>
                  </a:lnTo>
                  <a:lnTo>
                    <a:pt x="157" y="13"/>
                  </a:lnTo>
                  <a:lnTo>
                    <a:pt x="157" y="15"/>
                  </a:lnTo>
                  <a:lnTo>
                    <a:pt x="157" y="16"/>
                  </a:lnTo>
                  <a:lnTo>
                    <a:pt x="157" y="17"/>
                  </a:lnTo>
                  <a:lnTo>
                    <a:pt x="157" y="16"/>
                  </a:lnTo>
                  <a:lnTo>
                    <a:pt x="158" y="16"/>
                  </a:lnTo>
                  <a:lnTo>
                    <a:pt x="159" y="16"/>
                  </a:lnTo>
                  <a:lnTo>
                    <a:pt x="161" y="16"/>
                  </a:lnTo>
                  <a:lnTo>
                    <a:pt x="161" y="15"/>
                  </a:lnTo>
                  <a:lnTo>
                    <a:pt x="162" y="15"/>
                  </a:lnTo>
                  <a:lnTo>
                    <a:pt x="162" y="16"/>
                  </a:lnTo>
                  <a:lnTo>
                    <a:pt x="162" y="17"/>
                  </a:lnTo>
                  <a:lnTo>
                    <a:pt x="162" y="18"/>
                  </a:lnTo>
                  <a:lnTo>
                    <a:pt x="162" y="19"/>
                  </a:lnTo>
                  <a:lnTo>
                    <a:pt x="162" y="21"/>
                  </a:lnTo>
                  <a:lnTo>
                    <a:pt x="163" y="21"/>
                  </a:lnTo>
                  <a:lnTo>
                    <a:pt x="163" y="19"/>
                  </a:lnTo>
                  <a:lnTo>
                    <a:pt x="163" y="18"/>
                  </a:lnTo>
                  <a:lnTo>
                    <a:pt x="163" y="17"/>
                  </a:lnTo>
                  <a:lnTo>
                    <a:pt x="164" y="17"/>
                  </a:lnTo>
                  <a:lnTo>
                    <a:pt x="164" y="18"/>
                  </a:lnTo>
                  <a:lnTo>
                    <a:pt x="165" y="18"/>
                  </a:lnTo>
                  <a:lnTo>
                    <a:pt x="165" y="19"/>
                  </a:lnTo>
                  <a:lnTo>
                    <a:pt x="167" y="19"/>
                  </a:lnTo>
                  <a:lnTo>
                    <a:pt x="167" y="18"/>
                  </a:lnTo>
                  <a:lnTo>
                    <a:pt x="168" y="18"/>
                  </a:lnTo>
                  <a:lnTo>
                    <a:pt x="168" y="17"/>
                  </a:lnTo>
                  <a:lnTo>
                    <a:pt x="167" y="17"/>
                  </a:lnTo>
                  <a:lnTo>
                    <a:pt x="167" y="16"/>
                  </a:lnTo>
                  <a:lnTo>
                    <a:pt x="167" y="15"/>
                  </a:lnTo>
                  <a:lnTo>
                    <a:pt x="168" y="15"/>
                  </a:lnTo>
                  <a:lnTo>
                    <a:pt x="168" y="16"/>
                  </a:lnTo>
                  <a:lnTo>
                    <a:pt x="169" y="16"/>
                  </a:lnTo>
                  <a:lnTo>
                    <a:pt x="170" y="16"/>
                  </a:lnTo>
                  <a:lnTo>
                    <a:pt x="170" y="15"/>
                  </a:lnTo>
                  <a:lnTo>
                    <a:pt x="170" y="13"/>
                  </a:lnTo>
                  <a:lnTo>
                    <a:pt x="171" y="12"/>
                  </a:lnTo>
                  <a:lnTo>
                    <a:pt x="173" y="12"/>
                  </a:lnTo>
                  <a:lnTo>
                    <a:pt x="173" y="11"/>
                  </a:lnTo>
                  <a:lnTo>
                    <a:pt x="171" y="11"/>
                  </a:lnTo>
                  <a:lnTo>
                    <a:pt x="173" y="11"/>
                  </a:lnTo>
                  <a:lnTo>
                    <a:pt x="171" y="11"/>
                  </a:lnTo>
                  <a:lnTo>
                    <a:pt x="170" y="10"/>
                  </a:lnTo>
                  <a:lnTo>
                    <a:pt x="171" y="10"/>
                  </a:lnTo>
                  <a:lnTo>
                    <a:pt x="171" y="9"/>
                  </a:lnTo>
                  <a:lnTo>
                    <a:pt x="171" y="10"/>
                  </a:lnTo>
                  <a:lnTo>
                    <a:pt x="173" y="10"/>
                  </a:lnTo>
                  <a:lnTo>
                    <a:pt x="173" y="9"/>
                  </a:lnTo>
                  <a:lnTo>
                    <a:pt x="173" y="7"/>
                  </a:lnTo>
                  <a:lnTo>
                    <a:pt x="173" y="6"/>
                  </a:lnTo>
                  <a:lnTo>
                    <a:pt x="173" y="5"/>
                  </a:lnTo>
                  <a:lnTo>
                    <a:pt x="174" y="5"/>
                  </a:lnTo>
                  <a:lnTo>
                    <a:pt x="175" y="5"/>
                  </a:lnTo>
                  <a:lnTo>
                    <a:pt x="175" y="4"/>
                  </a:lnTo>
                  <a:lnTo>
                    <a:pt x="176" y="4"/>
                  </a:lnTo>
                  <a:lnTo>
                    <a:pt x="176" y="5"/>
                  </a:lnTo>
                  <a:lnTo>
                    <a:pt x="176" y="6"/>
                  </a:lnTo>
                  <a:lnTo>
                    <a:pt x="176" y="7"/>
                  </a:lnTo>
                  <a:lnTo>
                    <a:pt x="176" y="9"/>
                  </a:lnTo>
                  <a:lnTo>
                    <a:pt x="176" y="10"/>
                  </a:lnTo>
                  <a:lnTo>
                    <a:pt x="176" y="9"/>
                  </a:lnTo>
                  <a:lnTo>
                    <a:pt x="177" y="10"/>
                  </a:lnTo>
                  <a:lnTo>
                    <a:pt x="177" y="9"/>
                  </a:lnTo>
                  <a:lnTo>
                    <a:pt x="179" y="10"/>
                  </a:lnTo>
                  <a:lnTo>
                    <a:pt x="177" y="10"/>
                  </a:lnTo>
                  <a:lnTo>
                    <a:pt x="177" y="11"/>
                  </a:lnTo>
                  <a:lnTo>
                    <a:pt x="176" y="11"/>
                  </a:lnTo>
                  <a:lnTo>
                    <a:pt x="176" y="12"/>
                  </a:lnTo>
                  <a:lnTo>
                    <a:pt x="175" y="12"/>
                  </a:lnTo>
                  <a:lnTo>
                    <a:pt x="175" y="13"/>
                  </a:lnTo>
                  <a:lnTo>
                    <a:pt x="174" y="13"/>
                  </a:lnTo>
                  <a:lnTo>
                    <a:pt x="175" y="13"/>
                  </a:lnTo>
                  <a:lnTo>
                    <a:pt x="175" y="15"/>
                  </a:lnTo>
                  <a:lnTo>
                    <a:pt x="174" y="15"/>
                  </a:lnTo>
                  <a:lnTo>
                    <a:pt x="175" y="15"/>
                  </a:lnTo>
                  <a:lnTo>
                    <a:pt x="175" y="16"/>
                  </a:lnTo>
                  <a:lnTo>
                    <a:pt x="174" y="16"/>
                  </a:lnTo>
                  <a:lnTo>
                    <a:pt x="174" y="17"/>
                  </a:lnTo>
                  <a:lnTo>
                    <a:pt x="175" y="17"/>
                  </a:lnTo>
                  <a:lnTo>
                    <a:pt x="175" y="16"/>
                  </a:lnTo>
                  <a:lnTo>
                    <a:pt x="176" y="16"/>
                  </a:lnTo>
                  <a:lnTo>
                    <a:pt x="177" y="16"/>
                  </a:lnTo>
                  <a:lnTo>
                    <a:pt x="177" y="17"/>
                  </a:lnTo>
                  <a:lnTo>
                    <a:pt x="179" y="17"/>
                  </a:lnTo>
                  <a:lnTo>
                    <a:pt x="179" y="16"/>
                  </a:lnTo>
                  <a:lnTo>
                    <a:pt x="179" y="15"/>
                  </a:lnTo>
                  <a:lnTo>
                    <a:pt x="180" y="15"/>
                  </a:lnTo>
                  <a:lnTo>
                    <a:pt x="180" y="13"/>
                  </a:lnTo>
                  <a:lnTo>
                    <a:pt x="180" y="12"/>
                  </a:lnTo>
                  <a:lnTo>
                    <a:pt x="179" y="11"/>
                  </a:lnTo>
                  <a:lnTo>
                    <a:pt x="180" y="11"/>
                  </a:lnTo>
                  <a:lnTo>
                    <a:pt x="180" y="10"/>
                  </a:lnTo>
                  <a:lnTo>
                    <a:pt x="181" y="9"/>
                  </a:lnTo>
                  <a:lnTo>
                    <a:pt x="182" y="9"/>
                  </a:lnTo>
                  <a:lnTo>
                    <a:pt x="182" y="10"/>
                  </a:lnTo>
                  <a:lnTo>
                    <a:pt x="181" y="10"/>
                  </a:lnTo>
                  <a:lnTo>
                    <a:pt x="182" y="10"/>
                  </a:lnTo>
                  <a:lnTo>
                    <a:pt x="182" y="11"/>
                  </a:lnTo>
                  <a:lnTo>
                    <a:pt x="182" y="10"/>
                  </a:lnTo>
                  <a:lnTo>
                    <a:pt x="183" y="10"/>
                  </a:lnTo>
                  <a:lnTo>
                    <a:pt x="183" y="9"/>
                  </a:lnTo>
                  <a:lnTo>
                    <a:pt x="183" y="7"/>
                  </a:lnTo>
                  <a:lnTo>
                    <a:pt x="185" y="6"/>
                  </a:lnTo>
                  <a:lnTo>
                    <a:pt x="185" y="7"/>
                  </a:lnTo>
                  <a:lnTo>
                    <a:pt x="185" y="6"/>
                  </a:lnTo>
                  <a:lnTo>
                    <a:pt x="186" y="6"/>
                  </a:lnTo>
                  <a:lnTo>
                    <a:pt x="186" y="5"/>
                  </a:lnTo>
                  <a:lnTo>
                    <a:pt x="187" y="6"/>
                  </a:lnTo>
                  <a:lnTo>
                    <a:pt x="187" y="7"/>
                  </a:lnTo>
                  <a:lnTo>
                    <a:pt x="187" y="9"/>
                  </a:lnTo>
                  <a:lnTo>
                    <a:pt x="187" y="10"/>
                  </a:lnTo>
                  <a:lnTo>
                    <a:pt x="187" y="11"/>
                  </a:lnTo>
                  <a:lnTo>
                    <a:pt x="187" y="10"/>
                  </a:lnTo>
                  <a:lnTo>
                    <a:pt x="187" y="11"/>
                  </a:lnTo>
                  <a:lnTo>
                    <a:pt x="186" y="11"/>
                  </a:lnTo>
                  <a:lnTo>
                    <a:pt x="186" y="12"/>
                  </a:lnTo>
                  <a:lnTo>
                    <a:pt x="185" y="12"/>
                  </a:lnTo>
                  <a:lnTo>
                    <a:pt x="185" y="13"/>
                  </a:lnTo>
                  <a:lnTo>
                    <a:pt x="183" y="13"/>
                  </a:lnTo>
                  <a:lnTo>
                    <a:pt x="183" y="15"/>
                  </a:lnTo>
                  <a:lnTo>
                    <a:pt x="185" y="15"/>
                  </a:lnTo>
                  <a:lnTo>
                    <a:pt x="186" y="15"/>
                  </a:lnTo>
                  <a:lnTo>
                    <a:pt x="186" y="13"/>
                  </a:lnTo>
                  <a:lnTo>
                    <a:pt x="186" y="15"/>
                  </a:lnTo>
                  <a:lnTo>
                    <a:pt x="187" y="15"/>
                  </a:lnTo>
                  <a:lnTo>
                    <a:pt x="187" y="16"/>
                  </a:lnTo>
                  <a:lnTo>
                    <a:pt x="187" y="17"/>
                  </a:lnTo>
                  <a:lnTo>
                    <a:pt x="188" y="16"/>
                  </a:lnTo>
                  <a:lnTo>
                    <a:pt x="188" y="15"/>
                  </a:lnTo>
                  <a:lnTo>
                    <a:pt x="188" y="13"/>
                  </a:lnTo>
                  <a:lnTo>
                    <a:pt x="189" y="13"/>
                  </a:lnTo>
                  <a:lnTo>
                    <a:pt x="189" y="15"/>
                  </a:lnTo>
                  <a:lnTo>
                    <a:pt x="191" y="15"/>
                  </a:lnTo>
                  <a:lnTo>
                    <a:pt x="191" y="13"/>
                  </a:lnTo>
                  <a:lnTo>
                    <a:pt x="192" y="13"/>
                  </a:lnTo>
                  <a:lnTo>
                    <a:pt x="192" y="12"/>
                  </a:lnTo>
                  <a:lnTo>
                    <a:pt x="193" y="12"/>
                  </a:lnTo>
                  <a:lnTo>
                    <a:pt x="193" y="13"/>
                  </a:lnTo>
                  <a:lnTo>
                    <a:pt x="193" y="15"/>
                  </a:lnTo>
                  <a:lnTo>
                    <a:pt x="192" y="16"/>
                  </a:lnTo>
                  <a:lnTo>
                    <a:pt x="192" y="17"/>
                  </a:lnTo>
                  <a:lnTo>
                    <a:pt x="192" y="18"/>
                  </a:lnTo>
                  <a:lnTo>
                    <a:pt x="191" y="18"/>
                  </a:lnTo>
                  <a:lnTo>
                    <a:pt x="191" y="22"/>
                  </a:lnTo>
                  <a:lnTo>
                    <a:pt x="191" y="23"/>
                  </a:lnTo>
                  <a:lnTo>
                    <a:pt x="191" y="24"/>
                  </a:lnTo>
                  <a:lnTo>
                    <a:pt x="191" y="23"/>
                  </a:lnTo>
                  <a:lnTo>
                    <a:pt x="192" y="23"/>
                  </a:lnTo>
                  <a:lnTo>
                    <a:pt x="192" y="24"/>
                  </a:lnTo>
                  <a:lnTo>
                    <a:pt x="191" y="24"/>
                  </a:lnTo>
                  <a:lnTo>
                    <a:pt x="191" y="25"/>
                  </a:lnTo>
                  <a:lnTo>
                    <a:pt x="191" y="27"/>
                  </a:lnTo>
                  <a:lnTo>
                    <a:pt x="191" y="28"/>
                  </a:lnTo>
                  <a:lnTo>
                    <a:pt x="192" y="28"/>
                  </a:lnTo>
                  <a:lnTo>
                    <a:pt x="193" y="28"/>
                  </a:lnTo>
                  <a:lnTo>
                    <a:pt x="193" y="27"/>
                  </a:lnTo>
                  <a:lnTo>
                    <a:pt x="193" y="25"/>
                  </a:lnTo>
                  <a:lnTo>
                    <a:pt x="194" y="25"/>
                  </a:lnTo>
                  <a:lnTo>
                    <a:pt x="194" y="24"/>
                  </a:lnTo>
                  <a:lnTo>
                    <a:pt x="194" y="23"/>
                  </a:lnTo>
                  <a:lnTo>
                    <a:pt x="194" y="22"/>
                  </a:lnTo>
                  <a:lnTo>
                    <a:pt x="194" y="21"/>
                  </a:lnTo>
                  <a:lnTo>
                    <a:pt x="196" y="21"/>
                  </a:lnTo>
                  <a:lnTo>
                    <a:pt x="196" y="19"/>
                  </a:lnTo>
                  <a:lnTo>
                    <a:pt x="196" y="18"/>
                  </a:lnTo>
                  <a:lnTo>
                    <a:pt x="197" y="18"/>
                  </a:lnTo>
                  <a:lnTo>
                    <a:pt x="198" y="18"/>
                  </a:lnTo>
                  <a:lnTo>
                    <a:pt x="198" y="19"/>
                  </a:lnTo>
                  <a:lnTo>
                    <a:pt x="198" y="21"/>
                  </a:lnTo>
                  <a:lnTo>
                    <a:pt x="197" y="21"/>
                  </a:lnTo>
                  <a:lnTo>
                    <a:pt x="197" y="22"/>
                  </a:lnTo>
                  <a:lnTo>
                    <a:pt x="197" y="23"/>
                  </a:lnTo>
                  <a:lnTo>
                    <a:pt x="198" y="23"/>
                  </a:lnTo>
                  <a:lnTo>
                    <a:pt x="198" y="22"/>
                  </a:lnTo>
                  <a:lnTo>
                    <a:pt x="199" y="22"/>
                  </a:lnTo>
                  <a:lnTo>
                    <a:pt x="199" y="23"/>
                  </a:lnTo>
                  <a:lnTo>
                    <a:pt x="198" y="24"/>
                  </a:lnTo>
                  <a:lnTo>
                    <a:pt x="197" y="24"/>
                  </a:lnTo>
                  <a:lnTo>
                    <a:pt x="197" y="25"/>
                  </a:lnTo>
                  <a:lnTo>
                    <a:pt x="196" y="25"/>
                  </a:lnTo>
                  <a:lnTo>
                    <a:pt x="196" y="27"/>
                  </a:lnTo>
                  <a:lnTo>
                    <a:pt x="197" y="27"/>
                  </a:lnTo>
                  <a:lnTo>
                    <a:pt x="196" y="27"/>
                  </a:lnTo>
                  <a:lnTo>
                    <a:pt x="197" y="27"/>
                  </a:lnTo>
                  <a:lnTo>
                    <a:pt x="197" y="28"/>
                  </a:lnTo>
                  <a:lnTo>
                    <a:pt x="198" y="28"/>
                  </a:lnTo>
                  <a:lnTo>
                    <a:pt x="199" y="27"/>
                  </a:lnTo>
                  <a:lnTo>
                    <a:pt x="199" y="24"/>
                  </a:lnTo>
                  <a:lnTo>
                    <a:pt x="200" y="24"/>
                  </a:lnTo>
                  <a:lnTo>
                    <a:pt x="202" y="24"/>
                  </a:lnTo>
                  <a:lnTo>
                    <a:pt x="203" y="24"/>
                  </a:lnTo>
                  <a:lnTo>
                    <a:pt x="202" y="24"/>
                  </a:lnTo>
                  <a:lnTo>
                    <a:pt x="200" y="24"/>
                  </a:lnTo>
                  <a:lnTo>
                    <a:pt x="202" y="23"/>
                  </a:lnTo>
                  <a:lnTo>
                    <a:pt x="200" y="23"/>
                  </a:lnTo>
                  <a:lnTo>
                    <a:pt x="200" y="22"/>
                  </a:lnTo>
                  <a:lnTo>
                    <a:pt x="200" y="21"/>
                  </a:lnTo>
                  <a:lnTo>
                    <a:pt x="200" y="19"/>
                  </a:lnTo>
                  <a:lnTo>
                    <a:pt x="202" y="18"/>
                  </a:lnTo>
                  <a:lnTo>
                    <a:pt x="203" y="18"/>
                  </a:lnTo>
                  <a:lnTo>
                    <a:pt x="203" y="19"/>
                  </a:lnTo>
                  <a:lnTo>
                    <a:pt x="203" y="18"/>
                  </a:lnTo>
                  <a:lnTo>
                    <a:pt x="204" y="18"/>
                  </a:lnTo>
                  <a:lnTo>
                    <a:pt x="204" y="17"/>
                  </a:lnTo>
                  <a:lnTo>
                    <a:pt x="203" y="17"/>
                  </a:lnTo>
                  <a:lnTo>
                    <a:pt x="204" y="17"/>
                  </a:lnTo>
                  <a:lnTo>
                    <a:pt x="204" y="16"/>
                  </a:lnTo>
                  <a:lnTo>
                    <a:pt x="205" y="16"/>
                  </a:lnTo>
                  <a:lnTo>
                    <a:pt x="205" y="15"/>
                  </a:lnTo>
                  <a:lnTo>
                    <a:pt x="205" y="13"/>
                  </a:lnTo>
                  <a:lnTo>
                    <a:pt x="206" y="13"/>
                  </a:lnTo>
                  <a:lnTo>
                    <a:pt x="206" y="15"/>
                  </a:lnTo>
                  <a:lnTo>
                    <a:pt x="208" y="15"/>
                  </a:lnTo>
                  <a:lnTo>
                    <a:pt x="208" y="16"/>
                  </a:lnTo>
                  <a:lnTo>
                    <a:pt x="208" y="17"/>
                  </a:lnTo>
                  <a:lnTo>
                    <a:pt x="208" y="18"/>
                  </a:lnTo>
                  <a:lnTo>
                    <a:pt x="208" y="19"/>
                  </a:lnTo>
                  <a:lnTo>
                    <a:pt x="208" y="21"/>
                  </a:lnTo>
                  <a:lnTo>
                    <a:pt x="206" y="21"/>
                  </a:lnTo>
                  <a:lnTo>
                    <a:pt x="208" y="21"/>
                  </a:lnTo>
                  <a:lnTo>
                    <a:pt x="208" y="22"/>
                  </a:lnTo>
                  <a:lnTo>
                    <a:pt x="209" y="22"/>
                  </a:lnTo>
                  <a:lnTo>
                    <a:pt x="209" y="23"/>
                  </a:lnTo>
                  <a:lnTo>
                    <a:pt x="209" y="24"/>
                  </a:lnTo>
                  <a:lnTo>
                    <a:pt x="209" y="25"/>
                  </a:lnTo>
                  <a:lnTo>
                    <a:pt x="208" y="25"/>
                  </a:lnTo>
                  <a:lnTo>
                    <a:pt x="206" y="25"/>
                  </a:lnTo>
                  <a:lnTo>
                    <a:pt x="208" y="27"/>
                  </a:lnTo>
                  <a:lnTo>
                    <a:pt x="209" y="27"/>
                  </a:lnTo>
                  <a:lnTo>
                    <a:pt x="209" y="25"/>
                  </a:lnTo>
                  <a:lnTo>
                    <a:pt x="209" y="24"/>
                  </a:lnTo>
                  <a:lnTo>
                    <a:pt x="210" y="24"/>
                  </a:lnTo>
                  <a:lnTo>
                    <a:pt x="209" y="24"/>
                  </a:lnTo>
                  <a:lnTo>
                    <a:pt x="210" y="23"/>
                  </a:lnTo>
                  <a:lnTo>
                    <a:pt x="211" y="23"/>
                  </a:lnTo>
                  <a:lnTo>
                    <a:pt x="211" y="22"/>
                  </a:lnTo>
                  <a:lnTo>
                    <a:pt x="211" y="23"/>
                  </a:lnTo>
                  <a:lnTo>
                    <a:pt x="211" y="22"/>
                  </a:lnTo>
                  <a:lnTo>
                    <a:pt x="211" y="21"/>
                  </a:lnTo>
                  <a:lnTo>
                    <a:pt x="211" y="19"/>
                  </a:lnTo>
                  <a:lnTo>
                    <a:pt x="210" y="19"/>
                  </a:lnTo>
                  <a:lnTo>
                    <a:pt x="211" y="19"/>
                  </a:lnTo>
                  <a:lnTo>
                    <a:pt x="211" y="18"/>
                  </a:lnTo>
                  <a:lnTo>
                    <a:pt x="211" y="17"/>
                  </a:lnTo>
                  <a:lnTo>
                    <a:pt x="212" y="17"/>
                  </a:lnTo>
                  <a:lnTo>
                    <a:pt x="214" y="17"/>
                  </a:lnTo>
                  <a:lnTo>
                    <a:pt x="215" y="17"/>
                  </a:lnTo>
                  <a:lnTo>
                    <a:pt x="215" y="16"/>
                  </a:lnTo>
                  <a:lnTo>
                    <a:pt x="216" y="16"/>
                  </a:lnTo>
                  <a:lnTo>
                    <a:pt x="216" y="15"/>
                  </a:lnTo>
                  <a:lnTo>
                    <a:pt x="217" y="15"/>
                  </a:lnTo>
                  <a:lnTo>
                    <a:pt x="217" y="13"/>
                  </a:lnTo>
                  <a:lnTo>
                    <a:pt x="218" y="13"/>
                  </a:lnTo>
                  <a:lnTo>
                    <a:pt x="218" y="12"/>
                  </a:lnTo>
                  <a:lnTo>
                    <a:pt x="218" y="13"/>
                  </a:lnTo>
                  <a:lnTo>
                    <a:pt x="220" y="13"/>
                  </a:lnTo>
                  <a:lnTo>
                    <a:pt x="220" y="15"/>
                  </a:lnTo>
                  <a:lnTo>
                    <a:pt x="220" y="16"/>
                  </a:lnTo>
                  <a:lnTo>
                    <a:pt x="220" y="17"/>
                  </a:lnTo>
                  <a:lnTo>
                    <a:pt x="221" y="17"/>
                  </a:lnTo>
                  <a:lnTo>
                    <a:pt x="222" y="18"/>
                  </a:lnTo>
                  <a:lnTo>
                    <a:pt x="221" y="18"/>
                  </a:lnTo>
                  <a:lnTo>
                    <a:pt x="221" y="19"/>
                  </a:lnTo>
                  <a:lnTo>
                    <a:pt x="222" y="19"/>
                  </a:lnTo>
                  <a:lnTo>
                    <a:pt x="222" y="21"/>
                  </a:lnTo>
                  <a:lnTo>
                    <a:pt x="222" y="19"/>
                  </a:lnTo>
                  <a:lnTo>
                    <a:pt x="223" y="19"/>
                  </a:lnTo>
                  <a:lnTo>
                    <a:pt x="224" y="19"/>
                  </a:lnTo>
                  <a:lnTo>
                    <a:pt x="224" y="18"/>
                  </a:lnTo>
                  <a:lnTo>
                    <a:pt x="226" y="18"/>
                  </a:lnTo>
                  <a:lnTo>
                    <a:pt x="226" y="19"/>
                  </a:lnTo>
                  <a:lnTo>
                    <a:pt x="226" y="21"/>
                  </a:lnTo>
                  <a:lnTo>
                    <a:pt x="227" y="21"/>
                  </a:lnTo>
                  <a:lnTo>
                    <a:pt x="227" y="22"/>
                  </a:lnTo>
                  <a:lnTo>
                    <a:pt x="227" y="23"/>
                  </a:lnTo>
                  <a:lnTo>
                    <a:pt x="226" y="23"/>
                  </a:lnTo>
                  <a:lnTo>
                    <a:pt x="226" y="24"/>
                  </a:lnTo>
                  <a:lnTo>
                    <a:pt x="224" y="25"/>
                  </a:lnTo>
                  <a:lnTo>
                    <a:pt x="224" y="27"/>
                  </a:lnTo>
                  <a:lnTo>
                    <a:pt x="223" y="27"/>
                  </a:lnTo>
                  <a:lnTo>
                    <a:pt x="222" y="27"/>
                  </a:lnTo>
                  <a:lnTo>
                    <a:pt x="222" y="28"/>
                  </a:lnTo>
                  <a:lnTo>
                    <a:pt x="221" y="28"/>
                  </a:lnTo>
                  <a:lnTo>
                    <a:pt x="220" y="27"/>
                  </a:lnTo>
                  <a:lnTo>
                    <a:pt x="220" y="28"/>
                  </a:lnTo>
                  <a:lnTo>
                    <a:pt x="220" y="29"/>
                  </a:lnTo>
                  <a:lnTo>
                    <a:pt x="218" y="29"/>
                  </a:lnTo>
                  <a:lnTo>
                    <a:pt x="218" y="30"/>
                  </a:lnTo>
                  <a:lnTo>
                    <a:pt x="220" y="31"/>
                  </a:lnTo>
                  <a:lnTo>
                    <a:pt x="220" y="30"/>
                  </a:lnTo>
                  <a:lnTo>
                    <a:pt x="221" y="30"/>
                  </a:lnTo>
                  <a:lnTo>
                    <a:pt x="222" y="30"/>
                  </a:lnTo>
                  <a:lnTo>
                    <a:pt x="223" y="30"/>
                  </a:lnTo>
                  <a:lnTo>
                    <a:pt x="224" y="30"/>
                  </a:lnTo>
                  <a:lnTo>
                    <a:pt x="224" y="29"/>
                  </a:lnTo>
                  <a:lnTo>
                    <a:pt x="224" y="28"/>
                  </a:lnTo>
                  <a:lnTo>
                    <a:pt x="226" y="28"/>
                  </a:lnTo>
                  <a:lnTo>
                    <a:pt x="227" y="28"/>
                  </a:lnTo>
                  <a:lnTo>
                    <a:pt x="227" y="27"/>
                  </a:lnTo>
                  <a:lnTo>
                    <a:pt x="228" y="27"/>
                  </a:lnTo>
                  <a:lnTo>
                    <a:pt x="228" y="25"/>
                  </a:lnTo>
                  <a:lnTo>
                    <a:pt x="229" y="25"/>
                  </a:lnTo>
                  <a:lnTo>
                    <a:pt x="230" y="25"/>
                  </a:lnTo>
                  <a:lnTo>
                    <a:pt x="232" y="25"/>
                  </a:lnTo>
                  <a:lnTo>
                    <a:pt x="233" y="25"/>
                  </a:lnTo>
                  <a:lnTo>
                    <a:pt x="233" y="27"/>
                  </a:lnTo>
                  <a:lnTo>
                    <a:pt x="234" y="28"/>
                  </a:lnTo>
                  <a:lnTo>
                    <a:pt x="234" y="29"/>
                  </a:lnTo>
                  <a:lnTo>
                    <a:pt x="235" y="29"/>
                  </a:lnTo>
                  <a:lnTo>
                    <a:pt x="235" y="28"/>
                  </a:lnTo>
                  <a:lnTo>
                    <a:pt x="236" y="28"/>
                  </a:lnTo>
                  <a:lnTo>
                    <a:pt x="236" y="27"/>
                  </a:lnTo>
                  <a:lnTo>
                    <a:pt x="238" y="27"/>
                  </a:lnTo>
                  <a:lnTo>
                    <a:pt x="238" y="28"/>
                  </a:lnTo>
                  <a:lnTo>
                    <a:pt x="238" y="29"/>
                  </a:lnTo>
                  <a:lnTo>
                    <a:pt x="238" y="30"/>
                  </a:lnTo>
                  <a:lnTo>
                    <a:pt x="236" y="31"/>
                  </a:lnTo>
                  <a:lnTo>
                    <a:pt x="238" y="31"/>
                  </a:lnTo>
                  <a:lnTo>
                    <a:pt x="238" y="33"/>
                  </a:lnTo>
                  <a:lnTo>
                    <a:pt x="239" y="33"/>
                  </a:lnTo>
                  <a:lnTo>
                    <a:pt x="239" y="34"/>
                  </a:lnTo>
                  <a:lnTo>
                    <a:pt x="238" y="34"/>
                  </a:lnTo>
                  <a:lnTo>
                    <a:pt x="238" y="35"/>
                  </a:lnTo>
                  <a:lnTo>
                    <a:pt x="236" y="35"/>
                  </a:lnTo>
                  <a:lnTo>
                    <a:pt x="236" y="36"/>
                  </a:lnTo>
                  <a:lnTo>
                    <a:pt x="235" y="36"/>
                  </a:lnTo>
                  <a:lnTo>
                    <a:pt x="236" y="36"/>
                  </a:lnTo>
                  <a:lnTo>
                    <a:pt x="236" y="37"/>
                  </a:lnTo>
                  <a:lnTo>
                    <a:pt x="236" y="39"/>
                  </a:lnTo>
                  <a:lnTo>
                    <a:pt x="235" y="39"/>
                  </a:lnTo>
                  <a:lnTo>
                    <a:pt x="235" y="40"/>
                  </a:lnTo>
                  <a:lnTo>
                    <a:pt x="234" y="40"/>
                  </a:lnTo>
                  <a:lnTo>
                    <a:pt x="233" y="40"/>
                  </a:lnTo>
                  <a:lnTo>
                    <a:pt x="233" y="41"/>
                  </a:lnTo>
                  <a:lnTo>
                    <a:pt x="232" y="40"/>
                  </a:lnTo>
                  <a:lnTo>
                    <a:pt x="232" y="41"/>
                  </a:lnTo>
                  <a:lnTo>
                    <a:pt x="232" y="42"/>
                  </a:lnTo>
                  <a:lnTo>
                    <a:pt x="232" y="41"/>
                  </a:lnTo>
                  <a:lnTo>
                    <a:pt x="233" y="41"/>
                  </a:lnTo>
                  <a:lnTo>
                    <a:pt x="234" y="41"/>
                  </a:lnTo>
                  <a:lnTo>
                    <a:pt x="235" y="41"/>
                  </a:lnTo>
                  <a:lnTo>
                    <a:pt x="235" y="42"/>
                  </a:lnTo>
                  <a:lnTo>
                    <a:pt x="235" y="44"/>
                  </a:lnTo>
                  <a:lnTo>
                    <a:pt x="234" y="44"/>
                  </a:lnTo>
                  <a:lnTo>
                    <a:pt x="234" y="45"/>
                  </a:lnTo>
                  <a:lnTo>
                    <a:pt x="233" y="45"/>
                  </a:lnTo>
                  <a:lnTo>
                    <a:pt x="232" y="45"/>
                  </a:lnTo>
                  <a:lnTo>
                    <a:pt x="230" y="45"/>
                  </a:lnTo>
                  <a:lnTo>
                    <a:pt x="229" y="45"/>
                  </a:lnTo>
                  <a:lnTo>
                    <a:pt x="228" y="45"/>
                  </a:lnTo>
                  <a:lnTo>
                    <a:pt x="228" y="44"/>
                  </a:lnTo>
                  <a:lnTo>
                    <a:pt x="227" y="44"/>
                  </a:lnTo>
                  <a:lnTo>
                    <a:pt x="228" y="44"/>
                  </a:lnTo>
                  <a:lnTo>
                    <a:pt x="228" y="45"/>
                  </a:lnTo>
                  <a:lnTo>
                    <a:pt x="227" y="46"/>
                  </a:lnTo>
                  <a:lnTo>
                    <a:pt x="226" y="46"/>
                  </a:lnTo>
                  <a:lnTo>
                    <a:pt x="224" y="46"/>
                  </a:lnTo>
                  <a:lnTo>
                    <a:pt x="224" y="45"/>
                  </a:lnTo>
                  <a:lnTo>
                    <a:pt x="224" y="44"/>
                  </a:lnTo>
                  <a:lnTo>
                    <a:pt x="223" y="42"/>
                  </a:lnTo>
                  <a:lnTo>
                    <a:pt x="223" y="44"/>
                  </a:lnTo>
                  <a:lnTo>
                    <a:pt x="222" y="45"/>
                  </a:lnTo>
                  <a:lnTo>
                    <a:pt x="221" y="45"/>
                  </a:lnTo>
                  <a:lnTo>
                    <a:pt x="221" y="46"/>
                  </a:lnTo>
                  <a:lnTo>
                    <a:pt x="222" y="47"/>
                  </a:lnTo>
                  <a:lnTo>
                    <a:pt x="221" y="46"/>
                  </a:lnTo>
                  <a:lnTo>
                    <a:pt x="221" y="47"/>
                  </a:lnTo>
                  <a:lnTo>
                    <a:pt x="222" y="47"/>
                  </a:lnTo>
                  <a:lnTo>
                    <a:pt x="222" y="48"/>
                  </a:lnTo>
                  <a:lnTo>
                    <a:pt x="223" y="48"/>
                  </a:lnTo>
                  <a:lnTo>
                    <a:pt x="224" y="48"/>
                  </a:lnTo>
                  <a:lnTo>
                    <a:pt x="226" y="48"/>
                  </a:lnTo>
                  <a:lnTo>
                    <a:pt x="227" y="50"/>
                  </a:lnTo>
                  <a:lnTo>
                    <a:pt x="226" y="51"/>
                  </a:lnTo>
                  <a:lnTo>
                    <a:pt x="224" y="51"/>
                  </a:lnTo>
                  <a:lnTo>
                    <a:pt x="224" y="52"/>
                  </a:lnTo>
                  <a:lnTo>
                    <a:pt x="224" y="51"/>
                  </a:lnTo>
                  <a:lnTo>
                    <a:pt x="223" y="51"/>
                  </a:lnTo>
                  <a:lnTo>
                    <a:pt x="223" y="50"/>
                  </a:lnTo>
                  <a:lnTo>
                    <a:pt x="222" y="50"/>
                  </a:lnTo>
                  <a:lnTo>
                    <a:pt x="222" y="48"/>
                  </a:lnTo>
                  <a:lnTo>
                    <a:pt x="221" y="48"/>
                  </a:lnTo>
                  <a:lnTo>
                    <a:pt x="221" y="47"/>
                  </a:lnTo>
                  <a:lnTo>
                    <a:pt x="221" y="48"/>
                  </a:lnTo>
                  <a:lnTo>
                    <a:pt x="222" y="48"/>
                  </a:lnTo>
                  <a:lnTo>
                    <a:pt x="222" y="50"/>
                  </a:lnTo>
                  <a:lnTo>
                    <a:pt x="221" y="50"/>
                  </a:lnTo>
                  <a:lnTo>
                    <a:pt x="221" y="51"/>
                  </a:lnTo>
                  <a:lnTo>
                    <a:pt x="220" y="51"/>
                  </a:lnTo>
                  <a:lnTo>
                    <a:pt x="221" y="52"/>
                  </a:lnTo>
                  <a:lnTo>
                    <a:pt x="222" y="52"/>
                  </a:lnTo>
                  <a:lnTo>
                    <a:pt x="222" y="51"/>
                  </a:lnTo>
                  <a:lnTo>
                    <a:pt x="223" y="51"/>
                  </a:lnTo>
                  <a:lnTo>
                    <a:pt x="223" y="52"/>
                  </a:lnTo>
                  <a:lnTo>
                    <a:pt x="223" y="53"/>
                  </a:lnTo>
                  <a:lnTo>
                    <a:pt x="223" y="54"/>
                  </a:lnTo>
                  <a:lnTo>
                    <a:pt x="224" y="54"/>
                  </a:lnTo>
                  <a:lnTo>
                    <a:pt x="226" y="54"/>
                  </a:lnTo>
                  <a:lnTo>
                    <a:pt x="226" y="53"/>
                  </a:lnTo>
                  <a:lnTo>
                    <a:pt x="227" y="53"/>
                  </a:lnTo>
                  <a:lnTo>
                    <a:pt x="228" y="54"/>
                  </a:lnTo>
                  <a:lnTo>
                    <a:pt x="229" y="54"/>
                  </a:lnTo>
                  <a:lnTo>
                    <a:pt x="229" y="56"/>
                  </a:lnTo>
                  <a:lnTo>
                    <a:pt x="230" y="56"/>
                  </a:lnTo>
                  <a:lnTo>
                    <a:pt x="232" y="56"/>
                  </a:lnTo>
                  <a:lnTo>
                    <a:pt x="233" y="56"/>
                  </a:lnTo>
                  <a:lnTo>
                    <a:pt x="234" y="56"/>
                  </a:lnTo>
                  <a:lnTo>
                    <a:pt x="234" y="57"/>
                  </a:lnTo>
                  <a:lnTo>
                    <a:pt x="235" y="57"/>
                  </a:lnTo>
                  <a:lnTo>
                    <a:pt x="236" y="57"/>
                  </a:lnTo>
                  <a:lnTo>
                    <a:pt x="236" y="58"/>
                  </a:lnTo>
                  <a:lnTo>
                    <a:pt x="236" y="60"/>
                  </a:lnTo>
                  <a:lnTo>
                    <a:pt x="236" y="62"/>
                  </a:lnTo>
                  <a:lnTo>
                    <a:pt x="238" y="62"/>
                  </a:lnTo>
                  <a:lnTo>
                    <a:pt x="239" y="62"/>
                  </a:lnTo>
                  <a:lnTo>
                    <a:pt x="238" y="60"/>
                  </a:lnTo>
                  <a:lnTo>
                    <a:pt x="239" y="60"/>
                  </a:lnTo>
                  <a:lnTo>
                    <a:pt x="239" y="59"/>
                  </a:lnTo>
                  <a:lnTo>
                    <a:pt x="239" y="58"/>
                  </a:lnTo>
                  <a:lnTo>
                    <a:pt x="240" y="58"/>
                  </a:lnTo>
                  <a:lnTo>
                    <a:pt x="240" y="59"/>
                  </a:lnTo>
                  <a:lnTo>
                    <a:pt x="241" y="59"/>
                  </a:lnTo>
                  <a:lnTo>
                    <a:pt x="241" y="60"/>
                  </a:lnTo>
                  <a:lnTo>
                    <a:pt x="242" y="60"/>
                  </a:lnTo>
                  <a:lnTo>
                    <a:pt x="242" y="59"/>
                  </a:lnTo>
                  <a:lnTo>
                    <a:pt x="242" y="58"/>
                  </a:lnTo>
                  <a:lnTo>
                    <a:pt x="244" y="57"/>
                  </a:lnTo>
                  <a:lnTo>
                    <a:pt x="244" y="58"/>
                  </a:lnTo>
                  <a:lnTo>
                    <a:pt x="245" y="58"/>
                  </a:lnTo>
                  <a:lnTo>
                    <a:pt x="246" y="58"/>
                  </a:lnTo>
                  <a:lnTo>
                    <a:pt x="246" y="57"/>
                  </a:lnTo>
                  <a:lnTo>
                    <a:pt x="247" y="57"/>
                  </a:lnTo>
                  <a:lnTo>
                    <a:pt x="247" y="58"/>
                  </a:lnTo>
                  <a:lnTo>
                    <a:pt x="247" y="59"/>
                  </a:lnTo>
                  <a:lnTo>
                    <a:pt x="247" y="60"/>
                  </a:lnTo>
                  <a:lnTo>
                    <a:pt x="247" y="62"/>
                  </a:lnTo>
                  <a:lnTo>
                    <a:pt x="246" y="62"/>
                  </a:lnTo>
                  <a:lnTo>
                    <a:pt x="246" y="63"/>
                  </a:lnTo>
                  <a:lnTo>
                    <a:pt x="245" y="63"/>
                  </a:lnTo>
                  <a:lnTo>
                    <a:pt x="245" y="64"/>
                  </a:lnTo>
                  <a:lnTo>
                    <a:pt x="245" y="65"/>
                  </a:lnTo>
                  <a:lnTo>
                    <a:pt x="246" y="65"/>
                  </a:lnTo>
                  <a:lnTo>
                    <a:pt x="246" y="66"/>
                  </a:lnTo>
                  <a:lnTo>
                    <a:pt x="246" y="65"/>
                  </a:lnTo>
                  <a:lnTo>
                    <a:pt x="247" y="64"/>
                  </a:lnTo>
                  <a:lnTo>
                    <a:pt x="247" y="63"/>
                  </a:lnTo>
                  <a:lnTo>
                    <a:pt x="248" y="63"/>
                  </a:lnTo>
                  <a:lnTo>
                    <a:pt x="248" y="64"/>
                  </a:lnTo>
                  <a:lnTo>
                    <a:pt x="248" y="65"/>
                  </a:lnTo>
                  <a:lnTo>
                    <a:pt x="248" y="66"/>
                  </a:lnTo>
                  <a:lnTo>
                    <a:pt x="248" y="68"/>
                  </a:lnTo>
                  <a:lnTo>
                    <a:pt x="247" y="68"/>
                  </a:lnTo>
                  <a:lnTo>
                    <a:pt x="247" y="69"/>
                  </a:lnTo>
                  <a:lnTo>
                    <a:pt x="247" y="70"/>
                  </a:lnTo>
                  <a:lnTo>
                    <a:pt x="246" y="70"/>
                  </a:lnTo>
                  <a:lnTo>
                    <a:pt x="245" y="70"/>
                  </a:lnTo>
                  <a:lnTo>
                    <a:pt x="245" y="71"/>
                  </a:lnTo>
                  <a:lnTo>
                    <a:pt x="245" y="70"/>
                  </a:lnTo>
                  <a:lnTo>
                    <a:pt x="246" y="71"/>
                  </a:lnTo>
                  <a:lnTo>
                    <a:pt x="247" y="71"/>
                  </a:lnTo>
                  <a:lnTo>
                    <a:pt x="248" y="71"/>
                  </a:lnTo>
                  <a:lnTo>
                    <a:pt x="250" y="71"/>
                  </a:lnTo>
                  <a:lnTo>
                    <a:pt x="250" y="72"/>
                  </a:lnTo>
                  <a:lnTo>
                    <a:pt x="250" y="74"/>
                  </a:lnTo>
                  <a:lnTo>
                    <a:pt x="251" y="72"/>
                  </a:lnTo>
                  <a:lnTo>
                    <a:pt x="252" y="72"/>
                  </a:lnTo>
                  <a:lnTo>
                    <a:pt x="253" y="72"/>
                  </a:lnTo>
                  <a:lnTo>
                    <a:pt x="253" y="74"/>
                  </a:lnTo>
                  <a:lnTo>
                    <a:pt x="255" y="74"/>
                  </a:lnTo>
                  <a:lnTo>
                    <a:pt x="255" y="75"/>
                  </a:lnTo>
                  <a:lnTo>
                    <a:pt x="255" y="76"/>
                  </a:lnTo>
                  <a:lnTo>
                    <a:pt x="255" y="75"/>
                  </a:lnTo>
                  <a:lnTo>
                    <a:pt x="256" y="75"/>
                  </a:lnTo>
                  <a:lnTo>
                    <a:pt x="257" y="75"/>
                  </a:lnTo>
                  <a:lnTo>
                    <a:pt x="258" y="75"/>
                  </a:lnTo>
                  <a:lnTo>
                    <a:pt x="258" y="76"/>
                  </a:lnTo>
                  <a:lnTo>
                    <a:pt x="257" y="77"/>
                  </a:lnTo>
                  <a:lnTo>
                    <a:pt x="257" y="78"/>
                  </a:lnTo>
                  <a:lnTo>
                    <a:pt x="258" y="78"/>
                  </a:lnTo>
                  <a:lnTo>
                    <a:pt x="259" y="78"/>
                  </a:lnTo>
                  <a:lnTo>
                    <a:pt x="259" y="77"/>
                  </a:lnTo>
                  <a:lnTo>
                    <a:pt x="261" y="77"/>
                  </a:lnTo>
                  <a:lnTo>
                    <a:pt x="262" y="77"/>
                  </a:lnTo>
                  <a:lnTo>
                    <a:pt x="263" y="77"/>
                  </a:lnTo>
                  <a:lnTo>
                    <a:pt x="263" y="78"/>
                  </a:lnTo>
                  <a:lnTo>
                    <a:pt x="264" y="78"/>
                  </a:lnTo>
                  <a:lnTo>
                    <a:pt x="265" y="78"/>
                  </a:lnTo>
                  <a:lnTo>
                    <a:pt x="267" y="78"/>
                  </a:lnTo>
                  <a:lnTo>
                    <a:pt x="267" y="80"/>
                  </a:lnTo>
                  <a:lnTo>
                    <a:pt x="267" y="78"/>
                  </a:lnTo>
                  <a:lnTo>
                    <a:pt x="268" y="78"/>
                  </a:lnTo>
                  <a:lnTo>
                    <a:pt x="269" y="78"/>
                  </a:lnTo>
                  <a:lnTo>
                    <a:pt x="269" y="80"/>
                  </a:lnTo>
                  <a:lnTo>
                    <a:pt x="268" y="80"/>
                  </a:lnTo>
                  <a:lnTo>
                    <a:pt x="268" y="81"/>
                  </a:lnTo>
                  <a:lnTo>
                    <a:pt x="268" y="82"/>
                  </a:lnTo>
                  <a:lnTo>
                    <a:pt x="267" y="82"/>
                  </a:lnTo>
                  <a:lnTo>
                    <a:pt x="265" y="83"/>
                  </a:lnTo>
                  <a:lnTo>
                    <a:pt x="267" y="84"/>
                  </a:lnTo>
                  <a:lnTo>
                    <a:pt x="267" y="83"/>
                  </a:lnTo>
                  <a:lnTo>
                    <a:pt x="268" y="83"/>
                  </a:lnTo>
                  <a:lnTo>
                    <a:pt x="269" y="83"/>
                  </a:lnTo>
                  <a:lnTo>
                    <a:pt x="269" y="82"/>
                  </a:lnTo>
                  <a:lnTo>
                    <a:pt x="270" y="82"/>
                  </a:lnTo>
                  <a:lnTo>
                    <a:pt x="270" y="81"/>
                  </a:lnTo>
                  <a:lnTo>
                    <a:pt x="270" y="82"/>
                  </a:lnTo>
                  <a:lnTo>
                    <a:pt x="271" y="82"/>
                  </a:lnTo>
                  <a:lnTo>
                    <a:pt x="271" y="81"/>
                  </a:lnTo>
                  <a:lnTo>
                    <a:pt x="273" y="81"/>
                  </a:lnTo>
                  <a:lnTo>
                    <a:pt x="273" y="80"/>
                  </a:lnTo>
                  <a:lnTo>
                    <a:pt x="273" y="81"/>
                  </a:lnTo>
                  <a:lnTo>
                    <a:pt x="274" y="81"/>
                  </a:lnTo>
                  <a:lnTo>
                    <a:pt x="273" y="81"/>
                  </a:lnTo>
                  <a:lnTo>
                    <a:pt x="273" y="83"/>
                  </a:lnTo>
                  <a:lnTo>
                    <a:pt x="274" y="83"/>
                  </a:lnTo>
                  <a:lnTo>
                    <a:pt x="275" y="83"/>
                  </a:lnTo>
                  <a:lnTo>
                    <a:pt x="275" y="82"/>
                  </a:lnTo>
                  <a:lnTo>
                    <a:pt x="275" y="83"/>
                  </a:lnTo>
                  <a:lnTo>
                    <a:pt x="275" y="84"/>
                  </a:lnTo>
                  <a:lnTo>
                    <a:pt x="275" y="86"/>
                  </a:lnTo>
                  <a:lnTo>
                    <a:pt x="274" y="86"/>
                  </a:lnTo>
                  <a:lnTo>
                    <a:pt x="273" y="86"/>
                  </a:lnTo>
                  <a:lnTo>
                    <a:pt x="273" y="87"/>
                  </a:lnTo>
                  <a:lnTo>
                    <a:pt x="271" y="86"/>
                  </a:lnTo>
                  <a:lnTo>
                    <a:pt x="271" y="87"/>
                  </a:lnTo>
                  <a:lnTo>
                    <a:pt x="273" y="87"/>
                  </a:lnTo>
                  <a:lnTo>
                    <a:pt x="271" y="87"/>
                  </a:lnTo>
                  <a:lnTo>
                    <a:pt x="271" y="88"/>
                  </a:lnTo>
                  <a:lnTo>
                    <a:pt x="270" y="88"/>
                  </a:lnTo>
                  <a:lnTo>
                    <a:pt x="269" y="88"/>
                  </a:lnTo>
                  <a:lnTo>
                    <a:pt x="268" y="88"/>
                  </a:lnTo>
                  <a:lnTo>
                    <a:pt x="267" y="88"/>
                  </a:lnTo>
                  <a:lnTo>
                    <a:pt x="267" y="89"/>
                  </a:lnTo>
                  <a:lnTo>
                    <a:pt x="267" y="90"/>
                  </a:lnTo>
                  <a:lnTo>
                    <a:pt x="265" y="90"/>
                  </a:lnTo>
                  <a:lnTo>
                    <a:pt x="264" y="90"/>
                  </a:lnTo>
                  <a:lnTo>
                    <a:pt x="264" y="92"/>
                  </a:lnTo>
                  <a:lnTo>
                    <a:pt x="263" y="92"/>
                  </a:lnTo>
                  <a:lnTo>
                    <a:pt x="263" y="93"/>
                  </a:lnTo>
                  <a:lnTo>
                    <a:pt x="262" y="93"/>
                  </a:lnTo>
                  <a:lnTo>
                    <a:pt x="262" y="94"/>
                  </a:lnTo>
                  <a:lnTo>
                    <a:pt x="261" y="94"/>
                  </a:lnTo>
                  <a:lnTo>
                    <a:pt x="262" y="94"/>
                  </a:lnTo>
                  <a:lnTo>
                    <a:pt x="263" y="94"/>
                  </a:lnTo>
                  <a:lnTo>
                    <a:pt x="264" y="94"/>
                  </a:lnTo>
                  <a:lnTo>
                    <a:pt x="265" y="94"/>
                  </a:lnTo>
                  <a:lnTo>
                    <a:pt x="265" y="95"/>
                  </a:lnTo>
                  <a:lnTo>
                    <a:pt x="267" y="95"/>
                  </a:lnTo>
                  <a:lnTo>
                    <a:pt x="268" y="95"/>
                  </a:lnTo>
                  <a:lnTo>
                    <a:pt x="268" y="94"/>
                  </a:lnTo>
                  <a:lnTo>
                    <a:pt x="268" y="95"/>
                  </a:lnTo>
                  <a:lnTo>
                    <a:pt x="268" y="96"/>
                  </a:lnTo>
                  <a:lnTo>
                    <a:pt x="269" y="95"/>
                  </a:lnTo>
                  <a:lnTo>
                    <a:pt x="270" y="95"/>
                  </a:lnTo>
                  <a:lnTo>
                    <a:pt x="270" y="94"/>
                  </a:lnTo>
                  <a:lnTo>
                    <a:pt x="271" y="94"/>
                  </a:lnTo>
                  <a:lnTo>
                    <a:pt x="273" y="94"/>
                  </a:lnTo>
                  <a:lnTo>
                    <a:pt x="273" y="95"/>
                  </a:lnTo>
                  <a:lnTo>
                    <a:pt x="273" y="96"/>
                  </a:lnTo>
                  <a:lnTo>
                    <a:pt x="274" y="96"/>
                  </a:lnTo>
                  <a:lnTo>
                    <a:pt x="275" y="96"/>
                  </a:lnTo>
                  <a:lnTo>
                    <a:pt x="276" y="96"/>
                  </a:lnTo>
                  <a:lnTo>
                    <a:pt x="277" y="96"/>
                  </a:lnTo>
                  <a:lnTo>
                    <a:pt x="279" y="96"/>
                  </a:lnTo>
                  <a:lnTo>
                    <a:pt x="280" y="95"/>
                  </a:lnTo>
                  <a:lnTo>
                    <a:pt x="280" y="96"/>
                  </a:lnTo>
                  <a:lnTo>
                    <a:pt x="281" y="96"/>
                  </a:lnTo>
                  <a:lnTo>
                    <a:pt x="281" y="98"/>
                  </a:lnTo>
                  <a:lnTo>
                    <a:pt x="281" y="96"/>
                  </a:lnTo>
                  <a:lnTo>
                    <a:pt x="281" y="95"/>
                  </a:lnTo>
                  <a:lnTo>
                    <a:pt x="282" y="95"/>
                  </a:lnTo>
                  <a:lnTo>
                    <a:pt x="282" y="96"/>
                  </a:lnTo>
                  <a:lnTo>
                    <a:pt x="282" y="95"/>
                  </a:lnTo>
                  <a:lnTo>
                    <a:pt x="283" y="96"/>
                  </a:lnTo>
                  <a:lnTo>
                    <a:pt x="282" y="96"/>
                  </a:lnTo>
                  <a:lnTo>
                    <a:pt x="282" y="98"/>
                  </a:lnTo>
                  <a:lnTo>
                    <a:pt x="282" y="99"/>
                  </a:lnTo>
                  <a:lnTo>
                    <a:pt x="283" y="99"/>
                  </a:lnTo>
                  <a:lnTo>
                    <a:pt x="283" y="100"/>
                  </a:lnTo>
                  <a:lnTo>
                    <a:pt x="285" y="100"/>
                  </a:lnTo>
                  <a:lnTo>
                    <a:pt x="285" y="101"/>
                  </a:lnTo>
                  <a:lnTo>
                    <a:pt x="283" y="101"/>
                  </a:lnTo>
                  <a:lnTo>
                    <a:pt x="282" y="101"/>
                  </a:lnTo>
                  <a:lnTo>
                    <a:pt x="282" y="102"/>
                  </a:lnTo>
                  <a:lnTo>
                    <a:pt x="281" y="104"/>
                  </a:lnTo>
                  <a:lnTo>
                    <a:pt x="281" y="105"/>
                  </a:lnTo>
                  <a:lnTo>
                    <a:pt x="282" y="105"/>
                  </a:lnTo>
                  <a:lnTo>
                    <a:pt x="281" y="105"/>
                  </a:lnTo>
                  <a:lnTo>
                    <a:pt x="282" y="106"/>
                  </a:lnTo>
                  <a:lnTo>
                    <a:pt x="283" y="106"/>
                  </a:lnTo>
                  <a:lnTo>
                    <a:pt x="285" y="105"/>
                  </a:lnTo>
                  <a:lnTo>
                    <a:pt x="286" y="105"/>
                  </a:lnTo>
                  <a:lnTo>
                    <a:pt x="286" y="104"/>
                  </a:lnTo>
                  <a:lnTo>
                    <a:pt x="286" y="105"/>
                  </a:lnTo>
                  <a:lnTo>
                    <a:pt x="286" y="104"/>
                  </a:lnTo>
                  <a:lnTo>
                    <a:pt x="287" y="104"/>
                  </a:lnTo>
                  <a:lnTo>
                    <a:pt x="287" y="102"/>
                  </a:lnTo>
                  <a:lnTo>
                    <a:pt x="288" y="102"/>
                  </a:lnTo>
                  <a:lnTo>
                    <a:pt x="289" y="102"/>
                  </a:lnTo>
                  <a:lnTo>
                    <a:pt x="289" y="101"/>
                  </a:lnTo>
                  <a:lnTo>
                    <a:pt x="291" y="101"/>
                  </a:lnTo>
                  <a:lnTo>
                    <a:pt x="291" y="102"/>
                  </a:lnTo>
                  <a:lnTo>
                    <a:pt x="291" y="104"/>
                  </a:lnTo>
                  <a:lnTo>
                    <a:pt x="291" y="105"/>
                  </a:lnTo>
                  <a:lnTo>
                    <a:pt x="289" y="106"/>
                  </a:lnTo>
                  <a:lnTo>
                    <a:pt x="288" y="106"/>
                  </a:lnTo>
                  <a:lnTo>
                    <a:pt x="287" y="106"/>
                  </a:lnTo>
                  <a:lnTo>
                    <a:pt x="286" y="107"/>
                  </a:lnTo>
                  <a:lnTo>
                    <a:pt x="287" y="108"/>
                  </a:lnTo>
                  <a:lnTo>
                    <a:pt x="286" y="108"/>
                  </a:lnTo>
                  <a:lnTo>
                    <a:pt x="285" y="108"/>
                  </a:lnTo>
                  <a:lnTo>
                    <a:pt x="283" y="110"/>
                  </a:lnTo>
                  <a:lnTo>
                    <a:pt x="283" y="111"/>
                  </a:lnTo>
                  <a:lnTo>
                    <a:pt x="282" y="112"/>
                  </a:lnTo>
                  <a:lnTo>
                    <a:pt x="281" y="112"/>
                  </a:lnTo>
                  <a:lnTo>
                    <a:pt x="280" y="111"/>
                  </a:lnTo>
                  <a:lnTo>
                    <a:pt x="279" y="112"/>
                  </a:lnTo>
                  <a:lnTo>
                    <a:pt x="277" y="112"/>
                  </a:lnTo>
                  <a:lnTo>
                    <a:pt x="279" y="113"/>
                  </a:lnTo>
                  <a:lnTo>
                    <a:pt x="280" y="113"/>
                  </a:lnTo>
                  <a:lnTo>
                    <a:pt x="280" y="114"/>
                  </a:lnTo>
                  <a:lnTo>
                    <a:pt x="281" y="116"/>
                  </a:lnTo>
                  <a:lnTo>
                    <a:pt x="282" y="117"/>
                  </a:lnTo>
                  <a:lnTo>
                    <a:pt x="283" y="117"/>
                  </a:lnTo>
                  <a:lnTo>
                    <a:pt x="285" y="117"/>
                  </a:lnTo>
                  <a:lnTo>
                    <a:pt x="286" y="117"/>
                  </a:lnTo>
                  <a:lnTo>
                    <a:pt x="286" y="118"/>
                  </a:lnTo>
                  <a:lnTo>
                    <a:pt x="285" y="118"/>
                  </a:lnTo>
                  <a:lnTo>
                    <a:pt x="285" y="119"/>
                  </a:lnTo>
                  <a:lnTo>
                    <a:pt x="286" y="118"/>
                  </a:lnTo>
                  <a:lnTo>
                    <a:pt x="286" y="119"/>
                  </a:lnTo>
                  <a:lnTo>
                    <a:pt x="286" y="120"/>
                  </a:lnTo>
                  <a:lnTo>
                    <a:pt x="283" y="123"/>
                  </a:lnTo>
                  <a:lnTo>
                    <a:pt x="285" y="123"/>
                  </a:lnTo>
                  <a:lnTo>
                    <a:pt x="285" y="125"/>
                  </a:lnTo>
                  <a:lnTo>
                    <a:pt x="285" y="126"/>
                  </a:lnTo>
                  <a:lnTo>
                    <a:pt x="285" y="128"/>
                  </a:lnTo>
                  <a:lnTo>
                    <a:pt x="286" y="126"/>
                  </a:lnTo>
                  <a:lnTo>
                    <a:pt x="287" y="128"/>
                  </a:lnTo>
                  <a:lnTo>
                    <a:pt x="287" y="129"/>
                  </a:lnTo>
                  <a:lnTo>
                    <a:pt x="288" y="129"/>
                  </a:lnTo>
                  <a:lnTo>
                    <a:pt x="289" y="129"/>
                  </a:lnTo>
                  <a:lnTo>
                    <a:pt x="291" y="129"/>
                  </a:lnTo>
                  <a:lnTo>
                    <a:pt x="292" y="129"/>
                  </a:lnTo>
                  <a:lnTo>
                    <a:pt x="293" y="129"/>
                  </a:lnTo>
                  <a:lnTo>
                    <a:pt x="294" y="129"/>
                  </a:lnTo>
                  <a:lnTo>
                    <a:pt x="294" y="130"/>
                  </a:lnTo>
                  <a:lnTo>
                    <a:pt x="295" y="130"/>
                  </a:lnTo>
                  <a:lnTo>
                    <a:pt x="297" y="130"/>
                  </a:lnTo>
                  <a:lnTo>
                    <a:pt x="299" y="130"/>
                  </a:lnTo>
                  <a:lnTo>
                    <a:pt x="299" y="129"/>
                  </a:lnTo>
                  <a:lnTo>
                    <a:pt x="299" y="130"/>
                  </a:lnTo>
                  <a:lnTo>
                    <a:pt x="299" y="131"/>
                  </a:lnTo>
                  <a:lnTo>
                    <a:pt x="298" y="132"/>
                  </a:lnTo>
                  <a:lnTo>
                    <a:pt x="298" y="134"/>
                  </a:lnTo>
                  <a:lnTo>
                    <a:pt x="299" y="134"/>
                  </a:lnTo>
                  <a:lnTo>
                    <a:pt x="300" y="134"/>
                  </a:lnTo>
                  <a:lnTo>
                    <a:pt x="301" y="134"/>
                  </a:lnTo>
                  <a:lnTo>
                    <a:pt x="301" y="135"/>
                  </a:lnTo>
                  <a:lnTo>
                    <a:pt x="303" y="134"/>
                  </a:lnTo>
                  <a:lnTo>
                    <a:pt x="304" y="135"/>
                  </a:lnTo>
                  <a:lnTo>
                    <a:pt x="304" y="134"/>
                  </a:lnTo>
                  <a:lnTo>
                    <a:pt x="306" y="135"/>
                  </a:lnTo>
                  <a:lnTo>
                    <a:pt x="306" y="136"/>
                  </a:lnTo>
                  <a:lnTo>
                    <a:pt x="305" y="136"/>
                  </a:lnTo>
                  <a:lnTo>
                    <a:pt x="304" y="138"/>
                  </a:lnTo>
                  <a:lnTo>
                    <a:pt x="303" y="138"/>
                  </a:lnTo>
                  <a:lnTo>
                    <a:pt x="301" y="138"/>
                  </a:lnTo>
                  <a:lnTo>
                    <a:pt x="300" y="140"/>
                  </a:lnTo>
                  <a:lnTo>
                    <a:pt x="299" y="141"/>
                  </a:lnTo>
                  <a:lnTo>
                    <a:pt x="298" y="141"/>
                  </a:lnTo>
                  <a:lnTo>
                    <a:pt x="297" y="141"/>
                  </a:lnTo>
                  <a:lnTo>
                    <a:pt x="295" y="141"/>
                  </a:lnTo>
                  <a:lnTo>
                    <a:pt x="294" y="141"/>
                  </a:lnTo>
                  <a:lnTo>
                    <a:pt x="293" y="141"/>
                  </a:lnTo>
                  <a:lnTo>
                    <a:pt x="292" y="141"/>
                  </a:lnTo>
                  <a:lnTo>
                    <a:pt x="292" y="140"/>
                  </a:lnTo>
                  <a:lnTo>
                    <a:pt x="291" y="140"/>
                  </a:lnTo>
                  <a:lnTo>
                    <a:pt x="289" y="140"/>
                  </a:lnTo>
                  <a:lnTo>
                    <a:pt x="289" y="138"/>
                  </a:lnTo>
                  <a:lnTo>
                    <a:pt x="289" y="137"/>
                  </a:lnTo>
                  <a:lnTo>
                    <a:pt x="287" y="137"/>
                  </a:lnTo>
                  <a:lnTo>
                    <a:pt x="288" y="138"/>
                  </a:lnTo>
                  <a:lnTo>
                    <a:pt x="289" y="140"/>
                  </a:lnTo>
                  <a:lnTo>
                    <a:pt x="289" y="141"/>
                  </a:lnTo>
                  <a:lnTo>
                    <a:pt x="288" y="141"/>
                  </a:lnTo>
                  <a:lnTo>
                    <a:pt x="288" y="142"/>
                  </a:lnTo>
                  <a:lnTo>
                    <a:pt x="287" y="142"/>
                  </a:lnTo>
                  <a:lnTo>
                    <a:pt x="286" y="142"/>
                  </a:lnTo>
                  <a:lnTo>
                    <a:pt x="286" y="141"/>
                  </a:lnTo>
                  <a:lnTo>
                    <a:pt x="285" y="141"/>
                  </a:lnTo>
                  <a:lnTo>
                    <a:pt x="285" y="140"/>
                  </a:lnTo>
                  <a:lnTo>
                    <a:pt x="283" y="140"/>
                  </a:lnTo>
                  <a:lnTo>
                    <a:pt x="283" y="138"/>
                  </a:lnTo>
                  <a:lnTo>
                    <a:pt x="282" y="138"/>
                  </a:lnTo>
                  <a:lnTo>
                    <a:pt x="282" y="140"/>
                  </a:lnTo>
                  <a:lnTo>
                    <a:pt x="281" y="138"/>
                  </a:lnTo>
                  <a:lnTo>
                    <a:pt x="279" y="137"/>
                  </a:lnTo>
                  <a:lnTo>
                    <a:pt x="277" y="137"/>
                  </a:lnTo>
                  <a:lnTo>
                    <a:pt x="277" y="138"/>
                  </a:lnTo>
                  <a:lnTo>
                    <a:pt x="276" y="138"/>
                  </a:lnTo>
                  <a:lnTo>
                    <a:pt x="275" y="138"/>
                  </a:lnTo>
                  <a:lnTo>
                    <a:pt x="273" y="138"/>
                  </a:lnTo>
                  <a:lnTo>
                    <a:pt x="273" y="137"/>
                  </a:lnTo>
                  <a:lnTo>
                    <a:pt x="273" y="138"/>
                  </a:lnTo>
                  <a:lnTo>
                    <a:pt x="271" y="138"/>
                  </a:lnTo>
                  <a:lnTo>
                    <a:pt x="270" y="138"/>
                  </a:lnTo>
                  <a:lnTo>
                    <a:pt x="269" y="140"/>
                  </a:lnTo>
                  <a:lnTo>
                    <a:pt x="268" y="141"/>
                  </a:lnTo>
                  <a:lnTo>
                    <a:pt x="267" y="140"/>
                  </a:lnTo>
                  <a:lnTo>
                    <a:pt x="267" y="138"/>
                  </a:lnTo>
                  <a:lnTo>
                    <a:pt x="267" y="137"/>
                  </a:lnTo>
                  <a:lnTo>
                    <a:pt x="265" y="137"/>
                  </a:lnTo>
                  <a:lnTo>
                    <a:pt x="264" y="137"/>
                  </a:lnTo>
                  <a:lnTo>
                    <a:pt x="264" y="138"/>
                  </a:lnTo>
                  <a:lnTo>
                    <a:pt x="263" y="137"/>
                  </a:lnTo>
                  <a:lnTo>
                    <a:pt x="263" y="138"/>
                  </a:lnTo>
                  <a:lnTo>
                    <a:pt x="263" y="140"/>
                  </a:lnTo>
                  <a:lnTo>
                    <a:pt x="263" y="141"/>
                  </a:lnTo>
                  <a:lnTo>
                    <a:pt x="263" y="140"/>
                  </a:lnTo>
                  <a:lnTo>
                    <a:pt x="264" y="140"/>
                  </a:lnTo>
                  <a:lnTo>
                    <a:pt x="264" y="141"/>
                  </a:lnTo>
                  <a:lnTo>
                    <a:pt x="264" y="142"/>
                  </a:lnTo>
                  <a:lnTo>
                    <a:pt x="264" y="141"/>
                  </a:lnTo>
                  <a:lnTo>
                    <a:pt x="264" y="142"/>
                  </a:lnTo>
                  <a:lnTo>
                    <a:pt x="264" y="143"/>
                  </a:lnTo>
                  <a:lnTo>
                    <a:pt x="265" y="143"/>
                  </a:lnTo>
                  <a:lnTo>
                    <a:pt x="264" y="144"/>
                  </a:lnTo>
                  <a:lnTo>
                    <a:pt x="265" y="144"/>
                  </a:lnTo>
                  <a:lnTo>
                    <a:pt x="265" y="143"/>
                  </a:lnTo>
                  <a:lnTo>
                    <a:pt x="267" y="144"/>
                  </a:lnTo>
                  <a:lnTo>
                    <a:pt x="264" y="144"/>
                  </a:lnTo>
                  <a:lnTo>
                    <a:pt x="265" y="146"/>
                  </a:lnTo>
                  <a:lnTo>
                    <a:pt x="265" y="144"/>
                  </a:lnTo>
                  <a:lnTo>
                    <a:pt x="267" y="146"/>
                  </a:lnTo>
                  <a:lnTo>
                    <a:pt x="268" y="146"/>
                  </a:lnTo>
                  <a:lnTo>
                    <a:pt x="269" y="146"/>
                  </a:lnTo>
                  <a:lnTo>
                    <a:pt x="270" y="147"/>
                  </a:lnTo>
                  <a:lnTo>
                    <a:pt x="270" y="148"/>
                  </a:lnTo>
                  <a:lnTo>
                    <a:pt x="271" y="148"/>
                  </a:lnTo>
                  <a:lnTo>
                    <a:pt x="271" y="149"/>
                  </a:lnTo>
                  <a:lnTo>
                    <a:pt x="273" y="151"/>
                  </a:lnTo>
                  <a:lnTo>
                    <a:pt x="274" y="152"/>
                  </a:lnTo>
                  <a:lnTo>
                    <a:pt x="275" y="152"/>
                  </a:lnTo>
                  <a:lnTo>
                    <a:pt x="275" y="153"/>
                  </a:lnTo>
                  <a:lnTo>
                    <a:pt x="276" y="153"/>
                  </a:lnTo>
                  <a:lnTo>
                    <a:pt x="276" y="154"/>
                  </a:lnTo>
                  <a:lnTo>
                    <a:pt x="277" y="154"/>
                  </a:lnTo>
                  <a:lnTo>
                    <a:pt x="277" y="153"/>
                  </a:lnTo>
                  <a:lnTo>
                    <a:pt x="279" y="154"/>
                  </a:lnTo>
                  <a:lnTo>
                    <a:pt x="280" y="154"/>
                  </a:lnTo>
                  <a:lnTo>
                    <a:pt x="280" y="155"/>
                  </a:lnTo>
                  <a:lnTo>
                    <a:pt x="281" y="155"/>
                  </a:lnTo>
                  <a:lnTo>
                    <a:pt x="282" y="155"/>
                  </a:lnTo>
                  <a:lnTo>
                    <a:pt x="283" y="155"/>
                  </a:lnTo>
                  <a:lnTo>
                    <a:pt x="283" y="157"/>
                  </a:lnTo>
                  <a:lnTo>
                    <a:pt x="285" y="158"/>
                  </a:lnTo>
                  <a:lnTo>
                    <a:pt x="286" y="158"/>
                  </a:lnTo>
                  <a:lnTo>
                    <a:pt x="285" y="159"/>
                  </a:lnTo>
                  <a:lnTo>
                    <a:pt x="285" y="160"/>
                  </a:lnTo>
                  <a:lnTo>
                    <a:pt x="286" y="160"/>
                  </a:lnTo>
                  <a:lnTo>
                    <a:pt x="286" y="161"/>
                  </a:lnTo>
                  <a:lnTo>
                    <a:pt x="287" y="161"/>
                  </a:lnTo>
                  <a:lnTo>
                    <a:pt x="289" y="161"/>
                  </a:lnTo>
                  <a:lnTo>
                    <a:pt x="291" y="161"/>
                  </a:lnTo>
                  <a:lnTo>
                    <a:pt x="291" y="163"/>
                  </a:lnTo>
                  <a:lnTo>
                    <a:pt x="292" y="163"/>
                  </a:lnTo>
                  <a:lnTo>
                    <a:pt x="293" y="163"/>
                  </a:lnTo>
                  <a:lnTo>
                    <a:pt x="294" y="163"/>
                  </a:lnTo>
                  <a:lnTo>
                    <a:pt x="295" y="163"/>
                  </a:lnTo>
                  <a:lnTo>
                    <a:pt x="295" y="164"/>
                  </a:lnTo>
                  <a:lnTo>
                    <a:pt x="297" y="164"/>
                  </a:lnTo>
                  <a:lnTo>
                    <a:pt x="298" y="164"/>
                  </a:lnTo>
                  <a:lnTo>
                    <a:pt x="297" y="166"/>
                  </a:lnTo>
                  <a:lnTo>
                    <a:pt x="295" y="166"/>
                  </a:lnTo>
                  <a:lnTo>
                    <a:pt x="297" y="167"/>
                  </a:lnTo>
                  <a:lnTo>
                    <a:pt x="298" y="167"/>
                  </a:lnTo>
                  <a:lnTo>
                    <a:pt x="298" y="169"/>
                  </a:lnTo>
                  <a:lnTo>
                    <a:pt x="299" y="169"/>
                  </a:lnTo>
                  <a:lnTo>
                    <a:pt x="300" y="169"/>
                  </a:lnTo>
                  <a:lnTo>
                    <a:pt x="299" y="170"/>
                  </a:lnTo>
                  <a:lnTo>
                    <a:pt x="300" y="171"/>
                  </a:lnTo>
                  <a:lnTo>
                    <a:pt x="301" y="171"/>
                  </a:lnTo>
                  <a:lnTo>
                    <a:pt x="303" y="171"/>
                  </a:lnTo>
                  <a:lnTo>
                    <a:pt x="304" y="171"/>
                  </a:lnTo>
                  <a:lnTo>
                    <a:pt x="305" y="171"/>
                  </a:lnTo>
                  <a:lnTo>
                    <a:pt x="306" y="171"/>
                  </a:lnTo>
                  <a:lnTo>
                    <a:pt x="305" y="173"/>
                  </a:lnTo>
                  <a:lnTo>
                    <a:pt x="305" y="175"/>
                  </a:lnTo>
                  <a:lnTo>
                    <a:pt x="304" y="176"/>
                  </a:lnTo>
                  <a:lnTo>
                    <a:pt x="303" y="176"/>
                  </a:lnTo>
                  <a:lnTo>
                    <a:pt x="301" y="176"/>
                  </a:lnTo>
                  <a:lnTo>
                    <a:pt x="303" y="177"/>
                  </a:lnTo>
                  <a:lnTo>
                    <a:pt x="304" y="176"/>
                  </a:lnTo>
                  <a:lnTo>
                    <a:pt x="305" y="177"/>
                  </a:lnTo>
                  <a:lnTo>
                    <a:pt x="306" y="179"/>
                  </a:lnTo>
                  <a:lnTo>
                    <a:pt x="305" y="179"/>
                  </a:lnTo>
                  <a:lnTo>
                    <a:pt x="305" y="181"/>
                  </a:lnTo>
                  <a:lnTo>
                    <a:pt x="304" y="182"/>
                  </a:lnTo>
                  <a:lnTo>
                    <a:pt x="304" y="183"/>
                  </a:lnTo>
                  <a:lnTo>
                    <a:pt x="305" y="183"/>
                  </a:lnTo>
                  <a:lnTo>
                    <a:pt x="305" y="184"/>
                  </a:lnTo>
                  <a:lnTo>
                    <a:pt x="305" y="185"/>
                  </a:lnTo>
                  <a:lnTo>
                    <a:pt x="306" y="185"/>
                  </a:lnTo>
                  <a:lnTo>
                    <a:pt x="306" y="187"/>
                  </a:lnTo>
                  <a:lnTo>
                    <a:pt x="305" y="187"/>
                  </a:lnTo>
                  <a:lnTo>
                    <a:pt x="304" y="187"/>
                  </a:lnTo>
                  <a:lnTo>
                    <a:pt x="303" y="188"/>
                  </a:lnTo>
                  <a:lnTo>
                    <a:pt x="304" y="189"/>
                  </a:lnTo>
                  <a:lnTo>
                    <a:pt x="305" y="190"/>
                  </a:lnTo>
                  <a:lnTo>
                    <a:pt x="305" y="191"/>
                  </a:lnTo>
                  <a:lnTo>
                    <a:pt x="305" y="190"/>
                  </a:lnTo>
                  <a:lnTo>
                    <a:pt x="306" y="190"/>
                  </a:lnTo>
                  <a:lnTo>
                    <a:pt x="306" y="191"/>
                  </a:lnTo>
                  <a:lnTo>
                    <a:pt x="307" y="191"/>
                  </a:lnTo>
                  <a:lnTo>
                    <a:pt x="306" y="193"/>
                  </a:lnTo>
                  <a:lnTo>
                    <a:pt x="305" y="193"/>
                  </a:lnTo>
                  <a:lnTo>
                    <a:pt x="304" y="193"/>
                  </a:lnTo>
                  <a:lnTo>
                    <a:pt x="303" y="193"/>
                  </a:lnTo>
                  <a:lnTo>
                    <a:pt x="301" y="193"/>
                  </a:lnTo>
                  <a:lnTo>
                    <a:pt x="301" y="191"/>
                  </a:lnTo>
                  <a:lnTo>
                    <a:pt x="298" y="191"/>
                  </a:lnTo>
                  <a:lnTo>
                    <a:pt x="298" y="190"/>
                  </a:lnTo>
                  <a:lnTo>
                    <a:pt x="297" y="189"/>
                  </a:lnTo>
                  <a:lnTo>
                    <a:pt x="295" y="188"/>
                  </a:lnTo>
                  <a:lnTo>
                    <a:pt x="295" y="187"/>
                  </a:lnTo>
                  <a:lnTo>
                    <a:pt x="294" y="185"/>
                  </a:lnTo>
                  <a:lnTo>
                    <a:pt x="294" y="184"/>
                  </a:lnTo>
                  <a:lnTo>
                    <a:pt x="293" y="183"/>
                  </a:lnTo>
                  <a:lnTo>
                    <a:pt x="293" y="182"/>
                  </a:lnTo>
                  <a:lnTo>
                    <a:pt x="292" y="182"/>
                  </a:lnTo>
                  <a:lnTo>
                    <a:pt x="292" y="183"/>
                  </a:lnTo>
                  <a:lnTo>
                    <a:pt x="291" y="183"/>
                  </a:lnTo>
                  <a:lnTo>
                    <a:pt x="289" y="182"/>
                  </a:lnTo>
                  <a:lnTo>
                    <a:pt x="288" y="182"/>
                  </a:lnTo>
                  <a:lnTo>
                    <a:pt x="288" y="183"/>
                  </a:lnTo>
                  <a:lnTo>
                    <a:pt x="287" y="183"/>
                  </a:lnTo>
                  <a:lnTo>
                    <a:pt x="285" y="182"/>
                  </a:lnTo>
                  <a:lnTo>
                    <a:pt x="285" y="181"/>
                  </a:lnTo>
                  <a:lnTo>
                    <a:pt x="286" y="181"/>
                  </a:lnTo>
                  <a:lnTo>
                    <a:pt x="286" y="179"/>
                  </a:lnTo>
                  <a:lnTo>
                    <a:pt x="287" y="179"/>
                  </a:lnTo>
                  <a:lnTo>
                    <a:pt x="288" y="179"/>
                  </a:lnTo>
                  <a:lnTo>
                    <a:pt x="287" y="178"/>
                  </a:lnTo>
                  <a:lnTo>
                    <a:pt x="288" y="178"/>
                  </a:lnTo>
                  <a:lnTo>
                    <a:pt x="289" y="178"/>
                  </a:lnTo>
                  <a:lnTo>
                    <a:pt x="289" y="177"/>
                  </a:lnTo>
                  <a:lnTo>
                    <a:pt x="288" y="177"/>
                  </a:lnTo>
                  <a:lnTo>
                    <a:pt x="288" y="176"/>
                  </a:lnTo>
                  <a:lnTo>
                    <a:pt x="287" y="176"/>
                  </a:lnTo>
                  <a:lnTo>
                    <a:pt x="286" y="176"/>
                  </a:lnTo>
                  <a:lnTo>
                    <a:pt x="285" y="176"/>
                  </a:lnTo>
                  <a:lnTo>
                    <a:pt x="283" y="175"/>
                  </a:lnTo>
                  <a:lnTo>
                    <a:pt x="282" y="175"/>
                  </a:lnTo>
                  <a:lnTo>
                    <a:pt x="283" y="175"/>
                  </a:lnTo>
                  <a:lnTo>
                    <a:pt x="282" y="173"/>
                  </a:lnTo>
                  <a:lnTo>
                    <a:pt x="281" y="173"/>
                  </a:lnTo>
                  <a:lnTo>
                    <a:pt x="282" y="172"/>
                  </a:lnTo>
                  <a:lnTo>
                    <a:pt x="281" y="172"/>
                  </a:lnTo>
                  <a:lnTo>
                    <a:pt x="280" y="173"/>
                  </a:lnTo>
                  <a:lnTo>
                    <a:pt x="279" y="173"/>
                  </a:lnTo>
                  <a:lnTo>
                    <a:pt x="277" y="172"/>
                  </a:lnTo>
                  <a:lnTo>
                    <a:pt x="277" y="171"/>
                  </a:lnTo>
                  <a:lnTo>
                    <a:pt x="276" y="171"/>
                  </a:lnTo>
                  <a:lnTo>
                    <a:pt x="275" y="171"/>
                  </a:lnTo>
                  <a:lnTo>
                    <a:pt x="275" y="170"/>
                  </a:lnTo>
                  <a:lnTo>
                    <a:pt x="274" y="170"/>
                  </a:lnTo>
                  <a:lnTo>
                    <a:pt x="273" y="170"/>
                  </a:lnTo>
                  <a:lnTo>
                    <a:pt x="271" y="169"/>
                  </a:lnTo>
                  <a:lnTo>
                    <a:pt x="270" y="169"/>
                  </a:lnTo>
                  <a:lnTo>
                    <a:pt x="270" y="167"/>
                  </a:lnTo>
                  <a:lnTo>
                    <a:pt x="269" y="167"/>
                  </a:lnTo>
                  <a:lnTo>
                    <a:pt x="270" y="166"/>
                  </a:lnTo>
                  <a:lnTo>
                    <a:pt x="270" y="165"/>
                  </a:lnTo>
                  <a:lnTo>
                    <a:pt x="269" y="165"/>
                  </a:lnTo>
                  <a:lnTo>
                    <a:pt x="269" y="164"/>
                  </a:lnTo>
                  <a:lnTo>
                    <a:pt x="268" y="163"/>
                  </a:lnTo>
                  <a:lnTo>
                    <a:pt x="267" y="163"/>
                  </a:lnTo>
                  <a:lnTo>
                    <a:pt x="267" y="164"/>
                  </a:lnTo>
                  <a:lnTo>
                    <a:pt x="267" y="165"/>
                  </a:lnTo>
                  <a:lnTo>
                    <a:pt x="265" y="165"/>
                  </a:lnTo>
                  <a:lnTo>
                    <a:pt x="265" y="166"/>
                  </a:lnTo>
                  <a:lnTo>
                    <a:pt x="267" y="166"/>
                  </a:lnTo>
                  <a:lnTo>
                    <a:pt x="268" y="166"/>
                  </a:lnTo>
                  <a:lnTo>
                    <a:pt x="268" y="167"/>
                  </a:lnTo>
                  <a:lnTo>
                    <a:pt x="269" y="167"/>
                  </a:lnTo>
                  <a:lnTo>
                    <a:pt x="269" y="169"/>
                  </a:lnTo>
                  <a:lnTo>
                    <a:pt x="269" y="170"/>
                  </a:lnTo>
                  <a:lnTo>
                    <a:pt x="270" y="171"/>
                  </a:lnTo>
                  <a:lnTo>
                    <a:pt x="269" y="171"/>
                  </a:lnTo>
                  <a:lnTo>
                    <a:pt x="268" y="171"/>
                  </a:lnTo>
                  <a:lnTo>
                    <a:pt x="267" y="170"/>
                  </a:lnTo>
                  <a:lnTo>
                    <a:pt x="265" y="170"/>
                  </a:lnTo>
                  <a:lnTo>
                    <a:pt x="265" y="169"/>
                  </a:lnTo>
                  <a:lnTo>
                    <a:pt x="263" y="169"/>
                  </a:lnTo>
                  <a:lnTo>
                    <a:pt x="262" y="169"/>
                  </a:lnTo>
                  <a:lnTo>
                    <a:pt x="261" y="169"/>
                  </a:lnTo>
                  <a:lnTo>
                    <a:pt x="261" y="167"/>
                  </a:lnTo>
                  <a:lnTo>
                    <a:pt x="259" y="167"/>
                  </a:lnTo>
                  <a:lnTo>
                    <a:pt x="258" y="167"/>
                  </a:lnTo>
                  <a:lnTo>
                    <a:pt x="257" y="167"/>
                  </a:lnTo>
                  <a:lnTo>
                    <a:pt x="255" y="167"/>
                  </a:lnTo>
                  <a:lnTo>
                    <a:pt x="255" y="166"/>
                  </a:lnTo>
                  <a:lnTo>
                    <a:pt x="253" y="166"/>
                  </a:lnTo>
                  <a:lnTo>
                    <a:pt x="255" y="166"/>
                  </a:lnTo>
                  <a:lnTo>
                    <a:pt x="252" y="165"/>
                  </a:lnTo>
                  <a:lnTo>
                    <a:pt x="250" y="163"/>
                  </a:lnTo>
                  <a:lnTo>
                    <a:pt x="250" y="161"/>
                  </a:lnTo>
                  <a:lnTo>
                    <a:pt x="251" y="160"/>
                  </a:lnTo>
                  <a:lnTo>
                    <a:pt x="251" y="159"/>
                  </a:lnTo>
                  <a:lnTo>
                    <a:pt x="251" y="160"/>
                  </a:lnTo>
                  <a:lnTo>
                    <a:pt x="250" y="160"/>
                  </a:lnTo>
                  <a:lnTo>
                    <a:pt x="250" y="161"/>
                  </a:lnTo>
                  <a:lnTo>
                    <a:pt x="248" y="161"/>
                  </a:lnTo>
                  <a:lnTo>
                    <a:pt x="247" y="161"/>
                  </a:lnTo>
                  <a:lnTo>
                    <a:pt x="247" y="160"/>
                  </a:lnTo>
                  <a:lnTo>
                    <a:pt x="246" y="161"/>
                  </a:lnTo>
                  <a:lnTo>
                    <a:pt x="245" y="163"/>
                  </a:lnTo>
                  <a:lnTo>
                    <a:pt x="244" y="163"/>
                  </a:lnTo>
                  <a:lnTo>
                    <a:pt x="242" y="163"/>
                  </a:lnTo>
                  <a:lnTo>
                    <a:pt x="241" y="163"/>
                  </a:lnTo>
                  <a:lnTo>
                    <a:pt x="241" y="164"/>
                  </a:lnTo>
                  <a:lnTo>
                    <a:pt x="241" y="165"/>
                  </a:lnTo>
                  <a:lnTo>
                    <a:pt x="242" y="165"/>
                  </a:lnTo>
                  <a:lnTo>
                    <a:pt x="244" y="165"/>
                  </a:lnTo>
                  <a:lnTo>
                    <a:pt x="245" y="165"/>
                  </a:lnTo>
                  <a:lnTo>
                    <a:pt x="245" y="164"/>
                  </a:lnTo>
                  <a:lnTo>
                    <a:pt x="246" y="164"/>
                  </a:lnTo>
                  <a:lnTo>
                    <a:pt x="247" y="164"/>
                  </a:lnTo>
                  <a:lnTo>
                    <a:pt x="247" y="165"/>
                  </a:lnTo>
                  <a:lnTo>
                    <a:pt x="246" y="165"/>
                  </a:lnTo>
                  <a:lnTo>
                    <a:pt x="246" y="166"/>
                  </a:lnTo>
                  <a:lnTo>
                    <a:pt x="246" y="167"/>
                  </a:lnTo>
                  <a:lnTo>
                    <a:pt x="246" y="169"/>
                  </a:lnTo>
                  <a:lnTo>
                    <a:pt x="246" y="167"/>
                  </a:lnTo>
                  <a:lnTo>
                    <a:pt x="245" y="167"/>
                  </a:lnTo>
                  <a:lnTo>
                    <a:pt x="244" y="167"/>
                  </a:lnTo>
                  <a:lnTo>
                    <a:pt x="244" y="166"/>
                  </a:lnTo>
                  <a:lnTo>
                    <a:pt x="244" y="167"/>
                  </a:lnTo>
                  <a:lnTo>
                    <a:pt x="244" y="169"/>
                  </a:lnTo>
                  <a:lnTo>
                    <a:pt x="245" y="169"/>
                  </a:lnTo>
                  <a:lnTo>
                    <a:pt x="246" y="169"/>
                  </a:lnTo>
                  <a:lnTo>
                    <a:pt x="246" y="170"/>
                  </a:lnTo>
                  <a:lnTo>
                    <a:pt x="247" y="170"/>
                  </a:lnTo>
                  <a:lnTo>
                    <a:pt x="248" y="170"/>
                  </a:lnTo>
                  <a:lnTo>
                    <a:pt x="250" y="169"/>
                  </a:lnTo>
                  <a:lnTo>
                    <a:pt x="251" y="169"/>
                  </a:lnTo>
                  <a:lnTo>
                    <a:pt x="252" y="169"/>
                  </a:lnTo>
                  <a:lnTo>
                    <a:pt x="251" y="170"/>
                  </a:lnTo>
                  <a:lnTo>
                    <a:pt x="252" y="170"/>
                  </a:lnTo>
                  <a:lnTo>
                    <a:pt x="251" y="171"/>
                  </a:lnTo>
                  <a:lnTo>
                    <a:pt x="252" y="172"/>
                  </a:lnTo>
                  <a:lnTo>
                    <a:pt x="253" y="172"/>
                  </a:lnTo>
                  <a:lnTo>
                    <a:pt x="253" y="173"/>
                  </a:lnTo>
                  <a:lnTo>
                    <a:pt x="252" y="173"/>
                  </a:lnTo>
                  <a:lnTo>
                    <a:pt x="252" y="175"/>
                  </a:lnTo>
                  <a:lnTo>
                    <a:pt x="253" y="175"/>
                  </a:lnTo>
                  <a:lnTo>
                    <a:pt x="255" y="175"/>
                  </a:lnTo>
                  <a:lnTo>
                    <a:pt x="255" y="176"/>
                  </a:lnTo>
                  <a:lnTo>
                    <a:pt x="256" y="176"/>
                  </a:lnTo>
                  <a:lnTo>
                    <a:pt x="258" y="176"/>
                  </a:lnTo>
                  <a:lnTo>
                    <a:pt x="258" y="177"/>
                  </a:lnTo>
                  <a:lnTo>
                    <a:pt x="259" y="177"/>
                  </a:lnTo>
                  <a:lnTo>
                    <a:pt x="262" y="178"/>
                  </a:lnTo>
                  <a:lnTo>
                    <a:pt x="263" y="177"/>
                  </a:lnTo>
                  <a:lnTo>
                    <a:pt x="264" y="177"/>
                  </a:lnTo>
                  <a:lnTo>
                    <a:pt x="265" y="177"/>
                  </a:lnTo>
                  <a:lnTo>
                    <a:pt x="267" y="178"/>
                  </a:lnTo>
                  <a:lnTo>
                    <a:pt x="268" y="178"/>
                  </a:lnTo>
                  <a:lnTo>
                    <a:pt x="268" y="177"/>
                  </a:lnTo>
                  <a:lnTo>
                    <a:pt x="267" y="177"/>
                  </a:lnTo>
                  <a:lnTo>
                    <a:pt x="268" y="176"/>
                  </a:lnTo>
                  <a:lnTo>
                    <a:pt x="268" y="177"/>
                  </a:lnTo>
                  <a:lnTo>
                    <a:pt x="270" y="177"/>
                  </a:lnTo>
                  <a:lnTo>
                    <a:pt x="269" y="177"/>
                  </a:lnTo>
                  <a:lnTo>
                    <a:pt x="270" y="178"/>
                  </a:lnTo>
                  <a:lnTo>
                    <a:pt x="273" y="178"/>
                  </a:lnTo>
                  <a:lnTo>
                    <a:pt x="273" y="179"/>
                  </a:lnTo>
                  <a:lnTo>
                    <a:pt x="274" y="179"/>
                  </a:lnTo>
                  <a:lnTo>
                    <a:pt x="275" y="179"/>
                  </a:lnTo>
                  <a:lnTo>
                    <a:pt x="275" y="181"/>
                  </a:lnTo>
                  <a:lnTo>
                    <a:pt x="274" y="181"/>
                  </a:lnTo>
                  <a:lnTo>
                    <a:pt x="274" y="182"/>
                  </a:lnTo>
                  <a:lnTo>
                    <a:pt x="274" y="184"/>
                  </a:lnTo>
                  <a:lnTo>
                    <a:pt x="273" y="184"/>
                  </a:lnTo>
                  <a:lnTo>
                    <a:pt x="274" y="185"/>
                  </a:lnTo>
                  <a:lnTo>
                    <a:pt x="274" y="184"/>
                  </a:lnTo>
                  <a:lnTo>
                    <a:pt x="275" y="184"/>
                  </a:lnTo>
                  <a:lnTo>
                    <a:pt x="275" y="183"/>
                  </a:lnTo>
                  <a:lnTo>
                    <a:pt x="276" y="183"/>
                  </a:lnTo>
                  <a:lnTo>
                    <a:pt x="277" y="183"/>
                  </a:lnTo>
                  <a:lnTo>
                    <a:pt x="277" y="184"/>
                  </a:lnTo>
                  <a:lnTo>
                    <a:pt x="277" y="183"/>
                  </a:lnTo>
                  <a:lnTo>
                    <a:pt x="277" y="184"/>
                  </a:lnTo>
                  <a:lnTo>
                    <a:pt x="279" y="184"/>
                  </a:lnTo>
                  <a:lnTo>
                    <a:pt x="280" y="185"/>
                  </a:lnTo>
                  <a:lnTo>
                    <a:pt x="279" y="187"/>
                  </a:lnTo>
                  <a:lnTo>
                    <a:pt x="280" y="187"/>
                  </a:lnTo>
                  <a:lnTo>
                    <a:pt x="281" y="187"/>
                  </a:lnTo>
                  <a:lnTo>
                    <a:pt x="282" y="188"/>
                  </a:lnTo>
                  <a:lnTo>
                    <a:pt x="282" y="189"/>
                  </a:lnTo>
                  <a:lnTo>
                    <a:pt x="283" y="189"/>
                  </a:lnTo>
                  <a:lnTo>
                    <a:pt x="285" y="188"/>
                  </a:lnTo>
                  <a:lnTo>
                    <a:pt x="285" y="189"/>
                  </a:lnTo>
                  <a:lnTo>
                    <a:pt x="286" y="189"/>
                  </a:lnTo>
                  <a:lnTo>
                    <a:pt x="287" y="189"/>
                  </a:lnTo>
                  <a:lnTo>
                    <a:pt x="287" y="190"/>
                  </a:lnTo>
                  <a:lnTo>
                    <a:pt x="287" y="191"/>
                  </a:lnTo>
                  <a:lnTo>
                    <a:pt x="287" y="193"/>
                  </a:lnTo>
                  <a:lnTo>
                    <a:pt x="287" y="194"/>
                  </a:lnTo>
                  <a:lnTo>
                    <a:pt x="287" y="195"/>
                  </a:lnTo>
                  <a:lnTo>
                    <a:pt x="287" y="196"/>
                  </a:lnTo>
                  <a:lnTo>
                    <a:pt x="287" y="197"/>
                  </a:lnTo>
                  <a:lnTo>
                    <a:pt x="287" y="199"/>
                  </a:lnTo>
                  <a:lnTo>
                    <a:pt x="288" y="199"/>
                  </a:lnTo>
                  <a:lnTo>
                    <a:pt x="289" y="199"/>
                  </a:lnTo>
                  <a:lnTo>
                    <a:pt x="291" y="199"/>
                  </a:lnTo>
                  <a:lnTo>
                    <a:pt x="293" y="199"/>
                  </a:lnTo>
                  <a:lnTo>
                    <a:pt x="293" y="200"/>
                  </a:lnTo>
                  <a:lnTo>
                    <a:pt x="294" y="201"/>
                  </a:lnTo>
                  <a:lnTo>
                    <a:pt x="295" y="201"/>
                  </a:lnTo>
                  <a:lnTo>
                    <a:pt x="297" y="201"/>
                  </a:lnTo>
                  <a:lnTo>
                    <a:pt x="298" y="202"/>
                  </a:lnTo>
                  <a:lnTo>
                    <a:pt x="298" y="203"/>
                  </a:lnTo>
                  <a:lnTo>
                    <a:pt x="297" y="205"/>
                  </a:lnTo>
                  <a:lnTo>
                    <a:pt x="298" y="205"/>
                  </a:lnTo>
                  <a:lnTo>
                    <a:pt x="298" y="206"/>
                  </a:lnTo>
                  <a:lnTo>
                    <a:pt x="299" y="206"/>
                  </a:lnTo>
                  <a:lnTo>
                    <a:pt x="299" y="207"/>
                  </a:lnTo>
                  <a:lnTo>
                    <a:pt x="301" y="207"/>
                  </a:lnTo>
                  <a:lnTo>
                    <a:pt x="301" y="208"/>
                  </a:lnTo>
                  <a:lnTo>
                    <a:pt x="303" y="209"/>
                  </a:lnTo>
                  <a:lnTo>
                    <a:pt x="304" y="209"/>
                  </a:lnTo>
                  <a:lnTo>
                    <a:pt x="304" y="211"/>
                  </a:lnTo>
                  <a:lnTo>
                    <a:pt x="304" y="212"/>
                  </a:lnTo>
                  <a:lnTo>
                    <a:pt x="304" y="213"/>
                  </a:lnTo>
                  <a:lnTo>
                    <a:pt x="305" y="213"/>
                  </a:lnTo>
                  <a:lnTo>
                    <a:pt x="304" y="214"/>
                  </a:lnTo>
                  <a:lnTo>
                    <a:pt x="305" y="214"/>
                  </a:lnTo>
                  <a:lnTo>
                    <a:pt x="305" y="215"/>
                  </a:lnTo>
                  <a:lnTo>
                    <a:pt x="306" y="217"/>
                  </a:lnTo>
                  <a:lnTo>
                    <a:pt x="306" y="218"/>
                  </a:lnTo>
                  <a:lnTo>
                    <a:pt x="305" y="219"/>
                  </a:lnTo>
                  <a:lnTo>
                    <a:pt x="305" y="220"/>
                  </a:lnTo>
                  <a:lnTo>
                    <a:pt x="306" y="220"/>
                  </a:lnTo>
                  <a:lnTo>
                    <a:pt x="307" y="220"/>
                  </a:lnTo>
                  <a:lnTo>
                    <a:pt x="309" y="221"/>
                  </a:lnTo>
                  <a:lnTo>
                    <a:pt x="309" y="223"/>
                  </a:lnTo>
                  <a:lnTo>
                    <a:pt x="310" y="223"/>
                  </a:lnTo>
                  <a:lnTo>
                    <a:pt x="311" y="223"/>
                  </a:lnTo>
                  <a:lnTo>
                    <a:pt x="312" y="224"/>
                  </a:lnTo>
                  <a:lnTo>
                    <a:pt x="311" y="224"/>
                  </a:lnTo>
                  <a:lnTo>
                    <a:pt x="311" y="225"/>
                  </a:lnTo>
                  <a:lnTo>
                    <a:pt x="310" y="226"/>
                  </a:lnTo>
                  <a:lnTo>
                    <a:pt x="311" y="226"/>
                  </a:lnTo>
                  <a:lnTo>
                    <a:pt x="312" y="226"/>
                  </a:lnTo>
                  <a:lnTo>
                    <a:pt x="312" y="227"/>
                  </a:lnTo>
                  <a:lnTo>
                    <a:pt x="314" y="229"/>
                  </a:lnTo>
                  <a:lnTo>
                    <a:pt x="315" y="229"/>
                  </a:lnTo>
                  <a:lnTo>
                    <a:pt x="316" y="230"/>
                  </a:lnTo>
                  <a:lnTo>
                    <a:pt x="315" y="231"/>
                  </a:lnTo>
                  <a:lnTo>
                    <a:pt x="316" y="232"/>
                  </a:lnTo>
                  <a:lnTo>
                    <a:pt x="317" y="232"/>
                  </a:lnTo>
                  <a:lnTo>
                    <a:pt x="317" y="233"/>
                  </a:lnTo>
                  <a:lnTo>
                    <a:pt x="317" y="232"/>
                  </a:lnTo>
                  <a:lnTo>
                    <a:pt x="317" y="233"/>
                  </a:lnTo>
                  <a:lnTo>
                    <a:pt x="318" y="233"/>
                  </a:lnTo>
                  <a:lnTo>
                    <a:pt x="320" y="232"/>
                  </a:lnTo>
                  <a:lnTo>
                    <a:pt x="321" y="233"/>
                  </a:lnTo>
                  <a:lnTo>
                    <a:pt x="321" y="232"/>
                  </a:lnTo>
                  <a:lnTo>
                    <a:pt x="323" y="232"/>
                  </a:lnTo>
                  <a:lnTo>
                    <a:pt x="324" y="232"/>
                  </a:lnTo>
                  <a:lnTo>
                    <a:pt x="323" y="233"/>
                  </a:lnTo>
                  <a:lnTo>
                    <a:pt x="322" y="235"/>
                  </a:lnTo>
                  <a:lnTo>
                    <a:pt x="322" y="236"/>
                  </a:lnTo>
                  <a:lnTo>
                    <a:pt x="321" y="236"/>
                  </a:lnTo>
                  <a:lnTo>
                    <a:pt x="320" y="236"/>
                  </a:lnTo>
                  <a:lnTo>
                    <a:pt x="318" y="236"/>
                  </a:lnTo>
                  <a:lnTo>
                    <a:pt x="317" y="237"/>
                  </a:lnTo>
                  <a:lnTo>
                    <a:pt x="318" y="238"/>
                  </a:lnTo>
                  <a:lnTo>
                    <a:pt x="317" y="239"/>
                  </a:lnTo>
                  <a:lnTo>
                    <a:pt x="317" y="241"/>
                  </a:lnTo>
                  <a:lnTo>
                    <a:pt x="316" y="241"/>
                  </a:lnTo>
                  <a:lnTo>
                    <a:pt x="317" y="241"/>
                  </a:lnTo>
                  <a:lnTo>
                    <a:pt x="317" y="242"/>
                  </a:lnTo>
                  <a:lnTo>
                    <a:pt x="316" y="243"/>
                  </a:lnTo>
                  <a:lnTo>
                    <a:pt x="318" y="243"/>
                  </a:lnTo>
                  <a:lnTo>
                    <a:pt x="318" y="244"/>
                  </a:lnTo>
                  <a:lnTo>
                    <a:pt x="320" y="244"/>
                  </a:lnTo>
                  <a:lnTo>
                    <a:pt x="320" y="245"/>
                  </a:lnTo>
                  <a:lnTo>
                    <a:pt x="318" y="245"/>
                  </a:lnTo>
                  <a:lnTo>
                    <a:pt x="317" y="247"/>
                  </a:lnTo>
                  <a:lnTo>
                    <a:pt x="317" y="245"/>
                  </a:lnTo>
                  <a:lnTo>
                    <a:pt x="316" y="245"/>
                  </a:lnTo>
                  <a:lnTo>
                    <a:pt x="315" y="244"/>
                  </a:lnTo>
                  <a:lnTo>
                    <a:pt x="314" y="243"/>
                  </a:lnTo>
                  <a:lnTo>
                    <a:pt x="312" y="243"/>
                  </a:lnTo>
                  <a:lnTo>
                    <a:pt x="312" y="242"/>
                  </a:lnTo>
                  <a:lnTo>
                    <a:pt x="311" y="242"/>
                  </a:lnTo>
                  <a:lnTo>
                    <a:pt x="311" y="241"/>
                  </a:lnTo>
                  <a:lnTo>
                    <a:pt x="311" y="239"/>
                  </a:lnTo>
                  <a:lnTo>
                    <a:pt x="310" y="241"/>
                  </a:lnTo>
                  <a:lnTo>
                    <a:pt x="309" y="241"/>
                  </a:lnTo>
                  <a:lnTo>
                    <a:pt x="307" y="239"/>
                  </a:lnTo>
                  <a:lnTo>
                    <a:pt x="305" y="239"/>
                  </a:lnTo>
                  <a:lnTo>
                    <a:pt x="305" y="238"/>
                  </a:lnTo>
                  <a:lnTo>
                    <a:pt x="305" y="237"/>
                  </a:lnTo>
                  <a:lnTo>
                    <a:pt x="305" y="238"/>
                  </a:lnTo>
                  <a:lnTo>
                    <a:pt x="304" y="238"/>
                  </a:lnTo>
                  <a:lnTo>
                    <a:pt x="303" y="239"/>
                  </a:lnTo>
                  <a:lnTo>
                    <a:pt x="301" y="239"/>
                  </a:lnTo>
                  <a:lnTo>
                    <a:pt x="301" y="241"/>
                  </a:lnTo>
                  <a:lnTo>
                    <a:pt x="301" y="242"/>
                  </a:lnTo>
                  <a:lnTo>
                    <a:pt x="301" y="241"/>
                  </a:lnTo>
                  <a:lnTo>
                    <a:pt x="301" y="243"/>
                  </a:lnTo>
                  <a:lnTo>
                    <a:pt x="301" y="244"/>
                  </a:lnTo>
                  <a:lnTo>
                    <a:pt x="300" y="244"/>
                  </a:lnTo>
                  <a:lnTo>
                    <a:pt x="299" y="244"/>
                  </a:lnTo>
                  <a:lnTo>
                    <a:pt x="298" y="244"/>
                  </a:lnTo>
                  <a:lnTo>
                    <a:pt x="298" y="245"/>
                  </a:lnTo>
                  <a:lnTo>
                    <a:pt x="298" y="244"/>
                  </a:lnTo>
                  <a:lnTo>
                    <a:pt x="298" y="243"/>
                  </a:lnTo>
                  <a:lnTo>
                    <a:pt x="297" y="242"/>
                  </a:lnTo>
                  <a:lnTo>
                    <a:pt x="297" y="241"/>
                  </a:lnTo>
                  <a:lnTo>
                    <a:pt x="295" y="239"/>
                  </a:lnTo>
                  <a:lnTo>
                    <a:pt x="295" y="241"/>
                  </a:lnTo>
                  <a:lnTo>
                    <a:pt x="294" y="239"/>
                  </a:lnTo>
                  <a:lnTo>
                    <a:pt x="294" y="241"/>
                  </a:lnTo>
                  <a:lnTo>
                    <a:pt x="293" y="239"/>
                  </a:lnTo>
                  <a:lnTo>
                    <a:pt x="293" y="238"/>
                  </a:lnTo>
                  <a:lnTo>
                    <a:pt x="292" y="238"/>
                  </a:lnTo>
                  <a:lnTo>
                    <a:pt x="291" y="237"/>
                  </a:lnTo>
                  <a:lnTo>
                    <a:pt x="291" y="236"/>
                  </a:lnTo>
                  <a:lnTo>
                    <a:pt x="289" y="235"/>
                  </a:lnTo>
                  <a:lnTo>
                    <a:pt x="288" y="235"/>
                  </a:lnTo>
                  <a:lnTo>
                    <a:pt x="288" y="237"/>
                  </a:lnTo>
                  <a:lnTo>
                    <a:pt x="287" y="237"/>
                  </a:lnTo>
                  <a:lnTo>
                    <a:pt x="286" y="237"/>
                  </a:lnTo>
                  <a:lnTo>
                    <a:pt x="285" y="236"/>
                  </a:lnTo>
                  <a:lnTo>
                    <a:pt x="283" y="237"/>
                  </a:lnTo>
                  <a:lnTo>
                    <a:pt x="282" y="238"/>
                  </a:lnTo>
                  <a:lnTo>
                    <a:pt x="283" y="239"/>
                  </a:lnTo>
                  <a:lnTo>
                    <a:pt x="285" y="241"/>
                  </a:lnTo>
                  <a:lnTo>
                    <a:pt x="285" y="239"/>
                  </a:lnTo>
                  <a:lnTo>
                    <a:pt x="286" y="241"/>
                  </a:lnTo>
                  <a:lnTo>
                    <a:pt x="286" y="239"/>
                  </a:lnTo>
                  <a:lnTo>
                    <a:pt x="287" y="239"/>
                  </a:lnTo>
                  <a:lnTo>
                    <a:pt x="287" y="241"/>
                  </a:lnTo>
                  <a:lnTo>
                    <a:pt x="288" y="241"/>
                  </a:lnTo>
                  <a:lnTo>
                    <a:pt x="289" y="241"/>
                  </a:lnTo>
                  <a:lnTo>
                    <a:pt x="291" y="242"/>
                  </a:lnTo>
                  <a:lnTo>
                    <a:pt x="292" y="242"/>
                  </a:lnTo>
                  <a:lnTo>
                    <a:pt x="292" y="243"/>
                  </a:lnTo>
                  <a:lnTo>
                    <a:pt x="293" y="243"/>
                  </a:lnTo>
                  <a:lnTo>
                    <a:pt x="293" y="244"/>
                  </a:lnTo>
                  <a:lnTo>
                    <a:pt x="294" y="244"/>
                  </a:lnTo>
                  <a:lnTo>
                    <a:pt x="294" y="245"/>
                  </a:lnTo>
                  <a:lnTo>
                    <a:pt x="293" y="247"/>
                  </a:lnTo>
                  <a:lnTo>
                    <a:pt x="294" y="247"/>
                  </a:lnTo>
                  <a:lnTo>
                    <a:pt x="293" y="247"/>
                  </a:lnTo>
                  <a:lnTo>
                    <a:pt x="294" y="247"/>
                  </a:lnTo>
                  <a:lnTo>
                    <a:pt x="294" y="248"/>
                  </a:lnTo>
                  <a:lnTo>
                    <a:pt x="293" y="249"/>
                  </a:lnTo>
                  <a:lnTo>
                    <a:pt x="292" y="249"/>
                  </a:lnTo>
                  <a:lnTo>
                    <a:pt x="291" y="249"/>
                  </a:lnTo>
                  <a:lnTo>
                    <a:pt x="289" y="249"/>
                  </a:lnTo>
                  <a:lnTo>
                    <a:pt x="288" y="249"/>
                  </a:lnTo>
                  <a:lnTo>
                    <a:pt x="287" y="249"/>
                  </a:lnTo>
                  <a:lnTo>
                    <a:pt x="286" y="250"/>
                  </a:lnTo>
                  <a:lnTo>
                    <a:pt x="286" y="251"/>
                  </a:lnTo>
                  <a:lnTo>
                    <a:pt x="285" y="251"/>
                  </a:lnTo>
                  <a:lnTo>
                    <a:pt x="283" y="253"/>
                  </a:lnTo>
                  <a:lnTo>
                    <a:pt x="283" y="251"/>
                  </a:lnTo>
                  <a:lnTo>
                    <a:pt x="283" y="253"/>
                  </a:lnTo>
                  <a:lnTo>
                    <a:pt x="282" y="251"/>
                  </a:lnTo>
                  <a:lnTo>
                    <a:pt x="281" y="251"/>
                  </a:lnTo>
                  <a:lnTo>
                    <a:pt x="280" y="253"/>
                  </a:lnTo>
                  <a:lnTo>
                    <a:pt x="280" y="251"/>
                  </a:lnTo>
                  <a:lnTo>
                    <a:pt x="279" y="253"/>
                  </a:lnTo>
                  <a:lnTo>
                    <a:pt x="276" y="251"/>
                  </a:lnTo>
                  <a:lnTo>
                    <a:pt x="276" y="250"/>
                  </a:lnTo>
                  <a:lnTo>
                    <a:pt x="275" y="250"/>
                  </a:lnTo>
                  <a:lnTo>
                    <a:pt x="274" y="250"/>
                  </a:lnTo>
                  <a:lnTo>
                    <a:pt x="274" y="249"/>
                  </a:lnTo>
                  <a:lnTo>
                    <a:pt x="273" y="250"/>
                  </a:lnTo>
                  <a:lnTo>
                    <a:pt x="274" y="250"/>
                  </a:lnTo>
                  <a:lnTo>
                    <a:pt x="275" y="250"/>
                  </a:lnTo>
                  <a:lnTo>
                    <a:pt x="276" y="251"/>
                  </a:lnTo>
                  <a:lnTo>
                    <a:pt x="276" y="253"/>
                  </a:lnTo>
                  <a:lnTo>
                    <a:pt x="275" y="254"/>
                  </a:lnTo>
                  <a:lnTo>
                    <a:pt x="275" y="253"/>
                  </a:lnTo>
                  <a:lnTo>
                    <a:pt x="275" y="254"/>
                  </a:lnTo>
                  <a:lnTo>
                    <a:pt x="274" y="255"/>
                  </a:lnTo>
                  <a:lnTo>
                    <a:pt x="275" y="255"/>
                  </a:lnTo>
                  <a:lnTo>
                    <a:pt x="274" y="256"/>
                  </a:lnTo>
                  <a:lnTo>
                    <a:pt x="273" y="256"/>
                  </a:lnTo>
                  <a:lnTo>
                    <a:pt x="271" y="256"/>
                  </a:lnTo>
                  <a:lnTo>
                    <a:pt x="270" y="256"/>
                  </a:lnTo>
                  <a:lnTo>
                    <a:pt x="269" y="258"/>
                  </a:lnTo>
                  <a:lnTo>
                    <a:pt x="269" y="259"/>
                  </a:lnTo>
                  <a:lnTo>
                    <a:pt x="268" y="258"/>
                  </a:lnTo>
                  <a:lnTo>
                    <a:pt x="268" y="259"/>
                  </a:lnTo>
                  <a:lnTo>
                    <a:pt x="268" y="260"/>
                  </a:lnTo>
                  <a:lnTo>
                    <a:pt x="269" y="260"/>
                  </a:lnTo>
                  <a:lnTo>
                    <a:pt x="268" y="261"/>
                  </a:lnTo>
                  <a:lnTo>
                    <a:pt x="269" y="261"/>
                  </a:lnTo>
                  <a:lnTo>
                    <a:pt x="269" y="262"/>
                  </a:lnTo>
                  <a:lnTo>
                    <a:pt x="270" y="262"/>
                  </a:lnTo>
                  <a:lnTo>
                    <a:pt x="271" y="262"/>
                  </a:lnTo>
                  <a:lnTo>
                    <a:pt x="273" y="262"/>
                  </a:lnTo>
                  <a:lnTo>
                    <a:pt x="273" y="261"/>
                  </a:lnTo>
                  <a:lnTo>
                    <a:pt x="274" y="261"/>
                  </a:lnTo>
                  <a:lnTo>
                    <a:pt x="274" y="262"/>
                  </a:lnTo>
                  <a:lnTo>
                    <a:pt x="275" y="262"/>
                  </a:lnTo>
                  <a:lnTo>
                    <a:pt x="275" y="264"/>
                  </a:lnTo>
                  <a:lnTo>
                    <a:pt x="274" y="265"/>
                  </a:lnTo>
                  <a:lnTo>
                    <a:pt x="274" y="266"/>
                  </a:lnTo>
                  <a:lnTo>
                    <a:pt x="275" y="267"/>
                  </a:lnTo>
                  <a:lnTo>
                    <a:pt x="274" y="268"/>
                  </a:lnTo>
                  <a:lnTo>
                    <a:pt x="274" y="267"/>
                  </a:lnTo>
                  <a:lnTo>
                    <a:pt x="273" y="267"/>
                  </a:lnTo>
                  <a:lnTo>
                    <a:pt x="273" y="268"/>
                  </a:lnTo>
                  <a:lnTo>
                    <a:pt x="273" y="270"/>
                  </a:lnTo>
                  <a:lnTo>
                    <a:pt x="271" y="270"/>
                  </a:lnTo>
                  <a:lnTo>
                    <a:pt x="273" y="271"/>
                  </a:lnTo>
                  <a:lnTo>
                    <a:pt x="274" y="270"/>
                  </a:lnTo>
                  <a:lnTo>
                    <a:pt x="275" y="270"/>
                  </a:lnTo>
                  <a:lnTo>
                    <a:pt x="276" y="270"/>
                  </a:lnTo>
                  <a:lnTo>
                    <a:pt x="275" y="271"/>
                  </a:lnTo>
                  <a:lnTo>
                    <a:pt x="276" y="272"/>
                  </a:lnTo>
                  <a:lnTo>
                    <a:pt x="277" y="273"/>
                  </a:lnTo>
                  <a:lnTo>
                    <a:pt x="279" y="273"/>
                  </a:lnTo>
                  <a:lnTo>
                    <a:pt x="279" y="274"/>
                  </a:lnTo>
                  <a:lnTo>
                    <a:pt x="277" y="276"/>
                  </a:lnTo>
                  <a:lnTo>
                    <a:pt x="279" y="276"/>
                  </a:lnTo>
                  <a:lnTo>
                    <a:pt x="277" y="277"/>
                  </a:lnTo>
                  <a:lnTo>
                    <a:pt x="276" y="278"/>
                  </a:lnTo>
                  <a:lnTo>
                    <a:pt x="276" y="277"/>
                  </a:lnTo>
                  <a:lnTo>
                    <a:pt x="275" y="278"/>
                  </a:lnTo>
                  <a:lnTo>
                    <a:pt x="274" y="277"/>
                  </a:lnTo>
                  <a:lnTo>
                    <a:pt x="273" y="277"/>
                  </a:lnTo>
                  <a:lnTo>
                    <a:pt x="271" y="277"/>
                  </a:lnTo>
                  <a:lnTo>
                    <a:pt x="270" y="276"/>
                  </a:lnTo>
                  <a:lnTo>
                    <a:pt x="269" y="276"/>
                  </a:lnTo>
                  <a:lnTo>
                    <a:pt x="268" y="274"/>
                  </a:lnTo>
                  <a:lnTo>
                    <a:pt x="267" y="273"/>
                  </a:lnTo>
                  <a:lnTo>
                    <a:pt x="267" y="274"/>
                  </a:lnTo>
                  <a:lnTo>
                    <a:pt x="264" y="273"/>
                  </a:lnTo>
                  <a:lnTo>
                    <a:pt x="267" y="273"/>
                  </a:lnTo>
                  <a:lnTo>
                    <a:pt x="267" y="271"/>
                  </a:lnTo>
                  <a:lnTo>
                    <a:pt x="268" y="271"/>
                  </a:lnTo>
                  <a:lnTo>
                    <a:pt x="268" y="272"/>
                  </a:lnTo>
                  <a:lnTo>
                    <a:pt x="268" y="273"/>
                  </a:lnTo>
                  <a:lnTo>
                    <a:pt x="269" y="273"/>
                  </a:lnTo>
                  <a:lnTo>
                    <a:pt x="270" y="274"/>
                  </a:lnTo>
                  <a:lnTo>
                    <a:pt x="271" y="273"/>
                  </a:lnTo>
                  <a:lnTo>
                    <a:pt x="273" y="273"/>
                  </a:lnTo>
                  <a:lnTo>
                    <a:pt x="271" y="272"/>
                  </a:lnTo>
                  <a:lnTo>
                    <a:pt x="270" y="273"/>
                  </a:lnTo>
                  <a:lnTo>
                    <a:pt x="270" y="272"/>
                  </a:lnTo>
                  <a:lnTo>
                    <a:pt x="270" y="271"/>
                  </a:lnTo>
                  <a:lnTo>
                    <a:pt x="270" y="270"/>
                  </a:lnTo>
                  <a:lnTo>
                    <a:pt x="269" y="270"/>
                  </a:lnTo>
                  <a:lnTo>
                    <a:pt x="270" y="268"/>
                  </a:lnTo>
                  <a:lnTo>
                    <a:pt x="269" y="268"/>
                  </a:lnTo>
                  <a:lnTo>
                    <a:pt x="269" y="267"/>
                  </a:lnTo>
                  <a:lnTo>
                    <a:pt x="268" y="266"/>
                  </a:lnTo>
                  <a:lnTo>
                    <a:pt x="269" y="266"/>
                  </a:lnTo>
                  <a:lnTo>
                    <a:pt x="267" y="266"/>
                  </a:lnTo>
                  <a:lnTo>
                    <a:pt x="267" y="267"/>
                  </a:lnTo>
                  <a:lnTo>
                    <a:pt x="268" y="267"/>
                  </a:lnTo>
                  <a:lnTo>
                    <a:pt x="269" y="267"/>
                  </a:lnTo>
                  <a:lnTo>
                    <a:pt x="267" y="268"/>
                  </a:lnTo>
                  <a:lnTo>
                    <a:pt x="267" y="267"/>
                  </a:lnTo>
                  <a:lnTo>
                    <a:pt x="265" y="267"/>
                  </a:lnTo>
                  <a:lnTo>
                    <a:pt x="264" y="266"/>
                  </a:lnTo>
                  <a:lnTo>
                    <a:pt x="263" y="265"/>
                  </a:lnTo>
                  <a:lnTo>
                    <a:pt x="262" y="264"/>
                  </a:lnTo>
                  <a:lnTo>
                    <a:pt x="261" y="264"/>
                  </a:lnTo>
                  <a:lnTo>
                    <a:pt x="261" y="262"/>
                  </a:lnTo>
                  <a:lnTo>
                    <a:pt x="259" y="262"/>
                  </a:lnTo>
                  <a:lnTo>
                    <a:pt x="259" y="261"/>
                  </a:lnTo>
                  <a:lnTo>
                    <a:pt x="261" y="261"/>
                  </a:lnTo>
                  <a:lnTo>
                    <a:pt x="262" y="261"/>
                  </a:lnTo>
                  <a:lnTo>
                    <a:pt x="262" y="260"/>
                  </a:lnTo>
                  <a:lnTo>
                    <a:pt x="261" y="259"/>
                  </a:lnTo>
                  <a:lnTo>
                    <a:pt x="262" y="258"/>
                  </a:lnTo>
                  <a:lnTo>
                    <a:pt x="261" y="258"/>
                  </a:lnTo>
                  <a:lnTo>
                    <a:pt x="261" y="259"/>
                  </a:lnTo>
                  <a:lnTo>
                    <a:pt x="258" y="259"/>
                  </a:lnTo>
                  <a:lnTo>
                    <a:pt x="258" y="258"/>
                  </a:lnTo>
                  <a:lnTo>
                    <a:pt x="257" y="258"/>
                  </a:lnTo>
                  <a:lnTo>
                    <a:pt x="256" y="256"/>
                  </a:lnTo>
                  <a:lnTo>
                    <a:pt x="255" y="256"/>
                  </a:lnTo>
                  <a:lnTo>
                    <a:pt x="253" y="256"/>
                  </a:lnTo>
                  <a:lnTo>
                    <a:pt x="253" y="255"/>
                  </a:lnTo>
                  <a:lnTo>
                    <a:pt x="253" y="254"/>
                  </a:lnTo>
                  <a:lnTo>
                    <a:pt x="252" y="253"/>
                  </a:lnTo>
                  <a:lnTo>
                    <a:pt x="253" y="251"/>
                  </a:lnTo>
                  <a:lnTo>
                    <a:pt x="255" y="251"/>
                  </a:lnTo>
                  <a:lnTo>
                    <a:pt x="255" y="250"/>
                  </a:lnTo>
                  <a:lnTo>
                    <a:pt x="256" y="250"/>
                  </a:lnTo>
                  <a:lnTo>
                    <a:pt x="255" y="249"/>
                  </a:lnTo>
                  <a:lnTo>
                    <a:pt x="256" y="249"/>
                  </a:lnTo>
                  <a:lnTo>
                    <a:pt x="256" y="248"/>
                  </a:lnTo>
                  <a:lnTo>
                    <a:pt x="257" y="245"/>
                  </a:lnTo>
                  <a:lnTo>
                    <a:pt x="257" y="247"/>
                  </a:lnTo>
                  <a:lnTo>
                    <a:pt x="257" y="248"/>
                  </a:lnTo>
                  <a:lnTo>
                    <a:pt x="257" y="249"/>
                  </a:lnTo>
                  <a:lnTo>
                    <a:pt x="258" y="249"/>
                  </a:lnTo>
                  <a:lnTo>
                    <a:pt x="258" y="250"/>
                  </a:lnTo>
                  <a:lnTo>
                    <a:pt x="257" y="250"/>
                  </a:lnTo>
                  <a:lnTo>
                    <a:pt x="257" y="251"/>
                  </a:lnTo>
                  <a:lnTo>
                    <a:pt x="258" y="251"/>
                  </a:lnTo>
                  <a:lnTo>
                    <a:pt x="259" y="251"/>
                  </a:lnTo>
                  <a:lnTo>
                    <a:pt x="259" y="250"/>
                  </a:lnTo>
                  <a:lnTo>
                    <a:pt x="261" y="250"/>
                  </a:lnTo>
                  <a:lnTo>
                    <a:pt x="261" y="251"/>
                  </a:lnTo>
                  <a:lnTo>
                    <a:pt x="261" y="253"/>
                  </a:lnTo>
                  <a:lnTo>
                    <a:pt x="262" y="253"/>
                  </a:lnTo>
                  <a:lnTo>
                    <a:pt x="263" y="253"/>
                  </a:lnTo>
                  <a:lnTo>
                    <a:pt x="263" y="250"/>
                  </a:lnTo>
                  <a:lnTo>
                    <a:pt x="263" y="249"/>
                  </a:lnTo>
                  <a:lnTo>
                    <a:pt x="263" y="248"/>
                  </a:lnTo>
                  <a:lnTo>
                    <a:pt x="263" y="247"/>
                  </a:lnTo>
                  <a:lnTo>
                    <a:pt x="262" y="245"/>
                  </a:lnTo>
                  <a:lnTo>
                    <a:pt x="261" y="245"/>
                  </a:lnTo>
                  <a:lnTo>
                    <a:pt x="259" y="245"/>
                  </a:lnTo>
                  <a:lnTo>
                    <a:pt x="258" y="245"/>
                  </a:lnTo>
                  <a:lnTo>
                    <a:pt x="257" y="245"/>
                  </a:lnTo>
                  <a:lnTo>
                    <a:pt x="256" y="245"/>
                  </a:lnTo>
                  <a:lnTo>
                    <a:pt x="255" y="247"/>
                  </a:lnTo>
                  <a:lnTo>
                    <a:pt x="253" y="245"/>
                  </a:lnTo>
                  <a:lnTo>
                    <a:pt x="251" y="244"/>
                  </a:lnTo>
                  <a:lnTo>
                    <a:pt x="250" y="244"/>
                  </a:lnTo>
                  <a:lnTo>
                    <a:pt x="250" y="245"/>
                  </a:lnTo>
                  <a:lnTo>
                    <a:pt x="251" y="244"/>
                  </a:lnTo>
                  <a:lnTo>
                    <a:pt x="250" y="245"/>
                  </a:lnTo>
                  <a:lnTo>
                    <a:pt x="248" y="245"/>
                  </a:lnTo>
                  <a:lnTo>
                    <a:pt x="247" y="247"/>
                  </a:lnTo>
                  <a:lnTo>
                    <a:pt x="247" y="248"/>
                  </a:lnTo>
                  <a:lnTo>
                    <a:pt x="245" y="247"/>
                  </a:lnTo>
                  <a:lnTo>
                    <a:pt x="244" y="248"/>
                  </a:lnTo>
                  <a:lnTo>
                    <a:pt x="244" y="247"/>
                  </a:lnTo>
                  <a:lnTo>
                    <a:pt x="242" y="247"/>
                  </a:lnTo>
                  <a:lnTo>
                    <a:pt x="241" y="247"/>
                  </a:lnTo>
                  <a:lnTo>
                    <a:pt x="240" y="247"/>
                  </a:lnTo>
                  <a:lnTo>
                    <a:pt x="239" y="248"/>
                  </a:lnTo>
                  <a:lnTo>
                    <a:pt x="239" y="249"/>
                  </a:lnTo>
                  <a:lnTo>
                    <a:pt x="238" y="249"/>
                  </a:lnTo>
                  <a:lnTo>
                    <a:pt x="238" y="248"/>
                  </a:lnTo>
                  <a:lnTo>
                    <a:pt x="236" y="247"/>
                  </a:lnTo>
                  <a:lnTo>
                    <a:pt x="235" y="248"/>
                  </a:lnTo>
                  <a:lnTo>
                    <a:pt x="234" y="248"/>
                  </a:lnTo>
                  <a:lnTo>
                    <a:pt x="234" y="245"/>
                  </a:lnTo>
                  <a:lnTo>
                    <a:pt x="233" y="244"/>
                  </a:lnTo>
                  <a:lnTo>
                    <a:pt x="232" y="244"/>
                  </a:lnTo>
                  <a:lnTo>
                    <a:pt x="230" y="244"/>
                  </a:lnTo>
                  <a:lnTo>
                    <a:pt x="227" y="245"/>
                  </a:lnTo>
                  <a:lnTo>
                    <a:pt x="224" y="245"/>
                  </a:lnTo>
                  <a:lnTo>
                    <a:pt x="223" y="247"/>
                  </a:lnTo>
                  <a:lnTo>
                    <a:pt x="222" y="247"/>
                  </a:lnTo>
                  <a:lnTo>
                    <a:pt x="220" y="247"/>
                  </a:lnTo>
                  <a:lnTo>
                    <a:pt x="218" y="247"/>
                  </a:lnTo>
                  <a:lnTo>
                    <a:pt x="218" y="248"/>
                  </a:lnTo>
                  <a:lnTo>
                    <a:pt x="216" y="248"/>
                  </a:lnTo>
                  <a:lnTo>
                    <a:pt x="215" y="247"/>
                  </a:lnTo>
                  <a:lnTo>
                    <a:pt x="212" y="248"/>
                  </a:lnTo>
                  <a:lnTo>
                    <a:pt x="208" y="248"/>
                  </a:lnTo>
                  <a:lnTo>
                    <a:pt x="208" y="250"/>
                  </a:lnTo>
                  <a:lnTo>
                    <a:pt x="209" y="251"/>
                  </a:lnTo>
                  <a:lnTo>
                    <a:pt x="210" y="250"/>
                  </a:lnTo>
                  <a:lnTo>
                    <a:pt x="211" y="250"/>
                  </a:lnTo>
                  <a:lnTo>
                    <a:pt x="212" y="250"/>
                  </a:lnTo>
                  <a:lnTo>
                    <a:pt x="212" y="251"/>
                  </a:lnTo>
                  <a:lnTo>
                    <a:pt x="212" y="250"/>
                  </a:lnTo>
                  <a:lnTo>
                    <a:pt x="214" y="251"/>
                  </a:lnTo>
                  <a:lnTo>
                    <a:pt x="215" y="253"/>
                  </a:lnTo>
                  <a:lnTo>
                    <a:pt x="215" y="254"/>
                  </a:lnTo>
                  <a:lnTo>
                    <a:pt x="216" y="254"/>
                  </a:lnTo>
                  <a:lnTo>
                    <a:pt x="216" y="255"/>
                  </a:lnTo>
                  <a:lnTo>
                    <a:pt x="216" y="256"/>
                  </a:lnTo>
                  <a:lnTo>
                    <a:pt x="216" y="258"/>
                  </a:lnTo>
                  <a:lnTo>
                    <a:pt x="216" y="259"/>
                  </a:lnTo>
                  <a:lnTo>
                    <a:pt x="216" y="260"/>
                  </a:lnTo>
                  <a:lnTo>
                    <a:pt x="215" y="260"/>
                  </a:lnTo>
                  <a:lnTo>
                    <a:pt x="214" y="261"/>
                  </a:lnTo>
                  <a:lnTo>
                    <a:pt x="212" y="261"/>
                  </a:lnTo>
                  <a:lnTo>
                    <a:pt x="210" y="261"/>
                  </a:lnTo>
                  <a:lnTo>
                    <a:pt x="211" y="262"/>
                  </a:lnTo>
                  <a:lnTo>
                    <a:pt x="212" y="262"/>
                  </a:lnTo>
                  <a:lnTo>
                    <a:pt x="215" y="262"/>
                  </a:lnTo>
                  <a:lnTo>
                    <a:pt x="220" y="262"/>
                  </a:lnTo>
                  <a:lnTo>
                    <a:pt x="221" y="262"/>
                  </a:lnTo>
                  <a:lnTo>
                    <a:pt x="223" y="264"/>
                  </a:lnTo>
                  <a:lnTo>
                    <a:pt x="226" y="264"/>
                  </a:lnTo>
                  <a:lnTo>
                    <a:pt x="227" y="264"/>
                  </a:lnTo>
                  <a:lnTo>
                    <a:pt x="228" y="264"/>
                  </a:lnTo>
                  <a:lnTo>
                    <a:pt x="229" y="264"/>
                  </a:lnTo>
                  <a:lnTo>
                    <a:pt x="228" y="262"/>
                  </a:lnTo>
                  <a:lnTo>
                    <a:pt x="227" y="262"/>
                  </a:lnTo>
                  <a:lnTo>
                    <a:pt x="227" y="261"/>
                  </a:lnTo>
                  <a:lnTo>
                    <a:pt x="228" y="260"/>
                  </a:lnTo>
                  <a:lnTo>
                    <a:pt x="230" y="261"/>
                  </a:lnTo>
                  <a:lnTo>
                    <a:pt x="230" y="260"/>
                  </a:lnTo>
                  <a:lnTo>
                    <a:pt x="232" y="260"/>
                  </a:lnTo>
                  <a:lnTo>
                    <a:pt x="232" y="261"/>
                  </a:lnTo>
                  <a:lnTo>
                    <a:pt x="233" y="261"/>
                  </a:lnTo>
                  <a:lnTo>
                    <a:pt x="233" y="260"/>
                  </a:lnTo>
                  <a:lnTo>
                    <a:pt x="235" y="260"/>
                  </a:lnTo>
                  <a:lnTo>
                    <a:pt x="235" y="259"/>
                  </a:lnTo>
                  <a:lnTo>
                    <a:pt x="236" y="259"/>
                  </a:lnTo>
                  <a:lnTo>
                    <a:pt x="238" y="258"/>
                  </a:lnTo>
                  <a:lnTo>
                    <a:pt x="239" y="258"/>
                  </a:lnTo>
                  <a:lnTo>
                    <a:pt x="240" y="258"/>
                  </a:lnTo>
                  <a:lnTo>
                    <a:pt x="241" y="259"/>
                  </a:lnTo>
                  <a:lnTo>
                    <a:pt x="242" y="259"/>
                  </a:lnTo>
                  <a:lnTo>
                    <a:pt x="244" y="259"/>
                  </a:lnTo>
                  <a:lnTo>
                    <a:pt x="244" y="260"/>
                  </a:lnTo>
                  <a:lnTo>
                    <a:pt x="245" y="261"/>
                  </a:lnTo>
                  <a:lnTo>
                    <a:pt x="246" y="262"/>
                  </a:lnTo>
                  <a:lnTo>
                    <a:pt x="246" y="264"/>
                  </a:lnTo>
                  <a:lnTo>
                    <a:pt x="247" y="264"/>
                  </a:lnTo>
                  <a:lnTo>
                    <a:pt x="248" y="264"/>
                  </a:lnTo>
                  <a:lnTo>
                    <a:pt x="248" y="265"/>
                  </a:lnTo>
                  <a:lnTo>
                    <a:pt x="250" y="265"/>
                  </a:lnTo>
                  <a:lnTo>
                    <a:pt x="251" y="264"/>
                  </a:lnTo>
                  <a:lnTo>
                    <a:pt x="252" y="264"/>
                  </a:lnTo>
                  <a:lnTo>
                    <a:pt x="252" y="265"/>
                  </a:lnTo>
                  <a:lnTo>
                    <a:pt x="255" y="265"/>
                  </a:lnTo>
                  <a:lnTo>
                    <a:pt x="255" y="266"/>
                  </a:lnTo>
                  <a:lnTo>
                    <a:pt x="256" y="267"/>
                  </a:lnTo>
                  <a:lnTo>
                    <a:pt x="256" y="268"/>
                  </a:lnTo>
                  <a:lnTo>
                    <a:pt x="256" y="270"/>
                  </a:lnTo>
                  <a:lnTo>
                    <a:pt x="255" y="270"/>
                  </a:lnTo>
                  <a:lnTo>
                    <a:pt x="256" y="271"/>
                  </a:lnTo>
                  <a:lnTo>
                    <a:pt x="257" y="272"/>
                  </a:lnTo>
                  <a:lnTo>
                    <a:pt x="258" y="272"/>
                  </a:lnTo>
                  <a:lnTo>
                    <a:pt x="259" y="272"/>
                  </a:lnTo>
                  <a:lnTo>
                    <a:pt x="261" y="273"/>
                  </a:lnTo>
                  <a:lnTo>
                    <a:pt x="262" y="274"/>
                  </a:lnTo>
                  <a:lnTo>
                    <a:pt x="261" y="276"/>
                  </a:lnTo>
                  <a:lnTo>
                    <a:pt x="259" y="277"/>
                  </a:lnTo>
                  <a:lnTo>
                    <a:pt x="261" y="276"/>
                  </a:lnTo>
                  <a:lnTo>
                    <a:pt x="262" y="276"/>
                  </a:lnTo>
                  <a:lnTo>
                    <a:pt x="262" y="277"/>
                  </a:lnTo>
                  <a:lnTo>
                    <a:pt x="263" y="278"/>
                  </a:lnTo>
                  <a:lnTo>
                    <a:pt x="263" y="279"/>
                  </a:lnTo>
                  <a:lnTo>
                    <a:pt x="263" y="280"/>
                  </a:lnTo>
                  <a:lnTo>
                    <a:pt x="264" y="280"/>
                  </a:lnTo>
                  <a:lnTo>
                    <a:pt x="265" y="282"/>
                  </a:lnTo>
                  <a:lnTo>
                    <a:pt x="264" y="282"/>
                  </a:lnTo>
                  <a:lnTo>
                    <a:pt x="263" y="283"/>
                  </a:lnTo>
                  <a:lnTo>
                    <a:pt x="262" y="282"/>
                  </a:lnTo>
                  <a:lnTo>
                    <a:pt x="262" y="283"/>
                  </a:lnTo>
                  <a:lnTo>
                    <a:pt x="263" y="283"/>
                  </a:lnTo>
                  <a:lnTo>
                    <a:pt x="264" y="285"/>
                  </a:lnTo>
                  <a:lnTo>
                    <a:pt x="264" y="284"/>
                  </a:lnTo>
                  <a:lnTo>
                    <a:pt x="264" y="285"/>
                  </a:lnTo>
                  <a:lnTo>
                    <a:pt x="265" y="285"/>
                  </a:lnTo>
                  <a:lnTo>
                    <a:pt x="265" y="286"/>
                  </a:lnTo>
                  <a:lnTo>
                    <a:pt x="267" y="288"/>
                  </a:lnTo>
                  <a:lnTo>
                    <a:pt x="268" y="289"/>
                  </a:lnTo>
                  <a:lnTo>
                    <a:pt x="268" y="290"/>
                  </a:lnTo>
                  <a:lnTo>
                    <a:pt x="268" y="292"/>
                  </a:lnTo>
                  <a:lnTo>
                    <a:pt x="265" y="292"/>
                  </a:lnTo>
                  <a:lnTo>
                    <a:pt x="264" y="292"/>
                  </a:lnTo>
                  <a:lnTo>
                    <a:pt x="263" y="292"/>
                  </a:lnTo>
                  <a:lnTo>
                    <a:pt x="263" y="291"/>
                  </a:lnTo>
                  <a:lnTo>
                    <a:pt x="262" y="291"/>
                  </a:lnTo>
                  <a:lnTo>
                    <a:pt x="261" y="290"/>
                  </a:lnTo>
                  <a:lnTo>
                    <a:pt x="259" y="290"/>
                  </a:lnTo>
                  <a:lnTo>
                    <a:pt x="258" y="289"/>
                  </a:lnTo>
                  <a:lnTo>
                    <a:pt x="257" y="288"/>
                  </a:lnTo>
                  <a:lnTo>
                    <a:pt x="257" y="286"/>
                  </a:lnTo>
                  <a:lnTo>
                    <a:pt x="256" y="288"/>
                  </a:lnTo>
                  <a:lnTo>
                    <a:pt x="257" y="289"/>
                  </a:lnTo>
                  <a:lnTo>
                    <a:pt x="256" y="288"/>
                  </a:lnTo>
                  <a:lnTo>
                    <a:pt x="256" y="289"/>
                  </a:lnTo>
                  <a:lnTo>
                    <a:pt x="255" y="290"/>
                  </a:lnTo>
                  <a:lnTo>
                    <a:pt x="256" y="289"/>
                  </a:lnTo>
                  <a:lnTo>
                    <a:pt x="255" y="288"/>
                  </a:lnTo>
                  <a:lnTo>
                    <a:pt x="253" y="286"/>
                  </a:lnTo>
                  <a:lnTo>
                    <a:pt x="253" y="288"/>
                  </a:lnTo>
                  <a:lnTo>
                    <a:pt x="252" y="288"/>
                  </a:lnTo>
                  <a:lnTo>
                    <a:pt x="251" y="286"/>
                  </a:lnTo>
                  <a:lnTo>
                    <a:pt x="250" y="285"/>
                  </a:lnTo>
                  <a:lnTo>
                    <a:pt x="250" y="286"/>
                  </a:lnTo>
                  <a:lnTo>
                    <a:pt x="248" y="285"/>
                  </a:lnTo>
                  <a:lnTo>
                    <a:pt x="247" y="285"/>
                  </a:lnTo>
                  <a:lnTo>
                    <a:pt x="248" y="285"/>
                  </a:lnTo>
                  <a:lnTo>
                    <a:pt x="248" y="284"/>
                  </a:lnTo>
                  <a:lnTo>
                    <a:pt x="247" y="285"/>
                  </a:lnTo>
                  <a:lnTo>
                    <a:pt x="246" y="285"/>
                  </a:lnTo>
                  <a:lnTo>
                    <a:pt x="246" y="286"/>
                  </a:lnTo>
                  <a:lnTo>
                    <a:pt x="247" y="288"/>
                  </a:lnTo>
                  <a:lnTo>
                    <a:pt x="248" y="289"/>
                  </a:lnTo>
                  <a:lnTo>
                    <a:pt x="247" y="288"/>
                  </a:lnTo>
                  <a:lnTo>
                    <a:pt x="246" y="288"/>
                  </a:lnTo>
                  <a:lnTo>
                    <a:pt x="245" y="289"/>
                  </a:lnTo>
                  <a:lnTo>
                    <a:pt x="244" y="290"/>
                  </a:lnTo>
                  <a:lnTo>
                    <a:pt x="242" y="290"/>
                  </a:lnTo>
                  <a:lnTo>
                    <a:pt x="241" y="290"/>
                  </a:lnTo>
                  <a:lnTo>
                    <a:pt x="240" y="290"/>
                  </a:lnTo>
                  <a:lnTo>
                    <a:pt x="241" y="291"/>
                  </a:lnTo>
                  <a:lnTo>
                    <a:pt x="242" y="291"/>
                  </a:lnTo>
                  <a:lnTo>
                    <a:pt x="240" y="292"/>
                  </a:lnTo>
                  <a:lnTo>
                    <a:pt x="239" y="292"/>
                  </a:lnTo>
                  <a:lnTo>
                    <a:pt x="238" y="291"/>
                  </a:lnTo>
                  <a:lnTo>
                    <a:pt x="236" y="292"/>
                  </a:lnTo>
                  <a:lnTo>
                    <a:pt x="235" y="291"/>
                  </a:lnTo>
                  <a:lnTo>
                    <a:pt x="234" y="291"/>
                  </a:lnTo>
                  <a:lnTo>
                    <a:pt x="233" y="291"/>
                  </a:lnTo>
                  <a:lnTo>
                    <a:pt x="233" y="292"/>
                  </a:lnTo>
                  <a:lnTo>
                    <a:pt x="234" y="294"/>
                  </a:lnTo>
                  <a:lnTo>
                    <a:pt x="233" y="294"/>
                  </a:lnTo>
                  <a:lnTo>
                    <a:pt x="232" y="294"/>
                  </a:lnTo>
                  <a:lnTo>
                    <a:pt x="230" y="295"/>
                  </a:lnTo>
                  <a:lnTo>
                    <a:pt x="230" y="294"/>
                  </a:lnTo>
                  <a:lnTo>
                    <a:pt x="229" y="294"/>
                  </a:lnTo>
                  <a:lnTo>
                    <a:pt x="229" y="295"/>
                  </a:lnTo>
                  <a:lnTo>
                    <a:pt x="228" y="294"/>
                  </a:lnTo>
                  <a:lnTo>
                    <a:pt x="228" y="292"/>
                  </a:lnTo>
                  <a:lnTo>
                    <a:pt x="229" y="291"/>
                  </a:lnTo>
                  <a:lnTo>
                    <a:pt x="230" y="291"/>
                  </a:lnTo>
                  <a:lnTo>
                    <a:pt x="230" y="290"/>
                  </a:lnTo>
                  <a:lnTo>
                    <a:pt x="229" y="291"/>
                  </a:lnTo>
                  <a:lnTo>
                    <a:pt x="228" y="290"/>
                  </a:lnTo>
                  <a:lnTo>
                    <a:pt x="227" y="289"/>
                  </a:lnTo>
                  <a:lnTo>
                    <a:pt x="226" y="288"/>
                  </a:lnTo>
                  <a:lnTo>
                    <a:pt x="227" y="288"/>
                  </a:lnTo>
                  <a:lnTo>
                    <a:pt x="227" y="286"/>
                  </a:lnTo>
                  <a:lnTo>
                    <a:pt x="228" y="286"/>
                  </a:lnTo>
                  <a:lnTo>
                    <a:pt x="228" y="288"/>
                  </a:lnTo>
                  <a:lnTo>
                    <a:pt x="230" y="288"/>
                  </a:lnTo>
                  <a:lnTo>
                    <a:pt x="230" y="286"/>
                  </a:lnTo>
                  <a:lnTo>
                    <a:pt x="230" y="285"/>
                  </a:lnTo>
                  <a:lnTo>
                    <a:pt x="232" y="285"/>
                  </a:lnTo>
                  <a:lnTo>
                    <a:pt x="233" y="285"/>
                  </a:lnTo>
                  <a:lnTo>
                    <a:pt x="232" y="284"/>
                  </a:lnTo>
                  <a:lnTo>
                    <a:pt x="232" y="283"/>
                  </a:lnTo>
                  <a:lnTo>
                    <a:pt x="232" y="282"/>
                  </a:lnTo>
                  <a:lnTo>
                    <a:pt x="233" y="282"/>
                  </a:lnTo>
                  <a:lnTo>
                    <a:pt x="233" y="280"/>
                  </a:lnTo>
                  <a:lnTo>
                    <a:pt x="234" y="279"/>
                  </a:lnTo>
                  <a:lnTo>
                    <a:pt x="233" y="279"/>
                  </a:lnTo>
                  <a:lnTo>
                    <a:pt x="233" y="278"/>
                  </a:lnTo>
                  <a:lnTo>
                    <a:pt x="232" y="278"/>
                  </a:lnTo>
                  <a:lnTo>
                    <a:pt x="229" y="277"/>
                  </a:lnTo>
                  <a:lnTo>
                    <a:pt x="230" y="276"/>
                  </a:lnTo>
                  <a:lnTo>
                    <a:pt x="232" y="276"/>
                  </a:lnTo>
                  <a:lnTo>
                    <a:pt x="232" y="274"/>
                  </a:lnTo>
                  <a:lnTo>
                    <a:pt x="232" y="273"/>
                  </a:lnTo>
                  <a:lnTo>
                    <a:pt x="232" y="272"/>
                  </a:lnTo>
                  <a:lnTo>
                    <a:pt x="233" y="272"/>
                  </a:lnTo>
                  <a:lnTo>
                    <a:pt x="232" y="271"/>
                  </a:lnTo>
                  <a:lnTo>
                    <a:pt x="232" y="270"/>
                  </a:lnTo>
                  <a:lnTo>
                    <a:pt x="230" y="268"/>
                  </a:lnTo>
                  <a:lnTo>
                    <a:pt x="232" y="267"/>
                  </a:lnTo>
                  <a:lnTo>
                    <a:pt x="229" y="267"/>
                  </a:lnTo>
                  <a:lnTo>
                    <a:pt x="229" y="268"/>
                  </a:lnTo>
                  <a:lnTo>
                    <a:pt x="228" y="267"/>
                  </a:lnTo>
                  <a:lnTo>
                    <a:pt x="228" y="266"/>
                  </a:lnTo>
                  <a:lnTo>
                    <a:pt x="227" y="266"/>
                  </a:lnTo>
                  <a:lnTo>
                    <a:pt x="221" y="265"/>
                  </a:lnTo>
                  <a:lnTo>
                    <a:pt x="220" y="265"/>
                  </a:lnTo>
                  <a:lnTo>
                    <a:pt x="218" y="265"/>
                  </a:lnTo>
                  <a:lnTo>
                    <a:pt x="217" y="265"/>
                  </a:lnTo>
                  <a:lnTo>
                    <a:pt x="215" y="265"/>
                  </a:lnTo>
                  <a:lnTo>
                    <a:pt x="216" y="266"/>
                  </a:lnTo>
                  <a:lnTo>
                    <a:pt x="215" y="266"/>
                  </a:lnTo>
                  <a:lnTo>
                    <a:pt x="214" y="266"/>
                  </a:lnTo>
                  <a:lnTo>
                    <a:pt x="212" y="266"/>
                  </a:lnTo>
                  <a:lnTo>
                    <a:pt x="212" y="267"/>
                  </a:lnTo>
                  <a:lnTo>
                    <a:pt x="211" y="267"/>
                  </a:lnTo>
                  <a:lnTo>
                    <a:pt x="210" y="267"/>
                  </a:lnTo>
                  <a:lnTo>
                    <a:pt x="208" y="267"/>
                  </a:lnTo>
                  <a:lnTo>
                    <a:pt x="208" y="268"/>
                  </a:lnTo>
                  <a:lnTo>
                    <a:pt x="206" y="268"/>
                  </a:lnTo>
                  <a:lnTo>
                    <a:pt x="206" y="271"/>
                  </a:lnTo>
                  <a:lnTo>
                    <a:pt x="204" y="271"/>
                  </a:lnTo>
                  <a:lnTo>
                    <a:pt x="204" y="272"/>
                  </a:lnTo>
                  <a:lnTo>
                    <a:pt x="204" y="271"/>
                  </a:lnTo>
                  <a:lnTo>
                    <a:pt x="203" y="271"/>
                  </a:lnTo>
                  <a:lnTo>
                    <a:pt x="202" y="270"/>
                  </a:lnTo>
                  <a:lnTo>
                    <a:pt x="200" y="268"/>
                  </a:lnTo>
                  <a:lnTo>
                    <a:pt x="199" y="268"/>
                  </a:lnTo>
                  <a:lnTo>
                    <a:pt x="197" y="270"/>
                  </a:lnTo>
                  <a:lnTo>
                    <a:pt x="194" y="271"/>
                  </a:lnTo>
                  <a:lnTo>
                    <a:pt x="197" y="270"/>
                  </a:lnTo>
                  <a:lnTo>
                    <a:pt x="199" y="271"/>
                  </a:lnTo>
                  <a:lnTo>
                    <a:pt x="199" y="272"/>
                  </a:lnTo>
                  <a:lnTo>
                    <a:pt x="198" y="272"/>
                  </a:lnTo>
                  <a:lnTo>
                    <a:pt x="198" y="273"/>
                  </a:lnTo>
                  <a:lnTo>
                    <a:pt x="199" y="276"/>
                  </a:lnTo>
                  <a:lnTo>
                    <a:pt x="198" y="276"/>
                  </a:lnTo>
                  <a:lnTo>
                    <a:pt x="198" y="277"/>
                  </a:lnTo>
                  <a:lnTo>
                    <a:pt x="199" y="277"/>
                  </a:lnTo>
                  <a:lnTo>
                    <a:pt x="199" y="278"/>
                  </a:lnTo>
                  <a:lnTo>
                    <a:pt x="198" y="279"/>
                  </a:lnTo>
                  <a:lnTo>
                    <a:pt x="199" y="280"/>
                  </a:lnTo>
                  <a:lnTo>
                    <a:pt x="198" y="282"/>
                  </a:lnTo>
                  <a:lnTo>
                    <a:pt x="197" y="280"/>
                  </a:lnTo>
                  <a:lnTo>
                    <a:pt x="196" y="280"/>
                  </a:lnTo>
                  <a:lnTo>
                    <a:pt x="196" y="282"/>
                  </a:lnTo>
                  <a:lnTo>
                    <a:pt x="198" y="282"/>
                  </a:lnTo>
                  <a:lnTo>
                    <a:pt x="198" y="283"/>
                  </a:lnTo>
                  <a:lnTo>
                    <a:pt x="197" y="283"/>
                  </a:lnTo>
                  <a:lnTo>
                    <a:pt x="196" y="284"/>
                  </a:lnTo>
                  <a:lnTo>
                    <a:pt x="196" y="283"/>
                  </a:lnTo>
                  <a:lnTo>
                    <a:pt x="196" y="284"/>
                  </a:lnTo>
                  <a:lnTo>
                    <a:pt x="194" y="284"/>
                  </a:lnTo>
                  <a:lnTo>
                    <a:pt x="196" y="285"/>
                  </a:lnTo>
                  <a:lnTo>
                    <a:pt x="196" y="286"/>
                  </a:lnTo>
                  <a:lnTo>
                    <a:pt x="194" y="286"/>
                  </a:lnTo>
                  <a:lnTo>
                    <a:pt x="193" y="284"/>
                  </a:lnTo>
                  <a:lnTo>
                    <a:pt x="193" y="285"/>
                  </a:lnTo>
                  <a:lnTo>
                    <a:pt x="192" y="285"/>
                  </a:lnTo>
                  <a:lnTo>
                    <a:pt x="192" y="284"/>
                  </a:lnTo>
                  <a:lnTo>
                    <a:pt x="191" y="283"/>
                  </a:lnTo>
                  <a:lnTo>
                    <a:pt x="192" y="283"/>
                  </a:lnTo>
                  <a:lnTo>
                    <a:pt x="193" y="284"/>
                  </a:lnTo>
                  <a:lnTo>
                    <a:pt x="192" y="283"/>
                  </a:lnTo>
                  <a:lnTo>
                    <a:pt x="192" y="282"/>
                  </a:lnTo>
                  <a:lnTo>
                    <a:pt x="191" y="283"/>
                  </a:lnTo>
                  <a:lnTo>
                    <a:pt x="192" y="282"/>
                  </a:lnTo>
                  <a:lnTo>
                    <a:pt x="192" y="280"/>
                  </a:lnTo>
                  <a:lnTo>
                    <a:pt x="191" y="282"/>
                  </a:lnTo>
                  <a:lnTo>
                    <a:pt x="189" y="282"/>
                  </a:lnTo>
                  <a:lnTo>
                    <a:pt x="188" y="283"/>
                  </a:lnTo>
                  <a:lnTo>
                    <a:pt x="187" y="284"/>
                  </a:lnTo>
                  <a:lnTo>
                    <a:pt x="186" y="288"/>
                  </a:lnTo>
                  <a:lnTo>
                    <a:pt x="185" y="290"/>
                  </a:lnTo>
                  <a:lnTo>
                    <a:pt x="187" y="291"/>
                  </a:lnTo>
                  <a:lnTo>
                    <a:pt x="191" y="291"/>
                  </a:lnTo>
                  <a:lnTo>
                    <a:pt x="192" y="290"/>
                  </a:lnTo>
                  <a:lnTo>
                    <a:pt x="194" y="290"/>
                  </a:lnTo>
                  <a:lnTo>
                    <a:pt x="196" y="290"/>
                  </a:lnTo>
                  <a:lnTo>
                    <a:pt x="198" y="289"/>
                  </a:lnTo>
                  <a:lnTo>
                    <a:pt x="202" y="289"/>
                  </a:lnTo>
                  <a:lnTo>
                    <a:pt x="210" y="288"/>
                  </a:lnTo>
                  <a:lnTo>
                    <a:pt x="215" y="288"/>
                  </a:lnTo>
                  <a:lnTo>
                    <a:pt x="216" y="286"/>
                  </a:lnTo>
                  <a:lnTo>
                    <a:pt x="216" y="285"/>
                  </a:lnTo>
                  <a:lnTo>
                    <a:pt x="216" y="286"/>
                  </a:lnTo>
                  <a:lnTo>
                    <a:pt x="218" y="286"/>
                  </a:lnTo>
                  <a:lnTo>
                    <a:pt x="218" y="288"/>
                  </a:lnTo>
                  <a:lnTo>
                    <a:pt x="217" y="289"/>
                  </a:lnTo>
                  <a:lnTo>
                    <a:pt x="215" y="289"/>
                  </a:lnTo>
                  <a:lnTo>
                    <a:pt x="214" y="290"/>
                  </a:lnTo>
                  <a:lnTo>
                    <a:pt x="209" y="290"/>
                  </a:lnTo>
                  <a:lnTo>
                    <a:pt x="205" y="290"/>
                  </a:lnTo>
                  <a:lnTo>
                    <a:pt x="203" y="290"/>
                  </a:lnTo>
                  <a:lnTo>
                    <a:pt x="200" y="291"/>
                  </a:lnTo>
                  <a:lnTo>
                    <a:pt x="199" y="291"/>
                  </a:lnTo>
                  <a:lnTo>
                    <a:pt x="197" y="292"/>
                  </a:lnTo>
                  <a:lnTo>
                    <a:pt x="194" y="294"/>
                  </a:lnTo>
                  <a:lnTo>
                    <a:pt x="191" y="294"/>
                  </a:lnTo>
                  <a:lnTo>
                    <a:pt x="188" y="295"/>
                  </a:lnTo>
                  <a:lnTo>
                    <a:pt x="186" y="296"/>
                  </a:lnTo>
                  <a:lnTo>
                    <a:pt x="186" y="298"/>
                  </a:lnTo>
                  <a:lnTo>
                    <a:pt x="186" y="300"/>
                  </a:lnTo>
                  <a:lnTo>
                    <a:pt x="187" y="301"/>
                  </a:lnTo>
                  <a:lnTo>
                    <a:pt x="187" y="304"/>
                  </a:lnTo>
                  <a:lnTo>
                    <a:pt x="186" y="306"/>
                  </a:lnTo>
                  <a:lnTo>
                    <a:pt x="185" y="309"/>
                  </a:lnTo>
                  <a:lnTo>
                    <a:pt x="185" y="313"/>
                  </a:lnTo>
                  <a:lnTo>
                    <a:pt x="185" y="315"/>
                  </a:lnTo>
                  <a:lnTo>
                    <a:pt x="185" y="321"/>
                  </a:lnTo>
                  <a:lnTo>
                    <a:pt x="185" y="324"/>
                  </a:lnTo>
                  <a:lnTo>
                    <a:pt x="186" y="336"/>
                  </a:lnTo>
                  <a:lnTo>
                    <a:pt x="186" y="340"/>
                  </a:lnTo>
                  <a:lnTo>
                    <a:pt x="185" y="343"/>
                  </a:lnTo>
                  <a:lnTo>
                    <a:pt x="185" y="345"/>
                  </a:lnTo>
                  <a:lnTo>
                    <a:pt x="185" y="346"/>
                  </a:lnTo>
                  <a:lnTo>
                    <a:pt x="183" y="348"/>
                  </a:lnTo>
                  <a:lnTo>
                    <a:pt x="182" y="348"/>
                  </a:lnTo>
                  <a:lnTo>
                    <a:pt x="179" y="349"/>
                  </a:lnTo>
                  <a:lnTo>
                    <a:pt x="175" y="348"/>
                  </a:lnTo>
                  <a:lnTo>
                    <a:pt x="171" y="348"/>
                  </a:lnTo>
                  <a:lnTo>
                    <a:pt x="170" y="345"/>
                  </a:lnTo>
                  <a:lnTo>
                    <a:pt x="170" y="342"/>
                  </a:lnTo>
                  <a:lnTo>
                    <a:pt x="171" y="338"/>
                  </a:lnTo>
                  <a:lnTo>
                    <a:pt x="171" y="336"/>
                  </a:lnTo>
                  <a:lnTo>
                    <a:pt x="171" y="328"/>
                  </a:lnTo>
                  <a:lnTo>
                    <a:pt x="171" y="327"/>
                  </a:lnTo>
                  <a:lnTo>
                    <a:pt x="171" y="325"/>
                  </a:lnTo>
                  <a:lnTo>
                    <a:pt x="171" y="320"/>
                  </a:lnTo>
                  <a:lnTo>
                    <a:pt x="173" y="318"/>
                  </a:lnTo>
                  <a:lnTo>
                    <a:pt x="173" y="310"/>
                  </a:lnTo>
                  <a:lnTo>
                    <a:pt x="173" y="304"/>
                  </a:lnTo>
                  <a:lnTo>
                    <a:pt x="171" y="301"/>
                  </a:lnTo>
                  <a:lnTo>
                    <a:pt x="168" y="300"/>
                  </a:lnTo>
                  <a:lnTo>
                    <a:pt x="163" y="297"/>
                  </a:lnTo>
                  <a:lnTo>
                    <a:pt x="159" y="295"/>
                  </a:lnTo>
                  <a:lnTo>
                    <a:pt x="157" y="294"/>
                  </a:lnTo>
                  <a:lnTo>
                    <a:pt x="155" y="292"/>
                  </a:lnTo>
                  <a:lnTo>
                    <a:pt x="151" y="292"/>
                  </a:lnTo>
                  <a:lnTo>
                    <a:pt x="149" y="292"/>
                  </a:lnTo>
                  <a:lnTo>
                    <a:pt x="147" y="292"/>
                  </a:lnTo>
                  <a:lnTo>
                    <a:pt x="144" y="291"/>
                  </a:lnTo>
                  <a:lnTo>
                    <a:pt x="140" y="291"/>
                  </a:lnTo>
                  <a:lnTo>
                    <a:pt x="137" y="291"/>
                  </a:lnTo>
                  <a:lnTo>
                    <a:pt x="135" y="291"/>
                  </a:lnTo>
                  <a:lnTo>
                    <a:pt x="134" y="291"/>
                  </a:lnTo>
                  <a:lnTo>
                    <a:pt x="133" y="291"/>
                  </a:lnTo>
                  <a:lnTo>
                    <a:pt x="132" y="292"/>
                  </a:lnTo>
                  <a:lnTo>
                    <a:pt x="131" y="292"/>
                  </a:lnTo>
                  <a:lnTo>
                    <a:pt x="129" y="294"/>
                  </a:lnTo>
                  <a:lnTo>
                    <a:pt x="128" y="295"/>
                  </a:lnTo>
                  <a:lnTo>
                    <a:pt x="126" y="294"/>
                  </a:lnTo>
                  <a:lnTo>
                    <a:pt x="128" y="292"/>
                  </a:lnTo>
                  <a:lnTo>
                    <a:pt x="132" y="290"/>
                  </a:lnTo>
                  <a:lnTo>
                    <a:pt x="133" y="288"/>
                  </a:lnTo>
                  <a:lnTo>
                    <a:pt x="135" y="286"/>
                  </a:lnTo>
                  <a:lnTo>
                    <a:pt x="134" y="284"/>
                  </a:lnTo>
                  <a:lnTo>
                    <a:pt x="132" y="285"/>
                  </a:lnTo>
                  <a:lnTo>
                    <a:pt x="128" y="285"/>
                  </a:lnTo>
                  <a:lnTo>
                    <a:pt x="126" y="285"/>
                  </a:lnTo>
                  <a:lnTo>
                    <a:pt x="124" y="285"/>
                  </a:lnTo>
                  <a:lnTo>
                    <a:pt x="118" y="285"/>
                  </a:lnTo>
                  <a:lnTo>
                    <a:pt x="115" y="285"/>
                  </a:lnTo>
                  <a:lnTo>
                    <a:pt x="112" y="285"/>
                  </a:lnTo>
                  <a:lnTo>
                    <a:pt x="111" y="286"/>
                  </a:lnTo>
                  <a:lnTo>
                    <a:pt x="110" y="286"/>
                  </a:lnTo>
                  <a:lnTo>
                    <a:pt x="109" y="286"/>
                  </a:lnTo>
                  <a:lnTo>
                    <a:pt x="108" y="285"/>
                  </a:lnTo>
                  <a:lnTo>
                    <a:pt x="108" y="288"/>
                  </a:lnTo>
                  <a:lnTo>
                    <a:pt x="108" y="289"/>
                  </a:lnTo>
                  <a:lnTo>
                    <a:pt x="106" y="289"/>
                  </a:lnTo>
                  <a:lnTo>
                    <a:pt x="104" y="290"/>
                  </a:lnTo>
                  <a:lnTo>
                    <a:pt x="103" y="289"/>
                  </a:lnTo>
                  <a:lnTo>
                    <a:pt x="103" y="291"/>
                  </a:lnTo>
                  <a:lnTo>
                    <a:pt x="103" y="292"/>
                  </a:lnTo>
                  <a:lnTo>
                    <a:pt x="102" y="292"/>
                  </a:lnTo>
                  <a:lnTo>
                    <a:pt x="100" y="294"/>
                  </a:lnTo>
                  <a:lnTo>
                    <a:pt x="98" y="294"/>
                  </a:lnTo>
                  <a:lnTo>
                    <a:pt x="98" y="295"/>
                  </a:lnTo>
                  <a:lnTo>
                    <a:pt x="97" y="294"/>
                  </a:lnTo>
                  <a:lnTo>
                    <a:pt x="96" y="295"/>
                  </a:lnTo>
                  <a:lnTo>
                    <a:pt x="96" y="292"/>
                  </a:lnTo>
                  <a:lnTo>
                    <a:pt x="94" y="294"/>
                  </a:lnTo>
                  <a:lnTo>
                    <a:pt x="93" y="292"/>
                  </a:lnTo>
                  <a:lnTo>
                    <a:pt x="92" y="292"/>
                  </a:lnTo>
                  <a:lnTo>
                    <a:pt x="91" y="292"/>
                  </a:lnTo>
                  <a:lnTo>
                    <a:pt x="90" y="294"/>
                  </a:lnTo>
                  <a:lnTo>
                    <a:pt x="90" y="295"/>
                  </a:lnTo>
                  <a:lnTo>
                    <a:pt x="88" y="296"/>
                  </a:lnTo>
                  <a:lnTo>
                    <a:pt x="88" y="297"/>
                  </a:lnTo>
                  <a:lnTo>
                    <a:pt x="87" y="297"/>
                  </a:lnTo>
                  <a:lnTo>
                    <a:pt x="86" y="298"/>
                  </a:lnTo>
                  <a:lnTo>
                    <a:pt x="85" y="298"/>
                  </a:lnTo>
                  <a:lnTo>
                    <a:pt x="84" y="297"/>
                  </a:lnTo>
                  <a:lnTo>
                    <a:pt x="82" y="297"/>
                  </a:lnTo>
                  <a:lnTo>
                    <a:pt x="82" y="296"/>
                  </a:lnTo>
                  <a:lnTo>
                    <a:pt x="82" y="297"/>
                  </a:lnTo>
                  <a:lnTo>
                    <a:pt x="80" y="297"/>
                  </a:lnTo>
                  <a:lnTo>
                    <a:pt x="79" y="297"/>
                  </a:lnTo>
                  <a:lnTo>
                    <a:pt x="79" y="296"/>
                  </a:lnTo>
                  <a:lnTo>
                    <a:pt x="79" y="295"/>
                  </a:lnTo>
                  <a:lnTo>
                    <a:pt x="79" y="296"/>
                  </a:lnTo>
                  <a:lnTo>
                    <a:pt x="78" y="295"/>
                  </a:lnTo>
                  <a:lnTo>
                    <a:pt x="76" y="295"/>
                  </a:lnTo>
                  <a:lnTo>
                    <a:pt x="75" y="296"/>
                  </a:lnTo>
                  <a:lnTo>
                    <a:pt x="74" y="296"/>
                  </a:lnTo>
                  <a:lnTo>
                    <a:pt x="72" y="296"/>
                  </a:lnTo>
                  <a:lnTo>
                    <a:pt x="74" y="295"/>
                  </a:lnTo>
                  <a:lnTo>
                    <a:pt x="73" y="294"/>
                  </a:lnTo>
                  <a:lnTo>
                    <a:pt x="72" y="294"/>
                  </a:lnTo>
                  <a:lnTo>
                    <a:pt x="72" y="292"/>
                  </a:lnTo>
                  <a:lnTo>
                    <a:pt x="70" y="291"/>
                  </a:lnTo>
                  <a:lnTo>
                    <a:pt x="72" y="290"/>
                  </a:lnTo>
                  <a:lnTo>
                    <a:pt x="72" y="291"/>
                  </a:lnTo>
                  <a:lnTo>
                    <a:pt x="73" y="292"/>
                  </a:lnTo>
                  <a:lnTo>
                    <a:pt x="74" y="292"/>
                  </a:lnTo>
                  <a:lnTo>
                    <a:pt x="75" y="292"/>
                  </a:lnTo>
                  <a:lnTo>
                    <a:pt x="76" y="294"/>
                  </a:lnTo>
                  <a:lnTo>
                    <a:pt x="78" y="292"/>
                  </a:lnTo>
                  <a:lnTo>
                    <a:pt x="76" y="292"/>
                  </a:lnTo>
                  <a:lnTo>
                    <a:pt x="76" y="291"/>
                  </a:lnTo>
                  <a:lnTo>
                    <a:pt x="76" y="290"/>
                  </a:lnTo>
                  <a:lnTo>
                    <a:pt x="76" y="289"/>
                  </a:lnTo>
                  <a:lnTo>
                    <a:pt x="76" y="288"/>
                  </a:lnTo>
                  <a:lnTo>
                    <a:pt x="76" y="289"/>
                  </a:lnTo>
                  <a:lnTo>
                    <a:pt x="78" y="288"/>
                  </a:lnTo>
                  <a:lnTo>
                    <a:pt x="79" y="288"/>
                  </a:lnTo>
                  <a:lnTo>
                    <a:pt x="80" y="285"/>
                  </a:lnTo>
                  <a:lnTo>
                    <a:pt x="81" y="285"/>
                  </a:lnTo>
                  <a:lnTo>
                    <a:pt x="84" y="286"/>
                  </a:lnTo>
                  <a:lnTo>
                    <a:pt x="84" y="285"/>
                  </a:lnTo>
                  <a:lnTo>
                    <a:pt x="82" y="284"/>
                  </a:lnTo>
                  <a:lnTo>
                    <a:pt x="82" y="282"/>
                  </a:lnTo>
                  <a:lnTo>
                    <a:pt x="81" y="282"/>
                  </a:lnTo>
                  <a:lnTo>
                    <a:pt x="82" y="282"/>
                  </a:lnTo>
                  <a:lnTo>
                    <a:pt x="82" y="280"/>
                  </a:lnTo>
                  <a:lnTo>
                    <a:pt x="81" y="279"/>
                  </a:lnTo>
                  <a:lnTo>
                    <a:pt x="82" y="278"/>
                  </a:lnTo>
                  <a:lnTo>
                    <a:pt x="84" y="279"/>
                  </a:lnTo>
                  <a:lnTo>
                    <a:pt x="85" y="279"/>
                  </a:lnTo>
                  <a:lnTo>
                    <a:pt x="85" y="280"/>
                  </a:lnTo>
                  <a:lnTo>
                    <a:pt x="86" y="280"/>
                  </a:lnTo>
                  <a:lnTo>
                    <a:pt x="87" y="280"/>
                  </a:lnTo>
                  <a:lnTo>
                    <a:pt x="88" y="282"/>
                  </a:lnTo>
                  <a:lnTo>
                    <a:pt x="90" y="283"/>
                  </a:lnTo>
                  <a:lnTo>
                    <a:pt x="91" y="282"/>
                  </a:lnTo>
                  <a:lnTo>
                    <a:pt x="92" y="282"/>
                  </a:lnTo>
                  <a:lnTo>
                    <a:pt x="93" y="283"/>
                  </a:lnTo>
                  <a:lnTo>
                    <a:pt x="93" y="282"/>
                  </a:lnTo>
                  <a:lnTo>
                    <a:pt x="93" y="280"/>
                  </a:lnTo>
                  <a:lnTo>
                    <a:pt x="94" y="280"/>
                  </a:lnTo>
                  <a:lnTo>
                    <a:pt x="96" y="280"/>
                  </a:lnTo>
                  <a:lnTo>
                    <a:pt x="97" y="280"/>
                  </a:lnTo>
                  <a:lnTo>
                    <a:pt x="98" y="279"/>
                  </a:lnTo>
                  <a:lnTo>
                    <a:pt x="99" y="280"/>
                  </a:lnTo>
                  <a:lnTo>
                    <a:pt x="99" y="279"/>
                  </a:lnTo>
                  <a:lnTo>
                    <a:pt x="98" y="279"/>
                  </a:lnTo>
                  <a:lnTo>
                    <a:pt x="98" y="278"/>
                  </a:lnTo>
                  <a:lnTo>
                    <a:pt x="98" y="277"/>
                  </a:lnTo>
                  <a:lnTo>
                    <a:pt x="99" y="277"/>
                  </a:lnTo>
                  <a:lnTo>
                    <a:pt x="100" y="277"/>
                  </a:lnTo>
                  <a:lnTo>
                    <a:pt x="102" y="278"/>
                  </a:lnTo>
                  <a:lnTo>
                    <a:pt x="102" y="277"/>
                  </a:lnTo>
                  <a:lnTo>
                    <a:pt x="102" y="276"/>
                  </a:lnTo>
                  <a:lnTo>
                    <a:pt x="103" y="276"/>
                  </a:lnTo>
                  <a:lnTo>
                    <a:pt x="104" y="274"/>
                  </a:lnTo>
                  <a:lnTo>
                    <a:pt x="105" y="277"/>
                  </a:lnTo>
                  <a:lnTo>
                    <a:pt x="105" y="278"/>
                  </a:lnTo>
                  <a:lnTo>
                    <a:pt x="106" y="278"/>
                  </a:lnTo>
                  <a:lnTo>
                    <a:pt x="106" y="279"/>
                  </a:lnTo>
                  <a:lnTo>
                    <a:pt x="108" y="279"/>
                  </a:lnTo>
                  <a:lnTo>
                    <a:pt x="108" y="280"/>
                  </a:lnTo>
                  <a:lnTo>
                    <a:pt x="109" y="279"/>
                  </a:lnTo>
                  <a:lnTo>
                    <a:pt x="110" y="280"/>
                  </a:lnTo>
                  <a:lnTo>
                    <a:pt x="109" y="282"/>
                  </a:lnTo>
                  <a:lnTo>
                    <a:pt x="109" y="283"/>
                  </a:lnTo>
                  <a:lnTo>
                    <a:pt x="109" y="284"/>
                  </a:lnTo>
                  <a:lnTo>
                    <a:pt x="110" y="284"/>
                  </a:lnTo>
                  <a:lnTo>
                    <a:pt x="111" y="284"/>
                  </a:lnTo>
                  <a:lnTo>
                    <a:pt x="112" y="283"/>
                  </a:lnTo>
                  <a:lnTo>
                    <a:pt x="114" y="283"/>
                  </a:lnTo>
                  <a:lnTo>
                    <a:pt x="115" y="284"/>
                  </a:lnTo>
                  <a:lnTo>
                    <a:pt x="117" y="283"/>
                  </a:lnTo>
                  <a:lnTo>
                    <a:pt x="121" y="283"/>
                  </a:lnTo>
                  <a:lnTo>
                    <a:pt x="124" y="283"/>
                  </a:lnTo>
                  <a:lnTo>
                    <a:pt x="126" y="283"/>
                  </a:lnTo>
                  <a:lnTo>
                    <a:pt x="127" y="283"/>
                  </a:lnTo>
                  <a:lnTo>
                    <a:pt x="128" y="283"/>
                  </a:lnTo>
                  <a:lnTo>
                    <a:pt x="129" y="283"/>
                  </a:lnTo>
                  <a:lnTo>
                    <a:pt x="132" y="283"/>
                  </a:lnTo>
                  <a:lnTo>
                    <a:pt x="133" y="283"/>
                  </a:lnTo>
                  <a:lnTo>
                    <a:pt x="137" y="282"/>
                  </a:lnTo>
                  <a:lnTo>
                    <a:pt x="138" y="280"/>
                  </a:lnTo>
                  <a:lnTo>
                    <a:pt x="138" y="279"/>
                  </a:lnTo>
                  <a:lnTo>
                    <a:pt x="140" y="279"/>
                  </a:lnTo>
                  <a:lnTo>
                    <a:pt x="143" y="280"/>
                  </a:lnTo>
                  <a:lnTo>
                    <a:pt x="144" y="279"/>
                  </a:lnTo>
                  <a:lnTo>
                    <a:pt x="147" y="277"/>
                  </a:lnTo>
                  <a:lnTo>
                    <a:pt x="147" y="276"/>
                  </a:lnTo>
                  <a:lnTo>
                    <a:pt x="149" y="277"/>
                  </a:lnTo>
                  <a:lnTo>
                    <a:pt x="150" y="276"/>
                  </a:lnTo>
                  <a:lnTo>
                    <a:pt x="151" y="276"/>
                  </a:lnTo>
                  <a:lnTo>
                    <a:pt x="152" y="274"/>
                  </a:lnTo>
                  <a:lnTo>
                    <a:pt x="155" y="274"/>
                  </a:lnTo>
                  <a:lnTo>
                    <a:pt x="156" y="273"/>
                  </a:lnTo>
                  <a:lnTo>
                    <a:pt x="157" y="272"/>
                  </a:lnTo>
                  <a:lnTo>
                    <a:pt x="156" y="273"/>
                  </a:lnTo>
                  <a:lnTo>
                    <a:pt x="156" y="272"/>
                  </a:lnTo>
                  <a:lnTo>
                    <a:pt x="155" y="272"/>
                  </a:lnTo>
                  <a:lnTo>
                    <a:pt x="156" y="271"/>
                  </a:lnTo>
                  <a:lnTo>
                    <a:pt x="156" y="270"/>
                  </a:lnTo>
                  <a:lnTo>
                    <a:pt x="155" y="270"/>
                  </a:lnTo>
                  <a:lnTo>
                    <a:pt x="155" y="268"/>
                  </a:lnTo>
                  <a:lnTo>
                    <a:pt x="153" y="268"/>
                  </a:lnTo>
                  <a:lnTo>
                    <a:pt x="153" y="270"/>
                  </a:lnTo>
                  <a:lnTo>
                    <a:pt x="155" y="271"/>
                  </a:lnTo>
                  <a:lnTo>
                    <a:pt x="153" y="271"/>
                  </a:lnTo>
                  <a:lnTo>
                    <a:pt x="153" y="273"/>
                  </a:lnTo>
                  <a:lnTo>
                    <a:pt x="151" y="273"/>
                  </a:lnTo>
                  <a:lnTo>
                    <a:pt x="150" y="272"/>
                  </a:lnTo>
                  <a:lnTo>
                    <a:pt x="150" y="271"/>
                  </a:lnTo>
                  <a:lnTo>
                    <a:pt x="149" y="272"/>
                  </a:lnTo>
                  <a:lnTo>
                    <a:pt x="147" y="272"/>
                  </a:lnTo>
                  <a:lnTo>
                    <a:pt x="146" y="272"/>
                  </a:lnTo>
                  <a:lnTo>
                    <a:pt x="145" y="272"/>
                  </a:lnTo>
                  <a:lnTo>
                    <a:pt x="144" y="273"/>
                  </a:lnTo>
                  <a:lnTo>
                    <a:pt x="143" y="273"/>
                  </a:lnTo>
                  <a:lnTo>
                    <a:pt x="143" y="272"/>
                  </a:lnTo>
                  <a:lnTo>
                    <a:pt x="143" y="271"/>
                  </a:lnTo>
                  <a:lnTo>
                    <a:pt x="144" y="271"/>
                  </a:lnTo>
                  <a:lnTo>
                    <a:pt x="144" y="270"/>
                  </a:lnTo>
                  <a:lnTo>
                    <a:pt x="144" y="268"/>
                  </a:lnTo>
                  <a:lnTo>
                    <a:pt x="144" y="267"/>
                  </a:lnTo>
                  <a:lnTo>
                    <a:pt x="145" y="266"/>
                  </a:lnTo>
                  <a:lnTo>
                    <a:pt x="146" y="266"/>
                  </a:lnTo>
                  <a:lnTo>
                    <a:pt x="146" y="265"/>
                  </a:lnTo>
                  <a:lnTo>
                    <a:pt x="145" y="265"/>
                  </a:lnTo>
                  <a:lnTo>
                    <a:pt x="144" y="265"/>
                  </a:lnTo>
                  <a:lnTo>
                    <a:pt x="143" y="265"/>
                  </a:lnTo>
                  <a:lnTo>
                    <a:pt x="141" y="265"/>
                  </a:lnTo>
                  <a:lnTo>
                    <a:pt x="141" y="264"/>
                  </a:lnTo>
                  <a:lnTo>
                    <a:pt x="141" y="262"/>
                  </a:lnTo>
                  <a:lnTo>
                    <a:pt x="140" y="262"/>
                  </a:lnTo>
                  <a:lnTo>
                    <a:pt x="140" y="264"/>
                  </a:lnTo>
                  <a:lnTo>
                    <a:pt x="139" y="262"/>
                  </a:lnTo>
                  <a:lnTo>
                    <a:pt x="138" y="264"/>
                  </a:lnTo>
                  <a:lnTo>
                    <a:pt x="137" y="264"/>
                  </a:lnTo>
                  <a:lnTo>
                    <a:pt x="137" y="265"/>
                  </a:lnTo>
                  <a:lnTo>
                    <a:pt x="135" y="265"/>
                  </a:lnTo>
                  <a:lnTo>
                    <a:pt x="133" y="267"/>
                  </a:lnTo>
                  <a:lnTo>
                    <a:pt x="133" y="268"/>
                  </a:lnTo>
                  <a:lnTo>
                    <a:pt x="132" y="270"/>
                  </a:lnTo>
                  <a:lnTo>
                    <a:pt x="133" y="270"/>
                  </a:lnTo>
                  <a:lnTo>
                    <a:pt x="133" y="271"/>
                  </a:lnTo>
                  <a:lnTo>
                    <a:pt x="134" y="271"/>
                  </a:lnTo>
                  <a:lnTo>
                    <a:pt x="134" y="272"/>
                  </a:lnTo>
                  <a:lnTo>
                    <a:pt x="133" y="273"/>
                  </a:lnTo>
                  <a:lnTo>
                    <a:pt x="134" y="273"/>
                  </a:lnTo>
                  <a:lnTo>
                    <a:pt x="134" y="274"/>
                  </a:lnTo>
                  <a:lnTo>
                    <a:pt x="133" y="274"/>
                  </a:lnTo>
                  <a:lnTo>
                    <a:pt x="131" y="276"/>
                  </a:lnTo>
                  <a:lnTo>
                    <a:pt x="129" y="276"/>
                  </a:lnTo>
                  <a:lnTo>
                    <a:pt x="131" y="274"/>
                  </a:lnTo>
                  <a:lnTo>
                    <a:pt x="131" y="273"/>
                  </a:lnTo>
                  <a:lnTo>
                    <a:pt x="129" y="273"/>
                  </a:lnTo>
                  <a:lnTo>
                    <a:pt x="129" y="276"/>
                  </a:lnTo>
                  <a:lnTo>
                    <a:pt x="128" y="276"/>
                  </a:lnTo>
                  <a:lnTo>
                    <a:pt x="127" y="274"/>
                  </a:lnTo>
                  <a:lnTo>
                    <a:pt x="127" y="276"/>
                  </a:lnTo>
                  <a:lnTo>
                    <a:pt x="126" y="276"/>
                  </a:lnTo>
                  <a:lnTo>
                    <a:pt x="124" y="276"/>
                  </a:lnTo>
                  <a:lnTo>
                    <a:pt x="123" y="274"/>
                  </a:lnTo>
                  <a:lnTo>
                    <a:pt x="124" y="272"/>
                  </a:lnTo>
                  <a:lnTo>
                    <a:pt x="126" y="271"/>
                  </a:lnTo>
                  <a:lnTo>
                    <a:pt x="123" y="272"/>
                  </a:lnTo>
                  <a:lnTo>
                    <a:pt x="122" y="272"/>
                  </a:lnTo>
                  <a:lnTo>
                    <a:pt x="121" y="272"/>
                  </a:lnTo>
                  <a:lnTo>
                    <a:pt x="121" y="271"/>
                  </a:lnTo>
                  <a:lnTo>
                    <a:pt x="120" y="270"/>
                  </a:lnTo>
                  <a:lnTo>
                    <a:pt x="120" y="267"/>
                  </a:lnTo>
                  <a:lnTo>
                    <a:pt x="120" y="266"/>
                  </a:lnTo>
                  <a:lnTo>
                    <a:pt x="118" y="265"/>
                  </a:lnTo>
                  <a:lnTo>
                    <a:pt x="118" y="262"/>
                  </a:lnTo>
                  <a:lnTo>
                    <a:pt x="120" y="262"/>
                  </a:lnTo>
                  <a:lnTo>
                    <a:pt x="120" y="261"/>
                  </a:lnTo>
                  <a:lnTo>
                    <a:pt x="121" y="261"/>
                  </a:lnTo>
                  <a:lnTo>
                    <a:pt x="123" y="261"/>
                  </a:lnTo>
                  <a:lnTo>
                    <a:pt x="122" y="260"/>
                  </a:lnTo>
                  <a:lnTo>
                    <a:pt x="121" y="260"/>
                  </a:lnTo>
                  <a:lnTo>
                    <a:pt x="118" y="260"/>
                  </a:lnTo>
                  <a:lnTo>
                    <a:pt x="117" y="261"/>
                  </a:lnTo>
                  <a:lnTo>
                    <a:pt x="118" y="262"/>
                  </a:lnTo>
                  <a:lnTo>
                    <a:pt x="117" y="264"/>
                  </a:lnTo>
                  <a:lnTo>
                    <a:pt x="116" y="264"/>
                  </a:lnTo>
                  <a:lnTo>
                    <a:pt x="116" y="265"/>
                  </a:lnTo>
                  <a:lnTo>
                    <a:pt x="116" y="262"/>
                  </a:lnTo>
                  <a:lnTo>
                    <a:pt x="115" y="262"/>
                  </a:lnTo>
                  <a:lnTo>
                    <a:pt x="115" y="264"/>
                  </a:lnTo>
                  <a:lnTo>
                    <a:pt x="112" y="264"/>
                  </a:lnTo>
                  <a:lnTo>
                    <a:pt x="111" y="264"/>
                  </a:lnTo>
                  <a:lnTo>
                    <a:pt x="110" y="265"/>
                  </a:lnTo>
                  <a:lnTo>
                    <a:pt x="109" y="265"/>
                  </a:lnTo>
                  <a:lnTo>
                    <a:pt x="109" y="266"/>
                  </a:lnTo>
                  <a:lnTo>
                    <a:pt x="109" y="265"/>
                  </a:lnTo>
                  <a:lnTo>
                    <a:pt x="108" y="266"/>
                  </a:lnTo>
                  <a:lnTo>
                    <a:pt x="106" y="265"/>
                  </a:lnTo>
                  <a:lnTo>
                    <a:pt x="105" y="265"/>
                  </a:lnTo>
                  <a:lnTo>
                    <a:pt x="104" y="262"/>
                  </a:lnTo>
                  <a:lnTo>
                    <a:pt x="103" y="262"/>
                  </a:lnTo>
                  <a:lnTo>
                    <a:pt x="102" y="262"/>
                  </a:lnTo>
                  <a:lnTo>
                    <a:pt x="100" y="262"/>
                  </a:lnTo>
                  <a:lnTo>
                    <a:pt x="99" y="264"/>
                  </a:lnTo>
                  <a:lnTo>
                    <a:pt x="98" y="262"/>
                  </a:lnTo>
                  <a:lnTo>
                    <a:pt x="97" y="261"/>
                  </a:lnTo>
                  <a:lnTo>
                    <a:pt x="96" y="262"/>
                  </a:lnTo>
                  <a:lnTo>
                    <a:pt x="94" y="262"/>
                  </a:lnTo>
                  <a:lnTo>
                    <a:pt x="93" y="262"/>
                  </a:lnTo>
                  <a:lnTo>
                    <a:pt x="92" y="262"/>
                  </a:lnTo>
                  <a:lnTo>
                    <a:pt x="91" y="262"/>
                  </a:lnTo>
                  <a:lnTo>
                    <a:pt x="90" y="262"/>
                  </a:lnTo>
                  <a:lnTo>
                    <a:pt x="88" y="262"/>
                  </a:lnTo>
                  <a:lnTo>
                    <a:pt x="88" y="264"/>
                  </a:lnTo>
                  <a:lnTo>
                    <a:pt x="90" y="264"/>
                  </a:lnTo>
                  <a:lnTo>
                    <a:pt x="91" y="264"/>
                  </a:lnTo>
                  <a:lnTo>
                    <a:pt x="92" y="264"/>
                  </a:lnTo>
                  <a:lnTo>
                    <a:pt x="92" y="262"/>
                  </a:lnTo>
                  <a:lnTo>
                    <a:pt x="93" y="262"/>
                  </a:lnTo>
                  <a:lnTo>
                    <a:pt x="93" y="264"/>
                  </a:lnTo>
                  <a:lnTo>
                    <a:pt x="94" y="264"/>
                  </a:lnTo>
                  <a:lnTo>
                    <a:pt x="96" y="264"/>
                  </a:lnTo>
                  <a:lnTo>
                    <a:pt x="97" y="265"/>
                  </a:lnTo>
                  <a:lnTo>
                    <a:pt x="98" y="264"/>
                  </a:lnTo>
                  <a:lnTo>
                    <a:pt x="99" y="264"/>
                  </a:lnTo>
                  <a:lnTo>
                    <a:pt x="98" y="265"/>
                  </a:lnTo>
                  <a:lnTo>
                    <a:pt x="98" y="266"/>
                  </a:lnTo>
                  <a:lnTo>
                    <a:pt x="97" y="266"/>
                  </a:lnTo>
                  <a:lnTo>
                    <a:pt x="97" y="267"/>
                  </a:lnTo>
                  <a:lnTo>
                    <a:pt x="96" y="267"/>
                  </a:lnTo>
                  <a:lnTo>
                    <a:pt x="94" y="267"/>
                  </a:lnTo>
                  <a:lnTo>
                    <a:pt x="93" y="268"/>
                  </a:lnTo>
                  <a:lnTo>
                    <a:pt x="92" y="271"/>
                  </a:lnTo>
                  <a:lnTo>
                    <a:pt x="90" y="271"/>
                  </a:lnTo>
                  <a:lnTo>
                    <a:pt x="90" y="270"/>
                  </a:lnTo>
                  <a:lnTo>
                    <a:pt x="88" y="268"/>
                  </a:lnTo>
                  <a:lnTo>
                    <a:pt x="88" y="267"/>
                  </a:lnTo>
                  <a:lnTo>
                    <a:pt x="87" y="267"/>
                  </a:lnTo>
                  <a:lnTo>
                    <a:pt x="88" y="270"/>
                  </a:lnTo>
                  <a:lnTo>
                    <a:pt x="87" y="270"/>
                  </a:lnTo>
                  <a:lnTo>
                    <a:pt x="88" y="270"/>
                  </a:lnTo>
                  <a:lnTo>
                    <a:pt x="87" y="271"/>
                  </a:lnTo>
                  <a:lnTo>
                    <a:pt x="88" y="271"/>
                  </a:lnTo>
                  <a:lnTo>
                    <a:pt x="87" y="271"/>
                  </a:lnTo>
                  <a:lnTo>
                    <a:pt x="87" y="272"/>
                  </a:lnTo>
                  <a:lnTo>
                    <a:pt x="86" y="272"/>
                  </a:lnTo>
                  <a:lnTo>
                    <a:pt x="87" y="273"/>
                  </a:lnTo>
                  <a:lnTo>
                    <a:pt x="86" y="274"/>
                  </a:lnTo>
                  <a:lnTo>
                    <a:pt x="87" y="274"/>
                  </a:lnTo>
                  <a:lnTo>
                    <a:pt x="88" y="274"/>
                  </a:lnTo>
                  <a:lnTo>
                    <a:pt x="88" y="277"/>
                  </a:lnTo>
                  <a:lnTo>
                    <a:pt x="88" y="278"/>
                  </a:lnTo>
                  <a:lnTo>
                    <a:pt x="87" y="278"/>
                  </a:lnTo>
                  <a:lnTo>
                    <a:pt x="86" y="278"/>
                  </a:lnTo>
                  <a:lnTo>
                    <a:pt x="85" y="277"/>
                  </a:lnTo>
                  <a:lnTo>
                    <a:pt x="82" y="277"/>
                  </a:lnTo>
                  <a:lnTo>
                    <a:pt x="81" y="277"/>
                  </a:lnTo>
                  <a:lnTo>
                    <a:pt x="80" y="277"/>
                  </a:lnTo>
                  <a:lnTo>
                    <a:pt x="79" y="277"/>
                  </a:lnTo>
                  <a:lnTo>
                    <a:pt x="76" y="277"/>
                  </a:lnTo>
                  <a:lnTo>
                    <a:pt x="75" y="277"/>
                  </a:lnTo>
                  <a:lnTo>
                    <a:pt x="74" y="277"/>
                  </a:lnTo>
                  <a:lnTo>
                    <a:pt x="73" y="278"/>
                  </a:lnTo>
                  <a:lnTo>
                    <a:pt x="72" y="279"/>
                  </a:lnTo>
                  <a:lnTo>
                    <a:pt x="70" y="279"/>
                  </a:lnTo>
                  <a:lnTo>
                    <a:pt x="69" y="279"/>
                  </a:lnTo>
                  <a:lnTo>
                    <a:pt x="68" y="278"/>
                  </a:lnTo>
                  <a:lnTo>
                    <a:pt x="68" y="277"/>
                  </a:lnTo>
                  <a:lnTo>
                    <a:pt x="67" y="276"/>
                  </a:lnTo>
                  <a:lnTo>
                    <a:pt x="65" y="276"/>
                  </a:lnTo>
                  <a:lnTo>
                    <a:pt x="65" y="274"/>
                  </a:lnTo>
                  <a:lnTo>
                    <a:pt x="64" y="273"/>
                  </a:lnTo>
                  <a:lnTo>
                    <a:pt x="63" y="272"/>
                  </a:lnTo>
                  <a:lnTo>
                    <a:pt x="64" y="272"/>
                  </a:lnTo>
                  <a:lnTo>
                    <a:pt x="65" y="272"/>
                  </a:lnTo>
                  <a:lnTo>
                    <a:pt x="67" y="273"/>
                  </a:lnTo>
                  <a:lnTo>
                    <a:pt x="67" y="272"/>
                  </a:lnTo>
                  <a:lnTo>
                    <a:pt x="68" y="271"/>
                  </a:lnTo>
                  <a:lnTo>
                    <a:pt x="69" y="271"/>
                  </a:lnTo>
                  <a:lnTo>
                    <a:pt x="68" y="268"/>
                  </a:lnTo>
                  <a:lnTo>
                    <a:pt x="69" y="268"/>
                  </a:lnTo>
                  <a:lnTo>
                    <a:pt x="70" y="268"/>
                  </a:lnTo>
                  <a:lnTo>
                    <a:pt x="72" y="267"/>
                  </a:lnTo>
                  <a:lnTo>
                    <a:pt x="70" y="266"/>
                  </a:lnTo>
                  <a:lnTo>
                    <a:pt x="70" y="265"/>
                  </a:lnTo>
                  <a:lnTo>
                    <a:pt x="69" y="265"/>
                  </a:lnTo>
                  <a:lnTo>
                    <a:pt x="68" y="264"/>
                  </a:lnTo>
                  <a:lnTo>
                    <a:pt x="69" y="264"/>
                  </a:lnTo>
                  <a:lnTo>
                    <a:pt x="70" y="262"/>
                  </a:lnTo>
                  <a:lnTo>
                    <a:pt x="72" y="264"/>
                  </a:lnTo>
                  <a:lnTo>
                    <a:pt x="72" y="262"/>
                  </a:lnTo>
                  <a:lnTo>
                    <a:pt x="70" y="262"/>
                  </a:lnTo>
                  <a:lnTo>
                    <a:pt x="72" y="261"/>
                  </a:lnTo>
                  <a:lnTo>
                    <a:pt x="70" y="260"/>
                  </a:lnTo>
                  <a:lnTo>
                    <a:pt x="69" y="260"/>
                  </a:lnTo>
                  <a:lnTo>
                    <a:pt x="68" y="260"/>
                  </a:lnTo>
                  <a:lnTo>
                    <a:pt x="67" y="260"/>
                  </a:lnTo>
                  <a:lnTo>
                    <a:pt x="65" y="260"/>
                  </a:lnTo>
                  <a:lnTo>
                    <a:pt x="65" y="261"/>
                  </a:lnTo>
                  <a:lnTo>
                    <a:pt x="64" y="261"/>
                  </a:lnTo>
                  <a:lnTo>
                    <a:pt x="64" y="260"/>
                  </a:lnTo>
                  <a:lnTo>
                    <a:pt x="63" y="261"/>
                  </a:lnTo>
                  <a:lnTo>
                    <a:pt x="63" y="260"/>
                  </a:lnTo>
                  <a:lnTo>
                    <a:pt x="62" y="261"/>
                  </a:lnTo>
                  <a:lnTo>
                    <a:pt x="61" y="260"/>
                  </a:lnTo>
                  <a:lnTo>
                    <a:pt x="59" y="260"/>
                  </a:lnTo>
                  <a:lnTo>
                    <a:pt x="58" y="260"/>
                  </a:lnTo>
                  <a:lnTo>
                    <a:pt x="57" y="261"/>
                  </a:lnTo>
                  <a:lnTo>
                    <a:pt x="57" y="262"/>
                  </a:lnTo>
                  <a:lnTo>
                    <a:pt x="56" y="261"/>
                  </a:lnTo>
                  <a:lnTo>
                    <a:pt x="52" y="261"/>
                  </a:lnTo>
                  <a:lnTo>
                    <a:pt x="51" y="262"/>
                  </a:lnTo>
                  <a:lnTo>
                    <a:pt x="50" y="262"/>
                  </a:lnTo>
                  <a:lnTo>
                    <a:pt x="50" y="261"/>
                  </a:lnTo>
                  <a:lnTo>
                    <a:pt x="49" y="261"/>
                  </a:lnTo>
                  <a:lnTo>
                    <a:pt x="47" y="260"/>
                  </a:lnTo>
                  <a:lnTo>
                    <a:pt x="46" y="260"/>
                  </a:lnTo>
                  <a:lnTo>
                    <a:pt x="47" y="259"/>
                  </a:lnTo>
                  <a:lnTo>
                    <a:pt x="50" y="259"/>
                  </a:lnTo>
                  <a:lnTo>
                    <a:pt x="50" y="258"/>
                  </a:lnTo>
                  <a:lnTo>
                    <a:pt x="49" y="258"/>
                  </a:lnTo>
                  <a:lnTo>
                    <a:pt x="47" y="258"/>
                  </a:lnTo>
                  <a:lnTo>
                    <a:pt x="47" y="256"/>
                  </a:lnTo>
                  <a:lnTo>
                    <a:pt x="46" y="256"/>
                  </a:lnTo>
                  <a:lnTo>
                    <a:pt x="47" y="255"/>
                  </a:lnTo>
                  <a:lnTo>
                    <a:pt x="49" y="253"/>
                  </a:lnTo>
                  <a:lnTo>
                    <a:pt x="49" y="254"/>
                  </a:lnTo>
                  <a:lnTo>
                    <a:pt x="50" y="253"/>
                  </a:lnTo>
                  <a:lnTo>
                    <a:pt x="51" y="254"/>
                  </a:lnTo>
                  <a:lnTo>
                    <a:pt x="52" y="254"/>
                  </a:lnTo>
                  <a:lnTo>
                    <a:pt x="52" y="253"/>
                  </a:lnTo>
                  <a:lnTo>
                    <a:pt x="52" y="251"/>
                  </a:lnTo>
                  <a:lnTo>
                    <a:pt x="55" y="251"/>
                  </a:lnTo>
                  <a:lnTo>
                    <a:pt x="53" y="250"/>
                  </a:lnTo>
                  <a:lnTo>
                    <a:pt x="52" y="250"/>
                  </a:lnTo>
                  <a:lnTo>
                    <a:pt x="50" y="250"/>
                  </a:lnTo>
                  <a:lnTo>
                    <a:pt x="50" y="249"/>
                  </a:lnTo>
                  <a:lnTo>
                    <a:pt x="49" y="249"/>
                  </a:lnTo>
                  <a:lnTo>
                    <a:pt x="46" y="248"/>
                  </a:lnTo>
                  <a:lnTo>
                    <a:pt x="46" y="247"/>
                  </a:lnTo>
                  <a:lnTo>
                    <a:pt x="45" y="244"/>
                  </a:lnTo>
                  <a:lnTo>
                    <a:pt x="46" y="244"/>
                  </a:lnTo>
                  <a:lnTo>
                    <a:pt x="47" y="245"/>
                  </a:lnTo>
                  <a:lnTo>
                    <a:pt x="49" y="245"/>
                  </a:lnTo>
                  <a:lnTo>
                    <a:pt x="49" y="244"/>
                  </a:lnTo>
                  <a:lnTo>
                    <a:pt x="50" y="243"/>
                  </a:lnTo>
                  <a:lnTo>
                    <a:pt x="50" y="244"/>
                  </a:lnTo>
                  <a:lnTo>
                    <a:pt x="51" y="245"/>
                  </a:lnTo>
                  <a:lnTo>
                    <a:pt x="52" y="245"/>
                  </a:lnTo>
                  <a:lnTo>
                    <a:pt x="52" y="247"/>
                  </a:lnTo>
                  <a:lnTo>
                    <a:pt x="53" y="248"/>
                  </a:lnTo>
                  <a:lnTo>
                    <a:pt x="57" y="248"/>
                  </a:lnTo>
                  <a:lnTo>
                    <a:pt x="56" y="247"/>
                  </a:lnTo>
                  <a:lnTo>
                    <a:pt x="56" y="245"/>
                  </a:lnTo>
                  <a:lnTo>
                    <a:pt x="56" y="244"/>
                  </a:lnTo>
                  <a:lnTo>
                    <a:pt x="56" y="243"/>
                  </a:lnTo>
                  <a:lnTo>
                    <a:pt x="56" y="244"/>
                  </a:lnTo>
                  <a:lnTo>
                    <a:pt x="57" y="244"/>
                  </a:lnTo>
                  <a:lnTo>
                    <a:pt x="58" y="245"/>
                  </a:lnTo>
                  <a:lnTo>
                    <a:pt x="58" y="244"/>
                  </a:lnTo>
                  <a:lnTo>
                    <a:pt x="58" y="243"/>
                  </a:lnTo>
                  <a:lnTo>
                    <a:pt x="58" y="242"/>
                  </a:lnTo>
                  <a:lnTo>
                    <a:pt x="57" y="241"/>
                  </a:lnTo>
                  <a:lnTo>
                    <a:pt x="58" y="241"/>
                  </a:lnTo>
                  <a:lnTo>
                    <a:pt x="59" y="241"/>
                  </a:lnTo>
                  <a:lnTo>
                    <a:pt x="61" y="242"/>
                  </a:lnTo>
                  <a:lnTo>
                    <a:pt x="61" y="243"/>
                  </a:lnTo>
                  <a:lnTo>
                    <a:pt x="62" y="243"/>
                  </a:lnTo>
                  <a:lnTo>
                    <a:pt x="62" y="242"/>
                  </a:lnTo>
                  <a:lnTo>
                    <a:pt x="62" y="241"/>
                  </a:lnTo>
                  <a:lnTo>
                    <a:pt x="63" y="241"/>
                  </a:lnTo>
                  <a:lnTo>
                    <a:pt x="64" y="242"/>
                  </a:lnTo>
                  <a:lnTo>
                    <a:pt x="65" y="242"/>
                  </a:lnTo>
                  <a:lnTo>
                    <a:pt x="64" y="241"/>
                  </a:lnTo>
                  <a:lnTo>
                    <a:pt x="65" y="241"/>
                  </a:lnTo>
                  <a:lnTo>
                    <a:pt x="67" y="241"/>
                  </a:lnTo>
                  <a:lnTo>
                    <a:pt x="67" y="239"/>
                  </a:lnTo>
                  <a:lnTo>
                    <a:pt x="65" y="239"/>
                  </a:lnTo>
                  <a:lnTo>
                    <a:pt x="65" y="238"/>
                  </a:lnTo>
                  <a:lnTo>
                    <a:pt x="65" y="237"/>
                  </a:lnTo>
                  <a:lnTo>
                    <a:pt x="65" y="236"/>
                  </a:lnTo>
                  <a:lnTo>
                    <a:pt x="67" y="236"/>
                  </a:lnTo>
                  <a:lnTo>
                    <a:pt x="65" y="237"/>
                  </a:lnTo>
                  <a:lnTo>
                    <a:pt x="67" y="237"/>
                  </a:lnTo>
                  <a:lnTo>
                    <a:pt x="68" y="237"/>
                  </a:lnTo>
                  <a:lnTo>
                    <a:pt x="68" y="238"/>
                  </a:lnTo>
                  <a:lnTo>
                    <a:pt x="69" y="237"/>
                  </a:lnTo>
                  <a:lnTo>
                    <a:pt x="68" y="236"/>
                  </a:lnTo>
                  <a:lnTo>
                    <a:pt x="69" y="236"/>
                  </a:lnTo>
                  <a:lnTo>
                    <a:pt x="70" y="237"/>
                  </a:lnTo>
                  <a:lnTo>
                    <a:pt x="70" y="236"/>
                  </a:lnTo>
                  <a:lnTo>
                    <a:pt x="70" y="235"/>
                  </a:lnTo>
                  <a:lnTo>
                    <a:pt x="72" y="236"/>
                  </a:lnTo>
                  <a:lnTo>
                    <a:pt x="73" y="236"/>
                  </a:lnTo>
                  <a:lnTo>
                    <a:pt x="72" y="235"/>
                  </a:lnTo>
                  <a:lnTo>
                    <a:pt x="70" y="233"/>
                  </a:lnTo>
                  <a:lnTo>
                    <a:pt x="72" y="232"/>
                  </a:lnTo>
                  <a:lnTo>
                    <a:pt x="73" y="233"/>
                  </a:lnTo>
                  <a:lnTo>
                    <a:pt x="73" y="232"/>
                  </a:lnTo>
                  <a:lnTo>
                    <a:pt x="74" y="232"/>
                  </a:lnTo>
                  <a:lnTo>
                    <a:pt x="75" y="232"/>
                  </a:lnTo>
                  <a:lnTo>
                    <a:pt x="76" y="232"/>
                  </a:lnTo>
                  <a:lnTo>
                    <a:pt x="79" y="232"/>
                  </a:lnTo>
                  <a:lnTo>
                    <a:pt x="79" y="233"/>
                  </a:lnTo>
                  <a:lnTo>
                    <a:pt x="80" y="233"/>
                  </a:lnTo>
                  <a:lnTo>
                    <a:pt x="81" y="233"/>
                  </a:lnTo>
                  <a:lnTo>
                    <a:pt x="82" y="233"/>
                  </a:lnTo>
                  <a:lnTo>
                    <a:pt x="82" y="232"/>
                  </a:lnTo>
                  <a:lnTo>
                    <a:pt x="82" y="231"/>
                  </a:lnTo>
                  <a:lnTo>
                    <a:pt x="84" y="232"/>
                  </a:lnTo>
                  <a:lnTo>
                    <a:pt x="85" y="232"/>
                  </a:lnTo>
                  <a:lnTo>
                    <a:pt x="86" y="231"/>
                  </a:lnTo>
                  <a:lnTo>
                    <a:pt x="86" y="230"/>
                  </a:lnTo>
                  <a:lnTo>
                    <a:pt x="87" y="229"/>
                  </a:lnTo>
                  <a:lnTo>
                    <a:pt x="88" y="229"/>
                  </a:lnTo>
                  <a:lnTo>
                    <a:pt x="90" y="227"/>
                  </a:lnTo>
                  <a:lnTo>
                    <a:pt x="90" y="226"/>
                  </a:lnTo>
                  <a:lnTo>
                    <a:pt x="91" y="226"/>
                  </a:lnTo>
                  <a:lnTo>
                    <a:pt x="91" y="225"/>
                  </a:lnTo>
                  <a:lnTo>
                    <a:pt x="92" y="225"/>
                  </a:lnTo>
                  <a:lnTo>
                    <a:pt x="93" y="225"/>
                  </a:lnTo>
                  <a:lnTo>
                    <a:pt x="93" y="224"/>
                  </a:lnTo>
                  <a:lnTo>
                    <a:pt x="94" y="225"/>
                  </a:lnTo>
                  <a:lnTo>
                    <a:pt x="96" y="225"/>
                  </a:lnTo>
                  <a:lnTo>
                    <a:pt x="96" y="224"/>
                  </a:lnTo>
                  <a:lnTo>
                    <a:pt x="96" y="225"/>
                  </a:lnTo>
                  <a:lnTo>
                    <a:pt x="97" y="224"/>
                  </a:lnTo>
                  <a:lnTo>
                    <a:pt x="97" y="225"/>
                  </a:lnTo>
                  <a:lnTo>
                    <a:pt x="98" y="225"/>
                  </a:lnTo>
                  <a:lnTo>
                    <a:pt x="98" y="224"/>
                  </a:lnTo>
                  <a:lnTo>
                    <a:pt x="99" y="223"/>
                  </a:lnTo>
                  <a:lnTo>
                    <a:pt x="99" y="224"/>
                  </a:lnTo>
                  <a:lnTo>
                    <a:pt x="100" y="224"/>
                  </a:lnTo>
                  <a:lnTo>
                    <a:pt x="100" y="223"/>
                  </a:lnTo>
                  <a:lnTo>
                    <a:pt x="102" y="223"/>
                  </a:lnTo>
                  <a:lnTo>
                    <a:pt x="102" y="221"/>
                  </a:lnTo>
                  <a:lnTo>
                    <a:pt x="102" y="223"/>
                  </a:lnTo>
                  <a:lnTo>
                    <a:pt x="103" y="223"/>
                  </a:lnTo>
                  <a:lnTo>
                    <a:pt x="104" y="221"/>
                  </a:lnTo>
                  <a:lnTo>
                    <a:pt x="103" y="221"/>
                  </a:lnTo>
                  <a:lnTo>
                    <a:pt x="104" y="221"/>
                  </a:lnTo>
                  <a:lnTo>
                    <a:pt x="105" y="220"/>
                  </a:lnTo>
                  <a:lnTo>
                    <a:pt x="105" y="221"/>
                  </a:lnTo>
                  <a:lnTo>
                    <a:pt x="104" y="223"/>
                  </a:lnTo>
                  <a:lnTo>
                    <a:pt x="105" y="223"/>
                  </a:lnTo>
                  <a:lnTo>
                    <a:pt x="105" y="221"/>
                  </a:lnTo>
                  <a:lnTo>
                    <a:pt x="105" y="223"/>
                  </a:lnTo>
                  <a:lnTo>
                    <a:pt x="106" y="223"/>
                  </a:lnTo>
                  <a:lnTo>
                    <a:pt x="108" y="223"/>
                  </a:lnTo>
                  <a:lnTo>
                    <a:pt x="108" y="221"/>
                  </a:lnTo>
                  <a:lnTo>
                    <a:pt x="106" y="221"/>
                  </a:lnTo>
                  <a:lnTo>
                    <a:pt x="106" y="220"/>
                  </a:lnTo>
                  <a:lnTo>
                    <a:pt x="108" y="220"/>
                  </a:lnTo>
                  <a:lnTo>
                    <a:pt x="108" y="219"/>
                  </a:lnTo>
                  <a:lnTo>
                    <a:pt x="109" y="219"/>
                  </a:lnTo>
                  <a:lnTo>
                    <a:pt x="109" y="218"/>
                  </a:lnTo>
                  <a:lnTo>
                    <a:pt x="108" y="218"/>
                  </a:lnTo>
                  <a:lnTo>
                    <a:pt x="108" y="219"/>
                  </a:lnTo>
                  <a:lnTo>
                    <a:pt x="106" y="219"/>
                  </a:lnTo>
                  <a:lnTo>
                    <a:pt x="105" y="219"/>
                  </a:lnTo>
                  <a:lnTo>
                    <a:pt x="105" y="220"/>
                  </a:lnTo>
                  <a:lnTo>
                    <a:pt x="104" y="218"/>
                  </a:lnTo>
                  <a:lnTo>
                    <a:pt x="103" y="217"/>
                  </a:lnTo>
                  <a:lnTo>
                    <a:pt x="103" y="218"/>
                  </a:lnTo>
                  <a:lnTo>
                    <a:pt x="102" y="218"/>
                  </a:lnTo>
                  <a:lnTo>
                    <a:pt x="100" y="218"/>
                  </a:lnTo>
                  <a:lnTo>
                    <a:pt x="98" y="219"/>
                  </a:lnTo>
                  <a:lnTo>
                    <a:pt x="99" y="219"/>
                  </a:lnTo>
                  <a:lnTo>
                    <a:pt x="98" y="220"/>
                  </a:lnTo>
                  <a:lnTo>
                    <a:pt x="98" y="219"/>
                  </a:lnTo>
                  <a:lnTo>
                    <a:pt x="97" y="219"/>
                  </a:lnTo>
                  <a:lnTo>
                    <a:pt x="96" y="220"/>
                  </a:lnTo>
                  <a:lnTo>
                    <a:pt x="97" y="220"/>
                  </a:lnTo>
                  <a:lnTo>
                    <a:pt x="96" y="220"/>
                  </a:lnTo>
                  <a:lnTo>
                    <a:pt x="94" y="220"/>
                  </a:lnTo>
                  <a:lnTo>
                    <a:pt x="94" y="219"/>
                  </a:lnTo>
                  <a:lnTo>
                    <a:pt x="93" y="219"/>
                  </a:lnTo>
                  <a:lnTo>
                    <a:pt x="92" y="219"/>
                  </a:lnTo>
                  <a:lnTo>
                    <a:pt x="92" y="220"/>
                  </a:lnTo>
                  <a:lnTo>
                    <a:pt x="91" y="220"/>
                  </a:lnTo>
                  <a:lnTo>
                    <a:pt x="91" y="221"/>
                  </a:lnTo>
                  <a:lnTo>
                    <a:pt x="90" y="221"/>
                  </a:lnTo>
                  <a:lnTo>
                    <a:pt x="90" y="223"/>
                  </a:lnTo>
                  <a:lnTo>
                    <a:pt x="90" y="224"/>
                  </a:lnTo>
                  <a:lnTo>
                    <a:pt x="88" y="224"/>
                  </a:lnTo>
                  <a:lnTo>
                    <a:pt x="90" y="224"/>
                  </a:lnTo>
                  <a:lnTo>
                    <a:pt x="88" y="224"/>
                  </a:lnTo>
                  <a:lnTo>
                    <a:pt x="88" y="223"/>
                  </a:lnTo>
                  <a:lnTo>
                    <a:pt x="88" y="224"/>
                  </a:lnTo>
                  <a:lnTo>
                    <a:pt x="88" y="225"/>
                  </a:lnTo>
                  <a:lnTo>
                    <a:pt x="87" y="225"/>
                  </a:lnTo>
                  <a:lnTo>
                    <a:pt x="87" y="226"/>
                  </a:lnTo>
                  <a:lnTo>
                    <a:pt x="86" y="225"/>
                  </a:lnTo>
                  <a:lnTo>
                    <a:pt x="85" y="225"/>
                  </a:lnTo>
                  <a:lnTo>
                    <a:pt x="86" y="224"/>
                  </a:lnTo>
                  <a:lnTo>
                    <a:pt x="85" y="223"/>
                  </a:lnTo>
                  <a:lnTo>
                    <a:pt x="85" y="221"/>
                  </a:lnTo>
                  <a:lnTo>
                    <a:pt x="86" y="221"/>
                  </a:lnTo>
                  <a:lnTo>
                    <a:pt x="85" y="220"/>
                  </a:lnTo>
                  <a:lnTo>
                    <a:pt x="85" y="221"/>
                  </a:lnTo>
                  <a:lnTo>
                    <a:pt x="84" y="221"/>
                  </a:lnTo>
                  <a:lnTo>
                    <a:pt x="84" y="223"/>
                  </a:lnTo>
                  <a:lnTo>
                    <a:pt x="84" y="224"/>
                  </a:lnTo>
                  <a:lnTo>
                    <a:pt x="82" y="224"/>
                  </a:lnTo>
                  <a:lnTo>
                    <a:pt x="81" y="224"/>
                  </a:lnTo>
                  <a:lnTo>
                    <a:pt x="80" y="224"/>
                  </a:lnTo>
                  <a:lnTo>
                    <a:pt x="80" y="223"/>
                  </a:lnTo>
                  <a:lnTo>
                    <a:pt x="80" y="224"/>
                  </a:lnTo>
                  <a:lnTo>
                    <a:pt x="79" y="224"/>
                  </a:lnTo>
                  <a:lnTo>
                    <a:pt x="79" y="223"/>
                  </a:lnTo>
                  <a:lnTo>
                    <a:pt x="78" y="223"/>
                  </a:lnTo>
                  <a:lnTo>
                    <a:pt x="78" y="221"/>
                  </a:lnTo>
                  <a:lnTo>
                    <a:pt x="79" y="221"/>
                  </a:lnTo>
                  <a:lnTo>
                    <a:pt x="80" y="221"/>
                  </a:lnTo>
                  <a:lnTo>
                    <a:pt x="80" y="220"/>
                  </a:lnTo>
                  <a:lnTo>
                    <a:pt x="79" y="220"/>
                  </a:lnTo>
                  <a:lnTo>
                    <a:pt x="80" y="220"/>
                  </a:lnTo>
                  <a:lnTo>
                    <a:pt x="80" y="219"/>
                  </a:lnTo>
                  <a:lnTo>
                    <a:pt x="80" y="218"/>
                  </a:lnTo>
                  <a:lnTo>
                    <a:pt x="81" y="218"/>
                  </a:lnTo>
                  <a:lnTo>
                    <a:pt x="82" y="218"/>
                  </a:lnTo>
                  <a:lnTo>
                    <a:pt x="82" y="217"/>
                  </a:lnTo>
                  <a:lnTo>
                    <a:pt x="82" y="215"/>
                  </a:lnTo>
                  <a:lnTo>
                    <a:pt x="84" y="215"/>
                  </a:lnTo>
                  <a:lnTo>
                    <a:pt x="85" y="215"/>
                  </a:lnTo>
                  <a:lnTo>
                    <a:pt x="85" y="214"/>
                  </a:lnTo>
                  <a:lnTo>
                    <a:pt x="84" y="213"/>
                  </a:lnTo>
                  <a:lnTo>
                    <a:pt x="82" y="213"/>
                  </a:lnTo>
                  <a:lnTo>
                    <a:pt x="82" y="214"/>
                  </a:lnTo>
                  <a:lnTo>
                    <a:pt x="82" y="215"/>
                  </a:lnTo>
                  <a:lnTo>
                    <a:pt x="81" y="215"/>
                  </a:lnTo>
                  <a:lnTo>
                    <a:pt x="80" y="215"/>
                  </a:lnTo>
                  <a:lnTo>
                    <a:pt x="79" y="214"/>
                  </a:lnTo>
                  <a:lnTo>
                    <a:pt x="79" y="215"/>
                  </a:lnTo>
                  <a:lnTo>
                    <a:pt x="78" y="214"/>
                  </a:lnTo>
                  <a:lnTo>
                    <a:pt x="78" y="215"/>
                  </a:lnTo>
                  <a:lnTo>
                    <a:pt x="76" y="215"/>
                  </a:lnTo>
                  <a:lnTo>
                    <a:pt x="75" y="215"/>
                  </a:lnTo>
                  <a:lnTo>
                    <a:pt x="75" y="217"/>
                  </a:lnTo>
                  <a:lnTo>
                    <a:pt x="74" y="217"/>
                  </a:lnTo>
                  <a:lnTo>
                    <a:pt x="73" y="217"/>
                  </a:lnTo>
                  <a:lnTo>
                    <a:pt x="73" y="215"/>
                  </a:lnTo>
                  <a:lnTo>
                    <a:pt x="74" y="215"/>
                  </a:lnTo>
                  <a:lnTo>
                    <a:pt x="74" y="214"/>
                  </a:lnTo>
                  <a:lnTo>
                    <a:pt x="74" y="213"/>
                  </a:lnTo>
                  <a:lnTo>
                    <a:pt x="74" y="214"/>
                  </a:lnTo>
                  <a:lnTo>
                    <a:pt x="75" y="214"/>
                  </a:lnTo>
                  <a:lnTo>
                    <a:pt x="75" y="213"/>
                  </a:lnTo>
                  <a:lnTo>
                    <a:pt x="74" y="212"/>
                  </a:lnTo>
                  <a:lnTo>
                    <a:pt x="74" y="211"/>
                  </a:lnTo>
                  <a:lnTo>
                    <a:pt x="74" y="209"/>
                  </a:lnTo>
                  <a:lnTo>
                    <a:pt x="75" y="209"/>
                  </a:lnTo>
                  <a:lnTo>
                    <a:pt x="76" y="209"/>
                  </a:lnTo>
                  <a:lnTo>
                    <a:pt x="78" y="209"/>
                  </a:lnTo>
                  <a:lnTo>
                    <a:pt x="80" y="208"/>
                  </a:lnTo>
                  <a:lnTo>
                    <a:pt x="79" y="207"/>
                  </a:lnTo>
                  <a:lnTo>
                    <a:pt x="79" y="206"/>
                  </a:lnTo>
                  <a:lnTo>
                    <a:pt x="80" y="206"/>
                  </a:lnTo>
                  <a:lnTo>
                    <a:pt x="81" y="206"/>
                  </a:lnTo>
                  <a:lnTo>
                    <a:pt x="81" y="205"/>
                  </a:lnTo>
                  <a:lnTo>
                    <a:pt x="82" y="205"/>
                  </a:lnTo>
                  <a:lnTo>
                    <a:pt x="82" y="203"/>
                  </a:lnTo>
                  <a:lnTo>
                    <a:pt x="84" y="203"/>
                  </a:lnTo>
                  <a:lnTo>
                    <a:pt x="84" y="202"/>
                  </a:lnTo>
                  <a:lnTo>
                    <a:pt x="84" y="201"/>
                  </a:lnTo>
                  <a:lnTo>
                    <a:pt x="85" y="202"/>
                  </a:lnTo>
                  <a:lnTo>
                    <a:pt x="85" y="201"/>
                  </a:lnTo>
                  <a:lnTo>
                    <a:pt x="86" y="201"/>
                  </a:lnTo>
                  <a:lnTo>
                    <a:pt x="87" y="200"/>
                  </a:lnTo>
                  <a:lnTo>
                    <a:pt x="86" y="199"/>
                  </a:lnTo>
                  <a:lnTo>
                    <a:pt x="87" y="197"/>
                  </a:lnTo>
                  <a:lnTo>
                    <a:pt x="87" y="199"/>
                  </a:lnTo>
                  <a:lnTo>
                    <a:pt x="88" y="197"/>
                  </a:lnTo>
                  <a:lnTo>
                    <a:pt x="90" y="199"/>
                  </a:lnTo>
                  <a:lnTo>
                    <a:pt x="91" y="197"/>
                  </a:lnTo>
                  <a:lnTo>
                    <a:pt x="91" y="196"/>
                  </a:lnTo>
                  <a:lnTo>
                    <a:pt x="92" y="197"/>
                  </a:lnTo>
                  <a:lnTo>
                    <a:pt x="93" y="196"/>
                  </a:lnTo>
                  <a:lnTo>
                    <a:pt x="93" y="197"/>
                  </a:lnTo>
                  <a:lnTo>
                    <a:pt x="94" y="197"/>
                  </a:lnTo>
                  <a:lnTo>
                    <a:pt x="94" y="196"/>
                  </a:lnTo>
                  <a:lnTo>
                    <a:pt x="94" y="195"/>
                  </a:lnTo>
                  <a:lnTo>
                    <a:pt x="96" y="195"/>
                  </a:lnTo>
                  <a:lnTo>
                    <a:pt x="97" y="195"/>
                  </a:lnTo>
                  <a:lnTo>
                    <a:pt x="97" y="194"/>
                  </a:lnTo>
                  <a:lnTo>
                    <a:pt x="97" y="193"/>
                  </a:lnTo>
                  <a:lnTo>
                    <a:pt x="97" y="194"/>
                  </a:lnTo>
                  <a:lnTo>
                    <a:pt x="98" y="194"/>
                  </a:lnTo>
                  <a:lnTo>
                    <a:pt x="98" y="193"/>
                  </a:lnTo>
                  <a:lnTo>
                    <a:pt x="99" y="193"/>
                  </a:lnTo>
                  <a:lnTo>
                    <a:pt x="98" y="191"/>
                  </a:lnTo>
                  <a:lnTo>
                    <a:pt x="99" y="191"/>
                  </a:lnTo>
                  <a:lnTo>
                    <a:pt x="100" y="191"/>
                  </a:lnTo>
                  <a:lnTo>
                    <a:pt x="99" y="190"/>
                  </a:lnTo>
                  <a:lnTo>
                    <a:pt x="99" y="189"/>
                  </a:lnTo>
                  <a:lnTo>
                    <a:pt x="100" y="189"/>
                  </a:lnTo>
                  <a:lnTo>
                    <a:pt x="99" y="189"/>
                  </a:lnTo>
                  <a:lnTo>
                    <a:pt x="98" y="189"/>
                  </a:lnTo>
                  <a:lnTo>
                    <a:pt x="97" y="190"/>
                  </a:lnTo>
                  <a:lnTo>
                    <a:pt x="96" y="190"/>
                  </a:lnTo>
                  <a:lnTo>
                    <a:pt x="94" y="190"/>
                  </a:lnTo>
                  <a:lnTo>
                    <a:pt x="93" y="190"/>
                  </a:lnTo>
                  <a:lnTo>
                    <a:pt x="92" y="190"/>
                  </a:lnTo>
                  <a:lnTo>
                    <a:pt x="91" y="191"/>
                  </a:lnTo>
                  <a:lnTo>
                    <a:pt x="90" y="191"/>
                  </a:lnTo>
                  <a:lnTo>
                    <a:pt x="88" y="191"/>
                  </a:lnTo>
                  <a:lnTo>
                    <a:pt x="87" y="193"/>
                  </a:lnTo>
                  <a:lnTo>
                    <a:pt x="86" y="193"/>
                  </a:lnTo>
                  <a:lnTo>
                    <a:pt x="85" y="193"/>
                  </a:lnTo>
                  <a:lnTo>
                    <a:pt x="84" y="194"/>
                  </a:lnTo>
                  <a:lnTo>
                    <a:pt x="82" y="194"/>
                  </a:lnTo>
                  <a:lnTo>
                    <a:pt x="81" y="195"/>
                  </a:lnTo>
                  <a:lnTo>
                    <a:pt x="80" y="195"/>
                  </a:lnTo>
                  <a:lnTo>
                    <a:pt x="79" y="196"/>
                  </a:lnTo>
                  <a:lnTo>
                    <a:pt x="78" y="197"/>
                  </a:lnTo>
                  <a:lnTo>
                    <a:pt x="75" y="199"/>
                  </a:lnTo>
                  <a:lnTo>
                    <a:pt x="76" y="199"/>
                  </a:lnTo>
                  <a:lnTo>
                    <a:pt x="78" y="199"/>
                  </a:lnTo>
                  <a:lnTo>
                    <a:pt x="78" y="200"/>
                  </a:lnTo>
                  <a:lnTo>
                    <a:pt x="79" y="200"/>
                  </a:lnTo>
                  <a:lnTo>
                    <a:pt x="79" y="201"/>
                  </a:lnTo>
                  <a:lnTo>
                    <a:pt x="78" y="201"/>
                  </a:lnTo>
                  <a:lnTo>
                    <a:pt x="79" y="201"/>
                  </a:lnTo>
                  <a:lnTo>
                    <a:pt x="78" y="202"/>
                  </a:lnTo>
                  <a:lnTo>
                    <a:pt x="79" y="202"/>
                  </a:lnTo>
                  <a:lnTo>
                    <a:pt x="79" y="203"/>
                  </a:lnTo>
                  <a:lnTo>
                    <a:pt x="79" y="205"/>
                  </a:lnTo>
                  <a:lnTo>
                    <a:pt x="79" y="206"/>
                  </a:lnTo>
                  <a:lnTo>
                    <a:pt x="78" y="207"/>
                  </a:lnTo>
                  <a:lnTo>
                    <a:pt x="76" y="207"/>
                  </a:lnTo>
                  <a:lnTo>
                    <a:pt x="76" y="206"/>
                  </a:lnTo>
                  <a:lnTo>
                    <a:pt x="75" y="206"/>
                  </a:lnTo>
                  <a:lnTo>
                    <a:pt x="74" y="208"/>
                  </a:lnTo>
                  <a:lnTo>
                    <a:pt x="74" y="209"/>
                  </a:lnTo>
                  <a:lnTo>
                    <a:pt x="73" y="211"/>
                  </a:lnTo>
                  <a:lnTo>
                    <a:pt x="72" y="211"/>
                  </a:lnTo>
                  <a:lnTo>
                    <a:pt x="73" y="211"/>
                  </a:lnTo>
                  <a:lnTo>
                    <a:pt x="72" y="212"/>
                  </a:lnTo>
                  <a:lnTo>
                    <a:pt x="72" y="213"/>
                  </a:lnTo>
                  <a:lnTo>
                    <a:pt x="70" y="212"/>
                  </a:lnTo>
                  <a:lnTo>
                    <a:pt x="69" y="213"/>
                  </a:lnTo>
                  <a:lnTo>
                    <a:pt x="68" y="213"/>
                  </a:lnTo>
                  <a:lnTo>
                    <a:pt x="68" y="214"/>
                  </a:lnTo>
                  <a:lnTo>
                    <a:pt x="67" y="213"/>
                  </a:lnTo>
                  <a:lnTo>
                    <a:pt x="65" y="212"/>
                  </a:lnTo>
                  <a:lnTo>
                    <a:pt x="67" y="212"/>
                  </a:lnTo>
                  <a:lnTo>
                    <a:pt x="67" y="211"/>
                  </a:lnTo>
                  <a:lnTo>
                    <a:pt x="67" y="212"/>
                  </a:lnTo>
                  <a:lnTo>
                    <a:pt x="67" y="211"/>
                  </a:lnTo>
                  <a:lnTo>
                    <a:pt x="67" y="209"/>
                  </a:lnTo>
                  <a:lnTo>
                    <a:pt x="65" y="208"/>
                  </a:lnTo>
                  <a:lnTo>
                    <a:pt x="64" y="208"/>
                  </a:lnTo>
                  <a:lnTo>
                    <a:pt x="63" y="209"/>
                  </a:lnTo>
                  <a:lnTo>
                    <a:pt x="62" y="211"/>
                  </a:lnTo>
                  <a:lnTo>
                    <a:pt x="62" y="213"/>
                  </a:lnTo>
                  <a:lnTo>
                    <a:pt x="61" y="213"/>
                  </a:lnTo>
                  <a:lnTo>
                    <a:pt x="59" y="214"/>
                  </a:lnTo>
                  <a:lnTo>
                    <a:pt x="59" y="215"/>
                  </a:lnTo>
                  <a:lnTo>
                    <a:pt x="59" y="217"/>
                  </a:lnTo>
                  <a:lnTo>
                    <a:pt x="58" y="217"/>
                  </a:lnTo>
                  <a:lnTo>
                    <a:pt x="57" y="218"/>
                  </a:lnTo>
                  <a:lnTo>
                    <a:pt x="56" y="218"/>
                  </a:lnTo>
                  <a:lnTo>
                    <a:pt x="56" y="217"/>
                  </a:lnTo>
                  <a:lnTo>
                    <a:pt x="55" y="217"/>
                  </a:lnTo>
                  <a:lnTo>
                    <a:pt x="55" y="215"/>
                  </a:lnTo>
                  <a:lnTo>
                    <a:pt x="53" y="215"/>
                  </a:lnTo>
                  <a:lnTo>
                    <a:pt x="53" y="217"/>
                  </a:lnTo>
                  <a:lnTo>
                    <a:pt x="52" y="217"/>
                  </a:lnTo>
                  <a:lnTo>
                    <a:pt x="51" y="218"/>
                  </a:lnTo>
                  <a:lnTo>
                    <a:pt x="51" y="219"/>
                  </a:lnTo>
                  <a:lnTo>
                    <a:pt x="52" y="220"/>
                  </a:lnTo>
                  <a:lnTo>
                    <a:pt x="51" y="220"/>
                  </a:lnTo>
                  <a:lnTo>
                    <a:pt x="52" y="220"/>
                  </a:lnTo>
                  <a:lnTo>
                    <a:pt x="51" y="220"/>
                  </a:lnTo>
                  <a:lnTo>
                    <a:pt x="50" y="220"/>
                  </a:lnTo>
                  <a:lnTo>
                    <a:pt x="50" y="221"/>
                  </a:lnTo>
                  <a:lnTo>
                    <a:pt x="49" y="221"/>
                  </a:lnTo>
                  <a:lnTo>
                    <a:pt x="47" y="221"/>
                  </a:lnTo>
                  <a:lnTo>
                    <a:pt x="46" y="221"/>
                  </a:lnTo>
                  <a:lnTo>
                    <a:pt x="49" y="220"/>
                  </a:lnTo>
                  <a:lnTo>
                    <a:pt x="47" y="220"/>
                  </a:lnTo>
                  <a:lnTo>
                    <a:pt x="46" y="220"/>
                  </a:lnTo>
                  <a:lnTo>
                    <a:pt x="46" y="221"/>
                  </a:lnTo>
                  <a:lnTo>
                    <a:pt x="45" y="221"/>
                  </a:lnTo>
                  <a:lnTo>
                    <a:pt x="45" y="223"/>
                  </a:lnTo>
                  <a:lnTo>
                    <a:pt x="44" y="223"/>
                  </a:lnTo>
                  <a:lnTo>
                    <a:pt x="44" y="224"/>
                  </a:lnTo>
                  <a:lnTo>
                    <a:pt x="43" y="224"/>
                  </a:lnTo>
                  <a:lnTo>
                    <a:pt x="44" y="224"/>
                  </a:lnTo>
                  <a:lnTo>
                    <a:pt x="45" y="225"/>
                  </a:lnTo>
                  <a:lnTo>
                    <a:pt x="43" y="226"/>
                  </a:lnTo>
                  <a:lnTo>
                    <a:pt x="43" y="227"/>
                  </a:lnTo>
                  <a:lnTo>
                    <a:pt x="41" y="229"/>
                  </a:lnTo>
                  <a:lnTo>
                    <a:pt x="41" y="227"/>
                  </a:lnTo>
                  <a:lnTo>
                    <a:pt x="40" y="227"/>
                  </a:lnTo>
                  <a:lnTo>
                    <a:pt x="39" y="227"/>
                  </a:lnTo>
                  <a:lnTo>
                    <a:pt x="38" y="226"/>
                  </a:lnTo>
                  <a:lnTo>
                    <a:pt x="39" y="226"/>
                  </a:lnTo>
                  <a:lnTo>
                    <a:pt x="38" y="225"/>
                  </a:lnTo>
                  <a:lnTo>
                    <a:pt x="35" y="226"/>
                  </a:lnTo>
                  <a:lnTo>
                    <a:pt x="35" y="227"/>
                  </a:lnTo>
                  <a:lnTo>
                    <a:pt x="35" y="226"/>
                  </a:lnTo>
                  <a:lnTo>
                    <a:pt x="34" y="226"/>
                  </a:lnTo>
                  <a:lnTo>
                    <a:pt x="33" y="226"/>
                  </a:lnTo>
                  <a:lnTo>
                    <a:pt x="32" y="225"/>
                  </a:lnTo>
                  <a:lnTo>
                    <a:pt x="31" y="225"/>
                  </a:lnTo>
                  <a:lnTo>
                    <a:pt x="31" y="224"/>
                  </a:lnTo>
                  <a:lnTo>
                    <a:pt x="29" y="223"/>
                  </a:lnTo>
                  <a:lnTo>
                    <a:pt x="28" y="221"/>
                  </a:lnTo>
                  <a:lnTo>
                    <a:pt x="31" y="221"/>
                  </a:lnTo>
                  <a:lnTo>
                    <a:pt x="31" y="220"/>
                  </a:lnTo>
                  <a:lnTo>
                    <a:pt x="29" y="219"/>
                  </a:lnTo>
                  <a:lnTo>
                    <a:pt x="27" y="217"/>
                  </a:lnTo>
                  <a:lnTo>
                    <a:pt x="28" y="217"/>
                  </a:lnTo>
                  <a:lnTo>
                    <a:pt x="29" y="217"/>
                  </a:lnTo>
                  <a:lnTo>
                    <a:pt x="31" y="217"/>
                  </a:lnTo>
                  <a:lnTo>
                    <a:pt x="31" y="215"/>
                  </a:lnTo>
                  <a:lnTo>
                    <a:pt x="32" y="215"/>
                  </a:lnTo>
                  <a:lnTo>
                    <a:pt x="33" y="215"/>
                  </a:lnTo>
                  <a:lnTo>
                    <a:pt x="33" y="214"/>
                  </a:lnTo>
                  <a:lnTo>
                    <a:pt x="32" y="215"/>
                  </a:lnTo>
                  <a:lnTo>
                    <a:pt x="32" y="214"/>
                  </a:lnTo>
                  <a:lnTo>
                    <a:pt x="31" y="214"/>
                  </a:lnTo>
                  <a:lnTo>
                    <a:pt x="29" y="213"/>
                  </a:lnTo>
                  <a:lnTo>
                    <a:pt x="29" y="212"/>
                  </a:lnTo>
                  <a:lnTo>
                    <a:pt x="31" y="212"/>
                  </a:lnTo>
                  <a:lnTo>
                    <a:pt x="32" y="212"/>
                  </a:lnTo>
                  <a:lnTo>
                    <a:pt x="33" y="212"/>
                  </a:lnTo>
                  <a:lnTo>
                    <a:pt x="33" y="211"/>
                  </a:lnTo>
                  <a:lnTo>
                    <a:pt x="33" y="209"/>
                  </a:lnTo>
                  <a:lnTo>
                    <a:pt x="34" y="211"/>
                  </a:lnTo>
                  <a:lnTo>
                    <a:pt x="35" y="211"/>
                  </a:lnTo>
                  <a:lnTo>
                    <a:pt x="35" y="208"/>
                  </a:lnTo>
                  <a:lnTo>
                    <a:pt x="37" y="207"/>
                  </a:lnTo>
                  <a:lnTo>
                    <a:pt x="38" y="206"/>
                  </a:lnTo>
                  <a:lnTo>
                    <a:pt x="39" y="207"/>
                  </a:lnTo>
                  <a:lnTo>
                    <a:pt x="39" y="205"/>
                  </a:lnTo>
                  <a:lnTo>
                    <a:pt x="38" y="203"/>
                  </a:lnTo>
                  <a:lnTo>
                    <a:pt x="38" y="202"/>
                  </a:lnTo>
                  <a:lnTo>
                    <a:pt x="38" y="201"/>
                  </a:lnTo>
                  <a:lnTo>
                    <a:pt x="39" y="201"/>
                  </a:lnTo>
                  <a:lnTo>
                    <a:pt x="40" y="201"/>
                  </a:lnTo>
                  <a:lnTo>
                    <a:pt x="41" y="201"/>
                  </a:lnTo>
                  <a:lnTo>
                    <a:pt x="43" y="200"/>
                  </a:lnTo>
                  <a:lnTo>
                    <a:pt x="44" y="200"/>
                  </a:lnTo>
                  <a:lnTo>
                    <a:pt x="45" y="199"/>
                  </a:lnTo>
                  <a:lnTo>
                    <a:pt x="46" y="199"/>
                  </a:lnTo>
                  <a:lnTo>
                    <a:pt x="45" y="199"/>
                  </a:lnTo>
                  <a:lnTo>
                    <a:pt x="45" y="197"/>
                  </a:lnTo>
                  <a:lnTo>
                    <a:pt x="44" y="196"/>
                  </a:lnTo>
                  <a:lnTo>
                    <a:pt x="44" y="195"/>
                  </a:lnTo>
                  <a:lnTo>
                    <a:pt x="45" y="195"/>
                  </a:lnTo>
                  <a:lnTo>
                    <a:pt x="46" y="195"/>
                  </a:lnTo>
                  <a:lnTo>
                    <a:pt x="47" y="196"/>
                  </a:lnTo>
                  <a:lnTo>
                    <a:pt x="47" y="195"/>
                  </a:lnTo>
                  <a:lnTo>
                    <a:pt x="49" y="195"/>
                  </a:lnTo>
                  <a:lnTo>
                    <a:pt x="50" y="195"/>
                  </a:lnTo>
                  <a:lnTo>
                    <a:pt x="51" y="196"/>
                  </a:lnTo>
                  <a:lnTo>
                    <a:pt x="51" y="195"/>
                  </a:lnTo>
                  <a:lnTo>
                    <a:pt x="52" y="194"/>
                  </a:lnTo>
                  <a:lnTo>
                    <a:pt x="52" y="193"/>
                  </a:lnTo>
                  <a:lnTo>
                    <a:pt x="52" y="191"/>
                  </a:lnTo>
                  <a:lnTo>
                    <a:pt x="53" y="191"/>
                  </a:lnTo>
                  <a:lnTo>
                    <a:pt x="53" y="190"/>
                  </a:lnTo>
                  <a:lnTo>
                    <a:pt x="55" y="190"/>
                  </a:lnTo>
                  <a:lnTo>
                    <a:pt x="55" y="189"/>
                  </a:lnTo>
                  <a:lnTo>
                    <a:pt x="55" y="188"/>
                  </a:lnTo>
                  <a:lnTo>
                    <a:pt x="56" y="188"/>
                  </a:lnTo>
                  <a:lnTo>
                    <a:pt x="56" y="187"/>
                  </a:lnTo>
                  <a:lnTo>
                    <a:pt x="57" y="185"/>
                  </a:lnTo>
                  <a:lnTo>
                    <a:pt x="57" y="184"/>
                  </a:lnTo>
                  <a:lnTo>
                    <a:pt x="58" y="184"/>
                  </a:lnTo>
                  <a:lnTo>
                    <a:pt x="59" y="184"/>
                  </a:lnTo>
                  <a:lnTo>
                    <a:pt x="58" y="184"/>
                  </a:lnTo>
                  <a:lnTo>
                    <a:pt x="58" y="183"/>
                  </a:lnTo>
                  <a:lnTo>
                    <a:pt x="58" y="182"/>
                  </a:lnTo>
                  <a:lnTo>
                    <a:pt x="57" y="183"/>
                  </a:lnTo>
                  <a:lnTo>
                    <a:pt x="57" y="182"/>
                  </a:lnTo>
                  <a:lnTo>
                    <a:pt x="57" y="181"/>
                  </a:lnTo>
                  <a:lnTo>
                    <a:pt x="58" y="181"/>
                  </a:lnTo>
                  <a:lnTo>
                    <a:pt x="57" y="181"/>
                  </a:lnTo>
                  <a:lnTo>
                    <a:pt x="56" y="179"/>
                  </a:lnTo>
                  <a:lnTo>
                    <a:pt x="55" y="178"/>
                  </a:lnTo>
                  <a:lnTo>
                    <a:pt x="55" y="179"/>
                  </a:lnTo>
                  <a:lnTo>
                    <a:pt x="53" y="178"/>
                  </a:lnTo>
                  <a:lnTo>
                    <a:pt x="52" y="177"/>
                  </a:lnTo>
                  <a:lnTo>
                    <a:pt x="52" y="176"/>
                  </a:lnTo>
                  <a:lnTo>
                    <a:pt x="51" y="176"/>
                  </a:lnTo>
                  <a:lnTo>
                    <a:pt x="50" y="176"/>
                  </a:lnTo>
                  <a:lnTo>
                    <a:pt x="50" y="175"/>
                  </a:lnTo>
                  <a:lnTo>
                    <a:pt x="49" y="175"/>
                  </a:lnTo>
                  <a:lnTo>
                    <a:pt x="50" y="175"/>
                  </a:lnTo>
                  <a:lnTo>
                    <a:pt x="50" y="173"/>
                  </a:lnTo>
                  <a:lnTo>
                    <a:pt x="49" y="175"/>
                  </a:lnTo>
                  <a:lnTo>
                    <a:pt x="47" y="173"/>
                  </a:lnTo>
                  <a:lnTo>
                    <a:pt x="47" y="175"/>
                  </a:lnTo>
                  <a:lnTo>
                    <a:pt x="49" y="176"/>
                  </a:lnTo>
                  <a:lnTo>
                    <a:pt x="47" y="176"/>
                  </a:lnTo>
                  <a:lnTo>
                    <a:pt x="47" y="177"/>
                  </a:lnTo>
                  <a:lnTo>
                    <a:pt x="47" y="176"/>
                  </a:lnTo>
                  <a:lnTo>
                    <a:pt x="47" y="177"/>
                  </a:lnTo>
                  <a:lnTo>
                    <a:pt x="47" y="178"/>
                  </a:lnTo>
                  <a:lnTo>
                    <a:pt x="46" y="178"/>
                  </a:lnTo>
                  <a:lnTo>
                    <a:pt x="46" y="179"/>
                  </a:lnTo>
                  <a:lnTo>
                    <a:pt x="45" y="181"/>
                  </a:lnTo>
                  <a:lnTo>
                    <a:pt x="45" y="179"/>
                  </a:lnTo>
                  <a:lnTo>
                    <a:pt x="44" y="179"/>
                  </a:lnTo>
                  <a:lnTo>
                    <a:pt x="43" y="179"/>
                  </a:lnTo>
                  <a:lnTo>
                    <a:pt x="41" y="181"/>
                  </a:lnTo>
                  <a:lnTo>
                    <a:pt x="40" y="182"/>
                  </a:lnTo>
                  <a:lnTo>
                    <a:pt x="39" y="182"/>
                  </a:lnTo>
                  <a:lnTo>
                    <a:pt x="38" y="183"/>
                  </a:lnTo>
                  <a:lnTo>
                    <a:pt x="37" y="184"/>
                  </a:lnTo>
                  <a:lnTo>
                    <a:pt x="37" y="183"/>
                  </a:lnTo>
                  <a:lnTo>
                    <a:pt x="34" y="184"/>
                  </a:lnTo>
                  <a:lnTo>
                    <a:pt x="33" y="185"/>
                  </a:lnTo>
                  <a:lnTo>
                    <a:pt x="32" y="184"/>
                  </a:lnTo>
                  <a:lnTo>
                    <a:pt x="32" y="185"/>
                  </a:lnTo>
                  <a:lnTo>
                    <a:pt x="31" y="185"/>
                  </a:lnTo>
                  <a:lnTo>
                    <a:pt x="29" y="184"/>
                  </a:lnTo>
                  <a:lnTo>
                    <a:pt x="29" y="185"/>
                  </a:lnTo>
                  <a:lnTo>
                    <a:pt x="28" y="185"/>
                  </a:lnTo>
                  <a:lnTo>
                    <a:pt x="27" y="185"/>
                  </a:lnTo>
                  <a:lnTo>
                    <a:pt x="27" y="184"/>
                  </a:lnTo>
                  <a:lnTo>
                    <a:pt x="26" y="184"/>
                  </a:lnTo>
                  <a:lnTo>
                    <a:pt x="26" y="183"/>
                  </a:lnTo>
                  <a:lnTo>
                    <a:pt x="25" y="183"/>
                  </a:lnTo>
                  <a:lnTo>
                    <a:pt x="23" y="182"/>
                  </a:lnTo>
                  <a:lnTo>
                    <a:pt x="23" y="181"/>
                  </a:lnTo>
                  <a:lnTo>
                    <a:pt x="22" y="181"/>
                  </a:lnTo>
                  <a:lnTo>
                    <a:pt x="22" y="182"/>
                  </a:lnTo>
                  <a:lnTo>
                    <a:pt x="22" y="181"/>
                  </a:lnTo>
                  <a:lnTo>
                    <a:pt x="21" y="181"/>
                  </a:lnTo>
                  <a:lnTo>
                    <a:pt x="20" y="181"/>
                  </a:lnTo>
                  <a:lnTo>
                    <a:pt x="21" y="181"/>
                  </a:lnTo>
                  <a:lnTo>
                    <a:pt x="20" y="181"/>
                  </a:lnTo>
                  <a:lnTo>
                    <a:pt x="20" y="179"/>
                  </a:lnTo>
                  <a:lnTo>
                    <a:pt x="19" y="178"/>
                  </a:lnTo>
                  <a:lnTo>
                    <a:pt x="17" y="178"/>
                  </a:lnTo>
                  <a:lnTo>
                    <a:pt x="17" y="179"/>
                  </a:lnTo>
                  <a:lnTo>
                    <a:pt x="16" y="178"/>
                  </a:lnTo>
                  <a:lnTo>
                    <a:pt x="15" y="178"/>
                  </a:lnTo>
                  <a:lnTo>
                    <a:pt x="14" y="177"/>
                  </a:lnTo>
                  <a:lnTo>
                    <a:pt x="13" y="176"/>
                  </a:lnTo>
                  <a:lnTo>
                    <a:pt x="11" y="176"/>
                  </a:lnTo>
                  <a:lnTo>
                    <a:pt x="13" y="176"/>
                  </a:lnTo>
                  <a:lnTo>
                    <a:pt x="13" y="175"/>
                  </a:lnTo>
                  <a:lnTo>
                    <a:pt x="14" y="175"/>
                  </a:lnTo>
                  <a:lnTo>
                    <a:pt x="14" y="173"/>
                  </a:lnTo>
                  <a:lnTo>
                    <a:pt x="14" y="172"/>
                  </a:lnTo>
                  <a:lnTo>
                    <a:pt x="13" y="172"/>
                  </a:lnTo>
                  <a:lnTo>
                    <a:pt x="14" y="171"/>
                  </a:lnTo>
                  <a:lnTo>
                    <a:pt x="15" y="171"/>
                  </a:lnTo>
                  <a:lnTo>
                    <a:pt x="14" y="171"/>
                  </a:lnTo>
                  <a:lnTo>
                    <a:pt x="11" y="171"/>
                  </a:lnTo>
                  <a:lnTo>
                    <a:pt x="11" y="172"/>
                  </a:lnTo>
                  <a:lnTo>
                    <a:pt x="11" y="173"/>
                  </a:lnTo>
                  <a:lnTo>
                    <a:pt x="10" y="173"/>
                  </a:lnTo>
                  <a:lnTo>
                    <a:pt x="9" y="173"/>
                  </a:lnTo>
                  <a:lnTo>
                    <a:pt x="8" y="173"/>
                  </a:lnTo>
                  <a:lnTo>
                    <a:pt x="6" y="175"/>
                  </a:lnTo>
                  <a:lnTo>
                    <a:pt x="6" y="173"/>
                  </a:lnTo>
                  <a:lnTo>
                    <a:pt x="5" y="175"/>
                  </a:lnTo>
                  <a:lnTo>
                    <a:pt x="5" y="173"/>
                  </a:lnTo>
                  <a:lnTo>
                    <a:pt x="4" y="173"/>
                  </a:lnTo>
                  <a:lnTo>
                    <a:pt x="4" y="171"/>
                  </a:lnTo>
                  <a:lnTo>
                    <a:pt x="3" y="171"/>
                  </a:lnTo>
                  <a:lnTo>
                    <a:pt x="3" y="170"/>
                  </a:lnTo>
                  <a:lnTo>
                    <a:pt x="2" y="167"/>
                  </a:lnTo>
                  <a:lnTo>
                    <a:pt x="2" y="166"/>
                  </a:lnTo>
                  <a:lnTo>
                    <a:pt x="0" y="165"/>
                  </a:lnTo>
                  <a:lnTo>
                    <a:pt x="0" y="164"/>
                  </a:lnTo>
                  <a:lnTo>
                    <a:pt x="2" y="164"/>
                  </a:lnTo>
                  <a:lnTo>
                    <a:pt x="3" y="165"/>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1" name="Freeform 74"/>
            <p:cNvSpPr>
              <a:spLocks/>
            </p:cNvSpPr>
            <p:nvPr userDrawn="1"/>
          </p:nvSpPr>
          <p:spPr bwMode="auto">
            <a:xfrm>
              <a:off x="6119813" y="6311901"/>
              <a:ext cx="219075" cy="266700"/>
            </a:xfrm>
            <a:custGeom>
              <a:avLst/>
              <a:gdLst/>
              <a:ahLst/>
              <a:cxnLst>
                <a:cxn ang="0">
                  <a:pos x="392" y="612"/>
                </a:cxn>
                <a:cxn ang="0">
                  <a:pos x="399" y="597"/>
                </a:cxn>
                <a:cxn ang="0">
                  <a:pos x="395" y="664"/>
                </a:cxn>
                <a:cxn ang="0">
                  <a:pos x="436" y="642"/>
                </a:cxn>
                <a:cxn ang="0">
                  <a:pos x="423" y="662"/>
                </a:cxn>
                <a:cxn ang="0">
                  <a:pos x="452" y="694"/>
                </a:cxn>
                <a:cxn ang="0">
                  <a:pos x="500" y="722"/>
                </a:cxn>
                <a:cxn ang="0">
                  <a:pos x="590" y="685"/>
                </a:cxn>
                <a:cxn ang="0">
                  <a:pos x="581" y="640"/>
                </a:cxn>
                <a:cxn ang="0">
                  <a:pos x="509" y="626"/>
                </a:cxn>
                <a:cxn ang="0">
                  <a:pos x="559" y="599"/>
                </a:cxn>
                <a:cxn ang="0">
                  <a:pos x="546" y="566"/>
                </a:cxn>
                <a:cxn ang="0">
                  <a:pos x="513" y="518"/>
                </a:cxn>
                <a:cxn ang="0">
                  <a:pos x="472" y="457"/>
                </a:cxn>
                <a:cxn ang="0">
                  <a:pos x="534" y="450"/>
                </a:cxn>
                <a:cxn ang="0">
                  <a:pos x="619" y="395"/>
                </a:cxn>
                <a:cxn ang="0">
                  <a:pos x="670" y="329"/>
                </a:cxn>
                <a:cxn ang="0">
                  <a:pos x="605" y="261"/>
                </a:cxn>
                <a:cxn ang="0">
                  <a:pos x="619" y="228"/>
                </a:cxn>
                <a:cxn ang="0">
                  <a:pos x="599" y="156"/>
                </a:cxn>
                <a:cxn ang="0">
                  <a:pos x="572" y="114"/>
                </a:cxn>
                <a:cxn ang="0">
                  <a:pos x="513" y="30"/>
                </a:cxn>
                <a:cxn ang="0">
                  <a:pos x="457" y="46"/>
                </a:cxn>
                <a:cxn ang="0">
                  <a:pos x="431" y="73"/>
                </a:cxn>
                <a:cxn ang="0">
                  <a:pos x="424" y="103"/>
                </a:cxn>
                <a:cxn ang="0">
                  <a:pos x="403" y="114"/>
                </a:cxn>
                <a:cxn ang="0">
                  <a:pos x="415" y="77"/>
                </a:cxn>
                <a:cxn ang="0">
                  <a:pos x="327" y="54"/>
                </a:cxn>
                <a:cxn ang="0">
                  <a:pos x="310" y="17"/>
                </a:cxn>
                <a:cxn ang="0">
                  <a:pos x="293" y="67"/>
                </a:cxn>
                <a:cxn ang="0">
                  <a:pos x="255" y="76"/>
                </a:cxn>
                <a:cxn ang="0">
                  <a:pos x="210" y="62"/>
                </a:cxn>
                <a:cxn ang="0">
                  <a:pos x="208" y="107"/>
                </a:cxn>
                <a:cxn ang="0">
                  <a:pos x="176" y="121"/>
                </a:cxn>
                <a:cxn ang="0">
                  <a:pos x="180" y="167"/>
                </a:cxn>
                <a:cxn ang="0">
                  <a:pos x="239" y="183"/>
                </a:cxn>
                <a:cxn ang="0">
                  <a:pos x="262" y="180"/>
                </a:cxn>
                <a:cxn ang="0">
                  <a:pos x="259" y="219"/>
                </a:cxn>
                <a:cxn ang="0">
                  <a:pos x="194" y="255"/>
                </a:cxn>
                <a:cxn ang="0">
                  <a:pos x="140" y="219"/>
                </a:cxn>
                <a:cxn ang="0">
                  <a:pos x="91" y="233"/>
                </a:cxn>
                <a:cxn ang="0">
                  <a:pos x="124" y="305"/>
                </a:cxn>
                <a:cxn ang="0">
                  <a:pos x="117" y="344"/>
                </a:cxn>
                <a:cxn ang="0">
                  <a:pos x="52" y="345"/>
                </a:cxn>
                <a:cxn ang="0">
                  <a:pos x="12" y="355"/>
                </a:cxn>
                <a:cxn ang="0">
                  <a:pos x="25" y="393"/>
                </a:cxn>
                <a:cxn ang="0">
                  <a:pos x="40" y="445"/>
                </a:cxn>
                <a:cxn ang="0">
                  <a:pos x="80" y="440"/>
                </a:cxn>
                <a:cxn ang="0">
                  <a:pos x="126" y="424"/>
                </a:cxn>
                <a:cxn ang="0">
                  <a:pos x="124" y="469"/>
                </a:cxn>
                <a:cxn ang="0">
                  <a:pos x="76" y="514"/>
                </a:cxn>
                <a:cxn ang="0">
                  <a:pos x="82" y="555"/>
                </a:cxn>
                <a:cxn ang="0">
                  <a:pos x="165" y="543"/>
                </a:cxn>
                <a:cxn ang="0">
                  <a:pos x="173" y="566"/>
                </a:cxn>
                <a:cxn ang="0">
                  <a:pos x="134" y="608"/>
                </a:cxn>
                <a:cxn ang="0">
                  <a:pos x="199" y="637"/>
                </a:cxn>
                <a:cxn ang="0">
                  <a:pos x="229" y="578"/>
                </a:cxn>
                <a:cxn ang="0">
                  <a:pos x="227" y="530"/>
                </a:cxn>
                <a:cxn ang="0">
                  <a:pos x="273" y="591"/>
                </a:cxn>
                <a:cxn ang="0">
                  <a:pos x="279" y="520"/>
                </a:cxn>
                <a:cxn ang="0">
                  <a:pos x="288" y="543"/>
                </a:cxn>
                <a:cxn ang="0">
                  <a:pos x="328" y="531"/>
                </a:cxn>
                <a:cxn ang="0">
                  <a:pos x="350" y="551"/>
                </a:cxn>
              </a:cxnLst>
              <a:rect l="0" t="0" r="r" b="b"/>
              <a:pathLst>
                <a:path w="688" h="840">
                  <a:moveTo>
                    <a:pt x="457" y="834"/>
                  </a:moveTo>
                  <a:lnTo>
                    <a:pt x="452" y="834"/>
                  </a:lnTo>
                  <a:lnTo>
                    <a:pt x="423" y="835"/>
                  </a:lnTo>
                  <a:lnTo>
                    <a:pt x="406" y="833"/>
                  </a:lnTo>
                  <a:lnTo>
                    <a:pt x="404" y="821"/>
                  </a:lnTo>
                  <a:lnTo>
                    <a:pt x="403" y="811"/>
                  </a:lnTo>
                  <a:lnTo>
                    <a:pt x="401" y="807"/>
                  </a:lnTo>
                  <a:lnTo>
                    <a:pt x="400" y="786"/>
                  </a:lnTo>
                  <a:lnTo>
                    <a:pt x="394" y="725"/>
                  </a:lnTo>
                  <a:lnTo>
                    <a:pt x="393" y="715"/>
                  </a:lnTo>
                  <a:lnTo>
                    <a:pt x="392" y="696"/>
                  </a:lnTo>
                  <a:lnTo>
                    <a:pt x="391" y="683"/>
                  </a:lnTo>
                  <a:lnTo>
                    <a:pt x="389" y="672"/>
                  </a:lnTo>
                  <a:lnTo>
                    <a:pt x="388" y="661"/>
                  </a:lnTo>
                  <a:lnTo>
                    <a:pt x="387" y="649"/>
                  </a:lnTo>
                  <a:lnTo>
                    <a:pt x="387" y="644"/>
                  </a:lnTo>
                  <a:lnTo>
                    <a:pt x="388" y="644"/>
                  </a:lnTo>
                  <a:lnTo>
                    <a:pt x="391" y="646"/>
                  </a:lnTo>
                  <a:lnTo>
                    <a:pt x="392" y="647"/>
                  </a:lnTo>
                  <a:lnTo>
                    <a:pt x="393" y="646"/>
                  </a:lnTo>
                  <a:lnTo>
                    <a:pt x="393" y="644"/>
                  </a:lnTo>
                  <a:lnTo>
                    <a:pt x="393" y="642"/>
                  </a:lnTo>
                  <a:lnTo>
                    <a:pt x="392" y="641"/>
                  </a:lnTo>
                  <a:lnTo>
                    <a:pt x="391" y="640"/>
                  </a:lnTo>
                  <a:lnTo>
                    <a:pt x="388" y="640"/>
                  </a:lnTo>
                  <a:lnTo>
                    <a:pt x="388" y="637"/>
                  </a:lnTo>
                  <a:lnTo>
                    <a:pt x="389" y="636"/>
                  </a:lnTo>
                  <a:lnTo>
                    <a:pt x="391" y="636"/>
                  </a:lnTo>
                  <a:lnTo>
                    <a:pt x="392" y="636"/>
                  </a:lnTo>
                  <a:lnTo>
                    <a:pt x="393" y="636"/>
                  </a:lnTo>
                  <a:lnTo>
                    <a:pt x="393" y="635"/>
                  </a:lnTo>
                  <a:lnTo>
                    <a:pt x="394" y="632"/>
                  </a:lnTo>
                  <a:lnTo>
                    <a:pt x="397" y="630"/>
                  </a:lnTo>
                  <a:lnTo>
                    <a:pt x="397" y="626"/>
                  </a:lnTo>
                  <a:lnTo>
                    <a:pt x="395" y="627"/>
                  </a:lnTo>
                  <a:lnTo>
                    <a:pt x="394" y="629"/>
                  </a:lnTo>
                  <a:lnTo>
                    <a:pt x="392" y="631"/>
                  </a:lnTo>
                  <a:lnTo>
                    <a:pt x="391" y="632"/>
                  </a:lnTo>
                  <a:lnTo>
                    <a:pt x="388" y="632"/>
                  </a:lnTo>
                  <a:lnTo>
                    <a:pt x="387" y="633"/>
                  </a:lnTo>
                  <a:lnTo>
                    <a:pt x="387" y="632"/>
                  </a:lnTo>
                  <a:lnTo>
                    <a:pt x="386" y="627"/>
                  </a:lnTo>
                  <a:lnTo>
                    <a:pt x="385" y="611"/>
                  </a:lnTo>
                  <a:lnTo>
                    <a:pt x="386" y="606"/>
                  </a:lnTo>
                  <a:lnTo>
                    <a:pt x="387" y="605"/>
                  </a:lnTo>
                  <a:lnTo>
                    <a:pt x="389" y="603"/>
                  </a:lnTo>
                  <a:lnTo>
                    <a:pt x="389" y="601"/>
                  </a:lnTo>
                  <a:lnTo>
                    <a:pt x="387" y="599"/>
                  </a:lnTo>
                  <a:lnTo>
                    <a:pt x="386" y="597"/>
                  </a:lnTo>
                  <a:lnTo>
                    <a:pt x="386" y="590"/>
                  </a:lnTo>
                  <a:lnTo>
                    <a:pt x="385" y="585"/>
                  </a:lnTo>
                  <a:lnTo>
                    <a:pt x="385" y="583"/>
                  </a:lnTo>
                  <a:lnTo>
                    <a:pt x="387" y="582"/>
                  </a:lnTo>
                  <a:lnTo>
                    <a:pt x="386" y="579"/>
                  </a:lnTo>
                  <a:lnTo>
                    <a:pt x="385" y="578"/>
                  </a:lnTo>
                  <a:lnTo>
                    <a:pt x="385" y="576"/>
                  </a:lnTo>
                  <a:lnTo>
                    <a:pt x="385" y="572"/>
                  </a:lnTo>
                  <a:lnTo>
                    <a:pt x="385" y="570"/>
                  </a:lnTo>
                  <a:lnTo>
                    <a:pt x="383" y="567"/>
                  </a:lnTo>
                  <a:lnTo>
                    <a:pt x="386" y="563"/>
                  </a:lnTo>
                  <a:lnTo>
                    <a:pt x="387" y="565"/>
                  </a:lnTo>
                  <a:lnTo>
                    <a:pt x="387" y="567"/>
                  </a:lnTo>
                  <a:lnTo>
                    <a:pt x="388" y="567"/>
                  </a:lnTo>
                  <a:lnTo>
                    <a:pt x="388" y="565"/>
                  </a:lnTo>
                  <a:lnTo>
                    <a:pt x="389" y="563"/>
                  </a:lnTo>
                  <a:lnTo>
                    <a:pt x="388" y="561"/>
                  </a:lnTo>
                  <a:lnTo>
                    <a:pt x="386" y="560"/>
                  </a:lnTo>
                  <a:lnTo>
                    <a:pt x="386" y="559"/>
                  </a:lnTo>
                  <a:lnTo>
                    <a:pt x="386" y="551"/>
                  </a:lnTo>
                  <a:lnTo>
                    <a:pt x="385" y="547"/>
                  </a:lnTo>
                  <a:lnTo>
                    <a:pt x="386" y="543"/>
                  </a:lnTo>
                  <a:lnTo>
                    <a:pt x="387" y="540"/>
                  </a:lnTo>
                  <a:lnTo>
                    <a:pt x="388" y="537"/>
                  </a:lnTo>
                  <a:lnTo>
                    <a:pt x="391" y="535"/>
                  </a:lnTo>
                  <a:lnTo>
                    <a:pt x="393" y="534"/>
                  </a:lnTo>
                  <a:lnTo>
                    <a:pt x="394" y="536"/>
                  </a:lnTo>
                  <a:lnTo>
                    <a:pt x="395" y="539"/>
                  </a:lnTo>
                  <a:lnTo>
                    <a:pt x="394" y="542"/>
                  </a:lnTo>
                  <a:lnTo>
                    <a:pt x="393" y="543"/>
                  </a:lnTo>
                  <a:lnTo>
                    <a:pt x="392" y="546"/>
                  </a:lnTo>
                  <a:lnTo>
                    <a:pt x="392" y="549"/>
                  </a:lnTo>
                  <a:lnTo>
                    <a:pt x="392" y="557"/>
                  </a:lnTo>
                  <a:lnTo>
                    <a:pt x="392" y="567"/>
                  </a:lnTo>
                  <a:lnTo>
                    <a:pt x="391" y="572"/>
                  </a:lnTo>
                  <a:lnTo>
                    <a:pt x="391" y="577"/>
                  </a:lnTo>
                  <a:lnTo>
                    <a:pt x="391" y="581"/>
                  </a:lnTo>
                  <a:lnTo>
                    <a:pt x="389" y="584"/>
                  </a:lnTo>
                  <a:lnTo>
                    <a:pt x="391" y="585"/>
                  </a:lnTo>
                  <a:lnTo>
                    <a:pt x="391" y="587"/>
                  </a:lnTo>
                  <a:lnTo>
                    <a:pt x="389" y="587"/>
                  </a:lnTo>
                  <a:lnTo>
                    <a:pt x="391" y="589"/>
                  </a:lnTo>
                  <a:lnTo>
                    <a:pt x="392" y="590"/>
                  </a:lnTo>
                  <a:lnTo>
                    <a:pt x="391" y="594"/>
                  </a:lnTo>
                  <a:lnTo>
                    <a:pt x="391" y="596"/>
                  </a:lnTo>
                  <a:lnTo>
                    <a:pt x="391" y="599"/>
                  </a:lnTo>
                  <a:lnTo>
                    <a:pt x="392" y="601"/>
                  </a:lnTo>
                  <a:lnTo>
                    <a:pt x="392" y="603"/>
                  </a:lnTo>
                  <a:lnTo>
                    <a:pt x="392" y="605"/>
                  </a:lnTo>
                  <a:lnTo>
                    <a:pt x="391" y="607"/>
                  </a:lnTo>
                  <a:lnTo>
                    <a:pt x="391" y="608"/>
                  </a:lnTo>
                  <a:lnTo>
                    <a:pt x="392" y="612"/>
                  </a:lnTo>
                  <a:lnTo>
                    <a:pt x="392" y="614"/>
                  </a:lnTo>
                  <a:lnTo>
                    <a:pt x="391" y="615"/>
                  </a:lnTo>
                  <a:lnTo>
                    <a:pt x="389" y="618"/>
                  </a:lnTo>
                  <a:lnTo>
                    <a:pt x="388" y="619"/>
                  </a:lnTo>
                  <a:lnTo>
                    <a:pt x="388" y="623"/>
                  </a:lnTo>
                  <a:lnTo>
                    <a:pt x="391" y="625"/>
                  </a:lnTo>
                  <a:lnTo>
                    <a:pt x="392" y="629"/>
                  </a:lnTo>
                  <a:lnTo>
                    <a:pt x="393" y="629"/>
                  </a:lnTo>
                  <a:lnTo>
                    <a:pt x="393" y="626"/>
                  </a:lnTo>
                  <a:lnTo>
                    <a:pt x="393" y="624"/>
                  </a:lnTo>
                  <a:lnTo>
                    <a:pt x="393" y="621"/>
                  </a:lnTo>
                  <a:lnTo>
                    <a:pt x="393" y="620"/>
                  </a:lnTo>
                  <a:lnTo>
                    <a:pt x="394" y="620"/>
                  </a:lnTo>
                  <a:lnTo>
                    <a:pt x="395" y="624"/>
                  </a:lnTo>
                  <a:lnTo>
                    <a:pt x="397" y="623"/>
                  </a:lnTo>
                  <a:lnTo>
                    <a:pt x="397" y="619"/>
                  </a:lnTo>
                  <a:lnTo>
                    <a:pt x="397" y="618"/>
                  </a:lnTo>
                  <a:lnTo>
                    <a:pt x="397" y="615"/>
                  </a:lnTo>
                  <a:lnTo>
                    <a:pt x="397" y="613"/>
                  </a:lnTo>
                  <a:lnTo>
                    <a:pt x="397" y="611"/>
                  </a:lnTo>
                  <a:lnTo>
                    <a:pt x="395" y="609"/>
                  </a:lnTo>
                  <a:lnTo>
                    <a:pt x="394" y="608"/>
                  </a:lnTo>
                  <a:lnTo>
                    <a:pt x="395" y="609"/>
                  </a:lnTo>
                  <a:lnTo>
                    <a:pt x="399" y="612"/>
                  </a:lnTo>
                  <a:lnTo>
                    <a:pt x="400" y="612"/>
                  </a:lnTo>
                  <a:lnTo>
                    <a:pt x="401" y="613"/>
                  </a:lnTo>
                  <a:lnTo>
                    <a:pt x="400" y="615"/>
                  </a:lnTo>
                  <a:lnTo>
                    <a:pt x="399" y="618"/>
                  </a:lnTo>
                  <a:lnTo>
                    <a:pt x="400" y="618"/>
                  </a:lnTo>
                  <a:lnTo>
                    <a:pt x="401" y="617"/>
                  </a:lnTo>
                  <a:lnTo>
                    <a:pt x="404" y="618"/>
                  </a:lnTo>
                  <a:lnTo>
                    <a:pt x="406" y="620"/>
                  </a:lnTo>
                  <a:lnTo>
                    <a:pt x="409" y="620"/>
                  </a:lnTo>
                  <a:lnTo>
                    <a:pt x="410" y="619"/>
                  </a:lnTo>
                  <a:lnTo>
                    <a:pt x="407" y="617"/>
                  </a:lnTo>
                  <a:lnTo>
                    <a:pt x="406" y="617"/>
                  </a:lnTo>
                  <a:lnTo>
                    <a:pt x="406" y="614"/>
                  </a:lnTo>
                  <a:lnTo>
                    <a:pt x="409" y="615"/>
                  </a:lnTo>
                  <a:lnTo>
                    <a:pt x="410" y="615"/>
                  </a:lnTo>
                  <a:lnTo>
                    <a:pt x="411" y="614"/>
                  </a:lnTo>
                  <a:lnTo>
                    <a:pt x="412" y="613"/>
                  </a:lnTo>
                  <a:lnTo>
                    <a:pt x="412" y="609"/>
                  </a:lnTo>
                  <a:lnTo>
                    <a:pt x="411" y="608"/>
                  </a:lnTo>
                  <a:lnTo>
                    <a:pt x="410" y="612"/>
                  </a:lnTo>
                  <a:lnTo>
                    <a:pt x="409" y="612"/>
                  </a:lnTo>
                  <a:lnTo>
                    <a:pt x="409" y="611"/>
                  </a:lnTo>
                  <a:lnTo>
                    <a:pt x="407" y="609"/>
                  </a:lnTo>
                  <a:lnTo>
                    <a:pt x="405" y="611"/>
                  </a:lnTo>
                  <a:lnTo>
                    <a:pt x="404" y="611"/>
                  </a:lnTo>
                  <a:lnTo>
                    <a:pt x="403" y="609"/>
                  </a:lnTo>
                  <a:lnTo>
                    <a:pt x="404" y="608"/>
                  </a:lnTo>
                  <a:lnTo>
                    <a:pt x="405" y="607"/>
                  </a:lnTo>
                  <a:lnTo>
                    <a:pt x="404" y="606"/>
                  </a:lnTo>
                  <a:lnTo>
                    <a:pt x="401" y="605"/>
                  </a:lnTo>
                  <a:lnTo>
                    <a:pt x="399" y="607"/>
                  </a:lnTo>
                  <a:lnTo>
                    <a:pt x="398" y="607"/>
                  </a:lnTo>
                  <a:lnTo>
                    <a:pt x="398" y="606"/>
                  </a:lnTo>
                  <a:lnTo>
                    <a:pt x="398" y="605"/>
                  </a:lnTo>
                  <a:lnTo>
                    <a:pt x="397" y="603"/>
                  </a:lnTo>
                  <a:lnTo>
                    <a:pt x="397" y="601"/>
                  </a:lnTo>
                  <a:lnTo>
                    <a:pt x="395" y="600"/>
                  </a:lnTo>
                  <a:lnTo>
                    <a:pt x="395" y="597"/>
                  </a:lnTo>
                  <a:lnTo>
                    <a:pt x="395" y="594"/>
                  </a:lnTo>
                  <a:lnTo>
                    <a:pt x="395" y="593"/>
                  </a:lnTo>
                  <a:lnTo>
                    <a:pt x="397" y="597"/>
                  </a:lnTo>
                  <a:lnTo>
                    <a:pt x="397" y="599"/>
                  </a:lnTo>
                  <a:lnTo>
                    <a:pt x="398" y="599"/>
                  </a:lnTo>
                  <a:lnTo>
                    <a:pt x="398" y="595"/>
                  </a:lnTo>
                  <a:lnTo>
                    <a:pt x="398" y="593"/>
                  </a:lnTo>
                  <a:lnTo>
                    <a:pt x="398" y="590"/>
                  </a:lnTo>
                  <a:lnTo>
                    <a:pt x="397" y="588"/>
                  </a:lnTo>
                  <a:lnTo>
                    <a:pt x="394" y="588"/>
                  </a:lnTo>
                  <a:lnTo>
                    <a:pt x="394" y="587"/>
                  </a:lnTo>
                  <a:lnTo>
                    <a:pt x="394" y="585"/>
                  </a:lnTo>
                  <a:lnTo>
                    <a:pt x="395" y="583"/>
                  </a:lnTo>
                  <a:lnTo>
                    <a:pt x="393" y="579"/>
                  </a:lnTo>
                  <a:lnTo>
                    <a:pt x="393" y="576"/>
                  </a:lnTo>
                  <a:lnTo>
                    <a:pt x="393" y="573"/>
                  </a:lnTo>
                  <a:lnTo>
                    <a:pt x="394" y="573"/>
                  </a:lnTo>
                  <a:lnTo>
                    <a:pt x="397" y="575"/>
                  </a:lnTo>
                  <a:lnTo>
                    <a:pt x="398" y="577"/>
                  </a:lnTo>
                  <a:lnTo>
                    <a:pt x="400" y="579"/>
                  </a:lnTo>
                  <a:lnTo>
                    <a:pt x="401" y="582"/>
                  </a:lnTo>
                  <a:lnTo>
                    <a:pt x="403" y="583"/>
                  </a:lnTo>
                  <a:lnTo>
                    <a:pt x="405" y="585"/>
                  </a:lnTo>
                  <a:lnTo>
                    <a:pt x="404" y="587"/>
                  </a:lnTo>
                  <a:lnTo>
                    <a:pt x="401" y="585"/>
                  </a:lnTo>
                  <a:lnTo>
                    <a:pt x="400" y="585"/>
                  </a:lnTo>
                  <a:lnTo>
                    <a:pt x="400" y="587"/>
                  </a:lnTo>
                  <a:lnTo>
                    <a:pt x="400" y="589"/>
                  </a:lnTo>
                  <a:lnTo>
                    <a:pt x="401" y="591"/>
                  </a:lnTo>
                  <a:lnTo>
                    <a:pt x="400" y="593"/>
                  </a:lnTo>
                  <a:lnTo>
                    <a:pt x="401" y="595"/>
                  </a:lnTo>
                  <a:lnTo>
                    <a:pt x="404" y="593"/>
                  </a:lnTo>
                  <a:lnTo>
                    <a:pt x="405" y="591"/>
                  </a:lnTo>
                  <a:lnTo>
                    <a:pt x="406" y="590"/>
                  </a:lnTo>
                  <a:lnTo>
                    <a:pt x="409" y="591"/>
                  </a:lnTo>
                  <a:lnTo>
                    <a:pt x="407" y="593"/>
                  </a:lnTo>
                  <a:lnTo>
                    <a:pt x="406" y="594"/>
                  </a:lnTo>
                  <a:lnTo>
                    <a:pt x="404" y="595"/>
                  </a:lnTo>
                  <a:lnTo>
                    <a:pt x="399" y="597"/>
                  </a:lnTo>
                  <a:lnTo>
                    <a:pt x="399" y="600"/>
                  </a:lnTo>
                  <a:lnTo>
                    <a:pt x="403" y="600"/>
                  </a:lnTo>
                  <a:lnTo>
                    <a:pt x="404" y="597"/>
                  </a:lnTo>
                  <a:lnTo>
                    <a:pt x="406" y="597"/>
                  </a:lnTo>
                  <a:lnTo>
                    <a:pt x="409" y="596"/>
                  </a:lnTo>
                  <a:lnTo>
                    <a:pt x="411" y="596"/>
                  </a:lnTo>
                  <a:lnTo>
                    <a:pt x="413" y="595"/>
                  </a:lnTo>
                  <a:lnTo>
                    <a:pt x="416" y="594"/>
                  </a:lnTo>
                  <a:lnTo>
                    <a:pt x="418" y="596"/>
                  </a:lnTo>
                  <a:lnTo>
                    <a:pt x="417" y="597"/>
                  </a:lnTo>
                  <a:lnTo>
                    <a:pt x="415" y="599"/>
                  </a:lnTo>
                  <a:lnTo>
                    <a:pt x="413" y="599"/>
                  </a:lnTo>
                  <a:lnTo>
                    <a:pt x="410" y="599"/>
                  </a:lnTo>
                  <a:lnTo>
                    <a:pt x="410" y="600"/>
                  </a:lnTo>
                  <a:lnTo>
                    <a:pt x="411" y="601"/>
                  </a:lnTo>
                  <a:lnTo>
                    <a:pt x="413" y="602"/>
                  </a:lnTo>
                  <a:lnTo>
                    <a:pt x="416" y="601"/>
                  </a:lnTo>
                  <a:lnTo>
                    <a:pt x="417" y="602"/>
                  </a:lnTo>
                  <a:lnTo>
                    <a:pt x="415" y="605"/>
                  </a:lnTo>
                  <a:lnTo>
                    <a:pt x="412" y="605"/>
                  </a:lnTo>
                  <a:lnTo>
                    <a:pt x="411" y="603"/>
                  </a:lnTo>
                  <a:lnTo>
                    <a:pt x="411" y="602"/>
                  </a:lnTo>
                  <a:lnTo>
                    <a:pt x="410" y="601"/>
                  </a:lnTo>
                  <a:lnTo>
                    <a:pt x="409" y="602"/>
                  </a:lnTo>
                  <a:lnTo>
                    <a:pt x="406" y="602"/>
                  </a:lnTo>
                  <a:lnTo>
                    <a:pt x="405" y="602"/>
                  </a:lnTo>
                  <a:lnTo>
                    <a:pt x="404" y="602"/>
                  </a:lnTo>
                  <a:lnTo>
                    <a:pt x="403" y="601"/>
                  </a:lnTo>
                  <a:lnTo>
                    <a:pt x="401" y="602"/>
                  </a:lnTo>
                  <a:lnTo>
                    <a:pt x="401" y="603"/>
                  </a:lnTo>
                  <a:lnTo>
                    <a:pt x="404" y="603"/>
                  </a:lnTo>
                  <a:lnTo>
                    <a:pt x="406" y="605"/>
                  </a:lnTo>
                  <a:lnTo>
                    <a:pt x="407" y="606"/>
                  </a:lnTo>
                  <a:lnTo>
                    <a:pt x="406" y="607"/>
                  </a:lnTo>
                  <a:lnTo>
                    <a:pt x="409" y="607"/>
                  </a:lnTo>
                  <a:lnTo>
                    <a:pt x="409" y="606"/>
                  </a:lnTo>
                  <a:lnTo>
                    <a:pt x="410" y="607"/>
                  </a:lnTo>
                  <a:lnTo>
                    <a:pt x="411" y="607"/>
                  </a:lnTo>
                  <a:lnTo>
                    <a:pt x="413" y="608"/>
                  </a:lnTo>
                  <a:lnTo>
                    <a:pt x="415" y="609"/>
                  </a:lnTo>
                  <a:lnTo>
                    <a:pt x="415" y="611"/>
                  </a:lnTo>
                  <a:lnTo>
                    <a:pt x="413" y="612"/>
                  </a:lnTo>
                  <a:lnTo>
                    <a:pt x="413" y="613"/>
                  </a:lnTo>
                  <a:lnTo>
                    <a:pt x="413" y="615"/>
                  </a:lnTo>
                  <a:lnTo>
                    <a:pt x="415" y="615"/>
                  </a:lnTo>
                  <a:lnTo>
                    <a:pt x="416" y="614"/>
                  </a:lnTo>
                  <a:lnTo>
                    <a:pt x="416" y="613"/>
                  </a:lnTo>
                  <a:lnTo>
                    <a:pt x="416" y="612"/>
                  </a:lnTo>
                  <a:lnTo>
                    <a:pt x="417" y="611"/>
                  </a:lnTo>
                  <a:lnTo>
                    <a:pt x="419" y="608"/>
                  </a:lnTo>
                  <a:lnTo>
                    <a:pt x="419" y="607"/>
                  </a:lnTo>
                  <a:lnTo>
                    <a:pt x="421" y="607"/>
                  </a:lnTo>
                  <a:lnTo>
                    <a:pt x="423" y="607"/>
                  </a:lnTo>
                  <a:lnTo>
                    <a:pt x="424" y="606"/>
                  </a:lnTo>
                  <a:lnTo>
                    <a:pt x="424" y="608"/>
                  </a:lnTo>
                  <a:lnTo>
                    <a:pt x="423" y="609"/>
                  </a:lnTo>
                  <a:lnTo>
                    <a:pt x="421" y="611"/>
                  </a:lnTo>
                  <a:lnTo>
                    <a:pt x="421" y="612"/>
                  </a:lnTo>
                  <a:lnTo>
                    <a:pt x="421" y="613"/>
                  </a:lnTo>
                  <a:lnTo>
                    <a:pt x="422" y="614"/>
                  </a:lnTo>
                  <a:lnTo>
                    <a:pt x="419" y="614"/>
                  </a:lnTo>
                  <a:lnTo>
                    <a:pt x="418" y="612"/>
                  </a:lnTo>
                  <a:lnTo>
                    <a:pt x="417" y="614"/>
                  </a:lnTo>
                  <a:lnTo>
                    <a:pt x="417" y="617"/>
                  </a:lnTo>
                  <a:lnTo>
                    <a:pt x="417" y="619"/>
                  </a:lnTo>
                  <a:lnTo>
                    <a:pt x="416" y="621"/>
                  </a:lnTo>
                  <a:lnTo>
                    <a:pt x="413" y="624"/>
                  </a:lnTo>
                  <a:lnTo>
                    <a:pt x="410" y="626"/>
                  </a:lnTo>
                  <a:lnTo>
                    <a:pt x="405" y="631"/>
                  </a:lnTo>
                  <a:lnTo>
                    <a:pt x="405" y="635"/>
                  </a:lnTo>
                  <a:lnTo>
                    <a:pt x="405" y="637"/>
                  </a:lnTo>
                  <a:lnTo>
                    <a:pt x="404" y="640"/>
                  </a:lnTo>
                  <a:lnTo>
                    <a:pt x="403" y="643"/>
                  </a:lnTo>
                  <a:lnTo>
                    <a:pt x="400" y="646"/>
                  </a:lnTo>
                  <a:lnTo>
                    <a:pt x="398" y="646"/>
                  </a:lnTo>
                  <a:lnTo>
                    <a:pt x="397" y="646"/>
                  </a:lnTo>
                  <a:lnTo>
                    <a:pt x="394" y="647"/>
                  </a:lnTo>
                  <a:lnTo>
                    <a:pt x="394" y="648"/>
                  </a:lnTo>
                  <a:lnTo>
                    <a:pt x="393" y="650"/>
                  </a:lnTo>
                  <a:lnTo>
                    <a:pt x="394" y="653"/>
                  </a:lnTo>
                  <a:lnTo>
                    <a:pt x="395" y="654"/>
                  </a:lnTo>
                  <a:lnTo>
                    <a:pt x="393" y="658"/>
                  </a:lnTo>
                  <a:lnTo>
                    <a:pt x="392" y="660"/>
                  </a:lnTo>
                  <a:lnTo>
                    <a:pt x="391" y="661"/>
                  </a:lnTo>
                  <a:lnTo>
                    <a:pt x="389" y="664"/>
                  </a:lnTo>
                  <a:lnTo>
                    <a:pt x="391" y="664"/>
                  </a:lnTo>
                  <a:lnTo>
                    <a:pt x="392" y="662"/>
                  </a:lnTo>
                  <a:lnTo>
                    <a:pt x="393" y="661"/>
                  </a:lnTo>
                  <a:lnTo>
                    <a:pt x="392" y="666"/>
                  </a:lnTo>
                  <a:lnTo>
                    <a:pt x="392" y="668"/>
                  </a:lnTo>
                  <a:lnTo>
                    <a:pt x="392" y="671"/>
                  </a:lnTo>
                  <a:lnTo>
                    <a:pt x="392" y="674"/>
                  </a:lnTo>
                  <a:lnTo>
                    <a:pt x="392" y="677"/>
                  </a:lnTo>
                  <a:lnTo>
                    <a:pt x="392" y="678"/>
                  </a:lnTo>
                  <a:lnTo>
                    <a:pt x="393" y="677"/>
                  </a:lnTo>
                  <a:lnTo>
                    <a:pt x="393" y="673"/>
                  </a:lnTo>
                  <a:lnTo>
                    <a:pt x="393" y="671"/>
                  </a:lnTo>
                  <a:lnTo>
                    <a:pt x="394" y="670"/>
                  </a:lnTo>
                  <a:lnTo>
                    <a:pt x="394" y="668"/>
                  </a:lnTo>
                  <a:lnTo>
                    <a:pt x="394" y="665"/>
                  </a:lnTo>
                  <a:lnTo>
                    <a:pt x="395" y="664"/>
                  </a:lnTo>
                  <a:lnTo>
                    <a:pt x="397" y="664"/>
                  </a:lnTo>
                  <a:lnTo>
                    <a:pt x="398" y="661"/>
                  </a:lnTo>
                  <a:lnTo>
                    <a:pt x="398" y="660"/>
                  </a:lnTo>
                  <a:lnTo>
                    <a:pt x="398" y="658"/>
                  </a:lnTo>
                  <a:lnTo>
                    <a:pt x="399" y="653"/>
                  </a:lnTo>
                  <a:lnTo>
                    <a:pt x="399" y="652"/>
                  </a:lnTo>
                  <a:lnTo>
                    <a:pt x="400" y="652"/>
                  </a:lnTo>
                  <a:lnTo>
                    <a:pt x="400" y="655"/>
                  </a:lnTo>
                  <a:lnTo>
                    <a:pt x="399" y="658"/>
                  </a:lnTo>
                  <a:lnTo>
                    <a:pt x="400" y="660"/>
                  </a:lnTo>
                  <a:lnTo>
                    <a:pt x="403" y="662"/>
                  </a:lnTo>
                  <a:lnTo>
                    <a:pt x="404" y="662"/>
                  </a:lnTo>
                  <a:lnTo>
                    <a:pt x="405" y="661"/>
                  </a:lnTo>
                  <a:lnTo>
                    <a:pt x="406" y="659"/>
                  </a:lnTo>
                  <a:lnTo>
                    <a:pt x="406" y="656"/>
                  </a:lnTo>
                  <a:lnTo>
                    <a:pt x="405" y="655"/>
                  </a:lnTo>
                  <a:lnTo>
                    <a:pt x="405" y="653"/>
                  </a:lnTo>
                  <a:lnTo>
                    <a:pt x="405" y="649"/>
                  </a:lnTo>
                  <a:lnTo>
                    <a:pt x="405" y="647"/>
                  </a:lnTo>
                  <a:lnTo>
                    <a:pt x="404" y="646"/>
                  </a:lnTo>
                  <a:lnTo>
                    <a:pt x="404" y="643"/>
                  </a:lnTo>
                  <a:lnTo>
                    <a:pt x="406" y="641"/>
                  </a:lnTo>
                  <a:lnTo>
                    <a:pt x="407" y="638"/>
                  </a:lnTo>
                  <a:lnTo>
                    <a:pt x="409" y="637"/>
                  </a:lnTo>
                  <a:lnTo>
                    <a:pt x="411" y="633"/>
                  </a:lnTo>
                  <a:lnTo>
                    <a:pt x="412" y="632"/>
                  </a:lnTo>
                  <a:lnTo>
                    <a:pt x="415" y="629"/>
                  </a:lnTo>
                  <a:lnTo>
                    <a:pt x="413" y="632"/>
                  </a:lnTo>
                  <a:lnTo>
                    <a:pt x="412" y="635"/>
                  </a:lnTo>
                  <a:lnTo>
                    <a:pt x="410" y="636"/>
                  </a:lnTo>
                  <a:lnTo>
                    <a:pt x="410" y="638"/>
                  </a:lnTo>
                  <a:lnTo>
                    <a:pt x="410" y="641"/>
                  </a:lnTo>
                  <a:lnTo>
                    <a:pt x="409" y="641"/>
                  </a:lnTo>
                  <a:lnTo>
                    <a:pt x="407" y="641"/>
                  </a:lnTo>
                  <a:lnTo>
                    <a:pt x="407" y="642"/>
                  </a:lnTo>
                  <a:lnTo>
                    <a:pt x="406" y="647"/>
                  </a:lnTo>
                  <a:lnTo>
                    <a:pt x="406" y="652"/>
                  </a:lnTo>
                  <a:lnTo>
                    <a:pt x="406" y="654"/>
                  </a:lnTo>
                  <a:lnTo>
                    <a:pt x="407" y="655"/>
                  </a:lnTo>
                  <a:lnTo>
                    <a:pt x="409" y="654"/>
                  </a:lnTo>
                  <a:lnTo>
                    <a:pt x="409" y="650"/>
                  </a:lnTo>
                  <a:lnTo>
                    <a:pt x="410" y="650"/>
                  </a:lnTo>
                  <a:lnTo>
                    <a:pt x="411" y="654"/>
                  </a:lnTo>
                  <a:lnTo>
                    <a:pt x="412" y="653"/>
                  </a:lnTo>
                  <a:lnTo>
                    <a:pt x="412" y="649"/>
                  </a:lnTo>
                  <a:lnTo>
                    <a:pt x="412" y="648"/>
                  </a:lnTo>
                  <a:lnTo>
                    <a:pt x="411" y="647"/>
                  </a:lnTo>
                  <a:lnTo>
                    <a:pt x="409" y="646"/>
                  </a:lnTo>
                  <a:lnTo>
                    <a:pt x="409" y="643"/>
                  </a:lnTo>
                  <a:lnTo>
                    <a:pt x="409" y="642"/>
                  </a:lnTo>
                  <a:lnTo>
                    <a:pt x="411" y="640"/>
                  </a:lnTo>
                  <a:lnTo>
                    <a:pt x="412" y="638"/>
                  </a:lnTo>
                  <a:lnTo>
                    <a:pt x="412" y="636"/>
                  </a:lnTo>
                  <a:lnTo>
                    <a:pt x="413" y="635"/>
                  </a:lnTo>
                  <a:lnTo>
                    <a:pt x="415" y="632"/>
                  </a:lnTo>
                  <a:lnTo>
                    <a:pt x="416" y="630"/>
                  </a:lnTo>
                  <a:lnTo>
                    <a:pt x="417" y="629"/>
                  </a:lnTo>
                  <a:lnTo>
                    <a:pt x="418" y="627"/>
                  </a:lnTo>
                  <a:lnTo>
                    <a:pt x="419" y="626"/>
                  </a:lnTo>
                  <a:lnTo>
                    <a:pt x="419" y="629"/>
                  </a:lnTo>
                  <a:lnTo>
                    <a:pt x="421" y="630"/>
                  </a:lnTo>
                  <a:lnTo>
                    <a:pt x="419" y="631"/>
                  </a:lnTo>
                  <a:lnTo>
                    <a:pt x="417" y="631"/>
                  </a:lnTo>
                  <a:lnTo>
                    <a:pt x="417" y="632"/>
                  </a:lnTo>
                  <a:lnTo>
                    <a:pt x="418" y="633"/>
                  </a:lnTo>
                  <a:lnTo>
                    <a:pt x="419" y="633"/>
                  </a:lnTo>
                  <a:lnTo>
                    <a:pt x="419" y="635"/>
                  </a:lnTo>
                  <a:lnTo>
                    <a:pt x="419" y="636"/>
                  </a:lnTo>
                  <a:lnTo>
                    <a:pt x="417" y="637"/>
                  </a:lnTo>
                  <a:lnTo>
                    <a:pt x="417" y="641"/>
                  </a:lnTo>
                  <a:lnTo>
                    <a:pt x="417" y="646"/>
                  </a:lnTo>
                  <a:lnTo>
                    <a:pt x="417" y="649"/>
                  </a:lnTo>
                  <a:lnTo>
                    <a:pt x="418" y="647"/>
                  </a:lnTo>
                  <a:lnTo>
                    <a:pt x="419" y="642"/>
                  </a:lnTo>
                  <a:lnTo>
                    <a:pt x="419" y="640"/>
                  </a:lnTo>
                  <a:lnTo>
                    <a:pt x="421" y="638"/>
                  </a:lnTo>
                  <a:lnTo>
                    <a:pt x="422" y="638"/>
                  </a:lnTo>
                  <a:lnTo>
                    <a:pt x="423" y="635"/>
                  </a:lnTo>
                  <a:lnTo>
                    <a:pt x="423" y="631"/>
                  </a:lnTo>
                  <a:lnTo>
                    <a:pt x="422" y="629"/>
                  </a:lnTo>
                  <a:lnTo>
                    <a:pt x="422" y="627"/>
                  </a:lnTo>
                  <a:lnTo>
                    <a:pt x="422" y="623"/>
                  </a:lnTo>
                  <a:lnTo>
                    <a:pt x="423" y="625"/>
                  </a:lnTo>
                  <a:lnTo>
                    <a:pt x="423" y="626"/>
                  </a:lnTo>
                  <a:lnTo>
                    <a:pt x="424" y="627"/>
                  </a:lnTo>
                  <a:lnTo>
                    <a:pt x="424" y="629"/>
                  </a:lnTo>
                  <a:lnTo>
                    <a:pt x="424" y="632"/>
                  </a:lnTo>
                  <a:lnTo>
                    <a:pt x="425" y="631"/>
                  </a:lnTo>
                  <a:lnTo>
                    <a:pt x="427" y="630"/>
                  </a:lnTo>
                  <a:lnTo>
                    <a:pt x="425" y="633"/>
                  </a:lnTo>
                  <a:lnTo>
                    <a:pt x="425" y="636"/>
                  </a:lnTo>
                  <a:lnTo>
                    <a:pt x="424" y="637"/>
                  </a:lnTo>
                  <a:lnTo>
                    <a:pt x="424" y="640"/>
                  </a:lnTo>
                  <a:lnTo>
                    <a:pt x="425" y="640"/>
                  </a:lnTo>
                  <a:lnTo>
                    <a:pt x="428" y="640"/>
                  </a:lnTo>
                  <a:lnTo>
                    <a:pt x="430" y="638"/>
                  </a:lnTo>
                  <a:lnTo>
                    <a:pt x="431" y="637"/>
                  </a:lnTo>
                  <a:lnTo>
                    <a:pt x="431" y="636"/>
                  </a:lnTo>
                  <a:lnTo>
                    <a:pt x="431" y="637"/>
                  </a:lnTo>
                  <a:lnTo>
                    <a:pt x="433" y="640"/>
                  </a:lnTo>
                  <a:lnTo>
                    <a:pt x="436" y="642"/>
                  </a:lnTo>
                  <a:lnTo>
                    <a:pt x="439" y="643"/>
                  </a:lnTo>
                  <a:lnTo>
                    <a:pt x="440" y="642"/>
                  </a:lnTo>
                  <a:lnTo>
                    <a:pt x="438" y="640"/>
                  </a:lnTo>
                  <a:lnTo>
                    <a:pt x="436" y="637"/>
                  </a:lnTo>
                  <a:lnTo>
                    <a:pt x="438" y="637"/>
                  </a:lnTo>
                  <a:lnTo>
                    <a:pt x="440" y="640"/>
                  </a:lnTo>
                  <a:lnTo>
                    <a:pt x="442" y="640"/>
                  </a:lnTo>
                  <a:lnTo>
                    <a:pt x="444" y="640"/>
                  </a:lnTo>
                  <a:lnTo>
                    <a:pt x="447" y="637"/>
                  </a:lnTo>
                  <a:lnTo>
                    <a:pt x="447" y="636"/>
                  </a:lnTo>
                  <a:lnTo>
                    <a:pt x="445" y="636"/>
                  </a:lnTo>
                  <a:lnTo>
                    <a:pt x="442" y="636"/>
                  </a:lnTo>
                  <a:lnTo>
                    <a:pt x="439" y="635"/>
                  </a:lnTo>
                  <a:lnTo>
                    <a:pt x="438" y="633"/>
                  </a:lnTo>
                  <a:lnTo>
                    <a:pt x="435" y="632"/>
                  </a:lnTo>
                  <a:lnTo>
                    <a:pt x="434" y="630"/>
                  </a:lnTo>
                  <a:lnTo>
                    <a:pt x="433" y="630"/>
                  </a:lnTo>
                  <a:lnTo>
                    <a:pt x="430" y="627"/>
                  </a:lnTo>
                  <a:lnTo>
                    <a:pt x="429" y="625"/>
                  </a:lnTo>
                  <a:lnTo>
                    <a:pt x="427" y="624"/>
                  </a:lnTo>
                  <a:lnTo>
                    <a:pt x="424" y="623"/>
                  </a:lnTo>
                  <a:lnTo>
                    <a:pt x="425" y="619"/>
                  </a:lnTo>
                  <a:lnTo>
                    <a:pt x="428" y="617"/>
                  </a:lnTo>
                  <a:lnTo>
                    <a:pt x="431" y="614"/>
                  </a:lnTo>
                  <a:lnTo>
                    <a:pt x="434" y="613"/>
                  </a:lnTo>
                  <a:lnTo>
                    <a:pt x="438" y="611"/>
                  </a:lnTo>
                  <a:lnTo>
                    <a:pt x="440" y="608"/>
                  </a:lnTo>
                  <a:lnTo>
                    <a:pt x="444" y="606"/>
                  </a:lnTo>
                  <a:lnTo>
                    <a:pt x="446" y="606"/>
                  </a:lnTo>
                  <a:lnTo>
                    <a:pt x="448" y="609"/>
                  </a:lnTo>
                  <a:lnTo>
                    <a:pt x="448" y="614"/>
                  </a:lnTo>
                  <a:lnTo>
                    <a:pt x="446" y="618"/>
                  </a:lnTo>
                  <a:lnTo>
                    <a:pt x="442" y="621"/>
                  </a:lnTo>
                  <a:lnTo>
                    <a:pt x="440" y="624"/>
                  </a:lnTo>
                  <a:lnTo>
                    <a:pt x="438" y="626"/>
                  </a:lnTo>
                  <a:lnTo>
                    <a:pt x="434" y="626"/>
                  </a:lnTo>
                  <a:lnTo>
                    <a:pt x="433" y="627"/>
                  </a:lnTo>
                  <a:lnTo>
                    <a:pt x="435" y="629"/>
                  </a:lnTo>
                  <a:lnTo>
                    <a:pt x="438" y="627"/>
                  </a:lnTo>
                  <a:lnTo>
                    <a:pt x="441" y="625"/>
                  </a:lnTo>
                  <a:lnTo>
                    <a:pt x="444" y="623"/>
                  </a:lnTo>
                  <a:lnTo>
                    <a:pt x="446" y="620"/>
                  </a:lnTo>
                  <a:lnTo>
                    <a:pt x="448" y="619"/>
                  </a:lnTo>
                  <a:lnTo>
                    <a:pt x="446" y="623"/>
                  </a:lnTo>
                  <a:lnTo>
                    <a:pt x="446" y="625"/>
                  </a:lnTo>
                  <a:lnTo>
                    <a:pt x="446" y="627"/>
                  </a:lnTo>
                  <a:lnTo>
                    <a:pt x="447" y="632"/>
                  </a:lnTo>
                  <a:lnTo>
                    <a:pt x="448" y="632"/>
                  </a:lnTo>
                  <a:lnTo>
                    <a:pt x="448" y="629"/>
                  </a:lnTo>
                  <a:lnTo>
                    <a:pt x="448" y="626"/>
                  </a:lnTo>
                  <a:lnTo>
                    <a:pt x="448" y="624"/>
                  </a:lnTo>
                  <a:lnTo>
                    <a:pt x="448" y="623"/>
                  </a:lnTo>
                  <a:lnTo>
                    <a:pt x="450" y="621"/>
                  </a:lnTo>
                  <a:lnTo>
                    <a:pt x="450" y="619"/>
                  </a:lnTo>
                  <a:lnTo>
                    <a:pt x="451" y="618"/>
                  </a:lnTo>
                  <a:lnTo>
                    <a:pt x="452" y="619"/>
                  </a:lnTo>
                  <a:lnTo>
                    <a:pt x="453" y="617"/>
                  </a:lnTo>
                  <a:lnTo>
                    <a:pt x="453" y="615"/>
                  </a:lnTo>
                  <a:lnTo>
                    <a:pt x="452" y="613"/>
                  </a:lnTo>
                  <a:lnTo>
                    <a:pt x="451" y="611"/>
                  </a:lnTo>
                  <a:lnTo>
                    <a:pt x="453" y="612"/>
                  </a:lnTo>
                  <a:lnTo>
                    <a:pt x="456" y="615"/>
                  </a:lnTo>
                  <a:lnTo>
                    <a:pt x="458" y="617"/>
                  </a:lnTo>
                  <a:lnTo>
                    <a:pt x="459" y="619"/>
                  </a:lnTo>
                  <a:lnTo>
                    <a:pt x="458" y="624"/>
                  </a:lnTo>
                  <a:lnTo>
                    <a:pt x="456" y="629"/>
                  </a:lnTo>
                  <a:lnTo>
                    <a:pt x="451" y="638"/>
                  </a:lnTo>
                  <a:lnTo>
                    <a:pt x="444" y="644"/>
                  </a:lnTo>
                  <a:lnTo>
                    <a:pt x="441" y="648"/>
                  </a:lnTo>
                  <a:lnTo>
                    <a:pt x="440" y="650"/>
                  </a:lnTo>
                  <a:lnTo>
                    <a:pt x="438" y="653"/>
                  </a:lnTo>
                  <a:lnTo>
                    <a:pt x="436" y="653"/>
                  </a:lnTo>
                  <a:lnTo>
                    <a:pt x="434" y="653"/>
                  </a:lnTo>
                  <a:lnTo>
                    <a:pt x="431" y="653"/>
                  </a:lnTo>
                  <a:lnTo>
                    <a:pt x="428" y="652"/>
                  </a:lnTo>
                  <a:lnTo>
                    <a:pt x="425" y="649"/>
                  </a:lnTo>
                  <a:lnTo>
                    <a:pt x="424" y="648"/>
                  </a:lnTo>
                  <a:lnTo>
                    <a:pt x="423" y="644"/>
                  </a:lnTo>
                  <a:lnTo>
                    <a:pt x="423" y="642"/>
                  </a:lnTo>
                  <a:lnTo>
                    <a:pt x="422" y="642"/>
                  </a:lnTo>
                  <a:lnTo>
                    <a:pt x="421" y="644"/>
                  </a:lnTo>
                  <a:lnTo>
                    <a:pt x="421" y="647"/>
                  </a:lnTo>
                  <a:lnTo>
                    <a:pt x="422" y="648"/>
                  </a:lnTo>
                  <a:lnTo>
                    <a:pt x="424" y="650"/>
                  </a:lnTo>
                  <a:lnTo>
                    <a:pt x="427" y="653"/>
                  </a:lnTo>
                  <a:lnTo>
                    <a:pt x="428" y="654"/>
                  </a:lnTo>
                  <a:lnTo>
                    <a:pt x="430" y="655"/>
                  </a:lnTo>
                  <a:lnTo>
                    <a:pt x="433" y="658"/>
                  </a:lnTo>
                  <a:lnTo>
                    <a:pt x="433" y="660"/>
                  </a:lnTo>
                  <a:lnTo>
                    <a:pt x="430" y="658"/>
                  </a:lnTo>
                  <a:lnTo>
                    <a:pt x="428" y="655"/>
                  </a:lnTo>
                  <a:lnTo>
                    <a:pt x="425" y="655"/>
                  </a:lnTo>
                  <a:lnTo>
                    <a:pt x="423" y="655"/>
                  </a:lnTo>
                  <a:lnTo>
                    <a:pt x="423" y="658"/>
                  </a:lnTo>
                  <a:lnTo>
                    <a:pt x="425" y="659"/>
                  </a:lnTo>
                  <a:lnTo>
                    <a:pt x="424" y="660"/>
                  </a:lnTo>
                  <a:lnTo>
                    <a:pt x="423" y="659"/>
                  </a:lnTo>
                  <a:lnTo>
                    <a:pt x="421" y="658"/>
                  </a:lnTo>
                  <a:lnTo>
                    <a:pt x="419" y="658"/>
                  </a:lnTo>
                  <a:lnTo>
                    <a:pt x="422" y="660"/>
                  </a:lnTo>
                  <a:lnTo>
                    <a:pt x="423" y="662"/>
                  </a:lnTo>
                  <a:lnTo>
                    <a:pt x="422" y="664"/>
                  </a:lnTo>
                  <a:lnTo>
                    <a:pt x="421" y="666"/>
                  </a:lnTo>
                  <a:lnTo>
                    <a:pt x="419" y="666"/>
                  </a:lnTo>
                  <a:lnTo>
                    <a:pt x="418" y="666"/>
                  </a:lnTo>
                  <a:lnTo>
                    <a:pt x="416" y="665"/>
                  </a:lnTo>
                  <a:lnTo>
                    <a:pt x="416" y="666"/>
                  </a:lnTo>
                  <a:lnTo>
                    <a:pt x="417" y="667"/>
                  </a:lnTo>
                  <a:lnTo>
                    <a:pt x="412" y="673"/>
                  </a:lnTo>
                  <a:lnTo>
                    <a:pt x="409" y="674"/>
                  </a:lnTo>
                  <a:lnTo>
                    <a:pt x="406" y="678"/>
                  </a:lnTo>
                  <a:lnTo>
                    <a:pt x="404" y="680"/>
                  </a:lnTo>
                  <a:lnTo>
                    <a:pt x="403" y="684"/>
                  </a:lnTo>
                  <a:lnTo>
                    <a:pt x="403" y="688"/>
                  </a:lnTo>
                  <a:lnTo>
                    <a:pt x="404" y="688"/>
                  </a:lnTo>
                  <a:lnTo>
                    <a:pt x="405" y="685"/>
                  </a:lnTo>
                  <a:lnTo>
                    <a:pt x="405" y="683"/>
                  </a:lnTo>
                  <a:lnTo>
                    <a:pt x="407" y="680"/>
                  </a:lnTo>
                  <a:lnTo>
                    <a:pt x="410" y="679"/>
                  </a:lnTo>
                  <a:lnTo>
                    <a:pt x="412" y="676"/>
                  </a:lnTo>
                  <a:lnTo>
                    <a:pt x="415" y="673"/>
                  </a:lnTo>
                  <a:lnTo>
                    <a:pt x="417" y="671"/>
                  </a:lnTo>
                  <a:lnTo>
                    <a:pt x="419" y="670"/>
                  </a:lnTo>
                  <a:lnTo>
                    <a:pt x="422" y="667"/>
                  </a:lnTo>
                  <a:lnTo>
                    <a:pt x="424" y="665"/>
                  </a:lnTo>
                  <a:lnTo>
                    <a:pt x="427" y="666"/>
                  </a:lnTo>
                  <a:lnTo>
                    <a:pt x="428" y="667"/>
                  </a:lnTo>
                  <a:lnTo>
                    <a:pt x="425" y="671"/>
                  </a:lnTo>
                  <a:lnTo>
                    <a:pt x="424" y="673"/>
                  </a:lnTo>
                  <a:lnTo>
                    <a:pt x="423" y="674"/>
                  </a:lnTo>
                  <a:lnTo>
                    <a:pt x="425" y="674"/>
                  </a:lnTo>
                  <a:lnTo>
                    <a:pt x="428" y="671"/>
                  </a:lnTo>
                  <a:lnTo>
                    <a:pt x="429" y="670"/>
                  </a:lnTo>
                  <a:lnTo>
                    <a:pt x="430" y="670"/>
                  </a:lnTo>
                  <a:lnTo>
                    <a:pt x="433" y="667"/>
                  </a:lnTo>
                  <a:lnTo>
                    <a:pt x="431" y="665"/>
                  </a:lnTo>
                  <a:lnTo>
                    <a:pt x="431" y="662"/>
                  </a:lnTo>
                  <a:lnTo>
                    <a:pt x="434" y="662"/>
                  </a:lnTo>
                  <a:lnTo>
                    <a:pt x="438" y="664"/>
                  </a:lnTo>
                  <a:lnTo>
                    <a:pt x="439" y="666"/>
                  </a:lnTo>
                  <a:lnTo>
                    <a:pt x="439" y="668"/>
                  </a:lnTo>
                  <a:lnTo>
                    <a:pt x="438" y="670"/>
                  </a:lnTo>
                  <a:lnTo>
                    <a:pt x="436" y="668"/>
                  </a:lnTo>
                  <a:lnTo>
                    <a:pt x="434" y="668"/>
                  </a:lnTo>
                  <a:lnTo>
                    <a:pt x="433" y="670"/>
                  </a:lnTo>
                  <a:lnTo>
                    <a:pt x="431" y="671"/>
                  </a:lnTo>
                  <a:lnTo>
                    <a:pt x="429" y="672"/>
                  </a:lnTo>
                  <a:lnTo>
                    <a:pt x="427" y="674"/>
                  </a:lnTo>
                  <a:lnTo>
                    <a:pt x="427" y="678"/>
                  </a:lnTo>
                  <a:lnTo>
                    <a:pt x="425" y="679"/>
                  </a:lnTo>
                  <a:lnTo>
                    <a:pt x="423" y="678"/>
                  </a:lnTo>
                  <a:lnTo>
                    <a:pt x="422" y="680"/>
                  </a:lnTo>
                  <a:lnTo>
                    <a:pt x="423" y="682"/>
                  </a:lnTo>
                  <a:lnTo>
                    <a:pt x="428" y="682"/>
                  </a:lnTo>
                  <a:lnTo>
                    <a:pt x="430" y="679"/>
                  </a:lnTo>
                  <a:lnTo>
                    <a:pt x="431" y="677"/>
                  </a:lnTo>
                  <a:lnTo>
                    <a:pt x="434" y="677"/>
                  </a:lnTo>
                  <a:lnTo>
                    <a:pt x="436" y="676"/>
                  </a:lnTo>
                  <a:lnTo>
                    <a:pt x="438" y="674"/>
                  </a:lnTo>
                  <a:lnTo>
                    <a:pt x="439" y="674"/>
                  </a:lnTo>
                  <a:lnTo>
                    <a:pt x="439" y="676"/>
                  </a:lnTo>
                  <a:lnTo>
                    <a:pt x="435" y="679"/>
                  </a:lnTo>
                  <a:lnTo>
                    <a:pt x="434" y="680"/>
                  </a:lnTo>
                  <a:lnTo>
                    <a:pt x="431" y="682"/>
                  </a:lnTo>
                  <a:lnTo>
                    <a:pt x="429" y="684"/>
                  </a:lnTo>
                  <a:lnTo>
                    <a:pt x="427" y="685"/>
                  </a:lnTo>
                  <a:lnTo>
                    <a:pt x="428" y="686"/>
                  </a:lnTo>
                  <a:lnTo>
                    <a:pt x="429" y="688"/>
                  </a:lnTo>
                  <a:lnTo>
                    <a:pt x="431" y="688"/>
                  </a:lnTo>
                  <a:lnTo>
                    <a:pt x="434" y="691"/>
                  </a:lnTo>
                  <a:lnTo>
                    <a:pt x="436" y="694"/>
                  </a:lnTo>
                  <a:lnTo>
                    <a:pt x="439" y="696"/>
                  </a:lnTo>
                  <a:lnTo>
                    <a:pt x="438" y="698"/>
                  </a:lnTo>
                  <a:lnTo>
                    <a:pt x="436" y="700"/>
                  </a:lnTo>
                  <a:lnTo>
                    <a:pt x="435" y="696"/>
                  </a:lnTo>
                  <a:lnTo>
                    <a:pt x="434" y="694"/>
                  </a:lnTo>
                  <a:lnTo>
                    <a:pt x="431" y="694"/>
                  </a:lnTo>
                  <a:lnTo>
                    <a:pt x="429" y="692"/>
                  </a:lnTo>
                  <a:lnTo>
                    <a:pt x="429" y="694"/>
                  </a:lnTo>
                  <a:lnTo>
                    <a:pt x="431" y="697"/>
                  </a:lnTo>
                  <a:lnTo>
                    <a:pt x="431" y="698"/>
                  </a:lnTo>
                  <a:lnTo>
                    <a:pt x="428" y="700"/>
                  </a:lnTo>
                  <a:lnTo>
                    <a:pt x="427" y="701"/>
                  </a:lnTo>
                  <a:lnTo>
                    <a:pt x="429" y="704"/>
                  </a:lnTo>
                  <a:lnTo>
                    <a:pt x="431" y="704"/>
                  </a:lnTo>
                  <a:lnTo>
                    <a:pt x="431" y="707"/>
                  </a:lnTo>
                  <a:lnTo>
                    <a:pt x="434" y="708"/>
                  </a:lnTo>
                  <a:lnTo>
                    <a:pt x="436" y="707"/>
                  </a:lnTo>
                  <a:lnTo>
                    <a:pt x="438" y="704"/>
                  </a:lnTo>
                  <a:lnTo>
                    <a:pt x="440" y="706"/>
                  </a:lnTo>
                  <a:lnTo>
                    <a:pt x="442" y="706"/>
                  </a:lnTo>
                  <a:lnTo>
                    <a:pt x="442" y="704"/>
                  </a:lnTo>
                  <a:lnTo>
                    <a:pt x="442" y="702"/>
                  </a:lnTo>
                  <a:lnTo>
                    <a:pt x="441" y="701"/>
                  </a:lnTo>
                  <a:lnTo>
                    <a:pt x="440" y="700"/>
                  </a:lnTo>
                  <a:lnTo>
                    <a:pt x="441" y="700"/>
                  </a:lnTo>
                  <a:lnTo>
                    <a:pt x="442" y="701"/>
                  </a:lnTo>
                  <a:lnTo>
                    <a:pt x="445" y="700"/>
                  </a:lnTo>
                  <a:lnTo>
                    <a:pt x="446" y="696"/>
                  </a:lnTo>
                  <a:lnTo>
                    <a:pt x="447" y="695"/>
                  </a:lnTo>
                  <a:lnTo>
                    <a:pt x="450" y="694"/>
                  </a:lnTo>
                  <a:lnTo>
                    <a:pt x="452" y="694"/>
                  </a:lnTo>
                  <a:lnTo>
                    <a:pt x="453" y="692"/>
                  </a:lnTo>
                  <a:lnTo>
                    <a:pt x="456" y="691"/>
                  </a:lnTo>
                  <a:lnTo>
                    <a:pt x="458" y="691"/>
                  </a:lnTo>
                  <a:lnTo>
                    <a:pt x="458" y="694"/>
                  </a:lnTo>
                  <a:lnTo>
                    <a:pt x="457" y="695"/>
                  </a:lnTo>
                  <a:lnTo>
                    <a:pt x="456" y="696"/>
                  </a:lnTo>
                  <a:lnTo>
                    <a:pt x="454" y="698"/>
                  </a:lnTo>
                  <a:lnTo>
                    <a:pt x="453" y="697"/>
                  </a:lnTo>
                  <a:lnTo>
                    <a:pt x="452" y="696"/>
                  </a:lnTo>
                  <a:lnTo>
                    <a:pt x="450" y="696"/>
                  </a:lnTo>
                  <a:lnTo>
                    <a:pt x="448" y="698"/>
                  </a:lnTo>
                  <a:lnTo>
                    <a:pt x="447" y="701"/>
                  </a:lnTo>
                  <a:lnTo>
                    <a:pt x="448" y="703"/>
                  </a:lnTo>
                  <a:lnTo>
                    <a:pt x="450" y="706"/>
                  </a:lnTo>
                  <a:lnTo>
                    <a:pt x="451" y="706"/>
                  </a:lnTo>
                  <a:lnTo>
                    <a:pt x="453" y="704"/>
                  </a:lnTo>
                  <a:lnTo>
                    <a:pt x="454" y="702"/>
                  </a:lnTo>
                  <a:lnTo>
                    <a:pt x="458" y="703"/>
                  </a:lnTo>
                  <a:lnTo>
                    <a:pt x="459" y="702"/>
                  </a:lnTo>
                  <a:lnTo>
                    <a:pt x="459" y="703"/>
                  </a:lnTo>
                  <a:lnTo>
                    <a:pt x="457" y="706"/>
                  </a:lnTo>
                  <a:lnTo>
                    <a:pt x="454" y="707"/>
                  </a:lnTo>
                  <a:lnTo>
                    <a:pt x="453" y="708"/>
                  </a:lnTo>
                  <a:lnTo>
                    <a:pt x="452" y="708"/>
                  </a:lnTo>
                  <a:lnTo>
                    <a:pt x="453" y="710"/>
                  </a:lnTo>
                  <a:lnTo>
                    <a:pt x="453" y="713"/>
                  </a:lnTo>
                  <a:lnTo>
                    <a:pt x="453" y="714"/>
                  </a:lnTo>
                  <a:lnTo>
                    <a:pt x="451" y="713"/>
                  </a:lnTo>
                  <a:lnTo>
                    <a:pt x="450" y="713"/>
                  </a:lnTo>
                  <a:lnTo>
                    <a:pt x="447" y="713"/>
                  </a:lnTo>
                  <a:lnTo>
                    <a:pt x="447" y="709"/>
                  </a:lnTo>
                  <a:lnTo>
                    <a:pt x="447" y="707"/>
                  </a:lnTo>
                  <a:lnTo>
                    <a:pt x="444" y="708"/>
                  </a:lnTo>
                  <a:lnTo>
                    <a:pt x="446" y="710"/>
                  </a:lnTo>
                  <a:lnTo>
                    <a:pt x="445" y="714"/>
                  </a:lnTo>
                  <a:lnTo>
                    <a:pt x="445" y="713"/>
                  </a:lnTo>
                  <a:lnTo>
                    <a:pt x="444" y="714"/>
                  </a:lnTo>
                  <a:lnTo>
                    <a:pt x="442" y="715"/>
                  </a:lnTo>
                  <a:lnTo>
                    <a:pt x="441" y="718"/>
                  </a:lnTo>
                  <a:lnTo>
                    <a:pt x="442" y="719"/>
                  </a:lnTo>
                  <a:lnTo>
                    <a:pt x="444" y="721"/>
                  </a:lnTo>
                  <a:lnTo>
                    <a:pt x="444" y="724"/>
                  </a:lnTo>
                  <a:lnTo>
                    <a:pt x="445" y="724"/>
                  </a:lnTo>
                  <a:lnTo>
                    <a:pt x="447" y="720"/>
                  </a:lnTo>
                  <a:lnTo>
                    <a:pt x="450" y="719"/>
                  </a:lnTo>
                  <a:lnTo>
                    <a:pt x="453" y="718"/>
                  </a:lnTo>
                  <a:lnTo>
                    <a:pt x="456" y="716"/>
                  </a:lnTo>
                  <a:lnTo>
                    <a:pt x="456" y="719"/>
                  </a:lnTo>
                  <a:lnTo>
                    <a:pt x="459" y="719"/>
                  </a:lnTo>
                  <a:lnTo>
                    <a:pt x="459" y="718"/>
                  </a:lnTo>
                  <a:lnTo>
                    <a:pt x="458" y="715"/>
                  </a:lnTo>
                  <a:lnTo>
                    <a:pt x="457" y="714"/>
                  </a:lnTo>
                  <a:lnTo>
                    <a:pt x="457" y="713"/>
                  </a:lnTo>
                  <a:lnTo>
                    <a:pt x="459" y="712"/>
                  </a:lnTo>
                  <a:lnTo>
                    <a:pt x="460" y="714"/>
                  </a:lnTo>
                  <a:lnTo>
                    <a:pt x="460" y="718"/>
                  </a:lnTo>
                  <a:lnTo>
                    <a:pt x="463" y="719"/>
                  </a:lnTo>
                  <a:lnTo>
                    <a:pt x="464" y="718"/>
                  </a:lnTo>
                  <a:lnTo>
                    <a:pt x="464" y="715"/>
                  </a:lnTo>
                  <a:lnTo>
                    <a:pt x="462" y="712"/>
                  </a:lnTo>
                  <a:lnTo>
                    <a:pt x="464" y="712"/>
                  </a:lnTo>
                  <a:lnTo>
                    <a:pt x="466" y="712"/>
                  </a:lnTo>
                  <a:lnTo>
                    <a:pt x="470" y="712"/>
                  </a:lnTo>
                  <a:lnTo>
                    <a:pt x="471" y="712"/>
                  </a:lnTo>
                  <a:lnTo>
                    <a:pt x="474" y="712"/>
                  </a:lnTo>
                  <a:lnTo>
                    <a:pt x="475" y="713"/>
                  </a:lnTo>
                  <a:lnTo>
                    <a:pt x="474" y="716"/>
                  </a:lnTo>
                  <a:lnTo>
                    <a:pt x="471" y="719"/>
                  </a:lnTo>
                  <a:lnTo>
                    <a:pt x="470" y="720"/>
                  </a:lnTo>
                  <a:lnTo>
                    <a:pt x="468" y="720"/>
                  </a:lnTo>
                  <a:lnTo>
                    <a:pt x="466" y="721"/>
                  </a:lnTo>
                  <a:lnTo>
                    <a:pt x="469" y="724"/>
                  </a:lnTo>
                  <a:lnTo>
                    <a:pt x="471" y="722"/>
                  </a:lnTo>
                  <a:lnTo>
                    <a:pt x="474" y="721"/>
                  </a:lnTo>
                  <a:lnTo>
                    <a:pt x="476" y="722"/>
                  </a:lnTo>
                  <a:lnTo>
                    <a:pt x="476" y="725"/>
                  </a:lnTo>
                  <a:lnTo>
                    <a:pt x="475" y="727"/>
                  </a:lnTo>
                  <a:lnTo>
                    <a:pt x="474" y="728"/>
                  </a:lnTo>
                  <a:lnTo>
                    <a:pt x="471" y="728"/>
                  </a:lnTo>
                  <a:lnTo>
                    <a:pt x="469" y="727"/>
                  </a:lnTo>
                  <a:lnTo>
                    <a:pt x="469" y="730"/>
                  </a:lnTo>
                  <a:lnTo>
                    <a:pt x="472" y="733"/>
                  </a:lnTo>
                  <a:lnTo>
                    <a:pt x="474" y="733"/>
                  </a:lnTo>
                  <a:lnTo>
                    <a:pt x="476" y="734"/>
                  </a:lnTo>
                  <a:lnTo>
                    <a:pt x="477" y="734"/>
                  </a:lnTo>
                  <a:lnTo>
                    <a:pt x="480" y="736"/>
                  </a:lnTo>
                  <a:lnTo>
                    <a:pt x="480" y="733"/>
                  </a:lnTo>
                  <a:lnTo>
                    <a:pt x="481" y="731"/>
                  </a:lnTo>
                  <a:lnTo>
                    <a:pt x="481" y="730"/>
                  </a:lnTo>
                  <a:lnTo>
                    <a:pt x="482" y="724"/>
                  </a:lnTo>
                  <a:lnTo>
                    <a:pt x="482" y="722"/>
                  </a:lnTo>
                  <a:lnTo>
                    <a:pt x="484" y="724"/>
                  </a:lnTo>
                  <a:lnTo>
                    <a:pt x="486" y="721"/>
                  </a:lnTo>
                  <a:lnTo>
                    <a:pt x="488" y="720"/>
                  </a:lnTo>
                  <a:lnTo>
                    <a:pt x="490" y="720"/>
                  </a:lnTo>
                  <a:lnTo>
                    <a:pt x="492" y="719"/>
                  </a:lnTo>
                  <a:lnTo>
                    <a:pt x="495" y="718"/>
                  </a:lnTo>
                  <a:lnTo>
                    <a:pt x="498" y="715"/>
                  </a:lnTo>
                  <a:lnTo>
                    <a:pt x="499" y="714"/>
                  </a:lnTo>
                  <a:lnTo>
                    <a:pt x="500" y="718"/>
                  </a:lnTo>
                  <a:lnTo>
                    <a:pt x="500" y="722"/>
                  </a:lnTo>
                  <a:lnTo>
                    <a:pt x="503" y="726"/>
                  </a:lnTo>
                  <a:lnTo>
                    <a:pt x="507" y="726"/>
                  </a:lnTo>
                  <a:lnTo>
                    <a:pt x="510" y="724"/>
                  </a:lnTo>
                  <a:lnTo>
                    <a:pt x="512" y="721"/>
                  </a:lnTo>
                  <a:lnTo>
                    <a:pt x="512" y="719"/>
                  </a:lnTo>
                  <a:lnTo>
                    <a:pt x="512" y="716"/>
                  </a:lnTo>
                  <a:lnTo>
                    <a:pt x="513" y="715"/>
                  </a:lnTo>
                  <a:lnTo>
                    <a:pt x="513" y="714"/>
                  </a:lnTo>
                  <a:lnTo>
                    <a:pt x="516" y="715"/>
                  </a:lnTo>
                  <a:lnTo>
                    <a:pt x="515" y="718"/>
                  </a:lnTo>
                  <a:lnTo>
                    <a:pt x="515" y="724"/>
                  </a:lnTo>
                  <a:lnTo>
                    <a:pt x="518" y="722"/>
                  </a:lnTo>
                  <a:lnTo>
                    <a:pt x="519" y="721"/>
                  </a:lnTo>
                  <a:lnTo>
                    <a:pt x="519" y="724"/>
                  </a:lnTo>
                  <a:lnTo>
                    <a:pt x="519" y="732"/>
                  </a:lnTo>
                  <a:lnTo>
                    <a:pt x="522" y="734"/>
                  </a:lnTo>
                  <a:lnTo>
                    <a:pt x="525" y="736"/>
                  </a:lnTo>
                  <a:lnTo>
                    <a:pt x="527" y="736"/>
                  </a:lnTo>
                  <a:lnTo>
                    <a:pt x="528" y="733"/>
                  </a:lnTo>
                  <a:lnTo>
                    <a:pt x="529" y="731"/>
                  </a:lnTo>
                  <a:lnTo>
                    <a:pt x="528" y="731"/>
                  </a:lnTo>
                  <a:lnTo>
                    <a:pt x="525" y="730"/>
                  </a:lnTo>
                  <a:lnTo>
                    <a:pt x="523" y="730"/>
                  </a:lnTo>
                  <a:lnTo>
                    <a:pt x="522" y="728"/>
                  </a:lnTo>
                  <a:lnTo>
                    <a:pt x="522" y="726"/>
                  </a:lnTo>
                  <a:lnTo>
                    <a:pt x="522" y="724"/>
                  </a:lnTo>
                  <a:lnTo>
                    <a:pt x="523" y="724"/>
                  </a:lnTo>
                  <a:lnTo>
                    <a:pt x="527" y="726"/>
                  </a:lnTo>
                  <a:lnTo>
                    <a:pt x="529" y="727"/>
                  </a:lnTo>
                  <a:lnTo>
                    <a:pt x="531" y="727"/>
                  </a:lnTo>
                  <a:lnTo>
                    <a:pt x="534" y="728"/>
                  </a:lnTo>
                  <a:lnTo>
                    <a:pt x="535" y="728"/>
                  </a:lnTo>
                  <a:lnTo>
                    <a:pt x="537" y="726"/>
                  </a:lnTo>
                  <a:lnTo>
                    <a:pt x="535" y="724"/>
                  </a:lnTo>
                  <a:lnTo>
                    <a:pt x="536" y="724"/>
                  </a:lnTo>
                  <a:lnTo>
                    <a:pt x="537" y="724"/>
                  </a:lnTo>
                  <a:lnTo>
                    <a:pt x="540" y="725"/>
                  </a:lnTo>
                  <a:lnTo>
                    <a:pt x="541" y="724"/>
                  </a:lnTo>
                  <a:lnTo>
                    <a:pt x="537" y="720"/>
                  </a:lnTo>
                  <a:lnTo>
                    <a:pt x="537" y="719"/>
                  </a:lnTo>
                  <a:lnTo>
                    <a:pt x="540" y="719"/>
                  </a:lnTo>
                  <a:lnTo>
                    <a:pt x="545" y="720"/>
                  </a:lnTo>
                  <a:lnTo>
                    <a:pt x="547" y="720"/>
                  </a:lnTo>
                  <a:lnTo>
                    <a:pt x="548" y="719"/>
                  </a:lnTo>
                  <a:lnTo>
                    <a:pt x="548" y="718"/>
                  </a:lnTo>
                  <a:lnTo>
                    <a:pt x="551" y="715"/>
                  </a:lnTo>
                  <a:lnTo>
                    <a:pt x="551" y="713"/>
                  </a:lnTo>
                  <a:lnTo>
                    <a:pt x="553" y="713"/>
                  </a:lnTo>
                  <a:lnTo>
                    <a:pt x="554" y="713"/>
                  </a:lnTo>
                  <a:lnTo>
                    <a:pt x="557" y="710"/>
                  </a:lnTo>
                  <a:lnTo>
                    <a:pt x="557" y="708"/>
                  </a:lnTo>
                  <a:lnTo>
                    <a:pt x="558" y="706"/>
                  </a:lnTo>
                  <a:lnTo>
                    <a:pt x="563" y="707"/>
                  </a:lnTo>
                  <a:lnTo>
                    <a:pt x="565" y="706"/>
                  </a:lnTo>
                  <a:lnTo>
                    <a:pt x="566" y="703"/>
                  </a:lnTo>
                  <a:lnTo>
                    <a:pt x="566" y="707"/>
                  </a:lnTo>
                  <a:lnTo>
                    <a:pt x="566" y="710"/>
                  </a:lnTo>
                  <a:lnTo>
                    <a:pt x="568" y="713"/>
                  </a:lnTo>
                  <a:lnTo>
                    <a:pt x="570" y="716"/>
                  </a:lnTo>
                  <a:lnTo>
                    <a:pt x="572" y="715"/>
                  </a:lnTo>
                  <a:lnTo>
                    <a:pt x="576" y="713"/>
                  </a:lnTo>
                  <a:lnTo>
                    <a:pt x="574" y="716"/>
                  </a:lnTo>
                  <a:lnTo>
                    <a:pt x="572" y="719"/>
                  </a:lnTo>
                  <a:lnTo>
                    <a:pt x="574" y="721"/>
                  </a:lnTo>
                  <a:lnTo>
                    <a:pt x="576" y="721"/>
                  </a:lnTo>
                  <a:lnTo>
                    <a:pt x="578" y="721"/>
                  </a:lnTo>
                  <a:lnTo>
                    <a:pt x="580" y="720"/>
                  </a:lnTo>
                  <a:lnTo>
                    <a:pt x="583" y="719"/>
                  </a:lnTo>
                  <a:lnTo>
                    <a:pt x="583" y="718"/>
                  </a:lnTo>
                  <a:lnTo>
                    <a:pt x="586" y="715"/>
                  </a:lnTo>
                  <a:lnTo>
                    <a:pt x="590" y="713"/>
                  </a:lnTo>
                  <a:lnTo>
                    <a:pt x="593" y="710"/>
                  </a:lnTo>
                  <a:lnTo>
                    <a:pt x="595" y="709"/>
                  </a:lnTo>
                  <a:lnTo>
                    <a:pt x="595" y="708"/>
                  </a:lnTo>
                  <a:lnTo>
                    <a:pt x="593" y="707"/>
                  </a:lnTo>
                  <a:lnTo>
                    <a:pt x="595" y="706"/>
                  </a:lnTo>
                  <a:lnTo>
                    <a:pt x="598" y="706"/>
                  </a:lnTo>
                  <a:lnTo>
                    <a:pt x="601" y="704"/>
                  </a:lnTo>
                  <a:lnTo>
                    <a:pt x="601" y="703"/>
                  </a:lnTo>
                  <a:lnTo>
                    <a:pt x="601" y="701"/>
                  </a:lnTo>
                  <a:lnTo>
                    <a:pt x="600" y="700"/>
                  </a:lnTo>
                  <a:lnTo>
                    <a:pt x="601" y="697"/>
                  </a:lnTo>
                  <a:lnTo>
                    <a:pt x="601" y="695"/>
                  </a:lnTo>
                  <a:lnTo>
                    <a:pt x="600" y="694"/>
                  </a:lnTo>
                  <a:lnTo>
                    <a:pt x="601" y="692"/>
                  </a:lnTo>
                  <a:lnTo>
                    <a:pt x="604" y="691"/>
                  </a:lnTo>
                  <a:lnTo>
                    <a:pt x="605" y="689"/>
                  </a:lnTo>
                  <a:lnTo>
                    <a:pt x="606" y="686"/>
                  </a:lnTo>
                  <a:lnTo>
                    <a:pt x="604" y="685"/>
                  </a:lnTo>
                  <a:lnTo>
                    <a:pt x="602" y="683"/>
                  </a:lnTo>
                  <a:lnTo>
                    <a:pt x="601" y="683"/>
                  </a:lnTo>
                  <a:lnTo>
                    <a:pt x="600" y="684"/>
                  </a:lnTo>
                  <a:lnTo>
                    <a:pt x="598" y="686"/>
                  </a:lnTo>
                  <a:lnTo>
                    <a:pt x="595" y="688"/>
                  </a:lnTo>
                  <a:lnTo>
                    <a:pt x="596" y="685"/>
                  </a:lnTo>
                  <a:lnTo>
                    <a:pt x="596" y="683"/>
                  </a:lnTo>
                  <a:lnTo>
                    <a:pt x="594" y="683"/>
                  </a:lnTo>
                  <a:lnTo>
                    <a:pt x="593" y="682"/>
                  </a:lnTo>
                  <a:lnTo>
                    <a:pt x="592" y="680"/>
                  </a:lnTo>
                  <a:lnTo>
                    <a:pt x="590" y="682"/>
                  </a:lnTo>
                  <a:lnTo>
                    <a:pt x="590" y="685"/>
                  </a:lnTo>
                  <a:lnTo>
                    <a:pt x="588" y="685"/>
                  </a:lnTo>
                  <a:lnTo>
                    <a:pt x="587" y="690"/>
                  </a:lnTo>
                  <a:lnTo>
                    <a:pt x="587" y="689"/>
                  </a:lnTo>
                  <a:lnTo>
                    <a:pt x="586" y="685"/>
                  </a:lnTo>
                  <a:lnTo>
                    <a:pt x="583" y="688"/>
                  </a:lnTo>
                  <a:lnTo>
                    <a:pt x="582" y="690"/>
                  </a:lnTo>
                  <a:lnTo>
                    <a:pt x="581" y="691"/>
                  </a:lnTo>
                  <a:lnTo>
                    <a:pt x="580" y="691"/>
                  </a:lnTo>
                  <a:lnTo>
                    <a:pt x="581" y="688"/>
                  </a:lnTo>
                  <a:lnTo>
                    <a:pt x="581" y="685"/>
                  </a:lnTo>
                  <a:lnTo>
                    <a:pt x="578" y="686"/>
                  </a:lnTo>
                  <a:lnTo>
                    <a:pt x="578" y="684"/>
                  </a:lnTo>
                  <a:lnTo>
                    <a:pt x="576" y="684"/>
                  </a:lnTo>
                  <a:lnTo>
                    <a:pt x="575" y="686"/>
                  </a:lnTo>
                  <a:lnTo>
                    <a:pt x="574" y="688"/>
                  </a:lnTo>
                  <a:lnTo>
                    <a:pt x="571" y="688"/>
                  </a:lnTo>
                  <a:lnTo>
                    <a:pt x="569" y="689"/>
                  </a:lnTo>
                  <a:lnTo>
                    <a:pt x="568" y="688"/>
                  </a:lnTo>
                  <a:lnTo>
                    <a:pt x="570" y="685"/>
                  </a:lnTo>
                  <a:lnTo>
                    <a:pt x="572" y="684"/>
                  </a:lnTo>
                  <a:lnTo>
                    <a:pt x="572" y="683"/>
                  </a:lnTo>
                  <a:lnTo>
                    <a:pt x="571" y="679"/>
                  </a:lnTo>
                  <a:lnTo>
                    <a:pt x="569" y="677"/>
                  </a:lnTo>
                  <a:lnTo>
                    <a:pt x="568" y="677"/>
                  </a:lnTo>
                  <a:lnTo>
                    <a:pt x="566" y="678"/>
                  </a:lnTo>
                  <a:lnTo>
                    <a:pt x="566" y="677"/>
                  </a:lnTo>
                  <a:lnTo>
                    <a:pt x="566" y="674"/>
                  </a:lnTo>
                  <a:lnTo>
                    <a:pt x="565" y="673"/>
                  </a:lnTo>
                  <a:lnTo>
                    <a:pt x="564" y="672"/>
                  </a:lnTo>
                  <a:lnTo>
                    <a:pt x="564" y="671"/>
                  </a:lnTo>
                  <a:lnTo>
                    <a:pt x="563" y="668"/>
                  </a:lnTo>
                  <a:lnTo>
                    <a:pt x="562" y="667"/>
                  </a:lnTo>
                  <a:lnTo>
                    <a:pt x="558" y="667"/>
                  </a:lnTo>
                  <a:lnTo>
                    <a:pt x="556" y="667"/>
                  </a:lnTo>
                  <a:lnTo>
                    <a:pt x="549" y="667"/>
                  </a:lnTo>
                  <a:lnTo>
                    <a:pt x="551" y="666"/>
                  </a:lnTo>
                  <a:lnTo>
                    <a:pt x="548" y="662"/>
                  </a:lnTo>
                  <a:lnTo>
                    <a:pt x="548" y="661"/>
                  </a:lnTo>
                  <a:lnTo>
                    <a:pt x="548" y="660"/>
                  </a:lnTo>
                  <a:lnTo>
                    <a:pt x="546" y="659"/>
                  </a:lnTo>
                  <a:lnTo>
                    <a:pt x="543" y="658"/>
                  </a:lnTo>
                  <a:lnTo>
                    <a:pt x="543" y="656"/>
                  </a:lnTo>
                  <a:lnTo>
                    <a:pt x="543" y="653"/>
                  </a:lnTo>
                  <a:lnTo>
                    <a:pt x="545" y="653"/>
                  </a:lnTo>
                  <a:lnTo>
                    <a:pt x="546" y="654"/>
                  </a:lnTo>
                  <a:lnTo>
                    <a:pt x="547" y="655"/>
                  </a:lnTo>
                  <a:lnTo>
                    <a:pt x="548" y="656"/>
                  </a:lnTo>
                  <a:lnTo>
                    <a:pt x="551" y="660"/>
                  </a:lnTo>
                  <a:lnTo>
                    <a:pt x="551" y="662"/>
                  </a:lnTo>
                  <a:lnTo>
                    <a:pt x="553" y="665"/>
                  </a:lnTo>
                  <a:lnTo>
                    <a:pt x="556" y="665"/>
                  </a:lnTo>
                  <a:lnTo>
                    <a:pt x="557" y="664"/>
                  </a:lnTo>
                  <a:lnTo>
                    <a:pt x="557" y="661"/>
                  </a:lnTo>
                  <a:lnTo>
                    <a:pt x="556" y="659"/>
                  </a:lnTo>
                  <a:lnTo>
                    <a:pt x="553" y="656"/>
                  </a:lnTo>
                  <a:lnTo>
                    <a:pt x="552" y="655"/>
                  </a:lnTo>
                  <a:lnTo>
                    <a:pt x="548" y="653"/>
                  </a:lnTo>
                  <a:lnTo>
                    <a:pt x="547" y="650"/>
                  </a:lnTo>
                  <a:lnTo>
                    <a:pt x="546" y="649"/>
                  </a:lnTo>
                  <a:lnTo>
                    <a:pt x="545" y="649"/>
                  </a:lnTo>
                  <a:lnTo>
                    <a:pt x="543" y="648"/>
                  </a:lnTo>
                  <a:lnTo>
                    <a:pt x="543" y="647"/>
                  </a:lnTo>
                  <a:lnTo>
                    <a:pt x="545" y="646"/>
                  </a:lnTo>
                  <a:lnTo>
                    <a:pt x="546" y="644"/>
                  </a:lnTo>
                  <a:lnTo>
                    <a:pt x="547" y="646"/>
                  </a:lnTo>
                  <a:lnTo>
                    <a:pt x="549" y="647"/>
                  </a:lnTo>
                  <a:lnTo>
                    <a:pt x="552" y="649"/>
                  </a:lnTo>
                  <a:lnTo>
                    <a:pt x="556" y="652"/>
                  </a:lnTo>
                  <a:lnTo>
                    <a:pt x="558" y="653"/>
                  </a:lnTo>
                  <a:lnTo>
                    <a:pt x="559" y="654"/>
                  </a:lnTo>
                  <a:lnTo>
                    <a:pt x="558" y="656"/>
                  </a:lnTo>
                  <a:lnTo>
                    <a:pt x="557" y="658"/>
                  </a:lnTo>
                  <a:lnTo>
                    <a:pt x="558" y="659"/>
                  </a:lnTo>
                  <a:lnTo>
                    <a:pt x="559" y="658"/>
                  </a:lnTo>
                  <a:lnTo>
                    <a:pt x="562" y="656"/>
                  </a:lnTo>
                  <a:lnTo>
                    <a:pt x="562" y="655"/>
                  </a:lnTo>
                  <a:lnTo>
                    <a:pt x="564" y="655"/>
                  </a:lnTo>
                  <a:lnTo>
                    <a:pt x="564" y="656"/>
                  </a:lnTo>
                  <a:lnTo>
                    <a:pt x="564" y="658"/>
                  </a:lnTo>
                  <a:lnTo>
                    <a:pt x="568" y="655"/>
                  </a:lnTo>
                  <a:lnTo>
                    <a:pt x="569" y="654"/>
                  </a:lnTo>
                  <a:lnTo>
                    <a:pt x="571" y="654"/>
                  </a:lnTo>
                  <a:lnTo>
                    <a:pt x="572" y="656"/>
                  </a:lnTo>
                  <a:lnTo>
                    <a:pt x="575" y="658"/>
                  </a:lnTo>
                  <a:lnTo>
                    <a:pt x="578" y="659"/>
                  </a:lnTo>
                  <a:lnTo>
                    <a:pt x="580" y="658"/>
                  </a:lnTo>
                  <a:lnTo>
                    <a:pt x="581" y="655"/>
                  </a:lnTo>
                  <a:lnTo>
                    <a:pt x="580" y="654"/>
                  </a:lnTo>
                  <a:lnTo>
                    <a:pt x="578" y="653"/>
                  </a:lnTo>
                  <a:lnTo>
                    <a:pt x="580" y="650"/>
                  </a:lnTo>
                  <a:lnTo>
                    <a:pt x="581" y="650"/>
                  </a:lnTo>
                  <a:lnTo>
                    <a:pt x="578" y="650"/>
                  </a:lnTo>
                  <a:lnTo>
                    <a:pt x="575" y="650"/>
                  </a:lnTo>
                  <a:lnTo>
                    <a:pt x="576" y="647"/>
                  </a:lnTo>
                  <a:lnTo>
                    <a:pt x="576" y="644"/>
                  </a:lnTo>
                  <a:lnTo>
                    <a:pt x="578" y="646"/>
                  </a:lnTo>
                  <a:lnTo>
                    <a:pt x="581" y="647"/>
                  </a:lnTo>
                  <a:lnTo>
                    <a:pt x="581" y="646"/>
                  </a:lnTo>
                  <a:lnTo>
                    <a:pt x="582" y="643"/>
                  </a:lnTo>
                  <a:lnTo>
                    <a:pt x="582" y="642"/>
                  </a:lnTo>
                  <a:lnTo>
                    <a:pt x="581" y="640"/>
                  </a:lnTo>
                  <a:lnTo>
                    <a:pt x="581" y="638"/>
                  </a:lnTo>
                  <a:lnTo>
                    <a:pt x="582" y="638"/>
                  </a:lnTo>
                  <a:lnTo>
                    <a:pt x="582" y="637"/>
                  </a:lnTo>
                  <a:lnTo>
                    <a:pt x="582" y="635"/>
                  </a:lnTo>
                  <a:lnTo>
                    <a:pt x="580" y="635"/>
                  </a:lnTo>
                  <a:lnTo>
                    <a:pt x="578" y="636"/>
                  </a:lnTo>
                  <a:lnTo>
                    <a:pt x="576" y="635"/>
                  </a:lnTo>
                  <a:lnTo>
                    <a:pt x="576" y="637"/>
                  </a:lnTo>
                  <a:lnTo>
                    <a:pt x="575" y="638"/>
                  </a:lnTo>
                  <a:lnTo>
                    <a:pt x="572" y="638"/>
                  </a:lnTo>
                  <a:lnTo>
                    <a:pt x="571" y="638"/>
                  </a:lnTo>
                  <a:lnTo>
                    <a:pt x="570" y="641"/>
                  </a:lnTo>
                  <a:lnTo>
                    <a:pt x="569" y="640"/>
                  </a:lnTo>
                  <a:lnTo>
                    <a:pt x="568" y="641"/>
                  </a:lnTo>
                  <a:lnTo>
                    <a:pt x="565" y="641"/>
                  </a:lnTo>
                  <a:lnTo>
                    <a:pt x="563" y="641"/>
                  </a:lnTo>
                  <a:lnTo>
                    <a:pt x="562" y="640"/>
                  </a:lnTo>
                  <a:lnTo>
                    <a:pt x="563" y="638"/>
                  </a:lnTo>
                  <a:lnTo>
                    <a:pt x="565" y="636"/>
                  </a:lnTo>
                  <a:lnTo>
                    <a:pt x="569" y="636"/>
                  </a:lnTo>
                  <a:lnTo>
                    <a:pt x="571" y="636"/>
                  </a:lnTo>
                  <a:lnTo>
                    <a:pt x="572" y="635"/>
                  </a:lnTo>
                  <a:lnTo>
                    <a:pt x="571" y="633"/>
                  </a:lnTo>
                  <a:lnTo>
                    <a:pt x="572" y="632"/>
                  </a:lnTo>
                  <a:lnTo>
                    <a:pt x="574" y="632"/>
                  </a:lnTo>
                  <a:lnTo>
                    <a:pt x="576" y="631"/>
                  </a:lnTo>
                  <a:lnTo>
                    <a:pt x="578" y="630"/>
                  </a:lnTo>
                  <a:lnTo>
                    <a:pt x="581" y="629"/>
                  </a:lnTo>
                  <a:lnTo>
                    <a:pt x="583" y="629"/>
                  </a:lnTo>
                  <a:lnTo>
                    <a:pt x="588" y="629"/>
                  </a:lnTo>
                  <a:lnTo>
                    <a:pt x="589" y="626"/>
                  </a:lnTo>
                  <a:lnTo>
                    <a:pt x="589" y="624"/>
                  </a:lnTo>
                  <a:lnTo>
                    <a:pt x="588" y="623"/>
                  </a:lnTo>
                  <a:lnTo>
                    <a:pt x="587" y="620"/>
                  </a:lnTo>
                  <a:lnTo>
                    <a:pt x="586" y="618"/>
                  </a:lnTo>
                  <a:lnTo>
                    <a:pt x="583" y="619"/>
                  </a:lnTo>
                  <a:lnTo>
                    <a:pt x="581" y="619"/>
                  </a:lnTo>
                  <a:lnTo>
                    <a:pt x="578" y="619"/>
                  </a:lnTo>
                  <a:lnTo>
                    <a:pt x="577" y="621"/>
                  </a:lnTo>
                  <a:lnTo>
                    <a:pt x="576" y="624"/>
                  </a:lnTo>
                  <a:lnTo>
                    <a:pt x="576" y="625"/>
                  </a:lnTo>
                  <a:lnTo>
                    <a:pt x="574" y="627"/>
                  </a:lnTo>
                  <a:lnTo>
                    <a:pt x="571" y="630"/>
                  </a:lnTo>
                  <a:lnTo>
                    <a:pt x="570" y="631"/>
                  </a:lnTo>
                  <a:lnTo>
                    <a:pt x="568" y="632"/>
                  </a:lnTo>
                  <a:lnTo>
                    <a:pt x="564" y="633"/>
                  </a:lnTo>
                  <a:lnTo>
                    <a:pt x="558" y="637"/>
                  </a:lnTo>
                  <a:lnTo>
                    <a:pt x="556" y="637"/>
                  </a:lnTo>
                  <a:lnTo>
                    <a:pt x="552" y="638"/>
                  </a:lnTo>
                  <a:lnTo>
                    <a:pt x="551" y="637"/>
                  </a:lnTo>
                  <a:lnTo>
                    <a:pt x="549" y="637"/>
                  </a:lnTo>
                  <a:lnTo>
                    <a:pt x="552" y="635"/>
                  </a:lnTo>
                  <a:lnTo>
                    <a:pt x="553" y="633"/>
                  </a:lnTo>
                  <a:lnTo>
                    <a:pt x="556" y="632"/>
                  </a:lnTo>
                  <a:lnTo>
                    <a:pt x="556" y="630"/>
                  </a:lnTo>
                  <a:lnTo>
                    <a:pt x="554" y="629"/>
                  </a:lnTo>
                  <a:lnTo>
                    <a:pt x="553" y="629"/>
                  </a:lnTo>
                  <a:lnTo>
                    <a:pt x="551" y="627"/>
                  </a:lnTo>
                  <a:lnTo>
                    <a:pt x="549" y="630"/>
                  </a:lnTo>
                  <a:lnTo>
                    <a:pt x="546" y="631"/>
                  </a:lnTo>
                  <a:lnTo>
                    <a:pt x="542" y="633"/>
                  </a:lnTo>
                  <a:lnTo>
                    <a:pt x="543" y="631"/>
                  </a:lnTo>
                  <a:lnTo>
                    <a:pt x="546" y="629"/>
                  </a:lnTo>
                  <a:lnTo>
                    <a:pt x="547" y="626"/>
                  </a:lnTo>
                  <a:lnTo>
                    <a:pt x="546" y="625"/>
                  </a:lnTo>
                  <a:lnTo>
                    <a:pt x="543" y="626"/>
                  </a:lnTo>
                  <a:lnTo>
                    <a:pt x="542" y="627"/>
                  </a:lnTo>
                  <a:lnTo>
                    <a:pt x="542" y="630"/>
                  </a:lnTo>
                  <a:lnTo>
                    <a:pt x="541" y="632"/>
                  </a:lnTo>
                  <a:lnTo>
                    <a:pt x="540" y="632"/>
                  </a:lnTo>
                  <a:lnTo>
                    <a:pt x="540" y="629"/>
                  </a:lnTo>
                  <a:lnTo>
                    <a:pt x="537" y="629"/>
                  </a:lnTo>
                  <a:lnTo>
                    <a:pt x="536" y="630"/>
                  </a:lnTo>
                  <a:lnTo>
                    <a:pt x="534" y="630"/>
                  </a:lnTo>
                  <a:lnTo>
                    <a:pt x="534" y="631"/>
                  </a:lnTo>
                  <a:lnTo>
                    <a:pt x="533" y="635"/>
                  </a:lnTo>
                  <a:lnTo>
                    <a:pt x="533" y="636"/>
                  </a:lnTo>
                  <a:lnTo>
                    <a:pt x="530" y="637"/>
                  </a:lnTo>
                  <a:lnTo>
                    <a:pt x="530" y="635"/>
                  </a:lnTo>
                  <a:lnTo>
                    <a:pt x="528" y="633"/>
                  </a:lnTo>
                  <a:lnTo>
                    <a:pt x="528" y="635"/>
                  </a:lnTo>
                  <a:lnTo>
                    <a:pt x="527" y="633"/>
                  </a:lnTo>
                  <a:lnTo>
                    <a:pt x="524" y="632"/>
                  </a:lnTo>
                  <a:lnTo>
                    <a:pt x="523" y="631"/>
                  </a:lnTo>
                  <a:lnTo>
                    <a:pt x="525" y="629"/>
                  </a:lnTo>
                  <a:lnTo>
                    <a:pt x="527" y="627"/>
                  </a:lnTo>
                  <a:lnTo>
                    <a:pt x="530" y="625"/>
                  </a:lnTo>
                  <a:lnTo>
                    <a:pt x="529" y="623"/>
                  </a:lnTo>
                  <a:lnTo>
                    <a:pt x="528" y="621"/>
                  </a:lnTo>
                  <a:lnTo>
                    <a:pt x="525" y="621"/>
                  </a:lnTo>
                  <a:lnTo>
                    <a:pt x="522" y="621"/>
                  </a:lnTo>
                  <a:lnTo>
                    <a:pt x="522" y="624"/>
                  </a:lnTo>
                  <a:lnTo>
                    <a:pt x="522" y="626"/>
                  </a:lnTo>
                  <a:lnTo>
                    <a:pt x="521" y="624"/>
                  </a:lnTo>
                  <a:lnTo>
                    <a:pt x="518" y="624"/>
                  </a:lnTo>
                  <a:lnTo>
                    <a:pt x="517" y="624"/>
                  </a:lnTo>
                  <a:lnTo>
                    <a:pt x="516" y="624"/>
                  </a:lnTo>
                  <a:lnTo>
                    <a:pt x="513" y="624"/>
                  </a:lnTo>
                  <a:lnTo>
                    <a:pt x="513" y="621"/>
                  </a:lnTo>
                  <a:lnTo>
                    <a:pt x="512" y="623"/>
                  </a:lnTo>
                  <a:lnTo>
                    <a:pt x="509" y="626"/>
                  </a:lnTo>
                  <a:lnTo>
                    <a:pt x="509" y="627"/>
                  </a:lnTo>
                  <a:lnTo>
                    <a:pt x="506" y="625"/>
                  </a:lnTo>
                  <a:lnTo>
                    <a:pt x="504" y="625"/>
                  </a:lnTo>
                  <a:lnTo>
                    <a:pt x="504" y="623"/>
                  </a:lnTo>
                  <a:lnTo>
                    <a:pt x="505" y="623"/>
                  </a:lnTo>
                  <a:lnTo>
                    <a:pt x="507" y="623"/>
                  </a:lnTo>
                  <a:lnTo>
                    <a:pt x="510" y="621"/>
                  </a:lnTo>
                  <a:lnTo>
                    <a:pt x="511" y="619"/>
                  </a:lnTo>
                  <a:lnTo>
                    <a:pt x="513" y="617"/>
                  </a:lnTo>
                  <a:lnTo>
                    <a:pt x="512" y="615"/>
                  </a:lnTo>
                  <a:lnTo>
                    <a:pt x="511" y="614"/>
                  </a:lnTo>
                  <a:lnTo>
                    <a:pt x="511" y="613"/>
                  </a:lnTo>
                  <a:lnTo>
                    <a:pt x="513" y="612"/>
                  </a:lnTo>
                  <a:lnTo>
                    <a:pt x="516" y="611"/>
                  </a:lnTo>
                  <a:lnTo>
                    <a:pt x="516" y="609"/>
                  </a:lnTo>
                  <a:lnTo>
                    <a:pt x="516" y="608"/>
                  </a:lnTo>
                  <a:lnTo>
                    <a:pt x="515" y="608"/>
                  </a:lnTo>
                  <a:lnTo>
                    <a:pt x="511" y="608"/>
                  </a:lnTo>
                  <a:lnTo>
                    <a:pt x="509" y="607"/>
                  </a:lnTo>
                  <a:lnTo>
                    <a:pt x="509" y="606"/>
                  </a:lnTo>
                  <a:lnTo>
                    <a:pt x="511" y="606"/>
                  </a:lnTo>
                  <a:lnTo>
                    <a:pt x="513" y="606"/>
                  </a:lnTo>
                  <a:lnTo>
                    <a:pt x="516" y="606"/>
                  </a:lnTo>
                  <a:lnTo>
                    <a:pt x="517" y="607"/>
                  </a:lnTo>
                  <a:lnTo>
                    <a:pt x="518" y="605"/>
                  </a:lnTo>
                  <a:lnTo>
                    <a:pt x="519" y="605"/>
                  </a:lnTo>
                  <a:lnTo>
                    <a:pt x="524" y="607"/>
                  </a:lnTo>
                  <a:lnTo>
                    <a:pt x="525" y="608"/>
                  </a:lnTo>
                  <a:lnTo>
                    <a:pt x="528" y="612"/>
                  </a:lnTo>
                  <a:lnTo>
                    <a:pt x="528" y="615"/>
                  </a:lnTo>
                  <a:lnTo>
                    <a:pt x="529" y="618"/>
                  </a:lnTo>
                  <a:lnTo>
                    <a:pt x="533" y="618"/>
                  </a:lnTo>
                  <a:lnTo>
                    <a:pt x="534" y="617"/>
                  </a:lnTo>
                  <a:lnTo>
                    <a:pt x="535" y="617"/>
                  </a:lnTo>
                  <a:lnTo>
                    <a:pt x="537" y="615"/>
                  </a:lnTo>
                  <a:lnTo>
                    <a:pt x="539" y="617"/>
                  </a:lnTo>
                  <a:lnTo>
                    <a:pt x="541" y="617"/>
                  </a:lnTo>
                  <a:lnTo>
                    <a:pt x="542" y="617"/>
                  </a:lnTo>
                  <a:lnTo>
                    <a:pt x="547" y="617"/>
                  </a:lnTo>
                  <a:lnTo>
                    <a:pt x="549" y="615"/>
                  </a:lnTo>
                  <a:lnTo>
                    <a:pt x="551" y="613"/>
                  </a:lnTo>
                  <a:lnTo>
                    <a:pt x="551" y="612"/>
                  </a:lnTo>
                  <a:lnTo>
                    <a:pt x="549" y="611"/>
                  </a:lnTo>
                  <a:lnTo>
                    <a:pt x="546" y="613"/>
                  </a:lnTo>
                  <a:lnTo>
                    <a:pt x="543" y="612"/>
                  </a:lnTo>
                  <a:lnTo>
                    <a:pt x="541" y="612"/>
                  </a:lnTo>
                  <a:lnTo>
                    <a:pt x="540" y="612"/>
                  </a:lnTo>
                  <a:lnTo>
                    <a:pt x="539" y="611"/>
                  </a:lnTo>
                  <a:lnTo>
                    <a:pt x="535" y="611"/>
                  </a:lnTo>
                  <a:lnTo>
                    <a:pt x="535" y="608"/>
                  </a:lnTo>
                  <a:lnTo>
                    <a:pt x="533" y="608"/>
                  </a:lnTo>
                  <a:lnTo>
                    <a:pt x="531" y="607"/>
                  </a:lnTo>
                  <a:lnTo>
                    <a:pt x="528" y="606"/>
                  </a:lnTo>
                  <a:lnTo>
                    <a:pt x="524" y="603"/>
                  </a:lnTo>
                  <a:lnTo>
                    <a:pt x="528" y="603"/>
                  </a:lnTo>
                  <a:lnTo>
                    <a:pt x="531" y="603"/>
                  </a:lnTo>
                  <a:lnTo>
                    <a:pt x="531" y="601"/>
                  </a:lnTo>
                  <a:lnTo>
                    <a:pt x="528" y="600"/>
                  </a:lnTo>
                  <a:lnTo>
                    <a:pt x="527" y="597"/>
                  </a:lnTo>
                  <a:lnTo>
                    <a:pt x="527" y="596"/>
                  </a:lnTo>
                  <a:lnTo>
                    <a:pt x="525" y="595"/>
                  </a:lnTo>
                  <a:lnTo>
                    <a:pt x="523" y="595"/>
                  </a:lnTo>
                  <a:lnTo>
                    <a:pt x="521" y="595"/>
                  </a:lnTo>
                  <a:lnTo>
                    <a:pt x="517" y="594"/>
                  </a:lnTo>
                  <a:lnTo>
                    <a:pt x="516" y="591"/>
                  </a:lnTo>
                  <a:lnTo>
                    <a:pt x="515" y="589"/>
                  </a:lnTo>
                  <a:lnTo>
                    <a:pt x="513" y="585"/>
                  </a:lnTo>
                  <a:lnTo>
                    <a:pt x="515" y="588"/>
                  </a:lnTo>
                  <a:lnTo>
                    <a:pt x="518" y="591"/>
                  </a:lnTo>
                  <a:lnTo>
                    <a:pt x="521" y="594"/>
                  </a:lnTo>
                  <a:lnTo>
                    <a:pt x="522" y="591"/>
                  </a:lnTo>
                  <a:lnTo>
                    <a:pt x="521" y="590"/>
                  </a:lnTo>
                  <a:lnTo>
                    <a:pt x="521" y="589"/>
                  </a:lnTo>
                  <a:lnTo>
                    <a:pt x="524" y="590"/>
                  </a:lnTo>
                  <a:lnTo>
                    <a:pt x="525" y="591"/>
                  </a:lnTo>
                  <a:lnTo>
                    <a:pt x="528" y="594"/>
                  </a:lnTo>
                  <a:lnTo>
                    <a:pt x="531" y="595"/>
                  </a:lnTo>
                  <a:lnTo>
                    <a:pt x="533" y="597"/>
                  </a:lnTo>
                  <a:lnTo>
                    <a:pt x="535" y="600"/>
                  </a:lnTo>
                  <a:lnTo>
                    <a:pt x="537" y="602"/>
                  </a:lnTo>
                  <a:lnTo>
                    <a:pt x="537" y="603"/>
                  </a:lnTo>
                  <a:lnTo>
                    <a:pt x="535" y="603"/>
                  </a:lnTo>
                  <a:lnTo>
                    <a:pt x="534" y="602"/>
                  </a:lnTo>
                  <a:lnTo>
                    <a:pt x="534" y="605"/>
                  </a:lnTo>
                  <a:lnTo>
                    <a:pt x="535" y="606"/>
                  </a:lnTo>
                  <a:lnTo>
                    <a:pt x="537" y="608"/>
                  </a:lnTo>
                  <a:lnTo>
                    <a:pt x="541" y="608"/>
                  </a:lnTo>
                  <a:lnTo>
                    <a:pt x="543" y="609"/>
                  </a:lnTo>
                  <a:lnTo>
                    <a:pt x="547" y="608"/>
                  </a:lnTo>
                  <a:lnTo>
                    <a:pt x="549" y="608"/>
                  </a:lnTo>
                  <a:lnTo>
                    <a:pt x="552" y="607"/>
                  </a:lnTo>
                  <a:lnTo>
                    <a:pt x="549" y="606"/>
                  </a:lnTo>
                  <a:lnTo>
                    <a:pt x="547" y="605"/>
                  </a:lnTo>
                  <a:lnTo>
                    <a:pt x="547" y="603"/>
                  </a:lnTo>
                  <a:lnTo>
                    <a:pt x="549" y="603"/>
                  </a:lnTo>
                  <a:lnTo>
                    <a:pt x="553" y="605"/>
                  </a:lnTo>
                  <a:lnTo>
                    <a:pt x="559" y="605"/>
                  </a:lnTo>
                  <a:lnTo>
                    <a:pt x="560" y="603"/>
                  </a:lnTo>
                  <a:lnTo>
                    <a:pt x="562" y="600"/>
                  </a:lnTo>
                  <a:lnTo>
                    <a:pt x="562" y="599"/>
                  </a:lnTo>
                  <a:lnTo>
                    <a:pt x="559" y="599"/>
                  </a:lnTo>
                  <a:lnTo>
                    <a:pt x="557" y="599"/>
                  </a:lnTo>
                  <a:lnTo>
                    <a:pt x="553" y="597"/>
                  </a:lnTo>
                  <a:lnTo>
                    <a:pt x="551" y="597"/>
                  </a:lnTo>
                  <a:lnTo>
                    <a:pt x="547" y="595"/>
                  </a:lnTo>
                  <a:lnTo>
                    <a:pt x="545" y="595"/>
                  </a:lnTo>
                  <a:lnTo>
                    <a:pt x="540" y="593"/>
                  </a:lnTo>
                  <a:lnTo>
                    <a:pt x="537" y="593"/>
                  </a:lnTo>
                  <a:lnTo>
                    <a:pt x="534" y="590"/>
                  </a:lnTo>
                  <a:lnTo>
                    <a:pt x="531" y="590"/>
                  </a:lnTo>
                  <a:lnTo>
                    <a:pt x="530" y="588"/>
                  </a:lnTo>
                  <a:lnTo>
                    <a:pt x="527" y="585"/>
                  </a:lnTo>
                  <a:lnTo>
                    <a:pt x="525" y="584"/>
                  </a:lnTo>
                  <a:lnTo>
                    <a:pt x="524" y="582"/>
                  </a:lnTo>
                  <a:lnTo>
                    <a:pt x="523" y="579"/>
                  </a:lnTo>
                  <a:lnTo>
                    <a:pt x="523" y="578"/>
                  </a:lnTo>
                  <a:lnTo>
                    <a:pt x="521" y="577"/>
                  </a:lnTo>
                  <a:lnTo>
                    <a:pt x="519" y="576"/>
                  </a:lnTo>
                  <a:lnTo>
                    <a:pt x="518" y="576"/>
                  </a:lnTo>
                  <a:lnTo>
                    <a:pt x="515" y="576"/>
                  </a:lnTo>
                  <a:lnTo>
                    <a:pt x="513" y="576"/>
                  </a:lnTo>
                  <a:lnTo>
                    <a:pt x="513" y="573"/>
                  </a:lnTo>
                  <a:lnTo>
                    <a:pt x="513" y="572"/>
                  </a:lnTo>
                  <a:lnTo>
                    <a:pt x="513" y="570"/>
                  </a:lnTo>
                  <a:lnTo>
                    <a:pt x="515" y="570"/>
                  </a:lnTo>
                  <a:lnTo>
                    <a:pt x="518" y="572"/>
                  </a:lnTo>
                  <a:lnTo>
                    <a:pt x="521" y="572"/>
                  </a:lnTo>
                  <a:lnTo>
                    <a:pt x="522" y="572"/>
                  </a:lnTo>
                  <a:lnTo>
                    <a:pt x="524" y="572"/>
                  </a:lnTo>
                  <a:lnTo>
                    <a:pt x="525" y="577"/>
                  </a:lnTo>
                  <a:lnTo>
                    <a:pt x="525" y="579"/>
                  </a:lnTo>
                  <a:lnTo>
                    <a:pt x="527" y="581"/>
                  </a:lnTo>
                  <a:lnTo>
                    <a:pt x="528" y="581"/>
                  </a:lnTo>
                  <a:lnTo>
                    <a:pt x="529" y="583"/>
                  </a:lnTo>
                  <a:lnTo>
                    <a:pt x="530" y="585"/>
                  </a:lnTo>
                  <a:lnTo>
                    <a:pt x="533" y="585"/>
                  </a:lnTo>
                  <a:lnTo>
                    <a:pt x="534" y="587"/>
                  </a:lnTo>
                  <a:lnTo>
                    <a:pt x="535" y="589"/>
                  </a:lnTo>
                  <a:lnTo>
                    <a:pt x="539" y="589"/>
                  </a:lnTo>
                  <a:lnTo>
                    <a:pt x="542" y="590"/>
                  </a:lnTo>
                  <a:lnTo>
                    <a:pt x="543" y="591"/>
                  </a:lnTo>
                  <a:lnTo>
                    <a:pt x="546" y="593"/>
                  </a:lnTo>
                  <a:lnTo>
                    <a:pt x="548" y="593"/>
                  </a:lnTo>
                  <a:lnTo>
                    <a:pt x="551" y="591"/>
                  </a:lnTo>
                  <a:lnTo>
                    <a:pt x="553" y="594"/>
                  </a:lnTo>
                  <a:lnTo>
                    <a:pt x="556" y="596"/>
                  </a:lnTo>
                  <a:lnTo>
                    <a:pt x="558" y="596"/>
                  </a:lnTo>
                  <a:lnTo>
                    <a:pt x="563" y="595"/>
                  </a:lnTo>
                  <a:lnTo>
                    <a:pt x="563" y="594"/>
                  </a:lnTo>
                  <a:lnTo>
                    <a:pt x="560" y="593"/>
                  </a:lnTo>
                  <a:lnTo>
                    <a:pt x="558" y="593"/>
                  </a:lnTo>
                  <a:lnTo>
                    <a:pt x="554" y="590"/>
                  </a:lnTo>
                  <a:lnTo>
                    <a:pt x="552" y="590"/>
                  </a:lnTo>
                  <a:lnTo>
                    <a:pt x="556" y="589"/>
                  </a:lnTo>
                  <a:lnTo>
                    <a:pt x="558" y="589"/>
                  </a:lnTo>
                  <a:lnTo>
                    <a:pt x="560" y="589"/>
                  </a:lnTo>
                  <a:lnTo>
                    <a:pt x="563" y="587"/>
                  </a:lnTo>
                  <a:lnTo>
                    <a:pt x="565" y="583"/>
                  </a:lnTo>
                  <a:lnTo>
                    <a:pt x="565" y="582"/>
                  </a:lnTo>
                  <a:lnTo>
                    <a:pt x="565" y="578"/>
                  </a:lnTo>
                  <a:lnTo>
                    <a:pt x="563" y="579"/>
                  </a:lnTo>
                  <a:lnTo>
                    <a:pt x="563" y="577"/>
                  </a:lnTo>
                  <a:lnTo>
                    <a:pt x="562" y="577"/>
                  </a:lnTo>
                  <a:lnTo>
                    <a:pt x="560" y="579"/>
                  </a:lnTo>
                  <a:lnTo>
                    <a:pt x="562" y="579"/>
                  </a:lnTo>
                  <a:lnTo>
                    <a:pt x="560" y="579"/>
                  </a:lnTo>
                  <a:lnTo>
                    <a:pt x="559" y="582"/>
                  </a:lnTo>
                  <a:lnTo>
                    <a:pt x="554" y="582"/>
                  </a:lnTo>
                  <a:lnTo>
                    <a:pt x="554" y="583"/>
                  </a:lnTo>
                  <a:lnTo>
                    <a:pt x="554" y="582"/>
                  </a:lnTo>
                  <a:lnTo>
                    <a:pt x="553" y="579"/>
                  </a:lnTo>
                  <a:lnTo>
                    <a:pt x="552" y="579"/>
                  </a:lnTo>
                  <a:lnTo>
                    <a:pt x="551" y="581"/>
                  </a:lnTo>
                  <a:lnTo>
                    <a:pt x="551" y="584"/>
                  </a:lnTo>
                  <a:lnTo>
                    <a:pt x="551" y="585"/>
                  </a:lnTo>
                  <a:lnTo>
                    <a:pt x="549" y="587"/>
                  </a:lnTo>
                  <a:lnTo>
                    <a:pt x="548" y="584"/>
                  </a:lnTo>
                  <a:lnTo>
                    <a:pt x="547" y="582"/>
                  </a:lnTo>
                  <a:lnTo>
                    <a:pt x="545" y="582"/>
                  </a:lnTo>
                  <a:lnTo>
                    <a:pt x="542" y="579"/>
                  </a:lnTo>
                  <a:lnTo>
                    <a:pt x="542" y="577"/>
                  </a:lnTo>
                  <a:lnTo>
                    <a:pt x="541" y="577"/>
                  </a:lnTo>
                  <a:lnTo>
                    <a:pt x="540" y="575"/>
                  </a:lnTo>
                  <a:lnTo>
                    <a:pt x="540" y="573"/>
                  </a:lnTo>
                  <a:lnTo>
                    <a:pt x="536" y="572"/>
                  </a:lnTo>
                  <a:lnTo>
                    <a:pt x="534" y="571"/>
                  </a:lnTo>
                  <a:lnTo>
                    <a:pt x="534" y="570"/>
                  </a:lnTo>
                  <a:lnTo>
                    <a:pt x="535" y="567"/>
                  </a:lnTo>
                  <a:lnTo>
                    <a:pt x="537" y="567"/>
                  </a:lnTo>
                  <a:lnTo>
                    <a:pt x="540" y="569"/>
                  </a:lnTo>
                  <a:lnTo>
                    <a:pt x="543" y="570"/>
                  </a:lnTo>
                  <a:lnTo>
                    <a:pt x="546" y="571"/>
                  </a:lnTo>
                  <a:lnTo>
                    <a:pt x="549" y="572"/>
                  </a:lnTo>
                  <a:lnTo>
                    <a:pt x="552" y="573"/>
                  </a:lnTo>
                  <a:lnTo>
                    <a:pt x="556" y="573"/>
                  </a:lnTo>
                  <a:lnTo>
                    <a:pt x="557" y="572"/>
                  </a:lnTo>
                  <a:lnTo>
                    <a:pt x="557" y="569"/>
                  </a:lnTo>
                  <a:lnTo>
                    <a:pt x="554" y="569"/>
                  </a:lnTo>
                  <a:lnTo>
                    <a:pt x="552" y="569"/>
                  </a:lnTo>
                  <a:lnTo>
                    <a:pt x="549" y="569"/>
                  </a:lnTo>
                  <a:lnTo>
                    <a:pt x="546" y="567"/>
                  </a:lnTo>
                  <a:lnTo>
                    <a:pt x="546" y="566"/>
                  </a:lnTo>
                  <a:lnTo>
                    <a:pt x="547" y="566"/>
                  </a:lnTo>
                  <a:lnTo>
                    <a:pt x="551" y="567"/>
                  </a:lnTo>
                  <a:lnTo>
                    <a:pt x="552" y="566"/>
                  </a:lnTo>
                  <a:lnTo>
                    <a:pt x="553" y="565"/>
                  </a:lnTo>
                  <a:lnTo>
                    <a:pt x="553" y="564"/>
                  </a:lnTo>
                  <a:lnTo>
                    <a:pt x="554" y="564"/>
                  </a:lnTo>
                  <a:lnTo>
                    <a:pt x="556" y="565"/>
                  </a:lnTo>
                  <a:lnTo>
                    <a:pt x="558" y="567"/>
                  </a:lnTo>
                  <a:lnTo>
                    <a:pt x="560" y="570"/>
                  </a:lnTo>
                  <a:lnTo>
                    <a:pt x="562" y="569"/>
                  </a:lnTo>
                  <a:lnTo>
                    <a:pt x="563" y="566"/>
                  </a:lnTo>
                  <a:lnTo>
                    <a:pt x="563" y="563"/>
                  </a:lnTo>
                  <a:lnTo>
                    <a:pt x="562" y="560"/>
                  </a:lnTo>
                  <a:lnTo>
                    <a:pt x="558" y="560"/>
                  </a:lnTo>
                  <a:lnTo>
                    <a:pt x="557" y="559"/>
                  </a:lnTo>
                  <a:lnTo>
                    <a:pt x="556" y="560"/>
                  </a:lnTo>
                  <a:lnTo>
                    <a:pt x="554" y="560"/>
                  </a:lnTo>
                  <a:lnTo>
                    <a:pt x="552" y="559"/>
                  </a:lnTo>
                  <a:lnTo>
                    <a:pt x="551" y="560"/>
                  </a:lnTo>
                  <a:lnTo>
                    <a:pt x="547" y="560"/>
                  </a:lnTo>
                  <a:lnTo>
                    <a:pt x="547" y="559"/>
                  </a:lnTo>
                  <a:lnTo>
                    <a:pt x="549" y="558"/>
                  </a:lnTo>
                  <a:lnTo>
                    <a:pt x="549" y="555"/>
                  </a:lnTo>
                  <a:lnTo>
                    <a:pt x="548" y="555"/>
                  </a:lnTo>
                  <a:lnTo>
                    <a:pt x="542" y="555"/>
                  </a:lnTo>
                  <a:lnTo>
                    <a:pt x="540" y="557"/>
                  </a:lnTo>
                  <a:lnTo>
                    <a:pt x="539" y="558"/>
                  </a:lnTo>
                  <a:lnTo>
                    <a:pt x="537" y="557"/>
                  </a:lnTo>
                  <a:lnTo>
                    <a:pt x="540" y="553"/>
                  </a:lnTo>
                  <a:lnTo>
                    <a:pt x="542" y="552"/>
                  </a:lnTo>
                  <a:lnTo>
                    <a:pt x="545" y="551"/>
                  </a:lnTo>
                  <a:lnTo>
                    <a:pt x="547" y="549"/>
                  </a:lnTo>
                  <a:lnTo>
                    <a:pt x="547" y="547"/>
                  </a:lnTo>
                  <a:lnTo>
                    <a:pt x="549" y="547"/>
                  </a:lnTo>
                  <a:lnTo>
                    <a:pt x="552" y="546"/>
                  </a:lnTo>
                  <a:lnTo>
                    <a:pt x="554" y="546"/>
                  </a:lnTo>
                  <a:lnTo>
                    <a:pt x="557" y="543"/>
                  </a:lnTo>
                  <a:lnTo>
                    <a:pt x="558" y="542"/>
                  </a:lnTo>
                  <a:lnTo>
                    <a:pt x="559" y="541"/>
                  </a:lnTo>
                  <a:lnTo>
                    <a:pt x="559" y="539"/>
                  </a:lnTo>
                  <a:lnTo>
                    <a:pt x="557" y="536"/>
                  </a:lnTo>
                  <a:lnTo>
                    <a:pt x="556" y="536"/>
                  </a:lnTo>
                  <a:lnTo>
                    <a:pt x="552" y="537"/>
                  </a:lnTo>
                  <a:lnTo>
                    <a:pt x="551" y="539"/>
                  </a:lnTo>
                  <a:lnTo>
                    <a:pt x="549" y="537"/>
                  </a:lnTo>
                  <a:lnTo>
                    <a:pt x="549" y="536"/>
                  </a:lnTo>
                  <a:lnTo>
                    <a:pt x="551" y="535"/>
                  </a:lnTo>
                  <a:lnTo>
                    <a:pt x="548" y="534"/>
                  </a:lnTo>
                  <a:lnTo>
                    <a:pt x="547" y="534"/>
                  </a:lnTo>
                  <a:lnTo>
                    <a:pt x="546" y="537"/>
                  </a:lnTo>
                  <a:lnTo>
                    <a:pt x="545" y="540"/>
                  </a:lnTo>
                  <a:lnTo>
                    <a:pt x="545" y="537"/>
                  </a:lnTo>
                  <a:lnTo>
                    <a:pt x="545" y="535"/>
                  </a:lnTo>
                  <a:lnTo>
                    <a:pt x="543" y="534"/>
                  </a:lnTo>
                  <a:lnTo>
                    <a:pt x="542" y="536"/>
                  </a:lnTo>
                  <a:lnTo>
                    <a:pt x="541" y="537"/>
                  </a:lnTo>
                  <a:lnTo>
                    <a:pt x="537" y="540"/>
                  </a:lnTo>
                  <a:lnTo>
                    <a:pt x="535" y="540"/>
                  </a:lnTo>
                  <a:lnTo>
                    <a:pt x="535" y="539"/>
                  </a:lnTo>
                  <a:lnTo>
                    <a:pt x="537" y="537"/>
                  </a:lnTo>
                  <a:lnTo>
                    <a:pt x="539" y="536"/>
                  </a:lnTo>
                  <a:lnTo>
                    <a:pt x="540" y="534"/>
                  </a:lnTo>
                  <a:lnTo>
                    <a:pt x="537" y="533"/>
                  </a:lnTo>
                  <a:lnTo>
                    <a:pt x="536" y="533"/>
                  </a:lnTo>
                  <a:lnTo>
                    <a:pt x="535" y="530"/>
                  </a:lnTo>
                  <a:lnTo>
                    <a:pt x="534" y="528"/>
                  </a:lnTo>
                  <a:lnTo>
                    <a:pt x="535" y="525"/>
                  </a:lnTo>
                  <a:lnTo>
                    <a:pt x="537" y="529"/>
                  </a:lnTo>
                  <a:lnTo>
                    <a:pt x="540" y="529"/>
                  </a:lnTo>
                  <a:lnTo>
                    <a:pt x="541" y="529"/>
                  </a:lnTo>
                  <a:lnTo>
                    <a:pt x="543" y="528"/>
                  </a:lnTo>
                  <a:lnTo>
                    <a:pt x="545" y="526"/>
                  </a:lnTo>
                  <a:lnTo>
                    <a:pt x="545" y="523"/>
                  </a:lnTo>
                  <a:lnTo>
                    <a:pt x="542" y="522"/>
                  </a:lnTo>
                  <a:lnTo>
                    <a:pt x="539" y="519"/>
                  </a:lnTo>
                  <a:lnTo>
                    <a:pt x="537" y="518"/>
                  </a:lnTo>
                  <a:lnTo>
                    <a:pt x="536" y="520"/>
                  </a:lnTo>
                  <a:lnTo>
                    <a:pt x="535" y="522"/>
                  </a:lnTo>
                  <a:lnTo>
                    <a:pt x="531" y="520"/>
                  </a:lnTo>
                  <a:lnTo>
                    <a:pt x="529" y="520"/>
                  </a:lnTo>
                  <a:lnTo>
                    <a:pt x="529" y="522"/>
                  </a:lnTo>
                  <a:lnTo>
                    <a:pt x="527" y="522"/>
                  </a:lnTo>
                  <a:lnTo>
                    <a:pt x="525" y="523"/>
                  </a:lnTo>
                  <a:lnTo>
                    <a:pt x="524" y="523"/>
                  </a:lnTo>
                  <a:lnTo>
                    <a:pt x="527" y="526"/>
                  </a:lnTo>
                  <a:lnTo>
                    <a:pt x="529" y="528"/>
                  </a:lnTo>
                  <a:lnTo>
                    <a:pt x="529" y="530"/>
                  </a:lnTo>
                  <a:lnTo>
                    <a:pt x="528" y="531"/>
                  </a:lnTo>
                  <a:lnTo>
                    <a:pt x="527" y="529"/>
                  </a:lnTo>
                  <a:lnTo>
                    <a:pt x="524" y="529"/>
                  </a:lnTo>
                  <a:lnTo>
                    <a:pt x="523" y="526"/>
                  </a:lnTo>
                  <a:lnTo>
                    <a:pt x="522" y="526"/>
                  </a:lnTo>
                  <a:lnTo>
                    <a:pt x="521" y="524"/>
                  </a:lnTo>
                  <a:lnTo>
                    <a:pt x="523" y="522"/>
                  </a:lnTo>
                  <a:lnTo>
                    <a:pt x="524" y="519"/>
                  </a:lnTo>
                  <a:lnTo>
                    <a:pt x="524" y="518"/>
                  </a:lnTo>
                  <a:lnTo>
                    <a:pt x="522" y="516"/>
                  </a:lnTo>
                  <a:lnTo>
                    <a:pt x="521" y="514"/>
                  </a:lnTo>
                  <a:lnTo>
                    <a:pt x="518" y="516"/>
                  </a:lnTo>
                  <a:lnTo>
                    <a:pt x="516" y="517"/>
                  </a:lnTo>
                  <a:lnTo>
                    <a:pt x="513" y="518"/>
                  </a:lnTo>
                  <a:lnTo>
                    <a:pt x="513" y="520"/>
                  </a:lnTo>
                  <a:lnTo>
                    <a:pt x="513" y="523"/>
                  </a:lnTo>
                  <a:lnTo>
                    <a:pt x="511" y="522"/>
                  </a:lnTo>
                  <a:lnTo>
                    <a:pt x="510" y="520"/>
                  </a:lnTo>
                  <a:lnTo>
                    <a:pt x="511" y="517"/>
                  </a:lnTo>
                  <a:lnTo>
                    <a:pt x="512" y="516"/>
                  </a:lnTo>
                  <a:lnTo>
                    <a:pt x="515" y="514"/>
                  </a:lnTo>
                  <a:lnTo>
                    <a:pt x="519" y="513"/>
                  </a:lnTo>
                  <a:lnTo>
                    <a:pt x="521" y="511"/>
                  </a:lnTo>
                  <a:lnTo>
                    <a:pt x="519" y="510"/>
                  </a:lnTo>
                  <a:lnTo>
                    <a:pt x="518" y="510"/>
                  </a:lnTo>
                  <a:lnTo>
                    <a:pt x="518" y="508"/>
                  </a:lnTo>
                  <a:lnTo>
                    <a:pt x="519" y="507"/>
                  </a:lnTo>
                  <a:lnTo>
                    <a:pt x="523" y="507"/>
                  </a:lnTo>
                  <a:lnTo>
                    <a:pt x="525" y="506"/>
                  </a:lnTo>
                  <a:lnTo>
                    <a:pt x="527" y="504"/>
                  </a:lnTo>
                  <a:lnTo>
                    <a:pt x="528" y="501"/>
                  </a:lnTo>
                  <a:lnTo>
                    <a:pt x="529" y="499"/>
                  </a:lnTo>
                  <a:lnTo>
                    <a:pt x="531" y="498"/>
                  </a:lnTo>
                  <a:lnTo>
                    <a:pt x="533" y="496"/>
                  </a:lnTo>
                  <a:lnTo>
                    <a:pt x="533" y="495"/>
                  </a:lnTo>
                  <a:lnTo>
                    <a:pt x="531" y="494"/>
                  </a:lnTo>
                  <a:lnTo>
                    <a:pt x="530" y="493"/>
                  </a:lnTo>
                  <a:lnTo>
                    <a:pt x="529" y="492"/>
                  </a:lnTo>
                  <a:lnTo>
                    <a:pt x="528" y="494"/>
                  </a:lnTo>
                  <a:lnTo>
                    <a:pt x="527" y="495"/>
                  </a:lnTo>
                  <a:lnTo>
                    <a:pt x="525" y="494"/>
                  </a:lnTo>
                  <a:lnTo>
                    <a:pt x="523" y="493"/>
                  </a:lnTo>
                  <a:lnTo>
                    <a:pt x="522" y="494"/>
                  </a:lnTo>
                  <a:lnTo>
                    <a:pt x="522" y="495"/>
                  </a:lnTo>
                  <a:lnTo>
                    <a:pt x="521" y="496"/>
                  </a:lnTo>
                  <a:lnTo>
                    <a:pt x="519" y="496"/>
                  </a:lnTo>
                  <a:lnTo>
                    <a:pt x="517" y="498"/>
                  </a:lnTo>
                  <a:lnTo>
                    <a:pt x="516" y="496"/>
                  </a:lnTo>
                  <a:lnTo>
                    <a:pt x="516" y="495"/>
                  </a:lnTo>
                  <a:lnTo>
                    <a:pt x="518" y="493"/>
                  </a:lnTo>
                  <a:lnTo>
                    <a:pt x="521" y="492"/>
                  </a:lnTo>
                  <a:lnTo>
                    <a:pt x="522" y="489"/>
                  </a:lnTo>
                  <a:lnTo>
                    <a:pt x="521" y="487"/>
                  </a:lnTo>
                  <a:lnTo>
                    <a:pt x="518" y="487"/>
                  </a:lnTo>
                  <a:lnTo>
                    <a:pt x="517" y="489"/>
                  </a:lnTo>
                  <a:lnTo>
                    <a:pt x="516" y="487"/>
                  </a:lnTo>
                  <a:lnTo>
                    <a:pt x="515" y="483"/>
                  </a:lnTo>
                  <a:lnTo>
                    <a:pt x="513" y="483"/>
                  </a:lnTo>
                  <a:lnTo>
                    <a:pt x="512" y="486"/>
                  </a:lnTo>
                  <a:lnTo>
                    <a:pt x="511" y="487"/>
                  </a:lnTo>
                  <a:lnTo>
                    <a:pt x="509" y="486"/>
                  </a:lnTo>
                  <a:lnTo>
                    <a:pt x="505" y="483"/>
                  </a:lnTo>
                  <a:lnTo>
                    <a:pt x="504" y="483"/>
                  </a:lnTo>
                  <a:lnTo>
                    <a:pt x="503" y="483"/>
                  </a:lnTo>
                  <a:lnTo>
                    <a:pt x="501" y="481"/>
                  </a:lnTo>
                  <a:lnTo>
                    <a:pt x="499" y="481"/>
                  </a:lnTo>
                  <a:lnTo>
                    <a:pt x="498" y="481"/>
                  </a:lnTo>
                  <a:lnTo>
                    <a:pt x="498" y="478"/>
                  </a:lnTo>
                  <a:lnTo>
                    <a:pt x="498" y="477"/>
                  </a:lnTo>
                  <a:lnTo>
                    <a:pt x="495" y="476"/>
                  </a:lnTo>
                  <a:lnTo>
                    <a:pt x="498" y="476"/>
                  </a:lnTo>
                  <a:lnTo>
                    <a:pt x="499" y="478"/>
                  </a:lnTo>
                  <a:lnTo>
                    <a:pt x="500" y="480"/>
                  </a:lnTo>
                  <a:lnTo>
                    <a:pt x="503" y="480"/>
                  </a:lnTo>
                  <a:lnTo>
                    <a:pt x="504" y="480"/>
                  </a:lnTo>
                  <a:lnTo>
                    <a:pt x="505" y="480"/>
                  </a:lnTo>
                  <a:lnTo>
                    <a:pt x="506" y="481"/>
                  </a:lnTo>
                  <a:lnTo>
                    <a:pt x="510" y="481"/>
                  </a:lnTo>
                  <a:lnTo>
                    <a:pt x="511" y="477"/>
                  </a:lnTo>
                  <a:lnTo>
                    <a:pt x="512" y="478"/>
                  </a:lnTo>
                  <a:lnTo>
                    <a:pt x="515" y="480"/>
                  </a:lnTo>
                  <a:lnTo>
                    <a:pt x="516" y="478"/>
                  </a:lnTo>
                  <a:lnTo>
                    <a:pt x="518" y="476"/>
                  </a:lnTo>
                  <a:lnTo>
                    <a:pt x="521" y="476"/>
                  </a:lnTo>
                  <a:lnTo>
                    <a:pt x="523" y="475"/>
                  </a:lnTo>
                  <a:lnTo>
                    <a:pt x="525" y="475"/>
                  </a:lnTo>
                  <a:lnTo>
                    <a:pt x="528" y="474"/>
                  </a:lnTo>
                  <a:lnTo>
                    <a:pt x="529" y="471"/>
                  </a:lnTo>
                  <a:lnTo>
                    <a:pt x="527" y="469"/>
                  </a:lnTo>
                  <a:lnTo>
                    <a:pt x="525" y="468"/>
                  </a:lnTo>
                  <a:lnTo>
                    <a:pt x="525" y="466"/>
                  </a:lnTo>
                  <a:lnTo>
                    <a:pt x="523" y="469"/>
                  </a:lnTo>
                  <a:lnTo>
                    <a:pt x="521" y="466"/>
                  </a:lnTo>
                  <a:lnTo>
                    <a:pt x="519" y="469"/>
                  </a:lnTo>
                  <a:lnTo>
                    <a:pt x="518" y="469"/>
                  </a:lnTo>
                  <a:lnTo>
                    <a:pt x="516" y="468"/>
                  </a:lnTo>
                  <a:lnTo>
                    <a:pt x="515" y="469"/>
                  </a:lnTo>
                  <a:lnTo>
                    <a:pt x="513" y="468"/>
                  </a:lnTo>
                  <a:lnTo>
                    <a:pt x="510" y="469"/>
                  </a:lnTo>
                  <a:lnTo>
                    <a:pt x="507" y="469"/>
                  </a:lnTo>
                  <a:lnTo>
                    <a:pt x="507" y="465"/>
                  </a:lnTo>
                  <a:lnTo>
                    <a:pt x="504" y="465"/>
                  </a:lnTo>
                  <a:lnTo>
                    <a:pt x="500" y="464"/>
                  </a:lnTo>
                  <a:lnTo>
                    <a:pt x="499" y="462"/>
                  </a:lnTo>
                  <a:lnTo>
                    <a:pt x="498" y="462"/>
                  </a:lnTo>
                  <a:lnTo>
                    <a:pt x="495" y="463"/>
                  </a:lnTo>
                  <a:lnTo>
                    <a:pt x="494" y="460"/>
                  </a:lnTo>
                  <a:lnTo>
                    <a:pt x="493" y="460"/>
                  </a:lnTo>
                  <a:lnTo>
                    <a:pt x="489" y="460"/>
                  </a:lnTo>
                  <a:lnTo>
                    <a:pt x="487" y="459"/>
                  </a:lnTo>
                  <a:lnTo>
                    <a:pt x="486" y="457"/>
                  </a:lnTo>
                  <a:lnTo>
                    <a:pt x="482" y="454"/>
                  </a:lnTo>
                  <a:lnTo>
                    <a:pt x="481" y="456"/>
                  </a:lnTo>
                  <a:lnTo>
                    <a:pt x="477" y="456"/>
                  </a:lnTo>
                  <a:lnTo>
                    <a:pt x="472" y="457"/>
                  </a:lnTo>
                  <a:lnTo>
                    <a:pt x="471" y="456"/>
                  </a:lnTo>
                  <a:lnTo>
                    <a:pt x="475" y="454"/>
                  </a:lnTo>
                  <a:lnTo>
                    <a:pt x="477" y="454"/>
                  </a:lnTo>
                  <a:lnTo>
                    <a:pt x="480" y="453"/>
                  </a:lnTo>
                  <a:lnTo>
                    <a:pt x="483" y="453"/>
                  </a:lnTo>
                  <a:lnTo>
                    <a:pt x="484" y="453"/>
                  </a:lnTo>
                  <a:lnTo>
                    <a:pt x="486" y="453"/>
                  </a:lnTo>
                  <a:lnTo>
                    <a:pt x="484" y="451"/>
                  </a:lnTo>
                  <a:lnTo>
                    <a:pt x="482" y="450"/>
                  </a:lnTo>
                  <a:lnTo>
                    <a:pt x="482" y="448"/>
                  </a:lnTo>
                  <a:lnTo>
                    <a:pt x="480" y="446"/>
                  </a:lnTo>
                  <a:lnTo>
                    <a:pt x="477" y="447"/>
                  </a:lnTo>
                  <a:lnTo>
                    <a:pt x="477" y="450"/>
                  </a:lnTo>
                  <a:lnTo>
                    <a:pt x="476" y="450"/>
                  </a:lnTo>
                  <a:lnTo>
                    <a:pt x="475" y="448"/>
                  </a:lnTo>
                  <a:lnTo>
                    <a:pt x="474" y="446"/>
                  </a:lnTo>
                  <a:lnTo>
                    <a:pt x="474" y="445"/>
                  </a:lnTo>
                  <a:lnTo>
                    <a:pt x="475" y="442"/>
                  </a:lnTo>
                  <a:lnTo>
                    <a:pt x="474" y="440"/>
                  </a:lnTo>
                  <a:lnTo>
                    <a:pt x="476" y="440"/>
                  </a:lnTo>
                  <a:lnTo>
                    <a:pt x="478" y="441"/>
                  </a:lnTo>
                  <a:lnTo>
                    <a:pt x="480" y="442"/>
                  </a:lnTo>
                  <a:lnTo>
                    <a:pt x="482" y="444"/>
                  </a:lnTo>
                  <a:lnTo>
                    <a:pt x="482" y="441"/>
                  </a:lnTo>
                  <a:lnTo>
                    <a:pt x="482" y="440"/>
                  </a:lnTo>
                  <a:lnTo>
                    <a:pt x="481" y="439"/>
                  </a:lnTo>
                  <a:lnTo>
                    <a:pt x="478" y="438"/>
                  </a:lnTo>
                  <a:lnTo>
                    <a:pt x="477" y="436"/>
                  </a:lnTo>
                  <a:lnTo>
                    <a:pt x="476" y="435"/>
                  </a:lnTo>
                  <a:lnTo>
                    <a:pt x="474" y="435"/>
                  </a:lnTo>
                  <a:lnTo>
                    <a:pt x="475" y="433"/>
                  </a:lnTo>
                  <a:lnTo>
                    <a:pt x="478" y="432"/>
                  </a:lnTo>
                  <a:lnTo>
                    <a:pt x="481" y="430"/>
                  </a:lnTo>
                  <a:lnTo>
                    <a:pt x="482" y="429"/>
                  </a:lnTo>
                  <a:lnTo>
                    <a:pt x="482" y="428"/>
                  </a:lnTo>
                  <a:lnTo>
                    <a:pt x="478" y="429"/>
                  </a:lnTo>
                  <a:lnTo>
                    <a:pt x="477" y="430"/>
                  </a:lnTo>
                  <a:lnTo>
                    <a:pt x="476" y="430"/>
                  </a:lnTo>
                  <a:lnTo>
                    <a:pt x="475" y="429"/>
                  </a:lnTo>
                  <a:lnTo>
                    <a:pt x="472" y="429"/>
                  </a:lnTo>
                  <a:lnTo>
                    <a:pt x="472" y="430"/>
                  </a:lnTo>
                  <a:lnTo>
                    <a:pt x="470" y="432"/>
                  </a:lnTo>
                  <a:lnTo>
                    <a:pt x="468" y="429"/>
                  </a:lnTo>
                  <a:lnTo>
                    <a:pt x="465" y="426"/>
                  </a:lnTo>
                  <a:lnTo>
                    <a:pt x="465" y="424"/>
                  </a:lnTo>
                  <a:lnTo>
                    <a:pt x="468" y="423"/>
                  </a:lnTo>
                  <a:lnTo>
                    <a:pt x="470" y="422"/>
                  </a:lnTo>
                  <a:lnTo>
                    <a:pt x="471" y="421"/>
                  </a:lnTo>
                  <a:lnTo>
                    <a:pt x="474" y="421"/>
                  </a:lnTo>
                  <a:lnTo>
                    <a:pt x="475" y="419"/>
                  </a:lnTo>
                  <a:lnTo>
                    <a:pt x="476" y="419"/>
                  </a:lnTo>
                  <a:lnTo>
                    <a:pt x="477" y="422"/>
                  </a:lnTo>
                  <a:lnTo>
                    <a:pt x="478" y="423"/>
                  </a:lnTo>
                  <a:lnTo>
                    <a:pt x="483" y="423"/>
                  </a:lnTo>
                  <a:lnTo>
                    <a:pt x="484" y="421"/>
                  </a:lnTo>
                  <a:lnTo>
                    <a:pt x="487" y="422"/>
                  </a:lnTo>
                  <a:lnTo>
                    <a:pt x="489" y="423"/>
                  </a:lnTo>
                  <a:lnTo>
                    <a:pt x="492" y="422"/>
                  </a:lnTo>
                  <a:lnTo>
                    <a:pt x="495" y="422"/>
                  </a:lnTo>
                  <a:lnTo>
                    <a:pt x="493" y="424"/>
                  </a:lnTo>
                  <a:lnTo>
                    <a:pt x="493" y="427"/>
                  </a:lnTo>
                  <a:lnTo>
                    <a:pt x="490" y="428"/>
                  </a:lnTo>
                  <a:lnTo>
                    <a:pt x="492" y="430"/>
                  </a:lnTo>
                  <a:lnTo>
                    <a:pt x="492" y="432"/>
                  </a:lnTo>
                  <a:lnTo>
                    <a:pt x="490" y="432"/>
                  </a:lnTo>
                  <a:lnTo>
                    <a:pt x="488" y="429"/>
                  </a:lnTo>
                  <a:lnTo>
                    <a:pt x="484" y="430"/>
                  </a:lnTo>
                  <a:lnTo>
                    <a:pt x="484" y="433"/>
                  </a:lnTo>
                  <a:lnTo>
                    <a:pt x="483" y="434"/>
                  </a:lnTo>
                  <a:lnTo>
                    <a:pt x="487" y="434"/>
                  </a:lnTo>
                  <a:lnTo>
                    <a:pt x="492" y="433"/>
                  </a:lnTo>
                  <a:lnTo>
                    <a:pt x="494" y="432"/>
                  </a:lnTo>
                  <a:lnTo>
                    <a:pt x="489" y="434"/>
                  </a:lnTo>
                  <a:lnTo>
                    <a:pt x="489" y="435"/>
                  </a:lnTo>
                  <a:lnTo>
                    <a:pt x="489" y="436"/>
                  </a:lnTo>
                  <a:lnTo>
                    <a:pt x="494" y="435"/>
                  </a:lnTo>
                  <a:lnTo>
                    <a:pt x="498" y="435"/>
                  </a:lnTo>
                  <a:lnTo>
                    <a:pt x="494" y="438"/>
                  </a:lnTo>
                  <a:lnTo>
                    <a:pt x="492" y="440"/>
                  </a:lnTo>
                  <a:lnTo>
                    <a:pt x="492" y="442"/>
                  </a:lnTo>
                  <a:lnTo>
                    <a:pt x="495" y="442"/>
                  </a:lnTo>
                  <a:lnTo>
                    <a:pt x="497" y="440"/>
                  </a:lnTo>
                  <a:lnTo>
                    <a:pt x="499" y="440"/>
                  </a:lnTo>
                  <a:lnTo>
                    <a:pt x="500" y="442"/>
                  </a:lnTo>
                  <a:lnTo>
                    <a:pt x="503" y="444"/>
                  </a:lnTo>
                  <a:lnTo>
                    <a:pt x="504" y="446"/>
                  </a:lnTo>
                  <a:lnTo>
                    <a:pt x="506" y="446"/>
                  </a:lnTo>
                  <a:lnTo>
                    <a:pt x="509" y="444"/>
                  </a:lnTo>
                  <a:lnTo>
                    <a:pt x="512" y="446"/>
                  </a:lnTo>
                  <a:lnTo>
                    <a:pt x="515" y="446"/>
                  </a:lnTo>
                  <a:lnTo>
                    <a:pt x="518" y="446"/>
                  </a:lnTo>
                  <a:lnTo>
                    <a:pt x="521" y="444"/>
                  </a:lnTo>
                  <a:lnTo>
                    <a:pt x="522" y="442"/>
                  </a:lnTo>
                  <a:lnTo>
                    <a:pt x="521" y="441"/>
                  </a:lnTo>
                  <a:lnTo>
                    <a:pt x="522" y="442"/>
                  </a:lnTo>
                  <a:lnTo>
                    <a:pt x="525" y="446"/>
                  </a:lnTo>
                  <a:lnTo>
                    <a:pt x="527" y="450"/>
                  </a:lnTo>
                  <a:lnTo>
                    <a:pt x="529" y="452"/>
                  </a:lnTo>
                  <a:lnTo>
                    <a:pt x="533" y="456"/>
                  </a:lnTo>
                  <a:lnTo>
                    <a:pt x="534" y="454"/>
                  </a:lnTo>
                  <a:lnTo>
                    <a:pt x="534" y="450"/>
                  </a:lnTo>
                  <a:lnTo>
                    <a:pt x="531" y="447"/>
                  </a:lnTo>
                  <a:lnTo>
                    <a:pt x="533" y="446"/>
                  </a:lnTo>
                  <a:lnTo>
                    <a:pt x="534" y="445"/>
                  </a:lnTo>
                  <a:lnTo>
                    <a:pt x="536" y="446"/>
                  </a:lnTo>
                  <a:lnTo>
                    <a:pt x="541" y="448"/>
                  </a:lnTo>
                  <a:lnTo>
                    <a:pt x="542" y="448"/>
                  </a:lnTo>
                  <a:lnTo>
                    <a:pt x="545" y="454"/>
                  </a:lnTo>
                  <a:lnTo>
                    <a:pt x="547" y="458"/>
                  </a:lnTo>
                  <a:lnTo>
                    <a:pt x="546" y="464"/>
                  </a:lnTo>
                  <a:lnTo>
                    <a:pt x="549" y="465"/>
                  </a:lnTo>
                  <a:lnTo>
                    <a:pt x="553" y="466"/>
                  </a:lnTo>
                  <a:lnTo>
                    <a:pt x="553" y="468"/>
                  </a:lnTo>
                  <a:lnTo>
                    <a:pt x="557" y="469"/>
                  </a:lnTo>
                  <a:lnTo>
                    <a:pt x="562" y="470"/>
                  </a:lnTo>
                  <a:lnTo>
                    <a:pt x="563" y="470"/>
                  </a:lnTo>
                  <a:lnTo>
                    <a:pt x="565" y="468"/>
                  </a:lnTo>
                  <a:lnTo>
                    <a:pt x="565" y="465"/>
                  </a:lnTo>
                  <a:lnTo>
                    <a:pt x="564" y="465"/>
                  </a:lnTo>
                  <a:lnTo>
                    <a:pt x="562" y="465"/>
                  </a:lnTo>
                  <a:lnTo>
                    <a:pt x="562" y="462"/>
                  </a:lnTo>
                  <a:lnTo>
                    <a:pt x="560" y="460"/>
                  </a:lnTo>
                  <a:lnTo>
                    <a:pt x="557" y="459"/>
                  </a:lnTo>
                  <a:lnTo>
                    <a:pt x="556" y="458"/>
                  </a:lnTo>
                  <a:lnTo>
                    <a:pt x="553" y="456"/>
                  </a:lnTo>
                  <a:lnTo>
                    <a:pt x="556" y="453"/>
                  </a:lnTo>
                  <a:lnTo>
                    <a:pt x="559" y="452"/>
                  </a:lnTo>
                  <a:lnTo>
                    <a:pt x="560" y="450"/>
                  </a:lnTo>
                  <a:lnTo>
                    <a:pt x="558" y="447"/>
                  </a:lnTo>
                  <a:lnTo>
                    <a:pt x="554" y="447"/>
                  </a:lnTo>
                  <a:lnTo>
                    <a:pt x="552" y="446"/>
                  </a:lnTo>
                  <a:lnTo>
                    <a:pt x="551" y="442"/>
                  </a:lnTo>
                  <a:lnTo>
                    <a:pt x="549" y="439"/>
                  </a:lnTo>
                  <a:lnTo>
                    <a:pt x="545" y="436"/>
                  </a:lnTo>
                  <a:lnTo>
                    <a:pt x="545" y="434"/>
                  </a:lnTo>
                  <a:lnTo>
                    <a:pt x="547" y="436"/>
                  </a:lnTo>
                  <a:lnTo>
                    <a:pt x="552" y="441"/>
                  </a:lnTo>
                  <a:lnTo>
                    <a:pt x="556" y="444"/>
                  </a:lnTo>
                  <a:lnTo>
                    <a:pt x="560" y="446"/>
                  </a:lnTo>
                  <a:lnTo>
                    <a:pt x="562" y="446"/>
                  </a:lnTo>
                  <a:lnTo>
                    <a:pt x="564" y="441"/>
                  </a:lnTo>
                  <a:lnTo>
                    <a:pt x="564" y="445"/>
                  </a:lnTo>
                  <a:lnTo>
                    <a:pt x="566" y="448"/>
                  </a:lnTo>
                  <a:lnTo>
                    <a:pt x="569" y="448"/>
                  </a:lnTo>
                  <a:lnTo>
                    <a:pt x="571" y="447"/>
                  </a:lnTo>
                  <a:lnTo>
                    <a:pt x="571" y="445"/>
                  </a:lnTo>
                  <a:lnTo>
                    <a:pt x="572" y="445"/>
                  </a:lnTo>
                  <a:lnTo>
                    <a:pt x="576" y="447"/>
                  </a:lnTo>
                  <a:lnTo>
                    <a:pt x="582" y="447"/>
                  </a:lnTo>
                  <a:lnTo>
                    <a:pt x="586" y="447"/>
                  </a:lnTo>
                  <a:lnTo>
                    <a:pt x="587" y="445"/>
                  </a:lnTo>
                  <a:lnTo>
                    <a:pt x="589" y="445"/>
                  </a:lnTo>
                  <a:lnTo>
                    <a:pt x="589" y="442"/>
                  </a:lnTo>
                  <a:lnTo>
                    <a:pt x="592" y="440"/>
                  </a:lnTo>
                  <a:lnTo>
                    <a:pt x="598" y="441"/>
                  </a:lnTo>
                  <a:lnTo>
                    <a:pt x="598" y="438"/>
                  </a:lnTo>
                  <a:lnTo>
                    <a:pt x="599" y="436"/>
                  </a:lnTo>
                  <a:lnTo>
                    <a:pt x="600" y="436"/>
                  </a:lnTo>
                  <a:lnTo>
                    <a:pt x="602" y="438"/>
                  </a:lnTo>
                  <a:lnTo>
                    <a:pt x="604" y="435"/>
                  </a:lnTo>
                  <a:lnTo>
                    <a:pt x="610" y="435"/>
                  </a:lnTo>
                  <a:lnTo>
                    <a:pt x="612" y="434"/>
                  </a:lnTo>
                  <a:lnTo>
                    <a:pt x="613" y="434"/>
                  </a:lnTo>
                  <a:lnTo>
                    <a:pt x="615" y="432"/>
                  </a:lnTo>
                  <a:lnTo>
                    <a:pt x="615" y="429"/>
                  </a:lnTo>
                  <a:lnTo>
                    <a:pt x="617" y="429"/>
                  </a:lnTo>
                  <a:lnTo>
                    <a:pt x="621" y="432"/>
                  </a:lnTo>
                  <a:lnTo>
                    <a:pt x="623" y="432"/>
                  </a:lnTo>
                  <a:lnTo>
                    <a:pt x="622" y="428"/>
                  </a:lnTo>
                  <a:lnTo>
                    <a:pt x="622" y="426"/>
                  </a:lnTo>
                  <a:lnTo>
                    <a:pt x="622" y="423"/>
                  </a:lnTo>
                  <a:lnTo>
                    <a:pt x="623" y="421"/>
                  </a:lnTo>
                  <a:lnTo>
                    <a:pt x="629" y="423"/>
                  </a:lnTo>
                  <a:lnTo>
                    <a:pt x="633" y="419"/>
                  </a:lnTo>
                  <a:lnTo>
                    <a:pt x="634" y="419"/>
                  </a:lnTo>
                  <a:lnTo>
                    <a:pt x="637" y="419"/>
                  </a:lnTo>
                  <a:lnTo>
                    <a:pt x="640" y="418"/>
                  </a:lnTo>
                  <a:lnTo>
                    <a:pt x="643" y="417"/>
                  </a:lnTo>
                  <a:lnTo>
                    <a:pt x="643" y="415"/>
                  </a:lnTo>
                  <a:lnTo>
                    <a:pt x="642" y="412"/>
                  </a:lnTo>
                  <a:lnTo>
                    <a:pt x="642" y="410"/>
                  </a:lnTo>
                  <a:lnTo>
                    <a:pt x="643" y="407"/>
                  </a:lnTo>
                  <a:lnTo>
                    <a:pt x="642" y="405"/>
                  </a:lnTo>
                  <a:lnTo>
                    <a:pt x="637" y="405"/>
                  </a:lnTo>
                  <a:lnTo>
                    <a:pt x="636" y="406"/>
                  </a:lnTo>
                  <a:lnTo>
                    <a:pt x="630" y="406"/>
                  </a:lnTo>
                  <a:lnTo>
                    <a:pt x="631" y="406"/>
                  </a:lnTo>
                  <a:lnTo>
                    <a:pt x="629" y="406"/>
                  </a:lnTo>
                  <a:lnTo>
                    <a:pt x="623" y="409"/>
                  </a:lnTo>
                  <a:lnTo>
                    <a:pt x="623" y="407"/>
                  </a:lnTo>
                  <a:lnTo>
                    <a:pt x="621" y="410"/>
                  </a:lnTo>
                  <a:lnTo>
                    <a:pt x="618" y="410"/>
                  </a:lnTo>
                  <a:lnTo>
                    <a:pt x="619" y="407"/>
                  </a:lnTo>
                  <a:lnTo>
                    <a:pt x="622" y="404"/>
                  </a:lnTo>
                  <a:lnTo>
                    <a:pt x="623" y="400"/>
                  </a:lnTo>
                  <a:lnTo>
                    <a:pt x="622" y="399"/>
                  </a:lnTo>
                  <a:lnTo>
                    <a:pt x="621" y="398"/>
                  </a:lnTo>
                  <a:lnTo>
                    <a:pt x="619" y="399"/>
                  </a:lnTo>
                  <a:lnTo>
                    <a:pt x="617" y="401"/>
                  </a:lnTo>
                  <a:lnTo>
                    <a:pt x="613" y="399"/>
                  </a:lnTo>
                  <a:lnTo>
                    <a:pt x="615" y="397"/>
                  </a:lnTo>
                  <a:lnTo>
                    <a:pt x="619" y="395"/>
                  </a:lnTo>
                  <a:lnTo>
                    <a:pt x="621" y="394"/>
                  </a:lnTo>
                  <a:lnTo>
                    <a:pt x="624" y="393"/>
                  </a:lnTo>
                  <a:lnTo>
                    <a:pt x="625" y="391"/>
                  </a:lnTo>
                  <a:lnTo>
                    <a:pt x="625" y="388"/>
                  </a:lnTo>
                  <a:lnTo>
                    <a:pt x="628" y="386"/>
                  </a:lnTo>
                  <a:lnTo>
                    <a:pt x="629" y="386"/>
                  </a:lnTo>
                  <a:lnTo>
                    <a:pt x="630" y="389"/>
                  </a:lnTo>
                  <a:lnTo>
                    <a:pt x="634" y="389"/>
                  </a:lnTo>
                  <a:lnTo>
                    <a:pt x="637" y="389"/>
                  </a:lnTo>
                  <a:lnTo>
                    <a:pt x="639" y="387"/>
                  </a:lnTo>
                  <a:lnTo>
                    <a:pt x="640" y="383"/>
                  </a:lnTo>
                  <a:lnTo>
                    <a:pt x="637" y="383"/>
                  </a:lnTo>
                  <a:lnTo>
                    <a:pt x="634" y="383"/>
                  </a:lnTo>
                  <a:lnTo>
                    <a:pt x="633" y="383"/>
                  </a:lnTo>
                  <a:lnTo>
                    <a:pt x="630" y="382"/>
                  </a:lnTo>
                  <a:lnTo>
                    <a:pt x="631" y="380"/>
                  </a:lnTo>
                  <a:lnTo>
                    <a:pt x="634" y="379"/>
                  </a:lnTo>
                  <a:lnTo>
                    <a:pt x="634" y="376"/>
                  </a:lnTo>
                  <a:lnTo>
                    <a:pt x="634" y="373"/>
                  </a:lnTo>
                  <a:lnTo>
                    <a:pt x="636" y="376"/>
                  </a:lnTo>
                  <a:lnTo>
                    <a:pt x="637" y="377"/>
                  </a:lnTo>
                  <a:lnTo>
                    <a:pt x="640" y="379"/>
                  </a:lnTo>
                  <a:lnTo>
                    <a:pt x="643" y="381"/>
                  </a:lnTo>
                  <a:lnTo>
                    <a:pt x="648" y="381"/>
                  </a:lnTo>
                  <a:lnTo>
                    <a:pt x="653" y="381"/>
                  </a:lnTo>
                  <a:lnTo>
                    <a:pt x="654" y="379"/>
                  </a:lnTo>
                  <a:lnTo>
                    <a:pt x="655" y="375"/>
                  </a:lnTo>
                  <a:lnTo>
                    <a:pt x="654" y="373"/>
                  </a:lnTo>
                  <a:lnTo>
                    <a:pt x="649" y="375"/>
                  </a:lnTo>
                  <a:lnTo>
                    <a:pt x="646" y="374"/>
                  </a:lnTo>
                  <a:lnTo>
                    <a:pt x="645" y="374"/>
                  </a:lnTo>
                  <a:lnTo>
                    <a:pt x="643" y="373"/>
                  </a:lnTo>
                  <a:lnTo>
                    <a:pt x="642" y="370"/>
                  </a:lnTo>
                  <a:lnTo>
                    <a:pt x="641" y="370"/>
                  </a:lnTo>
                  <a:lnTo>
                    <a:pt x="640" y="374"/>
                  </a:lnTo>
                  <a:lnTo>
                    <a:pt x="639" y="371"/>
                  </a:lnTo>
                  <a:lnTo>
                    <a:pt x="637" y="370"/>
                  </a:lnTo>
                  <a:lnTo>
                    <a:pt x="636" y="368"/>
                  </a:lnTo>
                  <a:lnTo>
                    <a:pt x="635" y="364"/>
                  </a:lnTo>
                  <a:lnTo>
                    <a:pt x="637" y="362"/>
                  </a:lnTo>
                  <a:lnTo>
                    <a:pt x="640" y="361"/>
                  </a:lnTo>
                  <a:lnTo>
                    <a:pt x="642" y="364"/>
                  </a:lnTo>
                  <a:lnTo>
                    <a:pt x="643" y="367"/>
                  </a:lnTo>
                  <a:lnTo>
                    <a:pt x="646" y="370"/>
                  </a:lnTo>
                  <a:lnTo>
                    <a:pt x="649" y="371"/>
                  </a:lnTo>
                  <a:lnTo>
                    <a:pt x="652" y="369"/>
                  </a:lnTo>
                  <a:lnTo>
                    <a:pt x="651" y="368"/>
                  </a:lnTo>
                  <a:lnTo>
                    <a:pt x="651" y="367"/>
                  </a:lnTo>
                  <a:lnTo>
                    <a:pt x="653" y="368"/>
                  </a:lnTo>
                  <a:lnTo>
                    <a:pt x="655" y="369"/>
                  </a:lnTo>
                  <a:lnTo>
                    <a:pt x="660" y="369"/>
                  </a:lnTo>
                  <a:lnTo>
                    <a:pt x="660" y="367"/>
                  </a:lnTo>
                  <a:lnTo>
                    <a:pt x="658" y="365"/>
                  </a:lnTo>
                  <a:lnTo>
                    <a:pt x="655" y="364"/>
                  </a:lnTo>
                  <a:lnTo>
                    <a:pt x="653" y="364"/>
                  </a:lnTo>
                  <a:lnTo>
                    <a:pt x="648" y="363"/>
                  </a:lnTo>
                  <a:lnTo>
                    <a:pt x="648" y="362"/>
                  </a:lnTo>
                  <a:lnTo>
                    <a:pt x="651" y="359"/>
                  </a:lnTo>
                  <a:lnTo>
                    <a:pt x="654" y="359"/>
                  </a:lnTo>
                  <a:lnTo>
                    <a:pt x="658" y="362"/>
                  </a:lnTo>
                  <a:lnTo>
                    <a:pt x="659" y="364"/>
                  </a:lnTo>
                  <a:lnTo>
                    <a:pt x="661" y="369"/>
                  </a:lnTo>
                  <a:lnTo>
                    <a:pt x="664" y="369"/>
                  </a:lnTo>
                  <a:lnTo>
                    <a:pt x="667" y="367"/>
                  </a:lnTo>
                  <a:lnTo>
                    <a:pt x="670" y="367"/>
                  </a:lnTo>
                  <a:lnTo>
                    <a:pt x="671" y="367"/>
                  </a:lnTo>
                  <a:lnTo>
                    <a:pt x="672" y="363"/>
                  </a:lnTo>
                  <a:lnTo>
                    <a:pt x="671" y="363"/>
                  </a:lnTo>
                  <a:lnTo>
                    <a:pt x="670" y="362"/>
                  </a:lnTo>
                  <a:lnTo>
                    <a:pt x="666" y="362"/>
                  </a:lnTo>
                  <a:lnTo>
                    <a:pt x="664" y="362"/>
                  </a:lnTo>
                  <a:lnTo>
                    <a:pt x="661" y="364"/>
                  </a:lnTo>
                  <a:lnTo>
                    <a:pt x="660" y="364"/>
                  </a:lnTo>
                  <a:lnTo>
                    <a:pt x="660" y="362"/>
                  </a:lnTo>
                  <a:lnTo>
                    <a:pt x="661" y="361"/>
                  </a:lnTo>
                  <a:lnTo>
                    <a:pt x="664" y="358"/>
                  </a:lnTo>
                  <a:lnTo>
                    <a:pt x="667" y="357"/>
                  </a:lnTo>
                  <a:lnTo>
                    <a:pt x="667" y="356"/>
                  </a:lnTo>
                  <a:lnTo>
                    <a:pt x="669" y="353"/>
                  </a:lnTo>
                  <a:lnTo>
                    <a:pt x="671" y="352"/>
                  </a:lnTo>
                  <a:lnTo>
                    <a:pt x="675" y="353"/>
                  </a:lnTo>
                  <a:lnTo>
                    <a:pt x="677" y="352"/>
                  </a:lnTo>
                  <a:lnTo>
                    <a:pt x="678" y="350"/>
                  </a:lnTo>
                  <a:lnTo>
                    <a:pt x="678" y="345"/>
                  </a:lnTo>
                  <a:lnTo>
                    <a:pt x="678" y="343"/>
                  </a:lnTo>
                  <a:lnTo>
                    <a:pt x="681" y="343"/>
                  </a:lnTo>
                  <a:lnTo>
                    <a:pt x="684" y="340"/>
                  </a:lnTo>
                  <a:lnTo>
                    <a:pt x="686" y="337"/>
                  </a:lnTo>
                  <a:lnTo>
                    <a:pt x="688" y="334"/>
                  </a:lnTo>
                  <a:lnTo>
                    <a:pt x="687" y="332"/>
                  </a:lnTo>
                  <a:lnTo>
                    <a:pt x="684" y="329"/>
                  </a:lnTo>
                  <a:lnTo>
                    <a:pt x="682" y="331"/>
                  </a:lnTo>
                  <a:lnTo>
                    <a:pt x="680" y="334"/>
                  </a:lnTo>
                  <a:lnTo>
                    <a:pt x="678" y="335"/>
                  </a:lnTo>
                  <a:lnTo>
                    <a:pt x="676" y="338"/>
                  </a:lnTo>
                  <a:lnTo>
                    <a:pt x="676" y="337"/>
                  </a:lnTo>
                  <a:lnTo>
                    <a:pt x="676" y="334"/>
                  </a:lnTo>
                  <a:lnTo>
                    <a:pt x="677" y="333"/>
                  </a:lnTo>
                  <a:lnTo>
                    <a:pt x="676" y="331"/>
                  </a:lnTo>
                  <a:lnTo>
                    <a:pt x="672" y="331"/>
                  </a:lnTo>
                  <a:lnTo>
                    <a:pt x="670" y="329"/>
                  </a:lnTo>
                  <a:lnTo>
                    <a:pt x="670" y="328"/>
                  </a:lnTo>
                  <a:lnTo>
                    <a:pt x="667" y="327"/>
                  </a:lnTo>
                  <a:lnTo>
                    <a:pt x="667" y="325"/>
                  </a:lnTo>
                  <a:lnTo>
                    <a:pt x="665" y="323"/>
                  </a:lnTo>
                  <a:lnTo>
                    <a:pt x="661" y="325"/>
                  </a:lnTo>
                  <a:lnTo>
                    <a:pt x="659" y="327"/>
                  </a:lnTo>
                  <a:lnTo>
                    <a:pt x="655" y="328"/>
                  </a:lnTo>
                  <a:lnTo>
                    <a:pt x="652" y="328"/>
                  </a:lnTo>
                  <a:lnTo>
                    <a:pt x="651" y="326"/>
                  </a:lnTo>
                  <a:lnTo>
                    <a:pt x="649" y="328"/>
                  </a:lnTo>
                  <a:lnTo>
                    <a:pt x="646" y="328"/>
                  </a:lnTo>
                  <a:lnTo>
                    <a:pt x="643" y="327"/>
                  </a:lnTo>
                  <a:lnTo>
                    <a:pt x="641" y="326"/>
                  </a:lnTo>
                  <a:lnTo>
                    <a:pt x="640" y="323"/>
                  </a:lnTo>
                  <a:lnTo>
                    <a:pt x="637" y="323"/>
                  </a:lnTo>
                  <a:lnTo>
                    <a:pt x="637" y="328"/>
                  </a:lnTo>
                  <a:lnTo>
                    <a:pt x="635" y="327"/>
                  </a:lnTo>
                  <a:lnTo>
                    <a:pt x="633" y="327"/>
                  </a:lnTo>
                  <a:lnTo>
                    <a:pt x="631" y="328"/>
                  </a:lnTo>
                  <a:lnTo>
                    <a:pt x="628" y="328"/>
                  </a:lnTo>
                  <a:lnTo>
                    <a:pt x="624" y="326"/>
                  </a:lnTo>
                  <a:lnTo>
                    <a:pt x="622" y="326"/>
                  </a:lnTo>
                  <a:lnTo>
                    <a:pt x="622" y="323"/>
                  </a:lnTo>
                  <a:lnTo>
                    <a:pt x="623" y="321"/>
                  </a:lnTo>
                  <a:lnTo>
                    <a:pt x="621" y="320"/>
                  </a:lnTo>
                  <a:lnTo>
                    <a:pt x="618" y="321"/>
                  </a:lnTo>
                  <a:lnTo>
                    <a:pt x="615" y="321"/>
                  </a:lnTo>
                  <a:lnTo>
                    <a:pt x="611" y="319"/>
                  </a:lnTo>
                  <a:lnTo>
                    <a:pt x="608" y="321"/>
                  </a:lnTo>
                  <a:lnTo>
                    <a:pt x="607" y="321"/>
                  </a:lnTo>
                  <a:lnTo>
                    <a:pt x="605" y="319"/>
                  </a:lnTo>
                  <a:lnTo>
                    <a:pt x="604" y="314"/>
                  </a:lnTo>
                  <a:lnTo>
                    <a:pt x="601" y="315"/>
                  </a:lnTo>
                  <a:lnTo>
                    <a:pt x="601" y="317"/>
                  </a:lnTo>
                  <a:lnTo>
                    <a:pt x="599" y="319"/>
                  </a:lnTo>
                  <a:lnTo>
                    <a:pt x="596" y="317"/>
                  </a:lnTo>
                  <a:lnTo>
                    <a:pt x="594" y="320"/>
                  </a:lnTo>
                  <a:lnTo>
                    <a:pt x="593" y="319"/>
                  </a:lnTo>
                  <a:lnTo>
                    <a:pt x="593" y="315"/>
                  </a:lnTo>
                  <a:lnTo>
                    <a:pt x="594" y="314"/>
                  </a:lnTo>
                  <a:lnTo>
                    <a:pt x="594" y="311"/>
                  </a:lnTo>
                  <a:lnTo>
                    <a:pt x="593" y="311"/>
                  </a:lnTo>
                  <a:lnTo>
                    <a:pt x="588" y="312"/>
                  </a:lnTo>
                  <a:lnTo>
                    <a:pt x="587" y="312"/>
                  </a:lnTo>
                  <a:lnTo>
                    <a:pt x="588" y="309"/>
                  </a:lnTo>
                  <a:lnTo>
                    <a:pt x="592" y="306"/>
                  </a:lnTo>
                  <a:lnTo>
                    <a:pt x="593" y="308"/>
                  </a:lnTo>
                  <a:lnTo>
                    <a:pt x="595" y="309"/>
                  </a:lnTo>
                  <a:lnTo>
                    <a:pt x="596" y="310"/>
                  </a:lnTo>
                  <a:lnTo>
                    <a:pt x="600" y="309"/>
                  </a:lnTo>
                  <a:lnTo>
                    <a:pt x="600" y="306"/>
                  </a:lnTo>
                  <a:lnTo>
                    <a:pt x="600" y="305"/>
                  </a:lnTo>
                  <a:lnTo>
                    <a:pt x="598" y="304"/>
                  </a:lnTo>
                  <a:lnTo>
                    <a:pt x="596" y="303"/>
                  </a:lnTo>
                  <a:lnTo>
                    <a:pt x="598" y="302"/>
                  </a:lnTo>
                  <a:lnTo>
                    <a:pt x="600" y="302"/>
                  </a:lnTo>
                  <a:lnTo>
                    <a:pt x="602" y="300"/>
                  </a:lnTo>
                  <a:lnTo>
                    <a:pt x="605" y="300"/>
                  </a:lnTo>
                  <a:lnTo>
                    <a:pt x="606" y="303"/>
                  </a:lnTo>
                  <a:lnTo>
                    <a:pt x="608" y="304"/>
                  </a:lnTo>
                  <a:lnTo>
                    <a:pt x="610" y="304"/>
                  </a:lnTo>
                  <a:lnTo>
                    <a:pt x="615" y="303"/>
                  </a:lnTo>
                  <a:lnTo>
                    <a:pt x="615" y="300"/>
                  </a:lnTo>
                  <a:lnTo>
                    <a:pt x="616" y="298"/>
                  </a:lnTo>
                  <a:lnTo>
                    <a:pt x="617" y="298"/>
                  </a:lnTo>
                  <a:lnTo>
                    <a:pt x="619" y="297"/>
                  </a:lnTo>
                  <a:lnTo>
                    <a:pt x="622" y="298"/>
                  </a:lnTo>
                  <a:lnTo>
                    <a:pt x="624" y="296"/>
                  </a:lnTo>
                  <a:lnTo>
                    <a:pt x="627" y="293"/>
                  </a:lnTo>
                  <a:lnTo>
                    <a:pt x="627" y="292"/>
                  </a:lnTo>
                  <a:lnTo>
                    <a:pt x="625" y="290"/>
                  </a:lnTo>
                  <a:lnTo>
                    <a:pt x="624" y="288"/>
                  </a:lnTo>
                  <a:lnTo>
                    <a:pt x="622" y="287"/>
                  </a:lnTo>
                  <a:lnTo>
                    <a:pt x="621" y="290"/>
                  </a:lnTo>
                  <a:lnTo>
                    <a:pt x="618" y="291"/>
                  </a:lnTo>
                  <a:lnTo>
                    <a:pt x="616" y="292"/>
                  </a:lnTo>
                  <a:lnTo>
                    <a:pt x="613" y="291"/>
                  </a:lnTo>
                  <a:lnTo>
                    <a:pt x="611" y="288"/>
                  </a:lnTo>
                  <a:lnTo>
                    <a:pt x="610" y="288"/>
                  </a:lnTo>
                  <a:lnTo>
                    <a:pt x="607" y="291"/>
                  </a:lnTo>
                  <a:lnTo>
                    <a:pt x="605" y="290"/>
                  </a:lnTo>
                  <a:lnTo>
                    <a:pt x="604" y="287"/>
                  </a:lnTo>
                  <a:lnTo>
                    <a:pt x="601" y="287"/>
                  </a:lnTo>
                  <a:lnTo>
                    <a:pt x="599" y="290"/>
                  </a:lnTo>
                  <a:lnTo>
                    <a:pt x="598" y="290"/>
                  </a:lnTo>
                  <a:lnTo>
                    <a:pt x="596" y="287"/>
                  </a:lnTo>
                  <a:lnTo>
                    <a:pt x="600" y="286"/>
                  </a:lnTo>
                  <a:lnTo>
                    <a:pt x="600" y="284"/>
                  </a:lnTo>
                  <a:lnTo>
                    <a:pt x="598" y="281"/>
                  </a:lnTo>
                  <a:lnTo>
                    <a:pt x="595" y="280"/>
                  </a:lnTo>
                  <a:lnTo>
                    <a:pt x="595" y="279"/>
                  </a:lnTo>
                  <a:lnTo>
                    <a:pt x="596" y="278"/>
                  </a:lnTo>
                  <a:lnTo>
                    <a:pt x="600" y="275"/>
                  </a:lnTo>
                  <a:lnTo>
                    <a:pt x="605" y="274"/>
                  </a:lnTo>
                  <a:lnTo>
                    <a:pt x="605" y="272"/>
                  </a:lnTo>
                  <a:lnTo>
                    <a:pt x="605" y="267"/>
                  </a:lnTo>
                  <a:lnTo>
                    <a:pt x="602" y="267"/>
                  </a:lnTo>
                  <a:lnTo>
                    <a:pt x="600" y="266"/>
                  </a:lnTo>
                  <a:lnTo>
                    <a:pt x="601" y="263"/>
                  </a:lnTo>
                  <a:lnTo>
                    <a:pt x="602" y="261"/>
                  </a:lnTo>
                  <a:lnTo>
                    <a:pt x="605" y="261"/>
                  </a:lnTo>
                  <a:lnTo>
                    <a:pt x="610" y="260"/>
                  </a:lnTo>
                  <a:lnTo>
                    <a:pt x="612" y="258"/>
                  </a:lnTo>
                  <a:lnTo>
                    <a:pt x="615" y="256"/>
                  </a:lnTo>
                  <a:lnTo>
                    <a:pt x="617" y="256"/>
                  </a:lnTo>
                  <a:lnTo>
                    <a:pt x="618" y="255"/>
                  </a:lnTo>
                  <a:lnTo>
                    <a:pt x="617" y="252"/>
                  </a:lnTo>
                  <a:lnTo>
                    <a:pt x="616" y="250"/>
                  </a:lnTo>
                  <a:lnTo>
                    <a:pt x="616" y="248"/>
                  </a:lnTo>
                  <a:lnTo>
                    <a:pt x="615" y="246"/>
                  </a:lnTo>
                  <a:lnTo>
                    <a:pt x="612" y="245"/>
                  </a:lnTo>
                  <a:lnTo>
                    <a:pt x="611" y="246"/>
                  </a:lnTo>
                  <a:lnTo>
                    <a:pt x="610" y="248"/>
                  </a:lnTo>
                  <a:lnTo>
                    <a:pt x="608" y="249"/>
                  </a:lnTo>
                  <a:lnTo>
                    <a:pt x="607" y="250"/>
                  </a:lnTo>
                  <a:lnTo>
                    <a:pt x="605" y="250"/>
                  </a:lnTo>
                  <a:lnTo>
                    <a:pt x="601" y="249"/>
                  </a:lnTo>
                  <a:lnTo>
                    <a:pt x="601" y="246"/>
                  </a:lnTo>
                  <a:lnTo>
                    <a:pt x="602" y="245"/>
                  </a:lnTo>
                  <a:lnTo>
                    <a:pt x="601" y="243"/>
                  </a:lnTo>
                  <a:lnTo>
                    <a:pt x="600" y="244"/>
                  </a:lnTo>
                  <a:lnTo>
                    <a:pt x="598" y="245"/>
                  </a:lnTo>
                  <a:lnTo>
                    <a:pt x="596" y="246"/>
                  </a:lnTo>
                  <a:lnTo>
                    <a:pt x="593" y="245"/>
                  </a:lnTo>
                  <a:lnTo>
                    <a:pt x="590" y="244"/>
                  </a:lnTo>
                  <a:lnTo>
                    <a:pt x="590" y="242"/>
                  </a:lnTo>
                  <a:lnTo>
                    <a:pt x="588" y="240"/>
                  </a:lnTo>
                  <a:lnTo>
                    <a:pt x="587" y="240"/>
                  </a:lnTo>
                  <a:lnTo>
                    <a:pt x="586" y="239"/>
                  </a:lnTo>
                  <a:lnTo>
                    <a:pt x="584" y="240"/>
                  </a:lnTo>
                  <a:lnTo>
                    <a:pt x="583" y="243"/>
                  </a:lnTo>
                  <a:lnTo>
                    <a:pt x="582" y="243"/>
                  </a:lnTo>
                  <a:lnTo>
                    <a:pt x="582" y="239"/>
                  </a:lnTo>
                  <a:lnTo>
                    <a:pt x="582" y="238"/>
                  </a:lnTo>
                  <a:lnTo>
                    <a:pt x="580" y="240"/>
                  </a:lnTo>
                  <a:lnTo>
                    <a:pt x="577" y="242"/>
                  </a:lnTo>
                  <a:lnTo>
                    <a:pt x="576" y="239"/>
                  </a:lnTo>
                  <a:lnTo>
                    <a:pt x="577" y="237"/>
                  </a:lnTo>
                  <a:lnTo>
                    <a:pt x="576" y="236"/>
                  </a:lnTo>
                  <a:lnTo>
                    <a:pt x="574" y="236"/>
                  </a:lnTo>
                  <a:lnTo>
                    <a:pt x="572" y="237"/>
                  </a:lnTo>
                  <a:lnTo>
                    <a:pt x="570" y="236"/>
                  </a:lnTo>
                  <a:lnTo>
                    <a:pt x="568" y="234"/>
                  </a:lnTo>
                  <a:lnTo>
                    <a:pt x="571" y="234"/>
                  </a:lnTo>
                  <a:lnTo>
                    <a:pt x="572" y="233"/>
                  </a:lnTo>
                  <a:lnTo>
                    <a:pt x="571" y="231"/>
                  </a:lnTo>
                  <a:lnTo>
                    <a:pt x="571" y="230"/>
                  </a:lnTo>
                  <a:lnTo>
                    <a:pt x="571" y="226"/>
                  </a:lnTo>
                  <a:lnTo>
                    <a:pt x="574" y="225"/>
                  </a:lnTo>
                  <a:lnTo>
                    <a:pt x="572" y="230"/>
                  </a:lnTo>
                  <a:lnTo>
                    <a:pt x="574" y="231"/>
                  </a:lnTo>
                  <a:lnTo>
                    <a:pt x="575" y="231"/>
                  </a:lnTo>
                  <a:lnTo>
                    <a:pt x="576" y="234"/>
                  </a:lnTo>
                  <a:lnTo>
                    <a:pt x="577" y="234"/>
                  </a:lnTo>
                  <a:lnTo>
                    <a:pt x="580" y="232"/>
                  </a:lnTo>
                  <a:lnTo>
                    <a:pt x="581" y="231"/>
                  </a:lnTo>
                  <a:lnTo>
                    <a:pt x="580" y="228"/>
                  </a:lnTo>
                  <a:lnTo>
                    <a:pt x="577" y="225"/>
                  </a:lnTo>
                  <a:lnTo>
                    <a:pt x="580" y="225"/>
                  </a:lnTo>
                  <a:lnTo>
                    <a:pt x="582" y="231"/>
                  </a:lnTo>
                  <a:lnTo>
                    <a:pt x="583" y="230"/>
                  </a:lnTo>
                  <a:lnTo>
                    <a:pt x="584" y="232"/>
                  </a:lnTo>
                  <a:lnTo>
                    <a:pt x="584" y="234"/>
                  </a:lnTo>
                  <a:lnTo>
                    <a:pt x="586" y="236"/>
                  </a:lnTo>
                  <a:lnTo>
                    <a:pt x="589" y="237"/>
                  </a:lnTo>
                  <a:lnTo>
                    <a:pt x="590" y="237"/>
                  </a:lnTo>
                  <a:lnTo>
                    <a:pt x="593" y="236"/>
                  </a:lnTo>
                  <a:lnTo>
                    <a:pt x="593" y="234"/>
                  </a:lnTo>
                  <a:lnTo>
                    <a:pt x="593" y="233"/>
                  </a:lnTo>
                  <a:lnTo>
                    <a:pt x="590" y="232"/>
                  </a:lnTo>
                  <a:lnTo>
                    <a:pt x="590" y="231"/>
                  </a:lnTo>
                  <a:lnTo>
                    <a:pt x="590" y="227"/>
                  </a:lnTo>
                  <a:lnTo>
                    <a:pt x="587" y="227"/>
                  </a:lnTo>
                  <a:lnTo>
                    <a:pt x="587" y="226"/>
                  </a:lnTo>
                  <a:lnTo>
                    <a:pt x="586" y="225"/>
                  </a:lnTo>
                  <a:lnTo>
                    <a:pt x="584" y="224"/>
                  </a:lnTo>
                  <a:lnTo>
                    <a:pt x="583" y="224"/>
                  </a:lnTo>
                  <a:lnTo>
                    <a:pt x="581" y="221"/>
                  </a:lnTo>
                  <a:lnTo>
                    <a:pt x="582" y="219"/>
                  </a:lnTo>
                  <a:lnTo>
                    <a:pt x="583" y="216"/>
                  </a:lnTo>
                  <a:lnTo>
                    <a:pt x="584" y="218"/>
                  </a:lnTo>
                  <a:lnTo>
                    <a:pt x="584" y="221"/>
                  </a:lnTo>
                  <a:lnTo>
                    <a:pt x="584" y="222"/>
                  </a:lnTo>
                  <a:lnTo>
                    <a:pt x="587" y="224"/>
                  </a:lnTo>
                  <a:lnTo>
                    <a:pt x="593" y="221"/>
                  </a:lnTo>
                  <a:lnTo>
                    <a:pt x="590" y="221"/>
                  </a:lnTo>
                  <a:lnTo>
                    <a:pt x="589" y="220"/>
                  </a:lnTo>
                  <a:lnTo>
                    <a:pt x="593" y="219"/>
                  </a:lnTo>
                  <a:lnTo>
                    <a:pt x="594" y="221"/>
                  </a:lnTo>
                  <a:lnTo>
                    <a:pt x="593" y="224"/>
                  </a:lnTo>
                  <a:lnTo>
                    <a:pt x="596" y="225"/>
                  </a:lnTo>
                  <a:lnTo>
                    <a:pt x="598" y="224"/>
                  </a:lnTo>
                  <a:lnTo>
                    <a:pt x="599" y="224"/>
                  </a:lnTo>
                  <a:lnTo>
                    <a:pt x="600" y="221"/>
                  </a:lnTo>
                  <a:lnTo>
                    <a:pt x="601" y="222"/>
                  </a:lnTo>
                  <a:lnTo>
                    <a:pt x="605" y="222"/>
                  </a:lnTo>
                  <a:lnTo>
                    <a:pt x="607" y="222"/>
                  </a:lnTo>
                  <a:lnTo>
                    <a:pt x="610" y="221"/>
                  </a:lnTo>
                  <a:lnTo>
                    <a:pt x="612" y="221"/>
                  </a:lnTo>
                  <a:lnTo>
                    <a:pt x="613" y="225"/>
                  </a:lnTo>
                  <a:lnTo>
                    <a:pt x="618" y="227"/>
                  </a:lnTo>
                  <a:lnTo>
                    <a:pt x="619" y="228"/>
                  </a:lnTo>
                  <a:lnTo>
                    <a:pt x="622" y="226"/>
                  </a:lnTo>
                  <a:lnTo>
                    <a:pt x="627" y="222"/>
                  </a:lnTo>
                  <a:lnTo>
                    <a:pt x="628" y="220"/>
                  </a:lnTo>
                  <a:lnTo>
                    <a:pt x="629" y="218"/>
                  </a:lnTo>
                  <a:lnTo>
                    <a:pt x="625" y="216"/>
                  </a:lnTo>
                  <a:lnTo>
                    <a:pt x="628" y="214"/>
                  </a:lnTo>
                  <a:lnTo>
                    <a:pt x="630" y="213"/>
                  </a:lnTo>
                  <a:lnTo>
                    <a:pt x="631" y="210"/>
                  </a:lnTo>
                  <a:lnTo>
                    <a:pt x="634" y="209"/>
                  </a:lnTo>
                  <a:lnTo>
                    <a:pt x="635" y="208"/>
                  </a:lnTo>
                  <a:lnTo>
                    <a:pt x="640" y="207"/>
                  </a:lnTo>
                  <a:lnTo>
                    <a:pt x="642" y="205"/>
                  </a:lnTo>
                  <a:lnTo>
                    <a:pt x="643" y="203"/>
                  </a:lnTo>
                  <a:lnTo>
                    <a:pt x="647" y="201"/>
                  </a:lnTo>
                  <a:lnTo>
                    <a:pt x="649" y="196"/>
                  </a:lnTo>
                  <a:lnTo>
                    <a:pt x="651" y="195"/>
                  </a:lnTo>
                  <a:lnTo>
                    <a:pt x="651" y="193"/>
                  </a:lnTo>
                  <a:lnTo>
                    <a:pt x="649" y="192"/>
                  </a:lnTo>
                  <a:lnTo>
                    <a:pt x="643" y="192"/>
                  </a:lnTo>
                  <a:lnTo>
                    <a:pt x="641" y="193"/>
                  </a:lnTo>
                  <a:lnTo>
                    <a:pt x="637" y="192"/>
                  </a:lnTo>
                  <a:lnTo>
                    <a:pt x="634" y="195"/>
                  </a:lnTo>
                  <a:lnTo>
                    <a:pt x="629" y="193"/>
                  </a:lnTo>
                  <a:lnTo>
                    <a:pt x="634" y="192"/>
                  </a:lnTo>
                  <a:lnTo>
                    <a:pt x="635" y="190"/>
                  </a:lnTo>
                  <a:lnTo>
                    <a:pt x="634" y="189"/>
                  </a:lnTo>
                  <a:lnTo>
                    <a:pt x="631" y="187"/>
                  </a:lnTo>
                  <a:lnTo>
                    <a:pt x="634" y="184"/>
                  </a:lnTo>
                  <a:lnTo>
                    <a:pt x="637" y="183"/>
                  </a:lnTo>
                  <a:lnTo>
                    <a:pt x="637" y="178"/>
                  </a:lnTo>
                  <a:lnTo>
                    <a:pt x="635" y="177"/>
                  </a:lnTo>
                  <a:lnTo>
                    <a:pt x="634" y="177"/>
                  </a:lnTo>
                  <a:lnTo>
                    <a:pt x="631" y="180"/>
                  </a:lnTo>
                  <a:lnTo>
                    <a:pt x="629" y="181"/>
                  </a:lnTo>
                  <a:lnTo>
                    <a:pt x="628" y="179"/>
                  </a:lnTo>
                  <a:lnTo>
                    <a:pt x="625" y="181"/>
                  </a:lnTo>
                  <a:lnTo>
                    <a:pt x="623" y="183"/>
                  </a:lnTo>
                  <a:lnTo>
                    <a:pt x="624" y="180"/>
                  </a:lnTo>
                  <a:lnTo>
                    <a:pt x="625" y="177"/>
                  </a:lnTo>
                  <a:lnTo>
                    <a:pt x="628" y="178"/>
                  </a:lnTo>
                  <a:lnTo>
                    <a:pt x="629" y="177"/>
                  </a:lnTo>
                  <a:lnTo>
                    <a:pt x="630" y="175"/>
                  </a:lnTo>
                  <a:lnTo>
                    <a:pt x="631" y="177"/>
                  </a:lnTo>
                  <a:lnTo>
                    <a:pt x="634" y="175"/>
                  </a:lnTo>
                  <a:lnTo>
                    <a:pt x="634" y="172"/>
                  </a:lnTo>
                  <a:lnTo>
                    <a:pt x="631" y="171"/>
                  </a:lnTo>
                  <a:lnTo>
                    <a:pt x="629" y="169"/>
                  </a:lnTo>
                  <a:lnTo>
                    <a:pt x="627" y="171"/>
                  </a:lnTo>
                  <a:lnTo>
                    <a:pt x="624" y="172"/>
                  </a:lnTo>
                  <a:lnTo>
                    <a:pt x="623" y="172"/>
                  </a:lnTo>
                  <a:lnTo>
                    <a:pt x="624" y="171"/>
                  </a:lnTo>
                  <a:lnTo>
                    <a:pt x="631" y="167"/>
                  </a:lnTo>
                  <a:lnTo>
                    <a:pt x="633" y="167"/>
                  </a:lnTo>
                  <a:lnTo>
                    <a:pt x="635" y="165"/>
                  </a:lnTo>
                  <a:lnTo>
                    <a:pt x="636" y="162"/>
                  </a:lnTo>
                  <a:lnTo>
                    <a:pt x="637" y="160"/>
                  </a:lnTo>
                  <a:lnTo>
                    <a:pt x="639" y="157"/>
                  </a:lnTo>
                  <a:lnTo>
                    <a:pt x="636" y="155"/>
                  </a:lnTo>
                  <a:lnTo>
                    <a:pt x="634" y="155"/>
                  </a:lnTo>
                  <a:lnTo>
                    <a:pt x="634" y="157"/>
                  </a:lnTo>
                  <a:lnTo>
                    <a:pt x="631" y="157"/>
                  </a:lnTo>
                  <a:lnTo>
                    <a:pt x="630" y="157"/>
                  </a:lnTo>
                  <a:lnTo>
                    <a:pt x="628" y="159"/>
                  </a:lnTo>
                  <a:lnTo>
                    <a:pt x="625" y="161"/>
                  </a:lnTo>
                  <a:lnTo>
                    <a:pt x="624" y="160"/>
                  </a:lnTo>
                  <a:lnTo>
                    <a:pt x="619" y="161"/>
                  </a:lnTo>
                  <a:lnTo>
                    <a:pt x="618" y="165"/>
                  </a:lnTo>
                  <a:lnTo>
                    <a:pt x="616" y="163"/>
                  </a:lnTo>
                  <a:lnTo>
                    <a:pt x="616" y="162"/>
                  </a:lnTo>
                  <a:lnTo>
                    <a:pt x="617" y="160"/>
                  </a:lnTo>
                  <a:lnTo>
                    <a:pt x="618" y="159"/>
                  </a:lnTo>
                  <a:lnTo>
                    <a:pt x="623" y="159"/>
                  </a:lnTo>
                  <a:lnTo>
                    <a:pt x="628" y="157"/>
                  </a:lnTo>
                  <a:lnTo>
                    <a:pt x="629" y="155"/>
                  </a:lnTo>
                  <a:lnTo>
                    <a:pt x="630" y="150"/>
                  </a:lnTo>
                  <a:lnTo>
                    <a:pt x="633" y="148"/>
                  </a:lnTo>
                  <a:lnTo>
                    <a:pt x="631" y="143"/>
                  </a:lnTo>
                  <a:lnTo>
                    <a:pt x="631" y="141"/>
                  </a:lnTo>
                  <a:lnTo>
                    <a:pt x="629" y="138"/>
                  </a:lnTo>
                  <a:lnTo>
                    <a:pt x="628" y="138"/>
                  </a:lnTo>
                  <a:lnTo>
                    <a:pt x="627" y="138"/>
                  </a:lnTo>
                  <a:lnTo>
                    <a:pt x="624" y="138"/>
                  </a:lnTo>
                  <a:lnTo>
                    <a:pt x="624" y="141"/>
                  </a:lnTo>
                  <a:lnTo>
                    <a:pt x="625" y="144"/>
                  </a:lnTo>
                  <a:lnTo>
                    <a:pt x="623" y="147"/>
                  </a:lnTo>
                  <a:lnTo>
                    <a:pt x="622" y="149"/>
                  </a:lnTo>
                  <a:lnTo>
                    <a:pt x="621" y="150"/>
                  </a:lnTo>
                  <a:lnTo>
                    <a:pt x="618" y="149"/>
                  </a:lnTo>
                  <a:lnTo>
                    <a:pt x="615" y="148"/>
                  </a:lnTo>
                  <a:lnTo>
                    <a:pt x="612" y="148"/>
                  </a:lnTo>
                  <a:lnTo>
                    <a:pt x="608" y="149"/>
                  </a:lnTo>
                  <a:lnTo>
                    <a:pt x="610" y="153"/>
                  </a:lnTo>
                  <a:lnTo>
                    <a:pt x="610" y="156"/>
                  </a:lnTo>
                  <a:lnTo>
                    <a:pt x="612" y="162"/>
                  </a:lnTo>
                  <a:lnTo>
                    <a:pt x="610" y="161"/>
                  </a:lnTo>
                  <a:lnTo>
                    <a:pt x="608" y="159"/>
                  </a:lnTo>
                  <a:lnTo>
                    <a:pt x="607" y="154"/>
                  </a:lnTo>
                  <a:lnTo>
                    <a:pt x="604" y="151"/>
                  </a:lnTo>
                  <a:lnTo>
                    <a:pt x="600" y="151"/>
                  </a:lnTo>
                  <a:lnTo>
                    <a:pt x="598" y="154"/>
                  </a:lnTo>
                  <a:lnTo>
                    <a:pt x="599" y="156"/>
                  </a:lnTo>
                  <a:lnTo>
                    <a:pt x="596" y="157"/>
                  </a:lnTo>
                  <a:lnTo>
                    <a:pt x="594" y="160"/>
                  </a:lnTo>
                  <a:lnTo>
                    <a:pt x="594" y="162"/>
                  </a:lnTo>
                  <a:lnTo>
                    <a:pt x="594" y="165"/>
                  </a:lnTo>
                  <a:lnTo>
                    <a:pt x="594" y="166"/>
                  </a:lnTo>
                  <a:lnTo>
                    <a:pt x="593" y="165"/>
                  </a:lnTo>
                  <a:lnTo>
                    <a:pt x="592" y="161"/>
                  </a:lnTo>
                  <a:lnTo>
                    <a:pt x="589" y="163"/>
                  </a:lnTo>
                  <a:lnTo>
                    <a:pt x="586" y="163"/>
                  </a:lnTo>
                  <a:lnTo>
                    <a:pt x="583" y="167"/>
                  </a:lnTo>
                  <a:lnTo>
                    <a:pt x="582" y="169"/>
                  </a:lnTo>
                  <a:lnTo>
                    <a:pt x="580" y="169"/>
                  </a:lnTo>
                  <a:lnTo>
                    <a:pt x="577" y="168"/>
                  </a:lnTo>
                  <a:lnTo>
                    <a:pt x="576" y="168"/>
                  </a:lnTo>
                  <a:lnTo>
                    <a:pt x="575" y="165"/>
                  </a:lnTo>
                  <a:lnTo>
                    <a:pt x="574" y="162"/>
                  </a:lnTo>
                  <a:lnTo>
                    <a:pt x="570" y="161"/>
                  </a:lnTo>
                  <a:lnTo>
                    <a:pt x="565" y="160"/>
                  </a:lnTo>
                  <a:lnTo>
                    <a:pt x="566" y="159"/>
                  </a:lnTo>
                  <a:lnTo>
                    <a:pt x="570" y="161"/>
                  </a:lnTo>
                  <a:lnTo>
                    <a:pt x="571" y="159"/>
                  </a:lnTo>
                  <a:lnTo>
                    <a:pt x="572" y="156"/>
                  </a:lnTo>
                  <a:lnTo>
                    <a:pt x="576" y="154"/>
                  </a:lnTo>
                  <a:lnTo>
                    <a:pt x="577" y="153"/>
                  </a:lnTo>
                  <a:lnTo>
                    <a:pt x="576" y="149"/>
                  </a:lnTo>
                  <a:lnTo>
                    <a:pt x="575" y="147"/>
                  </a:lnTo>
                  <a:lnTo>
                    <a:pt x="576" y="148"/>
                  </a:lnTo>
                  <a:lnTo>
                    <a:pt x="577" y="147"/>
                  </a:lnTo>
                  <a:lnTo>
                    <a:pt x="577" y="142"/>
                  </a:lnTo>
                  <a:lnTo>
                    <a:pt x="578" y="139"/>
                  </a:lnTo>
                  <a:lnTo>
                    <a:pt x="582" y="136"/>
                  </a:lnTo>
                  <a:lnTo>
                    <a:pt x="587" y="135"/>
                  </a:lnTo>
                  <a:lnTo>
                    <a:pt x="589" y="137"/>
                  </a:lnTo>
                  <a:lnTo>
                    <a:pt x="588" y="139"/>
                  </a:lnTo>
                  <a:lnTo>
                    <a:pt x="588" y="138"/>
                  </a:lnTo>
                  <a:lnTo>
                    <a:pt x="586" y="138"/>
                  </a:lnTo>
                  <a:lnTo>
                    <a:pt x="581" y="141"/>
                  </a:lnTo>
                  <a:lnTo>
                    <a:pt x="578" y="144"/>
                  </a:lnTo>
                  <a:lnTo>
                    <a:pt x="580" y="148"/>
                  </a:lnTo>
                  <a:lnTo>
                    <a:pt x="583" y="150"/>
                  </a:lnTo>
                  <a:lnTo>
                    <a:pt x="587" y="151"/>
                  </a:lnTo>
                  <a:lnTo>
                    <a:pt x="588" y="149"/>
                  </a:lnTo>
                  <a:lnTo>
                    <a:pt x="590" y="150"/>
                  </a:lnTo>
                  <a:lnTo>
                    <a:pt x="593" y="149"/>
                  </a:lnTo>
                  <a:lnTo>
                    <a:pt x="593" y="148"/>
                  </a:lnTo>
                  <a:lnTo>
                    <a:pt x="596" y="149"/>
                  </a:lnTo>
                  <a:lnTo>
                    <a:pt x="598" y="147"/>
                  </a:lnTo>
                  <a:lnTo>
                    <a:pt x="600" y="145"/>
                  </a:lnTo>
                  <a:lnTo>
                    <a:pt x="601" y="143"/>
                  </a:lnTo>
                  <a:lnTo>
                    <a:pt x="599" y="142"/>
                  </a:lnTo>
                  <a:lnTo>
                    <a:pt x="598" y="139"/>
                  </a:lnTo>
                  <a:lnTo>
                    <a:pt x="599" y="138"/>
                  </a:lnTo>
                  <a:lnTo>
                    <a:pt x="602" y="135"/>
                  </a:lnTo>
                  <a:lnTo>
                    <a:pt x="602" y="139"/>
                  </a:lnTo>
                  <a:lnTo>
                    <a:pt x="606" y="138"/>
                  </a:lnTo>
                  <a:lnTo>
                    <a:pt x="606" y="136"/>
                  </a:lnTo>
                  <a:lnTo>
                    <a:pt x="608" y="135"/>
                  </a:lnTo>
                  <a:lnTo>
                    <a:pt x="612" y="133"/>
                  </a:lnTo>
                  <a:lnTo>
                    <a:pt x="615" y="132"/>
                  </a:lnTo>
                  <a:lnTo>
                    <a:pt x="612" y="131"/>
                  </a:lnTo>
                  <a:lnTo>
                    <a:pt x="611" y="130"/>
                  </a:lnTo>
                  <a:lnTo>
                    <a:pt x="611" y="127"/>
                  </a:lnTo>
                  <a:lnTo>
                    <a:pt x="612" y="126"/>
                  </a:lnTo>
                  <a:lnTo>
                    <a:pt x="613" y="125"/>
                  </a:lnTo>
                  <a:lnTo>
                    <a:pt x="613" y="123"/>
                  </a:lnTo>
                  <a:lnTo>
                    <a:pt x="611" y="121"/>
                  </a:lnTo>
                  <a:lnTo>
                    <a:pt x="610" y="121"/>
                  </a:lnTo>
                  <a:lnTo>
                    <a:pt x="610" y="118"/>
                  </a:lnTo>
                  <a:lnTo>
                    <a:pt x="607" y="118"/>
                  </a:lnTo>
                  <a:lnTo>
                    <a:pt x="607" y="120"/>
                  </a:lnTo>
                  <a:lnTo>
                    <a:pt x="607" y="124"/>
                  </a:lnTo>
                  <a:lnTo>
                    <a:pt x="605" y="123"/>
                  </a:lnTo>
                  <a:lnTo>
                    <a:pt x="602" y="120"/>
                  </a:lnTo>
                  <a:lnTo>
                    <a:pt x="601" y="120"/>
                  </a:lnTo>
                  <a:lnTo>
                    <a:pt x="602" y="127"/>
                  </a:lnTo>
                  <a:lnTo>
                    <a:pt x="605" y="130"/>
                  </a:lnTo>
                  <a:lnTo>
                    <a:pt x="602" y="131"/>
                  </a:lnTo>
                  <a:lnTo>
                    <a:pt x="601" y="130"/>
                  </a:lnTo>
                  <a:lnTo>
                    <a:pt x="601" y="126"/>
                  </a:lnTo>
                  <a:lnTo>
                    <a:pt x="599" y="124"/>
                  </a:lnTo>
                  <a:lnTo>
                    <a:pt x="598" y="125"/>
                  </a:lnTo>
                  <a:lnTo>
                    <a:pt x="595" y="126"/>
                  </a:lnTo>
                  <a:lnTo>
                    <a:pt x="593" y="125"/>
                  </a:lnTo>
                  <a:lnTo>
                    <a:pt x="593" y="124"/>
                  </a:lnTo>
                  <a:lnTo>
                    <a:pt x="592" y="125"/>
                  </a:lnTo>
                  <a:lnTo>
                    <a:pt x="589" y="126"/>
                  </a:lnTo>
                  <a:lnTo>
                    <a:pt x="587" y="126"/>
                  </a:lnTo>
                  <a:lnTo>
                    <a:pt x="587" y="127"/>
                  </a:lnTo>
                  <a:lnTo>
                    <a:pt x="586" y="129"/>
                  </a:lnTo>
                  <a:lnTo>
                    <a:pt x="584" y="131"/>
                  </a:lnTo>
                  <a:lnTo>
                    <a:pt x="584" y="130"/>
                  </a:lnTo>
                  <a:lnTo>
                    <a:pt x="584" y="125"/>
                  </a:lnTo>
                  <a:lnTo>
                    <a:pt x="581" y="121"/>
                  </a:lnTo>
                  <a:lnTo>
                    <a:pt x="580" y="120"/>
                  </a:lnTo>
                  <a:lnTo>
                    <a:pt x="578" y="125"/>
                  </a:lnTo>
                  <a:lnTo>
                    <a:pt x="576" y="124"/>
                  </a:lnTo>
                  <a:lnTo>
                    <a:pt x="575" y="123"/>
                  </a:lnTo>
                  <a:lnTo>
                    <a:pt x="575" y="121"/>
                  </a:lnTo>
                  <a:lnTo>
                    <a:pt x="576" y="119"/>
                  </a:lnTo>
                  <a:lnTo>
                    <a:pt x="575" y="117"/>
                  </a:lnTo>
                  <a:lnTo>
                    <a:pt x="572" y="114"/>
                  </a:lnTo>
                  <a:lnTo>
                    <a:pt x="571" y="115"/>
                  </a:lnTo>
                  <a:lnTo>
                    <a:pt x="570" y="117"/>
                  </a:lnTo>
                  <a:lnTo>
                    <a:pt x="568" y="114"/>
                  </a:lnTo>
                  <a:lnTo>
                    <a:pt x="563" y="111"/>
                  </a:lnTo>
                  <a:lnTo>
                    <a:pt x="563" y="109"/>
                  </a:lnTo>
                  <a:lnTo>
                    <a:pt x="562" y="107"/>
                  </a:lnTo>
                  <a:lnTo>
                    <a:pt x="562" y="105"/>
                  </a:lnTo>
                  <a:lnTo>
                    <a:pt x="562" y="102"/>
                  </a:lnTo>
                  <a:lnTo>
                    <a:pt x="559" y="101"/>
                  </a:lnTo>
                  <a:lnTo>
                    <a:pt x="558" y="101"/>
                  </a:lnTo>
                  <a:lnTo>
                    <a:pt x="556" y="100"/>
                  </a:lnTo>
                  <a:lnTo>
                    <a:pt x="557" y="97"/>
                  </a:lnTo>
                  <a:lnTo>
                    <a:pt x="559" y="100"/>
                  </a:lnTo>
                  <a:lnTo>
                    <a:pt x="562" y="98"/>
                  </a:lnTo>
                  <a:lnTo>
                    <a:pt x="564" y="96"/>
                  </a:lnTo>
                  <a:lnTo>
                    <a:pt x="565" y="95"/>
                  </a:lnTo>
                  <a:lnTo>
                    <a:pt x="566" y="91"/>
                  </a:lnTo>
                  <a:lnTo>
                    <a:pt x="568" y="88"/>
                  </a:lnTo>
                  <a:lnTo>
                    <a:pt x="566" y="86"/>
                  </a:lnTo>
                  <a:lnTo>
                    <a:pt x="565" y="85"/>
                  </a:lnTo>
                  <a:lnTo>
                    <a:pt x="562" y="85"/>
                  </a:lnTo>
                  <a:lnTo>
                    <a:pt x="562" y="89"/>
                  </a:lnTo>
                  <a:lnTo>
                    <a:pt x="560" y="90"/>
                  </a:lnTo>
                  <a:lnTo>
                    <a:pt x="558" y="89"/>
                  </a:lnTo>
                  <a:lnTo>
                    <a:pt x="554" y="90"/>
                  </a:lnTo>
                  <a:lnTo>
                    <a:pt x="554" y="94"/>
                  </a:lnTo>
                  <a:lnTo>
                    <a:pt x="552" y="96"/>
                  </a:lnTo>
                  <a:lnTo>
                    <a:pt x="551" y="95"/>
                  </a:lnTo>
                  <a:lnTo>
                    <a:pt x="552" y="90"/>
                  </a:lnTo>
                  <a:lnTo>
                    <a:pt x="551" y="90"/>
                  </a:lnTo>
                  <a:lnTo>
                    <a:pt x="554" y="86"/>
                  </a:lnTo>
                  <a:lnTo>
                    <a:pt x="553" y="85"/>
                  </a:lnTo>
                  <a:lnTo>
                    <a:pt x="552" y="83"/>
                  </a:lnTo>
                  <a:lnTo>
                    <a:pt x="547" y="84"/>
                  </a:lnTo>
                  <a:lnTo>
                    <a:pt x="547" y="88"/>
                  </a:lnTo>
                  <a:lnTo>
                    <a:pt x="543" y="90"/>
                  </a:lnTo>
                  <a:lnTo>
                    <a:pt x="541" y="90"/>
                  </a:lnTo>
                  <a:lnTo>
                    <a:pt x="543" y="85"/>
                  </a:lnTo>
                  <a:lnTo>
                    <a:pt x="545" y="83"/>
                  </a:lnTo>
                  <a:lnTo>
                    <a:pt x="547" y="79"/>
                  </a:lnTo>
                  <a:lnTo>
                    <a:pt x="546" y="78"/>
                  </a:lnTo>
                  <a:lnTo>
                    <a:pt x="543" y="78"/>
                  </a:lnTo>
                  <a:lnTo>
                    <a:pt x="543" y="77"/>
                  </a:lnTo>
                  <a:lnTo>
                    <a:pt x="542" y="78"/>
                  </a:lnTo>
                  <a:lnTo>
                    <a:pt x="541" y="80"/>
                  </a:lnTo>
                  <a:lnTo>
                    <a:pt x="540" y="82"/>
                  </a:lnTo>
                  <a:lnTo>
                    <a:pt x="537" y="80"/>
                  </a:lnTo>
                  <a:lnTo>
                    <a:pt x="536" y="83"/>
                  </a:lnTo>
                  <a:lnTo>
                    <a:pt x="534" y="85"/>
                  </a:lnTo>
                  <a:lnTo>
                    <a:pt x="530" y="86"/>
                  </a:lnTo>
                  <a:lnTo>
                    <a:pt x="529" y="86"/>
                  </a:lnTo>
                  <a:lnTo>
                    <a:pt x="530" y="82"/>
                  </a:lnTo>
                  <a:lnTo>
                    <a:pt x="528" y="82"/>
                  </a:lnTo>
                  <a:lnTo>
                    <a:pt x="527" y="82"/>
                  </a:lnTo>
                  <a:lnTo>
                    <a:pt x="525" y="79"/>
                  </a:lnTo>
                  <a:lnTo>
                    <a:pt x="522" y="79"/>
                  </a:lnTo>
                  <a:lnTo>
                    <a:pt x="522" y="77"/>
                  </a:lnTo>
                  <a:lnTo>
                    <a:pt x="524" y="76"/>
                  </a:lnTo>
                  <a:lnTo>
                    <a:pt x="528" y="74"/>
                  </a:lnTo>
                  <a:lnTo>
                    <a:pt x="529" y="73"/>
                  </a:lnTo>
                  <a:lnTo>
                    <a:pt x="528" y="71"/>
                  </a:lnTo>
                  <a:lnTo>
                    <a:pt x="523" y="71"/>
                  </a:lnTo>
                  <a:lnTo>
                    <a:pt x="521" y="71"/>
                  </a:lnTo>
                  <a:lnTo>
                    <a:pt x="522" y="68"/>
                  </a:lnTo>
                  <a:lnTo>
                    <a:pt x="525" y="67"/>
                  </a:lnTo>
                  <a:lnTo>
                    <a:pt x="528" y="64"/>
                  </a:lnTo>
                  <a:lnTo>
                    <a:pt x="528" y="61"/>
                  </a:lnTo>
                  <a:lnTo>
                    <a:pt x="529" y="59"/>
                  </a:lnTo>
                  <a:lnTo>
                    <a:pt x="527" y="58"/>
                  </a:lnTo>
                  <a:lnTo>
                    <a:pt x="523" y="61"/>
                  </a:lnTo>
                  <a:lnTo>
                    <a:pt x="522" y="64"/>
                  </a:lnTo>
                  <a:lnTo>
                    <a:pt x="519" y="62"/>
                  </a:lnTo>
                  <a:lnTo>
                    <a:pt x="518" y="59"/>
                  </a:lnTo>
                  <a:lnTo>
                    <a:pt x="521" y="56"/>
                  </a:lnTo>
                  <a:lnTo>
                    <a:pt x="522" y="55"/>
                  </a:lnTo>
                  <a:lnTo>
                    <a:pt x="522" y="54"/>
                  </a:lnTo>
                  <a:lnTo>
                    <a:pt x="521" y="52"/>
                  </a:lnTo>
                  <a:lnTo>
                    <a:pt x="519" y="50"/>
                  </a:lnTo>
                  <a:lnTo>
                    <a:pt x="519" y="49"/>
                  </a:lnTo>
                  <a:lnTo>
                    <a:pt x="515" y="50"/>
                  </a:lnTo>
                  <a:lnTo>
                    <a:pt x="513" y="49"/>
                  </a:lnTo>
                  <a:lnTo>
                    <a:pt x="516" y="47"/>
                  </a:lnTo>
                  <a:lnTo>
                    <a:pt x="519" y="46"/>
                  </a:lnTo>
                  <a:lnTo>
                    <a:pt x="521" y="43"/>
                  </a:lnTo>
                  <a:lnTo>
                    <a:pt x="519" y="41"/>
                  </a:lnTo>
                  <a:lnTo>
                    <a:pt x="518" y="40"/>
                  </a:lnTo>
                  <a:lnTo>
                    <a:pt x="513" y="41"/>
                  </a:lnTo>
                  <a:lnTo>
                    <a:pt x="512" y="43"/>
                  </a:lnTo>
                  <a:lnTo>
                    <a:pt x="510" y="42"/>
                  </a:lnTo>
                  <a:lnTo>
                    <a:pt x="509" y="40"/>
                  </a:lnTo>
                  <a:lnTo>
                    <a:pt x="506" y="38"/>
                  </a:lnTo>
                  <a:lnTo>
                    <a:pt x="503" y="41"/>
                  </a:lnTo>
                  <a:lnTo>
                    <a:pt x="498" y="42"/>
                  </a:lnTo>
                  <a:lnTo>
                    <a:pt x="495" y="41"/>
                  </a:lnTo>
                  <a:lnTo>
                    <a:pt x="495" y="40"/>
                  </a:lnTo>
                  <a:lnTo>
                    <a:pt x="501" y="37"/>
                  </a:lnTo>
                  <a:lnTo>
                    <a:pt x="501" y="35"/>
                  </a:lnTo>
                  <a:lnTo>
                    <a:pt x="506" y="35"/>
                  </a:lnTo>
                  <a:lnTo>
                    <a:pt x="510" y="32"/>
                  </a:lnTo>
                  <a:lnTo>
                    <a:pt x="511" y="32"/>
                  </a:lnTo>
                  <a:lnTo>
                    <a:pt x="513" y="30"/>
                  </a:lnTo>
                  <a:lnTo>
                    <a:pt x="511" y="26"/>
                  </a:lnTo>
                  <a:lnTo>
                    <a:pt x="506" y="26"/>
                  </a:lnTo>
                  <a:lnTo>
                    <a:pt x="506" y="24"/>
                  </a:lnTo>
                  <a:lnTo>
                    <a:pt x="505" y="23"/>
                  </a:lnTo>
                  <a:lnTo>
                    <a:pt x="501" y="22"/>
                  </a:lnTo>
                  <a:lnTo>
                    <a:pt x="499" y="25"/>
                  </a:lnTo>
                  <a:lnTo>
                    <a:pt x="497" y="26"/>
                  </a:lnTo>
                  <a:lnTo>
                    <a:pt x="497" y="23"/>
                  </a:lnTo>
                  <a:lnTo>
                    <a:pt x="497" y="22"/>
                  </a:lnTo>
                  <a:lnTo>
                    <a:pt x="495" y="22"/>
                  </a:lnTo>
                  <a:lnTo>
                    <a:pt x="490" y="22"/>
                  </a:lnTo>
                  <a:lnTo>
                    <a:pt x="489" y="26"/>
                  </a:lnTo>
                  <a:lnTo>
                    <a:pt x="488" y="26"/>
                  </a:lnTo>
                  <a:lnTo>
                    <a:pt x="488" y="22"/>
                  </a:lnTo>
                  <a:lnTo>
                    <a:pt x="487" y="18"/>
                  </a:lnTo>
                  <a:lnTo>
                    <a:pt x="486" y="14"/>
                  </a:lnTo>
                  <a:lnTo>
                    <a:pt x="486" y="12"/>
                  </a:lnTo>
                  <a:lnTo>
                    <a:pt x="483" y="12"/>
                  </a:lnTo>
                  <a:lnTo>
                    <a:pt x="482" y="12"/>
                  </a:lnTo>
                  <a:lnTo>
                    <a:pt x="480" y="13"/>
                  </a:lnTo>
                  <a:lnTo>
                    <a:pt x="478" y="14"/>
                  </a:lnTo>
                  <a:lnTo>
                    <a:pt x="476" y="13"/>
                  </a:lnTo>
                  <a:lnTo>
                    <a:pt x="475" y="13"/>
                  </a:lnTo>
                  <a:lnTo>
                    <a:pt x="475" y="11"/>
                  </a:lnTo>
                  <a:lnTo>
                    <a:pt x="476" y="10"/>
                  </a:lnTo>
                  <a:lnTo>
                    <a:pt x="477" y="7"/>
                  </a:lnTo>
                  <a:lnTo>
                    <a:pt x="477" y="6"/>
                  </a:lnTo>
                  <a:lnTo>
                    <a:pt x="477" y="4"/>
                  </a:lnTo>
                  <a:lnTo>
                    <a:pt x="478" y="2"/>
                  </a:lnTo>
                  <a:lnTo>
                    <a:pt x="477" y="1"/>
                  </a:lnTo>
                  <a:lnTo>
                    <a:pt x="477" y="0"/>
                  </a:lnTo>
                  <a:lnTo>
                    <a:pt x="476" y="0"/>
                  </a:lnTo>
                  <a:lnTo>
                    <a:pt x="474" y="1"/>
                  </a:lnTo>
                  <a:lnTo>
                    <a:pt x="474" y="2"/>
                  </a:lnTo>
                  <a:lnTo>
                    <a:pt x="474" y="5"/>
                  </a:lnTo>
                  <a:lnTo>
                    <a:pt x="471" y="6"/>
                  </a:lnTo>
                  <a:lnTo>
                    <a:pt x="471" y="5"/>
                  </a:lnTo>
                  <a:lnTo>
                    <a:pt x="471" y="2"/>
                  </a:lnTo>
                  <a:lnTo>
                    <a:pt x="471" y="1"/>
                  </a:lnTo>
                  <a:lnTo>
                    <a:pt x="469" y="0"/>
                  </a:lnTo>
                  <a:lnTo>
                    <a:pt x="466" y="0"/>
                  </a:lnTo>
                  <a:lnTo>
                    <a:pt x="466" y="2"/>
                  </a:lnTo>
                  <a:lnTo>
                    <a:pt x="465" y="4"/>
                  </a:lnTo>
                  <a:lnTo>
                    <a:pt x="464" y="5"/>
                  </a:lnTo>
                  <a:lnTo>
                    <a:pt x="462" y="6"/>
                  </a:lnTo>
                  <a:lnTo>
                    <a:pt x="462" y="8"/>
                  </a:lnTo>
                  <a:lnTo>
                    <a:pt x="462" y="11"/>
                  </a:lnTo>
                  <a:lnTo>
                    <a:pt x="463" y="12"/>
                  </a:lnTo>
                  <a:lnTo>
                    <a:pt x="463" y="13"/>
                  </a:lnTo>
                  <a:lnTo>
                    <a:pt x="462" y="13"/>
                  </a:lnTo>
                  <a:lnTo>
                    <a:pt x="460" y="13"/>
                  </a:lnTo>
                  <a:lnTo>
                    <a:pt x="460" y="16"/>
                  </a:lnTo>
                  <a:lnTo>
                    <a:pt x="460" y="18"/>
                  </a:lnTo>
                  <a:lnTo>
                    <a:pt x="459" y="19"/>
                  </a:lnTo>
                  <a:lnTo>
                    <a:pt x="458" y="22"/>
                  </a:lnTo>
                  <a:lnTo>
                    <a:pt x="457" y="20"/>
                  </a:lnTo>
                  <a:lnTo>
                    <a:pt x="456" y="19"/>
                  </a:lnTo>
                  <a:lnTo>
                    <a:pt x="454" y="19"/>
                  </a:lnTo>
                  <a:lnTo>
                    <a:pt x="453" y="19"/>
                  </a:lnTo>
                  <a:lnTo>
                    <a:pt x="451" y="20"/>
                  </a:lnTo>
                  <a:lnTo>
                    <a:pt x="451" y="22"/>
                  </a:lnTo>
                  <a:lnTo>
                    <a:pt x="452" y="23"/>
                  </a:lnTo>
                  <a:lnTo>
                    <a:pt x="452" y="25"/>
                  </a:lnTo>
                  <a:lnTo>
                    <a:pt x="453" y="26"/>
                  </a:lnTo>
                  <a:lnTo>
                    <a:pt x="456" y="28"/>
                  </a:lnTo>
                  <a:lnTo>
                    <a:pt x="458" y="28"/>
                  </a:lnTo>
                  <a:lnTo>
                    <a:pt x="459" y="28"/>
                  </a:lnTo>
                  <a:lnTo>
                    <a:pt x="460" y="30"/>
                  </a:lnTo>
                  <a:lnTo>
                    <a:pt x="460" y="32"/>
                  </a:lnTo>
                  <a:lnTo>
                    <a:pt x="459" y="32"/>
                  </a:lnTo>
                  <a:lnTo>
                    <a:pt x="457" y="32"/>
                  </a:lnTo>
                  <a:lnTo>
                    <a:pt x="456" y="31"/>
                  </a:lnTo>
                  <a:lnTo>
                    <a:pt x="453" y="29"/>
                  </a:lnTo>
                  <a:lnTo>
                    <a:pt x="452" y="28"/>
                  </a:lnTo>
                  <a:lnTo>
                    <a:pt x="451" y="25"/>
                  </a:lnTo>
                  <a:lnTo>
                    <a:pt x="450" y="23"/>
                  </a:lnTo>
                  <a:lnTo>
                    <a:pt x="448" y="22"/>
                  </a:lnTo>
                  <a:lnTo>
                    <a:pt x="446" y="20"/>
                  </a:lnTo>
                  <a:lnTo>
                    <a:pt x="445" y="20"/>
                  </a:lnTo>
                  <a:lnTo>
                    <a:pt x="444" y="22"/>
                  </a:lnTo>
                  <a:lnTo>
                    <a:pt x="442" y="24"/>
                  </a:lnTo>
                  <a:lnTo>
                    <a:pt x="444" y="26"/>
                  </a:lnTo>
                  <a:lnTo>
                    <a:pt x="445" y="29"/>
                  </a:lnTo>
                  <a:lnTo>
                    <a:pt x="447" y="34"/>
                  </a:lnTo>
                  <a:lnTo>
                    <a:pt x="450" y="35"/>
                  </a:lnTo>
                  <a:lnTo>
                    <a:pt x="451" y="36"/>
                  </a:lnTo>
                  <a:lnTo>
                    <a:pt x="450" y="37"/>
                  </a:lnTo>
                  <a:lnTo>
                    <a:pt x="448" y="37"/>
                  </a:lnTo>
                  <a:lnTo>
                    <a:pt x="448" y="38"/>
                  </a:lnTo>
                  <a:lnTo>
                    <a:pt x="448" y="40"/>
                  </a:lnTo>
                  <a:lnTo>
                    <a:pt x="450" y="40"/>
                  </a:lnTo>
                  <a:lnTo>
                    <a:pt x="451" y="41"/>
                  </a:lnTo>
                  <a:lnTo>
                    <a:pt x="453" y="41"/>
                  </a:lnTo>
                  <a:lnTo>
                    <a:pt x="454" y="40"/>
                  </a:lnTo>
                  <a:lnTo>
                    <a:pt x="456" y="40"/>
                  </a:lnTo>
                  <a:lnTo>
                    <a:pt x="456" y="41"/>
                  </a:lnTo>
                  <a:lnTo>
                    <a:pt x="454" y="41"/>
                  </a:lnTo>
                  <a:lnTo>
                    <a:pt x="453" y="42"/>
                  </a:lnTo>
                  <a:lnTo>
                    <a:pt x="456" y="43"/>
                  </a:lnTo>
                  <a:lnTo>
                    <a:pt x="457" y="43"/>
                  </a:lnTo>
                  <a:lnTo>
                    <a:pt x="457" y="46"/>
                  </a:lnTo>
                  <a:lnTo>
                    <a:pt x="454" y="46"/>
                  </a:lnTo>
                  <a:lnTo>
                    <a:pt x="452" y="46"/>
                  </a:lnTo>
                  <a:lnTo>
                    <a:pt x="450" y="46"/>
                  </a:lnTo>
                  <a:lnTo>
                    <a:pt x="448" y="44"/>
                  </a:lnTo>
                  <a:lnTo>
                    <a:pt x="448" y="43"/>
                  </a:lnTo>
                  <a:lnTo>
                    <a:pt x="447" y="43"/>
                  </a:lnTo>
                  <a:lnTo>
                    <a:pt x="446" y="43"/>
                  </a:lnTo>
                  <a:lnTo>
                    <a:pt x="445" y="44"/>
                  </a:lnTo>
                  <a:lnTo>
                    <a:pt x="444" y="46"/>
                  </a:lnTo>
                  <a:lnTo>
                    <a:pt x="446" y="50"/>
                  </a:lnTo>
                  <a:lnTo>
                    <a:pt x="448" y="52"/>
                  </a:lnTo>
                  <a:lnTo>
                    <a:pt x="450" y="53"/>
                  </a:lnTo>
                  <a:lnTo>
                    <a:pt x="452" y="54"/>
                  </a:lnTo>
                  <a:lnTo>
                    <a:pt x="453" y="53"/>
                  </a:lnTo>
                  <a:lnTo>
                    <a:pt x="456" y="52"/>
                  </a:lnTo>
                  <a:lnTo>
                    <a:pt x="457" y="49"/>
                  </a:lnTo>
                  <a:lnTo>
                    <a:pt x="459" y="49"/>
                  </a:lnTo>
                  <a:lnTo>
                    <a:pt x="462" y="49"/>
                  </a:lnTo>
                  <a:lnTo>
                    <a:pt x="464" y="49"/>
                  </a:lnTo>
                  <a:lnTo>
                    <a:pt x="464" y="50"/>
                  </a:lnTo>
                  <a:lnTo>
                    <a:pt x="463" y="52"/>
                  </a:lnTo>
                  <a:lnTo>
                    <a:pt x="462" y="52"/>
                  </a:lnTo>
                  <a:lnTo>
                    <a:pt x="459" y="52"/>
                  </a:lnTo>
                  <a:lnTo>
                    <a:pt x="458" y="52"/>
                  </a:lnTo>
                  <a:lnTo>
                    <a:pt x="457" y="52"/>
                  </a:lnTo>
                  <a:lnTo>
                    <a:pt x="457" y="53"/>
                  </a:lnTo>
                  <a:lnTo>
                    <a:pt x="458" y="54"/>
                  </a:lnTo>
                  <a:lnTo>
                    <a:pt x="459" y="54"/>
                  </a:lnTo>
                  <a:lnTo>
                    <a:pt x="462" y="54"/>
                  </a:lnTo>
                  <a:lnTo>
                    <a:pt x="460" y="55"/>
                  </a:lnTo>
                  <a:lnTo>
                    <a:pt x="460" y="56"/>
                  </a:lnTo>
                  <a:lnTo>
                    <a:pt x="460" y="59"/>
                  </a:lnTo>
                  <a:lnTo>
                    <a:pt x="463" y="59"/>
                  </a:lnTo>
                  <a:lnTo>
                    <a:pt x="464" y="59"/>
                  </a:lnTo>
                  <a:lnTo>
                    <a:pt x="465" y="58"/>
                  </a:lnTo>
                  <a:lnTo>
                    <a:pt x="465" y="56"/>
                  </a:lnTo>
                  <a:lnTo>
                    <a:pt x="465" y="55"/>
                  </a:lnTo>
                  <a:lnTo>
                    <a:pt x="465" y="54"/>
                  </a:lnTo>
                  <a:lnTo>
                    <a:pt x="465" y="53"/>
                  </a:lnTo>
                  <a:lnTo>
                    <a:pt x="466" y="53"/>
                  </a:lnTo>
                  <a:lnTo>
                    <a:pt x="469" y="53"/>
                  </a:lnTo>
                  <a:lnTo>
                    <a:pt x="470" y="53"/>
                  </a:lnTo>
                  <a:lnTo>
                    <a:pt x="470" y="54"/>
                  </a:lnTo>
                  <a:lnTo>
                    <a:pt x="470" y="55"/>
                  </a:lnTo>
                  <a:lnTo>
                    <a:pt x="469" y="55"/>
                  </a:lnTo>
                  <a:lnTo>
                    <a:pt x="468" y="54"/>
                  </a:lnTo>
                  <a:lnTo>
                    <a:pt x="466" y="55"/>
                  </a:lnTo>
                  <a:lnTo>
                    <a:pt x="468" y="56"/>
                  </a:lnTo>
                  <a:lnTo>
                    <a:pt x="466" y="58"/>
                  </a:lnTo>
                  <a:lnTo>
                    <a:pt x="466" y="59"/>
                  </a:lnTo>
                  <a:lnTo>
                    <a:pt x="465" y="59"/>
                  </a:lnTo>
                  <a:lnTo>
                    <a:pt x="464" y="60"/>
                  </a:lnTo>
                  <a:lnTo>
                    <a:pt x="463" y="60"/>
                  </a:lnTo>
                  <a:lnTo>
                    <a:pt x="462" y="60"/>
                  </a:lnTo>
                  <a:lnTo>
                    <a:pt x="460" y="60"/>
                  </a:lnTo>
                  <a:lnTo>
                    <a:pt x="460" y="61"/>
                  </a:lnTo>
                  <a:lnTo>
                    <a:pt x="462" y="61"/>
                  </a:lnTo>
                  <a:lnTo>
                    <a:pt x="464" y="64"/>
                  </a:lnTo>
                  <a:lnTo>
                    <a:pt x="465" y="65"/>
                  </a:lnTo>
                  <a:lnTo>
                    <a:pt x="464" y="66"/>
                  </a:lnTo>
                  <a:lnTo>
                    <a:pt x="462" y="66"/>
                  </a:lnTo>
                  <a:lnTo>
                    <a:pt x="460" y="65"/>
                  </a:lnTo>
                  <a:lnTo>
                    <a:pt x="459" y="65"/>
                  </a:lnTo>
                  <a:lnTo>
                    <a:pt x="459" y="66"/>
                  </a:lnTo>
                  <a:lnTo>
                    <a:pt x="459" y="67"/>
                  </a:lnTo>
                  <a:lnTo>
                    <a:pt x="458" y="67"/>
                  </a:lnTo>
                  <a:lnTo>
                    <a:pt x="457" y="67"/>
                  </a:lnTo>
                  <a:lnTo>
                    <a:pt x="456" y="67"/>
                  </a:lnTo>
                  <a:lnTo>
                    <a:pt x="454" y="67"/>
                  </a:lnTo>
                  <a:lnTo>
                    <a:pt x="453" y="68"/>
                  </a:lnTo>
                  <a:lnTo>
                    <a:pt x="453" y="67"/>
                  </a:lnTo>
                  <a:lnTo>
                    <a:pt x="453" y="66"/>
                  </a:lnTo>
                  <a:lnTo>
                    <a:pt x="452" y="66"/>
                  </a:lnTo>
                  <a:lnTo>
                    <a:pt x="452" y="65"/>
                  </a:lnTo>
                  <a:lnTo>
                    <a:pt x="451" y="65"/>
                  </a:lnTo>
                  <a:lnTo>
                    <a:pt x="450" y="65"/>
                  </a:lnTo>
                  <a:lnTo>
                    <a:pt x="448" y="65"/>
                  </a:lnTo>
                  <a:lnTo>
                    <a:pt x="447" y="65"/>
                  </a:lnTo>
                  <a:lnTo>
                    <a:pt x="446" y="66"/>
                  </a:lnTo>
                  <a:lnTo>
                    <a:pt x="445" y="66"/>
                  </a:lnTo>
                  <a:lnTo>
                    <a:pt x="441" y="66"/>
                  </a:lnTo>
                  <a:lnTo>
                    <a:pt x="441" y="65"/>
                  </a:lnTo>
                  <a:lnTo>
                    <a:pt x="440" y="64"/>
                  </a:lnTo>
                  <a:lnTo>
                    <a:pt x="440" y="62"/>
                  </a:lnTo>
                  <a:lnTo>
                    <a:pt x="439" y="61"/>
                  </a:lnTo>
                  <a:lnTo>
                    <a:pt x="436" y="61"/>
                  </a:lnTo>
                  <a:lnTo>
                    <a:pt x="435" y="62"/>
                  </a:lnTo>
                  <a:lnTo>
                    <a:pt x="434" y="64"/>
                  </a:lnTo>
                  <a:lnTo>
                    <a:pt x="434" y="65"/>
                  </a:lnTo>
                  <a:lnTo>
                    <a:pt x="434" y="66"/>
                  </a:lnTo>
                  <a:lnTo>
                    <a:pt x="433" y="65"/>
                  </a:lnTo>
                  <a:lnTo>
                    <a:pt x="431" y="64"/>
                  </a:lnTo>
                  <a:lnTo>
                    <a:pt x="429" y="65"/>
                  </a:lnTo>
                  <a:lnTo>
                    <a:pt x="428" y="65"/>
                  </a:lnTo>
                  <a:lnTo>
                    <a:pt x="427" y="66"/>
                  </a:lnTo>
                  <a:lnTo>
                    <a:pt x="427" y="67"/>
                  </a:lnTo>
                  <a:lnTo>
                    <a:pt x="428" y="68"/>
                  </a:lnTo>
                  <a:lnTo>
                    <a:pt x="429" y="70"/>
                  </a:lnTo>
                  <a:lnTo>
                    <a:pt x="430" y="71"/>
                  </a:lnTo>
                  <a:lnTo>
                    <a:pt x="430" y="72"/>
                  </a:lnTo>
                  <a:lnTo>
                    <a:pt x="431" y="73"/>
                  </a:lnTo>
                  <a:lnTo>
                    <a:pt x="433" y="73"/>
                  </a:lnTo>
                  <a:lnTo>
                    <a:pt x="434" y="72"/>
                  </a:lnTo>
                  <a:lnTo>
                    <a:pt x="436" y="73"/>
                  </a:lnTo>
                  <a:lnTo>
                    <a:pt x="438" y="74"/>
                  </a:lnTo>
                  <a:lnTo>
                    <a:pt x="439" y="77"/>
                  </a:lnTo>
                  <a:lnTo>
                    <a:pt x="440" y="77"/>
                  </a:lnTo>
                  <a:lnTo>
                    <a:pt x="441" y="79"/>
                  </a:lnTo>
                  <a:lnTo>
                    <a:pt x="442" y="79"/>
                  </a:lnTo>
                  <a:lnTo>
                    <a:pt x="445" y="80"/>
                  </a:lnTo>
                  <a:lnTo>
                    <a:pt x="447" y="79"/>
                  </a:lnTo>
                  <a:lnTo>
                    <a:pt x="448" y="79"/>
                  </a:lnTo>
                  <a:lnTo>
                    <a:pt x="450" y="80"/>
                  </a:lnTo>
                  <a:lnTo>
                    <a:pt x="450" y="82"/>
                  </a:lnTo>
                  <a:lnTo>
                    <a:pt x="450" y="83"/>
                  </a:lnTo>
                  <a:lnTo>
                    <a:pt x="450" y="84"/>
                  </a:lnTo>
                  <a:lnTo>
                    <a:pt x="452" y="85"/>
                  </a:lnTo>
                  <a:lnTo>
                    <a:pt x="453" y="84"/>
                  </a:lnTo>
                  <a:lnTo>
                    <a:pt x="454" y="84"/>
                  </a:lnTo>
                  <a:lnTo>
                    <a:pt x="456" y="82"/>
                  </a:lnTo>
                  <a:lnTo>
                    <a:pt x="454" y="80"/>
                  </a:lnTo>
                  <a:lnTo>
                    <a:pt x="457" y="80"/>
                  </a:lnTo>
                  <a:lnTo>
                    <a:pt x="459" y="80"/>
                  </a:lnTo>
                  <a:lnTo>
                    <a:pt x="460" y="82"/>
                  </a:lnTo>
                  <a:lnTo>
                    <a:pt x="460" y="83"/>
                  </a:lnTo>
                  <a:lnTo>
                    <a:pt x="462" y="85"/>
                  </a:lnTo>
                  <a:lnTo>
                    <a:pt x="460" y="86"/>
                  </a:lnTo>
                  <a:lnTo>
                    <a:pt x="458" y="85"/>
                  </a:lnTo>
                  <a:lnTo>
                    <a:pt x="458" y="84"/>
                  </a:lnTo>
                  <a:lnTo>
                    <a:pt x="457" y="84"/>
                  </a:lnTo>
                  <a:lnTo>
                    <a:pt x="454" y="85"/>
                  </a:lnTo>
                  <a:lnTo>
                    <a:pt x="453" y="85"/>
                  </a:lnTo>
                  <a:lnTo>
                    <a:pt x="452" y="88"/>
                  </a:lnTo>
                  <a:lnTo>
                    <a:pt x="453" y="89"/>
                  </a:lnTo>
                  <a:lnTo>
                    <a:pt x="453" y="91"/>
                  </a:lnTo>
                  <a:lnTo>
                    <a:pt x="454" y="92"/>
                  </a:lnTo>
                  <a:lnTo>
                    <a:pt x="456" y="94"/>
                  </a:lnTo>
                  <a:lnTo>
                    <a:pt x="456" y="96"/>
                  </a:lnTo>
                  <a:lnTo>
                    <a:pt x="456" y="97"/>
                  </a:lnTo>
                  <a:lnTo>
                    <a:pt x="453" y="96"/>
                  </a:lnTo>
                  <a:lnTo>
                    <a:pt x="453" y="94"/>
                  </a:lnTo>
                  <a:lnTo>
                    <a:pt x="452" y="94"/>
                  </a:lnTo>
                  <a:lnTo>
                    <a:pt x="451" y="96"/>
                  </a:lnTo>
                  <a:lnTo>
                    <a:pt x="451" y="97"/>
                  </a:lnTo>
                  <a:lnTo>
                    <a:pt x="448" y="97"/>
                  </a:lnTo>
                  <a:lnTo>
                    <a:pt x="448" y="96"/>
                  </a:lnTo>
                  <a:lnTo>
                    <a:pt x="448" y="94"/>
                  </a:lnTo>
                  <a:lnTo>
                    <a:pt x="447" y="94"/>
                  </a:lnTo>
                  <a:lnTo>
                    <a:pt x="446" y="96"/>
                  </a:lnTo>
                  <a:lnTo>
                    <a:pt x="445" y="96"/>
                  </a:lnTo>
                  <a:lnTo>
                    <a:pt x="445" y="94"/>
                  </a:lnTo>
                  <a:lnTo>
                    <a:pt x="444" y="92"/>
                  </a:lnTo>
                  <a:lnTo>
                    <a:pt x="442" y="92"/>
                  </a:lnTo>
                  <a:lnTo>
                    <a:pt x="441" y="92"/>
                  </a:lnTo>
                  <a:lnTo>
                    <a:pt x="440" y="92"/>
                  </a:lnTo>
                  <a:lnTo>
                    <a:pt x="440" y="94"/>
                  </a:lnTo>
                  <a:lnTo>
                    <a:pt x="439" y="92"/>
                  </a:lnTo>
                  <a:lnTo>
                    <a:pt x="440" y="90"/>
                  </a:lnTo>
                  <a:lnTo>
                    <a:pt x="440" y="89"/>
                  </a:lnTo>
                  <a:lnTo>
                    <a:pt x="441" y="86"/>
                  </a:lnTo>
                  <a:lnTo>
                    <a:pt x="441" y="84"/>
                  </a:lnTo>
                  <a:lnTo>
                    <a:pt x="441" y="83"/>
                  </a:lnTo>
                  <a:lnTo>
                    <a:pt x="441" y="82"/>
                  </a:lnTo>
                  <a:lnTo>
                    <a:pt x="439" y="83"/>
                  </a:lnTo>
                  <a:lnTo>
                    <a:pt x="438" y="82"/>
                  </a:lnTo>
                  <a:lnTo>
                    <a:pt x="436" y="82"/>
                  </a:lnTo>
                  <a:lnTo>
                    <a:pt x="435" y="83"/>
                  </a:lnTo>
                  <a:lnTo>
                    <a:pt x="435" y="85"/>
                  </a:lnTo>
                  <a:lnTo>
                    <a:pt x="434" y="88"/>
                  </a:lnTo>
                  <a:lnTo>
                    <a:pt x="434" y="91"/>
                  </a:lnTo>
                  <a:lnTo>
                    <a:pt x="434" y="92"/>
                  </a:lnTo>
                  <a:lnTo>
                    <a:pt x="433" y="94"/>
                  </a:lnTo>
                  <a:lnTo>
                    <a:pt x="433" y="91"/>
                  </a:lnTo>
                  <a:lnTo>
                    <a:pt x="433" y="89"/>
                  </a:lnTo>
                  <a:lnTo>
                    <a:pt x="433" y="85"/>
                  </a:lnTo>
                  <a:lnTo>
                    <a:pt x="433" y="83"/>
                  </a:lnTo>
                  <a:lnTo>
                    <a:pt x="433" y="80"/>
                  </a:lnTo>
                  <a:lnTo>
                    <a:pt x="431" y="79"/>
                  </a:lnTo>
                  <a:lnTo>
                    <a:pt x="429" y="80"/>
                  </a:lnTo>
                  <a:lnTo>
                    <a:pt x="429" y="82"/>
                  </a:lnTo>
                  <a:lnTo>
                    <a:pt x="428" y="83"/>
                  </a:lnTo>
                  <a:lnTo>
                    <a:pt x="427" y="82"/>
                  </a:lnTo>
                  <a:lnTo>
                    <a:pt x="425" y="82"/>
                  </a:lnTo>
                  <a:lnTo>
                    <a:pt x="424" y="82"/>
                  </a:lnTo>
                  <a:lnTo>
                    <a:pt x="424" y="83"/>
                  </a:lnTo>
                  <a:lnTo>
                    <a:pt x="423" y="84"/>
                  </a:lnTo>
                  <a:lnTo>
                    <a:pt x="423" y="83"/>
                  </a:lnTo>
                  <a:lnTo>
                    <a:pt x="422" y="82"/>
                  </a:lnTo>
                  <a:lnTo>
                    <a:pt x="421" y="82"/>
                  </a:lnTo>
                  <a:lnTo>
                    <a:pt x="422" y="84"/>
                  </a:lnTo>
                  <a:lnTo>
                    <a:pt x="422" y="88"/>
                  </a:lnTo>
                  <a:lnTo>
                    <a:pt x="422" y="89"/>
                  </a:lnTo>
                  <a:lnTo>
                    <a:pt x="423" y="91"/>
                  </a:lnTo>
                  <a:lnTo>
                    <a:pt x="424" y="92"/>
                  </a:lnTo>
                  <a:lnTo>
                    <a:pt x="424" y="95"/>
                  </a:lnTo>
                  <a:lnTo>
                    <a:pt x="424" y="97"/>
                  </a:lnTo>
                  <a:lnTo>
                    <a:pt x="425" y="98"/>
                  </a:lnTo>
                  <a:lnTo>
                    <a:pt x="427" y="100"/>
                  </a:lnTo>
                  <a:lnTo>
                    <a:pt x="427" y="101"/>
                  </a:lnTo>
                  <a:lnTo>
                    <a:pt x="425" y="101"/>
                  </a:lnTo>
                  <a:lnTo>
                    <a:pt x="424" y="101"/>
                  </a:lnTo>
                  <a:lnTo>
                    <a:pt x="424" y="103"/>
                  </a:lnTo>
                  <a:lnTo>
                    <a:pt x="424" y="105"/>
                  </a:lnTo>
                  <a:lnTo>
                    <a:pt x="424" y="107"/>
                  </a:lnTo>
                  <a:lnTo>
                    <a:pt x="424" y="109"/>
                  </a:lnTo>
                  <a:lnTo>
                    <a:pt x="425" y="112"/>
                  </a:lnTo>
                  <a:lnTo>
                    <a:pt x="425" y="113"/>
                  </a:lnTo>
                  <a:lnTo>
                    <a:pt x="424" y="114"/>
                  </a:lnTo>
                  <a:lnTo>
                    <a:pt x="423" y="113"/>
                  </a:lnTo>
                  <a:lnTo>
                    <a:pt x="422" y="112"/>
                  </a:lnTo>
                  <a:lnTo>
                    <a:pt x="422" y="111"/>
                  </a:lnTo>
                  <a:lnTo>
                    <a:pt x="422" y="109"/>
                  </a:lnTo>
                  <a:lnTo>
                    <a:pt x="422" y="108"/>
                  </a:lnTo>
                  <a:lnTo>
                    <a:pt x="422" y="106"/>
                  </a:lnTo>
                  <a:lnTo>
                    <a:pt x="422" y="105"/>
                  </a:lnTo>
                  <a:lnTo>
                    <a:pt x="422" y="103"/>
                  </a:lnTo>
                  <a:lnTo>
                    <a:pt x="421" y="103"/>
                  </a:lnTo>
                  <a:lnTo>
                    <a:pt x="419" y="103"/>
                  </a:lnTo>
                  <a:lnTo>
                    <a:pt x="419" y="106"/>
                  </a:lnTo>
                  <a:lnTo>
                    <a:pt x="418" y="107"/>
                  </a:lnTo>
                  <a:lnTo>
                    <a:pt x="417" y="108"/>
                  </a:lnTo>
                  <a:lnTo>
                    <a:pt x="416" y="107"/>
                  </a:lnTo>
                  <a:lnTo>
                    <a:pt x="417" y="106"/>
                  </a:lnTo>
                  <a:lnTo>
                    <a:pt x="418" y="105"/>
                  </a:lnTo>
                  <a:lnTo>
                    <a:pt x="418" y="103"/>
                  </a:lnTo>
                  <a:lnTo>
                    <a:pt x="418" y="102"/>
                  </a:lnTo>
                  <a:lnTo>
                    <a:pt x="417" y="102"/>
                  </a:lnTo>
                  <a:lnTo>
                    <a:pt x="416" y="101"/>
                  </a:lnTo>
                  <a:lnTo>
                    <a:pt x="416" y="100"/>
                  </a:lnTo>
                  <a:lnTo>
                    <a:pt x="415" y="100"/>
                  </a:lnTo>
                  <a:lnTo>
                    <a:pt x="413" y="101"/>
                  </a:lnTo>
                  <a:lnTo>
                    <a:pt x="413" y="102"/>
                  </a:lnTo>
                  <a:lnTo>
                    <a:pt x="411" y="102"/>
                  </a:lnTo>
                  <a:lnTo>
                    <a:pt x="411" y="101"/>
                  </a:lnTo>
                  <a:lnTo>
                    <a:pt x="411" y="100"/>
                  </a:lnTo>
                  <a:lnTo>
                    <a:pt x="410" y="98"/>
                  </a:lnTo>
                  <a:lnTo>
                    <a:pt x="410" y="97"/>
                  </a:lnTo>
                  <a:lnTo>
                    <a:pt x="409" y="96"/>
                  </a:lnTo>
                  <a:lnTo>
                    <a:pt x="407" y="96"/>
                  </a:lnTo>
                  <a:lnTo>
                    <a:pt x="405" y="96"/>
                  </a:lnTo>
                  <a:lnTo>
                    <a:pt x="405" y="97"/>
                  </a:lnTo>
                  <a:lnTo>
                    <a:pt x="404" y="100"/>
                  </a:lnTo>
                  <a:lnTo>
                    <a:pt x="404" y="101"/>
                  </a:lnTo>
                  <a:lnTo>
                    <a:pt x="404" y="102"/>
                  </a:lnTo>
                  <a:lnTo>
                    <a:pt x="405" y="103"/>
                  </a:lnTo>
                  <a:lnTo>
                    <a:pt x="406" y="106"/>
                  </a:lnTo>
                  <a:lnTo>
                    <a:pt x="404" y="106"/>
                  </a:lnTo>
                  <a:lnTo>
                    <a:pt x="403" y="107"/>
                  </a:lnTo>
                  <a:lnTo>
                    <a:pt x="403" y="109"/>
                  </a:lnTo>
                  <a:lnTo>
                    <a:pt x="404" y="109"/>
                  </a:lnTo>
                  <a:lnTo>
                    <a:pt x="405" y="111"/>
                  </a:lnTo>
                  <a:lnTo>
                    <a:pt x="406" y="111"/>
                  </a:lnTo>
                  <a:lnTo>
                    <a:pt x="406" y="112"/>
                  </a:lnTo>
                  <a:lnTo>
                    <a:pt x="406" y="113"/>
                  </a:lnTo>
                  <a:lnTo>
                    <a:pt x="407" y="113"/>
                  </a:lnTo>
                  <a:lnTo>
                    <a:pt x="409" y="112"/>
                  </a:lnTo>
                  <a:lnTo>
                    <a:pt x="410" y="113"/>
                  </a:lnTo>
                  <a:lnTo>
                    <a:pt x="410" y="115"/>
                  </a:lnTo>
                  <a:lnTo>
                    <a:pt x="412" y="115"/>
                  </a:lnTo>
                  <a:lnTo>
                    <a:pt x="411" y="118"/>
                  </a:lnTo>
                  <a:lnTo>
                    <a:pt x="411" y="119"/>
                  </a:lnTo>
                  <a:lnTo>
                    <a:pt x="412" y="119"/>
                  </a:lnTo>
                  <a:lnTo>
                    <a:pt x="413" y="120"/>
                  </a:lnTo>
                  <a:lnTo>
                    <a:pt x="415" y="120"/>
                  </a:lnTo>
                  <a:lnTo>
                    <a:pt x="413" y="123"/>
                  </a:lnTo>
                  <a:lnTo>
                    <a:pt x="415" y="124"/>
                  </a:lnTo>
                  <a:lnTo>
                    <a:pt x="416" y="124"/>
                  </a:lnTo>
                  <a:lnTo>
                    <a:pt x="417" y="123"/>
                  </a:lnTo>
                  <a:lnTo>
                    <a:pt x="419" y="123"/>
                  </a:lnTo>
                  <a:lnTo>
                    <a:pt x="418" y="124"/>
                  </a:lnTo>
                  <a:lnTo>
                    <a:pt x="418" y="126"/>
                  </a:lnTo>
                  <a:lnTo>
                    <a:pt x="418" y="127"/>
                  </a:lnTo>
                  <a:lnTo>
                    <a:pt x="417" y="126"/>
                  </a:lnTo>
                  <a:lnTo>
                    <a:pt x="416" y="126"/>
                  </a:lnTo>
                  <a:lnTo>
                    <a:pt x="415" y="126"/>
                  </a:lnTo>
                  <a:lnTo>
                    <a:pt x="413" y="126"/>
                  </a:lnTo>
                  <a:lnTo>
                    <a:pt x="412" y="125"/>
                  </a:lnTo>
                  <a:lnTo>
                    <a:pt x="412" y="123"/>
                  </a:lnTo>
                  <a:lnTo>
                    <a:pt x="411" y="121"/>
                  </a:lnTo>
                  <a:lnTo>
                    <a:pt x="410" y="120"/>
                  </a:lnTo>
                  <a:lnTo>
                    <a:pt x="409" y="119"/>
                  </a:lnTo>
                  <a:lnTo>
                    <a:pt x="409" y="118"/>
                  </a:lnTo>
                  <a:lnTo>
                    <a:pt x="409" y="117"/>
                  </a:lnTo>
                  <a:lnTo>
                    <a:pt x="407" y="115"/>
                  </a:lnTo>
                  <a:lnTo>
                    <a:pt x="407" y="114"/>
                  </a:lnTo>
                  <a:lnTo>
                    <a:pt x="406" y="114"/>
                  </a:lnTo>
                  <a:lnTo>
                    <a:pt x="405" y="115"/>
                  </a:lnTo>
                  <a:lnTo>
                    <a:pt x="405" y="117"/>
                  </a:lnTo>
                  <a:lnTo>
                    <a:pt x="404" y="117"/>
                  </a:lnTo>
                  <a:lnTo>
                    <a:pt x="404" y="118"/>
                  </a:lnTo>
                  <a:lnTo>
                    <a:pt x="406" y="120"/>
                  </a:lnTo>
                  <a:lnTo>
                    <a:pt x="406" y="121"/>
                  </a:lnTo>
                  <a:lnTo>
                    <a:pt x="406" y="123"/>
                  </a:lnTo>
                  <a:lnTo>
                    <a:pt x="409" y="124"/>
                  </a:lnTo>
                  <a:lnTo>
                    <a:pt x="407" y="125"/>
                  </a:lnTo>
                  <a:lnTo>
                    <a:pt x="406" y="125"/>
                  </a:lnTo>
                  <a:lnTo>
                    <a:pt x="405" y="125"/>
                  </a:lnTo>
                  <a:lnTo>
                    <a:pt x="404" y="124"/>
                  </a:lnTo>
                  <a:lnTo>
                    <a:pt x="404" y="123"/>
                  </a:lnTo>
                  <a:lnTo>
                    <a:pt x="404" y="120"/>
                  </a:lnTo>
                  <a:lnTo>
                    <a:pt x="404" y="119"/>
                  </a:lnTo>
                  <a:lnTo>
                    <a:pt x="403" y="117"/>
                  </a:lnTo>
                  <a:lnTo>
                    <a:pt x="403" y="114"/>
                  </a:lnTo>
                  <a:lnTo>
                    <a:pt x="404" y="113"/>
                  </a:lnTo>
                  <a:lnTo>
                    <a:pt x="403" y="112"/>
                  </a:lnTo>
                  <a:lnTo>
                    <a:pt x="401" y="111"/>
                  </a:lnTo>
                  <a:lnTo>
                    <a:pt x="400" y="109"/>
                  </a:lnTo>
                  <a:lnTo>
                    <a:pt x="399" y="111"/>
                  </a:lnTo>
                  <a:lnTo>
                    <a:pt x="399" y="112"/>
                  </a:lnTo>
                  <a:lnTo>
                    <a:pt x="398" y="112"/>
                  </a:lnTo>
                  <a:lnTo>
                    <a:pt x="398" y="113"/>
                  </a:lnTo>
                  <a:lnTo>
                    <a:pt x="399" y="115"/>
                  </a:lnTo>
                  <a:lnTo>
                    <a:pt x="400" y="117"/>
                  </a:lnTo>
                  <a:lnTo>
                    <a:pt x="400" y="118"/>
                  </a:lnTo>
                  <a:lnTo>
                    <a:pt x="399" y="120"/>
                  </a:lnTo>
                  <a:lnTo>
                    <a:pt x="399" y="123"/>
                  </a:lnTo>
                  <a:lnTo>
                    <a:pt x="399" y="125"/>
                  </a:lnTo>
                  <a:lnTo>
                    <a:pt x="398" y="125"/>
                  </a:lnTo>
                  <a:lnTo>
                    <a:pt x="397" y="124"/>
                  </a:lnTo>
                  <a:lnTo>
                    <a:pt x="397" y="123"/>
                  </a:lnTo>
                  <a:lnTo>
                    <a:pt x="395" y="121"/>
                  </a:lnTo>
                  <a:lnTo>
                    <a:pt x="395" y="120"/>
                  </a:lnTo>
                  <a:lnTo>
                    <a:pt x="397" y="118"/>
                  </a:lnTo>
                  <a:lnTo>
                    <a:pt x="395" y="118"/>
                  </a:lnTo>
                  <a:lnTo>
                    <a:pt x="393" y="117"/>
                  </a:lnTo>
                  <a:lnTo>
                    <a:pt x="392" y="117"/>
                  </a:lnTo>
                  <a:lnTo>
                    <a:pt x="391" y="118"/>
                  </a:lnTo>
                  <a:lnTo>
                    <a:pt x="391" y="119"/>
                  </a:lnTo>
                  <a:lnTo>
                    <a:pt x="391" y="120"/>
                  </a:lnTo>
                  <a:lnTo>
                    <a:pt x="392" y="123"/>
                  </a:lnTo>
                  <a:lnTo>
                    <a:pt x="393" y="124"/>
                  </a:lnTo>
                  <a:lnTo>
                    <a:pt x="392" y="124"/>
                  </a:lnTo>
                  <a:lnTo>
                    <a:pt x="391" y="121"/>
                  </a:lnTo>
                  <a:lnTo>
                    <a:pt x="391" y="120"/>
                  </a:lnTo>
                  <a:lnTo>
                    <a:pt x="391" y="119"/>
                  </a:lnTo>
                  <a:lnTo>
                    <a:pt x="389" y="118"/>
                  </a:lnTo>
                  <a:lnTo>
                    <a:pt x="388" y="118"/>
                  </a:lnTo>
                  <a:lnTo>
                    <a:pt x="386" y="119"/>
                  </a:lnTo>
                  <a:lnTo>
                    <a:pt x="385" y="119"/>
                  </a:lnTo>
                  <a:lnTo>
                    <a:pt x="385" y="117"/>
                  </a:lnTo>
                  <a:lnTo>
                    <a:pt x="385" y="115"/>
                  </a:lnTo>
                  <a:lnTo>
                    <a:pt x="386" y="114"/>
                  </a:lnTo>
                  <a:lnTo>
                    <a:pt x="387" y="113"/>
                  </a:lnTo>
                  <a:lnTo>
                    <a:pt x="387" y="112"/>
                  </a:lnTo>
                  <a:lnTo>
                    <a:pt x="388" y="112"/>
                  </a:lnTo>
                  <a:lnTo>
                    <a:pt x="388" y="111"/>
                  </a:lnTo>
                  <a:lnTo>
                    <a:pt x="389" y="109"/>
                  </a:lnTo>
                  <a:lnTo>
                    <a:pt x="389" y="108"/>
                  </a:lnTo>
                  <a:lnTo>
                    <a:pt x="388" y="107"/>
                  </a:lnTo>
                  <a:lnTo>
                    <a:pt x="387" y="106"/>
                  </a:lnTo>
                  <a:lnTo>
                    <a:pt x="385" y="107"/>
                  </a:lnTo>
                  <a:lnTo>
                    <a:pt x="383" y="107"/>
                  </a:lnTo>
                  <a:lnTo>
                    <a:pt x="382" y="107"/>
                  </a:lnTo>
                  <a:lnTo>
                    <a:pt x="383" y="106"/>
                  </a:lnTo>
                  <a:lnTo>
                    <a:pt x="385" y="105"/>
                  </a:lnTo>
                  <a:lnTo>
                    <a:pt x="387" y="105"/>
                  </a:lnTo>
                  <a:lnTo>
                    <a:pt x="388" y="103"/>
                  </a:lnTo>
                  <a:lnTo>
                    <a:pt x="389" y="103"/>
                  </a:lnTo>
                  <a:lnTo>
                    <a:pt x="389" y="105"/>
                  </a:lnTo>
                  <a:lnTo>
                    <a:pt x="389" y="106"/>
                  </a:lnTo>
                  <a:lnTo>
                    <a:pt x="391" y="106"/>
                  </a:lnTo>
                  <a:lnTo>
                    <a:pt x="392" y="105"/>
                  </a:lnTo>
                  <a:lnTo>
                    <a:pt x="393" y="103"/>
                  </a:lnTo>
                  <a:lnTo>
                    <a:pt x="394" y="103"/>
                  </a:lnTo>
                  <a:lnTo>
                    <a:pt x="397" y="102"/>
                  </a:lnTo>
                  <a:lnTo>
                    <a:pt x="397" y="100"/>
                  </a:lnTo>
                  <a:lnTo>
                    <a:pt x="395" y="100"/>
                  </a:lnTo>
                  <a:lnTo>
                    <a:pt x="394" y="98"/>
                  </a:lnTo>
                  <a:lnTo>
                    <a:pt x="393" y="98"/>
                  </a:lnTo>
                  <a:lnTo>
                    <a:pt x="393" y="100"/>
                  </a:lnTo>
                  <a:lnTo>
                    <a:pt x="391" y="100"/>
                  </a:lnTo>
                  <a:lnTo>
                    <a:pt x="389" y="97"/>
                  </a:lnTo>
                  <a:lnTo>
                    <a:pt x="389" y="96"/>
                  </a:lnTo>
                  <a:lnTo>
                    <a:pt x="388" y="96"/>
                  </a:lnTo>
                  <a:lnTo>
                    <a:pt x="387" y="97"/>
                  </a:lnTo>
                  <a:lnTo>
                    <a:pt x="386" y="97"/>
                  </a:lnTo>
                  <a:lnTo>
                    <a:pt x="386" y="96"/>
                  </a:lnTo>
                  <a:lnTo>
                    <a:pt x="388" y="94"/>
                  </a:lnTo>
                  <a:lnTo>
                    <a:pt x="389" y="92"/>
                  </a:lnTo>
                  <a:lnTo>
                    <a:pt x="392" y="92"/>
                  </a:lnTo>
                  <a:lnTo>
                    <a:pt x="393" y="90"/>
                  </a:lnTo>
                  <a:lnTo>
                    <a:pt x="395" y="89"/>
                  </a:lnTo>
                  <a:lnTo>
                    <a:pt x="398" y="89"/>
                  </a:lnTo>
                  <a:lnTo>
                    <a:pt x="399" y="89"/>
                  </a:lnTo>
                  <a:lnTo>
                    <a:pt x="400" y="89"/>
                  </a:lnTo>
                  <a:lnTo>
                    <a:pt x="401" y="88"/>
                  </a:lnTo>
                  <a:lnTo>
                    <a:pt x="401" y="86"/>
                  </a:lnTo>
                  <a:lnTo>
                    <a:pt x="403" y="88"/>
                  </a:lnTo>
                  <a:lnTo>
                    <a:pt x="404" y="89"/>
                  </a:lnTo>
                  <a:lnTo>
                    <a:pt x="405" y="89"/>
                  </a:lnTo>
                  <a:lnTo>
                    <a:pt x="406" y="88"/>
                  </a:lnTo>
                  <a:lnTo>
                    <a:pt x="406" y="85"/>
                  </a:lnTo>
                  <a:lnTo>
                    <a:pt x="407" y="88"/>
                  </a:lnTo>
                  <a:lnTo>
                    <a:pt x="410" y="88"/>
                  </a:lnTo>
                  <a:lnTo>
                    <a:pt x="412" y="88"/>
                  </a:lnTo>
                  <a:lnTo>
                    <a:pt x="413" y="86"/>
                  </a:lnTo>
                  <a:lnTo>
                    <a:pt x="415" y="85"/>
                  </a:lnTo>
                  <a:lnTo>
                    <a:pt x="416" y="84"/>
                  </a:lnTo>
                  <a:lnTo>
                    <a:pt x="416" y="83"/>
                  </a:lnTo>
                  <a:lnTo>
                    <a:pt x="416" y="82"/>
                  </a:lnTo>
                  <a:lnTo>
                    <a:pt x="416" y="80"/>
                  </a:lnTo>
                  <a:lnTo>
                    <a:pt x="416" y="79"/>
                  </a:lnTo>
                  <a:lnTo>
                    <a:pt x="416" y="77"/>
                  </a:lnTo>
                  <a:lnTo>
                    <a:pt x="415" y="77"/>
                  </a:lnTo>
                  <a:lnTo>
                    <a:pt x="412" y="77"/>
                  </a:lnTo>
                  <a:lnTo>
                    <a:pt x="410" y="78"/>
                  </a:lnTo>
                  <a:lnTo>
                    <a:pt x="410" y="80"/>
                  </a:lnTo>
                  <a:lnTo>
                    <a:pt x="409" y="82"/>
                  </a:lnTo>
                  <a:lnTo>
                    <a:pt x="407" y="83"/>
                  </a:lnTo>
                  <a:lnTo>
                    <a:pt x="406" y="82"/>
                  </a:lnTo>
                  <a:lnTo>
                    <a:pt x="407" y="80"/>
                  </a:lnTo>
                  <a:lnTo>
                    <a:pt x="409" y="79"/>
                  </a:lnTo>
                  <a:lnTo>
                    <a:pt x="409" y="78"/>
                  </a:lnTo>
                  <a:lnTo>
                    <a:pt x="407" y="77"/>
                  </a:lnTo>
                  <a:lnTo>
                    <a:pt x="406" y="78"/>
                  </a:lnTo>
                  <a:lnTo>
                    <a:pt x="405" y="76"/>
                  </a:lnTo>
                  <a:lnTo>
                    <a:pt x="404" y="77"/>
                  </a:lnTo>
                  <a:lnTo>
                    <a:pt x="404" y="79"/>
                  </a:lnTo>
                  <a:lnTo>
                    <a:pt x="401" y="80"/>
                  </a:lnTo>
                  <a:lnTo>
                    <a:pt x="400" y="80"/>
                  </a:lnTo>
                  <a:lnTo>
                    <a:pt x="398" y="80"/>
                  </a:lnTo>
                  <a:lnTo>
                    <a:pt x="397" y="80"/>
                  </a:lnTo>
                  <a:lnTo>
                    <a:pt x="400" y="78"/>
                  </a:lnTo>
                  <a:lnTo>
                    <a:pt x="401" y="77"/>
                  </a:lnTo>
                  <a:lnTo>
                    <a:pt x="401" y="76"/>
                  </a:lnTo>
                  <a:lnTo>
                    <a:pt x="401" y="74"/>
                  </a:lnTo>
                  <a:lnTo>
                    <a:pt x="403" y="72"/>
                  </a:lnTo>
                  <a:lnTo>
                    <a:pt x="403" y="71"/>
                  </a:lnTo>
                  <a:lnTo>
                    <a:pt x="401" y="68"/>
                  </a:lnTo>
                  <a:lnTo>
                    <a:pt x="400" y="70"/>
                  </a:lnTo>
                  <a:lnTo>
                    <a:pt x="399" y="68"/>
                  </a:lnTo>
                  <a:lnTo>
                    <a:pt x="398" y="70"/>
                  </a:lnTo>
                  <a:lnTo>
                    <a:pt x="398" y="71"/>
                  </a:lnTo>
                  <a:lnTo>
                    <a:pt x="397" y="72"/>
                  </a:lnTo>
                  <a:lnTo>
                    <a:pt x="397" y="73"/>
                  </a:lnTo>
                  <a:lnTo>
                    <a:pt x="395" y="73"/>
                  </a:lnTo>
                  <a:lnTo>
                    <a:pt x="395" y="74"/>
                  </a:lnTo>
                  <a:lnTo>
                    <a:pt x="395" y="77"/>
                  </a:lnTo>
                  <a:lnTo>
                    <a:pt x="394" y="77"/>
                  </a:lnTo>
                  <a:lnTo>
                    <a:pt x="393" y="78"/>
                  </a:lnTo>
                  <a:lnTo>
                    <a:pt x="393" y="79"/>
                  </a:lnTo>
                  <a:lnTo>
                    <a:pt x="391" y="80"/>
                  </a:lnTo>
                  <a:lnTo>
                    <a:pt x="391" y="78"/>
                  </a:lnTo>
                  <a:lnTo>
                    <a:pt x="392" y="76"/>
                  </a:lnTo>
                  <a:lnTo>
                    <a:pt x="393" y="74"/>
                  </a:lnTo>
                  <a:lnTo>
                    <a:pt x="394" y="71"/>
                  </a:lnTo>
                  <a:lnTo>
                    <a:pt x="394" y="68"/>
                  </a:lnTo>
                  <a:lnTo>
                    <a:pt x="393" y="68"/>
                  </a:lnTo>
                  <a:lnTo>
                    <a:pt x="391" y="68"/>
                  </a:lnTo>
                  <a:lnTo>
                    <a:pt x="391" y="70"/>
                  </a:lnTo>
                  <a:lnTo>
                    <a:pt x="389" y="71"/>
                  </a:lnTo>
                  <a:lnTo>
                    <a:pt x="388" y="71"/>
                  </a:lnTo>
                  <a:lnTo>
                    <a:pt x="386" y="71"/>
                  </a:lnTo>
                  <a:lnTo>
                    <a:pt x="385" y="71"/>
                  </a:lnTo>
                  <a:lnTo>
                    <a:pt x="382" y="73"/>
                  </a:lnTo>
                  <a:lnTo>
                    <a:pt x="380" y="74"/>
                  </a:lnTo>
                  <a:lnTo>
                    <a:pt x="379" y="74"/>
                  </a:lnTo>
                  <a:lnTo>
                    <a:pt x="379" y="72"/>
                  </a:lnTo>
                  <a:lnTo>
                    <a:pt x="377" y="71"/>
                  </a:lnTo>
                  <a:lnTo>
                    <a:pt x="375" y="71"/>
                  </a:lnTo>
                  <a:lnTo>
                    <a:pt x="377" y="68"/>
                  </a:lnTo>
                  <a:lnTo>
                    <a:pt x="379" y="67"/>
                  </a:lnTo>
                  <a:lnTo>
                    <a:pt x="376" y="65"/>
                  </a:lnTo>
                  <a:lnTo>
                    <a:pt x="374" y="64"/>
                  </a:lnTo>
                  <a:lnTo>
                    <a:pt x="372" y="65"/>
                  </a:lnTo>
                  <a:lnTo>
                    <a:pt x="371" y="67"/>
                  </a:lnTo>
                  <a:lnTo>
                    <a:pt x="370" y="70"/>
                  </a:lnTo>
                  <a:lnTo>
                    <a:pt x="368" y="71"/>
                  </a:lnTo>
                  <a:lnTo>
                    <a:pt x="364" y="72"/>
                  </a:lnTo>
                  <a:lnTo>
                    <a:pt x="362" y="71"/>
                  </a:lnTo>
                  <a:lnTo>
                    <a:pt x="362" y="70"/>
                  </a:lnTo>
                  <a:lnTo>
                    <a:pt x="362" y="67"/>
                  </a:lnTo>
                  <a:lnTo>
                    <a:pt x="363" y="66"/>
                  </a:lnTo>
                  <a:lnTo>
                    <a:pt x="364" y="64"/>
                  </a:lnTo>
                  <a:lnTo>
                    <a:pt x="364" y="61"/>
                  </a:lnTo>
                  <a:lnTo>
                    <a:pt x="362" y="59"/>
                  </a:lnTo>
                  <a:lnTo>
                    <a:pt x="362" y="58"/>
                  </a:lnTo>
                  <a:lnTo>
                    <a:pt x="360" y="55"/>
                  </a:lnTo>
                  <a:lnTo>
                    <a:pt x="359" y="55"/>
                  </a:lnTo>
                  <a:lnTo>
                    <a:pt x="358" y="55"/>
                  </a:lnTo>
                  <a:lnTo>
                    <a:pt x="357" y="56"/>
                  </a:lnTo>
                  <a:lnTo>
                    <a:pt x="354" y="58"/>
                  </a:lnTo>
                  <a:lnTo>
                    <a:pt x="353" y="58"/>
                  </a:lnTo>
                  <a:lnTo>
                    <a:pt x="351" y="58"/>
                  </a:lnTo>
                  <a:lnTo>
                    <a:pt x="351" y="59"/>
                  </a:lnTo>
                  <a:lnTo>
                    <a:pt x="347" y="60"/>
                  </a:lnTo>
                  <a:lnTo>
                    <a:pt x="347" y="58"/>
                  </a:lnTo>
                  <a:lnTo>
                    <a:pt x="348" y="56"/>
                  </a:lnTo>
                  <a:lnTo>
                    <a:pt x="347" y="54"/>
                  </a:lnTo>
                  <a:lnTo>
                    <a:pt x="345" y="54"/>
                  </a:lnTo>
                  <a:lnTo>
                    <a:pt x="344" y="55"/>
                  </a:lnTo>
                  <a:lnTo>
                    <a:pt x="342" y="56"/>
                  </a:lnTo>
                  <a:lnTo>
                    <a:pt x="342" y="59"/>
                  </a:lnTo>
                  <a:lnTo>
                    <a:pt x="340" y="58"/>
                  </a:lnTo>
                  <a:lnTo>
                    <a:pt x="339" y="56"/>
                  </a:lnTo>
                  <a:lnTo>
                    <a:pt x="338" y="55"/>
                  </a:lnTo>
                  <a:lnTo>
                    <a:pt x="336" y="55"/>
                  </a:lnTo>
                  <a:lnTo>
                    <a:pt x="334" y="54"/>
                  </a:lnTo>
                  <a:lnTo>
                    <a:pt x="334" y="56"/>
                  </a:lnTo>
                  <a:lnTo>
                    <a:pt x="333" y="58"/>
                  </a:lnTo>
                  <a:lnTo>
                    <a:pt x="333" y="56"/>
                  </a:lnTo>
                  <a:lnTo>
                    <a:pt x="330" y="55"/>
                  </a:lnTo>
                  <a:lnTo>
                    <a:pt x="329" y="55"/>
                  </a:lnTo>
                  <a:lnTo>
                    <a:pt x="327" y="55"/>
                  </a:lnTo>
                  <a:lnTo>
                    <a:pt x="327" y="54"/>
                  </a:lnTo>
                  <a:lnTo>
                    <a:pt x="327" y="53"/>
                  </a:lnTo>
                  <a:lnTo>
                    <a:pt x="329" y="53"/>
                  </a:lnTo>
                  <a:lnTo>
                    <a:pt x="330" y="53"/>
                  </a:lnTo>
                  <a:lnTo>
                    <a:pt x="332" y="53"/>
                  </a:lnTo>
                  <a:lnTo>
                    <a:pt x="333" y="53"/>
                  </a:lnTo>
                  <a:lnTo>
                    <a:pt x="335" y="52"/>
                  </a:lnTo>
                  <a:lnTo>
                    <a:pt x="336" y="52"/>
                  </a:lnTo>
                  <a:lnTo>
                    <a:pt x="338" y="52"/>
                  </a:lnTo>
                  <a:lnTo>
                    <a:pt x="339" y="52"/>
                  </a:lnTo>
                  <a:lnTo>
                    <a:pt x="341" y="52"/>
                  </a:lnTo>
                  <a:lnTo>
                    <a:pt x="342" y="52"/>
                  </a:lnTo>
                  <a:lnTo>
                    <a:pt x="346" y="52"/>
                  </a:lnTo>
                  <a:lnTo>
                    <a:pt x="347" y="52"/>
                  </a:lnTo>
                  <a:lnTo>
                    <a:pt x="348" y="50"/>
                  </a:lnTo>
                  <a:lnTo>
                    <a:pt x="350" y="49"/>
                  </a:lnTo>
                  <a:lnTo>
                    <a:pt x="351" y="48"/>
                  </a:lnTo>
                  <a:lnTo>
                    <a:pt x="350" y="46"/>
                  </a:lnTo>
                  <a:lnTo>
                    <a:pt x="348" y="46"/>
                  </a:lnTo>
                  <a:lnTo>
                    <a:pt x="347" y="44"/>
                  </a:lnTo>
                  <a:lnTo>
                    <a:pt x="346" y="46"/>
                  </a:lnTo>
                  <a:lnTo>
                    <a:pt x="345" y="47"/>
                  </a:lnTo>
                  <a:lnTo>
                    <a:pt x="344" y="48"/>
                  </a:lnTo>
                  <a:lnTo>
                    <a:pt x="342" y="48"/>
                  </a:lnTo>
                  <a:lnTo>
                    <a:pt x="341" y="47"/>
                  </a:lnTo>
                  <a:lnTo>
                    <a:pt x="344" y="46"/>
                  </a:lnTo>
                  <a:lnTo>
                    <a:pt x="342" y="44"/>
                  </a:lnTo>
                  <a:lnTo>
                    <a:pt x="342" y="43"/>
                  </a:lnTo>
                  <a:lnTo>
                    <a:pt x="342" y="41"/>
                  </a:lnTo>
                  <a:lnTo>
                    <a:pt x="344" y="42"/>
                  </a:lnTo>
                  <a:lnTo>
                    <a:pt x="345" y="43"/>
                  </a:lnTo>
                  <a:lnTo>
                    <a:pt x="347" y="43"/>
                  </a:lnTo>
                  <a:lnTo>
                    <a:pt x="348" y="42"/>
                  </a:lnTo>
                  <a:lnTo>
                    <a:pt x="350" y="40"/>
                  </a:lnTo>
                  <a:lnTo>
                    <a:pt x="351" y="41"/>
                  </a:lnTo>
                  <a:lnTo>
                    <a:pt x="352" y="42"/>
                  </a:lnTo>
                  <a:lnTo>
                    <a:pt x="353" y="42"/>
                  </a:lnTo>
                  <a:lnTo>
                    <a:pt x="354" y="41"/>
                  </a:lnTo>
                  <a:lnTo>
                    <a:pt x="357" y="40"/>
                  </a:lnTo>
                  <a:lnTo>
                    <a:pt x="357" y="38"/>
                  </a:lnTo>
                  <a:lnTo>
                    <a:pt x="359" y="36"/>
                  </a:lnTo>
                  <a:lnTo>
                    <a:pt x="359" y="34"/>
                  </a:lnTo>
                  <a:lnTo>
                    <a:pt x="359" y="32"/>
                  </a:lnTo>
                  <a:lnTo>
                    <a:pt x="357" y="31"/>
                  </a:lnTo>
                  <a:lnTo>
                    <a:pt x="354" y="31"/>
                  </a:lnTo>
                  <a:lnTo>
                    <a:pt x="354" y="34"/>
                  </a:lnTo>
                  <a:lnTo>
                    <a:pt x="353" y="35"/>
                  </a:lnTo>
                  <a:lnTo>
                    <a:pt x="352" y="35"/>
                  </a:lnTo>
                  <a:lnTo>
                    <a:pt x="352" y="32"/>
                  </a:lnTo>
                  <a:lnTo>
                    <a:pt x="352" y="30"/>
                  </a:lnTo>
                  <a:lnTo>
                    <a:pt x="353" y="28"/>
                  </a:lnTo>
                  <a:lnTo>
                    <a:pt x="356" y="25"/>
                  </a:lnTo>
                  <a:lnTo>
                    <a:pt x="356" y="23"/>
                  </a:lnTo>
                  <a:lnTo>
                    <a:pt x="354" y="20"/>
                  </a:lnTo>
                  <a:lnTo>
                    <a:pt x="352" y="20"/>
                  </a:lnTo>
                  <a:lnTo>
                    <a:pt x="351" y="20"/>
                  </a:lnTo>
                  <a:lnTo>
                    <a:pt x="347" y="23"/>
                  </a:lnTo>
                  <a:lnTo>
                    <a:pt x="347" y="24"/>
                  </a:lnTo>
                  <a:lnTo>
                    <a:pt x="347" y="26"/>
                  </a:lnTo>
                  <a:lnTo>
                    <a:pt x="347" y="29"/>
                  </a:lnTo>
                  <a:lnTo>
                    <a:pt x="346" y="29"/>
                  </a:lnTo>
                  <a:lnTo>
                    <a:pt x="345" y="28"/>
                  </a:lnTo>
                  <a:lnTo>
                    <a:pt x="345" y="26"/>
                  </a:lnTo>
                  <a:lnTo>
                    <a:pt x="345" y="24"/>
                  </a:lnTo>
                  <a:lnTo>
                    <a:pt x="345" y="23"/>
                  </a:lnTo>
                  <a:lnTo>
                    <a:pt x="344" y="20"/>
                  </a:lnTo>
                  <a:lnTo>
                    <a:pt x="342" y="20"/>
                  </a:lnTo>
                  <a:lnTo>
                    <a:pt x="341" y="22"/>
                  </a:lnTo>
                  <a:lnTo>
                    <a:pt x="340" y="24"/>
                  </a:lnTo>
                  <a:lnTo>
                    <a:pt x="339" y="25"/>
                  </a:lnTo>
                  <a:lnTo>
                    <a:pt x="338" y="26"/>
                  </a:lnTo>
                  <a:lnTo>
                    <a:pt x="336" y="26"/>
                  </a:lnTo>
                  <a:lnTo>
                    <a:pt x="334" y="28"/>
                  </a:lnTo>
                  <a:lnTo>
                    <a:pt x="332" y="29"/>
                  </a:lnTo>
                  <a:lnTo>
                    <a:pt x="330" y="29"/>
                  </a:lnTo>
                  <a:lnTo>
                    <a:pt x="330" y="30"/>
                  </a:lnTo>
                  <a:lnTo>
                    <a:pt x="330" y="31"/>
                  </a:lnTo>
                  <a:lnTo>
                    <a:pt x="332" y="32"/>
                  </a:lnTo>
                  <a:lnTo>
                    <a:pt x="330" y="34"/>
                  </a:lnTo>
                  <a:lnTo>
                    <a:pt x="329" y="35"/>
                  </a:lnTo>
                  <a:lnTo>
                    <a:pt x="328" y="34"/>
                  </a:lnTo>
                  <a:lnTo>
                    <a:pt x="327" y="32"/>
                  </a:lnTo>
                  <a:lnTo>
                    <a:pt x="326" y="30"/>
                  </a:lnTo>
                  <a:lnTo>
                    <a:pt x="326" y="29"/>
                  </a:lnTo>
                  <a:lnTo>
                    <a:pt x="324" y="26"/>
                  </a:lnTo>
                  <a:lnTo>
                    <a:pt x="323" y="24"/>
                  </a:lnTo>
                  <a:lnTo>
                    <a:pt x="322" y="24"/>
                  </a:lnTo>
                  <a:lnTo>
                    <a:pt x="321" y="24"/>
                  </a:lnTo>
                  <a:lnTo>
                    <a:pt x="320" y="24"/>
                  </a:lnTo>
                  <a:lnTo>
                    <a:pt x="318" y="25"/>
                  </a:lnTo>
                  <a:lnTo>
                    <a:pt x="317" y="28"/>
                  </a:lnTo>
                  <a:lnTo>
                    <a:pt x="316" y="28"/>
                  </a:lnTo>
                  <a:lnTo>
                    <a:pt x="316" y="25"/>
                  </a:lnTo>
                  <a:lnTo>
                    <a:pt x="316" y="23"/>
                  </a:lnTo>
                  <a:lnTo>
                    <a:pt x="316" y="20"/>
                  </a:lnTo>
                  <a:lnTo>
                    <a:pt x="317" y="19"/>
                  </a:lnTo>
                  <a:lnTo>
                    <a:pt x="316" y="17"/>
                  </a:lnTo>
                  <a:lnTo>
                    <a:pt x="315" y="14"/>
                  </a:lnTo>
                  <a:lnTo>
                    <a:pt x="314" y="13"/>
                  </a:lnTo>
                  <a:lnTo>
                    <a:pt x="311" y="13"/>
                  </a:lnTo>
                  <a:lnTo>
                    <a:pt x="310" y="14"/>
                  </a:lnTo>
                  <a:lnTo>
                    <a:pt x="310" y="17"/>
                  </a:lnTo>
                  <a:lnTo>
                    <a:pt x="309" y="19"/>
                  </a:lnTo>
                  <a:lnTo>
                    <a:pt x="309" y="22"/>
                  </a:lnTo>
                  <a:lnTo>
                    <a:pt x="307" y="23"/>
                  </a:lnTo>
                  <a:lnTo>
                    <a:pt x="306" y="22"/>
                  </a:lnTo>
                  <a:lnTo>
                    <a:pt x="306" y="20"/>
                  </a:lnTo>
                  <a:lnTo>
                    <a:pt x="305" y="18"/>
                  </a:lnTo>
                  <a:lnTo>
                    <a:pt x="305" y="17"/>
                  </a:lnTo>
                  <a:lnTo>
                    <a:pt x="304" y="16"/>
                  </a:lnTo>
                  <a:lnTo>
                    <a:pt x="303" y="14"/>
                  </a:lnTo>
                  <a:lnTo>
                    <a:pt x="304" y="13"/>
                  </a:lnTo>
                  <a:lnTo>
                    <a:pt x="305" y="11"/>
                  </a:lnTo>
                  <a:lnTo>
                    <a:pt x="304" y="10"/>
                  </a:lnTo>
                  <a:lnTo>
                    <a:pt x="300" y="8"/>
                  </a:lnTo>
                  <a:lnTo>
                    <a:pt x="299" y="8"/>
                  </a:lnTo>
                  <a:lnTo>
                    <a:pt x="298" y="10"/>
                  </a:lnTo>
                  <a:lnTo>
                    <a:pt x="297" y="12"/>
                  </a:lnTo>
                  <a:lnTo>
                    <a:pt x="295" y="14"/>
                  </a:lnTo>
                  <a:lnTo>
                    <a:pt x="293" y="16"/>
                  </a:lnTo>
                  <a:lnTo>
                    <a:pt x="293" y="17"/>
                  </a:lnTo>
                  <a:lnTo>
                    <a:pt x="292" y="19"/>
                  </a:lnTo>
                  <a:lnTo>
                    <a:pt x="293" y="20"/>
                  </a:lnTo>
                  <a:lnTo>
                    <a:pt x="295" y="22"/>
                  </a:lnTo>
                  <a:lnTo>
                    <a:pt x="297" y="23"/>
                  </a:lnTo>
                  <a:lnTo>
                    <a:pt x="299" y="24"/>
                  </a:lnTo>
                  <a:lnTo>
                    <a:pt x="299" y="25"/>
                  </a:lnTo>
                  <a:lnTo>
                    <a:pt x="298" y="26"/>
                  </a:lnTo>
                  <a:lnTo>
                    <a:pt x="297" y="26"/>
                  </a:lnTo>
                  <a:lnTo>
                    <a:pt x="295" y="28"/>
                  </a:lnTo>
                  <a:lnTo>
                    <a:pt x="297" y="29"/>
                  </a:lnTo>
                  <a:lnTo>
                    <a:pt x="297" y="30"/>
                  </a:lnTo>
                  <a:lnTo>
                    <a:pt x="295" y="30"/>
                  </a:lnTo>
                  <a:lnTo>
                    <a:pt x="295" y="29"/>
                  </a:lnTo>
                  <a:lnTo>
                    <a:pt x="294" y="28"/>
                  </a:lnTo>
                  <a:lnTo>
                    <a:pt x="293" y="25"/>
                  </a:lnTo>
                  <a:lnTo>
                    <a:pt x="292" y="24"/>
                  </a:lnTo>
                  <a:lnTo>
                    <a:pt x="291" y="24"/>
                  </a:lnTo>
                  <a:lnTo>
                    <a:pt x="289" y="23"/>
                  </a:lnTo>
                  <a:lnTo>
                    <a:pt x="288" y="20"/>
                  </a:lnTo>
                  <a:lnTo>
                    <a:pt x="287" y="20"/>
                  </a:lnTo>
                  <a:lnTo>
                    <a:pt x="286" y="22"/>
                  </a:lnTo>
                  <a:lnTo>
                    <a:pt x="285" y="22"/>
                  </a:lnTo>
                  <a:lnTo>
                    <a:pt x="282" y="22"/>
                  </a:lnTo>
                  <a:lnTo>
                    <a:pt x="282" y="24"/>
                  </a:lnTo>
                  <a:lnTo>
                    <a:pt x="283" y="25"/>
                  </a:lnTo>
                  <a:lnTo>
                    <a:pt x="283" y="28"/>
                  </a:lnTo>
                  <a:lnTo>
                    <a:pt x="282" y="29"/>
                  </a:lnTo>
                  <a:lnTo>
                    <a:pt x="282" y="30"/>
                  </a:lnTo>
                  <a:lnTo>
                    <a:pt x="285" y="32"/>
                  </a:lnTo>
                  <a:lnTo>
                    <a:pt x="287" y="32"/>
                  </a:lnTo>
                  <a:lnTo>
                    <a:pt x="288" y="31"/>
                  </a:lnTo>
                  <a:lnTo>
                    <a:pt x="289" y="32"/>
                  </a:lnTo>
                  <a:lnTo>
                    <a:pt x="289" y="34"/>
                  </a:lnTo>
                  <a:lnTo>
                    <a:pt x="288" y="36"/>
                  </a:lnTo>
                  <a:lnTo>
                    <a:pt x="291" y="36"/>
                  </a:lnTo>
                  <a:lnTo>
                    <a:pt x="292" y="36"/>
                  </a:lnTo>
                  <a:lnTo>
                    <a:pt x="293" y="37"/>
                  </a:lnTo>
                  <a:lnTo>
                    <a:pt x="294" y="38"/>
                  </a:lnTo>
                  <a:lnTo>
                    <a:pt x="295" y="38"/>
                  </a:lnTo>
                  <a:lnTo>
                    <a:pt x="298" y="40"/>
                  </a:lnTo>
                  <a:lnTo>
                    <a:pt x="298" y="42"/>
                  </a:lnTo>
                  <a:lnTo>
                    <a:pt x="297" y="43"/>
                  </a:lnTo>
                  <a:lnTo>
                    <a:pt x="294" y="43"/>
                  </a:lnTo>
                  <a:lnTo>
                    <a:pt x="293" y="41"/>
                  </a:lnTo>
                  <a:lnTo>
                    <a:pt x="293" y="40"/>
                  </a:lnTo>
                  <a:lnTo>
                    <a:pt x="291" y="38"/>
                  </a:lnTo>
                  <a:lnTo>
                    <a:pt x="289" y="38"/>
                  </a:lnTo>
                  <a:lnTo>
                    <a:pt x="288" y="40"/>
                  </a:lnTo>
                  <a:lnTo>
                    <a:pt x="287" y="42"/>
                  </a:lnTo>
                  <a:lnTo>
                    <a:pt x="286" y="42"/>
                  </a:lnTo>
                  <a:lnTo>
                    <a:pt x="283" y="41"/>
                  </a:lnTo>
                  <a:lnTo>
                    <a:pt x="281" y="41"/>
                  </a:lnTo>
                  <a:lnTo>
                    <a:pt x="281" y="40"/>
                  </a:lnTo>
                  <a:lnTo>
                    <a:pt x="279" y="38"/>
                  </a:lnTo>
                  <a:lnTo>
                    <a:pt x="277" y="38"/>
                  </a:lnTo>
                  <a:lnTo>
                    <a:pt x="276" y="41"/>
                  </a:lnTo>
                  <a:lnTo>
                    <a:pt x="277" y="44"/>
                  </a:lnTo>
                  <a:lnTo>
                    <a:pt x="279" y="47"/>
                  </a:lnTo>
                  <a:lnTo>
                    <a:pt x="280" y="49"/>
                  </a:lnTo>
                  <a:lnTo>
                    <a:pt x="281" y="49"/>
                  </a:lnTo>
                  <a:lnTo>
                    <a:pt x="285" y="49"/>
                  </a:lnTo>
                  <a:lnTo>
                    <a:pt x="286" y="49"/>
                  </a:lnTo>
                  <a:lnTo>
                    <a:pt x="288" y="50"/>
                  </a:lnTo>
                  <a:lnTo>
                    <a:pt x="289" y="50"/>
                  </a:lnTo>
                  <a:lnTo>
                    <a:pt x="292" y="50"/>
                  </a:lnTo>
                  <a:lnTo>
                    <a:pt x="293" y="52"/>
                  </a:lnTo>
                  <a:lnTo>
                    <a:pt x="292" y="53"/>
                  </a:lnTo>
                  <a:lnTo>
                    <a:pt x="289" y="53"/>
                  </a:lnTo>
                  <a:lnTo>
                    <a:pt x="287" y="53"/>
                  </a:lnTo>
                  <a:lnTo>
                    <a:pt x="287" y="54"/>
                  </a:lnTo>
                  <a:lnTo>
                    <a:pt x="288" y="55"/>
                  </a:lnTo>
                  <a:lnTo>
                    <a:pt x="288" y="56"/>
                  </a:lnTo>
                  <a:lnTo>
                    <a:pt x="287" y="58"/>
                  </a:lnTo>
                  <a:lnTo>
                    <a:pt x="286" y="58"/>
                  </a:lnTo>
                  <a:lnTo>
                    <a:pt x="283" y="58"/>
                  </a:lnTo>
                  <a:lnTo>
                    <a:pt x="283" y="59"/>
                  </a:lnTo>
                  <a:lnTo>
                    <a:pt x="285" y="62"/>
                  </a:lnTo>
                  <a:lnTo>
                    <a:pt x="287" y="65"/>
                  </a:lnTo>
                  <a:lnTo>
                    <a:pt x="289" y="66"/>
                  </a:lnTo>
                  <a:lnTo>
                    <a:pt x="292" y="65"/>
                  </a:lnTo>
                  <a:lnTo>
                    <a:pt x="293" y="65"/>
                  </a:lnTo>
                  <a:lnTo>
                    <a:pt x="293" y="67"/>
                  </a:lnTo>
                  <a:lnTo>
                    <a:pt x="294" y="68"/>
                  </a:lnTo>
                  <a:lnTo>
                    <a:pt x="297" y="68"/>
                  </a:lnTo>
                  <a:lnTo>
                    <a:pt x="298" y="67"/>
                  </a:lnTo>
                  <a:lnTo>
                    <a:pt x="299" y="66"/>
                  </a:lnTo>
                  <a:lnTo>
                    <a:pt x="299" y="65"/>
                  </a:lnTo>
                  <a:lnTo>
                    <a:pt x="299" y="62"/>
                  </a:lnTo>
                  <a:lnTo>
                    <a:pt x="299" y="61"/>
                  </a:lnTo>
                  <a:lnTo>
                    <a:pt x="301" y="62"/>
                  </a:lnTo>
                  <a:lnTo>
                    <a:pt x="301" y="64"/>
                  </a:lnTo>
                  <a:lnTo>
                    <a:pt x="303" y="64"/>
                  </a:lnTo>
                  <a:lnTo>
                    <a:pt x="304" y="64"/>
                  </a:lnTo>
                  <a:lnTo>
                    <a:pt x="305" y="62"/>
                  </a:lnTo>
                  <a:lnTo>
                    <a:pt x="305" y="61"/>
                  </a:lnTo>
                  <a:lnTo>
                    <a:pt x="307" y="62"/>
                  </a:lnTo>
                  <a:lnTo>
                    <a:pt x="307" y="64"/>
                  </a:lnTo>
                  <a:lnTo>
                    <a:pt x="309" y="65"/>
                  </a:lnTo>
                  <a:lnTo>
                    <a:pt x="307" y="65"/>
                  </a:lnTo>
                  <a:lnTo>
                    <a:pt x="305" y="65"/>
                  </a:lnTo>
                  <a:lnTo>
                    <a:pt x="303" y="66"/>
                  </a:lnTo>
                  <a:lnTo>
                    <a:pt x="301" y="66"/>
                  </a:lnTo>
                  <a:lnTo>
                    <a:pt x="300" y="68"/>
                  </a:lnTo>
                  <a:lnTo>
                    <a:pt x="299" y="71"/>
                  </a:lnTo>
                  <a:lnTo>
                    <a:pt x="299" y="72"/>
                  </a:lnTo>
                  <a:lnTo>
                    <a:pt x="301" y="74"/>
                  </a:lnTo>
                  <a:lnTo>
                    <a:pt x="304" y="76"/>
                  </a:lnTo>
                  <a:lnTo>
                    <a:pt x="306" y="76"/>
                  </a:lnTo>
                  <a:lnTo>
                    <a:pt x="309" y="76"/>
                  </a:lnTo>
                  <a:lnTo>
                    <a:pt x="309" y="74"/>
                  </a:lnTo>
                  <a:lnTo>
                    <a:pt x="310" y="73"/>
                  </a:lnTo>
                  <a:lnTo>
                    <a:pt x="311" y="71"/>
                  </a:lnTo>
                  <a:lnTo>
                    <a:pt x="311" y="70"/>
                  </a:lnTo>
                  <a:lnTo>
                    <a:pt x="314" y="71"/>
                  </a:lnTo>
                  <a:lnTo>
                    <a:pt x="315" y="72"/>
                  </a:lnTo>
                  <a:lnTo>
                    <a:pt x="316" y="73"/>
                  </a:lnTo>
                  <a:lnTo>
                    <a:pt x="312" y="76"/>
                  </a:lnTo>
                  <a:lnTo>
                    <a:pt x="311" y="77"/>
                  </a:lnTo>
                  <a:lnTo>
                    <a:pt x="310" y="79"/>
                  </a:lnTo>
                  <a:lnTo>
                    <a:pt x="311" y="83"/>
                  </a:lnTo>
                  <a:lnTo>
                    <a:pt x="312" y="85"/>
                  </a:lnTo>
                  <a:lnTo>
                    <a:pt x="314" y="89"/>
                  </a:lnTo>
                  <a:lnTo>
                    <a:pt x="316" y="92"/>
                  </a:lnTo>
                  <a:lnTo>
                    <a:pt x="315" y="94"/>
                  </a:lnTo>
                  <a:lnTo>
                    <a:pt x="315" y="92"/>
                  </a:lnTo>
                  <a:lnTo>
                    <a:pt x="314" y="91"/>
                  </a:lnTo>
                  <a:lnTo>
                    <a:pt x="312" y="89"/>
                  </a:lnTo>
                  <a:lnTo>
                    <a:pt x="311" y="88"/>
                  </a:lnTo>
                  <a:lnTo>
                    <a:pt x="309" y="85"/>
                  </a:lnTo>
                  <a:lnTo>
                    <a:pt x="307" y="84"/>
                  </a:lnTo>
                  <a:lnTo>
                    <a:pt x="306" y="83"/>
                  </a:lnTo>
                  <a:lnTo>
                    <a:pt x="306" y="85"/>
                  </a:lnTo>
                  <a:lnTo>
                    <a:pt x="305" y="86"/>
                  </a:lnTo>
                  <a:lnTo>
                    <a:pt x="304" y="88"/>
                  </a:lnTo>
                  <a:lnTo>
                    <a:pt x="303" y="89"/>
                  </a:lnTo>
                  <a:lnTo>
                    <a:pt x="301" y="90"/>
                  </a:lnTo>
                  <a:lnTo>
                    <a:pt x="301" y="91"/>
                  </a:lnTo>
                  <a:lnTo>
                    <a:pt x="300" y="91"/>
                  </a:lnTo>
                  <a:lnTo>
                    <a:pt x="300" y="89"/>
                  </a:lnTo>
                  <a:lnTo>
                    <a:pt x="300" y="86"/>
                  </a:lnTo>
                  <a:lnTo>
                    <a:pt x="299" y="86"/>
                  </a:lnTo>
                  <a:lnTo>
                    <a:pt x="298" y="86"/>
                  </a:lnTo>
                  <a:lnTo>
                    <a:pt x="298" y="88"/>
                  </a:lnTo>
                  <a:lnTo>
                    <a:pt x="297" y="90"/>
                  </a:lnTo>
                  <a:lnTo>
                    <a:pt x="297" y="91"/>
                  </a:lnTo>
                  <a:lnTo>
                    <a:pt x="295" y="91"/>
                  </a:lnTo>
                  <a:lnTo>
                    <a:pt x="294" y="90"/>
                  </a:lnTo>
                  <a:lnTo>
                    <a:pt x="294" y="89"/>
                  </a:lnTo>
                  <a:lnTo>
                    <a:pt x="294" y="86"/>
                  </a:lnTo>
                  <a:lnTo>
                    <a:pt x="293" y="85"/>
                  </a:lnTo>
                  <a:lnTo>
                    <a:pt x="293" y="83"/>
                  </a:lnTo>
                  <a:lnTo>
                    <a:pt x="292" y="82"/>
                  </a:lnTo>
                  <a:lnTo>
                    <a:pt x="291" y="80"/>
                  </a:lnTo>
                  <a:lnTo>
                    <a:pt x="287" y="82"/>
                  </a:lnTo>
                  <a:lnTo>
                    <a:pt x="286" y="83"/>
                  </a:lnTo>
                  <a:lnTo>
                    <a:pt x="286" y="85"/>
                  </a:lnTo>
                  <a:lnTo>
                    <a:pt x="286" y="89"/>
                  </a:lnTo>
                  <a:lnTo>
                    <a:pt x="286" y="91"/>
                  </a:lnTo>
                  <a:lnTo>
                    <a:pt x="283" y="92"/>
                  </a:lnTo>
                  <a:lnTo>
                    <a:pt x="283" y="91"/>
                  </a:lnTo>
                  <a:lnTo>
                    <a:pt x="283" y="89"/>
                  </a:lnTo>
                  <a:lnTo>
                    <a:pt x="281" y="89"/>
                  </a:lnTo>
                  <a:lnTo>
                    <a:pt x="280" y="91"/>
                  </a:lnTo>
                  <a:lnTo>
                    <a:pt x="280" y="92"/>
                  </a:lnTo>
                  <a:lnTo>
                    <a:pt x="277" y="92"/>
                  </a:lnTo>
                  <a:lnTo>
                    <a:pt x="277" y="91"/>
                  </a:lnTo>
                  <a:lnTo>
                    <a:pt x="275" y="90"/>
                  </a:lnTo>
                  <a:lnTo>
                    <a:pt x="273" y="86"/>
                  </a:lnTo>
                  <a:lnTo>
                    <a:pt x="273" y="84"/>
                  </a:lnTo>
                  <a:lnTo>
                    <a:pt x="271" y="83"/>
                  </a:lnTo>
                  <a:lnTo>
                    <a:pt x="270" y="79"/>
                  </a:lnTo>
                  <a:lnTo>
                    <a:pt x="270" y="78"/>
                  </a:lnTo>
                  <a:lnTo>
                    <a:pt x="268" y="76"/>
                  </a:lnTo>
                  <a:lnTo>
                    <a:pt x="265" y="77"/>
                  </a:lnTo>
                  <a:lnTo>
                    <a:pt x="265" y="78"/>
                  </a:lnTo>
                  <a:lnTo>
                    <a:pt x="263" y="80"/>
                  </a:lnTo>
                  <a:lnTo>
                    <a:pt x="261" y="83"/>
                  </a:lnTo>
                  <a:lnTo>
                    <a:pt x="258" y="82"/>
                  </a:lnTo>
                  <a:lnTo>
                    <a:pt x="258" y="79"/>
                  </a:lnTo>
                  <a:lnTo>
                    <a:pt x="259" y="76"/>
                  </a:lnTo>
                  <a:lnTo>
                    <a:pt x="257" y="74"/>
                  </a:lnTo>
                  <a:lnTo>
                    <a:pt x="256" y="76"/>
                  </a:lnTo>
                  <a:lnTo>
                    <a:pt x="255" y="76"/>
                  </a:lnTo>
                  <a:lnTo>
                    <a:pt x="253" y="79"/>
                  </a:lnTo>
                  <a:lnTo>
                    <a:pt x="251" y="82"/>
                  </a:lnTo>
                  <a:lnTo>
                    <a:pt x="247" y="82"/>
                  </a:lnTo>
                  <a:lnTo>
                    <a:pt x="247" y="79"/>
                  </a:lnTo>
                  <a:lnTo>
                    <a:pt x="250" y="77"/>
                  </a:lnTo>
                  <a:lnTo>
                    <a:pt x="251" y="76"/>
                  </a:lnTo>
                  <a:lnTo>
                    <a:pt x="252" y="73"/>
                  </a:lnTo>
                  <a:lnTo>
                    <a:pt x="251" y="73"/>
                  </a:lnTo>
                  <a:lnTo>
                    <a:pt x="250" y="72"/>
                  </a:lnTo>
                  <a:lnTo>
                    <a:pt x="251" y="71"/>
                  </a:lnTo>
                  <a:lnTo>
                    <a:pt x="251" y="70"/>
                  </a:lnTo>
                  <a:lnTo>
                    <a:pt x="250" y="67"/>
                  </a:lnTo>
                  <a:lnTo>
                    <a:pt x="247" y="66"/>
                  </a:lnTo>
                  <a:lnTo>
                    <a:pt x="244" y="65"/>
                  </a:lnTo>
                  <a:lnTo>
                    <a:pt x="244" y="64"/>
                  </a:lnTo>
                  <a:lnTo>
                    <a:pt x="244" y="61"/>
                  </a:lnTo>
                  <a:lnTo>
                    <a:pt x="244" y="59"/>
                  </a:lnTo>
                  <a:lnTo>
                    <a:pt x="241" y="58"/>
                  </a:lnTo>
                  <a:lnTo>
                    <a:pt x="240" y="56"/>
                  </a:lnTo>
                  <a:lnTo>
                    <a:pt x="238" y="55"/>
                  </a:lnTo>
                  <a:lnTo>
                    <a:pt x="236" y="56"/>
                  </a:lnTo>
                  <a:lnTo>
                    <a:pt x="236" y="58"/>
                  </a:lnTo>
                  <a:lnTo>
                    <a:pt x="234" y="60"/>
                  </a:lnTo>
                  <a:lnTo>
                    <a:pt x="233" y="62"/>
                  </a:lnTo>
                  <a:lnTo>
                    <a:pt x="230" y="66"/>
                  </a:lnTo>
                  <a:lnTo>
                    <a:pt x="228" y="65"/>
                  </a:lnTo>
                  <a:lnTo>
                    <a:pt x="229" y="64"/>
                  </a:lnTo>
                  <a:lnTo>
                    <a:pt x="230" y="62"/>
                  </a:lnTo>
                  <a:lnTo>
                    <a:pt x="230" y="61"/>
                  </a:lnTo>
                  <a:lnTo>
                    <a:pt x="229" y="61"/>
                  </a:lnTo>
                  <a:lnTo>
                    <a:pt x="230" y="60"/>
                  </a:lnTo>
                  <a:lnTo>
                    <a:pt x="232" y="59"/>
                  </a:lnTo>
                  <a:lnTo>
                    <a:pt x="230" y="58"/>
                  </a:lnTo>
                  <a:lnTo>
                    <a:pt x="232" y="56"/>
                  </a:lnTo>
                  <a:lnTo>
                    <a:pt x="233" y="56"/>
                  </a:lnTo>
                  <a:lnTo>
                    <a:pt x="232" y="54"/>
                  </a:lnTo>
                  <a:lnTo>
                    <a:pt x="234" y="54"/>
                  </a:lnTo>
                  <a:lnTo>
                    <a:pt x="235" y="52"/>
                  </a:lnTo>
                  <a:lnTo>
                    <a:pt x="234" y="52"/>
                  </a:lnTo>
                  <a:lnTo>
                    <a:pt x="235" y="50"/>
                  </a:lnTo>
                  <a:lnTo>
                    <a:pt x="236" y="49"/>
                  </a:lnTo>
                  <a:lnTo>
                    <a:pt x="238" y="48"/>
                  </a:lnTo>
                  <a:lnTo>
                    <a:pt x="236" y="46"/>
                  </a:lnTo>
                  <a:lnTo>
                    <a:pt x="234" y="44"/>
                  </a:lnTo>
                  <a:lnTo>
                    <a:pt x="233" y="43"/>
                  </a:lnTo>
                  <a:lnTo>
                    <a:pt x="232" y="43"/>
                  </a:lnTo>
                  <a:lnTo>
                    <a:pt x="230" y="44"/>
                  </a:lnTo>
                  <a:lnTo>
                    <a:pt x="230" y="48"/>
                  </a:lnTo>
                  <a:lnTo>
                    <a:pt x="228" y="47"/>
                  </a:lnTo>
                  <a:lnTo>
                    <a:pt x="228" y="48"/>
                  </a:lnTo>
                  <a:lnTo>
                    <a:pt x="228" y="50"/>
                  </a:lnTo>
                  <a:lnTo>
                    <a:pt x="227" y="53"/>
                  </a:lnTo>
                  <a:lnTo>
                    <a:pt x="226" y="53"/>
                  </a:lnTo>
                  <a:lnTo>
                    <a:pt x="226" y="54"/>
                  </a:lnTo>
                  <a:lnTo>
                    <a:pt x="226" y="56"/>
                  </a:lnTo>
                  <a:lnTo>
                    <a:pt x="224" y="56"/>
                  </a:lnTo>
                  <a:lnTo>
                    <a:pt x="223" y="54"/>
                  </a:lnTo>
                  <a:lnTo>
                    <a:pt x="224" y="52"/>
                  </a:lnTo>
                  <a:lnTo>
                    <a:pt x="224" y="49"/>
                  </a:lnTo>
                  <a:lnTo>
                    <a:pt x="224" y="48"/>
                  </a:lnTo>
                  <a:lnTo>
                    <a:pt x="223" y="47"/>
                  </a:lnTo>
                  <a:lnTo>
                    <a:pt x="224" y="46"/>
                  </a:lnTo>
                  <a:lnTo>
                    <a:pt x="226" y="43"/>
                  </a:lnTo>
                  <a:lnTo>
                    <a:pt x="224" y="41"/>
                  </a:lnTo>
                  <a:lnTo>
                    <a:pt x="223" y="40"/>
                  </a:lnTo>
                  <a:lnTo>
                    <a:pt x="221" y="40"/>
                  </a:lnTo>
                  <a:lnTo>
                    <a:pt x="220" y="41"/>
                  </a:lnTo>
                  <a:lnTo>
                    <a:pt x="220" y="43"/>
                  </a:lnTo>
                  <a:lnTo>
                    <a:pt x="218" y="43"/>
                  </a:lnTo>
                  <a:lnTo>
                    <a:pt x="217" y="41"/>
                  </a:lnTo>
                  <a:lnTo>
                    <a:pt x="217" y="40"/>
                  </a:lnTo>
                  <a:lnTo>
                    <a:pt x="216" y="41"/>
                  </a:lnTo>
                  <a:lnTo>
                    <a:pt x="215" y="40"/>
                  </a:lnTo>
                  <a:lnTo>
                    <a:pt x="215" y="37"/>
                  </a:lnTo>
                  <a:lnTo>
                    <a:pt x="214" y="37"/>
                  </a:lnTo>
                  <a:lnTo>
                    <a:pt x="214" y="35"/>
                  </a:lnTo>
                  <a:lnTo>
                    <a:pt x="212" y="34"/>
                  </a:lnTo>
                  <a:lnTo>
                    <a:pt x="210" y="32"/>
                  </a:lnTo>
                  <a:lnTo>
                    <a:pt x="209" y="31"/>
                  </a:lnTo>
                  <a:lnTo>
                    <a:pt x="206" y="32"/>
                  </a:lnTo>
                  <a:lnTo>
                    <a:pt x="206" y="36"/>
                  </a:lnTo>
                  <a:lnTo>
                    <a:pt x="206" y="37"/>
                  </a:lnTo>
                  <a:lnTo>
                    <a:pt x="209" y="40"/>
                  </a:lnTo>
                  <a:lnTo>
                    <a:pt x="206" y="41"/>
                  </a:lnTo>
                  <a:lnTo>
                    <a:pt x="205" y="41"/>
                  </a:lnTo>
                  <a:lnTo>
                    <a:pt x="205" y="43"/>
                  </a:lnTo>
                  <a:lnTo>
                    <a:pt x="208" y="44"/>
                  </a:lnTo>
                  <a:lnTo>
                    <a:pt x="210" y="47"/>
                  </a:lnTo>
                  <a:lnTo>
                    <a:pt x="211" y="48"/>
                  </a:lnTo>
                  <a:lnTo>
                    <a:pt x="214" y="50"/>
                  </a:lnTo>
                  <a:lnTo>
                    <a:pt x="214" y="52"/>
                  </a:lnTo>
                  <a:lnTo>
                    <a:pt x="212" y="52"/>
                  </a:lnTo>
                  <a:lnTo>
                    <a:pt x="209" y="50"/>
                  </a:lnTo>
                  <a:lnTo>
                    <a:pt x="206" y="50"/>
                  </a:lnTo>
                  <a:lnTo>
                    <a:pt x="205" y="52"/>
                  </a:lnTo>
                  <a:lnTo>
                    <a:pt x="206" y="53"/>
                  </a:lnTo>
                  <a:lnTo>
                    <a:pt x="208" y="55"/>
                  </a:lnTo>
                  <a:lnTo>
                    <a:pt x="209" y="56"/>
                  </a:lnTo>
                  <a:lnTo>
                    <a:pt x="210" y="60"/>
                  </a:lnTo>
                  <a:lnTo>
                    <a:pt x="211" y="61"/>
                  </a:lnTo>
                  <a:lnTo>
                    <a:pt x="210" y="62"/>
                  </a:lnTo>
                  <a:lnTo>
                    <a:pt x="208" y="62"/>
                  </a:lnTo>
                  <a:lnTo>
                    <a:pt x="205" y="62"/>
                  </a:lnTo>
                  <a:lnTo>
                    <a:pt x="204" y="61"/>
                  </a:lnTo>
                  <a:lnTo>
                    <a:pt x="204" y="60"/>
                  </a:lnTo>
                  <a:lnTo>
                    <a:pt x="203" y="60"/>
                  </a:lnTo>
                  <a:lnTo>
                    <a:pt x="199" y="61"/>
                  </a:lnTo>
                  <a:lnTo>
                    <a:pt x="197" y="64"/>
                  </a:lnTo>
                  <a:lnTo>
                    <a:pt x="196" y="66"/>
                  </a:lnTo>
                  <a:lnTo>
                    <a:pt x="197" y="66"/>
                  </a:lnTo>
                  <a:lnTo>
                    <a:pt x="198" y="68"/>
                  </a:lnTo>
                  <a:lnTo>
                    <a:pt x="199" y="71"/>
                  </a:lnTo>
                  <a:lnTo>
                    <a:pt x="200" y="72"/>
                  </a:lnTo>
                  <a:lnTo>
                    <a:pt x="203" y="73"/>
                  </a:lnTo>
                  <a:lnTo>
                    <a:pt x="204" y="76"/>
                  </a:lnTo>
                  <a:lnTo>
                    <a:pt x="205" y="77"/>
                  </a:lnTo>
                  <a:lnTo>
                    <a:pt x="208" y="78"/>
                  </a:lnTo>
                  <a:lnTo>
                    <a:pt x="209" y="79"/>
                  </a:lnTo>
                  <a:lnTo>
                    <a:pt x="210" y="78"/>
                  </a:lnTo>
                  <a:lnTo>
                    <a:pt x="211" y="77"/>
                  </a:lnTo>
                  <a:lnTo>
                    <a:pt x="212" y="77"/>
                  </a:lnTo>
                  <a:lnTo>
                    <a:pt x="215" y="77"/>
                  </a:lnTo>
                  <a:lnTo>
                    <a:pt x="217" y="78"/>
                  </a:lnTo>
                  <a:lnTo>
                    <a:pt x="217" y="79"/>
                  </a:lnTo>
                  <a:lnTo>
                    <a:pt x="216" y="82"/>
                  </a:lnTo>
                  <a:lnTo>
                    <a:pt x="215" y="80"/>
                  </a:lnTo>
                  <a:lnTo>
                    <a:pt x="214" y="79"/>
                  </a:lnTo>
                  <a:lnTo>
                    <a:pt x="211" y="79"/>
                  </a:lnTo>
                  <a:lnTo>
                    <a:pt x="209" y="79"/>
                  </a:lnTo>
                  <a:lnTo>
                    <a:pt x="206" y="80"/>
                  </a:lnTo>
                  <a:lnTo>
                    <a:pt x="205" y="79"/>
                  </a:lnTo>
                  <a:lnTo>
                    <a:pt x="204" y="78"/>
                  </a:lnTo>
                  <a:lnTo>
                    <a:pt x="200" y="77"/>
                  </a:lnTo>
                  <a:lnTo>
                    <a:pt x="200" y="79"/>
                  </a:lnTo>
                  <a:lnTo>
                    <a:pt x="199" y="80"/>
                  </a:lnTo>
                  <a:lnTo>
                    <a:pt x="200" y="82"/>
                  </a:lnTo>
                  <a:lnTo>
                    <a:pt x="203" y="84"/>
                  </a:lnTo>
                  <a:lnTo>
                    <a:pt x="205" y="85"/>
                  </a:lnTo>
                  <a:lnTo>
                    <a:pt x="205" y="88"/>
                  </a:lnTo>
                  <a:lnTo>
                    <a:pt x="203" y="89"/>
                  </a:lnTo>
                  <a:lnTo>
                    <a:pt x="203" y="90"/>
                  </a:lnTo>
                  <a:lnTo>
                    <a:pt x="204" y="90"/>
                  </a:lnTo>
                  <a:lnTo>
                    <a:pt x="205" y="91"/>
                  </a:lnTo>
                  <a:lnTo>
                    <a:pt x="208" y="94"/>
                  </a:lnTo>
                  <a:lnTo>
                    <a:pt x="206" y="95"/>
                  </a:lnTo>
                  <a:lnTo>
                    <a:pt x="205" y="95"/>
                  </a:lnTo>
                  <a:lnTo>
                    <a:pt x="205" y="94"/>
                  </a:lnTo>
                  <a:lnTo>
                    <a:pt x="204" y="91"/>
                  </a:lnTo>
                  <a:lnTo>
                    <a:pt x="203" y="91"/>
                  </a:lnTo>
                  <a:lnTo>
                    <a:pt x="202" y="94"/>
                  </a:lnTo>
                  <a:lnTo>
                    <a:pt x="200" y="95"/>
                  </a:lnTo>
                  <a:lnTo>
                    <a:pt x="199" y="96"/>
                  </a:lnTo>
                  <a:lnTo>
                    <a:pt x="199" y="97"/>
                  </a:lnTo>
                  <a:lnTo>
                    <a:pt x="202" y="98"/>
                  </a:lnTo>
                  <a:lnTo>
                    <a:pt x="203" y="98"/>
                  </a:lnTo>
                  <a:lnTo>
                    <a:pt x="204" y="98"/>
                  </a:lnTo>
                  <a:lnTo>
                    <a:pt x="205" y="101"/>
                  </a:lnTo>
                  <a:lnTo>
                    <a:pt x="208" y="101"/>
                  </a:lnTo>
                  <a:lnTo>
                    <a:pt x="209" y="100"/>
                  </a:lnTo>
                  <a:lnTo>
                    <a:pt x="210" y="98"/>
                  </a:lnTo>
                  <a:lnTo>
                    <a:pt x="211" y="98"/>
                  </a:lnTo>
                  <a:lnTo>
                    <a:pt x="215" y="98"/>
                  </a:lnTo>
                  <a:lnTo>
                    <a:pt x="216" y="98"/>
                  </a:lnTo>
                  <a:lnTo>
                    <a:pt x="218" y="98"/>
                  </a:lnTo>
                  <a:lnTo>
                    <a:pt x="220" y="98"/>
                  </a:lnTo>
                  <a:lnTo>
                    <a:pt x="222" y="101"/>
                  </a:lnTo>
                  <a:lnTo>
                    <a:pt x="222" y="102"/>
                  </a:lnTo>
                  <a:lnTo>
                    <a:pt x="223" y="103"/>
                  </a:lnTo>
                  <a:lnTo>
                    <a:pt x="224" y="103"/>
                  </a:lnTo>
                  <a:lnTo>
                    <a:pt x="226" y="103"/>
                  </a:lnTo>
                  <a:lnTo>
                    <a:pt x="227" y="102"/>
                  </a:lnTo>
                  <a:lnTo>
                    <a:pt x="228" y="101"/>
                  </a:lnTo>
                  <a:lnTo>
                    <a:pt x="230" y="102"/>
                  </a:lnTo>
                  <a:lnTo>
                    <a:pt x="232" y="102"/>
                  </a:lnTo>
                  <a:lnTo>
                    <a:pt x="234" y="103"/>
                  </a:lnTo>
                  <a:lnTo>
                    <a:pt x="235" y="106"/>
                  </a:lnTo>
                  <a:lnTo>
                    <a:pt x="233" y="107"/>
                  </a:lnTo>
                  <a:lnTo>
                    <a:pt x="232" y="106"/>
                  </a:lnTo>
                  <a:lnTo>
                    <a:pt x="229" y="106"/>
                  </a:lnTo>
                  <a:lnTo>
                    <a:pt x="228" y="105"/>
                  </a:lnTo>
                  <a:lnTo>
                    <a:pt x="228" y="103"/>
                  </a:lnTo>
                  <a:lnTo>
                    <a:pt x="227" y="105"/>
                  </a:lnTo>
                  <a:lnTo>
                    <a:pt x="226" y="106"/>
                  </a:lnTo>
                  <a:lnTo>
                    <a:pt x="224" y="107"/>
                  </a:lnTo>
                  <a:lnTo>
                    <a:pt x="222" y="107"/>
                  </a:lnTo>
                  <a:lnTo>
                    <a:pt x="220" y="108"/>
                  </a:lnTo>
                  <a:lnTo>
                    <a:pt x="217" y="107"/>
                  </a:lnTo>
                  <a:lnTo>
                    <a:pt x="217" y="106"/>
                  </a:lnTo>
                  <a:lnTo>
                    <a:pt x="217" y="105"/>
                  </a:lnTo>
                  <a:lnTo>
                    <a:pt x="216" y="103"/>
                  </a:lnTo>
                  <a:lnTo>
                    <a:pt x="215" y="103"/>
                  </a:lnTo>
                  <a:lnTo>
                    <a:pt x="215" y="105"/>
                  </a:lnTo>
                  <a:lnTo>
                    <a:pt x="214" y="105"/>
                  </a:lnTo>
                  <a:lnTo>
                    <a:pt x="212" y="106"/>
                  </a:lnTo>
                  <a:lnTo>
                    <a:pt x="214" y="107"/>
                  </a:lnTo>
                  <a:lnTo>
                    <a:pt x="214" y="109"/>
                  </a:lnTo>
                  <a:lnTo>
                    <a:pt x="212" y="109"/>
                  </a:lnTo>
                  <a:lnTo>
                    <a:pt x="211" y="109"/>
                  </a:lnTo>
                  <a:lnTo>
                    <a:pt x="211" y="108"/>
                  </a:lnTo>
                  <a:lnTo>
                    <a:pt x="211" y="106"/>
                  </a:lnTo>
                  <a:lnTo>
                    <a:pt x="209" y="107"/>
                  </a:lnTo>
                  <a:lnTo>
                    <a:pt x="208" y="107"/>
                  </a:lnTo>
                  <a:lnTo>
                    <a:pt x="208" y="105"/>
                  </a:lnTo>
                  <a:lnTo>
                    <a:pt x="208" y="103"/>
                  </a:lnTo>
                  <a:lnTo>
                    <a:pt x="206" y="102"/>
                  </a:lnTo>
                  <a:lnTo>
                    <a:pt x="204" y="102"/>
                  </a:lnTo>
                  <a:lnTo>
                    <a:pt x="202" y="103"/>
                  </a:lnTo>
                  <a:lnTo>
                    <a:pt x="199" y="103"/>
                  </a:lnTo>
                  <a:lnTo>
                    <a:pt x="198" y="105"/>
                  </a:lnTo>
                  <a:lnTo>
                    <a:pt x="197" y="105"/>
                  </a:lnTo>
                  <a:lnTo>
                    <a:pt x="198" y="107"/>
                  </a:lnTo>
                  <a:lnTo>
                    <a:pt x="199" y="109"/>
                  </a:lnTo>
                  <a:lnTo>
                    <a:pt x="200" y="111"/>
                  </a:lnTo>
                  <a:lnTo>
                    <a:pt x="202" y="112"/>
                  </a:lnTo>
                  <a:lnTo>
                    <a:pt x="203" y="113"/>
                  </a:lnTo>
                  <a:lnTo>
                    <a:pt x="203" y="114"/>
                  </a:lnTo>
                  <a:lnTo>
                    <a:pt x="204" y="115"/>
                  </a:lnTo>
                  <a:lnTo>
                    <a:pt x="206" y="117"/>
                  </a:lnTo>
                  <a:lnTo>
                    <a:pt x="208" y="118"/>
                  </a:lnTo>
                  <a:lnTo>
                    <a:pt x="205" y="119"/>
                  </a:lnTo>
                  <a:lnTo>
                    <a:pt x="204" y="120"/>
                  </a:lnTo>
                  <a:lnTo>
                    <a:pt x="203" y="118"/>
                  </a:lnTo>
                  <a:lnTo>
                    <a:pt x="200" y="118"/>
                  </a:lnTo>
                  <a:lnTo>
                    <a:pt x="200" y="119"/>
                  </a:lnTo>
                  <a:lnTo>
                    <a:pt x="199" y="120"/>
                  </a:lnTo>
                  <a:lnTo>
                    <a:pt x="198" y="120"/>
                  </a:lnTo>
                  <a:lnTo>
                    <a:pt x="197" y="119"/>
                  </a:lnTo>
                  <a:lnTo>
                    <a:pt x="197" y="117"/>
                  </a:lnTo>
                  <a:lnTo>
                    <a:pt x="196" y="117"/>
                  </a:lnTo>
                  <a:lnTo>
                    <a:pt x="194" y="117"/>
                  </a:lnTo>
                  <a:lnTo>
                    <a:pt x="193" y="117"/>
                  </a:lnTo>
                  <a:lnTo>
                    <a:pt x="192" y="118"/>
                  </a:lnTo>
                  <a:lnTo>
                    <a:pt x="191" y="118"/>
                  </a:lnTo>
                  <a:lnTo>
                    <a:pt x="191" y="119"/>
                  </a:lnTo>
                  <a:lnTo>
                    <a:pt x="191" y="121"/>
                  </a:lnTo>
                  <a:lnTo>
                    <a:pt x="192" y="121"/>
                  </a:lnTo>
                  <a:lnTo>
                    <a:pt x="194" y="124"/>
                  </a:lnTo>
                  <a:lnTo>
                    <a:pt x="196" y="126"/>
                  </a:lnTo>
                  <a:lnTo>
                    <a:pt x="198" y="125"/>
                  </a:lnTo>
                  <a:lnTo>
                    <a:pt x="199" y="125"/>
                  </a:lnTo>
                  <a:lnTo>
                    <a:pt x="202" y="125"/>
                  </a:lnTo>
                  <a:lnTo>
                    <a:pt x="203" y="125"/>
                  </a:lnTo>
                  <a:lnTo>
                    <a:pt x="204" y="125"/>
                  </a:lnTo>
                  <a:lnTo>
                    <a:pt x="206" y="125"/>
                  </a:lnTo>
                  <a:lnTo>
                    <a:pt x="208" y="125"/>
                  </a:lnTo>
                  <a:lnTo>
                    <a:pt x="209" y="124"/>
                  </a:lnTo>
                  <a:lnTo>
                    <a:pt x="209" y="123"/>
                  </a:lnTo>
                  <a:lnTo>
                    <a:pt x="210" y="120"/>
                  </a:lnTo>
                  <a:lnTo>
                    <a:pt x="211" y="119"/>
                  </a:lnTo>
                  <a:lnTo>
                    <a:pt x="212" y="119"/>
                  </a:lnTo>
                  <a:lnTo>
                    <a:pt x="216" y="118"/>
                  </a:lnTo>
                  <a:lnTo>
                    <a:pt x="218" y="117"/>
                  </a:lnTo>
                  <a:lnTo>
                    <a:pt x="220" y="115"/>
                  </a:lnTo>
                  <a:lnTo>
                    <a:pt x="221" y="114"/>
                  </a:lnTo>
                  <a:lnTo>
                    <a:pt x="222" y="113"/>
                  </a:lnTo>
                  <a:lnTo>
                    <a:pt x="224" y="114"/>
                  </a:lnTo>
                  <a:lnTo>
                    <a:pt x="226" y="115"/>
                  </a:lnTo>
                  <a:lnTo>
                    <a:pt x="226" y="118"/>
                  </a:lnTo>
                  <a:lnTo>
                    <a:pt x="224" y="118"/>
                  </a:lnTo>
                  <a:lnTo>
                    <a:pt x="223" y="117"/>
                  </a:lnTo>
                  <a:lnTo>
                    <a:pt x="221" y="118"/>
                  </a:lnTo>
                  <a:lnTo>
                    <a:pt x="218" y="119"/>
                  </a:lnTo>
                  <a:lnTo>
                    <a:pt x="218" y="121"/>
                  </a:lnTo>
                  <a:lnTo>
                    <a:pt x="217" y="123"/>
                  </a:lnTo>
                  <a:lnTo>
                    <a:pt x="217" y="124"/>
                  </a:lnTo>
                  <a:lnTo>
                    <a:pt x="215" y="124"/>
                  </a:lnTo>
                  <a:lnTo>
                    <a:pt x="215" y="121"/>
                  </a:lnTo>
                  <a:lnTo>
                    <a:pt x="214" y="123"/>
                  </a:lnTo>
                  <a:lnTo>
                    <a:pt x="212" y="124"/>
                  </a:lnTo>
                  <a:lnTo>
                    <a:pt x="212" y="126"/>
                  </a:lnTo>
                  <a:lnTo>
                    <a:pt x="211" y="127"/>
                  </a:lnTo>
                  <a:lnTo>
                    <a:pt x="209" y="130"/>
                  </a:lnTo>
                  <a:lnTo>
                    <a:pt x="208" y="129"/>
                  </a:lnTo>
                  <a:lnTo>
                    <a:pt x="208" y="127"/>
                  </a:lnTo>
                  <a:lnTo>
                    <a:pt x="206" y="127"/>
                  </a:lnTo>
                  <a:lnTo>
                    <a:pt x="204" y="129"/>
                  </a:lnTo>
                  <a:lnTo>
                    <a:pt x="204" y="130"/>
                  </a:lnTo>
                  <a:lnTo>
                    <a:pt x="202" y="130"/>
                  </a:lnTo>
                  <a:lnTo>
                    <a:pt x="200" y="129"/>
                  </a:lnTo>
                  <a:lnTo>
                    <a:pt x="198" y="129"/>
                  </a:lnTo>
                  <a:lnTo>
                    <a:pt x="197" y="127"/>
                  </a:lnTo>
                  <a:lnTo>
                    <a:pt x="194" y="127"/>
                  </a:lnTo>
                  <a:lnTo>
                    <a:pt x="194" y="126"/>
                  </a:lnTo>
                  <a:lnTo>
                    <a:pt x="193" y="126"/>
                  </a:lnTo>
                  <a:lnTo>
                    <a:pt x="193" y="125"/>
                  </a:lnTo>
                  <a:lnTo>
                    <a:pt x="191" y="124"/>
                  </a:lnTo>
                  <a:lnTo>
                    <a:pt x="189" y="125"/>
                  </a:lnTo>
                  <a:lnTo>
                    <a:pt x="188" y="126"/>
                  </a:lnTo>
                  <a:lnTo>
                    <a:pt x="187" y="124"/>
                  </a:lnTo>
                  <a:lnTo>
                    <a:pt x="186" y="123"/>
                  </a:lnTo>
                  <a:lnTo>
                    <a:pt x="185" y="120"/>
                  </a:lnTo>
                  <a:lnTo>
                    <a:pt x="183" y="119"/>
                  </a:lnTo>
                  <a:lnTo>
                    <a:pt x="182" y="118"/>
                  </a:lnTo>
                  <a:lnTo>
                    <a:pt x="180" y="117"/>
                  </a:lnTo>
                  <a:lnTo>
                    <a:pt x="180" y="114"/>
                  </a:lnTo>
                  <a:lnTo>
                    <a:pt x="180" y="113"/>
                  </a:lnTo>
                  <a:lnTo>
                    <a:pt x="177" y="112"/>
                  </a:lnTo>
                  <a:lnTo>
                    <a:pt x="175" y="113"/>
                  </a:lnTo>
                  <a:lnTo>
                    <a:pt x="175" y="114"/>
                  </a:lnTo>
                  <a:lnTo>
                    <a:pt x="175" y="115"/>
                  </a:lnTo>
                  <a:lnTo>
                    <a:pt x="175" y="117"/>
                  </a:lnTo>
                  <a:lnTo>
                    <a:pt x="176" y="120"/>
                  </a:lnTo>
                  <a:lnTo>
                    <a:pt x="176" y="121"/>
                  </a:lnTo>
                  <a:lnTo>
                    <a:pt x="175" y="123"/>
                  </a:lnTo>
                  <a:lnTo>
                    <a:pt x="173" y="121"/>
                  </a:lnTo>
                  <a:lnTo>
                    <a:pt x="171" y="120"/>
                  </a:lnTo>
                  <a:lnTo>
                    <a:pt x="170" y="119"/>
                  </a:lnTo>
                  <a:lnTo>
                    <a:pt x="169" y="119"/>
                  </a:lnTo>
                  <a:lnTo>
                    <a:pt x="168" y="119"/>
                  </a:lnTo>
                  <a:lnTo>
                    <a:pt x="165" y="119"/>
                  </a:lnTo>
                  <a:lnTo>
                    <a:pt x="163" y="118"/>
                  </a:lnTo>
                  <a:lnTo>
                    <a:pt x="162" y="118"/>
                  </a:lnTo>
                  <a:lnTo>
                    <a:pt x="161" y="117"/>
                  </a:lnTo>
                  <a:lnTo>
                    <a:pt x="157" y="118"/>
                  </a:lnTo>
                  <a:lnTo>
                    <a:pt x="157" y="117"/>
                  </a:lnTo>
                  <a:lnTo>
                    <a:pt x="156" y="115"/>
                  </a:lnTo>
                  <a:lnTo>
                    <a:pt x="155" y="114"/>
                  </a:lnTo>
                  <a:lnTo>
                    <a:pt x="155" y="113"/>
                  </a:lnTo>
                  <a:lnTo>
                    <a:pt x="152" y="112"/>
                  </a:lnTo>
                  <a:lnTo>
                    <a:pt x="151" y="111"/>
                  </a:lnTo>
                  <a:lnTo>
                    <a:pt x="151" y="112"/>
                  </a:lnTo>
                  <a:lnTo>
                    <a:pt x="149" y="112"/>
                  </a:lnTo>
                  <a:lnTo>
                    <a:pt x="147" y="113"/>
                  </a:lnTo>
                  <a:lnTo>
                    <a:pt x="147" y="115"/>
                  </a:lnTo>
                  <a:lnTo>
                    <a:pt x="150" y="117"/>
                  </a:lnTo>
                  <a:lnTo>
                    <a:pt x="150" y="118"/>
                  </a:lnTo>
                  <a:lnTo>
                    <a:pt x="147" y="119"/>
                  </a:lnTo>
                  <a:lnTo>
                    <a:pt x="146" y="118"/>
                  </a:lnTo>
                  <a:lnTo>
                    <a:pt x="145" y="117"/>
                  </a:lnTo>
                  <a:lnTo>
                    <a:pt x="145" y="114"/>
                  </a:lnTo>
                  <a:lnTo>
                    <a:pt x="144" y="113"/>
                  </a:lnTo>
                  <a:lnTo>
                    <a:pt x="143" y="114"/>
                  </a:lnTo>
                  <a:lnTo>
                    <a:pt x="140" y="115"/>
                  </a:lnTo>
                  <a:lnTo>
                    <a:pt x="139" y="115"/>
                  </a:lnTo>
                  <a:lnTo>
                    <a:pt x="138" y="117"/>
                  </a:lnTo>
                  <a:lnTo>
                    <a:pt x="139" y="119"/>
                  </a:lnTo>
                  <a:lnTo>
                    <a:pt x="140" y="120"/>
                  </a:lnTo>
                  <a:lnTo>
                    <a:pt x="143" y="120"/>
                  </a:lnTo>
                  <a:lnTo>
                    <a:pt x="143" y="123"/>
                  </a:lnTo>
                  <a:lnTo>
                    <a:pt x="143" y="125"/>
                  </a:lnTo>
                  <a:lnTo>
                    <a:pt x="144" y="126"/>
                  </a:lnTo>
                  <a:lnTo>
                    <a:pt x="145" y="125"/>
                  </a:lnTo>
                  <a:lnTo>
                    <a:pt x="146" y="125"/>
                  </a:lnTo>
                  <a:lnTo>
                    <a:pt x="149" y="125"/>
                  </a:lnTo>
                  <a:lnTo>
                    <a:pt x="147" y="126"/>
                  </a:lnTo>
                  <a:lnTo>
                    <a:pt x="145" y="127"/>
                  </a:lnTo>
                  <a:lnTo>
                    <a:pt x="143" y="129"/>
                  </a:lnTo>
                  <a:lnTo>
                    <a:pt x="141" y="129"/>
                  </a:lnTo>
                  <a:lnTo>
                    <a:pt x="143" y="131"/>
                  </a:lnTo>
                  <a:lnTo>
                    <a:pt x="145" y="131"/>
                  </a:lnTo>
                  <a:lnTo>
                    <a:pt x="147" y="132"/>
                  </a:lnTo>
                  <a:lnTo>
                    <a:pt x="149" y="133"/>
                  </a:lnTo>
                  <a:lnTo>
                    <a:pt x="150" y="135"/>
                  </a:lnTo>
                  <a:lnTo>
                    <a:pt x="151" y="133"/>
                  </a:lnTo>
                  <a:lnTo>
                    <a:pt x="152" y="132"/>
                  </a:lnTo>
                  <a:lnTo>
                    <a:pt x="155" y="132"/>
                  </a:lnTo>
                  <a:lnTo>
                    <a:pt x="156" y="132"/>
                  </a:lnTo>
                  <a:lnTo>
                    <a:pt x="157" y="132"/>
                  </a:lnTo>
                  <a:lnTo>
                    <a:pt x="158" y="133"/>
                  </a:lnTo>
                  <a:lnTo>
                    <a:pt x="158" y="136"/>
                  </a:lnTo>
                  <a:lnTo>
                    <a:pt x="159" y="138"/>
                  </a:lnTo>
                  <a:lnTo>
                    <a:pt x="162" y="138"/>
                  </a:lnTo>
                  <a:lnTo>
                    <a:pt x="164" y="138"/>
                  </a:lnTo>
                  <a:lnTo>
                    <a:pt x="165" y="137"/>
                  </a:lnTo>
                  <a:lnTo>
                    <a:pt x="167" y="137"/>
                  </a:lnTo>
                  <a:lnTo>
                    <a:pt x="168" y="137"/>
                  </a:lnTo>
                  <a:lnTo>
                    <a:pt x="170" y="138"/>
                  </a:lnTo>
                  <a:lnTo>
                    <a:pt x="171" y="138"/>
                  </a:lnTo>
                  <a:lnTo>
                    <a:pt x="174" y="138"/>
                  </a:lnTo>
                  <a:lnTo>
                    <a:pt x="175" y="136"/>
                  </a:lnTo>
                  <a:lnTo>
                    <a:pt x="175" y="133"/>
                  </a:lnTo>
                  <a:lnTo>
                    <a:pt x="175" y="135"/>
                  </a:lnTo>
                  <a:lnTo>
                    <a:pt x="176" y="135"/>
                  </a:lnTo>
                  <a:lnTo>
                    <a:pt x="177" y="136"/>
                  </a:lnTo>
                  <a:lnTo>
                    <a:pt x="179" y="137"/>
                  </a:lnTo>
                  <a:lnTo>
                    <a:pt x="181" y="138"/>
                  </a:lnTo>
                  <a:lnTo>
                    <a:pt x="180" y="139"/>
                  </a:lnTo>
                  <a:lnTo>
                    <a:pt x="179" y="141"/>
                  </a:lnTo>
                  <a:lnTo>
                    <a:pt x="181" y="142"/>
                  </a:lnTo>
                  <a:lnTo>
                    <a:pt x="180" y="143"/>
                  </a:lnTo>
                  <a:lnTo>
                    <a:pt x="179" y="143"/>
                  </a:lnTo>
                  <a:lnTo>
                    <a:pt x="176" y="144"/>
                  </a:lnTo>
                  <a:lnTo>
                    <a:pt x="174" y="147"/>
                  </a:lnTo>
                  <a:lnTo>
                    <a:pt x="175" y="149"/>
                  </a:lnTo>
                  <a:lnTo>
                    <a:pt x="176" y="150"/>
                  </a:lnTo>
                  <a:lnTo>
                    <a:pt x="179" y="151"/>
                  </a:lnTo>
                  <a:lnTo>
                    <a:pt x="180" y="151"/>
                  </a:lnTo>
                  <a:lnTo>
                    <a:pt x="181" y="153"/>
                  </a:lnTo>
                  <a:lnTo>
                    <a:pt x="181" y="155"/>
                  </a:lnTo>
                  <a:lnTo>
                    <a:pt x="180" y="156"/>
                  </a:lnTo>
                  <a:lnTo>
                    <a:pt x="182" y="157"/>
                  </a:lnTo>
                  <a:lnTo>
                    <a:pt x="183" y="157"/>
                  </a:lnTo>
                  <a:lnTo>
                    <a:pt x="185" y="157"/>
                  </a:lnTo>
                  <a:lnTo>
                    <a:pt x="186" y="159"/>
                  </a:lnTo>
                  <a:lnTo>
                    <a:pt x="185" y="160"/>
                  </a:lnTo>
                  <a:lnTo>
                    <a:pt x="185" y="162"/>
                  </a:lnTo>
                  <a:lnTo>
                    <a:pt x="186" y="163"/>
                  </a:lnTo>
                  <a:lnTo>
                    <a:pt x="185" y="163"/>
                  </a:lnTo>
                  <a:lnTo>
                    <a:pt x="182" y="163"/>
                  </a:lnTo>
                  <a:lnTo>
                    <a:pt x="181" y="163"/>
                  </a:lnTo>
                  <a:lnTo>
                    <a:pt x="181" y="165"/>
                  </a:lnTo>
                  <a:lnTo>
                    <a:pt x="180" y="165"/>
                  </a:lnTo>
                  <a:lnTo>
                    <a:pt x="179" y="166"/>
                  </a:lnTo>
                  <a:lnTo>
                    <a:pt x="180" y="167"/>
                  </a:lnTo>
                  <a:lnTo>
                    <a:pt x="181" y="168"/>
                  </a:lnTo>
                  <a:lnTo>
                    <a:pt x="182" y="169"/>
                  </a:lnTo>
                  <a:lnTo>
                    <a:pt x="183" y="171"/>
                  </a:lnTo>
                  <a:lnTo>
                    <a:pt x="185" y="171"/>
                  </a:lnTo>
                  <a:lnTo>
                    <a:pt x="187" y="171"/>
                  </a:lnTo>
                  <a:lnTo>
                    <a:pt x="188" y="171"/>
                  </a:lnTo>
                  <a:lnTo>
                    <a:pt x="188" y="172"/>
                  </a:lnTo>
                  <a:lnTo>
                    <a:pt x="189" y="174"/>
                  </a:lnTo>
                  <a:lnTo>
                    <a:pt x="192" y="174"/>
                  </a:lnTo>
                  <a:lnTo>
                    <a:pt x="194" y="175"/>
                  </a:lnTo>
                  <a:lnTo>
                    <a:pt x="194" y="174"/>
                  </a:lnTo>
                  <a:lnTo>
                    <a:pt x="196" y="174"/>
                  </a:lnTo>
                  <a:lnTo>
                    <a:pt x="197" y="173"/>
                  </a:lnTo>
                  <a:lnTo>
                    <a:pt x="199" y="172"/>
                  </a:lnTo>
                  <a:lnTo>
                    <a:pt x="200" y="171"/>
                  </a:lnTo>
                  <a:lnTo>
                    <a:pt x="203" y="168"/>
                  </a:lnTo>
                  <a:lnTo>
                    <a:pt x="205" y="168"/>
                  </a:lnTo>
                  <a:lnTo>
                    <a:pt x="206" y="169"/>
                  </a:lnTo>
                  <a:lnTo>
                    <a:pt x="208" y="168"/>
                  </a:lnTo>
                  <a:lnTo>
                    <a:pt x="209" y="168"/>
                  </a:lnTo>
                  <a:lnTo>
                    <a:pt x="210" y="169"/>
                  </a:lnTo>
                  <a:lnTo>
                    <a:pt x="211" y="171"/>
                  </a:lnTo>
                  <a:lnTo>
                    <a:pt x="214" y="171"/>
                  </a:lnTo>
                  <a:lnTo>
                    <a:pt x="216" y="171"/>
                  </a:lnTo>
                  <a:lnTo>
                    <a:pt x="217" y="171"/>
                  </a:lnTo>
                  <a:lnTo>
                    <a:pt x="217" y="168"/>
                  </a:lnTo>
                  <a:lnTo>
                    <a:pt x="218" y="167"/>
                  </a:lnTo>
                  <a:lnTo>
                    <a:pt x="220" y="169"/>
                  </a:lnTo>
                  <a:lnTo>
                    <a:pt x="222" y="168"/>
                  </a:lnTo>
                  <a:lnTo>
                    <a:pt x="223" y="168"/>
                  </a:lnTo>
                  <a:lnTo>
                    <a:pt x="224" y="166"/>
                  </a:lnTo>
                  <a:lnTo>
                    <a:pt x="227" y="165"/>
                  </a:lnTo>
                  <a:lnTo>
                    <a:pt x="227" y="163"/>
                  </a:lnTo>
                  <a:lnTo>
                    <a:pt x="228" y="161"/>
                  </a:lnTo>
                  <a:lnTo>
                    <a:pt x="229" y="161"/>
                  </a:lnTo>
                  <a:lnTo>
                    <a:pt x="232" y="162"/>
                  </a:lnTo>
                  <a:lnTo>
                    <a:pt x="233" y="163"/>
                  </a:lnTo>
                  <a:lnTo>
                    <a:pt x="235" y="163"/>
                  </a:lnTo>
                  <a:lnTo>
                    <a:pt x="238" y="163"/>
                  </a:lnTo>
                  <a:lnTo>
                    <a:pt x="240" y="163"/>
                  </a:lnTo>
                  <a:lnTo>
                    <a:pt x="241" y="163"/>
                  </a:lnTo>
                  <a:lnTo>
                    <a:pt x="242" y="163"/>
                  </a:lnTo>
                  <a:lnTo>
                    <a:pt x="242" y="165"/>
                  </a:lnTo>
                  <a:lnTo>
                    <a:pt x="242" y="166"/>
                  </a:lnTo>
                  <a:lnTo>
                    <a:pt x="241" y="167"/>
                  </a:lnTo>
                  <a:lnTo>
                    <a:pt x="240" y="167"/>
                  </a:lnTo>
                  <a:lnTo>
                    <a:pt x="239" y="167"/>
                  </a:lnTo>
                  <a:lnTo>
                    <a:pt x="239" y="168"/>
                  </a:lnTo>
                  <a:lnTo>
                    <a:pt x="238" y="168"/>
                  </a:lnTo>
                  <a:lnTo>
                    <a:pt x="238" y="171"/>
                  </a:lnTo>
                  <a:lnTo>
                    <a:pt x="236" y="171"/>
                  </a:lnTo>
                  <a:lnTo>
                    <a:pt x="235" y="172"/>
                  </a:lnTo>
                  <a:lnTo>
                    <a:pt x="234" y="172"/>
                  </a:lnTo>
                  <a:lnTo>
                    <a:pt x="232" y="172"/>
                  </a:lnTo>
                  <a:lnTo>
                    <a:pt x="230" y="173"/>
                  </a:lnTo>
                  <a:lnTo>
                    <a:pt x="230" y="174"/>
                  </a:lnTo>
                  <a:lnTo>
                    <a:pt x="229" y="174"/>
                  </a:lnTo>
                  <a:lnTo>
                    <a:pt x="228" y="175"/>
                  </a:lnTo>
                  <a:lnTo>
                    <a:pt x="227" y="175"/>
                  </a:lnTo>
                  <a:lnTo>
                    <a:pt x="227" y="177"/>
                  </a:lnTo>
                  <a:lnTo>
                    <a:pt x="226" y="178"/>
                  </a:lnTo>
                  <a:lnTo>
                    <a:pt x="226" y="180"/>
                  </a:lnTo>
                  <a:lnTo>
                    <a:pt x="228" y="180"/>
                  </a:lnTo>
                  <a:lnTo>
                    <a:pt x="230" y="180"/>
                  </a:lnTo>
                  <a:lnTo>
                    <a:pt x="230" y="179"/>
                  </a:lnTo>
                  <a:lnTo>
                    <a:pt x="232" y="178"/>
                  </a:lnTo>
                  <a:lnTo>
                    <a:pt x="233" y="177"/>
                  </a:lnTo>
                  <a:lnTo>
                    <a:pt x="234" y="177"/>
                  </a:lnTo>
                  <a:lnTo>
                    <a:pt x="235" y="175"/>
                  </a:lnTo>
                  <a:lnTo>
                    <a:pt x="236" y="174"/>
                  </a:lnTo>
                  <a:lnTo>
                    <a:pt x="239" y="173"/>
                  </a:lnTo>
                  <a:lnTo>
                    <a:pt x="241" y="172"/>
                  </a:lnTo>
                  <a:lnTo>
                    <a:pt x="244" y="171"/>
                  </a:lnTo>
                  <a:lnTo>
                    <a:pt x="246" y="171"/>
                  </a:lnTo>
                  <a:lnTo>
                    <a:pt x="245" y="172"/>
                  </a:lnTo>
                  <a:lnTo>
                    <a:pt x="244" y="173"/>
                  </a:lnTo>
                  <a:lnTo>
                    <a:pt x="241" y="174"/>
                  </a:lnTo>
                  <a:lnTo>
                    <a:pt x="240" y="174"/>
                  </a:lnTo>
                  <a:lnTo>
                    <a:pt x="241" y="177"/>
                  </a:lnTo>
                  <a:lnTo>
                    <a:pt x="242" y="175"/>
                  </a:lnTo>
                  <a:lnTo>
                    <a:pt x="244" y="174"/>
                  </a:lnTo>
                  <a:lnTo>
                    <a:pt x="245" y="174"/>
                  </a:lnTo>
                  <a:lnTo>
                    <a:pt x="246" y="173"/>
                  </a:lnTo>
                  <a:lnTo>
                    <a:pt x="247" y="172"/>
                  </a:lnTo>
                  <a:lnTo>
                    <a:pt x="250" y="171"/>
                  </a:lnTo>
                  <a:lnTo>
                    <a:pt x="251" y="171"/>
                  </a:lnTo>
                  <a:lnTo>
                    <a:pt x="251" y="173"/>
                  </a:lnTo>
                  <a:lnTo>
                    <a:pt x="248" y="174"/>
                  </a:lnTo>
                  <a:lnTo>
                    <a:pt x="247" y="175"/>
                  </a:lnTo>
                  <a:lnTo>
                    <a:pt x="247" y="177"/>
                  </a:lnTo>
                  <a:lnTo>
                    <a:pt x="248" y="178"/>
                  </a:lnTo>
                  <a:lnTo>
                    <a:pt x="247" y="179"/>
                  </a:lnTo>
                  <a:lnTo>
                    <a:pt x="246" y="179"/>
                  </a:lnTo>
                  <a:lnTo>
                    <a:pt x="244" y="179"/>
                  </a:lnTo>
                  <a:lnTo>
                    <a:pt x="242" y="181"/>
                  </a:lnTo>
                  <a:lnTo>
                    <a:pt x="241" y="183"/>
                  </a:lnTo>
                  <a:lnTo>
                    <a:pt x="240" y="181"/>
                  </a:lnTo>
                  <a:lnTo>
                    <a:pt x="239" y="180"/>
                  </a:lnTo>
                  <a:lnTo>
                    <a:pt x="236" y="180"/>
                  </a:lnTo>
                  <a:lnTo>
                    <a:pt x="238" y="181"/>
                  </a:lnTo>
                  <a:lnTo>
                    <a:pt x="239" y="183"/>
                  </a:lnTo>
                  <a:lnTo>
                    <a:pt x="239" y="185"/>
                  </a:lnTo>
                  <a:lnTo>
                    <a:pt x="239" y="186"/>
                  </a:lnTo>
                  <a:lnTo>
                    <a:pt x="238" y="189"/>
                  </a:lnTo>
                  <a:lnTo>
                    <a:pt x="238" y="190"/>
                  </a:lnTo>
                  <a:lnTo>
                    <a:pt x="236" y="191"/>
                  </a:lnTo>
                  <a:lnTo>
                    <a:pt x="235" y="192"/>
                  </a:lnTo>
                  <a:lnTo>
                    <a:pt x="234" y="193"/>
                  </a:lnTo>
                  <a:lnTo>
                    <a:pt x="235" y="193"/>
                  </a:lnTo>
                  <a:lnTo>
                    <a:pt x="238" y="195"/>
                  </a:lnTo>
                  <a:lnTo>
                    <a:pt x="240" y="195"/>
                  </a:lnTo>
                  <a:lnTo>
                    <a:pt x="242" y="195"/>
                  </a:lnTo>
                  <a:lnTo>
                    <a:pt x="244" y="193"/>
                  </a:lnTo>
                  <a:lnTo>
                    <a:pt x="246" y="193"/>
                  </a:lnTo>
                  <a:lnTo>
                    <a:pt x="248" y="193"/>
                  </a:lnTo>
                  <a:lnTo>
                    <a:pt x="250" y="192"/>
                  </a:lnTo>
                  <a:lnTo>
                    <a:pt x="251" y="192"/>
                  </a:lnTo>
                  <a:lnTo>
                    <a:pt x="252" y="191"/>
                  </a:lnTo>
                  <a:lnTo>
                    <a:pt x="252" y="190"/>
                  </a:lnTo>
                  <a:lnTo>
                    <a:pt x="251" y="187"/>
                  </a:lnTo>
                  <a:lnTo>
                    <a:pt x="250" y="187"/>
                  </a:lnTo>
                  <a:lnTo>
                    <a:pt x="250" y="185"/>
                  </a:lnTo>
                  <a:lnTo>
                    <a:pt x="250" y="184"/>
                  </a:lnTo>
                  <a:lnTo>
                    <a:pt x="251" y="183"/>
                  </a:lnTo>
                  <a:lnTo>
                    <a:pt x="252" y="183"/>
                  </a:lnTo>
                  <a:lnTo>
                    <a:pt x="252" y="181"/>
                  </a:lnTo>
                  <a:lnTo>
                    <a:pt x="252" y="180"/>
                  </a:lnTo>
                  <a:lnTo>
                    <a:pt x="252" y="179"/>
                  </a:lnTo>
                  <a:lnTo>
                    <a:pt x="251" y="178"/>
                  </a:lnTo>
                  <a:lnTo>
                    <a:pt x="253" y="178"/>
                  </a:lnTo>
                  <a:lnTo>
                    <a:pt x="253" y="177"/>
                  </a:lnTo>
                  <a:lnTo>
                    <a:pt x="253" y="175"/>
                  </a:lnTo>
                  <a:lnTo>
                    <a:pt x="253" y="174"/>
                  </a:lnTo>
                  <a:lnTo>
                    <a:pt x="253" y="173"/>
                  </a:lnTo>
                  <a:lnTo>
                    <a:pt x="255" y="169"/>
                  </a:lnTo>
                  <a:lnTo>
                    <a:pt x="256" y="169"/>
                  </a:lnTo>
                  <a:lnTo>
                    <a:pt x="258" y="168"/>
                  </a:lnTo>
                  <a:lnTo>
                    <a:pt x="257" y="167"/>
                  </a:lnTo>
                  <a:lnTo>
                    <a:pt x="257" y="166"/>
                  </a:lnTo>
                  <a:lnTo>
                    <a:pt x="256" y="165"/>
                  </a:lnTo>
                  <a:lnTo>
                    <a:pt x="255" y="163"/>
                  </a:lnTo>
                  <a:lnTo>
                    <a:pt x="256" y="161"/>
                  </a:lnTo>
                  <a:lnTo>
                    <a:pt x="257" y="161"/>
                  </a:lnTo>
                  <a:lnTo>
                    <a:pt x="258" y="161"/>
                  </a:lnTo>
                  <a:lnTo>
                    <a:pt x="258" y="162"/>
                  </a:lnTo>
                  <a:lnTo>
                    <a:pt x="259" y="162"/>
                  </a:lnTo>
                  <a:lnTo>
                    <a:pt x="261" y="161"/>
                  </a:lnTo>
                  <a:lnTo>
                    <a:pt x="263" y="160"/>
                  </a:lnTo>
                  <a:lnTo>
                    <a:pt x="264" y="160"/>
                  </a:lnTo>
                  <a:lnTo>
                    <a:pt x="267" y="159"/>
                  </a:lnTo>
                  <a:lnTo>
                    <a:pt x="269" y="159"/>
                  </a:lnTo>
                  <a:lnTo>
                    <a:pt x="274" y="159"/>
                  </a:lnTo>
                  <a:lnTo>
                    <a:pt x="276" y="160"/>
                  </a:lnTo>
                  <a:lnTo>
                    <a:pt x="277" y="161"/>
                  </a:lnTo>
                  <a:lnTo>
                    <a:pt x="279" y="162"/>
                  </a:lnTo>
                  <a:lnTo>
                    <a:pt x="280" y="162"/>
                  </a:lnTo>
                  <a:lnTo>
                    <a:pt x="282" y="162"/>
                  </a:lnTo>
                  <a:lnTo>
                    <a:pt x="283" y="161"/>
                  </a:lnTo>
                  <a:lnTo>
                    <a:pt x="285" y="162"/>
                  </a:lnTo>
                  <a:lnTo>
                    <a:pt x="282" y="163"/>
                  </a:lnTo>
                  <a:lnTo>
                    <a:pt x="281" y="163"/>
                  </a:lnTo>
                  <a:lnTo>
                    <a:pt x="280" y="165"/>
                  </a:lnTo>
                  <a:lnTo>
                    <a:pt x="280" y="166"/>
                  </a:lnTo>
                  <a:lnTo>
                    <a:pt x="281" y="167"/>
                  </a:lnTo>
                  <a:lnTo>
                    <a:pt x="282" y="167"/>
                  </a:lnTo>
                  <a:lnTo>
                    <a:pt x="283" y="166"/>
                  </a:lnTo>
                  <a:lnTo>
                    <a:pt x="285" y="166"/>
                  </a:lnTo>
                  <a:lnTo>
                    <a:pt x="287" y="165"/>
                  </a:lnTo>
                  <a:lnTo>
                    <a:pt x="287" y="167"/>
                  </a:lnTo>
                  <a:lnTo>
                    <a:pt x="286" y="168"/>
                  </a:lnTo>
                  <a:lnTo>
                    <a:pt x="285" y="168"/>
                  </a:lnTo>
                  <a:lnTo>
                    <a:pt x="283" y="171"/>
                  </a:lnTo>
                  <a:lnTo>
                    <a:pt x="281" y="172"/>
                  </a:lnTo>
                  <a:lnTo>
                    <a:pt x="280" y="171"/>
                  </a:lnTo>
                  <a:lnTo>
                    <a:pt x="279" y="172"/>
                  </a:lnTo>
                  <a:lnTo>
                    <a:pt x="277" y="173"/>
                  </a:lnTo>
                  <a:lnTo>
                    <a:pt x="277" y="174"/>
                  </a:lnTo>
                  <a:lnTo>
                    <a:pt x="276" y="178"/>
                  </a:lnTo>
                  <a:lnTo>
                    <a:pt x="275" y="177"/>
                  </a:lnTo>
                  <a:lnTo>
                    <a:pt x="275" y="174"/>
                  </a:lnTo>
                  <a:lnTo>
                    <a:pt x="274" y="174"/>
                  </a:lnTo>
                  <a:lnTo>
                    <a:pt x="274" y="175"/>
                  </a:lnTo>
                  <a:lnTo>
                    <a:pt x="273" y="178"/>
                  </a:lnTo>
                  <a:lnTo>
                    <a:pt x="271" y="178"/>
                  </a:lnTo>
                  <a:lnTo>
                    <a:pt x="270" y="177"/>
                  </a:lnTo>
                  <a:lnTo>
                    <a:pt x="270" y="174"/>
                  </a:lnTo>
                  <a:lnTo>
                    <a:pt x="269" y="172"/>
                  </a:lnTo>
                  <a:lnTo>
                    <a:pt x="268" y="172"/>
                  </a:lnTo>
                  <a:lnTo>
                    <a:pt x="267" y="174"/>
                  </a:lnTo>
                  <a:lnTo>
                    <a:pt x="265" y="175"/>
                  </a:lnTo>
                  <a:lnTo>
                    <a:pt x="264" y="174"/>
                  </a:lnTo>
                  <a:lnTo>
                    <a:pt x="262" y="172"/>
                  </a:lnTo>
                  <a:lnTo>
                    <a:pt x="261" y="173"/>
                  </a:lnTo>
                  <a:lnTo>
                    <a:pt x="261" y="174"/>
                  </a:lnTo>
                  <a:lnTo>
                    <a:pt x="262" y="175"/>
                  </a:lnTo>
                  <a:lnTo>
                    <a:pt x="263" y="177"/>
                  </a:lnTo>
                  <a:lnTo>
                    <a:pt x="264" y="177"/>
                  </a:lnTo>
                  <a:lnTo>
                    <a:pt x="267" y="178"/>
                  </a:lnTo>
                  <a:lnTo>
                    <a:pt x="268" y="179"/>
                  </a:lnTo>
                  <a:lnTo>
                    <a:pt x="267" y="180"/>
                  </a:lnTo>
                  <a:lnTo>
                    <a:pt x="263" y="180"/>
                  </a:lnTo>
                  <a:lnTo>
                    <a:pt x="262" y="180"/>
                  </a:lnTo>
                  <a:lnTo>
                    <a:pt x="261" y="181"/>
                  </a:lnTo>
                  <a:lnTo>
                    <a:pt x="261" y="183"/>
                  </a:lnTo>
                  <a:lnTo>
                    <a:pt x="262" y="184"/>
                  </a:lnTo>
                  <a:lnTo>
                    <a:pt x="264" y="184"/>
                  </a:lnTo>
                  <a:lnTo>
                    <a:pt x="267" y="184"/>
                  </a:lnTo>
                  <a:lnTo>
                    <a:pt x="268" y="184"/>
                  </a:lnTo>
                  <a:lnTo>
                    <a:pt x="269" y="183"/>
                  </a:lnTo>
                  <a:lnTo>
                    <a:pt x="270" y="181"/>
                  </a:lnTo>
                  <a:lnTo>
                    <a:pt x="271" y="180"/>
                  </a:lnTo>
                  <a:lnTo>
                    <a:pt x="274" y="179"/>
                  </a:lnTo>
                  <a:lnTo>
                    <a:pt x="275" y="179"/>
                  </a:lnTo>
                  <a:lnTo>
                    <a:pt x="275" y="181"/>
                  </a:lnTo>
                  <a:lnTo>
                    <a:pt x="274" y="183"/>
                  </a:lnTo>
                  <a:lnTo>
                    <a:pt x="275" y="183"/>
                  </a:lnTo>
                  <a:lnTo>
                    <a:pt x="276" y="183"/>
                  </a:lnTo>
                  <a:lnTo>
                    <a:pt x="277" y="181"/>
                  </a:lnTo>
                  <a:lnTo>
                    <a:pt x="279" y="180"/>
                  </a:lnTo>
                  <a:lnTo>
                    <a:pt x="282" y="180"/>
                  </a:lnTo>
                  <a:lnTo>
                    <a:pt x="283" y="179"/>
                  </a:lnTo>
                  <a:lnTo>
                    <a:pt x="283" y="177"/>
                  </a:lnTo>
                  <a:lnTo>
                    <a:pt x="283" y="175"/>
                  </a:lnTo>
                  <a:lnTo>
                    <a:pt x="283" y="174"/>
                  </a:lnTo>
                  <a:lnTo>
                    <a:pt x="283" y="173"/>
                  </a:lnTo>
                  <a:lnTo>
                    <a:pt x="285" y="172"/>
                  </a:lnTo>
                  <a:lnTo>
                    <a:pt x="286" y="171"/>
                  </a:lnTo>
                  <a:lnTo>
                    <a:pt x="287" y="169"/>
                  </a:lnTo>
                  <a:lnTo>
                    <a:pt x="289" y="167"/>
                  </a:lnTo>
                  <a:lnTo>
                    <a:pt x="291" y="166"/>
                  </a:lnTo>
                  <a:lnTo>
                    <a:pt x="292" y="166"/>
                  </a:lnTo>
                  <a:lnTo>
                    <a:pt x="293" y="167"/>
                  </a:lnTo>
                  <a:lnTo>
                    <a:pt x="292" y="168"/>
                  </a:lnTo>
                  <a:lnTo>
                    <a:pt x="292" y="169"/>
                  </a:lnTo>
                  <a:lnTo>
                    <a:pt x="291" y="172"/>
                  </a:lnTo>
                  <a:lnTo>
                    <a:pt x="291" y="174"/>
                  </a:lnTo>
                  <a:lnTo>
                    <a:pt x="292" y="177"/>
                  </a:lnTo>
                  <a:lnTo>
                    <a:pt x="293" y="178"/>
                  </a:lnTo>
                  <a:lnTo>
                    <a:pt x="297" y="180"/>
                  </a:lnTo>
                  <a:lnTo>
                    <a:pt x="301" y="181"/>
                  </a:lnTo>
                  <a:lnTo>
                    <a:pt x="300" y="183"/>
                  </a:lnTo>
                  <a:lnTo>
                    <a:pt x="299" y="183"/>
                  </a:lnTo>
                  <a:lnTo>
                    <a:pt x="297" y="183"/>
                  </a:lnTo>
                  <a:lnTo>
                    <a:pt x="294" y="184"/>
                  </a:lnTo>
                  <a:lnTo>
                    <a:pt x="293" y="184"/>
                  </a:lnTo>
                  <a:lnTo>
                    <a:pt x="289" y="185"/>
                  </a:lnTo>
                  <a:lnTo>
                    <a:pt x="289" y="187"/>
                  </a:lnTo>
                  <a:lnTo>
                    <a:pt x="291" y="189"/>
                  </a:lnTo>
                  <a:lnTo>
                    <a:pt x="293" y="187"/>
                  </a:lnTo>
                  <a:lnTo>
                    <a:pt x="295" y="186"/>
                  </a:lnTo>
                  <a:lnTo>
                    <a:pt x="294" y="189"/>
                  </a:lnTo>
                  <a:lnTo>
                    <a:pt x="292" y="190"/>
                  </a:lnTo>
                  <a:lnTo>
                    <a:pt x="289" y="190"/>
                  </a:lnTo>
                  <a:lnTo>
                    <a:pt x="286" y="191"/>
                  </a:lnTo>
                  <a:lnTo>
                    <a:pt x="283" y="193"/>
                  </a:lnTo>
                  <a:lnTo>
                    <a:pt x="282" y="195"/>
                  </a:lnTo>
                  <a:lnTo>
                    <a:pt x="280" y="197"/>
                  </a:lnTo>
                  <a:lnTo>
                    <a:pt x="279" y="199"/>
                  </a:lnTo>
                  <a:lnTo>
                    <a:pt x="277" y="202"/>
                  </a:lnTo>
                  <a:lnTo>
                    <a:pt x="276" y="203"/>
                  </a:lnTo>
                  <a:lnTo>
                    <a:pt x="275" y="204"/>
                  </a:lnTo>
                  <a:lnTo>
                    <a:pt x="273" y="203"/>
                  </a:lnTo>
                  <a:lnTo>
                    <a:pt x="273" y="201"/>
                  </a:lnTo>
                  <a:lnTo>
                    <a:pt x="271" y="201"/>
                  </a:lnTo>
                  <a:lnTo>
                    <a:pt x="270" y="201"/>
                  </a:lnTo>
                  <a:lnTo>
                    <a:pt x="269" y="202"/>
                  </a:lnTo>
                  <a:lnTo>
                    <a:pt x="268" y="202"/>
                  </a:lnTo>
                  <a:lnTo>
                    <a:pt x="268" y="203"/>
                  </a:lnTo>
                  <a:lnTo>
                    <a:pt x="269" y="204"/>
                  </a:lnTo>
                  <a:lnTo>
                    <a:pt x="270" y="207"/>
                  </a:lnTo>
                  <a:lnTo>
                    <a:pt x="269" y="207"/>
                  </a:lnTo>
                  <a:lnTo>
                    <a:pt x="268" y="208"/>
                  </a:lnTo>
                  <a:lnTo>
                    <a:pt x="267" y="209"/>
                  </a:lnTo>
                  <a:lnTo>
                    <a:pt x="265" y="209"/>
                  </a:lnTo>
                  <a:lnTo>
                    <a:pt x="264" y="208"/>
                  </a:lnTo>
                  <a:lnTo>
                    <a:pt x="262" y="207"/>
                  </a:lnTo>
                  <a:lnTo>
                    <a:pt x="261" y="207"/>
                  </a:lnTo>
                  <a:lnTo>
                    <a:pt x="259" y="205"/>
                  </a:lnTo>
                  <a:lnTo>
                    <a:pt x="259" y="203"/>
                  </a:lnTo>
                  <a:lnTo>
                    <a:pt x="257" y="203"/>
                  </a:lnTo>
                  <a:lnTo>
                    <a:pt x="257" y="204"/>
                  </a:lnTo>
                  <a:lnTo>
                    <a:pt x="257" y="205"/>
                  </a:lnTo>
                  <a:lnTo>
                    <a:pt x="255" y="205"/>
                  </a:lnTo>
                  <a:lnTo>
                    <a:pt x="252" y="205"/>
                  </a:lnTo>
                  <a:lnTo>
                    <a:pt x="252" y="208"/>
                  </a:lnTo>
                  <a:lnTo>
                    <a:pt x="253" y="210"/>
                  </a:lnTo>
                  <a:lnTo>
                    <a:pt x="256" y="210"/>
                  </a:lnTo>
                  <a:lnTo>
                    <a:pt x="258" y="210"/>
                  </a:lnTo>
                  <a:lnTo>
                    <a:pt x="263" y="210"/>
                  </a:lnTo>
                  <a:lnTo>
                    <a:pt x="264" y="210"/>
                  </a:lnTo>
                  <a:lnTo>
                    <a:pt x="261" y="212"/>
                  </a:lnTo>
                  <a:lnTo>
                    <a:pt x="257" y="213"/>
                  </a:lnTo>
                  <a:lnTo>
                    <a:pt x="256" y="213"/>
                  </a:lnTo>
                  <a:lnTo>
                    <a:pt x="253" y="215"/>
                  </a:lnTo>
                  <a:lnTo>
                    <a:pt x="253" y="216"/>
                  </a:lnTo>
                  <a:lnTo>
                    <a:pt x="255" y="218"/>
                  </a:lnTo>
                  <a:lnTo>
                    <a:pt x="256" y="218"/>
                  </a:lnTo>
                  <a:lnTo>
                    <a:pt x="258" y="218"/>
                  </a:lnTo>
                  <a:lnTo>
                    <a:pt x="261" y="216"/>
                  </a:lnTo>
                  <a:lnTo>
                    <a:pt x="262" y="216"/>
                  </a:lnTo>
                  <a:lnTo>
                    <a:pt x="263" y="219"/>
                  </a:lnTo>
                  <a:lnTo>
                    <a:pt x="261" y="219"/>
                  </a:lnTo>
                  <a:lnTo>
                    <a:pt x="259" y="219"/>
                  </a:lnTo>
                  <a:lnTo>
                    <a:pt x="256" y="219"/>
                  </a:lnTo>
                  <a:lnTo>
                    <a:pt x="253" y="219"/>
                  </a:lnTo>
                  <a:lnTo>
                    <a:pt x="252" y="219"/>
                  </a:lnTo>
                  <a:lnTo>
                    <a:pt x="251" y="220"/>
                  </a:lnTo>
                  <a:lnTo>
                    <a:pt x="251" y="222"/>
                  </a:lnTo>
                  <a:lnTo>
                    <a:pt x="253" y="222"/>
                  </a:lnTo>
                  <a:lnTo>
                    <a:pt x="255" y="224"/>
                  </a:lnTo>
                  <a:lnTo>
                    <a:pt x="253" y="225"/>
                  </a:lnTo>
                  <a:lnTo>
                    <a:pt x="256" y="226"/>
                  </a:lnTo>
                  <a:lnTo>
                    <a:pt x="256" y="225"/>
                  </a:lnTo>
                  <a:lnTo>
                    <a:pt x="253" y="227"/>
                  </a:lnTo>
                  <a:lnTo>
                    <a:pt x="253" y="228"/>
                  </a:lnTo>
                  <a:lnTo>
                    <a:pt x="255" y="228"/>
                  </a:lnTo>
                  <a:lnTo>
                    <a:pt x="256" y="231"/>
                  </a:lnTo>
                  <a:lnTo>
                    <a:pt x="255" y="231"/>
                  </a:lnTo>
                  <a:lnTo>
                    <a:pt x="253" y="231"/>
                  </a:lnTo>
                  <a:lnTo>
                    <a:pt x="252" y="232"/>
                  </a:lnTo>
                  <a:lnTo>
                    <a:pt x="252" y="234"/>
                  </a:lnTo>
                  <a:lnTo>
                    <a:pt x="251" y="233"/>
                  </a:lnTo>
                  <a:lnTo>
                    <a:pt x="250" y="233"/>
                  </a:lnTo>
                  <a:lnTo>
                    <a:pt x="250" y="236"/>
                  </a:lnTo>
                  <a:lnTo>
                    <a:pt x="248" y="237"/>
                  </a:lnTo>
                  <a:lnTo>
                    <a:pt x="247" y="237"/>
                  </a:lnTo>
                  <a:lnTo>
                    <a:pt x="245" y="236"/>
                  </a:lnTo>
                  <a:lnTo>
                    <a:pt x="245" y="234"/>
                  </a:lnTo>
                  <a:lnTo>
                    <a:pt x="244" y="233"/>
                  </a:lnTo>
                  <a:lnTo>
                    <a:pt x="242" y="233"/>
                  </a:lnTo>
                  <a:lnTo>
                    <a:pt x="241" y="233"/>
                  </a:lnTo>
                  <a:lnTo>
                    <a:pt x="241" y="234"/>
                  </a:lnTo>
                  <a:lnTo>
                    <a:pt x="240" y="237"/>
                  </a:lnTo>
                  <a:lnTo>
                    <a:pt x="239" y="237"/>
                  </a:lnTo>
                  <a:lnTo>
                    <a:pt x="239" y="236"/>
                  </a:lnTo>
                  <a:lnTo>
                    <a:pt x="238" y="234"/>
                  </a:lnTo>
                  <a:lnTo>
                    <a:pt x="236" y="236"/>
                  </a:lnTo>
                  <a:lnTo>
                    <a:pt x="235" y="237"/>
                  </a:lnTo>
                  <a:lnTo>
                    <a:pt x="236" y="238"/>
                  </a:lnTo>
                  <a:lnTo>
                    <a:pt x="235" y="238"/>
                  </a:lnTo>
                  <a:lnTo>
                    <a:pt x="234" y="237"/>
                  </a:lnTo>
                  <a:lnTo>
                    <a:pt x="233" y="236"/>
                  </a:lnTo>
                  <a:lnTo>
                    <a:pt x="230" y="236"/>
                  </a:lnTo>
                  <a:lnTo>
                    <a:pt x="230" y="239"/>
                  </a:lnTo>
                  <a:lnTo>
                    <a:pt x="230" y="240"/>
                  </a:lnTo>
                  <a:lnTo>
                    <a:pt x="228" y="239"/>
                  </a:lnTo>
                  <a:lnTo>
                    <a:pt x="227" y="238"/>
                  </a:lnTo>
                  <a:lnTo>
                    <a:pt x="224" y="239"/>
                  </a:lnTo>
                  <a:lnTo>
                    <a:pt x="224" y="240"/>
                  </a:lnTo>
                  <a:lnTo>
                    <a:pt x="224" y="242"/>
                  </a:lnTo>
                  <a:lnTo>
                    <a:pt x="223" y="240"/>
                  </a:lnTo>
                  <a:lnTo>
                    <a:pt x="221" y="240"/>
                  </a:lnTo>
                  <a:lnTo>
                    <a:pt x="220" y="240"/>
                  </a:lnTo>
                  <a:lnTo>
                    <a:pt x="217" y="239"/>
                  </a:lnTo>
                  <a:lnTo>
                    <a:pt x="217" y="240"/>
                  </a:lnTo>
                  <a:lnTo>
                    <a:pt x="215" y="240"/>
                  </a:lnTo>
                  <a:lnTo>
                    <a:pt x="214" y="240"/>
                  </a:lnTo>
                  <a:lnTo>
                    <a:pt x="210" y="239"/>
                  </a:lnTo>
                  <a:lnTo>
                    <a:pt x="210" y="240"/>
                  </a:lnTo>
                  <a:lnTo>
                    <a:pt x="209" y="243"/>
                  </a:lnTo>
                  <a:lnTo>
                    <a:pt x="210" y="243"/>
                  </a:lnTo>
                  <a:lnTo>
                    <a:pt x="212" y="245"/>
                  </a:lnTo>
                  <a:lnTo>
                    <a:pt x="212" y="246"/>
                  </a:lnTo>
                  <a:lnTo>
                    <a:pt x="211" y="248"/>
                  </a:lnTo>
                  <a:lnTo>
                    <a:pt x="212" y="249"/>
                  </a:lnTo>
                  <a:lnTo>
                    <a:pt x="214" y="250"/>
                  </a:lnTo>
                  <a:lnTo>
                    <a:pt x="215" y="252"/>
                  </a:lnTo>
                  <a:lnTo>
                    <a:pt x="217" y="254"/>
                  </a:lnTo>
                  <a:lnTo>
                    <a:pt x="217" y="255"/>
                  </a:lnTo>
                  <a:lnTo>
                    <a:pt x="215" y="255"/>
                  </a:lnTo>
                  <a:lnTo>
                    <a:pt x="212" y="255"/>
                  </a:lnTo>
                  <a:lnTo>
                    <a:pt x="210" y="255"/>
                  </a:lnTo>
                  <a:lnTo>
                    <a:pt x="209" y="254"/>
                  </a:lnTo>
                  <a:lnTo>
                    <a:pt x="211" y="254"/>
                  </a:lnTo>
                  <a:lnTo>
                    <a:pt x="211" y="251"/>
                  </a:lnTo>
                  <a:lnTo>
                    <a:pt x="212" y="250"/>
                  </a:lnTo>
                  <a:lnTo>
                    <a:pt x="211" y="250"/>
                  </a:lnTo>
                  <a:lnTo>
                    <a:pt x="210" y="250"/>
                  </a:lnTo>
                  <a:lnTo>
                    <a:pt x="209" y="251"/>
                  </a:lnTo>
                  <a:lnTo>
                    <a:pt x="208" y="251"/>
                  </a:lnTo>
                  <a:lnTo>
                    <a:pt x="209" y="250"/>
                  </a:lnTo>
                  <a:lnTo>
                    <a:pt x="209" y="249"/>
                  </a:lnTo>
                  <a:lnTo>
                    <a:pt x="209" y="246"/>
                  </a:lnTo>
                  <a:lnTo>
                    <a:pt x="209" y="245"/>
                  </a:lnTo>
                  <a:lnTo>
                    <a:pt x="208" y="244"/>
                  </a:lnTo>
                  <a:lnTo>
                    <a:pt x="206" y="244"/>
                  </a:lnTo>
                  <a:lnTo>
                    <a:pt x="206" y="246"/>
                  </a:lnTo>
                  <a:lnTo>
                    <a:pt x="206" y="249"/>
                  </a:lnTo>
                  <a:lnTo>
                    <a:pt x="204" y="249"/>
                  </a:lnTo>
                  <a:lnTo>
                    <a:pt x="204" y="248"/>
                  </a:lnTo>
                  <a:lnTo>
                    <a:pt x="203" y="246"/>
                  </a:lnTo>
                  <a:lnTo>
                    <a:pt x="202" y="248"/>
                  </a:lnTo>
                  <a:lnTo>
                    <a:pt x="202" y="249"/>
                  </a:lnTo>
                  <a:lnTo>
                    <a:pt x="199" y="250"/>
                  </a:lnTo>
                  <a:lnTo>
                    <a:pt x="198" y="249"/>
                  </a:lnTo>
                  <a:lnTo>
                    <a:pt x="198" y="248"/>
                  </a:lnTo>
                  <a:lnTo>
                    <a:pt x="197" y="246"/>
                  </a:lnTo>
                  <a:lnTo>
                    <a:pt x="196" y="246"/>
                  </a:lnTo>
                  <a:lnTo>
                    <a:pt x="194" y="248"/>
                  </a:lnTo>
                  <a:lnTo>
                    <a:pt x="193" y="250"/>
                  </a:lnTo>
                  <a:lnTo>
                    <a:pt x="192" y="251"/>
                  </a:lnTo>
                  <a:lnTo>
                    <a:pt x="192" y="254"/>
                  </a:lnTo>
                  <a:lnTo>
                    <a:pt x="193" y="255"/>
                  </a:lnTo>
                  <a:lnTo>
                    <a:pt x="194" y="255"/>
                  </a:lnTo>
                  <a:lnTo>
                    <a:pt x="197" y="257"/>
                  </a:lnTo>
                  <a:lnTo>
                    <a:pt x="198" y="260"/>
                  </a:lnTo>
                  <a:lnTo>
                    <a:pt x="196" y="260"/>
                  </a:lnTo>
                  <a:lnTo>
                    <a:pt x="194" y="258"/>
                  </a:lnTo>
                  <a:lnTo>
                    <a:pt x="193" y="256"/>
                  </a:lnTo>
                  <a:lnTo>
                    <a:pt x="192" y="255"/>
                  </a:lnTo>
                  <a:lnTo>
                    <a:pt x="189" y="256"/>
                  </a:lnTo>
                  <a:lnTo>
                    <a:pt x="189" y="255"/>
                  </a:lnTo>
                  <a:lnTo>
                    <a:pt x="188" y="254"/>
                  </a:lnTo>
                  <a:lnTo>
                    <a:pt x="189" y="251"/>
                  </a:lnTo>
                  <a:lnTo>
                    <a:pt x="189" y="250"/>
                  </a:lnTo>
                  <a:lnTo>
                    <a:pt x="191" y="250"/>
                  </a:lnTo>
                  <a:lnTo>
                    <a:pt x="192" y="248"/>
                  </a:lnTo>
                  <a:lnTo>
                    <a:pt x="192" y="245"/>
                  </a:lnTo>
                  <a:lnTo>
                    <a:pt x="192" y="244"/>
                  </a:lnTo>
                  <a:lnTo>
                    <a:pt x="192" y="243"/>
                  </a:lnTo>
                  <a:lnTo>
                    <a:pt x="189" y="242"/>
                  </a:lnTo>
                  <a:lnTo>
                    <a:pt x="189" y="240"/>
                  </a:lnTo>
                  <a:lnTo>
                    <a:pt x="191" y="238"/>
                  </a:lnTo>
                  <a:lnTo>
                    <a:pt x="189" y="236"/>
                  </a:lnTo>
                  <a:lnTo>
                    <a:pt x="189" y="234"/>
                  </a:lnTo>
                  <a:lnTo>
                    <a:pt x="185" y="238"/>
                  </a:lnTo>
                  <a:lnTo>
                    <a:pt x="183" y="239"/>
                  </a:lnTo>
                  <a:lnTo>
                    <a:pt x="182" y="239"/>
                  </a:lnTo>
                  <a:lnTo>
                    <a:pt x="181" y="239"/>
                  </a:lnTo>
                  <a:lnTo>
                    <a:pt x="181" y="237"/>
                  </a:lnTo>
                  <a:lnTo>
                    <a:pt x="180" y="237"/>
                  </a:lnTo>
                  <a:lnTo>
                    <a:pt x="179" y="233"/>
                  </a:lnTo>
                  <a:lnTo>
                    <a:pt x="177" y="233"/>
                  </a:lnTo>
                  <a:lnTo>
                    <a:pt x="176" y="234"/>
                  </a:lnTo>
                  <a:lnTo>
                    <a:pt x="175" y="234"/>
                  </a:lnTo>
                  <a:lnTo>
                    <a:pt x="174" y="233"/>
                  </a:lnTo>
                  <a:lnTo>
                    <a:pt x="174" y="232"/>
                  </a:lnTo>
                  <a:lnTo>
                    <a:pt x="175" y="230"/>
                  </a:lnTo>
                  <a:lnTo>
                    <a:pt x="176" y="227"/>
                  </a:lnTo>
                  <a:lnTo>
                    <a:pt x="176" y="225"/>
                  </a:lnTo>
                  <a:lnTo>
                    <a:pt x="174" y="222"/>
                  </a:lnTo>
                  <a:lnTo>
                    <a:pt x="174" y="221"/>
                  </a:lnTo>
                  <a:lnTo>
                    <a:pt x="171" y="222"/>
                  </a:lnTo>
                  <a:lnTo>
                    <a:pt x="170" y="222"/>
                  </a:lnTo>
                  <a:lnTo>
                    <a:pt x="168" y="222"/>
                  </a:lnTo>
                  <a:lnTo>
                    <a:pt x="167" y="222"/>
                  </a:lnTo>
                  <a:lnTo>
                    <a:pt x="167" y="225"/>
                  </a:lnTo>
                  <a:lnTo>
                    <a:pt x="165" y="226"/>
                  </a:lnTo>
                  <a:lnTo>
                    <a:pt x="167" y="227"/>
                  </a:lnTo>
                  <a:lnTo>
                    <a:pt x="168" y="228"/>
                  </a:lnTo>
                  <a:lnTo>
                    <a:pt x="165" y="230"/>
                  </a:lnTo>
                  <a:lnTo>
                    <a:pt x="165" y="231"/>
                  </a:lnTo>
                  <a:lnTo>
                    <a:pt x="167" y="233"/>
                  </a:lnTo>
                  <a:lnTo>
                    <a:pt x="168" y="233"/>
                  </a:lnTo>
                  <a:lnTo>
                    <a:pt x="168" y="236"/>
                  </a:lnTo>
                  <a:lnTo>
                    <a:pt x="168" y="237"/>
                  </a:lnTo>
                  <a:lnTo>
                    <a:pt x="168" y="239"/>
                  </a:lnTo>
                  <a:lnTo>
                    <a:pt x="168" y="242"/>
                  </a:lnTo>
                  <a:lnTo>
                    <a:pt x="171" y="242"/>
                  </a:lnTo>
                  <a:lnTo>
                    <a:pt x="170" y="243"/>
                  </a:lnTo>
                  <a:lnTo>
                    <a:pt x="169" y="244"/>
                  </a:lnTo>
                  <a:lnTo>
                    <a:pt x="170" y="246"/>
                  </a:lnTo>
                  <a:lnTo>
                    <a:pt x="170" y="249"/>
                  </a:lnTo>
                  <a:lnTo>
                    <a:pt x="169" y="248"/>
                  </a:lnTo>
                  <a:lnTo>
                    <a:pt x="168" y="245"/>
                  </a:lnTo>
                  <a:lnTo>
                    <a:pt x="168" y="243"/>
                  </a:lnTo>
                  <a:lnTo>
                    <a:pt x="165" y="242"/>
                  </a:lnTo>
                  <a:lnTo>
                    <a:pt x="165" y="239"/>
                  </a:lnTo>
                  <a:lnTo>
                    <a:pt x="163" y="238"/>
                  </a:lnTo>
                  <a:lnTo>
                    <a:pt x="163" y="236"/>
                  </a:lnTo>
                  <a:lnTo>
                    <a:pt x="162" y="234"/>
                  </a:lnTo>
                  <a:lnTo>
                    <a:pt x="161" y="232"/>
                  </a:lnTo>
                  <a:lnTo>
                    <a:pt x="159" y="233"/>
                  </a:lnTo>
                  <a:lnTo>
                    <a:pt x="158" y="233"/>
                  </a:lnTo>
                  <a:lnTo>
                    <a:pt x="158" y="234"/>
                  </a:lnTo>
                  <a:lnTo>
                    <a:pt x="158" y="236"/>
                  </a:lnTo>
                  <a:lnTo>
                    <a:pt x="158" y="239"/>
                  </a:lnTo>
                  <a:lnTo>
                    <a:pt x="159" y="240"/>
                  </a:lnTo>
                  <a:lnTo>
                    <a:pt x="162" y="242"/>
                  </a:lnTo>
                  <a:lnTo>
                    <a:pt x="163" y="243"/>
                  </a:lnTo>
                  <a:lnTo>
                    <a:pt x="162" y="244"/>
                  </a:lnTo>
                  <a:lnTo>
                    <a:pt x="161" y="244"/>
                  </a:lnTo>
                  <a:lnTo>
                    <a:pt x="158" y="243"/>
                  </a:lnTo>
                  <a:lnTo>
                    <a:pt x="157" y="242"/>
                  </a:lnTo>
                  <a:lnTo>
                    <a:pt x="157" y="240"/>
                  </a:lnTo>
                  <a:lnTo>
                    <a:pt x="156" y="239"/>
                  </a:lnTo>
                  <a:lnTo>
                    <a:pt x="155" y="238"/>
                  </a:lnTo>
                  <a:lnTo>
                    <a:pt x="155" y="237"/>
                  </a:lnTo>
                  <a:lnTo>
                    <a:pt x="153" y="236"/>
                  </a:lnTo>
                  <a:lnTo>
                    <a:pt x="152" y="234"/>
                  </a:lnTo>
                  <a:lnTo>
                    <a:pt x="152" y="233"/>
                  </a:lnTo>
                  <a:lnTo>
                    <a:pt x="153" y="232"/>
                  </a:lnTo>
                  <a:lnTo>
                    <a:pt x="155" y="231"/>
                  </a:lnTo>
                  <a:lnTo>
                    <a:pt x="155" y="228"/>
                  </a:lnTo>
                  <a:lnTo>
                    <a:pt x="153" y="227"/>
                  </a:lnTo>
                  <a:lnTo>
                    <a:pt x="151" y="227"/>
                  </a:lnTo>
                  <a:lnTo>
                    <a:pt x="150" y="227"/>
                  </a:lnTo>
                  <a:lnTo>
                    <a:pt x="149" y="228"/>
                  </a:lnTo>
                  <a:lnTo>
                    <a:pt x="147" y="228"/>
                  </a:lnTo>
                  <a:lnTo>
                    <a:pt x="145" y="227"/>
                  </a:lnTo>
                  <a:lnTo>
                    <a:pt x="145" y="225"/>
                  </a:lnTo>
                  <a:lnTo>
                    <a:pt x="144" y="224"/>
                  </a:lnTo>
                  <a:lnTo>
                    <a:pt x="141" y="222"/>
                  </a:lnTo>
                  <a:lnTo>
                    <a:pt x="141" y="221"/>
                  </a:lnTo>
                  <a:lnTo>
                    <a:pt x="140" y="219"/>
                  </a:lnTo>
                  <a:lnTo>
                    <a:pt x="139" y="218"/>
                  </a:lnTo>
                  <a:lnTo>
                    <a:pt x="137" y="216"/>
                  </a:lnTo>
                  <a:lnTo>
                    <a:pt x="134" y="216"/>
                  </a:lnTo>
                  <a:lnTo>
                    <a:pt x="134" y="219"/>
                  </a:lnTo>
                  <a:lnTo>
                    <a:pt x="134" y="220"/>
                  </a:lnTo>
                  <a:lnTo>
                    <a:pt x="133" y="221"/>
                  </a:lnTo>
                  <a:lnTo>
                    <a:pt x="133" y="224"/>
                  </a:lnTo>
                  <a:lnTo>
                    <a:pt x="135" y="225"/>
                  </a:lnTo>
                  <a:lnTo>
                    <a:pt x="137" y="227"/>
                  </a:lnTo>
                  <a:lnTo>
                    <a:pt x="139" y="228"/>
                  </a:lnTo>
                  <a:lnTo>
                    <a:pt x="140" y="230"/>
                  </a:lnTo>
                  <a:lnTo>
                    <a:pt x="141" y="230"/>
                  </a:lnTo>
                  <a:lnTo>
                    <a:pt x="144" y="231"/>
                  </a:lnTo>
                  <a:lnTo>
                    <a:pt x="144" y="232"/>
                  </a:lnTo>
                  <a:lnTo>
                    <a:pt x="143" y="233"/>
                  </a:lnTo>
                  <a:lnTo>
                    <a:pt x="141" y="233"/>
                  </a:lnTo>
                  <a:lnTo>
                    <a:pt x="139" y="231"/>
                  </a:lnTo>
                  <a:lnTo>
                    <a:pt x="138" y="228"/>
                  </a:lnTo>
                  <a:lnTo>
                    <a:pt x="137" y="231"/>
                  </a:lnTo>
                  <a:lnTo>
                    <a:pt x="135" y="232"/>
                  </a:lnTo>
                  <a:lnTo>
                    <a:pt x="134" y="228"/>
                  </a:lnTo>
                  <a:lnTo>
                    <a:pt x="133" y="226"/>
                  </a:lnTo>
                  <a:lnTo>
                    <a:pt x="130" y="227"/>
                  </a:lnTo>
                  <a:lnTo>
                    <a:pt x="130" y="228"/>
                  </a:lnTo>
                  <a:lnTo>
                    <a:pt x="129" y="227"/>
                  </a:lnTo>
                  <a:lnTo>
                    <a:pt x="127" y="225"/>
                  </a:lnTo>
                  <a:lnTo>
                    <a:pt x="127" y="222"/>
                  </a:lnTo>
                  <a:lnTo>
                    <a:pt x="124" y="222"/>
                  </a:lnTo>
                  <a:lnTo>
                    <a:pt x="123" y="225"/>
                  </a:lnTo>
                  <a:lnTo>
                    <a:pt x="122" y="224"/>
                  </a:lnTo>
                  <a:lnTo>
                    <a:pt x="121" y="222"/>
                  </a:lnTo>
                  <a:lnTo>
                    <a:pt x="122" y="219"/>
                  </a:lnTo>
                  <a:lnTo>
                    <a:pt x="122" y="218"/>
                  </a:lnTo>
                  <a:lnTo>
                    <a:pt x="120" y="215"/>
                  </a:lnTo>
                  <a:lnTo>
                    <a:pt x="117" y="216"/>
                  </a:lnTo>
                  <a:lnTo>
                    <a:pt x="115" y="218"/>
                  </a:lnTo>
                  <a:lnTo>
                    <a:pt x="111" y="218"/>
                  </a:lnTo>
                  <a:lnTo>
                    <a:pt x="110" y="216"/>
                  </a:lnTo>
                  <a:lnTo>
                    <a:pt x="109" y="215"/>
                  </a:lnTo>
                  <a:lnTo>
                    <a:pt x="108" y="214"/>
                  </a:lnTo>
                  <a:lnTo>
                    <a:pt x="105" y="213"/>
                  </a:lnTo>
                  <a:lnTo>
                    <a:pt x="103" y="213"/>
                  </a:lnTo>
                  <a:lnTo>
                    <a:pt x="102" y="214"/>
                  </a:lnTo>
                  <a:lnTo>
                    <a:pt x="103" y="215"/>
                  </a:lnTo>
                  <a:lnTo>
                    <a:pt x="102" y="216"/>
                  </a:lnTo>
                  <a:lnTo>
                    <a:pt x="99" y="216"/>
                  </a:lnTo>
                  <a:lnTo>
                    <a:pt x="98" y="215"/>
                  </a:lnTo>
                  <a:lnTo>
                    <a:pt x="98" y="214"/>
                  </a:lnTo>
                  <a:lnTo>
                    <a:pt x="98" y="213"/>
                  </a:lnTo>
                  <a:lnTo>
                    <a:pt x="98" y="212"/>
                  </a:lnTo>
                  <a:lnTo>
                    <a:pt x="97" y="209"/>
                  </a:lnTo>
                  <a:lnTo>
                    <a:pt x="94" y="209"/>
                  </a:lnTo>
                  <a:lnTo>
                    <a:pt x="92" y="207"/>
                  </a:lnTo>
                  <a:lnTo>
                    <a:pt x="92" y="205"/>
                  </a:lnTo>
                  <a:lnTo>
                    <a:pt x="92" y="204"/>
                  </a:lnTo>
                  <a:lnTo>
                    <a:pt x="91" y="202"/>
                  </a:lnTo>
                  <a:lnTo>
                    <a:pt x="88" y="202"/>
                  </a:lnTo>
                  <a:lnTo>
                    <a:pt x="88" y="203"/>
                  </a:lnTo>
                  <a:lnTo>
                    <a:pt x="88" y="205"/>
                  </a:lnTo>
                  <a:lnTo>
                    <a:pt x="87" y="204"/>
                  </a:lnTo>
                  <a:lnTo>
                    <a:pt x="86" y="203"/>
                  </a:lnTo>
                  <a:lnTo>
                    <a:pt x="85" y="202"/>
                  </a:lnTo>
                  <a:lnTo>
                    <a:pt x="84" y="202"/>
                  </a:lnTo>
                  <a:lnTo>
                    <a:pt x="81" y="201"/>
                  </a:lnTo>
                  <a:lnTo>
                    <a:pt x="80" y="201"/>
                  </a:lnTo>
                  <a:lnTo>
                    <a:pt x="79" y="201"/>
                  </a:lnTo>
                  <a:lnTo>
                    <a:pt x="78" y="201"/>
                  </a:lnTo>
                  <a:lnTo>
                    <a:pt x="76" y="201"/>
                  </a:lnTo>
                  <a:lnTo>
                    <a:pt x="75" y="201"/>
                  </a:lnTo>
                  <a:lnTo>
                    <a:pt x="75" y="204"/>
                  </a:lnTo>
                  <a:lnTo>
                    <a:pt x="78" y="207"/>
                  </a:lnTo>
                  <a:lnTo>
                    <a:pt x="80" y="209"/>
                  </a:lnTo>
                  <a:lnTo>
                    <a:pt x="80" y="212"/>
                  </a:lnTo>
                  <a:lnTo>
                    <a:pt x="79" y="212"/>
                  </a:lnTo>
                  <a:lnTo>
                    <a:pt x="79" y="213"/>
                  </a:lnTo>
                  <a:lnTo>
                    <a:pt x="79" y="215"/>
                  </a:lnTo>
                  <a:lnTo>
                    <a:pt x="80" y="216"/>
                  </a:lnTo>
                  <a:lnTo>
                    <a:pt x="81" y="216"/>
                  </a:lnTo>
                  <a:lnTo>
                    <a:pt x="82" y="219"/>
                  </a:lnTo>
                  <a:lnTo>
                    <a:pt x="84" y="219"/>
                  </a:lnTo>
                  <a:lnTo>
                    <a:pt x="87" y="219"/>
                  </a:lnTo>
                  <a:lnTo>
                    <a:pt x="88" y="220"/>
                  </a:lnTo>
                  <a:lnTo>
                    <a:pt x="88" y="221"/>
                  </a:lnTo>
                  <a:lnTo>
                    <a:pt x="87" y="221"/>
                  </a:lnTo>
                  <a:lnTo>
                    <a:pt x="86" y="221"/>
                  </a:lnTo>
                  <a:lnTo>
                    <a:pt x="84" y="222"/>
                  </a:lnTo>
                  <a:lnTo>
                    <a:pt x="82" y="224"/>
                  </a:lnTo>
                  <a:lnTo>
                    <a:pt x="84" y="226"/>
                  </a:lnTo>
                  <a:lnTo>
                    <a:pt x="86" y="226"/>
                  </a:lnTo>
                  <a:lnTo>
                    <a:pt x="87" y="227"/>
                  </a:lnTo>
                  <a:lnTo>
                    <a:pt x="86" y="228"/>
                  </a:lnTo>
                  <a:lnTo>
                    <a:pt x="88" y="230"/>
                  </a:lnTo>
                  <a:lnTo>
                    <a:pt x="90" y="230"/>
                  </a:lnTo>
                  <a:lnTo>
                    <a:pt x="91" y="231"/>
                  </a:lnTo>
                  <a:lnTo>
                    <a:pt x="93" y="231"/>
                  </a:lnTo>
                  <a:lnTo>
                    <a:pt x="94" y="232"/>
                  </a:lnTo>
                  <a:lnTo>
                    <a:pt x="96" y="232"/>
                  </a:lnTo>
                  <a:lnTo>
                    <a:pt x="96" y="233"/>
                  </a:lnTo>
                  <a:lnTo>
                    <a:pt x="94" y="234"/>
                  </a:lnTo>
                  <a:lnTo>
                    <a:pt x="93" y="234"/>
                  </a:lnTo>
                  <a:lnTo>
                    <a:pt x="91" y="233"/>
                  </a:lnTo>
                  <a:lnTo>
                    <a:pt x="90" y="232"/>
                  </a:lnTo>
                  <a:lnTo>
                    <a:pt x="87" y="232"/>
                  </a:lnTo>
                  <a:lnTo>
                    <a:pt x="86" y="231"/>
                  </a:lnTo>
                  <a:lnTo>
                    <a:pt x="86" y="230"/>
                  </a:lnTo>
                  <a:lnTo>
                    <a:pt x="84" y="230"/>
                  </a:lnTo>
                  <a:lnTo>
                    <a:pt x="84" y="231"/>
                  </a:lnTo>
                  <a:lnTo>
                    <a:pt x="82" y="230"/>
                  </a:lnTo>
                  <a:lnTo>
                    <a:pt x="80" y="228"/>
                  </a:lnTo>
                  <a:lnTo>
                    <a:pt x="80" y="230"/>
                  </a:lnTo>
                  <a:lnTo>
                    <a:pt x="79" y="230"/>
                  </a:lnTo>
                  <a:lnTo>
                    <a:pt x="76" y="230"/>
                  </a:lnTo>
                  <a:lnTo>
                    <a:pt x="76" y="231"/>
                  </a:lnTo>
                  <a:lnTo>
                    <a:pt x="74" y="233"/>
                  </a:lnTo>
                  <a:lnTo>
                    <a:pt x="73" y="234"/>
                  </a:lnTo>
                  <a:lnTo>
                    <a:pt x="75" y="237"/>
                  </a:lnTo>
                  <a:lnTo>
                    <a:pt x="78" y="237"/>
                  </a:lnTo>
                  <a:lnTo>
                    <a:pt x="78" y="239"/>
                  </a:lnTo>
                  <a:lnTo>
                    <a:pt x="81" y="240"/>
                  </a:lnTo>
                  <a:lnTo>
                    <a:pt x="84" y="240"/>
                  </a:lnTo>
                  <a:lnTo>
                    <a:pt x="87" y="240"/>
                  </a:lnTo>
                  <a:lnTo>
                    <a:pt x="90" y="242"/>
                  </a:lnTo>
                  <a:lnTo>
                    <a:pt x="91" y="243"/>
                  </a:lnTo>
                  <a:lnTo>
                    <a:pt x="91" y="245"/>
                  </a:lnTo>
                  <a:lnTo>
                    <a:pt x="92" y="248"/>
                  </a:lnTo>
                  <a:lnTo>
                    <a:pt x="94" y="249"/>
                  </a:lnTo>
                  <a:lnTo>
                    <a:pt x="97" y="249"/>
                  </a:lnTo>
                  <a:lnTo>
                    <a:pt x="98" y="248"/>
                  </a:lnTo>
                  <a:lnTo>
                    <a:pt x="100" y="248"/>
                  </a:lnTo>
                  <a:lnTo>
                    <a:pt x="102" y="248"/>
                  </a:lnTo>
                  <a:lnTo>
                    <a:pt x="104" y="250"/>
                  </a:lnTo>
                  <a:lnTo>
                    <a:pt x="106" y="251"/>
                  </a:lnTo>
                  <a:lnTo>
                    <a:pt x="108" y="251"/>
                  </a:lnTo>
                  <a:lnTo>
                    <a:pt x="109" y="250"/>
                  </a:lnTo>
                  <a:lnTo>
                    <a:pt x="110" y="250"/>
                  </a:lnTo>
                  <a:lnTo>
                    <a:pt x="111" y="251"/>
                  </a:lnTo>
                  <a:lnTo>
                    <a:pt x="111" y="255"/>
                  </a:lnTo>
                  <a:lnTo>
                    <a:pt x="109" y="256"/>
                  </a:lnTo>
                  <a:lnTo>
                    <a:pt x="106" y="256"/>
                  </a:lnTo>
                  <a:lnTo>
                    <a:pt x="104" y="256"/>
                  </a:lnTo>
                  <a:lnTo>
                    <a:pt x="103" y="258"/>
                  </a:lnTo>
                  <a:lnTo>
                    <a:pt x="103" y="260"/>
                  </a:lnTo>
                  <a:lnTo>
                    <a:pt x="105" y="261"/>
                  </a:lnTo>
                  <a:lnTo>
                    <a:pt x="108" y="261"/>
                  </a:lnTo>
                  <a:lnTo>
                    <a:pt x="110" y="263"/>
                  </a:lnTo>
                  <a:lnTo>
                    <a:pt x="111" y="262"/>
                  </a:lnTo>
                  <a:lnTo>
                    <a:pt x="112" y="261"/>
                  </a:lnTo>
                  <a:lnTo>
                    <a:pt x="114" y="260"/>
                  </a:lnTo>
                  <a:lnTo>
                    <a:pt x="115" y="260"/>
                  </a:lnTo>
                  <a:lnTo>
                    <a:pt x="116" y="260"/>
                  </a:lnTo>
                  <a:lnTo>
                    <a:pt x="118" y="260"/>
                  </a:lnTo>
                  <a:lnTo>
                    <a:pt x="122" y="260"/>
                  </a:lnTo>
                  <a:lnTo>
                    <a:pt x="124" y="262"/>
                  </a:lnTo>
                  <a:lnTo>
                    <a:pt x="124" y="263"/>
                  </a:lnTo>
                  <a:lnTo>
                    <a:pt x="124" y="266"/>
                  </a:lnTo>
                  <a:lnTo>
                    <a:pt x="122" y="266"/>
                  </a:lnTo>
                  <a:lnTo>
                    <a:pt x="121" y="264"/>
                  </a:lnTo>
                  <a:lnTo>
                    <a:pt x="120" y="264"/>
                  </a:lnTo>
                  <a:lnTo>
                    <a:pt x="118" y="264"/>
                  </a:lnTo>
                  <a:lnTo>
                    <a:pt x="117" y="264"/>
                  </a:lnTo>
                  <a:lnTo>
                    <a:pt x="116" y="266"/>
                  </a:lnTo>
                  <a:lnTo>
                    <a:pt x="115" y="267"/>
                  </a:lnTo>
                  <a:lnTo>
                    <a:pt x="112" y="267"/>
                  </a:lnTo>
                  <a:lnTo>
                    <a:pt x="111" y="267"/>
                  </a:lnTo>
                  <a:lnTo>
                    <a:pt x="109" y="267"/>
                  </a:lnTo>
                  <a:lnTo>
                    <a:pt x="106" y="269"/>
                  </a:lnTo>
                  <a:lnTo>
                    <a:pt x="106" y="274"/>
                  </a:lnTo>
                  <a:lnTo>
                    <a:pt x="108" y="274"/>
                  </a:lnTo>
                  <a:lnTo>
                    <a:pt x="109" y="274"/>
                  </a:lnTo>
                  <a:lnTo>
                    <a:pt x="111" y="275"/>
                  </a:lnTo>
                  <a:lnTo>
                    <a:pt x="114" y="275"/>
                  </a:lnTo>
                  <a:lnTo>
                    <a:pt x="116" y="275"/>
                  </a:lnTo>
                  <a:lnTo>
                    <a:pt x="117" y="275"/>
                  </a:lnTo>
                  <a:lnTo>
                    <a:pt x="118" y="274"/>
                  </a:lnTo>
                  <a:lnTo>
                    <a:pt x="120" y="272"/>
                  </a:lnTo>
                  <a:lnTo>
                    <a:pt x="122" y="272"/>
                  </a:lnTo>
                  <a:lnTo>
                    <a:pt x="123" y="273"/>
                  </a:lnTo>
                  <a:lnTo>
                    <a:pt x="122" y="275"/>
                  </a:lnTo>
                  <a:lnTo>
                    <a:pt x="121" y="275"/>
                  </a:lnTo>
                  <a:lnTo>
                    <a:pt x="120" y="275"/>
                  </a:lnTo>
                  <a:lnTo>
                    <a:pt x="118" y="278"/>
                  </a:lnTo>
                  <a:lnTo>
                    <a:pt x="118" y="279"/>
                  </a:lnTo>
                  <a:lnTo>
                    <a:pt x="121" y="280"/>
                  </a:lnTo>
                  <a:lnTo>
                    <a:pt x="123" y="280"/>
                  </a:lnTo>
                  <a:lnTo>
                    <a:pt x="124" y="282"/>
                  </a:lnTo>
                  <a:lnTo>
                    <a:pt x="126" y="284"/>
                  </a:lnTo>
                  <a:lnTo>
                    <a:pt x="127" y="284"/>
                  </a:lnTo>
                  <a:lnTo>
                    <a:pt x="128" y="285"/>
                  </a:lnTo>
                  <a:lnTo>
                    <a:pt x="128" y="287"/>
                  </a:lnTo>
                  <a:lnTo>
                    <a:pt x="126" y="287"/>
                  </a:lnTo>
                  <a:lnTo>
                    <a:pt x="123" y="286"/>
                  </a:lnTo>
                  <a:lnTo>
                    <a:pt x="120" y="287"/>
                  </a:lnTo>
                  <a:lnTo>
                    <a:pt x="121" y="291"/>
                  </a:lnTo>
                  <a:lnTo>
                    <a:pt x="121" y="292"/>
                  </a:lnTo>
                  <a:lnTo>
                    <a:pt x="122" y="294"/>
                  </a:lnTo>
                  <a:lnTo>
                    <a:pt x="120" y="296"/>
                  </a:lnTo>
                  <a:lnTo>
                    <a:pt x="118" y="297"/>
                  </a:lnTo>
                  <a:lnTo>
                    <a:pt x="120" y="299"/>
                  </a:lnTo>
                  <a:lnTo>
                    <a:pt x="122" y="299"/>
                  </a:lnTo>
                  <a:lnTo>
                    <a:pt x="124" y="300"/>
                  </a:lnTo>
                  <a:lnTo>
                    <a:pt x="126" y="303"/>
                  </a:lnTo>
                  <a:lnTo>
                    <a:pt x="124" y="305"/>
                  </a:lnTo>
                  <a:lnTo>
                    <a:pt x="122" y="308"/>
                  </a:lnTo>
                  <a:lnTo>
                    <a:pt x="121" y="309"/>
                  </a:lnTo>
                  <a:lnTo>
                    <a:pt x="122" y="310"/>
                  </a:lnTo>
                  <a:lnTo>
                    <a:pt x="124" y="310"/>
                  </a:lnTo>
                  <a:lnTo>
                    <a:pt x="126" y="309"/>
                  </a:lnTo>
                  <a:lnTo>
                    <a:pt x="128" y="311"/>
                  </a:lnTo>
                  <a:lnTo>
                    <a:pt x="129" y="312"/>
                  </a:lnTo>
                  <a:lnTo>
                    <a:pt x="133" y="315"/>
                  </a:lnTo>
                  <a:lnTo>
                    <a:pt x="132" y="317"/>
                  </a:lnTo>
                  <a:lnTo>
                    <a:pt x="129" y="317"/>
                  </a:lnTo>
                  <a:lnTo>
                    <a:pt x="128" y="319"/>
                  </a:lnTo>
                  <a:lnTo>
                    <a:pt x="126" y="320"/>
                  </a:lnTo>
                  <a:lnTo>
                    <a:pt x="123" y="322"/>
                  </a:lnTo>
                  <a:lnTo>
                    <a:pt x="122" y="323"/>
                  </a:lnTo>
                  <a:lnTo>
                    <a:pt x="121" y="322"/>
                  </a:lnTo>
                  <a:lnTo>
                    <a:pt x="120" y="321"/>
                  </a:lnTo>
                  <a:lnTo>
                    <a:pt x="118" y="321"/>
                  </a:lnTo>
                  <a:lnTo>
                    <a:pt x="118" y="323"/>
                  </a:lnTo>
                  <a:lnTo>
                    <a:pt x="118" y="326"/>
                  </a:lnTo>
                  <a:lnTo>
                    <a:pt x="121" y="327"/>
                  </a:lnTo>
                  <a:lnTo>
                    <a:pt x="118" y="328"/>
                  </a:lnTo>
                  <a:lnTo>
                    <a:pt x="117" y="329"/>
                  </a:lnTo>
                  <a:lnTo>
                    <a:pt x="115" y="331"/>
                  </a:lnTo>
                  <a:lnTo>
                    <a:pt x="115" y="328"/>
                  </a:lnTo>
                  <a:lnTo>
                    <a:pt x="112" y="328"/>
                  </a:lnTo>
                  <a:lnTo>
                    <a:pt x="111" y="328"/>
                  </a:lnTo>
                  <a:lnTo>
                    <a:pt x="111" y="331"/>
                  </a:lnTo>
                  <a:lnTo>
                    <a:pt x="111" y="333"/>
                  </a:lnTo>
                  <a:lnTo>
                    <a:pt x="109" y="333"/>
                  </a:lnTo>
                  <a:lnTo>
                    <a:pt x="108" y="331"/>
                  </a:lnTo>
                  <a:lnTo>
                    <a:pt x="106" y="331"/>
                  </a:lnTo>
                  <a:lnTo>
                    <a:pt x="104" y="331"/>
                  </a:lnTo>
                  <a:lnTo>
                    <a:pt x="103" y="332"/>
                  </a:lnTo>
                  <a:lnTo>
                    <a:pt x="103" y="334"/>
                  </a:lnTo>
                  <a:lnTo>
                    <a:pt x="100" y="334"/>
                  </a:lnTo>
                  <a:lnTo>
                    <a:pt x="100" y="335"/>
                  </a:lnTo>
                  <a:lnTo>
                    <a:pt x="99" y="338"/>
                  </a:lnTo>
                  <a:lnTo>
                    <a:pt x="96" y="338"/>
                  </a:lnTo>
                  <a:lnTo>
                    <a:pt x="94" y="337"/>
                  </a:lnTo>
                  <a:lnTo>
                    <a:pt x="93" y="337"/>
                  </a:lnTo>
                  <a:lnTo>
                    <a:pt x="90" y="337"/>
                  </a:lnTo>
                  <a:lnTo>
                    <a:pt x="88" y="334"/>
                  </a:lnTo>
                  <a:lnTo>
                    <a:pt x="87" y="334"/>
                  </a:lnTo>
                  <a:lnTo>
                    <a:pt x="86" y="333"/>
                  </a:lnTo>
                  <a:lnTo>
                    <a:pt x="84" y="333"/>
                  </a:lnTo>
                  <a:lnTo>
                    <a:pt x="84" y="334"/>
                  </a:lnTo>
                  <a:lnTo>
                    <a:pt x="82" y="335"/>
                  </a:lnTo>
                  <a:lnTo>
                    <a:pt x="86" y="338"/>
                  </a:lnTo>
                  <a:lnTo>
                    <a:pt x="86" y="340"/>
                  </a:lnTo>
                  <a:lnTo>
                    <a:pt x="86" y="343"/>
                  </a:lnTo>
                  <a:lnTo>
                    <a:pt x="88" y="344"/>
                  </a:lnTo>
                  <a:lnTo>
                    <a:pt x="90" y="344"/>
                  </a:lnTo>
                  <a:lnTo>
                    <a:pt x="91" y="344"/>
                  </a:lnTo>
                  <a:lnTo>
                    <a:pt x="91" y="346"/>
                  </a:lnTo>
                  <a:lnTo>
                    <a:pt x="88" y="346"/>
                  </a:lnTo>
                  <a:lnTo>
                    <a:pt x="87" y="347"/>
                  </a:lnTo>
                  <a:lnTo>
                    <a:pt x="87" y="349"/>
                  </a:lnTo>
                  <a:lnTo>
                    <a:pt x="87" y="350"/>
                  </a:lnTo>
                  <a:lnTo>
                    <a:pt x="90" y="349"/>
                  </a:lnTo>
                  <a:lnTo>
                    <a:pt x="91" y="350"/>
                  </a:lnTo>
                  <a:lnTo>
                    <a:pt x="92" y="351"/>
                  </a:lnTo>
                  <a:lnTo>
                    <a:pt x="93" y="351"/>
                  </a:lnTo>
                  <a:lnTo>
                    <a:pt x="96" y="351"/>
                  </a:lnTo>
                  <a:lnTo>
                    <a:pt x="97" y="350"/>
                  </a:lnTo>
                  <a:lnTo>
                    <a:pt x="98" y="350"/>
                  </a:lnTo>
                  <a:lnTo>
                    <a:pt x="99" y="349"/>
                  </a:lnTo>
                  <a:lnTo>
                    <a:pt x="99" y="347"/>
                  </a:lnTo>
                  <a:lnTo>
                    <a:pt x="99" y="346"/>
                  </a:lnTo>
                  <a:lnTo>
                    <a:pt x="97" y="345"/>
                  </a:lnTo>
                  <a:lnTo>
                    <a:pt x="94" y="345"/>
                  </a:lnTo>
                  <a:lnTo>
                    <a:pt x="94" y="344"/>
                  </a:lnTo>
                  <a:lnTo>
                    <a:pt x="97" y="343"/>
                  </a:lnTo>
                  <a:lnTo>
                    <a:pt x="98" y="343"/>
                  </a:lnTo>
                  <a:lnTo>
                    <a:pt x="99" y="344"/>
                  </a:lnTo>
                  <a:lnTo>
                    <a:pt x="100" y="343"/>
                  </a:lnTo>
                  <a:lnTo>
                    <a:pt x="102" y="341"/>
                  </a:lnTo>
                  <a:lnTo>
                    <a:pt x="102" y="340"/>
                  </a:lnTo>
                  <a:lnTo>
                    <a:pt x="104" y="339"/>
                  </a:lnTo>
                  <a:lnTo>
                    <a:pt x="105" y="337"/>
                  </a:lnTo>
                  <a:lnTo>
                    <a:pt x="108" y="338"/>
                  </a:lnTo>
                  <a:lnTo>
                    <a:pt x="110" y="338"/>
                  </a:lnTo>
                  <a:lnTo>
                    <a:pt x="111" y="338"/>
                  </a:lnTo>
                  <a:lnTo>
                    <a:pt x="112" y="338"/>
                  </a:lnTo>
                  <a:lnTo>
                    <a:pt x="115" y="338"/>
                  </a:lnTo>
                  <a:lnTo>
                    <a:pt x="116" y="338"/>
                  </a:lnTo>
                  <a:lnTo>
                    <a:pt x="117" y="338"/>
                  </a:lnTo>
                  <a:lnTo>
                    <a:pt x="118" y="337"/>
                  </a:lnTo>
                  <a:lnTo>
                    <a:pt x="120" y="335"/>
                  </a:lnTo>
                  <a:lnTo>
                    <a:pt x="122" y="335"/>
                  </a:lnTo>
                  <a:lnTo>
                    <a:pt x="122" y="337"/>
                  </a:lnTo>
                  <a:lnTo>
                    <a:pt x="126" y="338"/>
                  </a:lnTo>
                  <a:lnTo>
                    <a:pt x="127" y="340"/>
                  </a:lnTo>
                  <a:lnTo>
                    <a:pt x="130" y="340"/>
                  </a:lnTo>
                  <a:lnTo>
                    <a:pt x="132" y="341"/>
                  </a:lnTo>
                  <a:lnTo>
                    <a:pt x="129" y="341"/>
                  </a:lnTo>
                  <a:lnTo>
                    <a:pt x="126" y="341"/>
                  </a:lnTo>
                  <a:lnTo>
                    <a:pt x="124" y="343"/>
                  </a:lnTo>
                  <a:lnTo>
                    <a:pt x="123" y="344"/>
                  </a:lnTo>
                  <a:lnTo>
                    <a:pt x="122" y="344"/>
                  </a:lnTo>
                  <a:lnTo>
                    <a:pt x="120" y="344"/>
                  </a:lnTo>
                  <a:lnTo>
                    <a:pt x="117" y="344"/>
                  </a:lnTo>
                  <a:lnTo>
                    <a:pt x="116" y="344"/>
                  </a:lnTo>
                  <a:lnTo>
                    <a:pt x="115" y="341"/>
                  </a:lnTo>
                  <a:lnTo>
                    <a:pt x="112" y="341"/>
                  </a:lnTo>
                  <a:lnTo>
                    <a:pt x="111" y="341"/>
                  </a:lnTo>
                  <a:lnTo>
                    <a:pt x="109" y="341"/>
                  </a:lnTo>
                  <a:lnTo>
                    <a:pt x="106" y="341"/>
                  </a:lnTo>
                  <a:lnTo>
                    <a:pt x="105" y="341"/>
                  </a:lnTo>
                  <a:lnTo>
                    <a:pt x="103" y="344"/>
                  </a:lnTo>
                  <a:lnTo>
                    <a:pt x="102" y="345"/>
                  </a:lnTo>
                  <a:lnTo>
                    <a:pt x="102" y="346"/>
                  </a:lnTo>
                  <a:lnTo>
                    <a:pt x="102" y="347"/>
                  </a:lnTo>
                  <a:lnTo>
                    <a:pt x="104" y="347"/>
                  </a:lnTo>
                  <a:lnTo>
                    <a:pt x="105" y="347"/>
                  </a:lnTo>
                  <a:lnTo>
                    <a:pt x="106" y="347"/>
                  </a:lnTo>
                  <a:lnTo>
                    <a:pt x="108" y="347"/>
                  </a:lnTo>
                  <a:lnTo>
                    <a:pt x="109" y="345"/>
                  </a:lnTo>
                  <a:lnTo>
                    <a:pt x="110" y="345"/>
                  </a:lnTo>
                  <a:lnTo>
                    <a:pt x="110" y="347"/>
                  </a:lnTo>
                  <a:lnTo>
                    <a:pt x="112" y="347"/>
                  </a:lnTo>
                  <a:lnTo>
                    <a:pt x="111" y="349"/>
                  </a:lnTo>
                  <a:lnTo>
                    <a:pt x="110" y="349"/>
                  </a:lnTo>
                  <a:lnTo>
                    <a:pt x="109" y="349"/>
                  </a:lnTo>
                  <a:lnTo>
                    <a:pt x="109" y="352"/>
                  </a:lnTo>
                  <a:lnTo>
                    <a:pt x="108" y="352"/>
                  </a:lnTo>
                  <a:lnTo>
                    <a:pt x="108" y="351"/>
                  </a:lnTo>
                  <a:lnTo>
                    <a:pt x="106" y="350"/>
                  </a:lnTo>
                  <a:lnTo>
                    <a:pt x="104" y="349"/>
                  </a:lnTo>
                  <a:lnTo>
                    <a:pt x="104" y="350"/>
                  </a:lnTo>
                  <a:lnTo>
                    <a:pt x="103" y="351"/>
                  </a:lnTo>
                  <a:lnTo>
                    <a:pt x="104" y="352"/>
                  </a:lnTo>
                  <a:lnTo>
                    <a:pt x="104" y="353"/>
                  </a:lnTo>
                  <a:lnTo>
                    <a:pt x="102" y="355"/>
                  </a:lnTo>
                  <a:lnTo>
                    <a:pt x="103" y="356"/>
                  </a:lnTo>
                  <a:lnTo>
                    <a:pt x="104" y="356"/>
                  </a:lnTo>
                  <a:lnTo>
                    <a:pt x="104" y="357"/>
                  </a:lnTo>
                  <a:lnTo>
                    <a:pt x="102" y="358"/>
                  </a:lnTo>
                  <a:lnTo>
                    <a:pt x="99" y="362"/>
                  </a:lnTo>
                  <a:lnTo>
                    <a:pt x="98" y="361"/>
                  </a:lnTo>
                  <a:lnTo>
                    <a:pt x="97" y="359"/>
                  </a:lnTo>
                  <a:lnTo>
                    <a:pt x="96" y="357"/>
                  </a:lnTo>
                  <a:lnTo>
                    <a:pt x="96" y="356"/>
                  </a:lnTo>
                  <a:lnTo>
                    <a:pt x="93" y="356"/>
                  </a:lnTo>
                  <a:lnTo>
                    <a:pt x="93" y="359"/>
                  </a:lnTo>
                  <a:lnTo>
                    <a:pt x="92" y="361"/>
                  </a:lnTo>
                  <a:lnTo>
                    <a:pt x="91" y="359"/>
                  </a:lnTo>
                  <a:lnTo>
                    <a:pt x="91" y="358"/>
                  </a:lnTo>
                  <a:lnTo>
                    <a:pt x="90" y="356"/>
                  </a:lnTo>
                  <a:lnTo>
                    <a:pt x="88" y="355"/>
                  </a:lnTo>
                  <a:lnTo>
                    <a:pt x="87" y="355"/>
                  </a:lnTo>
                  <a:lnTo>
                    <a:pt x="86" y="355"/>
                  </a:lnTo>
                  <a:lnTo>
                    <a:pt x="84" y="356"/>
                  </a:lnTo>
                  <a:lnTo>
                    <a:pt x="82" y="357"/>
                  </a:lnTo>
                  <a:lnTo>
                    <a:pt x="81" y="357"/>
                  </a:lnTo>
                  <a:lnTo>
                    <a:pt x="80" y="358"/>
                  </a:lnTo>
                  <a:lnTo>
                    <a:pt x="79" y="358"/>
                  </a:lnTo>
                  <a:lnTo>
                    <a:pt x="78" y="357"/>
                  </a:lnTo>
                  <a:lnTo>
                    <a:pt x="78" y="356"/>
                  </a:lnTo>
                  <a:lnTo>
                    <a:pt x="79" y="356"/>
                  </a:lnTo>
                  <a:lnTo>
                    <a:pt x="80" y="355"/>
                  </a:lnTo>
                  <a:lnTo>
                    <a:pt x="81" y="355"/>
                  </a:lnTo>
                  <a:lnTo>
                    <a:pt x="82" y="355"/>
                  </a:lnTo>
                  <a:lnTo>
                    <a:pt x="84" y="353"/>
                  </a:lnTo>
                  <a:lnTo>
                    <a:pt x="84" y="352"/>
                  </a:lnTo>
                  <a:lnTo>
                    <a:pt x="82" y="351"/>
                  </a:lnTo>
                  <a:lnTo>
                    <a:pt x="80" y="351"/>
                  </a:lnTo>
                  <a:lnTo>
                    <a:pt x="79" y="350"/>
                  </a:lnTo>
                  <a:lnTo>
                    <a:pt x="76" y="349"/>
                  </a:lnTo>
                  <a:lnTo>
                    <a:pt x="75" y="347"/>
                  </a:lnTo>
                  <a:lnTo>
                    <a:pt x="75" y="346"/>
                  </a:lnTo>
                  <a:lnTo>
                    <a:pt x="74" y="346"/>
                  </a:lnTo>
                  <a:lnTo>
                    <a:pt x="74" y="347"/>
                  </a:lnTo>
                  <a:lnTo>
                    <a:pt x="71" y="347"/>
                  </a:lnTo>
                  <a:lnTo>
                    <a:pt x="71" y="349"/>
                  </a:lnTo>
                  <a:lnTo>
                    <a:pt x="71" y="351"/>
                  </a:lnTo>
                  <a:lnTo>
                    <a:pt x="73" y="352"/>
                  </a:lnTo>
                  <a:lnTo>
                    <a:pt x="71" y="353"/>
                  </a:lnTo>
                  <a:lnTo>
                    <a:pt x="70" y="355"/>
                  </a:lnTo>
                  <a:lnTo>
                    <a:pt x="68" y="356"/>
                  </a:lnTo>
                  <a:lnTo>
                    <a:pt x="68" y="355"/>
                  </a:lnTo>
                  <a:lnTo>
                    <a:pt x="68" y="353"/>
                  </a:lnTo>
                  <a:lnTo>
                    <a:pt x="68" y="352"/>
                  </a:lnTo>
                  <a:lnTo>
                    <a:pt x="65" y="352"/>
                  </a:lnTo>
                  <a:lnTo>
                    <a:pt x="65" y="351"/>
                  </a:lnTo>
                  <a:lnTo>
                    <a:pt x="65" y="350"/>
                  </a:lnTo>
                  <a:lnTo>
                    <a:pt x="67" y="347"/>
                  </a:lnTo>
                  <a:lnTo>
                    <a:pt x="67" y="346"/>
                  </a:lnTo>
                  <a:lnTo>
                    <a:pt x="65" y="344"/>
                  </a:lnTo>
                  <a:lnTo>
                    <a:pt x="64" y="344"/>
                  </a:lnTo>
                  <a:lnTo>
                    <a:pt x="62" y="344"/>
                  </a:lnTo>
                  <a:lnTo>
                    <a:pt x="61" y="341"/>
                  </a:lnTo>
                  <a:lnTo>
                    <a:pt x="61" y="340"/>
                  </a:lnTo>
                  <a:lnTo>
                    <a:pt x="61" y="339"/>
                  </a:lnTo>
                  <a:lnTo>
                    <a:pt x="59" y="338"/>
                  </a:lnTo>
                  <a:lnTo>
                    <a:pt x="57" y="338"/>
                  </a:lnTo>
                  <a:lnTo>
                    <a:pt x="56" y="338"/>
                  </a:lnTo>
                  <a:lnTo>
                    <a:pt x="56" y="339"/>
                  </a:lnTo>
                  <a:lnTo>
                    <a:pt x="56" y="341"/>
                  </a:lnTo>
                  <a:lnTo>
                    <a:pt x="56" y="343"/>
                  </a:lnTo>
                  <a:lnTo>
                    <a:pt x="55" y="344"/>
                  </a:lnTo>
                  <a:lnTo>
                    <a:pt x="55" y="345"/>
                  </a:lnTo>
                  <a:lnTo>
                    <a:pt x="52" y="345"/>
                  </a:lnTo>
                  <a:lnTo>
                    <a:pt x="52" y="346"/>
                  </a:lnTo>
                  <a:lnTo>
                    <a:pt x="53" y="346"/>
                  </a:lnTo>
                  <a:lnTo>
                    <a:pt x="55" y="347"/>
                  </a:lnTo>
                  <a:lnTo>
                    <a:pt x="56" y="349"/>
                  </a:lnTo>
                  <a:lnTo>
                    <a:pt x="56" y="350"/>
                  </a:lnTo>
                  <a:lnTo>
                    <a:pt x="56" y="351"/>
                  </a:lnTo>
                  <a:lnTo>
                    <a:pt x="59" y="352"/>
                  </a:lnTo>
                  <a:lnTo>
                    <a:pt x="61" y="352"/>
                  </a:lnTo>
                  <a:lnTo>
                    <a:pt x="61" y="355"/>
                  </a:lnTo>
                  <a:lnTo>
                    <a:pt x="59" y="355"/>
                  </a:lnTo>
                  <a:lnTo>
                    <a:pt x="59" y="356"/>
                  </a:lnTo>
                  <a:lnTo>
                    <a:pt x="61" y="357"/>
                  </a:lnTo>
                  <a:lnTo>
                    <a:pt x="63" y="358"/>
                  </a:lnTo>
                  <a:lnTo>
                    <a:pt x="62" y="359"/>
                  </a:lnTo>
                  <a:lnTo>
                    <a:pt x="61" y="359"/>
                  </a:lnTo>
                  <a:lnTo>
                    <a:pt x="59" y="358"/>
                  </a:lnTo>
                  <a:lnTo>
                    <a:pt x="58" y="356"/>
                  </a:lnTo>
                  <a:lnTo>
                    <a:pt x="57" y="356"/>
                  </a:lnTo>
                  <a:lnTo>
                    <a:pt x="57" y="357"/>
                  </a:lnTo>
                  <a:lnTo>
                    <a:pt x="57" y="358"/>
                  </a:lnTo>
                  <a:lnTo>
                    <a:pt x="58" y="361"/>
                  </a:lnTo>
                  <a:lnTo>
                    <a:pt x="59" y="362"/>
                  </a:lnTo>
                  <a:lnTo>
                    <a:pt x="61" y="364"/>
                  </a:lnTo>
                  <a:lnTo>
                    <a:pt x="61" y="365"/>
                  </a:lnTo>
                  <a:lnTo>
                    <a:pt x="59" y="365"/>
                  </a:lnTo>
                  <a:lnTo>
                    <a:pt x="58" y="365"/>
                  </a:lnTo>
                  <a:lnTo>
                    <a:pt x="57" y="363"/>
                  </a:lnTo>
                  <a:lnTo>
                    <a:pt x="56" y="361"/>
                  </a:lnTo>
                  <a:lnTo>
                    <a:pt x="55" y="362"/>
                  </a:lnTo>
                  <a:lnTo>
                    <a:pt x="55" y="363"/>
                  </a:lnTo>
                  <a:lnTo>
                    <a:pt x="53" y="364"/>
                  </a:lnTo>
                  <a:lnTo>
                    <a:pt x="52" y="364"/>
                  </a:lnTo>
                  <a:lnTo>
                    <a:pt x="52" y="361"/>
                  </a:lnTo>
                  <a:lnTo>
                    <a:pt x="55" y="359"/>
                  </a:lnTo>
                  <a:lnTo>
                    <a:pt x="55" y="358"/>
                  </a:lnTo>
                  <a:lnTo>
                    <a:pt x="52" y="357"/>
                  </a:lnTo>
                  <a:lnTo>
                    <a:pt x="51" y="356"/>
                  </a:lnTo>
                  <a:lnTo>
                    <a:pt x="50" y="355"/>
                  </a:lnTo>
                  <a:lnTo>
                    <a:pt x="50" y="353"/>
                  </a:lnTo>
                  <a:lnTo>
                    <a:pt x="47" y="353"/>
                  </a:lnTo>
                  <a:lnTo>
                    <a:pt x="47" y="355"/>
                  </a:lnTo>
                  <a:lnTo>
                    <a:pt x="47" y="357"/>
                  </a:lnTo>
                  <a:lnTo>
                    <a:pt x="45" y="357"/>
                  </a:lnTo>
                  <a:lnTo>
                    <a:pt x="45" y="356"/>
                  </a:lnTo>
                  <a:lnTo>
                    <a:pt x="44" y="357"/>
                  </a:lnTo>
                  <a:lnTo>
                    <a:pt x="44" y="358"/>
                  </a:lnTo>
                  <a:lnTo>
                    <a:pt x="46" y="359"/>
                  </a:lnTo>
                  <a:lnTo>
                    <a:pt x="45" y="361"/>
                  </a:lnTo>
                  <a:lnTo>
                    <a:pt x="44" y="359"/>
                  </a:lnTo>
                  <a:lnTo>
                    <a:pt x="43" y="359"/>
                  </a:lnTo>
                  <a:lnTo>
                    <a:pt x="41" y="358"/>
                  </a:lnTo>
                  <a:lnTo>
                    <a:pt x="39" y="358"/>
                  </a:lnTo>
                  <a:lnTo>
                    <a:pt x="38" y="358"/>
                  </a:lnTo>
                  <a:lnTo>
                    <a:pt x="38" y="357"/>
                  </a:lnTo>
                  <a:lnTo>
                    <a:pt x="38" y="356"/>
                  </a:lnTo>
                  <a:lnTo>
                    <a:pt x="39" y="355"/>
                  </a:lnTo>
                  <a:lnTo>
                    <a:pt x="38" y="355"/>
                  </a:lnTo>
                  <a:lnTo>
                    <a:pt x="38" y="352"/>
                  </a:lnTo>
                  <a:lnTo>
                    <a:pt x="35" y="351"/>
                  </a:lnTo>
                  <a:lnTo>
                    <a:pt x="34" y="352"/>
                  </a:lnTo>
                  <a:lnTo>
                    <a:pt x="34" y="355"/>
                  </a:lnTo>
                  <a:lnTo>
                    <a:pt x="34" y="357"/>
                  </a:lnTo>
                  <a:lnTo>
                    <a:pt x="33" y="356"/>
                  </a:lnTo>
                  <a:lnTo>
                    <a:pt x="32" y="353"/>
                  </a:lnTo>
                  <a:lnTo>
                    <a:pt x="32" y="352"/>
                  </a:lnTo>
                  <a:lnTo>
                    <a:pt x="31" y="352"/>
                  </a:lnTo>
                  <a:lnTo>
                    <a:pt x="29" y="351"/>
                  </a:lnTo>
                  <a:lnTo>
                    <a:pt x="27" y="349"/>
                  </a:lnTo>
                  <a:lnTo>
                    <a:pt x="26" y="350"/>
                  </a:lnTo>
                  <a:lnTo>
                    <a:pt x="25" y="352"/>
                  </a:lnTo>
                  <a:lnTo>
                    <a:pt x="23" y="351"/>
                  </a:lnTo>
                  <a:lnTo>
                    <a:pt x="23" y="353"/>
                  </a:lnTo>
                  <a:lnTo>
                    <a:pt x="25" y="355"/>
                  </a:lnTo>
                  <a:lnTo>
                    <a:pt x="27" y="356"/>
                  </a:lnTo>
                  <a:lnTo>
                    <a:pt x="28" y="358"/>
                  </a:lnTo>
                  <a:lnTo>
                    <a:pt x="28" y="359"/>
                  </a:lnTo>
                  <a:lnTo>
                    <a:pt x="28" y="362"/>
                  </a:lnTo>
                  <a:lnTo>
                    <a:pt x="27" y="362"/>
                  </a:lnTo>
                  <a:lnTo>
                    <a:pt x="26" y="362"/>
                  </a:lnTo>
                  <a:lnTo>
                    <a:pt x="26" y="359"/>
                  </a:lnTo>
                  <a:lnTo>
                    <a:pt x="26" y="357"/>
                  </a:lnTo>
                  <a:lnTo>
                    <a:pt x="25" y="356"/>
                  </a:lnTo>
                  <a:lnTo>
                    <a:pt x="23" y="355"/>
                  </a:lnTo>
                  <a:lnTo>
                    <a:pt x="22" y="355"/>
                  </a:lnTo>
                  <a:lnTo>
                    <a:pt x="21" y="353"/>
                  </a:lnTo>
                  <a:lnTo>
                    <a:pt x="21" y="352"/>
                  </a:lnTo>
                  <a:lnTo>
                    <a:pt x="20" y="352"/>
                  </a:lnTo>
                  <a:lnTo>
                    <a:pt x="19" y="355"/>
                  </a:lnTo>
                  <a:lnTo>
                    <a:pt x="19" y="356"/>
                  </a:lnTo>
                  <a:lnTo>
                    <a:pt x="17" y="355"/>
                  </a:lnTo>
                  <a:lnTo>
                    <a:pt x="19" y="352"/>
                  </a:lnTo>
                  <a:lnTo>
                    <a:pt x="20" y="351"/>
                  </a:lnTo>
                  <a:lnTo>
                    <a:pt x="20" y="350"/>
                  </a:lnTo>
                  <a:lnTo>
                    <a:pt x="19" y="349"/>
                  </a:lnTo>
                  <a:lnTo>
                    <a:pt x="19" y="347"/>
                  </a:lnTo>
                  <a:lnTo>
                    <a:pt x="15" y="347"/>
                  </a:lnTo>
                  <a:lnTo>
                    <a:pt x="14" y="347"/>
                  </a:lnTo>
                  <a:lnTo>
                    <a:pt x="14" y="349"/>
                  </a:lnTo>
                  <a:lnTo>
                    <a:pt x="14" y="351"/>
                  </a:lnTo>
                  <a:lnTo>
                    <a:pt x="14" y="352"/>
                  </a:lnTo>
                  <a:lnTo>
                    <a:pt x="12" y="355"/>
                  </a:lnTo>
                  <a:lnTo>
                    <a:pt x="12" y="352"/>
                  </a:lnTo>
                  <a:lnTo>
                    <a:pt x="12" y="351"/>
                  </a:lnTo>
                  <a:lnTo>
                    <a:pt x="12" y="350"/>
                  </a:lnTo>
                  <a:lnTo>
                    <a:pt x="10" y="349"/>
                  </a:lnTo>
                  <a:lnTo>
                    <a:pt x="8" y="349"/>
                  </a:lnTo>
                  <a:lnTo>
                    <a:pt x="8" y="347"/>
                  </a:lnTo>
                  <a:lnTo>
                    <a:pt x="6" y="347"/>
                  </a:lnTo>
                  <a:lnTo>
                    <a:pt x="5" y="346"/>
                  </a:lnTo>
                  <a:lnTo>
                    <a:pt x="5" y="347"/>
                  </a:lnTo>
                  <a:lnTo>
                    <a:pt x="2" y="349"/>
                  </a:lnTo>
                  <a:lnTo>
                    <a:pt x="0" y="349"/>
                  </a:lnTo>
                  <a:lnTo>
                    <a:pt x="0" y="350"/>
                  </a:lnTo>
                  <a:lnTo>
                    <a:pt x="0" y="351"/>
                  </a:lnTo>
                  <a:lnTo>
                    <a:pt x="3" y="353"/>
                  </a:lnTo>
                  <a:lnTo>
                    <a:pt x="4" y="353"/>
                  </a:lnTo>
                  <a:lnTo>
                    <a:pt x="3" y="355"/>
                  </a:lnTo>
                  <a:lnTo>
                    <a:pt x="3" y="356"/>
                  </a:lnTo>
                  <a:lnTo>
                    <a:pt x="5" y="358"/>
                  </a:lnTo>
                  <a:lnTo>
                    <a:pt x="6" y="358"/>
                  </a:lnTo>
                  <a:lnTo>
                    <a:pt x="8" y="357"/>
                  </a:lnTo>
                  <a:lnTo>
                    <a:pt x="8" y="359"/>
                  </a:lnTo>
                  <a:lnTo>
                    <a:pt x="9" y="361"/>
                  </a:lnTo>
                  <a:lnTo>
                    <a:pt x="10" y="361"/>
                  </a:lnTo>
                  <a:lnTo>
                    <a:pt x="12" y="362"/>
                  </a:lnTo>
                  <a:lnTo>
                    <a:pt x="11" y="363"/>
                  </a:lnTo>
                  <a:lnTo>
                    <a:pt x="10" y="364"/>
                  </a:lnTo>
                  <a:lnTo>
                    <a:pt x="11" y="367"/>
                  </a:lnTo>
                  <a:lnTo>
                    <a:pt x="10" y="368"/>
                  </a:lnTo>
                  <a:lnTo>
                    <a:pt x="9" y="369"/>
                  </a:lnTo>
                  <a:lnTo>
                    <a:pt x="11" y="371"/>
                  </a:lnTo>
                  <a:lnTo>
                    <a:pt x="11" y="374"/>
                  </a:lnTo>
                  <a:lnTo>
                    <a:pt x="12" y="375"/>
                  </a:lnTo>
                  <a:lnTo>
                    <a:pt x="14" y="376"/>
                  </a:lnTo>
                  <a:lnTo>
                    <a:pt x="16" y="377"/>
                  </a:lnTo>
                  <a:lnTo>
                    <a:pt x="17" y="377"/>
                  </a:lnTo>
                  <a:lnTo>
                    <a:pt x="20" y="377"/>
                  </a:lnTo>
                  <a:lnTo>
                    <a:pt x="21" y="377"/>
                  </a:lnTo>
                  <a:lnTo>
                    <a:pt x="22" y="377"/>
                  </a:lnTo>
                  <a:lnTo>
                    <a:pt x="25" y="377"/>
                  </a:lnTo>
                  <a:lnTo>
                    <a:pt x="26" y="376"/>
                  </a:lnTo>
                  <a:lnTo>
                    <a:pt x="28" y="375"/>
                  </a:lnTo>
                  <a:lnTo>
                    <a:pt x="29" y="376"/>
                  </a:lnTo>
                  <a:lnTo>
                    <a:pt x="28" y="377"/>
                  </a:lnTo>
                  <a:lnTo>
                    <a:pt x="29" y="379"/>
                  </a:lnTo>
                  <a:lnTo>
                    <a:pt x="32" y="379"/>
                  </a:lnTo>
                  <a:lnTo>
                    <a:pt x="34" y="377"/>
                  </a:lnTo>
                  <a:lnTo>
                    <a:pt x="35" y="379"/>
                  </a:lnTo>
                  <a:lnTo>
                    <a:pt x="37" y="379"/>
                  </a:lnTo>
                  <a:lnTo>
                    <a:pt x="38" y="377"/>
                  </a:lnTo>
                  <a:lnTo>
                    <a:pt x="39" y="377"/>
                  </a:lnTo>
                  <a:lnTo>
                    <a:pt x="37" y="380"/>
                  </a:lnTo>
                  <a:lnTo>
                    <a:pt x="34" y="380"/>
                  </a:lnTo>
                  <a:lnTo>
                    <a:pt x="33" y="380"/>
                  </a:lnTo>
                  <a:lnTo>
                    <a:pt x="32" y="381"/>
                  </a:lnTo>
                  <a:lnTo>
                    <a:pt x="31" y="381"/>
                  </a:lnTo>
                  <a:lnTo>
                    <a:pt x="29" y="380"/>
                  </a:lnTo>
                  <a:lnTo>
                    <a:pt x="28" y="379"/>
                  </a:lnTo>
                  <a:lnTo>
                    <a:pt x="27" y="379"/>
                  </a:lnTo>
                  <a:lnTo>
                    <a:pt x="26" y="379"/>
                  </a:lnTo>
                  <a:lnTo>
                    <a:pt x="25" y="380"/>
                  </a:lnTo>
                  <a:lnTo>
                    <a:pt x="23" y="380"/>
                  </a:lnTo>
                  <a:lnTo>
                    <a:pt x="21" y="380"/>
                  </a:lnTo>
                  <a:lnTo>
                    <a:pt x="17" y="380"/>
                  </a:lnTo>
                  <a:lnTo>
                    <a:pt x="16" y="380"/>
                  </a:lnTo>
                  <a:lnTo>
                    <a:pt x="15" y="381"/>
                  </a:lnTo>
                  <a:lnTo>
                    <a:pt x="14" y="383"/>
                  </a:lnTo>
                  <a:lnTo>
                    <a:pt x="15" y="385"/>
                  </a:lnTo>
                  <a:lnTo>
                    <a:pt x="16" y="385"/>
                  </a:lnTo>
                  <a:lnTo>
                    <a:pt x="17" y="386"/>
                  </a:lnTo>
                  <a:lnTo>
                    <a:pt x="19" y="386"/>
                  </a:lnTo>
                  <a:lnTo>
                    <a:pt x="20" y="388"/>
                  </a:lnTo>
                  <a:lnTo>
                    <a:pt x="21" y="386"/>
                  </a:lnTo>
                  <a:lnTo>
                    <a:pt x="22" y="385"/>
                  </a:lnTo>
                  <a:lnTo>
                    <a:pt x="23" y="386"/>
                  </a:lnTo>
                  <a:lnTo>
                    <a:pt x="25" y="387"/>
                  </a:lnTo>
                  <a:lnTo>
                    <a:pt x="26" y="387"/>
                  </a:lnTo>
                  <a:lnTo>
                    <a:pt x="27" y="387"/>
                  </a:lnTo>
                  <a:lnTo>
                    <a:pt x="28" y="387"/>
                  </a:lnTo>
                  <a:lnTo>
                    <a:pt x="31" y="387"/>
                  </a:lnTo>
                  <a:lnTo>
                    <a:pt x="32" y="387"/>
                  </a:lnTo>
                  <a:lnTo>
                    <a:pt x="33" y="387"/>
                  </a:lnTo>
                  <a:lnTo>
                    <a:pt x="34" y="386"/>
                  </a:lnTo>
                  <a:lnTo>
                    <a:pt x="35" y="386"/>
                  </a:lnTo>
                  <a:lnTo>
                    <a:pt x="38" y="387"/>
                  </a:lnTo>
                  <a:lnTo>
                    <a:pt x="38" y="389"/>
                  </a:lnTo>
                  <a:lnTo>
                    <a:pt x="37" y="388"/>
                  </a:lnTo>
                  <a:lnTo>
                    <a:pt x="34" y="387"/>
                  </a:lnTo>
                  <a:lnTo>
                    <a:pt x="32" y="388"/>
                  </a:lnTo>
                  <a:lnTo>
                    <a:pt x="31" y="388"/>
                  </a:lnTo>
                  <a:lnTo>
                    <a:pt x="31" y="389"/>
                  </a:lnTo>
                  <a:lnTo>
                    <a:pt x="33" y="391"/>
                  </a:lnTo>
                  <a:lnTo>
                    <a:pt x="34" y="392"/>
                  </a:lnTo>
                  <a:lnTo>
                    <a:pt x="34" y="393"/>
                  </a:lnTo>
                  <a:lnTo>
                    <a:pt x="33" y="394"/>
                  </a:lnTo>
                  <a:lnTo>
                    <a:pt x="32" y="394"/>
                  </a:lnTo>
                  <a:lnTo>
                    <a:pt x="29" y="393"/>
                  </a:lnTo>
                  <a:lnTo>
                    <a:pt x="29" y="392"/>
                  </a:lnTo>
                  <a:lnTo>
                    <a:pt x="27" y="391"/>
                  </a:lnTo>
                  <a:lnTo>
                    <a:pt x="27" y="392"/>
                  </a:lnTo>
                  <a:lnTo>
                    <a:pt x="26" y="394"/>
                  </a:lnTo>
                  <a:lnTo>
                    <a:pt x="25" y="393"/>
                  </a:lnTo>
                  <a:lnTo>
                    <a:pt x="23" y="392"/>
                  </a:lnTo>
                  <a:lnTo>
                    <a:pt x="22" y="393"/>
                  </a:lnTo>
                  <a:lnTo>
                    <a:pt x="22" y="394"/>
                  </a:lnTo>
                  <a:lnTo>
                    <a:pt x="20" y="394"/>
                  </a:lnTo>
                  <a:lnTo>
                    <a:pt x="20" y="395"/>
                  </a:lnTo>
                  <a:lnTo>
                    <a:pt x="22" y="398"/>
                  </a:lnTo>
                  <a:lnTo>
                    <a:pt x="25" y="399"/>
                  </a:lnTo>
                  <a:lnTo>
                    <a:pt x="26" y="401"/>
                  </a:lnTo>
                  <a:lnTo>
                    <a:pt x="27" y="401"/>
                  </a:lnTo>
                  <a:lnTo>
                    <a:pt x="26" y="403"/>
                  </a:lnTo>
                  <a:lnTo>
                    <a:pt x="23" y="401"/>
                  </a:lnTo>
                  <a:lnTo>
                    <a:pt x="22" y="401"/>
                  </a:lnTo>
                  <a:lnTo>
                    <a:pt x="21" y="401"/>
                  </a:lnTo>
                  <a:lnTo>
                    <a:pt x="20" y="401"/>
                  </a:lnTo>
                  <a:lnTo>
                    <a:pt x="20" y="404"/>
                  </a:lnTo>
                  <a:lnTo>
                    <a:pt x="21" y="406"/>
                  </a:lnTo>
                  <a:lnTo>
                    <a:pt x="22" y="407"/>
                  </a:lnTo>
                  <a:lnTo>
                    <a:pt x="20" y="407"/>
                  </a:lnTo>
                  <a:lnTo>
                    <a:pt x="17" y="406"/>
                  </a:lnTo>
                  <a:lnTo>
                    <a:pt x="19" y="410"/>
                  </a:lnTo>
                  <a:lnTo>
                    <a:pt x="19" y="411"/>
                  </a:lnTo>
                  <a:lnTo>
                    <a:pt x="20" y="412"/>
                  </a:lnTo>
                  <a:lnTo>
                    <a:pt x="19" y="412"/>
                  </a:lnTo>
                  <a:lnTo>
                    <a:pt x="17" y="411"/>
                  </a:lnTo>
                  <a:lnTo>
                    <a:pt x="17" y="410"/>
                  </a:lnTo>
                  <a:lnTo>
                    <a:pt x="16" y="407"/>
                  </a:lnTo>
                  <a:lnTo>
                    <a:pt x="15" y="407"/>
                  </a:lnTo>
                  <a:lnTo>
                    <a:pt x="14" y="407"/>
                  </a:lnTo>
                  <a:lnTo>
                    <a:pt x="12" y="409"/>
                  </a:lnTo>
                  <a:lnTo>
                    <a:pt x="12" y="411"/>
                  </a:lnTo>
                  <a:lnTo>
                    <a:pt x="11" y="412"/>
                  </a:lnTo>
                  <a:lnTo>
                    <a:pt x="10" y="411"/>
                  </a:lnTo>
                  <a:lnTo>
                    <a:pt x="10" y="410"/>
                  </a:lnTo>
                  <a:lnTo>
                    <a:pt x="10" y="409"/>
                  </a:lnTo>
                  <a:lnTo>
                    <a:pt x="9" y="409"/>
                  </a:lnTo>
                  <a:lnTo>
                    <a:pt x="6" y="409"/>
                  </a:lnTo>
                  <a:lnTo>
                    <a:pt x="5" y="410"/>
                  </a:lnTo>
                  <a:lnTo>
                    <a:pt x="4" y="411"/>
                  </a:lnTo>
                  <a:lnTo>
                    <a:pt x="2" y="412"/>
                  </a:lnTo>
                  <a:lnTo>
                    <a:pt x="2" y="413"/>
                  </a:lnTo>
                  <a:lnTo>
                    <a:pt x="3" y="416"/>
                  </a:lnTo>
                  <a:lnTo>
                    <a:pt x="3" y="417"/>
                  </a:lnTo>
                  <a:lnTo>
                    <a:pt x="5" y="418"/>
                  </a:lnTo>
                  <a:lnTo>
                    <a:pt x="9" y="422"/>
                  </a:lnTo>
                  <a:lnTo>
                    <a:pt x="10" y="422"/>
                  </a:lnTo>
                  <a:lnTo>
                    <a:pt x="11" y="423"/>
                  </a:lnTo>
                  <a:lnTo>
                    <a:pt x="12" y="424"/>
                  </a:lnTo>
                  <a:lnTo>
                    <a:pt x="16" y="424"/>
                  </a:lnTo>
                  <a:lnTo>
                    <a:pt x="15" y="426"/>
                  </a:lnTo>
                  <a:lnTo>
                    <a:pt x="12" y="426"/>
                  </a:lnTo>
                  <a:lnTo>
                    <a:pt x="11" y="426"/>
                  </a:lnTo>
                  <a:lnTo>
                    <a:pt x="9" y="426"/>
                  </a:lnTo>
                  <a:lnTo>
                    <a:pt x="9" y="428"/>
                  </a:lnTo>
                  <a:lnTo>
                    <a:pt x="10" y="429"/>
                  </a:lnTo>
                  <a:lnTo>
                    <a:pt x="8" y="430"/>
                  </a:lnTo>
                  <a:lnTo>
                    <a:pt x="6" y="430"/>
                  </a:lnTo>
                  <a:lnTo>
                    <a:pt x="10" y="434"/>
                  </a:lnTo>
                  <a:lnTo>
                    <a:pt x="11" y="434"/>
                  </a:lnTo>
                  <a:lnTo>
                    <a:pt x="12" y="433"/>
                  </a:lnTo>
                  <a:lnTo>
                    <a:pt x="14" y="434"/>
                  </a:lnTo>
                  <a:lnTo>
                    <a:pt x="14" y="435"/>
                  </a:lnTo>
                  <a:lnTo>
                    <a:pt x="15" y="435"/>
                  </a:lnTo>
                  <a:lnTo>
                    <a:pt x="17" y="435"/>
                  </a:lnTo>
                  <a:lnTo>
                    <a:pt x="19" y="434"/>
                  </a:lnTo>
                  <a:lnTo>
                    <a:pt x="21" y="434"/>
                  </a:lnTo>
                  <a:lnTo>
                    <a:pt x="22" y="433"/>
                  </a:lnTo>
                  <a:lnTo>
                    <a:pt x="23" y="432"/>
                  </a:lnTo>
                  <a:lnTo>
                    <a:pt x="26" y="429"/>
                  </a:lnTo>
                  <a:lnTo>
                    <a:pt x="28" y="429"/>
                  </a:lnTo>
                  <a:lnTo>
                    <a:pt x="31" y="429"/>
                  </a:lnTo>
                  <a:lnTo>
                    <a:pt x="32" y="429"/>
                  </a:lnTo>
                  <a:lnTo>
                    <a:pt x="32" y="430"/>
                  </a:lnTo>
                  <a:lnTo>
                    <a:pt x="32" y="432"/>
                  </a:lnTo>
                  <a:lnTo>
                    <a:pt x="31" y="432"/>
                  </a:lnTo>
                  <a:lnTo>
                    <a:pt x="28" y="433"/>
                  </a:lnTo>
                  <a:lnTo>
                    <a:pt x="27" y="432"/>
                  </a:lnTo>
                  <a:lnTo>
                    <a:pt x="26" y="432"/>
                  </a:lnTo>
                  <a:lnTo>
                    <a:pt x="25" y="433"/>
                  </a:lnTo>
                  <a:lnTo>
                    <a:pt x="23" y="435"/>
                  </a:lnTo>
                  <a:lnTo>
                    <a:pt x="25" y="436"/>
                  </a:lnTo>
                  <a:lnTo>
                    <a:pt x="27" y="439"/>
                  </a:lnTo>
                  <a:lnTo>
                    <a:pt x="31" y="439"/>
                  </a:lnTo>
                  <a:lnTo>
                    <a:pt x="32" y="438"/>
                  </a:lnTo>
                  <a:lnTo>
                    <a:pt x="32" y="436"/>
                  </a:lnTo>
                  <a:lnTo>
                    <a:pt x="33" y="436"/>
                  </a:lnTo>
                  <a:lnTo>
                    <a:pt x="34" y="435"/>
                  </a:lnTo>
                  <a:lnTo>
                    <a:pt x="35" y="438"/>
                  </a:lnTo>
                  <a:lnTo>
                    <a:pt x="37" y="438"/>
                  </a:lnTo>
                  <a:lnTo>
                    <a:pt x="39" y="438"/>
                  </a:lnTo>
                  <a:lnTo>
                    <a:pt x="39" y="436"/>
                  </a:lnTo>
                  <a:lnTo>
                    <a:pt x="41" y="435"/>
                  </a:lnTo>
                  <a:lnTo>
                    <a:pt x="43" y="435"/>
                  </a:lnTo>
                  <a:lnTo>
                    <a:pt x="44" y="433"/>
                  </a:lnTo>
                  <a:lnTo>
                    <a:pt x="45" y="434"/>
                  </a:lnTo>
                  <a:lnTo>
                    <a:pt x="47" y="435"/>
                  </a:lnTo>
                  <a:lnTo>
                    <a:pt x="49" y="438"/>
                  </a:lnTo>
                  <a:lnTo>
                    <a:pt x="47" y="440"/>
                  </a:lnTo>
                  <a:lnTo>
                    <a:pt x="45" y="442"/>
                  </a:lnTo>
                  <a:lnTo>
                    <a:pt x="44" y="444"/>
                  </a:lnTo>
                  <a:lnTo>
                    <a:pt x="41" y="445"/>
                  </a:lnTo>
                  <a:lnTo>
                    <a:pt x="40" y="445"/>
                  </a:lnTo>
                  <a:lnTo>
                    <a:pt x="39" y="445"/>
                  </a:lnTo>
                  <a:lnTo>
                    <a:pt x="38" y="445"/>
                  </a:lnTo>
                  <a:lnTo>
                    <a:pt x="37" y="444"/>
                  </a:lnTo>
                  <a:lnTo>
                    <a:pt x="37" y="446"/>
                  </a:lnTo>
                  <a:lnTo>
                    <a:pt x="37" y="447"/>
                  </a:lnTo>
                  <a:lnTo>
                    <a:pt x="35" y="448"/>
                  </a:lnTo>
                  <a:lnTo>
                    <a:pt x="34" y="450"/>
                  </a:lnTo>
                  <a:lnTo>
                    <a:pt x="33" y="451"/>
                  </a:lnTo>
                  <a:lnTo>
                    <a:pt x="33" y="450"/>
                  </a:lnTo>
                  <a:lnTo>
                    <a:pt x="32" y="450"/>
                  </a:lnTo>
                  <a:lnTo>
                    <a:pt x="31" y="450"/>
                  </a:lnTo>
                  <a:lnTo>
                    <a:pt x="29" y="450"/>
                  </a:lnTo>
                  <a:lnTo>
                    <a:pt x="28" y="452"/>
                  </a:lnTo>
                  <a:lnTo>
                    <a:pt x="27" y="452"/>
                  </a:lnTo>
                  <a:lnTo>
                    <a:pt x="27" y="456"/>
                  </a:lnTo>
                  <a:lnTo>
                    <a:pt x="29" y="456"/>
                  </a:lnTo>
                  <a:lnTo>
                    <a:pt x="31" y="456"/>
                  </a:lnTo>
                  <a:lnTo>
                    <a:pt x="32" y="456"/>
                  </a:lnTo>
                  <a:lnTo>
                    <a:pt x="33" y="456"/>
                  </a:lnTo>
                  <a:lnTo>
                    <a:pt x="34" y="457"/>
                  </a:lnTo>
                  <a:lnTo>
                    <a:pt x="35" y="457"/>
                  </a:lnTo>
                  <a:lnTo>
                    <a:pt x="39" y="457"/>
                  </a:lnTo>
                  <a:lnTo>
                    <a:pt x="39" y="456"/>
                  </a:lnTo>
                  <a:lnTo>
                    <a:pt x="40" y="454"/>
                  </a:lnTo>
                  <a:lnTo>
                    <a:pt x="41" y="453"/>
                  </a:lnTo>
                  <a:lnTo>
                    <a:pt x="43" y="453"/>
                  </a:lnTo>
                  <a:lnTo>
                    <a:pt x="44" y="453"/>
                  </a:lnTo>
                  <a:lnTo>
                    <a:pt x="45" y="451"/>
                  </a:lnTo>
                  <a:lnTo>
                    <a:pt x="46" y="450"/>
                  </a:lnTo>
                  <a:lnTo>
                    <a:pt x="47" y="448"/>
                  </a:lnTo>
                  <a:lnTo>
                    <a:pt x="47" y="446"/>
                  </a:lnTo>
                  <a:lnTo>
                    <a:pt x="47" y="445"/>
                  </a:lnTo>
                  <a:lnTo>
                    <a:pt x="49" y="444"/>
                  </a:lnTo>
                  <a:lnTo>
                    <a:pt x="50" y="441"/>
                  </a:lnTo>
                  <a:lnTo>
                    <a:pt x="50" y="440"/>
                  </a:lnTo>
                  <a:lnTo>
                    <a:pt x="51" y="441"/>
                  </a:lnTo>
                  <a:lnTo>
                    <a:pt x="51" y="442"/>
                  </a:lnTo>
                  <a:lnTo>
                    <a:pt x="50" y="445"/>
                  </a:lnTo>
                  <a:lnTo>
                    <a:pt x="50" y="446"/>
                  </a:lnTo>
                  <a:lnTo>
                    <a:pt x="51" y="446"/>
                  </a:lnTo>
                  <a:lnTo>
                    <a:pt x="53" y="446"/>
                  </a:lnTo>
                  <a:lnTo>
                    <a:pt x="55" y="446"/>
                  </a:lnTo>
                  <a:lnTo>
                    <a:pt x="56" y="445"/>
                  </a:lnTo>
                  <a:lnTo>
                    <a:pt x="56" y="442"/>
                  </a:lnTo>
                  <a:lnTo>
                    <a:pt x="55" y="442"/>
                  </a:lnTo>
                  <a:lnTo>
                    <a:pt x="55" y="441"/>
                  </a:lnTo>
                  <a:lnTo>
                    <a:pt x="56" y="440"/>
                  </a:lnTo>
                  <a:lnTo>
                    <a:pt x="57" y="440"/>
                  </a:lnTo>
                  <a:lnTo>
                    <a:pt x="58" y="439"/>
                  </a:lnTo>
                  <a:lnTo>
                    <a:pt x="59" y="438"/>
                  </a:lnTo>
                  <a:lnTo>
                    <a:pt x="59" y="436"/>
                  </a:lnTo>
                  <a:lnTo>
                    <a:pt x="61" y="435"/>
                  </a:lnTo>
                  <a:lnTo>
                    <a:pt x="61" y="434"/>
                  </a:lnTo>
                  <a:lnTo>
                    <a:pt x="62" y="432"/>
                  </a:lnTo>
                  <a:lnTo>
                    <a:pt x="63" y="432"/>
                  </a:lnTo>
                  <a:lnTo>
                    <a:pt x="64" y="433"/>
                  </a:lnTo>
                  <a:lnTo>
                    <a:pt x="65" y="433"/>
                  </a:lnTo>
                  <a:lnTo>
                    <a:pt x="65" y="434"/>
                  </a:lnTo>
                  <a:lnTo>
                    <a:pt x="67" y="434"/>
                  </a:lnTo>
                  <a:lnTo>
                    <a:pt x="68" y="433"/>
                  </a:lnTo>
                  <a:lnTo>
                    <a:pt x="69" y="433"/>
                  </a:lnTo>
                  <a:lnTo>
                    <a:pt x="70" y="433"/>
                  </a:lnTo>
                  <a:lnTo>
                    <a:pt x="71" y="433"/>
                  </a:lnTo>
                  <a:lnTo>
                    <a:pt x="71" y="434"/>
                  </a:lnTo>
                  <a:lnTo>
                    <a:pt x="69" y="435"/>
                  </a:lnTo>
                  <a:lnTo>
                    <a:pt x="69" y="436"/>
                  </a:lnTo>
                  <a:lnTo>
                    <a:pt x="68" y="436"/>
                  </a:lnTo>
                  <a:lnTo>
                    <a:pt x="65" y="439"/>
                  </a:lnTo>
                  <a:lnTo>
                    <a:pt x="64" y="439"/>
                  </a:lnTo>
                  <a:lnTo>
                    <a:pt x="64" y="438"/>
                  </a:lnTo>
                  <a:lnTo>
                    <a:pt x="64" y="436"/>
                  </a:lnTo>
                  <a:lnTo>
                    <a:pt x="63" y="435"/>
                  </a:lnTo>
                  <a:lnTo>
                    <a:pt x="61" y="438"/>
                  </a:lnTo>
                  <a:lnTo>
                    <a:pt x="58" y="440"/>
                  </a:lnTo>
                  <a:lnTo>
                    <a:pt x="61" y="442"/>
                  </a:lnTo>
                  <a:lnTo>
                    <a:pt x="63" y="442"/>
                  </a:lnTo>
                  <a:lnTo>
                    <a:pt x="64" y="444"/>
                  </a:lnTo>
                  <a:lnTo>
                    <a:pt x="65" y="445"/>
                  </a:lnTo>
                  <a:lnTo>
                    <a:pt x="68" y="446"/>
                  </a:lnTo>
                  <a:lnTo>
                    <a:pt x="70" y="446"/>
                  </a:lnTo>
                  <a:lnTo>
                    <a:pt x="71" y="446"/>
                  </a:lnTo>
                  <a:lnTo>
                    <a:pt x="74" y="444"/>
                  </a:lnTo>
                  <a:lnTo>
                    <a:pt x="75" y="442"/>
                  </a:lnTo>
                  <a:lnTo>
                    <a:pt x="76" y="441"/>
                  </a:lnTo>
                  <a:lnTo>
                    <a:pt x="78" y="440"/>
                  </a:lnTo>
                  <a:lnTo>
                    <a:pt x="79" y="439"/>
                  </a:lnTo>
                  <a:lnTo>
                    <a:pt x="81" y="438"/>
                  </a:lnTo>
                  <a:lnTo>
                    <a:pt x="82" y="436"/>
                  </a:lnTo>
                  <a:lnTo>
                    <a:pt x="82" y="434"/>
                  </a:lnTo>
                  <a:lnTo>
                    <a:pt x="84" y="433"/>
                  </a:lnTo>
                  <a:lnTo>
                    <a:pt x="85" y="434"/>
                  </a:lnTo>
                  <a:lnTo>
                    <a:pt x="86" y="433"/>
                  </a:lnTo>
                  <a:lnTo>
                    <a:pt x="87" y="433"/>
                  </a:lnTo>
                  <a:lnTo>
                    <a:pt x="87" y="434"/>
                  </a:lnTo>
                  <a:lnTo>
                    <a:pt x="85" y="435"/>
                  </a:lnTo>
                  <a:lnTo>
                    <a:pt x="84" y="436"/>
                  </a:lnTo>
                  <a:lnTo>
                    <a:pt x="85" y="438"/>
                  </a:lnTo>
                  <a:lnTo>
                    <a:pt x="84" y="438"/>
                  </a:lnTo>
                  <a:lnTo>
                    <a:pt x="82" y="439"/>
                  </a:lnTo>
                  <a:lnTo>
                    <a:pt x="81" y="439"/>
                  </a:lnTo>
                  <a:lnTo>
                    <a:pt x="80" y="440"/>
                  </a:lnTo>
                  <a:lnTo>
                    <a:pt x="79" y="441"/>
                  </a:lnTo>
                  <a:lnTo>
                    <a:pt x="79" y="442"/>
                  </a:lnTo>
                  <a:lnTo>
                    <a:pt x="82" y="444"/>
                  </a:lnTo>
                  <a:lnTo>
                    <a:pt x="86" y="445"/>
                  </a:lnTo>
                  <a:lnTo>
                    <a:pt x="88" y="445"/>
                  </a:lnTo>
                  <a:lnTo>
                    <a:pt x="88" y="446"/>
                  </a:lnTo>
                  <a:lnTo>
                    <a:pt x="91" y="447"/>
                  </a:lnTo>
                  <a:lnTo>
                    <a:pt x="92" y="448"/>
                  </a:lnTo>
                  <a:lnTo>
                    <a:pt x="93" y="450"/>
                  </a:lnTo>
                  <a:lnTo>
                    <a:pt x="92" y="450"/>
                  </a:lnTo>
                  <a:lnTo>
                    <a:pt x="88" y="452"/>
                  </a:lnTo>
                  <a:lnTo>
                    <a:pt x="87" y="452"/>
                  </a:lnTo>
                  <a:lnTo>
                    <a:pt x="85" y="453"/>
                  </a:lnTo>
                  <a:lnTo>
                    <a:pt x="82" y="453"/>
                  </a:lnTo>
                  <a:lnTo>
                    <a:pt x="80" y="454"/>
                  </a:lnTo>
                  <a:lnTo>
                    <a:pt x="81" y="457"/>
                  </a:lnTo>
                  <a:lnTo>
                    <a:pt x="82" y="458"/>
                  </a:lnTo>
                  <a:lnTo>
                    <a:pt x="81" y="459"/>
                  </a:lnTo>
                  <a:lnTo>
                    <a:pt x="80" y="459"/>
                  </a:lnTo>
                  <a:lnTo>
                    <a:pt x="81" y="460"/>
                  </a:lnTo>
                  <a:lnTo>
                    <a:pt x="82" y="460"/>
                  </a:lnTo>
                  <a:lnTo>
                    <a:pt x="84" y="460"/>
                  </a:lnTo>
                  <a:lnTo>
                    <a:pt x="86" y="460"/>
                  </a:lnTo>
                  <a:lnTo>
                    <a:pt x="88" y="460"/>
                  </a:lnTo>
                  <a:lnTo>
                    <a:pt x="90" y="459"/>
                  </a:lnTo>
                  <a:lnTo>
                    <a:pt x="91" y="458"/>
                  </a:lnTo>
                  <a:lnTo>
                    <a:pt x="91" y="457"/>
                  </a:lnTo>
                  <a:lnTo>
                    <a:pt x="92" y="456"/>
                  </a:lnTo>
                  <a:lnTo>
                    <a:pt x="93" y="457"/>
                  </a:lnTo>
                  <a:lnTo>
                    <a:pt x="94" y="457"/>
                  </a:lnTo>
                  <a:lnTo>
                    <a:pt x="94" y="454"/>
                  </a:lnTo>
                  <a:lnTo>
                    <a:pt x="94" y="453"/>
                  </a:lnTo>
                  <a:lnTo>
                    <a:pt x="94" y="452"/>
                  </a:lnTo>
                  <a:lnTo>
                    <a:pt x="97" y="450"/>
                  </a:lnTo>
                  <a:lnTo>
                    <a:pt x="98" y="447"/>
                  </a:lnTo>
                  <a:lnTo>
                    <a:pt x="98" y="445"/>
                  </a:lnTo>
                  <a:lnTo>
                    <a:pt x="99" y="444"/>
                  </a:lnTo>
                  <a:lnTo>
                    <a:pt x="99" y="442"/>
                  </a:lnTo>
                  <a:lnTo>
                    <a:pt x="102" y="442"/>
                  </a:lnTo>
                  <a:lnTo>
                    <a:pt x="102" y="444"/>
                  </a:lnTo>
                  <a:lnTo>
                    <a:pt x="102" y="446"/>
                  </a:lnTo>
                  <a:lnTo>
                    <a:pt x="105" y="446"/>
                  </a:lnTo>
                  <a:lnTo>
                    <a:pt x="106" y="445"/>
                  </a:lnTo>
                  <a:lnTo>
                    <a:pt x="108" y="444"/>
                  </a:lnTo>
                  <a:lnTo>
                    <a:pt x="109" y="442"/>
                  </a:lnTo>
                  <a:lnTo>
                    <a:pt x="111" y="441"/>
                  </a:lnTo>
                  <a:lnTo>
                    <a:pt x="112" y="440"/>
                  </a:lnTo>
                  <a:lnTo>
                    <a:pt x="112" y="441"/>
                  </a:lnTo>
                  <a:lnTo>
                    <a:pt x="111" y="442"/>
                  </a:lnTo>
                  <a:lnTo>
                    <a:pt x="109" y="444"/>
                  </a:lnTo>
                  <a:lnTo>
                    <a:pt x="106" y="446"/>
                  </a:lnTo>
                  <a:lnTo>
                    <a:pt x="105" y="447"/>
                  </a:lnTo>
                  <a:lnTo>
                    <a:pt x="103" y="448"/>
                  </a:lnTo>
                  <a:lnTo>
                    <a:pt x="102" y="450"/>
                  </a:lnTo>
                  <a:lnTo>
                    <a:pt x="103" y="452"/>
                  </a:lnTo>
                  <a:lnTo>
                    <a:pt x="105" y="451"/>
                  </a:lnTo>
                  <a:lnTo>
                    <a:pt x="109" y="448"/>
                  </a:lnTo>
                  <a:lnTo>
                    <a:pt x="110" y="447"/>
                  </a:lnTo>
                  <a:lnTo>
                    <a:pt x="112" y="446"/>
                  </a:lnTo>
                  <a:lnTo>
                    <a:pt x="115" y="445"/>
                  </a:lnTo>
                  <a:lnTo>
                    <a:pt x="116" y="446"/>
                  </a:lnTo>
                  <a:lnTo>
                    <a:pt x="116" y="448"/>
                  </a:lnTo>
                  <a:lnTo>
                    <a:pt x="117" y="450"/>
                  </a:lnTo>
                  <a:lnTo>
                    <a:pt x="118" y="448"/>
                  </a:lnTo>
                  <a:lnTo>
                    <a:pt x="120" y="447"/>
                  </a:lnTo>
                  <a:lnTo>
                    <a:pt x="120" y="445"/>
                  </a:lnTo>
                  <a:lnTo>
                    <a:pt x="120" y="444"/>
                  </a:lnTo>
                  <a:lnTo>
                    <a:pt x="120" y="442"/>
                  </a:lnTo>
                  <a:lnTo>
                    <a:pt x="121" y="442"/>
                  </a:lnTo>
                  <a:lnTo>
                    <a:pt x="122" y="442"/>
                  </a:lnTo>
                  <a:lnTo>
                    <a:pt x="124" y="444"/>
                  </a:lnTo>
                  <a:lnTo>
                    <a:pt x="126" y="445"/>
                  </a:lnTo>
                  <a:lnTo>
                    <a:pt x="128" y="445"/>
                  </a:lnTo>
                  <a:lnTo>
                    <a:pt x="129" y="445"/>
                  </a:lnTo>
                  <a:lnTo>
                    <a:pt x="132" y="444"/>
                  </a:lnTo>
                  <a:lnTo>
                    <a:pt x="133" y="442"/>
                  </a:lnTo>
                  <a:lnTo>
                    <a:pt x="133" y="440"/>
                  </a:lnTo>
                  <a:lnTo>
                    <a:pt x="132" y="439"/>
                  </a:lnTo>
                  <a:lnTo>
                    <a:pt x="132" y="438"/>
                  </a:lnTo>
                  <a:lnTo>
                    <a:pt x="130" y="438"/>
                  </a:lnTo>
                  <a:lnTo>
                    <a:pt x="128" y="439"/>
                  </a:lnTo>
                  <a:lnTo>
                    <a:pt x="126" y="439"/>
                  </a:lnTo>
                  <a:lnTo>
                    <a:pt x="124" y="438"/>
                  </a:lnTo>
                  <a:lnTo>
                    <a:pt x="124" y="436"/>
                  </a:lnTo>
                  <a:lnTo>
                    <a:pt x="123" y="436"/>
                  </a:lnTo>
                  <a:lnTo>
                    <a:pt x="121" y="435"/>
                  </a:lnTo>
                  <a:lnTo>
                    <a:pt x="120" y="435"/>
                  </a:lnTo>
                  <a:lnTo>
                    <a:pt x="122" y="434"/>
                  </a:lnTo>
                  <a:lnTo>
                    <a:pt x="124" y="434"/>
                  </a:lnTo>
                  <a:lnTo>
                    <a:pt x="124" y="435"/>
                  </a:lnTo>
                  <a:lnTo>
                    <a:pt x="126" y="436"/>
                  </a:lnTo>
                  <a:lnTo>
                    <a:pt x="128" y="436"/>
                  </a:lnTo>
                  <a:lnTo>
                    <a:pt x="129" y="434"/>
                  </a:lnTo>
                  <a:lnTo>
                    <a:pt x="129" y="433"/>
                  </a:lnTo>
                  <a:lnTo>
                    <a:pt x="129" y="432"/>
                  </a:lnTo>
                  <a:lnTo>
                    <a:pt x="128" y="430"/>
                  </a:lnTo>
                  <a:lnTo>
                    <a:pt x="124" y="429"/>
                  </a:lnTo>
                  <a:lnTo>
                    <a:pt x="123" y="429"/>
                  </a:lnTo>
                  <a:lnTo>
                    <a:pt x="123" y="427"/>
                  </a:lnTo>
                  <a:lnTo>
                    <a:pt x="124" y="426"/>
                  </a:lnTo>
                  <a:lnTo>
                    <a:pt x="126" y="424"/>
                  </a:lnTo>
                  <a:lnTo>
                    <a:pt x="127" y="424"/>
                  </a:lnTo>
                  <a:lnTo>
                    <a:pt x="128" y="426"/>
                  </a:lnTo>
                  <a:lnTo>
                    <a:pt x="128" y="428"/>
                  </a:lnTo>
                  <a:lnTo>
                    <a:pt x="129" y="429"/>
                  </a:lnTo>
                  <a:lnTo>
                    <a:pt x="132" y="430"/>
                  </a:lnTo>
                  <a:lnTo>
                    <a:pt x="133" y="432"/>
                  </a:lnTo>
                  <a:lnTo>
                    <a:pt x="135" y="433"/>
                  </a:lnTo>
                  <a:lnTo>
                    <a:pt x="138" y="433"/>
                  </a:lnTo>
                  <a:lnTo>
                    <a:pt x="139" y="433"/>
                  </a:lnTo>
                  <a:lnTo>
                    <a:pt x="140" y="435"/>
                  </a:lnTo>
                  <a:lnTo>
                    <a:pt x="139" y="435"/>
                  </a:lnTo>
                  <a:lnTo>
                    <a:pt x="137" y="434"/>
                  </a:lnTo>
                  <a:lnTo>
                    <a:pt x="137" y="436"/>
                  </a:lnTo>
                  <a:lnTo>
                    <a:pt x="137" y="438"/>
                  </a:lnTo>
                  <a:lnTo>
                    <a:pt x="139" y="438"/>
                  </a:lnTo>
                  <a:lnTo>
                    <a:pt x="141" y="440"/>
                  </a:lnTo>
                  <a:lnTo>
                    <a:pt x="143" y="444"/>
                  </a:lnTo>
                  <a:lnTo>
                    <a:pt x="144" y="446"/>
                  </a:lnTo>
                  <a:lnTo>
                    <a:pt x="144" y="448"/>
                  </a:lnTo>
                  <a:lnTo>
                    <a:pt x="141" y="448"/>
                  </a:lnTo>
                  <a:lnTo>
                    <a:pt x="141" y="446"/>
                  </a:lnTo>
                  <a:lnTo>
                    <a:pt x="139" y="442"/>
                  </a:lnTo>
                  <a:lnTo>
                    <a:pt x="138" y="442"/>
                  </a:lnTo>
                  <a:lnTo>
                    <a:pt x="139" y="445"/>
                  </a:lnTo>
                  <a:lnTo>
                    <a:pt x="139" y="446"/>
                  </a:lnTo>
                  <a:lnTo>
                    <a:pt x="139" y="448"/>
                  </a:lnTo>
                  <a:lnTo>
                    <a:pt x="138" y="448"/>
                  </a:lnTo>
                  <a:lnTo>
                    <a:pt x="137" y="451"/>
                  </a:lnTo>
                  <a:lnTo>
                    <a:pt x="137" y="452"/>
                  </a:lnTo>
                  <a:lnTo>
                    <a:pt x="139" y="453"/>
                  </a:lnTo>
                  <a:lnTo>
                    <a:pt x="140" y="452"/>
                  </a:lnTo>
                  <a:lnTo>
                    <a:pt x="143" y="452"/>
                  </a:lnTo>
                  <a:lnTo>
                    <a:pt x="141" y="453"/>
                  </a:lnTo>
                  <a:lnTo>
                    <a:pt x="140" y="454"/>
                  </a:lnTo>
                  <a:lnTo>
                    <a:pt x="139" y="454"/>
                  </a:lnTo>
                  <a:lnTo>
                    <a:pt x="138" y="456"/>
                  </a:lnTo>
                  <a:lnTo>
                    <a:pt x="137" y="456"/>
                  </a:lnTo>
                  <a:lnTo>
                    <a:pt x="135" y="458"/>
                  </a:lnTo>
                  <a:lnTo>
                    <a:pt x="135" y="460"/>
                  </a:lnTo>
                  <a:lnTo>
                    <a:pt x="137" y="460"/>
                  </a:lnTo>
                  <a:lnTo>
                    <a:pt x="134" y="462"/>
                  </a:lnTo>
                  <a:lnTo>
                    <a:pt x="133" y="462"/>
                  </a:lnTo>
                  <a:lnTo>
                    <a:pt x="132" y="459"/>
                  </a:lnTo>
                  <a:lnTo>
                    <a:pt x="129" y="459"/>
                  </a:lnTo>
                  <a:lnTo>
                    <a:pt x="128" y="460"/>
                  </a:lnTo>
                  <a:lnTo>
                    <a:pt x="128" y="463"/>
                  </a:lnTo>
                  <a:lnTo>
                    <a:pt x="128" y="464"/>
                  </a:lnTo>
                  <a:lnTo>
                    <a:pt x="128" y="466"/>
                  </a:lnTo>
                  <a:lnTo>
                    <a:pt x="129" y="466"/>
                  </a:lnTo>
                  <a:lnTo>
                    <a:pt x="132" y="466"/>
                  </a:lnTo>
                  <a:lnTo>
                    <a:pt x="133" y="466"/>
                  </a:lnTo>
                  <a:lnTo>
                    <a:pt x="134" y="466"/>
                  </a:lnTo>
                  <a:lnTo>
                    <a:pt x="135" y="465"/>
                  </a:lnTo>
                  <a:lnTo>
                    <a:pt x="135" y="464"/>
                  </a:lnTo>
                  <a:lnTo>
                    <a:pt x="137" y="465"/>
                  </a:lnTo>
                  <a:lnTo>
                    <a:pt x="138" y="466"/>
                  </a:lnTo>
                  <a:lnTo>
                    <a:pt x="141" y="466"/>
                  </a:lnTo>
                  <a:lnTo>
                    <a:pt x="143" y="465"/>
                  </a:lnTo>
                  <a:lnTo>
                    <a:pt x="144" y="466"/>
                  </a:lnTo>
                  <a:lnTo>
                    <a:pt x="144" y="468"/>
                  </a:lnTo>
                  <a:lnTo>
                    <a:pt x="145" y="469"/>
                  </a:lnTo>
                  <a:lnTo>
                    <a:pt x="147" y="468"/>
                  </a:lnTo>
                  <a:lnTo>
                    <a:pt x="147" y="466"/>
                  </a:lnTo>
                  <a:lnTo>
                    <a:pt x="150" y="465"/>
                  </a:lnTo>
                  <a:lnTo>
                    <a:pt x="152" y="464"/>
                  </a:lnTo>
                  <a:lnTo>
                    <a:pt x="152" y="463"/>
                  </a:lnTo>
                  <a:lnTo>
                    <a:pt x="151" y="463"/>
                  </a:lnTo>
                  <a:lnTo>
                    <a:pt x="149" y="463"/>
                  </a:lnTo>
                  <a:lnTo>
                    <a:pt x="146" y="463"/>
                  </a:lnTo>
                  <a:lnTo>
                    <a:pt x="149" y="460"/>
                  </a:lnTo>
                  <a:lnTo>
                    <a:pt x="150" y="459"/>
                  </a:lnTo>
                  <a:lnTo>
                    <a:pt x="151" y="458"/>
                  </a:lnTo>
                  <a:lnTo>
                    <a:pt x="152" y="458"/>
                  </a:lnTo>
                  <a:lnTo>
                    <a:pt x="153" y="458"/>
                  </a:lnTo>
                  <a:lnTo>
                    <a:pt x="155" y="460"/>
                  </a:lnTo>
                  <a:lnTo>
                    <a:pt x="155" y="462"/>
                  </a:lnTo>
                  <a:lnTo>
                    <a:pt x="155" y="463"/>
                  </a:lnTo>
                  <a:lnTo>
                    <a:pt x="156" y="462"/>
                  </a:lnTo>
                  <a:lnTo>
                    <a:pt x="157" y="464"/>
                  </a:lnTo>
                  <a:lnTo>
                    <a:pt x="158" y="465"/>
                  </a:lnTo>
                  <a:lnTo>
                    <a:pt x="156" y="465"/>
                  </a:lnTo>
                  <a:lnTo>
                    <a:pt x="153" y="465"/>
                  </a:lnTo>
                  <a:lnTo>
                    <a:pt x="151" y="466"/>
                  </a:lnTo>
                  <a:lnTo>
                    <a:pt x="150" y="468"/>
                  </a:lnTo>
                  <a:lnTo>
                    <a:pt x="149" y="469"/>
                  </a:lnTo>
                  <a:lnTo>
                    <a:pt x="147" y="470"/>
                  </a:lnTo>
                  <a:lnTo>
                    <a:pt x="144" y="472"/>
                  </a:lnTo>
                  <a:lnTo>
                    <a:pt x="143" y="470"/>
                  </a:lnTo>
                  <a:lnTo>
                    <a:pt x="141" y="469"/>
                  </a:lnTo>
                  <a:lnTo>
                    <a:pt x="140" y="469"/>
                  </a:lnTo>
                  <a:lnTo>
                    <a:pt x="138" y="468"/>
                  </a:lnTo>
                  <a:lnTo>
                    <a:pt x="137" y="468"/>
                  </a:lnTo>
                  <a:lnTo>
                    <a:pt x="137" y="470"/>
                  </a:lnTo>
                  <a:lnTo>
                    <a:pt x="135" y="470"/>
                  </a:lnTo>
                  <a:lnTo>
                    <a:pt x="133" y="470"/>
                  </a:lnTo>
                  <a:lnTo>
                    <a:pt x="133" y="469"/>
                  </a:lnTo>
                  <a:lnTo>
                    <a:pt x="132" y="469"/>
                  </a:lnTo>
                  <a:lnTo>
                    <a:pt x="130" y="470"/>
                  </a:lnTo>
                  <a:lnTo>
                    <a:pt x="128" y="471"/>
                  </a:lnTo>
                  <a:lnTo>
                    <a:pt x="126" y="471"/>
                  </a:lnTo>
                  <a:lnTo>
                    <a:pt x="124" y="469"/>
                  </a:lnTo>
                  <a:lnTo>
                    <a:pt x="122" y="468"/>
                  </a:lnTo>
                  <a:lnTo>
                    <a:pt x="121" y="469"/>
                  </a:lnTo>
                  <a:lnTo>
                    <a:pt x="121" y="471"/>
                  </a:lnTo>
                  <a:lnTo>
                    <a:pt x="120" y="471"/>
                  </a:lnTo>
                  <a:lnTo>
                    <a:pt x="118" y="472"/>
                  </a:lnTo>
                  <a:lnTo>
                    <a:pt x="117" y="475"/>
                  </a:lnTo>
                  <a:lnTo>
                    <a:pt x="115" y="472"/>
                  </a:lnTo>
                  <a:lnTo>
                    <a:pt x="114" y="472"/>
                  </a:lnTo>
                  <a:lnTo>
                    <a:pt x="112" y="474"/>
                  </a:lnTo>
                  <a:lnTo>
                    <a:pt x="114" y="476"/>
                  </a:lnTo>
                  <a:lnTo>
                    <a:pt x="110" y="476"/>
                  </a:lnTo>
                  <a:lnTo>
                    <a:pt x="110" y="477"/>
                  </a:lnTo>
                  <a:lnTo>
                    <a:pt x="112" y="478"/>
                  </a:lnTo>
                  <a:lnTo>
                    <a:pt x="114" y="480"/>
                  </a:lnTo>
                  <a:lnTo>
                    <a:pt x="115" y="480"/>
                  </a:lnTo>
                  <a:lnTo>
                    <a:pt x="115" y="481"/>
                  </a:lnTo>
                  <a:lnTo>
                    <a:pt x="117" y="481"/>
                  </a:lnTo>
                  <a:lnTo>
                    <a:pt x="118" y="481"/>
                  </a:lnTo>
                  <a:lnTo>
                    <a:pt x="121" y="480"/>
                  </a:lnTo>
                  <a:lnTo>
                    <a:pt x="123" y="480"/>
                  </a:lnTo>
                  <a:lnTo>
                    <a:pt x="123" y="478"/>
                  </a:lnTo>
                  <a:lnTo>
                    <a:pt x="124" y="477"/>
                  </a:lnTo>
                  <a:lnTo>
                    <a:pt x="126" y="478"/>
                  </a:lnTo>
                  <a:lnTo>
                    <a:pt x="127" y="478"/>
                  </a:lnTo>
                  <a:lnTo>
                    <a:pt x="128" y="477"/>
                  </a:lnTo>
                  <a:lnTo>
                    <a:pt x="128" y="476"/>
                  </a:lnTo>
                  <a:lnTo>
                    <a:pt x="128" y="478"/>
                  </a:lnTo>
                  <a:lnTo>
                    <a:pt x="127" y="480"/>
                  </a:lnTo>
                  <a:lnTo>
                    <a:pt x="124" y="482"/>
                  </a:lnTo>
                  <a:lnTo>
                    <a:pt x="123" y="483"/>
                  </a:lnTo>
                  <a:lnTo>
                    <a:pt x="122" y="483"/>
                  </a:lnTo>
                  <a:lnTo>
                    <a:pt x="120" y="483"/>
                  </a:lnTo>
                  <a:lnTo>
                    <a:pt x="118" y="484"/>
                  </a:lnTo>
                  <a:lnTo>
                    <a:pt x="116" y="486"/>
                  </a:lnTo>
                  <a:lnTo>
                    <a:pt x="115" y="487"/>
                  </a:lnTo>
                  <a:lnTo>
                    <a:pt x="114" y="488"/>
                  </a:lnTo>
                  <a:lnTo>
                    <a:pt x="112" y="486"/>
                  </a:lnTo>
                  <a:lnTo>
                    <a:pt x="112" y="484"/>
                  </a:lnTo>
                  <a:lnTo>
                    <a:pt x="111" y="486"/>
                  </a:lnTo>
                  <a:lnTo>
                    <a:pt x="109" y="486"/>
                  </a:lnTo>
                  <a:lnTo>
                    <a:pt x="106" y="488"/>
                  </a:lnTo>
                  <a:lnTo>
                    <a:pt x="105" y="488"/>
                  </a:lnTo>
                  <a:lnTo>
                    <a:pt x="103" y="489"/>
                  </a:lnTo>
                  <a:lnTo>
                    <a:pt x="102" y="489"/>
                  </a:lnTo>
                  <a:lnTo>
                    <a:pt x="100" y="489"/>
                  </a:lnTo>
                  <a:lnTo>
                    <a:pt x="96" y="492"/>
                  </a:lnTo>
                  <a:lnTo>
                    <a:pt x="96" y="493"/>
                  </a:lnTo>
                  <a:lnTo>
                    <a:pt x="94" y="494"/>
                  </a:lnTo>
                  <a:lnTo>
                    <a:pt x="94" y="495"/>
                  </a:lnTo>
                  <a:lnTo>
                    <a:pt x="93" y="496"/>
                  </a:lnTo>
                  <a:lnTo>
                    <a:pt x="91" y="496"/>
                  </a:lnTo>
                  <a:lnTo>
                    <a:pt x="88" y="498"/>
                  </a:lnTo>
                  <a:lnTo>
                    <a:pt x="87" y="498"/>
                  </a:lnTo>
                  <a:lnTo>
                    <a:pt x="85" y="498"/>
                  </a:lnTo>
                  <a:lnTo>
                    <a:pt x="81" y="498"/>
                  </a:lnTo>
                  <a:lnTo>
                    <a:pt x="81" y="499"/>
                  </a:lnTo>
                  <a:lnTo>
                    <a:pt x="80" y="500"/>
                  </a:lnTo>
                  <a:lnTo>
                    <a:pt x="79" y="498"/>
                  </a:lnTo>
                  <a:lnTo>
                    <a:pt x="76" y="499"/>
                  </a:lnTo>
                  <a:lnTo>
                    <a:pt x="76" y="500"/>
                  </a:lnTo>
                  <a:lnTo>
                    <a:pt x="73" y="500"/>
                  </a:lnTo>
                  <a:lnTo>
                    <a:pt x="73" y="502"/>
                  </a:lnTo>
                  <a:lnTo>
                    <a:pt x="71" y="502"/>
                  </a:lnTo>
                  <a:lnTo>
                    <a:pt x="71" y="501"/>
                  </a:lnTo>
                  <a:lnTo>
                    <a:pt x="70" y="499"/>
                  </a:lnTo>
                  <a:lnTo>
                    <a:pt x="67" y="499"/>
                  </a:lnTo>
                  <a:lnTo>
                    <a:pt x="67" y="498"/>
                  </a:lnTo>
                  <a:lnTo>
                    <a:pt x="65" y="495"/>
                  </a:lnTo>
                  <a:lnTo>
                    <a:pt x="64" y="495"/>
                  </a:lnTo>
                  <a:lnTo>
                    <a:pt x="63" y="496"/>
                  </a:lnTo>
                  <a:lnTo>
                    <a:pt x="62" y="498"/>
                  </a:lnTo>
                  <a:lnTo>
                    <a:pt x="61" y="498"/>
                  </a:lnTo>
                  <a:lnTo>
                    <a:pt x="61" y="499"/>
                  </a:lnTo>
                  <a:lnTo>
                    <a:pt x="61" y="501"/>
                  </a:lnTo>
                  <a:lnTo>
                    <a:pt x="62" y="502"/>
                  </a:lnTo>
                  <a:lnTo>
                    <a:pt x="62" y="504"/>
                  </a:lnTo>
                  <a:lnTo>
                    <a:pt x="62" y="505"/>
                  </a:lnTo>
                  <a:lnTo>
                    <a:pt x="63" y="506"/>
                  </a:lnTo>
                  <a:lnTo>
                    <a:pt x="64" y="506"/>
                  </a:lnTo>
                  <a:lnTo>
                    <a:pt x="63" y="508"/>
                  </a:lnTo>
                  <a:lnTo>
                    <a:pt x="62" y="510"/>
                  </a:lnTo>
                  <a:lnTo>
                    <a:pt x="62" y="511"/>
                  </a:lnTo>
                  <a:lnTo>
                    <a:pt x="64" y="511"/>
                  </a:lnTo>
                  <a:lnTo>
                    <a:pt x="67" y="511"/>
                  </a:lnTo>
                  <a:lnTo>
                    <a:pt x="68" y="512"/>
                  </a:lnTo>
                  <a:lnTo>
                    <a:pt x="69" y="513"/>
                  </a:lnTo>
                  <a:lnTo>
                    <a:pt x="70" y="512"/>
                  </a:lnTo>
                  <a:lnTo>
                    <a:pt x="73" y="512"/>
                  </a:lnTo>
                  <a:lnTo>
                    <a:pt x="75" y="511"/>
                  </a:lnTo>
                  <a:lnTo>
                    <a:pt x="76" y="511"/>
                  </a:lnTo>
                  <a:lnTo>
                    <a:pt x="79" y="511"/>
                  </a:lnTo>
                  <a:lnTo>
                    <a:pt x="80" y="511"/>
                  </a:lnTo>
                  <a:lnTo>
                    <a:pt x="82" y="513"/>
                  </a:lnTo>
                  <a:lnTo>
                    <a:pt x="85" y="517"/>
                  </a:lnTo>
                  <a:lnTo>
                    <a:pt x="84" y="517"/>
                  </a:lnTo>
                  <a:lnTo>
                    <a:pt x="82" y="516"/>
                  </a:lnTo>
                  <a:lnTo>
                    <a:pt x="81" y="516"/>
                  </a:lnTo>
                  <a:lnTo>
                    <a:pt x="80" y="517"/>
                  </a:lnTo>
                  <a:lnTo>
                    <a:pt x="79" y="517"/>
                  </a:lnTo>
                  <a:lnTo>
                    <a:pt x="78" y="516"/>
                  </a:lnTo>
                  <a:lnTo>
                    <a:pt x="76" y="514"/>
                  </a:lnTo>
                  <a:lnTo>
                    <a:pt x="74" y="514"/>
                  </a:lnTo>
                  <a:lnTo>
                    <a:pt x="71" y="514"/>
                  </a:lnTo>
                  <a:lnTo>
                    <a:pt x="70" y="514"/>
                  </a:lnTo>
                  <a:lnTo>
                    <a:pt x="69" y="516"/>
                  </a:lnTo>
                  <a:lnTo>
                    <a:pt x="71" y="517"/>
                  </a:lnTo>
                  <a:lnTo>
                    <a:pt x="73" y="518"/>
                  </a:lnTo>
                  <a:lnTo>
                    <a:pt x="71" y="520"/>
                  </a:lnTo>
                  <a:lnTo>
                    <a:pt x="74" y="522"/>
                  </a:lnTo>
                  <a:lnTo>
                    <a:pt x="75" y="522"/>
                  </a:lnTo>
                  <a:lnTo>
                    <a:pt x="78" y="523"/>
                  </a:lnTo>
                  <a:lnTo>
                    <a:pt x="78" y="525"/>
                  </a:lnTo>
                  <a:lnTo>
                    <a:pt x="76" y="525"/>
                  </a:lnTo>
                  <a:lnTo>
                    <a:pt x="75" y="526"/>
                  </a:lnTo>
                  <a:lnTo>
                    <a:pt x="76" y="526"/>
                  </a:lnTo>
                  <a:lnTo>
                    <a:pt x="80" y="526"/>
                  </a:lnTo>
                  <a:lnTo>
                    <a:pt x="81" y="525"/>
                  </a:lnTo>
                  <a:lnTo>
                    <a:pt x="81" y="524"/>
                  </a:lnTo>
                  <a:lnTo>
                    <a:pt x="84" y="523"/>
                  </a:lnTo>
                  <a:lnTo>
                    <a:pt x="84" y="524"/>
                  </a:lnTo>
                  <a:lnTo>
                    <a:pt x="82" y="526"/>
                  </a:lnTo>
                  <a:lnTo>
                    <a:pt x="81" y="529"/>
                  </a:lnTo>
                  <a:lnTo>
                    <a:pt x="79" y="530"/>
                  </a:lnTo>
                  <a:lnTo>
                    <a:pt x="76" y="530"/>
                  </a:lnTo>
                  <a:lnTo>
                    <a:pt x="75" y="530"/>
                  </a:lnTo>
                  <a:lnTo>
                    <a:pt x="73" y="529"/>
                  </a:lnTo>
                  <a:lnTo>
                    <a:pt x="73" y="526"/>
                  </a:lnTo>
                  <a:lnTo>
                    <a:pt x="74" y="524"/>
                  </a:lnTo>
                  <a:lnTo>
                    <a:pt x="73" y="523"/>
                  </a:lnTo>
                  <a:lnTo>
                    <a:pt x="70" y="522"/>
                  </a:lnTo>
                  <a:lnTo>
                    <a:pt x="70" y="520"/>
                  </a:lnTo>
                  <a:lnTo>
                    <a:pt x="70" y="519"/>
                  </a:lnTo>
                  <a:lnTo>
                    <a:pt x="69" y="518"/>
                  </a:lnTo>
                  <a:lnTo>
                    <a:pt x="67" y="517"/>
                  </a:lnTo>
                  <a:lnTo>
                    <a:pt x="65" y="517"/>
                  </a:lnTo>
                  <a:lnTo>
                    <a:pt x="64" y="518"/>
                  </a:lnTo>
                  <a:lnTo>
                    <a:pt x="63" y="518"/>
                  </a:lnTo>
                  <a:lnTo>
                    <a:pt x="62" y="519"/>
                  </a:lnTo>
                  <a:lnTo>
                    <a:pt x="59" y="520"/>
                  </a:lnTo>
                  <a:lnTo>
                    <a:pt x="57" y="522"/>
                  </a:lnTo>
                  <a:lnTo>
                    <a:pt x="56" y="522"/>
                  </a:lnTo>
                  <a:lnTo>
                    <a:pt x="55" y="524"/>
                  </a:lnTo>
                  <a:lnTo>
                    <a:pt x="55" y="526"/>
                  </a:lnTo>
                  <a:lnTo>
                    <a:pt x="57" y="526"/>
                  </a:lnTo>
                  <a:lnTo>
                    <a:pt x="59" y="528"/>
                  </a:lnTo>
                  <a:lnTo>
                    <a:pt x="61" y="529"/>
                  </a:lnTo>
                  <a:lnTo>
                    <a:pt x="62" y="530"/>
                  </a:lnTo>
                  <a:lnTo>
                    <a:pt x="61" y="531"/>
                  </a:lnTo>
                  <a:lnTo>
                    <a:pt x="59" y="534"/>
                  </a:lnTo>
                  <a:lnTo>
                    <a:pt x="61" y="534"/>
                  </a:lnTo>
                  <a:lnTo>
                    <a:pt x="62" y="536"/>
                  </a:lnTo>
                  <a:lnTo>
                    <a:pt x="63" y="537"/>
                  </a:lnTo>
                  <a:lnTo>
                    <a:pt x="67" y="541"/>
                  </a:lnTo>
                  <a:lnTo>
                    <a:pt x="68" y="541"/>
                  </a:lnTo>
                  <a:lnTo>
                    <a:pt x="70" y="542"/>
                  </a:lnTo>
                  <a:lnTo>
                    <a:pt x="71" y="542"/>
                  </a:lnTo>
                  <a:lnTo>
                    <a:pt x="75" y="541"/>
                  </a:lnTo>
                  <a:lnTo>
                    <a:pt x="76" y="541"/>
                  </a:lnTo>
                  <a:lnTo>
                    <a:pt x="79" y="540"/>
                  </a:lnTo>
                  <a:lnTo>
                    <a:pt x="81" y="540"/>
                  </a:lnTo>
                  <a:lnTo>
                    <a:pt x="82" y="539"/>
                  </a:lnTo>
                  <a:lnTo>
                    <a:pt x="84" y="536"/>
                  </a:lnTo>
                  <a:lnTo>
                    <a:pt x="86" y="535"/>
                  </a:lnTo>
                  <a:lnTo>
                    <a:pt x="87" y="535"/>
                  </a:lnTo>
                  <a:lnTo>
                    <a:pt x="88" y="534"/>
                  </a:lnTo>
                  <a:lnTo>
                    <a:pt x="91" y="535"/>
                  </a:lnTo>
                  <a:lnTo>
                    <a:pt x="92" y="536"/>
                  </a:lnTo>
                  <a:lnTo>
                    <a:pt x="90" y="536"/>
                  </a:lnTo>
                  <a:lnTo>
                    <a:pt x="87" y="537"/>
                  </a:lnTo>
                  <a:lnTo>
                    <a:pt x="85" y="539"/>
                  </a:lnTo>
                  <a:lnTo>
                    <a:pt x="84" y="540"/>
                  </a:lnTo>
                  <a:lnTo>
                    <a:pt x="84" y="541"/>
                  </a:lnTo>
                  <a:lnTo>
                    <a:pt x="85" y="543"/>
                  </a:lnTo>
                  <a:lnTo>
                    <a:pt x="86" y="545"/>
                  </a:lnTo>
                  <a:lnTo>
                    <a:pt x="81" y="545"/>
                  </a:lnTo>
                  <a:lnTo>
                    <a:pt x="80" y="545"/>
                  </a:lnTo>
                  <a:lnTo>
                    <a:pt x="79" y="546"/>
                  </a:lnTo>
                  <a:lnTo>
                    <a:pt x="78" y="546"/>
                  </a:lnTo>
                  <a:lnTo>
                    <a:pt x="76" y="548"/>
                  </a:lnTo>
                  <a:lnTo>
                    <a:pt x="78" y="549"/>
                  </a:lnTo>
                  <a:lnTo>
                    <a:pt x="80" y="549"/>
                  </a:lnTo>
                  <a:lnTo>
                    <a:pt x="81" y="551"/>
                  </a:lnTo>
                  <a:lnTo>
                    <a:pt x="79" y="551"/>
                  </a:lnTo>
                  <a:lnTo>
                    <a:pt x="76" y="552"/>
                  </a:lnTo>
                  <a:lnTo>
                    <a:pt x="75" y="551"/>
                  </a:lnTo>
                  <a:lnTo>
                    <a:pt x="74" y="548"/>
                  </a:lnTo>
                  <a:lnTo>
                    <a:pt x="74" y="547"/>
                  </a:lnTo>
                  <a:lnTo>
                    <a:pt x="73" y="548"/>
                  </a:lnTo>
                  <a:lnTo>
                    <a:pt x="71" y="551"/>
                  </a:lnTo>
                  <a:lnTo>
                    <a:pt x="69" y="553"/>
                  </a:lnTo>
                  <a:lnTo>
                    <a:pt x="67" y="554"/>
                  </a:lnTo>
                  <a:lnTo>
                    <a:pt x="68" y="555"/>
                  </a:lnTo>
                  <a:lnTo>
                    <a:pt x="69" y="558"/>
                  </a:lnTo>
                  <a:lnTo>
                    <a:pt x="70" y="557"/>
                  </a:lnTo>
                  <a:lnTo>
                    <a:pt x="73" y="558"/>
                  </a:lnTo>
                  <a:lnTo>
                    <a:pt x="74" y="557"/>
                  </a:lnTo>
                  <a:lnTo>
                    <a:pt x="75" y="555"/>
                  </a:lnTo>
                  <a:lnTo>
                    <a:pt x="75" y="557"/>
                  </a:lnTo>
                  <a:lnTo>
                    <a:pt x="78" y="558"/>
                  </a:lnTo>
                  <a:lnTo>
                    <a:pt x="79" y="558"/>
                  </a:lnTo>
                  <a:lnTo>
                    <a:pt x="81" y="557"/>
                  </a:lnTo>
                  <a:lnTo>
                    <a:pt x="82" y="555"/>
                  </a:lnTo>
                  <a:lnTo>
                    <a:pt x="84" y="554"/>
                  </a:lnTo>
                  <a:lnTo>
                    <a:pt x="85" y="553"/>
                  </a:lnTo>
                  <a:lnTo>
                    <a:pt x="87" y="553"/>
                  </a:lnTo>
                  <a:lnTo>
                    <a:pt x="88" y="552"/>
                  </a:lnTo>
                  <a:lnTo>
                    <a:pt x="90" y="551"/>
                  </a:lnTo>
                  <a:lnTo>
                    <a:pt x="90" y="552"/>
                  </a:lnTo>
                  <a:lnTo>
                    <a:pt x="91" y="557"/>
                  </a:lnTo>
                  <a:lnTo>
                    <a:pt x="91" y="559"/>
                  </a:lnTo>
                  <a:lnTo>
                    <a:pt x="94" y="560"/>
                  </a:lnTo>
                  <a:lnTo>
                    <a:pt x="96" y="559"/>
                  </a:lnTo>
                  <a:lnTo>
                    <a:pt x="99" y="558"/>
                  </a:lnTo>
                  <a:lnTo>
                    <a:pt x="100" y="557"/>
                  </a:lnTo>
                  <a:lnTo>
                    <a:pt x="100" y="554"/>
                  </a:lnTo>
                  <a:lnTo>
                    <a:pt x="102" y="554"/>
                  </a:lnTo>
                  <a:lnTo>
                    <a:pt x="100" y="554"/>
                  </a:lnTo>
                  <a:lnTo>
                    <a:pt x="98" y="557"/>
                  </a:lnTo>
                  <a:lnTo>
                    <a:pt x="96" y="557"/>
                  </a:lnTo>
                  <a:lnTo>
                    <a:pt x="97" y="554"/>
                  </a:lnTo>
                  <a:lnTo>
                    <a:pt x="98" y="553"/>
                  </a:lnTo>
                  <a:lnTo>
                    <a:pt x="99" y="553"/>
                  </a:lnTo>
                  <a:lnTo>
                    <a:pt x="102" y="552"/>
                  </a:lnTo>
                  <a:lnTo>
                    <a:pt x="103" y="551"/>
                  </a:lnTo>
                  <a:lnTo>
                    <a:pt x="103" y="549"/>
                  </a:lnTo>
                  <a:lnTo>
                    <a:pt x="99" y="548"/>
                  </a:lnTo>
                  <a:lnTo>
                    <a:pt x="98" y="548"/>
                  </a:lnTo>
                  <a:lnTo>
                    <a:pt x="99" y="547"/>
                  </a:lnTo>
                  <a:lnTo>
                    <a:pt x="103" y="548"/>
                  </a:lnTo>
                  <a:lnTo>
                    <a:pt x="104" y="547"/>
                  </a:lnTo>
                  <a:lnTo>
                    <a:pt x="105" y="546"/>
                  </a:lnTo>
                  <a:lnTo>
                    <a:pt x="105" y="543"/>
                  </a:lnTo>
                  <a:lnTo>
                    <a:pt x="105" y="542"/>
                  </a:lnTo>
                  <a:lnTo>
                    <a:pt x="104" y="541"/>
                  </a:lnTo>
                  <a:lnTo>
                    <a:pt x="103" y="540"/>
                  </a:lnTo>
                  <a:lnTo>
                    <a:pt x="104" y="539"/>
                  </a:lnTo>
                  <a:lnTo>
                    <a:pt x="103" y="536"/>
                  </a:lnTo>
                  <a:lnTo>
                    <a:pt x="102" y="535"/>
                  </a:lnTo>
                  <a:lnTo>
                    <a:pt x="104" y="534"/>
                  </a:lnTo>
                  <a:lnTo>
                    <a:pt x="105" y="533"/>
                  </a:lnTo>
                  <a:lnTo>
                    <a:pt x="105" y="534"/>
                  </a:lnTo>
                  <a:lnTo>
                    <a:pt x="105" y="535"/>
                  </a:lnTo>
                  <a:lnTo>
                    <a:pt x="105" y="536"/>
                  </a:lnTo>
                  <a:lnTo>
                    <a:pt x="106" y="537"/>
                  </a:lnTo>
                  <a:lnTo>
                    <a:pt x="108" y="537"/>
                  </a:lnTo>
                  <a:lnTo>
                    <a:pt x="109" y="539"/>
                  </a:lnTo>
                  <a:lnTo>
                    <a:pt x="110" y="540"/>
                  </a:lnTo>
                  <a:lnTo>
                    <a:pt x="112" y="539"/>
                  </a:lnTo>
                  <a:lnTo>
                    <a:pt x="112" y="540"/>
                  </a:lnTo>
                  <a:lnTo>
                    <a:pt x="114" y="542"/>
                  </a:lnTo>
                  <a:lnTo>
                    <a:pt x="116" y="542"/>
                  </a:lnTo>
                  <a:lnTo>
                    <a:pt x="117" y="541"/>
                  </a:lnTo>
                  <a:lnTo>
                    <a:pt x="118" y="540"/>
                  </a:lnTo>
                  <a:lnTo>
                    <a:pt x="120" y="539"/>
                  </a:lnTo>
                  <a:lnTo>
                    <a:pt x="121" y="535"/>
                  </a:lnTo>
                  <a:lnTo>
                    <a:pt x="121" y="534"/>
                  </a:lnTo>
                  <a:lnTo>
                    <a:pt x="120" y="533"/>
                  </a:lnTo>
                  <a:lnTo>
                    <a:pt x="121" y="531"/>
                  </a:lnTo>
                  <a:lnTo>
                    <a:pt x="122" y="528"/>
                  </a:lnTo>
                  <a:lnTo>
                    <a:pt x="123" y="529"/>
                  </a:lnTo>
                  <a:lnTo>
                    <a:pt x="122" y="531"/>
                  </a:lnTo>
                  <a:lnTo>
                    <a:pt x="122" y="533"/>
                  </a:lnTo>
                  <a:lnTo>
                    <a:pt x="122" y="534"/>
                  </a:lnTo>
                  <a:lnTo>
                    <a:pt x="123" y="535"/>
                  </a:lnTo>
                  <a:lnTo>
                    <a:pt x="124" y="536"/>
                  </a:lnTo>
                  <a:lnTo>
                    <a:pt x="124" y="540"/>
                  </a:lnTo>
                  <a:lnTo>
                    <a:pt x="126" y="542"/>
                  </a:lnTo>
                  <a:lnTo>
                    <a:pt x="127" y="542"/>
                  </a:lnTo>
                  <a:lnTo>
                    <a:pt x="128" y="537"/>
                  </a:lnTo>
                  <a:lnTo>
                    <a:pt x="129" y="536"/>
                  </a:lnTo>
                  <a:lnTo>
                    <a:pt x="129" y="539"/>
                  </a:lnTo>
                  <a:lnTo>
                    <a:pt x="129" y="542"/>
                  </a:lnTo>
                  <a:lnTo>
                    <a:pt x="129" y="546"/>
                  </a:lnTo>
                  <a:lnTo>
                    <a:pt x="130" y="546"/>
                  </a:lnTo>
                  <a:lnTo>
                    <a:pt x="133" y="545"/>
                  </a:lnTo>
                  <a:lnTo>
                    <a:pt x="134" y="542"/>
                  </a:lnTo>
                  <a:lnTo>
                    <a:pt x="135" y="541"/>
                  </a:lnTo>
                  <a:lnTo>
                    <a:pt x="137" y="540"/>
                  </a:lnTo>
                  <a:lnTo>
                    <a:pt x="138" y="541"/>
                  </a:lnTo>
                  <a:lnTo>
                    <a:pt x="138" y="542"/>
                  </a:lnTo>
                  <a:lnTo>
                    <a:pt x="140" y="542"/>
                  </a:lnTo>
                  <a:lnTo>
                    <a:pt x="144" y="542"/>
                  </a:lnTo>
                  <a:lnTo>
                    <a:pt x="144" y="541"/>
                  </a:lnTo>
                  <a:lnTo>
                    <a:pt x="145" y="540"/>
                  </a:lnTo>
                  <a:lnTo>
                    <a:pt x="145" y="539"/>
                  </a:lnTo>
                  <a:lnTo>
                    <a:pt x="146" y="539"/>
                  </a:lnTo>
                  <a:lnTo>
                    <a:pt x="149" y="539"/>
                  </a:lnTo>
                  <a:lnTo>
                    <a:pt x="151" y="540"/>
                  </a:lnTo>
                  <a:lnTo>
                    <a:pt x="152" y="539"/>
                  </a:lnTo>
                  <a:lnTo>
                    <a:pt x="152" y="537"/>
                  </a:lnTo>
                  <a:lnTo>
                    <a:pt x="155" y="539"/>
                  </a:lnTo>
                  <a:lnTo>
                    <a:pt x="156" y="539"/>
                  </a:lnTo>
                  <a:lnTo>
                    <a:pt x="157" y="537"/>
                  </a:lnTo>
                  <a:lnTo>
                    <a:pt x="157" y="536"/>
                  </a:lnTo>
                  <a:lnTo>
                    <a:pt x="157" y="535"/>
                  </a:lnTo>
                  <a:lnTo>
                    <a:pt x="157" y="534"/>
                  </a:lnTo>
                  <a:lnTo>
                    <a:pt x="159" y="534"/>
                  </a:lnTo>
                  <a:lnTo>
                    <a:pt x="159" y="536"/>
                  </a:lnTo>
                  <a:lnTo>
                    <a:pt x="162" y="536"/>
                  </a:lnTo>
                  <a:lnTo>
                    <a:pt x="163" y="537"/>
                  </a:lnTo>
                  <a:lnTo>
                    <a:pt x="164" y="539"/>
                  </a:lnTo>
                  <a:lnTo>
                    <a:pt x="164" y="541"/>
                  </a:lnTo>
                  <a:lnTo>
                    <a:pt x="165" y="543"/>
                  </a:lnTo>
                  <a:lnTo>
                    <a:pt x="164" y="546"/>
                  </a:lnTo>
                  <a:lnTo>
                    <a:pt x="163" y="547"/>
                  </a:lnTo>
                  <a:lnTo>
                    <a:pt x="162" y="546"/>
                  </a:lnTo>
                  <a:lnTo>
                    <a:pt x="161" y="545"/>
                  </a:lnTo>
                  <a:lnTo>
                    <a:pt x="159" y="543"/>
                  </a:lnTo>
                  <a:lnTo>
                    <a:pt x="157" y="543"/>
                  </a:lnTo>
                  <a:lnTo>
                    <a:pt x="156" y="545"/>
                  </a:lnTo>
                  <a:lnTo>
                    <a:pt x="157" y="546"/>
                  </a:lnTo>
                  <a:lnTo>
                    <a:pt x="157" y="548"/>
                  </a:lnTo>
                  <a:lnTo>
                    <a:pt x="158" y="549"/>
                  </a:lnTo>
                  <a:lnTo>
                    <a:pt x="157" y="549"/>
                  </a:lnTo>
                  <a:lnTo>
                    <a:pt x="156" y="548"/>
                  </a:lnTo>
                  <a:lnTo>
                    <a:pt x="156" y="547"/>
                  </a:lnTo>
                  <a:lnTo>
                    <a:pt x="155" y="546"/>
                  </a:lnTo>
                  <a:lnTo>
                    <a:pt x="153" y="546"/>
                  </a:lnTo>
                  <a:lnTo>
                    <a:pt x="152" y="546"/>
                  </a:lnTo>
                  <a:lnTo>
                    <a:pt x="152" y="547"/>
                  </a:lnTo>
                  <a:lnTo>
                    <a:pt x="152" y="548"/>
                  </a:lnTo>
                  <a:lnTo>
                    <a:pt x="152" y="549"/>
                  </a:lnTo>
                  <a:lnTo>
                    <a:pt x="152" y="551"/>
                  </a:lnTo>
                  <a:lnTo>
                    <a:pt x="152" y="553"/>
                  </a:lnTo>
                  <a:lnTo>
                    <a:pt x="151" y="553"/>
                  </a:lnTo>
                  <a:lnTo>
                    <a:pt x="150" y="552"/>
                  </a:lnTo>
                  <a:lnTo>
                    <a:pt x="149" y="551"/>
                  </a:lnTo>
                  <a:lnTo>
                    <a:pt x="149" y="553"/>
                  </a:lnTo>
                  <a:lnTo>
                    <a:pt x="150" y="555"/>
                  </a:lnTo>
                  <a:lnTo>
                    <a:pt x="153" y="557"/>
                  </a:lnTo>
                  <a:lnTo>
                    <a:pt x="155" y="557"/>
                  </a:lnTo>
                  <a:lnTo>
                    <a:pt x="157" y="554"/>
                  </a:lnTo>
                  <a:lnTo>
                    <a:pt x="158" y="553"/>
                  </a:lnTo>
                  <a:lnTo>
                    <a:pt x="159" y="553"/>
                  </a:lnTo>
                  <a:lnTo>
                    <a:pt x="162" y="552"/>
                  </a:lnTo>
                  <a:lnTo>
                    <a:pt x="162" y="553"/>
                  </a:lnTo>
                  <a:lnTo>
                    <a:pt x="165" y="553"/>
                  </a:lnTo>
                  <a:lnTo>
                    <a:pt x="168" y="553"/>
                  </a:lnTo>
                  <a:lnTo>
                    <a:pt x="169" y="552"/>
                  </a:lnTo>
                  <a:lnTo>
                    <a:pt x="170" y="551"/>
                  </a:lnTo>
                  <a:lnTo>
                    <a:pt x="171" y="549"/>
                  </a:lnTo>
                  <a:lnTo>
                    <a:pt x="170" y="548"/>
                  </a:lnTo>
                  <a:lnTo>
                    <a:pt x="170" y="547"/>
                  </a:lnTo>
                  <a:lnTo>
                    <a:pt x="171" y="545"/>
                  </a:lnTo>
                  <a:lnTo>
                    <a:pt x="174" y="543"/>
                  </a:lnTo>
                  <a:lnTo>
                    <a:pt x="177" y="543"/>
                  </a:lnTo>
                  <a:lnTo>
                    <a:pt x="180" y="543"/>
                  </a:lnTo>
                  <a:lnTo>
                    <a:pt x="182" y="545"/>
                  </a:lnTo>
                  <a:lnTo>
                    <a:pt x="183" y="545"/>
                  </a:lnTo>
                  <a:lnTo>
                    <a:pt x="186" y="545"/>
                  </a:lnTo>
                  <a:lnTo>
                    <a:pt x="185" y="547"/>
                  </a:lnTo>
                  <a:lnTo>
                    <a:pt x="183" y="547"/>
                  </a:lnTo>
                  <a:lnTo>
                    <a:pt x="181" y="548"/>
                  </a:lnTo>
                  <a:lnTo>
                    <a:pt x="180" y="547"/>
                  </a:lnTo>
                  <a:lnTo>
                    <a:pt x="179" y="548"/>
                  </a:lnTo>
                  <a:lnTo>
                    <a:pt x="177" y="549"/>
                  </a:lnTo>
                  <a:lnTo>
                    <a:pt x="177" y="551"/>
                  </a:lnTo>
                  <a:lnTo>
                    <a:pt x="176" y="551"/>
                  </a:lnTo>
                  <a:lnTo>
                    <a:pt x="174" y="551"/>
                  </a:lnTo>
                  <a:lnTo>
                    <a:pt x="174" y="552"/>
                  </a:lnTo>
                  <a:lnTo>
                    <a:pt x="175" y="555"/>
                  </a:lnTo>
                  <a:lnTo>
                    <a:pt x="177" y="557"/>
                  </a:lnTo>
                  <a:lnTo>
                    <a:pt x="179" y="557"/>
                  </a:lnTo>
                  <a:lnTo>
                    <a:pt x="181" y="557"/>
                  </a:lnTo>
                  <a:lnTo>
                    <a:pt x="182" y="554"/>
                  </a:lnTo>
                  <a:lnTo>
                    <a:pt x="183" y="553"/>
                  </a:lnTo>
                  <a:lnTo>
                    <a:pt x="183" y="552"/>
                  </a:lnTo>
                  <a:lnTo>
                    <a:pt x="183" y="551"/>
                  </a:lnTo>
                  <a:lnTo>
                    <a:pt x="186" y="549"/>
                  </a:lnTo>
                  <a:lnTo>
                    <a:pt x="187" y="548"/>
                  </a:lnTo>
                  <a:lnTo>
                    <a:pt x="189" y="546"/>
                  </a:lnTo>
                  <a:lnTo>
                    <a:pt x="191" y="546"/>
                  </a:lnTo>
                  <a:lnTo>
                    <a:pt x="193" y="546"/>
                  </a:lnTo>
                  <a:lnTo>
                    <a:pt x="193" y="547"/>
                  </a:lnTo>
                  <a:lnTo>
                    <a:pt x="189" y="549"/>
                  </a:lnTo>
                  <a:lnTo>
                    <a:pt x="189" y="551"/>
                  </a:lnTo>
                  <a:lnTo>
                    <a:pt x="189" y="552"/>
                  </a:lnTo>
                  <a:lnTo>
                    <a:pt x="191" y="553"/>
                  </a:lnTo>
                  <a:lnTo>
                    <a:pt x="193" y="551"/>
                  </a:lnTo>
                  <a:lnTo>
                    <a:pt x="196" y="549"/>
                  </a:lnTo>
                  <a:lnTo>
                    <a:pt x="193" y="553"/>
                  </a:lnTo>
                  <a:lnTo>
                    <a:pt x="192" y="553"/>
                  </a:lnTo>
                  <a:lnTo>
                    <a:pt x="189" y="555"/>
                  </a:lnTo>
                  <a:lnTo>
                    <a:pt x="188" y="557"/>
                  </a:lnTo>
                  <a:lnTo>
                    <a:pt x="186" y="558"/>
                  </a:lnTo>
                  <a:lnTo>
                    <a:pt x="185" y="558"/>
                  </a:lnTo>
                  <a:lnTo>
                    <a:pt x="182" y="558"/>
                  </a:lnTo>
                  <a:lnTo>
                    <a:pt x="182" y="559"/>
                  </a:lnTo>
                  <a:lnTo>
                    <a:pt x="182" y="560"/>
                  </a:lnTo>
                  <a:lnTo>
                    <a:pt x="181" y="561"/>
                  </a:lnTo>
                  <a:lnTo>
                    <a:pt x="180" y="563"/>
                  </a:lnTo>
                  <a:lnTo>
                    <a:pt x="177" y="564"/>
                  </a:lnTo>
                  <a:lnTo>
                    <a:pt x="176" y="564"/>
                  </a:lnTo>
                  <a:lnTo>
                    <a:pt x="175" y="563"/>
                  </a:lnTo>
                  <a:lnTo>
                    <a:pt x="174" y="563"/>
                  </a:lnTo>
                  <a:lnTo>
                    <a:pt x="173" y="561"/>
                  </a:lnTo>
                  <a:lnTo>
                    <a:pt x="170" y="560"/>
                  </a:lnTo>
                  <a:lnTo>
                    <a:pt x="170" y="559"/>
                  </a:lnTo>
                  <a:lnTo>
                    <a:pt x="168" y="559"/>
                  </a:lnTo>
                  <a:lnTo>
                    <a:pt x="168" y="561"/>
                  </a:lnTo>
                  <a:lnTo>
                    <a:pt x="169" y="563"/>
                  </a:lnTo>
                  <a:lnTo>
                    <a:pt x="170" y="564"/>
                  </a:lnTo>
                  <a:lnTo>
                    <a:pt x="170" y="565"/>
                  </a:lnTo>
                  <a:lnTo>
                    <a:pt x="173" y="566"/>
                  </a:lnTo>
                  <a:lnTo>
                    <a:pt x="174" y="567"/>
                  </a:lnTo>
                  <a:lnTo>
                    <a:pt x="173" y="570"/>
                  </a:lnTo>
                  <a:lnTo>
                    <a:pt x="171" y="569"/>
                  </a:lnTo>
                  <a:lnTo>
                    <a:pt x="171" y="566"/>
                  </a:lnTo>
                  <a:lnTo>
                    <a:pt x="170" y="565"/>
                  </a:lnTo>
                  <a:lnTo>
                    <a:pt x="165" y="565"/>
                  </a:lnTo>
                  <a:lnTo>
                    <a:pt x="164" y="566"/>
                  </a:lnTo>
                  <a:lnTo>
                    <a:pt x="162" y="569"/>
                  </a:lnTo>
                  <a:lnTo>
                    <a:pt x="161" y="569"/>
                  </a:lnTo>
                  <a:lnTo>
                    <a:pt x="159" y="567"/>
                  </a:lnTo>
                  <a:lnTo>
                    <a:pt x="159" y="566"/>
                  </a:lnTo>
                  <a:lnTo>
                    <a:pt x="158" y="566"/>
                  </a:lnTo>
                  <a:lnTo>
                    <a:pt x="158" y="567"/>
                  </a:lnTo>
                  <a:lnTo>
                    <a:pt x="157" y="567"/>
                  </a:lnTo>
                  <a:lnTo>
                    <a:pt x="156" y="566"/>
                  </a:lnTo>
                  <a:lnTo>
                    <a:pt x="155" y="567"/>
                  </a:lnTo>
                  <a:lnTo>
                    <a:pt x="155" y="570"/>
                  </a:lnTo>
                  <a:lnTo>
                    <a:pt x="155" y="572"/>
                  </a:lnTo>
                  <a:lnTo>
                    <a:pt x="152" y="575"/>
                  </a:lnTo>
                  <a:lnTo>
                    <a:pt x="151" y="576"/>
                  </a:lnTo>
                  <a:lnTo>
                    <a:pt x="151" y="573"/>
                  </a:lnTo>
                  <a:lnTo>
                    <a:pt x="152" y="572"/>
                  </a:lnTo>
                  <a:lnTo>
                    <a:pt x="151" y="571"/>
                  </a:lnTo>
                  <a:lnTo>
                    <a:pt x="149" y="571"/>
                  </a:lnTo>
                  <a:lnTo>
                    <a:pt x="147" y="572"/>
                  </a:lnTo>
                  <a:lnTo>
                    <a:pt x="146" y="570"/>
                  </a:lnTo>
                  <a:lnTo>
                    <a:pt x="145" y="570"/>
                  </a:lnTo>
                  <a:lnTo>
                    <a:pt x="144" y="569"/>
                  </a:lnTo>
                  <a:lnTo>
                    <a:pt x="141" y="570"/>
                  </a:lnTo>
                  <a:lnTo>
                    <a:pt x="140" y="571"/>
                  </a:lnTo>
                  <a:lnTo>
                    <a:pt x="138" y="572"/>
                  </a:lnTo>
                  <a:lnTo>
                    <a:pt x="134" y="572"/>
                  </a:lnTo>
                  <a:lnTo>
                    <a:pt x="132" y="573"/>
                  </a:lnTo>
                  <a:lnTo>
                    <a:pt x="130" y="572"/>
                  </a:lnTo>
                  <a:lnTo>
                    <a:pt x="129" y="571"/>
                  </a:lnTo>
                  <a:lnTo>
                    <a:pt x="128" y="572"/>
                  </a:lnTo>
                  <a:lnTo>
                    <a:pt x="127" y="571"/>
                  </a:lnTo>
                  <a:lnTo>
                    <a:pt x="126" y="572"/>
                  </a:lnTo>
                  <a:lnTo>
                    <a:pt x="124" y="575"/>
                  </a:lnTo>
                  <a:lnTo>
                    <a:pt x="123" y="575"/>
                  </a:lnTo>
                  <a:lnTo>
                    <a:pt x="124" y="578"/>
                  </a:lnTo>
                  <a:lnTo>
                    <a:pt x="127" y="578"/>
                  </a:lnTo>
                  <a:lnTo>
                    <a:pt x="128" y="578"/>
                  </a:lnTo>
                  <a:lnTo>
                    <a:pt x="128" y="579"/>
                  </a:lnTo>
                  <a:lnTo>
                    <a:pt x="130" y="579"/>
                  </a:lnTo>
                  <a:lnTo>
                    <a:pt x="130" y="578"/>
                  </a:lnTo>
                  <a:lnTo>
                    <a:pt x="132" y="581"/>
                  </a:lnTo>
                  <a:lnTo>
                    <a:pt x="133" y="582"/>
                  </a:lnTo>
                  <a:lnTo>
                    <a:pt x="133" y="583"/>
                  </a:lnTo>
                  <a:lnTo>
                    <a:pt x="132" y="584"/>
                  </a:lnTo>
                  <a:lnTo>
                    <a:pt x="134" y="585"/>
                  </a:lnTo>
                  <a:lnTo>
                    <a:pt x="137" y="585"/>
                  </a:lnTo>
                  <a:lnTo>
                    <a:pt x="137" y="587"/>
                  </a:lnTo>
                  <a:lnTo>
                    <a:pt x="138" y="585"/>
                  </a:lnTo>
                  <a:lnTo>
                    <a:pt x="138" y="584"/>
                  </a:lnTo>
                  <a:lnTo>
                    <a:pt x="137" y="583"/>
                  </a:lnTo>
                  <a:lnTo>
                    <a:pt x="137" y="581"/>
                  </a:lnTo>
                  <a:lnTo>
                    <a:pt x="138" y="579"/>
                  </a:lnTo>
                  <a:lnTo>
                    <a:pt x="139" y="581"/>
                  </a:lnTo>
                  <a:lnTo>
                    <a:pt x="140" y="583"/>
                  </a:lnTo>
                  <a:lnTo>
                    <a:pt x="141" y="583"/>
                  </a:lnTo>
                  <a:lnTo>
                    <a:pt x="144" y="583"/>
                  </a:lnTo>
                  <a:lnTo>
                    <a:pt x="146" y="582"/>
                  </a:lnTo>
                  <a:lnTo>
                    <a:pt x="149" y="582"/>
                  </a:lnTo>
                  <a:lnTo>
                    <a:pt x="146" y="584"/>
                  </a:lnTo>
                  <a:lnTo>
                    <a:pt x="145" y="585"/>
                  </a:lnTo>
                  <a:lnTo>
                    <a:pt x="143" y="585"/>
                  </a:lnTo>
                  <a:lnTo>
                    <a:pt x="141" y="587"/>
                  </a:lnTo>
                  <a:lnTo>
                    <a:pt x="141" y="588"/>
                  </a:lnTo>
                  <a:lnTo>
                    <a:pt x="144" y="589"/>
                  </a:lnTo>
                  <a:lnTo>
                    <a:pt x="145" y="589"/>
                  </a:lnTo>
                  <a:lnTo>
                    <a:pt x="146" y="589"/>
                  </a:lnTo>
                  <a:lnTo>
                    <a:pt x="149" y="589"/>
                  </a:lnTo>
                  <a:lnTo>
                    <a:pt x="150" y="587"/>
                  </a:lnTo>
                  <a:lnTo>
                    <a:pt x="152" y="585"/>
                  </a:lnTo>
                  <a:lnTo>
                    <a:pt x="153" y="584"/>
                  </a:lnTo>
                  <a:lnTo>
                    <a:pt x="155" y="584"/>
                  </a:lnTo>
                  <a:lnTo>
                    <a:pt x="157" y="584"/>
                  </a:lnTo>
                  <a:lnTo>
                    <a:pt x="156" y="585"/>
                  </a:lnTo>
                  <a:lnTo>
                    <a:pt x="156" y="588"/>
                  </a:lnTo>
                  <a:lnTo>
                    <a:pt x="153" y="589"/>
                  </a:lnTo>
                  <a:lnTo>
                    <a:pt x="152" y="591"/>
                  </a:lnTo>
                  <a:lnTo>
                    <a:pt x="151" y="591"/>
                  </a:lnTo>
                  <a:lnTo>
                    <a:pt x="149" y="593"/>
                  </a:lnTo>
                  <a:lnTo>
                    <a:pt x="149" y="595"/>
                  </a:lnTo>
                  <a:lnTo>
                    <a:pt x="150" y="596"/>
                  </a:lnTo>
                  <a:lnTo>
                    <a:pt x="149" y="600"/>
                  </a:lnTo>
                  <a:lnTo>
                    <a:pt x="147" y="599"/>
                  </a:lnTo>
                  <a:lnTo>
                    <a:pt x="146" y="597"/>
                  </a:lnTo>
                  <a:lnTo>
                    <a:pt x="144" y="597"/>
                  </a:lnTo>
                  <a:lnTo>
                    <a:pt x="144" y="599"/>
                  </a:lnTo>
                  <a:lnTo>
                    <a:pt x="143" y="601"/>
                  </a:lnTo>
                  <a:lnTo>
                    <a:pt x="145" y="603"/>
                  </a:lnTo>
                  <a:lnTo>
                    <a:pt x="143" y="603"/>
                  </a:lnTo>
                  <a:lnTo>
                    <a:pt x="140" y="603"/>
                  </a:lnTo>
                  <a:lnTo>
                    <a:pt x="140" y="606"/>
                  </a:lnTo>
                  <a:lnTo>
                    <a:pt x="139" y="607"/>
                  </a:lnTo>
                  <a:lnTo>
                    <a:pt x="138" y="608"/>
                  </a:lnTo>
                  <a:lnTo>
                    <a:pt x="137" y="608"/>
                  </a:lnTo>
                  <a:lnTo>
                    <a:pt x="134" y="607"/>
                  </a:lnTo>
                  <a:lnTo>
                    <a:pt x="134" y="608"/>
                  </a:lnTo>
                  <a:lnTo>
                    <a:pt x="134" y="609"/>
                  </a:lnTo>
                  <a:lnTo>
                    <a:pt x="133" y="612"/>
                  </a:lnTo>
                  <a:lnTo>
                    <a:pt x="135" y="615"/>
                  </a:lnTo>
                  <a:lnTo>
                    <a:pt x="138" y="617"/>
                  </a:lnTo>
                  <a:lnTo>
                    <a:pt x="138" y="618"/>
                  </a:lnTo>
                  <a:lnTo>
                    <a:pt x="134" y="618"/>
                  </a:lnTo>
                  <a:lnTo>
                    <a:pt x="133" y="615"/>
                  </a:lnTo>
                  <a:lnTo>
                    <a:pt x="132" y="615"/>
                  </a:lnTo>
                  <a:lnTo>
                    <a:pt x="130" y="615"/>
                  </a:lnTo>
                  <a:lnTo>
                    <a:pt x="129" y="615"/>
                  </a:lnTo>
                  <a:lnTo>
                    <a:pt x="127" y="614"/>
                  </a:lnTo>
                  <a:lnTo>
                    <a:pt x="126" y="614"/>
                  </a:lnTo>
                  <a:lnTo>
                    <a:pt x="126" y="617"/>
                  </a:lnTo>
                  <a:lnTo>
                    <a:pt x="124" y="618"/>
                  </a:lnTo>
                  <a:lnTo>
                    <a:pt x="124" y="620"/>
                  </a:lnTo>
                  <a:lnTo>
                    <a:pt x="127" y="620"/>
                  </a:lnTo>
                  <a:lnTo>
                    <a:pt x="128" y="620"/>
                  </a:lnTo>
                  <a:lnTo>
                    <a:pt x="129" y="621"/>
                  </a:lnTo>
                  <a:lnTo>
                    <a:pt x="129" y="623"/>
                  </a:lnTo>
                  <a:lnTo>
                    <a:pt x="132" y="624"/>
                  </a:lnTo>
                  <a:lnTo>
                    <a:pt x="133" y="624"/>
                  </a:lnTo>
                  <a:lnTo>
                    <a:pt x="134" y="623"/>
                  </a:lnTo>
                  <a:lnTo>
                    <a:pt x="135" y="623"/>
                  </a:lnTo>
                  <a:lnTo>
                    <a:pt x="139" y="623"/>
                  </a:lnTo>
                  <a:lnTo>
                    <a:pt x="140" y="623"/>
                  </a:lnTo>
                  <a:lnTo>
                    <a:pt x="143" y="623"/>
                  </a:lnTo>
                  <a:lnTo>
                    <a:pt x="146" y="623"/>
                  </a:lnTo>
                  <a:lnTo>
                    <a:pt x="147" y="624"/>
                  </a:lnTo>
                  <a:lnTo>
                    <a:pt x="149" y="625"/>
                  </a:lnTo>
                  <a:lnTo>
                    <a:pt x="152" y="626"/>
                  </a:lnTo>
                  <a:lnTo>
                    <a:pt x="153" y="625"/>
                  </a:lnTo>
                  <a:lnTo>
                    <a:pt x="155" y="625"/>
                  </a:lnTo>
                  <a:lnTo>
                    <a:pt x="156" y="625"/>
                  </a:lnTo>
                  <a:lnTo>
                    <a:pt x="157" y="625"/>
                  </a:lnTo>
                  <a:lnTo>
                    <a:pt x="158" y="624"/>
                  </a:lnTo>
                  <a:lnTo>
                    <a:pt x="158" y="623"/>
                  </a:lnTo>
                  <a:lnTo>
                    <a:pt x="159" y="623"/>
                  </a:lnTo>
                  <a:lnTo>
                    <a:pt x="162" y="623"/>
                  </a:lnTo>
                  <a:lnTo>
                    <a:pt x="162" y="625"/>
                  </a:lnTo>
                  <a:lnTo>
                    <a:pt x="159" y="626"/>
                  </a:lnTo>
                  <a:lnTo>
                    <a:pt x="158" y="627"/>
                  </a:lnTo>
                  <a:lnTo>
                    <a:pt x="158" y="629"/>
                  </a:lnTo>
                  <a:lnTo>
                    <a:pt x="159" y="630"/>
                  </a:lnTo>
                  <a:lnTo>
                    <a:pt x="163" y="630"/>
                  </a:lnTo>
                  <a:lnTo>
                    <a:pt x="163" y="631"/>
                  </a:lnTo>
                  <a:lnTo>
                    <a:pt x="162" y="632"/>
                  </a:lnTo>
                  <a:lnTo>
                    <a:pt x="159" y="633"/>
                  </a:lnTo>
                  <a:lnTo>
                    <a:pt x="158" y="633"/>
                  </a:lnTo>
                  <a:lnTo>
                    <a:pt x="157" y="633"/>
                  </a:lnTo>
                  <a:lnTo>
                    <a:pt x="156" y="632"/>
                  </a:lnTo>
                  <a:lnTo>
                    <a:pt x="155" y="631"/>
                  </a:lnTo>
                  <a:lnTo>
                    <a:pt x="153" y="632"/>
                  </a:lnTo>
                  <a:lnTo>
                    <a:pt x="153" y="635"/>
                  </a:lnTo>
                  <a:lnTo>
                    <a:pt x="151" y="636"/>
                  </a:lnTo>
                  <a:lnTo>
                    <a:pt x="151" y="637"/>
                  </a:lnTo>
                  <a:lnTo>
                    <a:pt x="152" y="638"/>
                  </a:lnTo>
                  <a:lnTo>
                    <a:pt x="155" y="640"/>
                  </a:lnTo>
                  <a:lnTo>
                    <a:pt x="155" y="641"/>
                  </a:lnTo>
                  <a:lnTo>
                    <a:pt x="157" y="642"/>
                  </a:lnTo>
                  <a:lnTo>
                    <a:pt x="158" y="642"/>
                  </a:lnTo>
                  <a:lnTo>
                    <a:pt x="159" y="643"/>
                  </a:lnTo>
                  <a:lnTo>
                    <a:pt x="162" y="642"/>
                  </a:lnTo>
                  <a:lnTo>
                    <a:pt x="163" y="642"/>
                  </a:lnTo>
                  <a:lnTo>
                    <a:pt x="165" y="641"/>
                  </a:lnTo>
                  <a:lnTo>
                    <a:pt x="168" y="638"/>
                  </a:lnTo>
                  <a:lnTo>
                    <a:pt x="168" y="637"/>
                  </a:lnTo>
                  <a:lnTo>
                    <a:pt x="169" y="635"/>
                  </a:lnTo>
                  <a:lnTo>
                    <a:pt x="171" y="632"/>
                  </a:lnTo>
                  <a:lnTo>
                    <a:pt x="173" y="630"/>
                  </a:lnTo>
                  <a:lnTo>
                    <a:pt x="174" y="627"/>
                  </a:lnTo>
                  <a:lnTo>
                    <a:pt x="175" y="624"/>
                  </a:lnTo>
                  <a:lnTo>
                    <a:pt x="176" y="621"/>
                  </a:lnTo>
                  <a:lnTo>
                    <a:pt x="177" y="620"/>
                  </a:lnTo>
                  <a:lnTo>
                    <a:pt x="180" y="623"/>
                  </a:lnTo>
                  <a:lnTo>
                    <a:pt x="179" y="625"/>
                  </a:lnTo>
                  <a:lnTo>
                    <a:pt x="177" y="626"/>
                  </a:lnTo>
                  <a:lnTo>
                    <a:pt x="177" y="629"/>
                  </a:lnTo>
                  <a:lnTo>
                    <a:pt x="176" y="630"/>
                  </a:lnTo>
                  <a:lnTo>
                    <a:pt x="176" y="631"/>
                  </a:lnTo>
                  <a:lnTo>
                    <a:pt x="177" y="633"/>
                  </a:lnTo>
                  <a:lnTo>
                    <a:pt x="180" y="633"/>
                  </a:lnTo>
                  <a:lnTo>
                    <a:pt x="181" y="633"/>
                  </a:lnTo>
                  <a:lnTo>
                    <a:pt x="181" y="635"/>
                  </a:lnTo>
                  <a:lnTo>
                    <a:pt x="183" y="635"/>
                  </a:lnTo>
                  <a:lnTo>
                    <a:pt x="185" y="635"/>
                  </a:lnTo>
                  <a:lnTo>
                    <a:pt x="186" y="633"/>
                  </a:lnTo>
                  <a:lnTo>
                    <a:pt x="187" y="632"/>
                  </a:lnTo>
                  <a:lnTo>
                    <a:pt x="187" y="631"/>
                  </a:lnTo>
                  <a:lnTo>
                    <a:pt x="186" y="629"/>
                  </a:lnTo>
                  <a:lnTo>
                    <a:pt x="187" y="629"/>
                  </a:lnTo>
                  <a:lnTo>
                    <a:pt x="188" y="630"/>
                  </a:lnTo>
                  <a:lnTo>
                    <a:pt x="189" y="631"/>
                  </a:lnTo>
                  <a:lnTo>
                    <a:pt x="192" y="631"/>
                  </a:lnTo>
                  <a:lnTo>
                    <a:pt x="193" y="632"/>
                  </a:lnTo>
                  <a:lnTo>
                    <a:pt x="193" y="635"/>
                  </a:lnTo>
                  <a:lnTo>
                    <a:pt x="193" y="637"/>
                  </a:lnTo>
                  <a:lnTo>
                    <a:pt x="193" y="640"/>
                  </a:lnTo>
                  <a:lnTo>
                    <a:pt x="196" y="640"/>
                  </a:lnTo>
                  <a:lnTo>
                    <a:pt x="197" y="638"/>
                  </a:lnTo>
                  <a:lnTo>
                    <a:pt x="198" y="638"/>
                  </a:lnTo>
                  <a:lnTo>
                    <a:pt x="199" y="637"/>
                  </a:lnTo>
                  <a:lnTo>
                    <a:pt x="200" y="636"/>
                  </a:lnTo>
                  <a:lnTo>
                    <a:pt x="203" y="636"/>
                  </a:lnTo>
                  <a:lnTo>
                    <a:pt x="204" y="635"/>
                  </a:lnTo>
                  <a:lnTo>
                    <a:pt x="205" y="632"/>
                  </a:lnTo>
                  <a:lnTo>
                    <a:pt x="206" y="631"/>
                  </a:lnTo>
                  <a:lnTo>
                    <a:pt x="206" y="629"/>
                  </a:lnTo>
                  <a:lnTo>
                    <a:pt x="205" y="629"/>
                  </a:lnTo>
                  <a:lnTo>
                    <a:pt x="204" y="630"/>
                  </a:lnTo>
                  <a:lnTo>
                    <a:pt x="200" y="631"/>
                  </a:lnTo>
                  <a:lnTo>
                    <a:pt x="202" y="629"/>
                  </a:lnTo>
                  <a:lnTo>
                    <a:pt x="203" y="627"/>
                  </a:lnTo>
                  <a:lnTo>
                    <a:pt x="205" y="626"/>
                  </a:lnTo>
                  <a:lnTo>
                    <a:pt x="208" y="626"/>
                  </a:lnTo>
                  <a:lnTo>
                    <a:pt x="209" y="626"/>
                  </a:lnTo>
                  <a:lnTo>
                    <a:pt x="209" y="624"/>
                  </a:lnTo>
                  <a:lnTo>
                    <a:pt x="209" y="621"/>
                  </a:lnTo>
                  <a:lnTo>
                    <a:pt x="208" y="620"/>
                  </a:lnTo>
                  <a:lnTo>
                    <a:pt x="209" y="619"/>
                  </a:lnTo>
                  <a:lnTo>
                    <a:pt x="210" y="618"/>
                  </a:lnTo>
                  <a:lnTo>
                    <a:pt x="210" y="617"/>
                  </a:lnTo>
                  <a:lnTo>
                    <a:pt x="210" y="615"/>
                  </a:lnTo>
                  <a:lnTo>
                    <a:pt x="210" y="613"/>
                  </a:lnTo>
                  <a:lnTo>
                    <a:pt x="210" y="612"/>
                  </a:lnTo>
                  <a:lnTo>
                    <a:pt x="211" y="613"/>
                  </a:lnTo>
                  <a:lnTo>
                    <a:pt x="212" y="613"/>
                  </a:lnTo>
                  <a:lnTo>
                    <a:pt x="214" y="611"/>
                  </a:lnTo>
                  <a:lnTo>
                    <a:pt x="215" y="609"/>
                  </a:lnTo>
                  <a:lnTo>
                    <a:pt x="215" y="608"/>
                  </a:lnTo>
                  <a:lnTo>
                    <a:pt x="215" y="607"/>
                  </a:lnTo>
                  <a:lnTo>
                    <a:pt x="214" y="606"/>
                  </a:lnTo>
                  <a:lnTo>
                    <a:pt x="212" y="606"/>
                  </a:lnTo>
                  <a:lnTo>
                    <a:pt x="212" y="605"/>
                  </a:lnTo>
                  <a:lnTo>
                    <a:pt x="214" y="603"/>
                  </a:lnTo>
                  <a:lnTo>
                    <a:pt x="215" y="603"/>
                  </a:lnTo>
                  <a:lnTo>
                    <a:pt x="216" y="605"/>
                  </a:lnTo>
                  <a:lnTo>
                    <a:pt x="217" y="606"/>
                  </a:lnTo>
                  <a:lnTo>
                    <a:pt x="217" y="607"/>
                  </a:lnTo>
                  <a:lnTo>
                    <a:pt x="217" y="609"/>
                  </a:lnTo>
                  <a:lnTo>
                    <a:pt x="218" y="612"/>
                  </a:lnTo>
                  <a:lnTo>
                    <a:pt x="221" y="614"/>
                  </a:lnTo>
                  <a:lnTo>
                    <a:pt x="222" y="615"/>
                  </a:lnTo>
                  <a:lnTo>
                    <a:pt x="226" y="617"/>
                  </a:lnTo>
                  <a:lnTo>
                    <a:pt x="227" y="617"/>
                  </a:lnTo>
                  <a:lnTo>
                    <a:pt x="229" y="615"/>
                  </a:lnTo>
                  <a:lnTo>
                    <a:pt x="230" y="614"/>
                  </a:lnTo>
                  <a:lnTo>
                    <a:pt x="230" y="612"/>
                  </a:lnTo>
                  <a:lnTo>
                    <a:pt x="229" y="611"/>
                  </a:lnTo>
                  <a:lnTo>
                    <a:pt x="228" y="611"/>
                  </a:lnTo>
                  <a:lnTo>
                    <a:pt x="226" y="608"/>
                  </a:lnTo>
                  <a:lnTo>
                    <a:pt x="223" y="607"/>
                  </a:lnTo>
                  <a:lnTo>
                    <a:pt x="221" y="605"/>
                  </a:lnTo>
                  <a:lnTo>
                    <a:pt x="220" y="603"/>
                  </a:lnTo>
                  <a:lnTo>
                    <a:pt x="218" y="602"/>
                  </a:lnTo>
                  <a:lnTo>
                    <a:pt x="217" y="600"/>
                  </a:lnTo>
                  <a:lnTo>
                    <a:pt x="218" y="600"/>
                  </a:lnTo>
                  <a:lnTo>
                    <a:pt x="220" y="599"/>
                  </a:lnTo>
                  <a:lnTo>
                    <a:pt x="222" y="597"/>
                  </a:lnTo>
                  <a:lnTo>
                    <a:pt x="224" y="595"/>
                  </a:lnTo>
                  <a:lnTo>
                    <a:pt x="226" y="595"/>
                  </a:lnTo>
                  <a:lnTo>
                    <a:pt x="228" y="594"/>
                  </a:lnTo>
                  <a:lnTo>
                    <a:pt x="229" y="593"/>
                  </a:lnTo>
                  <a:lnTo>
                    <a:pt x="229" y="591"/>
                  </a:lnTo>
                  <a:lnTo>
                    <a:pt x="227" y="593"/>
                  </a:lnTo>
                  <a:lnTo>
                    <a:pt x="226" y="593"/>
                  </a:lnTo>
                  <a:lnTo>
                    <a:pt x="223" y="594"/>
                  </a:lnTo>
                  <a:lnTo>
                    <a:pt x="223" y="593"/>
                  </a:lnTo>
                  <a:lnTo>
                    <a:pt x="223" y="591"/>
                  </a:lnTo>
                  <a:lnTo>
                    <a:pt x="226" y="591"/>
                  </a:lnTo>
                  <a:lnTo>
                    <a:pt x="228" y="590"/>
                  </a:lnTo>
                  <a:lnTo>
                    <a:pt x="230" y="590"/>
                  </a:lnTo>
                  <a:lnTo>
                    <a:pt x="232" y="590"/>
                  </a:lnTo>
                  <a:lnTo>
                    <a:pt x="233" y="591"/>
                  </a:lnTo>
                  <a:lnTo>
                    <a:pt x="234" y="593"/>
                  </a:lnTo>
                  <a:lnTo>
                    <a:pt x="235" y="593"/>
                  </a:lnTo>
                  <a:lnTo>
                    <a:pt x="236" y="591"/>
                  </a:lnTo>
                  <a:lnTo>
                    <a:pt x="236" y="590"/>
                  </a:lnTo>
                  <a:lnTo>
                    <a:pt x="236" y="589"/>
                  </a:lnTo>
                  <a:lnTo>
                    <a:pt x="234" y="589"/>
                  </a:lnTo>
                  <a:lnTo>
                    <a:pt x="233" y="589"/>
                  </a:lnTo>
                  <a:lnTo>
                    <a:pt x="233" y="588"/>
                  </a:lnTo>
                  <a:lnTo>
                    <a:pt x="234" y="587"/>
                  </a:lnTo>
                  <a:lnTo>
                    <a:pt x="235" y="587"/>
                  </a:lnTo>
                  <a:lnTo>
                    <a:pt x="236" y="587"/>
                  </a:lnTo>
                  <a:lnTo>
                    <a:pt x="238" y="589"/>
                  </a:lnTo>
                  <a:lnTo>
                    <a:pt x="240" y="590"/>
                  </a:lnTo>
                  <a:lnTo>
                    <a:pt x="242" y="590"/>
                  </a:lnTo>
                  <a:lnTo>
                    <a:pt x="245" y="589"/>
                  </a:lnTo>
                  <a:lnTo>
                    <a:pt x="246" y="587"/>
                  </a:lnTo>
                  <a:lnTo>
                    <a:pt x="245" y="585"/>
                  </a:lnTo>
                  <a:lnTo>
                    <a:pt x="244" y="584"/>
                  </a:lnTo>
                  <a:lnTo>
                    <a:pt x="242" y="583"/>
                  </a:lnTo>
                  <a:lnTo>
                    <a:pt x="240" y="582"/>
                  </a:lnTo>
                  <a:lnTo>
                    <a:pt x="239" y="583"/>
                  </a:lnTo>
                  <a:lnTo>
                    <a:pt x="238" y="583"/>
                  </a:lnTo>
                  <a:lnTo>
                    <a:pt x="236" y="582"/>
                  </a:lnTo>
                  <a:lnTo>
                    <a:pt x="235" y="581"/>
                  </a:lnTo>
                  <a:lnTo>
                    <a:pt x="234" y="581"/>
                  </a:lnTo>
                  <a:lnTo>
                    <a:pt x="232" y="582"/>
                  </a:lnTo>
                  <a:lnTo>
                    <a:pt x="229" y="581"/>
                  </a:lnTo>
                  <a:lnTo>
                    <a:pt x="229" y="579"/>
                  </a:lnTo>
                  <a:lnTo>
                    <a:pt x="229" y="578"/>
                  </a:lnTo>
                  <a:lnTo>
                    <a:pt x="230" y="578"/>
                  </a:lnTo>
                  <a:lnTo>
                    <a:pt x="234" y="581"/>
                  </a:lnTo>
                  <a:lnTo>
                    <a:pt x="235" y="579"/>
                  </a:lnTo>
                  <a:lnTo>
                    <a:pt x="238" y="578"/>
                  </a:lnTo>
                  <a:lnTo>
                    <a:pt x="240" y="578"/>
                  </a:lnTo>
                  <a:lnTo>
                    <a:pt x="240" y="577"/>
                  </a:lnTo>
                  <a:lnTo>
                    <a:pt x="240" y="575"/>
                  </a:lnTo>
                  <a:lnTo>
                    <a:pt x="240" y="572"/>
                  </a:lnTo>
                  <a:lnTo>
                    <a:pt x="240" y="571"/>
                  </a:lnTo>
                  <a:lnTo>
                    <a:pt x="239" y="572"/>
                  </a:lnTo>
                  <a:lnTo>
                    <a:pt x="238" y="573"/>
                  </a:lnTo>
                  <a:lnTo>
                    <a:pt x="236" y="572"/>
                  </a:lnTo>
                  <a:lnTo>
                    <a:pt x="235" y="572"/>
                  </a:lnTo>
                  <a:lnTo>
                    <a:pt x="234" y="573"/>
                  </a:lnTo>
                  <a:lnTo>
                    <a:pt x="233" y="573"/>
                  </a:lnTo>
                  <a:lnTo>
                    <a:pt x="230" y="575"/>
                  </a:lnTo>
                  <a:lnTo>
                    <a:pt x="228" y="576"/>
                  </a:lnTo>
                  <a:lnTo>
                    <a:pt x="227" y="577"/>
                  </a:lnTo>
                  <a:lnTo>
                    <a:pt x="227" y="578"/>
                  </a:lnTo>
                  <a:lnTo>
                    <a:pt x="226" y="581"/>
                  </a:lnTo>
                  <a:lnTo>
                    <a:pt x="224" y="579"/>
                  </a:lnTo>
                  <a:lnTo>
                    <a:pt x="226" y="577"/>
                  </a:lnTo>
                  <a:lnTo>
                    <a:pt x="227" y="576"/>
                  </a:lnTo>
                  <a:lnTo>
                    <a:pt x="228" y="573"/>
                  </a:lnTo>
                  <a:lnTo>
                    <a:pt x="230" y="572"/>
                  </a:lnTo>
                  <a:lnTo>
                    <a:pt x="232" y="572"/>
                  </a:lnTo>
                  <a:lnTo>
                    <a:pt x="232" y="570"/>
                  </a:lnTo>
                  <a:lnTo>
                    <a:pt x="230" y="569"/>
                  </a:lnTo>
                  <a:lnTo>
                    <a:pt x="229" y="567"/>
                  </a:lnTo>
                  <a:lnTo>
                    <a:pt x="227" y="571"/>
                  </a:lnTo>
                  <a:lnTo>
                    <a:pt x="227" y="572"/>
                  </a:lnTo>
                  <a:lnTo>
                    <a:pt x="226" y="570"/>
                  </a:lnTo>
                  <a:lnTo>
                    <a:pt x="227" y="569"/>
                  </a:lnTo>
                  <a:lnTo>
                    <a:pt x="227" y="567"/>
                  </a:lnTo>
                  <a:lnTo>
                    <a:pt x="226" y="567"/>
                  </a:lnTo>
                  <a:lnTo>
                    <a:pt x="224" y="566"/>
                  </a:lnTo>
                  <a:lnTo>
                    <a:pt x="223" y="567"/>
                  </a:lnTo>
                  <a:lnTo>
                    <a:pt x="223" y="569"/>
                  </a:lnTo>
                  <a:lnTo>
                    <a:pt x="223" y="570"/>
                  </a:lnTo>
                  <a:lnTo>
                    <a:pt x="222" y="570"/>
                  </a:lnTo>
                  <a:lnTo>
                    <a:pt x="221" y="566"/>
                  </a:lnTo>
                  <a:lnTo>
                    <a:pt x="218" y="565"/>
                  </a:lnTo>
                  <a:lnTo>
                    <a:pt x="218" y="564"/>
                  </a:lnTo>
                  <a:lnTo>
                    <a:pt x="217" y="563"/>
                  </a:lnTo>
                  <a:lnTo>
                    <a:pt x="216" y="561"/>
                  </a:lnTo>
                  <a:lnTo>
                    <a:pt x="215" y="560"/>
                  </a:lnTo>
                  <a:lnTo>
                    <a:pt x="215" y="559"/>
                  </a:lnTo>
                  <a:lnTo>
                    <a:pt x="216" y="557"/>
                  </a:lnTo>
                  <a:lnTo>
                    <a:pt x="217" y="555"/>
                  </a:lnTo>
                  <a:lnTo>
                    <a:pt x="218" y="555"/>
                  </a:lnTo>
                  <a:lnTo>
                    <a:pt x="220" y="557"/>
                  </a:lnTo>
                  <a:lnTo>
                    <a:pt x="221" y="557"/>
                  </a:lnTo>
                  <a:lnTo>
                    <a:pt x="223" y="558"/>
                  </a:lnTo>
                  <a:lnTo>
                    <a:pt x="224" y="559"/>
                  </a:lnTo>
                  <a:lnTo>
                    <a:pt x="228" y="560"/>
                  </a:lnTo>
                  <a:lnTo>
                    <a:pt x="229" y="559"/>
                  </a:lnTo>
                  <a:lnTo>
                    <a:pt x="229" y="558"/>
                  </a:lnTo>
                  <a:lnTo>
                    <a:pt x="230" y="557"/>
                  </a:lnTo>
                  <a:lnTo>
                    <a:pt x="230" y="554"/>
                  </a:lnTo>
                  <a:lnTo>
                    <a:pt x="229" y="553"/>
                  </a:lnTo>
                  <a:lnTo>
                    <a:pt x="227" y="554"/>
                  </a:lnTo>
                  <a:lnTo>
                    <a:pt x="223" y="554"/>
                  </a:lnTo>
                  <a:lnTo>
                    <a:pt x="221" y="553"/>
                  </a:lnTo>
                  <a:lnTo>
                    <a:pt x="218" y="552"/>
                  </a:lnTo>
                  <a:lnTo>
                    <a:pt x="217" y="551"/>
                  </a:lnTo>
                  <a:lnTo>
                    <a:pt x="216" y="551"/>
                  </a:lnTo>
                  <a:lnTo>
                    <a:pt x="216" y="548"/>
                  </a:lnTo>
                  <a:lnTo>
                    <a:pt x="216" y="547"/>
                  </a:lnTo>
                  <a:lnTo>
                    <a:pt x="216" y="545"/>
                  </a:lnTo>
                  <a:lnTo>
                    <a:pt x="212" y="543"/>
                  </a:lnTo>
                  <a:lnTo>
                    <a:pt x="211" y="543"/>
                  </a:lnTo>
                  <a:lnTo>
                    <a:pt x="210" y="541"/>
                  </a:lnTo>
                  <a:lnTo>
                    <a:pt x="209" y="541"/>
                  </a:lnTo>
                  <a:lnTo>
                    <a:pt x="209" y="539"/>
                  </a:lnTo>
                  <a:lnTo>
                    <a:pt x="209" y="536"/>
                  </a:lnTo>
                  <a:lnTo>
                    <a:pt x="210" y="534"/>
                  </a:lnTo>
                  <a:lnTo>
                    <a:pt x="210" y="533"/>
                  </a:lnTo>
                  <a:lnTo>
                    <a:pt x="210" y="529"/>
                  </a:lnTo>
                  <a:lnTo>
                    <a:pt x="211" y="526"/>
                  </a:lnTo>
                  <a:lnTo>
                    <a:pt x="212" y="525"/>
                  </a:lnTo>
                  <a:lnTo>
                    <a:pt x="214" y="523"/>
                  </a:lnTo>
                  <a:lnTo>
                    <a:pt x="215" y="522"/>
                  </a:lnTo>
                  <a:lnTo>
                    <a:pt x="217" y="524"/>
                  </a:lnTo>
                  <a:lnTo>
                    <a:pt x="220" y="525"/>
                  </a:lnTo>
                  <a:lnTo>
                    <a:pt x="222" y="526"/>
                  </a:lnTo>
                  <a:lnTo>
                    <a:pt x="220" y="528"/>
                  </a:lnTo>
                  <a:lnTo>
                    <a:pt x="218" y="528"/>
                  </a:lnTo>
                  <a:lnTo>
                    <a:pt x="217" y="526"/>
                  </a:lnTo>
                  <a:lnTo>
                    <a:pt x="216" y="526"/>
                  </a:lnTo>
                  <a:lnTo>
                    <a:pt x="216" y="529"/>
                  </a:lnTo>
                  <a:lnTo>
                    <a:pt x="214" y="529"/>
                  </a:lnTo>
                  <a:lnTo>
                    <a:pt x="214" y="530"/>
                  </a:lnTo>
                  <a:lnTo>
                    <a:pt x="215" y="530"/>
                  </a:lnTo>
                  <a:lnTo>
                    <a:pt x="214" y="534"/>
                  </a:lnTo>
                  <a:lnTo>
                    <a:pt x="215" y="535"/>
                  </a:lnTo>
                  <a:lnTo>
                    <a:pt x="216" y="535"/>
                  </a:lnTo>
                  <a:lnTo>
                    <a:pt x="218" y="534"/>
                  </a:lnTo>
                  <a:lnTo>
                    <a:pt x="220" y="533"/>
                  </a:lnTo>
                  <a:lnTo>
                    <a:pt x="221" y="530"/>
                  </a:lnTo>
                  <a:lnTo>
                    <a:pt x="222" y="530"/>
                  </a:lnTo>
                  <a:lnTo>
                    <a:pt x="227" y="530"/>
                  </a:lnTo>
                  <a:lnTo>
                    <a:pt x="229" y="530"/>
                  </a:lnTo>
                  <a:lnTo>
                    <a:pt x="232" y="530"/>
                  </a:lnTo>
                  <a:lnTo>
                    <a:pt x="233" y="531"/>
                  </a:lnTo>
                  <a:lnTo>
                    <a:pt x="233" y="534"/>
                  </a:lnTo>
                  <a:lnTo>
                    <a:pt x="232" y="536"/>
                  </a:lnTo>
                  <a:lnTo>
                    <a:pt x="229" y="536"/>
                  </a:lnTo>
                  <a:lnTo>
                    <a:pt x="228" y="535"/>
                  </a:lnTo>
                  <a:lnTo>
                    <a:pt x="226" y="535"/>
                  </a:lnTo>
                  <a:lnTo>
                    <a:pt x="224" y="535"/>
                  </a:lnTo>
                  <a:lnTo>
                    <a:pt x="224" y="537"/>
                  </a:lnTo>
                  <a:lnTo>
                    <a:pt x="226" y="540"/>
                  </a:lnTo>
                  <a:lnTo>
                    <a:pt x="227" y="541"/>
                  </a:lnTo>
                  <a:lnTo>
                    <a:pt x="230" y="543"/>
                  </a:lnTo>
                  <a:lnTo>
                    <a:pt x="232" y="543"/>
                  </a:lnTo>
                  <a:lnTo>
                    <a:pt x="234" y="543"/>
                  </a:lnTo>
                  <a:lnTo>
                    <a:pt x="233" y="541"/>
                  </a:lnTo>
                  <a:lnTo>
                    <a:pt x="234" y="540"/>
                  </a:lnTo>
                  <a:lnTo>
                    <a:pt x="235" y="537"/>
                  </a:lnTo>
                  <a:lnTo>
                    <a:pt x="235" y="534"/>
                  </a:lnTo>
                  <a:lnTo>
                    <a:pt x="238" y="533"/>
                  </a:lnTo>
                  <a:lnTo>
                    <a:pt x="239" y="534"/>
                  </a:lnTo>
                  <a:lnTo>
                    <a:pt x="240" y="536"/>
                  </a:lnTo>
                  <a:lnTo>
                    <a:pt x="244" y="536"/>
                  </a:lnTo>
                  <a:lnTo>
                    <a:pt x="247" y="535"/>
                  </a:lnTo>
                  <a:lnTo>
                    <a:pt x="248" y="534"/>
                  </a:lnTo>
                  <a:lnTo>
                    <a:pt x="250" y="533"/>
                  </a:lnTo>
                  <a:lnTo>
                    <a:pt x="250" y="531"/>
                  </a:lnTo>
                  <a:lnTo>
                    <a:pt x="248" y="530"/>
                  </a:lnTo>
                  <a:lnTo>
                    <a:pt x="246" y="530"/>
                  </a:lnTo>
                  <a:lnTo>
                    <a:pt x="244" y="529"/>
                  </a:lnTo>
                  <a:lnTo>
                    <a:pt x="247" y="529"/>
                  </a:lnTo>
                  <a:lnTo>
                    <a:pt x="250" y="529"/>
                  </a:lnTo>
                  <a:lnTo>
                    <a:pt x="252" y="528"/>
                  </a:lnTo>
                  <a:lnTo>
                    <a:pt x="253" y="528"/>
                  </a:lnTo>
                  <a:lnTo>
                    <a:pt x="257" y="528"/>
                  </a:lnTo>
                  <a:lnTo>
                    <a:pt x="258" y="528"/>
                  </a:lnTo>
                  <a:lnTo>
                    <a:pt x="259" y="528"/>
                  </a:lnTo>
                  <a:lnTo>
                    <a:pt x="259" y="526"/>
                  </a:lnTo>
                  <a:lnTo>
                    <a:pt x="257" y="525"/>
                  </a:lnTo>
                  <a:lnTo>
                    <a:pt x="258" y="524"/>
                  </a:lnTo>
                  <a:lnTo>
                    <a:pt x="261" y="524"/>
                  </a:lnTo>
                  <a:lnTo>
                    <a:pt x="262" y="524"/>
                  </a:lnTo>
                  <a:lnTo>
                    <a:pt x="264" y="524"/>
                  </a:lnTo>
                  <a:lnTo>
                    <a:pt x="262" y="526"/>
                  </a:lnTo>
                  <a:lnTo>
                    <a:pt x="261" y="528"/>
                  </a:lnTo>
                  <a:lnTo>
                    <a:pt x="263" y="529"/>
                  </a:lnTo>
                  <a:lnTo>
                    <a:pt x="264" y="528"/>
                  </a:lnTo>
                  <a:lnTo>
                    <a:pt x="265" y="525"/>
                  </a:lnTo>
                  <a:lnTo>
                    <a:pt x="265" y="524"/>
                  </a:lnTo>
                  <a:lnTo>
                    <a:pt x="264" y="522"/>
                  </a:lnTo>
                  <a:lnTo>
                    <a:pt x="264" y="520"/>
                  </a:lnTo>
                  <a:lnTo>
                    <a:pt x="265" y="520"/>
                  </a:lnTo>
                  <a:lnTo>
                    <a:pt x="267" y="522"/>
                  </a:lnTo>
                  <a:lnTo>
                    <a:pt x="267" y="523"/>
                  </a:lnTo>
                  <a:lnTo>
                    <a:pt x="268" y="524"/>
                  </a:lnTo>
                  <a:lnTo>
                    <a:pt x="267" y="526"/>
                  </a:lnTo>
                  <a:lnTo>
                    <a:pt x="265" y="530"/>
                  </a:lnTo>
                  <a:lnTo>
                    <a:pt x="264" y="530"/>
                  </a:lnTo>
                  <a:lnTo>
                    <a:pt x="262" y="533"/>
                  </a:lnTo>
                  <a:lnTo>
                    <a:pt x="261" y="534"/>
                  </a:lnTo>
                  <a:lnTo>
                    <a:pt x="264" y="534"/>
                  </a:lnTo>
                  <a:lnTo>
                    <a:pt x="265" y="533"/>
                  </a:lnTo>
                  <a:lnTo>
                    <a:pt x="265" y="534"/>
                  </a:lnTo>
                  <a:lnTo>
                    <a:pt x="264" y="535"/>
                  </a:lnTo>
                  <a:lnTo>
                    <a:pt x="263" y="536"/>
                  </a:lnTo>
                  <a:lnTo>
                    <a:pt x="264" y="537"/>
                  </a:lnTo>
                  <a:lnTo>
                    <a:pt x="267" y="536"/>
                  </a:lnTo>
                  <a:lnTo>
                    <a:pt x="267" y="540"/>
                  </a:lnTo>
                  <a:lnTo>
                    <a:pt x="265" y="541"/>
                  </a:lnTo>
                  <a:lnTo>
                    <a:pt x="263" y="552"/>
                  </a:lnTo>
                  <a:lnTo>
                    <a:pt x="263" y="554"/>
                  </a:lnTo>
                  <a:lnTo>
                    <a:pt x="263" y="555"/>
                  </a:lnTo>
                  <a:lnTo>
                    <a:pt x="263" y="557"/>
                  </a:lnTo>
                  <a:lnTo>
                    <a:pt x="263" y="559"/>
                  </a:lnTo>
                  <a:lnTo>
                    <a:pt x="262" y="563"/>
                  </a:lnTo>
                  <a:lnTo>
                    <a:pt x="264" y="564"/>
                  </a:lnTo>
                  <a:lnTo>
                    <a:pt x="264" y="566"/>
                  </a:lnTo>
                  <a:lnTo>
                    <a:pt x="263" y="566"/>
                  </a:lnTo>
                  <a:lnTo>
                    <a:pt x="265" y="569"/>
                  </a:lnTo>
                  <a:lnTo>
                    <a:pt x="267" y="569"/>
                  </a:lnTo>
                  <a:lnTo>
                    <a:pt x="268" y="571"/>
                  </a:lnTo>
                  <a:lnTo>
                    <a:pt x="270" y="573"/>
                  </a:lnTo>
                  <a:lnTo>
                    <a:pt x="271" y="576"/>
                  </a:lnTo>
                  <a:lnTo>
                    <a:pt x="271" y="579"/>
                  </a:lnTo>
                  <a:lnTo>
                    <a:pt x="273" y="582"/>
                  </a:lnTo>
                  <a:lnTo>
                    <a:pt x="273" y="583"/>
                  </a:lnTo>
                  <a:lnTo>
                    <a:pt x="271" y="588"/>
                  </a:lnTo>
                  <a:lnTo>
                    <a:pt x="271" y="593"/>
                  </a:lnTo>
                  <a:lnTo>
                    <a:pt x="269" y="595"/>
                  </a:lnTo>
                  <a:lnTo>
                    <a:pt x="269" y="596"/>
                  </a:lnTo>
                  <a:lnTo>
                    <a:pt x="269" y="600"/>
                  </a:lnTo>
                  <a:lnTo>
                    <a:pt x="269" y="602"/>
                  </a:lnTo>
                  <a:lnTo>
                    <a:pt x="271" y="602"/>
                  </a:lnTo>
                  <a:lnTo>
                    <a:pt x="273" y="601"/>
                  </a:lnTo>
                  <a:lnTo>
                    <a:pt x="273" y="600"/>
                  </a:lnTo>
                  <a:lnTo>
                    <a:pt x="270" y="600"/>
                  </a:lnTo>
                  <a:lnTo>
                    <a:pt x="270" y="599"/>
                  </a:lnTo>
                  <a:lnTo>
                    <a:pt x="270" y="596"/>
                  </a:lnTo>
                  <a:lnTo>
                    <a:pt x="271" y="595"/>
                  </a:lnTo>
                  <a:lnTo>
                    <a:pt x="273" y="594"/>
                  </a:lnTo>
                  <a:lnTo>
                    <a:pt x="273" y="591"/>
                  </a:lnTo>
                  <a:lnTo>
                    <a:pt x="274" y="591"/>
                  </a:lnTo>
                  <a:lnTo>
                    <a:pt x="275" y="593"/>
                  </a:lnTo>
                  <a:lnTo>
                    <a:pt x="276" y="595"/>
                  </a:lnTo>
                  <a:lnTo>
                    <a:pt x="277" y="597"/>
                  </a:lnTo>
                  <a:lnTo>
                    <a:pt x="279" y="600"/>
                  </a:lnTo>
                  <a:lnTo>
                    <a:pt x="279" y="601"/>
                  </a:lnTo>
                  <a:lnTo>
                    <a:pt x="281" y="603"/>
                  </a:lnTo>
                  <a:lnTo>
                    <a:pt x="281" y="606"/>
                  </a:lnTo>
                  <a:lnTo>
                    <a:pt x="282" y="608"/>
                  </a:lnTo>
                  <a:lnTo>
                    <a:pt x="283" y="611"/>
                  </a:lnTo>
                  <a:lnTo>
                    <a:pt x="285" y="612"/>
                  </a:lnTo>
                  <a:lnTo>
                    <a:pt x="286" y="614"/>
                  </a:lnTo>
                  <a:lnTo>
                    <a:pt x="287" y="617"/>
                  </a:lnTo>
                  <a:lnTo>
                    <a:pt x="288" y="618"/>
                  </a:lnTo>
                  <a:lnTo>
                    <a:pt x="289" y="621"/>
                  </a:lnTo>
                  <a:lnTo>
                    <a:pt x="291" y="621"/>
                  </a:lnTo>
                  <a:lnTo>
                    <a:pt x="291" y="620"/>
                  </a:lnTo>
                  <a:lnTo>
                    <a:pt x="291" y="617"/>
                  </a:lnTo>
                  <a:lnTo>
                    <a:pt x="289" y="614"/>
                  </a:lnTo>
                  <a:lnTo>
                    <a:pt x="285" y="607"/>
                  </a:lnTo>
                  <a:lnTo>
                    <a:pt x="282" y="603"/>
                  </a:lnTo>
                  <a:lnTo>
                    <a:pt x="281" y="600"/>
                  </a:lnTo>
                  <a:lnTo>
                    <a:pt x="279" y="596"/>
                  </a:lnTo>
                  <a:lnTo>
                    <a:pt x="277" y="593"/>
                  </a:lnTo>
                  <a:lnTo>
                    <a:pt x="276" y="590"/>
                  </a:lnTo>
                  <a:lnTo>
                    <a:pt x="275" y="585"/>
                  </a:lnTo>
                  <a:lnTo>
                    <a:pt x="275" y="583"/>
                  </a:lnTo>
                  <a:lnTo>
                    <a:pt x="274" y="576"/>
                  </a:lnTo>
                  <a:lnTo>
                    <a:pt x="270" y="569"/>
                  </a:lnTo>
                  <a:lnTo>
                    <a:pt x="268" y="564"/>
                  </a:lnTo>
                  <a:lnTo>
                    <a:pt x="265" y="559"/>
                  </a:lnTo>
                  <a:lnTo>
                    <a:pt x="265" y="555"/>
                  </a:lnTo>
                  <a:lnTo>
                    <a:pt x="267" y="551"/>
                  </a:lnTo>
                  <a:lnTo>
                    <a:pt x="268" y="545"/>
                  </a:lnTo>
                  <a:lnTo>
                    <a:pt x="270" y="539"/>
                  </a:lnTo>
                  <a:lnTo>
                    <a:pt x="270" y="533"/>
                  </a:lnTo>
                  <a:lnTo>
                    <a:pt x="270" y="524"/>
                  </a:lnTo>
                  <a:lnTo>
                    <a:pt x="271" y="522"/>
                  </a:lnTo>
                  <a:lnTo>
                    <a:pt x="273" y="519"/>
                  </a:lnTo>
                  <a:lnTo>
                    <a:pt x="274" y="510"/>
                  </a:lnTo>
                  <a:lnTo>
                    <a:pt x="275" y="508"/>
                  </a:lnTo>
                  <a:lnTo>
                    <a:pt x="277" y="507"/>
                  </a:lnTo>
                  <a:lnTo>
                    <a:pt x="277" y="511"/>
                  </a:lnTo>
                  <a:lnTo>
                    <a:pt x="277" y="512"/>
                  </a:lnTo>
                  <a:lnTo>
                    <a:pt x="277" y="513"/>
                  </a:lnTo>
                  <a:lnTo>
                    <a:pt x="276" y="514"/>
                  </a:lnTo>
                  <a:lnTo>
                    <a:pt x="276" y="516"/>
                  </a:lnTo>
                  <a:lnTo>
                    <a:pt x="275" y="517"/>
                  </a:lnTo>
                  <a:lnTo>
                    <a:pt x="275" y="518"/>
                  </a:lnTo>
                  <a:lnTo>
                    <a:pt x="274" y="520"/>
                  </a:lnTo>
                  <a:lnTo>
                    <a:pt x="273" y="524"/>
                  </a:lnTo>
                  <a:lnTo>
                    <a:pt x="273" y="525"/>
                  </a:lnTo>
                  <a:lnTo>
                    <a:pt x="271" y="528"/>
                  </a:lnTo>
                  <a:lnTo>
                    <a:pt x="271" y="531"/>
                  </a:lnTo>
                  <a:lnTo>
                    <a:pt x="271" y="534"/>
                  </a:lnTo>
                  <a:lnTo>
                    <a:pt x="271" y="536"/>
                  </a:lnTo>
                  <a:lnTo>
                    <a:pt x="271" y="539"/>
                  </a:lnTo>
                  <a:lnTo>
                    <a:pt x="271" y="541"/>
                  </a:lnTo>
                  <a:lnTo>
                    <a:pt x="270" y="545"/>
                  </a:lnTo>
                  <a:lnTo>
                    <a:pt x="271" y="547"/>
                  </a:lnTo>
                  <a:lnTo>
                    <a:pt x="270" y="548"/>
                  </a:lnTo>
                  <a:lnTo>
                    <a:pt x="269" y="551"/>
                  </a:lnTo>
                  <a:lnTo>
                    <a:pt x="269" y="552"/>
                  </a:lnTo>
                  <a:lnTo>
                    <a:pt x="270" y="555"/>
                  </a:lnTo>
                  <a:lnTo>
                    <a:pt x="269" y="557"/>
                  </a:lnTo>
                  <a:lnTo>
                    <a:pt x="268" y="558"/>
                  </a:lnTo>
                  <a:lnTo>
                    <a:pt x="270" y="559"/>
                  </a:lnTo>
                  <a:lnTo>
                    <a:pt x="270" y="560"/>
                  </a:lnTo>
                  <a:lnTo>
                    <a:pt x="269" y="561"/>
                  </a:lnTo>
                  <a:lnTo>
                    <a:pt x="269" y="563"/>
                  </a:lnTo>
                  <a:lnTo>
                    <a:pt x="271" y="564"/>
                  </a:lnTo>
                  <a:lnTo>
                    <a:pt x="273" y="564"/>
                  </a:lnTo>
                  <a:lnTo>
                    <a:pt x="274" y="564"/>
                  </a:lnTo>
                  <a:lnTo>
                    <a:pt x="275" y="563"/>
                  </a:lnTo>
                  <a:lnTo>
                    <a:pt x="274" y="561"/>
                  </a:lnTo>
                  <a:lnTo>
                    <a:pt x="273" y="561"/>
                  </a:lnTo>
                  <a:lnTo>
                    <a:pt x="274" y="559"/>
                  </a:lnTo>
                  <a:lnTo>
                    <a:pt x="275" y="559"/>
                  </a:lnTo>
                  <a:lnTo>
                    <a:pt x="276" y="559"/>
                  </a:lnTo>
                  <a:lnTo>
                    <a:pt x="280" y="558"/>
                  </a:lnTo>
                  <a:lnTo>
                    <a:pt x="279" y="557"/>
                  </a:lnTo>
                  <a:lnTo>
                    <a:pt x="276" y="557"/>
                  </a:lnTo>
                  <a:lnTo>
                    <a:pt x="275" y="555"/>
                  </a:lnTo>
                  <a:lnTo>
                    <a:pt x="276" y="555"/>
                  </a:lnTo>
                  <a:lnTo>
                    <a:pt x="277" y="554"/>
                  </a:lnTo>
                  <a:lnTo>
                    <a:pt x="277" y="553"/>
                  </a:lnTo>
                  <a:lnTo>
                    <a:pt x="276" y="552"/>
                  </a:lnTo>
                  <a:lnTo>
                    <a:pt x="275" y="551"/>
                  </a:lnTo>
                  <a:lnTo>
                    <a:pt x="275" y="549"/>
                  </a:lnTo>
                  <a:lnTo>
                    <a:pt x="274" y="547"/>
                  </a:lnTo>
                  <a:lnTo>
                    <a:pt x="274" y="546"/>
                  </a:lnTo>
                  <a:lnTo>
                    <a:pt x="273" y="543"/>
                  </a:lnTo>
                  <a:lnTo>
                    <a:pt x="273" y="540"/>
                  </a:lnTo>
                  <a:lnTo>
                    <a:pt x="273" y="536"/>
                  </a:lnTo>
                  <a:lnTo>
                    <a:pt x="273" y="531"/>
                  </a:lnTo>
                  <a:lnTo>
                    <a:pt x="274" y="526"/>
                  </a:lnTo>
                  <a:lnTo>
                    <a:pt x="275" y="522"/>
                  </a:lnTo>
                  <a:lnTo>
                    <a:pt x="276" y="519"/>
                  </a:lnTo>
                  <a:lnTo>
                    <a:pt x="277" y="518"/>
                  </a:lnTo>
                  <a:lnTo>
                    <a:pt x="277" y="519"/>
                  </a:lnTo>
                  <a:lnTo>
                    <a:pt x="279" y="520"/>
                  </a:lnTo>
                  <a:lnTo>
                    <a:pt x="280" y="522"/>
                  </a:lnTo>
                  <a:lnTo>
                    <a:pt x="280" y="523"/>
                  </a:lnTo>
                  <a:lnTo>
                    <a:pt x="279" y="525"/>
                  </a:lnTo>
                  <a:lnTo>
                    <a:pt x="279" y="529"/>
                  </a:lnTo>
                  <a:lnTo>
                    <a:pt x="279" y="530"/>
                  </a:lnTo>
                  <a:lnTo>
                    <a:pt x="280" y="528"/>
                  </a:lnTo>
                  <a:lnTo>
                    <a:pt x="280" y="525"/>
                  </a:lnTo>
                  <a:lnTo>
                    <a:pt x="280" y="524"/>
                  </a:lnTo>
                  <a:lnTo>
                    <a:pt x="281" y="524"/>
                  </a:lnTo>
                  <a:lnTo>
                    <a:pt x="281" y="528"/>
                  </a:lnTo>
                  <a:lnTo>
                    <a:pt x="281" y="531"/>
                  </a:lnTo>
                  <a:lnTo>
                    <a:pt x="281" y="534"/>
                  </a:lnTo>
                  <a:lnTo>
                    <a:pt x="280" y="537"/>
                  </a:lnTo>
                  <a:lnTo>
                    <a:pt x="279" y="539"/>
                  </a:lnTo>
                  <a:lnTo>
                    <a:pt x="277" y="539"/>
                  </a:lnTo>
                  <a:lnTo>
                    <a:pt x="281" y="540"/>
                  </a:lnTo>
                  <a:lnTo>
                    <a:pt x="282" y="539"/>
                  </a:lnTo>
                  <a:lnTo>
                    <a:pt x="282" y="537"/>
                  </a:lnTo>
                  <a:lnTo>
                    <a:pt x="283" y="535"/>
                  </a:lnTo>
                  <a:lnTo>
                    <a:pt x="285" y="536"/>
                  </a:lnTo>
                  <a:lnTo>
                    <a:pt x="285" y="539"/>
                  </a:lnTo>
                  <a:lnTo>
                    <a:pt x="285" y="541"/>
                  </a:lnTo>
                  <a:lnTo>
                    <a:pt x="286" y="542"/>
                  </a:lnTo>
                  <a:lnTo>
                    <a:pt x="287" y="542"/>
                  </a:lnTo>
                  <a:lnTo>
                    <a:pt x="287" y="539"/>
                  </a:lnTo>
                  <a:lnTo>
                    <a:pt x="288" y="537"/>
                  </a:lnTo>
                  <a:lnTo>
                    <a:pt x="287" y="536"/>
                  </a:lnTo>
                  <a:lnTo>
                    <a:pt x="286" y="534"/>
                  </a:lnTo>
                  <a:lnTo>
                    <a:pt x="283" y="533"/>
                  </a:lnTo>
                  <a:lnTo>
                    <a:pt x="282" y="530"/>
                  </a:lnTo>
                  <a:lnTo>
                    <a:pt x="282" y="528"/>
                  </a:lnTo>
                  <a:lnTo>
                    <a:pt x="282" y="524"/>
                  </a:lnTo>
                  <a:lnTo>
                    <a:pt x="282" y="522"/>
                  </a:lnTo>
                  <a:lnTo>
                    <a:pt x="282" y="519"/>
                  </a:lnTo>
                  <a:lnTo>
                    <a:pt x="280" y="518"/>
                  </a:lnTo>
                  <a:lnTo>
                    <a:pt x="279" y="517"/>
                  </a:lnTo>
                  <a:lnTo>
                    <a:pt x="279" y="516"/>
                  </a:lnTo>
                  <a:lnTo>
                    <a:pt x="279" y="513"/>
                  </a:lnTo>
                  <a:lnTo>
                    <a:pt x="279" y="511"/>
                  </a:lnTo>
                  <a:lnTo>
                    <a:pt x="279" y="508"/>
                  </a:lnTo>
                  <a:lnTo>
                    <a:pt x="281" y="511"/>
                  </a:lnTo>
                  <a:lnTo>
                    <a:pt x="282" y="513"/>
                  </a:lnTo>
                  <a:lnTo>
                    <a:pt x="283" y="513"/>
                  </a:lnTo>
                  <a:lnTo>
                    <a:pt x="283" y="514"/>
                  </a:lnTo>
                  <a:lnTo>
                    <a:pt x="282" y="514"/>
                  </a:lnTo>
                  <a:lnTo>
                    <a:pt x="281" y="516"/>
                  </a:lnTo>
                  <a:lnTo>
                    <a:pt x="281" y="517"/>
                  </a:lnTo>
                  <a:lnTo>
                    <a:pt x="283" y="518"/>
                  </a:lnTo>
                  <a:lnTo>
                    <a:pt x="286" y="518"/>
                  </a:lnTo>
                  <a:lnTo>
                    <a:pt x="287" y="517"/>
                  </a:lnTo>
                  <a:lnTo>
                    <a:pt x="287" y="516"/>
                  </a:lnTo>
                  <a:lnTo>
                    <a:pt x="286" y="514"/>
                  </a:lnTo>
                  <a:lnTo>
                    <a:pt x="287" y="513"/>
                  </a:lnTo>
                  <a:lnTo>
                    <a:pt x="288" y="514"/>
                  </a:lnTo>
                  <a:lnTo>
                    <a:pt x="289" y="517"/>
                  </a:lnTo>
                  <a:lnTo>
                    <a:pt x="289" y="519"/>
                  </a:lnTo>
                  <a:lnTo>
                    <a:pt x="287" y="518"/>
                  </a:lnTo>
                  <a:lnTo>
                    <a:pt x="287" y="519"/>
                  </a:lnTo>
                  <a:lnTo>
                    <a:pt x="286" y="520"/>
                  </a:lnTo>
                  <a:lnTo>
                    <a:pt x="287" y="523"/>
                  </a:lnTo>
                  <a:lnTo>
                    <a:pt x="289" y="523"/>
                  </a:lnTo>
                  <a:lnTo>
                    <a:pt x="292" y="523"/>
                  </a:lnTo>
                  <a:lnTo>
                    <a:pt x="293" y="522"/>
                  </a:lnTo>
                  <a:lnTo>
                    <a:pt x="298" y="520"/>
                  </a:lnTo>
                  <a:lnTo>
                    <a:pt x="298" y="522"/>
                  </a:lnTo>
                  <a:lnTo>
                    <a:pt x="299" y="519"/>
                  </a:lnTo>
                  <a:lnTo>
                    <a:pt x="300" y="518"/>
                  </a:lnTo>
                  <a:lnTo>
                    <a:pt x="300" y="517"/>
                  </a:lnTo>
                  <a:lnTo>
                    <a:pt x="301" y="520"/>
                  </a:lnTo>
                  <a:lnTo>
                    <a:pt x="304" y="520"/>
                  </a:lnTo>
                  <a:lnTo>
                    <a:pt x="305" y="522"/>
                  </a:lnTo>
                  <a:lnTo>
                    <a:pt x="303" y="522"/>
                  </a:lnTo>
                  <a:lnTo>
                    <a:pt x="301" y="523"/>
                  </a:lnTo>
                  <a:lnTo>
                    <a:pt x="299" y="523"/>
                  </a:lnTo>
                  <a:lnTo>
                    <a:pt x="298" y="523"/>
                  </a:lnTo>
                  <a:lnTo>
                    <a:pt x="298" y="524"/>
                  </a:lnTo>
                  <a:lnTo>
                    <a:pt x="300" y="525"/>
                  </a:lnTo>
                  <a:lnTo>
                    <a:pt x="299" y="528"/>
                  </a:lnTo>
                  <a:lnTo>
                    <a:pt x="298" y="528"/>
                  </a:lnTo>
                  <a:lnTo>
                    <a:pt x="298" y="530"/>
                  </a:lnTo>
                  <a:lnTo>
                    <a:pt x="297" y="533"/>
                  </a:lnTo>
                  <a:lnTo>
                    <a:pt x="295" y="531"/>
                  </a:lnTo>
                  <a:lnTo>
                    <a:pt x="295" y="529"/>
                  </a:lnTo>
                  <a:lnTo>
                    <a:pt x="293" y="530"/>
                  </a:lnTo>
                  <a:lnTo>
                    <a:pt x="292" y="531"/>
                  </a:lnTo>
                  <a:lnTo>
                    <a:pt x="292" y="534"/>
                  </a:lnTo>
                  <a:lnTo>
                    <a:pt x="291" y="535"/>
                  </a:lnTo>
                  <a:lnTo>
                    <a:pt x="291" y="536"/>
                  </a:lnTo>
                  <a:lnTo>
                    <a:pt x="293" y="536"/>
                  </a:lnTo>
                  <a:lnTo>
                    <a:pt x="294" y="536"/>
                  </a:lnTo>
                  <a:lnTo>
                    <a:pt x="295" y="539"/>
                  </a:lnTo>
                  <a:lnTo>
                    <a:pt x="298" y="539"/>
                  </a:lnTo>
                  <a:lnTo>
                    <a:pt x="297" y="540"/>
                  </a:lnTo>
                  <a:lnTo>
                    <a:pt x="295" y="540"/>
                  </a:lnTo>
                  <a:lnTo>
                    <a:pt x="294" y="540"/>
                  </a:lnTo>
                  <a:lnTo>
                    <a:pt x="293" y="540"/>
                  </a:lnTo>
                  <a:lnTo>
                    <a:pt x="292" y="540"/>
                  </a:lnTo>
                  <a:lnTo>
                    <a:pt x="291" y="540"/>
                  </a:lnTo>
                  <a:lnTo>
                    <a:pt x="289" y="541"/>
                  </a:lnTo>
                  <a:lnTo>
                    <a:pt x="288" y="542"/>
                  </a:lnTo>
                  <a:lnTo>
                    <a:pt x="288" y="543"/>
                  </a:lnTo>
                  <a:lnTo>
                    <a:pt x="287" y="545"/>
                  </a:lnTo>
                  <a:lnTo>
                    <a:pt x="286" y="545"/>
                  </a:lnTo>
                  <a:lnTo>
                    <a:pt x="285" y="543"/>
                  </a:lnTo>
                  <a:lnTo>
                    <a:pt x="282" y="543"/>
                  </a:lnTo>
                  <a:lnTo>
                    <a:pt x="282" y="545"/>
                  </a:lnTo>
                  <a:lnTo>
                    <a:pt x="282" y="547"/>
                  </a:lnTo>
                  <a:lnTo>
                    <a:pt x="283" y="548"/>
                  </a:lnTo>
                  <a:lnTo>
                    <a:pt x="285" y="548"/>
                  </a:lnTo>
                  <a:lnTo>
                    <a:pt x="287" y="548"/>
                  </a:lnTo>
                  <a:lnTo>
                    <a:pt x="286" y="549"/>
                  </a:lnTo>
                  <a:lnTo>
                    <a:pt x="286" y="552"/>
                  </a:lnTo>
                  <a:lnTo>
                    <a:pt x="287" y="554"/>
                  </a:lnTo>
                  <a:lnTo>
                    <a:pt x="288" y="554"/>
                  </a:lnTo>
                  <a:lnTo>
                    <a:pt x="289" y="553"/>
                  </a:lnTo>
                  <a:lnTo>
                    <a:pt x="289" y="551"/>
                  </a:lnTo>
                  <a:lnTo>
                    <a:pt x="291" y="549"/>
                  </a:lnTo>
                  <a:lnTo>
                    <a:pt x="292" y="548"/>
                  </a:lnTo>
                  <a:lnTo>
                    <a:pt x="294" y="548"/>
                  </a:lnTo>
                  <a:lnTo>
                    <a:pt x="295" y="546"/>
                  </a:lnTo>
                  <a:lnTo>
                    <a:pt x="297" y="545"/>
                  </a:lnTo>
                  <a:lnTo>
                    <a:pt x="299" y="545"/>
                  </a:lnTo>
                  <a:lnTo>
                    <a:pt x="300" y="545"/>
                  </a:lnTo>
                  <a:lnTo>
                    <a:pt x="300" y="542"/>
                  </a:lnTo>
                  <a:lnTo>
                    <a:pt x="300" y="541"/>
                  </a:lnTo>
                  <a:lnTo>
                    <a:pt x="300" y="540"/>
                  </a:lnTo>
                  <a:lnTo>
                    <a:pt x="303" y="537"/>
                  </a:lnTo>
                  <a:lnTo>
                    <a:pt x="304" y="534"/>
                  </a:lnTo>
                  <a:lnTo>
                    <a:pt x="305" y="533"/>
                  </a:lnTo>
                  <a:lnTo>
                    <a:pt x="304" y="530"/>
                  </a:lnTo>
                  <a:lnTo>
                    <a:pt x="304" y="529"/>
                  </a:lnTo>
                  <a:lnTo>
                    <a:pt x="304" y="526"/>
                  </a:lnTo>
                  <a:lnTo>
                    <a:pt x="305" y="525"/>
                  </a:lnTo>
                  <a:lnTo>
                    <a:pt x="307" y="525"/>
                  </a:lnTo>
                  <a:lnTo>
                    <a:pt x="310" y="525"/>
                  </a:lnTo>
                  <a:lnTo>
                    <a:pt x="311" y="525"/>
                  </a:lnTo>
                  <a:lnTo>
                    <a:pt x="312" y="528"/>
                  </a:lnTo>
                  <a:lnTo>
                    <a:pt x="310" y="529"/>
                  </a:lnTo>
                  <a:lnTo>
                    <a:pt x="309" y="528"/>
                  </a:lnTo>
                  <a:lnTo>
                    <a:pt x="306" y="528"/>
                  </a:lnTo>
                  <a:lnTo>
                    <a:pt x="305" y="529"/>
                  </a:lnTo>
                  <a:lnTo>
                    <a:pt x="306" y="530"/>
                  </a:lnTo>
                  <a:lnTo>
                    <a:pt x="305" y="533"/>
                  </a:lnTo>
                  <a:lnTo>
                    <a:pt x="305" y="535"/>
                  </a:lnTo>
                  <a:lnTo>
                    <a:pt x="304" y="537"/>
                  </a:lnTo>
                  <a:lnTo>
                    <a:pt x="304" y="540"/>
                  </a:lnTo>
                  <a:lnTo>
                    <a:pt x="303" y="540"/>
                  </a:lnTo>
                  <a:lnTo>
                    <a:pt x="301" y="542"/>
                  </a:lnTo>
                  <a:lnTo>
                    <a:pt x="300" y="546"/>
                  </a:lnTo>
                  <a:lnTo>
                    <a:pt x="300" y="548"/>
                  </a:lnTo>
                  <a:lnTo>
                    <a:pt x="299" y="551"/>
                  </a:lnTo>
                  <a:lnTo>
                    <a:pt x="301" y="552"/>
                  </a:lnTo>
                  <a:lnTo>
                    <a:pt x="304" y="551"/>
                  </a:lnTo>
                  <a:lnTo>
                    <a:pt x="305" y="551"/>
                  </a:lnTo>
                  <a:lnTo>
                    <a:pt x="306" y="549"/>
                  </a:lnTo>
                  <a:lnTo>
                    <a:pt x="307" y="548"/>
                  </a:lnTo>
                  <a:lnTo>
                    <a:pt x="310" y="548"/>
                  </a:lnTo>
                  <a:lnTo>
                    <a:pt x="310" y="549"/>
                  </a:lnTo>
                  <a:lnTo>
                    <a:pt x="309" y="551"/>
                  </a:lnTo>
                  <a:lnTo>
                    <a:pt x="310" y="551"/>
                  </a:lnTo>
                  <a:lnTo>
                    <a:pt x="311" y="549"/>
                  </a:lnTo>
                  <a:lnTo>
                    <a:pt x="312" y="549"/>
                  </a:lnTo>
                  <a:lnTo>
                    <a:pt x="314" y="547"/>
                  </a:lnTo>
                  <a:lnTo>
                    <a:pt x="315" y="547"/>
                  </a:lnTo>
                  <a:lnTo>
                    <a:pt x="315" y="546"/>
                  </a:lnTo>
                  <a:lnTo>
                    <a:pt x="316" y="543"/>
                  </a:lnTo>
                  <a:lnTo>
                    <a:pt x="317" y="542"/>
                  </a:lnTo>
                  <a:lnTo>
                    <a:pt x="320" y="543"/>
                  </a:lnTo>
                  <a:lnTo>
                    <a:pt x="321" y="541"/>
                  </a:lnTo>
                  <a:lnTo>
                    <a:pt x="321" y="540"/>
                  </a:lnTo>
                  <a:lnTo>
                    <a:pt x="321" y="537"/>
                  </a:lnTo>
                  <a:lnTo>
                    <a:pt x="322" y="536"/>
                  </a:lnTo>
                  <a:lnTo>
                    <a:pt x="323" y="537"/>
                  </a:lnTo>
                  <a:lnTo>
                    <a:pt x="322" y="540"/>
                  </a:lnTo>
                  <a:lnTo>
                    <a:pt x="322" y="541"/>
                  </a:lnTo>
                  <a:lnTo>
                    <a:pt x="321" y="546"/>
                  </a:lnTo>
                  <a:lnTo>
                    <a:pt x="323" y="546"/>
                  </a:lnTo>
                  <a:lnTo>
                    <a:pt x="326" y="546"/>
                  </a:lnTo>
                  <a:lnTo>
                    <a:pt x="328" y="546"/>
                  </a:lnTo>
                  <a:lnTo>
                    <a:pt x="328" y="543"/>
                  </a:lnTo>
                  <a:lnTo>
                    <a:pt x="326" y="541"/>
                  </a:lnTo>
                  <a:lnTo>
                    <a:pt x="326" y="540"/>
                  </a:lnTo>
                  <a:lnTo>
                    <a:pt x="328" y="540"/>
                  </a:lnTo>
                  <a:lnTo>
                    <a:pt x="329" y="542"/>
                  </a:lnTo>
                  <a:lnTo>
                    <a:pt x="329" y="545"/>
                  </a:lnTo>
                  <a:lnTo>
                    <a:pt x="330" y="543"/>
                  </a:lnTo>
                  <a:lnTo>
                    <a:pt x="330" y="541"/>
                  </a:lnTo>
                  <a:lnTo>
                    <a:pt x="332" y="540"/>
                  </a:lnTo>
                  <a:lnTo>
                    <a:pt x="335" y="540"/>
                  </a:lnTo>
                  <a:lnTo>
                    <a:pt x="338" y="537"/>
                  </a:lnTo>
                  <a:lnTo>
                    <a:pt x="339" y="535"/>
                  </a:lnTo>
                  <a:lnTo>
                    <a:pt x="339" y="534"/>
                  </a:lnTo>
                  <a:lnTo>
                    <a:pt x="338" y="533"/>
                  </a:lnTo>
                  <a:lnTo>
                    <a:pt x="336" y="533"/>
                  </a:lnTo>
                  <a:lnTo>
                    <a:pt x="334" y="534"/>
                  </a:lnTo>
                  <a:lnTo>
                    <a:pt x="333" y="533"/>
                  </a:lnTo>
                  <a:lnTo>
                    <a:pt x="333" y="531"/>
                  </a:lnTo>
                  <a:lnTo>
                    <a:pt x="333" y="533"/>
                  </a:lnTo>
                  <a:lnTo>
                    <a:pt x="332" y="535"/>
                  </a:lnTo>
                  <a:lnTo>
                    <a:pt x="330" y="535"/>
                  </a:lnTo>
                  <a:lnTo>
                    <a:pt x="327" y="534"/>
                  </a:lnTo>
                  <a:lnTo>
                    <a:pt x="328" y="531"/>
                  </a:lnTo>
                  <a:lnTo>
                    <a:pt x="329" y="529"/>
                  </a:lnTo>
                  <a:lnTo>
                    <a:pt x="330" y="530"/>
                  </a:lnTo>
                  <a:lnTo>
                    <a:pt x="332" y="530"/>
                  </a:lnTo>
                  <a:lnTo>
                    <a:pt x="334" y="530"/>
                  </a:lnTo>
                  <a:lnTo>
                    <a:pt x="334" y="528"/>
                  </a:lnTo>
                  <a:lnTo>
                    <a:pt x="334" y="525"/>
                  </a:lnTo>
                  <a:lnTo>
                    <a:pt x="334" y="522"/>
                  </a:lnTo>
                  <a:lnTo>
                    <a:pt x="333" y="522"/>
                  </a:lnTo>
                  <a:lnTo>
                    <a:pt x="330" y="522"/>
                  </a:lnTo>
                  <a:lnTo>
                    <a:pt x="330" y="524"/>
                  </a:lnTo>
                  <a:lnTo>
                    <a:pt x="329" y="525"/>
                  </a:lnTo>
                  <a:lnTo>
                    <a:pt x="328" y="525"/>
                  </a:lnTo>
                  <a:lnTo>
                    <a:pt x="327" y="526"/>
                  </a:lnTo>
                  <a:lnTo>
                    <a:pt x="327" y="529"/>
                  </a:lnTo>
                  <a:lnTo>
                    <a:pt x="324" y="529"/>
                  </a:lnTo>
                  <a:lnTo>
                    <a:pt x="324" y="528"/>
                  </a:lnTo>
                  <a:lnTo>
                    <a:pt x="327" y="525"/>
                  </a:lnTo>
                  <a:lnTo>
                    <a:pt x="327" y="524"/>
                  </a:lnTo>
                  <a:lnTo>
                    <a:pt x="329" y="522"/>
                  </a:lnTo>
                  <a:lnTo>
                    <a:pt x="332" y="520"/>
                  </a:lnTo>
                  <a:lnTo>
                    <a:pt x="333" y="520"/>
                  </a:lnTo>
                  <a:lnTo>
                    <a:pt x="335" y="518"/>
                  </a:lnTo>
                  <a:lnTo>
                    <a:pt x="336" y="517"/>
                  </a:lnTo>
                  <a:lnTo>
                    <a:pt x="338" y="517"/>
                  </a:lnTo>
                  <a:lnTo>
                    <a:pt x="339" y="518"/>
                  </a:lnTo>
                  <a:lnTo>
                    <a:pt x="339" y="522"/>
                  </a:lnTo>
                  <a:lnTo>
                    <a:pt x="336" y="523"/>
                  </a:lnTo>
                  <a:lnTo>
                    <a:pt x="336" y="525"/>
                  </a:lnTo>
                  <a:lnTo>
                    <a:pt x="335" y="528"/>
                  </a:lnTo>
                  <a:lnTo>
                    <a:pt x="335" y="529"/>
                  </a:lnTo>
                  <a:lnTo>
                    <a:pt x="338" y="526"/>
                  </a:lnTo>
                  <a:lnTo>
                    <a:pt x="339" y="524"/>
                  </a:lnTo>
                  <a:lnTo>
                    <a:pt x="341" y="520"/>
                  </a:lnTo>
                  <a:lnTo>
                    <a:pt x="341" y="518"/>
                  </a:lnTo>
                  <a:lnTo>
                    <a:pt x="342" y="517"/>
                  </a:lnTo>
                  <a:lnTo>
                    <a:pt x="345" y="517"/>
                  </a:lnTo>
                  <a:lnTo>
                    <a:pt x="346" y="516"/>
                  </a:lnTo>
                  <a:lnTo>
                    <a:pt x="347" y="514"/>
                  </a:lnTo>
                  <a:lnTo>
                    <a:pt x="350" y="513"/>
                  </a:lnTo>
                  <a:lnTo>
                    <a:pt x="351" y="513"/>
                  </a:lnTo>
                  <a:lnTo>
                    <a:pt x="353" y="511"/>
                  </a:lnTo>
                  <a:lnTo>
                    <a:pt x="353" y="510"/>
                  </a:lnTo>
                  <a:lnTo>
                    <a:pt x="354" y="510"/>
                  </a:lnTo>
                  <a:lnTo>
                    <a:pt x="356" y="514"/>
                  </a:lnTo>
                  <a:lnTo>
                    <a:pt x="356" y="516"/>
                  </a:lnTo>
                  <a:lnTo>
                    <a:pt x="356" y="517"/>
                  </a:lnTo>
                  <a:lnTo>
                    <a:pt x="354" y="518"/>
                  </a:lnTo>
                  <a:lnTo>
                    <a:pt x="352" y="519"/>
                  </a:lnTo>
                  <a:lnTo>
                    <a:pt x="351" y="517"/>
                  </a:lnTo>
                  <a:lnTo>
                    <a:pt x="351" y="516"/>
                  </a:lnTo>
                  <a:lnTo>
                    <a:pt x="348" y="516"/>
                  </a:lnTo>
                  <a:lnTo>
                    <a:pt x="348" y="517"/>
                  </a:lnTo>
                  <a:lnTo>
                    <a:pt x="348" y="519"/>
                  </a:lnTo>
                  <a:lnTo>
                    <a:pt x="351" y="520"/>
                  </a:lnTo>
                  <a:lnTo>
                    <a:pt x="352" y="522"/>
                  </a:lnTo>
                  <a:lnTo>
                    <a:pt x="354" y="523"/>
                  </a:lnTo>
                  <a:lnTo>
                    <a:pt x="354" y="522"/>
                  </a:lnTo>
                  <a:lnTo>
                    <a:pt x="354" y="523"/>
                  </a:lnTo>
                  <a:lnTo>
                    <a:pt x="353" y="525"/>
                  </a:lnTo>
                  <a:lnTo>
                    <a:pt x="350" y="528"/>
                  </a:lnTo>
                  <a:lnTo>
                    <a:pt x="348" y="529"/>
                  </a:lnTo>
                  <a:lnTo>
                    <a:pt x="347" y="531"/>
                  </a:lnTo>
                  <a:lnTo>
                    <a:pt x="346" y="534"/>
                  </a:lnTo>
                  <a:lnTo>
                    <a:pt x="345" y="536"/>
                  </a:lnTo>
                  <a:lnTo>
                    <a:pt x="344" y="537"/>
                  </a:lnTo>
                  <a:lnTo>
                    <a:pt x="342" y="541"/>
                  </a:lnTo>
                  <a:lnTo>
                    <a:pt x="340" y="545"/>
                  </a:lnTo>
                  <a:lnTo>
                    <a:pt x="339" y="545"/>
                  </a:lnTo>
                  <a:lnTo>
                    <a:pt x="336" y="546"/>
                  </a:lnTo>
                  <a:lnTo>
                    <a:pt x="335" y="546"/>
                  </a:lnTo>
                  <a:lnTo>
                    <a:pt x="334" y="545"/>
                  </a:lnTo>
                  <a:lnTo>
                    <a:pt x="333" y="545"/>
                  </a:lnTo>
                  <a:lnTo>
                    <a:pt x="333" y="546"/>
                  </a:lnTo>
                  <a:lnTo>
                    <a:pt x="330" y="547"/>
                  </a:lnTo>
                  <a:lnTo>
                    <a:pt x="330" y="549"/>
                  </a:lnTo>
                  <a:lnTo>
                    <a:pt x="333" y="551"/>
                  </a:lnTo>
                  <a:lnTo>
                    <a:pt x="334" y="551"/>
                  </a:lnTo>
                  <a:lnTo>
                    <a:pt x="334" y="548"/>
                  </a:lnTo>
                  <a:lnTo>
                    <a:pt x="335" y="547"/>
                  </a:lnTo>
                  <a:lnTo>
                    <a:pt x="339" y="547"/>
                  </a:lnTo>
                  <a:lnTo>
                    <a:pt x="341" y="546"/>
                  </a:lnTo>
                  <a:lnTo>
                    <a:pt x="345" y="543"/>
                  </a:lnTo>
                  <a:lnTo>
                    <a:pt x="345" y="541"/>
                  </a:lnTo>
                  <a:lnTo>
                    <a:pt x="345" y="545"/>
                  </a:lnTo>
                  <a:lnTo>
                    <a:pt x="344" y="547"/>
                  </a:lnTo>
                  <a:lnTo>
                    <a:pt x="342" y="549"/>
                  </a:lnTo>
                  <a:lnTo>
                    <a:pt x="340" y="553"/>
                  </a:lnTo>
                  <a:lnTo>
                    <a:pt x="339" y="557"/>
                  </a:lnTo>
                  <a:lnTo>
                    <a:pt x="336" y="558"/>
                  </a:lnTo>
                  <a:lnTo>
                    <a:pt x="338" y="560"/>
                  </a:lnTo>
                  <a:lnTo>
                    <a:pt x="340" y="557"/>
                  </a:lnTo>
                  <a:lnTo>
                    <a:pt x="341" y="554"/>
                  </a:lnTo>
                  <a:lnTo>
                    <a:pt x="344" y="552"/>
                  </a:lnTo>
                  <a:lnTo>
                    <a:pt x="345" y="549"/>
                  </a:lnTo>
                  <a:lnTo>
                    <a:pt x="346" y="547"/>
                  </a:lnTo>
                  <a:lnTo>
                    <a:pt x="347" y="545"/>
                  </a:lnTo>
                  <a:lnTo>
                    <a:pt x="347" y="551"/>
                  </a:lnTo>
                  <a:lnTo>
                    <a:pt x="348" y="552"/>
                  </a:lnTo>
                  <a:lnTo>
                    <a:pt x="350" y="553"/>
                  </a:lnTo>
                  <a:lnTo>
                    <a:pt x="351" y="553"/>
                  </a:lnTo>
                  <a:lnTo>
                    <a:pt x="350" y="551"/>
                  </a:lnTo>
                  <a:lnTo>
                    <a:pt x="350" y="549"/>
                  </a:lnTo>
                  <a:lnTo>
                    <a:pt x="350" y="548"/>
                  </a:lnTo>
                  <a:lnTo>
                    <a:pt x="348" y="546"/>
                  </a:lnTo>
                  <a:lnTo>
                    <a:pt x="348" y="543"/>
                  </a:lnTo>
                  <a:lnTo>
                    <a:pt x="348" y="541"/>
                  </a:lnTo>
                  <a:lnTo>
                    <a:pt x="347" y="539"/>
                  </a:lnTo>
                  <a:lnTo>
                    <a:pt x="347" y="537"/>
                  </a:lnTo>
                  <a:lnTo>
                    <a:pt x="351" y="539"/>
                  </a:lnTo>
                  <a:lnTo>
                    <a:pt x="352" y="542"/>
                  </a:lnTo>
                  <a:lnTo>
                    <a:pt x="354" y="545"/>
                  </a:lnTo>
                  <a:lnTo>
                    <a:pt x="354" y="542"/>
                  </a:lnTo>
                  <a:lnTo>
                    <a:pt x="353" y="541"/>
                  </a:lnTo>
                  <a:lnTo>
                    <a:pt x="352" y="539"/>
                  </a:lnTo>
                  <a:lnTo>
                    <a:pt x="351" y="537"/>
                  </a:lnTo>
                  <a:lnTo>
                    <a:pt x="348" y="536"/>
                  </a:lnTo>
                  <a:lnTo>
                    <a:pt x="348" y="534"/>
                  </a:lnTo>
                  <a:lnTo>
                    <a:pt x="350" y="531"/>
                  </a:lnTo>
                  <a:lnTo>
                    <a:pt x="351" y="529"/>
                  </a:lnTo>
                  <a:lnTo>
                    <a:pt x="352" y="528"/>
                  </a:lnTo>
                  <a:lnTo>
                    <a:pt x="353" y="526"/>
                  </a:lnTo>
                  <a:lnTo>
                    <a:pt x="356" y="525"/>
                  </a:lnTo>
                  <a:lnTo>
                    <a:pt x="357" y="528"/>
                  </a:lnTo>
                  <a:lnTo>
                    <a:pt x="357" y="536"/>
                  </a:lnTo>
                  <a:lnTo>
                    <a:pt x="357" y="552"/>
                  </a:lnTo>
                  <a:lnTo>
                    <a:pt x="358" y="566"/>
                  </a:lnTo>
                  <a:lnTo>
                    <a:pt x="358" y="583"/>
                  </a:lnTo>
                  <a:lnTo>
                    <a:pt x="359" y="593"/>
                  </a:lnTo>
                  <a:lnTo>
                    <a:pt x="357" y="593"/>
                  </a:lnTo>
                  <a:lnTo>
                    <a:pt x="356" y="591"/>
                  </a:lnTo>
                  <a:lnTo>
                    <a:pt x="354" y="590"/>
                  </a:lnTo>
                  <a:lnTo>
                    <a:pt x="353" y="588"/>
                  </a:lnTo>
                  <a:lnTo>
                    <a:pt x="353" y="587"/>
                  </a:lnTo>
                  <a:lnTo>
                    <a:pt x="352" y="587"/>
                  </a:lnTo>
                  <a:lnTo>
                    <a:pt x="351" y="587"/>
                  </a:lnTo>
                  <a:lnTo>
                    <a:pt x="351" y="588"/>
                  </a:lnTo>
                  <a:lnTo>
                    <a:pt x="350" y="591"/>
                  </a:lnTo>
                  <a:lnTo>
                    <a:pt x="348" y="590"/>
                  </a:lnTo>
                  <a:lnTo>
                    <a:pt x="348" y="588"/>
                  </a:lnTo>
                  <a:lnTo>
                    <a:pt x="347" y="588"/>
                  </a:lnTo>
                  <a:lnTo>
                    <a:pt x="347" y="589"/>
                  </a:lnTo>
                  <a:lnTo>
                    <a:pt x="346" y="590"/>
                  </a:lnTo>
                  <a:lnTo>
                    <a:pt x="345" y="589"/>
                  </a:lnTo>
                  <a:lnTo>
                    <a:pt x="344" y="589"/>
                  </a:lnTo>
                  <a:lnTo>
                    <a:pt x="344" y="590"/>
                  </a:lnTo>
                  <a:lnTo>
                    <a:pt x="342" y="590"/>
                  </a:lnTo>
                  <a:lnTo>
                    <a:pt x="341" y="591"/>
                  </a:lnTo>
                  <a:lnTo>
                    <a:pt x="341" y="594"/>
                  </a:lnTo>
                  <a:lnTo>
                    <a:pt x="339" y="595"/>
                  </a:lnTo>
                  <a:lnTo>
                    <a:pt x="339" y="596"/>
                  </a:lnTo>
                  <a:lnTo>
                    <a:pt x="340" y="597"/>
                  </a:lnTo>
                  <a:lnTo>
                    <a:pt x="342" y="597"/>
                  </a:lnTo>
                  <a:lnTo>
                    <a:pt x="345" y="599"/>
                  </a:lnTo>
                  <a:lnTo>
                    <a:pt x="346" y="600"/>
                  </a:lnTo>
                  <a:lnTo>
                    <a:pt x="347" y="600"/>
                  </a:lnTo>
                  <a:lnTo>
                    <a:pt x="350" y="597"/>
                  </a:lnTo>
                  <a:lnTo>
                    <a:pt x="352" y="596"/>
                  </a:lnTo>
                  <a:lnTo>
                    <a:pt x="353" y="599"/>
                  </a:lnTo>
                  <a:lnTo>
                    <a:pt x="356" y="602"/>
                  </a:lnTo>
                  <a:lnTo>
                    <a:pt x="358" y="605"/>
                  </a:lnTo>
                  <a:lnTo>
                    <a:pt x="358" y="612"/>
                  </a:lnTo>
                  <a:lnTo>
                    <a:pt x="358" y="624"/>
                  </a:lnTo>
                  <a:lnTo>
                    <a:pt x="358" y="640"/>
                  </a:lnTo>
                  <a:lnTo>
                    <a:pt x="358" y="656"/>
                  </a:lnTo>
                  <a:lnTo>
                    <a:pt x="359" y="674"/>
                  </a:lnTo>
                  <a:lnTo>
                    <a:pt x="360" y="694"/>
                  </a:lnTo>
                  <a:lnTo>
                    <a:pt x="362" y="713"/>
                  </a:lnTo>
                  <a:lnTo>
                    <a:pt x="362" y="734"/>
                  </a:lnTo>
                  <a:lnTo>
                    <a:pt x="363" y="781"/>
                  </a:lnTo>
                  <a:lnTo>
                    <a:pt x="364" y="805"/>
                  </a:lnTo>
                  <a:lnTo>
                    <a:pt x="365" y="831"/>
                  </a:lnTo>
                  <a:lnTo>
                    <a:pt x="360" y="834"/>
                  </a:lnTo>
                  <a:lnTo>
                    <a:pt x="353" y="838"/>
                  </a:lnTo>
                  <a:lnTo>
                    <a:pt x="345" y="839"/>
                  </a:lnTo>
                  <a:lnTo>
                    <a:pt x="328" y="840"/>
                  </a:lnTo>
                  <a:lnTo>
                    <a:pt x="326" y="840"/>
                  </a:lnTo>
                  <a:lnTo>
                    <a:pt x="354" y="840"/>
                  </a:lnTo>
                  <a:lnTo>
                    <a:pt x="374" y="838"/>
                  </a:lnTo>
                  <a:lnTo>
                    <a:pt x="383" y="839"/>
                  </a:lnTo>
                  <a:lnTo>
                    <a:pt x="388" y="839"/>
                  </a:lnTo>
                  <a:lnTo>
                    <a:pt x="401" y="837"/>
                  </a:lnTo>
                  <a:lnTo>
                    <a:pt x="412" y="839"/>
                  </a:lnTo>
                  <a:lnTo>
                    <a:pt x="425" y="840"/>
                  </a:lnTo>
                  <a:lnTo>
                    <a:pt x="439" y="839"/>
                  </a:lnTo>
                  <a:lnTo>
                    <a:pt x="453" y="838"/>
                  </a:lnTo>
                  <a:lnTo>
                    <a:pt x="458" y="837"/>
                  </a:lnTo>
                  <a:lnTo>
                    <a:pt x="457" y="834"/>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2" name="Freeform 75"/>
            <p:cNvSpPr>
              <a:spLocks/>
            </p:cNvSpPr>
            <p:nvPr userDrawn="1"/>
          </p:nvSpPr>
          <p:spPr bwMode="auto">
            <a:xfrm>
              <a:off x="6286500" y="6189663"/>
              <a:ext cx="244475" cy="395288"/>
            </a:xfrm>
            <a:custGeom>
              <a:avLst/>
              <a:gdLst/>
              <a:ahLst/>
              <a:cxnLst>
                <a:cxn ang="0">
                  <a:pos x="365" y="103"/>
                </a:cxn>
                <a:cxn ang="0">
                  <a:pos x="307" y="192"/>
                </a:cxn>
                <a:cxn ang="0">
                  <a:pos x="259" y="239"/>
                </a:cxn>
                <a:cxn ang="0">
                  <a:pos x="283" y="292"/>
                </a:cxn>
                <a:cxn ang="0">
                  <a:pos x="239" y="317"/>
                </a:cxn>
                <a:cxn ang="0">
                  <a:pos x="204" y="418"/>
                </a:cxn>
                <a:cxn ang="0">
                  <a:pos x="211" y="442"/>
                </a:cxn>
                <a:cxn ang="0">
                  <a:pos x="147" y="505"/>
                </a:cxn>
                <a:cxn ang="0">
                  <a:pos x="174" y="535"/>
                </a:cxn>
                <a:cxn ang="0">
                  <a:pos x="126" y="561"/>
                </a:cxn>
                <a:cxn ang="0">
                  <a:pos x="156" y="571"/>
                </a:cxn>
                <a:cxn ang="0">
                  <a:pos x="194" y="583"/>
                </a:cxn>
                <a:cxn ang="0">
                  <a:pos x="117" y="610"/>
                </a:cxn>
                <a:cxn ang="0">
                  <a:pos x="88" y="635"/>
                </a:cxn>
                <a:cxn ang="0">
                  <a:pos x="88" y="670"/>
                </a:cxn>
                <a:cxn ang="0">
                  <a:pos x="77" y="697"/>
                </a:cxn>
                <a:cxn ang="0">
                  <a:pos x="111" y="730"/>
                </a:cxn>
                <a:cxn ang="0">
                  <a:pos x="146" y="754"/>
                </a:cxn>
                <a:cxn ang="0">
                  <a:pos x="183" y="760"/>
                </a:cxn>
                <a:cxn ang="0">
                  <a:pos x="216" y="753"/>
                </a:cxn>
                <a:cxn ang="0">
                  <a:pos x="159" y="804"/>
                </a:cxn>
                <a:cxn ang="0">
                  <a:pos x="100" y="826"/>
                </a:cxn>
                <a:cxn ang="0">
                  <a:pos x="99" y="869"/>
                </a:cxn>
                <a:cxn ang="0">
                  <a:pos x="45" y="902"/>
                </a:cxn>
                <a:cxn ang="0">
                  <a:pos x="82" y="920"/>
                </a:cxn>
                <a:cxn ang="0">
                  <a:pos x="15" y="931"/>
                </a:cxn>
                <a:cxn ang="0">
                  <a:pos x="49" y="983"/>
                </a:cxn>
                <a:cxn ang="0">
                  <a:pos x="81" y="1003"/>
                </a:cxn>
                <a:cxn ang="0">
                  <a:pos x="90" y="1066"/>
                </a:cxn>
                <a:cxn ang="0">
                  <a:pos x="163" y="1129"/>
                </a:cxn>
                <a:cxn ang="0">
                  <a:pos x="264" y="1119"/>
                </a:cxn>
                <a:cxn ang="0">
                  <a:pos x="357" y="1247"/>
                </a:cxn>
                <a:cxn ang="0">
                  <a:pos x="493" y="1140"/>
                </a:cxn>
                <a:cxn ang="0">
                  <a:pos x="586" y="1184"/>
                </a:cxn>
                <a:cxn ang="0">
                  <a:pos x="669" y="1155"/>
                </a:cxn>
                <a:cxn ang="0">
                  <a:pos x="753" y="1066"/>
                </a:cxn>
                <a:cxn ang="0">
                  <a:pos x="689" y="1009"/>
                </a:cxn>
                <a:cxn ang="0">
                  <a:pos x="673" y="963"/>
                </a:cxn>
                <a:cxn ang="0">
                  <a:pos x="654" y="949"/>
                </a:cxn>
                <a:cxn ang="0">
                  <a:pos x="673" y="908"/>
                </a:cxn>
                <a:cxn ang="0">
                  <a:pos x="699" y="857"/>
                </a:cxn>
                <a:cxn ang="0">
                  <a:pos x="700" y="805"/>
                </a:cxn>
                <a:cxn ang="0">
                  <a:pos x="553" y="761"/>
                </a:cxn>
                <a:cxn ang="0">
                  <a:pos x="618" y="761"/>
                </a:cxn>
                <a:cxn ang="0">
                  <a:pos x="666" y="724"/>
                </a:cxn>
                <a:cxn ang="0">
                  <a:pos x="694" y="686"/>
                </a:cxn>
                <a:cxn ang="0">
                  <a:pos x="671" y="638"/>
                </a:cxn>
                <a:cxn ang="0">
                  <a:pos x="652" y="581"/>
                </a:cxn>
                <a:cxn ang="0">
                  <a:pos x="569" y="510"/>
                </a:cxn>
                <a:cxn ang="0">
                  <a:pos x="620" y="494"/>
                </a:cxn>
                <a:cxn ang="0">
                  <a:pos x="547" y="423"/>
                </a:cxn>
                <a:cxn ang="0">
                  <a:pos x="589" y="424"/>
                </a:cxn>
                <a:cxn ang="0">
                  <a:pos x="427" y="353"/>
                </a:cxn>
                <a:cxn ang="0">
                  <a:pos x="506" y="311"/>
                </a:cxn>
                <a:cxn ang="0">
                  <a:pos x="523" y="254"/>
                </a:cxn>
                <a:cxn ang="0">
                  <a:pos x="472" y="224"/>
                </a:cxn>
                <a:cxn ang="0">
                  <a:pos x="498" y="192"/>
                </a:cxn>
                <a:cxn ang="0">
                  <a:pos x="446" y="145"/>
                </a:cxn>
                <a:cxn ang="0">
                  <a:pos x="451" y="126"/>
                </a:cxn>
                <a:cxn ang="0">
                  <a:pos x="441" y="107"/>
                </a:cxn>
                <a:cxn ang="0">
                  <a:pos x="425" y="101"/>
                </a:cxn>
                <a:cxn ang="0">
                  <a:pos x="425" y="38"/>
                </a:cxn>
                <a:cxn ang="0">
                  <a:pos x="399" y="28"/>
                </a:cxn>
              </a:cxnLst>
              <a:rect l="0" t="0" r="r" b="b"/>
              <a:pathLst>
                <a:path w="766" h="1247">
                  <a:moveTo>
                    <a:pt x="384" y="20"/>
                  </a:moveTo>
                  <a:lnTo>
                    <a:pt x="381" y="13"/>
                  </a:lnTo>
                  <a:lnTo>
                    <a:pt x="377" y="0"/>
                  </a:lnTo>
                  <a:lnTo>
                    <a:pt x="376" y="0"/>
                  </a:lnTo>
                  <a:lnTo>
                    <a:pt x="377" y="6"/>
                  </a:lnTo>
                  <a:lnTo>
                    <a:pt x="380" y="14"/>
                  </a:lnTo>
                  <a:lnTo>
                    <a:pt x="383" y="20"/>
                  </a:lnTo>
                  <a:lnTo>
                    <a:pt x="383" y="24"/>
                  </a:lnTo>
                  <a:lnTo>
                    <a:pt x="380" y="17"/>
                  </a:lnTo>
                  <a:lnTo>
                    <a:pt x="378" y="17"/>
                  </a:lnTo>
                  <a:lnTo>
                    <a:pt x="382" y="24"/>
                  </a:lnTo>
                  <a:lnTo>
                    <a:pt x="381" y="25"/>
                  </a:lnTo>
                  <a:lnTo>
                    <a:pt x="371" y="19"/>
                  </a:lnTo>
                  <a:lnTo>
                    <a:pt x="370" y="20"/>
                  </a:lnTo>
                  <a:lnTo>
                    <a:pt x="383" y="29"/>
                  </a:lnTo>
                  <a:lnTo>
                    <a:pt x="383" y="31"/>
                  </a:lnTo>
                  <a:lnTo>
                    <a:pt x="382" y="31"/>
                  </a:lnTo>
                  <a:lnTo>
                    <a:pt x="378" y="28"/>
                  </a:lnTo>
                  <a:lnTo>
                    <a:pt x="377" y="29"/>
                  </a:lnTo>
                  <a:lnTo>
                    <a:pt x="381" y="34"/>
                  </a:lnTo>
                  <a:lnTo>
                    <a:pt x="381" y="35"/>
                  </a:lnTo>
                  <a:lnTo>
                    <a:pt x="374" y="35"/>
                  </a:lnTo>
                  <a:lnTo>
                    <a:pt x="381" y="36"/>
                  </a:lnTo>
                  <a:lnTo>
                    <a:pt x="382" y="37"/>
                  </a:lnTo>
                  <a:lnTo>
                    <a:pt x="382" y="41"/>
                  </a:lnTo>
                  <a:lnTo>
                    <a:pt x="376" y="41"/>
                  </a:lnTo>
                  <a:lnTo>
                    <a:pt x="376" y="42"/>
                  </a:lnTo>
                  <a:lnTo>
                    <a:pt x="382" y="43"/>
                  </a:lnTo>
                  <a:lnTo>
                    <a:pt x="378" y="44"/>
                  </a:lnTo>
                  <a:lnTo>
                    <a:pt x="382" y="44"/>
                  </a:lnTo>
                  <a:lnTo>
                    <a:pt x="382" y="47"/>
                  </a:lnTo>
                  <a:lnTo>
                    <a:pt x="380" y="47"/>
                  </a:lnTo>
                  <a:lnTo>
                    <a:pt x="380" y="44"/>
                  </a:lnTo>
                  <a:lnTo>
                    <a:pt x="378" y="47"/>
                  </a:lnTo>
                  <a:lnTo>
                    <a:pt x="377" y="46"/>
                  </a:lnTo>
                  <a:lnTo>
                    <a:pt x="374" y="40"/>
                  </a:lnTo>
                  <a:lnTo>
                    <a:pt x="376" y="47"/>
                  </a:lnTo>
                  <a:lnTo>
                    <a:pt x="374" y="47"/>
                  </a:lnTo>
                  <a:lnTo>
                    <a:pt x="371" y="46"/>
                  </a:lnTo>
                  <a:lnTo>
                    <a:pt x="370" y="46"/>
                  </a:lnTo>
                  <a:lnTo>
                    <a:pt x="372" y="47"/>
                  </a:lnTo>
                  <a:lnTo>
                    <a:pt x="375" y="48"/>
                  </a:lnTo>
                  <a:lnTo>
                    <a:pt x="375" y="49"/>
                  </a:lnTo>
                  <a:lnTo>
                    <a:pt x="371" y="48"/>
                  </a:lnTo>
                  <a:lnTo>
                    <a:pt x="371" y="49"/>
                  </a:lnTo>
                  <a:lnTo>
                    <a:pt x="376" y="50"/>
                  </a:lnTo>
                  <a:lnTo>
                    <a:pt x="376" y="52"/>
                  </a:lnTo>
                  <a:lnTo>
                    <a:pt x="375" y="54"/>
                  </a:lnTo>
                  <a:lnTo>
                    <a:pt x="374" y="54"/>
                  </a:lnTo>
                  <a:lnTo>
                    <a:pt x="371" y="52"/>
                  </a:lnTo>
                  <a:lnTo>
                    <a:pt x="364" y="47"/>
                  </a:lnTo>
                  <a:lnTo>
                    <a:pt x="366" y="50"/>
                  </a:lnTo>
                  <a:lnTo>
                    <a:pt x="363" y="50"/>
                  </a:lnTo>
                  <a:lnTo>
                    <a:pt x="359" y="50"/>
                  </a:lnTo>
                  <a:lnTo>
                    <a:pt x="362" y="52"/>
                  </a:lnTo>
                  <a:lnTo>
                    <a:pt x="369" y="53"/>
                  </a:lnTo>
                  <a:lnTo>
                    <a:pt x="369" y="54"/>
                  </a:lnTo>
                  <a:lnTo>
                    <a:pt x="363" y="59"/>
                  </a:lnTo>
                  <a:lnTo>
                    <a:pt x="370" y="54"/>
                  </a:lnTo>
                  <a:lnTo>
                    <a:pt x="371" y="55"/>
                  </a:lnTo>
                  <a:lnTo>
                    <a:pt x="369" y="57"/>
                  </a:lnTo>
                  <a:lnTo>
                    <a:pt x="372" y="55"/>
                  </a:lnTo>
                  <a:lnTo>
                    <a:pt x="374" y="57"/>
                  </a:lnTo>
                  <a:lnTo>
                    <a:pt x="375" y="58"/>
                  </a:lnTo>
                  <a:lnTo>
                    <a:pt x="374" y="60"/>
                  </a:lnTo>
                  <a:lnTo>
                    <a:pt x="377" y="57"/>
                  </a:lnTo>
                  <a:lnTo>
                    <a:pt x="384" y="61"/>
                  </a:lnTo>
                  <a:lnTo>
                    <a:pt x="384" y="66"/>
                  </a:lnTo>
                  <a:lnTo>
                    <a:pt x="382" y="67"/>
                  </a:lnTo>
                  <a:lnTo>
                    <a:pt x="380" y="66"/>
                  </a:lnTo>
                  <a:lnTo>
                    <a:pt x="377" y="64"/>
                  </a:lnTo>
                  <a:lnTo>
                    <a:pt x="377" y="66"/>
                  </a:lnTo>
                  <a:lnTo>
                    <a:pt x="374" y="66"/>
                  </a:lnTo>
                  <a:lnTo>
                    <a:pt x="372" y="65"/>
                  </a:lnTo>
                  <a:lnTo>
                    <a:pt x="370" y="63"/>
                  </a:lnTo>
                  <a:lnTo>
                    <a:pt x="372" y="67"/>
                  </a:lnTo>
                  <a:lnTo>
                    <a:pt x="366" y="67"/>
                  </a:lnTo>
                  <a:lnTo>
                    <a:pt x="368" y="69"/>
                  </a:lnTo>
                  <a:lnTo>
                    <a:pt x="372" y="69"/>
                  </a:lnTo>
                  <a:lnTo>
                    <a:pt x="372" y="70"/>
                  </a:lnTo>
                  <a:lnTo>
                    <a:pt x="370" y="73"/>
                  </a:lnTo>
                  <a:lnTo>
                    <a:pt x="375" y="70"/>
                  </a:lnTo>
                  <a:lnTo>
                    <a:pt x="377" y="70"/>
                  </a:lnTo>
                  <a:lnTo>
                    <a:pt x="378" y="69"/>
                  </a:lnTo>
                  <a:lnTo>
                    <a:pt x="381" y="69"/>
                  </a:lnTo>
                  <a:lnTo>
                    <a:pt x="380" y="71"/>
                  </a:lnTo>
                  <a:lnTo>
                    <a:pt x="375" y="71"/>
                  </a:lnTo>
                  <a:lnTo>
                    <a:pt x="376" y="71"/>
                  </a:lnTo>
                  <a:lnTo>
                    <a:pt x="378" y="72"/>
                  </a:lnTo>
                  <a:lnTo>
                    <a:pt x="377" y="73"/>
                  </a:lnTo>
                  <a:lnTo>
                    <a:pt x="372" y="76"/>
                  </a:lnTo>
                  <a:lnTo>
                    <a:pt x="374" y="76"/>
                  </a:lnTo>
                  <a:lnTo>
                    <a:pt x="378" y="77"/>
                  </a:lnTo>
                  <a:lnTo>
                    <a:pt x="377" y="78"/>
                  </a:lnTo>
                  <a:lnTo>
                    <a:pt x="372" y="83"/>
                  </a:lnTo>
                  <a:lnTo>
                    <a:pt x="372" y="84"/>
                  </a:lnTo>
                  <a:lnTo>
                    <a:pt x="375" y="85"/>
                  </a:lnTo>
                  <a:lnTo>
                    <a:pt x="376" y="87"/>
                  </a:lnTo>
                  <a:lnTo>
                    <a:pt x="375" y="87"/>
                  </a:lnTo>
                  <a:lnTo>
                    <a:pt x="375" y="88"/>
                  </a:lnTo>
                  <a:lnTo>
                    <a:pt x="376" y="89"/>
                  </a:lnTo>
                  <a:lnTo>
                    <a:pt x="377" y="89"/>
                  </a:lnTo>
                  <a:lnTo>
                    <a:pt x="377" y="90"/>
                  </a:lnTo>
                  <a:lnTo>
                    <a:pt x="374" y="90"/>
                  </a:lnTo>
                  <a:lnTo>
                    <a:pt x="371" y="89"/>
                  </a:lnTo>
                  <a:lnTo>
                    <a:pt x="372" y="91"/>
                  </a:lnTo>
                  <a:lnTo>
                    <a:pt x="370" y="96"/>
                  </a:lnTo>
                  <a:lnTo>
                    <a:pt x="371" y="96"/>
                  </a:lnTo>
                  <a:lnTo>
                    <a:pt x="374" y="91"/>
                  </a:lnTo>
                  <a:lnTo>
                    <a:pt x="377" y="93"/>
                  </a:lnTo>
                  <a:lnTo>
                    <a:pt x="375" y="95"/>
                  </a:lnTo>
                  <a:lnTo>
                    <a:pt x="371" y="99"/>
                  </a:lnTo>
                  <a:lnTo>
                    <a:pt x="365" y="103"/>
                  </a:lnTo>
                  <a:lnTo>
                    <a:pt x="356" y="108"/>
                  </a:lnTo>
                  <a:lnTo>
                    <a:pt x="352" y="108"/>
                  </a:lnTo>
                  <a:lnTo>
                    <a:pt x="354" y="109"/>
                  </a:lnTo>
                  <a:lnTo>
                    <a:pt x="353" y="111"/>
                  </a:lnTo>
                  <a:lnTo>
                    <a:pt x="348" y="108"/>
                  </a:lnTo>
                  <a:lnTo>
                    <a:pt x="352" y="111"/>
                  </a:lnTo>
                  <a:lnTo>
                    <a:pt x="346" y="113"/>
                  </a:lnTo>
                  <a:lnTo>
                    <a:pt x="346" y="114"/>
                  </a:lnTo>
                  <a:lnTo>
                    <a:pt x="353" y="113"/>
                  </a:lnTo>
                  <a:lnTo>
                    <a:pt x="352" y="115"/>
                  </a:lnTo>
                  <a:lnTo>
                    <a:pt x="353" y="119"/>
                  </a:lnTo>
                  <a:lnTo>
                    <a:pt x="354" y="119"/>
                  </a:lnTo>
                  <a:lnTo>
                    <a:pt x="354" y="115"/>
                  </a:lnTo>
                  <a:lnTo>
                    <a:pt x="356" y="114"/>
                  </a:lnTo>
                  <a:lnTo>
                    <a:pt x="356" y="112"/>
                  </a:lnTo>
                  <a:lnTo>
                    <a:pt x="357" y="112"/>
                  </a:lnTo>
                  <a:lnTo>
                    <a:pt x="358" y="115"/>
                  </a:lnTo>
                  <a:lnTo>
                    <a:pt x="358" y="111"/>
                  </a:lnTo>
                  <a:lnTo>
                    <a:pt x="363" y="108"/>
                  </a:lnTo>
                  <a:lnTo>
                    <a:pt x="363" y="111"/>
                  </a:lnTo>
                  <a:lnTo>
                    <a:pt x="360" y="114"/>
                  </a:lnTo>
                  <a:lnTo>
                    <a:pt x="360" y="115"/>
                  </a:lnTo>
                  <a:lnTo>
                    <a:pt x="362" y="118"/>
                  </a:lnTo>
                  <a:lnTo>
                    <a:pt x="363" y="120"/>
                  </a:lnTo>
                  <a:lnTo>
                    <a:pt x="364" y="121"/>
                  </a:lnTo>
                  <a:lnTo>
                    <a:pt x="360" y="124"/>
                  </a:lnTo>
                  <a:lnTo>
                    <a:pt x="358" y="123"/>
                  </a:lnTo>
                  <a:lnTo>
                    <a:pt x="357" y="123"/>
                  </a:lnTo>
                  <a:lnTo>
                    <a:pt x="358" y="124"/>
                  </a:lnTo>
                  <a:lnTo>
                    <a:pt x="356" y="124"/>
                  </a:lnTo>
                  <a:lnTo>
                    <a:pt x="353" y="125"/>
                  </a:lnTo>
                  <a:lnTo>
                    <a:pt x="357" y="126"/>
                  </a:lnTo>
                  <a:lnTo>
                    <a:pt x="358" y="125"/>
                  </a:lnTo>
                  <a:lnTo>
                    <a:pt x="359" y="126"/>
                  </a:lnTo>
                  <a:lnTo>
                    <a:pt x="357" y="127"/>
                  </a:lnTo>
                  <a:lnTo>
                    <a:pt x="353" y="130"/>
                  </a:lnTo>
                  <a:lnTo>
                    <a:pt x="352" y="132"/>
                  </a:lnTo>
                  <a:lnTo>
                    <a:pt x="353" y="132"/>
                  </a:lnTo>
                  <a:lnTo>
                    <a:pt x="354" y="132"/>
                  </a:lnTo>
                  <a:lnTo>
                    <a:pt x="356" y="132"/>
                  </a:lnTo>
                  <a:lnTo>
                    <a:pt x="356" y="133"/>
                  </a:lnTo>
                  <a:lnTo>
                    <a:pt x="356" y="135"/>
                  </a:lnTo>
                  <a:lnTo>
                    <a:pt x="353" y="135"/>
                  </a:lnTo>
                  <a:lnTo>
                    <a:pt x="352" y="133"/>
                  </a:lnTo>
                  <a:lnTo>
                    <a:pt x="347" y="133"/>
                  </a:lnTo>
                  <a:lnTo>
                    <a:pt x="346" y="135"/>
                  </a:lnTo>
                  <a:lnTo>
                    <a:pt x="345" y="137"/>
                  </a:lnTo>
                  <a:lnTo>
                    <a:pt x="344" y="139"/>
                  </a:lnTo>
                  <a:lnTo>
                    <a:pt x="339" y="139"/>
                  </a:lnTo>
                  <a:lnTo>
                    <a:pt x="333" y="142"/>
                  </a:lnTo>
                  <a:lnTo>
                    <a:pt x="329" y="144"/>
                  </a:lnTo>
                  <a:lnTo>
                    <a:pt x="329" y="147"/>
                  </a:lnTo>
                  <a:lnTo>
                    <a:pt x="325" y="147"/>
                  </a:lnTo>
                  <a:lnTo>
                    <a:pt x="327" y="145"/>
                  </a:lnTo>
                  <a:lnTo>
                    <a:pt x="324" y="145"/>
                  </a:lnTo>
                  <a:lnTo>
                    <a:pt x="321" y="147"/>
                  </a:lnTo>
                  <a:lnTo>
                    <a:pt x="319" y="149"/>
                  </a:lnTo>
                  <a:lnTo>
                    <a:pt x="311" y="155"/>
                  </a:lnTo>
                  <a:lnTo>
                    <a:pt x="307" y="156"/>
                  </a:lnTo>
                  <a:lnTo>
                    <a:pt x="305" y="156"/>
                  </a:lnTo>
                  <a:lnTo>
                    <a:pt x="306" y="157"/>
                  </a:lnTo>
                  <a:lnTo>
                    <a:pt x="305" y="159"/>
                  </a:lnTo>
                  <a:lnTo>
                    <a:pt x="303" y="160"/>
                  </a:lnTo>
                  <a:lnTo>
                    <a:pt x="301" y="160"/>
                  </a:lnTo>
                  <a:lnTo>
                    <a:pt x="300" y="162"/>
                  </a:lnTo>
                  <a:lnTo>
                    <a:pt x="298" y="164"/>
                  </a:lnTo>
                  <a:lnTo>
                    <a:pt x="299" y="164"/>
                  </a:lnTo>
                  <a:lnTo>
                    <a:pt x="298" y="165"/>
                  </a:lnTo>
                  <a:lnTo>
                    <a:pt x="295" y="165"/>
                  </a:lnTo>
                  <a:lnTo>
                    <a:pt x="295" y="166"/>
                  </a:lnTo>
                  <a:lnTo>
                    <a:pt x="297" y="166"/>
                  </a:lnTo>
                  <a:lnTo>
                    <a:pt x="293" y="170"/>
                  </a:lnTo>
                  <a:lnTo>
                    <a:pt x="298" y="167"/>
                  </a:lnTo>
                  <a:lnTo>
                    <a:pt x="299" y="171"/>
                  </a:lnTo>
                  <a:lnTo>
                    <a:pt x="299" y="166"/>
                  </a:lnTo>
                  <a:lnTo>
                    <a:pt x="300" y="166"/>
                  </a:lnTo>
                  <a:lnTo>
                    <a:pt x="301" y="167"/>
                  </a:lnTo>
                  <a:lnTo>
                    <a:pt x="301" y="166"/>
                  </a:lnTo>
                  <a:lnTo>
                    <a:pt x="303" y="164"/>
                  </a:lnTo>
                  <a:lnTo>
                    <a:pt x="307" y="159"/>
                  </a:lnTo>
                  <a:lnTo>
                    <a:pt x="307" y="165"/>
                  </a:lnTo>
                  <a:lnTo>
                    <a:pt x="309" y="166"/>
                  </a:lnTo>
                  <a:lnTo>
                    <a:pt x="309" y="168"/>
                  </a:lnTo>
                  <a:lnTo>
                    <a:pt x="310" y="170"/>
                  </a:lnTo>
                  <a:lnTo>
                    <a:pt x="311" y="166"/>
                  </a:lnTo>
                  <a:lnTo>
                    <a:pt x="310" y="159"/>
                  </a:lnTo>
                  <a:lnTo>
                    <a:pt x="310" y="157"/>
                  </a:lnTo>
                  <a:lnTo>
                    <a:pt x="311" y="161"/>
                  </a:lnTo>
                  <a:lnTo>
                    <a:pt x="311" y="168"/>
                  </a:lnTo>
                  <a:lnTo>
                    <a:pt x="312" y="168"/>
                  </a:lnTo>
                  <a:lnTo>
                    <a:pt x="312" y="170"/>
                  </a:lnTo>
                  <a:lnTo>
                    <a:pt x="313" y="171"/>
                  </a:lnTo>
                  <a:lnTo>
                    <a:pt x="315" y="171"/>
                  </a:lnTo>
                  <a:lnTo>
                    <a:pt x="313" y="172"/>
                  </a:lnTo>
                  <a:lnTo>
                    <a:pt x="310" y="173"/>
                  </a:lnTo>
                  <a:lnTo>
                    <a:pt x="311" y="174"/>
                  </a:lnTo>
                  <a:lnTo>
                    <a:pt x="311" y="176"/>
                  </a:lnTo>
                  <a:lnTo>
                    <a:pt x="309" y="176"/>
                  </a:lnTo>
                  <a:lnTo>
                    <a:pt x="309" y="178"/>
                  </a:lnTo>
                  <a:lnTo>
                    <a:pt x="311" y="178"/>
                  </a:lnTo>
                  <a:lnTo>
                    <a:pt x="310" y="179"/>
                  </a:lnTo>
                  <a:lnTo>
                    <a:pt x="309" y="180"/>
                  </a:lnTo>
                  <a:lnTo>
                    <a:pt x="309" y="182"/>
                  </a:lnTo>
                  <a:lnTo>
                    <a:pt x="309" y="183"/>
                  </a:lnTo>
                  <a:lnTo>
                    <a:pt x="309" y="186"/>
                  </a:lnTo>
                  <a:lnTo>
                    <a:pt x="309" y="188"/>
                  </a:lnTo>
                  <a:lnTo>
                    <a:pt x="309" y="189"/>
                  </a:lnTo>
                  <a:lnTo>
                    <a:pt x="310" y="190"/>
                  </a:lnTo>
                  <a:lnTo>
                    <a:pt x="313" y="190"/>
                  </a:lnTo>
                  <a:lnTo>
                    <a:pt x="313" y="191"/>
                  </a:lnTo>
                  <a:lnTo>
                    <a:pt x="312" y="191"/>
                  </a:lnTo>
                  <a:lnTo>
                    <a:pt x="309" y="192"/>
                  </a:lnTo>
                  <a:lnTo>
                    <a:pt x="307" y="192"/>
                  </a:lnTo>
                  <a:lnTo>
                    <a:pt x="307" y="194"/>
                  </a:lnTo>
                  <a:lnTo>
                    <a:pt x="307" y="195"/>
                  </a:lnTo>
                  <a:lnTo>
                    <a:pt x="305" y="195"/>
                  </a:lnTo>
                  <a:lnTo>
                    <a:pt x="303" y="194"/>
                  </a:lnTo>
                  <a:lnTo>
                    <a:pt x="301" y="194"/>
                  </a:lnTo>
                  <a:lnTo>
                    <a:pt x="301" y="195"/>
                  </a:lnTo>
                  <a:lnTo>
                    <a:pt x="304" y="196"/>
                  </a:lnTo>
                  <a:lnTo>
                    <a:pt x="301" y="197"/>
                  </a:lnTo>
                  <a:lnTo>
                    <a:pt x="300" y="197"/>
                  </a:lnTo>
                  <a:lnTo>
                    <a:pt x="300" y="196"/>
                  </a:lnTo>
                  <a:lnTo>
                    <a:pt x="298" y="196"/>
                  </a:lnTo>
                  <a:lnTo>
                    <a:pt x="298" y="197"/>
                  </a:lnTo>
                  <a:lnTo>
                    <a:pt x="294" y="197"/>
                  </a:lnTo>
                  <a:lnTo>
                    <a:pt x="294" y="198"/>
                  </a:lnTo>
                  <a:lnTo>
                    <a:pt x="289" y="201"/>
                  </a:lnTo>
                  <a:lnTo>
                    <a:pt x="291" y="201"/>
                  </a:lnTo>
                  <a:lnTo>
                    <a:pt x="294" y="200"/>
                  </a:lnTo>
                  <a:lnTo>
                    <a:pt x="295" y="201"/>
                  </a:lnTo>
                  <a:lnTo>
                    <a:pt x="294" y="207"/>
                  </a:lnTo>
                  <a:lnTo>
                    <a:pt x="297" y="201"/>
                  </a:lnTo>
                  <a:lnTo>
                    <a:pt x="298" y="200"/>
                  </a:lnTo>
                  <a:lnTo>
                    <a:pt x="298" y="201"/>
                  </a:lnTo>
                  <a:lnTo>
                    <a:pt x="298" y="204"/>
                  </a:lnTo>
                  <a:lnTo>
                    <a:pt x="299" y="204"/>
                  </a:lnTo>
                  <a:lnTo>
                    <a:pt x="301" y="202"/>
                  </a:lnTo>
                  <a:lnTo>
                    <a:pt x="303" y="198"/>
                  </a:lnTo>
                  <a:lnTo>
                    <a:pt x="304" y="198"/>
                  </a:lnTo>
                  <a:lnTo>
                    <a:pt x="304" y="201"/>
                  </a:lnTo>
                  <a:lnTo>
                    <a:pt x="304" y="202"/>
                  </a:lnTo>
                  <a:lnTo>
                    <a:pt x="305" y="203"/>
                  </a:lnTo>
                  <a:lnTo>
                    <a:pt x="307" y="210"/>
                  </a:lnTo>
                  <a:lnTo>
                    <a:pt x="309" y="212"/>
                  </a:lnTo>
                  <a:lnTo>
                    <a:pt x="310" y="209"/>
                  </a:lnTo>
                  <a:lnTo>
                    <a:pt x="310" y="210"/>
                  </a:lnTo>
                  <a:lnTo>
                    <a:pt x="311" y="212"/>
                  </a:lnTo>
                  <a:lnTo>
                    <a:pt x="312" y="213"/>
                  </a:lnTo>
                  <a:lnTo>
                    <a:pt x="311" y="209"/>
                  </a:lnTo>
                  <a:lnTo>
                    <a:pt x="312" y="209"/>
                  </a:lnTo>
                  <a:lnTo>
                    <a:pt x="313" y="210"/>
                  </a:lnTo>
                  <a:lnTo>
                    <a:pt x="315" y="208"/>
                  </a:lnTo>
                  <a:lnTo>
                    <a:pt x="316" y="208"/>
                  </a:lnTo>
                  <a:lnTo>
                    <a:pt x="316" y="212"/>
                  </a:lnTo>
                  <a:lnTo>
                    <a:pt x="317" y="212"/>
                  </a:lnTo>
                  <a:lnTo>
                    <a:pt x="317" y="213"/>
                  </a:lnTo>
                  <a:lnTo>
                    <a:pt x="317" y="208"/>
                  </a:lnTo>
                  <a:lnTo>
                    <a:pt x="317" y="207"/>
                  </a:lnTo>
                  <a:lnTo>
                    <a:pt x="318" y="206"/>
                  </a:lnTo>
                  <a:lnTo>
                    <a:pt x="318" y="208"/>
                  </a:lnTo>
                  <a:lnTo>
                    <a:pt x="319" y="208"/>
                  </a:lnTo>
                  <a:lnTo>
                    <a:pt x="319" y="209"/>
                  </a:lnTo>
                  <a:lnTo>
                    <a:pt x="321" y="209"/>
                  </a:lnTo>
                  <a:lnTo>
                    <a:pt x="321" y="204"/>
                  </a:lnTo>
                  <a:lnTo>
                    <a:pt x="322" y="206"/>
                  </a:lnTo>
                  <a:lnTo>
                    <a:pt x="322" y="207"/>
                  </a:lnTo>
                  <a:lnTo>
                    <a:pt x="323" y="209"/>
                  </a:lnTo>
                  <a:lnTo>
                    <a:pt x="324" y="210"/>
                  </a:lnTo>
                  <a:lnTo>
                    <a:pt x="324" y="214"/>
                  </a:lnTo>
                  <a:lnTo>
                    <a:pt x="323" y="216"/>
                  </a:lnTo>
                  <a:lnTo>
                    <a:pt x="321" y="216"/>
                  </a:lnTo>
                  <a:lnTo>
                    <a:pt x="317" y="219"/>
                  </a:lnTo>
                  <a:lnTo>
                    <a:pt x="315" y="222"/>
                  </a:lnTo>
                  <a:lnTo>
                    <a:pt x="309" y="222"/>
                  </a:lnTo>
                  <a:lnTo>
                    <a:pt x="306" y="224"/>
                  </a:lnTo>
                  <a:lnTo>
                    <a:pt x="299" y="225"/>
                  </a:lnTo>
                  <a:lnTo>
                    <a:pt x="298" y="226"/>
                  </a:lnTo>
                  <a:lnTo>
                    <a:pt x="294" y="226"/>
                  </a:lnTo>
                  <a:lnTo>
                    <a:pt x="292" y="225"/>
                  </a:lnTo>
                  <a:lnTo>
                    <a:pt x="292" y="226"/>
                  </a:lnTo>
                  <a:lnTo>
                    <a:pt x="289" y="226"/>
                  </a:lnTo>
                  <a:lnTo>
                    <a:pt x="286" y="222"/>
                  </a:lnTo>
                  <a:lnTo>
                    <a:pt x="286" y="224"/>
                  </a:lnTo>
                  <a:lnTo>
                    <a:pt x="288" y="225"/>
                  </a:lnTo>
                  <a:lnTo>
                    <a:pt x="288" y="226"/>
                  </a:lnTo>
                  <a:lnTo>
                    <a:pt x="286" y="226"/>
                  </a:lnTo>
                  <a:lnTo>
                    <a:pt x="286" y="225"/>
                  </a:lnTo>
                  <a:lnTo>
                    <a:pt x="283" y="225"/>
                  </a:lnTo>
                  <a:lnTo>
                    <a:pt x="277" y="221"/>
                  </a:lnTo>
                  <a:lnTo>
                    <a:pt x="276" y="221"/>
                  </a:lnTo>
                  <a:lnTo>
                    <a:pt x="281" y="226"/>
                  </a:lnTo>
                  <a:lnTo>
                    <a:pt x="270" y="226"/>
                  </a:lnTo>
                  <a:lnTo>
                    <a:pt x="270" y="227"/>
                  </a:lnTo>
                  <a:lnTo>
                    <a:pt x="280" y="228"/>
                  </a:lnTo>
                  <a:lnTo>
                    <a:pt x="281" y="227"/>
                  </a:lnTo>
                  <a:lnTo>
                    <a:pt x="280" y="230"/>
                  </a:lnTo>
                  <a:lnTo>
                    <a:pt x="286" y="227"/>
                  </a:lnTo>
                  <a:lnTo>
                    <a:pt x="287" y="227"/>
                  </a:lnTo>
                  <a:lnTo>
                    <a:pt x="288" y="228"/>
                  </a:lnTo>
                  <a:lnTo>
                    <a:pt x="287" y="231"/>
                  </a:lnTo>
                  <a:lnTo>
                    <a:pt x="287" y="232"/>
                  </a:lnTo>
                  <a:lnTo>
                    <a:pt x="287" y="234"/>
                  </a:lnTo>
                  <a:lnTo>
                    <a:pt x="289" y="238"/>
                  </a:lnTo>
                  <a:lnTo>
                    <a:pt x="291" y="239"/>
                  </a:lnTo>
                  <a:lnTo>
                    <a:pt x="287" y="240"/>
                  </a:lnTo>
                  <a:lnTo>
                    <a:pt x="287" y="242"/>
                  </a:lnTo>
                  <a:lnTo>
                    <a:pt x="288" y="242"/>
                  </a:lnTo>
                  <a:lnTo>
                    <a:pt x="288" y="243"/>
                  </a:lnTo>
                  <a:lnTo>
                    <a:pt x="286" y="244"/>
                  </a:lnTo>
                  <a:lnTo>
                    <a:pt x="285" y="246"/>
                  </a:lnTo>
                  <a:lnTo>
                    <a:pt x="285" y="249"/>
                  </a:lnTo>
                  <a:lnTo>
                    <a:pt x="283" y="249"/>
                  </a:lnTo>
                  <a:lnTo>
                    <a:pt x="282" y="246"/>
                  </a:lnTo>
                  <a:lnTo>
                    <a:pt x="282" y="245"/>
                  </a:lnTo>
                  <a:lnTo>
                    <a:pt x="281" y="243"/>
                  </a:lnTo>
                  <a:lnTo>
                    <a:pt x="280" y="243"/>
                  </a:lnTo>
                  <a:lnTo>
                    <a:pt x="280" y="245"/>
                  </a:lnTo>
                  <a:lnTo>
                    <a:pt x="279" y="248"/>
                  </a:lnTo>
                  <a:lnTo>
                    <a:pt x="271" y="242"/>
                  </a:lnTo>
                  <a:lnTo>
                    <a:pt x="269" y="240"/>
                  </a:lnTo>
                  <a:lnTo>
                    <a:pt x="262" y="236"/>
                  </a:lnTo>
                  <a:lnTo>
                    <a:pt x="260" y="236"/>
                  </a:lnTo>
                  <a:lnTo>
                    <a:pt x="265" y="240"/>
                  </a:lnTo>
                  <a:lnTo>
                    <a:pt x="264" y="240"/>
                  </a:lnTo>
                  <a:lnTo>
                    <a:pt x="259" y="239"/>
                  </a:lnTo>
                  <a:lnTo>
                    <a:pt x="262" y="240"/>
                  </a:lnTo>
                  <a:lnTo>
                    <a:pt x="262" y="242"/>
                  </a:lnTo>
                  <a:lnTo>
                    <a:pt x="264" y="243"/>
                  </a:lnTo>
                  <a:lnTo>
                    <a:pt x="265" y="244"/>
                  </a:lnTo>
                  <a:lnTo>
                    <a:pt x="264" y="245"/>
                  </a:lnTo>
                  <a:lnTo>
                    <a:pt x="264" y="246"/>
                  </a:lnTo>
                  <a:lnTo>
                    <a:pt x="266" y="245"/>
                  </a:lnTo>
                  <a:lnTo>
                    <a:pt x="268" y="245"/>
                  </a:lnTo>
                  <a:lnTo>
                    <a:pt x="269" y="244"/>
                  </a:lnTo>
                  <a:lnTo>
                    <a:pt x="269" y="245"/>
                  </a:lnTo>
                  <a:lnTo>
                    <a:pt x="266" y="248"/>
                  </a:lnTo>
                  <a:lnTo>
                    <a:pt x="269" y="248"/>
                  </a:lnTo>
                  <a:lnTo>
                    <a:pt x="271" y="245"/>
                  </a:lnTo>
                  <a:lnTo>
                    <a:pt x="275" y="248"/>
                  </a:lnTo>
                  <a:lnTo>
                    <a:pt x="271" y="248"/>
                  </a:lnTo>
                  <a:lnTo>
                    <a:pt x="269" y="249"/>
                  </a:lnTo>
                  <a:lnTo>
                    <a:pt x="268" y="251"/>
                  </a:lnTo>
                  <a:lnTo>
                    <a:pt x="268" y="252"/>
                  </a:lnTo>
                  <a:lnTo>
                    <a:pt x="269" y="251"/>
                  </a:lnTo>
                  <a:lnTo>
                    <a:pt x="270" y="250"/>
                  </a:lnTo>
                  <a:lnTo>
                    <a:pt x="271" y="250"/>
                  </a:lnTo>
                  <a:lnTo>
                    <a:pt x="274" y="250"/>
                  </a:lnTo>
                  <a:lnTo>
                    <a:pt x="275" y="250"/>
                  </a:lnTo>
                  <a:lnTo>
                    <a:pt x="275" y="254"/>
                  </a:lnTo>
                  <a:lnTo>
                    <a:pt x="277" y="252"/>
                  </a:lnTo>
                  <a:lnTo>
                    <a:pt x="280" y="252"/>
                  </a:lnTo>
                  <a:lnTo>
                    <a:pt x="281" y="254"/>
                  </a:lnTo>
                  <a:lnTo>
                    <a:pt x="280" y="254"/>
                  </a:lnTo>
                  <a:lnTo>
                    <a:pt x="277" y="255"/>
                  </a:lnTo>
                  <a:lnTo>
                    <a:pt x="273" y="258"/>
                  </a:lnTo>
                  <a:lnTo>
                    <a:pt x="268" y="261"/>
                  </a:lnTo>
                  <a:lnTo>
                    <a:pt x="262" y="261"/>
                  </a:lnTo>
                  <a:lnTo>
                    <a:pt x="262" y="262"/>
                  </a:lnTo>
                  <a:lnTo>
                    <a:pt x="266" y="263"/>
                  </a:lnTo>
                  <a:lnTo>
                    <a:pt x="266" y="264"/>
                  </a:lnTo>
                  <a:lnTo>
                    <a:pt x="259" y="268"/>
                  </a:lnTo>
                  <a:lnTo>
                    <a:pt x="260" y="268"/>
                  </a:lnTo>
                  <a:lnTo>
                    <a:pt x="268" y="266"/>
                  </a:lnTo>
                  <a:lnTo>
                    <a:pt x="269" y="266"/>
                  </a:lnTo>
                  <a:lnTo>
                    <a:pt x="268" y="267"/>
                  </a:lnTo>
                  <a:lnTo>
                    <a:pt x="268" y="269"/>
                  </a:lnTo>
                  <a:lnTo>
                    <a:pt x="269" y="269"/>
                  </a:lnTo>
                  <a:lnTo>
                    <a:pt x="269" y="268"/>
                  </a:lnTo>
                  <a:lnTo>
                    <a:pt x="270" y="264"/>
                  </a:lnTo>
                  <a:lnTo>
                    <a:pt x="271" y="264"/>
                  </a:lnTo>
                  <a:lnTo>
                    <a:pt x="276" y="271"/>
                  </a:lnTo>
                  <a:lnTo>
                    <a:pt x="276" y="268"/>
                  </a:lnTo>
                  <a:lnTo>
                    <a:pt x="277" y="268"/>
                  </a:lnTo>
                  <a:lnTo>
                    <a:pt x="279" y="269"/>
                  </a:lnTo>
                  <a:lnTo>
                    <a:pt x="279" y="271"/>
                  </a:lnTo>
                  <a:lnTo>
                    <a:pt x="277" y="272"/>
                  </a:lnTo>
                  <a:lnTo>
                    <a:pt x="277" y="273"/>
                  </a:lnTo>
                  <a:lnTo>
                    <a:pt x="275" y="273"/>
                  </a:lnTo>
                  <a:lnTo>
                    <a:pt x="273" y="274"/>
                  </a:lnTo>
                  <a:lnTo>
                    <a:pt x="271" y="278"/>
                  </a:lnTo>
                  <a:lnTo>
                    <a:pt x="273" y="279"/>
                  </a:lnTo>
                  <a:lnTo>
                    <a:pt x="269" y="281"/>
                  </a:lnTo>
                  <a:lnTo>
                    <a:pt x="269" y="284"/>
                  </a:lnTo>
                  <a:lnTo>
                    <a:pt x="266" y="285"/>
                  </a:lnTo>
                  <a:lnTo>
                    <a:pt x="265" y="285"/>
                  </a:lnTo>
                  <a:lnTo>
                    <a:pt x="264" y="284"/>
                  </a:lnTo>
                  <a:lnTo>
                    <a:pt x="264" y="285"/>
                  </a:lnTo>
                  <a:lnTo>
                    <a:pt x="264" y="286"/>
                  </a:lnTo>
                  <a:lnTo>
                    <a:pt x="264" y="287"/>
                  </a:lnTo>
                  <a:lnTo>
                    <a:pt x="260" y="289"/>
                  </a:lnTo>
                  <a:lnTo>
                    <a:pt x="259" y="287"/>
                  </a:lnTo>
                  <a:lnTo>
                    <a:pt x="258" y="289"/>
                  </a:lnTo>
                  <a:lnTo>
                    <a:pt x="256" y="289"/>
                  </a:lnTo>
                  <a:lnTo>
                    <a:pt x="254" y="290"/>
                  </a:lnTo>
                  <a:lnTo>
                    <a:pt x="252" y="290"/>
                  </a:lnTo>
                  <a:lnTo>
                    <a:pt x="252" y="291"/>
                  </a:lnTo>
                  <a:lnTo>
                    <a:pt x="256" y="291"/>
                  </a:lnTo>
                  <a:lnTo>
                    <a:pt x="256" y="292"/>
                  </a:lnTo>
                  <a:lnTo>
                    <a:pt x="253" y="293"/>
                  </a:lnTo>
                  <a:lnTo>
                    <a:pt x="253" y="296"/>
                  </a:lnTo>
                  <a:lnTo>
                    <a:pt x="254" y="297"/>
                  </a:lnTo>
                  <a:lnTo>
                    <a:pt x="256" y="297"/>
                  </a:lnTo>
                  <a:lnTo>
                    <a:pt x="257" y="295"/>
                  </a:lnTo>
                  <a:lnTo>
                    <a:pt x="257" y="297"/>
                  </a:lnTo>
                  <a:lnTo>
                    <a:pt x="258" y="292"/>
                  </a:lnTo>
                  <a:lnTo>
                    <a:pt x="260" y="291"/>
                  </a:lnTo>
                  <a:lnTo>
                    <a:pt x="259" y="293"/>
                  </a:lnTo>
                  <a:lnTo>
                    <a:pt x="260" y="293"/>
                  </a:lnTo>
                  <a:lnTo>
                    <a:pt x="260" y="291"/>
                  </a:lnTo>
                  <a:lnTo>
                    <a:pt x="263" y="291"/>
                  </a:lnTo>
                  <a:lnTo>
                    <a:pt x="264" y="290"/>
                  </a:lnTo>
                  <a:lnTo>
                    <a:pt x="264" y="291"/>
                  </a:lnTo>
                  <a:lnTo>
                    <a:pt x="264" y="292"/>
                  </a:lnTo>
                  <a:lnTo>
                    <a:pt x="264" y="293"/>
                  </a:lnTo>
                  <a:lnTo>
                    <a:pt x="264" y="296"/>
                  </a:lnTo>
                  <a:lnTo>
                    <a:pt x="264" y="298"/>
                  </a:lnTo>
                  <a:lnTo>
                    <a:pt x="265" y="301"/>
                  </a:lnTo>
                  <a:lnTo>
                    <a:pt x="266" y="302"/>
                  </a:lnTo>
                  <a:lnTo>
                    <a:pt x="268" y="298"/>
                  </a:lnTo>
                  <a:lnTo>
                    <a:pt x="266" y="295"/>
                  </a:lnTo>
                  <a:lnTo>
                    <a:pt x="268" y="295"/>
                  </a:lnTo>
                  <a:lnTo>
                    <a:pt x="269" y="295"/>
                  </a:lnTo>
                  <a:lnTo>
                    <a:pt x="269" y="301"/>
                  </a:lnTo>
                  <a:lnTo>
                    <a:pt x="270" y="301"/>
                  </a:lnTo>
                  <a:lnTo>
                    <a:pt x="273" y="297"/>
                  </a:lnTo>
                  <a:lnTo>
                    <a:pt x="273" y="295"/>
                  </a:lnTo>
                  <a:lnTo>
                    <a:pt x="275" y="293"/>
                  </a:lnTo>
                  <a:lnTo>
                    <a:pt x="275" y="295"/>
                  </a:lnTo>
                  <a:lnTo>
                    <a:pt x="276" y="295"/>
                  </a:lnTo>
                  <a:lnTo>
                    <a:pt x="277" y="293"/>
                  </a:lnTo>
                  <a:lnTo>
                    <a:pt x="279" y="295"/>
                  </a:lnTo>
                  <a:lnTo>
                    <a:pt x="280" y="293"/>
                  </a:lnTo>
                  <a:lnTo>
                    <a:pt x="279" y="292"/>
                  </a:lnTo>
                  <a:lnTo>
                    <a:pt x="279" y="289"/>
                  </a:lnTo>
                  <a:lnTo>
                    <a:pt x="279" y="287"/>
                  </a:lnTo>
                  <a:lnTo>
                    <a:pt x="280" y="287"/>
                  </a:lnTo>
                  <a:lnTo>
                    <a:pt x="282" y="291"/>
                  </a:lnTo>
                  <a:lnTo>
                    <a:pt x="283" y="292"/>
                  </a:lnTo>
                  <a:lnTo>
                    <a:pt x="285" y="292"/>
                  </a:lnTo>
                  <a:lnTo>
                    <a:pt x="285" y="290"/>
                  </a:lnTo>
                  <a:lnTo>
                    <a:pt x="285" y="289"/>
                  </a:lnTo>
                  <a:lnTo>
                    <a:pt x="285" y="285"/>
                  </a:lnTo>
                  <a:lnTo>
                    <a:pt x="285" y="284"/>
                  </a:lnTo>
                  <a:lnTo>
                    <a:pt x="286" y="284"/>
                  </a:lnTo>
                  <a:lnTo>
                    <a:pt x="287" y="285"/>
                  </a:lnTo>
                  <a:lnTo>
                    <a:pt x="287" y="286"/>
                  </a:lnTo>
                  <a:lnTo>
                    <a:pt x="287" y="287"/>
                  </a:lnTo>
                  <a:lnTo>
                    <a:pt x="287" y="289"/>
                  </a:lnTo>
                  <a:lnTo>
                    <a:pt x="288" y="291"/>
                  </a:lnTo>
                  <a:lnTo>
                    <a:pt x="289" y="289"/>
                  </a:lnTo>
                  <a:lnTo>
                    <a:pt x="289" y="285"/>
                  </a:lnTo>
                  <a:lnTo>
                    <a:pt x="289" y="284"/>
                  </a:lnTo>
                  <a:lnTo>
                    <a:pt x="289" y="283"/>
                  </a:lnTo>
                  <a:lnTo>
                    <a:pt x="289" y="281"/>
                  </a:lnTo>
                  <a:lnTo>
                    <a:pt x="288" y="280"/>
                  </a:lnTo>
                  <a:lnTo>
                    <a:pt x="288" y="279"/>
                  </a:lnTo>
                  <a:lnTo>
                    <a:pt x="291" y="279"/>
                  </a:lnTo>
                  <a:lnTo>
                    <a:pt x="292" y="279"/>
                  </a:lnTo>
                  <a:lnTo>
                    <a:pt x="292" y="280"/>
                  </a:lnTo>
                  <a:lnTo>
                    <a:pt x="291" y="283"/>
                  </a:lnTo>
                  <a:lnTo>
                    <a:pt x="291" y="285"/>
                  </a:lnTo>
                  <a:lnTo>
                    <a:pt x="292" y="286"/>
                  </a:lnTo>
                  <a:lnTo>
                    <a:pt x="292" y="287"/>
                  </a:lnTo>
                  <a:lnTo>
                    <a:pt x="292" y="289"/>
                  </a:lnTo>
                  <a:lnTo>
                    <a:pt x="289" y="290"/>
                  </a:lnTo>
                  <a:lnTo>
                    <a:pt x="288" y="291"/>
                  </a:lnTo>
                  <a:lnTo>
                    <a:pt x="286" y="293"/>
                  </a:lnTo>
                  <a:lnTo>
                    <a:pt x="283" y="296"/>
                  </a:lnTo>
                  <a:lnTo>
                    <a:pt x="281" y="297"/>
                  </a:lnTo>
                  <a:lnTo>
                    <a:pt x="280" y="299"/>
                  </a:lnTo>
                  <a:lnTo>
                    <a:pt x="279" y="299"/>
                  </a:lnTo>
                  <a:lnTo>
                    <a:pt x="277" y="297"/>
                  </a:lnTo>
                  <a:lnTo>
                    <a:pt x="276" y="299"/>
                  </a:lnTo>
                  <a:lnTo>
                    <a:pt x="277" y="299"/>
                  </a:lnTo>
                  <a:lnTo>
                    <a:pt x="274" y="302"/>
                  </a:lnTo>
                  <a:lnTo>
                    <a:pt x="271" y="304"/>
                  </a:lnTo>
                  <a:lnTo>
                    <a:pt x="269" y="304"/>
                  </a:lnTo>
                  <a:lnTo>
                    <a:pt x="266" y="303"/>
                  </a:lnTo>
                  <a:lnTo>
                    <a:pt x="265" y="303"/>
                  </a:lnTo>
                  <a:lnTo>
                    <a:pt x="263" y="302"/>
                  </a:lnTo>
                  <a:lnTo>
                    <a:pt x="262" y="303"/>
                  </a:lnTo>
                  <a:lnTo>
                    <a:pt x="260" y="303"/>
                  </a:lnTo>
                  <a:lnTo>
                    <a:pt x="256" y="301"/>
                  </a:lnTo>
                  <a:lnTo>
                    <a:pt x="254" y="299"/>
                  </a:lnTo>
                  <a:lnTo>
                    <a:pt x="252" y="297"/>
                  </a:lnTo>
                  <a:lnTo>
                    <a:pt x="251" y="296"/>
                  </a:lnTo>
                  <a:lnTo>
                    <a:pt x="247" y="293"/>
                  </a:lnTo>
                  <a:lnTo>
                    <a:pt x="246" y="290"/>
                  </a:lnTo>
                  <a:lnTo>
                    <a:pt x="247" y="289"/>
                  </a:lnTo>
                  <a:lnTo>
                    <a:pt x="247" y="287"/>
                  </a:lnTo>
                  <a:lnTo>
                    <a:pt x="245" y="290"/>
                  </a:lnTo>
                  <a:lnTo>
                    <a:pt x="244" y="289"/>
                  </a:lnTo>
                  <a:lnTo>
                    <a:pt x="248" y="284"/>
                  </a:lnTo>
                  <a:lnTo>
                    <a:pt x="247" y="283"/>
                  </a:lnTo>
                  <a:lnTo>
                    <a:pt x="245" y="284"/>
                  </a:lnTo>
                  <a:lnTo>
                    <a:pt x="242" y="283"/>
                  </a:lnTo>
                  <a:lnTo>
                    <a:pt x="244" y="285"/>
                  </a:lnTo>
                  <a:lnTo>
                    <a:pt x="242" y="286"/>
                  </a:lnTo>
                  <a:lnTo>
                    <a:pt x="233" y="277"/>
                  </a:lnTo>
                  <a:lnTo>
                    <a:pt x="232" y="277"/>
                  </a:lnTo>
                  <a:lnTo>
                    <a:pt x="234" y="280"/>
                  </a:lnTo>
                  <a:lnTo>
                    <a:pt x="233" y="280"/>
                  </a:lnTo>
                  <a:lnTo>
                    <a:pt x="227" y="279"/>
                  </a:lnTo>
                  <a:lnTo>
                    <a:pt x="227" y="280"/>
                  </a:lnTo>
                  <a:lnTo>
                    <a:pt x="232" y="283"/>
                  </a:lnTo>
                  <a:lnTo>
                    <a:pt x="230" y="283"/>
                  </a:lnTo>
                  <a:lnTo>
                    <a:pt x="234" y="284"/>
                  </a:lnTo>
                  <a:lnTo>
                    <a:pt x="232" y="286"/>
                  </a:lnTo>
                  <a:lnTo>
                    <a:pt x="234" y="285"/>
                  </a:lnTo>
                  <a:lnTo>
                    <a:pt x="235" y="285"/>
                  </a:lnTo>
                  <a:lnTo>
                    <a:pt x="239" y="286"/>
                  </a:lnTo>
                  <a:lnTo>
                    <a:pt x="239" y="287"/>
                  </a:lnTo>
                  <a:lnTo>
                    <a:pt x="233" y="291"/>
                  </a:lnTo>
                  <a:lnTo>
                    <a:pt x="234" y="291"/>
                  </a:lnTo>
                  <a:lnTo>
                    <a:pt x="239" y="290"/>
                  </a:lnTo>
                  <a:lnTo>
                    <a:pt x="239" y="291"/>
                  </a:lnTo>
                  <a:lnTo>
                    <a:pt x="239" y="292"/>
                  </a:lnTo>
                  <a:lnTo>
                    <a:pt x="241" y="292"/>
                  </a:lnTo>
                  <a:lnTo>
                    <a:pt x="244" y="292"/>
                  </a:lnTo>
                  <a:lnTo>
                    <a:pt x="242" y="295"/>
                  </a:lnTo>
                  <a:lnTo>
                    <a:pt x="245" y="295"/>
                  </a:lnTo>
                  <a:lnTo>
                    <a:pt x="239" y="301"/>
                  </a:lnTo>
                  <a:lnTo>
                    <a:pt x="245" y="297"/>
                  </a:lnTo>
                  <a:lnTo>
                    <a:pt x="247" y="296"/>
                  </a:lnTo>
                  <a:lnTo>
                    <a:pt x="247" y="297"/>
                  </a:lnTo>
                  <a:lnTo>
                    <a:pt x="244" y="299"/>
                  </a:lnTo>
                  <a:lnTo>
                    <a:pt x="241" y="301"/>
                  </a:lnTo>
                  <a:lnTo>
                    <a:pt x="239" y="302"/>
                  </a:lnTo>
                  <a:lnTo>
                    <a:pt x="242" y="305"/>
                  </a:lnTo>
                  <a:lnTo>
                    <a:pt x="239" y="307"/>
                  </a:lnTo>
                  <a:lnTo>
                    <a:pt x="239" y="309"/>
                  </a:lnTo>
                  <a:lnTo>
                    <a:pt x="241" y="310"/>
                  </a:lnTo>
                  <a:lnTo>
                    <a:pt x="239" y="314"/>
                  </a:lnTo>
                  <a:lnTo>
                    <a:pt x="242" y="316"/>
                  </a:lnTo>
                  <a:lnTo>
                    <a:pt x="245" y="315"/>
                  </a:lnTo>
                  <a:lnTo>
                    <a:pt x="245" y="314"/>
                  </a:lnTo>
                  <a:lnTo>
                    <a:pt x="246" y="311"/>
                  </a:lnTo>
                  <a:lnTo>
                    <a:pt x="246" y="309"/>
                  </a:lnTo>
                  <a:lnTo>
                    <a:pt x="246" y="308"/>
                  </a:lnTo>
                  <a:lnTo>
                    <a:pt x="247" y="308"/>
                  </a:lnTo>
                  <a:lnTo>
                    <a:pt x="247" y="309"/>
                  </a:lnTo>
                  <a:lnTo>
                    <a:pt x="247" y="311"/>
                  </a:lnTo>
                  <a:lnTo>
                    <a:pt x="248" y="314"/>
                  </a:lnTo>
                  <a:lnTo>
                    <a:pt x="251" y="315"/>
                  </a:lnTo>
                  <a:lnTo>
                    <a:pt x="250" y="317"/>
                  </a:lnTo>
                  <a:lnTo>
                    <a:pt x="248" y="317"/>
                  </a:lnTo>
                  <a:lnTo>
                    <a:pt x="247" y="315"/>
                  </a:lnTo>
                  <a:lnTo>
                    <a:pt x="246" y="317"/>
                  </a:lnTo>
                  <a:lnTo>
                    <a:pt x="245" y="320"/>
                  </a:lnTo>
                  <a:lnTo>
                    <a:pt x="244" y="320"/>
                  </a:lnTo>
                  <a:lnTo>
                    <a:pt x="239" y="317"/>
                  </a:lnTo>
                  <a:lnTo>
                    <a:pt x="239" y="319"/>
                  </a:lnTo>
                  <a:lnTo>
                    <a:pt x="234" y="322"/>
                  </a:lnTo>
                  <a:lnTo>
                    <a:pt x="236" y="322"/>
                  </a:lnTo>
                  <a:lnTo>
                    <a:pt x="239" y="322"/>
                  </a:lnTo>
                  <a:lnTo>
                    <a:pt x="242" y="321"/>
                  </a:lnTo>
                  <a:lnTo>
                    <a:pt x="242" y="323"/>
                  </a:lnTo>
                  <a:lnTo>
                    <a:pt x="239" y="325"/>
                  </a:lnTo>
                  <a:lnTo>
                    <a:pt x="239" y="326"/>
                  </a:lnTo>
                  <a:lnTo>
                    <a:pt x="242" y="326"/>
                  </a:lnTo>
                  <a:lnTo>
                    <a:pt x="244" y="327"/>
                  </a:lnTo>
                  <a:lnTo>
                    <a:pt x="245" y="325"/>
                  </a:lnTo>
                  <a:lnTo>
                    <a:pt x="247" y="325"/>
                  </a:lnTo>
                  <a:lnTo>
                    <a:pt x="245" y="329"/>
                  </a:lnTo>
                  <a:lnTo>
                    <a:pt x="246" y="331"/>
                  </a:lnTo>
                  <a:lnTo>
                    <a:pt x="248" y="328"/>
                  </a:lnTo>
                  <a:lnTo>
                    <a:pt x="250" y="328"/>
                  </a:lnTo>
                  <a:lnTo>
                    <a:pt x="251" y="327"/>
                  </a:lnTo>
                  <a:lnTo>
                    <a:pt x="252" y="327"/>
                  </a:lnTo>
                  <a:lnTo>
                    <a:pt x="252" y="329"/>
                  </a:lnTo>
                  <a:lnTo>
                    <a:pt x="253" y="329"/>
                  </a:lnTo>
                  <a:lnTo>
                    <a:pt x="253" y="326"/>
                  </a:lnTo>
                  <a:lnTo>
                    <a:pt x="254" y="326"/>
                  </a:lnTo>
                  <a:lnTo>
                    <a:pt x="254" y="329"/>
                  </a:lnTo>
                  <a:lnTo>
                    <a:pt x="256" y="329"/>
                  </a:lnTo>
                  <a:lnTo>
                    <a:pt x="257" y="332"/>
                  </a:lnTo>
                  <a:lnTo>
                    <a:pt x="257" y="334"/>
                  </a:lnTo>
                  <a:lnTo>
                    <a:pt x="253" y="334"/>
                  </a:lnTo>
                  <a:lnTo>
                    <a:pt x="253" y="337"/>
                  </a:lnTo>
                  <a:lnTo>
                    <a:pt x="256" y="337"/>
                  </a:lnTo>
                  <a:lnTo>
                    <a:pt x="256" y="338"/>
                  </a:lnTo>
                  <a:lnTo>
                    <a:pt x="248" y="338"/>
                  </a:lnTo>
                  <a:lnTo>
                    <a:pt x="250" y="340"/>
                  </a:lnTo>
                  <a:lnTo>
                    <a:pt x="248" y="341"/>
                  </a:lnTo>
                  <a:lnTo>
                    <a:pt x="247" y="341"/>
                  </a:lnTo>
                  <a:lnTo>
                    <a:pt x="246" y="340"/>
                  </a:lnTo>
                  <a:lnTo>
                    <a:pt x="245" y="340"/>
                  </a:lnTo>
                  <a:lnTo>
                    <a:pt x="245" y="345"/>
                  </a:lnTo>
                  <a:lnTo>
                    <a:pt x="239" y="350"/>
                  </a:lnTo>
                  <a:lnTo>
                    <a:pt x="239" y="347"/>
                  </a:lnTo>
                  <a:lnTo>
                    <a:pt x="235" y="347"/>
                  </a:lnTo>
                  <a:lnTo>
                    <a:pt x="236" y="350"/>
                  </a:lnTo>
                  <a:lnTo>
                    <a:pt x="234" y="349"/>
                  </a:lnTo>
                  <a:lnTo>
                    <a:pt x="232" y="347"/>
                  </a:lnTo>
                  <a:lnTo>
                    <a:pt x="230" y="347"/>
                  </a:lnTo>
                  <a:lnTo>
                    <a:pt x="228" y="350"/>
                  </a:lnTo>
                  <a:lnTo>
                    <a:pt x="232" y="350"/>
                  </a:lnTo>
                  <a:lnTo>
                    <a:pt x="232" y="353"/>
                  </a:lnTo>
                  <a:lnTo>
                    <a:pt x="230" y="355"/>
                  </a:lnTo>
                  <a:lnTo>
                    <a:pt x="232" y="355"/>
                  </a:lnTo>
                  <a:lnTo>
                    <a:pt x="233" y="352"/>
                  </a:lnTo>
                  <a:lnTo>
                    <a:pt x="234" y="351"/>
                  </a:lnTo>
                  <a:lnTo>
                    <a:pt x="235" y="351"/>
                  </a:lnTo>
                  <a:lnTo>
                    <a:pt x="233" y="355"/>
                  </a:lnTo>
                  <a:lnTo>
                    <a:pt x="234" y="355"/>
                  </a:lnTo>
                  <a:lnTo>
                    <a:pt x="235" y="353"/>
                  </a:lnTo>
                  <a:lnTo>
                    <a:pt x="239" y="355"/>
                  </a:lnTo>
                  <a:lnTo>
                    <a:pt x="235" y="356"/>
                  </a:lnTo>
                  <a:lnTo>
                    <a:pt x="234" y="358"/>
                  </a:lnTo>
                  <a:lnTo>
                    <a:pt x="235" y="359"/>
                  </a:lnTo>
                  <a:lnTo>
                    <a:pt x="235" y="362"/>
                  </a:lnTo>
                  <a:lnTo>
                    <a:pt x="235" y="364"/>
                  </a:lnTo>
                  <a:lnTo>
                    <a:pt x="233" y="367"/>
                  </a:lnTo>
                  <a:lnTo>
                    <a:pt x="233" y="368"/>
                  </a:lnTo>
                  <a:lnTo>
                    <a:pt x="232" y="368"/>
                  </a:lnTo>
                  <a:lnTo>
                    <a:pt x="229" y="368"/>
                  </a:lnTo>
                  <a:lnTo>
                    <a:pt x="228" y="370"/>
                  </a:lnTo>
                  <a:lnTo>
                    <a:pt x="226" y="373"/>
                  </a:lnTo>
                  <a:lnTo>
                    <a:pt x="222" y="370"/>
                  </a:lnTo>
                  <a:lnTo>
                    <a:pt x="224" y="374"/>
                  </a:lnTo>
                  <a:lnTo>
                    <a:pt x="217" y="381"/>
                  </a:lnTo>
                  <a:lnTo>
                    <a:pt x="217" y="384"/>
                  </a:lnTo>
                  <a:lnTo>
                    <a:pt x="216" y="384"/>
                  </a:lnTo>
                  <a:lnTo>
                    <a:pt x="211" y="388"/>
                  </a:lnTo>
                  <a:lnTo>
                    <a:pt x="209" y="390"/>
                  </a:lnTo>
                  <a:lnTo>
                    <a:pt x="205" y="391"/>
                  </a:lnTo>
                  <a:lnTo>
                    <a:pt x="206" y="392"/>
                  </a:lnTo>
                  <a:lnTo>
                    <a:pt x="205" y="393"/>
                  </a:lnTo>
                  <a:lnTo>
                    <a:pt x="206" y="393"/>
                  </a:lnTo>
                  <a:lnTo>
                    <a:pt x="200" y="397"/>
                  </a:lnTo>
                  <a:lnTo>
                    <a:pt x="201" y="398"/>
                  </a:lnTo>
                  <a:lnTo>
                    <a:pt x="209" y="396"/>
                  </a:lnTo>
                  <a:lnTo>
                    <a:pt x="210" y="396"/>
                  </a:lnTo>
                  <a:lnTo>
                    <a:pt x="201" y="403"/>
                  </a:lnTo>
                  <a:lnTo>
                    <a:pt x="199" y="402"/>
                  </a:lnTo>
                  <a:lnTo>
                    <a:pt x="199" y="405"/>
                  </a:lnTo>
                  <a:lnTo>
                    <a:pt x="194" y="406"/>
                  </a:lnTo>
                  <a:lnTo>
                    <a:pt x="198" y="408"/>
                  </a:lnTo>
                  <a:lnTo>
                    <a:pt x="197" y="409"/>
                  </a:lnTo>
                  <a:lnTo>
                    <a:pt x="191" y="409"/>
                  </a:lnTo>
                  <a:lnTo>
                    <a:pt x="187" y="414"/>
                  </a:lnTo>
                  <a:lnTo>
                    <a:pt x="185" y="415"/>
                  </a:lnTo>
                  <a:lnTo>
                    <a:pt x="187" y="415"/>
                  </a:lnTo>
                  <a:lnTo>
                    <a:pt x="182" y="421"/>
                  </a:lnTo>
                  <a:lnTo>
                    <a:pt x="182" y="422"/>
                  </a:lnTo>
                  <a:lnTo>
                    <a:pt x="187" y="417"/>
                  </a:lnTo>
                  <a:lnTo>
                    <a:pt x="188" y="418"/>
                  </a:lnTo>
                  <a:lnTo>
                    <a:pt x="191" y="420"/>
                  </a:lnTo>
                  <a:lnTo>
                    <a:pt x="191" y="418"/>
                  </a:lnTo>
                  <a:lnTo>
                    <a:pt x="191" y="421"/>
                  </a:lnTo>
                  <a:lnTo>
                    <a:pt x="193" y="421"/>
                  </a:lnTo>
                  <a:lnTo>
                    <a:pt x="193" y="417"/>
                  </a:lnTo>
                  <a:lnTo>
                    <a:pt x="192" y="416"/>
                  </a:lnTo>
                  <a:lnTo>
                    <a:pt x="193" y="416"/>
                  </a:lnTo>
                  <a:lnTo>
                    <a:pt x="194" y="415"/>
                  </a:lnTo>
                  <a:lnTo>
                    <a:pt x="194" y="412"/>
                  </a:lnTo>
                  <a:lnTo>
                    <a:pt x="197" y="412"/>
                  </a:lnTo>
                  <a:lnTo>
                    <a:pt x="197" y="415"/>
                  </a:lnTo>
                  <a:lnTo>
                    <a:pt x="198" y="410"/>
                  </a:lnTo>
                  <a:lnTo>
                    <a:pt x="199" y="410"/>
                  </a:lnTo>
                  <a:lnTo>
                    <a:pt x="199" y="421"/>
                  </a:lnTo>
                  <a:lnTo>
                    <a:pt x="200" y="422"/>
                  </a:lnTo>
                  <a:lnTo>
                    <a:pt x="201" y="418"/>
                  </a:lnTo>
                  <a:lnTo>
                    <a:pt x="204" y="418"/>
                  </a:lnTo>
                  <a:lnTo>
                    <a:pt x="204" y="422"/>
                  </a:lnTo>
                  <a:lnTo>
                    <a:pt x="205" y="421"/>
                  </a:lnTo>
                  <a:lnTo>
                    <a:pt x="207" y="421"/>
                  </a:lnTo>
                  <a:lnTo>
                    <a:pt x="207" y="417"/>
                  </a:lnTo>
                  <a:lnTo>
                    <a:pt x="207" y="415"/>
                  </a:lnTo>
                  <a:lnTo>
                    <a:pt x="207" y="412"/>
                  </a:lnTo>
                  <a:lnTo>
                    <a:pt x="209" y="412"/>
                  </a:lnTo>
                  <a:lnTo>
                    <a:pt x="210" y="412"/>
                  </a:lnTo>
                  <a:lnTo>
                    <a:pt x="211" y="406"/>
                  </a:lnTo>
                  <a:lnTo>
                    <a:pt x="214" y="406"/>
                  </a:lnTo>
                  <a:lnTo>
                    <a:pt x="215" y="406"/>
                  </a:lnTo>
                  <a:lnTo>
                    <a:pt x="216" y="409"/>
                  </a:lnTo>
                  <a:lnTo>
                    <a:pt x="217" y="411"/>
                  </a:lnTo>
                  <a:lnTo>
                    <a:pt x="218" y="410"/>
                  </a:lnTo>
                  <a:lnTo>
                    <a:pt x="218" y="408"/>
                  </a:lnTo>
                  <a:lnTo>
                    <a:pt x="218" y="404"/>
                  </a:lnTo>
                  <a:lnTo>
                    <a:pt x="220" y="403"/>
                  </a:lnTo>
                  <a:lnTo>
                    <a:pt x="221" y="405"/>
                  </a:lnTo>
                  <a:lnTo>
                    <a:pt x="222" y="405"/>
                  </a:lnTo>
                  <a:lnTo>
                    <a:pt x="222" y="404"/>
                  </a:lnTo>
                  <a:lnTo>
                    <a:pt x="224" y="404"/>
                  </a:lnTo>
                  <a:lnTo>
                    <a:pt x="224" y="405"/>
                  </a:lnTo>
                  <a:lnTo>
                    <a:pt x="223" y="409"/>
                  </a:lnTo>
                  <a:lnTo>
                    <a:pt x="220" y="412"/>
                  </a:lnTo>
                  <a:lnTo>
                    <a:pt x="215" y="414"/>
                  </a:lnTo>
                  <a:lnTo>
                    <a:pt x="218" y="415"/>
                  </a:lnTo>
                  <a:lnTo>
                    <a:pt x="215" y="420"/>
                  </a:lnTo>
                  <a:lnTo>
                    <a:pt x="212" y="421"/>
                  </a:lnTo>
                  <a:lnTo>
                    <a:pt x="210" y="426"/>
                  </a:lnTo>
                  <a:lnTo>
                    <a:pt x="204" y="429"/>
                  </a:lnTo>
                  <a:lnTo>
                    <a:pt x="204" y="430"/>
                  </a:lnTo>
                  <a:lnTo>
                    <a:pt x="199" y="435"/>
                  </a:lnTo>
                  <a:lnTo>
                    <a:pt x="199" y="436"/>
                  </a:lnTo>
                  <a:lnTo>
                    <a:pt x="203" y="434"/>
                  </a:lnTo>
                  <a:lnTo>
                    <a:pt x="203" y="435"/>
                  </a:lnTo>
                  <a:lnTo>
                    <a:pt x="198" y="440"/>
                  </a:lnTo>
                  <a:lnTo>
                    <a:pt x="204" y="436"/>
                  </a:lnTo>
                  <a:lnTo>
                    <a:pt x="205" y="436"/>
                  </a:lnTo>
                  <a:lnTo>
                    <a:pt x="206" y="440"/>
                  </a:lnTo>
                  <a:lnTo>
                    <a:pt x="205" y="434"/>
                  </a:lnTo>
                  <a:lnTo>
                    <a:pt x="206" y="433"/>
                  </a:lnTo>
                  <a:lnTo>
                    <a:pt x="210" y="436"/>
                  </a:lnTo>
                  <a:lnTo>
                    <a:pt x="209" y="432"/>
                  </a:lnTo>
                  <a:lnTo>
                    <a:pt x="210" y="430"/>
                  </a:lnTo>
                  <a:lnTo>
                    <a:pt x="211" y="433"/>
                  </a:lnTo>
                  <a:lnTo>
                    <a:pt x="212" y="436"/>
                  </a:lnTo>
                  <a:lnTo>
                    <a:pt x="214" y="427"/>
                  </a:lnTo>
                  <a:lnTo>
                    <a:pt x="215" y="436"/>
                  </a:lnTo>
                  <a:lnTo>
                    <a:pt x="215" y="439"/>
                  </a:lnTo>
                  <a:lnTo>
                    <a:pt x="216" y="439"/>
                  </a:lnTo>
                  <a:lnTo>
                    <a:pt x="217" y="436"/>
                  </a:lnTo>
                  <a:lnTo>
                    <a:pt x="216" y="429"/>
                  </a:lnTo>
                  <a:lnTo>
                    <a:pt x="218" y="432"/>
                  </a:lnTo>
                  <a:lnTo>
                    <a:pt x="220" y="430"/>
                  </a:lnTo>
                  <a:lnTo>
                    <a:pt x="217" y="421"/>
                  </a:lnTo>
                  <a:lnTo>
                    <a:pt x="218" y="418"/>
                  </a:lnTo>
                  <a:lnTo>
                    <a:pt x="218" y="423"/>
                  </a:lnTo>
                  <a:lnTo>
                    <a:pt x="220" y="428"/>
                  </a:lnTo>
                  <a:lnTo>
                    <a:pt x="222" y="428"/>
                  </a:lnTo>
                  <a:lnTo>
                    <a:pt x="220" y="418"/>
                  </a:lnTo>
                  <a:lnTo>
                    <a:pt x="221" y="417"/>
                  </a:lnTo>
                  <a:lnTo>
                    <a:pt x="222" y="422"/>
                  </a:lnTo>
                  <a:lnTo>
                    <a:pt x="222" y="424"/>
                  </a:lnTo>
                  <a:lnTo>
                    <a:pt x="223" y="424"/>
                  </a:lnTo>
                  <a:lnTo>
                    <a:pt x="222" y="414"/>
                  </a:lnTo>
                  <a:lnTo>
                    <a:pt x="223" y="412"/>
                  </a:lnTo>
                  <a:lnTo>
                    <a:pt x="223" y="422"/>
                  </a:lnTo>
                  <a:lnTo>
                    <a:pt x="223" y="424"/>
                  </a:lnTo>
                  <a:lnTo>
                    <a:pt x="224" y="426"/>
                  </a:lnTo>
                  <a:lnTo>
                    <a:pt x="227" y="427"/>
                  </a:lnTo>
                  <a:lnTo>
                    <a:pt x="229" y="426"/>
                  </a:lnTo>
                  <a:lnTo>
                    <a:pt x="229" y="418"/>
                  </a:lnTo>
                  <a:lnTo>
                    <a:pt x="229" y="417"/>
                  </a:lnTo>
                  <a:lnTo>
                    <a:pt x="232" y="416"/>
                  </a:lnTo>
                  <a:lnTo>
                    <a:pt x="234" y="417"/>
                  </a:lnTo>
                  <a:lnTo>
                    <a:pt x="234" y="414"/>
                  </a:lnTo>
                  <a:lnTo>
                    <a:pt x="233" y="410"/>
                  </a:lnTo>
                  <a:lnTo>
                    <a:pt x="234" y="409"/>
                  </a:lnTo>
                  <a:lnTo>
                    <a:pt x="234" y="410"/>
                  </a:lnTo>
                  <a:lnTo>
                    <a:pt x="235" y="412"/>
                  </a:lnTo>
                  <a:lnTo>
                    <a:pt x="236" y="416"/>
                  </a:lnTo>
                  <a:lnTo>
                    <a:pt x="239" y="416"/>
                  </a:lnTo>
                  <a:lnTo>
                    <a:pt x="239" y="412"/>
                  </a:lnTo>
                  <a:lnTo>
                    <a:pt x="242" y="412"/>
                  </a:lnTo>
                  <a:lnTo>
                    <a:pt x="244" y="414"/>
                  </a:lnTo>
                  <a:lnTo>
                    <a:pt x="244" y="416"/>
                  </a:lnTo>
                  <a:lnTo>
                    <a:pt x="241" y="418"/>
                  </a:lnTo>
                  <a:lnTo>
                    <a:pt x="239" y="422"/>
                  </a:lnTo>
                  <a:lnTo>
                    <a:pt x="241" y="421"/>
                  </a:lnTo>
                  <a:lnTo>
                    <a:pt x="239" y="423"/>
                  </a:lnTo>
                  <a:lnTo>
                    <a:pt x="239" y="426"/>
                  </a:lnTo>
                  <a:lnTo>
                    <a:pt x="234" y="430"/>
                  </a:lnTo>
                  <a:lnTo>
                    <a:pt x="232" y="433"/>
                  </a:lnTo>
                  <a:lnTo>
                    <a:pt x="228" y="433"/>
                  </a:lnTo>
                  <a:lnTo>
                    <a:pt x="230" y="434"/>
                  </a:lnTo>
                  <a:lnTo>
                    <a:pt x="230" y="435"/>
                  </a:lnTo>
                  <a:lnTo>
                    <a:pt x="224" y="436"/>
                  </a:lnTo>
                  <a:lnTo>
                    <a:pt x="223" y="438"/>
                  </a:lnTo>
                  <a:lnTo>
                    <a:pt x="224" y="438"/>
                  </a:lnTo>
                  <a:lnTo>
                    <a:pt x="226" y="438"/>
                  </a:lnTo>
                  <a:lnTo>
                    <a:pt x="226" y="439"/>
                  </a:lnTo>
                  <a:lnTo>
                    <a:pt x="224" y="439"/>
                  </a:lnTo>
                  <a:lnTo>
                    <a:pt x="224" y="440"/>
                  </a:lnTo>
                  <a:lnTo>
                    <a:pt x="222" y="442"/>
                  </a:lnTo>
                  <a:lnTo>
                    <a:pt x="222" y="444"/>
                  </a:lnTo>
                  <a:lnTo>
                    <a:pt x="221" y="444"/>
                  </a:lnTo>
                  <a:lnTo>
                    <a:pt x="220" y="444"/>
                  </a:lnTo>
                  <a:lnTo>
                    <a:pt x="218" y="441"/>
                  </a:lnTo>
                  <a:lnTo>
                    <a:pt x="217" y="440"/>
                  </a:lnTo>
                  <a:lnTo>
                    <a:pt x="217" y="441"/>
                  </a:lnTo>
                  <a:lnTo>
                    <a:pt x="217" y="444"/>
                  </a:lnTo>
                  <a:lnTo>
                    <a:pt x="212" y="442"/>
                  </a:lnTo>
                  <a:lnTo>
                    <a:pt x="211" y="442"/>
                  </a:lnTo>
                  <a:lnTo>
                    <a:pt x="211" y="444"/>
                  </a:lnTo>
                  <a:lnTo>
                    <a:pt x="215" y="445"/>
                  </a:lnTo>
                  <a:lnTo>
                    <a:pt x="216" y="445"/>
                  </a:lnTo>
                  <a:lnTo>
                    <a:pt x="215" y="446"/>
                  </a:lnTo>
                  <a:lnTo>
                    <a:pt x="211" y="448"/>
                  </a:lnTo>
                  <a:lnTo>
                    <a:pt x="215" y="450"/>
                  </a:lnTo>
                  <a:lnTo>
                    <a:pt x="214" y="451"/>
                  </a:lnTo>
                  <a:lnTo>
                    <a:pt x="212" y="452"/>
                  </a:lnTo>
                  <a:lnTo>
                    <a:pt x="211" y="452"/>
                  </a:lnTo>
                  <a:lnTo>
                    <a:pt x="210" y="452"/>
                  </a:lnTo>
                  <a:lnTo>
                    <a:pt x="209" y="451"/>
                  </a:lnTo>
                  <a:lnTo>
                    <a:pt x="209" y="452"/>
                  </a:lnTo>
                  <a:lnTo>
                    <a:pt x="209" y="453"/>
                  </a:lnTo>
                  <a:lnTo>
                    <a:pt x="210" y="453"/>
                  </a:lnTo>
                  <a:lnTo>
                    <a:pt x="209" y="454"/>
                  </a:lnTo>
                  <a:lnTo>
                    <a:pt x="207" y="454"/>
                  </a:lnTo>
                  <a:lnTo>
                    <a:pt x="204" y="453"/>
                  </a:lnTo>
                  <a:lnTo>
                    <a:pt x="203" y="453"/>
                  </a:lnTo>
                  <a:lnTo>
                    <a:pt x="203" y="454"/>
                  </a:lnTo>
                  <a:lnTo>
                    <a:pt x="206" y="456"/>
                  </a:lnTo>
                  <a:lnTo>
                    <a:pt x="207" y="456"/>
                  </a:lnTo>
                  <a:lnTo>
                    <a:pt x="206" y="457"/>
                  </a:lnTo>
                  <a:lnTo>
                    <a:pt x="203" y="460"/>
                  </a:lnTo>
                  <a:lnTo>
                    <a:pt x="209" y="457"/>
                  </a:lnTo>
                  <a:lnTo>
                    <a:pt x="210" y="457"/>
                  </a:lnTo>
                  <a:lnTo>
                    <a:pt x="210" y="458"/>
                  </a:lnTo>
                  <a:lnTo>
                    <a:pt x="210" y="462"/>
                  </a:lnTo>
                  <a:lnTo>
                    <a:pt x="209" y="463"/>
                  </a:lnTo>
                  <a:lnTo>
                    <a:pt x="205" y="463"/>
                  </a:lnTo>
                  <a:lnTo>
                    <a:pt x="203" y="463"/>
                  </a:lnTo>
                  <a:lnTo>
                    <a:pt x="199" y="464"/>
                  </a:lnTo>
                  <a:lnTo>
                    <a:pt x="197" y="464"/>
                  </a:lnTo>
                  <a:lnTo>
                    <a:pt x="194" y="464"/>
                  </a:lnTo>
                  <a:lnTo>
                    <a:pt x="193" y="465"/>
                  </a:lnTo>
                  <a:lnTo>
                    <a:pt x="199" y="465"/>
                  </a:lnTo>
                  <a:lnTo>
                    <a:pt x="199" y="466"/>
                  </a:lnTo>
                  <a:lnTo>
                    <a:pt x="195" y="468"/>
                  </a:lnTo>
                  <a:lnTo>
                    <a:pt x="194" y="468"/>
                  </a:lnTo>
                  <a:lnTo>
                    <a:pt x="199" y="469"/>
                  </a:lnTo>
                  <a:lnTo>
                    <a:pt x="200" y="469"/>
                  </a:lnTo>
                  <a:lnTo>
                    <a:pt x="201" y="470"/>
                  </a:lnTo>
                  <a:lnTo>
                    <a:pt x="201" y="472"/>
                  </a:lnTo>
                  <a:lnTo>
                    <a:pt x="201" y="474"/>
                  </a:lnTo>
                  <a:lnTo>
                    <a:pt x="203" y="474"/>
                  </a:lnTo>
                  <a:lnTo>
                    <a:pt x="203" y="472"/>
                  </a:lnTo>
                  <a:lnTo>
                    <a:pt x="203" y="468"/>
                  </a:lnTo>
                  <a:lnTo>
                    <a:pt x="201" y="468"/>
                  </a:lnTo>
                  <a:lnTo>
                    <a:pt x="203" y="466"/>
                  </a:lnTo>
                  <a:lnTo>
                    <a:pt x="204" y="466"/>
                  </a:lnTo>
                  <a:lnTo>
                    <a:pt x="204" y="471"/>
                  </a:lnTo>
                  <a:lnTo>
                    <a:pt x="205" y="469"/>
                  </a:lnTo>
                  <a:lnTo>
                    <a:pt x="206" y="468"/>
                  </a:lnTo>
                  <a:lnTo>
                    <a:pt x="206" y="466"/>
                  </a:lnTo>
                  <a:lnTo>
                    <a:pt x="207" y="465"/>
                  </a:lnTo>
                  <a:lnTo>
                    <a:pt x="207" y="470"/>
                  </a:lnTo>
                  <a:lnTo>
                    <a:pt x="209" y="470"/>
                  </a:lnTo>
                  <a:lnTo>
                    <a:pt x="209" y="471"/>
                  </a:lnTo>
                  <a:lnTo>
                    <a:pt x="206" y="471"/>
                  </a:lnTo>
                  <a:lnTo>
                    <a:pt x="205" y="474"/>
                  </a:lnTo>
                  <a:lnTo>
                    <a:pt x="205" y="475"/>
                  </a:lnTo>
                  <a:lnTo>
                    <a:pt x="206" y="476"/>
                  </a:lnTo>
                  <a:lnTo>
                    <a:pt x="203" y="476"/>
                  </a:lnTo>
                  <a:lnTo>
                    <a:pt x="201" y="476"/>
                  </a:lnTo>
                  <a:lnTo>
                    <a:pt x="199" y="475"/>
                  </a:lnTo>
                  <a:lnTo>
                    <a:pt x="198" y="475"/>
                  </a:lnTo>
                  <a:lnTo>
                    <a:pt x="197" y="476"/>
                  </a:lnTo>
                  <a:lnTo>
                    <a:pt x="193" y="471"/>
                  </a:lnTo>
                  <a:lnTo>
                    <a:pt x="192" y="472"/>
                  </a:lnTo>
                  <a:lnTo>
                    <a:pt x="194" y="476"/>
                  </a:lnTo>
                  <a:lnTo>
                    <a:pt x="192" y="476"/>
                  </a:lnTo>
                  <a:lnTo>
                    <a:pt x="191" y="474"/>
                  </a:lnTo>
                  <a:lnTo>
                    <a:pt x="189" y="474"/>
                  </a:lnTo>
                  <a:lnTo>
                    <a:pt x="188" y="475"/>
                  </a:lnTo>
                  <a:lnTo>
                    <a:pt x="188" y="476"/>
                  </a:lnTo>
                  <a:lnTo>
                    <a:pt x="187" y="478"/>
                  </a:lnTo>
                  <a:lnTo>
                    <a:pt x="186" y="478"/>
                  </a:lnTo>
                  <a:lnTo>
                    <a:pt x="188" y="480"/>
                  </a:lnTo>
                  <a:lnTo>
                    <a:pt x="189" y="478"/>
                  </a:lnTo>
                  <a:lnTo>
                    <a:pt x="191" y="478"/>
                  </a:lnTo>
                  <a:lnTo>
                    <a:pt x="192" y="477"/>
                  </a:lnTo>
                  <a:lnTo>
                    <a:pt x="193" y="478"/>
                  </a:lnTo>
                  <a:lnTo>
                    <a:pt x="193" y="480"/>
                  </a:lnTo>
                  <a:lnTo>
                    <a:pt x="191" y="483"/>
                  </a:lnTo>
                  <a:lnTo>
                    <a:pt x="186" y="484"/>
                  </a:lnTo>
                  <a:lnTo>
                    <a:pt x="182" y="482"/>
                  </a:lnTo>
                  <a:lnTo>
                    <a:pt x="176" y="482"/>
                  </a:lnTo>
                  <a:lnTo>
                    <a:pt x="173" y="486"/>
                  </a:lnTo>
                  <a:lnTo>
                    <a:pt x="171" y="487"/>
                  </a:lnTo>
                  <a:lnTo>
                    <a:pt x="169" y="487"/>
                  </a:lnTo>
                  <a:lnTo>
                    <a:pt x="168" y="488"/>
                  </a:lnTo>
                  <a:lnTo>
                    <a:pt x="167" y="487"/>
                  </a:lnTo>
                  <a:lnTo>
                    <a:pt x="165" y="489"/>
                  </a:lnTo>
                  <a:lnTo>
                    <a:pt x="163" y="492"/>
                  </a:lnTo>
                  <a:lnTo>
                    <a:pt x="163" y="493"/>
                  </a:lnTo>
                  <a:lnTo>
                    <a:pt x="161" y="493"/>
                  </a:lnTo>
                  <a:lnTo>
                    <a:pt x="158" y="493"/>
                  </a:lnTo>
                  <a:lnTo>
                    <a:pt x="158" y="492"/>
                  </a:lnTo>
                  <a:lnTo>
                    <a:pt x="158" y="489"/>
                  </a:lnTo>
                  <a:lnTo>
                    <a:pt x="156" y="488"/>
                  </a:lnTo>
                  <a:lnTo>
                    <a:pt x="156" y="489"/>
                  </a:lnTo>
                  <a:lnTo>
                    <a:pt x="156" y="491"/>
                  </a:lnTo>
                  <a:lnTo>
                    <a:pt x="157" y="493"/>
                  </a:lnTo>
                  <a:lnTo>
                    <a:pt x="158" y="495"/>
                  </a:lnTo>
                  <a:lnTo>
                    <a:pt x="157" y="497"/>
                  </a:lnTo>
                  <a:lnTo>
                    <a:pt x="156" y="498"/>
                  </a:lnTo>
                  <a:lnTo>
                    <a:pt x="153" y="498"/>
                  </a:lnTo>
                  <a:lnTo>
                    <a:pt x="152" y="497"/>
                  </a:lnTo>
                  <a:lnTo>
                    <a:pt x="150" y="497"/>
                  </a:lnTo>
                  <a:lnTo>
                    <a:pt x="147" y="499"/>
                  </a:lnTo>
                  <a:lnTo>
                    <a:pt x="150" y="499"/>
                  </a:lnTo>
                  <a:lnTo>
                    <a:pt x="153" y="499"/>
                  </a:lnTo>
                  <a:lnTo>
                    <a:pt x="152" y="500"/>
                  </a:lnTo>
                  <a:lnTo>
                    <a:pt x="147" y="505"/>
                  </a:lnTo>
                  <a:lnTo>
                    <a:pt x="146" y="504"/>
                  </a:lnTo>
                  <a:lnTo>
                    <a:pt x="145" y="505"/>
                  </a:lnTo>
                  <a:lnTo>
                    <a:pt x="144" y="506"/>
                  </a:lnTo>
                  <a:lnTo>
                    <a:pt x="138" y="506"/>
                  </a:lnTo>
                  <a:lnTo>
                    <a:pt x="134" y="506"/>
                  </a:lnTo>
                  <a:lnTo>
                    <a:pt x="133" y="506"/>
                  </a:lnTo>
                  <a:lnTo>
                    <a:pt x="130" y="506"/>
                  </a:lnTo>
                  <a:lnTo>
                    <a:pt x="130" y="507"/>
                  </a:lnTo>
                  <a:lnTo>
                    <a:pt x="133" y="507"/>
                  </a:lnTo>
                  <a:lnTo>
                    <a:pt x="135" y="509"/>
                  </a:lnTo>
                  <a:lnTo>
                    <a:pt x="132" y="512"/>
                  </a:lnTo>
                  <a:lnTo>
                    <a:pt x="132" y="513"/>
                  </a:lnTo>
                  <a:lnTo>
                    <a:pt x="133" y="513"/>
                  </a:lnTo>
                  <a:lnTo>
                    <a:pt x="136" y="510"/>
                  </a:lnTo>
                  <a:lnTo>
                    <a:pt x="138" y="510"/>
                  </a:lnTo>
                  <a:lnTo>
                    <a:pt x="139" y="510"/>
                  </a:lnTo>
                  <a:lnTo>
                    <a:pt x="139" y="511"/>
                  </a:lnTo>
                  <a:lnTo>
                    <a:pt x="138" y="512"/>
                  </a:lnTo>
                  <a:lnTo>
                    <a:pt x="138" y="513"/>
                  </a:lnTo>
                  <a:lnTo>
                    <a:pt x="139" y="513"/>
                  </a:lnTo>
                  <a:lnTo>
                    <a:pt x="140" y="511"/>
                  </a:lnTo>
                  <a:lnTo>
                    <a:pt x="140" y="510"/>
                  </a:lnTo>
                  <a:lnTo>
                    <a:pt x="142" y="507"/>
                  </a:lnTo>
                  <a:lnTo>
                    <a:pt x="146" y="507"/>
                  </a:lnTo>
                  <a:lnTo>
                    <a:pt x="146" y="510"/>
                  </a:lnTo>
                  <a:lnTo>
                    <a:pt x="141" y="513"/>
                  </a:lnTo>
                  <a:lnTo>
                    <a:pt x="140" y="516"/>
                  </a:lnTo>
                  <a:lnTo>
                    <a:pt x="133" y="521"/>
                  </a:lnTo>
                  <a:lnTo>
                    <a:pt x="133" y="522"/>
                  </a:lnTo>
                  <a:lnTo>
                    <a:pt x="138" y="519"/>
                  </a:lnTo>
                  <a:lnTo>
                    <a:pt x="139" y="519"/>
                  </a:lnTo>
                  <a:lnTo>
                    <a:pt x="139" y="522"/>
                  </a:lnTo>
                  <a:lnTo>
                    <a:pt x="140" y="522"/>
                  </a:lnTo>
                  <a:lnTo>
                    <a:pt x="140" y="518"/>
                  </a:lnTo>
                  <a:lnTo>
                    <a:pt x="141" y="517"/>
                  </a:lnTo>
                  <a:lnTo>
                    <a:pt x="142" y="517"/>
                  </a:lnTo>
                  <a:lnTo>
                    <a:pt x="144" y="522"/>
                  </a:lnTo>
                  <a:lnTo>
                    <a:pt x="145" y="525"/>
                  </a:lnTo>
                  <a:lnTo>
                    <a:pt x="146" y="527"/>
                  </a:lnTo>
                  <a:lnTo>
                    <a:pt x="147" y="527"/>
                  </a:lnTo>
                  <a:lnTo>
                    <a:pt x="149" y="528"/>
                  </a:lnTo>
                  <a:lnTo>
                    <a:pt x="149" y="523"/>
                  </a:lnTo>
                  <a:lnTo>
                    <a:pt x="152" y="522"/>
                  </a:lnTo>
                  <a:lnTo>
                    <a:pt x="153" y="521"/>
                  </a:lnTo>
                  <a:lnTo>
                    <a:pt x="153" y="518"/>
                  </a:lnTo>
                  <a:lnTo>
                    <a:pt x="155" y="517"/>
                  </a:lnTo>
                  <a:lnTo>
                    <a:pt x="155" y="518"/>
                  </a:lnTo>
                  <a:lnTo>
                    <a:pt x="157" y="519"/>
                  </a:lnTo>
                  <a:lnTo>
                    <a:pt x="158" y="522"/>
                  </a:lnTo>
                  <a:lnTo>
                    <a:pt x="159" y="523"/>
                  </a:lnTo>
                  <a:lnTo>
                    <a:pt x="159" y="528"/>
                  </a:lnTo>
                  <a:lnTo>
                    <a:pt x="161" y="528"/>
                  </a:lnTo>
                  <a:lnTo>
                    <a:pt x="162" y="528"/>
                  </a:lnTo>
                  <a:lnTo>
                    <a:pt x="162" y="527"/>
                  </a:lnTo>
                  <a:lnTo>
                    <a:pt x="162" y="519"/>
                  </a:lnTo>
                  <a:lnTo>
                    <a:pt x="163" y="518"/>
                  </a:lnTo>
                  <a:lnTo>
                    <a:pt x="163" y="524"/>
                  </a:lnTo>
                  <a:lnTo>
                    <a:pt x="164" y="524"/>
                  </a:lnTo>
                  <a:lnTo>
                    <a:pt x="164" y="523"/>
                  </a:lnTo>
                  <a:lnTo>
                    <a:pt x="165" y="521"/>
                  </a:lnTo>
                  <a:lnTo>
                    <a:pt x="165" y="519"/>
                  </a:lnTo>
                  <a:lnTo>
                    <a:pt x="167" y="519"/>
                  </a:lnTo>
                  <a:lnTo>
                    <a:pt x="168" y="521"/>
                  </a:lnTo>
                  <a:lnTo>
                    <a:pt x="168" y="522"/>
                  </a:lnTo>
                  <a:lnTo>
                    <a:pt x="169" y="521"/>
                  </a:lnTo>
                  <a:lnTo>
                    <a:pt x="170" y="519"/>
                  </a:lnTo>
                  <a:lnTo>
                    <a:pt x="169" y="518"/>
                  </a:lnTo>
                  <a:lnTo>
                    <a:pt x="168" y="516"/>
                  </a:lnTo>
                  <a:lnTo>
                    <a:pt x="169" y="515"/>
                  </a:lnTo>
                  <a:lnTo>
                    <a:pt x="169" y="512"/>
                  </a:lnTo>
                  <a:lnTo>
                    <a:pt x="169" y="511"/>
                  </a:lnTo>
                  <a:lnTo>
                    <a:pt x="170" y="511"/>
                  </a:lnTo>
                  <a:lnTo>
                    <a:pt x="171" y="511"/>
                  </a:lnTo>
                  <a:lnTo>
                    <a:pt x="170" y="512"/>
                  </a:lnTo>
                  <a:lnTo>
                    <a:pt x="170" y="513"/>
                  </a:lnTo>
                  <a:lnTo>
                    <a:pt x="170" y="515"/>
                  </a:lnTo>
                  <a:lnTo>
                    <a:pt x="169" y="516"/>
                  </a:lnTo>
                  <a:lnTo>
                    <a:pt x="170" y="518"/>
                  </a:lnTo>
                  <a:lnTo>
                    <a:pt x="170" y="519"/>
                  </a:lnTo>
                  <a:lnTo>
                    <a:pt x="171" y="519"/>
                  </a:lnTo>
                  <a:lnTo>
                    <a:pt x="171" y="521"/>
                  </a:lnTo>
                  <a:lnTo>
                    <a:pt x="170" y="524"/>
                  </a:lnTo>
                  <a:lnTo>
                    <a:pt x="170" y="528"/>
                  </a:lnTo>
                  <a:lnTo>
                    <a:pt x="171" y="528"/>
                  </a:lnTo>
                  <a:lnTo>
                    <a:pt x="173" y="525"/>
                  </a:lnTo>
                  <a:lnTo>
                    <a:pt x="173" y="524"/>
                  </a:lnTo>
                  <a:lnTo>
                    <a:pt x="174" y="523"/>
                  </a:lnTo>
                  <a:lnTo>
                    <a:pt x="175" y="522"/>
                  </a:lnTo>
                  <a:lnTo>
                    <a:pt x="175" y="517"/>
                  </a:lnTo>
                  <a:lnTo>
                    <a:pt x="175" y="516"/>
                  </a:lnTo>
                  <a:lnTo>
                    <a:pt x="176" y="516"/>
                  </a:lnTo>
                  <a:lnTo>
                    <a:pt x="176" y="517"/>
                  </a:lnTo>
                  <a:lnTo>
                    <a:pt x="179" y="519"/>
                  </a:lnTo>
                  <a:lnTo>
                    <a:pt x="179" y="521"/>
                  </a:lnTo>
                  <a:lnTo>
                    <a:pt x="180" y="522"/>
                  </a:lnTo>
                  <a:lnTo>
                    <a:pt x="181" y="523"/>
                  </a:lnTo>
                  <a:lnTo>
                    <a:pt x="181" y="524"/>
                  </a:lnTo>
                  <a:lnTo>
                    <a:pt x="180" y="527"/>
                  </a:lnTo>
                  <a:lnTo>
                    <a:pt x="179" y="527"/>
                  </a:lnTo>
                  <a:lnTo>
                    <a:pt x="176" y="528"/>
                  </a:lnTo>
                  <a:lnTo>
                    <a:pt x="175" y="528"/>
                  </a:lnTo>
                  <a:lnTo>
                    <a:pt x="173" y="530"/>
                  </a:lnTo>
                  <a:lnTo>
                    <a:pt x="171" y="531"/>
                  </a:lnTo>
                  <a:lnTo>
                    <a:pt x="173" y="531"/>
                  </a:lnTo>
                  <a:lnTo>
                    <a:pt x="174" y="531"/>
                  </a:lnTo>
                  <a:lnTo>
                    <a:pt x="176" y="531"/>
                  </a:lnTo>
                  <a:lnTo>
                    <a:pt x="176" y="530"/>
                  </a:lnTo>
                  <a:lnTo>
                    <a:pt x="177" y="530"/>
                  </a:lnTo>
                  <a:lnTo>
                    <a:pt x="177" y="531"/>
                  </a:lnTo>
                  <a:lnTo>
                    <a:pt x="177" y="533"/>
                  </a:lnTo>
                  <a:lnTo>
                    <a:pt x="176" y="534"/>
                  </a:lnTo>
                  <a:lnTo>
                    <a:pt x="175" y="535"/>
                  </a:lnTo>
                  <a:lnTo>
                    <a:pt x="174" y="535"/>
                  </a:lnTo>
                  <a:lnTo>
                    <a:pt x="173" y="535"/>
                  </a:lnTo>
                  <a:lnTo>
                    <a:pt x="171" y="533"/>
                  </a:lnTo>
                  <a:lnTo>
                    <a:pt x="170" y="533"/>
                  </a:lnTo>
                  <a:lnTo>
                    <a:pt x="170" y="534"/>
                  </a:lnTo>
                  <a:lnTo>
                    <a:pt x="170" y="535"/>
                  </a:lnTo>
                  <a:lnTo>
                    <a:pt x="165" y="535"/>
                  </a:lnTo>
                  <a:lnTo>
                    <a:pt x="164" y="534"/>
                  </a:lnTo>
                  <a:lnTo>
                    <a:pt x="162" y="534"/>
                  </a:lnTo>
                  <a:lnTo>
                    <a:pt x="162" y="533"/>
                  </a:lnTo>
                  <a:lnTo>
                    <a:pt x="161" y="533"/>
                  </a:lnTo>
                  <a:lnTo>
                    <a:pt x="159" y="534"/>
                  </a:lnTo>
                  <a:lnTo>
                    <a:pt x="151" y="535"/>
                  </a:lnTo>
                  <a:lnTo>
                    <a:pt x="150" y="534"/>
                  </a:lnTo>
                  <a:lnTo>
                    <a:pt x="149" y="534"/>
                  </a:lnTo>
                  <a:lnTo>
                    <a:pt x="146" y="535"/>
                  </a:lnTo>
                  <a:lnTo>
                    <a:pt x="145" y="535"/>
                  </a:lnTo>
                  <a:lnTo>
                    <a:pt x="144" y="534"/>
                  </a:lnTo>
                  <a:lnTo>
                    <a:pt x="142" y="534"/>
                  </a:lnTo>
                  <a:lnTo>
                    <a:pt x="141" y="534"/>
                  </a:lnTo>
                  <a:lnTo>
                    <a:pt x="138" y="534"/>
                  </a:lnTo>
                  <a:lnTo>
                    <a:pt x="136" y="535"/>
                  </a:lnTo>
                  <a:lnTo>
                    <a:pt x="133" y="536"/>
                  </a:lnTo>
                  <a:lnTo>
                    <a:pt x="132" y="535"/>
                  </a:lnTo>
                  <a:lnTo>
                    <a:pt x="129" y="535"/>
                  </a:lnTo>
                  <a:lnTo>
                    <a:pt x="127" y="536"/>
                  </a:lnTo>
                  <a:lnTo>
                    <a:pt x="124" y="537"/>
                  </a:lnTo>
                  <a:lnTo>
                    <a:pt x="123" y="537"/>
                  </a:lnTo>
                  <a:lnTo>
                    <a:pt x="122" y="539"/>
                  </a:lnTo>
                  <a:lnTo>
                    <a:pt x="118" y="539"/>
                  </a:lnTo>
                  <a:lnTo>
                    <a:pt x="117" y="540"/>
                  </a:lnTo>
                  <a:lnTo>
                    <a:pt x="116" y="541"/>
                  </a:lnTo>
                  <a:lnTo>
                    <a:pt x="112" y="541"/>
                  </a:lnTo>
                  <a:lnTo>
                    <a:pt x="111" y="542"/>
                  </a:lnTo>
                  <a:lnTo>
                    <a:pt x="110" y="542"/>
                  </a:lnTo>
                  <a:lnTo>
                    <a:pt x="109" y="543"/>
                  </a:lnTo>
                  <a:lnTo>
                    <a:pt x="108" y="545"/>
                  </a:lnTo>
                  <a:lnTo>
                    <a:pt x="106" y="546"/>
                  </a:lnTo>
                  <a:lnTo>
                    <a:pt x="105" y="547"/>
                  </a:lnTo>
                  <a:lnTo>
                    <a:pt x="103" y="547"/>
                  </a:lnTo>
                  <a:lnTo>
                    <a:pt x="100" y="546"/>
                  </a:lnTo>
                  <a:lnTo>
                    <a:pt x="99" y="546"/>
                  </a:lnTo>
                  <a:lnTo>
                    <a:pt x="98" y="547"/>
                  </a:lnTo>
                  <a:lnTo>
                    <a:pt x="97" y="547"/>
                  </a:lnTo>
                  <a:lnTo>
                    <a:pt x="94" y="546"/>
                  </a:lnTo>
                  <a:lnTo>
                    <a:pt x="93" y="546"/>
                  </a:lnTo>
                  <a:lnTo>
                    <a:pt x="97" y="548"/>
                  </a:lnTo>
                  <a:lnTo>
                    <a:pt x="96" y="549"/>
                  </a:lnTo>
                  <a:lnTo>
                    <a:pt x="90" y="553"/>
                  </a:lnTo>
                  <a:lnTo>
                    <a:pt x="96" y="552"/>
                  </a:lnTo>
                  <a:lnTo>
                    <a:pt x="97" y="552"/>
                  </a:lnTo>
                  <a:lnTo>
                    <a:pt x="98" y="553"/>
                  </a:lnTo>
                  <a:lnTo>
                    <a:pt x="97" y="555"/>
                  </a:lnTo>
                  <a:lnTo>
                    <a:pt x="99" y="554"/>
                  </a:lnTo>
                  <a:lnTo>
                    <a:pt x="99" y="553"/>
                  </a:lnTo>
                  <a:lnTo>
                    <a:pt x="99" y="551"/>
                  </a:lnTo>
                  <a:lnTo>
                    <a:pt x="100" y="551"/>
                  </a:lnTo>
                  <a:lnTo>
                    <a:pt x="100" y="552"/>
                  </a:lnTo>
                  <a:lnTo>
                    <a:pt x="102" y="553"/>
                  </a:lnTo>
                  <a:lnTo>
                    <a:pt x="103" y="549"/>
                  </a:lnTo>
                  <a:lnTo>
                    <a:pt x="104" y="549"/>
                  </a:lnTo>
                  <a:lnTo>
                    <a:pt x="104" y="553"/>
                  </a:lnTo>
                  <a:lnTo>
                    <a:pt x="105" y="554"/>
                  </a:lnTo>
                  <a:lnTo>
                    <a:pt x="106" y="555"/>
                  </a:lnTo>
                  <a:lnTo>
                    <a:pt x="106" y="558"/>
                  </a:lnTo>
                  <a:lnTo>
                    <a:pt x="108" y="558"/>
                  </a:lnTo>
                  <a:lnTo>
                    <a:pt x="109" y="559"/>
                  </a:lnTo>
                  <a:lnTo>
                    <a:pt x="110" y="560"/>
                  </a:lnTo>
                  <a:lnTo>
                    <a:pt x="110" y="563"/>
                  </a:lnTo>
                  <a:lnTo>
                    <a:pt x="111" y="564"/>
                  </a:lnTo>
                  <a:lnTo>
                    <a:pt x="112" y="563"/>
                  </a:lnTo>
                  <a:lnTo>
                    <a:pt x="114" y="561"/>
                  </a:lnTo>
                  <a:lnTo>
                    <a:pt x="114" y="559"/>
                  </a:lnTo>
                  <a:lnTo>
                    <a:pt x="111" y="558"/>
                  </a:lnTo>
                  <a:lnTo>
                    <a:pt x="114" y="557"/>
                  </a:lnTo>
                  <a:lnTo>
                    <a:pt x="114" y="555"/>
                  </a:lnTo>
                  <a:lnTo>
                    <a:pt x="112" y="553"/>
                  </a:lnTo>
                  <a:lnTo>
                    <a:pt x="112" y="551"/>
                  </a:lnTo>
                  <a:lnTo>
                    <a:pt x="114" y="549"/>
                  </a:lnTo>
                  <a:lnTo>
                    <a:pt x="112" y="547"/>
                  </a:lnTo>
                  <a:lnTo>
                    <a:pt x="114" y="546"/>
                  </a:lnTo>
                  <a:lnTo>
                    <a:pt x="115" y="545"/>
                  </a:lnTo>
                  <a:lnTo>
                    <a:pt x="116" y="545"/>
                  </a:lnTo>
                  <a:lnTo>
                    <a:pt x="116" y="546"/>
                  </a:lnTo>
                  <a:lnTo>
                    <a:pt x="115" y="547"/>
                  </a:lnTo>
                  <a:lnTo>
                    <a:pt x="115" y="549"/>
                  </a:lnTo>
                  <a:lnTo>
                    <a:pt x="116" y="549"/>
                  </a:lnTo>
                  <a:lnTo>
                    <a:pt x="117" y="549"/>
                  </a:lnTo>
                  <a:lnTo>
                    <a:pt x="117" y="551"/>
                  </a:lnTo>
                  <a:lnTo>
                    <a:pt x="117" y="552"/>
                  </a:lnTo>
                  <a:lnTo>
                    <a:pt x="116" y="553"/>
                  </a:lnTo>
                  <a:lnTo>
                    <a:pt x="116" y="555"/>
                  </a:lnTo>
                  <a:lnTo>
                    <a:pt x="116" y="558"/>
                  </a:lnTo>
                  <a:lnTo>
                    <a:pt x="117" y="558"/>
                  </a:lnTo>
                  <a:lnTo>
                    <a:pt x="117" y="555"/>
                  </a:lnTo>
                  <a:lnTo>
                    <a:pt x="118" y="553"/>
                  </a:lnTo>
                  <a:lnTo>
                    <a:pt x="120" y="553"/>
                  </a:lnTo>
                  <a:lnTo>
                    <a:pt x="120" y="555"/>
                  </a:lnTo>
                  <a:lnTo>
                    <a:pt x="121" y="557"/>
                  </a:lnTo>
                  <a:lnTo>
                    <a:pt x="122" y="555"/>
                  </a:lnTo>
                  <a:lnTo>
                    <a:pt x="121" y="554"/>
                  </a:lnTo>
                  <a:lnTo>
                    <a:pt x="122" y="553"/>
                  </a:lnTo>
                  <a:lnTo>
                    <a:pt x="122" y="552"/>
                  </a:lnTo>
                  <a:lnTo>
                    <a:pt x="123" y="551"/>
                  </a:lnTo>
                  <a:lnTo>
                    <a:pt x="124" y="552"/>
                  </a:lnTo>
                  <a:lnTo>
                    <a:pt x="124" y="553"/>
                  </a:lnTo>
                  <a:lnTo>
                    <a:pt x="124" y="554"/>
                  </a:lnTo>
                  <a:lnTo>
                    <a:pt x="124" y="557"/>
                  </a:lnTo>
                  <a:lnTo>
                    <a:pt x="123" y="558"/>
                  </a:lnTo>
                  <a:lnTo>
                    <a:pt x="123" y="563"/>
                  </a:lnTo>
                  <a:lnTo>
                    <a:pt x="123" y="565"/>
                  </a:lnTo>
                  <a:lnTo>
                    <a:pt x="124" y="564"/>
                  </a:lnTo>
                  <a:lnTo>
                    <a:pt x="126" y="564"/>
                  </a:lnTo>
                  <a:lnTo>
                    <a:pt x="126" y="561"/>
                  </a:lnTo>
                  <a:lnTo>
                    <a:pt x="126" y="560"/>
                  </a:lnTo>
                  <a:lnTo>
                    <a:pt x="127" y="559"/>
                  </a:lnTo>
                  <a:lnTo>
                    <a:pt x="127" y="558"/>
                  </a:lnTo>
                  <a:lnTo>
                    <a:pt x="128" y="557"/>
                  </a:lnTo>
                  <a:lnTo>
                    <a:pt x="128" y="552"/>
                  </a:lnTo>
                  <a:lnTo>
                    <a:pt x="129" y="553"/>
                  </a:lnTo>
                  <a:lnTo>
                    <a:pt x="130" y="553"/>
                  </a:lnTo>
                  <a:lnTo>
                    <a:pt x="130" y="552"/>
                  </a:lnTo>
                  <a:lnTo>
                    <a:pt x="132" y="552"/>
                  </a:lnTo>
                  <a:lnTo>
                    <a:pt x="132" y="549"/>
                  </a:lnTo>
                  <a:lnTo>
                    <a:pt x="132" y="547"/>
                  </a:lnTo>
                  <a:lnTo>
                    <a:pt x="133" y="549"/>
                  </a:lnTo>
                  <a:lnTo>
                    <a:pt x="133" y="552"/>
                  </a:lnTo>
                  <a:lnTo>
                    <a:pt x="133" y="554"/>
                  </a:lnTo>
                  <a:lnTo>
                    <a:pt x="132" y="554"/>
                  </a:lnTo>
                  <a:lnTo>
                    <a:pt x="132" y="557"/>
                  </a:lnTo>
                  <a:lnTo>
                    <a:pt x="132" y="558"/>
                  </a:lnTo>
                  <a:lnTo>
                    <a:pt x="133" y="557"/>
                  </a:lnTo>
                  <a:lnTo>
                    <a:pt x="134" y="557"/>
                  </a:lnTo>
                  <a:lnTo>
                    <a:pt x="135" y="557"/>
                  </a:lnTo>
                  <a:lnTo>
                    <a:pt x="135" y="555"/>
                  </a:lnTo>
                  <a:lnTo>
                    <a:pt x="136" y="560"/>
                  </a:lnTo>
                  <a:lnTo>
                    <a:pt x="136" y="561"/>
                  </a:lnTo>
                  <a:lnTo>
                    <a:pt x="138" y="561"/>
                  </a:lnTo>
                  <a:lnTo>
                    <a:pt x="138" y="555"/>
                  </a:lnTo>
                  <a:lnTo>
                    <a:pt x="139" y="555"/>
                  </a:lnTo>
                  <a:lnTo>
                    <a:pt x="139" y="558"/>
                  </a:lnTo>
                  <a:lnTo>
                    <a:pt x="139" y="559"/>
                  </a:lnTo>
                  <a:lnTo>
                    <a:pt x="140" y="559"/>
                  </a:lnTo>
                  <a:lnTo>
                    <a:pt x="140" y="560"/>
                  </a:lnTo>
                  <a:lnTo>
                    <a:pt x="141" y="561"/>
                  </a:lnTo>
                  <a:lnTo>
                    <a:pt x="141" y="563"/>
                  </a:lnTo>
                  <a:lnTo>
                    <a:pt x="141" y="565"/>
                  </a:lnTo>
                  <a:lnTo>
                    <a:pt x="142" y="565"/>
                  </a:lnTo>
                  <a:lnTo>
                    <a:pt x="142" y="566"/>
                  </a:lnTo>
                  <a:lnTo>
                    <a:pt x="144" y="567"/>
                  </a:lnTo>
                  <a:lnTo>
                    <a:pt x="145" y="567"/>
                  </a:lnTo>
                  <a:lnTo>
                    <a:pt x="145" y="566"/>
                  </a:lnTo>
                  <a:lnTo>
                    <a:pt x="146" y="566"/>
                  </a:lnTo>
                  <a:lnTo>
                    <a:pt x="146" y="565"/>
                  </a:lnTo>
                  <a:lnTo>
                    <a:pt x="146" y="564"/>
                  </a:lnTo>
                  <a:lnTo>
                    <a:pt x="146" y="563"/>
                  </a:lnTo>
                  <a:lnTo>
                    <a:pt x="147" y="561"/>
                  </a:lnTo>
                  <a:lnTo>
                    <a:pt x="147" y="560"/>
                  </a:lnTo>
                  <a:lnTo>
                    <a:pt x="149" y="561"/>
                  </a:lnTo>
                  <a:lnTo>
                    <a:pt x="149" y="560"/>
                  </a:lnTo>
                  <a:lnTo>
                    <a:pt x="149" y="559"/>
                  </a:lnTo>
                  <a:lnTo>
                    <a:pt x="149" y="558"/>
                  </a:lnTo>
                  <a:lnTo>
                    <a:pt x="149" y="557"/>
                  </a:lnTo>
                  <a:lnTo>
                    <a:pt x="150" y="557"/>
                  </a:lnTo>
                  <a:lnTo>
                    <a:pt x="151" y="557"/>
                  </a:lnTo>
                  <a:lnTo>
                    <a:pt x="151" y="558"/>
                  </a:lnTo>
                  <a:lnTo>
                    <a:pt x="152" y="559"/>
                  </a:lnTo>
                  <a:lnTo>
                    <a:pt x="152" y="558"/>
                  </a:lnTo>
                  <a:lnTo>
                    <a:pt x="153" y="559"/>
                  </a:lnTo>
                  <a:lnTo>
                    <a:pt x="153" y="560"/>
                  </a:lnTo>
                  <a:lnTo>
                    <a:pt x="153" y="561"/>
                  </a:lnTo>
                  <a:lnTo>
                    <a:pt x="152" y="563"/>
                  </a:lnTo>
                  <a:lnTo>
                    <a:pt x="153" y="564"/>
                  </a:lnTo>
                  <a:lnTo>
                    <a:pt x="152" y="565"/>
                  </a:lnTo>
                  <a:lnTo>
                    <a:pt x="152" y="566"/>
                  </a:lnTo>
                  <a:lnTo>
                    <a:pt x="152" y="567"/>
                  </a:lnTo>
                  <a:lnTo>
                    <a:pt x="153" y="567"/>
                  </a:lnTo>
                  <a:lnTo>
                    <a:pt x="153" y="566"/>
                  </a:lnTo>
                  <a:lnTo>
                    <a:pt x="155" y="566"/>
                  </a:lnTo>
                  <a:lnTo>
                    <a:pt x="156" y="565"/>
                  </a:lnTo>
                  <a:lnTo>
                    <a:pt x="157" y="565"/>
                  </a:lnTo>
                  <a:lnTo>
                    <a:pt x="158" y="565"/>
                  </a:lnTo>
                  <a:lnTo>
                    <a:pt x="159" y="565"/>
                  </a:lnTo>
                  <a:lnTo>
                    <a:pt x="159" y="566"/>
                  </a:lnTo>
                  <a:lnTo>
                    <a:pt x="161" y="566"/>
                  </a:lnTo>
                  <a:lnTo>
                    <a:pt x="162" y="565"/>
                  </a:lnTo>
                  <a:lnTo>
                    <a:pt x="162" y="563"/>
                  </a:lnTo>
                  <a:lnTo>
                    <a:pt x="162" y="561"/>
                  </a:lnTo>
                  <a:lnTo>
                    <a:pt x="163" y="563"/>
                  </a:lnTo>
                  <a:lnTo>
                    <a:pt x="164" y="563"/>
                  </a:lnTo>
                  <a:lnTo>
                    <a:pt x="163" y="564"/>
                  </a:lnTo>
                  <a:lnTo>
                    <a:pt x="163" y="565"/>
                  </a:lnTo>
                  <a:lnTo>
                    <a:pt x="163" y="566"/>
                  </a:lnTo>
                  <a:lnTo>
                    <a:pt x="164" y="566"/>
                  </a:lnTo>
                  <a:lnTo>
                    <a:pt x="165" y="566"/>
                  </a:lnTo>
                  <a:lnTo>
                    <a:pt x="167" y="566"/>
                  </a:lnTo>
                  <a:lnTo>
                    <a:pt x="168" y="565"/>
                  </a:lnTo>
                  <a:lnTo>
                    <a:pt x="168" y="564"/>
                  </a:lnTo>
                  <a:lnTo>
                    <a:pt x="169" y="564"/>
                  </a:lnTo>
                  <a:lnTo>
                    <a:pt x="170" y="563"/>
                  </a:lnTo>
                  <a:lnTo>
                    <a:pt x="171" y="564"/>
                  </a:lnTo>
                  <a:lnTo>
                    <a:pt x="171" y="565"/>
                  </a:lnTo>
                  <a:lnTo>
                    <a:pt x="173" y="565"/>
                  </a:lnTo>
                  <a:lnTo>
                    <a:pt x="173" y="566"/>
                  </a:lnTo>
                  <a:lnTo>
                    <a:pt x="174" y="567"/>
                  </a:lnTo>
                  <a:lnTo>
                    <a:pt x="173" y="567"/>
                  </a:lnTo>
                  <a:lnTo>
                    <a:pt x="170" y="567"/>
                  </a:lnTo>
                  <a:lnTo>
                    <a:pt x="170" y="569"/>
                  </a:lnTo>
                  <a:lnTo>
                    <a:pt x="169" y="569"/>
                  </a:lnTo>
                  <a:lnTo>
                    <a:pt x="168" y="569"/>
                  </a:lnTo>
                  <a:lnTo>
                    <a:pt x="167" y="569"/>
                  </a:lnTo>
                  <a:lnTo>
                    <a:pt x="167" y="566"/>
                  </a:lnTo>
                  <a:lnTo>
                    <a:pt x="165" y="567"/>
                  </a:lnTo>
                  <a:lnTo>
                    <a:pt x="164" y="567"/>
                  </a:lnTo>
                  <a:lnTo>
                    <a:pt x="163" y="567"/>
                  </a:lnTo>
                  <a:lnTo>
                    <a:pt x="162" y="567"/>
                  </a:lnTo>
                  <a:lnTo>
                    <a:pt x="161" y="569"/>
                  </a:lnTo>
                  <a:lnTo>
                    <a:pt x="159" y="569"/>
                  </a:lnTo>
                  <a:lnTo>
                    <a:pt x="158" y="569"/>
                  </a:lnTo>
                  <a:lnTo>
                    <a:pt x="157" y="569"/>
                  </a:lnTo>
                  <a:lnTo>
                    <a:pt x="151" y="569"/>
                  </a:lnTo>
                  <a:lnTo>
                    <a:pt x="150" y="570"/>
                  </a:lnTo>
                  <a:lnTo>
                    <a:pt x="151" y="570"/>
                  </a:lnTo>
                  <a:lnTo>
                    <a:pt x="153" y="570"/>
                  </a:lnTo>
                  <a:lnTo>
                    <a:pt x="153" y="571"/>
                  </a:lnTo>
                  <a:lnTo>
                    <a:pt x="155" y="571"/>
                  </a:lnTo>
                  <a:lnTo>
                    <a:pt x="156" y="571"/>
                  </a:lnTo>
                  <a:lnTo>
                    <a:pt x="156" y="572"/>
                  </a:lnTo>
                  <a:lnTo>
                    <a:pt x="155" y="573"/>
                  </a:lnTo>
                  <a:lnTo>
                    <a:pt x="153" y="575"/>
                  </a:lnTo>
                  <a:lnTo>
                    <a:pt x="153" y="576"/>
                  </a:lnTo>
                  <a:lnTo>
                    <a:pt x="155" y="576"/>
                  </a:lnTo>
                  <a:lnTo>
                    <a:pt x="156" y="575"/>
                  </a:lnTo>
                  <a:lnTo>
                    <a:pt x="157" y="573"/>
                  </a:lnTo>
                  <a:lnTo>
                    <a:pt x="157" y="572"/>
                  </a:lnTo>
                  <a:lnTo>
                    <a:pt x="158" y="571"/>
                  </a:lnTo>
                  <a:lnTo>
                    <a:pt x="159" y="571"/>
                  </a:lnTo>
                  <a:lnTo>
                    <a:pt x="159" y="572"/>
                  </a:lnTo>
                  <a:lnTo>
                    <a:pt x="159" y="573"/>
                  </a:lnTo>
                  <a:lnTo>
                    <a:pt x="158" y="575"/>
                  </a:lnTo>
                  <a:lnTo>
                    <a:pt x="159" y="575"/>
                  </a:lnTo>
                  <a:lnTo>
                    <a:pt x="161" y="575"/>
                  </a:lnTo>
                  <a:lnTo>
                    <a:pt x="161" y="572"/>
                  </a:lnTo>
                  <a:lnTo>
                    <a:pt x="162" y="571"/>
                  </a:lnTo>
                  <a:lnTo>
                    <a:pt x="162" y="572"/>
                  </a:lnTo>
                  <a:lnTo>
                    <a:pt x="163" y="572"/>
                  </a:lnTo>
                  <a:lnTo>
                    <a:pt x="163" y="571"/>
                  </a:lnTo>
                  <a:lnTo>
                    <a:pt x="164" y="571"/>
                  </a:lnTo>
                  <a:lnTo>
                    <a:pt x="164" y="570"/>
                  </a:lnTo>
                  <a:lnTo>
                    <a:pt x="165" y="570"/>
                  </a:lnTo>
                  <a:lnTo>
                    <a:pt x="165" y="571"/>
                  </a:lnTo>
                  <a:lnTo>
                    <a:pt x="164" y="572"/>
                  </a:lnTo>
                  <a:lnTo>
                    <a:pt x="164" y="573"/>
                  </a:lnTo>
                  <a:lnTo>
                    <a:pt x="164" y="575"/>
                  </a:lnTo>
                  <a:lnTo>
                    <a:pt x="164" y="576"/>
                  </a:lnTo>
                  <a:lnTo>
                    <a:pt x="163" y="577"/>
                  </a:lnTo>
                  <a:lnTo>
                    <a:pt x="163" y="578"/>
                  </a:lnTo>
                  <a:lnTo>
                    <a:pt x="163" y="579"/>
                  </a:lnTo>
                  <a:lnTo>
                    <a:pt x="164" y="579"/>
                  </a:lnTo>
                  <a:lnTo>
                    <a:pt x="165" y="578"/>
                  </a:lnTo>
                  <a:lnTo>
                    <a:pt x="167" y="577"/>
                  </a:lnTo>
                  <a:lnTo>
                    <a:pt x="167" y="576"/>
                  </a:lnTo>
                  <a:lnTo>
                    <a:pt x="167" y="575"/>
                  </a:lnTo>
                  <a:lnTo>
                    <a:pt x="168" y="573"/>
                  </a:lnTo>
                  <a:lnTo>
                    <a:pt x="168" y="572"/>
                  </a:lnTo>
                  <a:lnTo>
                    <a:pt x="169" y="572"/>
                  </a:lnTo>
                  <a:lnTo>
                    <a:pt x="169" y="571"/>
                  </a:lnTo>
                  <a:lnTo>
                    <a:pt x="170" y="571"/>
                  </a:lnTo>
                  <a:lnTo>
                    <a:pt x="171" y="572"/>
                  </a:lnTo>
                  <a:lnTo>
                    <a:pt x="170" y="575"/>
                  </a:lnTo>
                  <a:lnTo>
                    <a:pt x="170" y="576"/>
                  </a:lnTo>
                  <a:lnTo>
                    <a:pt x="170" y="577"/>
                  </a:lnTo>
                  <a:lnTo>
                    <a:pt x="171" y="576"/>
                  </a:lnTo>
                  <a:lnTo>
                    <a:pt x="171" y="575"/>
                  </a:lnTo>
                  <a:lnTo>
                    <a:pt x="173" y="573"/>
                  </a:lnTo>
                  <a:lnTo>
                    <a:pt x="174" y="572"/>
                  </a:lnTo>
                  <a:lnTo>
                    <a:pt x="175" y="572"/>
                  </a:lnTo>
                  <a:lnTo>
                    <a:pt x="175" y="573"/>
                  </a:lnTo>
                  <a:lnTo>
                    <a:pt x="174" y="575"/>
                  </a:lnTo>
                  <a:lnTo>
                    <a:pt x="174" y="576"/>
                  </a:lnTo>
                  <a:lnTo>
                    <a:pt x="174" y="577"/>
                  </a:lnTo>
                  <a:lnTo>
                    <a:pt x="174" y="578"/>
                  </a:lnTo>
                  <a:lnTo>
                    <a:pt x="175" y="578"/>
                  </a:lnTo>
                  <a:lnTo>
                    <a:pt x="175" y="579"/>
                  </a:lnTo>
                  <a:lnTo>
                    <a:pt x="174" y="581"/>
                  </a:lnTo>
                  <a:lnTo>
                    <a:pt x="175" y="582"/>
                  </a:lnTo>
                  <a:lnTo>
                    <a:pt x="176" y="581"/>
                  </a:lnTo>
                  <a:lnTo>
                    <a:pt x="176" y="579"/>
                  </a:lnTo>
                  <a:lnTo>
                    <a:pt x="177" y="578"/>
                  </a:lnTo>
                  <a:lnTo>
                    <a:pt x="177" y="577"/>
                  </a:lnTo>
                  <a:lnTo>
                    <a:pt x="177" y="576"/>
                  </a:lnTo>
                  <a:lnTo>
                    <a:pt x="179" y="577"/>
                  </a:lnTo>
                  <a:lnTo>
                    <a:pt x="179" y="578"/>
                  </a:lnTo>
                  <a:lnTo>
                    <a:pt x="180" y="578"/>
                  </a:lnTo>
                  <a:lnTo>
                    <a:pt x="180" y="577"/>
                  </a:lnTo>
                  <a:lnTo>
                    <a:pt x="180" y="576"/>
                  </a:lnTo>
                  <a:lnTo>
                    <a:pt x="180" y="575"/>
                  </a:lnTo>
                  <a:lnTo>
                    <a:pt x="180" y="573"/>
                  </a:lnTo>
                  <a:lnTo>
                    <a:pt x="181" y="572"/>
                  </a:lnTo>
                  <a:lnTo>
                    <a:pt x="181" y="570"/>
                  </a:lnTo>
                  <a:lnTo>
                    <a:pt x="181" y="569"/>
                  </a:lnTo>
                  <a:lnTo>
                    <a:pt x="181" y="565"/>
                  </a:lnTo>
                  <a:lnTo>
                    <a:pt x="180" y="564"/>
                  </a:lnTo>
                  <a:lnTo>
                    <a:pt x="179" y="561"/>
                  </a:lnTo>
                  <a:lnTo>
                    <a:pt x="180" y="561"/>
                  </a:lnTo>
                  <a:lnTo>
                    <a:pt x="180" y="563"/>
                  </a:lnTo>
                  <a:lnTo>
                    <a:pt x="181" y="565"/>
                  </a:lnTo>
                  <a:lnTo>
                    <a:pt x="181" y="566"/>
                  </a:lnTo>
                  <a:lnTo>
                    <a:pt x="182" y="567"/>
                  </a:lnTo>
                  <a:lnTo>
                    <a:pt x="182" y="569"/>
                  </a:lnTo>
                  <a:lnTo>
                    <a:pt x="183" y="570"/>
                  </a:lnTo>
                  <a:lnTo>
                    <a:pt x="182" y="572"/>
                  </a:lnTo>
                  <a:lnTo>
                    <a:pt x="182" y="573"/>
                  </a:lnTo>
                  <a:lnTo>
                    <a:pt x="182" y="576"/>
                  </a:lnTo>
                  <a:lnTo>
                    <a:pt x="182" y="577"/>
                  </a:lnTo>
                  <a:lnTo>
                    <a:pt x="181" y="578"/>
                  </a:lnTo>
                  <a:lnTo>
                    <a:pt x="181" y="579"/>
                  </a:lnTo>
                  <a:lnTo>
                    <a:pt x="181" y="581"/>
                  </a:lnTo>
                  <a:lnTo>
                    <a:pt x="181" y="582"/>
                  </a:lnTo>
                  <a:lnTo>
                    <a:pt x="182" y="583"/>
                  </a:lnTo>
                  <a:lnTo>
                    <a:pt x="183" y="583"/>
                  </a:lnTo>
                  <a:lnTo>
                    <a:pt x="185" y="582"/>
                  </a:lnTo>
                  <a:lnTo>
                    <a:pt x="185" y="581"/>
                  </a:lnTo>
                  <a:lnTo>
                    <a:pt x="185" y="579"/>
                  </a:lnTo>
                  <a:lnTo>
                    <a:pt x="185" y="578"/>
                  </a:lnTo>
                  <a:lnTo>
                    <a:pt x="186" y="578"/>
                  </a:lnTo>
                  <a:lnTo>
                    <a:pt x="186" y="579"/>
                  </a:lnTo>
                  <a:lnTo>
                    <a:pt x="186" y="581"/>
                  </a:lnTo>
                  <a:lnTo>
                    <a:pt x="186" y="582"/>
                  </a:lnTo>
                  <a:lnTo>
                    <a:pt x="187" y="582"/>
                  </a:lnTo>
                  <a:lnTo>
                    <a:pt x="188" y="582"/>
                  </a:lnTo>
                  <a:lnTo>
                    <a:pt x="188" y="581"/>
                  </a:lnTo>
                  <a:lnTo>
                    <a:pt x="189" y="581"/>
                  </a:lnTo>
                  <a:lnTo>
                    <a:pt x="189" y="579"/>
                  </a:lnTo>
                  <a:lnTo>
                    <a:pt x="191" y="581"/>
                  </a:lnTo>
                  <a:lnTo>
                    <a:pt x="192" y="581"/>
                  </a:lnTo>
                  <a:lnTo>
                    <a:pt x="192" y="582"/>
                  </a:lnTo>
                  <a:lnTo>
                    <a:pt x="192" y="583"/>
                  </a:lnTo>
                  <a:lnTo>
                    <a:pt x="193" y="583"/>
                  </a:lnTo>
                  <a:lnTo>
                    <a:pt x="194" y="583"/>
                  </a:lnTo>
                  <a:lnTo>
                    <a:pt x="194" y="584"/>
                  </a:lnTo>
                  <a:lnTo>
                    <a:pt x="193" y="585"/>
                  </a:lnTo>
                  <a:lnTo>
                    <a:pt x="193" y="587"/>
                  </a:lnTo>
                  <a:lnTo>
                    <a:pt x="191" y="588"/>
                  </a:lnTo>
                  <a:lnTo>
                    <a:pt x="191" y="589"/>
                  </a:lnTo>
                  <a:lnTo>
                    <a:pt x="191" y="590"/>
                  </a:lnTo>
                  <a:lnTo>
                    <a:pt x="192" y="590"/>
                  </a:lnTo>
                  <a:lnTo>
                    <a:pt x="193" y="590"/>
                  </a:lnTo>
                  <a:lnTo>
                    <a:pt x="194" y="589"/>
                  </a:lnTo>
                  <a:lnTo>
                    <a:pt x="195" y="588"/>
                  </a:lnTo>
                  <a:lnTo>
                    <a:pt x="197" y="588"/>
                  </a:lnTo>
                  <a:lnTo>
                    <a:pt x="197" y="587"/>
                  </a:lnTo>
                  <a:lnTo>
                    <a:pt x="198" y="585"/>
                  </a:lnTo>
                  <a:lnTo>
                    <a:pt x="199" y="585"/>
                  </a:lnTo>
                  <a:lnTo>
                    <a:pt x="199" y="587"/>
                  </a:lnTo>
                  <a:lnTo>
                    <a:pt x="200" y="588"/>
                  </a:lnTo>
                  <a:lnTo>
                    <a:pt x="200" y="589"/>
                  </a:lnTo>
                  <a:lnTo>
                    <a:pt x="200" y="590"/>
                  </a:lnTo>
                  <a:lnTo>
                    <a:pt x="199" y="591"/>
                  </a:lnTo>
                  <a:lnTo>
                    <a:pt x="199" y="593"/>
                  </a:lnTo>
                  <a:lnTo>
                    <a:pt x="199" y="594"/>
                  </a:lnTo>
                  <a:lnTo>
                    <a:pt x="197" y="594"/>
                  </a:lnTo>
                  <a:lnTo>
                    <a:pt x="195" y="594"/>
                  </a:lnTo>
                  <a:lnTo>
                    <a:pt x="193" y="594"/>
                  </a:lnTo>
                  <a:lnTo>
                    <a:pt x="192" y="594"/>
                  </a:lnTo>
                  <a:lnTo>
                    <a:pt x="191" y="594"/>
                  </a:lnTo>
                  <a:lnTo>
                    <a:pt x="191" y="595"/>
                  </a:lnTo>
                  <a:lnTo>
                    <a:pt x="189" y="595"/>
                  </a:lnTo>
                  <a:lnTo>
                    <a:pt x="188" y="595"/>
                  </a:lnTo>
                  <a:lnTo>
                    <a:pt x="186" y="595"/>
                  </a:lnTo>
                  <a:lnTo>
                    <a:pt x="183" y="595"/>
                  </a:lnTo>
                  <a:lnTo>
                    <a:pt x="182" y="595"/>
                  </a:lnTo>
                  <a:lnTo>
                    <a:pt x="182" y="596"/>
                  </a:lnTo>
                  <a:lnTo>
                    <a:pt x="181" y="596"/>
                  </a:lnTo>
                  <a:lnTo>
                    <a:pt x="180" y="598"/>
                  </a:lnTo>
                  <a:lnTo>
                    <a:pt x="179" y="598"/>
                  </a:lnTo>
                  <a:lnTo>
                    <a:pt x="177" y="598"/>
                  </a:lnTo>
                  <a:lnTo>
                    <a:pt x="176" y="598"/>
                  </a:lnTo>
                  <a:lnTo>
                    <a:pt x="175" y="598"/>
                  </a:lnTo>
                  <a:lnTo>
                    <a:pt x="174" y="598"/>
                  </a:lnTo>
                  <a:lnTo>
                    <a:pt x="173" y="599"/>
                  </a:lnTo>
                  <a:lnTo>
                    <a:pt x="171" y="599"/>
                  </a:lnTo>
                  <a:lnTo>
                    <a:pt x="171" y="600"/>
                  </a:lnTo>
                  <a:lnTo>
                    <a:pt x="170" y="599"/>
                  </a:lnTo>
                  <a:lnTo>
                    <a:pt x="169" y="599"/>
                  </a:lnTo>
                  <a:lnTo>
                    <a:pt x="168" y="599"/>
                  </a:lnTo>
                  <a:lnTo>
                    <a:pt x="161" y="600"/>
                  </a:lnTo>
                  <a:lnTo>
                    <a:pt x="159" y="599"/>
                  </a:lnTo>
                  <a:lnTo>
                    <a:pt x="158" y="599"/>
                  </a:lnTo>
                  <a:lnTo>
                    <a:pt x="157" y="600"/>
                  </a:lnTo>
                  <a:lnTo>
                    <a:pt x="155" y="600"/>
                  </a:lnTo>
                  <a:lnTo>
                    <a:pt x="153" y="600"/>
                  </a:lnTo>
                  <a:lnTo>
                    <a:pt x="151" y="600"/>
                  </a:lnTo>
                  <a:lnTo>
                    <a:pt x="150" y="600"/>
                  </a:lnTo>
                  <a:lnTo>
                    <a:pt x="149" y="600"/>
                  </a:lnTo>
                  <a:lnTo>
                    <a:pt x="147" y="600"/>
                  </a:lnTo>
                  <a:lnTo>
                    <a:pt x="145" y="600"/>
                  </a:lnTo>
                  <a:lnTo>
                    <a:pt x="145" y="601"/>
                  </a:lnTo>
                  <a:lnTo>
                    <a:pt x="142" y="600"/>
                  </a:lnTo>
                  <a:lnTo>
                    <a:pt x="141" y="600"/>
                  </a:lnTo>
                  <a:lnTo>
                    <a:pt x="141" y="599"/>
                  </a:lnTo>
                  <a:lnTo>
                    <a:pt x="142" y="599"/>
                  </a:lnTo>
                  <a:lnTo>
                    <a:pt x="142" y="598"/>
                  </a:lnTo>
                  <a:lnTo>
                    <a:pt x="141" y="598"/>
                  </a:lnTo>
                  <a:lnTo>
                    <a:pt x="140" y="598"/>
                  </a:lnTo>
                  <a:lnTo>
                    <a:pt x="140" y="599"/>
                  </a:lnTo>
                  <a:lnTo>
                    <a:pt x="139" y="600"/>
                  </a:lnTo>
                  <a:lnTo>
                    <a:pt x="136" y="600"/>
                  </a:lnTo>
                  <a:lnTo>
                    <a:pt x="138" y="600"/>
                  </a:lnTo>
                  <a:lnTo>
                    <a:pt x="138" y="601"/>
                  </a:lnTo>
                  <a:lnTo>
                    <a:pt x="136" y="602"/>
                  </a:lnTo>
                  <a:lnTo>
                    <a:pt x="135" y="602"/>
                  </a:lnTo>
                  <a:lnTo>
                    <a:pt x="134" y="604"/>
                  </a:lnTo>
                  <a:lnTo>
                    <a:pt x="133" y="604"/>
                  </a:lnTo>
                  <a:lnTo>
                    <a:pt x="133" y="602"/>
                  </a:lnTo>
                  <a:lnTo>
                    <a:pt x="130" y="602"/>
                  </a:lnTo>
                  <a:lnTo>
                    <a:pt x="129" y="604"/>
                  </a:lnTo>
                  <a:lnTo>
                    <a:pt x="129" y="602"/>
                  </a:lnTo>
                  <a:lnTo>
                    <a:pt x="128" y="601"/>
                  </a:lnTo>
                  <a:lnTo>
                    <a:pt x="127" y="601"/>
                  </a:lnTo>
                  <a:lnTo>
                    <a:pt x="127" y="602"/>
                  </a:lnTo>
                  <a:lnTo>
                    <a:pt x="128" y="602"/>
                  </a:lnTo>
                  <a:lnTo>
                    <a:pt x="128" y="604"/>
                  </a:lnTo>
                  <a:lnTo>
                    <a:pt x="127" y="605"/>
                  </a:lnTo>
                  <a:lnTo>
                    <a:pt x="126" y="605"/>
                  </a:lnTo>
                  <a:lnTo>
                    <a:pt x="126" y="606"/>
                  </a:lnTo>
                  <a:lnTo>
                    <a:pt x="124" y="606"/>
                  </a:lnTo>
                  <a:lnTo>
                    <a:pt x="123" y="606"/>
                  </a:lnTo>
                  <a:lnTo>
                    <a:pt x="123" y="605"/>
                  </a:lnTo>
                  <a:lnTo>
                    <a:pt x="122" y="605"/>
                  </a:lnTo>
                  <a:lnTo>
                    <a:pt x="121" y="606"/>
                  </a:lnTo>
                  <a:lnTo>
                    <a:pt x="120" y="606"/>
                  </a:lnTo>
                  <a:lnTo>
                    <a:pt x="117" y="605"/>
                  </a:lnTo>
                  <a:lnTo>
                    <a:pt x="115" y="606"/>
                  </a:lnTo>
                  <a:lnTo>
                    <a:pt x="112" y="606"/>
                  </a:lnTo>
                  <a:lnTo>
                    <a:pt x="111" y="606"/>
                  </a:lnTo>
                  <a:lnTo>
                    <a:pt x="106" y="605"/>
                  </a:lnTo>
                  <a:lnTo>
                    <a:pt x="105" y="606"/>
                  </a:lnTo>
                  <a:lnTo>
                    <a:pt x="106" y="606"/>
                  </a:lnTo>
                  <a:lnTo>
                    <a:pt x="106" y="607"/>
                  </a:lnTo>
                  <a:lnTo>
                    <a:pt x="108" y="607"/>
                  </a:lnTo>
                  <a:lnTo>
                    <a:pt x="111" y="607"/>
                  </a:lnTo>
                  <a:lnTo>
                    <a:pt x="114" y="607"/>
                  </a:lnTo>
                  <a:lnTo>
                    <a:pt x="115" y="607"/>
                  </a:lnTo>
                  <a:lnTo>
                    <a:pt x="116" y="607"/>
                  </a:lnTo>
                  <a:lnTo>
                    <a:pt x="116" y="608"/>
                  </a:lnTo>
                  <a:lnTo>
                    <a:pt x="115" y="610"/>
                  </a:lnTo>
                  <a:lnTo>
                    <a:pt x="115" y="611"/>
                  </a:lnTo>
                  <a:lnTo>
                    <a:pt x="115" y="613"/>
                  </a:lnTo>
                  <a:lnTo>
                    <a:pt x="116" y="612"/>
                  </a:lnTo>
                  <a:lnTo>
                    <a:pt x="116" y="611"/>
                  </a:lnTo>
                  <a:lnTo>
                    <a:pt x="117" y="611"/>
                  </a:lnTo>
                  <a:lnTo>
                    <a:pt x="117" y="610"/>
                  </a:lnTo>
                  <a:lnTo>
                    <a:pt x="118" y="608"/>
                  </a:lnTo>
                  <a:lnTo>
                    <a:pt x="120" y="607"/>
                  </a:lnTo>
                  <a:lnTo>
                    <a:pt x="121" y="608"/>
                  </a:lnTo>
                  <a:lnTo>
                    <a:pt x="122" y="608"/>
                  </a:lnTo>
                  <a:lnTo>
                    <a:pt x="121" y="610"/>
                  </a:lnTo>
                  <a:lnTo>
                    <a:pt x="121" y="611"/>
                  </a:lnTo>
                  <a:lnTo>
                    <a:pt x="121" y="612"/>
                  </a:lnTo>
                  <a:lnTo>
                    <a:pt x="122" y="613"/>
                  </a:lnTo>
                  <a:lnTo>
                    <a:pt x="122" y="612"/>
                  </a:lnTo>
                  <a:lnTo>
                    <a:pt x="123" y="611"/>
                  </a:lnTo>
                  <a:lnTo>
                    <a:pt x="123" y="610"/>
                  </a:lnTo>
                  <a:lnTo>
                    <a:pt x="124" y="608"/>
                  </a:lnTo>
                  <a:lnTo>
                    <a:pt x="126" y="607"/>
                  </a:lnTo>
                  <a:lnTo>
                    <a:pt x="127" y="607"/>
                  </a:lnTo>
                  <a:lnTo>
                    <a:pt x="127" y="608"/>
                  </a:lnTo>
                  <a:lnTo>
                    <a:pt x="127" y="610"/>
                  </a:lnTo>
                  <a:lnTo>
                    <a:pt x="127" y="612"/>
                  </a:lnTo>
                  <a:lnTo>
                    <a:pt x="127" y="613"/>
                  </a:lnTo>
                  <a:lnTo>
                    <a:pt x="126" y="614"/>
                  </a:lnTo>
                  <a:lnTo>
                    <a:pt x="127" y="616"/>
                  </a:lnTo>
                  <a:lnTo>
                    <a:pt x="127" y="617"/>
                  </a:lnTo>
                  <a:lnTo>
                    <a:pt x="127" y="618"/>
                  </a:lnTo>
                  <a:lnTo>
                    <a:pt x="127" y="619"/>
                  </a:lnTo>
                  <a:lnTo>
                    <a:pt x="127" y="620"/>
                  </a:lnTo>
                  <a:lnTo>
                    <a:pt x="126" y="622"/>
                  </a:lnTo>
                  <a:lnTo>
                    <a:pt x="127" y="622"/>
                  </a:lnTo>
                  <a:lnTo>
                    <a:pt x="128" y="622"/>
                  </a:lnTo>
                  <a:lnTo>
                    <a:pt x="127" y="623"/>
                  </a:lnTo>
                  <a:lnTo>
                    <a:pt x="127" y="624"/>
                  </a:lnTo>
                  <a:lnTo>
                    <a:pt x="126" y="624"/>
                  </a:lnTo>
                  <a:lnTo>
                    <a:pt x="124" y="623"/>
                  </a:lnTo>
                  <a:lnTo>
                    <a:pt x="123" y="623"/>
                  </a:lnTo>
                  <a:lnTo>
                    <a:pt x="122" y="624"/>
                  </a:lnTo>
                  <a:lnTo>
                    <a:pt x="121" y="624"/>
                  </a:lnTo>
                  <a:lnTo>
                    <a:pt x="120" y="623"/>
                  </a:lnTo>
                  <a:lnTo>
                    <a:pt x="117" y="623"/>
                  </a:lnTo>
                  <a:lnTo>
                    <a:pt x="116" y="623"/>
                  </a:lnTo>
                  <a:lnTo>
                    <a:pt x="115" y="622"/>
                  </a:lnTo>
                  <a:lnTo>
                    <a:pt x="114" y="622"/>
                  </a:lnTo>
                  <a:lnTo>
                    <a:pt x="112" y="620"/>
                  </a:lnTo>
                  <a:lnTo>
                    <a:pt x="111" y="620"/>
                  </a:lnTo>
                  <a:lnTo>
                    <a:pt x="110" y="620"/>
                  </a:lnTo>
                  <a:lnTo>
                    <a:pt x="108" y="620"/>
                  </a:lnTo>
                  <a:lnTo>
                    <a:pt x="106" y="620"/>
                  </a:lnTo>
                  <a:lnTo>
                    <a:pt x="105" y="620"/>
                  </a:lnTo>
                  <a:lnTo>
                    <a:pt x="104" y="619"/>
                  </a:lnTo>
                  <a:lnTo>
                    <a:pt x="103" y="619"/>
                  </a:lnTo>
                  <a:lnTo>
                    <a:pt x="102" y="619"/>
                  </a:lnTo>
                  <a:lnTo>
                    <a:pt x="102" y="620"/>
                  </a:lnTo>
                  <a:lnTo>
                    <a:pt x="99" y="620"/>
                  </a:lnTo>
                  <a:lnTo>
                    <a:pt x="97" y="620"/>
                  </a:lnTo>
                  <a:lnTo>
                    <a:pt x="96" y="620"/>
                  </a:lnTo>
                  <a:lnTo>
                    <a:pt x="94" y="620"/>
                  </a:lnTo>
                  <a:lnTo>
                    <a:pt x="93" y="619"/>
                  </a:lnTo>
                  <a:lnTo>
                    <a:pt x="92" y="618"/>
                  </a:lnTo>
                  <a:lnTo>
                    <a:pt x="90" y="617"/>
                  </a:lnTo>
                  <a:lnTo>
                    <a:pt x="88" y="617"/>
                  </a:lnTo>
                  <a:lnTo>
                    <a:pt x="87" y="617"/>
                  </a:lnTo>
                  <a:lnTo>
                    <a:pt x="88" y="618"/>
                  </a:lnTo>
                  <a:lnTo>
                    <a:pt x="90" y="619"/>
                  </a:lnTo>
                  <a:lnTo>
                    <a:pt x="91" y="619"/>
                  </a:lnTo>
                  <a:lnTo>
                    <a:pt x="92" y="620"/>
                  </a:lnTo>
                  <a:lnTo>
                    <a:pt x="93" y="620"/>
                  </a:lnTo>
                  <a:lnTo>
                    <a:pt x="93" y="622"/>
                  </a:lnTo>
                  <a:lnTo>
                    <a:pt x="92" y="623"/>
                  </a:lnTo>
                  <a:lnTo>
                    <a:pt x="91" y="623"/>
                  </a:lnTo>
                  <a:lnTo>
                    <a:pt x="90" y="623"/>
                  </a:lnTo>
                  <a:lnTo>
                    <a:pt x="87" y="623"/>
                  </a:lnTo>
                  <a:lnTo>
                    <a:pt x="86" y="623"/>
                  </a:lnTo>
                  <a:lnTo>
                    <a:pt x="85" y="624"/>
                  </a:lnTo>
                  <a:lnTo>
                    <a:pt x="83" y="624"/>
                  </a:lnTo>
                  <a:lnTo>
                    <a:pt x="83" y="625"/>
                  </a:lnTo>
                  <a:lnTo>
                    <a:pt x="86" y="625"/>
                  </a:lnTo>
                  <a:lnTo>
                    <a:pt x="88" y="625"/>
                  </a:lnTo>
                  <a:lnTo>
                    <a:pt x="87" y="626"/>
                  </a:lnTo>
                  <a:lnTo>
                    <a:pt x="86" y="626"/>
                  </a:lnTo>
                  <a:lnTo>
                    <a:pt x="85" y="628"/>
                  </a:lnTo>
                  <a:lnTo>
                    <a:pt x="83" y="628"/>
                  </a:lnTo>
                  <a:lnTo>
                    <a:pt x="82" y="629"/>
                  </a:lnTo>
                  <a:lnTo>
                    <a:pt x="81" y="629"/>
                  </a:lnTo>
                  <a:lnTo>
                    <a:pt x="80" y="628"/>
                  </a:lnTo>
                  <a:lnTo>
                    <a:pt x="79" y="628"/>
                  </a:lnTo>
                  <a:lnTo>
                    <a:pt x="77" y="628"/>
                  </a:lnTo>
                  <a:lnTo>
                    <a:pt x="76" y="628"/>
                  </a:lnTo>
                  <a:lnTo>
                    <a:pt x="76" y="629"/>
                  </a:lnTo>
                  <a:lnTo>
                    <a:pt x="77" y="629"/>
                  </a:lnTo>
                  <a:lnTo>
                    <a:pt x="79" y="629"/>
                  </a:lnTo>
                  <a:lnTo>
                    <a:pt x="79" y="630"/>
                  </a:lnTo>
                  <a:lnTo>
                    <a:pt x="73" y="630"/>
                  </a:lnTo>
                  <a:lnTo>
                    <a:pt x="73" y="631"/>
                  </a:lnTo>
                  <a:lnTo>
                    <a:pt x="74" y="631"/>
                  </a:lnTo>
                  <a:lnTo>
                    <a:pt x="76" y="631"/>
                  </a:lnTo>
                  <a:lnTo>
                    <a:pt x="77" y="631"/>
                  </a:lnTo>
                  <a:lnTo>
                    <a:pt x="79" y="631"/>
                  </a:lnTo>
                  <a:lnTo>
                    <a:pt x="79" y="632"/>
                  </a:lnTo>
                  <a:lnTo>
                    <a:pt x="80" y="632"/>
                  </a:lnTo>
                  <a:lnTo>
                    <a:pt x="81" y="631"/>
                  </a:lnTo>
                  <a:lnTo>
                    <a:pt x="82" y="631"/>
                  </a:lnTo>
                  <a:lnTo>
                    <a:pt x="82" y="630"/>
                  </a:lnTo>
                  <a:lnTo>
                    <a:pt x="83" y="631"/>
                  </a:lnTo>
                  <a:lnTo>
                    <a:pt x="83" y="632"/>
                  </a:lnTo>
                  <a:lnTo>
                    <a:pt x="82" y="636"/>
                  </a:lnTo>
                  <a:lnTo>
                    <a:pt x="82" y="640"/>
                  </a:lnTo>
                  <a:lnTo>
                    <a:pt x="83" y="641"/>
                  </a:lnTo>
                  <a:lnTo>
                    <a:pt x="85" y="641"/>
                  </a:lnTo>
                  <a:lnTo>
                    <a:pt x="86" y="640"/>
                  </a:lnTo>
                  <a:lnTo>
                    <a:pt x="86" y="637"/>
                  </a:lnTo>
                  <a:lnTo>
                    <a:pt x="87" y="640"/>
                  </a:lnTo>
                  <a:lnTo>
                    <a:pt x="86" y="641"/>
                  </a:lnTo>
                  <a:lnTo>
                    <a:pt x="87" y="642"/>
                  </a:lnTo>
                  <a:lnTo>
                    <a:pt x="88" y="641"/>
                  </a:lnTo>
                  <a:lnTo>
                    <a:pt x="88" y="638"/>
                  </a:lnTo>
                  <a:lnTo>
                    <a:pt x="88" y="635"/>
                  </a:lnTo>
                  <a:lnTo>
                    <a:pt x="88" y="632"/>
                  </a:lnTo>
                  <a:lnTo>
                    <a:pt x="88" y="630"/>
                  </a:lnTo>
                  <a:lnTo>
                    <a:pt x="90" y="629"/>
                  </a:lnTo>
                  <a:lnTo>
                    <a:pt x="91" y="628"/>
                  </a:lnTo>
                  <a:lnTo>
                    <a:pt x="92" y="628"/>
                  </a:lnTo>
                  <a:lnTo>
                    <a:pt x="93" y="628"/>
                  </a:lnTo>
                  <a:lnTo>
                    <a:pt x="92" y="629"/>
                  </a:lnTo>
                  <a:lnTo>
                    <a:pt x="92" y="630"/>
                  </a:lnTo>
                  <a:lnTo>
                    <a:pt x="91" y="631"/>
                  </a:lnTo>
                  <a:lnTo>
                    <a:pt x="90" y="632"/>
                  </a:lnTo>
                  <a:lnTo>
                    <a:pt x="90" y="634"/>
                  </a:lnTo>
                  <a:lnTo>
                    <a:pt x="90" y="636"/>
                  </a:lnTo>
                  <a:lnTo>
                    <a:pt x="90" y="637"/>
                  </a:lnTo>
                  <a:lnTo>
                    <a:pt x="90" y="640"/>
                  </a:lnTo>
                  <a:lnTo>
                    <a:pt x="90" y="641"/>
                  </a:lnTo>
                  <a:lnTo>
                    <a:pt x="90" y="642"/>
                  </a:lnTo>
                  <a:lnTo>
                    <a:pt x="91" y="647"/>
                  </a:lnTo>
                  <a:lnTo>
                    <a:pt x="91" y="648"/>
                  </a:lnTo>
                  <a:lnTo>
                    <a:pt x="92" y="647"/>
                  </a:lnTo>
                  <a:lnTo>
                    <a:pt x="92" y="646"/>
                  </a:lnTo>
                  <a:lnTo>
                    <a:pt x="92" y="635"/>
                  </a:lnTo>
                  <a:lnTo>
                    <a:pt x="93" y="635"/>
                  </a:lnTo>
                  <a:lnTo>
                    <a:pt x="93" y="636"/>
                  </a:lnTo>
                  <a:lnTo>
                    <a:pt x="93" y="637"/>
                  </a:lnTo>
                  <a:lnTo>
                    <a:pt x="93" y="638"/>
                  </a:lnTo>
                  <a:lnTo>
                    <a:pt x="94" y="638"/>
                  </a:lnTo>
                  <a:lnTo>
                    <a:pt x="94" y="640"/>
                  </a:lnTo>
                  <a:lnTo>
                    <a:pt x="93" y="640"/>
                  </a:lnTo>
                  <a:lnTo>
                    <a:pt x="93" y="641"/>
                  </a:lnTo>
                  <a:lnTo>
                    <a:pt x="93" y="642"/>
                  </a:lnTo>
                  <a:lnTo>
                    <a:pt x="94" y="642"/>
                  </a:lnTo>
                  <a:lnTo>
                    <a:pt x="93" y="643"/>
                  </a:lnTo>
                  <a:lnTo>
                    <a:pt x="93" y="644"/>
                  </a:lnTo>
                  <a:lnTo>
                    <a:pt x="94" y="646"/>
                  </a:lnTo>
                  <a:lnTo>
                    <a:pt x="94" y="650"/>
                  </a:lnTo>
                  <a:lnTo>
                    <a:pt x="94" y="652"/>
                  </a:lnTo>
                  <a:lnTo>
                    <a:pt x="96" y="652"/>
                  </a:lnTo>
                  <a:lnTo>
                    <a:pt x="96" y="653"/>
                  </a:lnTo>
                  <a:lnTo>
                    <a:pt x="96" y="652"/>
                  </a:lnTo>
                  <a:lnTo>
                    <a:pt x="96" y="650"/>
                  </a:lnTo>
                  <a:lnTo>
                    <a:pt x="96" y="640"/>
                  </a:lnTo>
                  <a:lnTo>
                    <a:pt x="97" y="640"/>
                  </a:lnTo>
                  <a:lnTo>
                    <a:pt x="97" y="638"/>
                  </a:lnTo>
                  <a:lnTo>
                    <a:pt x="98" y="638"/>
                  </a:lnTo>
                  <a:lnTo>
                    <a:pt x="98" y="641"/>
                  </a:lnTo>
                  <a:lnTo>
                    <a:pt x="98" y="642"/>
                  </a:lnTo>
                  <a:lnTo>
                    <a:pt x="99" y="642"/>
                  </a:lnTo>
                  <a:lnTo>
                    <a:pt x="100" y="642"/>
                  </a:lnTo>
                  <a:lnTo>
                    <a:pt x="100" y="641"/>
                  </a:lnTo>
                  <a:lnTo>
                    <a:pt x="100" y="640"/>
                  </a:lnTo>
                  <a:lnTo>
                    <a:pt x="102" y="638"/>
                  </a:lnTo>
                  <a:lnTo>
                    <a:pt x="103" y="638"/>
                  </a:lnTo>
                  <a:lnTo>
                    <a:pt x="104" y="638"/>
                  </a:lnTo>
                  <a:lnTo>
                    <a:pt x="104" y="640"/>
                  </a:lnTo>
                  <a:lnTo>
                    <a:pt x="106" y="640"/>
                  </a:lnTo>
                  <a:lnTo>
                    <a:pt x="105" y="638"/>
                  </a:lnTo>
                  <a:lnTo>
                    <a:pt x="105" y="637"/>
                  </a:lnTo>
                  <a:lnTo>
                    <a:pt x="105" y="636"/>
                  </a:lnTo>
                  <a:lnTo>
                    <a:pt x="105" y="635"/>
                  </a:lnTo>
                  <a:lnTo>
                    <a:pt x="105" y="634"/>
                  </a:lnTo>
                  <a:lnTo>
                    <a:pt x="105" y="632"/>
                  </a:lnTo>
                  <a:lnTo>
                    <a:pt x="106" y="632"/>
                  </a:lnTo>
                  <a:lnTo>
                    <a:pt x="106" y="634"/>
                  </a:lnTo>
                  <a:lnTo>
                    <a:pt x="108" y="634"/>
                  </a:lnTo>
                  <a:lnTo>
                    <a:pt x="109" y="634"/>
                  </a:lnTo>
                  <a:lnTo>
                    <a:pt x="109" y="635"/>
                  </a:lnTo>
                  <a:lnTo>
                    <a:pt x="109" y="636"/>
                  </a:lnTo>
                  <a:lnTo>
                    <a:pt x="108" y="637"/>
                  </a:lnTo>
                  <a:lnTo>
                    <a:pt x="108" y="638"/>
                  </a:lnTo>
                  <a:lnTo>
                    <a:pt x="108" y="640"/>
                  </a:lnTo>
                  <a:lnTo>
                    <a:pt x="108" y="641"/>
                  </a:lnTo>
                  <a:lnTo>
                    <a:pt x="105" y="642"/>
                  </a:lnTo>
                  <a:lnTo>
                    <a:pt x="105" y="643"/>
                  </a:lnTo>
                  <a:lnTo>
                    <a:pt x="106" y="643"/>
                  </a:lnTo>
                  <a:lnTo>
                    <a:pt x="108" y="642"/>
                  </a:lnTo>
                  <a:lnTo>
                    <a:pt x="108" y="643"/>
                  </a:lnTo>
                  <a:lnTo>
                    <a:pt x="108" y="644"/>
                  </a:lnTo>
                  <a:lnTo>
                    <a:pt x="109" y="646"/>
                  </a:lnTo>
                  <a:lnTo>
                    <a:pt x="108" y="647"/>
                  </a:lnTo>
                  <a:lnTo>
                    <a:pt x="108" y="648"/>
                  </a:lnTo>
                  <a:lnTo>
                    <a:pt x="109" y="648"/>
                  </a:lnTo>
                  <a:lnTo>
                    <a:pt x="110" y="647"/>
                  </a:lnTo>
                  <a:lnTo>
                    <a:pt x="110" y="646"/>
                  </a:lnTo>
                  <a:lnTo>
                    <a:pt x="110" y="644"/>
                  </a:lnTo>
                  <a:lnTo>
                    <a:pt x="111" y="644"/>
                  </a:lnTo>
                  <a:lnTo>
                    <a:pt x="112" y="644"/>
                  </a:lnTo>
                  <a:lnTo>
                    <a:pt x="112" y="647"/>
                  </a:lnTo>
                  <a:lnTo>
                    <a:pt x="112" y="648"/>
                  </a:lnTo>
                  <a:lnTo>
                    <a:pt x="111" y="649"/>
                  </a:lnTo>
                  <a:lnTo>
                    <a:pt x="110" y="650"/>
                  </a:lnTo>
                  <a:lnTo>
                    <a:pt x="110" y="652"/>
                  </a:lnTo>
                  <a:lnTo>
                    <a:pt x="110" y="653"/>
                  </a:lnTo>
                  <a:lnTo>
                    <a:pt x="109" y="654"/>
                  </a:lnTo>
                  <a:lnTo>
                    <a:pt x="110" y="656"/>
                  </a:lnTo>
                  <a:lnTo>
                    <a:pt x="111" y="658"/>
                  </a:lnTo>
                  <a:lnTo>
                    <a:pt x="110" y="658"/>
                  </a:lnTo>
                  <a:lnTo>
                    <a:pt x="109" y="658"/>
                  </a:lnTo>
                  <a:lnTo>
                    <a:pt x="108" y="659"/>
                  </a:lnTo>
                  <a:lnTo>
                    <a:pt x="106" y="660"/>
                  </a:lnTo>
                  <a:lnTo>
                    <a:pt x="105" y="661"/>
                  </a:lnTo>
                  <a:lnTo>
                    <a:pt x="104" y="662"/>
                  </a:lnTo>
                  <a:lnTo>
                    <a:pt x="103" y="664"/>
                  </a:lnTo>
                  <a:lnTo>
                    <a:pt x="102" y="664"/>
                  </a:lnTo>
                  <a:lnTo>
                    <a:pt x="102" y="665"/>
                  </a:lnTo>
                  <a:lnTo>
                    <a:pt x="100" y="666"/>
                  </a:lnTo>
                  <a:lnTo>
                    <a:pt x="100" y="667"/>
                  </a:lnTo>
                  <a:lnTo>
                    <a:pt x="99" y="667"/>
                  </a:lnTo>
                  <a:lnTo>
                    <a:pt x="96" y="667"/>
                  </a:lnTo>
                  <a:lnTo>
                    <a:pt x="94" y="667"/>
                  </a:lnTo>
                  <a:lnTo>
                    <a:pt x="93" y="668"/>
                  </a:lnTo>
                  <a:lnTo>
                    <a:pt x="92" y="670"/>
                  </a:lnTo>
                  <a:lnTo>
                    <a:pt x="90" y="671"/>
                  </a:lnTo>
                  <a:lnTo>
                    <a:pt x="88" y="670"/>
                  </a:lnTo>
                  <a:lnTo>
                    <a:pt x="87" y="670"/>
                  </a:lnTo>
                  <a:lnTo>
                    <a:pt x="86" y="668"/>
                  </a:lnTo>
                  <a:lnTo>
                    <a:pt x="85" y="668"/>
                  </a:lnTo>
                  <a:lnTo>
                    <a:pt x="82" y="668"/>
                  </a:lnTo>
                  <a:lnTo>
                    <a:pt x="83" y="668"/>
                  </a:lnTo>
                  <a:lnTo>
                    <a:pt x="85" y="670"/>
                  </a:lnTo>
                  <a:lnTo>
                    <a:pt x="85" y="671"/>
                  </a:lnTo>
                  <a:lnTo>
                    <a:pt x="83" y="671"/>
                  </a:lnTo>
                  <a:lnTo>
                    <a:pt x="82" y="671"/>
                  </a:lnTo>
                  <a:lnTo>
                    <a:pt x="81" y="672"/>
                  </a:lnTo>
                  <a:lnTo>
                    <a:pt x="80" y="672"/>
                  </a:lnTo>
                  <a:lnTo>
                    <a:pt x="81" y="673"/>
                  </a:lnTo>
                  <a:lnTo>
                    <a:pt x="82" y="673"/>
                  </a:lnTo>
                  <a:lnTo>
                    <a:pt x="83" y="672"/>
                  </a:lnTo>
                  <a:lnTo>
                    <a:pt x="85" y="672"/>
                  </a:lnTo>
                  <a:lnTo>
                    <a:pt x="86" y="672"/>
                  </a:lnTo>
                  <a:lnTo>
                    <a:pt x="86" y="673"/>
                  </a:lnTo>
                  <a:lnTo>
                    <a:pt x="86" y="674"/>
                  </a:lnTo>
                  <a:lnTo>
                    <a:pt x="85" y="676"/>
                  </a:lnTo>
                  <a:lnTo>
                    <a:pt x="85" y="677"/>
                  </a:lnTo>
                  <a:lnTo>
                    <a:pt x="86" y="676"/>
                  </a:lnTo>
                  <a:lnTo>
                    <a:pt x="87" y="674"/>
                  </a:lnTo>
                  <a:lnTo>
                    <a:pt x="87" y="673"/>
                  </a:lnTo>
                  <a:lnTo>
                    <a:pt x="88" y="673"/>
                  </a:lnTo>
                  <a:lnTo>
                    <a:pt x="90" y="673"/>
                  </a:lnTo>
                  <a:lnTo>
                    <a:pt x="90" y="676"/>
                  </a:lnTo>
                  <a:lnTo>
                    <a:pt x="90" y="677"/>
                  </a:lnTo>
                  <a:lnTo>
                    <a:pt x="91" y="676"/>
                  </a:lnTo>
                  <a:lnTo>
                    <a:pt x="91" y="674"/>
                  </a:lnTo>
                  <a:lnTo>
                    <a:pt x="91" y="673"/>
                  </a:lnTo>
                  <a:lnTo>
                    <a:pt x="91" y="671"/>
                  </a:lnTo>
                  <a:lnTo>
                    <a:pt x="92" y="671"/>
                  </a:lnTo>
                  <a:lnTo>
                    <a:pt x="92" y="672"/>
                  </a:lnTo>
                  <a:lnTo>
                    <a:pt x="92" y="673"/>
                  </a:lnTo>
                  <a:lnTo>
                    <a:pt x="92" y="676"/>
                  </a:lnTo>
                  <a:lnTo>
                    <a:pt x="92" y="677"/>
                  </a:lnTo>
                  <a:lnTo>
                    <a:pt x="93" y="678"/>
                  </a:lnTo>
                  <a:lnTo>
                    <a:pt x="92" y="680"/>
                  </a:lnTo>
                  <a:lnTo>
                    <a:pt x="91" y="682"/>
                  </a:lnTo>
                  <a:lnTo>
                    <a:pt x="88" y="682"/>
                  </a:lnTo>
                  <a:lnTo>
                    <a:pt x="85" y="682"/>
                  </a:lnTo>
                  <a:lnTo>
                    <a:pt x="83" y="680"/>
                  </a:lnTo>
                  <a:lnTo>
                    <a:pt x="82" y="679"/>
                  </a:lnTo>
                  <a:lnTo>
                    <a:pt x="81" y="679"/>
                  </a:lnTo>
                  <a:lnTo>
                    <a:pt x="81" y="680"/>
                  </a:lnTo>
                  <a:lnTo>
                    <a:pt x="80" y="680"/>
                  </a:lnTo>
                  <a:lnTo>
                    <a:pt x="79" y="679"/>
                  </a:lnTo>
                  <a:lnTo>
                    <a:pt x="79" y="678"/>
                  </a:lnTo>
                  <a:lnTo>
                    <a:pt x="79" y="679"/>
                  </a:lnTo>
                  <a:lnTo>
                    <a:pt x="79" y="680"/>
                  </a:lnTo>
                  <a:lnTo>
                    <a:pt x="77" y="679"/>
                  </a:lnTo>
                  <a:lnTo>
                    <a:pt x="76" y="678"/>
                  </a:lnTo>
                  <a:lnTo>
                    <a:pt x="76" y="677"/>
                  </a:lnTo>
                  <a:lnTo>
                    <a:pt x="75" y="678"/>
                  </a:lnTo>
                  <a:lnTo>
                    <a:pt x="75" y="679"/>
                  </a:lnTo>
                  <a:lnTo>
                    <a:pt x="73" y="679"/>
                  </a:lnTo>
                  <a:lnTo>
                    <a:pt x="70" y="678"/>
                  </a:lnTo>
                  <a:lnTo>
                    <a:pt x="69" y="678"/>
                  </a:lnTo>
                  <a:lnTo>
                    <a:pt x="69" y="679"/>
                  </a:lnTo>
                  <a:lnTo>
                    <a:pt x="70" y="679"/>
                  </a:lnTo>
                  <a:lnTo>
                    <a:pt x="71" y="679"/>
                  </a:lnTo>
                  <a:lnTo>
                    <a:pt x="73" y="680"/>
                  </a:lnTo>
                  <a:lnTo>
                    <a:pt x="73" y="682"/>
                  </a:lnTo>
                  <a:lnTo>
                    <a:pt x="73" y="683"/>
                  </a:lnTo>
                  <a:lnTo>
                    <a:pt x="74" y="683"/>
                  </a:lnTo>
                  <a:lnTo>
                    <a:pt x="75" y="683"/>
                  </a:lnTo>
                  <a:lnTo>
                    <a:pt x="76" y="684"/>
                  </a:lnTo>
                  <a:lnTo>
                    <a:pt x="76" y="683"/>
                  </a:lnTo>
                  <a:lnTo>
                    <a:pt x="77" y="682"/>
                  </a:lnTo>
                  <a:lnTo>
                    <a:pt x="79" y="682"/>
                  </a:lnTo>
                  <a:lnTo>
                    <a:pt x="79" y="683"/>
                  </a:lnTo>
                  <a:lnTo>
                    <a:pt x="77" y="683"/>
                  </a:lnTo>
                  <a:lnTo>
                    <a:pt x="77" y="684"/>
                  </a:lnTo>
                  <a:lnTo>
                    <a:pt x="77" y="685"/>
                  </a:lnTo>
                  <a:lnTo>
                    <a:pt x="79" y="684"/>
                  </a:lnTo>
                  <a:lnTo>
                    <a:pt x="80" y="685"/>
                  </a:lnTo>
                  <a:lnTo>
                    <a:pt x="79" y="685"/>
                  </a:lnTo>
                  <a:lnTo>
                    <a:pt x="79" y="688"/>
                  </a:lnTo>
                  <a:lnTo>
                    <a:pt x="80" y="688"/>
                  </a:lnTo>
                  <a:lnTo>
                    <a:pt x="80" y="686"/>
                  </a:lnTo>
                  <a:lnTo>
                    <a:pt x="80" y="685"/>
                  </a:lnTo>
                  <a:lnTo>
                    <a:pt x="80" y="684"/>
                  </a:lnTo>
                  <a:lnTo>
                    <a:pt x="80" y="683"/>
                  </a:lnTo>
                  <a:lnTo>
                    <a:pt x="82" y="683"/>
                  </a:lnTo>
                  <a:lnTo>
                    <a:pt x="83" y="683"/>
                  </a:lnTo>
                  <a:lnTo>
                    <a:pt x="82" y="685"/>
                  </a:lnTo>
                  <a:lnTo>
                    <a:pt x="81" y="685"/>
                  </a:lnTo>
                  <a:lnTo>
                    <a:pt x="81" y="686"/>
                  </a:lnTo>
                  <a:lnTo>
                    <a:pt x="81" y="688"/>
                  </a:lnTo>
                  <a:lnTo>
                    <a:pt x="82" y="688"/>
                  </a:lnTo>
                  <a:lnTo>
                    <a:pt x="82" y="686"/>
                  </a:lnTo>
                  <a:lnTo>
                    <a:pt x="83" y="686"/>
                  </a:lnTo>
                  <a:lnTo>
                    <a:pt x="83" y="685"/>
                  </a:lnTo>
                  <a:lnTo>
                    <a:pt x="85" y="684"/>
                  </a:lnTo>
                  <a:lnTo>
                    <a:pt x="87" y="684"/>
                  </a:lnTo>
                  <a:lnTo>
                    <a:pt x="87" y="685"/>
                  </a:lnTo>
                  <a:lnTo>
                    <a:pt x="86" y="685"/>
                  </a:lnTo>
                  <a:lnTo>
                    <a:pt x="86" y="688"/>
                  </a:lnTo>
                  <a:lnTo>
                    <a:pt x="85" y="689"/>
                  </a:lnTo>
                  <a:lnTo>
                    <a:pt x="85" y="690"/>
                  </a:lnTo>
                  <a:lnTo>
                    <a:pt x="85" y="691"/>
                  </a:lnTo>
                  <a:lnTo>
                    <a:pt x="85" y="692"/>
                  </a:lnTo>
                  <a:lnTo>
                    <a:pt x="85" y="694"/>
                  </a:lnTo>
                  <a:lnTo>
                    <a:pt x="83" y="694"/>
                  </a:lnTo>
                  <a:lnTo>
                    <a:pt x="81" y="692"/>
                  </a:lnTo>
                  <a:lnTo>
                    <a:pt x="80" y="691"/>
                  </a:lnTo>
                  <a:lnTo>
                    <a:pt x="80" y="692"/>
                  </a:lnTo>
                  <a:lnTo>
                    <a:pt x="81" y="692"/>
                  </a:lnTo>
                  <a:lnTo>
                    <a:pt x="81" y="694"/>
                  </a:lnTo>
                  <a:lnTo>
                    <a:pt x="82" y="695"/>
                  </a:lnTo>
                  <a:lnTo>
                    <a:pt x="81" y="695"/>
                  </a:lnTo>
                  <a:lnTo>
                    <a:pt x="80" y="696"/>
                  </a:lnTo>
                  <a:lnTo>
                    <a:pt x="77" y="697"/>
                  </a:lnTo>
                  <a:lnTo>
                    <a:pt x="75" y="697"/>
                  </a:lnTo>
                  <a:lnTo>
                    <a:pt x="74" y="698"/>
                  </a:lnTo>
                  <a:lnTo>
                    <a:pt x="75" y="698"/>
                  </a:lnTo>
                  <a:lnTo>
                    <a:pt x="76" y="698"/>
                  </a:lnTo>
                  <a:lnTo>
                    <a:pt x="77" y="698"/>
                  </a:lnTo>
                  <a:lnTo>
                    <a:pt x="79" y="698"/>
                  </a:lnTo>
                  <a:lnTo>
                    <a:pt x="80" y="698"/>
                  </a:lnTo>
                  <a:lnTo>
                    <a:pt x="80" y="697"/>
                  </a:lnTo>
                  <a:lnTo>
                    <a:pt x="81" y="697"/>
                  </a:lnTo>
                  <a:lnTo>
                    <a:pt x="82" y="698"/>
                  </a:lnTo>
                  <a:lnTo>
                    <a:pt x="81" y="698"/>
                  </a:lnTo>
                  <a:lnTo>
                    <a:pt x="80" y="700"/>
                  </a:lnTo>
                  <a:lnTo>
                    <a:pt x="79" y="701"/>
                  </a:lnTo>
                  <a:lnTo>
                    <a:pt x="79" y="702"/>
                  </a:lnTo>
                  <a:lnTo>
                    <a:pt x="77" y="702"/>
                  </a:lnTo>
                  <a:lnTo>
                    <a:pt x="77" y="703"/>
                  </a:lnTo>
                  <a:lnTo>
                    <a:pt x="79" y="703"/>
                  </a:lnTo>
                  <a:lnTo>
                    <a:pt x="80" y="702"/>
                  </a:lnTo>
                  <a:lnTo>
                    <a:pt x="81" y="702"/>
                  </a:lnTo>
                  <a:lnTo>
                    <a:pt x="81" y="705"/>
                  </a:lnTo>
                  <a:lnTo>
                    <a:pt x="81" y="706"/>
                  </a:lnTo>
                  <a:lnTo>
                    <a:pt x="81" y="707"/>
                  </a:lnTo>
                  <a:lnTo>
                    <a:pt x="82" y="706"/>
                  </a:lnTo>
                  <a:lnTo>
                    <a:pt x="82" y="703"/>
                  </a:lnTo>
                  <a:lnTo>
                    <a:pt x="83" y="702"/>
                  </a:lnTo>
                  <a:lnTo>
                    <a:pt x="83" y="701"/>
                  </a:lnTo>
                  <a:lnTo>
                    <a:pt x="85" y="700"/>
                  </a:lnTo>
                  <a:lnTo>
                    <a:pt x="86" y="701"/>
                  </a:lnTo>
                  <a:lnTo>
                    <a:pt x="86" y="702"/>
                  </a:lnTo>
                  <a:lnTo>
                    <a:pt x="85" y="703"/>
                  </a:lnTo>
                  <a:lnTo>
                    <a:pt x="85" y="705"/>
                  </a:lnTo>
                  <a:lnTo>
                    <a:pt x="86" y="705"/>
                  </a:lnTo>
                  <a:lnTo>
                    <a:pt x="87" y="705"/>
                  </a:lnTo>
                  <a:lnTo>
                    <a:pt x="87" y="714"/>
                  </a:lnTo>
                  <a:lnTo>
                    <a:pt x="87" y="715"/>
                  </a:lnTo>
                  <a:lnTo>
                    <a:pt x="88" y="717"/>
                  </a:lnTo>
                  <a:lnTo>
                    <a:pt x="90" y="717"/>
                  </a:lnTo>
                  <a:lnTo>
                    <a:pt x="90" y="715"/>
                  </a:lnTo>
                  <a:lnTo>
                    <a:pt x="90" y="714"/>
                  </a:lnTo>
                  <a:lnTo>
                    <a:pt x="91" y="711"/>
                  </a:lnTo>
                  <a:lnTo>
                    <a:pt x="91" y="713"/>
                  </a:lnTo>
                  <a:lnTo>
                    <a:pt x="92" y="714"/>
                  </a:lnTo>
                  <a:lnTo>
                    <a:pt x="92" y="712"/>
                  </a:lnTo>
                  <a:lnTo>
                    <a:pt x="93" y="711"/>
                  </a:lnTo>
                  <a:lnTo>
                    <a:pt x="93" y="709"/>
                  </a:lnTo>
                  <a:lnTo>
                    <a:pt x="94" y="708"/>
                  </a:lnTo>
                  <a:lnTo>
                    <a:pt x="96" y="707"/>
                  </a:lnTo>
                  <a:lnTo>
                    <a:pt x="97" y="708"/>
                  </a:lnTo>
                  <a:lnTo>
                    <a:pt x="98" y="709"/>
                  </a:lnTo>
                  <a:lnTo>
                    <a:pt x="99" y="708"/>
                  </a:lnTo>
                  <a:lnTo>
                    <a:pt x="100" y="708"/>
                  </a:lnTo>
                  <a:lnTo>
                    <a:pt x="100" y="711"/>
                  </a:lnTo>
                  <a:lnTo>
                    <a:pt x="102" y="712"/>
                  </a:lnTo>
                  <a:lnTo>
                    <a:pt x="103" y="713"/>
                  </a:lnTo>
                  <a:lnTo>
                    <a:pt x="102" y="714"/>
                  </a:lnTo>
                  <a:lnTo>
                    <a:pt x="100" y="715"/>
                  </a:lnTo>
                  <a:lnTo>
                    <a:pt x="100" y="717"/>
                  </a:lnTo>
                  <a:lnTo>
                    <a:pt x="100" y="718"/>
                  </a:lnTo>
                  <a:lnTo>
                    <a:pt x="99" y="718"/>
                  </a:lnTo>
                  <a:lnTo>
                    <a:pt x="99" y="719"/>
                  </a:lnTo>
                  <a:lnTo>
                    <a:pt x="99" y="720"/>
                  </a:lnTo>
                  <a:lnTo>
                    <a:pt x="100" y="720"/>
                  </a:lnTo>
                  <a:lnTo>
                    <a:pt x="100" y="719"/>
                  </a:lnTo>
                  <a:lnTo>
                    <a:pt x="102" y="719"/>
                  </a:lnTo>
                  <a:lnTo>
                    <a:pt x="102" y="718"/>
                  </a:lnTo>
                  <a:lnTo>
                    <a:pt x="102" y="717"/>
                  </a:lnTo>
                  <a:lnTo>
                    <a:pt x="103" y="717"/>
                  </a:lnTo>
                  <a:lnTo>
                    <a:pt x="103" y="719"/>
                  </a:lnTo>
                  <a:lnTo>
                    <a:pt x="103" y="720"/>
                  </a:lnTo>
                  <a:lnTo>
                    <a:pt x="104" y="720"/>
                  </a:lnTo>
                  <a:lnTo>
                    <a:pt x="105" y="718"/>
                  </a:lnTo>
                  <a:lnTo>
                    <a:pt x="105" y="717"/>
                  </a:lnTo>
                  <a:lnTo>
                    <a:pt x="106" y="715"/>
                  </a:lnTo>
                  <a:lnTo>
                    <a:pt x="106" y="717"/>
                  </a:lnTo>
                  <a:lnTo>
                    <a:pt x="108" y="715"/>
                  </a:lnTo>
                  <a:lnTo>
                    <a:pt x="108" y="713"/>
                  </a:lnTo>
                  <a:lnTo>
                    <a:pt x="109" y="713"/>
                  </a:lnTo>
                  <a:lnTo>
                    <a:pt x="109" y="714"/>
                  </a:lnTo>
                  <a:lnTo>
                    <a:pt x="110" y="714"/>
                  </a:lnTo>
                  <a:lnTo>
                    <a:pt x="111" y="714"/>
                  </a:lnTo>
                  <a:lnTo>
                    <a:pt x="111" y="715"/>
                  </a:lnTo>
                  <a:lnTo>
                    <a:pt x="112" y="717"/>
                  </a:lnTo>
                  <a:lnTo>
                    <a:pt x="114" y="717"/>
                  </a:lnTo>
                  <a:lnTo>
                    <a:pt x="114" y="718"/>
                  </a:lnTo>
                  <a:lnTo>
                    <a:pt x="114" y="719"/>
                  </a:lnTo>
                  <a:lnTo>
                    <a:pt x="116" y="719"/>
                  </a:lnTo>
                  <a:lnTo>
                    <a:pt x="115" y="718"/>
                  </a:lnTo>
                  <a:lnTo>
                    <a:pt x="116" y="714"/>
                  </a:lnTo>
                  <a:lnTo>
                    <a:pt x="117" y="715"/>
                  </a:lnTo>
                  <a:lnTo>
                    <a:pt x="118" y="717"/>
                  </a:lnTo>
                  <a:lnTo>
                    <a:pt x="120" y="717"/>
                  </a:lnTo>
                  <a:lnTo>
                    <a:pt x="118" y="718"/>
                  </a:lnTo>
                  <a:lnTo>
                    <a:pt x="118" y="720"/>
                  </a:lnTo>
                  <a:lnTo>
                    <a:pt x="117" y="721"/>
                  </a:lnTo>
                  <a:lnTo>
                    <a:pt x="117" y="723"/>
                  </a:lnTo>
                  <a:lnTo>
                    <a:pt x="118" y="723"/>
                  </a:lnTo>
                  <a:lnTo>
                    <a:pt x="120" y="721"/>
                  </a:lnTo>
                  <a:lnTo>
                    <a:pt x="121" y="721"/>
                  </a:lnTo>
                  <a:lnTo>
                    <a:pt x="122" y="723"/>
                  </a:lnTo>
                  <a:lnTo>
                    <a:pt x="124" y="725"/>
                  </a:lnTo>
                  <a:lnTo>
                    <a:pt x="124" y="726"/>
                  </a:lnTo>
                  <a:lnTo>
                    <a:pt x="126" y="727"/>
                  </a:lnTo>
                  <a:lnTo>
                    <a:pt x="126" y="730"/>
                  </a:lnTo>
                  <a:lnTo>
                    <a:pt x="124" y="731"/>
                  </a:lnTo>
                  <a:lnTo>
                    <a:pt x="123" y="731"/>
                  </a:lnTo>
                  <a:lnTo>
                    <a:pt x="121" y="732"/>
                  </a:lnTo>
                  <a:lnTo>
                    <a:pt x="120" y="731"/>
                  </a:lnTo>
                  <a:lnTo>
                    <a:pt x="118" y="731"/>
                  </a:lnTo>
                  <a:lnTo>
                    <a:pt x="117" y="732"/>
                  </a:lnTo>
                  <a:lnTo>
                    <a:pt x="116" y="732"/>
                  </a:lnTo>
                  <a:lnTo>
                    <a:pt x="114" y="732"/>
                  </a:lnTo>
                  <a:lnTo>
                    <a:pt x="112" y="731"/>
                  </a:lnTo>
                  <a:lnTo>
                    <a:pt x="111" y="730"/>
                  </a:lnTo>
                  <a:lnTo>
                    <a:pt x="109" y="730"/>
                  </a:lnTo>
                  <a:lnTo>
                    <a:pt x="108" y="730"/>
                  </a:lnTo>
                  <a:lnTo>
                    <a:pt x="104" y="730"/>
                  </a:lnTo>
                  <a:lnTo>
                    <a:pt x="103" y="729"/>
                  </a:lnTo>
                  <a:lnTo>
                    <a:pt x="100" y="729"/>
                  </a:lnTo>
                  <a:lnTo>
                    <a:pt x="100" y="730"/>
                  </a:lnTo>
                  <a:lnTo>
                    <a:pt x="102" y="730"/>
                  </a:lnTo>
                  <a:lnTo>
                    <a:pt x="103" y="730"/>
                  </a:lnTo>
                  <a:lnTo>
                    <a:pt x="104" y="731"/>
                  </a:lnTo>
                  <a:lnTo>
                    <a:pt x="105" y="732"/>
                  </a:lnTo>
                  <a:lnTo>
                    <a:pt x="104" y="733"/>
                  </a:lnTo>
                  <a:lnTo>
                    <a:pt x="104" y="735"/>
                  </a:lnTo>
                  <a:lnTo>
                    <a:pt x="105" y="735"/>
                  </a:lnTo>
                  <a:lnTo>
                    <a:pt x="106" y="735"/>
                  </a:lnTo>
                  <a:lnTo>
                    <a:pt x="108" y="733"/>
                  </a:lnTo>
                  <a:lnTo>
                    <a:pt x="109" y="732"/>
                  </a:lnTo>
                  <a:lnTo>
                    <a:pt x="110" y="732"/>
                  </a:lnTo>
                  <a:lnTo>
                    <a:pt x="112" y="733"/>
                  </a:lnTo>
                  <a:lnTo>
                    <a:pt x="111" y="735"/>
                  </a:lnTo>
                  <a:lnTo>
                    <a:pt x="111" y="736"/>
                  </a:lnTo>
                  <a:lnTo>
                    <a:pt x="110" y="738"/>
                  </a:lnTo>
                  <a:lnTo>
                    <a:pt x="111" y="738"/>
                  </a:lnTo>
                  <a:lnTo>
                    <a:pt x="112" y="738"/>
                  </a:lnTo>
                  <a:lnTo>
                    <a:pt x="114" y="736"/>
                  </a:lnTo>
                  <a:lnTo>
                    <a:pt x="114" y="735"/>
                  </a:lnTo>
                  <a:lnTo>
                    <a:pt x="114" y="733"/>
                  </a:lnTo>
                  <a:lnTo>
                    <a:pt x="115" y="733"/>
                  </a:lnTo>
                  <a:lnTo>
                    <a:pt x="117" y="733"/>
                  </a:lnTo>
                  <a:lnTo>
                    <a:pt x="118" y="733"/>
                  </a:lnTo>
                  <a:lnTo>
                    <a:pt x="117" y="736"/>
                  </a:lnTo>
                  <a:lnTo>
                    <a:pt x="116" y="737"/>
                  </a:lnTo>
                  <a:lnTo>
                    <a:pt x="116" y="739"/>
                  </a:lnTo>
                  <a:lnTo>
                    <a:pt x="116" y="742"/>
                  </a:lnTo>
                  <a:lnTo>
                    <a:pt x="116" y="743"/>
                  </a:lnTo>
                  <a:lnTo>
                    <a:pt x="116" y="744"/>
                  </a:lnTo>
                  <a:lnTo>
                    <a:pt x="116" y="747"/>
                  </a:lnTo>
                  <a:lnTo>
                    <a:pt x="116" y="749"/>
                  </a:lnTo>
                  <a:lnTo>
                    <a:pt x="117" y="750"/>
                  </a:lnTo>
                  <a:lnTo>
                    <a:pt x="118" y="750"/>
                  </a:lnTo>
                  <a:lnTo>
                    <a:pt x="120" y="750"/>
                  </a:lnTo>
                  <a:lnTo>
                    <a:pt x="120" y="749"/>
                  </a:lnTo>
                  <a:lnTo>
                    <a:pt x="120" y="745"/>
                  </a:lnTo>
                  <a:lnTo>
                    <a:pt x="120" y="743"/>
                  </a:lnTo>
                  <a:lnTo>
                    <a:pt x="120" y="741"/>
                  </a:lnTo>
                  <a:lnTo>
                    <a:pt x="120" y="738"/>
                  </a:lnTo>
                  <a:lnTo>
                    <a:pt x="121" y="737"/>
                  </a:lnTo>
                  <a:lnTo>
                    <a:pt x="122" y="736"/>
                  </a:lnTo>
                  <a:lnTo>
                    <a:pt x="122" y="735"/>
                  </a:lnTo>
                  <a:lnTo>
                    <a:pt x="123" y="732"/>
                  </a:lnTo>
                  <a:lnTo>
                    <a:pt x="123" y="735"/>
                  </a:lnTo>
                  <a:lnTo>
                    <a:pt x="122" y="737"/>
                  </a:lnTo>
                  <a:lnTo>
                    <a:pt x="123" y="736"/>
                  </a:lnTo>
                  <a:lnTo>
                    <a:pt x="124" y="735"/>
                  </a:lnTo>
                  <a:lnTo>
                    <a:pt x="124" y="736"/>
                  </a:lnTo>
                  <a:lnTo>
                    <a:pt x="124" y="739"/>
                  </a:lnTo>
                  <a:lnTo>
                    <a:pt x="124" y="742"/>
                  </a:lnTo>
                  <a:lnTo>
                    <a:pt x="123" y="743"/>
                  </a:lnTo>
                  <a:lnTo>
                    <a:pt x="123" y="744"/>
                  </a:lnTo>
                  <a:lnTo>
                    <a:pt x="123" y="747"/>
                  </a:lnTo>
                  <a:lnTo>
                    <a:pt x="124" y="748"/>
                  </a:lnTo>
                  <a:lnTo>
                    <a:pt x="124" y="749"/>
                  </a:lnTo>
                  <a:lnTo>
                    <a:pt x="126" y="749"/>
                  </a:lnTo>
                  <a:lnTo>
                    <a:pt x="126" y="748"/>
                  </a:lnTo>
                  <a:lnTo>
                    <a:pt x="127" y="744"/>
                  </a:lnTo>
                  <a:lnTo>
                    <a:pt x="127" y="741"/>
                  </a:lnTo>
                  <a:lnTo>
                    <a:pt x="127" y="738"/>
                  </a:lnTo>
                  <a:lnTo>
                    <a:pt x="127" y="736"/>
                  </a:lnTo>
                  <a:lnTo>
                    <a:pt x="127" y="733"/>
                  </a:lnTo>
                  <a:lnTo>
                    <a:pt x="128" y="732"/>
                  </a:lnTo>
                  <a:lnTo>
                    <a:pt x="129" y="732"/>
                  </a:lnTo>
                  <a:lnTo>
                    <a:pt x="128" y="735"/>
                  </a:lnTo>
                  <a:lnTo>
                    <a:pt x="127" y="738"/>
                  </a:lnTo>
                  <a:lnTo>
                    <a:pt x="127" y="739"/>
                  </a:lnTo>
                  <a:lnTo>
                    <a:pt x="127" y="742"/>
                  </a:lnTo>
                  <a:lnTo>
                    <a:pt x="128" y="744"/>
                  </a:lnTo>
                  <a:lnTo>
                    <a:pt x="129" y="743"/>
                  </a:lnTo>
                  <a:lnTo>
                    <a:pt x="130" y="743"/>
                  </a:lnTo>
                  <a:lnTo>
                    <a:pt x="129" y="745"/>
                  </a:lnTo>
                  <a:lnTo>
                    <a:pt x="129" y="748"/>
                  </a:lnTo>
                  <a:lnTo>
                    <a:pt x="129" y="750"/>
                  </a:lnTo>
                  <a:lnTo>
                    <a:pt x="129" y="751"/>
                  </a:lnTo>
                  <a:lnTo>
                    <a:pt x="129" y="753"/>
                  </a:lnTo>
                  <a:lnTo>
                    <a:pt x="130" y="753"/>
                  </a:lnTo>
                  <a:lnTo>
                    <a:pt x="130" y="751"/>
                  </a:lnTo>
                  <a:lnTo>
                    <a:pt x="132" y="749"/>
                  </a:lnTo>
                  <a:lnTo>
                    <a:pt x="132" y="748"/>
                  </a:lnTo>
                  <a:lnTo>
                    <a:pt x="133" y="748"/>
                  </a:lnTo>
                  <a:lnTo>
                    <a:pt x="133" y="747"/>
                  </a:lnTo>
                  <a:lnTo>
                    <a:pt x="134" y="747"/>
                  </a:lnTo>
                  <a:lnTo>
                    <a:pt x="134" y="748"/>
                  </a:lnTo>
                  <a:lnTo>
                    <a:pt x="134" y="749"/>
                  </a:lnTo>
                  <a:lnTo>
                    <a:pt x="134" y="750"/>
                  </a:lnTo>
                  <a:lnTo>
                    <a:pt x="134" y="751"/>
                  </a:lnTo>
                  <a:lnTo>
                    <a:pt x="134" y="753"/>
                  </a:lnTo>
                  <a:lnTo>
                    <a:pt x="135" y="754"/>
                  </a:lnTo>
                  <a:lnTo>
                    <a:pt x="135" y="753"/>
                  </a:lnTo>
                  <a:lnTo>
                    <a:pt x="136" y="750"/>
                  </a:lnTo>
                  <a:lnTo>
                    <a:pt x="136" y="748"/>
                  </a:lnTo>
                  <a:lnTo>
                    <a:pt x="136" y="747"/>
                  </a:lnTo>
                  <a:lnTo>
                    <a:pt x="138" y="747"/>
                  </a:lnTo>
                  <a:lnTo>
                    <a:pt x="139" y="745"/>
                  </a:lnTo>
                  <a:lnTo>
                    <a:pt x="140" y="745"/>
                  </a:lnTo>
                  <a:lnTo>
                    <a:pt x="140" y="749"/>
                  </a:lnTo>
                  <a:lnTo>
                    <a:pt x="140" y="751"/>
                  </a:lnTo>
                  <a:lnTo>
                    <a:pt x="141" y="753"/>
                  </a:lnTo>
                  <a:lnTo>
                    <a:pt x="142" y="751"/>
                  </a:lnTo>
                  <a:lnTo>
                    <a:pt x="142" y="749"/>
                  </a:lnTo>
                  <a:lnTo>
                    <a:pt x="144" y="748"/>
                  </a:lnTo>
                  <a:lnTo>
                    <a:pt x="144" y="749"/>
                  </a:lnTo>
                  <a:lnTo>
                    <a:pt x="145" y="751"/>
                  </a:lnTo>
                  <a:lnTo>
                    <a:pt x="146" y="751"/>
                  </a:lnTo>
                  <a:lnTo>
                    <a:pt x="146" y="753"/>
                  </a:lnTo>
                  <a:lnTo>
                    <a:pt x="146" y="754"/>
                  </a:lnTo>
                  <a:lnTo>
                    <a:pt x="146" y="755"/>
                  </a:lnTo>
                  <a:lnTo>
                    <a:pt x="145" y="756"/>
                  </a:lnTo>
                  <a:lnTo>
                    <a:pt x="144" y="757"/>
                  </a:lnTo>
                  <a:lnTo>
                    <a:pt x="144" y="760"/>
                  </a:lnTo>
                  <a:lnTo>
                    <a:pt x="144" y="761"/>
                  </a:lnTo>
                  <a:lnTo>
                    <a:pt x="144" y="762"/>
                  </a:lnTo>
                  <a:lnTo>
                    <a:pt x="145" y="763"/>
                  </a:lnTo>
                  <a:lnTo>
                    <a:pt x="145" y="765"/>
                  </a:lnTo>
                  <a:lnTo>
                    <a:pt x="146" y="765"/>
                  </a:lnTo>
                  <a:lnTo>
                    <a:pt x="146" y="763"/>
                  </a:lnTo>
                  <a:lnTo>
                    <a:pt x="146" y="761"/>
                  </a:lnTo>
                  <a:lnTo>
                    <a:pt x="147" y="759"/>
                  </a:lnTo>
                  <a:lnTo>
                    <a:pt x="149" y="756"/>
                  </a:lnTo>
                  <a:lnTo>
                    <a:pt x="149" y="755"/>
                  </a:lnTo>
                  <a:lnTo>
                    <a:pt x="151" y="755"/>
                  </a:lnTo>
                  <a:lnTo>
                    <a:pt x="152" y="756"/>
                  </a:lnTo>
                  <a:lnTo>
                    <a:pt x="152" y="757"/>
                  </a:lnTo>
                  <a:lnTo>
                    <a:pt x="151" y="760"/>
                  </a:lnTo>
                  <a:lnTo>
                    <a:pt x="151" y="762"/>
                  </a:lnTo>
                  <a:lnTo>
                    <a:pt x="152" y="763"/>
                  </a:lnTo>
                  <a:lnTo>
                    <a:pt x="153" y="765"/>
                  </a:lnTo>
                  <a:lnTo>
                    <a:pt x="155" y="763"/>
                  </a:lnTo>
                  <a:lnTo>
                    <a:pt x="153" y="762"/>
                  </a:lnTo>
                  <a:lnTo>
                    <a:pt x="153" y="760"/>
                  </a:lnTo>
                  <a:lnTo>
                    <a:pt x="155" y="759"/>
                  </a:lnTo>
                  <a:lnTo>
                    <a:pt x="156" y="760"/>
                  </a:lnTo>
                  <a:lnTo>
                    <a:pt x="157" y="760"/>
                  </a:lnTo>
                  <a:lnTo>
                    <a:pt x="157" y="759"/>
                  </a:lnTo>
                  <a:lnTo>
                    <a:pt x="157" y="757"/>
                  </a:lnTo>
                  <a:lnTo>
                    <a:pt x="157" y="756"/>
                  </a:lnTo>
                  <a:lnTo>
                    <a:pt x="158" y="756"/>
                  </a:lnTo>
                  <a:lnTo>
                    <a:pt x="158" y="755"/>
                  </a:lnTo>
                  <a:lnTo>
                    <a:pt x="159" y="753"/>
                  </a:lnTo>
                  <a:lnTo>
                    <a:pt x="159" y="751"/>
                  </a:lnTo>
                  <a:lnTo>
                    <a:pt x="161" y="748"/>
                  </a:lnTo>
                  <a:lnTo>
                    <a:pt x="161" y="747"/>
                  </a:lnTo>
                  <a:lnTo>
                    <a:pt x="161" y="748"/>
                  </a:lnTo>
                  <a:lnTo>
                    <a:pt x="161" y="750"/>
                  </a:lnTo>
                  <a:lnTo>
                    <a:pt x="159" y="754"/>
                  </a:lnTo>
                  <a:lnTo>
                    <a:pt x="159" y="756"/>
                  </a:lnTo>
                  <a:lnTo>
                    <a:pt x="159" y="757"/>
                  </a:lnTo>
                  <a:lnTo>
                    <a:pt x="161" y="755"/>
                  </a:lnTo>
                  <a:lnTo>
                    <a:pt x="161" y="754"/>
                  </a:lnTo>
                  <a:lnTo>
                    <a:pt x="161" y="757"/>
                  </a:lnTo>
                  <a:lnTo>
                    <a:pt x="161" y="759"/>
                  </a:lnTo>
                  <a:lnTo>
                    <a:pt x="161" y="761"/>
                  </a:lnTo>
                  <a:lnTo>
                    <a:pt x="161" y="762"/>
                  </a:lnTo>
                  <a:lnTo>
                    <a:pt x="159" y="765"/>
                  </a:lnTo>
                  <a:lnTo>
                    <a:pt x="159" y="766"/>
                  </a:lnTo>
                  <a:lnTo>
                    <a:pt x="159" y="767"/>
                  </a:lnTo>
                  <a:lnTo>
                    <a:pt x="159" y="768"/>
                  </a:lnTo>
                  <a:lnTo>
                    <a:pt x="161" y="769"/>
                  </a:lnTo>
                  <a:lnTo>
                    <a:pt x="162" y="767"/>
                  </a:lnTo>
                  <a:lnTo>
                    <a:pt x="162" y="766"/>
                  </a:lnTo>
                  <a:lnTo>
                    <a:pt x="162" y="765"/>
                  </a:lnTo>
                  <a:lnTo>
                    <a:pt x="163" y="765"/>
                  </a:lnTo>
                  <a:lnTo>
                    <a:pt x="163" y="766"/>
                  </a:lnTo>
                  <a:lnTo>
                    <a:pt x="164" y="767"/>
                  </a:lnTo>
                  <a:lnTo>
                    <a:pt x="165" y="768"/>
                  </a:lnTo>
                  <a:lnTo>
                    <a:pt x="165" y="769"/>
                  </a:lnTo>
                  <a:lnTo>
                    <a:pt x="167" y="769"/>
                  </a:lnTo>
                  <a:lnTo>
                    <a:pt x="167" y="768"/>
                  </a:lnTo>
                  <a:lnTo>
                    <a:pt x="168" y="767"/>
                  </a:lnTo>
                  <a:lnTo>
                    <a:pt x="168" y="766"/>
                  </a:lnTo>
                  <a:lnTo>
                    <a:pt x="168" y="765"/>
                  </a:lnTo>
                  <a:lnTo>
                    <a:pt x="169" y="763"/>
                  </a:lnTo>
                  <a:lnTo>
                    <a:pt x="170" y="765"/>
                  </a:lnTo>
                  <a:lnTo>
                    <a:pt x="170" y="767"/>
                  </a:lnTo>
                  <a:lnTo>
                    <a:pt x="170" y="772"/>
                  </a:lnTo>
                  <a:lnTo>
                    <a:pt x="171" y="771"/>
                  </a:lnTo>
                  <a:lnTo>
                    <a:pt x="171" y="769"/>
                  </a:lnTo>
                  <a:lnTo>
                    <a:pt x="171" y="766"/>
                  </a:lnTo>
                  <a:lnTo>
                    <a:pt x="173" y="766"/>
                  </a:lnTo>
                  <a:lnTo>
                    <a:pt x="173" y="763"/>
                  </a:lnTo>
                  <a:lnTo>
                    <a:pt x="173" y="762"/>
                  </a:lnTo>
                  <a:lnTo>
                    <a:pt x="174" y="763"/>
                  </a:lnTo>
                  <a:lnTo>
                    <a:pt x="175" y="763"/>
                  </a:lnTo>
                  <a:lnTo>
                    <a:pt x="175" y="762"/>
                  </a:lnTo>
                  <a:lnTo>
                    <a:pt x="175" y="761"/>
                  </a:lnTo>
                  <a:lnTo>
                    <a:pt x="175" y="759"/>
                  </a:lnTo>
                  <a:lnTo>
                    <a:pt x="176" y="757"/>
                  </a:lnTo>
                  <a:lnTo>
                    <a:pt x="176" y="760"/>
                  </a:lnTo>
                  <a:lnTo>
                    <a:pt x="177" y="760"/>
                  </a:lnTo>
                  <a:lnTo>
                    <a:pt x="179" y="761"/>
                  </a:lnTo>
                  <a:lnTo>
                    <a:pt x="179" y="762"/>
                  </a:lnTo>
                  <a:lnTo>
                    <a:pt x="177" y="763"/>
                  </a:lnTo>
                  <a:lnTo>
                    <a:pt x="176" y="765"/>
                  </a:lnTo>
                  <a:lnTo>
                    <a:pt x="177" y="765"/>
                  </a:lnTo>
                  <a:lnTo>
                    <a:pt x="179" y="763"/>
                  </a:lnTo>
                  <a:lnTo>
                    <a:pt x="179" y="766"/>
                  </a:lnTo>
                  <a:lnTo>
                    <a:pt x="179" y="767"/>
                  </a:lnTo>
                  <a:lnTo>
                    <a:pt x="180" y="767"/>
                  </a:lnTo>
                  <a:lnTo>
                    <a:pt x="180" y="765"/>
                  </a:lnTo>
                  <a:lnTo>
                    <a:pt x="180" y="762"/>
                  </a:lnTo>
                  <a:lnTo>
                    <a:pt x="181" y="762"/>
                  </a:lnTo>
                  <a:lnTo>
                    <a:pt x="181" y="761"/>
                  </a:lnTo>
                  <a:lnTo>
                    <a:pt x="181" y="759"/>
                  </a:lnTo>
                  <a:lnTo>
                    <a:pt x="181" y="757"/>
                  </a:lnTo>
                  <a:lnTo>
                    <a:pt x="181" y="756"/>
                  </a:lnTo>
                  <a:lnTo>
                    <a:pt x="182" y="755"/>
                  </a:lnTo>
                  <a:lnTo>
                    <a:pt x="181" y="757"/>
                  </a:lnTo>
                  <a:lnTo>
                    <a:pt x="181" y="759"/>
                  </a:lnTo>
                  <a:lnTo>
                    <a:pt x="182" y="760"/>
                  </a:lnTo>
                  <a:lnTo>
                    <a:pt x="182" y="759"/>
                  </a:lnTo>
                  <a:lnTo>
                    <a:pt x="182" y="760"/>
                  </a:lnTo>
                  <a:lnTo>
                    <a:pt x="182" y="762"/>
                  </a:lnTo>
                  <a:lnTo>
                    <a:pt x="182" y="763"/>
                  </a:lnTo>
                  <a:lnTo>
                    <a:pt x="182" y="765"/>
                  </a:lnTo>
                  <a:lnTo>
                    <a:pt x="183" y="765"/>
                  </a:lnTo>
                  <a:lnTo>
                    <a:pt x="185" y="763"/>
                  </a:lnTo>
                  <a:lnTo>
                    <a:pt x="183" y="762"/>
                  </a:lnTo>
                  <a:lnTo>
                    <a:pt x="183" y="761"/>
                  </a:lnTo>
                  <a:lnTo>
                    <a:pt x="183" y="760"/>
                  </a:lnTo>
                  <a:lnTo>
                    <a:pt x="183" y="759"/>
                  </a:lnTo>
                  <a:lnTo>
                    <a:pt x="185" y="757"/>
                  </a:lnTo>
                  <a:lnTo>
                    <a:pt x="186" y="756"/>
                  </a:lnTo>
                  <a:lnTo>
                    <a:pt x="186" y="755"/>
                  </a:lnTo>
                  <a:lnTo>
                    <a:pt x="186" y="753"/>
                  </a:lnTo>
                  <a:lnTo>
                    <a:pt x="185" y="753"/>
                  </a:lnTo>
                  <a:lnTo>
                    <a:pt x="186" y="751"/>
                  </a:lnTo>
                  <a:lnTo>
                    <a:pt x="187" y="750"/>
                  </a:lnTo>
                  <a:lnTo>
                    <a:pt x="187" y="749"/>
                  </a:lnTo>
                  <a:lnTo>
                    <a:pt x="188" y="748"/>
                  </a:lnTo>
                  <a:lnTo>
                    <a:pt x="188" y="747"/>
                  </a:lnTo>
                  <a:lnTo>
                    <a:pt x="189" y="747"/>
                  </a:lnTo>
                  <a:lnTo>
                    <a:pt x="188" y="748"/>
                  </a:lnTo>
                  <a:lnTo>
                    <a:pt x="188" y="750"/>
                  </a:lnTo>
                  <a:lnTo>
                    <a:pt x="187" y="751"/>
                  </a:lnTo>
                  <a:lnTo>
                    <a:pt x="187" y="753"/>
                  </a:lnTo>
                  <a:lnTo>
                    <a:pt x="188" y="753"/>
                  </a:lnTo>
                  <a:lnTo>
                    <a:pt x="187" y="754"/>
                  </a:lnTo>
                  <a:lnTo>
                    <a:pt x="186" y="755"/>
                  </a:lnTo>
                  <a:lnTo>
                    <a:pt x="187" y="755"/>
                  </a:lnTo>
                  <a:lnTo>
                    <a:pt x="188" y="755"/>
                  </a:lnTo>
                  <a:lnTo>
                    <a:pt x="188" y="756"/>
                  </a:lnTo>
                  <a:lnTo>
                    <a:pt x="187" y="756"/>
                  </a:lnTo>
                  <a:lnTo>
                    <a:pt x="186" y="757"/>
                  </a:lnTo>
                  <a:lnTo>
                    <a:pt x="185" y="759"/>
                  </a:lnTo>
                  <a:lnTo>
                    <a:pt x="186" y="760"/>
                  </a:lnTo>
                  <a:lnTo>
                    <a:pt x="185" y="760"/>
                  </a:lnTo>
                  <a:lnTo>
                    <a:pt x="183" y="760"/>
                  </a:lnTo>
                  <a:lnTo>
                    <a:pt x="185" y="761"/>
                  </a:lnTo>
                  <a:lnTo>
                    <a:pt x="185" y="762"/>
                  </a:lnTo>
                  <a:lnTo>
                    <a:pt x="186" y="762"/>
                  </a:lnTo>
                  <a:lnTo>
                    <a:pt x="187" y="761"/>
                  </a:lnTo>
                  <a:lnTo>
                    <a:pt x="186" y="760"/>
                  </a:lnTo>
                  <a:lnTo>
                    <a:pt x="187" y="759"/>
                  </a:lnTo>
                  <a:lnTo>
                    <a:pt x="188" y="757"/>
                  </a:lnTo>
                  <a:lnTo>
                    <a:pt x="189" y="759"/>
                  </a:lnTo>
                  <a:lnTo>
                    <a:pt x="189" y="760"/>
                  </a:lnTo>
                  <a:lnTo>
                    <a:pt x="189" y="761"/>
                  </a:lnTo>
                  <a:lnTo>
                    <a:pt x="188" y="761"/>
                  </a:lnTo>
                  <a:lnTo>
                    <a:pt x="188" y="762"/>
                  </a:lnTo>
                  <a:lnTo>
                    <a:pt x="188" y="763"/>
                  </a:lnTo>
                  <a:lnTo>
                    <a:pt x="189" y="762"/>
                  </a:lnTo>
                  <a:lnTo>
                    <a:pt x="191" y="762"/>
                  </a:lnTo>
                  <a:lnTo>
                    <a:pt x="191" y="763"/>
                  </a:lnTo>
                  <a:lnTo>
                    <a:pt x="189" y="767"/>
                  </a:lnTo>
                  <a:lnTo>
                    <a:pt x="188" y="768"/>
                  </a:lnTo>
                  <a:lnTo>
                    <a:pt x="189" y="768"/>
                  </a:lnTo>
                  <a:lnTo>
                    <a:pt x="191" y="767"/>
                  </a:lnTo>
                  <a:lnTo>
                    <a:pt x="192" y="768"/>
                  </a:lnTo>
                  <a:lnTo>
                    <a:pt x="191" y="771"/>
                  </a:lnTo>
                  <a:lnTo>
                    <a:pt x="191" y="772"/>
                  </a:lnTo>
                  <a:lnTo>
                    <a:pt x="189" y="775"/>
                  </a:lnTo>
                  <a:lnTo>
                    <a:pt x="191" y="779"/>
                  </a:lnTo>
                  <a:lnTo>
                    <a:pt x="191" y="778"/>
                  </a:lnTo>
                  <a:lnTo>
                    <a:pt x="191" y="777"/>
                  </a:lnTo>
                  <a:lnTo>
                    <a:pt x="192" y="773"/>
                  </a:lnTo>
                  <a:lnTo>
                    <a:pt x="193" y="771"/>
                  </a:lnTo>
                  <a:lnTo>
                    <a:pt x="193" y="772"/>
                  </a:lnTo>
                  <a:lnTo>
                    <a:pt x="194" y="773"/>
                  </a:lnTo>
                  <a:lnTo>
                    <a:pt x="195" y="773"/>
                  </a:lnTo>
                  <a:lnTo>
                    <a:pt x="194" y="774"/>
                  </a:lnTo>
                  <a:lnTo>
                    <a:pt x="193" y="777"/>
                  </a:lnTo>
                  <a:lnTo>
                    <a:pt x="194" y="775"/>
                  </a:lnTo>
                  <a:lnTo>
                    <a:pt x="195" y="775"/>
                  </a:lnTo>
                  <a:lnTo>
                    <a:pt x="195" y="778"/>
                  </a:lnTo>
                  <a:lnTo>
                    <a:pt x="195" y="780"/>
                  </a:lnTo>
                  <a:lnTo>
                    <a:pt x="197" y="780"/>
                  </a:lnTo>
                  <a:lnTo>
                    <a:pt x="197" y="777"/>
                  </a:lnTo>
                  <a:lnTo>
                    <a:pt x="197" y="774"/>
                  </a:lnTo>
                  <a:lnTo>
                    <a:pt x="198" y="773"/>
                  </a:lnTo>
                  <a:lnTo>
                    <a:pt x="199" y="771"/>
                  </a:lnTo>
                  <a:lnTo>
                    <a:pt x="199" y="768"/>
                  </a:lnTo>
                  <a:lnTo>
                    <a:pt x="199" y="765"/>
                  </a:lnTo>
                  <a:lnTo>
                    <a:pt x="199" y="762"/>
                  </a:lnTo>
                  <a:lnTo>
                    <a:pt x="200" y="759"/>
                  </a:lnTo>
                  <a:lnTo>
                    <a:pt x="201" y="759"/>
                  </a:lnTo>
                  <a:lnTo>
                    <a:pt x="203" y="760"/>
                  </a:lnTo>
                  <a:lnTo>
                    <a:pt x="204" y="762"/>
                  </a:lnTo>
                  <a:lnTo>
                    <a:pt x="204" y="767"/>
                  </a:lnTo>
                  <a:lnTo>
                    <a:pt x="204" y="771"/>
                  </a:lnTo>
                  <a:lnTo>
                    <a:pt x="204" y="773"/>
                  </a:lnTo>
                  <a:lnTo>
                    <a:pt x="203" y="777"/>
                  </a:lnTo>
                  <a:lnTo>
                    <a:pt x="201" y="778"/>
                  </a:lnTo>
                  <a:lnTo>
                    <a:pt x="203" y="780"/>
                  </a:lnTo>
                  <a:lnTo>
                    <a:pt x="204" y="778"/>
                  </a:lnTo>
                  <a:lnTo>
                    <a:pt x="205" y="775"/>
                  </a:lnTo>
                  <a:lnTo>
                    <a:pt x="205" y="773"/>
                  </a:lnTo>
                  <a:lnTo>
                    <a:pt x="206" y="769"/>
                  </a:lnTo>
                  <a:lnTo>
                    <a:pt x="206" y="767"/>
                  </a:lnTo>
                  <a:lnTo>
                    <a:pt x="207" y="766"/>
                  </a:lnTo>
                  <a:lnTo>
                    <a:pt x="207" y="769"/>
                  </a:lnTo>
                  <a:lnTo>
                    <a:pt x="209" y="768"/>
                  </a:lnTo>
                  <a:lnTo>
                    <a:pt x="210" y="768"/>
                  </a:lnTo>
                  <a:lnTo>
                    <a:pt x="210" y="772"/>
                  </a:lnTo>
                  <a:lnTo>
                    <a:pt x="210" y="773"/>
                  </a:lnTo>
                  <a:lnTo>
                    <a:pt x="207" y="779"/>
                  </a:lnTo>
                  <a:lnTo>
                    <a:pt x="207" y="781"/>
                  </a:lnTo>
                  <a:lnTo>
                    <a:pt x="209" y="784"/>
                  </a:lnTo>
                  <a:lnTo>
                    <a:pt x="210" y="784"/>
                  </a:lnTo>
                  <a:lnTo>
                    <a:pt x="210" y="781"/>
                  </a:lnTo>
                  <a:lnTo>
                    <a:pt x="211" y="780"/>
                  </a:lnTo>
                  <a:lnTo>
                    <a:pt x="211" y="783"/>
                  </a:lnTo>
                  <a:lnTo>
                    <a:pt x="212" y="784"/>
                  </a:lnTo>
                  <a:lnTo>
                    <a:pt x="214" y="780"/>
                  </a:lnTo>
                  <a:lnTo>
                    <a:pt x="214" y="778"/>
                  </a:lnTo>
                  <a:lnTo>
                    <a:pt x="214" y="775"/>
                  </a:lnTo>
                  <a:lnTo>
                    <a:pt x="212" y="769"/>
                  </a:lnTo>
                  <a:lnTo>
                    <a:pt x="211" y="767"/>
                  </a:lnTo>
                  <a:lnTo>
                    <a:pt x="212" y="765"/>
                  </a:lnTo>
                  <a:lnTo>
                    <a:pt x="212" y="762"/>
                  </a:lnTo>
                  <a:lnTo>
                    <a:pt x="212" y="759"/>
                  </a:lnTo>
                  <a:lnTo>
                    <a:pt x="214" y="755"/>
                  </a:lnTo>
                  <a:lnTo>
                    <a:pt x="216" y="753"/>
                  </a:lnTo>
                  <a:lnTo>
                    <a:pt x="217" y="749"/>
                  </a:lnTo>
                  <a:lnTo>
                    <a:pt x="217" y="753"/>
                  </a:lnTo>
                  <a:lnTo>
                    <a:pt x="218" y="756"/>
                  </a:lnTo>
                  <a:lnTo>
                    <a:pt x="220" y="755"/>
                  </a:lnTo>
                  <a:lnTo>
                    <a:pt x="221" y="755"/>
                  </a:lnTo>
                  <a:lnTo>
                    <a:pt x="222" y="759"/>
                  </a:lnTo>
                  <a:lnTo>
                    <a:pt x="223" y="762"/>
                  </a:lnTo>
                  <a:lnTo>
                    <a:pt x="223" y="761"/>
                  </a:lnTo>
                  <a:lnTo>
                    <a:pt x="223" y="756"/>
                  </a:lnTo>
                  <a:lnTo>
                    <a:pt x="224" y="750"/>
                  </a:lnTo>
                  <a:lnTo>
                    <a:pt x="224" y="744"/>
                  </a:lnTo>
                  <a:lnTo>
                    <a:pt x="226" y="743"/>
                  </a:lnTo>
                  <a:lnTo>
                    <a:pt x="226" y="751"/>
                  </a:lnTo>
                  <a:lnTo>
                    <a:pt x="227" y="753"/>
                  </a:lnTo>
                  <a:lnTo>
                    <a:pt x="228" y="749"/>
                  </a:lnTo>
                  <a:lnTo>
                    <a:pt x="229" y="748"/>
                  </a:lnTo>
                  <a:lnTo>
                    <a:pt x="229" y="744"/>
                  </a:lnTo>
                  <a:lnTo>
                    <a:pt x="229" y="741"/>
                  </a:lnTo>
                  <a:lnTo>
                    <a:pt x="230" y="741"/>
                  </a:lnTo>
                  <a:lnTo>
                    <a:pt x="232" y="744"/>
                  </a:lnTo>
                  <a:lnTo>
                    <a:pt x="232" y="748"/>
                  </a:lnTo>
                  <a:lnTo>
                    <a:pt x="232" y="743"/>
                  </a:lnTo>
                  <a:lnTo>
                    <a:pt x="234" y="739"/>
                  </a:lnTo>
                  <a:lnTo>
                    <a:pt x="234" y="736"/>
                  </a:lnTo>
                  <a:lnTo>
                    <a:pt x="234" y="733"/>
                  </a:lnTo>
                  <a:lnTo>
                    <a:pt x="235" y="730"/>
                  </a:lnTo>
                  <a:lnTo>
                    <a:pt x="239" y="731"/>
                  </a:lnTo>
                  <a:lnTo>
                    <a:pt x="240" y="732"/>
                  </a:lnTo>
                  <a:lnTo>
                    <a:pt x="239" y="735"/>
                  </a:lnTo>
                  <a:lnTo>
                    <a:pt x="235" y="738"/>
                  </a:lnTo>
                  <a:lnTo>
                    <a:pt x="234" y="741"/>
                  </a:lnTo>
                  <a:lnTo>
                    <a:pt x="234" y="743"/>
                  </a:lnTo>
                  <a:lnTo>
                    <a:pt x="234" y="745"/>
                  </a:lnTo>
                  <a:lnTo>
                    <a:pt x="234" y="748"/>
                  </a:lnTo>
                  <a:lnTo>
                    <a:pt x="235" y="749"/>
                  </a:lnTo>
                  <a:lnTo>
                    <a:pt x="239" y="749"/>
                  </a:lnTo>
                  <a:lnTo>
                    <a:pt x="239" y="750"/>
                  </a:lnTo>
                  <a:lnTo>
                    <a:pt x="239" y="754"/>
                  </a:lnTo>
                  <a:lnTo>
                    <a:pt x="239" y="755"/>
                  </a:lnTo>
                  <a:lnTo>
                    <a:pt x="235" y="755"/>
                  </a:lnTo>
                  <a:lnTo>
                    <a:pt x="234" y="756"/>
                  </a:lnTo>
                  <a:lnTo>
                    <a:pt x="233" y="753"/>
                  </a:lnTo>
                  <a:lnTo>
                    <a:pt x="232" y="754"/>
                  </a:lnTo>
                  <a:lnTo>
                    <a:pt x="232" y="756"/>
                  </a:lnTo>
                  <a:lnTo>
                    <a:pt x="229" y="756"/>
                  </a:lnTo>
                  <a:lnTo>
                    <a:pt x="227" y="757"/>
                  </a:lnTo>
                  <a:lnTo>
                    <a:pt x="226" y="761"/>
                  </a:lnTo>
                  <a:lnTo>
                    <a:pt x="228" y="761"/>
                  </a:lnTo>
                  <a:lnTo>
                    <a:pt x="230" y="760"/>
                  </a:lnTo>
                  <a:lnTo>
                    <a:pt x="230" y="761"/>
                  </a:lnTo>
                  <a:lnTo>
                    <a:pt x="233" y="761"/>
                  </a:lnTo>
                  <a:lnTo>
                    <a:pt x="233" y="762"/>
                  </a:lnTo>
                  <a:lnTo>
                    <a:pt x="233" y="767"/>
                  </a:lnTo>
                  <a:lnTo>
                    <a:pt x="232" y="771"/>
                  </a:lnTo>
                  <a:lnTo>
                    <a:pt x="232" y="774"/>
                  </a:lnTo>
                  <a:lnTo>
                    <a:pt x="230" y="777"/>
                  </a:lnTo>
                  <a:lnTo>
                    <a:pt x="229" y="779"/>
                  </a:lnTo>
                  <a:lnTo>
                    <a:pt x="226" y="781"/>
                  </a:lnTo>
                  <a:lnTo>
                    <a:pt x="224" y="784"/>
                  </a:lnTo>
                  <a:lnTo>
                    <a:pt x="221" y="783"/>
                  </a:lnTo>
                  <a:lnTo>
                    <a:pt x="218" y="784"/>
                  </a:lnTo>
                  <a:lnTo>
                    <a:pt x="217" y="785"/>
                  </a:lnTo>
                  <a:lnTo>
                    <a:pt x="214" y="785"/>
                  </a:lnTo>
                  <a:lnTo>
                    <a:pt x="207" y="786"/>
                  </a:lnTo>
                  <a:lnTo>
                    <a:pt x="201" y="787"/>
                  </a:lnTo>
                  <a:lnTo>
                    <a:pt x="199" y="789"/>
                  </a:lnTo>
                  <a:lnTo>
                    <a:pt x="194" y="789"/>
                  </a:lnTo>
                  <a:lnTo>
                    <a:pt x="187" y="792"/>
                  </a:lnTo>
                  <a:lnTo>
                    <a:pt x="183" y="792"/>
                  </a:lnTo>
                  <a:lnTo>
                    <a:pt x="182" y="793"/>
                  </a:lnTo>
                  <a:lnTo>
                    <a:pt x="182" y="795"/>
                  </a:lnTo>
                  <a:lnTo>
                    <a:pt x="186" y="793"/>
                  </a:lnTo>
                  <a:lnTo>
                    <a:pt x="189" y="792"/>
                  </a:lnTo>
                  <a:lnTo>
                    <a:pt x="188" y="795"/>
                  </a:lnTo>
                  <a:lnTo>
                    <a:pt x="188" y="796"/>
                  </a:lnTo>
                  <a:lnTo>
                    <a:pt x="188" y="797"/>
                  </a:lnTo>
                  <a:lnTo>
                    <a:pt x="189" y="796"/>
                  </a:lnTo>
                  <a:lnTo>
                    <a:pt x="192" y="793"/>
                  </a:lnTo>
                  <a:lnTo>
                    <a:pt x="193" y="792"/>
                  </a:lnTo>
                  <a:lnTo>
                    <a:pt x="194" y="792"/>
                  </a:lnTo>
                  <a:lnTo>
                    <a:pt x="193" y="796"/>
                  </a:lnTo>
                  <a:lnTo>
                    <a:pt x="191" y="797"/>
                  </a:lnTo>
                  <a:lnTo>
                    <a:pt x="193" y="797"/>
                  </a:lnTo>
                  <a:lnTo>
                    <a:pt x="195" y="797"/>
                  </a:lnTo>
                  <a:lnTo>
                    <a:pt x="197" y="796"/>
                  </a:lnTo>
                  <a:lnTo>
                    <a:pt x="198" y="795"/>
                  </a:lnTo>
                  <a:lnTo>
                    <a:pt x="198" y="797"/>
                  </a:lnTo>
                  <a:lnTo>
                    <a:pt x="199" y="797"/>
                  </a:lnTo>
                  <a:lnTo>
                    <a:pt x="201" y="797"/>
                  </a:lnTo>
                  <a:lnTo>
                    <a:pt x="203" y="797"/>
                  </a:lnTo>
                  <a:lnTo>
                    <a:pt x="205" y="797"/>
                  </a:lnTo>
                  <a:lnTo>
                    <a:pt x="204" y="798"/>
                  </a:lnTo>
                  <a:lnTo>
                    <a:pt x="201" y="798"/>
                  </a:lnTo>
                  <a:lnTo>
                    <a:pt x="199" y="798"/>
                  </a:lnTo>
                  <a:lnTo>
                    <a:pt x="194" y="798"/>
                  </a:lnTo>
                  <a:lnTo>
                    <a:pt x="192" y="799"/>
                  </a:lnTo>
                  <a:lnTo>
                    <a:pt x="188" y="801"/>
                  </a:lnTo>
                  <a:lnTo>
                    <a:pt x="187" y="803"/>
                  </a:lnTo>
                  <a:lnTo>
                    <a:pt x="185" y="803"/>
                  </a:lnTo>
                  <a:lnTo>
                    <a:pt x="180" y="801"/>
                  </a:lnTo>
                  <a:lnTo>
                    <a:pt x="179" y="801"/>
                  </a:lnTo>
                  <a:lnTo>
                    <a:pt x="179" y="802"/>
                  </a:lnTo>
                  <a:lnTo>
                    <a:pt x="177" y="802"/>
                  </a:lnTo>
                  <a:lnTo>
                    <a:pt x="177" y="804"/>
                  </a:lnTo>
                  <a:lnTo>
                    <a:pt x="181" y="804"/>
                  </a:lnTo>
                  <a:lnTo>
                    <a:pt x="179" y="805"/>
                  </a:lnTo>
                  <a:lnTo>
                    <a:pt x="176" y="807"/>
                  </a:lnTo>
                  <a:lnTo>
                    <a:pt x="174" y="807"/>
                  </a:lnTo>
                  <a:lnTo>
                    <a:pt x="170" y="805"/>
                  </a:lnTo>
                  <a:lnTo>
                    <a:pt x="167" y="803"/>
                  </a:lnTo>
                  <a:lnTo>
                    <a:pt x="163" y="803"/>
                  </a:lnTo>
                  <a:lnTo>
                    <a:pt x="159" y="803"/>
                  </a:lnTo>
                  <a:lnTo>
                    <a:pt x="159" y="804"/>
                  </a:lnTo>
                  <a:lnTo>
                    <a:pt x="158" y="804"/>
                  </a:lnTo>
                  <a:lnTo>
                    <a:pt x="156" y="803"/>
                  </a:lnTo>
                  <a:lnTo>
                    <a:pt x="152" y="801"/>
                  </a:lnTo>
                  <a:lnTo>
                    <a:pt x="147" y="799"/>
                  </a:lnTo>
                  <a:lnTo>
                    <a:pt x="146" y="798"/>
                  </a:lnTo>
                  <a:lnTo>
                    <a:pt x="145" y="797"/>
                  </a:lnTo>
                  <a:lnTo>
                    <a:pt x="146" y="798"/>
                  </a:lnTo>
                  <a:lnTo>
                    <a:pt x="146" y="799"/>
                  </a:lnTo>
                  <a:lnTo>
                    <a:pt x="144" y="799"/>
                  </a:lnTo>
                  <a:lnTo>
                    <a:pt x="142" y="798"/>
                  </a:lnTo>
                  <a:lnTo>
                    <a:pt x="142" y="797"/>
                  </a:lnTo>
                  <a:lnTo>
                    <a:pt x="140" y="797"/>
                  </a:lnTo>
                  <a:lnTo>
                    <a:pt x="138" y="797"/>
                  </a:lnTo>
                  <a:lnTo>
                    <a:pt x="136" y="797"/>
                  </a:lnTo>
                  <a:lnTo>
                    <a:pt x="135" y="796"/>
                  </a:lnTo>
                  <a:lnTo>
                    <a:pt x="132" y="795"/>
                  </a:lnTo>
                  <a:lnTo>
                    <a:pt x="130" y="796"/>
                  </a:lnTo>
                  <a:lnTo>
                    <a:pt x="129" y="795"/>
                  </a:lnTo>
                  <a:lnTo>
                    <a:pt x="130" y="792"/>
                  </a:lnTo>
                  <a:lnTo>
                    <a:pt x="128" y="792"/>
                  </a:lnTo>
                  <a:lnTo>
                    <a:pt x="127" y="793"/>
                  </a:lnTo>
                  <a:lnTo>
                    <a:pt x="126" y="793"/>
                  </a:lnTo>
                  <a:lnTo>
                    <a:pt x="124" y="793"/>
                  </a:lnTo>
                  <a:lnTo>
                    <a:pt x="124" y="791"/>
                  </a:lnTo>
                  <a:lnTo>
                    <a:pt x="123" y="789"/>
                  </a:lnTo>
                  <a:lnTo>
                    <a:pt x="122" y="791"/>
                  </a:lnTo>
                  <a:lnTo>
                    <a:pt x="121" y="792"/>
                  </a:lnTo>
                  <a:lnTo>
                    <a:pt x="118" y="792"/>
                  </a:lnTo>
                  <a:lnTo>
                    <a:pt x="117" y="791"/>
                  </a:lnTo>
                  <a:lnTo>
                    <a:pt x="116" y="791"/>
                  </a:lnTo>
                  <a:lnTo>
                    <a:pt x="114" y="791"/>
                  </a:lnTo>
                  <a:lnTo>
                    <a:pt x="112" y="791"/>
                  </a:lnTo>
                  <a:lnTo>
                    <a:pt x="112" y="790"/>
                  </a:lnTo>
                  <a:lnTo>
                    <a:pt x="110" y="789"/>
                  </a:lnTo>
                  <a:lnTo>
                    <a:pt x="108" y="789"/>
                  </a:lnTo>
                  <a:lnTo>
                    <a:pt x="103" y="785"/>
                  </a:lnTo>
                  <a:lnTo>
                    <a:pt x="104" y="787"/>
                  </a:lnTo>
                  <a:lnTo>
                    <a:pt x="104" y="790"/>
                  </a:lnTo>
                  <a:lnTo>
                    <a:pt x="102" y="789"/>
                  </a:lnTo>
                  <a:lnTo>
                    <a:pt x="100" y="787"/>
                  </a:lnTo>
                  <a:lnTo>
                    <a:pt x="102" y="790"/>
                  </a:lnTo>
                  <a:lnTo>
                    <a:pt x="103" y="790"/>
                  </a:lnTo>
                  <a:lnTo>
                    <a:pt x="99" y="791"/>
                  </a:lnTo>
                  <a:lnTo>
                    <a:pt x="97" y="792"/>
                  </a:lnTo>
                  <a:lnTo>
                    <a:pt x="100" y="792"/>
                  </a:lnTo>
                  <a:lnTo>
                    <a:pt x="103" y="792"/>
                  </a:lnTo>
                  <a:lnTo>
                    <a:pt x="106" y="791"/>
                  </a:lnTo>
                  <a:lnTo>
                    <a:pt x="105" y="796"/>
                  </a:lnTo>
                  <a:lnTo>
                    <a:pt x="105" y="797"/>
                  </a:lnTo>
                  <a:lnTo>
                    <a:pt x="106" y="796"/>
                  </a:lnTo>
                  <a:lnTo>
                    <a:pt x="109" y="793"/>
                  </a:lnTo>
                  <a:lnTo>
                    <a:pt x="109" y="792"/>
                  </a:lnTo>
                  <a:lnTo>
                    <a:pt x="111" y="792"/>
                  </a:lnTo>
                  <a:lnTo>
                    <a:pt x="111" y="795"/>
                  </a:lnTo>
                  <a:lnTo>
                    <a:pt x="111" y="793"/>
                  </a:lnTo>
                  <a:lnTo>
                    <a:pt x="112" y="793"/>
                  </a:lnTo>
                  <a:lnTo>
                    <a:pt x="115" y="793"/>
                  </a:lnTo>
                  <a:lnTo>
                    <a:pt x="115" y="795"/>
                  </a:lnTo>
                  <a:lnTo>
                    <a:pt x="112" y="797"/>
                  </a:lnTo>
                  <a:lnTo>
                    <a:pt x="111" y="799"/>
                  </a:lnTo>
                  <a:lnTo>
                    <a:pt x="111" y="803"/>
                  </a:lnTo>
                  <a:lnTo>
                    <a:pt x="111" y="807"/>
                  </a:lnTo>
                  <a:lnTo>
                    <a:pt x="114" y="810"/>
                  </a:lnTo>
                  <a:lnTo>
                    <a:pt x="115" y="812"/>
                  </a:lnTo>
                  <a:lnTo>
                    <a:pt x="115" y="809"/>
                  </a:lnTo>
                  <a:lnTo>
                    <a:pt x="115" y="805"/>
                  </a:lnTo>
                  <a:lnTo>
                    <a:pt x="116" y="804"/>
                  </a:lnTo>
                  <a:lnTo>
                    <a:pt x="116" y="807"/>
                  </a:lnTo>
                  <a:lnTo>
                    <a:pt x="117" y="808"/>
                  </a:lnTo>
                  <a:lnTo>
                    <a:pt x="117" y="810"/>
                  </a:lnTo>
                  <a:lnTo>
                    <a:pt x="116" y="813"/>
                  </a:lnTo>
                  <a:lnTo>
                    <a:pt x="117" y="813"/>
                  </a:lnTo>
                  <a:lnTo>
                    <a:pt x="118" y="813"/>
                  </a:lnTo>
                  <a:lnTo>
                    <a:pt x="121" y="814"/>
                  </a:lnTo>
                  <a:lnTo>
                    <a:pt x="121" y="818"/>
                  </a:lnTo>
                  <a:lnTo>
                    <a:pt x="123" y="820"/>
                  </a:lnTo>
                  <a:lnTo>
                    <a:pt x="123" y="821"/>
                  </a:lnTo>
                  <a:lnTo>
                    <a:pt x="122" y="821"/>
                  </a:lnTo>
                  <a:lnTo>
                    <a:pt x="120" y="819"/>
                  </a:lnTo>
                  <a:lnTo>
                    <a:pt x="117" y="819"/>
                  </a:lnTo>
                  <a:lnTo>
                    <a:pt x="115" y="819"/>
                  </a:lnTo>
                  <a:lnTo>
                    <a:pt x="114" y="820"/>
                  </a:lnTo>
                  <a:lnTo>
                    <a:pt x="111" y="819"/>
                  </a:lnTo>
                  <a:lnTo>
                    <a:pt x="109" y="819"/>
                  </a:lnTo>
                  <a:lnTo>
                    <a:pt x="106" y="819"/>
                  </a:lnTo>
                  <a:lnTo>
                    <a:pt x="104" y="821"/>
                  </a:lnTo>
                  <a:lnTo>
                    <a:pt x="105" y="821"/>
                  </a:lnTo>
                  <a:lnTo>
                    <a:pt x="108" y="821"/>
                  </a:lnTo>
                  <a:lnTo>
                    <a:pt x="109" y="822"/>
                  </a:lnTo>
                  <a:lnTo>
                    <a:pt x="110" y="821"/>
                  </a:lnTo>
                  <a:lnTo>
                    <a:pt x="111" y="821"/>
                  </a:lnTo>
                  <a:lnTo>
                    <a:pt x="112" y="821"/>
                  </a:lnTo>
                  <a:lnTo>
                    <a:pt x="115" y="820"/>
                  </a:lnTo>
                  <a:lnTo>
                    <a:pt x="115" y="822"/>
                  </a:lnTo>
                  <a:lnTo>
                    <a:pt x="114" y="824"/>
                  </a:lnTo>
                  <a:lnTo>
                    <a:pt x="112" y="825"/>
                  </a:lnTo>
                  <a:lnTo>
                    <a:pt x="114" y="825"/>
                  </a:lnTo>
                  <a:lnTo>
                    <a:pt x="116" y="825"/>
                  </a:lnTo>
                  <a:lnTo>
                    <a:pt x="116" y="824"/>
                  </a:lnTo>
                  <a:lnTo>
                    <a:pt x="117" y="824"/>
                  </a:lnTo>
                  <a:lnTo>
                    <a:pt x="118" y="822"/>
                  </a:lnTo>
                  <a:lnTo>
                    <a:pt x="120" y="824"/>
                  </a:lnTo>
                  <a:lnTo>
                    <a:pt x="118" y="825"/>
                  </a:lnTo>
                  <a:lnTo>
                    <a:pt x="117" y="826"/>
                  </a:lnTo>
                  <a:lnTo>
                    <a:pt x="118" y="827"/>
                  </a:lnTo>
                  <a:lnTo>
                    <a:pt x="117" y="828"/>
                  </a:lnTo>
                  <a:lnTo>
                    <a:pt x="116" y="827"/>
                  </a:lnTo>
                  <a:lnTo>
                    <a:pt x="114" y="826"/>
                  </a:lnTo>
                  <a:lnTo>
                    <a:pt x="112" y="826"/>
                  </a:lnTo>
                  <a:lnTo>
                    <a:pt x="109" y="826"/>
                  </a:lnTo>
                  <a:lnTo>
                    <a:pt x="106" y="826"/>
                  </a:lnTo>
                  <a:lnTo>
                    <a:pt x="102" y="825"/>
                  </a:lnTo>
                  <a:lnTo>
                    <a:pt x="100" y="826"/>
                  </a:lnTo>
                  <a:lnTo>
                    <a:pt x="102" y="826"/>
                  </a:lnTo>
                  <a:lnTo>
                    <a:pt x="103" y="827"/>
                  </a:lnTo>
                  <a:lnTo>
                    <a:pt x="103" y="828"/>
                  </a:lnTo>
                  <a:lnTo>
                    <a:pt x="99" y="827"/>
                  </a:lnTo>
                  <a:lnTo>
                    <a:pt x="99" y="830"/>
                  </a:lnTo>
                  <a:lnTo>
                    <a:pt x="100" y="830"/>
                  </a:lnTo>
                  <a:lnTo>
                    <a:pt x="103" y="828"/>
                  </a:lnTo>
                  <a:lnTo>
                    <a:pt x="104" y="828"/>
                  </a:lnTo>
                  <a:lnTo>
                    <a:pt x="105" y="831"/>
                  </a:lnTo>
                  <a:lnTo>
                    <a:pt x="104" y="832"/>
                  </a:lnTo>
                  <a:lnTo>
                    <a:pt x="102" y="832"/>
                  </a:lnTo>
                  <a:lnTo>
                    <a:pt x="98" y="832"/>
                  </a:lnTo>
                  <a:lnTo>
                    <a:pt x="96" y="831"/>
                  </a:lnTo>
                  <a:lnTo>
                    <a:pt x="90" y="827"/>
                  </a:lnTo>
                  <a:lnTo>
                    <a:pt x="88" y="826"/>
                  </a:lnTo>
                  <a:lnTo>
                    <a:pt x="88" y="827"/>
                  </a:lnTo>
                  <a:lnTo>
                    <a:pt x="88" y="830"/>
                  </a:lnTo>
                  <a:lnTo>
                    <a:pt x="87" y="828"/>
                  </a:lnTo>
                  <a:lnTo>
                    <a:pt x="85" y="828"/>
                  </a:lnTo>
                  <a:lnTo>
                    <a:pt x="83" y="827"/>
                  </a:lnTo>
                  <a:lnTo>
                    <a:pt x="81" y="826"/>
                  </a:lnTo>
                  <a:lnTo>
                    <a:pt x="79" y="824"/>
                  </a:lnTo>
                  <a:lnTo>
                    <a:pt x="77" y="825"/>
                  </a:lnTo>
                  <a:lnTo>
                    <a:pt x="76" y="826"/>
                  </a:lnTo>
                  <a:lnTo>
                    <a:pt x="74" y="824"/>
                  </a:lnTo>
                  <a:lnTo>
                    <a:pt x="71" y="824"/>
                  </a:lnTo>
                  <a:lnTo>
                    <a:pt x="70" y="824"/>
                  </a:lnTo>
                  <a:lnTo>
                    <a:pt x="73" y="826"/>
                  </a:lnTo>
                  <a:lnTo>
                    <a:pt x="75" y="827"/>
                  </a:lnTo>
                  <a:lnTo>
                    <a:pt x="75" y="828"/>
                  </a:lnTo>
                  <a:lnTo>
                    <a:pt x="73" y="830"/>
                  </a:lnTo>
                  <a:lnTo>
                    <a:pt x="71" y="831"/>
                  </a:lnTo>
                  <a:lnTo>
                    <a:pt x="71" y="832"/>
                  </a:lnTo>
                  <a:lnTo>
                    <a:pt x="74" y="831"/>
                  </a:lnTo>
                  <a:lnTo>
                    <a:pt x="75" y="830"/>
                  </a:lnTo>
                  <a:lnTo>
                    <a:pt x="77" y="828"/>
                  </a:lnTo>
                  <a:lnTo>
                    <a:pt x="81" y="828"/>
                  </a:lnTo>
                  <a:lnTo>
                    <a:pt x="79" y="832"/>
                  </a:lnTo>
                  <a:lnTo>
                    <a:pt x="77" y="834"/>
                  </a:lnTo>
                  <a:lnTo>
                    <a:pt x="79" y="833"/>
                  </a:lnTo>
                  <a:lnTo>
                    <a:pt x="80" y="832"/>
                  </a:lnTo>
                  <a:lnTo>
                    <a:pt x="81" y="831"/>
                  </a:lnTo>
                  <a:lnTo>
                    <a:pt x="82" y="830"/>
                  </a:lnTo>
                  <a:lnTo>
                    <a:pt x="83" y="830"/>
                  </a:lnTo>
                  <a:lnTo>
                    <a:pt x="85" y="831"/>
                  </a:lnTo>
                  <a:lnTo>
                    <a:pt x="83" y="834"/>
                  </a:lnTo>
                  <a:lnTo>
                    <a:pt x="82" y="837"/>
                  </a:lnTo>
                  <a:lnTo>
                    <a:pt x="81" y="838"/>
                  </a:lnTo>
                  <a:lnTo>
                    <a:pt x="82" y="839"/>
                  </a:lnTo>
                  <a:lnTo>
                    <a:pt x="83" y="839"/>
                  </a:lnTo>
                  <a:lnTo>
                    <a:pt x="82" y="840"/>
                  </a:lnTo>
                  <a:lnTo>
                    <a:pt x="81" y="842"/>
                  </a:lnTo>
                  <a:lnTo>
                    <a:pt x="79" y="842"/>
                  </a:lnTo>
                  <a:lnTo>
                    <a:pt x="76" y="840"/>
                  </a:lnTo>
                  <a:lnTo>
                    <a:pt x="74" y="838"/>
                  </a:lnTo>
                  <a:lnTo>
                    <a:pt x="73" y="838"/>
                  </a:lnTo>
                  <a:lnTo>
                    <a:pt x="73" y="839"/>
                  </a:lnTo>
                  <a:lnTo>
                    <a:pt x="69" y="839"/>
                  </a:lnTo>
                  <a:lnTo>
                    <a:pt x="68" y="838"/>
                  </a:lnTo>
                  <a:lnTo>
                    <a:pt x="65" y="839"/>
                  </a:lnTo>
                  <a:lnTo>
                    <a:pt x="70" y="840"/>
                  </a:lnTo>
                  <a:lnTo>
                    <a:pt x="73" y="840"/>
                  </a:lnTo>
                  <a:lnTo>
                    <a:pt x="71" y="843"/>
                  </a:lnTo>
                  <a:lnTo>
                    <a:pt x="71" y="844"/>
                  </a:lnTo>
                  <a:lnTo>
                    <a:pt x="73" y="845"/>
                  </a:lnTo>
                  <a:lnTo>
                    <a:pt x="74" y="844"/>
                  </a:lnTo>
                  <a:lnTo>
                    <a:pt x="75" y="843"/>
                  </a:lnTo>
                  <a:lnTo>
                    <a:pt x="77" y="842"/>
                  </a:lnTo>
                  <a:lnTo>
                    <a:pt x="77" y="843"/>
                  </a:lnTo>
                  <a:lnTo>
                    <a:pt x="77" y="845"/>
                  </a:lnTo>
                  <a:lnTo>
                    <a:pt x="77" y="846"/>
                  </a:lnTo>
                  <a:lnTo>
                    <a:pt x="79" y="845"/>
                  </a:lnTo>
                  <a:lnTo>
                    <a:pt x="80" y="844"/>
                  </a:lnTo>
                  <a:lnTo>
                    <a:pt x="81" y="844"/>
                  </a:lnTo>
                  <a:lnTo>
                    <a:pt x="81" y="845"/>
                  </a:lnTo>
                  <a:lnTo>
                    <a:pt x="80" y="848"/>
                  </a:lnTo>
                  <a:lnTo>
                    <a:pt x="81" y="848"/>
                  </a:lnTo>
                  <a:lnTo>
                    <a:pt x="81" y="845"/>
                  </a:lnTo>
                  <a:lnTo>
                    <a:pt x="83" y="844"/>
                  </a:lnTo>
                  <a:lnTo>
                    <a:pt x="85" y="844"/>
                  </a:lnTo>
                  <a:lnTo>
                    <a:pt x="86" y="845"/>
                  </a:lnTo>
                  <a:lnTo>
                    <a:pt x="82" y="849"/>
                  </a:lnTo>
                  <a:lnTo>
                    <a:pt x="83" y="850"/>
                  </a:lnTo>
                  <a:lnTo>
                    <a:pt x="86" y="848"/>
                  </a:lnTo>
                  <a:lnTo>
                    <a:pt x="87" y="846"/>
                  </a:lnTo>
                  <a:lnTo>
                    <a:pt x="88" y="846"/>
                  </a:lnTo>
                  <a:lnTo>
                    <a:pt x="88" y="849"/>
                  </a:lnTo>
                  <a:lnTo>
                    <a:pt x="88" y="850"/>
                  </a:lnTo>
                  <a:lnTo>
                    <a:pt x="88" y="854"/>
                  </a:lnTo>
                  <a:lnTo>
                    <a:pt x="90" y="852"/>
                  </a:lnTo>
                  <a:lnTo>
                    <a:pt x="91" y="852"/>
                  </a:lnTo>
                  <a:lnTo>
                    <a:pt x="91" y="854"/>
                  </a:lnTo>
                  <a:lnTo>
                    <a:pt x="92" y="857"/>
                  </a:lnTo>
                  <a:lnTo>
                    <a:pt x="91" y="861"/>
                  </a:lnTo>
                  <a:lnTo>
                    <a:pt x="91" y="860"/>
                  </a:lnTo>
                  <a:lnTo>
                    <a:pt x="94" y="860"/>
                  </a:lnTo>
                  <a:lnTo>
                    <a:pt x="96" y="858"/>
                  </a:lnTo>
                  <a:lnTo>
                    <a:pt x="96" y="861"/>
                  </a:lnTo>
                  <a:lnTo>
                    <a:pt x="93" y="862"/>
                  </a:lnTo>
                  <a:lnTo>
                    <a:pt x="90" y="862"/>
                  </a:lnTo>
                  <a:lnTo>
                    <a:pt x="91" y="863"/>
                  </a:lnTo>
                  <a:lnTo>
                    <a:pt x="93" y="864"/>
                  </a:lnTo>
                  <a:lnTo>
                    <a:pt x="94" y="866"/>
                  </a:lnTo>
                  <a:lnTo>
                    <a:pt x="91" y="868"/>
                  </a:lnTo>
                  <a:lnTo>
                    <a:pt x="88" y="869"/>
                  </a:lnTo>
                  <a:lnTo>
                    <a:pt x="90" y="872"/>
                  </a:lnTo>
                  <a:lnTo>
                    <a:pt x="91" y="870"/>
                  </a:lnTo>
                  <a:lnTo>
                    <a:pt x="93" y="869"/>
                  </a:lnTo>
                  <a:lnTo>
                    <a:pt x="94" y="868"/>
                  </a:lnTo>
                  <a:lnTo>
                    <a:pt x="96" y="869"/>
                  </a:lnTo>
                  <a:lnTo>
                    <a:pt x="98" y="868"/>
                  </a:lnTo>
                  <a:lnTo>
                    <a:pt x="99" y="867"/>
                  </a:lnTo>
                  <a:lnTo>
                    <a:pt x="99" y="869"/>
                  </a:lnTo>
                  <a:lnTo>
                    <a:pt x="99" y="870"/>
                  </a:lnTo>
                  <a:lnTo>
                    <a:pt x="99" y="872"/>
                  </a:lnTo>
                  <a:lnTo>
                    <a:pt x="97" y="872"/>
                  </a:lnTo>
                  <a:lnTo>
                    <a:pt x="93" y="872"/>
                  </a:lnTo>
                  <a:lnTo>
                    <a:pt x="91" y="872"/>
                  </a:lnTo>
                  <a:lnTo>
                    <a:pt x="87" y="872"/>
                  </a:lnTo>
                  <a:lnTo>
                    <a:pt x="83" y="872"/>
                  </a:lnTo>
                  <a:lnTo>
                    <a:pt x="82" y="872"/>
                  </a:lnTo>
                  <a:lnTo>
                    <a:pt x="79" y="870"/>
                  </a:lnTo>
                  <a:lnTo>
                    <a:pt x="76" y="870"/>
                  </a:lnTo>
                  <a:lnTo>
                    <a:pt x="74" y="872"/>
                  </a:lnTo>
                  <a:lnTo>
                    <a:pt x="71" y="870"/>
                  </a:lnTo>
                  <a:lnTo>
                    <a:pt x="71" y="873"/>
                  </a:lnTo>
                  <a:lnTo>
                    <a:pt x="74" y="875"/>
                  </a:lnTo>
                  <a:lnTo>
                    <a:pt x="75" y="876"/>
                  </a:lnTo>
                  <a:lnTo>
                    <a:pt x="76" y="875"/>
                  </a:lnTo>
                  <a:lnTo>
                    <a:pt x="77" y="875"/>
                  </a:lnTo>
                  <a:lnTo>
                    <a:pt x="77" y="879"/>
                  </a:lnTo>
                  <a:lnTo>
                    <a:pt x="79" y="881"/>
                  </a:lnTo>
                  <a:lnTo>
                    <a:pt x="79" y="879"/>
                  </a:lnTo>
                  <a:lnTo>
                    <a:pt x="80" y="878"/>
                  </a:lnTo>
                  <a:lnTo>
                    <a:pt x="80" y="875"/>
                  </a:lnTo>
                  <a:lnTo>
                    <a:pt x="81" y="875"/>
                  </a:lnTo>
                  <a:lnTo>
                    <a:pt x="81" y="879"/>
                  </a:lnTo>
                  <a:lnTo>
                    <a:pt x="80" y="881"/>
                  </a:lnTo>
                  <a:lnTo>
                    <a:pt x="80" y="885"/>
                  </a:lnTo>
                  <a:lnTo>
                    <a:pt x="80" y="890"/>
                  </a:lnTo>
                  <a:lnTo>
                    <a:pt x="81" y="891"/>
                  </a:lnTo>
                  <a:lnTo>
                    <a:pt x="82" y="888"/>
                  </a:lnTo>
                  <a:lnTo>
                    <a:pt x="82" y="887"/>
                  </a:lnTo>
                  <a:lnTo>
                    <a:pt x="83" y="882"/>
                  </a:lnTo>
                  <a:lnTo>
                    <a:pt x="83" y="881"/>
                  </a:lnTo>
                  <a:lnTo>
                    <a:pt x="85" y="879"/>
                  </a:lnTo>
                  <a:lnTo>
                    <a:pt x="86" y="879"/>
                  </a:lnTo>
                  <a:lnTo>
                    <a:pt x="86" y="880"/>
                  </a:lnTo>
                  <a:lnTo>
                    <a:pt x="86" y="881"/>
                  </a:lnTo>
                  <a:lnTo>
                    <a:pt x="86" y="884"/>
                  </a:lnTo>
                  <a:lnTo>
                    <a:pt x="86" y="886"/>
                  </a:lnTo>
                  <a:lnTo>
                    <a:pt x="87" y="886"/>
                  </a:lnTo>
                  <a:lnTo>
                    <a:pt x="88" y="884"/>
                  </a:lnTo>
                  <a:lnTo>
                    <a:pt x="90" y="882"/>
                  </a:lnTo>
                  <a:lnTo>
                    <a:pt x="91" y="881"/>
                  </a:lnTo>
                  <a:lnTo>
                    <a:pt x="92" y="880"/>
                  </a:lnTo>
                  <a:lnTo>
                    <a:pt x="92" y="882"/>
                  </a:lnTo>
                  <a:lnTo>
                    <a:pt x="92" y="884"/>
                  </a:lnTo>
                  <a:lnTo>
                    <a:pt x="91" y="886"/>
                  </a:lnTo>
                  <a:lnTo>
                    <a:pt x="91" y="887"/>
                  </a:lnTo>
                  <a:lnTo>
                    <a:pt x="90" y="888"/>
                  </a:lnTo>
                  <a:lnTo>
                    <a:pt x="88" y="891"/>
                  </a:lnTo>
                  <a:lnTo>
                    <a:pt x="87" y="893"/>
                  </a:lnTo>
                  <a:lnTo>
                    <a:pt x="87" y="894"/>
                  </a:lnTo>
                  <a:lnTo>
                    <a:pt x="88" y="893"/>
                  </a:lnTo>
                  <a:lnTo>
                    <a:pt x="90" y="893"/>
                  </a:lnTo>
                  <a:lnTo>
                    <a:pt x="92" y="893"/>
                  </a:lnTo>
                  <a:lnTo>
                    <a:pt x="93" y="893"/>
                  </a:lnTo>
                  <a:lnTo>
                    <a:pt x="92" y="894"/>
                  </a:lnTo>
                  <a:lnTo>
                    <a:pt x="91" y="896"/>
                  </a:lnTo>
                  <a:lnTo>
                    <a:pt x="90" y="896"/>
                  </a:lnTo>
                  <a:lnTo>
                    <a:pt x="87" y="894"/>
                  </a:lnTo>
                  <a:lnTo>
                    <a:pt x="86" y="894"/>
                  </a:lnTo>
                  <a:lnTo>
                    <a:pt x="83" y="894"/>
                  </a:lnTo>
                  <a:lnTo>
                    <a:pt x="81" y="893"/>
                  </a:lnTo>
                  <a:lnTo>
                    <a:pt x="79" y="892"/>
                  </a:lnTo>
                  <a:lnTo>
                    <a:pt x="76" y="891"/>
                  </a:lnTo>
                  <a:lnTo>
                    <a:pt x="74" y="891"/>
                  </a:lnTo>
                  <a:lnTo>
                    <a:pt x="70" y="891"/>
                  </a:lnTo>
                  <a:lnTo>
                    <a:pt x="65" y="888"/>
                  </a:lnTo>
                  <a:lnTo>
                    <a:pt x="63" y="888"/>
                  </a:lnTo>
                  <a:lnTo>
                    <a:pt x="62" y="890"/>
                  </a:lnTo>
                  <a:lnTo>
                    <a:pt x="59" y="888"/>
                  </a:lnTo>
                  <a:lnTo>
                    <a:pt x="57" y="887"/>
                  </a:lnTo>
                  <a:lnTo>
                    <a:pt x="55" y="886"/>
                  </a:lnTo>
                  <a:lnTo>
                    <a:pt x="51" y="886"/>
                  </a:lnTo>
                  <a:lnTo>
                    <a:pt x="50" y="886"/>
                  </a:lnTo>
                  <a:lnTo>
                    <a:pt x="47" y="885"/>
                  </a:lnTo>
                  <a:lnTo>
                    <a:pt x="46" y="885"/>
                  </a:lnTo>
                  <a:lnTo>
                    <a:pt x="46" y="886"/>
                  </a:lnTo>
                  <a:lnTo>
                    <a:pt x="47" y="887"/>
                  </a:lnTo>
                  <a:lnTo>
                    <a:pt x="45" y="887"/>
                  </a:lnTo>
                  <a:lnTo>
                    <a:pt x="44" y="886"/>
                  </a:lnTo>
                  <a:lnTo>
                    <a:pt x="43" y="885"/>
                  </a:lnTo>
                  <a:lnTo>
                    <a:pt x="43" y="886"/>
                  </a:lnTo>
                  <a:lnTo>
                    <a:pt x="41" y="885"/>
                  </a:lnTo>
                  <a:lnTo>
                    <a:pt x="40" y="884"/>
                  </a:lnTo>
                  <a:lnTo>
                    <a:pt x="37" y="881"/>
                  </a:lnTo>
                  <a:lnTo>
                    <a:pt x="35" y="884"/>
                  </a:lnTo>
                  <a:lnTo>
                    <a:pt x="37" y="885"/>
                  </a:lnTo>
                  <a:lnTo>
                    <a:pt x="31" y="884"/>
                  </a:lnTo>
                  <a:lnTo>
                    <a:pt x="32" y="885"/>
                  </a:lnTo>
                  <a:lnTo>
                    <a:pt x="34" y="886"/>
                  </a:lnTo>
                  <a:lnTo>
                    <a:pt x="37" y="886"/>
                  </a:lnTo>
                  <a:lnTo>
                    <a:pt x="37" y="887"/>
                  </a:lnTo>
                  <a:lnTo>
                    <a:pt x="34" y="890"/>
                  </a:lnTo>
                  <a:lnTo>
                    <a:pt x="32" y="891"/>
                  </a:lnTo>
                  <a:lnTo>
                    <a:pt x="33" y="891"/>
                  </a:lnTo>
                  <a:lnTo>
                    <a:pt x="34" y="891"/>
                  </a:lnTo>
                  <a:lnTo>
                    <a:pt x="38" y="888"/>
                  </a:lnTo>
                  <a:lnTo>
                    <a:pt x="40" y="888"/>
                  </a:lnTo>
                  <a:lnTo>
                    <a:pt x="41" y="888"/>
                  </a:lnTo>
                  <a:lnTo>
                    <a:pt x="41" y="890"/>
                  </a:lnTo>
                  <a:lnTo>
                    <a:pt x="40" y="892"/>
                  </a:lnTo>
                  <a:lnTo>
                    <a:pt x="40" y="893"/>
                  </a:lnTo>
                  <a:lnTo>
                    <a:pt x="41" y="893"/>
                  </a:lnTo>
                  <a:lnTo>
                    <a:pt x="43" y="892"/>
                  </a:lnTo>
                  <a:lnTo>
                    <a:pt x="43" y="890"/>
                  </a:lnTo>
                  <a:lnTo>
                    <a:pt x="44" y="888"/>
                  </a:lnTo>
                  <a:lnTo>
                    <a:pt x="47" y="888"/>
                  </a:lnTo>
                  <a:lnTo>
                    <a:pt x="49" y="890"/>
                  </a:lnTo>
                  <a:lnTo>
                    <a:pt x="47" y="892"/>
                  </a:lnTo>
                  <a:lnTo>
                    <a:pt x="46" y="893"/>
                  </a:lnTo>
                  <a:lnTo>
                    <a:pt x="45" y="894"/>
                  </a:lnTo>
                  <a:lnTo>
                    <a:pt x="44" y="897"/>
                  </a:lnTo>
                  <a:lnTo>
                    <a:pt x="45" y="902"/>
                  </a:lnTo>
                  <a:lnTo>
                    <a:pt x="45" y="904"/>
                  </a:lnTo>
                  <a:lnTo>
                    <a:pt x="46" y="906"/>
                  </a:lnTo>
                  <a:lnTo>
                    <a:pt x="46" y="909"/>
                  </a:lnTo>
                  <a:lnTo>
                    <a:pt x="47" y="909"/>
                  </a:lnTo>
                  <a:lnTo>
                    <a:pt x="47" y="906"/>
                  </a:lnTo>
                  <a:lnTo>
                    <a:pt x="49" y="905"/>
                  </a:lnTo>
                  <a:lnTo>
                    <a:pt x="50" y="903"/>
                  </a:lnTo>
                  <a:lnTo>
                    <a:pt x="50" y="902"/>
                  </a:lnTo>
                  <a:lnTo>
                    <a:pt x="50" y="898"/>
                  </a:lnTo>
                  <a:lnTo>
                    <a:pt x="51" y="900"/>
                  </a:lnTo>
                  <a:lnTo>
                    <a:pt x="51" y="902"/>
                  </a:lnTo>
                  <a:lnTo>
                    <a:pt x="51" y="900"/>
                  </a:lnTo>
                  <a:lnTo>
                    <a:pt x="52" y="898"/>
                  </a:lnTo>
                  <a:lnTo>
                    <a:pt x="52" y="896"/>
                  </a:lnTo>
                  <a:lnTo>
                    <a:pt x="55" y="893"/>
                  </a:lnTo>
                  <a:lnTo>
                    <a:pt x="55" y="892"/>
                  </a:lnTo>
                  <a:lnTo>
                    <a:pt x="55" y="894"/>
                  </a:lnTo>
                  <a:lnTo>
                    <a:pt x="53" y="896"/>
                  </a:lnTo>
                  <a:lnTo>
                    <a:pt x="55" y="896"/>
                  </a:lnTo>
                  <a:lnTo>
                    <a:pt x="56" y="896"/>
                  </a:lnTo>
                  <a:lnTo>
                    <a:pt x="57" y="894"/>
                  </a:lnTo>
                  <a:lnTo>
                    <a:pt x="58" y="893"/>
                  </a:lnTo>
                  <a:lnTo>
                    <a:pt x="58" y="892"/>
                  </a:lnTo>
                  <a:lnTo>
                    <a:pt x="58" y="894"/>
                  </a:lnTo>
                  <a:lnTo>
                    <a:pt x="57" y="897"/>
                  </a:lnTo>
                  <a:lnTo>
                    <a:pt x="56" y="899"/>
                  </a:lnTo>
                  <a:lnTo>
                    <a:pt x="57" y="900"/>
                  </a:lnTo>
                  <a:lnTo>
                    <a:pt x="58" y="900"/>
                  </a:lnTo>
                  <a:lnTo>
                    <a:pt x="59" y="898"/>
                  </a:lnTo>
                  <a:lnTo>
                    <a:pt x="61" y="897"/>
                  </a:lnTo>
                  <a:lnTo>
                    <a:pt x="62" y="899"/>
                  </a:lnTo>
                  <a:lnTo>
                    <a:pt x="59" y="902"/>
                  </a:lnTo>
                  <a:lnTo>
                    <a:pt x="59" y="903"/>
                  </a:lnTo>
                  <a:lnTo>
                    <a:pt x="57" y="905"/>
                  </a:lnTo>
                  <a:lnTo>
                    <a:pt x="58" y="909"/>
                  </a:lnTo>
                  <a:lnTo>
                    <a:pt x="58" y="910"/>
                  </a:lnTo>
                  <a:lnTo>
                    <a:pt x="59" y="908"/>
                  </a:lnTo>
                  <a:lnTo>
                    <a:pt x="61" y="905"/>
                  </a:lnTo>
                  <a:lnTo>
                    <a:pt x="62" y="903"/>
                  </a:lnTo>
                  <a:lnTo>
                    <a:pt x="63" y="900"/>
                  </a:lnTo>
                  <a:lnTo>
                    <a:pt x="64" y="900"/>
                  </a:lnTo>
                  <a:lnTo>
                    <a:pt x="64" y="903"/>
                  </a:lnTo>
                  <a:lnTo>
                    <a:pt x="65" y="903"/>
                  </a:lnTo>
                  <a:lnTo>
                    <a:pt x="65" y="904"/>
                  </a:lnTo>
                  <a:lnTo>
                    <a:pt x="65" y="906"/>
                  </a:lnTo>
                  <a:lnTo>
                    <a:pt x="65" y="908"/>
                  </a:lnTo>
                  <a:lnTo>
                    <a:pt x="67" y="908"/>
                  </a:lnTo>
                  <a:lnTo>
                    <a:pt x="68" y="904"/>
                  </a:lnTo>
                  <a:lnTo>
                    <a:pt x="68" y="903"/>
                  </a:lnTo>
                  <a:lnTo>
                    <a:pt x="69" y="902"/>
                  </a:lnTo>
                  <a:lnTo>
                    <a:pt x="70" y="902"/>
                  </a:lnTo>
                  <a:lnTo>
                    <a:pt x="71" y="903"/>
                  </a:lnTo>
                  <a:lnTo>
                    <a:pt x="70" y="904"/>
                  </a:lnTo>
                  <a:lnTo>
                    <a:pt x="69" y="905"/>
                  </a:lnTo>
                  <a:lnTo>
                    <a:pt x="68" y="908"/>
                  </a:lnTo>
                  <a:lnTo>
                    <a:pt x="67" y="910"/>
                  </a:lnTo>
                  <a:lnTo>
                    <a:pt x="68" y="910"/>
                  </a:lnTo>
                  <a:lnTo>
                    <a:pt x="70" y="908"/>
                  </a:lnTo>
                  <a:lnTo>
                    <a:pt x="69" y="911"/>
                  </a:lnTo>
                  <a:lnTo>
                    <a:pt x="68" y="914"/>
                  </a:lnTo>
                  <a:lnTo>
                    <a:pt x="67" y="915"/>
                  </a:lnTo>
                  <a:lnTo>
                    <a:pt x="65" y="916"/>
                  </a:lnTo>
                  <a:lnTo>
                    <a:pt x="58" y="920"/>
                  </a:lnTo>
                  <a:lnTo>
                    <a:pt x="58" y="921"/>
                  </a:lnTo>
                  <a:lnTo>
                    <a:pt x="61" y="921"/>
                  </a:lnTo>
                  <a:lnTo>
                    <a:pt x="62" y="920"/>
                  </a:lnTo>
                  <a:lnTo>
                    <a:pt x="62" y="922"/>
                  </a:lnTo>
                  <a:lnTo>
                    <a:pt x="62" y="923"/>
                  </a:lnTo>
                  <a:lnTo>
                    <a:pt x="63" y="923"/>
                  </a:lnTo>
                  <a:lnTo>
                    <a:pt x="63" y="922"/>
                  </a:lnTo>
                  <a:lnTo>
                    <a:pt x="64" y="921"/>
                  </a:lnTo>
                  <a:lnTo>
                    <a:pt x="65" y="919"/>
                  </a:lnTo>
                  <a:lnTo>
                    <a:pt x="67" y="919"/>
                  </a:lnTo>
                  <a:lnTo>
                    <a:pt x="67" y="920"/>
                  </a:lnTo>
                  <a:lnTo>
                    <a:pt x="67" y="922"/>
                  </a:lnTo>
                  <a:lnTo>
                    <a:pt x="67" y="925"/>
                  </a:lnTo>
                  <a:lnTo>
                    <a:pt x="68" y="926"/>
                  </a:lnTo>
                  <a:lnTo>
                    <a:pt x="68" y="925"/>
                  </a:lnTo>
                  <a:lnTo>
                    <a:pt x="69" y="925"/>
                  </a:lnTo>
                  <a:lnTo>
                    <a:pt x="69" y="923"/>
                  </a:lnTo>
                  <a:lnTo>
                    <a:pt x="70" y="923"/>
                  </a:lnTo>
                  <a:lnTo>
                    <a:pt x="71" y="925"/>
                  </a:lnTo>
                  <a:lnTo>
                    <a:pt x="74" y="923"/>
                  </a:lnTo>
                  <a:lnTo>
                    <a:pt x="73" y="921"/>
                  </a:lnTo>
                  <a:lnTo>
                    <a:pt x="71" y="920"/>
                  </a:lnTo>
                  <a:lnTo>
                    <a:pt x="71" y="917"/>
                  </a:lnTo>
                  <a:lnTo>
                    <a:pt x="73" y="915"/>
                  </a:lnTo>
                  <a:lnTo>
                    <a:pt x="74" y="916"/>
                  </a:lnTo>
                  <a:lnTo>
                    <a:pt x="74" y="917"/>
                  </a:lnTo>
                  <a:lnTo>
                    <a:pt x="75" y="916"/>
                  </a:lnTo>
                  <a:lnTo>
                    <a:pt x="76" y="916"/>
                  </a:lnTo>
                  <a:lnTo>
                    <a:pt x="76" y="920"/>
                  </a:lnTo>
                  <a:lnTo>
                    <a:pt x="77" y="920"/>
                  </a:lnTo>
                  <a:lnTo>
                    <a:pt x="79" y="921"/>
                  </a:lnTo>
                  <a:lnTo>
                    <a:pt x="79" y="920"/>
                  </a:lnTo>
                  <a:lnTo>
                    <a:pt x="79" y="916"/>
                  </a:lnTo>
                  <a:lnTo>
                    <a:pt x="79" y="914"/>
                  </a:lnTo>
                  <a:lnTo>
                    <a:pt x="80" y="911"/>
                  </a:lnTo>
                  <a:lnTo>
                    <a:pt x="80" y="909"/>
                  </a:lnTo>
                  <a:lnTo>
                    <a:pt x="80" y="908"/>
                  </a:lnTo>
                  <a:lnTo>
                    <a:pt x="81" y="910"/>
                  </a:lnTo>
                  <a:lnTo>
                    <a:pt x="81" y="911"/>
                  </a:lnTo>
                  <a:lnTo>
                    <a:pt x="82" y="910"/>
                  </a:lnTo>
                  <a:lnTo>
                    <a:pt x="82" y="909"/>
                  </a:lnTo>
                  <a:lnTo>
                    <a:pt x="82" y="910"/>
                  </a:lnTo>
                  <a:lnTo>
                    <a:pt x="82" y="911"/>
                  </a:lnTo>
                  <a:lnTo>
                    <a:pt x="82" y="914"/>
                  </a:lnTo>
                  <a:lnTo>
                    <a:pt x="83" y="914"/>
                  </a:lnTo>
                  <a:lnTo>
                    <a:pt x="83" y="915"/>
                  </a:lnTo>
                  <a:lnTo>
                    <a:pt x="83" y="917"/>
                  </a:lnTo>
                  <a:lnTo>
                    <a:pt x="85" y="919"/>
                  </a:lnTo>
                  <a:lnTo>
                    <a:pt x="83" y="920"/>
                  </a:lnTo>
                  <a:lnTo>
                    <a:pt x="82" y="920"/>
                  </a:lnTo>
                  <a:lnTo>
                    <a:pt x="80" y="921"/>
                  </a:lnTo>
                  <a:lnTo>
                    <a:pt x="80" y="922"/>
                  </a:lnTo>
                  <a:lnTo>
                    <a:pt x="81" y="922"/>
                  </a:lnTo>
                  <a:lnTo>
                    <a:pt x="79" y="923"/>
                  </a:lnTo>
                  <a:lnTo>
                    <a:pt x="79" y="926"/>
                  </a:lnTo>
                  <a:lnTo>
                    <a:pt x="76" y="926"/>
                  </a:lnTo>
                  <a:lnTo>
                    <a:pt x="73" y="928"/>
                  </a:lnTo>
                  <a:lnTo>
                    <a:pt x="71" y="928"/>
                  </a:lnTo>
                  <a:lnTo>
                    <a:pt x="69" y="928"/>
                  </a:lnTo>
                  <a:lnTo>
                    <a:pt x="67" y="928"/>
                  </a:lnTo>
                  <a:lnTo>
                    <a:pt x="64" y="928"/>
                  </a:lnTo>
                  <a:lnTo>
                    <a:pt x="62" y="928"/>
                  </a:lnTo>
                  <a:lnTo>
                    <a:pt x="62" y="929"/>
                  </a:lnTo>
                  <a:lnTo>
                    <a:pt x="62" y="931"/>
                  </a:lnTo>
                  <a:lnTo>
                    <a:pt x="61" y="931"/>
                  </a:lnTo>
                  <a:lnTo>
                    <a:pt x="59" y="932"/>
                  </a:lnTo>
                  <a:lnTo>
                    <a:pt x="62" y="932"/>
                  </a:lnTo>
                  <a:lnTo>
                    <a:pt x="64" y="932"/>
                  </a:lnTo>
                  <a:lnTo>
                    <a:pt x="65" y="933"/>
                  </a:lnTo>
                  <a:lnTo>
                    <a:pt x="65" y="935"/>
                  </a:lnTo>
                  <a:lnTo>
                    <a:pt x="65" y="934"/>
                  </a:lnTo>
                  <a:lnTo>
                    <a:pt x="67" y="933"/>
                  </a:lnTo>
                  <a:lnTo>
                    <a:pt x="67" y="931"/>
                  </a:lnTo>
                  <a:lnTo>
                    <a:pt x="69" y="931"/>
                  </a:lnTo>
                  <a:lnTo>
                    <a:pt x="70" y="931"/>
                  </a:lnTo>
                  <a:lnTo>
                    <a:pt x="69" y="933"/>
                  </a:lnTo>
                  <a:lnTo>
                    <a:pt x="68" y="934"/>
                  </a:lnTo>
                  <a:lnTo>
                    <a:pt x="67" y="938"/>
                  </a:lnTo>
                  <a:lnTo>
                    <a:pt x="68" y="939"/>
                  </a:lnTo>
                  <a:lnTo>
                    <a:pt x="69" y="938"/>
                  </a:lnTo>
                  <a:lnTo>
                    <a:pt x="70" y="937"/>
                  </a:lnTo>
                  <a:lnTo>
                    <a:pt x="73" y="934"/>
                  </a:lnTo>
                  <a:lnTo>
                    <a:pt x="73" y="933"/>
                  </a:lnTo>
                  <a:lnTo>
                    <a:pt x="75" y="931"/>
                  </a:lnTo>
                  <a:lnTo>
                    <a:pt x="75" y="929"/>
                  </a:lnTo>
                  <a:lnTo>
                    <a:pt x="77" y="929"/>
                  </a:lnTo>
                  <a:lnTo>
                    <a:pt x="77" y="931"/>
                  </a:lnTo>
                  <a:lnTo>
                    <a:pt x="77" y="933"/>
                  </a:lnTo>
                  <a:lnTo>
                    <a:pt x="76" y="934"/>
                  </a:lnTo>
                  <a:lnTo>
                    <a:pt x="76" y="937"/>
                  </a:lnTo>
                  <a:lnTo>
                    <a:pt x="76" y="939"/>
                  </a:lnTo>
                  <a:lnTo>
                    <a:pt x="76" y="941"/>
                  </a:lnTo>
                  <a:lnTo>
                    <a:pt x="77" y="941"/>
                  </a:lnTo>
                  <a:lnTo>
                    <a:pt x="77" y="940"/>
                  </a:lnTo>
                  <a:lnTo>
                    <a:pt x="79" y="938"/>
                  </a:lnTo>
                  <a:lnTo>
                    <a:pt x="79" y="935"/>
                  </a:lnTo>
                  <a:lnTo>
                    <a:pt x="80" y="934"/>
                  </a:lnTo>
                  <a:lnTo>
                    <a:pt x="80" y="937"/>
                  </a:lnTo>
                  <a:lnTo>
                    <a:pt x="80" y="938"/>
                  </a:lnTo>
                  <a:lnTo>
                    <a:pt x="80" y="937"/>
                  </a:lnTo>
                  <a:lnTo>
                    <a:pt x="81" y="935"/>
                  </a:lnTo>
                  <a:lnTo>
                    <a:pt x="81" y="934"/>
                  </a:lnTo>
                  <a:lnTo>
                    <a:pt x="82" y="932"/>
                  </a:lnTo>
                  <a:lnTo>
                    <a:pt x="83" y="931"/>
                  </a:lnTo>
                  <a:lnTo>
                    <a:pt x="83" y="932"/>
                  </a:lnTo>
                  <a:lnTo>
                    <a:pt x="83" y="935"/>
                  </a:lnTo>
                  <a:lnTo>
                    <a:pt x="83" y="937"/>
                  </a:lnTo>
                  <a:lnTo>
                    <a:pt x="85" y="935"/>
                  </a:lnTo>
                  <a:lnTo>
                    <a:pt x="86" y="933"/>
                  </a:lnTo>
                  <a:lnTo>
                    <a:pt x="87" y="931"/>
                  </a:lnTo>
                  <a:lnTo>
                    <a:pt x="87" y="932"/>
                  </a:lnTo>
                  <a:lnTo>
                    <a:pt x="86" y="935"/>
                  </a:lnTo>
                  <a:lnTo>
                    <a:pt x="86" y="938"/>
                  </a:lnTo>
                  <a:lnTo>
                    <a:pt x="86" y="939"/>
                  </a:lnTo>
                  <a:lnTo>
                    <a:pt x="87" y="941"/>
                  </a:lnTo>
                  <a:lnTo>
                    <a:pt x="86" y="944"/>
                  </a:lnTo>
                  <a:lnTo>
                    <a:pt x="85" y="947"/>
                  </a:lnTo>
                  <a:lnTo>
                    <a:pt x="85" y="950"/>
                  </a:lnTo>
                  <a:lnTo>
                    <a:pt x="83" y="953"/>
                  </a:lnTo>
                  <a:lnTo>
                    <a:pt x="86" y="952"/>
                  </a:lnTo>
                  <a:lnTo>
                    <a:pt x="86" y="953"/>
                  </a:lnTo>
                  <a:lnTo>
                    <a:pt x="85" y="955"/>
                  </a:lnTo>
                  <a:lnTo>
                    <a:pt x="82" y="955"/>
                  </a:lnTo>
                  <a:lnTo>
                    <a:pt x="81" y="955"/>
                  </a:lnTo>
                  <a:lnTo>
                    <a:pt x="79" y="955"/>
                  </a:lnTo>
                  <a:lnTo>
                    <a:pt x="77" y="953"/>
                  </a:lnTo>
                  <a:lnTo>
                    <a:pt x="74" y="953"/>
                  </a:lnTo>
                  <a:lnTo>
                    <a:pt x="71" y="953"/>
                  </a:lnTo>
                  <a:lnTo>
                    <a:pt x="69" y="950"/>
                  </a:lnTo>
                  <a:lnTo>
                    <a:pt x="67" y="949"/>
                  </a:lnTo>
                  <a:lnTo>
                    <a:pt x="64" y="946"/>
                  </a:lnTo>
                  <a:lnTo>
                    <a:pt x="63" y="945"/>
                  </a:lnTo>
                  <a:lnTo>
                    <a:pt x="62" y="945"/>
                  </a:lnTo>
                  <a:lnTo>
                    <a:pt x="62" y="943"/>
                  </a:lnTo>
                  <a:lnTo>
                    <a:pt x="59" y="944"/>
                  </a:lnTo>
                  <a:lnTo>
                    <a:pt x="58" y="943"/>
                  </a:lnTo>
                  <a:lnTo>
                    <a:pt x="58" y="940"/>
                  </a:lnTo>
                  <a:lnTo>
                    <a:pt x="57" y="941"/>
                  </a:lnTo>
                  <a:lnTo>
                    <a:pt x="56" y="940"/>
                  </a:lnTo>
                  <a:lnTo>
                    <a:pt x="55" y="943"/>
                  </a:lnTo>
                  <a:lnTo>
                    <a:pt x="53" y="944"/>
                  </a:lnTo>
                  <a:lnTo>
                    <a:pt x="51" y="945"/>
                  </a:lnTo>
                  <a:lnTo>
                    <a:pt x="52" y="946"/>
                  </a:lnTo>
                  <a:lnTo>
                    <a:pt x="55" y="947"/>
                  </a:lnTo>
                  <a:lnTo>
                    <a:pt x="56" y="949"/>
                  </a:lnTo>
                  <a:lnTo>
                    <a:pt x="59" y="951"/>
                  </a:lnTo>
                  <a:lnTo>
                    <a:pt x="61" y="950"/>
                  </a:lnTo>
                  <a:lnTo>
                    <a:pt x="59" y="952"/>
                  </a:lnTo>
                  <a:lnTo>
                    <a:pt x="58" y="953"/>
                  </a:lnTo>
                  <a:lnTo>
                    <a:pt x="56" y="953"/>
                  </a:lnTo>
                  <a:lnTo>
                    <a:pt x="53" y="952"/>
                  </a:lnTo>
                  <a:lnTo>
                    <a:pt x="51" y="951"/>
                  </a:lnTo>
                  <a:lnTo>
                    <a:pt x="47" y="951"/>
                  </a:lnTo>
                  <a:lnTo>
                    <a:pt x="45" y="949"/>
                  </a:lnTo>
                  <a:lnTo>
                    <a:pt x="41" y="947"/>
                  </a:lnTo>
                  <a:lnTo>
                    <a:pt x="38" y="945"/>
                  </a:lnTo>
                  <a:lnTo>
                    <a:pt x="34" y="941"/>
                  </a:lnTo>
                  <a:lnTo>
                    <a:pt x="27" y="937"/>
                  </a:lnTo>
                  <a:lnTo>
                    <a:pt x="21" y="934"/>
                  </a:lnTo>
                  <a:lnTo>
                    <a:pt x="18" y="932"/>
                  </a:lnTo>
                  <a:lnTo>
                    <a:pt x="17" y="932"/>
                  </a:lnTo>
                  <a:lnTo>
                    <a:pt x="16" y="932"/>
                  </a:lnTo>
                  <a:lnTo>
                    <a:pt x="15" y="931"/>
                  </a:lnTo>
                  <a:lnTo>
                    <a:pt x="12" y="928"/>
                  </a:lnTo>
                  <a:lnTo>
                    <a:pt x="10" y="928"/>
                  </a:lnTo>
                  <a:lnTo>
                    <a:pt x="8" y="927"/>
                  </a:lnTo>
                  <a:lnTo>
                    <a:pt x="0" y="925"/>
                  </a:lnTo>
                  <a:lnTo>
                    <a:pt x="0" y="927"/>
                  </a:lnTo>
                  <a:lnTo>
                    <a:pt x="2" y="927"/>
                  </a:lnTo>
                  <a:lnTo>
                    <a:pt x="5" y="929"/>
                  </a:lnTo>
                  <a:lnTo>
                    <a:pt x="5" y="931"/>
                  </a:lnTo>
                  <a:lnTo>
                    <a:pt x="5" y="932"/>
                  </a:lnTo>
                  <a:lnTo>
                    <a:pt x="6" y="933"/>
                  </a:lnTo>
                  <a:lnTo>
                    <a:pt x="9" y="931"/>
                  </a:lnTo>
                  <a:lnTo>
                    <a:pt x="11" y="932"/>
                  </a:lnTo>
                  <a:lnTo>
                    <a:pt x="9" y="933"/>
                  </a:lnTo>
                  <a:lnTo>
                    <a:pt x="8" y="934"/>
                  </a:lnTo>
                  <a:lnTo>
                    <a:pt x="10" y="935"/>
                  </a:lnTo>
                  <a:lnTo>
                    <a:pt x="12" y="935"/>
                  </a:lnTo>
                  <a:lnTo>
                    <a:pt x="15" y="935"/>
                  </a:lnTo>
                  <a:lnTo>
                    <a:pt x="12" y="938"/>
                  </a:lnTo>
                  <a:lnTo>
                    <a:pt x="14" y="940"/>
                  </a:lnTo>
                  <a:lnTo>
                    <a:pt x="15" y="938"/>
                  </a:lnTo>
                  <a:lnTo>
                    <a:pt x="17" y="937"/>
                  </a:lnTo>
                  <a:lnTo>
                    <a:pt x="17" y="938"/>
                  </a:lnTo>
                  <a:lnTo>
                    <a:pt x="15" y="941"/>
                  </a:lnTo>
                  <a:lnTo>
                    <a:pt x="16" y="943"/>
                  </a:lnTo>
                  <a:lnTo>
                    <a:pt x="17" y="941"/>
                  </a:lnTo>
                  <a:lnTo>
                    <a:pt x="20" y="939"/>
                  </a:lnTo>
                  <a:lnTo>
                    <a:pt x="21" y="938"/>
                  </a:lnTo>
                  <a:lnTo>
                    <a:pt x="22" y="939"/>
                  </a:lnTo>
                  <a:lnTo>
                    <a:pt x="21" y="943"/>
                  </a:lnTo>
                  <a:lnTo>
                    <a:pt x="20" y="943"/>
                  </a:lnTo>
                  <a:lnTo>
                    <a:pt x="18" y="944"/>
                  </a:lnTo>
                  <a:lnTo>
                    <a:pt x="20" y="944"/>
                  </a:lnTo>
                  <a:lnTo>
                    <a:pt x="18" y="946"/>
                  </a:lnTo>
                  <a:lnTo>
                    <a:pt x="17" y="946"/>
                  </a:lnTo>
                  <a:lnTo>
                    <a:pt x="17" y="949"/>
                  </a:lnTo>
                  <a:lnTo>
                    <a:pt x="22" y="947"/>
                  </a:lnTo>
                  <a:lnTo>
                    <a:pt x="23" y="945"/>
                  </a:lnTo>
                  <a:lnTo>
                    <a:pt x="26" y="944"/>
                  </a:lnTo>
                  <a:lnTo>
                    <a:pt x="24" y="946"/>
                  </a:lnTo>
                  <a:lnTo>
                    <a:pt x="24" y="950"/>
                  </a:lnTo>
                  <a:lnTo>
                    <a:pt x="26" y="949"/>
                  </a:lnTo>
                  <a:lnTo>
                    <a:pt x="28" y="945"/>
                  </a:lnTo>
                  <a:lnTo>
                    <a:pt x="28" y="946"/>
                  </a:lnTo>
                  <a:lnTo>
                    <a:pt x="27" y="950"/>
                  </a:lnTo>
                  <a:lnTo>
                    <a:pt x="24" y="953"/>
                  </a:lnTo>
                  <a:lnTo>
                    <a:pt x="23" y="958"/>
                  </a:lnTo>
                  <a:lnTo>
                    <a:pt x="23" y="961"/>
                  </a:lnTo>
                  <a:lnTo>
                    <a:pt x="23" y="964"/>
                  </a:lnTo>
                  <a:lnTo>
                    <a:pt x="26" y="962"/>
                  </a:lnTo>
                  <a:lnTo>
                    <a:pt x="27" y="961"/>
                  </a:lnTo>
                  <a:lnTo>
                    <a:pt x="28" y="959"/>
                  </a:lnTo>
                  <a:lnTo>
                    <a:pt x="28" y="957"/>
                  </a:lnTo>
                  <a:lnTo>
                    <a:pt x="29" y="956"/>
                  </a:lnTo>
                  <a:lnTo>
                    <a:pt x="31" y="956"/>
                  </a:lnTo>
                  <a:lnTo>
                    <a:pt x="32" y="956"/>
                  </a:lnTo>
                  <a:lnTo>
                    <a:pt x="31" y="958"/>
                  </a:lnTo>
                  <a:lnTo>
                    <a:pt x="29" y="961"/>
                  </a:lnTo>
                  <a:lnTo>
                    <a:pt x="28" y="962"/>
                  </a:lnTo>
                  <a:lnTo>
                    <a:pt x="28" y="963"/>
                  </a:lnTo>
                  <a:lnTo>
                    <a:pt x="29" y="963"/>
                  </a:lnTo>
                  <a:lnTo>
                    <a:pt x="29" y="964"/>
                  </a:lnTo>
                  <a:lnTo>
                    <a:pt x="29" y="965"/>
                  </a:lnTo>
                  <a:lnTo>
                    <a:pt x="29" y="967"/>
                  </a:lnTo>
                  <a:lnTo>
                    <a:pt x="29" y="968"/>
                  </a:lnTo>
                  <a:lnTo>
                    <a:pt x="31" y="968"/>
                  </a:lnTo>
                  <a:lnTo>
                    <a:pt x="31" y="967"/>
                  </a:lnTo>
                  <a:lnTo>
                    <a:pt x="32" y="965"/>
                  </a:lnTo>
                  <a:lnTo>
                    <a:pt x="33" y="964"/>
                  </a:lnTo>
                  <a:lnTo>
                    <a:pt x="34" y="964"/>
                  </a:lnTo>
                  <a:lnTo>
                    <a:pt x="33" y="968"/>
                  </a:lnTo>
                  <a:lnTo>
                    <a:pt x="33" y="971"/>
                  </a:lnTo>
                  <a:lnTo>
                    <a:pt x="35" y="971"/>
                  </a:lnTo>
                  <a:lnTo>
                    <a:pt x="37" y="971"/>
                  </a:lnTo>
                  <a:lnTo>
                    <a:pt x="37" y="969"/>
                  </a:lnTo>
                  <a:lnTo>
                    <a:pt x="37" y="967"/>
                  </a:lnTo>
                  <a:lnTo>
                    <a:pt x="37" y="964"/>
                  </a:lnTo>
                  <a:lnTo>
                    <a:pt x="38" y="963"/>
                  </a:lnTo>
                  <a:lnTo>
                    <a:pt x="38" y="965"/>
                  </a:lnTo>
                  <a:lnTo>
                    <a:pt x="39" y="969"/>
                  </a:lnTo>
                  <a:lnTo>
                    <a:pt x="40" y="969"/>
                  </a:lnTo>
                  <a:lnTo>
                    <a:pt x="40" y="965"/>
                  </a:lnTo>
                  <a:lnTo>
                    <a:pt x="41" y="964"/>
                  </a:lnTo>
                  <a:lnTo>
                    <a:pt x="41" y="963"/>
                  </a:lnTo>
                  <a:lnTo>
                    <a:pt x="43" y="964"/>
                  </a:lnTo>
                  <a:lnTo>
                    <a:pt x="43" y="967"/>
                  </a:lnTo>
                  <a:lnTo>
                    <a:pt x="43" y="968"/>
                  </a:lnTo>
                  <a:lnTo>
                    <a:pt x="44" y="969"/>
                  </a:lnTo>
                  <a:lnTo>
                    <a:pt x="44" y="971"/>
                  </a:lnTo>
                  <a:lnTo>
                    <a:pt x="43" y="974"/>
                  </a:lnTo>
                  <a:lnTo>
                    <a:pt x="43" y="976"/>
                  </a:lnTo>
                  <a:lnTo>
                    <a:pt x="44" y="977"/>
                  </a:lnTo>
                  <a:lnTo>
                    <a:pt x="44" y="980"/>
                  </a:lnTo>
                  <a:lnTo>
                    <a:pt x="43" y="982"/>
                  </a:lnTo>
                  <a:lnTo>
                    <a:pt x="44" y="983"/>
                  </a:lnTo>
                  <a:lnTo>
                    <a:pt x="45" y="982"/>
                  </a:lnTo>
                  <a:lnTo>
                    <a:pt x="46" y="981"/>
                  </a:lnTo>
                  <a:lnTo>
                    <a:pt x="46" y="979"/>
                  </a:lnTo>
                  <a:lnTo>
                    <a:pt x="46" y="977"/>
                  </a:lnTo>
                  <a:lnTo>
                    <a:pt x="46" y="975"/>
                  </a:lnTo>
                  <a:lnTo>
                    <a:pt x="49" y="976"/>
                  </a:lnTo>
                  <a:lnTo>
                    <a:pt x="49" y="975"/>
                  </a:lnTo>
                  <a:lnTo>
                    <a:pt x="50" y="975"/>
                  </a:lnTo>
                  <a:lnTo>
                    <a:pt x="51" y="975"/>
                  </a:lnTo>
                  <a:lnTo>
                    <a:pt x="51" y="976"/>
                  </a:lnTo>
                  <a:lnTo>
                    <a:pt x="50" y="979"/>
                  </a:lnTo>
                  <a:lnTo>
                    <a:pt x="51" y="977"/>
                  </a:lnTo>
                  <a:lnTo>
                    <a:pt x="53" y="976"/>
                  </a:lnTo>
                  <a:lnTo>
                    <a:pt x="53" y="975"/>
                  </a:lnTo>
                  <a:lnTo>
                    <a:pt x="55" y="974"/>
                  </a:lnTo>
                  <a:lnTo>
                    <a:pt x="53" y="977"/>
                  </a:lnTo>
                  <a:lnTo>
                    <a:pt x="53" y="979"/>
                  </a:lnTo>
                  <a:lnTo>
                    <a:pt x="51" y="981"/>
                  </a:lnTo>
                  <a:lnTo>
                    <a:pt x="49" y="983"/>
                  </a:lnTo>
                  <a:lnTo>
                    <a:pt x="44" y="985"/>
                  </a:lnTo>
                  <a:lnTo>
                    <a:pt x="43" y="986"/>
                  </a:lnTo>
                  <a:lnTo>
                    <a:pt x="40" y="988"/>
                  </a:lnTo>
                  <a:lnTo>
                    <a:pt x="38" y="988"/>
                  </a:lnTo>
                  <a:lnTo>
                    <a:pt x="31" y="985"/>
                  </a:lnTo>
                  <a:lnTo>
                    <a:pt x="29" y="986"/>
                  </a:lnTo>
                  <a:lnTo>
                    <a:pt x="35" y="988"/>
                  </a:lnTo>
                  <a:lnTo>
                    <a:pt x="37" y="989"/>
                  </a:lnTo>
                  <a:lnTo>
                    <a:pt x="32" y="993"/>
                  </a:lnTo>
                  <a:lnTo>
                    <a:pt x="32" y="994"/>
                  </a:lnTo>
                  <a:lnTo>
                    <a:pt x="32" y="995"/>
                  </a:lnTo>
                  <a:lnTo>
                    <a:pt x="34" y="993"/>
                  </a:lnTo>
                  <a:lnTo>
                    <a:pt x="35" y="993"/>
                  </a:lnTo>
                  <a:lnTo>
                    <a:pt x="35" y="998"/>
                  </a:lnTo>
                  <a:lnTo>
                    <a:pt x="37" y="997"/>
                  </a:lnTo>
                  <a:lnTo>
                    <a:pt x="37" y="994"/>
                  </a:lnTo>
                  <a:lnTo>
                    <a:pt x="38" y="993"/>
                  </a:lnTo>
                  <a:lnTo>
                    <a:pt x="39" y="991"/>
                  </a:lnTo>
                  <a:lnTo>
                    <a:pt x="40" y="991"/>
                  </a:lnTo>
                  <a:lnTo>
                    <a:pt x="40" y="993"/>
                  </a:lnTo>
                  <a:lnTo>
                    <a:pt x="40" y="997"/>
                  </a:lnTo>
                  <a:lnTo>
                    <a:pt x="41" y="997"/>
                  </a:lnTo>
                  <a:lnTo>
                    <a:pt x="43" y="997"/>
                  </a:lnTo>
                  <a:lnTo>
                    <a:pt x="43" y="994"/>
                  </a:lnTo>
                  <a:lnTo>
                    <a:pt x="41" y="994"/>
                  </a:lnTo>
                  <a:lnTo>
                    <a:pt x="43" y="992"/>
                  </a:lnTo>
                  <a:lnTo>
                    <a:pt x="44" y="992"/>
                  </a:lnTo>
                  <a:lnTo>
                    <a:pt x="45" y="992"/>
                  </a:lnTo>
                  <a:lnTo>
                    <a:pt x="47" y="992"/>
                  </a:lnTo>
                  <a:lnTo>
                    <a:pt x="45" y="994"/>
                  </a:lnTo>
                  <a:lnTo>
                    <a:pt x="43" y="997"/>
                  </a:lnTo>
                  <a:lnTo>
                    <a:pt x="41" y="999"/>
                  </a:lnTo>
                  <a:lnTo>
                    <a:pt x="43" y="1000"/>
                  </a:lnTo>
                  <a:lnTo>
                    <a:pt x="45" y="998"/>
                  </a:lnTo>
                  <a:lnTo>
                    <a:pt x="45" y="999"/>
                  </a:lnTo>
                  <a:lnTo>
                    <a:pt x="43" y="1003"/>
                  </a:lnTo>
                  <a:lnTo>
                    <a:pt x="44" y="1005"/>
                  </a:lnTo>
                  <a:lnTo>
                    <a:pt x="45" y="1004"/>
                  </a:lnTo>
                  <a:lnTo>
                    <a:pt x="46" y="1001"/>
                  </a:lnTo>
                  <a:lnTo>
                    <a:pt x="49" y="999"/>
                  </a:lnTo>
                  <a:lnTo>
                    <a:pt x="50" y="997"/>
                  </a:lnTo>
                  <a:lnTo>
                    <a:pt x="53" y="993"/>
                  </a:lnTo>
                  <a:lnTo>
                    <a:pt x="56" y="994"/>
                  </a:lnTo>
                  <a:lnTo>
                    <a:pt x="59" y="994"/>
                  </a:lnTo>
                  <a:lnTo>
                    <a:pt x="58" y="998"/>
                  </a:lnTo>
                  <a:lnTo>
                    <a:pt x="55" y="1001"/>
                  </a:lnTo>
                  <a:lnTo>
                    <a:pt x="55" y="1004"/>
                  </a:lnTo>
                  <a:lnTo>
                    <a:pt x="52" y="1005"/>
                  </a:lnTo>
                  <a:lnTo>
                    <a:pt x="49" y="1006"/>
                  </a:lnTo>
                  <a:lnTo>
                    <a:pt x="45" y="1010"/>
                  </a:lnTo>
                  <a:lnTo>
                    <a:pt x="44" y="1012"/>
                  </a:lnTo>
                  <a:lnTo>
                    <a:pt x="45" y="1012"/>
                  </a:lnTo>
                  <a:lnTo>
                    <a:pt x="47" y="1012"/>
                  </a:lnTo>
                  <a:lnTo>
                    <a:pt x="49" y="1012"/>
                  </a:lnTo>
                  <a:lnTo>
                    <a:pt x="50" y="1011"/>
                  </a:lnTo>
                  <a:lnTo>
                    <a:pt x="51" y="1009"/>
                  </a:lnTo>
                  <a:lnTo>
                    <a:pt x="53" y="1006"/>
                  </a:lnTo>
                  <a:lnTo>
                    <a:pt x="56" y="1005"/>
                  </a:lnTo>
                  <a:lnTo>
                    <a:pt x="55" y="1007"/>
                  </a:lnTo>
                  <a:lnTo>
                    <a:pt x="53" y="1012"/>
                  </a:lnTo>
                  <a:lnTo>
                    <a:pt x="56" y="1012"/>
                  </a:lnTo>
                  <a:lnTo>
                    <a:pt x="58" y="1011"/>
                  </a:lnTo>
                  <a:lnTo>
                    <a:pt x="57" y="1013"/>
                  </a:lnTo>
                  <a:lnTo>
                    <a:pt x="58" y="1015"/>
                  </a:lnTo>
                  <a:lnTo>
                    <a:pt x="59" y="1012"/>
                  </a:lnTo>
                  <a:lnTo>
                    <a:pt x="61" y="1011"/>
                  </a:lnTo>
                  <a:lnTo>
                    <a:pt x="61" y="1009"/>
                  </a:lnTo>
                  <a:lnTo>
                    <a:pt x="62" y="1005"/>
                  </a:lnTo>
                  <a:lnTo>
                    <a:pt x="63" y="1003"/>
                  </a:lnTo>
                  <a:lnTo>
                    <a:pt x="63" y="1005"/>
                  </a:lnTo>
                  <a:lnTo>
                    <a:pt x="63" y="1006"/>
                  </a:lnTo>
                  <a:lnTo>
                    <a:pt x="63" y="1005"/>
                  </a:lnTo>
                  <a:lnTo>
                    <a:pt x="63" y="1000"/>
                  </a:lnTo>
                  <a:lnTo>
                    <a:pt x="64" y="999"/>
                  </a:lnTo>
                  <a:lnTo>
                    <a:pt x="65" y="998"/>
                  </a:lnTo>
                  <a:lnTo>
                    <a:pt x="65" y="1000"/>
                  </a:lnTo>
                  <a:lnTo>
                    <a:pt x="67" y="997"/>
                  </a:lnTo>
                  <a:lnTo>
                    <a:pt x="67" y="995"/>
                  </a:lnTo>
                  <a:lnTo>
                    <a:pt x="69" y="995"/>
                  </a:lnTo>
                  <a:lnTo>
                    <a:pt x="68" y="998"/>
                  </a:lnTo>
                  <a:lnTo>
                    <a:pt x="68" y="1000"/>
                  </a:lnTo>
                  <a:lnTo>
                    <a:pt x="67" y="1004"/>
                  </a:lnTo>
                  <a:lnTo>
                    <a:pt x="67" y="1007"/>
                  </a:lnTo>
                  <a:lnTo>
                    <a:pt x="67" y="1009"/>
                  </a:lnTo>
                  <a:lnTo>
                    <a:pt x="65" y="1011"/>
                  </a:lnTo>
                  <a:lnTo>
                    <a:pt x="65" y="1013"/>
                  </a:lnTo>
                  <a:lnTo>
                    <a:pt x="65" y="1015"/>
                  </a:lnTo>
                  <a:lnTo>
                    <a:pt x="67" y="1019"/>
                  </a:lnTo>
                  <a:lnTo>
                    <a:pt x="67" y="1018"/>
                  </a:lnTo>
                  <a:lnTo>
                    <a:pt x="69" y="1017"/>
                  </a:lnTo>
                  <a:lnTo>
                    <a:pt x="70" y="1016"/>
                  </a:lnTo>
                  <a:lnTo>
                    <a:pt x="71" y="1015"/>
                  </a:lnTo>
                  <a:lnTo>
                    <a:pt x="71" y="1010"/>
                  </a:lnTo>
                  <a:lnTo>
                    <a:pt x="71" y="1009"/>
                  </a:lnTo>
                  <a:lnTo>
                    <a:pt x="73" y="1009"/>
                  </a:lnTo>
                  <a:lnTo>
                    <a:pt x="73" y="1011"/>
                  </a:lnTo>
                  <a:lnTo>
                    <a:pt x="73" y="1013"/>
                  </a:lnTo>
                  <a:lnTo>
                    <a:pt x="73" y="1016"/>
                  </a:lnTo>
                  <a:lnTo>
                    <a:pt x="73" y="1019"/>
                  </a:lnTo>
                  <a:lnTo>
                    <a:pt x="74" y="1022"/>
                  </a:lnTo>
                  <a:lnTo>
                    <a:pt x="74" y="1021"/>
                  </a:lnTo>
                  <a:lnTo>
                    <a:pt x="75" y="1022"/>
                  </a:lnTo>
                  <a:lnTo>
                    <a:pt x="76" y="1024"/>
                  </a:lnTo>
                  <a:lnTo>
                    <a:pt x="77" y="1024"/>
                  </a:lnTo>
                  <a:lnTo>
                    <a:pt x="77" y="1019"/>
                  </a:lnTo>
                  <a:lnTo>
                    <a:pt x="76" y="1015"/>
                  </a:lnTo>
                  <a:lnTo>
                    <a:pt x="77" y="1011"/>
                  </a:lnTo>
                  <a:lnTo>
                    <a:pt x="77" y="1006"/>
                  </a:lnTo>
                  <a:lnTo>
                    <a:pt x="79" y="1013"/>
                  </a:lnTo>
                  <a:lnTo>
                    <a:pt x="80" y="1013"/>
                  </a:lnTo>
                  <a:lnTo>
                    <a:pt x="80" y="1010"/>
                  </a:lnTo>
                  <a:lnTo>
                    <a:pt x="80" y="1005"/>
                  </a:lnTo>
                  <a:lnTo>
                    <a:pt x="81" y="1003"/>
                  </a:lnTo>
                  <a:lnTo>
                    <a:pt x="81" y="998"/>
                  </a:lnTo>
                  <a:lnTo>
                    <a:pt x="83" y="997"/>
                  </a:lnTo>
                  <a:lnTo>
                    <a:pt x="83" y="1000"/>
                  </a:lnTo>
                  <a:lnTo>
                    <a:pt x="83" y="1006"/>
                  </a:lnTo>
                  <a:lnTo>
                    <a:pt x="81" y="1010"/>
                  </a:lnTo>
                  <a:lnTo>
                    <a:pt x="81" y="1013"/>
                  </a:lnTo>
                  <a:lnTo>
                    <a:pt x="80" y="1017"/>
                  </a:lnTo>
                  <a:lnTo>
                    <a:pt x="79" y="1019"/>
                  </a:lnTo>
                  <a:lnTo>
                    <a:pt x="80" y="1021"/>
                  </a:lnTo>
                  <a:lnTo>
                    <a:pt x="81" y="1022"/>
                  </a:lnTo>
                  <a:lnTo>
                    <a:pt x="82" y="1021"/>
                  </a:lnTo>
                  <a:lnTo>
                    <a:pt x="82" y="1019"/>
                  </a:lnTo>
                  <a:lnTo>
                    <a:pt x="83" y="1017"/>
                  </a:lnTo>
                  <a:lnTo>
                    <a:pt x="83" y="1015"/>
                  </a:lnTo>
                  <a:lnTo>
                    <a:pt x="85" y="1013"/>
                  </a:lnTo>
                  <a:lnTo>
                    <a:pt x="83" y="1012"/>
                  </a:lnTo>
                  <a:lnTo>
                    <a:pt x="85" y="1009"/>
                  </a:lnTo>
                  <a:lnTo>
                    <a:pt x="86" y="1009"/>
                  </a:lnTo>
                  <a:lnTo>
                    <a:pt x="86" y="1013"/>
                  </a:lnTo>
                  <a:lnTo>
                    <a:pt x="86" y="1015"/>
                  </a:lnTo>
                  <a:lnTo>
                    <a:pt x="87" y="1016"/>
                  </a:lnTo>
                  <a:lnTo>
                    <a:pt x="88" y="1012"/>
                  </a:lnTo>
                  <a:lnTo>
                    <a:pt x="90" y="1010"/>
                  </a:lnTo>
                  <a:lnTo>
                    <a:pt x="90" y="1009"/>
                  </a:lnTo>
                  <a:lnTo>
                    <a:pt x="92" y="1004"/>
                  </a:lnTo>
                  <a:lnTo>
                    <a:pt x="92" y="1006"/>
                  </a:lnTo>
                  <a:lnTo>
                    <a:pt x="92" y="1009"/>
                  </a:lnTo>
                  <a:lnTo>
                    <a:pt x="91" y="1012"/>
                  </a:lnTo>
                  <a:lnTo>
                    <a:pt x="91" y="1016"/>
                  </a:lnTo>
                  <a:lnTo>
                    <a:pt x="92" y="1016"/>
                  </a:lnTo>
                  <a:lnTo>
                    <a:pt x="91" y="1018"/>
                  </a:lnTo>
                  <a:lnTo>
                    <a:pt x="93" y="1019"/>
                  </a:lnTo>
                  <a:lnTo>
                    <a:pt x="93" y="1018"/>
                  </a:lnTo>
                  <a:lnTo>
                    <a:pt x="93" y="1021"/>
                  </a:lnTo>
                  <a:lnTo>
                    <a:pt x="92" y="1023"/>
                  </a:lnTo>
                  <a:lnTo>
                    <a:pt x="91" y="1024"/>
                  </a:lnTo>
                  <a:lnTo>
                    <a:pt x="88" y="1027"/>
                  </a:lnTo>
                  <a:lnTo>
                    <a:pt x="90" y="1027"/>
                  </a:lnTo>
                  <a:lnTo>
                    <a:pt x="92" y="1026"/>
                  </a:lnTo>
                  <a:lnTo>
                    <a:pt x="91" y="1028"/>
                  </a:lnTo>
                  <a:lnTo>
                    <a:pt x="91" y="1029"/>
                  </a:lnTo>
                  <a:lnTo>
                    <a:pt x="91" y="1030"/>
                  </a:lnTo>
                  <a:lnTo>
                    <a:pt x="92" y="1032"/>
                  </a:lnTo>
                  <a:lnTo>
                    <a:pt x="94" y="1032"/>
                  </a:lnTo>
                  <a:lnTo>
                    <a:pt x="98" y="1024"/>
                  </a:lnTo>
                  <a:lnTo>
                    <a:pt x="98" y="1022"/>
                  </a:lnTo>
                  <a:lnTo>
                    <a:pt x="99" y="1021"/>
                  </a:lnTo>
                  <a:lnTo>
                    <a:pt x="99" y="1013"/>
                  </a:lnTo>
                  <a:lnTo>
                    <a:pt x="99" y="1010"/>
                  </a:lnTo>
                  <a:lnTo>
                    <a:pt x="99" y="1005"/>
                  </a:lnTo>
                  <a:lnTo>
                    <a:pt x="99" y="1004"/>
                  </a:lnTo>
                  <a:lnTo>
                    <a:pt x="100" y="1005"/>
                  </a:lnTo>
                  <a:lnTo>
                    <a:pt x="100" y="1006"/>
                  </a:lnTo>
                  <a:lnTo>
                    <a:pt x="100" y="1009"/>
                  </a:lnTo>
                  <a:lnTo>
                    <a:pt x="103" y="1010"/>
                  </a:lnTo>
                  <a:lnTo>
                    <a:pt x="103" y="1012"/>
                  </a:lnTo>
                  <a:lnTo>
                    <a:pt x="102" y="1016"/>
                  </a:lnTo>
                  <a:lnTo>
                    <a:pt x="102" y="1019"/>
                  </a:lnTo>
                  <a:lnTo>
                    <a:pt x="102" y="1021"/>
                  </a:lnTo>
                  <a:lnTo>
                    <a:pt x="102" y="1022"/>
                  </a:lnTo>
                  <a:lnTo>
                    <a:pt x="100" y="1024"/>
                  </a:lnTo>
                  <a:lnTo>
                    <a:pt x="99" y="1026"/>
                  </a:lnTo>
                  <a:lnTo>
                    <a:pt x="98" y="1028"/>
                  </a:lnTo>
                  <a:lnTo>
                    <a:pt x="97" y="1030"/>
                  </a:lnTo>
                  <a:lnTo>
                    <a:pt x="97" y="1034"/>
                  </a:lnTo>
                  <a:lnTo>
                    <a:pt x="98" y="1035"/>
                  </a:lnTo>
                  <a:lnTo>
                    <a:pt x="98" y="1038"/>
                  </a:lnTo>
                  <a:lnTo>
                    <a:pt x="98" y="1040"/>
                  </a:lnTo>
                  <a:lnTo>
                    <a:pt x="97" y="1042"/>
                  </a:lnTo>
                  <a:lnTo>
                    <a:pt x="97" y="1045"/>
                  </a:lnTo>
                  <a:lnTo>
                    <a:pt x="96" y="1047"/>
                  </a:lnTo>
                  <a:lnTo>
                    <a:pt x="92" y="1047"/>
                  </a:lnTo>
                  <a:lnTo>
                    <a:pt x="88" y="1046"/>
                  </a:lnTo>
                  <a:lnTo>
                    <a:pt x="85" y="1044"/>
                  </a:lnTo>
                  <a:lnTo>
                    <a:pt x="80" y="1042"/>
                  </a:lnTo>
                  <a:lnTo>
                    <a:pt x="79" y="1041"/>
                  </a:lnTo>
                  <a:lnTo>
                    <a:pt x="77" y="1041"/>
                  </a:lnTo>
                  <a:lnTo>
                    <a:pt x="74" y="1040"/>
                  </a:lnTo>
                  <a:lnTo>
                    <a:pt x="71" y="1040"/>
                  </a:lnTo>
                  <a:lnTo>
                    <a:pt x="69" y="1039"/>
                  </a:lnTo>
                  <a:lnTo>
                    <a:pt x="68" y="1041"/>
                  </a:lnTo>
                  <a:lnTo>
                    <a:pt x="70" y="1042"/>
                  </a:lnTo>
                  <a:lnTo>
                    <a:pt x="70" y="1045"/>
                  </a:lnTo>
                  <a:lnTo>
                    <a:pt x="73" y="1044"/>
                  </a:lnTo>
                  <a:lnTo>
                    <a:pt x="71" y="1046"/>
                  </a:lnTo>
                  <a:lnTo>
                    <a:pt x="73" y="1047"/>
                  </a:lnTo>
                  <a:lnTo>
                    <a:pt x="74" y="1046"/>
                  </a:lnTo>
                  <a:lnTo>
                    <a:pt x="75" y="1046"/>
                  </a:lnTo>
                  <a:lnTo>
                    <a:pt x="76" y="1045"/>
                  </a:lnTo>
                  <a:lnTo>
                    <a:pt x="77" y="1046"/>
                  </a:lnTo>
                  <a:lnTo>
                    <a:pt x="74" y="1048"/>
                  </a:lnTo>
                  <a:lnTo>
                    <a:pt x="74" y="1050"/>
                  </a:lnTo>
                  <a:lnTo>
                    <a:pt x="75" y="1051"/>
                  </a:lnTo>
                  <a:lnTo>
                    <a:pt x="76" y="1052"/>
                  </a:lnTo>
                  <a:lnTo>
                    <a:pt x="79" y="1051"/>
                  </a:lnTo>
                  <a:lnTo>
                    <a:pt x="80" y="1050"/>
                  </a:lnTo>
                  <a:lnTo>
                    <a:pt x="79" y="1052"/>
                  </a:lnTo>
                  <a:lnTo>
                    <a:pt x="79" y="1054"/>
                  </a:lnTo>
                  <a:lnTo>
                    <a:pt x="79" y="1056"/>
                  </a:lnTo>
                  <a:lnTo>
                    <a:pt x="80" y="1056"/>
                  </a:lnTo>
                  <a:lnTo>
                    <a:pt x="80" y="1057"/>
                  </a:lnTo>
                  <a:lnTo>
                    <a:pt x="80" y="1058"/>
                  </a:lnTo>
                  <a:lnTo>
                    <a:pt x="81" y="1060"/>
                  </a:lnTo>
                  <a:lnTo>
                    <a:pt x="82" y="1060"/>
                  </a:lnTo>
                  <a:lnTo>
                    <a:pt x="85" y="1060"/>
                  </a:lnTo>
                  <a:lnTo>
                    <a:pt x="85" y="1062"/>
                  </a:lnTo>
                  <a:lnTo>
                    <a:pt x="87" y="1064"/>
                  </a:lnTo>
                  <a:lnTo>
                    <a:pt x="85" y="1065"/>
                  </a:lnTo>
                  <a:lnTo>
                    <a:pt x="85" y="1066"/>
                  </a:lnTo>
                  <a:lnTo>
                    <a:pt x="86" y="1066"/>
                  </a:lnTo>
                  <a:lnTo>
                    <a:pt x="87" y="1069"/>
                  </a:lnTo>
                  <a:lnTo>
                    <a:pt x="88" y="1068"/>
                  </a:lnTo>
                  <a:lnTo>
                    <a:pt x="90" y="1066"/>
                  </a:lnTo>
                  <a:lnTo>
                    <a:pt x="91" y="1068"/>
                  </a:lnTo>
                  <a:lnTo>
                    <a:pt x="92" y="1066"/>
                  </a:lnTo>
                  <a:lnTo>
                    <a:pt x="93" y="1064"/>
                  </a:lnTo>
                  <a:lnTo>
                    <a:pt x="93" y="1062"/>
                  </a:lnTo>
                  <a:lnTo>
                    <a:pt x="94" y="1063"/>
                  </a:lnTo>
                  <a:lnTo>
                    <a:pt x="93" y="1066"/>
                  </a:lnTo>
                  <a:lnTo>
                    <a:pt x="92" y="1068"/>
                  </a:lnTo>
                  <a:lnTo>
                    <a:pt x="92" y="1070"/>
                  </a:lnTo>
                  <a:lnTo>
                    <a:pt x="93" y="1070"/>
                  </a:lnTo>
                  <a:lnTo>
                    <a:pt x="93" y="1071"/>
                  </a:lnTo>
                  <a:lnTo>
                    <a:pt x="93" y="1074"/>
                  </a:lnTo>
                  <a:lnTo>
                    <a:pt x="96" y="1074"/>
                  </a:lnTo>
                  <a:lnTo>
                    <a:pt x="98" y="1074"/>
                  </a:lnTo>
                  <a:lnTo>
                    <a:pt x="100" y="1074"/>
                  </a:lnTo>
                  <a:lnTo>
                    <a:pt x="102" y="1075"/>
                  </a:lnTo>
                  <a:lnTo>
                    <a:pt x="104" y="1074"/>
                  </a:lnTo>
                  <a:lnTo>
                    <a:pt x="105" y="1072"/>
                  </a:lnTo>
                  <a:lnTo>
                    <a:pt x="106" y="1075"/>
                  </a:lnTo>
                  <a:lnTo>
                    <a:pt x="108" y="1075"/>
                  </a:lnTo>
                  <a:lnTo>
                    <a:pt x="109" y="1074"/>
                  </a:lnTo>
                  <a:lnTo>
                    <a:pt x="110" y="1072"/>
                  </a:lnTo>
                  <a:lnTo>
                    <a:pt x="112" y="1072"/>
                  </a:lnTo>
                  <a:lnTo>
                    <a:pt x="114" y="1071"/>
                  </a:lnTo>
                  <a:lnTo>
                    <a:pt x="115" y="1071"/>
                  </a:lnTo>
                  <a:lnTo>
                    <a:pt x="116" y="1074"/>
                  </a:lnTo>
                  <a:lnTo>
                    <a:pt x="117" y="1074"/>
                  </a:lnTo>
                  <a:lnTo>
                    <a:pt x="120" y="1072"/>
                  </a:lnTo>
                  <a:lnTo>
                    <a:pt x="121" y="1072"/>
                  </a:lnTo>
                  <a:lnTo>
                    <a:pt x="122" y="1072"/>
                  </a:lnTo>
                  <a:lnTo>
                    <a:pt x="122" y="1074"/>
                  </a:lnTo>
                  <a:lnTo>
                    <a:pt x="124" y="1074"/>
                  </a:lnTo>
                  <a:lnTo>
                    <a:pt x="126" y="1074"/>
                  </a:lnTo>
                  <a:lnTo>
                    <a:pt x="128" y="1074"/>
                  </a:lnTo>
                  <a:lnTo>
                    <a:pt x="128" y="1075"/>
                  </a:lnTo>
                  <a:lnTo>
                    <a:pt x="129" y="1074"/>
                  </a:lnTo>
                  <a:lnTo>
                    <a:pt x="130" y="1072"/>
                  </a:lnTo>
                  <a:lnTo>
                    <a:pt x="132" y="1072"/>
                  </a:lnTo>
                  <a:lnTo>
                    <a:pt x="133" y="1075"/>
                  </a:lnTo>
                  <a:lnTo>
                    <a:pt x="134" y="1075"/>
                  </a:lnTo>
                  <a:lnTo>
                    <a:pt x="135" y="1075"/>
                  </a:lnTo>
                  <a:lnTo>
                    <a:pt x="136" y="1074"/>
                  </a:lnTo>
                  <a:lnTo>
                    <a:pt x="136" y="1075"/>
                  </a:lnTo>
                  <a:lnTo>
                    <a:pt x="138" y="1075"/>
                  </a:lnTo>
                  <a:lnTo>
                    <a:pt x="140" y="1076"/>
                  </a:lnTo>
                  <a:lnTo>
                    <a:pt x="141" y="1077"/>
                  </a:lnTo>
                  <a:lnTo>
                    <a:pt x="142" y="1080"/>
                  </a:lnTo>
                  <a:lnTo>
                    <a:pt x="142" y="1081"/>
                  </a:lnTo>
                  <a:lnTo>
                    <a:pt x="144" y="1082"/>
                  </a:lnTo>
                  <a:lnTo>
                    <a:pt x="146" y="1083"/>
                  </a:lnTo>
                  <a:lnTo>
                    <a:pt x="149" y="1083"/>
                  </a:lnTo>
                  <a:lnTo>
                    <a:pt x="150" y="1082"/>
                  </a:lnTo>
                  <a:lnTo>
                    <a:pt x="147" y="1084"/>
                  </a:lnTo>
                  <a:lnTo>
                    <a:pt x="146" y="1086"/>
                  </a:lnTo>
                  <a:lnTo>
                    <a:pt x="146" y="1087"/>
                  </a:lnTo>
                  <a:lnTo>
                    <a:pt x="147" y="1086"/>
                  </a:lnTo>
                  <a:lnTo>
                    <a:pt x="150" y="1086"/>
                  </a:lnTo>
                  <a:lnTo>
                    <a:pt x="151" y="1086"/>
                  </a:lnTo>
                  <a:lnTo>
                    <a:pt x="151" y="1087"/>
                  </a:lnTo>
                  <a:lnTo>
                    <a:pt x="149" y="1087"/>
                  </a:lnTo>
                  <a:lnTo>
                    <a:pt x="149" y="1089"/>
                  </a:lnTo>
                  <a:lnTo>
                    <a:pt x="150" y="1089"/>
                  </a:lnTo>
                  <a:lnTo>
                    <a:pt x="149" y="1092"/>
                  </a:lnTo>
                  <a:lnTo>
                    <a:pt x="150" y="1092"/>
                  </a:lnTo>
                  <a:lnTo>
                    <a:pt x="151" y="1090"/>
                  </a:lnTo>
                  <a:lnTo>
                    <a:pt x="152" y="1090"/>
                  </a:lnTo>
                  <a:lnTo>
                    <a:pt x="152" y="1092"/>
                  </a:lnTo>
                  <a:lnTo>
                    <a:pt x="152" y="1093"/>
                  </a:lnTo>
                  <a:lnTo>
                    <a:pt x="153" y="1094"/>
                  </a:lnTo>
                  <a:lnTo>
                    <a:pt x="153" y="1093"/>
                  </a:lnTo>
                  <a:lnTo>
                    <a:pt x="155" y="1093"/>
                  </a:lnTo>
                  <a:lnTo>
                    <a:pt x="155" y="1095"/>
                  </a:lnTo>
                  <a:lnTo>
                    <a:pt x="156" y="1096"/>
                  </a:lnTo>
                  <a:lnTo>
                    <a:pt x="157" y="1094"/>
                  </a:lnTo>
                  <a:lnTo>
                    <a:pt x="158" y="1094"/>
                  </a:lnTo>
                  <a:lnTo>
                    <a:pt x="157" y="1096"/>
                  </a:lnTo>
                  <a:lnTo>
                    <a:pt x="156" y="1098"/>
                  </a:lnTo>
                  <a:lnTo>
                    <a:pt x="155" y="1100"/>
                  </a:lnTo>
                  <a:lnTo>
                    <a:pt x="156" y="1101"/>
                  </a:lnTo>
                  <a:lnTo>
                    <a:pt x="157" y="1100"/>
                  </a:lnTo>
                  <a:lnTo>
                    <a:pt x="158" y="1098"/>
                  </a:lnTo>
                  <a:lnTo>
                    <a:pt x="159" y="1095"/>
                  </a:lnTo>
                  <a:lnTo>
                    <a:pt x="159" y="1096"/>
                  </a:lnTo>
                  <a:lnTo>
                    <a:pt x="159" y="1100"/>
                  </a:lnTo>
                  <a:lnTo>
                    <a:pt x="159" y="1101"/>
                  </a:lnTo>
                  <a:lnTo>
                    <a:pt x="159" y="1102"/>
                  </a:lnTo>
                  <a:lnTo>
                    <a:pt x="158" y="1105"/>
                  </a:lnTo>
                  <a:lnTo>
                    <a:pt x="158" y="1108"/>
                  </a:lnTo>
                  <a:lnTo>
                    <a:pt x="157" y="1110"/>
                  </a:lnTo>
                  <a:lnTo>
                    <a:pt x="156" y="1112"/>
                  </a:lnTo>
                  <a:lnTo>
                    <a:pt x="155" y="1114"/>
                  </a:lnTo>
                  <a:lnTo>
                    <a:pt x="153" y="1118"/>
                  </a:lnTo>
                  <a:lnTo>
                    <a:pt x="151" y="1122"/>
                  </a:lnTo>
                  <a:lnTo>
                    <a:pt x="149" y="1124"/>
                  </a:lnTo>
                  <a:lnTo>
                    <a:pt x="147" y="1125"/>
                  </a:lnTo>
                  <a:lnTo>
                    <a:pt x="149" y="1128"/>
                  </a:lnTo>
                  <a:lnTo>
                    <a:pt x="150" y="1129"/>
                  </a:lnTo>
                  <a:lnTo>
                    <a:pt x="150" y="1130"/>
                  </a:lnTo>
                  <a:lnTo>
                    <a:pt x="150" y="1133"/>
                  </a:lnTo>
                  <a:lnTo>
                    <a:pt x="151" y="1134"/>
                  </a:lnTo>
                  <a:lnTo>
                    <a:pt x="152" y="1133"/>
                  </a:lnTo>
                  <a:lnTo>
                    <a:pt x="153" y="1134"/>
                  </a:lnTo>
                  <a:lnTo>
                    <a:pt x="153" y="1135"/>
                  </a:lnTo>
                  <a:lnTo>
                    <a:pt x="156" y="1135"/>
                  </a:lnTo>
                  <a:lnTo>
                    <a:pt x="153" y="1137"/>
                  </a:lnTo>
                  <a:lnTo>
                    <a:pt x="152" y="1140"/>
                  </a:lnTo>
                  <a:lnTo>
                    <a:pt x="153" y="1139"/>
                  </a:lnTo>
                  <a:lnTo>
                    <a:pt x="155" y="1137"/>
                  </a:lnTo>
                  <a:lnTo>
                    <a:pt x="156" y="1135"/>
                  </a:lnTo>
                  <a:lnTo>
                    <a:pt x="158" y="1133"/>
                  </a:lnTo>
                  <a:lnTo>
                    <a:pt x="159" y="1131"/>
                  </a:lnTo>
                  <a:lnTo>
                    <a:pt x="161" y="1130"/>
                  </a:lnTo>
                  <a:lnTo>
                    <a:pt x="163" y="1128"/>
                  </a:lnTo>
                  <a:lnTo>
                    <a:pt x="163" y="1129"/>
                  </a:lnTo>
                  <a:lnTo>
                    <a:pt x="164" y="1130"/>
                  </a:lnTo>
                  <a:lnTo>
                    <a:pt x="165" y="1131"/>
                  </a:lnTo>
                  <a:lnTo>
                    <a:pt x="168" y="1133"/>
                  </a:lnTo>
                  <a:lnTo>
                    <a:pt x="170" y="1133"/>
                  </a:lnTo>
                  <a:lnTo>
                    <a:pt x="170" y="1135"/>
                  </a:lnTo>
                  <a:lnTo>
                    <a:pt x="171" y="1136"/>
                  </a:lnTo>
                  <a:lnTo>
                    <a:pt x="171" y="1137"/>
                  </a:lnTo>
                  <a:lnTo>
                    <a:pt x="173" y="1136"/>
                  </a:lnTo>
                  <a:lnTo>
                    <a:pt x="174" y="1136"/>
                  </a:lnTo>
                  <a:lnTo>
                    <a:pt x="175" y="1139"/>
                  </a:lnTo>
                  <a:lnTo>
                    <a:pt x="174" y="1140"/>
                  </a:lnTo>
                  <a:lnTo>
                    <a:pt x="175" y="1141"/>
                  </a:lnTo>
                  <a:lnTo>
                    <a:pt x="176" y="1141"/>
                  </a:lnTo>
                  <a:lnTo>
                    <a:pt x="177" y="1141"/>
                  </a:lnTo>
                  <a:lnTo>
                    <a:pt x="177" y="1142"/>
                  </a:lnTo>
                  <a:lnTo>
                    <a:pt x="177" y="1145"/>
                  </a:lnTo>
                  <a:lnTo>
                    <a:pt x="179" y="1143"/>
                  </a:lnTo>
                  <a:lnTo>
                    <a:pt x="180" y="1143"/>
                  </a:lnTo>
                  <a:lnTo>
                    <a:pt x="181" y="1145"/>
                  </a:lnTo>
                  <a:lnTo>
                    <a:pt x="182" y="1145"/>
                  </a:lnTo>
                  <a:lnTo>
                    <a:pt x="183" y="1145"/>
                  </a:lnTo>
                  <a:lnTo>
                    <a:pt x="186" y="1145"/>
                  </a:lnTo>
                  <a:lnTo>
                    <a:pt x="186" y="1143"/>
                  </a:lnTo>
                  <a:lnTo>
                    <a:pt x="186" y="1140"/>
                  </a:lnTo>
                  <a:lnTo>
                    <a:pt x="187" y="1137"/>
                  </a:lnTo>
                  <a:lnTo>
                    <a:pt x="187" y="1135"/>
                  </a:lnTo>
                  <a:lnTo>
                    <a:pt x="187" y="1134"/>
                  </a:lnTo>
                  <a:lnTo>
                    <a:pt x="187" y="1131"/>
                  </a:lnTo>
                  <a:lnTo>
                    <a:pt x="187" y="1129"/>
                  </a:lnTo>
                  <a:lnTo>
                    <a:pt x="186" y="1126"/>
                  </a:lnTo>
                  <a:lnTo>
                    <a:pt x="185" y="1125"/>
                  </a:lnTo>
                  <a:lnTo>
                    <a:pt x="183" y="1125"/>
                  </a:lnTo>
                  <a:lnTo>
                    <a:pt x="182" y="1124"/>
                  </a:lnTo>
                  <a:lnTo>
                    <a:pt x="183" y="1122"/>
                  </a:lnTo>
                  <a:lnTo>
                    <a:pt x="186" y="1118"/>
                  </a:lnTo>
                  <a:lnTo>
                    <a:pt x="187" y="1117"/>
                  </a:lnTo>
                  <a:lnTo>
                    <a:pt x="191" y="1117"/>
                  </a:lnTo>
                  <a:lnTo>
                    <a:pt x="192" y="1116"/>
                  </a:lnTo>
                  <a:lnTo>
                    <a:pt x="193" y="1113"/>
                  </a:lnTo>
                  <a:lnTo>
                    <a:pt x="194" y="1114"/>
                  </a:lnTo>
                  <a:lnTo>
                    <a:pt x="197" y="1114"/>
                  </a:lnTo>
                  <a:lnTo>
                    <a:pt x="199" y="1114"/>
                  </a:lnTo>
                  <a:lnTo>
                    <a:pt x="200" y="1114"/>
                  </a:lnTo>
                  <a:lnTo>
                    <a:pt x="201" y="1116"/>
                  </a:lnTo>
                  <a:lnTo>
                    <a:pt x="203" y="1116"/>
                  </a:lnTo>
                  <a:lnTo>
                    <a:pt x="205" y="1117"/>
                  </a:lnTo>
                  <a:lnTo>
                    <a:pt x="206" y="1116"/>
                  </a:lnTo>
                  <a:lnTo>
                    <a:pt x="207" y="1114"/>
                  </a:lnTo>
                  <a:lnTo>
                    <a:pt x="207" y="1116"/>
                  </a:lnTo>
                  <a:lnTo>
                    <a:pt x="209" y="1114"/>
                  </a:lnTo>
                  <a:lnTo>
                    <a:pt x="209" y="1113"/>
                  </a:lnTo>
                  <a:lnTo>
                    <a:pt x="210" y="1112"/>
                  </a:lnTo>
                  <a:lnTo>
                    <a:pt x="211" y="1112"/>
                  </a:lnTo>
                  <a:lnTo>
                    <a:pt x="214" y="1111"/>
                  </a:lnTo>
                  <a:lnTo>
                    <a:pt x="214" y="1110"/>
                  </a:lnTo>
                  <a:lnTo>
                    <a:pt x="215" y="1107"/>
                  </a:lnTo>
                  <a:lnTo>
                    <a:pt x="218" y="1107"/>
                  </a:lnTo>
                  <a:lnTo>
                    <a:pt x="220" y="1106"/>
                  </a:lnTo>
                  <a:lnTo>
                    <a:pt x="220" y="1108"/>
                  </a:lnTo>
                  <a:lnTo>
                    <a:pt x="221" y="1111"/>
                  </a:lnTo>
                  <a:lnTo>
                    <a:pt x="223" y="1110"/>
                  </a:lnTo>
                  <a:lnTo>
                    <a:pt x="223" y="1108"/>
                  </a:lnTo>
                  <a:lnTo>
                    <a:pt x="223" y="1107"/>
                  </a:lnTo>
                  <a:lnTo>
                    <a:pt x="223" y="1105"/>
                  </a:lnTo>
                  <a:lnTo>
                    <a:pt x="223" y="1102"/>
                  </a:lnTo>
                  <a:lnTo>
                    <a:pt x="224" y="1105"/>
                  </a:lnTo>
                  <a:lnTo>
                    <a:pt x="224" y="1107"/>
                  </a:lnTo>
                  <a:lnTo>
                    <a:pt x="224" y="1108"/>
                  </a:lnTo>
                  <a:lnTo>
                    <a:pt x="226" y="1108"/>
                  </a:lnTo>
                  <a:lnTo>
                    <a:pt x="226" y="1111"/>
                  </a:lnTo>
                  <a:lnTo>
                    <a:pt x="224" y="1112"/>
                  </a:lnTo>
                  <a:lnTo>
                    <a:pt x="226" y="1113"/>
                  </a:lnTo>
                  <a:lnTo>
                    <a:pt x="227" y="1112"/>
                  </a:lnTo>
                  <a:lnTo>
                    <a:pt x="228" y="1112"/>
                  </a:lnTo>
                  <a:lnTo>
                    <a:pt x="229" y="1112"/>
                  </a:lnTo>
                  <a:lnTo>
                    <a:pt x="229" y="1113"/>
                  </a:lnTo>
                  <a:lnTo>
                    <a:pt x="230" y="1113"/>
                  </a:lnTo>
                  <a:lnTo>
                    <a:pt x="230" y="1112"/>
                  </a:lnTo>
                  <a:lnTo>
                    <a:pt x="230" y="1110"/>
                  </a:lnTo>
                  <a:lnTo>
                    <a:pt x="232" y="1110"/>
                  </a:lnTo>
                  <a:lnTo>
                    <a:pt x="233" y="1112"/>
                  </a:lnTo>
                  <a:lnTo>
                    <a:pt x="233" y="1114"/>
                  </a:lnTo>
                  <a:lnTo>
                    <a:pt x="233" y="1116"/>
                  </a:lnTo>
                  <a:lnTo>
                    <a:pt x="234" y="1116"/>
                  </a:lnTo>
                  <a:lnTo>
                    <a:pt x="235" y="1117"/>
                  </a:lnTo>
                  <a:lnTo>
                    <a:pt x="239" y="1114"/>
                  </a:lnTo>
                  <a:lnTo>
                    <a:pt x="239" y="1119"/>
                  </a:lnTo>
                  <a:lnTo>
                    <a:pt x="240" y="1116"/>
                  </a:lnTo>
                  <a:lnTo>
                    <a:pt x="239" y="1113"/>
                  </a:lnTo>
                  <a:lnTo>
                    <a:pt x="242" y="1116"/>
                  </a:lnTo>
                  <a:lnTo>
                    <a:pt x="242" y="1117"/>
                  </a:lnTo>
                  <a:lnTo>
                    <a:pt x="242" y="1118"/>
                  </a:lnTo>
                  <a:lnTo>
                    <a:pt x="242" y="1119"/>
                  </a:lnTo>
                  <a:lnTo>
                    <a:pt x="242" y="1122"/>
                  </a:lnTo>
                  <a:lnTo>
                    <a:pt x="244" y="1120"/>
                  </a:lnTo>
                  <a:lnTo>
                    <a:pt x="245" y="1119"/>
                  </a:lnTo>
                  <a:lnTo>
                    <a:pt x="247" y="1118"/>
                  </a:lnTo>
                  <a:lnTo>
                    <a:pt x="248" y="1117"/>
                  </a:lnTo>
                  <a:lnTo>
                    <a:pt x="248" y="1119"/>
                  </a:lnTo>
                  <a:lnTo>
                    <a:pt x="250" y="1120"/>
                  </a:lnTo>
                  <a:lnTo>
                    <a:pt x="251" y="1122"/>
                  </a:lnTo>
                  <a:lnTo>
                    <a:pt x="252" y="1122"/>
                  </a:lnTo>
                  <a:lnTo>
                    <a:pt x="253" y="1120"/>
                  </a:lnTo>
                  <a:lnTo>
                    <a:pt x="256" y="1119"/>
                  </a:lnTo>
                  <a:lnTo>
                    <a:pt x="257" y="1118"/>
                  </a:lnTo>
                  <a:lnTo>
                    <a:pt x="259" y="1117"/>
                  </a:lnTo>
                  <a:lnTo>
                    <a:pt x="260" y="1116"/>
                  </a:lnTo>
                  <a:lnTo>
                    <a:pt x="260" y="1114"/>
                  </a:lnTo>
                  <a:lnTo>
                    <a:pt x="262" y="1113"/>
                  </a:lnTo>
                  <a:lnTo>
                    <a:pt x="262" y="1116"/>
                  </a:lnTo>
                  <a:lnTo>
                    <a:pt x="262" y="1118"/>
                  </a:lnTo>
                  <a:lnTo>
                    <a:pt x="263" y="1118"/>
                  </a:lnTo>
                  <a:lnTo>
                    <a:pt x="264" y="1119"/>
                  </a:lnTo>
                  <a:lnTo>
                    <a:pt x="266" y="1120"/>
                  </a:lnTo>
                  <a:lnTo>
                    <a:pt x="268" y="1122"/>
                  </a:lnTo>
                  <a:lnTo>
                    <a:pt x="269" y="1123"/>
                  </a:lnTo>
                  <a:lnTo>
                    <a:pt x="269" y="1124"/>
                  </a:lnTo>
                  <a:lnTo>
                    <a:pt x="270" y="1125"/>
                  </a:lnTo>
                  <a:lnTo>
                    <a:pt x="273" y="1125"/>
                  </a:lnTo>
                  <a:lnTo>
                    <a:pt x="271" y="1128"/>
                  </a:lnTo>
                  <a:lnTo>
                    <a:pt x="271" y="1129"/>
                  </a:lnTo>
                  <a:lnTo>
                    <a:pt x="273" y="1128"/>
                  </a:lnTo>
                  <a:lnTo>
                    <a:pt x="274" y="1128"/>
                  </a:lnTo>
                  <a:lnTo>
                    <a:pt x="274" y="1130"/>
                  </a:lnTo>
                  <a:lnTo>
                    <a:pt x="274" y="1133"/>
                  </a:lnTo>
                  <a:lnTo>
                    <a:pt x="275" y="1133"/>
                  </a:lnTo>
                  <a:lnTo>
                    <a:pt x="276" y="1133"/>
                  </a:lnTo>
                  <a:lnTo>
                    <a:pt x="279" y="1131"/>
                  </a:lnTo>
                  <a:lnTo>
                    <a:pt x="279" y="1133"/>
                  </a:lnTo>
                  <a:lnTo>
                    <a:pt x="276" y="1134"/>
                  </a:lnTo>
                  <a:lnTo>
                    <a:pt x="275" y="1136"/>
                  </a:lnTo>
                  <a:lnTo>
                    <a:pt x="276" y="1136"/>
                  </a:lnTo>
                  <a:lnTo>
                    <a:pt x="277" y="1136"/>
                  </a:lnTo>
                  <a:lnTo>
                    <a:pt x="280" y="1135"/>
                  </a:lnTo>
                  <a:lnTo>
                    <a:pt x="282" y="1133"/>
                  </a:lnTo>
                  <a:lnTo>
                    <a:pt x="285" y="1131"/>
                  </a:lnTo>
                  <a:lnTo>
                    <a:pt x="286" y="1131"/>
                  </a:lnTo>
                  <a:lnTo>
                    <a:pt x="287" y="1130"/>
                  </a:lnTo>
                  <a:lnTo>
                    <a:pt x="289" y="1130"/>
                  </a:lnTo>
                  <a:lnTo>
                    <a:pt x="291" y="1130"/>
                  </a:lnTo>
                  <a:lnTo>
                    <a:pt x="292" y="1129"/>
                  </a:lnTo>
                  <a:lnTo>
                    <a:pt x="293" y="1128"/>
                  </a:lnTo>
                  <a:lnTo>
                    <a:pt x="294" y="1129"/>
                  </a:lnTo>
                  <a:lnTo>
                    <a:pt x="295" y="1129"/>
                  </a:lnTo>
                  <a:lnTo>
                    <a:pt x="297" y="1128"/>
                  </a:lnTo>
                  <a:lnTo>
                    <a:pt x="298" y="1128"/>
                  </a:lnTo>
                  <a:lnTo>
                    <a:pt x="300" y="1128"/>
                  </a:lnTo>
                  <a:lnTo>
                    <a:pt x="301" y="1128"/>
                  </a:lnTo>
                  <a:lnTo>
                    <a:pt x="303" y="1129"/>
                  </a:lnTo>
                  <a:lnTo>
                    <a:pt x="303" y="1130"/>
                  </a:lnTo>
                  <a:lnTo>
                    <a:pt x="304" y="1130"/>
                  </a:lnTo>
                  <a:lnTo>
                    <a:pt x="305" y="1130"/>
                  </a:lnTo>
                  <a:lnTo>
                    <a:pt x="305" y="1129"/>
                  </a:lnTo>
                  <a:lnTo>
                    <a:pt x="306" y="1129"/>
                  </a:lnTo>
                  <a:lnTo>
                    <a:pt x="307" y="1126"/>
                  </a:lnTo>
                  <a:lnTo>
                    <a:pt x="307" y="1124"/>
                  </a:lnTo>
                  <a:lnTo>
                    <a:pt x="307" y="1122"/>
                  </a:lnTo>
                  <a:lnTo>
                    <a:pt x="309" y="1123"/>
                  </a:lnTo>
                  <a:lnTo>
                    <a:pt x="309" y="1125"/>
                  </a:lnTo>
                  <a:lnTo>
                    <a:pt x="309" y="1126"/>
                  </a:lnTo>
                  <a:lnTo>
                    <a:pt x="309" y="1130"/>
                  </a:lnTo>
                  <a:lnTo>
                    <a:pt x="310" y="1130"/>
                  </a:lnTo>
                  <a:lnTo>
                    <a:pt x="310" y="1131"/>
                  </a:lnTo>
                  <a:lnTo>
                    <a:pt x="310" y="1133"/>
                  </a:lnTo>
                  <a:lnTo>
                    <a:pt x="311" y="1135"/>
                  </a:lnTo>
                  <a:lnTo>
                    <a:pt x="311" y="1136"/>
                  </a:lnTo>
                  <a:lnTo>
                    <a:pt x="311" y="1139"/>
                  </a:lnTo>
                  <a:lnTo>
                    <a:pt x="312" y="1140"/>
                  </a:lnTo>
                  <a:lnTo>
                    <a:pt x="313" y="1141"/>
                  </a:lnTo>
                  <a:lnTo>
                    <a:pt x="312" y="1145"/>
                  </a:lnTo>
                  <a:lnTo>
                    <a:pt x="313" y="1146"/>
                  </a:lnTo>
                  <a:lnTo>
                    <a:pt x="313" y="1147"/>
                  </a:lnTo>
                  <a:lnTo>
                    <a:pt x="313" y="1149"/>
                  </a:lnTo>
                  <a:lnTo>
                    <a:pt x="315" y="1151"/>
                  </a:lnTo>
                  <a:lnTo>
                    <a:pt x="316" y="1152"/>
                  </a:lnTo>
                  <a:lnTo>
                    <a:pt x="317" y="1155"/>
                  </a:lnTo>
                  <a:lnTo>
                    <a:pt x="317" y="1157"/>
                  </a:lnTo>
                  <a:lnTo>
                    <a:pt x="318" y="1159"/>
                  </a:lnTo>
                  <a:lnTo>
                    <a:pt x="319" y="1161"/>
                  </a:lnTo>
                  <a:lnTo>
                    <a:pt x="322" y="1163"/>
                  </a:lnTo>
                  <a:lnTo>
                    <a:pt x="325" y="1164"/>
                  </a:lnTo>
                  <a:lnTo>
                    <a:pt x="327" y="1163"/>
                  </a:lnTo>
                  <a:lnTo>
                    <a:pt x="328" y="1163"/>
                  </a:lnTo>
                  <a:lnTo>
                    <a:pt x="329" y="1163"/>
                  </a:lnTo>
                  <a:lnTo>
                    <a:pt x="330" y="1161"/>
                  </a:lnTo>
                  <a:lnTo>
                    <a:pt x="333" y="1161"/>
                  </a:lnTo>
                  <a:lnTo>
                    <a:pt x="333" y="1159"/>
                  </a:lnTo>
                  <a:lnTo>
                    <a:pt x="334" y="1159"/>
                  </a:lnTo>
                  <a:lnTo>
                    <a:pt x="336" y="1159"/>
                  </a:lnTo>
                  <a:lnTo>
                    <a:pt x="338" y="1158"/>
                  </a:lnTo>
                  <a:lnTo>
                    <a:pt x="338" y="1157"/>
                  </a:lnTo>
                  <a:lnTo>
                    <a:pt x="339" y="1157"/>
                  </a:lnTo>
                  <a:lnTo>
                    <a:pt x="340" y="1157"/>
                  </a:lnTo>
                  <a:lnTo>
                    <a:pt x="341" y="1157"/>
                  </a:lnTo>
                  <a:lnTo>
                    <a:pt x="342" y="1158"/>
                  </a:lnTo>
                  <a:lnTo>
                    <a:pt x="342" y="1160"/>
                  </a:lnTo>
                  <a:lnTo>
                    <a:pt x="342" y="1161"/>
                  </a:lnTo>
                  <a:lnTo>
                    <a:pt x="344" y="1160"/>
                  </a:lnTo>
                  <a:lnTo>
                    <a:pt x="344" y="1161"/>
                  </a:lnTo>
                  <a:lnTo>
                    <a:pt x="344" y="1163"/>
                  </a:lnTo>
                  <a:lnTo>
                    <a:pt x="345" y="1164"/>
                  </a:lnTo>
                  <a:lnTo>
                    <a:pt x="345" y="1163"/>
                  </a:lnTo>
                  <a:lnTo>
                    <a:pt x="346" y="1163"/>
                  </a:lnTo>
                  <a:lnTo>
                    <a:pt x="346" y="1164"/>
                  </a:lnTo>
                  <a:lnTo>
                    <a:pt x="346" y="1166"/>
                  </a:lnTo>
                  <a:lnTo>
                    <a:pt x="347" y="1165"/>
                  </a:lnTo>
                  <a:lnTo>
                    <a:pt x="347" y="1166"/>
                  </a:lnTo>
                  <a:lnTo>
                    <a:pt x="347" y="1169"/>
                  </a:lnTo>
                  <a:lnTo>
                    <a:pt x="347" y="1170"/>
                  </a:lnTo>
                  <a:lnTo>
                    <a:pt x="347" y="1171"/>
                  </a:lnTo>
                  <a:lnTo>
                    <a:pt x="348" y="1172"/>
                  </a:lnTo>
                  <a:lnTo>
                    <a:pt x="350" y="1172"/>
                  </a:lnTo>
                  <a:lnTo>
                    <a:pt x="348" y="1173"/>
                  </a:lnTo>
                  <a:lnTo>
                    <a:pt x="350" y="1176"/>
                  </a:lnTo>
                  <a:lnTo>
                    <a:pt x="350" y="1177"/>
                  </a:lnTo>
                  <a:lnTo>
                    <a:pt x="350" y="1179"/>
                  </a:lnTo>
                  <a:lnTo>
                    <a:pt x="350" y="1181"/>
                  </a:lnTo>
                  <a:lnTo>
                    <a:pt x="351" y="1182"/>
                  </a:lnTo>
                  <a:lnTo>
                    <a:pt x="351" y="1194"/>
                  </a:lnTo>
                  <a:lnTo>
                    <a:pt x="351" y="1207"/>
                  </a:lnTo>
                  <a:lnTo>
                    <a:pt x="351" y="1220"/>
                  </a:lnTo>
                  <a:lnTo>
                    <a:pt x="351" y="1237"/>
                  </a:lnTo>
                  <a:lnTo>
                    <a:pt x="351" y="1241"/>
                  </a:lnTo>
                  <a:lnTo>
                    <a:pt x="351" y="1244"/>
                  </a:lnTo>
                  <a:lnTo>
                    <a:pt x="353" y="1247"/>
                  </a:lnTo>
                  <a:lnTo>
                    <a:pt x="357" y="1247"/>
                  </a:lnTo>
                  <a:lnTo>
                    <a:pt x="386" y="1247"/>
                  </a:lnTo>
                  <a:lnTo>
                    <a:pt x="387" y="1221"/>
                  </a:lnTo>
                  <a:lnTo>
                    <a:pt x="387" y="1199"/>
                  </a:lnTo>
                  <a:lnTo>
                    <a:pt x="388" y="1175"/>
                  </a:lnTo>
                  <a:lnTo>
                    <a:pt x="388" y="1169"/>
                  </a:lnTo>
                  <a:lnTo>
                    <a:pt x="391" y="1167"/>
                  </a:lnTo>
                  <a:lnTo>
                    <a:pt x="392" y="1166"/>
                  </a:lnTo>
                  <a:lnTo>
                    <a:pt x="394" y="1166"/>
                  </a:lnTo>
                  <a:lnTo>
                    <a:pt x="395" y="1165"/>
                  </a:lnTo>
                  <a:lnTo>
                    <a:pt x="397" y="1164"/>
                  </a:lnTo>
                  <a:lnTo>
                    <a:pt x="398" y="1163"/>
                  </a:lnTo>
                  <a:lnTo>
                    <a:pt x="399" y="1161"/>
                  </a:lnTo>
                  <a:lnTo>
                    <a:pt x="400" y="1160"/>
                  </a:lnTo>
                  <a:lnTo>
                    <a:pt x="401" y="1159"/>
                  </a:lnTo>
                  <a:lnTo>
                    <a:pt x="403" y="1158"/>
                  </a:lnTo>
                  <a:lnTo>
                    <a:pt x="401" y="1158"/>
                  </a:lnTo>
                  <a:lnTo>
                    <a:pt x="401" y="1157"/>
                  </a:lnTo>
                  <a:lnTo>
                    <a:pt x="400" y="1154"/>
                  </a:lnTo>
                  <a:lnTo>
                    <a:pt x="400" y="1153"/>
                  </a:lnTo>
                  <a:lnTo>
                    <a:pt x="400" y="1152"/>
                  </a:lnTo>
                  <a:lnTo>
                    <a:pt x="400" y="1151"/>
                  </a:lnTo>
                  <a:lnTo>
                    <a:pt x="399" y="1148"/>
                  </a:lnTo>
                  <a:lnTo>
                    <a:pt x="398" y="1149"/>
                  </a:lnTo>
                  <a:lnTo>
                    <a:pt x="398" y="1148"/>
                  </a:lnTo>
                  <a:lnTo>
                    <a:pt x="397" y="1147"/>
                  </a:lnTo>
                  <a:lnTo>
                    <a:pt x="398" y="1146"/>
                  </a:lnTo>
                  <a:lnTo>
                    <a:pt x="398" y="1145"/>
                  </a:lnTo>
                  <a:lnTo>
                    <a:pt x="398" y="1142"/>
                  </a:lnTo>
                  <a:lnTo>
                    <a:pt x="399" y="1141"/>
                  </a:lnTo>
                  <a:lnTo>
                    <a:pt x="400" y="1139"/>
                  </a:lnTo>
                  <a:lnTo>
                    <a:pt x="401" y="1137"/>
                  </a:lnTo>
                  <a:lnTo>
                    <a:pt x="404" y="1137"/>
                  </a:lnTo>
                  <a:lnTo>
                    <a:pt x="405" y="1137"/>
                  </a:lnTo>
                  <a:lnTo>
                    <a:pt x="406" y="1137"/>
                  </a:lnTo>
                  <a:lnTo>
                    <a:pt x="410" y="1140"/>
                  </a:lnTo>
                  <a:lnTo>
                    <a:pt x="412" y="1140"/>
                  </a:lnTo>
                  <a:lnTo>
                    <a:pt x="415" y="1141"/>
                  </a:lnTo>
                  <a:lnTo>
                    <a:pt x="417" y="1141"/>
                  </a:lnTo>
                  <a:lnTo>
                    <a:pt x="417" y="1140"/>
                  </a:lnTo>
                  <a:lnTo>
                    <a:pt x="418" y="1140"/>
                  </a:lnTo>
                  <a:lnTo>
                    <a:pt x="418" y="1141"/>
                  </a:lnTo>
                  <a:lnTo>
                    <a:pt x="419" y="1142"/>
                  </a:lnTo>
                  <a:lnTo>
                    <a:pt x="421" y="1141"/>
                  </a:lnTo>
                  <a:lnTo>
                    <a:pt x="422" y="1142"/>
                  </a:lnTo>
                  <a:lnTo>
                    <a:pt x="423" y="1145"/>
                  </a:lnTo>
                  <a:lnTo>
                    <a:pt x="425" y="1146"/>
                  </a:lnTo>
                  <a:lnTo>
                    <a:pt x="427" y="1148"/>
                  </a:lnTo>
                  <a:lnTo>
                    <a:pt x="429" y="1149"/>
                  </a:lnTo>
                  <a:lnTo>
                    <a:pt x="430" y="1149"/>
                  </a:lnTo>
                  <a:lnTo>
                    <a:pt x="430" y="1152"/>
                  </a:lnTo>
                  <a:lnTo>
                    <a:pt x="430" y="1153"/>
                  </a:lnTo>
                  <a:lnTo>
                    <a:pt x="430" y="1154"/>
                  </a:lnTo>
                  <a:lnTo>
                    <a:pt x="431" y="1153"/>
                  </a:lnTo>
                  <a:lnTo>
                    <a:pt x="433" y="1154"/>
                  </a:lnTo>
                  <a:lnTo>
                    <a:pt x="434" y="1154"/>
                  </a:lnTo>
                  <a:lnTo>
                    <a:pt x="434" y="1155"/>
                  </a:lnTo>
                  <a:lnTo>
                    <a:pt x="435" y="1158"/>
                  </a:lnTo>
                  <a:lnTo>
                    <a:pt x="436" y="1155"/>
                  </a:lnTo>
                  <a:lnTo>
                    <a:pt x="436" y="1158"/>
                  </a:lnTo>
                  <a:lnTo>
                    <a:pt x="436" y="1159"/>
                  </a:lnTo>
                  <a:lnTo>
                    <a:pt x="436" y="1160"/>
                  </a:lnTo>
                  <a:lnTo>
                    <a:pt x="439" y="1160"/>
                  </a:lnTo>
                  <a:lnTo>
                    <a:pt x="439" y="1159"/>
                  </a:lnTo>
                  <a:lnTo>
                    <a:pt x="440" y="1159"/>
                  </a:lnTo>
                  <a:lnTo>
                    <a:pt x="441" y="1160"/>
                  </a:lnTo>
                  <a:lnTo>
                    <a:pt x="442" y="1160"/>
                  </a:lnTo>
                  <a:lnTo>
                    <a:pt x="442" y="1159"/>
                  </a:lnTo>
                  <a:lnTo>
                    <a:pt x="443" y="1159"/>
                  </a:lnTo>
                  <a:lnTo>
                    <a:pt x="443" y="1160"/>
                  </a:lnTo>
                  <a:lnTo>
                    <a:pt x="446" y="1160"/>
                  </a:lnTo>
                  <a:lnTo>
                    <a:pt x="450" y="1159"/>
                  </a:lnTo>
                  <a:lnTo>
                    <a:pt x="452" y="1157"/>
                  </a:lnTo>
                  <a:lnTo>
                    <a:pt x="454" y="1155"/>
                  </a:lnTo>
                  <a:lnTo>
                    <a:pt x="456" y="1152"/>
                  </a:lnTo>
                  <a:lnTo>
                    <a:pt x="457" y="1153"/>
                  </a:lnTo>
                  <a:lnTo>
                    <a:pt x="457" y="1155"/>
                  </a:lnTo>
                  <a:lnTo>
                    <a:pt x="457" y="1157"/>
                  </a:lnTo>
                  <a:lnTo>
                    <a:pt x="459" y="1155"/>
                  </a:lnTo>
                  <a:lnTo>
                    <a:pt x="459" y="1154"/>
                  </a:lnTo>
                  <a:lnTo>
                    <a:pt x="460" y="1155"/>
                  </a:lnTo>
                  <a:lnTo>
                    <a:pt x="462" y="1157"/>
                  </a:lnTo>
                  <a:lnTo>
                    <a:pt x="463" y="1157"/>
                  </a:lnTo>
                  <a:lnTo>
                    <a:pt x="463" y="1154"/>
                  </a:lnTo>
                  <a:lnTo>
                    <a:pt x="464" y="1154"/>
                  </a:lnTo>
                  <a:lnTo>
                    <a:pt x="465" y="1155"/>
                  </a:lnTo>
                  <a:lnTo>
                    <a:pt x="466" y="1155"/>
                  </a:lnTo>
                  <a:lnTo>
                    <a:pt x="466" y="1154"/>
                  </a:lnTo>
                  <a:lnTo>
                    <a:pt x="468" y="1153"/>
                  </a:lnTo>
                  <a:lnTo>
                    <a:pt x="469" y="1153"/>
                  </a:lnTo>
                  <a:lnTo>
                    <a:pt x="470" y="1151"/>
                  </a:lnTo>
                  <a:lnTo>
                    <a:pt x="471" y="1149"/>
                  </a:lnTo>
                  <a:lnTo>
                    <a:pt x="472" y="1148"/>
                  </a:lnTo>
                  <a:lnTo>
                    <a:pt x="472" y="1146"/>
                  </a:lnTo>
                  <a:lnTo>
                    <a:pt x="474" y="1145"/>
                  </a:lnTo>
                  <a:lnTo>
                    <a:pt x="474" y="1143"/>
                  </a:lnTo>
                  <a:lnTo>
                    <a:pt x="475" y="1141"/>
                  </a:lnTo>
                  <a:lnTo>
                    <a:pt x="477" y="1141"/>
                  </a:lnTo>
                  <a:lnTo>
                    <a:pt x="480" y="1140"/>
                  </a:lnTo>
                  <a:lnTo>
                    <a:pt x="481" y="1139"/>
                  </a:lnTo>
                  <a:lnTo>
                    <a:pt x="481" y="1136"/>
                  </a:lnTo>
                  <a:lnTo>
                    <a:pt x="482" y="1135"/>
                  </a:lnTo>
                  <a:lnTo>
                    <a:pt x="482" y="1137"/>
                  </a:lnTo>
                  <a:lnTo>
                    <a:pt x="483" y="1139"/>
                  </a:lnTo>
                  <a:lnTo>
                    <a:pt x="484" y="1137"/>
                  </a:lnTo>
                  <a:lnTo>
                    <a:pt x="486" y="1137"/>
                  </a:lnTo>
                  <a:lnTo>
                    <a:pt x="487" y="1137"/>
                  </a:lnTo>
                  <a:lnTo>
                    <a:pt x="488" y="1137"/>
                  </a:lnTo>
                  <a:lnTo>
                    <a:pt x="488" y="1136"/>
                  </a:lnTo>
                  <a:lnTo>
                    <a:pt x="489" y="1137"/>
                  </a:lnTo>
                  <a:lnTo>
                    <a:pt x="490" y="1137"/>
                  </a:lnTo>
                  <a:lnTo>
                    <a:pt x="492" y="1139"/>
                  </a:lnTo>
                  <a:lnTo>
                    <a:pt x="492" y="1140"/>
                  </a:lnTo>
                  <a:lnTo>
                    <a:pt x="493" y="1140"/>
                  </a:lnTo>
                  <a:lnTo>
                    <a:pt x="494" y="1139"/>
                  </a:lnTo>
                  <a:lnTo>
                    <a:pt x="495" y="1137"/>
                  </a:lnTo>
                  <a:lnTo>
                    <a:pt x="496" y="1139"/>
                  </a:lnTo>
                  <a:lnTo>
                    <a:pt x="496" y="1137"/>
                  </a:lnTo>
                  <a:lnTo>
                    <a:pt x="498" y="1137"/>
                  </a:lnTo>
                  <a:lnTo>
                    <a:pt x="499" y="1137"/>
                  </a:lnTo>
                  <a:lnTo>
                    <a:pt x="501" y="1137"/>
                  </a:lnTo>
                  <a:lnTo>
                    <a:pt x="502" y="1139"/>
                  </a:lnTo>
                  <a:lnTo>
                    <a:pt x="507" y="1142"/>
                  </a:lnTo>
                  <a:lnTo>
                    <a:pt x="509" y="1146"/>
                  </a:lnTo>
                  <a:lnTo>
                    <a:pt x="510" y="1147"/>
                  </a:lnTo>
                  <a:lnTo>
                    <a:pt x="511" y="1149"/>
                  </a:lnTo>
                  <a:lnTo>
                    <a:pt x="512" y="1151"/>
                  </a:lnTo>
                  <a:lnTo>
                    <a:pt x="516" y="1152"/>
                  </a:lnTo>
                  <a:lnTo>
                    <a:pt x="518" y="1153"/>
                  </a:lnTo>
                  <a:lnTo>
                    <a:pt x="521" y="1152"/>
                  </a:lnTo>
                  <a:lnTo>
                    <a:pt x="523" y="1151"/>
                  </a:lnTo>
                  <a:lnTo>
                    <a:pt x="523" y="1149"/>
                  </a:lnTo>
                  <a:lnTo>
                    <a:pt x="524" y="1147"/>
                  </a:lnTo>
                  <a:lnTo>
                    <a:pt x="524" y="1146"/>
                  </a:lnTo>
                  <a:lnTo>
                    <a:pt x="523" y="1141"/>
                  </a:lnTo>
                  <a:lnTo>
                    <a:pt x="523" y="1139"/>
                  </a:lnTo>
                  <a:lnTo>
                    <a:pt x="524" y="1139"/>
                  </a:lnTo>
                  <a:lnTo>
                    <a:pt x="524" y="1140"/>
                  </a:lnTo>
                  <a:lnTo>
                    <a:pt x="524" y="1145"/>
                  </a:lnTo>
                  <a:lnTo>
                    <a:pt x="524" y="1147"/>
                  </a:lnTo>
                  <a:lnTo>
                    <a:pt x="525" y="1148"/>
                  </a:lnTo>
                  <a:lnTo>
                    <a:pt x="527" y="1148"/>
                  </a:lnTo>
                  <a:lnTo>
                    <a:pt x="528" y="1148"/>
                  </a:lnTo>
                  <a:lnTo>
                    <a:pt x="529" y="1147"/>
                  </a:lnTo>
                  <a:lnTo>
                    <a:pt x="529" y="1146"/>
                  </a:lnTo>
                  <a:lnTo>
                    <a:pt x="529" y="1142"/>
                  </a:lnTo>
                  <a:lnTo>
                    <a:pt x="529" y="1139"/>
                  </a:lnTo>
                  <a:lnTo>
                    <a:pt x="530" y="1141"/>
                  </a:lnTo>
                  <a:lnTo>
                    <a:pt x="530" y="1142"/>
                  </a:lnTo>
                  <a:lnTo>
                    <a:pt x="530" y="1145"/>
                  </a:lnTo>
                  <a:lnTo>
                    <a:pt x="530" y="1147"/>
                  </a:lnTo>
                  <a:lnTo>
                    <a:pt x="531" y="1148"/>
                  </a:lnTo>
                  <a:lnTo>
                    <a:pt x="533" y="1149"/>
                  </a:lnTo>
                  <a:lnTo>
                    <a:pt x="533" y="1147"/>
                  </a:lnTo>
                  <a:lnTo>
                    <a:pt x="533" y="1146"/>
                  </a:lnTo>
                  <a:lnTo>
                    <a:pt x="534" y="1145"/>
                  </a:lnTo>
                  <a:lnTo>
                    <a:pt x="535" y="1145"/>
                  </a:lnTo>
                  <a:lnTo>
                    <a:pt x="535" y="1148"/>
                  </a:lnTo>
                  <a:lnTo>
                    <a:pt x="535" y="1149"/>
                  </a:lnTo>
                  <a:lnTo>
                    <a:pt x="536" y="1149"/>
                  </a:lnTo>
                  <a:lnTo>
                    <a:pt x="537" y="1149"/>
                  </a:lnTo>
                  <a:lnTo>
                    <a:pt x="537" y="1148"/>
                  </a:lnTo>
                  <a:lnTo>
                    <a:pt x="537" y="1147"/>
                  </a:lnTo>
                  <a:lnTo>
                    <a:pt x="539" y="1146"/>
                  </a:lnTo>
                  <a:lnTo>
                    <a:pt x="539" y="1143"/>
                  </a:lnTo>
                  <a:lnTo>
                    <a:pt x="539" y="1142"/>
                  </a:lnTo>
                  <a:lnTo>
                    <a:pt x="540" y="1142"/>
                  </a:lnTo>
                  <a:lnTo>
                    <a:pt x="540" y="1143"/>
                  </a:lnTo>
                  <a:lnTo>
                    <a:pt x="542" y="1147"/>
                  </a:lnTo>
                  <a:lnTo>
                    <a:pt x="545" y="1148"/>
                  </a:lnTo>
                  <a:lnTo>
                    <a:pt x="547" y="1147"/>
                  </a:lnTo>
                  <a:lnTo>
                    <a:pt x="547" y="1145"/>
                  </a:lnTo>
                  <a:lnTo>
                    <a:pt x="548" y="1146"/>
                  </a:lnTo>
                  <a:lnTo>
                    <a:pt x="548" y="1147"/>
                  </a:lnTo>
                  <a:lnTo>
                    <a:pt x="548" y="1148"/>
                  </a:lnTo>
                  <a:lnTo>
                    <a:pt x="549" y="1151"/>
                  </a:lnTo>
                  <a:lnTo>
                    <a:pt x="549" y="1149"/>
                  </a:lnTo>
                  <a:lnTo>
                    <a:pt x="551" y="1148"/>
                  </a:lnTo>
                  <a:lnTo>
                    <a:pt x="552" y="1148"/>
                  </a:lnTo>
                  <a:lnTo>
                    <a:pt x="551" y="1151"/>
                  </a:lnTo>
                  <a:lnTo>
                    <a:pt x="552" y="1151"/>
                  </a:lnTo>
                  <a:lnTo>
                    <a:pt x="552" y="1152"/>
                  </a:lnTo>
                  <a:lnTo>
                    <a:pt x="552" y="1154"/>
                  </a:lnTo>
                  <a:lnTo>
                    <a:pt x="552" y="1155"/>
                  </a:lnTo>
                  <a:lnTo>
                    <a:pt x="553" y="1154"/>
                  </a:lnTo>
                  <a:lnTo>
                    <a:pt x="554" y="1155"/>
                  </a:lnTo>
                  <a:lnTo>
                    <a:pt x="553" y="1157"/>
                  </a:lnTo>
                  <a:lnTo>
                    <a:pt x="554" y="1159"/>
                  </a:lnTo>
                  <a:lnTo>
                    <a:pt x="555" y="1159"/>
                  </a:lnTo>
                  <a:lnTo>
                    <a:pt x="557" y="1160"/>
                  </a:lnTo>
                  <a:lnTo>
                    <a:pt x="558" y="1160"/>
                  </a:lnTo>
                  <a:lnTo>
                    <a:pt x="559" y="1161"/>
                  </a:lnTo>
                  <a:lnTo>
                    <a:pt x="559" y="1163"/>
                  </a:lnTo>
                  <a:lnTo>
                    <a:pt x="560" y="1164"/>
                  </a:lnTo>
                  <a:lnTo>
                    <a:pt x="560" y="1166"/>
                  </a:lnTo>
                  <a:lnTo>
                    <a:pt x="561" y="1166"/>
                  </a:lnTo>
                  <a:lnTo>
                    <a:pt x="561" y="1169"/>
                  </a:lnTo>
                  <a:lnTo>
                    <a:pt x="564" y="1171"/>
                  </a:lnTo>
                  <a:lnTo>
                    <a:pt x="564" y="1172"/>
                  </a:lnTo>
                  <a:lnTo>
                    <a:pt x="564" y="1173"/>
                  </a:lnTo>
                  <a:lnTo>
                    <a:pt x="564" y="1175"/>
                  </a:lnTo>
                  <a:lnTo>
                    <a:pt x="566" y="1177"/>
                  </a:lnTo>
                  <a:lnTo>
                    <a:pt x="567" y="1178"/>
                  </a:lnTo>
                  <a:lnTo>
                    <a:pt x="570" y="1181"/>
                  </a:lnTo>
                  <a:lnTo>
                    <a:pt x="572" y="1182"/>
                  </a:lnTo>
                  <a:lnTo>
                    <a:pt x="574" y="1182"/>
                  </a:lnTo>
                  <a:lnTo>
                    <a:pt x="575" y="1181"/>
                  </a:lnTo>
                  <a:lnTo>
                    <a:pt x="575" y="1179"/>
                  </a:lnTo>
                  <a:lnTo>
                    <a:pt x="575" y="1177"/>
                  </a:lnTo>
                  <a:lnTo>
                    <a:pt x="575" y="1175"/>
                  </a:lnTo>
                  <a:lnTo>
                    <a:pt x="575" y="1173"/>
                  </a:lnTo>
                  <a:lnTo>
                    <a:pt x="575" y="1172"/>
                  </a:lnTo>
                  <a:lnTo>
                    <a:pt x="575" y="1175"/>
                  </a:lnTo>
                  <a:lnTo>
                    <a:pt x="576" y="1177"/>
                  </a:lnTo>
                  <a:lnTo>
                    <a:pt x="576" y="1178"/>
                  </a:lnTo>
                  <a:lnTo>
                    <a:pt x="576" y="1179"/>
                  </a:lnTo>
                  <a:lnTo>
                    <a:pt x="576" y="1183"/>
                  </a:lnTo>
                  <a:lnTo>
                    <a:pt x="576" y="1184"/>
                  </a:lnTo>
                  <a:lnTo>
                    <a:pt x="577" y="1185"/>
                  </a:lnTo>
                  <a:lnTo>
                    <a:pt x="577" y="1187"/>
                  </a:lnTo>
                  <a:lnTo>
                    <a:pt x="580" y="1187"/>
                  </a:lnTo>
                  <a:lnTo>
                    <a:pt x="581" y="1187"/>
                  </a:lnTo>
                  <a:lnTo>
                    <a:pt x="582" y="1188"/>
                  </a:lnTo>
                  <a:lnTo>
                    <a:pt x="583" y="1188"/>
                  </a:lnTo>
                  <a:lnTo>
                    <a:pt x="584" y="1187"/>
                  </a:lnTo>
                  <a:lnTo>
                    <a:pt x="584" y="1185"/>
                  </a:lnTo>
                  <a:lnTo>
                    <a:pt x="586" y="1184"/>
                  </a:lnTo>
                  <a:lnTo>
                    <a:pt x="587" y="1185"/>
                  </a:lnTo>
                  <a:lnTo>
                    <a:pt x="587" y="1184"/>
                  </a:lnTo>
                  <a:lnTo>
                    <a:pt x="587" y="1183"/>
                  </a:lnTo>
                  <a:lnTo>
                    <a:pt x="588" y="1183"/>
                  </a:lnTo>
                  <a:lnTo>
                    <a:pt x="588" y="1182"/>
                  </a:lnTo>
                  <a:lnTo>
                    <a:pt x="589" y="1181"/>
                  </a:lnTo>
                  <a:lnTo>
                    <a:pt x="590" y="1178"/>
                  </a:lnTo>
                  <a:lnTo>
                    <a:pt x="592" y="1177"/>
                  </a:lnTo>
                  <a:lnTo>
                    <a:pt x="593" y="1178"/>
                  </a:lnTo>
                  <a:lnTo>
                    <a:pt x="592" y="1179"/>
                  </a:lnTo>
                  <a:lnTo>
                    <a:pt x="593" y="1181"/>
                  </a:lnTo>
                  <a:lnTo>
                    <a:pt x="594" y="1181"/>
                  </a:lnTo>
                  <a:lnTo>
                    <a:pt x="594" y="1182"/>
                  </a:lnTo>
                  <a:lnTo>
                    <a:pt x="594" y="1183"/>
                  </a:lnTo>
                  <a:lnTo>
                    <a:pt x="593" y="1183"/>
                  </a:lnTo>
                  <a:lnTo>
                    <a:pt x="592" y="1185"/>
                  </a:lnTo>
                  <a:lnTo>
                    <a:pt x="593" y="1185"/>
                  </a:lnTo>
                  <a:lnTo>
                    <a:pt x="594" y="1185"/>
                  </a:lnTo>
                  <a:lnTo>
                    <a:pt x="593" y="1187"/>
                  </a:lnTo>
                  <a:lnTo>
                    <a:pt x="592" y="1187"/>
                  </a:lnTo>
                  <a:lnTo>
                    <a:pt x="592" y="1189"/>
                  </a:lnTo>
                  <a:lnTo>
                    <a:pt x="593" y="1190"/>
                  </a:lnTo>
                  <a:lnTo>
                    <a:pt x="593" y="1193"/>
                  </a:lnTo>
                  <a:lnTo>
                    <a:pt x="593" y="1195"/>
                  </a:lnTo>
                  <a:lnTo>
                    <a:pt x="594" y="1195"/>
                  </a:lnTo>
                  <a:lnTo>
                    <a:pt x="594" y="1196"/>
                  </a:lnTo>
                  <a:lnTo>
                    <a:pt x="593" y="1197"/>
                  </a:lnTo>
                  <a:lnTo>
                    <a:pt x="593" y="1199"/>
                  </a:lnTo>
                  <a:lnTo>
                    <a:pt x="595" y="1199"/>
                  </a:lnTo>
                  <a:lnTo>
                    <a:pt x="595" y="1197"/>
                  </a:lnTo>
                  <a:lnTo>
                    <a:pt x="595" y="1199"/>
                  </a:lnTo>
                  <a:lnTo>
                    <a:pt x="595" y="1200"/>
                  </a:lnTo>
                  <a:lnTo>
                    <a:pt x="598" y="1201"/>
                  </a:lnTo>
                  <a:lnTo>
                    <a:pt x="599" y="1201"/>
                  </a:lnTo>
                  <a:lnTo>
                    <a:pt x="599" y="1202"/>
                  </a:lnTo>
                  <a:lnTo>
                    <a:pt x="601" y="1203"/>
                  </a:lnTo>
                  <a:lnTo>
                    <a:pt x="601" y="1202"/>
                  </a:lnTo>
                  <a:lnTo>
                    <a:pt x="601" y="1205"/>
                  </a:lnTo>
                  <a:lnTo>
                    <a:pt x="604" y="1205"/>
                  </a:lnTo>
                  <a:lnTo>
                    <a:pt x="604" y="1206"/>
                  </a:lnTo>
                  <a:lnTo>
                    <a:pt x="605" y="1207"/>
                  </a:lnTo>
                  <a:lnTo>
                    <a:pt x="606" y="1207"/>
                  </a:lnTo>
                  <a:lnTo>
                    <a:pt x="608" y="1207"/>
                  </a:lnTo>
                  <a:lnTo>
                    <a:pt x="608" y="1205"/>
                  </a:lnTo>
                  <a:lnTo>
                    <a:pt x="607" y="1202"/>
                  </a:lnTo>
                  <a:lnTo>
                    <a:pt x="607" y="1201"/>
                  </a:lnTo>
                  <a:lnTo>
                    <a:pt x="608" y="1201"/>
                  </a:lnTo>
                  <a:lnTo>
                    <a:pt x="610" y="1200"/>
                  </a:lnTo>
                  <a:lnTo>
                    <a:pt x="611" y="1199"/>
                  </a:lnTo>
                  <a:lnTo>
                    <a:pt x="612" y="1197"/>
                  </a:lnTo>
                  <a:lnTo>
                    <a:pt x="614" y="1196"/>
                  </a:lnTo>
                  <a:lnTo>
                    <a:pt x="616" y="1197"/>
                  </a:lnTo>
                  <a:lnTo>
                    <a:pt x="616" y="1195"/>
                  </a:lnTo>
                  <a:lnTo>
                    <a:pt x="617" y="1194"/>
                  </a:lnTo>
                  <a:lnTo>
                    <a:pt x="617" y="1193"/>
                  </a:lnTo>
                  <a:lnTo>
                    <a:pt x="618" y="1191"/>
                  </a:lnTo>
                  <a:lnTo>
                    <a:pt x="619" y="1190"/>
                  </a:lnTo>
                  <a:lnTo>
                    <a:pt x="620" y="1190"/>
                  </a:lnTo>
                  <a:lnTo>
                    <a:pt x="622" y="1189"/>
                  </a:lnTo>
                  <a:lnTo>
                    <a:pt x="623" y="1190"/>
                  </a:lnTo>
                  <a:lnTo>
                    <a:pt x="623" y="1189"/>
                  </a:lnTo>
                  <a:lnTo>
                    <a:pt x="624" y="1189"/>
                  </a:lnTo>
                  <a:lnTo>
                    <a:pt x="625" y="1189"/>
                  </a:lnTo>
                  <a:lnTo>
                    <a:pt x="631" y="1189"/>
                  </a:lnTo>
                  <a:lnTo>
                    <a:pt x="634" y="1187"/>
                  </a:lnTo>
                  <a:lnTo>
                    <a:pt x="634" y="1185"/>
                  </a:lnTo>
                  <a:lnTo>
                    <a:pt x="635" y="1185"/>
                  </a:lnTo>
                  <a:lnTo>
                    <a:pt x="635" y="1187"/>
                  </a:lnTo>
                  <a:lnTo>
                    <a:pt x="637" y="1187"/>
                  </a:lnTo>
                  <a:lnTo>
                    <a:pt x="637" y="1188"/>
                  </a:lnTo>
                  <a:lnTo>
                    <a:pt x="639" y="1188"/>
                  </a:lnTo>
                  <a:lnTo>
                    <a:pt x="640" y="1188"/>
                  </a:lnTo>
                  <a:lnTo>
                    <a:pt x="641" y="1188"/>
                  </a:lnTo>
                  <a:lnTo>
                    <a:pt x="643" y="1188"/>
                  </a:lnTo>
                  <a:lnTo>
                    <a:pt x="645" y="1188"/>
                  </a:lnTo>
                  <a:lnTo>
                    <a:pt x="645" y="1185"/>
                  </a:lnTo>
                  <a:lnTo>
                    <a:pt x="645" y="1184"/>
                  </a:lnTo>
                  <a:lnTo>
                    <a:pt x="646" y="1184"/>
                  </a:lnTo>
                  <a:lnTo>
                    <a:pt x="648" y="1184"/>
                  </a:lnTo>
                  <a:lnTo>
                    <a:pt x="649" y="1183"/>
                  </a:lnTo>
                  <a:lnTo>
                    <a:pt x="651" y="1183"/>
                  </a:lnTo>
                  <a:lnTo>
                    <a:pt x="651" y="1181"/>
                  </a:lnTo>
                  <a:lnTo>
                    <a:pt x="652" y="1178"/>
                  </a:lnTo>
                  <a:lnTo>
                    <a:pt x="652" y="1181"/>
                  </a:lnTo>
                  <a:lnTo>
                    <a:pt x="653" y="1181"/>
                  </a:lnTo>
                  <a:lnTo>
                    <a:pt x="653" y="1179"/>
                  </a:lnTo>
                  <a:lnTo>
                    <a:pt x="657" y="1177"/>
                  </a:lnTo>
                  <a:lnTo>
                    <a:pt x="657" y="1175"/>
                  </a:lnTo>
                  <a:lnTo>
                    <a:pt x="658" y="1173"/>
                  </a:lnTo>
                  <a:lnTo>
                    <a:pt x="659" y="1171"/>
                  </a:lnTo>
                  <a:lnTo>
                    <a:pt x="659" y="1170"/>
                  </a:lnTo>
                  <a:lnTo>
                    <a:pt x="659" y="1167"/>
                  </a:lnTo>
                  <a:lnTo>
                    <a:pt x="658" y="1169"/>
                  </a:lnTo>
                  <a:lnTo>
                    <a:pt x="658" y="1166"/>
                  </a:lnTo>
                  <a:lnTo>
                    <a:pt x="658" y="1164"/>
                  </a:lnTo>
                  <a:lnTo>
                    <a:pt x="658" y="1163"/>
                  </a:lnTo>
                  <a:lnTo>
                    <a:pt x="658" y="1165"/>
                  </a:lnTo>
                  <a:lnTo>
                    <a:pt x="659" y="1165"/>
                  </a:lnTo>
                  <a:lnTo>
                    <a:pt x="660" y="1166"/>
                  </a:lnTo>
                  <a:lnTo>
                    <a:pt x="661" y="1167"/>
                  </a:lnTo>
                  <a:lnTo>
                    <a:pt x="661" y="1166"/>
                  </a:lnTo>
                  <a:lnTo>
                    <a:pt x="663" y="1165"/>
                  </a:lnTo>
                  <a:lnTo>
                    <a:pt x="663" y="1164"/>
                  </a:lnTo>
                  <a:lnTo>
                    <a:pt x="663" y="1161"/>
                  </a:lnTo>
                  <a:lnTo>
                    <a:pt x="664" y="1161"/>
                  </a:lnTo>
                  <a:lnTo>
                    <a:pt x="665" y="1161"/>
                  </a:lnTo>
                  <a:lnTo>
                    <a:pt x="666" y="1161"/>
                  </a:lnTo>
                  <a:lnTo>
                    <a:pt x="667" y="1161"/>
                  </a:lnTo>
                  <a:lnTo>
                    <a:pt x="667" y="1160"/>
                  </a:lnTo>
                  <a:lnTo>
                    <a:pt x="669" y="1159"/>
                  </a:lnTo>
                  <a:lnTo>
                    <a:pt x="669" y="1158"/>
                  </a:lnTo>
                  <a:lnTo>
                    <a:pt x="669" y="1157"/>
                  </a:lnTo>
                  <a:lnTo>
                    <a:pt x="669" y="1155"/>
                  </a:lnTo>
                  <a:lnTo>
                    <a:pt x="669" y="1154"/>
                  </a:lnTo>
                  <a:lnTo>
                    <a:pt x="670" y="1154"/>
                  </a:lnTo>
                  <a:lnTo>
                    <a:pt x="671" y="1153"/>
                  </a:lnTo>
                  <a:lnTo>
                    <a:pt x="673" y="1153"/>
                  </a:lnTo>
                  <a:lnTo>
                    <a:pt x="673" y="1152"/>
                  </a:lnTo>
                  <a:lnTo>
                    <a:pt x="673" y="1151"/>
                  </a:lnTo>
                  <a:lnTo>
                    <a:pt x="675" y="1148"/>
                  </a:lnTo>
                  <a:lnTo>
                    <a:pt x="675" y="1146"/>
                  </a:lnTo>
                  <a:lnTo>
                    <a:pt x="673" y="1146"/>
                  </a:lnTo>
                  <a:lnTo>
                    <a:pt x="672" y="1145"/>
                  </a:lnTo>
                  <a:lnTo>
                    <a:pt x="672" y="1143"/>
                  </a:lnTo>
                  <a:lnTo>
                    <a:pt x="673" y="1142"/>
                  </a:lnTo>
                  <a:lnTo>
                    <a:pt x="673" y="1141"/>
                  </a:lnTo>
                  <a:lnTo>
                    <a:pt x="675" y="1141"/>
                  </a:lnTo>
                  <a:lnTo>
                    <a:pt x="676" y="1140"/>
                  </a:lnTo>
                  <a:lnTo>
                    <a:pt x="677" y="1141"/>
                  </a:lnTo>
                  <a:lnTo>
                    <a:pt x="678" y="1141"/>
                  </a:lnTo>
                  <a:lnTo>
                    <a:pt x="681" y="1137"/>
                  </a:lnTo>
                  <a:lnTo>
                    <a:pt x="682" y="1136"/>
                  </a:lnTo>
                  <a:lnTo>
                    <a:pt x="682" y="1135"/>
                  </a:lnTo>
                  <a:lnTo>
                    <a:pt x="683" y="1135"/>
                  </a:lnTo>
                  <a:lnTo>
                    <a:pt x="683" y="1136"/>
                  </a:lnTo>
                  <a:lnTo>
                    <a:pt x="684" y="1136"/>
                  </a:lnTo>
                  <a:lnTo>
                    <a:pt x="685" y="1136"/>
                  </a:lnTo>
                  <a:lnTo>
                    <a:pt x="685" y="1137"/>
                  </a:lnTo>
                  <a:lnTo>
                    <a:pt x="687" y="1137"/>
                  </a:lnTo>
                  <a:lnTo>
                    <a:pt x="688" y="1136"/>
                  </a:lnTo>
                  <a:lnTo>
                    <a:pt x="689" y="1136"/>
                  </a:lnTo>
                  <a:lnTo>
                    <a:pt x="690" y="1135"/>
                  </a:lnTo>
                  <a:lnTo>
                    <a:pt x="692" y="1135"/>
                  </a:lnTo>
                  <a:lnTo>
                    <a:pt x="694" y="1134"/>
                  </a:lnTo>
                  <a:lnTo>
                    <a:pt x="695" y="1135"/>
                  </a:lnTo>
                  <a:lnTo>
                    <a:pt x="696" y="1135"/>
                  </a:lnTo>
                  <a:lnTo>
                    <a:pt x="698" y="1135"/>
                  </a:lnTo>
                  <a:lnTo>
                    <a:pt x="699" y="1134"/>
                  </a:lnTo>
                  <a:lnTo>
                    <a:pt x="700" y="1134"/>
                  </a:lnTo>
                  <a:lnTo>
                    <a:pt x="701" y="1134"/>
                  </a:lnTo>
                  <a:lnTo>
                    <a:pt x="702" y="1134"/>
                  </a:lnTo>
                  <a:lnTo>
                    <a:pt x="702" y="1133"/>
                  </a:lnTo>
                  <a:lnTo>
                    <a:pt x="702" y="1130"/>
                  </a:lnTo>
                  <a:lnTo>
                    <a:pt x="701" y="1129"/>
                  </a:lnTo>
                  <a:lnTo>
                    <a:pt x="702" y="1129"/>
                  </a:lnTo>
                  <a:lnTo>
                    <a:pt x="702" y="1126"/>
                  </a:lnTo>
                  <a:lnTo>
                    <a:pt x="702" y="1125"/>
                  </a:lnTo>
                  <a:lnTo>
                    <a:pt x="704" y="1124"/>
                  </a:lnTo>
                  <a:lnTo>
                    <a:pt x="705" y="1123"/>
                  </a:lnTo>
                  <a:lnTo>
                    <a:pt x="705" y="1122"/>
                  </a:lnTo>
                  <a:lnTo>
                    <a:pt x="706" y="1119"/>
                  </a:lnTo>
                  <a:lnTo>
                    <a:pt x="707" y="1120"/>
                  </a:lnTo>
                  <a:lnTo>
                    <a:pt x="707" y="1122"/>
                  </a:lnTo>
                  <a:lnTo>
                    <a:pt x="708" y="1119"/>
                  </a:lnTo>
                  <a:lnTo>
                    <a:pt x="708" y="1118"/>
                  </a:lnTo>
                  <a:lnTo>
                    <a:pt x="710" y="1118"/>
                  </a:lnTo>
                  <a:lnTo>
                    <a:pt x="710" y="1119"/>
                  </a:lnTo>
                  <a:lnTo>
                    <a:pt x="711" y="1119"/>
                  </a:lnTo>
                  <a:lnTo>
                    <a:pt x="712" y="1119"/>
                  </a:lnTo>
                  <a:lnTo>
                    <a:pt x="713" y="1119"/>
                  </a:lnTo>
                  <a:lnTo>
                    <a:pt x="714" y="1119"/>
                  </a:lnTo>
                  <a:lnTo>
                    <a:pt x="716" y="1119"/>
                  </a:lnTo>
                  <a:lnTo>
                    <a:pt x="717" y="1119"/>
                  </a:lnTo>
                  <a:lnTo>
                    <a:pt x="718" y="1119"/>
                  </a:lnTo>
                  <a:lnTo>
                    <a:pt x="719" y="1120"/>
                  </a:lnTo>
                  <a:lnTo>
                    <a:pt x="719" y="1119"/>
                  </a:lnTo>
                  <a:lnTo>
                    <a:pt x="720" y="1120"/>
                  </a:lnTo>
                  <a:lnTo>
                    <a:pt x="722" y="1120"/>
                  </a:lnTo>
                  <a:lnTo>
                    <a:pt x="723" y="1119"/>
                  </a:lnTo>
                  <a:lnTo>
                    <a:pt x="724" y="1118"/>
                  </a:lnTo>
                  <a:lnTo>
                    <a:pt x="725" y="1118"/>
                  </a:lnTo>
                  <a:lnTo>
                    <a:pt x="725" y="1117"/>
                  </a:lnTo>
                  <a:lnTo>
                    <a:pt x="726" y="1116"/>
                  </a:lnTo>
                  <a:lnTo>
                    <a:pt x="726" y="1114"/>
                  </a:lnTo>
                  <a:lnTo>
                    <a:pt x="726" y="1113"/>
                  </a:lnTo>
                  <a:lnTo>
                    <a:pt x="726" y="1112"/>
                  </a:lnTo>
                  <a:lnTo>
                    <a:pt x="728" y="1111"/>
                  </a:lnTo>
                  <a:lnTo>
                    <a:pt x="728" y="1113"/>
                  </a:lnTo>
                  <a:lnTo>
                    <a:pt x="729" y="1113"/>
                  </a:lnTo>
                  <a:lnTo>
                    <a:pt x="729" y="1111"/>
                  </a:lnTo>
                  <a:lnTo>
                    <a:pt x="729" y="1110"/>
                  </a:lnTo>
                  <a:lnTo>
                    <a:pt x="730" y="1108"/>
                  </a:lnTo>
                  <a:lnTo>
                    <a:pt x="731" y="1108"/>
                  </a:lnTo>
                  <a:lnTo>
                    <a:pt x="732" y="1107"/>
                  </a:lnTo>
                  <a:lnTo>
                    <a:pt x="734" y="1106"/>
                  </a:lnTo>
                  <a:lnTo>
                    <a:pt x="735" y="1106"/>
                  </a:lnTo>
                  <a:lnTo>
                    <a:pt x="736" y="1105"/>
                  </a:lnTo>
                  <a:lnTo>
                    <a:pt x="738" y="1105"/>
                  </a:lnTo>
                  <a:lnTo>
                    <a:pt x="740" y="1104"/>
                  </a:lnTo>
                  <a:lnTo>
                    <a:pt x="743" y="1104"/>
                  </a:lnTo>
                  <a:lnTo>
                    <a:pt x="746" y="1102"/>
                  </a:lnTo>
                  <a:lnTo>
                    <a:pt x="748" y="1101"/>
                  </a:lnTo>
                  <a:lnTo>
                    <a:pt x="751" y="1100"/>
                  </a:lnTo>
                  <a:lnTo>
                    <a:pt x="749" y="1099"/>
                  </a:lnTo>
                  <a:lnTo>
                    <a:pt x="748" y="1098"/>
                  </a:lnTo>
                  <a:lnTo>
                    <a:pt x="747" y="1096"/>
                  </a:lnTo>
                  <a:lnTo>
                    <a:pt x="749" y="1098"/>
                  </a:lnTo>
                  <a:lnTo>
                    <a:pt x="751" y="1098"/>
                  </a:lnTo>
                  <a:lnTo>
                    <a:pt x="751" y="1095"/>
                  </a:lnTo>
                  <a:lnTo>
                    <a:pt x="752" y="1094"/>
                  </a:lnTo>
                  <a:lnTo>
                    <a:pt x="752" y="1093"/>
                  </a:lnTo>
                  <a:lnTo>
                    <a:pt x="751" y="1089"/>
                  </a:lnTo>
                  <a:lnTo>
                    <a:pt x="751" y="1088"/>
                  </a:lnTo>
                  <a:lnTo>
                    <a:pt x="749" y="1087"/>
                  </a:lnTo>
                  <a:lnTo>
                    <a:pt x="751" y="1087"/>
                  </a:lnTo>
                  <a:lnTo>
                    <a:pt x="751" y="1086"/>
                  </a:lnTo>
                  <a:lnTo>
                    <a:pt x="751" y="1084"/>
                  </a:lnTo>
                  <a:lnTo>
                    <a:pt x="751" y="1082"/>
                  </a:lnTo>
                  <a:lnTo>
                    <a:pt x="752" y="1081"/>
                  </a:lnTo>
                  <a:lnTo>
                    <a:pt x="753" y="1080"/>
                  </a:lnTo>
                  <a:lnTo>
                    <a:pt x="753" y="1078"/>
                  </a:lnTo>
                  <a:lnTo>
                    <a:pt x="752" y="1077"/>
                  </a:lnTo>
                  <a:lnTo>
                    <a:pt x="753" y="1070"/>
                  </a:lnTo>
                  <a:lnTo>
                    <a:pt x="753" y="1068"/>
                  </a:lnTo>
                  <a:lnTo>
                    <a:pt x="754" y="1068"/>
                  </a:lnTo>
                  <a:lnTo>
                    <a:pt x="753" y="1066"/>
                  </a:lnTo>
                  <a:lnTo>
                    <a:pt x="754" y="1066"/>
                  </a:lnTo>
                  <a:lnTo>
                    <a:pt x="754" y="1065"/>
                  </a:lnTo>
                  <a:lnTo>
                    <a:pt x="755" y="1066"/>
                  </a:lnTo>
                  <a:lnTo>
                    <a:pt x="755" y="1065"/>
                  </a:lnTo>
                  <a:lnTo>
                    <a:pt x="757" y="1065"/>
                  </a:lnTo>
                  <a:lnTo>
                    <a:pt x="758" y="1064"/>
                  </a:lnTo>
                  <a:lnTo>
                    <a:pt x="759" y="1064"/>
                  </a:lnTo>
                  <a:lnTo>
                    <a:pt x="760" y="1063"/>
                  </a:lnTo>
                  <a:lnTo>
                    <a:pt x="760" y="1062"/>
                  </a:lnTo>
                  <a:lnTo>
                    <a:pt x="761" y="1062"/>
                  </a:lnTo>
                  <a:lnTo>
                    <a:pt x="764" y="1059"/>
                  </a:lnTo>
                  <a:lnTo>
                    <a:pt x="765" y="1058"/>
                  </a:lnTo>
                  <a:lnTo>
                    <a:pt x="766" y="1058"/>
                  </a:lnTo>
                  <a:lnTo>
                    <a:pt x="766" y="1056"/>
                  </a:lnTo>
                  <a:lnTo>
                    <a:pt x="765" y="1054"/>
                  </a:lnTo>
                  <a:lnTo>
                    <a:pt x="763" y="1056"/>
                  </a:lnTo>
                  <a:lnTo>
                    <a:pt x="760" y="1056"/>
                  </a:lnTo>
                  <a:lnTo>
                    <a:pt x="757" y="1057"/>
                  </a:lnTo>
                  <a:lnTo>
                    <a:pt x="752" y="1058"/>
                  </a:lnTo>
                  <a:lnTo>
                    <a:pt x="748" y="1060"/>
                  </a:lnTo>
                  <a:lnTo>
                    <a:pt x="743" y="1062"/>
                  </a:lnTo>
                  <a:lnTo>
                    <a:pt x="741" y="1064"/>
                  </a:lnTo>
                  <a:lnTo>
                    <a:pt x="735" y="1065"/>
                  </a:lnTo>
                  <a:lnTo>
                    <a:pt x="730" y="1066"/>
                  </a:lnTo>
                  <a:lnTo>
                    <a:pt x="726" y="1068"/>
                  </a:lnTo>
                  <a:lnTo>
                    <a:pt x="722" y="1069"/>
                  </a:lnTo>
                  <a:lnTo>
                    <a:pt x="719" y="1069"/>
                  </a:lnTo>
                  <a:lnTo>
                    <a:pt x="712" y="1070"/>
                  </a:lnTo>
                  <a:lnTo>
                    <a:pt x="706" y="1069"/>
                  </a:lnTo>
                  <a:lnTo>
                    <a:pt x="701" y="1069"/>
                  </a:lnTo>
                  <a:lnTo>
                    <a:pt x="695" y="1068"/>
                  </a:lnTo>
                  <a:lnTo>
                    <a:pt x="692" y="1068"/>
                  </a:lnTo>
                  <a:lnTo>
                    <a:pt x="688" y="1066"/>
                  </a:lnTo>
                  <a:lnTo>
                    <a:pt x="677" y="1066"/>
                  </a:lnTo>
                  <a:lnTo>
                    <a:pt x="676" y="1065"/>
                  </a:lnTo>
                  <a:lnTo>
                    <a:pt x="672" y="1064"/>
                  </a:lnTo>
                  <a:lnTo>
                    <a:pt x="670" y="1062"/>
                  </a:lnTo>
                  <a:lnTo>
                    <a:pt x="670" y="1059"/>
                  </a:lnTo>
                  <a:lnTo>
                    <a:pt x="669" y="1057"/>
                  </a:lnTo>
                  <a:lnTo>
                    <a:pt x="669" y="1056"/>
                  </a:lnTo>
                  <a:lnTo>
                    <a:pt x="667" y="1054"/>
                  </a:lnTo>
                  <a:lnTo>
                    <a:pt x="667" y="1052"/>
                  </a:lnTo>
                  <a:lnTo>
                    <a:pt x="669" y="1052"/>
                  </a:lnTo>
                  <a:lnTo>
                    <a:pt x="670" y="1054"/>
                  </a:lnTo>
                  <a:lnTo>
                    <a:pt x="671" y="1053"/>
                  </a:lnTo>
                  <a:lnTo>
                    <a:pt x="672" y="1053"/>
                  </a:lnTo>
                  <a:lnTo>
                    <a:pt x="673" y="1052"/>
                  </a:lnTo>
                  <a:lnTo>
                    <a:pt x="675" y="1052"/>
                  </a:lnTo>
                  <a:lnTo>
                    <a:pt x="676" y="1051"/>
                  </a:lnTo>
                  <a:lnTo>
                    <a:pt x="676" y="1050"/>
                  </a:lnTo>
                  <a:lnTo>
                    <a:pt x="677" y="1048"/>
                  </a:lnTo>
                  <a:lnTo>
                    <a:pt x="678" y="1048"/>
                  </a:lnTo>
                  <a:lnTo>
                    <a:pt x="679" y="1048"/>
                  </a:lnTo>
                  <a:lnTo>
                    <a:pt x="681" y="1047"/>
                  </a:lnTo>
                  <a:lnTo>
                    <a:pt x="681" y="1048"/>
                  </a:lnTo>
                  <a:lnTo>
                    <a:pt x="682" y="1048"/>
                  </a:lnTo>
                  <a:lnTo>
                    <a:pt x="684" y="1048"/>
                  </a:lnTo>
                  <a:lnTo>
                    <a:pt x="685" y="1048"/>
                  </a:lnTo>
                  <a:lnTo>
                    <a:pt x="688" y="1047"/>
                  </a:lnTo>
                  <a:lnTo>
                    <a:pt x="689" y="1047"/>
                  </a:lnTo>
                  <a:lnTo>
                    <a:pt x="690" y="1046"/>
                  </a:lnTo>
                  <a:lnTo>
                    <a:pt x="690" y="1044"/>
                  </a:lnTo>
                  <a:lnTo>
                    <a:pt x="692" y="1042"/>
                  </a:lnTo>
                  <a:lnTo>
                    <a:pt x="692" y="1044"/>
                  </a:lnTo>
                  <a:lnTo>
                    <a:pt x="692" y="1045"/>
                  </a:lnTo>
                  <a:lnTo>
                    <a:pt x="692" y="1046"/>
                  </a:lnTo>
                  <a:lnTo>
                    <a:pt x="693" y="1045"/>
                  </a:lnTo>
                  <a:lnTo>
                    <a:pt x="694" y="1044"/>
                  </a:lnTo>
                  <a:lnTo>
                    <a:pt x="694" y="1042"/>
                  </a:lnTo>
                  <a:lnTo>
                    <a:pt x="695" y="1041"/>
                  </a:lnTo>
                  <a:lnTo>
                    <a:pt x="695" y="1044"/>
                  </a:lnTo>
                  <a:lnTo>
                    <a:pt x="696" y="1044"/>
                  </a:lnTo>
                  <a:lnTo>
                    <a:pt x="696" y="1042"/>
                  </a:lnTo>
                  <a:lnTo>
                    <a:pt x="698" y="1042"/>
                  </a:lnTo>
                  <a:lnTo>
                    <a:pt x="700" y="1041"/>
                  </a:lnTo>
                  <a:lnTo>
                    <a:pt x="701" y="1040"/>
                  </a:lnTo>
                  <a:lnTo>
                    <a:pt x="701" y="1038"/>
                  </a:lnTo>
                  <a:lnTo>
                    <a:pt x="702" y="1038"/>
                  </a:lnTo>
                  <a:lnTo>
                    <a:pt x="702" y="1035"/>
                  </a:lnTo>
                  <a:lnTo>
                    <a:pt x="704" y="1034"/>
                  </a:lnTo>
                  <a:lnTo>
                    <a:pt x="705" y="1034"/>
                  </a:lnTo>
                  <a:lnTo>
                    <a:pt x="706" y="1033"/>
                  </a:lnTo>
                  <a:lnTo>
                    <a:pt x="706" y="1030"/>
                  </a:lnTo>
                  <a:lnTo>
                    <a:pt x="707" y="1029"/>
                  </a:lnTo>
                  <a:lnTo>
                    <a:pt x="708" y="1029"/>
                  </a:lnTo>
                  <a:lnTo>
                    <a:pt x="710" y="1028"/>
                  </a:lnTo>
                  <a:lnTo>
                    <a:pt x="710" y="1027"/>
                  </a:lnTo>
                  <a:lnTo>
                    <a:pt x="710" y="1026"/>
                  </a:lnTo>
                  <a:lnTo>
                    <a:pt x="710" y="1027"/>
                  </a:lnTo>
                  <a:lnTo>
                    <a:pt x="711" y="1026"/>
                  </a:lnTo>
                  <a:lnTo>
                    <a:pt x="711" y="1024"/>
                  </a:lnTo>
                  <a:lnTo>
                    <a:pt x="711" y="1023"/>
                  </a:lnTo>
                  <a:lnTo>
                    <a:pt x="712" y="1022"/>
                  </a:lnTo>
                  <a:lnTo>
                    <a:pt x="712" y="1021"/>
                  </a:lnTo>
                  <a:lnTo>
                    <a:pt x="711" y="1019"/>
                  </a:lnTo>
                  <a:lnTo>
                    <a:pt x="708" y="1021"/>
                  </a:lnTo>
                  <a:lnTo>
                    <a:pt x="706" y="1021"/>
                  </a:lnTo>
                  <a:lnTo>
                    <a:pt x="699" y="1021"/>
                  </a:lnTo>
                  <a:lnTo>
                    <a:pt x="693" y="1022"/>
                  </a:lnTo>
                  <a:lnTo>
                    <a:pt x="690" y="1022"/>
                  </a:lnTo>
                  <a:lnTo>
                    <a:pt x="687" y="1022"/>
                  </a:lnTo>
                  <a:lnTo>
                    <a:pt x="684" y="1022"/>
                  </a:lnTo>
                  <a:lnTo>
                    <a:pt x="682" y="1019"/>
                  </a:lnTo>
                  <a:lnTo>
                    <a:pt x="682" y="1018"/>
                  </a:lnTo>
                  <a:lnTo>
                    <a:pt x="681" y="1017"/>
                  </a:lnTo>
                  <a:lnTo>
                    <a:pt x="682" y="1016"/>
                  </a:lnTo>
                  <a:lnTo>
                    <a:pt x="682" y="1013"/>
                  </a:lnTo>
                  <a:lnTo>
                    <a:pt x="683" y="1012"/>
                  </a:lnTo>
                  <a:lnTo>
                    <a:pt x="684" y="1011"/>
                  </a:lnTo>
                  <a:lnTo>
                    <a:pt x="685" y="1010"/>
                  </a:lnTo>
                  <a:lnTo>
                    <a:pt x="687" y="1009"/>
                  </a:lnTo>
                  <a:lnTo>
                    <a:pt x="688" y="1010"/>
                  </a:lnTo>
                  <a:lnTo>
                    <a:pt x="689" y="1009"/>
                  </a:lnTo>
                  <a:lnTo>
                    <a:pt x="689" y="1007"/>
                  </a:lnTo>
                  <a:lnTo>
                    <a:pt x="690" y="1007"/>
                  </a:lnTo>
                  <a:lnTo>
                    <a:pt x="690" y="1006"/>
                  </a:lnTo>
                  <a:lnTo>
                    <a:pt x="692" y="1006"/>
                  </a:lnTo>
                  <a:lnTo>
                    <a:pt x="693" y="1006"/>
                  </a:lnTo>
                  <a:lnTo>
                    <a:pt x="694" y="1006"/>
                  </a:lnTo>
                  <a:lnTo>
                    <a:pt x="695" y="1006"/>
                  </a:lnTo>
                  <a:lnTo>
                    <a:pt x="695" y="1005"/>
                  </a:lnTo>
                  <a:lnTo>
                    <a:pt x="696" y="1005"/>
                  </a:lnTo>
                  <a:lnTo>
                    <a:pt x="699" y="1004"/>
                  </a:lnTo>
                  <a:lnTo>
                    <a:pt x="699" y="1003"/>
                  </a:lnTo>
                  <a:lnTo>
                    <a:pt x="700" y="1003"/>
                  </a:lnTo>
                  <a:lnTo>
                    <a:pt x="701" y="1001"/>
                  </a:lnTo>
                  <a:lnTo>
                    <a:pt x="701" y="1000"/>
                  </a:lnTo>
                  <a:lnTo>
                    <a:pt x="704" y="1000"/>
                  </a:lnTo>
                  <a:lnTo>
                    <a:pt x="704" y="999"/>
                  </a:lnTo>
                  <a:lnTo>
                    <a:pt x="706" y="998"/>
                  </a:lnTo>
                  <a:lnTo>
                    <a:pt x="707" y="997"/>
                  </a:lnTo>
                  <a:lnTo>
                    <a:pt x="708" y="997"/>
                  </a:lnTo>
                  <a:lnTo>
                    <a:pt x="711" y="995"/>
                  </a:lnTo>
                  <a:lnTo>
                    <a:pt x="711" y="994"/>
                  </a:lnTo>
                  <a:lnTo>
                    <a:pt x="711" y="993"/>
                  </a:lnTo>
                  <a:lnTo>
                    <a:pt x="713" y="991"/>
                  </a:lnTo>
                  <a:lnTo>
                    <a:pt x="714" y="989"/>
                  </a:lnTo>
                  <a:lnTo>
                    <a:pt x="716" y="988"/>
                  </a:lnTo>
                  <a:lnTo>
                    <a:pt x="716" y="987"/>
                  </a:lnTo>
                  <a:lnTo>
                    <a:pt x="716" y="985"/>
                  </a:lnTo>
                  <a:lnTo>
                    <a:pt x="716" y="982"/>
                  </a:lnTo>
                  <a:lnTo>
                    <a:pt x="717" y="981"/>
                  </a:lnTo>
                  <a:lnTo>
                    <a:pt x="718" y="979"/>
                  </a:lnTo>
                  <a:lnTo>
                    <a:pt x="719" y="977"/>
                  </a:lnTo>
                  <a:lnTo>
                    <a:pt x="719" y="976"/>
                  </a:lnTo>
                  <a:lnTo>
                    <a:pt x="719" y="975"/>
                  </a:lnTo>
                  <a:lnTo>
                    <a:pt x="719" y="974"/>
                  </a:lnTo>
                  <a:lnTo>
                    <a:pt x="718" y="974"/>
                  </a:lnTo>
                  <a:lnTo>
                    <a:pt x="716" y="976"/>
                  </a:lnTo>
                  <a:lnTo>
                    <a:pt x="713" y="977"/>
                  </a:lnTo>
                  <a:lnTo>
                    <a:pt x="712" y="977"/>
                  </a:lnTo>
                  <a:lnTo>
                    <a:pt x="711" y="977"/>
                  </a:lnTo>
                  <a:lnTo>
                    <a:pt x="712" y="976"/>
                  </a:lnTo>
                  <a:lnTo>
                    <a:pt x="713" y="976"/>
                  </a:lnTo>
                  <a:lnTo>
                    <a:pt x="714" y="975"/>
                  </a:lnTo>
                  <a:lnTo>
                    <a:pt x="716" y="975"/>
                  </a:lnTo>
                  <a:lnTo>
                    <a:pt x="717" y="974"/>
                  </a:lnTo>
                  <a:lnTo>
                    <a:pt x="718" y="973"/>
                  </a:lnTo>
                  <a:lnTo>
                    <a:pt x="717" y="973"/>
                  </a:lnTo>
                  <a:lnTo>
                    <a:pt x="714" y="971"/>
                  </a:lnTo>
                  <a:lnTo>
                    <a:pt x="714" y="970"/>
                  </a:lnTo>
                  <a:lnTo>
                    <a:pt x="713" y="970"/>
                  </a:lnTo>
                  <a:lnTo>
                    <a:pt x="711" y="969"/>
                  </a:lnTo>
                  <a:lnTo>
                    <a:pt x="710" y="968"/>
                  </a:lnTo>
                  <a:lnTo>
                    <a:pt x="710" y="967"/>
                  </a:lnTo>
                  <a:lnTo>
                    <a:pt x="711" y="968"/>
                  </a:lnTo>
                  <a:lnTo>
                    <a:pt x="713" y="968"/>
                  </a:lnTo>
                  <a:lnTo>
                    <a:pt x="714" y="967"/>
                  </a:lnTo>
                  <a:lnTo>
                    <a:pt x="716" y="965"/>
                  </a:lnTo>
                  <a:lnTo>
                    <a:pt x="717" y="964"/>
                  </a:lnTo>
                  <a:lnTo>
                    <a:pt x="714" y="965"/>
                  </a:lnTo>
                  <a:lnTo>
                    <a:pt x="713" y="965"/>
                  </a:lnTo>
                  <a:lnTo>
                    <a:pt x="713" y="964"/>
                  </a:lnTo>
                  <a:lnTo>
                    <a:pt x="714" y="963"/>
                  </a:lnTo>
                  <a:lnTo>
                    <a:pt x="716" y="963"/>
                  </a:lnTo>
                  <a:lnTo>
                    <a:pt x="717" y="962"/>
                  </a:lnTo>
                  <a:lnTo>
                    <a:pt x="714" y="962"/>
                  </a:lnTo>
                  <a:lnTo>
                    <a:pt x="714" y="961"/>
                  </a:lnTo>
                  <a:lnTo>
                    <a:pt x="714" y="959"/>
                  </a:lnTo>
                  <a:lnTo>
                    <a:pt x="713" y="958"/>
                  </a:lnTo>
                  <a:lnTo>
                    <a:pt x="712" y="959"/>
                  </a:lnTo>
                  <a:lnTo>
                    <a:pt x="711" y="959"/>
                  </a:lnTo>
                  <a:lnTo>
                    <a:pt x="710" y="958"/>
                  </a:lnTo>
                  <a:lnTo>
                    <a:pt x="708" y="958"/>
                  </a:lnTo>
                  <a:lnTo>
                    <a:pt x="708" y="961"/>
                  </a:lnTo>
                  <a:lnTo>
                    <a:pt x="708" y="964"/>
                  </a:lnTo>
                  <a:lnTo>
                    <a:pt x="707" y="965"/>
                  </a:lnTo>
                  <a:lnTo>
                    <a:pt x="705" y="967"/>
                  </a:lnTo>
                  <a:lnTo>
                    <a:pt x="704" y="969"/>
                  </a:lnTo>
                  <a:lnTo>
                    <a:pt x="704" y="970"/>
                  </a:lnTo>
                  <a:lnTo>
                    <a:pt x="701" y="971"/>
                  </a:lnTo>
                  <a:lnTo>
                    <a:pt x="699" y="971"/>
                  </a:lnTo>
                  <a:lnTo>
                    <a:pt x="698" y="973"/>
                  </a:lnTo>
                  <a:lnTo>
                    <a:pt x="696" y="974"/>
                  </a:lnTo>
                  <a:lnTo>
                    <a:pt x="695" y="974"/>
                  </a:lnTo>
                  <a:lnTo>
                    <a:pt x="693" y="975"/>
                  </a:lnTo>
                  <a:lnTo>
                    <a:pt x="690" y="976"/>
                  </a:lnTo>
                  <a:lnTo>
                    <a:pt x="689" y="976"/>
                  </a:lnTo>
                  <a:lnTo>
                    <a:pt x="685" y="977"/>
                  </a:lnTo>
                  <a:lnTo>
                    <a:pt x="684" y="977"/>
                  </a:lnTo>
                  <a:lnTo>
                    <a:pt x="682" y="979"/>
                  </a:lnTo>
                  <a:lnTo>
                    <a:pt x="681" y="977"/>
                  </a:lnTo>
                  <a:lnTo>
                    <a:pt x="682" y="977"/>
                  </a:lnTo>
                  <a:lnTo>
                    <a:pt x="683" y="975"/>
                  </a:lnTo>
                  <a:lnTo>
                    <a:pt x="683" y="974"/>
                  </a:lnTo>
                  <a:lnTo>
                    <a:pt x="682" y="973"/>
                  </a:lnTo>
                  <a:lnTo>
                    <a:pt x="682" y="971"/>
                  </a:lnTo>
                  <a:lnTo>
                    <a:pt x="681" y="970"/>
                  </a:lnTo>
                  <a:lnTo>
                    <a:pt x="679" y="969"/>
                  </a:lnTo>
                  <a:lnTo>
                    <a:pt x="681" y="969"/>
                  </a:lnTo>
                  <a:lnTo>
                    <a:pt x="682" y="969"/>
                  </a:lnTo>
                  <a:lnTo>
                    <a:pt x="682" y="968"/>
                  </a:lnTo>
                  <a:lnTo>
                    <a:pt x="683" y="968"/>
                  </a:lnTo>
                  <a:lnTo>
                    <a:pt x="684" y="968"/>
                  </a:lnTo>
                  <a:lnTo>
                    <a:pt x="684" y="967"/>
                  </a:lnTo>
                  <a:lnTo>
                    <a:pt x="682" y="965"/>
                  </a:lnTo>
                  <a:lnTo>
                    <a:pt x="683" y="964"/>
                  </a:lnTo>
                  <a:lnTo>
                    <a:pt x="683" y="962"/>
                  </a:lnTo>
                  <a:lnTo>
                    <a:pt x="683" y="961"/>
                  </a:lnTo>
                  <a:lnTo>
                    <a:pt x="682" y="962"/>
                  </a:lnTo>
                  <a:lnTo>
                    <a:pt x="681" y="962"/>
                  </a:lnTo>
                  <a:lnTo>
                    <a:pt x="679" y="962"/>
                  </a:lnTo>
                  <a:lnTo>
                    <a:pt x="678" y="962"/>
                  </a:lnTo>
                  <a:lnTo>
                    <a:pt x="677" y="962"/>
                  </a:lnTo>
                  <a:lnTo>
                    <a:pt x="675" y="963"/>
                  </a:lnTo>
                  <a:lnTo>
                    <a:pt x="673" y="963"/>
                  </a:lnTo>
                  <a:lnTo>
                    <a:pt x="672" y="963"/>
                  </a:lnTo>
                  <a:lnTo>
                    <a:pt x="673" y="962"/>
                  </a:lnTo>
                  <a:lnTo>
                    <a:pt x="675" y="962"/>
                  </a:lnTo>
                  <a:lnTo>
                    <a:pt x="675" y="961"/>
                  </a:lnTo>
                  <a:lnTo>
                    <a:pt x="675" y="959"/>
                  </a:lnTo>
                  <a:lnTo>
                    <a:pt x="673" y="958"/>
                  </a:lnTo>
                  <a:lnTo>
                    <a:pt x="673" y="956"/>
                  </a:lnTo>
                  <a:lnTo>
                    <a:pt x="672" y="953"/>
                  </a:lnTo>
                  <a:lnTo>
                    <a:pt x="671" y="952"/>
                  </a:lnTo>
                  <a:lnTo>
                    <a:pt x="670" y="952"/>
                  </a:lnTo>
                  <a:lnTo>
                    <a:pt x="670" y="951"/>
                  </a:lnTo>
                  <a:lnTo>
                    <a:pt x="669" y="952"/>
                  </a:lnTo>
                  <a:lnTo>
                    <a:pt x="669" y="953"/>
                  </a:lnTo>
                  <a:lnTo>
                    <a:pt x="669" y="955"/>
                  </a:lnTo>
                  <a:lnTo>
                    <a:pt x="667" y="956"/>
                  </a:lnTo>
                  <a:lnTo>
                    <a:pt x="667" y="957"/>
                  </a:lnTo>
                  <a:lnTo>
                    <a:pt x="666" y="958"/>
                  </a:lnTo>
                  <a:lnTo>
                    <a:pt x="665" y="958"/>
                  </a:lnTo>
                  <a:lnTo>
                    <a:pt x="665" y="957"/>
                  </a:lnTo>
                  <a:lnTo>
                    <a:pt x="664" y="959"/>
                  </a:lnTo>
                  <a:lnTo>
                    <a:pt x="663" y="959"/>
                  </a:lnTo>
                  <a:lnTo>
                    <a:pt x="661" y="962"/>
                  </a:lnTo>
                  <a:lnTo>
                    <a:pt x="663" y="962"/>
                  </a:lnTo>
                  <a:lnTo>
                    <a:pt x="665" y="961"/>
                  </a:lnTo>
                  <a:lnTo>
                    <a:pt x="665" y="962"/>
                  </a:lnTo>
                  <a:lnTo>
                    <a:pt x="664" y="962"/>
                  </a:lnTo>
                  <a:lnTo>
                    <a:pt x="663" y="963"/>
                  </a:lnTo>
                  <a:lnTo>
                    <a:pt x="663" y="965"/>
                  </a:lnTo>
                  <a:lnTo>
                    <a:pt x="664" y="965"/>
                  </a:lnTo>
                  <a:lnTo>
                    <a:pt x="664" y="967"/>
                  </a:lnTo>
                  <a:lnTo>
                    <a:pt x="663" y="967"/>
                  </a:lnTo>
                  <a:lnTo>
                    <a:pt x="663" y="969"/>
                  </a:lnTo>
                  <a:lnTo>
                    <a:pt x="661" y="970"/>
                  </a:lnTo>
                  <a:lnTo>
                    <a:pt x="659" y="970"/>
                  </a:lnTo>
                  <a:lnTo>
                    <a:pt x="659" y="971"/>
                  </a:lnTo>
                  <a:lnTo>
                    <a:pt x="660" y="971"/>
                  </a:lnTo>
                  <a:lnTo>
                    <a:pt x="661" y="973"/>
                  </a:lnTo>
                  <a:lnTo>
                    <a:pt x="663" y="973"/>
                  </a:lnTo>
                  <a:lnTo>
                    <a:pt x="663" y="974"/>
                  </a:lnTo>
                  <a:lnTo>
                    <a:pt x="663" y="975"/>
                  </a:lnTo>
                  <a:lnTo>
                    <a:pt x="661" y="975"/>
                  </a:lnTo>
                  <a:lnTo>
                    <a:pt x="660" y="974"/>
                  </a:lnTo>
                  <a:lnTo>
                    <a:pt x="660" y="976"/>
                  </a:lnTo>
                  <a:lnTo>
                    <a:pt x="659" y="976"/>
                  </a:lnTo>
                  <a:lnTo>
                    <a:pt x="655" y="977"/>
                  </a:lnTo>
                  <a:lnTo>
                    <a:pt x="654" y="979"/>
                  </a:lnTo>
                  <a:lnTo>
                    <a:pt x="651" y="979"/>
                  </a:lnTo>
                  <a:lnTo>
                    <a:pt x="649" y="979"/>
                  </a:lnTo>
                  <a:lnTo>
                    <a:pt x="646" y="980"/>
                  </a:lnTo>
                  <a:lnTo>
                    <a:pt x="642" y="980"/>
                  </a:lnTo>
                  <a:lnTo>
                    <a:pt x="639" y="979"/>
                  </a:lnTo>
                  <a:lnTo>
                    <a:pt x="636" y="979"/>
                  </a:lnTo>
                  <a:lnTo>
                    <a:pt x="634" y="977"/>
                  </a:lnTo>
                  <a:lnTo>
                    <a:pt x="631" y="977"/>
                  </a:lnTo>
                  <a:lnTo>
                    <a:pt x="628" y="976"/>
                  </a:lnTo>
                  <a:lnTo>
                    <a:pt x="626" y="975"/>
                  </a:lnTo>
                  <a:lnTo>
                    <a:pt x="625" y="973"/>
                  </a:lnTo>
                  <a:lnTo>
                    <a:pt x="625" y="971"/>
                  </a:lnTo>
                  <a:lnTo>
                    <a:pt x="628" y="973"/>
                  </a:lnTo>
                  <a:lnTo>
                    <a:pt x="628" y="971"/>
                  </a:lnTo>
                  <a:lnTo>
                    <a:pt x="629" y="969"/>
                  </a:lnTo>
                  <a:lnTo>
                    <a:pt x="630" y="971"/>
                  </a:lnTo>
                  <a:lnTo>
                    <a:pt x="631" y="973"/>
                  </a:lnTo>
                  <a:lnTo>
                    <a:pt x="633" y="975"/>
                  </a:lnTo>
                  <a:lnTo>
                    <a:pt x="634" y="976"/>
                  </a:lnTo>
                  <a:lnTo>
                    <a:pt x="635" y="976"/>
                  </a:lnTo>
                  <a:lnTo>
                    <a:pt x="635" y="975"/>
                  </a:lnTo>
                  <a:lnTo>
                    <a:pt x="633" y="971"/>
                  </a:lnTo>
                  <a:lnTo>
                    <a:pt x="631" y="969"/>
                  </a:lnTo>
                  <a:lnTo>
                    <a:pt x="630" y="968"/>
                  </a:lnTo>
                  <a:lnTo>
                    <a:pt x="630" y="965"/>
                  </a:lnTo>
                  <a:lnTo>
                    <a:pt x="630" y="964"/>
                  </a:lnTo>
                  <a:lnTo>
                    <a:pt x="631" y="967"/>
                  </a:lnTo>
                  <a:lnTo>
                    <a:pt x="631" y="968"/>
                  </a:lnTo>
                  <a:lnTo>
                    <a:pt x="633" y="968"/>
                  </a:lnTo>
                  <a:lnTo>
                    <a:pt x="633" y="965"/>
                  </a:lnTo>
                  <a:lnTo>
                    <a:pt x="634" y="965"/>
                  </a:lnTo>
                  <a:lnTo>
                    <a:pt x="635" y="965"/>
                  </a:lnTo>
                  <a:lnTo>
                    <a:pt x="636" y="968"/>
                  </a:lnTo>
                  <a:lnTo>
                    <a:pt x="636" y="967"/>
                  </a:lnTo>
                  <a:lnTo>
                    <a:pt x="637" y="965"/>
                  </a:lnTo>
                  <a:lnTo>
                    <a:pt x="637" y="964"/>
                  </a:lnTo>
                  <a:lnTo>
                    <a:pt x="636" y="962"/>
                  </a:lnTo>
                  <a:lnTo>
                    <a:pt x="634" y="959"/>
                  </a:lnTo>
                  <a:lnTo>
                    <a:pt x="633" y="958"/>
                  </a:lnTo>
                  <a:lnTo>
                    <a:pt x="634" y="956"/>
                  </a:lnTo>
                  <a:lnTo>
                    <a:pt x="635" y="957"/>
                  </a:lnTo>
                  <a:lnTo>
                    <a:pt x="635" y="958"/>
                  </a:lnTo>
                  <a:lnTo>
                    <a:pt x="636" y="959"/>
                  </a:lnTo>
                  <a:lnTo>
                    <a:pt x="637" y="959"/>
                  </a:lnTo>
                  <a:lnTo>
                    <a:pt x="639" y="959"/>
                  </a:lnTo>
                  <a:lnTo>
                    <a:pt x="639" y="958"/>
                  </a:lnTo>
                  <a:lnTo>
                    <a:pt x="640" y="958"/>
                  </a:lnTo>
                  <a:lnTo>
                    <a:pt x="641" y="959"/>
                  </a:lnTo>
                  <a:lnTo>
                    <a:pt x="642" y="961"/>
                  </a:lnTo>
                  <a:lnTo>
                    <a:pt x="643" y="959"/>
                  </a:lnTo>
                  <a:lnTo>
                    <a:pt x="643" y="958"/>
                  </a:lnTo>
                  <a:lnTo>
                    <a:pt x="645" y="957"/>
                  </a:lnTo>
                  <a:lnTo>
                    <a:pt x="645" y="956"/>
                  </a:lnTo>
                  <a:lnTo>
                    <a:pt x="645" y="955"/>
                  </a:lnTo>
                  <a:lnTo>
                    <a:pt x="643" y="952"/>
                  </a:lnTo>
                  <a:lnTo>
                    <a:pt x="642" y="951"/>
                  </a:lnTo>
                  <a:lnTo>
                    <a:pt x="642" y="950"/>
                  </a:lnTo>
                  <a:lnTo>
                    <a:pt x="642" y="949"/>
                  </a:lnTo>
                  <a:lnTo>
                    <a:pt x="643" y="949"/>
                  </a:lnTo>
                  <a:lnTo>
                    <a:pt x="645" y="950"/>
                  </a:lnTo>
                  <a:lnTo>
                    <a:pt x="647" y="949"/>
                  </a:lnTo>
                  <a:lnTo>
                    <a:pt x="649" y="950"/>
                  </a:lnTo>
                  <a:lnTo>
                    <a:pt x="651" y="951"/>
                  </a:lnTo>
                  <a:lnTo>
                    <a:pt x="652" y="951"/>
                  </a:lnTo>
                  <a:lnTo>
                    <a:pt x="652" y="950"/>
                  </a:lnTo>
                  <a:lnTo>
                    <a:pt x="653" y="949"/>
                  </a:lnTo>
                  <a:lnTo>
                    <a:pt x="654" y="949"/>
                  </a:lnTo>
                  <a:lnTo>
                    <a:pt x="654" y="947"/>
                  </a:lnTo>
                  <a:lnTo>
                    <a:pt x="652" y="946"/>
                  </a:lnTo>
                  <a:lnTo>
                    <a:pt x="649" y="946"/>
                  </a:lnTo>
                  <a:lnTo>
                    <a:pt x="648" y="946"/>
                  </a:lnTo>
                  <a:lnTo>
                    <a:pt x="646" y="944"/>
                  </a:lnTo>
                  <a:lnTo>
                    <a:pt x="645" y="941"/>
                  </a:lnTo>
                  <a:lnTo>
                    <a:pt x="643" y="940"/>
                  </a:lnTo>
                  <a:lnTo>
                    <a:pt x="643" y="939"/>
                  </a:lnTo>
                  <a:lnTo>
                    <a:pt x="645" y="939"/>
                  </a:lnTo>
                  <a:lnTo>
                    <a:pt x="646" y="940"/>
                  </a:lnTo>
                  <a:lnTo>
                    <a:pt x="647" y="941"/>
                  </a:lnTo>
                  <a:lnTo>
                    <a:pt x="649" y="943"/>
                  </a:lnTo>
                  <a:lnTo>
                    <a:pt x="651" y="944"/>
                  </a:lnTo>
                  <a:lnTo>
                    <a:pt x="652" y="944"/>
                  </a:lnTo>
                  <a:lnTo>
                    <a:pt x="653" y="943"/>
                  </a:lnTo>
                  <a:lnTo>
                    <a:pt x="652" y="941"/>
                  </a:lnTo>
                  <a:lnTo>
                    <a:pt x="649" y="940"/>
                  </a:lnTo>
                  <a:lnTo>
                    <a:pt x="647" y="939"/>
                  </a:lnTo>
                  <a:lnTo>
                    <a:pt x="646" y="938"/>
                  </a:lnTo>
                  <a:lnTo>
                    <a:pt x="643" y="937"/>
                  </a:lnTo>
                  <a:lnTo>
                    <a:pt x="642" y="935"/>
                  </a:lnTo>
                  <a:lnTo>
                    <a:pt x="641" y="934"/>
                  </a:lnTo>
                  <a:lnTo>
                    <a:pt x="641" y="933"/>
                  </a:lnTo>
                  <a:lnTo>
                    <a:pt x="642" y="934"/>
                  </a:lnTo>
                  <a:lnTo>
                    <a:pt x="643" y="935"/>
                  </a:lnTo>
                  <a:lnTo>
                    <a:pt x="645" y="937"/>
                  </a:lnTo>
                  <a:lnTo>
                    <a:pt x="646" y="937"/>
                  </a:lnTo>
                  <a:lnTo>
                    <a:pt x="647" y="937"/>
                  </a:lnTo>
                  <a:lnTo>
                    <a:pt x="649" y="935"/>
                  </a:lnTo>
                  <a:lnTo>
                    <a:pt x="651" y="935"/>
                  </a:lnTo>
                  <a:lnTo>
                    <a:pt x="652" y="935"/>
                  </a:lnTo>
                  <a:lnTo>
                    <a:pt x="651" y="934"/>
                  </a:lnTo>
                  <a:lnTo>
                    <a:pt x="649" y="933"/>
                  </a:lnTo>
                  <a:lnTo>
                    <a:pt x="651" y="931"/>
                  </a:lnTo>
                  <a:lnTo>
                    <a:pt x="653" y="932"/>
                  </a:lnTo>
                  <a:lnTo>
                    <a:pt x="651" y="929"/>
                  </a:lnTo>
                  <a:lnTo>
                    <a:pt x="651" y="928"/>
                  </a:lnTo>
                  <a:lnTo>
                    <a:pt x="653" y="927"/>
                  </a:lnTo>
                  <a:lnTo>
                    <a:pt x="654" y="926"/>
                  </a:lnTo>
                  <a:lnTo>
                    <a:pt x="653" y="923"/>
                  </a:lnTo>
                  <a:lnTo>
                    <a:pt x="651" y="925"/>
                  </a:lnTo>
                  <a:lnTo>
                    <a:pt x="649" y="925"/>
                  </a:lnTo>
                  <a:lnTo>
                    <a:pt x="646" y="923"/>
                  </a:lnTo>
                  <a:lnTo>
                    <a:pt x="642" y="919"/>
                  </a:lnTo>
                  <a:lnTo>
                    <a:pt x="639" y="916"/>
                  </a:lnTo>
                  <a:lnTo>
                    <a:pt x="637" y="915"/>
                  </a:lnTo>
                  <a:lnTo>
                    <a:pt x="639" y="909"/>
                  </a:lnTo>
                  <a:lnTo>
                    <a:pt x="639" y="905"/>
                  </a:lnTo>
                  <a:lnTo>
                    <a:pt x="640" y="906"/>
                  </a:lnTo>
                  <a:lnTo>
                    <a:pt x="641" y="910"/>
                  </a:lnTo>
                  <a:lnTo>
                    <a:pt x="641" y="915"/>
                  </a:lnTo>
                  <a:lnTo>
                    <a:pt x="642" y="914"/>
                  </a:lnTo>
                  <a:lnTo>
                    <a:pt x="642" y="912"/>
                  </a:lnTo>
                  <a:lnTo>
                    <a:pt x="643" y="914"/>
                  </a:lnTo>
                  <a:lnTo>
                    <a:pt x="645" y="911"/>
                  </a:lnTo>
                  <a:lnTo>
                    <a:pt x="643" y="908"/>
                  </a:lnTo>
                  <a:lnTo>
                    <a:pt x="645" y="908"/>
                  </a:lnTo>
                  <a:lnTo>
                    <a:pt x="646" y="908"/>
                  </a:lnTo>
                  <a:lnTo>
                    <a:pt x="646" y="914"/>
                  </a:lnTo>
                  <a:lnTo>
                    <a:pt x="646" y="915"/>
                  </a:lnTo>
                  <a:lnTo>
                    <a:pt x="648" y="917"/>
                  </a:lnTo>
                  <a:lnTo>
                    <a:pt x="651" y="919"/>
                  </a:lnTo>
                  <a:lnTo>
                    <a:pt x="651" y="916"/>
                  </a:lnTo>
                  <a:lnTo>
                    <a:pt x="649" y="912"/>
                  </a:lnTo>
                  <a:lnTo>
                    <a:pt x="648" y="911"/>
                  </a:lnTo>
                  <a:lnTo>
                    <a:pt x="648" y="910"/>
                  </a:lnTo>
                  <a:lnTo>
                    <a:pt x="647" y="908"/>
                  </a:lnTo>
                  <a:lnTo>
                    <a:pt x="645" y="905"/>
                  </a:lnTo>
                  <a:lnTo>
                    <a:pt x="643" y="903"/>
                  </a:lnTo>
                  <a:lnTo>
                    <a:pt x="643" y="900"/>
                  </a:lnTo>
                  <a:lnTo>
                    <a:pt x="645" y="903"/>
                  </a:lnTo>
                  <a:lnTo>
                    <a:pt x="646" y="903"/>
                  </a:lnTo>
                  <a:lnTo>
                    <a:pt x="646" y="900"/>
                  </a:lnTo>
                  <a:lnTo>
                    <a:pt x="646" y="899"/>
                  </a:lnTo>
                  <a:lnTo>
                    <a:pt x="647" y="899"/>
                  </a:lnTo>
                  <a:lnTo>
                    <a:pt x="647" y="902"/>
                  </a:lnTo>
                  <a:lnTo>
                    <a:pt x="648" y="904"/>
                  </a:lnTo>
                  <a:lnTo>
                    <a:pt x="648" y="906"/>
                  </a:lnTo>
                  <a:lnTo>
                    <a:pt x="649" y="908"/>
                  </a:lnTo>
                  <a:lnTo>
                    <a:pt x="651" y="909"/>
                  </a:lnTo>
                  <a:lnTo>
                    <a:pt x="652" y="910"/>
                  </a:lnTo>
                  <a:lnTo>
                    <a:pt x="652" y="906"/>
                  </a:lnTo>
                  <a:lnTo>
                    <a:pt x="652" y="904"/>
                  </a:lnTo>
                  <a:lnTo>
                    <a:pt x="654" y="903"/>
                  </a:lnTo>
                  <a:lnTo>
                    <a:pt x="653" y="900"/>
                  </a:lnTo>
                  <a:lnTo>
                    <a:pt x="652" y="899"/>
                  </a:lnTo>
                  <a:lnTo>
                    <a:pt x="651" y="898"/>
                  </a:lnTo>
                  <a:lnTo>
                    <a:pt x="651" y="896"/>
                  </a:lnTo>
                  <a:lnTo>
                    <a:pt x="652" y="896"/>
                  </a:lnTo>
                  <a:lnTo>
                    <a:pt x="653" y="899"/>
                  </a:lnTo>
                  <a:lnTo>
                    <a:pt x="654" y="900"/>
                  </a:lnTo>
                  <a:lnTo>
                    <a:pt x="655" y="900"/>
                  </a:lnTo>
                  <a:lnTo>
                    <a:pt x="657" y="902"/>
                  </a:lnTo>
                  <a:lnTo>
                    <a:pt x="658" y="905"/>
                  </a:lnTo>
                  <a:lnTo>
                    <a:pt x="659" y="905"/>
                  </a:lnTo>
                  <a:lnTo>
                    <a:pt x="660" y="905"/>
                  </a:lnTo>
                  <a:lnTo>
                    <a:pt x="661" y="905"/>
                  </a:lnTo>
                  <a:lnTo>
                    <a:pt x="661" y="908"/>
                  </a:lnTo>
                  <a:lnTo>
                    <a:pt x="663" y="908"/>
                  </a:lnTo>
                  <a:lnTo>
                    <a:pt x="664" y="906"/>
                  </a:lnTo>
                  <a:lnTo>
                    <a:pt x="664" y="905"/>
                  </a:lnTo>
                  <a:lnTo>
                    <a:pt x="664" y="902"/>
                  </a:lnTo>
                  <a:lnTo>
                    <a:pt x="665" y="902"/>
                  </a:lnTo>
                  <a:lnTo>
                    <a:pt x="666" y="909"/>
                  </a:lnTo>
                  <a:lnTo>
                    <a:pt x="666" y="911"/>
                  </a:lnTo>
                  <a:lnTo>
                    <a:pt x="667" y="912"/>
                  </a:lnTo>
                  <a:lnTo>
                    <a:pt x="669" y="911"/>
                  </a:lnTo>
                  <a:lnTo>
                    <a:pt x="669" y="908"/>
                  </a:lnTo>
                  <a:lnTo>
                    <a:pt x="669" y="905"/>
                  </a:lnTo>
                  <a:lnTo>
                    <a:pt x="670" y="902"/>
                  </a:lnTo>
                  <a:lnTo>
                    <a:pt x="671" y="903"/>
                  </a:lnTo>
                  <a:lnTo>
                    <a:pt x="672" y="908"/>
                  </a:lnTo>
                  <a:lnTo>
                    <a:pt x="673" y="908"/>
                  </a:lnTo>
                  <a:lnTo>
                    <a:pt x="675" y="905"/>
                  </a:lnTo>
                  <a:lnTo>
                    <a:pt x="675" y="909"/>
                  </a:lnTo>
                  <a:lnTo>
                    <a:pt x="676" y="910"/>
                  </a:lnTo>
                  <a:lnTo>
                    <a:pt x="677" y="910"/>
                  </a:lnTo>
                  <a:lnTo>
                    <a:pt x="677" y="908"/>
                  </a:lnTo>
                  <a:lnTo>
                    <a:pt x="677" y="903"/>
                  </a:lnTo>
                  <a:lnTo>
                    <a:pt x="678" y="902"/>
                  </a:lnTo>
                  <a:lnTo>
                    <a:pt x="679" y="900"/>
                  </a:lnTo>
                  <a:lnTo>
                    <a:pt x="679" y="899"/>
                  </a:lnTo>
                  <a:lnTo>
                    <a:pt x="678" y="897"/>
                  </a:lnTo>
                  <a:lnTo>
                    <a:pt x="676" y="894"/>
                  </a:lnTo>
                  <a:lnTo>
                    <a:pt x="677" y="893"/>
                  </a:lnTo>
                  <a:lnTo>
                    <a:pt x="681" y="893"/>
                  </a:lnTo>
                  <a:lnTo>
                    <a:pt x="681" y="892"/>
                  </a:lnTo>
                  <a:lnTo>
                    <a:pt x="683" y="892"/>
                  </a:lnTo>
                  <a:lnTo>
                    <a:pt x="683" y="896"/>
                  </a:lnTo>
                  <a:lnTo>
                    <a:pt x="685" y="898"/>
                  </a:lnTo>
                  <a:lnTo>
                    <a:pt x="685" y="896"/>
                  </a:lnTo>
                  <a:lnTo>
                    <a:pt x="687" y="894"/>
                  </a:lnTo>
                  <a:lnTo>
                    <a:pt x="689" y="896"/>
                  </a:lnTo>
                  <a:lnTo>
                    <a:pt x="694" y="899"/>
                  </a:lnTo>
                  <a:lnTo>
                    <a:pt x="696" y="899"/>
                  </a:lnTo>
                  <a:lnTo>
                    <a:pt x="694" y="897"/>
                  </a:lnTo>
                  <a:lnTo>
                    <a:pt x="693" y="894"/>
                  </a:lnTo>
                  <a:lnTo>
                    <a:pt x="690" y="893"/>
                  </a:lnTo>
                  <a:lnTo>
                    <a:pt x="684" y="891"/>
                  </a:lnTo>
                  <a:lnTo>
                    <a:pt x="683" y="888"/>
                  </a:lnTo>
                  <a:lnTo>
                    <a:pt x="681" y="886"/>
                  </a:lnTo>
                  <a:lnTo>
                    <a:pt x="678" y="884"/>
                  </a:lnTo>
                  <a:lnTo>
                    <a:pt x="678" y="881"/>
                  </a:lnTo>
                  <a:lnTo>
                    <a:pt x="678" y="880"/>
                  </a:lnTo>
                  <a:lnTo>
                    <a:pt x="679" y="880"/>
                  </a:lnTo>
                  <a:lnTo>
                    <a:pt x="681" y="884"/>
                  </a:lnTo>
                  <a:lnTo>
                    <a:pt x="682" y="885"/>
                  </a:lnTo>
                  <a:lnTo>
                    <a:pt x="683" y="886"/>
                  </a:lnTo>
                  <a:lnTo>
                    <a:pt x="685" y="886"/>
                  </a:lnTo>
                  <a:lnTo>
                    <a:pt x="687" y="886"/>
                  </a:lnTo>
                  <a:lnTo>
                    <a:pt x="687" y="887"/>
                  </a:lnTo>
                  <a:lnTo>
                    <a:pt x="688" y="885"/>
                  </a:lnTo>
                  <a:lnTo>
                    <a:pt x="688" y="881"/>
                  </a:lnTo>
                  <a:lnTo>
                    <a:pt x="688" y="879"/>
                  </a:lnTo>
                  <a:lnTo>
                    <a:pt x="689" y="881"/>
                  </a:lnTo>
                  <a:lnTo>
                    <a:pt x="689" y="884"/>
                  </a:lnTo>
                  <a:lnTo>
                    <a:pt x="689" y="887"/>
                  </a:lnTo>
                  <a:lnTo>
                    <a:pt x="690" y="887"/>
                  </a:lnTo>
                  <a:lnTo>
                    <a:pt x="690" y="890"/>
                  </a:lnTo>
                  <a:lnTo>
                    <a:pt x="690" y="891"/>
                  </a:lnTo>
                  <a:lnTo>
                    <a:pt x="692" y="892"/>
                  </a:lnTo>
                  <a:lnTo>
                    <a:pt x="692" y="891"/>
                  </a:lnTo>
                  <a:lnTo>
                    <a:pt x="693" y="890"/>
                  </a:lnTo>
                  <a:lnTo>
                    <a:pt x="693" y="888"/>
                  </a:lnTo>
                  <a:lnTo>
                    <a:pt x="692" y="886"/>
                  </a:lnTo>
                  <a:lnTo>
                    <a:pt x="693" y="884"/>
                  </a:lnTo>
                  <a:lnTo>
                    <a:pt x="694" y="882"/>
                  </a:lnTo>
                  <a:lnTo>
                    <a:pt x="694" y="886"/>
                  </a:lnTo>
                  <a:lnTo>
                    <a:pt x="694" y="887"/>
                  </a:lnTo>
                  <a:lnTo>
                    <a:pt x="695" y="888"/>
                  </a:lnTo>
                  <a:lnTo>
                    <a:pt x="695" y="892"/>
                  </a:lnTo>
                  <a:lnTo>
                    <a:pt x="696" y="891"/>
                  </a:lnTo>
                  <a:lnTo>
                    <a:pt x="696" y="888"/>
                  </a:lnTo>
                  <a:lnTo>
                    <a:pt x="696" y="886"/>
                  </a:lnTo>
                  <a:lnTo>
                    <a:pt x="696" y="882"/>
                  </a:lnTo>
                  <a:lnTo>
                    <a:pt x="696" y="880"/>
                  </a:lnTo>
                  <a:lnTo>
                    <a:pt x="698" y="884"/>
                  </a:lnTo>
                  <a:lnTo>
                    <a:pt x="700" y="884"/>
                  </a:lnTo>
                  <a:lnTo>
                    <a:pt x="701" y="886"/>
                  </a:lnTo>
                  <a:lnTo>
                    <a:pt x="701" y="891"/>
                  </a:lnTo>
                  <a:lnTo>
                    <a:pt x="702" y="891"/>
                  </a:lnTo>
                  <a:lnTo>
                    <a:pt x="704" y="888"/>
                  </a:lnTo>
                  <a:lnTo>
                    <a:pt x="705" y="886"/>
                  </a:lnTo>
                  <a:lnTo>
                    <a:pt x="705" y="882"/>
                  </a:lnTo>
                  <a:lnTo>
                    <a:pt x="704" y="880"/>
                  </a:lnTo>
                  <a:lnTo>
                    <a:pt x="705" y="876"/>
                  </a:lnTo>
                  <a:lnTo>
                    <a:pt x="704" y="875"/>
                  </a:lnTo>
                  <a:lnTo>
                    <a:pt x="704" y="873"/>
                  </a:lnTo>
                  <a:lnTo>
                    <a:pt x="705" y="873"/>
                  </a:lnTo>
                  <a:lnTo>
                    <a:pt x="706" y="876"/>
                  </a:lnTo>
                  <a:lnTo>
                    <a:pt x="706" y="878"/>
                  </a:lnTo>
                  <a:lnTo>
                    <a:pt x="707" y="881"/>
                  </a:lnTo>
                  <a:lnTo>
                    <a:pt x="708" y="882"/>
                  </a:lnTo>
                  <a:lnTo>
                    <a:pt x="711" y="880"/>
                  </a:lnTo>
                  <a:lnTo>
                    <a:pt x="710" y="876"/>
                  </a:lnTo>
                  <a:lnTo>
                    <a:pt x="710" y="874"/>
                  </a:lnTo>
                  <a:lnTo>
                    <a:pt x="711" y="872"/>
                  </a:lnTo>
                  <a:lnTo>
                    <a:pt x="712" y="869"/>
                  </a:lnTo>
                  <a:lnTo>
                    <a:pt x="713" y="872"/>
                  </a:lnTo>
                  <a:lnTo>
                    <a:pt x="716" y="878"/>
                  </a:lnTo>
                  <a:lnTo>
                    <a:pt x="716" y="880"/>
                  </a:lnTo>
                  <a:lnTo>
                    <a:pt x="719" y="879"/>
                  </a:lnTo>
                  <a:lnTo>
                    <a:pt x="719" y="875"/>
                  </a:lnTo>
                  <a:lnTo>
                    <a:pt x="720" y="875"/>
                  </a:lnTo>
                  <a:lnTo>
                    <a:pt x="720" y="878"/>
                  </a:lnTo>
                  <a:lnTo>
                    <a:pt x="720" y="881"/>
                  </a:lnTo>
                  <a:lnTo>
                    <a:pt x="720" y="886"/>
                  </a:lnTo>
                  <a:lnTo>
                    <a:pt x="722" y="887"/>
                  </a:lnTo>
                  <a:lnTo>
                    <a:pt x="723" y="885"/>
                  </a:lnTo>
                  <a:lnTo>
                    <a:pt x="723" y="882"/>
                  </a:lnTo>
                  <a:lnTo>
                    <a:pt x="724" y="884"/>
                  </a:lnTo>
                  <a:lnTo>
                    <a:pt x="725" y="884"/>
                  </a:lnTo>
                  <a:lnTo>
                    <a:pt x="728" y="882"/>
                  </a:lnTo>
                  <a:lnTo>
                    <a:pt x="728" y="879"/>
                  </a:lnTo>
                  <a:lnTo>
                    <a:pt x="729" y="875"/>
                  </a:lnTo>
                  <a:lnTo>
                    <a:pt x="731" y="875"/>
                  </a:lnTo>
                  <a:lnTo>
                    <a:pt x="732" y="876"/>
                  </a:lnTo>
                  <a:lnTo>
                    <a:pt x="735" y="876"/>
                  </a:lnTo>
                  <a:lnTo>
                    <a:pt x="732" y="874"/>
                  </a:lnTo>
                  <a:lnTo>
                    <a:pt x="731" y="872"/>
                  </a:lnTo>
                  <a:lnTo>
                    <a:pt x="729" y="869"/>
                  </a:lnTo>
                  <a:lnTo>
                    <a:pt x="725" y="866"/>
                  </a:lnTo>
                  <a:lnTo>
                    <a:pt x="717" y="862"/>
                  </a:lnTo>
                  <a:lnTo>
                    <a:pt x="712" y="858"/>
                  </a:lnTo>
                  <a:lnTo>
                    <a:pt x="704" y="857"/>
                  </a:lnTo>
                  <a:lnTo>
                    <a:pt x="699" y="857"/>
                  </a:lnTo>
                  <a:lnTo>
                    <a:pt x="695" y="858"/>
                  </a:lnTo>
                  <a:lnTo>
                    <a:pt x="694" y="858"/>
                  </a:lnTo>
                  <a:lnTo>
                    <a:pt x="692" y="858"/>
                  </a:lnTo>
                  <a:lnTo>
                    <a:pt x="690" y="857"/>
                  </a:lnTo>
                  <a:lnTo>
                    <a:pt x="688" y="858"/>
                  </a:lnTo>
                  <a:lnTo>
                    <a:pt x="683" y="856"/>
                  </a:lnTo>
                  <a:lnTo>
                    <a:pt x="679" y="855"/>
                  </a:lnTo>
                  <a:lnTo>
                    <a:pt x="676" y="852"/>
                  </a:lnTo>
                  <a:lnTo>
                    <a:pt x="676" y="851"/>
                  </a:lnTo>
                  <a:lnTo>
                    <a:pt x="678" y="850"/>
                  </a:lnTo>
                  <a:lnTo>
                    <a:pt x="679" y="850"/>
                  </a:lnTo>
                  <a:lnTo>
                    <a:pt x="684" y="852"/>
                  </a:lnTo>
                  <a:lnTo>
                    <a:pt x="685" y="851"/>
                  </a:lnTo>
                  <a:lnTo>
                    <a:pt x="683" y="850"/>
                  </a:lnTo>
                  <a:lnTo>
                    <a:pt x="681" y="849"/>
                  </a:lnTo>
                  <a:lnTo>
                    <a:pt x="684" y="846"/>
                  </a:lnTo>
                  <a:lnTo>
                    <a:pt x="684" y="845"/>
                  </a:lnTo>
                  <a:lnTo>
                    <a:pt x="679" y="846"/>
                  </a:lnTo>
                  <a:lnTo>
                    <a:pt x="678" y="846"/>
                  </a:lnTo>
                  <a:lnTo>
                    <a:pt x="677" y="848"/>
                  </a:lnTo>
                  <a:lnTo>
                    <a:pt x="676" y="848"/>
                  </a:lnTo>
                  <a:lnTo>
                    <a:pt x="675" y="849"/>
                  </a:lnTo>
                  <a:lnTo>
                    <a:pt x="672" y="851"/>
                  </a:lnTo>
                  <a:lnTo>
                    <a:pt x="670" y="850"/>
                  </a:lnTo>
                  <a:lnTo>
                    <a:pt x="667" y="852"/>
                  </a:lnTo>
                  <a:lnTo>
                    <a:pt x="666" y="855"/>
                  </a:lnTo>
                  <a:lnTo>
                    <a:pt x="661" y="852"/>
                  </a:lnTo>
                  <a:lnTo>
                    <a:pt x="655" y="849"/>
                  </a:lnTo>
                  <a:lnTo>
                    <a:pt x="648" y="846"/>
                  </a:lnTo>
                  <a:lnTo>
                    <a:pt x="646" y="848"/>
                  </a:lnTo>
                  <a:lnTo>
                    <a:pt x="645" y="846"/>
                  </a:lnTo>
                  <a:lnTo>
                    <a:pt x="643" y="845"/>
                  </a:lnTo>
                  <a:lnTo>
                    <a:pt x="646" y="844"/>
                  </a:lnTo>
                  <a:lnTo>
                    <a:pt x="646" y="842"/>
                  </a:lnTo>
                  <a:lnTo>
                    <a:pt x="645" y="839"/>
                  </a:lnTo>
                  <a:lnTo>
                    <a:pt x="646" y="836"/>
                  </a:lnTo>
                  <a:lnTo>
                    <a:pt x="647" y="837"/>
                  </a:lnTo>
                  <a:lnTo>
                    <a:pt x="648" y="840"/>
                  </a:lnTo>
                  <a:lnTo>
                    <a:pt x="649" y="840"/>
                  </a:lnTo>
                  <a:lnTo>
                    <a:pt x="651" y="837"/>
                  </a:lnTo>
                  <a:lnTo>
                    <a:pt x="651" y="836"/>
                  </a:lnTo>
                  <a:lnTo>
                    <a:pt x="651" y="834"/>
                  </a:lnTo>
                  <a:lnTo>
                    <a:pt x="653" y="836"/>
                  </a:lnTo>
                  <a:lnTo>
                    <a:pt x="654" y="837"/>
                  </a:lnTo>
                  <a:lnTo>
                    <a:pt x="655" y="836"/>
                  </a:lnTo>
                  <a:lnTo>
                    <a:pt x="657" y="834"/>
                  </a:lnTo>
                  <a:lnTo>
                    <a:pt x="657" y="836"/>
                  </a:lnTo>
                  <a:lnTo>
                    <a:pt x="658" y="836"/>
                  </a:lnTo>
                  <a:lnTo>
                    <a:pt x="659" y="833"/>
                  </a:lnTo>
                  <a:lnTo>
                    <a:pt x="661" y="832"/>
                  </a:lnTo>
                  <a:lnTo>
                    <a:pt x="664" y="831"/>
                  </a:lnTo>
                  <a:lnTo>
                    <a:pt x="669" y="828"/>
                  </a:lnTo>
                  <a:lnTo>
                    <a:pt x="669" y="825"/>
                  </a:lnTo>
                  <a:lnTo>
                    <a:pt x="670" y="824"/>
                  </a:lnTo>
                  <a:lnTo>
                    <a:pt x="671" y="824"/>
                  </a:lnTo>
                  <a:lnTo>
                    <a:pt x="673" y="824"/>
                  </a:lnTo>
                  <a:lnTo>
                    <a:pt x="675" y="822"/>
                  </a:lnTo>
                  <a:lnTo>
                    <a:pt x="673" y="820"/>
                  </a:lnTo>
                  <a:lnTo>
                    <a:pt x="672" y="816"/>
                  </a:lnTo>
                  <a:lnTo>
                    <a:pt x="675" y="816"/>
                  </a:lnTo>
                  <a:lnTo>
                    <a:pt x="676" y="816"/>
                  </a:lnTo>
                  <a:lnTo>
                    <a:pt x="676" y="821"/>
                  </a:lnTo>
                  <a:lnTo>
                    <a:pt x="677" y="824"/>
                  </a:lnTo>
                  <a:lnTo>
                    <a:pt x="678" y="825"/>
                  </a:lnTo>
                  <a:lnTo>
                    <a:pt x="678" y="822"/>
                  </a:lnTo>
                  <a:lnTo>
                    <a:pt x="678" y="819"/>
                  </a:lnTo>
                  <a:lnTo>
                    <a:pt x="679" y="816"/>
                  </a:lnTo>
                  <a:lnTo>
                    <a:pt x="681" y="816"/>
                  </a:lnTo>
                  <a:lnTo>
                    <a:pt x="681" y="818"/>
                  </a:lnTo>
                  <a:lnTo>
                    <a:pt x="682" y="822"/>
                  </a:lnTo>
                  <a:lnTo>
                    <a:pt x="681" y="826"/>
                  </a:lnTo>
                  <a:lnTo>
                    <a:pt x="682" y="830"/>
                  </a:lnTo>
                  <a:lnTo>
                    <a:pt x="682" y="826"/>
                  </a:lnTo>
                  <a:lnTo>
                    <a:pt x="683" y="822"/>
                  </a:lnTo>
                  <a:lnTo>
                    <a:pt x="684" y="821"/>
                  </a:lnTo>
                  <a:lnTo>
                    <a:pt x="684" y="819"/>
                  </a:lnTo>
                  <a:lnTo>
                    <a:pt x="683" y="816"/>
                  </a:lnTo>
                  <a:lnTo>
                    <a:pt x="682" y="814"/>
                  </a:lnTo>
                  <a:lnTo>
                    <a:pt x="684" y="812"/>
                  </a:lnTo>
                  <a:lnTo>
                    <a:pt x="684" y="809"/>
                  </a:lnTo>
                  <a:lnTo>
                    <a:pt x="685" y="808"/>
                  </a:lnTo>
                  <a:lnTo>
                    <a:pt x="687" y="810"/>
                  </a:lnTo>
                  <a:lnTo>
                    <a:pt x="689" y="812"/>
                  </a:lnTo>
                  <a:lnTo>
                    <a:pt x="689" y="809"/>
                  </a:lnTo>
                  <a:lnTo>
                    <a:pt x="689" y="807"/>
                  </a:lnTo>
                  <a:lnTo>
                    <a:pt x="690" y="805"/>
                  </a:lnTo>
                  <a:lnTo>
                    <a:pt x="690" y="803"/>
                  </a:lnTo>
                  <a:lnTo>
                    <a:pt x="689" y="799"/>
                  </a:lnTo>
                  <a:lnTo>
                    <a:pt x="688" y="797"/>
                  </a:lnTo>
                  <a:lnTo>
                    <a:pt x="688" y="796"/>
                  </a:lnTo>
                  <a:lnTo>
                    <a:pt x="690" y="796"/>
                  </a:lnTo>
                  <a:lnTo>
                    <a:pt x="693" y="797"/>
                  </a:lnTo>
                  <a:lnTo>
                    <a:pt x="693" y="799"/>
                  </a:lnTo>
                  <a:lnTo>
                    <a:pt x="692" y="803"/>
                  </a:lnTo>
                  <a:lnTo>
                    <a:pt x="692" y="807"/>
                  </a:lnTo>
                  <a:lnTo>
                    <a:pt x="692" y="810"/>
                  </a:lnTo>
                  <a:lnTo>
                    <a:pt x="693" y="813"/>
                  </a:lnTo>
                  <a:lnTo>
                    <a:pt x="694" y="809"/>
                  </a:lnTo>
                  <a:lnTo>
                    <a:pt x="694" y="804"/>
                  </a:lnTo>
                  <a:lnTo>
                    <a:pt x="694" y="807"/>
                  </a:lnTo>
                  <a:lnTo>
                    <a:pt x="694" y="809"/>
                  </a:lnTo>
                  <a:lnTo>
                    <a:pt x="695" y="809"/>
                  </a:lnTo>
                  <a:lnTo>
                    <a:pt x="696" y="808"/>
                  </a:lnTo>
                  <a:lnTo>
                    <a:pt x="696" y="804"/>
                  </a:lnTo>
                  <a:lnTo>
                    <a:pt x="696" y="801"/>
                  </a:lnTo>
                  <a:lnTo>
                    <a:pt x="696" y="798"/>
                  </a:lnTo>
                  <a:lnTo>
                    <a:pt x="698" y="798"/>
                  </a:lnTo>
                  <a:lnTo>
                    <a:pt x="698" y="802"/>
                  </a:lnTo>
                  <a:lnTo>
                    <a:pt x="698" y="810"/>
                  </a:lnTo>
                  <a:lnTo>
                    <a:pt x="699" y="812"/>
                  </a:lnTo>
                  <a:lnTo>
                    <a:pt x="700" y="814"/>
                  </a:lnTo>
                  <a:lnTo>
                    <a:pt x="700" y="812"/>
                  </a:lnTo>
                  <a:lnTo>
                    <a:pt x="700" y="805"/>
                  </a:lnTo>
                  <a:lnTo>
                    <a:pt x="700" y="803"/>
                  </a:lnTo>
                  <a:lnTo>
                    <a:pt x="701" y="805"/>
                  </a:lnTo>
                  <a:lnTo>
                    <a:pt x="701" y="809"/>
                  </a:lnTo>
                  <a:lnTo>
                    <a:pt x="701" y="814"/>
                  </a:lnTo>
                  <a:lnTo>
                    <a:pt x="702" y="815"/>
                  </a:lnTo>
                  <a:lnTo>
                    <a:pt x="704" y="813"/>
                  </a:lnTo>
                  <a:lnTo>
                    <a:pt x="704" y="809"/>
                  </a:lnTo>
                  <a:lnTo>
                    <a:pt x="705" y="805"/>
                  </a:lnTo>
                  <a:lnTo>
                    <a:pt x="705" y="804"/>
                  </a:lnTo>
                  <a:lnTo>
                    <a:pt x="706" y="805"/>
                  </a:lnTo>
                  <a:lnTo>
                    <a:pt x="707" y="804"/>
                  </a:lnTo>
                  <a:lnTo>
                    <a:pt x="708" y="804"/>
                  </a:lnTo>
                  <a:lnTo>
                    <a:pt x="710" y="807"/>
                  </a:lnTo>
                  <a:lnTo>
                    <a:pt x="711" y="808"/>
                  </a:lnTo>
                  <a:lnTo>
                    <a:pt x="711" y="809"/>
                  </a:lnTo>
                  <a:lnTo>
                    <a:pt x="713" y="812"/>
                  </a:lnTo>
                  <a:lnTo>
                    <a:pt x="713" y="808"/>
                  </a:lnTo>
                  <a:lnTo>
                    <a:pt x="712" y="805"/>
                  </a:lnTo>
                  <a:lnTo>
                    <a:pt x="714" y="807"/>
                  </a:lnTo>
                  <a:lnTo>
                    <a:pt x="718" y="807"/>
                  </a:lnTo>
                  <a:lnTo>
                    <a:pt x="717" y="805"/>
                  </a:lnTo>
                  <a:lnTo>
                    <a:pt x="713" y="803"/>
                  </a:lnTo>
                  <a:lnTo>
                    <a:pt x="713" y="802"/>
                  </a:lnTo>
                  <a:lnTo>
                    <a:pt x="711" y="802"/>
                  </a:lnTo>
                  <a:lnTo>
                    <a:pt x="710" y="802"/>
                  </a:lnTo>
                  <a:lnTo>
                    <a:pt x="708" y="801"/>
                  </a:lnTo>
                  <a:lnTo>
                    <a:pt x="706" y="802"/>
                  </a:lnTo>
                  <a:lnTo>
                    <a:pt x="705" y="799"/>
                  </a:lnTo>
                  <a:lnTo>
                    <a:pt x="701" y="797"/>
                  </a:lnTo>
                  <a:lnTo>
                    <a:pt x="696" y="795"/>
                  </a:lnTo>
                  <a:lnTo>
                    <a:pt x="694" y="793"/>
                  </a:lnTo>
                  <a:lnTo>
                    <a:pt x="693" y="795"/>
                  </a:lnTo>
                  <a:lnTo>
                    <a:pt x="688" y="793"/>
                  </a:lnTo>
                  <a:lnTo>
                    <a:pt x="687" y="793"/>
                  </a:lnTo>
                  <a:lnTo>
                    <a:pt x="684" y="793"/>
                  </a:lnTo>
                  <a:lnTo>
                    <a:pt x="679" y="793"/>
                  </a:lnTo>
                  <a:lnTo>
                    <a:pt x="676" y="793"/>
                  </a:lnTo>
                  <a:lnTo>
                    <a:pt x="675" y="795"/>
                  </a:lnTo>
                  <a:lnTo>
                    <a:pt x="671" y="795"/>
                  </a:lnTo>
                  <a:lnTo>
                    <a:pt x="669" y="796"/>
                  </a:lnTo>
                  <a:lnTo>
                    <a:pt x="667" y="796"/>
                  </a:lnTo>
                  <a:lnTo>
                    <a:pt x="664" y="797"/>
                  </a:lnTo>
                  <a:lnTo>
                    <a:pt x="661" y="798"/>
                  </a:lnTo>
                  <a:lnTo>
                    <a:pt x="657" y="798"/>
                  </a:lnTo>
                  <a:lnTo>
                    <a:pt x="651" y="798"/>
                  </a:lnTo>
                  <a:lnTo>
                    <a:pt x="651" y="799"/>
                  </a:lnTo>
                  <a:lnTo>
                    <a:pt x="649" y="799"/>
                  </a:lnTo>
                  <a:lnTo>
                    <a:pt x="648" y="798"/>
                  </a:lnTo>
                  <a:lnTo>
                    <a:pt x="646" y="798"/>
                  </a:lnTo>
                  <a:lnTo>
                    <a:pt x="645" y="799"/>
                  </a:lnTo>
                  <a:lnTo>
                    <a:pt x="641" y="799"/>
                  </a:lnTo>
                  <a:lnTo>
                    <a:pt x="641" y="801"/>
                  </a:lnTo>
                  <a:lnTo>
                    <a:pt x="640" y="801"/>
                  </a:lnTo>
                  <a:lnTo>
                    <a:pt x="637" y="799"/>
                  </a:lnTo>
                  <a:lnTo>
                    <a:pt x="631" y="799"/>
                  </a:lnTo>
                  <a:lnTo>
                    <a:pt x="626" y="799"/>
                  </a:lnTo>
                  <a:lnTo>
                    <a:pt x="624" y="798"/>
                  </a:lnTo>
                  <a:lnTo>
                    <a:pt x="623" y="799"/>
                  </a:lnTo>
                  <a:lnTo>
                    <a:pt x="622" y="799"/>
                  </a:lnTo>
                  <a:lnTo>
                    <a:pt x="620" y="802"/>
                  </a:lnTo>
                  <a:lnTo>
                    <a:pt x="619" y="801"/>
                  </a:lnTo>
                  <a:lnTo>
                    <a:pt x="618" y="801"/>
                  </a:lnTo>
                  <a:lnTo>
                    <a:pt x="617" y="801"/>
                  </a:lnTo>
                  <a:lnTo>
                    <a:pt x="616" y="799"/>
                  </a:lnTo>
                  <a:lnTo>
                    <a:pt x="614" y="797"/>
                  </a:lnTo>
                  <a:lnTo>
                    <a:pt x="611" y="796"/>
                  </a:lnTo>
                  <a:lnTo>
                    <a:pt x="608" y="796"/>
                  </a:lnTo>
                  <a:lnTo>
                    <a:pt x="604" y="795"/>
                  </a:lnTo>
                  <a:lnTo>
                    <a:pt x="599" y="792"/>
                  </a:lnTo>
                  <a:lnTo>
                    <a:pt x="595" y="790"/>
                  </a:lnTo>
                  <a:lnTo>
                    <a:pt x="595" y="789"/>
                  </a:lnTo>
                  <a:lnTo>
                    <a:pt x="598" y="790"/>
                  </a:lnTo>
                  <a:lnTo>
                    <a:pt x="601" y="792"/>
                  </a:lnTo>
                  <a:lnTo>
                    <a:pt x="601" y="791"/>
                  </a:lnTo>
                  <a:lnTo>
                    <a:pt x="596" y="787"/>
                  </a:lnTo>
                  <a:lnTo>
                    <a:pt x="598" y="786"/>
                  </a:lnTo>
                  <a:lnTo>
                    <a:pt x="602" y="786"/>
                  </a:lnTo>
                  <a:lnTo>
                    <a:pt x="604" y="786"/>
                  </a:lnTo>
                  <a:lnTo>
                    <a:pt x="598" y="785"/>
                  </a:lnTo>
                  <a:lnTo>
                    <a:pt x="595" y="784"/>
                  </a:lnTo>
                  <a:lnTo>
                    <a:pt x="595" y="783"/>
                  </a:lnTo>
                  <a:lnTo>
                    <a:pt x="594" y="781"/>
                  </a:lnTo>
                  <a:lnTo>
                    <a:pt x="593" y="781"/>
                  </a:lnTo>
                  <a:lnTo>
                    <a:pt x="590" y="781"/>
                  </a:lnTo>
                  <a:lnTo>
                    <a:pt x="592" y="783"/>
                  </a:lnTo>
                  <a:lnTo>
                    <a:pt x="592" y="784"/>
                  </a:lnTo>
                  <a:lnTo>
                    <a:pt x="592" y="785"/>
                  </a:lnTo>
                  <a:lnTo>
                    <a:pt x="588" y="787"/>
                  </a:lnTo>
                  <a:lnTo>
                    <a:pt x="587" y="789"/>
                  </a:lnTo>
                  <a:lnTo>
                    <a:pt x="583" y="789"/>
                  </a:lnTo>
                  <a:lnTo>
                    <a:pt x="580" y="786"/>
                  </a:lnTo>
                  <a:lnTo>
                    <a:pt x="572" y="784"/>
                  </a:lnTo>
                  <a:lnTo>
                    <a:pt x="571" y="784"/>
                  </a:lnTo>
                  <a:lnTo>
                    <a:pt x="570" y="785"/>
                  </a:lnTo>
                  <a:lnTo>
                    <a:pt x="569" y="785"/>
                  </a:lnTo>
                  <a:lnTo>
                    <a:pt x="565" y="786"/>
                  </a:lnTo>
                  <a:lnTo>
                    <a:pt x="563" y="785"/>
                  </a:lnTo>
                  <a:lnTo>
                    <a:pt x="560" y="784"/>
                  </a:lnTo>
                  <a:lnTo>
                    <a:pt x="560" y="781"/>
                  </a:lnTo>
                  <a:lnTo>
                    <a:pt x="558" y="781"/>
                  </a:lnTo>
                  <a:lnTo>
                    <a:pt x="554" y="781"/>
                  </a:lnTo>
                  <a:lnTo>
                    <a:pt x="553" y="780"/>
                  </a:lnTo>
                  <a:lnTo>
                    <a:pt x="551" y="780"/>
                  </a:lnTo>
                  <a:lnTo>
                    <a:pt x="548" y="779"/>
                  </a:lnTo>
                  <a:lnTo>
                    <a:pt x="546" y="769"/>
                  </a:lnTo>
                  <a:lnTo>
                    <a:pt x="543" y="767"/>
                  </a:lnTo>
                  <a:lnTo>
                    <a:pt x="543" y="765"/>
                  </a:lnTo>
                  <a:lnTo>
                    <a:pt x="545" y="761"/>
                  </a:lnTo>
                  <a:lnTo>
                    <a:pt x="545" y="756"/>
                  </a:lnTo>
                  <a:lnTo>
                    <a:pt x="546" y="756"/>
                  </a:lnTo>
                  <a:lnTo>
                    <a:pt x="549" y="759"/>
                  </a:lnTo>
                  <a:lnTo>
                    <a:pt x="552" y="759"/>
                  </a:lnTo>
                  <a:lnTo>
                    <a:pt x="553" y="761"/>
                  </a:lnTo>
                  <a:lnTo>
                    <a:pt x="554" y="762"/>
                  </a:lnTo>
                  <a:lnTo>
                    <a:pt x="555" y="765"/>
                  </a:lnTo>
                  <a:lnTo>
                    <a:pt x="555" y="768"/>
                  </a:lnTo>
                  <a:lnTo>
                    <a:pt x="557" y="772"/>
                  </a:lnTo>
                  <a:lnTo>
                    <a:pt x="558" y="772"/>
                  </a:lnTo>
                  <a:lnTo>
                    <a:pt x="559" y="769"/>
                  </a:lnTo>
                  <a:lnTo>
                    <a:pt x="559" y="767"/>
                  </a:lnTo>
                  <a:lnTo>
                    <a:pt x="558" y="765"/>
                  </a:lnTo>
                  <a:lnTo>
                    <a:pt x="560" y="762"/>
                  </a:lnTo>
                  <a:lnTo>
                    <a:pt x="561" y="765"/>
                  </a:lnTo>
                  <a:lnTo>
                    <a:pt x="561" y="767"/>
                  </a:lnTo>
                  <a:lnTo>
                    <a:pt x="563" y="769"/>
                  </a:lnTo>
                  <a:lnTo>
                    <a:pt x="563" y="771"/>
                  </a:lnTo>
                  <a:lnTo>
                    <a:pt x="564" y="769"/>
                  </a:lnTo>
                  <a:lnTo>
                    <a:pt x="565" y="767"/>
                  </a:lnTo>
                  <a:lnTo>
                    <a:pt x="564" y="765"/>
                  </a:lnTo>
                  <a:lnTo>
                    <a:pt x="565" y="763"/>
                  </a:lnTo>
                  <a:lnTo>
                    <a:pt x="565" y="762"/>
                  </a:lnTo>
                  <a:lnTo>
                    <a:pt x="564" y="761"/>
                  </a:lnTo>
                  <a:lnTo>
                    <a:pt x="565" y="759"/>
                  </a:lnTo>
                  <a:lnTo>
                    <a:pt x="566" y="761"/>
                  </a:lnTo>
                  <a:lnTo>
                    <a:pt x="566" y="759"/>
                  </a:lnTo>
                  <a:lnTo>
                    <a:pt x="567" y="759"/>
                  </a:lnTo>
                  <a:lnTo>
                    <a:pt x="569" y="760"/>
                  </a:lnTo>
                  <a:lnTo>
                    <a:pt x="571" y="759"/>
                  </a:lnTo>
                  <a:lnTo>
                    <a:pt x="570" y="757"/>
                  </a:lnTo>
                  <a:lnTo>
                    <a:pt x="571" y="756"/>
                  </a:lnTo>
                  <a:lnTo>
                    <a:pt x="571" y="759"/>
                  </a:lnTo>
                  <a:lnTo>
                    <a:pt x="572" y="761"/>
                  </a:lnTo>
                  <a:lnTo>
                    <a:pt x="571" y="765"/>
                  </a:lnTo>
                  <a:lnTo>
                    <a:pt x="572" y="767"/>
                  </a:lnTo>
                  <a:lnTo>
                    <a:pt x="572" y="765"/>
                  </a:lnTo>
                  <a:lnTo>
                    <a:pt x="574" y="762"/>
                  </a:lnTo>
                  <a:lnTo>
                    <a:pt x="575" y="761"/>
                  </a:lnTo>
                  <a:lnTo>
                    <a:pt x="574" y="759"/>
                  </a:lnTo>
                  <a:lnTo>
                    <a:pt x="574" y="755"/>
                  </a:lnTo>
                  <a:lnTo>
                    <a:pt x="575" y="753"/>
                  </a:lnTo>
                  <a:lnTo>
                    <a:pt x="575" y="755"/>
                  </a:lnTo>
                  <a:lnTo>
                    <a:pt x="576" y="756"/>
                  </a:lnTo>
                  <a:lnTo>
                    <a:pt x="578" y="756"/>
                  </a:lnTo>
                  <a:lnTo>
                    <a:pt x="578" y="759"/>
                  </a:lnTo>
                  <a:lnTo>
                    <a:pt x="578" y="765"/>
                  </a:lnTo>
                  <a:lnTo>
                    <a:pt x="578" y="769"/>
                  </a:lnTo>
                  <a:lnTo>
                    <a:pt x="580" y="765"/>
                  </a:lnTo>
                  <a:lnTo>
                    <a:pt x="580" y="761"/>
                  </a:lnTo>
                  <a:lnTo>
                    <a:pt x="580" y="756"/>
                  </a:lnTo>
                  <a:lnTo>
                    <a:pt x="580" y="753"/>
                  </a:lnTo>
                  <a:lnTo>
                    <a:pt x="581" y="753"/>
                  </a:lnTo>
                  <a:lnTo>
                    <a:pt x="582" y="759"/>
                  </a:lnTo>
                  <a:lnTo>
                    <a:pt x="583" y="760"/>
                  </a:lnTo>
                  <a:lnTo>
                    <a:pt x="583" y="757"/>
                  </a:lnTo>
                  <a:lnTo>
                    <a:pt x="584" y="757"/>
                  </a:lnTo>
                  <a:lnTo>
                    <a:pt x="584" y="760"/>
                  </a:lnTo>
                  <a:lnTo>
                    <a:pt x="586" y="766"/>
                  </a:lnTo>
                  <a:lnTo>
                    <a:pt x="587" y="762"/>
                  </a:lnTo>
                  <a:lnTo>
                    <a:pt x="587" y="760"/>
                  </a:lnTo>
                  <a:lnTo>
                    <a:pt x="587" y="756"/>
                  </a:lnTo>
                  <a:lnTo>
                    <a:pt x="587" y="747"/>
                  </a:lnTo>
                  <a:lnTo>
                    <a:pt x="588" y="747"/>
                  </a:lnTo>
                  <a:lnTo>
                    <a:pt x="590" y="750"/>
                  </a:lnTo>
                  <a:lnTo>
                    <a:pt x="590" y="754"/>
                  </a:lnTo>
                  <a:lnTo>
                    <a:pt x="589" y="757"/>
                  </a:lnTo>
                  <a:lnTo>
                    <a:pt x="588" y="763"/>
                  </a:lnTo>
                  <a:lnTo>
                    <a:pt x="589" y="767"/>
                  </a:lnTo>
                  <a:lnTo>
                    <a:pt x="590" y="766"/>
                  </a:lnTo>
                  <a:lnTo>
                    <a:pt x="592" y="762"/>
                  </a:lnTo>
                  <a:lnTo>
                    <a:pt x="593" y="762"/>
                  </a:lnTo>
                  <a:lnTo>
                    <a:pt x="593" y="763"/>
                  </a:lnTo>
                  <a:lnTo>
                    <a:pt x="594" y="763"/>
                  </a:lnTo>
                  <a:lnTo>
                    <a:pt x="595" y="761"/>
                  </a:lnTo>
                  <a:lnTo>
                    <a:pt x="594" y="757"/>
                  </a:lnTo>
                  <a:lnTo>
                    <a:pt x="594" y="754"/>
                  </a:lnTo>
                  <a:lnTo>
                    <a:pt x="594" y="750"/>
                  </a:lnTo>
                  <a:lnTo>
                    <a:pt x="595" y="750"/>
                  </a:lnTo>
                  <a:lnTo>
                    <a:pt x="595" y="754"/>
                  </a:lnTo>
                  <a:lnTo>
                    <a:pt x="595" y="760"/>
                  </a:lnTo>
                  <a:lnTo>
                    <a:pt x="596" y="762"/>
                  </a:lnTo>
                  <a:lnTo>
                    <a:pt x="598" y="763"/>
                  </a:lnTo>
                  <a:lnTo>
                    <a:pt x="598" y="760"/>
                  </a:lnTo>
                  <a:lnTo>
                    <a:pt x="599" y="759"/>
                  </a:lnTo>
                  <a:lnTo>
                    <a:pt x="600" y="762"/>
                  </a:lnTo>
                  <a:lnTo>
                    <a:pt x="600" y="765"/>
                  </a:lnTo>
                  <a:lnTo>
                    <a:pt x="599" y="767"/>
                  </a:lnTo>
                  <a:lnTo>
                    <a:pt x="600" y="771"/>
                  </a:lnTo>
                  <a:lnTo>
                    <a:pt x="601" y="767"/>
                  </a:lnTo>
                  <a:lnTo>
                    <a:pt x="601" y="769"/>
                  </a:lnTo>
                  <a:lnTo>
                    <a:pt x="601" y="771"/>
                  </a:lnTo>
                  <a:lnTo>
                    <a:pt x="602" y="772"/>
                  </a:lnTo>
                  <a:lnTo>
                    <a:pt x="605" y="773"/>
                  </a:lnTo>
                  <a:lnTo>
                    <a:pt x="604" y="767"/>
                  </a:lnTo>
                  <a:lnTo>
                    <a:pt x="604" y="765"/>
                  </a:lnTo>
                  <a:lnTo>
                    <a:pt x="604" y="761"/>
                  </a:lnTo>
                  <a:lnTo>
                    <a:pt x="606" y="759"/>
                  </a:lnTo>
                  <a:lnTo>
                    <a:pt x="606" y="760"/>
                  </a:lnTo>
                  <a:lnTo>
                    <a:pt x="606" y="762"/>
                  </a:lnTo>
                  <a:lnTo>
                    <a:pt x="606" y="765"/>
                  </a:lnTo>
                  <a:lnTo>
                    <a:pt x="606" y="768"/>
                  </a:lnTo>
                  <a:lnTo>
                    <a:pt x="606" y="772"/>
                  </a:lnTo>
                  <a:lnTo>
                    <a:pt x="606" y="773"/>
                  </a:lnTo>
                  <a:lnTo>
                    <a:pt x="607" y="773"/>
                  </a:lnTo>
                  <a:lnTo>
                    <a:pt x="607" y="771"/>
                  </a:lnTo>
                  <a:lnTo>
                    <a:pt x="607" y="768"/>
                  </a:lnTo>
                  <a:lnTo>
                    <a:pt x="610" y="766"/>
                  </a:lnTo>
                  <a:lnTo>
                    <a:pt x="610" y="762"/>
                  </a:lnTo>
                  <a:lnTo>
                    <a:pt x="611" y="762"/>
                  </a:lnTo>
                  <a:lnTo>
                    <a:pt x="613" y="765"/>
                  </a:lnTo>
                  <a:lnTo>
                    <a:pt x="614" y="768"/>
                  </a:lnTo>
                  <a:lnTo>
                    <a:pt x="614" y="771"/>
                  </a:lnTo>
                  <a:lnTo>
                    <a:pt x="617" y="766"/>
                  </a:lnTo>
                  <a:lnTo>
                    <a:pt x="624" y="768"/>
                  </a:lnTo>
                  <a:lnTo>
                    <a:pt x="622" y="766"/>
                  </a:lnTo>
                  <a:lnTo>
                    <a:pt x="618" y="763"/>
                  </a:lnTo>
                  <a:lnTo>
                    <a:pt x="618" y="761"/>
                  </a:lnTo>
                  <a:lnTo>
                    <a:pt x="616" y="761"/>
                  </a:lnTo>
                  <a:lnTo>
                    <a:pt x="614" y="760"/>
                  </a:lnTo>
                  <a:lnTo>
                    <a:pt x="610" y="759"/>
                  </a:lnTo>
                  <a:lnTo>
                    <a:pt x="607" y="755"/>
                  </a:lnTo>
                  <a:lnTo>
                    <a:pt x="605" y="754"/>
                  </a:lnTo>
                  <a:lnTo>
                    <a:pt x="602" y="750"/>
                  </a:lnTo>
                  <a:lnTo>
                    <a:pt x="599" y="749"/>
                  </a:lnTo>
                  <a:lnTo>
                    <a:pt x="587" y="743"/>
                  </a:lnTo>
                  <a:lnTo>
                    <a:pt x="586" y="742"/>
                  </a:lnTo>
                  <a:lnTo>
                    <a:pt x="588" y="741"/>
                  </a:lnTo>
                  <a:lnTo>
                    <a:pt x="589" y="741"/>
                  </a:lnTo>
                  <a:lnTo>
                    <a:pt x="592" y="743"/>
                  </a:lnTo>
                  <a:lnTo>
                    <a:pt x="592" y="742"/>
                  </a:lnTo>
                  <a:lnTo>
                    <a:pt x="593" y="742"/>
                  </a:lnTo>
                  <a:lnTo>
                    <a:pt x="596" y="744"/>
                  </a:lnTo>
                  <a:lnTo>
                    <a:pt x="598" y="745"/>
                  </a:lnTo>
                  <a:lnTo>
                    <a:pt x="598" y="743"/>
                  </a:lnTo>
                  <a:lnTo>
                    <a:pt x="599" y="741"/>
                  </a:lnTo>
                  <a:lnTo>
                    <a:pt x="599" y="738"/>
                  </a:lnTo>
                  <a:lnTo>
                    <a:pt x="600" y="738"/>
                  </a:lnTo>
                  <a:lnTo>
                    <a:pt x="599" y="736"/>
                  </a:lnTo>
                  <a:lnTo>
                    <a:pt x="598" y="732"/>
                  </a:lnTo>
                  <a:lnTo>
                    <a:pt x="595" y="731"/>
                  </a:lnTo>
                  <a:lnTo>
                    <a:pt x="595" y="730"/>
                  </a:lnTo>
                  <a:lnTo>
                    <a:pt x="596" y="726"/>
                  </a:lnTo>
                  <a:lnTo>
                    <a:pt x="598" y="723"/>
                  </a:lnTo>
                  <a:lnTo>
                    <a:pt x="599" y="723"/>
                  </a:lnTo>
                  <a:lnTo>
                    <a:pt x="599" y="727"/>
                  </a:lnTo>
                  <a:lnTo>
                    <a:pt x="599" y="731"/>
                  </a:lnTo>
                  <a:lnTo>
                    <a:pt x="601" y="731"/>
                  </a:lnTo>
                  <a:lnTo>
                    <a:pt x="601" y="729"/>
                  </a:lnTo>
                  <a:lnTo>
                    <a:pt x="604" y="729"/>
                  </a:lnTo>
                  <a:lnTo>
                    <a:pt x="605" y="730"/>
                  </a:lnTo>
                  <a:lnTo>
                    <a:pt x="606" y="730"/>
                  </a:lnTo>
                  <a:lnTo>
                    <a:pt x="607" y="731"/>
                  </a:lnTo>
                  <a:lnTo>
                    <a:pt x="608" y="731"/>
                  </a:lnTo>
                  <a:lnTo>
                    <a:pt x="611" y="730"/>
                  </a:lnTo>
                  <a:lnTo>
                    <a:pt x="610" y="729"/>
                  </a:lnTo>
                  <a:lnTo>
                    <a:pt x="607" y="726"/>
                  </a:lnTo>
                  <a:lnTo>
                    <a:pt x="606" y="724"/>
                  </a:lnTo>
                  <a:lnTo>
                    <a:pt x="606" y="721"/>
                  </a:lnTo>
                  <a:lnTo>
                    <a:pt x="607" y="718"/>
                  </a:lnTo>
                  <a:lnTo>
                    <a:pt x="608" y="719"/>
                  </a:lnTo>
                  <a:lnTo>
                    <a:pt x="610" y="721"/>
                  </a:lnTo>
                  <a:lnTo>
                    <a:pt x="611" y="725"/>
                  </a:lnTo>
                  <a:lnTo>
                    <a:pt x="611" y="726"/>
                  </a:lnTo>
                  <a:lnTo>
                    <a:pt x="614" y="725"/>
                  </a:lnTo>
                  <a:lnTo>
                    <a:pt x="614" y="724"/>
                  </a:lnTo>
                  <a:lnTo>
                    <a:pt x="616" y="727"/>
                  </a:lnTo>
                  <a:lnTo>
                    <a:pt x="616" y="732"/>
                  </a:lnTo>
                  <a:lnTo>
                    <a:pt x="617" y="735"/>
                  </a:lnTo>
                  <a:lnTo>
                    <a:pt x="618" y="732"/>
                  </a:lnTo>
                  <a:lnTo>
                    <a:pt x="618" y="729"/>
                  </a:lnTo>
                  <a:lnTo>
                    <a:pt x="619" y="726"/>
                  </a:lnTo>
                  <a:lnTo>
                    <a:pt x="619" y="721"/>
                  </a:lnTo>
                  <a:lnTo>
                    <a:pt x="622" y="718"/>
                  </a:lnTo>
                  <a:lnTo>
                    <a:pt x="623" y="718"/>
                  </a:lnTo>
                  <a:lnTo>
                    <a:pt x="626" y="719"/>
                  </a:lnTo>
                  <a:lnTo>
                    <a:pt x="626" y="725"/>
                  </a:lnTo>
                  <a:lnTo>
                    <a:pt x="626" y="732"/>
                  </a:lnTo>
                  <a:lnTo>
                    <a:pt x="628" y="731"/>
                  </a:lnTo>
                  <a:lnTo>
                    <a:pt x="629" y="725"/>
                  </a:lnTo>
                  <a:lnTo>
                    <a:pt x="629" y="719"/>
                  </a:lnTo>
                  <a:lnTo>
                    <a:pt x="629" y="718"/>
                  </a:lnTo>
                  <a:lnTo>
                    <a:pt x="630" y="718"/>
                  </a:lnTo>
                  <a:lnTo>
                    <a:pt x="630" y="719"/>
                  </a:lnTo>
                  <a:lnTo>
                    <a:pt x="630" y="724"/>
                  </a:lnTo>
                  <a:lnTo>
                    <a:pt x="631" y="724"/>
                  </a:lnTo>
                  <a:lnTo>
                    <a:pt x="631" y="726"/>
                  </a:lnTo>
                  <a:lnTo>
                    <a:pt x="633" y="726"/>
                  </a:lnTo>
                  <a:lnTo>
                    <a:pt x="634" y="724"/>
                  </a:lnTo>
                  <a:lnTo>
                    <a:pt x="635" y="719"/>
                  </a:lnTo>
                  <a:lnTo>
                    <a:pt x="636" y="721"/>
                  </a:lnTo>
                  <a:lnTo>
                    <a:pt x="637" y="725"/>
                  </a:lnTo>
                  <a:lnTo>
                    <a:pt x="640" y="724"/>
                  </a:lnTo>
                  <a:lnTo>
                    <a:pt x="641" y="723"/>
                  </a:lnTo>
                  <a:lnTo>
                    <a:pt x="641" y="720"/>
                  </a:lnTo>
                  <a:lnTo>
                    <a:pt x="642" y="719"/>
                  </a:lnTo>
                  <a:lnTo>
                    <a:pt x="646" y="721"/>
                  </a:lnTo>
                  <a:lnTo>
                    <a:pt x="648" y="721"/>
                  </a:lnTo>
                  <a:lnTo>
                    <a:pt x="651" y="721"/>
                  </a:lnTo>
                  <a:lnTo>
                    <a:pt x="649" y="724"/>
                  </a:lnTo>
                  <a:lnTo>
                    <a:pt x="652" y="720"/>
                  </a:lnTo>
                  <a:lnTo>
                    <a:pt x="654" y="721"/>
                  </a:lnTo>
                  <a:lnTo>
                    <a:pt x="655" y="718"/>
                  </a:lnTo>
                  <a:lnTo>
                    <a:pt x="654" y="714"/>
                  </a:lnTo>
                  <a:lnTo>
                    <a:pt x="655" y="713"/>
                  </a:lnTo>
                  <a:lnTo>
                    <a:pt x="654" y="711"/>
                  </a:lnTo>
                  <a:lnTo>
                    <a:pt x="655" y="711"/>
                  </a:lnTo>
                  <a:lnTo>
                    <a:pt x="657" y="713"/>
                  </a:lnTo>
                  <a:lnTo>
                    <a:pt x="655" y="715"/>
                  </a:lnTo>
                  <a:lnTo>
                    <a:pt x="657" y="718"/>
                  </a:lnTo>
                  <a:lnTo>
                    <a:pt x="655" y="721"/>
                  </a:lnTo>
                  <a:lnTo>
                    <a:pt x="657" y="726"/>
                  </a:lnTo>
                  <a:lnTo>
                    <a:pt x="659" y="727"/>
                  </a:lnTo>
                  <a:lnTo>
                    <a:pt x="659" y="726"/>
                  </a:lnTo>
                  <a:lnTo>
                    <a:pt x="659" y="720"/>
                  </a:lnTo>
                  <a:lnTo>
                    <a:pt x="659" y="718"/>
                  </a:lnTo>
                  <a:lnTo>
                    <a:pt x="660" y="715"/>
                  </a:lnTo>
                  <a:lnTo>
                    <a:pt x="661" y="718"/>
                  </a:lnTo>
                  <a:lnTo>
                    <a:pt x="661" y="723"/>
                  </a:lnTo>
                  <a:lnTo>
                    <a:pt x="661" y="725"/>
                  </a:lnTo>
                  <a:lnTo>
                    <a:pt x="661" y="727"/>
                  </a:lnTo>
                  <a:lnTo>
                    <a:pt x="663" y="730"/>
                  </a:lnTo>
                  <a:lnTo>
                    <a:pt x="664" y="729"/>
                  </a:lnTo>
                  <a:lnTo>
                    <a:pt x="664" y="727"/>
                  </a:lnTo>
                  <a:lnTo>
                    <a:pt x="664" y="724"/>
                  </a:lnTo>
                  <a:lnTo>
                    <a:pt x="664" y="719"/>
                  </a:lnTo>
                  <a:lnTo>
                    <a:pt x="664" y="718"/>
                  </a:lnTo>
                  <a:lnTo>
                    <a:pt x="664" y="717"/>
                  </a:lnTo>
                  <a:lnTo>
                    <a:pt x="665" y="718"/>
                  </a:lnTo>
                  <a:lnTo>
                    <a:pt x="666" y="723"/>
                  </a:lnTo>
                  <a:lnTo>
                    <a:pt x="666" y="724"/>
                  </a:lnTo>
                  <a:lnTo>
                    <a:pt x="666" y="726"/>
                  </a:lnTo>
                  <a:lnTo>
                    <a:pt x="669" y="725"/>
                  </a:lnTo>
                  <a:lnTo>
                    <a:pt x="667" y="726"/>
                  </a:lnTo>
                  <a:lnTo>
                    <a:pt x="667" y="732"/>
                  </a:lnTo>
                  <a:lnTo>
                    <a:pt x="667" y="736"/>
                  </a:lnTo>
                  <a:lnTo>
                    <a:pt x="669" y="735"/>
                  </a:lnTo>
                  <a:lnTo>
                    <a:pt x="669" y="733"/>
                  </a:lnTo>
                  <a:lnTo>
                    <a:pt x="670" y="733"/>
                  </a:lnTo>
                  <a:lnTo>
                    <a:pt x="671" y="735"/>
                  </a:lnTo>
                  <a:lnTo>
                    <a:pt x="672" y="731"/>
                  </a:lnTo>
                  <a:lnTo>
                    <a:pt x="672" y="729"/>
                  </a:lnTo>
                  <a:lnTo>
                    <a:pt x="676" y="730"/>
                  </a:lnTo>
                  <a:lnTo>
                    <a:pt x="677" y="729"/>
                  </a:lnTo>
                  <a:lnTo>
                    <a:pt x="677" y="727"/>
                  </a:lnTo>
                  <a:lnTo>
                    <a:pt x="675" y="726"/>
                  </a:lnTo>
                  <a:lnTo>
                    <a:pt x="676" y="724"/>
                  </a:lnTo>
                  <a:lnTo>
                    <a:pt x="677" y="723"/>
                  </a:lnTo>
                  <a:lnTo>
                    <a:pt x="676" y="723"/>
                  </a:lnTo>
                  <a:lnTo>
                    <a:pt x="673" y="723"/>
                  </a:lnTo>
                  <a:lnTo>
                    <a:pt x="669" y="721"/>
                  </a:lnTo>
                  <a:lnTo>
                    <a:pt x="667" y="717"/>
                  </a:lnTo>
                  <a:lnTo>
                    <a:pt x="671" y="717"/>
                  </a:lnTo>
                  <a:lnTo>
                    <a:pt x="669" y="715"/>
                  </a:lnTo>
                  <a:lnTo>
                    <a:pt x="665" y="713"/>
                  </a:lnTo>
                  <a:lnTo>
                    <a:pt x="664" y="712"/>
                  </a:lnTo>
                  <a:lnTo>
                    <a:pt x="658" y="709"/>
                  </a:lnTo>
                  <a:lnTo>
                    <a:pt x="655" y="705"/>
                  </a:lnTo>
                  <a:lnTo>
                    <a:pt x="652" y="703"/>
                  </a:lnTo>
                  <a:lnTo>
                    <a:pt x="647" y="703"/>
                  </a:lnTo>
                  <a:lnTo>
                    <a:pt x="641" y="702"/>
                  </a:lnTo>
                  <a:lnTo>
                    <a:pt x="637" y="702"/>
                  </a:lnTo>
                  <a:lnTo>
                    <a:pt x="637" y="700"/>
                  </a:lnTo>
                  <a:lnTo>
                    <a:pt x="639" y="698"/>
                  </a:lnTo>
                  <a:lnTo>
                    <a:pt x="636" y="697"/>
                  </a:lnTo>
                  <a:lnTo>
                    <a:pt x="635" y="697"/>
                  </a:lnTo>
                  <a:lnTo>
                    <a:pt x="634" y="697"/>
                  </a:lnTo>
                  <a:lnTo>
                    <a:pt x="630" y="697"/>
                  </a:lnTo>
                  <a:lnTo>
                    <a:pt x="629" y="697"/>
                  </a:lnTo>
                  <a:lnTo>
                    <a:pt x="629" y="692"/>
                  </a:lnTo>
                  <a:lnTo>
                    <a:pt x="630" y="690"/>
                  </a:lnTo>
                  <a:lnTo>
                    <a:pt x="634" y="689"/>
                  </a:lnTo>
                  <a:lnTo>
                    <a:pt x="635" y="689"/>
                  </a:lnTo>
                  <a:lnTo>
                    <a:pt x="634" y="692"/>
                  </a:lnTo>
                  <a:lnTo>
                    <a:pt x="635" y="692"/>
                  </a:lnTo>
                  <a:lnTo>
                    <a:pt x="637" y="689"/>
                  </a:lnTo>
                  <a:lnTo>
                    <a:pt x="637" y="690"/>
                  </a:lnTo>
                  <a:lnTo>
                    <a:pt x="639" y="692"/>
                  </a:lnTo>
                  <a:lnTo>
                    <a:pt x="640" y="692"/>
                  </a:lnTo>
                  <a:lnTo>
                    <a:pt x="640" y="691"/>
                  </a:lnTo>
                  <a:lnTo>
                    <a:pt x="641" y="690"/>
                  </a:lnTo>
                  <a:lnTo>
                    <a:pt x="641" y="694"/>
                  </a:lnTo>
                  <a:lnTo>
                    <a:pt x="642" y="695"/>
                  </a:lnTo>
                  <a:lnTo>
                    <a:pt x="642" y="698"/>
                  </a:lnTo>
                  <a:lnTo>
                    <a:pt x="645" y="700"/>
                  </a:lnTo>
                  <a:lnTo>
                    <a:pt x="645" y="701"/>
                  </a:lnTo>
                  <a:lnTo>
                    <a:pt x="646" y="701"/>
                  </a:lnTo>
                  <a:lnTo>
                    <a:pt x="646" y="697"/>
                  </a:lnTo>
                  <a:lnTo>
                    <a:pt x="646" y="695"/>
                  </a:lnTo>
                  <a:lnTo>
                    <a:pt x="647" y="692"/>
                  </a:lnTo>
                  <a:lnTo>
                    <a:pt x="648" y="691"/>
                  </a:lnTo>
                  <a:lnTo>
                    <a:pt x="649" y="690"/>
                  </a:lnTo>
                  <a:lnTo>
                    <a:pt x="652" y="692"/>
                  </a:lnTo>
                  <a:lnTo>
                    <a:pt x="653" y="694"/>
                  </a:lnTo>
                  <a:lnTo>
                    <a:pt x="655" y="697"/>
                  </a:lnTo>
                  <a:lnTo>
                    <a:pt x="657" y="697"/>
                  </a:lnTo>
                  <a:lnTo>
                    <a:pt x="658" y="698"/>
                  </a:lnTo>
                  <a:lnTo>
                    <a:pt x="659" y="696"/>
                  </a:lnTo>
                  <a:lnTo>
                    <a:pt x="659" y="695"/>
                  </a:lnTo>
                  <a:lnTo>
                    <a:pt x="659" y="697"/>
                  </a:lnTo>
                  <a:lnTo>
                    <a:pt x="661" y="698"/>
                  </a:lnTo>
                  <a:lnTo>
                    <a:pt x="661" y="700"/>
                  </a:lnTo>
                  <a:lnTo>
                    <a:pt x="663" y="700"/>
                  </a:lnTo>
                  <a:lnTo>
                    <a:pt x="664" y="696"/>
                  </a:lnTo>
                  <a:lnTo>
                    <a:pt x="664" y="692"/>
                  </a:lnTo>
                  <a:lnTo>
                    <a:pt x="664" y="694"/>
                  </a:lnTo>
                  <a:lnTo>
                    <a:pt x="665" y="692"/>
                  </a:lnTo>
                  <a:lnTo>
                    <a:pt x="666" y="691"/>
                  </a:lnTo>
                  <a:lnTo>
                    <a:pt x="667" y="691"/>
                  </a:lnTo>
                  <a:lnTo>
                    <a:pt x="669" y="695"/>
                  </a:lnTo>
                  <a:lnTo>
                    <a:pt x="670" y="697"/>
                  </a:lnTo>
                  <a:lnTo>
                    <a:pt x="670" y="702"/>
                  </a:lnTo>
                  <a:lnTo>
                    <a:pt x="672" y="705"/>
                  </a:lnTo>
                  <a:lnTo>
                    <a:pt x="673" y="703"/>
                  </a:lnTo>
                  <a:lnTo>
                    <a:pt x="673" y="700"/>
                  </a:lnTo>
                  <a:lnTo>
                    <a:pt x="673" y="695"/>
                  </a:lnTo>
                  <a:lnTo>
                    <a:pt x="675" y="691"/>
                  </a:lnTo>
                  <a:lnTo>
                    <a:pt x="676" y="692"/>
                  </a:lnTo>
                  <a:lnTo>
                    <a:pt x="676" y="696"/>
                  </a:lnTo>
                  <a:lnTo>
                    <a:pt x="676" y="700"/>
                  </a:lnTo>
                  <a:lnTo>
                    <a:pt x="676" y="702"/>
                  </a:lnTo>
                  <a:lnTo>
                    <a:pt x="677" y="701"/>
                  </a:lnTo>
                  <a:lnTo>
                    <a:pt x="678" y="698"/>
                  </a:lnTo>
                  <a:lnTo>
                    <a:pt x="679" y="695"/>
                  </a:lnTo>
                  <a:lnTo>
                    <a:pt x="681" y="692"/>
                  </a:lnTo>
                  <a:lnTo>
                    <a:pt x="683" y="695"/>
                  </a:lnTo>
                  <a:lnTo>
                    <a:pt x="685" y="696"/>
                  </a:lnTo>
                  <a:lnTo>
                    <a:pt x="687" y="696"/>
                  </a:lnTo>
                  <a:lnTo>
                    <a:pt x="688" y="696"/>
                  </a:lnTo>
                  <a:lnTo>
                    <a:pt x="690" y="697"/>
                  </a:lnTo>
                  <a:lnTo>
                    <a:pt x="692" y="701"/>
                  </a:lnTo>
                  <a:lnTo>
                    <a:pt x="693" y="705"/>
                  </a:lnTo>
                  <a:lnTo>
                    <a:pt x="694" y="707"/>
                  </a:lnTo>
                  <a:lnTo>
                    <a:pt x="695" y="706"/>
                  </a:lnTo>
                  <a:lnTo>
                    <a:pt x="696" y="706"/>
                  </a:lnTo>
                  <a:lnTo>
                    <a:pt x="696" y="703"/>
                  </a:lnTo>
                  <a:lnTo>
                    <a:pt x="698" y="700"/>
                  </a:lnTo>
                  <a:lnTo>
                    <a:pt x="700" y="701"/>
                  </a:lnTo>
                  <a:lnTo>
                    <a:pt x="701" y="702"/>
                  </a:lnTo>
                  <a:lnTo>
                    <a:pt x="702" y="701"/>
                  </a:lnTo>
                  <a:lnTo>
                    <a:pt x="700" y="697"/>
                  </a:lnTo>
                  <a:lnTo>
                    <a:pt x="698" y="692"/>
                  </a:lnTo>
                  <a:lnTo>
                    <a:pt x="695" y="690"/>
                  </a:lnTo>
                  <a:lnTo>
                    <a:pt x="694" y="686"/>
                  </a:lnTo>
                  <a:lnTo>
                    <a:pt x="693" y="683"/>
                  </a:lnTo>
                  <a:lnTo>
                    <a:pt x="693" y="679"/>
                  </a:lnTo>
                  <a:lnTo>
                    <a:pt x="694" y="680"/>
                  </a:lnTo>
                  <a:lnTo>
                    <a:pt x="695" y="686"/>
                  </a:lnTo>
                  <a:lnTo>
                    <a:pt x="696" y="684"/>
                  </a:lnTo>
                  <a:lnTo>
                    <a:pt x="696" y="680"/>
                  </a:lnTo>
                  <a:lnTo>
                    <a:pt x="698" y="679"/>
                  </a:lnTo>
                  <a:lnTo>
                    <a:pt x="699" y="676"/>
                  </a:lnTo>
                  <a:lnTo>
                    <a:pt x="698" y="673"/>
                  </a:lnTo>
                  <a:lnTo>
                    <a:pt x="695" y="670"/>
                  </a:lnTo>
                  <a:lnTo>
                    <a:pt x="694" y="667"/>
                  </a:lnTo>
                  <a:lnTo>
                    <a:pt x="695" y="666"/>
                  </a:lnTo>
                  <a:lnTo>
                    <a:pt x="699" y="667"/>
                  </a:lnTo>
                  <a:lnTo>
                    <a:pt x="700" y="667"/>
                  </a:lnTo>
                  <a:lnTo>
                    <a:pt x="700" y="676"/>
                  </a:lnTo>
                  <a:lnTo>
                    <a:pt x="701" y="682"/>
                  </a:lnTo>
                  <a:lnTo>
                    <a:pt x="702" y="683"/>
                  </a:lnTo>
                  <a:lnTo>
                    <a:pt x="702" y="680"/>
                  </a:lnTo>
                  <a:lnTo>
                    <a:pt x="702" y="677"/>
                  </a:lnTo>
                  <a:lnTo>
                    <a:pt x="704" y="672"/>
                  </a:lnTo>
                  <a:lnTo>
                    <a:pt x="704" y="668"/>
                  </a:lnTo>
                  <a:lnTo>
                    <a:pt x="705" y="672"/>
                  </a:lnTo>
                  <a:lnTo>
                    <a:pt x="705" y="676"/>
                  </a:lnTo>
                  <a:lnTo>
                    <a:pt x="706" y="678"/>
                  </a:lnTo>
                  <a:lnTo>
                    <a:pt x="706" y="680"/>
                  </a:lnTo>
                  <a:lnTo>
                    <a:pt x="706" y="685"/>
                  </a:lnTo>
                  <a:lnTo>
                    <a:pt x="706" y="686"/>
                  </a:lnTo>
                  <a:lnTo>
                    <a:pt x="708" y="686"/>
                  </a:lnTo>
                  <a:lnTo>
                    <a:pt x="710" y="683"/>
                  </a:lnTo>
                  <a:lnTo>
                    <a:pt x="710" y="678"/>
                  </a:lnTo>
                  <a:lnTo>
                    <a:pt x="710" y="676"/>
                  </a:lnTo>
                  <a:lnTo>
                    <a:pt x="711" y="674"/>
                  </a:lnTo>
                  <a:lnTo>
                    <a:pt x="712" y="673"/>
                  </a:lnTo>
                  <a:lnTo>
                    <a:pt x="713" y="677"/>
                  </a:lnTo>
                  <a:lnTo>
                    <a:pt x="716" y="677"/>
                  </a:lnTo>
                  <a:lnTo>
                    <a:pt x="716" y="674"/>
                  </a:lnTo>
                  <a:lnTo>
                    <a:pt x="716" y="673"/>
                  </a:lnTo>
                  <a:lnTo>
                    <a:pt x="718" y="673"/>
                  </a:lnTo>
                  <a:lnTo>
                    <a:pt x="719" y="676"/>
                  </a:lnTo>
                  <a:lnTo>
                    <a:pt x="720" y="674"/>
                  </a:lnTo>
                  <a:lnTo>
                    <a:pt x="720" y="672"/>
                  </a:lnTo>
                  <a:lnTo>
                    <a:pt x="719" y="670"/>
                  </a:lnTo>
                  <a:lnTo>
                    <a:pt x="716" y="671"/>
                  </a:lnTo>
                  <a:lnTo>
                    <a:pt x="713" y="670"/>
                  </a:lnTo>
                  <a:lnTo>
                    <a:pt x="711" y="667"/>
                  </a:lnTo>
                  <a:lnTo>
                    <a:pt x="707" y="665"/>
                  </a:lnTo>
                  <a:lnTo>
                    <a:pt x="706" y="665"/>
                  </a:lnTo>
                  <a:lnTo>
                    <a:pt x="702" y="665"/>
                  </a:lnTo>
                  <a:lnTo>
                    <a:pt x="700" y="664"/>
                  </a:lnTo>
                  <a:lnTo>
                    <a:pt x="695" y="662"/>
                  </a:lnTo>
                  <a:lnTo>
                    <a:pt x="692" y="662"/>
                  </a:lnTo>
                  <a:lnTo>
                    <a:pt x="690" y="661"/>
                  </a:lnTo>
                  <a:lnTo>
                    <a:pt x="689" y="661"/>
                  </a:lnTo>
                  <a:lnTo>
                    <a:pt x="685" y="660"/>
                  </a:lnTo>
                  <a:lnTo>
                    <a:pt x="679" y="659"/>
                  </a:lnTo>
                  <a:lnTo>
                    <a:pt x="681" y="658"/>
                  </a:lnTo>
                  <a:lnTo>
                    <a:pt x="679" y="658"/>
                  </a:lnTo>
                  <a:lnTo>
                    <a:pt x="677" y="659"/>
                  </a:lnTo>
                  <a:lnTo>
                    <a:pt x="676" y="659"/>
                  </a:lnTo>
                  <a:lnTo>
                    <a:pt x="672" y="658"/>
                  </a:lnTo>
                  <a:lnTo>
                    <a:pt x="673" y="655"/>
                  </a:lnTo>
                  <a:lnTo>
                    <a:pt x="671" y="656"/>
                  </a:lnTo>
                  <a:lnTo>
                    <a:pt x="669" y="658"/>
                  </a:lnTo>
                  <a:lnTo>
                    <a:pt x="665" y="656"/>
                  </a:lnTo>
                  <a:lnTo>
                    <a:pt x="657" y="655"/>
                  </a:lnTo>
                  <a:lnTo>
                    <a:pt x="651" y="654"/>
                  </a:lnTo>
                  <a:lnTo>
                    <a:pt x="646" y="654"/>
                  </a:lnTo>
                  <a:lnTo>
                    <a:pt x="641" y="654"/>
                  </a:lnTo>
                  <a:lnTo>
                    <a:pt x="639" y="653"/>
                  </a:lnTo>
                  <a:lnTo>
                    <a:pt x="640" y="652"/>
                  </a:lnTo>
                  <a:lnTo>
                    <a:pt x="642" y="650"/>
                  </a:lnTo>
                  <a:lnTo>
                    <a:pt x="641" y="649"/>
                  </a:lnTo>
                  <a:lnTo>
                    <a:pt x="641" y="647"/>
                  </a:lnTo>
                  <a:lnTo>
                    <a:pt x="639" y="644"/>
                  </a:lnTo>
                  <a:lnTo>
                    <a:pt x="637" y="642"/>
                  </a:lnTo>
                  <a:lnTo>
                    <a:pt x="640" y="640"/>
                  </a:lnTo>
                  <a:lnTo>
                    <a:pt x="641" y="636"/>
                  </a:lnTo>
                  <a:lnTo>
                    <a:pt x="641" y="635"/>
                  </a:lnTo>
                  <a:lnTo>
                    <a:pt x="642" y="635"/>
                  </a:lnTo>
                  <a:lnTo>
                    <a:pt x="642" y="637"/>
                  </a:lnTo>
                  <a:lnTo>
                    <a:pt x="646" y="638"/>
                  </a:lnTo>
                  <a:lnTo>
                    <a:pt x="646" y="642"/>
                  </a:lnTo>
                  <a:lnTo>
                    <a:pt x="647" y="647"/>
                  </a:lnTo>
                  <a:lnTo>
                    <a:pt x="648" y="649"/>
                  </a:lnTo>
                  <a:lnTo>
                    <a:pt x="649" y="648"/>
                  </a:lnTo>
                  <a:lnTo>
                    <a:pt x="651" y="648"/>
                  </a:lnTo>
                  <a:lnTo>
                    <a:pt x="653" y="647"/>
                  </a:lnTo>
                  <a:lnTo>
                    <a:pt x="653" y="646"/>
                  </a:lnTo>
                  <a:lnTo>
                    <a:pt x="654" y="642"/>
                  </a:lnTo>
                  <a:lnTo>
                    <a:pt x="654" y="646"/>
                  </a:lnTo>
                  <a:lnTo>
                    <a:pt x="655" y="647"/>
                  </a:lnTo>
                  <a:lnTo>
                    <a:pt x="655" y="644"/>
                  </a:lnTo>
                  <a:lnTo>
                    <a:pt x="657" y="643"/>
                  </a:lnTo>
                  <a:lnTo>
                    <a:pt x="659" y="643"/>
                  </a:lnTo>
                  <a:lnTo>
                    <a:pt x="663" y="646"/>
                  </a:lnTo>
                  <a:lnTo>
                    <a:pt x="663" y="644"/>
                  </a:lnTo>
                  <a:lnTo>
                    <a:pt x="661" y="642"/>
                  </a:lnTo>
                  <a:lnTo>
                    <a:pt x="658" y="640"/>
                  </a:lnTo>
                  <a:lnTo>
                    <a:pt x="657" y="637"/>
                  </a:lnTo>
                  <a:lnTo>
                    <a:pt x="657" y="635"/>
                  </a:lnTo>
                  <a:lnTo>
                    <a:pt x="658" y="631"/>
                  </a:lnTo>
                  <a:lnTo>
                    <a:pt x="659" y="629"/>
                  </a:lnTo>
                  <a:lnTo>
                    <a:pt x="661" y="629"/>
                  </a:lnTo>
                  <a:lnTo>
                    <a:pt x="663" y="629"/>
                  </a:lnTo>
                  <a:lnTo>
                    <a:pt x="663" y="630"/>
                  </a:lnTo>
                  <a:lnTo>
                    <a:pt x="664" y="630"/>
                  </a:lnTo>
                  <a:lnTo>
                    <a:pt x="667" y="628"/>
                  </a:lnTo>
                  <a:lnTo>
                    <a:pt x="670" y="624"/>
                  </a:lnTo>
                  <a:lnTo>
                    <a:pt x="669" y="628"/>
                  </a:lnTo>
                  <a:lnTo>
                    <a:pt x="667" y="631"/>
                  </a:lnTo>
                  <a:lnTo>
                    <a:pt x="667" y="632"/>
                  </a:lnTo>
                  <a:lnTo>
                    <a:pt x="669" y="637"/>
                  </a:lnTo>
                  <a:lnTo>
                    <a:pt x="671" y="638"/>
                  </a:lnTo>
                  <a:lnTo>
                    <a:pt x="670" y="641"/>
                  </a:lnTo>
                  <a:lnTo>
                    <a:pt x="670" y="643"/>
                  </a:lnTo>
                  <a:lnTo>
                    <a:pt x="671" y="642"/>
                  </a:lnTo>
                  <a:lnTo>
                    <a:pt x="672" y="644"/>
                  </a:lnTo>
                  <a:lnTo>
                    <a:pt x="675" y="644"/>
                  </a:lnTo>
                  <a:lnTo>
                    <a:pt x="676" y="643"/>
                  </a:lnTo>
                  <a:lnTo>
                    <a:pt x="677" y="643"/>
                  </a:lnTo>
                  <a:lnTo>
                    <a:pt x="679" y="644"/>
                  </a:lnTo>
                  <a:lnTo>
                    <a:pt x="682" y="643"/>
                  </a:lnTo>
                  <a:lnTo>
                    <a:pt x="682" y="641"/>
                  </a:lnTo>
                  <a:lnTo>
                    <a:pt x="682" y="638"/>
                  </a:lnTo>
                  <a:lnTo>
                    <a:pt x="684" y="640"/>
                  </a:lnTo>
                  <a:lnTo>
                    <a:pt x="688" y="637"/>
                  </a:lnTo>
                  <a:lnTo>
                    <a:pt x="685" y="636"/>
                  </a:lnTo>
                  <a:lnTo>
                    <a:pt x="682" y="634"/>
                  </a:lnTo>
                  <a:lnTo>
                    <a:pt x="678" y="630"/>
                  </a:lnTo>
                  <a:lnTo>
                    <a:pt x="677" y="628"/>
                  </a:lnTo>
                  <a:lnTo>
                    <a:pt x="676" y="624"/>
                  </a:lnTo>
                  <a:lnTo>
                    <a:pt x="673" y="620"/>
                  </a:lnTo>
                  <a:lnTo>
                    <a:pt x="675" y="619"/>
                  </a:lnTo>
                  <a:lnTo>
                    <a:pt x="672" y="618"/>
                  </a:lnTo>
                  <a:lnTo>
                    <a:pt x="671" y="618"/>
                  </a:lnTo>
                  <a:lnTo>
                    <a:pt x="669" y="616"/>
                  </a:lnTo>
                  <a:lnTo>
                    <a:pt x="666" y="614"/>
                  </a:lnTo>
                  <a:lnTo>
                    <a:pt x="664" y="613"/>
                  </a:lnTo>
                  <a:lnTo>
                    <a:pt x="660" y="612"/>
                  </a:lnTo>
                  <a:lnTo>
                    <a:pt x="655" y="611"/>
                  </a:lnTo>
                  <a:lnTo>
                    <a:pt x="649" y="610"/>
                  </a:lnTo>
                  <a:lnTo>
                    <a:pt x="647" y="610"/>
                  </a:lnTo>
                  <a:lnTo>
                    <a:pt x="646" y="606"/>
                  </a:lnTo>
                  <a:lnTo>
                    <a:pt x="647" y="605"/>
                  </a:lnTo>
                  <a:lnTo>
                    <a:pt x="649" y="604"/>
                  </a:lnTo>
                  <a:lnTo>
                    <a:pt x="648" y="602"/>
                  </a:lnTo>
                  <a:lnTo>
                    <a:pt x="649" y="599"/>
                  </a:lnTo>
                  <a:lnTo>
                    <a:pt x="651" y="599"/>
                  </a:lnTo>
                  <a:lnTo>
                    <a:pt x="653" y="600"/>
                  </a:lnTo>
                  <a:lnTo>
                    <a:pt x="654" y="605"/>
                  </a:lnTo>
                  <a:lnTo>
                    <a:pt x="655" y="605"/>
                  </a:lnTo>
                  <a:lnTo>
                    <a:pt x="657" y="605"/>
                  </a:lnTo>
                  <a:lnTo>
                    <a:pt x="654" y="601"/>
                  </a:lnTo>
                  <a:lnTo>
                    <a:pt x="655" y="599"/>
                  </a:lnTo>
                  <a:lnTo>
                    <a:pt x="658" y="599"/>
                  </a:lnTo>
                  <a:lnTo>
                    <a:pt x="660" y="599"/>
                  </a:lnTo>
                  <a:lnTo>
                    <a:pt x="658" y="598"/>
                  </a:lnTo>
                  <a:lnTo>
                    <a:pt x="657" y="596"/>
                  </a:lnTo>
                  <a:lnTo>
                    <a:pt x="654" y="594"/>
                  </a:lnTo>
                  <a:lnTo>
                    <a:pt x="652" y="595"/>
                  </a:lnTo>
                  <a:lnTo>
                    <a:pt x="649" y="594"/>
                  </a:lnTo>
                  <a:lnTo>
                    <a:pt x="648" y="595"/>
                  </a:lnTo>
                  <a:lnTo>
                    <a:pt x="646" y="595"/>
                  </a:lnTo>
                  <a:lnTo>
                    <a:pt x="643" y="594"/>
                  </a:lnTo>
                  <a:lnTo>
                    <a:pt x="641" y="593"/>
                  </a:lnTo>
                  <a:lnTo>
                    <a:pt x="640" y="593"/>
                  </a:lnTo>
                  <a:lnTo>
                    <a:pt x="637" y="591"/>
                  </a:lnTo>
                  <a:lnTo>
                    <a:pt x="636" y="590"/>
                  </a:lnTo>
                  <a:lnTo>
                    <a:pt x="635" y="588"/>
                  </a:lnTo>
                  <a:lnTo>
                    <a:pt x="634" y="585"/>
                  </a:lnTo>
                  <a:lnTo>
                    <a:pt x="633" y="584"/>
                  </a:lnTo>
                  <a:lnTo>
                    <a:pt x="631" y="587"/>
                  </a:lnTo>
                  <a:lnTo>
                    <a:pt x="630" y="585"/>
                  </a:lnTo>
                  <a:lnTo>
                    <a:pt x="630" y="581"/>
                  </a:lnTo>
                  <a:lnTo>
                    <a:pt x="631" y="581"/>
                  </a:lnTo>
                  <a:lnTo>
                    <a:pt x="633" y="581"/>
                  </a:lnTo>
                  <a:lnTo>
                    <a:pt x="630" y="578"/>
                  </a:lnTo>
                  <a:lnTo>
                    <a:pt x="628" y="576"/>
                  </a:lnTo>
                  <a:lnTo>
                    <a:pt x="623" y="569"/>
                  </a:lnTo>
                  <a:lnTo>
                    <a:pt x="620" y="567"/>
                  </a:lnTo>
                  <a:lnTo>
                    <a:pt x="618" y="565"/>
                  </a:lnTo>
                  <a:lnTo>
                    <a:pt x="618" y="563"/>
                  </a:lnTo>
                  <a:lnTo>
                    <a:pt x="620" y="560"/>
                  </a:lnTo>
                  <a:lnTo>
                    <a:pt x="623" y="559"/>
                  </a:lnTo>
                  <a:lnTo>
                    <a:pt x="623" y="561"/>
                  </a:lnTo>
                  <a:lnTo>
                    <a:pt x="623" y="564"/>
                  </a:lnTo>
                  <a:lnTo>
                    <a:pt x="625" y="564"/>
                  </a:lnTo>
                  <a:lnTo>
                    <a:pt x="625" y="565"/>
                  </a:lnTo>
                  <a:lnTo>
                    <a:pt x="625" y="569"/>
                  </a:lnTo>
                  <a:lnTo>
                    <a:pt x="626" y="570"/>
                  </a:lnTo>
                  <a:lnTo>
                    <a:pt x="626" y="572"/>
                  </a:lnTo>
                  <a:lnTo>
                    <a:pt x="628" y="572"/>
                  </a:lnTo>
                  <a:lnTo>
                    <a:pt x="629" y="571"/>
                  </a:lnTo>
                  <a:lnTo>
                    <a:pt x="630" y="567"/>
                  </a:lnTo>
                  <a:lnTo>
                    <a:pt x="630" y="566"/>
                  </a:lnTo>
                  <a:lnTo>
                    <a:pt x="629" y="564"/>
                  </a:lnTo>
                  <a:lnTo>
                    <a:pt x="630" y="561"/>
                  </a:lnTo>
                  <a:lnTo>
                    <a:pt x="631" y="561"/>
                  </a:lnTo>
                  <a:lnTo>
                    <a:pt x="633" y="564"/>
                  </a:lnTo>
                  <a:lnTo>
                    <a:pt x="634" y="565"/>
                  </a:lnTo>
                  <a:lnTo>
                    <a:pt x="634" y="570"/>
                  </a:lnTo>
                  <a:lnTo>
                    <a:pt x="635" y="573"/>
                  </a:lnTo>
                  <a:lnTo>
                    <a:pt x="636" y="571"/>
                  </a:lnTo>
                  <a:lnTo>
                    <a:pt x="636" y="570"/>
                  </a:lnTo>
                  <a:lnTo>
                    <a:pt x="636" y="565"/>
                  </a:lnTo>
                  <a:lnTo>
                    <a:pt x="637" y="566"/>
                  </a:lnTo>
                  <a:lnTo>
                    <a:pt x="639" y="567"/>
                  </a:lnTo>
                  <a:lnTo>
                    <a:pt x="639" y="565"/>
                  </a:lnTo>
                  <a:lnTo>
                    <a:pt x="641" y="567"/>
                  </a:lnTo>
                  <a:lnTo>
                    <a:pt x="641" y="570"/>
                  </a:lnTo>
                  <a:lnTo>
                    <a:pt x="642" y="571"/>
                  </a:lnTo>
                  <a:lnTo>
                    <a:pt x="643" y="570"/>
                  </a:lnTo>
                  <a:lnTo>
                    <a:pt x="643" y="565"/>
                  </a:lnTo>
                  <a:lnTo>
                    <a:pt x="643" y="561"/>
                  </a:lnTo>
                  <a:lnTo>
                    <a:pt x="645" y="561"/>
                  </a:lnTo>
                  <a:lnTo>
                    <a:pt x="647" y="563"/>
                  </a:lnTo>
                  <a:lnTo>
                    <a:pt x="646" y="567"/>
                  </a:lnTo>
                  <a:lnTo>
                    <a:pt x="645" y="570"/>
                  </a:lnTo>
                  <a:lnTo>
                    <a:pt x="646" y="571"/>
                  </a:lnTo>
                  <a:lnTo>
                    <a:pt x="646" y="576"/>
                  </a:lnTo>
                  <a:lnTo>
                    <a:pt x="646" y="577"/>
                  </a:lnTo>
                  <a:lnTo>
                    <a:pt x="647" y="578"/>
                  </a:lnTo>
                  <a:lnTo>
                    <a:pt x="648" y="579"/>
                  </a:lnTo>
                  <a:lnTo>
                    <a:pt x="649" y="577"/>
                  </a:lnTo>
                  <a:lnTo>
                    <a:pt x="649" y="581"/>
                  </a:lnTo>
                  <a:lnTo>
                    <a:pt x="652" y="581"/>
                  </a:lnTo>
                  <a:lnTo>
                    <a:pt x="653" y="582"/>
                  </a:lnTo>
                  <a:lnTo>
                    <a:pt x="653" y="577"/>
                  </a:lnTo>
                  <a:lnTo>
                    <a:pt x="653" y="573"/>
                  </a:lnTo>
                  <a:lnTo>
                    <a:pt x="653" y="571"/>
                  </a:lnTo>
                  <a:lnTo>
                    <a:pt x="651" y="567"/>
                  </a:lnTo>
                  <a:lnTo>
                    <a:pt x="651" y="566"/>
                  </a:lnTo>
                  <a:lnTo>
                    <a:pt x="649" y="561"/>
                  </a:lnTo>
                  <a:lnTo>
                    <a:pt x="649" y="557"/>
                  </a:lnTo>
                  <a:lnTo>
                    <a:pt x="649" y="551"/>
                  </a:lnTo>
                  <a:lnTo>
                    <a:pt x="651" y="551"/>
                  </a:lnTo>
                  <a:lnTo>
                    <a:pt x="653" y="551"/>
                  </a:lnTo>
                  <a:lnTo>
                    <a:pt x="653" y="554"/>
                  </a:lnTo>
                  <a:lnTo>
                    <a:pt x="653" y="557"/>
                  </a:lnTo>
                  <a:lnTo>
                    <a:pt x="655" y="557"/>
                  </a:lnTo>
                  <a:lnTo>
                    <a:pt x="657" y="555"/>
                  </a:lnTo>
                  <a:lnTo>
                    <a:pt x="657" y="552"/>
                  </a:lnTo>
                  <a:lnTo>
                    <a:pt x="659" y="548"/>
                  </a:lnTo>
                  <a:lnTo>
                    <a:pt x="660" y="547"/>
                  </a:lnTo>
                  <a:lnTo>
                    <a:pt x="659" y="554"/>
                  </a:lnTo>
                  <a:lnTo>
                    <a:pt x="660" y="557"/>
                  </a:lnTo>
                  <a:lnTo>
                    <a:pt x="663" y="555"/>
                  </a:lnTo>
                  <a:lnTo>
                    <a:pt x="664" y="552"/>
                  </a:lnTo>
                  <a:lnTo>
                    <a:pt x="664" y="548"/>
                  </a:lnTo>
                  <a:lnTo>
                    <a:pt x="665" y="546"/>
                  </a:lnTo>
                  <a:lnTo>
                    <a:pt x="665" y="549"/>
                  </a:lnTo>
                  <a:lnTo>
                    <a:pt x="665" y="555"/>
                  </a:lnTo>
                  <a:lnTo>
                    <a:pt x="666" y="558"/>
                  </a:lnTo>
                  <a:lnTo>
                    <a:pt x="667" y="557"/>
                  </a:lnTo>
                  <a:lnTo>
                    <a:pt x="669" y="552"/>
                  </a:lnTo>
                  <a:lnTo>
                    <a:pt x="669" y="548"/>
                  </a:lnTo>
                  <a:lnTo>
                    <a:pt x="669" y="545"/>
                  </a:lnTo>
                  <a:lnTo>
                    <a:pt x="669" y="541"/>
                  </a:lnTo>
                  <a:lnTo>
                    <a:pt x="667" y="536"/>
                  </a:lnTo>
                  <a:lnTo>
                    <a:pt x="669" y="536"/>
                  </a:lnTo>
                  <a:lnTo>
                    <a:pt x="671" y="536"/>
                  </a:lnTo>
                  <a:lnTo>
                    <a:pt x="673" y="537"/>
                  </a:lnTo>
                  <a:lnTo>
                    <a:pt x="672" y="535"/>
                  </a:lnTo>
                  <a:lnTo>
                    <a:pt x="672" y="533"/>
                  </a:lnTo>
                  <a:lnTo>
                    <a:pt x="675" y="533"/>
                  </a:lnTo>
                  <a:lnTo>
                    <a:pt x="676" y="533"/>
                  </a:lnTo>
                  <a:lnTo>
                    <a:pt x="677" y="531"/>
                  </a:lnTo>
                  <a:lnTo>
                    <a:pt x="675" y="531"/>
                  </a:lnTo>
                  <a:lnTo>
                    <a:pt x="673" y="529"/>
                  </a:lnTo>
                  <a:lnTo>
                    <a:pt x="672" y="528"/>
                  </a:lnTo>
                  <a:lnTo>
                    <a:pt x="671" y="528"/>
                  </a:lnTo>
                  <a:lnTo>
                    <a:pt x="671" y="530"/>
                  </a:lnTo>
                  <a:lnTo>
                    <a:pt x="669" y="531"/>
                  </a:lnTo>
                  <a:lnTo>
                    <a:pt x="669" y="530"/>
                  </a:lnTo>
                  <a:lnTo>
                    <a:pt x="667" y="530"/>
                  </a:lnTo>
                  <a:lnTo>
                    <a:pt x="666" y="531"/>
                  </a:lnTo>
                  <a:lnTo>
                    <a:pt x="665" y="531"/>
                  </a:lnTo>
                  <a:lnTo>
                    <a:pt x="663" y="531"/>
                  </a:lnTo>
                  <a:lnTo>
                    <a:pt x="663" y="530"/>
                  </a:lnTo>
                  <a:lnTo>
                    <a:pt x="661" y="530"/>
                  </a:lnTo>
                  <a:lnTo>
                    <a:pt x="661" y="534"/>
                  </a:lnTo>
                  <a:lnTo>
                    <a:pt x="659" y="534"/>
                  </a:lnTo>
                  <a:lnTo>
                    <a:pt x="658" y="533"/>
                  </a:lnTo>
                  <a:lnTo>
                    <a:pt x="657" y="534"/>
                  </a:lnTo>
                  <a:lnTo>
                    <a:pt x="655" y="535"/>
                  </a:lnTo>
                  <a:lnTo>
                    <a:pt x="653" y="537"/>
                  </a:lnTo>
                  <a:lnTo>
                    <a:pt x="652" y="539"/>
                  </a:lnTo>
                  <a:lnTo>
                    <a:pt x="645" y="539"/>
                  </a:lnTo>
                  <a:lnTo>
                    <a:pt x="641" y="539"/>
                  </a:lnTo>
                  <a:lnTo>
                    <a:pt x="637" y="540"/>
                  </a:lnTo>
                  <a:lnTo>
                    <a:pt x="633" y="541"/>
                  </a:lnTo>
                  <a:lnTo>
                    <a:pt x="626" y="541"/>
                  </a:lnTo>
                  <a:lnTo>
                    <a:pt x="623" y="541"/>
                  </a:lnTo>
                  <a:lnTo>
                    <a:pt x="618" y="542"/>
                  </a:lnTo>
                  <a:lnTo>
                    <a:pt x="614" y="541"/>
                  </a:lnTo>
                  <a:lnTo>
                    <a:pt x="612" y="542"/>
                  </a:lnTo>
                  <a:lnTo>
                    <a:pt x="607" y="545"/>
                  </a:lnTo>
                  <a:lnTo>
                    <a:pt x="601" y="543"/>
                  </a:lnTo>
                  <a:lnTo>
                    <a:pt x="599" y="543"/>
                  </a:lnTo>
                  <a:lnTo>
                    <a:pt x="595" y="541"/>
                  </a:lnTo>
                  <a:lnTo>
                    <a:pt x="593" y="541"/>
                  </a:lnTo>
                  <a:lnTo>
                    <a:pt x="590" y="537"/>
                  </a:lnTo>
                  <a:lnTo>
                    <a:pt x="589" y="535"/>
                  </a:lnTo>
                  <a:lnTo>
                    <a:pt x="588" y="534"/>
                  </a:lnTo>
                  <a:lnTo>
                    <a:pt x="584" y="534"/>
                  </a:lnTo>
                  <a:lnTo>
                    <a:pt x="581" y="536"/>
                  </a:lnTo>
                  <a:lnTo>
                    <a:pt x="580" y="537"/>
                  </a:lnTo>
                  <a:lnTo>
                    <a:pt x="577" y="537"/>
                  </a:lnTo>
                  <a:lnTo>
                    <a:pt x="575" y="537"/>
                  </a:lnTo>
                  <a:lnTo>
                    <a:pt x="571" y="535"/>
                  </a:lnTo>
                  <a:lnTo>
                    <a:pt x="567" y="531"/>
                  </a:lnTo>
                  <a:lnTo>
                    <a:pt x="563" y="527"/>
                  </a:lnTo>
                  <a:lnTo>
                    <a:pt x="559" y="524"/>
                  </a:lnTo>
                  <a:lnTo>
                    <a:pt x="555" y="521"/>
                  </a:lnTo>
                  <a:lnTo>
                    <a:pt x="552" y="516"/>
                  </a:lnTo>
                  <a:lnTo>
                    <a:pt x="552" y="515"/>
                  </a:lnTo>
                  <a:lnTo>
                    <a:pt x="555" y="515"/>
                  </a:lnTo>
                  <a:lnTo>
                    <a:pt x="555" y="513"/>
                  </a:lnTo>
                  <a:lnTo>
                    <a:pt x="553" y="512"/>
                  </a:lnTo>
                  <a:lnTo>
                    <a:pt x="552" y="510"/>
                  </a:lnTo>
                  <a:lnTo>
                    <a:pt x="551" y="505"/>
                  </a:lnTo>
                  <a:lnTo>
                    <a:pt x="552" y="505"/>
                  </a:lnTo>
                  <a:lnTo>
                    <a:pt x="553" y="507"/>
                  </a:lnTo>
                  <a:lnTo>
                    <a:pt x="554" y="510"/>
                  </a:lnTo>
                  <a:lnTo>
                    <a:pt x="557" y="511"/>
                  </a:lnTo>
                  <a:lnTo>
                    <a:pt x="557" y="510"/>
                  </a:lnTo>
                  <a:lnTo>
                    <a:pt x="559" y="507"/>
                  </a:lnTo>
                  <a:lnTo>
                    <a:pt x="560" y="507"/>
                  </a:lnTo>
                  <a:lnTo>
                    <a:pt x="559" y="510"/>
                  </a:lnTo>
                  <a:lnTo>
                    <a:pt x="560" y="512"/>
                  </a:lnTo>
                  <a:lnTo>
                    <a:pt x="559" y="518"/>
                  </a:lnTo>
                  <a:lnTo>
                    <a:pt x="561" y="521"/>
                  </a:lnTo>
                  <a:lnTo>
                    <a:pt x="561" y="518"/>
                  </a:lnTo>
                  <a:lnTo>
                    <a:pt x="563" y="515"/>
                  </a:lnTo>
                  <a:lnTo>
                    <a:pt x="564" y="513"/>
                  </a:lnTo>
                  <a:lnTo>
                    <a:pt x="565" y="515"/>
                  </a:lnTo>
                  <a:lnTo>
                    <a:pt x="565" y="513"/>
                  </a:lnTo>
                  <a:lnTo>
                    <a:pt x="566" y="511"/>
                  </a:lnTo>
                  <a:lnTo>
                    <a:pt x="569" y="510"/>
                  </a:lnTo>
                  <a:lnTo>
                    <a:pt x="569" y="511"/>
                  </a:lnTo>
                  <a:lnTo>
                    <a:pt x="570" y="516"/>
                  </a:lnTo>
                  <a:lnTo>
                    <a:pt x="570" y="517"/>
                  </a:lnTo>
                  <a:lnTo>
                    <a:pt x="571" y="518"/>
                  </a:lnTo>
                  <a:lnTo>
                    <a:pt x="572" y="517"/>
                  </a:lnTo>
                  <a:lnTo>
                    <a:pt x="572" y="512"/>
                  </a:lnTo>
                  <a:lnTo>
                    <a:pt x="574" y="510"/>
                  </a:lnTo>
                  <a:lnTo>
                    <a:pt x="575" y="511"/>
                  </a:lnTo>
                  <a:lnTo>
                    <a:pt x="575" y="513"/>
                  </a:lnTo>
                  <a:lnTo>
                    <a:pt x="576" y="509"/>
                  </a:lnTo>
                  <a:lnTo>
                    <a:pt x="577" y="507"/>
                  </a:lnTo>
                  <a:lnTo>
                    <a:pt x="577" y="515"/>
                  </a:lnTo>
                  <a:lnTo>
                    <a:pt x="577" y="518"/>
                  </a:lnTo>
                  <a:lnTo>
                    <a:pt x="580" y="517"/>
                  </a:lnTo>
                  <a:lnTo>
                    <a:pt x="582" y="512"/>
                  </a:lnTo>
                  <a:lnTo>
                    <a:pt x="584" y="510"/>
                  </a:lnTo>
                  <a:lnTo>
                    <a:pt x="584" y="516"/>
                  </a:lnTo>
                  <a:lnTo>
                    <a:pt x="583" y="519"/>
                  </a:lnTo>
                  <a:lnTo>
                    <a:pt x="586" y="517"/>
                  </a:lnTo>
                  <a:lnTo>
                    <a:pt x="587" y="513"/>
                  </a:lnTo>
                  <a:lnTo>
                    <a:pt x="588" y="510"/>
                  </a:lnTo>
                  <a:lnTo>
                    <a:pt x="590" y="506"/>
                  </a:lnTo>
                  <a:lnTo>
                    <a:pt x="589" y="515"/>
                  </a:lnTo>
                  <a:lnTo>
                    <a:pt x="588" y="518"/>
                  </a:lnTo>
                  <a:lnTo>
                    <a:pt x="592" y="516"/>
                  </a:lnTo>
                  <a:lnTo>
                    <a:pt x="593" y="512"/>
                  </a:lnTo>
                  <a:lnTo>
                    <a:pt x="592" y="518"/>
                  </a:lnTo>
                  <a:lnTo>
                    <a:pt x="592" y="521"/>
                  </a:lnTo>
                  <a:lnTo>
                    <a:pt x="594" y="521"/>
                  </a:lnTo>
                  <a:lnTo>
                    <a:pt x="594" y="517"/>
                  </a:lnTo>
                  <a:lnTo>
                    <a:pt x="595" y="516"/>
                  </a:lnTo>
                  <a:lnTo>
                    <a:pt x="599" y="516"/>
                  </a:lnTo>
                  <a:lnTo>
                    <a:pt x="600" y="513"/>
                  </a:lnTo>
                  <a:lnTo>
                    <a:pt x="600" y="516"/>
                  </a:lnTo>
                  <a:lnTo>
                    <a:pt x="598" y="519"/>
                  </a:lnTo>
                  <a:lnTo>
                    <a:pt x="598" y="522"/>
                  </a:lnTo>
                  <a:lnTo>
                    <a:pt x="601" y="518"/>
                  </a:lnTo>
                  <a:lnTo>
                    <a:pt x="602" y="517"/>
                  </a:lnTo>
                  <a:lnTo>
                    <a:pt x="604" y="523"/>
                  </a:lnTo>
                  <a:lnTo>
                    <a:pt x="606" y="525"/>
                  </a:lnTo>
                  <a:lnTo>
                    <a:pt x="607" y="527"/>
                  </a:lnTo>
                  <a:lnTo>
                    <a:pt x="611" y="525"/>
                  </a:lnTo>
                  <a:lnTo>
                    <a:pt x="611" y="524"/>
                  </a:lnTo>
                  <a:lnTo>
                    <a:pt x="612" y="525"/>
                  </a:lnTo>
                  <a:lnTo>
                    <a:pt x="611" y="528"/>
                  </a:lnTo>
                  <a:lnTo>
                    <a:pt x="611" y="531"/>
                  </a:lnTo>
                  <a:lnTo>
                    <a:pt x="612" y="535"/>
                  </a:lnTo>
                  <a:lnTo>
                    <a:pt x="613" y="535"/>
                  </a:lnTo>
                  <a:lnTo>
                    <a:pt x="613" y="531"/>
                  </a:lnTo>
                  <a:lnTo>
                    <a:pt x="614" y="529"/>
                  </a:lnTo>
                  <a:lnTo>
                    <a:pt x="616" y="525"/>
                  </a:lnTo>
                  <a:lnTo>
                    <a:pt x="616" y="528"/>
                  </a:lnTo>
                  <a:lnTo>
                    <a:pt x="617" y="529"/>
                  </a:lnTo>
                  <a:lnTo>
                    <a:pt x="618" y="527"/>
                  </a:lnTo>
                  <a:lnTo>
                    <a:pt x="619" y="523"/>
                  </a:lnTo>
                  <a:lnTo>
                    <a:pt x="620" y="518"/>
                  </a:lnTo>
                  <a:lnTo>
                    <a:pt x="619" y="525"/>
                  </a:lnTo>
                  <a:lnTo>
                    <a:pt x="620" y="530"/>
                  </a:lnTo>
                  <a:lnTo>
                    <a:pt x="620" y="533"/>
                  </a:lnTo>
                  <a:lnTo>
                    <a:pt x="623" y="535"/>
                  </a:lnTo>
                  <a:lnTo>
                    <a:pt x="624" y="536"/>
                  </a:lnTo>
                  <a:lnTo>
                    <a:pt x="626" y="535"/>
                  </a:lnTo>
                  <a:lnTo>
                    <a:pt x="628" y="533"/>
                  </a:lnTo>
                  <a:lnTo>
                    <a:pt x="628" y="529"/>
                  </a:lnTo>
                  <a:lnTo>
                    <a:pt x="628" y="525"/>
                  </a:lnTo>
                  <a:lnTo>
                    <a:pt x="629" y="529"/>
                  </a:lnTo>
                  <a:lnTo>
                    <a:pt x="629" y="531"/>
                  </a:lnTo>
                  <a:lnTo>
                    <a:pt x="630" y="529"/>
                  </a:lnTo>
                  <a:lnTo>
                    <a:pt x="633" y="529"/>
                  </a:lnTo>
                  <a:lnTo>
                    <a:pt x="633" y="533"/>
                  </a:lnTo>
                  <a:lnTo>
                    <a:pt x="634" y="535"/>
                  </a:lnTo>
                  <a:lnTo>
                    <a:pt x="635" y="533"/>
                  </a:lnTo>
                  <a:lnTo>
                    <a:pt x="635" y="530"/>
                  </a:lnTo>
                  <a:lnTo>
                    <a:pt x="641" y="534"/>
                  </a:lnTo>
                  <a:lnTo>
                    <a:pt x="640" y="531"/>
                  </a:lnTo>
                  <a:lnTo>
                    <a:pt x="637" y="530"/>
                  </a:lnTo>
                  <a:lnTo>
                    <a:pt x="640" y="528"/>
                  </a:lnTo>
                  <a:lnTo>
                    <a:pt x="637" y="528"/>
                  </a:lnTo>
                  <a:lnTo>
                    <a:pt x="634" y="528"/>
                  </a:lnTo>
                  <a:lnTo>
                    <a:pt x="631" y="527"/>
                  </a:lnTo>
                  <a:lnTo>
                    <a:pt x="636" y="525"/>
                  </a:lnTo>
                  <a:lnTo>
                    <a:pt x="635" y="524"/>
                  </a:lnTo>
                  <a:lnTo>
                    <a:pt x="631" y="524"/>
                  </a:lnTo>
                  <a:lnTo>
                    <a:pt x="629" y="524"/>
                  </a:lnTo>
                  <a:lnTo>
                    <a:pt x="628" y="522"/>
                  </a:lnTo>
                  <a:lnTo>
                    <a:pt x="629" y="521"/>
                  </a:lnTo>
                  <a:lnTo>
                    <a:pt x="628" y="519"/>
                  </a:lnTo>
                  <a:lnTo>
                    <a:pt x="626" y="518"/>
                  </a:lnTo>
                  <a:lnTo>
                    <a:pt x="624" y="517"/>
                  </a:lnTo>
                  <a:lnTo>
                    <a:pt x="620" y="515"/>
                  </a:lnTo>
                  <a:lnTo>
                    <a:pt x="620" y="513"/>
                  </a:lnTo>
                  <a:lnTo>
                    <a:pt x="620" y="512"/>
                  </a:lnTo>
                  <a:lnTo>
                    <a:pt x="618" y="510"/>
                  </a:lnTo>
                  <a:lnTo>
                    <a:pt x="617" y="507"/>
                  </a:lnTo>
                  <a:lnTo>
                    <a:pt x="614" y="506"/>
                  </a:lnTo>
                  <a:lnTo>
                    <a:pt x="612" y="504"/>
                  </a:lnTo>
                  <a:lnTo>
                    <a:pt x="612" y="501"/>
                  </a:lnTo>
                  <a:lnTo>
                    <a:pt x="613" y="500"/>
                  </a:lnTo>
                  <a:lnTo>
                    <a:pt x="614" y="498"/>
                  </a:lnTo>
                  <a:lnTo>
                    <a:pt x="616" y="500"/>
                  </a:lnTo>
                  <a:lnTo>
                    <a:pt x="617" y="504"/>
                  </a:lnTo>
                  <a:lnTo>
                    <a:pt x="618" y="505"/>
                  </a:lnTo>
                  <a:lnTo>
                    <a:pt x="619" y="507"/>
                  </a:lnTo>
                  <a:lnTo>
                    <a:pt x="620" y="506"/>
                  </a:lnTo>
                  <a:lnTo>
                    <a:pt x="620" y="504"/>
                  </a:lnTo>
                  <a:lnTo>
                    <a:pt x="622" y="504"/>
                  </a:lnTo>
                  <a:lnTo>
                    <a:pt x="623" y="503"/>
                  </a:lnTo>
                  <a:lnTo>
                    <a:pt x="623" y="501"/>
                  </a:lnTo>
                  <a:lnTo>
                    <a:pt x="624" y="500"/>
                  </a:lnTo>
                  <a:lnTo>
                    <a:pt x="622" y="499"/>
                  </a:lnTo>
                  <a:lnTo>
                    <a:pt x="619" y="498"/>
                  </a:lnTo>
                  <a:lnTo>
                    <a:pt x="616" y="494"/>
                  </a:lnTo>
                  <a:lnTo>
                    <a:pt x="620" y="494"/>
                  </a:lnTo>
                  <a:lnTo>
                    <a:pt x="622" y="493"/>
                  </a:lnTo>
                  <a:lnTo>
                    <a:pt x="618" y="492"/>
                  </a:lnTo>
                  <a:lnTo>
                    <a:pt x="616" y="492"/>
                  </a:lnTo>
                  <a:lnTo>
                    <a:pt x="611" y="492"/>
                  </a:lnTo>
                  <a:lnTo>
                    <a:pt x="606" y="489"/>
                  </a:lnTo>
                  <a:lnTo>
                    <a:pt x="600" y="487"/>
                  </a:lnTo>
                  <a:lnTo>
                    <a:pt x="596" y="484"/>
                  </a:lnTo>
                  <a:lnTo>
                    <a:pt x="589" y="481"/>
                  </a:lnTo>
                  <a:lnTo>
                    <a:pt x="586" y="480"/>
                  </a:lnTo>
                  <a:lnTo>
                    <a:pt x="581" y="477"/>
                  </a:lnTo>
                  <a:lnTo>
                    <a:pt x="577" y="477"/>
                  </a:lnTo>
                  <a:lnTo>
                    <a:pt x="572" y="475"/>
                  </a:lnTo>
                  <a:lnTo>
                    <a:pt x="569" y="475"/>
                  </a:lnTo>
                  <a:lnTo>
                    <a:pt x="569" y="474"/>
                  </a:lnTo>
                  <a:lnTo>
                    <a:pt x="570" y="472"/>
                  </a:lnTo>
                  <a:lnTo>
                    <a:pt x="572" y="471"/>
                  </a:lnTo>
                  <a:lnTo>
                    <a:pt x="567" y="470"/>
                  </a:lnTo>
                  <a:lnTo>
                    <a:pt x="564" y="469"/>
                  </a:lnTo>
                  <a:lnTo>
                    <a:pt x="561" y="468"/>
                  </a:lnTo>
                  <a:lnTo>
                    <a:pt x="558" y="468"/>
                  </a:lnTo>
                  <a:lnTo>
                    <a:pt x="558" y="464"/>
                  </a:lnTo>
                  <a:lnTo>
                    <a:pt x="558" y="460"/>
                  </a:lnTo>
                  <a:lnTo>
                    <a:pt x="558" y="457"/>
                  </a:lnTo>
                  <a:lnTo>
                    <a:pt x="560" y="453"/>
                  </a:lnTo>
                  <a:lnTo>
                    <a:pt x="563" y="450"/>
                  </a:lnTo>
                  <a:lnTo>
                    <a:pt x="563" y="453"/>
                  </a:lnTo>
                  <a:lnTo>
                    <a:pt x="563" y="454"/>
                  </a:lnTo>
                  <a:lnTo>
                    <a:pt x="565" y="456"/>
                  </a:lnTo>
                  <a:lnTo>
                    <a:pt x="567" y="456"/>
                  </a:lnTo>
                  <a:lnTo>
                    <a:pt x="567" y="457"/>
                  </a:lnTo>
                  <a:lnTo>
                    <a:pt x="570" y="458"/>
                  </a:lnTo>
                  <a:lnTo>
                    <a:pt x="571" y="458"/>
                  </a:lnTo>
                  <a:lnTo>
                    <a:pt x="572" y="454"/>
                  </a:lnTo>
                  <a:lnTo>
                    <a:pt x="574" y="452"/>
                  </a:lnTo>
                  <a:lnTo>
                    <a:pt x="572" y="458"/>
                  </a:lnTo>
                  <a:lnTo>
                    <a:pt x="575" y="460"/>
                  </a:lnTo>
                  <a:lnTo>
                    <a:pt x="576" y="459"/>
                  </a:lnTo>
                  <a:lnTo>
                    <a:pt x="576" y="456"/>
                  </a:lnTo>
                  <a:lnTo>
                    <a:pt x="578" y="452"/>
                  </a:lnTo>
                  <a:lnTo>
                    <a:pt x="578" y="456"/>
                  </a:lnTo>
                  <a:lnTo>
                    <a:pt x="581" y="458"/>
                  </a:lnTo>
                  <a:lnTo>
                    <a:pt x="581" y="454"/>
                  </a:lnTo>
                  <a:lnTo>
                    <a:pt x="583" y="453"/>
                  </a:lnTo>
                  <a:lnTo>
                    <a:pt x="582" y="458"/>
                  </a:lnTo>
                  <a:lnTo>
                    <a:pt x="582" y="463"/>
                  </a:lnTo>
                  <a:lnTo>
                    <a:pt x="584" y="464"/>
                  </a:lnTo>
                  <a:lnTo>
                    <a:pt x="587" y="464"/>
                  </a:lnTo>
                  <a:lnTo>
                    <a:pt x="587" y="460"/>
                  </a:lnTo>
                  <a:lnTo>
                    <a:pt x="587" y="458"/>
                  </a:lnTo>
                  <a:lnTo>
                    <a:pt x="588" y="456"/>
                  </a:lnTo>
                  <a:lnTo>
                    <a:pt x="589" y="457"/>
                  </a:lnTo>
                  <a:lnTo>
                    <a:pt x="588" y="462"/>
                  </a:lnTo>
                  <a:lnTo>
                    <a:pt x="592" y="460"/>
                  </a:lnTo>
                  <a:lnTo>
                    <a:pt x="592" y="458"/>
                  </a:lnTo>
                  <a:lnTo>
                    <a:pt x="593" y="459"/>
                  </a:lnTo>
                  <a:lnTo>
                    <a:pt x="594" y="457"/>
                  </a:lnTo>
                  <a:lnTo>
                    <a:pt x="595" y="456"/>
                  </a:lnTo>
                  <a:lnTo>
                    <a:pt x="595" y="460"/>
                  </a:lnTo>
                  <a:lnTo>
                    <a:pt x="596" y="460"/>
                  </a:lnTo>
                  <a:lnTo>
                    <a:pt x="599" y="463"/>
                  </a:lnTo>
                  <a:lnTo>
                    <a:pt x="600" y="460"/>
                  </a:lnTo>
                  <a:lnTo>
                    <a:pt x="600" y="466"/>
                  </a:lnTo>
                  <a:lnTo>
                    <a:pt x="600" y="470"/>
                  </a:lnTo>
                  <a:lnTo>
                    <a:pt x="602" y="469"/>
                  </a:lnTo>
                  <a:lnTo>
                    <a:pt x="604" y="466"/>
                  </a:lnTo>
                  <a:lnTo>
                    <a:pt x="605" y="465"/>
                  </a:lnTo>
                  <a:lnTo>
                    <a:pt x="606" y="460"/>
                  </a:lnTo>
                  <a:lnTo>
                    <a:pt x="607" y="459"/>
                  </a:lnTo>
                  <a:lnTo>
                    <a:pt x="610" y="462"/>
                  </a:lnTo>
                  <a:lnTo>
                    <a:pt x="611" y="459"/>
                  </a:lnTo>
                  <a:lnTo>
                    <a:pt x="612" y="458"/>
                  </a:lnTo>
                  <a:lnTo>
                    <a:pt x="614" y="459"/>
                  </a:lnTo>
                  <a:lnTo>
                    <a:pt x="614" y="463"/>
                  </a:lnTo>
                  <a:lnTo>
                    <a:pt x="616" y="462"/>
                  </a:lnTo>
                  <a:lnTo>
                    <a:pt x="619" y="462"/>
                  </a:lnTo>
                  <a:lnTo>
                    <a:pt x="623" y="462"/>
                  </a:lnTo>
                  <a:lnTo>
                    <a:pt x="623" y="460"/>
                  </a:lnTo>
                  <a:lnTo>
                    <a:pt x="618" y="458"/>
                  </a:lnTo>
                  <a:lnTo>
                    <a:pt x="612" y="454"/>
                  </a:lnTo>
                  <a:lnTo>
                    <a:pt x="612" y="452"/>
                  </a:lnTo>
                  <a:lnTo>
                    <a:pt x="610" y="453"/>
                  </a:lnTo>
                  <a:lnTo>
                    <a:pt x="605" y="452"/>
                  </a:lnTo>
                  <a:lnTo>
                    <a:pt x="602" y="451"/>
                  </a:lnTo>
                  <a:lnTo>
                    <a:pt x="601" y="448"/>
                  </a:lnTo>
                  <a:lnTo>
                    <a:pt x="606" y="448"/>
                  </a:lnTo>
                  <a:lnTo>
                    <a:pt x="610" y="450"/>
                  </a:lnTo>
                  <a:lnTo>
                    <a:pt x="607" y="448"/>
                  </a:lnTo>
                  <a:lnTo>
                    <a:pt x="601" y="445"/>
                  </a:lnTo>
                  <a:lnTo>
                    <a:pt x="600" y="445"/>
                  </a:lnTo>
                  <a:lnTo>
                    <a:pt x="605" y="444"/>
                  </a:lnTo>
                  <a:lnTo>
                    <a:pt x="605" y="442"/>
                  </a:lnTo>
                  <a:lnTo>
                    <a:pt x="600" y="442"/>
                  </a:lnTo>
                  <a:lnTo>
                    <a:pt x="594" y="441"/>
                  </a:lnTo>
                  <a:lnTo>
                    <a:pt x="594" y="439"/>
                  </a:lnTo>
                  <a:lnTo>
                    <a:pt x="592" y="439"/>
                  </a:lnTo>
                  <a:lnTo>
                    <a:pt x="589" y="438"/>
                  </a:lnTo>
                  <a:lnTo>
                    <a:pt x="590" y="436"/>
                  </a:lnTo>
                  <a:lnTo>
                    <a:pt x="588" y="436"/>
                  </a:lnTo>
                  <a:lnTo>
                    <a:pt x="582" y="436"/>
                  </a:lnTo>
                  <a:lnTo>
                    <a:pt x="582" y="433"/>
                  </a:lnTo>
                  <a:lnTo>
                    <a:pt x="581" y="432"/>
                  </a:lnTo>
                  <a:lnTo>
                    <a:pt x="578" y="434"/>
                  </a:lnTo>
                  <a:lnTo>
                    <a:pt x="575" y="433"/>
                  </a:lnTo>
                  <a:lnTo>
                    <a:pt x="574" y="432"/>
                  </a:lnTo>
                  <a:lnTo>
                    <a:pt x="574" y="429"/>
                  </a:lnTo>
                  <a:lnTo>
                    <a:pt x="571" y="430"/>
                  </a:lnTo>
                  <a:lnTo>
                    <a:pt x="570" y="428"/>
                  </a:lnTo>
                  <a:lnTo>
                    <a:pt x="566" y="428"/>
                  </a:lnTo>
                  <a:lnTo>
                    <a:pt x="563" y="429"/>
                  </a:lnTo>
                  <a:lnTo>
                    <a:pt x="560" y="429"/>
                  </a:lnTo>
                  <a:lnTo>
                    <a:pt x="559" y="428"/>
                  </a:lnTo>
                  <a:lnTo>
                    <a:pt x="552" y="424"/>
                  </a:lnTo>
                  <a:lnTo>
                    <a:pt x="547" y="423"/>
                  </a:lnTo>
                  <a:lnTo>
                    <a:pt x="543" y="421"/>
                  </a:lnTo>
                  <a:lnTo>
                    <a:pt x="541" y="421"/>
                  </a:lnTo>
                  <a:lnTo>
                    <a:pt x="539" y="421"/>
                  </a:lnTo>
                  <a:lnTo>
                    <a:pt x="534" y="420"/>
                  </a:lnTo>
                  <a:lnTo>
                    <a:pt x="530" y="418"/>
                  </a:lnTo>
                  <a:lnTo>
                    <a:pt x="528" y="418"/>
                  </a:lnTo>
                  <a:lnTo>
                    <a:pt x="525" y="418"/>
                  </a:lnTo>
                  <a:lnTo>
                    <a:pt x="523" y="416"/>
                  </a:lnTo>
                  <a:lnTo>
                    <a:pt x="521" y="418"/>
                  </a:lnTo>
                  <a:lnTo>
                    <a:pt x="519" y="415"/>
                  </a:lnTo>
                  <a:lnTo>
                    <a:pt x="517" y="415"/>
                  </a:lnTo>
                  <a:lnTo>
                    <a:pt x="515" y="415"/>
                  </a:lnTo>
                  <a:lnTo>
                    <a:pt x="511" y="417"/>
                  </a:lnTo>
                  <a:lnTo>
                    <a:pt x="510" y="416"/>
                  </a:lnTo>
                  <a:lnTo>
                    <a:pt x="507" y="416"/>
                  </a:lnTo>
                  <a:lnTo>
                    <a:pt x="505" y="415"/>
                  </a:lnTo>
                  <a:lnTo>
                    <a:pt x="502" y="415"/>
                  </a:lnTo>
                  <a:lnTo>
                    <a:pt x="501" y="414"/>
                  </a:lnTo>
                  <a:lnTo>
                    <a:pt x="496" y="411"/>
                  </a:lnTo>
                  <a:lnTo>
                    <a:pt x="494" y="410"/>
                  </a:lnTo>
                  <a:lnTo>
                    <a:pt x="493" y="411"/>
                  </a:lnTo>
                  <a:lnTo>
                    <a:pt x="493" y="409"/>
                  </a:lnTo>
                  <a:lnTo>
                    <a:pt x="495" y="409"/>
                  </a:lnTo>
                  <a:lnTo>
                    <a:pt x="498" y="410"/>
                  </a:lnTo>
                  <a:lnTo>
                    <a:pt x="501" y="412"/>
                  </a:lnTo>
                  <a:lnTo>
                    <a:pt x="504" y="414"/>
                  </a:lnTo>
                  <a:lnTo>
                    <a:pt x="506" y="414"/>
                  </a:lnTo>
                  <a:lnTo>
                    <a:pt x="507" y="412"/>
                  </a:lnTo>
                  <a:lnTo>
                    <a:pt x="509" y="412"/>
                  </a:lnTo>
                  <a:lnTo>
                    <a:pt x="510" y="415"/>
                  </a:lnTo>
                  <a:lnTo>
                    <a:pt x="511" y="415"/>
                  </a:lnTo>
                  <a:lnTo>
                    <a:pt x="512" y="415"/>
                  </a:lnTo>
                  <a:lnTo>
                    <a:pt x="515" y="411"/>
                  </a:lnTo>
                  <a:lnTo>
                    <a:pt x="515" y="410"/>
                  </a:lnTo>
                  <a:lnTo>
                    <a:pt x="516" y="410"/>
                  </a:lnTo>
                  <a:lnTo>
                    <a:pt x="516" y="411"/>
                  </a:lnTo>
                  <a:lnTo>
                    <a:pt x="517" y="414"/>
                  </a:lnTo>
                  <a:lnTo>
                    <a:pt x="518" y="414"/>
                  </a:lnTo>
                  <a:lnTo>
                    <a:pt x="519" y="414"/>
                  </a:lnTo>
                  <a:lnTo>
                    <a:pt x="521" y="412"/>
                  </a:lnTo>
                  <a:lnTo>
                    <a:pt x="521" y="415"/>
                  </a:lnTo>
                  <a:lnTo>
                    <a:pt x="523" y="415"/>
                  </a:lnTo>
                  <a:lnTo>
                    <a:pt x="525" y="415"/>
                  </a:lnTo>
                  <a:lnTo>
                    <a:pt x="527" y="415"/>
                  </a:lnTo>
                  <a:lnTo>
                    <a:pt x="529" y="416"/>
                  </a:lnTo>
                  <a:lnTo>
                    <a:pt x="530" y="417"/>
                  </a:lnTo>
                  <a:lnTo>
                    <a:pt x="533" y="416"/>
                  </a:lnTo>
                  <a:lnTo>
                    <a:pt x="533" y="415"/>
                  </a:lnTo>
                  <a:lnTo>
                    <a:pt x="534" y="414"/>
                  </a:lnTo>
                  <a:lnTo>
                    <a:pt x="533" y="411"/>
                  </a:lnTo>
                  <a:lnTo>
                    <a:pt x="535" y="414"/>
                  </a:lnTo>
                  <a:lnTo>
                    <a:pt x="537" y="416"/>
                  </a:lnTo>
                  <a:lnTo>
                    <a:pt x="537" y="415"/>
                  </a:lnTo>
                  <a:lnTo>
                    <a:pt x="539" y="418"/>
                  </a:lnTo>
                  <a:lnTo>
                    <a:pt x="540" y="418"/>
                  </a:lnTo>
                  <a:lnTo>
                    <a:pt x="540" y="417"/>
                  </a:lnTo>
                  <a:lnTo>
                    <a:pt x="541" y="416"/>
                  </a:lnTo>
                  <a:lnTo>
                    <a:pt x="543" y="418"/>
                  </a:lnTo>
                  <a:lnTo>
                    <a:pt x="543" y="420"/>
                  </a:lnTo>
                  <a:lnTo>
                    <a:pt x="546" y="418"/>
                  </a:lnTo>
                  <a:lnTo>
                    <a:pt x="547" y="416"/>
                  </a:lnTo>
                  <a:lnTo>
                    <a:pt x="546" y="420"/>
                  </a:lnTo>
                  <a:lnTo>
                    <a:pt x="547" y="421"/>
                  </a:lnTo>
                  <a:lnTo>
                    <a:pt x="549" y="421"/>
                  </a:lnTo>
                  <a:lnTo>
                    <a:pt x="553" y="420"/>
                  </a:lnTo>
                  <a:lnTo>
                    <a:pt x="553" y="418"/>
                  </a:lnTo>
                  <a:lnTo>
                    <a:pt x="557" y="423"/>
                  </a:lnTo>
                  <a:lnTo>
                    <a:pt x="557" y="422"/>
                  </a:lnTo>
                  <a:lnTo>
                    <a:pt x="557" y="420"/>
                  </a:lnTo>
                  <a:lnTo>
                    <a:pt x="554" y="417"/>
                  </a:lnTo>
                  <a:lnTo>
                    <a:pt x="555" y="416"/>
                  </a:lnTo>
                  <a:lnTo>
                    <a:pt x="555" y="417"/>
                  </a:lnTo>
                  <a:lnTo>
                    <a:pt x="557" y="417"/>
                  </a:lnTo>
                  <a:lnTo>
                    <a:pt x="557" y="415"/>
                  </a:lnTo>
                  <a:lnTo>
                    <a:pt x="558" y="415"/>
                  </a:lnTo>
                  <a:lnTo>
                    <a:pt x="559" y="416"/>
                  </a:lnTo>
                  <a:lnTo>
                    <a:pt x="559" y="420"/>
                  </a:lnTo>
                  <a:lnTo>
                    <a:pt x="559" y="421"/>
                  </a:lnTo>
                  <a:lnTo>
                    <a:pt x="560" y="421"/>
                  </a:lnTo>
                  <a:lnTo>
                    <a:pt x="561" y="423"/>
                  </a:lnTo>
                  <a:lnTo>
                    <a:pt x="561" y="426"/>
                  </a:lnTo>
                  <a:lnTo>
                    <a:pt x="563" y="427"/>
                  </a:lnTo>
                  <a:lnTo>
                    <a:pt x="564" y="424"/>
                  </a:lnTo>
                  <a:lnTo>
                    <a:pt x="564" y="421"/>
                  </a:lnTo>
                  <a:lnTo>
                    <a:pt x="564" y="417"/>
                  </a:lnTo>
                  <a:lnTo>
                    <a:pt x="565" y="418"/>
                  </a:lnTo>
                  <a:lnTo>
                    <a:pt x="566" y="426"/>
                  </a:lnTo>
                  <a:lnTo>
                    <a:pt x="567" y="424"/>
                  </a:lnTo>
                  <a:lnTo>
                    <a:pt x="567" y="422"/>
                  </a:lnTo>
                  <a:lnTo>
                    <a:pt x="569" y="420"/>
                  </a:lnTo>
                  <a:lnTo>
                    <a:pt x="570" y="420"/>
                  </a:lnTo>
                  <a:lnTo>
                    <a:pt x="570" y="416"/>
                  </a:lnTo>
                  <a:lnTo>
                    <a:pt x="570" y="415"/>
                  </a:lnTo>
                  <a:lnTo>
                    <a:pt x="571" y="420"/>
                  </a:lnTo>
                  <a:lnTo>
                    <a:pt x="571" y="423"/>
                  </a:lnTo>
                  <a:lnTo>
                    <a:pt x="574" y="424"/>
                  </a:lnTo>
                  <a:lnTo>
                    <a:pt x="576" y="424"/>
                  </a:lnTo>
                  <a:lnTo>
                    <a:pt x="577" y="420"/>
                  </a:lnTo>
                  <a:lnTo>
                    <a:pt x="577" y="424"/>
                  </a:lnTo>
                  <a:lnTo>
                    <a:pt x="578" y="428"/>
                  </a:lnTo>
                  <a:lnTo>
                    <a:pt x="577" y="429"/>
                  </a:lnTo>
                  <a:lnTo>
                    <a:pt x="580" y="430"/>
                  </a:lnTo>
                  <a:lnTo>
                    <a:pt x="581" y="429"/>
                  </a:lnTo>
                  <a:lnTo>
                    <a:pt x="581" y="428"/>
                  </a:lnTo>
                  <a:lnTo>
                    <a:pt x="582" y="427"/>
                  </a:lnTo>
                  <a:lnTo>
                    <a:pt x="583" y="424"/>
                  </a:lnTo>
                  <a:lnTo>
                    <a:pt x="584" y="423"/>
                  </a:lnTo>
                  <a:lnTo>
                    <a:pt x="584" y="420"/>
                  </a:lnTo>
                  <a:lnTo>
                    <a:pt x="584" y="418"/>
                  </a:lnTo>
                  <a:lnTo>
                    <a:pt x="587" y="420"/>
                  </a:lnTo>
                  <a:lnTo>
                    <a:pt x="587" y="422"/>
                  </a:lnTo>
                  <a:lnTo>
                    <a:pt x="588" y="426"/>
                  </a:lnTo>
                  <a:lnTo>
                    <a:pt x="589" y="424"/>
                  </a:lnTo>
                  <a:lnTo>
                    <a:pt x="590" y="422"/>
                  </a:lnTo>
                  <a:lnTo>
                    <a:pt x="592" y="424"/>
                  </a:lnTo>
                  <a:lnTo>
                    <a:pt x="592" y="427"/>
                  </a:lnTo>
                  <a:lnTo>
                    <a:pt x="593" y="429"/>
                  </a:lnTo>
                  <a:lnTo>
                    <a:pt x="595" y="426"/>
                  </a:lnTo>
                  <a:lnTo>
                    <a:pt x="598" y="426"/>
                  </a:lnTo>
                  <a:lnTo>
                    <a:pt x="598" y="427"/>
                  </a:lnTo>
                  <a:lnTo>
                    <a:pt x="599" y="427"/>
                  </a:lnTo>
                  <a:lnTo>
                    <a:pt x="599" y="424"/>
                  </a:lnTo>
                  <a:lnTo>
                    <a:pt x="601" y="420"/>
                  </a:lnTo>
                  <a:lnTo>
                    <a:pt x="602" y="418"/>
                  </a:lnTo>
                  <a:lnTo>
                    <a:pt x="604" y="420"/>
                  </a:lnTo>
                  <a:lnTo>
                    <a:pt x="606" y="420"/>
                  </a:lnTo>
                  <a:lnTo>
                    <a:pt x="606" y="422"/>
                  </a:lnTo>
                  <a:lnTo>
                    <a:pt x="607" y="426"/>
                  </a:lnTo>
                  <a:lnTo>
                    <a:pt x="610" y="424"/>
                  </a:lnTo>
                  <a:lnTo>
                    <a:pt x="610" y="422"/>
                  </a:lnTo>
                  <a:lnTo>
                    <a:pt x="616" y="424"/>
                  </a:lnTo>
                  <a:lnTo>
                    <a:pt x="616" y="423"/>
                  </a:lnTo>
                  <a:lnTo>
                    <a:pt x="612" y="421"/>
                  </a:lnTo>
                  <a:lnTo>
                    <a:pt x="610" y="421"/>
                  </a:lnTo>
                  <a:lnTo>
                    <a:pt x="612" y="418"/>
                  </a:lnTo>
                  <a:lnTo>
                    <a:pt x="612" y="417"/>
                  </a:lnTo>
                  <a:lnTo>
                    <a:pt x="608" y="417"/>
                  </a:lnTo>
                  <a:lnTo>
                    <a:pt x="610" y="417"/>
                  </a:lnTo>
                  <a:lnTo>
                    <a:pt x="608" y="415"/>
                  </a:lnTo>
                  <a:lnTo>
                    <a:pt x="606" y="415"/>
                  </a:lnTo>
                  <a:lnTo>
                    <a:pt x="602" y="414"/>
                  </a:lnTo>
                  <a:lnTo>
                    <a:pt x="600" y="412"/>
                  </a:lnTo>
                  <a:lnTo>
                    <a:pt x="598" y="411"/>
                  </a:lnTo>
                  <a:lnTo>
                    <a:pt x="595" y="410"/>
                  </a:lnTo>
                  <a:lnTo>
                    <a:pt x="593" y="406"/>
                  </a:lnTo>
                  <a:lnTo>
                    <a:pt x="592" y="405"/>
                  </a:lnTo>
                  <a:lnTo>
                    <a:pt x="590" y="402"/>
                  </a:lnTo>
                  <a:lnTo>
                    <a:pt x="592" y="402"/>
                  </a:lnTo>
                  <a:lnTo>
                    <a:pt x="596" y="403"/>
                  </a:lnTo>
                  <a:lnTo>
                    <a:pt x="595" y="400"/>
                  </a:lnTo>
                  <a:lnTo>
                    <a:pt x="593" y="399"/>
                  </a:lnTo>
                  <a:lnTo>
                    <a:pt x="592" y="396"/>
                  </a:lnTo>
                  <a:lnTo>
                    <a:pt x="590" y="397"/>
                  </a:lnTo>
                  <a:lnTo>
                    <a:pt x="589" y="398"/>
                  </a:lnTo>
                  <a:lnTo>
                    <a:pt x="587" y="398"/>
                  </a:lnTo>
                  <a:lnTo>
                    <a:pt x="583" y="398"/>
                  </a:lnTo>
                  <a:lnTo>
                    <a:pt x="575" y="396"/>
                  </a:lnTo>
                  <a:lnTo>
                    <a:pt x="570" y="394"/>
                  </a:lnTo>
                  <a:lnTo>
                    <a:pt x="570" y="392"/>
                  </a:lnTo>
                  <a:lnTo>
                    <a:pt x="569" y="393"/>
                  </a:lnTo>
                  <a:lnTo>
                    <a:pt x="565" y="393"/>
                  </a:lnTo>
                  <a:lnTo>
                    <a:pt x="564" y="392"/>
                  </a:lnTo>
                  <a:lnTo>
                    <a:pt x="563" y="391"/>
                  </a:lnTo>
                  <a:lnTo>
                    <a:pt x="560" y="390"/>
                  </a:lnTo>
                  <a:lnTo>
                    <a:pt x="553" y="390"/>
                  </a:lnTo>
                  <a:lnTo>
                    <a:pt x="548" y="390"/>
                  </a:lnTo>
                  <a:lnTo>
                    <a:pt x="546" y="388"/>
                  </a:lnTo>
                  <a:lnTo>
                    <a:pt x="545" y="387"/>
                  </a:lnTo>
                  <a:lnTo>
                    <a:pt x="542" y="387"/>
                  </a:lnTo>
                  <a:lnTo>
                    <a:pt x="537" y="386"/>
                  </a:lnTo>
                  <a:lnTo>
                    <a:pt x="535" y="385"/>
                  </a:lnTo>
                  <a:lnTo>
                    <a:pt x="534" y="381"/>
                  </a:lnTo>
                  <a:lnTo>
                    <a:pt x="530" y="380"/>
                  </a:lnTo>
                  <a:lnTo>
                    <a:pt x="528" y="380"/>
                  </a:lnTo>
                  <a:lnTo>
                    <a:pt x="523" y="378"/>
                  </a:lnTo>
                  <a:lnTo>
                    <a:pt x="521" y="378"/>
                  </a:lnTo>
                  <a:lnTo>
                    <a:pt x="518" y="378"/>
                  </a:lnTo>
                  <a:lnTo>
                    <a:pt x="513" y="378"/>
                  </a:lnTo>
                  <a:lnTo>
                    <a:pt x="515" y="375"/>
                  </a:lnTo>
                  <a:lnTo>
                    <a:pt x="511" y="376"/>
                  </a:lnTo>
                  <a:lnTo>
                    <a:pt x="509" y="378"/>
                  </a:lnTo>
                  <a:lnTo>
                    <a:pt x="502" y="378"/>
                  </a:lnTo>
                  <a:lnTo>
                    <a:pt x="501" y="376"/>
                  </a:lnTo>
                  <a:lnTo>
                    <a:pt x="495" y="375"/>
                  </a:lnTo>
                  <a:lnTo>
                    <a:pt x="492" y="374"/>
                  </a:lnTo>
                  <a:lnTo>
                    <a:pt x="487" y="374"/>
                  </a:lnTo>
                  <a:lnTo>
                    <a:pt x="482" y="371"/>
                  </a:lnTo>
                  <a:lnTo>
                    <a:pt x="476" y="371"/>
                  </a:lnTo>
                  <a:lnTo>
                    <a:pt x="472" y="369"/>
                  </a:lnTo>
                  <a:lnTo>
                    <a:pt x="469" y="368"/>
                  </a:lnTo>
                  <a:lnTo>
                    <a:pt x="470" y="369"/>
                  </a:lnTo>
                  <a:lnTo>
                    <a:pt x="468" y="371"/>
                  </a:lnTo>
                  <a:lnTo>
                    <a:pt x="465" y="371"/>
                  </a:lnTo>
                  <a:lnTo>
                    <a:pt x="463" y="370"/>
                  </a:lnTo>
                  <a:lnTo>
                    <a:pt x="459" y="369"/>
                  </a:lnTo>
                  <a:lnTo>
                    <a:pt x="457" y="368"/>
                  </a:lnTo>
                  <a:lnTo>
                    <a:pt x="453" y="369"/>
                  </a:lnTo>
                  <a:lnTo>
                    <a:pt x="452" y="370"/>
                  </a:lnTo>
                  <a:lnTo>
                    <a:pt x="448" y="368"/>
                  </a:lnTo>
                  <a:lnTo>
                    <a:pt x="446" y="367"/>
                  </a:lnTo>
                  <a:lnTo>
                    <a:pt x="442" y="365"/>
                  </a:lnTo>
                  <a:lnTo>
                    <a:pt x="437" y="367"/>
                  </a:lnTo>
                  <a:lnTo>
                    <a:pt x="437" y="364"/>
                  </a:lnTo>
                  <a:lnTo>
                    <a:pt x="436" y="362"/>
                  </a:lnTo>
                  <a:lnTo>
                    <a:pt x="433" y="361"/>
                  </a:lnTo>
                  <a:lnTo>
                    <a:pt x="430" y="359"/>
                  </a:lnTo>
                  <a:lnTo>
                    <a:pt x="428" y="357"/>
                  </a:lnTo>
                  <a:lnTo>
                    <a:pt x="424" y="355"/>
                  </a:lnTo>
                  <a:lnTo>
                    <a:pt x="419" y="351"/>
                  </a:lnTo>
                  <a:lnTo>
                    <a:pt x="417" y="349"/>
                  </a:lnTo>
                  <a:lnTo>
                    <a:pt x="417" y="339"/>
                  </a:lnTo>
                  <a:lnTo>
                    <a:pt x="418" y="337"/>
                  </a:lnTo>
                  <a:lnTo>
                    <a:pt x="418" y="335"/>
                  </a:lnTo>
                  <a:lnTo>
                    <a:pt x="419" y="340"/>
                  </a:lnTo>
                  <a:lnTo>
                    <a:pt x="421" y="340"/>
                  </a:lnTo>
                  <a:lnTo>
                    <a:pt x="423" y="339"/>
                  </a:lnTo>
                  <a:lnTo>
                    <a:pt x="422" y="335"/>
                  </a:lnTo>
                  <a:lnTo>
                    <a:pt x="423" y="334"/>
                  </a:lnTo>
                  <a:lnTo>
                    <a:pt x="424" y="337"/>
                  </a:lnTo>
                  <a:lnTo>
                    <a:pt x="423" y="340"/>
                  </a:lnTo>
                  <a:lnTo>
                    <a:pt x="423" y="344"/>
                  </a:lnTo>
                  <a:lnTo>
                    <a:pt x="422" y="346"/>
                  </a:lnTo>
                  <a:lnTo>
                    <a:pt x="422" y="349"/>
                  </a:lnTo>
                  <a:lnTo>
                    <a:pt x="423" y="350"/>
                  </a:lnTo>
                  <a:lnTo>
                    <a:pt x="424" y="351"/>
                  </a:lnTo>
                  <a:lnTo>
                    <a:pt x="427" y="353"/>
                  </a:lnTo>
                  <a:lnTo>
                    <a:pt x="428" y="355"/>
                  </a:lnTo>
                  <a:lnTo>
                    <a:pt x="430" y="357"/>
                  </a:lnTo>
                  <a:lnTo>
                    <a:pt x="431" y="356"/>
                  </a:lnTo>
                  <a:lnTo>
                    <a:pt x="433" y="358"/>
                  </a:lnTo>
                  <a:lnTo>
                    <a:pt x="434" y="358"/>
                  </a:lnTo>
                  <a:lnTo>
                    <a:pt x="436" y="358"/>
                  </a:lnTo>
                  <a:lnTo>
                    <a:pt x="437" y="361"/>
                  </a:lnTo>
                  <a:lnTo>
                    <a:pt x="439" y="359"/>
                  </a:lnTo>
                  <a:lnTo>
                    <a:pt x="439" y="357"/>
                  </a:lnTo>
                  <a:lnTo>
                    <a:pt x="436" y="355"/>
                  </a:lnTo>
                  <a:lnTo>
                    <a:pt x="436" y="353"/>
                  </a:lnTo>
                  <a:lnTo>
                    <a:pt x="436" y="349"/>
                  </a:lnTo>
                  <a:lnTo>
                    <a:pt x="435" y="345"/>
                  </a:lnTo>
                  <a:lnTo>
                    <a:pt x="436" y="341"/>
                  </a:lnTo>
                  <a:lnTo>
                    <a:pt x="436" y="338"/>
                  </a:lnTo>
                  <a:lnTo>
                    <a:pt x="437" y="338"/>
                  </a:lnTo>
                  <a:lnTo>
                    <a:pt x="437" y="339"/>
                  </a:lnTo>
                  <a:lnTo>
                    <a:pt x="436" y="343"/>
                  </a:lnTo>
                  <a:lnTo>
                    <a:pt x="439" y="343"/>
                  </a:lnTo>
                  <a:lnTo>
                    <a:pt x="440" y="344"/>
                  </a:lnTo>
                  <a:lnTo>
                    <a:pt x="437" y="346"/>
                  </a:lnTo>
                  <a:lnTo>
                    <a:pt x="439" y="347"/>
                  </a:lnTo>
                  <a:lnTo>
                    <a:pt x="440" y="347"/>
                  </a:lnTo>
                  <a:lnTo>
                    <a:pt x="441" y="345"/>
                  </a:lnTo>
                  <a:lnTo>
                    <a:pt x="441" y="343"/>
                  </a:lnTo>
                  <a:lnTo>
                    <a:pt x="441" y="340"/>
                  </a:lnTo>
                  <a:lnTo>
                    <a:pt x="443" y="340"/>
                  </a:lnTo>
                  <a:lnTo>
                    <a:pt x="443" y="345"/>
                  </a:lnTo>
                  <a:lnTo>
                    <a:pt x="443" y="347"/>
                  </a:lnTo>
                  <a:lnTo>
                    <a:pt x="445" y="349"/>
                  </a:lnTo>
                  <a:lnTo>
                    <a:pt x="446" y="349"/>
                  </a:lnTo>
                  <a:lnTo>
                    <a:pt x="448" y="347"/>
                  </a:lnTo>
                  <a:lnTo>
                    <a:pt x="448" y="349"/>
                  </a:lnTo>
                  <a:lnTo>
                    <a:pt x="448" y="351"/>
                  </a:lnTo>
                  <a:lnTo>
                    <a:pt x="450" y="352"/>
                  </a:lnTo>
                  <a:lnTo>
                    <a:pt x="451" y="351"/>
                  </a:lnTo>
                  <a:lnTo>
                    <a:pt x="451" y="353"/>
                  </a:lnTo>
                  <a:lnTo>
                    <a:pt x="452" y="353"/>
                  </a:lnTo>
                  <a:lnTo>
                    <a:pt x="453" y="352"/>
                  </a:lnTo>
                  <a:lnTo>
                    <a:pt x="454" y="350"/>
                  </a:lnTo>
                  <a:lnTo>
                    <a:pt x="456" y="349"/>
                  </a:lnTo>
                  <a:lnTo>
                    <a:pt x="454" y="353"/>
                  </a:lnTo>
                  <a:lnTo>
                    <a:pt x="454" y="358"/>
                  </a:lnTo>
                  <a:lnTo>
                    <a:pt x="456" y="358"/>
                  </a:lnTo>
                  <a:lnTo>
                    <a:pt x="457" y="356"/>
                  </a:lnTo>
                  <a:lnTo>
                    <a:pt x="457" y="353"/>
                  </a:lnTo>
                  <a:lnTo>
                    <a:pt x="457" y="350"/>
                  </a:lnTo>
                  <a:lnTo>
                    <a:pt x="459" y="349"/>
                  </a:lnTo>
                  <a:lnTo>
                    <a:pt x="458" y="353"/>
                  </a:lnTo>
                  <a:lnTo>
                    <a:pt x="458" y="358"/>
                  </a:lnTo>
                  <a:lnTo>
                    <a:pt x="458" y="359"/>
                  </a:lnTo>
                  <a:lnTo>
                    <a:pt x="459" y="359"/>
                  </a:lnTo>
                  <a:lnTo>
                    <a:pt x="459" y="358"/>
                  </a:lnTo>
                  <a:lnTo>
                    <a:pt x="460" y="359"/>
                  </a:lnTo>
                  <a:lnTo>
                    <a:pt x="460" y="362"/>
                  </a:lnTo>
                  <a:lnTo>
                    <a:pt x="462" y="364"/>
                  </a:lnTo>
                  <a:lnTo>
                    <a:pt x="463" y="364"/>
                  </a:lnTo>
                  <a:lnTo>
                    <a:pt x="463" y="359"/>
                  </a:lnTo>
                  <a:lnTo>
                    <a:pt x="463" y="358"/>
                  </a:lnTo>
                  <a:lnTo>
                    <a:pt x="465" y="357"/>
                  </a:lnTo>
                  <a:lnTo>
                    <a:pt x="468" y="356"/>
                  </a:lnTo>
                  <a:lnTo>
                    <a:pt x="469" y="355"/>
                  </a:lnTo>
                  <a:lnTo>
                    <a:pt x="465" y="351"/>
                  </a:lnTo>
                  <a:lnTo>
                    <a:pt x="464" y="347"/>
                  </a:lnTo>
                  <a:lnTo>
                    <a:pt x="464" y="346"/>
                  </a:lnTo>
                  <a:lnTo>
                    <a:pt x="466" y="346"/>
                  </a:lnTo>
                  <a:lnTo>
                    <a:pt x="465" y="347"/>
                  </a:lnTo>
                  <a:lnTo>
                    <a:pt x="466" y="349"/>
                  </a:lnTo>
                  <a:lnTo>
                    <a:pt x="470" y="347"/>
                  </a:lnTo>
                  <a:lnTo>
                    <a:pt x="471" y="346"/>
                  </a:lnTo>
                  <a:lnTo>
                    <a:pt x="471" y="343"/>
                  </a:lnTo>
                  <a:lnTo>
                    <a:pt x="471" y="341"/>
                  </a:lnTo>
                  <a:lnTo>
                    <a:pt x="472" y="343"/>
                  </a:lnTo>
                  <a:lnTo>
                    <a:pt x="474" y="345"/>
                  </a:lnTo>
                  <a:lnTo>
                    <a:pt x="475" y="344"/>
                  </a:lnTo>
                  <a:lnTo>
                    <a:pt x="475" y="341"/>
                  </a:lnTo>
                  <a:lnTo>
                    <a:pt x="477" y="340"/>
                  </a:lnTo>
                  <a:lnTo>
                    <a:pt x="477" y="339"/>
                  </a:lnTo>
                  <a:lnTo>
                    <a:pt x="476" y="335"/>
                  </a:lnTo>
                  <a:lnTo>
                    <a:pt x="480" y="337"/>
                  </a:lnTo>
                  <a:lnTo>
                    <a:pt x="481" y="334"/>
                  </a:lnTo>
                  <a:lnTo>
                    <a:pt x="480" y="326"/>
                  </a:lnTo>
                  <a:lnTo>
                    <a:pt x="481" y="321"/>
                  </a:lnTo>
                  <a:lnTo>
                    <a:pt x="481" y="320"/>
                  </a:lnTo>
                  <a:lnTo>
                    <a:pt x="482" y="323"/>
                  </a:lnTo>
                  <a:lnTo>
                    <a:pt x="483" y="323"/>
                  </a:lnTo>
                  <a:lnTo>
                    <a:pt x="483" y="320"/>
                  </a:lnTo>
                  <a:lnTo>
                    <a:pt x="483" y="317"/>
                  </a:lnTo>
                  <a:lnTo>
                    <a:pt x="484" y="319"/>
                  </a:lnTo>
                  <a:lnTo>
                    <a:pt x="486" y="317"/>
                  </a:lnTo>
                  <a:lnTo>
                    <a:pt x="488" y="317"/>
                  </a:lnTo>
                  <a:lnTo>
                    <a:pt x="489" y="319"/>
                  </a:lnTo>
                  <a:lnTo>
                    <a:pt x="490" y="321"/>
                  </a:lnTo>
                  <a:lnTo>
                    <a:pt x="490" y="325"/>
                  </a:lnTo>
                  <a:lnTo>
                    <a:pt x="490" y="326"/>
                  </a:lnTo>
                  <a:lnTo>
                    <a:pt x="492" y="326"/>
                  </a:lnTo>
                  <a:lnTo>
                    <a:pt x="492" y="328"/>
                  </a:lnTo>
                  <a:lnTo>
                    <a:pt x="493" y="326"/>
                  </a:lnTo>
                  <a:lnTo>
                    <a:pt x="493" y="320"/>
                  </a:lnTo>
                  <a:lnTo>
                    <a:pt x="492" y="317"/>
                  </a:lnTo>
                  <a:lnTo>
                    <a:pt x="493" y="315"/>
                  </a:lnTo>
                  <a:lnTo>
                    <a:pt x="495" y="313"/>
                  </a:lnTo>
                  <a:lnTo>
                    <a:pt x="495" y="310"/>
                  </a:lnTo>
                  <a:lnTo>
                    <a:pt x="494" y="307"/>
                  </a:lnTo>
                  <a:lnTo>
                    <a:pt x="495" y="303"/>
                  </a:lnTo>
                  <a:lnTo>
                    <a:pt x="496" y="301"/>
                  </a:lnTo>
                  <a:lnTo>
                    <a:pt x="498" y="304"/>
                  </a:lnTo>
                  <a:lnTo>
                    <a:pt x="501" y="303"/>
                  </a:lnTo>
                  <a:lnTo>
                    <a:pt x="502" y="305"/>
                  </a:lnTo>
                  <a:lnTo>
                    <a:pt x="504" y="304"/>
                  </a:lnTo>
                  <a:lnTo>
                    <a:pt x="505" y="303"/>
                  </a:lnTo>
                  <a:lnTo>
                    <a:pt x="505" y="310"/>
                  </a:lnTo>
                  <a:lnTo>
                    <a:pt x="506" y="311"/>
                  </a:lnTo>
                  <a:lnTo>
                    <a:pt x="509" y="311"/>
                  </a:lnTo>
                  <a:lnTo>
                    <a:pt x="509" y="309"/>
                  </a:lnTo>
                  <a:lnTo>
                    <a:pt x="507" y="304"/>
                  </a:lnTo>
                  <a:lnTo>
                    <a:pt x="507" y="299"/>
                  </a:lnTo>
                  <a:lnTo>
                    <a:pt x="509" y="298"/>
                  </a:lnTo>
                  <a:lnTo>
                    <a:pt x="510" y="297"/>
                  </a:lnTo>
                  <a:lnTo>
                    <a:pt x="510" y="293"/>
                  </a:lnTo>
                  <a:lnTo>
                    <a:pt x="512" y="295"/>
                  </a:lnTo>
                  <a:lnTo>
                    <a:pt x="512" y="292"/>
                  </a:lnTo>
                  <a:lnTo>
                    <a:pt x="512" y="289"/>
                  </a:lnTo>
                  <a:lnTo>
                    <a:pt x="513" y="289"/>
                  </a:lnTo>
                  <a:lnTo>
                    <a:pt x="515" y="291"/>
                  </a:lnTo>
                  <a:lnTo>
                    <a:pt x="518" y="291"/>
                  </a:lnTo>
                  <a:lnTo>
                    <a:pt x="519" y="289"/>
                  </a:lnTo>
                  <a:lnTo>
                    <a:pt x="521" y="286"/>
                  </a:lnTo>
                  <a:lnTo>
                    <a:pt x="519" y="284"/>
                  </a:lnTo>
                  <a:lnTo>
                    <a:pt x="519" y="280"/>
                  </a:lnTo>
                  <a:lnTo>
                    <a:pt x="519" y="279"/>
                  </a:lnTo>
                  <a:lnTo>
                    <a:pt x="521" y="279"/>
                  </a:lnTo>
                  <a:lnTo>
                    <a:pt x="523" y="280"/>
                  </a:lnTo>
                  <a:lnTo>
                    <a:pt x="523" y="279"/>
                  </a:lnTo>
                  <a:lnTo>
                    <a:pt x="521" y="278"/>
                  </a:lnTo>
                  <a:lnTo>
                    <a:pt x="521" y="275"/>
                  </a:lnTo>
                  <a:lnTo>
                    <a:pt x="518" y="274"/>
                  </a:lnTo>
                  <a:lnTo>
                    <a:pt x="516" y="274"/>
                  </a:lnTo>
                  <a:lnTo>
                    <a:pt x="515" y="273"/>
                  </a:lnTo>
                  <a:lnTo>
                    <a:pt x="516" y="272"/>
                  </a:lnTo>
                  <a:lnTo>
                    <a:pt x="518" y="272"/>
                  </a:lnTo>
                  <a:lnTo>
                    <a:pt x="521" y="272"/>
                  </a:lnTo>
                  <a:lnTo>
                    <a:pt x="522" y="274"/>
                  </a:lnTo>
                  <a:lnTo>
                    <a:pt x="523" y="277"/>
                  </a:lnTo>
                  <a:lnTo>
                    <a:pt x="523" y="278"/>
                  </a:lnTo>
                  <a:lnTo>
                    <a:pt x="523" y="277"/>
                  </a:lnTo>
                  <a:lnTo>
                    <a:pt x="524" y="275"/>
                  </a:lnTo>
                  <a:lnTo>
                    <a:pt x="525" y="278"/>
                  </a:lnTo>
                  <a:lnTo>
                    <a:pt x="525" y="277"/>
                  </a:lnTo>
                  <a:lnTo>
                    <a:pt x="525" y="275"/>
                  </a:lnTo>
                  <a:lnTo>
                    <a:pt x="524" y="273"/>
                  </a:lnTo>
                  <a:lnTo>
                    <a:pt x="527" y="272"/>
                  </a:lnTo>
                  <a:lnTo>
                    <a:pt x="528" y="272"/>
                  </a:lnTo>
                  <a:lnTo>
                    <a:pt x="529" y="271"/>
                  </a:lnTo>
                  <a:lnTo>
                    <a:pt x="530" y="269"/>
                  </a:lnTo>
                  <a:lnTo>
                    <a:pt x="528" y="269"/>
                  </a:lnTo>
                  <a:lnTo>
                    <a:pt x="527" y="269"/>
                  </a:lnTo>
                  <a:lnTo>
                    <a:pt x="525" y="269"/>
                  </a:lnTo>
                  <a:lnTo>
                    <a:pt x="524" y="269"/>
                  </a:lnTo>
                  <a:lnTo>
                    <a:pt x="523" y="268"/>
                  </a:lnTo>
                  <a:lnTo>
                    <a:pt x="522" y="267"/>
                  </a:lnTo>
                  <a:lnTo>
                    <a:pt x="525" y="266"/>
                  </a:lnTo>
                  <a:lnTo>
                    <a:pt x="527" y="264"/>
                  </a:lnTo>
                  <a:lnTo>
                    <a:pt x="523" y="263"/>
                  </a:lnTo>
                  <a:lnTo>
                    <a:pt x="527" y="262"/>
                  </a:lnTo>
                  <a:lnTo>
                    <a:pt x="528" y="261"/>
                  </a:lnTo>
                  <a:lnTo>
                    <a:pt x="530" y="262"/>
                  </a:lnTo>
                  <a:lnTo>
                    <a:pt x="530" y="260"/>
                  </a:lnTo>
                  <a:lnTo>
                    <a:pt x="531" y="260"/>
                  </a:lnTo>
                  <a:lnTo>
                    <a:pt x="533" y="261"/>
                  </a:lnTo>
                  <a:lnTo>
                    <a:pt x="534" y="261"/>
                  </a:lnTo>
                  <a:lnTo>
                    <a:pt x="535" y="261"/>
                  </a:lnTo>
                  <a:lnTo>
                    <a:pt x="534" y="260"/>
                  </a:lnTo>
                  <a:lnTo>
                    <a:pt x="533" y="258"/>
                  </a:lnTo>
                  <a:lnTo>
                    <a:pt x="535" y="257"/>
                  </a:lnTo>
                  <a:lnTo>
                    <a:pt x="536" y="258"/>
                  </a:lnTo>
                  <a:lnTo>
                    <a:pt x="539" y="260"/>
                  </a:lnTo>
                  <a:lnTo>
                    <a:pt x="540" y="258"/>
                  </a:lnTo>
                  <a:lnTo>
                    <a:pt x="536" y="256"/>
                  </a:lnTo>
                  <a:lnTo>
                    <a:pt x="535" y="255"/>
                  </a:lnTo>
                  <a:lnTo>
                    <a:pt x="540" y="255"/>
                  </a:lnTo>
                  <a:lnTo>
                    <a:pt x="541" y="254"/>
                  </a:lnTo>
                  <a:lnTo>
                    <a:pt x="535" y="254"/>
                  </a:lnTo>
                  <a:lnTo>
                    <a:pt x="534" y="254"/>
                  </a:lnTo>
                  <a:lnTo>
                    <a:pt x="533" y="252"/>
                  </a:lnTo>
                  <a:lnTo>
                    <a:pt x="533" y="251"/>
                  </a:lnTo>
                  <a:lnTo>
                    <a:pt x="531" y="250"/>
                  </a:lnTo>
                  <a:lnTo>
                    <a:pt x="530" y="255"/>
                  </a:lnTo>
                  <a:lnTo>
                    <a:pt x="529" y="255"/>
                  </a:lnTo>
                  <a:lnTo>
                    <a:pt x="528" y="256"/>
                  </a:lnTo>
                  <a:lnTo>
                    <a:pt x="528" y="257"/>
                  </a:lnTo>
                  <a:lnTo>
                    <a:pt x="527" y="257"/>
                  </a:lnTo>
                  <a:lnTo>
                    <a:pt x="525" y="258"/>
                  </a:lnTo>
                  <a:lnTo>
                    <a:pt x="524" y="258"/>
                  </a:lnTo>
                  <a:lnTo>
                    <a:pt x="523" y="257"/>
                  </a:lnTo>
                  <a:lnTo>
                    <a:pt x="523" y="255"/>
                  </a:lnTo>
                  <a:lnTo>
                    <a:pt x="522" y="255"/>
                  </a:lnTo>
                  <a:lnTo>
                    <a:pt x="522" y="256"/>
                  </a:lnTo>
                  <a:lnTo>
                    <a:pt x="522" y="257"/>
                  </a:lnTo>
                  <a:lnTo>
                    <a:pt x="519" y="258"/>
                  </a:lnTo>
                  <a:lnTo>
                    <a:pt x="519" y="260"/>
                  </a:lnTo>
                  <a:lnTo>
                    <a:pt x="521" y="262"/>
                  </a:lnTo>
                  <a:lnTo>
                    <a:pt x="519" y="262"/>
                  </a:lnTo>
                  <a:lnTo>
                    <a:pt x="518" y="263"/>
                  </a:lnTo>
                  <a:lnTo>
                    <a:pt x="518" y="262"/>
                  </a:lnTo>
                  <a:lnTo>
                    <a:pt x="517" y="260"/>
                  </a:lnTo>
                  <a:lnTo>
                    <a:pt x="516" y="260"/>
                  </a:lnTo>
                  <a:lnTo>
                    <a:pt x="515" y="260"/>
                  </a:lnTo>
                  <a:lnTo>
                    <a:pt x="513" y="260"/>
                  </a:lnTo>
                  <a:lnTo>
                    <a:pt x="511" y="260"/>
                  </a:lnTo>
                  <a:lnTo>
                    <a:pt x="511" y="258"/>
                  </a:lnTo>
                  <a:lnTo>
                    <a:pt x="512" y="257"/>
                  </a:lnTo>
                  <a:lnTo>
                    <a:pt x="513" y="257"/>
                  </a:lnTo>
                  <a:lnTo>
                    <a:pt x="515" y="256"/>
                  </a:lnTo>
                  <a:lnTo>
                    <a:pt x="516" y="255"/>
                  </a:lnTo>
                  <a:lnTo>
                    <a:pt x="516" y="254"/>
                  </a:lnTo>
                  <a:lnTo>
                    <a:pt x="518" y="252"/>
                  </a:lnTo>
                  <a:lnTo>
                    <a:pt x="519" y="252"/>
                  </a:lnTo>
                  <a:lnTo>
                    <a:pt x="521" y="252"/>
                  </a:lnTo>
                  <a:lnTo>
                    <a:pt x="519" y="251"/>
                  </a:lnTo>
                  <a:lnTo>
                    <a:pt x="521" y="250"/>
                  </a:lnTo>
                  <a:lnTo>
                    <a:pt x="522" y="251"/>
                  </a:lnTo>
                  <a:lnTo>
                    <a:pt x="523" y="251"/>
                  </a:lnTo>
                  <a:lnTo>
                    <a:pt x="522" y="252"/>
                  </a:lnTo>
                  <a:lnTo>
                    <a:pt x="522" y="254"/>
                  </a:lnTo>
                  <a:lnTo>
                    <a:pt x="523" y="254"/>
                  </a:lnTo>
                  <a:lnTo>
                    <a:pt x="524" y="252"/>
                  </a:lnTo>
                  <a:lnTo>
                    <a:pt x="524" y="251"/>
                  </a:lnTo>
                  <a:lnTo>
                    <a:pt x="525" y="251"/>
                  </a:lnTo>
                  <a:lnTo>
                    <a:pt x="527" y="252"/>
                  </a:lnTo>
                  <a:lnTo>
                    <a:pt x="527" y="251"/>
                  </a:lnTo>
                  <a:lnTo>
                    <a:pt x="524" y="250"/>
                  </a:lnTo>
                  <a:lnTo>
                    <a:pt x="523" y="249"/>
                  </a:lnTo>
                  <a:lnTo>
                    <a:pt x="525" y="248"/>
                  </a:lnTo>
                  <a:lnTo>
                    <a:pt x="528" y="248"/>
                  </a:lnTo>
                  <a:lnTo>
                    <a:pt x="528" y="246"/>
                  </a:lnTo>
                  <a:lnTo>
                    <a:pt x="530" y="246"/>
                  </a:lnTo>
                  <a:lnTo>
                    <a:pt x="524" y="246"/>
                  </a:lnTo>
                  <a:lnTo>
                    <a:pt x="522" y="248"/>
                  </a:lnTo>
                  <a:lnTo>
                    <a:pt x="517" y="249"/>
                  </a:lnTo>
                  <a:lnTo>
                    <a:pt x="515" y="251"/>
                  </a:lnTo>
                  <a:lnTo>
                    <a:pt x="515" y="254"/>
                  </a:lnTo>
                  <a:lnTo>
                    <a:pt x="513" y="255"/>
                  </a:lnTo>
                  <a:lnTo>
                    <a:pt x="511" y="255"/>
                  </a:lnTo>
                  <a:lnTo>
                    <a:pt x="510" y="252"/>
                  </a:lnTo>
                  <a:lnTo>
                    <a:pt x="510" y="251"/>
                  </a:lnTo>
                  <a:lnTo>
                    <a:pt x="513" y="251"/>
                  </a:lnTo>
                  <a:lnTo>
                    <a:pt x="509" y="251"/>
                  </a:lnTo>
                  <a:lnTo>
                    <a:pt x="509" y="248"/>
                  </a:lnTo>
                  <a:lnTo>
                    <a:pt x="507" y="249"/>
                  </a:lnTo>
                  <a:lnTo>
                    <a:pt x="507" y="251"/>
                  </a:lnTo>
                  <a:lnTo>
                    <a:pt x="507" y="252"/>
                  </a:lnTo>
                  <a:lnTo>
                    <a:pt x="507" y="256"/>
                  </a:lnTo>
                  <a:lnTo>
                    <a:pt x="505" y="258"/>
                  </a:lnTo>
                  <a:lnTo>
                    <a:pt x="502" y="260"/>
                  </a:lnTo>
                  <a:lnTo>
                    <a:pt x="500" y="260"/>
                  </a:lnTo>
                  <a:lnTo>
                    <a:pt x="500" y="261"/>
                  </a:lnTo>
                  <a:lnTo>
                    <a:pt x="498" y="261"/>
                  </a:lnTo>
                  <a:lnTo>
                    <a:pt x="498" y="260"/>
                  </a:lnTo>
                  <a:lnTo>
                    <a:pt x="498" y="257"/>
                  </a:lnTo>
                  <a:lnTo>
                    <a:pt x="496" y="257"/>
                  </a:lnTo>
                  <a:lnTo>
                    <a:pt x="495" y="258"/>
                  </a:lnTo>
                  <a:lnTo>
                    <a:pt x="494" y="258"/>
                  </a:lnTo>
                  <a:lnTo>
                    <a:pt x="494" y="256"/>
                  </a:lnTo>
                  <a:lnTo>
                    <a:pt x="494" y="255"/>
                  </a:lnTo>
                  <a:lnTo>
                    <a:pt x="493" y="257"/>
                  </a:lnTo>
                  <a:lnTo>
                    <a:pt x="492" y="256"/>
                  </a:lnTo>
                  <a:lnTo>
                    <a:pt x="489" y="255"/>
                  </a:lnTo>
                  <a:lnTo>
                    <a:pt x="488" y="252"/>
                  </a:lnTo>
                  <a:lnTo>
                    <a:pt x="489" y="251"/>
                  </a:lnTo>
                  <a:lnTo>
                    <a:pt x="490" y="251"/>
                  </a:lnTo>
                  <a:lnTo>
                    <a:pt x="492" y="251"/>
                  </a:lnTo>
                  <a:lnTo>
                    <a:pt x="493" y="250"/>
                  </a:lnTo>
                  <a:lnTo>
                    <a:pt x="493" y="249"/>
                  </a:lnTo>
                  <a:lnTo>
                    <a:pt x="494" y="248"/>
                  </a:lnTo>
                  <a:lnTo>
                    <a:pt x="495" y="246"/>
                  </a:lnTo>
                  <a:lnTo>
                    <a:pt x="498" y="245"/>
                  </a:lnTo>
                  <a:lnTo>
                    <a:pt x="499" y="245"/>
                  </a:lnTo>
                  <a:lnTo>
                    <a:pt x="500" y="245"/>
                  </a:lnTo>
                  <a:lnTo>
                    <a:pt x="500" y="243"/>
                  </a:lnTo>
                  <a:lnTo>
                    <a:pt x="501" y="243"/>
                  </a:lnTo>
                  <a:lnTo>
                    <a:pt x="504" y="244"/>
                  </a:lnTo>
                  <a:lnTo>
                    <a:pt x="506" y="244"/>
                  </a:lnTo>
                  <a:lnTo>
                    <a:pt x="506" y="243"/>
                  </a:lnTo>
                  <a:lnTo>
                    <a:pt x="502" y="242"/>
                  </a:lnTo>
                  <a:lnTo>
                    <a:pt x="502" y="240"/>
                  </a:lnTo>
                  <a:lnTo>
                    <a:pt x="501" y="240"/>
                  </a:lnTo>
                  <a:lnTo>
                    <a:pt x="504" y="239"/>
                  </a:lnTo>
                  <a:lnTo>
                    <a:pt x="501" y="239"/>
                  </a:lnTo>
                  <a:lnTo>
                    <a:pt x="500" y="238"/>
                  </a:lnTo>
                  <a:lnTo>
                    <a:pt x="501" y="237"/>
                  </a:lnTo>
                  <a:lnTo>
                    <a:pt x="502" y="234"/>
                  </a:lnTo>
                  <a:lnTo>
                    <a:pt x="502" y="233"/>
                  </a:lnTo>
                  <a:lnTo>
                    <a:pt x="499" y="238"/>
                  </a:lnTo>
                  <a:lnTo>
                    <a:pt x="498" y="238"/>
                  </a:lnTo>
                  <a:lnTo>
                    <a:pt x="498" y="237"/>
                  </a:lnTo>
                  <a:lnTo>
                    <a:pt x="496" y="238"/>
                  </a:lnTo>
                  <a:lnTo>
                    <a:pt x="495" y="239"/>
                  </a:lnTo>
                  <a:lnTo>
                    <a:pt x="494" y="239"/>
                  </a:lnTo>
                  <a:lnTo>
                    <a:pt x="493" y="242"/>
                  </a:lnTo>
                  <a:lnTo>
                    <a:pt x="492" y="243"/>
                  </a:lnTo>
                  <a:lnTo>
                    <a:pt x="490" y="243"/>
                  </a:lnTo>
                  <a:lnTo>
                    <a:pt x="489" y="242"/>
                  </a:lnTo>
                  <a:lnTo>
                    <a:pt x="488" y="240"/>
                  </a:lnTo>
                  <a:lnTo>
                    <a:pt x="487" y="242"/>
                  </a:lnTo>
                  <a:lnTo>
                    <a:pt x="486" y="244"/>
                  </a:lnTo>
                  <a:lnTo>
                    <a:pt x="484" y="244"/>
                  </a:lnTo>
                  <a:lnTo>
                    <a:pt x="483" y="243"/>
                  </a:lnTo>
                  <a:lnTo>
                    <a:pt x="482" y="243"/>
                  </a:lnTo>
                  <a:lnTo>
                    <a:pt x="482" y="245"/>
                  </a:lnTo>
                  <a:lnTo>
                    <a:pt x="481" y="248"/>
                  </a:lnTo>
                  <a:lnTo>
                    <a:pt x="478" y="248"/>
                  </a:lnTo>
                  <a:lnTo>
                    <a:pt x="474" y="245"/>
                  </a:lnTo>
                  <a:lnTo>
                    <a:pt x="472" y="244"/>
                  </a:lnTo>
                  <a:lnTo>
                    <a:pt x="470" y="242"/>
                  </a:lnTo>
                  <a:lnTo>
                    <a:pt x="469" y="239"/>
                  </a:lnTo>
                  <a:lnTo>
                    <a:pt x="468" y="237"/>
                  </a:lnTo>
                  <a:lnTo>
                    <a:pt x="469" y="237"/>
                  </a:lnTo>
                  <a:lnTo>
                    <a:pt x="470" y="236"/>
                  </a:lnTo>
                  <a:lnTo>
                    <a:pt x="468" y="234"/>
                  </a:lnTo>
                  <a:lnTo>
                    <a:pt x="466" y="234"/>
                  </a:lnTo>
                  <a:lnTo>
                    <a:pt x="466" y="233"/>
                  </a:lnTo>
                  <a:lnTo>
                    <a:pt x="470" y="233"/>
                  </a:lnTo>
                  <a:lnTo>
                    <a:pt x="471" y="233"/>
                  </a:lnTo>
                  <a:lnTo>
                    <a:pt x="471" y="232"/>
                  </a:lnTo>
                  <a:lnTo>
                    <a:pt x="470" y="231"/>
                  </a:lnTo>
                  <a:lnTo>
                    <a:pt x="466" y="231"/>
                  </a:lnTo>
                  <a:lnTo>
                    <a:pt x="465" y="230"/>
                  </a:lnTo>
                  <a:lnTo>
                    <a:pt x="465" y="226"/>
                  </a:lnTo>
                  <a:lnTo>
                    <a:pt x="466" y="226"/>
                  </a:lnTo>
                  <a:lnTo>
                    <a:pt x="468" y="226"/>
                  </a:lnTo>
                  <a:lnTo>
                    <a:pt x="469" y="226"/>
                  </a:lnTo>
                  <a:lnTo>
                    <a:pt x="469" y="230"/>
                  </a:lnTo>
                  <a:lnTo>
                    <a:pt x="470" y="228"/>
                  </a:lnTo>
                  <a:lnTo>
                    <a:pt x="470" y="226"/>
                  </a:lnTo>
                  <a:lnTo>
                    <a:pt x="471" y="226"/>
                  </a:lnTo>
                  <a:lnTo>
                    <a:pt x="472" y="226"/>
                  </a:lnTo>
                  <a:lnTo>
                    <a:pt x="474" y="225"/>
                  </a:lnTo>
                  <a:lnTo>
                    <a:pt x="472" y="224"/>
                  </a:lnTo>
                  <a:lnTo>
                    <a:pt x="474" y="224"/>
                  </a:lnTo>
                  <a:lnTo>
                    <a:pt x="475" y="225"/>
                  </a:lnTo>
                  <a:lnTo>
                    <a:pt x="474" y="226"/>
                  </a:lnTo>
                  <a:lnTo>
                    <a:pt x="475" y="227"/>
                  </a:lnTo>
                  <a:lnTo>
                    <a:pt x="476" y="225"/>
                  </a:lnTo>
                  <a:lnTo>
                    <a:pt x="477" y="225"/>
                  </a:lnTo>
                  <a:lnTo>
                    <a:pt x="477" y="226"/>
                  </a:lnTo>
                  <a:lnTo>
                    <a:pt x="478" y="226"/>
                  </a:lnTo>
                  <a:lnTo>
                    <a:pt x="480" y="224"/>
                  </a:lnTo>
                  <a:lnTo>
                    <a:pt x="481" y="224"/>
                  </a:lnTo>
                  <a:lnTo>
                    <a:pt x="481" y="219"/>
                  </a:lnTo>
                  <a:lnTo>
                    <a:pt x="482" y="219"/>
                  </a:lnTo>
                  <a:lnTo>
                    <a:pt x="482" y="220"/>
                  </a:lnTo>
                  <a:lnTo>
                    <a:pt x="482" y="221"/>
                  </a:lnTo>
                  <a:lnTo>
                    <a:pt x="483" y="221"/>
                  </a:lnTo>
                  <a:lnTo>
                    <a:pt x="484" y="221"/>
                  </a:lnTo>
                  <a:lnTo>
                    <a:pt x="484" y="220"/>
                  </a:lnTo>
                  <a:lnTo>
                    <a:pt x="486" y="220"/>
                  </a:lnTo>
                  <a:lnTo>
                    <a:pt x="487" y="220"/>
                  </a:lnTo>
                  <a:lnTo>
                    <a:pt x="488" y="219"/>
                  </a:lnTo>
                  <a:lnTo>
                    <a:pt x="488" y="216"/>
                  </a:lnTo>
                  <a:lnTo>
                    <a:pt x="489" y="214"/>
                  </a:lnTo>
                  <a:lnTo>
                    <a:pt x="490" y="213"/>
                  </a:lnTo>
                  <a:lnTo>
                    <a:pt x="492" y="213"/>
                  </a:lnTo>
                  <a:lnTo>
                    <a:pt x="490" y="212"/>
                  </a:lnTo>
                  <a:lnTo>
                    <a:pt x="490" y="210"/>
                  </a:lnTo>
                  <a:lnTo>
                    <a:pt x="492" y="209"/>
                  </a:lnTo>
                  <a:lnTo>
                    <a:pt x="493" y="210"/>
                  </a:lnTo>
                  <a:lnTo>
                    <a:pt x="494" y="210"/>
                  </a:lnTo>
                  <a:lnTo>
                    <a:pt x="493" y="209"/>
                  </a:lnTo>
                  <a:lnTo>
                    <a:pt x="490" y="208"/>
                  </a:lnTo>
                  <a:lnTo>
                    <a:pt x="490" y="206"/>
                  </a:lnTo>
                  <a:lnTo>
                    <a:pt x="492" y="206"/>
                  </a:lnTo>
                  <a:lnTo>
                    <a:pt x="492" y="208"/>
                  </a:lnTo>
                  <a:lnTo>
                    <a:pt x="493" y="208"/>
                  </a:lnTo>
                  <a:lnTo>
                    <a:pt x="494" y="207"/>
                  </a:lnTo>
                  <a:lnTo>
                    <a:pt x="495" y="208"/>
                  </a:lnTo>
                  <a:lnTo>
                    <a:pt x="496" y="208"/>
                  </a:lnTo>
                  <a:lnTo>
                    <a:pt x="498" y="208"/>
                  </a:lnTo>
                  <a:lnTo>
                    <a:pt x="496" y="207"/>
                  </a:lnTo>
                  <a:lnTo>
                    <a:pt x="498" y="207"/>
                  </a:lnTo>
                  <a:lnTo>
                    <a:pt x="499" y="208"/>
                  </a:lnTo>
                  <a:lnTo>
                    <a:pt x="499" y="207"/>
                  </a:lnTo>
                  <a:lnTo>
                    <a:pt x="500" y="207"/>
                  </a:lnTo>
                  <a:lnTo>
                    <a:pt x="499" y="206"/>
                  </a:lnTo>
                  <a:lnTo>
                    <a:pt x="496" y="203"/>
                  </a:lnTo>
                  <a:lnTo>
                    <a:pt x="495" y="202"/>
                  </a:lnTo>
                  <a:lnTo>
                    <a:pt x="494" y="202"/>
                  </a:lnTo>
                  <a:lnTo>
                    <a:pt x="492" y="201"/>
                  </a:lnTo>
                  <a:lnTo>
                    <a:pt x="495" y="201"/>
                  </a:lnTo>
                  <a:lnTo>
                    <a:pt x="495" y="200"/>
                  </a:lnTo>
                  <a:lnTo>
                    <a:pt x="498" y="200"/>
                  </a:lnTo>
                  <a:lnTo>
                    <a:pt x="500" y="202"/>
                  </a:lnTo>
                  <a:lnTo>
                    <a:pt x="501" y="202"/>
                  </a:lnTo>
                  <a:lnTo>
                    <a:pt x="501" y="201"/>
                  </a:lnTo>
                  <a:lnTo>
                    <a:pt x="498" y="198"/>
                  </a:lnTo>
                  <a:lnTo>
                    <a:pt x="499" y="197"/>
                  </a:lnTo>
                  <a:lnTo>
                    <a:pt x="500" y="196"/>
                  </a:lnTo>
                  <a:lnTo>
                    <a:pt x="501" y="196"/>
                  </a:lnTo>
                  <a:lnTo>
                    <a:pt x="505" y="200"/>
                  </a:lnTo>
                  <a:lnTo>
                    <a:pt x="507" y="200"/>
                  </a:lnTo>
                  <a:lnTo>
                    <a:pt x="507" y="198"/>
                  </a:lnTo>
                  <a:lnTo>
                    <a:pt x="504" y="196"/>
                  </a:lnTo>
                  <a:lnTo>
                    <a:pt x="502" y="195"/>
                  </a:lnTo>
                  <a:lnTo>
                    <a:pt x="505" y="195"/>
                  </a:lnTo>
                  <a:lnTo>
                    <a:pt x="510" y="195"/>
                  </a:lnTo>
                  <a:lnTo>
                    <a:pt x="510" y="196"/>
                  </a:lnTo>
                  <a:lnTo>
                    <a:pt x="511" y="196"/>
                  </a:lnTo>
                  <a:lnTo>
                    <a:pt x="511" y="195"/>
                  </a:lnTo>
                  <a:lnTo>
                    <a:pt x="510" y="194"/>
                  </a:lnTo>
                  <a:lnTo>
                    <a:pt x="511" y="194"/>
                  </a:lnTo>
                  <a:lnTo>
                    <a:pt x="511" y="190"/>
                  </a:lnTo>
                  <a:lnTo>
                    <a:pt x="515" y="190"/>
                  </a:lnTo>
                  <a:lnTo>
                    <a:pt x="515" y="191"/>
                  </a:lnTo>
                  <a:lnTo>
                    <a:pt x="517" y="191"/>
                  </a:lnTo>
                  <a:lnTo>
                    <a:pt x="517" y="190"/>
                  </a:lnTo>
                  <a:lnTo>
                    <a:pt x="516" y="190"/>
                  </a:lnTo>
                  <a:lnTo>
                    <a:pt x="515" y="189"/>
                  </a:lnTo>
                  <a:lnTo>
                    <a:pt x="515" y="188"/>
                  </a:lnTo>
                  <a:lnTo>
                    <a:pt x="516" y="186"/>
                  </a:lnTo>
                  <a:lnTo>
                    <a:pt x="521" y="188"/>
                  </a:lnTo>
                  <a:lnTo>
                    <a:pt x="522" y="188"/>
                  </a:lnTo>
                  <a:lnTo>
                    <a:pt x="523" y="188"/>
                  </a:lnTo>
                  <a:lnTo>
                    <a:pt x="523" y="186"/>
                  </a:lnTo>
                  <a:lnTo>
                    <a:pt x="519" y="185"/>
                  </a:lnTo>
                  <a:lnTo>
                    <a:pt x="519" y="184"/>
                  </a:lnTo>
                  <a:lnTo>
                    <a:pt x="521" y="182"/>
                  </a:lnTo>
                  <a:lnTo>
                    <a:pt x="523" y="180"/>
                  </a:lnTo>
                  <a:lnTo>
                    <a:pt x="522" y="179"/>
                  </a:lnTo>
                  <a:lnTo>
                    <a:pt x="521" y="180"/>
                  </a:lnTo>
                  <a:lnTo>
                    <a:pt x="518" y="182"/>
                  </a:lnTo>
                  <a:lnTo>
                    <a:pt x="513" y="184"/>
                  </a:lnTo>
                  <a:lnTo>
                    <a:pt x="512" y="185"/>
                  </a:lnTo>
                  <a:lnTo>
                    <a:pt x="512" y="188"/>
                  </a:lnTo>
                  <a:lnTo>
                    <a:pt x="511" y="188"/>
                  </a:lnTo>
                  <a:lnTo>
                    <a:pt x="510" y="188"/>
                  </a:lnTo>
                  <a:lnTo>
                    <a:pt x="511" y="185"/>
                  </a:lnTo>
                  <a:lnTo>
                    <a:pt x="511" y="184"/>
                  </a:lnTo>
                  <a:lnTo>
                    <a:pt x="510" y="186"/>
                  </a:lnTo>
                  <a:lnTo>
                    <a:pt x="509" y="188"/>
                  </a:lnTo>
                  <a:lnTo>
                    <a:pt x="507" y="189"/>
                  </a:lnTo>
                  <a:lnTo>
                    <a:pt x="506" y="189"/>
                  </a:lnTo>
                  <a:lnTo>
                    <a:pt x="505" y="190"/>
                  </a:lnTo>
                  <a:lnTo>
                    <a:pt x="504" y="189"/>
                  </a:lnTo>
                  <a:lnTo>
                    <a:pt x="504" y="188"/>
                  </a:lnTo>
                  <a:lnTo>
                    <a:pt x="504" y="186"/>
                  </a:lnTo>
                  <a:lnTo>
                    <a:pt x="502" y="185"/>
                  </a:lnTo>
                  <a:lnTo>
                    <a:pt x="501" y="186"/>
                  </a:lnTo>
                  <a:lnTo>
                    <a:pt x="501" y="190"/>
                  </a:lnTo>
                  <a:lnTo>
                    <a:pt x="501" y="194"/>
                  </a:lnTo>
                  <a:lnTo>
                    <a:pt x="499" y="195"/>
                  </a:lnTo>
                  <a:lnTo>
                    <a:pt x="498" y="191"/>
                  </a:lnTo>
                  <a:lnTo>
                    <a:pt x="498" y="192"/>
                  </a:lnTo>
                  <a:lnTo>
                    <a:pt x="496" y="194"/>
                  </a:lnTo>
                  <a:lnTo>
                    <a:pt x="495" y="194"/>
                  </a:lnTo>
                  <a:lnTo>
                    <a:pt x="494" y="195"/>
                  </a:lnTo>
                  <a:lnTo>
                    <a:pt x="494" y="196"/>
                  </a:lnTo>
                  <a:lnTo>
                    <a:pt x="490" y="197"/>
                  </a:lnTo>
                  <a:lnTo>
                    <a:pt x="488" y="195"/>
                  </a:lnTo>
                  <a:lnTo>
                    <a:pt x="488" y="196"/>
                  </a:lnTo>
                  <a:lnTo>
                    <a:pt x="488" y="197"/>
                  </a:lnTo>
                  <a:lnTo>
                    <a:pt x="478" y="204"/>
                  </a:lnTo>
                  <a:lnTo>
                    <a:pt x="476" y="206"/>
                  </a:lnTo>
                  <a:lnTo>
                    <a:pt x="474" y="206"/>
                  </a:lnTo>
                  <a:lnTo>
                    <a:pt x="472" y="207"/>
                  </a:lnTo>
                  <a:lnTo>
                    <a:pt x="471" y="208"/>
                  </a:lnTo>
                  <a:lnTo>
                    <a:pt x="470" y="209"/>
                  </a:lnTo>
                  <a:lnTo>
                    <a:pt x="468" y="209"/>
                  </a:lnTo>
                  <a:lnTo>
                    <a:pt x="466" y="208"/>
                  </a:lnTo>
                  <a:lnTo>
                    <a:pt x="465" y="208"/>
                  </a:lnTo>
                  <a:lnTo>
                    <a:pt x="464" y="209"/>
                  </a:lnTo>
                  <a:lnTo>
                    <a:pt x="462" y="209"/>
                  </a:lnTo>
                  <a:lnTo>
                    <a:pt x="460" y="208"/>
                  </a:lnTo>
                  <a:lnTo>
                    <a:pt x="457" y="207"/>
                  </a:lnTo>
                  <a:lnTo>
                    <a:pt x="453" y="204"/>
                  </a:lnTo>
                  <a:lnTo>
                    <a:pt x="452" y="204"/>
                  </a:lnTo>
                  <a:lnTo>
                    <a:pt x="451" y="204"/>
                  </a:lnTo>
                  <a:lnTo>
                    <a:pt x="446" y="206"/>
                  </a:lnTo>
                  <a:lnTo>
                    <a:pt x="443" y="204"/>
                  </a:lnTo>
                  <a:lnTo>
                    <a:pt x="443" y="202"/>
                  </a:lnTo>
                  <a:lnTo>
                    <a:pt x="443" y="200"/>
                  </a:lnTo>
                  <a:lnTo>
                    <a:pt x="442" y="197"/>
                  </a:lnTo>
                  <a:lnTo>
                    <a:pt x="443" y="197"/>
                  </a:lnTo>
                  <a:lnTo>
                    <a:pt x="445" y="198"/>
                  </a:lnTo>
                  <a:lnTo>
                    <a:pt x="448" y="201"/>
                  </a:lnTo>
                  <a:lnTo>
                    <a:pt x="450" y="201"/>
                  </a:lnTo>
                  <a:lnTo>
                    <a:pt x="451" y="200"/>
                  </a:lnTo>
                  <a:lnTo>
                    <a:pt x="448" y="200"/>
                  </a:lnTo>
                  <a:lnTo>
                    <a:pt x="447" y="197"/>
                  </a:lnTo>
                  <a:lnTo>
                    <a:pt x="445" y="196"/>
                  </a:lnTo>
                  <a:lnTo>
                    <a:pt x="442" y="195"/>
                  </a:lnTo>
                  <a:lnTo>
                    <a:pt x="443" y="194"/>
                  </a:lnTo>
                  <a:lnTo>
                    <a:pt x="445" y="194"/>
                  </a:lnTo>
                  <a:lnTo>
                    <a:pt x="446" y="192"/>
                  </a:lnTo>
                  <a:lnTo>
                    <a:pt x="443" y="192"/>
                  </a:lnTo>
                  <a:lnTo>
                    <a:pt x="442" y="190"/>
                  </a:lnTo>
                  <a:lnTo>
                    <a:pt x="443" y="189"/>
                  </a:lnTo>
                  <a:lnTo>
                    <a:pt x="446" y="189"/>
                  </a:lnTo>
                  <a:lnTo>
                    <a:pt x="448" y="188"/>
                  </a:lnTo>
                  <a:lnTo>
                    <a:pt x="450" y="186"/>
                  </a:lnTo>
                  <a:lnTo>
                    <a:pt x="448" y="186"/>
                  </a:lnTo>
                  <a:lnTo>
                    <a:pt x="445" y="186"/>
                  </a:lnTo>
                  <a:lnTo>
                    <a:pt x="441" y="188"/>
                  </a:lnTo>
                  <a:lnTo>
                    <a:pt x="439" y="189"/>
                  </a:lnTo>
                  <a:lnTo>
                    <a:pt x="433" y="183"/>
                  </a:lnTo>
                  <a:lnTo>
                    <a:pt x="431" y="183"/>
                  </a:lnTo>
                  <a:lnTo>
                    <a:pt x="429" y="180"/>
                  </a:lnTo>
                  <a:lnTo>
                    <a:pt x="429" y="179"/>
                  </a:lnTo>
                  <a:lnTo>
                    <a:pt x="428" y="178"/>
                  </a:lnTo>
                  <a:lnTo>
                    <a:pt x="427" y="178"/>
                  </a:lnTo>
                  <a:lnTo>
                    <a:pt x="425" y="176"/>
                  </a:lnTo>
                  <a:lnTo>
                    <a:pt x="424" y="176"/>
                  </a:lnTo>
                  <a:lnTo>
                    <a:pt x="423" y="174"/>
                  </a:lnTo>
                  <a:lnTo>
                    <a:pt x="422" y="172"/>
                  </a:lnTo>
                  <a:lnTo>
                    <a:pt x="422" y="168"/>
                  </a:lnTo>
                  <a:lnTo>
                    <a:pt x="423" y="167"/>
                  </a:lnTo>
                  <a:lnTo>
                    <a:pt x="424" y="167"/>
                  </a:lnTo>
                  <a:lnTo>
                    <a:pt x="423" y="166"/>
                  </a:lnTo>
                  <a:lnTo>
                    <a:pt x="423" y="165"/>
                  </a:lnTo>
                  <a:lnTo>
                    <a:pt x="424" y="162"/>
                  </a:lnTo>
                  <a:lnTo>
                    <a:pt x="425" y="161"/>
                  </a:lnTo>
                  <a:lnTo>
                    <a:pt x="427" y="162"/>
                  </a:lnTo>
                  <a:lnTo>
                    <a:pt x="428" y="164"/>
                  </a:lnTo>
                  <a:lnTo>
                    <a:pt x="429" y="164"/>
                  </a:lnTo>
                  <a:lnTo>
                    <a:pt x="429" y="166"/>
                  </a:lnTo>
                  <a:lnTo>
                    <a:pt x="430" y="166"/>
                  </a:lnTo>
                  <a:lnTo>
                    <a:pt x="431" y="165"/>
                  </a:lnTo>
                  <a:lnTo>
                    <a:pt x="431" y="168"/>
                  </a:lnTo>
                  <a:lnTo>
                    <a:pt x="433" y="168"/>
                  </a:lnTo>
                  <a:lnTo>
                    <a:pt x="433" y="167"/>
                  </a:lnTo>
                  <a:lnTo>
                    <a:pt x="433" y="165"/>
                  </a:lnTo>
                  <a:lnTo>
                    <a:pt x="433" y="164"/>
                  </a:lnTo>
                  <a:lnTo>
                    <a:pt x="434" y="165"/>
                  </a:lnTo>
                  <a:lnTo>
                    <a:pt x="437" y="168"/>
                  </a:lnTo>
                  <a:lnTo>
                    <a:pt x="440" y="168"/>
                  </a:lnTo>
                  <a:lnTo>
                    <a:pt x="439" y="167"/>
                  </a:lnTo>
                  <a:lnTo>
                    <a:pt x="435" y="164"/>
                  </a:lnTo>
                  <a:lnTo>
                    <a:pt x="435" y="161"/>
                  </a:lnTo>
                  <a:lnTo>
                    <a:pt x="436" y="161"/>
                  </a:lnTo>
                  <a:lnTo>
                    <a:pt x="437" y="162"/>
                  </a:lnTo>
                  <a:lnTo>
                    <a:pt x="439" y="162"/>
                  </a:lnTo>
                  <a:lnTo>
                    <a:pt x="440" y="164"/>
                  </a:lnTo>
                  <a:lnTo>
                    <a:pt x="441" y="164"/>
                  </a:lnTo>
                  <a:lnTo>
                    <a:pt x="442" y="162"/>
                  </a:lnTo>
                  <a:lnTo>
                    <a:pt x="442" y="160"/>
                  </a:lnTo>
                  <a:lnTo>
                    <a:pt x="442" y="159"/>
                  </a:lnTo>
                  <a:lnTo>
                    <a:pt x="442" y="157"/>
                  </a:lnTo>
                  <a:lnTo>
                    <a:pt x="443" y="157"/>
                  </a:lnTo>
                  <a:lnTo>
                    <a:pt x="442" y="156"/>
                  </a:lnTo>
                  <a:lnTo>
                    <a:pt x="442" y="155"/>
                  </a:lnTo>
                  <a:lnTo>
                    <a:pt x="445" y="154"/>
                  </a:lnTo>
                  <a:lnTo>
                    <a:pt x="445" y="153"/>
                  </a:lnTo>
                  <a:lnTo>
                    <a:pt x="443" y="151"/>
                  </a:lnTo>
                  <a:lnTo>
                    <a:pt x="442" y="151"/>
                  </a:lnTo>
                  <a:lnTo>
                    <a:pt x="442" y="150"/>
                  </a:lnTo>
                  <a:lnTo>
                    <a:pt x="441" y="154"/>
                  </a:lnTo>
                  <a:lnTo>
                    <a:pt x="441" y="153"/>
                  </a:lnTo>
                  <a:lnTo>
                    <a:pt x="441" y="151"/>
                  </a:lnTo>
                  <a:lnTo>
                    <a:pt x="442" y="149"/>
                  </a:lnTo>
                  <a:lnTo>
                    <a:pt x="442" y="147"/>
                  </a:lnTo>
                  <a:lnTo>
                    <a:pt x="445" y="145"/>
                  </a:lnTo>
                  <a:lnTo>
                    <a:pt x="446" y="148"/>
                  </a:lnTo>
                  <a:lnTo>
                    <a:pt x="448" y="149"/>
                  </a:lnTo>
                  <a:lnTo>
                    <a:pt x="448" y="148"/>
                  </a:lnTo>
                  <a:lnTo>
                    <a:pt x="447" y="147"/>
                  </a:lnTo>
                  <a:lnTo>
                    <a:pt x="446" y="145"/>
                  </a:lnTo>
                  <a:lnTo>
                    <a:pt x="446" y="144"/>
                  </a:lnTo>
                  <a:lnTo>
                    <a:pt x="447" y="144"/>
                  </a:lnTo>
                  <a:lnTo>
                    <a:pt x="448" y="144"/>
                  </a:lnTo>
                  <a:lnTo>
                    <a:pt x="448" y="138"/>
                  </a:lnTo>
                  <a:lnTo>
                    <a:pt x="450" y="138"/>
                  </a:lnTo>
                  <a:lnTo>
                    <a:pt x="450" y="139"/>
                  </a:lnTo>
                  <a:lnTo>
                    <a:pt x="451" y="141"/>
                  </a:lnTo>
                  <a:lnTo>
                    <a:pt x="452" y="142"/>
                  </a:lnTo>
                  <a:lnTo>
                    <a:pt x="452" y="144"/>
                  </a:lnTo>
                  <a:lnTo>
                    <a:pt x="453" y="144"/>
                  </a:lnTo>
                  <a:lnTo>
                    <a:pt x="454" y="143"/>
                  </a:lnTo>
                  <a:lnTo>
                    <a:pt x="454" y="142"/>
                  </a:lnTo>
                  <a:lnTo>
                    <a:pt x="454" y="141"/>
                  </a:lnTo>
                  <a:lnTo>
                    <a:pt x="456" y="139"/>
                  </a:lnTo>
                  <a:lnTo>
                    <a:pt x="454" y="138"/>
                  </a:lnTo>
                  <a:lnTo>
                    <a:pt x="453" y="139"/>
                  </a:lnTo>
                  <a:lnTo>
                    <a:pt x="452" y="138"/>
                  </a:lnTo>
                  <a:lnTo>
                    <a:pt x="451" y="137"/>
                  </a:lnTo>
                  <a:lnTo>
                    <a:pt x="453" y="137"/>
                  </a:lnTo>
                  <a:lnTo>
                    <a:pt x="454" y="137"/>
                  </a:lnTo>
                  <a:lnTo>
                    <a:pt x="456" y="136"/>
                  </a:lnTo>
                  <a:lnTo>
                    <a:pt x="451" y="136"/>
                  </a:lnTo>
                  <a:lnTo>
                    <a:pt x="448" y="135"/>
                  </a:lnTo>
                  <a:lnTo>
                    <a:pt x="448" y="133"/>
                  </a:lnTo>
                  <a:lnTo>
                    <a:pt x="451" y="132"/>
                  </a:lnTo>
                  <a:lnTo>
                    <a:pt x="453" y="133"/>
                  </a:lnTo>
                  <a:lnTo>
                    <a:pt x="456" y="133"/>
                  </a:lnTo>
                  <a:lnTo>
                    <a:pt x="452" y="131"/>
                  </a:lnTo>
                  <a:lnTo>
                    <a:pt x="454" y="130"/>
                  </a:lnTo>
                  <a:lnTo>
                    <a:pt x="458" y="132"/>
                  </a:lnTo>
                  <a:lnTo>
                    <a:pt x="459" y="132"/>
                  </a:lnTo>
                  <a:lnTo>
                    <a:pt x="459" y="131"/>
                  </a:lnTo>
                  <a:lnTo>
                    <a:pt x="457" y="129"/>
                  </a:lnTo>
                  <a:lnTo>
                    <a:pt x="457" y="127"/>
                  </a:lnTo>
                  <a:lnTo>
                    <a:pt x="458" y="127"/>
                  </a:lnTo>
                  <a:lnTo>
                    <a:pt x="459" y="127"/>
                  </a:lnTo>
                  <a:lnTo>
                    <a:pt x="459" y="126"/>
                  </a:lnTo>
                  <a:lnTo>
                    <a:pt x="460" y="126"/>
                  </a:lnTo>
                  <a:lnTo>
                    <a:pt x="462" y="126"/>
                  </a:lnTo>
                  <a:lnTo>
                    <a:pt x="465" y="127"/>
                  </a:lnTo>
                  <a:lnTo>
                    <a:pt x="466" y="127"/>
                  </a:lnTo>
                  <a:lnTo>
                    <a:pt x="468" y="129"/>
                  </a:lnTo>
                  <a:lnTo>
                    <a:pt x="469" y="127"/>
                  </a:lnTo>
                  <a:lnTo>
                    <a:pt x="469" y="125"/>
                  </a:lnTo>
                  <a:lnTo>
                    <a:pt x="468" y="124"/>
                  </a:lnTo>
                  <a:lnTo>
                    <a:pt x="466" y="124"/>
                  </a:lnTo>
                  <a:lnTo>
                    <a:pt x="466" y="123"/>
                  </a:lnTo>
                  <a:lnTo>
                    <a:pt x="465" y="124"/>
                  </a:lnTo>
                  <a:lnTo>
                    <a:pt x="463" y="124"/>
                  </a:lnTo>
                  <a:lnTo>
                    <a:pt x="463" y="123"/>
                  </a:lnTo>
                  <a:lnTo>
                    <a:pt x="466" y="120"/>
                  </a:lnTo>
                  <a:lnTo>
                    <a:pt x="468" y="121"/>
                  </a:lnTo>
                  <a:lnTo>
                    <a:pt x="469" y="123"/>
                  </a:lnTo>
                  <a:lnTo>
                    <a:pt x="470" y="123"/>
                  </a:lnTo>
                  <a:lnTo>
                    <a:pt x="471" y="123"/>
                  </a:lnTo>
                  <a:lnTo>
                    <a:pt x="471" y="121"/>
                  </a:lnTo>
                  <a:lnTo>
                    <a:pt x="470" y="120"/>
                  </a:lnTo>
                  <a:lnTo>
                    <a:pt x="469" y="120"/>
                  </a:lnTo>
                  <a:lnTo>
                    <a:pt x="470" y="119"/>
                  </a:lnTo>
                  <a:lnTo>
                    <a:pt x="471" y="119"/>
                  </a:lnTo>
                  <a:lnTo>
                    <a:pt x="474" y="120"/>
                  </a:lnTo>
                  <a:lnTo>
                    <a:pt x="475" y="121"/>
                  </a:lnTo>
                  <a:lnTo>
                    <a:pt x="476" y="120"/>
                  </a:lnTo>
                  <a:lnTo>
                    <a:pt x="475" y="120"/>
                  </a:lnTo>
                  <a:lnTo>
                    <a:pt x="474" y="119"/>
                  </a:lnTo>
                  <a:lnTo>
                    <a:pt x="475" y="118"/>
                  </a:lnTo>
                  <a:lnTo>
                    <a:pt x="476" y="118"/>
                  </a:lnTo>
                  <a:lnTo>
                    <a:pt x="478" y="119"/>
                  </a:lnTo>
                  <a:lnTo>
                    <a:pt x="480" y="118"/>
                  </a:lnTo>
                  <a:lnTo>
                    <a:pt x="481" y="119"/>
                  </a:lnTo>
                  <a:lnTo>
                    <a:pt x="482" y="119"/>
                  </a:lnTo>
                  <a:lnTo>
                    <a:pt x="483" y="119"/>
                  </a:lnTo>
                  <a:lnTo>
                    <a:pt x="481" y="117"/>
                  </a:lnTo>
                  <a:lnTo>
                    <a:pt x="478" y="115"/>
                  </a:lnTo>
                  <a:lnTo>
                    <a:pt x="488" y="109"/>
                  </a:lnTo>
                  <a:lnTo>
                    <a:pt x="489" y="108"/>
                  </a:lnTo>
                  <a:lnTo>
                    <a:pt x="486" y="109"/>
                  </a:lnTo>
                  <a:lnTo>
                    <a:pt x="480" y="113"/>
                  </a:lnTo>
                  <a:lnTo>
                    <a:pt x="478" y="114"/>
                  </a:lnTo>
                  <a:lnTo>
                    <a:pt x="477" y="114"/>
                  </a:lnTo>
                  <a:lnTo>
                    <a:pt x="478" y="111"/>
                  </a:lnTo>
                  <a:lnTo>
                    <a:pt x="480" y="109"/>
                  </a:lnTo>
                  <a:lnTo>
                    <a:pt x="478" y="109"/>
                  </a:lnTo>
                  <a:lnTo>
                    <a:pt x="475" y="112"/>
                  </a:lnTo>
                  <a:lnTo>
                    <a:pt x="474" y="114"/>
                  </a:lnTo>
                  <a:lnTo>
                    <a:pt x="472" y="114"/>
                  </a:lnTo>
                  <a:lnTo>
                    <a:pt x="471" y="113"/>
                  </a:lnTo>
                  <a:lnTo>
                    <a:pt x="471" y="114"/>
                  </a:lnTo>
                  <a:lnTo>
                    <a:pt x="470" y="115"/>
                  </a:lnTo>
                  <a:lnTo>
                    <a:pt x="469" y="117"/>
                  </a:lnTo>
                  <a:lnTo>
                    <a:pt x="468" y="115"/>
                  </a:lnTo>
                  <a:lnTo>
                    <a:pt x="466" y="118"/>
                  </a:lnTo>
                  <a:lnTo>
                    <a:pt x="465" y="119"/>
                  </a:lnTo>
                  <a:lnTo>
                    <a:pt x="464" y="120"/>
                  </a:lnTo>
                  <a:lnTo>
                    <a:pt x="463" y="120"/>
                  </a:lnTo>
                  <a:lnTo>
                    <a:pt x="462" y="120"/>
                  </a:lnTo>
                  <a:lnTo>
                    <a:pt x="463" y="119"/>
                  </a:lnTo>
                  <a:lnTo>
                    <a:pt x="464" y="118"/>
                  </a:lnTo>
                  <a:lnTo>
                    <a:pt x="463" y="117"/>
                  </a:lnTo>
                  <a:lnTo>
                    <a:pt x="463" y="115"/>
                  </a:lnTo>
                  <a:lnTo>
                    <a:pt x="462" y="115"/>
                  </a:lnTo>
                  <a:lnTo>
                    <a:pt x="460" y="117"/>
                  </a:lnTo>
                  <a:lnTo>
                    <a:pt x="459" y="118"/>
                  </a:lnTo>
                  <a:lnTo>
                    <a:pt x="458" y="119"/>
                  </a:lnTo>
                  <a:lnTo>
                    <a:pt x="457" y="120"/>
                  </a:lnTo>
                  <a:lnTo>
                    <a:pt x="457" y="121"/>
                  </a:lnTo>
                  <a:lnTo>
                    <a:pt x="456" y="123"/>
                  </a:lnTo>
                  <a:lnTo>
                    <a:pt x="456" y="125"/>
                  </a:lnTo>
                  <a:lnTo>
                    <a:pt x="453" y="127"/>
                  </a:lnTo>
                  <a:lnTo>
                    <a:pt x="453" y="123"/>
                  </a:lnTo>
                  <a:lnTo>
                    <a:pt x="452" y="123"/>
                  </a:lnTo>
                  <a:lnTo>
                    <a:pt x="451" y="124"/>
                  </a:lnTo>
                  <a:lnTo>
                    <a:pt x="451" y="126"/>
                  </a:lnTo>
                  <a:lnTo>
                    <a:pt x="452" y="127"/>
                  </a:lnTo>
                  <a:lnTo>
                    <a:pt x="451" y="129"/>
                  </a:lnTo>
                  <a:lnTo>
                    <a:pt x="450" y="129"/>
                  </a:lnTo>
                  <a:lnTo>
                    <a:pt x="450" y="131"/>
                  </a:lnTo>
                  <a:lnTo>
                    <a:pt x="447" y="132"/>
                  </a:lnTo>
                  <a:lnTo>
                    <a:pt x="446" y="132"/>
                  </a:lnTo>
                  <a:lnTo>
                    <a:pt x="445" y="132"/>
                  </a:lnTo>
                  <a:lnTo>
                    <a:pt x="443" y="131"/>
                  </a:lnTo>
                  <a:lnTo>
                    <a:pt x="443" y="130"/>
                  </a:lnTo>
                  <a:lnTo>
                    <a:pt x="445" y="131"/>
                  </a:lnTo>
                  <a:lnTo>
                    <a:pt x="446" y="131"/>
                  </a:lnTo>
                  <a:lnTo>
                    <a:pt x="447" y="130"/>
                  </a:lnTo>
                  <a:lnTo>
                    <a:pt x="446" y="129"/>
                  </a:lnTo>
                  <a:lnTo>
                    <a:pt x="445" y="129"/>
                  </a:lnTo>
                  <a:lnTo>
                    <a:pt x="445" y="127"/>
                  </a:lnTo>
                  <a:lnTo>
                    <a:pt x="446" y="126"/>
                  </a:lnTo>
                  <a:lnTo>
                    <a:pt x="445" y="125"/>
                  </a:lnTo>
                  <a:lnTo>
                    <a:pt x="443" y="126"/>
                  </a:lnTo>
                  <a:lnTo>
                    <a:pt x="442" y="129"/>
                  </a:lnTo>
                  <a:lnTo>
                    <a:pt x="442" y="127"/>
                  </a:lnTo>
                  <a:lnTo>
                    <a:pt x="441" y="125"/>
                  </a:lnTo>
                  <a:lnTo>
                    <a:pt x="440" y="125"/>
                  </a:lnTo>
                  <a:lnTo>
                    <a:pt x="439" y="125"/>
                  </a:lnTo>
                  <a:lnTo>
                    <a:pt x="440" y="126"/>
                  </a:lnTo>
                  <a:lnTo>
                    <a:pt x="440" y="127"/>
                  </a:lnTo>
                  <a:lnTo>
                    <a:pt x="441" y="129"/>
                  </a:lnTo>
                  <a:lnTo>
                    <a:pt x="440" y="129"/>
                  </a:lnTo>
                  <a:lnTo>
                    <a:pt x="439" y="130"/>
                  </a:lnTo>
                  <a:lnTo>
                    <a:pt x="439" y="131"/>
                  </a:lnTo>
                  <a:lnTo>
                    <a:pt x="440" y="130"/>
                  </a:lnTo>
                  <a:lnTo>
                    <a:pt x="441" y="131"/>
                  </a:lnTo>
                  <a:lnTo>
                    <a:pt x="442" y="132"/>
                  </a:lnTo>
                  <a:lnTo>
                    <a:pt x="442" y="133"/>
                  </a:lnTo>
                  <a:lnTo>
                    <a:pt x="442" y="136"/>
                  </a:lnTo>
                  <a:lnTo>
                    <a:pt x="441" y="136"/>
                  </a:lnTo>
                  <a:lnTo>
                    <a:pt x="440" y="137"/>
                  </a:lnTo>
                  <a:lnTo>
                    <a:pt x="437" y="138"/>
                  </a:lnTo>
                  <a:lnTo>
                    <a:pt x="436" y="139"/>
                  </a:lnTo>
                  <a:lnTo>
                    <a:pt x="435" y="141"/>
                  </a:lnTo>
                  <a:lnTo>
                    <a:pt x="434" y="142"/>
                  </a:lnTo>
                  <a:lnTo>
                    <a:pt x="430" y="144"/>
                  </a:lnTo>
                  <a:lnTo>
                    <a:pt x="429" y="147"/>
                  </a:lnTo>
                  <a:lnTo>
                    <a:pt x="427" y="147"/>
                  </a:lnTo>
                  <a:lnTo>
                    <a:pt x="424" y="147"/>
                  </a:lnTo>
                  <a:lnTo>
                    <a:pt x="424" y="144"/>
                  </a:lnTo>
                  <a:lnTo>
                    <a:pt x="422" y="142"/>
                  </a:lnTo>
                  <a:lnTo>
                    <a:pt x="421" y="139"/>
                  </a:lnTo>
                  <a:lnTo>
                    <a:pt x="421" y="138"/>
                  </a:lnTo>
                  <a:lnTo>
                    <a:pt x="422" y="138"/>
                  </a:lnTo>
                  <a:lnTo>
                    <a:pt x="423" y="139"/>
                  </a:lnTo>
                  <a:lnTo>
                    <a:pt x="427" y="138"/>
                  </a:lnTo>
                  <a:lnTo>
                    <a:pt x="427" y="137"/>
                  </a:lnTo>
                  <a:lnTo>
                    <a:pt x="424" y="137"/>
                  </a:lnTo>
                  <a:lnTo>
                    <a:pt x="422" y="137"/>
                  </a:lnTo>
                  <a:lnTo>
                    <a:pt x="421" y="137"/>
                  </a:lnTo>
                  <a:lnTo>
                    <a:pt x="419" y="135"/>
                  </a:lnTo>
                  <a:lnTo>
                    <a:pt x="421" y="135"/>
                  </a:lnTo>
                  <a:lnTo>
                    <a:pt x="424" y="133"/>
                  </a:lnTo>
                  <a:lnTo>
                    <a:pt x="425" y="132"/>
                  </a:lnTo>
                  <a:lnTo>
                    <a:pt x="425" y="131"/>
                  </a:lnTo>
                  <a:lnTo>
                    <a:pt x="427" y="129"/>
                  </a:lnTo>
                  <a:lnTo>
                    <a:pt x="428" y="129"/>
                  </a:lnTo>
                  <a:lnTo>
                    <a:pt x="425" y="127"/>
                  </a:lnTo>
                  <a:lnTo>
                    <a:pt x="423" y="127"/>
                  </a:lnTo>
                  <a:lnTo>
                    <a:pt x="421" y="127"/>
                  </a:lnTo>
                  <a:lnTo>
                    <a:pt x="418" y="126"/>
                  </a:lnTo>
                  <a:lnTo>
                    <a:pt x="418" y="125"/>
                  </a:lnTo>
                  <a:lnTo>
                    <a:pt x="419" y="124"/>
                  </a:lnTo>
                  <a:lnTo>
                    <a:pt x="421" y="124"/>
                  </a:lnTo>
                  <a:lnTo>
                    <a:pt x="422" y="124"/>
                  </a:lnTo>
                  <a:lnTo>
                    <a:pt x="423" y="124"/>
                  </a:lnTo>
                  <a:lnTo>
                    <a:pt x="423" y="121"/>
                  </a:lnTo>
                  <a:lnTo>
                    <a:pt x="424" y="121"/>
                  </a:lnTo>
                  <a:lnTo>
                    <a:pt x="427" y="121"/>
                  </a:lnTo>
                  <a:lnTo>
                    <a:pt x="427" y="120"/>
                  </a:lnTo>
                  <a:lnTo>
                    <a:pt x="425" y="120"/>
                  </a:lnTo>
                  <a:lnTo>
                    <a:pt x="423" y="119"/>
                  </a:lnTo>
                  <a:lnTo>
                    <a:pt x="423" y="118"/>
                  </a:lnTo>
                  <a:lnTo>
                    <a:pt x="424" y="118"/>
                  </a:lnTo>
                  <a:lnTo>
                    <a:pt x="425" y="118"/>
                  </a:lnTo>
                  <a:lnTo>
                    <a:pt x="428" y="119"/>
                  </a:lnTo>
                  <a:lnTo>
                    <a:pt x="429" y="118"/>
                  </a:lnTo>
                  <a:lnTo>
                    <a:pt x="431" y="119"/>
                  </a:lnTo>
                  <a:lnTo>
                    <a:pt x="433" y="120"/>
                  </a:lnTo>
                  <a:lnTo>
                    <a:pt x="434" y="121"/>
                  </a:lnTo>
                  <a:lnTo>
                    <a:pt x="435" y="120"/>
                  </a:lnTo>
                  <a:lnTo>
                    <a:pt x="435" y="119"/>
                  </a:lnTo>
                  <a:lnTo>
                    <a:pt x="434" y="119"/>
                  </a:lnTo>
                  <a:lnTo>
                    <a:pt x="431" y="115"/>
                  </a:lnTo>
                  <a:lnTo>
                    <a:pt x="433" y="115"/>
                  </a:lnTo>
                  <a:lnTo>
                    <a:pt x="434" y="117"/>
                  </a:lnTo>
                  <a:lnTo>
                    <a:pt x="435" y="115"/>
                  </a:lnTo>
                  <a:lnTo>
                    <a:pt x="433" y="113"/>
                  </a:lnTo>
                  <a:lnTo>
                    <a:pt x="433" y="112"/>
                  </a:lnTo>
                  <a:lnTo>
                    <a:pt x="434" y="111"/>
                  </a:lnTo>
                  <a:lnTo>
                    <a:pt x="435" y="111"/>
                  </a:lnTo>
                  <a:lnTo>
                    <a:pt x="435" y="112"/>
                  </a:lnTo>
                  <a:lnTo>
                    <a:pt x="436" y="112"/>
                  </a:lnTo>
                  <a:lnTo>
                    <a:pt x="436" y="115"/>
                  </a:lnTo>
                  <a:lnTo>
                    <a:pt x="436" y="117"/>
                  </a:lnTo>
                  <a:lnTo>
                    <a:pt x="437" y="117"/>
                  </a:lnTo>
                  <a:lnTo>
                    <a:pt x="439" y="114"/>
                  </a:lnTo>
                  <a:lnTo>
                    <a:pt x="439" y="113"/>
                  </a:lnTo>
                  <a:lnTo>
                    <a:pt x="440" y="113"/>
                  </a:lnTo>
                  <a:lnTo>
                    <a:pt x="442" y="112"/>
                  </a:lnTo>
                  <a:lnTo>
                    <a:pt x="441" y="111"/>
                  </a:lnTo>
                  <a:lnTo>
                    <a:pt x="440" y="111"/>
                  </a:lnTo>
                  <a:lnTo>
                    <a:pt x="437" y="111"/>
                  </a:lnTo>
                  <a:lnTo>
                    <a:pt x="439" y="109"/>
                  </a:lnTo>
                  <a:lnTo>
                    <a:pt x="440" y="109"/>
                  </a:lnTo>
                  <a:lnTo>
                    <a:pt x="440" y="108"/>
                  </a:lnTo>
                  <a:lnTo>
                    <a:pt x="441" y="108"/>
                  </a:lnTo>
                  <a:lnTo>
                    <a:pt x="441" y="107"/>
                  </a:lnTo>
                  <a:lnTo>
                    <a:pt x="442" y="106"/>
                  </a:lnTo>
                  <a:lnTo>
                    <a:pt x="445" y="105"/>
                  </a:lnTo>
                  <a:lnTo>
                    <a:pt x="446" y="105"/>
                  </a:lnTo>
                  <a:lnTo>
                    <a:pt x="446" y="103"/>
                  </a:lnTo>
                  <a:lnTo>
                    <a:pt x="448" y="103"/>
                  </a:lnTo>
                  <a:lnTo>
                    <a:pt x="450" y="103"/>
                  </a:lnTo>
                  <a:lnTo>
                    <a:pt x="447" y="102"/>
                  </a:lnTo>
                  <a:lnTo>
                    <a:pt x="447" y="101"/>
                  </a:lnTo>
                  <a:lnTo>
                    <a:pt x="446" y="100"/>
                  </a:lnTo>
                  <a:lnTo>
                    <a:pt x="446" y="99"/>
                  </a:lnTo>
                  <a:lnTo>
                    <a:pt x="447" y="99"/>
                  </a:lnTo>
                  <a:lnTo>
                    <a:pt x="448" y="97"/>
                  </a:lnTo>
                  <a:lnTo>
                    <a:pt x="448" y="99"/>
                  </a:lnTo>
                  <a:lnTo>
                    <a:pt x="450" y="99"/>
                  </a:lnTo>
                  <a:lnTo>
                    <a:pt x="453" y="99"/>
                  </a:lnTo>
                  <a:lnTo>
                    <a:pt x="454" y="99"/>
                  </a:lnTo>
                  <a:lnTo>
                    <a:pt x="458" y="99"/>
                  </a:lnTo>
                  <a:lnTo>
                    <a:pt x="459" y="100"/>
                  </a:lnTo>
                  <a:lnTo>
                    <a:pt x="460" y="99"/>
                  </a:lnTo>
                  <a:lnTo>
                    <a:pt x="460" y="97"/>
                  </a:lnTo>
                  <a:lnTo>
                    <a:pt x="459" y="96"/>
                  </a:lnTo>
                  <a:lnTo>
                    <a:pt x="458" y="96"/>
                  </a:lnTo>
                  <a:lnTo>
                    <a:pt x="457" y="95"/>
                  </a:lnTo>
                  <a:lnTo>
                    <a:pt x="457" y="96"/>
                  </a:lnTo>
                  <a:lnTo>
                    <a:pt x="456" y="96"/>
                  </a:lnTo>
                  <a:lnTo>
                    <a:pt x="456" y="95"/>
                  </a:lnTo>
                  <a:lnTo>
                    <a:pt x="457" y="94"/>
                  </a:lnTo>
                  <a:lnTo>
                    <a:pt x="458" y="94"/>
                  </a:lnTo>
                  <a:lnTo>
                    <a:pt x="458" y="95"/>
                  </a:lnTo>
                  <a:lnTo>
                    <a:pt x="462" y="97"/>
                  </a:lnTo>
                  <a:lnTo>
                    <a:pt x="462" y="96"/>
                  </a:lnTo>
                  <a:lnTo>
                    <a:pt x="462" y="95"/>
                  </a:lnTo>
                  <a:lnTo>
                    <a:pt x="460" y="95"/>
                  </a:lnTo>
                  <a:lnTo>
                    <a:pt x="459" y="95"/>
                  </a:lnTo>
                  <a:lnTo>
                    <a:pt x="459" y="94"/>
                  </a:lnTo>
                  <a:lnTo>
                    <a:pt x="459" y="93"/>
                  </a:lnTo>
                  <a:lnTo>
                    <a:pt x="459" y="91"/>
                  </a:lnTo>
                  <a:lnTo>
                    <a:pt x="460" y="91"/>
                  </a:lnTo>
                  <a:lnTo>
                    <a:pt x="462" y="91"/>
                  </a:lnTo>
                  <a:lnTo>
                    <a:pt x="463" y="93"/>
                  </a:lnTo>
                  <a:lnTo>
                    <a:pt x="464" y="95"/>
                  </a:lnTo>
                  <a:lnTo>
                    <a:pt x="465" y="95"/>
                  </a:lnTo>
                  <a:lnTo>
                    <a:pt x="465" y="93"/>
                  </a:lnTo>
                  <a:lnTo>
                    <a:pt x="464" y="93"/>
                  </a:lnTo>
                  <a:lnTo>
                    <a:pt x="464" y="91"/>
                  </a:lnTo>
                  <a:lnTo>
                    <a:pt x="464" y="90"/>
                  </a:lnTo>
                  <a:lnTo>
                    <a:pt x="464" y="89"/>
                  </a:lnTo>
                  <a:lnTo>
                    <a:pt x="465" y="90"/>
                  </a:lnTo>
                  <a:lnTo>
                    <a:pt x="466" y="90"/>
                  </a:lnTo>
                  <a:lnTo>
                    <a:pt x="469" y="91"/>
                  </a:lnTo>
                  <a:lnTo>
                    <a:pt x="471" y="91"/>
                  </a:lnTo>
                  <a:lnTo>
                    <a:pt x="471" y="90"/>
                  </a:lnTo>
                  <a:lnTo>
                    <a:pt x="470" y="90"/>
                  </a:lnTo>
                  <a:lnTo>
                    <a:pt x="470" y="89"/>
                  </a:lnTo>
                  <a:lnTo>
                    <a:pt x="469" y="88"/>
                  </a:lnTo>
                  <a:lnTo>
                    <a:pt x="468" y="88"/>
                  </a:lnTo>
                  <a:lnTo>
                    <a:pt x="468" y="87"/>
                  </a:lnTo>
                  <a:lnTo>
                    <a:pt x="469" y="87"/>
                  </a:lnTo>
                  <a:lnTo>
                    <a:pt x="475" y="83"/>
                  </a:lnTo>
                  <a:lnTo>
                    <a:pt x="476" y="82"/>
                  </a:lnTo>
                  <a:lnTo>
                    <a:pt x="475" y="82"/>
                  </a:lnTo>
                  <a:lnTo>
                    <a:pt x="472" y="84"/>
                  </a:lnTo>
                  <a:lnTo>
                    <a:pt x="468" y="85"/>
                  </a:lnTo>
                  <a:lnTo>
                    <a:pt x="469" y="84"/>
                  </a:lnTo>
                  <a:lnTo>
                    <a:pt x="469" y="83"/>
                  </a:lnTo>
                  <a:lnTo>
                    <a:pt x="469" y="82"/>
                  </a:lnTo>
                  <a:lnTo>
                    <a:pt x="468" y="82"/>
                  </a:lnTo>
                  <a:lnTo>
                    <a:pt x="465" y="84"/>
                  </a:lnTo>
                  <a:lnTo>
                    <a:pt x="464" y="85"/>
                  </a:lnTo>
                  <a:lnTo>
                    <a:pt x="462" y="87"/>
                  </a:lnTo>
                  <a:lnTo>
                    <a:pt x="460" y="88"/>
                  </a:lnTo>
                  <a:lnTo>
                    <a:pt x="459" y="88"/>
                  </a:lnTo>
                  <a:lnTo>
                    <a:pt x="458" y="88"/>
                  </a:lnTo>
                  <a:lnTo>
                    <a:pt x="458" y="87"/>
                  </a:lnTo>
                  <a:lnTo>
                    <a:pt x="457" y="85"/>
                  </a:lnTo>
                  <a:lnTo>
                    <a:pt x="456" y="87"/>
                  </a:lnTo>
                  <a:lnTo>
                    <a:pt x="456" y="88"/>
                  </a:lnTo>
                  <a:lnTo>
                    <a:pt x="454" y="89"/>
                  </a:lnTo>
                  <a:lnTo>
                    <a:pt x="452" y="90"/>
                  </a:lnTo>
                  <a:lnTo>
                    <a:pt x="451" y="91"/>
                  </a:lnTo>
                  <a:lnTo>
                    <a:pt x="451" y="90"/>
                  </a:lnTo>
                  <a:lnTo>
                    <a:pt x="452" y="89"/>
                  </a:lnTo>
                  <a:lnTo>
                    <a:pt x="453" y="88"/>
                  </a:lnTo>
                  <a:lnTo>
                    <a:pt x="452" y="88"/>
                  </a:lnTo>
                  <a:lnTo>
                    <a:pt x="451" y="87"/>
                  </a:lnTo>
                  <a:lnTo>
                    <a:pt x="450" y="87"/>
                  </a:lnTo>
                  <a:lnTo>
                    <a:pt x="448" y="88"/>
                  </a:lnTo>
                  <a:lnTo>
                    <a:pt x="447" y="89"/>
                  </a:lnTo>
                  <a:lnTo>
                    <a:pt x="447" y="90"/>
                  </a:lnTo>
                  <a:lnTo>
                    <a:pt x="447" y="91"/>
                  </a:lnTo>
                  <a:lnTo>
                    <a:pt x="448" y="90"/>
                  </a:lnTo>
                  <a:lnTo>
                    <a:pt x="448" y="91"/>
                  </a:lnTo>
                  <a:lnTo>
                    <a:pt x="447" y="93"/>
                  </a:lnTo>
                  <a:lnTo>
                    <a:pt x="446" y="91"/>
                  </a:lnTo>
                  <a:lnTo>
                    <a:pt x="446" y="93"/>
                  </a:lnTo>
                  <a:lnTo>
                    <a:pt x="445" y="93"/>
                  </a:lnTo>
                  <a:lnTo>
                    <a:pt x="442" y="94"/>
                  </a:lnTo>
                  <a:lnTo>
                    <a:pt x="442" y="95"/>
                  </a:lnTo>
                  <a:lnTo>
                    <a:pt x="441" y="95"/>
                  </a:lnTo>
                  <a:lnTo>
                    <a:pt x="440" y="96"/>
                  </a:lnTo>
                  <a:lnTo>
                    <a:pt x="439" y="96"/>
                  </a:lnTo>
                  <a:lnTo>
                    <a:pt x="437" y="96"/>
                  </a:lnTo>
                  <a:lnTo>
                    <a:pt x="435" y="96"/>
                  </a:lnTo>
                  <a:lnTo>
                    <a:pt x="434" y="97"/>
                  </a:lnTo>
                  <a:lnTo>
                    <a:pt x="433" y="100"/>
                  </a:lnTo>
                  <a:lnTo>
                    <a:pt x="431" y="101"/>
                  </a:lnTo>
                  <a:lnTo>
                    <a:pt x="429" y="102"/>
                  </a:lnTo>
                  <a:lnTo>
                    <a:pt x="428" y="103"/>
                  </a:lnTo>
                  <a:lnTo>
                    <a:pt x="427" y="105"/>
                  </a:lnTo>
                  <a:lnTo>
                    <a:pt x="425" y="105"/>
                  </a:lnTo>
                  <a:lnTo>
                    <a:pt x="427" y="103"/>
                  </a:lnTo>
                  <a:lnTo>
                    <a:pt x="425" y="102"/>
                  </a:lnTo>
                  <a:lnTo>
                    <a:pt x="425" y="101"/>
                  </a:lnTo>
                  <a:lnTo>
                    <a:pt x="427" y="100"/>
                  </a:lnTo>
                  <a:lnTo>
                    <a:pt x="425" y="99"/>
                  </a:lnTo>
                  <a:lnTo>
                    <a:pt x="425" y="97"/>
                  </a:lnTo>
                  <a:lnTo>
                    <a:pt x="427" y="97"/>
                  </a:lnTo>
                  <a:lnTo>
                    <a:pt x="431" y="97"/>
                  </a:lnTo>
                  <a:lnTo>
                    <a:pt x="431" y="96"/>
                  </a:lnTo>
                  <a:lnTo>
                    <a:pt x="430" y="96"/>
                  </a:lnTo>
                  <a:lnTo>
                    <a:pt x="433" y="95"/>
                  </a:lnTo>
                  <a:lnTo>
                    <a:pt x="431" y="94"/>
                  </a:lnTo>
                  <a:lnTo>
                    <a:pt x="430" y="95"/>
                  </a:lnTo>
                  <a:lnTo>
                    <a:pt x="427" y="95"/>
                  </a:lnTo>
                  <a:lnTo>
                    <a:pt x="425" y="94"/>
                  </a:lnTo>
                  <a:lnTo>
                    <a:pt x="425" y="93"/>
                  </a:lnTo>
                  <a:lnTo>
                    <a:pt x="424" y="91"/>
                  </a:lnTo>
                  <a:lnTo>
                    <a:pt x="423" y="91"/>
                  </a:lnTo>
                  <a:lnTo>
                    <a:pt x="423" y="93"/>
                  </a:lnTo>
                  <a:lnTo>
                    <a:pt x="421" y="93"/>
                  </a:lnTo>
                  <a:lnTo>
                    <a:pt x="419" y="93"/>
                  </a:lnTo>
                  <a:lnTo>
                    <a:pt x="417" y="94"/>
                  </a:lnTo>
                  <a:lnTo>
                    <a:pt x="416" y="94"/>
                  </a:lnTo>
                  <a:lnTo>
                    <a:pt x="413" y="94"/>
                  </a:lnTo>
                  <a:lnTo>
                    <a:pt x="411" y="93"/>
                  </a:lnTo>
                  <a:lnTo>
                    <a:pt x="410" y="91"/>
                  </a:lnTo>
                  <a:lnTo>
                    <a:pt x="411" y="90"/>
                  </a:lnTo>
                  <a:lnTo>
                    <a:pt x="411" y="89"/>
                  </a:lnTo>
                  <a:lnTo>
                    <a:pt x="411" y="87"/>
                  </a:lnTo>
                  <a:lnTo>
                    <a:pt x="410" y="85"/>
                  </a:lnTo>
                  <a:lnTo>
                    <a:pt x="410" y="84"/>
                  </a:lnTo>
                  <a:lnTo>
                    <a:pt x="412" y="85"/>
                  </a:lnTo>
                  <a:lnTo>
                    <a:pt x="413" y="87"/>
                  </a:lnTo>
                  <a:lnTo>
                    <a:pt x="413" y="88"/>
                  </a:lnTo>
                  <a:lnTo>
                    <a:pt x="415" y="89"/>
                  </a:lnTo>
                  <a:lnTo>
                    <a:pt x="416" y="88"/>
                  </a:lnTo>
                  <a:lnTo>
                    <a:pt x="416" y="90"/>
                  </a:lnTo>
                  <a:lnTo>
                    <a:pt x="417" y="91"/>
                  </a:lnTo>
                  <a:lnTo>
                    <a:pt x="418" y="91"/>
                  </a:lnTo>
                  <a:lnTo>
                    <a:pt x="418" y="90"/>
                  </a:lnTo>
                  <a:lnTo>
                    <a:pt x="419" y="89"/>
                  </a:lnTo>
                  <a:lnTo>
                    <a:pt x="421" y="90"/>
                  </a:lnTo>
                  <a:lnTo>
                    <a:pt x="423" y="90"/>
                  </a:lnTo>
                  <a:lnTo>
                    <a:pt x="422" y="89"/>
                  </a:lnTo>
                  <a:lnTo>
                    <a:pt x="421" y="88"/>
                  </a:lnTo>
                  <a:lnTo>
                    <a:pt x="422" y="88"/>
                  </a:lnTo>
                  <a:lnTo>
                    <a:pt x="424" y="87"/>
                  </a:lnTo>
                  <a:lnTo>
                    <a:pt x="423" y="85"/>
                  </a:lnTo>
                  <a:lnTo>
                    <a:pt x="421" y="85"/>
                  </a:lnTo>
                  <a:lnTo>
                    <a:pt x="418" y="87"/>
                  </a:lnTo>
                  <a:lnTo>
                    <a:pt x="417" y="85"/>
                  </a:lnTo>
                  <a:lnTo>
                    <a:pt x="415" y="83"/>
                  </a:lnTo>
                  <a:lnTo>
                    <a:pt x="413" y="83"/>
                  </a:lnTo>
                  <a:lnTo>
                    <a:pt x="411" y="82"/>
                  </a:lnTo>
                  <a:lnTo>
                    <a:pt x="407" y="79"/>
                  </a:lnTo>
                  <a:lnTo>
                    <a:pt x="405" y="78"/>
                  </a:lnTo>
                  <a:lnTo>
                    <a:pt x="406" y="77"/>
                  </a:lnTo>
                  <a:lnTo>
                    <a:pt x="405" y="75"/>
                  </a:lnTo>
                  <a:lnTo>
                    <a:pt x="406" y="75"/>
                  </a:lnTo>
                  <a:lnTo>
                    <a:pt x="406" y="72"/>
                  </a:lnTo>
                  <a:lnTo>
                    <a:pt x="409" y="71"/>
                  </a:lnTo>
                  <a:lnTo>
                    <a:pt x="410" y="66"/>
                  </a:lnTo>
                  <a:lnTo>
                    <a:pt x="410" y="64"/>
                  </a:lnTo>
                  <a:lnTo>
                    <a:pt x="411" y="61"/>
                  </a:lnTo>
                  <a:lnTo>
                    <a:pt x="411" y="60"/>
                  </a:lnTo>
                  <a:lnTo>
                    <a:pt x="412" y="59"/>
                  </a:lnTo>
                  <a:lnTo>
                    <a:pt x="413" y="59"/>
                  </a:lnTo>
                  <a:lnTo>
                    <a:pt x="412" y="58"/>
                  </a:lnTo>
                  <a:lnTo>
                    <a:pt x="410" y="58"/>
                  </a:lnTo>
                  <a:lnTo>
                    <a:pt x="407" y="58"/>
                  </a:lnTo>
                  <a:lnTo>
                    <a:pt x="407" y="57"/>
                  </a:lnTo>
                  <a:lnTo>
                    <a:pt x="409" y="55"/>
                  </a:lnTo>
                  <a:lnTo>
                    <a:pt x="410" y="55"/>
                  </a:lnTo>
                  <a:lnTo>
                    <a:pt x="411" y="54"/>
                  </a:lnTo>
                  <a:lnTo>
                    <a:pt x="412" y="54"/>
                  </a:lnTo>
                  <a:lnTo>
                    <a:pt x="412" y="55"/>
                  </a:lnTo>
                  <a:lnTo>
                    <a:pt x="415" y="55"/>
                  </a:lnTo>
                  <a:lnTo>
                    <a:pt x="416" y="54"/>
                  </a:lnTo>
                  <a:lnTo>
                    <a:pt x="415" y="53"/>
                  </a:lnTo>
                  <a:lnTo>
                    <a:pt x="413" y="52"/>
                  </a:lnTo>
                  <a:lnTo>
                    <a:pt x="415" y="50"/>
                  </a:lnTo>
                  <a:lnTo>
                    <a:pt x="413" y="49"/>
                  </a:lnTo>
                  <a:lnTo>
                    <a:pt x="412" y="49"/>
                  </a:lnTo>
                  <a:lnTo>
                    <a:pt x="410" y="49"/>
                  </a:lnTo>
                  <a:lnTo>
                    <a:pt x="409" y="50"/>
                  </a:lnTo>
                  <a:lnTo>
                    <a:pt x="407" y="50"/>
                  </a:lnTo>
                  <a:lnTo>
                    <a:pt x="406" y="49"/>
                  </a:lnTo>
                  <a:lnTo>
                    <a:pt x="405" y="49"/>
                  </a:lnTo>
                  <a:lnTo>
                    <a:pt x="406" y="47"/>
                  </a:lnTo>
                  <a:lnTo>
                    <a:pt x="409" y="46"/>
                  </a:lnTo>
                  <a:lnTo>
                    <a:pt x="411" y="46"/>
                  </a:lnTo>
                  <a:lnTo>
                    <a:pt x="413" y="44"/>
                  </a:lnTo>
                  <a:lnTo>
                    <a:pt x="415" y="47"/>
                  </a:lnTo>
                  <a:lnTo>
                    <a:pt x="416" y="46"/>
                  </a:lnTo>
                  <a:lnTo>
                    <a:pt x="415" y="44"/>
                  </a:lnTo>
                  <a:lnTo>
                    <a:pt x="415" y="43"/>
                  </a:lnTo>
                  <a:lnTo>
                    <a:pt x="416" y="44"/>
                  </a:lnTo>
                  <a:lnTo>
                    <a:pt x="417" y="46"/>
                  </a:lnTo>
                  <a:lnTo>
                    <a:pt x="418" y="46"/>
                  </a:lnTo>
                  <a:lnTo>
                    <a:pt x="418" y="43"/>
                  </a:lnTo>
                  <a:lnTo>
                    <a:pt x="417" y="42"/>
                  </a:lnTo>
                  <a:lnTo>
                    <a:pt x="419" y="42"/>
                  </a:lnTo>
                  <a:lnTo>
                    <a:pt x="421" y="42"/>
                  </a:lnTo>
                  <a:lnTo>
                    <a:pt x="422" y="43"/>
                  </a:lnTo>
                  <a:lnTo>
                    <a:pt x="423" y="46"/>
                  </a:lnTo>
                  <a:lnTo>
                    <a:pt x="424" y="46"/>
                  </a:lnTo>
                  <a:lnTo>
                    <a:pt x="424" y="44"/>
                  </a:lnTo>
                  <a:lnTo>
                    <a:pt x="423" y="43"/>
                  </a:lnTo>
                  <a:lnTo>
                    <a:pt x="423" y="42"/>
                  </a:lnTo>
                  <a:lnTo>
                    <a:pt x="424" y="41"/>
                  </a:lnTo>
                  <a:lnTo>
                    <a:pt x="427" y="41"/>
                  </a:lnTo>
                  <a:lnTo>
                    <a:pt x="429" y="40"/>
                  </a:lnTo>
                  <a:lnTo>
                    <a:pt x="430" y="40"/>
                  </a:lnTo>
                  <a:lnTo>
                    <a:pt x="429" y="38"/>
                  </a:lnTo>
                  <a:lnTo>
                    <a:pt x="428" y="38"/>
                  </a:lnTo>
                  <a:lnTo>
                    <a:pt x="425" y="38"/>
                  </a:lnTo>
                  <a:lnTo>
                    <a:pt x="427" y="37"/>
                  </a:lnTo>
                  <a:lnTo>
                    <a:pt x="425" y="37"/>
                  </a:lnTo>
                  <a:lnTo>
                    <a:pt x="424" y="37"/>
                  </a:lnTo>
                  <a:lnTo>
                    <a:pt x="421" y="38"/>
                  </a:lnTo>
                  <a:lnTo>
                    <a:pt x="419" y="40"/>
                  </a:lnTo>
                  <a:lnTo>
                    <a:pt x="419" y="38"/>
                  </a:lnTo>
                  <a:lnTo>
                    <a:pt x="419" y="37"/>
                  </a:lnTo>
                  <a:lnTo>
                    <a:pt x="421" y="36"/>
                  </a:lnTo>
                  <a:lnTo>
                    <a:pt x="419" y="35"/>
                  </a:lnTo>
                  <a:lnTo>
                    <a:pt x="418" y="36"/>
                  </a:lnTo>
                  <a:lnTo>
                    <a:pt x="418" y="37"/>
                  </a:lnTo>
                  <a:lnTo>
                    <a:pt x="417" y="38"/>
                  </a:lnTo>
                  <a:lnTo>
                    <a:pt x="416" y="40"/>
                  </a:lnTo>
                  <a:lnTo>
                    <a:pt x="413" y="40"/>
                  </a:lnTo>
                  <a:lnTo>
                    <a:pt x="412" y="42"/>
                  </a:lnTo>
                  <a:lnTo>
                    <a:pt x="412" y="43"/>
                  </a:lnTo>
                  <a:lnTo>
                    <a:pt x="410" y="43"/>
                  </a:lnTo>
                  <a:lnTo>
                    <a:pt x="409" y="42"/>
                  </a:lnTo>
                  <a:lnTo>
                    <a:pt x="410" y="40"/>
                  </a:lnTo>
                  <a:lnTo>
                    <a:pt x="411" y="41"/>
                  </a:lnTo>
                  <a:lnTo>
                    <a:pt x="412" y="41"/>
                  </a:lnTo>
                  <a:lnTo>
                    <a:pt x="412" y="40"/>
                  </a:lnTo>
                  <a:lnTo>
                    <a:pt x="412" y="38"/>
                  </a:lnTo>
                  <a:lnTo>
                    <a:pt x="413" y="38"/>
                  </a:lnTo>
                  <a:lnTo>
                    <a:pt x="413" y="37"/>
                  </a:lnTo>
                  <a:lnTo>
                    <a:pt x="412" y="37"/>
                  </a:lnTo>
                  <a:lnTo>
                    <a:pt x="413" y="36"/>
                  </a:lnTo>
                  <a:lnTo>
                    <a:pt x="413" y="35"/>
                  </a:lnTo>
                  <a:lnTo>
                    <a:pt x="412" y="35"/>
                  </a:lnTo>
                  <a:lnTo>
                    <a:pt x="411" y="35"/>
                  </a:lnTo>
                  <a:lnTo>
                    <a:pt x="412" y="34"/>
                  </a:lnTo>
                  <a:lnTo>
                    <a:pt x="412" y="32"/>
                  </a:lnTo>
                  <a:lnTo>
                    <a:pt x="413" y="34"/>
                  </a:lnTo>
                  <a:lnTo>
                    <a:pt x="415" y="34"/>
                  </a:lnTo>
                  <a:lnTo>
                    <a:pt x="419" y="34"/>
                  </a:lnTo>
                  <a:lnTo>
                    <a:pt x="421" y="32"/>
                  </a:lnTo>
                  <a:lnTo>
                    <a:pt x="419" y="31"/>
                  </a:lnTo>
                  <a:lnTo>
                    <a:pt x="413" y="31"/>
                  </a:lnTo>
                  <a:lnTo>
                    <a:pt x="416" y="30"/>
                  </a:lnTo>
                  <a:lnTo>
                    <a:pt x="417" y="30"/>
                  </a:lnTo>
                  <a:lnTo>
                    <a:pt x="418" y="29"/>
                  </a:lnTo>
                  <a:lnTo>
                    <a:pt x="421" y="28"/>
                  </a:lnTo>
                  <a:lnTo>
                    <a:pt x="419" y="26"/>
                  </a:lnTo>
                  <a:lnTo>
                    <a:pt x="418" y="26"/>
                  </a:lnTo>
                  <a:lnTo>
                    <a:pt x="417" y="28"/>
                  </a:lnTo>
                  <a:lnTo>
                    <a:pt x="416" y="29"/>
                  </a:lnTo>
                  <a:lnTo>
                    <a:pt x="415" y="28"/>
                  </a:lnTo>
                  <a:lnTo>
                    <a:pt x="421" y="22"/>
                  </a:lnTo>
                  <a:lnTo>
                    <a:pt x="423" y="19"/>
                  </a:lnTo>
                  <a:lnTo>
                    <a:pt x="427" y="16"/>
                  </a:lnTo>
                  <a:lnTo>
                    <a:pt x="429" y="13"/>
                  </a:lnTo>
                  <a:lnTo>
                    <a:pt x="429" y="11"/>
                  </a:lnTo>
                  <a:lnTo>
                    <a:pt x="427" y="12"/>
                  </a:lnTo>
                  <a:lnTo>
                    <a:pt x="424" y="13"/>
                  </a:lnTo>
                  <a:lnTo>
                    <a:pt x="422" y="17"/>
                  </a:lnTo>
                  <a:lnTo>
                    <a:pt x="418" y="20"/>
                  </a:lnTo>
                  <a:lnTo>
                    <a:pt x="416" y="24"/>
                  </a:lnTo>
                  <a:lnTo>
                    <a:pt x="413" y="26"/>
                  </a:lnTo>
                  <a:lnTo>
                    <a:pt x="412" y="29"/>
                  </a:lnTo>
                  <a:lnTo>
                    <a:pt x="411" y="30"/>
                  </a:lnTo>
                  <a:lnTo>
                    <a:pt x="410" y="30"/>
                  </a:lnTo>
                  <a:lnTo>
                    <a:pt x="409" y="29"/>
                  </a:lnTo>
                  <a:lnTo>
                    <a:pt x="407" y="26"/>
                  </a:lnTo>
                  <a:lnTo>
                    <a:pt x="405" y="24"/>
                  </a:lnTo>
                  <a:lnTo>
                    <a:pt x="404" y="23"/>
                  </a:lnTo>
                  <a:lnTo>
                    <a:pt x="403" y="23"/>
                  </a:lnTo>
                  <a:lnTo>
                    <a:pt x="401" y="23"/>
                  </a:lnTo>
                  <a:lnTo>
                    <a:pt x="403" y="25"/>
                  </a:lnTo>
                  <a:lnTo>
                    <a:pt x="404" y="25"/>
                  </a:lnTo>
                  <a:lnTo>
                    <a:pt x="405" y="25"/>
                  </a:lnTo>
                  <a:lnTo>
                    <a:pt x="406" y="26"/>
                  </a:lnTo>
                  <a:lnTo>
                    <a:pt x="407" y="28"/>
                  </a:lnTo>
                  <a:lnTo>
                    <a:pt x="409" y="30"/>
                  </a:lnTo>
                  <a:lnTo>
                    <a:pt x="410" y="31"/>
                  </a:lnTo>
                  <a:lnTo>
                    <a:pt x="410" y="34"/>
                  </a:lnTo>
                  <a:lnTo>
                    <a:pt x="410" y="35"/>
                  </a:lnTo>
                  <a:lnTo>
                    <a:pt x="407" y="34"/>
                  </a:lnTo>
                  <a:lnTo>
                    <a:pt x="406" y="32"/>
                  </a:lnTo>
                  <a:lnTo>
                    <a:pt x="405" y="31"/>
                  </a:lnTo>
                  <a:lnTo>
                    <a:pt x="404" y="32"/>
                  </a:lnTo>
                  <a:lnTo>
                    <a:pt x="405" y="34"/>
                  </a:lnTo>
                  <a:lnTo>
                    <a:pt x="406" y="35"/>
                  </a:lnTo>
                  <a:lnTo>
                    <a:pt x="407" y="35"/>
                  </a:lnTo>
                  <a:lnTo>
                    <a:pt x="407" y="37"/>
                  </a:lnTo>
                  <a:lnTo>
                    <a:pt x="406" y="37"/>
                  </a:lnTo>
                  <a:lnTo>
                    <a:pt x="404" y="36"/>
                  </a:lnTo>
                  <a:lnTo>
                    <a:pt x="403" y="36"/>
                  </a:lnTo>
                  <a:lnTo>
                    <a:pt x="404" y="37"/>
                  </a:lnTo>
                  <a:lnTo>
                    <a:pt x="405" y="40"/>
                  </a:lnTo>
                  <a:lnTo>
                    <a:pt x="406" y="41"/>
                  </a:lnTo>
                  <a:lnTo>
                    <a:pt x="406" y="42"/>
                  </a:lnTo>
                  <a:lnTo>
                    <a:pt x="406" y="43"/>
                  </a:lnTo>
                  <a:lnTo>
                    <a:pt x="405" y="43"/>
                  </a:lnTo>
                  <a:lnTo>
                    <a:pt x="404" y="42"/>
                  </a:lnTo>
                  <a:lnTo>
                    <a:pt x="403" y="41"/>
                  </a:lnTo>
                  <a:lnTo>
                    <a:pt x="401" y="40"/>
                  </a:lnTo>
                  <a:lnTo>
                    <a:pt x="400" y="38"/>
                  </a:lnTo>
                  <a:lnTo>
                    <a:pt x="400" y="37"/>
                  </a:lnTo>
                  <a:lnTo>
                    <a:pt x="400" y="36"/>
                  </a:lnTo>
                  <a:lnTo>
                    <a:pt x="401" y="35"/>
                  </a:lnTo>
                  <a:lnTo>
                    <a:pt x="401" y="34"/>
                  </a:lnTo>
                  <a:lnTo>
                    <a:pt x="400" y="34"/>
                  </a:lnTo>
                  <a:lnTo>
                    <a:pt x="399" y="34"/>
                  </a:lnTo>
                  <a:lnTo>
                    <a:pt x="399" y="31"/>
                  </a:lnTo>
                  <a:lnTo>
                    <a:pt x="399" y="30"/>
                  </a:lnTo>
                  <a:lnTo>
                    <a:pt x="400" y="30"/>
                  </a:lnTo>
                  <a:lnTo>
                    <a:pt x="403" y="30"/>
                  </a:lnTo>
                  <a:lnTo>
                    <a:pt x="405" y="29"/>
                  </a:lnTo>
                  <a:lnTo>
                    <a:pt x="406" y="29"/>
                  </a:lnTo>
                  <a:lnTo>
                    <a:pt x="405" y="28"/>
                  </a:lnTo>
                  <a:lnTo>
                    <a:pt x="404" y="28"/>
                  </a:lnTo>
                  <a:lnTo>
                    <a:pt x="400" y="28"/>
                  </a:lnTo>
                  <a:lnTo>
                    <a:pt x="399" y="28"/>
                  </a:lnTo>
                  <a:lnTo>
                    <a:pt x="399" y="25"/>
                  </a:lnTo>
                  <a:lnTo>
                    <a:pt x="398" y="24"/>
                  </a:lnTo>
                  <a:lnTo>
                    <a:pt x="398" y="22"/>
                  </a:lnTo>
                  <a:lnTo>
                    <a:pt x="397" y="18"/>
                  </a:lnTo>
                  <a:lnTo>
                    <a:pt x="397" y="14"/>
                  </a:lnTo>
                  <a:lnTo>
                    <a:pt x="397" y="13"/>
                  </a:lnTo>
                  <a:lnTo>
                    <a:pt x="397" y="14"/>
                  </a:lnTo>
                  <a:lnTo>
                    <a:pt x="397" y="22"/>
                  </a:lnTo>
                  <a:lnTo>
                    <a:pt x="397" y="26"/>
                  </a:lnTo>
                  <a:lnTo>
                    <a:pt x="395" y="30"/>
                  </a:lnTo>
                  <a:lnTo>
                    <a:pt x="397" y="31"/>
                  </a:lnTo>
                  <a:lnTo>
                    <a:pt x="398" y="34"/>
                  </a:lnTo>
                  <a:lnTo>
                    <a:pt x="398" y="36"/>
                  </a:lnTo>
                  <a:lnTo>
                    <a:pt x="397" y="36"/>
                  </a:lnTo>
                  <a:lnTo>
                    <a:pt x="395" y="34"/>
                  </a:lnTo>
                  <a:lnTo>
                    <a:pt x="394" y="34"/>
                  </a:lnTo>
                  <a:lnTo>
                    <a:pt x="394" y="35"/>
                  </a:lnTo>
                  <a:lnTo>
                    <a:pt x="393" y="37"/>
                  </a:lnTo>
                  <a:lnTo>
                    <a:pt x="393" y="38"/>
                  </a:lnTo>
                  <a:lnTo>
                    <a:pt x="391" y="38"/>
                  </a:lnTo>
                  <a:lnTo>
                    <a:pt x="391" y="37"/>
                  </a:lnTo>
                  <a:lnTo>
                    <a:pt x="388" y="36"/>
                  </a:lnTo>
                  <a:lnTo>
                    <a:pt x="388" y="35"/>
                  </a:lnTo>
                  <a:lnTo>
                    <a:pt x="389" y="34"/>
                  </a:lnTo>
                  <a:lnTo>
                    <a:pt x="392" y="32"/>
                  </a:lnTo>
                  <a:lnTo>
                    <a:pt x="392" y="31"/>
                  </a:lnTo>
                  <a:lnTo>
                    <a:pt x="391" y="30"/>
                  </a:lnTo>
                  <a:lnTo>
                    <a:pt x="389" y="31"/>
                  </a:lnTo>
                  <a:lnTo>
                    <a:pt x="387" y="32"/>
                  </a:lnTo>
                  <a:lnTo>
                    <a:pt x="388" y="31"/>
                  </a:lnTo>
                  <a:lnTo>
                    <a:pt x="388" y="30"/>
                  </a:lnTo>
                  <a:lnTo>
                    <a:pt x="387" y="30"/>
                  </a:lnTo>
                  <a:lnTo>
                    <a:pt x="386" y="30"/>
                  </a:lnTo>
                  <a:lnTo>
                    <a:pt x="387" y="29"/>
                  </a:lnTo>
                  <a:lnTo>
                    <a:pt x="388" y="26"/>
                  </a:lnTo>
                  <a:lnTo>
                    <a:pt x="387" y="25"/>
                  </a:lnTo>
                  <a:lnTo>
                    <a:pt x="386" y="26"/>
                  </a:lnTo>
                  <a:lnTo>
                    <a:pt x="386" y="25"/>
                  </a:lnTo>
                  <a:lnTo>
                    <a:pt x="386" y="24"/>
                  </a:lnTo>
                  <a:lnTo>
                    <a:pt x="388" y="23"/>
                  </a:lnTo>
                  <a:lnTo>
                    <a:pt x="391" y="20"/>
                  </a:lnTo>
                  <a:lnTo>
                    <a:pt x="394" y="16"/>
                  </a:lnTo>
                  <a:lnTo>
                    <a:pt x="394" y="14"/>
                  </a:lnTo>
                  <a:lnTo>
                    <a:pt x="393" y="16"/>
                  </a:lnTo>
                  <a:lnTo>
                    <a:pt x="392" y="17"/>
                  </a:lnTo>
                  <a:lnTo>
                    <a:pt x="387" y="22"/>
                  </a:lnTo>
                  <a:lnTo>
                    <a:pt x="386" y="20"/>
                  </a:lnTo>
                  <a:lnTo>
                    <a:pt x="387" y="19"/>
                  </a:lnTo>
                  <a:lnTo>
                    <a:pt x="387" y="17"/>
                  </a:lnTo>
                  <a:lnTo>
                    <a:pt x="388" y="16"/>
                  </a:lnTo>
                  <a:lnTo>
                    <a:pt x="388" y="14"/>
                  </a:lnTo>
                  <a:lnTo>
                    <a:pt x="387" y="13"/>
                  </a:lnTo>
                  <a:lnTo>
                    <a:pt x="387" y="14"/>
                  </a:lnTo>
                  <a:lnTo>
                    <a:pt x="386" y="16"/>
                  </a:lnTo>
                  <a:lnTo>
                    <a:pt x="386" y="17"/>
                  </a:lnTo>
                  <a:lnTo>
                    <a:pt x="386" y="13"/>
                  </a:lnTo>
                  <a:lnTo>
                    <a:pt x="386" y="11"/>
                  </a:lnTo>
                  <a:lnTo>
                    <a:pt x="386" y="8"/>
                  </a:lnTo>
                  <a:lnTo>
                    <a:pt x="384" y="7"/>
                  </a:lnTo>
                  <a:lnTo>
                    <a:pt x="384" y="8"/>
                  </a:lnTo>
                  <a:lnTo>
                    <a:pt x="384" y="10"/>
                  </a:lnTo>
                  <a:lnTo>
                    <a:pt x="384" y="12"/>
                  </a:lnTo>
                  <a:lnTo>
                    <a:pt x="384" y="16"/>
                  </a:lnTo>
                  <a:lnTo>
                    <a:pt x="384" y="18"/>
                  </a:lnTo>
                  <a:lnTo>
                    <a:pt x="384" y="19"/>
                  </a:lnTo>
                  <a:lnTo>
                    <a:pt x="384" y="2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3" name="Freeform 76"/>
            <p:cNvSpPr>
              <a:spLocks/>
            </p:cNvSpPr>
            <p:nvPr userDrawn="1"/>
          </p:nvSpPr>
          <p:spPr bwMode="auto">
            <a:xfrm>
              <a:off x="8283575" y="6400801"/>
              <a:ext cx="142875" cy="174625"/>
            </a:xfrm>
            <a:custGeom>
              <a:avLst/>
              <a:gdLst/>
              <a:ahLst/>
              <a:cxnLst>
                <a:cxn ang="0">
                  <a:pos x="210" y="353"/>
                </a:cxn>
                <a:cxn ang="0">
                  <a:pos x="201" y="337"/>
                </a:cxn>
                <a:cxn ang="0">
                  <a:pos x="196" y="313"/>
                </a:cxn>
                <a:cxn ang="0">
                  <a:pos x="213" y="303"/>
                </a:cxn>
                <a:cxn ang="0">
                  <a:pos x="177" y="328"/>
                </a:cxn>
                <a:cxn ang="0">
                  <a:pos x="195" y="364"/>
                </a:cxn>
                <a:cxn ang="0">
                  <a:pos x="178" y="356"/>
                </a:cxn>
                <a:cxn ang="0">
                  <a:pos x="157" y="344"/>
                </a:cxn>
                <a:cxn ang="0">
                  <a:pos x="137" y="349"/>
                </a:cxn>
                <a:cxn ang="0">
                  <a:pos x="115" y="335"/>
                </a:cxn>
                <a:cxn ang="0">
                  <a:pos x="102" y="349"/>
                </a:cxn>
                <a:cxn ang="0">
                  <a:pos x="86" y="361"/>
                </a:cxn>
                <a:cxn ang="0">
                  <a:pos x="67" y="345"/>
                </a:cxn>
                <a:cxn ang="0">
                  <a:pos x="9" y="361"/>
                </a:cxn>
                <a:cxn ang="0">
                  <a:pos x="29" y="323"/>
                </a:cxn>
                <a:cxn ang="0">
                  <a:pos x="17" y="307"/>
                </a:cxn>
                <a:cxn ang="0">
                  <a:pos x="14" y="286"/>
                </a:cxn>
                <a:cxn ang="0">
                  <a:pos x="5" y="249"/>
                </a:cxn>
                <a:cxn ang="0">
                  <a:pos x="48" y="244"/>
                </a:cxn>
                <a:cxn ang="0">
                  <a:pos x="54" y="224"/>
                </a:cxn>
                <a:cxn ang="0">
                  <a:pos x="83" y="192"/>
                </a:cxn>
                <a:cxn ang="0">
                  <a:pos x="49" y="184"/>
                </a:cxn>
                <a:cxn ang="0">
                  <a:pos x="30" y="180"/>
                </a:cxn>
                <a:cxn ang="0">
                  <a:pos x="26" y="166"/>
                </a:cxn>
                <a:cxn ang="0">
                  <a:pos x="32" y="136"/>
                </a:cxn>
                <a:cxn ang="0">
                  <a:pos x="65" y="108"/>
                </a:cxn>
                <a:cxn ang="0">
                  <a:pos x="85" y="83"/>
                </a:cxn>
                <a:cxn ang="0">
                  <a:pos x="101" y="76"/>
                </a:cxn>
                <a:cxn ang="0">
                  <a:pos x="126" y="88"/>
                </a:cxn>
                <a:cxn ang="0">
                  <a:pos x="162" y="87"/>
                </a:cxn>
                <a:cxn ang="0">
                  <a:pos x="171" y="51"/>
                </a:cxn>
                <a:cxn ang="0">
                  <a:pos x="171" y="43"/>
                </a:cxn>
                <a:cxn ang="0">
                  <a:pos x="190" y="76"/>
                </a:cxn>
                <a:cxn ang="0">
                  <a:pos x="225" y="65"/>
                </a:cxn>
                <a:cxn ang="0">
                  <a:pos x="251" y="78"/>
                </a:cxn>
                <a:cxn ang="0">
                  <a:pos x="278" y="99"/>
                </a:cxn>
                <a:cxn ang="0">
                  <a:pos x="263" y="73"/>
                </a:cxn>
                <a:cxn ang="0">
                  <a:pos x="247" y="47"/>
                </a:cxn>
                <a:cxn ang="0">
                  <a:pos x="243" y="2"/>
                </a:cxn>
                <a:cxn ang="0">
                  <a:pos x="278" y="26"/>
                </a:cxn>
                <a:cxn ang="0">
                  <a:pos x="319" y="43"/>
                </a:cxn>
                <a:cxn ang="0">
                  <a:pos x="318" y="69"/>
                </a:cxn>
                <a:cxn ang="0">
                  <a:pos x="333" y="90"/>
                </a:cxn>
                <a:cxn ang="0">
                  <a:pos x="363" y="83"/>
                </a:cxn>
                <a:cxn ang="0">
                  <a:pos x="386" y="65"/>
                </a:cxn>
                <a:cxn ang="0">
                  <a:pos x="392" y="87"/>
                </a:cxn>
                <a:cxn ang="0">
                  <a:pos x="387" y="113"/>
                </a:cxn>
                <a:cxn ang="0">
                  <a:pos x="371" y="124"/>
                </a:cxn>
                <a:cxn ang="0">
                  <a:pos x="396" y="133"/>
                </a:cxn>
                <a:cxn ang="0">
                  <a:pos x="424" y="147"/>
                </a:cxn>
                <a:cxn ang="0">
                  <a:pos x="446" y="174"/>
                </a:cxn>
                <a:cxn ang="0">
                  <a:pos x="419" y="198"/>
                </a:cxn>
                <a:cxn ang="0">
                  <a:pos x="413" y="209"/>
                </a:cxn>
                <a:cxn ang="0">
                  <a:pos x="377" y="234"/>
                </a:cxn>
                <a:cxn ang="0">
                  <a:pos x="415" y="266"/>
                </a:cxn>
                <a:cxn ang="0">
                  <a:pos x="385" y="273"/>
                </a:cxn>
                <a:cxn ang="0">
                  <a:pos x="384" y="304"/>
                </a:cxn>
                <a:cxn ang="0">
                  <a:pos x="389" y="339"/>
                </a:cxn>
                <a:cxn ang="0">
                  <a:pos x="375" y="364"/>
                </a:cxn>
                <a:cxn ang="0">
                  <a:pos x="348" y="384"/>
                </a:cxn>
                <a:cxn ang="0">
                  <a:pos x="308" y="372"/>
                </a:cxn>
                <a:cxn ang="0">
                  <a:pos x="277" y="387"/>
                </a:cxn>
                <a:cxn ang="0">
                  <a:pos x="242" y="363"/>
                </a:cxn>
              </a:cxnLst>
              <a:rect l="0" t="0" r="r" b="b"/>
              <a:pathLst>
                <a:path w="448" h="547">
                  <a:moveTo>
                    <a:pt x="233" y="547"/>
                  </a:moveTo>
                  <a:lnTo>
                    <a:pt x="219" y="547"/>
                  </a:lnTo>
                  <a:lnTo>
                    <a:pt x="218" y="533"/>
                  </a:lnTo>
                  <a:lnTo>
                    <a:pt x="216" y="524"/>
                  </a:lnTo>
                  <a:lnTo>
                    <a:pt x="216" y="506"/>
                  </a:lnTo>
                  <a:lnTo>
                    <a:pt x="216" y="503"/>
                  </a:lnTo>
                  <a:lnTo>
                    <a:pt x="216" y="499"/>
                  </a:lnTo>
                  <a:lnTo>
                    <a:pt x="220" y="474"/>
                  </a:lnTo>
                  <a:lnTo>
                    <a:pt x="221" y="462"/>
                  </a:lnTo>
                  <a:lnTo>
                    <a:pt x="224" y="448"/>
                  </a:lnTo>
                  <a:lnTo>
                    <a:pt x="226" y="438"/>
                  </a:lnTo>
                  <a:lnTo>
                    <a:pt x="229" y="429"/>
                  </a:lnTo>
                  <a:lnTo>
                    <a:pt x="233" y="420"/>
                  </a:lnTo>
                  <a:lnTo>
                    <a:pt x="236" y="417"/>
                  </a:lnTo>
                  <a:lnTo>
                    <a:pt x="236" y="415"/>
                  </a:lnTo>
                  <a:lnTo>
                    <a:pt x="231" y="402"/>
                  </a:lnTo>
                  <a:lnTo>
                    <a:pt x="229" y="398"/>
                  </a:lnTo>
                  <a:lnTo>
                    <a:pt x="227" y="394"/>
                  </a:lnTo>
                  <a:lnTo>
                    <a:pt x="229" y="386"/>
                  </a:lnTo>
                  <a:lnTo>
                    <a:pt x="229" y="380"/>
                  </a:lnTo>
                  <a:lnTo>
                    <a:pt x="227" y="374"/>
                  </a:lnTo>
                  <a:lnTo>
                    <a:pt x="225" y="367"/>
                  </a:lnTo>
                  <a:lnTo>
                    <a:pt x="224" y="361"/>
                  </a:lnTo>
                  <a:lnTo>
                    <a:pt x="221" y="353"/>
                  </a:lnTo>
                  <a:lnTo>
                    <a:pt x="220" y="351"/>
                  </a:lnTo>
                  <a:lnTo>
                    <a:pt x="219" y="351"/>
                  </a:lnTo>
                  <a:lnTo>
                    <a:pt x="220" y="355"/>
                  </a:lnTo>
                  <a:lnTo>
                    <a:pt x="220" y="356"/>
                  </a:lnTo>
                  <a:lnTo>
                    <a:pt x="219" y="358"/>
                  </a:lnTo>
                  <a:lnTo>
                    <a:pt x="219" y="361"/>
                  </a:lnTo>
                  <a:lnTo>
                    <a:pt x="218" y="360"/>
                  </a:lnTo>
                  <a:lnTo>
                    <a:pt x="218" y="361"/>
                  </a:lnTo>
                  <a:lnTo>
                    <a:pt x="216" y="361"/>
                  </a:lnTo>
                  <a:lnTo>
                    <a:pt x="215" y="360"/>
                  </a:lnTo>
                  <a:lnTo>
                    <a:pt x="214" y="361"/>
                  </a:lnTo>
                  <a:lnTo>
                    <a:pt x="212" y="362"/>
                  </a:lnTo>
                  <a:lnTo>
                    <a:pt x="212" y="363"/>
                  </a:lnTo>
                  <a:lnTo>
                    <a:pt x="210" y="361"/>
                  </a:lnTo>
                  <a:lnTo>
                    <a:pt x="210" y="360"/>
                  </a:lnTo>
                  <a:lnTo>
                    <a:pt x="209" y="360"/>
                  </a:lnTo>
                  <a:lnTo>
                    <a:pt x="208" y="361"/>
                  </a:lnTo>
                  <a:lnTo>
                    <a:pt x="207" y="362"/>
                  </a:lnTo>
                  <a:lnTo>
                    <a:pt x="202" y="364"/>
                  </a:lnTo>
                  <a:lnTo>
                    <a:pt x="201" y="364"/>
                  </a:lnTo>
                  <a:lnTo>
                    <a:pt x="202" y="362"/>
                  </a:lnTo>
                  <a:lnTo>
                    <a:pt x="204" y="361"/>
                  </a:lnTo>
                  <a:lnTo>
                    <a:pt x="204" y="358"/>
                  </a:lnTo>
                  <a:lnTo>
                    <a:pt x="206" y="358"/>
                  </a:lnTo>
                  <a:lnTo>
                    <a:pt x="206" y="357"/>
                  </a:lnTo>
                  <a:lnTo>
                    <a:pt x="203" y="358"/>
                  </a:lnTo>
                  <a:lnTo>
                    <a:pt x="203" y="357"/>
                  </a:lnTo>
                  <a:lnTo>
                    <a:pt x="206" y="356"/>
                  </a:lnTo>
                  <a:lnTo>
                    <a:pt x="207" y="355"/>
                  </a:lnTo>
                  <a:lnTo>
                    <a:pt x="206" y="355"/>
                  </a:lnTo>
                  <a:lnTo>
                    <a:pt x="207" y="353"/>
                  </a:lnTo>
                  <a:lnTo>
                    <a:pt x="208" y="356"/>
                  </a:lnTo>
                  <a:lnTo>
                    <a:pt x="207" y="357"/>
                  </a:lnTo>
                  <a:lnTo>
                    <a:pt x="208" y="358"/>
                  </a:lnTo>
                  <a:lnTo>
                    <a:pt x="209" y="356"/>
                  </a:lnTo>
                  <a:lnTo>
                    <a:pt x="210" y="356"/>
                  </a:lnTo>
                  <a:lnTo>
                    <a:pt x="210" y="353"/>
                  </a:lnTo>
                  <a:lnTo>
                    <a:pt x="209" y="353"/>
                  </a:lnTo>
                  <a:lnTo>
                    <a:pt x="209" y="351"/>
                  </a:lnTo>
                  <a:lnTo>
                    <a:pt x="209" y="350"/>
                  </a:lnTo>
                  <a:lnTo>
                    <a:pt x="208" y="350"/>
                  </a:lnTo>
                  <a:lnTo>
                    <a:pt x="209" y="349"/>
                  </a:lnTo>
                  <a:lnTo>
                    <a:pt x="212" y="347"/>
                  </a:lnTo>
                  <a:lnTo>
                    <a:pt x="214" y="347"/>
                  </a:lnTo>
                  <a:lnTo>
                    <a:pt x="215" y="347"/>
                  </a:lnTo>
                  <a:lnTo>
                    <a:pt x="218" y="344"/>
                  </a:lnTo>
                  <a:lnTo>
                    <a:pt x="220" y="340"/>
                  </a:lnTo>
                  <a:lnTo>
                    <a:pt x="223" y="338"/>
                  </a:lnTo>
                  <a:lnTo>
                    <a:pt x="223" y="337"/>
                  </a:lnTo>
                  <a:lnTo>
                    <a:pt x="223" y="335"/>
                  </a:lnTo>
                  <a:lnTo>
                    <a:pt x="221" y="337"/>
                  </a:lnTo>
                  <a:lnTo>
                    <a:pt x="221" y="335"/>
                  </a:lnTo>
                  <a:lnTo>
                    <a:pt x="220" y="337"/>
                  </a:lnTo>
                  <a:lnTo>
                    <a:pt x="219" y="338"/>
                  </a:lnTo>
                  <a:lnTo>
                    <a:pt x="216" y="338"/>
                  </a:lnTo>
                  <a:lnTo>
                    <a:pt x="216" y="337"/>
                  </a:lnTo>
                  <a:lnTo>
                    <a:pt x="215" y="338"/>
                  </a:lnTo>
                  <a:lnTo>
                    <a:pt x="215" y="335"/>
                  </a:lnTo>
                  <a:lnTo>
                    <a:pt x="215" y="334"/>
                  </a:lnTo>
                  <a:lnTo>
                    <a:pt x="216" y="333"/>
                  </a:lnTo>
                  <a:lnTo>
                    <a:pt x="219" y="332"/>
                  </a:lnTo>
                  <a:lnTo>
                    <a:pt x="215" y="334"/>
                  </a:lnTo>
                  <a:lnTo>
                    <a:pt x="215" y="332"/>
                  </a:lnTo>
                  <a:lnTo>
                    <a:pt x="215" y="331"/>
                  </a:lnTo>
                  <a:lnTo>
                    <a:pt x="215" y="329"/>
                  </a:lnTo>
                  <a:lnTo>
                    <a:pt x="214" y="329"/>
                  </a:lnTo>
                  <a:lnTo>
                    <a:pt x="213" y="332"/>
                  </a:lnTo>
                  <a:lnTo>
                    <a:pt x="213" y="329"/>
                  </a:lnTo>
                  <a:lnTo>
                    <a:pt x="212" y="328"/>
                  </a:lnTo>
                  <a:lnTo>
                    <a:pt x="212" y="327"/>
                  </a:lnTo>
                  <a:lnTo>
                    <a:pt x="210" y="329"/>
                  </a:lnTo>
                  <a:lnTo>
                    <a:pt x="209" y="329"/>
                  </a:lnTo>
                  <a:lnTo>
                    <a:pt x="209" y="331"/>
                  </a:lnTo>
                  <a:lnTo>
                    <a:pt x="209" y="333"/>
                  </a:lnTo>
                  <a:lnTo>
                    <a:pt x="208" y="333"/>
                  </a:lnTo>
                  <a:lnTo>
                    <a:pt x="208" y="334"/>
                  </a:lnTo>
                  <a:lnTo>
                    <a:pt x="210" y="334"/>
                  </a:lnTo>
                  <a:lnTo>
                    <a:pt x="210" y="335"/>
                  </a:lnTo>
                  <a:lnTo>
                    <a:pt x="212" y="337"/>
                  </a:lnTo>
                  <a:lnTo>
                    <a:pt x="210" y="339"/>
                  </a:lnTo>
                  <a:lnTo>
                    <a:pt x="209" y="338"/>
                  </a:lnTo>
                  <a:lnTo>
                    <a:pt x="209" y="337"/>
                  </a:lnTo>
                  <a:lnTo>
                    <a:pt x="208" y="338"/>
                  </a:lnTo>
                  <a:lnTo>
                    <a:pt x="208" y="339"/>
                  </a:lnTo>
                  <a:lnTo>
                    <a:pt x="207" y="337"/>
                  </a:lnTo>
                  <a:lnTo>
                    <a:pt x="206" y="335"/>
                  </a:lnTo>
                  <a:lnTo>
                    <a:pt x="204" y="335"/>
                  </a:lnTo>
                  <a:lnTo>
                    <a:pt x="204" y="337"/>
                  </a:lnTo>
                  <a:lnTo>
                    <a:pt x="203" y="337"/>
                  </a:lnTo>
                  <a:lnTo>
                    <a:pt x="202" y="338"/>
                  </a:lnTo>
                  <a:lnTo>
                    <a:pt x="201" y="339"/>
                  </a:lnTo>
                  <a:lnTo>
                    <a:pt x="200" y="340"/>
                  </a:lnTo>
                  <a:lnTo>
                    <a:pt x="197" y="341"/>
                  </a:lnTo>
                  <a:lnTo>
                    <a:pt x="197" y="340"/>
                  </a:lnTo>
                  <a:lnTo>
                    <a:pt x="200" y="339"/>
                  </a:lnTo>
                  <a:lnTo>
                    <a:pt x="200" y="338"/>
                  </a:lnTo>
                  <a:lnTo>
                    <a:pt x="200" y="337"/>
                  </a:lnTo>
                  <a:lnTo>
                    <a:pt x="201" y="337"/>
                  </a:lnTo>
                  <a:lnTo>
                    <a:pt x="200" y="335"/>
                  </a:lnTo>
                  <a:lnTo>
                    <a:pt x="197" y="335"/>
                  </a:lnTo>
                  <a:lnTo>
                    <a:pt x="198" y="334"/>
                  </a:lnTo>
                  <a:lnTo>
                    <a:pt x="200" y="331"/>
                  </a:lnTo>
                  <a:lnTo>
                    <a:pt x="203" y="331"/>
                  </a:lnTo>
                  <a:lnTo>
                    <a:pt x="204" y="332"/>
                  </a:lnTo>
                  <a:lnTo>
                    <a:pt x="203" y="329"/>
                  </a:lnTo>
                  <a:lnTo>
                    <a:pt x="204" y="329"/>
                  </a:lnTo>
                  <a:lnTo>
                    <a:pt x="207" y="329"/>
                  </a:lnTo>
                  <a:lnTo>
                    <a:pt x="207" y="331"/>
                  </a:lnTo>
                  <a:lnTo>
                    <a:pt x="208" y="329"/>
                  </a:lnTo>
                  <a:lnTo>
                    <a:pt x="210" y="328"/>
                  </a:lnTo>
                  <a:lnTo>
                    <a:pt x="212" y="326"/>
                  </a:lnTo>
                  <a:lnTo>
                    <a:pt x="212" y="325"/>
                  </a:lnTo>
                  <a:lnTo>
                    <a:pt x="210" y="325"/>
                  </a:lnTo>
                  <a:lnTo>
                    <a:pt x="209" y="325"/>
                  </a:lnTo>
                  <a:lnTo>
                    <a:pt x="207" y="325"/>
                  </a:lnTo>
                  <a:lnTo>
                    <a:pt x="209" y="323"/>
                  </a:lnTo>
                  <a:lnTo>
                    <a:pt x="208" y="322"/>
                  </a:lnTo>
                  <a:lnTo>
                    <a:pt x="209" y="320"/>
                  </a:lnTo>
                  <a:lnTo>
                    <a:pt x="209" y="317"/>
                  </a:lnTo>
                  <a:lnTo>
                    <a:pt x="209" y="319"/>
                  </a:lnTo>
                  <a:lnTo>
                    <a:pt x="207" y="319"/>
                  </a:lnTo>
                  <a:lnTo>
                    <a:pt x="204" y="320"/>
                  </a:lnTo>
                  <a:lnTo>
                    <a:pt x="203" y="321"/>
                  </a:lnTo>
                  <a:lnTo>
                    <a:pt x="202" y="322"/>
                  </a:lnTo>
                  <a:lnTo>
                    <a:pt x="201" y="325"/>
                  </a:lnTo>
                  <a:lnTo>
                    <a:pt x="201" y="323"/>
                  </a:lnTo>
                  <a:lnTo>
                    <a:pt x="200" y="321"/>
                  </a:lnTo>
                  <a:lnTo>
                    <a:pt x="202" y="321"/>
                  </a:lnTo>
                  <a:lnTo>
                    <a:pt x="203" y="320"/>
                  </a:lnTo>
                  <a:lnTo>
                    <a:pt x="207" y="317"/>
                  </a:lnTo>
                  <a:lnTo>
                    <a:pt x="207" y="316"/>
                  </a:lnTo>
                  <a:lnTo>
                    <a:pt x="206" y="316"/>
                  </a:lnTo>
                  <a:lnTo>
                    <a:pt x="204" y="319"/>
                  </a:lnTo>
                  <a:lnTo>
                    <a:pt x="203" y="319"/>
                  </a:lnTo>
                  <a:lnTo>
                    <a:pt x="204" y="315"/>
                  </a:lnTo>
                  <a:lnTo>
                    <a:pt x="206" y="313"/>
                  </a:lnTo>
                  <a:lnTo>
                    <a:pt x="207" y="311"/>
                  </a:lnTo>
                  <a:lnTo>
                    <a:pt x="208" y="310"/>
                  </a:lnTo>
                  <a:lnTo>
                    <a:pt x="207" y="310"/>
                  </a:lnTo>
                  <a:lnTo>
                    <a:pt x="206" y="311"/>
                  </a:lnTo>
                  <a:lnTo>
                    <a:pt x="204" y="313"/>
                  </a:lnTo>
                  <a:lnTo>
                    <a:pt x="204" y="310"/>
                  </a:lnTo>
                  <a:lnTo>
                    <a:pt x="203" y="309"/>
                  </a:lnTo>
                  <a:lnTo>
                    <a:pt x="202" y="308"/>
                  </a:lnTo>
                  <a:lnTo>
                    <a:pt x="201" y="309"/>
                  </a:lnTo>
                  <a:lnTo>
                    <a:pt x="203" y="310"/>
                  </a:lnTo>
                  <a:lnTo>
                    <a:pt x="202" y="311"/>
                  </a:lnTo>
                  <a:lnTo>
                    <a:pt x="202" y="313"/>
                  </a:lnTo>
                  <a:lnTo>
                    <a:pt x="201" y="311"/>
                  </a:lnTo>
                  <a:lnTo>
                    <a:pt x="201" y="313"/>
                  </a:lnTo>
                  <a:lnTo>
                    <a:pt x="201" y="315"/>
                  </a:lnTo>
                  <a:lnTo>
                    <a:pt x="198" y="317"/>
                  </a:lnTo>
                  <a:lnTo>
                    <a:pt x="197" y="319"/>
                  </a:lnTo>
                  <a:lnTo>
                    <a:pt x="197" y="316"/>
                  </a:lnTo>
                  <a:lnTo>
                    <a:pt x="197" y="314"/>
                  </a:lnTo>
                  <a:lnTo>
                    <a:pt x="196" y="315"/>
                  </a:lnTo>
                  <a:lnTo>
                    <a:pt x="197" y="313"/>
                  </a:lnTo>
                  <a:lnTo>
                    <a:pt x="197" y="311"/>
                  </a:lnTo>
                  <a:lnTo>
                    <a:pt x="196" y="313"/>
                  </a:lnTo>
                  <a:lnTo>
                    <a:pt x="196" y="310"/>
                  </a:lnTo>
                  <a:lnTo>
                    <a:pt x="196" y="313"/>
                  </a:lnTo>
                  <a:lnTo>
                    <a:pt x="194" y="313"/>
                  </a:lnTo>
                  <a:lnTo>
                    <a:pt x="192" y="314"/>
                  </a:lnTo>
                  <a:lnTo>
                    <a:pt x="194" y="311"/>
                  </a:lnTo>
                  <a:lnTo>
                    <a:pt x="195" y="310"/>
                  </a:lnTo>
                  <a:lnTo>
                    <a:pt x="195" y="309"/>
                  </a:lnTo>
                  <a:lnTo>
                    <a:pt x="192" y="309"/>
                  </a:lnTo>
                  <a:lnTo>
                    <a:pt x="192" y="308"/>
                  </a:lnTo>
                  <a:lnTo>
                    <a:pt x="192" y="307"/>
                  </a:lnTo>
                  <a:lnTo>
                    <a:pt x="192" y="304"/>
                  </a:lnTo>
                  <a:lnTo>
                    <a:pt x="194" y="302"/>
                  </a:lnTo>
                  <a:lnTo>
                    <a:pt x="195" y="303"/>
                  </a:lnTo>
                  <a:lnTo>
                    <a:pt x="195" y="305"/>
                  </a:lnTo>
                  <a:lnTo>
                    <a:pt x="195" y="307"/>
                  </a:lnTo>
                  <a:lnTo>
                    <a:pt x="196" y="308"/>
                  </a:lnTo>
                  <a:lnTo>
                    <a:pt x="197" y="307"/>
                  </a:lnTo>
                  <a:lnTo>
                    <a:pt x="198" y="305"/>
                  </a:lnTo>
                  <a:lnTo>
                    <a:pt x="200" y="305"/>
                  </a:lnTo>
                  <a:lnTo>
                    <a:pt x="201" y="305"/>
                  </a:lnTo>
                  <a:lnTo>
                    <a:pt x="202" y="307"/>
                  </a:lnTo>
                  <a:lnTo>
                    <a:pt x="203" y="308"/>
                  </a:lnTo>
                  <a:lnTo>
                    <a:pt x="204" y="308"/>
                  </a:lnTo>
                  <a:lnTo>
                    <a:pt x="206" y="308"/>
                  </a:lnTo>
                  <a:lnTo>
                    <a:pt x="206" y="307"/>
                  </a:lnTo>
                  <a:lnTo>
                    <a:pt x="207" y="305"/>
                  </a:lnTo>
                  <a:lnTo>
                    <a:pt x="208" y="305"/>
                  </a:lnTo>
                  <a:lnTo>
                    <a:pt x="209" y="305"/>
                  </a:lnTo>
                  <a:lnTo>
                    <a:pt x="209" y="307"/>
                  </a:lnTo>
                  <a:lnTo>
                    <a:pt x="210" y="307"/>
                  </a:lnTo>
                  <a:lnTo>
                    <a:pt x="212" y="307"/>
                  </a:lnTo>
                  <a:lnTo>
                    <a:pt x="212" y="305"/>
                  </a:lnTo>
                  <a:lnTo>
                    <a:pt x="210" y="304"/>
                  </a:lnTo>
                  <a:lnTo>
                    <a:pt x="209" y="304"/>
                  </a:lnTo>
                  <a:lnTo>
                    <a:pt x="208" y="304"/>
                  </a:lnTo>
                  <a:lnTo>
                    <a:pt x="207" y="304"/>
                  </a:lnTo>
                  <a:lnTo>
                    <a:pt x="207" y="305"/>
                  </a:lnTo>
                  <a:lnTo>
                    <a:pt x="206" y="305"/>
                  </a:lnTo>
                  <a:lnTo>
                    <a:pt x="204" y="307"/>
                  </a:lnTo>
                  <a:lnTo>
                    <a:pt x="203" y="307"/>
                  </a:lnTo>
                  <a:lnTo>
                    <a:pt x="202" y="305"/>
                  </a:lnTo>
                  <a:lnTo>
                    <a:pt x="202" y="304"/>
                  </a:lnTo>
                  <a:lnTo>
                    <a:pt x="203" y="303"/>
                  </a:lnTo>
                  <a:lnTo>
                    <a:pt x="206" y="303"/>
                  </a:lnTo>
                  <a:lnTo>
                    <a:pt x="207" y="303"/>
                  </a:lnTo>
                  <a:lnTo>
                    <a:pt x="207" y="302"/>
                  </a:lnTo>
                  <a:lnTo>
                    <a:pt x="207" y="301"/>
                  </a:lnTo>
                  <a:lnTo>
                    <a:pt x="208" y="301"/>
                  </a:lnTo>
                  <a:lnTo>
                    <a:pt x="209" y="301"/>
                  </a:lnTo>
                  <a:lnTo>
                    <a:pt x="207" y="301"/>
                  </a:lnTo>
                  <a:lnTo>
                    <a:pt x="206" y="302"/>
                  </a:lnTo>
                  <a:lnTo>
                    <a:pt x="201" y="302"/>
                  </a:lnTo>
                  <a:lnTo>
                    <a:pt x="202" y="301"/>
                  </a:lnTo>
                  <a:lnTo>
                    <a:pt x="204" y="298"/>
                  </a:lnTo>
                  <a:lnTo>
                    <a:pt x="207" y="298"/>
                  </a:lnTo>
                  <a:lnTo>
                    <a:pt x="209" y="298"/>
                  </a:lnTo>
                  <a:lnTo>
                    <a:pt x="210" y="299"/>
                  </a:lnTo>
                  <a:lnTo>
                    <a:pt x="210" y="301"/>
                  </a:lnTo>
                  <a:lnTo>
                    <a:pt x="212" y="302"/>
                  </a:lnTo>
                  <a:lnTo>
                    <a:pt x="212" y="303"/>
                  </a:lnTo>
                  <a:lnTo>
                    <a:pt x="213" y="303"/>
                  </a:lnTo>
                  <a:lnTo>
                    <a:pt x="214" y="302"/>
                  </a:lnTo>
                  <a:lnTo>
                    <a:pt x="213" y="301"/>
                  </a:lnTo>
                  <a:lnTo>
                    <a:pt x="212" y="301"/>
                  </a:lnTo>
                  <a:lnTo>
                    <a:pt x="213" y="298"/>
                  </a:lnTo>
                  <a:lnTo>
                    <a:pt x="213" y="297"/>
                  </a:lnTo>
                  <a:lnTo>
                    <a:pt x="213" y="296"/>
                  </a:lnTo>
                  <a:lnTo>
                    <a:pt x="212" y="295"/>
                  </a:lnTo>
                  <a:lnTo>
                    <a:pt x="213" y="293"/>
                  </a:lnTo>
                  <a:lnTo>
                    <a:pt x="210" y="293"/>
                  </a:lnTo>
                  <a:lnTo>
                    <a:pt x="201" y="293"/>
                  </a:lnTo>
                  <a:lnTo>
                    <a:pt x="182" y="296"/>
                  </a:lnTo>
                  <a:lnTo>
                    <a:pt x="172" y="298"/>
                  </a:lnTo>
                  <a:lnTo>
                    <a:pt x="164" y="302"/>
                  </a:lnTo>
                  <a:lnTo>
                    <a:pt x="161" y="303"/>
                  </a:lnTo>
                  <a:lnTo>
                    <a:pt x="165" y="305"/>
                  </a:lnTo>
                  <a:lnTo>
                    <a:pt x="170" y="308"/>
                  </a:lnTo>
                  <a:lnTo>
                    <a:pt x="171" y="310"/>
                  </a:lnTo>
                  <a:lnTo>
                    <a:pt x="173" y="313"/>
                  </a:lnTo>
                  <a:lnTo>
                    <a:pt x="176" y="314"/>
                  </a:lnTo>
                  <a:lnTo>
                    <a:pt x="173" y="313"/>
                  </a:lnTo>
                  <a:lnTo>
                    <a:pt x="172" y="315"/>
                  </a:lnTo>
                  <a:lnTo>
                    <a:pt x="171" y="317"/>
                  </a:lnTo>
                  <a:lnTo>
                    <a:pt x="173" y="321"/>
                  </a:lnTo>
                  <a:lnTo>
                    <a:pt x="174" y="322"/>
                  </a:lnTo>
                  <a:lnTo>
                    <a:pt x="176" y="325"/>
                  </a:lnTo>
                  <a:lnTo>
                    <a:pt x="177" y="325"/>
                  </a:lnTo>
                  <a:lnTo>
                    <a:pt x="177" y="326"/>
                  </a:lnTo>
                  <a:lnTo>
                    <a:pt x="178" y="327"/>
                  </a:lnTo>
                  <a:lnTo>
                    <a:pt x="179" y="328"/>
                  </a:lnTo>
                  <a:lnTo>
                    <a:pt x="180" y="327"/>
                  </a:lnTo>
                  <a:lnTo>
                    <a:pt x="179" y="327"/>
                  </a:lnTo>
                  <a:lnTo>
                    <a:pt x="179" y="325"/>
                  </a:lnTo>
                  <a:lnTo>
                    <a:pt x="182" y="326"/>
                  </a:lnTo>
                  <a:lnTo>
                    <a:pt x="183" y="328"/>
                  </a:lnTo>
                  <a:lnTo>
                    <a:pt x="182" y="328"/>
                  </a:lnTo>
                  <a:lnTo>
                    <a:pt x="180" y="328"/>
                  </a:lnTo>
                  <a:lnTo>
                    <a:pt x="182" y="331"/>
                  </a:lnTo>
                  <a:lnTo>
                    <a:pt x="183" y="332"/>
                  </a:lnTo>
                  <a:lnTo>
                    <a:pt x="183" y="334"/>
                  </a:lnTo>
                  <a:lnTo>
                    <a:pt x="182" y="332"/>
                  </a:lnTo>
                  <a:lnTo>
                    <a:pt x="180" y="331"/>
                  </a:lnTo>
                  <a:lnTo>
                    <a:pt x="180" y="332"/>
                  </a:lnTo>
                  <a:lnTo>
                    <a:pt x="180" y="334"/>
                  </a:lnTo>
                  <a:lnTo>
                    <a:pt x="180" y="337"/>
                  </a:lnTo>
                  <a:lnTo>
                    <a:pt x="180" y="333"/>
                  </a:lnTo>
                  <a:lnTo>
                    <a:pt x="179" y="334"/>
                  </a:lnTo>
                  <a:lnTo>
                    <a:pt x="179" y="335"/>
                  </a:lnTo>
                  <a:lnTo>
                    <a:pt x="179" y="333"/>
                  </a:lnTo>
                  <a:lnTo>
                    <a:pt x="178" y="334"/>
                  </a:lnTo>
                  <a:lnTo>
                    <a:pt x="179" y="332"/>
                  </a:lnTo>
                  <a:lnTo>
                    <a:pt x="179" y="331"/>
                  </a:lnTo>
                  <a:lnTo>
                    <a:pt x="180" y="329"/>
                  </a:lnTo>
                  <a:lnTo>
                    <a:pt x="178" y="328"/>
                  </a:lnTo>
                  <a:lnTo>
                    <a:pt x="176" y="326"/>
                  </a:lnTo>
                  <a:lnTo>
                    <a:pt x="174" y="322"/>
                  </a:lnTo>
                  <a:lnTo>
                    <a:pt x="173" y="322"/>
                  </a:lnTo>
                  <a:lnTo>
                    <a:pt x="173" y="326"/>
                  </a:lnTo>
                  <a:lnTo>
                    <a:pt x="174" y="328"/>
                  </a:lnTo>
                  <a:lnTo>
                    <a:pt x="174" y="329"/>
                  </a:lnTo>
                  <a:lnTo>
                    <a:pt x="174" y="328"/>
                  </a:lnTo>
                  <a:lnTo>
                    <a:pt x="177" y="328"/>
                  </a:lnTo>
                  <a:lnTo>
                    <a:pt x="176" y="329"/>
                  </a:lnTo>
                  <a:lnTo>
                    <a:pt x="176" y="331"/>
                  </a:lnTo>
                  <a:lnTo>
                    <a:pt x="177" y="331"/>
                  </a:lnTo>
                  <a:lnTo>
                    <a:pt x="177" y="332"/>
                  </a:lnTo>
                  <a:lnTo>
                    <a:pt x="177" y="333"/>
                  </a:lnTo>
                  <a:lnTo>
                    <a:pt x="177" y="334"/>
                  </a:lnTo>
                  <a:lnTo>
                    <a:pt x="179" y="338"/>
                  </a:lnTo>
                  <a:lnTo>
                    <a:pt x="182" y="339"/>
                  </a:lnTo>
                  <a:lnTo>
                    <a:pt x="180" y="338"/>
                  </a:lnTo>
                  <a:lnTo>
                    <a:pt x="183" y="339"/>
                  </a:lnTo>
                  <a:lnTo>
                    <a:pt x="183" y="341"/>
                  </a:lnTo>
                  <a:lnTo>
                    <a:pt x="184" y="341"/>
                  </a:lnTo>
                  <a:lnTo>
                    <a:pt x="185" y="341"/>
                  </a:lnTo>
                  <a:lnTo>
                    <a:pt x="186" y="340"/>
                  </a:lnTo>
                  <a:lnTo>
                    <a:pt x="186" y="339"/>
                  </a:lnTo>
                  <a:lnTo>
                    <a:pt x="186" y="337"/>
                  </a:lnTo>
                  <a:lnTo>
                    <a:pt x="189" y="337"/>
                  </a:lnTo>
                  <a:lnTo>
                    <a:pt x="190" y="337"/>
                  </a:lnTo>
                  <a:lnTo>
                    <a:pt x="190" y="338"/>
                  </a:lnTo>
                  <a:lnTo>
                    <a:pt x="189" y="340"/>
                  </a:lnTo>
                  <a:lnTo>
                    <a:pt x="189" y="341"/>
                  </a:lnTo>
                  <a:lnTo>
                    <a:pt x="189" y="343"/>
                  </a:lnTo>
                  <a:lnTo>
                    <a:pt x="190" y="343"/>
                  </a:lnTo>
                  <a:lnTo>
                    <a:pt x="191" y="343"/>
                  </a:lnTo>
                  <a:lnTo>
                    <a:pt x="192" y="340"/>
                  </a:lnTo>
                  <a:lnTo>
                    <a:pt x="192" y="338"/>
                  </a:lnTo>
                  <a:lnTo>
                    <a:pt x="194" y="339"/>
                  </a:lnTo>
                  <a:lnTo>
                    <a:pt x="194" y="340"/>
                  </a:lnTo>
                  <a:lnTo>
                    <a:pt x="192" y="343"/>
                  </a:lnTo>
                  <a:lnTo>
                    <a:pt x="191" y="343"/>
                  </a:lnTo>
                  <a:lnTo>
                    <a:pt x="192" y="344"/>
                  </a:lnTo>
                  <a:lnTo>
                    <a:pt x="194" y="345"/>
                  </a:lnTo>
                  <a:lnTo>
                    <a:pt x="196" y="346"/>
                  </a:lnTo>
                  <a:lnTo>
                    <a:pt x="196" y="347"/>
                  </a:lnTo>
                  <a:lnTo>
                    <a:pt x="195" y="347"/>
                  </a:lnTo>
                  <a:lnTo>
                    <a:pt x="194" y="347"/>
                  </a:lnTo>
                  <a:lnTo>
                    <a:pt x="195" y="351"/>
                  </a:lnTo>
                  <a:lnTo>
                    <a:pt x="192" y="350"/>
                  </a:lnTo>
                  <a:lnTo>
                    <a:pt x="192" y="347"/>
                  </a:lnTo>
                  <a:lnTo>
                    <a:pt x="194" y="346"/>
                  </a:lnTo>
                  <a:lnTo>
                    <a:pt x="192" y="346"/>
                  </a:lnTo>
                  <a:lnTo>
                    <a:pt x="191" y="345"/>
                  </a:lnTo>
                  <a:lnTo>
                    <a:pt x="190" y="344"/>
                  </a:lnTo>
                  <a:lnTo>
                    <a:pt x="189" y="343"/>
                  </a:lnTo>
                  <a:lnTo>
                    <a:pt x="188" y="344"/>
                  </a:lnTo>
                  <a:lnTo>
                    <a:pt x="190" y="345"/>
                  </a:lnTo>
                  <a:lnTo>
                    <a:pt x="190" y="349"/>
                  </a:lnTo>
                  <a:lnTo>
                    <a:pt x="192" y="350"/>
                  </a:lnTo>
                  <a:lnTo>
                    <a:pt x="192" y="352"/>
                  </a:lnTo>
                  <a:lnTo>
                    <a:pt x="192" y="357"/>
                  </a:lnTo>
                  <a:lnTo>
                    <a:pt x="195" y="358"/>
                  </a:lnTo>
                  <a:lnTo>
                    <a:pt x="195" y="360"/>
                  </a:lnTo>
                  <a:lnTo>
                    <a:pt x="197" y="361"/>
                  </a:lnTo>
                  <a:lnTo>
                    <a:pt x="198" y="361"/>
                  </a:lnTo>
                  <a:lnTo>
                    <a:pt x="200" y="363"/>
                  </a:lnTo>
                  <a:lnTo>
                    <a:pt x="197" y="362"/>
                  </a:lnTo>
                  <a:lnTo>
                    <a:pt x="198" y="363"/>
                  </a:lnTo>
                  <a:lnTo>
                    <a:pt x="197" y="366"/>
                  </a:lnTo>
                  <a:lnTo>
                    <a:pt x="196" y="364"/>
                  </a:lnTo>
                  <a:lnTo>
                    <a:pt x="196" y="366"/>
                  </a:lnTo>
                  <a:lnTo>
                    <a:pt x="195" y="364"/>
                  </a:lnTo>
                  <a:lnTo>
                    <a:pt x="195" y="366"/>
                  </a:lnTo>
                  <a:lnTo>
                    <a:pt x="192" y="368"/>
                  </a:lnTo>
                  <a:lnTo>
                    <a:pt x="192" y="366"/>
                  </a:lnTo>
                  <a:lnTo>
                    <a:pt x="191" y="366"/>
                  </a:lnTo>
                  <a:lnTo>
                    <a:pt x="192" y="362"/>
                  </a:lnTo>
                  <a:lnTo>
                    <a:pt x="191" y="361"/>
                  </a:lnTo>
                  <a:lnTo>
                    <a:pt x="192" y="358"/>
                  </a:lnTo>
                  <a:lnTo>
                    <a:pt x="191" y="352"/>
                  </a:lnTo>
                  <a:lnTo>
                    <a:pt x="191" y="353"/>
                  </a:lnTo>
                  <a:lnTo>
                    <a:pt x="190" y="353"/>
                  </a:lnTo>
                  <a:lnTo>
                    <a:pt x="191" y="356"/>
                  </a:lnTo>
                  <a:lnTo>
                    <a:pt x="189" y="355"/>
                  </a:lnTo>
                  <a:lnTo>
                    <a:pt x="186" y="353"/>
                  </a:lnTo>
                  <a:lnTo>
                    <a:pt x="185" y="353"/>
                  </a:lnTo>
                  <a:lnTo>
                    <a:pt x="186" y="355"/>
                  </a:lnTo>
                  <a:lnTo>
                    <a:pt x="185" y="357"/>
                  </a:lnTo>
                  <a:lnTo>
                    <a:pt x="185" y="358"/>
                  </a:lnTo>
                  <a:lnTo>
                    <a:pt x="184" y="356"/>
                  </a:lnTo>
                  <a:lnTo>
                    <a:pt x="184" y="355"/>
                  </a:lnTo>
                  <a:lnTo>
                    <a:pt x="185" y="353"/>
                  </a:lnTo>
                  <a:lnTo>
                    <a:pt x="185" y="352"/>
                  </a:lnTo>
                  <a:lnTo>
                    <a:pt x="186" y="351"/>
                  </a:lnTo>
                  <a:lnTo>
                    <a:pt x="188" y="350"/>
                  </a:lnTo>
                  <a:lnTo>
                    <a:pt x="188" y="349"/>
                  </a:lnTo>
                  <a:lnTo>
                    <a:pt x="186" y="349"/>
                  </a:lnTo>
                  <a:lnTo>
                    <a:pt x="185" y="350"/>
                  </a:lnTo>
                  <a:lnTo>
                    <a:pt x="185" y="349"/>
                  </a:lnTo>
                  <a:lnTo>
                    <a:pt x="185" y="347"/>
                  </a:lnTo>
                  <a:lnTo>
                    <a:pt x="183" y="351"/>
                  </a:lnTo>
                  <a:lnTo>
                    <a:pt x="182" y="353"/>
                  </a:lnTo>
                  <a:lnTo>
                    <a:pt x="179" y="357"/>
                  </a:lnTo>
                  <a:lnTo>
                    <a:pt x="182" y="360"/>
                  </a:lnTo>
                  <a:lnTo>
                    <a:pt x="183" y="361"/>
                  </a:lnTo>
                  <a:lnTo>
                    <a:pt x="182" y="361"/>
                  </a:lnTo>
                  <a:lnTo>
                    <a:pt x="182" y="363"/>
                  </a:lnTo>
                  <a:lnTo>
                    <a:pt x="182" y="364"/>
                  </a:lnTo>
                  <a:lnTo>
                    <a:pt x="183" y="364"/>
                  </a:lnTo>
                  <a:lnTo>
                    <a:pt x="183" y="366"/>
                  </a:lnTo>
                  <a:lnTo>
                    <a:pt x="182" y="366"/>
                  </a:lnTo>
                  <a:lnTo>
                    <a:pt x="183" y="369"/>
                  </a:lnTo>
                  <a:lnTo>
                    <a:pt x="182" y="370"/>
                  </a:lnTo>
                  <a:lnTo>
                    <a:pt x="180" y="368"/>
                  </a:lnTo>
                  <a:lnTo>
                    <a:pt x="179" y="366"/>
                  </a:lnTo>
                  <a:lnTo>
                    <a:pt x="178" y="368"/>
                  </a:lnTo>
                  <a:lnTo>
                    <a:pt x="177" y="370"/>
                  </a:lnTo>
                  <a:lnTo>
                    <a:pt x="176" y="369"/>
                  </a:lnTo>
                  <a:lnTo>
                    <a:pt x="176" y="367"/>
                  </a:lnTo>
                  <a:lnTo>
                    <a:pt x="174" y="368"/>
                  </a:lnTo>
                  <a:lnTo>
                    <a:pt x="174" y="366"/>
                  </a:lnTo>
                  <a:lnTo>
                    <a:pt x="174" y="363"/>
                  </a:lnTo>
                  <a:lnTo>
                    <a:pt x="173" y="364"/>
                  </a:lnTo>
                  <a:lnTo>
                    <a:pt x="173" y="362"/>
                  </a:lnTo>
                  <a:lnTo>
                    <a:pt x="176" y="360"/>
                  </a:lnTo>
                  <a:lnTo>
                    <a:pt x="176" y="358"/>
                  </a:lnTo>
                  <a:lnTo>
                    <a:pt x="173" y="358"/>
                  </a:lnTo>
                  <a:lnTo>
                    <a:pt x="172" y="361"/>
                  </a:lnTo>
                  <a:lnTo>
                    <a:pt x="171" y="361"/>
                  </a:lnTo>
                  <a:lnTo>
                    <a:pt x="172" y="357"/>
                  </a:lnTo>
                  <a:lnTo>
                    <a:pt x="174" y="356"/>
                  </a:lnTo>
                  <a:lnTo>
                    <a:pt x="176" y="357"/>
                  </a:lnTo>
                  <a:lnTo>
                    <a:pt x="178" y="356"/>
                  </a:lnTo>
                  <a:lnTo>
                    <a:pt x="182" y="353"/>
                  </a:lnTo>
                  <a:lnTo>
                    <a:pt x="184" y="349"/>
                  </a:lnTo>
                  <a:lnTo>
                    <a:pt x="185" y="346"/>
                  </a:lnTo>
                  <a:lnTo>
                    <a:pt x="184" y="346"/>
                  </a:lnTo>
                  <a:lnTo>
                    <a:pt x="184" y="345"/>
                  </a:lnTo>
                  <a:lnTo>
                    <a:pt x="183" y="344"/>
                  </a:lnTo>
                  <a:lnTo>
                    <a:pt x="183" y="345"/>
                  </a:lnTo>
                  <a:lnTo>
                    <a:pt x="180" y="346"/>
                  </a:lnTo>
                  <a:lnTo>
                    <a:pt x="179" y="346"/>
                  </a:lnTo>
                  <a:lnTo>
                    <a:pt x="178" y="347"/>
                  </a:lnTo>
                  <a:lnTo>
                    <a:pt x="174" y="347"/>
                  </a:lnTo>
                  <a:lnTo>
                    <a:pt x="177" y="346"/>
                  </a:lnTo>
                  <a:lnTo>
                    <a:pt x="178" y="345"/>
                  </a:lnTo>
                  <a:lnTo>
                    <a:pt x="178" y="343"/>
                  </a:lnTo>
                  <a:lnTo>
                    <a:pt x="180" y="343"/>
                  </a:lnTo>
                  <a:lnTo>
                    <a:pt x="182" y="344"/>
                  </a:lnTo>
                  <a:lnTo>
                    <a:pt x="182" y="343"/>
                  </a:lnTo>
                  <a:lnTo>
                    <a:pt x="183" y="343"/>
                  </a:lnTo>
                  <a:lnTo>
                    <a:pt x="183" y="341"/>
                  </a:lnTo>
                  <a:lnTo>
                    <a:pt x="182" y="341"/>
                  </a:lnTo>
                  <a:lnTo>
                    <a:pt x="180" y="340"/>
                  </a:lnTo>
                  <a:lnTo>
                    <a:pt x="180" y="339"/>
                  </a:lnTo>
                  <a:lnTo>
                    <a:pt x="180" y="340"/>
                  </a:lnTo>
                  <a:lnTo>
                    <a:pt x="178" y="340"/>
                  </a:lnTo>
                  <a:lnTo>
                    <a:pt x="177" y="340"/>
                  </a:lnTo>
                  <a:lnTo>
                    <a:pt x="176" y="340"/>
                  </a:lnTo>
                  <a:lnTo>
                    <a:pt x="173" y="339"/>
                  </a:lnTo>
                  <a:lnTo>
                    <a:pt x="173" y="337"/>
                  </a:lnTo>
                  <a:lnTo>
                    <a:pt x="172" y="338"/>
                  </a:lnTo>
                  <a:lnTo>
                    <a:pt x="173" y="340"/>
                  </a:lnTo>
                  <a:lnTo>
                    <a:pt x="174" y="341"/>
                  </a:lnTo>
                  <a:lnTo>
                    <a:pt x="173" y="341"/>
                  </a:lnTo>
                  <a:lnTo>
                    <a:pt x="173" y="344"/>
                  </a:lnTo>
                  <a:lnTo>
                    <a:pt x="173" y="346"/>
                  </a:lnTo>
                  <a:lnTo>
                    <a:pt x="172" y="345"/>
                  </a:lnTo>
                  <a:lnTo>
                    <a:pt x="172" y="346"/>
                  </a:lnTo>
                  <a:lnTo>
                    <a:pt x="172" y="349"/>
                  </a:lnTo>
                  <a:lnTo>
                    <a:pt x="171" y="346"/>
                  </a:lnTo>
                  <a:lnTo>
                    <a:pt x="170" y="346"/>
                  </a:lnTo>
                  <a:lnTo>
                    <a:pt x="168" y="345"/>
                  </a:lnTo>
                  <a:lnTo>
                    <a:pt x="168" y="347"/>
                  </a:lnTo>
                  <a:lnTo>
                    <a:pt x="168" y="350"/>
                  </a:lnTo>
                  <a:lnTo>
                    <a:pt x="167" y="347"/>
                  </a:lnTo>
                  <a:lnTo>
                    <a:pt x="166" y="347"/>
                  </a:lnTo>
                  <a:lnTo>
                    <a:pt x="165" y="349"/>
                  </a:lnTo>
                  <a:lnTo>
                    <a:pt x="165" y="346"/>
                  </a:lnTo>
                  <a:lnTo>
                    <a:pt x="165" y="344"/>
                  </a:lnTo>
                  <a:lnTo>
                    <a:pt x="166" y="341"/>
                  </a:lnTo>
                  <a:lnTo>
                    <a:pt x="166" y="340"/>
                  </a:lnTo>
                  <a:lnTo>
                    <a:pt x="165" y="339"/>
                  </a:lnTo>
                  <a:lnTo>
                    <a:pt x="164" y="340"/>
                  </a:lnTo>
                  <a:lnTo>
                    <a:pt x="162" y="339"/>
                  </a:lnTo>
                  <a:lnTo>
                    <a:pt x="161" y="339"/>
                  </a:lnTo>
                  <a:lnTo>
                    <a:pt x="161" y="340"/>
                  </a:lnTo>
                  <a:lnTo>
                    <a:pt x="162" y="341"/>
                  </a:lnTo>
                  <a:lnTo>
                    <a:pt x="162" y="344"/>
                  </a:lnTo>
                  <a:lnTo>
                    <a:pt x="161" y="345"/>
                  </a:lnTo>
                  <a:lnTo>
                    <a:pt x="160" y="343"/>
                  </a:lnTo>
                  <a:lnTo>
                    <a:pt x="159" y="341"/>
                  </a:lnTo>
                  <a:lnTo>
                    <a:pt x="157" y="341"/>
                  </a:lnTo>
                  <a:lnTo>
                    <a:pt x="157" y="344"/>
                  </a:lnTo>
                  <a:lnTo>
                    <a:pt x="159" y="345"/>
                  </a:lnTo>
                  <a:lnTo>
                    <a:pt x="160" y="347"/>
                  </a:lnTo>
                  <a:lnTo>
                    <a:pt x="160" y="351"/>
                  </a:lnTo>
                  <a:lnTo>
                    <a:pt x="159" y="349"/>
                  </a:lnTo>
                  <a:lnTo>
                    <a:pt x="157" y="346"/>
                  </a:lnTo>
                  <a:lnTo>
                    <a:pt x="156" y="346"/>
                  </a:lnTo>
                  <a:lnTo>
                    <a:pt x="155" y="347"/>
                  </a:lnTo>
                  <a:lnTo>
                    <a:pt x="155" y="346"/>
                  </a:lnTo>
                  <a:lnTo>
                    <a:pt x="154" y="347"/>
                  </a:lnTo>
                  <a:lnTo>
                    <a:pt x="153" y="350"/>
                  </a:lnTo>
                  <a:lnTo>
                    <a:pt x="154" y="351"/>
                  </a:lnTo>
                  <a:lnTo>
                    <a:pt x="155" y="351"/>
                  </a:lnTo>
                  <a:lnTo>
                    <a:pt x="156" y="351"/>
                  </a:lnTo>
                  <a:lnTo>
                    <a:pt x="157" y="352"/>
                  </a:lnTo>
                  <a:lnTo>
                    <a:pt x="156" y="352"/>
                  </a:lnTo>
                  <a:lnTo>
                    <a:pt x="155" y="352"/>
                  </a:lnTo>
                  <a:lnTo>
                    <a:pt x="154" y="352"/>
                  </a:lnTo>
                  <a:lnTo>
                    <a:pt x="154" y="353"/>
                  </a:lnTo>
                  <a:lnTo>
                    <a:pt x="154" y="355"/>
                  </a:lnTo>
                  <a:lnTo>
                    <a:pt x="154" y="356"/>
                  </a:lnTo>
                  <a:lnTo>
                    <a:pt x="153" y="356"/>
                  </a:lnTo>
                  <a:lnTo>
                    <a:pt x="153" y="355"/>
                  </a:lnTo>
                  <a:lnTo>
                    <a:pt x="153" y="352"/>
                  </a:lnTo>
                  <a:lnTo>
                    <a:pt x="153" y="351"/>
                  </a:lnTo>
                  <a:lnTo>
                    <a:pt x="151" y="352"/>
                  </a:lnTo>
                  <a:lnTo>
                    <a:pt x="151" y="355"/>
                  </a:lnTo>
                  <a:lnTo>
                    <a:pt x="151" y="352"/>
                  </a:lnTo>
                  <a:lnTo>
                    <a:pt x="150" y="353"/>
                  </a:lnTo>
                  <a:lnTo>
                    <a:pt x="149" y="352"/>
                  </a:lnTo>
                  <a:lnTo>
                    <a:pt x="149" y="351"/>
                  </a:lnTo>
                  <a:lnTo>
                    <a:pt x="149" y="350"/>
                  </a:lnTo>
                  <a:lnTo>
                    <a:pt x="149" y="351"/>
                  </a:lnTo>
                  <a:lnTo>
                    <a:pt x="148" y="351"/>
                  </a:lnTo>
                  <a:lnTo>
                    <a:pt x="148" y="352"/>
                  </a:lnTo>
                  <a:lnTo>
                    <a:pt x="148" y="355"/>
                  </a:lnTo>
                  <a:lnTo>
                    <a:pt x="145" y="357"/>
                  </a:lnTo>
                  <a:lnTo>
                    <a:pt x="147" y="355"/>
                  </a:lnTo>
                  <a:lnTo>
                    <a:pt x="148" y="352"/>
                  </a:lnTo>
                  <a:lnTo>
                    <a:pt x="147" y="351"/>
                  </a:lnTo>
                  <a:lnTo>
                    <a:pt x="145" y="352"/>
                  </a:lnTo>
                  <a:lnTo>
                    <a:pt x="144" y="352"/>
                  </a:lnTo>
                  <a:lnTo>
                    <a:pt x="142" y="352"/>
                  </a:lnTo>
                  <a:lnTo>
                    <a:pt x="142" y="353"/>
                  </a:lnTo>
                  <a:lnTo>
                    <a:pt x="144" y="356"/>
                  </a:lnTo>
                  <a:lnTo>
                    <a:pt x="143" y="357"/>
                  </a:lnTo>
                  <a:lnTo>
                    <a:pt x="142" y="358"/>
                  </a:lnTo>
                  <a:lnTo>
                    <a:pt x="141" y="357"/>
                  </a:lnTo>
                  <a:lnTo>
                    <a:pt x="141" y="358"/>
                  </a:lnTo>
                  <a:lnTo>
                    <a:pt x="139" y="360"/>
                  </a:lnTo>
                  <a:lnTo>
                    <a:pt x="139" y="361"/>
                  </a:lnTo>
                  <a:lnTo>
                    <a:pt x="138" y="361"/>
                  </a:lnTo>
                  <a:lnTo>
                    <a:pt x="137" y="358"/>
                  </a:lnTo>
                  <a:lnTo>
                    <a:pt x="135" y="358"/>
                  </a:lnTo>
                  <a:lnTo>
                    <a:pt x="136" y="356"/>
                  </a:lnTo>
                  <a:lnTo>
                    <a:pt x="136" y="353"/>
                  </a:lnTo>
                  <a:lnTo>
                    <a:pt x="137" y="353"/>
                  </a:lnTo>
                  <a:lnTo>
                    <a:pt x="136" y="352"/>
                  </a:lnTo>
                  <a:lnTo>
                    <a:pt x="135" y="352"/>
                  </a:lnTo>
                  <a:lnTo>
                    <a:pt x="136" y="351"/>
                  </a:lnTo>
                  <a:lnTo>
                    <a:pt x="137" y="350"/>
                  </a:lnTo>
                  <a:lnTo>
                    <a:pt x="137" y="349"/>
                  </a:lnTo>
                  <a:lnTo>
                    <a:pt x="136" y="349"/>
                  </a:lnTo>
                  <a:lnTo>
                    <a:pt x="136" y="350"/>
                  </a:lnTo>
                  <a:lnTo>
                    <a:pt x="135" y="351"/>
                  </a:lnTo>
                  <a:lnTo>
                    <a:pt x="133" y="352"/>
                  </a:lnTo>
                  <a:lnTo>
                    <a:pt x="132" y="351"/>
                  </a:lnTo>
                  <a:lnTo>
                    <a:pt x="131" y="350"/>
                  </a:lnTo>
                  <a:lnTo>
                    <a:pt x="132" y="349"/>
                  </a:lnTo>
                  <a:lnTo>
                    <a:pt x="132" y="346"/>
                  </a:lnTo>
                  <a:lnTo>
                    <a:pt x="131" y="347"/>
                  </a:lnTo>
                  <a:lnTo>
                    <a:pt x="130" y="346"/>
                  </a:lnTo>
                  <a:lnTo>
                    <a:pt x="130" y="345"/>
                  </a:lnTo>
                  <a:lnTo>
                    <a:pt x="130" y="346"/>
                  </a:lnTo>
                  <a:lnTo>
                    <a:pt x="129" y="346"/>
                  </a:lnTo>
                  <a:lnTo>
                    <a:pt x="127" y="346"/>
                  </a:lnTo>
                  <a:lnTo>
                    <a:pt x="129" y="347"/>
                  </a:lnTo>
                  <a:lnTo>
                    <a:pt x="130" y="347"/>
                  </a:lnTo>
                  <a:lnTo>
                    <a:pt x="131" y="349"/>
                  </a:lnTo>
                  <a:lnTo>
                    <a:pt x="130" y="349"/>
                  </a:lnTo>
                  <a:lnTo>
                    <a:pt x="129" y="350"/>
                  </a:lnTo>
                  <a:lnTo>
                    <a:pt x="129" y="351"/>
                  </a:lnTo>
                  <a:lnTo>
                    <a:pt x="127" y="349"/>
                  </a:lnTo>
                  <a:lnTo>
                    <a:pt x="126" y="349"/>
                  </a:lnTo>
                  <a:lnTo>
                    <a:pt x="127" y="347"/>
                  </a:lnTo>
                  <a:lnTo>
                    <a:pt x="126" y="347"/>
                  </a:lnTo>
                  <a:lnTo>
                    <a:pt x="125" y="349"/>
                  </a:lnTo>
                  <a:lnTo>
                    <a:pt x="125" y="347"/>
                  </a:lnTo>
                  <a:lnTo>
                    <a:pt x="125" y="346"/>
                  </a:lnTo>
                  <a:lnTo>
                    <a:pt x="127" y="345"/>
                  </a:lnTo>
                  <a:lnTo>
                    <a:pt x="126" y="345"/>
                  </a:lnTo>
                  <a:lnTo>
                    <a:pt x="127" y="344"/>
                  </a:lnTo>
                  <a:lnTo>
                    <a:pt x="129" y="344"/>
                  </a:lnTo>
                  <a:lnTo>
                    <a:pt x="129" y="343"/>
                  </a:lnTo>
                  <a:lnTo>
                    <a:pt x="131" y="343"/>
                  </a:lnTo>
                  <a:lnTo>
                    <a:pt x="132" y="341"/>
                  </a:lnTo>
                  <a:lnTo>
                    <a:pt x="132" y="340"/>
                  </a:lnTo>
                  <a:lnTo>
                    <a:pt x="132" y="341"/>
                  </a:lnTo>
                  <a:lnTo>
                    <a:pt x="131" y="341"/>
                  </a:lnTo>
                  <a:lnTo>
                    <a:pt x="130" y="341"/>
                  </a:lnTo>
                  <a:lnTo>
                    <a:pt x="129" y="341"/>
                  </a:lnTo>
                  <a:lnTo>
                    <a:pt x="130" y="340"/>
                  </a:lnTo>
                  <a:lnTo>
                    <a:pt x="131" y="339"/>
                  </a:lnTo>
                  <a:lnTo>
                    <a:pt x="130" y="338"/>
                  </a:lnTo>
                  <a:lnTo>
                    <a:pt x="127" y="340"/>
                  </a:lnTo>
                  <a:lnTo>
                    <a:pt x="127" y="339"/>
                  </a:lnTo>
                  <a:lnTo>
                    <a:pt x="129" y="338"/>
                  </a:lnTo>
                  <a:lnTo>
                    <a:pt x="129" y="337"/>
                  </a:lnTo>
                  <a:lnTo>
                    <a:pt x="127" y="338"/>
                  </a:lnTo>
                  <a:lnTo>
                    <a:pt x="126" y="339"/>
                  </a:lnTo>
                  <a:lnTo>
                    <a:pt x="124" y="339"/>
                  </a:lnTo>
                  <a:lnTo>
                    <a:pt x="124" y="338"/>
                  </a:lnTo>
                  <a:lnTo>
                    <a:pt x="123" y="338"/>
                  </a:lnTo>
                  <a:lnTo>
                    <a:pt x="123" y="340"/>
                  </a:lnTo>
                  <a:lnTo>
                    <a:pt x="121" y="338"/>
                  </a:lnTo>
                  <a:lnTo>
                    <a:pt x="120" y="338"/>
                  </a:lnTo>
                  <a:lnTo>
                    <a:pt x="119" y="339"/>
                  </a:lnTo>
                  <a:lnTo>
                    <a:pt x="118" y="338"/>
                  </a:lnTo>
                  <a:lnTo>
                    <a:pt x="117" y="337"/>
                  </a:lnTo>
                  <a:lnTo>
                    <a:pt x="117" y="335"/>
                  </a:lnTo>
                  <a:lnTo>
                    <a:pt x="118" y="334"/>
                  </a:lnTo>
                  <a:lnTo>
                    <a:pt x="117" y="334"/>
                  </a:lnTo>
                  <a:lnTo>
                    <a:pt x="115" y="335"/>
                  </a:lnTo>
                  <a:lnTo>
                    <a:pt x="114" y="337"/>
                  </a:lnTo>
                  <a:lnTo>
                    <a:pt x="114" y="339"/>
                  </a:lnTo>
                  <a:lnTo>
                    <a:pt x="115" y="340"/>
                  </a:lnTo>
                  <a:lnTo>
                    <a:pt x="117" y="341"/>
                  </a:lnTo>
                  <a:lnTo>
                    <a:pt x="118" y="343"/>
                  </a:lnTo>
                  <a:lnTo>
                    <a:pt x="119" y="343"/>
                  </a:lnTo>
                  <a:lnTo>
                    <a:pt x="119" y="344"/>
                  </a:lnTo>
                  <a:lnTo>
                    <a:pt x="118" y="344"/>
                  </a:lnTo>
                  <a:lnTo>
                    <a:pt x="117" y="345"/>
                  </a:lnTo>
                  <a:lnTo>
                    <a:pt x="119" y="345"/>
                  </a:lnTo>
                  <a:lnTo>
                    <a:pt x="121" y="347"/>
                  </a:lnTo>
                  <a:lnTo>
                    <a:pt x="119" y="347"/>
                  </a:lnTo>
                  <a:lnTo>
                    <a:pt x="118" y="346"/>
                  </a:lnTo>
                  <a:lnTo>
                    <a:pt x="118" y="347"/>
                  </a:lnTo>
                  <a:lnTo>
                    <a:pt x="117" y="347"/>
                  </a:lnTo>
                  <a:lnTo>
                    <a:pt x="113" y="346"/>
                  </a:lnTo>
                  <a:lnTo>
                    <a:pt x="112" y="347"/>
                  </a:lnTo>
                  <a:lnTo>
                    <a:pt x="112" y="350"/>
                  </a:lnTo>
                  <a:lnTo>
                    <a:pt x="111" y="349"/>
                  </a:lnTo>
                  <a:lnTo>
                    <a:pt x="109" y="346"/>
                  </a:lnTo>
                  <a:lnTo>
                    <a:pt x="109" y="345"/>
                  </a:lnTo>
                  <a:lnTo>
                    <a:pt x="108" y="346"/>
                  </a:lnTo>
                  <a:lnTo>
                    <a:pt x="108" y="347"/>
                  </a:lnTo>
                  <a:lnTo>
                    <a:pt x="109" y="349"/>
                  </a:lnTo>
                  <a:lnTo>
                    <a:pt x="107" y="347"/>
                  </a:lnTo>
                  <a:lnTo>
                    <a:pt x="106" y="347"/>
                  </a:lnTo>
                  <a:lnTo>
                    <a:pt x="107" y="349"/>
                  </a:lnTo>
                  <a:lnTo>
                    <a:pt x="107" y="350"/>
                  </a:lnTo>
                  <a:lnTo>
                    <a:pt x="107" y="351"/>
                  </a:lnTo>
                  <a:lnTo>
                    <a:pt x="108" y="352"/>
                  </a:lnTo>
                  <a:lnTo>
                    <a:pt x="109" y="352"/>
                  </a:lnTo>
                  <a:lnTo>
                    <a:pt x="109" y="355"/>
                  </a:lnTo>
                  <a:lnTo>
                    <a:pt x="109" y="356"/>
                  </a:lnTo>
                  <a:lnTo>
                    <a:pt x="111" y="355"/>
                  </a:lnTo>
                  <a:lnTo>
                    <a:pt x="111" y="352"/>
                  </a:lnTo>
                  <a:lnTo>
                    <a:pt x="112" y="352"/>
                  </a:lnTo>
                  <a:lnTo>
                    <a:pt x="112" y="355"/>
                  </a:lnTo>
                  <a:lnTo>
                    <a:pt x="113" y="357"/>
                  </a:lnTo>
                  <a:lnTo>
                    <a:pt x="112" y="360"/>
                  </a:lnTo>
                  <a:lnTo>
                    <a:pt x="111" y="357"/>
                  </a:lnTo>
                  <a:lnTo>
                    <a:pt x="111" y="356"/>
                  </a:lnTo>
                  <a:lnTo>
                    <a:pt x="111" y="358"/>
                  </a:lnTo>
                  <a:lnTo>
                    <a:pt x="109" y="360"/>
                  </a:lnTo>
                  <a:lnTo>
                    <a:pt x="108" y="358"/>
                  </a:lnTo>
                  <a:lnTo>
                    <a:pt x="107" y="357"/>
                  </a:lnTo>
                  <a:lnTo>
                    <a:pt x="108" y="357"/>
                  </a:lnTo>
                  <a:lnTo>
                    <a:pt x="109" y="356"/>
                  </a:lnTo>
                  <a:lnTo>
                    <a:pt x="107" y="356"/>
                  </a:lnTo>
                  <a:lnTo>
                    <a:pt x="106" y="355"/>
                  </a:lnTo>
                  <a:lnTo>
                    <a:pt x="105" y="353"/>
                  </a:lnTo>
                  <a:lnTo>
                    <a:pt x="102" y="355"/>
                  </a:lnTo>
                  <a:lnTo>
                    <a:pt x="103" y="353"/>
                  </a:lnTo>
                  <a:lnTo>
                    <a:pt x="105" y="352"/>
                  </a:lnTo>
                  <a:lnTo>
                    <a:pt x="106" y="351"/>
                  </a:lnTo>
                  <a:lnTo>
                    <a:pt x="105" y="351"/>
                  </a:lnTo>
                  <a:lnTo>
                    <a:pt x="105" y="350"/>
                  </a:lnTo>
                  <a:lnTo>
                    <a:pt x="105" y="349"/>
                  </a:lnTo>
                  <a:lnTo>
                    <a:pt x="105" y="347"/>
                  </a:lnTo>
                  <a:lnTo>
                    <a:pt x="103" y="346"/>
                  </a:lnTo>
                  <a:lnTo>
                    <a:pt x="103" y="347"/>
                  </a:lnTo>
                  <a:lnTo>
                    <a:pt x="102" y="349"/>
                  </a:lnTo>
                  <a:lnTo>
                    <a:pt x="102" y="350"/>
                  </a:lnTo>
                  <a:lnTo>
                    <a:pt x="102" y="351"/>
                  </a:lnTo>
                  <a:lnTo>
                    <a:pt x="100" y="350"/>
                  </a:lnTo>
                  <a:lnTo>
                    <a:pt x="100" y="347"/>
                  </a:lnTo>
                  <a:lnTo>
                    <a:pt x="98" y="346"/>
                  </a:lnTo>
                  <a:lnTo>
                    <a:pt x="98" y="345"/>
                  </a:lnTo>
                  <a:lnTo>
                    <a:pt x="100" y="344"/>
                  </a:lnTo>
                  <a:lnTo>
                    <a:pt x="98" y="343"/>
                  </a:lnTo>
                  <a:lnTo>
                    <a:pt x="98" y="344"/>
                  </a:lnTo>
                  <a:lnTo>
                    <a:pt x="98" y="343"/>
                  </a:lnTo>
                  <a:lnTo>
                    <a:pt x="97" y="343"/>
                  </a:lnTo>
                  <a:lnTo>
                    <a:pt x="96" y="341"/>
                  </a:lnTo>
                  <a:lnTo>
                    <a:pt x="95" y="341"/>
                  </a:lnTo>
                  <a:lnTo>
                    <a:pt x="95" y="339"/>
                  </a:lnTo>
                  <a:lnTo>
                    <a:pt x="95" y="341"/>
                  </a:lnTo>
                  <a:lnTo>
                    <a:pt x="95" y="343"/>
                  </a:lnTo>
                  <a:lnTo>
                    <a:pt x="97" y="343"/>
                  </a:lnTo>
                  <a:lnTo>
                    <a:pt x="96" y="344"/>
                  </a:lnTo>
                  <a:lnTo>
                    <a:pt x="96" y="345"/>
                  </a:lnTo>
                  <a:lnTo>
                    <a:pt x="95" y="345"/>
                  </a:lnTo>
                  <a:lnTo>
                    <a:pt x="95" y="347"/>
                  </a:lnTo>
                  <a:lnTo>
                    <a:pt x="96" y="346"/>
                  </a:lnTo>
                  <a:lnTo>
                    <a:pt x="97" y="346"/>
                  </a:lnTo>
                  <a:lnTo>
                    <a:pt x="97" y="349"/>
                  </a:lnTo>
                  <a:lnTo>
                    <a:pt x="97" y="350"/>
                  </a:lnTo>
                  <a:lnTo>
                    <a:pt x="96" y="350"/>
                  </a:lnTo>
                  <a:lnTo>
                    <a:pt x="95" y="351"/>
                  </a:lnTo>
                  <a:lnTo>
                    <a:pt x="94" y="351"/>
                  </a:lnTo>
                  <a:lnTo>
                    <a:pt x="94" y="349"/>
                  </a:lnTo>
                  <a:lnTo>
                    <a:pt x="92" y="347"/>
                  </a:lnTo>
                  <a:lnTo>
                    <a:pt x="92" y="350"/>
                  </a:lnTo>
                  <a:lnTo>
                    <a:pt x="92" y="352"/>
                  </a:lnTo>
                  <a:lnTo>
                    <a:pt x="92" y="350"/>
                  </a:lnTo>
                  <a:lnTo>
                    <a:pt x="91" y="351"/>
                  </a:lnTo>
                  <a:lnTo>
                    <a:pt x="90" y="352"/>
                  </a:lnTo>
                  <a:lnTo>
                    <a:pt x="90" y="350"/>
                  </a:lnTo>
                  <a:lnTo>
                    <a:pt x="89" y="349"/>
                  </a:lnTo>
                  <a:lnTo>
                    <a:pt x="89" y="350"/>
                  </a:lnTo>
                  <a:lnTo>
                    <a:pt x="89" y="351"/>
                  </a:lnTo>
                  <a:lnTo>
                    <a:pt x="88" y="353"/>
                  </a:lnTo>
                  <a:lnTo>
                    <a:pt x="86" y="355"/>
                  </a:lnTo>
                  <a:lnTo>
                    <a:pt x="86" y="352"/>
                  </a:lnTo>
                  <a:lnTo>
                    <a:pt x="85" y="352"/>
                  </a:lnTo>
                  <a:lnTo>
                    <a:pt x="84" y="353"/>
                  </a:lnTo>
                  <a:lnTo>
                    <a:pt x="85" y="356"/>
                  </a:lnTo>
                  <a:lnTo>
                    <a:pt x="88" y="356"/>
                  </a:lnTo>
                  <a:lnTo>
                    <a:pt x="88" y="357"/>
                  </a:lnTo>
                  <a:lnTo>
                    <a:pt x="89" y="357"/>
                  </a:lnTo>
                  <a:lnTo>
                    <a:pt x="89" y="355"/>
                  </a:lnTo>
                  <a:lnTo>
                    <a:pt x="90" y="352"/>
                  </a:lnTo>
                  <a:lnTo>
                    <a:pt x="90" y="353"/>
                  </a:lnTo>
                  <a:lnTo>
                    <a:pt x="92" y="355"/>
                  </a:lnTo>
                  <a:lnTo>
                    <a:pt x="91" y="356"/>
                  </a:lnTo>
                  <a:lnTo>
                    <a:pt x="90" y="357"/>
                  </a:lnTo>
                  <a:lnTo>
                    <a:pt x="91" y="358"/>
                  </a:lnTo>
                  <a:lnTo>
                    <a:pt x="90" y="358"/>
                  </a:lnTo>
                  <a:lnTo>
                    <a:pt x="89" y="357"/>
                  </a:lnTo>
                  <a:lnTo>
                    <a:pt x="86" y="357"/>
                  </a:lnTo>
                  <a:lnTo>
                    <a:pt x="88" y="358"/>
                  </a:lnTo>
                  <a:lnTo>
                    <a:pt x="86" y="360"/>
                  </a:lnTo>
                  <a:lnTo>
                    <a:pt x="86" y="361"/>
                  </a:lnTo>
                  <a:lnTo>
                    <a:pt x="85" y="360"/>
                  </a:lnTo>
                  <a:lnTo>
                    <a:pt x="84" y="357"/>
                  </a:lnTo>
                  <a:lnTo>
                    <a:pt x="83" y="357"/>
                  </a:lnTo>
                  <a:lnTo>
                    <a:pt x="82" y="358"/>
                  </a:lnTo>
                  <a:lnTo>
                    <a:pt x="82" y="356"/>
                  </a:lnTo>
                  <a:lnTo>
                    <a:pt x="80" y="358"/>
                  </a:lnTo>
                  <a:lnTo>
                    <a:pt x="80" y="360"/>
                  </a:lnTo>
                  <a:lnTo>
                    <a:pt x="79" y="358"/>
                  </a:lnTo>
                  <a:lnTo>
                    <a:pt x="77" y="361"/>
                  </a:lnTo>
                  <a:lnTo>
                    <a:pt x="77" y="362"/>
                  </a:lnTo>
                  <a:lnTo>
                    <a:pt x="76" y="361"/>
                  </a:lnTo>
                  <a:lnTo>
                    <a:pt x="74" y="360"/>
                  </a:lnTo>
                  <a:lnTo>
                    <a:pt x="72" y="362"/>
                  </a:lnTo>
                  <a:lnTo>
                    <a:pt x="72" y="363"/>
                  </a:lnTo>
                  <a:lnTo>
                    <a:pt x="71" y="361"/>
                  </a:lnTo>
                  <a:lnTo>
                    <a:pt x="70" y="360"/>
                  </a:lnTo>
                  <a:lnTo>
                    <a:pt x="70" y="358"/>
                  </a:lnTo>
                  <a:lnTo>
                    <a:pt x="68" y="360"/>
                  </a:lnTo>
                  <a:lnTo>
                    <a:pt x="68" y="357"/>
                  </a:lnTo>
                  <a:lnTo>
                    <a:pt x="71" y="355"/>
                  </a:lnTo>
                  <a:lnTo>
                    <a:pt x="72" y="355"/>
                  </a:lnTo>
                  <a:lnTo>
                    <a:pt x="74" y="355"/>
                  </a:lnTo>
                  <a:lnTo>
                    <a:pt x="74" y="353"/>
                  </a:lnTo>
                  <a:lnTo>
                    <a:pt x="73" y="353"/>
                  </a:lnTo>
                  <a:lnTo>
                    <a:pt x="71" y="353"/>
                  </a:lnTo>
                  <a:lnTo>
                    <a:pt x="68" y="352"/>
                  </a:lnTo>
                  <a:lnTo>
                    <a:pt x="67" y="353"/>
                  </a:lnTo>
                  <a:lnTo>
                    <a:pt x="65" y="355"/>
                  </a:lnTo>
                  <a:lnTo>
                    <a:pt x="64" y="357"/>
                  </a:lnTo>
                  <a:lnTo>
                    <a:pt x="62" y="355"/>
                  </a:lnTo>
                  <a:lnTo>
                    <a:pt x="64" y="353"/>
                  </a:lnTo>
                  <a:lnTo>
                    <a:pt x="65" y="351"/>
                  </a:lnTo>
                  <a:lnTo>
                    <a:pt x="67" y="351"/>
                  </a:lnTo>
                  <a:lnTo>
                    <a:pt x="68" y="351"/>
                  </a:lnTo>
                  <a:lnTo>
                    <a:pt x="70" y="350"/>
                  </a:lnTo>
                  <a:lnTo>
                    <a:pt x="67" y="349"/>
                  </a:lnTo>
                  <a:lnTo>
                    <a:pt x="65" y="350"/>
                  </a:lnTo>
                  <a:lnTo>
                    <a:pt x="64" y="350"/>
                  </a:lnTo>
                  <a:lnTo>
                    <a:pt x="62" y="351"/>
                  </a:lnTo>
                  <a:lnTo>
                    <a:pt x="61" y="351"/>
                  </a:lnTo>
                  <a:lnTo>
                    <a:pt x="62" y="350"/>
                  </a:lnTo>
                  <a:lnTo>
                    <a:pt x="61" y="351"/>
                  </a:lnTo>
                  <a:lnTo>
                    <a:pt x="60" y="351"/>
                  </a:lnTo>
                  <a:lnTo>
                    <a:pt x="60" y="350"/>
                  </a:lnTo>
                  <a:lnTo>
                    <a:pt x="62" y="347"/>
                  </a:lnTo>
                  <a:lnTo>
                    <a:pt x="66" y="347"/>
                  </a:lnTo>
                  <a:lnTo>
                    <a:pt x="67" y="349"/>
                  </a:lnTo>
                  <a:lnTo>
                    <a:pt x="70" y="350"/>
                  </a:lnTo>
                  <a:lnTo>
                    <a:pt x="71" y="350"/>
                  </a:lnTo>
                  <a:lnTo>
                    <a:pt x="73" y="349"/>
                  </a:lnTo>
                  <a:lnTo>
                    <a:pt x="76" y="347"/>
                  </a:lnTo>
                  <a:lnTo>
                    <a:pt x="77" y="347"/>
                  </a:lnTo>
                  <a:lnTo>
                    <a:pt x="76" y="347"/>
                  </a:lnTo>
                  <a:lnTo>
                    <a:pt x="74" y="346"/>
                  </a:lnTo>
                  <a:lnTo>
                    <a:pt x="72" y="347"/>
                  </a:lnTo>
                  <a:lnTo>
                    <a:pt x="71" y="349"/>
                  </a:lnTo>
                  <a:lnTo>
                    <a:pt x="68" y="347"/>
                  </a:lnTo>
                  <a:lnTo>
                    <a:pt x="68" y="346"/>
                  </a:lnTo>
                  <a:lnTo>
                    <a:pt x="67" y="346"/>
                  </a:lnTo>
                  <a:lnTo>
                    <a:pt x="68" y="345"/>
                  </a:lnTo>
                  <a:lnTo>
                    <a:pt x="67" y="345"/>
                  </a:lnTo>
                  <a:lnTo>
                    <a:pt x="65" y="346"/>
                  </a:lnTo>
                  <a:lnTo>
                    <a:pt x="62" y="345"/>
                  </a:lnTo>
                  <a:lnTo>
                    <a:pt x="60" y="346"/>
                  </a:lnTo>
                  <a:lnTo>
                    <a:pt x="60" y="345"/>
                  </a:lnTo>
                  <a:lnTo>
                    <a:pt x="61" y="344"/>
                  </a:lnTo>
                  <a:lnTo>
                    <a:pt x="60" y="343"/>
                  </a:lnTo>
                  <a:lnTo>
                    <a:pt x="59" y="343"/>
                  </a:lnTo>
                  <a:lnTo>
                    <a:pt x="59" y="340"/>
                  </a:lnTo>
                  <a:lnTo>
                    <a:pt x="58" y="340"/>
                  </a:lnTo>
                  <a:lnTo>
                    <a:pt x="56" y="340"/>
                  </a:lnTo>
                  <a:lnTo>
                    <a:pt x="55" y="341"/>
                  </a:lnTo>
                  <a:lnTo>
                    <a:pt x="55" y="340"/>
                  </a:lnTo>
                  <a:lnTo>
                    <a:pt x="54" y="341"/>
                  </a:lnTo>
                  <a:lnTo>
                    <a:pt x="52" y="344"/>
                  </a:lnTo>
                  <a:lnTo>
                    <a:pt x="50" y="347"/>
                  </a:lnTo>
                  <a:lnTo>
                    <a:pt x="49" y="350"/>
                  </a:lnTo>
                  <a:lnTo>
                    <a:pt x="48" y="346"/>
                  </a:lnTo>
                  <a:lnTo>
                    <a:pt x="47" y="346"/>
                  </a:lnTo>
                  <a:lnTo>
                    <a:pt x="46" y="346"/>
                  </a:lnTo>
                  <a:lnTo>
                    <a:pt x="47" y="347"/>
                  </a:lnTo>
                  <a:lnTo>
                    <a:pt x="46" y="349"/>
                  </a:lnTo>
                  <a:lnTo>
                    <a:pt x="46" y="350"/>
                  </a:lnTo>
                  <a:lnTo>
                    <a:pt x="44" y="351"/>
                  </a:lnTo>
                  <a:lnTo>
                    <a:pt x="47" y="350"/>
                  </a:lnTo>
                  <a:lnTo>
                    <a:pt x="48" y="352"/>
                  </a:lnTo>
                  <a:lnTo>
                    <a:pt x="47" y="355"/>
                  </a:lnTo>
                  <a:lnTo>
                    <a:pt x="46" y="353"/>
                  </a:lnTo>
                  <a:lnTo>
                    <a:pt x="43" y="353"/>
                  </a:lnTo>
                  <a:lnTo>
                    <a:pt x="43" y="352"/>
                  </a:lnTo>
                  <a:lnTo>
                    <a:pt x="42" y="352"/>
                  </a:lnTo>
                  <a:lnTo>
                    <a:pt x="42" y="355"/>
                  </a:lnTo>
                  <a:lnTo>
                    <a:pt x="41" y="353"/>
                  </a:lnTo>
                  <a:lnTo>
                    <a:pt x="41" y="352"/>
                  </a:lnTo>
                  <a:lnTo>
                    <a:pt x="39" y="353"/>
                  </a:lnTo>
                  <a:lnTo>
                    <a:pt x="39" y="355"/>
                  </a:lnTo>
                  <a:lnTo>
                    <a:pt x="37" y="355"/>
                  </a:lnTo>
                  <a:lnTo>
                    <a:pt x="36" y="355"/>
                  </a:lnTo>
                  <a:lnTo>
                    <a:pt x="35" y="357"/>
                  </a:lnTo>
                  <a:lnTo>
                    <a:pt x="33" y="358"/>
                  </a:lnTo>
                  <a:lnTo>
                    <a:pt x="32" y="357"/>
                  </a:lnTo>
                  <a:lnTo>
                    <a:pt x="31" y="357"/>
                  </a:lnTo>
                  <a:lnTo>
                    <a:pt x="30" y="356"/>
                  </a:lnTo>
                  <a:lnTo>
                    <a:pt x="26" y="357"/>
                  </a:lnTo>
                  <a:lnTo>
                    <a:pt x="25" y="358"/>
                  </a:lnTo>
                  <a:lnTo>
                    <a:pt x="24" y="360"/>
                  </a:lnTo>
                  <a:lnTo>
                    <a:pt x="23" y="361"/>
                  </a:lnTo>
                  <a:lnTo>
                    <a:pt x="23" y="363"/>
                  </a:lnTo>
                  <a:lnTo>
                    <a:pt x="21" y="362"/>
                  </a:lnTo>
                  <a:lnTo>
                    <a:pt x="21" y="361"/>
                  </a:lnTo>
                  <a:lnTo>
                    <a:pt x="21" y="360"/>
                  </a:lnTo>
                  <a:lnTo>
                    <a:pt x="19" y="361"/>
                  </a:lnTo>
                  <a:lnTo>
                    <a:pt x="19" y="360"/>
                  </a:lnTo>
                  <a:lnTo>
                    <a:pt x="20" y="358"/>
                  </a:lnTo>
                  <a:lnTo>
                    <a:pt x="19" y="360"/>
                  </a:lnTo>
                  <a:lnTo>
                    <a:pt x="19" y="357"/>
                  </a:lnTo>
                  <a:lnTo>
                    <a:pt x="18" y="358"/>
                  </a:lnTo>
                  <a:lnTo>
                    <a:pt x="15" y="358"/>
                  </a:lnTo>
                  <a:lnTo>
                    <a:pt x="13" y="360"/>
                  </a:lnTo>
                  <a:lnTo>
                    <a:pt x="13" y="358"/>
                  </a:lnTo>
                  <a:lnTo>
                    <a:pt x="12" y="360"/>
                  </a:lnTo>
                  <a:lnTo>
                    <a:pt x="9" y="361"/>
                  </a:lnTo>
                  <a:lnTo>
                    <a:pt x="12" y="358"/>
                  </a:lnTo>
                  <a:lnTo>
                    <a:pt x="12" y="357"/>
                  </a:lnTo>
                  <a:lnTo>
                    <a:pt x="11" y="358"/>
                  </a:lnTo>
                  <a:lnTo>
                    <a:pt x="12" y="355"/>
                  </a:lnTo>
                  <a:lnTo>
                    <a:pt x="14" y="352"/>
                  </a:lnTo>
                  <a:lnTo>
                    <a:pt x="15" y="351"/>
                  </a:lnTo>
                  <a:lnTo>
                    <a:pt x="14" y="351"/>
                  </a:lnTo>
                  <a:lnTo>
                    <a:pt x="12" y="353"/>
                  </a:lnTo>
                  <a:lnTo>
                    <a:pt x="9" y="356"/>
                  </a:lnTo>
                  <a:lnTo>
                    <a:pt x="12" y="351"/>
                  </a:lnTo>
                  <a:lnTo>
                    <a:pt x="12" y="350"/>
                  </a:lnTo>
                  <a:lnTo>
                    <a:pt x="11" y="349"/>
                  </a:lnTo>
                  <a:lnTo>
                    <a:pt x="13" y="346"/>
                  </a:lnTo>
                  <a:lnTo>
                    <a:pt x="12" y="345"/>
                  </a:lnTo>
                  <a:lnTo>
                    <a:pt x="11" y="347"/>
                  </a:lnTo>
                  <a:lnTo>
                    <a:pt x="8" y="349"/>
                  </a:lnTo>
                  <a:lnTo>
                    <a:pt x="8" y="346"/>
                  </a:lnTo>
                  <a:lnTo>
                    <a:pt x="7" y="344"/>
                  </a:lnTo>
                  <a:lnTo>
                    <a:pt x="9" y="341"/>
                  </a:lnTo>
                  <a:lnTo>
                    <a:pt x="11" y="341"/>
                  </a:lnTo>
                  <a:lnTo>
                    <a:pt x="13" y="341"/>
                  </a:lnTo>
                  <a:lnTo>
                    <a:pt x="15" y="340"/>
                  </a:lnTo>
                  <a:lnTo>
                    <a:pt x="17" y="339"/>
                  </a:lnTo>
                  <a:lnTo>
                    <a:pt x="18" y="338"/>
                  </a:lnTo>
                  <a:lnTo>
                    <a:pt x="18" y="339"/>
                  </a:lnTo>
                  <a:lnTo>
                    <a:pt x="19" y="341"/>
                  </a:lnTo>
                  <a:lnTo>
                    <a:pt x="20" y="340"/>
                  </a:lnTo>
                  <a:lnTo>
                    <a:pt x="21" y="340"/>
                  </a:lnTo>
                  <a:lnTo>
                    <a:pt x="23" y="339"/>
                  </a:lnTo>
                  <a:lnTo>
                    <a:pt x="26" y="338"/>
                  </a:lnTo>
                  <a:lnTo>
                    <a:pt x="29" y="338"/>
                  </a:lnTo>
                  <a:lnTo>
                    <a:pt x="27" y="339"/>
                  </a:lnTo>
                  <a:lnTo>
                    <a:pt x="26" y="339"/>
                  </a:lnTo>
                  <a:lnTo>
                    <a:pt x="24" y="340"/>
                  </a:lnTo>
                  <a:lnTo>
                    <a:pt x="24" y="341"/>
                  </a:lnTo>
                  <a:lnTo>
                    <a:pt x="24" y="343"/>
                  </a:lnTo>
                  <a:lnTo>
                    <a:pt x="26" y="341"/>
                  </a:lnTo>
                  <a:lnTo>
                    <a:pt x="27" y="341"/>
                  </a:lnTo>
                  <a:lnTo>
                    <a:pt x="27" y="340"/>
                  </a:lnTo>
                  <a:lnTo>
                    <a:pt x="29" y="339"/>
                  </a:lnTo>
                  <a:lnTo>
                    <a:pt x="31" y="339"/>
                  </a:lnTo>
                  <a:lnTo>
                    <a:pt x="32" y="338"/>
                  </a:lnTo>
                  <a:lnTo>
                    <a:pt x="31" y="338"/>
                  </a:lnTo>
                  <a:lnTo>
                    <a:pt x="30" y="339"/>
                  </a:lnTo>
                  <a:lnTo>
                    <a:pt x="30" y="338"/>
                  </a:lnTo>
                  <a:lnTo>
                    <a:pt x="31" y="334"/>
                  </a:lnTo>
                  <a:lnTo>
                    <a:pt x="33" y="333"/>
                  </a:lnTo>
                  <a:lnTo>
                    <a:pt x="33" y="332"/>
                  </a:lnTo>
                  <a:lnTo>
                    <a:pt x="35" y="331"/>
                  </a:lnTo>
                  <a:lnTo>
                    <a:pt x="32" y="332"/>
                  </a:lnTo>
                  <a:lnTo>
                    <a:pt x="31" y="333"/>
                  </a:lnTo>
                  <a:lnTo>
                    <a:pt x="32" y="332"/>
                  </a:lnTo>
                  <a:lnTo>
                    <a:pt x="31" y="332"/>
                  </a:lnTo>
                  <a:lnTo>
                    <a:pt x="27" y="334"/>
                  </a:lnTo>
                  <a:lnTo>
                    <a:pt x="30" y="329"/>
                  </a:lnTo>
                  <a:lnTo>
                    <a:pt x="31" y="328"/>
                  </a:lnTo>
                  <a:lnTo>
                    <a:pt x="33" y="327"/>
                  </a:lnTo>
                  <a:lnTo>
                    <a:pt x="33" y="325"/>
                  </a:lnTo>
                  <a:lnTo>
                    <a:pt x="33" y="323"/>
                  </a:lnTo>
                  <a:lnTo>
                    <a:pt x="32" y="323"/>
                  </a:lnTo>
                  <a:lnTo>
                    <a:pt x="29" y="323"/>
                  </a:lnTo>
                  <a:lnTo>
                    <a:pt x="31" y="321"/>
                  </a:lnTo>
                  <a:lnTo>
                    <a:pt x="33" y="320"/>
                  </a:lnTo>
                  <a:lnTo>
                    <a:pt x="36" y="320"/>
                  </a:lnTo>
                  <a:lnTo>
                    <a:pt x="37" y="321"/>
                  </a:lnTo>
                  <a:lnTo>
                    <a:pt x="39" y="321"/>
                  </a:lnTo>
                  <a:lnTo>
                    <a:pt x="41" y="321"/>
                  </a:lnTo>
                  <a:lnTo>
                    <a:pt x="43" y="321"/>
                  </a:lnTo>
                  <a:lnTo>
                    <a:pt x="42" y="321"/>
                  </a:lnTo>
                  <a:lnTo>
                    <a:pt x="39" y="320"/>
                  </a:lnTo>
                  <a:lnTo>
                    <a:pt x="38" y="319"/>
                  </a:lnTo>
                  <a:lnTo>
                    <a:pt x="39" y="319"/>
                  </a:lnTo>
                  <a:lnTo>
                    <a:pt x="41" y="317"/>
                  </a:lnTo>
                  <a:lnTo>
                    <a:pt x="39" y="316"/>
                  </a:lnTo>
                  <a:lnTo>
                    <a:pt x="38" y="317"/>
                  </a:lnTo>
                  <a:lnTo>
                    <a:pt x="38" y="316"/>
                  </a:lnTo>
                  <a:lnTo>
                    <a:pt x="37" y="315"/>
                  </a:lnTo>
                  <a:lnTo>
                    <a:pt x="38" y="314"/>
                  </a:lnTo>
                  <a:lnTo>
                    <a:pt x="37" y="314"/>
                  </a:lnTo>
                  <a:lnTo>
                    <a:pt x="37" y="313"/>
                  </a:lnTo>
                  <a:lnTo>
                    <a:pt x="36" y="314"/>
                  </a:lnTo>
                  <a:lnTo>
                    <a:pt x="35" y="315"/>
                  </a:lnTo>
                  <a:lnTo>
                    <a:pt x="35" y="316"/>
                  </a:lnTo>
                  <a:lnTo>
                    <a:pt x="35" y="314"/>
                  </a:lnTo>
                  <a:lnTo>
                    <a:pt x="35" y="313"/>
                  </a:lnTo>
                  <a:lnTo>
                    <a:pt x="33" y="314"/>
                  </a:lnTo>
                  <a:lnTo>
                    <a:pt x="35" y="311"/>
                  </a:lnTo>
                  <a:lnTo>
                    <a:pt x="36" y="310"/>
                  </a:lnTo>
                  <a:lnTo>
                    <a:pt x="37" y="309"/>
                  </a:lnTo>
                  <a:lnTo>
                    <a:pt x="39" y="307"/>
                  </a:lnTo>
                  <a:lnTo>
                    <a:pt x="41" y="304"/>
                  </a:lnTo>
                  <a:lnTo>
                    <a:pt x="39" y="304"/>
                  </a:lnTo>
                  <a:lnTo>
                    <a:pt x="38" y="305"/>
                  </a:lnTo>
                  <a:lnTo>
                    <a:pt x="38" y="304"/>
                  </a:lnTo>
                  <a:lnTo>
                    <a:pt x="38" y="305"/>
                  </a:lnTo>
                  <a:lnTo>
                    <a:pt x="37" y="307"/>
                  </a:lnTo>
                  <a:lnTo>
                    <a:pt x="37" y="305"/>
                  </a:lnTo>
                  <a:lnTo>
                    <a:pt x="37" y="307"/>
                  </a:lnTo>
                  <a:lnTo>
                    <a:pt x="36" y="307"/>
                  </a:lnTo>
                  <a:lnTo>
                    <a:pt x="35" y="307"/>
                  </a:lnTo>
                  <a:lnTo>
                    <a:pt x="33" y="309"/>
                  </a:lnTo>
                  <a:lnTo>
                    <a:pt x="33" y="307"/>
                  </a:lnTo>
                  <a:lnTo>
                    <a:pt x="35" y="304"/>
                  </a:lnTo>
                  <a:lnTo>
                    <a:pt x="33" y="304"/>
                  </a:lnTo>
                  <a:lnTo>
                    <a:pt x="32" y="303"/>
                  </a:lnTo>
                  <a:lnTo>
                    <a:pt x="31" y="302"/>
                  </a:lnTo>
                  <a:lnTo>
                    <a:pt x="32" y="301"/>
                  </a:lnTo>
                  <a:lnTo>
                    <a:pt x="31" y="299"/>
                  </a:lnTo>
                  <a:lnTo>
                    <a:pt x="30" y="298"/>
                  </a:lnTo>
                  <a:lnTo>
                    <a:pt x="26" y="301"/>
                  </a:lnTo>
                  <a:lnTo>
                    <a:pt x="25" y="305"/>
                  </a:lnTo>
                  <a:lnTo>
                    <a:pt x="23" y="309"/>
                  </a:lnTo>
                  <a:lnTo>
                    <a:pt x="21" y="311"/>
                  </a:lnTo>
                  <a:lnTo>
                    <a:pt x="24" y="307"/>
                  </a:lnTo>
                  <a:lnTo>
                    <a:pt x="25" y="304"/>
                  </a:lnTo>
                  <a:lnTo>
                    <a:pt x="23" y="305"/>
                  </a:lnTo>
                  <a:lnTo>
                    <a:pt x="20" y="305"/>
                  </a:lnTo>
                  <a:lnTo>
                    <a:pt x="23" y="304"/>
                  </a:lnTo>
                  <a:lnTo>
                    <a:pt x="25" y="302"/>
                  </a:lnTo>
                  <a:lnTo>
                    <a:pt x="25" y="301"/>
                  </a:lnTo>
                  <a:lnTo>
                    <a:pt x="20" y="303"/>
                  </a:lnTo>
                  <a:lnTo>
                    <a:pt x="17" y="307"/>
                  </a:lnTo>
                  <a:lnTo>
                    <a:pt x="19" y="303"/>
                  </a:lnTo>
                  <a:lnTo>
                    <a:pt x="17" y="304"/>
                  </a:lnTo>
                  <a:lnTo>
                    <a:pt x="15" y="304"/>
                  </a:lnTo>
                  <a:lnTo>
                    <a:pt x="18" y="303"/>
                  </a:lnTo>
                  <a:lnTo>
                    <a:pt x="15" y="303"/>
                  </a:lnTo>
                  <a:lnTo>
                    <a:pt x="14" y="303"/>
                  </a:lnTo>
                  <a:lnTo>
                    <a:pt x="13" y="304"/>
                  </a:lnTo>
                  <a:lnTo>
                    <a:pt x="13" y="302"/>
                  </a:lnTo>
                  <a:lnTo>
                    <a:pt x="12" y="302"/>
                  </a:lnTo>
                  <a:lnTo>
                    <a:pt x="11" y="303"/>
                  </a:lnTo>
                  <a:lnTo>
                    <a:pt x="11" y="301"/>
                  </a:lnTo>
                  <a:lnTo>
                    <a:pt x="12" y="299"/>
                  </a:lnTo>
                  <a:lnTo>
                    <a:pt x="11" y="299"/>
                  </a:lnTo>
                  <a:lnTo>
                    <a:pt x="12" y="298"/>
                  </a:lnTo>
                  <a:lnTo>
                    <a:pt x="11" y="298"/>
                  </a:lnTo>
                  <a:lnTo>
                    <a:pt x="12" y="297"/>
                  </a:lnTo>
                  <a:lnTo>
                    <a:pt x="12" y="296"/>
                  </a:lnTo>
                  <a:lnTo>
                    <a:pt x="14" y="295"/>
                  </a:lnTo>
                  <a:lnTo>
                    <a:pt x="17" y="295"/>
                  </a:lnTo>
                  <a:lnTo>
                    <a:pt x="17" y="293"/>
                  </a:lnTo>
                  <a:lnTo>
                    <a:pt x="17" y="292"/>
                  </a:lnTo>
                  <a:lnTo>
                    <a:pt x="18" y="291"/>
                  </a:lnTo>
                  <a:lnTo>
                    <a:pt x="15" y="291"/>
                  </a:lnTo>
                  <a:lnTo>
                    <a:pt x="14" y="291"/>
                  </a:lnTo>
                  <a:lnTo>
                    <a:pt x="12" y="290"/>
                  </a:lnTo>
                  <a:lnTo>
                    <a:pt x="13" y="289"/>
                  </a:lnTo>
                  <a:lnTo>
                    <a:pt x="14" y="289"/>
                  </a:lnTo>
                  <a:lnTo>
                    <a:pt x="17" y="287"/>
                  </a:lnTo>
                  <a:lnTo>
                    <a:pt x="19" y="287"/>
                  </a:lnTo>
                  <a:lnTo>
                    <a:pt x="20" y="290"/>
                  </a:lnTo>
                  <a:lnTo>
                    <a:pt x="21" y="291"/>
                  </a:lnTo>
                  <a:lnTo>
                    <a:pt x="24" y="291"/>
                  </a:lnTo>
                  <a:lnTo>
                    <a:pt x="24" y="290"/>
                  </a:lnTo>
                  <a:lnTo>
                    <a:pt x="25" y="290"/>
                  </a:lnTo>
                  <a:lnTo>
                    <a:pt x="26" y="290"/>
                  </a:lnTo>
                  <a:lnTo>
                    <a:pt x="27" y="289"/>
                  </a:lnTo>
                  <a:lnTo>
                    <a:pt x="29" y="289"/>
                  </a:lnTo>
                  <a:lnTo>
                    <a:pt x="30" y="289"/>
                  </a:lnTo>
                  <a:lnTo>
                    <a:pt x="31" y="287"/>
                  </a:lnTo>
                  <a:lnTo>
                    <a:pt x="31" y="286"/>
                  </a:lnTo>
                  <a:lnTo>
                    <a:pt x="32" y="286"/>
                  </a:lnTo>
                  <a:lnTo>
                    <a:pt x="32" y="285"/>
                  </a:lnTo>
                  <a:lnTo>
                    <a:pt x="33" y="283"/>
                  </a:lnTo>
                  <a:lnTo>
                    <a:pt x="31" y="284"/>
                  </a:lnTo>
                  <a:lnTo>
                    <a:pt x="29" y="286"/>
                  </a:lnTo>
                  <a:lnTo>
                    <a:pt x="27" y="287"/>
                  </a:lnTo>
                  <a:lnTo>
                    <a:pt x="27" y="284"/>
                  </a:lnTo>
                  <a:lnTo>
                    <a:pt x="26" y="281"/>
                  </a:lnTo>
                  <a:lnTo>
                    <a:pt x="26" y="280"/>
                  </a:lnTo>
                  <a:lnTo>
                    <a:pt x="24" y="280"/>
                  </a:lnTo>
                  <a:lnTo>
                    <a:pt x="21" y="281"/>
                  </a:lnTo>
                  <a:lnTo>
                    <a:pt x="21" y="283"/>
                  </a:lnTo>
                  <a:lnTo>
                    <a:pt x="20" y="280"/>
                  </a:lnTo>
                  <a:lnTo>
                    <a:pt x="19" y="280"/>
                  </a:lnTo>
                  <a:lnTo>
                    <a:pt x="17" y="279"/>
                  </a:lnTo>
                  <a:lnTo>
                    <a:pt x="15" y="279"/>
                  </a:lnTo>
                  <a:lnTo>
                    <a:pt x="15" y="275"/>
                  </a:lnTo>
                  <a:lnTo>
                    <a:pt x="14" y="277"/>
                  </a:lnTo>
                  <a:lnTo>
                    <a:pt x="14" y="280"/>
                  </a:lnTo>
                  <a:lnTo>
                    <a:pt x="14" y="284"/>
                  </a:lnTo>
                  <a:lnTo>
                    <a:pt x="14" y="286"/>
                  </a:lnTo>
                  <a:lnTo>
                    <a:pt x="11" y="281"/>
                  </a:lnTo>
                  <a:lnTo>
                    <a:pt x="9" y="280"/>
                  </a:lnTo>
                  <a:lnTo>
                    <a:pt x="8" y="281"/>
                  </a:lnTo>
                  <a:lnTo>
                    <a:pt x="7" y="283"/>
                  </a:lnTo>
                  <a:lnTo>
                    <a:pt x="7" y="280"/>
                  </a:lnTo>
                  <a:lnTo>
                    <a:pt x="7" y="279"/>
                  </a:lnTo>
                  <a:lnTo>
                    <a:pt x="6" y="279"/>
                  </a:lnTo>
                  <a:lnTo>
                    <a:pt x="5" y="279"/>
                  </a:lnTo>
                  <a:lnTo>
                    <a:pt x="5" y="278"/>
                  </a:lnTo>
                  <a:lnTo>
                    <a:pt x="5" y="275"/>
                  </a:lnTo>
                  <a:lnTo>
                    <a:pt x="7" y="273"/>
                  </a:lnTo>
                  <a:lnTo>
                    <a:pt x="7" y="271"/>
                  </a:lnTo>
                  <a:lnTo>
                    <a:pt x="8" y="269"/>
                  </a:lnTo>
                  <a:lnTo>
                    <a:pt x="9" y="268"/>
                  </a:lnTo>
                  <a:lnTo>
                    <a:pt x="11" y="268"/>
                  </a:lnTo>
                  <a:lnTo>
                    <a:pt x="11" y="267"/>
                  </a:lnTo>
                  <a:lnTo>
                    <a:pt x="12" y="266"/>
                  </a:lnTo>
                  <a:lnTo>
                    <a:pt x="14" y="263"/>
                  </a:lnTo>
                  <a:lnTo>
                    <a:pt x="15" y="263"/>
                  </a:lnTo>
                  <a:lnTo>
                    <a:pt x="17" y="262"/>
                  </a:lnTo>
                  <a:lnTo>
                    <a:pt x="18" y="261"/>
                  </a:lnTo>
                  <a:lnTo>
                    <a:pt x="20" y="261"/>
                  </a:lnTo>
                  <a:lnTo>
                    <a:pt x="14" y="259"/>
                  </a:lnTo>
                  <a:lnTo>
                    <a:pt x="11" y="256"/>
                  </a:lnTo>
                  <a:lnTo>
                    <a:pt x="11" y="257"/>
                  </a:lnTo>
                  <a:lnTo>
                    <a:pt x="9" y="260"/>
                  </a:lnTo>
                  <a:lnTo>
                    <a:pt x="8" y="260"/>
                  </a:lnTo>
                  <a:lnTo>
                    <a:pt x="8" y="262"/>
                  </a:lnTo>
                  <a:lnTo>
                    <a:pt x="6" y="263"/>
                  </a:lnTo>
                  <a:lnTo>
                    <a:pt x="6" y="261"/>
                  </a:lnTo>
                  <a:lnTo>
                    <a:pt x="6" y="260"/>
                  </a:lnTo>
                  <a:lnTo>
                    <a:pt x="7" y="260"/>
                  </a:lnTo>
                  <a:lnTo>
                    <a:pt x="7" y="257"/>
                  </a:lnTo>
                  <a:lnTo>
                    <a:pt x="7" y="256"/>
                  </a:lnTo>
                  <a:lnTo>
                    <a:pt x="8" y="256"/>
                  </a:lnTo>
                  <a:lnTo>
                    <a:pt x="9" y="256"/>
                  </a:lnTo>
                  <a:lnTo>
                    <a:pt x="8" y="255"/>
                  </a:lnTo>
                  <a:lnTo>
                    <a:pt x="6" y="255"/>
                  </a:lnTo>
                  <a:lnTo>
                    <a:pt x="6" y="254"/>
                  </a:lnTo>
                  <a:lnTo>
                    <a:pt x="7" y="254"/>
                  </a:lnTo>
                  <a:lnTo>
                    <a:pt x="9" y="255"/>
                  </a:lnTo>
                  <a:lnTo>
                    <a:pt x="13" y="257"/>
                  </a:lnTo>
                  <a:lnTo>
                    <a:pt x="21" y="260"/>
                  </a:lnTo>
                  <a:lnTo>
                    <a:pt x="18" y="256"/>
                  </a:lnTo>
                  <a:lnTo>
                    <a:pt x="17" y="256"/>
                  </a:lnTo>
                  <a:lnTo>
                    <a:pt x="17" y="257"/>
                  </a:lnTo>
                  <a:lnTo>
                    <a:pt x="14" y="256"/>
                  </a:lnTo>
                  <a:lnTo>
                    <a:pt x="14" y="254"/>
                  </a:lnTo>
                  <a:lnTo>
                    <a:pt x="11" y="251"/>
                  </a:lnTo>
                  <a:lnTo>
                    <a:pt x="8" y="249"/>
                  </a:lnTo>
                  <a:lnTo>
                    <a:pt x="8" y="250"/>
                  </a:lnTo>
                  <a:lnTo>
                    <a:pt x="8" y="253"/>
                  </a:lnTo>
                  <a:lnTo>
                    <a:pt x="7" y="251"/>
                  </a:lnTo>
                  <a:lnTo>
                    <a:pt x="7" y="250"/>
                  </a:lnTo>
                  <a:lnTo>
                    <a:pt x="6" y="250"/>
                  </a:lnTo>
                  <a:lnTo>
                    <a:pt x="6" y="251"/>
                  </a:lnTo>
                  <a:lnTo>
                    <a:pt x="2" y="251"/>
                  </a:lnTo>
                  <a:lnTo>
                    <a:pt x="1" y="251"/>
                  </a:lnTo>
                  <a:lnTo>
                    <a:pt x="2" y="250"/>
                  </a:lnTo>
                  <a:lnTo>
                    <a:pt x="2" y="249"/>
                  </a:lnTo>
                  <a:lnTo>
                    <a:pt x="5" y="249"/>
                  </a:lnTo>
                  <a:lnTo>
                    <a:pt x="7" y="249"/>
                  </a:lnTo>
                  <a:lnTo>
                    <a:pt x="8" y="249"/>
                  </a:lnTo>
                  <a:lnTo>
                    <a:pt x="5" y="244"/>
                  </a:lnTo>
                  <a:lnTo>
                    <a:pt x="3" y="244"/>
                  </a:lnTo>
                  <a:lnTo>
                    <a:pt x="1" y="243"/>
                  </a:lnTo>
                  <a:lnTo>
                    <a:pt x="0" y="242"/>
                  </a:lnTo>
                  <a:lnTo>
                    <a:pt x="2" y="242"/>
                  </a:lnTo>
                  <a:lnTo>
                    <a:pt x="3" y="243"/>
                  </a:lnTo>
                  <a:lnTo>
                    <a:pt x="5" y="243"/>
                  </a:lnTo>
                  <a:lnTo>
                    <a:pt x="6" y="243"/>
                  </a:lnTo>
                  <a:lnTo>
                    <a:pt x="8" y="244"/>
                  </a:lnTo>
                  <a:lnTo>
                    <a:pt x="9" y="246"/>
                  </a:lnTo>
                  <a:lnTo>
                    <a:pt x="8" y="245"/>
                  </a:lnTo>
                  <a:lnTo>
                    <a:pt x="8" y="246"/>
                  </a:lnTo>
                  <a:lnTo>
                    <a:pt x="6" y="245"/>
                  </a:lnTo>
                  <a:lnTo>
                    <a:pt x="5" y="244"/>
                  </a:lnTo>
                  <a:lnTo>
                    <a:pt x="8" y="248"/>
                  </a:lnTo>
                  <a:lnTo>
                    <a:pt x="14" y="254"/>
                  </a:lnTo>
                  <a:lnTo>
                    <a:pt x="15" y="254"/>
                  </a:lnTo>
                  <a:lnTo>
                    <a:pt x="17" y="253"/>
                  </a:lnTo>
                  <a:lnTo>
                    <a:pt x="18" y="253"/>
                  </a:lnTo>
                  <a:lnTo>
                    <a:pt x="17" y="254"/>
                  </a:lnTo>
                  <a:lnTo>
                    <a:pt x="17" y="255"/>
                  </a:lnTo>
                  <a:lnTo>
                    <a:pt x="21" y="260"/>
                  </a:lnTo>
                  <a:lnTo>
                    <a:pt x="23" y="260"/>
                  </a:lnTo>
                  <a:lnTo>
                    <a:pt x="24" y="257"/>
                  </a:lnTo>
                  <a:lnTo>
                    <a:pt x="25" y="256"/>
                  </a:lnTo>
                  <a:lnTo>
                    <a:pt x="25" y="255"/>
                  </a:lnTo>
                  <a:lnTo>
                    <a:pt x="26" y="255"/>
                  </a:lnTo>
                  <a:lnTo>
                    <a:pt x="29" y="256"/>
                  </a:lnTo>
                  <a:lnTo>
                    <a:pt x="29" y="257"/>
                  </a:lnTo>
                  <a:lnTo>
                    <a:pt x="31" y="257"/>
                  </a:lnTo>
                  <a:lnTo>
                    <a:pt x="31" y="255"/>
                  </a:lnTo>
                  <a:lnTo>
                    <a:pt x="32" y="253"/>
                  </a:lnTo>
                  <a:lnTo>
                    <a:pt x="35" y="250"/>
                  </a:lnTo>
                  <a:lnTo>
                    <a:pt x="37" y="249"/>
                  </a:lnTo>
                  <a:lnTo>
                    <a:pt x="39" y="249"/>
                  </a:lnTo>
                  <a:lnTo>
                    <a:pt x="41" y="250"/>
                  </a:lnTo>
                  <a:lnTo>
                    <a:pt x="43" y="250"/>
                  </a:lnTo>
                  <a:lnTo>
                    <a:pt x="44" y="251"/>
                  </a:lnTo>
                  <a:lnTo>
                    <a:pt x="42" y="251"/>
                  </a:lnTo>
                  <a:lnTo>
                    <a:pt x="43" y="253"/>
                  </a:lnTo>
                  <a:lnTo>
                    <a:pt x="44" y="253"/>
                  </a:lnTo>
                  <a:lnTo>
                    <a:pt x="46" y="254"/>
                  </a:lnTo>
                  <a:lnTo>
                    <a:pt x="47" y="254"/>
                  </a:lnTo>
                  <a:lnTo>
                    <a:pt x="47" y="253"/>
                  </a:lnTo>
                  <a:lnTo>
                    <a:pt x="47" y="251"/>
                  </a:lnTo>
                  <a:lnTo>
                    <a:pt x="46" y="253"/>
                  </a:lnTo>
                  <a:lnTo>
                    <a:pt x="44" y="251"/>
                  </a:lnTo>
                  <a:lnTo>
                    <a:pt x="46" y="251"/>
                  </a:lnTo>
                  <a:lnTo>
                    <a:pt x="46" y="250"/>
                  </a:lnTo>
                  <a:lnTo>
                    <a:pt x="44" y="250"/>
                  </a:lnTo>
                  <a:lnTo>
                    <a:pt x="44" y="249"/>
                  </a:lnTo>
                  <a:lnTo>
                    <a:pt x="46" y="248"/>
                  </a:lnTo>
                  <a:lnTo>
                    <a:pt x="47" y="246"/>
                  </a:lnTo>
                  <a:lnTo>
                    <a:pt x="44" y="246"/>
                  </a:lnTo>
                  <a:lnTo>
                    <a:pt x="42" y="245"/>
                  </a:lnTo>
                  <a:lnTo>
                    <a:pt x="44" y="245"/>
                  </a:lnTo>
                  <a:lnTo>
                    <a:pt x="44" y="244"/>
                  </a:lnTo>
                  <a:lnTo>
                    <a:pt x="46" y="245"/>
                  </a:lnTo>
                  <a:lnTo>
                    <a:pt x="48" y="244"/>
                  </a:lnTo>
                  <a:lnTo>
                    <a:pt x="47" y="244"/>
                  </a:lnTo>
                  <a:lnTo>
                    <a:pt x="49" y="244"/>
                  </a:lnTo>
                  <a:lnTo>
                    <a:pt x="50" y="245"/>
                  </a:lnTo>
                  <a:lnTo>
                    <a:pt x="53" y="244"/>
                  </a:lnTo>
                  <a:lnTo>
                    <a:pt x="53" y="242"/>
                  </a:lnTo>
                  <a:lnTo>
                    <a:pt x="54" y="243"/>
                  </a:lnTo>
                  <a:lnTo>
                    <a:pt x="55" y="244"/>
                  </a:lnTo>
                  <a:lnTo>
                    <a:pt x="55" y="246"/>
                  </a:lnTo>
                  <a:lnTo>
                    <a:pt x="56" y="245"/>
                  </a:lnTo>
                  <a:lnTo>
                    <a:pt x="58" y="243"/>
                  </a:lnTo>
                  <a:lnTo>
                    <a:pt x="59" y="240"/>
                  </a:lnTo>
                  <a:lnTo>
                    <a:pt x="58" y="240"/>
                  </a:lnTo>
                  <a:lnTo>
                    <a:pt x="59" y="240"/>
                  </a:lnTo>
                  <a:lnTo>
                    <a:pt x="59" y="239"/>
                  </a:lnTo>
                  <a:lnTo>
                    <a:pt x="60" y="239"/>
                  </a:lnTo>
                  <a:lnTo>
                    <a:pt x="62" y="238"/>
                  </a:lnTo>
                  <a:lnTo>
                    <a:pt x="61" y="239"/>
                  </a:lnTo>
                  <a:lnTo>
                    <a:pt x="61" y="240"/>
                  </a:lnTo>
                  <a:lnTo>
                    <a:pt x="64" y="240"/>
                  </a:lnTo>
                  <a:lnTo>
                    <a:pt x="64" y="239"/>
                  </a:lnTo>
                  <a:lnTo>
                    <a:pt x="66" y="237"/>
                  </a:lnTo>
                  <a:lnTo>
                    <a:pt x="67" y="236"/>
                  </a:lnTo>
                  <a:lnTo>
                    <a:pt x="66" y="234"/>
                  </a:lnTo>
                  <a:lnTo>
                    <a:pt x="64" y="234"/>
                  </a:lnTo>
                  <a:lnTo>
                    <a:pt x="62" y="236"/>
                  </a:lnTo>
                  <a:lnTo>
                    <a:pt x="60" y="236"/>
                  </a:lnTo>
                  <a:lnTo>
                    <a:pt x="61" y="234"/>
                  </a:lnTo>
                  <a:lnTo>
                    <a:pt x="62" y="233"/>
                  </a:lnTo>
                  <a:lnTo>
                    <a:pt x="62" y="232"/>
                  </a:lnTo>
                  <a:lnTo>
                    <a:pt x="62" y="230"/>
                  </a:lnTo>
                  <a:lnTo>
                    <a:pt x="59" y="227"/>
                  </a:lnTo>
                  <a:lnTo>
                    <a:pt x="56" y="228"/>
                  </a:lnTo>
                  <a:lnTo>
                    <a:pt x="56" y="230"/>
                  </a:lnTo>
                  <a:lnTo>
                    <a:pt x="56" y="227"/>
                  </a:lnTo>
                  <a:lnTo>
                    <a:pt x="58" y="227"/>
                  </a:lnTo>
                  <a:lnTo>
                    <a:pt x="56" y="226"/>
                  </a:lnTo>
                  <a:lnTo>
                    <a:pt x="55" y="226"/>
                  </a:lnTo>
                  <a:lnTo>
                    <a:pt x="54" y="227"/>
                  </a:lnTo>
                  <a:lnTo>
                    <a:pt x="53" y="227"/>
                  </a:lnTo>
                  <a:lnTo>
                    <a:pt x="53" y="226"/>
                  </a:lnTo>
                  <a:lnTo>
                    <a:pt x="54" y="226"/>
                  </a:lnTo>
                  <a:lnTo>
                    <a:pt x="54" y="225"/>
                  </a:lnTo>
                  <a:lnTo>
                    <a:pt x="54" y="224"/>
                  </a:lnTo>
                  <a:lnTo>
                    <a:pt x="52" y="225"/>
                  </a:lnTo>
                  <a:lnTo>
                    <a:pt x="50" y="227"/>
                  </a:lnTo>
                  <a:lnTo>
                    <a:pt x="50" y="226"/>
                  </a:lnTo>
                  <a:lnTo>
                    <a:pt x="49" y="226"/>
                  </a:lnTo>
                  <a:lnTo>
                    <a:pt x="47" y="226"/>
                  </a:lnTo>
                  <a:lnTo>
                    <a:pt x="49" y="225"/>
                  </a:lnTo>
                  <a:lnTo>
                    <a:pt x="49" y="224"/>
                  </a:lnTo>
                  <a:lnTo>
                    <a:pt x="52" y="224"/>
                  </a:lnTo>
                  <a:lnTo>
                    <a:pt x="53" y="224"/>
                  </a:lnTo>
                  <a:lnTo>
                    <a:pt x="52" y="220"/>
                  </a:lnTo>
                  <a:lnTo>
                    <a:pt x="52" y="219"/>
                  </a:lnTo>
                  <a:lnTo>
                    <a:pt x="53" y="219"/>
                  </a:lnTo>
                  <a:lnTo>
                    <a:pt x="54" y="218"/>
                  </a:lnTo>
                  <a:lnTo>
                    <a:pt x="56" y="219"/>
                  </a:lnTo>
                  <a:lnTo>
                    <a:pt x="54" y="220"/>
                  </a:lnTo>
                  <a:lnTo>
                    <a:pt x="53" y="221"/>
                  </a:lnTo>
                  <a:lnTo>
                    <a:pt x="52" y="220"/>
                  </a:lnTo>
                  <a:lnTo>
                    <a:pt x="54" y="224"/>
                  </a:lnTo>
                  <a:lnTo>
                    <a:pt x="55" y="224"/>
                  </a:lnTo>
                  <a:lnTo>
                    <a:pt x="56" y="222"/>
                  </a:lnTo>
                  <a:lnTo>
                    <a:pt x="56" y="225"/>
                  </a:lnTo>
                  <a:lnTo>
                    <a:pt x="59" y="227"/>
                  </a:lnTo>
                  <a:lnTo>
                    <a:pt x="62" y="230"/>
                  </a:lnTo>
                  <a:lnTo>
                    <a:pt x="64" y="231"/>
                  </a:lnTo>
                  <a:lnTo>
                    <a:pt x="65" y="230"/>
                  </a:lnTo>
                  <a:lnTo>
                    <a:pt x="64" y="228"/>
                  </a:lnTo>
                  <a:lnTo>
                    <a:pt x="64" y="227"/>
                  </a:lnTo>
                  <a:lnTo>
                    <a:pt x="62" y="225"/>
                  </a:lnTo>
                  <a:lnTo>
                    <a:pt x="62" y="224"/>
                  </a:lnTo>
                  <a:lnTo>
                    <a:pt x="66" y="224"/>
                  </a:lnTo>
                  <a:lnTo>
                    <a:pt x="64" y="222"/>
                  </a:lnTo>
                  <a:lnTo>
                    <a:pt x="61" y="224"/>
                  </a:lnTo>
                  <a:lnTo>
                    <a:pt x="60" y="226"/>
                  </a:lnTo>
                  <a:lnTo>
                    <a:pt x="60" y="225"/>
                  </a:lnTo>
                  <a:lnTo>
                    <a:pt x="60" y="224"/>
                  </a:lnTo>
                  <a:lnTo>
                    <a:pt x="60" y="221"/>
                  </a:lnTo>
                  <a:lnTo>
                    <a:pt x="61" y="220"/>
                  </a:lnTo>
                  <a:lnTo>
                    <a:pt x="61" y="218"/>
                  </a:lnTo>
                  <a:lnTo>
                    <a:pt x="64" y="216"/>
                  </a:lnTo>
                  <a:lnTo>
                    <a:pt x="62" y="216"/>
                  </a:lnTo>
                  <a:lnTo>
                    <a:pt x="64" y="215"/>
                  </a:lnTo>
                  <a:lnTo>
                    <a:pt x="66" y="214"/>
                  </a:lnTo>
                  <a:lnTo>
                    <a:pt x="65" y="213"/>
                  </a:lnTo>
                  <a:lnTo>
                    <a:pt x="64" y="213"/>
                  </a:lnTo>
                  <a:lnTo>
                    <a:pt x="64" y="212"/>
                  </a:lnTo>
                  <a:lnTo>
                    <a:pt x="65" y="210"/>
                  </a:lnTo>
                  <a:lnTo>
                    <a:pt x="65" y="209"/>
                  </a:lnTo>
                  <a:lnTo>
                    <a:pt x="66" y="208"/>
                  </a:lnTo>
                  <a:lnTo>
                    <a:pt x="66" y="206"/>
                  </a:lnTo>
                  <a:lnTo>
                    <a:pt x="65" y="208"/>
                  </a:lnTo>
                  <a:lnTo>
                    <a:pt x="62" y="209"/>
                  </a:lnTo>
                  <a:lnTo>
                    <a:pt x="62" y="206"/>
                  </a:lnTo>
                  <a:lnTo>
                    <a:pt x="64" y="204"/>
                  </a:lnTo>
                  <a:lnTo>
                    <a:pt x="64" y="203"/>
                  </a:lnTo>
                  <a:lnTo>
                    <a:pt x="65" y="202"/>
                  </a:lnTo>
                  <a:lnTo>
                    <a:pt x="67" y="202"/>
                  </a:lnTo>
                  <a:lnTo>
                    <a:pt x="65" y="201"/>
                  </a:lnTo>
                  <a:lnTo>
                    <a:pt x="62" y="201"/>
                  </a:lnTo>
                  <a:lnTo>
                    <a:pt x="64" y="200"/>
                  </a:lnTo>
                  <a:lnTo>
                    <a:pt x="66" y="198"/>
                  </a:lnTo>
                  <a:lnTo>
                    <a:pt x="66" y="197"/>
                  </a:lnTo>
                  <a:lnTo>
                    <a:pt x="67" y="197"/>
                  </a:lnTo>
                  <a:lnTo>
                    <a:pt x="68" y="197"/>
                  </a:lnTo>
                  <a:lnTo>
                    <a:pt x="71" y="196"/>
                  </a:lnTo>
                  <a:lnTo>
                    <a:pt x="72" y="196"/>
                  </a:lnTo>
                  <a:lnTo>
                    <a:pt x="74" y="195"/>
                  </a:lnTo>
                  <a:lnTo>
                    <a:pt x="74" y="197"/>
                  </a:lnTo>
                  <a:lnTo>
                    <a:pt x="76" y="197"/>
                  </a:lnTo>
                  <a:lnTo>
                    <a:pt x="77" y="196"/>
                  </a:lnTo>
                  <a:lnTo>
                    <a:pt x="78" y="196"/>
                  </a:lnTo>
                  <a:lnTo>
                    <a:pt x="78" y="195"/>
                  </a:lnTo>
                  <a:lnTo>
                    <a:pt x="78" y="194"/>
                  </a:lnTo>
                  <a:lnTo>
                    <a:pt x="79" y="191"/>
                  </a:lnTo>
                  <a:lnTo>
                    <a:pt x="80" y="190"/>
                  </a:lnTo>
                  <a:lnTo>
                    <a:pt x="80" y="191"/>
                  </a:lnTo>
                  <a:lnTo>
                    <a:pt x="80" y="192"/>
                  </a:lnTo>
                  <a:lnTo>
                    <a:pt x="82" y="194"/>
                  </a:lnTo>
                  <a:lnTo>
                    <a:pt x="83" y="191"/>
                  </a:lnTo>
                  <a:lnTo>
                    <a:pt x="83" y="192"/>
                  </a:lnTo>
                  <a:lnTo>
                    <a:pt x="83" y="191"/>
                  </a:lnTo>
                  <a:lnTo>
                    <a:pt x="82" y="189"/>
                  </a:lnTo>
                  <a:lnTo>
                    <a:pt x="79" y="189"/>
                  </a:lnTo>
                  <a:lnTo>
                    <a:pt x="77" y="191"/>
                  </a:lnTo>
                  <a:lnTo>
                    <a:pt x="77" y="190"/>
                  </a:lnTo>
                  <a:lnTo>
                    <a:pt x="77" y="189"/>
                  </a:lnTo>
                  <a:lnTo>
                    <a:pt x="77" y="188"/>
                  </a:lnTo>
                  <a:lnTo>
                    <a:pt x="76" y="188"/>
                  </a:lnTo>
                  <a:lnTo>
                    <a:pt x="74" y="188"/>
                  </a:lnTo>
                  <a:lnTo>
                    <a:pt x="74" y="190"/>
                  </a:lnTo>
                  <a:lnTo>
                    <a:pt x="72" y="191"/>
                  </a:lnTo>
                  <a:lnTo>
                    <a:pt x="71" y="192"/>
                  </a:lnTo>
                  <a:lnTo>
                    <a:pt x="71" y="190"/>
                  </a:lnTo>
                  <a:lnTo>
                    <a:pt x="70" y="189"/>
                  </a:lnTo>
                  <a:lnTo>
                    <a:pt x="71" y="189"/>
                  </a:lnTo>
                  <a:lnTo>
                    <a:pt x="71" y="188"/>
                  </a:lnTo>
                  <a:lnTo>
                    <a:pt x="71" y="186"/>
                  </a:lnTo>
                  <a:lnTo>
                    <a:pt x="71" y="185"/>
                  </a:lnTo>
                  <a:lnTo>
                    <a:pt x="70" y="185"/>
                  </a:lnTo>
                  <a:lnTo>
                    <a:pt x="70" y="184"/>
                  </a:lnTo>
                  <a:lnTo>
                    <a:pt x="67" y="183"/>
                  </a:lnTo>
                  <a:lnTo>
                    <a:pt x="65" y="186"/>
                  </a:lnTo>
                  <a:lnTo>
                    <a:pt x="64" y="188"/>
                  </a:lnTo>
                  <a:lnTo>
                    <a:pt x="64" y="185"/>
                  </a:lnTo>
                  <a:lnTo>
                    <a:pt x="64" y="183"/>
                  </a:lnTo>
                  <a:lnTo>
                    <a:pt x="62" y="185"/>
                  </a:lnTo>
                  <a:lnTo>
                    <a:pt x="61" y="184"/>
                  </a:lnTo>
                  <a:lnTo>
                    <a:pt x="60" y="185"/>
                  </a:lnTo>
                  <a:lnTo>
                    <a:pt x="59" y="184"/>
                  </a:lnTo>
                  <a:lnTo>
                    <a:pt x="59" y="185"/>
                  </a:lnTo>
                  <a:lnTo>
                    <a:pt x="58" y="188"/>
                  </a:lnTo>
                  <a:lnTo>
                    <a:pt x="56" y="189"/>
                  </a:lnTo>
                  <a:lnTo>
                    <a:pt x="55" y="191"/>
                  </a:lnTo>
                  <a:lnTo>
                    <a:pt x="54" y="190"/>
                  </a:lnTo>
                  <a:lnTo>
                    <a:pt x="53" y="190"/>
                  </a:lnTo>
                  <a:lnTo>
                    <a:pt x="53" y="191"/>
                  </a:lnTo>
                  <a:lnTo>
                    <a:pt x="52" y="195"/>
                  </a:lnTo>
                  <a:lnTo>
                    <a:pt x="52" y="192"/>
                  </a:lnTo>
                  <a:lnTo>
                    <a:pt x="50" y="191"/>
                  </a:lnTo>
                  <a:lnTo>
                    <a:pt x="50" y="192"/>
                  </a:lnTo>
                  <a:lnTo>
                    <a:pt x="49" y="194"/>
                  </a:lnTo>
                  <a:lnTo>
                    <a:pt x="47" y="194"/>
                  </a:lnTo>
                  <a:lnTo>
                    <a:pt x="47" y="195"/>
                  </a:lnTo>
                  <a:lnTo>
                    <a:pt x="46" y="196"/>
                  </a:lnTo>
                  <a:lnTo>
                    <a:pt x="44" y="197"/>
                  </a:lnTo>
                  <a:lnTo>
                    <a:pt x="44" y="195"/>
                  </a:lnTo>
                  <a:lnTo>
                    <a:pt x="46" y="192"/>
                  </a:lnTo>
                  <a:lnTo>
                    <a:pt x="44" y="192"/>
                  </a:lnTo>
                  <a:lnTo>
                    <a:pt x="43" y="192"/>
                  </a:lnTo>
                  <a:lnTo>
                    <a:pt x="44" y="191"/>
                  </a:lnTo>
                  <a:lnTo>
                    <a:pt x="46" y="190"/>
                  </a:lnTo>
                  <a:lnTo>
                    <a:pt x="47" y="188"/>
                  </a:lnTo>
                  <a:lnTo>
                    <a:pt x="49" y="188"/>
                  </a:lnTo>
                  <a:lnTo>
                    <a:pt x="50" y="188"/>
                  </a:lnTo>
                  <a:lnTo>
                    <a:pt x="53" y="188"/>
                  </a:lnTo>
                  <a:lnTo>
                    <a:pt x="53" y="186"/>
                  </a:lnTo>
                  <a:lnTo>
                    <a:pt x="52" y="185"/>
                  </a:lnTo>
                  <a:lnTo>
                    <a:pt x="50" y="185"/>
                  </a:lnTo>
                  <a:lnTo>
                    <a:pt x="48" y="186"/>
                  </a:lnTo>
                  <a:lnTo>
                    <a:pt x="49" y="185"/>
                  </a:lnTo>
                  <a:lnTo>
                    <a:pt x="49" y="184"/>
                  </a:lnTo>
                  <a:lnTo>
                    <a:pt x="48" y="183"/>
                  </a:lnTo>
                  <a:lnTo>
                    <a:pt x="47" y="183"/>
                  </a:lnTo>
                  <a:lnTo>
                    <a:pt x="46" y="183"/>
                  </a:lnTo>
                  <a:lnTo>
                    <a:pt x="44" y="184"/>
                  </a:lnTo>
                  <a:lnTo>
                    <a:pt x="44" y="185"/>
                  </a:lnTo>
                  <a:lnTo>
                    <a:pt x="47" y="185"/>
                  </a:lnTo>
                  <a:lnTo>
                    <a:pt x="47" y="186"/>
                  </a:lnTo>
                  <a:lnTo>
                    <a:pt x="46" y="188"/>
                  </a:lnTo>
                  <a:lnTo>
                    <a:pt x="44" y="189"/>
                  </a:lnTo>
                  <a:lnTo>
                    <a:pt x="43" y="189"/>
                  </a:lnTo>
                  <a:lnTo>
                    <a:pt x="39" y="191"/>
                  </a:lnTo>
                  <a:lnTo>
                    <a:pt x="41" y="189"/>
                  </a:lnTo>
                  <a:lnTo>
                    <a:pt x="41" y="186"/>
                  </a:lnTo>
                  <a:lnTo>
                    <a:pt x="39" y="185"/>
                  </a:lnTo>
                  <a:lnTo>
                    <a:pt x="41" y="184"/>
                  </a:lnTo>
                  <a:lnTo>
                    <a:pt x="39" y="184"/>
                  </a:lnTo>
                  <a:lnTo>
                    <a:pt x="41" y="182"/>
                  </a:lnTo>
                  <a:lnTo>
                    <a:pt x="42" y="182"/>
                  </a:lnTo>
                  <a:lnTo>
                    <a:pt x="43" y="182"/>
                  </a:lnTo>
                  <a:lnTo>
                    <a:pt x="44" y="180"/>
                  </a:lnTo>
                  <a:lnTo>
                    <a:pt x="41" y="179"/>
                  </a:lnTo>
                  <a:lnTo>
                    <a:pt x="39" y="180"/>
                  </a:lnTo>
                  <a:lnTo>
                    <a:pt x="37" y="180"/>
                  </a:lnTo>
                  <a:lnTo>
                    <a:pt x="38" y="179"/>
                  </a:lnTo>
                  <a:lnTo>
                    <a:pt x="41" y="178"/>
                  </a:lnTo>
                  <a:lnTo>
                    <a:pt x="41" y="179"/>
                  </a:lnTo>
                  <a:lnTo>
                    <a:pt x="43" y="179"/>
                  </a:lnTo>
                  <a:lnTo>
                    <a:pt x="46" y="180"/>
                  </a:lnTo>
                  <a:lnTo>
                    <a:pt x="47" y="180"/>
                  </a:lnTo>
                  <a:lnTo>
                    <a:pt x="49" y="179"/>
                  </a:lnTo>
                  <a:lnTo>
                    <a:pt x="49" y="177"/>
                  </a:lnTo>
                  <a:lnTo>
                    <a:pt x="48" y="176"/>
                  </a:lnTo>
                  <a:lnTo>
                    <a:pt x="46" y="178"/>
                  </a:lnTo>
                  <a:lnTo>
                    <a:pt x="44" y="178"/>
                  </a:lnTo>
                  <a:lnTo>
                    <a:pt x="43" y="178"/>
                  </a:lnTo>
                  <a:lnTo>
                    <a:pt x="43" y="177"/>
                  </a:lnTo>
                  <a:lnTo>
                    <a:pt x="44" y="174"/>
                  </a:lnTo>
                  <a:lnTo>
                    <a:pt x="44" y="173"/>
                  </a:lnTo>
                  <a:lnTo>
                    <a:pt x="43" y="172"/>
                  </a:lnTo>
                  <a:lnTo>
                    <a:pt x="42" y="171"/>
                  </a:lnTo>
                  <a:lnTo>
                    <a:pt x="42" y="170"/>
                  </a:lnTo>
                  <a:lnTo>
                    <a:pt x="41" y="168"/>
                  </a:lnTo>
                  <a:lnTo>
                    <a:pt x="39" y="167"/>
                  </a:lnTo>
                  <a:lnTo>
                    <a:pt x="39" y="170"/>
                  </a:lnTo>
                  <a:lnTo>
                    <a:pt x="39" y="171"/>
                  </a:lnTo>
                  <a:lnTo>
                    <a:pt x="37" y="168"/>
                  </a:lnTo>
                  <a:lnTo>
                    <a:pt x="36" y="168"/>
                  </a:lnTo>
                  <a:lnTo>
                    <a:pt x="37" y="170"/>
                  </a:lnTo>
                  <a:lnTo>
                    <a:pt x="36" y="171"/>
                  </a:lnTo>
                  <a:lnTo>
                    <a:pt x="37" y="173"/>
                  </a:lnTo>
                  <a:lnTo>
                    <a:pt x="36" y="176"/>
                  </a:lnTo>
                  <a:lnTo>
                    <a:pt x="37" y="178"/>
                  </a:lnTo>
                  <a:lnTo>
                    <a:pt x="36" y="177"/>
                  </a:lnTo>
                  <a:lnTo>
                    <a:pt x="36" y="178"/>
                  </a:lnTo>
                  <a:lnTo>
                    <a:pt x="35" y="177"/>
                  </a:lnTo>
                  <a:lnTo>
                    <a:pt x="33" y="174"/>
                  </a:lnTo>
                  <a:lnTo>
                    <a:pt x="31" y="174"/>
                  </a:lnTo>
                  <a:lnTo>
                    <a:pt x="32" y="178"/>
                  </a:lnTo>
                  <a:lnTo>
                    <a:pt x="30" y="178"/>
                  </a:lnTo>
                  <a:lnTo>
                    <a:pt x="29" y="178"/>
                  </a:lnTo>
                  <a:lnTo>
                    <a:pt x="30" y="180"/>
                  </a:lnTo>
                  <a:lnTo>
                    <a:pt x="27" y="183"/>
                  </a:lnTo>
                  <a:lnTo>
                    <a:pt x="26" y="185"/>
                  </a:lnTo>
                  <a:lnTo>
                    <a:pt x="26" y="184"/>
                  </a:lnTo>
                  <a:lnTo>
                    <a:pt x="27" y="182"/>
                  </a:lnTo>
                  <a:lnTo>
                    <a:pt x="29" y="180"/>
                  </a:lnTo>
                  <a:lnTo>
                    <a:pt x="27" y="179"/>
                  </a:lnTo>
                  <a:lnTo>
                    <a:pt x="26" y="179"/>
                  </a:lnTo>
                  <a:lnTo>
                    <a:pt x="25" y="178"/>
                  </a:lnTo>
                  <a:lnTo>
                    <a:pt x="24" y="177"/>
                  </a:lnTo>
                  <a:lnTo>
                    <a:pt x="21" y="179"/>
                  </a:lnTo>
                  <a:lnTo>
                    <a:pt x="23" y="177"/>
                  </a:lnTo>
                  <a:lnTo>
                    <a:pt x="20" y="179"/>
                  </a:lnTo>
                  <a:lnTo>
                    <a:pt x="19" y="179"/>
                  </a:lnTo>
                  <a:lnTo>
                    <a:pt x="20" y="178"/>
                  </a:lnTo>
                  <a:lnTo>
                    <a:pt x="19" y="177"/>
                  </a:lnTo>
                  <a:lnTo>
                    <a:pt x="18" y="176"/>
                  </a:lnTo>
                  <a:lnTo>
                    <a:pt x="20" y="174"/>
                  </a:lnTo>
                  <a:lnTo>
                    <a:pt x="23" y="174"/>
                  </a:lnTo>
                  <a:lnTo>
                    <a:pt x="23" y="173"/>
                  </a:lnTo>
                  <a:lnTo>
                    <a:pt x="25" y="172"/>
                  </a:lnTo>
                  <a:lnTo>
                    <a:pt x="25" y="171"/>
                  </a:lnTo>
                  <a:lnTo>
                    <a:pt x="23" y="171"/>
                  </a:lnTo>
                  <a:lnTo>
                    <a:pt x="20" y="170"/>
                  </a:lnTo>
                  <a:lnTo>
                    <a:pt x="20" y="172"/>
                  </a:lnTo>
                  <a:lnTo>
                    <a:pt x="18" y="170"/>
                  </a:lnTo>
                  <a:lnTo>
                    <a:pt x="17" y="171"/>
                  </a:lnTo>
                  <a:lnTo>
                    <a:pt x="18" y="172"/>
                  </a:lnTo>
                  <a:lnTo>
                    <a:pt x="17" y="174"/>
                  </a:lnTo>
                  <a:lnTo>
                    <a:pt x="13" y="177"/>
                  </a:lnTo>
                  <a:lnTo>
                    <a:pt x="13" y="174"/>
                  </a:lnTo>
                  <a:lnTo>
                    <a:pt x="13" y="171"/>
                  </a:lnTo>
                  <a:lnTo>
                    <a:pt x="14" y="171"/>
                  </a:lnTo>
                  <a:lnTo>
                    <a:pt x="15" y="171"/>
                  </a:lnTo>
                  <a:lnTo>
                    <a:pt x="18" y="170"/>
                  </a:lnTo>
                  <a:lnTo>
                    <a:pt x="19" y="168"/>
                  </a:lnTo>
                  <a:lnTo>
                    <a:pt x="18" y="168"/>
                  </a:lnTo>
                  <a:lnTo>
                    <a:pt x="15" y="168"/>
                  </a:lnTo>
                  <a:lnTo>
                    <a:pt x="15" y="167"/>
                  </a:lnTo>
                  <a:lnTo>
                    <a:pt x="14" y="167"/>
                  </a:lnTo>
                  <a:lnTo>
                    <a:pt x="13" y="167"/>
                  </a:lnTo>
                  <a:lnTo>
                    <a:pt x="11" y="168"/>
                  </a:lnTo>
                  <a:lnTo>
                    <a:pt x="12" y="167"/>
                  </a:lnTo>
                  <a:lnTo>
                    <a:pt x="13" y="166"/>
                  </a:lnTo>
                  <a:lnTo>
                    <a:pt x="12" y="166"/>
                  </a:lnTo>
                  <a:lnTo>
                    <a:pt x="12" y="165"/>
                  </a:lnTo>
                  <a:lnTo>
                    <a:pt x="13" y="164"/>
                  </a:lnTo>
                  <a:lnTo>
                    <a:pt x="14" y="166"/>
                  </a:lnTo>
                  <a:lnTo>
                    <a:pt x="15" y="167"/>
                  </a:lnTo>
                  <a:lnTo>
                    <a:pt x="17" y="167"/>
                  </a:lnTo>
                  <a:lnTo>
                    <a:pt x="17" y="165"/>
                  </a:lnTo>
                  <a:lnTo>
                    <a:pt x="15" y="164"/>
                  </a:lnTo>
                  <a:lnTo>
                    <a:pt x="15" y="161"/>
                  </a:lnTo>
                  <a:lnTo>
                    <a:pt x="17" y="162"/>
                  </a:lnTo>
                  <a:lnTo>
                    <a:pt x="17" y="166"/>
                  </a:lnTo>
                  <a:lnTo>
                    <a:pt x="18" y="166"/>
                  </a:lnTo>
                  <a:lnTo>
                    <a:pt x="18" y="165"/>
                  </a:lnTo>
                  <a:lnTo>
                    <a:pt x="19" y="164"/>
                  </a:lnTo>
                  <a:lnTo>
                    <a:pt x="21" y="165"/>
                  </a:lnTo>
                  <a:lnTo>
                    <a:pt x="24" y="164"/>
                  </a:lnTo>
                  <a:lnTo>
                    <a:pt x="24" y="165"/>
                  </a:lnTo>
                  <a:lnTo>
                    <a:pt x="26" y="166"/>
                  </a:lnTo>
                  <a:lnTo>
                    <a:pt x="29" y="167"/>
                  </a:lnTo>
                  <a:lnTo>
                    <a:pt x="29" y="166"/>
                  </a:lnTo>
                  <a:lnTo>
                    <a:pt x="27" y="166"/>
                  </a:lnTo>
                  <a:lnTo>
                    <a:pt x="29" y="164"/>
                  </a:lnTo>
                  <a:lnTo>
                    <a:pt x="31" y="162"/>
                  </a:lnTo>
                  <a:lnTo>
                    <a:pt x="32" y="161"/>
                  </a:lnTo>
                  <a:lnTo>
                    <a:pt x="32" y="160"/>
                  </a:lnTo>
                  <a:lnTo>
                    <a:pt x="31" y="161"/>
                  </a:lnTo>
                  <a:lnTo>
                    <a:pt x="29" y="164"/>
                  </a:lnTo>
                  <a:lnTo>
                    <a:pt x="26" y="164"/>
                  </a:lnTo>
                  <a:lnTo>
                    <a:pt x="26" y="162"/>
                  </a:lnTo>
                  <a:lnTo>
                    <a:pt x="27" y="160"/>
                  </a:lnTo>
                  <a:lnTo>
                    <a:pt x="29" y="159"/>
                  </a:lnTo>
                  <a:lnTo>
                    <a:pt x="30" y="158"/>
                  </a:lnTo>
                  <a:lnTo>
                    <a:pt x="30" y="159"/>
                  </a:lnTo>
                  <a:lnTo>
                    <a:pt x="31" y="158"/>
                  </a:lnTo>
                  <a:lnTo>
                    <a:pt x="33" y="158"/>
                  </a:lnTo>
                  <a:lnTo>
                    <a:pt x="31" y="155"/>
                  </a:lnTo>
                  <a:lnTo>
                    <a:pt x="29" y="156"/>
                  </a:lnTo>
                  <a:lnTo>
                    <a:pt x="26" y="158"/>
                  </a:lnTo>
                  <a:lnTo>
                    <a:pt x="26" y="155"/>
                  </a:lnTo>
                  <a:lnTo>
                    <a:pt x="23" y="153"/>
                  </a:lnTo>
                  <a:lnTo>
                    <a:pt x="26" y="153"/>
                  </a:lnTo>
                  <a:lnTo>
                    <a:pt x="27" y="149"/>
                  </a:lnTo>
                  <a:lnTo>
                    <a:pt x="25" y="150"/>
                  </a:lnTo>
                  <a:lnTo>
                    <a:pt x="25" y="149"/>
                  </a:lnTo>
                  <a:lnTo>
                    <a:pt x="27" y="146"/>
                  </a:lnTo>
                  <a:lnTo>
                    <a:pt x="30" y="144"/>
                  </a:lnTo>
                  <a:lnTo>
                    <a:pt x="27" y="143"/>
                  </a:lnTo>
                  <a:lnTo>
                    <a:pt x="23" y="146"/>
                  </a:lnTo>
                  <a:lnTo>
                    <a:pt x="18" y="150"/>
                  </a:lnTo>
                  <a:lnTo>
                    <a:pt x="15" y="154"/>
                  </a:lnTo>
                  <a:lnTo>
                    <a:pt x="15" y="152"/>
                  </a:lnTo>
                  <a:lnTo>
                    <a:pt x="15" y="150"/>
                  </a:lnTo>
                  <a:lnTo>
                    <a:pt x="17" y="148"/>
                  </a:lnTo>
                  <a:lnTo>
                    <a:pt x="14" y="149"/>
                  </a:lnTo>
                  <a:lnTo>
                    <a:pt x="17" y="144"/>
                  </a:lnTo>
                  <a:lnTo>
                    <a:pt x="18" y="142"/>
                  </a:lnTo>
                  <a:lnTo>
                    <a:pt x="20" y="143"/>
                  </a:lnTo>
                  <a:lnTo>
                    <a:pt x="19" y="142"/>
                  </a:lnTo>
                  <a:lnTo>
                    <a:pt x="20" y="141"/>
                  </a:lnTo>
                  <a:lnTo>
                    <a:pt x="21" y="139"/>
                  </a:lnTo>
                  <a:lnTo>
                    <a:pt x="23" y="137"/>
                  </a:lnTo>
                  <a:lnTo>
                    <a:pt x="17" y="137"/>
                  </a:lnTo>
                  <a:lnTo>
                    <a:pt x="12" y="136"/>
                  </a:lnTo>
                  <a:lnTo>
                    <a:pt x="15" y="136"/>
                  </a:lnTo>
                  <a:lnTo>
                    <a:pt x="17" y="136"/>
                  </a:lnTo>
                  <a:lnTo>
                    <a:pt x="17" y="135"/>
                  </a:lnTo>
                  <a:lnTo>
                    <a:pt x="18" y="135"/>
                  </a:lnTo>
                  <a:lnTo>
                    <a:pt x="19" y="135"/>
                  </a:lnTo>
                  <a:lnTo>
                    <a:pt x="19" y="133"/>
                  </a:lnTo>
                  <a:lnTo>
                    <a:pt x="20" y="133"/>
                  </a:lnTo>
                  <a:lnTo>
                    <a:pt x="21" y="133"/>
                  </a:lnTo>
                  <a:lnTo>
                    <a:pt x="23" y="135"/>
                  </a:lnTo>
                  <a:lnTo>
                    <a:pt x="24" y="136"/>
                  </a:lnTo>
                  <a:lnTo>
                    <a:pt x="25" y="137"/>
                  </a:lnTo>
                  <a:lnTo>
                    <a:pt x="25" y="138"/>
                  </a:lnTo>
                  <a:lnTo>
                    <a:pt x="26" y="138"/>
                  </a:lnTo>
                  <a:lnTo>
                    <a:pt x="27" y="137"/>
                  </a:lnTo>
                  <a:lnTo>
                    <a:pt x="29" y="136"/>
                  </a:lnTo>
                  <a:lnTo>
                    <a:pt x="32" y="136"/>
                  </a:lnTo>
                  <a:lnTo>
                    <a:pt x="33" y="137"/>
                  </a:lnTo>
                  <a:lnTo>
                    <a:pt x="36" y="137"/>
                  </a:lnTo>
                  <a:lnTo>
                    <a:pt x="37" y="137"/>
                  </a:lnTo>
                  <a:lnTo>
                    <a:pt x="39" y="136"/>
                  </a:lnTo>
                  <a:lnTo>
                    <a:pt x="42" y="137"/>
                  </a:lnTo>
                  <a:lnTo>
                    <a:pt x="44" y="137"/>
                  </a:lnTo>
                  <a:lnTo>
                    <a:pt x="44" y="135"/>
                  </a:lnTo>
                  <a:lnTo>
                    <a:pt x="46" y="135"/>
                  </a:lnTo>
                  <a:lnTo>
                    <a:pt x="46" y="137"/>
                  </a:lnTo>
                  <a:lnTo>
                    <a:pt x="47" y="136"/>
                  </a:lnTo>
                  <a:lnTo>
                    <a:pt x="50" y="137"/>
                  </a:lnTo>
                  <a:lnTo>
                    <a:pt x="53" y="137"/>
                  </a:lnTo>
                  <a:lnTo>
                    <a:pt x="54" y="138"/>
                  </a:lnTo>
                  <a:lnTo>
                    <a:pt x="56" y="139"/>
                  </a:lnTo>
                  <a:lnTo>
                    <a:pt x="58" y="138"/>
                  </a:lnTo>
                  <a:lnTo>
                    <a:pt x="58" y="137"/>
                  </a:lnTo>
                  <a:lnTo>
                    <a:pt x="59" y="133"/>
                  </a:lnTo>
                  <a:lnTo>
                    <a:pt x="56" y="135"/>
                  </a:lnTo>
                  <a:lnTo>
                    <a:pt x="56" y="133"/>
                  </a:lnTo>
                  <a:lnTo>
                    <a:pt x="55" y="135"/>
                  </a:lnTo>
                  <a:lnTo>
                    <a:pt x="55" y="133"/>
                  </a:lnTo>
                  <a:lnTo>
                    <a:pt x="53" y="133"/>
                  </a:lnTo>
                  <a:lnTo>
                    <a:pt x="52" y="132"/>
                  </a:lnTo>
                  <a:lnTo>
                    <a:pt x="50" y="132"/>
                  </a:lnTo>
                  <a:lnTo>
                    <a:pt x="50" y="133"/>
                  </a:lnTo>
                  <a:lnTo>
                    <a:pt x="50" y="131"/>
                  </a:lnTo>
                  <a:lnTo>
                    <a:pt x="50" y="129"/>
                  </a:lnTo>
                  <a:lnTo>
                    <a:pt x="48" y="130"/>
                  </a:lnTo>
                  <a:lnTo>
                    <a:pt x="47" y="131"/>
                  </a:lnTo>
                  <a:lnTo>
                    <a:pt x="46" y="130"/>
                  </a:lnTo>
                  <a:lnTo>
                    <a:pt x="44" y="129"/>
                  </a:lnTo>
                  <a:lnTo>
                    <a:pt x="43" y="131"/>
                  </a:lnTo>
                  <a:lnTo>
                    <a:pt x="43" y="129"/>
                  </a:lnTo>
                  <a:lnTo>
                    <a:pt x="43" y="127"/>
                  </a:lnTo>
                  <a:lnTo>
                    <a:pt x="43" y="126"/>
                  </a:lnTo>
                  <a:lnTo>
                    <a:pt x="44" y="126"/>
                  </a:lnTo>
                  <a:lnTo>
                    <a:pt x="47" y="126"/>
                  </a:lnTo>
                  <a:lnTo>
                    <a:pt x="48" y="126"/>
                  </a:lnTo>
                  <a:lnTo>
                    <a:pt x="48" y="125"/>
                  </a:lnTo>
                  <a:lnTo>
                    <a:pt x="48" y="124"/>
                  </a:lnTo>
                  <a:lnTo>
                    <a:pt x="47" y="123"/>
                  </a:lnTo>
                  <a:lnTo>
                    <a:pt x="47" y="121"/>
                  </a:lnTo>
                  <a:lnTo>
                    <a:pt x="44" y="123"/>
                  </a:lnTo>
                  <a:lnTo>
                    <a:pt x="46" y="121"/>
                  </a:lnTo>
                  <a:lnTo>
                    <a:pt x="47" y="119"/>
                  </a:lnTo>
                  <a:lnTo>
                    <a:pt x="49" y="119"/>
                  </a:lnTo>
                  <a:lnTo>
                    <a:pt x="50" y="120"/>
                  </a:lnTo>
                  <a:lnTo>
                    <a:pt x="52" y="119"/>
                  </a:lnTo>
                  <a:lnTo>
                    <a:pt x="53" y="118"/>
                  </a:lnTo>
                  <a:lnTo>
                    <a:pt x="54" y="117"/>
                  </a:lnTo>
                  <a:lnTo>
                    <a:pt x="56" y="117"/>
                  </a:lnTo>
                  <a:lnTo>
                    <a:pt x="56" y="114"/>
                  </a:lnTo>
                  <a:lnTo>
                    <a:pt x="54" y="113"/>
                  </a:lnTo>
                  <a:lnTo>
                    <a:pt x="54" y="112"/>
                  </a:lnTo>
                  <a:lnTo>
                    <a:pt x="56" y="113"/>
                  </a:lnTo>
                  <a:lnTo>
                    <a:pt x="58" y="112"/>
                  </a:lnTo>
                  <a:lnTo>
                    <a:pt x="58" y="111"/>
                  </a:lnTo>
                  <a:lnTo>
                    <a:pt x="60" y="111"/>
                  </a:lnTo>
                  <a:lnTo>
                    <a:pt x="62" y="109"/>
                  </a:lnTo>
                  <a:lnTo>
                    <a:pt x="64" y="109"/>
                  </a:lnTo>
                  <a:lnTo>
                    <a:pt x="65" y="108"/>
                  </a:lnTo>
                  <a:lnTo>
                    <a:pt x="64" y="106"/>
                  </a:lnTo>
                  <a:lnTo>
                    <a:pt x="64" y="105"/>
                  </a:lnTo>
                  <a:lnTo>
                    <a:pt x="61" y="107"/>
                  </a:lnTo>
                  <a:lnTo>
                    <a:pt x="59" y="108"/>
                  </a:lnTo>
                  <a:lnTo>
                    <a:pt x="60" y="107"/>
                  </a:lnTo>
                  <a:lnTo>
                    <a:pt x="62" y="103"/>
                  </a:lnTo>
                  <a:lnTo>
                    <a:pt x="64" y="103"/>
                  </a:lnTo>
                  <a:lnTo>
                    <a:pt x="62" y="102"/>
                  </a:lnTo>
                  <a:lnTo>
                    <a:pt x="62" y="101"/>
                  </a:lnTo>
                  <a:lnTo>
                    <a:pt x="62" y="100"/>
                  </a:lnTo>
                  <a:lnTo>
                    <a:pt x="60" y="101"/>
                  </a:lnTo>
                  <a:lnTo>
                    <a:pt x="58" y="102"/>
                  </a:lnTo>
                  <a:lnTo>
                    <a:pt x="54" y="103"/>
                  </a:lnTo>
                  <a:lnTo>
                    <a:pt x="55" y="101"/>
                  </a:lnTo>
                  <a:lnTo>
                    <a:pt x="56" y="99"/>
                  </a:lnTo>
                  <a:lnTo>
                    <a:pt x="58" y="97"/>
                  </a:lnTo>
                  <a:lnTo>
                    <a:pt x="60" y="96"/>
                  </a:lnTo>
                  <a:lnTo>
                    <a:pt x="62" y="97"/>
                  </a:lnTo>
                  <a:lnTo>
                    <a:pt x="62" y="96"/>
                  </a:lnTo>
                  <a:lnTo>
                    <a:pt x="55" y="95"/>
                  </a:lnTo>
                  <a:lnTo>
                    <a:pt x="54" y="94"/>
                  </a:lnTo>
                  <a:lnTo>
                    <a:pt x="56" y="94"/>
                  </a:lnTo>
                  <a:lnTo>
                    <a:pt x="58" y="93"/>
                  </a:lnTo>
                  <a:lnTo>
                    <a:pt x="60" y="93"/>
                  </a:lnTo>
                  <a:lnTo>
                    <a:pt x="62" y="93"/>
                  </a:lnTo>
                  <a:lnTo>
                    <a:pt x="65" y="94"/>
                  </a:lnTo>
                  <a:lnTo>
                    <a:pt x="65" y="93"/>
                  </a:lnTo>
                  <a:lnTo>
                    <a:pt x="66" y="93"/>
                  </a:lnTo>
                  <a:lnTo>
                    <a:pt x="67" y="91"/>
                  </a:lnTo>
                  <a:lnTo>
                    <a:pt x="64" y="90"/>
                  </a:lnTo>
                  <a:lnTo>
                    <a:pt x="64" y="88"/>
                  </a:lnTo>
                  <a:lnTo>
                    <a:pt x="62" y="87"/>
                  </a:lnTo>
                  <a:lnTo>
                    <a:pt x="62" y="85"/>
                  </a:lnTo>
                  <a:lnTo>
                    <a:pt x="62" y="84"/>
                  </a:lnTo>
                  <a:lnTo>
                    <a:pt x="62" y="83"/>
                  </a:lnTo>
                  <a:lnTo>
                    <a:pt x="64" y="83"/>
                  </a:lnTo>
                  <a:lnTo>
                    <a:pt x="65" y="83"/>
                  </a:lnTo>
                  <a:lnTo>
                    <a:pt x="66" y="85"/>
                  </a:lnTo>
                  <a:lnTo>
                    <a:pt x="67" y="85"/>
                  </a:lnTo>
                  <a:lnTo>
                    <a:pt x="67" y="88"/>
                  </a:lnTo>
                  <a:lnTo>
                    <a:pt x="67" y="90"/>
                  </a:lnTo>
                  <a:lnTo>
                    <a:pt x="68" y="93"/>
                  </a:lnTo>
                  <a:lnTo>
                    <a:pt x="70" y="94"/>
                  </a:lnTo>
                  <a:lnTo>
                    <a:pt x="72" y="95"/>
                  </a:lnTo>
                  <a:lnTo>
                    <a:pt x="73" y="95"/>
                  </a:lnTo>
                  <a:lnTo>
                    <a:pt x="76" y="94"/>
                  </a:lnTo>
                  <a:lnTo>
                    <a:pt x="77" y="93"/>
                  </a:lnTo>
                  <a:lnTo>
                    <a:pt x="78" y="93"/>
                  </a:lnTo>
                  <a:lnTo>
                    <a:pt x="79" y="93"/>
                  </a:lnTo>
                  <a:lnTo>
                    <a:pt x="80" y="91"/>
                  </a:lnTo>
                  <a:lnTo>
                    <a:pt x="82" y="90"/>
                  </a:lnTo>
                  <a:lnTo>
                    <a:pt x="83" y="89"/>
                  </a:lnTo>
                  <a:lnTo>
                    <a:pt x="83" y="88"/>
                  </a:lnTo>
                  <a:lnTo>
                    <a:pt x="83" y="87"/>
                  </a:lnTo>
                  <a:lnTo>
                    <a:pt x="83" y="85"/>
                  </a:lnTo>
                  <a:lnTo>
                    <a:pt x="82" y="84"/>
                  </a:lnTo>
                  <a:lnTo>
                    <a:pt x="82" y="83"/>
                  </a:lnTo>
                  <a:lnTo>
                    <a:pt x="83" y="84"/>
                  </a:lnTo>
                  <a:lnTo>
                    <a:pt x="84" y="84"/>
                  </a:lnTo>
                  <a:lnTo>
                    <a:pt x="84" y="83"/>
                  </a:lnTo>
                  <a:lnTo>
                    <a:pt x="85" y="83"/>
                  </a:lnTo>
                  <a:lnTo>
                    <a:pt x="86" y="81"/>
                  </a:lnTo>
                  <a:lnTo>
                    <a:pt x="85" y="77"/>
                  </a:lnTo>
                  <a:lnTo>
                    <a:pt x="85" y="78"/>
                  </a:lnTo>
                  <a:lnTo>
                    <a:pt x="84" y="77"/>
                  </a:lnTo>
                  <a:lnTo>
                    <a:pt x="83" y="78"/>
                  </a:lnTo>
                  <a:lnTo>
                    <a:pt x="82" y="77"/>
                  </a:lnTo>
                  <a:lnTo>
                    <a:pt x="82" y="76"/>
                  </a:lnTo>
                  <a:lnTo>
                    <a:pt x="83" y="76"/>
                  </a:lnTo>
                  <a:lnTo>
                    <a:pt x="84" y="77"/>
                  </a:lnTo>
                  <a:lnTo>
                    <a:pt x="84" y="75"/>
                  </a:lnTo>
                  <a:lnTo>
                    <a:pt x="84" y="73"/>
                  </a:lnTo>
                  <a:lnTo>
                    <a:pt x="84" y="72"/>
                  </a:lnTo>
                  <a:lnTo>
                    <a:pt x="85" y="71"/>
                  </a:lnTo>
                  <a:lnTo>
                    <a:pt x="86" y="71"/>
                  </a:lnTo>
                  <a:lnTo>
                    <a:pt x="86" y="73"/>
                  </a:lnTo>
                  <a:lnTo>
                    <a:pt x="88" y="73"/>
                  </a:lnTo>
                  <a:lnTo>
                    <a:pt x="89" y="75"/>
                  </a:lnTo>
                  <a:lnTo>
                    <a:pt x="86" y="75"/>
                  </a:lnTo>
                  <a:lnTo>
                    <a:pt x="86" y="76"/>
                  </a:lnTo>
                  <a:lnTo>
                    <a:pt x="86" y="78"/>
                  </a:lnTo>
                  <a:lnTo>
                    <a:pt x="86" y="79"/>
                  </a:lnTo>
                  <a:lnTo>
                    <a:pt x="88" y="79"/>
                  </a:lnTo>
                  <a:lnTo>
                    <a:pt x="88" y="78"/>
                  </a:lnTo>
                  <a:lnTo>
                    <a:pt x="88" y="77"/>
                  </a:lnTo>
                  <a:lnTo>
                    <a:pt x="88" y="76"/>
                  </a:lnTo>
                  <a:lnTo>
                    <a:pt x="89" y="76"/>
                  </a:lnTo>
                  <a:lnTo>
                    <a:pt x="90" y="76"/>
                  </a:lnTo>
                  <a:lnTo>
                    <a:pt x="89" y="78"/>
                  </a:lnTo>
                  <a:lnTo>
                    <a:pt x="90" y="79"/>
                  </a:lnTo>
                  <a:lnTo>
                    <a:pt x="91" y="82"/>
                  </a:lnTo>
                  <a:lnTo>
                    <a:pt x="89" y="83"/>
                  </a:lnTo>
                  <a:lnTo>
                    <a:pt x="90" y="83"/>
                  </a:lnTo>
                  <a:lnTo>
                    <a:pt x="91" y="83"/>
                  </a:lnTo>
                  <a:lnTo>
                    <a:pt x="92" y="82"/>
                  </a:lnTo>
                  <a:lnTo>
                    <a:pt x="94" y="82"/>
                  </a:lnTo>
                  <a:lnTo>
                    <a:pt x="95" y="81"/>
                  </a:lnTo>
                  <a:lnTo>
                    <a:pt x="94" y="79"/>
                  </a:lnTo>
                  <a:lnTo>
                    <a:pt x="91" y="79"/>
                  </a:lnTo>
                  <a:lnTo>
                    <a:pt x="91" y="77"/>
                  </a:lnTo>
                  <a:lnTo>
                    <a:pt x="90" y="75"/>
                  </a:lnTo>
                  <a:lnTo>
                    <a:pt x="91" y="75"/>
                  </a:lnTo>
                  <a:lnTo>
                    <a:pt x="92" y="75"/>
                  </a:lnTo>
                  <a:lnTo>
                    <a:pt x="94" y="75"/>
                  </a:lnTo>
                  <a:lnTo>
                    <a:pt x="94" y="76"/>
                  </a:lnTo>
                  <a:lnTo>
                    <a:pt x="95" y="75"/>
                  </a:lnTo>
                  <a:lnTo>
                    <a:pt x="96" y="75"/>
                  </a:lnTo>
                  <a:lnTo>
                    <a:pt x="97" y="75"/>
                  </a:lnTo>
                  <a:lnTo>
                    <a:pt x="97" y="76"/>
                  </a:lnTo>
                  <a:lnTo>
                    <a:pt x="97" y="78"/>
                  </a:lnTo>
                  <a:lnTo>
                    <a:pt x="98" y="78"/>
                  </a:lnTo>
                  <a:lnTo>
                    <a:pt x="100" y="77"/>
                  </a:lnTo>
                  <a:lnTo>
                    <a:pt x="98" y="79"/>
                  </a:lnTo>
                  <a:lnTo>
                    <a:pt x="100" y="81"/>
                  </a:lnTo>
                  <a:lnTo>
                    <a:pt x="101" y="78"/>
                  </a:lnTo>
                  <a:lnTo>
                    <a:pt x="101" y="79"/>
                  </a:lnTo>
                  <a:lnTo>
                    <a:pt x="102" y="79"/>
                  </a:lnTo>
                  <a:lnTo>
                    <a:pt x="103" y="77"/>
                  </a:lnTo>
                  <a:lnTo>
                    <a:pt x="102" y="78"/>
                  </a:lnTo>
                  <a:lnTo>
                    <a:pt x="102" y="77"/>
                  </a:lnTo>
                  <a:lnTo>
                    <a:pt x="101" y="77"/>
                  </a:lnTo>
                  <a:lnTo>
                    <a:pt x="101" y="76"/>
                  </a:lnTo>
                  <a:lnTo>
                    <a:pt x="102" y="76"/>
                  </a:lnTo>
                  <a:lnTo>
                    <a:pt x="102" y="75"/>
                  </a:lnTo>
                  <a:lnTo>
                    <a:pt x="103" y="75"/>
                  </a:lnTo>
                  <a:lnTo>
                    <a:pt x="105" y="75"/>
                  </a:lnTo>
                  <a:lnTo>
                    <a:pt x="105" y="76"/>
                  </a:lnTo>
                  <a:lnTo>
                    <a:pt x="106" y="75"/>
                  </a:lnTo>
                  <a:lnTo>
                    <a:pt x="106" y="73"/>
                  </a:lnTo>
                  <a:lnTo>
                    <a:pt x="107" y="69"/>
                  </a:lnTo>
                  <a:lnTo>
                    <a:pt x="107" y="71"/>
                  </a:lnTo>
                  <a:lnTo>
                    <a:pt x="107" y="72"/>
                  </a:lnTo>
                  <a:lnTo>
                    <a:pt x="109" y="72"/>
                  </a:lnTo>
                  <a:lnTo>
                    <a:pt x="109" y="73"/>
                  </a:lnTo>
                  <a:lnTo>
                    <a:pt x="108" y="75"/>
                  </a:lnTo>
                  <a:lnTo>
                    <a:pt x="108" y="77"/>
                  </a:lnTo>
                  <a:lnTo>
                    <a:pt x="109" y="78"/>
                  </a:lnTo>
                  <a:lnTo>
                    <a:pt x="109" y="77"/>
                  </a:lnTo>
                  <a:lnTo>
                    <a:pt x="112" y="78"/>
                  </a:lnTo>
                  <a:lnTo>
                    <a:pt x="112" y="81"/>
                  </a:lnTo>
                  <a:lnTo>
                    <a:pt x="114" y="79"/>
                  </a:lnTo>
                  <a:lnTo>
                    <a:pt x="114" y="81"/>
                  </a:lnTo>
                  <a:lnTo>
                    <a:pt x="115" y="81"/>
                  </a:lnTo>
                  <a:lnTo>
                    <a:pt x="117" y="82"/>
                  </a:lnTo>
                  <a:lnTo>
                    <a:pt x="118" y="83"/>
                  </a:lnTo>
                  <a:lnTo>
                    <a:pt x="119" y="85"/>
                  </a:lnTo>
                  <a:lnTo>
                    <a:pt x="119" y="87"/>
                  </a:lnTo>
                  <a:lnTo>
                    <a:pt x="115" y="84"/>
                  </a:lnTo>
                  <a:lnTo>
                    <a:pt x="112" y="82"/>
                  </a:lnTo>
                  <a:lnTo>
                    <a:pt x="111" y="81"/>
                  </a:lnTo>
                  <a:lnTo>
                    <a:pt x="111" y="82"/>
                  </a:lnTo>
                  <a:lnTo>
                    <a:pt x="112" y="83"/>
                  </a:lnTo>
                  <a:lnTo>
                    <a:pt x="113" y="85"/>
                  </a:lnTo>
                  <a:lnTo>
                    <a:pt x="114" y="87"/>
                  </a:lnTo>
                  <a:lnTo>
                    <a:pt x="115" y="88"/>
                  </a:lnTo>
                  <a:lnTo>
                    <a:pt x="114" y="88"/>
                  </a:lnTo>
                  <a:lnTo>
                    <a:pt x="115" y="93"/>
                  </a:lnTo>
                  <a:lnTo>
                    <a:pt x="117" y="95"/>
                  </a:lnTo>
                  <a:lnTo>
                    <a:pt x="118" y="95"/>
                  </a:lnTo>
                  <a:lnTo>
                    <a:pt x="118" y="96"/>
                  </a:lnTo>
                  <a:lnTo>
                    <a:pt x="119" y="96"/>
                  </a:lnTo>
                  <a:lnTo>
                    <a:pt x="119" y="97"/>
                  </a:lnTo>
                  <a:lnTo>
                    <a:pt x="120" y="96"/>
                  </a:lnTo>
                  <a:lnTo>
                    <a:pt x="120" y="100"/>
                  </a:lnTo>
                  <a:lnTo>
                    <a:pt x="120" y="101"/>
                  </a:lnTo>
                  <a:lnTo>
                    <a:pt x="121" y="101"/>
                  </a:lnTo>
                  <a:lnTo>
                    <a:pt x="123" y="101"/>
                  </a:lnTo>
                  <a:lnTo>
                    <a:pt x="123" y="100"/>
                  </a:lnTo>
                  <a:lnTo>
                    <a:pt x="124" y="99"/>
                  </a:lnTo>
                  <a:lnTo>
                    <a:pt x="125" y="97"/>
                  </a:lnTo>
                  <a:lnTo>
                    <a:pt x="127" y="96"/>
                  </a:lnTo>
                  <a:lnTo>
                    <a:pt x="125" y="96"/>
                  </a:lnTo>
                  <a:lnTo>
                    <a:pt x="123" y="97"/>
                  </a:lnTo>
                  <a:lnTo>
                    <a:pt x="121" y="96"/>
                  </a:lnTo>
                  <a:lnTo>
                    <a:pt x="121" y="95"/>
                  </a:lnTo>
                  <a:lnTo>
                    <a:pt x="123" y="94"/>
                  </a:lnTo>
                  <a:lnTo>
                    <a:pt x="123" y="93"/>
                  </a:lnTo>
                  <a:lnTo>
                    <a:pt x="124" y="93"/>
                  </a:lnTo>
                  <a:lnTo>
                    <a:pt x="125" y="91"/>
                  </a:lnTo>
                  <a:lnTo>
                    <a:pt x="126" y="91"/>
                  </a:lnTo>
                  <a:lnTo>
                    <a:pt x="127" y="90"/>
                  </a:lnTo>
                  <a:lnTo>
                    <a:pt x="126" y="89"/>
                  </a:lnTo>
                  <a:lnTo>
                    <a:pt x="126" y="88"/>
                  </a:lnTo>
                  <a:lnTo>
                    <a:pt x="123" y="90"/>
                  </a:lnTo>
                  <a:lnTo>
                    <a:pt x="121" y="90"/>
                  </a:lnTo>
                  <a:lnTo>
                    <a:pt x="123" y="89"/>
                  </a:lnTo>
                  <a:lnTo>
                    <a:pt x="121" y="89"/>
                  </a:lnTo>
                  <a:lnTo>
                    <a:pt x="121" y="88"/>
                  </a:lnTo>
                  <a:lnTo>
                    <a:pt x="121" y="85"/>
                  </a:lnTo>
                  <a:lnTo>
                    <a:pt x="121" y="84"/>
                  </a:lnTo>
                  <a:lnTo>
                    <a:pt x="119" y="81"/>
                  </a:lnTo>
                  <a:lnTo>
                    <a:pt x="121" y="82"/>
                  </a:lnTo>
                  <a:lnTo>
                    <a:pt x="123" y="82"/>
                  </a:lnTo>
                  <a:lnTo>
                    <a:pt x="125" y="82"/>
                  </a:lnTo>
                  <a:lnTo>
                    <a:pt x="126" y="82"/>
                  </a:lnTo>
                  <a:lnTo>
                    <a:pt x="127" y="79"/>
                  </a:lnTo>
                  <a:lnTo>
                    <a:pt x="126" y="78"/>
                  </a:lnTo>
                  <a:lnTo>
                    <a:pt x="125" y="79"/>
                  </a:lnTo>
                  <a:lnTo>
                    <a:pt x="124" y="79"/>
                  </a:lnTo>
                  <a:lnTo>
                    <a:pt x="123" y="77"/>
                  </a:lnTo>
                  <a:lnTo>
                    <a:pt x="123" y="76"/>
                  </a:lnTo>
                  <a:lnTo>
                    <a:pt x="125" y="76"/>
                  </a:lnTo>
                  <a:lnTo>
                    <a:pt x="127" y="77"/>
                  </a:lnTo>
                  <a:lnTo>
                    <a:pt x="127" y="76"/>
                  </a:lnTo>
                  <a:lnTo>
                    <a:pt x="129" y="76"/>
                  </a:lnTo>
                  <a:lnTo>
                    <a:pt x="130" y="75"/>
                  </a:lnTo>
                  <a:lnTo>
                    <a:pt x="130" y="73"/>
                  </a:lnTo>
                  <a:lnTo>
                    <a:pt x="131" y="76"/>
                  </a:lnTo>
                  <a:lnTo>
                    <a:pt x="131" y="78"/>
                  </a:lnTo>
                  <a:lnTo>
                    <a:pt x="132" y="77"/>
                  </a:lnTo>
                  <a:lnTo>
                    <a:pt x="132" y="78"/>
                  </a:lnTo>
                  <a:lnTo>
                    <a:pt x="133" y="79"/>
                  </a:lnTo>
                  <a:lnTo>
                    <a:pt x="135" y="81"/>
                  </a:lnTo>
                  <a:lnTo>
                    <a:pt x="136" y="82"/>
                  </a:lnTo>
                  <a:lnTo>
                    <a:pt x="137" y="85"/>
                  </a:lnTo>
                  <a:lnTo>
                    <a:pt x="137" y="87"/>
                  </a:lnTo>
                  <a:lnTo>
                    <a:pt x="138" y="88"/>
                  </a:lnTo>
                  <a:lnTo>
                    <a:pt x="138" y="87"/>
                  </a:lnTo>
                  <a:lnTo>
                    <a:pt x="139" y="88"/>
                  </a:lnTo>
                  <a:lnTo>
                    <a:pt x="141" y="87"/>
                  </a:lnTo>
                  <a:lnTo>
                    <a:pt x="142" y="87"/>
                  </a:lnTo>
                  <a:lnTo>
                    <a:pt x="142" y="84"/>
                  </a:lnTo>
                  <a:lnTo>
                    <a:pt x="144" y="85"/>
                  </a:lnTo>
                  <a:lnTo>
                    <a:pt x="145" y="87"/>
                  </a:lnTo>
                  <a:lnTo>
                    <a:pt x="147" y="89"/>
                  </a:lnTo>
                  <a:lnTo>
                    <a:pt x="148" y="89"/>
                  </a:lnTo>
                  <a:lnTo>
                    <a:pt x="149" y="91"/>
                  </a:lnTo>
                  <a:lnTo>
                    <a:pt x="150" y="91"/>
                  </a:lnTo>
                  <a:lnTo>
                    <a:pt x="153" y="90"/>
                  </a:lnTo>
                  <a:lnTo>
                    <a:pt x="150" y="90"/>
                  </a:lnTo>
                  <a:lnTo>
                    <a:pt x="151" y="89"/>
                  </a:lnTo>
                  <a:lnTo>
                    <a:pt x="151" y="88"/>
                  </a:lnTo>
                  <a:lnTo>
                    <a:pt x="153" y="88"/>
                  </a:lnTo>
                  <a:lnTo>
                    <a:pt x="154" y="87"/>
                  </a:lnTo>
                  <a:lnTo>
                    <a:pt x="154" y="85"/>
                  </a:lnTo>
                  <a:lnTo>
                    <a:pt x="156" y="85"/>
                  </a:lnTo>
                  <a:lnTo>
                    <a:pt x="156" y="87"/>
                  </a:lnTo>
                  <a:lnTo>
                    <a:pt x="159" y="87"/>
                  </a:lnTo>
                  <a:lnTo>
                    <a:pt x="160" y="88"/>
                  </a:lnTo>
                  <a:lnTo>
                    <a:pt x="160" y="89"/>
                  </a:lnTo>
                  <a:lnTo>
                    <a:pt x="160" y="88"/>
                  </a:lnTo>
                  <a:lnTo>
                    <a:pt x="161" y="88"/>
                  </a:lnTo>
                  <a:lnTo>
                    <a:pt x="161" y="87"/>
                  </a:lnTo>
                  <a:lnTo>
                    <a:pt x="162" y="87"/>
                  </a:lnTo>
                  <a:lnTo>
                    <a:pt x="164" y="88"/>
                  </a:lnTo>
                  <a:lnTo>
                    <a:pt x="165" y="87"/>
                  </a:lnTo>
                  <a:lnTo>
                    <a:pt x="162" y="87"/>
                  </a:lnTo>
                  <a:lnTo>
                    <a:pt x="161" y="85"/>
                  </a:lnTo>
                  <a:lnTo>
                    <a:pt x="161" y="83"/>
                  </a:lnTo>
                  <a:lnTo>
                    <a:pt x="162" y="84"/>
                  </a:lnTo>
                  <a:lnTo>
                    <a:pt x="164" y="83"/>
                  </a:lnTo>
                  <a:lnTo>
                    <a:pt x="165" y="82"/>
                  </a:lnTo>
                  <a:lnTo>
                    <a:pt x="165" y="81"/>
                  </a:lnTo>
                  <a:lnTo>
                    <a:pt x="166" y="82"/>
                  </a:lnTo>
                  <a:lnTo>
                    <a:pt x="167" y="82"/>
                  </a:lnTo>
                  <a:lnTo>
                    <a:pt x="168" y="83"/>
                  </a:lnTo>
                  <a:lnTo>
                    <a:pt x="170" y="83"/>
                  </a:lnTo>
                  <a:lnTo>
                    <a:pt x="171" y="82"/>
                  </a:lnTo>
                  <a:lnTo>
                    <a:pt x="170" y="81"/>
                  </a:lnTo>
                  <a:lnTo>
                    <a:pt x="170" y="79"/>
                  </a:lnTo>
                  <a:lnTo>
                    <a:pt x="172" y="78"/>
                  </a:lnTo>
                  <a:lnTo>
                    <a:pt x="172" y="77"/>
                  </a:lnTo>
                  <a:lnTo>
                    <a:pt x="173" y="77"/>
                  </a:lnTo>
                  <a:lnTo>
                    <a:pt x="171" y="77"/>
                  </a:lnTo>
                  <a:lnTo>
                    <a:pt x="168" y="78"/>
                  </a:lnTo>
                  <a:lnTo>
                    <a:pt x="168" y="77"/>
                  </a:lnTo>
                  <a:lnTo>
                    <a:pt x="170" y="75"/>
                  </a:lnTo>
                  <a:lnTo>
                    <a:pt x="171" y="73"/>
                  </a:lnTo>
                  <a:lnTo>
                    <a:pt x="172" y="73"/>
                  </a:lnTo>
                  <a:lnTo>
                    <a:pt x="172" y="71"/>
                  </a:lnTo>
                  <a:lnTo>
                    <a:pt x="173" y="71"/>
                  </a:lnTo>
                  <a:lnTo>
                    <a:pt x="174" y="70"/>
                  </a:lnTo>
                  <a:lnTo>
                    <a:pt x="178" y="71"/>
                  </a:lnTo>
                  <a:lnTo>
                    <a:pt x="179" y="70"/>
                  </a:lnTo>
                  <a:lnTo>
                    <a:pt x="180" y="70"/>
                  </a:lnTo>
                  <a:lnTo>
                    <a:pt x="179" y="66"/>
                  </a:lnTo>
                  <a:lnTo>
                    <a:pt x="178" y="67"/>
                  </a:lnTo>
                  <a:lnTo>
                    <a:pt x="178" y="69"/>
                  </a:lnTo>
                  <a:lnTo>
                    <a:pt x="178" y="66"/>
                  </a:lnTo>
                  <a:lnTo>
                    <a:pt x="178" y="65"/>
                  </a:lnTo>
                  <a:lnTo>
                    <a:pt x="176" y="65"/>
                  </a:lnTo>
                  <a:lnTo>
                    <a:pt x="172" y="65"/>
                  </a:lnTo>
                  <a:lnTo>
                    <a:pt x="170" y="65"/>
                  </a:lnTo>
                  <a:lnTo>
                    <a:pt x="171" y="64"/>
                  </a:lnTo>
                  <a:lnTo>
                    <a:pt x="172" y="64"/>
                  </a:lnTo>
                  <a:lnTo>
                    <a:pt x="174" y="63"/>
                  </a:lnTo>
                  <a:lnTo>
                    <a:pt x="176" y="64"/>
                  </a:lnTo>
                  <a:lnTo>
                    <a:pt x="178" y="65"/>
                  </a:lnTo>
                  <a:lnTo>
                    <a:pt x="179" y="65"/>
                  </a:lnTo>
                  <a:lnTo>
                    <a:pt x="177" y="59"/>
                  </a:lnTo>
                  <a:lnTo>
                    <a:pt x="174" y="55"/>
                  </a:lnTo>
                  <a:lnTo>
                    <a:pt x="174" y="57"/>
                  </a:lnTo>
                  <a:lnTo>
                    <a:pt x="172" y="57"/>
                  </a:lnTo>
                  <a:lnTo>
                    <a:pt x="172" y="58"/>
                  </a:lnTo>
                  <a:lnTo>
                    <a:pt x="172" y="55"/>
                  </a:lnTo>
                  <a:lnTo>
                    <a:pt x="172" y="54"/>
                  </a:lnTo>
                  <a:lnTo>
                    <a:pt x="173" y="54"/>
                  </a:lnTo>
                  <a:lnTo>
                    <a:pt x="173" y="53"/>
                  </a:lnTo>
                  <a:lnTo>
                    <a:pt x="171" y="53"/>
                  </a:lnTo>
                  <a:lnTo>
                    <a:pt x="170" y="54"/>
                  </a:lnTo>
                  <a:lnTo>
                    <a:pt x="168" y="55"/>
                  </a:lnTo>
                  <a:lnTo>
                    <a:pt x="168" y="53"/>
                  </a:lnTo>
                  <a:lnTo>
                    <a:pt x="168" y="52"/>
                  </a:lnTo>
                  <a:lnTo>
                    <a:pt x="170" y="51"/>
                  </a:lnTo>
                  <a:lnTo>
                    <a:pt x="171" y="51"/>
                  </a:lnTo>
                  <a:lnTo>
                    <a:pt x="173" y="52"/>
                  </a:lnTo>
                  <a:lnTo>
                    <a:pt x="171" y="48"/>
                  </a:lnTo>
                  <a:lnTo>
                    <a:pt x="168" y="48"/>
                  </a:lnTo>
                  <a:lnTo>
                    <a:pt x="165" y="51"/>
                  </a:lnTo>
                  <a:lnTo>
                    <a:pt x="165" y="52"/>
                  </a:lnTo>
                  <a:lnTo>
                    <a:pt x="164" y="53"/>
                  </a:lnTo>
                  <a:lnTo>
                    <a:pt x="164" y="52"/>
                  </a:lnTo>
                  <a:lnTo>
                    <a:pt x="162" y="51"/>
                  </a:lnTo>
                  <a:lnTo>
                    <a:pt x="162" y="48"/>
                  </a:lnTo>
                  <a:lnTo>
                    <a:pt x="164" y="47"/>
                  </a:lnTo>
                  <a:lnTo>
                    <a:pt x="165" y="48"/>
                  </a:lnTo>
                  <a:lnTo>
                    <a:pt x="168" y="48"/>
                  </a:lnTo>
                  <a:lnTo>
                    <a:pt x="170" y="47"/>
                  </a:lnTo>
                  <a:lnTo>
                    <a:pt x="167" y="47"/>
                  </a:lnTo>
                  <a:lnTo>
                    <a:pt x="166" y="47"/>
                  </a:lnTo>
                  <a:lnTo>
                    <a:pt x="166" y="46"/>
                  </a:lnTo>
                  <a:lnTo>
                    <a:pt x="167" y="46"/>
                  </a:lnTo>
                  <a:lnTo>
                    <a:pt x="168" y="45"/>
                  </a:lnTo>
                  <a:lnTo>
                    <a:pt x="166" y="45"/>
                  </a:lnTo>
                  <a:lnTo>
                    <a:pt x="165" y="46"/>
                  </a:lnTo>
                  <a:lnTo>
                    <a:pt x="164" y="46"/>
                  </a:lnTo>
                  <a:lnTo>
                    <a:pt x="164" y="45"/>
                  </a:lnTo>
                  <a:lnTo>
                    <a:pt x="165" y="45"/>
                  </a:lnTo>
                  <a:lnTo>
                    <a:pt x="167" y="45"/>
                  </a:lnTo>
                  <a:lnTo>
                    <a:pt x="166" y="43"/>
                  </a:lnTo>
                  <a:lnTo>
                    <a:pt x="165" y="43"/>
                  </a:lnTo>
                  <a:lnTo>
                    <a:pt x="162" y="45"/>
                  </a:lnTo>
                  <a:lnTo>
                    <a:pt x="161" y="42"/>
                  </a:lnTo>
                  <a:lnTo>
                    <a:pt x="164" y="41"/>
                  </a:lnTo>
                  <a:lnTo>
                    <a:pt x="165" y="43"/>
                  </a:lnTo>
                  <a:lnTo>
                    <a:pt x="166" y="42"/>
                  </a:lnTo>
                  <a:lnTo>
                    <a:pt x="164" y="41"/>
                  </a:lnTo>
                  <a:lnTo>
                    <a:pt x="162" y="41"/>
                  </a:lnTo>
                  <a:lnTo>
                    <a:pt x="161" y="40"/>
                  </a:lnTo>
                  <a:lnTo>
                    <a:pt x="157" y="39"/>
                  </a:lnTo>
                  <a:lnTo>
                    <a:pt x="160" y="39"/>
                  </a:lnTo>
                  <a:lnTo>
                    <a:pt x="162" y="40"/>
                  </a:lnTo>
                  <a:lnTo>
                    <a:pt x="165" y="40"/>
                  </a:lnTo>
                  <a:lnTo>
                    <a:pt x="167" y="42"/>
                  </a:lnTo>
                  <a:lnTo>
                    <a:pt x="168" y="41"/>
                  </a:lnTo>
                  <a:lnTo>
                    <a:pt x="167" y="39"/>
                  </a:lnTo>
                  <a:lnTo>
                    <a:pt x="166" y="39"/>
                  </a:lnTo>
                  <a:lnTo>
                    <a:pt x="162" y="37"/>
                  </a:lnTo>
                  <a:lnTo>
                    <a:pt x="161" y="36"/>
                  </a:lnTo>
                  <a:lnTo>
                    <a:pt x="167" y="37"/>
                  </a:lnTo>
                  <a:lnTo>
                    <a:pt x="167" y="39"/>
                  </a:lnTo>
                  <a:lnTo>
                    <a:pt x="168" y="40"/>
                  </a:lnTo>
                  <a:lnTo>
                    <a:pt x="170" y="39"/>
                  </a:lnTo>
                  <a:lnTo>
                    <a:pt x="171" y="37"/>
                  </a:lnTo>
                  <a:lnTo>
                    <a:pt x="171" y="36"/>
                  </a:lnTo>
                  <a:lnTo>
                    <a:pt x="172" y="35"/>
                  </a:lnTo>
                  <a:lnTo>
                    <a:pt x="174" y="35"/>
                  </a:lnTo>
                  <a:lnTo>
                    <a:pt x="176" y="35"/>
                  </a:lnTo>
                  <a:lnTo>
                    <a:pt x="177" y="35"/>
                  </a:lnTo>
                  <a:lnTo>
                    <a:pt x="176" y="37"/>
                  </a:lnTo>
                  <a:lnTo>
                    <a:pt x="172" y="37"/>
                  </a:lnTo>
                  <a:lnTo>
                    <a:pt x="171" y="39"/>
                  </a:lnTo>
                  <a:lnTo>
                    <a:pt x="171" y="41"/>
                  </a:lnTo>
                  <a:lnTo>
                    <a:pt x="170" y="41"/>
                  </a:lnTo>
                  <a:lnTo>
                    <a:pt x="172" y="42"/>
                  </a:lnTo>
                  <a:lnTo>
                    <a:pt x="171" y="43"/>
                  </a:lnTo>
                  <a:lnTo>
                    <a:pt x="171" y="46"/>
                  </a:lnTo>
                  <a:lnTo>
                    <a:pt x="172" y="46"/>
                  </a:lnTo>
                  <a:lnTo>
                    <a:pt x="172" y="47"/>
                  </a:lnTo>
                  <a:lnTo>
                    <a:pt x="172" y="49"/>
                  </a:lnTo>
                  <a:lnTo>
                    <a:pt x="174" y="54"/>
                  </a:lnTo>
                  <a:lnTo>
                    <a:pt x="179" y="64"/>
                  </a:lnTo>
                  <a:lnTo>
                    <a:pt x="180" y="64"/>
                  </a:lnTo>
                  <a:lnTo>
                    <a:pt x="182" y="63"/>
                  </a:lnTo>
                  <a:lnTo>
                    <a:pt x="182" y="60"/>
                  </a:lnTo>
                  <a:lnTo>
                    <a:pt x="182" y="59"/>
                  </a:lnTo>
                  <a:lnTo>
                    <a:pt x="183" y="59"/>
                  </a:lnTo>
                  <a:lnTo>
                    <a:pt x="184" y="60"/>
                  </a:lnTo>
                  <a:lnTo>
                    <a:pt x="185" y="60"/>
                  </a:lnTo>
                  <a:lnTo>
                    <a:pt x="184" y="58"/>
                  </a:lnTo>
                  <a:lnTo>
                    <a:pt x="185" y="58"/>
                  </a:lnTo>
                  <a:lnTo>
                    <a:pt x="188" y="58"/>
                  </a:lnTo>
                  <a:lnTo>
                    <a:pt x="189" y="57"/>
                  </a:lnTo>
                  <a:lnTo>
                    <a:pt x="190" y="55"/>
                  </a:lnTo>
                  <a:lnTo>
                    <a:pt x="191" y="57"/>
                  </a:lnTo>
                  <a:lnTo>
                    <a:pt x="192" y="58"/>
                  </a:lnTo>
                  <a:lnTo>
                    <a:pt x="191" y="58"/>
                  </a:lnTo>
                  <a:lnTo>
                    <a:pt x="191" y="59"/>
                  </a:lnTo>
                  <a:lnTo>
                    <a:pt x="194" y="59"/>
                  </a:lnTo>
                  <a:lnTo>
                    <a:pt x="194" y="60"/>
                  </a:lnTo>
                  <a:lnTo>
                    <a:pt x="194" y="61"/>
                  </a:lnTo>
                  <a:lnTo>
                    <a:pt x="195" y="61"/>
                  </a:lnTo>
                  <a:lnTo>
                    <a:pt x="195" y="63"/>
                  </a:lnTo>
                  <a:lnTo>
                    <a:pt x="196" y="63"/>
                  </a:lnTo>
                  <a:lnTo>
                    <a:pt x="191" y="61"/>
                  </a:lnTo>
                  <a:lnTo>
                    <a:pt x="188" y="61"/>
                  </a:lnTo>
                  <a:lnTo>
                    <a:pt x="188" y="63"/>
                  </a:lnTo>
                  <a:lnTo>
                    <a:pt x="188" y="64"/>
                  </a:lnTo>
                  <a:lnTo>
                    <a:pt x="188" y="65"/>
                  </a:lnTo>
                  <a:lnTo>
                    <a:pt x="188" y="67"/>
                  </a:lnTo>
                  <a:lnTo>
                    <a:pt x="190" y="66"/>
                  </a:lnTo>
                  <a:lnTo>
                    <a:pt x="191" y="66"/>
                  </a:lnTo>
                  <a:lnTo>
                    <a:pt x="191" y="67"/>
                  </a:lnTo>
                  <a:lnTo>
                    <a:pt x="192" y="67"/>
                  </a:lnTo>
                  <a:lnTo>
                    <a:pt x="194" y="66"/>
                  </a:lnTo>
                  <a:lnTo>
                    <a:pt x="194" y="67"/>
                  </a:lnTo>
                  <a:lnTo>
                    <a:pt x="195" y="67"/>
                  </a:lnTo>
                  <a:lnTo>
                    <a:pt x="195" y="69"/>
                  </a:lnTo>
                  <a:lnTo>
                    <a:pt x="198" y="69"/>
                  </a:lnTo>
                  <a:lnTo>
                    <a:pt x="196" y="69"/>
                  </a:lnTo>
                  <a:lnTo>
                    <a:pt x="195" y="70"/>
                  </a:lnTo>
                  <a:lnTo>
                    <a:pt x="195" y="71"/>
                  </a:lnTo>
                  <a:lnTo>
                    <a:pt x="195" y="73"/>
                  </a:lnTo>
                  <a:lnTo>
                    <a:pt x="195" y="76"/>
                  </a:lnTo>
                  <a:lnTo>
                    <a:pt x="194" y="75"/>
                  </a:lnTo>
                  <a:lnTo>
                    <a:pt x="194" y="73"/>
                  </a:lnTo>
                  <a:lnTo>
                    <a:pt x="192" y="73"/>
                  </a:lnTo>
                  <a:lnTo>
                    <a:pt x="191" y="73"/>
                  </a:lnTo>
                  <a:lnTo>
                    <a:pt x="189" y="73"/>
                  </a:lnTo>
                  <a:lnTo>
                    <a:pt x="188" y="72"/>
                  </a:lnTo>
                  <a:lnTo>
                    <a:pt x="186" y="72"/>
                  </a:lnTo>
                  <a:lnTo>
                    <a:pt x="183" y="73"/>
                  </a:lnTo>
                  <a:lnTo>
                    <a:pt x="184" y="77"/>
                  </a:lnTo>
                  <a:lnTo>
                    <a:pt x="185" y="77"/>
                  </a:lnTo>
                  <a:lnTo>
                    <a:pt x="186" y="76"/>
                  </a:lnTo>
                  <a:lnTo>
                    <a:pt x="188" y="76"/>
                  </a:lnTo>
                  <a:lnTo>
                    <a:pt x="190" y="76"/>
                  </a:lnTo>
                  <a:lnTo>
                    <a:pt x="190" y="77"/>
                  </a:lnTo>
                  <a:lnTo>
                    <a:pt x="191" y="77"/>
                  </a:lnTo>
                  <a:lnTo>
                    <a:pt x="192" y="77"/>
                  </a:lnTo>
                  <a:lnTo>
                    <a:pt x="192" y="78"/>
                  </a:lnTo>
                  <a:lnTo>
                    <a:pt x="194" y="78"/>
                  </a:lnTo>
                  <a:lnTo>
                    <a:pt x="196" y="78"/>
                  </a:lnTo>
                  <a:lnTo>
                    <a:pt x="197" y="79"/>
                  </a:lnTo>
                  <a:lnTo>
                    <a:pt x="197" y="81"/>
                  </a:lnTo>
                  <a:lnTo>
                    <a:pt x="200" y="79"/>
                  </a:lnTo>
                  <a:lnTo>
                    <a:pt x="201" y="78"/>
                  </a:lnTo>
                  <a:lnTo>
                    <a:pt x="201" y="79"/>
                  </a:lnTo>
                  <a:lnTo>
                    <a:pt x="202" y="79"/>
                  </a:lnTo>
                  <a:lnTo>
                    <a:pt x="203" y="81"/>
                  </a:lnTo>
                  <a:lnTo>
                    <a:pt x="204" y="79"/>
                  </a:lnTo>
                  <a:lnTo>
                    <a:pt x="206" y="79"/>
                  </a:lnTo>
                  <a:lnTo>
                    <a:pt x="206" y="78"/>
                  </a:lnTo>
                  <a:lnTo>
                    <a:pt x="206" y="77"/>
                  </a:lnTo>
                  <a:lnTo>
                    <a:pt x="208" y="76"/>
                  </a:lnTo>
                  <a:lnTo>
                    <a:pt x="208" y="75"/>
                  </a:lnTo>
                  <a:lnTo>
                    <a:pt x="209" y="73"/>
                  </a:lnTo>
                  <a:lnTo>
                    <a:pt x="210" y="72"/>
                  </a:lnTo>
                  <a:lnTo>
                    <a:pt x="212" y="71"/>
                  </a:lnTo>
                  <a:lnTo>
                    <a:pt x="209" y="70"/>
                  </a:lnTo>
                  <a:lnTo>
                    <a:pt x="208" y="65"/>
                  </a:lnTo>
                  <a:lnTo>
                    <a:pt x="209" y="67"/>
                  </a:lnTo>
                  <a:lnTo>
                    <a:pt x="210" y="66"/>
                  </a:lnTo>
                  <a:lnTo>
                    <a:pt x="210" y="65"/>
                  </a:lnTo>
                  <a:lnTo>
                    <a:pt x="212" y="65"/>
                  </a:lnTo>
                  <a:lnTo>
                    <a:pt x="213" y="65"/>
                  </a:lnTo>
                  <a:lnTo>
                    <a:pt x="213" y="66"/>
                  </a:lnTo>
                  <a:lnTo>
                    <a:pt x="212" y="66"/>
                  </a:lnTo>
                  <a:lnTo>
                    <a:pt x="210" y="69"/>
                  </a:lnTo>
                  <a:lnTo>
                    <a:pt x="210" y="70"/>
                  </a:lnTo>
                  <a:lnTo>
                    <a:pt x="212" y="69"/>
                  </a:lnTo>
                  <a:lnTo>
                    <a:pt x="212" y="67"/>
                  </a:lnTo>
                  <a:lnTo>
                    <a:pt x="213" y="67"/>
                  </a:lnTo>
                  <a:lnTo>
                    <a:pt x="213" y="70"/>
                  </a:lnTo>
                  <a:lnTo>
                    <a:pt x="212" y="70"/>
                  </a:lnTo>
                  <a:lnTo>
                    <a:pt x="213" y="71"/>
                  </a:lnTo>
                  <a:lnTo>
                    <a:pt x="215" y="72"/>
                  </a:lnTo>
                  <a:lnTo>
                    <a:pt x="216" y="72"/>
                  </a:lnTo>
                  <a:lnTo>
                    <a:pt x="215" y="71"/>
                  </a:lnTo>
                  <a:lnTo>
                    <a:pt x="215" y="70"/>
                  </a:lnTo>
                  <a:lnTo>
                    <a:pt x="218" y="70"/>
                  </a:lnTo>
                  <a:lnTo>
                    <a:pt x="218" y="71"/>
                  </a:lnTo>
                  <a:lnTo>
                    <a:pt x="219" y="73"/>
                  </a:lnTo>
                  <a:lnTo>
                    <a:pt x="220" y="72"/>
                  </a:lnTo>
                  <a:lnTo>
                    <a:pt x="220" y="70"/>
                  </a:lnTo>
                  <a:lnTo>
                    <a:pt x="219" y="70"/>
                  </a:lnTo>
                  <a:lnTo>
                    <a:pt x="218" y="67"/>
                  </a:lnTo>
                  <a:lnTo>
                    <a:pt x="219" y="69"/>
                  </a:lnTo>
                  <a:lnTo>
                    <a:pt x="219" y="67"/>
                  </a:lnTo>
                  <a:lnTo>
                    <a:pt x="219" y="66"/>
                  </a:lnTo>
                  <a:lnTo>
                    <a:pt x="220" y="66"/>
                  </a:lnTo>
                  <a:lnTo>
                    <a:pt x="221" y="65"/>
                  </a:lnTo>
                  <a:lnTo>
                    <a:pt x="221" y="64"/>
                  </a:lnTo>
                  <a:lnTo>
                    <a:pt x="221" y="63"/>
                  </a:lnTo>
                  <a:lnTo>
                    <a:pt x="223" y="63"/>
                  </a:lnTo>
                  <a:lnTo>
                    <a:pt x="224" y="63"/>
                  </a:lnTo>
                  <a:lnTo>
                    <a:pt x="224" y="65"/>
                  </a:lnTo>
                  <a:lnTo>
                    <a:pt x="225" y="65"/>
                  </a:lnTo>
                  <a:lnTo>
                    <a:pt x="226" y="65"/>
                  </a:lnTo>
                  <a:lnTo>
                    <a:pt x="225" y="63"/>
                  </a:lnTo>
                  <a:lnTo>
                    <a:pt x="226" y="63"/>
                  </a:lnTo>
                  <a:lnTo>
                    <a:pt x="226" y="61"/>
                  </a:lnTo>
                  <a:lnTo>
                    <a:pt x="226" y="66"/>
                  </a:lnTo>
                  <a:lnTo>
                    <a:pt x="227" y="66"/>
                  </a:lnTo>
                  <a:lnTo>
                    <a:pt x="230" y="67"/>
                  </a:lnTo>
                  <a:lnTo>
                    <a:pt x="230" y="66"/>
                  </a:lnTo>
                  <a:lnTo>
                    <a:pt x="229" y="65"/>
                  </a:lnTo>
                  <a:lnTo>
                    <a:pt x="229" y="64"/>
                  </a:lnTo>
                  <a:lnTo>
                    <a:pt x="229" y="63"/>
                  </a:lnTo>
                  <a:lnTo>
                    <a:pt x="229" y="61"/>
                  </a:lnTo>
                  <a:lnTo>
                    <a:pt x="230" y="60"/>
                  </a:lnTo>
                  <a:lnTo>
                    <a:pt x="229" y="59"/>
                  </a:lnTo>
                  <a:lnTo>
                    <a:pt x="230" y="59"/>
                  </a:lnTo>
                  <a:lnTo>
                    <a:pt x="231" y="58"/>
                  </a:lnTo>
                  <a:lnTo>
                    <a:pt x="232" y="57"/>
                  </a:lnTo>
                  <a:lnTo>
                    <a:pt x="233" y="58"/>
                  </a:lnTo>
                  <a:lnTo>
                    <a:pt x="233" y="60"/>
                  </a:lnTo>
                  <a:lnTo>
                    <a:pt x="235" y="61"/>
                  </a:lnTo>
                  <a:lnTo>
                    <a:pt x="233" y="63"/>
                  </a:lnTo>
                  <a:lnTo>
                    <a:pt x="235" y="66"/>
                  </a:lnTo>
                  <a:lnTo>
                    <a:pt x="233" y="67"/>
                  </a:lnTo>
                  <a:lnTo>
                    <a:pt x="232" y="66"/>
                  </a:lnTo>
                  <a:lnTo>
                    <a:pt x="232" y="67"/>
                  </a:lnTo>
                  <a:lnTo>
                    <a:pt x="233" y="69"/>
                  </a:lnTo>
                  <a:lnTo>
                    <a:pt x="235" y="69"/>
                  </a:lnTo>
                  <a:lnTo>
                    <a:pt x="236" y="70"/>
                  </a:lnTo>
                  <a:lnTo>
                    <a:pt x="236" y="71"/>
                  </a:lnTo>
                  <a:lnTo>
                    <a:pt x="238" y="71"/>
                  </a:lnTo>
                  <a:lnTo>
                    <a:pt x="239" y="71"/>
                  </a:lnTo>
                  <a:lnTo>
                    <a:pt x="239" y="72"/>
                  </a:lnTo>
                  <a:lnTo>
                    <a:pt x="241" y="73"/>
                  </a:lnTo>
                  <a:lnTo>
                    <a:pt x="242" y="75"/>
                  </a:lnTo>
                  <a:lnTo>
                    <a:pt x="243" y="75"/>
                  </a:lnTo>
                  <a:lnTo>
                    <a:pt x="242" y="77"/>
                  </a:lnTo>
                  <a:lnTo>
                    <a:pt x="243" y="78"/>
                  </a:lnTo>
                  <a:lnTo>
                    <a:pt x="244" y="77"/>
                  </a:lnTo>
                  <a:lnTo>
                    <a:pt x="245" y="78"/>
                  </a:lnTo>
                  <a:lnTo>
                    <a:pt x="247" y="77"/>
                  </a:lnTo>
                  <a:lnTo>
                    <a:pt x="247" y="75"/>
                  </a:lnTo>
                  <a:lnTo>
                    <a:pt x="247" y="72"/>
                  </a:lnTo>
                  <a:lnTo>
                    <a:pt x="247" y="71"/>
                  </a:lnTo>
                  <a:lnTo>
                    <a:pt x="247" y="70"/>
                  </a:lnTo>
                  <a:lnTo>
                    <a:pt x="248" y="70"/>
                  </a:lnTo>
                  <a:lnTo>
                    <a:pt x="247" y="69"/>
                  </a:lnTo>
                  <a:lnTo>
                    <a:pt x="247" y="66"/>
                  </a:lnTo>
                  <a:lnTo>
                    <a:pt x="247" y="65"/>
                  </a:lnTo>
                  <a:lnTo>
                    <a:pt x="248" y="66"/>
                  </a:lnTo>
                  <a:lnTo>
                    <a:pt x="249" y="66"/>
                  </a:lnTo>
                  <a:lnTo>
                    <a:pt x="249" y="67"/>
                  </a:lnTo>
                  <a:lnTo>
                    <a:pt x="248" y="70"/>
                  </a:lnTo>
                  <a:lnTo>
                    <a:pt x="249" y="70"/>
                  </a:lnTo>
                  <a:lnTo>
                    <a:pt x="249" y="71"/>
                  </a:lnTo>
                  <a:lnTo>
                    <a:pt x="248" y="73"/>
                  </a:lnTo>
                  <a:lnTo>
                    <a:pt x="247" y="78"/>
                  </a:lnTo>
                  <a:lnTo>
                    <a:pt x="247" y="79"/>
                  </a:lnTo>
                  <a:lnTo>
                    <a:pt x="248" y="78"/>
                  </a:lnTo>
                  <a:lnTo>
                    <a:pt x="250" y="77"/>
                  </a:lnTo>
                  <a:lnTo>
                    <a:pt x="250" y="78"/>
                  </a:lnTo>
                  <a:lnTo>
                    <a:pt x="251" y="78"/>
                  </a:lnTo>
                  <a:lnTo>
                    <a:pt x="254" y="76"/>
                  </a:lnTo>
                  <a:lnTo>
                    <a:pt x="254" y="75"/>
                  </a:lnTo>
                  <a:lnTo>
                    <a:pt x="255" y="76"/>
                  </a:lnTo>
                  <a:lnTo>
                    <a:pt x="256" y="77"/>
                  </a:lnTo>
                  <a:lnTo>
                    <a:pt x="257" y="76"/>
                  </a:lnTo>
                  <a:lnTo>
                    <a:pt x="259" y="76"/>
                  </a:lnTo>
                  <a:lnTo>
                    <a:pt x="260" y="76"/>
                  </a:lnTo>
                  <a:lnTo>
                    <a:pt x="256" y="78"/>
                  </a:lnTo>
                  <a:lnTo>
                    <a:pt x="254" y="78"/>
                  </a:lnTo>
                  <a:lnTo>
                    <a:pt x="251" y="81"/>
                  </a:lnTo>
                  <a:lnTo>
                    <a:pt x="249" y="82"/>
                  </a:lnTo>
                  <a:lnTo>
                    <a:pt x="247" y="83"/>
                  </a:lnTo>
                  <a:lnTo>
                    <a:pt x="245" y="85"/>
                  </a:lnTo>
                  <a:lnTo>
                    <a:pt x="245" y="87"/>
                  </a:lnTo>
                  <a:lnTo>
                    <a:pt x="247" y="85"/>
                  </a:lnTo>
                  <a:lnTo>
                    <a:pt x="248" y="84"/>
                  </a:lnTo>
                  <a:lnTo>
                    <a:pt x="251" y="83"/>
                  </a:lnTo>
                  <a:lnTo>
                    <a:pt x="249" y="87"/>
                  </a:lnTo>
                  <a:lnTo>
                    <a:pt x="248" y="87"/>
                  </a:lnTo>
                  <a:lnTo>
                    <a:pt x="250" y="88"/>
                  </a:lnTo>
                  <a:lnTo>
                    <a:pt x="251" y="90"/>
                  </a:lnTo>
                  <a:lnTo>
                    <a:pt x="253" y="89"/>
                  </a:lnTo>
                  <a:lnTo>
                    <a:pt x="256" y="89"/>
                  </a:lnTo>
                  <a:lnTo>
                    <a:pt x="257" y="89"/>
                  </a:lnTo>
                  <a:lnTo>
                    <a:pt x="257" y="90"/>
                  </a:lnTo>
                  <a:lnTo>
                    <a:pt x="257" y="91"/>
                  </a:lnTo>
                  <a:lnTo>
                    <a:pt x="257" y="94"/>
                  </a:lnTo>
                  <a:lnTo>
                    <a:pt x="259" y="94"/>
                  </a:lnTo>
                  <a:lnTo>
                    <a:pt x="259" y="96"/>
                  </a:lnTo>
                  <a:lnTo>
                    <a:pt x="259" y="97"/>
                  </a:lnTo>
                  <a:lnTo>
                    <a:pt x="260" y="97"/>
                  </a:lnTo>
                  <a:lnTo>
                    <a:pt x="260" y="96"/>
                  </a:lnTo>
                  <a:lnTo>
                    <a:pt x="261" y="95"/>
                  </a:lnTo>
                  <a:lnTo>
                    <a:pt x="262" y="93"/>
                  </a:lnTo>
                  <a:lnTo>
                    <a:pt x="262" y="96"/>
                  </a:lnTo>
                  <a:lnTo>
                    <a:pt x="262" y="97"/>
                  </a:lnTo>
                  <a:lnTo>
                    <a:pt x="265" y="96"/>
                  </a:lnTo>
                  <a:lnTo>
                    <a:pt x="265" y="97"/>
                  </a:lnTo>
                  <a:lnTo>
                    <a:pt x="265" y="99"/>
                  </a:lnTo>
                  <a:lnTo>
                    <a:pt x="266" y="99"/>
                  </a:lnTo>
                  <a:lnTo>
                    <a:pt x="267" y="99"/>
                  </a:lnTo>
                  <a:lnTo>
                    <a:pt x="267" y="100"/>
                  </a:lnTo>
                  <a:lnTo>
                    <a:pt x="268" y="99"/>
                  </a:lnTo>
                  <a:lnTo>
                    <a:pt x="268" y="100"/>
                  </a:lnTo>
                  <a:lnTo>
                    <a:pt x="269" y="99"/>
                  </a:lnTo>
                  <a:lnTo>
                    <a:pt x="272" y="100"/>
                  </a:lnTo>
                  <a:lnTo>
                    <a:pt x="268" y="101"/>
                  </a:lnTo>
                  <a:lnTo>
                    <a:pt x="263" y="100"/>
                  </a:lnTo>
                  <a:lnTo>
                    <a:pt x="265" y="102"/>
                  </a:lnTo>
                  <a:lnTo>
                    <a:pt x="266" y="102"/>
                  </a:lnTo>
                  <a:lnTo>
                    <a:pt x="267" y="102"/>
                  </a:lnTo>
                  <a:lnTo>
                    <a:pt x="268" y="102"/>
                  </a:lnTo>
                  <a:lnTo>
                    <a:pt x="269" y="102"/>
                  </a:lnTo>
                  <a:lnTo>
                    <a:pt x="271" y="102"/>
                  </a:lnTo>
                  <a:lnTo>
                    <a:pt x="273" y="103"/>
                  </a:lnTo>
                  <a:lnTo>
                    <a:pt x="274" y="103"/>
                  </a:lnTo>
                  <a:lnTo>
                    <a:pt x="275" y="105"/>
                  </a:lnTo>
                  <a:lnTo>
                    <a:pt x="275" y="102"/>
                  </a:lnTo>
                  <a:lnTo>
                    <a:pt x="277" y="101"/>
                  </a:lnTo>
                  <a:lnTo>
                    <a:pt x="277" y="100"/>
                  </a:lnTo>
                  <a:lnTo>
                    <a:pt x="278" y="99"/>
                  </a:lnTo>
                  <a:lnTo>
                    <a:pt x="279" y="99"/>
                  </a:lnTo>
                  <a:lnTo>
                    <a:pt x="278" y="100"/>
                  </a:lnTo>
                  <a:lnTo>
                    <a:pt x="278" y="101"/>
                  </a:lnTo>
                  <a:lnTo>
                    <a:pt x="279" y="101"/>
                  </a:lnTo>
                  <a:lnTo>
                    <a:pt x="280" y="100"/>
                  </a:lnTo>
                  <a:lnTo>
                    <a:pt x="280" y="99"/>
                  </a:lnTo>
                  <a:lnTo>
                    <a:pt x="280" y="97"/>
                  </a:lnTo>
                  <a:lnTo>
                    <a:pt x="279" y="96"/>
                  </a:lnTo>
                  <a:lnTo>
                    <a:pt x="277" y="96"/>
                  </a:lnTo>
                  <a:lnTo>
                    <a:pt x="274" y="97"/>
                  </a:lnTo>
                  <a:lnTo>
                    <a:pt x="274" y="95"/>
                  </a:lnTo>
                  <a:lnTo>
                    <a:pt x="277" y="94"/>
                  </a:lnTo>
                  <a:lnTo>
                    <a:pt x="278" y="94"/>
                  </a:lnTo>
                  <a:lnTo>
                    <a:pt x="279" y="94"/>
                  </a:lnTo>
                  <a:lnTo>
                    <a:pt x="280" y="95"/>
                  </a:lnTo>
                  <a:lnTo>
                    <a:pt x="282" y="95"/>
                  </a:lnTo>
                  <a:lnTo>
                    <a:pt x="283" y="94"/>
                  </a:lnTo>
                  <a:lnTo>
                    <a:pt x="284" y="94"/>
                  </a:lnTo>
                  <a:lnTo>
                    <a:pt x="285" y="93"/>
                  </a:lnTo>
                  <a:lnTo>
                    <a:pt x="285" y="91"/>
                  </a:lnTo>
                  <a:lnTo>
                    <a:pt x="286" y="91"/>
                  </a:lnTo>
                  <a:lnTo>
                    <a:pt x="288" y="91"/>
                  </a:lnTo>
                  <a:lnTo>
                    <a:pt x="289" y="91"/>
                  </a:lnTo>
                  <a:lnTo>
                    <a:pt x="289" y="90"/>
                  </a:lnTo>
                  <a:lnTo>
                    <a:pt x="288" y="90"/>
                  </a:lnTo>
                  <a:lnTo>
                    <a:pt x="285" y="91"/>
                  </a:lnTo>
                  <a:lnTo>
                    <a:pt x="285" y="90"/>
                  </a:lnTo>
                  <a:lnTo>
                    <a:pt x="286" y="89"/>
                  </a:lnTo>
                  <a:lnTo>
                    <a:pt x="285" y="90"/>
                  </a:lnTo>
                  <a:lnTo>
                    <a:pt x="284" y="93"/>
                  </a:lnTo>
                  <a:lnTo>
                    <a:pt x="283" y="93"/>
                  </a:lnTo>
                  <a:lnTo>
                    <a:pt x="282" y="93"/>
                  </a:lnTo>
                  <a:lnTo>
                    <a:pt x="282" y="90"/>
                  </a:lnTo>
                  <a:lnTo>
                    <a:pt x="282" y="89"/>
                  </a:lnTo>
                  <a:lnTo>
                    <a:pt x="284" y="88"/>
                  </a:lnTo>
                  <a:lnTo>
                    <a:pt x="284" y="87"/>
                  </a:lnTo>
                  <a:lnTo>
                    <a:pt x="285" y="85"/>
                  </a:lnTo>
                  <a:lnTo>
                    <a:pt x="286" y="84"/>
                  </a:lnTo>
                  <a:lnTo>
                    <a:pt x="285" y="83"/>
                  </a:lnTo>
                  <a:lnTo>
                    <a:pt x="278" y="76"/>
                  </a:lnTo>
                  <a:lnTo>
                    <a:pt x="273" y="65"/>
                  </a:lnTo>
                  <a:lnTo>
                    <a:pt x="272" y="65"/>
                  </a:lnTo>
                  <a:lnTo>
                    <a:pt x="273" y="69"/>
                  </a:lnTo>
                  <a:lnTo>
                    <a:pt x="273" y="72"/>
                  </a:lnTo>
                  <a:lnTo>
                    <a:pt x="273" y="71"/>
                  </a:lnTo>
                  <a:lnTo>
                    <a:pt x="272" y="70"/>
                  </a:lnTo>
                  <a:lnTo>
                    <a:pt x="272" y="72"/>
                  </a:lnTo>
                  <a:lnTo>
                    <a:pt x="273" y="72"/>
                  </a:lnTo>
                  <a:lnTo>
                    <a:pt x="273" y="75"/>
                  </a:lnTo>
                  <a:lnTo>
                    <a:pt x="272" y="77"/>
                  </a:lnTo>
                  <a:lnTo>
                    <a:pt x="272" y="78"/>
                  </a:lnTo>
                  <a:lnTo>
                    <a:pt x="271" y="76"/>
                  </a:lnTo>
                  <a:lnTo>
                    <a:pt x="271" y="73"/>
                  </a:lnTo>
                  <a:lnTo>
                    <a:pt x="269" y="73"/>
                  </a:lnTo>
                  <a:lnTo>
                    <a:pt x="269" y="75"/>
                  </a:lnTo>
                  <a:lnTo>
                    <a:pt x="268" y="73"/>
                  </a:lnTo>
                  <a:lnTo>
                    <a:pt x="268" y="72"/>
                  </a:lnTo>
                  <a:lnTo>
                    <a:pt x="267" y="70"/>
                  </a:lnTo>
                  <a:lnTo>
                    <a:pt x="266" y="71"/>
                  </a:lnTo>
                  <a:lnTo>
                    <a:pt x="265" y="71"/>
                  </a:lnTo>
                  <a:lnTo>
                    <a:pt x="263" y="73"/>
                  </a:lnTo>
                  <a:lnTo>
                    <a:pt x="262" y="73"/>
                  </a:lnTo>
                  <a:lnTo>
                    <a:pt x="262" y="71"/>
                  </a:lnTo>
                  <a:lnTo>
                    <a:pt x="263" y="69"/>
                  </a:lnTo>
                  <a:lnTo>
                    <a:pt x="261" y="71"/>
                  </a:lnTo>
                  <a:lnTo>
                    <a:pt x="260" y="72"/>
                  </a:lnTo>
                  <a:lnTo>
                    <a:pt x="260" y="69"/>
                  </a:lnTo>
                  <a:lnTo>
                    <a:pt x="260" y="67"/>
                  </a:lnTo>
                  <a:lnTo>
                    <a:pt x="260" y="66"/>
                  </a:lnTo>
                  <a:lnTo>
                    <a:pt x="260" y="65"/>
                  </a:lnTo>
                  <a:lnTo>
                    <a:pt x="261" y="64"/>
                  </a:lnTo>
                  <a:lnTo>
                    <a:pt x="263" y="64"/>
                  </a:lnTo>
                  <a:lnTo>
                    <a:pt x="263" y="63"/>
                  </a:lnTo>
                  <a:lnTo>
                    <a:pt x="266" y="60"/>
                  </a:lnTo>
                  <a:lnTo>
                    <a:pt x="266" y="59"/>
                  </a:lnTo>
                  <a:lnTo>
                    <a:pt x="265" y="60"/>
                  </a:lnTo>
                  <a:lnTo>
                    <a:pt x="263" y="61"/>
                  </a:lnTo>
                  <a:lnTo>
                    <a:pt x="263" y="59"/>
                  </a:lnTo>
                  <a:lnTo>
                    <a:pt x="262" y="59"/>
                  </a:lnTo>
                  <a:lnTo>
                    <a:pt x="261" y="59"/>
                  </a:lnTo>
                  <a:lnTo>
                    <a:pt x="260" y="59"/>
                  </a:lnTo>
                  <a:lnTo>
                    <a:pt x="259" y="59"/>
                  </a:lnTo>
                  <a:lnTo>
                    <a:pt x="257" y="59"/>
                  </a:lnTo>
                  <a:lnTo>
                    <a:pt x="259" y="58"/>
                  </a:lnTo>
                  <a:lnTo>
                    <a:pt x="257" y="58"/>
                  </a:lnTo>
                  <a:lnTo>
                    <a:pt x="255" y="57"/>
                  </a:lnTo>
                  <a:lnTo>
                    <a:pt x="255" y="55"/>
                  </a:lnTo>
                  <a:lnTo>
                    <a:pt x="256" y="55"/>
                  </a:lnTo>
                  <a:lnTo>
                    <a:pt x="257" y="54"/>
                  </a:lnTo>
                  <a:lnTo>
                    <a:pt x="257" y="53"/>
                  </a:lnTo>
                  <a:lnTo>
                    <a:pt x="259" y="52"/>
                  </a:lnTo>
                  <a:lnTo>
                    <a:pt x="260" y="53"/>
                  </a:lnTo>
                  <a:lnTo>
                    <a:pt x="261" y="53"/>
                  </a:lnTo>
                  <a:lnTo>
                    <a:pt x="260" y="52"/>
                  </a:lnTo>
                  <a:lnTo>
                    <a:pt x="260" y="51"/>
                  </a:lnTo>
                  <a:lnTo>
                    <a:pt x="260" y="49"/>
                  </a:lnTo>
                  <a:lnTo>
                    <a:pt x="260" y="52"/>
                  </a:lnTo>
                  <a:lnTo>
                    <a:pt x="257" y="49"/>
                  </a:lnTo>
                  <a:lnTo>
                    <a:pt x="257" y="47"/>
                  </a:lnTo>
                  <a:lnTo>
                    <a:pt x="255" y="47"/>
                  </a:lnTo>
                  <a:lnTo>
                    <a:pt x="255" y="45"/>
                  </a:lnTo>
                  <a:lnTo>
                    <a:pt x="255" y="42"/>
                  </a:lnTo>
                  <a:lnTo>
                    <a:pt x="256" y="42"/>
                  </a:lnTo>
                  <a:lnTo>
                    <a:pt x="255" y="41"/>
                  </a:lnTo>
                  <a:lnTo>
                    <a:pt x="256" y="39"/>
                  </a:lnTo>
                  <a:lnTo>
                    <a:pt x="255" y="41"/>
                  </a:lnTo>
                  <a:lnTo>
                    <a:pt x="254" y="42"/>
                  </a:lnTo>
                  <a:lnTo>
                    <a:pt x="254" y="45"/>
                  </a:lnTo>
                  <a:lnTo>
                    <a:pt x="253" y="43"/>
                  </a:lnTo>
                  <a:lnTo>
                    <a:pt x="253" y="42"/>
                  </a:lnTo>
                  <a:lnTo>
                    <a:pt x="253" y="41"/>
                  </a:lnTo>
                  <a:lnTo>
                    <a:pt x="251" y="40"/>
                  </a:lnTo>
                  <a:lnTo>
                    <a:pt x="250" y="40"/>
                  </a:lnTo>
                  <a:lnTo>
                    <a:pt x="250" y="42"/>
                  </a:lnTo>
                  <a:lnTo>
                    <a:pt x="250" y="45"/>
                  </a:lnTo>
                  <a:lnTo>
                    <a:pt x="249" y="45"/>
                  </a:lnTo>
                  <a:lnTo>
                    <a:pt x="249" y="46"/>
                  </a:lnTo>
                  <a:lnTo>
                    <a:pt x="249" y="47"/>
                  </a:lnTo>
                  <a:lnTo>
                    <a:pt x="248" y="47"/>
                  </a:lnTo>
                  <a:lnTo>
                    <a:pt x="248" y="48"/>
                  </a:lnTo>
                  <a:lnTo>
                    <a:pt x="247" y="48"/>
                  </a:lnTo>
                  <a:lnTo>
                    <a:pt x="247" y="47"/>
                  </a:lnTo>
                  <a:lnTo>
                    <a:pt x="247" y="45"/>
                  </a:lnTo>
                  <a:lnTo>
                    <a:pt x="245" y="45"/>
                  </a:lnTo>
                  <a:lnTo>
                    <a:pt x="244" y="45"/>
                  </a:lnTo>
                  <a:lnTo>
                    <a:pt x="242" y="46"/>
                  </a:lnTo>
                  <a:lnTo>
                    <a:pt x="242" y="48"/>
                  </a:lnTo>
                  <a:lnTo>
                    <a:pt x="241" y="48"/>
                  </a:lnTo>
                  <a:lnTo>
                    <a:pt x="241" y="46"/>
                  </a:lnTo>
                  <a:lnTo>
                    <a:pt x="242" y="43"/>
                  </a:lnTo>
                  <a:lnTo>
                    <a:pt x="242" y="42"/>
                  </a:lnTo>
                  <a:lnTo>
                    <a:pt x="242" y="41"/>
                  </a:lnTo>
                  <a:lnTo>
                    <a:pt x="241" y="41"/>
                  </a:lnTo>
                  <a:lnTo>
                    <a:pt x="241" y="40"/>
                  </a:lnTo>
                  <a:lnTo>
                    <a:pt x="242" y="37"/>
                  </a:lnTo>
                  <a:lnTo>
                    <a:pt x="242" y="36"/>
                  </a:lnTo>
                  <a:lnTo>
                    <a:pt x="243" y="35"/>
                  </a:lnTo>
                  <a:lnTo>
                    <a:pt x="244" y="34"/>
                  </a:lnTo>
                  <a:lnTo>
                    <a:pt x="244" y="32"/>
                  </a:lnTo>
                  <a:lnTo>
                    <a:pt x="244" y="30"/>
                  </a:lnTo>
                  <a:lnTo>
                    <a:pt x="243" y="32"/>
                  </a:lnTo>
                  <a:lnTo>
                    <a:pt x="243" y="31"/>
                  </a:lnTo>
                  <a:lnTo>
                    <a:pt x="241" y="32"/>
                  </a:lnTo>
                  <a:lnTo>
                    <a:pt x="239" y="32"/>
                  </a:lnTo>
                  <a:lnTo>
                    <a:pt x="236" y="32"/>
                  </a:lnTo>
                  <a:lnTo>
                    <a:pt x="235" y="34"/>
                  </a:lnTo>
                  <a:lnTo>
                    <a:pt x="233" y="39"/>
                  </a:lnTo>
                  <a:lnTo>
                    <a:pt x="231" y="40"/>
                  </a:lnTo>
                  <a:lnTo>
                    <a:pt x="230" y="41"/>
                  </a:lnTo>
                  <a:lnTo>
                    <a:pt x="229" y="40"/>
                  </a:lnTo>
                  <a:lnTo>
                    <a:pt x="230" y="36"/>
                  </a:lnTo>
                  <a:lnTo>
                    <a:pt x="231" y="34"/>
                  </a:lnTo>
                  <a:lnTo>
                    <a:pt x="230" y="32"/>
                  </a:lnTo>
                  <a:lnTo>
                    <a:pt x="231" y="31"/>
                  </a:lnTo>
                  <a:lnTo>
                    <a:pt x="232" y="30"/>
                  </a:lnTo>
                  <a:lnTo>
                    <a:pt x="235" y="31"/>
                  </a:lnTo>
                  <a:lnTo>
                    <a:pt x="237" y="30"/>
                  </a:lnTo>
                  <a:lnTo>
                    <a:pt x="239" y="29"/>
                  </a:lnTo>
                  <a:lnTo>
                    <a:pt x="242" y="28"/>
                  </a:lnTo>
                  <a:lnTo>
                    <a:pt x="242" y="26"/>
                  </a:lnTo>
                  <a:lnTo>
                    <a:pt x="241" y="25"/>
                  </a:lnTo>
                  <a:lnTo>
                    <a:pt x="241" y="23"/>
                  </a:lnTo>
                  <a:lnTo>
                    <a:pt x="239" y="23"/>
                  </a:lnTo>
                  <a:lnTo>
                    <a:pt x="241" y="20"/>
                  </a:lnTo>
                  <a:lnTo>
                    <a:pt x="239" y="20"/>
                  </a:lnTo>
                  <a:lnTo>
                    <a:pt x="237" y="24"/>
                  </a:lnTo>
                  <a:lnTo>
                    <a:pt x="236" y="25"/>
                  </a:lnTo>
                  <a:lnTo>
                    <a:pt x="236" y="23"/>
                  </a:lnTo>
                  <a:lnTo>
                    <a:pt x="235" y="18"/>
                  </a:lnTo>
                  <a:lnTo>
                    <a:pt x="236" y="17"/>
                  </a:lnTo>
                  <a:lnTo>
                    <a:pt x="235" y="18"/>
                  </a:lnTo>
                  <a:lnTo>
                    <a:pt x="236" y="14"/>
                  </a:lnTo>
                  <a:lnTo>
                    <a:pt x="238" y="13"/>
                  </a:lnTo>
                  <a:lnTo>
                    <a:pt x="239" y="12"/>
                  </a:lnTo>
                  <a:lnTo>
                    <a:pt x="241" y="11"/>
                  </a:lnTo>
                  <a:lnTo>
                    <a:pt x="243" y="10"/>
                  </a:lnTo>
                  <a:lnTo>
                    <a:pt x="243" y="7"/>
                  </a:lnTo>
                  <a:lnTo>
                    <a:pt x="239" y="6"/>
                  </a:lnTo>
                  <a:lnTo>
                    <a:pt x="237" y="6"/>
                  </a:lnTo>
                  <a:lnTo>
                    <a:pt x="239" y="6"/>
                  </a:lnTo>
                  <a:lnTo>
                    <a:pt x="241" y="5"/>
                  </a:lnTo>
                  <a:lnTo>
                    <a:pt x="243" y="4"/>
                  </a:lnTo>
                  <a:lnTo>
                    <a:pt x="243" y="2"/>
                  </a:lnTo>
                  <a:lnTo>
                    <a:pt x="243" y="1"/>
                  </a:lnTo>
                  <a:lnTo>
                    <a:pt x="244" y="0"/>
                  </a:lnTo>
                  <a:lnTo>
                    <a:pt x="247" y="0"/>
                  </a:lnTo>
                  <a:lnTo>
                    <a:pt x="248" y="0"/>
                  </a:lnTo>
                  <a:lnTo>
                    <a:pt x="248" y="1"/>
                  </a:lnTo>
                  <a:lnTo>
                    <a:pt x="249" y="1"/>
                  </a:lnTo>
                  <a:lnTo>
                    <a:pt x="249" y="2"/>
                  </a:lnTo>
                  <a:lnTo>
                    <a:pt x="250" y="1"/>
                  </a:lnTo>
                  <a:lnTo>
                    <a:pt x="251" y="1"/>
                  </a:lnTo>
                  <a:lnTo>
                    <a:pt x="253" y="1"/>
                  </a:lnTo>
                  <a:lnTo>
                    <a:pt x="254" y="0"/>
                  </a:lnTo>
                  <a:lnTo>
                    <a:pt x="253" y="4"/>
                  </a:lnTo>
                  <a:lnTo>
                    <a:pt x="251" y="8"/>
                  </a:lnTo>
                  <a:lnTo>
                    <a:pt x="251" y="10"/>
                  </a:lnTo>
                  <a:lnTo>
                    <a:pt x="253" y="7"/>
                  </a:lnTo>
                  <a:lnTo>
                    <a:pt x="254" y="11"/>
                  </a:lnTo>
                  <a:lnTo>
                    <a:pt x="254" y="13"/>
                  </a:lnTo>
                  <a:lnTo>
                    <a:pt x="255" y="16"/>
                  </a:lnTo>
                  <a:lnTo>
                    <a:pt x="255" y="14"/>
                  </a:lnTo>
                  <a:lnTo>
                    <a:pt x="256" y="16"/>
                  </a:lnTo>
                  <a:lnTo>
                    <a:pt x="256" y="14"/>
                  </a:lnTo>
                  <a:lnTo>
                    <a:pt x="256" y="12"/>
                  </a:lnTo>
                  <a:lnTo>
                    <a:pt x="259" y="11"/>
                  </a:lnTo>
                  <a:lnTo>
                    <a:pt x="261" y="12"/>
                  </a:lnTo>
                  <a:lnTo>
                    <a:pt x="262" y="14"/>
                  </a:lnTo>
                  <a:lnTo>
                    <a:pt x="262" y="16"/>
                  </a:lnTo>
                  <a:lnTo>
                    <a:pt x="262" y="17"/>
                  </a:lnTo>
                  <a:lnTo>
                    <a:pt x="261" y="17"/>
                  </a:lnTo>
                  <a:lnTo>
                    <a:pt x="260" y="17"/>
                  </a:lnTo>
                  <a:lnTo>
                    <a:pt x="259" y="17"/>
                  </a:lnTo>
                  <a:lnTo>
                    <a:pt x="259" y="16"/>
                  </a:lnTo>
                  <a:lnTo>
                    <a:pt x="259" y="17"/>
                  </a:lnTo>
                  <a:lnTo>
                    <a:pt x="259" y="19"/>
                  </a:lnTo>
                  <a:lnTo>
                    <a:pt x="260" y="20"/>
                  </a:lnTo>
                  <a:lnTo>
                    <a:pt x="261" y="22"/>
                  </a:lnTo>
                  <a:lnTo>
                    <a:pt x="262" y="23"/>
                  </a:lnTo>
                  <a:lnTo>
                    <a:pt x="262" y="25"/>
                  </a:lnTo>
                  <a:lnTo>
                    <a:pt x="265" y="25"/>
                  </a:lnTo>
                  <a:lnTo>
                    <a:pt x="266" y="26"/>
                  </a:lnTo>
                  <a:lnTo>
                    <a:pt x="266" y="25"/>
                  </a:lnTo>
                  <a:lnTo>
                    <a:pt x="267" y="24"/>
                  </a:lnTo>
                  <a:lnTo>
                    <a:pt x="267" y="25"/>
                  </a:lnTo>
                  <a:lnTo>
                    <a:pt x="269" y="25"/>
                  </a:lnTo>
                  <a:lnTo>
                    <a:pt x="271" y="25"/>
                  </a:lnTo>
                  <a:lnTo>
                    <a:pt x="269" y="23"/>
                  </a:lnTo>
                  <a:lnTo>
                    <a:pt x="269" y="20"/>
                  </a:lnTo>
                  <a:lnTo>
                    <a:pt x="271" y="19"/>
                  </a:lnTo>
                  <a:lnTo>
                    <a:pt x="272" y="19"/>
                  </a:lnTo>
                  <a:lnTo>
                    <a:pt x="272" y="18"/>
                  </a:lnTo>
                  <a:lnTo>
                    <a:pt x="274" y="18"/>
                  </a:lnTo>
                  <a:lnTo>
                    <a:pt x="275" y="19"/>
                  </a:lnTo>
                  <a:lnTo>
                    <a:pt x="277" y="20"/>
                  </a:lnTo>
                  <a:lnTo>
                    <a:pt x="278" y="20"/>
                  </a:lnTo>
                  <a:lnTo>
                    <a:pt x="280" y="19"/>
                  </a:lnTo>
                  <a:lnTo>
                    <a:pt x="279" y="20"/>
                  </a:lnTo>
                  <a:lnTo>
                    <a:pt x="278" y="23"/>
                  </a:lnTo>
                  <a:lnTo>
                    <a:pt x="277" y="22"/>
                  </a:lnTo>
                  <a:lnTo>
                    <a:pt x="275" y="22"/>
                  </a:lnTo>
                  <a:lnTo>
                    <a:pt x="273" y="25"/>
                  </a:lnTo>
                  <a:lnTo>
                    <a:pt x="275" y="25"/>
                  </a:lnTo>
                  <a:lnTo>
                    <a:pt x="278" y="26"/>
                  </a:lnTo>
                  <a:lnTo>
                    <a:pt x="280" y="28"/>
                  </a:lnTo>
                  <a:lnTo>
                    <a:pt x="279" y="29"/>
                  </a:lnTo>
                  <a:lnTo>
                    <a:pt x="279" y="31"/>
                  </a:lnTo>
                  <a:lnTo>
                    <a:pt x="278" y="30"/>
                  </a:lnTo>
                  <a:lnTo>
                    <a:pt x="277" y="26"/>
                  </a:lnTo>
                  <a:lnTo>
                    <a:pt x="274" y="26"/>
                  </a:lnTo>
                  <a:lnTo>
                    <a:pt x="272" y="26"/>
                  </a:lnTo>
                  <a:lnTo>
                    <a:pt x="272" y="29"/>
                  </a:lnTo>
                  <a:lnTo>
                    <a:pt x="271" y="30"/>
                  </a:lnTo>
                  <a:lnTo>
                    <a:pt x="272" y="34"/>
                  </a:lnTo>
                  <a:lnTo>
                    <a:pt x="273" y="34"/>
                  </a:lnTo>
                  <a:lnTo>
                    <a:pt x="275" y="35"/>
                  </a:lnTo>
                  <a:lnTo>
                    <a:pt x="277" y="36"/>
                  </a:lnTo>
                  <a:lnTo>
                    <a:pt x="277" y="37"/>
                  </a:lnTo>
                  <a:lnTo>
                    <a:pt x="278" y="39"/>
                  </a:lnTo>
                  <a:lnTo>
                    <a:pt x="278" y="42"/>
                  </a:lnTo>
                  <a:lnTo>
                    <a:pt x="278" y="43"/>
                  </a:lnTo>
                  <a:lnTo>
                    <a:pt x="279" y="45"/>
                  </a:lnTo>
                  <a:lnTo>
                    <a:pt x="278" y="47"/>
                  </a:lnTo>
                  <a:lnTo>
                    <a:pt x="278" y="48"/>
                  </a:lnTo>
                  <a:lnTo>
                    <a:pt x="279" y="51"/>
                  </a:lnTo>
                  <a:lnTo>
                    <a:pt x="280" y="49"/>
                  </a:lnTo>
                  <a:lnTo>
                    <a:pt x="282" y="48"/>
                  </a:lnTo>
                  <a:lnTo>
                    <a:pt x="284" y="48"/>
                  </a:lnTo>
                  <a:lnTo>
                    <a:pt x="284" y="47"/>
                  </a:lnTo>
                  <a:lnTo>
                    <a:pt x="286" y="47"/>
                  </a:lnTo>
                  <a:lnTo>
                    <a:pt x="286" y="46"/>
                  </a:lnTo>
                  <a:lnTo>
                    <a:pt x="288" y="46"/>
                  </a:lnTo>
                  <a:lnTo>
                    <a:pt x="289" y="46"/>
                  </a:lnTo>
                  <a:lnTo>
                    <a:pt x="290" y="46"/>
                  </a:lnTo>
                  <a:lnTo>
                    <a:pt x="289" y="47"/>
                  </a:lnTo>
                  <a:lnTo>
                    <a:pt x="290" y="47"/>
                  </a:lnTo>
                  <a:lnTo>
                    <a:pt x="291" y="47"/>
                  </a:lnTo>
                  <a:lnTo>
                    <a:pt x="292" y="47"/>
                  </a:lnTo>
                  <a:lnTo>
                    <a:pt x="294" y="47"/>
                  </a:lnTo>
                  <a:lnTo>
                    <a:pt x="295" y="47"/>
                  </a:lnTo>
                  <a:lnTo>
                    <a:pt x="296" y="45"/>
                  </a:lnTo>
                  <a:lnTo>
                    <a:pt x="297" y="46"/>
                  </a:lnTo>
                  <a:lnTo>
                    <a:pt x="297" y="47"/>
                  </a:lnTo>
                  <a:lnTo>
                    <a:pt x="298" y="47"/>
                  </a:lnTo>
                  <a:lnTo>
                    <a:pt x="301" y="47"/>
                  </a:lnTo>
                  <a:lnTo>
                    <a:pt x="300" y="48"/>
                  </a:lnTo>
                  <a:lnTo>
                    <a:pt x="302" y="48"/>
                  </a:lnTo>
                  <a:lnTo>
                    <a:pt x="303" y="49"/>
                  </a:lnTo>
                  <a:lnTo>
                    <a:pt x="304" y="48"/>
                  </a:lnTo>
                  <a:lnTo>
                    <a:pt x="306" y="48"/>
                  </a:lnTo>
                  <a:lnTo>
                    <a:pt x="307" y="47"/>
                  </a:lnTo>
                  <a:lnTo>
                    <a:pt x="308" y="46"/>
                  </a:lnTo>
                  <a:lnTo>
                    <a:pt x="309" y="47"/>
                  </a:lnTo>
                  <a:lnTo>
                    <a:pt x="310" y="47"/>
                  </a:lnTo>
                  <a:lnTo>
                    <a:pt x="310" y="49"/>
                  </a:lnTo>
                  <a:lnTo>
                    <a:pt x="312" y="48"/>
                  </a:lnTo>
                  <a:lnTo>
                    <a:pt x="312" y="46"/>
                  </a:lnTo>
                  <a:lnTo>
                    <a:pt x="312" y="45"/>
                  </a:lnTo>
                  <a:lnTo>
                    <a:pt x="313" y="43"/>
                  </a:lnTo>
                  <a:lnTo>
                    <a:pt x="313" y="42"/>
                  </a:lnTo>
                  <a:lnTo>
                    <a:pt x="315" y="41"/>
                  </a:lnTo>
                  <a:lnTo>
                    <a:pt x="316" y="42"/>
                  </a:lnTo>
                  <a:lnTo>
                    <a:pt x="318" y="42"/>
                  </a:lnTo>
                  <a:lnTo>
                    <a:pt x="319" y="42"/>
                  </a:lnTo>
                  <a:lnTo>
                    <a:pt x="319" y="43"/>
                  </a:lnTo>
                  <a:lnTo>
                    <a:pt x="319" y="39"/>
                  </a:lnTo>
                  <a:lnTo>
                    <a:pt x="318" y="37"/>
                  </a:lnTo>
                  <a:lnTo>
                    <a:pt x="316" y="36"/>
                  </a:lnTo>
                  <a:lnTo>
                    <a:pt x="316" y="35"/>
                  </a:lnTo>
                  <a:lnTo>
                    <a:pt x="316" y="34"/>
                  </a:lnTo>
                  <a:lnTo>
                    <a:pt x="318" y="34"/>
                  </a:lnTo>
                  <a:lnTo>
                    <a:pt x="319" y="32"/>
                  </a:lnTo>
                  <a:lnTo>
                    <a:pt x="320" y="32"/>
                  </a:lnTo>
                  <a:lnTo>
                    <a:pt x="321" y="32"/>
                  </a:lnTo>
                  <a:lnTo>
                    <a:pt x="322" y="32"/>
                  </a:lnTo>
                  <a:lnTo>
                    <a:pt x="321" y="35"/>
                  </a:lnTo>
                  <a:lnTo>
                    <a:pt x="322" y="35"/>
                  </a:lnTo>
                  <a:lnTo>
                    <a:pt x="325" y="35"/>
                  </a:lnTo>
                  <a:lnTo>
                    <a:pt x="327" y="35"/>
                  </a:lnTo>
                  <a:lnTo>
                    <a:pt x="326" y="36"/>
                  </a:lnTo>
                  <a:lnTo>
                    <a:pt x="324" y="39"/>
                  </a:lnTo>
                  <a:lnTo>
                    <a:pt x="322" y="39"/>
                  </a:lnTo>
                  <a:lnTo>
                    <a:pt x="322" y="40"/>
                  </a:lnTo>
                  <a:lnTo>
                    <a:pt x="324" y="39"/>
                  </a:lnTo>
                  <a:lnTo>
                    <a:pt x="325" y="39"/>
                  </a:lnTo>
                  <a:lnTo>
                    <a:pt x="324" y="40"/>
                  </a:lnTo>
                  <a:lnTo>
                    <a:pt x="325" y="41"/>
                  </a:lnTo>
                  <a:lnTo>
                    <a:pt x="324" y="42"/>
                  </a:lnTo>
                  <a:lnTo>
                    <a:pt x="322" y="42"/>
                  </a:lnTo>
                  <a:lnTo>
                    <a:pt x="324" y="43"/>
                  </a:lnTo>
                  <a:lnTo>
                    <a:pt x="326" y="42"/>
                  </a:lnTo>
                  <a:lnTo>
                    <a:pt x="328" y="42"/>
                  </a:lnTo>
                  <a:lnTo>
                    <a:pt x="330" y="42"/>
                  </a:lnTo>
                  <a:lnTo>
                    <a:pt x="327" y="45"/>
                  </a:lnTo>
                  <a:lnTo>
                    <a:pt x="325" y="46"/>
                  </a:lnTo>
                  <a:lnTo>
                    <a:pt x="324" y="47"/>
                  </a:lnTo>
                  <a:lnTo>
                    <a:pt x="322" y="49"/>
                  </a:lnTo>
                  <a:lnTo>
                    <a:pt x="325" y="49"/>
                  </a:lnTo>
                  <a:lnTo>
                    <a:pt x="326" y="49"/>
                  </a:lnTo>
                  <a:lnTo>
                    <a:pt x="327" y="48"/>
                  </a:lnTo>
                  <a:lnTo>
                    <a:pt x="328" y="48"/>
                  </a:lnTo>
                  <a:lnTo>
                    <a:pt x="331" y="48"/>
                  </a:lnTo>
                  <a:lnTo>
                    <a:pt x="330" y="49"/>
                  </a:lnTo>
                  <a:lnTo>
                    <a:pt x="330" y="52"/>
                  </a:lnTo>
                  <a:lnTo>
                    <a:pt x="331" y="53"/>
                  </a:lnTo>
                  <a:lnTo>
                    <a:pt x="332" y="54"/>
                  </a:lnTo>
                  <a:lnTo>
                    <a:pt x="330" y="55"/>
                  </a:lnTo>
                  <a:lnTo>
                    <a:pt x="330" y="57"/>
                  </a:lnTo>
                  <a:lnTo>
                    <a:pt x="330" y="59"/>
                  </a:lnTo>
                  <a:lnTo>
                    <a:pt x="330" y="60"/>
                  </a:lnTo>
                  <a:lnTo>
                    <a:pt x="328" y="59"/>
                  </a:lnTo>
                  <a:lnTo>
                    <a:pt x="328" y="60"/>
                  </a:lnTo>
                  <a:lnTo>
                    <a:pt x="328" y="63"/>
                  </a:lnTo>
                  <a:lnTo>
                    <a:pt x="327" y="64"/>
                  </a:lnTo>
                  <a:lnTo>
                    <a:pt x="327" y="66"/>
                  </a:lnTo>
                  <a:lnTo>
                    <a:pt x="326" y="66"/>
                  </a:lnTo>
                  <a:lnTo>
                    <a:pt x="325" y="69"/>
                  </a:lnTo>
                  <a:lnTo>
                    <a:pt x="324" y="69"/>
                  </a:lnTo>
                  <a:lnTo>
                    <a:pt x="322" y="70"/>
                  </a:lnTo>
                  <a:lnTo>
                    <a:pt x="321" y="71"/>
                  </a:lnTo>
                  <a:lnTo>
                    <a:pt x="320" y="70"/>
                  </a:lnTo>
                  <a:lnTo>
                    <a:pt x="320" y="69"/>
                  </a:lnTo>
                  <a:lnTo>
                    <a:pt x="319" y="67"/>
                  </a:lnTo>
                  <a:lnTo>
                    <a:pt x="319" y="70"/>
                  </a:lnTo>
                  <a:lnTo>
                    <a:pt x="318" y="72"/>
                  </a:lnTo>
                  <a:lnTo>
                    <a:pt x="318" y="69"/>
                  </a:lnTo>
                  <a:lnTo>
                    <a:pt x="316" y="71"/>
                  </a:lnTo>
                  <a:lnTo>
                    <a:pt x="316" y="69"/>
                  </a:lnTo>
                  <a:lnTo>
                    <a:pt x="315" y="70"/>
                  </a:lnTo>
                  <a:lnTo>
                    <a:pt x="315" y="72"/>
                  </a:lnTo>
                  <a:lnTo>
                    <a:pt x="316" y="72"/>
                  </a:lnTo>
                  <a:lnTo>
                    <a:pt x="314" y="73"/>
                  </a:lnTo>
                  <a:lnTo>
                    <a:pt x="312" y="73"/>
                  </a:lnTo>
                  <a:lnTo>
                    <a:pt x="310" y="76"/>
                  </a:lnTo>
                  <a:lnTo>
                    <a:pt x="313" y="77"/>
                  </a:lnTo>
                  <a:lnTo>
                    <a:pt x="314" y="77"/>
                  </a:lnTo>
                  <a:lnTo>
                    <a:pt x="314" y="78"/>
                  </a:lnTo>
                  <a:lnTo>
                    <a:pt x="313" y="79"/>
                  </a:lnTo>
                  <a:lnTo>
                    <a:pt x="312" y="78"/>
                  </a:lnTo>
                  <a:lnTo>
                    <a:pt x="312" y="77"/>
                  </a:lnTo>
                  <a:lnTo>
                    <a:pt x="310" y="77"/>
                  </a:lnTo>
                  <a:lnTo>
                    <a:pt x="310" y="79"/>
                  </a:lnTo>
                  <a:lnTo>
                    <a:pt x="313" y="81"/>
                  </a:lnTo>
                  <a:lnTo>
                    <a:pt x="314" y="83"/>
                  </a:lnTo>
                  <a:lnTo>
                    <a:pt x="316" y="82"/>
                  </a:lnTo>
                  <a:lnTo>
                    <a:pt x="320" y="79"/>
                  </a:lnTo>
                  <a:lnTo>
                    <a:pt x="319" y="78"/>
                  </a:lnTo>
                  <a:lnTo>
                    <a:pt x="319" y="76"/>
                  </a:lnTo>
                  <a:lnTo>
                    <a:pt x="320" y="75"/>
                  </a:lnTo>
                  <a:lnTo>
                    <a:pt x="322" y="73"/>
                  </a:lnTo>
                  <a:lnTo>
                    <a:pt x="322" y="75"/>
                  </a:lnTo>
                  <a:lnTo>
                    <a:pt x="324" y="75"/>
                  </a:lnTo>
                  <a:lnTo>
                    <a:pt x="325" y="73"/>
                  </a:lnTo>
                  <a:lnTo>
                    <a:pt x="326" y="73"/>
                  </a:lnTo>
                  <a:lnTo>
                    <a:pt x="327" y="73"/>
                  </a:lnTo>
                  <a:lnTo>
                    <a:pt x="327" y="75"/>
                  </a:lnTo>
                  <a:lnTo>
                    <a:pt x="326" y="76"/>
                  </a:lnTo>
                  <a:lnTo>
                    <a:pt x="327" y="76"/>
                  </a:lnTo>
                  <a:lnTo>
                    <a:pt x="326" y="77"/>
                  </a:lnTo>
                  <a:lnTo>
                    <a:pt x="327" y="77"/>
                  </a:lnTo>
                  <a:lnTo>
                    <a:pt x="327" y="78"/>
                  </a:lnTo>
                  <a:lnTo>
                    <a:pt x="328" y="78"/>
                  </a:lnTo>
                  <a:lnTo>
                    <a:pt x="328" y="77"/>
                  </a:lnTo>
                  <a:lnTo>
                    <a:pt x="327" y="76"/>
                  </a:lnTo>
                  <a:lnTo>
                    <a:pt x="328" y="73"/>
                  </a:lnTo>
                  <a:lnTo>
                    <a:pt x="330" y="75"/>
                  </a:lnTo>
                  <a:lnTo>
                    <a:pt x="331" y="73"/>
                  </a:lnTo>
                  <a:lnTo>
                    <a:pt x="332" y="73"/>
                  </a:lnTo>
                  <a:lnTo>
                    <a:pt x="333" y="75"/>
                  </a:lnTo>
                  <a:lnTo>
                    <a:pt x="334" y="76"/>
                  </a:lnTo>
                  <a:lnTo>
                    <a:pt x="334" y="77"/>
                  </a:lnTo>
                  <a:lnTo>
                    <a:pt x="332" y="78"/>
                  </a:lnTo>
                  <a:lnTo>
                    <a:pt x="332" y="77"/>
                  </a:lnTo>
                  <a:lnTo>
                    <a:pt x="331" y="77"/>
                  </a:lnTo>
                  <a:lnTo>
                    <a:pt x="326" y="81"/>
                  </a:lnTo>
                  <a:lnTo>
                    <a:pt x="327" y="82"/>
                  </a:lnTo>
                  <a:lnTo>
                    <a:pt x="328" y="82"/>
                  </a:lnTo>
                  <a:lnTo>
                    <a:pt x="328" y="83"/>
                  </a:lnTo>
                  <a:lnTo>
                    <a:pt x="331" y="84"/>
                  </a:lnTo>
                  <a:lnTo>
                    <a:pt x="332" y="85"/>
                  </a:lnTo>
                  <a:lnTo>
                    <a:pt x="332" y="87"/>
                  </a:lnTo>
                  <a:lnTo>
                    <a:pt x="333" y="85"/>
                  </a:lnTo>
                  <a:lnTo>
                    <a:pt x="334" y="87"/>
                  </a:lnTo>
                  <a:lnTo>
                    <a:pt x="336" y="85"/>
                  </a:lnTo>
                  <a:lnTo>
                    <a:pt x="334" y="88"/>
                  </a:lnTo>
                  <a:lnTo>
                    <a:pt x="333" y="89"/>
                  </a:lnTo>
                  <a:lnTo>
                    <a:pt x="333" y="90"/>
                  </a:lnTo>
                  <a:lnTo>
                    <a:pt x="334" y="91"/>
                  </a:lnTo>
                  <a:lnTo>
                    <a:pt x="336" y="91"/>
                  </a:lnTo>
                  <a:lnTo>
                    <a:pt x="337" y="91"/>
                  </a:lnTo>
                  <a:lnTo>
                    <a:pt x="338" y="90"/>
                  </a:lnTo>
                  <a:lnTo>
                    <a:pt x="338" y="88"/>
                  </a:lnTo>
                  <a:lnTo>
                    <a:pt x="339" y="87"/>
                  </a:lnTo>
                  <a:lnTo>
                    <a:pt x="338" y="87"/>
                  </a:lnTo>
                  <a:lnTo>
                    <a:pt x="338" y="84"/>
                  </a:lnTo>
                  <a:lnTo>
                    <a:pt x="339" y="83"/>
                  </a:lnTo>
                  <a:lnTo>
                    <a:pt x="341" y="82"/>
                  </a:lnTo>
                  <a:lnTo>
                    <a:pt x="342" y="82"/>
                  </a:lnTo>
                  <a:lnTo>
                    <a:pt x="343" y="82"/>
                  </a:lnTo>
                  <a:lnTo>
                    <a:pt x="344" y="82"/>
                  </a:lnTo>
                  <a:lnTo>
                    <a:pt x="345" y="82"/>
                  </a:lnTo>
                  <a:lnTo>
                    <a:pt x="345" y="83"/>
                  </a:lnTo>
                  <a:lnTo>
                    <a:pt x="345" y="84"/>
                  </a:lnTo>
                  <a:lnTo>
                    <a:pt x="345" y="87"/>
                  </a:lnTo>
                  <a:lnTo>
                    <a:pt x="343" y="87"/>
                  </a:lnTo>
                  <a:lnTo>
                    <a:pt x="344" y="88"/>
                  </a:lnTo>
                  <a:lnTo>
                    <a:pt x="343" y="89"/>
                  </a:lnTo>
                  <a:lnTo>
                    <a:pt x="343" y="90"/>
                  </a:lnTo>
                  <a:lnTo>
                    <a:pt x="344" y="91"/>
                  </a:lnTo>
                  <a:lnTo>
                    <a:pt x="344" y="90"/>
                  </a:lnTo>
                  <a:lnTo>
                    <a:pt x="345" y="90"/>
                  </a:lnTo>
                  <a:lnTo>
                    <a:pt x="345" y="89"/>
                  </a:lnTo>
                  <a:lnTo>
                    <a:pt x="347" y="89"/>
                  </a:lnTo>
                  <a:lnTo>
                    <a:pt x="347" y="90"/>
                  </a:lnTo>
                  <a:lnTo>
                    <a:pt x="348" y="90"/>
                  </a:lnTo>
                  <a:lnTo>
                    <a:pt x="349" y="89"/>
                  </a:lnTo>
                  <a:lnTo>
                    <a:pt x="350" y="88"/>
                  </a:lnTo>
                  <a:lnTo>
                    <a:pt x="351" y="87"/>
                  </a:lnTo>
                  <a:lnTo>
                    <a:pt x="353" y="87"/>
                  </a:lnTo>
                  <a:lnTo>
                    <a:pt x="351" y="85"/>
                  </a:lnTo>
                  <a:lnTo>
                    <a:pt x="353" y="84"/>
                  </a:lnTo>
                  <a:lnTo>
                    <a:pt x="354" y="84"/>
                  </a:lnTo>
                  <a:lnTo>
                    <a:pt x="353" y="85"/>
                  </a:lnTo>
                  <a:lnTo>
                    <a:pt x="355" y="85"/>
                  </a:lnTo>
                  <a:lnTo>
                    <a:pt x="354" y="84"/>
                  </a:lnTo>
                  <a:lnTo>
                    <a:pt x="351" y="82"/>
                  </a:lnTo>
                  <a:lnTo>
                    <a:pt x="349" y="82"/>
                  </a:lnTo>
                  <a:lnTo>
                    <a:pt x="347" y="82"/>
                  </a:lnTo>
                  <a:lnTo>
                    <a:pt x="347" y="81"/>
                  </a:lnTo>
                  <a:lnTo>
                    <a:pt x="348" y="81"/>
                  </a:lnTo>
                  <a:lnTo>
                    <a:pt x="349" y="81"/>
                  </a:lnTo>
                  <a:lnTo>
                    <a:pt x="349" y="79"/>
                  </a:lnTo>
                  <a:lnTo>
                    <a:pt x="349" y="81"/>
                  </a:lnTo>
                  <a:lnTo>
                    <a:pt x="350" y="79"/>
                  </a:lnTo>
                  <a:lnTo>
                    <a:pt x="351" y="79"/>
                  </a:lnTo>
                  <a:lnTo>
                    <a:pt x="351" y="81"/>
                  </a:lnTo>
                  <a:lnTo>
                    <a:pt x="353" y="82"/>
                  </a:lnTo>
                  <a:lnTo>
                    <a:pt x="355" y="84"/>
                  </a:lnTo>
                  <a:lnTo>
                    <a:pt x="356" y="84"/>
                  </a:lnTo>
                  <a:lnTo>
                    <a:pt x="357" y="83"/>
                  </a:lnTo>
                  <a:lnTo>
                    <a:pt x="357" y="82"/>
                  </a:lnTo>
                  <a:lnTo>
                    <a:pt x="359" y="82"/>
                  </a:lnTo>
                  <a:lnTo>
                    <a:pt x="360" y="83"/>
                  </a:lnTo>
                  <a:lnTo>
                    <a:pt x="360" y="84"/>
                  </a:lnTo>
                  <a:lnTo>
                    <a:pt x="361" y="85"/>
                  </a:lnTo>
                  <a:lnTo>
                    <a:pt x="361" y="84"/>
                  </a:lnTo>
                  <a:lnTo>
                    <a:pt x="362" y="83"/>
                  </a:lnTo>
                  <a:lnTo>
                    <a:pt x="363" y="83"/>
                  </a:lnTo>
                  <a:lnTo>
                    <a:pt x="365" y="83"/>
                  </a:lnTo>
                  <a:lnTo>
                    <a:pt x="365" y="81"/>
                  </a:lnTo>
                  <a:lnTo>
                    <a:pt x="361" y="79"/>
                  </a:lnTo>
                  <a:lnTo>
                    <a:pt x="356" y="78"/>
                  </a:lnTo>
                  <a:lnTo>
                    <a:pt x="357" y="77"/>
                  </a:lnTo>
                  <a:lnTo>
                    <a:pt x="359" y="76"/>
                  </a:lnTo>
                  <a:lnTo>
                    <a:pt x="360" y="76"/>
                  </a:lnTo>
                  <a:lnTo>
                    <a:pt x="361" y="76"/>
                  </a:lnTo>
                  <a:lnTo>
                    <a:pt x="362" y="76"/>
                  </a:lnTo>
                  <a:lnTo>
                    <a:pt x="363" y="75"/>
                  </a:lnTo>
                  <a:lnTo>
                    <a:pt x="365" y="76"/>
                  </a:lnTo>
                  <a:lnTo>
                    <a:pt x="365" y="77"/>
                  </a:lnTo>
                  <a:lnTo>
                    <a:pt x="366" y="81"/>
                  </a:lnTo>
                  <a:lnTo>
                    <a:pt x="367" y="82"/>
                  </a:lnTo>
                  <a:lnTo>
                    <a:pt x="368" y="81"/>
                  </a:lnTo>
                  <a:lnTo>
                    <a:pt x="369" y="79"/>
                  </a:lnTo>
                  <a:lnTo>
                    <a:pt x="371" y="77"/>
                  </a:lnTo>
                  <a:lnTo>
                    <a:pt x="371" y="76"/>
                  </a:lnTo>
                  <a:lnTo>
                    <a:pt x="372" y="75"/>
                  </a:lnTo>
                  <a:lnTo>
                    <a:pt x="373" y="76"/>
                  </a:lnTo>
                  <a:lnTo>
                    <a:pt x="373" y="77"/>
                  </a:lnTo>
                  <a:lnTo>
                    <a:pt x="374" y="78"/>
                  </a:lnTo>
                  <a:lnTo>
                    <a:pt x="375" y="77"/>
                  </a:lnTo>
                  <a:lnTo>
                    <a:pt x="377" y="77"/>
                  </a:lnTo>
                  <a:lnTo>
                    <a:pt x="378" y="78"/>
                  </a:lnTo>
                  <a:lnTo>
                    <a:pt x="379" y="79"/>
                  </a:lnTo>
                  <a:lnTo>
                    <a:pt x="377" y="81"/>
                  </a:lnTo>
                  <a:lnTo>
                    <a:pt x="375" y="81"/>
                  </a:lnTo>
                  <a:lnTo>
                    <a:pt x="374" y="81"/>
                  </a:lnTo>
                  <a:lnTo>
                    <a:pt x="373" y="81"/>
                  </a:lnTo>
                  <a:lnTo>
                    <a:pt x="373" y="82"/>
                  </a:lnTo>
                  <a:lnTo>
                    <a:pt x="372" y="82"/>
                  </a:lnTo>
                  <a:lnTo>
                    <a:pt x="373" y="83"/>
                  </a:lnTo>
                  <a:lnTo>
                    <a:pt x="374" y="85"/>
                  </a:lnTo>
                  <a:lnTo>
                    <a:pt x="375" y="84"/>
                  </a:lnTo>
                  <a:lnTo>
                    <a:pt x="377" y="85"/>
                  </a:lnTo>
                  <a:lnTo>
                    <a:pt x="377" y="84"/>
                  </a:lnTo>
                  <a:lnTo>
                    <a:pt x="379" y="84"/>
                  </a:lnTo>
                  <a:lnTo>
                    <a:pt x="378" y="83"/>
                  </a:lnTo>
                  <a:lnTo>
                    <a:pt x="377" y="82"/>
                  </a:lnTo>
                  <a:lnTo>
                    <a:pt x="378" y="82"/>
                  </a:lnTo>
                  <a:lnTo>
                    <a:pt x="380" y="79"/>
                  </a:lnTo>
                  <a:lnTo>
                    <a:pt x="381" y="78"/>
                  </a:lnTo>
                  <a:lnTo>
                    <a:pt x="381" y="76"/>
                  </a:lnTo>
                  <a:lnTo>
                    <a:pt x="384" y="77"/>
                  </a:lnTo>
                  <a:lnTo>
                    <a:pt x="384" y="76"/>
                  </a:lnTo>
                  <a:lnTo>
                    <a:pt x="384" y="75"/>
                  </a:lnTo>
                  <a:lnTo>
                    <a:pt x="384" y="73"/>
                  </a:lnTo>
                  <a:lnTo>
                    <a:pt x="384" y="72"/>
                  </a:lnTo>
                  <a:lnTo>
                    <a:pt x="385" y="71"/>
                  </a:lnTo>
                  <a:lnTo>
                    <a:pt x="384" y="71"/>
                  </a:lnTo>
                  <a:lnTo>
                    <a:pt x="385" y="70"/>
                  </a:lnTo>
                  <a:lnTo>
                    <a:pt x="386" y="70"/>
                  </a:lnTo>
                  <a:lnTo>
                    <a:pt x="385" y="69"/>
                  </a:lnTo>
                  <a:lnTo>
                    <a:pt x="386" y="67"/>
                  </a:lnTo>
                  <a:lnTo>
                    <a:pt x="387" y="66"/>
                  </a:lnTo>
                  <a:lnTo>
                    <a:pt x="389" y="66"/>
                  </a:lnTo>
                  <a:lnTo>
                    <a:pt x="391" y="66"/>
                  </a:lnTo>
                  <a:lnTo>
                    <a:pt x="390" y="65"/>
                  </a:lnTo>
                  <a:lnTo>
                    <a:pt x="389" y="64"/>
                  </a:lnTo>
                  <a:lnTo>
                    <a:pt x="386" y="65"/>
                  </a:lnTo>
                  <a:lnTo>
                    <a:pt x="387" y="64"/>
                  </a:lnTo>
                  <a:lnTo>
                    <a:pt x="389" y="63"/>
                  </a:lnTo>
                  <a:lnTo>
                    <a:pt x="391" y="64"/>
                  </a:lnTo>
                  <a:lnTo>
                    <a:pt x="392" y="64"/>
                  </a:lnTo>
                  <a:lnTo>
                    <a:pt x="392" y="65"/>
                  </a:lnTo>
                  <a:lnTo>
                    <a:pt x="395" y="65"/>
                  </a:lnTo>
                  <a:lnTo>
                    <a:pt x="395" y="66"/>
                  </a:lnTo>
                  <a:lnTo>
                    <a:pt x="397" y="64"/>
                  </a:lnTo>
                  <a:lnTo>
                    <a:pt x="397" y="61"/>
                  </a:lnTo>
                  <a:lnTo>
                    <a:pt x="398" y="60"/>
                  </a:lnTo>
                  <a:lnTo>
                    <a:pt x="399" y="60"/>
                  </a:lnTo>
                  <a:lnTo>
                    <a:pt x="399" y="63"/>
                  </a:lnTo>
                  <a:lnTo>
                    <a:pt x="401" y="61"/>
                  </a:lnTo>
                  <a:lnTo>
                    <a:pt x="402" y="60"/>
                  </a:lnTo>
                  <a:lnTo>
                    <a:pt x="403" y="60"/>
                  </a:lnTo>
                  <a:lnTo>
                    <a:pt x="404" y="61"/>
                  </a:lnTo>
                  <a:lnTo>
                    <a:pt x="406" y="61"/>
                  </a:lnTo>
                  <a:lnTo>
                    <a:pt x="407" y="61"/>
                  </a:lnTo>
                  <a:lnTo>
                    <a:pt x="404" y="63"/>
                  </a:lnTo>
                  <a:lnTo>
                    <a:pt x="401" y="64"/>
                  </a:lnTo>
                  <a:lnTo>
                    <a:pt x="402" y="66"/>
                  </a:lnTo>
                  <a:lnTo>
                    <a:pt x="403" y="65"/>
                  </a:lnTo>
                  <a:lnTo>
                    <a:pt x="407" y="63"/>
                  </a:lnTo>
                  <a:lnTo>
                    <a:pt x="404" y="65"/>
                  </a:lnTo>
                  <a:lnTo>
                    <a:pt x="406" y="67"/>
                  </a:lnTo>
                  <a:lnTo>
                    <a:pt x="404" y="67"/>
                  </a:lnTo>
                  <a:lnTo>
                    <a:pt x="403" y="69"/>
                  </a:lnTo>
                  <a:lnTo>
                    <a:pt x="404" y="69"/>
                  </a:lnTo>
                  <a:lnTo>
                    <a:pt x="406" y="70"/>
                  </a:lnTo>
                  <a:lnTo>
                    <a:pt x="408" y="70"/>
                  </a:lnTo>
                  <a:lnTo>
                    <a:pt x="408" y="71"/>
                  </a:lnTo>
                  <a:lnTo>
                    <a:pt x="410" y="71"/>
                  </a:lnTo>
                  <a:lnTo>
                    <a:pt x="412" y="72"/>
                  </a:lnTo>
                  <a:lnTo>
                    <a:pt x="410" y="72"/>
                  </a:lnTo>
                  <a:lnTo>
                    <a:pt x="412" y="72"/>
                  </a:lnTo>
                  <a:lnTo>
                    <a:pt x="412" y="75"/>
                  </a:lnTo>
                  <a:lnTo>
                    <a:pt x="409" y="75"/>
                  </a:lnTo>
                  <a:lnTo>
                    <a:pt x="410" y="76"/>
                  </a:lnTo>
                  <a:lnTo>
                    <a:pt x="412" y="77"/>
                  </a:lnTo>
                  <a:lnTo>
                    <a:pt x="413" y="76"/>
                  </a:lnTo>
                  <a:lnTo>
                    <a:pt x="414" y="77"/>
                  </a:lnTo>
                  <a:lnTo>
                    <a:pt x="414" y="79"/>
                  </a:lnTo>
                  <a:lnTo>
                    <a:pt x="415" y="81"/>
                  </a:lnTo>
                  <a:lnTo>
                    <a:pt x="414" y="82"/>
                  </a:lnTo>
                  <a:lnTo>
                    <a:pt x="414" y="84"/>
                  </a:lnTo>
                  <a:lnTo>
                    <a:pt x="413" y="85"/>
                  </a:lnTo>
                  <a:lnTo>
                    <a:pt x="413" y="82"/>
                  </a:lnTo>
                  <a:lnTo>
                    <a:pt x="412" y="78"/>
                  </a:lnTo>
                  <a:lnTo>
                    <a:pt x="409" y="78"/>
                  </a:lnTo>
                  <a:lnTo>
                    <a:pt x="407" y="76"/>
                  </a:lnTo>
                  <a:lnTo>
                    <a:pt x="407" y="77"/>
                  </a:lnTo>
                  <a:lnTo>
                    <a:pt x="407" y="79"/>
                  </a:lnTo>
                  <a:lnTo>
                    <a:pt x="407" y="82"/>
                  </a:lnTo>
                  <a:lnTo>
                    <a:pt x="406" y="83"/>
                  </a:lnTo>
                  <a:lnTo>
                    <a:pt x="404" y="84"/>
                  </a:lnTo>
                  <a:lnTo>
                    <a:pt x="402" y="84"/>
                  </a:lnTo>
                  <a:lnTo>
                    <a:pt x="402" y="83"/>
                  </a:lnTo>
                  <a:lnTo>
                    <a:pt x="399" y="84"/>
                  </a:lnTo>
                  <a:lnTo>
                    <a:pt x="395" y="85"/>
                  </a:lnTo>
                  <a:lnTo>
                    <a:pt x="392" y="85"/>
                  </a:lnTo>
                  <a:lnTo>
                    <a:pt x="392" y="87"/>
                  </a:lnTo>
                  <a:lnTo>
                    <a:pt x="392" y="88"/>
                  </a:lnTo>
                  <a:lnTo>
                    <a:pt x="395" y="87"/>
                  </a:lnTo>
                  <a:lnTo>
                    <a:pt x="393" y="88"/>
                  </a:lnTo>
                  <a:lnTo>
                    <a:pt x="396" y="87"/>
                  </a:lnTo>
                  <a:lnTo>
                    <a:pt x="398" y="85"/>
                  </a:lnTo>
                  <a:lnTo>
                    <a:pt x="402" y="85"/>
                  </a:lnTo>
                  <a:lnTo>
                    <a:pt x="404" y="85"/>
                  </a:lnTo>
                  <a:lnTo>
                    <a:pt x="407" y="85"/>
                  </a:lnTo>
                  <a:lnTo>
                    <a:pt x="407" y="88"/>
                  </a:lnTo>
                  <a:lnTo>
                    <a:pt x="406" y="88"/>
                  </a:lnTo>
                  <a:lnTo>
                    <a:pt x="404" y="88"/>
                  </a:lnTo>
                  <a:lnTo>
                    <a:pt x="406" y="89"/>
                  </a:lnTo>
                  <a:lnTo>
                    <a:pt x="403" y="89"/>
                  </a:lnTo>
                  <a:lnTo>
                    <a:pt x="403" y="90"/>
                  </a:lnTo>
                  <a:lnTo>
                    <a:pt x="403" y="91"/>
                  </a:lnTo>
                  <a:lnTo>
                    <a:pt x="401" y="91"/>
                  </a:lnTo>
                  <a:lnTo>
                    <a:pt x="402" y="93"/>
                  </a:lnTo>
                  <a:lnTo>
                    <a:pt x="404" y="94"/>
                  </a:lnTo>
                  <a:lnTo>
                    <a:pt x="404" y="95"/>
                  </a:lnTo>
                  <a:lnTo>
                    <a:pt x="403" y="96"/>
                  </a:lnTo>
                  <a:lnTo>
                    <a:pt x="403" y="97"/>
                  </a:lnTo>
                  <a:lnTo>
                    <a:pt x="402" y="96"/>
                  </a:lnTo>
                  <a:lnTo>
                    <a:pt x="401" y="96"/>
                  </a:lnTo>
                  <a:lnTo>
                    <a:pt x="399" y="95"/>
                  </a:lnTo>
                  <a:lnTo>
                    <a:pt x="398" y="91"/>
                  </a:lnTo>
                  <a:lnTo>
                    <a:pt x="398" y="90"/>
                  </a:lnTo>
                  <a:lnTo>
                    <a:pt x="397" y="89"/>
                  </a:lnTo>
                  <a:lnTo>
                    <a:pt x="396" y="89"/>
                  </a:lnTo>
                  <a:lnTo>
                    <a:pt x="395" y="90"/>
                  </a:lnTo>
                  <a:lnTo>
                    <a:pt x="395" y="93"/>
                  </a:lnTo>
                  <a:lnTo>
                    <a:pt x="393" y="94"/>
                  </a:lnTo>
                  <a:lnTo>
                    <a:pt x="390" y="97"/>
                  </a:lnTo>
                  <a:lnTo>
                    <a:pt x="390" y="95"/>
                  </a:lnTo>
                  <a:lnTo>
                    <a:pt x="391" y="94"/>
                  </a:lnTo>
                  <a:lnTo>
                    <a:pt x="389" y="95"/>
                  </a:lnTo>
                  <a:lnTo>
                    <a:pt x="385" y="100"/>
                  </a:lnTo>
                  <a:lnTo>
                    <a:pt x="386" y="96"/>
                  </a:lnTo>
                  <a:lnTo>
                    <a:pt x="386" y="95"/>
                  </a:lnTo>
                  <a:lnTo>
                    <a:pt x="386" y="94"/>
                  </a:lnTo>
                  <a:lnTo>
                    <a:pt x="385" y="94"/>
                  </a:lnTo>
                  <a:lnTo>
                    <a:pt x="384" y="96"/>
                  </a:lnTo>
                  <a:lnTo>
                    <a:pt x="383" y="97"/>
                  </a:lnTo>
                  <a:lnTo>
                    <a:pt x="383" y="100"/>
                  </a:lnTo>
                  <a:lnTo>
                    <a:pt x="381" y="101"/>
                  </a:lnTo>
                  <a:lnTo>
                    <a:pt x="381" y="102"/>
                  </a:lnTo>
                  <a:lnTo>
                    <a:pt x="380" y="103"/>
                  </a:lnTo>
                  <a:lnTo>
                    <a:pt x="381" y="102"/>
                  </a:lnTo>
                  <a:lnTo>
                    <a:pt x="383" y="103"/>
                  </a:lnTo>
                  <a:lnTo>
                    <a:pt x="383" y="102"/>
                  </a:lnTo>
                  <a:lnTo>
                    <a:pt x="383" y="105"/>
                  </a:lnTo>
                  <a:lnTo>
                    <a:pt x="381" y="107"/>
                  </a:lnTo>
                  <a:lnTo>
                    <a:pt x="381" y="108"/>
                  </a:lnTo>
                  <a:lnTo>
                    <a:pt x="380" y="109"/>
                  </a:lnTo>
                  <a:lnTo>
                    <a:pt x="381" y="112"/>
                  </a:lnTo>
                  <a:lnTo>
                    <a:pt x="383" y="111"/>
                  </a:lnTo>
                  <a:lnTo>
                    <a:pt x="384" y="111"/>
                  </a:lnTo>
                  <a:lnTo>
                    <a:pt x="386" y="111"/>
                  </a:lnTo>
                  <a:lnTo>
                    <a:pt x="387" y="111"/>
                  </a:lnTo>
                  <a:lnTo>
                    <a:pt x="389" y="112"/>
                  </a:lnTo>
                  <a:lnTo>
                    <a:pt x="389" y="113"/>
                  </a:lnTo>
                  <a:lnTo>
                    <a:pt x="387" y="113"/>
                  </a:lnTo>
                  <a:lnTo>
                    <a:pt x="387" y="114"/>
                  </a:lnTo>
                  <a:lnTo>
                    <a:pt x="387" y="115"/>
                  </a:lnTo>
                  <a:lnTo>
                    <a:pt x="387" y="118"/>
                  </a:lnTo>
                  <a:lnTo>
                    <a:pt x="385" y="115"/>
                  </a:lnTo>
                  <a:lnTo>
                    <a:pt x="384" y="115"/>
                  </a:lnTo>
                  <a:lnTo>
                    <a:pt x="383" y="114"/>
                  </a:lnTo>
                  <a:lnTo>
                    <a:pt x="381" y="113"/>
                  </a:lnTo>
                  <a:lnTo>
                    <a:pt x="381" y="114"/>
                  </a:lnTo>
                  <a:lnTo>
                    <a:pt x="379" y="115"/>
                  </a:lnTo>
                  <a:lnTo>
                    <a:pt x="381" y="115"/>
                  </a:lnTo>
                  <a:lnTo>
                    <a:pt x="379" y="115"/>
                  </a:lnTo>
                  <a:lnTo>
                    <a:pt x="380" y="117"/>
                  </a:lnTo>
                  <a:lnTo>
                    <a:pt x="381" y="118"/>
                  </a:lnTo>
                  <a:lnTo>
                    <a:pt x="384" y="118"/>
                  </a:lnTo>
                  <a:lnTo>
                    <a:pt x="385" y="117"/>
                  </a:lnTo>
                  <a:lnTo>
                    <a:pt x="386" y="118"/>
                  </a:lnTo>
                  <a:lnTo>
                    <a:pt x="386" y="119"/>
                  </a:lnTo>
                  <a:lnTo>
                    <a:pt x="387" y="120"/>
                  </a:lnTo>
                  <a:lnTo>
                    <a:pt x="386" y="120"/>
                  </a:lnTo>
                  <a:lnTo>
                    <a:pt x="387" y="121"/>
                  </a:lnTo>
                  <a:lnTo>
                    <a:pt x="386" y="123"/>
                  </a:lnTo>
                  <a:lnTo>
                    <a:pt x="385" y="120"/>
                  </a:lnTo>
                  <a:lnTo>
                    <a:pt x="383" y="118"/>
                  </a:lnTo>
                  <a:lnTo>
                    <a:pt x="383" y="119"/>
                  </a:lnTo>
                  <a:lnTo>
                    <a:pt x="383" y="120"/>
                  </a:lnTo>
                  <a:lnTo>
                    <a:pt x="383" y="123"/>
                  </a:lnTo>
                  <a:lnTo>
                    <a:pt x="383" y="126"/>
                  </a:lnTo>
                  <a:lnTo>
                    <a:pt x="381" y="123"/>
                  </a:lnTo>
                  <a:lnTo>
                    <a:pt x="380" y="124"/>
                  </a:lnTo>
                  <a:lnTo>
                    <a:pt x="380" y="123"/>
                  </a:lnTo>
                  <a:lnTo>
                    <a:pt x="380" y="120"/>
                  </a:lnTo>
                  <a:lnTo>
                    <a:pt x="379" y="120"/>
                  </a:lnTo>
                  <a:lnTo>
                    <a:pt x="378" y="119"/>
                  </a:lnTo>
                  <a:lnTo>
                    <a:pt x="379" y="120"/>
                  </a:lnTo>
                  <a:lnTo>
                    <a:pt x="378" y="125"/>
                  </a:lnTo>
                  <a:lnTo>
                    <a:pt x="375" y="123"/>
                  </a:lnTo>
                  <a:lnTo>
                    <a:pt x="375" y="120"/>
                  </a:lnTo>
                  <a:lnTo>
                    <a:pt x="375" y="121"/>
                  </a:lnTo>
                  <a:lnTo>
                    <a:pt x="375" y="125"/>
                  </a:lnTo>
                  <a:lnTo>
                    <a:pt x="377" y="127"/>
                  </a:lnTo>
                  <a:lnTo>
                    <a:pt x="377" y="130"/>
                  </a:lnTo>
                  <a:lnTo>
                    <a:pt x="377" y="131"/>
                  </a:lnTo>
                  <a:lnTo>
                    <a:pt x="375" y="131"/>
                  </a:lnTo>
                  <a:lnTo>
                    <a:pt x="375" y="132"/>
                  </a:lnTo>
                  <a:lnTo>
                    <a:pt x="375" y="133"/>
                  </a:lnTo>
                  <a:lnTo>
                    <a:pt x="374" y="136"/>
                  </a:lnTo>
                  <a:lnTo>
                    <a:pt x="374" y="133"/>
                  </a:lnTo>
                  <a:lnTo>
                    <a:pt x="373" y="133"/>
                  </a:lnTo>
                  <a:lnTo>
                    <a:pt x="373" y="132"/>
                  </a:lnTo>
                  <a:lnTo>
                    <a:pt x="372" y="131"/>
                  </a:lnTo>
                  <a:lnTo>
                    <a:pt x="372" y="130"/>
                  </a:lnTo>
                  <a:lnTo>
                    <a:pt x="371" y="130"/>
                  </a:lnTo>
                  <a:lnTo>
                    <a:pt x="372" y="129"/>
                  </a:lnTo>
                  <a:lnTo>
                    <a:pt x="372" y="126"/>
                  </a:lnTo>
                  <a:lnTo>
                    <a:pt x="374" y="125"/>
                  </a:lnTo>
                  <a:lnTo>
                    <a:pt x="374" y="123"/>
                  </a:lnTo>
                  <a:lnTo>
                    <a:pt x="373" y="124"/>
                  </a:lnTo>
                  <a:lnTo>
                    <a:pt x="372" y="125"/>
                  </a:lnTo>
                  <a:lnTo>
                    <a:pt x="373" y="123"/>
                  </a:lnTo>
                  <a:lnTo>
                    <a:pt x="372" y="124"/>
                  </a:lnTo>
                  <a:lnTo>
                    <a:pt x="371" y="124"/>
                  </a:lnTo>
                  <a:lnTo>
                    <a:pt x="369" y="125"/>
                  </a:lnTo>
                  <a:lnTo>
                    <a:pt x="369" y="124"/>
                  </a:lnTo>
                  <a:lnTo>
                    <a:pt x="368" y="124"/>
                  </a:lnTo>
                  <a:lnTo>
                    <a:pt x="366" y="124"/>
                  </a:lnTo>
                  <a:lnTo>
                    <a:pt x="365" y="124"/>
                  </a:lnTo>
                  <a:lnTo>
                    <a:pt x="367" y="125"/>
                  </a:lnTo>
                  <a:lnTo>
                    <a:pt x="365" y="126"/>
                  </a:lnTo>
                  <a:lnTo>
                    <a:pt x="363" y="129"/>
                  </a:lnTo>
                  <a:lnTo>
                    <a:pt x="362" y="131"/>
                  </a:lnTo>
                  <a:lnTo>
                    <a:pt x="363" y="131"/>
                  </a:lnTo>
                  <a:lnTo>
                    <a:pt x="366" y="132"/>
                  </a:lnTo>
                  <a:lnTo>
                    <a:pt x="365" y="133"/>
                  </a:lnTo>
                  <a:lnTo>
                    <a:pt x="366" y="133"/>
                  </a:lnTo>
                  <a:lnTo>
                    <a:pt x="366" y="135"/>
                  </a:lnTo>
                  <a:lnTo>
                    <a:pt x="366" y="136"/>
                  </a:lnTo>
                  <a:lnTo>
                    <a:pt x="368" y="137"/>
                  </a:lnTo>
                  <a:lnTo>
                    <a:pt x="369" y="136"/>
                  </a:lnTo>
                  <a:lnTo>
                    <a:pt x="368" y="136"/>
                  </a:lnTo>
                  <a:lnTo>
                    <a:pt x="367" y="135"/>
                  </a:lnTo>
                  <a:lnTo>
                    <a:pt x="369" y="133"/>
                  </a:lnTo>
                  <a:lnTo>
                    <a:pt x="372" y="135"/>
                  </a:lnTo>
                  <a:lnTo>
                    <a:pt x="372" y="136"/>
                  </a:lnTo>
                  <a:lnTo>
                    <a:pt x="373" y="136"/>
                  </a:lnTo>
                  <a:lnTo>
                    <a:pt x="374" y="137"/>
                  </a:lnTo>
                  <a:lnTo>
                    <a:pt x="377" y="136"/>
                  </a:lnTo>
                  <a:lnTo>
                    <a:pt x="378" y="135"/>
                  </a:lnTo>
                  <a:lnTo>
                    <a:pt x="380" y="133"/>
                  </a:lnTo>
                  <a:lnTo>
                    <a:pt x="380" y="135"/>
                  </a:lnTo>
                  <a:lnTo>
                    <a:pt x="380" y="137"/>
                  </a:lnTo>
                  <a:lnTo>
                    <a:pt x="383" y="137"/>
                  </a:lnTo>
                  <a:lnTo>
                    <a:pt x="381" y="136"/>
                  </a:lnTo>
                  <a:lnTo>
                    <a:pt x="381" y="135"/>
                  </a:lnTo>
                  <a:lnTo>
                    <a:pt x="383" y="135"/>
                  </a:lnTo>
                  <a:lnTo>
                    <a:pt x="384" y="135"/>
                  </a:lnTo>
                  <a:lnTo>
                    <a:pt x="385" y="135"/>
                  </a:lnTo>
                  <a:lnTo>
                    <a:pt x="386" y="135"/>
                  </a:lnTo>
                  <a:lnTo>
                    <a:pt x="385" y="136"/>
                  </a:lnTo>
                  <a:lnTo>
                    <a:pt x="386" y="135"/>
                  </a:lnTo>
                  <a:lnTo>
                    <a:pt x="385" y="131"/>
                  </a:lnTo>
                  <a:lnTo>
                    <a:pt x="383" y="132"/>
                  </a:lnTo>
                  <a:lnTo>
                    <a:pt x="381" y="133"/>
                  </a:lnTo>
                  <a:lnTo>
                    <a:pt x="380" y="132"/>
                  </a:lnTo>
                  <a:lnTo>
                    <a:pt x="380" y="131"/>
                  </a:lnTo>
                  <a:lnTo>
                    <a:pt x="379" y="130"/>
                  </a:lnTo>
                  <a:lnTo>
                    <a:pt x="381" y="130"/>
                  </a:lnTo>
                  <a:lnTo>
                    <a:pt x="385" y="130"/>
                  </a:lnTo>
                  <a:lnTo>
                    <a:pt x="387" y="130"/>
                  </a:lnTo>
                  <a:lnTo>
                    <a:pt x="386" y="131"/>
                  </a:lnTo>
                  <a:lnTo>
                    <a:pt x="387" y="133"/>
                  </a:lnTo>
                  <a:lnTo>
                    <a:pt x="389" y="133"/>
                  </a:lnTo>
                  <a:lnTo>
                    <a:pt x="389" y="132"/>
                  </a:lnTo>
                  <a:lnTo>
                    <a:pt x="390" y="132"/>
                  </a:lnTo>
                  <a:lnTo>
                    <a:pt x="391" y="131"/>
                  </a:lnTo>
                  <a:lnTo>
                    <a:pt x="391" y="130"/>
                  </a:lnTo>
                  <a:lnTo>
                    <a:pt x="392" y="131"/>
                  </a:lnTo>
                  <a:lnTo>
                    <a:pt x="392" y="132"/>
                  </a:lnTo>
                  <a:lnTo>
                    <a:pt x="393" y="132"/>
                  </a:lnTo>
                  <a:lnTo>
                    <a:pt x="392" y="135"/>
                  </a:lnTo>
                  <a:lnTo>
                    <a:pt x="392" y="136"/>
                  </a:lnTo>
                  <a:lnTo>
                    <a:pt x="395" y="135"/>
                  </a:lnTo>
                  <a:lnTo>
                    <a:pt x="396" y="133"/>
                  </a:lnTo>
                  <a:lnTo>
                    <a:pt x="397" y="132"/>
                  </a:lnTo>
                  <a:lnTo>
                    <a:pt x="399" y="132"/>
                  </a:lnTo>
                  <a:lnTo>
                    <a:pt x="396" y="136"/>
                  </a:lnTo>
                  <a:lnTo>
                    <a:pt x="395" y="138"/>
                  </a:lnTo>
                  <a:lnTo>
                    <a:pt x="393" y="142"/>
                  </a:lnTo>
                  <a:lnTo>
                    <a:pt x="395" y="143"/>
                  </a:lnTo>
                  <a:lnTo>
                    <a:pt x="396" y="141"/>
                  </a:lnTo>
                  <a:lnTo>
                    <a:pt x="397" y="138"/>
                  </a:lnTo>
                  <a:lnTo>
                    <a:pt x="397" y="137"/>
                  </a:lnTo>
                  <a:lnTo>
                    <a:pt x="398" y="136"/>
                  </a:lnTo>
                  <a:lnTo>
                    <a:pt x="399" y="137"/>
                  </a:lnTo>
                  <a:lnTo>
                    <a:pt x="401" y="137"/>
                  </a:lnTo>
                  <a:lnTo>
                    <a:pt x="401" y="138"/>
                  </a:lnTo>
                  <a:lnTo>
                    <a:pt x="401" y="139"/>
                  </a:lnTo>
                  <a:lnTo>
                    <a:pt x="401" y="141"/>
                  </a:lnTo>
                  <a:lnTo>
                    <a:pt x="399" y="142"/>
                  </a:lnTo>
                  <a:lnTo>
                    <a:pt x="399" y="144"/>
                  </a:lnTo>
                  <a:lnTo>
                    <a:pt x="401" y="143"/>
                  </a:lnTo>
                  <a:lnTo>
                    <a:pt x="403" y="142"/>
                  </a:lnTo>
                  <a:lnTo>
                    <a:pt x="406" y="142"/>
                  </a:lnTo>
                  <a:lnTo>
                    <a:pt x="407" y="143"/>
                  </a:lnTo>
                  <a:lnTo>
                    <a:pt x="408" y="142"/>
                  </a:lnTo>
                  <a:lnTo>
                    <a:pt x="408" y="143"/>
                  </a:lnTo>
                  <a:lnTo>
                    <a:pt x="409" y="143"/>
                  </a:lnTo>
                  <a:lnTo>
                    <a:pt x="408" y="144"/>
                  </a:lnTo>
                  <a:lnTo>
                    <a:pt x="404" y="146"/>
                  </a:lnTo>
                  <a:lnTo>
                    <a:pt x="403" y="146"/>
                  </a:lnTo>
                  <a:lnTo>
                    <a:pt x="399" y="146"/>
                  </a:lnTo>
                  <a:lnTo>
                    <a:pt x="401" y="147"/>
                  </a:lnTo>
                  <a:lnTo>
                    <a:pt x="402" y="147"/>
                  </a:lnTo>
                  <a:lnTo>
                    <a:pt x="403" y="146"/>
                  </a:lnTo>
                  <a:lnTo>
                    <a:pt x="404" y="147"/>
                  </a:lnTo>
                  <a:lnTo>
                    <a:pt x="406" y="147"/>
                  </a:lnTo>
                  <a:lnTo>
                    <a:pt x="407" y="147"/>
                  </a:lnTo>
                  <a:lnTo>
                    <a:pt x="408" y="148"/>
                  </a:lnTo>
                  <a:lnTo>
                    <a:pt x="409" y="147"/>
                  </a:lnTo>
                  <a:lnTo>
                    <a:pt x="410" y="148"/>
                  </a:lnTo>
                  <a:lnTo>
                    <a:pt x="410" y="147"/>
                  </a:lnTo>
                  <a:lnTo>
                    <a:pt x="410" y="143"/>
                  </a:lnTo>
                  <a:lnTo>
                    <a:pt x="412" y="142"/>
                  </a:lnTo>
                  <a:lnTo>
                    <a:pt x="413" y="141"/>
                  </a:lnTo>
                  <a:lnTo>
                    <a:pt x="410" y="141"/>
                  </a:lnTo>
                  <a:lnTo>
                    <a:pt x="410" y="139"/>
                  </a:lnTo>
                  <a:lnTo>
                    <a:pt x="412" y="137"/>
                  </a:lnTo>
                  <a:lnTo>
                    <a:pt x="414" y="137"/>
                  </a:lnTo>
                  <a:lnTo>
                    <a:pt x="415" y="135"/>
                  </a:lnTo>
                  <a:lnTo>
                    <a:pt x="415" y="136"/>
                  </a:lnTo>
                  <a:lnTo>
                    <a:pt x="415" y="138"/>
                  </a:lnTo>
                  <a:lnTo>
                    <a:pt x="415" y="139"/>
                  </a:lnTo>
                  <a:lnTo>
                    <a:pt x="416" y="141"/>
                  </a:lnTo>
                  <a:lnTo>
                    <a:pt x="416" y="143"/>
                  </a:lnTo>
                  <a:lnTo>
                    <a:pt x="418" y="143"/>
                  </a:lnTo>
                  <a:lnTo>
                    <a:pt x="419" y="144"/>
                  </a:lnTo>
                  <a:lnTo>
                    <a:pt x="418" y="144"/>
                  </a:lnTo>
                  <a:lnTo>
                    <a:pt x="419" y="146"/>
                  </a:lnTo>
                  <a:lnTo>
                    <a:pt x="421" y="147"/>
                  </a:lnTo>
                  <a:lnTo>
                    <a:pt x="422" y="147"/>
                  </a:lnTo>
                  <a:lnTo>
                    <a:pt x="421" y="146"/>
                  </a:lnTo>
                  <a:lnTo>
                    <a:pt x="422" y="146"/>
                  </a:lnTo>
                  <a:lnTo>
                    <a:pt x="426" y="146"/>
                  </a:lnTo>
                  <a:lnTo>
                    <a:pt x="424" y="147"/>
                  </a:lnTo>
                  <a:lnTo>
                    <a:pt x="422" y="148"/>
                  </a:lnTo>
                  <a:lnTo>
                    <a:pt x="424" y="147"/>
                  </a:lnTo>
                  <a:lnTo>
                    <a:pt x="426" y="148"/>
                  </a:lnTo>
                  <a:lnTo>
                    <a:pt x="427" y="149"/>
                  </a:lnTo>
                  <a:lnTo>
                    <a:pt x="426" y="150"/>
                  </a:lnTo>
                  <a:lnTo>
                    <a:pt x="425" y="152"/>
                  </a:lnTo>
                  <a:lnTo>
                    <a:pt x="425" y="153"/>
                  </a:lnTo>
                  <a:lnTo>
                    <a:pt x="422" y="152"/>
                  </a:lnTo>
                  <a:lnTo>
                    <a:pt x="421" y="153"/>
                  </a:lnTo>
                  <a:lnTo>
                    <a:pt x="420" y="154"/>
                  </a:lnTo>
                  <a:lnTo>
                    <a:pt x="421" y="154"/>
                  </a:lnTo>
                  <a:lnTo>
                    <a:pt x="420" y="155"/>
                  </a:lnTo>
                  <a:lnTo>
                    <a:pt x="419" y="158"/>
                  </a:lnTo>
                  <a:lnTo>
                    <a:pt x="419" y="159"/>
                  </a:lnTo>
                  <a:lnTo>
                    <a:pt x="418" y="159"/>
                  </a:lnTo>
                  <a:lnTo>
                    <a:pt x="418" y="161"/>
                  </a:lnTo>
                  <a:lnTo>
                    <a:pt x="419" y="162"/>
                  </a:lnTo>
                  <a:lnTo>
                    <a:pt x="420" y="162"/>
                  </a:lnTo>
                  <a:lnTo>
                    <a:pt x="422" y="161"/>
                  </a:lnTo>
                  <a:lnTo>
                    <a:pt x="425" y="160"/>
                  </a:lnTo>
                  <a:lnTo>
                    <a:pt x="427" y="160"/>
                  </a:lnTo>
                  <a:lnTo>
                    <a:pt x="425" y="161"/>
                  </a:lnTo>
                  <a:lnTo>
                    <a:pt x="422" y="164"/>
                  </a:lnTo>
                  <a:lnTo>
                    <a:pt x="424" y="164"/>
                  </a:lnTo>
                  <a:lnTo>
                    <a:pt x="424" y="165"/>
                  </a:lnTo>
                  <a:lnTo>
                    <a:pt x="427" y="165"/>
                  </a:lnTo>
                  <a:lnTo>
                    <a:pt x="430" y="165"/>
                  </a:lnTo>
                  <a:lnTo>
                    <a:pt x="431" y="164"/>
                  </a:lnTo>
                  <a:lnTo>
                    <a:pt x="432" y="162"/>
                  </a:lnTo>
                  <a:lnTo>
                    <a:pt x="432" y="161"/>
                  </a:lnTo>
                  <a:lnTo>
                    <a:pt x="434" y="159"/>
                  </a:lnTo>
                  <a:lnTo>
                    <a:pt x="437" y="159"/>
                  </a:lnTo>
                  <a:lnTo>
                    <a:pt x="437" y="160"/>
                  </a:lnTo>
                  <a:lnTo>
                    <a:pt x="438" y="160"/>
                  </a:lnTo>
                  <a:lnTo>
                    <a:pt x="437" y="161"/>
                  </a:lnTo>
                  <a:lnTo>
                    <a:pt x="434" y="162"/>
                  </a:lnTo>
                  <a:lnTo>
                    <a:pt x="434" y="165"/>
                  </a:lnTo>
                  <a:lnTo>
                    <a:pt x="436" y="166"/>
                  </a:lnTo>
                  <a:lnTo>
                    <a:pt x="438" y="167"/>
                  </a:lnTo>
                  <a:lnTo>
                    <a:pt x="437" y="168"/>
                  </a:lnTo>
                  <a:lnTo>
                    <a:pt x="438" y="170"/>
                  </a:lnTo>
                  <a:lnTo>
                    <a:pt x="438" y="172"/>
                  </a:lnTo>
                  <a:lnTo>
                    <a:pt x="437" y="172"/>
                  </a:lnTo>
                  <a:lnTo>
                    <a:pt x="437" y="174"/>
                  </a:lnTo>
                  <a:lnTo>
                    <a:pt x="437" y="176"/>
                  </a:lnTo>
                  <a:lnTo>
                    <a:pt x="438" y="177"/>
                  </a:lnTo>
                  <a:lnTo>
                    <a:pt x="439" y="174"/>
                  </a:lnTo>
                  <a:lnTo>
                    <a:pt x="442" y="173"/>
                  </a:lnTo>
                  <a:lnTo>
                    <a:pt x="439" y="173"/>
                  </a:lnTo>
                  <a:lnTo>
                    <a:pt x="439" y="172"/>
                  </a:lnTo>
                  <a:lnTo>
                    <a:pt x="442" y="171"/>
                  </a:lnTo>
                  <a:lnTo>
                    <a:pt x="444" y="171"/>
                  </a:lnTo>
                  <a:lnTo>
                    <a:pt x="444" y="170"/>
                  </a:lnTo>
                  <a:lnTo>
                    <a:pt x="444" y="167"/>
                  </a:lnTo>
                  <a:lnTo>
                    <a:pt x="446" y="165"/>
                  </a:lnTo>
                  <a:lnTo>
                    <a:pt x="445" y="168"/>
                  </a:lnTo>
                  <a:lnTo>
                    <a:pt x="446" y="170"/>
                  </a:lnTo>
                  <a:lnTo>
                    <a:pt x="448" y="170"/>
                  </a:lnTo>
                  <a:lnTo>
                    <a:pt x="446" y="171"/>
                  </a:lnTo>
                  <a:lnTo>
                    <a:pt x="445" y="173"/>
                  </a:lnTo>
                  <a:lnTo>
                    <a:pt x="446" y="174"/>
                  </a:lnTo>
                  <a:lnTo>
                    <a:pt x="446" y="177"/>
                  </a:lnTo>
                  <a:lnTo>
                    <a:pt x="448" y="179"/>
                  </a:lnTo>
                  <a:lnTo>
                    <a:pt x="446" y="182"/>
                  </a:lnTo>
                  <a:lnTo>
                    <a:pt x="444" y="182"/>
                  </a:lnTo>
                  <a:lnTo>
                    <a:pt x="440" y="180"/>
                  </a:lnTo>
                  <a:lnTo>
                    <a:pt x="438" y="180"/>
                  </a:lnTo>
                  <a:lnTo>
                    <a:pt x="436" y="182"/>
                  </a:lnTo>
                  <a:lnTo>
                    <a:pt x="434" y="184"/>
                  </a:lnTo>
                  <a:lnTo>
                    <a:pt x="436" y="183"/>
                  </a:lnTo>
                  <a:lnTo>
                    <a:pt x="438" y="184"/>
                  </a:lnTo>
                  <a:lnTo>
                    <a:pt x="438" y="185"/>
                  </a:lnTo>
                  <a:lnTo>
                    <a:pt x="440" y="185"/>
                  </a:lnTo>
                  <a:lnTo>
                    <a:pt x="440" y="186"/>
                  </a:lnTo>
                  <a:lnTo>
                    <a:pt x="443" y="186"/>
                  </a:lnTo>
                  <a:lnTo>
                    <a:pt x="445" y="188"/>
                  </a:lnTo>
                  <a:lnTo>
                    <a:pt x="446" y="188"/>
                  </a:lnTo>
                  <a:lnTo>
                    <a:pt x="448" y="186"/>
                  </a:lnTo>
                  <a:lnTo>
                    <a:pt x="448" y="188"/>
                  </a:lnTo>
                  <a:lnTo>
                    <a:pt x="448" y="189"/>
                  </a:lnTo>
                  <a:lnTo>
                    <a:pt x="448" y="190"/>
                  </a:lnTo>
                  <a:lnTo>
                    <a:pt x="446" y="190"/>
                  </a:lnTo>
                  <a:lnTo>
                    <a:pt x="448" y="192"/>
                  </a:lnTo>
                  <a:lnTo>
                    <a:pt x="446" y="192"/>
                  </a:lnTo>
                  <a:lnTo>
                    <a:pt x="445" y="194"/>
                  </a:lnTo>
                  <a:lnTo>
                    <a:pt x="445" y="195"/>
                  </a:lnTo>
                  <a:lnTo>
                    <a:pt x="444" y="195"/>
                  </a:lnTo>
                  <a:lnTo>
                    <a:pt x="444" y="196"/>
                  </a:lnTo>
                  <a:lnTo>
                    <a:pt x="443" y="196"/>
                  </a:lnTo>
                  <a:lnTo>
                    <a:pt x="442" y="197"/>
                  </a:lnTo>
                  <a:lnTo>
                    <a:pt x="440" y="198"/>
                  </a:lnTo>
                  <a:lnTo>
                    <a:pt x="439" y="198"/>
                  </a:lnTo>
                  <a:lnTo>
                    <a:pt x="438" y="197"/>
                  </a:lnTo>
                  <a:lnTo>
                    <a:pt x="437" y="198"/>
                  </a:lnTo>
                  <a:lnTo>
                    <a:pt x="436" y="197"/>
                  </a:lnTo>
                  <a:lnTo>
                    <a:pt x="436" y="198"/>
                  </a:lnTo>
                  <a:lnTo>
                    <a:pt x="438" y="200"/>
                  </a:lnTo>
                  <a:lnTo>
                    <a:pt x="439" y="201"/>
                  </a:lnTo>
                  <a:lnTo>
                    <a:pt x="440" y="204"/>
                  </a:lnTo>
                  <a:lnTo>
                    <a:pt x="440" y="206"/>
                  </a:lnTo>
                  <a:lnTo>
                    <a:pt x="439" y="203"/>
                  </a:lnTo>
                  <a:lnTo>
                    <a:pt x="438" y="202"/>
                  </a:lnTo>
                  <a:lnTo>
                    <a:pt x="437" y="202"/>
                  </a:lnTo>
                  <a:lnTo>
                    <a:pt x="436" y="203"/>
                  </a:lnTo>
                  <a:lnTo>
                    <a:pt x="436" y="202"/>
                  </a:lnTo>
                  <a:lnTo>
                    <a:pt x="434" y="202"/>
                  </a:lnTo>
                  <a:lnTo>
                    <a:pt x="434" y="201"/>
                  </a:lnTo>
                  <a:lnTo>
                    <a:pt x="434" y="200"/>
                  </a:lnTo>
                  <a:lnTo>
                    <a:pt x="433" y="201"/>
                  </a:lnTo>
                  <a:lnTo>
                    <a:pt x="432" y="202"/>
                  </a:lnTo>
                  <a:lnTo>
                    <a:pt x="431" y="201"/>
                  </a:lnTo>
                  <a:lnTo>
                    <a:pt x="431" y="202"/>
                  </a:lnTo>
                  <a:lnTo>
                    <a:pt x="430" y="203"/>
                  </a:lnTo>
                  <a:lnTo>
                    <a:pt x="428" y="201"/>
                  </a:lnTo>
                  <a:lnTo>
                    <a:pt x="428" y="198"/>
                  </a:lnTo>
                  <a:lnTo>
                    <a:pt x="427" y="198"/>
                  </a:lnTo>
                  <a:lnTo>
                    <a:pt x="426" y="198"/>
                  </a:lnTo>
                  <a:lnTo>
                    <a:pt x="427" y="195"/>
                  </a:lnTo>
                  <a:lnTo>
                    <a:pt x="427" y="192"/>
                  </a:lnTo>
                  <a:lnTo>
                    <a:pt x="425" y="194"/>
                  </a:lnTo>
                  <a:lnTo>
                    <a:pt x="422" y="196"/>
                  </a:lnTo>
                  <a:lnTo>
                    <a:pt x="419" y="198"/>
                  </a:lnTo>
                  <a:lnTo>
                    <a:pt x="419" y="200"/>
                  </a:lnTo>
                  <a:lnTo>
                    <a:pt x="420" y="200"/>
                  </a:lnTo>
                  <a:lnTo>
                    <a:pt x="420" y="201"/>
                  </a:lnTo>
                  <a:lnTo>
                    <a:pt x="419" y="202"/>
                  </a:lnTo>
                  <a:lnTo>
                    <a:pt x="421" y="204"/>
                  </a:lnTo>
                  <a:lnTo>
                    <a:pt x="422" y="206"/>
                  </a:lnTo>
                  <a:lnTo>
                    <a:pt x="426" y="209"/>
                  </a:lnTo>
                  <a:lnTo>
                    <a:pt x="427" y="208"/>
                  </a:lnTo>
                  <a:lnTo>
                    <a:pt x="428" y="207"/>
                  </a:lnTo>
                  <a:lnTo>
                    <a:pt x="430" y="206"/>
                  </a:lnTo>
                  <a:lnTo>
                    <a:pt x="431" y="207"/>
                  </a:lnTo>
                  <a:lnTo>
                    <a:pt x="431" y="208"/>
                  </a:lnTo>
                  <a:lnTo>
                    <a:pt x="433" y="209"/>
                  </a:lnTo>
                  <a:lnTo>
                    <a:pt x="433" y="212"/>
                  </a:lnTo>
                  <a:lnTo>
                    <a:pt x="434" y="214"/>
                  </a:lnTo>
                  <a:lnTo>
                    <a:pt x="438" y="214"/>
                  </a:lnTo>
                  <a:lnTo>
                    <a:pt x="438" y="213"/>
                  </a:lnTo>
                  <a:lnTo>
                    <a:pt x="437" y="213"/>
                  </a:lnTo>
                  <a:lnTo>
                    <a:pt x="439" y="210"/>
                  </a:lnTo>
                  <a:lnTo>
                    <a:pt x="442" y="209"/>
                  </a:lnTo>
                  <a:lnTo>
                    <a:pt x="443" y="208"/>
                  </a:lnTo>
                  <a:lnTo>
                    <a:pt x="444" y="208"/>
                  </a:lnTo>
                  <a:lnTo>
                    <a:pt x="444" y="210"/>
                  </a:lnTo>
                  <a:lnTo>
                    <a:pt x="442" y="213"/>
                  </a:lnTo>
                  <a:lnTo>
                    <a:pt x="440" y="214"/>
                  </a:lnTo>
                  <a:lnTo>
                    <a:pt x="439" y="215"/>
                  </a:lnTo>
                  <a:lnTo>
                    <a:pt x="434" y="215"/>
                  </a:lnTo>
                  <a:lnTo>
                    <a:pt x="434" y="216"/>
                  </a:lnTo>
                  <a:lnTo>
                    <a:pt x="433" y="216"/>
                  </a:lnTo>
                  <a:lnTo>
                    <a:pt x="433" y="219"/>
                  </a:lnTo>
                  <a:lnTo>
                    <a:pt x="434" y="219"/>
                  </a:lnTo>
                  <a:lnTo>
                    <a:pt x="433" y="221"/>
                  </a:lnTo>
                  <a:lnTo>
                    <a:pt x="433" y="222"/>
                  </a:lnTo>
                  <a:lnTo>
                    <a:pt x="432" y="220"/>
                  </a:lnTo>
                  <a:lnTo>
                    <a:pt x="431" y="218"/>
                  </a:lnTo>
                  <a:lnTo>
                    <a:pt x="431" y="216"/>
                  </a:lnTo>
                  <a:lnTo>
                    <a:pt x="430" y="218"/>
                  </a:lnTo>
                  <a:lnTo>
                    <a:pt x="430" y="219"/>
                  </a:lnTo>
                  <a:lnTo>
                    <a:pt x="427" y="220"/>
                  </a:lnTo>
                  <a:lnTo>
                    <a:pt x="426" y="219"/>
                  </a:lnTo>
                  <a:lnTo>
                    <a:pt x="426" y="216"/>
                  </a:lnTo>
                  <a:lnTo>
                    <a:pt x="425" y="218"/>
                  </a:lnTo>
                  <a:lnTo>
                    <a:pt x="424" y="220"/>
                  </a:lnTo>
                  <a:lnTo>
                    <a:pt x="422" y="221"/>
                  </a:lnTo>
                  <a:lnTo>
                    <a:pt x="422" y="220"/>
                  </a:lnTo>
                  <a:lnTo>
                    <a:pt x="421" y="218"/>
                  </a:lnTo>
                  <a:lnTo>
                    <a:pt x="422" y="215"/>
                  </a:lnTo>
                  <a:lnTo>
                    <a:pt x="421" y="215"/>
                  </a:lnTo>
                  <a:lnTo>
                    <a:pt x="420" y="215"/>
                  </a:lnTo>
                  <a:lnTo>
                    <a:pt x="418" y="216"/>
                  </a:lnTo>
                  <a:lnTo>
                    <a:pt x="418" y="214"/>
                  </a:lnTo>
                  <a:lnTo>
                    <a:pt x="418" y="212"/>
                  </a:lnTo>
                  <a:lnTo>
                    <a:pt x="416" y="212"/>
                  </a:lnTo>
                  <a:lnTo>
                    <a:pt x="418" y="210"/>
                  </a:lnTo>
                  <a:lnTo>
                    <a:pt x="416" y="208"/>
                  </a:lnTo>
                  <a:lnTo>
                    <a:pt x="415" y="208"/>
                  </a:lnTo>
                  <a:lnTo>
                    <a:pt x="415" y="210"/>
                  </a:lnTo>
                  <a:lnTo>
                    <a:pt x="414" y="209"/>
                  </a:lnTo>
                  <a:lnTo>
                    <a:pt x="415" y="207"/>
                  </a:lnTo>
                  <a:lnTo>
                    <a:pt x="413" y="207"/>
                  </a:lnTo>
                  <a:lnTo>
                    <a:pt x="413" y="209"/>
                  </a:lnTo>
                  <a:lnTo>
                    <a:pt x="413" y="210"/>
                  </a:lnTo>
                  <a:lnTo>
                    <a:pt x="413" y="212"/>
                  </a:lnTo>
                  <a:lnTo>
                    <a:pt x="413" y="214"/>
                  </a:lnTo>
                  <a:lnTo>
                    <a:pt x="414" y="215"/>
                  </a:lnTo>
                  <a:lnTo>
                    <a:pt x="414" y="219"/>
                  </a:lnTo>
                  <a:lnTo>
                    <a:pt x="413" y="220"/>
                  </a:lnTo>
                  <a:lnTo>
                    <a:pt x="414" y="221"/>
                  </a:lnTo>
                  <a:lnTo>
                    <a:pt x="416" y="224"/>
                  </a:lnTo>
                  <a:lnTo>
                    <a:pt x="418" y="224"/>
                  </a:lnTo>
                  <a:lnTo>
                    <a:pt x="418" y="221"/>
                  </a:lnTo>
                  <a:lnTo>
                    <a:pt x="420" y="221"/>
                  </a:lnTo>
                  <a:lnTo>
                    <a:pt x="421" y="224"/>
                  </a:lnTo>
                  <a:lnTo>
                    <a:pt x="424" y="224"/>
                  </a:lnTo>
                  <a:lnTo>
                    <a:pt x="421" y="225"/>
                  </a:lnTo>
                  <a:lnTo>
                    <a:pt x="424" y="226"/>
                  </a:lnTo>
                  <a:lnTo>
                    <a:pt x="421" y="227"/>
                  </a:lnTo>
                  <a:lnTo>
                    <a:pt x="418" y="226"/>
                  </a:lnTo>
                  <a:lnTo>
                    <a:pt x="416" y="226"/>
                  </a:lnTo>
                  <a:lnTo>
                    <a:pt x="415" y="226"/>
                  </a:lnTo>
                  <a:lnTo>
                    <a:pt x="413" y="225"/>
                  </a:lnTo>
                  <a:lnTo>
                    <a:pt x="410" y="226"/>
                  </a:lnTo>
                  <a:lnTo>
                    <a:pt x="408" y="228"/>
                  </a:lnTo>
                  <a:lnTo>
                    <a:pt x="407" y="226"/>
                  </a:lnTo>
                  <a:lnTo>
                    <a:pt x="406" y="228"/>
                  </a:lnTo>
                  <a:lnTo>
                    <a:pt x="406" y="226"/>
                  </a:lnTo>
                  <a:lnTo>
                    <a:pt x="403" y="225"/>
                  </a:lnTo>
                  <a:lnTo>
                    <a:pt x="403" y="226"/>
                  </a:lnTo>
                  <a:lnTo>
                    <a:pt x="403" y="227"/>
                  </a:lnTo>
                  <a:lnTo>
                    <a:pt x="402" y="227"/>
                  </a:lnTo>
                  <a:lnTo>
                    <a:pt x="402" y="230"/>
                  </a:lnTo>
                  <a:lnTo>
                    <a:pt x="403" y="231"/>
                  </a:lnTo>
                  <a:lnTo>
                    <a:pt x="402" y="231"/>
                  </a:lnTo>
                  <a:lnTo>
                    <a:pt x="401" y="232"/>
                  </a:lnTo>
                  <a:lnTo>
                    <a:pt x="401" y="231"/>
                  </a:lnTo>
                  <a:lnTo>
                    <a:pt x="399" y="228"/>
                  </a:lnTo>
                  <a:lnTo>
                    <a:pt x="399" y="230"/>
                  </a:lnTo>
                  <a:lnTo>
                    <a:pt x="399" y="227"/>
                  </a:lnTo>
                  <a:lnTo>
                    <a:pt x="398" y="228"/>
                  </a:lnTo>
                  <a:lnTo>
                    <a:pt x="397" y="230"/>
                  </a:lnTo>
                  <a:lnTo>
                    <a:pt x="397" y="228"/>
                  </a:lnTo>
                  <a:lnTo>
                    <a:pt x="396" y="228"/>
                  </a:lnTo>
                  <a:lnTo>
                    <a:pt x="395" y="227"/>
                  </a:lnTo>
                  <a:lnTo>
                    <a:pt x="393" y="227"/>
                  </a:lnTo>
                  <a:lnTo>
                    <a:pt x="393" y="226"/>
                  </a:lnTo>
                  <a:lnTo>
                    <a:pt x="392" y="226"/>
                  </a:lnTo>
                  <a:lnTo>
                    <a:pt x="391" y="227"/>
                  </a:lnTo>
                  <a:lnTo>
                    <a:pt x="390" y="230"/>
                  </a:lnTo>
                  <a:lnTo>
                    <a:pt x="389" y="231"/>
                  </a:lnTo>
                  <a:lnTo>
                    <a:pt x="389" y="232"/>
                  </a:lnTo>
                  <a:lnTo>
                    <a:pt x="387" y="230"/>
                  </a:lnTo>
                  <a:lnTo>
                    <a:pt x="386" y="230"/>
                  </a:lnTo>
                  <a:lnTo>
                    <a:pt x="384" y="230"/>
                  </a:lnTo>
                  <a:lnTo>
                    <a:pt x="383" y="230"/>
                  </a:lnTo>
                  <a:lnTo>
                    <a:pt x="380" y="230"/>
                  </a:lnTo>
                  <a:lnTo>
                    <a:pt x="379" y="231"/>
                  </a:lnTo>
                  <a:lnTo>
                    <a:pt x="379" y="233"/>
                  </a:lnTo>
                  <a:lnTo>
                    <a:pt x="378" y="233"/>
                  </a:lnTo>
                  <a:lnTo>
                    <a:pt x="377" y="231"/>
                  </a:lnTo>
                  <a:lnTo>
                    <a:pt x="377" y="232"/>
                  </a:lnTo>
                  <a:lnTo>
                    <a:pt x="375" y="233"/>
                  </a:lnTo>
                  <a:lnTo>
                    <a:pt x="377" y="234"/>
                  </a:lnTo>
                  <a:lnTo>
                    <a:pt x="377" y="237"/>
                  </a:lnTo>
                  <a:lnTo>
                    <a:pt x="378" y="238"/>
                  </a:lnTo>
                  <a:lnTo>
                    <a:pt x="379" y="238"/>
                  </a:lnTo>
                  <a:lnTo>
                    <a:pt x="380" y="237"/>
                  </a:lnTo>
                  <a:lnTo>
                    <a:pt x="381" y="238"/>
                  </a:lnTo>
                  <a:lnTo>
                    <a:pt x="381" y="236"/>
                  </a:lnTo>
                  <a:lnTo>
                    <a:pt x="381" y="234"/>
                  </a:lnTo>
                  <a:lnTo>
                    <a:pt x="384" y="236"/>
                  </a:lnTo>
                  <a:lnTo>
                    <a:pt x="384" y="237"/>
                  </a:lnTo>
                  <a:lnTo>
                    <a:pt x="386" y="237"/>
                  </a:lnTo>
                  <a:lnTo>
                    <a:pt x="386" y="239"/>
                  </a:lnTo>
                  <a:lnTo>
                    <a:pt x="386" y="238"/>
                  </a:lnTo>
                  <a:lnTo>
                    <a:pt x="385" y="239"/>
                  </a:lnTo>
                  <a:lnTo>
                    <a:pt x="386" y="240"/>
                  </a:lnTo>
                  <a:lnTo>
                    <a:pt x="385" y="240"/>
                  </a:lnTo>
                  <a:lnTo>
                    <a:pt x="384" y="242"/>
                  </a:lnTo>
                  <a:lnTo>
                    <a:pt x="385" y="243"/>
                  </a:lnTo>
                  <a:lnTo>
                    <a:pt x="386" y="242"/>
                  </a:lnTo>
                  <a:lnTo>
                    <a:pt x="387" y="240"/>
                  </a:lnTo>
                  <a:lnTo>
                    <a:pt x="387" y="243"/>
                  </a:lnTo>
                  <a:lnTo>
                    <a:pt x="387" y="245"/>
                  </a:lnTo>
                  <a:lnTo>
                    <a:pt x="386" y="245"/>
                  </a:lnTo>
                  <a:lnTo>
                    <a:pt x="385" y="246"/>
                  </a:lnTo>
                  <a:lnTo>
                    <a:pt x="387" y="246"/>
                  </a:lnTo>
                  <a:lnTo>
                    <a:pt x="389" y="246"/>
                  </a:lnTo>
                  <a:lnTo>
                    <a:pt x="390" y="246"/>
                  </a:lnTo>
                  <a:lnTo>
                    <a:pt x="391" y="249"/>
                  </a:lnTo>
                  <a:lnTo>
                    <a:pt x="391" y="250"/>
                  </a:lnTo>
                  <a:lnTo>
                    <a:pt x="392" y="251"/>
                  </a:lnTo>
                  <a:lnTo>
                    <a:pt x="393" y="251"/>
                  </a:lnTo>
                  <a:lnTo>
                    <a:pt x="395" y="251"/>
                  </a:lnTo>
                  <a:lnTo>
                    <a:pt x="396" y="253"/>
                  </a:lnTo>
                  <a:lnTo>
                    <a:pt x="396" y="251"/>
                  </a:lnTo>
                  <a:lnTo>
                    <a:pt x="396" y="250"/>
                  </a:lnTo>
                  <a:lnTo>
                    <a:pt x="397" y="249"/>
                  </a:lnTo>
                  <a:lnTo>
                    <a:pt x="398" y="248"/>
                  </a:lnTo>
                  <a:lnTo>
                    <a:pt x="401" y="248"/>
                  </a:lnTo>
                  <a:lnTo>
                    <a:pt x="399" y="250"/>
                  </a:lnTo>
                  <a:lnTo>
                    <a:pt x="399" y="253"/>
                  </a:lnTo>
                  <a:lnTo>
                    <a:pt x="401" y="255"/>
                  </a:lnTo>
                  <a:lnTo>
                    <a:pt x="401" y="256"/>
                  </a:lnTo>
                  <a:lnTo>
                    <a:pt x="401" y="257"/>
                  </a:lnTo>
                  <a:lnTo>
                    <a:pt x="402" y="256"/>
                  </a:lnTo>
                  <a:lnTo>
                    <a:pt x="403" y="257"/>
                  </a:lnTo>
                  <a:lnTo>
                    <a:pt x="402" y="260"/>
                  </a:lnTo>
                  <a:lnTo>
                    <a:pt x="402" y="262"/>
                  </a:lnTo>
                  <a:lnTo>
                    <a:pt x="404" y="262"/>
                  </a:lnTo>
                  <a:lnTo>
                    <a:pt x="406" y="261"/>
                  </a:lnTo>
                  <a:lnTo>
                    <a:pt x="407" y="261"/>
                  </a:lnTo>
                  <a:lnTo>
                    <a:pt x="408" y="262"/>
                  </a:lnTo>
                  <a:lnTo>
                    <a:pt x="409" y="262"/>
                  </a:lnTo>
                  <a:lnTo>
                    <a:pt x="408" y="262"/>
                  </a:lnTo>
                  <a:lnTo>
                    <a:pt x="409" y="262"/>
                  </a:lnTo>
                  <a:lnTo>
                    <a:pt x="410" y="261"/>
                  </a:lnTo>
                  <a:lnTo>
                    <a:pt x="410" y="260"/>
                  </a:lnTo>
                  <a:lnTo>
                    <a:pt x="412" y="261"/>
                  </a:lnTo>
                  <a:lnTo>
                    <a:pt x="413" y="262"/>
                  </a:lnTo>
                  <a:lnTo>
                    <a:pt x="412" y="263"/>
                  </a:lnTo>
                  <a:lnTo>
                    <a:pt x="413" y="263"/>
                  </a:lnTo>
                  <a:lnTo>
                    <a:pt x="416" y="266"/>
                  </a:lnTo>
                  <a:lnTo>
                    <a:pt x="415" y="266"/>
                  </a:lnTo>
                  <a:lnTo>
                    <a:pt x="414" y="267"/>
                  </a:lnTo>
                  <a:lnTo>
                    <a:pt x="416" y="268"/>
                  </a:lnTo>
                  <a:lnTo>
                    <a:pt x="416" y="273"/>
                  </a:lnTo>
                  <a:lnTo>
                    <a:pt x="415" y="275"/>
                  </a:lnTo>
                  <a:lnTo>
                    <a:pt x="414" y="274"/>
                  </a:lnTo>
                  <a:lnTo>
                    <a:pt x="414" y="275"/>
                  </a:lnTo>
                  <a:lnTo>
                    <a:pt x="410" y="279"/>
                  </a:lnTo>
                  <a:lnTo>
                    <a:pt x="408" y="279"/>
                  </a:lnTo>
                  <a:lnTo>
                    <a:pt x="408" y="281"/>
                  </a:lnTo>
                  <a:lnTo>
                    <a:pt x="407" y="281"/>
                  </a:lnTo>
                  <a:lnTo>
                    <a:pt x="406" y="281"/>
                  </a:lnTo>
                  <a:lnTo>
                    <a:pt x="407" y="284"/>
                  </a:lnTo>
                  <a:lnTo>
                    <a:pt x="413" y="285"/>
                  </a:lnTo>
                  <a:lnTo>
                    <a:pt x="416" y="285"/>
                  </a:lnTo>
                  <a:lnTo>
                    <a:pt x="418" y="286"/>
                  </a:lnTo>
                  <a:lnTo>
                    <a:pt x="419" y="287"/>
                  </a:lnTo>
                  <a:lnTo>
                    <a:pt x="419" y="290"/>
                  </a:lnTo>
                  <a:lnTo>
                    <a:pt x="418" y="289"/>
                  </a:lnTo>
                  <a:lnTo>
                    <a:pt x="416" y="289"/>
                  </a:lnTo>
                  <a:lnTo>
                    <a:pt x="414" y="287"/>
                  </a:lnTo>
                  <a:lnTo>
                    <a:pt x="413" y="287"/>
                  </a:lnTo>
                  <a:lnTo>
                    <a:pt x="413" y="285"/>
                  </a:lnTo>
                  <a:lnTo>
                    <a:pt x="410" y="285"/>
                  </a:lnTo>
                  <a:lnTo>
                    <a:pt x="407" y="284"/>
                  </a:lnTo>
                  <a:lnTo>
                    <a:pt x="406" y="285"/>
                  </a:lnTo>
                  <a:lnTo>
                    <a:pt x="406" y="286"/>
                  </a:lnTo>
                  <a:lnTo>
                    <a:pt x="404" y="287"/>
                  </a:lnTo>
                  <a:lnTo>
                    <a:pt x="404" y="289"/>
                  </a:lnTo>
                  <a:lnTo>
                    <a:pt x="403" y="290"/>
                  </a:lnTo>
                  <a:lnTo>
                    <a:pt x="402" y="290"/>
                  </a:lnTo>
                  <a:lnTo>
                    <a:pt x="401" y="291"/>
                  </a:lnTo>
                  <a:lnTo>
                    <a:pt x="401" y="292"/>
                  </a:lnTo>
                  <a:lnTo>
                    <a:pt x="401" y="289"/>
                  </a:lnTo>
                  <a:lnTo>
                    <a:pt x="401" y="286"/>
                  </a:lnTo>
                  <a:lnTo>
                    <a:pt x="402" y="284"/>
                  </a:lnTo>
                  <a:lnTo>
                    <a:pt x="404" y="284"/>
                  </a:lnTo>
                  <a:lnTo>
                    <a:pt x="404" y="281"/>
                  </a:lnTo>
                  <a:lnTo>
                    <a:pt x="402" y="281"/>
                  </a:lnTo>
                  <a:lnTo>
                    <a:pt x="402" y="283"/>
                  </a:lnTo>
                  <a:lnTo>
                    <a:pt x="401" y="284"/>
                  </a:lnTo>
                  <a:lnTo>
                    <a:pt x="401" y="285"/>
                  </a:lnTo>
                  <a:lnTo>
                    <a:pt x="399" y="286"/>
                  </a:lnTo>
                  <a:lnTo>
                    <a:pt x="399" y="284"/>
                  </a:lnTo>
                  <a:lnTo>
                    <a:pt x="401" y="281"/>
                  </a:lnTo>
                  <a:lnTo>
                    <a:pt x="399" y="281"/>
                  </a:lnTo>
                  <a:lnTo>
                    <a:pt x="398" y="281"/>
                  </a:lnTo>
                  <a:lnTo>
                    <a:pt x="398" y="283"/>
                  </a:lnTo>
                  <a:lnTo>
                    <a:pt x="397" y="284"/>
                  </a:lnTo>
                  <a:lnTo>
                    <a:pt x="396" y="281"/>
                  </a:lnTo>
                  <a:lnTo>
                    <a:pt x="395" y="280"/>
                  </a:lnTo>
                  <a:lnTo>
                    <a:pt x="393" y="280"/>
                  </a:lnTo>
                  <a:lnTo>
                    <a:pt x="391" y="279"/>
                  </a:lnTo>
                  <a:lnTo>
                    <a:pt x="392" y="277"/>
                  </a:lnTo>
                  <a:lnTo>
                    <a:pt x="390" y="278"/>
                  </a:lnTo>
                  <a:lnTo>
                    <a:pt x="389" y="279"/>
                  </a:lnTo>
                  <a:lnTo>
                    <a:pt x="389" y="278"/>
                  </a:lnTo>
                  <a:lnTo>
                    <a:pt x="390" y="275"/>
                  </a:lnTo>
                  <a:lnTo>
                    <a:pt x="389" y="275"/>
                  </a:lnTo>
                  <a:lnTo>
                    <a:pt x="386" y="274"/>
                  </a:lnTo>
                  <a:lnTo>
                    <a:pt x="386" y="273"/>
                  </a:lnTo>
                  <a:lnTo>
                    <a:pt x="385" y="273"/>
                  </a:lnTo>
                  <a:lnTo>
                    <a:pt x="384" y="273"/>
                  </a:lnTo>
                  <a:lnTo>
                    <a:pt x="383" y="272"/>
                  </a:lnTo>
                  <a:lnTo>
                    <a:pt x="385" y="272"/>
                  </a:lnTo>
                  <a:lnTo>
                    <a:pt x="385" y="271"/>
                  </a:lnTo>
                  <a:lnTo>
                    <a:pt x="384" y="269"/>
                  </a:lnTo>
                  <a:lnTo>
                    <a:pt x="385" y="268"/>
                  </a:lnTo>
                  <a:lnTo>
                    <a:pt x="384" y="269"/>
                  </a:lnTo>
                  <a:lnTo>
                    <a:pt x="383" y="268"/>
                  </a:lnTo>
                  <a:lnTo>
                    <a:pt x="381" y="267"/>
                  </a:lnTo>
                  <a:lnTo>
                    <a:pt x="380" y="267"/>
                  </a:lnTo>
                  <a:lnTo>
                    <a:pt x="380" y="271"/>
                  </a:lnTo>
                  <a:lnTo>
                    <a:pt x="380" y="277"/>
                  </a:lnTo>
                  <a:lnTo>
                    <a:pt x="381" y="278"/>
                  </a:lnTo>
                  <a:lnTo>
                    <a:pt x="381" y="279"/>
                  </a:lnTo>
                  <a:lnTo>
                    <a:pt x="381" y="281"/>
                  </a:lnTo>
                  <a:lnTo>
                    <a:pt x="380" y="280"/>
                  </a:lnTo>
                  <a:lnTo>
                    <a:pt x="380" y="278"/>
                  </a:lnTo>
                  <a:lnTo>
                    <a:pt x="379" y="274"/>
                  </a:lnTo>
                  <a:lnTo>
                    <a:pt x="378" y="275"/>
                  </a:lnTo>
                  <a:lnTo>
                    <a:pt x="377" y="278"/>
                  </a:lnTo>
                  <a:lnTo>
                    <a:pt x="377" y="280"/>
                  </a:lnTo>
                  <a:lnTo>
                    <a:pt x="377" y="283"/>
                  </a:lnTo>
                  <a:lnTo>
                    <a:pt x="375" y="285"/>
                  </a:lnTo>
                  <a:lnTo>
                    <a:pt x="373" y="287"/>
                  </a:lnTo>
                  <a:lnTo>
                    <a:pt x="372" y="290"/>
                  </a:lnTo>
                  <a:lnTo>
                    <a:pt x="375" y="293"/>
                  </a:lnTo>
                  <a:lnTo>
                    <a:pt x="378" y="295"/>
                  </a:lnTo>
                  <a:lnTo>
                    <a:pt x="378" y="293"/>
                  </a:lnTo>
                  <a:lnTo>
                    <a:pt x="380" y="295"/>
                  </a:lnTo>
                  <a:lnTo>
                    <a:pt x="381" y="296"/>
                  </a:lnTo>
                  <a:lnTo>
                    <a:pt x="380" y="296"/>
                  </a:lnTo>
                  <a:lnTo>
                    <a:pt x="381" y="297"/>
                  </a:lnTo>
                  <a:lnTo>
                    <a:pt x="383" y="296"/>
                  </a:lnTo>
                  <a:lnTo>
                    <a:pt x="384" y="296"/>
                  </a:lnTo>
                  <a:lnTo>
                    <a:pt x="385" y="295"/>
                  </a:lnTo>
                  <a:lnTo>
                    <a:pt x="385" y="292"/>
                  </a:lnTo>
                  <a:lnTo>
                    <a:pt x="386" y="291"/>
                  </a:lnTo>
                  <a:lnTo>
                    <a:pt x="389" y="293"/>
                  </a:lnTo>
                  <a:lnTo>
                    <a:pt x="386" y="296"/>
                  </a:lnTo>
                  <a:lnTo>
                    <a:pt x="386" y="298"/>
                  </a:lnTo>
                  <a:lnTo>
                    <a:pt x="387" y="297"/>
                  </a:lnTo>
                  <a:lnTo>
                    <a:pt x="389" y="296"/>
                  </a:lnTo>
                  <a:lnTo>
                    <a:pt x="389" y="298"/>
                  </a:lnTo>
                  <a:lnTo>
                    <a:pt x="390" y="297"/>
                  </a:lnTo>
                  <a:lnTo>
                    <a:pt x="391" y="297"/>
                  </a:lnTo>
                  <a:lnTo>
                    <a:pt x="391" y="299"/>
                  </a:lnTo>
                  <a:lnTo>
                    <a:pt x="387" y="299"/>
                  </a:lnTo>
                  <a:lnTo>
                    <a:pt x="387" y="301"/>
                  </a:lnTo>
                  <a:lnTo>
                    <a:pt x="389" y="302"/>
                  </a:lnTo>
                  <a:lnTo>
                    <a:pt x="390" y="302"/>
                  </a:lnTo>
                  <a:lnTo>
                    <a:pt x="391" y="305"/>
                  </a:lnTo>
                  <a:lnTo>
                    <a:pt x="390" y="307"/>
                  </a:lnTo>
                  <a:lnTo>
                    <a:pt x="389" y="305"/>
                  </a:lnTo>
                  <a:lnTo>
                    <a:pt x="389" y="307"/>
                  </a:lnTo>
                  <a:lnTo>
                    <a:pt x="387" y="309"/>
                  </a:lnTo>
                  <a:lnTo>
                    <a:pt x="386" y="308"/>
                  </a:lnTo>
                  <a:lnTo>
                    <a:pt x="385" y="307"/>
                  </a:lnTo>
                  <a:lnTo>
                    <a:pt x="386" y="304"/>
                  </a:lnTo>
                  <a:lnTo>
                    <a:pt x="386" y="302"/>
                  </a:lnTo>
                  <a:lnTo>
                    <a:pt x="385" y="302"/>
                  </a:lnTo>
                  <a:lnTo>
                    <a:pt x="384" y="304"/>
                  </a:lnTo>
                  <a:lnTo>
                    <a:pt x="383" y="303"/>
                  </a:lnTo>
                  <a:lnTo>
                    <a:pt x="383" y="299"/>
                  </a:lnTo>
                  <a:lnTo>
                    <a:pt x="383" y="301"/>
                  </a:lnTo>
                  <a:lnTo>
                    <a:pt x="380" y="301"/>
                  </a:lnTo>
                  <a:lnTo>
                    <a:pt x="380" y="297"/>
                  </a:lnTo>
                  <a:lnTo>
                    <a:pt x="379" y="297"/>
                  </a:lnTo>
                  <a:lnTo>
                    <a:pt x="379" y="298"/>
                  </a:lnTo>
                  <a:lnTo>
                    <a:pt x="377" y="298"/>
                  </a:lnTo>
                  <a:lnTo>
                    <a:pt x="377" y="297"/>
                  </a:lnTo>
                  <a:lnTo>
                    <a:pt x="378" y="296"/>
                  </a:lnTo>
                  <a:lnTo>
                    <a:pt x="378" y="295"/>
                  </a:lnTo>
                  <a:lnTo>
                    <a:pt x="375" y="293"/>
                  </a:lnTo>
                  <a:lnTo>
                    <a:pt x="372" y="291"/>
                  </a:lnTo>
                  <a:lnTo>
                    <a:pt x="372" y="293"/>
                  </a:lnTo>
                  <a:lnTo>
                    <a:pt x="373" y="295"/>
                  </a:lnTo>
                  <a:lnTo>
                    <a:pt x="373" y="297"/>
                  </a:lnTo>
                  <a:lnTo>
                    <a:pt x="374" y="299"/>
                  </a:lnTo>
                  <a:lnTo>
                    <a:pt x="373" y="303"/>
                  </a:lnTo>
                  <a:lnTo>
                    <a:pt x="372" y="305"/>
                  </a:lnTo>
                  <a:lnTo>
                    <a:pt x="371" y="307"/>
                  </a:lnTo>
                  <a:lnTo>
                    <a:pt x="369" y="309"/>
                  </a:lnTo>
                  <a:lnTo>
                    <a:pt x="371" y="310"/>
                  </a:lnTo>
                  <a:lnTo>
                    <a:pt x="371" y="311"/>
                  </a:lnTo>
                  <a:lnTo>
                    <a:pt x="373" y="313"/>
                  </a:lnTo>
                  <a:lnTo>
                    <a:pt x="373" y="310"/>
                  </a:lnTo>
                  <a:lnTo>
                    <a:pt x="375" y="309"/>
                  </a:lnTo>
                  <a:lnTo>
                    <a:pt x="377" y="310"/>
                  </a:lnTo>
                  <a:lnTo>
                    <a:pt x="377" y="311"/>
                  </a:lnTo>
                  <a:lnTo>
                    <a:pt x="378" y="311"/>
                  </a:lnTo>
                  <a:lnTo>
                    <a:pt x="379" y="311"/>
                  </a:lnTo>
                  <a:lnTo>
                    <a:pt x="381" y="313"/>
                  </a:lnTo>
                  <a:lnTo>
                    <a:pt x="381" y="314"/>
                  </a:lnTo>
                  <a:lnTo>
                    <a:pt x="383" y="313"/>
                  </a:lnTo>
                  <a:lnTo>
                    <a:pt x="384" y="311"/>
                  </a:lnTo>
                  <a:lnTo>
                    <a:pt x="386" y="311"/>
                  </a:lnTo>
                  <a:lnTo>
                    <a:pt x="387" y="311"/>
                  </a:lnTo>
                  <a:lnTo>
                    <a:pt x="385" y="313"/>
                  </a:lnTo>
                  <a:lnTo>
                    <a:pt x="384" y="314"/>
                  </a:lnTo>
                  <a:lnTo>
                    <a:pt x="384" y="315"/>
                  </a:lnTo>
                  <a:lnTo>
                    <a:pt x="385" y="315"/>
                  </a:lnTo>
                  <a:lnTo>
                    <a:pt x="387" y="315"/>
                  </a:lnTo>
                  <a:lnTo>
                    <a:pt x="389" y="315"/>
                  </a:lnTo>
                  <a:lnTo>
                    <a:pt x="390" y="314"/>
                  </a:lnTo>
                  <a:lnTo>
                    <a:pt x="391" y="314"/>
                  </a:lnTo>
                  <a:lnTo>
                    <a:pt x="393" y="314"/>
                  </a:lnTo>
                  <a:lnTo>
                    <a:pt x="393" y="313"/>
                  </a:lnTo>
                  <a:lnTo>
                    <a:pt x="393" y="314"/>
                  </a:lnTo>
                  <a:lnTo>
                    <a:pt x="395" y="316"/>
                  </a:lnTo>
                  <a:lnTo>
                    <a:pt x="392" y="319"/>
                  </a:lnTo>
                  <a:lnTo>
                    <a:pt x="393" y="320"/>
                  </a:lnTo>
                  <a:lnTo>
                    <a:pt x="395" y="321"/>
                  </a:lnTo>
                  <a:lnTo>
                    <a:pt x="393" y="326"/>
                  </a:lnTo>
                  <a:lnTo>
                    <a:pt x="392" y="328"/>
                  </a:lnTo>
                  <a:lnTo>
                    <a:pt x="391" y="329"/>
                  </a:lnTo>
                  <a:lnTo>
                    <a:pt x="391" y="332"/>
                  </a:lnTo>
                  <a:lnTo>
                    <a:pt x="390" y="332"/>
                  </a:lnTo>
                  <a:lnTo>
                    <a:pt x="392" y="333"/>
                  </a:lnTo>
                  <a:lnTo>
                    <a:pt x="391" y="337"/>
                  </a:lnTo>
                  <a:lnTo>
                    <a:pt x="391" y="339"/>
                  </a:lnTo>
                  <a:lnTo>
                    <a:pt x="390" y="338"/>
                  </a:lnTo>
                  <a:lnTo>
                    <a:pt x="389" y="339"/>
                  </a:lnTo>
                  <a:lnTo>
                    <a:pt x="389" y="341"/>
                  </a:lnTo>
                  <a:lnTo>
                    <a:pt x="387" y="341"/>
                  </a:lnTo>
                  <a:lnTo>
                    <a:pt x="387" y="343"/>
                  </a:lnTo>
                  <a:lnTo>
                    <a:pt x="389" y="344"/>
                  </a:lnTo>
                  <a:lnTo>
                    <a:pt x="390" y="344"/>
                  </a:lnTo>
                  <a:lnTo>
                    <a:pt x="390" y="341"/>
                  </a:lnTo>
                  <a:lnTo>
                    <a:pt x="390" y="340"/>
                  </a:lnTo>
                  <a:lnTo>
                    <a:pt x="391" y="340"/>
                  </a:lnTo>
                  <a:lnTo>
                    <a:pt x="392" y="344"/>
                  </a:lnTo>
                  <a:lnTo>
                    <a:pt x="392" y="345"/>
                  </a:lnTo>
                  <a:lnTo>
                    <a:pt x="393" y="346"/>
                  </a:lnTo>
                  <a:lnTo>
                    <a:pt x="395" y="347"/>
                  </a:lnTo>
                  <a:lnTo>
                    <a:pt x="395" y="349"/>
                  </a:lnTo>
                  <a:lnTo>
                    <a:pt x="395" y="350"/>
                  </a:lnTo>
                  <a:lnTo>
                    <a:pt x="396" y="351"/>
                  </a:lnTo>
                  <a:lnTo>
                    <a:pt x="397" y="352"/>
                  </a:lnTo>
                  <a:lnTo>
                    <a:pt x="397" y="351"/>
                  </a:lnTo>
                  <a:lnTo>
                    <a:pt x="398" y="352"/>
                  </a:lnTo>
                  <a:lnTo>
                    <a:pt x="399" y="352"/>
                  </a:lnTo>
                  <a:lnTo>
                    <a:pt x="402" y="355"/>
                  </a:lnTo>
                  <a:lnTo>
                    <a:pt x="399" y="355"/>
                  </a:lnTo>
                  <a:lnTo>
                    <a:pt x="398" y="355"/>
                  </a:lnTo>
                  <a:lnTo>
                    <a:pt x="397" y="355"/>
                  </a:lnTo>
                  <a:lnTo>
                    <a:pt x="399" y="357"/>
                  </a:lnTo>
                  <a:lnTo>
                    <a:pt x="402" y="358"/>
                  </a:lnTo>
                  <a:lnTo>
                    <a:pt x="401" y="361"/>
                  </a:lnTo>
                  <a:lnTo>
                    <a:pt x="398" y="358"/>
                  </a:lnTo>
                  <a:lnTo>
                    <a:pt x="397" y="357"/>
                  </a:lnTo>
                  <a:lnTo>
                    <a:pt x="397" y="358"/>
                  </a:lnTo>
                  <a:lnTo>
                    <a:pt x="396" y="358"/>
                  </a:lnTo>
                  <a:lnTo>
                    <a:pt x="395" y="358"/>
                  </a:lnTo>
                  <a:lnTo>
                    <a:pt x="393" y="361"/>
                  </a:lnTo>
                  <a:lnTo>
                    <a:pt x="391" y="362"/>
                  </a:lnTo>
                  <a:lnTo>
                    <a:pt x="390" y="363"/>
                  </a:lnTo>
                  <a:lnTo>
                    <a:pt x="390" y="360"/>
                  </a:lnTo>
                  <a:lnTo>
                    <a:pt x="391" y="357"/>
                  </a:lnTo>
                  <a:lnTo>
                    <a:pt x="391" y="356"/>
                  </a:lnTo>
                  <a:lnTo>
                    <a:pt x="391" y="355"/>
                  </a:lnTo>
                  <a:lnTo>
                    <a:pt x="390" y="356"/>
                  </a:lnTo>
                  <a:lnTo>
                    <a:pt x="389" y="356"/>
                  </a:lnTo>
                  <a:lnTo>
                    <a:pt x="389" y="352"/>
                  </a:lnTo>
                  <a:lnTo>
                    <a:pt x="386" y="351"/>
                  </a:lnTo>
                  <a:lnTo>
                    <a:pt x="387" y="355"/>
                  </a:lnTo>
                  <a:lnTo>
                    <a:pt x="385" y="356"/>
                  </a:lnTo>
                  <a:lnTo>
                    <a:pt x="385" y="357"/>
                  </a:lnTo>
                  <a:lnTo>
                    <a:pt x="385" y="360"/>
                  </a:lnTo>
                  <a:lnTo>
                    <a:pt x="384" y="357"/>
                  </a:lnTo>
                  <a:lnTo>
                    <a:pt x="385" y="360"/>
                  </a:lnTo>
                  <a:lnTo>
                    <a:pt x="386" y="361"/>
                  </a:lnTo>
                  <a:lnTo>
                    <a:pt x="384" y="360"/>
                  </a:lnTo>
                  <a:lnTo>
                    <a:pt x="384" y="361"/>
                  </a:lnTo>
                  <a:lnTo>
                    <a:pt x="383" y="361"/>
                  </a:lnTo>
                  <a:lnTo>
                    <a:pt x="381" y="363"/>
                  </a:lnTo>
                  <a:lnTo>
                    <a:pt x="380" y="364"/>
                  </a:lnTo>
                  <a:lnTo>
                    <a:pt x="379" y="367"/>
                  </a:lnTo>
                  <a:lnTo>
                    <a:pt x="379" y="364"/>
                  </a:lnTo>
                  <a:lnTo>
                    <a:pt x="378" y="363"/>
                  </a:lnTo>
                  <a:lnTo>
                    <a:pt x="378" y="366"/>
                  </a:lnTo>
                  <a:lnTo>
                    <a:pt x="377" y="367"/>
                  </a:lnTo>
                  <a:lnTo>
                    <a:pt x="377" y="364"/>
                  </a:lnTo>
                  <a:lnTo>
                    <a:pt x="375" y="364"/>
                  </a:lnTo>
                  <a:lnTo>
                    <a:pt x="375" y="367"/>
                  </a:lnTo>
                  <a:lnTo>
                    <a:pt x="375" y="368"/>
                  </a:lnTo>
                  <a:lnTo>
                    <a:pt x="374" y="367"/>
                  </a:lnTo>
                  <a:lnTo>
                    <a:pt x="373" y="369"/>
                  </a:lnTo>
                  <a:lnTo>
                    <a:pt x="373" y="370"/>
                  </a:lnTo>
                  <a:lnTo>
                    <a:pt x="372" y="369"/>
                  </a:lnTo>
                  <a:lnTo>
                    <a:pt x="371" y="369"/>
                  </a:lnTo>
                  <a:lnTo>
                    <a:pt x="371" y="370"/>
                  </a:lnTo>
                  <a:lnTo>
                    <a:pt x="369" y="369"/>
                  </a:lnTo>
                  <a:lnTo>
                    <a:pt x="369" y="370"/>
                  </a:lnTo>
                  <a:lnTo>
                    <a:pt x="368" y="370"/>
                  </a:lnTo>
                  <a:lnTo>
                    <a:pt x="368" y="368"/>
                  </a:lnTo>
                  <a:lnTo>
                    <a:pt x="367" y="367"/>
                  </a:lnTo>
                  <a:lnTo>
                    <a:pt x="367" y="364"/>
                  </a:lnTo>
                  <a:lnTo>
                    <a:pt x="366" y="364"/>
                  </a:lnTo>
                  <a:lnTo>
                    <a:pt x="366" y="366"/>
                  </a:lnTo>
                  <a:lnTo>
                    <a:pt x="366" y="368"/>
                  </a:lnTo>
                  <a:lnTo>
                    <a:pt x="366" y="370"/>
                  </a:lnTo>
                  <a:lnTo>
                    <a:pt x="367" y="373"/>
                  </a:lnTo>
                  <a:lnTo>
                    <a:pt x="367" y="375"/>
                  </a:lnTo>
                  <a:lnTo>
                    <a:pt x="368" y="376"/>
                  </a:lnTo>
                  <a:lnTo>
                    <a:pt x="367" y="376"/>
                  </a:lnTo>
                  <a:lnTo>
                    <a:pt x="366" y="375"/>
                  </a:lnTo>
                  <a:lnTo>
                    <a:pt x="365" y="375"/>
                  </a:lnTo>
                  <a:lnTo>
                    <a:pt x="363" y="375"/>
                  </a:lnTo>
                  <a:lnTo>
                    <a:pt x="363" y="378"/>
                  </a:lnTo>
                  <a:lnTo>
                    <a:pt x="363" y="380"/>
                  </a:lnTo>
                  <a:lnTo>
                    <a:pt x="362" y="381"/>
                  </a:lnTo>
                  <a:lnTo>
                    <a:pt x="362" y="380"/>
                  </a:lnTo>
                  <a:lnTo>
                    <a:pt x="361" y="381"/>
                  </a:lnTo>
                  <a:lnTo>
                    <a:pt x="360" y="384"/>
                  </a:lnTo>
                  <a:lnTo>
                    <a:pt x="360" y="386"/>
                  </a:lnTo>
                  <a:lnTo>
                    <a:pt x="360" y="390"/>
                  </a:lnTo>
                  <a:lnTo>
                    <a:pt x="362" y="392"/>
                  </a:lnTo>
                  <a:lnTo>
                    <a:pt x="361" y="393"/>
                  </a:lnTo>
                  <a:lnTo>
                    <a:pt x="360" y="394"/>
                  </a:lnTo>
                  <a:lnTo>
                    <a:pt x="359" y="396"/>
                  </a:lnTo>
                  <a:lnTo>
                    <a:pt x="357" y="399"/>
                  </a:lnTo>
                  <a:lnTo>
                    <a:pt x="356" y="402"/>
                  </a:lnTo>
                  <a:lnTo>
                    <a:pt x="355" y="403"/>
                  </a:lnTo>
                  <a:lnTo>
                    <a:pt x="355" y="400"/>
                  </a:lnTo>
                  <a:lnTo>
                    <a:pt x="354" y="398"/>
                  </a:lnTo>
                  <a:lnTo>
                    <a:pt x="353" y="397"/>
                  </a:lnTo>
                  <a:lnTo>
                    <a:pt x="353" y="396"/>
                  </a:lnTo>
                  <a:lnTo>
                    <a:pt x="350" y="397"/>
                  </a:lnTo>
                  <a:lnTo>
                    <a:pt x="350" y="396"/>
                  </a:lnTo>
                  <a:lnTo>
                    <a:pt x="349" y="396"/>
                  </a:lnTo>
                  <a:lnTo>
                    <a:pt x="348" y="397"/>
                  </a:lnTo>
                  <a:lnTo>
                    <a:pt x="348" y="399"/>
                  </a:lnTo>
                  <a:lnTo>
                    <a:pt x="348" y="396"/>
                  </a:lnTo>
                  <a:lnTo>
                    <a:pt x="347" y="394"/>
                  </a:lnTo>
                  <a:lnTo>
                    <a:pt x="348" y="392"/>
                  </a:lnTo>
                  <a:lnTo>
                    <a:pt x="349" y="392"/>
                  </a:lnTo>
                  <a:lnTo>
                    <a:pt x="351" y="392"/>
                  </a:lnTo>
                  <a:lnTo>
                    <a:pt x="351" y="388"/>
                  </a:lnTo>
                  <a:lnTo>
                    <a:pt x="353" y="386"/>
                  </a:lnTo>
                  <a:lnTo>
                    <a:pt x="353" y="384"/>
                  </a:lnTo>
                  <a:lnTo>
                    <a:pt x="351" y="384"/>
                  </a:lnTo>
                  <a:lnTo>
                    <a:pt x="349" y="382"/>
                  </a:lnTo>
                  <a:lnTo>
                    <a:pt x="348" y="385"/>
                  </a:lnTo>
                  <a:lnTo>
                    <a:pt x="348" y="384"/>
                  </a:lnTo>
                  <a:lnTo>
                    <a:pt x="349" y="382"/>
                  </a:lnTo>
                  <a:lnTo>
                    <a:pt x="347" y="384"/>
                  </a:lnTo>
                  <a:lnTo>
                    <a:pt x="345" y="385"/>
                  </a:lnTo>
                  <a:lnTo>
                    <a:pt x="343" y="388"/>
                  </a:lnTo>
                  <a:lnTo>
                    <a:pt x="342" y="390"/>
                  </a:lnTo>
                  <a:lnTo>
                    <a:pt x="339" y="390"/>
                  </a:lnTo>
                  <a:lnTo>
                    <a:pt x="339" y="388"/>
                  </a:lnTo>
                  <a:lnTo>
                    <a:pt x="339" y="387"/>
                  </a:lnTo>
                  <a:lnTo>
                    <a:pt x="338" y="388"/>
                  </a:lnTo>
                  <a:lnTo>
                    <a:pt x="338" y="391"/>
                  </a:lnTo>
                  <a:lnTo>
                    <a:pt x="337" y="392"/>
                  </a:lnTo>
                  <a:lnTo>
                    <a:pt x="337" y="393"/>
                  </a:lnTo>
                  <a:lnTo>
                    <a:pt x="336" y="394"/>
                  </a:lnTo>
                  <a:lnTo>
                    <a:pt x="334" y="397"/>
                  </a:lnTo>
                  <a:lnTo>
                    <a:pt x="333" y="398"/>
                  </a:lnTo>
                  <a:lnTo>
                    <a:pt x="333" y="399"/>
                  </a:lnTo>
                  <a:lnTo>
                    <a:pt x="332" y="402"/>
                  </a:lnTo>
                  <a:lnTo>
                    <a:pt x="331" y="402"/>
                  </a:lnTo>
                  <a:lnTo>
                    <a:pt x="330" y="404"/>
                  </a:lnTo>
                  <a:lnTo>
                    <a:pt x="330" y="405"/>
                  </a:lnTo>
                  <a:lnTo>
                    <a:pt x="330" y="403"/>
                  </a:lnTo>
                  <a:lnTo>
                    <a:pt x="328" y="404"/>
                  </a:lnTo>
                  <a:lnTo>
                    <a:pt x="327" y="404"/>
                  </a:lnTo>
                  <a:lnTo>
                    <a:pt x="326" y="404"/>
                  </a:lnTo>
                  <a:lnTo>
                    <a:pt x="326" y="403"/>
                  </a:lnTo>
                  <a:lnTo>
                    <a:pt x="326" y="400"/>
                  </a:lnTo>
                  <a:lnTo>
                    <a:pt x="326" y="399"/>
                  </a:lnTo>
                  <a:lnTo>
                    <a:pt x="325" y="399"/>
                  </a:lnTo>
                  <a:lnTo>
                    <a:pt x="327" y="398"/>
                  </a:lnTo>
                  <a:lnTo>
                    <a:pt x="326" y="398"/>
                  </a:lnTo>
                  <a:lnTo>
                    <a:pt x="327" y="397"/>
                  </a:lnTo>
                  <a:lnTo>
                    <a:pt x="327" y="396"/>
                  </a:lnTo>
                  <a:lnTo>
                    <a:pt x="327" y="393"/>
                  </a:lnTo>
                  <a:lnTo>
                    <a:pt x="328" y="392"/>
                  </a:lnTo>
                  <a:lnTo>
                    <a:pt x="327" y="390"/>
                  </a:lnTo>
                  <a:lnTo>
                    <a:pt x="327" y="384"/>
                  </a:lnTo>
                  <a:lnTo>
                    <a:pt x="328" y="375"/>
                  </a:lnTo>
                  <a:lnTo>
                    <a:pt x="327" y="367"/>
                  </a:lnTo>
                  <a:lnTo>
                    <a:pt x="325" y="370"/>
                  </a:lnTo>
                  <a:lnTo>
                    <a:pt x="324" y="374"/>
                  </a:lnTo>
                  <a:lnTo>
                    <a:pt x="325" y="375"/>
                  </a:lnTo>
                  <a:lnTo>
                    <a:pt x="324" y="374"/>
                  </a:lnTo>
                  <a:lnTo>
                    <a:pt x="318" y="375"/>
                  </a:lnTo>
                  <a:lnTo>
                    <a:pt x="322" y="374"/>
                  </a:lnTo>
                  <a:lnTo>
                    <a:pt x="326" y="367"/>
                  </a:lnTo>
                  <a:lnTo>
                    <a:pt x="324" y="368"/>
                  </a:lnTo>
                  <a:lnTo>
                    <a:pt x="321" y="368"/>
                  </a:lnTo>
                  <a:lnTo>
                    <a:pt x="319" y="367"/>
                  </a:lnTo>
                  <a:lnTo>
                    <a:pt x="318" y="368"/>
                  </a:lnTo>
                  <a:lnTo>
                    <a:pt x="316" y="368"/>
                  </a:lnTo>
                  <a:lnTo>
                    <a:pt x="315" y="368"/>
                  </a:lnTo>
                  <a:lnTo>
                    <a:pt x="314" y="366"/>
                  </a:lnTo>
                  <a:lnTo>
                    <a:pt x="315" y="363"/>
                  </a:lnTo>
                  <a:lnTo>
                    <a:pt x="314" y="363"/>
                  </a:lnTo>
                  <a:lnTo>
                    <a:pt x="313" y="364"/>
                  </a:lnTo>
                  <a:lnTo>
                    <a:pt x="310" y="364"/>
                  </a:lnTo>
                  <a:lnTo>
                    <a:pt x="309" y="364"/>
                  </a:lnTo>
                  <a:lnTo>
                    <a:pt x="307" y="366"/>
                  </a:lnTo>
                  <a:lnTo>
                    <a:pt x="308" y="368"/>
                  </a:lnTo>
                  <a:lnTo>
                    <a:pt x="308" y="370"/>
                  </a:lnTo>
                  <a:lnTo>
                    <a:pt x="308" y="372"/>
                  </a:lnTo>
                  <a:lnTo>
                    <a:pt x="309" y="373"/>
                  </a:lnTo>
                  <a:lnTo>
                    <a:pt x="308" y="373"/>
                  </a:lnTo>
                  <a:lnTo>
                    <a:pt x="308" y="375"/>
                  </a:lnTo>
                  <a:lnTo>
                    <a:pt x="309" y="378"/>
                  </a:lnTo>
                  <a:lnTo>
                    <a:pt x="309" y="381"/>
                  </a:lnTo>
                  <a:lnTo>
                    <a:pt x="308" y="376"/>
                  </a:lnTo>
                  <a:lnTo>
                    <a:pt x="307" y="378"/>
                  </a:lnTo>
                  <a:lnTo>
                    <a:pt x="306" y="379"/>
                  </a:lnTo>
                  <a:lnTo>
                    <a:pt x="307" y="382"/>
                  </a:lnTo>
                  <a:lnTo>
                    <a:pt x="304" y="386"/>
                  </a:lnTo>
                  <a:lnTo>
                    <a:pt x="302" y="388"/>
                  </a:lnTo>
                  <a:lnTo>
                    <a:pt x="304" y="384"/>
                  </a:lnTo>
                  <a:lnTo>
                    <a:pt x="304" y="381"/>
                  </a:lnTo>
                  <a:lnTo>
                    <a:pt x="304" y="380"/>
                  </a:lnTo>
                  <a:lnTo>
                    <a:pt x="303" y="380"/>
                  </a:lnTo>
                  <a:lnTo>
                    <a:pt x="303" y="382"/>
                  </a:lnTo>
                  <a:lnTo>
                    <a:pt x="303" y="384"/>
                  </a:lnTo>
                  <a:lnTo>
                    <a:pt x="302" y="385"/>
                  </a:lnTo>
                  <a:lnTo>
                    <a:pt x="301" y="384"/>
                  </a:lnTo>
                  <a:lnTo>
                    <a:pt x="300" y="382"/>
                  </a:lnTo>
                  <a:lnTo>
                    <a:pt x="300" y="385"/>
                  </a:lnTo>
                  <a:lnTo>
                    <a:pt x="301" y="388"/>
                  </a:lnTo>
                  <a:lnTo>
                    <a:pt x="301" y="390"/>
                  </a:lnTo>
                  <a:lnTo>
                    <a:pt x="300" y="393"/>
                  </a:lnTo>
                  <a:lnTo>
                    <a:pt x="297" y="394"/>
                  </a:lnTo>
                  <a:lnTo>
                    <a:pt x="300" y="391"/>
                  </a:lnTo>
                  <a:lnTo>
                    <a:pt x="300" y="388"/>
                  </a:lnTo>
                  <a:lnTo>
                    <a:pt x="300" y="384"/>
                  </a:lnTo>
                  <a:lnTo>
                    <a:pt x="298" y="385"/>
                  </a:lnTo>
                  <a:lnTo>
                    <a:pt x="298" y="387"/>
                  </a:lnTo>
                  <a:lnTo>
                    <a:pt x="297" y="391"/>
                  </a:lnTo>
                  <a:lnTo>
                    <a:pt x="296" y="391"/>
                  </a:lnTo>
                  <a:lnTo>
                    <a:pt x="295" y="392"/>
                  </a:lnTo>
                  <a:lnTo>
                    <a:pt x="294" y="393"/>
                  </a:lnTo>
                  <a:lnTo>
                    <a:pt x="292" y="392"/>
                  </a:lnTo>
                  <a:lnTo>
                    <a:pt x="292" y="391"/>
                  </a:lnTo>
                  <a:lnTo>
                    <a:pt x="292" y="392"/>
                  </a:lnTo>
                  <a:lnTo>
                    <a:pt x="290" y="393"/>
                  </a:lnTo>
                  <a:lnTo>
                    <a:pt x="289" y="396"/>
                  </a:lnTo>
                  <a:lnTo>
                    <a:pt x="286" y="394"/>
                  </a:lnTo>
                  <a:lnTo>
                    <a:pt x="286" y="391"/>
                  </a:lnTo>
                  <a:lnTo>
                    <a:pt x="286" y="388"/>
                  </a:lnTo>
                  <a:lnTo>
                    <a:pt x="288" y="388"/>
                  </a:lnTo>
                  <a:lnTo>
                    <a:pt x="289" y="388"/>
                  </a:lnTo>
                  <a:lnTo>
                    <a:pt x="289" y="386"/>
                  </a:lnTo>
                  <a:lnTo>
                    <a:pt x="289" y="385"/>
                  </a:lnTo>
                  <a:lnTo>
                    <a:pt x="289" y="384"/>
                  </a:lnTo>
                  <a:lnTo>
                    <a:pt x="290" y="381"/>
                  </a:lnTo>
                  <a:lnTo>
                    <a:pt x="289" y="382"/>
                  </a:lnTo>
                  <a:lnTo>
                    <a:pt x="288" y="384"/>
                  </a:lnTo>
                  <a:lnTo>
                    <a:pt x="286" y="387"/>
                  </a:lnTo>
                  <a:lnTo>
                    <a:pt x="285" y="388"/>
                  </a:lnTo>
                  <a:lnTo>
                    <a:pt x="285" y="392"/>
                  </a:lnTo>
                  <a:lnTo>
                    <a:pt x="284" y="392"/>
                  </a:lnTo>
                  <a:lnTo>
                    <a:pt x="283" y="393"/>
                  </a:lnTo>
                  <a:lnTo>
                    <a:pt x="282" y="393"/>
                  </a:lnTo>
                  <a:lnTo>
                    <a:pt x="282" y="391"/>
                  </a:lnTo>
                  <a:lnTo>
                    <a:pt x="280" y="388"/>
                  </a:lnTo>
                  <a:lnTo>
                    <a:pt x="279" y="386"/>
                  </a:lnTo>
                  <a:lnTo>
                    <a:pt x="278" y="386"/>
                  </a:lnTo>
                  <a:lnTo>
                    <a:pt x="277" y="387"/>
                  </a:lnTo>
                  <a:lnTo>
                    <a:pt x="274" y="390"/>
                  </a:lnTo>
                  <a:lnTo>
                    <a:pt x="273" y="391"/>
                  </a:lnTo>
                  <a:lnTo>
                    <a:pt x="273" y="388"/>
                  </a:lnTo>
                  <a:lnTo>
                    <a:pt x="273" y="386"/>
                  </a:lnTo>
                  <a:lnTo>
                    <a:pt x="272" y="386"/>
                  </a:lnTo>
                  <a:lnTo>
                    <a:pt x="272" y="387"/>
                  </a:lnTo>
                  <a:lnTo>
                    <a:pt x="271" y="390"/>
                  </a:lnTo>
                  <a:lnTo>
                    <a:pt x="268" y="391"/>
                  </a:lnTo>
                  <a:lnTo>
                    <a:pt x="267" y="392"/>
                  </a:lnTo>
                  <a:lnTo>
                    <a:pt x="268" y="390"/>
                  </a:lnTo>
                  <a:lnTo>
                    <a:pt x="269" y="387"/>
                  </a:lnTo>
                  <a:lnTo>
                    <a:pt x="269" y="385"/>
                  </a:lnTo>
                  <a:lnTo>
                    <a:pt x="272" y="382"/>
                  </a:lnTo>
                  <a:lnTo>
                    <a:pt x="271" y="382"/>
                  </a:lnTo>
                  <a:lnTo>
                    <a:pt x="269" y="384"/>
                  </a:lnTo>
                  <a:lnTo>
                    <a:pt x="269" y="381"/>
                  </a:lnTo>
                  <a:lnTo>
                    <a:pt x="267" y="381"/>
                  </a:lnTo>
                  <a:lnTo>
                    <a:pt x="267" y="379"/>
                  </a:lnTo>
                  <a:lnTo>
                    <a:pt x="266" y="380"/>
                  </a:lnTo>
                  <a:lnTo>
                    <a:pt x="263" y="380"/>
                  </a:lnTo>
                  <a:lnTo>
                    <a:pt x="265" y="379"/>
                  </a:lnTo>
                  <a:lnTo>
                    <a:pt x="263" y="379"/>
                  </a:lnTo>
                  <a:lnTo>
                    <a:pt x="262" y="380"/>
                  </a:lnTo>
                  <a:lnTo>
                    <a:pt x="262" y="378"/>
                  </a:lnTo>
                  <a:lnTo>
                    <a:pt x="261" y="378"/>
                  </a:lnTo>
                  <a:lnTo>
                    <a:pt x="261" y="375"/>
                  </a:lnTo>
                  <a:lnTo>
                    <a:pt x="261" y="374"/>
                  </a:lnTo>
                  <a:lnTo>
                    <a:pt x="259" y="375"/>
                  </a:lnTo>
                  <a:lnTo>
                    <a:pt x="255" y="376"/>
                  </a:lnTo>
                  <a:lnTo>
                    <a:pt x="257" y="374"/>
                  </a:lnTo>
                  <a:lnTo>
                    <a:pt x="260" y="373"/>
                  </a:lnTo>
                  <a:lnTo>
                    <a:pt x="261" y="372"/>
                  </a:lnTo>
                  <a:lnTo>
                    <a:pt x="262" y="372"/>
                  </a:lnTo>
                  <a:lnTo>
                    <a:pt x="261" y="372"/>
                  </a:lnTo>
                  <a:lnTo>
                    <a:pt x="260" y="372"/>
                  </a:lnTo>
                  <a:lnTo>
                    <a:pt x="259" y="370"/>
                  </a:lnTo>
                  <a:lnTo>
                    <a:pt x="257" y="372"/>
                  </a:lnTo>
                  <a:lnTo>
                    <a:pt x="255" y="372"/>
                  </a:lnTo>
                  <a:lnTo>
                    <a:pt x="255" y="373"/>
                  </a:lnTo>
                  <a:lnTo>
                    <a:pt x="253" y="372"/>
                  </a:lnTo>
                  <a:lnTo>
                    <a:pt x="253" y="368"/>
                  </a:lnTo>
                  <a:lnTo>
                    <a:pt x="253" y="367"/>
                  </a:lnTo>
                  <a:lnTo>
                    <a:pt x="253" y="364"/>
                  </a:lnTo>
                  <a:lnTo>
                    <a:pt x="254" y="363"/>
                  </a:lnTo>
                  <a:lnTo>
                    <a:pt x="255" y="363"/>
                  </a:lnTo>
                  <a:lnTo>
                    <a:pt x="256" y="362"/>
                  </a:lnTo>
                  <a:lnTo>
                    <a:pt x="255" y="361"/>
                  </a:lnTo>
                  <a:lnTo>
                    <a:pt x="255" y="358"/>
                  </a:lnTo>
                  <a:lnTo>
                    <a:pt x="253" y="360"/>
                  </a:lnTo>
                  <a:lnTo>
                    <a:pt x="251" y="358"/>
                  </a:lnTo>
                  <a:lnTo>
                    <a:pt x="250" y="360"/>
                  </a:lnTo>
                  <a:lnTo>
                    <a:pt x="249" y="362"/>
                  </a:lnTo>
                  <a:lnTo>
                    <a:pt x="249" y="361"/>
                  </a:lnTo>
                  <a:lnTo>
                    <a:pt x="249" y="363"/>
                  </a:lnTo>
                  <a:lnTo>
                    <a:pt x="247" y="364"/>
                  </a:lnTo>
                  <a:lnTo>
                    <a:pt x="245" y="366"/>
                  </a:lnTo>
                  <a:lnTo>
                    <a:pt x="245" y="364"/>
                  </a:lnTo>
                  <a:lnTo>
                    <a:pt x="245" y="363"/>
                  </a:lnTo>
                  <a:lnTo>
                    <a:pt x="244" y="364"/>
                  </a:lnTo>
                  <a:lnTo>
                    <a:pt x="244" y="363"/>
                  </a:lnTo>
                  <a:lnTo>
                    <a:pt x="242" y="363"/>
                  </a:lnTo>
                  <a:lnTo>
                    <a:pt x="242" y="362"/>
                  </a:lnTo>
                  <a:lnTo>
                    <a:pt x="241" y="362"/>
                  </a:lnTo>
                  <a:lnTo>
                    <a:pt x="238" y="363"/>
                  </a:lnTo>
                  <a:lnTo>
                    <a:pt x="238" y="362"/>
                  </a:lnTo>
                  <a:lnTo>
                    <a:pt x="239" y="361"/>
                  </a:lnTo>
                  <a:lnTo>
                    <a:pt x="241" y="360"/>
                  </a:lnTo>
                  <a:lnTo>
                    <a:pt x="242" y="361"/>
                  </a:lnTo>
                  <a:lnTo>
                    <a:pt x="243" y="360"/>
                  </a:lnTo>
                  <a:lnTo>
                    <a:pt x="242" y="358"/>
                  </a:lnTo>
                  <a:lnTo>
                    <a:pt x="239" y="358"/>
                  </a:lnTo>
                  <a:lnTo>
                    <a:pt x="239" y="357"/>
                  </a:lnTo>
                  <a:lnTo>
                    <a:pt x="238" y="358"/>
                  </a:lnTo>
                  <a:lnTo>
                    <a:pt x="236" y="358"/>
                  </a:lnTo>
                  <a:lnTo>
                    <a:pt x="236" y="357"/>
                  </a:lnTo>
                  <a:lnTo>
                    <a:pt x="236" y="356"/>
                  </a:lnTo>
                  <a:lnTo>
                    <a:pt x="237" y="355"/>
                  </a:lnTo>
                  <a:lnTo>
                    <a:pt x="238" y="355"/>
                  </a:lnTo>
                  <a:lnTo>
                    <a:pt x="241" y="352"/>
                  </a:lnTo>
                  <a:lnTo>
                    <a:pt x="239" y="352"/>
                  </a:lnTo>
                  <a:lnTo>
                    <a:pt x="238" y="352"/>
                  </a:lnTo>
                  <a:lnTo>
                    <a:pt x="237" y="353"/>
                  </a:lnTo>
                  <a:lnTo>
                    <a:pt x="235" y="355"/>
                  </a:lnTo>
                  <a:lnTo>
                    <a:pt x="233" y="356"/>
                  </a:lnTo>
                  <a:lnTo>
                    <a:pt x="236" y="364"/>
                  </a:lnTo>
                  <a:lnTo>
                    <a:pt x="239" y="375"/>
                  </a:lnTo>
                  <a:lnTo>
                    <a:pt x="239" y="391"/>
                  </a:lnTo>
                  <a:lnTo>
                    <a:pt x="247" y="405"/>
                  </a:lnTo>
                  <a:lnTo>
                    <a:pt x="250" y="412"/>
                  </a:lnTo>
                  <a:lnTo>
                    <a:pt x="250" y="420"/>
                  </a:lnTo>
                  <a:lnTo>
                    <a:pt x="247" y="426"/>
                  </a:lnTo>
                  <a:lnTo>
                    <a:pt x="241" y="438"/>
                  </a:lnTo>
                  <a:lnTo>
                    <a:pt x="235" y="474"/>
                  </a:lnTo>
                  <a:lnTo>
                    <a:pt x="232" y="491"/>
                  </a:lnTo>
                  <a:lnTo>
                    <a:pt x="232" y="516"/>
                  </a:lnTo>
                  <a:lnTo>
                    <a:pt x="232" y="539"/>
                  </a:lnTo>
                  <a:lnTo>
                    <a:pt x="233" y="54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4" name="Freeform 77"/>
            <p:cNvSpPr>
              <a:spLocks/>
            </p:cNvSpPr>
            <p:nvPr userDrawn="1"/>
          </p:nvSpPr>
          <p:spPr bwMode="auto">
            <a:xfrm>
              <a:off x="6143625" y="6537326"/>
              <a:ext cx="3001963" cy="128588"/>
            </a:xfrm>
            <a:custGeom>
              <a:avLst/>
              <a:gdLst/>
              <a:ahLst/>
              <a:cxnLst>
                <a:cxn ang="0">
                  <a:pos x="24" y="383"/>
                </a:cxn>
                <a:cxn ang="0">
                  <a:pos x="140" y="342"/>
                </a:cxn>
                <a:cxn ang="0">
                  <a:pos x="462" y="200"/>
                </a:cxn>
                <a:cxn ang="0">
                  <a:pos x="618" y="142"/>
                </a:cxn>
                <a:cxn ang="0">
                  <a:pos x="699" y="122"/>
                </a:cxn>
                <a:cxn ang="0">
                  <a:pos x="875" y="120"/>
                </a:cxn>
                <a:cxn ang="0">
                  <a:pos x="1256" y="110"/>
                </a:cxn>
                <a:cxn ang="0">
                  <a:pos x="1527" y="108"/>
                </a:cxn>
                <a:cxn ang="0">
                  <a:pos x="1830" y="122"/>
                </a:cxn>
                <a:cxn ang="0">
                  <a:pos x="2033" y="126"/>
                </a:cxn>
                <a:cxn ang="0">
                  <a:pos x="2168" y="120"/>
                </a:cxn>
                <a:cxn ang="0">
                  <a:pos x="2344" y="98"/>
                </a:cxn>
                <a:cxn ang="0">
                  <a:pos x="2545" y="80"/>
                </a:cxn>
                <a:cxn ang="0">
                  <a:pos x="2615" y="81"/>
                </a:cxn>
                <a:cxn ang="0">
                  <a:pos x="2696" y="100"/>
                </a:cxn>
                <a:cxn ang="0">
                  <a:pos x="2875" y="164"/>
                </a:cxn>
                <a:cxn ang="0">
                  <a:pos x="3028" y="208"/>
                </a:cxn>
                <a:cxn ang="0">
                  <a:pos x="3157" y="231"/>
                </a:cxn>
                <a:cxn ang="0">
                  <a:pos x="3234" y="233"/>
                </a:cxn>
                <a:cxn ang="0">
                  <a:pos x="3331" y="224"/>
                </a:cxn>
                <a:cxn ang="0">
                  <a:pos x="3436" y="195"/>
                </a:cxn>
                <a:cxn ang="0">
                  <a:pos x="3519" y="170"/>
                </a:cxn>
                <a:cxn ang="0">
                  <a:pos x="3595" y="165"/>
                </a:cxn>
                <a:cxn ang="0">
                  <a:pos x="3718" y="149"/>
                </a:cxn>
                <a:cxn ang="0">
                  <a:pos x="3817" y="138"/>
                </a:cxn>
                <a:cxn ang="0">
                  <a:pos x="3842" y="138"/>
                </a:cxn>
                <a:cxn ang="0">
                  <a:pos x="3854" y="126"/>
                </a:cxn>
                <a:cxn ang="0">
                  <a:pos x="3865" y="104"/>
                </a:cxn>
                <a:cxn ang="0">
                  <a:pos x="3879" y="86"/>
                </a:cxn>
                <a:cxn ang="0">
                  <a:pos x="3903" y="70"/>
                </a:cxn>
                <a:cxn ang="0">
                  <a:pos x="3944" y="58"/>
                </a:cxn>
                <a:cxn ang="0">
                  <a:pos x="4042" y="54"/>
                </a:cxn>
                <a:cxn ang="0">
                  <a:pos x="4545" y="94"/>
                </a:cxn>
                <a:cxn ang="0">
                  <a:pos x="4907" y="123"/>
                </a:cxn>
                <a:cxn ang="0">
                  <a:pos x="5298" y="142"/>
                </a:cxn>
                <a:cxn ang="0">
                  <a:pos x="5485" y="146"/>
                </a:cxn>
                <a:cxn ang="0">
                  <a:pos x="5541" y="137"/>
                </a:cxn>
                <a:cxn ang="0">
                  <a:pos x="5607" y="117"/>
                </a:cxn>
                <a:cxn ang="0">
                  <a:pos x="5679" y="86"/>
                </a:cxn>
                <a:cxn ang="0">
                  <a:pos x="5736" y="70"/>
                </a:cxn>
                <a:cxn ang="0">
                  <a:pos x="5782" y="68"/>
                </a:cxn>
                <a:cxn ang="0">
                  <a:pos x="5914" y="81"/>
                </a:cxn>
                <a:cxn ang="0">
                  <a:pos x="6110" y="88"/>
                </a:cxn>
                <a:cxn ang="0">
                  <a:pos x="6288" y="82"/>
                </a:cxn>
                <a:cxn ang="0">
                  <a:pos x="6449" y="66"/>
                </a:cxn>
                <a:cxn ang="0">
                  <a:pos x="6659" y="35"/>
                </a:cxn>
                <a:cxn ang="0">
                  <a:pos x="6841" y="9"/>
                </a:cxn>
                <a:cxn ang="0">
                  <a:pos x="6949" y="0"/>
                </a:cxn>
                <a:cxn ang="0">
                  <a:pos x="7613" y="101"/>
                </a:cxn>
                <a:cxn ang="0">
                  <a:pos x="8840" y="302"/>
                </a:cxn>
                <a:cxn ang="0">
                  <a:pos x="8858" y="402"/>
                </a:cxn>
                <a:cxn ang="0">
                  <a:pos x="7666" y="399"/>
                </a:cxn>
                <a:cxn ang="0">
                  <a:pos x="6474" y="398"/>
                </a:cxn>
                <a:cxn ang="0">
                  <a:pos x="5282" y="397"/>
                </a:cxn>
                <a:cxn ang="0">
                  <a:pos x="3872" y="396"/>
                </a:cxn>
                <a:cxn ang="0">
                  <a:pos x="2244" y="393"/>
                </a:cxn>
                <a:cxn ang="0">
                  <a:pos x="902" y="391"/>
                </a:cxn>
                <a:cxn ang="0">
                  <a:pos x="88" y="389"/>
                </a:cxn>
              </a:cxnLst>
              <a:rect l="0" t="0" r="r" b="b"/>
              <a:pathLst>
                <a:path w="9454" h="403">
                  <a:moveTo>
                    <a:pt x="0" y="387"/>
                  </a:moveTo>
                  <a:lnTo>
                    <a:pt x="24" y="383"/>
                  </a:lnTo>
                  <a:lnTo>
                    <a:pt x="56" y="374"/>
                  </a:lnTo>
                  <a:lnTo>
                    <a:pt x="140" y="342"/>
                  </a:lnTo>
                  <a:lnTo>
                    <a:pt x="350" y="249"/>
                  </a:lnTo>
                  <a:lnTo>
                    <a:pt x="462" y="200"/>
                  </a:lnTo>
                  <a:lnTo>
                    <a:pt x="569" y="158"/>
                  </a:lnTo>
                  <a:lnTo>
                    <a:pt x="618" y="142"/>
                  </a:lnTo>
                  <a:lnTo>
                    <a:pt x="661" y="129"/>
                  </a:lnTo>
                  <a:lnTo>
                    <a:pt x="699" y="122"/>
                  </a:lnTo>
                  <a:lnTo>
                    <a:pt x="732" y="120"/>
                  </a:lnTo>
                  <a:lnTo>
                    <a:pt x="875" y="120"/>
                  </a:lnTo>
                  <a:lnTo>
                    <a:pt x="1059" y="116"/>
                  </a:lnTo>
                  <a:lnTo>
                    <a:pt x="1256" y="110"/>
                  </a:lnTo>
                  <a:lnTo>
                    <a:pt x="1439" y="107"/>
                  </a:lnTo>
                  <a:lnTo>
                    <a:pt x="1527" y="108"/>
                  </a:lnTo>
                  <a:lnTo>
                    <a:pt x="1624" y="112"/>
                  </a:lnTo>
                  <a:lnTo>
                    <a:pt x="1830" y="122"/>
                  </a:lnTo>
                  <a:lnTo>
                    <a:pt x="1934" y="125"/>
                  </a:lnTo>
                  <a:lnTo>
                    <a:pt x="2033" y="126"/>
                  </a:lnTo>
                  <a:lnTo>
                    <a:pt x="2125" y="123"/>
                  </a:lnTo>
                  <a:lnTo>
                    <a:pt x="2168" y="120"/>
                  </a:lnTo>
                  <a:lnTo>
                    <a:pt x="2207" y="116"/>
                  </a:lnTo>
                  <a:lnTo>
                    <a:pt x="2344" y="98"/>
                  </a:lnTo>
                  <a:lnTo>
                    <a:pt x="2455" y="86"/>
                  </a:lnTo>
                  <a:lnTo>
                    <a:pt x="2545" y="80"/>
                  </a:lnTo>
                  <a:lnTo>
                    <a:pt x="2583" y="80"/>
                  </a:lnTo>
                  <a:lnTo>
                    <a:pt x="2615" y="81"/>
                  </a:lnTo>
                  <a:lnTo>
                    <a:pt x="2651" y="87"/>
                  </a:lnTo>
                  <a:lnTo>
                    <a:pt x="2696" y="100"/>
                  </a:lnTo>
                  <a:lnTo>
                    <a:pt x="2808" y="141"/>
                  </a:lnTo>
                  <a:lnTo>
                    <a:pt x="2875" y="164"/>
                  </a:lnTo>
                  <a:lnTo>
                    <a:pt x="2949" y="187"/>
                  </a:lnTo>
                  <a:lnTo>
                    <a:pt x="3028" y="208"/>
                  </a:lnTo>
                  <a:lnTo>
                    <a:pt x="3113" y="225"/>
                  </a:lnTo>
                  <a:lnTo>
                    <a:pt x="3157" y="231"/>
                  </a:lnTo>
                  <a:lnTo>
                    <a:pt x="3197" y="233"/>
                  </a:lnTo>
                  <a:lnTo>
                    <a:pt x="3234" y="233"/>
                  </a:lnTo>
                  <a:lnTo>
                    <a:pt x="3269" y="232"/>
                  </a:lnTo>
                  <a:lnTo>
                    <a:pt x="3331" y="224"/>
                  </a:lnTo>
                  <a:lnTo>
                    <a:pt x="3387" y="211"/>
                  </a:lnTo>
                  <a:lnTo>
                    <a:pt x="3436" y="195"/>
                  </a:lnTo>
                  <a:lnTo>
                    <a:pt x="3480" y="181"/>
                  </a:lnTo>
                  <a:lnTo>
                    <a:pt x="3519" y="170"/>
                  </a:lnTo>
                  <a:lnTo>
                    <a:pt x="3557" y="166"/>
                  </a:lnTo>
                  <a:lnTo>
                    <a:pt x="3595" y="165"/>
                  </a:lnTo>
                  <a:lnTo>
                    <a:pt x="3636" y="160"/>
                  </a:lnTo>
                  <a:lnTo>
                    <a:pt x="3718" y="149"/>
                  </a:lnTo>
                  <a:lnTo>
                    <a:pt x="3789" y="140"/>
                  </a:lnTo>
                  <a:lnTo>
                    <a:pt x="3817" y="138"/>
                  </a:lnTo>
                  <a:lnTo>
                    <a:pt x="3836" y="138"/>
                  </a:lnTo>
                  <a:lnTo>
                    <a:pt x="3842" y="138"/>
                  </a:lnTo>
                  <a:lnTo>
                    <a:pt x="3847" y="137"/>
                  </a:lnTo>
                  <a:lnTo>
                    <a:pt x="3854" y="126"/>
                  </a:lnTo>
                  <a:lnTo>
                    <a:pt x="3860" y="112"/>
                  </a:lnTo>
                  <a:lnTo>
                    <a:pt x="3865" y="104"/>
                  </a:lnTo>
                  <a:lnTo>
                    <a:pt x="3871" y="94"/>
                  </a:lnTo>
                  <a:lnTo>
                    <a:pt x="3879" y="86"/>
                  </a:lnTo>
                  <a:lnTo>
                    <a:pt x="3890" y="77"/>
                  </a:lnTo>
                  <a:lnTo>
                    <a:pt x="3903" y="70"/>
                  </a:lnTo>
                  <a:lnTo>
                    <a:pt x="3921" y="63"/>
                  </a:lnTo>
                  <a:lnTo>
                    <a:pt x="3944" y="58"/>
                  </a:lnTo>
                  <a:lnTo>
                    <a:pt x="3971" y="54"/>
                  </a:lnTo>
                  <a:lnTo>
                    <a:pt x="4042" y="54"/>
                  </a:lnTo>
                  <a:lnTo>
                    <a:pt x="4266" y="71"/>
                  </a:lnTo>
                  <a:lnTo>
                    <a:pt x="4545" y="94"/>
                  </a:lnTo>
                  <a:lnTo>
                    <a:pt x="4789" y="114"/>
                  </a:lnTo>
                  <a:lnTo>
                    <a:pt x="4907" y="123"/>
                  </a:lnTo>
                  <a:lnTo>
                    <a:pt x="5127" y="135"/>
                  </a:lnTo>
                  <a:lnTo>
                    <a:pt x="5298" y="142"/>
                  </a:lnTo>
                  <a:lnTo>
                    <a:pt x="5454" y="146"/>
                  </a:lnTo>
                  <a:lnTo>
                    <a:pt x="5485" y="146"/>
                  </a:lnTo>
                  <a:lnTo>
                    <a:pt x="5514" y="142"/>
                  </a:lnTo>
                  <a:lnTo>
                    <a:pt x="5541" y="137"/>
                  </a:lnTo>
                  <a:lnTo>
                    <a:pt x="5565" y="131"/>
                  </a:lnTo>
                  <a:lnTo>
                    <a:pt x="5607" y="117"/>
                  </a:lnTo>
                  <a:lnTo>
                    <a:pt x="5643" y="101"/>
                  </a:lnTo>
                  <a:lnTo>
                    <a:pt x="5679" y="86"/>
                  </a:lnTo>
                  <a:lnTo>
                    <a:pt x="5717" y="74"/>
                  </a:lnTo>
                  <a:lnTo>
                    <a:pt x="5736" y="70"/>
                  </a:lnTo>
                  <a:lnTo>
                    <a:pt x="5757" y="68"/>
                  </a:lnTo>
                  <a:lnTo>
                    <a:pt x="5782" y="68"/>
                  </a:lnTo>
                  <a:lnTo>
                    <a:pt x="5807" y="70"/>
                  </a:lnTo>
                  <a:lnTo>
                    <a:pt x="5914" y="81"/>
                  </a:lnTo>
                  <a:lnTo>
                    <a:pt x="6014" y="87"/>
                  </a:lnTo>
                  <a:lnTo>
                    <a:pt x="6110" y="88"/>
                  </a:lnTo>
                  <a:lnTo>
                    <a:pt x="6202" y="87"/>
                  </a:lnTo>
                  <a:lnTo>
                    <a:pt x="6288" y="82"/>
                  </a:lnTo>
                  <a:lnTo>
                    <a:pt x="6370" y="75"/>
                  </a:lnTo>
                  <a:lnTo>
                    <a:pt x="6449" y="66"/>
                  </a:lnTo>
                  <a:lnTo>
                    <a:pt x="6522" y="57"/>
                  </a:lnTo>
                  <a:lnTo>
                    <a:pt x="6659" y="35"/>
                  </a:lnTo>
                  <a:lnTo>
                    <a:pt x="6783" y="16"/>
                  </a:lnTo>
                  <a:lnTo>
                    <a:pt x="6841" y="9"/>
                  </a:lnTo>
                  <a:lnTo>
                    <a:pt x="6896" y="3"/>
                  </a:lnTo>
                  <a:lnTo>
                    <a:pt x="6949" y="0"/>
                  </a:lnTo>
                  <a:lnTo>
                    <a:pt x="7000" y="1"/>
                  </a:lnTo>
                  <a:lnTo>
                    <a:pt x="7613" y="101"/>
                  </a:lnTo>
                  <a:lnTo>
                    <a:pt x="8227" y="202"/>
                  </a:lnTo>
                  <a:lnTo>
                    <a:pt x="8840" y="302"/>
                  </a:lnTo>
                  <a:lnTo>
                    <a:pt x="9454" y="403"/>
                  </a:lnTo>
                  <a:lnTo>
                    <a:pt x="8858" y="402"/>
                  </a:lnTo>
                  <a:lnTo>
                    <a:pt x="8262" y="401"/>
                  </a:lnTo>
                  <a:lnTo>
                    <a:pt x="7666" y="399"/>
                  </a:lnTo>
                  <a:lnTo>
                    <a:pt x="7070" y="399"/>
                  </a:lnTo>
                  <a:lnTo>
                    <a:pt x="6474" y="398"/>
                  </a:lnTo>
                  <a:lnTo>
                    <a:pt x="5878" y="398"/>
                  </a:lnTo>
                  <a:lnTo>
                    <a:pt x="5282" y="397"/>
                  </a:lnTo>
                  <a:lnTo>
                    <a:pt x="4686" y="397"/>
                  </a:lnTo>
                  <a:lnTo>
                    <a:pt x="3872" y="396"/>
                  </a:lnTo>
                  <a:lnTo>
                    <a:pt x="3058" y="395"/>
                  </a:lnTo>
                  <a:lnTo>
                    <a:pt x="2244" y="393"/>
                  </a:lnTo>
                  <a:lnTo>
                    <a:pt x="1430" y="392"/>
                  </a:lnTo>
                  <a:lnTo>
                    <a:pt x="902" y="391"/>
                  </a:lnTo>
                  <a:lnTo>
                    <a:pt x="374" y="390"/>
                  </a:lnTo>
                  <a:lnTo>
                    <a:pt x="88" y="389"/>
                  </a:lnTo>
                  <a:lnTo>
                    <a:pt x="0" y="38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5" name="Freeform 78"/>
            <p:cNvSpPr>
              <a:spLocks/>
            </p:cNvSpPr>
            <p:nvPr userDrawn="1"/>
          </p:nvSpPr>
          <p:spPr bwMode="auto">
            <a:xfrm>
              <a:off x="6657975" y="6373813"/>
              <a:ext cx="317500" cy="269875"/>
            </a:xfrm>
            <a:custGeom>
              <a:avLst/>
              <a:gdLst/>
              <a:ahLst/>
              <a:cxnLst>
                <a:cxn ang="0">
                  <a:pos x="331" y="740"/>
                </a:cxn>
                <a:cxn ang="0">
                  <a:pos x="278" y="752"/>
                </a:cxn>
                <a:cxn ang="0">
                  <a:pos x="265" y="723"/>
                </a:cxn>
                <a:cxn ang="0">
                  <a:pos x="223" y="735"/>
                </a:cxn>
                <a:cxn ang="0">
                  <a:pos x="230" y="709"/>
                </a:cxn>
                <a:cxn ang="0">
                  <a:pos x="101" y="748"/>
                </a:cxn>
                <a:cxn ang="0">
                  <a:pos x="141" y="711"/>
                </a:cxn>
                <a:cxn ang="0">
                  <a:pos x="93" y="687"/>
                </a:cxn>
                <a:cxn ang="0">
                  <a:pos x="47" y="626"/>
                </a:cxn>
                <a:cxn ang="0">
                  <a:pos x="31" y="588"/>
                </a:cxn>
                <a:cxn ang="0">
                  <a:pos x="88" y="582"/>
                </a:cxn>
                <a:cxn ang="0">
                  <a:pos x="120" y="543"/>
                </a:cxn>
                <a:cxn ang="0">
                  <a:pos x="208" y="499"/>
                </a:cxn>
                <a:cxn ang="0">
                  <a:pos x="142" y="511"/>
                </a:cxn>
                <a:cxn ang="0">
                  <a:pos x="72" y="484"/>
                </a:cxn>
                <a:cxn ang="0">
                  <a:pos x="100" y="410"/>
                </a:cxn>
                <a:cxn ang="0">
                  <a:pos x="140" y="354"/>
                </a:cxn>
                <a:cxn ang="0">
                  <a:pos x="168" y="335"/>
                </a:cxn>
                <a:cxn ang="0">
                  <a:pos x="187" y="291"/>
                </a:cxn>
                <a:cxn ang="0">
                  <a:pos x="233" y="248"/>
                </a:cxn>
                <a:cxn ang="0">
                  <a:pos x="242" y="230"/>
                </a:cxn>
                <a:cxn ang="0">
                  <a:pos x="136" y="216"/>
                </a:cxn>
                <a:cxn ang="0">
                  <a:pos x="154" y="169"/>
                </a:cxn>
                <a:cxn ang="0">
                  <a:pos x="166" y="118"/>
                </a:cxn>
                <a:cxn ang="0">
                  <a:pos x="208" y="100"/>
                </a:cxn>
                <a:cxn ang="0">
                  <a:pos x="254" y="37"/>
                </a:cxn>
                <a:cxn ang="0">
                  <a:pos x="327" y="15"/>
                </a:cxn>
                <a:cxn ang="0">
                  <a:pos x="412" y="11"/>
                </a:cxn>
                <a:cxn ang="0">
                  <a:pos x="436" y="81"/>
                </a:cxn>
                <a:cxn ang="0">
                  <a:pos x="491" y="67"/>
                </a:cxn>
                <a:cxn ang="0">
                  <a:pos x="495" y="115"/>
                </a:cxn>
                <a:cxn ang="0">
                  <a:pos x="574" y="105"/>
                </a:cxn>
                <a:cxn ang="0">
                  <a:pos x="662" y="112"/>
                </a:cxn>
                <a:cxn ang="0">
                  <a:pos x="737" y="133"/>
                </a:cxn>
                <a:cxn ang="0">
                  <a:pos x="804" y="150"/>
                </a:cxn>
                <a:cxn ang="0">
                  <a:pos x="778" y="183"/>
                </a:cxn>
                <a:cxn ang="0">
                  <a:pos x="813" y="231"/>
                </a:cxn>
                <a:cxn ang="0">
                  <a:pos x="755" y="234"/>
                </a:cxn>
                <a:cxn ang="0">
                  <a:pos x="754" y="264"/>
                </a:cxn>
                <a:cxn ang="0">
                  <a:pos x="822" y="320"/>
                </a:cxn>
                <a:cxn ang="0">
                  <a:pos x="888" y="326"/>
                </a:cxn>
                <a:cxn ang="0">
                  <a:pos x="878" y="380"/>
                </a:cxn>
                <a:cxn ang="0">
                  <a:pos x="916" y="407"/>
                </a:cxn>
                <a:cxn ang="0">
                  <a:pos x="966" y="414"/>
                </a:cxn>
                <a:cxn ang="0">
                  <a:pos x="988" y="468"/>
                </a:cxn>
                <a:cxn ang="0">
                  <a:pos x="966" y="478"/>
                </a:cxn>
                <a:cxn ang="0">
                  <a:pos x="998" y="531"/>
                </a:cxn>
                <a:cxn ang="0">
                  <a:pos x="996" y="573"/>
                </a:cxn>
                <a:cxn ang="0">
                  <a:pos x="899" y="591"/>
                </a:cxn>
                <a:cxn ang="0">
                  <a:pos x="858" y="616"/>
                </a:cxn>
                <a:cxn ang="0">
                  <a:pos x="848" y="644"/>
                </a:cxn>
                <a:cxn ang="0">
                  <a:pos x="874" y="694"/>
                </a:cxn>
                <a:cxn ang="0">
                  <a:pos x="823" y="718"/>
                </a:cxn>
                <a:cxn ang="0">
                  <a:pos x="784" y="706"/>
                </a:cxn>
                <a:cxn ang="0">
                  <a:pos x="715" y="701"/>
                </a:cxn>
                <a:cxn ang="0">
                  <a:pos x="692" y="712"/>
                </a:cxn>
                <a:cxn ang="0">
                  <a:pos x="678" y="724"/>
                </a:cxn>
                <a:cxn ang="0">
                  <a:pos x="687" y="751"/>
                </a:cxn>
                <a:cxn ang="0">
                  <a:pos x="640" y="755"/>
                </a:cxn>
                <a:cxn ang="0">
                  <a:pos x="598" y="763"/>
                </a:cxn>
                <a:cxn ang="0">
                  <a:pos x="578" y="774"/>
                </a:cxn>
                <a:cxn ang="0">
                  <a:pos x="494" y="777"/>
                </a:cxn>
                <a:cxn ang="0">
                  <a:pos x="480" y="734"/>
                </a:cxn>
              </a:cxnLst>
              <a:rect l="0" t="0" r="r" b="b"/>
              <a:pathLst>
                <a:path w="1003" h="849">
                  <a:moveTo>
                    <a:pt x="472" y="849"/>
                  </a:moveTo>
                  <a:lnTo>
                    <a:pt x="326" y="849"/>
                  </a:lnTo>
                  <a:lnTo>
                    <a:pt x="330" y="843"/>
                  </a:lnTo>
                  <a:lnTo>
                    <a:pt x="333" y="831"/>
                  </a:lnTo>
                  <a:lnTo>
                    <a:pt x="335" y="822"/>
                  </a:lnTo>
                  <a:lnTo>
                    <a:pt x="339" y="813"/>
                  </a:lnTo>
                  <a:lnTo>
                    <a:pt x="344" y="807"/>
                  </a:lnTo>
                  <a:lnTo>
                    <a:pt x="345" y="799"/>
                  </a:lnTo>
                  <a:lnTo>
                    <a:pt x="344" y="786"/>
                  </a:lnTo>
                  <a:lnTo>
                    <a:pt x="345" y="775"/>
                  </a:lnTo>
                  <a:lnTo>
                    <a:pt x="350" y="770"/>
                  </a:lnTo>
                  <a:lnTo>
                    <a:pt x="351" y="764"/>
                  </a:lnTo>
                  <a:lnTo>
                    <a:pt x="355" y="747"/>
                  </a:lnTo>
                  <a:lnTo>
                    <a:pt x="353" y="745"/>
                  </a:lnTo>
                  <a:lnTo>
                    <a:pt x="350" y="745"/>
                  </a:lnTo>
                  <a:lnTo>
                    <a:pt x="347" y="752"/>
                  </a:lnTo>
                  <a:lnTo>
                    <a:pt x="341" y="752"/>
                  </a:lnTo>
                  <a:lnTo>
                    <a:pt x="339" y="751"/>
                  </a:lnTo>
                  <a:lnTo>
                    <a:pt x="336" y="751"/>
                  </a:lnTo>
                  <a:lnTo>
                    <a:pt x="330" y="752"/>
                  </a:lnTo>
                  <a:lnTo>
                    <a:pt x="329" y="748"/>
                  </a:lnTo>
                  <a:lnTo>
                    <a:pt x="332" y="742"/>
                  </a:lnTo>
                  <a:lnTo>
                    <a:pt x="331" y="740"/>
                  </a:lnTo>
                  <a:lnTo>
                    <a:pt x="326" y="740"/>
                  </a:lnTo>
                  <a:lnTo>
                    <a:pt x="324" y="739"/>
                  </a:lnTo>
                  <a:lnTo>
                    <a:pt x="323" y="736"/>
                  </a:lnTo>
                  <a:lnTo>
                    <a:pt x="321" y="731"/>
                  </a:lnTo>
                  <a:lnTo>
                    <a:pt x="320" y="730"/>
                  </a:lnTo>
                  <a:lnTo>
                    <a:pt x="320" y="733"/>
                  </a:lnTo>
                  <a:lnTo>
                    <a:pt x="321" y="739"/>
                  </a:lnTo>
                  <a:lnTo>
                    <a:pt x="320" y="740"/>
                  </a:lnTo>
                  <a:lnTo>
                    <a:pt x="319" y="739"/>
                  </a:lnTo>
                  <a:lnTo>
                    <a:pt x="317" y="740"/>
                  </a:lnTo>
                  <a:lnTo>
                    <a:pt x="311" y="740"/>
                  </a:lnTo>
                  <a:lnTo>
                    <a:pt x="307" y="740"/>
                  </a:lnTo>
                  <a:lnTo>
                    <a:pt x="305" y="743"/>
                  </a:lnTo>
                  <a:lnTo>
                    <a:pt x="306" y="746"/>
                  </a:lnTo>
                  <a:lnTo>
                    <a:pt x="306" y="748"/>
                  </a:lnTo>
                  <a:lnTo>
                    <a:pt x="301" y="748"/>
                  </a:lnTo>
                  <a:lnTo>
                    <a:pt x="298" y="751"/>
                  </a:lnTo>
                  <a:lnTo>
                    <a:pt x="295" y="749"/>
                  </a:lnTo>
                  <a:lnTo>
                    <a:pt x="292" y="749"/>
                  </a:lnTo>
                  <a:lnTo>
                    <a:pt x="289" y="751"/>
                  </a:lnTo>
                  <a:lnTo>
                    <a:pt x="290" y="752"/>
                  </a:lnTo>
                  <a:lnTo>
                    <a:pt x="286" y="753"/>
                  </a:lnTo>
                  <a:lnTo>
                    <a:pt x="278" y="752"/>
                  </a:lnTo>
                  <a:lnTo>
                    <a:pt x="274" y="751"/>
                  </a:lnTo>
                  <a:lnTo>
                    <a:pt x="271" y="749"/>
                  </a:lnTo>
                  <a:lnTo>
                    <a:pt x="270" y="745"/>
                  </a:lnTo>
                  <a:lnTo>
                    <a:pt x="267" y="741"/>
                  </a:lnTo>
                  <a:lnTo>
                    <a:pt x="266" y="739"/>
                  </a:lnTo>
                  <a:lnTo>
                    <a:pt x="266" y="736"/>
                  </a:lnTo>
                  <a:lnTo>
                    <a:pt x="270" y="735"/>
                  </a:lnTo>
                  <a:lnTo>
                    <a:pt x="274" y="734"/>
                  </a:lnTo>
                  <a:lnTo>
                    <a:pt x="276" y="731"/>
                  </a:lnTo>
                  <a:lnTo>
                    <a:pt x="274" y="728"/>
                  </a:lnTo>
                  <a:lnTo>
                    <a:pt x="276" y="725"/>
                  </a:lnTo>
                  <a:lnTo>
                    <a:pt x="279" y="725"/>
                  </a:lnTo>
                  <a:lnTo>
                    <a:pt x="282" y="724"/>
                  </a:lnTo>
                  <a:lnTo>
                    <a:pt x="284" y="722"/>
                  </a:lnTo>
                  <a:lnTo>
                    <a:pt x="284" y="719"/>
                  </a:lnTo>
                  <a:lnTo>
                    <a:pt x="283" y="716"/>
                  </a:lnTo>
                  <a:lnTo>
                    <a:pt x="279" y="713"/>
                  </a:lnTo>
                  <a:lnTo>
                    <a:pt x="277" y="712"/>
                  </a:lnTo>
                  <a:lnTo>
                    <a:pt x="274" y="715"/>
                  </a:lnTo>
                  <a:lnTo>
                    <a:pt x="270" y="718"/>
                  </a:lnTo>
                  <a:lnTo>
                    <a:pt x="267" y="721"/>
                  </a:lnTo>
                  <a:lnTo>
                    <a:pt x="266" y="721"/>
                  </a:lnTo>
                  <a:lnTo>
                    <a:pt x="265" y="723"/>
                  </a:lnTo>
                  <a:lnTo>
                    <a:pt x="261" y="727"/>
                  </a:lnTo>
                  <a:lnTo>
                    <a:pt x="259" y="727"/>
                  </a:lnTo>
                  <a:lnTo>
                    <a:pt x="255" y="724"/>
                  </a:lnTo>
                  <a:lnTo>
                    <a:pt x="254" y="724"/>
                  </a:lnTo>
                  <a:lnTo>
                    <a:pt x="253" y="728"/>
                  </a:lnTo>
                  <a:lnTo>
                    <a:pt x="252" y="736"/>
                  </a:lnTo>
                  <a:lnTo>
                    <a:pt x="249" y="739"/>
                  </a:lnTo>
                  <a:lnTo>
                    <a:pt x="243" y="739"/>
                  </a:lnTo>
                  <a:lnTo>
                    <a:pt x="243" y="741"/>
                  </a:lnTo>
                  <a:lnTo>
                    <a:pt x="242" y="742"/>
                  </a:lnTo>
                  <a:lnTo>
                    <a:pt x="241" y="743"/>
                  </a:lnTo>
                  <a:lnTo>
                    <a:pt x="236" y="745"/>
                  </a:lnTo>
                  <a:lnTo>
                    <a:pt x="233" y="746"/>
                  </a:lnTo>
                  <a:lnTo>
                    <a:pt x="232" y="742"/>
                  </a:lnTo>
                  <a:lnTo>
                    <a:pt x="230" y="741"/>
                  </a:lnTo>
                  <a:lnTo>
                    <a:pt x="229" y="741"/>
                  </a:lnTo>
                  <a:lnTo>
                    <a:pt x="230" y="737"/>
                  </a:lnTo>
                  <a:lnTo>
                    <a:pt x="235" y="729"/>
                  </a:lnTo>
                  <a:lnTo>
                    <a:pt x="233" y="727"/>
                  </a:lnTo>
                  <a:lnTo>
                    <a:pt x="231" y="727"/>
                  </a:lnTo>
                  <a:lnTo>
                    <a:pt x="225" y="733"/>
                  </a:lnTo>
                  <a:lnTo>
                    <a:pt x="220" y="734"/>
                  </a:lnTo>
                  <a:lnTo>
                    <a:pt x="223" y="735"/>
                  </a:lnTo>
                  <a:lnTo>
                    <a:pt x="217" y="735"/>
                  </a:lnTo>
                  <a:lnTo>
                    <a:pt x="209" y="735"/>
                  </a:lnTo>
                  <a:lnTo>
                    <a:pt x="203" y="731"/>
                  </a:lnTo>
                  <a:lnTo>
                    <a:pt x="194" y="725"/>
                  </a:lnTo>
                  <a:lnTo>
                    <a:pt x="190" y="723"/>
                  </a:lnTo>
                  <a:lnTo>
                    <a:pt x="193" y="722"/>
                  </a:lnTo>
                  <a:lnTo>
                    <a:pt x="195" y="722"/>
                  </a:lnTo>
                  <a:lnTo>
                    <a:pt x="196" y="719"/>
                  </a:lnTo>
                  <a:lnTo>
                    <a:pt x="196" y="715"/>
                  </a:lnTo>
                  <a:lnTo>
                    <a:pt x="199" y="712"/>
                  </a:lnTo>
                  <a:lnTo>
                    <a:pt x="199" y="711"/>
                  </a:lnTo>
                  <a:lnTo>
                    <a:pt x="201" y="711"/>
                  </a:lnTo>
                  <a:lnTo>
                    <a:pt x="205" y="715"/>
                  </a:lnTo>
                  <a:lnTo>
                    <a:pt x="207" y="716"/>
                  </a:lnTo>
                  <a:lnTo>
                    <a:pt x="208" y="713"/>
                  </a:lnTo>
                  <a:lnTo>
                    <a:pt x="209" y="713"/>
                  </a:lnTo>
                  <a:lnTo>
                    <a:pt x="213" y="713"/>
                  </a:lnTo>
                  <a:lnTo>
                    <a:pt x="217" y="713"/>
                  </a:lnTo>
                  <a:lnTo>
                    <a:pt x="220" y="713"/>
                  </a:lnTo>
                  <a:lnTo>
                    <a:pt x="223" y="711"/>
                  </a:lnTo>
                  <a:lnTo>
                    <a:pt x="225" y="711"/>
                  </a:lnTo>
                  <a:lnTo>
                    <a:pt x="230" y="711"/>
                  </a:lnTo>
                  <a:lnTo>
                    <a:pt x="230" y="709"/>
                  </a:lnTo>
                  <a:lnTo>
                    <a:pt x="227" y="703"/>
                  </a:lnTo>
                  <a:lnTo>
                    <a:pt x="224" y="701"/>
                  </a:lnTo>
                  <a:lnTo>
                    <a:pt x="218" y="705"/>
                  </a:lnTo>
                  <a:lnTo>
                    <a:pt x="209" y="709"/>
                  </a:lnTo>
                  <a:lnTo>
                    <a:pt x="193" y="709"/>
                  </a:lnTo>
                  <a:lnTo>
                    <a:pt x="179" y="709"/>
                  </a:lnTo>
                  <a:lnTo>
                    <a:pt x="173" y="707"/>
                  </a:lnTo>
                  <a:lnTo>
                    <a:pt x="170" y="707"/>
                  </a:lnTo>
                  <a:lnTo>
                    <a:pt x="170" y="710"/>
                  </a:lnTo>
                  <a:lnTo>
                    <a:pt x="173" y="716"/>
                  </a:lnTo>
                  <a:lnTo>
                    <a:pt x="172" y="722"/>
                  </a:lnTo>
                  <a:lnTo>
                    <a:pt x="162" y="725"/>
                  </a:lnTo>
                  <a:lnTo>
                    <a:pt x="162" y="724"/>
                  </a:lnTo>
                  <a:lnTo>
                    <a:pt x="158" y="723"/>
                  </a:lnTo>
                  <a:lnTo>
                    <a:pt x="152" y="724"/>
                  </a:lnTo>
                  <a:lnTo>
                    <a:pt x="148" y="723"/>
                  </a:lnTo>
                  <a:lnTo>
                    <a:pt x="144" y="718"/>
                  </a:lnTo>
                  <a:lnTo>
                    <a:pt x="132" y="727"/>
                  </a:lnTo>
                  <a:lnTo>
                    <a:pt x="124" y="735"/>
                  </a:lnTo>
                  <a:lnTo>
                    <a:pt x="111" y="745"/>
                  </a:lnTo>
                  <a:lnTo>
                    <a:pt x="99" y="749"/>
                  </a:lnTo>
                  <a:lnTo>
                    <a:pt x="94" y="749"/>
                  </a:lnTo>
                  <a:lnTo>
                    <a:pt x="101" y="748"/>
                  </a:lnTo>
                  <a:lnTo>
                    <a:pt x="108" y="745"/>
                  </a:lnTo>
                  <a:lnTo>
                    <a:pt x="115" y="740"/>
                  </a:lnTo>
                  <a:lnTo>
                    <a:pt x="129" y="727"/>
                  </a:lnTo>
                  <a:lnTo>
                    <a:pt x="105" y="739"/>
                  </a:lnTo>
                  <a:lnTo>
                    <a:pt x="89" y="746"/>
                  </a:lnTo>
                  <a:lnTo>
                    <a:pt x="114" y="731"/>
                  </a:lnTo>
                  <a:lnTo>
                    <a:pt x="132" y="721"/>
                  </a:lnTo>
                  <a:lnTo>
                    <a:pt x="132" y="719"/>
                  </a:lnTo>
                  <a:lnTo>
                    <a:pt x="129" y="716"/>
                  </a:lnTo>
                  <a:lnTo>
                    <a:pt x="123" y="711"/>
                  </a:lnTo>
                  <a:lnTo>
                    <a:pt x="120" y="712"/>
                  </a:lnTo>
                  <a:lnTo>
                    <a:pt x="115" y="717"/>
                  </a:lnTo>
                  <a:lnTo>
                    <a:pt x="106" y="725"/>
                  </a:lnTo>
                  <a:lnTo>
                    <a:pt x="102" y="727"/>
                  </a:lnTo>
                  <a:lnTo>
                    <a:pt x="113" y="718"/>
                  </a:lnTo>
                  <a:lnTo>
                    <a:pt x="119" y="710"/>
                  </a:lnTo>
                  <a:lnTo>
                    <a:pt x="123" y="710"/>
                  </a:lnTo>
                  <a:lnTo>
                    <a:pt x="129" y="713"/>
                  </a:lnTo>
                  <a:lnTo>
                    <a:pt x="136" y="718"/>
                  </a:lnTo>
                  <a:lnTo>
                    <a:pt x="138" y="718"/>
                  </a:lnTo>
                  <a:lnTo>
                    <a:pt x="141" y="716"/>
                  </a:lnTo>
                  <a:lnTo>
                    <a:pt x="143" y="713"/>
                  </a:lnTo>
                  <a:lnTo>
                    <a:pt x="141" y="711"/>
                  </a:lnTo>
                  <a:lnTo>
                    <a:pt x="138" y="707"/>
                  </a:lnTo>
                  <a:lnTo>
                    <a:pt x="136" y="705"/>
                  </a:lnTo>
                  <a:lnTo>
                    <a:pt x="130" y="705"/>
                  </a:lnTo>
                  <a:lnTo>
                    <a:pt x="124" y="704"/>
                  </a:lnTo>
                  <a:lnTo>
                    <a:pt x="117" y="705"/>
                  </a:lnTo>
                  <a:lnTo>
                    <a:pt x="112" y="707"/>
                  </a:lnTo>
                  <a:lnTo>
                    <a:pt x="109" y="711"/>
                  </a:lnTo>
                  <a:lnTo>
                    <a:pt x="108" y="715"/>
                  </a:lnTo>
                  <a:lnTo>
                    <a:pt x="106" y="716"/>
                  </a:lnTo>
                  <a:lnTo>
                    <a:pt x="103" y="717"/>
                  </a:lnTo>
                  <a:lnTo>
                    <a:pt x="101" y="716"/>
                  </a:lnTo>
                  <a:lnTo>
                    <a:pt x="100" y="710"/>
                  </a:lnTo>
                  <a:lnTo>
                    <a:pt x="102" y="706"/>
                  </a:lnTo>
                  <a:lnTo>
                    <a:pt x="101" y="705"/>
                  </a:lnTo>
                  <a:lnTo>
                    <a:pt x="99" y="705"/>
                  </a:lnTo>
                  <a:lnTo>
                    <a:pt x="91" y="709"/>
                  </a:lnTo>
                  <a:lnTo>
                    <a:pt x="90" y="709"/>
                  </a:lnTo>
                  <a:lnTo>
                    <a:pt x="89" y="706"/>
                  </a:lnTo>
                  <a:lnTo>
                    <a:pt x="88" y="701"/>
                  </a:lnTo>
                  <a:lnTo>
                    <a:pt x="89" y="695"/>
                  </a:lnTo>
                  <a:lnTo>
                    <a:pt x="90" y="693"/>
                  </a:lnTo>
                  <a:lnTo>
                    <a:pt x="93" y="691"/>
                  </a:lnTo>
                  <a:lnTo>
                    <a:pt x="93" y="687"/>
                  </a:lnTo>
                  <a:lnTo>
                    <a:pt x="89" y="682"/>
                  </a:lnTo>
                  <a:lnTo>
                    <a:pt x="88" y="679"/>
                  </a:lnTo>
                  <a:lnTo>
                    <a:pt x="84" y="676"/>
                  </a:lnTo>
                  <a:lnTo>
                    <a:pt x="84" y="671"/>
                  </a:lnTo>
                  <a:lnTo>
                    <a:pt x="91" y="665"/>
                  </a:lnTo>
                  <a:lnTo>
                    <a:pt x="94" y="663"/>
                  </a:lnTo>
                  <a:lnTo>
                    <a:pt x="94" y="662"/>
                  </a:lnTo>
                  <a:lnTo>
                    <a:pt x="89" y="659"/>
                  </a:lnTo>
                  <a:lnTo>
                    <a:pt x="88" y="657"/>
                  </a:lnTo>
                  <a:lnTo>
                    <a:pt x="90" y="654"/>
                  </a:lnTo>
                  <a:lnTo>
                    <a:pt x="96" y="650"/>
                  </a:lnTo>
                  <a:lnTo>
                    <a:pt x="100" y="646"/>
                  </a:lnTo>
                  <a:lnTo>
                    <a:pt x="101" y="639"/>
                  </a:lnTo>
                  <a:lnTo>
                    <a:pt x="102" y="634"/>
                  </a:lnTo>
                  <a:lnTo>
                    <a:pt x="103" y="629"/>
                  </a:lnTo>
                  <a:lnTo>
                    <a:pt x="84" y="629"/>
                  </a:lnTo>
                  <a:lnTo>
                    <a:pt x="77" y="630"/>
                  </a:lnTo>
                  <a:lnTo>
                    <a:pt x="72" y="629"/>
                  </a:lnTo>
                  <a:lnTo>
                    <a:pt x="69" y="626"/>
                  </a:lnTo>
                  <a:lnTo>
                    <a:pt x="65" y="627"/>
                  </a:lnTo>
                  <a:lnTo>
                    <a:pt x="61" y="630"/>
                  </a:lnTo>
                  <a:lnTo>
                    <a:pt x="55" y="629"/>
                  </a:lnTo>
                  <a:lnTo>
                    <a:pt x="47" y="626"/>
                  </a:lnTo>
                  <a:lnTo>
                    <a:pt x="41" y="627"/>
                  </a:lnTo>
                  <a:lnTo>
                    <a:pt x="35" y="628"/>
                  </a:lnTo>
                  <a:lnTo>
                    <a:pt x="30" y="624"/>
                  </a:lnTo>
                  <a:lnTo>
                    <a:pt x="23" y="618"/>
                  </a:lnTo>
                  <a:lnTo>
                    <a:pt x="19" y="611"/>
                  </a:lnTo>
                  <a:lnTo>
                    <a:pt x="14" y="608"/>
                  </a:lnTo>
                  <a:lnTo>
                    <a:pt x="12" y="605"/>
                  </a:lnTo>
                  <a:lnTo>
                    <a:pt x="13" y="603"/>
                  </a:lnTo>
                  <a:lnTo>
                    <a:pt x="16" y="596"/>
                  </a:lnTo>
                  <a:lnTo>
                    <a:pt x="14" y="597"/>
                  </a:lnTo>
                  <a:lnTo>
                    <a:pt x="10" y="591"/>
                  </a:lnTo>
                  <a:lnTo>
                    <a:pt x="4" y="578"/>
                  </a:lnTo>
                  <a:lnTo>
                    <a:pt x="0" y="570"/>
                  </a:lnTo>
                  <a:lnTo>
                    <a:pt x="0" y="569"/>
                  </a:lnTo>
                  <a:lnTo>
                    <a:pt x="2" y="569"/>
                  </a:lnTo>
                  <a:lnTo>
                    <a:pt x="10" y="566"/>
                  </a:lnTo>
                  <a:lnTo>
                    <a:pt x="12" y="564"/>
                  </a:lnTo>
                  <a:lnTo>
                    <a:pt x="14" y="567"/>
                  </a:lnTo>
                  <a:lnTo>
                    <a:pt x="18" y="573"/>
                  </a:lnTo>
                  <a:lnTo>
                    <a:pt x="23" y="575"/>
                  </a:lnTo>
                  <a:lnTo>
                    <a:pt x="28" y="576"/>
                  </a:lnTo>
                  <a:lnTo>
                    <a:pt x="29" y="580"/>
                  </a:lnTo>
                  <a:lnTo>
                    <a:pt x="31" y="588"/>
                  </a:lnTo>
                  <a:lnTo>
                    <a:pt x="32" y="591"/>
                  </a:lnTo>
                  <a:lnTo>
                    <a:pt x="34" y="590"/>
                  </a:lnTo>
                  <a:lnTo>
                    <a:pt x="36" y="586"/>
                  </a:lnTo>
                  <a:lnTo>
                    <a:pt x="38" y="582"/>
                  </a:lnTo>
                  <a:lnTo>
                    <a:pt x="42" y="581"/>
                  </a:lnTo>
                  <a:lnTo>
                    <a:pt x="46" y="582"/>
                  </a:lnTo>
                  <a:lnTo>
                    <a:pt x="50" y="581"/>
                  </a:lnTo>
                  <a:lnTo>
                    <a:pt x="56" y="580"/>
                  </a:lnTo>
                  <a:lnTo>
                    <a:pt x="52" y="575"/>
                  </a:lnTo>
                  <a:lnTo>
                    <a:pt x="49" y="572"/>
                  </a:lnTo>
                  <a:lnTo>
                    <a:pt x="49" y="568"/>
                  </a:lnTo>
                  <a:lnTo>
                    <a:pt x="52" y="566"/>
                  </a:lnTo>
                  <a:lnTo>
                    <a:pt x="55" y="566"/>
                  </a:lnTo>
                  <a:lnTo>
                    <a:pt x="61" y="566"/>
                  </a:lnTo>
                  <a:lnTo>
                    <a:pt x="63" y="566"/>
                  </a:lnTo>
                  <a:lnTo>
                    <a:pt x="64" y="568"/>
                  </a:lnTo>
                  <a:lnTo>
                    <a:pt x="64" y="574"/>
                  </a:lnTo>
                  <a:lnTo>
                    <a:pt x="72" y="578"/>
                  </a:lnTo>
                  <a:lnTo>
                    <a:pt x="70" y="579"/>
                  </a:lnTo>
                  <a:lnTo>
                    <a:pt x="75" y="580"/>
                  </a:lnTo>
                  <a:lnTo>
                    <a:pt x="84" y="582"/>
                  </a:lnTo>
                  <a:lnTo>
                    <a:pt x="85" y="584"/>
                  </a:lnTo>
                  <a:lnTo>
                    <a:pt x="88" y="582"/>
                  </a:lnTo>
                  <a:lnTo>
                    <a:pt x="89" y="578"/>
                  </a:lnTo>
                  <a:lnTo>
                    <a:pt x="94" y="579"/>
                  </a:lnTo>
                  <a:lnTo>
                    <a:pt x="106" y="587"/>
                  </a:lnTo>
                  <a:lnTo>
                    <a:pt x="108" y="587"/>
                  </a:lnTo>
                  <a:lnTo>
                    <a:pt x="112" y="586"/>
                  </a:lnTo>
                  <a:lnTo>
                    <a:pt x="113" y="581"/>
                  </a:lnTo>
                  <a:lnTo>
                    <a:pt x="115" y="579"/>
                  </a:lnTo>
                  <a:lnTo>
                    <a:pt x="117" y="581"/>
                  </a:lnTo>
                  <a:lnTo>
                    <a:pt x="121" y="581"/>
                  </a:lnTo>
                  <a:lnTo>
                    <a:pt x="129" y="579"/>
                  </a:lnTo>
                  <a:lnTo>
                    <a:pt x="136" y="578"/>
                  </a:lnTo>
                  <a:lnTo>
                    <a:pt x="137" y="578"/>
                  </a:lnTo>
                  <a:lnTo>
                    <a:pt x="134" y="575"/>
                  </a:lnTo>
                  <a:lnTo>
                    <a:pt x="125" y="568"/>
                  </a:lnTo>
                  <a:lnTo>
                    <a:pt x="124" y="564"/>
                  </a:lnTo>
                  <a:lnTo>
                    <a:pt x="121" y="562"/>
                  </a:lnTo>
                  <a:lnTo>
                    <a:pt x="118" y="562"/>
                  </a:lnTo>
                  <a:lnTo>
                    <a:pt x="117" y="560"/>
                  </a:lnTo>
                  <a:lnTo>
                    <a:pt x="114" y="557"/>
                  </a:lnTo>
                  <a:lnTo>
                    <a:pt x="112" y="554"/>
                  </a:lnTo>
                  <a:lnTo>
                    <a:pt x="113" y="550"/>
                  </a:lnTo>
                  <a:lnTo>
                    <a:pt x="118" y="546"/>
                  </a:lnTo>
                  <a:lnTo>
                    <a:pt x="120" y="543"/>
                  </a:lnTo>
                  <a:lnTo>
                    <a:pt x="120" y="541"/>
                  </a:lnTo>
                  <a:lnTo>
                    <a:pt x="123" y="540"/>
                  </a:lnTo>
                  <a:lnTo>
                    <a:pt x="128" y="539"/>
                  </a:lnTo>
                  <a:lnTo>
                    <a:pt x="134" y="535"/>
                  </a:lnTo>
                  <a:lnTo>
                    <a:pt x="140" y="529"/>
                  </a:lnTo>
                  <a:lnTo>
                    <a:pt x="144" y="526"/>
                  </a:lnTo>
                  <a:lnTo>
                    <a:pt x="147" y="521"/>
                  </a:lnTo>
                  <a:lnTo>
                    <a:pt x="149" y="520"/>
                  </a:lnTo>
                  <a:lnTo>
                    <a:pt x="160" y="525"/>
                  </a:lnTo>
                  <a:lnTo>
                    <a:pt x="168" y="522"/>
                  </a:lnTo>
                  <a:lnTo>
                    <a:pt x="173" y="521"/>
                  </a:lnTo>
                  <a:lnTo>
                    <a:pt x="177" y="519"/>
                  </a:lnTo>
                  <a:lnTo>
                    <a:pt x="182" y="514"/>
                  </a:lnTo>
                  <a:lnTo>
                    <a:pt x="187" y="509"/>
                  </a:lnTo>
                  <a:lnTo>
                    <a:pt x="188" y="507"/>
                  </a:lnTo>
                  <a:lnTo>
                    <a:pt x="189" y="507"/>
                  </a:lnTo>
                  <a:lnTo>
                    <a:pt x="190" y="509"/>
                  </a:lnTo>
                  <a:lnTo>
                    <a:pt x="194" y="516"/>
                  </a:lnTo>
                  <a:lnTo>
                    <a:pt x="199" y="516"/>
                  </a:lnTo>
                  <a:lnTo>
                    <a:pt x="201" y="516"/>
                  </a:lnTo>
                  <a:lnTo>
                    <a:pt x="203" y="513"/>
                  </a:lnTo>
                  <a:lnTo>
                    <a:pt x="208" y="507"/>
                  </a:lnTo>
                  <a:lnTo>
                    <a:pt x="208" y="499"/>
                  </a:lnTo>
                  <a:lnTo>
                    <a:pt x="206" y="498"/>
                  </a:lnTo>
                  <a:lnTo>
                    <a:pt x="202" y="498"/>
                  </a:lnTo>
                  <a:lnTo>
                    <a:pt x="199" y="503"/>
                  </a:lnTo>
                  <a:lnTo>
                    <a:pt x="197" y="503"/>
                  </a:lnTo>
                  <a:lnTo>
                    <a:pt x="195" y="501"/>
                  </a:lnTo>
                  <a:lnTo>
                    <a:pt x="193" y="495"/>
                  </a:lnTo>
                  <a:lnTo>
                    <a:pt x="190" y="493"/>
                  </a:lnTo>
                  <a:lnTo>
                    <a:pt x="185" y="496"/>
                  </a:lnTo>
                  <a:lnTo>
                    <a:pt x="184" y="498"/>
                  </a:lnTo>
                  <a:lnTo>
                    <a:pt x="183" y="502"/>
                  </a:lnTo>
                  <a:lnTo>
                    <a:pt x="182" y="503"/>
                  </a:lnTo>
                  <a:lnTo>
                    <a:pt x="178" y="501"/>
                  </a:lnTo>
                  <a:lnTo>
                    <a:pt x="165" y="496"/>
                  </a:lnTo>
                  <a:lnTo>
                    <a:pt x="160" y="493"/>
                  </a:lnTo>
                  <a:lnTo>
                    <a:pt x="158" y="493"/>
                  </a:lnTo>
                  <a:lnTo>
                    <a:pt x="158" y="496"/>
                  </a:lnTo>
                  <a:lnTo>
                    <a:pt x="160" y="499"/>
                  </a:lnTo>
                  <a:lnTo>
                    <a:pt x="165" y="504"/>
                  </a:lnTo>
                  <a:lnTo>
                    <a:pt x="162" y="505"/>
                  </a:lnTo>
                  <a:lnTo>
                    <a:pt x="153" y="503"/>
                  </a:lnTo>
                  <a:lnTo>
                    <a:pt x="148" y="503"/>
                  </a:lnTo>
                  <a:lnTo>
                    <a:pt x="144" y="509"/>
                  </a:lnTo>
                  <a:lnTo>
                    <a:pt x="142" y="511"/>
                  </a:lnTo>
                  <a:lnTo>
                    <a:pt x="138" y="509"/>
                  </a:lnTo>
                  <a:lnTo>
                    <a:pt x="135" y="508"/>
                  </a:lnTo>
                  <a:lnTo>
                    <a:pt x="132" y="503"/>
                  </a:lnTo>
                  <a:lnTo>
                    <a:pt x="135" y="497"/>
                  </a:lnTo>
                  <a:lnTo>
                    <a:pt x="132" y="497"/>
                  </a:lnTo>
                  <a:lnTo>
                    <a:pt x="120" y="497"/>
                  </a:lnTo>
                  <a:lnTo>
                    <a:pt x="120" y="498"/>
                  </a:lnTo>
                  <a:lnTo>
                    <a:pt x="119" y="501"/>
                  </a:lnTo>
                  <a:lnTo>
                    <a:pt x="114" y="503"/>
                  </a:lnTo>
                  <a:lnTo>
                    <a:pt x="111" y="503"/>
                  </a:lnTo>
                  <a:lnTo>
                    <a:pt x="108" y="499"/>
                  </a:lnTo>
                  <a:lnTo>
                    <a:pt x="106" y="499"/>
                  </a:lnTo>
                  <a:lnTo>
                    <a:pt x="99" y="504"/>
                  </a:lnTo>
                  <a:lnTo>
                    <a:pt x="95" y="507"/>
                  </a:lnTo>
                  <a:lnTo>
                    <a:pt x="93" y="507"/>
                  </a:lnTo>
                  <a:lnTo>
                    <a:pt x="89" y="504"/>
                  </a:lnTo>
                  <a:lnTo>
                    <a:pt x="83" y="499"/>
                  </a:lnTo>
                  <a:lnTo>
                    <a:pt x="81" y="497"/>
                  </a:lnTo>
                  <a:lnTo>
                    <a:pt x="81" y="495"/>
                  </a:lnTo>
                  <a:lnTo>
                    <a:pt x="83" y="492"/>
                  </a:lnTo>
                  <a:lnTo>
                    <a:pt x="81" y="490"/>
                  </a:lnTo>
                  <a:lnTo>
                    <a:pt x="76" y="487"/>
                  </a:lnTo>
                  <a:lnTo>
                    <a:pt x="72" y="484"/>
                  </a:lnTo>
                  <a:lnTo>
                    <a:pt x="70" y="477"/>
                  </a:lnTo>
                  <a:lnTo>
                    <a:pt x="72" y="474"/>
                  </a:lnTo>
                  <a:lnTo>
                    <a:pt x="76" y="474"/>
                  </a:lnTo>
                  <a:lnTo>
                    <a:pt x="83" y="475"/>
                  </a:lnTo>
                  <a:lnTo>
                    <a:pt x="88" y="479"/>
                  </a:lnTo>
                  <a:lnTo>
                    <a:pt x="93" y="484"/>
                  </a:lnTo>
                  <a:lnTo>
                    <a:pt x="94" y="481"/>
                  </a:lnTo>
                  <a:lnTo>
                    <a:pt x="93" y="478"/>
                  </a:lnTo>
                  <a:lnTo>
                    <a:pt x="93" y="477"/>
                  </a:lnTo>
                  <a:lnTo>
                    <a:pt x="94" y="474"/>
                  </a:lnTo>
                  <a:lnTo>
                    <a:pt x="97" y="469"/>
                  </a:lnTo>
                  <a:lnTo>
                    <a:pt x="101" y="465"/>
                  </a:lnTo>
                  <a:lnTo>
                    <a:pt x="107" y="460"/>
                  </a:lnTo>
                  <a:lnTo>
                    <a:pt x="112" y="456"/>
                  </a:lnTo>
                  <a:lnTo>
                    <a:pt x="113" y="453"/>
                  </a:lnTo>
                  <a:lnTo>
                    <a:pt x="114" y="450"/>
                  </a:lnTo>
                  <a:lnTo>
                    <a:pt x="113" y="449"/>
                  </a:lnTo>
                  <a:lnTo>
                    <a:pt x="103" y="444"/>
                  </a:lnTo>
                  <a:lnTo>
                    <a:pt x="100" y="440"/>
                  </a:lnTo>
                  <a:lnTo>
                    <a:pt x="99" y="433"/>
                  </a:lnTo>
                  <a:lnTo>
                    <a:pt x="99" y="419"/>
                  </a:lnTo>
                  <a:lnTo>
                    <a:pt x="99" y="414"/>
                  </a:lnTo>
                  <a:lnTo>
                    <a:pt x="100" y="410"/>
                  </a:lnTo>
                  <a:lnTo>
                    <a:pt x="95" y="407"/>
                  </a:lnTo>
                  <a:lnTo>
                    <a:pt x="91" y="406"/>
                  </a:lnTo>
                  <a:lnTo>
                    <a:pt x="89" y="401"/>
                  </a:lnTo>
                  <a:lnTo>
                    <a:pt x="87" y="394"/>
                  </a:lnTo>
                  <a:lnTo>
                    <a:pt x="89" y="386"/>
                  </a:lnTo>
                  <a:lnTo>
                    <a:pt x="95" y="382"/>
                  </a:lnTo>
                  <a:lnTo>
                    <a:pt x="97" y="377"/>
                  </a:lnTo>
                  <a:lnTo>
                    <a:pt x="95" y="372"/>
                  </a:lnTo>
                  <a:lnTo>
                    <a:pt x="95" y="366"/>
                  </a:lnTo>
                  <a:lnTo>
                    <a:pt x="99" y="361"/>
                  </a:lnTo>
                  <a:lnTo>
                    <a:pt x="102" y="356"/>
                  </a:lnTo>
                  <a:lnTo>
                    <a:pt x="102" y="350"/>
                  </a:lnTo>
                  <a:lnTo>
                    <a:pt x="102" y="349"/>
                  </a:lnTo>
                  <a:lnTo>
                    <a:pt x="105" y="348"/>
                  </a:lnTo>
                  <a:lnTo>
                    <a:pt x="109" y="349"/>
                  </a:lnTo>
                  <a:lnTo>
                    <a:pt x="114" y="352"/>
                  </a:lnTo>
                  <a:lnTo>
                    <a:pt x="121" y="350"/>
                  </a:lnTo>
                  <a:lnTo>
                    <a:pt x="124" y="349"/>
                  </a:lnTo>
                  <a:lnTo>
                    <a:pt x="126" y="350"/>
                  </a:lnTo>
                  <a:lnTo>
                    <a:pt x="130" y="355"/>
                  </a:lnTo>
                  <a:lnTo>
                    <a:pt x="134" y="356"/>
                  </a:lnTo>
                  <a:lnTo>
                    <a:pt x="138" y="354"/>
                  </a:lnTo>
                  <a:lnTo>
                    <a:pt x="140" y="354"/>
                  </a:lnTo>
                  <a:lnTo>
                    <a:pt x="141" y="356"/>
                  </a:lnTo>
                  <a:lnTo>
                    <a:pt x="142" y="364"/>
                  </a:lnTo>
                  <a:lnTo>
                    <a:pt x="143" y="367"/>
                  </a:lnTo>
                  <a:lnTo>
                    <a:pt x="146" y="368"/>
                  </a:lnTo>
                  <a:lnTo>
                    <a:pt x="152" y="370"/>
                  </a:lnTo>
                  <a:lnTo>
                    <a:pt x="153" y="367"/>
                  </a:lnTo>
                  <a:lnTo>
                    <a:pt x="155" y="361"/>
                  </a:lnTo>
                  <a:lnTo>
                    <a:pt x="154" y="359"/>
                  </a:lnTo>
                  <a:lnTo>
                    <a:pt x="150" y="355"/>
                  </a:lnTo>
                  <a:lnTo>
                    <a:pt x="140" y="352"/>
                  </a:lnTo>
                  <a:lnTo>
                    <a:pt x="137" y="349"/>
                  </a:lnTo>
                  <a:lnTo>
                    <a:pt x="136" y="346"/>
                  </a:lnTo>
                  <a:lnTo>
                    <a:pt x="138" y="338"/>
                  </a:lnTo>
                  <a:lnTo>
                    <a:pt x="141" y="333"/>
                  </a:lnTo>
                  <a:lnTo>
                    <a:pt x="140" y="329"/>
                  </a:lnTo>
                  <a:lnTo>
                    <a:pt x="143" y="329"/>
                  </a:lnTo>
                  <a:lnTo>
                    <a:pt x="149" y="330"/>
                  </a:lnTo>
                  <a:lnTo>
                    <a:pt x="155" y="331"/>
                  </a:lnTo>
                  <a:lnTo>
                    <a:pt x="162" y="337"/>
                  </a:lnTo>
                  <a:lnTo>
                    <a:pt x="166" y="340"/>
                  </a:lnTo>
                  <a:lnTo>
                    <a:pt x="171" y="338"/>
                  </a:lnTo>
                  <a:lnTo>
                    <a:pt x="171" y="337"/>
                  </a:lnTo>
                  <a:lnTo>
                    <a:pt x="168" y="335"/>
                  </a:lnTo>
                  <a:lnTo>
                    <a:pt x="165" y="330"/>
                  </a:lnTo>
                  <a:lnTo>
                    <a:pt x="160" y="326"/>
                  </a:lnTo>
                  <a:lnTo>
                    <a:pt x="154" y="323"/>
                  </a:lnTo>
                  <a:lnTo>
                    <a:pt x="153" y="318"/>
                  </a:lnTo>
                  <a:lnTo>
                    <a:pt x="158" y="307"/>
                  </a:lnTo>
                  <a:lnTo>
                    <a:pt x="166" y="306"/>
                  </a:lnTo>
                  <a:lnTo>
                    <a:pt x="170" y="305"/>
                  </a:lnTo>
                  <a:lnTo>
                    <a:pt x="173" y="306"/>
                  </a:lnTo>
                  <a:lnTo>
                    <a:pt x="178" y="307"/>
                  </a:lnTo>
                  <a:lnTo>
                    <a:pt x="180" y="308"/>
                  </a:lnTo>
                  <a:lnTo>
                    <a:pt x="180" y="312"/>
                  </a:lnTo>
                  <a:lnTo>
                    <a:pt x="180" y="320"/>
                  </a:lnTo>
                  <a:lnTo>
                    <a:pt x="182" y="321"/>
                  </a:lnTo>
                  <a:lnTo>
                    <a:pt x="184" y="320"/>
                  </a:lnTo>
                  <a:lnTo>
                    <a:pt x="189" y="317"/>
                  </a:lnTo>
                  <a:lnTo>
                    <a:pt x="193" y="314"/>
                  </a:lnTo>
                  <a:lnTo>
                    <a:pt x="194" y="311"/>
                  </a:lnTo>
                  <a:lnTo>
                    <a:pt x="193" y="308"/>
                  </a:lnTo>
                  <a:lnTo>
                    <a:pt x="190" y="307"/>
                  </a:lnTo>
                  <a:lnTo>
                    <a:pt x="189" y="306"/>
                  </a:lnTo>
                  <a:lnTo>
                    <a:pt x="188" y="302"/>
                  </a:lnTo>
                  <a:lnTo>
                    <a:pt x="188" y="294"/>
                  </a:lnTo>
                  <a:lnTo>
                    <a:pt x="187" y="291"/>
                  </a:lnTo>
                  <a:lnTo>
                    <a:pt x="184" y="290"/>
                  </a:lnTo>
                  <a:lnTo>
                    <a:pt x="174" y="290"/>
                  </a:lnTo>
                  <a:lnTo>
                    <a:pt x="167" y="287"/>
                  </a:lnTo>
                  <a:lnTo>
                    <a:pt x="165" y="283"/>
                  </a:lnTo>
                  <a:lnTo>
                    <a:pt x="167" y="276"/>
                  </a:lnTo>
                  <a:lnTo>
                    <a:pt x="173" y="270"/>
                  </a:lnTo>
                  <a:lnTo>
                    <a:pt x="178" y="267"/>
                  </a:lnTo>
                  <a:lnTo>
                    <a:pt x="180" y="265"/>
                  </a:lnTo>
                  <a:lnTo>
                    <a:pt x="184" y="266"/>
                  </a:lnTo>
                  <a:lnTo>
                    <a:pt x="194" y="270"/>
                  </a:lnTo>
                  <a:lnTo>
                    <a:pt x="201" y="270"/>
                  </a:lnTo>
                  <a:lnTo>
                    <a:pt x="208" y="270"/>
                  </a:lnTo>
                  <a:lnTo>
                    <a:pt x="214" y="269"/>
                  </a:lnTo>
                  <a:lnTo>
                    <a:pt x="220" y="269"/>
                  </a:lnTo>
                  <a:lnTo>
                    <a:pt x="224" y="270"/>
                  </a:lnTo>
                  <a:lnTo>
                    <a:pt x="227" y="270"/>
                  </a:lnTo>
                  <a:lnTo>
                    <a:pt x="230" y="267"/>
                  </a:lnTo>
                  <a:lnTo>
                    <a:pt x="231" y="263"/>
                  </a:lnTo>
                  <a:lnTo>
                    <a:pt x="233" y="259"/>
                  </a:lnTo>
                  <a:lnTo>
                    <a:pt x="237" y="257"/>
                  </a:lnTo>
                  <a:lnTo>
                    <a:pt x="242" y="252"/>
                  </a:lnTo>
                  <a:lnTo>
                    <a:pt x="242" y="249"/>
                  </a:lnTo>
                  <a:lnTo>
                    <a:pt x="233" y="248"/>
                  </a:lnTo>
                  <a:lnTo>
                    <a:pt x="229" y="252"/>
                  </a:lnTo>
                  <a:lnTo>
                    <a:pt x="226" y="246"/>
                  </a:lnTo>
                  <a:lnTo>
                    <a:pt x="223" y="245"/>
                  </a:lnTo>
                  <a:lnTo>
                    <a:pt x="219" y="243"/>
                  </a:lnTo>
                  <a:lnTo>
                    <a:pt x="220" y="242"/>
                  </a:lnTo>
                  <a:lnTo>
                    <a:pt x="218" y="239"/>
                  </a:lnTo>
                  <a:lnTo>
                    <a:pt x="208" y="234"/>
                  </a:lnTo>
                  <a:lnTo>
                    <a:pt x="206" y="231"/>
                  </a:lnTo>
                  <a:lnTo>
                    <a:pt x="206" y="230"/>
                  </a:lnTo>
                  <a:lnTo>
                    <a:pt x="212" y="229"/>
                  </a:lnTo>
                  <a:lnTo>
                    <a:pt x="218" y="230"/>
                  </a:lnTo>
                  <a:lnTo>
                    <a:pt x="219" y="233"/>
                  </a:lnTo>
                  <a:lnTo>
                    <a:pt x="223" y="233"/>
                  </a:lnTo>
                  <a:lnTo>
                    <a:pt x="227" y="231"/>
                  </a:lnTo>
                  <a:lnTo>
                    <a:pt x="227" y="230"/>
                  </a:lnTo>
                  <a:lnTo>
                    <a:pt x="229" y="229"/>
                  </a:lnTo>
                  <a:lnTo>
                    <a:pt x="231" y="226"/>
                  </a:lnTo>
                  <a:lnTo>
                    <a:pt x="233" y="219"/>
                  </a:lnTo>
                  <a:lnTo>
                    <a:pt x="233" y="220"/>
                  </a:lnTo>
                  <a:lnTo>
                    <a:pt x="236" y="222"/>
                  </a:lnTo>
                  <a:lnTo>
                    <a:pt x="238" y="222"/>
                  </a:lnTo>
                  <a:lnTo>
                    <a:pt x="239" y="224"/>
                  </a:lnTo>
                  <a:lnTo>
                    <a:pt x="242" y="230"/>
                  </a:lnTo>
                  <a:lnTo>
                    <a:pt x="246" y="234"/>
                  </a:lnTo>
                  <a:lnTo>
                    <a:pt x="250" y="230"/>
                  </a:lnTo>
                  <a:lnTo>
                    <a:pt x="254" y="225"/>
                  </a:lnTo>
                  <a:lnTo>
                    <a:pt x="258" y="220"/>
                  </a:lnTo>
                  <a:lnTo>
                    <a:pt x="262" y="217"/>
                  </a:lnTo>
                  <a:lnTo>
                    <a:pt x="262" y="214"/>
                  </a:lnTo>
                  <a:lnTo>
                    <a:pt x="255" y="210"/>
                  </a:lnTo>
                  <a:lnTo>
                    <a:pt x="252" y="208"/>
                  </a:lnTo>
                  <a:lnTo>
                    <a:pt x="244" y="208"/>
                  </a:lnTo>
                  <a:lnTo>
                    <a:pt x="236" y="211"/>
                  </a:lnTo>
                  <a:lnTo>
                    <a:pt x="231" y="210"/>
                  </a:lnTo>
                  <a:lnTo>
                    <a:pt x="225" y="208"/>
                  </a:lnTo>
                  <a:lnTo>
                    <a:pt x="221" y="208"/>
                  </a:lnTo>
                  <a:lnTo>
                    <a:pt x="217" y="207"/>
                  </a:lnTo>
                  <a:lnTo>
                    <a:pt x="206" y="205"/>
                  </a:lnTo>
                  <a:lnTo>
                    <a:pt x="200" y="202"/>
                  </a:lnTo>
                  <a:lnTo>
                    <a:pt x="199" y="200"/>
                  </a:lnTo>
                  <a:lnTo>
                    <a:pt x="190" y="200"/>
                  </a:lnTo>
                  <a:lnTo>
                    <a:pt x="179" y="206"/>
                  </a:lnTo>
                  <a:lnTo>
                    <a:pt x="171" y="210"/>
                  </a:lnTo>
                  <a:lnTo>
                    <a:pt x="160" y="212"/>
                  </a:lnTo>
                  <a:lnTo>
                    <a:pt x="153" y="214"/>
                  </a:lnTo>
                  <a:lnTo>
                    <a:pt x="136" y="216"/>
                  </a:lnTo>
                  <a:lnTo>
                    <a:pt x="129" y="220"/>
                  </a:lnTo>
                  <a:lnTo>
                    <a:pt x="123" y="220"/>
                  </a:lnTo>
                  <a:lnTo>
                    <a:pt x="119" y="219"/>
                  </a:lnTo>
                  <a:lnTo>
                    <a:pt x="108" y="216"/>
                  </a:lnTo>
                  <a:lnTo>
                    <a:pt x="102" y="213"/>
                  </a:lnTo>
                  <a:lnTo>
                    <a:pt x="100" y="208"/>
                  </a:lnTo>
                  <a:lnTo>
                    <a:pt x="101" y="202"/>
                  </a:lnTo>
                  <a:lnTo>
                    <a:pt x="106" y="200"/>
                  </a:lnTo>
                  <a:lnTo>
                    <a:pt x="109" y="198"/>
                  </a:lnTo>
                  <a:lnTo>
                    <a:pt x="111" y="194"/>
                  </a:lnTo>
                  <a:lnTo>
                    <a:pt x="108" y="188"/>
                  </a:lnTo>
                  <a:lnTo>
                    <a:pt x="113" y="188"/>
                  </a:lnTo>
                  <a:lnTo>
                    <a:pt x="121" y="188"/>
                  </a:lnTo>
                  <a:lnTo>
                    <a:pt x="126" y="187"/>
                  </a:lnTo>
                  <a:lnTo>
                    <a:pt x="131" y="188"/>
                  </a:lnTo>
                  <a:lnTo>
                    <a:pt x="135" y="186"/>
                  </a:lnTo>
                  <a:lnTo>
                    <a:pt x="136" y="181"/>
                  </a:lnTo>
                  <a:lnTo>
                    <a:pt x="138" y="178"/>
                  </a:lnTo>
                  <a:lnTo>
                    <a:pt x="142" y="175"/>
                  </a:lnTo>
                  <a:lnTo>
                    <a:pt x="142" y="172"/>
                  </a:lnTo>
                  <a:lnTo>
                    <a:pt x="144" y="171"/>
                  </a:lnTo>
                  <a:lnTo>
                    <a:pt x="153" y="170"/>
                  </a:lnTo>
                  <a:lnTo>
                    <a:pt x="154" y="169"/>
                  </a:lnTo>
                  <a:lnTo>
                    <a:pt x="155" y="166"/>
                  </a:lnTo>
                  <a:lnTo>
                    <a:pt x="150" y="160"/>
                  </a:lnTo>
                  <a:lnTo>
                    <a:pt x="143" y="158"/>
                  </a:lnTo>
                  <a:lnTo>
                    <a:pt x="143" y="160"/>
                  </a:lnTo>
                  <a:lnTo>
                    <a:pt x="142" y="162"/>
                  </a:lnTo>
                  <a:lnTo>
                    <a:pt x="137" y="160"/>
                  </a:lnTo>
                  <a:lnTo>
                    <a:pt x="128" y="160"/>
                  </a:lnTo>
                  <a:lnTo>
                    <a:pt x="125" y="159"/>
                  </a:lnTo>
                  <a:lnTo>
                    <a:pt x="125" y="156"/>
                  </a:lnTo>
                  <a:lnTo>
                    <a:pt x="128" y="151"/>
                  </a:lnTo>
                  <a:lnTo>
                    <a:pt x="131" y="148"/>
                  </a:lnTo>
                  <a:lnTo>
                    <a:pt x="132" y="144"/>
                  </a:lnTo>
                  <a:lnTo>
                    <a:pt x="132" y="140"/>
                  </a:lnTo>
                  <a:lnTo>
                    <a:pt x="131" y="134"/>
                  </a:lnTo>
                  <a:lnTo>
                    <a:pt x="132" y="130"/>
                  </a:lnTo>
                  <a:lnTo>
                    <a:pt x="134" y="127"/>
                  </a:lnTo>
                  <a:lnTo>
                    <a:pt x="137" y="127"/>
                  </a:lnTo>
                  <a:lnTo>
                    <a:pt x="143" y="129"/>
                  </a:lnTo>
                  <a:lnTo>
                    <a:pt x="152" y="128"/>
                  </a:lnTo>
                  <a:lnTo>
                    <a:pt x="156" y="127"/>
                  </a:lnTo>
                  <a:lnTo>
                    <a:pt x="160" y="124"/>
                  </a:lnTo>
                  <a:lnTo>
                    <a:pt x="162" y="118"/>
                  </a:lnTo>
                  <a:lnTo>
                    <a:pt x="166" y="118"/>
                  </a:lnTo>
                  <a:lnTo>
                    <a:pt x="171" y="121"/>
                  </a:lnTo>
                  <a:lnTo>
                    <a:pt x="176" y="121"/>
                  </a:lnTo>
                  <a:lnTo>
                    <a:pt x="182" y="119"/>
                  </a:lnTo>
                  <a:lnTo>
                    <a:pt x="188" y="116"/>
                  </a:lnTo>
                  <a:lnTo>
                    <a:pt x="189" y="113"/>
                  </a:lnTo>
                  <a:lnTo>
                    <a:pt x="184" y="113"/>
                  </a:lnTo>
                  <a:lnTo>
                    <a:pt x="176" y="116"/>
                  </a:lnTo>
                  <a:lnTo>
                    <a:pt x="173" y="112"/>
                  </a:lnTo>
                  <a:lnTo>
                    <a:pt x="173" y="105"/>
                  </a:lnTo>
                  <a:lnTo>
                    <a:pt x="170" y="105"/>
                  </a:lnTo>
                  <a:lnTo>
                    <a:pt x="168" y="104"/>
                  </a:lnTo>
                  <a:lnTo>
                    <a:pt x="171" y="100"/>
                  </a:lnTo>
                  <a:lnTo>
                    <a:pt x="177" y="93"/>
                  </a:lnTo>
                  <a:lnTo>
                    <a:pt x="178" y="91"/>
                  </a:lnTo>
                  <a:lnTo>
                    <a:pt x="180" y="89"/>
                  </a:lnTo>
                  <a:lnTo>
                    <a:pt x="187" y="91"/>
                  </a:lnTo>
                  <a:lnTo>
                    <a:pt x="195" y="92"/>
                  </a:lnTo>
                  <a:lnTo>
                    <a:pt x="197" y="92"/>
                  </a:lnTo>
                  <a:lnTo>
                    <a:pt x="197" y="94"/>
                  </a:lnTo>
                  <a:lnTo>
                    <a:pt x="199" y="99"/>
                  </a:lnTo>
                  <a:lnTo>
                    <a:pt x="202" y="100"/>
                  </a:lnTo>
                  <a:lnTo>
                    <a:pt x="207" y="99"/>
                  </a:lnTo>
                  <a:lnTo>
                    <a:pt x="208" y="100"/>
                  </a:lnTo>
                  <a:lnTo>
                    <a:pt x="209" y="103"/>
                  </a:lnTo>
                  <a:lnTo>
                    <a:pt x="211" y="100"/>
                  </a:lnTo>
                  <a:lnTo>
                    <a:pt x="213" y="94"/>
                  </a:lnTo>
                  <a:lnTo>
                    <a:pt x="214" y="91"/>
                  </a:lnTo>
                  <a:lnTo>
                    <a:pt x="221" y="83"/>
                  </a:lnTo>
                  <a:lnTo>
                    <a:pt x="227" y="80"/>
                  </a:lnTo>
                  <a:lnTo>
                    <a:pt x="230" y="80"/>
                  </a:lnTo>
                  <a:lnTo>
                    <a:pt x="232" y="80"/>
                  </a:lnTo>
                  <a:lnTo>
                    <a:pt x="236" y="79"/>
                  </a:lnTo>
                  <a:lnTo>
                    <a:pt x="242" y="74"/>
                  </a:lnTo>
                  <a:lnTo>
                    <a:pt x="246" y="73"/>
                  </a:lnTo>
                  <a:lnTo>
                    <a:pt x="254" y="68"/>
                  </a:lnTo>
                  <a:lnTo>
                    <a:pt x="258" y="67"/>
                  </a:lnTo>
                  <a:lnTo>
                    <a:pt x="259" y="65"/>
                  </a:lnTo>
                  <a:lnTo>
                    <a:pt x="255" y="61"/>
                  </a:lnTo>
                  <a:lnTo>
                    <a:pt x="253" y="57"/>
                  </a:lnTo>
                  <a:lnTo>
                    <a:pt x="250" y="56"/>
                  </a:lnTo>
                  <a:lnTo>
                    <a:pt x="252" y="53"/>
                  </a:lnTo>
                  <a:lnTo>
                    <a:pt x="254" y="46"/>
                  </a:lnTo>
                  <a:lnTo>
                    <a:pt x="256" y="43"/>
                  </a:lnTo>
                  <a:lnTo>
                    <a:pt x="259" y="41"/>
                  </a:lnTo>
                  <a:lnTo>
                    <a:pt x="259" y="39"/>
                  </a:lnTo>
                  <a:lnTo>
                    <a:pt x="254" y="37"/>
                  </a:lnTo>
                  <a:lnTo>
                    <a:pt x="254" y="33"/>
                  </a:lnTo>
                  <a:lnTo>
                    <a:pt x="259" y="28"/>
                  </a:lnTo>
                  <a:lnTo>
                    <a:pt x="261" y="27"/>
                  </a:lnTo>
                  <a:lnTo>
                    <a:pt x="266" y="28"/>
                  </a:lnTo>
                  <a:lnTo>
                    <a:pt x="272" y="26"/>
                  </a:lnTo>
                  <a:lnTo>
                    <a:pt x="274" y="23"/>
                  </a:lnTo>
                  <a:lnTo>
                    <a:pt x="271" y="20"/>
                  </a:lnTo>
                  <a:lnTo>
                    <a:pt x="271" y="19"/>
                  </a:lnTo>
                  <a:lnTo>
                    <a:pt x="273" y="17"/>
                  </a:lnTo>
                  <a:lnTo>
                    <a:pt x="280" y="17"/>
                  </a:lnTo>
                  <a:lnTo>
                    <a:pt x="288" y="19"/>
                  </a:lnTo>
                  <a:lnTo>
                    <a:pt x="292" y="17"/>
                  </a:lnTo>
                  <a:lnTo>
                    <a:pt x="296" y="19"/>
                  </a:lnTo>
                  <a:lnTo>
                    <a:pt x="300" y="19"/>
                  </a:lnTo>
                  <a:lnTo>
                    <a:pt x="302" y="16"/>
                  </a:lnTo>
                  <a:lnTo>
                    <a:pt x="306" y="12"/>
                  </a:lnTo>
                  <a:lnTo>
                    <a:pt x="307" y="9"/>
                  </a:lnTo>
                  <a:lnTo>
                    <a:pt x="309" y="8"/>
                  </a:lnTo>
                  <a:lnTo>
                    <a:pt x="309" y="6"/>
                  </a:lnTo>
                  <a:lnTo>
                    <a:pt x="313" y="6"/>
                  </a:lnTo>
                  <a:lnTo>
                    <a:pt x="319" y="6"/>
                  </a:lnTo>
                  <a:lnTo>
                    <a:pt x="324" y="10"/>
                  </a:lnTo>
                  <a:lnTo>
                    <a:pt x="327" y="15"/>
                  </a:lnTo>
                  <a:lnTo>
                    <a:pt x="331" y="15"/>
                  </a:lnTo>
                  <a:lnTo>
                    <a:pt x="333" y="15"/>
                  </a:lnTo>
                  <a:lnTo>
                    <a:pt x="337" y="11"/>
                  </a:lnTo>
                  <a:lnTo>
                    <a:pt x="342" y="6"/>
                  </a:lnTo>
                  <a:lnTo>
                    <a:pt x="347" y="4"/>
                  </a:lnTo>
                  <a:lnTo>
                    <a:pt x="359" y="0"/>
                  </a:lnTo>
                  <a:lnTo>
                    <a:pt x="360" y="0"/>
                  </a:lnTo>
                  <a:lnTo>
                    <a:pt x="362" y="3"/>
                  </a:lnTo>
                  <a:lnTo>
                    <a:pt x="371" y="8"/>
                  </a:lnTo>
                  <a:lnTo>
                    <a:pt x="374" y="14"/>
                  </a:lnTo>
                  <a:lnTo>
                    <a:pt x="377" y="15"/>
                  </a:lnTo>
                  <a:lnTo>
                    <a:pt x="382" y="11"/>
                  </a:lnTo>
                  <a:lnTo>
                    <a:pt x="384" y="11"/>
                  </a:lnTo>
                  <a:lnTo>
                    <a:pt x="388" y="14"/>
                  </a:lnTo>
                  <a:lnTo>
                    <a:pt x="390" y="19"/>
                  </a:lnTo>
                  <a:lnTo>
                    <a:pt x="392" y="20"/>
                  </a:lnTo>
                  <a:lnTo>
                    <a:pt x="396" y="21"/>
                  </a:lnTo>
                  <a:lnTo>
                    <a:pt x="395" y="23"/>
                  </a:lnTo>
                  <a:lnTo>
                    <a:pt x="396" y="22"/>
                  </a:lnTo>
                  <a:lnTo>
                    <a:pt x="404" y="15"/>
                  </a:lnTo>
                  <a:lnTo>
                    <a:pt x="406" y="10"/>
                  </a:lnTo>
                  <a:lnTo>
                    <a:pt x="408" y="9"/>
                  </a:lnTo>
                  <a:lnTo>
                    <a:pt x="412" y="11"/>
                  </a:lnTo>
                  <a:lnTo>
                    <a:pt x="423" y="21"/>
                  </a:lnTo>
                  <a:lnTo>
                    <a:pt x="425" y="23"/>
                  </a:lnTo>
                  <a:lnTo>
                    <a:pt x="426" y="27"/>
                  </a:lnTo>
                  <a:lnTo>
                    <a:pt x="427" y="33"/>
                  </a:lnTo>
                  <a:lnTo>
                    <a:pt x="429" y="39"/>
                  </a:lnTo>
                  <a:lnTo>
                    <a:pt x="429" y="43"/>
                  </a:lnTo>
                  <a:lnTo>
                    <a:pt x="426" y="47"/>
                  </a:lnTo>
                  <a:lnTo>
                    <a:pt x="423" y="51"/>
                  </a:lnTo>
                  <a:lnTo>
                    <a:pt x="421" y="55"/>
                  </a:lnTo>
                  <a:lnTo>
                    <a:pt x="421" y="57"/>
                  </a:lnTo>
                  <a:lnTo>
                    <a:pt x="423" y="62"/>
                  </a:lnTo>
                  <a:lnTo>
                    <a:pt x="427" y="67"/>
                  </a:lnTo>
                  <a:lnTo>
                    <a:pt x="430" y="65"/>
                  </a:lnTo>
                  <a:lnTo>
                    <a:pt x="432" y="63"/>
                  </a:lnTo>
                  <a:lnTo>
                    <a:pt x="436" y="61"/>
                  </a:lnTo>
                  <a:lnTo>
                    <a:pt x="437" y="64"/>
                  </a:lnTo>
                  <a:lnTo>
                    <a:pt x="437" y="70"/>
                  </a:lnTo>
                  <a:lnTo>
                    <a:pt x="433" y="74"/>
                  </a:lnTo>
                  <a:lnTo>
                    <a:pt x="431" y="76"/>
                  </a:lnTo>
                  <a:lnTo>
                    <a:pt x="430" y="77"/>
                  </a:lnTo>
                  <a:lnTo>
                    <a:pt x="429" y="80"/>
                  </a:lnTo>
                  <a:lnTo>
                    <a:pt x="430" y="81"/>
                  </a:lnTo>
                  <a:lnTo>
                    <a:pt x="436" y="81"/>
                  </a:lnTo>
                  <a:lnTo>
                    <a:pt x="436" y="83"/>
                  </a:lnTo>
                  <a:lnTo>
                    <a:pt x="439" y="85"/>
                  </a:lnTo>
                  <a:lnTo>
                    <a:pt x="445" y="87"/>
                  </a:lnTo>
                  <a:lnTo>
                    <a:pt x="450" y="85"/>
                  </a:lnTo>
                  <a:lnTo>
                    <a:pt x="456" y="82"/>
                  </a:lnTo>
                  <a:lnTo>
                    <a:pt x="459" y="80"/>
                  </a:lnTo>
                  <a:lnTo>
                    <a:pt x="459" y="77"/>
                  </a:lnTo>
                  <a:lnTo>
                    <a:pt x="460" y="76"/>
                  </a:lnTo>
                  <a:lnTo>
                    <a:pt x="456" y="75"/>
                  </a:lnTo>
                  <a:lnTo>
                    <a:pt x="451" y="71"/>
                  </a:lnTo>
                  <a:lnTo>
                    <a:pt x="449" y="67"/>
                  </a:lnTo>
                  <a:lnTo>
                    <a:pt x="450" y="63"/>
                  </a:lnTo>
                  <a:lnTo>
                    <a:pt x="453" y="62"/>
                  </a:lnTo>
                  <a:lnTo>
                    <a:pt x="460" y="64"/>
                  </a:lnTo>
                  <a:lnTo>
                    <a:pt x="465" y="68"/>
                  </a:lnTo>
                  <a:lnTo>
                    <a:pt x="465" y="70"/>
                  </a:lnTo>
                  <a:lnTo>
                    <a:pt x="466" y="74"/>
                  </a:lnTo>
                  <a:lnTo>
                    <a:pt x="468" y="74"/>
                  </a:lnTo>
                  <a:lnTo>
                    <a:pt x="473" y="70"/>
                  </a:lnTo>
                  <a:lnTo>
                    <a:pt x="478" y="68"/>
                  </a:lnTo>
                  <a:lnTo>
                    <a:pt x="485" y="64"/>
                  </a:lnTo>
                  <a:lnTo>
                    <a:pt x="489" y="64"/>
                  </a:lnTo>
                  <a:lnTo>
                    <a:pt x="491" y="67"/>
                  </a:lnTo>
                  <a:lnTo>
                    <a:pt x="494" y="76"/>
                  </a:lnTo>
                  <a:lnTo>
                    <a:pt x="495" y="80"/>
                  </a:lnTo>
                  <a:lnTo>
                    <a:pt x="497" y="80"/>
                  </a:lnTo>
                  <a:lnTo>
                    <a:pt x="500" y="77"/>
                  </a:lnTo>
                  <a:lnTo>
                    <a:pt x="504" y="76"/>
                  </a:lnTo>
                  <a:lnTo>
                    <a:pt x="513" y="76"/>
                  </a:lnTo>
                  <a:lnTo>
                    <a:pt x="513" y="80"/>
                  </a:lnTo>
                  <a:lnTo>
                    <a:pt x="513" y="83"/>
                  </a:lnTo>
                  <a:lnTo>
                    <a:pt x="514" y="85"/>
                  </a:lnTo>
                  <a:lnTo>
                    <a:pt x="516" y="87"/>
                  </a:lnTo>
                  <a:lnTo>
                    <a:pt x="515" y="91"/>
                  </a:lnTo>
                  <a:lnTo>
                    <a:pt x="515" y="93"/>
                  </a:lnTo>
                  <a:lnTo>
                    <a:pt x="514" y="95"/>
                  </a:lnTo>
                  <a:lnTo>
                    <a:pt x="512" y="95"/>
                  </a:lnTo>
                  <a:lnTo>
                    <a:pt x="512" y="99"/>
                  </a:lnTo>
                  <a:lnTo>
                    <a:pt x="510" y="107"/>
                  </a:lnTo>
                  <a:lnTo>
                    <a:pt x="502" y="107"/>
                  </a:lnTo>
                  <a:lnTo>
                    <a:pt x="501" y="106"/>
                  </a:lnTo>
                  <a:lnTo>
                    <a:pt x="498" y="107"/>
                  </a:lnTo>
                  <a:lnTo>
                    <a:pt x="496" y="110"/>
                  </a:lnTo>
                  <a:lnTo>
                    <a:pt x="494" y="112"/>
                  </a:lnTo>
                  <a:lnTo>
                    <a:pt x="495" y="117"/>
                  </a:lnTo>
                  <a:lnTo>
                    <a:pt x="495" y="115"/>
                  </a:lnTo>
                  <a:lnTo>
                    <a:pt x="498" y="113"/>
                  </a:lnTo>
                  <a:lnTo>
                    <a:pt x="506" y="113"/>
                  </a:lnTo>
                  <a:lnTo>
                    <a:pt x="510" y="112"/>
                  </a:lnTo>
                  <a:lnTo>
                    <a:pt x="513" y="115"/>
                  </a:lnTo>
                  <a:lnTo>
                    <a:pt x="514" y="118"/>
                  </a:lnTo>
                  <a:lnTo>
                    <a:pt x="515" y="117"/>
                  </a:lnTo>
                  <a:lnTo>
                    <a:pt x="518" y="111"/>
                  </a:lnTo>
                  <a:lnTo>
                    <a:pt x="519" y="109"/>
                  </a:lnTo>
                  <a:lnTo>
                    <a:pt x="524" y="107"/>
                  </a:lnTo>
                  <a:lnTo>
                    <a:pt x="527" y="106"/>
                  </a:lnTo>
                  <a:lnTo>
                    <a:pt x="532" y="107"/>
                  </a:lnTo>
                  <a:lnTo>
                    <a:pt x="537" y="110"/>
                  </a:lnTo>
                  <a:lnTo>
                    <a:pt x="543" y="113"/>
                  </a:lnTo>
                  <a:lnTo>
                    <a:pt x="553" y="113"/>
                  </a:lnTo>
                  <a:lnTo>
                    <a:pt x="557" y="115"/>
                  </a:lnTo>
                  <a:lnTo>
                    <a:pt x="557" y="117"/>
                  </a:lnTo>
                  <a:lnTo>
                    <a:pt x="556" y="119"/>
                  </a:lnTo>
                  <a:lnTo>
                    <a:pt x="559" y="121"/>
                  </a:lnTo>
                  <a:lnTo>
                    <a:pt x="563" y="121"/>
                  </a:lnTo>
                  <a:lnTo>
                    <a:pt x="565" y="119"/>
                  </a:lnTo>
                  <a:lnTo>
                    <a:pt x="567" y="111"/>
                  </a:lnTo>
                  <a:lnTo>
                    <a:pt x="571" y="107"/>
                  </a:lnTo>
                  <a:lnTo>
                    <a:pt x="574" y="105"/>
                  </a:lnTo>
                  <a:lnTo>
                    <a:pt x="578" y="105"/>
                  </a:lnTo>
                  <a:lnTo>
                    <a:pt x="585" y="105"/>
                  </a:lnTo>
                  <a:lnTo>
                    <a:pt x="589" y="103"/>
                  </a:lnTo>
                  <a:lnTo>
                    <a:pt x="592" y="100"/>
                  </a:lnTo>
                  <a:lnTo>
                    <a:pt x="597" y="101"/>
                  </a:lnTo>
                  <a:lnTo>
                    <a:pt x="603" y="103"/>
                  </a:lnTo>
                  <a:lnTo>
                    <a:pt x="607" y="101"/>
                  </a:lnTo>
                  <a:lnTo>
                    <a:pt x="609" y="105"/>
                  </a:lnTo>
                  <a:lnTo>
                    <a:pt x="613" y="105"/>
                  </a:lnTo>
                  <a:lnTo>
                    <a:pt x="615" y="103"/>
                  </a:lnTo>
                  <a:lnTo>
                    <a:pt x="619" y="103"/>
                  </a:lnTo>
                  <a:lnTo>
                    <a:pt x="622" y="106"/>
                  </a:lnTo>
                  <a:lnTo>
                    <a:pt x="628" y="106"/>
                  </a:lnTo>
                  <a:lnTo>
                    <a:pt x="638" y="100"/>
                  </a:lnTo>
                  <a:lnTo>
                    <a:pt x="643" y="97"/>
                  </a:lnTo>
                  <a:lnTo>
                    <a:pt x="648" y="97"/>
                  </a:lnTo>
                  <a:lnTo>
                    <a:pt x="654" y="95"/>
                  </a:lnTo>
                  <a:lnTo>
                    <a:pt x="655" y="99"/>
                  </a:lnTo>
                  <a:lnTo>
                    <a:pt x="654" y="105"/>
                  </a:lnTo>
                  <a:lnTo>
                    <a:pt x="652" y="106"/>
                  </a:lnTo>
                  <a:lnTo>
                    <a:pt x="655" y="109"/>
                  </a:lnTo>
                  <a:lnTo>
                    <a:pt x="661" y="111"/>
                  </a:lnTo>
                  <a:lnTo>
                    <a:pt x="662" y="112"/>
                  </a:lnTo>
                  <a:lnTo>
                    <a:pt x="661" y="115"/>
                  </a:lnTo>
                  <a:lnTo>
                    <a:pt x="662" y="116"/>
                  </a:lnTo>
                  <a:lnTo>
                    <a:pt x="665" y="117"/>
                  </a:lnTo>
                  <a:lnTo>
                    <a:pt x="667" y="116"/>
                  </a:lnTo>
                  <a:lnTo>
                    <a:pt x="668" y="112"/>
                  </a:lnTo>
                  <a:lnTo>
                    <a:pt x="672" y="113"/>
                  </a:lnTo>
                  <a:lnTo>
                    <a:pt x="675" y="119"/>
                  </a:lnTo>
                  <a:lnTo>
                    <a:pt x="680" y="126"/>
                  </a:lnTo>
                  <a:lnTo>
                    <a:pt x="680" y="129"/>
                  </a:lnTo>
                  <a:lnTo>
                    <a:pt x="684" y="130"/>
                  </a:lnTo>
                  <a:lnTo>
                    <a:pt x="686" y="129"/>
                  </a:lnTo>
                  <a:lnTo>
                    <a:pt x="690" y="128"/>
                  </a:lnTo>
                  <a:lnTo>
                    <a:pt x="697" y="130"/>
                  </a:lnTo>
                  <a:lnTo>
                    <a:pt x="702" y="133"/>
                  </a:lnTo>
                  <a:lnTo>
                    <a:pt x="704" y="128"/>
                  </a:lnTo>
                  <a:lnTo>
                    <a:pt x="705" y="127"/>
                  </a:lnTo>
                  <a:lnTo>
                    <a:pt x="708" y="128"/>
                  </a:lnTo>
                  <a:lnTo>
                    <a:pt x="714" y="134"/>
                  </a:lnTo>
                  <a:lnTo>
                    <a:pt x="717" y="135"/>
                  </a:lnTo>
                  <a:lnTo>
                    <a:pt x="724" y="136"/>
                  </a:lnTo>
                  <a:lnTo>
                    <a:pt x="731" y="138"/>
                  </a:lnTo>
                  <a:lnTo>
                    <a:pt x="736" y="136"/>
                  </a:lnTo>
                  <a:lnTo>
                    <a:pt x="737" y="133"/>
                  </a:lnTo>
                  <a:lnTo>
                    <a:pt x="742" y="133"/>
                  </a:lnTo>
                  <a:lnTo>
                    <a:pt x="748" y="138"/>
                  </a:lnTo>
                  <a:lnTo>
                    <a:pt x="754" y="138"/>
                  </a:lnTo>
                  <a:lnTo>
                    <a:pt x="763" y="136"/>
                  </a:lnTo>
                  <a:lnTo>
                    <a:pt x="773" y="136"/>
                  </a:lnTo>
                  <a:lnTo>
                    <a:pt x="780" y="139"/>
                  </a:lnTo>
                  <a:lnTo>
                    <a:pt x="785" y="138"/>
                  </a:lnTo>
                  <a:lnTo>
                    <a:pt x="789" y="134"/>
                  </a:lnTo>
                  <a:lnTo>
                    <a:pt x="790" y="134"/>
                  </a:lnTo>
                  <a:lnTo>
                    <a:pt x="790" y="138"/>
                  </a:lnTo>
                  <a:lnTo>
                    <a:pt x="789" y="145"/>
                  </a:lnTo>
                  <a:lnTo>
                    <a:pt x="787" y="150"/>
                  </a:lnTo>
                  <a:lnTo>
                    <a:pt x="786" y="153"/>
                  </a:lnTo>
                  <a:lnTo>
                    <a:pt x="789" y="154"/>
                  </a:lnTo>
                  <a:lnTo>
                    <a:pt x="791" y="154"/>
                  </a:lnTo>
                  <a:lnTo>
                    <a:pt x="793" y="156"/>
                  </a:lnTo>
                  <a:lnTo>
                    <a:pt x="798" y="157"/>
                  </a:lnTo>
                  <a:lnTo>
                    <a:pt x="802" y="157"/>
                  </a:lnTo>
                  <a:lnTo>
                    <a:pt x="804" y="157"/>
                  </a:lnTo>
                  <a:lnTo>
                    <a:pt x="804" y="156"/>
                  </a:lnTo>
                  <a:lnTo>
                    <a:pt x="801" y="152"/>
                  </a:lnTo>
                  <a:lnTo>
                    <a:pt x="801" y="151"/>
                  </a:lnTo>
                  <a:lnTo>
                    <a:pt x="804" y="150"/>
                  </a:lnTo>
                  <a:lnTo>
                    <a:pt x="813" y="146"/>
                  </a:lnTo>
                  <a:lnTo>
                    <a:pt x="817" y="147"/>
                  </a:lnTo>
                  <a:lnTo>
                    <a:pt x="820" y="152"/>
                  </a:lnTo>
                  <a:lnTo>
                    <a:pt x="821" y="153"/>
                  </a:lnTo>
                  <a:lnTo>
                    <a:pt x="823" y="151"/>
                  </a:lnTo>
                  <a:lnTo>
                    <a:pt x="823" y="153"/>
                  </a:lnTo>
                  <a:lnTo>
                    <a:pt x="823" y="164"/>
                  </a:lnTo>
                  <a:lnTo>
                    <a:pt x="821" y="170"/>
                  </a:lnTo>
                  <a:lnTo>
                    <a:pt x="821" y="171"/>
                  </a:lnTo>
                  <a:lnTo>
                    <a:pt x="819" y="172"/>
                  </a:lnTo>
                  <a:lnTo>
                    <a:pt x="813" y="171"/>
                  </a:lnTo>
                  <a:lnTo>
                    <a:pt x="811" y="176"/>
                  </a:lnTo>
                  <a:lnTo>
                    <a:pt x="813" y="177"/>
                  </a:lnTo>
                  <a:lnTo>
                    <a:pt x="809" y="177"/>
                  </a:lnTo>
                  <a:lnTo>
                    <a:pt x="801" y="175"/>
                  </a:lnTo>
                  <a:lnTo>
                    <a:pt x="801" y="180"/>
                  </a:lnTo>
                  <a:lnTo>
                    <a:pt x="801" y="183"/>
                  </a:lnTo>
                  <a:lnTo>
                    <a:pt x="797" y="183"/>
                  </a:lnTo>
                  <a:lnTo>
                    <a:pt x="792" y="180"/>
                  </a:lnTo>
                  <a:lnTo>
                    <a:pt x="790" y="180"/>
                  </a:lnTo>
                  <a:lnTo>
                    <a:pt x="786" y="181"/>
                  </a:lnTo>
                  <a:lnTo>
                    <a:pt x="780" y="183"/>
                  </a:lnTo>
                  <a:lnTo>
                    <a:pt x="778" y="183"/>
                  </a:lnTo>
                  <a:lnTo>
                    <a:pt x="778" y="184"/>
                  </a:lnTo>
                  <a:lnTo>
                    <a:pt x="780" y="188"/>
                  </a:lnTo>
                  <a:lnTo>
                    <a:pt x="784" y="186"/>
                  </a:lnTo>
                  <a:lnTo>
                    <a:pt x="790" y="183"/>
                  </a:lnTo>
                  <a:lnTo>
                    <a:pt x="791" y="183"/>
                  </a:lnTo>
                  <a:lnTo>
                    <a:pt x="795" y="184"/>
                  </a:lnTo>
                  <a:lnTo>
                    <a:pt x="802" y="188"/>
                  </a:lnTo>
                  <a:lnTo>
                    <a:pt x="804" y="190"/>
                  </a:lnTo>
                  <a:lnTo>
                    <a:pt x="810" y="192"/>
                  </a:lnTo>
                  <a:lnTo>
                    <a:pt x="811" y="194"/>
                  </a:lnTo>
                  <a:lnTo>
                    <a:pt x="811" y="196"/>
                  </a:lnTo>
                  <a:lnTo>
                    <a:pt x="815" y="204"/>
                  </a:lnTo>
                  <a:lnTo>
                    <a:pt x="826" y="206"/>
                  </a:lnTo>
                  <a:lnTo>
                    <a:pt x="833" y="213"/>
                  </a:lnTo>
                  <a:lnTo>
                    <a:pt x="839" y="214"/>
                  </a:lnTo>
                  <a:lnTo>
                    <a:pt x="838" y="218"/>
                  </a:lnTo>
                  <a:lnTo>
                    <a:pt x="832" y="230"/>
                  </a:lnTo>
                  <a:lnTo>
                    <a:pt x="826" y="231"/>
                  </a:lnTo>
                  <a:lnTo>
                    <a:pt x="823" y="231"/>
                  </a:lnTo>
                  <a:lnTo>
                    <a:pt x="821" y="230"/>
                  </a:lnTo>
                  <a:lnTo>
                    <a:pt x="820" y="229"/>
                  </a:lnTo>
                  <a:lnTo>
                    <a:pt x="815" y="229"/>
                  </a:lnTo>
                  <a:lnTo>
                    <a:pt x="813" y="231"/>
                  </a:lnTo>
                  <a:lnTo>
                    <a:pt x="811" y="231"/>
                  </a:lnTo>
                  <a:lnTo>
                    <a:pt x="803" y="230"/>
                  </a:lnTo>
                  <a:lnTo>
                    <a:pt x="805" y="233"/>
                  </a:lnTo>
                  <a:lnTo>
                    <a:pt x="810" y="234"/>
                  </a:lnTo>
                  <a:lnTo>
                    <a:pt x="815" y="237"/>
                  </a:lnTo>
                  <a:lnTo>
                    <a:pt x="816" y="243"/>
                  </a:lnTo>
                  <a:lnTo>
                    <a:pt x="816" y="248"/>
                  </a:lnTo>
                  <a:lnTo>
                    <a:pt x="816" y="251"/>
                  </a:lnTo>
                  <a:lnTo>
                    <a:pt x="814" y="251"/>
                  </a:lnTo>
                  <a:lnTo>
                    <a:pt x="805" y="247"/>
                  </a:lnTo>
                  <a:lnTo>
                    <a:pt x="797" y="245"/>
                  </a:lnTo>
                  <a:lnTo>
                    <a:pt x="791" y="243"/>
                  </a:lnTo>
                  <a:lnTo>
                    <a:pt x="790" y="241"/>
                  </a:lnTo>
                  <a:lnTo>
                    <a:pt x="790" y="245"/>
                  </a:lnTo>
                  <a:lnTo>
                    <a:pt x="787" y="246"/>
                  </a:lnTo>
                  <a:lnTo>
                    <a:pt x="785" y="242"/>
                  </a:lnTo>
                  <a:lnTo>
                    <a:pt x="775" y="231"/>
                  </a:lnTo>
                  <a:lnTo>
                    <a:pt x="773" y="230"/>
                  </a:lnTo>
                  <a:lnTo>
                    <a:pt x="769" y="230"/>
                  </a:lnTo>
                  <a:lnTo>
                    <a:pt x="768" y="231"/>
                  </a:lnTo>
                  <a:lnTo>
                    <a:pt x="766" y="234"/>
                  </a:lnTo>
                  <a:lnTo>
                    <a:pt x="758" y="233"/>
                  </a:lnTo>
                  <a:lnTo>
                    <a:pt x="755" y="234"/>
                  </a:lnTo>
                  <a:lnTo>
                    <a:pt x="756" y="239"/>
                  </a:lnTo>
                  <a:lnTo>
                    <a:pt x="760" y="243"/>
                  </a:lnTo>
                  <a:lnTo>
                    <a:pt x="766" y="245"/>
                  </a:lnTo>
                  <a:lnTo>
                    <a:pt x="774" y="251"/>
                  </a:lnTo>
                  <a:lnTo>
                    <a:pt x="774" y="252"/>
                  </a:lnTo>
                  <a:lnTo>
                    <a:pt x="775" y="254"/>
                  </a:lnTo>
                  <a:lnTo>
                    <a:pt x="781" y="261"/>
                  </a:lnTo>
                  <a:lnTo>
                    <a:pt x="783" y="263"/>
                  </a:lnTo>
                  <a:lnTo>
                    <a:pt x="781" y="265"/>
                  </a:lnTo>
                  <a:lnTo>
                    <a:pt x="776" y="265"/>
                  </a:lnTo>
                  <a:lnTo>
                    <a:pt x="767" y="263"/>
                  </a:lnTo>
                  <a:lnTo>
                    <a:pt x="762" y="263"/>
                  </a:lnTo>
                  <a:lnTo>
                    <a:pt x="760" y="259"/>
                  </a:lnTo>
                  <a:lnTo>
                    <a:pt x="760" y="253"/>
                  </a:lnTo>
                  <a:lnTo>
                    <a:pt x="754" y="248"/>
                  </a:lnTo>
                  <a:lnTo>
                    <a:pt x="740" y="245"/>
                  </a:lnTo>
                  <a:lnTo>
                    <a:pt x="739" y="245"/>
                  </a:lnTo>
                  <a:lnTo>
                    <a:pt x="740" y="247"/>
                  </a:lnTo>
                  <a:lnTo>
                    <a:pt x="745" y="252"/>
                  </a:lnTo>
                  <a:lnTo>
                    <a:pt x="746" y="257"/>
                  </a:lnTo>
                  <a:lnTo>
                    <a:pt x="746" y="263"/>
                  </a:lnTo>
                  <a:lnTo>
                    <a:pt x="749" y="261"/>
                  </a:lnTo>
                  <a:lnTo>
                    <a:pt x="754" y="264"/>
                  </a:lnTo>
                  <a:lnTo>
                    <a:pt x="761" y="269"/>
                  </a:lnTo>
                  <a:lnTo>
                    <a:pt x="766" y="272"/>
                  </a:lnTo>
                  <a:lnTo>
                    <a:pt x="768" y="272"/>
                  </a:lnTo>
                  <a:lnTo>
                    <a:pt x="773" y="276"/>
                  </a:lnTo>
                  <a:lnTo>
                    <a:pt x="779" y="282"/>
                  </a:lnTo>
                  <a:lnTo>
                    <a:pt x="781" y="285"/>
                  </a:lnTo>
                  <a:lnTo>
                    <a:pt x="783" y="290"/>
                  </a:lnTo>
                  <a:lnTo>
                    <a:pt x="786" y="295"/>
                  </a:lnTo>
                  <a:lnTo>
                    <a:pt x="789" y="300"/>
                  </a:lnTo>
                  <a:lnTo>
                    <a:pt x="793" y="301"/>
                  </a:lnTo>
                  <a:lnTo>
                    <a:pt x="801" y="300"/>
                  </a:lnTo>
                  <a:lnTo>
                    <a:pt x="804" y="300"/>
                  </a:lnTo>
                  <a:lnTo>
                    <a:pt x="804" y="302"/>
                  </a:lnTo>
                  <a:lnTo>
                    <a:pt x="805" y="308"/>
                  </a:lnTo>
                  <a:lnTo>
                    <a:pt x="807" y="311"/>
                  </a:lnTo>
                  <a:lnTo>
                    <a:pt x="809" y="312"/>
                  </a:lnTo>
                  <a:lnTo>
                    <a:pt x="813" y="309"/>
                  </a:lnTo>
                  <a:lnTo>
                    <a:pt x="815" y="308"/>
                  </a:lnTo>
                  <a:lnTo>
                    <a:pt x="816" y="311"/>
                  </a:lnTo>
                  <a:lnTo>
                    <a:pt x="819" y="314"/>
                  </a:lnTo>
                  <a:lnTo>
                    <a:pt x="820" y="317"/>
                  </a:lnTo>
                  <a:lnTo>
                    <a:pt x="822" y="317"/>
                  </a:lnTo>
                  <a:lnTo>
                    <a:pt x="822" y="320"/>
                  </a:lnTo>
                  <a:lnTo>
                    <a:pt x="822" y="329"/>
                  </a:lnTo>
                  <a:lnTo>
                    <a:pt x="822" y="330"/>
                  </a:lnTo>
                  <a:lnTo>
                    <a:pt x="826" y="331"/>
                  </a:lnTo>
                  <a:lnTo>
                    <a:pt x="829" y="331"/>
                  </a:lnTo>
                  <a:lnTo>
                    <a:pt x="833" y="329"/>
                  </a:lnTo>
                  <a:lnTo>
                    <a:pt x="834" y="325"/>
                  </a:lnTo>
                  <a:lnTo>
                    <a:pt x="838" y="324"/>
                  </a:lnTo>
                  <a:lnTo>
                    <a:pt x="844" y="324"/>
                  </a:lnTo>
                  <a:lnTo>
                    <a:pt x="848" y="323"/>
                  </a:lnTo>
                  <a:lnTo>
                    <a:pt x="849" y="319"/>
                  </a:lnTo>
                  <a:lnTo>
                    <a:pt x="852" y="319"/>
                  </a:lnTo>
                  <a:lnTo>
                    <a:pt x="862" y="319"/>
                  </a:lnTo>
                  <a:lnTo>
                    <a:pt x="864" y="319"/>
                  </a:lnTo>
                  <a:lnTo>
                    <a:pt x="866" y="321"/>
                  </a:lnTo>
                  <a:lnTo>
                    <a:pt x="863" y="331"/>
                  </a:lnTo>
                  <a:lnTo>
                    <a:pt x="866" y="333"/>
                  </a:lnTo>
                  <a:lnTo>
                    <a:pt x="868" y="332"/>
                  </a:lnTo>
                  <a:lnTo>
                    <a:pt x="872" y="331"/>
                  </a:lnTo>
                  <a:lnTo>
                    <a:pt x="879" y="331"/>
                  </a:lnTo>
                  <a:lnTo>
                    <a:pt x="880" y="332"/>
                  </a:lnTo>
                  <a:lnTo>
                    <a:pt x="882" y="329"/>
                  </a:lnTo>
                  <a:lnTo>
                    <a:pt x="886" y="326"/>
                  </a:lnTo>
                  <a:lnTo>
                    <a:pt x="888" y="326"/>
                  </a:lnTo>
                  <a:lnTo>
                    <a:pt x="890" y="327"/>
                  </a:lnTo>
                  <a:lnTo>
                    <a:pt x="890" y="333"/>
                  </a:lnTo>
                  <a:lnTo>
                    <a:pt x="888" y="341"/>
                  </a:lnTo>
                  <a:lnTo>
                    <a:pt x="890" y="343"/>
                  </a:lnTo>
                  <a:lnTo>
                    <a:pt x="892" y="347"/>
                  </a:lnTo>
                  <a:lnTo>
                    <a:pt x="899" y="344"/>
                  </a:lnTo>
                  <a:lnTo>
                    <a:pt x="904" y="340"/>
                  </a:lnTo>
                  <a:lnTo>
                    <a:pt x="909" y="338"/>
                  </a:lnTo>
                  <a:lnTo>
                    <a:pt x="910" y="343"/>
                  </a:lnTo>
                  <a:lnTo>
                    <a:pt x="911" y="347"/>
                  </a:lnTo>
                  <a:lnTo>
                    <a:pt x="917" y="352"/>
                  </a:lnTo>
                  <a:lnTo>
                    <a:pt x="920" y="358"/>
                  </a:lnTo>
                  <a:lnTo>
                    <a:pt x="920" y="360"/>
                  </a:lnTo>
                  <a:lnTo>
                    <a:pt x="916" y="362"/>
                  </a:lnTo>
                  <a:lnTo>
                    <a:pt x="907" y="362"/>
                  </a:lnTo>
                  <a:lnTo>
                    <a:pt x="903" y="362"/>
                  </a:lnTo>
                  <a:lnTo>
                    <a:pt x="900" y="364"/>
                  </a:lnTo>
                  <a:lnTo>
                    <a:pt x="898" y="367"/>
                  </a:lnTo>
                  <a:lnTo>
                    <a:pt x="894" y="371"/>
                  </a:lnTo>
                  <a:lnTo>
                    <a:pt x="893" y="371"/>
                  </a:lnTo>
                  <a:lnTo>
                    <a:pt x="890" y="374"/>
                  </a:lnTo>
                  <a:lnTo>
                    <a:pt x="884" y="378"/>
                  </a:lnTo>
                  <a:lnTo>
                    <a:pt x="878" y="380"/>
                  </a:lnTo>
                  <a:lnTo>
                    <a:pt x="873" y="380"/>
                  </a:lnTo>
                  <a:lnTo>
                    <a:pt x="872" y="383"/>
                  </a:lnTo>
                  <a:lnTo>
                    <a:pt x="869" y="388"/>
                  </a:lnTo>
                  <a:lnTo>
                    <a:pt x="870" y="394"/>
                  </a:lnTo>
                  <a:lnTo>
                    <a:pt x="875" y="397"/>
                  </a:lnTo>
                  <a:lnTo>
                    <a:pt x="874" y="400"/>
                  </a:lnTo>
                  <a:lnTo>
                    <a:pt x="862" y="400"/>
                  </a:lnTo>
                  <a:lnTo>
                    <a:pt x="857" y="400"/>
                  </a:lnTo>
                  <a:lnTo>
                    <a:pt x="855" y="403"/>
                  </a:lnTo>
                  <a:lnTo>
                    <a:pt x="855" y="408"/>
                  </a:lnTo>
                  <a:lnTo>
                    <a:pt x="858" y="409"/>
                  </a:lnTo>
                  <a:lnTo>
                    <a:pt x="870" y="409"/>
                  </a:lnTo>
                  <a:lnTo>
                    <a:pt x="870" y="407"/>
                  </a:lnTo>
                  <a:lnTo>
                    <a:pt x="873" y="407"/>
                  </a:lnTo>
                  <a:lnTo>
                    <a:pt x="879" y="409"/>
                  </a:lnTo>
                  <a:lnTo>
                    <a:pt x="888" y="414"/>
                  </a:lnTo>
                  <a:lnTo>
                    <a:pt x="892" y="413"/>
                  </a:lnTo>
                  <a:lnTo>
                    <a:pt x="893" y="409"/>
                  </a:lnTo>
                  <a:lnTo>
                    <a:pt x="893" y="408"/>
                  </a:lnTo>
                  <a:lnTo>
                    <a:pt x="898" y="409"/>
                  </a:lnTo>
                  <a:lnTo>
                    <a:pt x="907" y="413"/>
                  </a:lnTo>
                  <a:lnTo>
                    <a:pt x="910" y="412"/>
                  </a:lnTo>
                  <a:lnTo>
                    <a:pt x="916" y="407"/>
                  </a:lnTo>
                  <a:lnTo>
                    <a:pt x="920" y="401"/>
                  </a:lnTo>
                  <a:lnTo>
                    <a:pt x="923" y="402"/>
                  </a:lnTo>
                  <a:lnTo>
                    <a:pt x="928" y="407"/>
                  </a:lnTo>
                  <a:lnTo>
                    <a:pt x="926" y="410"/>
                  </a:lnTo>
                  <a:lnTo>
                    <a:pt x="920" y="414"/>
                  </a:lnTo>
                  <a:lnTo>
                    <a:pt x="919" y="415"/>
                  </a:lnTo>
                  <a:lnTo>
                    <a:pt x="921" y="416"/>
                  </a:lnTo>
                  <a:lnTo>
                    <a:pt x="933" y="421"/>
                  </a:lnTo>
                  <a:lnTo>
                    <a:pt x="937" y="421"/>
                  </a:lnTo>
                  <a:lnTo>
                    <a:pt x="939" y="424"/>
                  </a:lnTo>
                  <a:lnTo>
                    <a:pt x="941" y="426"/>
                  </a:lnTo>
                  <a:lnTo>
                    <a:pt x="944" y="427"/>
                  </a:lnTo>
                  <a:lnTo>
                    <a:pt x="945" y="425"/>
                  </a:lnTo>
                  <a:lnTo>
                    <a:pt x="947" y="427"/>
                  </a:lnTo>
                  <a:lnTo>
                    <a:pt x="952" y="434"/>
                  </a:lnTo>
                  <a:lnTo>
                    <a:pt x="953" y="436"/>
                  </a:lnTo>
                  <a:lnTo>
                    <a:pt x="957" y="434"/>
                  </a:lnTo>
                  <a:lnTo>
                    <a:pt x="962" y="432"/>
                  </a:lnTo>
                  <a:lnTo>
                    <a:pt x="963" y="430"/>
                  </a:lnTo>
                  <a:lnTo>
                    <a:pt x="962" y="424"/>
                  </a:lnTo>
                  <a:lnTo>
                    <a:pt x="963" y="418"/>
                  </a:lnTo>
                  <a:lnTo>
                    <a:pt x="962" y="415"/>
                  </a:lnTo>
                  <a:lnTo>
                    <a:pt x="966" y="414"/>
                  </a:lnTo>
                  <a:lnTo>
                    <a:pt x="973" y="413"/>
                  </a:lnTo>
                  <a:lnTo>
                    <a:pt x="974" y="415"/>
                  </a:lnTo>
                  <a:lnTo>
                    <a:pt x="975" y="419"/>
                  </a:lnTo>
                  <a:lnTo>
                    <a:pt x="978" y="420"/>
                  </a:lnTo>
                  <a:lnTo>
                    <a:pt x="982" y="419"/>
                  </a:lnTo>
                  <a:lnTo>
                    <a:pt x="985" y="420"/>
                  </a:lnTo>
                  <a:lnTo>
                    <a:pt x="988" y="422"/>
                  </a:lnTo>
                  <a:lnTo>
                    <a:pt x="990" y="425"/>
                  </a:lnTo>
                  <a:lnTo>
                    <a:pt x="993" y="431"/>
                  </a:lnTo>
                  <a:lnTo>
                    <a:pt x="997" y="438"/>
                  </a:lnTo>
                  <a:lnTo>
                    <a:pt x="992" y="439"/>
                  </a:lnTo>
                  <a:lnTo>
                    <a:pt x="992" y="440"/>
                  </a:lnTo>
                  <a:lnTo>
                    <a:pt x="988" y="442"/>
                  </a:lnTo>
                  <a:lnTo>
                    <a:pt x="980" y="443"/>
                  </a:lnTo>
                  <a:lnTo>
                    <a:pt x="980" y="447"/>
                  </a:lnTo>
                  <a:lnTo>
                    <a:pt x="981" y="445"/>
                  </a:lnTo>
                  <a:lnTo>
                    <a:pt x="984" y="448"/>
                  </a:lnTo>
                  <a:lnTo>
                    <a:pt x="994" y="455"/>
                  </a:lnTo>
                  <a:lnTo>
                    <a:pt x="997" y="455"/>
                  </a:lnTo>
                  <a:lnTo>
                    <a:pt x="997" y="456"/>
                  </a:lnTo>
                  <a:lnTo>
                    <a:pt x="994" y="460"/>
                  </a:lnTo>
                  <a:lnTo>
                    <a:pt x="988" y="465"/>
                  </a:lnTo>
                  <a:lnTo>
                    <a:pt x="988" y="468"/>
                  </a:lnTo>
                  <a:lnTo>
                    <a:pt x="992" y="477"/>
                  </a:lnTo>
                  <a:lnTo>
                    <a:pt x="994" y="481"/>
                  </a:lnTo>
                  <a:lnTo>
                    <a:pt x="993" y="481"/>
                  </a:lnTo>
                  <a:lnTo>
                    <a:pt x="988" y="481"/>
                  </a:lnTo>
                  <a:lnTo>
                    <a:pt x="985" y="480"/>
                  </a:lnTo>
                  <a:lnTo>
                    <a:pt x="984" y="475"/>
                  </a:lnTo>
                  <a:lnTo>
                    <a:pt x="980" y="474"/>
                  </a:lnTo>
                  <a:lnTo>
                    <a:pt x="975" y="474"/>
                  </a:lnTo>
                  <a:lnTo>
                    <a:pt x="973" y="473"/>
                  </a:lnTo>
                  <a:lnTo>
                    <a:pt x="974" y="472"/>
                  </a:lnTo>
                  <a:lnTo>
                    <a:pt x="975" y="471"/>
                  </a:lnTo>
                  <a:lnTo>
                    <a:pt x="970" y="469"/>
                  </a:lnTo>
                  <a:lnTo>
                    <a:pt x="955" y="471"/>
                  </a:lnTo>
                  <a:lnTo>
                    <a:pt x="950" y="474"/>
                  </a:lnTo>
                  <a:lnTo>
                    <a:pt x="951" y="475"/>
                  </a:lnTo>
                  <a:lnTo>
                    <a:pt x="950" y="480"/>
                  </a:lnTo>
                  <a:lnTo>
                    <a:pt x="945" y="483"/>
                  </a:lnTo>
                  <a:lnTo>
                    <a:pt x="946" y="484"/>
                  </a:lnTo>
                  <a:lnTo>
                    <a:pt x="952" y="486"/>
                  </a:lnTo>
                  <a:lnTo>
                    <a:pt x="956" y="491"/>
                  </a:lnTo>
                  <a:lnTo>
                    <a:pt x="957" y="491"/>
                  </a:lnTo>
                  <a:lnTo>
                    <a:pt x="958" y="489"/>
                  </a:lnTo>
                  <a:lnTo>
                    <a:pt x="966" y="478"/>
                  </a:lnTo>
                  <a:lnTo>
                    <a:pt x="970" y="480"/>
                  </a:lnTo>
                  <a:lnTo>
                    <a:pt x="978" y="483"/>
                  </a:lnTo>
                  <a:lnTo>
                    <a:pt x="984" y="486"/>
                  </a:lnTo>
                  <a:lnTo>
                    <a:pt x="987" y="486"/>
                  </a:lnTo>
                  <a:lnTo>
                    <a:pt x="996" y="485"/>
                  </a:lnTo>
                  <a:lnTo>
                    <a:pt x="999" y="485"/>
                  </a:lnTo>
                  <a:lnTo>
                    <a:pt x="1002" y="486"/>
                  </a:lnTo>
                  <a:lnTo>
                    <a:pt x="1003" y="492"/>
                  </a:lnTo>
                  <a:lnTo>
                    <a:pt x="1002" y="497"/>
                  </a:lnTo>
                  <a:lnTo>
                    <a:pt x="997" y="503"/>
                  </a:lnTo>
                  <a:lnTo>
                    <a:pt x="994" y="505"/>
                  </a:lnTo>
                  <a:lnTo>
                    <a:pt x="992" y="505"/>
                  </a:lnTo>
                  <a:lnTo>
                    <a:pt x="990" y="502"/>
                  </a:lnTo>
                  <a:lnTo>
                    <a:pt x="987" y="501"/>
                  </a:lnTo>
                  <a:lnTo>
                    <a:pt x="986" y="502"/>
                  </a:lnTo>
                  <a:lnTo>
                    <a:pt x="982" y="507"/>
                  </a:lnTo>
                  <a:lnTo>
                    <a:pt x="980" y="508"/>
                  </a:lnTo>
                  <a:lnTo>
                    <a:pt x="976" y="508"/>
                  </a:lnTo>
                  <a:lnTo>
                    <a:pt x="975" y="509"/>
                  </a:lnTo>
                  <a:lnTo>
                    <a:pt x="976" y="511"/>
                  </a:lnTo>
                  <a:lnTo>
                    <a:pt x="987" y="517"/>
                  </a:lnTo>
                  <a:lnTo>
                    <a:pt x="994" y="526"/>
                  </a:lnTo>
                  <a:lnTo>
                    <a:pt x="998" y="531"/>
                  </a:lnTo>
                  <a:lnTo>
                    <a:pt x="998" y="535"/>
                  </a:lnTo>
                  <a:lnTo>
                    <a:pt x="990" y="544"/>
                  </a:lnTo>
                  <a:lnTo>
                    <a:pt x="988" y="547"/>
                  </a:lnTo>
                  <a:lnTo>
                    <a:pt x="985" y="554"/>
                  </a:lnTo>
                  <a:lnTo>
                    <a:pt x="980" y="554"/>
                  </a:lnTo>
                  <a:lnTo>
                    <a:pt x="974" y="552"/>
                  </a:lnTo>
                  <a:lnTo>
                    <a:pt x="969" y="551"/>
                  </a:lnTo>
                  <a:lnTo>
                    <a:pt x="966" y="551"/>
                  </a:lnTo>
                  <a:lnTo>
                    <a:pt x="962" y="552"/>
                  </a:lnTo>
                  <a:lnTo>
                    <a:pt x="962" y="554"/>
                  </a:lnTo>
                  <a:lnTo>
                    <a:pt x="964" y="555"/>
                  </a:lnTo>
                  <a:lnTo>
                    <a:pt x="969" y="557"/>
                  </a:lnTo>
                  <a:lnTo>
                    <a:pt x="969" y="561"/>
                  </a:lnTo>
                  <a:lnTo>
                    <a:pt x="967" y="567"/>
                  </a:lnTo>
                  <a:lnTo>
                    <a:pt x="967" y="569"/>
                  </a:lnTo>
                  <a:lnTo>
                    <a:pt x="968" y="570"/>
                  </a:lnTo>
                  <a:lnTo>
                    <a:pt x="972" y="572"/>
                  </a:lnTo>
                  <a:lnTo>
                    <a:pt x="978" y="573"/>
                  </a:lnTo>
                  <a:lnTo>
                    <a:pt x="984" y="573"/>
                  </a:lnTo>
                  <a:lnTo>
                    <a:pt x="986" y="574"/>
                  </a:lnTo>
                  <a:lnTo>
                    <a:pt x="988" y="574"/>
                  </a:lnTo>
                  <a:lnTo>
                    <a:pt x="993" y="572"/>
                  </a:lnTo>
                  <a:lnTo>
                    <a:pt x="996" y="573"/>
                  </a:lnTo>
                  <a:lnTo>
                    <a:pt x="992" y="582"/>
                  </a:lnTo>
                  <a:lnTo>
                    <a:pt x="985" y="590"/>
                  </a:lnTo>
                  <a:lnTo>
                    <a:pt x="968" y="596"/>
                  </a:lnTo>
                  <a:lnTo>
                    <a:pt x="964" y="603"/>
                  </a:lnTo>
                  <a:lnTo>
                    <a:pt x="963" y="603"/>
                  </a:lnTo>
                  <a:lnTo>
                    <a:pt x="957" y="598"/>
                  </a:lnTo>
                  <a:lnTo>
                    <a:pt x="955" y="594"/>
                  </a:lnTo>
                  <a:lnTo>
                    <a:pt x="951" y="602"/>
                  </a:lnTo>
                  <a:lnTo>
                    <a:pt x="952" y="603"/>
                  </a:lnTo>
                  <a:lnTo>
                    <a:pt x="949" y="603"/>
                  </a:lnTo>
                  <a:lnTo>
                    <a:pt x="944" y="600"/>
                  </a:lnTo>
                  <a:lnTo>
                    <a:pt x="938" y="597"/>
                  </a:lnTo>
                  <a:lnTo>
                    <a:pt x="935" y="591"/>
                  </a:lnTo>
                  <a:lnTo>
                    <a:pt x="933" y="586"/>
                  </a:lnTo>
                  <a:lnTo>
                    <a:pt x="927" y="582"/>
                  </a:lnTo>
                  <a:lnTo>
                    <a:pt x="926" y="579"/>
                  </a:lnTo>
                  <a:lnTo>
                    <a:pt x="922" y="579"/>
                  </a:lnTo>
                  <a:lnTo>
                    <a:pt x="914" y="580"/>
                  </a:lnTo>
                  <a:lnTo>
                    <a:pt x="904" y="581"/>
                  </a:lnTo>
                  <a:lnTo>
                    <a:pt x="900" y="580"/>
                  </a:lnTo>
                  <a:lnTo>
                    <a:pt x="898" y="581"/>
                  </a:lnTo>
                  <a:lnTo>
                    <a:pt x="899" y="588"/>
                  </a:lnTo>
                  <a:lnTo>
                    <a:pt x="899" y="591"/>
                  </a:lnTo>
                  <a:lnTo>
                    <a:pt x="896" y="592"/>
                  </a:lnTo>
                  <a:lnTo>
                    <a:pt x="891" y="593"/>
                  </a:lnTo>
                  <a:lnTo>
                    <a:pt x="887" y="591"/>
                  </a:lnTo>
                  <a:lnTo>
                    <a:pt x="884" y="586"/>
                  </a:lnTo>
                  <a:lnTo>
                    <a:pt x="880" y="584"/>
                  </a:lnTo>
                  <a:lnTo>
                    <a:pt x="875" y="582"/>
                  </a:lnTo>
                  <a:lnTo>
                    <a:pt x="866" y="588"/>
                  </a:lnTo>
                  <a:lnTo>
                    <a:pt x="855" y="594"/>
                  </a:lnTo>
                  <a:lnTo>
                    <a:pt x="851" y="598"/>
                  </a:lnTo>
                  <a:lnTo>
                    <a:pt x="848" y="602"/>
                  </a:lnTo>
                  <a:lnTo>
                    <a:pt x="854" y="606"/>
                  </a:lnTo>
                  <a:lnTo>
                    <a:pt x="861" y="610"/>
                  </a:lnTo>
                  <a:lnTo>
                    <a:pt x="863" y="612"/>
                  </a:lnTo>
                  <a:lnTo>
                    <a:pt x="867" y="617"/>
                  </a:lnTo>
                  <a:lnTo>
                    <a:pt x="875" y="621"/>
                  </a:lnTo>
                  <a:lnTo>
                    <a:pt x="890" y="627"/>
                  </a:lnTo>
                  <a:lnTo>
                    <a:pt x="875" y="624"/>
                  </a:lnTo>
                  <a:lnTo>
                    <a:pt x="868" y="623"/>
                  </a:lnTo>
                  <a:lnTo>
                    <a:pt x="866" y="622"/>
                  </a:lnTo>
                  <a:lnTo>
                    <a:pt x="869" y="630"/>
                  </a:lnTo>
                  <a:lnTo>
                    <a:pt x="860" y="622"/>
                  </a:lnTo>
                  <a:lnTo>
                    <a:pt x="860" y="617"/>
                  </a:lnTo>
                  <a:lnTo>
                    <a:pt x="858" y="616"/>
                  </a:lnTo>
                  <a:lnTo>
                    <a:pt x="855" y="614"/>
                  </a:lnTo>
                  <a:lnTo>
                    <a:pt x="845" y="609"/>
                  </a:lnTo>
                  <a:lnTo>
                    <a:pt x="834" y="603"/>
                  </a:lnTo>
                  <a:lnTo>
                    <a:pt x="820" y="592"/>
                  </a:lnTo>
                  <a:lnTo>
                    <a:pt x="821" y="593"/>
                  </a:lnTo>
                  <a:lnTo>
                    <a:pt x="821" y="596"/>
                  </a:lnTo>
                  <a:lnTo>
                    <a:pt x="819" y="597"/>
                  </a:lnTo>
                  <a:lnTo>
                    <a:pt x="815" y="598"/>
                  </a:lnTo>
                  <a:lnTo>
                    <a:pt x="814" y="600"/>
                  </a:lnTo>
                  <a:lnTo>
                    <a:pt x="811" y="602"/>
                  </a:lnTo>
                  <a:lnTo>
                    <a:pt x="810" y="605"/>
                  </a:lnTo>
                  <a:lnTo>
                    <a:pt x="813" y="611"/>
                  </a:lnTo>
                  <a:lnTo>
                    <a:pt x="816" y="617"/>
                  </a:lnTo>
                  <a:lnTo>
                    <a:pt x="823" y="626"/>
                  </a:lnTo>
                  <a:lnTo>
                    <a:pt x="826" y="630"/>
                  </a:lnTo>
                  <a:lnTo>
                    <a:pt x="829" y="632"/>
                  </a:lnTo>
                  <a:lnTo>
                    <a:pt x="833" y="634"/>
                  </a:lnTo>
                  <a:lnTo>
                    <a:pt x="837" y="636"/>
                  </a:lnTo>
                  <a:lnTo>
                    <a:pt x="839" y="633"/>
                  </a:lnTo>
                  <a:lnTo>
                    <a:pt x="839" y="630"/>
                  </a:lnTo>
                  <a:lnTo>
                    <a:pt x="841" y="632"/>
                  </a:lnTo>
                  <a:lnTo>
                    <a:pt x="844" y="641"/>
                  </a:lnTo>
                  <a:lnTo>
                    <a:pt x="848" y="644"/>
                  </a:lnTo>
                  <a:lnTo>
                    <a:pt x="848" y="645"/>
                  </a:lnTo>
                  <a:lnTo>
                    <a:pt x="846" y="650"/>
                  </a:lnTo>
                  <a:lnTo>
                    <a:pt x="848" y="651"/>
                  </a:lnTo>
                  <a:lnTo>
                    <a:pt x="852" y="648"/>
                  </a:lnTo>
                  <a:lnTo>
                    <a:pt x="855" y="647"/>
                  </a:lnTo>
                  <a:lnTo>
                    <a:pt x="856" y="650"/>
                  </a:lnTo>
                  <a:lnTo>
                    <a:pt x="862" y="653"/>
                  </a:lnTo>
                  <a:lnTo>
                    <a:pt x="862" y="651"/>
                  </a:lnTo>
                  <a:lnTo>
                    <a:pt x="867" y="652"/>
                  </a:lnTo>
                  <a:lnTo>
                    <a:pt x="870" y="654"/>
                  </a:lnTo>
                  <a:lnTo>
                    <a:pt x="872" y="657"/>
                  </a:lnTo>
                  <a:lnTo>
                    <a:pt x="872" y="662"/>
                  </a:lnTo>
                  <a:lnTo>
                    <a:pt x="874" y="663"/>
                  </a:lnTo>
                  <a:lnTo>
                    <a:pt x="879" y="660"/>
                  </a:lnTo>
                  <a:lnTo>
                    <a:pt x="880" y="662"/>
                  </a:lnTo>
                  <a:lnTo>
                    <a:pt x="881" y="670"/>
                  </a:lnTo>
                  <a:lnTo>
                    <a:pt x="881" y="679"/>
                  </a:lnTo>
                  <a:lnTo>
                    <a:pt x="876" y="679"/>
                  </a:lnTo>
                  <a:lnTo>
                    <a:pt x="884" y="687"/>
                  </a:lnTo>
                  <a:lnTo>
                    <a:pt x="879" y="689"/>
                  </a:lnTo>
                  <a:lnTo>
                    <a:pt x="876" y="691"/>
                  </a:lnTo>
                  <a:lnTo>
                    <a:pt x="878" y="692"/>
                  </a:lnTo>
                  <a:lnTo>
                    <a:pt x="874" y="694"/>
                  </a:lnTo>
                  <a:lnTo>
                    <a:pt x="867" y="695"/>
                  </a:lnTo>
                  <a:lnTo>
                    <a:pt x="866" y="695"/>
                  </a:lnTo>
                  <a:lnTo>
                    <a:pt x="862" y="700"/>
                  </a:lnTo>
                  <a:lnTo>
                    <a:pt x="860" y="700"/>
                  </a:lnTo>
                  <a:lnTo>
                    <a:pt x="857" y="701"/>
                  </a:lnTo>
                  <a:lnTo>
                    <a:pt x="857" y="704"/>
                  </a:lnTo>
                  <a:lnTo>
                    <a:pt x="858" y="705"/>
                  </a:lnTo>
                  <a:lnTo>
                    <a:pt x="861" y="709"/>
                  </a:lnTo>
                  <a:lnTo>
                    <a:pt x="861" y="713"/>
                  </a:lnTo>
                  <a:lnTo>
                    <a:pt x="856" y="717"/>
                  </a:lnTo>
                  <a:lnTo>
                    <a:pt x="854" y="716"/>
                  </a:lnTo>
                  <a:lnTo>
                    <a:pt x="852" y="715"/>
                  </a:lnTo>
                  <a:lnTo>
                    <a:pt x="851" y="712"/>
                  </a:lnTo>
                  <a:lnTo>
                    <a:pt x="850" y="712"/>
                  </a:lnTo>
                  <a:lnTo>
                    <a:pt x="846" y="713"/>
                  </a:lnTo>
                  <a:lnTo>
                    <a:pt x="844" y="713"/>
                  </a:lnTo>
                  <a:lnTo>
                    <a:pt x="841" y="712"/>
                  </a:lnTo>
                  <a:lnTo>
                    <a:pt x="841" y="713"/>
                  </a:lnTo>
                  <a:lnTo>
                    <a:pt x="841" y="718"/>
                  </a:lnTo>
                  <a:lnTo>
                    <a:pt x="839" y="723"/>
                  </a:lnTo>
                  <a:lnTo>
                    <a:pt x="833" y="723"/>
                  </a:lnTo>
                  <a:lnTo>
                    <a:pt x="829" y="721"/>
                  </a:lnTo>
                  <a:lnTo>
                    <a:pt x="823" y="718"/>
                  </a:lnTo>
                  <a:lnTo>
                    <a:pt x="825" y="718"/>
                  </a:lnTo>
                  <a:lnTo>
                    <a:pt x="822" y="717"/>
                  </a:lnTo>
                  <a:lnTo>
                    <a:pt x="817" y="712"/>
                  </a:lnTo>
                  <a:lnTo>
                    <a:pt x="816" y="711"/>
                  </a:lnTo>
                  <a:lnTo>
                    <a:pt x="815" y="711"/>
                  </a:lnTo>
                  <a:lnTo>
                    <a:pt x="815" y="707"/>
                  </a:lnTo>
                  <a:lnTo>
                    <a:pt x="819" y="704"/>
                  </a:lnTo>
                  <a:lnTo>
                    <a:pt x="820" y="701"/>
                  </a:lnTo>
                  <a:lnTo>
                    <a:pt x="819" y="699"/>
                  </a:lnTo>
                  <a:lnTo>
                    <a:pt x="816" y="694"/>
                  </a:lnTo>
                  <a:lnTo>
                    <a:pt x="815" y="691"/>
                  </a:lnTo>
                  <a:lnTo>
                    <a:pt x="814" y="689"/>
                  </a:lnTo>
                  <a:lnTo>
                    <a:pt x="813" y="691"/>
                  </a:lnTo>
                  <a:lnTo>
                    <a:pt x="809" y="695"/>
                  </a:lnTo>
                  <a:lnTo>
                    <a:pt x="808" y="699"/>
                  </a:lnTo>
                  <a:lnTo>
                    <a:pt x="805" y="700"/>
                  </a:lnTo>
                  <a:lnTo>
                    <a:pt x="802" y="701"/>
                  </a:lnTo>
                  <a:lnTo>
                    <a:pt x="797" y="703"/>
                  </a:lnTo>
                  <a:lnTo>
                    <a:pt x="795" y="700"/>
                  </a:lnTo>
                  <a:lnTo>
                    <a:pt x="793" y="700"/>
                  </a:lnTo>
                  <a:lnTo>
                    <a:pt x="791" y="700"/>
                  </a:lnTo>
                  <a:lnTo>
                    <a:pt x="785" y="705"/>
                  </a:lnTo>
                  <a:lnTo>
                    <a:pt x="784" y="706"/>
                  </a:lnTo>
                  <a:lnTo>
                    <a:pt x="781" y="705"/>
                  </a:lnTo>
                  <a:lnTo>
                    <a:pt x="778" y="705"/>
                  </a:lnTo>
                  <a:lnTo>
                    <a:pt x="776" y="704"/>
                  </a:lnTo>
                  <a:lnTo>
                    <a:pt x="775" y="697"/>
                  </a:lnTo>
                  <a:lnTo>
                    <a:pt x="772" y="695"/>
                  </a:lnTo>
                  <a:lnTo>
                    <a:pt x="769" y="699"/>
                  </a:lnTo>
                  <a:lnTo>
                    <a:pt x="767" y="700"/>
                  </a:lnTo>
                  <a:lnTo>
                    <a:pt x="762" y="700"/>
                  </a:lnTo>
                  <a:lnTo>
                    <a:pt x="760" y="698"/>
                  </a:lnTo>
                  <a:lnTo>
                    <a:pt x="756" y="697"/>
                  </a:lnTo>
                  <a:lnTo>
                    <a:pt x="742" y="703"/>
                  </a:lnTo>
                  <a:lnTo>
                    <a:pt x="743" y="706"/>
                  </a:lnTo>
                  <a:lnTo>
                    <a:pt x="743" y="707"/>
                  </a:lnTo>
                  <a:lnTo>
                    <a:pt x="740" y="707"/>
                  </a:lnTo>
                  <a:lnTo>
                    <a:pt x="734" y="704"/>
                  </a:lnTo>
                  <a:lnTo>
                    <a:pt x="731" y="699"/>
                  </a:lnTo>
                  <a:lnTo>
                    <a:pt x="728" y="698"/>
                  </a:lnTo>
                  <a:lnTo>
                    <a:pt x="728" y="700"/>
                  </a:lnTo>
                  <a:lnTo>
                    <a:pt x="728" y="705"/>
                  </a:lnTo>
                  <a:lnTo>
                    <a:pt x="726" y="705"/>
                  </a:lnTo>
                  <a:lnTo>
                    <a:pt x="721" y="701"/>
                  </a:lnTo>
                  <a:lnTo>
                    <a:pt x="719" y="701"/>
                  </a:lnTo>
                  <a:lnTo>
                    <a:pt x="715" y="701"/>
                  </a:lnTo>
                  <a:lnTo>
                    <a:pt x="714" y="699"/>
                  </a:lnTo>
                  <a:lnTo>
                    <a:pt x="711" y="699"/>
                  </a:lnTo>
                  <a:lnTo>
                    <a:pt x="709" y="700"/>
                  </a:lnTo>
                  <a:lnTo>
                    <a:pt x="707" y="704"/>
                  </a:lnTo>
                  <a:lnTo>
                    <a:pt x="711" y="706"/>
                  </a:lnTo>
                  <a:lnTo>
                    <a:pt x="715" y="707"/>
                  </a:lnTo>
                  <a:lnTo>
                    <a:pt x="720" y="709"/>
                  </a:lnTo>
                  <a:lnTo>
                    <a:pt x="724" y="710"/>
                  </a:lnTo>
                  <a:lnTo>
                    <a:pt x="727" y="713"/>
                  </a:lnTo>
                  <a:lnTo>
                    <a:pt x="730" y="718"/>
                  </a:lnTo>
                  <a:lnTo>
                    <a:pt x="727" y="719"/>
                  </a:lnTo>
                  <a:lnTo>
                    <a:pt x="724" y="717"/>
                  </a:lnTo>
                  <a:lnTo>
                    <a:pt x="721" y="718"/>
                  </a:lnTo>
                  <a:lnTo>
                    <a:pt x="717" y="721"/>
                  </a:lnTo>
                  <a:lnTo>
                    <a:pt x="715" y="721"/>
                  </a:lnTo>
                  <a:lnTo>
                    <a:pt x="713" y="719"/>
                  </a:lnTo>
                  <a:lnTo>
                    <a:pt x="710" y="719"/>
                  </a:lnTo>
                  <a:lnTo>
                    <a:pt x="709" y="723"/>
                  </a:lnTo>
                  <a:lnTo>
                    <a:pt x="707" y="724"/>
                  </a:lnTo>
                  <a:lnTo>
                    <a:pt x="703" y="722"/>
                  </a:lnTo>
                  <a:lnTo>
                    <a:pt x="698" y="719"/>
                  </a:lnTo>
                  <a:lnTo>
                    <a:pt x="695" y="716"/>
                  </a:lnTo>
                  <a:lnTo>
                    <a:pt x="692" y="712"/>
                  </a:lnTo>
                  <a:lnTo>
                    <a:pt x="690" y="711"/>
                  </a:lnTo>
                  <a:lnTo>
                    <a:pt x="684" y="712"/>
                  </a:lnTo>
                  <a:lnTo>
                    <a:pt x="677" y="711"/>
                  </a:lnTo>
                  <a:lnTo>
                    <a:pt x="669" y="711"/>
                  </a:lnTo>
                  <a:lnTo>
                    <a:pt x="666" y="711"/>
                  </a:lnTo>
                  <a:lnTo>
                    <a:pt x="658" y="706"/>
                  </a:lnTo>
                  <a:lnTo>
                    <a:pt x="650" y="704"/>
                  </a:lnTo>
                  <a:lnTo>
                    <a:pt x="645" y="704"/>
                  </a:lnTo>
                  <a:lnTo>
                    <a:pt x="643" y="701"/>
                  </a:lnTo>
                  <a:lnTo>
                    <a:pt x="640" y="700"/>
                  </a:lnTo>
                  <a:lnTo>
                    <a:pt x="638" y="700"/>
                  </a:lnTo>
                  <a:lnTo>
                    <a:pt x="642" y="707"/>
                  </a:lnTo>
                  <a:lnTo>
                    <a:pt x="645" y="715"/>
                  </a:lnTo>
                  <a:lnTo>
                    <a:pt x="648" y="718"/>
                  </a:lnTo>
                  <a:lnTo>
                    <a:pt x="650" y="718"/>
                  </a:lnTo>
                  <a:lnTo>
                    <a:pt x="652" y="719"/>
                  </a:lnTo>
                  <a:lnTo>
                    <a:pt x="654" y="721"/>
                  </a:lnTo>
                  <a:lnTo>
                    <a:pt x="657" y="721"/>
                  </a:lnTo>
                  <a:lnTo>
                    <a:pt x="660" y="723"/>
                  </a:lnTo>
                  <a:lnTo>
                    <a:pt x="663" y="722"/>
                  </a:lnTo>
                  <a:lnTo>
                    <a:pt x="668" y="722"/>
                  </a:lnTo>
                  <a:lnTo>
                    <a:pt x="673" y="721"/>
                  </a:lnTo>
                  <a:lnTo>
                    <a:pt x="678" y="724"/>
                  </a:lnTo>
                  <a:lnTo>
                    <a:pt x="687" y="727"/>
                  </a:lnTo>
                  <a:lnTo>
                    <a:pt x="690" y="728"/>
                  </a:lnTo>
                  <a:lnTo>
                    <a:pt x="692" y="730"/>
                  </a:lnTo>
                  <a:lnTo>
                    <a:pt x="695" y="734"/>
                  </a:lnTo>
                  <a:lnTo>
                    <a:pt x="696" y="736"/>
                  </a:lnTo>
                  <a:lnTo>
                    <a:pt x="693" y="741"/>
                  </a:lnTo>
                  <a:lnTo>
                    <a:pt x="697" y="742"/>
                  </a:lnTo>
                  <a:lnTo>
                    <a:pt x="702" y="741"/>
                  </a:lnTo>
                  <a:lnTo>
                    <a:pt x="704" y="737"/>
                  </a:lnTo>
                  <a:lnTo>
                    <a:pt x="704" y="733"/>
                  </a:lnTo>
                  <a:lnTo>
                    <a:pt x="708" y="733"/>
                  </a:lnTo>
                  <a:lnTo>
                    <a:pt x="715" y="733"/>
                  </a:lnTo>
                  <a:lnTo>
                    <a:pt x="715" y="736"/>
                  </a:lnTo>
                  <a:lnTo>
                    <a:pt x="713" y="742"/>
                  </a:lnTo>
                  <a:lnTo>
                    <a:pt x="714" y="749"/>
                  </a:lnTo>
                  <a:lnTo>
                    <a:pt x="714" y="755"/>
                  </a:lnTo>
                  <a:lnTo>
                    <a:pt x="711" y="757"/>
                  </a:lnTo>
                  <a:lnTo>
                    <a:pt x="707" y="757"/>
                  </a:lnTo>
                  <a:lnTo>
                    <a:pt x="702" y="753"/>
                  </a:lnTo>
                  <a:lnTo>
                    <a:pt x="701" y="754"/>
                  </a:lnTo>
                  <a:lnTo>
                    <a:pt x="698" y="752"/>
                  </a:lnTo>
                  <a:lnTo>
                    <a:pt x="691" y="749"/>
                  </a:lnTo>
                  <a:lnTo>
                    <a:pt x="687" y="751"/>
                  </a:lnTo>
                  <a:lnTo>
                    <a:pt x="687" y="753"/>
                  </a:lnTo>
                  <a:lnTo>
                    <a:pt x="686" y="754"/>
                  </a:lnTo>
                  <a:lnTo>
                    <a:pt x="686" y="759"/>
                  </a:lnTo>
                  <a:lnTo>
                    <a:pt x="689" y="765"/>
                  </a:lnTo>
                  <a:lnTo>
                    <a:pt x="690" y="767"/>
                  </a:lnTo>
                  <a:lnTo>
                    <a:pt x="687" y="774"/>
                  </a:lnTo>
                  <a:lnTo>
                    <a:pt x="687" y="780"/>
                  </a:lnTo>
                  <a:lnTo>
                    <a:pt x="687" y="782"/>
                  </a:lnTo>
                  <a:lnTo>
                    <a:pt x="685" y="782"/>
                  </a:lnTo>
                  <a:lnTo>
                    <a:pt x="677" y="777"/>
                  </a:lnTo>
                  <a:lnTo>
                    <a:pt x="672" y="775"/>
                  </a:lnTo>
                  <a:lnTo>
                    <a:pt x="673" y="777"/>
                  </a:lnTo>
                  <a:lnTo>
                    <a:pt x="672" y="780"/>
                  </a:lnTo>
                  <a:lnTo>
                    <a:pt x="669" y="781"/>
                  </a:lnTo>
                  <a:lnTo>
                    <a:pt x="667" y="782"/>
                  </a:lnTo>
                  <a:lnTo>
                    <a:pt x="662" y="783"/>
                  </a:lnTo>
                  <a:lnTo>
                    <a:pt x="658" y="782"/>
                  </a:lnTo>
                  <a:lnTo>
                    <a:pt x="652" y="777"/>
                  </a:lnTo>
                  <a:lnTo>
                    <a:pt x="649" y="772"/>
                  </a:lnTo>
                  <a:lnTo>
                    <a:pt x="645" y="769"/>
                  </a:lnTo>
                  <a:lnTo>
                    <a:pt x="645" y="767"/>
                  </a:lnTo>
                  <a:lnTo>
                    <a:pt x="646" y="761"/>
                  </a:lnTo>
                  <a:lnTo>
                    <a:pt x="640" y="755"/>
                  </a:lnTo>
                  <a:lnTo>
                    <a:pt x="640" y="758"/>
                  </a:lnTo>
                  <a:lnTo>
                    <a:pt x="643" y="763"/>
                  </a:lnTo>
                  <a:lnTo>
                    <a:pt x="639" y="764"/>
                  </a:lnTo>
                  <a:lnTo>
                    <a:pt x="628" y="764"/>
                  </a:lnTo>
                  <a:lnTo>
                    <a:pt x="625" y="766"/>
                  </a:lnTo>
                  <a:lnTo>
                    <a:pt x="621" y="767"/>
                  </a:lnTo>
                  <a:lnTo>
                    <a:pt x="628" y="770"/>
                  </a:lnTo>
                  <a:lnTo>
                    <a:pt x="633" y="769"/>
                  </a:lnTo>
                  <a:lnTo>
                    <a:pt x="637" y="771"/>
                  </a:lnTo>
                  <a:lnTo>
                    <a:pt x="638" y="776"/>
                  </a:lnTo>
                  <a:lnTo>
                    <a:pt x="639" y="780"/>
                  </a:lnTo>
                  <a:lnTo>
                    <a:pt x="642" y="782"/>
                  </a:lnTo>
                  <a:lnTo>
                    <a:pt x="640" y="783"/>
                  </a:lnTo>
                  <a:lnTo>
                    <a:pt x="630" y="786"/>
                  </a:lnTo>
                  <a:lnTo>
                    <a:pt x="624" y="784"/>
                  </a:lnTo>
                  <a:lnTo>
                    <a:pt x="618" y="782"/>
                  </a:lnTo>
                  <a:lnTo>
                    <a:pt x="608" y="780"/>
                  </a:lnTo>
                  <a:lnTo>
                    <a:pt x="604" y="778"/>
                  </a:lnTo>
                  <a:lnTo>
                    <a:pt x="601" y="776"/>
                  </a:lnTo>
                  <a:lnTo>
                    <a:pt x="598" y="775"/>
                  </a:lnTo>
                  <a:lnTo>
                    <a:pt x="597" y="771"/>
                  </a:lnTo>
                  <a:lnTo>
                    <a:pt x="599" y="764"/>
                  </a:lnTo>
                  <a:lnTo>
                    <a:pt x="598" y="763"/>
                  </a:lnTo>
                  <a:lnTo>
                    <a:pt x="593" y="761"/>
                  </a:lnTo>
                  <a:lnTo>
                    <a:pt x="592" y="765"/>
                  </a:lnTo>
                  <a:lnTo>
                    <a:pt x="591" y="766"/>
                  </a:lnTo>
                  <a:lnTo>
                    <a:pt x="589" y="766"/>
                  </a:lnTo>
                  <a:lnTo>
                    <a:pt x="584" y="765"/>
                  </a:lnTo>
                  <a:lnTo>
                    <a:pt x="583" y="761"/>
                  </a:lnTo>
                  <a:lnTo>
                    <a:pt x="583" y="753"/>
                  </a:lnTo>
                  <a:lnTo>
                    <a:pt x="579" y="749"/>
                  </a:lnTo>
                  <a:lnTo>
                    <a:pt x="578" y="748"/>
                  </a:lnTo>
                  <a:lnTo>
                    <a:pt x="574" y="741"/>
                  </a:lnTo>
                  <a:lnTo>
                    <a:pt x="574" y="737"/>
                  </a:lnTo>
                  <a:lnTo>
                    <a:pt x="572" y="736"/>
                  </a:lnTo>
                  <a:lnTo>
                    <a:pt x="567" y="736"/>
                  </a:lnTo>
                  <a:lnTo>
                    <a:pt x="563" y="735"/>
                  </a:lnTo>
                  <a:lnTo>
                    <a:pt x="565" y="737"/>
                  </a:lnTo>
                  <a:lnTo>
                    <a:pt x="568" y="741"/>
                  </a:lnTo>
                  <a:lnTo>
                    <a:pt x="571" y="745"/>
                  </a:lnTo>
                  <a:lnTo>
                    <a:pt x="574" y="753"/>
                  </a:lnTo>
                  <a:lnTo>
                    <a:pt x="578" y="757"/>
                  </a:lnTo>
                  <a:lnTo>
                    <a:pt x="578" y="761"/>
                  </a:lnTo>
                  <a:lnTo>
                    <a:pt x="575" y="765"/>
                  </a:lnTo>
                  <a:lnTo>
                    <a:pt x="575" y="769"/>
                  </a:lnTo>
                  <a:lnTo>
                    <a:pt x="578" y="774"/>
                  </a:lnTo>
                  <a:lnTo>
                    <a:pt x="578" y="777"/>
                  </a:lnTo>
                  <a:lnTo>
                    <a:pt x="575" y="783"/>
                  </a:lnTo>
                  <a:lnTo>
                    <a:pt x="569" y="784"/>
                  </a:lnTo>
                  <a:lnTo>
                    <a:pt x="563" y="788"/>
                  </a:lnTo>
                  <a:lnTo>
                    <a:pt x="559" y="789"/>
                  </a:lnTo>
                  <a:lnTo>
                    <a:pt x="551" y="790"/>
                  </a:lnTo>
                  <a:lnTo>
                    <a:pt x="544" y="793"/>
                  </a:lnTo>
                  <a:lnTo>
                    <a:pt x="539" y="793"/>
                  </a:lnTo>
                  <a:lnTo>
                    <a:pt x="537" y="793"/>
                  </a:lnTo>
                  <a:lnTo>
                    <a:pt x="533" y="792"/>
                  </a:lnTo>
                  <a:lnTo>
                    <a:pt x="531" y="787"/>
                  </a:lnTo>
                  <a:lnTo>
                    <a:pt x="531" y="782"/>
                  </a:lnTo>
                  <a:lnTo>
                    <a:pt x="531" y="776"/>
                  </a:lnTo>
                  <a:lnTo>
                    <a:pt x="526" y="772"/>
                  </a:lnTo>
                  <a:lnTo>
                    <a:pt x="522" y="771"/>
                  </a:lnTo>
                  <a:lnTo>
                    <a:pt x="519" y="772"/>
                  </a:lnTo>
                  <a:lnTo>
                    <a:pt x="518" y="776"/>
                  </a:lnTo>
                  <a:lnTo>
                    <a:pt x="515" y="777"/>
                  </a:lnTo>
                  <a:lnTo>
                    <a:pt x="509" y="777"/>
                  </a:lnTo>
                  <a:lnTo>
                    <a:pt x="506" y="777"/>
                  </a:lnTo>
                  <a:lnTo>
                    <a:pt x="504" y="781"/>
                  </a:lnTo>
                  <a:lnTo>
                    <a:pt x="502" y="781"/>
                  </a:lnTo>
                  <a:lnTo>
                    <a:pt x="494" y="777"/>
                  </a:lnTo>
                  <a:lnTo>
                    <a:pt x="494" y="771"/>
                  </a:lnTo>
                  <a:lnTo>
                    <a:pt x="496" y="767"/>
                  </a:lnTo>
                  <a:lnTo>
                    <a:pt x="495" y="765"/>
                  </a:lnTo>
                  <a:lnTo>
                    <a:pt x="492" y="763"/>
                  </a:lnTo>
                  <a:lnTo>
                    <a:pt x="490" y="761"/>
                  </a:lnTo>
                  <a:lnTo>
                    <a:pt x="484" y="761"/>
                  </a:lnTo>
                  <a:lnTo>
                    <a:pt x="481" y="759"/>
                  </a:lnTo>
                  <a:lnTo>
                    <a:pt x="479" y="757"/>
                  </a:lnTo>
                  <a:lnTo>
                    <a:pt x="479" y="753"/>
                  </a:lnTo>
                  <a:lnTo>
                    <a:pt x="477" y="748"/>
                  </a:lnTo>
                  <a:lnTo>
                    <a:pt x="479" y="747"/>
                  </a:lnTo>
                  <a:lnTo>
                    <a:pt x="488" y="747"/>
                  </a:lnTo>
                  <a:lnTo>
                    <a:pt x="490" y="745"/>
                  </a:lnTo>
                  <a:lnTo>
                    <a:pt x="492" y="742"/>
                  </a:lnTo>
                  <a:lnTo>
                    <a:pt x="495" y="742"/>
                  </a:lnTo>
                  <a:lnTo>
                    <a:pt x="497" y="740"/>
                  </a:lnTo>
                  <a:lnTo>
                    <a:pt x="502" y="731"/>
                  </a:lnTo>
                  <a:lnTo>
                    <a:pt x="501" y="728"/>
                  </a:lnTo>
                  <a:lnTo>
                    <a:pt x="497" y="727"/>
                  </a:lnTo>
                  <a:lnTo>
                    <a:pt x="488" y="731"/>
                  </a:lnTo>
                  <a:lnTo>
                    <a:pt x="485" y="733"/>
                  </a:lnTo>
                  <a:lnTo>
                    <a:pt x="483" y="733"/>
                  </a:lnTo>
                  <a:lnTo>
                    <a:pt x="480" y="734"/>
                  </a:lnTo>
                  <a:lnTo>
                    <a:pt x="479" y="733"/>
                  </a:lnTo>
                  <a:lnTo>
                    <a:pt x="473" y="729"/>
                  </a:lnTo>
                  <a:lnTo>
                    <a:pt x="471" y="733"/>
                  </a:lnTo>
                  <a:lnTo>
                    <a:pt x="466" y="739"/>
                  </a:lnTo>
                  <a:lnTo>
                    <a:pt x="459" y="745"/>
                  </a:lnTo>
                  <a:lnTo>
                    <a:pt x="454" y="751"/>
                  </a:lnTo>
                  <a:lnTo>
                    <a:pt x="453" y="758"/>
                  </a:lnTo>
                  <a:lnTo>
                    <a:pt x="453" y="774"/>
                  </a:lnTo>
                  <a:lnTo>
                    <a:pt x="455" y="799"/>
                  </a:lnTo>
                  <a:lnTo>
                    <a:pt x="455" y="813"/>
                  </a:lnTo>
                  <a:lnTo>
                    <a:pt x="456" y="818"/>
                  </a:lnTo>
                  <a:lnTo>
                    <a:pt x="461" y="824"/>
                  </a:lnTo>
                  <a:lnTo>
                    <a:pt x="466" y="832"/>
                  </a:lnTo>
                  <a:lnTo>
                    <a:pt x="469" y="840"/>
                  </a:lnTo>
                  <a:lnTo>
                    <a:pt x="472" y="84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6" name="Freeform 79"/>
            <p:cNvSpPr>
              <a:spLocks/>
            </p:cNvSpPr>
            <p:nvPr userDrawn="1"/>
          </p:nvSpPr>
          <p:spPr bwMode="auto">
            <a:xfrm>
              <a:off x="8535988" y="6245226"/>
              <a:ext cx="250825" cy="409575"/>
            </a:xfrm>
            <a:custGeom>
              <a:avLst/>
              <a:gdLst/>
              <a:ahLst/>
              <a:cxnLst>
                <a:cxn ang="0">
                  <a:pos x="387" y="95"/>
                </a:cxn>
                <a:cxn ang="0">
                  <a:pos x="319" y="196"/>
                </a:cxn>
                <a:cxn ang="0">
                  <a:pos x="281" y="250"/>
                </a:cxn>
                <a:cxn ang="0">
                  <a:pos x="289" y="298"/>
                </a:cxn>
                <a:cxn ang="0">
                  <a:pos x="247" y="331"/>
                </a:cxn>
                <a:cxn ang="0">
                  <a:pos x="211" y="438"/>
                </a:cxn>
                <a:cxn ang="0">
                  <a:pos x="222" y="463"/>
                </a:cxn>
                <a:cxn ang="0">
                  <a:pos x="151" y="523"/>
                </a:cxn>
                <a:cxn ang="0">
                  <a:pos x="171" y="555"/>
                </a:cxn>
                <a:cxn ang="0">
                  <a:pos x="128" y="586"/>
                </a:cxn>
                <a:cxn ang="0">
                  <a:pos x="158" y="592"/>
                </a:cxn>
                <a:cxn ang="0">
                  <a:pos x="200" y="604"/>
                </a:cxn>
                <a:cxn ang="0">
                  <a:pos x="119" y="635"/>
                </a:cxn>
                <a:cxn ang="0">
                  <a:pos x="89" y="665"/>
                </a:cxn>
                <a:cxn ang="0">
                  <a:pos x="89" y="694"/>
                </a:cxn>
                <a:cxn ang="0">
                  <a:pos x="77" y="725"/>
                </a:cxn>
                <a:cxn ang="0">
                  <a:pos x="118" y="759"/>
                </a:cxn>
                <a:cxn ang="0">
                  <a:pos x="145" y="779"/>
                </a:cxn>
                <a:cxn ang="0">
                  <a:pos x="188" y="788"/>
                </a:cxn>
                <a:cxn ang="0">
                  <a:pos x="219" y="799"/>
                </a:cxn>
                <a:cxn ang="0">
                  <a:pos x="176" y="836"/>
                </a:cxn>
                <a:cxn ang="0">
                  <a:pos x="119" y="858"/>
                </a:cxn>
                <a:cxn ang="0">
                  <a:pos x="98" y="902"/>
                </a:cxn>
                <a:cxn ang="0">
                  <a:pos x="45" y="921"/>
                </a:cxn>
                <a:cxn ang="0">
                  <a:pos x="84" y="943"/>
                </a:cxn>
                <a:cxn ang="0">
                  <a:pos x="39" y="980"/>
                </a:cxn>
                <a:cxn ang="0">
                  <a:pos x="56" y="1013"/>
                </a:cxn>
                <a:cxn ang="0">
                  <a:pos x="81" y="1051"/>
                </a:cxn>
                <a:cxn ang="0">
                  <a:pos x="88" y="1106"/>
                </a:cxn>
                <a:cxn ang="0">
                  <a:pos x="165" y="1172"/>
                </a:cxn>
                <a:cxn ang="0">
                  <a:pos x="269" y="1158"/>
                </a:cxn>
                <a:cxn ang="0">
                  <a:pos x="361" y="1224"/>
                </a:cxn>
                <a:cxn ang="0">
                  <a:pos x="502" y="1180"/>
                </a:cxn>
                <a:cxn ang="0">
                  <a:pos x="596" y="1228"/>
                </a:cxn>
                <a:cxn ang="0">
                  <a:pos x="686" y="1204"/>
                </a:cxn>
                <a:cxn ang="0">
                  <a:pos x="779" y="1117"/>
                </a:cxn>
                <a:cxn ang="0">
                  <a:pos x="708" y="1050"/>
                </a:cxn>
                <a:cxn ang="0">
                  <a:pos x="703" y="997"/>
                </a:cxn>
                <a:cxn ang="0">
                  <a:pos x="677" y="984"/>
                </a:cxn>
                <a:cxn ang="0">
                  <a:pos x="699" y="939"/>
                </a:cxn>
                <a:cxn ang="0">
                  <a:pos x="718" y="890"/>
                </a:cxn>
                <a:cxn ang="0">
                  <a:pos x="725" y="833"/>
                </a:cxn>
                <a:cxn ang="0">
                  <a:pos x="575" y="793"/>
                </a:cxn>
                <a:cxn ang="0">
                  <a:pos x="631" y="787"/>
                </a:cxn>
                <a:cxn ang="0">
                  <a:pos x="691" y="752"/>
                </a:cxn>
                <a:cxn ang="0">
                  <a:pos x="720" y="710"/>
                </a:cxn>
                <a:cxn ang="0">
                  <a:pos x="702" y="668"/>
                </a:cxn>
                <a:cxn ang="0">
                  <a:pos x="672" y="577"/>
                </a:cxn>
                <a:cxn ang="0">
                  <a:pos x="595" y="533"/>
                </a:cxn>
                <a:cxn ang="0">
                  <a:pos x="618" y="503"/>
                </a:cxn>
                <a:cxn ang="0">
                  <a:pos x="540" y="434"/>
                </a:cxn>
                <a:cxn ang="0">
                  <a:pos x="620" y="443"/>
                </a:cxn>
                <a:cxn ang="0">
                  <a:pos x="454" y="371"/>
                </a:cxn>
                <a:cxn ang="0">
                  <a:pos x="530" y="300"/>
                </a:cxn>
                <a:cxn ang="0">
                  <a:pos x="544" y="258"/>
                </a:cxn>
                <a:cxn ang="0">
                  <a:pos x="495" y="235"/>
                </a:cxn>
                <a:cxn ang="0">
                  <a:pos x="484" y="217"/>
                </a:cxn>
                <a:cxn ang="0">
                  <a:pos x="472" y="145"/>
                </a:cxn>
                <a:cxn ang="0">
                  <a:pos x="461" y="135"/>
                </a:cxn>
                <a:cxn ang="0">
                  <a:pos x="461" y="104"/>
                </a:cxn>
                <a:cxn ang="0">
                  <a:pos x="444" y="99"/>
                </a:cxn>
                <a:cxn ang="0">
                  <a:pos x="432" y="41"/>
                </a:cxn>
                <a:cxn ang="0">
                  <a:pos x="410" y="28"/>
                </a:cxn>
              </a:cxnLst>
              <a:rect l="0" t="0" r="r" b="b"/>
              <a:pathLst>
                <a:path w="794" h="1293">
                  <a:moveTo>
                    <a:pt x="398" y="22"/>
                  </a:moveTo>
                  <a:lnTo>
                    <a:pt x="394" y="15"/>
                  </a:lnTo>
                  <a:lnTo>
                    <a:pt x="390" y="0"/>
                  </a:lnTo>
                  <a:lnTo>
                    <a:pt x="389" y="0"/>
                  </a:lnTo>
                  <a:lnTo>
                    <a:pt x="390" y="6"/>
                  </a:lnTo>
                  <a:lnTo>
                    <a:pt x="393" y="15"/>
                  </a:lnTo>
                  <a:lnTo>
                    <a:pt x="398" y="22"/>
                  </a:lnTo>
                  <a:lnTo>
                    <a:pt x="396" y="26"/>
                  </a:lnTo>
                  <a:lnTo>
                    <a:pt x="393" y="17"/>
                  </a:lnTo>
                  <a:lnTo>
                    <a:pt x="392" y="18"/>
                  </a:lnTo>
                  <a:lnTo>
                    <a:pt x="395" y="26"/>
                  </a:lnTo>
                  <a:lnTo>
                    <a:pt x="395" y="27"/>
                  </a:lnTo>
                  <a:lnTo>
                    <a:pt x="384" y="21"/>
                  </a:lnTo>
                  <a:lnTo>
                    <a:pt x="383" y="22"/>
                  </a:lnTo>
                  <a:lnTo>
                    <a:pt x="398" y="30"/>
                  </a:lnTo>
                  <a:lnTo>
                    <a:pt x="396" y="33"/>
                  </a:lnTo>
                  <a:lnTo>
                    <a:pt x="395" y="34"/>
                  </a:lnTo>
                  <a:lnTo>
                    <a:pt x="392" y="29"/>
                  </a:lnTo>
                  <a:lnTo>
                    <a:pt x="390" y="30"/>
                  </a:lnTo>
                  <a:lnTo>
                    <a:pt x="395" y="35"/>
                  </a:lnTo>
                  <a:lnTo>
                    <a:pt x="394" y="36"/>
                  </a:lnTo>
                  <a:lnTo>
                    <a:pt x="387" y="36"/>
                  </a:lnTo>
                  <a:lnTo>
                    <a:pt x="387" y="38"/>
                  </a:lnTo>
                  <a:lnTo>
                    <a:pt x="394" y="38"/>
                  </a:lnTo>
                  <a:lnTo>
                    <a:pt x="395" y="40"/>
                  </a:lnTo>
                  <a:lnTo>
                    <a:pt x="396" y="44"/>
                  </a:lnTo>
                  <a:lnTo>
                    <a:pt x="389" y="44"/>
                  </a:lnTo>
                  <a:lnTo>
                    <a:pt x="389" y="45"/>
                  </a:lnTo>
                  <a:lnTo>
                    <a:pt x="395" y="45"/>
                  </a:lnTo>
                  <a:lnTo>
                    <a:pt x="393" y="46"/>
                  </a:lnTo>
                  <a:lnTo>
                    <a:pt x="396" y="46"/>
                  </a:lnTo>
                  <a:lnTo>
                    <a:pt x="395" y="50"/>
                  </a:lnTo>
                  <a:lnTo>
                    <a:pt x="393" y="50"/>
                  </a:lnTo>
                  <a:lnTo>
                    <a:pt x="393" y="47"/>
                  </a:lnTo>
                  <a:lnTo>
                    <a:pt x="392" y="50"/>
                  </a:lnTo>
                  <a:lnTo>
                    <a:pt x="390" y="48"/>
                  </a:lnTo>
                  <a:lnTo>
                    <a:pt x="387" y="42"/>
                  </a:lnTo>
                  <a:lnTo>
                    <a:pt x="389" y="48"/>
                  </a:lnTo>
                  <a:lnTo>
                    <a:pt x="388" y="48"/>
                  </a:lnTo>
                  <a:lnTo>
                    <a:pt x="384" y="47"/>
                  </a:lnTo>
                  <a:lnTo>
                    <a:pt x="383" y="48"/>
                  </a:lnTo>
                  <a:lnTo>
                    <a:pt x="385" y="50"/>
                  </a:lnTo>
                  <a:lnTo>
                    <a:pt x="388" y="50"/>
                  </a:lnTo>
                  <a:lnTo>
                    <a:pt x="389" y="51"/>
                  </a:lnTo>
                  <a:lnTo>
                    <a:pt x="388" y="52"/>
                  </a:lnTo>
                  <a:lnTo>
                    <a:pt x="384" y="51"/>
                  </a:lnTo>
                  <a:lnTo>
                    <a:pt x="384" y="52"/>
                  </a:lnTo>
                  <a:lnTo>
                    <a:pt x="389" y="53"/>
                  </a:lnTo>
                  <a:lnTo>
                    <a:pt x="389" y="54"/>
                  </a:lnTo>
                  <a:lnTo>
                    <a:pt x="388" y="57"/>
                  </a:lnTo>
                  <a:lnTo>
                    <a:pt x="387" y="57"/>
                  </a:lnTo>
                  <a:lnTo>
                    <a:pt x="384" y="54"/>
                  </a:lnTo>
                  <a:lnTo>
                    <a:pt x="377" y="48"/>
                  </a:lnTo>
                  <a:lnTo>
                    <a:pt x="377" y="50"/>
                  </a:lnTo>
                  <a:lnTo>
                    <a:pt x="379" y="52"/>
                  </a:lnTo>
                  <a:lnTo>
                    <a:pt x="379" y="53"/>
                  </a:lnTo>
                  <a:lnTo>
                    <a:pt x="376" y="53"/>
                  </a:lnTo>
                  <a:lnTo>
                    <a:pt x="372" y="52"/>
                  </a:lnTo>
                  <a:lnTo>
                    <a:pt x="375" y="54"/>
                  </a:lnTo>
                  <a:lnTo>
                    <a:pt x="381" y="56"/>
                  </a:lnTo>
                  <a:lnTo>
                    <a:pt x="382" y="57"/>
                  </a:lnTo>
                  <a:lnTo>
                    <a:pt x="376" y="62"/>
                  </a:lnTo>
                  <a:lnTo>
                    <a:pt x="383" y="57"/>
                  </a:lnTo>
                  <a:lnTo>
                    <a:pt x="384" y="58"/>
                  </a:lnTo>
                  <a:lnTo>
                    <a:pt x="382" y="59"/>
                  </a:lnTo>
                  <a:lnTo>
                    <a:pt x="385" y="58"/>
                  </a:lnTo>
                  <a:lnTo>
                    <a:pt x="387" y="59"/>
                  </a:lnTo>
                  <a:lnTo>
                    <a:pt x="388" y="60"/>
                  </a:lnTo>
                  <a:lnTo>
                    <a:pt x="388" y="64"/>
                  </a:lnTo>
                  <a:lnTo>
                    <a:pt x="390" y="59"/>
                  </a:lnTo>
                  <a:lnTo>
                    <a:pt x="398" y="65"/>
                  </a:lnTo>
                  <a:lnTo>
                    <a:pt x="399" y="69"/>
                  </a:lnTo>
                  <a:lnTo>
                    <a:pt x="395" y="70"/>
                  </a:lnTo>
                  <a:lnTo>
                    <a:pt x="393" y="70"/>
                  </a:lnTo>
                  <a:lnTo>
                    <a:pt x="392" y="68"/>
                  </a:lnTo>
                  <a:lnTo>
                    <a:pt x="392" y="69"/>
                  </a:lnTo>
                  <a:lnTo>
                    <a:pt x="388" y="69"/>
                  </a:lnTo>
                  <a:lnTo>
                    <a:pt x="387" y="69"/>
                  </a:lnTo>
                  <a:lnTo>
                    <a:pt x="383" y="65"/>
                  </a:lnTo>
                  <a:lnTo>
                    <a:pt x="383" y="66"/>
                  </a:lnTo>
                  <a:lnTo>
                    <a:pt x="385" y="70"/>
                  </a:lnTo>
                  <a:lnTo>
                    <a:pt x="379" y="70"/>
                  </a:lnTo>
                  <a:lnTo>
                    <a:pt x="379" y="71"/>
                  </a:lnTo>
                  <a:lnTo>
                    <a:pt x="385" y="71"/>
                  </a:lnTo>
                  <a:lnTo>
                    <a:pt x="385" y="72"/>
                  </a:lnTo>
                  <a:lnTo>
                    <a:pt x="383" y="76"/>
                  </a:lnTo>
                  <a:lnTo>
                    <a:pt x="388" y="72"/>
                  </a:lnTo>
                  <a:lnTo>
                    <a:pt x="390" y="72"/>
                  </a:lnTo>
                  <a:lnTo>
                    <a:pt x="392" y="71"/>
                  </a:lnTo>
                  <a:lnTo>
                    <a:pt x="394" y="72"/>
                  </a:lnTo>
                  <a:lnTo>
                    <a:pt x="393" y="74"/>
                  </a:lnTo>
                  <a:lnTo>
                    <a:pt x="389" y="74"/>
                  </a:lnTo>
                  <a:lnTo>
                    <a:pt x="389" y="75"/>
                  </a:lnTo>
                  <a:lnTo>
                    <a:pt x="392" y="76"/>
                  </a:lnTo>
                  <a:lnTo>
                    <a:pt x="390" y="76"/>
                  </a:lnTo>
                  <a:lnTo>
                    <a:pt x="387" y="78"/>
                  </a:lnTo>
                  <a:lnTo>
                    <a:pt x="387" y="80"/>
                  </a:lnTo>
                  <a:lnTo>
                    <a:pt x="392" y="80"/>
                  </a:lnTo>
                  <a:lnTo>
                    <a:pt x="392" y="82"/>
                  </a:lnTo>
                  <a:lnTo>
                    <a:pt x="385" y="87"/>
                  </a:lnTo>
                  <a:lnTo>
                    <a:pt x="385" y="88"/>
                  </a:lnTo>
                  <a:lnTo>
                    <a:pt x="388" y="88"/>
                  </a:lnTo>
                  <a:lnTo>
                    <a:pt x="389" y="90"/>
                  </a:lnTo>
                  <a:lnTo>
                    <a:pt x="388" y="90"/>
                  </a:lnTo>
                  <a:lnTo>
                    <a:pt x="388" y="92"/>
                  </a:lnTo>
                  <a:lnTo>
                    <a:pt x="389" y="93"/>
                  </a:lnTo>
                  <a:lnTo>
                    <a:pt x="390" y="93"/>
                  </a:lnTo>
                  <a:lnTo>
                    <a:pt x="390" y="94"/>
                  </a:lnTo>
                  <a:lnTo>
                    <a:pt x="387" y="94"/>
                  </a:lnTo>
                  <a:lnTo>
                    <a:pt x="384" y="93"/>
                  </a:lnTo>
                  <a:lnTo>
                    <a:pt x="385" y="95"/>
                  </a:lnTo>
                  <a:lnTo>
                    <a:pt x="383" y="100"/>
                  </a:lnTo>
                  <a:lnTo>
                    <a:pt x="384" y="100"/>
                  </a:lnTo>
                  <a:lnTo>
                    <a:pt x="387" y="95"/>
                  </a:lnTo>
                  <a:lnTo>
                    <a:pt x="390" y="97"/>
                  </a:lnTo>
                  <a:lnTo>
                    <a:pt x="388" y="99"/>
                  </a:lnTo>
                  <a:lnTo>
                    <a:pt x="384" y="103"/>
                  </a:lnTo>
                  <a:lnTo>
                    <a:pt x="378" y="107"/>
                  </a:lnTo>
                  <a:lnTo>
                    <a:pt x="369" y="112"/>
                  </a:lnTo>
                  <a:lnTo>
                    <a:pt x="365" y="112"/>
                  </a:lnTo>
                  <a:lnTo>
                    <a:pt x="366" y="113"/>
                  </a:lnTo>
                  <a:lnTo>
                    <a:pt x="366" y="115"/>
                  </a:lnTo>
                  <a:lnTo>
                    <a:pt x="360" y="112"/>
                  </a:lnTo>
                  <a:lnTo>
                    <a:pt x="364" y="115"/>
                  </a:lnTo>
                  <a:lnTo>
                    <a:pt x="358" y="117"/>
                  </a:lnTo>
                  <a:lnTo>
                    <a:pt x="358" y="119"/>
                  </a:lnTo>
                  <a:lnTo>
                    <a:pt x="366" y="117"/>
                  </a:lnTo>
                  <a:lnTo>
                    <a:pt x="365" y="121"/>
                  </a:lnTo>
                  <a:lnTo>
                    <a:pt x="365" y="124"/>
                  </a:lnTo>
                  <a:lnTo>
                    <a:pt x="366" y="124"/>
                  </a:lnTo>
                  <a:lnTo>
                    <a:pt x="366" y="119"/>
                  </a:lnTo>
                  <a:lnTo>
                    <a:pt x="367" y="119"/>
                  </a:lnTo>
                  <a:lnTo>
                    <a:pt x="367" y="117"/>
                  </a:lnTo>
                  <a:lnTo>
                    <a:pt x="370" y="117"/>
                  </a:lnTo>
                  <a:lnTo>
                    <a:pt x="370" y="121"/>
                  </a:lnTo>
                  <a:lnTo>
                    <a:pt x="371" y="121"/>
                  </a:lnTo>
                  <a:lnTo>
                    <a:pt x="371" y="115"/>
                  </a:lnTo>
                  <a:lnTo>
                    <a:pt x="376" y="113"/>
                  </a:lnTo>
                  <a:lnTo>
                    <a:pt x="376" y="116"/>
                  </a:lnTo>
                  <a:lnTo>
                    <a:pt x="373" y="119"/>
                  </a:lnTo>
                  <a:lnTo>
                    <a:pt x="373" y="121"/>
                  </a:lnTo>
                  <a:lnTo>
                    <a:pt x="375" y="123"/>
                  </a:lnTo>
                  <a:lnTo>
                    <a:pt x="375" y="124"/>
                  </a:lnTo>
                  <a:lnTo>
                    <a:pt x="377" y="127"/>
                  </a:lnTo>
                  <a:lnTo>
                    <a:pt x="372" y="129"/>
                  </a:lnTo>
                  <a:lnTo>
                    <a:pt x="371" y="128"/>
                  </a:lnTo>
                  <a:lnTo>
                    <a:pt x="370" y="128"/>
                  </a:lnTo>
                  <a:lnTo>
                    <a:pt x="371" y="129"/>
                  </a:lnTo>
                  <a:lnTo>
                    <a:pt x="369" y="129"/>
                  </a:lnTo>
                  <a:lnTo>
                    <a:pt x="366" y="130"/>
                  </a:lnTo>
                  <a:lnTo>
                    <a:pt x="370" y="131"/>
                  </a:lnTo>
                  <a:lnTo>
                    <a:pt x="371" y="130"/>
                  </a:lnTo>
                  <a:lnTo>
                    <a:pt x="372" y="131"/>
                  </a:lnTo>
                  <a:lnTo>
                    <a:pt x="369" y="133"/>
                  </a:lnTo>
                  <a:lnTo>
                    <a:pt x="366" y="135"/>
                  </a:lnTo>
                  <a:lnTo>
                    <a:pt x="364" y="137"/>
                  </a:lnTo>
                  <a:lnTo>
                    <a:pt x="365" y="139"/>
                  </a:lnTo>
                  <a:lnTo>
                    <a:pt x="366" y="137"/>
                  </a:lnTo>
                  <a:lnTo>
                    <a:pt x="369" y="137"/>
                  </a:lnTo>
                  <a:lnTo>
                    <a:pt x="369" y="140"/>
                  </a:lnTo>
                  <a:lnTo>
                    <a:pt x="367" y="141"/>
                  </a:lnTo>
                  <a:lnTo>
                    <a:pt x="365" y="141"/>
                  </a:lnTo>
                  <a:lnTo>
                    <a:pt x="364" y="139"/>
                  </a:lnTo>
                  <a:lnTo>
                    <a:pt x="359" y="139"/>
                  </a:lnTo>
                  <a:lnTo>
                    <a:pt x="358" y="140"/>
                  </a:lnTo>
                  <a:lnTo>
                    <a:pt x="357" y="142"/>
                  </a:lnTo>
                  <a:lnTo>
                    <a:pt x="355" y="145"/>
                  </a:lnTo>
                  <a:lnTo>
                    <a:pt x="351" y="145"/>
                  </a:lnTo>
                  <a:lnTo>
                    <a:pt x="345" y="148"/>
                  </a:lnTo>
                  <a:lnTo>
                    <a:pt x="341" y="149"/>
                  </a:lnTo>
                  <a:lnTo>
                    <a:pt x="340" y="153"/>
                  </a:lnTo>
                  <a:lnTo>
                    <a:pt x="336" y="153"/>
                  </a:lnTo>
                  <a:lnTo>
                    <a:pt x="337" y="152"/>
                  </a:lnTo>
                  <a:lnTo>
                    <a:pt x="336" y="152"/>
                  </a:lnTo>
                  <a:lnTo>
                    <a:pt x="331" y="152"/>
                  </a:lnTo>
                  <a:lnTo>
                    <a:pt x="331" y="154"/>
                  </a:lnTo>
                  <a:lnTo>
                    <a:pt x="330" y="155"/>
                  </a:lnTo>
                  <a:lnTo>
                    <a:pt x="322" y="161"/>
                  </a:lnTo>
                  <a:lnTo>
                    <a:pt x="318" y="163"/>
                  </a:lnTo>
                  <a:lnTo>
                    <a:pt x="316" y="163"/>
                  </a:lnTo>
                  <a:lnTo>
                    <a:pt x="317" y="164"/>
                  </a:lnTo>
                  <a:lnTo>
                    <a:pt x="316" y="165"/>
                  </a:lnTo>
                  <a:lnTo>
                    <a:pt x="313" y="166"/>
                  </a:lnTo>
                  <a:lnTo>
                    <a:pt x="312" y="167"/>
                  </a:lnTo>
                  <a:lnTo>
                    <a:pt x="311" y="169"/>
                  </a:lnTo>
                  <a:lnTo>
                    <a:pt x="307" y="170"/>
                  </a:lnTo>
                  <a:lnTo>
                    <a:pt x="308" y="170"/>
                  </a:lnTo>
                  <a:lnTo>
                    <a:pt x="308" y="171"/>
                  </a:lnTo>
                  <a:lnTo>
                    <a:pt x="305" y="171"/>
                  </a:lnTo>
                  <a:lnTo>
                    <a:pt x="305" y="172"/>
                  </a:lnTo>
                  <a:lnTo>
                    <a:pt x="307" y="172"/>
                  </a:lnTo>
                  <a:lnTo>
                    <a:pt x="304" y="177"/>
                  </a:lnTo>
                  <a:lnTo>
                    <a:pt x="307" y="173"/>
                  </a:lnTo>
                  <a:lnTo>
                    <a:pt x="308" y="173"/>
                  </a:lnTo>
                  <a:lnTo>
                    <a:pt x="308" y="177"/>
                  </a:lnTo>
                  <a:lnTo>
                    <a:pt x="310" y="172"/>
                  </a:lnTo>
                  <a:lnTo>
                    <a:pt x="311" y="172"/>
                  </a:lnTo>
                  <a:lnTo>
                    <a:pt x="311" y="173"/>
                  </a:lnTo>
                  <a:lnTo>
                    <a:pt x="312" y="172"/>
                  </a:lnTo>
                  <a:lnTo>
                    <a:pt x="313" y="170"/>
                  </a:lnTo>
                  <a:lnTo>
                    <a:pt x="319" y="165"/>
                  </a:lnTo>
                  <a:lnTo>
                    <a:pt x="318" y="171"/>
                  </a:lnTo>
                  <a:lnTo>
                    <a:pt x="319" y="172"/>
                  </a:lnTo>
                  <a:lnTo>
                    <a:pt x="319" y="176"/>
                  </a:lnTo>
                  <a:lnTo>
                    <a:pt x="320" y="176"/>
                  </a:lnTo>
                  <a:lnTo>
                    <a:pt x="322" y="172"/>
                  </a:lnTo>
                  <a:lnTo>
                    <a:pt x="320" y="165"/>
                  </a:lnTo>
                  <a:lnTo>
                    <a:pt x="322" y="169"/>
                  </a:lnTo>
                  <a:lnTo>
                    <a:pt x="322" y="175"/>
                  </a:lnTo>
                  <a:lnTo>
                    <a:pt x="323" y="175"/>
                  </a:lnTo>
                  <a:lnTo>
                    <a:pt x="323" y="176"/>
                  </a:lnTo>
                  <a:lnTo>
                    <a:pt x="324" y="177"/>
                  </a:lnTo>
                  <a:lnTo>
                    <a:pt x="325" y="178"/>
                  </a:lnTo>
                  <a:lnTo>
                    <a:pt x="324" y="179"/>
                  </a:lnTo>
                  <a:lnTo>
                    <a:pt x="320" y="181"/>
                  </a:lnTo>
                  <a:lnTo>
                    <a:pt x="322" y="182"/>
                  </a:lnTo>
                  <a:lnTo>
                    <a:pt x="322" y="183"/>
                  </a:lnTo>
                  <a:lnTo>
                    <a:pt x="319" y="183"/>
                  </a:lnTo>
                  <a:lnTo>
                    <a:pt x="320" y="184"/>
                  </a:lnTo>
                  <a:lnTo>
                    <a:pt x="322" y="184"/>
                  </a:lnTo>
                  <a:lnTo>
                    <a:pt x="323" y="185"/>
                  </a:lnTo>
                  <a:lnTo>
                    <a:pt x="320" y="187"/>
                  </a:lnTo>
                  <a:lnTo>
                    <a:pt x="319" y="188"/>
                  </a:lnTo>
                  <a:lnTo>
                    <a:pt x="319" y="189"/>
                  </a:lnTo>
                  <a:lnTo>
                    <a:pt x="319" y="190"/>
                  </a:lnTo>
                  <a:lnTo>
                    <a:pt x="320" y="194"/>
                  </a:lnTo>
                  <a:lnTo>
                    <a:pt x="319" y="195"/>
                  </a:lnTo>
                  <a:lnTo>
                    <a:pt x="319" y="196"/>
                  </a:lnTo>
                  <a:lnTo>
                    <a:pt x="320" y="197"/>
                  </a:lnTo>
                  <a:lnTo>
                    <a:pt x="324" y="197"/>
                  </a:lnTo>
                  <a:lnTo>
                    <a:pt x="325" y="199"/>
                  </a:lnTo>
                  <a:lnTo>
                    <a:pt x="324" y="199"/>
                  </a:lnTo>
                  <a:lnTo>
                    <a:pt x="319" y="200"/>
                  </a:lnTo>
                  <a:lnTo>
                    <a:pt x="319" y="201"/>
                  </a:lnTo>
                  <a:lnTo>
                    <a:pt x="318" y="201"/>
                  </a:lnTo>
                  <a:lnTo>
                    <a:pt x="318" y="202"/>
                  </a:lnTo>
                  <a:lnTo>
                    <a:pt x="316" y="202"/>
                  </a:lnTo>
                  <a:lnTo>
                    <a:pt x="313" y="201"/>
                  </a:lnTo>
                  <a:lnTo>
                    <a:pt x="312" y="201"/>
                  </a:lnTo>
                  <a:lnTo>
                    <a:pt x="312" y="202"/>
                  </a:lnTo>
                  <a:lnTo>
                    <a:pt x="314" y="204"/>
                  </a:lnTo>
                  <a:lnTo>
                    <a:pt x="312" y="205"/>
                  </a:lnTo>
                  <a:lnTo>
                    <a:pt x="311" y="205"/>
                  </a:lnTo>
                  <a:lnTo>
                    <a:pt x="310" y="204"/>
                  </a:lnTo>
                  <a:lnTo>
                    <a:pt x="307" y="204"/>
                  </a:lnTo>
                  <a:lnTo>
                    <a:pt x="308" y="205"/>
                  </a:lnTo>
                  <a:lnTo>
                    <a:pt x="305" y="206"/>
                  </a:lnTo>
                  <a:lnTo>
                    <a:pt x="300" y="208"/>
                  </a:lnTo>
                  <a:lnTo>
                    <a:pt x="300" y="210"/>
                  </a:lnTo>
                  <a:lnTo>
                    <a:pt x="305" y="207"/>
                  </a:lnTo>
                  <a:lnTo>
                    <a:pt x="306" y="208"/>
                  </a:lnTo>
                  <a:lnTo>
                    <a:pt x="304" y="216"/>
                  </a:lnTo>
                  <a:lnTo>
                    <a:pt x="305" y="216"/>
                  </a:lnTo>
                  <a:lnTo>
                    <a:pt x="307" y="208"/>
                  </a:lnTo>
                  <a:lnTo>
                    <a:pt x="308" y="208"/>
                  </a:lnTo>
                  <a:lnTo>
                    <a:pt x="308" y="212"/>
                  </a:lnTo>
                  <a:lnTo>
                    <a:pt x="310" y="212"/>
                  </a:lnTo>
                  <a:lnTo>
                    <a:pt x="311" y="210"/>
                  </a:lnTo>
                  <a:lnTo>
                    <a:pt x="312" y="211"/>
                  </a:lnTo>
                  <a:lnTo>
                    <a:pt x="313" y="206"/>
                  </a:lnTo>
                  <a:lnTo>
                    <a:pt x="314" y="206"/>
                  </a:lnTo>
                  <a:lnTo>
                    <a:pt x="314" y="207"/>
                  </a:lnTo>
                  <a:lnTo>
                    <a:pt x="314" y="208"/>
                  </a:lnTo>
                  <a:lnTo>
                    <a:pt x="314" y="210"/>
                  </a:lnTo>
                  <a:lnTo>
                    <a:pt x="316" y="211"/>
                  </a:lnTo>
                  <a:lnTo>
                    <a:pt x="318" y="219"/>
                  </a:lnTo>
                  <a:lnTo>
                    <a:pt x="319" y="219"/>
                  </a:lnTo>
                  <a:lnTo>
                    <a:pt x="320" y="218"/>
                  </a:lnTo>
                  <a:lnTo>
                    <a:pt x="322" y="220"/>
                  </a:lnTo>
                  <a:lnTo>
                    <a:pt x="323" y="222"/>
                  </a:lnTo>
                  <a:lnTo>
                    <a:pt x="323" y="220"/>
                  </a:lnTo>
                  <a:lnTo>
                    <a:pt x="322" y="218"/>
                  </a:lnTo>
                  <a:lnTo>
                    <a:pt x="323" y="218"/>
                  </a:lnTo>
                  <a:lnTo>
                    <a:pt x="324" y="219"/>
                  </a:lnTo>
                  <a:lnTo>
                    <a:pt x="325" y="219"/>
                  </a:lnTo>
                  <a:lnTo>
                    <a:pt x="325" y="217"/>
                  </a:lnTo>
                  <a:lnTo>
                    <a:pt x="326" y="216"/>
                  </a:lnTo>
                  <a:lnTo>
                    <a:pt x="328" y="219"/>
                  </a:lnTo>
                  <a:lnTo>
                    <a:pt x="328" y="220"/>
                  </a:lnTo>
                  <a:lnTo>
                    <a:pt x="329" y="222"/>
                  </a:lnTo>
                  <a:lnTo>
                    <a:pt x="329" y="216"/>
                  </a:lnTo>
                  <a:lnTo>
                    <a:pt x="329" y="214"/>
                  </a:lnTo>
                  <a:lnTo>
                    <a:pt x="330" y="216"/>
                  </a:lnTo>
                  <a:lnTo>
                    <a:pt x="331" y="218"/>
                  </a:lnTo>
                  <a:lnTo>
                    <a:pt x="331" y="213"/>
                  </a:lnTo>
                  <a:lnTo>
                    <a:pt x="333" y="212"/>
                  </a:lnTo>
                  <a:lnTo>
                    <a:pt x="333" y="213"/>
                  </a:lnTo>
                  <a:lnTo>
                    <a:pt x="334" y="214"/>
                  </a:lnTo>
                  <a:lnTo>
                    <a:pt x="335" y="218"/>
                  </a:lnTo>
                  <a:lnTo>
                    <a:pt x="335" y="219"/>
                  </a:lnTo>
                  <a:lnTo>
                    <a:pt x="336" y="223"/>
                  </a:lnTo>
                  <a:lnTo>
                    <a:pt x="335" y="224"/>
                  </a:lnTo>
                  <a:lnTo>
                    <a:pt x="331" y="225"/>
                  </a:lnTo>
                  <a:lnTo>
                    <a:pt x="329" y="228"/>
                  </a:lnTo>
                  <a:lnTo>
                    <a:pt x="326" y="231"/>
                  </a:lnTo>
                  <a:lnTo>
                    <a:pt x="319" y="231"/>
                  </a:lnTo>
                  <a:lnTo>
                    <a:pt x="317" y="232"/>
                  </a:lnTo>
                  <a:lnTo>
                    <a:pt x="310" y="234"/>
                  </a:lnTo>
                  <a:lnTo>
                    <a:pt x="308" y="235"/>
                  </a:lnTo>
                  <a:lnTo>
                    <a:pt x="304" y="235"/>
                  </a:lnTo>
                  <a:lnTo>
                    <a:pt x="301" y="234"/>
                  </a:lnTo>
                  <a:lnTo>
                    <a:pt x="301" y="235"/>
                  </a:lnTo>
                  <a:lnTo>
                    <a:pt x="300" y="235"/>
                  </a:lnTo>
                  <a:lnTo>
                    <a:pt x="296" y="231"/>
                  </a:lnTo>
                  <a:lnTo>
                    <a:pt x="296" y="232"/>
                  </a:lnTo>
                  <a:lnTo>
                    <a:pt x="298" y="234"/>
                  </a:lnTo>
                  <a:lnTo>
                    <a:pt x="299" y="235"/>
                  </a:lnTo>
                  <a:lnTo>
                    <a:pt x="296" y="235"/>
                  </a:lnTo>
                  <a:lnTo>
                    <a:pt x="295" y="234"/>
                  </a:lnTo>
                  <a:lnTo>
                    <a:pt x="293" y="234"/>
                  </a:lnTo>
                  <a:lnTo>
                    <a:pt x="287" y="230"/>
                  </a:lnTo>
                  <a:lnTo>
                    <a:pt x="286" y="230"/>
                  </a:lnTo>
                  <a:lnTo>
                    <a:pt x="292" y="235"/>
                  </a:lnTo>
                  <a:lnTo>
                    <a:pt x="278" y="235"/>
                  </a:lnTo>
                  <a:lnTo>
                    <a:pt x="280" y="236"/>
                  </a:lnTo>
                  <a:lnTo>
                    <a:pt x="289" y="237"/>
                  </a:lnTo>
                  <a:lnTo>
                    <a:pt x="292" y="237"/>
                  </a:lnTo>
                  <a:lnTo>
                    <a:pt x="289" y="238"/>
                  </a:lnTo>
                  <a:lnTo>
                    <a:pt x="289" y="240"/>
                  </a:lnTo>
                  <a:lnTo>
                    <a:pt x="295" y="236"/>
                  </a:lnTo>
                  <a:lnTo>
                    <a:pt x="296" y="236"/>
                  </a:lnTo>
                  <a:lnTo>
                    <a:pt x="298" y="238"/>
                  </a:lnTo>
                  <a:lnTo>
                    <a:pt x="298" y="240"/>
                  </a:lnTo>
                  <a:lnTo>
                    <a:pt x="296" y="242"/>
                  </a:lnTo>
                  <a:lnTo>
                    <a:pt x="298" y="244"/>
                  </a:lnTo>
                  <a:lnTo>
                    <a:pt x="299" y="247"/>
                  </a:lnTo>
                  <a:lnTo>
                    <a:pt x="300" y="248"/>
                  </a:lnTo>
                  <a:lnTo>
                    <a:pt x="298" y="249"/>
                  </a:lnTo>
                  <a:lnTo>
                    <a:pt x="296" y="252"/>
                  </a:lnTo>
                  <a:lnTo>
                    <a:pt x="299" y="252"/>
                  </a:lnTo>
                  <a:lnTo>
                    <a:pt x="299" y="253"/>
                  </a:lnTo>
                  <a:lnTo>
                    <a:pt x="296" y="254"/>
                  </a:lnTo>
                  <a:lnTo>
                    <a:pt x="294" y="256"/>
                  </a:lnTo>
                  <a:lnTo>
                    <a:pt x="294" y="258"/>
                  </a:lnTo>
                  <a:lnTo>
                    <a:pt x="293" y="258"/>
                  </a:lnTo>
                  <a:lnTo>
                    <a:pt x="292" y="256"/>
                  </a:lnTo>
                  <a:lnTo>
                    <a:pt x="292" y="254"/>
                  </a:lnTo>
                  <a:lnTo>
                    <a:pt x="290" y="252"/>
                  </a:lnTo>
                  <a:lnTo>
                    <a:pt x="290" y="253"/>
                  </a:lnTo>
                  <a:lnTo>
                    <a:pt x="290" y="254"/>
                  </a:lnTo>
                  <a:lnTo>
                    <a:pt x="288" y="256"/>
                  </a:lnTo>
                  <a:lnTo>
                    <a:pt x="281" y="250"/>
                  </a:lnTo>
                  <a:lnTo>
                    <a:pt x="278" y="250"/>
                  </a:lnTo>
                  <a:lnTo>
                    <a:pt x="271" y="244"/>
                  </a:lnTo>
                  <a:lnTo>
                    <a:pt x="270" y="246"/>
                  </a:lnTo>
                  <a:lnTo>
                    <a:pt x="275" y="250"/>
                  </a:lnTo>
                  <a:lnTo>
                    <a:pt x="272" y="250"/>
                  </a:lnTo>
                  <a:lnTo>
                    <a:pt x="269" y="248"/>
                  </a:lnTo>
                  <a:lnTo>
                    <a:pt x="268" y="249"/>
                  </a:lnTo>
                  <a:lnTo>
                    <a:pt x="271" y="250"/>
                  </a:lnTo>
                  <a:lnTo>
                    <a:pt x="270" y="252"/>
                  </a:lnTo>
                  <a:lnTo>
                    <a:pt x="274" y="253"/>
                  </a:lnTo>
                  <a:lnTo>
                    <a:pt x="275" y="254"/>
                  </a:lnTo>
                  <a:lnTo>
                    <a:pt x="272" y="255"/>
                  </a:lnTo>
                  <a:lnTo>
                    <a:pt x="276" y="255"/>
                  </a:lnTo>
                  <a:lnTo>
                    <a:pt x="277" y="254"/>
                  </a:lnTo>
                  <a:lnTo>
                    <a:pt x="278" y="254"/>
                  </a:lnTo>
                  <a:lnTo>
                    <a:pt x="278" y="255"/>
                  </a:lnTo>
                  <a:lnTo>
                    <a:pt x="276" y="258"/>
                  </a:lnTo>
                  <a:lnTo>
                    <a:pt x="277" y="258"/>
                  </a:lnTo>
                  <a:lnTo>
                    <a:pt x="281" y="255"/>
                  </a:lnTo>
                  <a:lnTo>
                    <a:pt x="284" y="256"/>
                  </a:lnTo>
                  <a:lnTo>
                    <a:pt x="281" y="258"/>
                  </a:lnTo>
                  <a:lnTo>
                    <a:pt x="278" y="259"/>
                  </a:lnTo>
                  <a:lnTo>
                    <a:pt x="276" y="261"/>
                  </a:lnTo>
                  <a:lnTo>
                    <a:pt x="277" y="262"/>
                  </a:lnTo>
                  <a:lnTo>
                    <a:pt x="278" y="261"/>
                  </a:lnTo>
                  <a:lnTo>
                    <a:pt x="280" y="260"/>
                  </a:lnTo>
                  <a:lnTo>
                    <a:pt x="281" y="260"/>
                  </a:lnTo>
                  <a:lnTo>
                    <a:pt x="283" y="260"/>
                  </a:lnTo>
                  <a:lnTo>
                    <a:pt x="284" y="260"/>
                  </a:lnTo>
                  <a:lnTo>
                    <a:pt x="284" y="262"/>
                  </a:lnTo>
                  <a:lnTo>
                    <a:pt x="287" y="262"/>
                  </a:lnTo>
                  <a:lnTo>
                    <a:pt x="289" y="262"/>
                  </a:lnTo>
                  <a:lnTo>
                    <a:pt x="290" y="262"/>
                  </a:lnTo>
                  <a:lnTo>
                    <a:pt x="289" y="264"/>
                  </a:lnTo>
                  <a:lnTo>
                    <a:pt x="287" y="265"/>
                  </a:lnTo>
                  <a:lnTo>
                    <a:pt x="282" y="270"/>
                  </a:lnTo>
                  <a:lnTo>
                    <a:pt x="277" y="271"/>
                  </a:lnTo>
                  <a:lnTo>
                    <a:pt x="271" y="272"/>
                  </a:lnTo>
                  <a:lnTo>
                    <a:pt x="276" y="273"/>
                  </a:lnTo>
                  <a:lnTo>
                    <a:pt x="276" y="274"/>
                  </a:lnTo>
                  <a:lnTo>
                    <a:pt x="268" y="279"/>
                  </a:lnTo>
                  <a:lnTo>
                    <a:pt x="269" y="279"/>
                  </a:lnTo>
                  <a:lnTo>
                    <a:pt x="277" y="276"/>
                  </a:lnTo>
                  <a:lnTo>
                    <a:pt x="278" y="276"/>
                  </a:lnTo>
                  <a:lnTo>
                    <a:pt x="277" y="277"/>
                  </a:lnTo>
                  <a:lnTo>
                    <a:pt x="277" y="280"/>
                  </a:lnTo>
                  <a:lnTo>
                    <a:pt x="278" y="279"/>
                  </a:lnTo>
                  <a:lnTo>
                    <a:pt x="278" y="274"/>
                  </a:lnTo>
                  <a:lnTo>
                    <a:pt x="281" y="274"/>
                  </a:lnTo>
                  <a:lnTo>
                    <a:pt x="286" y="282"/>
                  </a:lnTo>
                  <a:lnTo>
                    <a:pt x="287" y="280"/>
                  </a:lnTo>
                  <a:lnTo>
                    <a:pt x="286" y="278"/>
                  </a:lnTo>
                  <a:lnTo>
                    <a:pt x="288" y="278"/>
                  </a:lnTo>
                  <a:lnTo>
                    <a:pt x="289" y="279"/>
                  </a:lnTo>
                  <a:lnTo>
                    <a:pt x="289" y="280"/>
                  </a:lnTo>
                  <a:lnTo>
                    <a:pt x="287" y="283"/>
                  </a:lnTo>
                  <a:lnTo>
                    <a:pt x="287" y="284"/>
                  </a:lnTo>
                  <a:lnTo>
                    <a:pt x="284" y="284"/>
                  </a:lnTo>
                  <a:lnTo>
                    <a:pt x="282" y="285"/>
                  </a:lnTo>
                  <a:lnTo>
                    <a:pt x="281" y="288"/>
                  </a:lnTo>
                  <a:lnTo>
                    <a:pt x="282" y="290"/>
                  </a:lnTo>
                  <a:lnTo>
                    <a:pt x="278" y="291"/>
                  </a:lnTo>
                  <a:lnTo>
                    <a:pt x="278" y="295"/>
                  </a:lnTo>
                  <a:lnTo>
                    <a:pt x="276" y="296"/>
                  </a:lnTo>
                  <a:lnTo>
                    <a:pt x="274" y="296"/>
                  </a:lnTo>
                  <a:lnTo>
                    <a:pt x="272" y="295"/>
                  </a:lnTo>
                  <a:lnTo>
                    <a:pt x="272" y="296"/>
                  </a:lnTo>
                  <a:lnTo>
                    <a:pt x="274" y="297"/>
                  </a:lnTo>
                  <a:lnTo>
                    <a:pt x="272" y="298"/>
                  </a:lnTo>
                  <a:lnTo>
                    <a:pt x="269" y="300"/>
                  </a:lnTo>
                  <a:lnTo>
                    <a:pt x="269" y="298"/>
                  </a:lnTo>
                  <a:lnTo>
                    <a:pt x="268" y="300"/>
                  </a:lnTo>
                  <a:lnTo>
                    <a:pt x="266" y="300"/>
                  </a:lnTo>
                  <a:lnTo>
                    <a:pt x="264" y="300"/>
                  </a:lnTo>
                  <a:lnTo>
                    <a:pt x="263" y="301"/>
                  </a:lnTo>
                  <a:lnTo>
                    <a:pt x="261" y="301"/>
                  </a:lnTo>
                  <a:lnTo>
                    <a:pt x="260" y="302"/>
                  </a:lnTo>
                  <a:lnTo>
                    <a:pt x="264" y="302"/>
                  </a:lnTo>
                  <a:lnTo>
                    <a:pt x="264" y="303"/>
                  </a:lnTo>
                  <a:lnTo>
                    <a:pt x="263" y="304"/>
                  </a:lnTo>
                  <a:lnTo>
                    <a:pt x="261" y="308"/>
                  </a:lnTo>
                  <a:lnTo>
                    <a:pt x="263" y="308"/>
                  </a:lnTo>
                  <a:lnTo>
                    <a:pt x="264" y="308"/>
                  </a:lnTo>
                  <a:lnTo>
                    <a:pt x="266" y="306"/>
                  </a:lnTo>
                  <a:lnTo>
                    <a:pt x="266" y="309"/>
                  </a:lnTo>
                  <a:lnTo>
                    <a:pt x="268" y="303"/>
                  </a:lnTo>
                  <a:lnTo>
                    <a:pt x="269" y="302"/>
                  </a:lnTo>
                  <a:lnTo>
                    <a:pt x="269" y="304"/>
                  </a:lnTo>
                  <a:lnTo>
                    <a:pt x="270" y="302"/>
                  </a:lnTo>
                  <a:lnTo>
                    <a:pt x="271" y="302"/>
                  </a:lnTo>
                  <a:lnTo>
                    <a:pt x="274" y="301"/>
                  </a:lnTo>
                  <a:lnTo>
                    <a:pt x="274" y="302"/>
                  </a:lnTo>
                  <a:lnTo>
                    <a:pt x="274" y="303"/>
                  </a:lnTo>
                  <a:lnTo>
                    <a:pt x="272" y="304"/>
                  </a:lnTo>
                  <a:lnTo>
                    <a:pt x="274" y="307"/>
                  </a:lnTo>
                  <a:lnTo>
                    <a:pt x="274" y="310"/>
                  </a:lnTo>
                  <a:lnTo>
                    <a:pt x="275" y="312"/>
                  </a:lnTo>
                  <a:lnTo>
                    <a:pt x="276" y="313"/>
                  </a:lnTo>
                  <a:lnTo>
                    <a:pt x="276" y="309"/>
                  </a:lnTo>
                  <a:lnTo>
                    <a:pt x="276" y="306"/>
                  </a:lnTo>
                  <a:lnTo>
                    <a:pt x="277" y="306"/>
                  </a:lnTo>
                  <a:lnTo>
                    <a:pt x="278" y="307"/>
                  </a:lnTo>
                  <a:lnTo>
                    <a:pt x="278" y="312"/>
                  </a:lnTo>
                  <a:lnTo>
                    <a:pt x="280" y="312"/>
                  </a:lnTo>
                  <a:lnTo>
                    <a:pt x="282" y="308"/>
                  </a:lnTo>
                  <a:lnTo>
                    <a:pt x="283" y="306"/>
                  </a:lnTo>
                  <a:lnTo>
                    <a:pt x="284" y="304"/>
                  </a:lnTo>
                  <a:lnTo>
                    <a:pt x="284" y="306"/>
                  </a:lnTo>
                  <a:lnTo>
                    <a:pt x="287" y="306"/>
                  </a:lnTo>
                  <a:lnTo>
                    <a:pt x="288" y="306"/>
                  </a:lnTo>
                  <a:lnTo>
                    <a:pt x="289" y="304"/>
                  </a:lnTo>
                  <a:lnTo>
                    <a:pt x="288" y="303"/>
                  </a:lnTo>
                  <a:lnTo>
                    <a:pt x="288" y="300"/>
                  </a:lnTo>
                  <a:lnTo>
                    <a:pt x="289" y="298"/>
                  </a:lnTo>
                  <a:lnTo>
                    <a:pt x="292" y="302"/>
                  </a:lnTo>
                  <a:lnTo>
                    <a:pt x="293" y="303"/>
                  </a:lnTo>
                  <a:lnTo>
                    <a:pt x="295" y="303"/>
                  </a:lnTo>
                  <a:lnTo>
                    <a:pt x="295" y="301"/>
                  </a:lnTo>
                  <a:lnTo>
                    <a:pt x="294" y="300"/>
                  </a:lnTo>
                  <a:lnTo>
                    <a:pt x="294" y="295"/>
                  </a:lnTo>
                  <a:lnTo>
                    <a:pt x="295" y="294"/>
                  </a:lnTo>
                  <a:lnTo>
                    <a:pt x="298" y="296"/>
                  </a:lnTo>
                  <a:lnTo>
                    <a:pt x="298" y="297"/>
                  </a:lnTo>
                  <a:lnTo>
                    <a:pt x="296" y="298"/>
                  </a:lnTo>
                  <a:lnTo>
                    <a:pt x="296" y="300"/>
                  </a:lnTo>
                  <a:lnTo>
                    <a:pt x="298" y="302"/>
                  </a:lnTo>
                  <a:lnTo>
                    <a:pt x="299" y="300"/>
                  </a:lnTo>
                  <a:lnTo>
                    <a:pt x="299" y="296"/>
                  </a:lnTo>
                  <a:lnTo>
                    <a:pt x="299" y="294"/>
                  </a:lnTo>
                  <a:lnTo>
                    <a:pt x="300" y="292"/>
                  </a:lnTo>
                  <a:lnTo>
                    <a:pt x="300" y="291"/>
                  </a:lnTo>
                  <a:lnTo>
                    <a:pt x="299" y="290"/>
                  </a:lnTo>
                  <a:lnTo>
                    <a:pt x="299" y="289"/>
                  </a:lnTo>
                  <a:lnTo>
                    <a:pt x="300" y="290"/>
                  </a:lnTo>
                  <a:lnTo>
                    <a:pt x="302" y="289"/>
                  </a:lnTo>
                  <a:lnTo>
                    <a:pt x="302" y="291"/>
                  </a:lnTo>
                  <a:lnTo>
                    <a:pt x="301" y="294"/>
                  </a:lnTo>
                  <a:lnTo>
                    <a:pt x="301" y="296"/>
                  </a:lnTo>
                  <a:lnTo>
                    <a:pt x="301" y="297"/>
                  </a:lnTo>
                  <a:lnTo>
                    <a:pt x="301" y="298"/>
                  </a:lnTo>
                  <a:lnTo>
                    <a:pt x="301" y="300"/>
                  </a:lnTo>
                  <a:lnTo>
                    <a:pt x="300" y="301"/>
                  </a:lnTo>
                  <a:lnTo>
                    <a:pt x="299" y="302"/>
                  </a:lnTo>
                  <a:lnTo>
                    <a:pt x="296" y="304"/>
                  </a:lnTo>
                  <a:lnTo>
                    <a:pt x="293" y="307"/>
                  </a:lnTo>
                  <a:lnTo>
                    <a:pt x="290" y="309"/>
                  </a:lnTo>
                  <a:lnTo>
                    <a:pt x="289" y="310"/>
                  </a:lnTo>
                  <a:lnTo>
                    <a:pt x="288" y="310"/>
                  </a:lnTo>
                  <a:lnTo>
                    <a:pt x="287" y="308"/>
                  </a:lnTo>
                  <a:lnTo>
                    <a:pt x="287" y="310"/>
                  </a:lnTo>
                  <a:lnTo>
                    <a:pt x="283" y="314"/>
                  </a:lnTo>
                  <a:lnTo>
                    <a:pt x="281" y="315"/>
                  </a:lnTo>
                  <a:lnTo>
                    <a:pt x="278" y="315"/>
                  </a:lnTo>
                  <a:lnTo>
                    <a:pt x="276" y="315"/>
                  </a:lnTo>
                  <a:lnTo>
                    <a:pt x="275" y="314"/>
                  </a:lnTo>
                  <a:lnTo>
                    <a:pt x="272" y="314"/>
                  </a:lnTo>
                  <a:lnTo>
                    <a:pt x="271" y="314"/>
                  </a:lnTo>
                  <a:lnTo>
                    <a:pt x="269" y="314"/>
                  </a:lnTo>
                  <a:lnTo>
                    <a:pt x="265" y="313"/>
                  </a:lnTo>
                  <a:lnTo>
                    <a:pt x="263" y="310"/>
                  </a:lnTo>
                  <a:lnTo>
                    <a:pt x="260" y="308"/>
                  </a:lnTo>
                  <a:lnTo>
                    <a:pt x="259" y="307"/>
                  </a:lnTo>
                  <a:lnTo>
                    <a:pt x="255" y="304"/>
                  </a:lnTo>
                  <a:lnTo>
                    <a:pt x="254" y="301"/>
                  </a:lnTo>
                  <a:lnTo>
                    <a:pt x="257" y="300"/>
                  </a:lnTo>
                  <a:lnTo>
                    <a:pt x="255" y="298"/>
                  </a:lnTo>
                  <a:lnTo>
                    <a:pt x="253" y="301"/>
                  </a:lnTo>
                  <a:lnTo>
                    <a:pt x="252" y="300"/>
                  </a:lnTo>
                  <a:lnTo>
                    <a:pt x="257" y="294"/>
                  </a:lnTo>
                  <a:lnTo>
                    <a:pt x="255" y="294"/>
                  </a:lnTo>
                  <a:lnTo>
                    <a:pt x="253" y="294"/>
                  </a:lnTo>
                  <a:lnTo>
                    <a:pt x="251" y="294"/>
                  </a:lnTo>
                  <a:lnTo>
                    <a:pt x="252" y="296"/>
                  </a:lnTo>
                  <a:lnTo>
                    <a:pt x="251" y="297"/>
                  </a:lnTo>
                  <a:lnTo>
                    <a:pt x="241" y="288"/>
                  </a:lnTo>
                  <a:lnTo>
                    <a:pt x="240" y="288"/>
                  </a:lnTo>
                  <a:lnTo>
                    <a:pt x="242" y="291"/>
                  </a:lnTo>
                  <a:lnTo>
                    <a:pt x="241" y="291"/>
                  </a:lnTo>
                  <a:lnTo>
                    <a:pt x="234" y="290"/>
                  </a:lnTo>
                  <a:lnTo>
                    <a:pt x="234" y="291"/>
                  </a:lnTo>
                  <a:lnTo>
                    <a:pt x="240" y="292"/>
                  </a:lnTo>
                  <a:lnTo>
                    <a:pt x="239" y="294"/>
                  </a:lnTo>
                  <a:lnTo>
                    <a:pt x="241" y="295"/>
                  </a:lnTo>
                  <a:lnTo>
                    <a:pt x="240" y="297"/>
                  </a:lnTo>
                  <a:lnTo>
                    <a:pt x="242" y="296"/>
                  </a:lnTo>
                  <a:lnTo>
                    <a:pt x="243" y="296"/>
                  </a:lnTo>
                  <a:lnTo>
                    <a:pt x="247" y="297"/>
                  </a:lnTo>
                  <a:lnTo>
                    <a:pt x="247" y="298"/>
                  </a:lnTo>
                  <a:lnTo>
                    <a:pt x="241" y="302"/>
                  </a:lnTo>
                  <a:lnTo>
                    <a:pt x="242" y="302"/>
                  </a:lnTo>
                  <a:lnTo>
                    <a:pt x="247" y="301"/>
                  </a:lnTo>
                  <a:lnTo>
                    <a:pt x="247" y="302"/>
                  </a:lnTo>
                  <a:lnTo>
                    <a:pt x="247" y="304"/>
                  </a:lnTo>
                  <a:lnTo>
                    <a:pt x="249" y="303"/>
                  </a:lnTo>
                  <a:lnTo>
                    <a:pt x="252" y="303"/>
                  </a:lnTo>
                  <a:lnTo>
                    <a:pt x="252" y="306"/>
                  </a:lnTo>
                  <a:lnTo>
                    <a:pt x="253" y="306"/>
                  </a:lnTo>
                  <a:lnTo>
                    <a:pt x="247" y="312"/>
                  </a:lnTo>
                  <a:lnTo>
                    <a:pt x="253" y="308"/>
                  </a:lnTo>
                  <a:lnTo>
                    <a:pt x="255" y="307"/>
                  </a:lnTo>
                  <a:lnTo>
                    <a:pt x="257" y="308"/>
                  </a:lnTo>
                  <a:lnTo>
                    <a:pt x="252" y="310"/>
                  </a:lnTo>
                  <a:lnTo>
                    <a:pt x="249" y="313"/>
                  </a:lnTo>
                  <a:lnTo>
                    <a:pt x="247" y="313"/>
                  </a:lnTo>
                  <a:lnTo>
                    <a:pt x="251" y="317"/>
                  </a:lnTo>
                  <a:lnTo>
                    <a:pt x="247" y="319"/>
                  </a:lnTo>
                  <a:lnTo>
                    <a:pt x="247" y="320"/>
                  </a:lnTo>
                  <a:lnTo>
                    <a:pt x="249" y="323"/>
                  </a:lnTo>
                  <a:lnTo>
                    <a:pt x="247" y="326"/>
                  </a:lnTo>
                  <a:lnTo>
                    <a:pt x="251" y="329"/>
                  </a:lnTo>
                  <a:lnTo>
                    <a:pt x="253" y="326"/>
                  </a:lnTo>
                  <a:lnTo>
                    <a:pt x="253" y="325"/>
                  </a:lnTo>
                  <a:lnTo>
                    <a:pt x="254" y="324"/>
                  </a:lnTo>
                  <a:lnTo>
                    <a:pt x="254" y="320"/>
                  </a:lnTo>
                  <a:lnTo>
                    <a:pt x="255" y="319"/>
                  </a:lnTo>
                  <a:lnTo>
                    <a:pt x="257" y="319"/>
                  </a:lnTo>
                  <a:lnTo>
                    <a:pt x="257" y="321"/>
                  </a:lnTo>
                  <a:lnTo>
                    <a:pt x="257" y="324"/>
                  </a:lnTo>
                  <a:lnTo>
                    <a:pt x="257" y="326"/>
                  </a:lnTo>
                  <a:lnTo>
                    <a:pt x="259" y="327"/>
                  </a:lnTo>
                  <a:lnTo>
                    <a:pt x="259" y="330"/>
                  </a:lnTo>
                  <a:lnTo>
                    <a:pt x="257" y="330"/>
                  </a:lnTo>
                  <a:lnTo>
                    <a:pt x="257" y="327"/>
                  </a:lnTo>
                  <a:lnTo>
                    <a:pt x="254" y="330"/>
                  </a:lnTo>
                  <a:lnTo>
                    <a:pt x="253" y="331"/>
                  </a:lnTo>
                  <a:lnTo>
                    <a:pt x="252" y="331"/>
                  </a:lnTo>
                  <a:lnTo>
                    <a:pt x="247" y="330"/>
                  </a:lnTo>
                  <a:lnTo>
                    <a:pt x="247" y="331"/>
                  </a:lnTo>
                  <a:lnTo>
                    <a:pt x="242" y="335"/>
                  </a:lnTo>
                  <a:lnTo>
                    <a:pt x="243" y="335"/>
                  </a:lnTo>
                  <a:lnTo>
                    <a:pt x="247" y="335"/>
                  </a:lnTo>
                  <a:lnTo>
                    <a:pt x="251" y="333"/>
                  </a:lnTo>
                  <a:lnTo>
                    <a:pt x="251" y="336"/>
                  </a:lnTo>
                  <a:lnTo>
                    <a:pt x="247" y="337"/>
                  </a:lnTo>
                  <a:lnTo>
                    <a:pt x="247" y="338"/>
                  </a:lnTo>
                  <a:lnTo>
                    <a:pt x="251" y="338"/>
                  </a:lnTo>
                  <a:lnTo>
                    <a:pt x="252" y="339"/>
                  </a:lnTo>
                  <a:lnTo>
                    <a:pt x="253" y="339"/>
                  </a:lnTo>
                  <a:lnTo>
                    <a:pt x="253" y="337"/>
                  </a:lnTo>
                  <a:lnTo>
                    <a:pt x="255" y="337"/>
                  </a:lnTo>
                  <a:lnTo>
                    <a:pt x="253" y="343"/>
                  </a:lnTo>
                  <a:lnTo>
                    <a:pt x="254" y="343"/>
                  </a:lnTo>
                  <a:lnTo>
                    <a:pt x="257" y="341"/>
                  </a:lnTo>
                  <a:lnTo>
                    <a:pt x="258" y="342"/>
                  </a:lnTo>
                  <a:lnTo>
                    <a:pt x="259" y="342"/>
                  </a:lnTo>
                  <a:lnTo>
                    <a:pt x="259" y="339"/>
                  </a:lnTo>
                  <a:lnTo>
                    <a:pt x="260" y="339"/>
                  </a:lnTo>
                  <a:lnTo>
                    <a:pt x="260" y="342"/>
                  </a:lnTo>
                  <a:lnTo>
                    <a:pt x="261" y="342"/>
                  </a:lnTo>
                  <a:lnTo>
                    <a:pt x="263" y="338"/>
                  </a:lnTo>
                  <a:lnTo>
                    <a:pt x="264" y="342"/>
                  </a:lnTo>
                  <a:lnTo>
                    <a:pt x="265" y="342"/>
                  </a:lnTo>
                  <a:lnTo>
                    <a:pt x="266" y="344"/>
                  </a:lnTo>
                  <a:lnTo>
                    <a:pt x="266" y="348"/>
                  </a:lnTo>
                  <a:lnTo>
                    <a:pt x="261" y="348"/>
                  </a:lnTo>
                  <a:lnTo>
                    <a:pt x="261" y="349"/>
                  </a:lnTo>
                  <a:lnTo>
                    <a:pt x="264" y="349"/>
                  </a:lnTo>
                  <a:lnTo>
                    <a:pt x="264" y="351"/>
                  </a:lnTo>
                  <a:lnTo>
                    <a:pt x="257" y="351"/>
                  </a:lnTo>
                  <a:lnTo>
                    <a:pt x="258" y="353"/>
                  </a:lnTo>
                  <a:lnTo>
                    <a:pt x="257" y="354"/>
                  </a:lnTo>
                  <a:lnTo>
                    <a:pt x="255" y="354"/>
                  </a:lnTo>
                  <a:lnTo>
                    <a:pt x="254" y="353"/>
                  </a:lnTo>
                  <a:lnTo>
                    <a:pt x="253" y="359"/>
                  </a:lnTo>
                  <a:lnTo>
                    <a:pt x="247" y="363"/>
                  </a:lnTo>
                  <a:lnTo>
                    <a:pt x="247" y="361"/>
                  </a:lnTo>
                  <a:lnTo>
                    <a:pt x="243" y="361"/>
                  </a:lnTo>
                  <a:lnTo>
                    <a:pt x="245" y="363"/>
                  </a:lnTo>
                  <a:lnTo>
                    <a:pt x="242" y="362"/>
                  </a:lnTo>
                  <a:lnTo>
                    <a:pt x="240" y="361"/>
                  </a:lnTo>
                  <a:lnTo>
                    <a:pt x="237" y="361"/>
                  </a:lnTo>
                  <a:lnTo>
                    <a:pt x="235" y="362"/>
                  </a:lnTo>
                  <a:lnTo>
                    <a:pt x="240" y="363"/>
                  </a:lnTo>
                  <a:lnTo>
                    <a:pt x="240" y="366"/>
                  </a:lnTo>
                  <a:lnTo>
                    <a:pt x="239" y="368"/>
                  </a:lnTo>
                  <a:lnTo>
                    <a:pt x="240" y="368"/>
                  </a:lnTo>
                  <a:lnTo>
                    <a:pt x="241" y="366"/>
                  </a:lnTo>
                  <a:lnTo>
                    <a:pt x="242" y="365"/>
                  </a:lnTo>
                  <a:lnTo>
                    <a:pt x="243" y="365"/>
                  </a:lnTo>
                  <a:lnTo>
                    <a:pt x="241" y="367"/>
                  </a:lnTo>
                  <a:lnTo>
                    <a:pt x="241" y="368"/>
                  </a:lnTo>
                  <a:lnTo>
                    <a:pt x="242" y="368"/>
                  </a:lnTo>
                  <a:lnTo>
                    <a:pt x="243" y="367"/>
                  </a:lnTo>
                  <a:lnTo>
                    <a:pt x="247" y="368"/>
                  </a:lnTo>
                  <a:lnTo>
                    <a:pt x="243" y="369"/>
                  </a:lnTo>
                  <a:lnTo>
                    <a:pt x="242" y="372"/>
                  </a:lnTo>
                  <a:lnTo>
                    <a:pt x="243" y="373"/>
                  </a:lnTo>
                  <a:lnTo>
                    <a:pt x="243" y="375"/>
                  </a:lnTo>
                  <a:lnTo>
                    <a:pt x="243" y="378"/>
                  </a:lnTo>
                  <a:lnTo>
                    <a:pt x="241" y="381"/>
                  </a:lnTo>
                  <a:lnTo>
                    <a:pt x="241" y="383"/>
                  </a:lnTo>
                  <a:lnTo>
                    <a:pt x="240" y="383"/>
                  </a:lnTo>
                  <a:lnTo>
                    <a:pt x="237" y="381"/>
                  </a:lnTo>
                  <a:lnTo>
                    <a:pt x="236" y="384"/>
                  </a:lnTo>
                  <a:lnTo>
                    <a:pt x="233" y="387"/>
                  </a:lnTo>
                  <a:lnTo>
                    <a:pt x="229" y="385"/>
                  </a:lnTo>
                  <a:lnTo>
                    <a:pt x="231" y="389"/>
                  </a:lnTo>
                  <a:lnTo>
                    <a:pt x="225" y="396"/>
                  </a:lnTo>
                  <a:lnTo>
                    <a:pt x="225" y="397"/>
                  </a:lnTo>
                  <a:lnTo>
                    <a:pt x="223" y="398"/>
                  </a:lnTo>
                  <a:lnTo>
                    <a:pt x="218" y="403"/>
                  </a:lnTo>
                  <a:lnTo>
                    <a:pt x="216" y="404"/>
                  </a:lnTo>
                  <a:lnTo>
                    <a:pt x="212" y="405"/>
                  </a:lnTo>
                  <a:lnTo>
                    <a:pt x="213" y="407"/>
                  </a:lnTo>
                  <a:lnTo>
                    <a:pt x="212" y="408"/>
                  </a:lnTo>
                  <a:lnTo>
                    <a:pt x="213" y="409"/>
                  </a:lnTo>
                  <a:lnTo>
                    <a:pt x="207" y="411"/>
                  </a:lnTo>
                  <a:lnTo>
                    <a:pt x="207" y="413"/>
                  </a:lnTo>
                  <a:lnTo>
                    <a:pt x="216" y="410"/>
                  </a:lnTo>
                  <a:lnTo>
                    <a:pt x="217" y="410"/>
                  </a:lnTo>
                  <a:lnTo>
                    <a:pt x="207" y="417"/>
                  </a:lnTo>
                  <a:lnTo>
                    <a:pt x="206" y="416"/>
                  </a:lnTo>
                  <a:lnTo>
                    <a:pt x="206" y="420"/>
                  </a:lnTo>
                  <a:lnTo>
                    <a:pt x="200" y="421"/>
                  </a:lnTo>
                  <a:lnTo>
                    <a:pt x="204" y="422"/>
                  </a:lnTo>
                  <a:lnTo>
                    <a:pt x="202" y="425"/>
                  </a:lnTo>
                  <a:lnTo>
                    <a:pt x="198" y="425"/>
                  </a:lnTo>
                  <a:lnTo>
                    <a:pt x="193" y="428"/>
                  </a:lnTo>
                  <a:lnTo>
                    <a:pt x="190" y="430"/>
                  </a:lnTo>
                  <a:lnTo>
                    <a:pt x="194" y="431"/>
                  </a:lnTo>
                  <a:lnTo>
                    <a:pt x="188" y="437"/>
                  </a:lnTo>
                  <a:lnTo>
                    <a:pt x="188" y="438"/>
                  </a:lnTo>
                  <a:lnTo>
                    <a:pt x="194" y="433"/>
                  </a:lnTo>
                  <a:lnTo>
                    <a:pt x="195" y="434"/>
                  </a:lnTo>
                  <a:lnTo>
                    <a:pt x="196" y="434"/>
                  </a:lnTo>
                  <a:lnTo>
                    <a:pt x="198" y="433"/>
                  </a:lnTo>
                  <a:lnTo>
                    <a:pt x="198" y="437"/>
                  </a:lnTo>
                  <a:lnTo>
                    <a:pt x="199" y="437"/>
                  </a:lnTo>
                  <a:lnTo>
                    <a:pt x="199" y="433"/>
                  </a:lnTo>
                  <a:lnTo>
                    <a:pt x="199" y="432"/>
                  </a:lnTo>
                  <a:lnTo>
                    <a:pt x="200" y="431"/>
                  </a:lnTo>
                  <a:lnTo>
                    <a:pt x="201" y="430"/>
                  </a:lnTo>
                  <a:lnTo>
                    <a:pt x="201" y="427"/>
                  </a:lnTo>
                  <a:lnTo>
                    <a:pt x="202" y="428"/>
                  </a:lnTo>
                  <a:lnTo>
                    <a:pt x="204" y="431"/>
                  </a:lnTo>
                  <a:lnTo>
                    <a:pt x="205" y="425"/>
                  </a:lnTo>
                  <a:lnTo>
                    <a:pt x="206" y="425"/>
                  </a:lnTo>
                  <a:lnTo>
                    <a:pt x="206" y="437"/>
                  </a:lnTo>
                  <a:lnTo>
                    <a:pt x="207" y="438"/>
                  </a:lnTo>
                  <a:lnTo>
                    <a:pt x="209" y="434"/>
                  </a:lnTo>
                  <a:lnTo>
                    <a:pt x="211" y="434"/>
                  </a:lnTo>
                  <a:lnTo>
                    <a:pt x="211" y="438"/>
                  </a:lnTo>
                  <a:lnTo>
                    <a:pt x="212" y="437"/>
                  </a:lnTo>
                  <a:lnTo>
                    <a:pt x="215" y="437"/>
                  </a:lnTo>
                  <a:lnTo>
                    <a:pt x="215" y="433"/>
                  </a:lnTo>
                  <a:lnTo>
                    <a:pt x="215" y="431"/>
                  </a:lnTo>
                  <a:lnTo>
                    <a:pt x="215" y="427"/>
                  </a:lnTo>
                  <a:lnTo>
                    <a:pt x="216" y="428"/>
                  </a:lnTo>
                  <a:lnTo>
                    <a:pt x="217" y="428"/>
                  </a:lnTo>
                  <a:lnTo>
                    <a:pt x="218" y="422"/>
                  </a:lnTo>
                  <a:lnTo>
                    <a:pt x="221" y="422"/>
                  </a:lnTo>
                  <a:lnTo>
                    <a:pt x="222" y="422"/>
                  </a:lnTo>
                  <a:lnTo>
                    <a:pt x="223" y="425"/>
                  </a:lnTo>
                  <a:lnTo>
                    <a:pt x="224" y="426"/>
                  </a:lnTo>
                  <a:lnTo>
                    <a:pt x="225" y="426"/>
                  </a:lnTo>
                  <a:lnTo>
                    <a:pt x="227" y="422"/>
                  </a:lnTo>
                  <a:lnTo>
                    <a:pt x="227" y="420"/>
                  </a:lnTo>
                  <a:lnTo>
                    <a:pt x="228" y="417"/>
                  </a:lnTo>
                  <a:lnTo>
                    <a:pt x="228" y="420"/>
                  </a:lnTo>
                  <a:lnTo>
                    <a:pt x="229" y="421"/>
                  </a:lnTo>
                  <a:lnTo>
                    <a:pt x="230" y="420"/>
                  </a:lnTo>
                  <a:lnTo>
                    <a:pt x="231" y="420"/>
                  </a:lnTo>
                  <a:lnTo>
                    <a:pt x="231" y="421"/>
                  </a:lnTo>
                  <a:lnTo>
                    <a:pt x="231" y="424"/>
                  </a:lnTo>
                  <a:lnTo>
                    <a:pt x="227" y="428"/>
                  </a:lnTo>
                  <a:lnTo>
                    <a:pt x="222" y="430"/>
                  </a:lnTo>
                  <a:lnTo>
                    <a:pt x="225" y="431"/>
                  </a:lnTo>
                  <a:lnTo>
                    <a:pt x="222" y="436"/>
                  </a:lnTo>
                  <a:lnTo>
                    <a:pt x="219" y="437"/>
                  </a:lnTo>
                  <a:lnTo>
                    <a:pt x="217" y="442"/>
                  </a:lnTo>
                  <a:lnTo>
                    <a:pt x="211" y="446"/>
                  </a:lnTo>
                  <a:lnTo>
                    <a:pt x="211" y="448"/>
                  </a:lnTo>
                  <a:lnTo>
                    <a:pt x="205" y="451"/>
                  </a:lnTo>
                  <a:lnTo>
                    <a:pt x="206" y="452"/>
                  </a:lnTo>
                  <a:lnTo>
                    <a:pt x="210" y="450"/>
                  </a:lnTo>
                  <a:lnTo>
                    <a:pt x="210" y="452"/>
                  </a:lnTo>
                  <a:lnTo>
                    <a:pt x="205" y="457"/>
                  </a:lnTo>
                  <a:lnTo>
                    <a:pt x="211" y="452"/>
                  </a:lnTo>
                  <a:lnTo>
                    <a:pt x="212" y="452"/>
                  </a:lnTo>
                  <a:lnTo>
                    <a:pt x="213" y="457"/>
                  </a:lnTo>
                  <a:lnTo>
                    <a:pt x="212" y="451"/>
                  </a:lnTo>
                  <a:lnTo>
                    <a:pt x="213" y="449"/>
                  </a:lnTo>
                  <a:lnTo>
                    <a:pt x="217" y="452"/>
                  </a:lnTo>
                  <a:lnTo>
                    <a:pt x="216" y="448"/>
                  </a:lnTo>
                  <a:lnTo>
                    <a:pt x="217" y="446"/>
                  </a:lnTo>
                  <a:lnTo>
                    <a:pt x="218" y="450"/>
                  </a:lnTo>
                  <a:lnTo>
                    <a:pt x="219" y="452"/>
                  </a:lnTo>
                  <a:lnTo>
                    <a:pt x="221" y="444"/>
                  </a:lnTo>
                  <a:lnTo>
                    <a:pt x="222" y="452"/>
                  </a:lnTo>
                  <a:lnTo>
                    <a:pt x="222" y="455"/>
                  </a:lnTo>
                  <a:lnTo>
                    <a:pt x="224" y="455"/>
                  </a:lnTo>
                  <a:lnTo>
                    <a:pt x="224" y="452"/>
                  </a:lnTo>
                  <a:lnTo>
                    <a:pt x="223" y="445"/>
                  </a:lnTo>
                  <a:lnTo>
                    <a:pt x="224" y="445"/>
                  </a:lnTo>
                  <a:lnTo>
                    <a:pt x="225" y="448"/>
                  </a:lnTo>
                  <a:lnTo>
                    <a:pt x="227" y="446"/>
                  </a:lnTo>
                  <a:lnTo>
                    <a:pt x="224" y="437"/>
                  </a:lnTo>
                  <a:lnTo>
                    <a:pt x="225" y="434"/>
                  </a:lnTo>
                  <a:lnTo>
                    <a:pt x="227" y="439"/>
                  </a:lnTo>
                  <a:lnTo>
                    <a:pt x="228" y="444"/>
                  </a:lnTo>
                  <a:lnTo>
                    <a:pt x="229" y="444"/>
                  </a:lnTo>
                  <a:lnTo>
                    <a:pt x="228" y="434"/>
                  </a:lnTo>
                  <a:lnTo>
                    <a:pt x="228" y="433"/>
                  </a:lnTo>
                  <a:lnTo>
                    <a:pt x="229" y="438"/>
                  </a:lnTo>
                  <a:lnTo>
                    <a:pt x="229" y="440"/>
                  </a:lnTo>
                  <a:lnTo>
                    <a:pt x="230" y="440"/>
                  </a:lnTo>
                  <a:lnTo>
                    <a:pt x="229" y="430"/>
                  </a:lnTo>
                  <a:lnTo>
                    <a:pt x="230" y="428"/>
                  </a:lnTo>
                  <a:lnTo>
                    <a:pt x="231" y="438"/>
                  </a:lnTo>
                  <a:lnTo>
                    <a:pt x="231" y="440"/>
                  </a:lnTo>
                  <a:lnTo>
                    <a:pt x="233" y="442"/>
                  </a:lnTo>
                  <a:lnTo>
                    <a:pt x="235" y="443"/>
                  </a:lnTo>
                  <a:lnTo>
                    <a:pt x="236" y="442"/>
                  </a:lnTo>
                  <a:lnTo>
                    <a:pt x="237" y="434"/>
                  </a:lnTo>
                  <a:lnTo>
                    <a:pt x="237" y="432"/>
                  </a:lnTo>
                  <a:lnTo>
                    <a:pt x="239" y="432"/>
                  </a:lnTo>
                  <a:lnTo>
                    <a:pt x="242" y="432"/>
                  </a:lnTo>
                  <a:lnTo>
                    <a:pt x="242" y="430"/>
                  </a:lnTo>
                  <a:lnTo>
                    <a:pt x="241" y="426"/>
                  </a:lnTo>
                  <a:lnTo>
                    <a:pt x="242" y="424"/>
                  </a:lnTo>
                  <a:lnTo>
                    <a:pt x="242" y="426"/>
                  </a:lnTo>
                  <a:lnTo>
                    <a:pt x="243" y="428"/>
                  </a:lnTo>
                  <a:lnTo>
                    <a:pt x="243" y="432"/>
                  </a:lnTo>
                  <a:lnTo>
                    <a:pt x="247" y="432"/>
                  </a:lnTo>
                  <a:lnTo>
                    <a:pt x="247" y="428"/>
                  </a:lnTo>
                  <a:lnTo>
                    <a:pt x="251" y="427"/>
                  </a:lnTo>
                  <a:lnTo>
                    <a:pt x="252" y="430"/>
                  </a:lnTo>
                  <a:lnTo>
                    <a:pt x="252" y="431"/>
                  </a:lnTo>
                  <a:lnTo>
                    <a:pt x="249" y="434"/>
                  </a:lnTo>
                  <a:lnTo>
                    <a:pt x="247" y="438"/>
                  </a:lnTo>
                  <a:lnTo>
                    <a:pt x="249" y="437"/>
                  </a:lnTo>
                  <a:lnTo>
                    <a:pt x="247" y="439"/>
                  </a:lnTo>
                  <a:lnTo>
                    <a:pt x="247" y="443"/>
                  </a:lnTo>
                  <a:lnTo>
                    <a:pt x="241" y="446"/>
                  </a:lnTo>
                  <a:lnTo>
                    <a:pt x="240" y="449"/>
                  </a:lnTo>
                  <a:lnTo>
                    <a:pt x="235" y="449"/>
                  </a:lnTo>
                  <a:lnTo>
                    <a:pt x="239" y="450"/>
                  </a:lnTo>
                  <a:lnTo>
                    <a:pt x="239" y="451"/>
                  </a:lnTo>
                  <a:lnTo>
                    <a:pt x="233" y="452"/>
                  </a:lnTo>
                  <a:lnTo>
                    <a:pt x="230" y="454"/>
                  </a:lnTo>
                  <a:lnTo>
                    <a:pt x="231" y="455"/>
                  </a:lnTo>
                  <a:lnTo>
                    <a:pt x="233" y="454"/>
                  </a:lnTo>
                  <a:lnTo>
                    <a:pt x="234" y="455"/>
                  </a:lnTo>
                  <a:lnTo>
                    <a:pt x="231" y="456"/>
                  </a:lnTo>
                  <a:lnTo>
                    <a:pt x="229" y="458"/>
                  </a:lnTo>
                  <a:lnTo>
                    <a:pt x="230" y="460"/>
                  </a:lnTo>
                  <a:lnTo>
                    <a:pt x="229" y="461"/>
                  </a:lnTo>
                  <a:lnTo>
                    <a:pt x="228" y="461"/>
                  </a:lnTo>
                  <a:lnTo>
                    <a:pt x="227" y="457"/>
                  </a:lnTo>
                  <a:lnTo>
                    <a:pt x="225" y="457"/>
                  </a:lnTo>
                  <a:lnTo>
                    <a:pt x="224" y="457"/>
                  </a:lnTo>
                  <a:lnTo>
                    <a:pt x="224" y="461"/>
                  </a:lnTo>
                  <a:lnTo>
                    <a:pt x="221" y="460"/>
                  </a:lnTo>
                  <a:lnTo>
                    <a:pt x="219" y="460"/>
                  </a:lnTo>
                  <a:lnTo>
                    <a:pt x="223" y="462"/>
                  </a:lnTo>
                  <a:lnTo>
                    <a:pt x="222" y="463"/>
                  </a:lnTo>
                  <a:lnTo>
                    <a:pt x="218" y="466"/>
                  </a:lnTo>
                  <a:lnTo>
                    <a:pt x="222" y="467"/>
                  </a:lnTo>
                  <a:lnTo>
                    <a:pt x="221" y="468"/>
                  </a:lnTo>
                  <a:lnTo>
                    <a:pt x="221" y="469"/>
                  </a:lnTo>
                  <a:lnTo>
                    <a:pt x="218" y="469"/>
                  </a:lnTo>
                  <a:lnTo>
                    <a:pt x="217" y="469"/>
                  </a:lnTo>
                  <a:lnTo>
                    <a:pt x="216" y="468"/>
                  </a:lnTo>
                  <a:lnTo>
                    <a:pt x="216" y="469"/>
                  </a:lnTo>
                  <a:lnTo>
                    <a:pt x="216" y="470"/>
                  </a:lnTo>
                  <a:lnTo>
                    <a:pt x="217" y="470"/>
                  </a:lnTo>
                  <a:lnTo>
                    <a:pt x="216" y="472"/>
                  </a:lnTo>
                  <a:lnTo>
                    <a:pt x="215" y="472"/>
                  </a:lnTo>
                  <a:lnTo>
                    <a:pt x="211" y="470"/>
                  </a:lnTo>
                  <a:lnTo>
                    <a:pt x="210" y="470"/>
                  </a:lnTo>
                  <a:lnTo>
                    <a:pt x="210" y="472"/>
                  </a:lnTo>
                  <a:lnTo>
                    <a:pt x="213" y="473"/>
                  </a:lnTo>
                  <a:lnTo>
                    <a:pt x="215" y="473"/>
                  </a:lnTo>
                  <a:lnTo>
                    <a:pt x="213" y="474"/>
                  </a:lnTo>
                  <a:lnTo>
                    <a:pt x="210" y="478"/>
                  </a:lnTo>
                  <a:lnTo>
                    <a:pt x="216" y="474"/>
                  </a:lnTo>
                  <a:lnTo>
                    <a:pt x="217" y="474"/>
                  </a:lnTo>
                  <a:lnTo>
                    <a:pt x="217" y="475"/>
                  </a:lnTo>
                  <a:lnTo>
                    <a:pt x="217" y="479"/>
                  </a:lnTo>
                  <a:lnTo>
                    <a:pt x="216" y="480"/>
                  </a:lnTo>
                  <a:lnTo>
                    <a:pt x="212" y="480"/>
                  </a:lnTo>
                  <a:lnTo>
                    <a:pt x="210" y="481"/>
                  </a:lnTo>
                  <a:lnTo>
                    <a:pt x="206" y="481"/>
                  </a:lnTo>
                  <a:lnTo>
                    <a:pt x="204" y="481"/>
                  </a:lnTo>
                  <a:lnTo>
                    <a:pt x="200" y="481"/>
                  </a:lnTo>
                  <a:lnTo>
                    <a:pt x="200" y="482"/>
                  </a:lnTo>
                  <a:lnTo>
                    <a:pt x="205" y="482"/>
                  </a:lnTo>
                  <a:lnTo>
                    <a:pt x="205" y="484"/>
                  </a:lnTo>
                  <a:lnTo>
                    <a:pt x="201" y="485"/>
                  </a:lnTo>
                  <a:lnTo>
                    <a:pt x="201" y="486"/>
                  </a:lnTo>
                  <a:lnTo>
                    <a:pt x="206" y="486"/>
                  </a:lnTo>
                  <a:lnTo>
                    <a:pt x="207" y="487"/>
                  </a:lnTo>
                  <a:lnTo>
                    <a:pt x="209" y="490"/>
                  </a:lnTo>
                  <a:lnTo>
                    <a:pt x="209" y="491"/>
                  </a:lnTo>
                  <a:lnTo>
                    <a:pt x="210" y="491"/>
                  </a:lnTo>
                  <a:lnTo>
                    <a:pt x="210" y="490"/>
                  </a:lnTo>
                  <a:lnTo>
                    <a:pt x="210" y="486"/>
                  </a:lnTo>
                  <a:lnTo>
                    <a:pt x="209" y="485"/>
                  </a:lnTo>
                  <a:lnTo>
                    <a:pt x="210" y="484"/>
                  </a:lnTo>
                  <a:lnTo>
                    <a:pt x="211" y="484"/>
                  </a:lnTo>
                  <a:lnTo>
                    <a:pt x="211" y="488"/>
                  </a:lnTo>
                  <a:lnTo>
                    <a:pt x="212" y="487"/>
                  </a:lnTo>
                  <a:lnTo>
                    <a:pt x="213" y="486"/>
                  </a:lnTo>
                  <a:lnTo>
                    <a:pt x="213" y="484"/>
                  </a:lnTo>
                  <a:lnTo>
                    <a:pt x="215" y="482"/>
                  </a:lnTo>
                  <a:lnTo>
                    <a:pt x="215" y="487"/>
                  </a:lnTo>
                  <a:lnTo>
                    <a:pt x="216" y="488"/>
                  </a:lnTo>
                  <a:lnTo>
                    <a:pt x="216" y="490"/>
                  </a:lnTo>
                  <a:lnTo>
                    <a:pt x="213" y="490"/>
                  </a:lnTo>
                  <a:lnTo>
                    <a:pt x="212" y="491"/>
                  </a:lnTo>
                  <a:lnTo>
                    <a:pt x="212" y="492"/>
                  </a:lnTo>
                  <a:lnTo>
                    <a:pt x="213" y="493"/>
                  </a:lnTo>
                  <a:lnTo>
                    <a:pt x="213" y="494"/>
                  </a:lnTo>
                  <a:lnTo>
                    <a:pt x="210" y="494"/>
                  </a:lnTo>
                  <a:lnTo>
                    <a:pt x="209" y="493"/>
                  </a:lnTo>
                  <a:lnTo>
                    <a:pt x="206" y="493"/>
                  </a:lnTo>
                  <a:lnTo>
                    <a:pt x="205" y="493"/>
                  </a:lnTo>
                  <a:lnTo>
                    <a:pt x="204" y="494"/>
                  </a:lnTo>
                  <a:lnTo>
                    <a:pt x="199" y="490"/>
                  </a:lnTo>
                  <a:lnTo>
                    <a:pt x="199" y="491"/>
                  </a:lnTo>
                  <a:lnTo>
                    <a:pt x="201" y="493"/>
                  </a:lnTo>
                  <a:lnTo>
                    <a:pt x="201" y="494"/>
                  </a:lnTo>
                  <a:lnTo>
                    <a:pt x="199" y="494"/>
                  </a:lnTo>
                  <a:lnTo>
                    <a:pt x="198" y="492"/>
                  </a:lnTo>
                  <a:lnTo>
                    <a:pt x="195" y="491"/>
                  </a:lnTo>
                  <a:lnTo>
                    <a:pt x="195" y="492"/>
                  </a:lnTo>
                  <a:lnTo>
                    <a:pt x="194" y="493"/>
                  </a:lnTo>
                  <a:lnTo>
                    <a:pt x="193" y="497"/>
                  </a:lnTo>
                  <a:lnTo>
                    <a:pt x="194" y="498"/>
                  </a:lnTo>
                  <a:lnTo>
                    <a:pt x="195" y="497"/>
                  </a:lnTo>
                  <a:lnTo>
                    <a:pt x="198" y="496"/>
                  </a:lnTo>
                  <a:lnTo>
                    <a:pt x="199" y="497"/>
                  </a:lnTo>
                  <a:lnTo>
                    <a:pt x="200" y="497"/>
                  </a:lnTo>
                  <a:lnTo>
                    <a:pt x="200" y="498"/>
                  </a:lnTo>
                  <a:lnTo>
                    <a:pt x="196" y="502"/>
                  </a:lnTo>
                  <a:lnTo>
                    <a:pt x="192" y="503"/>
                  </a:lnTo>
                  <a:lnTo>
                    <a:pt x="189" y="500"/>
                  </a:lnTo>
                  <a:lnTo>
                    <a:pt x="182" y="500"/>
                  </a:lnTo>
                  <a:lnTo>
                    <a:pt x="178" y="504"/>
                  </a:lnTo>
                  <a:lnTo>
                    <a:pt x="176" y="504"/>
                  </a:lnTo>
                  <a:lnTo>
                    <a:pt x="175" y="505"/>
                  </a:lnTo>
                  <a:lnTo>
                    <a:pt x="174" y="506"/>
                  </a:lnTo>
                  <a:lnTo>
                    <a:pt x="172" y="505"/>
                  </a:lnTo>
                  <a:lnTo>
                    <a:pt x="171" y="505"/>
                  </a:lnTo>
                  <a:lnTo>
                    <a:pt x="171" y="508"/>
                  </a:lnTo>
                  <a:lnTo>
                    <a:pt x="169" y="510"/>
                  </a:lnTo>
                  <a:lnTo>
                    <a:pt x="169" y="511"/>
                  </a:lnTo>
                  <a:lnTo>
                    <a:pt x="166" y="512"/>
                  </a:lnTo>
                  <a:lnTo>
                    <a:pt x="164" y="511"/>
                  </a:lnTo>
                  <a:lnTo>
                    <a:pt x="163" y="510"/>
                  </a:lnTo>
                  <a:lnTo>
                    <a:pt x="163" y="508"/>
                  </a:lnTo>
                  <a:lnTo>
                    <a:pt x="162" y="506"/>
                  </a:lnTo>
                  <a:lnTo>
                    <a:pt x="160" y="508"/>
                  </a:lnTo>
                  <a:lnTo>
                    <a:pt x="162" y="509"/>
                  </a:lnTo>
                  <a:lnTo>
                    <a:pt x="163" y="511"/>
                  </a:lnTo>
                  <a:lnTo>
                    <a:pt x="163" y="514"/>
                  </a:lnTo>
                  <a:lnTo>
                    <a:pt x="163" y="515"/>
                  </a:lnTo>
                  <a:lnTo>
                    <a:pt x="162" y="516"/>
                  </a:lnTo>
                  <a:lnTo>
                    <a:pt x="158" y="516"/>
                  </a:lnTo>
                  <a:lnTo>
                    <a:pt x="157" y="516"/>
                  </a:lnTo>
                  <a:lnTo>
                    <a:pt x="156" y="516"/>
                  </a:lnTo>
                  <a:lnTo>
                    <a:pt x="152" y="517"/>
                  </a:lnTo>
                  <a:lnTo>
                    <a:pt x="152" y="518"/>
                  </a:lnTo>
                  <a:lnTo>
                    <a:pt x="154" y="518"/>
                  </a:lnTo>
                  <a:lnTo>
                    <a:pt x="156" y="517"/>
                  </a:lnTo>
                  <a:lnTo>
                    <a:pt x="158" y="517"/>
                  </a:lnTo>
                  <a:lnTo>
                    <a:pt x="158" y="518"/>
                  </a:lnTo>
                  <a:lnTo>
                    <a:pt x="153" y="523"/>
                  </a:lnTo>
                  <a:lnTo>
                    <a:pt x="152" y="523"/>
                  </a:lnTo>
                  <a:lnTo>
                    <a:pt x="151" y="523"/>
                  </a:lnTo>
                  <a:lnTo>
                    <a:pt x="150" y="523"/>
                  </a:lnTo>
                  <a:lnTo>
                    <a:pt x="148" y="524"/>
                  </a:lnTo>
                  <a:lnTo>
                    <a:pt x="142" y="524"/>
                  </a:lnTo>
                  <a:lnTo>
                    <a:pt x="139" y="526"/>
                  </a:lnTo>
                  <a:lnTo>
                    <a:pt x="137" y="524"/>
                  </a:lnTo>
                  <a:lnTo>
                    <a:pt x="134" y="524"/>
                  </a:lnTo>
                  <a:lnTo>
                    <a:pt x="134" y="527"/>
                  </a:lnTo>
                  <a:lnTo>
                    <a:pt x="137" y="527"/>
                  </a:lnTo>
                  <a:lnTo>
                    <a:pt x="139" y="528"/>
                  </a:lnTo>
                  <a:lnTo>
                    <a:pt x="136" y="532"/>
                  </a:lnTo>
                  <a:lnTo>
                    <a:pt x="137" y="533"/>
                  </a:lnTo>
                  <a:lnTo>
                    <a:pt x="141" y="528"/>
                  </a:lnTo>
                  <a:lnTo>
                    <a:pt x="142" y="528"/>
                  </a:lnTo>
                  <a:lnTo>
                    <a:pt x="143" y="528"/>
                  </a:lnTo>
                  <a:lnTo>
                    <a:pt x="143" y="531"/>
                  </a:lnTo>
                  <a:lnTo>
                    <a:pt x="142" y="532"/>
                  </a:lnTo>
                  <a:lnTo>
                    <a:pt x="142" y="533"/>
                  </a:lnTo>
                  <a:lnTo>
                    <a:pt x="143" y="532"/>
                  </a:lnTo>
                  <a:lnTo>
                    <a:pt x="145" y="531"/>
                  </a:lnTo>
                  <a:lnTo>
                    <a:pt x="145" y="529"/>
                  </a:lnTo>
                  <a:lnTo>
                    <a:pt x="148" y="527"/>
                  </a:lnTo>
                  <a:lnTo>
                    <a:pt x="151" y="527"/>
                  </a:lnTo>
                  <a:lnTo>
                    <a:pt x="151" y="529"/>
                  </a:lnTo>
                  <a:lnTo>
                    <a:pt x="146" y="533"/>
                  </a:lnTo>
                  <a:lnTo>
                    <a:pt x="145" y="535"/>
                  </a:lnTo>
                  <a:lnTo>
                    <a:pt x="137" y="540"/>
                  </a:lnTo>
                  <a:lnTo>
                    <a:pt x="137" y="541"/>
                  </a:lnTo>
                  <a:lnTo>
                    <a:pt x="142" y="539"/>
                  </a:lnTo>
                  <a:lnTo>
                    <a:pt x="143" y="539"/>
                  </a:lnTo>
                  <a:lnTo>
                    <a:pt x="143" y="541"/>
                  </a:lnTo>
                  <a:lnTo>
                    <a:pt x="145" y="541"/>
                  </a:lnTo>
                  <a:lnTo>
                    <a:pt x="146" y="537"/>
                  </a:lnTo>
                  <a:lnTo>
                    <a:pt x="148" y="537"/>
                  </a:lnTo>
                  <a:lnTo>
                    <a:pt x="148" y="541"/>
                  </a:lnTo>
                  <a:lnTo>
                    <a:pt x="150" y="545"/>
                  </a:lnTo>
                  <a:lnTo>
                    <a:pt x="151" y="546"/>
                  </a:lnTo>
                  <a:lnTo>
                    <a:pt x="152" y="546"/>
                  </a:lnTo>
                  <a:lnTo>
                    <a:pt x="153" y="547"/>
                  </a:lnTo>
                  <a:lnTo>
                    <a:pt x="154" y="547"/>
                  </a:lnTo>
                  <a:lnTo>
                    <a:pt x="154" y="543"/>
                  </a:lnTo>
                  <a:lnTo>
                    <a:pt x="157" y="541"/>
                  </a:lnTo>
                  <a:lnTo>
                    <a:pt x="158" y="540"/>
                  </a:lnTo>
                  <a:lnTo>
                    <a:pt x="158" y="538"/>
                  </a:lnTo>
                  <a:lnTo>
                    <a:pt x="159" y="537"/>
                  </a:lnTo>
                  <a:lnTo>
                    <a:pt x="160" y="538"/>
                  </a:lnTo>
                  <a:lnTo>
                    <a:pt x="162" y="539"/>
                  </a:lnTo>
                  <a:lnTo>
                    <a:pt x="164" y="541"/>
                  </a:lnTo>
                  <a:lnTo>
                    <a:pt x="165" y="543"/>
                  </a:lnTo>
                  <a:lnTo>
                    <a:pt x="165" y="547"/>
                  </a:lnTo>
                  <a:lnTo>
                    <a:pt x="166" y="549"/>
                  </a:lnTo>
                  <a:lnTo>
                    <a:pt x="166" y="547"/>
                  </a:lnTo>
                  <a:lnTo>
                    <a:pt x="168" y="546"/>
                  </a:lnTo>
                  <a:lnTo>
                    <a:pt x="168" y="539"/>
                  </a:lnTo>
                  <a:lnTo>
                    <a:pt x="169" y="538"/>
                  </a:lnTo>
                  <a:lnTo>
                    <a:pt x="169" y="544"/>
                  </a:lnTo>
                  <a:lnTo>
                    <a:pt x="170" y="544"/>
                  </a:lnTo>
                  <a:lnTo>
                    <a:pt x="170" y="543"/>
                  </a:lnTo>
                  <a:lnTo>
                    <a:pt x="171" y="540"/>
                  </a:lnTo>
                  <a:lnTo>
                    <a:pt x="171" y="539"/>
                  </a:lnTo>
                  <a:lnTo>
                    <a:pt x="172" y="539"/>
                  </a:lnTo>
                  <a:lnTo>
                    <a:pt x="174" y="540"/>
                  </a:lnTo>
                  <a:lnTo>
                    <a:pt x="174" y="541"/>
                  </a:lnTo>
                  <a:lnTo>
                    <a:pt x="174" y="540"/>
                  </a:lnTo>
                  <a:lnTo>
                    <a:pt x="176" y="539"/>
                  </a:lnTo>
                  <a:lnTo>
                    <a:pt x="175" y="538"/>
                  </a:lnTo>
                  <a:lnTo>
                    <a:pt x="174" y="535"/>
                  </a:lnTo>
                  <a:lnTo>
                    <a:pt x="174" y="534"/>
                  </a:lnTo>
                  <a:lnTo>
                    <a:pt x="175" y="532"/>
                  </a:lnTo>
                  <a:lnTo>
                    <a:pt x="175" y="531"/>
                  </a:lnTo>
                  <a:lnTo>
                    <a:pt x="176" y="531"/>
                  </a:lnTo>
                  <a:lnTo>
                    <a:pt x="177" y="531"/>
                  </a:lnTo>
                  <a:lnTo>
                    <a:pt x="176" y="532"/>
                  </a:lnTo>
                  <a:lnTo>
                    <a:pt x="176" y="534"/>
                  </a:lnTo>
                  <a:lnTo>
                    <a:pt x="175" y="535"/>
                  </a:lnTo>
                  <a:lnTo>
                    <a:pt x="176" y="537"/>
                  </a:lnTo>
                  <a:lnTo>
                    <a:pt x="176" y="539"/>
                  </a:lnTo>
                  <a:lnTo>
                    <a:pt x="177" y="539"/>
                  </a:lnTo>
                  <a:lnTo>
                    <a:pt x="177" y="540"/>
                  </a:lnTo>
                  <a:lnTo>
                    <a:pt x="176" y="544"/>
                  </a:lnTo>
                  <a:lnTo>
                    <a:pt x="176" y="547"/>
                  </a:lnTo>
                  <a:lnTo>
                    <a:pt x="177" y="547"/>
                  </a:lnTo>
                  <a:lnTo>
                    <a:pt x="178" y="545"/>
                  </a:lnTo>
                  <a:lnTo>
                    <a:pt x="178" y="544"/>
                  </a:lnTo>
                  <a:lnTo>
                    <a:pt x="180" y="543"/>
                  </a:lnTo>
                  <a:lnTo>
                    <a:pt x="181" y="541"/>
                  </a:lnTo>
                  <a:lnTo>
                    <a:pt x="181" y="537"/>
                  </a:lnTo>
                  <a:lnTo>
                    <a:pt x="181" y="535"/>
                  </a:lnTo>
                  <a:lnTo>
                    <a:pt x="182" y="535"/>
                  </a:lnTo>
                  <a:lnTo>
                    <a:pt x="183" y="537"/>
                  </a:lnTo>
                  <a:lnTo>
                    <a:pt x="184" y="538"/>
                  </a:lnTo>
                  <a:lnTo>
                    <a:pt x="186" y="540"/>
                  </a:lnTo>
                  <a:lnTo>
                    <a:pt x="186" y="541"/>
                  </a:lnTo>
                  <a:lnTo>
                    <a:pt x="187" y="543"/>
                  </a:lnTo>
                  <a:lnTo>
                    <a:pt x="187" y="544"/>
                  </a:lnTo>
                  <a:lnTo>
                    <a:pt x="187" y="546"/>
                  </a:lnTo>
                  <a:lnTo>
                    <a:pt x="186" y="546"/>
                  </a:lnTo>
                  <a:lnTo>
                    <a:pt x="182" y="547"/>
                  </a:lnTo>
                  <a:lnTo>
                    <a:pt x="178" y="551"/>
                  </a:lnTo>
                  <a:lnTo>
                    <a:pt x="177" y="551"/>
                  </a:lnTo>
                  <a:lnTo>
                    <a:pt x="178" y="552"/>
                  </a:lnTo>
                  <a:lnTo>
                    <a:pt x="180" y="551"/>
                  </a:lnTo>
                  <a:lnTo>
                    <a:pt x="181" y="551"/>
                  </a:lnTo>
                  <a:lnTo>
                    <a:pt x="182" y="551"/>
                  </a:lnTo>
                  <a:lnTo>
                    <a:pt x="183" y="550"/>
                  </a:lnTo>
                  <a:lnTo>
                    <a:pt x="184" y="552"/>
                  </a:lnTo>
                  <a:lnTo>
                    <a:pt x="183" y="552"/>
                  </a:lnTo>
                  <a:lnTo>
                    <a:pt x="183" y="553"/>
                  </a:lnTo>
                  <a:lnTo>
                    <a:pt x="182" y="555"/>
                  </a:lnTo>
                  <a:lnTo>
                    <a:pt x="180" y="556"/>
                  </a:lnTo>
                  <a:lnTo>
                    <a:pt x="178" y="555"/>
                  </a:lnTo>
                  <a:lnTo>
                    <a:pt x="177" y="553"/>
                  </a:lnTo>
                  <a:lnTo>
                    <a:pt x="176" y="552"/>
                  </a:lnTo>
                  <a:lnTo>
                    <a:pt x="176" y="555"/>
                  </a:lnTo>
                  <a:lnTo>
                    <a:pt x="171" y="555"/>
                  </a:lnTo>
                  <a:lnTo>
                    <a:pt x="169" y="553"/>
                  </a:lnTo>
                  <a:lnTo>
                    <a:pt x="168" y="553"/>
                  </a:lnTo>
                  <a:lnTo>
                    <a:pt x="166" y="552"/>
                  </a:lnTo>
                  <a:lnTo>
                    <a:pt x="165" y="553"/>
                  </a:lnTo>
                  <a:lnTo>
                    <a:pt x="164" y="555"/>
                  </a:lnTo>
                  <a:lnTo>
                    <a:pt x="156" y="555"/>
                  </a:lnTo>
                  <a:lnTo>
                    <a:pt x="156" y="553"/>
                  </a:lnTo>
                  <a:lnTo>
                    <a:pt x="153" y="553"/>
                  </a:lnTo>
                  <a:lnTo>
                    <a:pt x="152" y="555"/>
                  </a:lnTo>
                  <a:lnTo>
                    <a:pt x="151" y="555"/>
                  </a:lnTo>
                  <a:lnTo>
                    <a:pt x="150" y="555"/>
                  </a:lnTo>
                  <a:lnTo>
                    <a:pt x="150" y="553"/>
                  </a:lnTo>
                  <a:lnTo>
                    <a:pt x="147" y="553"/>
                  </a:lnTo>
                  <a:lnTo>
                    <a:pt x="146" y="555"/>
                  </a:lnTo>
                  <a:lnTo>
                    <a:pt x="142" y="555"/>
                  </a:lnTo>
                  <a:lnTo>
                    <a:pt x="141" y="555"/>
                  </a:lnTo>
                  <a:lnTo>
                    <a:pt x="140" y="556"/>
                  </a:lnTo>
                  <a:lnTo>
                    <a:pt x="137" y="556"/>
                  </a:lnTo>
                  <a:lnTo>
                    <a:pt x="136" y="556"/>
                  </a:lnTo>
                  <a:lnTo>
                    <a:pt x="134" y="556"/>
                  </a:lnTo>
                  <a:lnTo>
                    <a:pt x="131" y="557"/>
                  </a:lnTo>
                  <a:lnTo>
                    <a:pt x="129" y="557"/>
                  </a:lnTo>
                  <a:lnTo>
                    <a:pt x="127" y="558"/>
                  </a:lnTo>
                  <a:lnTo>
                    <a:pt x="123" y="559"/>
                  </a:lnTo>
                  <a:lnTo>
                    <a:pt x="122" y="561"/>
                  </a:lnTo>
                  <a:lnTo>
                    <a:pt x="121" y="561"/>
                  </a:lnTo>
                  <a:lnTo>
                    <a:pt x="116" y="561"/>
                  </a:lnTo>
                  <a:lnTo>
                    <a:pt x="116" y="562"/>
                  </a:lnTo>
                  <a:lnTo>
                    <a:pt x="115" y="563"/>
                  </a:lnTo>
                  <a:lnTo>
                    <a:pt x="113" y="563"/>
                  </a:lnTo>
                  <a:lnTo>
                    <a:pt x="112" y="564"/>
                  </a:lnTo>
                  <a:lnTo>
                    <a:pt x="111" y="564"/>
                  </a:lnTo>
                  <a:lnTo>
                    <a:pt x="111" y="567"/>
                  </a:lnTo>
                  <a:lnTo>
                    <a:pt x="110" y="567"/>
                  </a:lnTo>
                  <a:lnTo>
                    <a:pt x="109" y="568"/>
                  </a:lnTo>
                  <a:lnTo>
                    <a:pt x="106" y="568"/>
                  </a:lnTo>
                  <a:lnTo>
                    <a:pt x="104" y="567"/>
                  </a:lnTo>
                  <a:lnTo>
                    <a:pt x="103" y="567"/>
                  </a:lnTo>
                  <a:lnTo>
                    <a:pt x="101" y="567"/>
                  </a:lnTo>
                  <a:lnTo>
                    <a:pt x="101" y="568"/>
                  </a:lnTo>
                  <a:lnTo>
                    <a:pt x="100" y="568"/>
                  </a:lnTo>
                  <a:lnTo>
                    <a:pt x="97" y="567"/>
                  </a:lnTo>
                  <a:lnTo>
                    <a:pt x="99" y="569"/>
                  </a:lnTo>
                  <a:lnTo>
                    <a:pt x="100" y="569"/>
                  </a:lnTo>
                  <a:lnTo>
                    <a:pt x="99" y="570"/>
                  </a:lnTo>
                  <a:lnTo>
                    <a:pt x="92" y="573"/>
                  </a:lnTo>
                  <a:lnTo>
                    <a:pt x="92" y="574"/>
                  </a:lnTo>
                  <a:lnTo>
                    <a:pt x="99" y="573"/>
                  </a:lnTo>
                  <a:lnTo>
                    <a:pt x="100" y="573"/>
                  </a:lnTo>
                  <a:lnTo>
                    <a:pt x="100" y="574"/>
                  </a:lnTo>
                  <a:lnTo>
                    <a:pt x="100" y="576"/>
                  </a:lnTo>
                  <a:lnTo>
                    <a:pt x="101" y="575"/>
                  </a:lnTo>
                  <a:lnTo>
                    <a:pt x="103" y="574"/>
                  </a:lnTo>
                  <a:lnTo>
                    <a:pt x="103" y="571"/>
                  </a:lnTo>
                  <a:lnTo>
                    <a:pt x="104" y="571"/>
                  </a:lnTo>
                  <a:lnTo>
                    <a:pt x="104" y="573"/>
                  </a:lnTo>
                  <a:lnTo>
                    <a:pt x="105" y="573"/>
                  </a:lnTo>
                  <a:lnTo>
                    <a:pt x="106" y="570"/>
                  </a:lnTo>
                  <a:lnTo>
                    <a:pt x="107" y="570"/>
                  </a:lnTo>
                  <a:lnTo>
                    <a:pt x="107" y="574"/>
                  </a:lnTo>
                  <a:lnTo>
                    <a:pt x="109" y="575"/>
                  </a:lnTo>
                  <a:lnTo>
                    <a:pt x="110" y="577"/>
                  </a:lnTo>
                  <a:lnTo>
                    <a:pt x="110" y="579"/>
                  </a:lnTo>
                  <a:lnTo>
                    <a:pt x="111" y="580"/>
                  </a:lnTo>
                  <a:lnTo>
                    <a:pt x="112" y="581"/>
                  </a:lnTo>
                  <a:lnTo>
                    <a:pt x="113" y="581"/>
                  </a:lnTo>
                  <a:lnTo>
                    <a:pt x="113" y="583"/>
                  </a:lnTo>
                  <a:lnTo>
                    <a:pt x="115" y="585"/>
                  </a:lnTo>
                  <a:lnTo>
                    <a:pt x="116" y="585"/>
                  </a:lnTo>
                  <a:lnTo>
                    <a:pt x="116" y="583"/>
                  </a:lnTo>
                  <a:lnTo>
                    <a:pt x="117" y="582"/>
                  </a:lnTo>
                  <a:lnTo>
                    <a:pt x="117" y="580"/>
                  </a:lnTo>
                  <a:lnTo>
                    <a:pt x="116" y="579"/>
                  </a:lnTo>
                  <a:lnTo>
                    <a:pt x="117" y="577"/>
                  </a:lnTo>
                  <a:lnTo>
                    <a:pt x="117" y="576"/>
                  </a:lnTo>
                  <a:lnTo>
                    <a:pt x="116" y="574"/>
                  </a:lnTo>
                  <a:lnTo>
                    <a:pt x="116" y="571"/>
                  </a:lnTo>
                  <a:lnTo>
                    <a:pt x="117" y="570"/>
                  </a:lnTo>
                  <a:lnTo>
                    <a:pt x="117" y="568"/>
                  </a:lnTo>
                  <a:lnTo>
                    <a:pt x="117" y="567"/>
                  </a:lnTo>
                  <a:lnTo>
                    <a:pt x="118" y="565"/>
                  </a:lnTo>
                  <a:lnTo>
                    <a:pt x="119" y="564"/>
                  </a:lnTo>
                  <a:lnTo>
                    <a:pt x="121" y="565"/>
                  </a:lnTo>
                  <a:lnTo>
                    <a:pt x="121" y="567"/>
                  </a:lnTo>
                  <a:lnTo>
                    <a:pt x="118" y="568"/>
                  </a:lnTo>
                  <a:lnTo>
                    <a:pt x="118" y="570"/>
                  </a:lnTo>
                  <a:lnTo>
                    <a:pt x="119" y="569"/>
                  </a:lnTo>
                  <a:lnTo>
                    <a:pt x="121" y="569"/>
                  </a:lnTo>
                  <a:lnTo>
                    <a:pt x="121" y="571"/>
                  </a:lnTo>
                  <a:lnTo>
                    <a:pt x="121" y="573"/>
                  </a:lnTo>
                  <a:lnTo>
                    <a:pt x="119" y="574"/>
                  </a:lnTo>
                  <a:lnTo>
                    <a:pt x="119" y="576"/>
                  </a:lnTo>
                  <a:lnTo>
                    <a:pt x="119" y="579"/>
                  </a:lnTo>
                  <a:lnTo>
                    <a:pt x="121" y="580"/>
                  </a:lnTo>
                  <a:lnTo>
                    <a:pt x="121" y="579"/>
                  </a:lnTo>
                  <a:lnTo>
                    <a:pt x="122" y="576"/>
                  </a:lnTo>
                  <a:lnTo>
                    <a:pt x="122" y="574"/>
                  </a:lnTo>
                  <a:lnTo>
                    <a:pt x="123" y="574"/>
                  </a:lnTo>
                  <a:lnTo>
                    <a:pt x="123" y="576"/>
                  </a:lnTo>
                  <a:lnTo>
                    <a:pt x="124" y="577"/>
                  </a:lnTo>
                  <a:lnTo>
                    <a:pt x="125" y="577"/>
                  </a:lnTo>
                  <a:lnTo>
                    <a:pt x="125" y="576"/>
                  </a:lnTo>
                  <a:lnTo>
                    <a:pt x="125" y="575"/>
                  </a:lnTo>
                  <a:lnTo>
                    <a:pt x="125" y="574"/>
                  </a:lnTo>
                  <a:lnTo>
                    <a:pt x="127" y="573"/>
                  </a:lnTo>
                  <a:lnTo>
                    <a:pt x="127" y="571"/>
                  </a:lnTo>
                  <a:lnTo>
                    <a:pt x="128" y="571"/>
                  </a:lnTo>
                  <a:lnTo>
                    <a:pt x="128" y="573"/>
                  </a:lnTo>
                  <a:lnTo>
                    <a:pt x="128" y="574"/>
                  </a:lnTo>
                  <a:lnTo>
                    <a:pt x="128" y="575"/>
                  </a:lnTo>
                  <a:lnTo>
                    <a:pt x="128" y="577"/>
                  </a:lnTo>
                  <a:lnTo>
                    <a:pt x="128" y="579"/>
                  </a:lnTo>
                  <a:lnTo>
                    <a:pt x="128" y="583"/>
                  </a:lnTo>
                  <a:lnTo>
                    <a:pt x="128" y="586"/>
                  </a:lnTo>
                  <a:lnTo>
                    <a:pt x="129" y="585"/>
                  </a:lnTo>
                  <a:lnTo>
                    <a:pt x="129" y="583"/>
                  </a:lnTo>
                  <a:lnTo>
                    <a:pt x="129" y="581"/>
                  </a:lnTo>
                  <a:lnTo>
                    <a:pt x="130" y="581"/>
                  </a:lnTo>
                  <a:lnTo>
                    <a:pt x="130" y="580"/>
                  </a:lnTo>
                  <a:lnTo>
                    <a:pt x="131" y="580"/>
                  </a:lnTo>
                  <a:lnTo>
                    <a:pt x="131" y="579"/>
                  </a:lnTo>
                  <a:lnTo>
                    <a:pt x="131" y="577"/>
                  </a:lnTo>
                  <a:lnTo>
                    <a:pt x="131" y="573"/>
                  </a:lnTo>
                  <a:lnTo>
                    <a:pt x="133" y="573"/>
                  </a:lnTo>
                  <a:lnTo>
                    <a:pt x="134" y="574"/>
                  </a:lnTo>
                  <a:lnTo>
                    <a:pt x="135" y="573"/>
                  </a:lnTo>
                  <a:lnTo>
                    <a:pt x="135" y="569"/>
                  </a:lnTo>
                  <a:lnTo>
                    <a:pt x="136" y="568"/>
                  </a:lnTo>
                  <a:lnTo>
                    <a:pt x="136" y="569"/>
                  </a:lnTo>
                  <a:lnTo>
                    <a:pt x="136" y="573"/>
                  </a:lnTo>
                  <a:lnTo>
                    <a:pt x="136" y="575"/>
                  </a:lnTo>
                  <a:lnTo>
                    <a:pt x="136" y="577"/>
                  </a:lnTo>
                  <a:lnTo>
                    <a:pt x="136" y="579"/>
                  </a:lnTo>
                  <a:lnTo>
                    <a:pt x="137" y="577"/>
                  </a:lnTo>
                  <a:lnTo>
                    <a:pt x="139" y="577"/>
                  </a:lnTo>
                  <a:lnTo>
                    <a:pt x="140" y="577"/>
                  </a:lnTo>
                  <a:lnTo>
                    <a:pt x="140" y="576"/>
                  </a:lnTo>
                  <a:lnTo>
                    <a:pt x="140" y="581"/>
                  </a:lnTo>
                  <a:lnTo>
                    <a:pt x="141" y="582"/>
                  </a:lnTo>
                  <a:lnTo>
                    <a:pt x="142" y="582"/>
                  </a:lnTo>
                  <a:lnTo>
                    <a:pt x="142" y="576"/>
                  </a:lnTo>
                  <a:lnTo>
                    <a:pt x="143" y="576"/>
                  </a:lnTo>
                  <a:lnTo>
                    <a:pt x="143" y="579"/>
                  </a:lnTo>
                  <a:lnTo>
                    <a:pt x="143" y="580"/>
                  </a:lnTo>
                  <a:lnTo>
                    <a:pt x="145" y="580"/>
                  </a:lnTo>
                  <a:lnTo>
                    <a:pt x="145" y="581"/>
                  </a:lnTo>
                  <a:lnTo>
                    <a:pt x="146" y="583"/>
                  </a:lnTo>
                  <a:lnTo>
                    <a:pt x="146" y="585"/>
                  </a:lnTo>
                  <a:lnTo>
                    <a:pt x="146" y="586"/>
                  </a:lnTo>
                  <a:lnTo>
                    <a:pt x="147" y="586"/>
                  </a:lnTo>
                  <a:lnTo>
                    <a:pt x="147" y="587"/>
                  </a:lnTo>
                  <a:lnTo>
                    <a:pt x="148" y="589"/>
                  </a:lnTo>
                  <a:lnTo>
                    <a:pt x="150" y="589"/>
                  </a:lnTo>
                  <a:lnTo>
                    <a:pt x="150" y="588"/>
                  </a:lnTo>
                  <a:lnTo>
                    <a:pt x="151" y="587"/>
                  </a:lnTo>
                  <a:lnTo>
                    <a:pt x="151" y="585"/>
                  </a:lnTo>
                  <a:lnTo>
                    <a:pt x="152" y="583"/>
                  </a:lnTo>
                  <a:lnTo>
                    <a:pt x="152" y="582"/>
                  </a:lnTo>
                  <a:lnTo>
                    <a:pt x="153" y="581"/>
                  </a:lnTo>
                  <a:lnTo>
                    <a:pt x="153" y="582"/>
                  </a:lnTo>
                  <a:lnTo>
                    <a:pt x="154" y="581"/>
                  </a:lnTo>
                  <a:lnTo>
                    <a:pt x="154" y="579"/>
                  </a:lnTo>
                  <a:lnTo>
                    <a:pt x="154" y="577"/>
                  </a:lnTo>
                  <a:lnTo>
                    <a:pt x="156" y="577"/>
                  </a:lnTo>
                  <a:lnTo>
                    <a:pt x="157" y="579"/>
                  </a:lnTo>
                  <a:lnTo>
                    <a:pt x="157" y="580"/>
                  </a:lnTo>
                  <a:lnTo>
                    <a:pt x="158" y="579"/>
                  </a:lnTo>
                  <a:lnTo>
                    <a:pt x="158" y="580"/>
                  </a:lnTo>
                  <a:lnTo>
                    <a:pt x="158" y="581"/>
                  </a:lnTo>
                  <a:lnTo>
                    <a:pt x="158" y="582"/>
                  </a:lnTo>
                  <a:lnTo>
                    <a:pt x="157" y="583"/>
                  </a:lnTo>
                  <a:lnTo>
                    <a:pt x="157" y="585"/>
                  </a:lnTo>
                  <a:lnTo>
                    <a:pt x="158" y="585"/>
                  </a:lnTo>
                  <a:lnTo>
                    <a:pt x="157" y="586"/>
                  </a:lnTo>
                  <a:lnTo>
                    <a:pt x="157" y="587"/>
                  </a:lnTo>
                  <a:lnTo>
                    <a:pt x="157" y="588"/>
                  </a:lnTo>
                  <a:lnTo>
                    <a:pt x="158" y="588"/>
                  </a:lnTo>
                  <a:lnTo>
                    <a:pt x="159" y="588"/>
                  </a:lnTo>
                  <a:lnTo>
                    <a:pt x="159" y="587"/>
                  </a:lnTo>
                  <a:lnTo>
                    <a:pt x="162" y="586"/>
                  </a:lnTo>
                  <a:lnTo>
                    <a:pt x="163" y="586"/>
                  </a:lnTo>
                  <a:lnTo>
                    <a:pt x="164" y="587"/>
                  </a:lnTo>
                  <a:lnTo>
                    <a:pt x="165" y="588"/>
                  </a:lnTo>
                  <a:lnTo>
                    <a:pt x="166" y="587"/>
                  </a:lnTo>
                  <a:lnTo>
                    <a:pt x="166" y="586"/>
                  </a:lnTo>
                  <a:lnTo>
                    <a:pt x="166" y="583"/>
                  </a:lnTo>
                  <a:lnTo>
                    <a:pt x="168" y="582"/>
                  </a:lnTo>
                  <a:lnTo>
                    <a:pt x="168" y="583"/>
                  </a:lnTo>
                  <a:lnTo>
                    <a:pt x="170" y="585"/>
                  </a:lnTo>
                  <a:lnTo>
                    <a:pt x="169" y="586"/>
                  </a:lnTo>
                  <a:lnTo>
                    <a:pt x="168" y="587"/>
                  </a:lnTo>
                  <a:lnTo>
                    <a:pt x="168" y="588"/>
                  </a:lnTo>
                  <a:lnTo>
                    <a:pt x="169" y="588"/>
                  </a:lnTo>
                  <a:lnTo>
                    <a:pt x="170" y="587"/>
                  </a:lnTo>
                  <a:lnTo>
                    <a:pt x="171" y="587"/>
                  </a:lnTo>
                  <a:lnTo>
                    <a:pt x="172" y="587"/>
                  </a:lnTo>
                  <a:lnTo>
                    <a:pt x="174" y="587"/>
                  </a:lnTo>
                  <a:lnTo>
                    <a:pt x="174" y="586"/>
                  </a:lnTo>
                  <a:lnTo>
                    <a:pt x="174" y="585"/>
                  </a:lnTo>
                  <a:lnTo>
                    <a:pt x="175" y="585"/>
                  </a:lnTo>
                  <a:lnTo>
                    <a:pt x="176" y="585"/>
                  </a:lnTo>
                  <a:lnTo>
                    <a:pt x="177" y="585"/>
                  </a:lnTo>
                  <a:lnTo>
                    <a:pt x="177" y="586"/>
                  </a:lnTo>
                  <a:lnTo>
                    <a:pt x="178" y="587"/>
                  </a:lnTo>
                  <a:lnTo>
                    <a:pt x="180" y="588"/>
                  </a:lnTo>
                  <a:lnTo>
                    <a:pt x="178" y="589"/>
                  </a:lnTo>
                  <a:lnTo>
                    <a:pt x="176" y="589"/>
                  </a:lnTo>
                  <a:lnTo>
                    <a:pt x="175" y="589"/>
                  </a:lnTo>
                  <a:lnTo>
                    <a:pt x="174" y="589"/>
                  </a:lnTo>
                  <a:lnTo>
                    <a:pt x="172" y="589"/>
                  </a:lnTo>
                  <a:lnTo>
                    <a:pt x="172" y="588"/>
                  </a:lnTo>
                  <a:lnTo>
                    <a:pt x="171" y="588"/>
                  </a:lnTo>
                  <a:lnTo>
                    <a:pt x="171" y="589"/>
                  </a:lnTo>
                  <a:lnTo>
                    <a:pt x="170" y="589"/>
                  </a:lnTo>
                  <a:lnTo>
                    <a:pt x="169" y="588"/>
                  </a:lnTo>
                  <a:lnTo>
                    <a:pt x="168" y="588"/>
                  </a:lnTo>
                  <a:lnTo>
                    <a:pt x="168" y="589"/>
                  </a:lnTo>
                  <a:lnTo>
                    <a:pt x="166" y="589"/>
                  </a:lnTo>
                  <a:lnTo>
                    <a:pt x="165" y="589"/>
                  </a:lnTo>
                  <a:lnTo>
                    <a:pt x="164" y="591"/>
                  </a:lnTo>
                  <a:lnTo>
                    <a:pt x="163" y="591"/>
                  </a:lnTo>
                  <a:lnTo>
                    <a:pt x="162" y="589"/>
                  </a:lnTo>
                  <a:lnTo>
                    <a:pt x="156" y="589"/>
                  </a:lnTo>
                  <a:lnTo>
                    <a:pt x="156" y="591"/>
                  </a:lnTo>
                  <a:lnTo>
                    <a:pt x="154" y="591"/>
                  </a:lnTo>
                  <a:lnTo>
                    <a:pt x="154" y="592"/>
                  </a:lnTo>
                  <a:lnTo>
                    <a:pt x="156" y="592"/>
                  </a:lnTo>
                  <a:lnTo>
                    <a:pt x="158" y="592"/>
                  </a:lnTo>
                  <a:lnTo>
                    <a:pt x="159" y="592"/>
                  </a:lnTo>
                  <a:lnTo>
                    <a:pt x="159" y="593"/>
                  </a:lnTo>
                  <a:lnTo>
                    <a:pt x="160" y="593"/>
                  </a:lnTo>
                  <a:lnTo>
                    <a:pt x="160" y="594"/>
                  </a:lnTo>
                  <a:lnTo>
                    <a:pt x="160" y="595"/>
                  </a:lnTo>
                  <a:lnTo>
                    <a:pt x="159" y="595"/>
                  </a:lnTo>
                  <a:lnTo>
                    <a:pt x="159" y="597"/>
                  </a:lnTo>
                  <a:lnTo>
                    <a:pt x="159" y="598"/>
                  </a:lnTo>
                  <a:lnTo>
                    <a:pt x="160" y="597"/>
                  </a:lnTo>
                  <a:lnTo>
                    <a:pt x="162" y="594"/>
                  </a:lnTo>
                  <a:lnTo>
                    <a:pt x="163" y="593"/>
                  </a:lnTo>
                  <a:lnTo>
                    <a:pt x="164" y="592"/>
                  </a:lnTo>
                  <a:lnTo>
                    <a:pt x="165" y="593"/>
                  </a:lnTo>
                  <a:lnTo>
                    <a:pt x="165" y="594"/>
                  </a:lnTo>
                  <a:lnTo>
                    <a:pt x="164" y="595"/>
                  </a:lnTo>
                  <a:lnTo>
                    <a:pt x="165" y="595"/>
                  </a:lnTo>
                  <a:lnTo>
                    <a:pt x="165" y="594"/>
                  </a:lnTo>
                  <a:lnTo>
                    <a:pt x="166" y="593"/>
                  </a:lnTo>
                  <a:lnTo>
                    <a:pt x="168" y="593"/>
                  </a:lnTo>
                  <a:lnTo>
                    <a:pt x="169" y="593"/>
                  </a:lnTo>
                  <a:lnTo>
                    <a:pt x="169" y="594"/>
                  </a:lnTo>
                  <a:lnTo>
                    <a:pt x="169" y="593"/>
                  </a:lnTo>
                  <a:lnTo>
                    <a:pt x="170" y="592"/>
                  </a:lnTo>
                  <a:lnTo>
                    <a:pt x="171" y="592"/>
                  </a:lnTo>
                  <a:lnTo>
                    <a:pt x="171" y="593"/>
                  </a:lnTo>
                  <a:lnTo>
                    <a:pt x="170" y="594"/>
                  </a:lnTo>
                  <a:lnTo>
                    <a:pt x="170" y="595"/>
                  </a:lnTo>
                  <a:lnTo>
                    <a:pt x="170" y="597"/>
                  </a:lnTo>
                  <a:lnTo>
                    <a:pt x="170" y="598"/>
                  </a:lnTo>
                  <a:lnTo>
                    <a:pt x="168" y="598"/>
                  </a:lnTo>
                  <a:lnTo>
                    <a:pt x="168" y="599"/>
                  </a:lnTo>
                  <a:lnTo>
                    <a:pt x="168" y="600"/>
                  </a:lnTo>
                  <a:lnTo>
                    <a:pt x="169" y="600"/>
                  </a:lnTo>
                  <a:lnTo>
                    <a:pt x="170" y="601"/>
                  </a:lnTo>
                  <a:lnTo>
                    <a:pt x="171" y="600"/>
                  </a:lnTo>
                  <a:lnTo>
                    <a:pt x="171" y="599"/>
                  </a:lnTo>
                  <a:lnTo>
                    <a:pt x="172" y="598"/>
                  </a:lnTo>
                  <a:lnTo>
                    <a:pt x="172" y="597"/>
                  </a:lnTo>
                  <a:lnTo>
                    <a:pt x="172" y="595"/>
                  </a:lnTo>
                  <a:lnTo>
                    <a:pt x="174" y="594"/>
                  </a:lnTo>
                  <a:lnTo>
                    <a:pt x="174" y="593"/>
                  </a:lnTo>
                  <a:lnTo>
                    <a:pt x="175" y="593"/>
                  </a:lnTo>
                  <a:lnTo>
                    <a:pt x="176" y="593"/>
                  </a:lnTo>
                  <a:lnTo>
                    <a:pt x="177" y="593"/>
                  </a:lnTo>
                  <a:lnTo>
                    <a:pt x="177" y="594"/>
                  </a:lnTo>
                  <a:lnTo>
                    <a:pt x="176" y="595"/>
                  </a:lnTo>
                  <a:lnTo>
                    <a:pt x="176" y="597"/>
                  </a:lnTo>
                  <a:lnTo>
                    <a:pt x="176" y="599"/>
                  </a:lnTo>
                  <a:lnTo>
                    <a:pt x="177" y="598"/>
                  </a:lnTo>
                  <a:lnTo>
                    <a:pt x="177" y="597"/>
                  </a:lnTo>
                  <a:lnTo>
                    <a:pt x="177" y="595"/>
                  </a:lnTo>
                  <a:lnTo>
                    <a:pt x="178" y="595"/>
                  </a:lnTo>
                  <a:lnTo>
                    <a:pt x="178" y="594"/>
                  </a:lnTo>
                  <a:lnTo>
                    <a:pt x="180" y="593"/>
                  </a:lnTo>
                  <a:lnTo>
                    <a:pt x="180" y="594"/>
                  </a:lnTo>
                  <a:lnTo>
                    <a:pt x="181" y="594"/>
                  </a:lnTo>
                  <a:lnTo>
                    <a:pt x="181" y="595"/>
                  </a:lnTo>
                  <a:lnTo>
                    <a:pt x="180" y="597"/>
                  </a:lnTo>
                  <a:lnTo>
                    <a:pt x="180" y="598"/>
                  </a:lnTo>
                  <a:lnTo>
                    <a:pt x="180" y="599"/>
                  </a:lnTo>
                  <a:lnTo>
                    <a:pt x="181" y="600"/>
                  </a:lnTo>
                  <a:lnTo>
                    <a:pt x="181" y="601"/>
                  </a:lnTo>
                  <a:lnTo>
                    <a:pt x="181" y="603"/>
                  </a:lnTo>
                  <a:lnTo>
                    <a:pt x="181" y="604"/>
                  </a:lnTo>
                  <a:lnTo>
                    <a:pt x="182" y="603"/>
                  </a:lnTo>
                  <a:lnTo>
                    <a:pt x="182" y="600"/>
                  </a:lnTo>
                  <a:lnTo>
                    <a:pt x="183" y="600"/>
                  </a:lnTo>
                  <a:lnTo>
                    <a:pt x="183" y="599"/>
                  </a:lnTo>
                  <a:lnTo>
                    <a:pt x="184" y="598"/>
                  </a:lnTo>
                  <a:lnTo>
                    <a:pt x="184" y="599"/>
                  </a:lnTo>
                  <a:lnTo>
                    <a:pt x="186" y="600"/>
                  </a:lnTo>
                  <a:lnTo>
                    <a:pt x="186" y="599"/>
                  </a:lnTo>
                  <a:lnTo>
                    <a:pt x="186" y="598"/>
                  </a:lnTo>
                  <a:lnTo>
                    <a:pt x="186" y="597"/>
                  </a:lnTo>
                  <a:lnTo>
                    <a:pt x="186" y="595"/>
                  </a:lnTo>
                  <a:lnTo>
                    <a:pt x="187" y="595"/>
                  </a:lnTo>
                  <a:lnTo>
                    <a:pt x="187" y="593"/>
                  </a:lnTo>
                  <a:lnTo>
                    <a:pt x="187" y="591"/>
                  </a:lnTo>
                  <a:lnTo>
                    <a:pt x="187" y="589"/>
                  </a:lnTo>
                  <a:lnTo>
                    <a:pt x="187" y="587"/>
                  </a:lnTo>
                  <a:lnTo>
                    <a:pt x="187" y="586"/>
                  </a:lnTo>
                  <a:lnTo>
                    <a:pt x="186" y="585"/>
                  </a:lnTo>
                  <a:lnTo>
                    <a:pt x="186" y="582"/>
                  </a:lnTo>
                  <a:lnTo>
                    <a:pt x="187" y="583"/>
                  </a:lnTo>
                  <a:lnTo>
                    <a:pt x="187" y="586"/>
                  </a:lnTo>
                  <a:lnTo>
                    <a:pt x="188" y="587"/>
                  </a:lnTo>
                  <a:lnTo>
                    <a:pt x="188" y="588"/>
                  </a:lnTo>
                  <a:lnTo>
                    <a:pt x="189" y="589"/>
                  </a:lnTo>
                  <a:lnTo>
                    <a:pt x="189" y="592"/>
                  </a:lnTo>
                  <a:lnTo>
                    <a:pt x="189" y="593"/>
                  </a:lnTo>
                  <a:lnTo>
                    <a:pt x="188" y="594"/>
                  </a:lnTo>
                  <a:lnTo>
                    <a:pt x="188" y="598"/>
                  </a:lnTo>
                  <a:lnTo>
                    <a:pt x="188" y="599"/>
                  </a:lnTo>
                  <a:lnTo>
                    <a:pt x="188" y="600"/>
                  </a:lnTo>
                  <a:lnTo>
                    <a:pt x="187" y="601"/>
                  </a:lnTo>
                  <a:lnTo>
                    <a:pt x="187" y="603"/>
                  </a:lnTo>
                  <a:lnTo>
                    <a:pt x="187" y="604"/>
                  </a:lnTo>
                  <a:lnTo>
                    <a:pt x="188" y="605"/>
                  </a:lnTo>
                  <a:lnTo>
                    <a:pt x="190" y="605"/>
                  </a:lnTo>
                  <a:lnTo>
                    <a:pt x="192" y="604"/>
                  </a:lnTo>
                  <a:lnTo>
                    <a:pt x="192" y="603"/>
                  </a:lnTo>
                  <a:lnTo>
                    <a:pt x="190" y="601"/>
                  </a:lnTo>
                  <a:lnTo>
                    <a:pt x="190" y="600"/>
                  </a:lnTo>
                  <a:lnTo>
                    <a:pt x="192" y="600"/>
                  </a:lnTo>
                  <a:lnTo>
                    <a:pt x="193" y="600"/>
                  </a:lnTo>
                  <a:lnTo>
                    <a:pt x="193" y="603"/>
                  </a:lnTo>
                  <a:lnTo>
                    <a:pt x="193" y="604"/>
                  </a:lnTo>
                  <a:lnTo>
                    <a:pt x="194" y="603"/>
                  </a:lnTo>
                  <a:lnTo>
                    <a:pt x="195" y="603"/>
                  </a:lnTo>
                  <a:lnTo>
                    <a:pt x="196" y="601"/>
                  </a:lnTo>
                  <a:lnTo>
                    <a:pt x="198" y="603"/>
                  </a:lnTo>
                  <a:lnTo>
                    <a:pt x="199" y="604"/>
                  </a:lnTo>
                  <a:lnTo>
                    <a:pt x="199" y="605"/>
                  </a:lnTo>
                  <a:lnTo>
                    <a:pt x="200" y="604"/>
                  </a:lnTo>
                  <a:lnTo>
                    <a:pt x="200" y="605"/>
                  </a:lnTo>
                  <a:lnTo>
                    <a:pt x="200" y="606"/>
                  </a:lnTo>
                  <a:lnTo>
                    <a:pt x="200" y="607"/>
                  </a:lnTo>
                  <a:lnTo>
                    <a:pt x="199" y="609"/>
                  </a:lnTo>
                  <a:lnTo>
                    <a:pt x="198" y="610"/>
                  </a:lnTo>
                  <a:lnTo>
                    <a:pt x="196" y="611"/>
                  </a:lnTo>
                  <a:lnTo>
                    <a:pt x="196" y="612"/>
                  </a:lnTo>
                  <a:lnTo>
                    <a:pt x="199" y="612"/>
                  </a:lnTo>
                  <a:lnTo>
                    <a:pt x="200" y="612"/>
                  </a:lnTo>
                  <a:lnTo>
                    <a:pt x="200" y="611"/>
                  </a:lnTo>
                  <a:lnTo>
                    <a:pt x="202" y="610"/>
                  </a:lnTo>
                  <a:lnTo>
                    <a:pt x="204" y="610"/>
                  </a:lnTo>
                  <a:lnTo>
                    <a:pt x="204" y="609"/>
                  </a:lnTo>
                  <a:lnTo>
                    <a:pt x="205" y="607"/>
                  </a:lnTo>
                  <a:lnTo>
                    <a:pt x="206" y="607"/>
                  </a:lnTo>
                  <a:lnTo>
                    <a:pt x="206" y="609"/>
                  </a:lnTo>
                  <a:lnTo>
                    <a:pt x="207" y="610"/>
                  </a:lnTo>
                  <a:lnTo>
                    <a:pt x="207" y="611"/>
                  </a:lnTo>
                  <a:lnTo>
                    <a:pt x="207" y="612"/>
                  </a:lnTo>
                  <a:lnTo>
                    <a:pt x="206" y="613"/>
                  </a:lnTo>
                  <a:lnTo>
                    <a:pt x="206" y="615"/>
                  </a:lnTo>
                  <a:lnTo>
                    <a:pt x="205" y="616"/>
                  </a:lnTo>
                  <a:lnTo>
                    <a:pt x="202" y="616"/>
                  </a:lnTo>
                  <a:lnTo>
                    <a:pt x="201" y="616"/>
                  </a:lnTo>
                  <a:lnTo>
                    <a:pt x="200" y="616"/>
                  </a:lnTo>
                  <a:lnTo>
                    <a:pt x="199" y="616"/>
                  </a:lnTo>
                  <a:lnTo>
                    <a:pt x="198" y="616"/>
                  </a:lnTo>
                  <a:lnTo>
                    <a:pt x="198" y="617"/>
                  </a:lnTo>
                  <a:lnTo>
                    <a:pt x="196" y="617"/>
                  </a:lnTo>
                  <a:lnTo>
                    <a:pt x="195" y="617"/>
                  </a:lnTo>
                  <a:lnTo>
                    <a:pt x="193" y="617"/>
                  </a:lnTo>
                  <a:lnTo>
                    <a:pt x="190" y="618"/>
                  </a:lnTo>
                  <a:lnTo>
                    <a:pt x="188" y="618"/>
                  </a:lnTo>
                  <a:lnTo>
                    <a:pt x="187" y="618"/>
                  </a:lnTo>
                  <a:lnTo>
                    <a:pt x="186" y="619"/>
                  </a:lnTo>
                  <a:lnTo>
                    <a:pt x="184" y="619"/>
                  </a:lnTo>
                  <a:lnTo>
                    <a:pt x="183" y="619"/>
                  </a:lnTo>
                  <a:lnTo>
                    <a:pt x="182" y="619"/>
                  </a:lnTo>
                  <a:lnTo>
                    <a:pt x="181" y="619"/>
                  </a:lnTo>
                  <a:lnTo>
                    <a:pt x="180" y="619"/>
                  </a:lnTo>
                  <a:lnTo>
                    <a:pt x="180" y="621"/>
                  </a:lnTo>
                  <a:lnTo>
                    <a:pt x="178" y="621"/>
                  </a:lnTo>
                  <a:lnTo>
                    <a:pt x="177" y="622"/>
                  </a:lnTo>
                  <a:lnTo>
                    <a:pt x="176" y="622"/>
                  </a:lnTo>
                  <a:lnTo>
                    <a:pt x="175" y="621"/>
                  </a:lnTo>
                  <a:lnTo>
                    <a:pt x="175" y="622"/>
                  </a:lnTo>
                  <a:lnTo>
                    <a:pt x="174" y="622"/>
                  </a:lnTo>
                  <a:lnTo>
                    <a:pt x="166" y="622"/>
                  </a:lnTo>
                  <a:lnTo>
                    <a:pt x="165" y="622"/>
                  </a:lnTo>
                  <a:lnTo>
                    <a:pt x="164" y="621"/>
                  </a:lnTo>
                  <a:lnTo>
                    <a:pt x="163" y="622"/>
                  </a:lnTo>
                  <a:lnTo>
                    <a:pt x="162" y="622"/>
                  </a:lnTo>
                  <a:lnTo>
                    <a:pt x="160" y="622"/>
                  </a:lnTo>
                  <a:lnTo>
                    <a:pt x="158" y="622"/>
                  </a:lnTo>
                  <a:lnTo>
                    <a:pt x="156" y="622"/>
                  </a:lnTo>
                  <a:lnTo>
                    <a:pt x="156" y="623"/>
                  </a:lnTo>
                  <a:lnTo>
                    <a:pt x="154" y="623"/>
                  </a:lnTo>
                  <a:lnTo>
                    <a:pt x="153" y="623"/>
                  </a:lnTo>
                  <a:lnTo>
                    <a:pt x="152" y="622"/>
                  </a:lnTo>
                  <a:lnTo>
                    <a:pt x="150" y="622"/>
                  </a:lnTo>
                  <a:lnTo>
                    <a:pt x="150" y="623"/>
                  </a:lnTo>
                  <a:lnTo>
                    <a:pt x="147" y="623"/>
                  </a:lnTo>
                  <a:lnTo>
                    <a:pt x="146" y="622"/>
                  </a:lnTo>
                  <a:lnTo>
                    <a:pt x="147" y="621"/>
                  </a:lnTo>
                  <a:lnTo>
                    <a:pt x="146" y="619"/>
                  </a:lnTo>
                  <a:lnTo>
                    <a:pt x="145" y="621"/>
                  </a:lnTo>
                  <a:lnTo>
                    <a:pt x="145" y="622"/>
                  </a:lnTo>
                  <a:lnTo>
                    <a:pt x="142" y="622"/>
                  </a:lnTo>
                  <a:lnTo>
                    <a:pt x="141" y="622"/>
                  </a:lnTo>
                  <a:lnTo>
                    <a:pt x="141" y="623"/>
                  </a:lnTo>
                  <a:lnTo>
                    <a:pt x="142" y="623"/>
                  </a:lnTo>
                  <a:lnTo>
                    <a:pt x="142" y="624"/>
                  </a:lnTo>
                  <a:lnTo>
                    <a:pt x="141" y="624"/>
                  </a:lnTo>
                  <a:lnTo>
                    <a:pt x="140" y="624"/>
                  </a:lnTo>
                  <a:lnTo>
                    <a:pt x="139" y="625"/>
                  </a:lnTo>
                  <a:lnTo>
                    <a:pt x="137" y="625"/>
                  </a:lnTo>
                  <a:lnTo>
                    <a:pt x="135" y="625"/>
                  </a:lnTo>
                  <a:lnTo>
                    <a:pt x="134" y="625"/>
                  </a:lnTo>
                  <a:lnTo>
                    <a:pt x="133" y="625"/>
                  </a:lnTo>
                  <a:lnTo>
                    <a:pt x="133" y="624"/>
                  </a:lnTo>
                  <a:lnTo>
                    <a:pt x="131" y="623"/>
                  </a:lnTo>
                  <a:lnTo>
                    <a:pt x="130" y="624"/>
                  </a:lnTo>
                  <a:lnTo>
                    <a:pt x="131" y="624"/>
                  </a:lnTo>
                  <a:lnTo>
                    <a:pt x="131" y="625"/>
                  </a:lnTo>
                  <a:lnTo>
                    <a:pt x="133" y="625"/>
                  </a:lnTo>
                  <a:lnTo>
                    <a:pt x="131" y="627"/>
                  </a:lnTo>
                  <a:lnTo>
                    <a:pt x="130" y="627"/>
                  </a:lnTo>
                  <a:lnTo>
                    <a:pt x="129" y="628"/>
                  </a:lnTo>
                  <a:lnTo>
                    <a:pt x="129" y="629"/>
                  </a:lnTo>
                  <a:lnTo>
                    <a:pt x="128" y="628"/>
                  </a:lnTo>
                  <a:lnTo>
                    <a:pt x="127" y="628"/>
                  </a:lnTo>
                  <a:lnTo>
                    <a:pt x="127" y="627"/>
                  </a:lnTo>
                  <a:lnTo>
                    <a:pt x="125" y="628"/>
                  </a:lnTo>
                  <a:lnTo>
                    <a:pt x="124" y="629"/>
                  </a:lnTo>
                  <a:lnTo>
                    <a:pt x="123" y="628"/>
                  </a:lnTo>
                  <a:lnTo>
                    <a:pt x="121" y="628"/>
                  </a:lnTo>
                  <a:lnTo>
                    <a:pt x="118" y="628"/>
                  </a:lnTo>
                  <a:lnTo>
                    <a:pt x="117" y="628"/>
                  </a:lnTo>
                  <a:lnTo>
                    <a:pt x="115" y="628"/>
                  </a:lnTo>
                  <a:lnTo>
                    <a:pt x="110" y="628"/>
                  </a:lnTo>
                  <a:lnTo>
                    <a:pt x="109" y="628"/>
                  </a:lnTo>
                  <a:lnTo>
                    <a:pt x="110" y="629"/>
                  </a:lnTo>
                  <a:lnTo>
                    <a:pt x="110" y="630"/>
                  </a:lnTo>
                  <a:lnTo>
                    <a:pt x="112" y="629"/>
                  </a:lnTo>
                  <a:lnTo>
                    <a:pt x="115" y="629"/>
                  </a:lnTo>
                  <a:lnTo>
                    <a:pt x="115" y="630"/>
                  </a:lnTo>
                  <a:lnTo>
                    <a:pt x="117" y="630"/>
                  </a:lnTo>
                  <a:lnTo>
                    <a:pt x="118" y="630"/>
                  </a:lnTo>
                  <a:lnTo>
                    <a:pt x="119" y="630"/>
                  </a:lnTo>
                  <a:lnTo>
                    <a:pt x="119" y="631"/>
                  </a:lnTo>
                  <a:lnTo>
                    <a:pt x="119" y="633"/>
                  </a:lnTo>
                  <a:lnTo>
                    <a:pt x="118" y="634"/>
                  </a:lnTo>
                  <a:lnTo>
                    <a:pt x="118" y="636"/>
                  </a:lnTo>
                  <a:lnTo>
                    <a:pt x="119" y="635"/>
                  </a:lnTo>
                  <a:lnTo>
                    <a:pt x="121" y="634"/>
                  </a:lnTo>
                  <a:lnTo>
                    <a:pt x="121" y="633"/>
                  </a:lnTo>
                  <a:lnTo>
                    <a:pt x="123" y="631"/>
                  </a:lnTo>
                  <a:lnTo>
                    <a:pt x="124" y="630"/>
                  </a:lnTo>
                  <a:lnTo>
                    <a:pt x="125" y="630"/>
                  </a:lnTo>
                  <a:lnTo>
                    <a:pt x="125" y="633"/>
                  </a:lnTo>
                  <a:lnTo>
                    <a:pt x="125" y="634"/>
                  </a:lnTo>
                  <a:lnTo>
                    <a:pt x="125" y="635"/>
                  </a:lnTo>
                  <a:lnTo>
                    <a:pt x="127" y="634"/>
                  </a:lnTo>
                  <a:lnTo>
                    <a:pt x="128" y="633"/>
                  </a:lnTo>
                  <a:lnTo>
                    <a:pt x="128" y="631"/>
                  </a:lnTo>
                  <a:lnTo>
                    <a:pt x="129" y="630"/>
                  </a:lnTo>
                  <a:lnTo>
                    <a:pt x="130" y="629"/>
                  </a:lnTo>
                  <a:lnTo>
                    <a:pt x="131" y="629"/>
                  </a:lnTo>
                  <a:lnTo>
                    <a:pt x="131" y="630"/>
                  </a:lnTo>
                  <a:lnTo>
                    <a:pt x="131" y="633"/>
                  </a:lnTo>
                  <a:lnTo>
                    <a:pt x="130" y="634"/>
                  </a:lnTo>
                  <a:lnTo>
                    <a:pt x="131" y="636"/>
                  </a:lnTo>
                  <a:lnTo>
                    <a:pt x="130" y="636"/>
                  </a:lnTo>
                  <a:lnTo>
                    <a:pt x="130" y="638"/>
                  </a:lnTo>
                  <a:lnTo>
                    <a:pt x="130" y="639"/>
                  </a:lnTo>
                  <a:lnTo>
                    <a:pt x="131" y="640"/>
                  </a:lnTo>
                  <a:lnTo>
                    <a:pt x="131" y="641"/>
                  </a:lnTo>
                  <a:lnTo>
                    <a:pt x="131" y="642"/>
                  </a:lnTo>
                  <a:lnTo>
                    <a:pt x="131" y="644"/>
                  </a:lnTo>
                  <a:lnTo>
                    <a:pt x="130" y="645"/>
                  </a:lnTo>
                  <a:lnTo>
                    <a:pt x="129" y="645"/>
                  </a:lnTo>
                  <a:lnTo>
                    <a:pt x="130" y="645"/>
                  </a:lnTo>
                  <a:lnTo>
                    <a:pt x="131" y="645"/>
                  </a:lnTo>
                  <a:lnTo>
                    <a:pt x="131" y="646"/>
                  </a:lnTo>
                  <a:lnTo>
                    <a:pt x="130" y="647"/>
                  </a:lnTo>
                  <a:lnTo>
                    <a:pt x="129" y="647"/>
                  </a:lnTo>
                  <a:lnTo>
                    <a:pt x="129" y="646"/>
                  </a:lnTo>
                  <a:lnTo>
                    <a:pt x="127" y="646"/>
                  </a:lnTo>
                  <a:lnTo>
                    <a:pt x="127" y="647"/>
                  </a:lnTo>
                  <a:lnTo>
                    <a:pt x="124" y="647"/>
                  </a:lnTo>
                  <a:lnTo>
                    <a:pt x="123" y="646"/>
                  </a:lnTo>
                  <a:lnTo>
                    <a:pt x="122" y="646"/>
                  </a:lnTo>
                  <a:lnTo>
                    <a:pt x="119" y="646"/>
                  </a:lnTo>
                  <a:lnTo>
                    <a:pt x="119" y="645"/>
                  </a:lnTo>
                  <a:lnTo>
                    <a:pt x="118" y="645"/>
                  </a:lnTo>
                  <a:lnTo>
                    <a:pt x="117" y="645"/>
                  </a:lnTo>
                  <a:lnTo>
                    <a:pt x="116" y="644"/>
                  </a:lnTo>
                  <a:lnTo>
                    <a:pt x="115" y="644"/>
                  </a:lnTo>
                  <a:lnTo>
                    <a:pt x="113" y="644"/>
                  </a:lnTo>
                  <a:lnTo>
                    <a:pt x="111" y="644"/>
                  </a:lnTo>
                  <a:lnTo>
                    <a:pt x="110" y="644"/>
                  </a:lnTo>
                  <a:lnTo>
                    <a:pt x="109" y="644"/>
                  </a:lnTo>
                  <a:lnTo>
                    <a:pt x="107" y="642"/>
                  </a:lnTo>
                  <a:lnTo>
                    <a:pt x="106" y="642"/>
                  </a:lnTo>
                  <a:lnTo>
                    <a:pt x="105" y="642"/>
                  </a:lnTo>
                  <a:lnTo>
                    <a:pt x="104" y="644"/>
                  </a:lnTo>
                  <a:lnTo>
                    <a:pt x="103" y="644"/>
                  </a:lnTo>
                  <a:lnTo>
                    <a:pt x="100" y="644"/>
                  </a:lnTo>
                  <a:lnTo>
                    <a:pt x="99" y="644"/>
                  </a:lnTo>
                  <a:lnTo>
                    <a:pt x="98" y="644"/>
                  </a:lnTo>
                  <a:lnTo>
                    <a:pt x="95" y="642"/>
                  </a:lnTo>
                  <a:lnTo>
                    <a:pt x="94" y="641"/>
                  </a:lnTo>
                  <a:lnTo>
                    <a:pt x="93" y="640"/>
                  </a:lnTo>
                  <a:lnTo>
                    <a:pt x="92" y="640"/>
                  </a:lnTo>
                  <a:lnTo>
                    <a:pt x="89" y="640"/>
                  </a:lnTo>
                  <a:lnTo>
                    <a:pt x="91" y="641"/>
                  </a:lnTo>
                  <a:lnTo>
                    <a:pt x="92" y="641"/>
                  </a:lnTo>
                  <a:lnTo>
                    <a:pt x="93" y="642"/>
                  </a:lnTo>
                  <a:lnTo>
                    <a:pt x="94" y="642"/>
                  </a:lnTo>
                  <a:lnTo>
                    <a:pt x="95" y="644"/>
                  </a:lnTo>
                  <a:lnTo>
                    <a:pt x="95" y="645"/>
                  </a:lnTo>
                  <a:lnTo>
                    <a:pt x="95" y="646"/>
                  </a:lnTo>
                  <a:lnTo>
                    <a:pt x="94" y="646"/>
                  </a:lnTo>
                  <a:lnTo>
                    <a:pt x="92" y="646"/>
                  </a:lnTo>
                  <a:lnTo>
                    <a:pt x="89" y="646"/>
                  </a:lnTo>
                  <a:lnTo>
                    <a:pt x="88" y="646"/>
                  </a:lnTo>
                  <a:lnTo>
                    <a:pt x="87" y="647"/>
                  </a:lnTo>
                  <a:lnTo>
                    <a:pt x="86" y="647"/>
                  </a:lnTo>
                  <a:lnTo>
                    <a:pt x="86" y="648"/>
                  </a:lnTo>
                  <a:lnTo>
                    <a:pt x="88" y="648"/>
                  </a:lnTo>
                  <a:lnTo>
                    <a:pt x="91" y="648"/>
                  </a:lnTo>
                  <a:lnTo>
                    <a:pt x="91" y="650"/>
                  </a:lnTo>
                  <a:lnTo>
                    <a:pt x="89" y="650"/>
                  </a:lnTo>
                  <a:lnTo>
                    <a:pt x="87" y="651"/>
                  </a:lnTo>
                  <a:lnTo>
                    <a:pt x="86" y="652"/>
                  </a:lnTo>
                  <a:lnTo>
                    <a:pt x="84" y="652"/>
                  </a:lnTo>
                  <a:lnTo>
                    <a:pt x="83" y="652"/>
                  </a:lnTo>
                  <a:lnTo>
                    <a:pt x="83" y="651"/>
                  </a:lnTo>
                  <a:lnTo>
                    <a:pt x="81" y="651"/>
                  </a:lnTo>
                  <a:lnTo>
                    <a:pt x="80" y="651"/>
                  </a:lnTo>
                  <a:lnTo>
                    <a:pt x="78" y="651"/>
                  </a:lnTo>
                  <a:lnTo>
                    <a:pt x="78" y="652"/>
                  </a:lnTo>
                  <a:lnTo>
                    <a:pt x="80" y="652"/>
                  </a:lnTo>
                  <a:lnTo>
                    <a:pt x="81" y="652"/>
                  </a:lnTo>
                  <a:lnTo>
                    <a:pt x="81" y="653"/>
                  </a:lnTo>
                  <a:lnTo>
                    <a:pt x="75" y="653"/>
                  </a:lnTo>
                  <a:lnTo>
                    <a:pt x="75" y="654"/>
                  </a:lnTo>
                  <a:lnTo>
                    <a:pt x="76" y="654"/>
                  </a:lnTo>
                  <a:lnTo>
                    <a:pt x="78" y="654"/>
                  </a:lnTo>
                  <a:lnTo>
                    <a:pt x="80" y="654"/>
                  </a:lnTo>
                  <a:lnTo>
                    <a:pt x="81" y="654"/>
                  </a:lnTo>
                  <a:lnTo>
                    <a:pt x="81" y="656"/>
                  </a:lnTo>
                  <a:lnTo>
                    <a:pt x="81" y="657"/>
                  </a:lnTo>
                  <a:lnTo>
                    <a:pt x="82" y="657"/>
                  </a:lnTo>
                  <a:lnTo>
                    <a:pt x="82" y="656"/>
                  </a:lnTo>
                  <a:lnTo>
                    <a:pt x="83" y="656"/>
                  </a:lnTo>
                  <a:lnTo>
                    <a:pt x="84" y="654"/>
                  </a:lnTo>
                  <a:lnTo>
                    <a:pt x="86" y="654"/>
                  </a:lnTo>
                  <a:lnTo>
                    <a:pt x="86" y="656"/>
                  </a:lnTo>
                  <a:lnTo>
                    <a:pt x="86" y="659"/>
                  </a:lnTo>
                  <a:lnTo>
                    <a:pt x="86" y="663"/>
                  </a:lnTo>
                  <a:lnTo>
                    <a:pt x="86" y="665"/>
                  </a:lnTo>
                  <a:lnTo>
                    <a:pt x="87" y="665"/>
                  </a:lnTo>
                  <a:lnTo>
                    <a:pt x="88" y="663"/>
                  </a:lnTo>
                  <a:lnTo>
                    <a:pt x="88" y="660"/>
                  </a:lnTo>
                  <a:lnTo>
                    <a:pt x="89" y="662"/>
                  </a:lnTo>
                  <a:lnTo>
                    <a:pt x="89" y="663"/>
                  </a:lnTo>
                  <a:lnTo>
                    <a:pt x="89" y="665"/>
                  </a:lnTo>
                  <a:lnTo>
                    <a:pt x="91" y="665"/>
                  </a:lnTo>
                  <a:lnTo>
                    <a:pt x="92" y="664"/>
                  </a:lnTo>
                  <a:lnTo>
                    <a:pt x="92" y="663"/>
                  </a:lnTo>
                  <a:lnTo>
                    <a:pt x="92" y="659"/>
                  </a:lnTo>
                  <a:lnTo>
                    <a:pt x="91" y="656"/>
                  </a:lnTo>
                  <a:lnTo>
                    <a:pt x="91" y="654"/>
                  </a:lnTo>
                  <a:lnTo>
                    <a:pt x="92" y="653"/>
                  </a:lnTo>
                  <a:lnTo>
                    <a:pt x="93" y="652"/>
                  </a:lnTo>
                  <a:lnTo>
                    <a:pt x="95" y="651"/>
                  </a:lnTo>
                  <a:lnTo>
                    <a:pt x="95" y="652"/>
                  </a:lnTo>
                  <a:lnTo>
                    <a:pt x="94" y="653"/>
                  </a:lnTo>
                  <a:lnTo>
                    <a:pt x="94" y="654"/>
                  </a:lnTo>
                  <a:lnTo>
                    <a:pt x="93" y="654"/>
                  </a:lnTo>
                  <a:lnTo>
                    <a:pt x="92" y="656"/>
                  </a:lnTo>
                  <a:lnTo>
                    <a:pt x="92" y="657"/>
                  </a:lnTo>
                  <a:lnTo>
                    <a:pt x="93" y="658"/>
                  </a:lnTo>
                  <a:lnTo>
                    <a:pt x="93" y="659"/>
                  </a:lnTo>
                  <a:lnTo>
                    <a:pt x="93" y="662"/>
                  </a:lnTo>
                  <a:lnTo>
                    <a:pt x="92" y="663"/>
                  </a:lnTo>
                  <a:lnTo>
                    <a:pt x="93" y="665"/>
                  </a:lnTo>
                  <a:lnTo>
                    <a:pt x="93" y="666"/>
                  </a:lnTo>
                  <a:lnTo>
                    <a:pt x="93" y="670"/>
                  </a:lnTo>
                  <a:lnTo>
                    <a:pt x="93" y="671"/>
                  </a:lnTo>
                  <a:lnTo>
                    <a:pt x="94" y="671"/>
                  </a:lnTo>
                  <a:lnTo>
                    <a:pt x="94" y="670"/>
                  </a:lnTo>
                  <a:lnTo>
                    <a:pt x="94" y="658"/>
                  </a:lnTo>
                  <a:lnTo>
                    <a:pt x="95" y="658"/>
                  </a:lnTo>
                  <a:lnTo>
                    <a:pt x="97" y="659"/>
                  </a:lnTo>
                  <a:lnTo>
                    <a:pt x="97" y="662"/>
                  </a:lnTo>
                  <a:lnTo>
                    <a:pt x="97" y="663"/>
                  </a:lnTo>
                  <a:lnTo>
                    <a:pt x="97" y="664"/>
                  </a:lnTo>
                  <a:lnTo>
                    <a:pt x="97" y="665"/>
                  </a:lnTo>
                  <a:lnTo>
                    <a:pt x="97" y="666"/>
                  </a:lnTo>
                  <a:lnTo>
                    <a:pt x="97" y="668"/>
                  </a:lnTo>
                  <a:lnTo>
                    <a:pt x="97" y="669"/>
                  </a:lnTo>
                  <a:lnTo>
                    <a:pt x="97" y="670"/>
                  </a:lnTo>
                  <a:lnTo>
                    <a:pt x="97" y="675"/>
                  </a:lnTo>
                  <a:lnTo>
                    <a:pt x="98" y="676"/>
                  </a:lnTo>
                  <a:lnTo>
                    <a:pt x="99" y="677"/>
                  </a:lnTo>
                  <a:lnTo>
                    <a:pt x="99" y="676"/>
                  </a:lnTo>
                  <a:lnTo>
                    <a:pt x="99" y="675"/>
                  </a:lnTo>
                  <a:lnTo>
                    <a:pt x="99" y="664"/>
                  </a:lnTo>
                  <a:lnTo>
                    <a:pt x="99" y="663"/>
                  </a:lnTo>
                  <a:lnTo>
                    <a:pt x="100" y="663"/>
                  </a:lnTo>
                  <a:lnTo>
                    <a:pt x="101" y="663"/>
                  </a:lnTo>
                  <a:lnTo>
                    <a:pt x="101" y="664"/>
                  </a:lnTo>
                  <a:lnTo>
                    <a:pt x="101" y="666"/>
                  </a:lnTo>
                  <a:lnTo>
                    <a:pt x="103" y="665"/>
                  </a:lnTo>
                  <a:lnTo>
                    <a:pt x="104" y="664"/>
                  </a:lnTo>
                  <a:lnTo>
                    <a:pt x="104" y="663"/>
                  </a:lnTo>
                  <a:lnTo>
                    <a:pt x="105" y="663"/>
                  </a:lnTo>
                  <a:lnTo>
                    <a:pt x="105" y="662"/>
                  </a:lnTo>
                  <a:lnTo>
                    <a:pt x="106" y="662"/>
                  </a:lnTo>
                  <a:lnTo>
                    <a:pt x="107" y="663"/>
                  </a:lnTo>
                  <a:lnTo>
                    <a:pt x="110" y="663"/>
                  </a:lnTo>
                  <a:lnTo>
                    <a:pt x="109" y="663"/>
                  </a:lnTo>
                  <a:lnTo>
                    <a:pt x="109" y="662"/>
                  </a:lnTo>
                  <a:lnTo>
                    <a:pt x="109" y="660"/>
                  </a:lnTo>
                  <a:lnTo>
                    <a:pt x="109" y="659"/>
                  </a:lnTo>
                  <a:lnTo>
                    <a:pt x="109" y="658"/>
                  </a:lnTo>
                  <a:lnTo>
                    <a:pt x="109" y="656"/>
                  </a:lnTo>
                  <a:lnTo>
                    <a:pt x="110" y="656"/>
                  </a:lnTo>
                  <a:lnTo>
                    <a:pt x="110" y="657"/>
                  </a:lnTo>
                  <a:lnTo>
                    <a:pt x="111" y="657"/>
                  </a:lnTo>
                  <a:lnTo>
                    <a:pt x="112" y="657"/>
                  </a:lnTo>
                  <a:lnTo>
                    <a:pt x="112" y="658"/>
                  </a:lnTo>
                  <a:lnTo>
                    <a:pt x="112" y="659"/>
                  </a:lnTo>
                  <a:lnTo>
                    <a:pt x="111" y="662"/>
                  </a:lnTo>
                  <a:lnTo>
                    <a:pt x="111" y="664"/>
                  </a:lnTo>
                  <a:lnTo>
                    <a:pt x="111" y="665"/>
                  </a:lnTo>
                  <a:lnTo>
                    <a:pt x="109" y="665"/>
                  </a:lnTo>
                  <a:lnTo>
                    <a:pt x="109" y="666"/>
                  </a:lnTo>
                  <a:lnTo>
                    <a:pt x="110" y="666"/>
                  </a:lnTo>
                  <a:lnTo>
                    <a:pt x="111" y="666"/>
                  </a:lnTo>
                  <a:lnTo>
                    <a:pt x="111" y="668"/>
                  </a:lnTo>
                  <a:lnTo>
                    <a:pt x="111" y="669"/>
                  </a:lnTo>
                  <a:lnTo>
                    <a:pt x="112" y="669"/>
                  </a:lnTo>
                  <a:lnTo>
                    <a:pt x="112" y="670"/>
                  </a:lnTo>
                  <a:lnTo>
                    <a:pt x="111" y="671"/>
                  </a:lnTo>
                  <a:lnTo>
                    <a:pt x="112" y="671"/>
                  </a:lnTo>
                  <a:lnTo>
                    <a:pt x="112" y="672"/>
                  </a:lnTo>
                  <a:lnTo>
                    <a:pt x="113" y="672"/>
                  </a:lnTo>
                  <a:lnTo>
                    <a:pt x="113" y="671"/>
                  </a:lnTo>
                  <a:lnTo>
                    <a:pt x="113" y="669"/>
                  </a:lnTo>
                  <a:lnTo>
                    <a:pt x="115" y="669"/>
                  </a:lnTo>
                  <a:lnTo>
                    <a:pt x="116" y="669"/>
                  </a:lnTo>
                  <a:lnTo>
                    <a:pt x="116" y="671"/>
                  </a:lnTo>
                  <a:lnTo>
                    <a:pt x="116" y="672"/>
                  </a:lnTo>
                  <a:lnTo>
                    <a:pt x="115" y="674"/>
                  </a:lnTo>
                  <a:lnTo>
                    <a:pt x="113" y="675"/>
                  </a:lnTo>
                  <a:lnTo>
                    <a:pt x="113" y="676"/>
                  </a:lnTo>
                  <a:lnTo>
                    <a:pt x="113" y="677"/>
                  </a:lnTo>
                  <a:lnTo>
                    <a:pt x="113" y="678"/>
                  </a:lnTo>
                  <a:lnTo>
                    <a:pt x="113" y="681"/>
                  </a:lnTo>
                  <a:lnTo>
                    <a:pt x="115" y="682"/>
                  </a:lnTo>
                  <a:lnTo>
                    <a:pt x="113" y="682"/>
                  </a:lnTo>
                  <a:lnTo>
                    <a:pt x="112" y="682"/>
                  </a:lnTo>
                  <a:lnTo>
                    <a:pt x="111" y="683"/>
                  </a:lnTo>
                  <a:lnTo>
                    <a:pt x="110" y="684"/>
                  </a:lnTo>
                  <a:lnTo>
                    <a:pt x="109" y="686"/>
                  </a:lnTo>
                  <a:lnTo>
                    <a:pt x="107" y="687"/>
                  </a:lnTo>
                  <a:lnTo>
                    <a:pt x="106" y="688"/>
                  </a:lnTo>
                  <a:lnTo>
                    <a:pt x="105" y="688"/>
                  </a:lnTo>
                  <a:lnTo>
                    <a:pt x="105" y="689"/>
                  </a:lnTo>
                  <a:lnTo>
                    <a:pt x="104" y="690"/>
                  </a:lnTo>
                  <a:lnTo>
                    <a:pt x="104" y="692"/>
                  </a:lnTo>
                  <a:lnTo>
                    <a:pt x="101" y="693"/>
                  </a:lnTo>
                  <a:lnTo>
                    <a:pt x="99" y="693"/>
                  </a:lnTo>
                  <a:lnTo>
                    <a:pt x="97" y="693"/>
                  </a:lnTo>
                  <a:lnTo>
                    <a:pt x="95" y="693"/>
                  </a:lnTo>
                  <a:lnTo>
                    <a:pt x="94" y="695"/>
                  </a:lnTo>
                  <a:lnTo>
                    <a:pt x="93" y="695"/>
                  </a:lnTo>
                  <a:lnTo>
                    <a:pt x="92" y="695"/>
                  </a:lnTo>
                  <a:lnTo>
                    <a:pt x="89" y="694"/>
                  </a:lnTo>
                  <a:lnTo>
                    <a:pt x="88" y="694"/>
                  </a:lnTo>
                  <a:lnTo>
                    <a:pt x="87" y="693"/>
                  </a:lnTo>
                  <a:lnTo>
                    <a:pt x="84" y="693"/>
                  </a:lnTo>
                  <a:lnTo>
                    <a:pt x="84" y="694"/>
                  </a:lnTo>
                  <a:lnTo>
                    <a:pt x="87" y="694"/>
                  </a:lnTo>
                  <a:lnTo>
                    <a:pt x="88" y="694"/>
                  </a:lnTo>
                  <a:lnTo>
                    <a:pt x="87" y="695"/>
                  </a:lnTo>
                  <a:lnTo>
                    <a:pt x="86" y="695"/>
                  </a:lnTo>
                  <a:lnTo>
                    <a:pt x="84" y="696"/>
                  </a:lnTo>
                  <a:lnTo>
                    <a:pt x="83" y="698"/>
                  </a:lnTo>
                  <a:lnTo>
                    <a:pt x="82" y="698"/>
                  </a:lnTo>
                  <a:lnTo>
                    <a:pt x="83" y="698"/>
                  </a:lnTo>
                  <a:lnTo>
                    <a:pt x="86" y="698"/>
                  </a:lnTo>
                  <a:lnTo>
                    <a:pt x="88" y="698"/>
                  </a:lnTo>
                  <a:lnTo>
                    <a:pt x="88" y="699"/>
                  </a:lnTo>
                  <a:lnTo>
                    <a:pt x="87" y="700"/>
                  </a:lnTo>
                  <a:lnTo>
                    <a:pt x="87" y="701"/>
                  </a:lnTo>
                  <a:lnTo>
                    <a:pt x="88" y="701"/>
                  </a:lnTo>
                  <a:lnTo>
                    <a:pt x="89" y="700"/>
                  </a:lnTo>
                  <a:lnTo>
                    <a:pt x="89" y="699"/>
                  </a:lnTo>
                  <a:lnTo>
                    <a:pt x="92" y="699"/>
                  </a:lnTo>
                  <a:lnTo>
                    <a:pt x="92" y="700"/>
                  </a:lnTo>
                  <a:lnTo>
                    <a:pt x="92" y="702"/>
                  </a:lnTo>
                  <a:lnTo>
                    <a:pt x="93" y="702"/>
                  </a:lnTo>
                  <a:lnTo>
                    <a:pt x="93" y="701"/>
                  </a:lnTo>
                  <a:lnTo>
                    <a:pt x="93" y="700"/>
                  </a:lnTo>
                  <a:lnTo>
                    <a:pt x="94" y="699"/>
                  </a:lnTo>
                  <a:lnTo>
                    <a:pt x="94" y="696"/>
                  </a:lnTo>
                  <a:lnTo>
                    <a:pt x="95" y="696"/>
                  </a:lnTo>
                  <a:lnTo>
                    <a:pt x="95" y="698"/>
                  </a:lnTo>
                  <a:lnTo>
                    <a:pt x="95" y="699"/>
                  </a:lnTo>
                  <a:lnTo>
                    <a:pt x="95" y="700"/>
                  </a:lnTo>
                  <a:lnTo>
                    <a:pt x="95" y="702"/>
                  </a:lnTo>
                  <a:lnTo>
                    <a:pt x="95" y="704"/>
                  </a:lnTo>
                  <a:lnTo>
                    <a:pt x="95" y="706"/>
                  </a:lnTo>
                  <a:lnTo>
                    <a:pt x="94" y="707"/>
                  </a:lnTo>
                  <a:lnTo>
                    <a:pt x="92" y="707"/>
                  </a:lnTo>
                  <a:lnTo>
                    <a:pt x="88" y="707"/>
                  </a:lnTo>
                  <a:lnTo>
                    <a:pt x="86" y="706"/>
                  </a:lnTo>
                  <a:lnTo>
                    <a:pt x="84" y="705"/>
                  </a:lnTo>
                  <a:lnTo>
                    <a:pt x="83" y="706"/>
                  </a:lnTo>
                  <a:lnTo>
                    <a:pt x="82" y="705"/>
                  </a:lnTo>
                  <a:lnTo>
                    <a:pt x="82" y="704"/>
                  </a:lnTo>
                  <a:lnTo>
                    <a:pt x="81" y="704"/>
                  </a:lnTo>
                  <a:lnTo>
                    <a:pt x="81" y="705"/>
                  </a:lnTo>
                  <a:lnTo>
                    <a:pt x="80" y="705"/>
                  </a:lnTo>
                  <a:lnTo>
                    <a:pt x="80" y="704"/>
                  </a:lnTo>
                  <a:lnTo>
                    <a:pt x="78" y="702"/>
                  </a:lnTo>
                  <a:lnTo>
                    <a:pt x="77" y="702"/>
                  </a:lnTo>
                  <a:lnTo>
                    <a:pt x="77" y="704"/>
                  </a:lnTo>
                  <a:lnTo>
                    <a:pt x="77" y="705"/>
                  </a:lnTo>
                  <a:lnTo>
                    <a:pt x="75" y="704"/>
                  </a:lnTo>
                  <a:lnTo>
                    <a:pt x="72" y="704"/>
                  </a:lnTo>
                  <a:lnTo>
                    <a:pt x="71" y="704"/>
                  </a:lnTo>
                  <a:lnTo>
                    <a:pt x="72" y="705"/>
                  </a:lnTo>
                  <a:lnTo>
                    <a:pt x="74" y="705"/>
                  </a:lnTo>
                  <a:lnTo>
                    <a:pt x="75" y="706"/>
                  </a:lnTo>
                  <a:lnTo>
                    <a:pt x="75" y="707"/>
                  </a:lnTo>
                  <a:lnTo>
                    <a:pt x="75" y="708"/>
                  </a:lnTo>
                  <a:lnTo>
                    <a:pt x="76" y="708"/>
                  </a:lnTo>
                  <a:lnTo>
                    <a:pt x="77" y="708"/>
                  </a:lnTo>
                  <a:lnTo>
                    <a:pt x="78" y="708"/>
                  </a:lnTo>
                  <a:lnTo>
                    <a:pt x="78" y="707"/>
                  </a:lnTo>
                  <a:lnTo>
                    <a:pt x="80" y="707"/>
                  </a:lnTo>
                  <a:lnTo>
                    <a:pt x="81" y="707"/>
                  </a:lnTo>
                  <a:lnTo>
                    <a:pt x="81" y="708"/>
                  </a:lnTo>
                  <a:lnTo>
                    <a:pt x="80" y="708"/>
                  </a:lnTo>
                  <a:lnTo>
                    <a:pt x="80" y="710"/>
                  </a:lnTo>
                  <a:lnTo>
                    <a:pt x="81" y="710"/>
                  </a:lnTo>
                  <a:lnTo>
                    <a:pt x="82" y="710"/>
                  </a:lnTo>
                  <a:lnTo>
                    <a:pt x="81" y="711"/>
                  </a:lnTo>
                  <a:lnTo>
                    <a:pt x="81" y="713"/>
                  </a:lnTo>
                  <a:lnTo>
                    <a:pt x="82" y="713"/>
                  </a:lnTo>
                  <a:lnTo>
                    <a:pt x="82" y="712"/>
                  </a:lnTo>
                  <a:lnTo>
                    <a:pt x="82" y="711"/>
                  </a:lnTo>
                  <a:lnTo>
                    <a:pt x="83" y="711"/>
                  </a:lnTo>
                  <a:lnTo>
                    <a:pt x="82" y="710"/>
                  </a:lnTo>
                  <a:lnTo>
                    <a:pt x="83" y="708"/>
                  </a:lnTo>
                  <a:lnTo>
                    <a:pt x="84" y="708"/>
                  </a:lnTo>
                  <a:lnTo>
                    <a:pt x="87" y="708"/>
                  </a:lnTo>
                  <a:lnTo>
                    <a:pt x="84" y="710"/>
                  </a:lnTo>
                  <a:lnTo>
                    <a:pt x="84" y="711"/>
                  </a:lnTo>
                  <a:lnTo>
                    <a:pt x="83" y="712"/>
                  </a:lnTo>
                  <a:lnTo>
                    <a:pt x="84" y="713"/>
                  </a:lnTo>
                  <a:lnTo>
                    <a:pt x="86" y="713"/>
                  </a:lnTo>
                  <a:lnTo>
                    <a:pt x="86" y="712"/>
                  </a:lnTo>
                  <a:lnTo>
                    <a:pt x="86" y="711"/>
                  </a:lnTo>
                  <a:lnTo>
                    <a:pt x="87" y="711"/>
                  </a:lnTo>
                  <a:lnTo>
                    <a:pt x="87" y="710"/>
                  </a:lnTo>
                  <a:lnTo>
                    <a:pt x="88" y="710"/>
                  </a:lnTo>
                  <a:lnTo>
                    <a:pt x="89" y="708"/>
                  </a:lnTo>
                  <a:lnTo>
                    <a:pt x="91" y="710"/>
                  </a:lnTo>
                  <a:lnTo>
                    <a:pt x="89" y="710"/>
                  </a:lnTo>
                  <a:lnTo>
                    <a:pt x="89" y="711"/>
                  </a:lnTo>
                  <a:lnTo>
                    <a:pt x="88" y="713"/>
                  </a:lnTo>
                  <a:lnTo>
                    <a:pt x="88" y="714"/>
                  </a:lnTo>
                  <a:lnTo>
                    <a:pt x="88" y="716"/>
                  </a:lnTo>
                  <a:lnTo>
                    <a:pt x="87" y="717"/>
                  </a:lnTo>
                  <a:lnTo>
                    <a:pt x="87" y="718"/>
                  </a:lnTo>
                  <a:lnTo>
                    <a:pt x="87" y="719"/>
                  </a:lnTo>
                  <a:lnTo>
                    <a:pt x="86" y="719"/>
                  </a:lnTo>
                  <a:lnTo>
                    <a:pt x="84" y="718"/>
                  </a:lnTo>
                  <a:lnTo>
                    <a:pt x="83" y="717"/>
                  </a:lnTo>
                  <a:lnTo>
                    <a:pt x="83" y="718"/>
                  </a:lnTo>
                  <a:lnTo>
                    <a:pt x="83" y="719"/>
                  </a:lnTo>
                  <a:lnTo>
                    <a:pt x="84" y="719"/>
                  </a:lnTo>
                  <a:lnTo>
                    <a:pt x="86" y="720"/>
                  </a:lnTo>
                  <a:lnTo>
                    <a:pt x="84" y="720"/>
                  </a:lnTo>
                  <a:lnTo>
                    <a:pt x="84" y="722"/>
                  </a:lnTo>
                  <a:lnTo>
                    <a:pt x="82" y="722"/>
                  </a:lnTo>
                  <a:lnTo>
                    <a:pt x="80" y="723"/>
                  </a:lnTo>
                  <a:lnTo>
                    <a:pt x="77" y="723"/>
                  </a:lnTo>
                  <a:lnTo>
                    <a:pt x="76" y="724"/>
                  </a:lnTo>
                  <a:lnTo>
                    <a:pt x="77" y="725"/>
                  </a:lnTo>
                  <a:lnTo>
                    <a:pt x="78" y="725"/>
                  </a:lnTo>
                  <a:lnTo>
                    <a:pt x="80" y="725"/>
                  </a:lnTo>
                  <a:lnTo>
                    <a:pt x="81" y="725"/>
                  </a:lnTo>
                  <a:lnTo>
                    <a:pt x="82" y="724"/>
                  </a:lnTo>
                  <a:lnTo>
                    <a:pt x="84" y="724"/>
                  </a:lnTo>
                  <a:lnTo>
                    <a:pt x="84" y="725"/>
                  </a:lnTo>
                  <a:lnTo>
                    <a:pt x="83" y="725"/>
                  </a:lnTo>
                  <a:lnTo>
                    <a:pt x="82" y="725"/>
                  </a:lnTo>
                  <a:lnTo>
                    <a:pt x="81" y="728"/>
                  </a:lnTo>
                  <a:lnTo>
                    <a:pt x="80" y="729"/>
                  </a:lnTo>
                  <a:lnTo>
                    <a:pt x="81" y="729"/>
                  </a:lnTo>
                  <a:lnTo>
                    <a:pt x="82" y="729"/>
                  </a:lnTo>
                  <a:lnTo>
                    <a:pt x="83" y="728"/>
                  </a:lnTo>
                  <a:lnTo>
                    <a:pt x="83" y="729"/>
                  </a:lnTo>
                  <a:lnTo>
                    <a:pt x="83" y="731"/>
                  </a:lnTo>
                  <a:lnTo>
                    <a:pt x="83" y="734"/>
                  </a:lnTo>
                  <a:lnTo>
                    <a:pt x="84" y="732"/>
                  </a:lnTo>
                  <a:lnTo>
                    <a:pt x="86" y="731"/>
                  </a:lnTo>
                  <a:lnTo>
                    <a:pt x="86" y="730"/>
                  </a:lnTo>
                  <a:lnTo>
                    <a:pt x="86" y="729"/>
                  </a:lnTo>
                  <a:lnTo>
                    <a:pt x="87" y="728"/>
                  </a:lnTo>
                  <a:lnTo>
                    <a:pt x="87" y="726"/>
                  </a:lnTo>
                  <a:lnTo>
                    <a:pt x="88" y="726"/>
                  </a:lnTo>
                  <a:lnTo>
                    <a:pt x="88" y="728"/>
                  </a:lnTo>
                  <a:lnTo>
                    <a:pt x="88" y="729"/>
                  </a:lnTo>
                  <a:lnTo>
                    <a:pt x="88" y="731"/>
                  </a:lnTo>
                  <a:lnTo>
                    <a:pt x="88" y="730"/>
                  </a:lnTo>
                  <a:lnTo>
                    <a:pt x="89" y="730"/>
                  </a:lnTo>
                  <a:lnTo>
                    <a:pt x="91" y="730"/>
                  </a:lnTo>
                  <a:lnTo>
                    <a:pt x="91" y="731"/>
                  </a:lnTo>
                  <a:lnTo>
                    <a:pt x="91" y="741"/>
                  </a:lnTo>
                  <a:lnTo>
                    <a:pt x="91" y="742"/>
                  </a:lnTo>
                  <a:lnTo>
                    <a:pt x="92" y="743"/>
                  </a:lnTo>
                  <a:lnTo>
                    <a:pt x="93" y="742"/>
                  </a:lnTo>
                  <a:lnTo>
                    <a:pt x="93" y="740"/>
                  </a:lnTo>
                  <a:lnTo>
                    <a:pt x="93" y="737"/>
                  </a:lnTo>
                  <a:lnTo>
                    <a:pt x="94" y="737"/>
                  </a:lnTo>
                  <a:lnTo>
                    <a:pt x="94" y="740"/>
                  </a:lnTo>
                  <a:lnTo>
                    <a:pt x="94" y="741"/>
                  </a:lnTo>
                  <a:lnTo>
                    <a:pt x="95" y="740"/>
                  </a:lnTo>
                  <a:lnTo>
                    <a:pt x="95" y="738"/>
                  </a:lnTo>
                  <a:lnTo>
                    <a:pt x="97" y="737"/>
                  </a:lnTo>
                  <a:lnTo>
                    <a:pt x="97" y="736"/>
                  </a:lnTo>
                  <a:lnTo>
                    <a:pt x="98" y="735"/>
                  </a:lnTo>
                  <a:lnTo>
                    <a:pt x="98" y="734"/>
                  </a:lnTo>
                  <a:lnTo>
                    <a:pt x="99" y="734"/>
                  </a:lnTo>
                  <a:lnTo>
                    <a:pt x="100" y="735"/>
                  </a:lnTo>
                  <a:lnTo>
                    <a:pt x="101" y="735"/>
                  </a:lnTo>
                  <a:lnTo>
                    <a:pt x="103" y="734"/>
                  </a:lnTo>
                  <a:lnTo>
                    <a:pt x="104" y="734"/>
                  </a:lnTo>
                  <a:lnTo>
                    <a:pt x="104" y="737"/>
                  </a:lnTo>
                  <a:lnTo>
                    <a:pt x="105" y="738"/>
                  </a:lnTo>
                  <a:lnTo>
                    <a:pt x="105" y="740"/>
                  </a:lnTo>
                  <a:lnTo>
                    <a:pt x="104" y="741"/>
                  </a:lnTo>
                  <a:lnTo>
                    <a:pt x="104" y="742"/>
                  </a:lnTo>
                  <a:lnTo>
                    <a:pt x="104" y="743"/>
                  </a:lnTo>
                  <a:lnTo>
                    <a:pt x="103" y="745"/>
                  </a:lnTo>
                  <a:lnTo>
                    <a:pt x="103" y="746"/>
                  </a:lnTo>
                  <a:lnTo>
                    <a:pt x="103" y="747"/>
                  </a:lnTo>
                  <a:lnTo>
                    <a:pt x="104" y="747"/>
                  </a:lnTo>
                  <a:lnTo>
                    <a:pt x="104" y="746"/>
                  </a:lnTo>
                  <a:lnTo>
                    <a:pt x="105" y="746"/>
                  </a:lnTo>
                  <a:lnTo>
                    <a:pt x="105" y="745"/>
                  </a:lnTo>
                  <a:lnTo>
                    <a:pt x="105" y="743"/>
                  </a:lnTo>
                  <a:lnTo>
                    <a:pt x="106" y="743"/>
                  </a:lnTo>
                  <a:lnTo>
                    <a:pt x="106" y="746"/>
                  </a:lnTo>
                  <a:lnTo>
                    <a:pt x="106" y="747"/>
                  </a:lnTo>
                  <a:lnTo>
                    <a:pt x="107" y="747"/>
                  </a:lnTo>
                  <a:lnTo>
                    <a:pt x="109" y="745"/>
                  </a:lnTo>
                  <a:lnTo>
                    <a:pt x="109" y="743"/>
                  </a:lnTo>
                  <a:lnTo>
                    <a:pt x="110" y="742"/>
                  </a:lnTo>
                  <a:lnTo>
                    <a:pt x="110" y="743"/>
                  </a:lnTo>
                  <a:lnTo>
                    <a:pt x="111" y="742"/>
                  </a:lnTo>
                  <a:lnTo>
                    <a:pt x="111" y="740"/>
                  </a:lnTo>
                  <a:lnTo>
                    <a:pt x="112" y="738"/>
                  </a:lnTo>
                  <a:lnTo>
                    <a:pt x="112" y="740"/>
                  </a:lnTo>
                  <a:lnTo>
                    <a:pt x="112" y="741"/>
                  </a:lnTo>
                  <a:lnTo>
                    <a:pt x="113" y="741"/>
                  </a:lnTo>
                  <a:lnTo>
                    <a:pt x="115" y="740"/>
                  </a:lnTo>
                  <a:lnTo>
                    <a:pt x="115" y="741"/>
                  </a:lnTo>
                  <a:lnTo>
                    <a:pt x="115" y="742"/>
                  </a:lnTo>
                  <a:lnTo>
                    <a:pt x="116" y="743"/>
                  </a:lnTo>
                  <a:lnTo>
                    <a:pt x="117" y="743"/>
                  </a:lnTo>
                  <a:lnTo>
                    <a:pt x="117" y="745"/>
                  </a:lnTo>
                  <a:lnTo>
                    <a:pt x="117" y="746"/>
                  </a:lnTo>
                  <a:lnTo>
                    <a:pt x="119" y="746"/>
                  </a:lnTo>
                  <a:lnTo>
                    <a:pt x="119" y="745"/>
                  </a:lnTo>
                  <a:lnTo>
                    <a:pt x="119" y="741"/>
                  </a:lnTo>
                  <a:lnTo>
                    <a:pt x="121" y="741"/>
                  </a:lnTo>
                  <a:lnTo>
                    <a:pt x="122" y="742"/>
                  </a:lnTo>
                  <a:lnTo>
                    <a:pt x="123" y="742"/>
                  </a:lnTo>
                  <a:lnTo>
                    <a:pt x="123" y="743"/>
                  </a:lnTo>
                  <a:lnTo>
                    <a:pt x="123" y="745"/>
                  </a:lnTo>
                  <a:lnTo>
                    <a:pt x="122" y="747"/>
                  </a:lnTo>
                  <a:lnTo>
                    <a:pt x="121" y="748"/>
                  </a:lnTo>
                  <a:lnTo>
                    <a:pt x="121" y="749"/>
                  </a:lnTo>
                  <a:lnTo>
                    <a:pt x="121" y="751"/>
                  </a:lnTo>
                  <a:lnTo>
                    <a:pt x="122" y="749"/>
                  </a:lnTo>
                  <a:lnTo>
                    <a:pt x="123" y="748"/>
                  </a:lnTo>
                  <a:lnTo>
                    <a:pt x="124" y="748"/>
                  </a:lnTo>
                  <a:lnTo>
                    <a:pt x="125" y="748"/>
                  </a:lnTo>
                  <a:lnTo>
                    <a:pt x="127" y="749"/>
                  </a:lnTo>
                  <a:lnTo>
                    <a:pt x="128" y="752"/>
                  </a:lnTo>
                  <a:lnTo>
                    <a:pt x="129" y="753"/>
                  </a:lnTo>
                  <a:lnTo>
                    <a:pt x="130" y="754"/>
                  </a:lnTo>
                  <a:lnTo>
                    <a:pt x="129" y="757"/>
                  </a:lnTo>
                  <a:lnTo>
                    <a:pt x="128" y="758"/>
                  </a:lnTo>
                  <a:lnTo>
                    <a:pt x="127" y="758"/>
                  </a:lnTo>
                  <a:lnTo>
                    <a:pt x="125" y="759"/>
                  </a:lnTo>
                  <a:lnTo>
                    <a:pt x="124" y="759"/>
                  </a:lnTo>
                  <a:lnTo>
                    <a:pt x="123" y="758"/>
                  </a:lnTo>
                  <a:lnTo>
                    <a:pt x="122" y="759"/>
                  </a:lnTo>
                  <a:lnTo>
                    <a:pt x="119" y="759"/>
                  </a:lnTo>
                  <a:lnTo>
                    <a:pt x="118" y="759"/>
                  </a:lnTo>
                  <a:lnTo>
                    <a:pt x="116" y="758"/>
                  </a:lnTo>
                  <a:lnTo>
                    <a:pt x="116" y="757"/>
                  </a:lnTo>
                  <a:lnTo>
                    <a:pt x="115" y="757"/>
                  </a:lnTo>
                  <a:lnTo>
                    <a:pt x="113" y="757"/>
                  </a:lnTo>
                  <a:lnTo>
                    <a:pt x="112" y="757"/>
                  </a:lnTo>
                  <a:lnTo>
                    <a:pt x="111" y="757"/>
                  </a:lnTo>
                  <a:lnTo>
                    <a:pt x="107" y="757"/>
                  </a:lnTo>
                  <a:lnTo>
                    <a:pt x="105" y="755"/>
                  </a:lnTo>
                  <a:lnTo>
                    <a:pt x="104" y="755"/>
                  </a:lnTo>
                  <a:lnTo>
                    <a:pt x="104" y="757"/>
                  </a:lnTo>
                  <a:lnTo>
                    <a:pt x="105" y="757"/>
                  </a:lnTo>
                  <a:lnTo>
                    <a:pt x="106" y="758"/>
                  </a:lnTo>
                  <a:lnTo>
                    <a:pt x="107" y="758"/>
                  </a:lnTo>
                  <a:lnTo>
                    <a:pt x="109" y="759"/>
                  </a:lnTo>
                  <a:lnTo>
                    <a:pt x="107" y="761"/>
                  </a:lnTo>
                  <a:lnTo>
                    <a:pt x="107" y="763"/>
                  </a:lnTo>
                  <a:lnTo>
                    <a:pt x="109" y="763"/>
                  </a:lnTo>
                  <a:lnTo>
                    <a:pt x="109" y="761"/>
                  </a:lnTo>
                  <a:lnTo>
                    <a:pt x="110" y="761"/>
                  </a:lnTo>
                  <a:lnTo>
                    <a:pt x="111" y="760"/>
                  </a:lnTo>
                  <a:lnTo>
                    <a:pt x="112" y="760"/>
                  </a:lnTo>
                  <a:lnTo>
                    <a:pt x="113" y="760"/>
                  </a:lnTo>
                  <a:lnTo>
                    <a:pt x="116" y="760"/>
                  </a:lnTo>
                  <a:lnTo>
                    <a:pt x="116" y="761"/>
                  </a:lnTo>
                  <a:lnTo>
                    <a:pt x="115" y="763"/>
                  </a:lnTo>
                  <a:lnTo>
                    <a:pt x="115" y="764"/>
                  </a:lnTo>
                  <a:lnTo>
                    <a:pt x="115" y="765"/>
                  </a:lnTo>
                  <a:lnTo>
                    <a:pt x="115" y="766"/>
                  </a:lnTo>
                  <a:lnTo>
                    <a:pt x="116" y="765"/>
                  </a:lnTo>
                  <a:lnTo>
                    <a:pt x="117" y="764"/>
                  </a:lnTo>
                  <a:lnTo>
                    <a:pt x="117" y="761"/>
                  </a:lnTo>
                  <a:lnTo>
                    <a:pt x="118" y="761"/>
                  </a:lnTo>
                  <a:lnTo>
                    <a:pt x="118" y="760"/>
                  </a:lnTo>
                  <a:lnTo>
                    <a:pt x="121" y="760"/>
                  </a:lnTo>
                  <a:lnTo>
                    <a:pt x="122" y="760"/>
                  </a:lnTo>
                  <a:lnTo>
                    <a:pt x="121" y="763"/>
                  </a:lnTo>
                  <a:lnTo>
                    <a:pt x="119" y="765"/>
                  </a:lnTo>
                  <a:lnTo>
                    <a:pt x="119" y="767"/>
                  </a:lnTo>
                  <a:lnTo>
                    <a:pt x="119" y="770"/>
                  </a:lnTo>
                  <a:lnTo>
                    <a:pt x="121" y="771"/>
                  </a:lnTo>
                  <a:lnTo>
                    <a:pt x="119" y="772"/>
                  </a:lnTo>
                  <a:lnTo>
                    <a:pt x="119" y="773"/>
                  </a:lnTo>
                  <a:lnTo>
                    <a:pt x="119" y="775"/>
                  </a:lnTo>
                  <a:lnTo>
                    <a:pt x="121" y="776"/>
                  </a:lnTo>
                  <a:lnTo>
                    <a:pt x="121" y="777"/>
                  </a:lnTo>
                  <a:lnTo>
                    <a:pt x="122" y="778"/>
                  </a:lnTo>
                  <a:lnTo>
                    <a:pt x="123" y="777"/>
                  </a:lnTo>
                  <a:lnTo>
                    <a:pt x="124" y="776"/>
                  </a:lnTo>
                  <a:lnTo>
                    <a:pt x="124" y="773"/>
                  </a:lnTo>
                  <a:lnTo>
                    <a:pt x="124" y="771"/>
                  </a:lnTo>
                  <a:lnTo>
                    <a:pt x="124" y="767"/>
                  </a:lnTo>
                  <a:lnTo>
                    <a:pt x="124" y="766"/>
                  </a:lnTo>
                  <a:lnTo>
                    <a:pt x="125" y="765"/>
                  </a:lnTo>
                  <a:lnTo>
                    <a:pt x="125" y="764"/>
                  </a:lnTo>
                  <a:lnTo>
                    <a:pt x="127" y="761"/>
                  </a:lnTo>
                  <a:lnTo>
                    <a:pt x="127" y="760"/>
                  </a:lnTo>
                  <a:lnTo>
                    <a:pt x="127" y="761"/>
                  </a:lnTo>
                  <a:lnTo>
                    <a:pt x="127" y="764"/>
                  </a:lnTo>
                  <a:lnTo>
                    <a:pt x="125" y="765"/>
                  </a:lnTo>
                  <a:lnTo>
                    <a:pt x="128" y="764"/>
                  </a:lnTo>
                  <a:lnTo>
                    <a:pt x="128" y="763"/>
                  </a:lnTo>
                  <a:lnTo>
                    <a:pt x="128" y="764"/>
                  </a:lnTo>
                  <a:lnTo>
                    <a:pt x="129" y="766"/>
                  </a:lnTo>
                  <a:lnTo>
                    <a:pt x="128" y="769"/>
                  </a:lnTo>
                  <a:lnTo>
                    <a:pt x="128" y="771"/>
                  </a:lnTo>
                  <a:lnTo>
                    <a:pt x="128" y="772"/>
                  </a:lnTo>
                  <a:lnTo>
                    <a:pt x="128" y="773"/>
                  </a:lnTo>
                  <a:lnTo>
                    <a:pt x="128" y="776"/>
                  </a:lnTo>
                  <a:lnTo>
                    <a:pt x="129" y="777"/>
                  </a:lnTo>
                  <a:lnTo>
                    <a:pt x="130" y="777"/>
                  </a:lnTo>
                  <a:lnTo>
                    <a:pt x="130" y="775"/>
                  </a:lnTo>
                  <a:lnTo>
                    <a:pt x="130" y="771"/>
                  </a:lnTo>
                  <a:lnTo>
                    <a:pt x="130" y="767"/>
                  </a:lnTo>
                  <a:lnTo>
                    <a:pt x="130" y="765"/>
                  </a:lnTo>
                  <a:lnTo>
                    <a:pt x="130" y="763"/>
                  </a:lnTo>
                  <a:lnTo>
                    <a:pt x="131" y="761"/>
                  </a:lnTo>
                  <a:lnTo>
                    <a:pt x="133" y="760"/>
                  </a:lnTo>
                  <a:lnTo>
                    <a:pt x="131" y="763"/>
                  </a:lnTo>
                  <a:lnTo>
                    <a:pt x="131" y="765"/>
                  </a:lnTo>
                  <a:lnTo>
                    <a:pt x="131" y="767"/>
                  </a:lnTo>
                  <a:lnTo>
                    <a:pt x="131" y="770"/>
                  </a:lnTo>
                  <a:lnTo>
                    <a:pt x="131" y="771"/>
                  </a:lnTo>
                  <a:lnTo>
                    <a:pt x="133" y="772"/>
                  </a:lnTo>
                  <a:lnTo>
                    <a:pt x="134" y="771"/>
                  </a:lnTo>
                  <a:lnTo>
                    <a:pt x="134" y="773"/>
                  </a:lnTo>
                  <a:lnTo>
                    <a:pt x="134" y="775"/>
                  </a:lnTo>
                  <a:lnTo>
                    <a:pt x="134" y="777"/>
                  </a:lnTo>
                  <a:lnTo>
                    <a:pt x="134" y="779"/>
                  </a:lnTo>
                  <a:lnTo>
                    <a:pt x="134" y="781"/>
                  </a:lnTo>
                  <a:lnTo>
                    <a:pt x="135" y="781"/>
                  </a:lnTo>
                  <a:lnTo>
                    <a:pt x="135" y="779"/>
                  </a:lnTo>
                  <a:lnTo>
                    <a:pt x="136" y="777"/>
                  </a:lnTo>
                  <a:lnTo>
                    <a:pt x="136" y="776"/>
                  </a:lnTo>
                  <a:lnTo>
                    <a:pt x="137" y="776"/>
                  </a:lnTo>
                  <a:lnTo>
                    <a:pt x="137" y="775"/>
                  </a:lnTo>
                  <a:lnTo>
                    <a:pt x="139" y="775"/>
                  </a:lnTo>
                  <a:lnTo>
                    <a:pt x="139" y="776"/>
                  </a:lnTo>
                  <a:lnTo>
                    <a:pt x="139" y="777"/>
                  </a:lnTo>
                  <a:lnTo>
                    <a:pt x="137" y="778"/>
                  </a:lnTo>
                  <a:lnTo>
                    <a:pt x="139" y="779"/>
                  </a:lnTo>
                  <a:lnTo>
                    <a:pt x="139" y="781"/>
                  </a:lnTo>
                  <a:lnTo>
                    <a:pt x="140" y="782"/>
                  </a:lnTo>
                  <a:lnTo>
                    <a:pt x="140" y="781"/>
                  </a:lnTo>
                  <a:lnTo>
                    <a:pt x="141" y="778"/>
                  </a:lnTo>
                  <a:lnTo>
                    <a:pt x="141" y="776"/>
                  </a:lnTo>
                  <a:lnTo>
                    <a:pt x="141" y="775"/>
                  </a:lnTo>
                  <a:lnTo>
                    <a:pt x="142" y="775"/>
                  </a:lnTo>
                  <a:lnTo>
                    <a:pt x="142" y="773"/>
                  </a:lnTo>
                  <a:lnTo>
                    <a:pt x="143" y="773"/>
                  </a:lnTo>
                  <a:lnTo>
                    <a:pt x="145" y="773"/>
                  </a:lnTo>
                  <a:lnTo>
                    <a:pt x="145" y="772"/>
                  </a:lnTo>
                  <a:lnTo>
                    <a:pt x="146" y="773"/>
                  </a:lnTo>
                  <a:lnTo>
                    <a:pt x="145" y="777"/>
                  </a:lnTo>
                  <a:lnTo>
                    <a:pt x="145" y="779"/>
                  </a:lnTo>
                  <a:lnTo>
                    <a:pt x="146" y="781"/>
                  </a:lnTo>
                  <a:lnTo>
                    <a:pt x="147" y="781"/>
                  </a:lnTo>
                  <a:lnTo>
                    <a:pt x="147" y="779"/>
                  </a:lnTo>
                  <a:lnTo>
                    <a:pt x="147" y="777"/>
                  </a:lnTo>
                  <a:lnTo>
                    <a:pt x="148" y="776"/>
                  </a:lnTo>
                  <a:lnTo>
                    <a:pt x="148" y="777"/>
                  </a:lnTo>
                  <a:lnTo>
                    <a:pt x="150" y="778"/>
                  </a:lnTo>
                  <a:lnTo>
                    <a:pt x="151" y="779"/>
                  </a:lnTo>
                  <a:lnTo>
                    <a:pt x="151" y="781"/>
                  </a:lnTo>
                  <a:lnTo>
                    <a:pt x="151" y="782"/>
                  </a:lnTo>
                  <a:lnTo>
                    <a:pt x="151" y="783"/>
                  </a:lnTo>
                  <a:lnTo>
                    <a:pt x="150" y="784"/>
                  </a:lnTo>
                  <a:lnTo>
                    <a:pt x="148" y="787"/>
                  </a:lnTo>
                  <a:lnTo>
                    <a:pt x="148" y="788"/>
                  </a:lnTo>
                  <a:lnTo>
                    <a:pt x="148" y="789"/>
                  </a:lnTo>
                  <a:lnTo>
                    <a:pt x="148" y="790"/>
                  </a:lnTo>
                  <a:lnTo>
                    <a:pt x="148" y="791"/>
                  </a:lnTo>
                  <a:lnTo>
                    <a:pt x="150" y="793"/>
                  </a:lnTo>
                  <a:lnTo>
                    <a:pt x="150" y="794"/>
                  </a:lnTo>
                  <a:lnTo>
                    <a:pt x="152" y="794"/>
                  </a:lnTo>
                  <a:lnTo>
                    <a:pt x="151" y="791"/>
                  </a:lnTo>
                  <a:lnTo>
                    <a:pt x="152" y="789"/>
                  </a:lnTo>
                  <a:lnTo>
                    <a:pt x="152" y="787"/>
                  </a:lnTo>
                  <a:lnTo>
                    <a:pt x="153" y="784"/>
                  </a:lnTo>
                  <a:lnTo>
                    <a:pt x="154" y="783"/>
                  </a:lnTo>
                  <a:lnTo>
                    <a:pt x="157" y="783"/>
                  </a:lnTo>
                  <a:lnTo>
                    <a:pt x="157" y="784"/>
                  </a:lnTo>
                  <a:lnTo>
                    <a:pt x="157" y="787"/>
                  </a:lnTo>
                  <a:lnTo>
                    <a:pt x="157" y="788"/>
                  </a:lnTo>
                  <a:lnTo>
                    <a:pt x="157" y="790"/>
                  </a:lnTo>
                  <a:lnTo>
                    <a:pt x="158" y="793"/>
                  </a:lnTo>
                  <a:lnTo>
                    <a:pt x="159" y="794"/>
                  </a:lnTo>
                  <a:lnTo>
                    <a:pt x="159" y="793"/>
                  </a:lnTo>
                  <a:lnTo>
                    <a:pt x="159" y="790"/>
                  </a:lnTo>
                  <a:lnTo>
                    <a:pt x="159" y="788"/>
                  </a:lnTo>
                  <a:lnTo>
                    <a:pt x="159" y="787"/>
                  </a:lnTo>
                  <a:lnTo>
                    <a:pt x="162" y="788"/>
                  </a:lnTo>
                  <a:lnTo>
                    <a:pt x="162" y="785"/>
                  </a:lnTo>
                  <a:lnTo>
                    <a:pt x="163" y="784"/>
                  </a:lnTo>
                  <a:lnTo>
                    <a:pt x="164" y="783"/>
                  </a:lnTo>
                  <a:lnTo>
                    <a:pt x="164" y="781"/>
                  </a:lnTo>
                  <a:lnTo>
                    <a:pt x="164" y="778"/>
                  </a:lnTo>
                  <a:lnTo>
                    <a:pt x="165" y="775"/>
                  </a:lnTo>
                  <a:lnTo>
                    <a:pt x="166" y="775"/>
                  </a:lnTo>
                  <a:lnTo>
                    <a:pt x="166" y="776"/>
                  </a:lnTo>
                  <a:lnTo>
                    <a:pt x="166" y="778"/>
                  </a:lnTo>
                  <a:lnTo>
                    <a:pt x="165" y="782"/>
                  </a:lnTo>
                  <a:lnTo>
                    <a:pt x="164" y="784"/>
                  </a:lnTo>
                  <a:lnTo>
                    <a:pt x="164" y="785"/>
                  </a:lnTo>
                  <a:lnTo>
                    <a:pt x="165" y="785"/>
                  </a:lnTo>
                  <a:lnTo>
                    <a:pt x="166" y="783"/>
                  </a:lnTo>
                  <a:lnTo>
                    <a:pt x="166" y="782"/>
                  </a:lnTo>
                  <a:lnTo>
                    <a:pt x="166" y="785"/>
                  </a:lnTo>
                  <a:lnTo>
                    <a:pt x="166" y="787"/>
                  </a:lnTo>
                  <a:lnTo>
                    <a:pt x="166" y="789"/>
                  </a:lnTo>
                  <a:lnTo>
                    <a:pt x="166" y="791"/>
                  </a:lnTo>
                  <a:lnTo>
                    <a:pt x="165" y="793"/>
                  </a:lnTo>
                  <a:lnTo>
                    <a:pt x="165" y="794"/>
                  </a:lnTo>
                  <a:lnTo>
                    <a:pt x="165" y="795"/>
                  </a:lnTo>
                  <a:lnTo>
                    <a:pt x="165" y="796"/>
                  </a:lnTo>
                  <a:lnTo>
                    <a:pt x="166" y="797"/>
                  </a:lnTo>
                  <a:lnTo>
                    <a:pt x="166" y="796"/>
                  </a:lnTo>
                  <a:lnTo>
                    <a:pt x="166" y="795"/>
                  </a:lnTo>
                  <a:lnTo>
                    <a:pt x="168" y="794"/>
                  </a:lnTo>
                  <a:lnTo>
                    <a:pt x="169" y="794"/>
                  </a:lnTo>
                  <a:lnTo>
                    <a:pt x="169" y="795"/>
                  </a:lnTo>
                  <a:lnTo>
                    <a:pt x="170" y="796"/>
                  </a:lnTo>
                  <a:lnTo>
                    <a:pt x="170" y="797"/>
                  </a:lnTo>
                  <a:lnTo>
                    <a:pt x="171" y="799"/>
                  </a:lnTo>
                  <a:lnTo>
                    <a:pt x="172" y="799"/>
                  </a:lnTo>
                  <a:lnTo>
                    <a:pt x="172" y="796"/>
                  </a:lnTo>
                  <a:lnTo>
                    <a:pt x="174" y="795"/>
                  </a:lnTo>
                  <a:lnTo>
                    <a:pt x="174" y="794"/>
                  </a:lnTo>
                  <a:lnTo>
                    <a:pt x="174" y="793"/>
                  </a:lnTo>
                  <a:lnTo>
                    <a:pt x="175" y="791"/>
                  </a:lnTo>
                  <a:lnTo>
                    <a:pt x="176" y="793"/>
                  </a:lnTo>
                  <a:lnTo>
                    <a:pt x="176" y="795"/>
                  </a:lnTo>
                  <a:lnTo>
                    <a:pt x="176" y="801"/>
                  </a:lnTo>
                  <a:lnTo>
                    <a:pt x="177" y="800"/>
                  </a:lnTo>
                  <a:lnTo>
                    <a:pt x="177" y="799"/>
                  </a:lnTo>
                  <a:lnTo>
                    <a:pt x="177" y="795"/>
                  </a:lnTo>
                  <a:lnTo>
                    <a:pt x="178" y="794"/>
                  </a:lnTo>
                  <a:lnTo>
                    <a:pt x="178" y="793"/>
                  </a:lnTo>
                  <a:lnTo>
                    <a:pt x="178" y="790"/>
                  </a:lnTo>
                  <a:lnTo>
                    <a:pt x="180" y="791"/>
                  </a:lnTo>
                  <a:lnTo>
                    <a:pt x="180" y="793"/>
                  </a:lnTo>
                  <a:lnTo>
                    <a:pt x="181" y="793"/>
                  </a:lnTo>
                  <a:lnTo>
                    <a:pt x="181" y="790"/>
                  </a:lnTo>
                  <a:lnTo>
                    <a:pt x="182" y="789"/>
                  </a:lnTo>
                  <a:lnTo>
                    <a:pt x="181" y="787"/>
                  </a:lnTo>
                  <a:lnTo>
                    <a:pt x="182" y="785"/>
                  </a:lnTo>
                  <a:lnTo>
                    <a:pt x="183" y="788"/>
                  </a:lnTo>
                  <a:lnTo>
                    <a:pt x="184" y="788"/>
                  </a:lnTo>
                  <a:lnTo>
                    <a:pt x="184" y="789"/>
                  </a:lnTo>
                  <a:lnTo>
                    <a:pt x="184" y="790"/>
                  </a:lnTo>
                  <a:lnTo>
                    <a:pt x="183" y="791"/>
                  </a:lnTo>
                  <a:lnTo>
                    <a:pt x="182" y="794"/>
                  </a:lnTo>
                  <a:lnTo>
                    <a:pt x="183" y="794"/>
                  </a:lnTo>
                  <a:lnTo>
                    <a:pt x="184" y="793"/>
                  </a:lnTo>
                  <a:lnTo>
                    <a:pt x="184" y="791"/>
                  </a:lnTo>
                  <a:lnTo>
                    <a:pt x="184" y="794"/>
                  </a:lnTo>
                  <a:lnTo>
                    <a:pt x="184" y="796"/>
                  </a:lnTo>
                  <a:lnTo>
                    <a:pt x="186" y="796"/>
                  </a:lnTo>
                  <a:lnTo>
                    <a:pt x="186" y="793"/>
                  </a:lnTo>
                  <a:lnTo>
                    <a:pt x="187" y="790"/>
                  </a:lnTo>
                  <a:lnTo>
                    <a:pt x="188" y="790"/>
                  </a:lnTo>
                  <a:lnTo>
                    <a:pt x="188" y="789"/>
                  </a:lnTo>
                  <a:lnTo>
                    <a:pt x="187" y="788"/>
                  </a:lnTo>
                  <a:lnTo>
                    <a:pt x="187" y="785"/>
                  </a:lnTo>
                  <a:lnTo>
                    <a:pt x="187" y="784"/>
                  </a:lnTo>
                  <a:lnTo>
                    <a:pt x="189" y="783"/>
                  </a:lnTo>
                  <a:lnTo>
                    <a:pt x="188" y="785"/>
                  </a:lnTo>
                  <a:lnTo>
                    <a:pt x="187" y="787"/>
                  </a:lnTo>
                  <a:lnTo>
                    <a:pt x="188" y="788"/>
                  </a:lnTo>
                  <a:lnTo>
                    <a:pt x="188" y="787"/>
                  </a:lnTo>
                  <a:lnTo>
                    <a:pt x="188" y="788"/>
                  </a:lnTo>
                  <a:lnTo>
                    <a:pt x="188" y="790"/>
                  </a:lnTo>
                  <a:lnTo>
                    <a:pt x="188" y="791"/>
                  </a:lnTo>
                  <a:lnTo>
                    <a:pt x="188" y="793"/>
                  </a:lnTo>
                  <a:lnTo>
                    <a:pt x="189" y="794"/>
                  </a:lnTo>
                  <a:lnTo>
                    <a:pt x="190" y="794"/>
                  </a:lnTo>
                  <a:lnTo>
                    <a:pt x="190" y="791"/>
                  </a:lnTo>
                  <a:lnTo>
                    <a:pt x="190" y="790"/>
                  </a:lnTo>
                  <a:lnTo>
                    <a:pt x="189" y="789"/>
                  </a:lnTo>
                  <a:lnTo>
                    <a:pt x="189" y="788"/>
                  </a:lnTo>
                  <a:lnTo>
                    <a:pt x="190" y="787"/>
                  </a:lnTo>
                  <a:lnTo>
                    <a:pt x="190" y="785"/>
                  </a:lnTo>
                  <a:lnTo>
                    <a:pt x="192" y="784"/>
                  </a:lnTo>
                  <a:lnTo>
                    <a:pt x="192" y="783"/>
                  </a:lnTo>
                  <a:lnTo>
                    <a:pt x="192" y="781"/>
                  </a:lnTo>
                  <a:lnTo>
                    <a:pt x="192" y="779"/>
                  </a:lnTo>
                  <a:lnTo>
                    <a:pt x="193" y="778"/>
                  </a:lnTo>
                  <a:lnTo>
                    <a:pt x="193" y="777"/>
                  </a:lnTo>
                  <a:lnTo>
                    <a:pt x="194" y="776"/>
                  </a:lnTo>
                  <a:lnTo>
                    <a:pt x="194" y="775"/>
                  </a:lnTo>
                  <a:lnTo>
                    <a:pt x="195" y="775"/>
                  </a:lnTo>
                  <a:lnTo>
                    <a:pt x="195" y="776"/>
                  </a:lnTo>
                  <a:lnTo>
                    <a:pt x="194" y="778"/>
                  </a:lnTo>
                  <a:lnTo>
                    <a:pt x="193" y="779"/>
                  </a:lnTo>
                  <a:lnTo>
                    <a:pt x="193" y="781"/>
                  </a:lnTo>
                  <a:lnTo>
                    <a:pt x="194" y="781"/>
                  </a:lnTo>
                  <a:lnTo>
                    <a:pt x="193" y="782"/>
                  </a:lnTo>
                  <a:lnTo>
                    <a:pt x="193" y="783"/>
                  </a:lnTo>
                  <a:lnTo>
                    <a:pt x="194" y="783"/>
                  </a:lnTo>
                  <a:lnTo>
                    <a:pt x="194" y="784"/>
                  </a:lnTo>
                  <a:lnTo>
                    <a:pt x="193" y="785"/>
                  </a:lnTo>
                  <a:lnTo>
                    <a:pt x="192" y="785"/>
                  </a:lnTo>
                  <a:lnTo>
                    <a:pt x="192" y="787"/>
                  </a:lnTo>
                  <a:lnTo>
                    <a:pt x="192" y="788"/>
                  </a:lnTo>
                  <a:lnTo>
                    <a:pt x="190" y="788"/>
                  </a:lnTo>
                  <a:lnTo>
                    <a:pt x="189" y="789"/>
                  </a:lnTo>
                  <a:lnTo>
                    <a:pt x="190" y="789"/>
                  </a:lnTo>
                  <a:lnTo>
                    <a:pt x="190" y="790"/>
                  </a:lnTo>
                  <a:lnTo>
                    <a:pt x="193" y="790"/>
                  </a:lnTo>
                  <a:lnTo>
                    <a:pt x="193" y="788"/>
                  </a:lnTo>
                  <a:lnTo>
                    <a:pt x="194" y="787"/>
                  </a:lnTo>
                  <a:lnTo>
                    <a:pt x="194" y="785"/>
                  </a:lnTo>
                  <a:lnTo>
                    <a:pt x="195" y="787"/>
                  </a:lnTo>
                  <a:lnTo>
                    <a:pt x="196" y="788"/>
                  </a:lnTo>
                  <a:lnTo>
                    <a:pt x="195" y="789"/>
                  </a:lnTo>
                  <a:lnTo>
                    <a:pt x="194" y="790"/>
                  </a:lnTo>
                  <a:lnTo>
                    <a:pt x="194" y="791"/>
                  </a:lnTo>
                  <a:lnTo>
                    <a:pt x="195" y="791"/>
                  </a:lnTo>
                  <a:lnTo>
                    <a:pt x="196" y="790"/>
                  </a:lnTo>
                  <a:lnTo>
                    <a:pt x="196" y="791"/>
                  </a:lnTo>
                  <a:lnTo>
                    <a:pt x="196" y="793"/>
                  </a:lnTo>
                  <a:lnTo>
                    <a:pt x="195" y="795"/>
                  </a:lnTo>
                  <a:lnTo>
                    <a:pt x="195" y="796"/>
                  </a:lnTo>
                  <a:lnTo>
                    <a:pt x="196" y="796"/>
                  </a:lnTo>
                  <a:lnTo>
                    <a:pt x="198" y="795"/>
                  </a:lnTo>
                  <a:lnTo>
                    <a:pt x="198" y="796"/>
                  </a:lnTo>
                  <a:lnTo>
                    <a:pt x="198" y="799"/>
                  </a:lnTo>
                  <a:lnTo>
                    <a:pt x="196" y="801"/>
                  </a:lnTo>
                  <a:lnTo>
                    <a:pt x="196" y="805"/>
                  </a:lnTo>
                  <a:lnTo>
                    <a:pt x="196" y="808"/>
                  </a:lnTo>
                  <a:lnTo>
                    <a:pt x="196" y="807"/>
                  </a:lnTo>
                  <a:lnTo>
                    <a:pt x="198" y="805"/>
                  </a:lnTo>
                  <a:lnTo>
                    <a:pt x="198" y="802"/>
                  </a:lnTo>
                  <a:lnTo>
                    <a:pt x="199" y="800"/>
                  </a:lnTo>
                  <a:lnTo>
                    <a:pt x="200" y="800"/>
                  </a:lnTo>
                  <a:lnTo>
                    <a:pt x="201" y="801"/>
                  </a:lnTo>
                  <a:lnTo>
                    <a:pt x="201" y="802"/>
                  </a:lnTo>
                  <a:lnTo>
                    <a:pt x="200" y="803"/>
                  </a:lnTo>
                  <a:lnTo>
                    <a:pt x="200" y="806"/>
                  </a:lnTo>
                  <a:lnTo>
                    <a:pt x="201" y="805"/>
                  </a:lnTo>
                  <a:lnTo>
                    <a:pt x="201" y="807"/>
                  </a:lnTo>
                  <a:lnTo>
                    <a:pt x="202" y="809"/>
                  </a:lnTo>
                  <a:lnTo>
                    <a:pt x="204" y="809"/>
                  </a:lnTo>
                  <a:lnTo>
                    <a:pt x="202" y="806"/>
                  </a:lnTo>
                  <a:lnTo>
                    <a:pt x="204" y="803"/>
                  </a:lnTo>
                  <a:lnTo>
                    <a:pt x="205" y="801"/>
                  </a:lnTo>
                  <a:lnTo>
                    <a:pt x="205" y="799"/>
                  </a:lnTo>
                  <a:lnTo>
                    <a:pt x="206" y="796"/>
                  </a:lnTo>
                  <a:lnTo>
                    <a:pt x="206" y="793"/>
                  </a:lnTo>
                  <a:lnTo>
                    <a:pt x="206" y="790"/>
                  </a:lnTo>
                  <a:lnTo>
                    <a:pt x="207" y="787"/>
                  </a:lnTo>
                  <a:lnTo>
                    <a:pt x="209" y="787"/>
                  </a:lnTo>
                  <a:lnTo>
                    <a:pt x="210" y="788"/>
                  </a:lnTo>
                  <a:lnTo>
                    <a:pt x="211" y="790"/>
                  </a:lnTo>
                  <a:lnTo>
                    <a:pt x="211" y="795"/>
                  </a:lnTo>
                  <a:lnTo>
                    <a:pt x="211" y="799"/>
                  </a:lnTo>
                  <a:lnTo>
                    <a:pt x="211" y="802"/>
                  </a:lnTo>
                  <a:lnTo>
                    <a:pt x="210" y="805"/>
                  </a:lnTo>
                  <a:lnTo>
                    <a:pt x="209" y="807"/>
                  </a:lnTo>
                  <a:lnTo>
                    <a:pt x="210" y="808"/>
                  </a:lnTo>
                  <a:lnTo>
                    <a:pt x="211" y="807"/>
                  </a:lnTo>
                  <a:lnTo>
                    <a:pt x="212" y="805"/>
                  </a:lnTo>
                  <a:lnTo>
                    <a:pt x="212" y="801"/>
                  </a:lnTo>
                  <a:lnTo>
                    <a:pt x="213" y="799"/>
                  </a:lnTo>
                  <a:lnTo>
                    <a:pt x="213" y="795"/>
                  </a:lnTo>
                  <a:lnTo>
                    <a:pt x="215" y="795"/>
                  </a:lnTo>
                  <a:lnTo>
                    <a:pt x="215" y="797"/>
                  </a:lnTo>
                  <a:lnTo>
                    <a:pt x="216" y="797"/>
                  </a:lnTo>
                  <a:lnTo>
                    <a:pt x="217" y="797"/>
                  </a:lnTo>
                  <a:lnTo>
                    <a:pt x="217" y="800"/>
                  </a:lnTo>
                  <a:lnTo>
                    <a:pt x="217" y="802"/>
                  </a:lnTo>
                  <a:lnTo>
                    <a:pt x="215" y="808"/>
                  </a:lnTo>
                  <a:lnTo>
                    <a:pt x="215" y="811"/>
                  </a:lnTo>
                  <a:lnTo>
                    <a:pt x="216" y="813"/>
                  </a:lnTo>
                  <a:lnTo>
                    <a:pt x="217" y="812"/>
                  </a:lnTo>
                  <a:lnTo>
                    <a:pt x="217" y="811"/>
                  </a:lnTo>
                  <a:lnTo>
                    <a:pt x="218" y="809"/>
                  </a:lnTo>
                  <a:lnTo>
                    <a:pt x="218" y="812"/>
                  </a:lnTo>
                  <a:lnTo>
                    <a:pt x="219" y="812"/>
                  </a:lnTo>
                  <a:lnTo>
                    <a:pt x="221" y="809"/>
                  </a:lnTo>
                  <a:lnTo>
                    <a:pt x="221" y="807"/>
                  </a:lnTo>
                  <a:lnTo>
                    <a:pt x="221" y="805"/>
                  </a:lnTo>
                  <a:lnTo>
                    <a:pt x="219" y="799"/>
                  </a:lnTo>
                  <a:lnTo>
                    <a:pt x="219" y="795"/>
                  </a:lnTo>
                  <a:lnTo>
                    <a:pt x="221" y="794"/>
                  </a:lnTo>
                  <a:lnTo>
                    <a:pt x="219" y="790"/>
                  </a:lnTo>
                  <a:lnTo>
                    <a:pt x="219" y="787"/>
                  </a:lnTo>
                  <a:lnTo>
                    <a:pt x="221" y="783"/>
                  </a:lnTo>
                  <a:lnTo>
                    <a:pt x="223" y="781"/>
                  </a:lnTo>
                  <a:lnTo>
                    <a:pt x="224" y="777"/>
                  </a:lnTo>
                  <a:lnTo>
                    <a:pt x="224" y="781"/>
                  </a:lnTo>
                  <a:lnTo>
                    <a:pt x="225" y="784"/>
                  </a:lnTo>
                  <a:lnTo>
                    <a:pt x="228" y="783"/>
                  </a:lnTo>
                  <a:lnTo>
                    <a:pt x="229" y="787"/>
                  </a:lnTo>
                  <a:lnTo>
                    <a:pt x="230" y="791"/>
                  </a:lnTo>
                  <a:lnTo>
                    <a:pt x="231" y="789"/>
                  </a:lnTo>
                  <a:lnTo>
                    <a:pt x="231" y="784"/>
                  </a:lnTo>
                  <a:lnTo>
                    <a:pt x="233" y="778"/>
                  </a:lnTo>
                  <a:lnTo>
                    <a:pt x="231" y="772"/>
                  </a:lnTo>
                  <a:lnTo>
                    <a:pt x="233" y="770"/>
                  </a:lnTo>
                  <a:lnTo>
                    <a:pt x="233" y="779"/>
                  </a:lnTo>
                  <a:lnTo>
                    <a:pt x="235" y="781"/>
                  </a:lnTo>
                  <a:lnTo>
                    <a:pt x="236" y="776"/>
                  </a:lnTo>
                  <a:lnTo>
                    <a:pt x="237" y="776"/>
                  </a:lnTo>
                  <a:lnTo>
                    <a:pt x="237" y="772"/>
                  </a:lnTo>
                  <a:lnTo>
                    <a:pt x="237" y="769"/>
                  </a:lnTo>
                  <a:lnTo>
                    <a:pt x="239" y="767"/>
                  </a:lnTo>
                  <a:lnTo>
                    <a:pt x="240" y="772"/>
                  </a:lnTo>
                  <a:lnTo>
                    <a:pt x="240" y="776"/>
                  </a:lnTo>
                  <a:lnTo>
                    <a:pt x="240" y="771"/>
                  </a:lnTo>
                  <a:lnTo>
                    <a:pt x="241" y="767"/>
                  </a:lnTo>
                  <a:lnTo>
                    <a:pt x="242" y="763"/>
                  </a:lnTo>
                  <a:lnTo>
                    <a:pt x="242" y="760"/>
                  </a:lnTo>
                  <a:lnTo>
                    <a:pt x="243" y="758"/>
                  </a:lnTo>
                  <a:lnTo>
                    <a:pt x="247" y="758"/>
                  </a:lnTo>
                  <a:lnTo>
                    <a:pt x="248" y="760"/>
                  </a:lnTo>
                  <a:lnTo>
                    <a:pt x="247" y="761"/>
                  </a:lnTo>
                  <a:lnTo>
                    <a:pt x="242" y="766"/>
                  </a:lnTo>
                  <a:lnTo>
                    <a:pt x="242" y="767"/>
                  </a:lnTo>
                  <a:lnTo>
                    <a:pt x="242" y="771"/>
                  </a:lnTo>
                  <a:lnTo>
                    <a:pt x="242" y="773"/>
                  </a:lnTo>
                  <a:lnTo>
                    <a:pt x="242" y="776"/>
                  </a:lnTo>
                  <a:lnTo>
                    <a:pt x="243" y="777"/>
                  </a:lnTo>
                  <a:lnTo>
                    <a:pt x="247" y="777"/>
                  </a:lnTo>
                  <a:lnTo>
                    <a:pt x="247" y="778"/>
                  </a:lnTo>
                  <a:lnTo>
                    <a:pt x="247" y="782"/>
                  </a:lnTo>
                  <a:lnTo>
                    <a:pt x="247" y="783"/>
                  </a:lnTo>
                  <a:lnTo>
                    <a:pt x="243" y="783"/>
                  </a:lnTo>
                  <a:lnTo>
                    <a:pt x="242" y="784"/>
                  </a:lnTo>
                  <a:lnTo>
                    <a:pt x="241" y="781"/>
                  </a:lnTo>
                  <a:lnTo>
                    <a:pt x="240" y="782"/>
                  </a:lnTo>
                  <a:lnTo>
                    <a:pt x="239" y="784"/>
                  </a:lnTo>
                  <a:lnTo>
                    <a:pt x="237" y="785"/>
                  </a:lnTo>
                  <a:lnTo>
                    <a:pt x="235" y="787"/>
                  </a:lnTo>
                  <a:lnTo>
                    <a:pt x="234" y="789"/>
                  </a:lnTo>
                  <a:lnTo>
                    <a:pt x="235" y="789"/>
                  </a:lnTo>
                  <a:lnTo>
                    <a:pt x="236" y="789"/>
                  </a:lnTo>
                  <a:lnTo>
                    <a:pt x="239" y="789"/>
                  </a:lnTo>
                  <a:lnTo>
                    <a:pt x="241" y="789"/>
                  </a:lnTo>
                  <a:lnTo>
                    <a:pt x="241" y="790"/>
                  </a:lnTo>
                  <a:lnTo>
                    <a:pt x="240" y="795"/>
                  </a:lnTo>
                  <a:lnTo>
                    <a:pt x="240" y="800"/>
                  </a:lnTo>
                  <a:lnTo>
                    <a:pt x="240" y="802"/>
                  </a:lnTo>
                  <a:lnTo>
                    <a:pt x="239" y="806"/>
                  </a:lnTo>
                  <a:lnTo>
                    <a:pt x="237" y="808"/>
                  </a:lnTo>
                  <a:lnTo>
                    <a:pt x="234" y="811"/>
                  </a:lnTo>
                  <a:lnTo>
                    <a:pt x="231" y="813"/>
                  </a:lnTo>
                  <a:lnTo>
                    <a:pt x="229" y="812"/>
                  </a:lnTo>
                  <a:lnTo>
                    <a:pt x="225" y="813"/>
                  </a:lnTo>
                  <a:lnTo>
                    <a:pt x="224" y="814"/>
                  </a:lnTo>
                  <a:lnTo>
                    <a:pt x="221" y="814"/>
                  </a:lnTo>
                  <a:lnTo>
                    <a:pt x="215" y="815"/>
                  </a:lnTo>
                  <a:lnTo>
                    <a:pt x="209" y="817"/>
                  </a:lnTo>
                  <a:lnTo>
                    <a:pt x="205" y="818"/>
                  </a:lnTo>
                  <a:lnTo>
                    <a:pt x="201" y="819"/>
                  </a:lnTo>
                  <a:lnTo>
                    <a:pt x="194" y="821"/>
                  </a:lnTo>
                  <a:lnTo>
                    <a:pt x="189" y="821"/>
                  </a:lnTo>
                  <a:lnTo>
                    <a:pt x="188" y="823"/>
                  </a:lnTo>
                  <a:lnTo>
                    <a:pt x="189" y="824"/>
                  </a:lnTo>
                  <a:lnTo>
                    <a:pt x="192" y="823"/>
                  </a:lnTo>
                  <a:lnTo>
                    <a:pt x="195" y="823"/>
                  </a:lnTo>
                  <a:lnTo>
                    <a:pt x="195" y="824"/>
                  </a:lnTo>
                  <a:lnTo>
                    <a:pt x="194" y="825"/>
                  </a:lnTo>
                  <a:lnTo>
                    <a:pt x="195" y="826"/>
                  </a:lnTo>
                  <a:lnTo>
                    <a:pt x="195" y="825"/>
                  </a:lnTo>
                  <a:lnTo>
                    <a:pt x="198" y="823"/>
                  </a:lnTo>
                  <a:lnTo>
                    <a:pt x="200" y="821"/>
                  </a:lnTo>
                  <a:lnTo>
                    <a:pt x="201" y="821"/>
                  </a:lnTo>
                  <a:lnTo>
                    <a:pt x="200" y="825"/>
                  </a:lnTo>
                  <a:lnTo>
                    <a:pt x="198" y="826"/>
                  </a:lnTo>
                  <a:lnTo>
                    <a:pt x="199" y="826"/>
                  </a:lnTo>
                  <a:lnTo>
                    <a:pt x="201" y="826"/>
                  </a:lnTo>
                  <a:lnTo>
                    <a:pt x="204" y="825"/>
                  </a:lnTo>
                  <a:lnTo>
                    <a:pt x="205" y="824"/>
                  </a:lnTo>
                  <a:lnTo>
                    <a:pt x="205" y="827"/>
                  </a:lnTo>
                  <a:lnTo>
                    <a:pt x="206" y="827"/>
                  </a:lnTo>
                  <a:lnTo>
                    <a:pt x="209" y="826"/>
                  </a:lnTo>
                  <a:lnTo>
                    <a:pt x="210" y="826"/>
                  </a:lnTo>
                  <a:lnTo>
                    <a:pt x="212" y="826"/>
                  </a:lnTo>
                  <a:lnTo>
                    <a:pt x="211" y="827"/>
                  </a:lnTo>
                  <a:lnTo>
                    <a:pt x="209" y="829"/>
                  </a:lnTo>
                  <a:lnTo>
                    <a:pt x="205" y="829"/>
                  </a:lnTo>
                  <a:lnTo>
                    <a:pt x="201" y="829"/>
                  </a:lnTo>
                  <a:lnTo>
                    <a:pt x="199" y="830"/>
                  </a:lnTo>
                  <a:lnTo>
                    <a:pt x="194" y="831"/>
                  </a:lnTo>
                  <a:lnTo>
                    <a:pt x="193" y="832"/>
                  </a:lnTo>
                  <a:lnTo>
                    <a:pt x="190" y="832"/>
                  </a:lnTo>
                  <a:lnTo>
                    <a:pt x="187" y="830"/>
                  </a:lnTo>
                  <a:lnTo>
                    <a:pt x="184" y="830"/>
                  </a:lnTo>
                  <a:lnTo>
                    <a:pt x="184" y="832"/>
                  </a:lnTo>
                  <a:lnTo>
                    <a:pt x="183" y="832"/>
                  </a:lnTo>
                  <a:lnTo>
                    <a:pt x="183" y="833"/>
                  </a:lnTo>
                  <a:lnTo>
                    <a:pt x="188" y="835"/>
                  </a:lnTo>
                  <a:lnTo>
                    <a:pt x="184" y="836"/>
                  </a:lnTo>
                  <a:lnTo>
                    <a:pt x="182" y="837"/>
                  </a:lnTo>
                  <a:lnTo>
                    <a:pt x="180" y="836"/>
                  </a:lnTo>
                  <a:lnTo>
                    <a:pt x="176" y="836"/>
                  </a:lnTo>
                  <a:lnTo>
                    <a:pt x="172" y="833"/>
                  </a:lnTo>
                  <a:lnTo>
                    <a:pt x="169" y="832"/>
                  </a:lnTo>
                  <a:lnTo>
                    <a:pt x="164" y="833"/>
                  </a:lnTo>
                  <a:lnTo>
                    <a:pt x="165" y="835"/>
                  </a:lnTo>
                  <a:lnTo>
                    <a:pt x="163" y="833"/>
                  </a:lnTo>
                  <a:lnTo>
                    <a:pt x="160" y="832"/>
                  </a:lnTo>
                  <a:lnTo>
                    <a:pt x="157" y="831"/>
                  </a:lnTo>
                  <a:lnTo>
                    <a:pt x="153" y="830"/>
                  </a:lnTo>
                  <a:lnTo>
                    <a:pt x="151" y="827"/>
                  </a:lnTo>
                  <a:lnTo>
                    <a:pt x="150" y="827"/>
                  </a:lnTo>
                  <a:lnTo>
                    <a:pt x="151" y="829"/>
                  </a:lnTo>
                  <a:lnTo>
                    <a:pt x="152" y="830"/>
                  </a:lnTo>
                  <a:lnTo>
                    <a:pt x="150" y="830"/>
                  </a:lnTo>
                  <a:lnTo>
                    <a:pt x="148" y="829"/>
                  </a:lnTo>
                  <a:lnTo>
                    <a:pt x="147" y="827"/>
                  </a:lnTo>
                  <a:lnTo>
                    <a:pt x="145" y="826"/>
                  </a:lnTo>
                  <a:lnTo>
                    <a:pt x="142" y="826"/>
                  </a:lnTo>
                  <a:lnTo>
                    <a:pt x="141" y="826"/>
                  </a:lnTo>
                  <a:lnTo>
                    <a:pt x="139" y="825"/>
                  </a:lnTo>
                  <a:lnTo>
                    <a:pt x="136" y="824"/>
                  </a:lnTo>
                  <a:lnTo>
                    <a:pt x="135" y="825"/>
                  </a:lnTo>
                  <a:lnTo>
                    <a:pt x="134" y="824"/>
                  </a:lnTo>
                  <a:lnTo>
                    <a:pt x="135" y="821"/>
                  </a:lnTo>
                  <a:lnTo>
                    <a:pt x="133" y="821"/>
                  </a:lnTo>
                  <a:lnTo>
                    <a:pt x="131" y="823"/>
                  </a:lnTo>
                  <a:lnTo>
                    <a:pt x="130" y="823"/>
                  </a:lnTo>
                  <a:lnTo>
                    <a:pt x="128" y="823"/>
                  </a:lnTo>
                  <a:lnTo>
                    <a:pt x="128" y="820"/>
                  </a:lnTo>
                  <a:lnTo>
                    <a:pt x="127" y="818"/>
                  </a:lnTo>
                  <a:lnTo>
                    <a:pt x="127" y="820"/>
                  </a:lnTo>
                  <a:lnTo>
                    <a:pt x="125" y="821"/>
                  </a:lnTo>
                  <a:lnTo>
                    <a:pt x="124" y="821"/>
                  </a:lnTo>
                  <a:lnTo>
                    <a:pt x="122" y="821"/>
                  </a:lnTo>
                  <a:lnTo>
                    <a:pt x="121" y="820"/>
                  </a:lnTo>
                  <a:lnTo>
                    <a:pt x="119" y="820"/>
                  </a:lnTo>
                  <a:lnTo>
                    <a:pt x="117" y="820"/>
                  </a:lnTo>
                  <a:lnTo>
                    <a:pt x="116" y="820"/>
                  </a:lnTo>
                  <a:lnTo>
                    <a:pt x="116" y="819"/>
                  </a:lnTo>
                  <a:lnTo>
                    <a:pt x="113" y="818"/>
                  </a:lnTo>
                  <a:lnTo>
                    <a:pt x="111" y="818"/>
                  </a:lnTo>
                  <a:lnTo>
                    <a:pt x="106" y="814"/>
                  </a:lnTo>
                  <a:lnTo>
                    <a:pt x="107" y="817"/>
                  </a:lnTo>
                  <a:lnTo>
                    <a:pt x="107" y="819"/>
                  </a:lnTo>
                  <a:lnTo>
                    <a:pt x="105" y="818"/>
                  </a:lnTo>
                  <a:lnTo>
                    <a:pt x="104" y="817"/>
                  </a:lnTo>
                  <a:lnTo>
                    <a:pt x="105" y="819"/>
                  </a:lnTo>
                  <a:lnTo>
                    <a:pt x="106" y="820"/>
                  </a:lnTo>
                  <a:lnTo>
                    <a:pt x="103" y="820"/>
                  </a:lnTo>
                  <a:lnTo>
                    <a:pt x="100" y="821"/>
                  </a:lnTo>
                  <a:lnTo>
                    <a:pt x="104" y="821"/>
                  </a:lnTo>
                  <a:lnTo>
                    <a:pt x="106" y="821"/>
                  </a:lnTo>
                  <a:lnTo>
                    <a:pt x="110" y="821"/>
                  </a:lnTo>
                  <a:lnTo>
                    <a:pt x="109" y="825"/>
                  </a:lnTo>
                  <a:lnTo>
                    <a:pt x="109" y="826"/>
                  </a:lnTo>
                  <a:lnTo>
                    <a:pt x="110" y="825"/>
                  </a:lnTo>
                  <a:lnTo>
                    <a:pt x="112" y="823"/>
                  </a:lnTo>
                  <a:lnTo>
                    <a:pt x="113" y="821"/>
                  </a:lnTo>
                  <a:lnTo>
                    <a:pt x="115" y="821"/>
                  </a:lnTo>
                  <a:lnTo>
                    <a:pt x="115" y="825"/>
                  </a:lnTo>
                  <a:lnTo>
                    <a:pt x="115" y="823"/>
                  </a:lnTo>
                  <a:lnTo>
                    <a:pt x="116" y="823"/>
                  </a:lnTo>
                  <a:lnTo>
                    <a:pt x="118" y="823"/>
                  </a:lnTo>
                  <a:lnTo>
                    <a:pt x="118" y="824"/>
                  </a:lnTo>
                  <a:lnTo>
                    <a:pt x="116" y="826"/>
                  </a:lnTo>
                  <a:lnTo>
                    <a:pt x="116" y="829"/>
                  </a:lnTo>
                  <a:lnTo>
                    <a:pt x="115" y="832"/>
                  </a:lnTo>
                  <a:lnTo>
                    <a:pt x="115" y="836"/>
                  </a:lnTo>
                  <a:lnTo>
                    <a:pt x="117" y="841"/>
                  </a:lnTo>
                  <a:lnTo>
                    <a:pt x="119" y="842"/>
                  </a:lnTo>
                  <a:lnTo>
                    <a:pt x="119" y="839"/>
                  </a:lnTo>
                  <a:lnTo>
                    <a:pt x="119" y="835"/>
                  </a:lnTo>
                  <a:lnTo>
                    <a:pt x="119" y="833"/>
                  </a:lnTo>
                  <a:lnTo>
                    <a:pt x="119" y="836"/>
                  </a:lnTo>
                  <a:lnTo>
                    <a:pt x="121" y="838"/>
                  </a:lnTo>
                  <a:lnTo>
                    <a:pt x="121" y="841"/>
                  </a:lnTo>
                  <a:lnTo>
                    <a:pt x="119" y="843"/>
                  </a:lnTo>
                  <a:lnTo>
                    <a:pt x="121" y="843"/>
                  </a:lnTo>
                  <a:lnTo>
                    <a:pt x="122" y="843"/>
                  </a:lnTo>
                  <a:lnTo>
                    <a:pt x="124" y="844"/>
                  </a:lnTo>
                  <a:lnTo>
                    <a:pt x="124" y="848"/>
                  </a:lnTo>
                  <a:lnTo>
                    <a:pt x="128" y="850"/>
                  </a:lnTo>
                  <a:lnTo>
                    <a:pt x="127" y="852"/>
                  </a:lnTo>
                  <a:lnTo>
                    <a:pt x="125" y="852"/>
                  </a:lnTo>
                  <a:lnTo>
                    <a:pt x="124" y="849"/>
                  </a:lnTo>
                  <a:lnTo>
                    <a:pt x="122" y="849"/>
                  </a:lnTo>
                  <a:lnTo>
                    <a:pt x="118" y="849"/>
                  </a:lnTo>
                  <a:lnTo>
                    <a:pt x="117" y="850"/>
                  </a:lnTo>
                  <a:lnTo>
                    <a:pt x="115" y="849"/>
                  </a:lnTo>
                  <a:lnTo>
                    <a:pt x="113" y="849"/>
                  </a:lnTo>
                  <a:lnTo>
                    <a:pt x="110" y="849"/>
                  </a:lnTo>
                  <a:lnTo>
                    <a:pt x="107" y="852"/>
                  </a:lnTo>
                  <a:lnTo>
                    <a:pt x="109" y="853"/>
                  </a:lnTo>
                  <a:lnTo>
                    <a:pt x="111" y="852"/>
                  </a:lnTo>
                  <a:lnTo>
                    <a:pt x="112" y="853"/>
                  </a:lnTo>
                  <a:lnTo>
                    <a:pt x="113" y="852"/>
                  </a:lnTo>
                  <a:lnTo>
                    <a:pt x="115" y="852"/>
                  </a:lnTo>
                  <a:lnTo>
                    <a:pt x="116" y="852"/>
                  </a:lnTo>
                  <a:lnTo>
                    <a:pt x="118" y="850"/>
                  </a:lnTo>
                  <a:lnTo>
                    <a:pt x="119" y="850"/>
                  </a:lnTo>
                  <a:lnTo>
                    <a:pt x="118" y="853"/>
                  </a:lnTo>
                  <a:lnTo>
                    <a:pt x="117" y="854"/>
                  </a:lnTo>
                  <a:lnTo>
                    <a:pt x="116" y="855"/>
                  </a:lnTo>
                  <a:lnTo>
                    <a:pt x="116" y="856"/>
                  </a:lnTo>
                  <a:lnTo>
                    <a:pt x="118" y="855"/>
                  </a:lnTo>
                  <a:lnTo>
                    <a:pt x="119" y="855"/>
                  </a:lnTo>
                  <a:lnTo>
                    <a:pt x="121" y="854"/>
                  </a:lnTo>
                  <a:lnTo>
                    <a:pt x="122" y="853"/>
                  </a:lnTo>
                  <a:lnTo>
                    <a:pt x="123" y="853"/>
                  </a:lnTo>
                  <a:lnTo>
                    <a:pt x="123" y="854"/>
                  </a:lnTo>
                  <a:lnTo>
                    <a:pt x="122" y="855"/>
                  </a:lnTo>
                  <a:lnTo>
                    <a:pt x="122" y="856"/>
                  </a:lnTo>
                  <a:lnTo>
                    <a:pt x="122" y="858"/>
                  </a:lnTo>
                  <a:lnTo>
                    <a:pt x="121" y="859"/>
                  </a:lnTo>
                  <a:lnTo>
                    <a:pt x="119" y="858"/>
                  </a:lnTo>
                  <a:lnTo>
                    <a:pt x="117" y="856"/>
                  </a:lnTo>
                  <a:lnTo>
                    <a:pt x="116" y="856"/>
                  </a:lnTo>
                  <a:lnTo>
                    <a:pt x="112" y="856"/>
                  </a:lnTo>
                  <a:lnTo>
                    <a:pt x="110" y="856"/>
                  </a:lnTo>
                  <a:lnTo>
                    <a:pt x="105" y="856"/>
                  </a:lnTo>
                  <a:lnTo>
                    <a:pt x="104" y="856"/>
                  </a:lnTo>
                  <a:lnTo>
                    <a:pt x="106" y="858"/>
                  </a:lnTo>
                  <a:lnTo>
                    <a:pt x="106" y="859"/>
                  </a:lnTo>
                  <a:lnTo>
                    <a:pt x="103" y="858"/>
                  </a:lnTo>
                  <a:lnTo>
                    <a:pt x="101" y="860"/>
                  </a:lnTo>
                  <a:lnTo>
                    <a:pt x="104" y="860"/>
                  </a:lnTo>
                  <a:lnTo>
                    <a:pt x="105" y="860"/>
                  </a:lnTo>
                  <a:lnTo>
                    <a:pt x="107" y="860"/>
                  </a:lnTo>
                  <a:lnTo>
                    <a:pt x="109" y="861"/>
                  </a:lnTo>
                  <a:lnTo>
                    <a:pt x="107" y="864"/>
                  </a:lnTo>
                  <a:lnTo>
                    <a:pt x="105" y="864"/>
                  </a:lnTo>
                  <a:lnTo>
                    <a:pt x="101" y="864"/>
                  </a:lnTo>
                  <a:lnTo>
                    <a:pt x="99" y="861"/>
                  </a:lnTo>
                  <a:lnTo>
                    <a:pt x="93" y="858"/>
                  </a:lnTo>
                  <a:lnTo>
                    <a:pt x="91" y="856"/>
                  </a:lnTo>
                  <a:lnTo>
                    <a:pt x="91" y="859"/>
                  </a:lnTo>
                  <a:lnTo>
                    <a:pt x="92" y="860"/>
                  </a:lnTo>
                  <a:lnTo>
                    <a:pt x="91" y="860"/>
                  </a:lnTo>
                  <a:lnTo>
                    <a:pt x="88" y="859"/>
                  </a:lnTo>
                  <a:lnTo>
                    <a:pt x="86" y="859"/>
                  </a:lnTo>
                  <a:lnTo>
                    <a:pt x="83" y="856"/>
                  </a:lnTo>
                  <a:lnTo>
                    <a:pt x="81" y="854"/>
                  </a:lnTo>
                  <a:lnTo>
                    <a:pt x="80" y="855"/>
                  </a:lnTo>
                  <a:lnTo>
                    <a:pt x="78" y="856"/>
                  </a:lnTo>
                  <a:lnTo>
                    <a:pt x="76" y="854"/>
                  </a:lnTo>
                  <a:lnTo>
                    <a:pt x="74" y="854"/>
                  </a:lnTo>
                  <a:lnTo>
                    <a:pt x="72" y="854"/>
                  </a:lnTo>
                  <a:lnTo>
                    <a:pt x="75" y="856"/>
                  </a:lnTo>
                  <a:lnTo>
                    <a:pt x="77" y="858"/>
                  </a:lnTo>
                  <a:lnTo>
                    <a:pt x="77" y="859"/>
                  </a:lnTo>
                  <a:lnTo>
                    <a:pt x="75" y="861"/>
                  </a:lnTo>
                  <a:lnTo>
                    <a:pt x="74" y="861"/>
                  </a:lnTo>
                  <a:lnTo>
                    <a:pt x="74" y="862"/>
                  </a:lnTo>
                  <a:lnTo>
                    <a:pt x="76" y="861"/>
                  </a:lnTo>
                  <a:lnTo>
                    <a:pt x="77" y="860"/>
                  </a:lnTo>
                  <a:lnTo>
                    <a:pt x="80" y="859"/>
                  </a:lnTo>
                  <a:lnTo>
                    <a:pt x="83" y="859"/>
                  </a:lnTo>
                  <a:lnTo>
                    <a:pt x="81" y="862"/>
                  </a:lnTo>
                  <a:lnTo>
                    <a:pt x="80" y="866"/>
                  </a:lnTo>
                  <a:lnTo>
                    <a:pt x="81" y="864"/>
                  </a:lnTo>
                  <a:lnTo>
                    <a:pt x="82" y="862"/>
                  </a:lnTo>
                  <a:lnTo>
                    <a:pt x="83" y="861"/>
                  </a:lnTo>
                  <a:lnTo>
                    <a:pt x="84" y="860"/>
                  </a:lnTo>
                  <a:lnTo>
                    <a:pt x="87" y="860"/>
                  </a:lnTo>
                  <a:lnTo>
                    <a:pt x="88" y="862"/>
                  </a:lnTo>
                  <a:lnTo>
                    <a:pt x="87" y="865"/>
                  </a:lnTo>
                  <a:lnTo>
                    <a:pt x="84" y="867"/>
                  </a:lnTo>
                  <a:lnTo>
                    <a:pt x="84" y="870"/>
                  </a:lnTo>
                  <a:lnTo>
                    <a:pt x="86" y="870"/>
                  </a:lnTo>
                  <a:lnTo>
                    <a:pt x="86" y="871"/>
                  </a:lnTo>
                  <a:lnTo>
                    <a:pt x="84" y="872"/>
                  </a:lnTo>
                  <a:lnTo>
                    <a:pt x="83" y="872"/>
                  </a:lnTo>
                  <a:lnTo>
                    <a:pt x="81" y="872"/>
                  </a:lnTo>
                  <a:lnTo>
                    <a:pt x="78" y="871"/>
                  </a:lnTo>
                  <a:lnTo>
                    <a:pt x="76" y="868"/>
                  </a:lnTo>
                  <a:lnTo>
                    <a:pt x="75" y="868"/>
                  </a:lnTo>
                  <a:lnTo>
                    <a:pt x="75" y="871"/>
                  </a:lnTo>
                  <a:lnTo>
                    <a:pt x="71" y="870"/>
                  </a:lnTo>
                  <a:lnTo>
                    <a:pt x="70" y="868"/>
                  </a:lnTo>
                  <a:lnTo>
                    <a:pt x="68" y="870"/>
                  </a:lnTo>
                  <a:lnTo>
                    <a:pt x="71" y="872"/>
                  </a:lnTo>
                  <a:lnTo>
                    <a:pt x="75" y="872"/>
                  </a:lnTo>
                  <a:lnTo>
                    <a:pt x="74" y="874"/>
                  </a:lnTo>
                  <a:lnTo>
                    <a:pt x="74" y="876"/>
                  </a:lnTo>
                  <a:lnTo>
                    <a:pt x="75" y="877"/>
                  </a:lnTo>
                  <a:lnTo>
                    <a:pt x="76" y="876"/>
                  </a:lnTo>
                  <a:lnTo>
                    <a:pt x="77" y="873"/>
                  </a:lnTo>
                  <a:lnTo>
                    <a:pt x="80" y="873"/>
                  </a:lnTo>
                  <a:lnTo>
                    <a:pt x="80" y="874"/>
                  </a:lnTo>
                  <a:lnTo>
                    <a:pt x="80" y="877"/>
                  </a:lnTo>
                  <a:lnTo>
                    <a:pt x="80" y="878"/>
                  </a:lnTo>
                  <a:lnTo>
                    <a:pt x="81" y="877"/>
                  </a:lnTo>
                  <a:lnTo>
                    <a:pt x="82" y="876"/>
                  </a:lnTo>
                  <a:lnTo>
                    <a:pt x="83" y="876"/>
                  </a:lnTo>
                  <a:lnTo>
                    <a:pt x="82" y="878"/>
                  </a:lnTo>
                  <a:lnTo>
                    <a:pt x="83" y="878"/>
                  </a:lnTo>
                  <a:lnTo>
                    <a:pt x="83" y="877"/>
                  </a:lnTo>
                  <a:lnTo>
                    <a:pt x="86" y="876"/>
                  </a:lnTo>
                  <a:lnTo>
                    <a:pt x="88" y="876"/>
                  </a:lnTo>
                  <a:lnTo>
                    <a:pt x="86" y="880"/>
                  </a:lnTo>
                  <a:lnTo>
                    <a:pt x="86" y="882"/>
                  </a:lnTo>
                  <a:lnTo>
                    <a:pt x="87" y="882"/>
                  </a:lnTo>
                  <a:lnTo>
                    <a:pt x="88" y="879"/>
                  </a:lnTo>
                  <a:lnTo>
                    <a:pt x="89" y="878"/>
                  </a:lnTo>
                  <a:lnTo>
                    <a:pt x="91" y="878"/>
                  </a:lnTo>
                  <a:lnTo>
                    <a:pt x="91" y="879"/>
                  </a:lnTo>
                  <a:lnTo>
                    <a:pt x="91" y="882"/>
                  </a:lnTo>
                  <a:lnTo>
                    <a:pt x="91" y="885"/>
                  </a:lnTo>
                  <a:lnTo>
                    <a:pt x="92" y="884"/>
                  </a:lnTo>
                  <a:lnTo>
                    <a:pt x="94" y="884"/>
                  </a:lnTo>
                  <a:lnTo>
                    <a:pt x="94" y="885"/>
                  </a:lnTo>
                  <a:lnTo>
                    <a:pt x="94" y="889"/>
                  </a:lnTo>
                  <a:lnTo>
                    <a:pt x="93" y="892"/>
                  </a:lnTo>
                  <a:lnTo>
                    <a:pt x="94" y="892"/>
                  </a:lnTo>
                  <a:lnTo>
                    <a:pt x="97" y="891"/>
                  </a:lnTo>
                  <a:lnTo>
                    <a:pt x="99" y="891"/>
                  </a:lnTo>
                  <a:lnTo>
                    <a:pt x="99" y="892"/>
                  </a:lnTo>
                  <a:lnTo>
                    <a:pt x="97" y="894"/>
                  </a:lnTo>
                  <a:lnTo>
                    <a:pt x="93" y="894"/>
                  </a:lnTo>
                  <a:lnTo>
                    <a:pt x="94" y="896"/>
                  </a:lnTo>
                  <a:lnTo>
                    <a:pt x="97" y="896"/>
                  </a:lnTo>
                  <a:lnTo>
                    <a:pt x="97" y="897"/>
                  </a:lnTo>
                  <a:lnTo>
                    <a:pt x="94" y="900"/>
                  </a:lnTo>
                  <a:lnTo>
                    <a:pt x="92" y="901"/>
                  </a:lnTo>
                  <a:lnTo>
                    <a:pt x="92" y="903"/>
                  </a:lnTo>
                  <a:lnTo>
                    <a:pt x="94" y="902"/>
                  </a:lnTo>
                  <a:lnTo>
                    <a:pt x="97" y="901"/>
                  </a:lnTo>
                  <a:lnTo>
                    <a:pt x="98" y="900"/>
                  </a:lnTo>
                  <a:lnTo>
                    <a:pt x="98" y="902"/>
                  </a:lnTo>
                  <a:lnTo>
                    <a:pt x="99" y="901"/>
                  </a:lnTo>
                  <a:lnTo>
                    <a:pt x="101" y="900"/>
                  </a:lnTo>
                  <a:lnTo>
                    <a:pt x="103" y="898"/>
                  </a:lnTo>
                  <a:lnTo>
                    <a:pt x="103" y="901"/>
                  </a:lnTo>
                  <a:lnTo>
                    <a:pt x="103" y="903"/>
                  </a:lnTo>
                  <a:lnTo>
                    <a:pt x="101" y="904"/>
                  </a:lnTo>
                  <a:lnTo>
                    <a:pt x="100" y="904"/>
                  </a:lnTo>
                  <a:lnTo>
                    <a:pt x="97" y="904"/>
                  </a:lnTo>
                  <a:lnTo>
                    <a:pt x="94" y="904"/>
                  </a:lnTo>
                  <a:lnTo>
                    <a:pt x="89" y="904"/>
                  </a:lnTo>
                  <a:lnTo>
                    <a:pt x="87" y="904"/>
                  </a:lnTo>
                  <a:lnTo>
                    <a:pt x="84" y="904"/>
                  </a:lnTo>
                  <a:lnTo>
                    <a:pt x="81" y="903"/>
                  </a:lnTo>
                  <a:lnTo>
                    <a:pt x="80" y="903"/>
                  </a:lnTo>
                  <a:lnTo>
                    <a:pt x="76" y="903"/>
                  </a:lnTo>
                  <a:lnTo>
                    <a:pt x="74" y="903"/>
                  </a:lnTo>
                  <a:lnTo>
                    <a:pt x="74" y="906"/>
                  </a:lnTo>
                  <a:lnTo>
                    <a:pt x="76" y="907"/>
                  </a:lnTo>
                  <a:lnTo>
                    <a:pt x="77" y="909"/>
                  </a:lnTo>
                  <a:lnTo>
                    <a:pt x="78" y="907"/>
                  </a:lnTo>
                  <a:lnTo>
                    <a:pt x="80" y="907"/>
                  </a:lnTo>
                  <a:lnTo>
                    <a:pt x="80" y="912"/>
                  </a:lnTo>
                  <a:lnTo>
                    <a:pt x="81" y="913"/>
                  </a:lnTo>
                  <a:lnTo>
                    <a:pt x="81" y="912"/>
                  </a:lnTo>
                  <a:lnTo>
                    <a:pt x="82" y="910"/>
                  </a:lnTo>
                  <a:lnTo>
                    <a:pt x="83" y="908"/>
                  </a:lnTo>
                  <a:lnTo>
                    <a:pt x="84" y="908"/>
                  </a:lnTo>
                  <a:lnTo>
                    <a:pt x="83" y="912"/>
                  </a:lnTo>
                  <a:lnTo>
                    <a:pt x="82" y="914"/>
                  </a:lnTo>
                  <a:lnTo>
                    <a:pt x="82" y="918"/>
                  </a:lnTo>
                  <a:lnTo>
                    <a:pt x="82" y="922"/>
                  </a:lnTo>
                  <a:lnTo>
                    <a:pt x="83" y="925"/>
                  </a:lnTo>
                  <a:lnTo>
                    <a:pt x="84" y="925"/>
                  </a:lnTo>
                  <a:lnTo>
                    <a:pt x="84" y="921"/>
                  </a:lnTo>
                  <a:lnTo>
                    <a:pt x="86" y="920"/>
                  </a:lnTo>
                  <a:lnTo>
                    <a:pt x="86" y="915"/>
                  </a:lnTo>
                  <a:lnTo>
                    <a:pt x="86" y="914"/>
                  </a:lnTo>
                  <a:lnTo>
                    <a:pt x="87" y="912"/>
                  </a:lnTo>
                  <a:lnTo>
                    <a:pt x="88" y="912"/>
                  </a:lnTo>
                  <a:lnTo>
                    <a:pt x="89" y="913"/>
                  </a:lnTo>
                  <a:lnTo>
                    <a:pt x="88" y="914"/>
                  </a:lnTo>
                  <a:lnTo>
                    <a:pt x="88" y="916"/>
                  </a:lnTo>
                  <a:lnTo>
                    <a:pt x="88" y="919"/>
                  </a:lnTo>
                  <a:lnTo>
                    <a:pt x="89" y="919"/>
                  </a:lnTo>
                  <a:lnTo>
                    <a:pt x="91" y="919"/>
                  </a:lnTo>
                  <a:lnTo>
                    <a:pt x="92" y="916"/>
                  </a:lnTo>
                  <a:lnTo>
                    <a:pt x="93" y="915"/>
                  </a:lnTo>
                  <a:lnTo>
                    <a:pt x="94" y="914"/>
                  </a:lnTo>
                  <a:lnTo>
                    <a:pt x="94" y="913"/>
                  </a:lnTo>
                  <a:lnTo>
                    <a:pt x="95" y="913"/>
                  </a:lnTo>
                  <a:lnTo>
                    <a:pt x="95" y="915"/>
                  </a:lnTo>
                  <a:lnTo>
                    <a:pt x="95" y="916"/>
                  </a:lnTo>
                  <a:lnTo>
                    <a:pt x="94" y="919"/>
                  </a:lnTo>
                  <a:lnTo>
                    <a:pt x="94" y="920"/>
                  </a:lnTo>
                  <a:lnTo>
                    <a:pt x="93" y="921"/>
                  </a:lnTo>
                  <a:lnTo>
                    <a:pt x="91" y="924"/>
                  </a:lnTo>
                  <a:lnTo>
                    <a:pt x="89" y="926"/>
                  </a:lnTo>
                  <a:lnTo>
                    <a:pt x="89" y="927"/>
                  </a:lnTo>
                  <a:lnTo>
                    <a:pt x="91" y="927"/>
                  </a:lnTo>
                  <a:lnTo>
                    <a:pt x="92" y="926"/>
                  </a:lnTo>
                  <a:lnTo>
                    <a:pt x="93" y="926"/>
                  </a:lnTo>
                  <a:lnTo>
                    <a:pt x="95" y="926"/>
                  </a:lnTo>
                  <a:lnTo>
                    <a:pt x="95" y="927"/>
                  </a:lnTo>
                  <a:lnTo>
                    <a:pt x="94" y="928"/>
                  </a:lnTo>
                  <a:lnTo>
                    <a:pt x="93" y="928"/>
                  </a:lnTo>
                  <a:lnTo>
                    <a:pt x="92" y="928"/>
                  </a:lnTo>
                  <a:lnTo>
                    <a:pt x="91" y="928"/>
                  </a:lnTo>
                  <a:lnTo>
                    <a:pt x="88" y="928"/>
                  </a:lnTo>
                  <a:lnTo>
                    <a:pt x="86" y="927"/>
                  </a:lnTo>
                  <a:lnTo>
                    <a:pt x="83" y="926"/>
                  </a:lnTo>
                  <a:lnTo>
                    <a:pt x="82" y="925"/>
                  </a:lnTo>
                  <a:lnTo>
                    <a:pt x="78" y="924"/>
                  </a:lnTo>
                  <a:lnTo>
                    <a:pt x="76" y="924"/>
                  </a:lnTo>
                  <a:lnTo>
                    <a:pt x="72" y="924"/>
                  </a:lnTo>
                  <a:lnTo>
                    <a:pt x="68" y="921"/>
                  </a:lnTo>
                  <a:lnTo>
                    <a:pt x="65" y="921"/>
                  </a:lnTo>
                  <a:lnTo>
                    <a:pt x="63" y="922"/>
                  </a:lnTo>
                  <a:lnTo>
                    <a:pt x="62" y="921"/>
                  </a:lnTo>
                  <a:lnTo>
                    <a:pt x="59" y="920"/>
                  </a:lnTo>
                  <a:lnTo>
                    <a:pt x="56" y="919"/>
                  </a:lnTo>
                  <a:lnTo>
                    <a:pt x="53" y="919"/>
                  </a:lnTo>
                  <a:lnTo>
                    <a:pt x="51" y="919"/>
                  </a:lnTo>
                  <a:lnTo>
                    <a:pt x="48" y="918"/>
                  </a:lnTo>
                  <a:lnTo>
                    <a:pt x="47" y="918"/>
                  </a:lnTo>
                  <a:lnTo>
                    <a:pt x="48" y="919"/>
                  </a:lnTo>
                  <a:lnTo>
                    <a:pt x="48" y="920"/>
                  </a:lnTo>
                  <a:lnTo>
                    <a:pt x="46" y="920"/>
                  </a:lnTo>
                  <a:lnTo>
                    <a:pt x="45" y="919"/>
                  </a:lnTo>
                  <a:lnTo>
                    <a:pt x="44" y="918"/>
                  </a:lnTo>
                  <a:lnTo>
                    <a:pt x="44" y="919"/>
                  </a:lnTo>
                  <a:lnTo>
                    <a:pt x="42" y="918"/>
                  </a:lnTo>
                  <a:lnTo>
                    <a:pt x="41" y="916"/>
                  </a:lnTo>
                  <a:lnTo>
                    <a:pt x="38" y="914"/>
                  </a:lnTo>
                  <a:lnTo>
                    <a:pt x="36" y="916"/>
                  </a:lnTo>
                  <a:lnTo>
                    <a:pt x="38" y="918"/>
                  </a:lnTo>
                  <a:lnTo>
                    <a:pt x="32" y="916"/>
                  </a:lnTo>
                  <a:lnTo>
                    <a:pt x="33" y="918"/>
                  </a:lnTo>
                  <a:lnTo>
                    <a:pt x="35" y="919"/>
                  </a:lnTo>
                  <a:lnTo>
                    <a:pt x="38" y="919"/>
                  </a:lnTo>
                  <a:lnTo>
                    <a:pt x="38" y="920"/>
                  </a:lnTo>
                  <a:lnTo>
                    <a:pt x="34" y="922"/>
                  </a:lnTo>
                  <a:lnTo>
                    <a:pt x="33" y="924"/>
                  </a:lnTo>
                  <a:lnTo>
                    <a:pt x="34" y="925"/>
                  </a:lnTo>
                  <a:lnTo>
                    <a:pt x="34" y="924"/>
                  </a:lnTo>
                  <a:lnTo>
                    <a:pt x="39" y="921"/>
                  </a:lnTo>
                  <a:lnTo>
                    <a:pt x="41" y="921"/>
                  </a:lnTo>
                  <a:lnTo>
                    <a:pt x="42" y="921"/>
                  </a:lnTo>
                  <a:lnTo>
                    <a:pt x="42" y="922"/>
                  </a:lnTo>
                  <a:lnTo>
                    <a:pt x="41" y="925"/>
                  </a:lnTo>
                  <a:lnTo>
                    <a:pt x="41" y="926"/>
                  </a:lnTo>
                  <a:lnTo>
                    <a:pt x="42" y="926"/>
                  </a:lnTo>
                  <a:lnTo>
                    <a:pt x="44" y="925"/>
                  </a:lnTo>
                  <a:lnTo>
                    <a:pt x="44" y="922"/>
                  </a:lnTo>
                  <a:lnTo>
                    <a:pt x="45" y="921"/>
                  </a:lnTo>
                  <a:lnTo>
                    <a:pt x="48" y="922"/>
                  </a:lnTo>
                  <a:lnTo>
                    <a:pt x="50" y="922"/>
                  </a:lnTo>
                  <a:lnTo>
                    <a:pt x="48" y="925"/>
                  </a:lnTo>
                  <a:lnTo>
                    <a:pt x="47" y="926"/>
                  </a:lnTo>
                  <a:lnTo>
                    <a:pt x="46" y="928"/>
                  </a:lnTo>
                  <a:lnTo>
                    <a:pt x="46" y="931"/>
                  </a:lnTo>
                  <a:lnTo>
                    <a:pt x="46" y="934"/>
                  </a:lnTo>
                  <a:lnTo>
                    <a:pt x="47" y="936"/>
                  </a:lnTo>
                  <a:lnTo>
                    <a:pt x="47" y="938"/>
                  </a:lnTo>
                  <a:lnTo>
                    <a:pt x="47" y="939"/>
                  </a:lnTo>
                  <a:lnTo>
                    <a:pt x="47" y="942"/>
                  </a:lnTo>
                  <a:lnTo>
                    <a:pt x="48" y="942"/>
                  </a:lnTo>
                  <a:lnTo>
                    <a:pt x="50" y="940"/>
                  </a:lnTo>
                  <a:lnTo>
                    <a:pt x="50" y="939"/>
                  </a:lnTo>
                  <a:lnTo>
                    <a:pt x="51" y="937"/>
                  </a:lnTo>
                  <a:lnTo>
                    <a:pt x="51" y="936"/>
                  </a:lnTo>
                  <a:lnTo>
                    <a:pt x="51" y="931"/>
                  </a:lnTo>
                  <a:lnTo>
                    <a:pt x="52" y="934"/>
                  </a:lnTo>
                  <a:lnTo>
                    <a:pt x="52" y="936"/>
                  </a:lnTo>
                  <a:lnTo>
                    <a:pt x="53" y="934"/>
                  </a:lnTo>
                  <a:lnTo>
                    <a:pt x="53" y="931"/>
                  </a:lnTo>
                  <a:lnTo>
                    <a:pt x="53" y="928"/>
                  </a:lnTo>
                  <a:lnTo>
                    <a:pt x="56" y="926"/>
                  </a:lnTo>
                  <a:lnTo>
                    <a:pt x="56" y="925"/>
                  </a:lnTo>
                  <a:lnTo>
                    <a:pt x="56" y="927"/>
                  </a:lnTo>
                  <a:lnTo>
                    <a:pt x="56" y="928"/>
                  </a:lnTo>
                  <a:lnTo>
                    <a:pt x="56" y="930"/>
                  </a:lnTo>
                  <a:lnTo>
                    <a:pt x="58" y="930"/>
                  </a:lnTo>
                  <a:lnTo>
                    <a:pt x="59" y="927"/>
                  </a:lnTo>
                  <a:lnTo>
                    <a:pt x="59" y="926"/>
                  </a:lnTo>
                  <a:lnTo>
                    <a:pt x="60" y="926"/>
                  </a:lnTo>
                  <a:lnTo>
                    <a:pt x="60" y="927"/>
                  </a:lnTo>
                  <a:lnTo>
                    <a:pt x="59" y="930"/>
                  </a:lnTo>
                  <a:lnTo>
                    <a:pt x="58" y="933"/>
                  </a:lnTo>
                  <a:lnTo>
                    <a:pt x="58" y="934"/>
                  </a:lnTo>
                  <a:lnTo>
                    <a:pt x="59" y="933"/>
                  </a:lnTo>
                  <a:lnTo>
                    <a:pt x="62" y="932"/>
                  </a:lnTo>
                  <a:lnTo>
                    <a:pt x="63" y="930"/>
                  </a:lnTo>
                  <a:lnTo>
                    <a:pt x="63" y="932"/>
                  </a:lnTo>
                  <a:lnTo>
                    <a:pt x="62" y="934"/>
                  </a:lnTo>
                  <a:lnTo>
                    <a:pt x="60" y="937"/>
                  </a:lnTo>
                  <a:lnTo>
                    <a:pt x="59" y="939"/>
                  </a:lnTo>
                  <a:lnTo>
                    <a:pt x="59" y="943"/>
                  </a:lnTo>
                  <a:lnTo>
                    <a:pt x="60" y="943"/>
                  </a:lnTo>
                  <a:lnTo>
                    <a:pt x="62" y="942"/>
                  </a:lnTo>
                  <a:lnTo>
                    <a:pt x="63" y="939"/>
                  </a:lnTo>
                  <a:lnTo>
                    <a:pt x="63" y="937"/>
                  </a:lnTo>
                  <a:lnTo>
                    <a:pt x="64" y="934"/>
                  </a:lnTo>
                  <a:lnTo>
                    <a:pt x="65" y="934"/>
                  </a:lnTo>
                  <a:lnTo>
                    <a:pt x="66" y="936"/>
                  </a:lnTo>
                  <a:lnTo>
                    <a:pt x="68" y="937"/>
                  </a:lnTo>
                  <a:lnTo>
                    <a:pt x="66" y="940"/>
                  </a:lnTo>
                  <a:lnTo>
                    <a:pt x="68" y="942"/>
                  </a:lnTo>
                  <a:lnTo>
                    <a:pt x="69" y="940"/>
                  </a:lnTo>
                  <a:lnTo>
                    <a:pt x="69" y="938"/>
                  </a:lnTo>
                  <a:lnTo>
                    <a:pt x="70" y="937"/>
                  </a:lnTo>
                  <a:lnTo>
                    <a:pt x="71" y="934"/>
                  </a:lnTo>
                  <a:lnTo>
                    <a:pt x="72" y="934"/>
                  </a:lnTo>
                  <a:lnTo>
                    <a:pt x="74" y="936"/>
                  </a:lnTo>
                  <a:lnTo>
                    <a:pt x="72" y="937"/>
                  </a:lnTo>
                  <a:lnTo>
                    <a:pt x="71" y="939"/>
                  </a:lnTo>
                  <a:lnTo>
                    <a:pt x="70" y="942"/>
                  </a:lnTo>
                  <a:lnTo>
                    <a:pt x="69" y="944"/>
                  </a:lnTo>
                  <a:lnTo>
                    <a:pt x="70" y="943"/>
                  </a:lnTo>
                  <a:lnTo>
                    <a:pt x="71" y="942"/>
                  </a:lnTo>
                  <a:lnTo>
                    <a:pt x="72" y="942"/>
                  </a:lnTo>
                  <a:lnTo>
                    <a:pt x="71" y="945"/>
                  </a:lnTo>
                  <a:lnTo>
                    <a:pt x="70" y="948"/>
                  </a:lnTo>
                  <a:lnTo>
                    <a:pt x="69" y="949"/>
                  </a:lnTo>
                  <a:lnTo>
                    <a:pt x="68" y="950"/>
                  </a:lnTo>
                  <a:lnTo>
                    <a:pt x="60" y="952"/>
                  </a:lnTo>
                  <a:lnTo>
                    <a:pt x="59" y="954"/>
                  </a:lnTo>
                  <a:lnTo>
                    <a:pt x="60" y="955"/>
                  </a:lnTo>
                  <a:lnTo>
                    <a:pt x="62" y="955"/>
                  </a:lnTo>
                  <a:lnTo>
                    <a:pt x="63" y="954"/>
                  </a:lnTo>
                  <a:lnTo>
                    <a:pt x="64" y="954"/>
                  </a:lnTo>
                  <a:lnTo>
                    <a:pt x="64" y="956"/>
                  </a:lnTo>
                  <a:lnTo>
                    <a:pt x="64" y="957"/>
                  </a:lnTo>
                  <a:lnTo>
                    <a:pt x="65" y="957"/>
                  </a:lnTo>
                  <a:lnTo>
                    <a:pt x="65" y="956"/>
                  </a:lnTo>
                  <a:lnTo>
                    <a:pt x="66" y="955"/>
                  </a:lnTo>
                  <a:lnTo>
                    <a:pt x="68" y="952"/>
                  </a:lnTo>
                  <a:lnTo>
                    <a:pt x="69" y="952"/>
                  </a:lnTo>
                  <a:lnTo>
                    <a:pt x="69" y="954"/>
                  </a:lnTo>
                  <a:lnTo>
                    <a:pt x="69" y="956"/>
                  </a:lnTo>
                  <a:lnTo>
                    <a:pt x="69" y="959"/>
                  </a:lnTo>
                  <a:lnTo>
                    <a:pt x="69" y="960"/>
                  </a:lnTo>
                  <a:lnTo>
                    <a:pt x="70" y="960"/>
                  </a:lnTo>
                  <a:lnTo>
                    <a:pt x="71" y="959"/>
                  </a:lnTo>
                  <a:lnTo>
                    <a:pt x="71" y="957"/>
                  </a:lnTo>
                  <a:lnTo>
                    <a:pt x="72" y="957"/>
                  </a:lnTo>
                  <a:lnTo>
                    <a:pt x="74" y="960"/>
                  </a:lnTo>
                  <a:lnTo>
                    <a:pt x="74" y="959"/>
                  </a:lnTo>
                  <a:lnTo>
                    <a:pt x="76" y="957"/>
                  </a:lnTo>
                  <a:lnTo>
                    <a:pt x="75" y="956"/>
                  </a:lnTo>
                  <a:lnTo>
                    <a:pt x="75" y="955"/>
                  </a:lnTo>
                  <a:lnTo>
                    <a:pt x="74" y="954"/>
                  </a:lnTo>
                  <a:lnTo>
                    <a:pt x="74" y="951"/>
                  </a:lnTo>
                  <a:lnTo>
                    <a:pt x="75" y="949"/>
                  </a:lnTo>
                  <a:lnTo>
                    <a:pt x="76" y="950"/>
                  </a:lnTo>
                  <a:lnTo>
                    <a:pt x="77" y="951"/>
                  </a:lnTo>
                  <a:lnTo>
                    <a:pt x="77" y="950"/>
                  </a:lnTo>
                  <a:lnTo>
                    <a:pt x="78" y="949"/>
                  </a:lnTo>
                  <a:lnTo>
                    <a:pt x="80" y="954"/>
                  </a:lnTo>
                  <a:lnTo>
                    <a:pt x="81" y="955"/>
                  </a:lnTo>
                  <a:lnTo>
                    <a:pt x="81" y="954"/>
                  </a:lnTo>
                  <a:lnTo>
                    <a:pt x="81" y="950"/>
                  </a:lnTo>
                  <a:lnTo>
                    <a:pt x="82" y="948"/>
                  </a:lnTo>
                  <a:lnTo>
                    <a:pt x="82" y="945"/>
                  </a:lnTo>
                  <a:lnTo>
                    <a:pt x="82" y="943"/>
                  </a:lnTo>
                  <a:lnTo>
                    <a:pt x="83" y="942"/>
                  </a:lnTo>
                  <a:lnTo>
                    <a:pt x="83" y="944"/>
                  </a:lnTo>
                  <a:lnTo>
                    <a:pt x="84" y="944"/>
                  </a:lnTo>
                  <a:lnTo>
                    <a:pt x="84" y="943"/>
                  </a:lnTo>
                  <a:lnTo>
                    <a:pt x="86" y="943"/>
                  </a:lnTo>
                  <a:lnTo>
                    <a:pt x="84" y="945"/>
                  </a:lnTo>
                  <a:lnTo>
                    <a:pt x="84" y="946"/>
                  </a:lnTo>
                  <a:lnTo>
                    <a:pt x="86" y="948"/>
                  </a:lnTo>
                  <a:lnTo>
                    <a:pt x="87" y="949"/>
                  </a:lnTo>
                  <a:lnTo>
                    <a:pt x="87" y="951"/>
                  </a:lnTo>
                  <a:lnTo>
                    <a:pt x="87" y="952"/>
                  </a:lnTo>
                  <a:lnTo>
                    <a:pt x="86" y="954"/>
                  </a:lnTo>
                  <a:lnTo>
                    <a:pt x="84" y="954"/>
                  </a:lnTo>
                  <a:lnTo>
                    <a:pt x="82" y="955"/>
                  </a:lnTo>
                  <a:lnTo>
                    <a:pt x="82" y="956"/>
                  </a:lnTo>
                  <a:lnTo>
                    <a:pt x="83" y="956"/>
                  </a:lnTo>
                  <a:lnTo>
                    <a:pt x="82" y="957"/>
                  </a:lnTo>
                  <a:lnTo>
                    <a:pt x="81" y="960"/>
                  </a:lnTo>
                  <a:lnTo>
                    <a:pt x="80" y="960"/>
                  </a:lnTo>
                  <a:lnTo>
                    <a:pt x="75" y="962"/>
                  </a:lnTo>
                  <a:lnTo>
                    <a:pt x="74" y="962"/>
                  </a:lnTo>
                  <a:lnTo>
                    <a:pt x="71" y="963"/>
                  </a:lnTo>
                  <a:lnTo>
                    <a:pt x="69" y="962"/>
                  </a:lnTo>
                  <a:lnTo>
                    <a:pt x="66" y="962"/>
                  </a:lnTo>
                  <a:lnTo>
                    <a:pt x="64" y="962"/>
                  </a:lnTo>
                  <a:lnTo>
                    <a:pt x="64" y="963"/>
                  </a:lnTo>
                  <a:lnTo>
                    <a:pt x="64" y="965"/>
                  </a:lnTo>
                  <a:lnTo>
                    <a:pt x="62" y="966"/>
                  </a:lnTo>
                  <a:lnTo>
                    <a:pt x="64" y="966"/>
                  </a:lnTo>
                  <a:lnTo>
                    <a:pt x="65" y="966"/>
                  </a:lnTo>
                  <a:lnTo>
                    <a:pt x="66" y="966"/>
                  </a:lnTo>
                  <a:lnTo>
                    <a:pt x="68" y="968"/>
                  </a:lnTo>
                  <a:lnTo>
                    <a:pt x="66" y="969"/>
                  </a:lnTo>
                  <a:lnTo>
                    <a:pt x="68" y="969"/>
                  </a:lnTo>
                  <a:lnTo>
                    <a:pt x="69" y="967"/>
                  </a:lnTo>
                  <a:lnTo>
                    <a:pt x="69" y="966"/>
                  </a:lnTo>
                  <a:lnTo>
                    <a:pt x="71" y="965"/>
                  </a:lnTo>
                  <a:lnTo>
                    <a:pt x="72" y="966"/>
                  </a:lnTo>
                  <a:lnTo>
                    <a:pt x="71" y="967"/>
                  </a:lnTo>
                  <a:lnTo>
                    <a:pt x="70" y="969"/>
                  </a:lnTo>
                  <a:lnTo>
                    <a:pt x="69" y="972"/>
                  </a:lnTo>
                  <a:lnTo>
                    <a:pt x="70" y="974"/>
                  </a:lnTo>
                  <a:lnTo>
                    <a:pt x="71" y="973"/>
                  </a:lnTo>
                  <a:lnTo>
                    <a:pt x="72" y="971"/>
                  </a:lnTo>
                  <a:lnTo>
                    <a:pt x="75" y="968"/>
                  </a:lnTo>
                  <a:lnTo>
                    <a:pt x="75" y="967"/>
                  </a:lnTo>
                  <a:lnTo>
                    <a:pt x="77" y="966"/>
                  </a:lnTo>
                  <a:lnTo>
                    <a:pt x="78" y="963"/>
                  </a:lnTo>
                  <a:lnTo>
                    <a:pt x="80" y="963"/>
                  </a:lnTo>
                  <a:lnTo>
                    <a:pt x="80" y="965"/>
                  </a:lnTo>
                  <a:lnTo>
                    <a:pt x="80" y="967"/>
                  </a:lnTo>
                  <a:lnTo>
                    <a:pt x="80" y="968"/>
                  </a:lnTo>
                  <a:lnTo>
                    <a:pt x="80" y="971"/>
                  </a:lnTo>
                  <a:lnTo>
                    <a:pt x="78" y="974"/>
                  </a:lnTo>
                  <a:lnTo>
                    <a:pt x="78" y="977"/>
                  </a:lnTo>
                  <a:lnTo>
                    <a:pt x="80" y="977"/>
                  </a:lnTo>
                  <a:lnTo>
                    <a:pt x="81" y="974"/>
                  </a:lnTo>
                  <a:lnTo>
                    <a:pt x="81" y="973"/>
                  </a:lnTo>
                  <a:lnTo>
                    <a:pt x="81" y="971"/>
                  </a:lnTo>
                  <a:lnTo>
                    <a:pt x="82" y="968"/>
                  </a:lnTo>
                  <a:lnTo>
                    <a:pt x="82" y="972"/>
                  </a:lnTo>
                  <a:lnTo>
                    <a:pt x="83" y="972"/>
                  </a:lnTo>
                  <a:lnTo>
                    <a:pt x="83" y="969"/>
                  </a:lnTo>
                  <a:lnTo>
                    <a:pt x="83" y="968"/>
                  </a:lnTo>
                  <a:lnTo>
                    <a:pt x="86" y="966"/>
                  </a:lnTo>
                  <a:lnTo>
                    <a:pt x="86" y="965"/>
                  </a:lnTo>
                  <a:lnTo>
                    <a:pt x="86" y="967"/>
                  </a:lnTo>
                  <a:lnTo>
                    <a:pt x="86" y="969"/>
                  </a:lnTo>
                  <a:lnTo>
                    <a:pt x="86" y="972"/>
                  </a:lnTo>
                  <a:lnTo>
                    <a:pt x="88" y="969"/>
                  </a:lnTo>
                  <a:lnTo>
                    <a:pt x="88" y="967"/>
                  </a:lnTo>
                  <a:lnTo>
                    <a:pt x="89" y="965"/>
                  </a:lnTo>
                  <a:lnTo>
                    <a:pt x="91" y="967"/>
                  </a:lnTo>
                  <a:lnTo>
                    <a:pt x="88" y="969"/>
                  </a:lnTo>
                  <a:lnTo>
                    <a:pt x="88" y="972"/>
                  </a:lnTo>
                  <a:lnTo>
                    <a:pt x="88" y="974"/>
                  </a:lnTo>
                  <a:lnTo>
                    <a:pt x="89" y="977"/>
                  </a:lnTo>
                  <a:lnTo>
                    <a:pt x="89" y="979"/>
                  </a:lnTo>
                  <a:lnTo>
                    <a:pt x="88" y="983"/>
                  </a:lnTo>
                  <a:lnTo>
                    <a:pt x="88" y="985"/>
                  </a:lnTo>
                  <a:lnTo>
                    <a:pt x="87" y="989"/>
                  </a:lnTo>
                  <a:lnTo>
                    <a:pt x="88" y="987"/>
                  </a:lnTo>
                  <a:lnTo>
                    <a:pt x="89" y="989"/>
                  </a:lnTo>
                  <a:lnTo>
                    <a:pt x="88" y="990"/>
                  </a:lnTo>
                  <a:lnTo>
                    <a:pt x="86" y="990"/>
                  </a:lnTo>
                  <a:lnTo>
                    <a:pt x="83" y="990"/>
                  </a:lnTo>
                  <a:lnTo>
                    <a:pt x="81" y="990"/>
                  </a:lnTo>
                  <a:lnTo>
                    <a:pt x="80" y="990"/>
                  </a:lnTo>
                  <a:lnTo>
                    <a:pt x="76" y="989"/>
                  </a:lnTo>
                  <a:lnTo>
                    <a:pt x="74" y="989"/>
                  </a:lnTo>
                  <a:lnTo>
                    <a:pt x="71" y="985"/>
                  </a:lnTo>
                  <a:lnTo>
                    <a:pt x="68" y="984"/>
                  </a:lnTo>
                  <a:lnTo>
                    <a:pt x="66" y="981"/>
                  </a:lnTo>
                  <a:lnTo>
                    <a:pt x="65" y="980"/>
                  </a:lnTo>
                  <a:lnTo>
                    <a:pt x="63" y="980"/>
                  </a:lnTo>
                  <a:lnTo>
                    <a:pt x="63" y="977"/>
                  </a:lnTo>
                  <a:lnTo>
                    <a:pt x="62" y="978"/>
                  </a:lnTo>
                  <a:lnTo>
                    <a:pt x="60" y="977"/>
                  </a:lnTo>
                  <a:lnTo>
                    <a:pt x="60" y="975"/>
                  </a:lnTo>
                  <a:lnTo>
                    <a:pt x="59" y="975"/>
                  </a:lnTo>
                  <a:lnTo>
                    <a:pt x="57" y="974"/>
                  </a:lnTo>
                  <a:lnTo>
                    <a:pt x="56" y="977"/>
                  </a:lnTo>
                  <a:lnTo>
                    <a:pt x="54" y="979"/>
                  </a:lnTo>
                  <a:lnTo>
                    <a:pt x="53" y="980"/>
                  </a:lnTo>
                  <a:lnTo>
                    <a:pt x="53" y="981"/>
                  </a:lnTo>
                  <a:lnTo>
                    <a:pt x="56" y="981"/>
                  </a:lnTo>
                  <a:lnTo>
                    <a:pt x="58" y="984"/>
                  </a:lnTo>
                  <a:lnTo>
                    <a:pt x="60" y="986"/>
                  </a:lnTo>
                  <a:lnTo>
                    <a:pt x="63" y="985"/>
                  </a:lnTo>
                  <a:lnTo>
                    <a:pt x="62" y="987"/>
                  </a:lnTo>
                  <a:lnTo>
                    <a:pt x="60" y="989"/>
                  </a:lnTo>
                  <a:lnTo>
                    <a:pt x="58" y="989"/>
                  </a:lnTo>
                  <a:lnTo>
                    <a:pt x="56" y="987"/>
                  </a:lnTo>
                  <a:lnTo>
                    <a:pt x="52" y="986"/>
                  </a:lnTo>
                  <a:lnTo>
                    <a:pt x="50" y="986"/>
                  </a:lnTo>
                  <a:lnTo>
                    <a:pt x="46" y="984"/>
                  </a:lnTo>
                  <a:lnTo>
                    <a:pt x="42" y="983"/>
                  </a:lnTo>
                  <a:lnTo>
                    <a:pt x="39" y="980"/>
                  </a:lnTo>
                  <a:lnTo>
                    <a:pt x="34" y="977"/>
                  </a:lnTo>
                  <a:lnTo>
                    <a:pt x="28" y="972"/>
                  </a:lnTo>
                  <a:lnTo>
                    <a:pt x="22" y="969"/>
                  </a:lnTo>
                  <a:lnTo>
                    <a:pt x="19" y="966"/>
                  </a:lnTo>
                  <a:lnTo>
                    <a:pt x="17" y="966"/>
                  </a:lnTo>
                  <a:lnTo>
                    <a:pt x="16" y="966"/>
                  </a:lnTo>
                  <a:lnTo>
                    <a:pt x="15" y="965"/>
                  </a:lnTo>
                  <a:lnTo>
                    <a:pt x="12" y="963"/>
                  </a:lnTo>
                  <a:lnTo>
                    <a:pt x="10" y="962"/>
                  </a:lnTo>
                  <a:lnTo>
                    <a:pt x="7" y="962"/>
                  </a:lnTo>
                  <a:lnTo>
                    <a:pt x="0" y="960"/>
                  </a:lnTo>
                  <a:lnTo>
                    <a:pt x="0" y="961"/>
                  </a:lnTo>
                  <a:lnTo>
                    <a:pt x="1" y="961"/>
                  </a:lnTo>
                  <a:lnTo>
                    <a:pt x="5" y="963"/>
                  </a:lnTo>
                  <a:lnTo>
                    <a:pt x="5" y="966"/>
                  </a:lnTo>
                  <a:lnTo>
                    <a:pt x="5" y="967"/>
                  </a:lnTo>
                  <a:lnTo>
                    <a:pt x="6" y="967"/>
                  </a:lnTo>
                  <a:lnTo>
                    <a:pt x="9" y="966"/>
                  </a:lnTo>
                  <a:lnTo>
                    <a:pt x="11" y="966"/>
                  </a:lnTo>
                  <a:lnTo>
                    <a:pt x="9" y="967"/>
                  </a:lnTo>
                  <a:lnTo>
                    <a:pt x="7" y="968"/>
                  </a:lnTo>
                  <a:lnTo>
                    <a:pt x="10" y="969"/>
                  </a:lnTo>
                  <a:lnTo>
                    <a:pt x="12" y="969"/>
                  </a:lnTo>
                  <a:lnTo>
                    <a:pt x="15" y="971"/>
                  </a:lnTo>
                  <a:lnTo>
                    <a:pt x="12" y="973"/>
                  </a:lnTo>
                  <a:lnTo>
                    <a:pt x="13" y="974"/>
                  </a:lnTo>
                  <a:lnTo>
                    <a:pt x="16" y="973"/>
                  </a:lnTo>
                  <a:lnTo>
                    <a:pt x="17" y="972"/>
                  </a:lnTo>
                  <a:lnTo>
                    <a:pt x="17" y="973"/>
                  </a:lnTo>
                  <a:lnTo>
                    <a:pt x="16" y="977"/>
                  </a:lnTo>
                  <a:lnTo>
                    <a:pt x="17" y="978"/>
                  </a:lnTo>
                  <a:lnTo>
                    <a:pt x="18" y="975"/>
                  </a:lnTo>
                  <a:lnTo>
                    <a:pt x="19" y="974"/>
                  </a:lnTo>
                  <a:lnTo>
                    <a:pt x="21" y="973"/>
                  </a:lnTo>
                  <a:lnTo>
                    <a:pt x="23" y="974"/>
                  </a:lnTo>
                  <a:lnTo>
                    <a:pt x="21" y="977"/>
                  </a:lnTo>
                  <a:lnTo>
                    <a:pt x="19" y="978"/>
                  </a:lnTo>
                  <a:lnTo>
                    <a:pt x="19" y="979"/>
                  </a:lnTo>
                  <a:lnTo>
                    <a:pt x="21" y="979"/>
                  </a:lnTo>
                  <a:lnTo>
                    <a:pt x="18" y="980"/>
                  </a:lnTo>
                  <a:lnTo>
                    <a:pt x="17" y="981"/>
                  </a:lnTo>
                  <a:lnTo>
                    <a:pt x="17" y="983"/>
                  </a:lnTo>
                  <a:lnTo>
                    <a:pt x="22" y="981"/>
                  </a:lnTo>
                  <a:lnTo>
                    <a:pt x="24" y="979"/>
                  </a:lnTo>
                  <a:lnTo>
                    <a:pt x="27" y="978"/>
                  </a:lnTo>
                  <a:lnTo>
                    <a:pt x="24" y="981"/>
                  </a:lnTo>
                  <a:lnTo>
                    <a:pt x="24" y="985"/>
                  </a:lnTo>
                  <a:lnTo>
                    <a:pt x="25" y="984"/>
                  </a:lnTo>
                  <a:lnTo>
                    <a:pt x="28" y="980"/>
                  </a:lnTo>
                  <a:lnTo>
                    <a:pt x="28" y="981"/>
                  </a:lnTo>
                  <a:lnTo>
                    <a:pt x="27" y="985"/>
                  </a:lnTo>
                  <a:lnTo>
                    <a:pt x="25" y="989"/>
                  </a:lnTo>
                  <a:lnTo>
                    <a:pt x="23" y="993"/>
                  </a:lnTo>
                  <a:lnTo>
                    <a:pt x="24" y="997"/>
                  </a:lnTo>
                  <a:lnTo>
                    <a:pt x="24" y="999"/>
                  </a:lnTo>
                  <a:lnTo>
                    <a:pt x="25" y="997"/>
                  </a:lnTo>
                  <a:lnTo>
                    <a:pt x="27" y="996"/>
                  </a:lnTo>
                  <a:lnTo>
                    <a:pt x="29" y="995"/>
                  </a:lnTo>
                  <a:lnTo>
                    <a:pt x="29" y="992"/>
                  </a:lnTo>
                  <a:lnTo>
                    <a:pt x="30" y="991"/>
                  </a:lnTo>
                  <a:lnTo>
                    <a:pt x="32" y="991"/>
                  </a:lnTo>
                  <a:lnTo>
                    <a:pt x="32" y="993"/>
                  </a:lnTo>
                  <a:lnTo>
                    <a:pt x="30" y="996"/>
                  </a:lnTo>
                  <a:lnTo>
                    <a:pt x="28" y="998"/>
                  </a:lnTo>
                  <a:lnTo>
                    <a:pt x="29" y="999"/>
                  </a:lnTo>
                  <a:lnTo>
                    <a:pt x="30" y="998"/>
                  </a:lnTo>
                  <a:lnTo>
                    <a:pt x="29" y="999"/>
                  </a:lnTo>
                  <a:lnTo>
                    <a:pt x="30" y="1002"/>
                  </a:lnTo>
                  <a:lnTo>
                    <a:pt x="30" y="1003"/>
                  </a:lnTo>
                  <a:lnTo>
                    <a:pt x="32" y="1003"/>
                  </a:lnTo>
                  <a:lnTo>
                    <a:pt x="32" y="1002"/>
                  </a:lnTo>
                  <a:lnTo>
                    <a:pt x="33" y="1001"/>
                  </a:lnTo>
                  <a:lnTo>
                    <a:pt x="34" y="1001"/>
                  </a:lnTo>
                  <a:lnTo>
                    <a:pt x="35" y="999"/>
                  </a:lnTo>
                  <a:lnTo>
                    <a:pt x="34" y="1003"/>
                  </a:lnTo>
                  <a:lnTo>
                    <a:pt x="34" y="1008"/>
                  </a:lnTo>
                  <a:lnTo>
                    <a:pt x="35" y="1007"/>
                  </a:lnTo>
                  <a:lnTo>
                    <a:pt x="36" y="1008"/>
                  </a:lnTo>
                  <a:lnTo>
                    <a:pt x="38" y="1008"/>
                  </a:lnTo>
                  <a:lnTo>
                    <a:pt x="38" y="1005"/>
                  </a:lnTo>
                  <a:lnTo>
                    <a:pt x="38" y="1002"/>
                  </a:lnTo>
                  <a:lnTo>
                    <a:pt x="38" y="999"/>
                  </a:lnTo>
                  <a:lnTo>
                    <a:pt x="39" y="999"/>
                  </a:lnTo>
                  <a:lnTo>
                    <a:pt x="39" y="1002"/>
                  </a:lnTo>
                  <a:lnTo>
                    <a:pt x="40" y="1004"/>
                  </a:lnTo>
                  <a:lnTo>
                    <a:pt x="41" y="1005"/>
                  </a:lnTo>
                  <a:lnTo>
                    <a:pt x="41" y="1002"/>
                  </a:lnTo>
                  <a:lnTo>
                    <a:pt x="42" y="999"/>
                  </a:lnTo>
                  <a:lnTo>
                    <a:pt x="44" y="999"/>
                  </a:lnTo>
                  <a:lnTo>
                    <a:pt x="44" y="1003"/>
                  </a:lnTo>
                  <a:lnTo>
                    <a:pt x="45" y="1003"/>
                  </a:lnTo>
                  <a:lnTo>
                    <a:pt x="45" y="1005"/>
                  </a:lnTo>
                  <a:lnTo>
                    <a:pt x="45" y="1008"/>
                  </a:lnTo>
                  <a:lnTo>
                    <a:pt x="44" y="1010"/>
                  </a:lnTo>
                  <a:lnTo>
                    <a:pt x="44" y="1011"/>
                  </a:lnTo>
                  <a:lnTo>
                    <a:pt x="45" y="1013"/>
                  </a:lnTo>
                  <a:lnTo>
                    <a:pt x="45" y="1014"/>
                  </a:lnTo>
                  <a:lnTo>
                    <a:pt x="45" y="1016"/>
                  </a:lnTo>
                  <a:lnTo>
                    <a:pt x="44" y="1019"/>
                  </a:lnTo>
                  <a:lnTo>
                    <a:pt x="45" y="1020"/>
                  </a:lnTo>
                  <a:lnTo>
                    <a:pt x="46" y="1019"/>
                  </a:lnTo>
                  <a:lnTo>
                    <a:pt x="47" y="1017"/>
                  </a:lnTo>
                  <a:lnTo>
                    <a:pt x="47" y="1015"/>
                  </a:lnTo>
                  <a:lnTo>
                    <a:pt x="48" y="1013"/>
                  </a:lnTo>
                  <a:lnTo>
                    <a:pt x="48" y="1010"/>
                  </a:lnTo>
                  <a:lnTo>
                    <a:pt x="50" y="1011"/>
                  </a:lnTo>
                  <a:lnTo>
                    <a:pt x="52" y="1010"/>
                  </a:lnTo>
                  <a:lnTo>
                    <a:pt x="52" y="1013"/>
                  </a:lnTo>
                  <a:lnTo>
                    <a:pt x="52" y="1015"/>
                  </a:lnTo>
                  <a:lnTo>
                    <a:pt x="53" y="1014"/>
                  </a:lnTo>
                  <a:lnTo>
                    <a:pt x="54" y="1013"/>
                  </a:lnTo>
                  <a:lnTo>
                    <a:pt x="54" y="1010"/>
                  </a:lnTo>
                  <a:lnTo>
                    <a:pt x="56" y="1010"/>
                  </a:lnTo>
                  <a:lnTo>
                    <a:pt x="56" y="1013"/>
                  </a:lnTo>
                  <a:lnTo>
                    <a:pt x="54" y="1015"/>
                  </a:lnTo>
                  <a:lnTo>
                    <a:pt x="52" y="1017"/>
                  </a:lnTo>
                  <a:lnTo>
                    <a:pt x="50" y="1019"/>
                  </a:lnTo>
                  <a:lnTo>
                    <a:pt x="45" y="1021"/>
                  </a:lnTo>
                  <a:lnTo>
                    <a:pt x="44" y="1022"/>
                  </a:lnTo>
                  <a:lnTo>
                    <a:pt x="41" y="1025"/>
                  </a:lnTo>
                  <a:lnTo>
                    <a:pt x="39" y="1025"/>
                  </a:lnTo>
                  <a:lnTo>
                    <a:pt x="30" y="1021"/>
                  </a:lnTo>
                  <a:lnTo>
                    <a:pt x="30" y="1022"/>
                  </a:lnTo>
                  <a:lnTo>
                    <a:pt x="36" y="1025"/>
                  </a:lnTo>
                  <a:lnTo>
                    <a:pt x="38" y="1027"/>
                  </a:lnTo>
                  <a:lnTo>
                    <a:pt x="33" y="1029"/>
                  </a:lnTo>
                  <a:lnTo>
                    <a:pt x="32" y="1031"/>
                  </a:lnTo>
                  <a:lnTo>
                    <a:pt x="33" y="1032"/>
                  </a:lnTo>
                  <a:lnTo>
                    <a:pt x="35" y="1029"/>
                  </a:lnTo>
                  <a:lnTo>
                    <a:pt x="36" y="1029"/>
                  </a:lnTo>
                  <a:lnTo>
                    <a:pt x="36" y="1034"/>
                  </a:lnTo>
                  <a:lnTo>
                    <a:pt x="38" y="1034"/>
                  </a:lnTo>
                  <a:lnTo>
                    <a:pt x="38" y="1031"/>
                  </a:lnTo>
                  <a:lnTo>
                    <a:pt x="39" y="1029"/>
                  </a:lnTo>
                  <a:lnTo>
                    <a:pt x="40" y="1027"/>
                  </a:lnTo>
                  <a:lnTo>
                    <a:pt x="41" y="1027"/>
                  </a:lnTo>
                  <a:lnTo>
                    <a:pt x="41" y="1029"/>
                  </a:lnTo>
                  <a:lnTo>
                    <a:pt x="41" y="1033"/>
                  </a:lnTo>
                  <a:lnTo>
                    <a:pt x="42" y="1033"/>
                  </a:lnTo>
                  <a:lnTo>
                    <a:pt x="44" y="1033"/>
                  </a:lnTo>
                  <a:lnTo>
                    <a:pt x="44" y="1032"/>
                  </a:lnTo>
                  <a:lnTo>
                    <a:pt x="42" y="1031"/>
                  </a:lnTo>
                  <a:lnTo>
                    <a:pt x="44" y="1028"/>
                  </a:lnTo>
                  <a:lnTo>
                    <a:pt x="45" y="1028"/>
                  </a:lnTo>
                  <a:lnTo>
                    <a:pt x="47" y="1028"/>
                  </a:lnTo>
                  <a:lnTo>
                    <a:pt x="48" y="1028"/>
                  </a:lnTo>
                  <a:lnTo>
                    <a:pt x="47" y="1032"/>
                  </a:lnTo>
                  <a:lnTo>
                    <a:pt x="45" y="1034"/>
                  </a:lnTo>
                  <a:lnTo>
                    <a:pt x="42" y="1037"/>
                  </a:lnTo>
                  <a:lnTo>
                    <a:pt x="44" y="1037"/>
                  </a:lnTo>
                  <a:lnTo>
                    <a:pt x="46" y="1034"/>
                  </a:lnTo>
                  <a:lnTo>
                    <a:pt x="46" y="1035"/>
                  </a:lnTo>
                  <a:lnTo>
                    <a:pt x="44" y="1039"/>
                  </a:lnTo>
                  <a:lnTo>
                    <a:pt x="45" y="1041"/>
                  </a:lnTo>
                  <a:lnTo>
                    <a:pt x="46" y="1041"/>
                  </a:lnTo>
                  <a:lnTo>
                    <a:pt x="48" y="1039"/>
                  </a:lnTo>
                  <a:lnTo>
                    <a:pt x="50" y="1037"/>
                  </a:lnTo>
                  <a:lnTo>
                    <a:pt x="52" y="1033"/>
                  </a:lnTo>
                  <a:lnTo>
                    <a:pt x="54" y="1029"/>
                  </a:lnTo>
                  <a:lnTo>
                    <a:pt x="56" y="1029"/>
                  </a:lnTo>
                  <a:lnTo>
                    <a:pt x="58" y="1031"/>
                  </a:lnTo>
                  <a:lnTo>
                    <a:pt x="62" y="1031"/>
                  </a:lnTo>
                  <a:lnTo>
                    <a:pt x="59" y="1035"/>
                  </a:lnTo>
                  <a:lnTo>
                    <a:pt x="56" y="1038"/>
                  </a:lnTo>
                  <a:lnTo>
                    <a:pt x="57" y="1040"/>
                  </a:lnTo>
                  <a:lnTo>
                    <a:pt x="53" y="1041"/>
                  </a:lnTo>
                  <a:lnTo>
                    <a:pt x="50" y="1043"/>
                  </a:lnTo>
                  <a:lnTo>
                    <a:pt x="46" y="1047"/>
                  </a:lnTo>
                  <a:lnTo>
                    <a:pt x="45" y="1050"/>
                  </a:lnTo>
                  <a:lnTo>
                    <a:pt x="47" y="1050"/>
                  </a:lnTo>
                  <a:lnTo>
                    <a:pt x="50" y="1049"/>
                  </a:lnTo>
                  <a:lnTo>
                    <a:pt x="50" y="1050"/>
                  </a:lnTo>
                  <a:lnTo>
                    <a:pt x="51" y="1049"/>
                  </a:lnTo>
                  <a:lnTo>
                    <a:pt x="52" y="1046"/>
                  </a:lnTo>
                  <a:lnTo>
                    <a:pt x="54" y="1044"/>
                  </a:lnTo>
                  <a:lnTo>
                    <a:pt x="57" y="1043"/>
                  </a:lnTo>
                  <a:lnTo>
                    <a:pt x="58" y="1041"/>
                  </a:lnTo>
                  <a:lnTo>
                    <a:pt x="57" y="1045"/>
                  </a:lnTo>
                  <a:lnTo>
                    <a:pt x="54" y="1050"/>
                  </a:lnTo>
                  <a:lnTo>
                    <a:pt x="58" y="1050"/>
                  </a:lnTo>
                  <a:lnTo>
                    <a:pt x="59" y="1049"/>
                  </a:lnTo>
                  <a:lnTo>
                    <a:pt x="59" y="1051"/>
                  </a:lnTo>
                  <a:lnTo>
                    <a:pt x="60" y="1051"/>
                  </a:lnTo>
                  <a:lnTo>
                    <a:pt x="62" y="1050"/>
                  </a:lnTo>
                  <a:lnTo>
                    <a:pt x="63" y="1049"/>
                  </a:lnTo>
                  <a:lnTo>
                    <a:pt x="63" y="1046"/>
                  </a:lnTo>
                  <a:lnTo>
                    <a:pt x="63" y="1043"/>
                  </a:lnTo>
                  <a:lnTo>
                    <a:pt x="64" y="1039"/>
                  </a:lnTo>
                  <a:lnTo>
                    <a:pt x="65" y="1043"/>
                  </a:lnTo>
                  <a:lnTo>
                    <a:pt x="65" y="1044"/>
                  </a:lnTo>
                  <a:lnTo>
                    <a:pt x="65" y="1043"/>
                  </a:lnTo>
                  <a:lnTo>
                    <a:pt x="64" y="1038"/>
                  </a:lnTo>
                  <a:lnTo>
                    <a:pt x="66" y="1035"/>
                  </a:lnTo>
                  <a:lnTo>
                    <a:pt x="68" y="1035"/>
                  </a:lnTo>
                  <a:lnTo>
                    <a:pt x="68" y="1037"/>
                  </a:lnTo>
                  <a:lnTo>
                    <a:pt x="69" y="1033"/>
                  </a:lnTo>
                  <a:lnTo>
                    <a:pt x="69" y="1032"/>
                  </a:lnTo>
                  <a:lnTo>
                    <a:pt x="70" y="1032"/>
                  </a:lnTo>
                  <a:lnTo>
                    <a:pt x="70" y="1034"/>
                  </a:lnTo>
                  <a:lnTo>
                    <a:pt x="70" y="1038"/>
                  </a:lnTo>
                  <a:lnTo>
                    <a:pt x="69" y="1041"/>
                  </a:lnTo>
                  <a:lnTo>
                    <a:pt x="68" y="1044"/>
                  </a:lnTo>
                  <a:lnTo>
                    <a:pt x="69" y="1046"/>
                  </a:lnTo>
                  <a:lnTo>
                    <a:pt x="66" y="1049"/>
                  </a:lnTo>
                  <a:lnTo>
                    <a:pt x="68" y="1051"/>
                  </a:lnTo>
                  <a:lnTo>
                    <a:pt x="68" y="1052"/>
                  </a:lnTo>
                  <a:lnTo>
                    <a:pt x="68" y="1057"/>
                  </a:lnTo>
                  <a:lnTo>
                    <a:pt x="69" y="1056"/>
                  </a:lnTo>
                  <a:lnTo>
                    <a:pt x="71" y="1055"/>
                  </a:lnTo>
                  <a:lnTo>
                    <a:pt x="72" y="1053"/>
                  </a:lnTo>
                  <a:lnTo>
                    <a:pt x="74" y="1052"/>
                  </a:lnTo>
                  <a:lnTo>
                    <a:pt x="74" y="1047"/>
                  </a:lnTo>
                  <a:lnTo>
                    <a:pt x="74" y="1045"/>
                  </a:lnTo>
                  <a:lnTo>
                    <a:pt x="75" y="1046"/>
                  </a:lnTo>
                  <a:lnTo>
                    <a:pt x="75" y="1047"/>
                  </a:lnTo>
                  <a:lnTo>
                    <a:pt x="75" y="1051"/>
                  </a:lnTo>
                  <a:lnTo>
                    <a:pt x="75" y="1053"/>
                  </a:lnTo>
                  <a:lnTo>
                    <a:pt x="75" y="1057"/>
                  </a:lnTo>
                  <a:lnTo>
                    <a:pt x="76" y="1059"/>
                  </a:lnTo>
                  <a:lnTo>
                    <a:pt x="76" y="1058"/>
                  </a:lnTo>
                  <a:lnTo>
                    <a:pt x="77" y="1059"/>
                  </a:lnTo>
                  <a:lnTo>
                    <a:pt x="78" y="1062"/>
                  </a:lnTo>
                  <a:lnTo>
                    <a:pt x="80" y="1062"/>
                  </a:lnTo>
                  <a:lnTo>
                    <a:pt x="80" y="1057"/>
                  </a:lnTo>
                  <a:lnTo>
                    <a:pt x="78" y="1052"/>
                  </a:lnTo>
                  <a:lnTo>
                    <a:pt x="80" y="1049"/>
                  </a:lnTo>
                  <a:lnTo>
                    <a:pt x="80" y="1044"/>
                  </a:lnTo>
                  <a:lnTo>
                    <a:pt x="81" y="1051"/>
                  </a:lnTo>
                  <a:lnTo>
                    <a:pt x="83" y="1050"/>
                  </a:lnTo>
                  <a:lnTo>
                    <a:pt x="83" y="1046"/>
                  </a:lnTo>
                  <a:lnTo>
                    <a:pt x="83" y="1043"/>
                  </a:lnTo>
                  <a:lnTo>
                    <a:pt x="84" y="1040"/>
                  </a:lnTo>
                  <a:lnTo>
                    <a:pt x="84" y="1034"/>
                  </a:lnTo>
                  <a:lnTo>
                    <a:pt x="86" y="1033"/>
                  </a:lnTo>
                  <a:lnTo>
                    <a:pt x="86" y="1038"/>
                  </a:lnTo>
                  <a:lnTo>
                    <a:pt x="86" y="1044"/>
                  </a:lnTo>
                  <a:lnTo>
                    <a:pt x="83" y="1047"/>
                  </a:lnTo>
                  <a:lnTo>
                    <a:pt x="83" y="1051"/>
                  </a:lnTo>
                  <a:lnTo>
                    <a:pt x="82" y="1055"/>
                  </a:lnTo>
                  <a:lnTo>
                    <a:pt x="81" y="1057"/>
                  </a:lnTo>
                  <a:lnTo>
                    <a:pt x="82" y="1058"/>
                  </a:lnTo>
                  <a:lnTo>
                    <a:pt x="83" y="1059"/>
                  </a:lnTo>
                  <a:lnTo>
                    <a:pt x="84" y="1058"/>
                  </a:lnTo>
                  <a:lnTo>
                    <a:pt x="84" y="1057"/>
                  </a:lnTo>
                  <a:lnTo>
                    <a:pt x="86" y="1055"/>
                  </a:lnTo>
                  <a:lnTo>
                    <a:pt x="87" y="1052"/>
                  </a:lnTo>
                  <a:lnTo>
                    <a:pt x="88" y="1051"/>
                  </a:lnTo>
                  <a:lnTo>
                    <a:pt x="87" y="1050"/>
                  </a:lnTo>
                  <a:lnTo>
                    <a:pt x="88" y="1045"/>
                  </a:lnTo>
                  <a:lnTo>
                    <a:pt x="88" y="1046"/>
                  </a:lnTo>
                  <a:lnTo>
                    <a:pt x="88" y="1050"/>
                  </a:lnTo>
                  <a:lnTo>
                    <a:pt x="89" y="1052"/>
                  </a:lnTo>
                  <a:lnTo>
                    <a:pt x="89" y="1053"/>
                  </a:lnTo>
                  <a:lnTo>
                    <a:pt x="92" y="1050"/>
                  </a:lnTo>
                  <a:lnTo>
                    <a:pt x="92" y="1047"/>
                  </a:lnTo>
                  <a:lnTo>
                    <a:pt x="93" y="1046"/>
                  </a:lnTo>
                  <a:lnTo>
                    <a:pt x="94" y="1041"/>
                  </a:lnTo>
                  <a:lnTo>
                    <a:pt x="95" y="1043"/>
                  </a:lnTo>
                  <a:lnTo>
                    <a:pt x="95" y="1046"/>
                  </a:lnTo>
                  <a:lnTo>
                    <a:pt x="93" y="1050"/>
                  </a:lnTo>
                  <a:lnTo>
                    <a:pt x="94" y="1053"/>
                  </a:lnTo>
                  <a:lnTo>
                    <a:pt x="94" y="1056"/>
                  </a:lnTo>
                  <a:lnTo>
                    <a:pt x="95" y="1057"/>
                  </a:lnTo>
                  <a:lnTo>
                    <a:pt x="97" y="1056"/>
                  </a:lnTo>
                  <a:lnTo>
                    <a:pt x="97" y="1058"/>
                  </a:lnTo>
                  <a:lnTo>
                    <a:pt x="95" y="1061"/>
                  </a:lnTo>
                  <a:lnTo>
                    <a:pt x="94" y="1062"/>
                  </a:lnTo>
                  <a:lnTo>
                    <a:pt x="91" y="1064"/>
                  </a:lnTo>
                  <a:lnTo>
                    <a:pt x="92" y="1065"/>
                  </a:lnTo>
                  <a:lnTo>
                    <a:pt x="94" y="1063"/>
                  </a:lnTo>
                  <a:lnTo>
                    <a:pt x="94" y="1065"/>
                  </a:lnTo>
                  <a:lnTo>
                    <a:pt x="93" y="1068"/>
                  </a:lnTo>
                  <a:lnTo>
                    <a:pt x="94" y="1068"/>
                  </a:lnTo>
                  <a:lnTo>
                    <a:pt x="95" y="1069"/>
                  </a:lnTo>
                  <a:lnTo>
                    <a:pt x="97" y="1069"/>
                  </a:lnTo>
                  <a:lnTo>
                    <a:pt x="101" y="1062"/>
                  </a:lnTo>
                  <a:lnTo>
                    <a:pt x="101" y="1059"/>
                  </a:lnTo>
                  <a:lnTo>
                    <a:pt x="101" y="1058"/>
                  </a:lnTo>
                  <a:lnTo>
                    <a:pt x="101" y="1051"/>
                  </a:lnTo>
                  <a:lnTo>
                    <a:pt x="103" y="1047"/>
                  </a:lnTo>
                  <a:lnTo>
                    <a:pt x="103" y="1043"/>
                  </a:lnTo>
                  <a:lnTo>
                    <a:pt x="103" y="1041"/>
                  </a:lnTo>
                  <a:lnTo>
                    <a:pt x="104" y="1041"/>
                  </a:lnTo>
                  <a:lnTo>
                    <a:pt x="104" y="1044"/>
                  </a:lnTo>
                  <a:lnTo>
                    <a:pt x="104" y="1045"/>
                  </a:lnTo>
                  <a:lnTo>
                    <a:pt x="106" y="1046"/>
                  </a:lnTo>
                  <a:lnTo>
                    <a:pt x="105" y="1050"/>
                  </a:lnTo>
                  <a:lnTo>
                    <a:pt x="105" y="1053"/>
                  </a:lnTo>
                  <a:lnTo>
                    <a:pt x="105" y="1057"/>
                  </a:lnTo>
                  <a:lnTo>
                    <a:pt x="105" y="1058"/>
                  </a:lnTo>
                  <a:lnTo>
                    <a:pt x="105" y="1059"/>
                  </a:lnTo>
                  <a:lnTo>
                    <a:pt x="104" y="1062"/>
                  </a:lnTo>
                  <a:lnTo>
                    <a:pt x="103" y="1063"/>
                  </a:lnTo>
                  <a:lnTo>
                    <a:pt x="101" y="1065"/>
                  </a:lnTo>
                  <a:lnTo>
                    <a:pt x="100" y="1068"/>
                  </a:lnTo>
                  <a:lnTo>
                    <a:pt x="100" y="1072"/>
                  </a:lnTo>
                  <a:lnTo>
                    <a:pt x="100" y="1074"/>
                  </a:lnTo>
                  <a:lnTo>
                    <a:pt x="100" y="1076"/>
                  </a:lnTo>
                  <a:lnTo>
                    <a:pt x="101" y="1078"/>
                  </a:lnTo>
                  <a:lnTo>
                    <a:pt x="100" y="1081"/>
                  </a:lnTo>
                  <a:lnTo>
                    <a:pt x="100" y="1084"/>
                  </a:lnTo>
                  <a:lnTo>
                    <a:pt x="98" y="1085"/>
                  </a:lnTo>
                  <a:lnTo>
                    <a:pt x="94" y="1086"/>
                  </a:lnTo>
                  <a:lnTo>
                    <a:pt x="92" y="1085"/>
                  </a:lnTo>
                  <a:lnTo>
                    <a:pt x="87" y="1082"/>
                  </a:lnTo>
                  <a:lnTo>
                    <a:pt x="83" y="1080"/>
                  </a:lnTo>
                  <a:lnTo>
                    <a:pt x="82" y="1080"/>
                  </a:lnTo>
                  <a:lnTo>
                    <a:pt x="80" y="1080"/>
                  </a:lnTo>
                  <a:lnTo>
                    <a:pt x="77" y="1079"/>
                  </a:lnTo>
                  <a:lnTo>
                    <a:pt x="74" y="1078"/>
                  </a:lnTo>
                  <a:lnTo>
                    <a:pt x="71" y="1076"/>
                  </a:lnTo>
                  <a:lnTo>
                    <a:pt x="70" y="1080"/>
                  </a:lnTo>
                  <a:lnTo>
                    <a:pt x="72" y="1080"/>
                  </a:lnTo>
                  <a:lnTo>
                    <a:pt x="71" y="1082"/>
                  </a:lnTo>
                  <a:lnTo>
                    <a:pt x="72" y="1082"/>
                  </a:lnTo>
                  <a:lnTo>
                    <a:pt x="75" y="1082"/>
                  </a:lnTo>
                  <a:lnTo>
                    <a:pt x="74" y="1085"/>
                  </a:lnTo>
                  <a:lnTo>
                    <a:pt x="74" y="1086"/>
                  </a:lnTo>
                  <a:lnTo>
                    <a:pt x="76" y="1085"/>
                  </a:lnTo>
                  <a:lnTo>
                    <a:pt x="77" y="1084"/>
                  </a:lnTo>
                  <a:lnTo>
                    <a:pt x="78" y="1084"/>
                  </a:lnTo>
                  <a:lnTo>
                    <a:pt x="80" y="1085"/>
                  </a:lnTo>
                  <a:lnTo>
                    <a:pt x="76" y="1087"/>
                  </a:lnTo>
                  <a:lnTo>
                    <a:pt x="76" y="1088"/>
                  </a:lnTo>
                  <a:lnTo>
                    <a:pt x="77" y="1090"/>
                  </a:lnTo>
                  <a:lnTo>
                    <a:pt x="80" y="1091"/>
                  </a:lnTo>
                  <a:lnTo>
                    <a:pt x="81" y="1090"/>
                  </a:lnTo>
                  <a:lnTo>
                    <a:pt x="82" y="1088"/>
                  </a:lnTo>
                  <a:lnTo>
                    <a:pt x="81" y="1091"/>
                  </a:lnTo>
                  <a:lnTo>
                    <a:pt x="81" y="1093"/>
                  </a:lnTo>
                  <a:lnTo>
                    <a:pt x="81" y="1094"/>
                  </a:lnTo>
                  <a:lnTo>
                    <a:pt x="82" y="1094"/>
                  </a:lnTo>
                  <a:lnTo>
                    <a:pt x="82" y="1096"/>
                  </a:lnTo>
                  <a:lnTo>
                    <a:pt x="83" y="1098"/>
                  </a:lnTo>
                  <a:lnTo>
                    <a:pt x="84" y="1099"/>
                  </a:lnTo>
                  <a:lnTo>
                    <a:pt x="86" y="1099"/>
                  </a:lnTo>
                  <a:lnTo>
                    <a:pt x="87" y="1099"/>
                  </a:lnTo>
                  <a:lnTo>
                    <a:pt x="87" y="1102"/>
                  </a:lnTo>
                  <a:lnTo>
                    <a:pt x="89" y="1104"/>
                  </a:lnTo>
                  <a:lnTo>
                    <a:pt x="87" y="1104"/>
                  </a:lnTo>
                  <a:lnTo>
                    <a:pt x="87" y="1106"/>
                  </a:lnTo>
                  <a:lnTo>
                    <a:pt x="88" y="1106"/>
                  </a:lnTo>
                  <a:lnTo>
                    <a:pt x="89" y="1108"/>
                  </a:lnTo>
                  <a:lnTo>
                    <a:pt x="91" y="1108"/>
                  </a:lnTo>
                  <a:lnTo>
                    <a:pt x="92" y="1105"/>
                  </a:lnTo>
                  <a:lnTo>
                    <a:pt x="93" y="1106"/>
                  </a:lnTo>
                  <a:lnTo>
                    <a:pt x="94" y="1106"/>
                  </a:lnTo>
                  <a:lnTo>
                    <a:pt x="95" y="1103"/>
                  </a:lnTo>
                  <a:lnTo>
                    <a:pt x="97" y="1102"/>
                  </a:lnTo>
                  <a:lnTo>
                    <a:pt x="98" y="1103"/>
                  </a:lnTo>
                  <a:lnTo>
                    <a:pt x="97" y="1105"/>
                  </a:lnTo>
                  <a:lnTo>
                    <a:pt x="94" y="1108"/>
                  </a:lnTo>
                  <a:lnTo>
                    <a:pt x="94" y="1109"/>
                  </a:lnTo>
                  <a:lnTo>
                    <a:pt x="97" y="1109"/>
                  </a:lnTo>
                  <a:lnTo>
                    <a:pt x="97" y="1111"/>
                  </a:lnTo>
                  <a:lnTo>
                    <a:pt x="97" y="1112"/>
                  </a:lnTo>
                  <a:lnTo>
                    <a:pt x="99" y="1112"/>
                  </a:lnTo>
                  <a:lnTo>
                    <a:pt x="101" y="1114"/>
                  </a:lnTo>
                  <a:lnTo>
                    <a:pt x="104" y="1112"/>
                  </a:lnTo>
                  <a:lnTo>
                    <a:pt x="105" y="1114"/>
                  </a:lnTo>
                  <a:lnTo>
                    <a:pt x="106" y="1114"/>
                  </a:lnTo>
                  <a:lnTo>
                    <a:pt x="109" y="1112"/>
                  </a:lnTo>
                  <a:lnTo>
                    <a:pt x="110" y="1114"/>
                  </a:lnTo>
                  <a:lnTo>
                    <a:pt x="111" y="1115"/>
                  </a:lnTo>
                  <a:lnTo>
                    <a:pt x="113" y="1114"/>
                  </a:lnTo>
                  <a:lnTo>
                    <a:pt x="113" y="1112"/>
                  </a:lnTo>
                  <a:lnTo>
                    <a:pt x="115" y="1112"/>
                  </a:lnTo>
                  <a:lnTo>
                    <a:pt x="116" y="1111"/>
                  </a:lnTo>
                  <a:lnTo>
                    <a:pt x="118" y="1111"/>
                  </a:lnTo>
                  <a:lnTo>
                    <a:pt x="118" y="1110"/>
                  </a:lnTo>
                  <a:lnTo>
                    <a:pt x="121" y="1112"/>
                  </a:lnTo>
                  <a:lnTo>
                    <a:pt x="122" y="1112"/>
                  </a:lnTo>
                  <a:lnTo>
                    <a:pt x="123" y="1112"/>
                  </a:lnTo>
                  <a:lnTo>
                    <a:pt x="124" y="1111"/>
                  </a:lnTo>
                  <a:lnTo>
                    <a:pt x="125" y="1111"/>
                  </a:lnTo>
                  <a:lnTo>
                    <a:pt x="127" y="1114"/>
                  </a:lnTo>
                  <a:lnTo>
                    <a:pt x="128" y="1114"/>
                  </a:lnTo>
                  <a:lnTo>
                    <a:pt x="129" y="1114"/>
                  </a:lnTo>
                  <a:lnTo>
                    <a:pt x="130" y="1114"/>
                  </a:lnTo>
                  <a:lnTo>
                    <a:pt x="131" y="1114"/>
                  </a:lnTo>
                  <a:lnTo>
                    <a:pt x="133" y="1115"/>
                  </a:lnTo>
                  <a:lnTo>
                    <a:pt x="134" y="1114"/>
                  </a:lnTo>
                  <a:lnTo>
                    <a:pt x="134" y="1112"/>
                  </a:lnTo>
                  <a:lnTo>
                    <a:pt x="136" y="1112"/>
                  </a:lnTo>
                  <a:lnTo>
                    <a:pt x="136" y="1114"/>
                  </a:lnTo>
                  <a:lnTo>
                    <a:pt x="137" y="1114"/>
                  </a:lnTo>
                  <a:lnTo>
                    <a:pt x="140" y="1114"/>
                  </a:lnTo>
                  <a:lnTo>
                    <a:pt x="141" y="1114"/>
                  </a:lnTo>
                  <a:lnTo>
                    <a:pt x="142" y="1115"/>
                  </a:lnTo>
                  <a:lnTo>
                    <a:pt x="145" y="1116"/>
                  </a:lnTo>
                  <a:lnTo>
                    <a:pt x="146" y="1117"/>
                  </a:lnTo>
                  <a:lnTo>
                    <a:pt x="147" y="1120"/>
                  </a:lnTo>
                  <a:lnTo>
                    <a:pt x="148" y="1121"/>
                  </a:lnTo>
                  <a:lnTo>
                    <a:pt x="148" y="1122"/>
                  </a:lnTo>
                  <a:lnTo>
                    <a:pt x="151" y="1123"/>
                  </a:lnTo>
                  <a:lnTo>
                    <a:pt x="153" y="1123"/>
                  </a:lnTo>
                  <a:lnTo>
                    <a:pt x="154" y="1122"/>
                  </a:lnTo>
                  <a:lnTo>
                    <a:pt x="152" y="1124"/>
                  </a:lnTo>
                  <a:lnTo>
                    <a:pt x="151" y="1126"/>
                  </a:lnTo>
                  <a:lnTo>
                    <a:pt x="152" y="1127"/>
                  </a:lnTo>
                  <a:lnTo>
                    <a:pt x="152" y="1126"/>
                  </a:lnTo>
                  <a:lnTo>
                    <a:pt x="154" y="1126"/>
                  </a:lnTo>
                  <a:lnTo>
                    <a:pt x="156" y="1126"/>
                  </a:lnTo>
                  <a:lnTo>
                    <a:pt x="156" y="1127"/>
                  </a:lnTo>
                  <a:lnTo>
                    <a:pt x="154" y="1127"/>
                  </a:lnTo>
                  <a:lnTo>
                    <a:pt x="153" y="1129"/>
                  </a:lnTo>
                  <a:lnTo>
                    <a:pt x="154" y="1129"/>
                  </a:lnTo>
                  <a:lnTo>
                    <a:pt x="154" y="1132"/>
                  </a:lnTo>
                  <a:lnTo>
                    <a:pt x="156" y="1130"/>
                  </a:lnTo>
                  <a:lnTo>
                    <a:pt x="157" y="1130"/>
                  </a:lnTo>
                  <a:lnTo>
                    <a:pt x="158" y="1132"/>
                  </a:lnTo>
                  <a:lnTo>
                    <a:pt x="157" y="1133"/>
                  </a:lnTo>
                  <a:lnTo>
                    <a:pt x="158" y="1134"/>
                  </a:lnTo>
                  <a:lnTo>
                    <a:pt x="159" y="1134"/>
                  </a:lnTo>
                  <a:lnTo>
                    <a:pt x="159" y="1135"/>
                  </a:lnTo>
                  <a:lnTo>
                    <a:pt x="160" y="1136"/>
                  </a:lnTo>
                  <a:lnTo>
                    <a:pt x="162" y="1134"/>
                  </a:lnTo>
                  <a:lnTo>
                    <a:pt x="163" y="1134"/>
                  </a:lnTo>
                  <a:lnTo>
                    <a:pt x="163" y="1136"/>
                  </a:lnTo>
                  <a:lnTo>
                    <a:pt x="160" y="1139"/>
                  </a:lnTo>
                  <a:lnTo>
                    <a:pt x="160" y="1141"/>
                  </a:lnTo>
                  <a:lnTo>
                    <a:pt x="162" y="1141"/>
                  </a:lnTo>
                  <a:lnTo>
                    <a:pt x="163" y="1140"/>
                  </a:lnTo>
                  <a:lnTo>
                    <a:pt x="164" y="1138"/>
                  </a:lnTo>
                  <a:lnTo>
                    <a:pt x="165" y="1135"/>
                  </a:lnTo>
                  <a:lnTo>
                    <a:pt x="165" y="1138"/>
                  </a:lnTo>
                  <a:lnTo>
                    <a:pt x="164" y="1140"/>
                  </a:lnTo>
                  <a:lnTo>
                    <a:pt x="165" y="1141"/>
                  </a:lnTo>
                  <a:lnTo>
                    <a:pt x="165" y="1142"/>
                  </a:lnTo>
                  <a:lnTo>
                    <a:pt x="164" y="1144"/>
                  </a:lnTo>
                  <a:lnTo>
                    <a:pt x="164" y="1146"/>
                  </a:lnTo>
                  <a:lnTo>
                    <a:pt x="164" y="1150"/>
                  </a:lnTo>
                  <a:lnTo>
                    <a:pt x="163" y="1151"/>
                  </a:lnTo>
                  <a:lnTo>
                    <a:pt x="162" y="1153"/>
                  </a:lnTo>
                  <a:lnTo>
                    <a:pt x="160" y="1156"/>
                  </a:lnTo>
                  <a:lnTo>
                    <a:pt x="159" y="1159"/>
                  </a:lnTo>
                  <a:lnTo>
                    <a:pt x="156" y="1163"/>
                  </a:lnTo>
                  <a:lnTo>
                    <a:pt x="154" y="1165"/>
                  </a:lnTo>
                  <a:lnTo>
                    <a:pt x="152" y="1166"/>
                  </a:lnTo>
                  <a:lnTo>
                    <a:pt x="154" y="1169"/>
                  </a:lnTo>
                  <a:lnTo>
                    <a:pt x="154" y="1170"/>
                  </a:lnTo>
                  <a:lnTo>
                    <a:pt x="154" y="1171"/>
                  </a:lnTo>
                  <a:lnTo>
                    <a:pt x="156" y="1172"/>
                  </a:lnTo>
                  <a:lnTo>
                    <a:pt x="156" y="1174"/>
                  </a:lnTo>
                  <a:lnTo>
                    <a:pt x="157" y="1176"/>
                  </a:lnTo>
                  <a:lnTo>
                    <a:pt x="157" y="1175"/>
                  </a:lnTo>
                  <a:lnTo>
                    <a:pt x="158" y="1175"/>
                  </a:lnTo>
                  <a:lnTo>
                    <a:pt x="159" y="1176"/>
                  </a:lnTo>
                  <a:lnTo>
                    <a:pt x="160" y="1176"/>
                  </a:lnTo>
                  <a:lnTo>
                    <a:pt x="158" y="1180"/>
                  </a:lnTo>
                  <a:lnTo>
                    <a:pt x="157" y="1181"/>
                  </a:lnTo>
                  <a:lnTo>
                    <a:pt x="158" y="1181"/>
                  </a:lnTo>
                  <a:lnTo>
                    <a:pt x="159" y="1180"/>
                  </a:lnTo>
                  <a:lnTo>
                    <a:pt x="162" y="1177"/>
                  </a:lnTo>
                  <a:lnTo>
                    <a:pt x="163" y="1175"/>
                  </a:lnTo>
                  <a:lnTo>
                    <a:pt x="165" y="1172"/>
                  </a:lnTo>
                  <a:lnTo>
                    <a:pt x="166" y="1171"/>
                  </a:lnTo>
                  <a:lnTo>
                    <a:pt x="169" y="1170"/>
                  </a:lnTo>
                  <a:lnTo>
                    <a:pt x="170" y="1172"/>
                  </a:lnTo>
                  <a:lnTo>
                    <a:pt x="171" y="1172"/>
                  </a:lnTo>
                  <a:lnTo>
                    <a:pt x="174" y="1174"/>
                  </a:lnTo>
                  <a:lnTo>
                    <a:pt x="176" y="1175"/>
                  </a:lnTo>
                  <a:lnTo>
                    <a:pt x="176" y="1176"/>
                  </a:lnTo>
                  <a:lnTo>
                    <a:pt x="177" y="1177"/>
                  </a:lnTo>
                  <a:lnTo>
                    <a:pt x="177" y="1179"/>
                  </a:lnTo>
                  <a:lnTo>
                    <a:pt x="178" y="1179"/>
                  </a:lnTo>
                  <a:lnTo>
                    <a:pt x="180" y="1179"/>
                  </a:lnTo>
                  <a:lnTo>
                    <a:pt x="181" y="1180"/>
                  </a:lnTo>
                  <a:lnTo>
                    <a:pt x="180" y="1181"/>
                  </a:lnTo>
                  <a:lnTo>
                    <a:pt x="181" y="1182"/>
                  </a:lnTo>
                  <a:lnTo>
                    <a:pt x="182" y="1183"/>
                  </a:lnTo>
                  <a:lnTo>
                    <a:pt x="183" y="1182"/>
                  </a:lnTo>
                  <a:lnTo>
                    <a:pt x="184" y="1183"/>
                  </a:lnTo>
                  <a:lnTo>
                    <a:pt x="183" y="1185"/>
                  </a:lnTo>
                  <a:lnTo>
                    <a:pt x="183" y="1187"/>
                  </a:lnTo>
                  <a:lnTo>
                    <a:pt x="186" y="1186"/>
                  </a:lnTo>
                  <a:lnTo>
                    <a:pt x="186" y="1185"/>
                  </a:lnTo>
                  <a:lnTo>
                    <a:pt x="187" y="1187"/>
                  </a:lnTo>
                  <a:lnTo>
                    <a:pt x="188" y="1187"/>
                  </a:lnTo>
                  <a:lnTo>
                    <a:pt x="190" y="1187"/>
                  </a:lnTo>
                  <a:lnTo>
                    <a:pt x="192" y="1187"/>
                  </a:lnTo>
                  <a:lnTo>
                    <a:pt x="192" y="1186"/>
                  </a:lnTo>
                  <a:lnTo>
                    <a:pt x="192" y="1182"/>
                  </a:lnTo>
                  <a:lnTo>
                    <a:pt x="194" y="1179"/>
                  </a:lnTo>
                  <a:lnTo>
                    <a:pt x="194" y="1177"/>
                  </a:lnTo>
                  <a:lnTo>
                    <a:pt x="193" y="1175"/>
                  </a:lnTo>
                  <a:lnTo>
                    <a:pt x="193" y="1172"/>
                  </a:lnTo>
                  <a:lnTo>
                    <a:pt x="193" y="1171"/>
                  </a:lnTo>
                  <a:lnTo>
                    <a:pt x="193" y="1168"/>
                  </a:lnTo>
                  <a:lnTo>
                    <a:pt x="190" y="1166"/>
                  </a:lnTo>
                  <a:lnTo>
                    <a:pt x="189" y="1166"/>
                  </a:lnTo>
                  <a:lnTo>
                    <a:pt x="189" y="1165"/>
                  </a:lnTo>
                  <a:lnTo>
                    <a:pt x="190" y="1163"/>
                  </a:lnTo>
                  <a:lnTo>
                    <a:pt x="192" y="1159"/>
                  </a:lnTo>
                  <a:lnTo>
                    <a:pt x="193" y="1158"/>
                  </a:lnTo>
                  <a:lnTo>
                    <a:pt x="196" y="1157"/>
                  </a:lnTo>
                  <a:lnTo>
                    <a:pt x="198" y="1158"/>
                  </a:lnTo>
                  <a:lnTo>
                    <a:pt x="199" y="1157"/>
                  </a:lnTo>
                  <a:lnTo>
                    <a:pt x="200" y="1154"/>
                  </a:lnTo>
                  <a:lnTo>
                    <a:pt x="201" y="1154"/>
                  </a:lnTo>
                  <a:lnTo>
                    <a:pt x="204" y="1156"/>
                  </a:lnTo>
                  <a:lnTo>
                    <a:pt x="205" y="1156"/>
                  </a:lnTo>
                  <a:lnTo>
                    <a:pt x="207" y="1156"/>
                  </a:lnTo>
                  <a:lnTo>
                    <a:pt x="209" y="1157"/>
                  </a:lnTo>
                  <a:lnTo>
                    <a:pt x="210" y="1157"/>
                  </a:lnTo>
                  <a:lnTo>
                    <a:pt x="212" y="1158"/>
                  </a:lnTo>
                  <a:lnTo>
                    <a:pt x="213" y="1157"/>
                  </a:lnTo>
                  <a:lnTo>
                    <a:pt x="215" y="1156"/>
                  </a:lnTo>
                  <a:lnTo>
                    <a:pt x="215" y="1157"/>
                  </a:lnTo>
                  <a:lnTo>
                    <a:pt x="216" y="1156"/>
                  </a:lnTo>
                  <a:lnTo>
                    <a:pt x="216" y="1154"/>
                  </a:lnTo>
                  <a:lnTo>
                    <a:pt x="217" y="1153"/>
                  </a:lnTo>
                  <a:lnTo>
                    <a:pt x="218" y="1153"/>
                  </a:lnTo>
                  <a:lnTo>
                    <a:pt x="221" y="1152"/>
                  </a:lnTo>
                  <a:lnTo>
                    <a:pt x="221" y="1151"/>
                  </a:lnTo>
                  <a:lnTo>
                    <a:pt x="222" y="1148"/>
                  </a:lnTo>
                  <a:lnTo>
                    <a:pt x="223" y="1147"/>
                  </a:lnTo>
                  <a:lnTo>
                    <a:pt x="227" y="1148"/>
                  </a:lnTo>
                  <a:lnTo>
                    <a:pt x="227" y="1147"/>
                  </a:lnTo>
                  <a:lnTo>
                    <a:pt x="228" y="1147"/>
                  </a:lnTo>
                  <a:lnTo>
                    <a:pt x="227" y="1150"/>
                  </a:lnTo>
                  <a:lnTo>
                    <a:pt x="228" y="1151"/>
                  </a:lnTo>
                  <a:lnTo>
                    <a:pt x="230" y="1151"/>
                  </a:lnTo>
                  <a:lnTo>
                    <a:pt x="231" y="1150"/>
                  </a:lnTo>
                  <a:lnTo>
                    <a:pt x="231" y="1147"/>
                  </a:lnTo>
                  <a:lnTo>
                    <a:pt x="231" y="1145"/>
                  </a:lnTo>
                  <a:lnTo>
                    <a:pt x="231" y="1144"/>
                  </a:lnTo>
                  <a:lnTo>
                    <a:pt x="231" y="1146"/>
                  </a:lnTo>
                  <a:lnTo>
                    <a:pt x="231" y="1148"/>
                  </a:lnTo>
                  <a:lnTo>
                    <a:pt x="233" y="1150"/>
                  </a:lnTo>
                  <a:lnTo>
                    <a:pt x="234" y="1148"/>
                  </a:lnTo>
                  <a:lnTo>
                    <a:pt x="234" y="1150"/>
                  </a:lnTo>
                  <a:lnTo>
                    <a:pt x="233" y="1151"/>
                  </a:lnTo>
                  <a:lnTo>
                    <a:pt x="233" y="1153"/>
                  </a:lnTo>
                  <a:lnTo>
                    <a:pt x="234" y="1154"/>
                  </a:lnTo>
                  <a:lnTo>
                    <a:pt x="235" y="1153"/>
                  </a:lnTo>
                  <a:lnTo>
                    <a:pt x="236" y="1153"/>
                  </a:lnTo>
                  <a:lnTo>
                    <a:pt x="237" y="1152"/>
                  </a:lnTo>
                  <a:lnTo>
                    <a:pt x="237" y="1154"/>
                  </a:lnTo>
                  <a:lnTo>
                    <a:pt x="239" y="1153"/>
                  </a:lnTo>
                  <a:lnTo>
                    <a:pt x="239" y="1152"/>
                  </a:lnTo>
                  <a:lnTo>
                    <a:pt x="239" y="1151"/>
                  </a:lnTo>
                  <a:lnTo>
                    <a:pt x="240" y="1150"/>
                  </a:lnTo>
                  <a:lnTo>
                    <a:pt x="240" y="1153"/>
                  </a:lnTo>
                  <a:lnTo>
                    <a:pt x="241" y="1153"/>
                  </a:lnTo>
                  <a:lnTo>
                    <a:pt x="241" y="1156"/>
                  </a:lnTo>
                  <a:lnTo>
                    <a:pt x="241" y="1157"/>
                  </a:lnTo>
                  <a:lnTo>
                    <a:pt x="242" y="1157"/>
                  </a:lnTo>
                  <a:lnTo>
                    <a:pt x="243" y="1158"/>
                  </a:lnTo>
                  <a:lnTo>
                    <a:pt x="247" y="1156"/>
                  </a:lnTo>
                  <a:lnTo>
                    <a:pt x="247" y="1160"/>
                  </a:lnTo>
                  <a:lnTo>
                    <a:pt x="248" y="1157"/>
                  </a:lnTo>
                  <a:lnTo>
                    <a:pt x="247" y="1154"/>
                  </a:lnTo>
                  <a:lnTo>
                    <a:pt x="251" y="1157"/>
                  </a:lnTo>
                  <a:lnTo>
                    <a:pt x="252" y="1158"/>
                  </a:lnTo>
                  <a:lnTo>
                    <a:pt x="251" y="1159"/>
                  </a:lnTo>
                  <a:lnTo>
                    <a:pt x="251" y="1160"/>
                  </a:lnTo>
                  <a:lnTo>
                    <a:pt x="251" y="1163"/>
                  </a:lnTo>
                  <a:lnTo>
                    <a:pt x="252" y="1162"/>
                  </a:lnTo>
                  <a:lnTo>
                    <a:pt x="253" y="1160"/>
                  </a:lnTo>
                  <a:lnTo>
                    <a:pt x="255" y="1159"/>
                  </a:lnTo>
                  <a:lnTo>
                    <a:pt x="257" y="1159"/>
                  </a:lnTo>
                  <a:lnTo>
                    <a:pt x="257" y="1158"/>
                  </a:lnTo>
                  <a:lnTo>
                    <a:pt x="258" y="1160"/>
                  </a:lnTo>
                  <a:lnTo>
                    <a:pt x="258" y="1162"/>
                  </a:lnTo>
                  <a:lnTo>
                    <a:pt x="260" y="1163"/>
                  </a:lnTo>
                  <a:lnTo>
                    <a:pt x="263" y="1162"/>
                  </a:lnTo>
                  <a:lnTo>
                    <a:pt x="264" y="1160"/>
                  </a:lnTo>
                  <a:lnTo>
                    <a:pt x="266" y="1159"/>
                  </a:lnTo>
                  <a:lnTo>
                    <a:pt x="269" y="1158"/>
                  </a:lnTo>
                  <a:lnTo>
                    <a:pt x="270" y="1157"/>
                  </a:lnTo>
                  <a:lnTo>
                    <a:pt x="270" y="1156"/>
                  </a:lnTo>
                  <a:lnTo>
                    <a:pt x="271" y="1154"/>
                  </a:lnTo>
                  <a:lnTo>
                    <a:pt x="271" y="1157"/>
                  </a:lnTo>
                  <a:lnTo>
                    <a:pt x="271" y="1159"/>
                  </a:lnTo>
                  <a:lnTo>
                    <a:pt x="272" y="1159"/>
                  </a:lnTo>
                  <a:lnTo>
                    <a:pt x="274" y="1160"/>
                  </a:lnTo>
                  <a:lnTo>
                    <a:pt x="276" y="1162"/>
                  </a:lnTo>
                  <a:lnTo>
                    <a:pt x="277" y="1163"/>
                  </a:lnTo>
                  <a:lnTo>
                    <a:pt x="278" y="1164"/>
                  </a:lnTo>
                  <a:lnTo>
                    <a:pt x="278" y="1165"/>
                  </a:lnTo>
                  <a:lnTo>
                    <a:pt x="280" y="1166"/>
                  </a:lnTo>
                  <a:lnTo>
                    <a:pt x="282" y="1168"/>
                  </a:lnTo>
                  <a:lnTo>
                    <a:pt x="281" y="1169"/>
                  </a:lnTo>
                  <a:lnTo>
                    <a:pt x="281" y="1170"/>
                  </a:lnTo>
                  <a:lnTo>
                    <a:pt x="282" y="1169"/>
                  </a:lnTo>
                  <a:lnTo>
                    <a:pt x="283" y="1169"/>
                  </a:lnTo>
                  <a:lnTo>
                    <a:pt x="283" y="1172"/>
                  </a:lnTo>
                  <a:lnTo>
                    <a:pt x="283" y="1174"/>
                  </a:lnTo>
                  <a:lnTo>
                    <a:pt x="284" y="1175"/>
                  </a:lnTo>
                  <a:lnTo>
                    <a:pt x="286" y="1174"/>
                  </a:lnTo>
                  <a:lnTo>
                    <a:pt x="288" y="1174"/>
                  </a:lnTo>
                  <a:lnTo>
                    <a:pt x="287" y="1176"/>
                  </a:lnTo>
                  <a:lnTo>
                    <a:pt x="284" y="1179"/>
                  </a:lnTo>
                  <a:lnTo>
                    <a:pt x="286" y="1179"/>
                  </a:lnTo>
                  <a:lnTo>
                    <a:pt x="287" y="1177"/>
                  </a:lnTo>
                  <a:lnTo>
                    <a:pt x="289" y="1176"/>
                  </a:lnTo>
                  <a:lnTo>
                    <a:pt x="292" y="1175"/>
                  </a:lnTo>
                  <a:lnTo>
                    <a:pt x="294" y="1174"/>
                  </a:lnTo>
                  <a:lnTo>
                    <a:pt x="296" y="1172"/>
                  </a:lnTo>
                  <a:lnTo>
                    <a:pt x="298" y="1171"/>
                  </a:lnTo>
                  <a:lnTo>
                    <a:pt x="300" y="1172"/>
                  </a:lnTo>
                  <a:lnTo>
                    <a:pt x="300" y="1171"/>
                  </a:lnTo>
                  <a:lnTo>
                    <a:pt x="301" y="1170"/>
                  </a:lnTo>
                  <a:lnTo>
                    <a:pt x="304" y="1169"/>
                  </a:lnTo>
                  <a:lnTo>
                    <a:pt x="304" y="1170"/>
                  </a:lnTo>
                  <a:lnTo>
                    <a:pt x="305" y="1170"/>
                  </a:lnTo>
                  <a:lnTo>
                    <a:pt x="307" y="1169"/>
                  </a:lnTo>
                  <a:lnTo>
                    <a:pt x="308" y="1169"/>
                  </a:lnTo>
                  <a:lnTo>
                    <a:pt x="311" y="1170"/>
                  </a:lnTo>
                  <a:lnTo>
                    <a:pt x="312" y="1169"/>
                  </a:lnTo>
                  <a:lnTo>
                    <a:pt x="313" y="1170"/>
                  </a:lnTo>
                  <a:lnTo>
                    <a:pt x="312" y="1171"/>
                  </a:lnTo>
                  <a:lnTo>
                    <a:pt x="314" y="1172"/>
                  </a:lnTo>
                  <a:lnTo>
                    <a:pt x="316" y="1171"/>
                  </a:lnTo>
                  <a:lnTo>
                    <a:pt x="316" y="1170"/>
                  </a:lnTo>
                  <a:lnTo>
                    <a:pt x="317" y="1170"/>
                  </a:lnTo>
                  <a:lnTo>
                    <a:pt x="318" y="1168"/>
                  </a:lnTo>
                  <a:lnTo>
                    <a:pt x="318" y="1165"/>
                  </a:lnTo>
                  <a:lnTo>
                    <a:pt x="318" y="1163"/>
                  </a:lnTo>
                  <a:lnTo>
                    <a:pt x="319" y="1164"/>
                  </a:lnTo>
                  <a:lnTo>
                    <a:pt x="319" y="1166"/>
                  </a:lnTo>
                  <a:lnTo>
                    <a:pt x="319" y="1169"/>
                  </a:lnTo>
                  <a:lnTo>
                    <a:pt x="319" y="1172"/>
                  </a:lnTo>
                  <a:lnTo>
                    <a:pt x="320" y="1172"/>
                  </a:lnTo>
                  <a:lnTo>
                    <a:pt x="320" y="1175"/>
                  </a:lnTo>
                  <a:lnTo>
                    <a:pt x="322" y="1177"/>
                  </a:lnTo>
                  <a:lnTo>
                    <a:pt x="323" y="1179"/>
                  </a:lnTo>
                  <a:lnTo>
                    <a:pt x="322" y="1179"/>
                  </a:lnTo>
                  <a:lnTo>
                    <a:pt x="322" y="1181"/>
                  </a:lnTo>
                  <a:lnTo>
                    <a:pt x="324" y="1181"/>
                  </a:lnTo>
                  <a:lnTo>
                    <a:pt x="324" y="1183"/>
                  </a:lnTo>
                  <a:lnTo>
                    <a:pt x="324" y="1187"/>
                  </a:lnTo>
                  <a:lnTo>
                    <a:pt x="324" y="1188"/>
                  </a:lnTo>
                  <a:lnTo>
                    <a:pt x="325" y="1189"/>
                  </a:lnTo>
                  <a:lnTo>
                    <a:pt x="325" y="1192"/>
                  </a:lnTo>
                  <a:lnTo>
                    <a:pt x="326" y="1193"/>
                  </a:lnTo>
                  <a:lnTo>
                    <a:pt x="326" y="1194"/>
                  </a:lnTo>
                  <a:lnTo>
                    <a:pt x="328" y="1198"/>
                  </a:lnTo>
                  <a:lnTo>
                    <a:pt x="328" y="1199"/>
                  </a:lnTo>
                  <a:lnTo>
                    <a:pt x="329" y="1201"/>
                  </a:lnTo>
                  <a:lnTo>
                    <a:pt x="331" y="1204"/>
                  </a:lnTo>
                  <a:lnTo>
                    <a:pt x="334" y="1205"/>
                  </a:lnTo>
                  <a:lnTo>
                    <a:pt x="336" y="1206"/>
                  </a:lnTo>
                  <a:lnTo>
                    <a:pt x="337" y="1206"/>
                  </a:lnTo>
                  <a:lnTo>
                    <a:pt x="339" y="1205"/>
                  </a:lnTo>
                  <a:lnTo>
                    <a:pt x="340" y="1206"/>
                  </a:lnTo>
                  <a:lnTo>
                    <a:pt x="340" y="1205"/>
                  </a:lnTo>
                  <a:lnTo>
                    <a:pt x="341" y="1205"/>
                  </a:lnTo>
                  <a:lnTo>
                    <a:pt x="342" y="1204"/>
                  </a:lnTo>
                  <a:lnTo>
                    <a:pt x="343" y="1204"/>
                  </a:lnTo>
                  <a:lnTo>
                    <a:pt x="345" y="1203"/>
                  </a:lnTo>
                  <a:lnTo>
                    <a:pt x="345" y="1201"/>
                  </a:lnTo>
                  <a:lnTo>
                    <a:pt x="346" y="1201"/>
                  </a:lnTo>
                  <a:lnTo>
                    <a:pt x="348" y="1203"/>
                  </a:lnTo>
                  <a:lnTo>
                    <a:pt x="348" y="1201"/>
                  </a:lnTo>
                  <a:lnTo>
                    <a:pt x="349" y="1200"/>
                  </a:lnTo>
                  <a:lnTo>
                    <a:pt x="349" y="1199"/>
                  </a:lnTo>
                  <a:lnTo>
                    <a:pt x="351" y="1200"/>
                  </a:lnTo>
                  <a:lnTo>
                    <a:pt x="352" y="1199"/>
                  </a:lnTo>
                  <a:lnTo>
                    <a:pt x="353" y="1199"/>
                  </a:lnTo>
                  <a:lnTo>
                    <a:pt x="354" y="1200"/>
                  </a:lnTo>
                  <a:lnTo>
                    <a:pt x="354" y="1203"/>
                  </a:lnTo>
                  <a:lnTo>
                    <a:pt x="354" y="1204"/>
                  </a:lnTo>
                  <a:lnTo>
                    <a:pt x="355" y="1203"/>
                  </a:lnTo>
                  <a:lnTo>
                    <a:pt x="355" y="1204"/>
                  </a:lnTo>
                  <a:lnTo>
                    <a:pt x="355" y="1206"/>
                  </a:lnTo>
                  <a:lnTo>
                    <a:pt x="357" y="1206"/>
                  </a:lnTo>
                  <a:lnTo>
                    <a:pt x="358" y="1206"/>
                  </a:lnTo>
                  <a:lnTo>
                    <a:pt x="358" y="1207"/>
                  </a:lnTo>
                  <a:lnTo>
                    <a:pt x="358" y="1210"/>
                  </a:lnTo>
                  <a:lnTo>
                    <a:pt x="359" y="1207"/>
                  </a:lnTo>
                  <a:lnTo>
                    <a:pt x="359" y="1209"/>
                  </a:lnTo>
                  <a:lnTo>
                    <a:pt x="359" y="1210"/>
                  </a:lnTo>
                  <a:lnTo>
                    <a:pt x="359" y="1211"/>
                  </a:lnTo>
                  <a:lnTo>
                    <a:pt x="359" y="1212"/>
                  </a:lnTo>
                  <a:lnTo>
                    <a:pt x="359" y="1215"/>
                  </a:lnTo>
                  <a:lnTo>
                    <a:pt x="360" y="1215"/>
                  </a:lnTo>
                  <a:lnTo>
                    <a:pt x="361" y="1216"/>
                  </a:lnTo>
                  <a:lnTo>
                    <a:pt x="361" y="1217"/>
                  </a:lnTo>
                  <a:lnTo>
                    <a:pt x="361" y="1219"/>
                  </a:lnTo>
                  <a:lnTo>
                    <a:pt x="361" y="1221"/>
                  </a:lnTo>
                  <a:lnTo>
                    <a:pt x="361" y="1223"/>
                  </a:lnTo>
                  <a:lnTo>
                    <a:pt x="361" y="1224"/>
                  </a:lnTo>
                  <a:lnTo>
                    <a:pt x="363" y="1225"/>
                  </a:lnTo>
                  <a:lnTo>
                    <a:pt x="363" y="1237"/>
                  </a:lnTo>
                  <a:lnTo>
                    <a:pt x="363" y="1252"/>
                  </a:lnTo>
                  <a:lnTo>
                    <a:pt x="363" y="1265"/>
                  </a:lnTo>
                  <a:lnTo>
                    <a:pt x="363" y="1282"/>
                  </a:lnTo>
                  <a:lnTo>
                    <a:pt x="363" y="1287"/>
                  </a:lnTo>
                  <a:lnTo>
                    <a:pt x="364" y="1290"/>
                  </a:lnTo>
                  <a:lnTo>
                    <a:pt x="366" y="1293"/>
                  </a:lnTo>
                  <a:lnTo>
                    <a:pt x="370" y="1293"/>
                  </a:lnTo>
                  <a:lnTo>
                    <a:pt x="400" y="1293"/>
                  </a:lnTo>
                  <a:lnTo>
                    <a:pt x="400" y="1266"/>
                  </a:lnTo>
                  <a:lnTo>
                    <a:pt x="400" y="1242"/>
                  </a:lnTo>
                  <a:lnTo>
                    <a:pt x="401" y="1218"/>
                  </a:lnTo>
                  <a:lnTo>
                    <a:pt x="402" y="1212"/>
                  </a:lnTo>
                  <a:lnTo>
                    <a:pt x="405" y="1210"/>
                  </a:lnTo>
                  <a:lnTo>
                    <a:pt x="406" y="1209"/>
                  </a:lnTo>
                  <a:lnTo>
                    <a:pt x="408" y="1209"/>
                  </a:lnTo>
                  <a:lnTo>
                    <a:pt x="410" y="1209"/>
                  </a:lnTo>
                  <a:lnTo>
                    <a:pt x="411" y="1206"/>
                  </a:lnTo>
                  <a:lnTo>
                    <a:pt x="412" y="1205"/>
                  </a:lnTo>
                  <a:lnTo>
                    <a:pt x="413" y="1205"/>
                  </a:lnTo>
                  <a:lnTo>
                    <a:pt x="414" y="1203"/>
                  </a:lnTo>
                  <a:lnTo>
                    <a:pt x="416" y="1201"/>
                  </a:lnTo>
                  <a:lnTo>
                    <a:pt x="416" y="1200"/>
                  </a:lnTo>
                  <a:lnTo>
                    <a:pt x="416" y="1199"/>
                  </a:lnTo>
                  <a:lnTo>
                    <a:pt x="414" y="1197"/>
                  </a:lnTo>
                  <a:lnTo>
                    <a:pt x="414" y="1195"/>
                  </a:lnTo>
                  <a:lnTo>
                    <a:pt x="414" y="1194"/>
                  </a:lnTo>
                  <a:lnTo>
                    <a:pt x="414" y="1193"/>
                  </a:lnTo>
                  <a:lnTo>
                    <a:pt x="413" y="1191"/>
                  </a:lnTo>
                  <a:lnTo>
                    <a:pt x="412" y="1191"/>
                  </a:lnTo>
                  <a:lnTo>
                    <a:pt x="412" y="1192"/>
                  </a:lnTo>
                  <a:lnTo>
                    <a:pt x="411" y="1191"/>
                  </a:lnTo>
                  <a:lnTo>
                    <a:pt x="411" y="1189"/>
                  </a:lnTo>
                  <a:lnTo>
                    <a:pt x="411" y="1188"/>
                  </a:lnTo>
                  <a:lnTo>
                    <a:pt x="412" y="1186"/>
                  </a:lnTo>
                  <a:lnTo>
                    <a:pt x="412" y="1185"/>
                  </a:lnTo>
                  <a:lnTo>
                    <a:pt x="412" y="1183"/>
                  </a:lnTo>
                  <a:lnTo>
                    <a:pt x="413" y="1181"/>
                  </a:lnTo>
                  <a:lnTo>
                    <a:pt x="416" y="1180"/>
                  </a:lnTo>
                  <a:lnTo>
                    <a:pt x="416" y="1179"/>
                  </a:lnTo>
                  <a:lnTo>
                    <a:pt x="418" y="1179"/>
                  </a:lnTo>
                  <a:lnTo>
                    <a:pt x="419" y="1179"/>
                  </a:lnTo>
                  <a:lnTo>
                    <a:pt x="420" y="1180"/>
                  </a:lnTo>
                  <a:lnTo>
                    <a:pt x="424" y="1181"/>
                  </a:lnTo>
                  <a:lnTo>
                    <a:pt x="426" y="1182"/>
                  </a:lnTo>
                  <a:lnTo>
                    <a:pt x="429" y="1183"/>
                  </a:lnTo>
                  <a:lnTo>
                    <a:pt x="429" y="1182"/>
                  </a:lnTo>
                  <a:lnTo>
                    <a:pt x="432" y="1182"/>
                  </a:lnTo>
                  <a:lnTo>
                    <a:pt x="434" y="1182"/>
                  </a:lnTo>
                  <a:lnTo>
                    <a:pt x="432" y="1182"/>
                  </a:lnTo>
                  <a:lnTo>
                    <a:pt x="434" y="1183"/>
                  </a:lnTo>
                  <a:lnTo>
                    <a:pt x="435" y="1183"/>
                  </a:lnTo>
                  <a:lnTo>
                    <a:pt x="436" y="1183"/>
                  </a:lnTo>
                  <a:lnTo>
                    <a:pt x="437" y="1185"/>
                  </a:lnTo>
                  <a:lnTo>
                    <a:pt x="438" y="1187"/>
                  </a:lnTo>
                  <a:lnTo>
                    <a:pt x="441" y="1188"/>
                  </a:lnTo>
                  <a:lnTo>
                    <a:pt x="442" y="1191"/>
                  </a:lnTo>
                  <a:lnTo>
                    <a:pt x="444" y="1192"/>
                  </a:lnTo>
                  <a:lnTo>
                    <a:pt x="446" y="1192"/>
                  </a:lnTo>
                  <a:lnTo>
                    <a:pt x="446" y="1194"/>
                  </a:lnTo>
                  <a:lnTo>
                    <a:pt x="444" y="1195"/>
                  </a:lnTo>
                  <a:lnTo>
                    <a:pt x="446" y="1197"/>
                  </a:lnTo>
                  <a:lnTo>
                    <a:pt x="447" y="1197"/>
                  </a:lnTo>
                  <a:lnTo>
                    <a:pt x="448" y="1197"/>
                  </a:lnTo>
                  <a:lnTo>
                    <a:pt x="449" y="1197"/>
                  </a:lnTo>
                  <a:lnTo>
                    <a:pt x="449" y="1198"/>
                  </a:lnTo>
                  <a:lnTo>
                    <a:pt x="451" y="1200"/>
                  </a:lnTo>
                  <a:lnTo>
                    <a:pt x="452" y="1198"/>
                  </a:lnTo>
                  <a:lnTo>
                    <a:pt x="452" y="1200"/>
                  </a:lnTo>
                  <a:lnTo>
                    <a:pt x="452" y="1201"/>
                  </a:lnTo>
                  <a:lnTo>
                    <a:pt x="452" y="1203"/>
                  </a:lnTo>
                  <a:lnTo>
                    <a:pt x="454" y="1203"/>
                  </a:lnTo>
                  <a:lnTo>
                    <a:pt x="455" y="1201"/>
                  </a:lnTo>
                  <a:lnTo>
                    <a:pt x="457" y="1203"/>
                  </a:lnTo>
                  <a:lnTo>
                    <a:pt x="458" y="1203"/>
                  </a:lnTo>
                  <a:lnTo>
                    <a:pt x="458" y="1201"/>
                  </a:lnTo>
                  <a:lnTo>
                    <a:pt x="459" y="1201"/>
                  </a:lnTo>
                  <a:lnTo>
                    <a:pt x="459" y="1203"/>
                  </a:lnTo>
                  <a:lnTo>
                    <a:pt x="461" y="1203"/>
                  </a:lnTo>
                  <a:lnTo>
                    <a:pt x="465" y="1201"/>
                  </a:lnTo>
                  <a:lnTo>
                    <a:pt x="469" y="1200"/>
                  </a:lnTo>
                  <a:lnTo>
                    <a:pt x="471" y="1198"/>
                  </a:lnTo>
                  <a:lnTo>
                    <a:pt x="472" y="1194"/>
                  </a:lnTo>
                  <a:lnTo>
                    <a:pt x="472" y="1195"/>
                  </a:lnTo>
                  <a:lnTo>
                    <a:pt x="472" y="1198"/>
                  </a:lnTo>
                  <a:lnTo>
                    <a:pt x="473" y="1199"/>
                  </a:lnTo>
                  <a:lnTo>
                    <a:pt x="476" y="1198"/>
                  </a:lnTo>
                  <a:lnTo>
                    <a:pt x="477" y="1198"/>
                  </a:lnTo>
                  <a:lnTo>
                    <a:pt x="477" y="1199"/>
                  </a:lnTo>
                  <a:lnTo>
                    <a:pt x="479" y="1199"/>
                  </a:lnTo>
                  <a:lnTo>
                    <a:pt x="479" y="1198"/>
                  </a:lnTo>
                  <a:lnTo>
                    <a:pt x="479" y="1197"/>
                  </a:lnTo>
                  <a:lnTo>
                    <a:pt x="481" y="1197"/>
                  </a:lnTo>
                  <a:lnTo>
                    <a:pt x="482" y="1199"/>
                  </a:lnTo>
                  <a:lnTo>
                    <a:pt x="483" y="1198"/>
                  </a:lnTo>
                  <a:lnTo>
                    <a:pt x="484" y="1195"/>
                  </a:lnTo>
                  <a:lnTo>
                    <a:pt x="485" y="1195"/>
                  </a:lnTo>
                  <a:lnTo>
                    <a:pt x="487" y="1193"/>
                  </a:lnTo>
                  <a:lnTo>
                    <a:pt x="488" y="1192"/>
                  </a:lnTo>
                  <a:lnTo>
                    <a:pt x="489" y="1191"/>
                  </a:lnTo>
                  <a:lnTo>
                    <a:pt x="489" y="1188"/>
                  </a:lnTo>
                  <a:lnTo>
                    <a:pt x="490" y="1187"/>
                  </a:lnTo>
                  <a:lnTo>
                    <a:pt x="490" y="1185"/>
                  </a:lnTo>
                  <a:lnTo>
                    <a:pt x="491" y="1183"/>
                  </a:lnTo>
                  <a:lnTo>
                    <a:pt x="494" y="1182"/>
                  </a:lnTo>
                  <a:lnTo>
                    <a:pt x="496" y="1182"/>
                  </a:lnTo>
                  <a:lnTo>
                    <a:pt x="497" y="1180"/>
                  </a:lnTo>
                  <a:lnTo>
                    <a:pt x="499" y="1177"/>
                  </a:lnTo>
                  <a:lnTo>
                    <a:pt x="500" y="1177"/>
                  </a:lnTo>
                  <a:lnTo>
                    <a:pt x="500" y="1179"/>
                  </a:lnTo>
                  <a:lnTo>
                    <a:pt x="500" y="1180"/>
                  </a:lnTo>
                  <a:lnTo>
                    <a:pt x="501" y="1180"/>
                  </a:lnTo>
                  <a:lnTo>
                    <a:pt x="502" y="1180"/>
                  </a:lnTo>
                  <a:lnTo>
                    <a:pt x="503" y="1180"/>
                  </a:lnTo>
                  <a:lnTo>
                    <a:pt x="505" y="1179"/>
                  </a:lnTo>
                  <a:lnTo>
                    <a:pt x="505" y="1177"/>
                  </a:lnTo>
                  <a:lnTo>
                    <a:pt x="506" y="1179"/>
                  </a:lnTo>
                  <a:lnTo>
                    <a:pt x="507" y="1179"/>
                  </a:lnTo>
                  <a:lnTo>
                    <a:pt x="508" y="1181"/>
                  </a:lnTo>
                  <a:lnTo>
                    <a:pt x="510" y="1181"/>
                  </a:lnTo>
                  <a:lnTo>
                    <a:pt x="511" y="1181"/>
                  </a:lnTo>
                  <a:lnTo>
                    <a:pt x="512" y="1180"/>
                  </a:lnTo>
                  <a:lnTo>
                    <a:pt x="513" y="1180"/>
                  </a:lnTo>
                  <a:lnTo>
                    <a:pt x="514" y="1180"/>
                  </a:lnTo>
                  <a:lnTo>
                    <a:pt x="516" y="1180"/>
                  </a:lnTo>
                  <a:lnTo>
                    <a:pt x="517" y="1179"/>
                  </a:lnTo>
                  <a:lnTo>
                    <a:pt x="519" y="1179"/>
                  </a:lnTo>
                  <a:lnTo>
                    <a:pt x="520" y="1180"/>
                  </a:lnTo>
                  <a:lnTo>
                    <a:pt x="525" y="1185"/>
                  </a:lnTo>
                  <a:lnTo>
                    <a:pt x="528" y="1188"/>
                  </a:lnTo>
                  <a:lnTo>
                    <a:pt x="528" y="1189"/>
                  </a:lnTo>
                  <a:lnTo>
                    <a:pt x="529" y="1192"/>
                  </a:lnTo>
                  <a:lnTo>
                    <a:pt x="531" y="1193"/>
                  </a:lnTo>
                  <a:lnTo>
                    <a:pt x="534" y="1194"/>
                  </a:lnTo>
                  <a:lnTo>
                    <a:pt x="537" y="1195"/>
                  </a:lnTo>
                  <a:lnTo>
                    <a:pt x="540" y="1194"/>
                  </a:lnTo>
                  <a:lnTo>
                    <a:pt x="541" y="1193"/>
                  </a:lnTo>
                  <a:lnTo>
                    <a:pt x="542" y="1192"/>
                  </a:lnTo>
                  <a:lnTo>
                    <a:pt x="542" y="1189"/>
                  </a:lnTo>
                  <a:lnTo>
                    <a:pt x="542" y="1188"/>
                  </a:lnTo>
                  <a:lnTo>
                    <a:pt x="542" y="1183"/>
                  </a:lnTo>
                  <a:lnTo>
                    <a:pt x="541" y="1181"/>
                  </a:lnTo>
                  <a:lnTo>
                    <a:pt x="542" y="1181"/>
                  </a:lnTo>
                  <a:lnTo>
                    <a:pt x="542" y="1182"/>
                  </a:lnTo>
                  <a:lnTo>
                    <a:pt x="543" y="1186"/>
                  </a:lnTo>
                  <a:lnTo>
                    <a:pt x="543" y="1189"/>
                  </a:lnTo>
                  <a:lnTo>
                    <a:pt x="544" y="1191"/>
                  </a:lnTo>
                  <a:lnTo>
                    <a:pt x="546" y="1191"/>
                  </a:lnTo>
                  <a:lnTo>
                    <a:pt x="547" y="1191"/>
                  </a:lnTo>
                  <a:lnTo>
                    <a:pt x="548" y="1189"/>
                  </a:lnTo>
                  <a:lnTo>
                    <a:pt x="548" y="1188"/>
                  </a:lnTo>
                  <a:lnTo>
                    <a:pt x="548" y="1185"/>
                  </a:lnTo>
                  <a:lnTo>
                    <a:pt x="548" y="1183"/>
                  </a:lnTo>
                  <a:lnTo>
                    <a:pt x="548" y="1181"/>
                  </a:lnTo>
                  <a:lnTo>
                    <a:pt x="548" y="1180"/>
                  </a:lnTo>
                  <a:lnTo>
                    <a:pt x="548" y="1182"/>
                  </a:lnTo>
                  <a:lnTo>
                    <a:pt x="549" y="1185"/>
                  </a:lnTo>
                  <a:lnTo>
                    <a:pt x="549" y="1187"/>
                  </a:lnTo>
                  <a:lnTo>
                    <a:pt x="548" y="1189"/>
                  </a:lnTo>
                  <a:lnTo>
                    <a:pt x="550" y="1191"/>
                  </a:lnTo>
                  <a:lnTo>
                    <a:pt x="552" y="1192"/>
                  </a:lnTo>
                  <a:lnTo>
                    <a:pt x="552" y="1191"/>
                  </a:lnTo>
                  <a:lnTo>
                    <a:pt x="552" y="1189"/>
                  </a:lnTo>
                  <a:lnTo>
                    <a:pt x="552" y="1188"/>
                  </a:lnTo>
                  <a:lnTo>
                    <a:pt x="553" y="1187"/>
                  </a:lnTo>
                  <a:lnTo>
                    <a:pt x="553" y="1186"/>
                  </a:lnTo>
                  <a:lnTo>
                    <a:pt x="554" y="1187"/>
                  </a:lnTo>
                  <a:lnTo>
                    <a:pt x="554" y="1191"/>
                  </a:lnTo>
                  <a:lnTo>
                    <a:pt x="554" y="1192"/>
                  </a:lnTo>
                  <a:lnTo>
                    <a:pt x="555" y="1192"/>
                  </a:lnTo>
                  <a:lnTo>
                    <a:pt x="556" y="1192"/>
                  </a:lnTo>
                  <a:lnTo>
                    <a:pt x="556" y="1191"/>
                  </a:lnTo>
                  <a:lnTo>
                    <a:pt x="556" y="1189"/>
                  </a:lnTo>
                  <a:lnTo>
                    <a:pt x="558" y="1187"/>
                  </a:lnTo>
                  <a:lnTo>
                    <a:pt x="558" y="1186"/>
                  </a:lnTo>
                  <a:lnTo>
                    <a:pt x="558" y="1185"/>
                  </a:lnTo>
                  <a:lnTo>
                    <a:pt x="559" y="1185"/>
                  </a:lnTo>
                  <a:lnTo>
                    <a:pt x="559" y="1186"/>
                  </a:lnTo>
                  <a:lnTo>
                    <a:pt x="561" y="1189"/>
                  </a:lnTo>
                  <a:lnTo>
                    <a:pt x="564" y="1189"/>
                  </a:lnTo>
                  <a:lnTo>
                    <a:pt x="564" y="1191"/>
                  </a:lnTo>
                  <a:lnTo>
                    <a:pt x="566" y="1189"/>
                  </a:lnTo>
                  <a:lnTo>
                    <a:pt x="567" y="1187"/>
                  </a:lnTo>
                  <a:lnTo>
                    <a:pt x="567" y="1188"/>
                  </a:lnTo>
                  <a:lnTo>
                    <a:pt x="569" y="1189"/>
                  </a:lnTo>
                  <a:lnTo>
                    <a:pt x="569" y="1191"/>
                  </a:lnTo>
                  <a:lnTo>
                    <a:pt x="569" y="1193"/>
                  </a:lnTo>
                  <a:lnTo>
                    <a:pt x="569" y="1192"/>
                  </a:lnTo>
                  <a:lnTo>
                    <a:pt x="570" y="1191"/>
                  </a:lnTo>
                  <a:lnTo>
                    <a:pt x="571" y="1191"/>
                  </a:lnTo>
                  <a:lnTo>
                    <a:pt x="571" y="1193"/>
                  </a:lnTo>
                  <a:lnTo>
                    <a:pt x="571" y="1194"/>
                  </a:lnTo>
                  <a:lnTo>
                    <a:pt x="571" y="1197"/>
                  </a:lnTo>
                  <a:lnTo>
                    <a:pt x="572" y="1198"/>
                  </a:lnTo>
                  <a:lnTo>
                    <a:pt x="573" y="1197"/>
                  </a:lnTo>
                  <a:lnTo>
                    <a:pt x="573" y="1198"/>
                  </a:lnTo>
                  <a:lnTo>
                    <a:pt x="573" y="1199"/>
                  </a:lnTo>
                  <a:lnTo>
                    <a:pt x="573" y="1201"/>
                  </a:lnTo>
                  <a:lnTo>
                    <a:pt x="575" y="1201"/>
                  </a:lnTo>
                  <a:lnTo>
                    <a:pt x="576" y="1203"/>
                  </a:lnTo>
                  <a:lnTo>
                    <a:pt x="577" y="1203"/>
                  </a:lnTo>
                  <a:lnTo>
                    <a:pt x="578" y="1204"/>
                  </a:lnTo>
                  <a:lnTo>
                    <a:pt x="579" y="1205"/>
                  </a:lnTo>
                  <a:lnTo>
                    <a:pt x="579" y="1206"/>
                  </a:lnTo>
                  <a:lnTo>
                    <a:pt x="581" y="1209"/>
                  </a:lnTo>
                  <a:lnTo>
                    <a:pt x="582" y="1210"/>
                  </a:lnTo>
                  <a:lnTo>
                    <a:pt x="582" y="1211"/>
                  </a:lnTo>
                  <a:lnTo>
                    <a:pt x="584" y="1213"/>
                  </a:lnTo>
                  <a:lnTo>
                    <a:pt x="583" y="1216"/>
                  </a:lnTo>
                  <a:lnTo>
                    <a:pt x="583" y="1217"/>
                  </a:lnTo>
                  <a:lnTo>
                    <a:pt x="584" y="1218"/>
                  </a:lnTo>
                  <a:lnTo>
                    <a:pt x="587" y="1219"/>
                  </a:lnTo>
                  <a:lnTo>
                    <a:pt x="588" y="1222"/>
                  </a:lnTo>
                  <a:lnTo>
                    <a:pt x="590" y="1224"/>
                  </a:lnTo>
                  <a:lnTo>
                    <a:pt x="593" y="1225"/>
                  </a:lnTo>
                  <a:lnTo>
                    <a:pt x="594" y="1225"/>
                  </a:lnTo>
                  <a:lnTo>
                    <a:pt x="595" y="1224"/>
                  </a:lnTo>
                  <a:lnTo>
                    <a:pt x="595" y="1223"/>
                  </a:lnTo>
                  <a:lnTo>
                    <a:pt x="595" y="1221"/>
                  </a:lnTo>
                  <a:lnTo>
                    <a:pt x="595" y="1218"/>
                  </a:lnTo>
                  <a:lnTo>
                    <a:pt x="595" y="1216"/>
                  </a:lnTo>
                  <a:lnTo>
                    <a:pt x="595" y="1217"/>
                  </a:lnTo>
                  <a:lnTo>
                    <a:pt x="596" y="1221"/>
                  </a:lnTo>
                  <a:lnTo>
                    <a:pt x="596" y="1222"/>
                  </a:lnTo>
                  <a:lnTo>
                    <a:pt x="596" y="1223"/>
                  </a:lnTo>
                  <a:lnTo>
                    <a:pt x="596" y="1227"/>
                  </a:lnTo>
                  <a:lnTo>
                    <a:pt x="596" y="1228"/>
                  </a:lnTo>
                  <a:lnTo>
                    <a:pt x="597" y="1229"/>
                  </a:lnTo>
                  <a:lnTo>
                    <a:pt x="599" y="1230"/>
                  </a:lnTo>
                  <a:lnTo>
                    <a:pt x="600" y="1230"/>
                  </a:lnTo>
                  <a:lnTo>
                    <a:pt x="601" y="1230"/>
                  </a:lnTo>
                  <a:lnTo>
                    <a:pt x="602" y="1231"/>
                  </a:lnTo>
                  <a:lnTo>
                    <a:pt x="603" y="1231"/>
                  </a:lnTo>
                  <a:lnTo>
                    <a:pt x="605" y="1231"/>
                  </a:lnTo>
                  <a:lnTo>
                    <a:pt x="606" y="1230"/>
                  </a:lnTo>
                  <a:lnTo>
                    <a:pt x="606" y="1229"/>
                  </a:lnTo>
                  <a:lnTo>
                    <a:pt x="607" y="1228"/>
                  </a:lnTo>
                  <a:lnTo>
                    <a:pt x="607" y="1229"/>
                  </a:lnTo>
                  <a:lnTo>
                    <a:pt x="608" y="1228"/>
                  </a:lnTo>
                  <a:lnTo>
                    <a:pt x="608" y="1227"/>
                  </a:lnTo>
                  <a:lnTo>
                    <a:pt x="608" y="1225"/>
                  </a:lnTo>
                  <a:lnTo>
                    <a:pt x="608" y="1224"/>
                  </a:lnTo>
                  <a:lnTo>
                    <a:pt x="609" y="1223"/>
                  </a:lnTo>
                  <a:lnTo>
                    <a:pt x="612" y="1221"/>
                  </a:lnTo>
                  <a:lnTo>
                    <a:pt x="613" y="1222"/>
                  </a:lnTo>
                  <a:lnTo>
                    <a:pt x="613" y="1223"/>
                  </a:lnTo>
                  <a:lnTo>
                    <a:pt x="615" y="1224"/>
                  </a:lnTo>
                  <a:lnTo>
                    <a:pt x="615" y="1227"/>
                  </a:lnTo>
                  <a:lnTo>
                    <a:pt x="614" y="1227"/>
                  </a:lnTo>
                  <a:lnTo>
                    <a:pt x="613" y="1229"/>
                  </a:lnTo>
                  <a:lnTo>
                    <a:pt x="614" y="1229"/>
                  </a:lnTo>
                  <a:lnTo>
                    <a:pt x="614" y="1230"/>
                  </a:lnTo>
                  <a:lnTo>
                    <a:pt x="613" y="1230"/>
                  </a:lnTo>
                  <a:lnTo>
                    <a:pt x="613" y="1233"/>
                  </a:lnTo>
                  <a:lnTo>
                    <a:pt x="614" y="1234"/>
                  </a:lnTo>
                  <a:lnTo>
                    <a:pt x="614" y="1236"/>
                  </a:lnTo>
                  <a:lnTo>
                    <a:pt x="614" y="1239"/>
                  </a:lnTo>
                  <a:lnTo>
                    <a:pt x="615" y="1239"/>
                  </a:lnTo>
                  <a:lnTo>
                    <a:pt x="615" y="1240"/>
                  </a:lnTo>
                  <a:lnTo>
                    <a:pt x="614" y="1241"/>
                  </a:lnTo>
                  <a:lnTo>
                    <a:pt x="614" y="1242"/>
                  </a:lnTo>
                  <a:lnTo>
                    <a:pt x="615" y="1242"/>
                  </a:lnTo>
                  <a:lnTo>
                    <a:pt x="617" y="1242"/>
                  </a:lnTo>
                  <a:lnTo>
                    <a:pt x="617" y="1243"/>
                  </a:lnTo>
                  <a:lnTo>
                    <a:pt x="617" y="1245"/>
                  </a:lnTo>
                  <a:lnTo>
                    <a:pt x="618" y="1245"/>
                  </a:lnTo>
                  <a:lnTo>
                    <a:pt x="619" y="1245"/>
                  </a:lnTo>
                  <a:lnTo>
                    <a:pt x="620" y="1246"/>
                  </a:lnTo>
                  <a:lnTo>
                    <a:pt x="623" y="1247"/>
                  </a:lnTo>
                  <a:lnTo>
                    <a:pt x="623" y="1248"/>
                  </a:lnTo>
                  <a:lnTo>
                    <a:pt x="625" y="1248"/>
                  </a:lnTo>
                  <a:lnTo>
                    <a:pt x="625" y="1251"/>
                  </a:lnTo>
                  <a:lnTo>
                    <a:pt x="626" y="1252"/>
                  </a:lnTo>
                  <a:lnTo>
                    <a:pt x="629" y="1252"/>
                  </a:lnTo>
                  <a:lnTo>
                    <a:pt x="630" y="1251"/>
                  </a:lnTo>
                  <a:lnTo>
                    <a:pt x="630" y="1249"/>
                  </a:lnTo>
                  <a:lnTo>
                    <a:pt x="629" y="1247"/>
                  </a:lnTo>
                  <a:lnTo>
                    <a:pt x="629" y="1245"/>
                  </a:lnTo>
                  <a:lnTo>
                    <a:pt x="630" y="1245"/>
                  </a:lnTo>
                  <a:lnTo>
                    <a:pt x="632" y="1243"/>
                  </a:lnTo>
                  <a:lnTo>
                    <a:pt x="632" y="1242"/>
                  </a:lnTo>
                  <a:lnTo>
                    <a:pt x="634" y="1241"/>
                  </a:lnTo>
                  <a:lnTo>
                    <a:pt x="636" y="1241"/>
                  </a:lnTo>
                  <a:lnTo>
                    <a:pt x="637" y="1241"/>
                  </a:lnTo>
                  <a:lnTo>
                    <a:pt x="638" y="1242"/>
                  </a:lnTo>
                  <a:lnTo>
                    <a:pt x="638" y="1240"/>
                  </a:lnTo>
                  <a:lnTo>
                    <a:pt x="638" y="1239"/>
                  </a:lnTo>
                  <a:lnTo>
                    <a:pt x="640" y="1236"/>
                  </a:lnTo>
                  <a:lnTo>
                    <a:pt x="641" y="1235"/>
                  </a:lnTo>
                  <a:lnTo>
                    <a:pt x="642" y="1234"/>
                  </a:lnTo>
                  <a:lnTo>
                    <a:pt x="643" y="1234"/>
                  </a:lnTo>
                  <a:lnTo>
                    <a:pt x="644" y="1233"/>
                  </a:lnTo>
                  <a:lnTo>
                    <a:pt x="644" y="1234"/>
                  </a:lnTo>
                  <a:lnTo>
                    <a:pt x="646" y="1234"/>
                  </a:lnTo>
                  <a:lnTo>
                    <a:pt x="647" y="1233"/>
                  </a:lnTo>
                  <a:lnTo>
                    <a:pt x="654" y="1233"/>
                  </a:lnTo>
                  <a:lnTo>
                    <a:pt x="656" y="1230"/>
                  </a:lnTo>
                  <a:lnTo>
                    <a:pt x="656" y="1229"/>
                  </a:lnTo>
                  <a:lnTo>
                    <a:pt x="658" y="1229"/>
                  </a:lnTo>
                  <a:lnTo>
                    <a:pt x="658" y="1230"/>
                  </a:lnTo>
                  <a:lnTo>
                    <a:pt x="660" y="1230"/>
                  </a:lnTo>
                  <a:lnTo>
                    <a:pt x="660" y="1231"/>
                  </a:lnTo>
                  <a:lnTo>
                    <a:pt x="661" y="1231"/>
                  </a:lnTo>
                  <a:lnTo>
                    <a:pt x="662" y="1231"/>
                  </a:lnTo>
                  <a:lnTo>
                    <a:pt x="664" y="1231"/>
                  </a:lnTo>
                  <a:lnTo>
                    <a:pt x="665" y="1231"/>
                  </a:lnTo>
                  <a:lnTo>
                    <a:pt x="666" y="1231"/>
                  </a:lnTo>
                  <a:lnTo>
                    <a:pt x="667" y="1231"/>
                  </a:lnTo>
                  <a:lnTo>
                    <a:pt x="667" y="1229"/>
                  </a:lnTo>
                  <a:lnTo>
                    <a:pt x="667" y="1228"/>
                  </a:lnTo>
                  <a:lnTo>
                    <a:pt x="668" y="1228"/>
                  </a:lnTo>
                  <a:lnTo>
                    <a:pt x="671" y="1228"/>
                  </a:lnTo>
                  <a:lnTo>
                    <a:pt x="672" y="1227"/>
                  </a:lnTo>
                  <a:lnTo>
                    <a:pt x="673" y="1227"/>
                  </a:lnTo>
                  <a:lnTo>
                    <a:pt x="673" y="1224"/>
                  </a:lnTo>
                  <a:lnTo>
                    <a:pt x="674" y="1222"/>
                  </a:lnTo>
                  <a:lnTo>
                    <a:pt x="674" y="1223"/>
                  </a:lnTo>
                  <a:lnTo>
                    <a:pt x="676" y="1223"/>
                  </a:lnTo>
                  <a:lnTo>
                    <a:pt x="677" y="1222"/>
                  </a:lnTo>
                  <a:lnTo>
                    <a:pt x="679" y="1221"/>
                  </a:lnTo>
                  <a:lnTo>
                    <a:pt x="679" y="1218"/>
                  </a:lnTo>
                  <a:lnTo>
                    <a:pt x="680" y="1217"/>
                  </a:lnTo>
                  <a:lnTo>
                    <a:pt x="682" y="1216"/>
                  </a:lnTo>
                  <a:lnTo>
                    <a:pt x="682" y="1215"/>
                  </a:lnTo>
                  <a:lnTo>
                    <a:pt x="683" y="1213"/>
                  </a:lnTo>
                  <a:lnTo>
                    <a:pt x="683" y="1210"/>
                  </a:lnTo>
                  <a:lnTo>
                    <a:pt x="682" y="1210"/>
                  </a:lnTo>
                  <a:lnTo>
                    <a:pt x="682" y="1211"/>
                  </a:lnTo>
                  <a:lnTo>
                    <a:pt x="680" y="1211"/>
                  </a:lnTo>
                  <a:lnTo>
                    <a:pt x="680" y="1209"/>
                  </a:lnTo>
                  <a:lnTo>
                    <a:pt x="680" y="1206"/>
                  </a:lnTo>
                  <a:lnTo>
                    <a:pt x="682" y="1206"/>
                  </a:lnTo>
                  <a:lnTo>
                    <a:pt x="682" y="1207"/>
                  </a:lnTo>
                  <a:lnTo>
                    <a:pt x="683" y="1209"/>
                  </a:lnTo>
                  <a:lnTo>
                    <a:pt x="684" y="1210"/>
                  </a:lnTo>
                  <a:lnTo>
                    <a:pt x="685" y="1210"/>
                  </a:lnTo>
                  <a:lnTo>
                    <a:pt x="685" y="1209"/>
                  </a:lnTo>
                  <a:lnTo>
                    <a:pt x="686" y="1207"/>
                  </a:lnTo>
                  <a:lnTo>
                    <a:pt x="686" y="1206"/>
                  </a:lnTo>
                  <a:lnTo>
                    <a:pt x="686" y="1205"/>
                  </a:lnTo>
                  <a:lnTo>
                    <a:pt x="686" y="1204"/>
                  </a:lnTo>
                  <a:lnTo>
                    <a:pt x="688" y="1204"/>
                  </a:lnTo>
                  <a:lnTo>
                    <a:pt x="689" y="1205"/>
                  </a:lnTo>
                  <a:lnTo>
                    <a:pt x="690" y="1205"/>
                  </a:lnTo>
                  <a:lnTo>
                    <a:pt x="690" y="1204"/>
                  </a:lnTo>
                  <a:lnTo>
                    <a:pt x="691" y="1203"/>
                  </a:lnTo>
                  <a:lnTo>
                    <a:pt x="693" y="1201"/>
                  </a:lnTo>
                  <a:lnTo>
                    <a:pt x="691" y="1201"/>
                  </a:lnTo>
                  <a:lnTo>
                    <a:pt x="691" y="1200"/>
                  </a:lnTo>
                  <a:lnTo>
                    <a:pt x="693" y="1199"/>
                  </a:lnTo>
                  <a:lnTo>
                    <a:pt x="693" y="1197"/>
                  </a:lnTo>
                  <a:lnTo>
                    <a:pt x="694" y="1197"/>
                  </a:lnTo>
                  <a:lnTo>
                    <a:pt x="695" y="1197"/>
                  </a:lnTo>
                  <a:lnTo>
                    <a:pt x="697" y="1195"/>
                  </a:lnTo>
                  <a:lnTo>
                    <a:pt x="697" y="1194"/>
                  </a:lnTo>
                  <a:lnTo>
                    <a:pt x="699" y="1193"/>
                  </a:lnTo>
                  <a:lnTo>
                    <a:pt x="699" y="1191"/>
                  </a:lnTo>
                  <a:lnTo>
                    <a:pt x="699" y="1188"/>
                  </a:lnTo>
                  <a:lnTo>
                    <a:pt x="697" y="1187"/>
                  </a:lnTo>
                  <a:lnTo>
                    <a:pt x="696" y="1186"/>
                  </a:lnTo>
                  <a:lnTo>
                    <a:pt x="696" y="1185"/>
                  </a:lnTo>
                  <a:lnTo>
                    <a:pt x="697" y="1185"/>
                  </a:lnTo>
                  <a:lnTo>
                    <a:pt x="697" y="1183"/>
                  </a:lnTo>
                  <a:lnTo>
                    <a:pt x="699" y="1183"/>
                  </a:lnTo>
                  <a:lnTo>
                    <a:pt x="701" y="1181"/>
                  </a:lnTo>
                  <a:lnTo>
                    <a:pt x="701" y="1182"/>
                  </a:lnTo>
                  <a:lnTo>
                    <a:pt x="701" y="1183"/>
                  </a:lnTo>
                  <a:lnTo>
                    <a:pt x="702" y="1182"/>
                  </a:lnTo>
                  <a:lnTo>
                    <a:pt x="706" y="1180"/>
                  </a:lnTo>
                  <a:lnTo>
                    <a:pt x="706" y="1177"/>
                  </a:lnTo>
                  <a:lnTo>
                    <a:pt x="707" y="1177"/>
                  </a:lnTo>
                  <a:lnTo>
                    <a:pt x="708" y="1177"/>
                  </a:lnTo>
                  <a:lnTo>
                    <a:pt x="709" y="1177"/>
                  </a:lnTo>
                  <a:lnTo>
                    <a:pt x="711" y="1179"/>
                  </a:lnTo>
                  <a:lnTo>
                    <a:pt x="712" y="1180"/>
                  </a:lnTo>
                  <a:lnTo>
                    <a:pt x="713" y="1179"/>
                  </a:lnTo>
                  <a:lnTo>
                    <a:pt x="713" y="1177"/>
                  </a:lnTo>
                  <a:lnTo>
                    <a:pt x="714" y="1177"/>
                  </a:lnTo>
                  <a:lnTo>
                    <a:pt x="715" y="1176"/>
                  </a:lnTo>
                  <a:lnTo>
                    <a:pt x="718" y="1176"/>
                  </a:lnTo>
                  <a:lnTo>
                    <a:pt x="720" y="1177"/>
                  </a:lnTo>
                  <a:lnTo>
                    <a:pt x="721" y="1177"/>
                  </a:lnTo>
                  <a:lnTo>
                    <a:pt x="723" y="1176"/>
                  </a:lnTo>
                  <a:lnTo>
                    <a:pt x="724" y="1176"/>
                  </a:lnTo>
                  <a:lnTo>
                    <a:pt x="725" y="1175"/>
                  </a:lnTo>
                  <a:lnTo>
                    <a:pt x="726" y="1176"/>
                  </a:lnTo>
                  <a:lnTo>
                    <a:pt x="727" y="1175"/>
                  </a:lnTo>
                  <a:lnTo>
                    <a:pt x="727" y="1174"/>
                  </a:lnTo>
                  <a:lnTo>
                    <a:pt x="727" y="1172"/>
                  </a:lnTo>
                  <a:lnTo>
                    <a:pt x="726" y="1171"/>
                  </a:lnTo>
                  <a:lnTo>
                    <a:pt x="727" y="1170"/>
                  </a:lnTo>
                  <a:lnTo>
                    <a:pt x="727" y="1168"/>
                  </a:lnTo>
                  <a:lnTo>
                    <a:pt x="727" y="1166"/>
                  </a:lnTo>
                  <a:lnTo>
                    <a:pt x="729" y="1165"/>
                  </a:lnTo>
                  <a:lnTo>
                    <a:pt x="730" y="1164"/>
                  </a:lnTo>
                  <a:lnTo>
                    <a:pt x="730" y="1163"/>
                  </a:lnTo>
                  <a:lnTo>
                    <a:pt x="731" y="1160"/>
                  </a:lnTo>
                  <a:lnTo>
                    <a:pt x="732" y="1162"/>
                  </a:lnTo>
                  <a:lnTo>
                    <a:pt x="732" y="1163"/>
                  </a:lnTo>
                  <a:lnTo>
                    <a:pt x="735" y="1160"/>
                  </a:lnTo>
                  <a:lnTo>
                    <a:pt x="735" y="1159"/>
                  </a:lnTo>
                  <a:lnTo>
                    <a:pt x="735" y="1160"/>
                  </a:lnTo>
                  <a:lnTo>
                    <a:pt x="736" y="1160"/>
                  </a:lnTo>
                  <a:lnTo>
                    <a:pt x="737" y="1160"/>
                  </a:lnTo>
                  <a:lnTo>
                    <a:pt x="738" y="1160"/>
                  </a:lnTo>
                  <a:lnTo>
                    <a:pt x="741" y="1160"/>
                  </a:lnTo>
                  <a:lnTo>
                    <a:pt x="742" y="1160"/>
                  </a:lnTo>
                  <a:lnTo>
                    <a:pt x="743" y="1160"/>
                  </a:lnTo>
                  <a:lnTo>
                    <a:pt x="744" y="1162"/>
                  </a:lnTo>
                  <a:lnTo>
                    <a:pt x="745" y="1160"/>
                  </a:lnTo>
                  <a:lnTo>
                    <a:pt x="745" y="1162"/>
                  </a:lnTo>
                  <a:lnTo>
                    <a:pt x="747" y="1163"/>
                  </a:lnTo>
                  <a:lnTo>
                    <a:pt x="748" y="1162"/>
                  </a:lnTo>
                  <a:lnTo>
                    <a:pt x="748" y="1160"/>
                  </a:lnTo>
                  <a:lnTo>
                    <a:pt x="750" y="1159"/>
                  </a:lnTo>
                  <a:lnTo>
                    <a:pt x="750" y="1158"/>
                  </a:lnTo>
                  <a:lnTo>
                    <a:pt x="752" y="1157"/>
                  </a:lnTo>
                  <a:lnTo>
                    <a:pt x="753" y="1156"/>
                  </a:lnTo>
                  <a:lnTo>
                    <a:pt x="752" y="1154"/>
                  </a:lnTo>
                  <a:lnTo>
                    <a:pt x="752" y="1153"/>
                  </a:lnTo>
                  <a:lnTo>
                    <a:pt x="754" y="1152"/>
                  </a:lnTo>
                  <a:lnTo>
                    <a:pt x="753" y="1154"/>
                  </a:lnTo>
                  <a:lnTo>
                    <a:pt x="755" y="1154"/>
                  </a:lnTo>
                  <a:lnTo>
                    <a:pt x="755" y="1152"/>
                  </a:lnTo>
                  <a:lnTo>
                    <a:pt x="755" y="1151"/>
                  </a:lnTo>
                  <a:lnTo>
                    <a:pt x="755" y="1150"/>
                  </a:lnTo>
                  <a:lnTo>
                    <a:pt x="756" y="1148"/>
                  </a:lnTo>
                  <a:lnTo>
                    <a:pt x="756" y="1150"/>
                  </a:lnTo>
                  <a:lnTo>
                    <a:pt x="759" y="1148"/>
                  </a:lnTo>
                  <a:lnTo>
                    <a:pt x="759" y="1147"/>
                  </a:lnTo>
                  <a:lnTo>
                    <a:pt x="761" y="1146"/>
                  </a:lnTo>
                  <a:lnTo>
                    <a:pt x="762" y="1146"/>
                  </a:lnTo>
                  <a:lnTo>
                    <a:pt x="765" y="1145"/>
                  </a:lnTo>
                  <a:lnTo>
                    <a:pt x="766" y="1145"/>
                  </a:lnTo>
                  <a:lnTo>
                    <a:pt x="770" y="1145"/>
                  </a:lnTo>
                  <a:lnTo>
                    <a:pt x="772" y="1144"/>
                  </a:lnTo>
                  <a:lnTo>
                    <a:pt x="776" y="1142"/>
                  </a:lnTo>
                  <a:lnTo>
                    <a:pt x="777" y="1141"/>
                  </a:lnTo>
                  <a:lnTo>
                    <a:pt x="776" y="1140"/>
                  </a:lnTo>
                  <a:lnTo>
                    <a:pt x="774" y="1138"/>
                  </a:lnTo>
                  <a:lnTo>
                    <a:pt x="774" y="1136"/>
                  </a:lnTo>
                  <a:lnTo>
                    <a:pt x="777" y="1139"/>
                  </a:lnTo>
                  <a:lnTo>
                    <a:pt x="778" y="1138"/>
                  </a:lnTo>
                  <a:lnTo>
                    <a:pt x="778" y="1135"/>
                  </a:lnTo>
                  <a:lnTo>
                    <a:pt x="778" y="1134"/>
                  </a:lnTo>
                  <a:lnTo>
                    <a:pt x="778" y="1133"/>
                  </a:lnTo>
                  <a:lnTo>
                    <a:pt x="778" y="1130"/>
                  </a:lnTo>
                  <a:lnTo>
                    <a:pt x="777" y="1128"/>
                  </a:lnTo>
                  <a:lnTo>
                    <a:pt x="777" y="1127"/>
                  </a:lnTo>
                  <a:lnTo>
                    <a:pt x="777" y="1126"/>
                  </a:lnTo>
                  <a:lnTo>
                    <a:pt x="777" y="1124"/>
                  </a:lnTo>
                  <a:lnTo>
                    <a:pt x="777" y="1122"/>
                  </a:lnTo>
                  <a:lnTo>
                    <a:pt x="778" y="1121"/>
                  </a:lnTo>
                  <a:lnTo>
                    <a:pt x="779" y="1120"/>
                  </a:lnTo>
                  <a:lnTo>
                    <a:pt x="779" y="1117"/>
                  </a:lnTo>
                  <a:lnTo>
                    <a:pt x="779" y="1109"/>
                  </a:lnTo>
                  <a:lnTo>
                    <a:pt x="780" y="1108"/>
                  </a:lnTo>
                  <a:lnTo>
                    <a:pt x="780" y="1106"/>
                  </a:lnTo>
                  <a:lnTo>
                    <a:pt x="782" y="1105"/>
                  </a:lnTo>
                  <a:lnTo>
                    <a:pt x="783" y="1105"/>
                  </a:lnTo>
                  <a:lnTo>
                    <a:pt x="783" y="1104"/>
                  </a:lnTo>
                  <a:lnTo>
                    <a:pt x="784" y="1105"/>
                  </a:lnTo>
                  <a:lnTo>
                    <a:pt x="784" y="1104"/>
                  </a:lnTo>
                  <a:lnTo>
                    <a:pt x="785" y="1103"/>
                  </a:lnTo>
                  <a:lnTo>
                    <a:pt x="786" y="1103"/>
                  </a:lnTo>
                  <a:lnTo>
                    <a:pt x="786" y="1102"/>
                  </a:lnTo>
                  <a:lnTo>
                    <a:pt x="788" y="1102"/>
                  </a:lnTo>
                  <a:lnTo>
                    <a:pt x="789" y="1100"/>
                  </a:lnTo>
                  <a:lnTo>
                    <a:pt x="791" y="1099"/>
                  </a:lnTo>
                  <a:lnTo>
                    <a:pt x="792" y="1097"/>
                  </a:lnTo>
                  <a:lnTo>
                    <a:pt x="794" y="1097"/>
                  </a:lnTo>
                  <a:lnTo>
                    <a:pt x="794" y="1094"/>
                  </a:lnTo>
                  <a:lnTo>
                    <a:pt x="792" y="1094"/>
                  </a:lnTo>
                  <a:lnTo>
                    <a:pt x="790" y="1094"/>
                  </a:lnTo>
                  <a:lnTo>
                    <a:pt x="788" y="1094"/>
                  </a:lnTo>
                  <a:lnTo>
                    <a:pt x="783" y="1096"/>
                  </a:lnTo>
                  <a:lnTo>
                    <a:pt x="779" y="1098"/>
                  </a:lnTo>
                  <a:lnTo>
                    <a:pt x="774" y="1099"/>
                  </a:lnTo>
                  <a:lnTo>
                    <a:pt x="771" y="1102"/>
                  </a:lnTo>
                  <a:lnTo>
                    <a:pt x="767" y="1103"/>
                  </a:lnTo>
                  <a:lnTo>
                    <a:pt x="761" y="1104"/>
                  </a:lnTo>
                  <a:lnTo>
                    <a:pt x="756" y="1106"/>
                  </a:lnTo>
                  <a:lnTo>
                    <a:pt x="752" y="1108"/>
                  </a:lnTo>
                  <a:lnTo>
                    <a:pt x="748" y="1109"/>
                  </a:lnTo>
                  <a:lnTo>
                    <a:pt x="744" y="1108"/>
                  </a:lnTo>
                  <a:lnTo>
                    <a:pt x="737" y="1109"/>
                  </a:lnTo>
                  <a:lnTo>
                    <a:pt x="731" y="1109"/>
                  </a:lnTo>
                  <a:lnTo>
                    <a:pt x="725" y="1109"/>
                  </a:lnTo>
                  <a:lnTo>
                    <a:pt x="720" y="1108"/>
                  </a:lnTo>
                  <a:lnTo>
                    <a:pt x="717" y="1106"/>
                  </a:lnTo>
                  <a:lnTo>
                    <a:pt x="712" y="1105"/>
                  </a:lnTo>
                  <a:lnTo>
                    <a:pt x="701" y="1105"/>
                  </a:lnTo>
                  <a:lnTo>
                    <a:pt x="700" y="1104"/>
                  </a:lnTo>
                  <a:lnTo>
                    <a:pt x="696" y="1103"/>
                  </a:lnTo>
                  <a:lnTo>
                    <a:pt x="694" y="1100"/>
                  </a:lnTo>
                  <a:lnTo>
                    <a:pt x="694" y="1098"/>
                  </a:lnTo>
                  <a:lnTo>
                    <a:pt x="693" y="1097"/>
                  </a:lnTo>
                  <a:lnTo>
                    <a:pt x="693" y="1094"/>
                  </a:lnTo>
                  <a:lnTo>
                    <a:pt x="691" y="1093"/>
                  </a:lnTo>
                  <a:lnTo>
                    <a:pt x="691" y="1091"/>
                  </a:lnTo>
                  <a:lnTo>
                    <a:pt x="693" y="1091"/>
                  </a:lnTo>
                  <a:lnTo>
                    <a:pt x="694" y="1093"/>
                  </a:lnTo>
                  <a:lnTo>
                    <a:pt x="695" y="1092"/>
                  </a:lnTo>
                  <a:lnTo>
                    <a:pt x="696" y="1092"/>
                  </a:lnTo>
                  <a:lnTo>
                    <a:pt x="697" y="1091"/>
                  </a:lnTo>
                  <a:lnTo>
                    <a:pt x="699" y="1091"/>
                  </a:lnTo>
                  <a:lnTo>
                    <a:pt x="700" y="1090"/>
                  </a:lnTo>
                  <a:lnTo>
                    <a:pt x="700" y="1088"/>
                  </a:lnTo>
                  <a:lnTo>
                    <a:pt x="702" y="1087"/>
                  </a:lnTo>
                  <a:lnTo>
                    <a:pt x="703" y="1087"/>
                  </a:lnTo>
                  <a:lnTo>
                    <a:pt x="705" y="1086"/>
                  </a:lnTo>
                  <a:lnTo>
                    <a:pt x="705" y="1087"/>
                  </a:lnTo>
                  <a:lnTo>
                    <a:pt x="706" y="1087"/>
                  </a:lnTo>
                  <a:lnTo>
                    <a:pt x="707" y="1087"/>
                  </a:lnTo>
                  <a:lnTo>
                    <a:pt x="708" y="1087"/>
                  </a:lnTo>
                  <a:lnTo>
                    <a:pt x="709" y="1087"/>
                  </a:lnTo>
                  <a:lnTo>
                    <a:pt x="711" y="1087"/>
                  </a:lnTo>
                  <a:lnTo>
                    <a:pt x="713" y="1086"/>
                  </a:lnTo>
                  <a:lnTo>
                    <a:pt x="714" y="1086"/>
                  </a:lnTo>
                  <a:lnTo>
                    <a:pt x="714" y="1085"/>
                  </a:lnTo>
                  <a:lnTo>
                    <a:pt x="714" y="1082"/>
                  </a:lnTo>
                  <a:lnTo>
                    <a:pt x="715" y="1081"/>
                  </a:lnTo>
                  <a:lnTo>
                    <a:pt x="717" y="1082"/>
                  </a:lnTo>
                  <a:lnTo>
                    <a:pt x="715" y="1084"/>
                  </a:lnTo>
                  <a:lnTo>
                    <a:pt x="717" y="1085"/>
                  </a:lnTo>
                  <a:lnTo>
                    <a:pt x="718" y="1084"/>
                  </a:lnTo>
                  <a:lnTo>
                    <a:pt x="719" y="1082"/>
                  </a:lnTo>
                  <a:lnTo>
                    <a:pt x="719" y="1081"/>
                  </a:lnTo>
                  <a:lnTo>
                    <a:pt x="719" y="1080"/>
                  </a:lnTo>
                  <a:lnTo>
                    <a:pt x="720" y="1082"/>
                  </a:lnTo>
                  <a:lnTo>
                    <a:pt x="720" y="1081"/>
                  </a:lnTo>
                  <a:lnTo>
                    <a:pt x="721" y="1081"/>
                  </a:lnTo>
                  <a:lnTo>
                    <a:pt x="723" y="1081"/>
                  </a:lnTo>
                  <a:lnTo>
                    <a:pt x="725" y="1080"/>
                  </a:lnTo>
                  <a:lnTo>
                    <a:pt x="726" y="1078"/>
                  </a:lnTo>
                  <a:lnTo>
                    <a:pt x="726" y="1076"/>
                  </a:lnTo>
                  <a:lnTo>
                    <a:pt x="727" y="1075"/>
                  </a:lnTo>
                  <a:lnTo>
                    <a:pt x="727" y="1073"/>
                  </a:lnTo>
                  <a:lnTo>
                    <a:pt x="729" y="1072"/>
                  </a:lnTo>
                  <a:lnTo>
                    <a:pt x="730" y="1072"/>
                  </a:lnTo>
                  <a:lnTo>
                    <a:pt x="731" y="1070"/>
                  </a:lnTo>
                  <a:lnTo>
                    <a:pt x="731" y="1069"/>
                  </a:lnTo>
                  <a:lnTo>
                    <a:pt x="732" y="1068"/>
                  </a:lnTo>
                  <a:lnTo>
                    <a:pt x="732" y="1067"/>
                  </a:lnTo>
                  <a:lnTo>
                    <a:pt x="733" y="1067"/>
                  </a:lnTo>
                  <a:lnTo>
                    <a:pt x="735" y="1065"/>
                  </a:lnTo>
                  <a:lnTo>
                    <a:pt x="735" y="1064"/>
                  </a:lnTo>
                  <a:lnTo>
                    <a:pt x="735" y="1063"/>
                  </a:lnTo>
                  <a:lnTo>
                    <a:pt x="735" y="1064"/>
                  </a:lnTo>
                  <a:lnTo>
                    <a:pt x="736" y="1064"/>
                  </a:lnTo>
                  <a:lnTo>
                    <a:pt x="736" y="1063"/>
                  </a:lnTo>
                  <a:lnTo>
                    <a:pt x="737" y="1061"/>
                  </a:lnTo>
                  <a:lnTo>
                    <a:pt x="737" y="1059"/>
                  </a:lnTo>
                  <a:lnTo>
                    <a:pt x="738" y="1058"/>
                  </a:lnTo>
                  <a:lnTo>
                    <a:pt x="737" y="1058"/>
                  </a:lnTo>
                  <a:lnTo>
                    <a:pt x="736" y="1057"/>
                  </a:lnTo>
                  <a:lnTo>
                    <a:pt x="733" y="1058"/>
                  </a:lnTo>
                  <a:lnTo>
                    <a:pt x="731" y="1058"/>
                  </a:lnTo>
                  <a:lnTo>
                    <a:pt x="723" y="1058"/>
                  </a:lnTo>
                  <a:lnTo>
                    <a:pt x="718" y="1059"/>
                  </a:lnTo>
                  <a:lnTo>
                    <a:pt x="714" y="1061"/>
                  </a:lnTo>
                  <a:lnTo>
                    <a:pt x="711" y="1059"/>
                  </a:lnTo>
                  <a:lnTo>
                    <a:pt x="708" y="1059"/>
                  </a:lnTo>
                  <a:lnTo>
                    <a:pt x="706" y="1057"/>
                  </a:lnTo>
                  <a:lnTo>
                    <a:pt x="706" y="1056"/>
                  </a:lnTo>
                  <a:lnTo>
                    <a:pt x="705" y="1055"/>
                  </a:lnTo>
                  <a:lnTo>
                    <a:pt x="706" y="1053"/>
                  </a:lnTo>
                  <a:lnTo>
                    <a:pt x="707" y="1051"/>
                  </a:lnTo>
                  <a:lnTo>
                    <a:pt x="708" y="1050"/>
                  </a:lnTo>
                  <a:lnTo>
                    <a:pt x="709" y="1049"/>
                  </a:lnTo>
                  <a:lnTo>
                    <a:pt x="709" y="1046"/>
                  </a:lnTo>
                  <a:lnTo>
                    <a:pt x="711" y="1046"/>
                  </a:lnTo>
                  <a:lnTo>
                    <a:pt x="712" y="1046"/>
                  </a:lnTo>
                  <a:lnTo>
                    <a:pt x="713" y="1045"/>
                  </a:lnTo>
                  <a:lnTo>
                    <a:pt x="714" y="1045"/>
                  </a:lnTo>
                  <a:lnTo>
                    <a:pt x="714" y="1044"/>
                  </a:lnTo>
                  <a:lnTo>
                    <a:pt x="715" y="1043"/>
                  </a:lnTo>
                  <a:lnTo>
                    <a:pt x="717" y="1043"/>
                  </a:lnTo>
                  <a:lnTo>
                    <a:pt x="717" y="1044"/>
                  </a:lnTo>
                  <a:lnTo>
                    <a:pt x="718" y="1044"/>
                  </a:lnTo>
                  <a:lnTo>
                    <a:pt x="719" y="1044"/>
                  </a:lnTo>
                  <a:lnTo>
                    <a:pt x="720" y="1043"/>
                  </a:lnTo>
                  <a:lnTo>
                    <a:pt x="721" y="1041"/>
                  </a:lnTo>
                  <a:lnTo>
                    <a:pt x="724" y="1041"/>
                  </a:lnTo>
                  <a:lnTo>
                    <a:pt x="724" y="1040"/>
                  </a:lnTo>
                  <a:lnTo>
                    <a:pt x="725" y="1040"/>
                  </a:lnTo>
                  <a:lnTo>
                    <a:pt x="726" y="1039"/>
                  </a:lnTo>
                  <a:lnTo>
                    <a:pt x="726" y="1038"/>
                  </a:lnTo>
                  <a:lnTo>
                    <a:pt x="727" y="1037"/>
                  </a:lnTo>
                  <a:lnTo>
                    <a:pt x="729" y="1035"/>
                  </a:lnTo>
                  <a:lnTo>
                    <a:pt x="731" y="1034"/>
                  </a:lnTo>
                  <a:lnTo>
                    <a:pt x="732" y="1033"/>
                  </a:lnTo>
                  <a:lnTo>
                    <a:pt x="733" y="1033"/>
                  </a:lnTo>
                  <a:lnTo>
                    <a:pt x="736" y="1032"/>
                  </a:lnTo>
                  <a:lnTo>
                    <a:pt x="736" y="1031"/>
                  </a:lnTo>
                  <a:lnTo>
                    <a:pt x="736" y="1029"/>
                  </a:lnTo>
                  <a:lnTo>
                    <a:pt x="737" y="1029"/>
                  </a:lnTo>
                  <a:lnTo>
                    <a:pt x="738" y="1027"/>
                  </a:lnTo>
                  <a:lnTo>
                    <a:pt x="739" y="1027"/>
                  </a:lnTo>
                  <a:lnTo>
                    <a:pt x="741" y="1025"/>
                  </a:lnTo>
                  <a:lnTo>
                    <a:pt x="741" y="1023"/>
                  </a:lnTo>
                  <a:lnTo>
                    <a:pt x="741" y="1020"/>
                  </a:lnTo>
                  <a:lnTo>
                    <a:pt x="742" y="1019"/>
                  </a:lnTo>
                  <a:lnTo>
                    <a:pt x="742" y="1017"/>
                  </a:lnTo>
                  <a:lnTo>
                    <a:pt x="743" y="1015"/>
                  </a:lnTo>
                  <a:lnTo>
                    <a:pt x="744" y="1014"/>
                  </a:lnTo>
                  <a:lnTo>
                    <a:pt x="745" y="1013"/>
                  </a:lnTo>
                  <a:lnTo>
                    <a:pt x="745" y="1010"/>
                  </a:lnTo>
                  <a:lnTo>
                    <a:pt x="744" y="1010"/>
                  </a:lnTo>
                  <a:lnTo>
                    <a:pt x="743" y="1010"/>
                  </a:lnTo>
                  <a:lnTo>
                    <a:pt x="741" y="1013"/>
                  </a:lnTo>
                  <a:lnTo>
                    <a:pt x="739" y="1014"/>
                  </a:lnTo>
                  <a:lnTo>
                    <a:pt x="738" y="1014"/>
                  </a:lnTo>
                  <a:lnTo>
                    <a:pt x="737" y="1014"/>
                  </a:lnTo>
                  <a:lnTo>
                    <a:pt x="737" y="1013"/>
                  </a:lnTo>
                  <a:lnTo>
                    <a:pt x="738" y="1011"/>
                  </a:lnTo>
                  <a:lnTo>
                    <a:pt x="739" y="1011"/>
                  </a:lnTo>
                  <a:lnTo>
                    <a:pt x="741" y="1010"/>
                  </a:lnTo>
                  <a:lnTo>
                    <a:pt x="742" y="1010"/>
                  </a:lnTo>
                  <a:lnTo>
                    <a:pt x="743" y="1009"/>
                  </a:lnTo>
                  <a:lnTo>
                    <a:pt x="742" y="1009"/>
                  </a:lnTo>
                  <a:lnTo>
                    <a:pt x="739" y="1007"/>
                  </a:lnTo>
                  <a:lnTo>
                    <a:pt x="738" y="1005"/>
                  </a:lnTo>
                  <a:lnTo>
                    <a:pt x="736" y="1005"/>
                  </a:lnTo>
                  <a:lnTo>
                    <a:pt x="735" y="1003"/>
                  </a:lnTo>
                  <a:lnTo>
                    <a:pt x="736" y="1004"/>
                  </a:lnTo>
                  <a:lnTo>
                    <a:pt x="739" y="1003"/>
                  </a:lnTo>
                  <a:lnTo>
                    <a:pt x="739" y="1002"/>
                  </a:lnTo>
                  <a:lnTo>
                    <a:pt x="741" y="1002"/>
                  </a:lnTo>
                  <a:lnTo>
                    <a:pt x="742" y="1001"/>
                  </a:lnTo>
                  <a:lnTo>
                    <a:pt x="741" y="1001"/>
                  </a:lnTo>
                  <a:lnTo>
                    <a:pt x="738" y="1001"/>
                  </a:lnTo>
                  <a:lnTo>
                    <a:pt x="738" y="999"/>
                  </a:lnTo>
                  <a:lnTo>
                    <a:pt x="739" y="999"/>
                  </a:lnTo>
                  <a:lnTo>
                    <a:pt x="741" y="998"/>
                  </a:lnTo>
                  <a:lnTo>
                    <a:pt x="742" y="998"/>
                  </a:lnTo>
                  <a:lnTo>
                    <a:pt x="742" y="997"/>
                  </a:lnTo>
                  <a:lnTo>
                    <a:pt x="741" y="997"/>
                  </a:lnTo>
                  <a:lnTo>
                    <a:pt x="739" y="997"/>
                  </a:lnTo>
                  <a:lnTo>
                    <a:pt x="739" y="995"/>
                  </a:lnTo>
                  <a:lnTo>
                    <a:pt x="739" y="993"/>
                  </a:lnTo>
                  <a:lnTo>
                    <a:pt x="738" y="993"/>
                  </a:lnTo>
                  <a:lnTo>
                    <a:pt x="737" y="996"/>
                  </a:lnTo>
                  <a:lnTo>
                    <a:pt x="736" y="995"/>
                  </a:lnTo>
                  <a:lnTo>
                    <a:pt x="735" y="993"/>
                  </a:lnTo>
                  <a:lnTo>
                    <a:pt x="733" y="993"/>
                  </a:lnTo>
                  <a:lnTo>
                    <a:pt x="733" y="996"/>
                  </a:lnTo>
                  <a:lnTo>
                    <a:pt x="733" y="999"/>
                  </a:lnTo>
                  <a:lnTo>
                    <a:pt x="732" y="1002"/>
                  </a:lnTo>
                  <a:lnTo>
                    <a:pt x="730" y="1002"/>
                  </a:lnTo>
                  <a:lnTo>
                    <a:pt x="729" y="1005"/>
                  </a:lnTo>
                  <a:lnTo>
                    <a:pt x="726" y="1007"/>
                  </a:lnTo>
                  <a:lnTo>
                    <a:pt x="724" y="1007"/>
                  </a:lnTo>
                  <a:lnTo>
                    <a:pt x="723" y="1008"/>
                  </a:lnTo>
                  <a:lnTo>
                    <a:pt x="721" y="1009"/>
                  </a:lnTo>
                  <a:lnTo>
                    <a:pt x="719" y="1010"/>
                  </a:lnTo>
                  <a:lnTo>
                    <a:pt x="718" y="1010"/>
                  </a:lnTo>
                  <a:lnTo>
                    <a:pt x="715" y="1011"/>
                  </a:lnTo>
                  <a:lnTo>
                    <a:pt x="713" y="1013"/>
                  </a:lnTo>
                  <a:lnTo>
                    <a:pt x="709" y="1013"/>
                  </a:lnTo>
                  <a:lnTo>
                    <a:pt x="708" y="1014"/>
                  </a:lnTo>
                  <a:lnTo>
                    <a:pt x="706" y="1015"/>
                  </a:lnTo>
                  <a:lnTo>
                    <a:pt x="705" y="1014"/>
                  </a:lnTo>
                  <a:lnTo>
                    <a:pt x="706" y="1014"/>
                  </a:lnTo>
                  <a:lnTo>
                    <a:pt x="706" y="1013"/>
                  </a:lnTo>
                  <a:lnTo>
                    <a:pt x="707" y="1011"/>
                  </a:lnTo>
                  <a:lnTo>
                    <a:pt x="707" y="1010"/>
                  </a:lnTo>
                  <a:lnTo>
                    <a:pt x="706" y="1009"/>
                  </a:lnTo>
                  <a:lnTo>
                    <a:pt x="706" y="1007"/>
                  </a:lnTo>
                  <a:lnTo>
                    <a:pt x="705" y="1005"/>
                  </a:lnTo>
                  <a:lnTo>
                    <a:pt x="705" y="1004"/>
                  </a:lnTo>
                  <a:lnTo>
                    <a:pt x="706" y="1005"/>
                  </a:lnTo>
                  <a:lnTo>
                    <a:pt x="707" y="1003"/>
                  </a:lnTo>
                  <a:lnTo>
                    <a:pt x="707" y="1004"/>
                  </a:lnTo>
                  <a:lnTo>
                    <a:pt x="708" y="1003"/>
                  </a:lnTo>
                  <a:lnTo>
                    <a:pt x="708" y="1002"/>
                  </a:lnTo>
                  <a:lnTo>
                    <a:pt x="707" y="1002"/>
                  </a:lnTo>
                  <a:lnTo>
                    <a:pt x="707" y="1001"/>
                  </a:lnTo>
                  <a:lnTo>
                    <a:pt x="707" y="999"/>
                  </a:lnTo>
                  <a:lnTo>
                    <a:pt x="708" y="998"/>
                  </a:lnTo>
                  <a:lnTo>
                    <a:pt x="707" y="997"/>
                  </a:lnTo>
                  <a:lnTo>
                    <a:pt x="705" y="997"/>
                  </a:lnTo>
                  <a:lnTo>
                    <a:pt x="703" y="997"/>
                  </a:lnTo>
                  <a:lnTo>
                    <a:pt x="702" y="997"/>
                  </a:lnTo>
                  <a:lnTo>
                    <a:pt x="701" y="998"/>
                  </a:lnTo>
                  <a:lnTo>
                    <a:pt x="700" y="998"/>
                  </a:lnTo>
                  <a:lnTo>
                    <a:pt x="697" y="999"/>
                  </a:lnTo>
                  <a:lnTo>
                    <a:pt x="696" y="999"/>
                  </a:lnTo>
                  <a:lnTo>
                    <a:pt x="696" y="998"/>
                  </a:lnTo>
                  <a:lnTo>
                    <a:pt x="699" y="997"/>
                  </a:lnTo>
                  <a:lnTo>
                    <a:pt x="699" y="996"/>
                  </a:lnTo>
                  <a:lnTo>
                    <a:pt x="699" y="995"/>
                  </a:lnTo>
                  <a:lnTo>
                    <a:pt x="697" y="993"/>
                  </a:lnTo>
                  <a:lnTo>
                    <a:pt x="697" y="991"/>
                  </a:lnTo>
                  <a:lnTo>
                    <a:pt x="696" y="989"/>
                  </a:lnTo>
                  <a:lnTo>
                    <a:pt x="695" y="987"/>
                  </a:lnTo>
                  <a:lnTo>
                    <a:pt x="694" y="987"/>
                  </a:lnTo>
                  <a:lnTo>
                    <a:pt x="694" y="986"/>
                  </a:lnTo>
                  <a:lnTo>
                    <a:pt x="693" y="987"/>
                  </a:lnTo>
                  <a:lnTo>
                    <a:pt x="693" y="989"/>
                  </a:lnTo>
                  <a:lnTo>
                    <a:pt x="693" y="990"/>
                  </a:lnTo>
                  <a:lnTo>
                    <a:pt x="691" y="992"/>
                  </a:lnTo>
                  <a:lnTo>
                    <a:pt x="690" y="993"/>
                  </a:lnTo>
                  <a:lnTo>
                    <a:pt x="689" y="993"/>
                  </a:lnTo>
                  <a:lnTo>
                    <a:pt x="688" y="993"/>
                  </a:lnTo>
                  <a:lnTo>
                    <a:pt x="688" y="995"/>
                  </a:lnTo>
                  <a:lnTo>
                    <a:pt x="685" y="996"/>
                  </a:lnTo>
                  <a:lnTo>
                    <a:pt x="685" y="997"/>
                  </a:lnTo>
                  <a:lnTo>
                    <a:pt x="686" y="997"/>
                  </a:lnTo>
                  <a:lnTo>
                    <a:pt x="688" y="996"/>
                  </a:lnTo>
                  <a:lnTo>
                    <a:pt x="688" y="997"/>
                  </a:lnTo>
                  <a:lnTo>
                    <a:pt x="688" y="998"/>
                  </a:lnTo>
                  <a:lnTo>
                    <a:pt x="686" y="998"/>
                  </a:lnTo>
                  <a:lnTo>
                    <a:pt x="686" y="999"/>
                  </a:lnTo>
                  <a:lnTo>
                    <a:pt x="686" y="1001"/>
                  </a:lnTo>
                  <a:lnTo>
                    <a:pt x="688" y="1001"/>
                  </a:lnTo>
                  <a:lnTo>
                    <a:pt x="688" y="1002"/>
                  </a:lnTo>
                  <a:lnTo>
                    <a:pt x="686" y="1002"/>
                  </a:lnTo>
                  <a:lnTo>
                    <a:pt x="685" y="1002"/>
                  </a:lnTo>
                  <a:lnTo>
                    <a:pt x="685" y="1003"/>
                  </a:lnTo>
                  <a:lnTo>
                    <a:pt x="685" y="1004"/>
                  </a:lnTo>
                  <a:lnTo>
                    <a:pt x="686" y="1005"/>
                  </a:lnTo>
                  <a:lnTo>
                    <a:pt x="685" y="1007"/>
                  </a:lnTo>
                  <a:lnTo>
                    <a:pt x="683" y="1007"/>
                  </a:lnTo>
                  <a:lnTo>
                    <a:pt x="682" y="1007"/>
                  </a:lnTo>
                  <a:lnTo>
                    <a:pt x="684" y="1008"/>
                  </a:lnTo>
                  <a:lnTo>
                    <a:pt x="685" y="1008"/>
                  </a:lnTo>
                  <a:lnTo>
                    <a:pt x="686" y="1009"/>
                  </a:lnTo>
                  <a:lnTo>
                    <a:pt x="685" y="1011"/>
                  </a:lnTo>
                  <a:lnTo>
                    <a:pt x="684" y="1011"/>
                  </a:lnTo>
                  <a:lnTo>
                    <a:pt x="683" y="1010"/>
                  </a:lnTo>
                  <a:lnTo>
                    <a:pt x="683" y="1011"/>
                  </a:lnTo>
                  <a:lnTo>
                    <a:pt x="682" y="1013"/>
                  </a:lnTo>
                  <a:lnTo>
                    <a:pt x="679" y="1014"/>
                  </a:lnTo>
                  <a:lnTo>
                    <a:pt x="677" y="1014"/>
                  </a:lnTo>
                  <a:lnTo>
                    <a:pt x="674" y="1015"/>
                  </a:lnTo>
                  <a:lnTo>
                    <a:pt x="672" y="1015"/>
                  </a:lnTo>
                  <a:lnTo>
                    <a:pt x="670" y="1015"/>
                  </a:lnTo>
                  <a:lnTo>
                    <a:pt x="665" y="1016"/>
                  </a:lnTo>
                  <a:lnTo>
                    <a:pt x="661" y="1015"/>
                  </a:lnTo>
                  <a:lnTo>
                    <a:pt x="659" y="1014"/>
                  </a:lnTo>
                  <a:lnTo>
                    <a:pt x="656" y="1014"/>
                  </a:lnTo>
                  <a:lnTo>
                    <a:pt x="653" y="1014"/>
                  </a:lnTo>
                  <a:lnTo>
                    <a:pt x="650" y="1013"/>
                  </a:lnTo>
                  <a:lnTo>
                    <a:pt x="648" y="1010"/>
                  </a:lnTo>
                  <a:lnTo>
                    <a:pt x="648" y="1009"/>
                  </a:lnTo>
                  <a:lnTo>
                    <a:pt x="648" y="1008"/>
                  </a:lnTo>
                  <a:lnTo>
                    <a:pt x="650" y="1008"/>
                  </a:lnTo>
                  <a:lnTo>
                    <a:pt x="650" y="1004"/>
                  </a:lnTo>
                  <a:lnTo>
                    <a:pt x="652" y="1005"/>
                  </a:lnTo>
                  <a:lnTo>
                    <a:pt x="652" y="1008"/>
                  </a:lnTo>
                  <a:lnTo>
                    <a:pt x="653" y="1009"/>
                  </a:lnTo>
                  <a:lnTo>
                    <a:pt x="655" y="1011"/>
                  </a:lnTo>
                  <a:lnTo>
                    <a:pt x="656" y="1013"/>
                  </a:lnTo>
                  <a:lnTo>
                    <a:pt x="658" y="1013"/>
                  </a:lnTo>
                  <a:lnTo>
                    <a:pt x="658" y="1010"/>
                  </a:lnTo>
                  <a:lnTo>
                    <a:pt x="655" y="1008"/>
                  </a:lnTo>
                  <a:lnTo>
                    <a:pt x="653" y="1005"/>
                  </a:lnTo>
                  <a:lnTo>
                    <a:pt x="653" y="1003"/>
                  </a:lnTo>
                  <a:lnTo>
                    <a:pt x="652" y="1001"/>
                  </a:lnTo>
                  <a:lnTo>
                    <a:pt x="653" y="1001"/>
                  </a:lnTo>
                  <a:lnTo>
                    <a:pt x="654" y="1002"/>
                  </a:lnTo>
                  <a:lnTo>
                    <a:pt x="654" y="1003"/>
                  </a:lnTo>
                  <a:lnTo>
                    <a:pt x="655" y="1003"/>
                  </a:lnTo>
                  <a:lnTo>
                    <a:pt x="655" y="1002"/>
                  </a:lnTo>
                  <a:lnTo>
                    <a:pt x="656" y="1001"/>
                  </a:lnTo>
                  <a:lnTo>
                    <a:pt x="658" y="1002"/>
                  </a:lnTo>
                  <a:lnTo>
                    <a:pt x="659" y="1003"/>
                  </a:lnTo>
                  <a:lnTo>
                    <a:pt x="660" y="1001"/>
                  </a:lnTo>
                  <a:lnTo>
                    <a:pt x="660" y="999"/>
                  </a:lnTo>
                  <a:lnTo>
                    <a:pt x="659" y="997"/>
                  </a:lnTo>
                  <a:lnTo>
                    <a:pt x="656" y="995"/>
                  </a:lnTo>
                  <a:lnTo>
                    <a:pt x="655" y="993"/>
                  </a:lnTo>
                  <a:lnTo>
                    <a:pt x="656" y="991"/>
                  </a:lnTo>
                  <a:lnTo>
                    <a:pt x="656" y="992"/>
                  </a:lnTo>
                  <a:lnTo>
                    <a:pt x="658" y="993"/>
                  </a:lnTo>
                  <a:lnTo>
                    <a:pt x="659" y="995"/>
                  </a:lnTo>
                  <a:lnTo>
                    <a:pt x="660" y="996"/>
                  </a:lnTo>
                  <a:lnTo>
                    <a:pt x="661" y="995"/>
                  </a:lnTo>
                  <a:lnTo>
                    <a:pt x="661" y="993"/>
                  </a:lnTo>
                  <a:lnTo>
                    <a:pt x="662" y="993"/>
                  </a:lnTo>
                  <a:lnTo>
                    <a:pt x="664" y="995"/>
                  </a:lnTo>
                  <a:lnTo>
                    <a:pt x="665" y="996"/>
                  </a:lnTo>
                  <a:lnTo>
                    <a:pt x="666" y="995"/>
                  </a:lnTo>
                  <a:lnTo>
                    <a:pt x="666" y="993"/>
                  </a:lnTo>
                  <a:lnTo>
                    <a:pt x="667" y="992"/>
                  </a:lnTo>
                  <a:lnTo>
                    <a:pt x="667" y="990"/>
                  </a:lnTo>
                  <a:lnTo>
                    <a:pt x="666" y="987"/>
                  </a:lnTo>
                  <a:lnTo>
                    <a:pt x="665" y="986"/>
                  </a:lnTo>
                  <a:lnTo>
                    <a:pt x="665" y="984"/>
                  </a:lnTo>
                  <a:lnTo>
                    <a:pt x="666" y="984"/>
                  </a:lnTo>
                  <a:lnTo>
                    <a:pt x="667" y="985"/>
                  </a:lnTo>
                  <a:lnTo>
                    <a:pt x="670" y="984"/>
                  </a:lnTo>
                  <a:lnTo>
                    <a:pt x="672" y="985"/>
                  </a:lnTo>
                  <a:lnTo>
                    <a:pt x="674" y="986"/>
                  </a:lnTo>
                  <a:lnTo>
                    <a:pt x="676" y="985"/>
                  </a:lnTo>
                  <a:lnTo>
                    <a:pt x="677" y="984"/>
                  </a:lnTo>
                  <a:lnTo>
                    <a:pt x="678" y="984"/>
                  </a:lnTo>
                  <a:lnTo>
                    <a:pt x="678" y="983"/>
                  </a:lnTo>
                  <a:lnTo>
                    <a:pt x="676" y="981"/>
                  </a:lnTo>
                  <a:lnTo>
                    <a:pt x="673" y="981"/>
                  </a:lnTo>
                  <a:lnTo>
                    <a:pt x="671" y="980"/>
                  </a:lnTo>
                  <a:lnTo>
                    <a:pt x="668" y="979"/>
                  </a:lnTo>
                  <a:lnTo>
                    <a:pt x="667" y="977"/>
                  </a:lnTo>
                  <a:lnTo>
                    <a:pt x="667" y="975"/>
                  </a:lnTo>
                  <a:lnTo>
                    <a:pt x="666" y="975"/>
                  </a:lnTo>
                  <a:lnTo>
                    <a:pt x="666" y="974"/>
                  </a:lnTo>
                  <a:lnTo>
                    <a:pt x="667" y="974"/>
                  </a:lnTo>
                  <a:lnTo>
                    <a:pt x="668" y="975"/>
                  </a:lnTo>
                  <a:lnTo>
                    <a:pt x="671" y="977"/>
                  </a:lnTo>
                  <a:lnTo>
                    <a:pt x="672" y="977"/>
                  </a:lnTo>
                  <a:lnTo>
                    <a:pt x="673" y="979"/>
                  </a:lnTo>
                  <a:lnTo>
                    <a:pt x="674" y="979"/>
                  </a:lnTo>
                  <a:lnTo>
                    <a:pt x="676" y="978"/>
                  </a:lnTo>
                  <a:lnTo>
                    <a:pt x="676" y="977"/>
                  </a:lnTo>
                  <a:lnTo>
                    <a:pt x="674" y="975"/>
                  </a:lnTo>
                  <a:lnTo>
                    <a:pt x="673" y="974"/>
                  </a:lnTo>
                  <a:lnTo>
                    <a:pt x="670" y="973"/>
                  </a:lnTo>
                  <a:lnTo>
                    <a:pt x="668" y="972"/>
                  </a:lnTo>
                  <a:lnTo>
                    <a:pt x="667" y="972"/>
                  </a:lnTo>
                  <a:lnTo>
                    <a:pt x="665" y="971"/>
                  </a:lnTo>
                  <a:lnTo>
                    <a:pt x="664" y="969"/>
                  </a:lnTo>
                  <a:lnTo>
                    <a:pt x="664" y="968"/>
                  </a:lnTo>
                  <a:lnTo>
                    <a:pt x="665" y="969"/>
                  </a:lnTo>
                  <a:lnTo>
                    <a:pt x="666" y="969"/>
                  </a:lnTo>
                  <a:lnTo>
                    <a:pt x="667" y="971"/>
                  </a:lnTo>
                  <a:lnTo>
                    <a:pt x="668" y="972"/>
                  </a:lnTo>
                  <a:lnTo>
                    <a:pt x="670" y="971"/>
                  </a:lnTo>
                  <a:lnTo>
                    <a:pt x="672" y="971"/>
                  </a:lnTo>
                  <a:lnTo>
                    <a:pt x="674" y="971"/>
                  </a:lnTo>
                  <a:lnTo>
                    <a:pt x="673" y="968"/>
                  </a:lnTo>
                  <a:lnTo>
                    <a:pt x="672" y="967"/>
                  </a:lnTo>
                  <a:lnTo>
                    <a:pt x="673" y="965"/>
                  </a:lnTo>
                  <a:lnTo>
                    <a:pt x="676" y="966"/>
                  </a:lnTo>
                  <a:lnTo>
                    <a:pt x="674" y="965"/>
                  </a:lnTo>
                  <a:lnTo>
                    <a:pt x="673" y="962"/>
                  </a:lnTo>
                  <a:lnTo>
                    <a:pt x="676" y="961"/>
                  </a:lnTo>
                  <a:lnTo>
                    <a:pt x="677" y="960"/>
                  </a:lnTo>
                  <a:lnTo>
                    <a:pt x="677" y="959"/>
                  </a:lnTo>
                  <a:lnTo>
                    <a:pt x="673" y="959"/>
                  </a:lnTo>
                  <a:lnTo>
                    <a:pt x="672" y="959"/>
                  </a:lnTo>
                  <a:lnTo>
                    <a:pt x="670" y="957"/>
                  </a:lnTo>
                  <a:lnTo>
                    <a:pt x="665" y="952"/>
                  </a:lnTo>
                  <a:lnTo>
                    <a:pt x="661" y="950"/>
                  </a:lnTo>
                  <a:lnTo>
                    <a:pt x="660" y="948"/>
                  </a:lnTo>
                  <a:lnTo>
                    <a:pt x="661" y="943"/>
                  </a:lnTo>
                  <a:lnTo>
                    <a:pt x="661" y="939"/>
                  </a:lnTo>
                  <a:lnTo>
                    <a:pt x="662" y="939"/>
                  </a:lnTo>
                  <a:lnTo>
                    <a:pt x="664" y="944"/>
                  </a:lnTo>
                  <a:lnTo>
                    <a:pt x="664" y="949"/>
                  </a:lnTo>
                  <a:lnTo>
                    <a:pt x="665" y="948"/>
                  </a:lnTo>
                  <a:lnTo>
                    <a:pt x="665" y="946"/>
                  </a:lnTo>
                  <a:lnTo>
                    <a:pt x="666" y="948"/>
                  </a:lnTo>
                  <a:lnTo>
                    <a:pt x="667" y="945"/>
                  </a:lnTo>
                  <a:lnTo>
                    <a:pt x="667" y="942"/>
                  </a:lnTo>
                  <a:lnTo>
                    <a:pt x="668" y="940"/>
                  </a:lnTo>
                  <a:lnTo>
                    <a:pt x="670" y="942"/>
                  </a:lnTo>
                  <a:lnTo>
                    <a:pt x="668" y="948"/>
                  </a:lnTo>
                  <a:lnTo>
                    <a:pt x="670" y="949"/>
                  </a:lnTo>
                  <a:lnTo>
                    <a:pt x="671" y="951"/>
                  </a:lnTo>
                  <a:lnTo>
                    <a:pt x="674" y="952"/>
                  </a:lnTo>
                  <a:lnTo>
                    <a:pt x="674" y="950"/>
                  </a:lnTo>
                  <a:lnTo>
                    <a:pt x="673" y="946"/>
                  </a:lnTo>
                  <a:lnTo>
                    <a:pt x="672" y="944"/>
                  </a:lnTo>
                  <a:lnTo>
                    <a:pt x="671" y="940"/>
                  </a:lnTo>
                  <a:lnTo>
                    <a:pt x="667" y="938"/>
                  </a:lnTo>
                  <a:lnTo>
                    <a:pt x="666" y="936"/>
                  </a:lnTo>
                  <a:lnTo>
                    <a:pt x="666" y="934"/>
                  </a:lnTo>
                  <a:lnTo>
                    <a:pt x="668" y="937"/>
                  </a:lnTo>
                  <a:lnTo>
                    <a:pt x="668" y="933"/>
                  </a:lnTo>
                  <a:lnTo>
                    <a:pt x="668" y="932"/>
                  </a:lnTo>
                  <a:lnTo>
                    <a:pt x="670" y="932"/>
                  </a:lnTo>
                  <a:lnTo>
                    <a:pt x="671" y="936"/>
                  </a:lnTo>
                  <a:lnTo>
                    <a:pt x="671" y="938"/>
                  </a:lnTo>
                  <a:lnTo>
                    <a:pt x="672" y="940"/>
                  </a:lnTo>
                  <a:lnTo>
                    <a:pt x="672" y="942"/>
                  </a:lnTo>
                  <a:lnTo>
                    <a:pt x="673" y="943"/>
                  </a:lnTo>
                  <a:lnTo>
                    <a:pt x="674" y="944"/>
                  </a:lnTo>
                  <a:lnTo>
                    <a:pt x="676" y="940"/>
                  </a:lnTo>
                  <a:lnTo>
                    <a:pt x="676" y="937"/>
                  </a:lnTo>
                  <a:lnTo>
                    <a:pt x="677" y="936"/>
                  </a:lnTo>
                  <a:lnTo>
                    <a:pt x="677" y="934"/>
                  </a:lnTo>
                  <a:lnTo>
                    <a:pt x="674" y="933"/>
                  </a:lnTo>
                  <a:lnTo>
                    <a:pt x="674" y="932"/>
                  </a:lnTo>
                  <a:lnTo>
                    <a:pt x="674" y="928"/>
                  </a:lnTo>
                  <a:lnTo>
                    <a:pt x="674" y="930"/>
                  </a:lnTo>
                  <a:lnTo>
                    <a:pt x="676" y="932"/>
                  </a:lnTo>
                  <a:lnTo>
                    <a:pt x="677" y="933"/>
                  </a:lnTo>
                  <a:lnTo>
                    <a:pt x="679" y="934"/>
                  </a:lnTo>
                  <a:lnTo>
                    <a:pt x="680" y="936"/>
                  </a:lnTo>
                  <a:lnTo>
                    <a:pt x="682" y="938"/>
                  </a:lnTo>
                  <a:lnTo>
                    <a:pt x="683" y="939"/>
                  </a:lnTo>
                  <a:lnTo>
                    <a:pt x="684" y="938"/>
                  </a:lnTo>
                  <a:lnTo>
                    <a:pt x="684" y="942"/>
                  </a:lnTo>
                  <a:lnTo>
                    <a:pt x="685" y="942"/>
                  </a:lnTo>
                  <a:lnTo>
                    <a:pt x="686" y="939"/>
                  </a:lnTo>
                  <a:lnTo>
                    <a:pt x="688" y="938"/>
                  </a:lnTo>
                  <a:lnTo>
                    <a:pt x="688" y="936"/>
                  </a:lnTo>
                  <a:lnTo>
                    <a:pt x="688" y="934"/>
                  </a:lnTo>
                  <a:lnTo>
                    <a:pt x="689" y="936"/>
                  </a:lnTo>
                  <a:lnTo>
                    <a:pt x="690" y="943"/>
                  </a:lnTo>
                  <a:lnTo>
                    <a:pt x="690" y="945"/>
                  </a:lnTo>
                  <a:lnTo>
                    <a:pt x="691" y="945"/>
                  </a:lnTo>
                  <a:lnTo>
                    <a:pt x="691" y="944"/>
                  </a:lnTo>
                  <a:lnTo>
                    <a:pt x="691" y="940"/>
                  </a:lnTo>
                  <a:lnTo>
                    <a:pt x="693" y="939"/>
                  </a:lnTo>
                  <a:lnTo>
                    <a:pt x="694" y="936"/>
                  </a:lnTo>
                  <a:lnTo>
                    <a:pt x="695" y="936"/>
                  </a:lnTo>
                  <a:lnTo>
                    <a:pt x="696" y="942"/>
                  </a:lnTo>
                  <a:lnTo>
                    <a:pt x="697" y="940"/>
                  </a:lnTo>
                  <a:lnTo>
                    <a:pt x="699" y="939"/>
                  </a:lnTo>
                  <a:lnTo>
                    <a:pt x="699" y="942"/>
                  </a:lnTo>
                  <a:lnTo>
                    <a:pt x="701" y="943"/>
                  </a:lnTo>
                  <a:lnTo>
                    <a:pt x="701" y="940"/>
                  </a:lnTo>
                  <a:lnTo>
                    <a:pt x="701" y="937"/>
                  </a:lnTo>
                  <a:lnTo>
                    <a:pt x="702" y="934"/>
                  </a:lnTo>
                  <a:lnTo>
                    <a:pt x="705" y="933"/>
                  </a:lnTo>
                  <a:lnTo>
                    <a:pt x="703" y="932"/>
                  </a:lnTo>
                  <a:lnTo>
                    <a:pt x="702" y="930"/>
                  </a:lnTo>
                  <a:lnTo>
                    <a:pt x="700" y="927"/>
                  </a:lnTo>
                  <a:lnTo>
                    <a:pt x="701" y="926"/>
                  </a:lnTo>
                  <a:lnTo>
                    <a:pt x="705" y="926"/>
                  </a:lnTo>
                  <a:lnTo>
                    <a:pt x="706" y="925"/>
                  </a:lnTo>
                  <a:lnTo>
                    <a:pt x="707" y="926"/>
                  </a:lnTo>
                  <a:lnTo>
                    <a:pt x="707" y="930"/>
                  </a:lnTo>
                  <a:lnTo>
                    <a:pt x="709" y="931"/>
                  </a:lnTo>
                  <a:lnTo>
                    <a:pt x="711" y="928"/>
                  </a:lnTo>
                  <a:lnTo>
                    <a:pt x="711" y="927"/>
                  </a:lnTo>
                  <a:lnTo>
                    <a:pt x="713" y="930"/>
                  </a:lnTo>
                  <a:lnTo>
                    <a:pt x="719" y="933"/>
                  </a:lnTo>
                  <a:lnTo>
                    <a:pt x="720" y="932"/>
                  </a:lnTo>
                  <a:lnTo>
                    <a:pt x="719" y="930"/>
                  </a:lnTo>
                  <a:lnTo>
                    <a:pt x="717" y="927"/>
                  </a:lnTo>
                  <a:lnTo>
                    <a:pt x="715" y="926"/>
                  </a:lnTo>
                  <a:lnTo>
                    <a:pt x="709" y="924"/>
                  </a:lnTo>
                  <a:lnTo>
                    <a:pt x="707" y="921"/>
                  </a:lnTo>
                  <a:lnTo>
                    <a:pt x="705" y="919"/>
                  </a:lnTo>
                  <a:lnTo>
                    <a:pt x="702" y="916"/>
                  </a:lnTo>
                  <a:lnTo>
                    <a:pt x="702" y="914"/>
                  </a:lnTo>
                  <a:lnTo>
                    <a:pt x="702" y="913"/>
                  </a:lnTo>
                  <a:lnTo>
                    <a:pt x="703" y="913"/>
                  </a:lnTo>
                  <a:lnTo>
                    <a:pt x="705" y="915"/>
                  </a:lnTo>
                  <a:lnTo>
                    <a:pt x="706" y="918"/>
                  </a:lnTo>
                  <a:lnTo>
                    <a:pt x="708" y="919"/>
                  </a:lnTo>
                  <a:lnTo>
                    <a:pt x="709" y="919"/>
                  </a:lnTo>
                  <a:lnTo>
                    <a:pt x="711" y="919"/>
                  </a:lnTo>
                  <a:lnTo>
                    <a:pt x="712" y="920"/>
                  </a:lnTo>
                  <a:lnTo>
                    <a:pt x="712" y="918"/>
                  </a:lnTo>
                  <a:lnTo>
                    <a:pt x="712" y="914"/>
                  </a:lnTo>
                  <a:lnTo>
                    <a:pt x="712" y="912"/>
                  </a:lnTo>
                  <a:lnTo>
                    <a:pt x="713" y="914"/>
                  </a:lnTo>
                  <a:lnTo>
                    <a:pt x="713" y="916"/>
                  </a:lnTo>
                  <a:lnTo>
                    <a:pt x="713" y="920"/>
                  </a:lnTo>
                  <a:lnTo>
                    <a:pt x="714" y="920"/>
                  </a:lnTo>
                  <a:lnTo>
                    <a:pt x="714" y="922"/>
                  </a:lnTo>
                  <a:lnTo>
                    <a:pt x="715" y="925"/>
                  </a:lnTo>
                  <a:lnTo>
                    <a:pt x="717" y="925"/>
                  </a:lnTo>
                  <a:lnTo>
                    <a:pt x="717" y="924"/>
                  </a:lnTo>
                  <a:lnTo>
                    <a:pt x="718" y="922"/>
                  </a:lnTo>
                  <a:lnTo>
                    <a:pt x="717" y="921"/>
                  </a:lnTo>
                  <a:lnTo>
                    <a:pt x="717" y="919"/>
                  </a:lnTo>
                  <a:lnTo>
                    <a:pt x="717" y="916"/>
                  </a:lnTo>
                  <a:lnTo>
                    <a:pt x="718" y="915"/>
                  </a:lnTo>
                  <a:lnTo>
                    <a:pt x="718" y="919"/>
                  </a:lnTo>
                  <a:lnTo>
                    <a:pt x="719" y="920"/>
                  </a:lnTo>
                  <a:lnTo>
                    <a:pt x="719" y="921"/>
                  </a:lnTo>
                  <a:lnTo>
                    <a:pt x="720" y="925"/>
                  </a:lnTo>
                  <a:lnTo>
                    <a:pt x="721" y="924"/>
                  </a:lnTo>
                  <a:lnTo>
                    <a:pt x="721" y="921"/>
                  </a:lnTo>
                  <a:lnTo>
                    <a:pt x="721" y="919"/>
                  </a:lnTo>
                  <a:lnTo>
                    <a:pt x="721" y="915"/>
                  </a:lnTo>
                  <a:lnTo>
                    <a:pt x="721" y="912"/>
                  </a:lnTo>
                  <a:lnTo>
                    <a:pt x="723" y="915"/>
                  </a:lnTo>
                  <a:lnTo>
                    <a:pt x="725" y="916"/>
                  </a:lnTo>
                  <a:lnTo>
                    <a:pt x="726" y="919"/>
                  </a:lnTo>
                  <a:lnTo>
                    <a:pt x="726" y="924"/>
                  </a:lnTo>
                  <a:lnTo>
                    <a:pt x="726" y="925"/>
                  </a:lnTo>
                  <a:lnTo>
                    <a:pt x="727" y="924"/>
                  </a:lnTo>
                  <a:lnTo>
                    <a:pt x="729" y="921"/>
                  </a:lnTo>
                  <a:lnTo>
                    <a:pt x="730" y="919"/>
                  </a:lnTo>
                  <a:lnTo>
                    <a:pt x="730" y="915"/>
                  </a:lnTo>
                  <a:lnTo>
                    <a:pt x="729" y="913"/>
                  </a:lnTo>
                  <a:lnTo>
                    <a:pt x="730" y="908"/>
                  </a:lnTo>
                  <a:lnTo>
                    <a:pt x="729" y="908"/>
                  </a:lnTo>
                  <a:lnTo>
                    <a:pt x="729" y="906"/>
                  </a:lnTo>
                  <a:lnTo>
                    <a:pt x="730" y="906"/>
                  </a:lnTo>
                  <a:lnTo>
                    <a:pt x="731" y="908"/>
                  </a:lnTo>
                  <a:lnTo>
                    <a:pt x="731" y="910"/>
                  </a:lnTo>
                  <a:lnTo>
                    <a:pt x="732" y="914"/>
                  </a:lnTo>
                  <a:lnTo>
                    <a:pt x="733" y="914"/>
                  </a:lnTo>
                  <a:lnTo>
                    <a:pt x="736" y="913"/>
                  </a:lnTo>
                  <a:lnTo>
                    <a:pt x="736" y="909"/>
                  </a:lnTo>
                  <a:lnTo>
                    <a:pt x="736" y="906"/>
                  </a:lnTo>
                  <a:lnTo>
                    <a:pt x="736" y="903"/>
                  </a:lnTo>
                  <a:lnTo>
                    <a:pt x="738" y="901"/>
                  </a:lnTo>
                  <a:lnTo>
                    <a:pt x="738" y="904"/>
                  </a:lnTo>
                  <a:lnTo>
                    <a:pt x="741" y="910"/>
                  </a:lnTo>
                  <a:lnTo>
                    <a:pt x="742" y="913"/>
                  </a:lnTo>
                  <a:lnTo>
                    <a:pt x="744" y="910"/>
                  </a:lnTo>
                  <a:lnTo>
                    <a:pt x="745" y="908"/>
                  </a:lnTo>
                  <a:lnTo>
                    <a:pt x="747" y="908"/>
                  </a:lnTo>
                  <a:lnTo>
                    <a:pt x="747" y="910"/>
                  </a:lnTo>
                  <a:lnTo>
                    <a:pt x="745" y="914"/>
                  </a:lnTo>
                  <a:lnTo>
                    <a:pt x="747" y="919"/>
                  </a:lnTo>
                  <a:lnTo>
                    <a:pt x="748" y="920"/>
                  </a:lnTo>
                  <a:lnTo>
                    <a:pt x="748" y="918"/>
                  </a:lnTo>
                  <a:lnTo>
                    <a:pt x="749" y="914"/>
                  </a:lnTo>
                  <a:lnTo>
                    <a:pt x="750" y="916"/>
                  </a:lnTo>
                  <a:lnTo>
                    <a:pt x="752" y="916"/>
                  </a:lnTo>
                  <a:lnTo>
                    <a:pt x="754" y="915"/>
                  </a:lnTo>
                  <a:lnTo>
                    <a:pt x="753" y="910"/>
                  </a:lnTo>
                  <a:lnTo>
                    <a:pt x="755" y="908"/>
                  </a:lnTo>
                  <a:lnTo>
                    <a:pt x="758" y="908"/>
                  </a:lnTo>
                  <a:lnTo>
                    <a:pt x="759" y="909"/>
                  </a:lnTo>
                  <a:lnTo>
                    <a:pt x="761" y="908"/>
                  </a:lnTo>
                  <a:lnTo>
                    <a:pt x="759" y="906"/>
                  </a:lnTo>
                  <a:lnTo>
                    <a:pt x="756" y="903"/>
                  </a:lnTo>
                  <a:lnTo>
                    <a:pt x="755" y="902"/>
                  </a:lnTo>
                  <a:lnTo>
                    <a:pt x="750" y="898"/>
                  </a:lnTo>
                  <a:lnTo>
                    <a:pt x="743" y="894"/>
                  </a:lnTo>
                  <a:lnTo>
                    <a:pt x="737" y="890"/>
                  </a:lnTo>
                  <a:lnTo>
                    <a:pt x="729" y="889"/>
                  </a:lnTo>
                  <a:lnTo>
                    <a:pt x="724" y="889"/>
                  </a:lnTo>
                  <a:lnTo>
                    <a:pt x="720" y="890"/>
                  </a:lnTo>
                  <a:lnTo>
                    <a:pt x="718" y="890"/>
                  </a:lnTo>
                  <a:lnTo>
                    <a:pt x="717" y="890"/>
                  </a:lnTo>
                  <a:lnTo>
                    <a:pt x="714" y="890"/>
                  </a:lnTo>
                  <a:lnTo>
                    <a:pt x="713" y="890"/>
                  </a:lnTo>
                  <a:lnTo>
                    <a:pt x="708" y="888"/>
                  </a:lnTo>
                  <a:lnTo>
                    <a:pt x="705" y="886"/>
                  </a:lnTo>
                  <a:lnTo>
                    <a:pt x="700" y="884"/>
                  </a:lnTo>
                  <a:lnTo>
                    <a:pt x="700" y="883"/>
                  </a:lnTo>
                  <a:lnTo>
                    <a:pt x="702" y="882"/>
                  </a:lnTo>
                  <a:lnTo>
                    <a:pt x="703" y="882"/>
                  </a:lnTo>
                  <a:lnTo>
                    <a:pt x="709" y="884"/>
                  </a:lnTo>
                  <a:lnTo>
                    <a:pt x="711" y="883"/>
                  </a:lnTo>
                  <a:lnTo>
                    <a:pt x="707" y="882"/>
                  </a:lnTo>
                  <a:lnTo>
                    <a:pt x="705" y="880"/>
                  </a:lnTo>
                  <a:lnTo>
                    <a:pt x="709" y="877"/>
                  </a:lnTo>
                  <a:lnTo>
                    <a:pt x="708" y="877"/>
                  </a:lnTo>
                  <a:lnTo>
                    <a:pt x="703" y="878"/>
                  </a:lnTo>
                  <a:lnTo>
                    <a:pt x="702" y="877"/>
                  </a:lnTo>
                  <a:lnTo>
                    <a:pt x="701" y="878"/>
                  </a:lnTo>
                  <a:lnTo>
                    <a:pt x="701" y="879"/>
                  </a:lnTo>
                  <a:lnTo>
                    <a:pt x="699" y="880"/>
                  </a:lnTo>
                  <a:lnTo>
                    <a:pt x="696" y="883"/>
                  </a:lnTo>
                  <a:lnTo>
                    <a:pt x="694" y="882"/>
                  </a:lnTo>
                  <a:lnTo>
                    <a:pt x="691" y="884"/>
                  </a:lnTo>
                  <a:lnTo>
                    <a:pt x="690" y="886"/>
                  </a:lnTo>
                  <a:lnTo>
                    <a:pt x="685" y="884"/>
                  </a:lnTo>
                  <a:lnTo>
                    <a:pt x="678" y="880"/>
                  </a:lnTo>
                  <a:lnTo>
                    <a:pt x="671" y="877"/>
                  </a:lnTo>
                  <a:lnTo>
                    <a:pt x="670" y="878"/>
                  </a:lnTo>
                  <a:lnTo>
                    <a:pt x="667" y="878"/>
                  </a:lnTo>
                  <a:lnTo>
                    <a:pt x="666" y="876"/>
                  </a:lnTo>
                  <a:lnTo>
                    <a:pt x="668" y="874"/>
                  </a:lnTo>
                  <a:lnTo>
                    <a:pt x="668" y="873"/>
                  </a:lnTo>
                  <a:lnTo>
                    <a:pt x="668" y="870"/>
                  </a:lnTo>
                  <a:lnTo>
                    <a:pt x="668" y="867"/>
                  </a:lnTo>
                  <a:lnTo>
                    <a:pt x="670" y="866"/>
                  </a:lnTo>
                  <a:lnTo>
                    <a:pt x="670" y="867"/>
                  </a:lnTo>
                  <a:lnTo>
                    <a:pt x="671" y="871"/>
                  </a:lnTo>
                  <a:lnTo>
                    <a:pt x="673" y="872"/>
                  </a:lnTo>
                  <a:lnTo>
                    <a:pt x="673" y="868"/>
                  </a:lnTo>
                  <a:lnTo>
                    <a:pt x="673" y="866"/>
                  </a:lnTo>
                  <a:lnTo>
                    <a:pt x="674" y="866"/>
                  </a:lnTo>
                  <a:lnTo>
                    <a:pt x="676" y="867"/>
                  </a:lnTo>
                  <a:lnTo>
                    <a:pt x="678" y="867"/>
                  </a:lnTo>
                  <a:lnTo>
                    <a:pt x="679" y="867"/>
                  </a:lnTo>
                  <a:lnTo>
                    <a:pt x="679" y="866"/>
                  </a:lnTo>
                  <a:lnTo>
                    <a:pt x="680" y="866"/>
                  </a:lnTo>
                  <a:lnTo>
                    <a:pt x="682" y="866"/>
                  </a:lnTo>
                  <a:lnTo>
                    <a:pt x="683" y="864"/>
                  </a:lnTo>
                  <a:lnTo>
                    <a:pt x="684" y="862"/>
                  </a:lnTo>
                  <a:lnTo>
                    <a:pt x="688" y="861"/>
                  </a:lnTo>
                  <a:lnTo>
                    <a:pt x="693" y="859"/>
                  </a:lnTo>
                  <a:lnTo>
                    <a:pt x="693" y="856"/>
                  </a:lnTo>
                  <a:lnTo>
                    <a:pt x="694" y="854"/>
                  </a:lnTo>
                  <a:lnTo>
                    <a:pt x="695" y="854"/>
                  </a:lnTo>
                  <a:lnTo>
                    <a:pt x="697" y="855"/>
                  </a:lnTo>
                  <a:lnTo>
                    <a:pt x="699" y="853"/>
                  </a:lnTo>
                  <a:lnTo>
                    <a:pt x="697" y="850"/>
                  </a:lnTo>
                  <a:lnTo>
                    <a:pt x="696" y="847"/>
                  </a:lnTo>
                  <a:lnTo>
                    <a:pt x="699" y="847"/>
                  </a:lnTo>
                  <a:lnTo>
                    <a:pt x="700" y="847"/>
                  </a:lnTo>
                  <a:lnTo>
                    <a:pt x="701" y="852"/>
                  </a:lnTo>
                  <a:lnTo>
                    <a:pt x="701" y="854"/>
                  </a:lnTo>
                  <a:lnTo>
                    <a:pt x="702" y="855"/>
                  </a:lnTo>
                  <a:lnTo>
                    <a:pt x="703" y="854"/>
                  </a:lnTo>
                  <a:lnTo>
                    <a:pt x="703" y="849"/>
                  </a:lnTo>
                  <a:lnTo>
                    <a:pt x="703" y="847"/>
                  </a:lnTo>
                  <a:lnTo>
                    <a:pt x="705" y="847"/>
                  </a:lnTo>
                  <a:lnTo>
                    <a:pt x="706" y="848"/>
                  </a:lnTo>
                  <a:lnTo>
                    <a:pt x="706" y="853"/>
                  </a:lnTo>
                  <a:lnTo>
                    <a:pt x="705" y="856"/>
                  </a:lnTo>
                  <a:lnTo>
                    <a:pt x="706" y="860"/>
                  </a:lnTo>
                  <a:lnTo>
                    <a:pt x="707" y="856"/>
                  </a:lnTo>
                  <a:lnTo>
                    <a:pt x="707" y="854"/>
                  </a:lnTo>
                  <a:lnTo>
                    <a:pt x="708" y="852"/>
                  </a:lnTo>
                  <a:lnTo>
                    <a:pt x="709" y="849"/>
                  </a:lnTo>
                  <a:lnTo>
                    <a:pt x="708" y="847"/>
                  </a:lnTo>
                  <a:lnTo>
                    <a:pt x="706" y="844"/>
                  </a:lnTo>
                  <a:lnTo>
                    <a:pt x="708" y="842"/>
                  </a:lnTo>
                  <a:lnTo>
                    <a:pt x="708" y="839"/>
                  </a:lnTo>
                  <a:lnTo>
                    <a:pt x="709" y="837"/>
                  </a:lnTo>
                  <a:lnTo>
                    <a:pt x="712" y="839"/>
                  </a:lnTo>
                  <a:lnTo>
                    <a:pt x="713" y="841"/>
                  </a:lnTo>
                  <a:lnTo>
                    <a:pt x="713" y="838"/>
                  </a:lnTo>
                  <a:lnTo>
                    <a:pt x="713" y="837"/>
                  </a:lnTo>
                  <a:lnTo>
                    <a:pt x="714" y="835"/>
                  </a:lnTo>
                  <a:lnTo>
                    <a:pt x="714" y="832"/>
                  </a:lnTo>
                  <a:lnTo>
                    <a:pt x="714" y="830"/>
                  </a:lnTo>
                  <a:lnTo>
                    <a:pt x="712" y="826"/>
                  </a:lnTo>
                  <a:lnTo>
                    <a:pt x="713" y="825"/>
                  </a:lnTo>
                  <a:lnTo>
                    <a:pt x="714" y="825"/>
                  </a:lnTo>
                  <a:lnTo>
                    <a:pt x="718" y="826"/>
                  </a:lnTo>
                  <a:lnTo>
                    <a:pt x="718" y="830"/>
                  </a:lnTo>
                  <a:lnTo>
                    <a:pt x="717" y="832"/>
                  </a:lnTo>
                  <a:lnTo>
                    <a:pt x="717" y="836"/>
                  </a:lnTo>
                  <a:lnTo>
                    <a:pt x="717" y="841"/>
                  </a:lnTo>
                  <a:lnTo>
                    <a:pt x="717" y="843"/>
                  </a:lnTo>
                  <a:lnTo>
                    <a:pt x="718" y="843"/>
                  </a:lnTo>
                  <a:lnTo>
                    <a:pt x="718" y="839"/>
                  </a:lnTo>
                  <a:lnTo>
                    <a:pt x="718" y="833"/>
                  </a:lnTo>
                  <a:lnTo>
                    <a:pt x="719" y="837"/>
                  </a:lnTo>
                  <a:lnTo>
                    <a:pt x="719" y="839"/>
                  </a:lnTo>
                  <a:lnTo>
                    <a:pt x="720" y="839"/>
                  </a:lnTo>
                  <a:lnTo>
                    <a:pt x="721" y="838"/>
                  </a:lnTo>
                  <a:lnTo>
                    <a:pt x="721" y="835"/>
                  </a:lnTo>
                  <a:lnTo>
                    <a:pt x="721" y="831"/>
                  </a:lnTo>
                  <a:lnTo>
                    <a:pt x="721" y="827"/>
                  </a:lnTo>
                  <a:lnTo>
                    <a:pt x="723" y="829"/>
                  </a:lnTo>
                  <a:lnTo>
                    <a:pt x="723" y="832"/>
                  </a:lnTo>
                  <a:lnTo>
                    <a:pt x="723" y="839"/>
                  </a:lnTo>
                  <a:lnTo>
                    <a:pt x="724" y="842"/>
                  </a:lnTo>
                  <a:lnTo>
                    <a:pt x="725" y="844"/>
                  </a:lnTo>
                  <a:lnTo>
                    <a:pt x="725" y="841"/>
                  </a:lnTo>
                  <a:lnTo>
                    <a:pt x="725" y="835"/>
                  </a:lnTo>
                  <a:lnTo>
                    <a:pt x="725" y="833"/>
                  </a:lnTo>
                  <a:lnTo>
                    <a:pt x="726" y="835"/>
                  </a:lnTo>
                  <a:lnTo>
                    <a:pt x="726" y="839"/>
                  </a:lnTo>
                  <a:lnTo>
                    <a:pt x="726" y="844"/>
                  </a:lnTo>
                  <a:lnTo>
                    <a:pt x="727" y="844"/>
                  </a:lnTo>
                  <a:lnTo>
                    <a:pt x="729" y="842"/>
                  </a:lnTo>
                  <a:lnTo>
                    <a:pt x="729" y="838"/>
                  </a:lnTo>
                  <a:lnTo>
                    <a:pt x="730" y="835"/>
                  </a:lnTo>
                  <a:lnTo>
                    <a:pt x="730" y="833"/>
                  </a:lnTo>
                  <a:lnTo>
                    <a:pt x="731" y="836"/>
                  </a:lnTo>
                  <a:lnTo>
                    <a:pt x="732" y="833"/>
                  </a:lnTo>
                  <a:lnTo>
                    <a:pt x="733" y="833"/>
                  </a:lnTo>
                  <a:lnTo>
                    <a:pt x="735" y="836"/>
                  </a:lnTo>
                  <a:lnTo>
                    <a:pt x="736" y="838"/>
                  </a:lnTo>
                  <a:lnTo>
                    <a:pt x="737" y="839"/>
                  </a:lnTo>
                  <a:lnTo>
                    <a:pt x="738" y="841"/>
                  </a:lnTo>
                  <a:lnTo>
                    <a:pt x="738" y="838"/>
                  </a:lnTo>
                  <a:lnTo>
                    <a:pt x="738" y="836"/>
                  </a:lnTo>
                  <a:lnTo>
                    <a:pt x="741" y="837"/>
                  </a:lnTo>
                  <a:lnTo>
                    <a:pt x="743" y="837"/>
                  </a:lnTo>
                  <a:lnTo>
                    <a:pt x="742" y="835"/>
                  </a:lnTo>
                  <a:lnTo>
                    <a:pt x="739" y="833"/>
                  </a:lnTo>
                  <a:lnTo>
                    <a:pt x="739" y="831"/>
                  </a:lnTo>
                  <a:lnTo>
                    <a:pt x="737" y="831"/>
                  </a:lnTo>
                  <a:lnTo>
                    <a:pt x="735" y="832"/>
                  </a:lnTo>
                  <a:lnTo>
                    <a:pt x="733" y="830"/>
                  </a:lnTo>
                  <a:lnTo>
                    <a:pt x="731" y="831"/>
                  </a:lnTo>
                  <a:lnTo>
                    <a:pt x="730" y="829"/>
                  </a:lnTo>
                  <a:lnTo>
                    <a:pt x="725" y="827"/>
                  </a:lnTo>
                  <a:lnTo>
                    <a:pt x="721" y="825"/>
                  </a:lnTo>
                  <a:lnTo>
                    <a:pt x="719" y="823"/>
                  </a:lnTo>
                  <a:lnTo>
                    <a:pt x="718" y="824"/>
                  </a:lnTo>
                  <a:lnTo>
                    <a:pt x="713" y="823"/>
                  </a:lnTo>
                  <a:lnTo>
                    <a:pt x="712" y="823"/>
                  </a:lnTo>
                  <a:lnTo>
                    <a:pt x="708" y="823"/>
                  </a:lnTo>
                  <a:lnTo>
                    <a:pt x="703" y="823"/>
                  </a:lnTo>
                  <a:lnTo>
                    <a:pt x="700" y="823"/>
                  </a:lnTo>
                  <a:lnTo>
                    <a:pt x="699" y="824"/>
                  </a:lnTo>
                  <a:lnTo>
                    <a:pt x="695" y="825"/>
                  </a:lnTo>
                  <a:lnTo>
                    <a:pt x="693" y="825"/>
                  </a:lnTo>
                  <a:lnTo>
                    <a:pt x="691" y="826"/>
                  </a:lnTo>
                  <a:lnTo>
                    <a:pt x="688" y="827"/>
                  </a:lnTo>
                  <a:lnTo>
                    <a:pt x="684" y="827"/>
                  </a:lnTo>
                  <a:lnTo>
                    <a:pt x="679" y="827"/>
                  </a:lnTo>
                  <a:lnTo>
                    <a:pt x="673" y="827"/>
                  </a:lnTo>
                  <a:lnTo>
                    <a:pt x="674" y="830"/>
                  </a:lnTo>
                  <a:lnTo>
                    <a:pt x="672" y="829"/>
                  </a:lnTo>
                  <a:lnTo>
                    <a:pt x="671" y="827"/>
                  </a:lnTo>
                  <a:lnTo>
                    <a:pt x="670" y="829"/>
                  </a:lnTo>
                  <a:lnTo>
                    <a:pt x="667" y="830"/>
                  </a:lnTo>
                  <a:lnTo>
                    <a:pt x="665" y="830"/>
                  </a:lnTo>
                  <a:lnTo>
                    <a:pt x="664" y="831"/>
                  </a:lnTo>
                  <a:lnTo>
                    <a:pt x="662" y="830"/>
                  </a:lnTo>
                  <a:lnTo>
                    <a:pt x="660" y="830"/>
                  </a:lnTo>
                  <a:lnTo>
                    <a:pt x="654" y="830"/>
                  </a:lnTo>
                  <a:lnTo>
                    <a:pt x="649" y="829"/>
                  </a:lnTo>
                  <a:lnTo>
                    <a:pt x="647" y="829"/>
                  </a:lnTo>
                  <a:lnTo>
                    <a:pt x="646" y="829"/>
                  </a:lnTo>
                  <a:lnTo>
                    <a:pt x="643" y="829"/>
                  </a:lnTo>
                  <a:lnTo>
                    <a:pt x="643" y="831"/>
                  </a:lnTo>
                  <a:lnTo>
                    <a:pt x="642" y="831"/>
                  </a:lnTo>
                  <a:lnTo>
                    <a:pt x="640" y="830"/>
                  </a:lnTo>
                  <a:lnTo>
                    <a:pt x="638" y="830"/>
                  </a:lnTo>
                  <a:lnTo>
                    <a:pt x="637" y="829"/>
                  </a:lnTo>
                  <a:lnTo>
                    <a:pt x="636" y="827"/>
                  </a:lnTo>
                  <a:lnTo>
                    <a:pt x="632" y="826"/>
                  </a:lnTo>
                  <a:lnTo>
                    <a:pt x="630" y="825"/>
                  </a:lnTo>
                  <a:lnTo>
                    <a:pt x="625" y="825"/>
                  </a:lnTo>
                  <a:lnTo>
                    <a:pt x="620" y="821"/>
                  </a:lnTo>
                  <a:lnTo>
                    <a:pt x="615" y="819"/>
                  </a:lnTo>
                  <a:lnTo>
                    <a:pt x="615" y="818"/>
                  </a:lnTo>
                  <a:lnTo>
                    <a:pt x="619" y="819"/>
                  </a:lnTo>
                  <a:lnTo>
                    <a:pt x="623" y="821"/>
                  </a:lnTo>
                  <a:lnTo>
                    <a:pt x="623" y="820"/>
                  </a:lnTo>
                  <a:lnTo>
                    <a:pt x="618" y="817"/>
                  </a:lnTo>
                  <a:lnTo>
                    <a:pt x="619" y="815"/>
                  </a:lnTo>
                  <a:lnTo>
                    <a:pt x="623" y="815"/>
                  </a:lnTo>
                  <a:lnTo>
                    <a:pt x="625" y="815"/>
                  </a:lnTo>
                  <a:lnTo>
                    <a:pt x="619" y="813"/>
                  </a:lnTo>
                  <a:lnTo>
                    <a:pt x="617" y="813"/>
                  </a:lnTo>
                  <a:lnTo>
                    <a:pt x="617" y="812"/>
                  </a:lnTo>
                  <a:lnTo>
                    <a:pt x="615" y="811"/>
                  </a:lnTo>
                  <a:lnTo>
                    <a:pt x="613" y="811"/>
                  </a:lnTo>
                  <a:lnTo>
                    <a:pt x="612" y="811"/>
                  </a:lnTo>
                  <a:lnTo>
                    <a:pt x="612" y="812"/>
                  </a:lnTo>
                  <a:lnTo>
                    <a:pt x="613" y="813"/>
                  </a:lnTo>
                  <a:lnTo>
                    <a:pt x="612" y="814"/>
                  </a:lnTo>
                  <a:lnTo>
                    <a:pt x="608" y="817"/>
                  </a:lnTo>
                  <a:lnTo>
                    <a:pt x="607" y="818"/>
                  </a:lnTo>
                  <a:lnTo>
                    <a:pt x="603" y="818"/>
                  </a:lnTo>
                  <a:lnTo>
                    <a:pt x="600" y="815"/>
                  </a:lnTo>
                  <a:lnTo>
                    <a:pt x="593" y="813"/>
                  </a:lnTo>
                  <a:lnTo>
                    <a:pt x="591" y="813"/>
                  </a:lnTo>
                  <a:lnTo>
                    <a:pt x="590" y="814"/>
                  </a:lnTo>
                  <a:lnTo>
                    <a:pt x="589" y="814"/>
                  </a:lnTo>
                  <a:lnTo>
                    <a:pt x="585" y="815"/>
                  </a:lnTo>
                  <a:lnTo>
                    <a:pt x="583" y="814"/>
                  </a:lnTo>
                  <a:lnTo>
                    <a:pt x="581" y="813"/>
                  </a:lnTo>
                  <a:lnTo>
                    <a:pt x="579" y="811"/>
                  </a:lnTo>
                  <a:lnTo>
                    <a:pt x="577" y="811"/>
                  </a:lnTo>
                  <a:lnTo>
                    <a:pt x="573" y="811"/>
                  </a:lnTo>
                  <a:lnTo>
                    <a:pt x="573" y="809"/>
                  </a:lnTo>
                  <a:lnTo>
                    <a:pt x="570" y="809"/>
                  </a:lnTo>
                  <a:lnTo>
                    <a:pt x="569" y="808"/>
                  </a:lnTo>
                  <a:lnTo>
                    <a:pt x="565" y="799"/>
                  </a:lnTo>
                  <a:lnTo>
                    <a:pt x="562" y="795"/>
                  </a:lnTo>
                  <a:lnTo>
                    <a:pt x="562" y="793"/>
                  </a:lnTo>
                  <a:lnTo>
                    <a:pt x="564" y="789"/>
                  </a:lnTo>
                  <a:lnTo>
                    <a:pt x="565" y="784"/>
                  </a:lnTo>
                  <a:lnTo>
                    <a:pt x="566" y="784"/>
                  </a:lnTo>
                  <a:lnTo>
                    <a:pt x="569" y="787"/>
                  </a:lnTo>
                  <a:lnTo>
                    <a:pt x="571" y="787"/>
                  </a:lnTo>
                  <a:lnTo>
                    <a:pt x="573" y="789"/>
                  </a:lnTo>
                  <a:lnTo>
                    <a:pt x="575" y="790"/>
                  </a:lnTo>
                  <a:lnTo>
                    <a:pt x="575" y="793"/>
                  </a:lnTo>
                  <a:lnTo>
                    <a:pt x="575" y="796"/>
                  </a:lnTo>
                  <a:lnTo>
                    <a:pt x="576" y="800"/>
                  </a:lnTo>
                  <a:lnTo>
                    <a:pt x="578" y="800"/>
                  </a:lnTo>
                  <a:lnTo>
                    <a:pt x="579" y="797"/>
                  </a:lnTo>
                  <a:lnTo>
                    <a:pt x="578" y="795"/>
                  </a:lnTo>
                  <a:lnTo>
                    <a:pt x="578" y="793"/>
                  </a:lnTo>
                  <a:lnTo>
                    <a:pt x="581" y="790"/>
                  </a:lnTo>
                  <a:lnTo>
                    <a:pt x="582" y="793"/>
                  </a:lnTo>
                  <a:lnTo>
                    <a:pt x="582" y="796"/>
                  </a:lnTo>
                  <a:lnTo>
                    <a:pt x="583" y="799"/>
                  </a:lnTo>
                  <a:lnTo>
                    <a:pt x="584" y="797"/>
                  </a:lnTo>
                  <a:lnTo>
                    <a:pt x="585" y="796"/>
                  </a:lnTo>
                  <a:lnTo>
                    <a:pt x="584" y="794"/>
                  </a:lnTo>
                  <a:lnTo>
                    <a:pt x="585" y="791"/>
                  </a:lnTo>
                  <a:lnTo>
                    <a:pt x="585" y="790"/>
                  </a:lnTo>
                  <a:lnTo>
                    <a:pt x="584" y="789"/>
                  </a:lnTo>
                  <a:lnTo>
                    <a:pt x="585" y="787"/>
                  </a:lnTo>
                  <a:lnTo>
                    <a:pt x="587" y="789"/>
                  </a:lnTo>
                  <a:lnTo>
                    <a:pt x="587" y="787"/>
                  </a:lnTo>
                  <a:lnTo>
                    <a:pt x="588" y="787"/>
                  </a:lnTo>
                  <a:lnTo>
                    <a:pt x="589" y="788"/>
                  </a:lnTo>
                  <a:lnTo>
                    <a:pt x="589" y="789"/>
                  </a:lnTo>
                  <a:lnTo>
                    <a:pt x="591" y="787"/>
                  </a:lnTo>
                  <a:lnTo>
                    <a:pt x="590" y="785"/>
                  </a:lnTo>
                  <a:lnTo>
                    <a:pt x="591" y="784"/>
                  </a:lnTo>
                  <a:lnTo>
                    <a:pt x="591" y="788"/>
                  </a:lnTo>
                  <a:lnTo>
                    <a:pt x="593" y="789"/>
                  </a:lnTo>
                  <a:lnTo>
                    <a:pt x="591" y="794"/>
                  </a:lnTo>
                  <a:lnTo>
                    <a:pt x="593" y="795"/>
                  </a:lnTo>
                  <a:lnTo>
                    <a:pt x="593" y="793"/>
                  </a:lnTo>
                  <a:lnTo>
                    <a:pt x="594" y="791"/>
                  </a:lnTo>
                  <a:lnTo>
                    <a:pt x="595" y="789"/>
                  </a:lnTo>
                  <a:lnTo>
                    <a:pt x="594" y="787"/>
                  </a:lnTo>
                  <a:lnTo>
                    <a:pt x="594" y="783"/>
                  </a:lnTo>
                  <a:lnTo>
                    <a:pt x="595" y="781"/>
                  </a:lnTo>
                  <a:lnTo>
                    <a:pt x="595" y="783"/>
                  </a:lnTo>
                  <a:lnTo>
                    <a:pt x="596" y="784"/>
                  </a:lnTo>
                  <a:lnTo>
                    <a:pt x="599" y="784"/>
                  </a:lnTo>
                  <a:lnTo>
                    <a:pt x="599" y="787"/>
                  </a:lnTo>
                  <a:lnTo>
                    <a:pt x="599" y="793"/>
                  </a:lnTo>
                  <a:lnTo>
                    <a:pt x="599" y="797"/>
                  </a:lnTo>
                  <a:lnTo>
                    <a:pt x="601" y="793"/>
                  </a:lnTo>
                  <a:lnTo>
                    <a:pt x="601" y="789"/>
                  </a:lnTo>
                  <a:lnTo>
                    <a:pt x="601" y="784"/>
                  </a:lnTo>
                  <a:lnTo>
                    <a:pt x="600" y="781"/>
                  </a:lnTo>
                  <a:lnTo>
                    <a:pt x="601" y="781"/>
                  </a:lnTo>
                  <a:lnTo>
                    <a:pt x="602" y="787"/>
                  </a:lnTo>
                  <a:lnTo>
                    <a:pt x="603" y="788"/>
                  </a:lnTo>
                  <a:lnTo>
                    <a:pt x="603" y="785"/>
                  </a:lnTo>
                  <a:lnTo>
                    <a:pt x="605" y="785"/>
                  </a:lnTo>
                  <a:lnTo>
                    <a:pt x="605" y="788"/>
                  </a:lnTo>
                  <a:lnTo>
                    <a:pt x="607" y="794"/>
                  </a:lnTo>
                  <a:lnTo>
                    <a:pt x="607" y="791"/>
                  </a:lnTo>
                  <a:lnTo>
                    <a:pt x="607" y="788"/>
                  </a:lnTo>
                  <a:lnTo>
                    <a:pt x="607" y="784"/>
                  </a:lnTo>
                  <a:lnTo>
                    <a:pt x="608" y="775"/>
                  </a:lnTo>
                  <a:lnTo>
                    <a:pt x="609" y="775"/>
                  </a:lnTo>
                  <a:lnTo>
                    <a:pt x="611" y="778"/>
                  </a:lnTo>
                  <a:lnTo>
                    <a:pt x="611" y="782"/>
                  </a:lnTo>
                  <a:lnTo>
                    <a:pt x="611" y="785"/>
                  </a:lnTo>
                  <a:lnTo>
                    <a:pt x="609" y="791"/>
                  </a:lnTo>
                  <a:lnTo>
                    <a:pt x="611" y="796"/>
                  </a:lnTo>
                  <a:lnTo>
                    <a:pt x="612" y="794"/>
                  </a:lnTo>
                  <a:lnTo>
                    <a:pt x="612" y="791"/>
                  </a:lnTo>
                  <a:lnTo>
                    <a:pt x="613" y="790"/>
                  </a:lnTo>
                  <a:lnTo>
                    <a:pt x="614" y="791"/>
                  </a:lnTo>
                  <a:lnTo>
                    <a:pt x="615" y="789"/>
                  </a:lnTo>
                  <a:lnTo>
                    <a:pt x="615" y="785"/>
                  </a:lnTo>
                  <a:lnTo>
                    <a:pt x="615" y="782"/>
                  </a:lnTo>
                  <a:lnTo>
                    <a:pt x="614" y="778"/>
                  </a:lnTo>
                  <a:lnTo>
                    <a:pt x="615" y="778"/>
                  </a:lnTo>
                  <a:lnTo>
                    <a:pt x="617" y="782"/>
                  </a:lnTo>
                  <a:lnTo>
                    <a:pt x="617" y="788"/>
                  </a:lnTo>
                  <a:lnTo>
                    <a:pt x="618" y="790"/>
                  </a:lnTo>
                  <a:lnTo>
                    <a:pt x="619" y="791"/>
                  </a:lnTo>
                  <a:lnTo>
                    <a:pt x="619" y="788"/>
                  </a:lnTo>
                  <a:lnTo>
                    <a:pt x="619" y="787"/>
                  </a:lnTo>
                  <a:lnTo>
                    <a:pt x="620" y="790"/>
                  </a:lnTo>
                  <a:lnTo>
                    <a:pt x="621" y="794"/>
                  </a:lnTo>
                  <a:lnTo>
                    <a:pt x="620" y="796"/>
                  </a:lnTo>
                  <a:lnTo>
                    <a:pt x="621" y="799"/>
                  </a:lnTo>
                  <a:lnTo>
                    <a:pt x="623" y="795"/>
                  </a:lnTo>
                  <a:lnTo>
                    <a:pt x="623" y="797"/>
                  </a:lnTo>
                  <a:lnTo>
                    <a:pt x="623" y="800"/>
                  </a:lnTo>
                  <a:lnTo>
                    <a:pt x="624" y="801"/>
                  </a:lnTo>
                  <a:lnTo>
                    <a:pt x="626" y="802"/>
                  </a:lnTo>
                  <a:lnTo>
                    <a:pt x="625" y="796"/>
                  </a:lnTo>
                  <a:lnTo>
                    <a:pt x="625" y="793"/>
                  </a:lnTo>
                  <a:lnTo>
                    <a:pt x="625" y="789"/>
                  </a:lnTo>
                  <a:lnTo>
                    <a:pt x="628" y="787"/>
                  </a:lnTo>
                  <a:lnTo>
                    <a:pt x="629" y="788"/>
                  </a:lnTo>
                  <a:lnTo>
                    <a:pt x="629" y="790"/>
                  </a:lnTo>
                  <a:lnTo>
                    <a:pt x="628" y="794"/>
                  </a:lnTo>
                  <a:lnTo>
                    <a:pt x="628" y="797"/>
                  </a:lnTo>
                  <a:lnTo>
                    <a:pt x="628" y="800"/>
                  </a:lnTo>
                  <a:lnTo>
                    <a:pt x="628" y="801"/>
                  </a:lnTo>
                  <a:lnTo>
                    <a:pt x="629" y="801"/>
                  </a:lnTo>
                  <a:lnTo>
                    <a:pt x="629" y="799"/>
                  </a:lnTo>
                  <a:lnTo>
                    <a:pt x="630" y="797"/>
                  </a:lnTo>
                  <a:lnTo>
                    <a:pt x="631" y="794"/>
                  </a:lnTo>
                  <a:lnTo>
                    <a:pt x="631" y="791"/>
                  </a:lnTo>
                  <a:lnTo>
                    <a:pt x="632" y="790"/>
                  </a:lnTo>
                  <a:lnTo>
                    <a:pt x="636" y="793"/>
                  </a:lnTo>
                  <a:lnTo>
                    <a:pt x="636" y="796"/>
                  </a:lnTo>
                  <a:lnTo>
                    <a:pt x="636" y="800"/>
                  </a:lnTo>
                  <a:lnTo>
                    <a:pt x="637" y="799"/>
                  </a:lnTo>
                  <a:lnTo>
                    <a:pt x="638" y="794"/>
                  </a:lnTo>
                  <a:lnTo>
                    <a:pt x="646" y="796"/>
                  </a:lnTo>
                  <a:lnTo>
                    <a:pt x="644" y="794"/>
                  </a:lnTo>
                  <a:lnTo>
                    <a:pt x="641" y="793"/>
                  </a:lnTo>
                  <a:lnTo>
                    <a:pt x="640" y="790"/>
                  </a:lnTo>
                  <a:lnTo>
                    <a:pt x="638" y="789"/>
                  </a:lnTo>
                  <a:lnTo>
                    <a:pt x="636" y="788"/>
                  </a:lnTo>
                  <a:lnTo>
                    <a:pt x="631" y="787"/>
                  </a:lnTo>
                  <a:lnTo>
                    <a:pt x="629" y="783"/>
                  </a:lnTo>
                  <a:lnTo>
                    <a:pt x="626" y="782"/>
                  </a:lnTo>
                  <a:lnTo>
                    <a:pt x="624" y="778"/>
                  </a:lnTo>
                  <a:lnTo>
                    <a:pt x="620" y="777"/>
                  </a:lnTo>
                  <a:lnTo>
                    <a:pt x="607" y="771"/>
                  </a:lnTo>
                  <a:lnTo>
                    <a:pt x="606" y="769"/>
                  </a:lnTo>
                  <a:lnTo>
                    <a:pt x="608" y="767"/>
                  </a:lnTo>
                  <a:lnTo>
                    <a:pt x="609" y="769"/>
                  </a:lnTo>
                  <a:lnTo>
                    <a:pt x="612" y="771"/>
                  </a:lnTo>
                  <a:lnTo>
                    <a:pt x="612" y="770"/>
                  </a:lnTo>
                  <a:lnTo>
                    <a:pt x="614" y="770"/>
                  </a:lnTo>
                  <a:lnTo>
                    <a:pt x="617" y="772"/>
                  </a:lnTo>
                  <a:lnTo>
                    <a:pt x="619" y="773"/>
                  </a:lnTo>
                  <a:lnTo>
                    <a:pt x="619" y="770"/>
                  </a:lnTo>
                  <a:lnTo>
                    <a:pt x="620" y="767"/>
                  </a:lnTo>
                  <a:lnTo>
                    <a:pt x="620" y="766"/>
                  </a:lnTo>
                  <a:lnTo>
                    <a:pt x="621" y="766"/>
                  </a:lnTo>
                  <a:lnTo>
                    <a:pt x="619" y="763"/>
                  </a:lnTo>
                  <a:lnTo>
                    <a:pt x="618" y="760"/>
                  </a:lnTo>
                  <a:lnTo>
                    <a:pt x="617" y="758"/>
                  </a:lnTo>
                  <a:lnTo>
                    <a:pt x="617" y="757"/>
                  </a:lnTo>
                  <a:lnTo>
                    <a:pt x="618" y="753"/>
                  </a:lnTo>
                  <a:lnTo>
                    <a:pt x="619" y="751"/>
                  </a:lnTo>
                  <a:lnTo>
                    <a:pt x="620" y="751"/>
                  </a:lnTo>
                  <a:lnTo>
                    <a:pt x="620" y="754"/>
                  </a:lnTo>
                  <a:lnTo>
                    <a:pt x="620" y="758"/>
                  </a:lnTo>
                  <a:lnTo>
                    <a:pt x="623" y="759"/>
                  </a:lnTo>
                  <a:lnTo>
                    <a:pt x="623" y="758"/>
                  </a:lnTo>
                  <a:lnTo>
                    <a:pt x="623" y="757"/>
                  </a:lnTo>
                  <a:lnTo>
                    <a:pt x="625" y="757"/>
                  </a:lnTo>
                  <a:lnTo>
                    <a:pt x="626" y="758"/>
                  </a:lnTo>
                  <a:lnTo>
                    <a:pt x="629" y="757"/>
                  </a:lnTo>
                  <a:lnTo>
                    <a:pt x="629" y="758"/>
                  </a:lnTo>
                  <a:lnTo>
                    <a:pt x="630" y="758"/>
                  </a:lnTo>
                  <a:lnTo>
                    <a:pt x="632" y="758"/>
                  </a:lnTo>
                  <a:lnTo>
                    <a:pt x="631" y="755"/>
                  </a:lnTo>
                  <a:lnTo>
                    <a:pt x="629" y="753"/>
                  </a:lnTo>
                  <a:lnTo>
                    <a:pt x="628" y="751"/>
                  </a:lnTo>
                  <a:lnTo>
                    <a:pt x="628" y="748"/>
                  </a:lnTo>
                  <a:lnTo>
                    <a:pt x="629" y="745"/>
                  </a:lnTo>
                  <a:lnTo>
                    <a:pt x="630" y="746"/>
                  </a:lnTo>
                  <a:lnTo>
                    <a:pt x="631" y="748"/>
                  </a:lnTo>
                  <a:lnTo>
                    <a:pt x="632" y="752"/>
                  </a:lnTo>
                  <a:lnTo>
                    <a:pt x="632" y="753"/>
                  </a:lnTo>
                  <a:lnTo>
                    <a:pt x="636" y="752"/>
                  </a:lnTo>
                  <a:lnTo>
                    <a:pt x="637" y="751"/>
                  </a:lnTo>
                  <a:lnTo>
                    <a:pt x="637" y="754"/>
                  </a:lnTo>
                  <a:lnTo>
                    <a:pt x="638" y="760"/>
                  </a:lnTo>
                  <a:lnTo>
                    <a:pt x="640" y="763"/>
                  </a:lnTo>
                  <a:lnTo>
                    <a:pt x="640" y="759"/>
                  </a:lnTo>
                  <a:lnTo>
                    <a:pt x="641" y="755"/>
                  </a:lnTo>
                  <a:lnTo>
                    <a:pt x="642" y="753"/>
                  </a:lnTo>
                  <a:lnTo>
                    <a:pt x="642" y="748"/>
                  </a:lnTo>
                  <a:lnTo>
                    <a:pt x="643" y="745"/>
                  </a:lnTo>
                  <a:lnTo>
                    <a:pt x="646" y="745"/>
                  </a:lnTo>
                  <a:lnTo>
                    <a:pt x="649" y="746"/>
                  </a:lnTo>
                  <a:lnTo>
                    <a:pt x="649" y="752"/>
                  </a:lnTo>
                  <a:lnTo>
                    <a:pt x="649" y="759"/>
                  </a:lnTo>
                  <a:lnTo>
                    <a:pt x="650" y="758"/>
                  </a:lnTo>
                  <a:lnTo>
                    <a:pt x="652" y="752"/>
                  </a:lnTo>
                  <a:lnTo>
                    <a:pt x="652" y="746"/>
                  </a:lnTo>
                  <a:lnTo>
                    <a:pt x="652" y="745"/>
                  </a:lnTo>
                  <a:lnTo>
                    <a:pt x="653" y="746"/>
                  </a:lnTo>
                  <a:lnTo>
                    <a:pt x="653" y="751"/>
                  </a:lnTo>
                  <a:lnTo>
                    <a:pt x="654" y="751"/>
                  </a:lnTo>
                  <a:lnTo>
                    <a:pt x="654" y="754"/>
                  </a:lnTo>
                  <a:lnTo>
                    <a:pt x="655" y="753"/>
                  </a:lnTo>
                  <a:lnTo>
                    <a:pt x="656" y="751"/>
                  </a:lnTo>
                  <a:lnTo>
                    <a:pt x="658" y="746"/>
                  </a:lnTo>
                  <a:lnTo>
                    <a:pt x="659" y="748"/>
                  </a:lnTo>
                  <a:lnTo>
                    <a:pt x="660" y="752"/>
                  </a:lnTo>
                  <a:lnTo>
                    <a:pt x="662" y="751"/>
                  </a:lnTo>
                  <a:lnTo>
                    <a:pt x="664" y="749"/>
                  </a:lnTo>
                  <a:lnTo>
                    <a:pt x="665" y="747"/>
                  </a:lnTo>
                  <a:lnTo>
                    <a:pt x="665" y="746"/>
                  </a:lnTo>
                  <a:lnTo>
                    <a:pt x="668" y="749"/>
                  </a:lnTo>
                  <a:lnTo>
                    <a:pt x="668" y="748"/>
                  </a:lnTo>
                  <a:lnTo>
                    <a:pt x="670" y="748"/>
                  </a:lnTo>
                  <a:lnTo>
                    <a:pt x="672" y="749"/>
                  </a:lnTo>
                  <a:lnTo>
                    <a:pt x="673" y="748"/>
                  </a:lnTo>
                  <a:lnTo>
                    <a:pt x="673" y="751"/>
                  </a:lnTo>
                  <a:lnTo>
                    <a:pt x="676" y="747"/>
                  </a:lnTo>
                  <a:lnTo>
                    <a:pt x="677" y="748"/>
                  </a:lnTo>
                  <a:lnTo>
                    <a:pt x="678" y="745"/>
                  </a:lnTo>
                  <a:lnTo>
                    <a:pt x="677" y="741"/>
                  </a:lnTo>
                  <a:lnTo>
                    <a:pt x="678" y="740"/>
                  </a:lnTo>
                  <a:lnTo>
                    <a:pt x="678" y="737"/>
                  </a:lnTo>
                  <a:lnTo>
                    <a:pt x="679" y="737"/>
                  </a:lnTo>
                  <a:lnTo>
                    <a:pt x="680" y="740"/>
                  </a:lnTo>
                  <a:lnTo>
                    <a:pt x="679" y="742"/>
                  </a:lnTo>
                  <a:lnTo>
                    <a:pt x="680" y="745"/>
                  </a:lnTo>
                  <a:lnTo>
                    <a:pt x="679" y="748"/>
                  </a:lnTo>
                  <a:lnTo>
                    <a:pt x="679" y="753"/>
                  </a:lnTo>
                  <a:lnTo>
                    <a:pt x="682" y="754"/>
                  </a:lnTo>
                  <a:lnTo>
                    <a:pt x="682" y="753"/>
                  </a:lnTo>
                  <a:lnTo>
                    <a:pt x="683" y="747"/>
                  </a:lnTo>
                  <a:lnTo>
                    <a:pt x="683" y="745"/>
                  </a:lnTo>
                  <a:lnTo>
                    <a:pt x="684" y="742"/>
                  </a:lnTo>
                  <a:lnTo>
                    <a:pt x="685" y="745"/>
                  </a:lnTo>
                  <a:lnTo>
                    <a:pt x="684" y="749"/>
                  </a:lnTo>
                  <a:lnTo>
                    <a:pt x="684" y="753"/>
                  </a:lnTo>
                  <a:lnTo>
                    <a:pt x="685" y="754"/>
                  </a:lnTo>
                  <a:lnTo>
                    <a:pt x="685" y="757"/>
                  </a:lnTo>
                  <a:lnTo>
                    <a:pt x="686" y="755"/>
                  </a:lnTo>
                  <a:lnTo>
                    <a:pt x="688" y="754"/>
                  </a:lnTo>
                  <a:lnTo>
                    <a:pt x="688" y="751"/>
                  </a:lnTo>
                  <a:lnTo>
                    <a:pt x="688" y="746"/>
                  </a:lnTo>
                  <a:lnTo>
                    <a:pt x="688" y="745"/>
                  </a:lnTo>
                  <a:lnTo>
                    <a:pt x="688" y="743"/>
                  </a:lnTo>
                  <a:lnTo>
                    <a:pt x="688" y="745"/>
                  </a:lnTo>
                  <a:lnTo>
                    <a:pt x="690" y="749"/>
                  </a:lnTo>
                  <a:lnTo>
                    <a:pt x="690" y="751"/>
                  </a:lnTo>
                  <a:lnTo>
                    <a:pt x="690" y="753"/>
                  </a:lnTo>
                  <a:lnTo>
                    <a:pt x="691" y="752"/>
                  </a:lnTo>
                  <a:lnTo>
                    <a:pt x="691" y="753"/>
                  </a:lnTo>
                  <a:lnTo>
                    <a:pt x="691" y="759"/>
                  </a:lnTo>
                  <a:lnTo>
                    <a:pt x="691" y="763"/>
                  </a:lnTo>
                  <a:lnTo>
                    <a:pt x="693" y="761"/>
                  </a:lnTo>
                  <a:lnTo>
                    <a:pt x="693" y="760"/>
                  </a:lnTo>
                  <a:lnTo>
                    <a:pt x="694" y="760"/>
                  </a:lnTo>
                  <a:lnTo>
                    <a:pt x="695" y="761"/>
                  </a:lnTo>
                  <a:lnTo>
                    <a:pt x="696" y="759"/>
                  </a:lnTo>
                  <a:lnTo>
                    <a:pt x="696" y="755"/>
                  </a:lnTo>
                  <a:lnTo>
                    <a:pt x="700" y="757"/>
                  </a:lnTo>
                  <a:lnTo>
                    <a:pt x="702" y="757"/>
                  </a:lnTo>
                  <a:lnTo>
                    <a:pt x="701" y="755"/>
                  </a:lnTo>
                  <a:lnTo>
                    <a:pt x="699" y="753"/>
                  </a:lnTo>
                  <a:lnTo>
                    <a:pt x="700" y="751"/>
                  </a:lnTo>
                  <a:lnTo>
                    <a:pt x="701" y="749"/>
                  </a:lnTo>
                  <a:lnTo>
                    <a:pt x="700" y="749"/>
                  </a:lnTo>
                  <a:lnTo>
                    <a:pt x="697" y="749"/>
                  </a:lnTo>
                  <a:lnTo>
                    <a:pt x="693" y="748"/>
                  </a:lnTo>
                  <a:lnTo>
                    <a:pt x="691" y="743"/>
                  </a:lnTo>
                  <a:lnTo>
                    <a:pt x="695" y="743"/>
                  </a:lnTo>
                  <a:lnTo>
                    <a:pt x="693" y="742"/>
                  </a:lnTo>
                  <a:lnTo>
                    <a:pt x="689" y="740"/>
                  </a:lnTo>
                  <a:lnTo>
                    <a:pt x="688" y="737"/>
                  </a:lnTo>
                  <a:lnTo>
                    <a:pt x="682" y="735"/>
                  </a:lnTo>
                  <a:lnTo>
                    <a:pt x="679" y="731"/>
                  </a:lnTo>
                  <a:lnTo>
                    <a:pt x="676" y="730"/>
                  </a:lnTo>
                  <a:lnTo>
                    <a:pt x="670" y="729"/>
                  </a:lnTo>
                  <a:lnTo>
                    <a:pt x="664" y="728"/>
                  </a:lnTo>
                  <a:lnTo>
                    <a:pt x="660" y="728"/>
                  </a:lnTo>
                  <a:lnTo>
                    <a:pt x="660" y="726"/>
                  </a:lnTo>
                  <a:lnTo>
                    <a:pt x="661" y="724"/>
                  </a:lnTo>
                  <a:lnTo>
                    <a:pt x="659" y="723"/>
                  </a:lnTo>
                  <a:lnTo>
                    <a:pt x="658" y="723"/>
                  </a:lnTo>
                  <a:lnTo>
                    <a:pt x="656" y="723"/>
                  </a:lnTo>
                  <a:lnTo>
                    <a:pt x="653" y="724"/>
                  </a:lnTo>
                  <a:lnTo>
                    <a:pt x="650" y="723"/>
                  </a:lnTo>
                  <a:lnTo>
                    <a:pt x="650" y="718"/>
                  </a:lnTo>
                  <a:lnTo>
                    <a:pt x="653" y="716"/>
                  </a:lnTo>
                  <a:lnTo>
                    <a:pt x="656" y="714"/>
                  </a:lnTo>
                  <a:lnTo>
                    <a:pt x="658" y="714"/>
                  </a:lnTo>
                  <a:lnTo>
                    <a:pt x="656" y="718"/>
                  </a:lnTo>
                  <a:lnTo>
                    <a:pt x="658" y="718"/>
                  </a:lnTo>
                  <a:lnTo>
                    <a:pt x="660" y="714"/>
                  </a:lnTo>
                  <a:lnTo>
                    <a:pt x="660" y="716"/>
                  </a:lnTo>
                  <a:lnTo>
                    <a:pt x="661" y="719"/>
                  </a:lnTo>
                  <a:lnTo>
                    <a:pt x="662" y="719"/>
                  </a:lnTo>
                  <a:lnTo>
                    <a:pt x="662" y="717"/>
                  </a:lnTo>
                  <a:lnTo>
                    <a:pt x="664" y="716"/>
                  </a:lnTo>
                  <a:lnTo>
                    <a:pt x="664" y="719"/>
                  </a:lnTo>
                  <a:lnTo>
                    <a:pt x="665" y="720"/>
                  </a:lnTo>
                  <a:lnTo>
                    <a:pt x="665" y="724"/>
                  </a:lnTo>
                  <a:lnTo>
                    <a:pt x="667" y="726"/>
                  </a:lnTo>
                  <a:lnTo>
                    <a:pt x="668" y="726"/>
                  </a:lnTo>
                  <a:lnTo>
                    <a:pt x="668" y="723"/>
                  </a:lnTo>
                  <a:lnTo>
                    <a:pt x="668" y="720"/>
                  </a:lnTo>
                  <a:lnTo>
                    <a:pt x="671" y="718"/>
                  </a:lnTo>
                  <a:lnTo>
                    <a:pt x="671" y="717"/>
                  </a:lnTo>
                  <a:lnTo>
                    <a:pt x="673" y="716"/>
                  </a:lnTo>
                  <a:lnTo>
                    <a:pt x="676" y="718"/>
                  </a:lnTo>
                  <a:lnTo>
                    <a:pt x="676" y="720"/>
                  </a:lnTo>
                  <a:lnTo>
                    <a:pt x="678" y="723"/>
                  </a:lnTo>
                  <a:lnTo>
                    <a:pt x="680" y="723"/>
                  </a:lnTo>
                  <a:lnTo>
                    <a:pt x="682" y="725"/>
                  </a:lnTo>
                  <a:lnTo>
                    <a:pt x="683" y="722"/>
                  </a:lnTo>
                  <a:lnTo>
                    <a:pt x="683" y="724"/>
                  </a:lnTo>
                  <a:lnTo>
                    <a:pt x="684" y="725"/>
                  </a:lnTo>
                  <a:lnTo>
                    <a:pt x="685" y="726"/>
                  </a:lnTo>
                  <a:lnTo>
                    <a:pt x="686" y="726"/>
                  </a:lnTo>
                  <a:lnTo>
                    <a:pt x="688" y="722"/>
                  </a:lnTo>
                  <a:lnTo>
                    <a:pt x="688" y="718"/>
                  </a:lnTo>
                  <a:lnTo>
                    <a:pt x="688" y="720"/>
                  </a:lnTo>
                  <a:lnTo>
                    <a:pt x="689" y="719"/>
                  </a:lnTo>
                  <a:lnTo>
                    <a:pt x="690" y="717"/>
                  </a:lnTo>
                  <a:lnTo>
                    <a:pt x="691" y="717"/>
                  </a:lnTo>
                  <a:lnTo>
                    <a:pt x="693" y="722"/>
                  </a:lnTo>
                  <a:lnTo>
                    <a:pt x="694" y="723"/>
                  </a:lnTo>
                  <a:lnTo>
                    <a:pt x="694" y="729"/>
                  </a:lnTo>
                  <a:lnTo>
                    <a:pt x="696" y="730"/>
                  </a:lnTo>
                  <a:lnTo>
                    <a:pt x="697" y="729"/>
                  </a:lnTo>
                  <a:lnTo>
                    <a:pt x="697" y="725"/>
                  </a:lnTo>
                  <a:lnTo>
                    <a:pt x="697" y="720"/>
                  </a:lnTo>
                  <a:lnTo>
                    <a:pt x="699" y="717"/>
                  </a:lnTo>
                  <a:lnTo>
                    <a:pt x="700" y="718"/>
                  </a:lnTo>
                  <a:lnTo>
                    <a:pt x="700" y="722"/>
                  </a:lnTo>
                  <a:lnTo>
                    <a:pt x="700" y="726"/>
                  </a:lnTo>
                  <a:lnTo>
                    <a:pt x="700" y="728"/>
                  </a:lnTo>
                  <a:lnTo>
                    <a:pt x="702" y="726"/>
                  </a:lnTo>
                  <a:lnTo>
                    <a:pt x="703" y="724"/>
                  </a:lnTo>
                  <a:lnTo>
                    <a:pt x="703" y="722"/>
                  </a:lnTo>
                  <a:lnTo>
                    <a:pt x="706" y="718"/>
                  </a:lnTo>
                  <a:lnTo>
                    <a:pt x="707" y="720"/>
                  </a:lnTo>
                  <a:lnTo>
                    <a:pt x="709" y="722"/>
                  </a:lnTo>
                  <a:lnTo>
                    <a:pt x="711" y="722"/>
                  </a:lnTo>
                  <a:lnTo>
                    <a:pt x="713" y="722"/>
                  </a:lnTo>
                  <a:lnTo>
                    <a:pt x="714" y="724"/>
                  </a:lnTo>
                  <a:lnTo>
                    <a:pt x="715" y="726"/>
                  </a:lnTo>
                  <a:lnTo>
                    <a:pt x="718" y="730"/>
                  </a:lnTo>
                  <a:lnTo>
                    <a:pt x="719" y="734"/>
                  </a:lnTo>
                  <a:lnTo>
                    <a:pt x="719" y="732"/>
                  </a:lnTo>
                  <a:lnTo>
                    <a:pt x="721" y="731"/>
                  </a:lnTo>
                  <a:lnTo>
                    <a:pt x="721" y="729"/>
                  </a:lnTo>
                  <a:lnTo>
                    <a:pt x="723" y="725"/>
                  </a:lnTo>
                  <a:lnTo>
                    <a:pt x="725" y="726"/>
                  </a:lnTo>
                  <a:lnTo>
                    <a:pt x="726" y="728"/>
                  </a:lnTo>
                  <a:lnTo>
                    <a:pt x="727" y="728"/>
                  </a:lnTo>
                  <a:lnTo>
                    <a:pt x="725" y="723"/>
                  </a:lnTo>
                  <a:lnTo>
                    <a:pt x="723" y="718"/>
                  </a:lnTo>
                  <a:lnTo>
                    <a:pt x="719" y="716"/>
                  </a:lnTo>
                  <a:lnTo>
                    <a:pt x="719" y="712"/>
                  </a:lnTo>
                  <a:lnTo>
                    <a:pt x="718" y="708"/>
                  </a:lnTo>
                  <a:lnTo>
                    <a:pt x="718" y="704"/>
                  </a:lnTo>
                  <a:lnTo>
                    <a:pt x="719" y="706"/>
                  </a:lnTo>
                  <a:lnTo>
                    <a:pt x="720" y="712"/>
                  </a:lnTo>
                  <a:lnTo>
                    <a:pt x="720" y="710"/>
                  </a:lnTo>
                  <a:lnTo>
                    <a:pt x="721" y="706"/>
                  </a:lnTo>
                  <a:lnTo>
                    <a:pt x="723" y="704"/>
                  </a:lnTo>
                  <a:lnTo>
                    <a:pt x="724" y="701"/>
                  </a:lnTo>
                  <a:lnTo>
                    <a:pt x="723" y="699"/>
                  </a:lnTo>
                  <a:lnTo>
                    <a:pt x="720" y="694"/>
                  </a:lnTo>
                  <a:lnTo>
                    <a:pt x="719" y="692"/>
                  </a:lnTo>
                  <a:lnTo>
                    <a:pt x="720" y="692"/>
                  </a:lnTo>
                  <a:lnTo>
                    <a:pt x="724" y="693"/>
                  </a:lnTo>
                  <a:lnTo>
                    <a:pt x="725" y="693"/>
                  </a:lnTo>
                  <a:lnTo>
                    <a:pt x="725" y="700"/>
                  </a:lnTo>
                  <a:lnTo>
                    <a:pt x="725" y="707"/>
                  </a:lnTo>
                  <a:lnTo>
                    <a:pt x="726" y="708"/>
                  </a:lnTo>
                  <a:lnTo>
                    <a:pt x="727" y="706"/>
                  </a:lnTo>
                  <a:lnTo>
                    <a:pt x="727" y="702"/>
                  </a:lnTo>
                  <a:lnTo>
                    <a:pt x="727" y="698"/>
                  </a:lnTo>
                  <a:lnTo>
                    <a:pt x="729" y="694"/>
                  </a:lnTo>
                  <a:lnTo>
                    <a:pt x="730" y="698"/>
                  </a:lnTo>
                  <a:lnTo>
                    <a:pt x="730" y="700"/>
                  </a:lnTo>
                  <a:lnTo>
                    <a:pt x="731" y="702"/>
                  </a:lnTo>
                  <a:lnTo>
                    <a:pt x="731" y="705"/>
                  </a:lnTo>
                  <a:lnTo>
                    <a:pt x="731" y="710"/>
                  </a:lnTo>
                  <a:lnTo>
                    <a:pt x="732" y="712"/>
                  </a:lnTo>
                  <a:lnTo>
                    <a:pt x="733" y="712"/>
                  </a:lnTo>
                  <a:lnTo>
                    <a:pt x="735" y="708"/>
                  </a:lnTo>
                  <a:lnTo>
                    <a:pt x="735" y="704"/>
                  </a:lnTo>
                  <a:lnTo>
                    <a:pt x="735" y="701"/>
                  </a:lnTo>
                  <a:lnTo>
                    <a:pt x="737" y="700"/>
                  </a:lnTo>
                  <a:lnTo>
                    <a:pt x="738" y="699"/>
                  </a:lnTo>
                  <a:lnTo>
                    <a:pt x="738" y="701"/>
                  </a:lnTo>
                  <a:lnTo>
                    <a:pt x="741" y="702"/>
                  </a:lnTo>
                  <a:lnTo>
                    <a:pt x="741" y="700"/>
                  </a:lnTo>
                  <a:lnTo>
                    <a:pt x="742" y="698"/>
                  </a:lnTo>
                  <a:lnTo>
                    <a:pt x="743" y="698"/>
                  </a:lnTo>
                  <a:lnTo>
                    <a:pt x="745" y="700"/>
                  </a:lnTo>
                  <a:lnTo>
                    <a:pt x="747" y="699"/>
                  </a:lnTo>
                  <a:lnTo>
                    <a:pt x="747" y="696"/>
                  </a:lnTo>
                  <a:lnTo>
                    <a:pt x="745" y="695"/>
                  </a:lnTo>
                  <a:lnTo>
                    <a:pt x="741" y="695"/>
                  </a:lnTo>
                  <a:lnTo>
                    <a:pt x="738" y="694"/>
                  </a:lnTo>
                  <a:lnTo>
                    <a:pt x="736" y="693"/>
                  </a:lnTo>
                  <a:lnTo>
                    <a:pt x="732" y="689"/>
                  </a:lnTo>
                  <a:lnTo>
                    <a:pt x="731" y="689"/>
                  </a:lnTo>
                  <a:lnTo>
                    <a:pt x="727" y="689"/>
                  </a:lnTo>
                  <a:lnTo>
                    <a:pt x="725" y="689"/>
                  </a:lnTo>
                  <a:lnTo>
                    <a:pt x="720" y="687"/>
                  </a:lnTo>
                  <a:lnTo>
                    <a:pt x="717" y="688"/>
                  </a:lnTo>
                  <a:lnTo>
                    <a:pt x="714" y="687"/>
                  </a:lnTo>
                  <a:lnTo>
                    <a:pt x="713" y="686"/>
                  </a:lnTo>
                  <a:lnTo>
                    <a:pt x="711" y="684"/>
                  </a:lnTo>
                  <a:lnTo>
                    <a:pt x="703" y="683"/>
                  </a:lnTo>
                  <a:lnTo>
                    <a:pt x="706" y="682"/>
                  </a:lnTo>
                  <a:lnTo>
                    <a:pt x="703" y="682"/>
                  </a:lnTo>
                  <a:lnTo>
                    <a:pt x="701" y="683"/>
                  </a:lnTo>
                  <a:lnTo>
                    <a:pt x="700" y="683"/>
                  </a:lnTo>
                  <a:lnTo>
                    <a:pt x="696" y="682"/>
                  </a:lnTo>
                  <a:lnTo>
                    <a:pt x="697" y="680"/>
                  </a:lnTo>
                  <a:lnTo>
                    <a:pt x="695" y="681"/>
                  </a:lnTo>
                  <a:lnTo>
                    <a:pt x="693" y="682"/>
                  </a:lnTo>
                  <a:lnTo>
                    <a:pt x="689" y="681"/>
                  </a:lnTo>
                  <a:lnTo>
                    <a:pt x="679" y="680"/>
                  </a:lnTo>
                  <a:lnTo>
                    <a:pt x="673" y="678"/>
                  </a:lnTo>
                  <a:lnTo>
                    <a:pt x="668" y="678"/>
                  </a:lnTo>
                  <a:lnTo>
                    <a:pt x="664" y="678"/>
                  </a:lnTo>
                  <a:lnTo>
                    <a:pt x="661" y="677"/>
                  </a:lnTo>
                  <a:lnTo>
                    <a:pt x="662" y="676"/>
                  </a:lnTo>
                  <a:lnTo>
                    <a:pt x="665" y="675"/>
                  </a:lnTo>
                  <a:lnTo>
                    <a:pt x="664" y="674"/>
                  </a:lnTo>
                  <a:lnTo>
                    <a:pt x="664" y="671"/>
                  </a:lnTo>
                  <a:lnTo>
                    <a:pt x="661" y="669"/>
                  </a:lnTo>
                  <a:lnTo>
                    <a:pt x="660" y="666"/>
                  </a:lnTo>
                  <a:lnTo>
                    <a:pt x="662" y="664"/>
                  </a:lnTo>
                  <a:lnTo>
                    <a:pt x="664" y="660"/>
                  </a:lnTo>
                  <a:lnTo>
                    <a:pt x="665" y="658"/>
                  </a:lnTo>
                  <a:lnTo>
                    <a:pt x="666" y="662"/>
                  </a:lnTo>
                  <a:lnTo>
                    <a:pt x="668" y="663"/>
                  </a:lnTo>
                  <a:lnTo>
                    <a:pt x="668" y="665"/>
                  </a:lnTo>
                  <a:lnTo>
                    <a:pt x="670" y="671"/>
                  </a:lnTo>
                  <a:lnTo>
                    <a:pt x="671" y="672"/>
                  </a:lnTo>
                  <a:lnTo>
                    <a:pt x="672" y="671"/>
                  </a:lnTo>
                  <a:lnTo>
                    <a:pt x="674" y="672"/>
                  </a:lnTo>
                  <a:lnTo>
                    <a:pt x="676" y="671"/>
                  </a:lnTo>
                  <a:lnTo>
                    <a:pt x="677" y="670"/>
                  </a:lnTo>
                  <a:lnTo>
                    <a:pt x="677" y="666"/>
                  </a:lnTo>
                  <a:lnTo>
                    <a:pt x="678" y="669"/>
                  </a:lnTo>
                  <a:lnTo>
                    <a:pt x="678" y="671"/>
                  </a:lnTo>
                  <a:lnTo>
                    <a:pt x="679" y="669"/>
                  </a:lnTo>
                  <a:lnTo>
                    <a:pt x="680" y="668"/>
                  </a:lnTo>
                  <a:lnTo>
                    <a:pt x="682" y="668"/>
                  </a:lnTo>
                  <a:lnTo>
                    <a:pt x="685" y="670"/>
                  </a:lnTo>
                  <a:lnTo>
                    <a:pt x="686" y="669"/>
                  </a:lnTo>
                  <a:lnTo>
                    <a:pt x="684" y="666"/>
                  </a:lnTo>
                  <a:lnTo>
                    <a:pt x="682" y="664"/>
                  </a:lnTo>
                  <a:lnTo>
                    <a:pt x="679" y="662"/>
                  </a:lnTo>
                  <a:lnTo>
                    <a:pt x="680" y="658"/>
                  </a:lnTo>
                  <a:lnTo>
                    <a:pt x="680" y="656"/>
                  </a:lnTo>
                  <a:lnTo>
                    <a:pt x="683" y="652"/>
                  </a:lnTo>
                  <a:lnTo>
                    <a:pt x="684" y="652"/>
                  </a:lnTo>
                  <a:lnTo>
                    <a:pt x="686" y="652"/>
                  </a:lnTo>
                  <a:lnTo>
                    <a:pt x="686" y="653"/>
                  </a:lnTo>
                  <a:lnTo>
                    <a:pt x="688" y="653"/>
                  </a:lnTo>
                  <a:lnTo>
                    <a:pt x="691" y="651"/>
                  </a:lnTo>
                  <a:lnTo>
                    <a:pt x="694" y="647"/>
                  </a:lnTo>
                  <a:lnTo>
                    <a:pt x="693" y="651"/>
                  </a:lnTo>
                  <a:lnTo>
                    <a:pt x="691" y="654"/>
                  </a:lnTo>
                  <a:lnTo>
                    <a:pt x="691" y="656"/>
                  </a:lnTo>
                  <a:lnTo>
                    <a:pt x="691" y="660"/>
                  </a:lnTo>
                  <a:lnTo>
                    <a:pt x="695" y="662"/>
                  </a:lnTo>
                  <a:lnTo>
                    <a:pt x="694" y="665"/>
                  </a:lnTo>
                  <a:lnTo>
                    <a:pt x="694" y="666"/>
                  </a:lnTo>
                  <a:lnTo>
                    <a:pt x="695" y="666"/>
                  </a:lnTo>
                  <a:lnTo>
                    <a:pt x="696" y="669"/>
                  </a:lnTo>
                  <a:lnTo>
                    <a:pt x="699" y="669"/>
                  </a:lnTo>
                  <a:lnTo>
                    <a:pt x="700" y="666"/>
                  </a:lnTo>
                  <a:lnTo>
                    <a:pt x="702" y="668"/>
                  </a:lnTo>
                  <a:lnTo>
                    <a:pt x="703" y="669"/>
                  </a:lnTo>
                  <a:lnTo>
                    <a:pt x="706" y="666"/>
                  </a:lnTo>
                  <a:lnTo>
                    <a:pt x="706" y="664"/>
                  </a:lnTo>
                  <a:lnTo>
                    <a:pt x="707" y="663"/>
                  </a:lnTo>
                  <a:lnTo>
                    <a:pt x="709" y="663"/>
                  </a:lnTo>
                  <a:lnTo>
                    <a:pt x="712" y="662"/>
                  </a:lnTo>
                  <a:lnTo>
                    <a:pt x="711" y="659"/>
                  </a:lnTo>
                  <a:lnTo>
                    <a:pt x="706" y="658"/>
                  </a:lnTo>
                  <a:lnTo>
                    <a:pt x="702" y="654"/>
                  </a:lnTo>
                  <a:lnTo>
                    <a:pt x="701" y="651"/>
                  </a:lnTo>
                  <a:lnTo>
                    <a:pt x="700" y="647"/>
                  </a:lnTo>
                  <a:lnTo>
                    <a:pt x="697" y="644"/>
                  </a:lnTo>
                  <a:lnTo>
                    <a:pt x="699" y="642"/>
                  </a:lnTo>
                  <a:lnTo>
                    <a:pt x="696" y="641"/>
                  </a:lnTo>
                  <a:lnTo>
                    <a:pt x="695" y="640"/>
                  </a:lnTo>
                  <a:lnTo>
                    <a:pt x="693" y="639"/>
                  </a:lnTo>
                  <a:lnTo>
                    <a:pt x="690" y="638"/>
                  </a:lnTo>
                  <a:lnTo>
                    <a:pt x="688" y="635"/>
                  </a:lnTo>
                  <a:lnTo>
                    <a:pt x="683" y="634"/>
                  </a:lnTo>
                  <a:lnTo>
                    <a:pt x="679" y="634"/>
                  </a:lnTo>
                  <a:lnTo>
                    <a:pt x="673" y="633"/>
                  </a:lnTo>
                  <a:lnTo>
                    <a:pt x="670" y="633"/>
                  </a:lnTo>
                  <a:lnTo>
                    <a:pt x="670" y="628"/>
                  </a:lnTo>
                  <a:lnTo>
                    <a:pt x="670" y="627"/>
                  </a:lnTo>
                  <a:lnTo>
                    <a:pt x="672" y="627"/>
                  </a:lnTo>
                  <a:lnTo>
                    <a:pt x="672" y="624"/>
                  </a:lnTo>
                  <a:lnTo>
                    <a:pt x="672" y="621"/>
                  </a:lnTo>
                  <a:lnTo>
                    <a:pt x="674" y="621"/>
                  </a:lnTo>
                  <a:lnTo>
                    <a:pt x="676" y="623"/>
                  </a:lnTo>
                  <a:lnTo>
                    <a:pt x="678" y="627"/>
                  </a:lnTo>
                  <a:lnTo>
                    <a:pt x="679" y="628"/>
                  </a:lnTo>
                  <a:lnTo>
                    <a:pt x="680" y="627"/>
                  </a:lnTo>
                  <a:lnTo>
                    <a:pt x="678" y="623"/>
                  </a:lnTo>
                  <a:lnTo>
                    <a:pt x="678" y="621"/>
                  </a:lnTo>
                  <a:lnTo>
                    <a:pt x="682" y="622"/>
                  </a:lnTo>
                  <a:lnTo>
                    <a:pt x="684" y="621"/>
                  </a:lnTo>
                  <a:lnTo>
                    <a:pt x="682" y="619"/>
                  </a:lnTo>
                  <a:lnTo>
                    <a:pt x="679" y="618"/>
                  </a:lnTo>
                  <a:lnTo>
                    <a:pt x="677" y="617"/>
                  </a:lnTo>
                  <a:lnTo>
                    <a:pt x="676" y="617"/>
                  </a:lnTo>
                  <a:lnTo>
                    <a:pt x="673" y="617"/>
                  </a:lnTo>
                  <a:lnTo>
                    <a:pt x="671" y="617"/>
                  </a:lnTo>
                  <a:lnTo>
                    <a:pt x="668" y="617"/>
                  </a:lnTo>
                  <a:lnTo>
                    <a:pt x="666" y="616"/>
                  </a:lnTo>
                  <a:lnTo>
                    <a:pt x="665" y="616"/>
                  </a:lnTo>
                  <a:lnTo>
                    <a:pt x="662" y="615"/>
                  </a:lnTo>
                  <a:lnTo>
                    <a:pt x="660" y="613"/>
                  </a:lnTo>
                  <a:lnTo>
                    <a:pt x="659" y="612"/>
                  </a:lnTo>
                  <a:lnTo>
                    <a:pt x="658" y="610"/>
                  </a:lnTo>
                  <a:lnTo>
                    <a:pt x="656" y="607"/>
                  </a:lnTo>
                  <a:lnTo>
                    <a:pt x="655" y="606"/>
                  </a:lnTo>
                  <a:lnTo>
                    <a:pt x="654" y="609"/>
                  </a:lnTo>
                  <a:lnTo>
                    <a:pt x="653" y="607"/>
                  </a:lnTo>
                  <a:lnTo>
                    <a:pt x="653" y="603"/>
                  </a:lnTo>
                  <a:lnTo>
                    <a:pt x="654" y="603"/>
                  </a:lnTo>
                  <a:lnTo>
                    <a:pt x="655" y="603"/>
                  </a:lnTo>
                  <a:lnTo>
                    <a:pt x="653" y="600"/>
                  </a:lnTo>
                  <a:lnTo>
                    <a:pt x="650" y="597"/>
                  </a:lnTo>
                  <a:lnTo>
                    <a:pt x="644" y="591"/>
                  </a:lnTo>
                  <a:lnTo>
                    <a:pt x="643" y="588"/>
                  </a:lnTo>
                  <a:lnTo>
                    <a:pt x="640" y="586"/>
                  </a:lnTo>
                  <a:lnTo>
                    <a:pt x="640" y="583"/>
                  </a:lnTo>
                  <a:lnTo>
                    <a:pt x="643" y="581"/>
                  </a:lnTo>
                  <a:lnTo>
                    <a:pt x="644" y="580"/>
                  </a:lnTo>
                  <a:lnTo>
                    <a:pt x="644" y="582"/>
                  </a:lnTo>
                  <a:lnTo>
                    <a:pt x="644" y="585"/>
                  </a:lnTo>
                  <a:lnTo>
                    <a:pt x="648" y="585"/>
                  </a:lnTo>
                  <a:lnTo>
                    <a:pt x="648" y="586"/>
                  </a:lnTo>
                  <a:lnTo>
                    <a:pt x="648" y="589"/>
                  </a:lnTo>
                  <a:lnTo>
                    <a:pt x="649" y="591"/>
                  </a:lnTo>
                  <a:lnTo>
                    <a:pt x="649" y="593"/>
                  </a:lnTo>
                  <a:lnTo>
                    <a:pt x="650" y="594"/>
                  </a:lnTo>
                  <a:lnTo>
                    <a:pt x="650" y="592"/>
                  </a:lnTo>
                  <a:lnTo>
                    <a:pt x="652" y="588"/>
                  </a:lnTo>
                  <a:lnTo>
                    <a:pt x="653" y="587"/>
                  </a:lnTo>
                  <a:lnTo>
                    <a:pt x="652" y="585"/>
                  </a:lnTo>
                  <a:lnTo>
                    <a:pt x="652" y="583"/>
                  </a:lnTo>
                  <a:lnTo>
                    <a:pt x="654" y="583"/>
                  </a:lnTo>
                  <a:lnTo>
                    <a:pt x="655" y="586"/>
                  </a:lnTo>
                  <a:lnTo>
                    <a:pt x="656" y="587"/>
                  </a:lnTo>
                  <a:lnTo>
                    <a:pt x="656" y="592"/>
                  </a:lnTo>
                  <a:lnTo>
                    <a:pt x="658" y="594"/>
                  </a:lnTo>
                  <a:lnTo>
                    <a:pt x="659" y="593"/>
                  </a:lnTo>
                  <a:lnTo>
                    <a:pt x="659" y="591"/>
                  </a:lnTo>
                  <a:lnTo>
                    <a:pt x="659" y="587"/>
                  </a:lnTo>
                  <a:lnTo>
                    <a:pt x="660" y="587"/>
                  </a:lnTo>
                  <a:lnTo>
                    <a:pt x="661" y="588"/>
                  </a:lnTo>
                  <a:lnTo>
                    <a:pt x="661" y="586"/>
                  </a:lnTo>
                  <a:lnTo>
                    <a:pt x="664" y="588"/>
                  </a:lnTo>
                  <a:lnTo>
                    <a:pt x="664" y="591"/>
                  </a:lnTo>
                  <a:lnTo>
                    <a:pt x="665" y="592"/>
                  </a:lnTo>
                  <a:lnTo>
                    <a:pt x="666" y="591"/>
                  </a:lnTo>
                  <a:lnTo>
                    <a:pt x="666" y="587"/>
                  </a:lnTo>
                  <a:lnTo>
                    <a:pt x="666" y="583"/>
                  </a:lnTo>
                  <a:lnTo>
                    <a:pt x="668" y="582"/>
                  </a:lnTo>
                  <a:lnTo>
                    <a:pt x="670" y="585"/>
                  </a:lnTo>
                  <a:lnTo>
                    <a:pt x="668" y="588"/>
                  </a:lnTo>
                  <a:lnTo>
                    <a:pt x="667" y="591"/>
                  </a:lnTo>
                  <a:lnTo>
                    <a:pt x="668" y="592"/>
                  </a:lnTo>
                  <a:lnTo>
                    <a:pt x="668" y="598"/>
                  </a:lnTo>
                  <a:lnTo>
                    <a:pt x="670" y="599"/>
                  </a:lnTo>
                  <a:lnTo>
                    <a:pt x="670" y="600"/>
                  </a:lnTo>
                  <a:lnTo>
                    <a:pt x="671" y="600"/>
                  </a:lnTo>
                  <a:lnTo>
                    <a:pt x="673" y="599"/>
                  </a:lnTo>
                  <a:lnTo>
                    <a:pt x="673" y="603"/>
                  </a:lnTo>
                  <a:lnTo>
                    <a:pt x="674" y="603"/>
                  </a:lnTo>
                  <a:lnTo>
                    <a:pt x="676" y="604"/>
                  </a:lnTo>
                  <a:lnTo>
                    <a:pt x="676" y="598"/>
                  </a:lnTo>
                  <a:lnTo>
                    <a:pt x="676" y="594"/>
                  </a:lnTo>
                  <a:lnTo>
                    <a:pt x="676" y="593"/>
                  </a:lnTo>
                  <a:lnTo>
                    <a:pt x="673" y="588"/>
                  </a:lnTo>
                  <a:lnTo>
                    <a:pt x="673" y="587"/>
                  </a:lnTo>
                  <a:lnTo>
                    <a:pt x="673" y="582"/>
                  </a:lnTo>
                  <a:lnTo>
                    <a:pt x="672" y="577"/>
                  </a:lnTo>
                  <a:lnTo>
                    <a:pt x="672" y="571"/>
                  </a:lnTo>
                  <a:lnTo>
                    <a:pt x="674" y="571"/>
                  </a:lnTo>
                  <a:lnTo>
                    <a:pt x="677" y="571"/>
                  </a:lnTo>
                  <a:lnTo>
                    <a:pt x="677" y="575"/>
                  </a:lnTo>
                  <a:lnTo>
                    <a:pt x="677" y="577"/>
                  </a:lnTo>
                  <a:lnTo>
                    <a:pt x="678" y="577"/>
                  </a:lnTo>
                  <a:lnTo>
                    <a:pt x="680" y="576"/>
                  </a:lnTo>
                  <a:lnTo>
                    <a:pt x="680" y="573"/>
                  </a:lnTo>
                  <a:lnTo>
                    <a:pt x="683" y="569"/>
                  </a:lnTo>
                  <a:lnTo>
                    <a:pt x="683" y="568"/>
                  </a:lnTo>
                  <a:lnTo>
                    <a:pt x="683" y="575"/>
                  </a:lnTo>
                  <a:lnTo>
                    <a:pt x="684" y="577"/>
                  </a:lnTo>
                  <a:lnTo>
                    <a:pt x="686" y="576"/>
                  </a:lnTo>
                  <a:lnTo>
                    <a:pt x="686" y="573"/>
                  </a:lnTo>
                  <a:lnTo>
                    <a:pt x="688" y="569"/>
                  </a:lnTo>
                  <a:lnTo>
                    <a:pt x="689" y="567"/>
                  </a:lnTo>
                  <a:lnTo>
                    <a:pt x="689" y="570"/>
                  </a:lnTo>
                  <a:lnTo>
                    <a:pt x="689" y="576"/>
                  </a:lnTo>
                  <a:lnTo>
                    <a:pt x="690" y="579"/>
                  </a:lnTo>
                  <a:lnTo>
                    <a:pt x="691" y="577"/>
                  </a:lnTo>
                  <a:lnTo>
                    <a:pt x="693" y="573"/>
                  </a:lnTo>
                  <a:lnTo>
                    <a:pt x="693" y="569"/>
                  </a:lnTo>
                  <a:lnTo>
                    <a:pt x="693" y="564"/>
                  </a:lnTo>
                  <a:lnTo>
                    <a:pt x="693" y="561"/>
                  </a:lnTo>
                  <a:lnTo>
                    <a:pt x="691" y="557"/>
                  </a:lnTo>
                  <a:lnTo>
                    <a:pt x="693" y="556"/>
                  </a:lnTo>
                  <a:lnTo>
                    <a:pt x="695" y="556"/>
                  </a:lnTo>
                  <a:lnTo>
                    <a:pt x="697" y="557"/>
                  </a:lnTo>
                  <a:lnTo>
                    <a:pt x="696" y="555"/>
                  </a:lnTo>
                  <a:lnTo>
                    <a:pt x="696" y="553"/>
                  </a:lnTo>
                  <a:lnTo>
                    <a:pt x="699" y="553"/>
                  </a:lnTo>
                  <a:lnTo>
                    <a:pt x="700" y="553"/>
                  </a:lnTo>
                  <a:lnTo>
                    <a:pt x="701" y="551"/>
                  </a:lnTo>
                  <a:lnTo>
                    <a:pt x="699" y="551"/>
                  </a:lnTo>
                  <a:lnTo>
                    <a:pt x="697" y="550"/>
                  </a:lnTo>
                  <a:lnTo>
                    <a:pt x="696" y="547"/>
                  </a:lnTo>
                  <a:lnTo>
                    <a:pt x="695" y="549"/>
                  </a:lnTo>
                  <a:lnTo>
                    <a:pt x="695" y="550"/>
                  </a:lnTo>
                  <a:lnTo>
                    <a:pt x="693" y="552"/>
                  </a:lnTo>
                  <a:lnTo>
                    <a:pt x="693" y="551"/>
                  </a:lnTo>
                  <a:lnTo>
                    <a:pt x="690" y="550"/>
                  </a:lnTo>
                  <a:lnTo>
                    <a:pt x="690" y="551"/>
                  </a:lnTo>
                  <a:lnTo>
                    <a:pt x="689" y="551"/>
                  </a:lnTo>
                  <a:lnTo>
                    <a:pt x="686" y="551"/>
                  </a:lnTo>
                  <a:lnTo>
                    <a:pt x="686" y="550"/>
                  </a:lnTo>
                  <a:lnTo>
                    <a:pt x="685" y="550"/>
                  </a:lnTo>
                  <a:lnTo>
                    <a:pt x="684" y="553"/>
                  </a:lnTo>
                  <a:lnTo>
                    <a:pt x="683" y="553"/>
                  </a:lnTo>
                  <a:lnTo>
                    <a:pt x="682" y="552"/>
                  </a:lnTo>
                  <a:lnTo>
                    <a:pt x="680" y="553"/>
                  </a:lnTo>
                  <a:lnTo>
                    <a:pt x="678" y="556"/>
                  </a:lnTo>
                  <a:lnTo>
                    <a:pt x="676" y="557"/>
                  </a:lnTo>
                  <a:lnTo>
                    <a:pt x="674" y="559"/>
                  </a:lnTo>
                  <a:lnTo>
                    <a:pt x="668" y="558"/>
                  </a:lnTo>
                  <a:lnTo>
                    <a:pt x="664" y="558"/>
                  </a:lnTo>
                  <a:lnTo>
                    <a:pt x="660" y="559"/>
                  </a:lnTo>
                  <a:lnTo>
                    <a:pt x="655" y="561"/>
                  </a:lnTo>
                  <a:lnTo>
                    <a:pt x="649" y="561"/>
                  </a:lnTo>
                  <a:lnTo>
                    <a:pt x="644" y="562"/>
                  </a:lnTo>
                  <a:lnTo>
                    <a:pt x="640" y="562"/>
                  </a:lnTo>
                  <a:lnTo>
                    <a:pt x="636" y="562"/>
                  </a:lnTo>
                  <a:lnTo>
                    <a:pt x="634" y="563"/>
                  </a:lnTo>
                  <a:lnTo>
                    <a:pt x="630" y="564"/>
                  </a:lnTo>
                  <a:lnTo>
                    <a:pt x="623" y="564"/>
                  </a:lnTo>
                  <a:lnTo>
                    <a:pt x="619" y="563"/>
                  </a:lnTo>
                  <a:lnTo>
                    <a:pt x="617" y="562"/>
                  </a:lnTo>
                  <a:lnTo>
                    <a:pt x="614" y="561"/>
                  </a:lnTo>
                  <a:lnTo>
                    <a:pt x="612" y="557"/>
                  </a:lnTo>
                  <a:lnTo>
                    <a:pt x="611" y="555"/>
                  </a:lnTo>
                  <a:lnTo>
                    <a:pt x="609" y="555"/>
                  </a:lnTo>
                  <a:lnTo>
                    <a:pt x="606" y="555"/>
                  </a:lnTo>
                  <a:lnTo>
                    <a:pt x="601" y="556"/>
                  </a:lnTo>
                  <a:lnTo>
                    <a:pt x="600" y="557"/>
                  </a:lnTo>
                  <a:lnTo>
                    <a:pt x="597" y="557"/>
                  </a:lnTo>
                  <a:lnTo>
                    <a:pt x="596" y="557"/>
                  </a:lnTo>
                  <a:lnTo>
                    <a:pt x="591" y="555"/>
                  </a:lnTo>
                  <a:lnTo>
                    <a:pt x="587" y="551"/>
                  </a:lnTo>
                  <a:lnTo>
                    <a:pt x="583" y="547"/>
                  </a:lnTo>
                  <a:lnTo>
                    <a:pt x="579" y="544"/>
                  </a:lnTo>
                  <a:lnTo>
                    <a:pt x="575" y="540"/>
                  </a:lnTo>
                  <a:lnTo>
                    <a:pt x="572" y="535"/>
                  </a:lnTo>
                  <a:lnTo>
                    <a:pt x="572" y="533"/>
                  </a:lnTo>
                  <a:lnTo>
                    <a:pt x="576" y="534"/>
                  </a:lnTo>
                  <a:lnTo>
                    <a:pt x="576" y="533"/>
                  </a:lnTo>
                  <a:lnTo>
                    <a:pt x="572" y="531"/>
                  </a:lnTo>
                  <a:lnTo>
                    <a:pt x="571" y="529"/>
                  </a:lnTo>
                  <a:lnTo>
                    <a:pt x="570" y="524"/>
                  </a:lnTo>
                  <a:lnTo>
                    <a:pt x="571" y="524"/>
                  </a:lnTo>
                  <a:lnTo>
                    <a:pt x="573" y="527"/>
                  </a:lnTo>
                  <a:lnTo>
                    <a:pt x="575" y="529"/>
                  </a:lnTo>
                  <a:lnTo>
                    <a:pt x="576" y="531"/>
                  </a:lnTo>
                  <a:lnTo>
                    <a:pt x="577" y="528"/>
                  </a:lnTo>
                  <a:lnTo>
                    <a:pt x="578" y="527"/>
                  </a:lnTo>
                  <a:lnTo>
                    <a:pt x="579" y="527"/>
                  </a:lnTo>
                  <a:lnTo>
                    <a:pt x="579" y="529"/>
                  </a:lnTo>
                  <a:lnTo>
                    <a:pt x="581" y="532"/>
                  </a:lnTo>
                  <a:lnTo>
                    <a:pt x="578" y="538"/>
                  </a:lnTo>
                  <a:lnTo>
                    <a:pt x="581" y="540"/>
                  </a:lnTo>
                  <a:lnTo>
                    <a:pt x="582" y="538"/>
                  </a:lnTo>
                  <a:lnTo>
                    <a:pt x="583" y="534"/>
                  </a:lnTo>
                  <a:lnTo>
                    <a:pt x="584" y="533"/>
                  </a:lnTo>
                  <a:lnTo>
                    <a:pt x="585" y="534"/>
                  </a:lnTo>
                  <a:lnTo>
                    <a:pt x="585" y="533"/>
                  </a:lnTo>
                  <a:lnTo>
                    <a:pt x="587" y="531"/>
                  </a:lnTo>
                  <a:lnTo>
                    <a:pt x="588" y="528"/>
                  </a:lnTo>
                  <a:lnTo>
                    <a:pt x="589" y="531"/>
                  </a:lnTo>
                  <a:lnTo>
                    <a:pt x="590" y="534"/>
                  </a:lnTo>
                  <a:lnTo>
                    <a:pt x="590" y="537"/>
                  </a:lnTo>
                  <a:lnTo>
                    <a:pt x="591" y="538"/>
                  </a:lnTo>
                  <a:lnTo>
                    <a:pt x="593" y="535"/>
                  </a:lnTo>
                  <a:lnTo>
                    <a:pt x="593" y="532"/>
                  </a:lnTo>
                  <a:lnTo>
                    <a:pt x="594" y="528"/>
                  </a:lnTo>
                  <a:lnTo>
                    <a:pt x="595" y="531"/>
                  </a:lnTo>
                  <a:lnTo>
                    <a:pt x="595" y="533"/>
                  </a:lnTo>
                  <a:lnTo>
                    <a:pt x="596" y="528"/>
                  </a:lnTo>
                  <a:lnTo>
                    <a:pt x="597" y="527"/>
                  </a:lnTo>
                  <a:lnTo>
                    <a:pt x="597" y="534"/>
                  </a:lnTo>
                  <a:lnTo>
                    <a:pt x="597" y="538"/>
                  </a:lnTo>
                  <a:lnTo>
                    <a:pt x="600" y="537"/>
                  </a:lnTo>
                  <a:lnTo>
                    <a:pt x="603" y="531"/>
                  </a:lnTo>
                  <a:lnTo>
                    <a:pt x="606" y="528"/>
                  </a:lnTo>
                  <a:lnTo>
                    <a:pt x="606" y="534"/>
                  </a:lnTo>
                  <a:lnTo>
                    <a:pt x="605" y="539"/>
                  </a:lnTo>
                  <a:lnTo>
                    <a:pt x="606" y="537"/>
                  </a:lnTo>
                  <a:lnTo>
                    <a:pt x="608" y="533"/>
                  </a:lnTo>
                  <a:lnTo>
                    <a:pt x="608" y="529"/>
                  </a:lnTo>
                  <a:lnTo>
                    <a:pt x="612" y="526"/>
                  </a:lnTo>
                  <a:lnTo>
                    <a:pt x="611" y="534"/>
                  </a:lnTo>
                  <a:lnTo>
                    <a:pt x="609" y="538"/>
                  </a:lnTo>
                  <a:lnTo>
                    <a:pt x="612" y="535"/>
                  </a:lnTo>
                  <a:lnTo>
                    <a:pt x="614" y="532"/>
                  </a:lnTo>
                  <a:lnTo>
                    <a:pt x="613" y="538"/>
                  </a:lnTo>
                  <a:lnTo>
                    <a:pt x="613" y="540"/>
                  </a:lnTo>
                  <a:lnTo>
                    <a:pt x="615" y="540"/>
                  </a:lnTo>
                  <a:lnTo>
                    <a:pt x="615" y="537"/>
                  </a:lnTo>
                  <a:lnTo>
                    <a:pt x="617" y="535"/>
                  </a:lnTo>
                  <a:lnTo>
                    <a:pt x="620" y="534"/>
                  </a:lnTo>
                  <a:lnTo>
                    <a:pt x="621" y="532"/>
                  </a:lnTo>
                  <a:lnTo>
                    <a:pt x="621" y="535"/>
                  </a:lnTo>
                  <a:lnTo>
                    <a:pt x="619" y="539"/>
                  </a:lnTo>
                  <a:lnTo>
                    <a:pt x="619" y="541"/>
                  </a:lnTo>
                  <a:lnTo>
                    <a:pt x="623" y="538"/>
                  </a:lnTo>
                  <a:lnTo>
                    <a:pt x="624" y="537"/>
                  </a:lnTo>
                  <a:lnTo>
                    <a:pt x="624" y="535"/>
                  </a:lnTo>
                  <a:lnTo>
                    <a:pt x="625" y="543"/>
                  </a:lnTo>
                  <a:lnTo>
                    <a:pt x="628" y="545"/>
                  </a:lnTo>
                  <a:lnTo>
                    <a:pt x="629" y="547"/>
                  </a:lnTo>
                  <a:lnTo>
                    <a:pt x="632" y="545"/>
                  </a:lnTo>
                  <a:lnTo>
                    <a:pt x="634" y="544"/>
                  </a:lnTo>
                  <a:lnTo>
                    <a:pt x="634" y="545"/>
                  </a:lnTo>
                  <a:lnTo>
                    <a:pt x="634" y="549"/>
                  </a:lnTo>
                  <a:lnTo>
                    <a:pt x="634" y="552"/>
                  </a:lnTo>
                  <a:lnTo>
                    <a:pt x="635" y="556"/>
                  </a:lnTo>
                  <a:lnTo>
                    <a:pt x="635" y="555"/>
                  </a:lnTo>
                  <a:lnTo>
                    <a:pt x="636" y="551"/>
                  </a:lnTo>
                  <a:lnTo>
                    <a:pt x="636" y="549"/>
                  </a:lnTo>
                  <a:lnTo>
                    <a:pt x="637" y="545"/>
                  </a:lnTo>
                  <a:lnTo>
                    <a:pt x="638" y="547"/>
                  </a:lnTo>
                  <a:lnTo>
                    <a:pt x="638" y="549"/>
                  </a:lnTo>
                  <a:lnTo>
                    <a:pt x="641" y="546"/>
                  </a:lnTo>
                  <a:lnTo>
                    <a:pt x="641" y="543"/>
                  </a:lnTo>
                  <a:lnTo>
                    <a:pt x="642" y="538"/>
                  </a:lnTo>
                  <a:lnTo>
                    <a:pt x="642" y="545"/>
                  </a:lnTo>
                  <a:lnTo>
                    <a:pt x="642" y="550"/>
                  </a:lnTo>
                  <a:lnTo>
                    <a:pt x="642" y="553"/>
                  </a:lnTo>
                  <a:lnTo>
                    <a:pt x="644" y="556"/>
                  </a:lnTo>
                  <a:lnTo>
                    <a:pt x="646" y="556"/>
                  </a:lnTo>
                  <a:lnTo>
                    <a:pt x="647" y="556"/>
                  </a:lnTo>
                  <a:lnTo>
                    <a:pt x="649" y="556"/>
                  </a:lnTo>
                  <a:lnTo>
                    <a:pt x="650" y="552"/>
                  </a:lnTo>
                  <a:lnTo>
                    <a:pt x="650" y="549"/>
                  </a:lnTo>
                  <a:lnTo>
                    <a:pt x="650" y="545"/>
                  </a:lnTo>
                  <a:lnTo>
                    <a:pt x="652" y="549"/>
                  </a:lnTo>
                  <a:lnTo>
                    <a:pt x="652" y="551"/>
                  </a:lnTo>
                  <a:lnTo>
                    <a:pt x="653" y="549"/>
                  </a:lnTo>
                  <a:lnTo>
                    <a:pt x="654" y="549"/>
                  </a:lnTo>
                  <a:lnTo>
                    <a:pt x="655" y="553"/>
                  </a:lnTo>
                  <a:lnTo>
                    <a:pt x="655" y="555"/>
                  </a:lnTo>
                  <a:lnTo>
                    <a:pt x="656" y="556"/>
                  </a:lnTo>
                  <a:lnTo>
                    <a:pt x="658" y="552"/>
                  </a:lnTo>
                  <a:lnTo>
                    <a:pt x="658" y="550"/>
                  </a:lnTo>
                  <a:lnTo>
                    <a:pt x="664" y="553"/>
                  </a:lnTo>
                  <a:lnTo>
                    <a:pt x="662" y="551"/>
                  </a:lnTo>
                  <a:lnTo>
                    <a:pt x="660" y="550"/>
                  </a:lnTo>
                  <a:lnTo>
                    <a:pt x="662" y="547"/>
                  </a:lnTo>
                  <a:lnTo>
                    <a:pt x="660" y="547"/>
                  </a:lnTo>
                  <a:lnTo>
                    <a:pt x="656" y="547"/>
                  </a:lnTo>
                  <a:lnTo>
                    <a:pt x="654" y="546"/>
                  </a:lnTo>
                  <a:lnTo>
                    <a:pt x="659" y="545"/>
                  </a:lnTo>
                  <a:lnTo>
                    <a:pt x="658" y="544"/>
                  </a:lnTo>
                  <a:lnTo>
                    <a:pt x="654" y="544"/>
                  </a:lnTo>
                  <a:lnTo>
                    <a:pt x="650" y="544"/>
                  </a:lnTo>
                  <a:lnTo>
                    <a:pt x="649" y="541"/>
                  </a:lnTo>
                  <a:lnTo>
                    <a:pt x="652" y="540"/>
                  </a:lnTo>
                  <a:lnTo>
                    <a:pt x="650" y="539"/>
                  </a:lnTo>
                  <a:lnTo>
                    <a:pt x="649" y="538"/>
                  </a:lnTo>
                  <a:lnTo>
                    <a:pt x="647" y="537"/>
                  </a:lnTo>
                  <a:lnTo>
                    <a:pt x="642" y="534"/>
                  </a:lnTo>
                  <a:lnTo>
                    <a:pt x="643" y="533"/>
                  </a:lnTo>
                  <a:lnTo>
                    <a:pt x="642" y="531"/>
                  </a:lnTo>
                  <a:lnTo>
                    <a:pt x="640" y="529"/>
                  </a:lnTo>
                  <a:lnTo>
                    <a:pt x="638" y="527"/>
                  </a:lnTo>
                  <a:lnTo>
                    <a:pt x="636" y="526"/>
                  </a:lnTo>
                  <a:lnTo>
                    <a:pt x="634" y="522"/>
                  </a:lnTo>
                  <a:lnTo>
                    <a:pt x="634" y="520"/>
                  </a:lnTo>
                  <a:lnTo>
                    <a:pt x="636" y="518"/>
                  </a:lnTo>
                  <a:lnTo>
                    <a:pt x="637" y="516"/>
                  </a:lnTo>
                  <a:lnTo>
                    <a:pt x="638" y="518"/>
                  </a:lnTo>
                  <a:lnTo>
                    <a:pt x="638" y="522"/>
                  </a:lnTo>
                  <a:lnTo>
                    <a:pt x="640" y="524"/>
                  </a:lnTo>
                  <a:lnTo>
                    <a:pt x="641" y="527"/>
                  </a:lnTo>
                  <a:lnTo>
                    <a:pt x="642" y="526"/>
                  </a:lnTo>
                  <a:lnTo>
                    <a:pt x="643" y="522"/>
                  </a:lnTo>
                  <a:lnTo>
                    <a:pt x="644" y="523"/>
                  </a:lnTo>
                  <a:lnTo>
                    <a:pt x="646" y="522"/>
                  </a:lnTo>
                  <a:lnTo>
                    <a:pt x="646" y="521"/>
                  </a:lnTo>
                  <a:lnTo>
                    <a:pt x="646" y="518"/>
                  </a:lnTo>
                  <a:lnTo>
                    <a:pt x="644" y="517"/>
                  </a:lnTo>
                  <a:lnTo>
                    <a:pt x="642" y="516"/>
                  </a:lnTo>
                  <a:lnTo>
                    <a:pt x="638" y="514"/>
                  </a:lnTo>
                  <a:lnTo>
                    <a:pt x="642" y="512"/>
                  </a:lnTo>
                  <a:lnTo>
                    <a:pt x="643" y="511"/>
                  </a:lnTo>
                  <a:lnTo>
                    <a:pt x="641" y="511"/>
                  </a:lnTo>
                  <a:lnTo>
                    <a:pt x="637" y="511"/>
                  </a:lnTo>
                  <a:lnTo>
                    <a:pt x="632" y="511"/>
                  </a:lnTo>
                  <a:lnTo>
                    <a:pt x="628" y="508"/>
                  </a:lnTo>
                  <a:lnTo>
                    <a:pt x="621" y="505"/>
                  </a:lnTo>
                  <a:lnTo>
                    <a:pt x="618" y="503"/>
                  </a:lnTo>
                  <a:lnTo>
                    <a:pt x="611" y="499"/>
                  </a:lnTo>
                  <a:lnTo>
                    <a:pt x="606" y="497"/>
                  </a:lnTo>
                  <a:lnTo>
                    <a:pt x="601" y="496"/>
                  </a:lnTo>
                  <a:lnTo>
                    <a:pt x="597" y="496"/>
                  </a:lnTo>
                  <a:lnTo>
                    <a:pt x="593" y="493"/>
                  </a:lnTo>
                  <a:lnTo>
                    <a:pt x="589" y="493"/>
                  </a:lnTo>
                  <a:lnTo>
                    <a:pt x="589" y="491"/>
                  </a:lnTo>
                  <a:lnTo>
                    <a:pt x="590" y="490"/>
                  </a:lnTo>
                  <a:lnTo>
                    <a:pt x="593" y="488"/>
                  </a:lnTo>
                  <a:lnTo>
                    <a:pt x="588" y="487"/>
                  </a:lnTo>
                  <a:lnTo>
                    <a:pt x="584" y="487"/>
                  </a:lnTo>
                  <a:lnTo>
                    <a:pt x="581" y="486"/>
                  </a:lnTo>
                  <a:lnTo>
                    <a:pt x="578" y="485"/>
                  </a:lnTo>
                  <a:lnTo>
                    <a:pt x="577" y="482"/>
                  </a:lnTo>
                  <a:lnTo>
                    <a:pt x="577" y="478"/>
                  </a:lnTo>
                  <a:lnTo>
                    <a:pt x="578" y="474"/>
                  </a:lnTo>
                  <a:lnTo>
                    <a:pt x="581" y="470"/>
                  </a:lnTo>
                  <a:lnTo>
                    <a:pt x="583" y="467"/>
                  </a:lnTo>
                  <a:lnTo>
                    <a:pt x="583" y="469"/>
                  </a:lnTo>
                  <a:lnTo>
                    <a:pt x="583" y="472"/>
                  </a:lnTo>
                  <a:lnTo>
                    <a:pt x="585" y="473"/>
                  </a:lnTo>
                  <a:lnTo>
                    <a:pt x="588" y="473"/>
                  </a:lnTo>
                  <a:lnTo>
                    <a:pt x="588" y="474"/>
                  </a:lnTo>
                  <a:lnTo>
                    <a:pt x="590" y="475"/>
                  </a:lnTo>
                  <a:lnTo>
                    <a:pt x="591" y="475"/>
                  </a:lnTo>
                  <a:lnTo>
                    <a:pt x="593" y="472"/>
                  </a:lnTo>
                  <a:lnTo>
                    <a:pt x="594" y="469"/>
                  </a:lnTo>
                  <a:lnTo>
                    <a:pt x="593" y="475"/>
                  </a:lnTo>
                  <a:lnTo>
                    <a:pt x="595" y="478"/>
                  </a:lnTo>
                  <a:lnTo>
                    <a:pt x="596" y="476"/>
                  </a:lnTo>
                  <a:lnTo>
                    <a:pt x="596" y="473"/>
                  </a:lnTo>
                  <a:lnTo>
                    <a:pt x="599" y="469"/>
                  </a:lnTo>
                  <a:lnTo>
                    <a:pt x="599" y="473"/>
                  </a:lnTo>
                  <a:lnTo>
                    <a:pt x="601" y="475"/>
                  </a:lnTo>
                  <a:lnTo>
                    <a:pt x="602" y="472"/>
                  </a:lnTo>
                  <a:lnTo>
                    <a:pt x="603" y="470"/>
                  </a:lnTo>
                  <a:lnTo>
                    <a:pt x="602" y="475"/>
                  </a:lnTo>
                  <a:lnTo>
                    <a:pt x="602" y="480"/>
                  </a:lnTo>
                  <a:lnTo>
                    <a:pt x="605" y="481"/>
                  </a:lnTo>
                  <a:lnTo>
                    <a:pt x="607" y="482"/>
                  </a:lnTo>
                  <a:lnTo>
                    <a:pt x="607" y="478"/>
                  </a:lnTo>
                  <a:lnTo>
                    <a:pt x="607" y="475"/>
                  </a:lnTo>
                  <a:lnTo>
                    <a:pt x="608" y="473"/>
                  </a:lnTo>
                  <a:lnTo>
                    <a:pt x="609" y="474"/>
                  </a:lnTo>
                  <a:lnTo>
                    <a:pt x="609" y="479"/>
                  </a:lnTo>
                  <a:lnTo>
                    <a:pt x="612" y="478"/>
                  </a:lnTo>
                  <a:lnTo>
                    <a:pt x="613" y="475"/>
                  </a:lnTo>
                  <a:lnTo>
                    <a:pt x="614" y="478"/>
                  </a:lnTo>
                  <a:lnTo>
                    <a:pt x="615" y="474"/>
                  </a:lnTo>
                  <a:lnTo>
                    <a:pt x="617" y="473"/>
                  </a:lnTo>
                  <a:lnTo>
                    <a:pt x="615" y="479"/>
                  </a:lnTo>
                  <a:lnTo>
                    <a:pt x="618" y="478"/>
                  </a:lnTo>
                  <a:lnTo>
                    <a:pt x="620" y="480"/>
                  </a:lnTo>
                  <a:lnTo>
                    <a:pt x="621" y="478"/>
                  </a:lnTo>
                  <a:lnTo>
                    <a:pt x="621" y="484"/>
                  </a:lnTo>
                  <a:lnTo>
                    <a:pt x="620" y="487"/>
                  </a:lnTo>
                  <a:lnTo>
                    <a:pt x="624" y="486"/>
                  </a:lnTo>
                  <a:lnTo>
                    <a:pt x="625" y="485"/>
                  </a:lnTo>
                  <a:lnTo>
                    <a:pt x="626" y="484"/>
                  </a:lnTo>
                  <a:lnTo>
                    <a:pt x="628" y="478"/>
                  </a:lnTo>
                  <a:lnTo>
                    <a:pt x="629" y="476"/>
                  </a:lnTo>
                  <a:lnTo>
                    <a:pt x="632" y="479"/>
                  </a:lnTo>
                  <a:lnTo>
                    <a:pt x="634" y="478"/>
                  </a:lnTo>
                  <a:lnTo>
                    <a:pt x="634" y="475"/>
                  </a:lnTo>
                  <a:lnTo>
                    <a:pt x="637" y="478"/>
                  </a:lnTo>
                  <a:lnTo>
                    <a:pt x="636" y="480"/>
                  </a:lnTo>
                  <a:lnTo>
                    <a:pt x="637" y="479"/>
                  </a:lnTo>
                  <a:lnTo>
                    <a:pt x="641" y="479"/>
                  </a:lnTo>
                  <a:lnTo>
                    <a:pt x="646" y="479"/>
                  </a:lnTo>
                  <a:lnTo>
                    <a:pt x="644" y="478"/>
                  </a:lnTo>
                  <a:lnTo>
                    <a:pt x="640" y="475"/>
                  </a:lnTo>
                  <a:lnTo>
                    <a:pt x="634" y="472"/>
                  </a:lnTo>
                  <a:lnTo>
                    <a:pt x="634" y="469"/>
                  </a:lnTo>
                  <a:lnTo>
                    <a:pt x="631" y="469"/>
                  </a:lnTo>
                  <a:lnTo>
                    <a:pt x="626" y="469"/>
                  </a:lnTo>
                  <a:lnTo>
                    <a:pt x="624" y="468"/>
                  </a:lnTo>
                  <a:lnTo>
                    <a:pt x="623" y="466"/>
                  </a:lnTo>
                  <a:lnTo>
                    <a:pt x="628" y="466"/>
                  </a:lnTo>
                  <a:lnTo>
                    <a:pt x="631" y="467"/>
                  </a:lnTo>
                  <a:lnTo>
                    <a:pt x="629" y="464"/>
                  </a:lnTo>
                  <a:lnTo>
                    <a:pt x="623" y="462"/>
                  </a:lnTo>
                  <a:lnTo>
                    <a:pt x="621" y="461"/>
                  </a:lnTo>
                  <a:lnTo>
                    <a:pt x="626" y="460"/>
                  </a:lnTo>
                  <a:lnTo>
                    <a:pt x="621" y="460"/>
                  </a:lnTo>
                  <a:lnTo>
                    <a:pt x="615" y="458"/>
                  </a:lnTo>
                  <a:lnTo>
                    <a:pt x="615" y="456"/>
                  </a:lnTo>
                  <a:lnTo>
                    <a:pt x="613" y="456"/>
                  </a:lnTo>
                  <a:lnTo>
                    <a:pt x="609" y="455"/>
                  </a:lnTo>
                  <a:lnTo>
                    <a:pt x="612" y="452"/>
                  </a:lnTo>
                  <a:lnTo>
                    <a:pt x="609" y="452"/>
                  </a:lnTo>
                  <a:lnTo>
                    <a:pt x="603" y="452"/>
                  </a:lnTo>
                  <a:lnTo>
                    <a:pt x="602" y="450"/>
                  </a:lnTo>
                  <a:lnTo>
                    <a:pt x="601" y="449"/>
                  </a:lnTo>
                  <a:lnTo>
                    <a:pt x="599" y="450"/>
                  </a:lnTo>
                  <a:lnTo>
                    <a:pt x="595" y="450"/>
                  </a:lnTo>
                  <a:lnTo>
                    <a:pt x="594" y="449"/>
                  </a:lnTo>
                  <a:lnTo>
                    <a:pt x="594" y="445"/>
                  </a:lnTo>
                  <a:lnTo>
                    <a:pt x="591" y="446"/>
                  </a:lnTo>
                  <a:lnTo>
                    <a:pt x="590" y="444"/>
                  </a:lnTo>
                  <a:lnTo>
                    <a:pt x="587" y="444"/>
                  </a:lnTo>
                  <a:lnTo>
                    <a:pt x="583" y="445"/>
                  </a:lnTo>
                  <a:lnTo>
                    <a:pt x="581" y="445"/>
                  </a:lnTo>
                  <a:lnTo>
                    <a:pt x="579" y="444"/>
                  </a:lnTo>
                  <a:lnTo>
                    <a:pt x="571" y="440"/>
                  </a:lnTo>
                  <a:lnTo>
                    <a:pt x="566" y="439"/>
                  </a:lnTo>
                  <a:lnTo>
                    <a:pt x="562" y="437"/>
                  </a:lnTo>
                  <a:lnTo>
                    <a:pt x="560" y="437"/>
                  </a:lnTo>
                  <a:lnTo>
                    <a:pt x="558" y="437"/>
                  </a:lnTo>
                  <a:lnTo>
                    <a:pt x="553" y="436"/>
                  </a:lnTo>
                  <a:lnTo>
                    <a:pt x="549" y="434"/>
                  </a:lnTo>
                  <a:lnTo>
                    <a:pt x="547" y="433"/>
                  </a:lnTo>
                  <a:lnTo>
                    <a:pt x="543" y="433"/>
                  </a:lnTo>
                  <a:lnTo>
                    <a:pt x="541" y="432"/>
                  </a:lnTo>
                  <a:lnTo>
                    <a:pt x="540" y="434"/>
                  </a:lnTo>
                  <a:lnTo>
                    <a:pt x="537" y="431"/>
                  </a:lnTo>
                  <a:lnTo>
                    <a:pt x="536" y="431"/>
                  </a:lnTo>
                  <a:lnTo>
                    <a:pt x="534" y="431"/>
                  </a:lnTo>
                  <a:lnTo>
                    <a:pt x="529" y="433"/>
                  </a:lnTo>
                  <a:lnTo>
                    <a:pt x="529" y="432"/>
                  </a:lnTo>
                  <a:lnTo>
                    <a:pt x="525" y="431"/>
                  </a:lnTo>
                  <a:lnTo>
                    <a:pt x="523" y="430"/>
                  </a:lnTo>
                  <a:lnTo>
                    <a:pt x="520" y="431"/>
                  </a:lnTo>
                  <a:lnTo>
                    <a:pt x="519" y="428"/>
                  </a:lnTo>
                  <a:lnTo>
                    <a:pt x="514" y="427"/>
                  </a:lnTo>
                  <a:lnTo>
                    <a:pt x="512" y="426"/>
                  </a:lnTo>
                  <a:lnTo>
                    <a:pt x="511" y="426"/>
                  </a:lnTo>
                  <a:lnTo>
                    <a:pt x="510" y="425"/>
                  </a:lnTo>
                  <a:lnTo>
                    <a:pt x="511" y="424"/>
                  </a:lnTo>
                  <a:lnTo>
                    <a:pt x="513" y="425"/>
                  </a:lnTo>
                  <a:lnTo>
                    <a:pt x="516" y="426"/>
                  </a:lnTo>
                  <a:lnTo>
                    <a:pt x="518" y="428"/>
                  </a:lnTo>
                  <a:lnTo>
                    <a:pt x="522" y="430"/>
                  </a:lnTo>
                  <a:lnTo>
                    <a:pt x="525" y="430"/>
                  </a:lnTo>
                  <a:lnTo>
                    <a:pt x="525" y="427"/>
                  </a:lnTo>
                  <a:lnTo>
                    <a:pt x="528" y="428"/>
                  </a:lnTo>
                  <a:lnTo>
                    <a:pt x="528" y="431"/>
                  </a:lnTo>
                  <a:lnTo>
                    <a:pt x="529" y="431"/>
                  </a:lnTo>
                  <a:lnTo>
                    <a:pt x="530" y="431"/>
                  </a:lnTo>
                  <a:lnTo>
                    <a:pt x="532" y="427"/>
                  </a:lnTo>
                  <a:lnTo>
                    <a:pt x="534" y="426"/>
                  </a:lnTo>
                  <a:lnTo>
                    <a:pt x="535" y="430"/>
                  </a:lnTo>
                  <a:lnTo>
                    <a:pt x="536" y="430"/>
                  </a:lnTo>
                  <a:lnTo>
                    <a:pt x="538" y="430"/>
                  </a:lnTo>
                  <a:lnTo>
                    <a:pt x="538" y="428"/>
                  </a:lnTo>
                  <a:lnTo>
                    <a:pt x="540" y="431"/>
                  </a:lnTo>
                  <a:lnTo>
                    <a:pt x="541" y="431"/>
                  </a:lnTo>
                  <a:lnTo>
                    <a:pt x="542" y="430"/>
                  </a:lnTo>
                  <a:lnTo>
                    <a:pt x="543" y="431"/>
                  </a:lnTo>
                  <a:lnTo>
                    <a:pt x="544" y="431"/>
                  </a:lnTo>
                  <a:lnTo>
                    <a:pt x="548" y="432"/>
                  </a:lnTo>
                  <a:lnTo>
                    <a:pt x="549" y="433"/>
                  </a:lnTo>
                  <a:lnTo>
                    <a:pt x="550" y="432"/>
                  </a:lnTo>
                  <a:lnTo>
                    <a:pt x="552" y="431"/>
                  </a:lnTo>
                  <a:lnTo>
                    <a:pt x="553" y="430"/>
                  </a:lnTo>
                  <a:lnTo>
                    <a:pt x="552" y="426"/>
                  </a:lnTo>
                  <a:lnTo>
                    <a:pt x="554" y="428"/>
                  </a:lnTo>
                  <a:lnTo>
                    <a:pt x="556" y="431"/>
                  </a:lnTo>
                  <a:lnTo>
                    <a:pt x="558" y="434"/>
                  </a:lnTo>
                  <a:lnTo>
                    <a:pt x="559" y="434"/>
                  </a:lnTo>
                  <a:lnTo>
                    <a:pt x="559" y="433"/>
                  </a:lnTo>
                  <a:lnTo>
                    <a:pt x="561" y="432"/>
                  </a:lnTo>
                  <a:lnTo>
                    <a:pt x="562" y="434"/>
                  </a:lnTo>
                  <a:lnTo>
                    <a:pt x="562" y="436"/>
                  </a:lnTo>
                  <a:lnTo>
                    <a:pt x="565" y="434"/>
                  </a:lnTo>
                  <a:lnTo>
                    <a:pt x="566" y="432"/>
                  </a:lnTo>
                  <a:lnTo>
                    <a:pt x="565" y="436"/>
                  </a:lnTo>
                  <a:lnTo>
                    <a:pt x="566" y="437"/>
                  </a:lnTo>
                  <a:lnTo>
                    <a:pt x="570" y="437"/>
                  </a:lnTo>
                  <a:lnTo>
                    <a:pt x="572" y="436"/>
                  </a:lnTo>
                  <a:lnTo>
                    <a:pt x="572" y="434"/>
                  </a:lnTo>
                  <a:lnTo>
                    <a:pt x="573" y="434"/>
                  </a:lnTo>
                  <a:lnTo>
                    <a:pt x="577" y="439"/>
                  </a:lnTo>
                  <a:lnTo>
                    <a:pt x="577" y="438"/>
                  </a:lnTo>
                  <a:lnTo>
                    <a:pt x="576" y="436"/>
                  </a:lnTo>
                  <a:lnTo>
                    <a:pt x="575" y="433"/>
                  </a:lnTo>
                  <a:lnTo>
                    <a:pt x="575" y="432"/>
                  </a:lnTo>
                  <a:lnTo>
                    <a:pt x="575" y="433"/>
                  </a:lnTo>
                  <a:lnTo>
                    <a:pt x="577" y="433"/>
                  </a:lnTo>
                  <a:lnTo>
                    <a:pt x="577" y="431"/>
                  </a:lnTo>
                  <a:lnTo>
                    <a:pt x="578" y="430"/>
                  </a:lnTo>
                  <a:lnTo>
                    <a:pt x="579" y="431"/>
                  </a:lnTo>
                  <a:lnTo>
                    <a:pt x="578" y="436"/>
                  </a:lnTo>
                  <a:lnTo>
                    <a:pt x="579" y="437"/>
                  </a:lnTo>
                  <a:lnTo>
                    <a:pt x="581" y="437"/>
                  </a:lnTo>
                  <a:lnTo>
                    <a:pt x="581" y="439"/>
                  </a:lnTo>
                  <a:lnTo>
                    <a:pt x="582" y="442"/>
                  </a:lnTo>
                  <a:lnTo>
                    <a:pt x="583" y="443"/>
                  </a:lnTo>
                  <a:lnTo>
                    <a:pt x="584" y="440"/>
                  </a:lnTo>
                  <a:lnTo>
                    <a:pt x="584" y="437"/>
                  </a:lnTo>
                  <a:lnTo>
                    <a:pt x="584" y="433"/>
                  </a:lnTo>
                  <a:lnTo>
                    <a:pt x="585" y="433"/>
                  </a:lnTo>
                  <a:lnTo>
                    <a:pt x="587" y="442"/>
                  </a:lnTo>
                  <a:lnTo>
                    <a:pt x="588" y="440"/>
                  </a:lnTo>
                  <a:lnTo>
                    <a:pt x="588" y="438"/>
                  </a:lnTo>
                  <a:lnTo>
                    <a:pt x="588" y="436"/>
                  </a:lnTo>
                  <a:lnTo>
                    <a:pt x="590" y="434"/>
                  </a:lnTo>
                  <a:lnTo>
                    <a:pt x="590" y="432"/>
                  </a:lnTo>
                  <a:lnTo>
                    <a:pt x="590" y="431"/>
                  </a:lnTo>
                  <a:lnTo>
                    <a:pt x="591" y="436"/>
                  </a:lnTo>
                  <a:lnTo>
                    <a:pt x="591" y="439"/>
                  </a:lnTo>
                  <a:lnTo>
                    <a:pt x="594" y="440"/>
                  </a:lnTo>
                  <a:lnTo>
                    <a:pt x="596" y="440"/>
                  </a:lnTo>
                  <a:lnTo>
                    <a:pt x="597" y="436"/>
                  </a:lnTo>
                  <a:lnTo>
                    <a:pt x="599" y="440"/>
                  </a:lnTo>
                  <a:lnTo>
                    <a:pt x="599" y="444"/>
                  </a:lnTo>
                  <a:lnTo>
                    <a:pt x="597" y="445"/>
                  </a:lnTo>
                  <a:lnTo>
                    <a:pt x="600" y="446"/>
                  </a:lnTo>
                  <a:lnTo>
                    <a:pt x="601" y="446"/>
                  </a:lnTo>
                  <a:lnTo>
                    <a:pt x="601" y="444"/>
                  </a:lnTo>
                  <a:lnTo>
                    <a:pt x="602" y="443"/>
                  </a:lnTo>
                  <a:lnTo>
                    <a:pt x="605" y="440"/>
                  </a:lnTo>
                  <a:lnTo>
                    <a:pt x="605" y="439"/>
                  </a:lnTo>
                  <a:lnTo>
                    <a:pt x="605" y="436"/>
                  </a:lnTo>
                  <a:lnTo>
                    <a:pt x="606" y="433"/>
                  </a:lnTo>
                  <a:lnTo>
                    <a:pt x="607" y="436"/>
                  </a:lnTo>
                  <a:lnTo>
                    <a:pt x="608" y="438"/>
                  </a:lnTo>
                  <a:lnTo>
                    <a:pt x="609" y="442"/>
                  </a:lnTo>
                  <a:lnTo>
                    <a:pt x="609" y="440"/>
                  </a:lnTo>
                  <a:lnTo>
                    <a:pt x="611" y="438"/>
                  </a:lnTo>
                  <a:lnTo>
                    <a:pt x="612" y="438"/>
                  </a:lnTo>
                  <a:lnTo>
                    <a:pt x="613" y="440"/>
                  </a:lnTo>
                  <a:lnTo>
                    <a:pt x="613" y="443"/>
                  </a:lnTo>
                  <a:lnTo>
                    <a:pt x="613" y="445"/>
                  </a:lnTo>
                  <a:lnTo>
                    <a:pt x="614" y="446"/>
                  </a:lnTo>
                  <a:lnTo>
                    <a:pt x="617" y="443"/>
                  </a:lnTo>
                  <a:lnTo>
                    <a:pt x="618" y="442"/>
                  </a:lnTo>
                  <a:lnTo>
                    <a:pt x="619" y="443"/>
                  </a:lnTo>
                  <a:lnTo>
                    <a:pt x="620" y="443"/>
                  </a:lnTo>
                  <a:lnTo>
                    <a:pt x="620" y="440"/>
                  </a:lnTo>
                  <a:lnTo>
                    <a:pt x="621" y="436"/>
                  </a:lnTo>
                  <a:lnTo>
                    <a:pt x="624" y="434"/>
                  </a:lnTo>
                  <a:lnTo>
                    <a:pt x="625" y="436"/>
                  </a:lnTo>
                  <a:lnTo>
                    <a:pt x="628" y="436"/>
                  </a:lnTo>
                  <a:lnTo>
                    <a:pt x="628" y="438"/>
                  </a:lnTo>
                  <a:lnTo>
                    <a:pt x="629" y="442"/>
                  </a:lnTo>
                  <a:lnTo>
                    <a:pt x="631" y="440"/>
                  </a:lnTo>
                  <a:lnTo>
                    <a:pt x="631" y="438"/>
                  </a:lnTo>
                  <a:lnTo>
                    <a:pt x="638" y="440"/>
                  </a:lnTo>
                  <a:lnTo>
                    <a:pt x="637" y="439"/>
                  </a:lnTo>
                  <a:lnTo>
                    <a:pt x="634" y="437"/>
                  </a:lnTo>
                  <a:lnTo>
                    <a:pt x="631" y="437"/>
                  </a:lnTo>
                  <a:lnTo>
                    <a:pt x="635" y="434"/>
                  </a:lnTo>
                  <a:lnTo>
                    <a:pt x="634" y="433"/>
                  </a:lnTo>
                  <a:lnTo>
                    <a:pt x="630" y="433"/>
                  </a:lnTo>
                  <a:lnTo>
                    <a:pt x="631" y="432"/>
                  </a:lnTo>
                  <a:lnTo>
                    <a:pt x="631" y="431"/>
                  </a:lnTo>
                  <a:lnTo>
                    <a:pt x="628" y="431"/>
                  </a:lnTo>
                  <a:lnTo>
                    <a:pt x="624" y="430"/>
                  </a:lnTo>
                  <a:lnTo>
                    <a:pt x="621" y="428"/>
                  </a:lnTo>
                  <a:lnTo>
                    <a:pt x="619" y="426"/>
                  </a:lnTo>
                  <a:lnTo>
                    <a:pt x="617" y="425"/>
                  </a:lnTo>
                  <a:lnTo>
                    <a:pt x="614" y="422"/>
                  </a:lnTo>
                  <a:lnTo>
                    <a:pt x="613" y="421"/>
                  </a:lnTo>
                  <a:lnTo>
                    <a:pt x="611" y="417"/>
                  </a:lnTo>
                  <a:lnTo>
                    <a:pt x="613" y="416"/>
                  </a:lnTo>
                  <a:lnTo>
                    <a:pt x="617" y="417"/>
                  </a:lnTo>
                  <a:lnTo>
                    <a:pt x="615" y="415"/>
                  </a:lnTo>
                  <a:lnTo>
                    <a:pt x="614" y="414"/>
                  </a:lnTo>
                  <a:lnTo>
                    <a:pt x="613" y="410"/>
                  </a:lnTo>
                  <a:lnTo>
                    <a:pt x="611" y="411"/>
                  </a:lnTo>
                  <a:lnTo>
                    <a:pt x="611" y="414"/>
                  </a:lnTo>
                  <a:lnTo>
                    <a:pt x="607" y="413"/>
                  </a:lnTo>
                  <a:lnTo>
                    <a:pt x="603" y="414"/>
                  </a:lnTo>
                  <a:lnTo>
                    <a:pt x="595" y="410"/>
                  </a:lnTo>
                  <a:lnTo>
                    <a:pt x="590" y="409"/>
                  </a:lnTo>
                  <a:lnTo>
                    <a:pt x="590" y="407"/>
                  </a:lnTo>
                  <a:lnTo>
                    <a:pt x="588" y="408"/>
                  </a:lnTo>
                  <a:lnTo>
                    <a:pt x="585" y="408"/>
                  </a:lnTo>
                  <a:lnTo>
                    <a:pt x="584" y="407"/>
                  </a:lnTo>
                  <a:lnTo>
                    <a:pt x="582" y="405"/>
                  </a:lnTo>
                  <a:lnTo>
                    <a:pt x="581" y="404"/>
                  </a:lnTo>
                  <a:lnTo>
                    <a:pt x="572" y="404"/>
                  </a:lnTo>
                  <a:lnTo>
                    <a:pt x="567" y="404"/>
                  </a:lnTo>
                  <a:lnTo>
                    <a:pt x="566" y="403"/>
                  </a:lnTo>
                  <a:lnTo>
                    <a:pt x="564" y="402"/>
                  </a:lnTo>
                  <a:lnTo>
                    <a:pt x="561" y="402"/>
                  </a:lnTo>
                  <a:lnTo>
                    <a:pt x="556" y="401"/>
                  </a:lnTo>
                  <a:lnTo>
                    <a:pt x="554" y="399"/>
                  </a:lnTo>
                  <a:lnTo>
                    <a:pt x="553" y="395"/>
                  </a:lnTo>
                  <a:lnTo>
                    <a:pt x="549" y="395"/>
                  </a:lnTo>
                  <a:lnTo>
                    <a:pt x="547" y="393"/>
                  </a:lnTo>
                  <a:lnTo>
                    <a:pt x="541" y="392"/>
                  </a:lnTo>
                  <a:lnTo>
                    <a:pt x="540" y="392"/>
                  </a:lnTo>
                  <a:lnTo>
                    <a:pt x="536" y="392"/>
                  </a:lnTo>
                  <a:lnTo>
                    <a:pt x="532" y="392"/>
                  </a:lnTo>
                  <a:lnTo>
                    <a:pt x="532" y="390"/>
                  </a:lnTo>
                  <a:lnTo>
                    <a:pt x="529" y="390"/>
                  </a:lnTo>
                  <a:lnTo>
                    <a:pt x="528" y="391"/>
                  </a:lnTo>
                  <a:lnTo>
                    <a:pt x="520" y="392"/>
                  </a:lnTo>
                  <a:lnTo>
                    <a:pt x="518" y="391"/>
                  </a:lnTo>
                  <a:lnTo>
                    <a:pt x="513" y="389"/>
                  </a:lnTo>
                  <a:lnTo>
                    <a:pt x="510" y="389"/>
                  </a:lnTo>
                  <a:lnTo>
                    <a:pt x="503" y="387"/>
                  </a:lnTo>
                  <a:lnTo>
                    <a:pt x="499" y="386"/>
                  </a:lnTo>
                  <a:lnTo>
                    <a:pt x="493" y="386"/>
                  </a:lnTo>
                  <a:lnTo>
                    <a:pt x="489" y="383"/>
                  </a:lnTo>
                  <a:lnTo>
                    <a:pt x="485" y="381"/>
                  </a:lnTo>
                  <a:lnTo>
                    <a:pt x="485" y="384"/>
                  </a:lnTo>
                  <a:lnTo>
                    <a:pt x="484" y="385"/>
                  </a:lnTo>
                  <a:lnTo>
                    <a:pt x="482" y="385"/>
                  </a:lnTo>
                  <a:lnTo>
                    <a:pt x="479" y="385"/>
                  </a:lnTo>
                  <a:lnTo>
                    <a:pt x="476" y="383"/>
                  </a:lnTo>
                  <a:lnTo>
                    <a:pt x="473" y="381"/>
                  </a:lnTo>
                  <a:lnTo>
                    <a:pt x="469" y="383"/>
                  </a:lnTo>
                  <a:lnTo>
                    <a:pt x="467" y="384"/>
                  </a:lnTo>
                  <a:lnTo>
                    <a:pt x="464" y="381"/>
                  </a:lnTo>
                  <a:lnTo>
                    <a:pt x="463" y="380"/>
                  </a:lnTo>
                  <a:lnTo>
                    <a:pt x="458" y="380"/>
                  </a:lnTo>
                  <a:lnTo>
                    <a:pt x="453" y="380"/>
                  </a:lnTo>
                  <a:lnTo>
                    <a:pt x="453" y="378"/>
                  </a:lnTo>
                  <a:lnTo>
                    <a:pt x="451" y="375"/>
                  </a:lnTo>
                  <a:lnTo>
                    <a:pt x="448" y="374"/>
                  </a:lnTo>
                  <a:lnTo>
                    <a:pt x="444" y="373"/>
                  </a:lnTo>
                  <a:lnTo>
                    <a:pt x="443" y="371"/>
                  </a:lnTo>
                  <a:lnTo>
                    <a:pt x="440" y="368"/>
                  </a:lnTo>
                  <a:lnTo>
                    <a:pt x="435" y="365"/>
                  </a:lnTo>
                  <a:lnTo>
                    <a:pt x="432" y="361"/>
                  </a:lnTo>
                  <a:lnTo>
                    <a:pt x="432" y="353"/>
                  </a:lnTo>
                  <a:lnTo>
                    <a:pt x="432" y="349"/>
                  </a:lnTo>
                  <a:lnTo>
                    <a:pt x="434" y="349"/>
                  </a:lnTo>
                  <a:lnTo>
                    <a:pt x="435" y="353"/>
                  </a:lnTo>
                  <a:lnTo>
                    <a:pt x="436" y="354"/>
                  </a:lnTo>
                  <a:lnTo>
                    <a:pt x="437" y="351"/>
                  </a:lnTo>
                  <a:lnTo>
                    <a:pt x="437" y="348"/>
                  </a:lnTo>
                  <a:lnTo>
                    <a:pt x="437" y="347"/>
                  </a:lnTo>
                  <a:lnTo>
                    <a:pt x="438" y="349"/>
                  </a:lnTo>
                  <a:lnTo>
                    <a:pt x="438" y="353"/>
                  </a:lnTo>
                  <a:lnTo>
                    <a:pt x="437" y="356"/>
                  </a:lnTo>
                  <a:lnTo>
                    <a:pt x="437" y="360"/>
                  </a:lnTo>
                  <a:lnTo>
                    <a:pt x="436" y="362"/>
                  </a:lnTo>
                  <a:lnTo>
                    <a:pt x="437" y="363"/>
                  </a:lnTo>
                  <a:lnTo>
                    <a:pt x="440" y="365"/>
                  </a:lnTo>
                  <a:lnTo>
                    <a:pt x="441" y="367"/>
                  </a:lnTo>
                  <a:lnTo>
                    <a:pt x="442" y="368"/>
                  </a:lnTo>
                  <a:lnTo>
                    <a:pt x="446" y="371"/>
                  </a:lnTo>
                  <a:lnTo>
                    <a:pt x="447" y="369"/>
                  </a:lnTo>
                  <a:lnTo>
                    <a:pt x="448" y="372"/>
                  </a:lnTo>
                  <a:lnTo>
                    <a:pt x="449" y="372"/>
                  </a:lnTo>
                  <a:lnTo>
                    <a:pt x="452" y="372"/>
                  </a:lnTo>
                  <a:lnTo>
                    <a:pt x="453" y="374"/>
                  </a:lnTo>
                  <a:lnTo>
                    <a:pt x="454" y="373"/>
                  </a:lnTo>
                  <a:lnTo>
                    <a:pt x="454" y="371"/>
                  </a:lnTo>
                  <a:lnTo>
                    <a:pt x="452" y="368"/>
                  </a:lnTo>
                  <a:lnTo>
                    <a:pt x="451" y="366"/>
                  </a:lnTo>
                  <a:lnTo>
                    <a:pt x="452" y="362"/>
                  </a:lnTo>
                  <a:lnTo>
                    <a:pt x="451" y="359"/>
                  </a:lnTo>
                  <a:lnTo>
                    <a:pt x="451" y="355"/>
                  </a:lnTo>
                  <a:lnTo>
                    <a:pt x="452" y="351"/>
                  </a:lnTo>
                  <a:lnTo>
                    <a:pt x="453" y="351"/>
                  </a:lnTo>
                  <a:lnTo>
                    <a:pt x="453" y="353"/>
                  </a:lnTo>
                  <a:lnTo>
                    <a:pt x="452" y="356"/>
                  </a:lnTo>
                  <a:lnTo>
                    <a:pt x="454" y="355"/>
                  </a:lnTo>
                  <a:lnTo>
                    <a:pt x="455" y="356"/>
                  </a:lnTo>
                  <a:lnTo>
                    <a:pt x="453" y="360"/>
                  </a:lnTo>
                  <a:lnTo>
                    <a:pt x="454" y="361"/>
                  </a:lnTo>
                  <a:lnTo>
                    <a:pt x="455" y="361"/>
                  </a:lnTo>
                  <a:lnTo>
                    <a:pt x="457" y="359"/>
                  </a:lnTo>
                  <a:lnTo>
                    <a:pt x="457" y="355"/>
                  </a:lnTo>
                  <a:lnTo>
                    <a:pt x="457" y="353"/>
                  </a:lnTo>
                  <a:lnTo>
                    <a:pt x="459" y="353"/>
                  </a:lnTo>
                  <a:lnTo>
                    <a:pt x="459" y="357"/>
                  </a:lnTo>
                  <a:lnTo>
                    <a:pt x="460" y="361"/>
                  </a:lnTo>
                  <a:lnTo>
                    <a:pt x="460" y="362"/>
                  </a:lnTo>
                  <a:lnTo>
                    <a:pt x="461" y="361"/>
                  </a:lnTo>
                  <a:lnTo>
                    <a:pt x="464" y="360"/>
                  </a:lnTo>
                  <a:lnTo>
                    <a:pt x="464" y="362"/>
                  </a:lnTo>
                  <a:lnTo>
                    <a:pt x="465" y="363"/>
                  </a:lnTo>
                  <a:lnTo>
                    <a:pt x="465" y="365"/>
                  </a:lnTo>
                  <a:lnTo>
                    <a:pt x="466" y="365"/>
                  </a:lnTo>
                  <a:lnTo>
                    <a:pt x="466" y="366"/>
                  </a:lnTo>
                  <a:lnTo>
                    <a:pt x="469" y="367"/>
                  </a:lnTo>
                  <a:lnTo>
                    <a:pt x="470" y="365"/>
                  </a:lnTo>
                  <a:lnTo>
                    <a:pt x="470" y="363"/>
                  </a:lnTo>
                  <a:lnTo>
                    <a:pt x="471" y="362"/>
                  </a:lnTo>
                  <a:lnTo>
                    <a:pt x="471" y="367"/>
                  </a:lnTo>
                  <a:lnTo>
                    <a:pt x="471" y="372"/>
                  </a:lnTo>
                  <a:lnTo>
                    <a:pt x="471" y="373"/>
                  </a:lnTo>
                  <a:lnTo>
                    <a:pt x="472" y="369"/>
                  </a:lnTo>
                  <a:lnTo>
                    <a:pt x="473" y="367"/>
                  </a:lnTo>
                  <a:lnTo>
                    <a:pt x="473" y="363"/>
                  </a:lnTo>
                  <a:lnTo>
                    <a:pt x="475" y="362"/>
                  </a:lnTo>
                  <a:lnTo>
                    <a:pt x="475" y="367"/>
                  </a:lnTo>
                  <a:lnTo>
                    <a:pt x="473" y="372"/>
                  </a:lnTo>
                  <a:lnTo>
                    <a:pt x="473" y="373"/>
                  </a:lnTo>
                  <a:lnTo>
                    <a:pt x="475" y="373"/>
                  </a:lnTo>
                  <a:lnTo>
                    <a:pt x="476" y="372"/>
                  </a:lnTo>
                  <a:lnTo>
                    <a:pt x="476" y="373"/>
                  </a:lnTo>
                  <a:lnTo>
                    <a:pt x="477" y="375"/>
                  </a:lnTo>
                  <a:lnTo>
                    <a:pt x="478" y="379"/>
                  </a:lnTo>
                  <a:lnTo>
                    <a:pt x="479" y="378"/>
                  </a:lnTo>
                  <a:lnTo>
                    <a:pt x="479" y="373"/>
                  </a:lnTo>
                  <a:lnTo>
                    <a:pt x="479" y="372"/>
                  </a:lnTo>
                  <a:lnTo>
                    <a:pt x="482" y="371"/>
                  </a:lnTo>
                  <a:lnTo>
                    <a:pt x="484" y="369"/>
                  </a:lnTo>
                  <a:lnTo>
                    <a:pt x="485" y="368"/>
                  </a:lnTo>
                  <a:lnTo>
                    <a:pt x="482" y="365"/>
                  </a:lnTo>
                  <a:lnTo>
                    <a:pt x="481" y="360"/>
                  </a:lnTo>
                  <a:lnTo>
                    <a:pt x="482" y="360"/>
                  </a:lnTo>
                  <a:lnTo>
                    <a:pt x="482" y="361"/>
                  </a:lnTo>
                  <a:lnTo>
                    <a:pt x="483" y="361"/>
                  </a:lnTo>
                  <a:lnTo>
                    <a:pt x="485" y="360"/>
                  </a:lnTo>
                  <a:lnTo>
                    <a:pt x="488" y="360"/>
                  </a:lnTo>
                  <a:lnTo>
                    <a:pt x="488" y="356"/>
                  </a:lnTo>
                  <a:lnTo>
                    <a:pt x="488" y="355"/>
                  </a:lnTo>
                  <a:lnTo>
                    <a:pt x="489" y="356"/>
                  </a:lnTo>
                  <a:lnTo>
                    <a:pt x="490" y="359"/>
                  </a:lnTo>
                  <a:lnTo>
                    <a:pt x="493" y="356"/>
                  </a:lnTo>
                  <a:lnTo>
                    <a:pt x="491" y="354"/>
                  </a:lnTo>
                  <a:lnTo>
                    <a:pt x="494" y="353"/>
                  </a:lnTo>
                  <a:lnTo>
                    <a:pt x="494" y="351"/>
                  </a:lnTo>
                  <a:lnTo>
                    <a:pt x="493" y="349"/>
                  </a:lnTo>
                  <a:lnTo>
                    <a:pt x="496" y="349"/>
                  </a:lnTo>
                  <a:lnTo>
                    <a:pt x="499" y="348"/>
                  </a:lnTo>
                  <a:lnTo>
                    <a:pt x="496" y="338"/>
                  </a:lnTo>
                  <a:lnTo>
                    <a:pt x="497" y="333"/>
                  </a:lnTo>
                  <a:lnTo>
                    <a:pt x="499" y="332"/>
                  </a:lnTo>
                  <a:lnTo>
                    <a:pt x="499" y="336"/>
                  </a:lnTo>
                  <a:lnTo>
                    <a:pt x="500" y="336"/>
                  </a:lnTo>
                  <a:lnTo>
                    <a:pt x="500" y="332"/>
                  </a:lnTo>
                  <a:lnTo>
                    <a:pt x="500" y="330"/>
                  </a:lnTo>
                  <a:lnTo>
                    <a:pt x="501" y="331"/>
                  </a:lnTo>
                  <a:lnTo>
                    <a:pt x="502" y="329"/>
                  </a:lnTo>
                  <a:lnTo>
                    <a:pt x="505" y="329"/>
                  </a:lnTo>
                  <a:lnTo>
                    <a:pt x="507" y="330"/>
                  </a:lnTo>
                  <a:lnTo>
                    <a:pt x="507" y="333"/>
                  </a:lnTo>
                  <a:lnTo>
                    <a:pt x="507" y="337"/>
                  </a:lnTo>
                  <a:lnTo>
                    <a:pt x="507" y="338"/>
                  </a:lnTo>
                  <a:lnTo>
                    <a:pt x="508" y="338"/>
                  </a:lnTo>
                  <a:lnTo>
                    <a:pt x="510" y="341"/>
                  </a:lnTo>
                  <a:lnTo>
                    <a:pt x="511" y="338"/>
                  </a:lnTo>
                  <a:lnTo>
                    <a:pt x="511" y="332"/>
                  </a:lnTo>
                  <a:lnTo>
                    <a:pt x="510" y="330"/>
                  </a:lnTo>
                  <a:lnTo>
                    <a:pt x="511" y="327"/>
                  </a:lnTo>
                  <a:lnTo>
                    <a:pt x="513" y="325"/>
                  </a:lnTo>
                  <a:lnTo>
                    <a:pt x="513" y="323"/>
                  </a:lnTo>
                  <a:lnTo>
                    <a:pt x="512" y="319"/>
                  </a:lnTo>
                  <a:lnTo>
                    <a:pt x="512" y="315"/>
                  </a:lnTo>
                  <a:lnTo>
                    <a:pt x="514" y="313"/>
                  </a:lnTo>
                  <a:lnTo>
                    <a:pt x="514" y="317"/>
                  </a:lnTo>
                  <a:lnTo>
                    <a:pt x="519" y="315"/>
                  </a:lnTo>
                  <a:lnTo>
                    <a:pt x="520" y="318"/>
                  </a:lnTo>
                  <a:lnTo>
                    <a:pt x="522" y="315"/>
                  </a:lnTo>
                  <a:lnTo>
                    <a:pt x="523" y="314"/>
                  </a:lnTo>
                  <a:lnTo>
                    <a:pt x="524" y="314"/>
                  </a:lnTo>
                  <a:lnTo>
                    <a:pt x="523" y="323"/>
                  </a:lnTo>
                  <a:lnTo>
                    <a:pt x="524" y="324"/>
                  </a:lnTo>
                  <a:lnTo>
                    <a:pt x="526" y="324"/>
                  </a:lnTo>
                  <a:lnTo>
                    <a:pt x="526" y="321"/>
                  </a:lnTo>
                  <a:lnTo>
                    <a:pt x="525" y="315"/>
                  </a:lnTo>
                  <a:lnTo>
                    <a:pt x="525" y="312"/>
                  </a:lnTo>
                  <a:lnTo>
                    <a:pt x="526" y="309"/>
                  </a:lnTo>
                  <a:lnTo>
                    <a:pt x="529" y="308"/>
                  </a:lnTo>
                  <a:lnTo>
                    <a:pt x="528" y="304"/>
                  </a:lnTo>
                  <a:lnTo>
                    <a:pt x="531" y="306"/>
                  </a:lnTo>
                  <a:lnTo>
                    <a:pt x="530" y="303"/>
                  </a:lnTo>
                  <a:lnTo>
                    <a:pt x="530" y="300"/>
                  </a:lnTo>
                  <a:lnTo>
                    <a:pt x="531" y="298"/>
                  </a:lnTo>
                  <a:lnTo>
                    <a:pt x="534" y="302"/>
                  </a:lnTo>
                  <a:lnTo>
                    <a:pt x="536" y="302"/>
                  </a:lnTo>
                  <a:lnTo>
                    <a:pt x="537" y="300"/>
                  </a:lnTo>
                  <a:lnTo>
                    <a:pt x="538" y="298"/>
                  </a:lnTo>
                  <a:lnTo>
                    <a:pt x="538" y="297"/>
                  </a:lnTo>
                  <a:lnTo>
                    <a:pt x="538" y="295"/>
                  </a:lnTo>
                  <a:lnTo>
                    <a:pt x="538" y="291"/>
                  </a:lnTo>
                  <a:lnTo>
                    <a:pt x="538" y="290"/>
                  </a:lnTo>
                  <a:lnTo>
                    <a:pt x="540" y="290"/>
                  </a:lnTo>
                  <a:lnTo>
                    <a:pt x="541" y="291"/>
                  </a:lnTo>
                  <a:lnTo>
                    <a:pt x="542" y="290"/>
                  </a:lnTo>
                  <a:lnTo>
                    <a:pt x="538" y="288"/>
                  </a:lnTo>
                  <a:lnTo>
                    <a:pt x="538" y="285"/>
                  </a:lnTo>
                  <a:lnTo>
                    <a:pt x="537" y="284"/>
                  </a:lnTo>
                  <a:lnTo>
                    <a:pt x="534" y="284"/>
                  </a:lnTo>
                  <a:lnTo>
                    <a:pt x="534" y="283"/>
                  </a:lnTo>
                  <a:lnTo>
                    <a:pt x="535" y="282"/>
                  </a:lnTo>
                  <a:lnTo>
                    <a:pt x="537" y="282"/>
                  </a:lnTo>
                  <a:lnTo>
                    <a:pt x="538" y="282"/>
                  </a:lnTo>
                  <a:lnTo>
                    <a:pt x="540" y="283"/>
                  </a:lnTo>
                  <a:lnTo>
                    <a:pt x="541" y="285"/>
                  </a:lnTo>
                  <a:lnTo>
                    <a:pt x="541" y="288"/>
                  </a:lnTo>
                  <a:lnTo>
                    <a:pt x="542" y="288"/>
                  </a:lnTo>
                  <a:lnTo>
                    <a:pt x="542" y="286"/>
                  </a:lnTo>
                  <a:lnTo>
                    <a:pt x="544" y="289"/>
                  </a:lnTo>
                  <a:lnTo>
                    <a:pt x="544" y="286"/>
                  </a:lnTo>
                  <a:lnTo>
                    <a:pt x="543" y="285"/>
                  </a:lnTo>
                  <a:lnTo>
                    <a:pt x="543" y="283"/>
                  </a:lnTo>
                  <a:lnTo>
                    <a:pt x="544" y="282"/>
                  </a:lnTo>
                  <a:lnTo>
                    <a:pt x="546" y="283"/>
                  </a:lnTo>
                  <a:lnTo>
                    <a:pt x="547" y="283"/>
                  </a:lnTo>
                  <a:lnTo>
                    <a:pt x="548" y="280"/>
                  </a:lnTo>
                  <a:lnTo>
                    <a:pt x="547" y="279"/>
                  </a:lnTo>
                  <a:lnTo>
                    <a:pt x="544" y="279"/>
                  </a:lnTo>
                  <a:lnTo>
                    <a:pt x="543" y="279"/>
                  </a:lnTo>
                  <a:lnTo>
                    <a:pt x="542" y="278"/>
                  </a:lnTo>
                  <a:lnTo>
                    <a:pt x="540" y="277"/>
                  </a:lnTo>
                  <a:lnTo>
                    <a:pt x="544" y="276"/>
                  </a:lnTo>
                  <a:lnTo>
                    <a:pt x="546" y="274"/>
                  </a:lnTo>
                  <a:lnTo>
                    <a:pt x="541" y="274"/>
                  </a:lnTo>
                  <a:lnTo>
                    <a:pt x="541" y="273"/>
                  </a:lnTo>
                  <a:lnTo>
                    <a:pt x="544" y="272"/>
                  </a:lnTo>
                  <a:lnTo>
                    <a:pt x="547" y="272"/>
                  </a:lnTo>
                  <a:lnTo>
                    <a:pt x="549" y="272"/>
                  </a:lnTo>
                  <a:lnTo>
                    <a:pt x="549" y="270"/>
                  </a:lnTo>
                  <a:lnTo>
                    <a:pt x="550" y="270"/>
                  </a:lnTo>
                  <a:lnTo>
                    <a:pt x="550" y="271"/>
                  </a:lnTo>
                  <a:lnTo>
                    <a:pt x="552" y="271"/>
                  </a:lnTo>
                  <a:lnTo>
                    <a:pt x="554" y="271"/>
                  </a:lnTo>
                  <a:lnTo>
                    <a:pt x="553" y="270"/>
                  </a:lnTo>
                  <a:lnTo>
                    <a:pt x="552" y="268"/>
                  </a:lnTo>
                  <a:lnTo>
                    <a:pt x="554" y="267"/>
                  </a:lnTo>
                  <a:lnTo>
                    <a:pt x="554" y="268"/>
                  </a:lnTo>
                  <a:lnTo>
                    <a:pt x="558" y="270"/>
                  </a:lnTo>
                  <a:lnTo>
                    <a:pt x="559" y="270"/>
                  </a:lnTo>
                  <a:lnTo>
                    <a:pt x="559" y="268"/>
                  </a:lnTo>
                  <a:lnTo>
                    <a:pt x="555" y="266"/>
                  </a:lnTo>
                  <a:lnTo>
                    <a:pt x="554" y="265"/>
                  </a:lnTo>
                  <a:lnTo>
                    <a:pt x="559" y="265"/>
                  </a:lnTo>
                  <a:lnTo>
                    <a:pt x="560" y="264"/>
                  </a:lnTo>
                  <a:lnTo>
                    <a:pt x="554" y="262"/>
                  </a:lnTo>
                  <a:lnTo>
                    <a:pt x="553" y="264"/>
                  </a:lnTo>
                  <a:lnTo>
                    <a:pt x="552" y="262"/>
                  </a:lnTo>
                  <a:lnTo>
                    <a:pt x="550" y="261"/>
                  </a:lnTo>
                  <a:lnTo>
                    <a:pt x="549" y="260"/>
                  </a:lnTo>
                  <a:lnTo>
                    <a:pt x="549" y="265"/>
                  </a:lnTo>
                  <a:lnTo>
                    <a:pt x="548" y="265"/>
                  </a:lnTo>
                  <a:lnTo>
                    <a:pt x="547" y="266"/>
                  </a:lnTo>
                  <a:lnTo>
                    <a:pt x="546" y="267"/>
                  </a:lnTo>
                  <a:lnTo>
                    <a:pt x="546" y="268"/>
                  </a:lnTo>
                  <a:lnTo>
                    <a:pt x="544" y="268"/>
                  </a:lnTo>
                  <a:lnTo>
                    <a:pt x="543" y="268"/>
                  </a:lnTo>
                  <a:lnTo>
                    <a:pt x="542" y="267"/>
                  </a:lnTo>
                  <a:lnTo>
                    <a:pt x="542" y="265"/>
                  </a:lnTo>
                  <a:lnTo>
                    <a:pt x="541" y="265"/>
                  </a:lnTo>
                  <a:lnTo>
                    <a:pt x="540" y="265"/>
                  </a:lnTo>
                  <a:lnTo>
                    <a:pt x="540" y="266"/>
                  </a:lnTo>
                  <a:lnTo>
                    <a:pt x="540" y="267"/>
                  </a:lnTo>
                  <a:lnTo>
                    <a:pt x="538" y="268"/>
                  </a:lnTo>
                  <a:lnTo>
                    <a:pt x="538" y="270"/>
                  </a:lnTo>
                  <a:lnTo>
                    <a:pt x="538" y="272"/>
                  </a:lnTo>
                  <a:lnTo>
                    <a:pt x="538" y="273"/>
                  </a:lnTo>
                  <a:lnTo>
                    <a:pt x="537" y="273"/>
                  </a:lnTo>
                  <a:lnTo>
                    <a:pt x="536" y="272"/>
                  </a:lnTo>
                  <a:lnTo>
                    <a:pt x="535" y="271"/>
                  </a:lnTo>
                  <a:lnTo>
                    <a:pt x="534" y="270"/>
                  </a:lnTo>
                  <a:lnTo>
                    <a:pt x="532" y="270"/>
                  </a:lnTo>
                  <a:lnTo>
                    <a:pt x="531" y="270"/>
                  </a:lnTo>
                  <a:lnTo>
                    <a:pt x="530" y="270"/>
                  </a:lnTo>
                  <a:lnTo>
                    <a:pt x="529" y="268"/>
                  </a:lnTo>
                  <a:lnTo>
                    <a:pt x="530" y="267"/>
                  </a:lnTo>
                  <a:lnTo>
                    <a:pt x="531" y="267"/>
                  </a:lnTo>
                  <a:lnTo>
                    <a:pt x="534" y="266"/>
                  </a:lnTo>
                  <a:lnTo>
                    <a:pt x="535" y="265"/>
                  </a:lnTo>
                  <a:lnTo>
                    <a:pt x="535" y="264"/>
                  </a:lnTo>
                  <a:lnTo>
                    <a:pt x="536" y="262"/>
                  </a:lnTo>
                  <a:lnTo>
                    <a:pt x="537" y="262"/>
                  </a:lnTo>
                  <a:lnTo>
                    <a:pt x="538" y="262"/>
                  </a:lnTo>
                  <a:lnTo>
                    <a:pt x="538" y="261"/>
                  </a:lnTo>
                  <a:lnTo>
                    <a:pt x="538" y="260"/>
                  </a:lnTo>
                  <a:lnTo>
                    <a:pt x="540" y="260"/>
                  </a:lnTo>
                  <a:lnTo>
                    <a:pt x="541" y="261"/>
                  </a:lnTo>
                  <a:lnTo>
                    <a:pt x="542" y="261"/>
                  </a:lnTo>
                  <a:lnTo>
                    <a:pt x="541" y="262"/>
                  </a:lnTo>
                  <a:lnTo>
                    <a:pt x="541" y="264"/>
                  </a:lnTo>
                  <a:lnTo>
                    <a:pt x="542" y="262"/>
                  </a:lnTo>
                  <a:lnTo>
                    <a:pt x="543" y="261"/>
                  </a:lnTo>
                  <a:lnTo>
                    <a:pt x="544" y="261"/>
                  </a:lnTo>
                  <a:lnTo>
                    <a:pt x="544" y="262"/>
                  </a:lnTo>
                  <a:lnTo>
                    <a:pt x="546" y="262"/>
                  </a:lnTo>
                  <a:lnTo>
                    <a:pt x="546" y="261"/>
                  </a:lnTo>
                  <a:lnTo>
                    <a:pt x="542" y="259"/>
                  </a:lnTo>
                  <a:lnTo>
                    <a:pt x="544" y="258"/>
                  </a:lnTo>
                  <a:lnTo>
                    <a:pt x="546" y="256"/>
                  </a:lnTo>
                  <a:lnTo>
                    <a:pt x="547" y="256"/>
                  </a:lnTo>
                  <a:lnTo>
                    <a:pt x="549" y="256"/>
                  </a:lnTo>
                  <a:lnTo>
                    <a:pt x="548" y="255"/>
                  </a:lnTo>
                  <a:lnTo>
                    <a:pt x="543" y="256"/>
                  </a:lnTo>
                  <a:lnTo>
                    <a:pt x="540" y="258"/>
                  </a:lnTo>
                  <a:lnTo>
                    <a:pt x="535" y="258"/>
                  </a:lnTo>
                  <a:lnTo>
                    <a:pt x="532" y="261"/>
                  </a:lnTo>
                  <a:lnTo>
                    <a:pt x="534" y="264"/>
                  </a:lnTo>
                  <a:lnTo>
                    <a:pt x="531" y="265"/>
                  </a:lnTo>
                  <a:lnTo>
                    <a:pt x="530" y="265"/>
                  </a:lnTo>
                  <a:lnTo>
                    <a:pt x="528" y="262"/>
                  </a:lnTo>
                  <a:lnTo>
                    <a:pt x="528" y="261"/>
                  </a:lnTo>
                  <a:lnTo>
                    <a:pt x="531" y="261"/>
                  </a:lnTo>
                  <a:lnTo>
                    <a:pt x="526" y="260"/>
                  </a:lnTo>
                  <a:lnTo>
                    <a:pt x="526" y="258"/>
                  </a:lnTo>
                  <a:lnTo>
                    <a:pt x="525" y="258"/>
                  </a:lnTo>
                  <a:lnTo>
                    <a:pt x="525" y="260"/>
                  </a:lnTo>
                  <a:lnTo>
                    <a:pt x="525" y="261"/>
                  </a:lnTo>
                  <a:lnTo>
                    <a:pt x="525" y="262"/>
                  </a:lnTo>
                  <a:lnTo>
                    <a:pt x="525" y="266"/>
                  </a:lnTo>
                  <a:lnTo>
                    <a:pt x="522" y="268"/>
                  </a:lnTo>
                  <a:lnTo>
                    <a:pt x="520" y="270"/>
                  </a:lnTo>
                  <a:lnTo>
                    <a:pt x="518" y="271"/>
                  </a:lnTo>
                  <a:lnTo>
                    <a:pt x="516" y="271"/>
                  </a:lnTo>
                  <a:lnTo>
                    <a:pt x="516" y="270"/>
                  </a:lnTo>
                  <a:lnTo>
                    <a:pt x="516" y="267"/>
                  </a:lnTo>
                  <a:lnTo>
                    <a:pt x="514" y="267"/>
                  </a:lnTo>
                  <a:lnTo>
                    <a:pt x="513" y="268"/>
                  </a:lnTo>
                  <a:lnTo>
                    <a:pt x="512" y="268"/>
                  </a:lnTo>
                  <a:lnTo>
                    <a:pt x="512" y="266"/>
                  </a:lnTo>
                  <a:lnTo>
                    <a:pt x="512" y="265"/>
                  </a:lnTo>
                  <a:lnTo>
                    <a:pt x="510" y="267"/>
                  </a:lnTo>
                  <a:lnTo>
                    <a:pt x="508" y="266"/>
                  </a:lnTo>
                  <a:lnTo>
                    <a:pt x="507" y="265"/>
                  </a:lnTo>
                  <a:lnTo>
                    <a:pt x="506" y="262"/>
                  </a:lnTo>
                  <a:lnTo>
                    <a:pt x="507" y="261"/>
                  </a:lnTo>
                  <a:lnTo>
                    <a:pt x="508" y="261"/>
                  </a:lnTo>
                  <a:lnTo>
                    <a:pt x="510" y="261"/>
                  </a:lnTo>
                  <a:lnTo>
                    <a:pt x="511" y="260"/>
                  </a:lnTo>
                  <a:lnTo>
                    <a:pt x="511" y="259"/>
                  </a:lnTo>
                  <a:lnTo>
                    <a:pt x="512" y="256"/>
                  </a:lnTo>
                  <a:lnTo>
                    <a:pt x="513" y="256"/>
                  </a:lnTo>
                  <a:lnTo>
                    <a:pt x="514" y="255"/>
                  </a:lnTo>
                  <a:lnTo>
                    <a:pt x="517" y="255"/>
                  </a:lnTo>
                  <a:lnTo>
                    <a:pt x="518" y="255"/>
                  </a:lnTo>
                  <a:lnTo>
                    <a:pt x="518" y="254"/>
                  </a:lnTo>
                  <a:lnTo>
                    <a:pt x="518" y="253"/>
                  </a:lnTo>
                  <a:lnTo>
                    <a:pt x="519" y="252"/>
                  </a:lnTo>
                  <a:lnTo>
                    <a:pt x="522" y="254"/>
                  </a:lnTo>
                  <a:lnTo>
                    <a:pt x="524" y="254"/>
                  </a:lnTo>
                  <a:lnTo>
                    <a:pt x="524" y="253"/>
                  </a:lnTo>
                  <a:lnTo>
                    <a:pt x="520" y="252"/>
                  </a:lnTo>
                  <a:lnTo>
                    <a:pt x="519" y="250"/>
                  </a:lnTo>
                  <a:lnTo>
                    <a:pt x="519" y="249"/>
                  </a:lnTo>
                  <a:lnTo>
                    <a:pt x="522" y="248"/>
                  </a:lnTo>
                  <a:lnTo>
                    <a:pt x="519" y="248"/>
                  </a:lnTo>
                  <a:lnTo>
                    <a:pt x="518" y="248"/>
                  </a:lnTo>
                  <a:lnTo>
                    <a:pt x="519" y="246"/>
                  </a:lnTo>
                  <a:lnTo>
                    <a:pt x="520" y="243"/>
                  </a:lnTo>
                  <a:lnTo>
                    <a:pt x="519" y="243"/>
                  </a:lnTo>
                  <a:lnTo>
                    <a:pt x="517" y="247"/>
                  </a:lnTo>
                  <a:lnTo>
                    <a:pt x="516" y="248"/>
                  </a:lnTo>
                  <a:lnTo>
                    <a:pt x="516" y="247"/>
                  </a:lnTo>
                  <a:lnTo>
                    <a:pt x="513" y="247"/>
                  </a:lnTo>
                  <a:lnTo>
                    <a:pt x="512" y="248"/>
                  </a:lnTo>
                  <a:lnTo>
                    <a:pt x="511" y="249"/>
                  </a:lnTo>
                  <a:lnTo>
                    <a:pt x="511" y="250"/>
                  </a:lnTo>
                  <a:lnTo>
                    <a:pt x="510" y="252"/>
                  </a:lnTo>
                  <a:lnTo>
                    <a:pt x="507" y="253"/>
                  </a:lnTo>
                  <a:lnTo>
                    <a:pt x="507" y="252"/>
                  </a:lnTo>
                  <a:lnTo>
                    <a:pt x="506" y="250"/>
                  </a:lnTo>
                  <a:lnTo>
                    <a:pt x="505" y="252"/>
                  </a:lnTo>
                  <a:lnTo>
                    <a:pt x="503" y="254"/>
                  </a:lnTo>
                  <a:lnTo>
                    <a:pt x="501" y="254"/>
                  </a:lnTo>
                  <a:lnTo>
                    <a:pt x="500" y="252"/>
                  </a:lnTo>
                  <a:lnTo>
                    <a:pt x="499" y="253"/>
                  </a:lnTo>
                  <a:lnTo>
                    <a:pt x="499" y="255"/>
                  </a:lnTo>
                  <a:lnTo>
                    <a:pt x="497" y="256"/>
                  </a:lnTo>
                  <a:lnTo>
                    <a:pt x="495" y="256"/>
                  </a:lnTo>
                  <a:lnTo>
                    <a:pt x="490" y="255"/>
                  </a:lnTo>
                  <a:lnTo>
                    <a:pt x="489" y="254"/>
                  </a:lnTo>
                  <a:lnTo>
                    <a:pt x="487" y="252"/>
                  </a:lnTo>
                  <a:lnTo>
                    <a:pt x="485" y="249"/>
                  </a:lnTo>
                  <a:lnTo>
                    <a:pt x="484" y="247"/>
                  </a:lnTo>
                  <a:lnTo>
                    <a:pt x="485" y="246"/>
                  </a:lnTo>
                  <a:lnTo>
                    <a:pt x="487" y="246"/>
                  </a:lnTo>
                  <a:lnTo>
                    <a:pt x="484" y="244"/>
                  </a:lnTo>
                  <a:lnTo>
                    <a:pt x="483" y="243"/>
                  </a:lnTo>
                  <a:lnTo>
                    <a:pt x="483" y="242"/>
                  </a:lnTo>
                  <a:lnTo>
                    <a:pt x="487" y="242"/>
                  </a:lnTo>
                  <a:lnTo>
                    <a:pt x="488" y="242"/>
                  </a:lnTo>
                  <a:lnTo>
                    <a:pt x="488" y="241"/>
                  </a:lnTo>
                  <a:lnTo>
                    <a:pt x="487" y="241"/>
                  </a:lnTo>
                  <a:lnTo>
                    <a:pt x="483" y="241"/>
                  </a:lnTo>
                  <a:lnTo>
                    <a:pt x="482" y="238"/>
                  </a:lnTo>
                  <a:lnTo>
                    <a:pt x="482" y="235"/>
                  </a:lnTo>
                  <a:lnTo>
                    <a:pt x="483" y="235"/>
                  </a:lnTo>
                  <a:lnTo>
                    <a:pt x="484" y="235"/>
                  </a:lnTo>
                  <a:lnTo>
                    <a:pt x="485" y="235"/>
                  </a:lnTo>
                  <a:lnTo>
                    <a:pt x="485" y="238"/>
                  </a:lnTo>
                  <a:lnTo>
                    <a:pt x="487" y="237"/>
                  </a:lnTo>
                  <a:lnTo>
                    <a:pt x="487" y="236"/>
                  </a:lnTo>
                  <a:lnTo>
                    <a:pt x="488" y="235"/>
                  </a:lnTo>
                  <a:lnTo>
                    <a:pt x="489" y="235"/>
                  </a:lnTo>
                  <a:lnTo>
                    <a:pt x="490" y="234"/>
                  </a:lnTo>
                  <a:lnTo>
                    <a:pt x="489" y="232"/>
                  </a:lnTo>
                  <a:lnTo>
                    <a:pt x="490" y="232"/>
                  </a:lnTo>
                  <a:lnTo>
                    <a:pt x="491" y="234"/>
                  </a:lnTo>
                  <a:lnTo>
                    <a:pt x="490" y="235"/>
                  </a:lnTo>
                  <a:lnTo>
                    <a:pt x="491" y="236"/>
                  </a:lnTo>
                  <a:lnTo>
                    <a:pt x="493" y="234"/>
                  </a:lnTo>
                  <a:lnTo>
                    <a:pt x="494" y="234"/>
                  </a:lnTo>
                  <a:lnTo>
                    <a:pt x="495" y="235"/>
                  </a:lnTo>
                  <a:lnTo>
                    <a:pt x="496" y="235"/>
                  </a:lnTo>
                  <a:lnTo>
                    <a:pt x="496" y="232"/>
                  </a:lnTo>
                  <a:lnTo>
                    <a:pt x="497" y="232"/>
                  </a:lnTo>
                  <a:lnTo>
                    <a:pt x="499" y="228"/>
                  </a:lnTo>
                  <a:lnTo>
                    <a:pt x="500" y="229"/>
                  </a:lnTo>
                  <a:lnTo>
                    <a:pt x="500" y="230"/>
                  </a:lnTo>
                  <a:lnTo>
                    <a:pt x="501" y="230"/>
                  </a:lnTo>
                  <a:lnTo>
                    <a:pt x="501" y="229"/>
                  </a:lnTo>
                  <a:lnTo>
                    <a:pt x="502" y="229"/>
                  </a:lnTo>
                  <a:lnTo>
                    <a:pt x="503" y="229"/>
                  </a:lnTo>
                  <a:lnTo>
                    <a:pt x="505" y="228"/>
                  </a:lnTo>
                  <a:lnTo>
                    <a:pt x="506" y="225"/>
                  </a:lnTo>
                  <a:lnTo>
                    <a:pt x="507" y="223"/>
                  </a:lnTo>
                  <a:lnTo>
                    <a:pt x="508" y="222"/>
                  </a:lnTo>
                  <a:lnTo>
                    <a:pt x="510" y="222"/>
                  </a:lnTo>
                  <a:lnTo>
                    <a:pt x="508" y="219"/>
                  </a:lnTo>
                  <a:lnTo>
                    <a:pt x="508" y="218"/>
                  </a:lnTo>
                  <a:lnTo>
                    <a:pt x="511" y="219"/>
                  </a:lnTo>
                  <a:lnTo>
                    <a:pt x="512" y="219"/>
                  </a:lnTo>
                  <a:lnTo>
                    <a:pt x="511" y="218"/>
                  </a:lnTo>
                  <a:lnTo>
                    <a:pt x="508" y="216"/>
                  </a:lnTo>
                  <a:lnTo>
                    <a:pt x="508" y="214"/>
                  </a:lnTo>
                  <a:lnTo>
                    <a:pt x="510" y="213"/>
                  </a:lnTo>
                  <a:lnTo>
                    <a:pt x="510" y="216"/>
                  </a:lnTo>
                  <a:lnTo>
                    <a:pt x="511" y="216"/>
                  </a:lnTo>
                  <a:lnTo>
                    <a:pt x="512" y="216"/>
                  </a:lnTo>
                  <a:lnTo>
                    <a:pt x="513" y="216"/>
                  </a:lnTo>
                  <a:lnTo>
                    <a:pt x="513" y="217"/>
                  </a:lnTo>
                  <a:lnTo>
                    <a:pt x="514" y="217"/>
                  </a:lnTo>
                  <a:lnTo>
                    <a:pt x="514" y="216"/>
                  </a:lnTo>
                  <a:lnTo>
                    <a:pt x="514" y="214"/>
                  </a:lnTo>
                  <a:lnTo>
                    <a:pt x="516" y="216"/>
                  </a:lnTo>
                  <a:lnTo>
                    <a:pt x="517" y="216"/>
                  </a:lnTo>
                  <a:lnTo>
                    <a:pt x="517" y="214"/>
                  </a:lnTo>
                  <a:lnTo>
                    <a:pt x="513" y="212"/>
                  </a:lnTo>
                  <a:lnTo>
                    <a:pt x="513" y="211"/>
                  </a:lnTo>
                  <a:lnTo>
                    <a:pt x="512" y="211"/>
                  </a:lnTo>
                  <a:lnTo>
                    <a:pt x="508" y="208"/>
                  </a:lnTo>
                  <a:lnTo>
                    <a:pt x="513" y="208"/>
                  </a:lnTo>
                  <a:lnTo>
                    <a:pt x="513" y="207"/>
                  </a:lnTo>
                  <a:lnTo>
                    <a:pt x="516" y="207"/>
                  </a:lnTo>
                  <a:lnTo>
                    <a:pt x="518" y="210"/>
                  </a:lnTo>
                  <a:lnTo>
                    <a:pt x="519" y="210"/>
                  </a:lnTo>
                  <a:lnTo>
                    <a:pt x="516" y="206"/>
                  </a:lnTo>
                  <a:lnTo>
                    <a:pt x="517" y="205"/>
                  </a:lnTo>
                  <a:lnTo>
                    <a:pt x="519" y="205"/>
                  </a:lnTo>
                  <a:lnTo>
                    <a:pt x="523" y="208"/>
                  </a:lnTo>
                  <a:lnTo>
                    <a:pt x="525" y="207"/>
                  </a:lnTo>
                  <a:lnTo>
                    <a:pt x="522" y="204"/>
                  </a:lnTo>
                  <a:lnTo>
                    <a:pt x="520" y="204"/>
                  </a:lnTo>
                  <a:lnTo>
                    <a:pt x="523" y="202"/>
                  </a:lnTo>
                  <a:lnTo>
                    <a:pt x="528" y="202"/>
                  </a:lnTo>
                  <a:lnTo>
                    <a:pt x="528" y="205"/>
                  </a:lnTo>
                  <a:lnTo>
                    <a:pt x="529" y="204"/>
                  </a:lnTo>
                  <a:lnTo>
                    <a:pt x="529" y="202"/>
                  </a:lnTo>
                  <a:lnTo>
                    <a:pt x="529" y="201"/>
                  </a:lnTo>
                  <a:lnTo>
                    <a:pt x="529" y="197"/>
                  </a:lnTo>
                  <a:lnTo>
                    <a:pt x="532" y="197"/>
                  </a:lnTo>
                  <a:lnTo>
                    <a:pt x="532" y="199"/>
                  </a:lnTo>
                  <a:lnTo>
                    <a:pt x="535" y="199"/>
                  </a:lnTo>
                  <a:lnTo>
                    <a:pt x="535" y="197"/>
                  </a:lnTo>
                  <a:lnTo>
                    <a:pt x="534" y="197"/>
                  </a:lnTo>
                  <a:lnTo>
                    <a:pt x="532" y="196"/>
                  </a:lnTo>
                  <a:lnTo>
                    <a:pt x="532" y="195"/>
                  </a:lnTo>
                  <a:lnTo>
                    <a:pt x="534" y="194"/>
                  </a:lnTo>
                  <a:lnTo>
                    <a:pt x="535" y="194"/>
                  </a:lnTo>
                  <a:lnTo>
                    <a:pt x="538" y="194"/>
                  </a:lnTo>
                  <a:lnTo>
                    <a:pt x="540" y="195"/>
                  </a:lnTo>
                  <a:lnTo>
                    <a:pt x="542" y="195"/>
                  </a:lnTo>
                  <a:lnTo>
                    <a:pt x="542" y="193"/>
                  </a:lnTo>
                  <a:lnTo>
                    <a:pt x="538" y="193"/>
                  </a:lnTo>
                  <a:lnTo>
                    <a:pt x="538" y="191"/>
                  </a:lnTo>
                  <a:lnTo>
                    <a:pt x="540" y="189"/>
                  </a:lnTo>
                  <a:lnTo>
                    <a:pt x="541" y="188"/>
                  </a:lnTo>
                  <a:lnTo>
                    <a:pt x="541" y="187"/>
                  </a:lnTo>
                  <a:lnTo>
                    <a:pt x="538" y="187"/>
                  </a:lnTo>
                  <a:lnTo>
                    <a:pt x="536" y="189"/>
                  </a:lnTo>
                  <a:lnTo>
                    <a:pt x="531" y="190"/>
                  </a:lnTo>
                  <a:lnTo>
                    <a:pt x="530" y="193"/>
                  </a:lnTo>
                  <a:lnTo>
                    <a:pt x="530" y="194"/>
                  </a:lnTo>
                  <a:lnTo>
                    <a:pt x="529" y="195"/>
                  </a:lnTo>
                  <a:lnTo>
                    <a:pt x="529" y="194"/>
                  </a:lnTo>
                  <a:lnTo>
                    <a:pt x="529" y="193"/>
                  </a:lnTo>
                  <a:lnTo>
                    <a:pt x="529" y="191"/>
                  </a:lnTo>
                  <a:lnTo>
                    <a:pt x="528" y="194"/>
                  </a:lnTo>
                  <a:lnTo>
                    <a:pt x="526" y="195"/>
                  </a:lnTo>
                  <a:lnTo>
                    <a:pt x="526" y="196"/>
                  </a:lnTo>
                  <a:lnTo>
                    <a:pt x="524" y="196"/>
                  </a:lnTo>
                  <a:lnTo>
                    <a:pt x="523" y="197"/>
                  </a:lnTo>
                  <a:lnTo>
                    <a:pt x="522" y="196"/>
                  </a:lnTo>
                  <a:lnTo>
                    <a:pt x="522" y="195"/>
                  </a:lnTo>
                  <a:lnTo>
                    <a:pt x="522" y="193"/>
                  </a:lnTo>
                  <a:lnTo>
                    <a:pt x="520" y="193"/>
                  </a:lnTo>
                  <a:lnTo>
                    <a:pt x="519" y="194"/>
                  </a:lnTo>
                  <a:lnTo>
                    <a:pt x="519" y="196"/>
                  </a:lnTo>
                  <a:lnTo>
                    <a:pt x="519" y="201"/>
                  </a:lnTo>
                  <a:lnTo>
                    <a:pt x="517" y="202"/>
                  </a:lnTo>
                  <a:lnTo>
                    <a:pt x="516" y="199"/>
                  </a:lnTo>
                  <a:lnTo>
                    <a:pt x="516" y="200"/>
                  </a:lnTo>
                  <a:lnTo>
                    <a:pt x="514" y="201"/>
                  </a:lnTo>
                  <a:lnTo>
                    <a:pt x="513" y="201"/>
                  </a:lnTo>
                  <a:lnTo>
                    <a:pt x="512" y="202"/>
                  </a:lnTo>
                  <a:lnTo>
                    <a:pt x="511" y="205"/>
                  </a:lnTo>
                  <a:lnTo>
                    <a:pt x="507" y="205"/>
                  </a:lnTo>
                  <a:lnTo>
                    <a:pt x="505" y="202"/>
                  </a:lnTo>
                  <a:lnTo>
                    <a:pt x="505" y="204"/>
                  </a:lnTo>
                  <a:lnTo>
                    <a:pt x="506" y="205"/>
                  </a:lnTo>
                  <a:lnTo>
                    <a:pt x="495" y="212"/>
                  </a:lnTo>
                  <a:lnTo>
                    <a:pt x="493" y="213"/>
                  </a:lnTo>
                  <a:lnTo>
                    <a:pt x="490" y="214"/>
                  </a:lnTo>
                  <a:lnTo>
                    <a:pt x="489" y="214"/>
                  </a:lnTo>
                  <a:lnTo>
                    <a:pt x="488" y="217"/>
                  </a:lnTo>
                  <a:lnTo>
                    <a:pt x="487" y="218"/>
                  </a:lnTo>
                  <a:lnTo>
                    <a:pt x="484" y="217"/>
                  </a:lnTo>
                  <a:lnTo>
                    <a:pt x="483" y="217"/>
                  </a:lnTo>
                  <a:lnTo>
                    <a:pt x="481" y="216"/>
                  </a:lnTo>
                  <a:lnTo>
                    <a:pt x="481" y="217"/>
                  </a:lnTo>
                  <a:lnTo>
                    <a:pt x="478" y="217"/>
                  </a:lnTo>
                  <a:lnTo>
                    <a:pt x="476" y="217"/>
                  </a:lnTo>
                  <a:lnTo>
                    <a:pt x="472" y="214"/>
                  </a:lnTo>
                  <a:lnTo>
                    <a:pt x="470" y="212"/>
                  </a:lnTo>
                  <a:lnTo>
                    <a:pt x="467" y="212"/>
                  </a:lnTo>
                  <a:lnTo>
                    <a:pt x="466" y="212"/>
                  </a:lnTo>
                  <a:lnTo>
                    <a:pt x="463" y="213"/>
                  </a:lnTo>
                  <a:lnTo>
                    <a:pt x="460" y="213"/>
                  </a:lnTo>
                  <a:lnTo>
                    <a:pt x="459" y="211"/>
                  </a:lnTo>
                  <a:lnTo>
                    <a:pt x="459" y="207"/>
                  </a:lnTo>
                  <a:lnTo>
                    <a:pt x="458" y="205"/>
                  </a:lnTo>
                  <a:lnTo>
                    <a:pt x="459" y="205"/>
                  </a:lnTo>
                  <a:lnTo>
                    <a:pt x="460" y="207"/>
                  </a:lnTo>
                  <a:lnTo>
                    <a:pt x="464" y="208"/>
                  </a:lnTo>
                  <a:lnTo>
                    <a:pt x="466" y="208"/>
                  </a:lnTo>
                  <a:lnTo>
                    <a:pt x="467" y="208"/>
                  </a:lnTo>
                  <a:lnTo>
                    <a:pt x="465" y="207"/>
                  </a:lnTo>
                  <a:lnTo>
                    <a:pt x="463" y="206"/>
                  </a:lnTo>
                  <a:lnTo>
                    <a:pt x="460" y="204"/>
                  </a:lnTo>
                  <a:lnTo>
                    <a:pt x="459" y="202"/>
                  </a:lnTo>
                  <a:lnTo>
                    <a:pt x="459" y="201"/>
                  </a:lnTo>
                  <a:lnTo>
                    <a:pt x="461" y="201"/>
                  </a:lnTo>
                  <a:lnTo>
                    <a:pt x="461" y="200"/>
                  </a:lnTo>
                  <a:lnTo>
                    <a:pt x="460" y="200"/>
                  </a:lnTo>
                  <a:lnTo>
                    <a:pt x="459" y="197"/>
                  </a:lnTo>
                  <a:lnTo>
                    <a:pt x="460" y="196"/>
                  </a:lnTo>
                  <a:lnTo>
                    <a:pt x="463" y="196"/>
                  </a:lnTo>
                  <a:lnTo>
                    <a:pt x="464" y="195"/>
                  </a:lnTo>
                  <a:lnTo>
                    <a:pt x="465" y="194"/>
                  </a:lnTo>
                  <a:lnTo>
                    <a:pt x="464" y="194"/>
                  </a:lnTo>
                  <a:lnTo>
                    <a:pt x="460" y="194"/>
                  </a:lnTo>
                  <a:lnTo>
                    <a:pt x="457" y="195"/>
                  </a:lnTo>
                  <a:lnTo>
                    <a:pt x="454" y="196"/>
                  </a:lnTo>
                  <a:lnTo>
                    <a:pt x="448" y="189"/>
                  </a:lnTo>
                  <a:lnTo>
                    <a:pt x="446" y="189"/>
                  </a:lnTo>
                  <a:lnTo>
                    <a:pt x="444" y="188"/>
                  </a:lnTo>
                  <a:lnTo>
                    <a:pt x="444" y="187"/>
                  </a:lnTo>
                  <a:lnTo>
                    <a:pt x="443" y="185"/>
                  </a:lnTo>
                  <a:lnTo>
                    <a:pt x="441" y="184"/>
                  </a:lnTo>
                  <a:lnTo>
                    <a:pt x="440" y="183"/>
                  </a:lnTo>
                  <a:lnTo>
                    <a:pt x="438" y="183"/>
                  </a:lnTo>
                  <a:lnTo>
                    <a:pt x="438" y="181"/>
                  </a:lnTo>
                  <a:lnTo>
                    <a:pt x="437" y="179"/>
                  </a:lnTo>
                  <a:lnTo>
                    <a:pt x="437" y="176"/>
                  </a:lnTo>
                  <a:lnTo>
                    <a:pt x="438" y="175"/>
                  </a:lnTo>
                  <a:lnTo>
                    <a:pt x="440" y="173"/>
                  </a:lnTo>
                  <a:lnTo>
                    <a:pt x="438" y="172"/>
                  </a:lnTo>
                  <a:lnTo>
                    <a:pt x="438" y="171"/>
                  </a:lnTo>
                  <a:lnTo>
                    <a:pt x="440" y="169"/>
                  </a:lnTo>
                  <a:lnTo>
                    <a:pt x="441" y="167"/>
                  </a:lnTo>
                  <a:lnTo>
                    <a:pt x="441" y="170"/>
                  </a:lnTo>
                  <a:lnTo>
                    <a:pt x="442" y="170"/>
                  </a:lnTo>
                  <a:lnTo>
                    <a:pt x="443" y="171"/>
                  </a:lnTo>
                  <a:lnTo>
                    <a:pt x="444" y="172"/>
                  </a:lnTo>
                  <a:lnTo>
                    <a:pt x="446" y="173"/>
                  </a:lnTo>
                  <a:lnTo>
                    <a:pt x="447" y="172"/>
                  </a:lnTo>
                  <a:lnTo>
                    <a:pt x="447" y="171"/>
                  </a:lnTo>
                  <a:lnTo>
                    <a:pt x="447" y="176"/>
                  </a:lnTo>
                  <a:lnTo>
                    <a:pt x="448" y="175"/>
                  </a:lnTo>
                  <a:lnTo>
                    <a:pt x="448" y="173"/>
                  </a:lnTo>
                  <a:lnTo>
                    <a:pt x="448" y="171"/>
                  </a:lnTo>
                  <a:lnTo>
                    <a:pt x="448" y="170"/>
                  </a:lnTo>
                  <a:lnTo>
                    <a:pt x="449" y="171"/>
                  </a:lnTo>
                  <a:lnTo>
                    <a:pt x="453" y="175"/>
                  </a:lnTo>
                  <a:lnTo>
                    <a:pt x="455" y="175"/>
                  </a:lnTo>
                  <a:lnTo>
                    <a:pt x="454" y="173"/>
                  </a:lnTo>
                  <a:lnTo>
                    <a:pt x="451" y="170"/>
                  </a:lnTo>
                  <a:lnTo>
                    <a:pt x="451" y="167"/>
                  </a:lnTo>
                  <a:lnTo>
                    <a:pt x="452" y="169"/>
                  </a:lnTo>
                  <a:lnTo>
                    <a:pt x="453" y="169"/>
                  </a:lnTo>
                  <a:lnTo>
                    <a:pt x="454" y="169"/>
                  </a:lnTo>
                  <a:lnTo>
                    <a:pt x="455" y="170"/>
                  </a:lnTo>
                  <a:lnTo>
                    <a:pt x="457" y="170"/>
                  </a:lnTo>
                  <a:lnTo>
                    <a:pt x="458" y="169"/>
                  </a:lnTo>
                  <a:lnTo>
                    <a:pt x="458" y="166"/>
                  </a:lnTo>
                  <a:lnTo>
                    <a:pt x="458" y="165"/>
                  </a:lnTo>
                  <a:lnTo>
                    <a:pt x="458" y="164"/>
                  </a:lnTo>
                  <a:lnTo>
                    <a:pt x="460" y="164"/>
                  </a:lnTo>
                  <a:lnTo>
                    <a:pt x="459" y="163"/>
                  </a:lnTo>
                  <a:lnTo>
                    <a:pt x="458" y="161"/>
                  </a:lnTo>
                  <a:lnTo>
                    <a:pt x="460" y="160"/>
                  </a:lnTo>
                  <a:lnTo>
                    <a:pt x="461" y="160"/>
                  </a:lnTo>
                  <a:lnTo>
                    <a:pt x="460" y="159"/>
                  </a:lnTo>
                  <a:lnTo>
                    <a:pt x="459" y="158"/>
                  </a:lnTo>
                  <a:lnTo>
                    <a:pt x="458" y="157"/>
                  </a:lnTo>
                  <a:lnTo>
                    <a:pt x="457" y="159"/>
                  </a:lnTo>
                  <a:lnTo>
                    <a:pt x="457" y="158"/>
                  </a:lnTo>
                  <a:lnTo>
                    <a:pt x="458" y="155"/>
                  </a:lnTo>
                  <a:lnTo>
                    <a:pt x="459" y="153"/>
                  </a:lnTo>
                  <a:lnTo>
                    <a:pt x="460" y="152"/>
                  </a:lnTo>
                  <a:lnTo>
                    <a:pt x="463" y="154"/>
                  </a:lnTo>
                  <a:lnTo>
                    <a:pt x="464" y="154"/>
                  </a:lnTo>
                  <a:lnTo>
                    <a:pt x="464" y="153"/>
                  </a:lnTo>
                  <a:lnTo>
                    <a:pt x="463" y="152"/>
                  </a:lnTo>
                  <a:lnTo>
                    <a:pt x="461" y="149"/>
                  </a:lnTo>
                  <a:lnTo>
                    <a:pt x="463" y="149"/>
                  </a:lnTo>
                  <a:lnTo>
                    <a:pt x="464" y="151"/>
                  </a:lnTo>
                  <a:lnTo>
                    <a:pt x="464" y="149"/>
                  </a:lnTo>
                  <a:lnTo>
                    <a:pt x="464" y="143"/>
                  </a:lnTo>
                  <a:lnTo>
                    <a:pt x="465" y="143"/>
                  </a:lnTo>
                  <a:lnTo>
                    <a:pt x="465" y="146"/>
                  </a:lnTo>
                  <a:lnTo>
                    <a:pt x="466" y="147"/>
                  </a:lnTo>
                  <a:lnTo>
                    <a:pt x="467" y="147"/>
                  </a:lnTo>
                  <a:lnTo>
                    <a:pt x="467" y="149"/>
                  </a:lnTo>
                  <a:lnTo>
                    <a:pt x="467" y="151"/>
                  </a:lnTo>
                  <a:lnTo>
                    <a:pt x="469" y="151"/>
                  </a:lnTo>
                  <a:lnTo>
                    <a:pt x="471" y="149"/>
                  </a:lnTo>
                  <a:lnTo>
                    <a:pt x="470" y="148"/>
                  </a:lnTo>
                  <a:lnTo>
                    <a:pt x="470" y="147"/>
                  </a:lnTo>
                  <a:lnTo>
                    <a:pt x="471" y="146"/>
                  </a:lnTo>
                  <a:lnTo>
                    <a:pt x="472" y="145"/>
                  </a:lnTo>
                  <a:lnTo>
                    <a:pt x="470" y="145"/>
                  </a:lnTo>
                  <a:lnTo>
                    <a:pt x="469" y="146"/>
                  </a:lnTo>
                  <a:lnTo>
                    <a:pt x="467" y="145"/>
                  </a:lnTo>
                  <a:lnTo>
                    <a:pt x="467" y="143"/>
                  </a:lnTo>
                  <a:lnTo>
                    <a:pt x="469" y="143"/>
                  </a:lnTo>
                  <a:lnTo>
                    <a:pt x="470" y="142"/>
                  </a:lnTo>
                  <a:lnTo>
                    <a:pt x="471" y="142"/>
                  </a:lnTo>
                  <a:lnTo>
                    <a:pt x="466" y="141"/>
                  </a:lnTo>
                  <a:lnTo>
                    <a:pt x="465" y="141"/>
                  </a:lnTo>
                  <a:lnTo>
                    <a:pt x="464" y="140"/>
                  </a:lnTo>
                  <a:lnTo>
                    <a:pt x="466" y="137"/>
                  </a:lnTo>
                  <a:lnTo>
                    <a:pt x="470" y="139"/>
                  </a:lnTo>
                  <a:lnTo>
                    <a:pt x="471" y="139"/>
                  </a:lnTo>
                  <a:lnTo>
                    <a:pt x="469" y="136"/>
                  </a:lnTo>
                  <a:lnTo>
                    <a:pt x="470" y="135"/>
                  </a:lnTo>
                  <a:lnTo>
                    <a:pt x="475" y="137"/>
                  </a:lnTo>
                  <a:lnTo>
                    <a:pt x="476" y="137"/>
                  </a:lnTo>
                  <a:lnTo>
                    <a:pt x="472" y="134"/>
                  </a:lnTo>
                  <a:lnTo>
                    <a:pt x="473" y="133"/>
                  </a:lnTo>
                  <a:lnTo>
                    <a:pt x="475" y="133"/>
                  </a:lnTo>
                  <a:lnTo>
                    <a:pt x="476" y="133"/>
                  </a:lnTo>
                  <a:lnTo>
                    <a:pt x="475" y="131"/>
                  </a:lnTo>
                  <a:lnTo>
                    <a:pt x="477" y="131"/>
                  </a:lnTo>
                  <a:lnTo>
                    <a:pt x="478" y="131"/>
                  </a:lnTo>
                  <a:lnTo>
                    <a:pt x="482" y="133"/>
                  </a:lnTo>
                  <a:lnTo>
                    <a:pt x="483" y="133"/>
                  </a:lnTo>
                  <a:lnTo>
                    <a:pt x="484" y="134"/>
                  </a:lnTo>
                  <a:lnTo>
                    <a:pt x="485" y="133"/>
                  </a:lnTo>
                  <a:lnTo>
                    <a:pt x="485" y="130"/>
                  </a:lnTo>
                  <a:lnTo>
                    <a:pt x="484" y="129"/>
                  </a:lnTo>
                  <a:lnTo>
                    <a:pt x="483" y="129"/>
                  </a:lnTo>
                  <a:lnTo>
                    <a:pt x="483" y="128"/>
                  </a:lnTo>
                  <a:lnTo>
                    <a:pt x="482" y="128"/>
                  </a:lnTo>
                  <a:lnTo>
                    <a:pt x="482" y="129"/>
                  </a:lnTo>
                  <a:lnTo>
                    <a:pt x="479" y="129"/>
                  </a:lnTo>
                  <a:lnTo>
                    <a:pt x="479" y="128"/>
                  </a:lnTo>
                  <a:lnTo>
                    <a:pt x="483" y="125"/>
                  </a:lnTo>
                  <a:lnTo>
                    <a:pt x="483" y="127"/>
                  </a:lnTo>
                  <a:lnTo>
                    <a:pt x="485" y="128"/>
                  </a:lnTo>
                  <a:lnTo>
                    <a:pt x="487" y="128"/>
                  </a:lnTo>
                  <a:lnTo>
                    <a:pt x="488" y="128"/>
                  </a:lnTo>
                  <a:lnTo>
                    <a:pt x="488" y="127"/>
                  </a:lnTo>
                  <a:lnTo>
                    <a:pt x="487" y="125"/>
                  </a:lnTo>
                  <a:lnTo>
                    <a:pt x="485" y="125"/>
                  </a:lnTo>
                  <a:lnTo>
                    <a:pt x="487" y="124"/>
                  </a:lnTo>
                  <a:lnTo>
                    <a:pt x="488" y="124"/>
                  </a:lnTo>
                  <a:lnTo>
                    <a:pt x="490" y="125"/>
                  </a:lnTo>
                  <a:lnTo>
                    <a:pt x="491" y="127"/>
                  </a:lnTo>
                  <a:lnTo>
                    <a:pt x="493" y="125"/>
                  </a:lnTo>
                  <a:lnTo>
                    <a:pt x="491" y="125"/>
                  </a:lnTo>
                  <a:lnTo>
                    <a:pt x="490" y="123"/>
                  </a:lnTo>
                  <a:lnTo>
                    <a:pt x="491" y="122"/>
                  </a:lnTo>
                  <a:lnTo>
                    <a:pt x="493" y="123"/>
                  </a:lnTo>
                  <a:lnTo>
                    <a:pt x="495" y="123"/>
                  </a:lnTo>
                  <a:lnTo>
                    <a:pt x="496" y="123"/>
                  </a:lnTo>
                  <a:lnTo>
                    <a:pt x="497" y="124"/>
                  </a:lnTo>
                  <a:lnTo>
                    <a:pt x="499" y="124"/>
                  </a:lnTo>
                  <a:lnTo>
                    <a:pt x="500" y="124"/>
                  </a:lnTo>
                  <a:lnTo>
                    <a:pt x="497" y="122"/>
                  </a:lnTo>
                  <a:lnTo>
                    <a:pt x="495" y="121"/>
                  </a:lnTo>
                  <a:lnTo>
                    <a:pt x="506" y="115"/>
                  </a:lnTo>
                  <a:lnTo>
                    <a:pt x="506" y="113"/>
                  </a:lnTo>
                  <a:lnTo>
                    <a:pt x="502" y="113"/>
                  </a:lnTo>
                  <a:lnTo>
                    <a:pt x="496" y="117"/>
                  </a:lnTo>
                  <a:lnTo>
                    <a:pt x="495" y="118"/>
                  </a:lnTo>
                  <a:lnTo>
                    <a:pt x="494" y="118"/>
                  </a:lnTo>
                  <a:lnTo>
                    <a:pt x="495" y="116"/>
                  </a:lnTo>
                  <a:lnTo>
                    <a:pt x="496" y="115"/>
                  </a:lnTo>
                  <a:lnTo>
                    <a:pt x="495" y="113"/>
                  </a:lnTo>
                  <a:lnTo>
                    <a:pt x="491" y="117"/>
                  </a:lnTo>
                  <a:lnTo>
                    <a:pt x="491" y="119"/>
                  </a:lnTo>
                  <a:lnTo>
                    <a:pt x="490" y="119"/>
                  </a:lnTo>
                  <a:lnTo>
                    <a:pt x="489" y="119"/>
                  </a:lnTo>
                  <a:lnTo>
                    <a:pt x="488" y="118"/>
                  </a:lnTo>
                  <a:lnTo>
                    <a:pt x="488" y="119"/>
                  </a:lnTo>
                  <a:lnTo>
                    <a:pt x="487" y="121"/>
                  </a:lnTo>
                  <a:lnTo>
                    <a:pt x="485" y="122"/>
                  </a:lnTo>
                  <a:lnTo>
                    <a:pt x="484" y="121"/>
                  </a:lnTo>
                  <a:lnTo>
                    <a:pt x="483" y="121"/>
                  </a:lnTo>
                  <a:lnTo>
                    <a:pt x="483" y="122"/>
                  </a:lnTo>
                  <a:lnTo>
                    <a:pt x="483" y="123"/>
                  </a:lnTo>
                  <a:lnTo>
                    <a:pt x="482" y="124"/>
                  </a:lnTo>
                  <a:lnTo>
                    <a:pt x="481" y="125"/>
                  </a:lnTo>
                  <a:lnTo>
                    <a:pt x="478" y="125"/>
                  </a:lnTo>
                  <a:lnTo>
                    <a:pt x="479" y="124"/>
                  </a:lnTo>
                  <a:lnTo>
                    <a:pt x="481" y="123"/>
                  </a:lnTo>
                  <a:lnTo>
                    <a:pt x="479" y="122"/>
                  </a:lnTo>
                  <a:lnTo>
                    <a:pt x="479" y="121"/>
                  </a:lnTo>
                  <a:lnTo>
                    <a:pt x="478" y="119"/>
                  </a:lnTo>
                  <a:lnTo>
                    <a:pt x="477" y="121"/>
                  </a:lnTo>
                  <a:lnTo>
                    <a:pt x="476" y="122"/>
                  </a:lnTo>
                  <a:lnTo>
                    <a:pt x="476" y="123"/>
                  </a:lnTo>
                  <a:lnTo>
                    <a:pt x="475" y="124"/>
                  </a:lnTo>
                  <a:lnTo>
                    <a:pt x="473" y="125"/>
                  </a:lnTo>
                  <a:lnTo>
                    <a:pt x="472" y="127"/>
                  </a:lnTo>
                  <a:lnTo>
                    <a:pt x="472" y="128"/>
                  </a:lnTo>
                  <a:lnTo>
                    <a:pt x="471" y="130"/>
                  </a:lnTo>
                  <a:lnTo>
                    <a:pt x="470" y="133"/>
                  </a:lnTo>
                  <a:lnTo>
                    <a:pt x="469" y="128"/>
                  </a:lnTo>
                  <a:lnTo>
                    <a:pt x="467" y="128"/>
                  </a:lnTo>
                  <a:lnTo>
                    <a:pt x="466" y="129"/>
                  </a:lnTo>
                  <a:lnTo>
                    <a:pt x="466" y="131"/>
                  </a:lnTo>
                  <a:lnTo>
                    <a:pt x="467" y="133"/>
                  </a:lnTo>
                  <a:lnTo>
                    <a:pt x="466" y="134"/>
                  </a:lnTo>
                  <a:lnTo>
                    <a:pt x="465" y="136"/>
                  </a:lnTo>
                  <a:lnTo>
                    <a:pt x="464" y="137"/>
                  </a:lnTo>
                  <a:lnTo>
                    <a:pt x="461" y="139"/>
                  </a:lnTo>
                  <a:lnTo>
                    <a:pt x="460" y="139"/>
                  </a:lnTo>
                  <a:lnTo>
                    <a:pt x="459" y="137"/>
                  </a:lnTo>
                  <a:lnTo>
                    <a:pt x="459" y="135"/>
                  </a:lnTo>
                  <a:lnTo>
                    <a:pt x="460" y="136"/>
                  </a:lnTo>
                  <a:lnTo>
                    <a:pt x="461" y="136"/>
                  </a:lnTo>
                  <a:lnTo>
                    <a:pt x="463" y="136"/>
                  </a:lnTo>
                  <a:lnTo>
                    <a:pt x="461" y="135"/>
                  </a:lnTo>
                  <a:lnTo>
                    <a:pt x="461" y="134"/>
                  </a:lnTo>
                  <a:lnTo>
                    <a:pt x="461" y="133"/>
                  </a:lnTo>
                  <a:lnTo>
                    <a:pt x="461" y="131"/>
                  </a:lnTo>
                  <a:lnTo>
                    <a:pt x="460" y="130"/>
                  </a:lnTo>
                  <a:lnTo>
                    <a:pt x="460" y="131"/>
                  </a:lnTo>
                  <a:lnTo>
                    <a:pt x="459" y="133"/>
                  </a:lnTo>
                  <a:lnTo>
                    <a:pt x="458" y="134"/>
                  </a:lnTo>
                  <a:lnTo>
                    <a:pt x="458" y="133"/>
                  </a:lnTo>
                  <a:lnTo>
                    <a:pt x="457" y="131"/>
                  </a:lnTo>
                  <a:lnTo>
                    <a:pt x="455" y="130"/>
                  </a:lnTo>
                  <a:lnTo>
                    <a:pt x="454" y="130"/>
                  </a:lnTo>
                  <a:lnTo>
                    <a:pt x="455" y="131"/>
                  </a:lnTo>
                  <a:lnTo>
                    <a:pt x="455" y="133"/>
                  </a:lnTo>
                  <a:lnTo>
                    <a:pt x="457" y="134"/>
                  </a:lnTo>
                  <a:lnTo>
                    <a:pt x="455" y="134"/>
                  </a:lnTo>
                  <a:lnTo>
                    <a:pt x="454" y="135"/>
                  </a:lnTo>
                  <a:lnTo>
                    <a:pt x="454" y="137"/>
                  </a:lnTo>
                  <a:lnTo>
                    <a:pt x="454" y="136"/>
                  </a:lnTo>
                  <a:lnTo>
                    <a:pt x="455" y="136"/>
                  </a:lnTo>
                  <a:lnTo>
                    <a:pt x="457" y="136"/>
                  </a:lnTo>
                  <a:lnTo>
                    <a:pt x="458" y="137"/>
                  </a:lnTo>
                  <a:lnTo>
                    <a:pt x="458" y="140"/>
                  </a:lnTo>
                  <a:lnTo>
                    <a:pt x="458" y="141"/>
                  </a:lnTo>
                  <a:lnTo>
                    <a:pt x="457" y="142"/>
                  </a:lnTo>
                  <a:lnTo>
                    <a:pt x="455" y="143"/>
                  </a:lnTo>
                  <a:lnTo>
                    <a:pt x="453" y="145"/>
                  </a:lnTo>
                  <a:lnTo>
                    <a:pt x="452" y="146"/>
                  </a:lnTo>
                  <a:lnTo>
                    <a:pt x="451" y="147"/>
                  </a:lnTo>
                  <a:lnTo>
                    <a:pt x="448" y="148"/>
                  </a:lnTo>
                  <a:lnTo>
                    <a:pt x="446" y="151"/>
                  </a:lnTo>
                  <a:lnTo>
                    <a:pt x="444" y="153"/>
                  </a:lnTo>
                  <a:lnTo>
                    <a:pt x="442" y="152"/>
                  </a:lnTo>
                  <a:lnTo>
                    <a:pt x="440" y="152"/>
                  </a:lnTo>
                  <a:lnTo>
                    <a:pt x="438" y="151"/>
                  </a:lnTo>
                  <a:lnTo>
                    <a:pt x="437" y="148"/>
                  </a:lnTo>
                  <a:lnTo>
                    <a:pt x="436" y="146"/>
                  </a:lnTo>
                  <a:lnTo>
                    <a:pt x="436" y="143"/>
                  </a:lnTo>
                  <a:lnTo>
                    <a:pt x="437" y="143"/>
                  </a:lnTo>
                  <a:lnTo>
                    <a:pt x="438" y="145"/>
                  </a:lnTo>
                  <a:lnTo>
                    <a:pt x="441" y="145"/>
                  </a:lnTo>
                  <a:lnTo>
                    <a:pt x="441" y="143"/>
                  </a:lnTo>
                  <a:lnTo>
                    <a:pt x="440" y="142"/>
                  </a:lnTo>
                  <a:lnTo>
                    <a:pt x="436" y="142"/>
                  </a:lnTo>
                  <a:lnTo>
                    <a:pt x="435" y="142"/>
                  </a:lnTo>
                  <a:lnTo>
                    <a:pt x="435" y="141"/>
                  </a:lnTo>
                  <a:lnTo>
                    <a:pt x="435" y="140"/>
                  </a:lnTo>
                  <a:lnTo>
                    <a:pt x="436" y="140"/>
                  </a:lnTo>
                  <a:lnTo>
                    <a:pt x="440" y="140"/>
                  </a:lnTo>
                  <a:lnTo>
                    <a:pt x="440" y="139"/>
                  </a:lnTo>
                  <a:lnTo>
                    <a:pt x="440" y="136"/>
                  </a:lnTo>
                  <a:lnTo>
                    <a:pt x="441" y="134"/>
                  </a:lnTo>
                  <a:lnTo>
                    <a:pt x="442" y="134"/>
                  </a:lnTo>
                  <a:lnTo>
                    <a:pt x="441" y="133"/>
                  </a:lnTo>
                  <a:lnTo>
                    <a:pt x="438" y="133"/>
                  </a:lnTo>
                  <a:lnTo>
                    <a:pt x="436" y="133"/>
                  </a:lnTo>
                  <a:lnTo>
                    <a:pt x="432" y="131"/>
                  </a:lnTo>
                  <a:lnTo>
                    <a:pt x="432" y="130"/>
                  </a:lnTo>
                  <a:lnTo>
                    <a:pt x="434" y="129"/>
                  </a:lnTo>
                  <a:lnTo>
                    <a:pt x="436" y="129"/>
                  </a:lnTo>
                  <a:lnTo>
                    <a:pt x="437" y="129"/>
                  </a:lnTo>
                  <a:lnTo>
                    <a:pt x="438" y="129"/>
                  </a:lnTo>
                  <a:lnTo>
                    <a:pt x="437" y="127"/>
                  </a:lnTo>
                  <a:lnTo>
                    <a:pt x="437" y="125"/>
                  </a:lnTo>
                  <a:lnTo>
                    <a:pt x="438" y="125"/>
                  </a:lnTo>
                  <a:lnTo>
                    <a:pt x="438" y="127"/>
                  </a:lnTo>
                  <a:lnTo>
                    <a:pt x="441" y="127"/>
                  </a:lnTo>
                  <a:lnTo>
                    <a:pt x="441" y="125"/>
                  </a:lnTo>
                  <a:lnTo>
                    <a:pt x="437" y="124"/>
                  </a:lnTo>
                  <a:lnTo>
                    <a:pt x="438" y="123"/>
                  </a:lnTo>
                  <a:lnTo>
                    <a:pt x="440" y="122"/>
                  </a:lnTo>
                  <a:lnTo>
                    <a:pt x="441" y="123"/>
                  </a:lnTo>
                  <a:lnTo>
                    <a:pt x="443" y="123"/>
                  </a:lnTo>
                  <a:lnTo>
                    <a:pt x="444" y="123"/>
                  </a:lnTo>
                  <a:lnTo>
                    <a:pt x="446" y="124"/>
                  </a:lnTo>
                  <a:lnTo>
                    <a:pt x="448" y="125"/>
                  </a:lnTo>
                  <a:lnTo>
                    <a:pt x="449" y="127"/>
                  </a:lnTo>
                  <a:lnTo>
                    <a:pt x="451" y="125"/>
                  </a:lnTo>
                  <a:lnTo>
                    <a:pt x="451" y="124"/>
                  </a:lnTo>
                  <a:lnTo>
                    <a:pt x="449" y="124"/>
                  </a:lnTo>
                  <a:lnTo>
                    <a:pt x="447" y="121"/>
                  </a:lnTo>
                  <a:lnTo>
                    <a:pt x="448" y="121"/>
                  </a:lnTo>
                  <a:lnTo>
                    <a:pt x="449" y="121"/>
                  </a:lnTo>
                  <a:lnTo>
                    <a:pt x="449" y="122"/>
                  </a:lnTo>
                  <a:lnTo>
                    <a:pt x="449" y="121"/>
                  </a:lnTo>
                  <a:lnTo>
                    <a:pt x="448" y="118"/>
                  </a:lnTo>
                  <a:lnTo>
                    <a:pt x="448" y="117"/>
                  </a:lnTo>
                  <a:lnTo>
                    <a:pt x="449" y="116"/>
                  </a:lnTo>
                  <a:lnTo>
                    <a:pt x="451" y="116"/>
                  </a:lnTo>
                  <a:lnTo>
                    <a:pt x="452" y="117"/>
                  </a:lnTo>
                  <a:lnTo>
                    <a:pt x="452" y="121"/>
                  </a:lnTo>
                  <a:lnTo>
                    <a:pt x="452" y="122"/>
                  </a:lnTo>
                  <a:lnTo>
                    <a:pt x="453" y="122"/>
                  </a:lnTo>
                  <a:lnTo>
                    <a:pt x="454" y="119"/>
                  </a:lnTo>
                  <a:lnTo>
                    <a:pt x="454" y="118"/>
                  </a:lnTo>
                  <a:lnTo>
                    <a:pt x="455" y="117"/>
                  </a:lnTo>
                  <a:lnTo>
                    <a:pt x="458" y="117"/>
                  </a:lnTo>
                  <a:lnTo>
                    <a:pt x="457" y="116"/>
                  </a:lnTo>
                  <a:lnTo>
                    <a:pt x="455" y="116"/>
                  </a:lnTo>
                  <a:lnTo>
                    <a:pt x="453" y="115"/>
                  </a:lnTo>
                  <a:lnTo>
                    <a:pt x="454" y="115"/>
                  </a:lnTo>
                  <a:lnTo>
                    <a:pt x="455" y="115"/>
                  </a:lnTo>
                  <a:lnTo>
                    <a:pt x="455" y="113"/>
                  </a:lnTo>
                  <a:lnTo>
                    <a:pt x="457" y="112"/>
                  </a:lnTo>
                  <a:lnTo>
                    <a:pt x="457" y="111"/>
                  </a:lnTo>
                  <a:lnTo>
                    <a:pt x="458" y="110"/>
                  </a:lnTo>
                  <a:lnTo>
                    <a:pt x="460" y="109"/>
                  </a:lnTo>
                  <a:lnTo>
                    <a:pt x="461" y="110"/>
                  </a:lnTo>
                  <a:lnTo>
                    <a:pt x="461" y="109"/>
                  </a:lnTo>
                  <a:lnTo>
                    <a:pt x="464" y="107"/>
                  </a:lnTo>
                  <a:lnTo>
                    <a:pt x="465" y="109"/>
                  </a:lnTo>
                  <a:lnTo>
                    <a:pt x="464" y="106"/>
                  </a:lnTo>
                  <a:lnTo>
                    <a:pt x="463" y="105"/>
                  </a:lnTo>
                  <a:lnTo>
                    <a:pt x="461" y="105"/>
                  </a:lnTo>
                  <a:lnTo>
                    <a:pt x="461" y="104"/>
                  </a:lnTo>
                  <a:lnTo>
                    <a:pt x="463" y="103"/>
                  </a:lnTo>
                  <a:lnTo>
                    <a:pt x="464" y="103"/>
                  </a:lnTo>
                  <a:lnTo>
                    <a:pt x="465" y="103"/>
                  </a:lnTo>
                  <a:lnTo>
                    <a:pt x="466" y="103"/>
                  </a:lnTo>
                  <a:lnTo>
                    <a:pt x="469" y="103"/>
                  </a:lnTo>
                  <a:lnTo>
                    <a:pt x="471" y="103"/>
                  </a:lnTo>
                  <a:lnTo>
                    <a:pt x="473" y="103"/>
                  </a:lnTo>
                  <a:lnTo>
                    <a:pt x="475" y="104"/>
                  </a:lnTo>
                  <a:lnTo>
                    <a:pt x="476" y="104"/>
                  </a:lnTo>
                  <a:lnTo>
                    <a:pt x="477" y="103"/>
                  </a:lnTo>
                  <a:lnTo>
                    <a:pt x="477" y="101"/>
                  </a:lnTo>
                  <a:lnTo>
                    <a:pt x="476" y="100"/>
                  </a:lnTo>
                  <a:lnTo>
                    <a:pt x="475" y="100"/>
                  </a:lnTo>
                  <a:lnTo>
                    <a:pt x="473" y="99"/>
                  </a:lnTo>
                  <a:lnTo>
                    <a:pt x="473" y="100"/>
                  </a:lnTo>
                  <a:lnTo>
                    <a:pt x="472" y="100"/>
                  </a:lnTo>
                  <a:lnTo>
                    <a:pt x="472" y="99"/>
                  </a:lnTo>
                  <a:lnTo>
                    <a:pt x="472" y="98"/>
                  </a:lnTo>
                  <a:lnTo>
                    <a:pt x="473" y="98"/>
                  </a:lnTo>
                  <a:lnTo>
                    <a:pt x="475" y="99"/>
                  </a:lnTo>
                  <a:lnTo>
                    <a:pt x="478" y="101"/>
                  </a:lnTo>
                  <a:lnTo>
                    <a:pt x="478" y="100"/>
                  </a:lnTo>
                  <a:lnTo>
                    <a:pt x="478" y="99"/>
                  </a:lnTo>
                  <a:lnTo>
                    <a:pt x="477" y="99"/>
                  </a:lnTo>
                  <a:lnTo>
                    <a:pt x="476" y="99"/>
                  </a:lnTo>
                  <a:lnTo>
                    <a:pt x="476" y="98"/>
                  </a:lnTo>
                  <a:lnTo>
                    <a:pt x="475" y="97"/>
                  </a:lnTo>
                  <a:lnTo>
                    <a:pt x="475" y="95"/>
                  </a:lnTo>
                  <a:lnTo>
                    <a:pt x="477" y="95"/>
                  </a:lnTo>
                  <a:lnTo>
                    <a:pt x="478" y="95"/>
                  </a:lnTo>
                  <a:lnTo>
                    <a:pt x="479" y="97"/>
                  </a:lnTo>
                  <a:lnTo>
                    <a:pt x="481" y="99"/>
                  </a:lnTo>
                  <a:lnTo>
                    <a:pt x="482" y="99"/>
                  </a:lnTo>
                  <a:lnTo>
                    <a:pt x="482" y="97"/>
                  </a:lnTo>
                  <a:lnTo>
                    <a:pt x="481" y="97"/>
                  </a:lnTo>
                  <a:lnTo>
                    <a:pt x="481" y="95"/>
                  </a:lnTo>
                  <a:lnTo>
                    <a:pt x="481" y="94"/>
                  </a:lnTo>
                  <a:lnTo>
                    <a:pt x="481" y="93"/>
                  </a:lnTo>
                  <a:lnTo>
                    <a:pt x="482" y="93"/>
                  </a:lnTo>
                  <a:lnTo>
                    <a:pt x="482" y="94"/>
                  </a:lnTo>
                  <a:lnTo>
                    <a:pt x="483" y="94"/>
                  </a:lnTo>
                  <a:lnTo>
                    <a:pt x="485" y="95"/>
                  </a:lnTo>
                  <a:lnTo>
                    <a:pt x="488" y="95"/>
                  </a:lnTo>
                  <a:lnTo>
                    <a:pt x="488" y="94"/>
                  </a:lnTo>
                  <a:lnTo>
                    <a:pt x="487" y="94"/>
                  </a:lnTo>
                  <a:lnTo>
                    <a:pt x="487" y="93"/>
                  </a:lnTo>
                  <a:lnTo>
                    <a:pt x="485" y="92"/>
                  </a:lnTo>
                  <a:lnTo>
                    <a:pt x="484" y="92"/>
                  </a:lnTo>
                  <a:lnTo>
                    <a:pt x="484" y="90"/>
                  </a:lnTo>
                  <a:lnTo>
                    <a:pt x="485" y="90"/>
                  </a:lnTo>
                  <a:lnTo>
                    <a:pt x="491" y="87"/>
                  </a:lnTo>
                  <a:lnTo>
                    <a:pt x="493" y="86"/>
                  </a:lnTo>
                  <a:lnTo>
                    <a:pt x="493" y="84"/>
                  </a:lnTo>
                  <a:lnTo>
                    <a:pt x="491" y="86"/>
                  </a:lnTo>
                  <a:lnTo>
                    <a:pt x="489" y="87"/>
                  </a:lnTo>
                  <a:lnTo>
                    <a:pt x="484" y="89"/>
                  </a:lnTo>
                  <a:lnTo>
                    <a:pt x="485" y="88"/>
                  </a:lnTo>
                  <a:lnTo>
                    <a:pt x="485" y="86"/>
                  </a:lnTo>
                  <a:lnTo>
                    <a:pt x="483" y="86"/>
                  </a:lnTo>
                  <a:lnTo>
                    <a:pt x="482" y="87"/>
                  </a:lnTo>
                  <a:lnTo>
                    <a:pt x="479" y="89"/>
                  </a:lnTo>
                  <a:lnTo>
                    <a:pt x="478" y="89"/>
                  </a:lnTo>
                  <a:lnTo>
                    <a:pt x="477" y="90"/>
                  </a:lnTo>
                  <a:lnTo>
                    <a:pt x="476" y="92"/>
                  </a:lnTo>
                  <a:lnTo>
                    <a:pt x="475" y="92"/>
                  </a:lnTo>
                  <a:lnTo>
                    <a:pt x="475" y="90"/>
                  </a:lnTo>
                  <a:lnTo>
                    <a:pt x="473" y="89"/>
                  </a:lnTo>
                  <a:lnTo>
                    <a:pt x="472" y="90"/>
                  </a:lnTo>
                  <a:lnTo>
                    <a:pt x="472" y="92"/>
                  </a:lnTo>
                  <a:lnTo>
                    <a:pt x="470" y="93"/>
                  </a:lnTo>
                  <a:lnTo>
                    <a:pt x="469" y="94"/>
                  </a:lnTo>
                  <a:lnTo>
                    <a:pt x="467" y="95"/>
                  </a:lnTo>
                  <a:lnTo>
                    <a:pt x="466" y="94"/>
                  </a:lnTo>
                  <a:lnTo>
                    <a:pt x="469" y="93"/>
                  </a:lnTo>
                  <a:lnTo>
                    <a:pt x="469" y="92"/>
                  </a:lnTo>
                  <a:lnTo>
                    <a:pt x="467" y="92"/>
                  </a:lnTo>
                  <a:lnTo>
                    <a:pt x="466" y="90"/>
                  </a:lnTo>
                  <a:lnTo>
                    <a:pt x="466" y="89"/>
                  </a:lnTo>
                  <a:lnTo>
                    <a:pt x="465" y="90"/>
                  </a:lnTo>
                  <a:lnTo>
                    <a:pt x="464" y="92"/>
                  </a:lnTo>
                  <a:lnTo>
                    <a:pt x="463" y="93"/>
                  </a:lnTo>
                  <a:lnTo>
                    <a:pt x="463" y="94"/>
                  </a:lnTo>
                  <a:lnTo>
                    <a:pt x="463" y="95"/>
                  </a:lnTo>
                  <a:lnTo>
                    <a:pt x="464" y="94"/>
                  </a:lnTo>
                  <a:lnTo>
                    <a:pt x="464" y="95"/>
                  </a:lnTo>
                  <a:lnTo>
                    <a:pt x="463" y="97"/>
                  </a:lnTo>
                  <a:lnTo>
                    <a:pt x="461" y="95"/>
                  </a:lnTo>
                  <a:lnTo>
                    <a:pt x="461" y="97"/>
                  </a:lnTo>
                  <a:lnTo>
                    <a:pt x="460" y="97"/>
                  </a:lnTo>
                  <a:lnTo>
                    <a:pt x="459" y="98"/>
                  </a:lnTo>
                  <a:lnTo>
                    <a:pt x="458" y="99"/>
                  </a:lnTo>
                  <a:lnTo>
                    <a:pt x="457" y="99"/>
                  </a:lnTo>
                  <a:lnTo>
                    <a:pt x="455" y="100"/>
                  </a:lnTo>
                  <a:lnTo>
                    <a:pt x="454" y="101"/>
                  </a:lnTo>
                  <a:lnTo>
                    <a:pt x="453" y="100"/>
                  </a:lnTo>
                  <a:lnTo>
                    <a:pt x="451" y="100"/>
                  </a:lnTo>
                  <a:lnTo>
                    <a:pt x="449" y="100"/>
                  </a:lnTo>
                  <a:lnTo>
                    <a:pt x="449" y="101"/>
                  </a:lnTo>
                  <a:lnTo>
                    <a:pt x="448" y="104"/>
                  </a:lnTo>
                  <a:lnTo>
                    <a:pt x="447" y="105"/>
                  </a:lnTo>
                  <a:lnTo>
                    <a:pt x="444" y="106"/>
                  </a:lnTo>
                  <a:lnTo>
                    <a:pt x="443" y="109"/>
                  </a:lnTo>
                  <a:lnTo>
                    <a:pt x="441" y="110"/>
                  </a:lnTo>
                  <a:lnTo>
                    <a:pt x="441" y="109"/>
                  </a:lnTo>
                  <a:lnTo>
                    <a:pt x="441" y="107"/>
                  </a:lnTo>
                  <a:lnTo>
                    <a:pt x="440" y="106"/>
                  </a:lnTo>
                  <a:lnTo>
                    <a:pt x="441" y="105"/>
                  </a:lnTo>
                  <a:lnTo>
                    <a:pt x="441" y="104"/>
                  </a:lnTo>
                  <a:lnTo>
                    <a:pt x="441" y="101"/>
                  </a:lnTo>
                  <a:lnTo>
                    <a:pt x="447" y="101"/>
                  </a:lnTo>
                  <a:lnTo>
                    <a:pt x="446" y="100"/>
                  </a:lnTo>
                  <a:lnTo>
                    <a:pt x="448" y="99"/>
                  </a:lnTo>
                  <a:lnTo>
                    <a:pt x="447" y="98"/>
                  </a:lnTo>
                  <a:lnTo>
                    <a:pt x="444" y="99"/>
                  </a:lnTo>
                  <a:lnTo>
                    <a:pt x="441" y="99"/>
                  </a:lnTo>
                  <a:lnTo>
                    <a:pt x="440" y="98"/>
                  </a:lnTo>
                  <a:lnTo>
                    <a:pt x="441" y="97"/>
                  </a:lnTo>
                  <a:lnTo>
                    <a:pt x="438" y="95"/>
                  </a:lnTo>
                  <a:lnTo>
                    <a:pt x="437" y="95"/>
                  </a:lnTo>
                  <a:lnTo>
                    <a:pt x="437" y="97"/>
                  </a:lnTo>
                  <a:lnTo>
                    <a:pt x="436" y="97"/>
                  </a:lnTo>
                  <a:lnTo>
                    <a:pt x="434" y="97"/>
                  </a:lnTo>
                  <a:lnTo>
                    <a:pt x="432" y="98"/>
                  </a:lnTo>
                  <a:lnTo>
                    <a:pt x="430" y="98"/>
                  </a:lnTo>
                  <a:lnTo>
                    <a:pt x="428" y="98"/>
                  </a:lnTo>
                  <a:lnTo>
                    <a:pt x="425" y="97"/>
                  </a:lnTo>
                  <a:lnTo>
                    <a:pt x="424" y="95"/>
                  </a:lnTo>
                  <a:lnTo>
                    <a:pt x="426" y="94"/>
                  </a:lnTo>
                  <a:lnTo>
                    <a:pt x="425" y="93"/>
                  </a:lnTo>
                  <a:lnTo>
                    <a:pt x="425" y="89"/>
                  </a:lnTo>
                  <a:lnTo>
                    <a:pt x="424" y="88"/>
                  </a:lnTo>
                  <a:lnTo>
                    <a:pt x="425" y="88"/>
                  </a:lnTo>
                  <a:lnTo>
                    <a:pt x="426" y="89"/>
                  </a:lnTo>
                  <a:lnTo>
                    <a:pt x="429" y="90"/>
                  </a:lnTo>
                  <a:lnTo>
                    <a:pt x="429" y="92"/>
                  </a:lnTo>
                  <a:lnTo>
                    <a:pt x="430" y="93"/>
                  </a:lnTo>
                  <a:lnTo>
                    <a:pt x="430" y="92"/>
                  </a:lnTo>
                  <a:lnTo>
                    <a:pt x="430" y="94"/>
                  </a:lnTo>
                  <a:lnTo>
                    <a:pt x="431" y="95"/>
                  </a:lnTo>
                  <a:lnTo>
                    <a:pt x="432" y="95"/>
                  </a:lnTo>
                  <a:lnTo>
                    <a:pt x="432" y="94"/>
                  </a:lnTo>
                  <a:lnTo>
                    <a:pt x="434" y="93"/>
                  </a:lnTo>
                  <a:lnTo>
                    <a:pt x="436" y="94"/>
                  </a:lnTo>
                  <a:lnTo>
                    <a:pt x="437" y="94"/>
                  </a:lnTo>
                  <a:lnTo>
                    <a:pt x="438" y="94"/>
                  </a:lnTo>
                  <a:lnTo>
                    <a:pt x="437" y="94"/>
                  </a:lnTo>
                  <a:lnTo>
                    <a:pt x="436" y="93"/>
                  </a:lnTo>
                  <a:lnTo>
                    <a:pt x="436" y="92"/>
                  </a:lnTo>
                  <a:lnTo>
                    <a:pt x="437" y="92"/>
                  </a:lnTo>
                  <a:lnTo>
                    <a:pt x="438" y="90"/>
                  </a:lnTo>
                  <a:lnTo>
                    <a:pt x="437" y="89"/>
                  </a:lnTo>
                  <a:lnTo>
                    <a:pt x="435" y="89"/>
                  </a:lnTo>
                  <a:lnTo>
                    <a:pt x="432" y="90"/>
                  </a:lnTo>
                  <a:lnTo>
                    <a:pt x="431" y="88"/>
                  </a:lnTo>
                  <a:lnTo>
                    <a:pt x="430" y="87"/>
                  </a:lnTo>
                  <a:lnTo>
                    <a:pt x="428" y="87"/>
                  </a:lnTo>
                  <a:lnTo>
                    <a:pt x="425" y="86"/>
                  </a:lnTo>
                  <a:lnTo>
                    <a:pt x="422" y="83"/>
                  </a:lnTo>
                  <a:lnTo>
                    <a:pt x="419" y="81"/>
                  </a:lnTo>
                  <a:lnTo>
                    <a:pt x="420" y="81"/>
                  </a:lnTo>
                  <a:lnTo>
                    <a:pt x="420" y="80"/>
                  </a:lnTo>
                  <a:lnTo>
                    <a:pt x="419" y="78"/>
                  </a:lnTo>
                  <a:lnTo>
                    <a:pt x="420" y="77"/>
                  </a:lnTo>
                  <a:lnTo>
                    <a:pt x="420" y="75"/>
                  </a:lnTo>
                  <a:lnTo>
                    <a:pt x="423" y="74"/>
                  </a:lnTo>
                  <a:lnTo>
                    <a:pt x="424" y="69"/>
                  </a:lnTo>
                  <a:lnTo>
                    <a:pt x="424" y="66"/>
                  </a:lnTo>
                  <a:lnTo>
                    <a:pt x="425" y="64"/>
                  </a:lnTo>
                  <a:lnTo>
                    <a:pt x="426" y="63"/>
                  </a:lnTo>
                  <a:lnTo>
                    <a:pt x="426" y="62"/>
                  </a:lnTo>
                  <a:lnTo>
                    <a:pt x="428" y="62"/>
                  </a:lnTo>
                  <a:lnTo>
                    <a:pt x="426" y="60"/>
                  </a:lnTo>
                  <a:lnTo>
                    <a:pt x="424" y="60"/>
                  </a:lnTo>
                  <a:lnTo>
                    <a:pt x="422" y="60"/>
                  </a:lnTo>
                  <a:lnTo>
                    <a:pt x="422" y="59"/>
                  </a:lnTo>
                  <a:lnTo>
                    <a:pt x="423" y="58"/>
                  </a:lnTo>
                  <a:lnTo>
                    <a:pt x="425" y="58"/>
                  </a:lnTo>
                  <a:lnTo>
                    <a:pt x="426" y="57"/>
                  </a:lnTo>
                  <a:lnTo>
                    <a:pt x="428" y="58"/>
                  </a:lnTo>
                  <a:lnTo>
                    <a:pt x="429" y="58"/>
                  </a:lnTo>
                  <a:lnTo>
                    <a:pt x="430" y="57"/>
                  </a:lnTo>
                  <a:lnTo>
                    <a:pt x="430" y="56"/>
                  </a:lnTo>
                  <a:lnTo>
                    <a:pt x="428" y="54"/>
                  </a:lnTo>
                  <a:lnTo>
                    <a:pt x="430" y="53"/>
                  </a:lnTo>
                  <a:lnTo>
                    <a:pt x="428" y="52"/>
                  </a:lnTo>
                  <a:lnTo>
                    <a:pt x="426" y="52"/>
                  </a:lnTo>
                  <a:lnTo>
                    <a:pt x="424" y="52"/>
                  </a:lnTo>
                  <a:lnTo>
                    <a:pt x="423" y="53"/>
                  </a:lnTo>
                  <a:lnTo>
                    <a:pt x="422" y="53"/>
                  </a:lnTo>
                  <a:lnTo>
                    <a:pt x="420" y="52"/>
                  </a:lnTo>
                  <a:lnTo>
                    <a:pt x="419" y="51"/>
                  </a:lnTo>
                  <a:lnTo>
                    <a:pt x="420" y="50"/>
                  </a:lnTo>
                  <a:lnTo>
                    <a:pt x="423" y="48"/>
                  </a:lnTo>
                  <a:lnTo>
                    <a:pt x="425" y="47"/>
                  </a:lnTo>
                  <a:lnTo>
                    <a:pt x="428" y="47"/>
                  </a:lnTo>
                  <a:lnTo>
                    <a:pt x="429" y="50"/>
                  </a:lnTo>
                  <a:lnTo>
                    <a:pt x="430" y="48"/>
                  </a:lnTo>
                  <a:lnTo>
                    <a:pt x="430" y="47"/>
                  </a:lnTo>
                  <a:lnTo>
                    <a:pt x="429" y="46"/>
                  </a:lnTo>
                  <a:lnTo>
                    <a:pt x="431" y="47"/>
                  </a:lnTo>
                  <a:lnTo>
                    <a:pt x="434" y="47"/>
                  </a:lnTo>
                  <a:lnTo>
                    <a:pt x="432" y="46"/>
                  </a:lnTo>
                  <a:lnTo>
                    <a:pt x="432" y="45"/>
                  </a:lnTo>
                  <a:lnTo>
                    <a:pt x="434" y="45"/>
                  </a:lnTo>
                  <a:lnTo>
                    <a:pt x="436" y="45"/>
                  </a:lnTo>
                  <a:lnTo>
                    <a:pt x="436" y="46"/>
                  </a:lnTo>
                  <a:lnTo>
                    <a:pt x="438" y="47"/>
                  </a:lnTo>
                  <a:lnTo>
                    <a:pt x="440" y="47"/>
                  </a:lnTo>
                  <a:lnTo>
                    <a:pt x="440" y="46"/>
                  </a:lnTo>
                  <a:lnTo>
                    <a:pt x="438" y="45"/>
                  </a:lnTo>
                  <a:lnTo>
                    <a:pt x="438" y="44"/>
                  </a:lnTo>
                  <a:lnTo>
                    <a:pt x="442" y="42"/>
                  </a:lnTo>
                  <a:lnTo>
                    <a:pt x="444" y="42"/>
                  </a:lnTo>
                  <a:lnTo>
                    <a:pt x="446" y="41"/>
                  </a:lnTo>
                  <a:lnTo>
                    <a:pt x="444" y="40"/>
                  </a:lnTo>
                  <a:lnTo>
                    <a:pt x="442" y="41"/>
                  </a:lnTo>
                  <a:lnTo>
                    <a:pt x="441" y="41"/>
                  </a:lnTo>
                  <a:lnTo>
                    <a:pt x="441" y="39"/>
                  </a:lnTo>
                  <a:lnTo>
                    <a:pt x="440" y="39"/>
                  </a:lnTo>
                  <a:lnTo>
                    <a:pt x="436" y="41"/>
                  </a:lnTo>
                  <a:lnTo>
                    <a:pt x="434" y="42"/>
                  </a:lnTo>
                  <a:lnTo>
                    <a:pt x="434" y="41"/>
                  </a:lnTo>
                  <a:lnTo>
                    <a:pt x="435" y="40"/>
                  </a:lnTo>
                  <a:lnTo>
                    <a:pt x="435" y="38"/>
                  </a:lnTo>
                  <a:lnTo>
                    <a:pt x="434" y="36"/>
                  </a:lnTo>
                  <a:lnTo>
                    <a:pt x="434" y="38"/>
                  </a:lnTo>
                  <a:lnTo>
                    <a:pt x="432" y="40"/>
                  </a:lnTo>
                  <a:lnTo>
                    <a:pt x="432" y="41"/>
                  </a:lnTo>
                  <a:lnTo>
                    <a:pt x="431" y="42"/>
                  </a:lnTo>
                  <a:lnTo>
                    <a:pt x="430" y="42"/>
                  </a:lnTo>
                  <a:lnTo>
                    <a:pt x="429" y="42"/>
                  </a:lnTo>
                  <a:lnTo>
                    <a:pt x="426" y="44"/>
                  </a:lnTo>
                  <a:lnTo>
                    <a:pt x="426" y="45"/>
                  </a:lnTo>
                  <a:lnTo>
                    <a:pt x="424" y="45"/>
                  </a:lnTo>
                  <a:lnTo>
                    <a:pt x="423" y="45"/>
                  </a:lnTo>
                  <a:lnTo>
                    <a:pt x="423" y="44"/>
                  </a:lnTo>
                  <a:lnTo>
                    <a:pt x="424" y="42"/>
                  </a:lnTo>
                  <a:lnTo>
                    <a:pt x="424" y="41"/>
                  </a:lnTo>
                  <a:lnTo>
                    <a:pt x="425" y="42"/>
                  </a:lnTo>
                  <a:lnTo>
                    <a:pt x="426" y="42"/>
                  </a:lnTo>
                  <a:lnTo>
                    <a:pt x="426" y="41"/>
                  </a:lnTo>
                  <a:lnTo>
                    <a:pt x="426" y="40"/>
                  </a:lnTo>
                  <a:lnTo>
                    <a:pt x="428" y="41"/>
                  </a:lnTo>
                  <a:lnTo>
                    <a:pt x="429" y="41"/>
                  </a:lnTo>
                  <a:lnTo>
                    <a:pt x="429" y="40"/>
                  </a:lnTo>
                  <a:lnTo>
                    <a:pt x="428" y="40"/>
                  </a:lnTo>
                  <a:lnTo>
                    <a:pt x="428" y="39"/>
                  </a:lnTo>
                  <a:lnTo>
                    <a:pt x="428" y="38"/>
                  </a:lnTo>
                  <a:lnTo>
                    <a:pt x="426" y="38"/>
                  </a:lnTo>
                  <a:lnTo>
                    <a:pt x="425" y="36"/>
                  </a:lnTo>
                  <a:lnTo>
                    <a:pt x="426" y="35"/>
                  </a:lnTo>
                  <a:lnTo>
                    <a:pt x="428" y="34"/>
                  </a:lnTo>
                  <a:lnTo>
                    <a:pt x="428" y="35"/>
                  </a:lnTo>
                  <a:lnTo>
                    <a:pt x="430" y="35"/>
                  </a:lnTo>
                  <a:lnTo>
                    <a:pt x="434" y="35"/>
                  </a:lnTo>
                  <a:lnTo>
                    <a:pt x="435" y="34"/>
                  </a:lnTo>
                  <a:lnTo>
                    <a:pt x="434" y="34"/>
                  </a:lnTo>
                  <a:lnTo>
                    <a:pt x="429" y="34"/>
                  </a:lnTo>
                  <a:lnTo>
                    <a:pt x="430" y="32"/>
                  </a:lnTo>
                  <a:lnTo>
                    <a:pt x="431" y="32"/>
                  </a:lnTo>
                  <a:lnTo>
                    <a:pt x="434" y="30"/>
                  </a:lnTo>
                  <a:lnTo>
                    <a:pt x="435" y="30"/>
                  </a:lnTo>
                  <a:lnTo>
                    <a:pt x="435" y="29"/>
                  </a:lnTo>
                  <a:lnTo>
                    <a:pt x="432" y="29"/>
                  </a:lnTo>
                  <a:lnTo>
                    <a:pt x="431" y="29"/>
                  </a:lnTo>
                  <a:lnTo>
                    <a:pt x="430" y="30"/>
                  </a:lnTo>
                  <a:lnTo>
                    <a:pt x="430" y="29"/>
                  </a:lnTo>
                  <a:lnTo>
                    <a:pt x="435" y="23"/>
                  </a:lnTo>
                  <a:lnTo>
                    <a:pt x="437" y="21"/>
                  </a:lnTo>
                  <a:lnTo>
                    <a:pt x="441" y="16"/>
                  </a:lnTo>
                  <a:lnTo>
                    <a:pt x="444" y="14"/>
                  </a:lnTo>
                  <a:lnTo>
                    <a:pt x="443" y="12"/>
                  </a:lnTo>
                  <a:lnTo>
                    <a:pt x="441" y="14"/>
                  </a:lnTo>
                  <a:lnTo>
                    <a:pt x="440" y="15"/>
                  </a:lnTo>
                  <a:lnTo>
                    <a:pt x="437" y="18"/>
                  </a:lnTo>
                  <a:lnTo>
                    <a:pt x="432" y="22"/>
                  </a:lnTo>
                  <a:lnTo>
                    <a:pt x="430" y="26"/>
                  </a:lnTo>
                  <a:lnTo>
                    <a:pt x="428" y="29"/>
                  </a:lnTo>
                  <a:lnTo>
                    <a:pt x="426" y="32"/>
                  </a:lnTo>
                  <a:lnTo>
                    <a:pt x="425" y="32"/>
                  </a:lnTo>
                  <a:lnTo>
                    <a:pt x="423" y="30"/>
                  </a:lnTo>
                  <a:lnTo>
                    <a:pt x="422" y="28"/>
                  </a:lnTo>
                  <a:lnTo>
                    <a:pt x="419" y="26"/>
                  </a:lnTo>
                  <a:lnTo>
                    <a:pt x="418" y="24"/>
                  </a:lnTo>
                  <a:lnTo>
                    <a:pt x="417" y="24"/>
                  </a:lnTo>
                  <a:lnTo>
                    <a:pt x="416" y="24"/>
                  </a:lnTo>
                  <a:lnTo>
                    <a:pt x="417" y="27"/>
                  </a:lnTo>
                  <a:lnTo>
                    <a:pt x="418" y="27"/>
                  </a:lnTo>
                  <a:lnTo>
                    <a:pt x="419" y="27"/>
                  </a:lnTo>
                  <a:lnTo>
                    <a:pt x="420" y="28"/>
                  </a:lnTo>
                  <a:lnTo>
                    <a:pt x="422" y="29"/>
                  </a:lnTo>
                  <a:lnTo>
                    <a:pt x="423" y="32"/>
                  </a:lnTo>
                  <a:lnTo>
                    <a:pt x="424" y="33"/>
                  </a:lnTo>
                  <a:lnTo>
                    <a:pt x="424" y="35"/>
                  </a:lnTo>
                  <a:lnTo>
                    <a:pt x="424" y="36"/>
                  </a:lnTo>
                  <a:lnTo>
                    <a:pt x="422" y="35"/>
                  </a:lnTo>
                  <a:lnTo>
                    <a:pt x="420" y="34"/>
                  </a:lnTo>
                  <a:lnTo>
                    <a:pt x="419" y="33"/>
                  </a:lnTo>
                  <a:lnTo>
                    <a:pt x="418" y="34"/>
                  </a:lnTo>
                  <a:lnTo>
                    <a:pt x="419" y="35"/>
                  </a:lnTo>
                  <a:lnTo>
                    <a:pt x="420" y="36"/>
                  </a:lnTo>
                  <a:lnTo>
                    <a:pt x="422" y="38"/>
                  </a:lnTo>
                  <a:lnTo>
                    <a:pt x="422" y="39"/>
                  </a:lnTo>
                  <a:lnTo>
                    <a:pt x="420" y="40"/>
                  </a:lnTo>
                  <a:lnTo>
                    <a:pt x="418" y="38"/>
                  </a:lnTo>
                  <a:lnTo>
                    <a:pt x="417" y="38"/>
                  </a:lnTo>
                  <a:lnTo>
                    <a:pt x="418" y="40"/>
                  </a:lnTo>
                  <a:lnTo>
                    <a:pt x="419" y="41"/>
                  </a:lnTo>
                  <a:lnTo>
                    <a:pt x="420" y="42"/>
                  </a:lnTo>
                  <a:lnTo>
                    <a:pt x="420" y="44"/>
                  </a:lnTo>
                  <a:lnTo>
                    <a:pt x="420" y="45"/>
                  </a:lnTo>
                  <a:lnTo>
                    <a:pt x="419" y="45"/>
                  </a:lnTo>
                  <a:lnTo>
                    <a:pt x="418" y="44"/>
                  </a:lnTo>
                  <a:lnTo>
                    <a:pt x="417" y="44"/>
                  </a:lnTo>
                  <a:lnTo>
                    <a:pt x="417" y="42"/>
                  </a:lnTo>
                  <a:lnTo>
                    <a:pt x="416" y="41"/>
                  </a:lnTo>
                  <a:lnTo>
                    <a:pt x="414" y="41"/>
                  </a:lnTo>
                  <a:lnTo>
                    <a:pt x="413" y="40"/>
                  </a:lnTo>
                  <a:lnTo>
                    <a:pt x="414" y="39"/>
                  </a:lnTo>
                  <a:lnTo>
                    <a:pt x="416" y="38"/>
                  </a:lnTo>
                  <a:lnTo>
                    <a:pt x="416" y="36"/>
                  </a:lnTo>
                  <a:lnTo>
                    <a:pt x="416" y="35"/>
                  </a:lnTo>
                  <a:lnTo>
                    <a:pt x="413" y="35"/>
                  </a:lnTo>
                  <a:lnTo>
                    <a:pt x="413" y="36"/>
                  </a:lnTo>
                  <a:lnTo>
                    <a:pt x="413" y="33"/>
                  </a:lnTo>
                  <a:lnTo>
                    <a:pt x="413" y="32"/>
                  </a:lnTo>
                  <a:lnTo>
                    <a:pt x="414" y="32"/>
                  </a:lnTo>
                  <a:lnTo>
                    <a:pt x="417" y="32"/>
                  </a:lnTo>
                  <a:lnTo>
                    <a:pt x="419" y="30"/>
                  </a:lnTo>
                  <a:lnTo>
                    <a:pt x="420" y="30"/>
                  </a:lnTo>
                  <a:lnTo>
                    <a:pt x="420" y="29"/>
                  </a:lnTo>
                  <a:lnTo>
                    <a:pt x="418" y="29"/>
                  </a:lnTo>
                  <a:lnTo>
                    <a:pt x="414" y="29"/>
                  </a:lnTo>
                  <a:lnTo>
                    <a:pt x="412" y="29"/>
                  </a:lnTo>
                  <a:lnTo>
                    <a:pt x="412" y="27"/>
                  </a:lnTo>
                  <a:lnTo>
                    <a:pt x="412" y="26"/>
                  </a:lnTo>
                  <a:lnTo>
                    <a:pt x="411" y="23"/>
                  </a:lnTo>
                  <a:lnTo>
                    <a:pt x="411" y="18"/>
                  </a:lnTo>
                  <a:lnTo>
                    <a:pt x="411" y="15"/>
                  </a:lnTo>
                  <a:lnTo>
                    <a:pt x="410" y="16"/>
                  </a:lnTo>
                  <a:lnTo>
                    <a:pt x="410" y="23"/>
                  </a:lnTo>
                  <a:lnTo>
                    <a:pt x="410" y="28"/>
                  </a:lnTo>
                  <a:lnTo>
                    <a:pt x="410" y="32"/>
                  </a:lnTo>
                  <a:lnTo>
                    <a:pt x="411" y="34"/>
                  </a:lnTo>
                  <a:lnTo>
                    <a:pt x="412" y="36"/>
                  </a:lnTo>
                  <a:lnTo>
                    <a:pt x="411" y="39"/>
                  </a:lnTo>
                  <a:lnTo>
                    <a:pt x="410" y="38"/>
                  </a:lnTo>
                  <a:lnTo>
                    <a:pt x="408" y="35"/>
                  </a:lnTo>
                  <a:lnTo>
                    <a:pt x="408" y="36"/>
                  </a:lnTo>
                  <a:lnTo>
                    <a:pt x="407" y="38"/>
                  </a:lnTo>
                  <a:lnTo>
                    <a:pt x="407" y="39"/>
                  </a:lnTo>
                  <a:lnTo>
                    <a:pt x="406" y="41"/>
                  </a:lnTo>
                  <a:lnTo>
                    <a:pt x="405" y="41"/>
                  </a:lnTo>
                  <a:lnTo>
                    <a:pt x="404" y="40"/>
                  </a:lnTo>
                  <a:lnTo>
                    <a:pt x="402" y="38"/>
                  </a:lnTo>
                  <a:lnTo>
                    <a:pt x="402" y="36"/>
                  </a:lnTo>
                  <a:lnTo>
                    <a:pt x="404" y="35"/>
                  </a:lnTo>
                  <a:lnTo>
                    <a:pt x="405" y="34"/>
                  </a:lnTo>
                  <a:lnTo>
                    <a:pt x="406" y="33"/>
                  </a:lnTo>
                  <a:lnTo>
                    <a:pt x="405" y="32"/>
                  </a:lnTo>
                  <a:lnTo>
                    <a:pt x="402" y="33"/>
                  </a:lnTo>
                  <a:lnTo>
                    <a:pt x="401" y="34"/>
                  </a:lnTo>
                  <a:lnTo>
                    <a:pt x="400" y="34"/>
                  </a:lnTo>
                  <a:lnTo>
                    <a:pt x="402" y="33"/>
                  </a:lnTo>
                  <a:lnTo>
                    <a:pt x="402" y="32"/>
                  </a:lnTo>
                  <a:lnTo>
                    <a:pt x="400" y="33"/>
                  </a:lnTo>
                  <a:lnTo>
                    <a:pt x="400" y="32"/>
                  </a:lnTo>
                  <a:lnTo>
                    <a:pt x="401" y="30"/>
                  </a:lnTo>
                  <a:lnTo>
                    <a:pt x="402" y="28"/>
                  </a:lnTo>
                  <a:lnTo>
                    <a:pt x="401" y="27"/>
                  </a:lnTo>
                  <a:lnTo>
                    <a:pt x="400" y="28"/>
                  </a:lnTo>
                  <a:lnTo>
                    <a:pt x="399" y="27"/>
                  </a:lnTo>
                  <a:lnTo>
                    <a:pt x="400" y="26"/>
                  </a:lnTo>
                  <a:lnTo>
                    <a:pt x="402" y="24"/>
                  </a:lnTo>
                  <a:lnTo>
                    <a:pt x="405" y="22"/>
                  </a:lnTo>
                  <a:lnTo>
                    <a:pt x="408" y="17"/>
                  </a:lnTo>
                  <a:lnTo>
                    <a:pt x="408" y="16"/>
                  </a:lnTo>
                  <a:lnTo>
                    <a:pt x="407" y="17"/>
                  </a:lnTo>
                  <a:lnTo>
                    <a:pt x="406" y="17"/>
                  </a:lnTo>
                  <a:lnTo>
                    <a:pt x="400" y="23"/>
                  </a:lnTo>
                  <a:lnTo>
                    <a:pt x="400" y="22"/>
                  </a:lnTo>
                  <a:lnTo>
                    <a:pt x="400" y="21"/>
                  </a:lnTo>
                  <a:lnTo>
                    <a:pt x="401" y="20"/>
                  </a:lnTo>
                  <a:lnTo>
                    <a:pt x="401" y="18"/>
                  </a:lnTo>
                  <a:lnTo>
                    <a:pt x="402" y="17"/>
                  </a:lnTo>
                  <a:lnTo>
                    <a:pt x="401" y="15"/>
                  </a:lnTo>
                  <a:lnTo>
                    <a:pt x="400" y="15"/>
                  </a:lnTo>
                  <a:lnTo>
                    <a:pt x="400" y="16"/>
                  </a:lnTo>
                  <a:lnTo>
                    <a:pt x="400" y="17"/>
                  </a:lnTo>
                  <a:lnTo>
                    <a:pt x="399" y="17"/>
                  </a:lnTo>
                  <a:lnTo>
                    <a:pt x="399" y="15"/>
                  </a:lnTo>
                  <a:lnTo>
                    <a:pt x="399" y="12"/>
                  </a:lnTo>
                  <a:lnTo>
                    <a:pt x="399" y="9"/>
                  </a:lnTo>
                  <a:lnTo>
                    <a:pt x="398" y="9"/>
                  </a:lnTo>
                  <a:lnTo>
                    <a:pt x="398" y="10"/>
                  </a:lnTo>
                  <a:lnTo>
                    <a:pt x="398" y="14"/>
                  </a:lnTo>
                  <a:lnTo>
                    <a:pt x="398" y="17"/>
                  </a:lnTo>
                  <a:lnTo>
                    <a:pt x="398" y="20"/>
                  </a:lnTo>
                  <a:lnTo>
                    <a:pt x="398" y="21"/>
                  </a:lnTo>
                  <a:lnTo>
                    <a:pt x="398" y="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7" name="Freeform 80"/>
            <p:cNvSpPr>
              <a:spLocks/>
            </p:cNvSpPr>
            <p:nvPr userDrawn="1"/>
          </p:nvSpPr>
          <p:spPr bwMode="auto">
            <a:xfrm>
              <a:off x="7605713" y="6399213"/>
              <a:ext cx="211138" cy="236538"/>
            </a:xfrm>
            <a:custGeom>
              <a:avLst/>
              <a:gdLst/>
              <a:ahLst/>
              <a:cxnLst>
                <a:cxn ang="0">
                  <a:pos x="230" y="546"/>
                </a:cxn>
                <a:cxn ang="0">
                  <a:pos x="191" y="515"/>
                </a:cxn>
                <a:cxn ang="0">
                  <a:pos x="202" y="469"/>
                </a:cxn>
                <a:cxn ang="0">
                  <a:pos x="149" y="474"/>
                </a:cxn>
                <a:cxn ang="0">
                  <a:pos x="93" y="499"/>
                </a:cxn>
                <a:cxn ang="0">
                  <a:pos x="67" y="467"/>
                </a:cxn>
                <a:cxn ang="0">
                  <a:pos x="40" y="440"/>
                </a:cxn>
                <a:cxn ang="0">
                  <a:pos x="23" y="395"/>
                </a:cxn>
                <a:cxn ang="0">
                  <a:pos x="14" y="350"/>
                </a:cxn>
                <a:cxn ang="0">
                  <a:pos x="53" y="333"/>
                </a:cxn>
                <a:cxn ang="0">
                  <a:pos x="90" y="323"/>
                </a:cxn>
                <a:cxn ang="0">
                  <a:pos x="103" y="294"/>
                </a:cxn>
                <a:cxn ang="0">
                  <a:pos x="115" y="255"/>
                </a:cxn>
                <a:cxn ang="0">
                  <a:pos x="150" y="238"/>
                </a:cxn>
                <a:cxn ang="0">
                  <a:pos x="155" y="222"/>
                </a:cxn>
                <a:cxn ang="0">
                  <a:pos x="165" y="204"/>
                </a:cxn>
                <a:cxn ang="0">
                  <a:pos x="147" y="195"/>
                </a:cxn>
                <a:cxn ang="0">
                  <a:pos x="162" y="178"/>
                </a:cxn>
                <a:cxn ang="0">
                  <a:pos x="135" y="166"/>
                </a:cxn>
                <a:cxn ang="0">
                  <a:pos x="143" y="143"/>
                </a:cxn>
                <a:cxn ang="0">
                  <a:pos x="127" y="116"/>
                </a:cxn>
                <a:cxn ang="0">
                  <a:pos x="158" y="123"/>
                </a:cxn>
                <a:cxn ang="0">
                  <a:pos x="169" y="93"/>
                </a:cxn>
                <a:cxn ang="0">
                  <a:pos x="196" y="89"/>
                </a:cxn>
                <a:cxn ang="0">
                  <a:pos x="197" y="68"/>
                </a:cxn>
                <a:cxn ang="0">
                  <a:pos x="222" y="61"/>
                </a:cxn>
                <a:cxn ang="0">
                  <a:pos x="224" y="53"/>
                </a:cxn>
                <a:cxn ang="0">
                  <a:pos x="250" y="55"/>
                </a:cxn>
                <a:cxn ang="0">
                  <a:pos x="275" y="82"/>
                </a:cxn>
                <a:cxn ang="0">
                  <a:pos x="294" y="57"/>
                </a:cxn>
                <a:cxn ang="0">
                  <a:pos x="315" y="40"/>
                </a:cxn>
                <a:cxn ang="0">
                  <a:pos x="340" y="6"/>
                </a:cxn>
                <a:cxn ang="0">
                  <a:pos x="362" y="26"/>
                </a:cxn>
                <a:cxn ang="0">
                  <a:pos x="392" y="38"/>
                </a:cxn>
                <a:cxn ang="0">
                  <a:pos x="406" y="59"/>
                </a:cxn>
                <a:cxn ang="0">
                  <a:pos x="428" y="59"/>
                </a:cxn>
                <a:cxn ang="0">
                  <a:pos x="475" y="61"/>
                </a:cxn>
                <a:cxn ang="0">
                  <a:pos x="510" y="80"/>
                </a:cxn>
                <a:cxn ang="0">
                  <a:pos x="530" y="105"/>
                </a:cxn>
                <a:cxn ang="0">
                  <a:pos x="529" y="145"/>
                </a:cxn>
                <a:cxn ang="0">
                  <a:pos x="551" y="162"/>
                </a:cxn>
                <a:cxn ang="0">
                  <a:pos x="547" y="187"/>
                </a:cxn>
                <a:cxn ang="0">
                  <a:pos x="554" y="219"/>
                </a:cxn>
                <a:cxn ang="0">
                  <a:pos x="575" y="235"/>
                </a:cxn>
                <a:cxn ang="0">
                  <a:pos x="583" y="277"/>
                </a:cxn>
                <a:cxn ang="0">
                  <a:pos x="596" y="291"/>
                </a:cxn>
                <a:cxn ang="0">
                  <a:pos x="641" y="301"/>
                </a:cxn>
                <a:cxn ang="0">
                  <a:pos x="635" y="344"/>
                </a:cxn>
                <a:cxn ang="0">
                  <a:pos x="655" y="371"/>
                </a:cxn>
                <a:cxn ang="0">
                  <a:pos x="629" y="377"/>
                </a:cxn>
                <a:cxn ang="0">
                  <a:pos x="640" y="414"/>
                </a:cxn>
                <a:cxn ang="0">
                  <a:pos x="628" y="452"/>
                </a:cxn>
                <a:cxn ang="0">
                  <a:pos x="610" y="474"/>
                </a:cxn>
                <a:cxn ang="0">
                  <a:pos x="589" y="486"/>
                </a:cxn>
                <a:cxn ang="0">
                  <a:pos x="546" y="485"/>
                </a:cxn>
                <a:cxn ang="0">
                  <a:pos x="533" y="462"/>
                </a:cxn>
                <a:cxn ang="0">
                  <a:pos x="505" y="466"/>
                </a:cxn>
                <a:cxn ang="0">
                  <a:pos x="462" y="439"/>
                </a:cxn>
                <a:cxn ang="0">
                  <a:pos x="430" y="471"/>
                </a:cxn>
                <a:cxn ang="0">
                  <a:pos x="421" y="497"/>
                </a:cxn>
                <a:cxn ang="0">
                  <a:pos x="398" y="514"/>
                </a:cxn>
                <a:cxn ang="0">
                  <a:pos x="401" y="543"/>
                </a:cxn>
                <a:cxn ang="0">
                  <a:pos x="330" y="557"/>
                </a:cxn>
              </a:cxnLst>
              <a:rect l="0" t="0" r="r" b="b"/>
              <a:pathLst>
                <a:path w="663" h="742">
                  <a:moveTo>
                    <a:pt x="293" y="737"/>
                  </a:moveTo>
                  <a:lnTo>
                    <a:pt x="291" y="742"/>
                  </a:lnTo>
                  <a:lnTo>
                    <a:pt x="288" y="741"/>
                  </a:lnTo>
                  <a:lnTo>
                    <a:pt x="285" y="741"/>
                  </a:lnTo>
                  <a:lnTo>
                    <a:pt x="283" y="740"/>
                  </a:lnTo>
                  <a:lnTo>
                    <a:pt x="282" y="740"/>
                  </a:lnTo>
                  <a:lnTo>
                    <a:pt x="279" y="741"/>
                  </a:lnTo>
                  <a:lnTo>
                    <a:pt x="275" y="742"/>
                  </a:lnTo>
                  <a:lnTo>
                    <a:pt x="270" y="741"/>
                  </a:lnTo>
                  <a:lnTo>
                    <a:pt x="267" y="741"/>
                  </a:lnTo>
                  <a:lnTo>
                    <a:pt x="257" y="741"/>
                  </a:lnTo>
                  <a:lnTo>
                    <a:pt x="251" y="741"/>
                  </a:lnTo>
                  <a:lnTo>
                    <a:pt x="250" y="739"/>
                  </a:lnTo>
                  <a:lnTo>
                    <a:pt x="253" y="722"/>
                  </a:lnTo>
                  <a:lnTo>
                    <a:pt x="253" y="700"/>
                  </a:lnTo>
                  <a:lnTo>
                    <a:pt x="253" y="693"/>
                  </a:lnTo>
                  <a:lnTo>
                    <a:pt x="255" y="684"/>
                  </a:lnTo>
                  <a:lnTo>
                    <a:pt x="258" y="656"/>
                  </a:lnTo>
                  <a:lnTo>
                    <a:pt x="257" y="651"/>
                  </a:lnTo>
                  <a:lnTo>
                    <a:pt x="256" y="647"/>
                  </a:lnTo>
                  <a:lnTo>
                    <a:pt x="257" y="642"/>
                  </a:lnTo>
                  <a:lnTo>
                    <a:pt x="261" y="638"/>
                  </a:lnTo>
                  <a:lnTo>
                    <a:pt x="262" y="611"/>
                  </a:lnTo>
                  <a:lnTo>
                    <a:pt x="265" y="602"/>
                  </a:lnTo>
                  <a:lnTo>
                    <a:pt x="267" y="597"/>
                  </a:lnTo>
                  <a:lnTo>
                    <a:pt x="267" y="593"/>
                  </a:lnTo>
                  <a:lnTo>
                    <a:pt x="264" y="590"/>
                  </a:lnTo>
                  <a:lnTo>
                    <a:pt x="264" y="585"/>
                  </a:lnTo>
                  <a:lnTo>
                    <a:pt x="267" y="577"/>
                  </a:lnTo>
                  <a:lnTo>
                    <a:pt x="271" y="563"/>
                  </a:lnTo>
                  <a:lnTo>
                    <a:pt x="273" y="552"/>
                  </a:lnTo>
                  <a:lnTo>
                    <a:pt x="273" y="539"/>
                  </a:lnTo>
                  <a:lnTo>
                    <a:pt x="270" y="534"/>
                  </a:lnTo>
                  <a:lnTo>
                    <a:pt x="269" y="533"/>
                  </a:lnTo>
                  <a:lnTo>
                    <a:pt x="267" y="538"/>
                  </a:lnTo>
                  <a:lnTo>
                    <a:pt x="265" y="537"/>
                  </a:lnTo>
                  <a:lnTo>
                    <a:pt x="264" y="538"/>
                  </a:lnTo>
                  <a:lnTo>
                    <a:pt x="263" y="537"/>
                  </a:lnTo>
                  <a:lnTo>
                    <a:pt x="262" y="540"/>
                  </a:lnTo>
                  <a:lnTo>
                    <a:pt x="261" y="541"/>
                  </a:lnTo>
                  <a:lnTo>
                    <a:pt x="259" y="543"/>
                  </a:lnTo>
                  <a:lnTo>
                    <a:pt x="256" y="544"/>
                  </a:lnTo>
                  <a:lnTo>
                    <a:pt x="255" y="544"/>
                  </a:lnTo>
                  <a:lnTo>
                    <a:pt x="253" y="544"/>
                  </a:lnTo>
                  <a:lnTo>
                    <a:pt x="248" y="543"/>
                  </a:lnTo>
                  <a:lnTo>
                    <a:pt x="248" y="541"/>
                  </a:lnTo>
                  <a:lnTo>
                    <a:pt x="247" y="540"/>
                  </a:lnTo>
                  <a:lnTo>
                    <a:pt x="246" y="540"/>
                  </a:lnTo>
                  <a:lnTo>
                    <a:pt x="244" y="540"/>
                  </a:lnTo>
                  <a:lnTo>
                    <a:pt x="242" y="539"/>
                  </a:lnTo>
                  <a:lnTo>
                    <a:pt x="241" y="539"/>
                  </a:lnTo>
                  <a:lnTo>
                    <a:pt x="240" y="539"/>
                  </a:lnTo>
                  <a:lnTo>
                    <a:pt x="239" y="540"/>
                  </a:lnTo>
                  <a:lnTo>
                    <a:pt x="238" y="540"/>
                  </a:lnTo>
                  <a:lnTo>
                    <a:pt x="234" y="544"/>
                  </a:lnTo>
                  <a:lnTo>
                    <a:pt x="232" y="545"/>
                  </a:lnTo>
                  <a:lnTo>
                    <a:pt x="230" y="547"/>
                  </a:lnTo>
                  <a:lnTo>
                    <a:pt x="230" y="546"/>
                  </a:lnTo>
                  <a:lnTo>
                    <a:pt x="228" y="545"/>
                  </a:lnTo>
                  <a:lnTo>
                    <a:pt x="227" y="545"/>
                  </a:lnTo>
                  <a:lnTo>
                    <a:pt x="226" y="545"/>
                  </a:lnTo>
                  <a:lnTo>
                    <a:pt x="226" y="544"/>
                  </a:lnTo>
                  <a:lnTo>
                    <a:pt x="224" y="543"/>
                  </a:lnTo>
                  <a:lnTo>
                    <a:pt x="222" y="544"/>
                  </a:lnTo>
                  <a:lnTo>
                    <a:pt x="222" y="545"/>
                  </a:lnTo>
                  <a:lnTo>
                    <a:pt x="221" y="544"/>
                  </a:lnTo>
                  <a:lnTo>
                    <a:pt x="218" y="544"/>
                  </a:lnTo>
                  <a:lnTo>
                    <a:pt x="217" y="543"/>
                  </a:lnTo>
                  <a:lnTo>
                    <a:pt x="215" y="543"/>
                  </a:lnTo>
                  <a:lnTo>
                    <a:pt x="214" y="541"/>
                  </a:lnTo>
                  <a:lnTo>
                    <a:pt x="214" y="540"/>
                  </a:lnTo>
                  <a:lnTo>
                    <a:pt x="212" y="540"/>
                  </a:lnTo>
                  <a:lnTo>
                    <a:pt x="212" y="539"/>
                  </a:lnTo>
                  <a:lnTo>
                    <a:pt x="211" y="538"/>
                  </a:lnTo>
                  <a:lnTo>
                    <a:pt x="212" y="537"/>
                  </a:lnTo>
                  <a:lnTo>
                    <a:pt x="211" y="535"/>
                  </a:lnTo>
                  <a:lnTo>
                    <a:pt x="212" y="534"/>
                  </a:lnTo>
                  <a:lnTo>
                    <a:pt x="212" y="533"/>
                  </a:lnTo>
                  <a:lnTo>
                    <a:pt x="214" y="531"/>
                  </a:lnTo>
                  <a:lnTo>
                    <a:pt x="214" y="528"/>
                  </a:lnTo>
                  <a:lnTo>
                    <a:pt x="212" y="529"/>
                  </a:lnTo>
                  <a:lnTo>
                    <a:pt x="211" y="529"/>
                  </a:lnTo>
                  <a:lnTo>
                    <a:pt x="211" y="532"/>
                  </a:lnTo>
                  <a:lnTo>
                    <a:pt x="210" y="534"/>
                  </a:lnTo>
                  <a:lnTo>
                    <a:pt x="209" y="533"/>
                  </a:lnTo>
                  <a:lnTo>
                    <a:pt x="209" y="532"/>
                  </a:lnTo>
                  <a:lnTo>
                    <a:pt x="208" y="532"/>
                  </a:lnTo>
                  <a:lnTo>
                    <a:pt x="205" y="532"/>
                  </a:lnTo>
                  <a:lnTo>
                    <a:pt x="205" y="531"/>
                  </a:lnTo>
                  <a:lnTo>
                    <a:pt x="205" y="529"/>
                  </a:lnTo>
                  <a:lnTo>
                    <a:pt x="206" y="526"/>
                  </a:lnTo>
                  <a:lnTo>
                    <a:pt x="208" y="525"/>
                  </a:lnTo>
                  <a:lnTo>
                    <a:pt x="208" y="521"/>
                  </a:lnTo>
                  <a:lnTo>
                    <a:pt x="205" y="520"/>
                  </a:lnTo>
                  <a:lnTo>
                    <a:pt x="204" y="519"/>
                  </a:lnTo>
                  <a:lnTo>
                    <a:pt x="204" y="516"/>
                  </a:lnTo>
                  <a:lnTo>
                    <a:pt x="204" y="515"/>
                  </a:lnTo>
                  <a:lnTo>
                    <a:pt x="204" y="513"/>
                  </a:lnTo>
                  <a:lnTo>
                    <a:pt x="204" y="510"/>
                  </a:lnTo>
                  <a:lnTo>
                    <a:pt x="204" y="509"/>
                  </a:lnTo>
                  <a:lnTo>
                    <a:pt x="203" y="508"/>
                  </a:lnTo>
                  <a:lnTo>
                    <a:pt x="202" y="507"/>
                  </a:lnTo>
                  <a:lnTo>
                    <a:pt x="200" y="509"/>
                  </a:lnTo>
                  <a:lnTo>
                    <a:pt x="199" y="509"/>
                  </a:lnTo>
                  <a:lnTo>
                    <a:pt x="197" y="509"/>
                  </a:lnTo>
                  <a:lnTo>
                    <a:pt x="198" y="513"/>
                  </a:lnTo>
                  <a:lnTo>
                    <a:pt x="197" y="514"/>
                  </a:lnTo>
                  <a:lnTo>
                    <a:pt x="197" y="515"/>
                  </a:lnTo>
                  <a:lnTo>
                    <a:pt x="196" y="515"/>
                  </a:lnTo>
                  <a:lnTo>
                    <a:pt x="196" y="516"/>
                  </a:lnTo>
                  <a:lnTo>
                    <a:pt x="194" y="517"/>
                  </a:lnTo>
                  <a:lnTo>
                    <a:pt x="193" y="516"/>
                  </a:lnTo>
                  <a:lnTo>
                    <a:pt x="193" y="517"/>
                  </a:lnTo>
                  <a:lnTo>
                    <a:pt x="192" y="517"/>
                  </a:lnTo>
                  <a:lnTo>
                    <a:pt x="191" y="516"/>
                  </a:lnTo>
                  <a:lnTo>
                    <a:pt x="191" y="515"/>
                  </a:lnTo>
                  <a:lnTo>
                    <a:pt x="188" y="516"/>
                  </a:lnTo>
                  <a:lnTo>
                    <a:pt x="187" y="516"/>
                  </a:lnTo>
                  <a:lnTo>
                    <a:pt x="185" y="515"/>
                  </a:lnTo>
                  <a:lnTo>
                    <a:pt x="183" y="515"/>
                  </a:lnTo>
                  <a:lnTo>
                    <a:pt x="183" y="514"/>
                  </a:lnTo>
                  <a:lnTo>
                    <a:pt x="182" y="513"/>
                  </a:lnTo>
                  <a:lnTo>
                    <a:pt x="182" y="511"/>
                  </a:lnTo>
                  <a:lnTo>
                    <a:pt x="185" y="510"/>
                  </a:lnTo>
                  <a:lnTo>
                    <a:pt x="185" y="508"/>
                  </a:lnTo>
                  <a:lnTo>
                    <a:pt x="186" y="508"/>
                  </a:lnTo>
                  <a:lnTo>
                    <a:pt x="188" y="507"/>
                  </a:lnTo>
                  <a:lnTo>
                    <a:pt x="189" y="505"/>
                  </a:lnTo>
                  <a:lnTo>
                    <a:pt x="193" y="503"/>
                  </a:lnTo>
                  <a:lnTo>
                    <a:pt x="194" y="501"/>
                  </a:lnTo>
                  <a:lnTo>
                    <a:pt x="196" y="501"/>
                  </a:lnTo>
                  <a:lnTo>
                    <a:pt x="198" y="502"/>
                  </a:lnTo>
                  <a:lnTo>
                    <a:pt x="199" y="501"/>
                  </a:lnTo>
                  <a:lnTo>
                    <a:pt x="202" y="499"/>
                  </a:lnTo>
                  <a:lnTo>
                    <a:pt x="203" y="501"/>
                  </a:lnTo>
                  <a:lnTo>
                    <a:pt x="204" y="501"/>
                  </a:lnTo>
                  <a:lnTo>
                    <a:pt x="206" y="502"/>
                  </a:lnTo>
                  <a:lnTo>
                    <a:pt x="208" y="502"/>
                  </a:lnTo>
                  <a:lnTo>
                    <a:pt x="209" y="501"/>
                  </a:lnTo>
                  <a:lnTo>
                    <a:pt x="212" y="502"/>
                  </a:lnTo>
                  <a:lnTo>
                    <a:pt x="214" y="503"/>
                  </a:lnTo>
                  <a:lnTo>
                    <a:pt x="215" y="503"/>
                  </a:lnTo>
                  <a:lnTo>
                    <a:pt x="218" y="503"/>
                  </a:lnTo>
                  <a:lnTo>
                    <a:pt x="222" y="501"/>
                  </a:lnTo>
                  <a:lnTo>
                    <a:pt x="223" y="498"/>
                  </a:lnTo>
                  <a:lnTo>
                    <a:pt x="223" y="492"/>
                  </a:lnTo>
                  <a:lnTo>
                    <a:pt x="224" y="490"/>
                  </a:lnTo>
                  <a:lnTo>
                    <a:pt x="223" y="490"/>
                  </a:lnTo>
                  <a:lnTo>
                    <a:pt x="221" y="493"/>
                  </a:lnTo>
                  <a:lnTo>
                    <a:pt x="221" y="495"/>
                  </a:lnTo>
                  <a:lnTo>
                    <a:pt x="220" y="495"/>
                  </a:lnTo>
                  <a:lnTo>
                    <a:pt x="220" y="492"/>
                  </a:lnTo>
                  <a:lnTo>
                    <a:pt x="217" y="492"/>
                  </a:lnTo>
                  <a:lnTo>
                    <a:pt x="217" y="491"/>
                  </a:lnTo>
                  <a:lnTo>
                    <a:pt x="217" y="490"/>
                  </a:lnTo>
                  <a:lnTo>
                    <a:pt x="216" y="487"/>
                  </a:lnTo>
                  <a:lnTo>
                    <a:pt x="217" y="486"/>
                  </a:lnTo>
                  <a:lnTo>
                    <a:pt x="216" y="485"/>
                  </a:lnTo>
                  <a:lnTo>
                    <a:pt x="216" y="483"/>
                  </a:lnTo>
                  <a:lnTo>
                    <a:pt x="214" y="481"/>
                  </a:lnTo>
                  <a:lnTo>
                    <a:pt x="212" y="480"/>
                  </a:lnTo>
                  <a:lnTo>
                    <a:pt x="211" y="479"/>
                  </a:lnTo>
                  <a:lnTo>
                    <a:pt x="210" y="477"/>
                  </a:lnTo>
                  <a:lnTo>
                    <a:pt x="210" y="475"/>
                  </a:lnTo>
                  <a:lnTo>
                    <a:pt x="210" y="474"/>
                  </a:lnTo>
                  <a:lnTo>
                    <a:pt x="209" y="474"/>
                  </a:lnTo>
                  <a:lnTo>
                    <a:pt x="209" y="472"/>
                  </a:lnTo>
                  <a:lnTo>
                    <a:pt x="210" y="468"/>
                  </a:lnTo>
                  <a:lnTo>
                    <a:pt x="209" y="467"/>
                  </a:lnTo>
                  <a:lnTo>
                    <a:pt x="208" y="467"/>
                  </a:lnTo>
                  <a:lnTo>
                    <a:pt x="205" y="467"/>
                  </a:lnTo>
                  <a:lnTo>
                    <a:pt x="204" y="471"/>
                  </a:lnTo>
                  <a:lnTo>
                    <a:pt x="203" y="471"/>
                  </a:lnTo>
                  <a:lnTo>
                    <a:pt x="202" y="469"/>
                  </a:lnTo>
                  <a:lnTo>
                    <a:pt x="199" y="469"/>
                  </a:lnTo>
                  <a:lnTo>
                    <a:pt x="198" y="469"/>
                  </a:lnTo>
                  <a:lnTo>
                    <a:pt x="196" y="467"/>
                  </a:lnTo>
                  <a:lnTo>
                    <a:pt x="196" y="464"/>
                  </a:lnTo>
                  <a:lnTo>
                    <a:pt x="197" y="463"/>
                  </a:lnTo>
                  <a:lnTo>
                    <a:pt x="185" y="464"/>
                  </a:lnTo>
                  <a:lnTo>
                    <a:pt x="175" y="464"/>
                  </a:lnTo>
                  <a:lnTo>
                    <a:pt x="174" y="468"/>
                  </a:lnTo>
                  <a:lnTo>
                    <a:pt x="174" y="469"/>
                  </a:lnTo>
                  <a:lnTo>
                    <a:pt x="173" y="471"/>
                  </a:lnTo>
                  <a:lnTo>
                    <a:pt x="174" y="472"/>
                  </a:lnTo>
                  <a:lnTo>
                    <a:pt x="175" y="473"/>
                  </a:lnTo>
                  <a:lnTo>
                    <a:pt x="174" y="474"/>
                  </a:lnTo>
                  <a:lnTo>
                    <a:pt x="176" y="475"/>
                  </a:lnTo>
                  <a:lnTo>
                    <a:pt x="175" y="478"/>
                  </a:lnTo>
                  <a:lnTo>
                    <a:pt x="174" y="479"/>
                  </a:lnTo>
                  <a:lnTo>
                    <a:pt x="175" y="483"/>
                  </a:lnTo>
                  <a:lnTo>
                    <a:pt x="176" y="486"/>
                  </a:lnTo>
                  <a:lnTo>
                    <a:pt x="175" y="485"/>
                  </a:lnTo>
                  <a:lnTo>
                    <a:pt x="174" y="485"/>
                  </a:lnTo>
                  <a:lnTo>
                    <a:pt x="174" y="486"/>
                  </a:lnTo>
                  <a:lnTo>
                    <a:pt x="174" y="490"/>
                  </a:lnTo>
                  <a:lnTo>
                    <a:pt x="173" y="490"/>
                  </a:lnTo>
                  <a:lnTo>
                    <a:pt x="170" y="491"/>
                  </a:lnTo>
                  <a:lnTo>
                    <a:pt x="170" y="490"/>
                  </a:lnTo>
                  <a:lnTo>
                    <a:pt x="169" y="489"/>
                  </a:lnTo>
                  <a:lnTo>
                    <a:pt x="168" y="490"/>
                  </a:lnTo>
                  <a:lnTo>
                    <a:pt x="167" y="489"/>
                  </a:lnTo>
                  <a:lnTo>
                    <a:pt x="168" y="485"/>
                  </a:lnTo>
                  <a:lnTo>
                    <a:pt x="168" y="483"/>
                  </a:lnTo>
                  <a:lnTo>
                    <a:pt x="169" y="481"/>
                  </a:lnTo>
                  <a:lnTo>
                    <a:pt x="169" y="478"/>
                  </a:lnTo>
                  <a:lnTo>
                    <a:pt x="167" y="478"/>
                  </a:lnTo>
                  <a:lnTo>
                    <a:pt x="165" y="477"/>
                  </a:lnTo>
                  <a:lnTo>
                    <a:pt x="165" y="473"/>
                  </a:lnTo>
                  <a:lnTo>
                    <a:pt x="165" y="472"/>
                  </a:lnTo>
                  <a:lnTo>
                    <a:pt x="164" y="472"/>
                  </a:lnTo>
                  <a:lnTo>
                    <a:pt x="164" y="477"/>
                  </a:lnTo>
                  <a:lnTo>
                    <a:pt x="164" y="480"/>
                  </a:lnTo>
                  <a:lnTo>
                    <a:pt x="164" y="484"/>
                  </a:lnTo>
                  <a:lnTo>
                    <a:pt x="165" y="486"/>
                  </a:lnTo>
                  <a:lnTo>
                    <a:pt x="163" y="487"/>
                  </a:lnTo>
                  <a:lnTo>
                    <a:pt x="162" y="487"/>
                  </a:lnTo>
                  <a:lnTo>
                    <a:pt x="159" y="490"/>
                  </a:lnTo>
                  <a:lnTo>
                    <a:pt x="157" y="491"/>
                  </a:lnTo>
                  <a:lnTo>
                    <a:pt x="155" y="493"/>
                  </a:lnTo>
                  <a:lnTo>
                    <a:pt x="152" y="492"/>
                  </a:lnTo>
                  <a:lnTo>
                    <a:pt x="151" y="491"/>
                  </a:lnTo>
                  <a:lnTo>
                    <a:pt x="151" y="490"/>
                  </a:lnTo>
                  <a:lnTo>
                    <a:pt x="150" y="490"/>
                  </a:lnTo>
                  <a:lnTo>
                    <a:pt x="150" y="486"/>
                  </a:lnTo>
                  <a:lnTo>
                    <a:pt x="152" y="480"/>
                  </a:lnTo>
                  <a:lnTo>
                    <a:pt x="153" y="478"/>
                  </a:lnTo>
                  <a:lnTo>
                    <a:pt x="155" y="478"/>
                  </a:lnTo>
                  <a:lnTo>
                    <a:pt x="156" y="474"/>
                  </a:lnTo>
                  <a:lnTo>
                    <a:pt x="153" y="474"/>
                  </a:lnTo>
                  <a:lnTo>
                    <a:pt x="152" y="474"/>
                  </a:lnTo>
                  <a:lnTo>
                    <a:pt x="149" y="474"/>
                  </a:lnTo>
                  <a:lnTo>
                    <a:pt x="147" y="471"/>
                  </a:lnTo>
                  <a:lnTo>
                    <a:pt x="147" y="469"/>
                  </a:lnTo>
                  <a:lnTo>
                    <a:pt x="147" y="467"/>
                  </a:lnTo>
                  <a:lnTo>
                    <a:pt x="146" y="467"/>
                  </a:lnTo>
                  <a:lnTo>
                    <a:pt x="146" y="471"/>
                  </a:lnTo>
                  <a:lnTo>
                    <a:pt x="146" y="473"/>
                  </a:lnTo>
                  <a:lnTo>
                    <a:pt x="147" y="475"/>
                  </a:lnTo>
                  <a:lnTo>
                    <a:pt x="147" y="478"/>
                  </a:lnTo>
                  <a:lnTo>
                    <a:pt x="146" y="479"/>
                  </a:lnTo>
                  <a:lnTo>
                    <a:pt x="145" y="480"/>
                  </a:lnTo>
                  <a:lnTo>
                    <a:pt x="144" y="481"/>
                  </a:lnTo>
                  <a:lnTo>
                    <a:pt x="141" y="484"/>
                  </a:lnTo>
                  <a:lnTo>
                    <a:pt x="140" y="483"/>
                  </a:lnTo>
                  <a:lnTo>
                    <a:pt x="139" y="484"/>
                  </a:lnTo>
                  <a:lnTo>
                    <a:pt x="137" y="484"/>
                  </a:lnTo>
                  <a:lnTo>
                    <a:pt x="135" y="484"/>
                  </a:lnTo>
                  <a:lnTo>
                    <a:pt x="130" y="483"/>
                  </a:lnTo>
                  <a:lnTo>
                    <a:pt x="128" y="483"/>
                  </a:lnTo>
                  <a:lnTo>
                    <a:pt x="127" y="481"/>
                  </a:lnTo>
                  <a:lnTo>
                    <a:pt x="124" y="480"/>
                  </a:lnTo>
                  <a:lnTo>
                    <a:pt x="123" y="480"/>
                  </a:lnTo>
                  <a:lnTo>
                    <a:pt x="123" y="481"/>
                  </a:lnTo>
                  <a:lnTo>
                    <a:pt x="124" y="484"/>
                  </a:lnTo>
                  <a:lnTo>
                    <a:pt x="126" y="485"/>
                  </a:lnTo>
                  <a:lnTo>
                    <a:pt x="130" y="489"/>
                  </a:lnTo>
                  <a:lnTo>
                    <a:pt x="132" y="492"/>
                  </a:lnTo>
                  <a:lnTo>
                    <a:pt x="130" y="493"/>
                  </a:lnTo>
                  <a:lnTo>
                    <a:pt x="127" y="493"/>
                  </a:lnTo>
                  <a:lnTo>
                    <a:pt x="124" y="495"/>
                  </a:lnTo>
                  <a:lnTo>
                    <a:pt x="122" y="492"/>
                  </a:lnTo>
                  <a:lnTo>
                    <a:pt x="121" y="492"/>
                  </a:lnTo>
                  <a:lnTo>
                    <a:pt x="120" y="495"/>
                  </a:lnTo>
                  <a:lnTo>
                    <a:pt x="117" y="495"/>
                  </a:lnTo>
                  <a:lnTo>
                    <a:pt x="116" y="495"/>
                  </a:lnTo>
                  <a:lnTo>
                    <a:pt x="115" y="496"/>
                  </a:lnTo>
                  <a:lnTo>
                    <a:pt x="112" y="495"/>
                  </a:lnTo>
                  <a:lnTo>
                    <a:pt x="110" y="493"/>
                  </a:lnTo>
                  <a:lnTo>
                    <a:pt x="109" y="492"/>
                  </a:lnTo>
                  <a:lnTo>
                    <a:pt x="109" y="495"/>
                  </a:lnTo>
                  <a:lnTo>
                    <a:pt x="109" y="497"/>
                  </a:lnTo>
                  <a:lnTo>
                    <a:pt x="106" y="497"/>
                  </a:lnTo>
                  <a:lnTo>
                    <a:pt x="105" y="499"/>
                  </a:lnTo>
                  <a:lnTo>
                    <a:pt x="104" y="499"/>
                  </a:lnTo>
                  <a:lnTo>
                    <a:pt x="100" y="499"/>
                  </a:lnTo>
                  <a:lnTo>
                    <a:pt x="98" y="499"/>
                  </a:lnTo>
                  <a:lnTo>
                    <a:pt x="98" y="497"/>
                  </a:lnTo>
                  <a:lnTo>
                    <a:pt x="100" y="495"/>
                  </a:lnTo>
                  <a:lnTo>
                    <a:pt x="102" y="489"/>
                  </a:lnTo>
                  <a:lnTo>
                    <a:pt x="100" y="485"/>
                  </a:lnTo>
                  <a:lnTo>
                    <a:pt x="99" y="483"/>
                  </a:lnTo>
                  <a:lnTo>
                    <a:pt x="97" y="485"/>
                  </a:lnTo>
                  <a:lnTo>
                    <a:pt x="97" y="487"/>
                  </a:lnTo>
                  <a:lnTo>
                    <a:pt x="97" y="491"/>
                  </a:lnTo>
                  <a:lnTo>
                    <a:pt x="96" y="493"/>
                  </a:lnTo>
                  <a:lnTo>
                    <a:pt x="96" y="496"/>
                  </a:lnTo>
                  <a:lnTo>
                    <a:pt x="97" y="498"/>
                  </a:lnTo>
                  <a:lnTo>
                    <a:pt x="96" y="499"/>
                  </a:lnTo>
                  <a:lnTo>
                    <a:pt x="93" y="499"/>
                  </a:lnTo>
                  <a:lnTo>
                    <a:pt x="92" y="501"/>
                  </a:lnTo>
                  <a:lnTo>
                    <a:pt x="91" y="502"/>
                  </a:lnTo>
                  <a:lnTo>
                    <a:pt x="90" y="501"/>
                  </a:lnTo>
                  <a:lnTo>
                    <a:pt x="88" y="501"/>
                  </a:lnTo>
                  <a:lnTo>
                    <a:pt x="87" y="502"/>
                  </a:lnTo>
                  <a:lnTo>
                    <a:pt x="86" y="503"/>
                  </a:lnTo>
                  <a:lnTo>
                    <a:pt x="85" y="503"/>
                  </a:lnTo>
                  <a:lnTo>
                    <a:pt x="85" y="505"/>
                  </a:lnTo>
                  <a:lnTo>
                    <a:pt x="84" y="505"/>
                  </a:lnTo>
                  <a:lnTo>
                    <a:pt x="82" y="504"/>
                  </a:lnTo>
                  <a:lnTo>
                    <a:pt x="81" y="503"/>
                  </a:lnTo>
                  <a:lnTo>
                    <a:pt x="79" y="505"/>
                  </a:lnTo>
                  <a:lnTo>
                    <a:pt x="78" y="505"/>
                  </a:lnTo>
                  <a:lnTo>
                    <a:pt x="75" y="508"/>
                  </a:lnTo>
                  <a:lnTo>
                    <a:pt x="73" y="507"/>
                  </a:lnTo>
                  <a:lnTo>
                    <a:pt x="75" y="505"/>
                  </a:lnTo>
                  <a:lnTo>
                    <a:pt x="71" y="504"/>
                  </a:lnTo>
                  <a:lnTo>
                    <a:pt x="69" y="503"/>
                  </a:lnTo>
                  <a:lnTo>
                    <a:pt x="70" y="501"/>
                  </a:lnTo>
                  <a:lnTo>
                    <a:pt x="68" y="499"/>
                  </a:lnTo>
                  <a:lnTo>
                    <a:pt x="68" y="498"/>
                  </a:lnTo>
                  <a:lnTo>
                    <a:pt x="68" y="497"/>
                  </a:lnTo>
                  <a:lnTo>
                    <a:pt x="69" y="496"/>
                  </a:lnTo>
                  <a:lnTo>
                    <a:pt x="70" y="495"/>
                  </a:lnTo>
                  <a:lnTo>
                    <a:pt x="71" y="493"/>
                  </a:lnTo>
                  <a:lnTo>
                    <a:pt x="73" y="491"/>
                  </a:lnTo>
                  <a:lnTo>
                    <a:pt x="73" y="490"/>
                  </a:lnTo>
                  <a:lnTo>
                    <a:pt x="75" y="489"/>
                  </a:lnTo>
                  <a:lnTo>
                    <a:pt x="75" y="487"/>
                  </a:lnTo>
                  <a:lnTo>
                    <a:pt x="75" y="485"/>
                  </a:lnTo>
                  <a:lnTo>
                    <a:pt x="76" y="483"/>
                  </a:lnTo>
                  <a:lnTo>
                    <a:pt x="79" y="481"/>
                  </a:lnTo>
                  <a:lnTo>
                    <a:pt x="80" y="481"/>
                  </a:lnTo>
                  <a:lnTo>
                    <a:pt x="81" y="481"/>
                  </a:lnTo>
                  <a:lnTo>
                    <a:pt x="82" y="479"/>
                  </a:lnTo>
                  <a:lnTo>
                    <a:pt x="84" y="479"/>
                  </a:lnTo>
                  <a:lnTo>
                    <a:pt x="85" y="479"/>
                  </a:lnTo>
                  <a:lnTo>
                    <a:pt x="81" y="477"/>
                  </a:lnTo>
                  <a:lnTo>
                    <a:pt x="82" y="475"/>
                  </a:lnTo>
                  <a:lnTo>
                    <a:pt x="82" y="474"/>
                  </a:lnTo>
                  <a:lnTo>
                    <a:pt x="84" y="472"/>
                  </a:lnTo>
                  <a:lnTo>
                    <a:pt x="82" y="472"/>
                  </a:lnTo>
                  <a:lnTo>
                    <a:pt x="82" y="469"/>
                  </a:lnTo>
                  <a:lnTo>
                    <a:pt x="82" y="472"/>
                  </a:lnTo>
                  <a:lnTo>
                    <a:pt x="81" y="473"/>
                  </a:lnTo>
                  <a:lnTo>
                    <a:pt x="80" y="474"/>
                  </a:lnTo>
                  <a:lnTo>
                    <a:pt x="79" y="474"/>
                  </a:lnTo>
                  <a:lnTo>
                    <a:pt x="78" y="473"/>
                  </a:lnTo>
                  <a:lnTo>
                    <a:pt x="76" y="474"/>
                  </a:lnTo>
                  <a:lnTo>
                    <a:pt x="75" y="474"/>
                  </a:lnTo>
                  <a:lnTo>
                    <a:pt x="74" y="474"/>
                  </a:lnTo>
                  <a:lnTo>
                    <a:pt x="70" y="474"/>
                  </a:lnTo>
                  <a:lnTo>
                    <a:pt x="69" y="475"/>
                  </a:lnTo>
                  <a:lnTo>
                    <a:pt x="68" y="474"/>
                  </a:lnTo>
                  <a:lnTo>
                    <a:pt x="67" y="473"/>
                  </a:lnTo>
                  <a:lnTo>
                    <a:pt x="68" y="472"/>
                  </a:lnTo>
                  <a:lnTo>
                    <a:pt x="68" y="469"/>
                  </a:lnTo>
                  <a:lnTo>
                    <a:pt x="67" y="467"/>
                  </a:lnTo>
                  <a:lnTo>
                    <a:pt x="65" y="467"/>
                  </a:lnTo>
                  <a:lnTo>
                    <a:pt x="65" y="466"/>
                  </a:lnTo>
                  <a:lnTo>
                    <a:pt x="65" y="464"/>
                  </a:lnTo>
                  <a:lnTo>
                    <a:pt x="64" y="462"/>
                  </a:lnTo>
                  <a:lnTo>
                    <a:pt x="65" y="461"/>
                  </a:lnTo>
                  <a:lnTo>
                    <a:pt x="67" y="460"/>
                  </a:lnTo>
                  <a:lnTo>
                    <a:pt x="65" y="460"/>
                  </a:lnTo>
                  <a:lnTo>
                    <a:pt x="63" y="461"/>
                  </a:lnTo>
                  <a:lnTo>
                    <a:pt x="61" y="461"/>
                  </a:lnTo>
                  <a:lnTo>
                    <a:pt x="59" y="461"/>
                  </a:lnTo>
                  <a:lnTo>
                    <a:pt x="58" y="458"/>
                  </a:lnTo>
                  <a:lnTo>
                    <a:pt x="57" y="458"/>
                  </a:lnTo>
                  <a:lnTo>
                    <a:pt x="57" y="456"/>
                  </a:lnTo>
                  <a:lnTo>
                    <a:pt x="55" y="456"/>
                  </a:lnTo>
                  <a:lnTo>
                    <a:pt x="53" y="457"/>
                  </a:lnTo>
                  <a:lnTo>
                    <a:pt x="52" y="457"/>
                  </a:lnTo>
                  <a:lnTo>
                    <a:pt x="52" y="458"/>
                  </a:lnTo>
                  <a:lnTo>
                    <a:pt x="51" y="458"/>
                  </a:lnTo>
                  <a:lnTo>
                    <a:pt x="50" y="460"/>
                  </a:lnTo>
                  <a:lnTo>
                    <a:pt x="49" y="460"/>
                  </a:lnTo>
                  <a:lnTo>
                    <a:pt x="45" y="461"/>
                  </a:lnTo>
                  <a:lnTo>
                    <a:pt x="44" y="463"/>
                  </a:lnTo>
                  <a:lnTo>
                    <a:pt x="43" y="463"/>
                  </a:lnTo>
                  <a:lnTo>
                    <a:pt x="40" y="463"/>
                  </a:lnTo>
                  <a:lnTo>
                    <a:pt x="39" y="463"/>
                  </a:lnTo>
                  <a:lnTo>
                    <a:pt x="37" y="466"/>
                  </a:lnTo>
                  <a:lnTo>
                    <a:pt x="35" y="466"/>
                  </a:lnTo>
                  <a:lnTo>
                    <a:pt x="33" y="467"/>
                  </a:lnTo>
                  <a:lnTo>
                    <a:pt x="34" y="467"/>
                  </a:lnTo>
                  <a:lnTo>
                    <a:pt x="33" y="466"/>
                  </a:lnTo>
                  <a:lnTo>
                    <a:pt x="28" y="464"/>
                  </a:lnTo>
                  <a:lnTo>
                    <a:pt x="27" y="464"/>
                  </a:lnTo>
                  <a:lnTo>
                    <a:pt x="26" y="463"/>
                  </a:lnTo>
                  <a:lnTo>
                    <a:pt x="27" y="462"/>
                  </a:lnTo>
                  <a:lnTo>
                    <a:pt x="27" y="460"/>
                  </a:lnTo>
                  <a:lnTo>
                    <a:pt x="29" y="460"/>
                  </a:lnTo>
                  <a:lnTo>
                    <a:pt x="32" y="460"/>
                  </a:lnTo>
                  <a:lnTo>
                    <a:pt x="33" y="458"/>
                  </a:lnTo>
                  <a:lnTo>
                    <a:pt x="34" y="456"/>
                  </a:lnTo>
                  <a:lnTo>
                    <a:pt x="34" y="455"/>
                  </a:lnTo>
                  <a:lnTo>
                    <a:pt x="34" y="452"/>
                  </a:lnTo>
                  <a:lnTo>
                    <a:pt x="35" y="451"/>
                  </a:lnTo>
                  <a:lnTo>
                    <a:pt x="35" y="449"/>
                  </a:lnTo>
                  <a:lnTo>
                    <a:pt x="38" y="449"/>
                  </a:lnTo>
                  <a:lnTo>
                    <a:pt x="39" y="448"/>
                  </a:lnTo>
                  <a:lnTo>
                    <a:pt x="39" y="444"/>
                  </a:lnTo>
                  <a:lnTo>
                    <a:pt x="38" y="445"/>
                  </a:lnTo>
                  <a:lnTo>
                    <a:pt x="37" y="445"/>
                  </a:lnTo>
                  <a:lnTo>
                    <a:pt x="34" y="445"/>
                  </a:lnTo>
                  <a:lnTo>
                    <a:pt x="33" y="444"/>
                  </a:lnTo>
                  <a:lnTo>
                    <a:pt x="35" y="443"/>
                  </a:lnTo>
                  <a:lnTo>
                    <a:pt x="35" y="442"/>
                  </a:lnTo>
                  <a:lnTo>
                    <a:pt x="35" y="440"/>
                  </a:lnTo>
                  <a:lnTo>
                    <a:pt x="35" y="439"/>
                  </a:lnTo>
                  <a:lnTo>
                    <a:pt x="35" y="438"/>
                  </a:lnTo>
                  <a:lnTo>
                    <a:pt x="37" y="438"/>
                  </a:lnTo>
                  <a:lnTo>
                    <a:pt x="39" y="439"/>
                  </a:lnTo>
                  <a:lnTo>
                    <a:pt x="40" y="440"/>
                  </a:lnTo>
                  <a:lnTo>
                    <a:pt x="41" y="438"/>
                  </a:lnTo>
                  <a:lnTo>
                    <a:pt x="43" y="438"/>
                  </a:lnTo>
                  <a:lnTo>
                    <a:pt x="44" y="439"/>
                  </a:lnTo>
                  <a:lnTo>
                    <a:pt x="46" y="439"/>
                  </a:lnTo>
                  <a:lnTo>
                    <a:pt x="49" y="439"/>
                  </a:lnTo>
                  <a:lnTo>
                    <a:pt x="49" y="433"/>
                  </a:lnTo>
                  <a:lnTo>
                    <a:pt x="47" y="431"/>
                  </a:lnTo>
                  <a:lnTo>
                    <a:pt x="45" y="431"/>
                  </a:lnTo>
                  <a:lnTo>
                    <a:pt x="44" y="430"/>
                  </a:lnTo>
                  <a:lnTo>
                    <a:pt x="43" y="428"/>
                  </a:lnTo>
                  <a:lnTo>
                    <a:pt x="44" y="427"/>
                  </a:lnTo>
                  <a:lnTo>
                    <a:pt x="44" y="426"/>
                  </a:lnTo>
                  <a:lnTo>
                    <a:pt x="43" y="425"/>
                  </a:lnTo>
                  <a:lnTo>
                    <a:pt x="44" y="422"/>
                  </a:lnTo>
                  <a:lnTo>
                    <a:pt x="43" y="420"/>
                  </a:lnTo>
                  <a:lnTo>
                    <a:pt x="44" y="419"/>
                  </a:lnTo>
                  <a:lnTo>
                    <a:pt x="44" y="416"/>
                  </a:lnTo>
                  <a:lnTo>
                    <a:pt x="44" y="414"/>
                  </a:lnTo>
                  <a:lnTo>
                    <a:pt x="41" y="413"/>
                  </a:lnTo>
                  <a:lnTo>
                    <a:pt x="39" y="413"/>
                  </a:lnTo>
                  <a:lnTo>
                    <a:pt x="38" y="412"/>
                  </a:lnTo>
                  <a:lnTo>
                    <a:pt x="37" y="412"/>
                  </a:lnTo>
                  <a:lnTo>
                    <a:pt x="34" y="410"/>
                  </a:lnTo>
                  <a:lnTo>
                    <a:pt x="33" y="410"/>
                  </a:lnTo>
                  <a:lnTo>
                    <a:pt x="31" y="408"/>
                  </a:lnTo>
                  <a:lnTo>
                    <a:pt x="29" y="407"/>
                  </a:lnTo>
                  <a:lnTo>
                    <a:pt x="27" y="406"/>
                  </a:lnTo>
                  <a:lnTo>
                    <a:pt x="25" y="404"/>
                  </a:lnTo>
                  <a:lnTo>
                    <a:pt x="23" y="403"/>
                  </a:lnTo>
                  <a:lnTo>
                    <a:pt x="27" y="401"/>
                  </a:lnTo>
                  <a:lnTo>
                    <a:pt x="29" y="400"/>
                  </a:lnTo>
                  <a:lnTo>
                    <a:pt x="32" y="397"/>
                  </a:lnTo>
                  <a:lnTo>
                    <a:pt x="34" y="395"/>
                  </a:lnTo>
                  <a:lnTo>
                    <a:pt x="37" y="395"/>
                  </a:lnTo>
                  <a:lnTo>
                    <a:pt x="38" y="395"/>
                  </a:lnTo>
                  <a:lnTo>
                    <a:pt x="39" y="392"/>
                  </a:lnTo>
                  <a:lnTo>
                    <a:pt x="39" y="391"/>
                  </a:lnTo>
                  <a:lnTo>
                    <a:pt x="40" y="390"/>
                  </a:lnTo>
                  <a:lnTo>
                    <a:pt x="40" y="389"/>
                  </a:lnTo>
                  <a:lnTo>
                    <a:pt x="41" y="386"/>
                  </a:lnTo>
                  <a:lnTo>
                    <a:pt x="41" y="385"/>
                  </a:lnTo>
                  <a:lnTo>
                    <a:pt x="43" y="383"/>
                  </a:lnTo>
                  <a:lnTo>
                    <a:pt x="43" y="379"/>
                  </a:lnTo>
                  <a:lnTo>
                    <a:pt x="41" y="379"/>
                  </a:lnTo>
                  <a:lnTo>
                    <a:pt x="40" y="383"/>
                  </a:lnTo>
                  <a:lnTo>
                    <a:pt x="39" y="384"/>
                  </a:lnTo>
                  <a:lnTo>
                    <a:pt x="39" y="385"/>
                  </a:lnTo>
                  <a:lnTo>
                    <a:pt x="37" y="385"/>
                  </a:lnTo>
                  <a:lnTo>
                    <a:pt x="34" y="386"/>
                  </a:lnTo>
                  <a:lnTo>
                    <a:pt x="34" y="388"/>
                  </a:lnTo>
                  <a:lnTo>
                    <a:pt x="31" y="386"/>
                  </a:lnTo>
                  <a:lnTo>
                    <a:pt x="29" y="388"/>
                  </a:lnTo>
                  <a:lnTo>
                    <a:pt x="28" y="391"/>
                  </a:lnTo>
                  <a:lnTo>
                    <a:pt x="28" y="392"/>
                  </a:lnTo>
                  <a:lnTo>
                    <a:pt x="27" y="395"/>
                  </a:lnTo>
                  <a:lnTo>
                    <a:pt x="26" y="395"/>
                  </a:lnTo>
                  <a:lnTo>
                    <a:pt x="25" y="395"/>
                  </a:lnTo>
                  <a:lnTo>
                    <a:pt x="23" y="395"/>
                  </a:lnTo>
                  <a:lnTo>
                    <a:pt x="22" y="394"/>
                  </a:lnTo>
                  <a:lnTo>
                    <a:pt x="21" y="392"/>
                  </a:lnTo>
                  <a:lnTo>
                    <a:pt x="21" y="391"/>
                  </a:lnTo>
                  <a:lnTo>
                    <a:pt x="22" y="390"/>
                  </a:lnTo>
                  <a:lnTo>
                    <a:pt x="22" y="388"/>
                  </a:lnTo>
                  <a:lnTo>
                    <a:pt x="23" y="388"/>
                  </a:lnTo>
                  <a:lnTo>
                    <a:pt x="25" y="388"/>
                  </a:lnTo>
                  <a:lnTo>
                    <a:pt x="26" y="388"/>
                  </a:lnTo>
                  <a:lnTo>
                    <a:pt x="28" y="388"/>
                  </a:lnTo>
                  <a:lnTo>
                    <a:pt x="29" y="386"/>
                  </a:lnTo>
                  <a:lnTo>
                    <a:pt x="28" y="386"/>
                  </a:lnTo>
                  <a:lnTo>
                    <a:pt x="27" y="385"/>
                  </a:lnTo>
                  <a:lnTo>
                    <a:pt x="26" y="385"/>
                  </a:lnTo>
                  <a:lnTo>
                    <a:pt x="26" y="384"/>
                  </a:lnTo>
                  <a:lnTo>
                    <a:pt x="25" y="382"/>
                  </a:lnTo>
                  <a:lnTo>
                    <a:pt x="25" y="380"/>
                  </a:lnTo>
                  <a:lnTo>
                    <a:pt x="23" y="379"/>
                  </a:lnTo>
                  <a:lnTo>
                    <a:pt x="22" y="379"/>
                  </a:lnTo>
                  <a:lnTo>
                    <a:pt x="22" y="382"/>
                  </a:lnTo>
                  <a:lnTo>
                    <a:pt x="22" y="383"/>
                  </a:lnTo>
                  <a:lnTo>
                    <a:pt x="21" y="384"/>
                  </a:lnTo>
                  <a:lnTo>
                    <a:pt x="20" y="383"/>
                  </a:lnTo>
                  <a:lnTo>
                    <a:pt x="19" y="382"/>
                  </a:lnTo>
                  <a:lnTo>
                    <a:pt x="16" y="383"/>
                  </a:lnTo>
                  <a:lnTo>
                    <a:pt x="15" y="382"/>
                  </a:lnTo>
                  <a:lnTo>
                    <a:pt x="16" y="380"/>
                  </a:lnTo>
                  <a:lnTo>
                    <a:pt x="15" y="379"/>
                  </a:lnTo>
                  <a:lnTo>
                    <a:pt x="14" y="378"/>
                  </a:lnTo>
                  <a:lnTo>
                    <a:pt x="14" y="377"/>
                  </a:lnTo>
                  <a:lnTo>
                    <a:pt x="14" y="376"/>
                  </a:lnTo>
                  <a:lnTo>
                    <a:pt x="14" y="373"/>
                  </a:lnTo>
                  <a:lnTo>
                    <a:pt x="14" y="372"/>
                  </a:lnTo>
                  <a:lnTo>
                    <a:pt x="11" y="372"/>
                  </a:lnTo>
                  <a:lnTo>
                    <a:pt x="9" y="372"/>
                  </a:lnTo>
                  <a:lnTo>
                    <a:pt x="6" y="372"/>
                  </a:lnTo>
                  <a:lnTo>
                    <a:pt x="8" y="368"/>
                  </a:lnTo>
                  <a:lnTo>
                    <a:pt x="6" y="367"/>
                  </a:lnTo>
                  <a:lnTo>
                    <a:pt x="4" y="367"/>
                  </a:lnTo>
                  <a:lnTo>
                    <a:pt x="6" y="366"/>
                  </a:lnTo>
                  <a:lnTo>
                    <a:pt x="8" y="362"/>
                  </a:lnTo>
                  <a:lnTo>
                    <a:pt x="6" y="362"/>
                  </a:lnTo>
                  <a:lnTo>
                    <a:pt x="4" y="362"/>
                  </a:lnTo>
                  <a:lnTo>
                    <a:pt x="4" y="361"/>
                  </a:lnTo>
                  <a:lnTo>
                    <a:pt x="5" y="360"/>
                  </a:lnTo>
                  <a:lnTo>
                    <a:pt x="3" y="357"/>
                  </a:lnTo>
                  <a:lnTo>
                    <a:pt x="0" y="356"/>
                  </a:lnTo>
                  <a:lnTo>
                    <a:pt x="0" y="355"/>
                  </a:lnTo>
                  <a:lnTo>
                    <a:pt x="2" y="354"/>
                  </a:lnTo>
                  <a:lnTo>
                    <a:pt x="2" y="353"/>
                  </a:lnTo>
                  <a:lnTo>
                    <a:pt x="2" y="350"/>
                  </a:lnTo>
                  <a:lnTo>
                    <a:pt x="3" y="349"/>
                  </a:lnTo>
                  <a:lnTo>
                    <a:pt x="4" y="351"/>
                  </a:lnTo>
                  <a:lnTo>
                    <a:pt x="5" y="353"/>
                  </a:lnTo>
                  <a:lnTo>
                    <a:pt x="8" y="353"/>
                  </a:lnTo>
                  <a:lnTo>
                    <a:pt x="9" y="354"/>
                  </a:lnTo>
                  <a:lnTo>
                    <a:pt x="10" y="353"/>
                  </a:lnTo>
                  <a:lnTo>
                    <a:pt x="12" y="351"/>
                  </a:lnTo>
                  <a:lnTo>
                    <a:pt x="14" y="350"/>
                  </a:lnTo>
                  <a:lnTo>
                    <a:pt x="14" y="349"/>
                  </a:lnTo>
                  <a:lnTo>
                    <a:pt x="14" y="347"/>
                  </a:lnTo>
                  <a:lnTo>
                    <a:pt x="15" y="345"/>
                  </a:lnTo>
                  <a:lnTo>
                    <a:pt x="16" y="347"/>
                  </a:lnTo>
                  <a:lnTo>
                    <a:pt x="16" y="349"/>
                  </a:lnTo>
                  <a:lnTo>
                    <a:pt x="19" y="348"/>
                  </a:lnTo>
                  <a:lnTo>
                    <a:pt x="20" y="348"/>
                  </a:lnTo>
                  <a:lnTo>
                    <a:pt x="21" y="344"/>
                  </a:lnTo>
                  <a:lnTo>
                    <a:pt x="22" y="343"/>
                  </a:lnTo>
                  <a:lnTo>
                    <a:pt x="26" y="342"/>
                  </a:lnTo>
                  <a:lnTo>
                    <a:pt x="27" y="342"/>
                  </a:lnTo>
                  <a:lnTo>
                    <a:pt x="27" y="339"/>
                  </a:lnTo>
                  <a:lnTo>
                    <a:pt x="26" y="337"/>
                  </a:lnTo>
                  <a:lnTo>
                    <a:pt x="25" y="336"/>
                  </a:lnTo>
                  <a:lnTo>
                    <a:pt x="23" y="332"/>
                  </a:lnTo>
                  <a:lnTo>
                    <a:pt x="23" y="330"/>
                  </a:lnTo>
                  <a:lnTo>
                    <a:pt x="22" y="329"/>
                  </a:lnTo>
                  <a:lnTo>
                    <a:pt x="23" y="327"/>
                  </a:lnTo>
                  <a:lnTo>
                    <a:pt x="23" y="326"/>
                  </a:lnTo>
                  <a:lnTo>
                    <a:pt x="25" y="327"/>
                  </a:lnTo>
                  <a:lnTo>
                    <a:pt x="26" y="327"/>
                  </a:lnTo>
                  <a:lnTo>
                    <a:pt x="29" y="327"/>
                  </a:lnTo>
                  <a:lnTo>
                    <a:pt x="29" y="325"/>
                  </a:lnTo>
                  <a:lnTo>
                    <a:pt x="28" y="323"/>
                  </a:lnTo>
                  <a:lnTo>
                    <a:pt x="29" y="323"/>
                  </a:lnTo>
                  <a:lnTo>
                    <a:pt x="32" y="321"/>
                  </a:lnTo>
                  <a:lnTo>
                    <a:pt x="33" y="321"/>
                  </a:lnTo>
                  <a:lnTo>
                    <a:pt x="35" y="324"/>
                  </a:lnTo>
                  <a:lnTo>
                    <a:pt x="35" y="325"/>
                  </a:lnTo>
                  <a:lnTo>
                    <a:pt x="35" y="326"/>
                  </a:lnTo>
                  <a:lnTo>
                    <a:pt x="35" y="329"/>
                  </a:lnTo>
                  <a:lnTo>
                    <a:pt x="34" y="331"/>
                  </a:lnTo>
                  <a:lnTo>
                    <a:pt x="35" y="331"/>
                  </a:lnTo>
                  <a:lnTo>
                    <a:pt x="38" y="330"/>
                  </a:lnTo>
                  <a:lnTo>
                    <a:pt x="39" y="330"/>
                  </a:lnTo>
                  <a:lnTo>
                    <a:pt x="39" y="327"/>
                  </a:lnTo>
                  <a:lnTo>
                    <a:pt x="39" y="330"/>
                  </a:lnTo>
                  <a:lnTo>
                    <a:pt x="40" y="329"/>
                  </a:lnTo>
                  <a:lnTo>
                    <a:pt x="41" y="329"/>
                  </a:lnTo>
                  <a:lnTo>
                    <a:pt x="43" y="327"/>
                  </a:lnTo>
                  <a:lnTo>
                    <a:pt x="44" y="327"/>
                  </a:lnTo>
                  <a:lnTo>
                    <a:pt x="46" y="327"/>
                  </a:lnTo>
                  <a:lnTo>
                    <a:pt x="49" y="326"/>
                  </a:lnTo>
                  <a:lnTo>
                    <a:pt x="49" y="327"/>
                  </a:lnTo>
                  <a:lnTo>
                    <a:pt x="47" y="327"/>
                  </a:lnTo>
                  <a:lnTo>
                    <a:pt x="46" y="329"/>
                  </a:lnTo>
                  <a:lnTo>
                    <a:pt x="45" y="329"/>
                  </a:lnTo>
                  <a:lnTo>
                    <a:pt x="49" y="327"/>
                  </a:lnTo>
                  <a:lnTo>
                    <a:pt x="46" y="329"/>
                  </a:lnTo>
                  <a:lnTo>
                    <a:pt x="45" y="330"/>
                  </a:lnTo>
                  <a:lnTo>
                    <a:pt x="45" y="331"/>
                  </a:lnTo>
                  <a:lnTo>
                    <a:pt x="46" y="331"/>
                  </a:lnTo>
                  <a:lnTo>
                    <a:pt x="49" y="331"/>
                  </a:lnTo>
                  <a:lnTo>
                    <a:pt x="47" y="330"/>
                  </a:lnTo>
                  <a:lnTo>
                    <a:pt x="50" y="330"/>
                  </a:lnTo>
                  <a:lnTo>
                    <a:pt x="51" y="331"/>
                  </a:lnTo>
                  <a:lnTo>
                    <a:pt x="52" y="332"/>
                  </a:lnTo>
                  <a:lnTo>
                    <a:pt x="53" y="333"/>
                  </a:lnTo>
                  <a:lnTo>
                    <a:pt x="52" y="333"/>
                  </a:lnTo>
                  <a:lnTo>
                    <a:pt x="49" y="332"/>
                  </a:lnTo>
                  <a:lnTo>
                    <a:pt x="49" y="335"/>
                  </a:lnTo>
                  <a:lnTo>
                    <a:pt x="51" y="335"/>
                  </a:lnTo>
                  <a:lnTo>
                    <a:pt x="52" y="335"/>
                  </a:lnTo>
                  <a:lnTo>
                    <a:pt x="53" y="337"/>
                  </a:lnTo>
                  <a:lnTo>
                    <a:pt x="56" y="339"/>
                  </a:lnTo>
                  <a:lnTo>
                    <a:pt x="57" y="339"/>
                  </a:lnTo>
                  <a:lnTo>
                    <a:pt x="58" y="339"/>
                  </a:lnTo>
                  <a:lnTo>
                    <a:pt x="61" y="339"/>
                  </a:lnTo>
                  <a:lnTo>
                    <a:pt x="62" y="338"/>
                  </a:lnTo>
                  <a:lnTo>
                    <a:pt x="63" y="338"/>
                  </a:lnTo>
                  <a:lnTo>
                    <a:pt x="64" y="337"/>
                  </a:lnTo>
                  <a:lnTo>
                    <a:pt x="65" y="335"/>
                  </a:lnTo>
                  <a:lnTo>
                    <a:pt x="67" y="335"/>
                  </a:lnTo>
                  <a:lnTo>
                    <a:pt x="68" y="333"/>
                  </a:lnTo>
                  <a:lnTo>
                    <a:pt x="68" y="331"/>
                  </a:lnTo>
                  <a:lnTo>
                    <a:pt x="68" y="329"/>
                  </a:lnTo>
                  <a:lnTo>
                    <a:pt x="68" y="326"/>
                  </a:lnTo>
                  <a:lnTo>
                    <a:pt x="65" y="327"/>
                  </a:lnTo>
                  <a:lnTo>
                    <a:pt x="65" y="325"/>
                  </a:lnTo>
                  <a:lnTo>
                    <a:pt x="64" y="325"/>
                  </a:lnTo>
                  <a:lnTo>
                    <a:pt x="63" y="324"/>
                  </a:lnTo>
                  <a:lnTo>
                    <a:pt x="64" y="323"/>
                  </a:lnTo>
                  <a:lnTo>
                    <a:pt x="65" y="323"/>
                  </a:lnTo>
                  <a:lnTo>
                    <a:pt x="64" y="321"/>
                  </a:lnTo>
                  <a:lnTo>
                    <a:pt x="63" y="321"/>
                  </a:lnTo>
                  <a:lnTo>
                    <a:pt x="65" y="319"/>
                  </a:lnTo>
                  <a:lnTo>
                    <a:pt x="67" y="320"/>
                  </a:lnTo>
                  <a:lnTo>
                    <a:pt x="68" y="320"/>
                  </a:lnTo>
                  <a:lnTo>
                    <a:pt x="69" y="320"/>
                  </a:lnTo>
                  <a:lnTo>
                    <a:pt x="69" y="318"/>
                  </a:lnTo>
                  <a:lnTo>
                    <a:pt x="70" y="318"/>
                  </a:lnTo>
                  <a:lnTo>
                    <a:pt x="70" y="320"/>
                  </a:lnTo>
                  <a:lnTo>
                    <a:pt x="71" y="320"/>
                  </a:lnTo>
                  <a:lnTo>
                    <a:pt x="73" y="321"/>
                  </a:lnTo>
                  <a:lnTo>
                    <a:pt x="74" y="321"/>
                  </a:lnTo>
                  <a:lnTo>
                    <a:pt x="73" y="324"/>
                  </a:lnTo>
                  <a:lnTo>
                    <a:pt x="73" y="325"/>
                  </a:lnTo>
                  <a:lnTo>
                    <a:pt x="73" y="326"/>
                  </a:lnTo>
                  <a:lnTo>
                    <a:pt x="74" y="325"/>
                  </a:lnTo>
                  <a:lnTo>
                    <a:pt x="73" y="324"/>
                  </a:lnTo>
                  <a:lnTo>
                    <a:pt x="74" y="323"/>
                  </a:lnTo>
                  <a:lnTo>
                    <a:pt x="78" y="323"/>
                  </a:lnTo>
                  <a:lnTo>
                    <a:pt x="76" y="324"/>
                  </a:lnTo>
                  <a:lnTo>
                    <a:pt x="78" y="325"/>
                  </a:lnTo>
                  <a:lnTo>
                    <a:pt x="78" y="326"/>
                  </a:lnTo>
                  <a:lnTo>
                    <a:pt x="81" y="326"/>
                  </a:lnTo>
                  <a:lnTo>
                    <a:pt x="81" y="325"/>
                  </a:lnTo>
                  <a:lnTo>
                    <a:pt x="79" y="324"/>
                  </a:lnTo>
                  <a:lnTo>
                    <a:pt x="81" y="324"/>
                  </a:lnTo>
                  <a:lnTo>
                    <a:pt x="81" y="321"/>
                  </a:lnTo>
                  <a:lnTo>
                    <a:pt x="81" y="320"/>
                  </a:lnTo>
                  <a:lnTo>
                    <a:pt x="82" y="320"/>
                  </a:lnTo>
                  <a:lnTo>
                    <a:pt x="84" y="319"/>
                  </a:lnTo>
                  <a:lnTo>
                    <a:pt x="86" y="320"/>
                  </a:lnTo>
                  <a:lnTo>
                    <a:pt x="87" y="320"/>
                  </a:lnTo>
                  <a:lnTo>
                    <a:pt x="90" y="323"/>
                  </a:lnTo>
                  <a:lnTo>
                    <a:pt x="90" y="321"/>
                  </a:lnTo>
                  <a:lnTo>
                    <a:pt x="90" y="320"/>
                  </a:lnTo>
                  <a:lnTo>
                    <a:pt x="91" y="319"/>
                  </a:lnTo>
                  <a:lnTo>
                    <a:pt x="92" y="320"/>
                  </a:lnTo>
                  <a:lnTo>
                    <a:pt x="92" y="321"/>
                  </a:lnTo>
                  <a:lnTo>
                    <a:pt x="94" y="320"/>
                  </a:lnTo>
                  <a:lnTo>
                    <a:pt x="96" y="319"/>
                  </a:lnTo>
                  <a:lnTo>
                    <a:pt x="97" y="318"/>
                  </a:lnTo>
                  <a:lnTo>
                    <a:pt x="98" y="318"/>
                  </a:lnTo>
                  <a:lnTo>
                    <a:pt x="100" y="319"/>
                  </a:lnTo>
                  <a:lnTo>
                    <a:pt x="99" y="317"/>
                  </a:lnTo>
                  <a:lnTo>
                    <a:pt x="102" y="319"/>
                  </a:lnTo>
                  <a:lnTo>
                    <a:pt x="102" y="318"/>
                  </a:lnTo>
                  <a:lnTo>
                    <a:pt x="103" y="317"/>
                  </a:lnTo>
                  <a:lnTo>
                    <a:pt x="104" y="315"/>
                  </a:lnTo>
                  <a:lnTo>
                    <a:pt x="105" y="315"/>
                  </a:lnTo>
                  <a:lnTo>
                    <a:pt x="105" y="314"/>
                  </a:lnTo>
                  <a:lnTo>
                    <a:pt x="105" y="313"/>
                  </a:lnTo>
                  <a:lnTo>
                    <a:pt x="105" y="312"/>
                  </a:lnTo>
                  <a:lnTo>
                    <a:pt x="104" y="311"/>
                  </a:lnTo>
                  <a:lnTo>
                    <a:pt x="106" y="311"/>
                  </a:lnTo>
                  <a:lnTo>
                    <a:pt x="106" y="309"/>
                  </a:lnTo>
                  <a:lnTo>
                    <a:pt x="109" y="311"/>
                  </a:lnTo>
                  <a:lnTo>
                    <a:pt x="111" y="311"/>
                  </a:lnTo>
                  <a:lnTo>
                    <a:pt x="112" y="309"/>
                  </a:lnTo>
                  <a:lnTo>
                    <a:pt x="111" y="308"/>
                  </a:lnTo>
                  <a:lnTo>
                    <a:pt x="110" y="307"/>
                  </a:lnTo>
                  <a:lnTo>
                    <a:pt x="112" y="307"/>
                  </a:lnTo>
                  <a:lnTo>
                    <a:pt x="112" y="306"/>
                  </a:lnTo>
                  <a:lnTo>
                    <a:pt x="112" y="305"/>
                  </a:lnTo>
                  <a:lnTo>
                    <a:pt x="111" y="303"/>
                  </a:lnTo>
                  <a:lnTo>
                    <a:pt x="112" y="302"/>
                  </a:lnTo>
                  <a:lnTo>
                    <a:pt x="111" y="300"/>
                  </a:lnTo>
                  <a:lnTo>
                    <a:pt x="110" y="300"/>
                  </a:lnTo>
                  <a:lnTo>
                    <a:pt x="109" y="301"/>
                  </a:lnTo>
                  <a:lnTo>
                    <a:pt x="106" y="301"/>
                  </a:lnTo>
                  <a:lnTo>
                    <a:pt x="106" y="300"/>
                  </a:lnTo>
                  <a:lnTo>
                    <a:pt x="108" y="297"/>
                  </a:lnTo>
                  <a:lnTo>
                    <a:pt x="105" y="297"/>
                  </a:lnTo>
                  <a:lnTo>
                    <a:pt x="104" y="299"/>
                  </a:lnTo>
                  <a:lnTo>
                    <a:pt x="104" y="300"/>
                  </a:lnTo>
                  <a:lnTo>
                    <a:pt x="103" y="300"/>
                  </a:lnTo>
                  <a:lnTo>
                    <a:pt x="102" y="300"/>
                  </a:lnTo>
                  <a:lnTo>
                    <a:pt x="100" y="300"/>
                  </a:lnTo>
                  <a:lnTo>
                    <a:pt x="99" y="302"/>
                  </a:lnTo>
                  <a:lnTo>
                    <a:pt x="99" y="301"/>
                  </a:lnTo>
                  <a:lnTo>
                    <a:pt x="97" y="300"/>
                  </a:lnTo>
                  <a:lnTo>
                    <a:pt x="98" y="299"/>
                  </a:lnTo>
                  <a:lnTo>
                    <a:pt x="97" y="297"/>
                  </a:lnTo>
                  <a:lnTo>
                    <a:pt x="94" y="297"/>
                  </a:lnTo>
                  <a:lnTo>
                    <a:pt x="94" y="296"/>
                  </a:lnTo>
                  <a:lnTo>
                    <a:pt x="96" y="295"/>
                  </a:lnTo>
                  <a:lnTo>
                    <a:pt x="98" y="294"/>
                  </a:lnTo>
                  <a:lnTo>
                    <a:pt x="100" y="296"/>
                  </a:lnTo>
                  <a:lnTo>
                    <a:pt x="100" y="295"/>
                  </a:lnTo>
                  <a:lnTo>
                    <a:pt x="102" y="294"/>
                  </a:lnTo>
                  <a:lnTo>
                    <a:pt x="103" y="291"/>
                  </a:lnTo>
                  <a:lnTo>
                    <a:pt x="103" y="294"/>
                  </a:lnTo>
                  <a:lnTo>
                    <a:pt x="104" y="293"/>
                  </a:lnTo>
                  <a:lnTo>
                    <a:pt x="106" y="293"/>
                  </a:lnTo>
                  <a:lnTo>
                    <a:pt x="106" y="291"/>
                  </a:lnTo>
                  <a:lnTo>
                    <a:pt x="110" y="290"/>
                  </a:lnTo>
                  <a:lnTo>
                    <a:pt x="110" y="289"/>
                  </a:lnTo>
                  <a:lnTo>
                    <a:pt x="108" y="289"/>
                  </a:lnTo>
                  <a:lnTo>
                    <a:pt x="106" y="289"/>
                  </a:lnTo>
                  <a:lnTo>
                    <a:pt x="105" y="289"/>
                  </a:lnTo>
                  <a:lnTo>
                    <a:pt x="106" y="288"/>
                  </a:lnTo>
                  <a:lnTo>
                    <a:pt x="105" y="288"/>
                  </a:lnTo>
                  <a:lnTo>
                    <a:pt x="106" y="287"/>
                  </a:lnTo>
                  <a:lnTo>
                    <a:pt x="108" y="285"/>
                  </a:lnTo>
                  <a:lnTo>
                    <a:pt x="109" y="283"/>
                  </a:lnTo>
                  <a:lnTo>
                    <a:pt x="108" y="283"/>
                  </a:lnTo>
                  <a:lnTo>
                    <a:pt x="105" y="283"/>
                  </a:lnTo>
                  <a:lnTo>
                    <a:pt x="104" y="282"/>
                  </a:lnTo>
                  <a:lnTo>
                    <a:pt x="100" y="282"/>
                  </a:lnTo>
                  <a:lnTo>
                    <a:pt x="102" y="282"/>
                  </a:lnTo>
                  <a:lnTo>
                    <a:pt x="104" y="282"/>
                  </a:lnTo>
                  <a:lnTo>
                    <a:pt x="104" y="279"/>
                  </a:lnTo>
                  <a:lnTo>
                    <a:pt x="103" y="279"/>
                  </a:lnTo>
                  <a:lnTo>
                    <a:pt x="103" y="278"/>
                  </a:lnTo>
                  <a:lnTo>
                    <a:pt x="104" y="278"/>
                  </a:lnTo>
                  <a:lnTo>
                    <a:pt x="103" y="277"/>
                  </a:lnTo>
                  <a:lnTo>
                    <a:pt x="100" y="276"/>
                  </a:lnTo>
                  <a:lnTo>
                    <a:pt x="102" y="275"/>
                  </a:lnTo>
                  <a:lnTo>
                    <a:pt x="100" y="273"/>
                  </a:lnTo>
                  <a:lnTo>
                    <a:pt x="102" y="271"/>
                  </a:lnTo>
                  <a:lnTo>
                    <a:pt x="102" y="270"/>
                  </a:lnTo>
                  <a:lnTo>
                    <a:pt x="102" y="269"/>
                  </a:lnTo>
                  <a:lnTo>
                    <a:pt x="104" y="269"/>
                  </a:lnTo>
                  <a:lnTo>
                    <a:pt x="105" y="269"/>
                  </a:lnTo>
                  <a:lnTo>
                    <a:pt x="105" y="267"/>
                  </a:lnTo>
                  <a:lnTo>
                    <a:pt x="105" y="265"/>
                  </a:lnTo>
                  <a:lnTo>
                    <a:pt x="106" y="265"/>
                  </a:lnTo>
                  <a:lnTo>
                    <a:pt x="106" y="266"/>
                  </a:lnTo>
                  <a:lnTo>
                    <a:pt x="108" y="267"/>
                  </a:lnTo>
                  <a:lnTo>
                    <a:pt x="109" y="267"/>
                  </a:lnTo>
                  <a:lnTo>
                    <a:pt x="108" y="265"/>
                  </a:lnTo>
                  <a:lnTo>
                    <a:pt x="109" y="264"/>
                  </a:lnTo>
                  <a:lnTo>
                    <a:pt x="110" y="265"/>
                  </a:lnTo>
                  <a:lnTo>
                    <a:pt x="111" y="264"/>
                  </a:lnTo>
                  <a:lnTo>
                    <a:pt x="111" y="265"/>
                  </a:lnTo>
                  <a:lnTo>
                    <a:pt x="112" y="266"/>
                  </a:lnTo>
                  <a:lnTo>
                    <a:pt x="114" y="264"/>
                  </a:lnTo>
                  <a:lnTo>
                    <a:pt x="114" y="266"/>
                  </a:lnTo>
                  <a:lnTo>
                    <a:pt x="115" y="265"/>
                  </a:lnTo>
                  <a:lnTo>
                    <a:pt x="115" y="264"/>
                  </a:lnTo>
                  <a:lnTo>
                    <a:pt x="117" y="263"/>
                  </a:lnTo>
                  <a:lnTo>
                    <a:pt x="116" y="261"/>
                  </a:lnTo>
                  <a:lnTo>
                    <a:pt x="115" y="260"/>
                  </a:lnTo>
                  <a:lnTo>
                    <a:pt x="116" y="260"/>
                  </a:lnTo>
                  <a:lnTo>
                    <a:pt x="116" y="259"/>
                  </a:lnTo>
                  <a:lnTo>
                    <a:pt x="114" y="258"/>
                  </a:lnTo>
                  <a:lnTo>
                    <a:pt x="115" y="257"/>
                  </a:lnTo>
                  <a:lnTo>
                    <a:pt x="116" y="257"/>
                  </a:lnTo>
                  <a:lnTo>
                    <a:pt x="116" y="255"/>
                  </a:lnTo>
                  <a:lnTo>
                    <a:pt x="115" y="255"/>
                  </a:lnTo>
                  <a:lnTo>
                    <a:pt x="114" y="254"/>
                  </a:lnTo>
                  <a:lnTo>
                    <a:pt x="115" y="254"/>
                  </a:lnTo>
                  <a:lnTo>
                    <a:pt x="116" y="254"/>
                  </a:lnTo>
                  <a:lnTo>
                    <a:pt x="116" y="252"/>
                  </a:lnTo>
                  <a:lnTo>
                    <a:pt x="117" y="252"/>
                  </a:lnTo>
                  <a:lnTo>
                    <a:pt x="117" y="250"/>
                  </a:lnTo>
                  <a:lnTo>
                    <a:pt x="116" y="249"/>
                  </a:lnTo>
                  <a:lnTo>
                    <a:pt x="118" y="249"/>
                  </a:lnTo>
                  <a:lnTo>
                    <a:pt x="120" y="249"/>
                  </a:lnTo>
                  <a:lnTo>
                    <a:pt x="120" y="248"/>
                  </a:lnTo>
                  <a:lnTo>
                    <a:pt x="121" y="248"/>
                  </a:lnTo>
                  <a:lnTo>
                    <a:pt x="122" y="247"/>
                  </a:lnTo>
                  <a:lnTo>
                    <a:pt x="123" y="246"/>
                  </a:lnTo>
                  <a:lnTo>
                    <a:pt x="123" y="244"/>
                  </a:lnTo>
                  <a:lnTo>
                    <a:pt x="124" y="244"/>
                  </a:lnTo>
                  <a:lnTo>
                    <a:pt x="124" y="243"/>
                  </a:lnTo>
                  <a:lnTo>
                    <a:pt x="126" y="242"/>
                  </a:lnTo>
                  <a:lnTo>
                    <a:pt x="128" y="242"/>
                  </a:lnTo>
                  <a:lnTo>
                    <a:pt x="129" y="242"/>
                  </a:lnTo>
                  <a:lnTo>
                    <a:pt x="130" y="242"/>
                  </a:lnTo>
                  <a:lnTo>
                    <a:pt x="128" y="241"/>
                  </a:lnTo>
                  <a:lnTo>
                    <a:pt x="128" y="240"/>
                  </a:lnTo>
                  <a:lnTo>
                    <a:pt x="128" y="238"/>
                  </a:lnTo>
                  <a:lnTo>
                    <a:pt x="127" y="236"/>
                  </a:lnTo>
                  <a:lnTo>
                    <a:pt x="127" y="235"/>
                  </a:lnTo>
                  <a:lnTo>
                    <a:pt x="127" y="234"/>
                  </a:lnTo>
                  <a:lnTo>
                    <a:pt x="129" y="235"/>
                  </a:lnTo>
                  <a:lnTo>
                    <a:pt x="130" y="235"/>
                  </a:lnTo>
                  <a:lnTo>
                    <a:pt x="135" y="234"/>
                  </a:lnTo>
                  <a:lnTo>
                    <a:pt x="133" y="232"/>
                  </a:lnTo>
                  <a:lnTo>
                    <a:pt x="134" y="232"/>
                  </a:lnTo>
                  <a:lnTo>
                    <a:pt x="135" y="234"/>
                  </a:lnTo>
                  <a:lnTo>
                    <a:pt x="135" y="235"/>
                  </a:lnTo>
                  <a:lnTo>
                    <a:pt x="135" y="236"/>
                  </a:lnTo>
                  <a:lnTo>
                    <a:pt x="137" y="236"/>
                  </a:lnTo>
                  <a:lnTo>
                    <a:pt x="137" y="235"/>
                  </a:lnTo>
                  <a:lnTo>
                    <a:pt x="138" y="234"/>
                  </a:lnTo>
                  <a:lnTo>
                    <a:pt x="139" y="232"/>
                  </a:lnTo>
                  <a:lnTo>
                    <a:pt x="139" y="231"/>
                  </a:lnTo>
                  <a:lnTo>
                    <a:pt x="140" y="232"/>
                  </a:lnTo>
                  <a:lnTo>
                    <a:pt x="141" y="231"/>
                  </a:lnTo>
                  <a:lnTo>
                    <a:pt x="141" y="232"/>
                  </a:lnTo>
                  <a:lnTo>
                    <a:pt x="141" y="235"/>
                  </a:lnTo>
                  <a:lnTo>
                    <a:pt x="141" y="234"/>
                  </a:lnTo>
                  <a:lnTo>
                    <a:pt x="141" y="232"/>
                  </a:lnTo>
                  <a:lnTo>
                    <a:pt x="140" y="230"/>
                  </a:lnTo>
                  <a:lnTo>
                    <a:pt x="140" y="229"/>
                  </a:lnTo>
                  <a:lnTo>
                    <a:pt x="143" y="231"/>
                  </a:lnTo>
                  <a:lnTo>
                    <a:pt x="143" y="232"/>
                  </a:lnTo>
                  <a:lnTo>
                    <a:pt x="144" y="231"/>
                  </a:lnTo>
                  <a:lnTo>
                    <a:pt x="146" y="232"/>
                  </a:lnTo>
                  <a:lnTo>
                    <a:pt x="146" y="231"/>
                  </a:lnTo>
                  <a:lnTo>
                    <a:pt x="147" y="234"/>
                  </a:lnTo>
                  <a:lnTo>
                    <a:pt x="147" y="235"/>
                  </a:lnTo>
                  <a:lnTo>
                    <a:pt x="149" y="235"/>
                  </a:lnTo>
                  <a:lnTo>
                    <a:pt x="150" y="235"/>
                  </a:lnTo>
                  <a:lnTo>
                    <a:pt x="150" y="237"/>
                  </a:lnTo>
                  <a:lnTo>
                    <a:pt x="150" y="238"/>
                  </a:lnTo>
                  <a:lnTo>
                    <a:pt x="151" y="237"/>
                  </a:lnTo>
                  <a:lnTo>
                    <a:pt x="153" y="236"/>
                  </a:lnTo>
                  <a:lnTo>
                    <a:pt x="153" y="237"/>
                  </a:lnTo>
                  <a:lnTo>
                    <a:pt x="152" y="238"/>
                  </a:lnTo>
                  <a:lnTo>
                    <a:pt x="152" y="240"/>
                  </a:lnTo>
                  <a:lnTo>
                    <a:pt x="153" y="241"/>
                  </a:lnTo>
                  <a:lnTo>
                    <a:pt x="155" y="238"/>
                  </a:lnTo>
                  <a:lnTo>
                    <a:pt x="156" y="238"/>
                  </a:lnTo>
                  <a:lnTo>
                    <a:pt x="158" y="237"/>
                  </a:lnTo>
                  <a:lnTo>
                    <a:pt x="158" y="234"/>
                  </a:lnTo>
                  <a:lnTo>
                    <a:pt x="159" y="235"/>
                  </a:lnTo>
                  <a:lnTo>
                    <a:pt x="161" y="235"/>
                  </a:lnTo>
                  <a:lnTo>
                    <a:pt x="163" y="234"/>
                  </a:lnTo>
                  <a:lnTo>
                    <a:pt x="164" y="231"/>
                  </a:lnTo>
                  <a:lnTo>
                    <a:pt x="165" y="230"/>
                  </a:lnTo>
                  <a:lnTo>
                    <a:pt x="167" y="229"/>
                  </a:lnTo>
                  <a:lnTo>
                    <a:pt x="170" y="228"/>
                  </a:lnTo>
                  <a:lnTo>
                    <a:pt x="173" y="225"/>
                  </a:lnTo>
                  <a:lnTo>
                    <a:pt x="173" y="223"/>
                  </a:lnTo>
                  <a:lnTo>
                    <a:pt x="171" y="223"/>
                  </a:lnTo>
                  <a:lnTo>
                    <a:pt x="170" y="225"/>
                  </a:lnTo>
                  <a:lnTo>
                    <a:pt x="169" y="225"/>
                  </a:lnTo>
                  <a:lnTo>
                    <a:pt x="168" y="224"/>
                  </a:lnTo>
                  <a:lnTo>
                    <a:pt x="168" y="222"/>
                  </a:lnTo>
                  <a:lnTo>
                    <a:pt x="167" y="222"/>
                  </a:lnTo>
                  <a:lnTo>
                    <a:pt x="167" y="223"/>
                  </a:lnTo>
                  <a:lnTo>
                    <a:pt x="167" y="224"/>
                  </a:lnTo>
                  <a:lnTo>
                    <a:pt x="165" y="225"/>
                  </a:lnTo>
                  <a:lnTo>
                    <a:pt x="165" y="224"/>
                  </a:lnTo>
                  <a:lnTo>
                    <a:pt x="164" y="225"/>
                  </a:lnTo>
                  <a:lnTo>
                    <a:pt x="164" y="224"/>
                  </a:lnTo>
                  <a:lnTo>
                    <a:pt x="163" y="225"/>
                  </a:lnTo>
                  <a:lnTo>
                    <a:pt x="162" y="226"/>
                  </a:lnTo>
                  <a:lnTo>
                    <a:pt x="162" y="225"/>
                  </a:lnTo>
                  <a:lnTo>
                    <a:pt x="162" y="226"/>
                  </a:lnTo>
                  <a:lnTo>
                    <a:pt x="161" y="229"/>
                  </a:lnTo>
                  <a:lnTo>
                    <a:pt x="159" y="226"/>
                  </a:lnTo>
                  <a:lnTo>
                    <a:pt x="158" y="228"/>
                  </a:lnTo>
                  <a:lnTo>
                    <a:pt x="157" y="228"/>
                  </a:lnTo>
                  <a:lnTo>
                    <a:pt x="156" y="226"/>
                  </a:lnTo>
                  <a:lnTo>
                    <a:pt x="156" y="225"/>
                  </a:lnTo>
                  <a:lnTo>
                    <a:pt x="155" y="225"/>
                  </a:lnTo>
                  <a:lnTo>
                    <a:pt x="155" y="228"/>
                  </a:lnTo>
                  <a:lnTo>
                    <a:pt x="155" y="229"/>
                  </a:lnTo>
                  <a:lnTo>
                    <a:pt x="155" y="230"/>
                  </a:lnTo>
                  <a:lnTo>
                    <a:pt x="155" y="232"/>
                  </a:lnTo>
                  <a:lnTo>
                    <a:pt x="155" y="234"/>
                  </a:lnTo>
                  <a:lnTo>
                    <a:pt x="153" y="232"/>
                  </a:lnTo>
                  <a:lnTo>
                    <a:pt x="152" y="231"/>
                  </a:lnTo>
                  <a:lnTo>
                    <a:pt x="152" y="230"/>
                  </a:lnTo>
                  <a:lnTo>
                    <a:pt x="150" y="230"/>
                  </a:lnTo>
                  <a:lnTo>
                    <a:pt x="149" y="230"/>
                  </a:lnTo>
                  <a:lnTo>
                    <a:pt x="147" y="229"/>
                  </a:lnTo>
                  <a:lnTo>
                    <a:pt x="147" y="228"/>
                  </a:lnTo>
                  <a:lnTo>
                    <a:pt x="149" y="226"/>
                  </a:lnTo>
                  <a:lnTo>
                    <a:pt x="152" y="223"/>
                  </a:lnTo>
                  <a:lnTo>
                    <a:pt x="152" y="222"/>
                  </a:lnTo>
                  <a:lnTo>
                    <a:pt x="155" y="222"/>
                  </a:lnTo>
                  <a:lnTo>
                    <a:pt x="153" y="220"/>
                  </a:lnTo>
                  <a:lnTo>
                    <a:pt x="152" y="222"/>
                  </a:lnTo>
                  <a:lnTo>
                    <a:pt x="151" y="222"/>
                  </a:lnTo>
                  <a:lnTo>
                    <a:pt x="150" y="222"/>
                  </a:lnTo>
                  <a:lnTo>
                    <a:pt x="149" y="224"/>
                  </a:lnTo>
                  <a:lnTo>
                    <a:pt x="147" y="224"/>
                  </a:lnTo>
                  <a:lnTo>
                    <a:pt x="146" y="225"/>
                  </a:lnTo>
                  <a:lnTo>
                    <a:pt x="143" y="225"/>
                  </a:lnTo>
                  <a:lnTo>
                    <a:pt x="145" y="224"/>
                  </a:lnTo>
                  <a:lnTo>
                    <a:pt x="146" y="223"/>
                  </a:lnTo>
                  <a:lnTo>
                    <a:pt x="146" y="222"/>
                  </a:lnTo>
                  <a:lnTo>
                    <a:pt x="146" y="219"/>
                  </a:lnTo>
                  <a:lnTo>
                    <a:pt x="144" y="220"/>
                  </a:lnTo>
                  <a:lnTo>
                    <a:pt x="145" y="218"/>
                  </a:lnTo>
                  <a:lnTo>
                    <a:pt x="144" y="218"/>
                  </a:lnTo>
                  <a:lnTo>
                    <a:pt x="143" y="218"/>
                  </a:lnTo>
                  <a:lnTo>
                    <a:pt x="143" y="217"/>
                  </a:lnTo>
                  <a:lnTo>
                    <a:pt x="141" y="216"/>
                  </a:lnTo>
                  <a:lnTo>
                    <a:pt x="140" y="216"/>
                  </a:lnTo>
                  <a:lnTo>
                    <a:pt x="139" y="214"/>
                  </a:lnTo>
                  <a:lnTo>
                    <a:pt x="140" y="214"/>
                  </a:lnTo>
                  <a:lnTo>
                    <a:pt x="141" y="214"/>
                  </a:lnTo>
                  <a:lnTo>
                    <a:pt x="141" y="213"/>
                  </a:lnTo>
                  <a:lnTo>
                    <a:pt x="140" y="212"/>
                  </a:lnTo>
                  <a:lnTo>
                    <a:pt x="143" y="212"/>
                  </a:lnTo>
                  <a:lnTo>
                    <a:pt x="144" y="211"/>
                  </a:lnTo>
                  <a:lnTo>
                    <a:pt x="145" y="211"/>
                  </a:lnTo>
                  <a:lnTo>
                    <a:pt x="144" y="213"/>
                  </a:lnTo>
                  <a:lnTo>
                    <a:pt x="145" y="212"/>
                  </a:lnTo>
                  <a:lnTo>
                    <a:pt x="146" y="213"/>
                  </a:lnTo>
                  <a:lnTo>
                    <a:pt x="146" y="212"/>
                  </a:lnTo>
                  <a:lnTo>
                    <a:pt x="147" y="213"/>
                  </a:lnTo>
                  <a:lnTo>
                    <a:pt x="149" y="213"/>
                  </a:lnTo>
                  <a:lnTo>
                    <a:pt x="150" y="213"/>
                  </a:lnTo>
                  <a:lnTo>
                    <a:pt x="150" y="214"/>
                  </a:lnTo>
                  <a:lnTo>
                    <a:pt x="152" y="214"/>
                  </a:lnTo>
                  <a:lnTo>
                    <a:pt x="152" y="216"/>
                  </a:lnTo>
                  <a:lnTo>
                    <a:pt x="153" y="217"/>
                  </a:lnTo>
                  <a:lnTo>
                    <a:pt x="155" y="217"/>
                  </a:lnTo>
                  <a:lnTo>
                    <a:pt x="155" y="216"/>
                  </a:lnTo>
                  <a:lnTo>
                    <a:pt x="156" y="214"/>
                  </a:lnTo>
                  <a:lnTo>
                    <a:pt x="156" y="212"/>
                  </a:lnTo>
                  <a:lnTo>
                    <a:pt x="157" y="211"/>
                  </a:lnTo>
                  <a:lnTo>
                    <a:pt x="157" y="213"/>
                  </a:lnTo>
                  <a:lnTo>
                    <a:pt x="158" y="214"/>
                  </a:lnTo>
                  <a:lnTo>
                    <a:pt x="159" y="214"/>
                  </a:lnTo>
                  <a:lnTo>
                    <a:pt x="161" y="213"/>
                  </a:lnTo>
                  <a:lnTo>
                    <a:pt x="162" y="212"/>
                  </a:lnTo>
                  <a:lnTo>
                    <a:pt x="164" y="211"/>
                  </a:lnTo>
                  <a:lnTo>
                    <a:pt x="169" y="210"/>
                  </a:lnTo>
                  <a:lnTo>
                    <a:pt x="168" y="208"/>
                  </a:lnTo>
                  <a:lnTo>
                    <a:pt x="168" y="207"/>
                  </a:lnTo>
                  <a:lnTo>
                    <a:pt x="170" y="205"/>
                  </a:lnTo>
                  <a:lnTo>
                    <a:pt x="168" y="205"/>
                  </a:lnTo>
                  <a:lnTo>
                    <a:pt x="167" y="205"/>
                  </a:lnTo>
                  <a:lnTo>
                    <a:pt x="165" y="207"/>
                  </a:lnTo>
                  <a:lnTo>
                    <a:pt x="165" y="205"/>
                  </a:lnTo>
                  <a:lnTo>
                    <a:pt x="165" y="204"/>
                  </a:lnTo>
                  <a:lnTo>
                    <a:pt x="164" y="205"/>
                  </a:lnTo>
                  <a:lnTo>
                    <a:pt x="164" y="207"/>
                  </a:lnTo>
                  <a:lnTo>
                    <a:pt x="163" y="207"/>
                  </a:lnTo>
                  <a:lnTo>
                    <a:pt x="161" y="208"/>
                  </a:lnTo>
                  <a:lnTo>
                    <a:pt x="161" y="207"/>
                  </a:lnTo>
                  <a:lnTo>
                    <a:pt x="159" y="208"/>
                  </a:lnTo>
                  <a:lnTo>
                    <a:pt x="159" y="207"/>
                  </a:lnTo>
                  <a:lnTo>
                    <a:pt x="158" y="208"/>
                  </a:lnTo>
                  <a:lnTo>
                    <a:pt x="158" y="207"/>
                  </a:lnTo>
                  <a:lnTo>
                    <a:pt x="156" y="208"/>
                  </a:lnTo>
                  <a:lnTo>
                    <a:pt x="156" y="207"/>
                  </a:lnTo>
                  <a:lnTo>
                    <a:pt x="155" y="207"/>
                  </a:lnTo>
                  <a:lnTo>
                    <a:pt x="155" y="206"/>
                  </a:lnTo>
                  <a:lnTo>
                    <a:pt x="155" y="205"/>
                  </a:lnTo>
                  <a:lnTo>
                    <a:pt x="158" y="202"/>
                  </a:lnTo>
                  <a:lnTo>
                    <a:pt x="159" y="204"/>
                  </a:lnTo>
                  <a:lnTo>
                    <a:pt x="161" y="204"/>
                  </a:lnTo>
                  <a:lnTo>
                    <a:pt x="161" y="201"/>
                  </a:lnTo>
                  <a:lnTo>
                    <a:pt x="162" y="201"/>
                  </a:lnTo>
                  <a:lnTo>
                    <a:pt x="163" y="200"/>
                  </a:lnTo>
                  <a:lnTo>
                    <a:pt x="164" y="200"/>
                  </a:lnTo>
                  <a:lnTo>
                    <a:pt x="164" y="199"/>
                  </a:lnTo>
                  <a:lnTo>
                    <a:pt x="165" y="199"/>
                  </a:lnTo>
                  <a:lnTo>
                    <a:pt x="167" y="199"/>
                  </a:lnTo>
                  <a:lnTo>
                    <a:pt x="169" y="198"/>
                  </a:lnTo>
                  <a:lnTo>
                    <a:pt x="171" y="196"/>
                  </a:lnTo>
                  <a:lnTo>
                    <a:pt x="174" y="195"/>
                  </a:lnTo>
                  <a:lnTo>
                    <a:pt x="175" y="194"/>
                  </a:lnTo>
                  <a:lnTo>
                    <a:pt x="173" y="194"/>
                  </a:lnTo>
                  <a:lnTo>
                    <a:pt x="171" y="192"/>
                  </a:lnTo>
                  <a:lnTo>
                    <a:pt x="170" y="190"/>
                  </a:lnTo>
                  <a:lnTo>
                    <a:pt x="169" y="192"/>
                  </a:lnTo>
                  <a:lnTo>
                    <a:pt x="167" y="192"/>
                  </a:lnTo>
                  <a:lnTo>
                    <a:pt x="167" y="193"/>
                  </a:lnTo>
                  <a:lnTo>
                    <a:pt x="165" y="196"/>
                  </a:lnTo>
                  <a:lnTo>
                    <a:pt x="165" y="198"/>
                  </a:lnTo>
                  <a:lnTo>
                    <a:pt x="164" y="198"/>
                  </a:lnTo>
                  <a:lnTo>
                    <a:pt x="163" y="198"/>
                  </a:lnTo>
                  <a:lnTo>
                    <a:pt x="162" y="199"/>
                  </a:lnTo>
                  <a:lnTo>
                    <a:pt x="161" y="200"/>
                  </a:lnTo>
                  <a:lnTo>
                    <a:pt x="159" y="200"/>
                  </a:lnTo>
                  <a:lnTo>
                    <a:pt x="158" y="200"/>
                  </a:lnTo>
                  <a:lnTo>
                    <a:pt x="157" y="200"/>
                  </a:lnTo>
                  <a:lnTo>
                    <a:pt x="157" y="201"/>
                  </a:lnTo>
                  <a:lnTo>
                    <a:pt x="156" y="202"/>
                  </a:lnTo>
                  <a:lnTo>
                    <a:pt x="155" y="204"/>
                  </a:lnTo>
                  <a:lnTo>
                    <a:pt x="153" y="201"/>
                  </a:lnTo>
                  <a:lnTo>
                    <a:pt x="152" y="200"/>
                  </a:lnTo>
                  <a:lnTo>
                    <a:pt x="153" y="198"/>
                  </a:lnTo>
                  <a:lnTo>
                    <a:pt x="153" y="196"/>
                  </a:lnTo>
                  <a:lnTo>
                    <a:pt x="152" y="193"/>
                  </a:lnTo>
                  <a:lnTo>
                    <a:pt x="151" y="195"/>
                  </a:lnTo>
                  <a:lnTo>
                    <a:pt x="151" y="199"/>
                  </a:lnTo>
                  <a:lnTo>
                    <a:pt x="150" y="199"/>
                  </a:lnTo>
                  <a:lnTo>
                    <a:pt x="150" y="196"/>
                  </a:lnTo>
                  <a:lnTo>
                    <a:pt x="150" y="195"/>
                  </a:lnTo>
                  <a:lnTo>
                    <a:pt x="149" y="195"/>
                  </a:lnTo>
                  <a:lnTo>
                    <a:pt x="147" y="195"/>
                  </a:lnTo>
                  <a:lnTo>
                    <a:pt x="146" y="198"/>
                  </a:lnTo>
                  <a:lnTo>
                    <a:pt x="146" y="195"/>
                  </a:lnTo>
                  <a:lnTo>
                    <a:pt x="146" y="194"/>
                  </a:lnTo>
                  <a:lnTo>
                    <a:pt x="145" y="194"/>
                  </a:lnTo>
                  <a:lnTo>
                    <a:pt x="144" y="194"/>
                  </a:lnTo>
                  <a:lnTo>
                    <a:pt x="146" y="193"/>
                  </a:lnTo>
                  <a:lnTo>
                    <a:pt x="147" y="193"/>
                  </a:lnTo>
                  <a:lnTo>
                    <a:pt x="149" y="193"/>
                  </a:lnTo>
                  <a:lnTo>
                    <a:pt x="150" y="192"/>
                  </a:lnTo>
                  <a:lnTo>
                    <a:pt x="149" y="190"/>
                  </a:lnTo>
                  <a:lnTo>
                    <a:pt x="147" y="192"/>
                  </a:lnTo>
                  <a:lnTo>
                    <a:pt x="146" y="192"/>
                  </a:lnTo>
                  <a:lnTo>
                    <a:pt x="147" y="189"/>
                  </a:lnTo>
                  <a:lnTo>
                    <a:pt x="146" y="189"/>
                  </a:lnTo>
                  <a:lnTo>
                    <a:pt x="145" y="190"/>
                  </a:lnTo>
                  <a:lnTo>
                    <a:pt x="144" y="190"/>
                  </a:lnTo>
                  <a:lnTo>
                    <a:pt x="143" y="189"/>
                  </a:lnTo>
                  <a:lnTo>
                    <a:pt x="143" y="192"/>
                  </a:lnTo>
                  <a:lnTo>
                    <a:pt x="140" y="190"/>
                  </a:lnTo>
                  <a:lnTo>
                    <a:pt x="139" y="192"/>
                  </a:lnTo>
                  <a:lnTo>
                    <a:pt x="138" y="192"/>
                  </a:lnTo>
                  <a:lnTo>
                    <a:pt x="137" y="190"/>
                  </a:lnTo>
                  <a:lnTo>
                    <a:pt x="138" y="189"/>
                  </a:lnTo>
                  <a:lnTo>
                    <a:pt x="135" y="189"/>
                  </a:lnTo>
                  <a:lnTo>
                    <a:pt x="138" y="187"/>
                  </a:lnTo>
                  <a:lnTo>
                    <a:pt x="137" y="187"/>
                  </a:lnTo>
                  <a:lnTo>
                    <a:pt x="137" y="184"/>
                  </a:lnTo>
                  <a:lnTo>
                    <a:pt x="138" y="184"/>
                  </a:lnTo>
                  <a:lnTo>
                    <a:pt x="140" y="184"/>
                  </a:lnTo>
                  <a:lnTo>
                    <a:pt x="143" y="184"/>
                  </a:lnTo>
                  <a:lnTo>
                    <a:pt x="143" y="182"/>
                  </a:lnTo>
                  <a:lnTo>
                    <a:pt x="144" y="182"/>
                  </a:lnTo>
                  <a:lnTo>
                    <a:pt x="144" y="183"/>
                  </a:lnTo>
                  <a:lnTo>
                    <a:pt x="144" y="186"/>
                  </a:lnTo>
                  <a:lnTo>
                    <a:pt x="145" y="186"/>
                  </a:lnTo>
                  <a:lnTo>
                    <a:pt x="145" y="184"/>
                  </a:lnTo>
                  <a:lnTo>
                    <a:pt x="145" y="182"/>
                  </a:lnTo>
                  <a:lnTo>
                    <a:pt x="146" y="182"/>
                  </a:lnTo>
                  <a:lnTo>
                    <a:pt x="146" y="183"/>
                  </a:lnTo>
                  <a:lnTo>
                    <a:pt x="147" y="183"/>
                  </a:lnTo>
                  <a:lnTo>
                    <a:pt x="147" y="186"/>
                  </a:lnTo>
                  <a:lnTo>
                    <a:pt x="149" y="186"/>
                  </a:lnTo>
                  <a:lnTo>
                    <a:pt x="149" y="187"/>
                  </a:lnTo>
                  <a:lnTo>
                    <a:pt x="150" y="188"/>
                  </a:lnTo>
                  <a:lnTo>
                    <a:pt x="151" y="186"/>
                  </a:lnTo>
                  <a:lnTo>
                    <a:pt x="152" y="184"/>
                  </a:lnTo>
                  <a:lnTo>
                    <a:pt x="153" y="183"/>
                  </a:lnTo>
                  <a:lnTo>
                    <a:pt x="155" y="183"/>
                  </a:lnTo>
                  <a:lnTo>
                    <a:pt x="157" y="183"/>
                  </a:lnTo>
                  <a:lnTo>
                    <a:pt x="157" y="182"/>
                  </a:lnTo>
                  <a:lnTo>
                    <a:pt x="159" y="182"/>
                  </a:lnTo>
                  <a:lnTo>
                    <a:pt x="161" y="183"/>
                  </a:lnTo>
                  <a:lnTo>
                    <a:pt x="161" y="182"/>
                  </a:lnTo>
                  <a:lnTo>
                    <a:pt x="159" y="181"/>
                  </a:lnTo>
                  <a:lnTo>
                    <a:pt x="158" y="180"/>
                  </a:lnTo>
                  <a:lnTo>
                    <a:pt x="158" y="178"/>
                  </a:lnTo>
                  <a:lnTo>
                    <a:pt x="159" y="178"/>
                  </a:lnTo>
                  <a:lnTo>
                    <a:pt x="162" y="178"/>
                  </a:lnTo>
                  <a:lnTo>
                    <a:pt x="163" y="177"/>
                  </a:lnTo>
                  <a:lnTo>
                    <a:pt x="162" y="176"/>
                  </a:lnTo>
                  <a:lnTo>
                    <a:pt x="159" y="176"/>
                  </a:lnTo>
                  <a:lnTo>
                    <a:pt x="158" y="175"/>
                  </a:lnTo>
                  <a:lnTo>
                    <a:pt x="157" y="176"/>
                  </a:lnTo>
                  <a:lnTo>
                    <a:pt x="158" y="176"/>
                  </a:lnTo>
                  <a:lnTo>
                    <a:pt x="157" y="176"/>
                  </a:lnTo>
                  <a:lnTo>
                    <a:pt x="155" y="175"/>
                  </a:lnTo>
                  <a:lnTo>
                    <a:pt x="155" y="176"/>
                  </a:lnTo>
                  <a:lnTo>
                    <a:pt x="153" y="177"/>
                  </a:lnTo>
                  <a:lnTo>
                    <a:pt x="153" y="178"/>
                  </a:lnTo>
                  <a:lnTo>
                    <a:pt x="152" y="178"/>
                  </a:lnTo>
                  <a:lnTo>
                    <a:pt x="151" y="178"/>
                  </a:lnTo>
                  <a:lnTo>
                    <a:pt x="150" y="178"/>
                  </a:lnTo>
                  <a:lnTo>
                    <a:pt x="149" y="180"/>
                  </a:lnTo>
                  <a:lnTo>
                    <a:pt x="147" y="180"/>
                  </a:lnTo>
                  <a:lnTo>
                    <a:pt x="147" y="178"/>
                  </a:lnTo>
                  <a:lnTo>
                    <a:pt x="146" y="177"/>
                  </a:lnTo>
                  <a:lnTo>
                    <a:pt x="145" y="177"/>
                  </a:lnTo>
                  <a:lnTo>
                    <a:pt x="144" y="176"/>
                  </a:lnTo>
                  <a:lnTo>
                    <a:pt x="144" y="177"/>
                  </a:lnTo>
                  <a:lnTo>
                    <a:pt x="143" y="178"/>
                  </a:lnTo>
                  <a:lnTo>
                    <a:pt x="143" y="180"/>
                  </a:lnTo>
                  <a:lnTo>
                    <a:pt x="141" y="178"/>
                  </a:lnTo>
                  <a:lnTo>
                    <a:pt x="138" y="178"/>
                  </a:lnTo>
                  <a:lnTo>
                    <a:pt x="138" y="180"/>
                  </a:lnTo>
                  <a:lnTo>
                    <a:pt x="138" y="181"/>
                  </a:lnTo>
                  <a:lnTo>
                    <a:pt x="138" y="182"/>
                  </a:lnTo>
                  <a:lnTo>
                    <a:pt x="137" y="182"/>
                  </a:lnTo>
                  <a:lnTo>
                    <a:pt x="135" y="181"/>
                  </a:lnTo>
                  <a:lnTo>
                    <a:pt x="134" y="180"/>
                  </a:lnTo>
                  <a:lnTo>
                    <a:pt x="133" y="180"/>
                  </a:lnTo>
                  <a:lnTo>
                    <a:pt x="132" y="180"/>
                  </a:lnTo>
                  <a:lnTo>
                    <a:pt x="132" y="182"/>
                  </a:lnTo>
                  <a:lnTo>
                    <a:pt x="130" y="182"/>
                  </a:lnTo>
                  <a:lnTo>
                    <a:pt x="130" y="181"/>
                  </a:lnTo>
                  <a:lnTo>
                    <a:pt x="129" y="180"/>
                  </a:lnTo>
                  <a:lnTo>
                    <a:pt x="128" y="181"/>
                  </a:lnTo>
                  <a:lnTo>
                    <a:pt x="127" y="181"/>
                  </a:lnTo>
                  <a:lnTo>
                    <a:pt x="126" y="181"/>
                  </a:lnTo>
                  <a:lnTo>
                    <a:pt x="124" y="181"/>
                  </a:lnTo>
                  <a:lnTo>
                    <a:pt x="124" y="180"/>
                  </a:lnTo>
                  <a:lnTo>
                    <a:pt x="126" y="178"/>
                  </a:lnTo>
                  <a:lnTo>
                    <a:pt x="126" y="177"/>
                  </a:lnTo>
                  <a:lnTo>
                    <a:pt x="124" y="177"/>
                  </a:lnTo>
                  <a:lnTo>
                    <a:pt x="126" y="177"/>
                  </a:lnTo>
                  <a:lnTo>
                    <a:pt x="127" y="176"/>
                  </a:lnTo>
                  <a:lnTo>
                    <a:pt x="126" y="175"/>
                  </a:lnTo>
                  <a:lnTo>
                    <a:pt x="126" y="172"/>
                  </a:lnTo>
                  <a:lnTo>
                    <a:pt x="127" y="172"/>
                  </a:lnTo>
                  <a:lnTo>
                    <a:pt x="129" y="174"/>
                  </a:lnTo>
                  <a:lnTo>
                    <a:pt x="130" y="172"/>
                  </a:lnTo>
                  <a:lnTo>
                    <a:pt x="129" y="170"/>
                  </a:lnTo>
                  <a:lnTo>
                    <a:pt x="132" y="170"/>
                  </a:lnTo>
                  <a:lnTo>
                    <a:pt x="132" y="169"/>
                  </a:lnTo>
                  <a:lnTo>
                    <a:pt x="130" y="166"/>
                  </a:lnTo>
                  <a:lnTo>
                    <a:pt x="133" y="166"/>
                  </a:lnTo>
                  <a:lnTo>
                    <a:pt x="135" y="166"/>
                  </a:lnTo>
                  <a:lnTo>
                    <a:pt x="137" y="164"/>
                  </a:lnTo>
                  <a:lnTo>
                    <a:pt x="137" y="163"/>
                  </a:lnTo>
                  <a:lnTo>
                    <a:pt x="137" y="160"/>
                  </a:lnTo>
                  <a:lnTo>
                    <a:pt x="135" y="160"/>
                  </a:lnTo>
                  <a:lnTo>
                    <a:pt x="134" y="162"/>
                  </a:lnTo>
                  <a:lnTo>
                    <a:pt x="132" y="163"/>
                  </a:lnTo>
                  <a:lnTo>
                    <a:pt x="130" y="163"/>
                  </a:lnTo>
                  <a:lnTo>
                    <a:pt x="129" y="163"/>
                  </a:lnTo>
                  <a:lnTo>
                    <a:pt x="129" y="162"/>
                  </a:lnTo>
                  <a:lnTo>
                    <a:pt x="128" y="162"/>
                  </a:lnTo>
                  <a:lnTo>
                    <a:pt x="127" y="164"/>
                  </a:lnTo>
                  <a:lnTo>
                    <a:pt x="126" y="164"/>
                  </a:lnTo>
                  <a:lnTo>
                    <a:pt x="126" y="163"/>
                  </a:lnTo>
                  <a:lnTo>
                    <a:pt x="124" y="163"/>
                  </a:lnTo>
                  <a:lnTo>
                    <a:pt x="123" y="163"/>
                  </a:lnTo>
                  <a:lnTo>
                    <a:pt x="123" y="162"/>
                  </a:lnTo>
                  <a:lnTo>
                    <a:pt x="123" y="159"/>
                  </a:lnTo>
                  <a:lnTo>
                    <a:pt x="122" y="158"/>
                  </a:lnTo>
                  <a:lnTo>
                    <a:pt x="123" y="157"/>
                  </a:lnTo>
                  <a:lnTo>
                    <a:pt x="123" y="156"/>
                  </a:lnTo>
                  <a:lnTo>
                    <a:pt x="126" y="154"/>
                  </a:lnTo>
                  <a:lnTo>
                    <a:pt x="124" y="153"/>
                  </a:lnTo>
                  <a:lnTo>
                    <a:pt x="124" y="152"/>
                  </a:lnTo>
                  <a:lnTo>
                    <a:pt x="126" y="151"/>
                  </a:lnTo>
                  <a:lnTo>
                    <a:pt x="128" y="152"/>
                  </a:lnTo>
                  <a:lnTo>
                    <a:pt x="128" y="151"/>
                  </a:lnTo>
                  <a:lnTo>
                    <a:pt x="128" y="148"/>
                  </a:lnTo>
                  <a:lnTo>
                    <a:pt x="129" y="150"/>
                  </a:lnTo>
                  <a:lnTo>
                    <a:pt x="130" y="148"/>
                  </a:lnTo>
                  <a:lnTo>
                    <a:pt x="132" y="147"/>
                  </a:lnTo>
                  <a:lnTo>
                    <a:pt x="132" y="148"/>
                  </a:lnTo>
                  <a:lnTo>
                    <a:pt x="133" y="150"/>
                  </a:lnTo>
                  <a:lnTo>
                    <a:pt x="133" y="148"/>
                  </a:lnTo>
                  <a:lnTo>
                    <a:pt x="134" y="147"/>
                  </a:lnTo>
                  <a:lnTo>
                    <a:pt x="134" y="150"/>
                  </a:lnTo>
                  <a:lnTo>
                    <a:pt x="135" y="151"/>
                  </a:lnTo>
                  <a:lnTo>
                    <a:pt x="137" y="151"/>
                  </a:lnTo>
                  <a:lnTo>
                    <a:pt x="138" y="152"/>
                  </a:lnTo>
                  <a:lnTo>
                    <a:pt x="139" y="152"/>
                  </a:lnTo>
                  <a:lnTo>
                    <a:pt x="139" y="153"/>
                  </a:lnTo>
                  <a:lnTo>
                    <a:pt x="140" y="153"/>
                  </a:lnTo>
                  <a:lnTo>
                    <a:pt x="141" y="153"/>
                  </a:lnTo>
                  <a:lnTo>
                    <a:pt x="143" y="153"/>
                  </a:lnTo>
                  <a:lnTo>
                    <a:pt x="143" y="152"/>
                  </a:lnTo>
                  <a:lnTo>
                    <a:pt x="141" y="150"/>
                  </a:lnTo>
                  <a:lnTo>
                    <a:pt x="143" y="151"/>
                  </a:lnTo>
                  <a:lnTo>
                    <a:pt x="144" y="152"/>
                  </a:lnTo>
                  <a:lnTo>
                    <a:pt x="145" y="152"/>
                  </a:lnTo>
                  <a:lnTo>
                    <a:pt x="147" y="152"/>
                  </a:lnTo>
                  <a:lnTo>
                    <a:pt x="146" y="151"/>
                  </a:lnTo>
                  <a:lnTo>
                    <a:pt x="145" y="148"/>
                  </a:lnTo>
                  <a:lnTo>
                    <a:pt x="144" y="150"/>
                  </a:lnTo>
                  <a:lnTo>
                    <a:pt x="144" y="147"/>
                  </a:lnTo>
                  <a:lnTo>
                    <a:pt x="145" y="147"/>
                  </a:lnTo>
                  <a:lnTo>
                    <a:pt x="144" y="146"/>
                  </a:lnTo>
                  <a:lnTo>
                    <a:pt x="140" y="146"/>
                  </a:lnTo>
                  <a:lnTo>
                    <a:pt x="141" y="145"/>
                  </a:lnTo>
                  <a:lnTo>
                    <a:pt x="143" y="143"/>
                  </a:lnTo>
                  <a:lnTo>
                    <a:pt x="141" y="142"/>
                  </a:lnTo>
                  <a:lnTo>
                    <a:pt x="140" y="141"/>
                  </a:lnTo>
                  <a:lnTo>
                    <a:pt x="140" y="142"/>
                  </a:lnTo>
                  <a:lnTo>
                    <a:pt x="138" y="143"/>
                  </a:lnTo>
                  <a:lnTo>
                    <a:pt x="138" y="141"/>
                  </a:lnTo>
                  <a:lnTo>
                    <a:pt x="138" y="140"/>
                  </a:lnTo>
                  <a:lnTo>
                    <a:pt x="138" y="139"/>
                  </a:lnTo>
                  <a:lnTo>
                    <a:pt x="140" y="139"/>
                  </a:lnTo>
                  <a:lnTo>
                    <a:pt x="141" y="139"/>
                  </a:lnTo>
                  <a:lnTo>
                    <a:pt x="141" y="137"/>
                  </a:lnTo>
                  <a:lnTo>
                    <a:pt x="140" y="136"/>
                  </a:lnTo>
                  <a:lnTo>
                    <a:pt x="141" y="136"/>
                  </a:lnTo>
                  <a:lnTo>
                    <a:pt x="140" y="134"/>
                  </a:lnTo>
                  <a:lnTo>
                    <a:pt x="139" y="136"/>
                  </a:lnTo>
                  <a:lnTo>
                    <a:pt x="138" y="135"/>
                  </a:lnTo>
                  <a:lnTo>
                    <a:pt x="137" y="136"/>
                  </a:lnTo>
                  <a:lnTo>
                    <a:pt x="135" y="139"/>
                  </a:lnTo>
                  <a:lnTo>
                    <a:pt x="135" y="140"/>
                  </a:lnTo>
                  <a:lnTo>
                    <a:pt x="134" y="141"/>
                  </a:lnTo>
                  <a:lnTo>
                    <a:pt x="133" y="141"/>
                  </a:lnTo>
                  <a:lnTo>
                    <a:pt x="134" y="139"/>
                  </a:lnTo>
                  <a:lnTo>
                    <a:pt x="133" y="139"/>
                  </a:lnTo>
                  <a:lnTo>
                    <a:pt x="135" y="137"/>
                  </a:lnTo>
                  <a:lnTo>
                    <a:pt x="135" y="136"/>
                  </a:lnTo>
                  <a:lnTo>
                    <a:pt x="135" y="135"/>
                  </a:lnTo>
                  <a:lnTo>
                    <a:pt x="135" y="134"/>
                  </a:lnTo>
                  <a:lnTo>
                    <a:pt x="135" y="133"/>
                  </a:lnTo>
                  <a:lnTo>
                    <a:pt x="137" y="131"/>
                  </a:lnTo>
                  <a:lnTo>
                    <a:pt x="138" y="131"/>
                  </a:lnTo>
                  <a:lnTo>
                    <a:pt x="137" y="130"/>
                  </a:lnTo>
                  <a:lnTo>
                    <a:pt x="135" y="130"/>
                  </a:lnTo>
                  <a:lnTo>
                    <a:pt x="135" y="127"/>
                  </a:lnTo>
                  <a:lnTo>
                    <a:pt x="137" y="128"/>
                  </a:lnTo>
                  <a:lnTo>
                    <a:pt x="138" y="129"/>
                  </a:lnTo>
                  <a:lnTo>
                    <a:pt x="138" y="128"/>
                  </a:lnTo>
                  <a:lnTo>
                    <a:pt x="137" y="125"/>
                  </a:lnTo>
                  <a:lnTo>
                    <a:pt x="135" y="123"/>
                  </a:lnTo>
                  <a:lnTo>
                    <a:pt x="134" y="123"/>
                  </a:lnTo>
                  <a:lnTo>
                    <a:pt x="133" y="124"/>
                  </a:lnTo>
                  <a:lnTo>
                    <a:pt x="133" y="125"/>
                  </a:lnTo>
                  <a:lnTo>
                    <a:pt x="130" y="124"/>
                  </a:lnTo>
                  <a:lnTo>
                    <a:pt x="132" y="124"/>
                  </a:lnTo>
                  <a:lnTo>
                    <a:pt x="130" y="124"/>
                  </a:lnTo>
                  <a:lnTo>
                    <a:pt x="128" y="124"/>
                  </a:lnTo>
                  <a:lnTo>
                    <a:pt x="128" y="123"/>
                  </a:lnTo>
                  <a:lnTo>
                    <a:pt x="129" y="122"/>
                  </a:lnTo>
                  <a:lnTo>
                    <a:pt x="130" y="121"/>
                  </a:lnTo>
                  <a:lnTo>
                    <a:pt x="132" y="121"/>
                  </a:lnTo>
                  <a:lnTo>
                    <a:pt x="133" y="119"/>
                  </a:lnTo>
                  <a:lnTo>
                    <a:pt x="133" y="118"/>
                  </a:lnTo>
                  <a:lnTo>
                    <a:pt x="130" y="119"/>
                  </a:lnTo>
                  <a:lnTo>
                    <a:pt x="128" y="121"/>
                  </a:lnTo>
                  <a:lnTo>
                    <a:pt x="129" y="119"/>
                  </a:lnTo>
                  <a:lnTo>
                    <a:pt x="130" y="118"/>
                  </a:lnTo>
                  <a:lnTo>
                    <a:pt x="133" y="117"/>
                  </a:lnTo>
                  <a:lnTo>
                    <a:pt x="132" y="116"/>
                  </a:lnTo>
                  <a:lnTo>
                    <a:pt x="128" y="116"/>
                  </a:lnTo>
                  <a:lnTo>
                    <a:pt x="127" y="116"/>
                  </a:lnTo>
                  <a:lnTo>
                    <a:pt x="127" y="115"/>
                  </a:lnTo>
                  <a:lnTo>
                    <a:pt x="129" y="115"/>
                  </a:lnTo>
                  <a:lnTo>
                    <a:pt x="132" y="115"/>
                  </a:lnTo>
                  <a:lnTo>
                    <a:pt x="130" y="113"/>
                  </a:lnTo>
                  <a:lnTo>
                    <a:pt x="130" y="111"/>
                  </a:lnTo>
                  <a:lnTo>
                    <a:pt x="129" y="110"/>
                  </a:lnTo>
                  <a:lnTo>
                    <a:pt x="130" y="110"/>
                  </a:lnTo>
                  <a:lnTo>
                    <a:pt x="132" y="111"/>
                  </a:lnTo>
                  <a:lnTo>
                    <a:pt x="133" y="112"/>
                  </a:lnTo>
                  <a:lnTo>
                    <a:pt x="134" y="111"/>
                  </a:lnTo>
                  <a:lnTo>
                    <a:pt x="133" y="110"/>
                  </a:lnTo>
                  <a:lnTo>
                    <a:pt x="134" y="110"/>
                  </a:lnTo>
                  <a:lnTo>
                    <a:pt x="135" y="111"/>
                  </a:lnTo>
                  <a:lnTo>
                    <a:pt x="137" y="112"/>
                  </a:lnTo>
                  <a:lnTo>
                    <a:pt x="135" y="110"/>
                  </a:lnTo>
                  <a:lnTo>
                    <a:pt x="135" y="109"/>
                  </a:lnTo>
                  <a:lnTo>
                    <a:pt x="137" y="109"/>
                  </a:lnTo>
                  <a:lnTo>
                    <a:pt x="138" y="109"/>
                  </a:lnTo>
                  <a:lnTo>
                    <a:pt x="137" y="111"/>
                  </a:lnTo>
                  <a:lnTo>
                    <a:pt x="137" y="112"/>
                  </a:lnTo>
                  <a:lnTo>
                    <a:pt x="138" y="112"/>
                  </a:lnTo>
                  <a:lnTo>
                    <a:pt x="140" y="111"/>
                  </a:lnTo>
                  <a:lnTo>
                    <a:pt x="141" y="112"/>
                  </a:lnTo>
                  <a:lnTo>
                    <a:pt x="140" y="112"/>
                  </a:lnTo>
                  <a:lnTo>
                    <a:pt x="139" y="113"/>
                  </a:lnTo>
                  <a:lnTo>
                    <a:pt x="139" y="115"/>
                  </a:lnTo>
                  <a:lnTo>
                    <a:pt x="140" y="115"/>
                  </a:lnTo>
                  <a:lnTo>
                    <a:pt x="139" y="117"/>
                  </a:lnTo>
                  <a:lnTo>
                    <a:pt x="140" y="117"/>
                  </a:lnTo>
                  <a:lnTo>
                    <a:pt x="143" y="118"/>
                  </a:lnTo>
                  <a:lnTo>
                    <a:pt x="144" y="118"/>
                  </a:lnTo>
                  <a:lnTo>
                    <a:pt x="145" y="118"/>
                  </a:lnTo>
                  <a:lnTo>
                    <a:pt x="143" y="119"/>
                  </a:lnTo>
                  <a:lnTo>
                    <a:pt x="144" y="121"/>
                  </a:lnTo>
                  <a:lnTo>
                    <a:pt x="145" y="122"/>
                  </a:lnTo>
                  <a:lnTo>
                    <a:pt x="146" y="123"/>
                  </a:lnTo>
                  <a:lnTo>
                    <a:pt x="146" y="121"/>
                  </a:lnTo>
                  <a:lnTo>
                    <a:pt x="146" y="118"/>
                  </a:lnTo>
                  <a:lnTo>
                    <a:pt x="147" y="118"/>
                  </a:lnTo>
                  <a:lnTo>
                    <a:pt x="147" y="116"/>
                  </a:lnTo>
                  <a:lnTo>
                    <a:pt x="149" y="116"/>
                  </a:lnTo>
                  <a:lnTo>
                    <a:pt x="149" y="117"/>
                  </a:lnTo>
                  <a:lnTo>
                    <a:pt x="150" y="118"/>
                  </a:lnTo>
                  <a:lnTo>
                    <a:pt x="149" y="121"/>
                  </a:lnTo>
                  <a:lnTo>
                    <a:pt x="151" y="123"/>
                  </a:lnTo>
                  <a:lnTo>
                    <a:pt x="151" y="121"/>
                  </a:lnTo>
                  <a:lnTo>
                    <a:pt x="151" y="118"/>
                  </a:lnTo>
                  <a:lnTo>
                    <a:pt x="152" y="117"/>
                  </a:lnTo>
                  <a:lnTo>
                    <a:pt x="152" y="116"/>
                  </a:lnTo>
                  <a:lnTo>
                    <a:pt x="153" y="115"/>
                  </a:lnTo>
                  <a:lnTo>
                    <a:pt x="157" y="115"/>
                  </a:lnTo>
                  <a:lnTo>
                    <a:pt x="157" y="116"/>
                  </a:lnTo>
                  <a:lnTo>
                    <a:pt x="157" y="117"/>
                  </a:lnTo>
                  <a:lnTo>
                    <a:pt x="158" y="118"/>
                  </a:lnTo>
                  <a:lnTo>
                    <a:pt x="159" y="119"/>
                  </a:lnTo>
                  <a:lnTo>
                    <a:pt x="158" y="121"/>
                  </a:lnTo>
                  <a:lnTo>
                    <a:pt x="158" y="122"/>
                  </a:lnTo>
                  <a:lnTo>
                    <a:pt x="158" y="123"/>
                  </a:lnTo>
                  <a:lnTo>
                    <a:pt x="161" y="122"/>
                  </a:lnTo>
                  <a:lnTo>
                    <a:pt x="162" y="122"/>
                  </a:lnTo>
                  <a:lnTo>
                    <a:pt x="162" y="124"/>
                  </a:lnTo>
                  <a:lnTo>
                    <a:pt x="163" y="124"/>
                  </a:lnTo>
                  <a:lnTo>
                    <a:pt x="164" y="125"/>
                  </a:lnTo>
                  <a:lnTo>
                    <a:pt x="165" y="127"/>
                  </a:lnTo>
                  <a:lnTo>
                    <a:pt x="167" y="127"/>
                  </a:lnTo>
                  <a:lnTo>
                    <a:pt x="169" y="128"/>
                  </a:lnTo>
                  <a:lnTo>
                    <a:pt x="169" y="127"/>
                  </a:lnTo>
                  <a:lnTo>
                    <a:pt x="168" y="124"/>
                  </a:lnTo>
                  <a:lnTo>
                    <a:pt x="167" y="124"/>
                  </a:lnTo>
                  <a:lnTo>
                    <a:pt x="165" y="123"/>
                  </a:lnTo>
                  <a:lnTo>
                    <a:pt x="165" y="122"/>
                  </a:lnTo>
                  <a:lnTo>
                    <a:pt x="164" y="119"/>
                  </a:lnTo>
                  <a:lnTo>
                    <a:pt x="164" y="118"/>
                  </a:lnTo>
                  <a:lnTo>
                    <a:pt x="165" y="117"/>
                  </a:lnTo>
                  <a:lnTo>
                    <a:pt x="165" y="116"/>
                  </a:lnTo>
                  <a:lnTo>
                    <a:pt x="165" y="112"/>
                  </a:lnTo>
                  <a:lnTo>
                    <a:pt x="165" y="111"/>
                  </a:lnTo>
                  <a:lnTo>
                    <a:pt x="165" y="112"/>
                  </a:lnTo>
                  <a:lnTo>
                    <a:pt x="167" y="116"/>
                  </a:lnTo>
                  <a:lnTo>
                    <a:pt x="167" y="117"/>
                  </a:lnTo>
                  <a:lnTo>
                    <a:pt x="168" y="116"/>
                  </a:lnTo>
                  <a:lnTo>
                    <a:pt x="169" y="116"/>
                  </a:lnTo>
                  <a:lnTo>
                    <a:pt x="170" y="118"/>
                  </a:lnTo>
                  <a:lnTo>
                    <a:pt x="171" y="118"/>
                  </a:lnTo>
                  <a:lnTo>
                    <a:pt x="173" y="118"/>
                  </a:lnTo>
                  <a:lnTo>
                    <a:pt x="174" y="117"/>
                  </a:lnTo>
                  <a:lnTo>
                    <a:pt x="174" y="116"/>
                  </a:lnTo>
                  <a:lnTo>
                    <a:pt x="174" y="115"/>
                  </a:lnTo>
                  <a:lnTo>
                    <a:pt x="173" y="115"/>
                  </a:lnTo>
                  <a:lnTo>
                    <a:pt x="173" y="113"/>
                  </a:lnTo>
                  <a:lnTo>
                    <a:pt x="171" y="109"/>
                  </a:lnTo>
                  <a:lnTo>
                    <a:pt x="170" y="111"/>
                  </a:lnTo>
                  <a:lnTo>
                    <a:pt x="169" y="110"/>
                  </a:lnTo>
                  <a:lnTo>
                    <a:pt x="168" y="110"/>
                  </a:lnTo>
                  <a:lnTo>
                    <a:pt x="168" y="109"/>
                  </a:lnTo>
                  <a:lnTo>
                    <a:pt x="167" y="110"/>
                  </a:lnTo>
                  <a:lnTo>
                    <a:pt x="165" y="110"/>
                  </a:lnTo>
                  <a:lnTo>
                    <a:pt x="165" y="109"/>
                  </a:lnTo>
                  <a:lnTo>
                    <a:pt x="168" y="106"/>
                  </a:lnTo>
                  <a:lnTo>
                    <a:pt x="167" y="105"/>
                  </a:lnTo>
                  <a:lnTo>
                    <a:pt x="165" y="105"/>
                  </a:lnTo>
                  <a:lnTo>
                    <a:pt x="164" y="106"/>
                  </a:lnTo>
                  <a:lnTo>
                    <a:pt x="163" y="109"/>
                  </a:lnTo>
                  <a:lnTo>
                    <a:pt x="161" y="109"/>
                  </a:lnTo>
                  <a:lnTo>
                    <a:pt x="162" y="107"/>
                  </a:lnTo>
                  <a:lnTo>
                    <a:pt x="163" y="105"/>
                  </a:lnTo>
                  <a:lnTo>
                    <a:pt x="164" y="104"/>
                  </a:lnTo>
                  <a:lnTo>
                    <a:pt x="164" y="103"/>
                  </a:lnTo>
                  <a:lnTo>
                    <a:pt x="162" y="101"/>
                  </a:lnTo>
                  <a:lnTo>
                    <a:pt x="163" y="100"/>
                  </a:lnTo>
                  <a:lnTo>
                    <a:pt x="164" y="99"/>
                  </a:lnTo>
                  <a:lnTo>
                    <a:pt x="165" y="99"/>
                  </a:lnTo>
                  <a:lnTo>
                    <a:pt x="167" y="98"/>
                  </a:lnTo>
                  <a:lnTo>
                    <a:pt x="168" y="95"/>
                  </a:lnTo>
                  <a:lnTo>
                    <a:pt x="169" y="95"/>
                  </a:lnTo>
                  <a:lnTo>
                    <a:pt x="169" y="93"/>
                  </a:lnTo>
                  <a:lnTo>
                    <a:pt x="170" y="92"/>
                  </a:lnTo>
                  <a:lnTo>
                    <a:pt x="170" y="89"/>
                  </a:lnTo>
                  <a:lnTo>
                    <a:pt x="169" y="89"/>
                  </a:lnTo>
                  <a:lnTo>
                    <a:pt x="168" y="88"/>
                  </a:lnTo>
                  <a:lnTo>
                    <a:pt x="168" y="87"/>
                  </a:lnTo>
                  <a:lnTo>
                    <a:pt x="168" y="86"/>
                  </a:lnTo>
                  <a:lnTo>
                    <a:pt x="169" y="85"/>
                  </a:lnTo>
                  <a:lnTo>
                    <a:pt x="167" y="85"/>
                  </a:lnTo>
                  <a:lnTo>
                    <a:pt x="165" y="86"/>
                  </a:lnTo>
                  <a:lnTo>
                    <a:pt x="164" y="85"/>
                  </a:lnTo>
                  <a:lnTo>
                    <a:pt x="167" y="83"/>
                  </a:lnTo>
                  <a:lnTo>
                    <a:pt x="167" y="82"/>
                  </a:lnTo>
                  <a:lnTo>
                    <a:pt x="167" y="81"/>
                  </a:lnTo>
                  <a:lnTo>
                    <a:pt x="165" y="79"/>
                  </a:lnTo>
                  <a:lnTo>
                    <a:pt x="164" y="79"/>
                  </a:lnTo>
                  <a:lnTo>
                    <a:pt x="164" y="76"/>
                  </a:lnTo>
                  <a:lnTo>
                    <a:pt x="165" y="76"/>
                  </a:lnTo>
                  <a:lnTo>
                    <a:pt x="165" y="75"/>
                  </a:lnTo>
                  <a:lnTo>
                    <a:pt x="165" y="74"/>
                  </a:lnTo>
                  <a:lnTo>
                    <a:pt x="167" y="73"/>
                  </a:lnTo>
                  <a:lnTo>
                    <a:pt x="168" y="70"/>
                  </a:lnTo>
                  <a:lnTo>
                    <a:pt x="169" y="69"/>
                  </a:lnTo>
                  <a:lnTo>
                    <a:pt x="167" y="74"/>
                  </a:lnTo>
                  <a:lnTo>
                    <a:pt x="168" y="75"/>
                  </a:lnTo>
                  <a:lnTo>
                    <a:pt x="169" y="74"/>
                  </a:lnTo>
                  <a:lnTo>
                    <a:pt x="170" y="74"/>
                  </a:lnTo>
                  <a:lnTo>
                    <a:pt x="169" y="76"/>
                  </a:lnTo>
                  <a:lnTo>
                    <a:pt x="170" y="76"/>
                  </a:lnTo>
                  <a:lnTo>
                    <a:pt x="173" y="76"/>
                  </a:lnTo>
                  <a:lnTo>
                    <a:pt x="173" y="77"/>
                  </a:lnTo>
                  <a:lnTo>
                    <a:pt x="175" y="77"/>
                  </a:lnTo>
                  <a:lnTo>
                    <a:pt x="174" y="80"/>
                  </a:lnTo>
                  <a:lnTo>
                    <a:pt x="176" y="80"/>
                  </a:lnTo>
                  <a:lnTo>
                    <a:pt x="177" y="81"/>
                  </a:lnTo>
                  <a:lnTo>
                    <a:pt x="179" y="82"/>
                  </a:lnTo>
                  <a:lnTo>
                    <a:pt x="181" y="82"/>
                  </a:lnTo>
                  <a:lnTo>
                    <a:pt x="179" y="83"/>
                  </a:lnTo>
                  <a:lnTo>
                    <a:pt x="180" y="85"/>
                  </a:lnTo>
                  <a:lnTo>
                    <a:pt x="181" y="85"/>
                  </a:lnTo>
                  <a:lnTo>
                    <a:pt x="182" y="85"/>
                  </a:lnTo>
                  <a:lnTo>
                    <a:pt x="182" y="83"/>
                  </a:lnTo>
                  <a:lnTo>
                    <a:pt x="185" y="82"/>
                  </a:lnTo>
                  <a:lnTo>
                    <a:pt x="186" y="82"/>
                  </a:lnTo>
                  <a:lnTo>
                    <a:pt x="187" y="81"/>
                  </a:lnTo>
                  <a:lnTo>
                    <a:pt x="189" y="81"/>
                  </a:lnTo>
                  <a:lnTo>
                    <a:pt x="191" y="80"/>
                  </a:lnTo>
                  <a:lnTo>
                    <a:pt x="192" y="80"/>
                  </a:lnTo>
                  <a:lnTo>
                    <a:pt x="193" y="81"/>
                  </a:lnTo>
                  <a:lnTo>
                    <a:pt x="197" y="81"/>
                  </a:lnTo>
                  <a:lnTo>
                    <a:pt x="198" y="82"/>
                  </a:lnTo>
                  <a:lnTo>
                    <a:pt x="196" y="83"/>
                  </a:lnTo>
                  <a:lnTo>
                    <a:pt x="194" y="83"/>
                  </a:lnTo>
                  <a:lnTo>
                    <a:pt x="193" y="83"/>
                  </a:lnTo>
                  <a:lnTo>
                    <a:pt x="192" y="85"/>
                  </a:lnTo>
                  <a:lnTo>
                    <a:pt x="193" y="86"/>
                  </a:lnTo>
                  <a:lnTo>
                    <a:pt x="193" y="88"/>
                  </a:lnTo>
                  <a:lnTo>
                    <a:pt x="193" y="89"/>
                  </a:lnTo>
                  <a:lnTo>
                    <a:pt x="196" y="89"/>
                  </a:lnTo>
                  <a:lnTo>
                    <a:pt x="197" y="87"/>
                  </a:lnTo>
                  <a:lnTo>
                    <a:pt x="198" y="85"/>
                  </a:lnTo>
                  <a:lnTo>
                    <a:pt x="199" y="83"/>
                  </a:lnTo>
                  <a:lnTo>
                    <a:pt x="200" y="82"/>
                  </a:lnTo>
                  <a:lnTo>
                    <a:pt x="200" y="81"/>
                  </a:lnTo>
                  <a:lnTo>
                    <a:pt x="198" y="80"/>
                  </a:lnTo>
                  <a:lnTo>
                    <a:pt x="194" y="79"/>
                  </a:lnTo>
                  <a:lnTo>
                    <a:pt x="193" y="79"/>
                  </a:lnTo>
                  <a:lnTo>
                    <a:pt x="193" y="77"/>
                  </a:lnTo>
                  <a:lnTo>
                    <a:pt x="192" y="76"/>
                  </a:lnTo>
                  <a:lnTo>
                    <a:pt x="191" y="76"/>
                  </a:lnTo>
                  <a:lnTo>
                    <a:pt x="191" y="77"/>
                  </a:lnTo>
                  <a:lnTo>
                    <a:pt x="191" y="79"/>
                  </a:lnTo>
                  <a:lnTo>
                    <a:pt x="189" y="79"/>
                  </a:lnTo>
                  <a:lnTo>
                    <a:pt x="188" y="80"/>
                  </a:lnTo>
                  <a:lnTo>
                    <a:pt x="187" y="80"/>
                  </a:lnTo>
                  <a:lnTo>
                    <a:pt x="187" y="77"/>
                  </a:lnTo>
                  <a:lnTo>
                    <a:pt x="188" y="76"/>
                  </a:lnTo>
                  <a:lnTo>
                    <a:pt x="188" y="75"/>
                  </a:lnTo>
                  <a:lnTo>
                    <a:pt x="187" y="76"/>
                  </a:lnTo>
                  <a:lnTo>
                    <a:pt x="186" y="77"/>
                  </a:lnTo>
                  <a:lnTo>
                    <a:pt x="185" y="79"/>
                  </a:lnTo>
                  <a:lnTo>
                    <a:pt x="183" y="77"/>
                  </a:lnTo>
                  <a:lnTo>
                    <a:pt x="183" y="76"/>
                  </a:lnTo>
                  <a:lnTo>
                    <a:pt x="185" y="75"/>
                  </a:lnTo>
                  <a:lnTo>
                    <a:pt x="182" y="76"/>
                  </a:lnTo>
                  <a:lnTo>
                    <a:pt x="182" y="75"/>
                  </a:lnTo>
                  <a:lnTo>
                    <a:pt x="182" y="74"/>
                  </a:lnTo>
                  <a:lnTo>
                    <a:pt x="183" y="73"/>
                  </a:lnTo>
                  <a:lnTo>
                    <a:pt x="182" y="71"/>
                  </a:lnTo>
                  <a:lnTo>
                    <a:pt x="181" y="71"/>
                  </a:lnTo>
                  <a:lnTo>
                    <a:pt x="180" y="71"/>
                  </a:lnTo>
                  <a:lnTo>
                    <a:pt x="181" y="70"/>
                  </a:lnTo>
                  <a:lnTo>
                    <a:pt x="179" y="70"/>
                  </a:lnTo>
                  <a:lnTo>
                    <a:pt x="180" y="69"/>
                  </a:lnTo>
                  <a:lnTo>
                    <a:pt x="181" y="68"/>
                  </a:lnTo>
                  <a:lnTo>
                    <a:pt x="179" y="65"/>
                  </a:lnTo>
                  <a:lnTo>
                    <a:pt x="181" y="65"/>
                  </a:lnTo>
                  <a:lnTo>
                    <a:pt x="182" y="65"/>
                  </a:lnTo>
                  <a:lnTo>
                    <a:pt x="183" y="64"/>
                  </a:lnTo>
                  <a:lnTo>
                    <a:pt x="185" y="65"/>
                  </a:lnTo>
                  <a:lnTo>
                    <a:pt x="186" y="64"/>
                  </a:lnTo>
                  <a:lnTo>
                    <a:pt x="187" y="64"/>
                  </a:lnTo>
                  <a:lnTo>
                    <a:pt x="187" y="65"/>
                  </a:lnTo>
                  <a:lnTo>
                    <a:pt x="188" y="65"/>
                  </a:lnTo>
                  <a:lnTo>
                    <a:pt x="188" y="67"/>
                  </a:lnTo>
                  <a:lnTo>
                    <a:pt x="191" y="67"/>
                  </a:lnTo>
                  <a:lnTo>
                    <a:pt x="192" y="68"/>
                  </a:lnTo>
                  <a:lnTo>
                    <a:pt x="192" y="69"/>
                  </a:lnTo>
                  <a:lnTo>
                    <a:pt x="193" y="69"/>
                  </a:lnTo>
                  <a:lnTo>
                    <a:pt x="194" y="70"/>
                  </a:lnTo>
                  <a:lnTo>
                    <a:pt x="196" y="71"/>
                  </a:lnTo>
                  <a:lnTo>
                    <a:pt x="197" y="71"/>
                  </a:lnTo>
                  <a:lnTo>
                    <a:pt x="197" y="70"/>
                  </a:lnTo>
                  <a:lnTo>
                    <a:pt x="198" y="69"/>
                  </a:lnTo>
                  <a:lnTo>
                    <a:pt x="198" y="68"/>
                  </a:lnTo>
                  <a:lnTo>
                    <a:pt x="196" y="69"/>
                  </a:lnTo>
                  <a:lnTo>
                    <a:pt x="197" y="68"/>
                  </a:lnTo>
                  <a:lnTo>
                    <a:pt x="197" y="67"/>
                  </a:lnTo>
                  <a:lnTo>
                    <a:pt x="196" y="65"/>
                  </a:lnTo>
                  <a:lnTo>
                    <a:pt x="196" y="64"/>
                  </a:lnTo>
                  <a:lnTo>
                    <a:pt x="197" y="65"/>
                  </a:lnTo>
                  <a:lnTo>
                    <a:pt x="198" y="64"/>
                  </a:lnTo>
                  <a:lnTo>
                    <a:pt x="199" y="63"/>
                  </a:lnTo>
                  <a:lnTo>
                    <a:pt x="200" y="62"/>
                  </a:lnTo>
                  <a:lnTo>
                    <a:pt x="200" y="61"/>
                  </a:lnTo>
                  <a:lnTo>
                    <a:pt x="199" y="62"/>
                  </a:lnTo>
                  <a:lnTo>
                    <a:pt x="198" y="63"/>
                  </a:lnTo>
                  <a:lnTo>
                    <a:pt x="198" y="62"/>
                  </a:lnTo>
                  <a:lnTo>
                    <a:pt x="198" y="58"/>
                  </a:lnTo>
                  <a:lnTo>
                    <a:pt x="199" y="58"/>
                  </a:lnTo>
                  <a:lnTo>
                    <a:pt x="200" y="59"/>
                  </a:lnTo>
                  <a:lnTo>
                    <a:pt x="202" y="59"/>
                  </a:lnTo>
                  <a:lnTo>
                    <a:pt x="199" y="57"/>
                  </a:lnTo>
                  <a:lnTo>
                    <a:pt x="199" y="56"/>
                  </a:lnTo>
                  <a:lnTo>
                    <a:pt x="199" y="55"/>
                  </a:lnTo>
                  <a:lnTo>
                    <a:pt x="200" y="56"/>
                  </a:lnTo>
                  <a:lnTo>
                    <a:pt x="202" y="56"/>
                  </a:lnTo>
                  <a:lnTo>
                    <a:pt x="203" y="55"/>
                  </a:lnTo>
                  <a:lnTo>
                    <a:pt x="204" y="57"/>
                  </a:lnTo>
                  <a:lnTo>
                    <a:pt x="205" y="56"/>
                  </a:lnTo>
                  <a:lnTo>
                    <a:pt x="205" y="57"/>
                  </a:lnTo>
                  <a:lnTo>
                    <a:pt x="205" y="55"/>
                  </a:lnTo>
                  <a:lnTo>
                    <a:pt x="208" y="55"/>
                  </a:lnTo>
                  <a:lnTo>
                    <a:pt x="209" y="56"/>
                  </a:lnTo>
                  <a:lnTo>
                    <a:pt x="209" y="53"/>
                  </a:lnTo>
                  <a:lnTo>
                    <a:pt x="209" y="52"/>
                  </a:lnTo>
                  <a:lnTo>
                    <a:pt x="210" y="51"/>
                  </a:lnTo>
                  <a:lnTo>
                    <a:pt x="211" y="51"/>
                  </a:lnTo>
                  <a:lnTo>
                    <a:pt x="210" y="50"/>
                  </a:lnTo>
                  <a:lnTo>
                    <a:pt x="209" y="47"/>
                  </a:lnTo>
                  <a:lnTo>
                    <a:pt x="210" y="47"/>
                  </a:lnTo>
                  <a:lnTo>
                    <a:pt x="211" y="50"/>
                  </a:lnTo>
                  <a:lnTo>
                    <a:pt x="212" y="51"/>
                  </a:lnTo>
                  <a:lnTo>
                    <a:pt x="214" y="52"/>
                  </a:lnTo>
                  <a:lnTo>
                    <a:pt x="214" y="50"/>
                  </a:lnTo>
                  <a:lnTo>
                    <a:pt x="214" y="47"/>
                  </a:lnTo>
                  <a:lnTo>
                    <a:pt x="214" y="45"/>
                  </a:lnTo>
                  <a:lnTo>
                    <a:pt x="215" y="45"/>
                  </a:lnTo>
                  <a:lnTo>
                    <a:pt x="217" y="46"/>
                  </a:lnTo>
                  <a:lnTo>
                    <a:pt x="218" y="46"/>
                  </a:lnTo>
                  <a:lnTo>
                    <a:pt x="217" y="47"/>
                  </a:lnTo>
                  <a:lnTo>
                    <a:pt x="216" y="50"/>
                  </a:lnTo>
                  <a:lnTo>
                    <a:pt x="215" y="51"/>
                  </a:lnTo>
                  <a:lnTo>
                    <a:pt x="215" y="52"/>
                  </a:lnTo>
                  <a:lnTo>
                    <a:pt x="216" y="53"/>
                  </a:lnTo>
                  <a:lnTo>
                    <a:pt x="217" y="53"/>
                  </a:lnTo>
                  <a:lnTo>
                    <a:pt x="217" y="55"/>
                  </a:lnTo>
                  <a:lnTo>
                    <a:pt x="217" y="56"/>
                  </a:lnTo>
                  <a:lnTo>
                    <a:pt x="220" y="56"/>
                  </a:lnTo>
                  <a:lnTo>
                    <a:pt x="221" y="56"/>
                  </a:lnTo>
                  <a:lnTo>
                    <a:pt x="220" y="57"/>
                  </a:lnTo>
                  <a:lnTo>
                    <a:pt x="218" y="57"/>
                  </a:lnTo>
                  <a:lnTo>
                    <a:pt x="220" y="58"/>
                  </a:lnTo>
                  <a:lnTo>
                    <a:pt x="220" y="59"/>
                  </a:lnTo>
                  <a:lnTo>
                    <a:pt x="222" y="61"/>
                  </a:lnTo>
                  <a:lnTo>
                    <a:pt x="221" y="62"/>
                  </a:lnTo>
                  <a:lnTo>
                    <a:pt x="222" y="62"/>
                  </a:lnTo>
                  <a:lnTo>
                    <a:pt x="221" y="63"/>
                  </a:lnTo>
                  <a:lnTo>
                    <a:pt x="220" y="64"/>
                  </a:lnTo>
                  <a:lnTo>
                    <a:pt x="220" y="65"/>
                  </a:lnTo>
                  <a:lnTo>
                    <a:pt x="221" y="65"/>
                  </a:lnTo>
                  <a:lnTo>
                    <a:pt x="222" y="68"/>
                  </a:lnTo>
                  <a:lnTo>
                    <a:pt x="223" y="68"/>
                  </a:lnTo>
                  <a:lnTo>
                    <a:pt x="224" y="68"/>
                  </a:lnTo>
                  <a:lnTo>
                    <a:pt x="223" y="70"/>
                  </a:lnTo>
                  <a:lnTo>
                    <a:pt x="222" y="71"/>
                  </a:lnTo>
                  <a:lnTo>
                    <a:pt x="223" y="71"/>
                  </a:lnTo>
                  <a:lnTo>
                    <a:pt x="226" y="71"/>
                  </a:lnTo>
                  <a:lnTo>
                    <a:pt x="224" y="74"/>
                  </a:lnTo>
                  <a:lnTo>
                    <a:pt x="224" y="75"/>
                  </a:lnTo>
                  <a:lnTo>
                    <a:pt x="226" y="76"/>
                  </a:lnTo>
                  <a:lnTo>
                    <a:pt x="226" y="79"/>
                  </a:lnTo>
                  <a:lnTo>
                    <a:pt x="227" y="79"/>
                  </a:lnTo>
                  <a:lnTo>
                    <a:pt x="227" y="80"/>
                  </a:lnTo>
                  <a:lnTo>
                    <a:pt x="228" y="80"/>
                  </a:lnTo>
                  <a:lnTo>
                    <a:pt x="229" y="79"/>
                  </a:lnTo>
                  <a:lnTo>
                    <a:pt x="232" y="77"/>
                  </a:lnTo>
                  <a:lnTo>
                    <a:pt x="234" y="76"/>
                  </a:lnTo>
                  <a:lnTo>
                    <a:pt x="235" y="75"/>
                  </a:lnTo>
                  <a:lnTo>
                    <a:pt x="235" y="74"/>
                  </a:lnTo>
                  <a:lnTo>
                    <a:pt x="236" y="71"/>
                  </a:lnTo>
                  <a:lnTo>
                    <a:pt x="238" y="70"/>
                  </a:lnTo>
                  <a:lnTo>
                    <a:pt x="238" y="67"/>
                  </a:lnTo>
                  <a:lnTo>
                    <a:pt x="236" y="68"/>
                  </a:lnTo>
                  <a:lnTo>
                    <a:pt x="235" y="69"/>
                  </a:lnTo>
                  <a:lnTo>
                    <a:pt x="234" y="70"/>
                  </a:lnTo>
                  <a:lnTo>
                    <a:pt x="234" y="69"/>
                  </a:lnTo>
                  <a:lnTo>
                    <a:pt x="233" y="69"/>
                  </a:lnTo>
                  <a:lnTo>
                    <a:pt x="233" y="68"/>
                  </a:lnTo>
                  <a:lnTo>
                    <a:pt x="234" y="68"/>
                  </a:lnTo>
                  <a:lnTo>
                    <a:pt x="235" y="67"/>
                  </a:lnTo>
                  <a:lnTo>
                    <a:pt x="236" y="65"/>
                  </a:lnTo>
                  <a:lnTo>
                    <a:pt x="235" y="65"/>
                  </a:lnTo>
                  <a:lnTo>
                    <a:pt x="234" y="64"/>
                  </a:lnTo>
                  <a:lnTo>
                    <a:pt x="233" y="65"/>
                  </a:lnTo>
                  <a:lnTo>
                    <a:pt x="233" y="64"/>
                  </a:lnTo>
                  <a:lnTo>
                    <a:pt x="233" y="63"/>
                  </a:lnTo>
                  <a:lnTo>
                    <a:pt x="230" y="63"/>
                  </a:lnTo>
                  <a:lnTo>
                    <a:pt x="229" y="64"/>
                  </a:lnTo>
                  <a:lnTo>
                    <a:pt x="229" y="65"/>
                  </a:lnTo>
                  <a:lnTo>
                    <a:pt x="229" y="64"/>
                  </a:lnTo>
                  <a:lnTo>
                    <a:pt x="229" y="63"/>
                  </a:lnTo>
                  <a:lnTo>
                    <a:pt x="229" y="62"/>
                  </a:lnTo>
                  <a:lnTo>
                    <a:pt x="229" y="61"/>
                  </a:lnTo>
                  <a:lnTo>
                    <a:pt x="228" y="58"/>
                  </a:lnTo>
                  <a:lnTo>
                    <a:pt x="226" y="59"/>
                  </a:lnTo>
                  <a:lnTo>
                    <a:pt x="224" y="59"/>
                  </a:lnTo>
                  <a:lnTo>
                    <a:pt x="226" y="58"/>
                  </a:lnTo>
                  <a:lnTo>
                    <a:pt x="226" y="57"/>
                  </a:lnTo>
                  <a:lnTo>
                    <a:pt x="226" y="56"/>
                  </a:lnTo>
                  <a:lnTo>
                    <a:pt x="223" y="55"/>
                  </a:lnTo>
                  <a:lnTo>
                    <a:pt x="223" y="53"/>
                  </a:lnTo>
                  <a:lnTo>
                    <a:pt x="224" y="53"/>
                  </a:lnTo>
                  <a:lnTo>
                    <a:pt x="226" y="53"/>
                  </a:lnTo>
                  <a:lnTo>
                    <a:pt x="226" y="55"/>
                  </a:lnTo>
                  <a:lnTo>
                    <a:pt x="227" y="56"/>
                  </a:lnTo>
                  <a:lnTo>
                    <a:pt x="228" y="55"/>
                  </a:lnTo>
                  <a:lnTo>
                    <a:pt x="228" y="57"/>
                  </a:lnTo>
                  <a:lnTo>
                    <a:pt x="229" y="57"/>
                  </a:lnTo>
                  <a:lnTo>
                    <a:pt x="229" y="58"/>
                  </a:lnTo>
                  <a:lnTo>
                    <a:pt x="230" y="59"/>
                  </a:lnTo>
                  <a:lnTo>
                    <a:pt x="232" y="61"/>
                  </a:lnTo>
                  <a:lnTo>
                    <a:pt x="233" y="59"/>
                  </a:lnTo>
                  <a:lnTo>
                    <a:pt x="234" y="59"/>
                  </a:lnTo>
                  <a:lnTo>
                    <a:pt x="235" y="58"/>
                  </a:lnTo>
                  <a:lnTo>
                    <a:pt x="235" y="57"/>
                  </a:lnTo>
                  <a:lnTo>
                    <a:pt x="233" y="57"/>
                  </a:lnTo>
                  <a:lnTo>
                    <a:pt x="234" y="56"/>
                  </a:lnTo>
                  <a:lnTo>
                    <a:pt x="233" y="55"/>
                  </a:lnTo>
                  <a:lnTo>
                    <a:pt x="234" y="55"/>
                  </a:lnTo>
                  <a:lnTo>
                    <a:pt x="234" y="53"/>
                  </a:lnTo>
                  <a:lnTo>
                    <a:pt x="234" y="52"/>
                  </a:lnTo>
                  <a:lnTo>
                    <a:pt x="233" y="51"/>
                  </a:lnTo>
                  <a:lnTo>
                    <a:pt x="232" y="51"/>
                  </a:lnTo>
                  <a:lnTo>
                    <a:pt x="233" y="50"/>
                  </a:lnTo>
                  <a:lnTo>
                    <a:pt x="232" y="49"/>
                  </a:lnTo>
                  <a:lnTo>
                    <a:pt x="230" y="47"/>
                  </a:lnTo>
                  <a:lnTo>
                    <a:pt x="228" y="47"/>
                  </a:lnTo>
                  <a:lnTo>
                    <a:pt x="228" y="46"/>
                  </a:lnTo>
                  <a:lnTo>
                    <a:pt x="230" y="45"/>
                  </a:lnTo>
                  <a:lnTo>
                    <a:pt x="229" y="44"/>
                  </a:lnTo>
                  <a:lnTo>
                    <a:pt x="227" y="41"/>
                  </a:lnTo>
                  <a:lnTo>
                    <a:pt x="226" y="41"/>
                  </a:lnTo>
                  <a:lnTo>
                    <a:pt x="228" y="41"/>
                  </a:lnTo>
                  <a:lnTo>
                    <a:pt x="230" y="39"/>
                  </a:lnTo>
                  <a:lnTo>
                    <a:pt x="230" y="38"/>
                  </a:lnTo>
                  <a:lnTo>
                    <a:pt x="232" y="38"/>
                  </a:lnTo>
                  <a:lnTo>
                    <a:pt x="232" y="40"/>
                  </a:lnTo>
                  <a:lnTo>
                    <a:pt x="232" y="43"/>
                  </a:lnTo>
                  <a:lnTo>
                    <a:pt x="233" y="41"/>
                  </a:lnTo>
                  <a:lnTo>
                    <a:pt x="232" y="44"/>
                  </a:lnTo>
                  <a:lnTo>
                    <a:pt x="233" y="45"/>
                  </a:lnTo>
                  <a:lnTo>
                    <a:pt x="235" y="45"/>
                  </a:lnTo>
                  <a:lnTo>
                    <a:pt x="235" y="46"/>
                  </a:lnTo>
                  <a:lnTo>
                    <a:pt x="235" y="47"/>
                  </a:lnTo>
                  <a:lnTo>
                    <a:pt x="236" y="47"/>
                  </a:lnTo>
                  <a:lnTo>
                    <a:pt x="236" y="49"/>
                  </a:lnTo>
                  <a:lnTo>
                    <a:pt x="238" y="49"/>
                  </a:lnTo>
                  <a:lnTo>
                    <a:pt x="238" y="51"/>
                  </a:lnTo>
                  <a:lnTo>
                    <a:pt x="239" y="50"/>
                  </a:lnTo>
                  <a:lnTo>
                    <a:pt x="240" y="50"/>
                  </a:lnTo>
                  <a:lnTo>
                    <a:pt x="240" y="52"/>
                  </a:lnTo>
                  <a:lnTo>
                    <a:pt x="241" y="52"/>
                  </a:lnTo>
                  <a:lnTo>
                    <a:pt x="241" y="53"/>
                  </a:lnTo>
                  <a:lnTo>
                    <a:pt x="242" y="55"/>
                  </a:lnTo>
                  <a:lnTo>
                    <a:pt x="241" y="58"/>
                  </a:lnTo>
                  <a:lnTo>
                    <a:pt x="242" y="56"/>
                  </a:lnTo>
                  <a:lnTo>
                    <a:pt x="244" y="56"/>
                  </a:lnTo>
                  <a:lnTo>
                    <a:pt x="246" y="57"/>
                  </a:lnTo>
                  <a:lnTo>
                    <a:pt x="247" y="56"/>
                  </a:lnTo>
                  <a:lnTo>
                    <a:pt x="250" y="55"/>
                  </a:lnTo>
                  <a:lnTo>
                    <a:pt x="250" y="56"/>
                  </a:lnTo>
                  <a:lnTo>
                    <a:pt x="250" y="58"/>
                  </a:lnTo>
                  <a:lnTo>
                    <a:pt x="252" y="58"/>
                  </a:lnTo>
                  <a:lnTo>
                    <a:pt x="252" y="59"/>
                  </a:lnTo>
                  <a:lnTo>
                    <a:pt x="251" y="61"/>
                  </a:lnTo>
                  <a:lnTo>
                    <a:pt x="252" y="62"/>
                  </a:lnTo>
                  <a:lnTo>
                    <a:pt x="251" y="62"/>
                  </a:lnTo>
                  <a:lnTo>
                    <a:pt x="251" y="63"/>
                  </a:lnTo>
                  <a:lnTo>
                    <a:pt x="250" y="63"/>
                  </a:lnTo>
                  <a:lnTo>
                    <a:pt x="250" y="64"/>
                  </a:lnTo>
                  <a:lnTo>
                    <a:pt x="251" y="64"/>
                  </a:lnTo>
                  <a:lnTo>
                    <a:pt x="252" y="67"/>
                  </a:lnTo>
                  <a:lnTo>
                    <a:pt x="251" y="68"/>
                  </a:lnTo>
                  <a:lnTo>
                    <a:pt x="253" y="69"/>
                  </a:lnTo>
                  <a:lnTo>
                    <a:pt x="256" y="69"/>
                  </a:lnTo>
                  <a:lnTo>
                    <a:pt x="255" y="68"/>
                  </a:lnTo>
                  <a:lnTo>
                    <a:pt x="256" y="68"/>
                  </a:lnTo>
                  <a:lnTo>
                    <a:pt x="257" y="67"/>
                  </a:lnTo>
                  <a:lnTo>
                    <a:pt x="258" y="68"/>
                  </a:lnTo>
                  <a:lnTo>
                    <a:pt x="259" y="68"/>
                  </a:lnTo>
                  <a:lnTo>
                    <a:pt x="262" y="67"/>
                  </a:lnTo>
                  <a:lnTo>
                    <a:pt x="262" y="69"/>
                  </a:lnTo>
                  <a:lnTo>
                    <a:pt x="263" y="69"/>
                  </a:lnTo>
                  <a:lnTo>
                    <a:pt x="261" y="70"/>
                  </a:lnTo>
                  <a:lnTo>
                    <a:pt x="261" y="71"/>
                  </a:lnTo>
                  <a:lnTo>
                    <a:pt x="263" y="70"/>
                  </a:lnTo>
                  <a:lnTo>
                    <a:pt x="265" y="70"/>
                  </a:lnTo>
                  <a:lnTo>
                    <a:pt x="265" y="71"/>
                  </a:lnTo>
                  <a:lnTo>
                    <a:pt x="268" y="73"/>
                  </a:lnTo>
                  <a:lnTo>
                    <a:pt x="268" y="74"/>
                  </a:lnTo>
                  <a:lnTo>
                    <a:pt x="269" y="75"/>
                  </a:lnTo>
                  <a:lnTo>
                    <a:pt x="269" y="76"/>
                  </a:lnTo>
                  <a:lnTo>
                    <a:pt x="268" y="76"/>
                  </a:lnTo>
                  <a:lnTo>
                    <a:pt x="267" y="75"/>
                  </a:lnTo>
                  <a:lnTo>
                    <a:pt x="268" y="76"/>
                  </a:lnTo>
                  <a:lnTo>
                    <a:pt x="268" y="77"/>
                  </a:lnTo>
                  <a:lnTo>
                    <a:pt x="265" y="76"/>
                  </a:lnTo>
                  <a:lnTo>
                    <a:pt x="267" y="79"/>
                  </a:lnTo>
                  <a:lnTo>
                    <a:pt x="265" y="77"/>
                  </a:lnTo>
                  <a:lnTo>
                    <a:pt x="264" y="77"/>
                  </a:lnTo>
                  <a:lnTo>
                    <a:pt x="262" y="79"/>
                  </a:lnTo>
                  <a:lnTo>
                    <a:pt x="262" y="80"/>
                  </a:lnTo>
                  <a:lnTo>
                    <a:pt x="262" y="81"/>
                  </a:lnTo>
                  <a:lnTo>
                    <a:pt x="264" y="81"/>
                  </a:lnTo>
                  <a:lnTo>
                    <a:pt x="265" y="83"/>
                  </a:lnTo>
                  <a:lnTo>
                    <a:pt x="268" y="83"/>
                  </a:lnTo>
                  <a:lnTo>
                    <a:pt x="269" y="86"/>
                  </a:lnTo>
                  <a:lnTo>
                    <a:pt x="268" y="88"/>
                  </a:lnTo>
                  <a:lnTo>
                    <a:pt x="268" y="91"/>
                  </a:lnTo>
                  <a:lnTo>
                    <a:pt x="270" y="89"/>
                  </a:lnTo>
                  <a:lnTo>
                    <a:pt x="271" y="89"/>
                  </a:lnTo>
                  <a:lnTo>
                    <a:pt x="274" y="88"/>
                  </a:lnTo>
                  <a:lnTo>
                    <a:pt x="275" y="88"/>
                  </a:lnTo>
                  <a:lnTo>
                    <a:pt x="275" y="87"/>
                  </a:lnTo>
                  <a:lnTo>
                    <a:pt x="276" y="85"/>
                  </a:lnTo>
                  <a:lnTo>
                    <a:pt x="274" y="86"/>
                  </a:lnTo>
                  <a:lnTo>
                    <a:pt x="275" y="83"/>
                  </a:lnTo>
                  <a:lnTo>
                    <a:pt x="275" y="82"/>
                  </a:lnTo>
                  <a:lnTo>
                    <a:pt x="277" y="82"/>
                  </a:lnTo>
                  <a:lnTo>
                    <a:pt x="279" y="82"/>
                  </a:lnTo>
                  <a:lnTo>
                    <a:pt x="277" y="81"/>
                  </a:lnTo>
                  <a:lnTo>
                    <a:pt x="276" y="80"/>
                  </a:lnTo>
                  <a:lnTo>
                    <a:pt x="277" y="79"/>
                  </a:lnTo>
                  <a:lnTo>
                    <a:pt x="279" y="77"/>
                  </a:lnTo>
                  <a:lnTo>
                    <a:pt x="280" y="77"/>
                  </a:lnTo>
                  <a:lnTo>
                    <a:pt x="283" y="76"/>
                  </a:lnTo>
                  <a:lnTo>
                    <a:pt x="283" y="75"/>
                  </a:lnTo>
                  <a:lnTo>
                    <a:pt x="285" y="74"/>
                  </a:lnTo>
                  <a:lnTo>
                    <a:pt x="288" y="71"/>
                  </a:lnTo>
                  <a:lnTo>
                    <a:pt x="287" y="70"/>
                  </a:lnTo>
                  <a:lnTo>
                    <a:pt x="286" y="70"/>
                  </a:lnTo>
                  <a:lnTo>
                    <a:pt x="285" y="71"/>
                  </a:lnTo>
                  <a:lnTo>
                    <a:pt x="283" y="71"/>
                  </a:lnTo>
                  <a:lnTo>
                    <a:pt x="282" y="73"/>
                  </a:lnTo>
                  <a:lnTo>
                    <a:pt x="281" y="73"/>
                  </a:lnTo>
                  <a:lnTo>
                    <a:pt x="280" y="71"/>
                  </a:lnTo>
                  <a:lnTo>
                    <a:pt x="279" y="71"/>
                  </a:lnTo>
                  <a:lnTo>
                    <a:pt x="279" y="74"/>
                  </a:lnTo>
                  <a:lnTo>
                    <a:pt x="277" y="75"/>
                  </a:lnTo>
                  <a:lnTo>
                    <a:pt x="277" y="74"/>
                  </a:lnTo>
                  <a:lnTo>
                    <a:pt x="275" y="73"/>
                  </a:lnTo>
                  <a:lnTo>
                    <a:pt x="275" y="70"/>
                  </a:lnTo>
                  <a:lnTo>
                    <a:pt x="276" y="70"/>
                  </a:lnTo>
                  <a:lnTo>
                    <a:pt x="276" y="69"/>
                  </a:lnTo>
                  <a:lnTo>
                    <a:pt x="276" y="68"/>
                  </a:lnTo>
                  <a:lnTo>
                    <a:pt x="277" y="68"/>
                  </a:lnTo>
                  <a:lnTo>
                    <a:pt x="277" y="65"/>
                  </a:lnTo>
                  <a:lnTo>
                    <a:pt x="279" y="64"/>
                  </a:lnTo>
                  <a:lnTo>
                    <a:pt x="279" y="63"/>
                  </a:lnTo>
                  <a:lnTo>
                    <a:pt x="277" y="62"/>
                  </a:lnTo>
                  <a:lnTo>
                    <a:pt x="276" y="61"/>
                  </a:lnTo>
                  <a:lnTo>
                    <a:pt x="277" y="59"/>
                  </a:lnTo>
                  <a:lnTo>
                    <a:pt x="275" y="58"/>
                  </a:lnTo>
                  <a:lnTo>
                    <a:pt x="275" y="57"/>
                  </a:lnTo>
                  <a:lnTo>
                    <a:pt x="277" y="57"/>
                  </a:lnTo>
                  <a:lnTo>
                    <a:pt x="281" y="57"/>
                  </a:lnTo>
                  <a:lnTo>
                    <a:pt x="281" y="58"/>
                  </a:lnTo>
                  <a:lnTo>
                    <a:pt x="282" y="59"/>
                  </a:lnTo>
                  <a:lnTo>
                    <a:pt x="283" y="58"/>
                  </a:lnTo>
                  <a:lnTo>
                    <a:pt x="283" y="59"/>
                  </a:lnTo>
                  <a:lnTo>
                    <a:pt x="283" y="61"/>
                  </a:lnTo>
                  <a:lnTo>
                    <a:pt x="286" y="59"/>
                  </a:lnTo>
                  <a:lnTo>
                    <a:pt x="289" y="61"/>
                  </a:lnTo>
                  <a:lnTo>
                    <a:pt x="291" y="59"/>
                  </a:lnTo>
                  <a:lnTo>
                    <a:pt x="292" y="58"/>
                  </a:lnTo>
                  <a:lnTo>
                    <a:pt x="292" y="61"/>
                  </a:lnTo>
                  <a:lnTo>
                    <a:pt x="293" y="61"/>
                  </a:lnTo>
                  <a:lnTo>
                    <a:pt x="294" y="62"/>
                  </a:lnTo>
                  <a:lnTo>
                    <a:pt x="297" y="62"/>
                  </a:lnTo>
                  <a:lnTo>
                    <a:pt x="298" y="62"/>
                  </a:lnTo>
                  <a:lnTo>
                    <a:pt x="298" y="61"/>
                  </a:lnTo>
                  <a:lnTo>
                    <a:pt x="298" y="58"/>
                  </a:lnTo>
                  <a:lnTo>
                    <a:pt x="299" y="58"/>
                  </a:lnTo>
                  <a:lnTo>
                    <a:pt x="297" y="56"/>
                  </a:lnTo>
                  <a:lnTo>
                    <a:pt x="295" y="56"/>
                  </a:lnTo>
                  <a:lnTo>
                    <a:pt x="294" y="57"/>
                  </a:lnTo>
                  <a:lnTo>
                    <a:pt x="293" y="57"/>
                  </a:lnTo>
                  <a:lnTo>
                    <a:pt x="292" y="56"/>
                  </a:lnTo>
                  <a:lnTo>
                    <a:pt x="292" y="55"/>
                  </a:lnTo>
                  <a:lnTo>
                    <a:pt x="289" y="53"/>
                  </a:lnTo>
                  <a:lnTo>
                    <a:pt x="288" y="51"/>
                  </a:lnTo>
                  <a:lnTo>
                    <a:pt x="289" y="52"/>
                  </a:lnTo>
                  <a:lnTo>
                    <a:pt x="291" y="52"/>
                  </a:lnTo>
                  <a:lnTo>
                    <a:pt x="289" y="51"/>
                  </a:lnTo>
                  <a:lnTo>
                    <a:pt x="289" y="50"/>
                  </a:lnTo>
                  <a:lnTo>
                    <a:pt x="292" y="51"/>
                  </a:lnTo>
                  <a:lnTo>
                    <a:pt x="292" y="50"/>
                  </a:lnTo>
                  <a:lnTo>
                    <a:pt x="293" y="51"/>
                  </a:lnTo>
                  <a:lnTo>
                    <a:pt x="293" y="50"/>
                  </a:lnTo>
                  <a:lnTo>
                    <a:pt x="292" y="49"/>
                  </a:lnTo>
                  <a:lnTo>
                    <a:pt x="292" y="47"/>
                  </a:lnTo>
                  <a:lnTo>
                    <a:pt x="294" y="49"/>
                  </a:lnTo>
                  <a:lnTo>
                    <a:pt x="294" y="47"/>
                  </a:lnTo>
                  <a:lnTo>
                    <a:pt x="295" y="44"/>
                  </a:lnTo>
                  <a:lnTo>
                    <a:pt x="294" y="44"/>
                  </a:lnTo>
                  <a:lnTo>
                    <a:pt x="293" y="41"/>
                  </a:lnTo>
                  <a:lnTo>
                    <a:pt x="294" y="41"/>
                  </a:lnTo>
                  <a:lnTo>
                    <a:pt x="295" y="40"/>
                  </a:lnTo>
                  <a:lnTo>
                    <a:pt x="297" y="38"/>
                  </a:lnTo>
                  <a:lnTo>
                    <a:pt x="298" y="38"/>
                  </a:lnTo>
                  <a:lnTo>
                    <a:pt x="297" y="34"/>
                  </a:lnTo>
                  <a:lnTo>
                    <a:pt x="295" y="33"/>
                  </a:lnTo>
                  <a:lnTo>
                    <a:pt x="297" y="32"/>
                  </a:lnTo>
                  <a:lnTo>
                    <a:pt x="297" y="30"/>
                  </a:lnTo>
                  <a:lnTo>
                    <a:pt x="297" y="29"/>
                  </a:lnTo>
                  <a:lnTo>
                    <a:pt x="297" y="30"/>
                  </a:lnTo>
                  <a:lnTo>
                    <a:pt x="298" y="30"/>
                  </a:lnTo>
                  <a:lnTo>
                    <a:pt x="300" y="30"/>
                  </a:lnTo>
                  <a:lnTo>
                    <a:pt x="299" y="32"/>
                  </a:lnTo>
                  <a:lnTo>
                    <a:pt x="300" y="32"/>
                  </a:lnTo>
                  <a:lnTo>
                    <a:pt x="299" y="34"/>
                  </a:lnTo>
                  <a:lnTo>
                    <a:pt x="299" y="35"/>
                  </a:lnTo>
                  <a:lnTo>
                    <a:pt x="299" y="36"/>
                  </a:lnTo>
                  <a:lnTo>
                    <a:pt x="299" y="35"/>
                  </a:lnTo>
                  <a:lnTo>
                    <a:pt x="299" y="38"/>
                  </a:lnTo>
                  <a:lnTo>
                    <a:pt x="300" y="38"/>
                  </a:lnTo>
                  <a:lnTo>
                    <a:pt x="303" y="38"/>
                  </a:lnTo>
                  <a:lnTo>
                    <a:pt x="301" y="39"/>
                  </a:lnTo>
                  <a:lnTo>
                    <a:pt x="303" y="38"/>
                  </a:lnTo>
                  <a:lnTo>
                    <a:pt x="303" y="39"/>
                  </a:lnTo>
                  <a:lnTo>
                    <a:pt x="301" y="41"/>
                  </a:lnTo>
                  <a:lnTo>
                    <a:pt x="303" y="40"/>
                  </a:lnTo>
                  <a:lnTo>
                    <a:pt x="304" y="41"/>
                  </a:lnTo>
                  <a:lnTo>
                    <a:pt x="304" y="43"/>
                  </a:lnTo>
                  <a:lnTo>
                    <a:pt x="305" y="43"/>
                  </a:lnTo>
                  <a:lnTo>
                    <a:pt x="306" y="41"/>
                  </a:lnTo>
                  <a:lnTo>
                    <a:pt x="306" y="38"/>
                  </a:lnTo>
                  <a:lnTo>
                    <a:pt x="307" y="40"/>
                  </a:lnTo>
                  <a:lnTo>
                    <a:pt x="310" y="41"/>
                  </a:lnTo>
                  <a:lnTo>
                    <a:pt x="310" y="44"/>
                  </a:lnTo>
                  <a:lnTo>
                    <a:pt x="311" y="43"/>
                  </a:lnTo>
                  <a:lnTo>
                    <a:pt x="314" y="43"/>
                  </a:lnTo>
                  <a:lnTo>
                    <a:pt x="315" y="43"/>
                  </a:lnTo>
                  <a:lnTo>
                    <a:pt x="315" y="40"/>
                  </a:lnTo>
                  <a:lnTo>
                    <a:pt x="314" y="36"/>
                  </a:lnTo>
                  <a:lnTo>
                    <a:pt x="312" y="36"/>
                  </a:lnTo>
                  <a:lnTo>
                    <a:pt x="312" y="35"/>
                  </a:lnTo>
                  <a:lnTo>
                    <a:pt x="314" y="34"/>
                  </a:lnTo>
                  <a:lnTo>
                    <a:pt x="312" y="33"/>
                  </a:lnTo>
                  <a:lnTo>
                    <a:pt x="310" y="33"/>
                  </a:lnTo>
                  <a:lnTo>
                    <a:pt x="309" y="32"/>
                  </a:lnTo>
                  <a:lnTo>
                    <a:pt x="307" y="30"/>
                  </a:lnTo>
                  <a:lnTo>
                    <a:pt x="309" y="30"/>
                  </a:lnTo>
                  <a:lnTo>
                    <a:pt x="311" y="29"/>
                  </a:lnTo>
                  <a:lnTo>
                    <a:pt x="310" y="28"/>
                  </a:lnTo>
                  <a:lnTo>
                    <a:pt x="312" y="28"/>
                  </a:lnTo>
                  <a:lnTo>
                    <a:pt x="314" y="27"/>
                  </a:lnTo>
                  <a:lnTo>
                    <a:pt x="315" y="24"/>
                  </a:lnTo>
                  <a:lnTo>
                    <a:pt x="315" y="23"/>
                  </a:lnTo>
                  <a:lnTo>
                    <a:pt x="314" y="22"/>
                  </a:lnTo>
                  <a:lnTo>
                    <a:pt x="314" y="21"/>
                  </a:lnTo>
                  <a:lnTo>
                    <a:pt x="314" y="20"/>
                  </a:lnTo>
                  <a:lnTo>
                    <a:pt x="314" y="18"/>
                  </a:lnTo>
                  <a:lnTo>
                    <a:pt x="312" y="16"/>
                  </a:lnTo>
                  <a:lnTo>
                    <a:pt x="312" y="15"/>
                  </a:lnTo>
                  <a:lnTo>
                    <a:pt x="314" y="14"/>
                  </a:lnTo>
                  <a:lnTo>
                    <a:pt x="315" y="16"/>
                  </a:lnTo>
                  <a:lnTo>
                    <a:pt x="316" y="16"/>
                  </a:lnTo>
                  <a:lnTo>
                    <a:pt x="317" y="16"/>
                  </a:lnTo>
                  <a:lnTo>
                    <a:pt x="320" y="17"/>
                  </a:lnTo>
                  <a:lnTo>
                    <a:pt x="321" y="18"/>
                  </a:lnTo>
                  <a:lnTo>
                    <a:pt x="323" y="20"/>
                  </a:lnTo>
                  <a:lnTo>
                    <a:pt x="326" y="21"/>
                  </a:lnTo>
                  <a:lnTo>
                    <a:pt x="329" y="20"/>
                  </a:lnTo>
                  <a:lnTo>
                    <a:pt x="329" y="17"/>
                  </a:lnTo>
                  <a:lnTo>
                    <a:pt x="328" y="15"/>
                  </a:lnTo>
                  <a:lnTo>
                    <a:pt x="328" y="14"/>
                  </a:lnTo>
                  <a:lnTo>
                    <a:pt x="328" y="11"/>
                  </a:lnTo>
                  <a:lnTo>
                    <a:pt x="328" y="10"/>
                  </a:lnTo>
                  <a:lnTo>
                    <a:pt x="327" y="10"/>
                  </a:lnTo>
                  <a:lnTo>
                    <a:pt x="323" y="12"/>
                  </a:lnTo>
                  <a:lnTo>
                    <a:pt x="323" y="11"/>
                  </a:lnTo>
                  <a:lnTo>
                    <a:pt x="326" y="10"/>
                  </a:lnTo>
                  <a:lnTo>
                    <a:pt x="326" y="9"/>
                  </a:lnTo>
                  <a:lnTo>
                    <a:pt x="326" y="6"/>
                  </a:lnTo>
                  <a:lnTo>
                    <a:pt x="327" y="6"/>
                  </a:lnTo>
                  <a:lnTo>
                    <a:pt x="327" y="5"/>
                  </a:lnTo>
                  <a:lnTo>
                    <a:pt x="328" y="6"/>
                  </a:lnTo>
                  <a:lnTo>
                    <a:pt x="329" y="6"/>
                  </a:lnTo>
                  <a:lnTo>
                    <a:pt x="330" y="5"/>
                  </a:lnTo>
                  <a:lnTo>
                    <a:pt x="332" y="5"/>
                  </a:lnTo>
                  <a:lnTo>
                    <a:pt x="334" y="4"/>
                  </a:lnTo>
                  <a:lnTo>
                    <a:pt x="333" y="2"/>
                  </a:lnTo>
                  <a:lnTo>
                    <a:pt x="334" y="3"/>
                  </a:lnTo>
                  <a:lnTo>
                    <a:pt x="335" y="4"/>
                  </a:lnTo>
                  <a:lnTo>
                    <a:pt x="336" y="4"/>
                  </a:lnTo>
                  <a:lnTo>
                    <a:pt x="338" y="4"/>
                  </a:lnTo>
                  <a:lnTo>
                    <a:pt x="338" y="5"/>
                  </a:lnTo>
                  <a:lnTo>
                    <a:pt x="336" y="5"/>
                  </a:lnTo>
                  <a:lnTo>
                    <a:pt x="338" y="6"/>
                  </a:lnTo>
                  <a:lnTo>
                    <a:pt x="339" y="6"/>
                  </a:lnTo>
                  <a:lnTo>
                    <a:pt x="340" y="6"/>
                  </a:lnTo>
                  <a:lnTo>
                    <a:pt x="341" y="4"/>
                  </a:lnTo>
                  <a:lnTo>
                    <a:pt x="342" y="5"/>
                  </a:lnTo>
                  <a:lnTo>
                    <a:pt x="344" y="5"/>
                  </a:lnTo>
                  <a:lnTo>
                    <a:pt x="344" y="4"/>
                  </a:lnTo>
                  <a:lnTo>
                    <a:pt x="346" y="4"/>
                  </a:lnTo>
                  <a:lnTo>
                    <a:pt x="346" y="3"/>
                  </a:lnTo>
                  <a:lnTo>
                    <a:pt x="347" y="3"/>
                  </a:lnTo>
                  <a:lnTo>
                    <a:pt x="348" y="2"/>
                  </a:lnTo>
                  <a:lnTo>
                    <a:pt x="348" y="0"/>
                  </a:lnTo>
                  <a:lnTo>
                    <a:pt x="350" y="2"/>
                  </a:lnTo>
                  <a:lnTo>
                    <a:pt x="351" y="2"/>
                  </a:lnTo>
                  <a:lnTo>
                    <a:pt x="351" y="3"/>
                  </a:lnTo>
                  <a:lnTo>
                    <a:pt x="352" y="3"/>
                  </a:lnTo>
                  <a:lnTo>
                    <a:pt x="353" y="5"/>
                  </a:lnTo>
                  <a:lnTo>
                    <a:pt x="350" y="5"/>
                  </a:lnTo>
                  <a:lnTo>
                    <a:pt x="350" y="6"/>
                  </a:lnTo>
                  <a:lnTo>
                    <a:pt x="351" y="8"/>
                  </a:lnTo>
                  <a:lnTo>
                    <a:pt x="350" y="9"/>
                  </a:lnTo>
                  <a:lnTo>
                    <a:pt x="347" y="8"/>
                  </a:lnTo>
                  <a:lnTo>
                    <a:pt x="347" y="9"/>
                  </a:lnTo>
                  <a:lnTo>
                    <a:pt x="347" y="10"/>
                  </a:lnTo>
                  <a:lnTo>
                    <a:pt x="347" y="11"/>
                  </a:lnTo>
                  <a:lnTo>
                    <a:pt x="348" y="11"/>
                  </a:lnTo>
                  <a:lnTo>
                    <a:pt x="350" y="10"/>
                  </a:lnTo>
                  <a:lnTo>
                    <a:pt x="350" y="12"/>
                  </a:lnTo>
                  <a:lnTo>
                    <a:pt x="351" y="12"/>
                  </a:lnTo>
                  <a:lnTo>
                    <a:pt x="351" y="14"/>
                  </a:lnTo>
                  <a:lnTo>
                    <a:pt x="351" y="11"/>
                  </a:lnTo>
                  <a:lnTo>
                    <a:pt x="352" y="11"/>
                  </a:lnTo>
                  <a:lnTo>
                    <a:pt x="354" y="12"/>
                  </a:lnTo>
                  <a:lnTo>
                    <a:pt x="356" y="12"/>
                  </a:lnTo>
                  <a:lnTo>
                    <a:pt x="356" y="14"/>
                  </a:lnTo>
                  <a:lnTo>
                    <a:pt x="354" y="14"/>
                  </a:lnTo>
                  <a:lnTo>
                    <a:pt x="353" y="15"/>
                  </a:lnTo>
                  <a:lnTo>
                    <a:pt x="354" y="16"/>
                  </a:lnTo>
                  <a:lnTo>
                    <a:pt x="356" y="17"/>
                  </a:lnTo>
                  <a:lnTo>
                    <a:pt x="353" y="17"/>
                  </a:lnTo>
                  <a:lnTo>
                    <a:pt x="352" y="17"/>
                  </a:lnTo>
                  <a:lnTo>
                    <a:pt x="352" y="20"/>
                  </a:lnTo>
                  <a:lnTo>
                    <a:pt x="352" y="21"/>
                  </a:lnTo>
                  <a:lnTo>
                    <a:pt x="352" y="23"/>
                  </a:lnTo>
                  <a:lnTo>
                    <a:pt x="353" y="24"/>
                  </a:lnTo>
                  <a:lnTo>
                    <a:pt x="354" y="26"/>
                  </a:lnTo>
                  <a:lnTo>
                    <a:pt x="352" y="24"/>
                  </a:lnTo>
                  <a:lnTo>
                    <a:pt x="352" y="26"/>
                  </a:lnTo>
                  <a:lnTo>
                    <a:pt x="352" y="27"/>
                  </a:lnTo>
                  <a:lnTo>
                    <a:pt x="352" y="28"/>
                  </a:lnTo>
                  <a:lnTo>
                    <a:pt x="353" y="29"/>
                  </a:lnTo>
                  <a:lnTo>
                    <a:pt x="354" y="28"/>
                  </a:lnTo>
                  <a:lnTo>
                    <a:pt x="357" y="29"/>
                  </a:lnTo>
                  <a:lnTo>
                    <a:pt x="358" y="28"/>
                  </a:lnTo>
                  <a:lnTo>
                    <a:pt x="357" y="26"/>
                  </a:lnTo>
                  <a:lnTo>
                    <a:pt x="357" y="23"/>
                  </a:lnTo>
                  <a:lnTo>
                    <a:pt x="358" y="26"/>
                  </a:lnTo>
                  <a:lnTo>
                    <a:pt x="359" y="27"/>
                  </a:lnTo>
                  <a:lnTo>
                    <a:pt x="360" y="27"/>
                  </a:lnTo>
                  <a:lnTo>
                    <a:pt x="360" y="24"/>
                  </a:lnTo>
                  <a:lnTo>
                    <a:pt x="362" y="26"/>
                  </a:lnTo>
                  <a:lnTo>
                    <a:pt x="363" y="27"/>
                  </a:lnTo>
                  <a:lnTo>
                    <a:pt x="362" y="27"/>
                  </a:lnTo>
                  <a:lnTo>
                    <a:pt x="360" y="29"/>
                  </a:lnTo>
                  <a:lnTo>
                    <a:pt x="362" y="29"/>
                  </a:lnTo>
                  <a:lnTo>
                    <a:pt x="362" y="30"/>
                  </a:lnTo>
                  <a:lnTo>
                    <a:pt x="363" y="30"/>
                  </a:lnTo>
                  <a:lnTo>
                    <a:pt x="364" y="30"/>
                  </a:lnTo>
                  <a:lnTo>
                    <a:pt x="364" y="29"/>
                  </a:lnTo>
                  <a:lnTo>
                    <a:pt x="364" y="28"/>
                  </a:lnTo>
                  <a:lnTo>
                    <a:pt x="366" y="29"/>
                  </a:lnTo>
                  <a:lnTo>
                    <a:pt x="368" y="30"/>
                  </a:lnTo>
                  <a:lnTo>
                    <a:pt x="366" y="32"/>
                  </a:lnTo>
                  <a:lnTo>
                    <a:pt x="365" y="32"/>
                  </a:lnTo>
                  <a:lnTo>
                    <a:pt x="365" y="33"/>
                  </a:lnTo>
                  <a:lnTo>
                    <a:pt x="366" y="34"/>
                  </a:lnTo>
                  <a:lnTo>
                    <a:pt x="368" y="35"/>
                  </a:lnTo>
                  <a:lnTo>
                    <a:pt x="366" y="35"/>
                  </a:lnTo>
                  <a:lnTo>
                    <a:pt x="366" y="36"/>
                  </a:lnTo>
                  <a:lnTo>
                    <a:pt x="366" y="38"/>
                  </a:lnTo>
                  <a:lnTo>
                    <a:pt x="366" y="39"/>
                  </a:lnTo>
                  <a:lnTo>
                    <a:pt x="368" y="40"/>
                  </a:lnTo>
                  <a:lnTo>
                    <a:pt x="370" y="39"/>
                  </a:lnTo>
                  <a:lnTo>
                    <a:pt x="371" y="40"/>
                  </a:lnTo>
                  <a:lnTo>
                    <a:pt x="372" y="40"/>
                  </a:lnTo>
                  <a:lnTo>
                    <a:pt x="374" y="40"/>
                  </a:lnTo>
                  <a:lnTo>
                    <a:pt x="376" y="38"/>
                  </a:lnTo>
                  <a:lnTo>
                    <a:pt x="376" y="36"/>
                  </a:lnTo>
                  <a:lnTo>
                    <a:pt x="376" y="39"/>
                  </a:lnTo>
                  <a:lnTo>
                    <a:pt x="377" y="39"/>
                  </a:lnTo>
                  <a:lnTo>
                    <a:pt x="379" y="39"/>
                  </a:lnTo>
                  <a:lnTo>
                    <a:pt x="380" y="35"/>
                  </a:lnTo>
                  <a:lnTo>
                    <a:pt x="380" y="36"/>
                  </a:lnTo>
                  <a:lnTo>
                    <a:pt x="380" y="38"/>
                  </a:lnTo>
                  <a:lnTo>
                    <a:pt x="380" y="39"/>
                  </a:lnTo>
                  <a:lnTo>
                    <a:pt x="381" y="39"/>
                  </a:lnTo>
                  <a:lnTo>
                    <a:pt x="380" y="40"/>
                  </a:lnTo>
                  <a:lnTo>
                    <a:pt x="380" y="43"/>
                  </a:lnTo>
                  <a:lnTo>
                    <a:pt x="380" y="44"/>
                  </a:lnTo>
                  <a:lnTo>
                    <a:pt x="381" y="45"/>
                  </a:lnTo>
                  <a:lnTo>
                    <a:pt x="380" y="46"/>
                  </a:lnTo>
                  <a:lnTo>
                    <a:pt x="380" y="47"/>
                  </a:lnTo>
                  <a:lnTo>
                    <a:pt x="382" y="49"/>
                  </a:lnTo>
                  <a:lnTo>
                    <a:pt x="383" y="51"/>
                  </a:lnTo>
                  <a:lnTo>
                    <a:pt x="385" y="50"/>
                  </a:lnTo>
                  <a:lnTo>
                    <a:pt x="383" y="49"/>
                  </a:lnTo>
                  <a:lnTo>
                    <a:pt x="383" y="47"/>
                  </a:lnTo>
                  <a:lnTo>
                    <a:pt x="385" y="47"/>
                  </a:lnTo>
                  <a:lnTo>
                    <a:pt x="386" y="46"/>
                  </a:lnTo>
                  <a:lnTo>
                    <a:pt x="387" y="45"/>
                  </a:lnTo>
                  <a:lnTo>
                    <a:pt x="386" y="44"/>
                  </a:lnTo>
                  <a:lnTo>
                    <a:pt x="385" y="43"/>
                  </a:lnTo>
                  <a:lnTo>
                    <a:pt x="386" y="43"/>
                  </a:lnTo>
                  <a:lnTo>
                    <a:pt x="387" y="41"/>
                  </a:lnTo>
                  <a:lnTo>
                    <a:pt x="388" y="41"/>
                  </a:lnTo>
                  <a:lnTo>
                    <a:pt x="389" y="40"/>
                  </a:lnTo>
                  <a:lnTo>
                    <a:pt x="392" y="40"/>
                  </a:lnTo>
                  <a:lnTo>
                    <a:pt x="393" y="39"/>
                  </a:lnTo>
                  <a:lnTo>
                    <a:pt x="392" y="38"/>
                  </a:lnTo>
                  <a:lnTo>
                    <a:pt x="391" y="36"/>
                  </a:lnTo>
                  <a:lnTo>
                    <a:pt x="392" y="36"/>
                  </a:lnTo>
                  <a:lnTo>
                    <a:pt x="393" y="36"/>
                  </a:lnTo>
                  <a:lnTo>
                    <a:pt x="395" y="35"/>
                  </a:lnTo>
                  <a:lnTo>
                    <a:pt x="398" y="34"/>
                  </a:lnTo>
                  <a:lnTo>
                    <a:pt x="395" y="36"/>
                  </a:lnTo>
                  <a:lnTo>
                    <a:pt x="394" y="38"/>
                  </a:lnTo>
                  <a:lnTo>
                    <a:pt x="397" y="38"/>
                  </a:lnTo>
                  <a:lnTo>
                    <a:pt x="397" y="36"/>
                  </a:lnTo>
                  <a:lnTo>
                    <a:pt x="398" y="36"/>
                  </a:lnTo>
                  <a:lnTo>
                    <a:pt x="400" y="38"/>
                  </a:lnTo>
                  <a:lnTo>
                    <a:pt x="403" y="36"/>
                  </a:lnTo>
                  <a:lnTo>
                    <a:pt x="403" y="38"/>
                  </a:lnTo>
                  <a:lnTo>
                    <a:pt x="403" y="39"/>
                  </a:lnTo>
                  <a:lnTo>
                    <a:pt x="404" y="39"/>
                  </a:lnTo>
                  <a:lnTo>
                    <a:pt x="405" y="40"/>
                  </a:lnTo>
                  <a:lnTo>
                    <a:pt x="403" y="40"/>
                  </a:lnTo>
                  <a:lnTo>
                    <a:pt x="401" y="40"/>
                  </a:lnTo>
                  <a:lnTo>
                    <a:pt x="403" y="41"/>
                  </a:lnTo>
                  <a:lnTo>
                    <a:pt x="403" y="43"/>
                  </a:lnTo>
                  <a:lnTo>
                    <a:pt x="404" y="44"/>
                  </a:lnTo>
                  <a:lnTo>
                    <a:pt x="400" y="43"/>
                  </a:lnTo>
                  <a:lnTo>
                    <a:pt x="403" y="45"/>
                  </a:lnTo>
                  <a:lnTo>
                    <a:pt x="403" y="46"/>
                  </a:lnTo>
                  <a:lnTo>
                    <a:pt x="401" y="46"/>
                  </a:lnTo>
                  <a:lnTo>
                    <a:pt x="401" y="47"/>
                  </a:lnTo>
                  <a:lnTo>
                    <a:pt x="400" y="47"/>
                  </a:lnTo>
                  <a:lnTo>
                    <a:pt x="399" y="46"/>
                  </a:lnTo>
                  <a:lnTo>
                    <a:pt x="398" y="45"/>
                  </a:lnTo>
                  <a:lnTo>
                    <a:pt x="395" y="47"/>
                  </a:lnTo>
                  <a:lnTo>
                    <a:pt x="395" y="50"/>
                  </a:lnTo>
                  <a:lnTo>
                    <a:pt x="394" y="51"/>
                  </a:lnTo>
                  <a:lnTo>
                    <a:pt x="395" y="52"/>
                  </a:lnTo>
                  <a:lnTo>
                    <a:pt x="397" y="51"/>
                  </a:lnTo>
                  <a:lnTo>
                    <a:pt x="398" y="52"/>
                  </a:lnTo>
                  <a:lnTo>
                    <a:pt x="398" y="53"/>
                  </a:lnTo>
                  <a:lnTo>
                    <a:pt x="399" y="55"/>
                  </a:lnTo>
                  <a:lnTo>
                    <a:pt x="401" y="56"/>
                  </a:lnTo>
                  <a:lnTo>
                    <a:pt x="401" y="55"/>
                  </a:lnTo>
                  <a:lnTo>
                    <a:pt x="401" y="51"/>
                  </a:lnTo>
                  <a:lnTo>
                    <a:pt x="401" y="50"/>
                  </a:lnTo>
                  <a:lnTo>
                    <a:pt x="403" y="51"/>
                  </a:lnTo>
                  <a:lnTo>
                    <a:pt x="405" y="50"/>
                  </a:lnTo>
                  <a:lnTo>
                    <a:pt x="404" y="52"/>
                  </a:lnTo>
                  <a:lnTo>
                    <a:pt x="405" y="52"/>
                  </a:lnTo>
                  <a:lnTo>
                    <a:pt x="406" y="53"/>
                  </a:lnTo>
                  <a:lnTo>
                    <a:pt x="406" y="55"/>
                  </a:lnTo>
                  <a:lnTo>
                    <a:pt x="407" y="55"/>
                  </a:lnTo>
                  <a:lnTo>
                    <a:pt x="409" y="56"/>
                  </a:lnTo>
                  <a:lnTo>
                    <a:pt x="407" y="57"/>
                  </a:lnTo>
                  <a:lnTo>
                    <a:pt x="406" y="58"/>
                  </a:lnTo>
                  <a:lnTo>
                    <a:pt x="405" y="59"/>
                  </a:lnTo>
                  <a:lnTo>
                    <a:pt x="405" y="61"/>
                  </a:lnTo>
                  <a:lnTo>
                    <a:pt x="405" y="63"/>
                  </a:lnTo>
                  <a:lnTo>
                    <a:pt x="405" y="64"/>
                  </a:lnTo>
                  <a:lnTo>
                    <a:pt x="406" y="63"/>
                  </a:lnTo>
                  <a:lnTo>
                    <a:pt x="406" y="61"/>
                  </a:lnTo>
                  <a:lnTo>
                    <a:pt x="406" y="59"/>
                  </a:lnTo>
                  <a:lnTo>
                    <a:pt x="407" y="58"/>
                  </a:lnTo>
                  <a:lnTo>
                    <a:pt x="407" y="59"/>
                  </a:lnTo>
                  <a:lnTo>
                    <a:pt x="410" y="61"/>
                  </a:lnTo>
                  <a:lnTo>
                    <a:pt x="411" y="61"/>
                  </a:lnTo>
                  <a:lnTo>
                    <a:pt x="411" y="59"/>
                  </a:lnTo>
                  <a:lnTo>
                    <a:pt x="413" y="62"/>
                  </a:lnTo>
                  <a:lnTo>
                    <a:pt x="415" y="61"/>
                  </a:lnTo>
                  <a:lnTo>
                    <a:pt x="416" y="61"/>
                  </a:lnTo>
                  <a:lnTo>
                    <a:pt x="417" y="61"/>
                  </a:lnTo>
                  <a:lnTo>
                    <a:pt x="417" y="58"/>
                  </a:lnTo>
                  <a:lnTo>
                    <a:pt x="417" y="61"/>
                  </a:lnTo>
                  <a:lnTo>
                    <a:pt x="418" y="62"/>
                  </a:lnTo>
                  <a:lnTo>
                    <a:pt x="419" y="65"/>
                  </a:lnTo>
                  <a:lnTo>
                    <a:pt x="422" y="67"/>
                  </a:lnTo>
                  <a:lnTo>
                    <a:pt x="422" y="68"/>
                  </a:lnTo>
                  <a:lnTo>
                    <a:pt x="423" y="67"/>
                  </a:lnTo>
                  <a:lnTo>
                    <a:pt x="425" y="64"/>
                  </a:lnTo>
                  <a:lnTo>
                    <a:pt x="425" y="63"/>
                  </a:lnTo>
                  <a:lnTo>
                    <a:pt x="424" y="62"/>
                  </a:lnTo>
                  <a:lnTo>
                    <a:pt x="424" y="59"/>
                  </a:lnTo>
                  <a:lnTo>
                    <a:pt x="425" y="59"/>
                  </a:lnTo>
                  <a:lnTo>
                    <a:pt x="425" y="57"/>
                  </a:lnTo>
                  <a:lnTo>
                    <a:pt x="422" y="55"/>
                  </a:lnTo>
                  <a:lnTo>
                    <a:pt x="419" y="52"/>
                  </a:lnTo>
                  <a:lnTo>
                    <a:pt x="417" y="50"/>
                  </a:lnTo>
                  <a:lnTo>
                    <a:pt x="415" y="50"/>
                  </a:lnTo>
                  <a:lnTo>
                    <a:pt x="415" y="47"/>
                  </a:lnTo>
                  <a:lnTo>
                    <a:pt x="411" y="47"/>
                  </a:lnTo>
                  <a:lnTo>
                    <a:pt x="412" y="45"/>
                  </a:lnTo>
                  <a:lnTo>
                    <a:pt x="410" y="44"/>
                  </a:lnTo>
                  <a:lnTo>
                    <a:pt x="412" y="44"/>
                  </a:lnTo>
                  <a:lnTo>
                    <a:pt x="412" y="43"/>
                  </a:lnTo>
                  <a:lnTo>
                    <a:pt x="413" y="41"/>
                  </a:lnTo>
                  <a:lnTo>
                    <a:pt x="415" y="41"/>
                  </a:lnTo>
                  <a:lnTo>
                    <a:pt x="416" y="40"/>
                  </a:lnTo>
                  <a:lnTo>
                    <a:pt x="417" y="41"/>
                  </a:lnTo>
                  <a:lnTo>
                    <a:pt x="418" y="41"/>
                  </a:lnTo>
                  <a:lnTo>
                    <a:pt x="418" y="45"/>
                  </a:lnTo>
                  <a:lnTo>
                    <a:pt x="418" y="46"/>
                  </a:lnTo>
                  <a:lnTo>
                    <a:pt x="419" y="44"/>
                  </a:lnTo>
                  <a:lnTo>
                    <a:pt x="419" y="45"/>
                  </a:lnTo>
                  <a:lnTo>
                    <a:pt x="419" y="49"/>
                  </a:lnTo>
                  <a:lnTo>
                    <a:pt x="421" y="50"/>
                  </a:lnTo>
                  <a:lnTo>
                    <a:pt x="422" y="49"/>
                  </a:lnTo>
                  <a:lnTo>
                    <a:pt x="422" y="46"/>
                  </a:lnTo>
                  <a:lnTo>
                    <a:pt x="423" y="46"/>
                  </a:lnTo>
                  <a:lnTo>
                    <a:pt x="424" y="45"/>
                  </a:lnTo>
                  <a:lnTo>
                    <a:pt x="425" y="46"/>
                  </a:lnTo>
                  <a:lnTo>
                    <a:pt x="427" y="45"/>
                  </a:lnTo>
                  <a:lnTo>
                    <a:pt x="428" y="45"/>
                  </a:lnTo>
                  <a:lnTo>
                    <a:pt x="429" y="46"/>
                  </a:lnTo>
                  <a:lnTo>
                    <a:pt x="428" y="47"/>
                  </a:lnTo>
                  <a:lnTo>
                    <a:pt x="428" y="50"/>
                  </a:lnTo>
                  <a:lnTo>
                    <a:pt x="427" y="51"/>
                  </a:lnTo>
                  <a:lnTo>
                    <a:pt x="425" y="52"/>
                  </a:lnTo>
                  <a:lnTo>
                    <a:pt x="425" y="53"/>
                  </a:lnTo>
                  <a:lnTo>
                    <a:pt x="427" y="56"/>
                  </a:lnTo>
                  <a:lnTo>
                    <a:pt x="428" y="59"/>
                  </a:lnTo>
                  <a:lnTo>
                    <a:pt x="429" y="55"/>
                  </a:lnTo>
                  <a:lnTo>
                    <a:pt x="430" y="57"/>
                  </a:lnTo>
                  <a:lnTo>
                    <a:pt x="430" y="58"/>
                  </a:lnTo>
                  <a:lnTo>
                    <a:pt x="431" y="58"/>
                  </a:lnTo>
                  <a:lnTo>
                    <a:pt x="433" y="57"/>
                  </a:lnTo>
                  <a:lnTo>
                    <a:pt x="434" y="58"/>
                  </a:lnTo>
                  <a:lnTo>
                    <a:pt x="434" y="56"/>
                  </a:lnTo>
                  <a:lnTo>
                    <a:pt x="433" y="57"/>
                  </a:lnTo>
                  <a:lnTo>
                    <a:pt x="434" y="55"/>
                  </a:lnTo>
                  <a:lnTo>
                    <a:pt x="439" y="52"/>
                  </a:lnTo>
                  <a:lnTo>
                    <a:pt x="440" y="52"/>
                  </a:lnTo>
                  <a:lnTo>
                    <a:pt x="440" y="49"/>
                  </a:lnTo>
                  <a:lnTo>
                    <a:pt x="444" y="49"/>
                  </a:lnTo>
                  <a:lnTo>
                    <a:pt x="440" y="46"/>
                  </a:lnTo>
                  <a:lnTo>
                    <a:pt x="444" y="49"/>
                  </a:lnTo>
                  <a:lnTo>
                    <a:pt x="445" y="47"/>
                  </a:lnTo>
                  <a:lnTo>
                    <a:pt x="446" y="47"/>
                  </a:lnTo>
                  <a:lnTo>
                    <a:pt x="447" y="47"/>
                  </a:lnTo>
                  <a:lnTo>
                    <a:pt x="447" y="46"/>
                  </a:lnTo>
                  <a:lnTo>
                    <a:pt x="448" y="46"/>
                  </a:lnTo>
                  <a:lnTo>
                    <a:pt x="451" y="50"/>
                  </a:lnTo>
                  <a:lnTo>
                    <a:pt x="452" y="46"/>
                  </a:lnTo>
                  <a:lnTo>
                    <a:pt x="451" y="45"/>
                  </a:lnTo>
                  <a:lnTo>
                    <a:pt x="452" y="45"/>
                  </a:lnTo>
                  <a:lnTo>
                    <a:pt x="453" y="41"/>
                  </a:lnTo>
                  <a:lnTo>
                    <a:pt x="453" y="44"/>
                  </a:lnTo>
                  <a:lnTo>
                    <a:pt x="454" y="45"/>
                  </a:lnTo>
                  <a:lnTo>
                    <a:pt x="453" y="46"/>
                  </a:lnTo>
                  <a:lnTo>
                    <a:pt x="452" y="47"/>
                  </a:lnTo>
                  <a:lnTo>
                    <a:pt x="452" y="49"/>
                  </a:lnTo>
                  <a:lnTo>
                    <a:pt x="453" y="50"/>
                  </a:lnTo>
                  <a:lnTo>
                    <a:pt x="454" y="51"/>
                  </a:lnTo>
                  <a:lnTo>
                    <a:pt x="456" y="51"/>
                  </a:lnTo>
                  <a:lnTo>
                    <a:pt x="456" y="50"/>
                  </a:lnTo>
                  <a:lnTo>
                    <a:pt x="458" y="51"/>
                  </a:lnTo>
                  <a:lnTo>
                    <a:pt x="459" y="51"/>
                  </a:lnTo>
                  <a:lnTo>
                    <a:pt x="460" y="51"/>
                  </a:lnTo>
                  <a:lnTo>
                    <a:pt x="460" y="53"/>
                  </a:lnTo>
                  <a:lnTo>
                    <a:pt x="463" y="55"/>
                  </a:lnTo>
                  <a:lnTo>
                    <a:pt x="463" y="58"/>
                  </a:lnTo>
                  <a:lnTo>
                    <a:pt x="463" y="61"/>
                  </a:lnTo>
                  <a:lnTo>
                    <a:pt x="464" y="62"/>
                  </a:lnTo>
                  <a:lnTo>
                    <a:pt x="465" y="61"/>
                  </a:lnTo>
                  <a:lnTo>
                    <a:pt x="466" y="62"/>
                  </a:lnTo>
                  <a:lnTo>
                    <a:pt x="468" y="63"/>
                  </a:lnTo>
                  <a:lnTo>
                    <a:pt x="470" y="64"/>
                  </a:lnTo>
                  <a:lnTo>
                    <a:pt x="472" y="62"/>
                  </a:lnTo>
                  <a:lnTo>
                    <a:pt x="471" y="61"/>
                  </a:lnTo>
                  <a:lnTo>
                    <a:pt x="472" y="61"/>
                  </a:lnTo>
                  <a:lnTo>
                    <a:pt x="471" y="57"/>
                  </a:lnTo>
                  <a:lnTo>
                    <a:pt x="474" y="57"/>
                  </a:lnTo>
                  <a:lnTo>
                    <a:pt x="475" y="57"/>
                  </a:lnTo>
                  <a:lnTo>
                    <a:pt x="476" y="56"/>
                  </a:lnTo>
                  <a:lnTo>
                    <a:pt x="476" y="57"/>
                  </a:lnTo>
                  <a:lnTo>
                    <a:pt x="477" y="57"/>
                  </a:lnTo>
                  <a:lnTo>
                    <a:pt x="476" y="58"/>
                  </a:lnTo>
                  <a:lnTo>
                    <a:pt x="474" y="61"/>
                  </a:lnTo>
                  <a:lnTo>
                    <a:pt x="475" y="61"/>
                  </a:lnTo>
                  <a:lnTo>
                    <a:pt x="476" y="61"/>
                  </a:lnTo>
                  <a:lnTo>
                    <a:pt x="477" y="61"/>
                  </a:lnTo>
                  <a:lnTo>
                    <a:pt x="478" y="58"/>
                  </a:lnTo>
                  <a:lnTo>
                    <a:pt x="480" y="58"/>
                  </a:lnTo>
                  <a:lnTo>
                    <a:pt x="481" y="58"/>
                  </a:lnTo>
                  <a:lnTo>
                    <a:pt x="480" y="61"/>
                  </a:lnTo>
                  <a:lnTo>
                    <a:pt x="481" y="61"/>
                  </a:lnTo>
                  <a:lnTo>
                    <a:pt x="482" y="62"/>
                  </a:lnTo>
                  <a:lnTo>
                    <a:pt x="482" y="63"/>
                  </a:lnTo>
                  <a:lnTo>
                    <a:pt x="482" y="64"/>
                  </a:lnTo>
                  <a:lnTo>
                    <a:pt x="483" y="65"/>
                  </a:lnTo>
                  <a:lnTo>
                    <a:pt x="484" y="65"/>
                  </a:lnTo>
                  <a:lnTo>
                    <a:pt x="484" y="67"/>
                  </a:lnTo>
                  <a:lnTo>
                    <a:pt x="487" y="67"/>
                  </a:lnTo>
                  <a:lnTo>
                    <a:pt x="486" y="67"/>
                  </a:lnTo>
                  <a:lnTo>
                    <a:pt x="484" y="68"/>
                  </a:lnTo>
                  <a:lnTo>
                    <a:pt x="486" y="69"/>
                  </a:lnTo>
                  <a:lnTo>
                    <a:pt x="487" y="70"/>
                  </a:lnTo>
                  <a:lnTo>
                    <a:pt x="488" y="71"/>
                  </a:lnTo>
                  <a:lnTo>
                    <a:pt x="489" y="71"/>
                  </a:lnTo>
                  <a:lnTo>
                    <a:pt x="489" y="73"/>
                  </a:lnTo>
                  <a:lnTo>
                    <a:pt x="490" y="74"/>
                  </a:lnTo>
                  <a:lnTo>
                    <a:pt x="492" y="74"/>
                  </a:lnTo>
                  <a:lnTo>
                    <a:pt x="490" y="75"/>
                  </a:lnTo>
                  <a:lnTo>
                    <a:pt x="490" y="76"/>
                  </a:lnTo>
                  <a:lnTo>
                    <a:pt x="493" y="75"/>
                  </a:lnTo>
                  <a:lnTo>
                    <a:pt x="494" y="75"/>
                  </a:lnTo>
                  <a:lnTo>
                    <a:pt x="492" y="77"/>
                  </a:lnTo>
                  <a:lnTo>
                    <a:pt x="492" y="79"/>
                  </a:lnTo>
                  <a:lnTo>
                    <a:pt x="493" y="79"/>
                  </a:lnTo>
                  <a:lnTo>
                    <a:pt x="495" y="79"/>
                  </a:lnTo>
                  <a:lnTo>
                    <a:pt x="495" y="80"/>
                  </a:lnTo>
                  <a:lnTo>
                    <a:pt x="495" y="79"/>
                  </a:lnTo>
                  <a:lnTo>
                    <a:pt x="495" y="80"/>
                  </a:lnTo>
                  <a:lnTo>
                    <a:pt x="495" y="82"/>
                  </a:lnTo>
                  <a:lnTo>
                    <a:pt x="497" y="82"/>
                  </a:lnTo>
                  <a:lnTo>
                    <a:pt x="498" y="81"/>
                  </a:lnTo>
                  <a:lnTo>
                    <a:pt x="498" y="80"/>
                  </a:lnTo>
                  <a:lnTo>
                    <a:pt x="498" y="81"/>
                  </a:lnTo>
                  <a:lnTo>
                    <a:pt x="501" y="82"/>
                  </a:lnTo>
                  <a:lnTo>
                    <a:pt x="501" y="81"/>
                  </a:lnTo>
                  <a:lnTo>
                    <a:pt x="501" y="80"/>
                  </a:lnTo>
                  <a:lnTo>
                    <a:pt x="503" y="80"/>
                  </a:lnTo>
                  <a:lnTo>
                    <a:pt x="501" y="79"/>
                  </a:lnTo>
                  <a:lnTo>
                    <a:pt x="500" y="76"/>
                  </a:lnTo>
                  <a:lnTo>
                    <a:pt x="499" y="76"/>
                  </a:lnTo>
                  <a:lnTo>
                    <a:pt x="501" y="76"/>
                  </a:lnTo>
                  <a:lnTo>
                    <a:pt x="501" y="75"/>
                  </a:lnTo>
                  <a:lnTo>
                    <a:pt x="503" y="75"/>
                  </a:lnTo>
                  <a:lnTo>
                    <a:pt x="503" y="74"/>
                  </a:lnTo>
                  <a:lnTo>
                    <a:pt x="506" y="73"/>
                  </a:lnTo>
                  <a:lnTo>
                    <a:pt x="505" y="75"/>
                  </a:lnTo>
                  <a:lnTo>
                    <a:pt x="505" y="76"/>
                  </a:lnTo>
                  <a:lnTo>
                    <a:pt x="505" y="77"/>
                  </a:lnTo>
                  <a:lnTo>
                    <a:pt x="506" y="76"/>
                  </a:lnTo>
                  <a:lnTo>
                    <a:pt x="507" y="79"/>
                  </a:lnTo>
                  <a:lnTo>
                    <a:pt x="510" y="79"/>
                  </a:lnTo>
                  <a:lnTo>
                    <a:pt x="510" y="80"/>
                  </a:lnTo>
                  <a:lnTo>
                    <a:pt x="510" y="79"/>
                  </a:lnTo>
                  <a:lnTo>
                    <a:pt x="511" y="75"/>
                  </a:lnTo>
                  <a:lnTo>
                    <a:pt x="513" y="74"/>
                  </a:lnTo>
                  <a:lnTo>
                    <a:pt x="512" y="77"/>
                  </a:lnTo>
                  <a:lnTo>
                    <a:pt x="511" y="80"/>
                  </a:lnTo>
                  <a:lnTo>
                    <a:pt x="513" y="79"/>
                  </a:lnTo>
                  <a:lnTo>
                    <a:pt x="512" y="80"/>
                  </a:lnTo>
                  <a:lnTo>
                    <a:pt x="513" y="82"/>
                  </a:lnTo>
                  <a:lnTo>
                    <a:pt x="512" y="83"/>
                  </a:lnTo>
                  <a:lnTo>
                    <a:pt x="518" y="86"/>
                  </a:lnTo>
                  <a:lnTo>
                    <a:pt x="512" y="85"/>
                  </a:lnTo>
                  <a:lnTo>
                    <a:pt x="513" y="86"/>
                  </a:lnTo>
                  <a:lnTo>
                    <a:pt x="513" y="87"/>
                  </a:lnTo>
                  <a:lnTo>
                    <a:pt x="512" y="86"/>
                  </a:lnTo>
                  <a:lnTo>
                    <a:pt x="511" y="85"/>
                  </a:lnTo>
                  <a:lnTo>
                    <a:pt x="510" y="86"/>
                  </a:lnTo>
                  <a:lnTo>
                    <a:pt x="510" y="87"/>
                  </a:lnTo>
                  <a:lnTo>
                    <a:pt x="510" y="88"/>
                  </a:lnTo>
                  <a:lnTo>
                    <a:pt x="510" y="89"/>
                  </a:lnTo>
                  <a:lnTo>
                    <a:pt x="509" y="91"/>
                  </a:lnTo>
                  <a:lnTo>
                    <a:pt x="510" y="93"/>
                  </a:lnTo>
                  <a:lnTo>
                    <a:pt x="509" y="95"/>
                  </a:lnTo>
                  <a:lnTo>
                    <a:pt x="509" y="97"/>
                  </a:lnTo>
                  <a:lnTo>
                    <a:pt x="511" y="94"/>
                  </a:lnTo>
                  <a:lnTo>
                    <a:pt x="511" y="97"/>
                  </a:lnTo>
                  <a:lnTo>
                    <a:pt x="511" y="98"/>
                  </a:lnTo>
                  <a:lnTo>
                    <a:pt x="512" y="97"/>
                  </a:lnTo>
                  <a:lnTo>
                    <a:pt x="512" y="98"/>
                  </a:lnTo>
                  <a:lnTo>
                    <a:pt x="512" y="101"/>
                  </a:lnTo>
                  <a:lnTo>
                    <a:pt x="513" y="101"/>
                  </a:lnTo>
                  <a:lnTo>
                    <a:pt x="513" y="103"/>
                  </a:lnTo>
                  <a:lnTo>
                    <a:pt x="511" y="104"/>
                  </a:lnTo>
                  <a:lnTo>
                    <a:pt x="512" y="105"/>
                  </a:lnTo>
                  <a:lnTo>
                    <a:pt x="513" y="105"/>
                  </a:lnTo>
                  <a:lnTo>
                    <a:pt x="515" y="104"/>
                  </a:lnTo>
                  <a:lnTo>
                    <a:pt x="517" y="105"/>
                  </a:lnTo>
                  <a:lnTo>
                    <a:pt x="518" y="105"/>
                  </a:lnTo>
                  <a:lnTo>
                    <a:pt x="518" y="104"/>
                  </a:lnTo>
                  <a:lnTo>
                    <a:pt x="519" y="104"/>
                  </a:lnTo>
                  <a:lnTo>
                    <a:pt x="521" y="105"/>
                  </a:lnTo>
                  <a:lnTo>
                    <a:pt x="522" y="104"/>
                  </a:lnTo>
                  <a:lnTo>
                    <a:pt x="521" y="101"/>
                  </a:lnTo>
                  <a:lnTo>
                    <a:pt x="522" y="99"/>
                  </a:lnTo>
                  <a:lnTo>
                    <a:pt x="523" y="98"/>
                  </a:lnTo>
                  <a:lnTo>
                    <a:pt x="523" y="99"/>
                  </a:lnTo>
                  <a:lnTo>
                    <a:pt x="523" y="101"/>
                  </a:lnTo>
                  <a:lnTo>
                    <a:pt x="524" y="101"/>
                  </a:lnTo>
                  <a:lnTo>
                    <a:pt x="525" y="101"/>
                  </a:lnTo>
                  <a:lnTo>
                    <a:pt x="527" y="100"/>
                  </a:lnTo>
                  <a:lnTo>
                    <a:pt x="525" y="103"/>
                  </a:lnTo>
                  <a:lnTo>
                    <a:pt x="527" y="103"/>
                  </a:lnTo>
                  <a:lnTo>
                    <a:pt x="528" y="103"/>
                  </a:lnTo>
                  <a:lnTo>
                    <a:pt x="528" y="104"/>
                  </a:lnTo>
                  <a:lnTo>
                    <a:pt x="527" y="105"/>
                  </a:lnTo>
                  <a:lnTo>
                    <a:pt x="529" y="105"/>
                  </a:lnTo>
                  <a:lnTo>
                    <a:pt x="530" y="105"/>
                  </a:lnTo>
                  <a:lnTo>
                    <a:pt x="530" y="104"/>
                  </a:lnTo>
                  <a:lnTo>
                    <a:pt x="530" y="105"/>
                  </a:lnTo>
                  <a:lnTo>
                    <a:pt x="534" y="106"/>
                  </a:lnTo>
                  <a:lnTo>
                    <a:pt x="533" y="107"/>
                  </a:lnTo>
                  <a:lnTo>
                    <a:pt x="531" y="109"/>
                  </a:lnTo>
                  <a:lnTo>
                    <a:pt x="530" y="109"/>
                  </a:lnTo>
                  <a:lnTo>
                    <a:pt x="531" y="110"/>
                  </a:lnTo>
                  <a:lnTo>
                    <a:pt x="533" y="111"/>
                  </a:lnTo>
                  <a:lnTo>
                    <a:pt x="530" y="112"/>
                  </a:lnTo>
                  <a:lnTo>
                    <a:pt x="530" y="113"/>
                  </a:lnTo>
                  <a:lnTo>
                    <a:pt x="529" y="112"/>
                  </a:lnTo>
                  <a:lnTo>
                    <a:pt x="528" y="115"/>
                  </a:lnTo>
                  <a:lnTo>
                    <a:pt x="527" y="115"/>
                  </a:lnTo>
                  <a:lnTo>
                    <a:pt x="525" y="112"/>
                  </a:lnTo>
                  <a:lnTo>
                    <a:pt x="524" y="112"/>
                  </a:lnTo>
                  <a:lnTo>
                    <a:pt x="524" y="115"/>
                  </a:lnTo>
                  <a:lnTo>
                    <a:pt x="524" y="116"/>
                  </a:lnTo>
                  <a:lnTo>
                    <a:pt x="523" y="116"/>
                  </a:lnTo>
                  <a:lnTo>
                    <a:pt x="522" y="117"/>
                  </a:lnTo>
                  <a:lnTo>
                    <a:pt x="521" y="117"/>
                  </a:lnTo>
                  <a:lnTo>
                    <a:pt x="521" y="118"/>
                  </a:lnTo>
                  <a:lnTo>
                    <a:pt x="519" y="118"/>
                  </a:lnTo>
                  <a:lnTo>
                    <a:pt x="518" y="117"/>
                  </a:lnTo>
                  <a:lnTo>
                    <a:pt x="517" y="118"/>
                  </a:lnTo>
                  <a:lnTo>
                    <a:pt x="516" y="117"/>
                  </a:lnTo>
                  <a:lnTo>
                    <a:pt x="515" y="117"/>
                  </a:lnTo>
                  <a:lnTo>
                    <a:pt x="515" y="119"/>
                  </a:lnTo>
                  <a:lnTo>
                    <a:pt x="513" y="122"/>
                  </a:lnTo>
                  <a:lnTo>
                    <a:pt x="513" y="124"/>
                  </a:lnTo>
                  <a:lnTo>
                    <a:pt x="515" y="123"/>
                  </a:lnTo>
                  <a:lnTo>
                    <a:pt x="516" y="122"/>
                  </a:lnTo>
                  <a:lnTo>
                    <a:pt x="517" y="123"/>
                  </a:lnTo>
                  <a:lnTo>
                    <a:pt x="519" y="123"/>
                  </a:lnTo>
                  <a:lnTo>
                    <a:pt x="521" y="123"/>
                  </a:lnTo>
                  <a:lnTo>
                    <a:pt x="521" y="121"/>
                  </a:lnTo>
                  <a:lnTo>
                    <a:pt x="522" y="121"/>
                  </a:lnTo>
                  <a:lnTo>
                    <a:pt x="523" y="123"/>
                  </a:lnTo>
                  <a:lnTo>
                    <a:pt x="523" y="125"/>
                  </a:lnTo>
                  <a:lnTo>
                    <a:pt x="524" y="125"/>
                  </a:lnTo>
                  <a:lnTo>
                    <a:pt x="525" y="127"/>
                  </a:lnTo>
                  <a:lnTo>
                    <a:pt x="525" y="128"/>
                  </a:lnTo>
                  <a:lnTo>
                    <a:pt x="527" y="130"/>
                  </a:lnTo>
                  <a:lnTo>
                    <a:pt x="528" y="130"/>
                  </a:lnTo>
                  <a:lnTo>
                    <a:pt x="529" y="130"/>
                  </a:lnTo>
                  <a:lnTo>
                    <a:pt x="531" y="129"/>
                  </a:lnTo>
                  <a:lnTo>
                    <a:pt x="533" y="129"/>
                  </a:lnTo>
                  <a:lnTo>
                    <a:pt x="531" y="130"/>
                  </a:lnTo>
                  <a:lnTo>
                    <a:pt x="530" y="133"/>
                  </a:lnTo>
                  <a:lnTo>
                    <a:pt x="529" y="133"/>
                  </a:lnTo>
                  <a:lnTo>
                    <a:pt x="528" y="134"/>
                  </a:lnTo>
                  <a:lnTo>
                    <a:pt x="530" y="134"/>
                  </a:lnTo>
                  <a:lnTo>
                    <a:pt x="528" y="135"/>
                  </a:lnTo>
                  <a:lnTo>
                    <a:pt x="528" y="136"/>
                  </a:lnTo>
                  <a:lnTo>
                    <a:pt x="528" y="137"/>
                  </a:lnTo>
                  <a:lnTo>
                    <a:pt x="525" y="140"/>
                  </a:lnTo>
                  <a:lnTo>
                    <a:pt x="527" y="140"/>
                  </a:lnTo>
                  <a:lnTo>
                    <a:pt x="525" y="141"/>
                  </a:lnTo>
                  <a:lnTo>
                    <a:pt x="527" y="143"/>
                  </a:lnTo>
                  <a:lnTo>
                    <a:pt x="528" y="146"/>
                  </a:lnTo>
                  <a:lnTo>
                    <a:pt x="529" y="145"/>
                  </a:lnTo>
                  <a:lnTo>
                    <a:pt x="529" y="142"/>
                  </a:lnTo>
                  <a:lnTo>
                    <a:pt x="529" y="141"/>
                  </a:lnTo>
                  <a:lnTo>
                    <a:pt x="529" y="140"/>
                  </a:lnTo>
                  <a:lnTo>
                    <a:pt x="530" y="140"/>
                  </a:lnTo>
                  <a:lnTo>
                    <a:pt x="533" y="140"/>
                  </a:lnTo>
                  <a:lnTo>
                    <a:pt x="533" y="139"/>
                  </a:lnTo>
                  <a:lnTo>
                    <a:pt x="534" y="140"/>
                  </a:lnTo>
                  <a:lnTo>
                    <a:pt x="534" y="142"/>
                  </a:lnTo>
                  <a:lnTo>
                    <a:pt x="535" y="142"/>
                  </a:lnTo>
                  <a:lnTo>
                    <a:pt x="536" y="142"/>
                  </a:lnTo>
                  <a:lnTo>
                    <a:pt x="537" y="142"/>
                  </a:lnTo>
                  <a:lnTo>
                    <a:pt x="540" y="145"/>
                  </a:lnTo>
                  <a:lnTo>
                    <a:pt x="540" y="143"/>
                  </a:lnTo>
                  <a:lnTo>
                    <a:pt x="541" y="143"/>
                  </a:lnTo>
                  <a:lnTo>
                    <a:pt x="540" y="146"/>
                  </a:lnTo>
                  <a:lnTo>
                    <a:pt x="541" y="146"/>
                  </a:lnTo>
                  <a:lnTo>
                    <a:pt x="541" y="147"/>
                  </a:lnTo>
                  <a:lnTo>
                    <a:pt x="541" y="148"/>
                  </a:lnTo>
                  <a:lnTo>
                    <a:pt x="541" y="150"/>
                  </a:lnTo>
                  <a:lnTo>
                    <a:pt x="539" y="150"/>
                  </a:lnTo>
                  <a:lnTo>
                    <a:pt x="537" y="150"/>
                  </a:lnTo>
                  <a:lnTo>
                    <a:pt x="537" y="151"/>
                  </a:lnTo>
                  <a:lnTo>
                    <a:pt x="537" y="152"/>
                  </a:lnTo>
                  <a:lnTo>
                    <a:pt x="539" y="152"/>
                  </a:lnTo>
                  <a:lnTo>
                    <a:pt x="540" y="153"/>
                  </a:lnTo>
                  <a:lnTo>
                    <a:pt x="539" y="153"/>
                  </a:lnTo>
                  <a:lnTo>
                    <a:pt x="537" y="153"/>
                  </a:lnTo>
                  <a:lnTo>
                    <a:pt x="536" y="153"/>
                  </a:lnTo>
                  <a:lnTo>
                    <a:pt x="537" y="154"/>
                  </a:lnTo>
                  <a:lnTo>
                    <a:pt x="537" y="156"/>
                  </a:lnTo>
                  <a:lnTo>
                    <a:pt x="537" y="158"/>
                  </a:lnTo>
                  <a:lnTo>
                    <a:pt x="536" y="159"/>
                  </a:lnTo>
                  <a:lnTo>
                    <a:pt x="537" y="160"/>
                  </a:lnTo>
                  <a:lnTo>
                    <a:pt x="539" y="162"/>
                  </a:lnTo>
                  <a:lnTo>
                    <a:pt x="539" y="159"/>
                  </a:lnTo>
                  <a:lnTo>
                    <a:pt x="540" y="157"/>
                  </a:lnTo>
                  <a:lnTo>
                    <a:pt x="540" y="158"/>
                  </a:lnTo>
                  <a:lnTo>
                    <a:pt x="541" y="159"/>
                  </a:lnTo>
                  <a:lnTo>
                    <a:pt x="542" y="160"/>
                  </a:lnTo>
                  <a:lnTo>
                    <a:pt x="543" y="163"/>
                  </a:lnTo>
                  <a:lnTo>
                    <a:pt x="542" y="163"/>
                  </a:lnTo>
                  <a:lnTo>
                    <a:pt x="541" y="163"/>
                  </a:lnTo>
                  <a:lnTo>
                    <a:pt x="540" y="164"/>
                  </a:lnTo>
                  <a:lnTo>
                    <a:pt x="539" y="166"/>
                  </a:lnTo>
                  <a:lnTo>
                    <a:pt x="539" y="168"/>
                  </a:lnTo>
                  <a:lnTo>
                    <a:pt x="540" y="169"/>
                  </a:lnTo>
                  <a:lnTo>
                    <a:pt x="541" y="166"/>
                  </a:lnTo>
                  <a:lnTo>
                    <a:pt x="541" y="168"/>
                  </a:lnTo>
                  <a:lnTo>
                    <a:pt x="542" y="166"/>
                  </a:lnTo>
                  <a:lnTo>
                    <a:pt x="543" y="166"/>
                  </a:lnTo>
                  <a:lnTo>
                    <a:pt x="545" y="166"/>
                  </a:lnTo>
                  <a:lnTo>
                    <a:pt x="546" y="165"/>
                  </a:lnTo>
                  <a:lnTo>
                    <a:pt x="547" y="165"/>
                  </a:lnTo>
                  <a:lnTo>
                    <a:pt x="549" y="164"/>
                  </a:lnTo>
                  <a:lnTo>
                    <a:pt x="549" y="163"/>
                  </a:lnTo>
                  <a:lnTo>
                    <a:pt x="548" y="162"/>
                  </a:lnTo>
                  <a:lnTo>
                    <a:pt x="548" y="160"/>
                  </a:lnTo>
                  <a:lnTo>
                    <a:pt x="551" y="162"/>
                  </a:lnTo>
                  <a:lnTo>
                    <a:pt x="552" y="162"/>
                  </a:lnTo>
                  <a:lnTo>
                    <a:pt x="556" y="160"/>
                  </a:lnTo>
                  <a:lnTo>
                    <a:pt x="553" y="163"/>
                  </a:lnTo>
                  <a:lnTo>
                    <a:pt x="552" y="164"/>
                  </a:lnTo>
                  <a:lnTo>
                    <a:pt x="552" y="165"/>
                  </a:lnTo>
                  <a:lnTo>
                    <a:pt x="553" y="165"/>
                  </a:lnTo>
                  <a:lnTo>
                    <a:pt x="554" y="166"/>
                  </a:lnTo>
                  <a:lnTo>
                    <a:pt x="556" y="165"/>
                  </a:lnTo>
                  <a:lnTo>
                    <a:pt x="556" y="166"/>
                  </a:lnTo>
                  <a:lnTo>
                    <a:pt x="557" y="166"/>
                  </a:lnTo>
                  <a:lnTo>
                    <a:pt x="560" y="166"/>
                  </a:lnTo>
                  <a:lnTo>
                    <a:pt x="560" y="168"/>
                  </a:lnTo>
                  <a:lnTo>
                    <a:pt x="559" y="168"/>
                  </a:lnTo>
                  <a:lnTo>
                    <a:pt x="557" y="168"/>
                  </a:lnTo>
                  <a:lnTo>
                    <a:pt x="554" y="168"/>
                  </a:lnTo>
                  <a:lnTo>
                    <a:pt x="554" y="169"/>
                  </a:lnTo>
                  <a:lnTo>
                    <a:pt x="556" y="169"/>
                  </a:lnTo>
                  <a:lnTo>
                    <a:pt x="557" y="170"/>
                  </a:lnTo>
                  <a:lnTo>
                    <a:pt x="558" y="171"/>
                  </a:lnTo>
                  <a:lnTo>
                    <a:pt x="557" y="171"/>
                  </a:lnTo>
                  <a:lnTo>
                    <a:pt x="556" y="171"/>
                  </a:lnTo>
                  <a:lnTo>
                    <a:pt x="554" y="172"/>
                  </a:lnTo>
                  <a:lnTo>
                    <a:pt x="553" y="174"/>
                  </a:lnTo>
                  <a:lnTo>
                    <a:pt x="551" y="174"/>
                  </a:lnTo>
                  <a:lnTo>
                    <a:pt x="551" y="176"/>
                  </a:lnTo>
                  <a:lnTo>
                    <a:pt x="551" y="177"/>
                  </a:lnTo>
                  <a:lnTo>
                    <a:pt x="551" y="178"/>
                  </a:lnTo>
                  <a:lnTo>
                    <a:pt x="549" y="177"/>
                  </a:lnTo>
                  <a:lnTo>
                    <a:pt x="546" y="176"/>
                  </a:lnTo>
                  <a:lnTo>
                    <a:pt x="543" y="177"/>
                  </a:lnTo>
                  <a:lnTo>
                    <a:pt x="543" y="178"/>
                  </a:lnTo>
                  <a:lnTo>
                    <a:pt x="547" y="180"/>
                  </a:lnTo>
                  <a:lnTo>
                    <a:pt x="551" y="180"/>
                  </a:lnTo>
                  <a:lnTo>
                    <a:pt x="554" y="177"/>
                  </a:lnTo>
                  <a:lnTo>
                    <a:pt x="554" y="178"/>
                  </a:lnTo>
                  <a:lnTo>
                    <a:pt x="556" y="177"/>
                  </a:lnTo>
                  <a:lnTo>
                    <a:pt x="558" y="177"/>
                  </a:lnTo>
                  <a:lnTo>
                    <a:pt x="557" y="178"/>
                  </a:lnTo>
                  <a:lnTo>
                    <a:pt x="558" y="181"/>
                  </a:lnTo>
                  <a:lnTo>
                    <a:pt x="559" y="181"/>
                  </a:lnTo>
                  <a:lnTo>
                    <a:pt x="559" y="183"/>
                  </a:lnTo>
                  <a:lnTo>
                    <a:pt x="557" y="183"/>
                  </a:lnTo>
                  <a:lnTo>
                    <a:pt x="556" y="182"/>
                  </a:lnTo>
                  <a:lnTo>
                    <a:pt x="554" y="183"/>
                  </a:lnTo>
                  <a:lnTo>
                    <a:pt x="554" y="184"/>
                  </a:lnTo>
                  <a:lnTo>
                    <a:pt x="553" y="184"/>
                  </a:lnTo>
                  <a:lnTo>
                    <a:pt x="552" y="183"/>
                  </a:lnTo>
                  <a:lnTo>
                    <a:pt x="552" y="181"/>
                  </a:lnTo>
                  <a:lnTo>
                    <a:pt x="551" y="181"/>
                  </a:lnTo>
                  <a:lnTo>
                    <a:pt x="547" y="181"/>
                  </a:lnTo>
                  <a:lnTo>
                    <a:pt x="545" y="181"/>
                  </a:lnTo>
                  <a:lnTo>
                    <a:pt x="545" y="182"/>
                  </a:lnTo>
                  <a:lnTo>
                    <a:pt x="546" y="182"/>
                  </a:lnTo>
                  <a:lnTo>
                    <a:pt x="547" y="182"/>
                  </a:lnTo>
                  <a:lnTo>
                    <a:pt x="547" y="184"/>
                  </a:lnTo>
                  <a:lnTo>
                    <a:pt x="548" y="184"/>
                  </a:lnTo>
                  <a:lnTo>
                    <a:pt x="548" y="186"/>
                  </a:lnTo>
                  <a:lnTo>
                    <a:pt x="547" y="187"/>
                  </a:lnTo>
                  <a:lnTo>
                    <a:pt x="547" y="189"/>
                  </a:lnTo>
                  <a:lnTo>
                    <a:pt x="546" y="189"/>
                  </a:lnTo>
                  <a:lnTo>
                    <a:pt x="545" y="190"/>
                  </a:lnTo>
                  <a:lnTo>
                    <a:pt x="546" y="190"/>
                  </a:lnTo>
                  <a:lnTo>
                    <a:pt x="548" y="189"/>
                  </a:lnTo>
                  <a:lnTo>
                    <a:pt x="547" y="192"/>
                  </a:lnTo>
                  <a:lnTo>
                    <a:pt x="547" y="194"/>
                  </a:lnTo>
                  <a:lnTo>
                    <a:pt x="548" y="194"/>
                  </a:lnTo>
                  <a:lnTo>
                    <a:pt x="547" y="195"/>
                  </a:lnTo>
                  <a:lnTo>
                    <a:pt x="548" y="196"/>
                  </a:lnTo>
                  <a:lnTo>
                    <a:pt x="549" y="196"/>
                  </a:lnTo>
                  <a:lnTo>
                    <a:pt x="547" y="198"/>
                  </a:lnTo>
                  <a:lnTo>
                    <a:pt x="547" y="200"/>
                  </a:lnTo>
                  <a:lnTo>
                    <a:pt x="548" y="201"/>
                  </a:lnTo>
                  <a:lnTo>
                    <a:pt x="551" y="201"/>
                  </a:lnTo>
                  <a:lnTo>
                    <a:pt x="551" y="202"/>
                  </a:lnTo>
                  <a:lnTo>
                    <a:pt x="549" y="204"/>
                  </a:lnTo>
                  <a:lnTo>
                    <a:pt x="548" y="202"/>
                  </a:lnTo>
                  <a:lnTo>
                    <a:pt x="546" y="202"/>
                  </a:lnTo>
                  <a:lnTo>
                    <a:pt x="547" y="204"/>
                  </a:lnTo>
                  <a:lnTo>
                    <a:pt x="547" y="205"/>
                  </a:lnTo>
                  <a:lnTo>
                    <a:pt x="548" y="205"/>
                  </a:lnTo>
                  <a:lnTo>
                    <a:pt x="548" y="207"/>
                  </a:lnTo>
                  <a:lnTo>
                    <a:pt x="547" y="207"/>
                  </a:lnTo>
                  <a:lnTo>
                    <a:pt x="547" y="208"/>
                  </a:lnTo>
                  <a:lnTo>
                    <a:pt x="546" y="207"/>
                  </a:lnTo>
                  <a:lnTo>
                    <a:pt x="546" y="205"/>
                  </a:lnTo>
                  <a:lnTo>
                    <a:pt x="545" y="205"/>
                  </a:lnTo>
                  <a:lnTo>
                    <a:pt x="543" y="205"/>
                  </a:lnTo>
                  <a:lnTo>
                    <a:pt x="542" y="205"/>
                  </a:lnTo>
                  <a:lnTo>
                    <a:pt x="541" y="205"/>
                  </a:lnTo>
                  <a:lnTo>
                    <a:pt x="540" y="204"/>
                  </a:lnTo>
                  <a:lnTo>
                    <a:pt x="537" y="204"/>
                  </a:lnTo>
                  <a:lnTo>
                    <a:pt x="536" y="204"/>
                  </a:lnTo>
                  <a:lnTo>
                    <a:pt x="536" y="205"/>
                  </a:lnTo>
                  <a:lnTo>
                    <a:pt x="537" y="206"/>
                  </a:lnTo>
                  <a:lnTo>
                    <a:pt x="537" y="205"/>
                  </a:lnTo>
                  <a:lnTo>
                    <a:pt x="539" y="205"/>
                  </a:lnTo>
                  <a:lnTo>
                    <a:pt x="539" y="207"/>
                  </a:lnTo>
                  <a:lnTo>
                    <a:pt x="540" y="207"/>
                  </a:lnTo>
                  <a:lnTo>
                    <a:pt x="539" y="208"/>
                  </a:lnTo>
                  <a:lnTo>
                    <a:pt x="540" y="210"/>
                  </a:lnTo>
                  <a:lnTo>
                    <a:pt x="541" y="208"/>
                  </a:lnTo>
                  <a:lnTo>
                    <a:pt x="541" y="210"/>
                  </a:lnTo>
                  <a:lnTo>
                    <a:pt x="541" y="211"/>
                  </a:lnTo>
                  <a:lnTo>
                    <a:pt x="541" y="212"/>
                  </a:lnTo>
                  <a:lnTo>
                    <a:pt x="540" y="217"/>
                  </a:lnTo>
                  <a:lnTo>
                    <a:pt x="543" y="217"/>
                  </a:lnTo>
                  <a:lnTo>
                    <a:pt x="543" y="219"/>
                  </a:lnTo>
                  <a:lnTo>
                    <a:pt x="546" y="219"/>
                  </a:lnTo>
                  <a:lnTo>
                    <a:pt x="547" y="220"/>
                  </a:lnTo>
                  <a:lnTo>
                    <a:pt x="548" y="220"/>
                  </a:lnTo>
                  <a:lnTo>
                    <a:pt x="549" y="219"/>
                  </a:lnTo>
                  <a:lnTo>
                    <a:pt x="549" y="220"/>
                  </a:lnTo>
                  <a:lnTo>
                    <a:pt x="549" y="222"/>
                  </a:lnTo>
                  <a:lnTo>
                    <a:pt x="552" y="222"/>
                  </a:lnTo>
                  <a:lnTo>
                    <a:pt x="553" y="220"/>
                  </a:lnTo>
                  <a:lnTo>
                    <a:pt x="554" y="219"/>
                  </a:lnTo>
                  <a:lnTo>
                    <a:pt x="556" y="220"/>
                  </a:lnTo>
                  <a:lnTo>
                    <a:pt x="556" y="222"/>
                  </a:lnTo>
                  <a:lnTo>
                    <a:pt x="553" y="223"/>
                  </a:lnTo>
                  <a:lnTo>
                    <a:pt x="554" y="224"/>
                  </a:lnTo>
                  <a:lnTo>
                    <a:pt x="557" y="224"/>
                  </a:lnTo>
                  <a:lnTo>
                    <a:pt x="557" y="226"/>
                  </a:lnTo>
                  <a:lnTo>
                    <a:pt x="558" y="228"/>
                  </a:lnTo>
                  <a:lnTo>
                    <a:pt x="559" y="226"/>
                  </a:lnTo>
                  <a:lnTo>
                    <a:pt x="560" y="226"/>
                  </a:lnTo>
                  <a:lnTo>
                    <a:pt x="562" y="226"/>
                  </a:lnTo>
                  <a:lnTo>
                    <a:pt x="562" y="225"/>
                  </a:lnTo>
                  <a:lnTo>
                    <a:pt x="563" y="224"/>
                  </a:lnTo>
                  <a:lnTo>
                    <a:pt x="563" y="225"/>
                  </a:lnTo>
                  <a:lnTo>
                    <a:pt x="563" y="226"/>
                  </a:lnTo>
                  <a:lnTo>
                    <a:pt x="564" y="226"/>
                  </a:lnTo>
                  <a:lnTo>
                    <a:pt x="565" y="226"/>
                  </a:lnTo>
                  <a:lnTo>
                    <a:pt x="566" y="225"/>
                  </a:lnTo>
                  <a:lnTo>
                    <a:pt x="566" y="224"/>
                  </a:lnTo>
                  <a:lnTo>
                    <a:pt x="568" y="223"/>
                  </a:lnTo>
                  <a:lnTo>
                    <a:pt x="569" y="224"/>
                  </a:lnTo>
                  <a:lnTo>
                    <a:pt x="569" y="225"/>
                  </a:lnTo>
                  <a:lnTo>
                    <a:pt x="568" y="230"/>
                  </a:lnTo>
                  <a:lnTo>
                    <a:pt x="566" y="230"/>
                  </a:lnTo>
                  <a:lnTo>
                    <a:pt x="565" y="231"/>
                  </a:lnTo>
                  <a:lnTo>
                    <a:pt x="565" y="232"/>
                  </a:lnTo>
                  <a:lnTo>
                    <a:pt x="564" y="231"/>
                  </a:lnTo>
                  <a:lnTo>
                    <a:pt x="563" y="231"/>
                  </a:lnTo>
                  <a:lnTo>
                    <a:pt x="564" y="234"/>
                  </a:lnTo>
                  <a:lnTo>
                    <a:pt x="563" y="234"/>
                  </a:lnTo>
                  <a:lnTo>
                    <a:pt x="562" y="234"/>
                  </a:lnTo>
                  <a:lnTo>
                    <a:pt x="558" y="235"/>
                  </a:lnTo>
                  <a:lnTo>
                    <a:pt x="557" y="235"/>
                  </a:lnTo>
                  <a:lnTo>
                    <a:pt x="556" y="236"/>
                  </a:lnTo>
                  <a:lnTo>
                    <a:pt x="554" y="236"/>
                  </a:lnTo>
                  <a:lnTo>
                    <a:pt x="553" y="238"/>
                  </a:lnTo>
                  <a:lnTo>
                    <a:pt x="552" y="238"/>
                  </a:lnTo>
                  <a:lnTo>
                    <a:pt x="549" y="238"/>
                  </a:lnTo>
                  <a:lnTo>
                    <a:pt x="551" y="240"/>
                  </a:lnTo>
                  <a:lnTo>
                    <a:pt x="552" y="241"/>
                  </a:lnTo>
                  <a:lnTo>
                    <a:pt x="552" y="242"/>
                  </a:lnTo>
                  <a:lnTo>
                    <a:pt x="554" y="241"/>
                  </a:lnTo>
                  <a:lnTo>
                    <a:pt x="554" y="242"/>
                  </a:lnTo>
                  <a:lnTo>
                    <a:pt x="557" y="242"/>
                  </a:lnTo>
                  <a:lnTo>
                    <a:pt x="557" y="240"/>
                  </a:lnTo>
                  <a:lnTo>
                    <a:pt x="559" y="241"/>
                  </a:lnTo>
                  <a:lnTo>
                    <a:pt x="563" y="240"/>
                  </a:lnTo>
                  <a:lnTo>
                    <a:pt x="564" y="238"/>
                  </a:lnTo>
                  <a:lnTo>
                    <a:pt x="564" y="237"/>
                  </a:lnTo>
                  <a:lnTo>
                    <a:pt x="564" y="236"/>
                  </a:lnTo>
                  <a:lnTo>
                    <a:pt x="564" y="235"/>
                  </a:lnTo>
                  <a:lnTo>
                    <a:pt x="566" y="235"/>
                  </a:lnTo>
                  <a:lnTo>
                    <a:pt x="568" y="234"/>
                  </a:lnTo>
                  <a:lnTo>
                    <a:pt x="570" y="236"/>
                  </a:lnTo>
                  <a:lnTo>
                    <a:pt x="571" y="235"/>
                  </a:lnTo>
                  <a:lnTo>
                    <a:pt x="572" y="235"/>
                  </a:lnTo>
                  <a:lnTo>
                    <a:pt x="574" y="232"/>
                  </a:lnTo>
                  <a:lnTo>
                    <a:pt x="574" y="235"/>
                  </a:lnTo>
                  <a:lnTo>
                    <a:pt x="575" y="235"/>
                  </a:lnTo>
                  <a:lnTo>
                    <a:pt x="576" y="235"/>
                  </a:lnTo>
                  <a:lnTo>
                    <a:pt x="578" y="235"/>
                  </a:lnTo>
                  <a:lnTo>
                    <a:pt x="577" y="235"/>
                  </a:lnTo>
                  <a:lnTo>
                    <a:pt x="575" y="236"/>
                  </a:lnTo>
                  <a:lnTo>
                    <a:pt x="572" y="237"/>
                  </a:lnTo>
                  <a:lnTo>
                    <a:pt x="574" y="237"/>
                  </a:lnTo>
                  <a:lnTo>
                    <a:pt x="574" y="238"/>
                  </a:lnTo>
                  <a:lnTo>
                    <a:pt x="576" y="241"/>
                  </a:lnTo>
                  <a:lnTo>
                    <a:pt x="574" y="241"/>
                  </a:lnTo>
                  <a:lnTo>
                    <a:pt x="572" y="241"/>
                  </a:lnTo>
                  <a:lnTo>
                    <a:pt x="571" y="241"/>
                  </a:lnTo>
                  <a:lnTo>
                    <a:pt x="569" y="240"/>
                  </a:lnTo>
                  <a:lnTo>
                    <a:pt x="570" y="241"/>
                  </a:lnTo>
                  <a:lnTo>
                    <a:pt x="571" y="242"/>
                  </a:lnTo>
                  <a:lnTo>
                    <a:pt x="572" y="244"/>
                  </a:lnTo>
                  <a:lnTo>
                    <a:pt x="574" y="246"/>
                  </a:lnTo>
                  <a:lnTo>
                    <a:pt x="571" y="248"/>
                  </a:lnTo>
                  <a:lnTo>
                    <a:pt x="575" y="247"/>
                  </a:lnTo>
                  <a:lnTo>
                    <a:pt x="576" y="246"/>
                  </a:lnTo>
                  <a:lnTo>
                    <a:pt x="577" y="247"/>
                  </a:lnTo>
                  <a:lnTo>
                    <a:pt x="578" y="249"/>
                  </a:lnTo>
                  <a:lnTo>
                    <a:pt x="578" y="250"/>
                  </a:lnTo>
                  <a:lnTo>
                    <a:pt x="576" y="249"/>
                  </a:lnTo>
                  <a:lnTo>
                    <a:pt x="575" y="248"/>
                  </a:lnTo>
                  <a:lnTo>
                    <a:pt x="574" y="248"/>
                  </a:lnTo>
                  <a:lnTo>
                    <a:pt x="575" y="250"/>
                  </a:lnTo>
                  <a:lnTo>
                    <a:pt x="576" y="252"/>
                  </a:lnTo>
                  <a:lnTo>
                    <a:pt x="574" y="250"/>
                  </a:lnTo>
                  <a:lnTo>
                    <a:pt x="572" y="250"/>
                  </a:lnTo>
                  <a:lnTo>
                    <a:pt x="572" y="252"/>
                  </a:lnTo>
                  <a:lnTo>
                    <a:pt x="574" y="254"/>
                  </a:lnTo>
                  <a:lnTo>
                    <a:pt x="571" y="254"/>
                  </a:lnTo>
                  <a:lnTo>
                    <a:pt x="572" y="255"/>
                  </a:lnTo>
                  <a:lnTo>
                    <a:pt x="571" y="257"/>
                  </a:lnTo>
                  <a:lnTo>
                    <a:pt x="570" y="257"/>
                  </a:lnTo>
                  <a:lnTo>
                    <a:pt x="571" y="259"/>
                  </a:lnTo>
                  <a:lnTo>
                    <a:pt x="569" y="260"/>
                  </a:lnTo>
                  <a:lnTo>
                    <a:pt x="570" y="261"/>
                  </a:lnTo>
                  <a:lnTo>
                    <a:pt x="571" y="261"/>
                  </a:lnTo>
                  <a:lnTo>
                    <a:pt x="574" y="261"/>
                  </a:lnTo>
                  <a:lnTo>
                    <a:pt x="575" y="263"/>
                  </a:lnTo>
                  <a:lnTo>
                    <a:pt x="577" y="264"/>
                  </a:lnTo>
                  <a:lnTo>
                    <a:pt x="578" y="264"/>
                  </a:lnTo>
                  <a:lnTo>
                    <a:pt x="581" y="265"/>
                  </a:lnTo>
                  <a:lnTo>
                    <a:pt x="583" y="265"/>
                  </a:lnTo>
                  <a:lnTo>
                    <a:pt x="584" y="265"/>
                  </a:lnTo>
                  <a:lnTo>
                    <a:pt x="586" y="267"/>
                  </a:lnTo>
                  <a:lnTo>
                    <a:pt x="588" y="267"/>
                  </a:lnTo>
                  <a:lnTo>
                    <a:pt x="586" y="269"/>
                  </a:lnTo>
                  <a:lnTo>
                    <a:pt x="584" y="269"/>
                  </a:lnTo>
                  <a:lnTo>
                    <a:pt x="584" y="270"/>
                  </a:lnTo>
                  <a:lnTo>
                    <a:pt x="584" y="271"/>
                  </a:lnTo>
                  <a:lnTo>
                    <a:pt x="584" y="272"/>
                  </a:lnTo>
                  <a:lnTo>
                    <a:pt x="586" y="275"/>
                  </a:lnTo>
                  <a:lnTo>
                    <a:pt x="584" y="273"/>
                  </a:lnTo>
                  <a:lnTo>
                    <a:pt x="584" y="275"/>
                  </a:lnTo>
                  <a:lnTo>
                    <a:pt x="584" y="276"/>
                  </a:lnTo>
                  <a:lnTo>
                    <a:pt x="583" y="277"/>
                  </a:lnTo>
                  <a:lnTo>
                    <a:pt x="581" y="278"/>
                  </a:lnTo>
                  <a:lnTo>
                    <a:pt x="581" y="279"/>
                  </a:lnTo>
                  <a:lnTo>
                    <a:pt x="583" y="279"/>
                  </a:lnTo>
                  <a:lnTo>
                    <a:pt x="583" y="278"/>
                  </a:lnTo>
                  <a:lnTo>
                    <a:pt x="584" y="278"/>
                  </a:lnTo>
                  <a:lnTo>
                    <a:pt x="584" y="281"/>
                  </a:lnTo>
                  <a:lnTo>
                    <a:pt x="583" y="282"/>
                  </a:lnTo>
                  <a:lnTo>
                    <a:pt x="583" y="283"/>
                  </a:lnTo>
                  <a:lnTo>
                    <a:pt x="584" y="284"/>
                  </a:lnTo>
                  <a:lnTo>
                    <a:pt x="584" y="285"/>
                  </a:lnTo>
                  <a:lnTo>
                    <a:pt x="583" y="287"/>
                  </a:lnTo>
                  <a:lnTo>
                    <a:pt x="582" y="284"/>
                  </a:lnTo>
                  <a:lnTo>
                    <a:pt x="581" y="285"/>
                  </a:lnTo>
                  <a:lnTo>
                    <a:pt x="581" y="287"/>
                  </a:lnTo>
                  <a:lnTo>
                    <a:pt x="580" y="285"/>
                  </a:lnTo>
                  <a:lnTo>
                    <a:pt x="578" y="285"/>
                  </a:lnTo>
                  <a:lnTo>
                    <a:pt x="578" y="287"/>
                  </a:lnTo>
                  <a:lnTo>
                    <a:pt x="578" y="288"/>
                  </a:lnTo>
                  <a:lnTo>
                    <a:pt x="581" y="288"/>
                  </a:lnTo>
                  <a:lnTo>
                    <a:pt x="582" y="288"/>
                  </a:lnTo>
                  <a:lnTo>
                    <a:pt x="584" y="289"/>
                  </a:lnTo>
                  <a:lnTo>
                    <a:pt x="586" y="288"/>
                  </a:lnTo>
                  <a:lnTo>
                    <a:pt x="587" y="287"/>
                  </a:lnTo>
                  <a:lnTo>
                    <a:pt x="586" y="285"/>
                  </a:lnTo>
                  <a:lnTo>
                    <a:pt x="587" y="284"/>
                  </a:lnTo>
                  <a:lnTo>
                    <a:pt x="588" y="284"/>
                  </a:lnTo>
                  <a:lnTo>
                    <a:pt x="590" y="284"/>
                  </a:lnTo>
                  <a:lnTo>
                    <a:pt x="589" y="281"/>
                  </a:lnTo>
                  <a:lnTo>
                    <a:pt x="589" y="278"/>
                  </a:lnTo>
                  <a:lnTo>
                    <a:pt x="589" y="277"/>
                  </a:lnTo>
                  <a:lnTo>
                    <a:pt x="590" y="277"/>
                  </a:lnTo>
                  <a:lnTo>
                    <a:pt x="592" y="277"/>
                  </a:lnTo>
                  <a:lnTo>
                    <a:pt x="593" y="278"/>
                  </a:lnTo>
                  <a:lnTo>
                    <a:pt x="592" y="279"/>
                  </a:lnTo>
                  <a:lnTo>
                    <a:pt x="590" y="281"/>
                  </a:lnTo>
                  <a:lnTo>
                    <a:pt x="590" y="283"/>
                  </a:lnTo>
                  <a:lnTo>
                    <a:pt x="592" y="284"/>
                  </a:lnTo>
                  <a:lnTo>
                    <a:pt x="593" y="284"/>
                  </a:lnTo>
                  <a:lnTo>
                    <a:pt x="594" y="284"/>
                  </a:lnTo>
                  <a:lnTo>
                    <a:pt x="595" y="284"/>
                  </a:lnTo>
                  <a:lnTo>
                    <a:pt x="596" y="285"/>
                  </a:lnTo>
                  <a:lnTo>
                    <a:pt x="596" y="287"/>
                  </a:lnTo>
                  <a:lnTo>
                    <a:pt x="598" y="287"/>
                  </a:lnTo>
                  <a:lnTo>
                    <a:pt x="601" y="288"/>
                  </a:lnTo>
                  <a:lnTo>
                    <a:pt x="602" y="288"/>
                  </a:lnTo>
                  <a:lnTo>
                    <a:pt x="601" y="288"/>
                  </a:lnTo>
                  <a:lnTo>
                    <a:pt x="595" y="288"/>
                  </a:lnTo>
                  <a:lnTo>
                    <a:pt x="595" y="289"/>
                  </a:lnTo>
                  <a:lnTo>
                    <a:pt x="598" y="288"/>
                  </a:lnTo>
                  <a:lnTo>
                    <a:pt x="598" y="289"/>
                  </a:lnTo>
                  <a:lnTo>
                    <a:pt x="599" y="289"/>
                  </a:lnTo>
                  <a:lnTo>
                    <a:pt x="600" y="289"/>
                  </a:lnTo>
                  <a:lnTo>
                    <a:pt x="600" y="290"/>
                  </a:lnTo>
                  <a:lnTo>
                    <a:pt x="599" y="290"/>
                  </a:lnTo>
                  <a:lnTo>
                    <a:pt x="600" y="291"/>
                  </a:lnTo>
                  <a:lnTo>
                    <a:pt x="596" y="290"/>
                  </a:lnTo>
                  <a:lnTo>
                    <a:pt x="595" y="290"/>
                  </a:lnTo>
                  <a:lnTo>
                    <a:pt x="596" y="291"/>
                  </a:lnTo>
                  <a:lnTo>
                    <a:pt x="596" y="293"/>
                  </a:lnTo>
                  <a:lnTo>
                    <a:pt x="598" y="293"/>
                  </a:lnTo>
                  <a:lnTo>
                    <a:pt x="598" y="294"/>
                  </a:lnTo>
                  <a:lnTo>
                    <a:pt x="600" y="295"/>
                  </a:lnTo>
                  <a:lnTo>
                    <a:pt x="599" y="294"/>
                  </a:lnTo>
                  <a:lnTo>
                    <a:pt x="600" y="294"/>
                  </a:lnTo>
                  <a:lnTo>
                    <a:pt x="602" y="294"/>
                  </a:lnTo>
                  <a:lnTo>
                    <a:pt x="604" y="294"/>
                  </a:lnTo>
                  <a:lnTo>
                    <a:pt x="605" y="294"/>
                  </a:lnTo>
                  <a:lnTo>
                    <a:pt x="607" y="293"/>
                  </a:lnTo>
                  <a:lnTo>
                    <a:pt x="606" y="291"/>
                  </a:lnTo>
                  <a:lnTo>
                    <a:pt x="605" y="290"/>
                  </a:lnTo>
                  <a:lnTo>
                    <a:pt x="604" y="290"/>
                  </a:lnTo>
                  <a:lnTo>
                    <a:pt x="605" y="289"/>
                  </a:lnTo>
                  <a:lnTo>
                    <a:pt x="606" y="290"/>
                  </a:lnTo>
                  <a:lnTo>
                    <a:pt x="607" y="288"/>
                  </a:lnTo>
                  <a:lnTo>
                    <a:pt x="608" y="288"/>
                  </a:lnTo>
                  <a:lnTo>
                    <a:pt x="611" y="289"/>
                  </a:lnTo>
                  <a:lnTo>
                    <a:pt x="613" y="289"/>
                  </a:lnTo>
                  <a:lnTo>
                    <a:pt x="612" y="287"/>
                  </a:lnTo>
                  <a:lnTo>
                    <a:pt x="615" y="287"/>
                  </a:lnTo>
                  <a:lnTo>
                    <a:pt x="615" y="284"/>
                  </a:lnTo>
                  <a:lnTo>
                    <a:pt x="615" y="287"/>
                  </a:lnTo>
                  <a:lnTo>
                    <a:pt x="617" y="285"/>
                  </a:lnTo>
                  <a:lnTo>
                    <a:pt x="617" y="287"/>
                  </a:lnTo>
                  <a:lnTo>
                    <a:pt x="618" y="287"/>
                  </a:lnTo>
                  <a:lnTo>
                    <a:pt x="621" y="288"/>
                  </a:lnTo>
                  <a:lnTo>
                    <a:pt x="621" y="287"/>
                  </a:lnTo>
                  <a:lnTo>
                    <a:pt x="622" y="285"/>
                  </a:lnTo>
                  <a:lnTo>
                    <a:pt x="622" y="284"/>
                  </a:lnTo>
                  <a:lnTo>
                    <a:pt x="621" y="289"/>
                  </a:lnTo>
                  <a:lnTo>
                    <a:pt x="621" y="290"/>
                  </a:lnTo>
                  <a:lnTo>
                    <a:pt x="622" y="290"/>
                  </a:lnTo>
                  <a:lnTo>
                    <a:pt x="623" y="289"/>
                  </a:lnTo>
                  <a:lnTo>
                    <a:pt x="624" y="287"/>
                  </a:lnTo>
                  <a:lnTo>
                    <a:pt x="623" y="284"/>
                  </a:lnTo>
                  <a:lnTo>
                    <a:pt x="624" y="287"/>
                  </a:lnTo>
                  <a:lnTo>
                    <a:pt x="625" y="287"/>
                  </a:lnTo>
                  <a:lnTo>
                    <a:pt x="625" y="285"/>
                  </a:lnTo>
                  <a:lnTo>
                    <a:pt x="627" y="288"/>
                  </a:lnTo>
                  <a:lnTo>
                    <a:pt x="628" y="288"/>
                  </a:lnTo>
                  <a:lnTo>
                    <a:pt x="629" y="288"/>
                  </a:lnTo>
                  <a:lnTo>
                    <a:pt x="629" y="285"/>
                  </a:lnTo>
                  <a:lnTo>
                    <a:pt x="631" y="288"/>
                  </a:lnTo>
                  <a:lnTo>
                    <a:pt x="634" y="288"/>
                  </a:lnTo>
                  <a:lnTo>
                    <a:pt x="635" y="289"/>
                  </a:lnTo>
                  <a:lnTo>
                    <a:pt x="631" y="288"/>
                  </a:lnTo>
                  <a:lnTo>
                    <a:pt x="630" y="290"/>
                  </a:lnTo>
                  <a:lnTo>
                    <a:pt x="633" y="293"/>
                  </a:lnTo>
                  <a:lnTo>
                    <a:pt x="633" y="294"/>
                  </a:lnTo>
                  <a:lnTo>
                    <a:pt x="634" y="294"/>
                  </a:lnTo>
                  <a:lnTo>
                    <a:pt x="634" y="296"/>
                  </a:lnTo>
                  <a:lnTo>
                    <a:pt x="635" y="296"/>
                  </a:lnTo>
                  <a:lnTo>
                    <a:pt x="637" y="297"/>
                  </a:lnTo>
                  <a:lnTo>
                    <a:pt x="639" y="297"/>
                  </a:lnTo>
                  <a:lnTo>
                    <a:pt x="640" y="299"/>
                  </a:lnTo>
                  <a:lnTo>
                    <a:pt x="640" y="300"/>
                  </a:lnTo>
                  <a:lnTo>
                    <a:pt x="641" y="301"/>
                  </a:lnTo>
                  <a:lnTo>
                    <a:pt x="642" y="301"/>
                  </a:lnTo>
                  <a:lnTo>
                    <a:pt x="643" y="303"/>
                  </a:lnTo>
                  <a:lnTo>
                    <a:pt x="642" y="303"/>
                  </a:lnTo>
                  <a:lnTo>
                    <a:pt x="642" y="305"/>
                  </a:lnTo>
                  <a:lnTo>
                    <a:pt x="641" y="305"/>
                  </a:lnTo>
                  <a:lnTo>
                    <a:pt x="640" y="305"/>
                  </a:lnTo>
                  <a:lnTo>
                    <a:pt x="641" y="306"/>
                  </a:lnTo>
                  <a:lnTo>
                    <a:pt x="643" y="309"/>
                  </a:lnTo>
                  <a:lnTo>
                    <a:pt x="643" y="308"/>
                  </a:lnTo>
                  <a:lnTo>
                    <a:pt x="643" y="306"/>
                  </a:lnTo>
                  <a:lnTo>
                    <a:pt x="645" y="307"/>
                  </a:lnTo>
                  <a:lnTo>
                    <a:pt x="646" y="307"/>
                  </a:lnTo>
                  <a:lnTo>
                    <a:pt x="646" y="308"/>
                  </a:lnTo>
                  <a:lnTo>
                    <a:pt x="646" y="309"/>
                  </a:lnTo>
                  <a:lnTo>
                    <a:pt x="646" y="311"/>
                  </a:lnTo>
                  <a:lnTo>
                    <a:pt x="648" y="311"/>
                  </a:lnTo>
                  <a:lnTo>
                    <a:pt x="651" y="313"/>
                  </a:lnTo>
                  <a:lnTo>
                    <a:pt x="652" y="314"/>
                  </a:lnTo>
                  <a:lnTo>
                    <a:pt x="649" y="317"/>
                  </a:lnTo>
                  <a:lnTo>
                    <a:pt x="652" y="318"/>
                  </a:lnTo>
                  <a:lnTo>
                    <a:pt x="649" y="318"/>
                  </a:lnTo>
                  <a:lnTo>
                    <a:pt x="649" y="320"/>
                  </a:lnTo>
                  <a:lnTo>
                    <a:pt x="649" y="321"/>
                  </a:lnTo>
                  <a:lnTo>
                    <a:pt x="648" y="323"/>
                  </a:lnTo>
                  <a:lnTo>
                    <a:pt x="649" y="323"/>
                  </a:lnTo>
                  <a:lnTo>
                    <a:pt x="647" y="323"/>
                  </a:lnTo>
                  <a:lnTo>
                    <a:pt x="647" y="325"/>
                  </a:lnTo>
                  <a:lnTo>
                    <a:pt x="647" y="326"/>
                  </a:lnTo>
                  <a:lnTo>
                    <a:pt x="646" y="327"/>
                  </a:lnTo>
                  <a:lnTo>
                    <a:pt x="648" y="329"/>
                  </a:lnTo>
                  <a:lnTo>
                    <a:pt x="647" y="329"/>
                  </a:lnTo>
                  <a:lnTo>
                    <a:pt x="646" y="329"/>
                  </a:lnTo>
                  <a:lnTo>
                    <a:pt x="646" y="330"/>
                  </a:lnTo>
                  <a:lnTo>
                    <a:pt x="646" y="331"/>
                  </a:lnTo>
                  <a:lnTo>
                    <a:pt x="643" y="331"/>
                  </a:lnTo>
                  <a:lnTo>
                    <a:pt x="643" y="332"/>
                  </a:lnTo>
                  <a:lnTo>
                    <a:pt x="643" y="335"/>
                  </a:lnTo>
                  <a:lnTo>
                    <a:pt x="642" y="335"/>
                  </a:lnTo>
                  <a:lnTo>
                    <a:pt x="641" y="336"/>
                  </a:lnTo>
                  <a:lnTo>
                    <a:pt x="640" y="336"/>
                  </a:lnTo>
                  <a:lnTo>
                    <a:pt x="637" y="336"/>
                  </a:lnTo>
                  <a:lnTo>
                    <a:pt x="637" y="339"/>
                  </a:lnTo>
                  <a:lnTo>
                    <a:pt x="636" y="341"/>
                  </a:lnTo>
                  <a:lnTo>
                    <a:pt x="635" y="341"/>
                  </a:lnTo>
                  <a:lnTo>
                    <a:pt x="634" y="342"/>
                  </a:lnTo>
                  <a:lnTo>
                    <a:pt x="633" y="343"/>
                  </a:lnTo>
                  <a:lnTo>
                    <a:pt x="631" y="344"/>
                  </a:lnTo>
                  <a:lnTo>
                    <a:pt x="633" y="344"/>
                  </a:lnTo>
                  <a:lnTo>
                    <a:pt x="630" y="344"/>
                  </a:lnTo>
                  <a:lnTo>
                    <a:pt x="630" y="347"/>
                  </a:lnTo>
                  <a:lnTo>
                    <a:pt x="629" y="348"/>
                  </a:lnTo>
                  <a:lnTo>
                    <a:pt x="630" y="349"/>
                  </a:lnTo>
                  <a:lnTo>
                    <a:pt x="631" y="349"/>
                  </a:lnTo>
                  <a:lnTo>
                    <a:pt x="633" y="349"/>
                  </a:lnTo>
                  <a:lnTo>
                    <a:pt x="634" y="348"/>
                  </a:lnTo>
                  <a:lnTo>
                    <a:pt x="633" y="347"/>
                  </a:lnTo>
                  <a:lnTo>
                    <a:pt x="634" y="345"/>
                  </a:lnTo>
                  <a:lnTo>
                    <a:pt x="635" y="344"/>
                  </a:lnTo>
                  <a:lnTo>
                    <a:pt x="636" y="344"/>
                  </a:lnTo>
                  <a:lnTo>
                    <a:pt x="637" y="344"/>
                  </a:lnTo>
                  <a:lnTo>
                    <a:pt x="640" y="344"/>
                  </a:lnTo>
                  <a:lnTo>
                    <a:pt x="639" y="347"/>
                  </a:lnTo>
                  <a:lnTo>
                    <a:pt x="640" y="348"/>
                  </a:lnTo>
                  <a:lnTo>
                    <a:pt x="639" y="349"/>
                  </a:lnTo>
                  <a:lnTo>
                    <a:pt x="637" y="349"/>
                  </a:lnTo>
                  <a:lnTo>
                    <a:pt x="636" y="350"/>
                  </a:lnTo>
                  <a:lnTo>
                    <a:pt x="635" y="351"/>
                  </a:lnTo>
                  <a:lnTo>
                    <a:pt x="636" y="353"/>
                  </a:lnTo>
                  <a:lnTo>
                    <a:pt x="635" y="353"/>
                  </a:lnTo>
                  <a:lnTo>
                    <a:pt x="637" y="354"/>
                  </a:lnTo>
                  <a:lnTo>
                    <a:pt x="639" y="354"/>
                  </a:lnTo>
                  <a:lnTo>
                    <a:pt x="639" y="355"/>
                  </a:lnTo>
                  <a:lnTo>
                    <a:pt x="636" y="355"/>
                  </a:lnTo>
                  <a:lnTo>
                    <a:pt x="635" y="356"/>
                  </a:lnTo>
                  <a:lnTo>
                    <a:pt x="635" y="357"/>
                  </a:lnTo>
                  <a:lnTo>
                    <a:pt x="637" y="357"/>
                  </a:lnTo>
                  <a:lnTo>
                    <a:pt x="635" y="359"/>
                  </a:lnTo>
                  <a:lnTo>
                    <a:pt x="637" y="359"/>
                  </a:lnTo>
                  <a:lnTo>
                    <a:pt x="636" y="361"/>
                  </a:lnTo>
                  <a:lnTo>
                    <a:pt x="636" y="362"/>
                  </a:lnTo>
                  <a:lnTo>
                    <a:pt x="637" y="362"/>
                  </a:lnTo>
                  <a:lnTo>
                    <a:pt x="639" y="362"/>
                  </a:lnTo>
                  <a:lnTo>
                    <a:pt x="639" y="361"/>
                  </a:lnTo>
                  <a:lnTo>
                    <a:pt x="640" y="362"/>
                  </a:lnTo>
                  <a:lnTo>
                    <a:pt x="641" y="362"/>
                  </a:lnTo>
                  <a:lnTo>
                    <a:pt x="642" y="362"/>
                  </a:lnTo>
                  <a:lnTo>
                    <a:pt x="640" y="365"/>
                  </a:lnTo>
                  <a:lnTo>
                    <a:pt x="641" y="366"/>
                  </a:lnTo>
                  <a:lnTo>
                    <a:pt x="643" y="366"/>
                  </a:lnTo>
                  <a:lnTo>
                    <a:pt x="645" y="367"/>
                  </a:lnTo>
                  <a:lnTo>
                    <a:pt x="646" y="365"/>
                  </a:lnTo>
                  <a:lnTo>
                    <a:pt x="647" y="365"/>
                  </a:lnTo>
                  <a:lnTo>
                    <a:pt x="647" y="366"/>
                  </a:lnTo>
                  <a:lnTo>
                    <a:pt x="649" y="367"/>
                  </a:lnTo>
                  <a:lnTo>
                    <a:pt x="651" y="366"/>
                  </a:lnTo>
                  <a:lnTo>
                    <a:pt x="652" y="366"/>
                  </a:lnTo>
                  <a:lnTo>
                    <a:pt x="652" y="367"/>
                  </a:lnTo>
                  <a:lnTo>
                    <a:pt x="651" y="367"/>
                  </a:lnTo>
                  <a:lnTo>
                    <a:pt x="652" y="367"/>
                  </a:lnTo>
                  <a:lnTo>
                    <a:pt x="654" y="367"/>
                  </a:lnTo>
                  <a:lnTo>
                    <a:pt x="654" y="366"/>
                  </a:lnTo>
                  <a:lnTo>
                    <a:pt x="655" y="364"/>
                  </a:lnTo>
                  <a:lnTo>
                    <a:pt x="655" y="365"/>
                  </a:lnTo>
                  <a:lnTo>
                    <a:pt x="657" y="366"/>
                  </a:lnTo>
                  <a:lnTo>
                    <a:pt x="658" y="367"/>
                  </a:lnTo>
                  <a:lnTo>
                    <a:pt x="659" y="367"/>
                  </a:lnTo>
                  <a:lnTo>
                    <a:pt x="658" y="367"/>
                  </a:lnTo>
                  <a:lnTo>
                    <a:pt x="654" y="368"/>
                  </a:lnTo>
                  <a:lnTo>
                    <a:pt x="653" y="371"/>
                  </a:lnTo>
                  <a:lnTo>
                    <a:pt x="653" y="372"/>
                  </a:lnTo>
                  <a:lnTo>
                    <a:pt x="653" y="373"/>
                  </a:lnTo>
                  <a:lnTo>
                    <a:pt x="652" y="374"/>
                  </a:lnTo>
                  <a:lnTo>
                    <a:pt x="653" y="376"/>
                  </a:lnTo>
                  <a:lnTo>
                    <a:pt x="655" y="374"/>
                  </a:lnTo>
                  <a:lnTo>
                    <a:pt x="655" y="373"/>
                  </a:lnTo>
                  <a:lnTo>
                    <a:pt x="655" y="371"/>
                  </a:lnTo>
                  <a:lnTo>
                    <a:pt x="657" y="371"/>
                  </a:lnTo>
                  <a:lnTo>
                    <a:pt x="657" y="370"/>
                  </a:lnTo>
                  <a:lnTo>
                    <a:pt x="658" y="370"/>
                  </a:lnTo>
                  <a:lnTo>
                    <a:pt x="660" y="370"/>
                  </a:lnTo>
                  <a:lnTo>
                    <a:pt x="661" y="368"/>
                  </a:lnTo>
                  <a:lnTo>
                    <a:pt x="660" y="371"/>
                  </a:lnTo>
                  <a:lnTo>
                    <a:pt x="660" y="370"/>
                  </a:lnTo>
                  <a:lnTo>
                    <a:pt x="663" y="370"/>
                  </a:lnTo>
                  <a:lnTo>
                    <a:pt x="660" y="372"/>
                  </a:lnTo>
                  <a:lnTo>
                    <a:pt x="659" y="373"/>
                  </a:lnTo>
                  <a:lnTo>
                    <a:pt x="661" y="374"/>
                  </a:lnTo>
                  <a:lnTo>
                    <a:pt x="660" y="374"/>
                  </a:lnTo>
                  <a:lnTo>
                    <a:pt x="660" y="376"/>
                  </a:lnTo>
                  <a:lnTo>
                    <a:pt x="659" y="377"/>
                  </a:lnTo>
                  <a:lnTo>
                    <a:pt x="660" y="378"/>
                  </a:lnTo>
                  <a:lnTo>
                    <a:pt x="658" y="378"/>
                  </a:lnTo>
                  <a:lnTo>
                    <a:pt x="659" y="380"/>
                  </a:lnTo>
                  <a:lnTo>
                    <a:pt x="658" y="380"/>
                  </a:lnTo>
                  <a:lnTo>
                    <a:pt x="657" y="382"/>
                  </a:lnTo>
                  <a:lnTo>
                    <a:pt x="655" y="382"/>
                  </a:lnTo>
                  <a:lnTo>
                    <a:pt x="657" y="382"/>
                  </a:lnTo>
                  <a:lnTo>
                    <a:pt x="659" y="384"/>
                  </a:lnTo>
                  <a:lnTo>
                    <a:pt x="660" y="386"/>
                  </a:lnTo>
                  <a:lnTo>
                    <a:pt x="658" y="385"/>
                  </a:lnTo>
                  <a:lnTo>
                    <a:pt x="657" y="384"/>
                  </a:lnTo>
                  <a:lnTo>
                    <a:pt x="657" y="383"/>
                  </a:lnTo>
                  <a:lnTo>
                    <a:pt x="657" y="385"/>
                  </a:lnTo>
                  <a:lnTo>
                    <a:pt x="655" y="385"/>
                  </a:lnTo>
                  <a:lnTo>
                    <a:pt x="654" y="385"/>
                  </a:lnTo>
                  <a:lnTo>
                    <a:pt x="653" y="386"/>
                  </a:lnTo>
                  <a:lnTo>
                    <a:pt x="652" y="388"/>
                  </a:lnTo>
                  <a:lnTo>
                    <a:pt x="651" y="389"/>
                  </a:lnTo>
                  <a:lnTo>
                    <a:pt x="651" y="390"/>
                  </a:lnTo>
                  <a:lnTo>
                    <a:pt x="648" y="390"/>
                  </a:lnTo>
                  <a:lnTo>
                    <a:pt x="647" y="388"/>
                  </a:lnTo>
                  <a:lnTo>
                    <a:pt x="647" y="386"/>
                  </a:lnTo>
                  <a:lnTo>
                    <a:pt x="646" y="386"/>
                  </a:lnTo>
                  <a:lnTo>
                    <a:pt x="645" y="386"/>
                  </a:lnTo>
                  <a:lnTo>
                    <a:pt x="645" y="385"/>
                  </a:lnTo>
                  <a:lnTo>
                    <a:pt x="642" y="385"/>
                  </a:lnTo>
                  <a:lnTo>
                    <a:pt x="641" y="385"/>
                  </a:lnTo>
                  <a:lnTo>
                    <a:pt x="640" y="386"/>
                  </a:lnTo>
                  <a:lnTo>
                    <a:pt x="640" y="388"/>
                  </a:lnTo>
                  <a:lnTo>
                    <a:pt x="639" y="389"/>
                  </a:lnTo>
                  <a:lnTo>
                    <a:pt x="637" y="386"/>
                  </a:lnTo>
                  <a:lnTo>
                    <a:pt x="636" y="386"/>
                  </a:lnTo>
                  <a:lnTo>
                    <a:pt x="636" y="384"/>
                  </a:lnTo>
                  <a:lnTo>
                    <a:pt x="636" y="382"/>
                  </a:lnTo>
                  <a:lnTo>
                    <a:pt x="635" y="379"/>
                  </a:lnTo>
                  <a:lnTo>
                    <a:pt x="635" y="382"/>
                  </a:lnTo>
                  <a:lnTo>
                    <a:pt x="634" y="382"/>
                  </a:lnTo>
                  <a:lnTo>
                    <a:pt x="633" y="382"/>
                  </a:lnTo>
                  <a:lnTo>
                    <a:pt x="634" y="384"/>
                  </a:lnTo>
                  <a:lnTo>
                    <a:pt x="633" y="383"/>
                  </a:lnTo>
                  <a:lnTo>
                    <a:pt x="633" y="380"/>
                  </a:lnTo>
                  <a:lnTo>
                    <a:pt x="631" y="378"/>
                  </a:lnTo>
                  <a:lnTo>
                    <a:pt x="629" y="378"/>
                  </a:lnTo>
                  <a:lnTo>
                    <a:pt x="629" y="377"/>
                  </a:lnTo>
                  <a:lnTo>
                    <a:pt x="628" y="376"/>
                  </a:lnTo>
                  <a:lnTo>
                    <a:pt x="628" y="374"/>
                  </a:lnTo>
                  <a:lnTo>
                    <a:pt x="627" y="377"/>
                  </a:lnTo>
                  <a:lnTo>
                    <a:pt x="628" y="378"/>
                  </a:lnTo>
                  <a:lnTo>
                    <a:pt x="627" y="378"/>
                  </a:lnTo>
                  <a:lnTo>
                    <a:pt x="624" y="377"/>
                  </a:lnTo>
                  <a:lnTo>
                    <a:pt x="624" y="374"/>
                  </a:lnTo>
                  <a:lnTo>
                    <a:pt x="621" y="374"/>
                  </a:lnTo>
                  <a:lnTo>
                    <a:pt x="621" y="377"/>
                  </a:lnTo>
                  <a:lnTo>
                    <a:pt x="619" y="376"/>
                  </a:lnTo>
                  <a:lnTo>
                    <a:pt x="618" y="376"/>
                  </a:lnTo>
                  <a:lnTo>
                    <a:pt x="616" y="374"/>
                  </a:lnTo>
                  <a:lnTo>
                    <a:pt x="612" y="373"/>
                  </a:lnTo>
                  <a:lnTo>
                    <a:pt x="611" y="374"/>
                  </a:lnTo>
                  <a:lnTo>
                    <a:pt x="611" y="377"/>
                  </a:lnTo>
                  <a:lnTo>
                    <a:pt x="612" y="376"/>
                  </a:lnTo>
                  <a:lnTo>
                    <a:pt x="612" y="377"/>
                  </a:lnTo>
                  <a:lnTo>
                    <a:pt x="613" y="377"/>
                  </a:lnTo>
                  <a:lnTo>
                    <a:pt x="613" y="378"/>
                  </a:lnTo>
                  <a:lnTo>
                    <a:pt x="616" y="379"/>
                  </a:lnTo>
                  <a:lnTo>
                    <a:pt x="616" y="380"/>
                  </a:lnTo>
                  <a:lnTo>
                    <a:pt x="615" y="380"/>
                  </a:lnTo>
                  <a:lnTo>
                    <a:pt x="613" y="384"/>
                  </a:lnTo>
                  <a:lnTo>
                    <a:pt x="615" y="383"/>
                  </a:lnTo>
                  <a:lnTo>
                    <a:pt x="616" y="383"/>
                  </a:lnTo>
                  <a:lnTo>
                    <a:pt x="616" y="385"/>
                  </a:lnTo>
                  <a:lnTo>
                    <a:pt x="617" y="385"/>
                  </a:lnTo>
                  <a:lnTo>
                    <a:pt x="618" y="385"/>
                  </a:lnTo>
                  <a:lnTo>
                    <a:pt x="619" y="384"/>
                  </a:lnTo>
                  <a:lnTo>
                    <a:pt x="619" y="386"/>
                  </a:lnTo>
                  <a:lnTo>
                    <a:pt x="622" y="386"/>
                  </a:lnTo>
                  <a:lnTo>
                    <a:pt x="623" y="386"/>
                  </a:lnTo>
                  <a:lnTo>
                    <a:pt x="623" y="388"/>
                  </a:lnTo>
                  <a:lnTo>
                    <a:pt x="623" y="389"/>
                  </a:lnTo>
                  <a:lnTo>
                    <a:pt x="622" y="392"/>
                  </a:lnTo>
                  <a:lnTo>
                    <a:pt x="623" y="395"/>
                  </a:lnTo>
                  <a:lnTo>
                    <a:pt x="624" y="394"/>
                  </a:lnTo>
                  <a:lnTo>
                    <a:pt x="627" y="395"/>
                  </a:lnTo>
                  <a:lnTo>
                    <a:pt x="628" y="395"/>
                  </a:lnTo>
                  <a:lnTo>
                    <a:pt x="628" y="396"/>
                  </a:lnTo>
                  <a:lnTo>
                    <a:pt x="629" y="395"/>
                  </a:lnTo>
                  <a:lnTo>
                    <a:pt x="631" y="398"/>
                  </a:lnTo>
                  <a:lnTo>
                    <a:pt x="633" y="396"/>
                  </a:lnTo>
                  <a:lnTo>
                    <a:pt x="634" y="396"/>
                  </a:lnTo>
                  <a:lnTo>
                    <a:pt x="634" y="400"/>
                  </a:lnTo>
                  <a:lnTo>
                    <a:pt x="635" y="400"/>
                  </a:lnTo>
                  <a:lnTo>
                    <a:pt x="637" y="401"/>
                  </a:lnTo>
                  <a:lnTo>
                    <a:pt x="636" y="402"/>
                  </a:lnTo>
                  <a:lnTo>
                    <a:pt x="637" y="402"/>
                  </a:lnTo>
                  <a:lnTo>
                    <a:pt x="636" y="404"/>
                  </a:lnTo>
                  <a:lnTo>
                    <a:pt x="639" y="407"/>
                  </a:lnTo>
                  <a:lnTo>
                    <a:pt x="637" y="408"/>
                  </a:lnTo>
                  <a:lnTo>
                    <a:pt x="640" y="409"/>
                  </a:lnTo>
                  <a:lnTo>
                    <a:pt x="641" y="410"/>
                  </a:lnTo>
                  <a:lnTo>
                    <a:pt x="641" y="412"/>
                  </a:lnTo>
                  <a:lnTo>
                    <a:pt x="641" y="413"/>
                  </a:lnTo>
                  <a:lnTo>
                    <a:pt x="640" y="413"/>
                  </a:lnTo>
                  <a:lnTo>
                    <a:pt x="640" y="414"/>
                  </a:lnTo>
                  <a:lnTo>
                    <a:pt x="639" y="414"/>
                  </a:lnTo>
                  <a:lnTo>
                    <a:pt x="639" y="416"/>
                  </a:lnTo>
                  <a:lnTo>
                    <a:pt x="639" y="418"/>
                  </a:lnTo>
                  <a:lnTo>
                    <a:pt x="637" y="419"/>
                  </a:lnTo>
                  <a:lnTo>
                    <a:pt x="639" y="420"/>
                  </a:lnTo>
                  <a:lnTo>
                    <a:pt x="640" y="420"/>
                  </a:lnTo>
                  <a:lnTo>
                    <a:pt x="639" y="422"/>
                  </a:lnTo>
                  <a:lnTo>
                    <a:pt x="637" y="421"/>
                  </a:lnTo>
                  <a:lnTo>
                    <a:pt x="636" y="421"/>
                  </a:lnTo>
                  <a:lnTo>
                    <a:pt x="636" y="420"/>
                  </a:lnTo>
                  <a:lnTo>
                    <a:pt x="636" y="421"/>
                  </a:lnTo>
                  <a:lnTo>
                    <a:pt x="636" y="424"/>
                  </a:lnTo>
                  <a:lnTo>
                    <a:pt x="637" y="425"/>
                  </a:lnTo>
                  <a:lnTo>
                    <a:pt x="637" y="426"/>
                  </a:lnTo>
                  <a:lnTo>
                    <a:pt x="639" y="430"/>
                  </a:lnTo>
                  <a:lnTo>
                    <a:pt x="637" y="428"/>
                  </a:lnTo>
                  <a:lnTo>
                    <a:pt x="636" y="426"/>
                  </a:lnTo>
                  <a:lnTo>
                    <a:pt x="635" y="426"/>
                  </a:lnTo>
                  <a:lnTo>
                    <a:pt x="635" y="425"/>
                  </a:lnTo>
                  <a:lnTo>
                    <a:pt x="635" y="427"/>
                  </a:lnTo>
                  <a:lnTo>
                    <a:pt x="635" y="428"/>
                  </a:lnTo>
                  <a:lnTo>
                    <a:pt x="635" y="430"/>
                  </a:lnTo>
                  <a:lnTo>
                    <a:pt x="637" y="431"/>
                  </a:lnTo>
                  <a:lnTo>
                    <a:pt x="637" y="432"/>
                  </a:lnTo>
                  <a:lnTo>
                    <a:pt x="639" y="433"/>
                  </a:lnTo>
                  <a:lnTo>
                    <a:pt x="636" y="432"/>
                  </a:lnTo>
                  <a:lnTo>
                    <a:pt x="635" y="432"/>
                  </a:lnTo>
                  <a:lnTo>
                    <a:pt x="636" y="433"/>
                  </a:lnTo>
                  <a:lnTo>
                    <a:pt x="636" y="436"/>
                  </a:lnTo>
                  <a:lnTo>
                    <a:pt x="636" y="437"/>
                  </a:lnTo>
                  <a:lnTo>
                    <a:pt x="634" y="437"/>
                  </a:lnTo>
                  <a:lnTo>
                    <a:pt x="633" y="437"/>
                  </a:lnTo>
                  <a:lnTo>
                    <a:pt x="633" y="438"/>
                  </a:lnTo>
                  <a:lnTo>
                    <a:pt x="630" y="437"/>
                  </a:lnTo>
                  <a:lnTo>
                    <a:pt x="631" y="438"/>
                  </a:lnTo>
                  <a:lnTo>
                    <a:pt x="631" y="440"/>
                  </a:lnTo>
                  <a:lnTo>
                    <a:pt x="630" y="439"/>
                  </a:lnTo>
                  <a:lnTo>
                    <a:pt x="629" y="439"/>
                  </a:lnTo>
                  <a:lnTo>
                    <a:pt x="628" y="439"/>
                  </a:lnTo>
                  <a:lnTo>
                    <a:pt x="630" y="442"/>
                  </a:lnTo>
                  <a:lnTo>
                    <a:pt x="629" y="443"/>
                  </a:lnTo>
                  <a:lnTo>
                    <a:pt x="628" y="443"/>
                  </a:lnTo>
                  <a:lnTo>
                    <a:pt x="629" y="443"/>
                  </a:lnTo>
                  <a:lnTo>
                    <a:pt x="630" y="445"/>
                  </a:lnTo>
                  <a:lnTo>
                    <a:pt x="631" y="445"/>
                  </a:lnTo>
                  <a:lnTo>
                    <a:pt x="631" y="448"/>
                  </a:lnTo>
                  <a:lnTo>
                    <a:pt x="631" y="449"/>
                  </a:lnTo>
                  <a:lnTo>
                    <a:pt x="633" y="448"/>
                  </a:lnTo>
                  <a:lnTo>
                    <a:pt x="634" y="448"/>
                  </a:lnTo>
                  <a:lnTo>
                    <a:pt x="634" y="449"/>
                  </a:lnTo>
                  <a:lnTo>
                    <a:pt x="636" y="451"/>
                  </a:lnTo>
                  <a:lnTo>
                    <a:pt x="634" y="451"/>
                  </a:lnTo>
                  <a:lnTo>
                    <a:pt x="633" y="452"/>
                  </a:lnTo>
                  <a:lnTo>
                    <a:pt x="633" y="451"/>
                  </a:lnTo>
                  <a:lnTo>
                    <a:pt x="631" y="451"/>
                  </a:lnTo>
                  <a:lnTo>
                    <a:pt x="630" y="454"/>
                  </a:lnTo>
                  <a:lnTo>
                    <a:pt x="628" y="454"/>
                  </a:lnTo>
                  <a:lnTo>
                    <a:pt x="628" y="452"/>
                  </a:lnTo>
                  <a:lnTo>
                    <a:pt x="628" y="454"/>
                  </a:lnTo>
                  <a:lnTo>
                    <a:pt x="627" y="454"/>
                  </a:lnTo>
                  <a:lnTo>
                    <a:pt x="625" y="454"/>
                  </a:lnTo>
                  <a:lnTo>
                    <a:pt x="625" y="455"/>
                  </a:lnTo>
                  <a:lnTo>
                    <a:pt x="624" y="456"/>
                  </a:lnTo>
                  <a:lnTo>
                    <a:pt x="624" y="457"/>
                  </a:lnTo>
                  <a:lnTo>
                    <a:pt x="623" y="458"/>
                  </a:lnTo>
                  <a:lnTo>
                    <a:pt x="624" y="460"/>
                  </a:lnTo>
                  <a:lnTo>
                    <a:pt x="624" y="461"/>
                  </a:lnTo>
                  <a:lnTo>
                    <a:pt x="623" y="462"/>
                  </a:lnTo>
                  <a:lnTo>
                    <a:pt x="624" y="462"/>
                  </a:lnTo>
                  <a:lnTo>
                    <a:pt x="624" y="464"/>
                  </a:lnTo>
                  <a:lnTo>
                    <a:pt x="625" y="464"/>
                  </a:lnTo>
                  <a:lnTo>
                    <a:pt x="625" y="466"/>
                  </a:lnTo>
                  <a:lnTo>
                    <a:pt x="624" y="467"/>
                  </a:lnTo>
                  <a:lnTo>
                    <a:pt x="625" y="469"/>
                  </a:lnTo>
                  <a:lnTo>
                    <a:pt x="625" y="468"/>
                  </a:lnTo>
                  <a:lnTo>
                    <a:pt x="627" y="469"/>
                  </a:lnTo>
                  <a:lnTo>
                    <a:pt x="628" y="469"/>
                  </a:lnTo>
                  <a:lnTo>
                    <a:pt x="628" y="471"/>
                  </a:lnTo>
                  <a:lnTo>
                    <a:pt x="629" y="469"/>
                  </a:lnTo>
                  <a:lnTo>
                    <a:pt x="629" y="471"/>
                  </a:lnTo>
                  <a:lnTo>
                    <a:pt x="630" y="473"/>
                  </a:lnTo>
                  <a:lnTo>
                    <a:pt x="631" y="475"/>
                  </a:lnTo>
                  <a:lnTo>
                    <a:pt x="630" y="475"/>
                  </a:lnTo>
                  <a:lnTo>
                    <a:pt x="628" y="475"/>
                  </a:lnTo>
                  <a:lnTo>
                    <a:pt x="627" y="475"/>
                  </a:lnTo>
                  <a:lnTo>
                    <a:pt x="625" y="474"/>
                  </a:lnTo>
                  <a:lnTo>
                    <a:pt x="624" y="473"/>
                  </a:lnTo>
                  <a:lnTo>
                    <a:pt x="624" y="474"/>
                  </a:lnTo>
                  <a:lnTo>
                    <a:pt x="624" y="475"/>
                  </a:lnTo>
                  <a:lnTo>
                    <a:pt x="623" y="475"/>
                  </a:lnTo>
                  <a:lnTo>
                    <a:pt x="622" y="474"/>
                  </a:lnTo>
                  <a:lnTo>
                    <a:pt x="621" y="477"/>
                  </a:lnTo>
                  <a:lnTo>
                    <a:pt x="621" y="474"/>
                  </a:lnTo>
                  <a:lnTo>
                    <a:pt x="621" y="473"/>
                  </a:lnTo>
                  <a:lnTo>
                    <a:pt x="619" y="474"/>
                  </a:lnTo>
                  <a:lnTo>
                    <a:pt x="618" y="478"/>
                  </a:lnTo>
                  <a:lnTo>
                    <a:pt x="618" y="477"/>
                  </a:lnTo>
                  <a:lnTo>
                    <a:pt x="617" y="475"/>
                  </a:lnTo>
                  <a:lnTo>
                    <a:pt x="616" y="474"/>
                  </a:lnTo>
                  <a:lnTo>
                    <a:pt x="616" y="473"/>
                  </a:lnTo>
                  <a:lnTo>
                    <a:pt x="615" y="472"/>
                  </a:lnTo>
                  <a:lnTo>
                    <a:pt x="613" y="471"/>
                  </a:lnTo>
                  <a:lnTo>
                    <a:pt x="613" y="469"/>
                  </a:lnTo>
                  <a:lnTo>
                    <a:pt x="613" y="468"/>
                  </a:lnTo>
                  <a:lnTo>
                    <a:pt x="615" y="467"/>
                  </a:lnTo>
                  <a:lnTo>
                    <a:pt x="615" y="466"/>
                  </a:lnTo>
                  <a:lnTo>
                    <a:pt x="615" y="464"/>
                  </a:lnTo>
                  <a:lnTo>
                    <a:pt x="612" y="462"/>
                  </a:lnTo>
                  <a:lnTo>
                    <a:pt x="611" y="466"/>
                  </a:lnTo>
                  <a:lnTo>
                    <a:pt x="611" y="467"/>
                  </a:lnTo>
                  <a:lnTo>
                    <a:pt x="611" y="468"/>
                  </a:lnTo>
                  <a:lnTo>
                    <a:pt x="611" y="469"/>
                  </a:lnTo>
                  <a:lnTo>
                    <a:pt x="612" y="473"/>
                  </a:lnTo>
                  <a:lnTo>
                    <a:pt x="612" y="474"/>
                  </a:lnTo>
                  <a:lnTo>
                    <a:pt x="611" y="474"/>
                  </a:lnTo>
                  <a:lnTo>
                    <a:pt x="610" y="474"/>
                  </a:lnTo>
                  <a:lnTo>
                    <a:pt x="608" y="473"/>
                  </a:lnTo>
                  <a:lnTo>
                    <a:pt x="608" y="474"/>
                  </a:lnTo>
                  <a:lnTo>
                    <a:pt x="607" y="474"/>
                  </a:lnTo>
                  <a:lnTo>
                    <a:pt x="606" y="474"/>
                  </a:lnTo>
                  <a:lnTo>
                    <a:pt x="605" y="473"/>
                  </a:lnTo>
                  <a:lnTo>
                    <a:pt x="605" y="471"/>
                  </a:lnTo>
                  <a:lnTo>
                    <a:pt x="604" y="469"/>
                  </a:lnTo>
                  <a:lnTo>
                    <a:pt x="602" y="469"/>
                  </a:lnTo>
                  <a:lnTo>
                    <a:pt x="602" y="467"/>
                  </a:lnTo>
                  <a:lnTo>
                    <a:pt x="602" y="466"/>
                  </a:lnTo>
                  <a:lnTo>
                    <a:pt x="600" y="463"/>
                  </a:lnTo>
                  <a:lnTo>
                    <a:pt x="600" y="462"/>
                  </a:lnTo>
                  <a:lnTo>
                    <a:pt x="601" y="462"/>
                  </a:lnTo>
                  <a:lnTo>
                    <a:pt x="602" y="462"/>
                  </a:lnTo>
                  <a:lnTo>
                    <a:pt x="604" y="463"/>
                  </a:lnTo>
                  <a:lnTo>
                    <a:pt x="604" y="462"/>
                  </a:lnTo>
                  <a:lnTo>
                    <a:pt x="605" y="461"/>
                  </a:lnTo>
                  <a:lnTo>
                    <a:pt x="607" y="460"/>
                  </a:lnTo>
                  <a:lnTo>
                    <a:pt x="607" y="458"/>
                  </a:lnTo>
                  <a:lnTo>
                    <a:pt x="607" y="457"/>
                  </a:lnTo>
                  <a:lnTo>
                    <a:pt x="606" y="456"/>
                  </a:lnTo>
                  <a:lnTo>
                    <a:pt x="605" y="456"/>
                  </a:lnTo>
                  <a:lnTo>
                    <a:pt x="604" y="457"/>
                  </a:lnTo>
                  <a:lnTo>
                    <a:pt x="604" y="458"/>
                  </a:lnTo>
                  <a:lnTo>
                    <a:pt x="602" y="460"/>
                  </a:lnTo>
                  <a:lnTo>
                    <a:pt x="601" y="458"/>
                  </a:lnTo>
                  <a:lnTo>
                    <a:pt x="600" y="458"/>
                  </a:lnTo>
                  <a:lnTo>
                    <a:pt x="599" y="456"/>
                  </a:lnTo>
                  <a:lnTo>
                    <a:pt x="598" y="456"/>
                  </a:lnTo>
                  <a:lnTo>
                    <a:pt x="595" y="456"/>
                  </a:lnTo>
                  <a:lnTo>
                    <a:pt x="594" y="458"/>
                  </a:lnTo>
                  <a:lnTo>
                    <a:pt x="593" y="457"/>
                  </a:lnTo>
                  <a:lnTo>
                    <a:pt x="592" y="458"/>
                  </a:lnTo>
                  <a:lnTo>
                    <a:pt x="592" y="461"/>
                  </a:lnTo>
                  <a:lnTo>
                    <a:pt x="592" y="463"/>
                  </a:lnTo>
                  <a:lnTo>
                    <a:pt x="592" y="464"/>
                  </a:lnTo>
                  <a:lnTo>
                    <a:pt x="593" y="468"/>
                  </a:lnTo>
                  <a:lnTo>
                    <a:pt x="595" y="469"/>
                  </a:lnTo>
                  <a:lnTo>
                    <a:pt x="596" y="472"/>
                  </a:lnTo>
                  <a:lnTo>
                    <a:pt x="596" y="473"/>
                  </a:lnTo>
                  <a:lnTo>
                    <a:pt x="598" y="474"/>
                  </a:lnTo>
                  <a:lnTo>
                    <a:pt x="599" y="475"/>
                  </a:lnTo>
                  <a:lnTo>
                    <a:pt x="599" y="477"/>
                  </a:lnTo>
                  <a:lnTo>
                    <a:pt x="596" y="475"/>
                  </a:lnTo>
                  <a:lnTo>
                    <a:pt x="598" y="477"/>
                  </a:lnTo>
                  <a:lnTo>
                    <a:pt x="598" y="478"/>
                  </a:lnTo>
                  <a:lnTo>
                    <a:pt x="595" y="477"/>
                  </a:lnTo>
                  <a:lnTo>
                    <a:pt x="598" y="479"/>
                  </a:lnTo>
                  <a:lnTo>
                    <a:pt x="599" y="480"/>
                  </a:lnTo>
                  <a:lnTo>
                    <a:pt x="599" y="481"/>
                  </a:lnTo>
                  <a:lnTo>
                    <a:pt x="596" y="481"/>
                  </a:lnTo>
                  <a:lnTo>
                    <a:pt x="598" y="481"/>
                  </a:lnTo>
                  <a:lnTo>
                    <a:pt x="596" y="483"/>
                  </a:lnTo>
                  <a:lnTo>
                    <a:pt x="592" y="483"/>
                  </a:lnTo>
                  <a:lnTo>
                    <a:pt x="593" y="486"/>
                  </a:lnTo>
                  <a:lnTo>
                    <a:pt x="593" y="487"/>
                  </a:lnTo>
                  <a:lnTo>
                    <a:pt x="590" y="486"/>
                  </a:lnTo>
                  <a:lnTo>
                    <a:pt x="589" y="486"/>
                  </a:lnTo>
                  <a:lnTo>
                    <a:pt x="587" y="489"/>
                  </a:lnTo>
                  <a:lnTo>
                    <a:pt x="586" y="490"/>
                  </a:lnTo>
                  <a:lnTo>
                    <a:pt x="586" y="492"/>
                  </a:lnTo>
                  <a:lnTo>
                    <a:pt x="584" y="493"/>
                  </a:lnTo>
                  <a:lnTo>
                    <a:pt x="586" y="495"/>
                  </a:lnTo>
                  <a:lnTo>
                    <a:pt x="586" y="497"/>
                  </a:lnTo>
                  <a:lnTo>
                    <a:pt x="587" y="499"/>
                  </a:lnTo>
                  <a:lnTo>
                    <a:pt x="587" y="501"/>
                  </a:lnTo>
                  <a:lnTo>
                    <a:pt x="587" y="502"/>
                  </a:lnTo>
                  <a:lnTo>
                    <a:pt x="587" y="503"/>
                  </a:lnTo>
                  <a:lnTo>
                    <a:pt x="587" y="505"/>
                  </a:lnTo>
                  <a:lnTo>
                    <a:pt x="584" y="504"/>
                  </a:lnTo>
                  <a:lnTo>
                    <a:pt x="583" y="504"/>
                  </a:lnTo>
                  <a:lnTo>
                    <a:pt x="583" y="505"/>
                  </a:lnTo>
                  <a:lnTo>
                    <a:pt x="582" y="505"/>
                  </a:lnTo>
                  <a:lnTo>
                    <a:pt x="581" y="504"/>
                  </a:lnTo>
                  <a:lnTo>
                    <a:pt x="580" y="502"/>
                  </a:lnTo>
                  <a:lnTo>
                    <a:pt x="578" y="503"/>
                  </a:lnTo>
                  <a:lnTo>
                    <a:pt x="575" y="505"/>
                  </a:lnTo>
                  <a:lnTo>
                    <a:pt x="574" y="504"/>
                  </a:lnTo>
                  <a:lnTo>
                    <a:pt x="572" y="504"/>
                  </a:lnTo>
                  <a:lnTo>
                    <a:pt x="570" y="504"/>
                  </a:lnTo>
                  <a:lnTo>
                    <a:pt x="568" y="504"/>
                  </a:lnTo>
                  <a:lnTo>
                    <a:pt x="566" y="504"/>
                  </a:lnTo>
                  <a:lnTo>
                    <a:pt x="564" y="504"/>
                  </a:lnTo>
                  <a:lnTo>
                    <a:pt x="563" y="505"/>
                  </a:lnTo>
                  <a:lnTo>
                    <a:pt x="563" y="504"/>
                  </a:lnTo>
                  <a:lnTo>
                    <a:pt x="563" y="502"/>
                  </a:lnTo>
                  <a:lnTo>
                    <a:pt x="562" y="501"/>
                  </a:lnTo>
                  <a:lnTo>
                    <a:pt x="559" y="501"/>
                  </a:lnTo>
                  <a:lnTo>
                    <a:pt x="559" y="498"/>
                  </a:lnTo>
                  <a:lnTo>
                    <a:pt x="560" y="497"/>
                  </a:lnTo>
                  <a:lnTo>
                    <a:pt x="558" y="497"/>
                  </a:lnTo>
                  <a:lnTo>
                    <a:pt x="559" y="495"/>
                  </a:lnTo>
                  <a:lnTo>
                    <a:pt x="559" y="493"/>
                  </a:lnTo>
                  <a:lnTo>
                    <a:pt x="558" y="491"/>
                  </a:lnTo>
                  <a:lnTo>
                    <a:pt x="559" y="489"/>
                  </a:lnTo>
                  <a:lnTo>
                    <a:pt x="558" y="489"/>
                  </a:lnTo>
                  <a:lnTo>
                    <a:pt x="558" y="487"/>
                  </a:lnTo>
                  <a:lnTo>
                    <a:pt x="557" y="486"/>
                  </a:lnTo>
                  <a:lnTo>
                    <a:pt x="556" y="485"/>
                  </a:lnTo>
                  <a:lnTo>
                    <a:pt x="553" y="486"/>
                  </a:lnTo>
                  <a:lnTo>
                    <a:pt x="553" y="487"/>
                  </a:lnTo>
                  <a:lnTo>
                    <a:pt x="556" y="490"/>
                  </a:lnTo>
                  <a:lnTo>
                    <a:pt x="554" y="490"/>
                  </a:lnTo>
                  <a:lnTo>
                    <a:pt x="556" y="491"/>
                  </a:lnTo>
                  <a:lnTo>
                    <a:pt x="557" y="493"/>
                  </a:lnTo>
                  <a:lnTo>
                    <a:pt x="556" y="492"/>
                  </a:lnTo>
                  <a:lnTo>
                    <a:pt x="553" y="491"/>
                  </a:lnTo>
                  <a:lnTo>
                    <a:pt x="552" y="491"/>
                  </a:lnTo>
                  <a:lnTo>
                    <a:pt x="551" y="492"/>
                  </a:lnTo>
                  <a:lnTo>
                    <a:pt x="549" y="491"/>
                  </a:lnTo>
                  <a:lnTo>
                    <a:pt x="548" y="492"/>
                  </a:lnTo>
                  <a:lnTo>
                    <a:pt x="547" y="489"/>
                  </a:lnTo>
                  <a:lnTo>
                    <a:pt x="546" y="490"/>
                  </a:lnTo>
                  <a:lnTo>
                    <a:pt x="546" y="489"/>
                  </a:lnTo>
                  <a:lnTo>
                    <a:pt x="546" y="487"/>
                  </a:lnTo>
                  <a:lnTo>
                    <a:pt x="546" y="485"/>
                  </a:lnTo>
                  <a:lnTo>
                    <a:pt x="547" y="484"/>
                  </a:lnTo>
                  <a:lnTo>
                    <a:pt x="548" y="484"/>
                  </a:lnTo>
                  <a:lnTo>
                    <a:pt x="548" y="483"/>
                  </a:lnTo>
                  <a:lnTo>
                    <a:pt x="549" y="484"/>
                  </a:lnTo>
                  <a:lnTo>
                    <a:pt x="552" y="483"/>
                  </a:lnTo>
                  <a:lnTo>
                    <a:pt x="552" y="481"/>
                  </a:lnTo>
                  <a:lnTo>
                    <a:pt x="553" y="481"/>
                  </a:lnTo>
                  <a:lnTo>
                    <a:pt x="557" y="480"/>
                  </a:lnTo>
                  <a:lnTo>
                    <a:pt x="558" y="479"/>
                  </a:lnTo>
                  <a:lnTo>
                    <a:pt x="559" y="478"/>
                  </a:lnTo>
                  <a:lnTo>
                    <a:pt x="560" y="477"/>
                  </a:lnTo>
                  <a:lnTo>
                    <a:pt x="562" y="475"/>
                  </a:lnTo>
                  <a:lnTo>
                    <a:pt x="560" y="474"/>
                  </a:lnTo>
                  <a:lnTo>
                    <a:pt x="562" y="473"/>
                  </a:lnTo>
                  <a:lnTo>
                    <a:pt x="563" y="473"/>
                  </a:lnTo>
                  <a:lnTo>
                    <a:pt x="564" y="473"/>
                  </a:lnTo>
                  <a:lnTo>
                    <a:pt x="563" y="471"/>
                  </a:lnTo>
                  <a:lnTo>
                    <a:pt x="563" y="467"/>
                  </a:lnTo>
                  <a:lnTo>
                    <a:pt x="560" y="462"/>
                  </a:lnTo>
                  <a:lnTo>
                    <a:pt x="560" y="464"/>
                  </a:lnTo>
                  <a:lnTo>
                    <a:pt x="559" y="463"/>
                  </a:lnTo>
                  <a:lnTo>
                    <a:pt x="558" y="463"/>
                  </a:lnTo>
                  <a:lnTo>
                    <a:pt x="557" y="464"/>
                  </a:lnTo>
                  <a:lnTo>
                    <a:pt x="556" y="464"/>
                  </a:lnTo>
                  <a:lnTo>
                    <a:pt x="554" y="463"/>
                  </a:lnTo>
                  <a:lnTo>
                    <a:pt x="554" y="462"/>
                  </a:lnTo>
                  <a:lnTo>
                    <a:pt x="554" y="460"/>
                  </a:lnTo>
                  <a:lnTo>
                    <a:pt x="553" y="458"/>
                  </a:lnTo>
                  <a:lnTo>
                    <a:pt x="553" y="461"/>
                  </a:lnTo>
                  <a:lnTo>
                    <a:pt x="551" y="461"/>
                  </a:lnTo>
                  <a:lnTo>
                    <a:pt x="549" y="460"/>
                  </a:lnTo>
                  <a:lnTo>
                    <a:pt x="549" y="461"/>
                  </a:lnTo>
                  <a:lnTo>
                    <a:pt x="547" y="461"/>
                  </a:lnTo>
                  <a:lnTo>
                    <a:pt x="547" y="458"/>
                  </a:lnTo>
                  <a:lnTo>
                    <a:pt x="545" y="455"/>
                  </a:lnTo>
                  <a:lnTo>
                    <a:pt x="543" y="454"/>
                  </a:lnTo>
                  <a:lnTo>
                    <a:pt x="542" y="452"/>
                  </a:lnTo>
                  <a:lnTo>
                    <a:pt x="543" y="455"/>
                  </a:lnTo>
                  <a:lnTo>
                    <a:pt x="543" y="456"/>
                  </a:lnTo>
                  <a:lnTo>
                    <a:pt x="545" y="458"/>
                  </a:lnTo>
                  <a:lnTo>
                    <a:pt x="543" y="458"/>
                  </a:lnTo>
                  <a:lnTo>
                    <a:pt x="543" y="460"/>
                  </a:lnTo>
                  <a:lnTo>
                    <a:pt x="542" y="458"/>
                  </a:lnTo>
                  <a:lnTo>
                    <a:pt x="540" y="457"/>
                  </a:lnTo>
                  <a:lnTo>
                    <a:pt x="540" y="458"/>
                  </a:lnTo>
                  <a:lnTo>
                    <a:pt x="540" y="460"/>
                  </a:lnTo>
                  <a:lnTo>
                    <a:pt x="539" y="458"/>
                  </a:lnTo>
                  <a:lnTo>
                    <a:pt x="537" y="456"/>
                  </a:lnTo>
                  <a:lnTo>
                    <a:pt x="536" y="456"/>
                  </a:lnTo>
                  <a:lnTo>
                    <a:pt x="535" y="456"/>
                  </a:lnTo>
                  <a:lnTo>
                    <a:pt x="536" y="458"/>
                  </a:lnTo>
                  <a:lnTo>
                    <a:pt x="537" y="458"/>
                  </a:lnTo>
                  <a:lnTo>
                    <a:pt x="537" y="460"/>
                  </a:lnTo>
                  <a:lnTo>
                    <a:pt x="536" y="460"/>
                  </a:lnTo>
                  <a:lnTo>
                    <a:pt x="534" y="460"/>
                  </a:lnTo>
                  <a:lnTo>
                    <a:pt x="534" y="461"/>
                  </a:lnTo>
                  <a:lnTo>
                    <a:pt x="533" y="461"/>
                  </a:lnTo>
                  <a:lnTo>
                    <a:pt x="533" y="462"/>
                  </a:lnTo>
                  <a:lnTo>
                    <a:pt x="533" y="463"/>
                  </a:lnTo>
                  <a:lnTo>
                    <a:pt x="531" y="464"/>
                  </a:lnTo>
                  <a:lnTo>
                    <a:pt x="531" y="466"/>
                  </a:lnTo>
                  <a:lnTo>
                    <a:pt x="530" y="464"/>
                  </a:lnTo>
                  <a:lnTo>
                    <a:pt x="530" y="462"/>
                  </a:lnTo>
                  <a:lnTo>
                    <a:pt x="529" y="464"/>
                  </a:lnTo>
                  <a:lnTo>
                    <a:pt x="528" y="462"/>
                  </a:lnTo>
                  <a:lnTo>
                    <a:pt x="528" y="460"/>
                  </a:lnTo>
                  <a:lnTo>
                    <a:pt x="527" y="460"/>
                  </a:lnTo>
                  <a:lnTo>
                    <a:pt x="525" y="461"/>
                  </a:lnTo>
                  <a:lnTo>
                    <a:pt x="525" y="463"/>
                  </a:lnTo>
                  <a:lnTo>
                    <a:pt x="525" y="466"/>
                  </a:lnTo>
                  <a:lnTo>
                    <a:pt x="527" y="467"/>
                  </a:lnTo>
                  <a:lnTo>
                    <a:pt x="528" y="468"/>
                  </a:lnTo>
                  <a:lnTo>
                    <a:pt x="530" y="469"/>
                  </a:lnTo>
                  <a:lnTo>
                    <a:pt x="529" y="469"/>
                  </a:lnTo>
                  <a:lnTo>
                    <a:pt x="529" y="472"/>
                  </a:lnTo>
                  <a:lnTo>
                    <a:pt x="531" y="473"/>
                  </a:lnTo>
                  <a:lnTo>
                    <a:pt x="531" y="474"/>
                  </a:lnTo>
                  <a:lnTo>
                    <a:pt x="530" y="474"/>
                  </a:lnTo>
                  <a:lnTo>
                    <a:pt x="530" y="477"/>
                  </a:lnTo>
                  <a:lnTo>
                    <a:pt x="528" y="477"/>
                  </a:lnTo>
                  <a:lnTo>
                    <a:pt x="527" y="475"/>
                  </a:lnTo>
                  <a:lnTo>
                    <a:pt x="527" y="477"/>
                  </a:lnTo>
                  <a:lnTo>
                    <a:pt x="527" y="478"/>
                  </a:lnTo>
                  <a:lnTo>
                    <a:pt x="525" y="478"/>
                  </a:lnTo>
                  <a:lnTo>
                    <a:pt x="524" y="479"/>
                  </a:lnTo>
                  <a:lnTo>
                    <a:pt x="523" y="479"/>
                  </a:lnTo>
                  <a:lnTo>
                    <a:pt x="524" y="481"/>
                  </a:lnTo>
                  <a:lnTo>
                    <a:pt x="524" y="483"/>
                  </a:lnTo>
                  <a:lnTo>
                    <a:pt x="527" y="484"/>
                  </a:lnTo>
                  <a:lnTo>
                    <a:pt x="527" y="485"/>
                  </a:lnTo>
                  <a:lnTo>
                    <a:pt x="525" y="486"/>
                  </a:lnTo>
                  <a:lnTo>
                    <a:pt x="525" y="487"/>
                  </a:lnTo>
                  <a:lnTo>
                    <a:pt x="523" y="487"/>
                  </a:lnTo>
                  <a:lnTo>
                    <a:pt x="522" y="489"/>
                  </a:lnTo>
                  <a:lnTo>
                    <a:pt x="521" y="489"/>
                  </a:lnTo>
                  <a:lnTo>
                    <a:pt x="521" y="487"/>
                  </a:lnTo>
                  <a:lnTo>
                    <a:pt x="519" y="487"/>
                  </a:lnTo>
                  <a:lnTo>
                    <a:pt x="518" y="486"/>
                  </a:lnTo>
                  <a:lnTo>
                    <a:pt x="517" y="486"/>
                  </a:lnTo>
                  <a:lnTo>
                    <a:pt x="517" y="483"/>
                  </a:lnTo>
                  <a:lnTo>
                    <a:pt x="517" y="481"/>
                  </a:lnTo>
                  <a:lnTo>
                    <a:pt x="517" y="480"/>
                  </a:lnTo>
                  <a:lnTo>
                    <a:pt x="516" y="478"/>
                  </a:lnTo>
                  <a:lnTo>
                    <a:pt x="517" y="474"/>
                  </a:lnTo>
                  <a:lnTo>
                    <a:pt x="517" y="472"/>
                  </a:lnTo>
                  <a:lnTo>
                    <a:pt x="516" y="473"/>
                  </a:lnTo>
                  <a:lnTo>
                    <a:pt x="515" y="472"/>
                  </a:lnTo>
                  <a:lnTo>
                    <a:pt x="515" y="471"/>
                  </a:lnTo>
                  <a:lnTo>
                    <a:pt x="512" y="468"/>
                  </a:lnTo>
                  <a:lnTo>
                    <a:pt x="511" y="464"/>
                  </a:lnTo>
                  <a:lnTo>
                    <a:pt x="510" y="466"/>
                  </a:lnTo>
                  <a:lnTo>
                    <a:pt x="511" y="468"/>
                  </a:lnTo>
                  <a:lnTo>
                    <a:pt x="509" y="466"/>
                  </a:lnTo>
                  <a:lnTo>
                    <a:pt x="507" y="464"/>
                  </a:lnTo>
                  <a:lnTo>
                    <a:pt x="506" y="464"/>
                  </a:lnTo>
                  <a:lnTo>
                    <a:pt x="505" y="466"/>
                  </a:lnTo>
                  <a:lnTo>
                    <a:pt x="504" y="466"/>
                  </a:lnTo>
                  <a:lnTo>
                    <a:pt x="504" y="463"/>
                  </a:lnTo>
                  <a:lnTo>
                    <a:pt x="503" y="462"/>
                  </a:lnTo>
                  <a:lnTo>
                    <a:pt x="500" y="461"/>
                  </a:lnTo>
                  <a:lnTo>
                    <a:pt x="499" y="461"/>
                  </a:lnTo>
                  <a:lnTo>
                    <a:pt x="498" y="460"/>
                  </a:lnTo>
                  <a:lnTo>
                    <a:pt x="497" y="460"/>
                  </a:lnTo>
                  <a:lnTo>
                    <a:pt x="494" y="460"/>
                  </a:lnTo>
                  <a:lnTo>
                    <a:pt x="493" y="457"/>
                  </a:lnTo>
                  <a:lnTo>
                    <a:pt x="492" y="457"/>
                  </a:lnTo>
                  <a:lnTo>
                    <a:pt x="492" y="458"/>
                  </a:lnTo>
                  <a:lnTo>
                    <a:pt x="490" y="461"/>
                  </a:lnTo>
                  <a:lnTo>
                    <a:pt x="489" y="462"/>
                  </a:lnTo>
                  <a:lnTo>
                    <a:pt x="488" y="462"/>
                  </a:lnTo>
                  <a:lnTo>
                    <a:pt x="487" y="461"/>
                  </a:lnTo>
                  <a:lnTo>
                    <a:pt x="484" y="460"/>
                  </a:lnTo>
                  <a:lnTo>
                    <a:pt x="483" y="461"/>
                  </a:lnTo>
                  <a:lnTo>
                    <a:pt x="482" y="461"/>
                  </a:lnTo>
                  <a:lnTo>
                    <a:pt x="478" y="461"/>
                  </a:lnTo>
                  <a:lnTo>
                    <a:pt x="477" y="461"/>
                  </a:lnTo>
                  <a:lnTo>
                    <a:pt x="475" y="461"/>
                  </a:lnTo>
                  <a:lnTo>
                    <a:pt x="472" y="461"/>
                  </a:lnTo>
                  <a:lnTo>
                    <a:pt x="471" y="460"/>
                  </a:lnTo>
                  <a:lnTo>
                    <a:pt x="469" y="460"/>
                  </a:lnTo>
                  <a:lnTo>
                    <a:pt x="468" y="455"/>
                  </a:lnTo>
                  <a:lnTo>
                    <a:pt x="468" y="454"/>
                  </a:lnTo>
                  <a:lnTo>
                    <a:pt x="469" y="451"/>
                  </a:lnTo>
                  <a:lnTo>
                    <a:pt x="468" y="450"/>
                  </a:lnTo>
                  <a:lnTo>
                    <a:pt x="469" y="448"/>
                  </a:lnTo>
                  <a:lnTo>
                    <a:pt x="468" y="448"/>
                  </a:lnTo>
                  <a:lnTo>
                    <a:pt x="469" y="445"/>
                  </a:lnTo>
                  <a:lnTo>
                    <a:pt x="470" y="443"/>
                  </a:lnTo>
                  <a:lnTo>
                    <a:pt x="470" y="442"/>
                  </a:lnTo>
                  <a:lnTo>
                    <a:pt x="468" y="440"/>
                  </a:lnTo>
                  <a:lnTo>
                    <a:pt x="468" y="439"/>
                  </a:lnTo>
                  <a:lnTo>
                    <a:pt x="468" y="437"/>
                  </a:lnTo>
                  <a:lnTo>
                    <a:pt x="470" y="434"/>
                  </a:lnTo>
                  <a:lnTo>
                    <a:pt x="471" y="433"/>
                  </a:lnTo>
                  <a:lnTo>
                    <a:pt x="472" y="432"/>
                  </a:lnTo>
                  <a:lnTo>
                    <a:pt x="474" y="432"/>
                  </a:lnTo>
                  <a:lnTo>
                    <a:pt x="474" y="431"/>
                  </a:lnTo>
                  <a:lnTo>
                    <a:pt x="471" y="430"/>
                  </a:lnTo>
                  <a:lnTo>
                    <a:pt x="470" y="430"/>
                  </a:lnTo>
                  <a:lnTo>
                    <a:pt x="470" y="431"/>
                  </a:lnTo>
                  <a:lnTo>
                    <a:pt x="469" y="431"/>
                  </a:lnTo>
                  <a:lnTo>
                    <a:pt x="466" y="431"/>
                  </a:lnTo>
                  <a:lnTo>
                    <a:pt x="465" y="432"/>
                  </a:lnTo>
                  <a:lnTo>
                    <a:pt x="465" y="431"/>
                  </a:lnTo>
                  <a:lnTo>
                    <a:pt x="464" y="431"/>
                  </a:lnTo>
                  <a:lnTo>
                    <a:pt x="462" y="432"/>
                  </a:lnTo>
                  <a:lnTo>
                    <a:pt x="462" y="433"/>
                  </a:lnTo>
                  <a:lnTo>
                    <a:pt x="462" y="434"/>
                  </a:lnTo>
                  <a:lnTo>
                    <a:pt x="460" y="434"/>
                  </a:lnTo>
                  <a:lnTo>
                    <a:pt x="462" y="436"/>
                  </a:lnTo>
                  <a:lnTo>
                    <a:pt x="463" y="436"/>
                  </a:lnTo>
                  <a:lnTo>
                    <a:pt x="463" y="438"/>
                  </a:lnTo>
                  <a:lnTo>
                    <a:pt x="464" y="439"/>
                  </a:lnTo>
                  <a:lnTo>
                    <a:pt x="462" y="439"/>
                  </a:lnTo>
                  <a:lnTo>
                    <a:pt x="460" y="439"/>
                  </a:lnTo>
                  <a:lnTo>
                    <a:pt x="460" y="440"/>
                  </a:lnTo>
                  <a:lnTo>
                    <a:pt x="460" y="443"/>
                  </a:lnTo>
                  <a:lnTo>
                    <a:pt x="457" y="440"/>
                  </a:lnTo>
                  <a:lnTo>
                    <a:pt x="457" y="444"/>
                  </a:lnTo>
                  <a:lnTo>
                    <a:pt x="456" y="446"/>
                  </a:lnTo>
                  <a:lnTo>
                    <a:pt x="457" y="449"/>
                  </a:lnTo>
                  <a:lnTo>
                    <a:pt x="457" y="451"/>
                  </a:lnTo>
                  <a:lnTo>
                    <a:pt x="459" y="450"/>
                  </a:lnTo>
                  <a:lnTo>
                    <a:pt x="458" y="449"/>
                  </a:lnTo>
                  <a:lnTo>
                    <a:pt x="459" y="449"/>
                  </a:lnTo>
                  <a:lnTo>
                    <a:pt x="460" y="451"/>
                  </a:lnTo>
                  <a:lnTo>
                    <a:pt x="462" y="451"/>
                  </a:lnTo>
                  <a:lnTo>
                    <a:pt x="463" y="452"/>
                  </a:lnTo>
                  <a:lnTo>
                    <a:pt x="460" y="454"/>
                  </a:lnTo>
                  <a:lnTo>
                    <a:pt x="460" y="455"/>
                  </a:lnTo>
                  <a:lnTo>
                    <a:pt x="458" y="454"/>
                  </a:lnTo>
                  <a:lnTo>
                    <a:pt x="457" y="455"/>
                  </a:lnTo>
                  <a:lnTo>
                    <a:pt x="458" y="456"/>
                  </a:lnTo>
                  <a:lnTo>
                    <a:pt x="459" y="457"/>
                  </a:lnTo>
                  <a:lnTo>
                    <a:pt x="459" y="460"/>
                  </a:lnTo>
                  <a:lnTo>
                    <a:pt x="458" y="461"/>
                  </a:lnTo>
                  <a:lnTo>
                    <a:pt x="460" y="461"/>
                  </a:lnTo>
                  <a:lnTo>
                    <a:pt x="463" y="463"/>
                  </a:lnTo>
                  <a:lnTo>
                    <a:pt x="464" y="464"/>
                  </a:lnTo>
                  <a:lnTo>
                    <a:pt x="462" y="466"/>
                  </a:lnTo>
                  <a:lnTo>
                    <a:pt x="460" y="464"/>
                  </a:lnTo>
                  <a:lnTo>
                    <a:pt x="459" y="466"/>
                  </a:lnTo>
                  <a:lnTo>
                    <a:pt x="458" y="466"/>
                  </a:lnTo>
                  <a:lnTo>
                    <a:pt x="456" y="466"/>
                  </a:lnTo>
                  <a:lnTo>
                    <a:pt x="456" y="464"/>
                  </a:lnTo>
                  <a:lnTo>
                    <a:pt x="453" y="466"/>
                  </a:lnTo>
                  <a:lnTo>
                    <a:pt x="452" y="466"/>
                  </a:lnTo>
                  <a:lnTo>
                    <a:pt x="451" y="466"/>
                  </a:lnTo>
                  <a:lnTo>
                    <a:pt x="450" y="464"/>
                  </a:lnTo>
                  <a:lnTo>
                    <a:pt x="451" y="462"/>
                  </a:lnTo>
                  <a:lnTo>
                    <a:pt x="450" y="462"/>
                  </a:lnTo>
                  <a:lnTo>
                    <a:pt x="448" y="462"/>
                  </a:lnTo>
                  <a:lnTo>
                    <a:pt x="447" y="462"/>
                  </a:lnTo>
                  <a:lnTo>
                    <a:pt x="445" y="462"/>
                  </a:lnTo>
                  <a:lnTo>
                    <a:pt x="444" y="463"/>
                  </a:lnTo>
                  <a:lnTo>
                    <a:pt x="442" y="463"/>
                  </a:lnTo>
                  <a:lnTo>
                    <a:pt x="444" y="464"/>
                  </a:lnTo>
                  <a:lnTo>
                    <a:pt x="445" y="467"/>
                  </a:lnTo>
                  <a:lnTo>
                    <a:pt x="447" y="471"/>
                  </a:lnTo>
                  <a:lnTo>
                    <a:pt x="446" y="471"/>
                  </a:lnTo>
                  <a:lnTo>
                    <a:pt x="444" y="469"/>
                  </a:lnTo>
                  <a:lnTo>
                    <a:pt x="444" y="472"/>
                  </a:lnTo>
                  <a:lnTo>
                    <a:pt x="442" y="472"/>
                  </a:lnTo>
                  <a:lnTo>
                    <a:pt x="441" y="471"/>
                  </a:lnTo>
                  <a:lnTo>
                    <a:pt x="439" y="469"/>
                  </a:lnTo>
                  <a:lnTo>
                    <a:pt x="439" y="472"/>
                  </a:lnTo>
                  <a:lnTo>
                    <a:pt x="439" y="474"/>
                  </a:lnTo>
                  <a:lnTo>
                    <a:pt x="438" y="474"/>
                  </a:lnTo>
                  <a:lnTo>
                    <a:pt x="435" y="474"/>
                  </a:lnTo>
                  <a:lnTo>
                    <a:pt x="434" y="474"/>
                  </a:lnTo>
                  <a:lnTo>
                    <a:pt x="433" y="472"/>
                  </a:lnTo>
                  <a:lnTo>
                    <a:pt x="430" y="471"/>
                  </a:lnTo>
                  <a:lnTo>
                    <a:pt x="430" y="469"/>
                  </a:lnTo>
                  <a:lnTo>
                    <a:pt x="428" y="468"/>
                  </a:lnTo>
                  <a:lnTo>
                    <a:pt x="427" y="467"/>
                  </a:lnTo>
                  <a:lnTo>
                    <a:pt x="425" y="467"/>
                  </a:lnTo>
                  <a:lnTo>
                    <a:pt x="424" y="466"/>
                  </a:lnTo>
                  <a:lnTo>
                    <a:pt x="423" y="464"/>
                  </a:lnTo>
                  <a:lnTo>
                    <a:pt x="423" y="463"/>
                  </a:lnTo>
                  <a:lnTo>
                    <a:pt x="422" y="461"/>
                  </a:lnTo>
                  <a:lnTo>
                    <a:pt x="422" y="458"/>
                  </a:lnTo>
                  <a:lnTo>
                    <a:pt x="423" y="457"/>
                  </a:lnTo>
                  <a:lnTo>
                    <a:pt x="424" y="456"/>
                  </a:lnTo>
                  <a:lnTo>
                    <a:pt x="424" y="455"/>
                  </a:lnTo>
                  <a:lnTo>
                    <a:pt x="425" y="452"/>
                  </a:lnTo>
                  <a:lnTo>
                    <a:pt x="424" y="452"/>
                  </a:lnTo>
                  <a:lnTo>
                    <a:pt x="423" y="452"/>
                  </a:lnTo>
                  <a:lnTo>
                    <a:pt x="422" y="451"/>
                  </a:lnTo>
                  <a:lnTo>
                    <a:pt x="421" y="451"/>
                  </a:lnTo>
                  <a:lnTo>
                    <a:pt x="419" y="451"/>
                  </a:lnTo>
                  <a:lnTo>
                    <a:pt x="418" y="450"/>
                  </a:lnTo>
                  <a:lnTo>
                    <a:pt x="416" y="451"/>
                  </a:lnTo>
                  <a:lnTo>
                    <a:pt x="415" y="451"/>
                  </a:lnTo>
                  <a:lnTo>
                    <a:pt x="416" y="454"/>
                  </a:lnTo>
                  <a:lnTo>
                    <a:pt x="417" y="456"/>
                  </a:lnTo>
                  <a:lnTo>
                    <a:pt x="419" y="456"/>
                  </a:lnTo>
                  <a:lnTo>
                    <a:pt x="419" y="458"/>
                  </a:lnTo>
                  <a:lnTo>
                    <a:pt x="419" y="461"/>
                  </a:lnTo>
                  <a:lnTo>
                    <a:pt x="421" y="463"/>
                  </a:lnTo>
                  <a:lnTo>
                    <a:pt x="422" y="464"/>
                  </a:lnTo>
                  <a:lnTo>
                    <a:pt x="423" y="467"/>
                  </a:lnTo>
                  <a:lnTo>
                    <a:pt x="423" y="469"/>
                  </a:lnTo>
                  <a:lnTo>
                    <a:pt x="424" y="472"/>
                  </a:lnTo>
                  <a:lnTo>
                    <a:pt x="424" y="473"/>
                  </a:lnTo>
                  <a:lnTo>
                    <a:pt x="427" y="474"/>
                  </a:lnTo>
                  <a:lnTo>
                    <a:pt x="425" y="478"/>
                  </a:lnTo>
                  <a:lnTo>
                    <a:pt x="427" y="480"/>
                  </a:lnTo>
                  <a:lnTo>
                    <a:pt x="428" y="483"/>
                  </a:lnTo>
                  <a:lnTo>
                    <a:pt x="430" y="484"/>
                  </a:lnTo>
                  <a:lnTo>
                    <a:pt x="431" y="484"/>
                  </a:lnTo>
                  <a:lnTo>
                    <a:pt x="435" y="486"/>
                  </a:lnTo>
                  <a:lnTo>
                    <a:pt x="435" y="489"/>
                  </a:lnTo>
                  <a:lnTo>
                    <a:pt x="434" y="490"/>
                  </a:lnTo>
                  <a:lnTo>
                    <a:pt x="433" y="489"/>
                  </a:lnTo>
                  <a:lnTo>
                    <a:pt x="431" y="489"/>
                  </a:lnTo>
                  <a:lnTo>
                    <a:pt x="429" y="490"/>
                  </a:lnTo>
                  <a:lnTo>
                    <a:pt x="428" y="490"/>
                  </a:lnTo>
                  <a:lnTo>
                    <a:pt x="425" y="490"/>
                  </a:lnTo>
                  <a:lnTo>
                    <a:pt x="424" y="487"/>
                  </a:lnTo>
                  <a:lnTo>
                    <a:pt x="423" y="487"/>
                  </a:lnTo>
                  <a:lnTo>
                    <a:pt x="422" y="487"/>
                  </a:lnTo>
                  <a:lnTo>
                    <a:pt x="421" y="487"/>
                  </a:lnTo>
                  <a:lnTo>
                    <a:pt x="421" y="486"/>
                  </a:lnTo>
                  <a:lnTo>
                    <a:pt x="419" y="490"/>
                  </a:lnTo>
                  <a:lnTo>
                    <a:pt x="422" y="492"/>
                  </a:lnTo>
                  <a:lnTo>
                    <a:pt x="423" y="492"/>
                  </a:lnTo>
                  <a:lnTo>
                    <a:pt x="424" y="495"/>
                  </a:lnTo>
                  <a:lnTo>
                    <a:pt x="424" y="497"/>
                  </a:lnTo>
                  <a:lnTo>
                    <a:pt x="422" y="497"/>
                  </a:lnTo>
                  <a:lnTo>
                    <a:pt x="421" y="497"/>
                  </a:lnTo>
                  <a:lnTo>
                    <a:pt x="419" y="495"/>
                  </a:lnTo>
                  <a:lnTo>
                    <a:pt x="419" y="496"/>
                  </a:lnTo>
                  <a:lnTo>
                    <a:pt x="421" y="498"/>
                  </a:lnTo>
                  <a:lnTo>
                    <a:pt x="419" y="499"/>
                  </a:lnTo>
                  <a:lnTo>
                    <a:pt x="419" y="502"/>
                  </a:lnTo>
                  <a:lnTo>
                    <a:pt x="423" y="504"/>
                  </a:lnTo>
                  <a:lnTo>
                    <a:pt x="427" y="505"/>
                  </a:lnTo>
                  <a:lnTo>
                    <a:pt x="428" y="507"/>
                  </a:lnTo>
                  <a:lnTo>
                    <a:pt x="431" y="507"/>
                  </a:lnTo>
                  <a:lnTo>
                    <a:pt x="434" y="508"/>
                  </a:lnTo>
                  <a:lnTo>
                    <a:pt x="435" y="508"/>
                  </a:lnTo>
                  <a:lnTo>
                    <a:pt x="436" y="509"/>
                  </a:lnTo>
                  <a:lnTo>
                    <a:pt x="438" y="510"/>
                  </a:lnTo>
                  <a:lnTo>
                    <a:pt x="439" y="511"/>
                  </a:lnTo>
                  <a:lnTo>
                    <a:pt x="438" y="513"/>
                  </a:lnTo>
                  <a:lnTo>
                    <a:pt x="436" y="515"/>
                  </a:lnTo>
                  <a:lnTo>
                    <a:pt x="435" y="515"/>
                  </a:lnTo>
                  <a:lnTo>
                    <a:pt x="436" y="516"/>
                  </a:lnTo>
                  <a:lnTo>
                    <a:pt x="434" y="519"/>
                  </a:lnTo>
                  <a:lnTo>
                    <a:pt x="434" y="520"/>
                  </a:lnTo>
                  <a:lnTo>
                    <a:pt x="431" y="521"/>
                  </a:lnTo>
                  <a:lnTo>
                    <a:pt x="430" y="521"/>
                  </a:lnTo>
                  <a:lnTo>
                    <a:pt x="428" y="522"/>
                  </a:lnTo>
                  <a:lnTo>
                    <a:pt x="427" y="522"/>
                  </a:lnTo>
                  <a:lnTo>
                    <a:pt x="425" y="522"/>
                  </a:lnTo>
                  <a:lnTo>
                    <a:pt x="423" y="522"/>
                  </a:lnTo>
                  <a:lnTo>
                    <a:pt x="421" y="522"/>
                  </a:lnTo>
                  <a:lnTo>
                    <a:pt x="419" y="525"/>
                  </a:lnTo>
                  <a:lnTo>
                    <a:pt x="422" y="527"/>
                  </a:lnTo>
                  <a:lnTo>
                    <a:pt x="423" y="529"/>
                  </a:lnTo>
                  <a:lnTo>
                    <a:pt x="424" y="531"/>
                  </a:lnTo>
                  <a:lnTo>
                    <a:pt x="427" y="534"/>
                  </a:lnTo>
                  <a:lnTo>
                    <a:pt x="429" y="538"/>
                  </a:lnTo>
                  <a:lnTo>
                    <a:pt x="427" y="540"/>
                  </a:lnTo>
                  <a:lnTo>
                    <a:pt x="424" y="539"/>
                  </a:lnTo>
                  <a:lnTo>
                    <a:pt x="422" y="539"/>
                  </a:lnTo>
                  <a:lnTo>
                    <a:pt x="422" y="535"/>
                  </a:lnTo>
                  <a:lnTo>
                    <a:pt x="419" y="535"/>
                  </a:lnTo>
                  <a:lnTo>
                    <a:pt x="417" y="534"/>
                  </a:lnTo>
                  <a:lnTo>
                    <a:pt x="418" y="534"/>
                  </a:lnTo>
                  <a:lnTo>
                    <a:pt x="417" y="534"/>
                  </a:lnTo>
                  <a:lnTo>
                    <a:pt x="413" y="533"/>
                  </a:lnTo>
                  <a:lnTo>
                    <a:pt x="412" y="532"/>
                  </a:lnTo>
                  <a:lnTo>
                    <a:pt x="411" y="531"/>
                  </a:lnTo>
                  <a:lnTo>
                    <a:pt x="409" y="529"/>
                  </a:lnTo>
                  <a:lnTo>
                    <a:pt x="409" y="528"/>
                  </a:lnTo>
                  <a:lnTo>
                    <a:pt x="406" y="528"/>
                  </a:lnTo>
                  <a:lnTo>
                    <a:pt x="405" y="527"/>
                  </a:lnTo>
                  <a:lnTo>
                    <a:pt x="404" y="527"/>
                  </a:lnTo>
                  <a:lnTo>
                    <a:pt x="401" y="528"/>
                  </a:lnTo>
                  <a:lnTo>
                    <a:pt x="397" y="527"/>
                  </a:lnTo>
                  <a:lnTo>
                    <a:pt x="394" y="526"/>
                  </a:lnTo>
                  <a:lnTo>
                    <a:pt x="393" y="523"/>
                  </a:lnTo>
                  <a:lnTo>
                    <a:pt x="392" y="522"/>
                  </a:lnTo>
                  <a:lnTo>
                    <a:pt x="393" y="521"/>
                  </a:lnTo>
                  <a:lnTo>
                    <a:pt x="395" y="517"/>
                  </a:lnTo>
                  <a:lnTo>
                    <a:pt x="395" y="515"/>
                  </a:lnTo>
                  <a:lnTo>
                    <a:pt x="398" y="514"/>
                  </a:lnTo>
                  <a:lnTo>
                    <a:pt x="401" y="514"/>
                  </a:lnTo>
                  <a:lnTo>
                    <a:pt x="403" y="511"/>
                  </a:lnTo>
                  <a:lnTo>
                    <a:pt x="404" y="510"/>
                  </a:lnTo>
                  <a:lnTo>
                    <a:pt x="403" y="509"/>
                  </a:lnTo>
                  <a:lnTo>
                    <a:pt x="401" y="508"/>
                  </a:lnTo>
                  <a:lnTo>
                    <a:pt x="400" y="505"/>
                  </a:lnTo>
                  <a:lnTo>
                    <a:pt x="399" y="504"/>
                  </a:lnTo>
                  <a:lnTo>
                    <a:pt x="398" y="503"/>
                  </a:lnTo>
                  <a:lnTo>
                    <a:pt x="397" y="502"/>
                  </a:lnTo>
                  <a:lnTo>
                    <a:pt x="394" y="503"/>
                  </a:lnTo>
                  <a:lnTo>
                    <a:pt x="394" y="504"/>
                  </a:lnTo>
                  <a:lnTo>
                    <a:pt x="393" y="503"/>
                  </a:lnTo>
                  <a:lnTo>
                    <a:pt x="391" y="501"/>
                  </a:lnTo>
                  <a:lnTo>
                    <a:pt x="389" y="501"/>
                  </a:lnTo>
                  <a:lnTo>
                    <a:pt x="388" y="497"/>
                  </a:lnTo>
                  <a:lnTo>
                    <a:pt x="387" y="496"/>
                  </a:lnTo>
                  <a:lnTo>
                    <a:pt x="385" y="497"/>
                  </a:lnTo>
                  <a:lnTo>
                    <a:pt x="385" y="499"/>
                  </a:lnTo>
                  <a:lnTo>
                    <a:pt x="385" y="502"/>
                  </a:lnTo>
                  <a:lnTo>
                    <a:pt x="383" y="501"/>
                  </a:lnTo>
                  <a:lnTo>
                    <a:pt x="382" y="502"/>
                  </a:lnTo>
                  <a:lnTo>
                    <a:pt x="380" y="503"/>
                  </a:lnTo>
                  <a:lnTo>
                    <a:pt x="377" y="501"/>
                  </a:lnTo>
                  <a:lnTo>
                    <a:pt x="376" y="502"/>
                  </a:lnTo>
                  <a:lnTo>
                    <a:pt x="375" y="503"/>
                  </a:lnTo>
                  <a:lnTo>
                    <a:pt x="375" y="504"/>
                  </a:lnTo>
                  <a:lnTo>
                    <a:pt x="372" y="507"/>
                  </a:lnTo>
                  <a:lnTo>
                    <a:pt x="371" y="508"/>
                  </a:lnTo>
                  <a:lnTo>
                    <a:pt x="372" y="509"/>
                  </a:lnTo>
                  <a:lnTo>
                    <a:pt x="372" y="511"/>
                  </a:lnTo>
                  <a:lnTo>
                    <a:pt x="372" y="514"/>
                  </a:lnTo>
                  <a:lnTo>
                    <a:pt x="371" y="514"/>
                  </a:lnTo>
                  <a:lnTo>
                    <a:pt x="369" y="514"/>
                  </a:lnTo>
                  <a:lnTo>
                    <a:pt x="366" y="513"/>
                  </a:lnTo>
                  <a:lnTo>
                    <a:pt x="364" y="513"/>
                  </a:lnTo>
                  <a:lnTo>
                    <a:pt x="364" y="514"/>
                  </a:lnTo>
                  <a:lnTo>
                    <a:pt x="364" y="516"/>
                  </a:lnTo>
                  <a:lnTo>
                    <a:pt x="364" y="519"/>
                  </a:lnTo>
                  <a:lnTo>
                    <a:pt x="366" y="520"/>
                  </a:lnTo>
                  <a:lnTo>
                    <a:pt x="369" y="519"/>
                  </a:lnTo>
                  <a:lnTo>
                    <a:pt x="370" y="521"/>
                  </a:lnTo>
                  <a:lnTo>
                    <a:pt x="372" y="521"/>
                  </a:lnTo>
                  <a:lnTo>
                    <a:pt x="375" y="522"/>
                  </a:lnTo>
                  <a:lnTo>
                    <a:pt x="377" y="523"/>
                  </a:lnTo>
                  <a:lnTo>
                    <a:pt x="380" y="525"/>
                  </a:lnTo>
                  <a:lnTo>
                    <a:pt x="382" y="525"/>
                  </a:lnTo>
                  <a:lnTo>
                    <a:pt x="386" y="526"/>
                  </a:lnTo>
                  <a:lnTo>
                    <a:pt x="386" y="528"/>
                  </a:lnTo>
                  <a:lnTo>
                    <a:pt x="388" y="529"/>
                  </a:lnTo>
                  <a:lnTo>
                    <a:pt x="391" y="531"/>
                  </a:lnTo>
                  <a:lnTo>
                    <a:pt x="393" y="531"/>
                  </a:lnTo>
                  <a:lnTo>
                    <a:pt x="397" y="532"/>
                  </a:lnTo>
                  <a:lnTo>
                    <a:pt x="398" y="531"/>
                  </a:lnTo>
                  <a:lnTo>
                    <a:pt x="401" y="534"/>
                  </a:lnTo>
                  <a:lnTo>
                    <a:pt x="403" y="535"/>
                  </a:lnTo>
                  <a:lnTo>
                    <a:pt x="404" y="537"/>
                  </a:lnTo>
                  <a:lnTo>
                    <a:pt x="403" y="540"/>
                  </a:lnTo>
                  <a:lnTo>
                    <a:pt x="401" y="543"/>
                  </a:lnTo>
                  <a:lnTo>
                    <a:pt x="401" y="545"/>
                  </a:lnTo>
                  <a:lnTo>
                    <a:pt x="401" y="544"/>
                  </a:lnTo>
                  <a:lnTo>
                    <a:pt x="401" y="545"/>
                  </a:lnTo>
                  <a:lnTo>
                    <a:pt x="400" y="549"/>
                  </a:lnTo>
                  <a:lnTo>
                    <a:pt x="400" y="550"/>
                  </a:lnTo>
                  <a:lnTo>
                    <a:pt x="399" y="552"/>
                  </a:lnTo>
                  <a:lnTo>
                    <a:pt x="397" y="555"/>
                  </a:lnTo>
                  <a:lnTo>
                    <a:pt x="393" y="556"/>
                  </a:lnTo>
                  <a:lnTo>
                    <a:pt x="392" y="556"/>
                  </a:lnTo>
                  <a:lnTo>
                    <a:pt x="391" y="562"/>
                  </a:lnTo>
                  <a:lnTo>
                    <a:pt x="388" y="563"/>
                  </a:lnTo>
                  <a:lnTo>
                    <a:pt x="386" y="562"/>
                  </a:lnTo>
                  <a:lnTo>
                    <a:pt x="383" y="562"/>
                  </a:lnTo>
                  <a:lnTo>
                    <a:pt x="382" y="559"/>
                  </a:lnTo>
                  <a:lnTo>
                    <a:pt x="379" y="558"/>
                  </a:lnTo>
                  <a:lnTo>
                    <a:pt x="379" y="556"/>
                  </a:lnTo>
                  <a:lnTo>
                    <a:pt x="379" y="555"/>
                  </a:lnTo>
                  <a:lnTo>
                    <a:pt x="377" y="551"/>
                  </a:lnTo>
                  <a:lnTo>
                    <a:pt x="379" y="550"/>
                  </a:lnTo>
                  <a:lnTo>
                    <a:pt x="377" y="549"/>
                  </a:lnTo>
                  <a:lnTo>
                    <a:pt x="375" y="549"/>
                  </a:lnTo>
                  <a:lnTo>
                    <a:pt x="374" y="547"/>
                  </a:lnTo>
                  <a:lnTo>
                    <a:pt x="372" y="545"/>
                  </a:lnTo>
                  <a:lnTo>
                    <a:pt x="371" y="544"/>
                  </a:lnTo>
                  <a:lnTo>
                    <a:pt x="371" y="547"/>
                  </a:lnTo>
                  <a:lnTo>
                    <a:pt x="370" y="549"/>
                  </a:lnTo>
                  <a:lnTo>
                    <a:pt x="370" y="550"/>
                  </a:lnTo>
                  <a:lnTo>
                    <a:pt x="368" y="549"/>
                  </a:lnTo>
                  <a:lnTo>
                    <a:pt x="366" y="547"/>
                  </a:lnTo>
                  <a:lnTo>
                    <a:pt x="365" y="549"/>
                  </a:lnTo>
                  <a:lnTo>
                    <a:pt x="364" y="550"/>
                  </a:lnTo>
                  <a:lnTo>
                    <a:pt x="363" y="551"/>
                  </a:lnTo>
                  <a:lnTo>
                    <a:pt x="360" y="551"/>
                  </a:lnTo>
                  <a:lnTo>
                    <a:pt x="359" y="550"/>
                  </a:lnTo>
                  <a:lnTo>
                    <a:pt x="358" y="549"/>
                  </a:lnTo>
                  <a:lnTo>
                    <a:pt x="356" y="549"/>
                  </a:lnTo>
                  <a:lnTo>
                    <a:pt x="354" y="549"/>
                  </a:lnTo>
                  <a:lnTo>
                    <a:pt x="352" y="550"/>
                  </a:lnTo>
                  <a:lnTo>
                    <a:pt x="351" y="552"/>
                  </a:lnTo>
                  <a:lnTo>
                    <a:pt x="348" y="552"/>
                  </a:lnTo>
                  <a:lnTo>
                    <a:pt x="347" y="556"/>
                  </a:lnTo>
                  <a:lnTo>
                    <a:pt x="348" y="558"/>
                  </a:lnTo>
                  <a:lnTo>
                    <a:pt x="350" y="559"/>
                  </a:lnTo>
                  <a:lnTo>
                    <a:pt x="352" y="559"/>
                  </a:lnTo>
                  <a:lnTo>
                    <a:pt x="356" y="559"/>
                  </a:lnTo>
                  <a:lnTo>
                    <a:pt x="356" y="562"/>
                  </a:lnTo>
                  <a:lnTo>
                    <a:pt x="354" y="563"/>
                  </a:lnTo>
                  <a:lnTo>
                    <a:pt x="352" y="563"/>
                  </a:lnTo>
                  <a:lnTo>
                    <a:pt x="351" y="562"/>
                  </a:lnTo>
                  <a:lnTo>
                    <a:pt x="348" y="563"/>
                  </a:lnTo>
                  <a:lnTo>
                    <a:pt x="346" y="563"/>
                  </a:lnTo>
                  <a:lnTo>
                    <a:pt x="342" y="559"/>
                  </a:lnTo>
                  <a:lnTo>
                    <a:pt x="340" y="559"/>
                  </a:lnTo>
                  <a:lnTo>
                    <a:pt x="336" y="559"/>
                  </a:lnTo>
                  <a:lnTo>
                    <a:pt x="335" y="558"/>
                  </a:lnTo>
                  <a:lnTo>
                    <a:pt x="333" y="559"/>
                  </a:lnTo>
                  <a:lnTo>
                    <a:pt x="330" y="558"/>
                  </a:lnTo>
                  <a:lnTo>
                    <a:pt x="330" y="557"/>
                  </a:lnTo>
                  <a:lnTo>
                    <a:pt x="330" y="556"/>
                  </a:lnTo>
                  <a:lnTo>
                    <a:pt x="332" y="555"/>
                  </a:lnTo>
                  <a:lnTo>
                    <a:pt x="332" y="553"/>
                  </a:lnTo>
                  <a:lnTo>
                    <a:pt x="329" y="553"/>
                  </a:lnTo>
                  <a:lnTo>
                    <a:pt x="327" y="553"/>
                  </a:lnTo>
                  <a:lnTo>
                    <a:pt x="326" y="555"/>
                  </a:lnTo>
                  <a:lnTo>
                    <a:pt x="323" y="555"/>
                  </a:lnTo>
                  <a:lnTo>
                    <a:pt x="323" y="550"/>
                  </a:lnTo>
                  <a:lnTo>
                    <a:pt x="323" y="547"/>
                  </a:lnTo>
                  <a:lnTo>
                    <a:pt x="323" y="546"/>
                  </a:lnTo>
                  <a:lnTo>
                    <a:pt x="318" y="541"/>
                  </a:lnTo>
                  <a:lnTo>
                    <a:pt x="320" y="541"/>
                  </a:lnTo>
                  <a:lnTo>
                    <a:pt x="318" y="540"/>
                  </a:lnTo>
                  <a:lnTo>
                    <a:pt x="314" y="539"/>
                  </a:lnTo>
                  <a:lnTo>
                    <a:pt x="311" y="538"/>
                  </a:lnTo>
                  <a:lnTo>
                    <a:pt x="309" y="538"/>
                  </a:lnTo>
                  <a:lnTo>
                    <a:pt x="309" y="537"/>
                  </a:lnTo>
                  <a:lnTo>
                    <a:pt x="310" y="534"/>
                  </a:lnTo>
                  <a:lnTo>
                    <a:pt x="312" y="533"/>
                  </a:lnTo>
                  <a:lnTo>
                    <a:pt x="314" y="532"/>
                  </a:lnTo>
                  <a:lnTo>
                    <a:pt x="318" y="532"/>
                  </a:lnTo>
                  <a:lnTo>
                    <a:pt x="320" y="529"/>
                  </a:lnTo>
                  <a:lnTo>
                    <a:pt x="323" y="528"/>
                  </a:lnTo>
                  <a:lnTo>
                    <a:pt x="324" y="527"/>
                  </a:lnTo>
                  <a:lnTo>
                    <a:pt x="327" y="526"/>
                  </a:lnTo>
                  <a:lnTo>
                    <a:pt x="326" y="522"/>
                  </a:lnTo>
                  <a:lnTo>
                    <a:pt x="324" y="523"/>
                  </a:lnTo>
                  <a:lnTo>
                    <a:pt x="322" y="525"/>
                  </a:lnTo>
                  <a:lnTo>
                    <a:pt x="322" y="523"/>
                  </a:lnTo>
                  <a:lnTo>
                    <a:pt x="321" y="525"/>
                  </a:lnTo>
                  <a:lnTo>
                    <a:pt x="320" y="527"/>
                  </a:lnTo>
                  <a:lnTo>
                    <a:pt x="318" y="527"/>
                  </a:lnTo>
                  <a:lnTo>
                    <a:pt x="317" y="526"/>
                  </a:lnTo>
                  <a:lnTo>
                    <a:pt x="316" y="526"/>
                  </a:lnTo>
                  <a:lnTo>
                    <a:pt x="315" y="526"/>
                  </a:lnTo>
                  <a:lnTo>
                    <a:pt x="314" y="523"/>
                  </a:lnTo>
                  <a:lnTo>
                    <a:pt x="315" y="521"/>
                  </a:lnTo>
                  <a:lnTo>
                    <a:pt x="311" y="523"/>
                  </a:lnTo>
                  <a:lnTo>
                    <a:pt x="306" y="528"/>
                  </a:lnTo>
                  <a:lnTo>
                    <a:pt x="301" y="555"/>
                  </a:lnTo>
                  <a:lnTo>
                    <a:pt x="300" y="565"/>
                  </a:lnTo>
                  <a:lnTo>
                    <a:pt x="301" y="570"/>
                  </a:lnTo>
                  <a:lnTo>
                    <a:pt x="304" y="576"/>
                  </a:lnTo>
                  <a:lnTo>
                    <a:pt x="305" y="582"/>
                  </a:lnTo>
                  <a:lnTo>
                    <a:pt x="298" y="603"/>
                  </a:lnTo>
                  <a:lnTo>
                    <a:pt x="297" y="621"/>
                  </a:lnTo>
                  <a:lnTo>
                    <a:pt x="300" y="627"/>
                  </a:lnTo>
                  <a:lnTo>
                    <a:pt x="300" y="630"/>
                  </a:lnTo>
                  <a:lnTo>
                    <a:pt x="294" y="641"/>
                  </a:lnTo>
                  <a:lnTo>
                    <a:pt x="291" y="695"/>
                  </a:lnTo>
                  <a:lnTo>
                    <a:pt x="293" y="73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8" name="Freeform 81"/>
            <p:cNvSpPr>
              <a:spLocks noEditPoints="1"/>
            </p:cNvSpPr>
            <p:nvPr userDrawn="1"/>
          </p:nvSpPr>
          <p:spPr bwMode="auto">
            <a:xfrm>
              <a:off x="8018463" y="6276976"/>
              <a:ext cx="133350" cy="246063"/>
            </a:xfrm>
            <a:custGeom>
              <a:avLst/>
              <a:gdLst/>
              <a:ahLst/>
              <a:cxnLst>
                <a:cxn ang="0">
                  <a:pos x="175" y="755"/>
                </a:cxn>
                <a:cxn ang="0">
                  <a:pos x="191" y="537"/>
                </a:cxn>
                <a:cxn ang="0">
                  <a:pos x="218" y="537"/>
                </a:cxn>
                <a:cxn ang="0">
                  <a:pos x="379" y="319"/>
                </a:cxn>
                <a:cxn ang="0">
                  <a:pos x="423" y="362"/>
                </a:cxn>
                <a:cxn ang="0">
                  <a:pos x="413" y="369"/>
                </a:cxn>
                <a:cxn ang="0">
                  <a:pos x="356" y="350"/>
                </a:cxn>
                <a:cxn ang="0">
                  <a:pos x="255" y="289"/>
                </a:cxn>
                <a:cxn ang="0">
                  <a:pos x="229" y="300"/>
                </a:cxn>
                <a:cxn ang="0">
                  <a:pos x="242" y="527"/>
                </a:cxn>
                <a:cxn ang="0">
                  <a:pos x="254" y="755"/>
                </a:cxn>
                <a:cxn ang="0">
                  <a:pos x="161" y="777"/>
                </a:cxn>
                <a:cxn ang="0">
                  <a:pos x="172" y="742"/>
                </a:cxn>
                <a:cxn ang="0">
                  <a:pos x="191" y="527"/>
                </a:cxn>
                <a:cxn ang="0">
                  <a:pos x="178" y="278"/>
                </a:cxn>
                <a:cxn ang="0">
                  <a:pos x="111" y="325"/>
                </a:cxn>
                <a:cxn ang="0">
                  <a:pos x="12" y="367"/>
                </a:cxn>
                <a:cxn ang="0">
                  <a:pos x="0" y="359"/>
                </a:cxn>
                <a:cxn ang="0">
                  <a:pos x="52" y="310"/>
                </a:cxn>
                <a:cxn ang="0">
                  <a:pos x="163" y="252"/>
                </a:cxn>
                <a:cxn ang="0">
                  <a:pos x="193" y="224"/>
                </a:cxn>
                <a:cxn ang="0">
                  <a:pos x="193" y="163"/>
                </a:cxn>
                <a:cxn ang="0">
                  <a:pos x="197" y="35"/>
                </a:cxn>
                <a:cxn ang="0">
                  <a:pos x="214" y="0"/>
                </a:cxn>
                <a:cxn ang="0">
                  <a:pos x="229" y="35"/>
                </a:cxn>
                <a:cxn ang="0">
                  <a:pos x="234" y="163"/>
                </a:cxn>
                <a:cxn ang="0">
                  <a:pos x="235" y="224"/>
                </a:cxn>
                <a:cxn ang="0">
                  <a:pos x="243" y="248"/>
                </a:cxn>
                <a:cxn ang="0">
                  <a:pos x="313" y="277"/>
                </a:cxn>
                <a:cxn ang="0">
                  <a:pos x="270" y="265"/>
                </a:cxn>
                <a:cxn ang="0">
                  <a:pos x="262" y="270"/>
                </a:cxn>
                <a:cxn ang="0">
                  <a:pos x="307" y="302"/>
                </a:cxn>
                <a:cxn ang="0">
                  <a:pos x="378" y="339"/>
                </a:cxn>
                <a:cxn ang="0">
                  <a:pos x="386" y="336"/>
                </a:cxn>
                <a:cxn ang="0">
                  <a:pos x="365" y="316"/>
                </a:cxn>
                <a:cxn ang="0">
                  <a:pos x="282" y="270"/>
                </a:cxn>
                <a:cxn ang="0">
                  <a:pos x="54" y="335"/>
                </a:cxn>
                <a:cxn ang="0">
                  <a:pos x="142" y="283"/>
                </a:cxn>
                <a:cxn ang="0">
                  <a:pos x="158" y="267"/>
                </a:cxn>
                <a:cxn ang="0">
                  <a:pos x="114" y="282"/>
                </a:cxn>
                <a:cxn ang="0">
                  <a:pos x="48" y="324"/>
                </a:cxn>
                <a:cxn ang="0">
                  <a:pos x="32" y="339"/>
                </a:cxn>
                <a:cxn ang="0">
                  <a:pos x="207" y="256"/>
                </a:cxn>
                <a:cxn ang="0">
                  <a:pos x="222" y="247"/>
                </a:cxn>
                <a:cxn ang="0">
                  <a:pos x="218" y="230"/>
                </a:cxn>
                <a:cxn ang="0">
                  <a:pos x="201" y="226"/>
                </a:cxn>
                <a:cxn ang="0">
                  <a:pos x="193" y="241"/>
                </a:cxn>
                <a:cxn ang="0">
                  <a:pos x="197" y="121"/>
                </a:cxn>
                <a:cxn ang="0">
                  <a:pos x="207" y="194"/>
                </a:cxn>
                <a:cxn ang="0">
                  <a:pos x="215" y="121"/>
                </a:cxn>
                <a:cxn ang="0">
                  <a:pos x="207" y="47"/>
                </a:cxn>
                <a:cxn ang="0">
                  <a:pos x="199" y="93"/>
                </a:cxn>
              </a:cxnLst>
              <a:rect l="0" t="0" r="r" b="b"/>
              <a:pathLst>
                <a:path w="423" h="777">
                  <a:moveTo>
                    <a:pt x="203" y="746"/>
                  </a:moveTo>
                  <a:lnTo>
                    <a:pt x="175" y="744"/>
                  </a:lnTo>
                  <a:lnTo>
                    <a:pt x="175" y="755"/>
                  </a:lnTo>
                  <a:lnTo>
                    <a:pt x="203" y="755"/>
                  </a:lnTo>
                  <a:lnTo>
                    <a:pt x="203" y="746"/>
                  </a:lnTo>
                  <a:close/>
                  <a:moveTo>
                    <a:pt x="191" y="537"/>
                  </a:moveTo>
                  <a:lnTo>
                    <a:pt x="191" y="741"/>
                  </a:lnTo>
                  <a:lnTo>
                    <a:pt x="217" y="741"/>
                  </a:lnTo>
                  <a:lnTo>
                    <a:pt x="218" y="537"/>
                  </a:lnTo>
                  <a:lnTo>
                    <a:pt x="191" y="537"/>
                  </a:lnTo>
                  <a:close/>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moveTo>
                    <a:pt x="282" y="270"/>
                  </a:moveTo>
                  <a:lnTo>
                    <a:pt x="270" y="265"/>
                  </a:lnTo>
                  <a:lnTo>
                    <a:pt x="265" y="265"/>
                  </a:lnTo>
                  <a:lnTo>
                    <a:pt x="262" y="266"/>
                  </a:lnTo>
                  <a:lnTo>
                    <a:pt x="262" y="270"/>
                  </a:lnTo>
                  <a:lnTo>
                    <a:pt x="267" y="274"/>
                  </a:lnTo>
                  <a:lnTo>
                    <a:pt x="282" y="285"/>
                  </a:lnTo>
                  <a:lnTo>
                    <a:pt x="307" y="302"/>
                  </a:lnTo>
                  <a:lnTo>
                    <a:pt x="335" y="320"/>
                  </a:lnTo>
                  <a:lnTo>
                    <a:pt x="361" y="333"/>
                  </a:lnTo>
                  <a:lnTo>
                    <a:pt x="378" y="339"/>
                  </a:lnTo>
                  <a:lnTo>
                    <a:pt x="384" y="341"/>
                  </a:lnTo>
                  <a:lnTo>
                    <a:pt x="386" y="339"/>
                  </a:lnTo>
                  <a:lnTo>
                    <a:pt x="386" y="336"/>
                  </a:lnTo>
                  <a:lnTo>
                    <a:pt x="384" y="333"/>
                  </a:lnTo>
                  <a:lnTo>
                    <a:pt x="380" y="330"/>
                  </a:lnTo>
                  <a:lnTo>
                    <a:pt x="365" y="316"/>
                  </a:lnTo>
                  <a:lnTo>
                    <a:pt x="348" y="306"/>
                  </a:lnTo>
                  <a:lnTo>
                    <a:pt x="305" y="280"/>
                  </a:lnTo>
                  <a:lnTo>
                    <a:pt x="282" y="270"/>
                  </a:lnTo>
                  <a:close/>
                  <a:moveTo>
                    <a:pt x="32" y="339"/>
                  </a:moveTo>
                  <a:lnTo>
                    <a:pt x="39" y="341"/>
                  </a:lnTo>
                  <a:lnTo>
                    <a:pt x="54" y="335"/>
                  </a:lnTo>
                  <a:lnTo>
                    <a:pt x="99" y="312"/>
                  </a:lnTo>
                  <a:lnTo>
                    <a:pt x="123" y="296"/>
                  </a:lnTo>
                  <a:lnTo>
                    <a:pt x="142" y="283"/>
                  </a:lnTo>
                  <a:lnTo>
                    <a:pt x="154" y="272"/>
                  </a:lnTo>
                  <a:lnTo>
                    <a:pt x="156" y="270"/>
                  </a:lnTo>
                  <a:lnTo>
                    <a:pt x="158" y="267"/>
                  </a:lnTo>
                  <a:lnTo>
                    <a:pt x="150" y="266"/>
                  </a:lnTo>
                  <a:lnTo>
                    <a:pt x="136" y="272"/>
                  </a:lnTo>
                  <a:lnTo>
                    <a:pt x="114" y="282"/>
                  </a:lnTo>
                  <a:lnTo>
                    <a:pt x="90" y="295"/>
                  </a:lnTo>
                  <a:lnTo>
                    <a:pt x="66" y="310"/>
                  </a:lnTo>
                  <a:lnTo>
                    <a:pt x="48" y="324"/>
                  </a:lnTo>
                  <a:lnTo>
                    <a:pt x="35" y="335"/>
                  </a:lnTo>
                  <a:lnTo>
                    <a:pt x="32" y="337"/>
                  </a:lnTo>
                  <a:lnTo>
                    <a:pt x="32" y="339"/>
                  </a:lnTo>
                  <a:close/>
                  <a:moveTo>
                    <a:pt x="196" y="252"/>
                  </a:moveTo>
                  <a:lnTo>
                    <a:pt x="201" y="255"/>
                  </a:lnTo>
                  <a:lnTo>
                    <a:pt x="207" y="256"/>
                  </a:lnTo>
                  <a:lnTo>
                    <a:pt x="213" y="255"/>
                  </a:lnTo>
                  <a:lnTo>
                    <a:pt x="218" y="252"/>
                  </a:lnTo>
                  <a:lnTo>
                    <a:pt x="222" y="247"/>
                  </a:lnTo>
                  <a:lnTo>
                    <a:pt x="223" y="241"/>
                  </a:lnTo>
                  <a:lnTo>
                    <a:pt x="222" y="235"/>
                  </a:lnTo>
                  <a:lnTo>
                    <a:pt x="218" y="230"/>
                  </a:lnTo>
                  <a:lnTo>
                    <a:pt x="213" y="226"/>
                  </a:lnTo>
                  <a:lnTo>
                    <a:pt x="207" y="225"/>
                  </a:lnTo>
                  <a:lnTo>
                    <a:pt x="201" y="226"/>
                  </a:lnTo>
                  <a:lnTo>
                    <a:pt x="196" y="230"/>
                  </a:lnTo>
                  <a:lnTo>
                    <a:pt x="194" y="235"/>
                  </a:lnTo>
                  <a:lnTo>
                    <a:pt x="193" y="241"/>
                  </a:lnTo>
                  <a:lnTo>
                    <a:pt x="194" y="247"/>
                  </a:lnTo>
                  <a:lnTo>
                    <a:pt x="196" y="252"/>
                  </a:lnTo>
                  <a:close/>
                  <a:moveTo>
                    <a:pt x="197" y="121"/>
                  </a:moveTo>
                  <a:lnTo>
                    <a:pt x="201" y="172"/>
                  </a:lnTo>
                  <a:lnTo>
                    <a:pt x="203" y="188"/>
                  </a:lnTo>
                  <a:lnTo>
                    <a:pt x="207" y="194"/>
                  </a:lnTo>
                  <a:lnTo>
                    <a:pt x="211" y="188"/>
                  </a:lnTo>
                  <a:lnTo>
                    <a:pt x="214" y="172"/>
                  </a:lnTo>
                  <a:lnTo>
                    <a:pt x="215" y="121"/>
                  </a:lnTo>
                  <a:lnTo>
                    <a:pt x="214" y="69"/>
                  </a:lnTo>
                  <a:lnTo>
                    <a:pt x="211" y="53"/>
                  </a:lnTo>
                  <a:lnTo>
                    <a:pt x="207" y="47"/>
                  </a:lnTo>
                  <a:lnTo>
                    <a:pt x="203" y="53"/>
                  </a:lnTo>
                  <a:lnTo>
                    <a:pt x="201" y="69"/>
                  </a:lnTo>
                  <a:lnTo>
                    <a:pt x="199" y="93"/>
                  </a:lnTo>
                  <a:lnTo>
                    <a:pt x="197" y="121"/>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9" name="Freeform 82"/>
            <p:cNvSpPr>
              <a:spLocks/>
            </p:cNvSpPr>
            <p:nvPr userDrawn="1"/>
          </p:nvSpPr>
          <p:spPr bwMode="auto">
            <a:xfrm>
              <a:off x="8074025" y="6513513"/>
              <a:ext cx="7938" cy="3175"/>
            </a:xfrm>
            <a:custGeom>
              <a:avLst/>
              <a:gdLst/>
              <a:ahLst/>
              <a:cxnLst>
                <a:cxn ang="0">
                  <a:pos x="28" y="2"/>
                </a:cxn>
                <a:cxn ang="0">
                  <a:pos x="0" y="0"/>
                </a:cxn>
                <a:cxn ang="0">
                  <a:pos x="0" y="11"/>
                </a:cxn>
                <a:cxn ang="0">
                  <a:pos x="28" y="11"/>
                </a:cxn>
                <a:cxn ang="0">
                  <a:pos x="28" y="2"/>
                </a:cxn>
              </a:cxnLst>
              <a:rect l="0" t="0" r="r" b="b"/>
              <a:pathLst>
                <a:path w="28" h="11">
                  <a:moveTo>
                    <a:pt x="28" y="2"/>
                  </a:moveTo>
                  <a:lnTo>
                    <a:pt x="0" y="0"/>
                  </a:lnTo>
                  <a:lnTo>
                    <a:pt x="0" y="11"/>
                  </a:lnTo>
                  <a:lnTo>
                    <a:pt x="28" y="11"/>
                  </a:lnTo>
                  <a:lnTo>
                    <a:pt x="28" y="2"/>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0" name="Freeform 83"/>
            <p:cNvSpPr>
              <a:spLocks/>
            </p:cNvSpPr>
            <p:nvPr userDrawn="1"/>
          </p:nvSpPr>
          <p:spPr bwMode="auto">
            <a:xfrm>
              <a:off x="8078788" y="6446838"/>
              <a:ext cx="7938" cy="65088"/>
            </a:xfrm>
            <a:custGeom>
              <a:avLst/>
              <a:gdLst/>
              <a:ahLst/>
              <a:cxnLst>
                <a:cxn ang="0">
                  <a:pos x="0" y="0"/>
                </a:cxn>
                <a:cxn ang="0">
                  <a:pos x="0" y="204"/>
                </a:cxn>
                <a:cxn ang="0">
                  <a:pos x="26" y="204"/>
                </a:cxn>
                <a:cxn ang="0">
                  <a:pos x="27" y="0"/>
                </a:cxn>
                <a:cxn ang="0">
                  <a:pos x="0" y="0"/>
                </a:cxn>
              </a:cxnLst>
              <a:rect l="0" t="0" r="r" b="b"/>
              <a:pathLst>
                <a:path w="27" h="204">
                  <a:moveTo>
                    <a:pt x="0" y="0"/>
                  </a:moveTo>
                  <a:lnTo>
                    <a:pt x="0" y="204"/>
                  </a:lnTo>
                  <a:lnTo>
                    <a:pt x="26" y="204"/>
                  </a:lnTo>
                  <a:lnTo>
                    <a:pt x="27" y="0"/>
                  </a:lnTo>
                  <a:lnTo>
                    <a:pt x="0"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1" name="Freeform 84"/>
            <p:cNvSpPr>
              <a:spLocks/>
            </p:cNvSpPr>
            <p:nvPr userDrawn="1"/>
          </p:nvSpPr>
          <p:spPr bwMode="auto">
            <a:xfrm>
              <a:off x="8018463" y="6276976"/>
              <a:ext cx="133350" cy="246063"/>
            </a:xfrm>
            <a:custGeom>
              <a:avLst/>
              <a:gdLst/>
              <a:ahLst/>
              <a:cxnLst>
                <a:cxn ang="0">
                  <a:pos x="379" y="319"/>
                </a:cxn>
                <a:cxn ang="0">
                  <a:pos x="419" y="355"/>
                </a:cxn>
                <a:cxn ang="0">
                  <a:pos x="423" y="367"/>
                </a:cxn>
                <a:cxn ang="0">
                  <a:pos x="413" y="369"/>
                </a:cxn>
                <a:cxn ang="0">
                  <a:pos x="391" y="366"/>
                </a:cxn>
                <a:cxn ang="0">
                  <a:pos x="318" y="332"/>
                </a:cxn>
                <a:cxn ang="0">
                  <a:pos x="255" y="289"/>
                </a:cxn>
                <a:cxn ang="0">
                  <a:pos x="229" y="272"/>
                </a:cxn>
                <a:cxn ang="0">
                  <a:pos x="230" y="348"/>
                </a:cxn>
                <a:cxn ang="0">
                  <a:pos x="242" y="527"/>
                </a:cxn>
                <a:cxn ang="0">
                  <a:pos x="254" y="742"/>
                </a:cxn>
                <a:cxn ang="0">
                  <a:pos x="267" y="755"/>
                </a:cxn>
                <a:cxn ang="0">
                  <a:pos x="161" y="777"/>
                </a:cxn>
                <a:cxn ang="0">
                  <a:pos x="172" y="755"/>
                </a:cxn>
                <a:cxn ang="0">
                  <a:pos x="184" y="742"/>
                </a:cxn>
                <a:cxn ang="0">
                  <a:pos x="191" y="527"/>
                </a:cxn>
                <a:cxn ang="0">
                  <a:pos x="193" y="266"/>
                </a:cxn>
                <a:cxn ang="0">
                  <a:pos x="164" y="290"/>
                </a:cxn>
                <a:cxn ang="0">
                  <a:pos x="111" y="325"/>
                </a:cxn>
                <a:cxn ang="0">
                  <a:pos x="37" y="360"/>
                </a:cxn>
                <a:cxn ang="0">
                  <a:pos x="5" y="367"/>
                </a:cxn>
                <a:cxn ang="0">
                  <a:pos x="0" y="359"/>
                </a:cxn>
                <a:cxn ang="0">
                  <a:pos x="22" y="333"/>
                </a:cxn>
                <a:cxn ang="0">
                  <a:pos x="89" y="286"/>
                </a:cxn>
                <a:cxn ang="0">
                  <a:pos x="163" y="252"/>
                </a:cxn>
                <a:cxn ang="0">
                  <a:pos x="187" y="234"/>
                </a:cxn>
                <a:cxn ang="0">
                  <a:pos x="201" y="219"/>
                </a:cxn>
                <a:cxn ang="0">
                  <a:pos x="193" y="163"/>
                </a:cxn>
                <a:cxn ang="0">
                  <a:pos x="193" y="72"/>
                </a:cxn>
                <a:cxn ang="0">
                  <a:pos x="205" y="9"/>
                </a:cxn>
                <a:cxn ang="0">
                  <a:pos x="214" y="0"/>
                </a:cxn>
                <a:cxn ang="0">
                  <a:pos x="222" y="9"/>
                </a:cxn>
                <a:cxn ang="0">
                  <a:pos x="234" y="72"/>
                </a:cxn>
                <a:cxn ang="0">
                  <a:pos x="234" y="163"/>
                </a:cxn>
                <a:cxn ang="0">
                  <a:pos x="224" y="218"/>
                </a:cxn>
                <a:cxn ang="0">
                  <a:pos x="241" y="234"/>
                </a:cxn>
                <a:cxn ang="0">
                  <a:pos x="243" y="248"/>
                </a:cxn>
                <a:cxn ang="0">
                  <a:pos x="290" y="266"/>
                </a:cxn>
                <a:cxn ang="0">
                  <a:pos x="335" y="290"/>
                </a:cxn>
              </a:cxnLst>
              <a:rect l="0" t="0" r="r" b="b"/>
              <a:pathLst>
                <a:path w="423" h="777">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2" name="Freeform 85"/>
            <p:cNvSpPr>
              <a:spLocks/>
            </p:cNvSpPr>
            <p:nvPr userDrawn="1"/>
          </p:nvSpPr>
          <p:spPr bwMode="auto">
            <a:xfrm>
              <a:off x="8101013" y="6361113"/>
              <a:ext cx="39688" cy="23813"/>
            </a:xfrm>
            <a:custGeom>
              <a:avLst/>
              <a:gdLst/>
              <a:ahLst/>
              <a:cxnLst>
                <a:cxn ang="0">
                  <a:pos x="20" y="5"/>
                </a:cxn>
                <a:cxn ang="0">
                  <a:pos x="8" y="0"/>
                </a:cxn>
                <a:cxn ang="0">
                  <a:pos x="3" y="0"/>
                </a:cxn>
                <a:cxn ang="0">
                  <a:pos x="0" y="1"/>
                </a:cxn>
                <a:cxn ang="0">
                  <a:pos x="0" y="5"/>
                </a:cxn>
                <a:cxn ang="0">
                  <a:pos x="5" y="9"/>
                </a:cxn>
                <a:cxn ang="0">
                  <a:pos x="20" y="20"/>
                </a:cxn>
                <a:cxn ang="0">
                  <a:pos x="45" y="37"/>
                </a:cxn>
                <a:cxn ang="0">
                  <a:pos x="73" y="55"/>
                </a:cxn>
                <a:cxn ang="0">
                  <a:pos x="99" y="68"/>
                </a:cxn>
                <a:cxn ang="0">
                  <a:pos x="116" y="74"/>
                </a:cxn>
                <a:cxn ang="0">
                  <a:pos x="122" y="76"/>
                </a:cxn>
                <a:cxn ang="0">
                  <a:pos x="124" y="74"/>
                </a:cxn>
                <a:cxn ang="0">
                  <a:pos x="124" y="71"/>
                </a:cxn>
                <a:cxn ang="0">
                  <a:pos x="122" y="68"/>
                </a:cxn>
                <a:cxn ang="0">
                  <a:pos x="118" y="65"/>
                </a:cxn>
                <a:cxn ang="0">
                  <a:pos x="103" y="51"/>
                </a:cxn>
                <a:cxn ang="0">
                  <a:pos x="86" y="41"/>
                </a:cxn>
                <a:cxn ang="0">
                  <a:pos x="43" y="15"/>
                </a:cxn>
                <a:cxn ang="0">
                  <a:pos x="20" y="5"/>
                </a:cxn>
              </a:cxnLst>
              <a:rect l="0" t="0" r="r" b="b"/>
              <a:pathLst>
                <a:path w="124" h="76">
                  <a:moveTo>
                    <a:pt x="20" y="5"/>
                  </a:moveTo>
                  <a:lnTo>
                    <a:pt x="8" y="0"/>
                  </a:lnTo>
                  <a:lnTo>
                    <a:pt x="3" y="0"/>
                  </a:lnTo>
                  <a:lnTo>
                    <a:pt x="0" y="1"/>
                  </a:lnTo>
                  <a:lnTo>
                    <a:pt x="0" y="5"/>
                  </a:lnTo>
                  <a:lnTo>
                    <a:pt x="5" y="9"/>
                  </a:lnTo>
                  <a:lnTo>
                    <a:pt x="20" y="20"/>
                  </a:lnTo>
                  <a:lnTo>
                    <a:pt x="45" y="37"/>
                  </a:lnTo>
                  <a:lnTo>
                    <a:pt x="73" y="55"/>
                  </a:lnTo>
                  <a:lnTo>
                    <a:pt x="99" y="68"/>
                  </a:lnTo>
                  <a:lnTo>
                    <a:pt x="116" y="74"/>
                  </a:lnTo>
                  <a:lnTo>
                    <a:pt x="122" y="76"/>
                  </a:lnTo>
                  <a:lnTo>
                    <a:pt x="124" y="74"/>
                  </a:lnTo>
                  <a:lnTo>
                    <a:pt x="124" y="71"/>
                  </a:lnTo>
                  <a:lnTo>
                    <a:pt x="122" y="68"/>
                  </a:lnTo>
                  <a:lnTo>
                    <a:pt x="118" y="65"/>
                  </a:lnTo>
                  <a:lnTo>
                    <a:pt x="103" y="51"/>
                  </a:lnTo>
                  <a:lnTo>
                    <a:pt x="86" y="41"/>
                  </a:lnTo>
                  <a:lnTo>
                    <a:pt x="43" y="15"/>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3" name="Freeform 86"/>
            <p:cNvSpPr>
              <a:spLocks/>
            </p:cNvSpPr>
            <p:nvPr userDrawn="1"/>
          </p:nvSpPr>
          <p:spPr bwMode="auto">
            <a:xfrm>
              <a:off x="8027988" y="6361113"/>
              <a:ext cx="39688" cy="23813"/>
            </a:xfrm>
            <a:custGeom>
              <a:avLst/>
              <a:gdLst/>
              <a:ahLst/>
              <a:cxnLst>
                <a:cxn ang="0">
                  <a:pos x="0" y="73"/>
                </a:cxn>
                <a:cxn ang="0">
                  <a:pos x="7" y="75"/>
                </a:cxn>
                <a:cxn ang="0">
                  <a:pos x="22" y="69"/>
                </a:cxn>
                <a:cxn ang="0">
                  <a:pos x="67" y="46"/>
                </a:cxn>
                <a:cxn ang="0">
                  <a:pos x="91" y="30"/>
                </a:cxn>
                <a:cxn ang="0">
                  <a:pos x="110" y="17"/>
                </a:cxn>
                <a:cxn ang="0">
                  <a:pos x="122" y="6"/>
                </a:cxn>
                <a:cxn ang="0">
                  <a:pos x="124" y="4"/>
                </a:cxn>
                <a:cxn ang="0">
                  <a:pos x="126" y="1"/>
                </a:cxn>
                <a:cxn ang="0">
                  <a:pos x="118" y="0"/>
                </a:cxn>
                <a:cxn ang="0">
                  <a:pos x="104" y="6"/>
                </a:cxn>
                <a:cxn ang="0">
                  <a:pos x="82" y="16"/>
                </a:cxn>
                <a:cxn ang="0">
                  <a:pos x="58" y="29"/>
                </a:cxn>
                <a:cxn ang="0">
                  <a:pos x="34" y="44"/>
                </a:cxn>
                <a:cxn ang="0">
                  <a:pos x="16" y="58"/>
                </a:cxn>
                <a:cxn ang="0">
                  <a:pos x="3" y="69"/>
                </a:cxn>
                <a:cxn ang="0">
                  <a:pos x="0" y="71"/>
                </a:cxn>
                <a:cxn ang="0">
                  <a:pos x="0" y="73"/>
                </a:cxn>
              </a:cxnLst>
              <a:rect l="0" t="0" r="r" b="b"/>
              <a:pathLst>
                <a:path w="126" h="75">
                  <a:moveTo>
                    <a:pt x="0" y="73"/>
                  </a:moveTo>
                  <a:lnTo>
                    <a:pt x="7" y="75"/>
                  </a:lnTo>
                  <a:lnTo>
                    <a:pt x="22" y="69"/>
                  </a:lnTo>
                  <a:lnTo>
                    <a:pt x="67" y="46"/>
                  </a:lnTo>
                  <a:lnTo>
                    <a:pt x="91" y="30"/>
                  </a:lnTo>
                  <a:lnTo>
                    <a:pt x="110" y="17"/>
                  </a:lnTo>
                  <a:lnTo>
                    <a:pt x="122" y="6"/>
                  </a:lnTo>
                  <a:lnTo>
                    <a:pt x="124" y="4"/>
                  </a:lnTo>
                  <a:lnTo>
                    <a:pt x="126" y="1"/>
                  </a:lnTo>
                  <a:lnTo>
                    <a:pt x="118" y="0"/>
                  </a:lnTo>
                  <a:lnTo>
                    <a:pt x="104" y="6"/>
                  </a:lnTo>
                  <a:lnTo>
                    <a:pt x="82" y="16"/>
                  </a:lnTo>
                  <a:lnTo>
                    <a:pt x="58" y="29"/>
                  </a:lnTo>
                  <a:lnTo>
                    <a:pt x="34" y="44"/>
                  </a:lnTo>
                  <a:lnTo>
                    <a:pt x="16" y="58"/>
                  </a:lnTo>
                  <a:lnTo>
                    <a:pt x="3" y="69"/>
                  </a:lnTo>
                  <a:lnTo>
                    <a:pt x="0" y="71"/>
                  </a:lnTo>
                  <a:lnTo>
                    <a:pt x="0" y="73"/>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4" name="Freeform 87"/>
            <p:cNvSpPr>
              <a:spLocks/>
            </p:cNvSpPr>
            <p:nvPr userDrawn="1"/>
          </p:nvSpPr>
          <p:spPr bwMode="auto">
            <a:xfrm>
              <a:off x="8078788" y="6348413"/>
              <a:ext cx="9525" cy="9525"/>
            </a:xfrm>
            <a:custGeom>
              <a:avLst/>
              <a:gdLst/>
              <a:ahLst/>
              <a:cxnLst>
                <a:cxn ang="0">
                  <a:pos x="3" y="27"/>
                </a:cxn>
                <a:cxn ang="0">
                  <a:pos x="8" y="30"/>
                </a:cxn>
                <a:cxn ang="0">
                  <a:pos x="14" y="31"/>
                </a:cxn>
                <a:cxn ang="0">
                  <a:pos x="20" y="30"/>
                </a:cxn>
                <a:cxn ang="0">
                  <a:pos x="25" y="27"/>
                </a:cxn>
                <a:cxn ang="0">
                  <a:pos x="29" y="22"/>
                </a:cxn>
                <a:cxn ang="0">
                  <a:pos x="30" y="16"/>
                </a:cxn>
                <a:cxn ang="0">
                  <a:pos x="29" y="10"/>
                </a:cxn>
                <a:cxn ang="0">
                  <a:pos x="25" y="5"/>
                </a:cxn>
                <a:cxn ang="0">
                  <a:pos x="20" y="1"/>
                </a:cxn>
                <a:cxn ang="0">
                  <a:pos x="14" y="0"/>
                </a:cxn>
                <a:cxn ang="0">
                  <a:pos x="8" y="1"/>
                </a:cxn>
                <a:cxn ang="0">
                  <a:pos x="3" y="5"/>
                </a:cxn>
                <a:cxn ang="0">
                  <a:pos x="1" y="10"/>
                </a:cxn>
                <a:cxn ang="0">
                  <a:pos x="0" y="16"/>
                </a:cxn>
                <a:cxn ang="0">
                  <a:pos x="1" y="22"/>
                </a:cxn>
                <a:cxn ang="0">
                  <a:pos x="3" y="27"/>
                </a:cxn>
              </a:cxnLst>
              <a:rect l="0" t="0" r="r" b="b"/>
              <a:pathLst>
                <a:path w="30" h="31">
                  <a:moveTo>
                    <a:pt x="3" y="27"/>
                  </a:moveTo>
                  <a:lnTo>
                    <a:pt x="8" y="30"/>
                  </a:lnTo>
                  <a:lnTo>
                    <a:pt x="14" y="31"/>
                  </a:lnTo>
                  <a:lnTo>
                    <a:pt x="20" y="30"/>
                  </a:lnTo>
                  <a:lnTo>
                    <a:pt x="25" y="27"/>
                  </a:lnTo>
                  <a:lnTo>
                    <a:pt x="29" y="22"/>
                  </a:lnTo>
                  <a:lnTo>
                    <a:pt x="30" y="16"/>
                  </a:lnTo>
                  <a:lnTo>
                    <a:pt x="29" y="10"/>
                  </a:lnTo>
                  <a:lnTo>
                    <a:pt x="25" y="5"/>
                  </a:lnTo>
                  <a:lnTo>
                    <a:pt x="20" y="1"/>
                  </a:lnTo>
                  <a:lnTo>
                    <a:pt x="14" y="0"/>
                  </a:lnTo>
                  <a:lnTo>
                    <a:pt x="8" y="1"/>
                  </a:lnTo>
                  <a:lnTo>
                    <a:pt x="3" y="5"/>
                  </a:lnTo>
                  <a:lnTo>
                    <a:pt x="1" y="10"/>
                  </a:lnTo>
                  <a:lnTo>
                    <a:pt x="0" y="16"/>
                  </a:lnTo>
                  <a:lnTo>
                    <a:pt x="1" y="22"/>
                  </a:lnTo>
                  <a:lnTo>
                    <a:pt x="3"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5" name="Freeform 88"/>
            <p:cNvSpPr>
              <a:spLocks/>
            </p:cNvSpPr>
            <p:nvPr userDrawn="1"/>
          </p:nvSpPr>
          <p:spPr bwMode="auto">
            <a:xfrm>
              <a:off x="8080375" y="6291263"/>
              <a:ext cx="6350" cy="47625"/>
            </a:xfrm>
            <a:custGeom>
              <a:avLst/>
              <a:gdLst/>
              <a:ahLst/>
              <a:cxnLst>
                <a:cxn ang="0">
                  <a:pos x="0" y="74"/>
                </a:cxn>
                <a:cxn ang="0">
                  <a:pos x="4" y="125"/>
                </a:cxn>
                <a:cxn ang="0">
                  <a:pos x="6" y="141"/>
                </a:cxn>
                <a:cxn ang="0">
                  <a:pos x="10" y="147"/>
                </a:cxn>
                <a:cxn ang="0">
                  <a:pos x="14" y="141"/>
                </a:cxn>
                <a:cxn ang="0">
                  <a:pos x="17" y="125"/>
                </a:cxn>
                <a:cxn ang="0">
                  <a:pos x="18" y="74"/>
                </a:cxn>
                <a:cxn ang="0">
                  <a:pos x="17" y="22"/>
                </a:cxn>
                <a:cxn ang="0">
                  <a:pos x="14" y="6"/>
                </a:cxn>
                <a:cxn ang="0">
                  <a:pos x="10" y="0"/>
                </a:cxn>
                <a:cxn ang="0">
                  <a:pos x="6" y="6"/>
                </a:cxn>
                <a:cxn ang="0">
                  <a:pos x="4" y="22"/>
                </a:cxn>
                <a:cxn ang="0">
                  <a:pos x="2" y="46"/>
                </a:cxn>
                <a:cxn ang="0">
                  <a:pos x="0" y="74"/>
                </a:cxn>
              </a:cxnLst>
              <a:rect l="0" t="0" r="r" b="b"/>
              <a:pathLst>
                <a:path w="18" h="147">
                  <a:moveTo>
                    <a:pt x="0" y="74"/>
                  </a:moveTo>
                  <a:lnTo>
                    <a:pt x="4" y="125"/>
                  </a:lnTo>
                  <a:lnTo>
                    <a:pt x="6" y="141"/>
                  </a:lnTo>
                  <a:lnTo>
                    <a:pt x="10" y="147"/>
                  </a:lnTo>
                  <a:lnTo>
                    <a:pt x="14" y="141"/>
                  </a:lnTo>
                  <a:lnTo>
                    <a:pt x="17" y="125"/>
                  </a:lnTo>
                  <a:lnTo>
                    <a:pt x="18" y="74"/>
                  </a:lnTo>
                  <a:lnTo>
                    <a:pt x="17" y="22"/>
                  </a:lnTo>
                  <a:lnTo>
                    <a:pt x="14" y="6"/>
                  </a:lnTo>
                  <a:lnTo>
                    <a:pt x="10" y="0"/>
                  </a:lnTo>
                  <a:lnTo>
                    <a:pt x="6" y="6"/>
                  </a:lnTo>
                  <a:lnTo>
                    <a:pt x="4" y="22"/>
                  </a:lnTo>
                  <a:lnTo>
                    <a:pt x="2" y="46"/>
                  </a:lnTo>
                  <a:lnTo>
                    <a:pt x="0" y="74"/>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6" name="Freeform 89"/>
            <p:cNvSpPr>
              <a:spLocks noEditPoints="1"/>
            </p:cNvSpPr>
            <p:nvPr userDrawn="1"/>
          </p:nvSpPr>
          <p:spPr bwMode="auto">
            <a:xfrm>
              <a:off x="7970838" y="6284913"/>
              <a:ext cx="153988" cy="280988"/>
            </a:xfrm>
            <a:custGeom>
              <a:avLst/>
              <a:gdLst/>
              <a:ahLst/>
              <a:cxnLst>
                <a:cxn ang="0">
                  <a:pos x="199" y="859"/>
                </a:cxn>
                <a:cxn ang="0">
                  <a:pos x="218" y="610"/>
                </a:cxn>
                <a:cxn ang="0">
                  <a:pos x="247" y="610"/>
                </a:cxn>
                <a:cxn ang="0">
                  <a:pos x="431" y="363"/>
                </a:cxn>
                <a:cxn ang="0">
                  <a:pos x="470" y="394"/>
                </a:cxn>
                <a:cxn ang="0">
                  <a:pos x="480" y="417"/>
                </a:cxn>
                <a:cxn ang="0">
                  <a:pos x="446" y="416"/>
                </a:cxn>
                <a:cxn ang="0">
                  <a:pos x="342" y="366"/>
                </a:cxn>
                <a:cxn ang="0">
                  <a:pos x="265" y="305"/>
                </a:cxn>
                <a:cxn ang="0">
                  <a:pos x="261" y="395"/>
                </a:cxn>
                <a:cxn ang="0">
                  <a:pos x="276" y="845"/>
                </a:cxn>
                <a:cxn ang="0">
                  <a:pos x="303" y="859"/>
                </a:cxn>
                <a:cxn ang="0">
                  <a:pos x="184" y="859"/>
                </a:cxn>
                <a:cxn ang="0">
                  <a:pos x="210" y="844"/>
                </a:cxn>
                <a:cxn ang="0">
                  <a:pos x="228" y="310"/>
                </a:cxn>
                <a:cxn ang="0">
                  <a:pos x="202" y="316"/>
                </a:cxn>
                <a:cxn ang="0">
                  <a:pos x="125" y="369"/>
                </a:cxn>
                <a:cxn ang="0">
                  <a:pos x="25" y="414"/>
                </a:cxn>
                <a:cxn ang="0">
                  <a:pos x="0" y="414"/>
                </a:cxn>
                <a:cxn ang="0">
                  <a:pos x="12" y="390"/>
                </a:cxn>
                <a:cxn ang="0">
                  <a:pos x="101" y="325"/>
                </a:cxn>
                <a:cxn ang="0">
                  <a:pos x="210" y="278"/>
                </a:cxn>
                <a:cxn ang="0">
                  <a:pos x="229" y="248"/>
                </a:cxn>
                <a:cxn ang="0">
                  <a:pos x="218" y="159"/>
                </a:cxn>
                <a:cxn ang="0">
                  <a:pos x="225" y="39"/>
                </a:cxn>
                <a:cxn ang="0">
                  <a:pos x="243" y="0"/>
                </a:cxn>
                <a:cxn ang="0">
                  <a:pos x="260" y="39"/>
                </a:cxn>
                <a:cxn ang="0">
                  <a:pos x="265" y="183"/>
                </a:cxn>
                <a:cxn ang="0">
                  <a:pos x="267" y="254"/>
                </a:cxn>
                <a:cxn ang="0">
                  <a:pos x="277" y="282"/>
                </a:cxn>
                <a:cxn ang="0">
                  <a:pos x="381" y="329"/>
                </a:cxn>
                <a:cxn ang="0">
                  <a:pos x="302" y="300"/>
                </a:cxn>
                <a:cxn ang="0">
                  <a:pos x="303" y="311"/>
                </a:cxn>
                <a:cxn ang="0">
                  <a:pos x="382" y="364"/>
                </a:cxn>
                <a:cxn ang="0">
                  <a:pos x="437" y="387"/>
                </a:cxn>
                <a:cxn ang="0">
                  <a:pos x="437" y="379"/>
                </a:cxn>
                <a:cxn ang="0">
                  <a:pos x="396" y="347"/>
                </a:cxn>
                <a:cxn ang="0">
                  <a:pos x="37" y="387"/>
                </a:cxn>
                <a:cxn ang="0">
                  <a:pos x="86" y="369"/>
                </a:cxn>
                <a:cxn ang="0">
                  <a:pos x="176" y="310"/>
                </a:cxn>
                <a:cxn ang="0">
                  <a:pos x="154" y="309"/>
                </a:cxn>
                <a:cxn ang="0">
                  <a:pos x="76" y="352"/>
                </a:cxn>
                <a:cxn ang="0">
                  <a:pos x="37" y="383"/>
                </a:cxn>
                <a:cxn ang="0">
                  <a:pos x="229" y="289"/>
                </a:cxn>
                <a:cxn ang="0">
                  <a:pos x="247" y="286"/>
                </a:cxn>
                <a:cxn ang="0">
                  <a:pos x="252" y="266"/>
                </a:cxn>
                <a:cxn ang="0">
                  <a:pos x="236" y="256"/>
                </a:cxn>
                <a:cxn ang="0">
                  <a:pos x="220" y="266"/>
                </a:cxn>
                <a:cxn ang="0">
                  <a:pos x="224" y="286"/>
                </a:cxn>
                <a:cxn ang="0">
                  <a:pos x="228" y="196"/>
                </a:cxn>
                <a:cxn ang="0">
                  <a:pos x="236" y="220"/>
                </a:cxn>
                <a:cxn ang="0">
                  <a:pos x="246" y="137"/>
                </a:cxn>
                <a:cxn ang="0">
                  <a:pos x="240" y="60"/>
                </a:cxn>
                <a:cxn ang="0">
                  <a:pos x="229" y="78"/>
                </a:cxn>
              </a:cxnLst>
              <a:rect l="0" t="0" r="r" b="b"/>
              <a:pathLst>
                <a:path w="482" h="884">
                  <a:moveTo>
                    <a:pt x="232" y="847"/>
                  </a:moveTo>
                  <a:lnTo>
                    <a:pt x="199" y="847"/>
                  </a:lnTo>
                  <a:lnTo>
                    <a:pt x="199" y="859"/>
                  </a:lnTo>
                  <a:lnTo>
                    <a:pt x="232" y="859"/>
                  </a:lnTo>
                  <a:lnTo>
                    <a:pt x="232" y="847"/>
                  </a:lnTo>
                  <a:close/>
                  <a:moveTo>
                    <a:pt x="218" y="610"/>
                  </a:moveTo>
                  <a:lnTo>
                    <a:pt x="218" y="842"/>
                  </a:lnTo>
                  <a:lnTo>
                    <a:pt x="247" y="842"/>
                  </a:lnTo>
                  <a:lnTo>
                    <a:pt x="247" y="610"/>
                  </a:lnTo>
                  <a:lnTo>
                    <a:pt x="218" y="610"/>
                  </a:lnTo>
                  <a:close/>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moveTo>
                    <a:pt x="320" y="306"/>
                  </a:moveTo>
                  <a:lnTo>
                    <a:pt x="307" y="301"/>
                  </a:lnTo>
                  <a:lnTo>
                    <a:pt x="302" y="300"/>
                  </a:lnTo>
                  <a:lnTo>
                    <a:pt x="299" y="303"/>
                  </a:lnTo>
                  <a:lnTo>
                    <a:pt x="299" y="306"/>
                  </a:lnTo>
                  <a:lnTo>
                    <a:pt x="303" y="311"/>
                  </a:lnTo>
                  <a:lnTo>
                    <a:pt x="320" y="324"/>
                  </a:lnTo>
                  <a:lnTo>
                    <a:pt x="349" y="343"/>
                  </a:lnTo>
                  <a:lnTo>
                    <a:pt x="382" y="364"/>
                  </a:lnTo>
                  <a:lnTo>
                    <a:pt x="412" y="379"/>
                  </a:lnTo>
                  <a:lnTo>
                    <a:pt x="430" y="387"/>
                  </a:lnTo>
                  <a:lnTo>
                    <a:pt x="437" y="387"/>
                  </a:lnTo>
                  <a:lnTo>
                    <a:pt x="441" y="385"/>
                  </a:lnTo>
                  <a:lnTo>
                    <a:pt x="440" y="382"/>
                  </a:lnTo>
                  <a:lnTo>
                    <a:pt x="437" y="379"/>
                  </a:lnTo>
                  <a:lnTo>
                    <a:pt x="432" y="375"/>
                  </a:lnTo>
                  <a:lnTo>
                    <a:pt x="414" y="360"/>
                  </a:lnTo>
                  <a:lnTo>
                    <a:pt x="396" y="347"/>
                  </a:lnTo>
                  <a:lnTo>
                    <a:pt x="347" y="319"/>
                  </a:lnTo>
                  <a:lnTo>
                    <a:pt x="320" y="306"/>
                  </a:lnTo>
                  <a:close/>
                  <a:moveTo>
                    <a:pt x="37" y="387"/>
                  </a:moveTo>
                  <a:lnTo>
                    <a:pt x="43" y="387"/>
                  </a:lnTo>
                  <a:lnTo>
                    <a:pt x="61" y="379"/>
                  </a:lnTo>
                  <a:lnTo>
                    <a:pt x="86" y="369"/>
                  </a:lnTo>
                  <a:lnTo>
                    <a:pt x="112" y="354"/>
                  </a:lnTo>
                  <a:lnTo>
                    <a:pt x="161" y="321"/>
                  </a:lnTo>
                  <a:lnTo>
                    <a:pt x="176" y="310"/>
                  </a:lnTo>
                  <a:lnTo>
                    <a:pt x="179" y="303"/>
                  </a:lnTo>
                  <a:lnTo>
                    <a:pt x="172" y="303"/>
                  </a:lnTo>
                  <a:lnTo>
                    <a:pt x="154" y="309"/>
                  </a:lnTo>
                  <a:lnTo>
                    <a:pt x="130" y="319"/>
                  </a:lnTo>
                  <a:lnTo>
                    <a:pt x="102" y="335"/>
                  </a:lnTo>
                  <a:lnTo>
                    <a:pt x="76" y="352"/>
                  </a:lnTo>
                  <a:lnTo>
                    <a:pt x="54" y="367"/>
                  </a:lnTo>
                  <a:lnTo>
                    <a:pt x="40" y="379"/>
                  </a:lnTo>
                  <a:lnTo>
                    <a:pt x="37" y="383"/>
                  </a:lnTo>
                  <a:lnTo>
                    <a:pt x="37" y="387"/>
                  </a:lnTo>
                  <a:close/>
                  <a:moveTo>
                    <a:pt x="224" y="286"/>
                  </a:moveTo>
                  <a:lnTo>
                    <a:pt x="229" y="289"/>
                  </a:lnTo>
                  <a:lnTo>
                    <a:pt x="236" y="290"/>
                  </a:lnTo>
                  <a:lnTo>
                    <a:pt x="242" y="289"/>
                  </a:lnTo>
                  <a:lnTo>
                    <a:pt x="247" y="286"/>
                  </a:lnTo>
                  <a:lnTo>
                    <a:pt x="252" y="280"/>
                  </a:lnTo>
                  <a:lnTo>
                    <a:pt x="253" y="274"/>
                  </a:lnTo>
                  <a:lnTo>
                    <a:pt x="252" y="266"/>
                  </a:lnTo>
                  <a:lnTo>
                    <a:pt x="247" y="260"/>
                  </a:lnTo>
                  <a:lnTo>
                    <a:pt x="242" y="257"/>
                  </a:lnTo>
                  <a:lnTo>
                    <a:pt x="236" y="256"/>
                  </a:lnTo>
                  <a:lnTo>
                    <a:pt x="229" y="257"/>
                  </a:lnTo>
                  <a:lnTo>
                    <a:pt x="224" y="260"/>
                  </a:lnTo>
                  <a:lnTo>
                    <a:pt x="220" y="266"/>
                  </a:lnTo>
                  <a:lnTo>
                    <a:pt x="219" y="274"/>
                  </a:lnTo>
                  <a:lnTo>
                    <a:pt x="220" y="280"/>
                  </a:lnTo>
                  <a:lnTo>
                    <a:pt x="224" y="286"/>
                  </a:lnTo>
                  <a:close/>
                  <a:moveTo>
                    <a:pt x="225" y="137"/>
                  </a:moveTo>
                  <a:lnTo>
                    <a:pt x="225" y="168"/>
                  </a:lnTo>
                  <a:lnTo>
                    <a:pt x="228" y="196"/>
                  </a:lnTo>
                  <a:lnTo>
                    <a:pt x="231" y="214"/>
                  </a:lnTo>
                  <a:lnTo>
                    <a:pt x="234" y="218"/>
                  </a:lnTo>
                  <a:lnTo>
                    <a:pt x="236" y="220"/>
                  </a:lnTo>
                  <a:lnTo>
                    <a:pt x="240" y="214"/>
                  </a:lnTo>
                  <a:lnTo>
                    <a:pt x="243" y="196"/>
                  </a:lnTo>
                  <a:lnTo>
                    <a:pt x="246" y="137"/>
                  </a:lnTo>
                  <a:lnTo>
                    <a:pt x="246" y="104"/>
                  </a:lnTo>
                  <a:lnTo>
                    <a:pt x="243" y="78"/>
                  </a:lnTo>
                  <a:lnTo>
                    <a:pt x="240" y="60"/>
                  </a:lnTo>
                  <a:lnTo>
                    <a:pt x="236" y="54"/>
                  </a:lnTo>
                  <a:lnTo>
                    <a:pt x="231" y="60"/>
                  </a:lnTo>
                  <a:lnTo>
                    <a:pt x="229" y="78"/>
                  </a:lnTo>
                  <a:lnTo>
                    <a:pt x="225" y="104"/>
                  </a:lnTo>
                  <a:lnTo>
                    <a:pt x="225" y="137"/>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7" name="Rectangle 90"/>
            <p:cNvSpPr>
              <a:spLocks noChangeArrowheads="1"/>
            </p:cNvSpPr>
            <p:nvPr userDrawn="1"/>
          </p:nvSpPr>
          <p:spPr bwMode="auto">
            <a:xfrm>
              <a:off x="8034338" y="6554788"/>
              <a:ext cx="11113" cy="3175"/>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8" name="Rectangle 91"/>
            <p:cNvSpPr>
              <a:spLocks noChangeArrowheads="1"/>
            </p:cNvSpPr>
            <p:nvPr userDrawn="1"/>
          </p:nvSpPr>
          <p:spPr bwMode="auto">
            <a:xfrm>
              <a:off x="8040688" y="6478588"/>
              <a:ext cx="9525" cy="74613"/>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9" name="Freeform 92"/>
            <p:cNvSpPr>
              <a:spLocks/>
            </p:cNvSpPr>
            <p:nvPr userDrawn="1"/>
          </p:nvSpPr>
          <p:spPr bwMode="auto">
            <a:xfrm>
              <a:off x="7970838" y="6284913"/>
              <a:ext cx="153988" cy="280988"/>
            </a:xfrm>
            <a:custGeom>
              <a:avLst/>
              <a:gdLst/>
              <a:ahLst/>
              <a:cxnLst>
                <a:cxn ang="0">
                  <a:pos x="431" y="363"/>
                </a:cxn>
                <a:cxn ang="0">
                  <a:pos x="456" y="382"/>
                </a:cxn>
                <a:cxn ang="0">
                  <a:pos x="477" y="404"/>
                </a:cxn>
                <a:cxn ang="0">
                  <a:pos x="480" y="417"/>
                </a:cxn>
                <a:cxn ang="0">
                  <a:pos x="470" y="420"/>
                </a:cxn>
                <a:cxn ang="0">
                  <a:pos x="405" y="399"/>
                </a:cxn>
                <a:cxn ang="0">
                  <a:pos x="342" y="366"/>
                </a:cxn>
                <a:cxn ang="0">
                  <a:pos x="291" y="329"/>
                </a:cxn>
                <a:cxn ang="0">
                  <a:pos x="260" y="309"/>
                </a:cxn>
                <a:cxn ang="0">
                  <a:pos x="261" y="395"/>
                </a:cxn>
                <a:cxn ang="0">
                  <a:pos x="276" y="599"/>
                </a:cxn>
                <a:cxn ang="0">
                  <a:pos x="289" y="845"/>
                </a:cxn>
                <a:cxn ang="0">
                  <a:pos x="303" y="859"/>
                </a:cxn>
                <a:cxn ang="0">
                  <a:pos x="184" y="883"/>
                </a:cxn>
                <a:cxn ang="0">
                  <a:pos x="196" y="859"/>
                </a:cxn>
                <a:cxn ang="0">
                  <a:pos x="210" y="844"/>
                </a:cxn>
                <a:cxn ang="0">
                  <a:pos x="218" y="599"/>
                </a:cxn>
                <a:cxn ang="0">
                  <a:pos x="219" y="303"/>
                </a:cxn>
                <a:cxn ang="0">
                  <a:pos x="202" y="316"/>
                </a:cxn>
                <a:cxn ang="0">
                  <a:pos x="169" y="342"/>
                </a:cxn>
                <a:cxn ang="0">
                  <a:pos x="82" y="393"/>
                </a:cxn>
                <a:cxn ang="0">
                  <a:pos x="25" y="414"/>
                </a:cxn>
                <a:cxn ang="0">
                  <a:pos x="5" y="417"/>
                </a:cxn>
                <a:cxn ang="0">
                  <a:pos x="0" y="408"/>
                </a:cxn>
                <a:cxn ang="0">
                  <a:pos x="12" y="390"/>
                </a:cxn>
                <a:cxn ang="0">
                  <a:pos x="59" y="353"/>
                </a:cxn>
                <a:cxn ang="0">
                  <a:pos x="146" y="303"/>
                </a:cxn>
                <a:cxn ang="0">
                  <a:pos x="210" y="278"/>
                </a:cxn>
                <a:cxn ang="0">
                  <a:pos x="219" y="254"/>
                </a:cxn>
                <a:cxn ang="0">
                  <a:pos x="224" y="227"/>
                </a:cxn>
                <a:cxn ang="0">
                  <a:pos x="218" y="159"/>
                </a:cxn>
                <a:cxn ang="0">
                  <a:pos x="219" y="83"/>
                </a:cxn>
                <a:cxn ang="0">
                  <a:pos x="234" y="9"/>
                </a:cxn>
                <a:cxn ang="0">
                  <a:pos x="243" y="0"/>
                </a:cxn>
                <a:cxn ang="0">
                  <a:pos x="253" y="9"/>
                </a:cxn>
                <a:cxn ang="0">
                  <a:pos x="266" y="83"/>
                </a:cxn>
                <a:cxn ang="0">
                  <a:pos x="265" y="183"/>
                </a:cxn>
                <a:cxn ang="0">
                  <a:pos x="255" y="247"/>
                </a:cxn>
                <a:cxn ang="0">
                  <a:pos x="275" y="266"/>
                </a:cxn>
                <a:cxn ang="0">
                  <a:pos x="277" y="282"/>
                </a:cxn>
                <a:cxn ang="0">
                  <a:pos x="330" y="303"/>
                </a:cxn>
              </a:cxnLst>
              <a:rect l="0" t="0" r="r" b="b"/>
              <a:pathLst>
                <a:path w="482" h="884">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0" name="Freeform 93"/>
            <p:cNvSpPr>
              <a:spLocks/>
            </p:cNvSpPr>
            <p:nvPr userDrawn="1"/>
          </p:nvSpPr>
          <p:spPr bwMode="auto">
            <a:xfrm>
              <a:off x="8066088" y="6380163"/>
              <a:ext cx="44450" cy="28575"/>
            </a:xfrm>
            <a:custGeom>
              <a:avLst/>
              <a:gdLst/>
              <a:ahLst/>
              <a:cxnLst>
                <a:cxn ang="0">
                  <a:pos x="21" y="6"/>
                </a:cxn>
                <a:cxn ang="0">
                  <a:pos x="8" y="1"/>
                </a:cxn>
                <a:cxn ang="0">
                  <a:pos x="3" y="0"/>
                </a:cxn>
                <a:cxn ang="0">
                  <a:pos x="0" y="3"/>
                </a:cxn>
                <a:cxn ang="0">
                  <a:pos x="0" y="6"/>
                </a:cxn>
                <a:cxn ang="0">
                  <a:pos x="4" y="11"/>
                </a:cxn>
                <a:cxn ang="0">
                  <a:pos x="21" y="24"/>
                </a:cxn>
                <a:cxn ang="0">
                  <a:pos x="50" y="43"/>
                </a:cxn>
                <a:cxn ang="0">
                  <a:pos x="83" y="64"/>
                </a:cxn>
                <a:cxn ang="0">
                  <a:pos x="113" y="79"/>
                </a:cxn>
                <a:cxn ang="0">
                  <a:pos x="131" y="87"/>
                </a:cxn>
                <a:cxn ang="0">
                  <a:pos x="138" y="87"/>
                </a:cxn>
                <a:cxn ang="0">
                  <a:pos x="142" y="85"/>
                </a:cxn>
                <a:cxn ang="0">
                  <a:pos x="141" y="82"/>
                </a:cxn>
                <a:cxn ang="0">
                  <a:pos x="138" y="79"/>
                </a:cxn>
                <a:cxn ang="0">
                  <a:pos x="133" y="75"/>
                </a:cxn>
                <a:cxn ang="0">
                  <a:pos x="115" y="60"/>
                </a:cxn>
                <a:cxn ang="0">
                  <a:pos x="97" y="47"/>
                </a:cxn>
                <a:cxn ang="0">
                  <a:pos x="48" y="19"/>
                </a:cxn>
                <a:cxn ang="0">
                  <a:pos x="21" y="6"/>
                </a:cxn>
              </a:cxnLst>
              <a:rect l="0" t="0" r="r" b="b"/>
              <a:pathLst>
                <a:path w="142" h="87">
                  <a:moveTo>
                    <a:pt x="21" y="6"/>
                  </a:moveTo>
                  <a:lnTo>
                    <a:pt x="8" y="1"/>
                  </a:lnTo>
                  <a:lnTo>
                    <a:pt x="3" y="0"/>
                  </a:lnTo>
                  <a:lnTo>
                    <a:pt x="0" y="3"/>
                  </a:lnTo>
                  <a:lnTo>
                    <a:pt x="0" y="6"/>
                  </a:lnTo>
                  <a:lnTo>
                    <a:pt x="4" y="11"/>
                  </a:lnTo>
                  <a:lnTo>
                    <a:pt x="21" y="24"/>
                  </a:lnTo>
                  <a:lnTo>
                    <a:pt x="50" y="43"/>
                  </a:lnTo>
                  <a:lnTo>
                    <a:pt x="83" y="64"/>
                  </a:lnTo>
                  <a:lnTo>
                    <a:pt x="113" y="79"/>
                  </a:lnTo>
                  <a:lnTo>
                    <a:pt x="131" y="87"/>
                  </a:lnTo>
                  <a:lnTo>
                    <a:pt x="138" y="87"/>
                  </a:lnTo>
                  <a:lnTo>
                    <a:pt x="142" y="85"/>
                  </a:lnTo>
                  <a:lnTo>
                    <a:pt x="141" y="82"/>
                  </a:lnTo>
                  <a:lnTo>
                    <a:pt x="138" y="79"/>
                  </a:lnTo>
                  <a:lnTo>
                    <a:pt x="133" y="75"/>
                  </a:lnTo>
                  <a:lnTo>
                    <a:pt x="115" y="60"/>
                  </a:lnTo>
                  <a:lnTo>
                    <a:pt x="97" y="47"/>
                  </a:lnTo>
                  <a:lnTo>
                    <a:pt x="48" y="19"/>
                  </a:lnTo>
                  <a:lnTo>
                    <a:pt x="21" y="6"/>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1" name="Freeform 94"/>
            <p:cNvSpPr>
              <a:spLocks/>
            </p:cNvSpPr>
            <p:nvPr userDrawn="1"/>
          </p:nvSpPr>
          <p:spPr bwMode="auto">
            <a:xfrm>
              <a:off x="7983538" y="6381751"/>
              <a:ext cx="44450" cy="26988"/>
            </a:xfrm>
            <a:custGeom>
              <a:avLst/>
              <a:gdLst/>
              <a:ahLst/>
              <a:cxnLst>
                <a:cxn ang="0">
                  <a:pos x="0" y="84"/>
                </a:cxn>
                <a:cxn ang="0">
                  <a:pos x="6" y="84"/>
                </a:cxn>
                <a:cxn ang="0">
                  <a:pos x="24" y="76"/>
                </a:cxn>
                <a:cxn ang="0">
                  <a:pos x="49" y="66"/>
                </a:cxn>
                <a:cxn ang="0">
                  <a:pos x="75" y="51"/>
                </a:cxn>
                <a:cxn ang="0">
                  <a:pos x="124" y="18"/>
                </a:cxn>
                <a:cxn ang="0">
                  <a:pos x="139" y="7"/>
                </a:cxn>
                <a:cxn ang="0">
                  <a:pos x="142" y="0"/>
                </a:cxn>
                <a:cxn ang="0">
                  <a:pos x="135" y="0"/>
                </a:cxn>
                <a:cxn ang="0">
                  <a:pos x="117" y="6"/>
                </a:cxn>
                <a:cxn ang="0">
                  <a:pos x="93" y="16"/>
                </a:cxn>
                <a:cxn ang="0">
                  <a:pos x="65" y="32"/>
                </a:cxn>
                <a:cxn ang="0">
                  <a:pos x="39" y="49"/>
                </a:cxn>
                <a:cxn ang="0">
                  <a:pos x="17" y="64"/>
                </a:cxn>
                <a:cxn ang="0">
                  <a:pos x="3" y="76"/>
                </a:cxn>
                <a:cxn ang="0">
                  <a:pos x="0" y="80"/>
                </a:cxn>
                <a:cxn ang="0">
                  <a:pos x="0" y="84"/>
                </a:cxn>
              </a:cxnLst>
              <a:rect l="0" t="0" r="r" b="b"/>
              <a:pathLst>
                <a:path w="142" h="84">
                  <a:moveTo>
                    <a:pt x="0" y="84"/>
                  </a:moveTo>
                  <a:lnTo>
                    <a:pt x="6" y="84"/>
                  </a:lnTo>
                  <a:lnTo>
                    <a:pt x="24" y="76"/>
                  </a:lnTo>
                  <a:lnTo>
                    <a:pt x="49" y="66"/>
                  </a:lnTo>
                  <a:lnTo>
                    <a:pt x="75" y="51"/>
                  </a:lnTo>
                  <a:lnTo>
                    <a:pt x="124" y="18"/>
                  </a:lnTo>
                  <a:lnTo>
                    <a:pt x="139" y="7"/>
                  </a:lnTo>
                  <a:lnTo>
                    <a:pt x="142" y="0"/>
                  </a:lnTo>
                  <a:lnTo>
                    <a:pt x="135" y="0"/>
                  </a:lnTo>
                  <a:lnTo>
                    <a:pt x="117" y="6"/>
                  </a:lnTo>
                  <a:lnTo>
                    <a:pt x="93" y="16"/>
                  </a:lnTo>
                  <a:lnTo>
                    <a:pt x="65" y="32"/>
                  </a:lnTo>
                  <a:lnTo>
                    <a:pt x="39" y="49"/>
                  </a:lnTo>
                  <a:lnTo>
                    <a:pt x="17" y="64"/>
                  </a:lnTo>
                  <a:lnTo>
                    <a:pt x="3" y="76"/>
                  </a:lnTo>
                  <a:lnTo>
                    <a:pt x="0" y="80"/>
                  </a:lnTo>
                  <a:lnTo>
                    <a:pt x="0" y="8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2" name="Freeform 95"/>
            <p:cNvSpPr>
              <a:spLocks/>
            </p:cNvSpPr>
            <p:nvPr userDrawn="1"/>
          </p:nvSpPr>
          <p:spPr bwMode="auto">
            <a:xfrm>
              <a:off x="8040688" y="6365876"/>
              <a:ext cx="11113" cy="11113"/>
            </a:xfrm>
            <a:custGeom>
              <a:avLst/>
              <a:gdLst/>
              <a:ahLst/>
              <a:cxnLst>
                <a:cxn ang="0">
                  <a:pos x="5" y="30"/>
                </a:cxn>
                <a:cxn ang="0">
                  <a:pos x="10" y="33"/>
                </a:cxn>
                <a:cxn ang="0">
                  <a:pos x="17" y="34"/>
                </a:cxn>
                <a:cxn ang="0">
                  <a:pos x="23" y="33"/>
                </a:cxn>
                <a:cxn ang="0">
                  <a:pos x="28" y="30"/>
                </a:cxn>
                <a:cxn ang="0">
                  <a:pos x="33" y="24"/>
                </a:cxn>
                <a:cxn ang="0">
                  <a:pos x="34" y="18"/>
                </a:cxn>
                <a:cxn ang="0">
                  <a:pos x="33" y="10"/>
                </a:cxn>
                <a:cxn ang="0">
                  <a:pos x="28" y="4"/>
                </a:cxn>
                <a:cxn ang="0">
                  <a:pos x="23" y="1"/>
                </a:cxn>
                <a:cxn ang="0">
                  <a:pos x="17" y="0"/>
                </a:cxn>
                <a:cxn ang="0">
                  <a:pos x="10" y="1"/>
                </a:cxn>
                <a:cxn ang="0">
                  <a:pos x="5" y="4"/>
                </a:cxn>
                <a:cxn ang="0">
                  <a:pos x="1" y="10"/>
                </a:cxn>
                <a:cxn ang="0">
                  <a:pos x="0" y="18"/>
                </a:cxn>
                <a:cxn ang="0">
                  <a:pos x="1" y="24"/>
                </a:cxn>
                <a:cxn ang="0">
                  <a:pos x="5" y="30"/>
                </a:cxn>
              </a:cxnLst>
              <a:rect l="0" t="0" r="r" b="b"/>
              <a:pathLst>
                <a:path w="34" h="34">
                  <a:moveTo>
                    <a:pt x="5" y="30"/>
                  </a:moveTo>
                  <a:lnTo>
                    <a:pt x="10" y="33"/>
                  </a:lnTo>
                  <a:lnTo>
                    <a:pt x="17" y="34"/>
                  </a:lnTo>
                  <a:lnTo>
                    <a:pt x="23" y="33"/>
                  </a:lnTo>
                  <a:lnTo>
                    <a:pt x="28" y="30"/>
                  </a:lnTo>
                  <a:lnTo>
                    <a:pt x="33" y="24"/>
                  </a:lnTo>
                  <a:lnTo>
                    <a:pt x="34" y="18"/>
                  </a:lnTo>
                  <a:lnTo>
                    <a:pt x="33" y="10"/>
                  </a:lnTo>
                  <a:lnTo>
                    <a:pt x="28" y="4"/>
                  </a:lnTo>
                  <a:lnTo>
                    <a:pt x="23" y="1"/>
                  </a:lnTo>
                  <a:lnTo>
                    <a:pt x="17" y="0"/>
                  </a:lnTo>
                  <a:lnTo>
                    <a:pt x="10" y="1"/>
                  </a:lnTo>
                  <a:lnTo>
                    <a:pt x="5" y="4"/>
                  </a:lnTo>
                  <a:lnTo>
                    <a:pt x="1" y="10"/>
                  </a:lnTo>
                  <a:lnTo>
                    <a:pt x="0" y="18"/>
                  </a:lnTo>
                  <a:lnTo>
                    <a:pt x="1" y="24"/>
                  </a:lnTo>
                  <a:lnTo>
                    <a:pt x="5" y="30"/>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3" name="Freeform 96"/>
            <p:cNvSpPr>
              <a:spLocks/>
            </p:cNvSpPr>
            <p:nvPr userDrawn="1"/>
          </p:nvSpPr>
          <p:spPr bwMode="auto">
            <a:xfrm>
              <a:off x="8042275" y="6302376"/>
              <a:ext cx="6350" cy="52388"/>
            </a:xfrm>
            <a:custGeom>
              <a:avLst/>
              <a:gdLst/>
              <a:ahLst/>
              <a:cxnLst>
                <a:cxn ang="0">
                  <a:pos x="0" y="83"/>
                </a:cxn>
                <a:cxn ang="0">
                  <a:pos x="0" y="114"/>
                </a:cxn>
                <a:cxn ang="0">
                  <a:pos x="3" y="142"/>
                </a:cxn>
                <a:cxn ang="0">
                  <a:pos x="6" y="160"/>
                </a:cxn>
                <a:cxn ang="0">
                  <a:pos x="9" y="164"/>
                </a:cxn>
                <a:cxn ang="0">
                  <a:pos x="11" y="166"/>
                </a:cxn>
                <a:cxn ang="0">
                  <a:pos x="15" y="160"/>
                </a:cxn>
                <a:cxn ang="0">
                  <a:pos x="18" y="142"/>
                </a:cxn>
                <a:cxn ang="0">
                  <a:pos x="21" y="83"/>
                </a:cxn>
                <a:cxn ang="0">
                  <a:pos x="21" y="50"/>
                </a:cxn>
                <a:cxn ang="0">
                  <a:pos x="18" y="24"/>
                </a:cxn>
                <a:cxn ang="0">
                  <a:pos x="15" y="6"/>
                </a:cxn>
                <a:cxn ang="0">
                  <a:pos x="11" y="0"/>
                </a:cxn>
                <a:cxn ang="0">
                  <a:pos x="6" y="6"/>
                </a:cxn>
                <a:cxn ang="0">
                  <a:pos x="4" y="24"/>
                </a:cxn>
                <a:cxn ang="0">
                  <a:pos x="0" y="50"/>
                </a:cxn>
                <a:cxn ang="0">
                  <a:pos x="0" y="83"/>
                </a:cxn>
              </a:cxnLst>
              <a:rect l="0" t="0" r="r" b="b"/>
              <a:pathLst>
                <a:path w="21" h="166">
                  <a:moveTo>
                    <a:pt x="0" y="83"/>
                  </a:moveTo>
                  <a:lnTo>
                    <a:pt x="0" y="114"/>
                  </a:lnTo>
                  <a:lnTo>
                    <a:pt x="3" y="142"/>
                  </a:lnTo>
                  <a:lnTo>
                    <a:pt x="6" y="160"/>
                  </a:lnTo>
                  <a:lnTo>
                    <a:pt x="9" y="164"/>
                  </a:lnTo>
                  <a:lnTo>
                    <a:pt x="11" y="166"/>
                  </a:lnTo>
                  <a:lnTo>
                    <a:pt x="15" y="160"/>
                  </a:lnTo>
                  <a:lnTo>
                    <a:pt x="18" y="142"/>
                  </a:lnTo>
                  <a:lnTo>
                    <a:pt x="21" y="83"/>
                  </a:lnTo>
                  <a:lnTo>
                    <a:pt x="21" y="50"/>
                  </a:lnTo>
                  <a:lnTo>
                    <a:pt x="18" y="24"/>
                  </a:lnTo>
                  <a:lnTo>
                    <a:pt x="15" y="6"/>
                  </a:lnTo>
                  <a:lnTo>
                    <a:pt x="11" y="0"/>
                  </a:lnTo>
                  <a:lnTo>
                    <a:pt x="6" y="6"/>
                  </a:lnTo>
                  <a:lnTo>
                    <a:pt x="4" y="24"/>
                  </a:lnTo>
                  <a:lnTo>
                    <a:pt x="0" y="50"/>
                  </a:lnTo>
                  <a:lnTo>
                    <a:pt x="0" y="83"/>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4" name="Freeform 97"/>
            <p:cNvSpPr>
              <a:spLocks noEditPoints="1"/>
            </p:cNvSpPr>
            <p:nvPr userDrawn="1"/>
          </p:nvSpPr>
          <p:spPr bwMode="auto">
            <a:xfrm>
              <a:off x="7867650" y="6257926"/>
              <a:ext cx="107950" cy="198438"/>
            </a:xfrm>
            <a:custGeom>
              <a:avLst/>
              <a:gdLst/>
              <a:ahLst/>
              <a:cxnLst>
                <a:cxn ang="0">
                  <a:pos x="140" y="607"/>
                </a:cxn>
                <a:cxn ang="0">
                  <a:pos x="154" y="432"/>
                </a:cxn>
                <a:cxn ang="0">
                  <a:pos x="174" y="432"/>
                </a:cxn>
                <a:cxn ang="0">
                  <a:pos x="304" y="257"/>
                </a:cxn>
                <a:cxn ang="0">
                  <a:pos x="340" y="291"/>
                </a:cxn>
                <a:cxn ang="0">
                  <a:pos x="332" y="298"/>
                </a:cxn>
                <a:cxn ang="0">
                  <a:pos x="256" y="268"/>
                </a:cxn>
                <a:cxn ang="0">
                  <a:pos x="187" y="216"/>
                </a:cxn>
                <a:cxn ang="0">
                  <a:pos x="185" y="280"/>
                </a:cxn>
                <a:cxn ang="0">
                  <a:pos x="195" y="598"/>
                </a:cxn>
                <a:cxn ang="0">
                  <a:pos x="214" y="608"/>
                </a:cxn>
                <a:cxn ang="0">
                  <a:pos x="130" y="607"/>
                </a:cxn>
                <a:cxn ang="0">
                  <a:pos x="148" y="598"/>
                </a:cxn>
                <a:cxn ang="0">
                  <a:pos x="161" y="220"/>
                </a:cxn>
                <a:cxn ang="0">
                  <a:pos x="119" y="243"/>
                </a:cxn>
                <a:cxn ang="0">
                  <a:pos x="30" y="290"/>
                </a:cxn>
                <a:cxn ang="0">
                  <a:pos x="0" y="293"/>
                </a:cxn>
                <a:cxn ang="0">
                  <a:pos x="8" y="277"/>
                </a:cxn>
                <a:cxn ang="0">
                  <a:pos x="72" y="231"/>
                </a:cxn>
                <a:cxn ang="0">
                  <a:pos x="148" y="197"/>
                </a:cxn>
                <a:cxn ang="0">
                  <a:pos x="162" y="177"/>
                </a:cxn>
                <a:cxn ang="0">
                  <a:pos x="155" y="131"/>
                </a:cxn>
                <a:cxn ang="0">
                  <a:pos x="159" y="29"/>
                </a:cxn>
                <a:cxn ang="0">
                  <a:pos x="172" y="0"/>
                </a:cxn>
                <a:cxn ang="0">
                  <a:pos x="184" y="29"/>
                </a:cxn>
                <a:cxn ang="0">
                  <a:pos x="187" y="131"/>
                </a:cxn>
                <a:cxn ang="0">
                  <a:pos x="189" y="180"/>
                </a:cxn>
                <a:cxn ang="0">
                  <a:pos x="196" y="200"/>
                </a:cxn>
                <a:cxn ang="0">
                  <a:pos x="269" y="233"/>
                </a:cxn>
                <a:cxn ang="0">
                  <a:pos x="212" y="214"/>
                </a:cxn>
                <a:cxn ang="0">
                  <a:pos x="226" y="230"/>
                </a:cxn>
                <a:cxn ang="0">
                  <a:pos x="291" y="268"/>
                </a:cxn>
                <a:cxn ang="0">
                  <a:pos x="311" y="273"/>
                </a:cxn>
                <a:cxn ang="0">
                  <a:pos x="280" y="246"/>
                </a:cxn>
                <a:cxn ang="0">
                  <a:pos x="26" y="274"/>
                </a:cxn>
                <a:cxn ang="0">
                  <a:pos x="79" y="251"/>
                </a:cxn>
                <a:cxn ang="0">
                  <a:pos x="126" y="215"/>
                </a:cxn>
                <a:cxn ang="0">
                  <a:pos x="92" y="227"/>
                </a:cxn>
                <a:cxn ang="0">
                  <a:pos x="28" y="269"/>
                </a:cxn>
                <a:cxn ang="0">
                  <a:pos x="166" y="206"/>
                </a:cxn>
                <a:cxn ang="0">
                  <a:pos x="178" y="189"/>
                </a:cxn>
                <a:cxn ang="0">
                  <a:pos x="157" y="185"/>
                </a:cxn>
                <a:cxn ang="0">
                  <a:pos x="157" y="203"/>
                </a:cxn>
                <a:cxn ang="0">
                  <a:pos x="163" y="151"/>
                </a:cxn>
                <a:cxn ang="0">
                  <a:pos x="172" y="138"/>
                </a:cxn>
                <a:cxn ang="0">
                  <a:pos x="167" y="38"/>
                </a:cxn>
                <a:cxn ang="0">
                  <a:pos x="159" y="97"/>
                </a:cxn>
              </a:cxnLst>
              <a:rect l="0" t="0" r="r" b="b"/>
              <a:pathLst>
                <a:path w="340" h="625">
                  <a:moveTo>
                    <a:pt x="163" y="600"/>
                  </a:moveTo>
                  <a:lnTo>
                    <a:pt x="140" y="600"/>
                  </a:lnTo>
                  <a:lnTo>
                    <a:pt x="140" y="607"/>
                  </a:lnTo>
                  <a:lnTo>
                    <a:pt x="163" y="607"/>
                  </a:lnTo>
                  <a:lnTo>
                    <a:pt x="163" y="600"/>
                  </a:lnTo>
                  <a:close/>
                  <a:moveTo>
                    <a:pt x="154" y="432"/>
                  </a:moveTo>
                  <a:lnTo>
                    <a:pt x="154" y="596"/>
                  </a:lnTo>
                  <a:lnTo>
                    <a:pt x="174" y="596"/>
                  </a:lnTo>
                  <a:lnTo>
                    <a:pt x="174" y="432"/>
                  </a:lnTo>
                  <a:lnTo>
                    <a:pt x="154" y="432"/>
                  </a:lnTo>
                  <a:close/>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moveTo>
                    <a:pt x="226" y="218"/>
                  </a:moveTo>
                  <a:lnTo>
                    <a:pt x="216" y="214"/>
                  </a:lnTo>
                  <a:lnTo>
                    <a:pt x="212" y="214"/>
                  </a:lnTo>
                  <a:lnTo>
                    <a:pt x="212" y="216"/>
                  </a:lnTo>
                  <a:lnTo>
                    <a:pt x="214" y="221"/>
                  </a:lnTo>
                  <a:lnTo>
                    <a:pt x="226" y="230"/>
                  </a:lnTo>
                  <a:lnTo>
                    <a:pt x="246" y="244"/>
                  </a:lnTo>
                  <a:lnTo>
                    <a:pt x="269" y="257"/>
                  </a:lnTo>
                  <a:lnTo>
                    <a:pt x="291" y="268"/>
                  </a:lnTo>
                  <a:lnTo>
                    <a:pt x="304" y="274"/>
                  </a:lnTo>
                  <a:lnTo>
                    <a:pt x="309" y="274"/>
                  </a:lnTo>
                  <a:lnTo>
                    <a:pt x="311" y="273"/>
                  </a:lnTo>
                  <a:lnTo>
                    <a:pt x="309" y="268"/>
                  </a:lnTo>
                  <a:lnTo>
                    <a:pt x="305" y="266"/>
                  </a:lnTo>
                  <a:lnTo>
                    <a:pt x="280" y="246"/>
                  </a:lnTo>
                  <a:lnTo>
                    <a:pt x="245" y="226"/>
                  </a:lnTo>
                  <a:lnTo>
                    <a:pt x="226" y="218"/>
                  </a:lnTo>
                  <a:close/>
                  <a:moveTo>
                    <a:pt x="26" y="274"/>
                  </a:moveTo>
                  <a:lnTo>
                    <a:pt x="31" y="274"/>
                  </a:lnTo>
                  <a:lnTo>
                    <a:pt x="43" y="269"/>
                  </a:lnTo>
                  <a:lnTo>
                    <a:pt x="79" y="251"/>
                  </a:lnTo>
                  <a:lnTo>
                    <a:pt x="114" y="227"/>
                  </a:lnTo>
                  <a:lnTo>
                    <a:pt x="124" y="220"/>
                  </a:lnTo>
                  <a:lnTo>
                    <a:pt x="126" y="215"/>
                  </a:lnTo>
                  <a:lnTo>
                    <a:pt x="121" y="215"/>
                  </a:lnTo>
                  <a:lnTo>
                    <a:pt x="109" y="219"/>
                  </a:lnTo>
                  <a:lnTo>
                    <a:pt x="92" y="227"/>
                  </a:lnTo>
                  <a:lnTo>
                    <a:pt x="73" y="238"/>
                  </a:lnTo>
                  <a:lnTo>
                    <a:pt x="38" y="261"/>
                  </a:lnTo>
                  <a:lnTo>
                    <a:pt x="28" y="269"/>
                  </a:lnTo>
                  <a:lnTo>
                    <a:pt x="26" y="274"/>
                  </a:lnTo>
                  <a:close/>
                  <a:moveTo>
                    <a:pt x="157" y="203"/>
                  </a:moveTo>
                  <a:lnTo>
                    <a:pt x="166" y="206"/>
                  </a:lnTo>
                  <a:lnTo>
                    <a:pt x="174" y="203"/>
                  </a:lnTo>
                  <a:lnTo>
                    <a:pt x="179" y="194"/>
                  </a:lnTo>
                  <a:lnTo>
                    <a:pt x="178" y="189"/>
                  </a:lnTo>
                  <a:lnTo>
                    <a:pt x="174" y="185"/>
                  </a:lnTo>
                  <a:lnTo>
                    <a:pt x="166" y="182"/>
                  </a:lnTo>
                  <a:lnTo>
                    <a:pt x="157" y="185"/>
                  </a:lnTo>
                  <a:lnTo>
                    <a:pt x="155" y="194"/>
                  </a:lnTo>
                  <a:lnTo>
                    <a:pt x="155" y="198"/>
                  </a:lnTo>
                  <a:lnTo>
                    <a:pt x="157" y="203"/>
                  </a:lnTo>
                  <a:close/>
                  <a:moveTo>
                    <a:pt x="159" y="97"/>
                  </a:moveTo>
                  <a:lnTo>
                    <a:pt x="161" y="138"/>
                  </a:lnTo>
                  <a:lnTo>
                    <a:pt x="163" y="151"/>
                  </a:lnTo>
                  <a:lnTo>
                    <a:pt x="166" y="156"/>
                  </a:lnTo>
                  <a:lnTo>
                    <a:pt x="169" y="151"/>
                  </a:lnTo>
                  <a:lnTo>
                    <a:pt x="172" y="138"/>
                  </a:lnTo>
                  <a:lnTo>
                    <a:pt x="173" y="97"/>
                  </a:lnTo>
                  <a:lnTo>
                    <a:pt x="172" y="55"/>
                  </a:lnTo>
                  <a:lnTo>
                    <a:pt x="167" y="38"/>
                  </a:lnTo>
                  <a:lnTo>
                    <a:pt x="163" y="43"/>
                  </a:lnTo>
                  <a:lnTo>
                    <a:pt x="161" y="55"/>
                  </a:lnTo>
                  <a:lnTo>
                    <a:pt x="159" y="97"/>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5" name="Rectangle 98"/>
            <p:cNvSpPr>
              <a:spLocks noChangeArrowheads="1"/>
            </p:cNvSpPr>
            <p:nvPr userDrawn="1"/>
          </p:nvSpPr>
          <p:spPr bwMode="auto">
            <a:xfrm>
              <a:off x="7912100" y="6448426"/>
              <a:ext cx="6350" cy="15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6" name="Rectangle 99"/>
            <p:cNvSpPr>
              <a:spLocks noChangeArrowheads="1"/>
            </p:cNvSpPr>
            <p:nvPr userDrawn="1"/>
          </p:nvSpPr>
          <p:spPr bwMode="auto">
            <a:xfrm>
              <a:off x="7916863" y="6394451"/>
              <a:ext cx="6350" cy="523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7" name="Freeform 100"/>
            <p:cNvSpPr>
              <a:spLocks/>
            </p:cNvSpPr>
            <p:nvPr userDrawn="1"/>
          </p:nvSpPr>
          <p:spPr bwMode="auto">
            <a:xfrm>
              <a:off x="7867650" y="6257926"/>
              <a:ext cx="107950" cy="198438"/>
            </a:xfrm>
            <a:custGeom>
              <a:avLst/>
              <a:gdLst/>
              <a:ahLst/>
              <a:cxnLst>
                <a:cxn ang="0">
                  <a:pos x="304" y="257"/>
                </a:cxn>
                <a:cxn ang="0">
                  <a:pos x="337" y="286"/>
                </a:cxn>
                <a:cxn ang="0">
                  <a:pos x="339" y="295"/>
                </a:cxn>
                <a:cxn ang="0">
                  <a:pos x="332" y="298"/>
                </a:cxn>
                <a:cxn ang="0">
                  <a:pos x="286" y="283"/>
                </a:cxn>
                <a:cxn ang="0">
                  <a:pos x="227" y="250"/>
                </a:cxn>
                <a:cxn ang="0">
                  <a:pos x="187" y="216"/>
                </a:cxn>
                <a:cxn ang="0">
                  <a:pos x="184" y="242"/>
                </a:cxn>
                <a:cxn ang="0">
                  <a:pos x="190" y="424"/>
                </a:cxn>
                <a:cxn ang="0">
                  <a:pos x="195" y="598"/>
                </a:cxn>
                <a:cxn ang="0">
                  <a:pos x="204" y="608"/>
                </a:cxn>
                <a:cxn ang="0">
                  <a:pos x="214" y="625"/>
                </a:cxn>
                <a:cxn ang="0">
                  <a:pos x="130" y="607"/>
                </a:cxn>
                <a:cxn ang="0">
                  <a:pos x="138" y="598"/>
                </a:cxn>
                <a:cxn ang="0">
                  <a:pos x="149" y="424"/>
                </a:cxn>
                <a:cxn ang="0">
                  <a:pos x="161" y="220"/>
                </a:cxn>
                <a:cxn ang="0">
                  <a:pos x="143" y="224"/>
                </a:cxn>
                <a:cxn ang="0">
                  <a:pos x="89" y="262"/>
                </a:cxn>
                <a:cxn ang="0">
                  <a:pos x="30" y="290"/>
                </a:cxn>
                <a:cxn ang="0">
                  <a:pos x="3" y="296"/>
                </a:cxn>
                <a:cxn ang="0">
                  <a:pos x="0" y="290"/>
                </a:cxn>
                <a:cxn ang="0">
                  <a:pos x="8" y="277"/>
                </a:cxn>
                <a:cxn ang="0">
                  <a:pos x="42" y="250"/>
                </a:cxn>
                <a:cxn ang="0">
                  <a:pos x="103" y="214"/>
                </a:cxn>
                <a:cxn ang="0">
                  <a:pos x="148" y="197"/>
                </a:cxn>
                <a:cxn ang="0">
                  <a:pos x="155" y="180"/>
                </a:cxn>
                <a:cxn ang="0">
                  <a:pos x="159" y="161"/>
                </a:cxn>
                <a:cxn ang="0">
                  <a:pos x="155" y="131"/>
                </a:cxn>
                <a:cxn ang="0">
                  <a:pos x="155" y="59"/>
                </a:cxn>
                <a:cxn ang="0">
                  <a:pos x="165" y="7"/>
                </a:cxn>
                <a:cxn ang="0">
                  <a:pos x="172" y="0"/>
                </a:cxn>
                <a:cxn ang="0">
                  <a:pos x="178" y="7"/>
                </a:cxn>
                <a:cxn ang="0">
                  <a:pos x="187" y="59"/>
                </a:cxn>
                <a:cxn ang="0">
                  <a:pos x="187" y="131"/>
                </a:cxn>
                <a:cxn ang="0">
                  <a:pos x="180" y="176"/>
                </a:cxn>
                <a:cxn ang="0">
                  <a:pos x="193" y="189"/>
                </a:cxn>
                <a:cxn ang="0">
                  <a:pos x="196" y="200"/>
                </a:cxn>
                <a:cxn ang="0">
                  <a:pos x="233" y="214"/>
                </a:cxn>
              </a:cxnLst>
              <a:rect l="0" t="0" r="r" b="b"/>
              <a:pathLst>
                <a:path w="340" h="625">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8" name="Freeform 101"/>
            <p:cNvSpPr>
              <a:spLocks/>
            </p:cNvSpPr>
            <p:nvPr userDrawn="1"/>
          </p:nvSpPr>
          <p:spPr bwMode="auto">
            <a:xfrm>
              <a:off x="7934325" y="6326188"/>
              <a:ext cx="31750" cy="19050"/>
            </a:xfrm>
            <a:custGeom>
              <a:avLst/>
              <a:gdLst/>
              <a:ahLst/>
              <a:cxnLst>
                <a:cxn ang="0">
                  <a:pos x="14" y="4"/>
                </a:cxn>
                <a:cxn ang="0">
                  <a:pos x="4" y="0"/>
                </a:cxn>
                <a:cxn ang="0">
                  <a:pos x="0" y="0"/>
                </a:cxn>
                <a:cxn ang="0">
                  <a:pos x="0" y="2"/>
                </a:cxn>
                <a:cxn ang="0">
                  <a:pos x="2" y="7"/>
                </a:cxn>
                <a:cxn ang="0">
                  <a:pos x="14" y="16"/>
                </a:cxn>
                <a:cxn ang="0">
                  <a:pos x="34" y="30"/>
                </a:cxn>
                <a:cxn ang="0">
                  <a:pos x="57" y="43"/>
                </a:cxn>
                <a:cxn ang="0">
                  <a:pos x="79" y="54"/>
                </a:cxn>
                <a:cxn ang="0">
                  <a:pos x="92" y="60"/>
                </a:cxn>
                <a:cxn ang="0">
                  <a:pos x="97" y="60"/>
                </a:cxn>
                <a:cxn ang="0">
                  <a:pos x="99" y="59"/>
                </a:cxn>
                <a:cxn ang="0">
                  <a:pos x="97" y="54"/>
                </a:cxn>
                <a:cxn ang="0">
                  <a:pos x="93" y="52"/>
                </a:cxn>
                <a:cxn ang="0">
                  <a:pos x="68" y="32"/>
                </a:cxn>
                <a:cxn ang="0">
                  <a:pos x="33" y="12"/>
                </a:cxn>
                <a:cxn ang="0">
                  <a:pos x="14" y="4"/>
                </a:cxn>
              </a:cxnLst>
              <a:rect l="0" t="0" r="r" b="b"/>
              <a:pathLst>
                <a:path w="99" h="60">
                  <a:moveTo>
                    <a:pt x="14" y="4"/>
                  </a:moveTo>
                  <a:lnTo>
                    <a:pt x="4" y="0"/>
                  </a:lnTo>
                  <a:lnTo>
                    <a:pt x="0" y="0"/>
                  </a:lnTo>
                  <a:lnTo>
                    <a:pt x="0" y="2"/>
                  </a:lnTo>
                  <a:lnTo>
                    <a:pt x="2" y="7"/>
                  </a:lnTo>
                  <a:lnTo>
                    <a:pt x="14" y="16"/>
                  </a:lnTo>
                  <a:lnTo>
                    <a:pt x="34" y="30"/>
                  </a:lnTo>
                  <a:lnTo>
                    <a:pt x="57" y="43"/>
                  </a:lnTo>
                  <a:lnTo>
                    <a:pt x="79" y="54"/>
                  </a:lnTo>
                  <a:lnTo>
                    <a:pt x="92" y="60"/>
                  </a:lnTo>
                  <a:lnTo>
                    <a:pt x="97" y="60"/>
                  </a:lnTo>
                  <a:lnTo>
                    <a:pt x="99" y="59"/>
                  </a:lnTo>
                  <a:lnTo>
                    <a:pt x="97" y="54"/>
                  </a:lnTo>
                  <a:lnTo>
                    <a:pt x="93" y="52"/>
                  </a:lnTo>
                  <a:lnTo>
                    <a:pt x="68" y="32"/>
                  </a:lnTo>
                  <a:lnTo>
                    <a:pt x="33" y="12"/>
                  </a:lnTo>
                  <a:lnTo>
                    <a:pt x="14" y="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9" name="Freeform 102"/>
            <p:cNvSpPr>
              <a:spLocks/>
            </p:cNvSpPr>
            <p:nvPr userDrawn="1"/>
          </p:nvSpPr>
          <p:spPr bwMode="auto">
            <a:xfrm>
              <a:off x="7875588" y="6326188"/>
              <a:ext cx="31750" cy="19050"/>
            </a:xfrm>
            <a:custGeom>
              <a:avLst/>
              <a:gdLst/>
              <a:ahLst/>
              <a:cxnLst>
                <a:cxn ang="0">
                  <a:pos x="0" y="59"/>
                </a:cxn>
                <a:cxn ang="0">
                  <a:pos x="5" y="59"/>
                </a:cxn>
                <a:cxn ang="0">
                  <a:pos x="17" y="54"/>
                </a:cxn>
                <a:cxn ang="0">
                  <a:pos x="53" y="36"/>
                </a:cxn>
                <a:cxn ang="0">
                  <a:pos x="88" y="12"/>
                </a:cxn>
                <a:cxn ang="0">
                  <a:pos x="98" y="5"/>
                </a:cxn>
                <a:cxn ang="0">
                  <a:pos x="100" y="0"/>
                </a:cxn>
                <a:cxn ang="0">
                  <a:pos x="95" y="0"/>
                </a:cxn>
                <a:cxn ang="0">
                  <a:pos x="83" y="4"/>
                </a:cxn>
                <a:cxn ang="0">
                  <a:pos x="66" y="12"/>
                </a:cxn>
                <a:cxn ang="0">
                  <a:pos x="47" y="23"/>
                </a:cxn>
                <a:cxn ang="0">
                  <a:pos x="12" y="46"/>
                </a:cxn>
                <a:cxn ang="0">
                  <a:pos x="2" y="54"/>
                </a:cxn>
                <a:cxn ang="0">
                  <a:pos x="0" y="59"/>
                </a:cxn>
              </a:cxnLst>
              <a:rect l="0" t="0" r="r" b="b"/>
              <a:pathLst>
                <a:path w="100" h="59">
                  <a:moveTo>
                    <a:pt x="0" y="59"/>
                  </a:moveTo>
                  <a:lnTo>
                    <a:pt x="5" y="59"/>
                  </a:lnTo>
                  <a:lnTo>
                    <a:pt x="17" y="54"/>
                  </a:lnTo>
                  <a:lnTo>
                    <a:pt x="53" y="36"/>
                  </a:lnTo>
                  <a:lnTo>
                    <a:pt x="88" y="12"/>
                  </a:lnTo>
                  <a:lnTo>
                    <a:pt x="98" y="5"/>
                  </a:lnTo>
                  <a:lnTo>
                    <a:pt x="100" y="0"/>
                  </a:lnTo>
                  <a:lnTo>
                    <a:pt x="95" y="0"/>
                  </a:lnTo>
                  <a:lnTo>
                    <a:pt x="83" y="4"/>
                  </a:lnTo>
                  <a:lnTo>
                    <a:pt x="66" y="12"/>
                  </a:lnTo>
                  <a:lnTo>
                    <a:pt x="47" y="23"/>
                  </a:lnTo>
                  <a:lnTo>
                    <a:pt x="12" y="46"/>
                  </a:lnTo>
                  <a:lnTo>
                    <a:pt x="2" y="54"/>
                  </a:lnTo>
                  <a:lnTo>
                    <a:pt x="0" y="59"/>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0" name="Freeform 103"/>
            <p:cNvSpPr>
              <a:spLocks/>
            </p:cNvSpPr>
            <p:nvPr userDrawn="1"/>
          </p:nvSpPr>
          <p:spPr bwMode="auto">
            <a:xfrm>
              <a:off x="7916863" y="6315076"/>
              <a:ext cx="7938" cy="7938"/>
            </a:xfrm>
            <a:custGeom>
              <a:avLst/>
              <a:gdLst/>
              <a:ahLst/>
              <a:cxnLst>
                <a:cxn ang="0">
                  <a:pos x="2" y="21"/>
                </a:cxn>
                <a:cxn ang="0">
                  <a:pos x="11" y="24"/>
                </a:cxn>
                <a:cxn ang="0">
                  <a:pos x="19" y="21"/>
                </a:cxn>
                <a:cxn ang="0">
                  <a:pos x="24" y="12"/>
                </a:cxn>
                <a:cxn ang="0">
                  <a:pos x="23" y="7"/>
                </a:cxn>
                <a:cxn ang="0">
                  <a:pos x="19" y="3"/>
                </a:cxn>
                <a:cxn ang="0">
                  <a:pos x="11" y="0"/>
                </a:cxn>
                <a:cxn ang="0">
                  <a:pos x="2" y="3"/>
                </a:cxn>
                <a:cxn ang="0">
                  <a:pos x="0" y="12"/>
                </a:cxn>
                <a:cxn ang="0">
                  <a:pos x="0" y="16"/>
                </a:cxn>
                <a:cxn ang="0">
                  <a:pos x="2" y="21"/>
                </a:cxn>
              </a:cxnLst>
              <a:rect l="0" t="0" r="r" b="b"/>
              <a:pathLst>
                <a:path w="24" h="24">
                  <a:moveTo>
                    <a:pt x="2" y="21"/>
                  </a:moveTo>
                  <a:lnTo>
                    <a:pt x="11" y="24"/>
                  </a:lnTo>
                  <a:lnTo>
                    <a:pt x="19" y="21"/>
                  </a:lnTo>
                  <a:lnTo>
                    <a:pt x="24" y="12"/>
                  </a:lnTo>
                  <a:lnTo>
                    <a:pt x="23" y="7"/>
                  </a:lnTo>
                  <a:lnTo>
                    <a:pt x="19" y="3"/>
                  </a:lnTo>
                  <a:lnTo>
                    <a:pt x="11" y="0"/>
                  </a:lnTo>
                  <a:lnTo>
                    <a:pt x="2" y="3"/>
                  </a:lnTo>
                  <a:lnTo>
                    <a:pt x="0" y="12"/>
                  </a:lnTo>
                  <a:lnTo>
                    <a:pt x="0" y="16"/>
                  </a:lnTo>
                  <a:lnTo>
                    <a:pt x="2" y="21"/>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1" name="Freeform 104"/>
            <p:cNvSpPr>
              <a:spLocks/>
            </p:cNvSpPr>
            <p:nvPr userDrawn="1"/>
          </p:nvSpPr>
          <p:spPr bwMode="auto">
            <a:xfrm>
              <a:off x="7918450" y="6269038"/>
              <a:ext cx="3175" cy="38100"/>
            </a:xfrm>
            <a:custGeom>
              <a:avLst/>
              <a:gdLst/>
              <a:ahLst/>
              <a:cxnLst>
                <a:cxn ang="0">
                  <a:pos x="0" y="59"/>
                </a:cxn>
                <a:cxn ang="0">
                  <a:pos x="2" y="100"/>
                </a:cxn>
                <a:cxn ang="0">
                  <a:pos x="4" y="113"/>
                </a:cxn>
                <a:cxn ang="0">
                  <a:pos x="7" y="118"/>
                </a:cxn>
                <a:cxn ang="0">
                  <a:pos x="10" y="113"/>
                </a:cxn>
                <a:cxn ang="0">
                  <a:pos x="13" y="100"/>
                </a:cxn>
                <a:cxn ang="0">
                  <a:pos x="14" y="59"/>
                </a:cxn>
                <a:cxn ang="0">
                  <a:pos x="13" y="17"/>
                </a:cxn>
                <a:cxn ang="0">
                  <a:pos x="8" y="0"/>
                </a:cxn>
                <a:cxn ang="0">
                  <a:pos x="4" y="5"/>
                </a:cxn>
                <a:cxn ang="0">
                  <a:pos x="2" y="17"/>
                </a:cxn>
                <a:cxn ang="0">
                  <a:pos x="0" y="59"/>
                </a:cxn>
              </a:cxnLst>
              <a:rect l="0" t="0" r="r" b="b"/>
              <a:pathLst>
                <a:path w="14" h="118">
                  <a:moveTo>
                    <a:pt x="0" y="59"/>
                  </a:moveTo>
                  <a:lnTo>
                    <a:pt x="2" y="100"/>
                  </a:lnTo>
                  <a:lnTo>
                    <a:pt x="4" y="113"/>
                  </a:lnTo>
                  <a:lnTo>
                    <a:pt x="7" y="118"/>
                  </a:lnTo>
                  <a:lnTo>
                    <a:pt x="10" y="113"/>
                  </a:lnTo>
                  <a:lnTo>
                    <a:pt x="13" y="100"/>
                  </a:lnTo>
                  <a:lnTo>
                    <a:pt x="14" y="59"/>
                  </a:lnTo>
                  <a:lnTo>
                    <a:pt x="13" y="17"/>
                  </a:lnTo>
                  <a:lnTo>
                    <a:pt x="8" y="0"/>
                  </a:lnTo>
                  <a:lnTo>
                    <a:pt x="4" y="5"/>
                  </a:lnTo>
                  <a:lnTo>
                    <a:pt x="2" y="17"/>
                  </a:lnTo>
                  <a:lnTo>
                    <a:pt x="0" y="5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2" name="Freeform 105"/>
            <p:cNvSpPr>
              <a:spLocks noEditPoints="1"/>
            </p:cNvSpPr>
            <p:nvPr userDrawn="1"/>
          </p:nvSpPr>
          <p:spPr bwMode="auto">
            <a:xfrm>
              <a:off x="7807325" y="6242051"/>
              <a:ext cx="131763" cy="244475"/>
            </a:xfrm>
            <a:custGeom>
              <a:avLst/>
              <a:gdLst/>
              <a:ahLst/>
              <a:cxnLst>
                <a:cxn ang="0">
                  <a:pos x="174" y="746"/>
                </a:cxn>
                <a:cxn ang="0">
                  <a:pos x="191" y="530"/>
                </a:cxn>
                <a:cxn ang="0">
                  <a:pos x="216" y="530"/>
                </a:cxn>
                <a:cxn ang="0">
                  <a:pos x="376" y="315"/>
                </a:cxn>
                <a:cxn ang="0">
                  <a:pos x="419" y="357"/>
                </a:cxn>
                <a:cxn ang="0">
                  <a:pos x="409" y="365"/>
                </a:cxn>
                <a:cxn ang="0">
                  <a:pos x="353" y="346"/>
                </a:cxn>
                <a:cxn ang="0">
                  <a:pos x="281" y="306"/>
                </a:cxn>
                <a:cxn ang="0">
                  <a:pos x="227" y="268"/>
                </a:cxn>
                <a:cxn ang="0">
                  <a:pos x="234" y="520"/>
                </a:cxn>
                <a:cxn ang="0">
                  <a:pos x="252" y="734"/>
                </a:cxn>
                <a:cxn ang="0">
                  <a:pos x="265" y="768"/>
                </a:cxn>
                <a:cxn ang="0">
                  <a:pos x="171" y="746"/>
                </a:cxn>
                <a:cxn ang="0">
                  <a:pos x="183" y="520"/>
                </a:cxn>
                <a:cxn ang="0">
                  <a:pos x="192" y="263"/>
                </a:cxn>
                <a:cxn ang="0">
                  <a:pos x="147" y="297"/>
                </a:cxn>
                <a:cxn ang="0">
                  <a:pos x="36" y="356"/>
                </a:cxn>
                <a:cxn ang="0">
                  <a:pos x="0" y="359"/>
                </a:cxn>
                <a:cxn ang="0">
                  <a:pos x="22" y="329"/>
                </a:cxn>
                <a:cxn ang="0">
                  <a:pos x="128" y="263"/>
                </a:cxn>
                <a:cxn ang="0">
                  <a:pos x="185" y="231"/>
                </a:cxn>
                <a:cxn ang="0">
                  <a:pos x="195" y="197"/>
                </a:cxn>
                <a:cxn ang="0">
                  <a:pos x="191" y="71"/>
                </a:cxn>
                <a:cxn ang="0">
                  <a:pos x="207" y="1"/>
                </a:cxn>
                <a:cxn ang="0">
                  <a:pos x="219" y="8"/>
                </a:cxn>
                <a:cxn ang="0">
                  <a:pos x="233" y="115"/>
                </a:cxn>
                <a:cxn ang="0">
                  <a:pos x="222" y="214"/>
                </a:cxn>
                <a:cxn ang="0">
                  <a:pos x="241" y="243"/>
                </a:cxn>
                <a:cxn ang="0">
                  <a:pos x="288" y="262"/>
                </a:cxn>
                <a:cxn ang="0">
                  <a:pos x="280" y="266"/>
                </a:cxn>
                <a:cxn ang="0">
                  <a:pos x="260" y="262"/>
                </a:cxn>
                <a:cxn ang="0">
                  <a:pos x="278" y="282"/>
                </a:cxn>
                <a:cxn ang="0">
                  <a:pos x="358" y="329"/>
                </a:cxn>
                <a:cxn ang="0">
                  <a:pos x="383" y="335"/>
                </a:cxn>
                <a:cxn ang="0">
                  <a:pos x="377" y="326"/>
                </a:cxn>
                <a:cxn ang="0">
                  <a:pos x="303" y="278"/>
                </a:cxn>
                <a:cxn ang="0">
                  <a:pos x="39" y="335"/>
                </a:cxn>
                <a:cxn ang="0">
                  <a:pos x="122" y="293"/>
                </a:cxn>
                <a:cxn ang="0">
                  <a:pos x="156" y="266"/>
                </a:cxn>
                <a:cxn ang="0">
                  <a:pos x="135" y="268"/>
                </a:cxn>
                <a:cxn ang="0">
                  <a:pos x="47" y="320"/>
                </a:cxn>
                <a:cxn ang="0">
                  <a:pos x="33" y="335"/>
                </a:cxn>
                <a:cxn ang="0">
                  <a:pos x="205" y="252"/>
                </a:cxn>
                <a:cxn ang="0">
                  <a:pos x="219" y="243"/>
                </a:cxn>
                <a:cxn ang="0">
                  <a:pos x="216" y="227"/>
                </a:cxn>
                <a:cxn ang="0">
                  <a:pos x="200" y="224"/>
                </a:cxn>
                <a:cxn ang="0">
                  <a:pos x="191" y="238"/>
                </a:cxn>
                <a:cxn ang="0">
                  <a:pos x="195" y="119"/>
                </a:cxn>
                <a:cxn ang="0">
                  <a:pos x="205" y="191"/>
                </a:cxn>
                <a:cxn ang="0">
                  <a:pos x="215" y="119"/>
                </a:cxn>
                <a:cxn ang="0">
                  <a:pos x="206" y="46"/>
                </a:cxn>
                <a:cxn ang="0">
                  <a:pos x="197" y="91"/>
                </a:cxn>
              </a:cxnLst>
              <a:rect l="0" t="0" r="r" b="b"/>
              <a:pathLst>
                <a:path w="419" h="768">
                  <a:moveTo>
                    <a:pt x="203" y="737"/>
                  </a:moveTo>
                  <a:lnTo>
                    <a:pt x="174" y="737"/>
                  </a:lnTo>
                  <a:lnTo>
                    <a:pt x="174" y="746"/>
                  </a:lnTo>
                  <a:lnTo>
                    <a:pt x="203" y="746"/>
                  </a:lnTo>
                  <a:lnTo>
                    <a:pt x="203" y="737"/>
                  </a:lnTo>
                  <a:close/>
                  <a:moveTo>
                    <a:pt x="191" y="530"/>
                  </a:moveTo>
                  <a:lnTo>
                    <a:pt x="189" y="733"/>
                  </a:lnTo>
                  <a:lnTo>
                    <a:pt x="215" y="733"/>
                  </a:lnTo>
                  <a:lnTo>
                    <a:pt x="216" y="530"/>
                  </a:lnTo>
                  <a:lnTo>
                    <a:pt x="191" y="530"/>
                  </a:lnTo>
                  <a:close/>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moveTo>
                    <a:pt x="280" y="266"/>
                  </a:moveTo>
                  <a:lnTo>
                    <a:pt x="268" y="262"/>
                  </a:lnTo>
                  <a:lnTo>
                    <a:pt x="263" y="261"/>
                  </a:lnTo>
                  <a:lnTo>
                    <a:pt x="260" y="262"/>
                  </a:lnTo>
                  <a:lnTo>
                    <a:pt x="260" y="266"/>
                  </a:lnTo>
                  <a:lnTo>
                    <a:pt x="264" y="270"/>
                  </a:lnTo>
                  <a:lnTo>
                    <a:pt x="278" y="282"/>
                  </a:lnTo>
                  <a:lnTo>
                    <a:pt x="305" y="299"/>
                  </a:lnTo>
                  <a:lnTo>
                    <a:pt x="333" y="316"/>
                  </a:lnTo>
                  <a:lnTo>
                    <a:pt x="358" y="329"/>
                  </a:lnTo>
                  <a:lnTo>
                    <a:pt x="375" y="335"/>
                  </a:lnTo>
                  <a:lnTo>
                    <a:pt x="381" y="337"/>
                  </a:lnTo>
                  <a:lnTo>
                    <a:pt x="383" y="335"/>
                  </a:lnTo>
                  <a:lnTo>
                    <a:pt x="383" y="332"/>
                  </a:lnTo>
                  <a:lnTo>
                    <a:pt x="381" y="329"/>
                  </a:lnTo>
                  <a:lnTo>
                    <a:pt x="377" y="326"/>
                  </a:lnTo>
                  <a:lnTo>
                    <a:pt x="362" y="312"/>
                  </a:lnTo>
                  <a:lnTo>
                    <a:pt x="345" y="302"/>
                  </a:lnTo>
                  <a:lnTo>
                    <a:pt x="303" y="278"/>
                  </a:lnTo>
                  <a:lnTo>
                    <a:pt x="280" y="266"/>
                  </a:lnTo>
                  <a:close/>
                  <a:moveTo>
                    <a:pt x="33" y="335"/>
                  </a:moveTo>
                  <a:lnTo>
                    <a:pt x="39" y="335"/>
                  </a:lnTo>
                  <a:lnTo>
                    <a:pt x="55" y="331"/>
                  </a:lnTo>
                  <a:lnTo>
                    <a:pt x="98" y="308"/>
                  </a:lnTo>
                  <a:lnTo>
                    <a:pt x="122" y="293"/>
                  </a:lnTo>
                  <a:lnTo>
                    <a:pt x="141" y="279"/>
                  </a:lnTo>
                  <a:lnTo>
                    <a:pt x="153" y="269"/>
                  </a:lnTo>
                  <a:lnTo>
                    <a:pt x="156" y="266"/>
                  </a:lnTo>
                  <a:lnTo>
                    <a:pt x="156" y="263"/>
                  </a:lnTo>
                  <a:lnTo>
                    <a:pt x="150" y="263"/>
                  </a:lnTo>
                  <a:lnTo>
                    <a:pt x="135" y="268"/>
                  </a:lnTo>
                  <a:lnTo>
                    <a:pt x="114" y="278"/>
                  </a:lnTo>
                  <a:lnTo>
                    <a:pt x="89" y="292"/>
                  </a:lnTo>
                  <a:lnTo>
                    <a:pt x="47" y="320"/>
                  </a:lnTo>
                  <a:lnTo>
                    <a:pt x="35" y="329"/>
                  </a:lnTo>
                  <a:lnTo>
                    <a:pt x="33" y="333"/>
                  </a:lnTo>
                  <a:lnTo>
                    <a:pt x="33" y="335"/>
                  </a:lnTo>
                  <a:close/>
                  <a:moveTo>
                    <a:pt x="195" y="249"/>
                  </a:moveTo>
                  <a:lnTo>
                    <a:pt x="200" y="251"/>
                  </a:lnTo>
                  <a:lnTo>
                    <a:pt x="205" y="252"/>
                  </a:lnTo>
                  <a:lnTo>
                    <a:pt x="211" y="251"/>
                  </a:lnTo>
                  <a:lnTo>
                    <a:pt x="216" y="249"/>
                  </a:lnTo>
                  <a:lnTo>
                    <a:pt x="219" y="243"/>
                  </a:lnTo>
                  <a:lnTo>
                    <a:pt x="221" y="238"/>
                  </a:lnTo>
                  <a:lnTo>
                    <a:pt x="219" y="232"/>
                  </a:lnTo>
                  <a:lnTo>
                    <a:pt x="216" y="227"/>
                  </a:lnTo>
                  <a:lnTo>
                    <a:pt x="211" y="224"/>
                  </a:lnTo>
                  <a:lnTo>
                    <a:pt x="205" y="222"/>
                  </a:lnTo>
                  <a:lnTo>
                    <a:pt x="200" y="224"/>
                  </a:lnTo>
                  <a:lnTo>
                    <a:pt x="195" y="226"/>
                  </a:lnTo>
                  <a:lnTo>
                    <a:pt x="192" y="232"/>
                  </a:lnTo>
                  <a:lnTo>
                    <a:pt x="191" y="238"/>
                  </a:lnTo>
                  <a:lnTo>
                    <a:pt x="192" y="243"/>
                  </a:lnTo>
                  <a:lnTo>
                    <a:pt x="195" y="249"/>
                  </a:lnTo>
                  <a:close/>
                  <a:moveTo>
                    <a:pt x="195" y="119"/>
                  </a:moveTo>
                  <a:lnTo>
                    <a:pt x="199" y="169"/>
                  </a:lnTo>
                  <a:lnTo>
                    <a:pt x="201" y="185"/>
                  </a:lnTo>
                  <a:lnTo>
                    <a:pt x="205" y="191"/>
                  </a:lnTo>
                  <a:lnTo>
                    <a:pt x="209" y="185"/>
                  </a:lnTo>
                  <a:lnTo>
                    <a:pt x="212" y="169"/>
                  </a:lnTo>
                  <a:lnTo>
                    <a:pt x="215" y="119"/>
                  </a:lnTo>
                  <a:lnTo>
                    <a:pt x="212" y="67"/>
                  </a:lnTo>
                  <a:lnTo>
                    <a:pt x="209" y="52"/>
                  </a:lnTo>
                  <a:lnTo>
                    <a:pt x="206" y="46"/>
                  </a:lnTo>
                  <a:lnTo>
                    <a:pt x="201" y="52"/>
                  </a:lnTo>
                  <a:lnTo>
                    <a:pt x="199" y="67"/>
                  </a:lnTo>
                  <a:lnTo>
                    <a:pt x="197" y="91"/>
                  </a:lnTo>
                  <a:lnTo>
                    <a:pt x="195" y="119"/>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3" name="Rectangle 106"/>
            <p:cNvSpPr>
              <a:spLocks noChangeArrowheads="1"/>
            </p:cNvSpPr>
            <p:nvPr userDrawn="1"/>
          </p:nvSpPr>
          <p:spPr bwMode="auto">
            <a:xfrm>
              <a:off x="7861300" y="6477001"/>
              <a:ext cx="9525" cy="1588"/>
            </a:xfrm>
            <a:prstGeom prst="rect">
              <a:avLst/>
            </a:prstGeom>
            <a:solidFill>
              <a:srgbClr val="B4B4B4"/>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4" name="Freeform 107"/>
            <p:cNvSpPr>
              <a:spLocks/>
            </p:cNvSpPr>
            <p:nvPr userDrawn="1"/>
          </p:nvSpPr>
          <p:spPr bwMode="auto">
            <a:xfrm>
              <a:off x="7866063" y="6410326"/>
              <a:ext cx="9525" cy="65088"/>
            </a:xfrm>
            <a:custGeom>
              <a:avLst/>
              <a:gdLst/>
              <a:ahLst/>
              <a:cxnLst>
                <a:cxn ang="0">
                  <a:pos x="2" y="0"/>
                </a:cxn>
                <a:cxn ang="0">
                  <a:pos x="0" y="203"/>
                </a:cxn>
                <a:cxn ang="0">
                  <a:pos x="26" y="203"/>
                </a:cxn>
                <a:cxn ang="0">
                  <a:pos x="27" y="0"/>
                </a:cxn>
                <a:cxn ang="0">
                  <a:pos x="2" y="0"/>
                </a:cxn>
              </a:cxnLst>
              <a:rect l="0" t="0" r="r" b="b"/>
              <a:pathLst>
                <a:path w="27" h="203">
                  <a:moveTo>
                    <a:pt x="2" y="0"/>
                  </a:moveTo>
                  <a:lnTo>
                    <a:pt x="0" y="203"/>
                  </a:lnTo>
                  <a:lnTo>
                    <a:pt x="26" y="203"/>
                  </a:lnTo>
                  <a:lnTo>
                    <a:pt x="27" y="0"/>
                  </a:lnTo>
                  <a:lnTo>
                    <a:pt x="2"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5" name="Freeform 108"/>
            <p:cNvSpPr>
              <a:spLocks/>
            </p:cNvSpPr>
            <p:nvPr userDrawn="1"/>
          </p:nvSpPr>
          <p:spPr bwMode="auto">
            <a:xfrm>
              <a:off x="7807325" y="6242051"/>
              <a:ext cx="131763" cy="244475"/>
            </a:xfrm>
            <a:custGeom>
              <a:avLst/>
              <a:gdLst/>
              <a:ahLst/>
              <a:cxnLst>
                <a:cxn ang="0">
                  <a:pos x="376" y="315"/>
                </a:cxn>
                <a:cxn ang="0">
                  <a:pos x="416" y="351"/>
                </a:cxn>
                <a:cxn ang="0">
                  <a:pos x="418" y="362"/>
                </a:cxn>
                <a:cxn ang="0">
                  <a:pos x="409" y="365"/>
                </a:cxn>
                <a:cxn ang="0">
                  <a:pos x="388" y="361"/>
                </a:cxn>
                <a:cxn ang="0">
                  <a:pos x="316" y="328"/>
                </a:cxn>
                <a:cxn ang="0">
                  <a:pos x="281" y="306"/>
                </a:cxn>
                <a:cxn ang="0">
                  <a:pos x="232" y="266"/>
                </a:cxn>
                <a:cxn ang="0">
                  <a:pos x="227" y="296"/>
                </a:cxn>
                <a:cxn ang="0">
                  <a:pos x="234" y="520"/>
                </a:cxn>
                <a:cxn ang="0">
                  <a:pos x="240" y="734"/>
                </a:cxn>
                <a:cxn ang="0">
                  <a:pos x="252" y="746"/>
                </a:cxn>
                <a:cxn ang="0">
                  <a:pos x="265" y="768"/>
                </a:cxn>
                <a:cxn ang="0">
                  <a:pos x="160" y="746"/>
                </a:cxn>
                <a:cxn ang="0">
                  <a:pos x="171" y="734"/>
                </a:cxn>
                <a:cxn ang="0">
                  <a:pos x="183" y="520"/>
                </a:cxn>
                <a:cxn ang="0">
                  <a:pos x="199" y="269"/>
                </a:cxn>
                <a:cxn ang="0">
                  <a:pos x="191" y="262"/>
                </a:cxn>
                <a:cxn ang="0">
                  <a:pos x="147" y="297"/>
                </a:cxn>
                <a:cxn ang="0">
                  <a:pos x="71" y="341"/>
                </a:cxn>
                <a:cxn ang="0">
                  <a:pos x="12" y="363"/>
                </a:cxn>
                <a:cxn ang="0">
                  <a:pos x="0" y="359"/>
                </a:cxn>
                <a:cxn ang="0">
                  <a:pos x="4" y="349"/>
                </a:cxn>
                <a:cxn ang="0">
                  <a:pos x="52" y="306"/>
                </a:cxn>
                <a:cxn ang="0">
                  <a:pos x="128" y="263"/>
                </a:cxn>
                <a:cxn ang="0">
                  <a:pos x="183" y="243"/>
                </a:cxn>
                <a:cxn ang="0">
                  <a:pos x="192" y="221"/>
                </a:cxn>
                <a:cxn ang="0">
                  <a:pos x="195" y="197"/>
                </a:cxn>
                <a:cxn ang="0">
                  <a:pos x="189" y="115"/>
                </a:cxn>
                <a:cxn ang="0">
                  <a:pos x="197" y="34"/>
                </a:cxn>
                <a:cxn ang="0">
                  <a:pos x="207" y="1"/>
                </a:cxn>
                <a:cxn ang="0">
                  <a:pos x="216" y="1"/>
                </a:cxn>
                <a:cxn ang="0">
                  <a:pos x="227" y="34"/>
                </a:cxn>
                <a:cxn ang="0">
                  <a:pos x="233" y="115"/>
                </a:cxn>
                <a:cxn ang="0">
                  <a:pos x="227" y="197"/>
                </a:cxn>
                <a:cxn ang="0">
                  <a:pos x="233" y="221"/>
                </a:cxn>
                <a:cxn ang="0">
                  <a:pos x="241" y="243"/>
                </a:cxn>
                <a:cxn ang="0">
                  <a:pos x="259" y="250"/>
                </a:cxn>
                <a:cxn ang="0">
                  <a:pos x="310" y="274"/>
                </a:cxn>
              </a:cxnLst>
              <a:rect l="0" t="0" r="r" b="b"/>
              <a:pathLst>
                <a:path w="419" h="768">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6" name="Freeform 109"/>
            <p:cNvSpPr>
              <a:spLocks/>
            </p:cNvSpPr>
            <p:nvPr userDrawn="1"/>
          </p:nvSpPr>
          <p:spPr bwMode="auto">
            <a:xfrm>
              <a:off x="7889875" y="6324601"/>
              <a:ext cx="38100" cy="25400"/>
            </a:xfrm>
            <a:custGeom>
              <a:avLst/>
              <a:gdLst/>
              <a:ahLst/>
              <a:cxnLst>
                <a:cxn ang="0">
                  <a:pos x="20" y="5"/>
                </a:cxn>
                <a:cxn ang="0">
                  <a:pos x="8" y="1"/>
                </a:cxn>
                <a:cxn ang="0">
                  <a:pos x="3" y="0"/>
                </a:cxn>
                <a:cxn ang="0">
                  <a:pos x="0" y="1"/>
                </a:cxn>
                <a:cxn ang="0">
                  <a:pos x="0" y="5"/>
                </a:cxn>
                <a:cxn ang="0">
                  <a:pos x="4" y="9"/>
                </a:cxn>
                <a:cxn ang="0">
                  <a:pos x="18" y="21"/>
                </a:cxn>
                <a:cxn ang="0">
                  <a:pos x="45" y="38"/>
                </a:cxn>
                <a:cxn ang="0">
                  <a:pos x="73" y="55"/>
                </a:cxn>
                <a:cxn ang="0">
                  <a:pos x="98" y="68"/>
                </a:cxn>
                <a:cxn ang="0">
                  <a:pos x="115" y="74"/>
                </a:cxn>
                <a:cxn ang="0">
                  <a:pos x="121" y="76"/>
                </a:cxn>
                <a:cxn ang="0">
                  <a:pos x="123" y="74"/>
                </a:cxn>
                <a:cxn ang="0">
                  <a:pos x="123" y="71"/>
                </a:cxn>
                <a:cxn ang="0">
                  <a:pos x="121" y="68"/>
                </a:cxn>
                <a:cxn ang="0">
                  <a:pos x="117" y="65"/>
                </a:cxn>
                <a:cxn ang="0">
                  <a:pos x="102" y="51"/>
                </a:cxn>
                <a:cxn ang="0">
                  <a:pos x="85" y="41"/>
                </a:cxn>
                <a:cxn ang="0">
                  <a:pos x="43" y="17"/>
                </a:cxn>
                <a:cxn ang="0">
                  <a:pos x="20" y="5"/>
                </a:cxn>
              </a:cxnLst>
              <a:rect l="0" t="0" r="r" b="b"/>
              <a:pathLst>
                <a:path w="123" h="76">
                  <a:moveTo>
                    <a:pt x="20" y="5"/>
                  </a:moveTo>
                  <a:lnTo>
                    <a:pt x="8" y="1"/>
                  </a:lnTo>
                  <a:lnTo>
                    <a:pt x="3" y="0"/>
                  </a:lnTo>
                  <a:lnTo>
                    <a:pt x="0" y="1"/>
                  </a:lnTo>
                  <a:lnTo>
                    <a:pt x="0" y="5"/>
                  </a:lnTo>
                  <a:lnTo>
                    <a:pt x="4" y="9"/>
                  </a:lnTo>
                  <a:lnTo>
                    <a:pt x="18" y="21"/>
                  </a:lnTo>
                  <a:lnTo>
                    <a:pt x="45" y="38"/>
                  </a:lnTo>
                  <a:lnTo>
                    <a:pt x="73" y="55"/>
                  </a:lnTo>
                  <a:lnTo>
                    <a:pt x="98" y="68"/>
                  </a:lnTo>
                  <a:lnTo>
                    <a:pt x="115" y="74"/>
                  </a:lnTo>
                  <a:lnTo>
                    <a:pt x="121" y="76"/>
                  </a:lnTo>
                  <a:lnTo>
                    <a:pt x="123" y="74"/>
                  </a:lnTo>
                  <a:lnTo>
                    <a:pt x="123" y="71"/>
                  </a:lnTo>
                  <a:lnTo>
                    <a:pt x="121" y="68"/>
                  </a:lnTo>
                  <a:lnTo>
                    <a:pt x="117" y="65"/>
                  </a:lnTo>
                  <a:lnTo>
                    <a:pt x="102" y="51"/>
                  </a:lnTo>
                  <a:lnTo>
                    <a:pt x="85" y="41"/>
                  </a:lnTo>
                  <a:lnTo>
                    <a:pt x="43" y="17"/>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7" name="Freeform 110"/>
            <p:cNvSpPr>
              <a:spLocks/>
            </p:cNvSpPr>
            <p:nvPr userDrawn="1"/>
          </p:nvSpPr>
          <p:spPr bwMode="auto">
            <a:xfrm>
              <a:off x="7816850" y="6326188"/>
              <a:ext cx="39688" cy="22225"/>
            </a:xfrm>
            <a:custGeom>
              <a:avLst/>
              <a:gdLst/>
              <a:ahLst/>
              <a:cxnLst>
                <a:cxn ang="0">
                  <a:pos x="0" y="72"/>
                </a:cxn>
                <a:cxn ang="0">
                  <a:pos x="6" y="72"/>
                </a:cxn>
                <a:cxn ang="0">
                  <a:pos x="22" y="68"/>
                </a:cxn>
                <a:cxn ang="0">
                  <a:pos x="65" y="45"/>
                </a:cxn>
                <a:cxn ang="0">
                  <a:pos x="89" y="30"/>
                </a:cxn>
                <a:cxn ang="0">
                  <a:pos x="108" y="16"/>
                </a:cxn>
                <a:cxn ang="0">
                  <a:pos x="120" y="6"/>
                </a:cxn>
                <a:cxn ang="0">
                  <a:pos x="123" y="3"/>
                </a:cxn>
                <a:cxn ang="0">
                  <a:pos x="123" y="0"/>
                </a:cxn>
                <a:cxn ang="0">
                  <a:pos x="117" y="0"/>
                </a:cxn>
                <a:cxn ang="0">
                  <a:pos x="102" y="5"/>
                </a:cxn>
                <a:cxn ang="0">
                  <a:pos x="81" y="15"/>
                </a:cxn>
                <a:cxn ang="0">
                  <a:pos x="56" y="29"/>
                </a:cxn>
                <a:cxn ang="0">
                  <a:pos x="14" y="57"/>
                </a:cxn>
                <a:cxn ang="0">
                  <a:pos x="2" y="66"/>
                </a:cxn>
                <a:cxn ang="0">
                  <a:pos x="0" y="70"/>
                </a:cxn>
                <a:cxn ang="0">
                  <a:pos x="0" y="72"/>
                </a:cxn>
              </a:cxnLst>
              <a:rect l="0" t="0" r="r" b="b"/>
              <a:pathLst>
                <a:path w="123" h="72">
                  <a:moveTo>
                    <a:pt x="0" y="72"/>
                  </a:moveTo>
                  <a:lnTo>
                    <a:pt x="6" y="72"/>
                  </a:lnTo>
                  <a:lnTo>
                    <a:pt x="22" y="68"/>
                  </a:lnTo>
                  <a:lnTo>
                    <a:pt x="65" y="45"/>
                  </a:lnTo>
                  <a:lnTo>
                    <a:pt x="89" y="30"/>
                  </a:lnTo>
                  <a:lnTo>
                    <a:pt x="108" y="16"/>
                  </a:lnTo>
                  <a:lnTo>
                    <a:pt x="120" y="6"/>
                  </a:lnTo>
                  <a:lnTo>
                    <a:pt x="123" y="3"/>
                  </a:lnTo>
                  <a:lnTo>
                    <a:pt x="123" y="0"/>
                  </a:lnTo>
                  <a:lnTo>
                    <a:pt x="117" y="0"/>
                  </a:lnTo>
                  <a:lnTo>
                    <a:pt x="102" y="5"/>
                  </a:lnTo>
                  <a:lnTo>
                    <a:pt x="81" y="15"/>
                  </a:lnTo>
                  <a:lnTo>
                    <a:pt x="56" y="29"/>
                  </a:lnTo>
                  <a:lnTo>
                    <a:pt x="14" y="57"/>
                  </a:lnTo>
                  <a:lnTo>
                    <a:pt x="2" y="66"/>
                  </a:lnTo>
                  <a:lnTo>
                    <a:pt x="0" y="70"/>
                  </a:lnTo>
                  <a:lnTo>
                    <a:pt x="0" y="72"/>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8" name="Freeform 111"/>
            <p:cNvSpPr>
              <a:spLocks/>
            </p:cNvSpPr>
            <p:nvPr userDrawn="1"/>
          </p:nvSpPr>
          <p:spPr bwMode="auto">
            <a:xfrm>
              <a:off x="7867650" y="6313488"/>
              <a:ext cx="9525" cy="9525"/>
            </a:xfrm>
            <a:custGeom>
              <a:avLst/>
              <a:gdLst/>
              <a:ahLst/>
              <a:cxnLst>
                <a:cxn ang="0">
                  <a:pos x="4" y="27"/>
                </a:cxn>
                <a:cxn ang="0">
                  <a:pos x="9" y="29"/>
                </a:cxn>
                <a:cxn ang="0">
                  <a:pos x="14" y="30"/>
                </a:cxn>
                <a:cxn ang="0">
                  <a:pos x="20" y="29"/>
                </a:cxn>
                <a:cxn ang="0">
                  <a:pos x="25" y="27"/>
                </a:cxn>
                <a:cxn ang="0">
                  <a:pos x="28" y="21"/>
                </a:cxn>
                <a:cxn ang="0">
                  <a:pos x="30" y="16"/>
                </a:cxn>
                <a:cxn ang="0">
                  <a:pos x="28" y="10"/>
                </a:cxn>
                <a:cxn ang="0">
                  <a:pos x="25" y="5"/>
                </a:cxn>
                <a:cxn ang="0">
                  <a:pos x="20" y="2"/>
                </a:cxn>
                <a:cxn ang="0">
                  <a:pos x="14" y="0"/>
                </a:cxn>
                <a:cxn ang="0">
                  <a:pos x="9" y="2"/>
                </a:cxn>
                <a:cxn ang="0">
                  <a:pos x="4" y="4"/>
                </a:cxn>
                <a:cxn ang="0">
                  <a:pos x="1" y="10"/>
                </a:cxn>
                <a:cxn ang="0">
                  <a:pos x="0" y="16"/>
                </a:cxn>
                <a:cxn ang="0">
                  <a:pos x="1" y="21"/>
                </a:cxn>
                <a:cxn ang="0">
                  <a:pos x="4" y="27"/>
                </a:cxn>
              </a:cxnLst>
              <a:rect l="0" t="0" r="r" b="b"/>
              <a:pathLst>
                <a:path w="30" h="30">
                  <a:moveTo>
                    <a:pt x="4" y="27"/>
                  </a:moveTo>
                  <a:lnTo>
                    <a:pt x="9" y="29"/>
                  </a:lnTo>
                  <a:lnTo>
                    <a:pt x="14" y="30"/>
                  </a:lnTo>
                  <a:lnTo>
                    <a:pt x="20" y="29"/>
                  </a:lnTo>
                  <a:lnTo>
                    <a:pt x="25" y="27"/>
                  </a:lnTo>
                  <a:lnTo>
                    <a:pt x="28" y="21"/>
                  </a:lnTo>
                  <a:lnTo>
                    <a:pt x="30" y="16"/>
                  </a:lnTo>
                  <a:lnTo>
                    <a:pt x="28" y="10"/>
                  </a:lnTo>
                  <a:lnTo>
                    <a:pt x="25" y="5"/>
                  </a:lnTo>
                  <a:lnTo>
                    <a:pt x="20" y="2"/>
                  </a:lnTo>
                  <a:lnTo>
                    <a:pt x="14" y="0"/>
                  </a:lnTo>
                  <a:lnTo>
                    <a:pt x="9" y="2"/>
                  </a:lnTo>
                  <a:lnTo>
                    <a:pt x="4" y="4"/>
                  </a:lnTo>
                  <a:lnTo>
                    <a:pt x="1" y="10"/>
                  </a:lnTo>
                  <a:lnTo>
                    <a:pt x="0" y="16"/>
                  </a:lnTo>
                  <a:lnTo>
                    <a:pt x="1" y="21"/>
                  </a:lnTo>
                  <a:lnTo>
                    <a:pt x="4"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9" name="Freeform 112"/>
            <p:cNvSpPr>
              <a:spLocks/>
            </p:cNvSpPr>
            <p:nvPr userDrawn="1"/>
          </p:nvSpPr>
          <p:spPr bwMode="auto">
            <a:xfrm>
              <a:off x="7869238" y="6256338"/>
              <a:ext cx="6350" cy="46038"/>
            </a:xfrm>
            <a:custGeom>
              <a:avLst/>
              <a:gdLst/>
              <a:ahLst/>
              <a:cxnLst>
                <a:cxn ang="0">
                  <a:pos x="0" y="73"/>
                </a:cxn>
                <a:cxn ang="0">
                  <a:pos x="4" y="123"/>
                </a:cxn>
                <a:cxn ang="0">
                  <a:pos x="6" y="139"/>
                </a:cxn>
                <a:cxn ang="0">
                  <a:pos x="10" y="145"/>
                </a:cxn>
                <a:cxn ang="0">
                  <a:pos x="14" y="139"/>
                </a:cxn>
                <a:cxn ang="0">
                  <a:pos x="17" y="123"/>
                </a:cxn>
                <a:cxn ang="0">
                  <a:pos x="20" y="73"/>
                </a:cxn>
                <a:cxn ang="0">
                  <a:pos x="17" y="21"/>
                </a:cxn>
                <a:cxn ang="0">
                  <a:pos x="14" y="6"/>
                </a:cxn>
                <a:cxn ang="0">
                  <a:pos x="11" y="0"/>
                </a:cxn>
                <a:cxn ang="0">
                  <a:pos x="6" y="6"/>
                </a:cxn>
                <a:cxn ang="0">
                  <a:pos x="4" y="21"/>
                </a:cxn>
                <a:cxn ang="0">
                  <a:pos x="2" y="45"/>
                </a:cxn>
                <a:cxn ang="0">
                  <a:pos x="0" y="73"/>
                </a:cxn>
              </a:cxnLst>
              <a:rect l="0" t="0" r="r" b="b"/>
              <a:pathLst>
                <a:path w="20" h="145">
                  <a:moveTo>
                    <a:pt x="0" y="73"/>
                  </a:moveTo>
                  <a:lnTo>
                    <a:pt x="4" y="123"/>
                  </a:lnTo>
                  <a:lnTo>
                    <a:pt x="6" y="139"/>
                  </a:lnTo>
                  <a:lnTo>
                    <a:pt x="10" y="145"/>
                  </a:lnTo>
                  <a:lnTo>
                    <a:pt x="14" y="139"/>
                  </a:lnTo>
                  <a:lnTo>
                    <a:pt x="17" y="123"/>
                  </a:lnTo>
                  <a:lnTo>
                    <a:pt x="20" y="73"/>
                  </a:lnTo>
                  <a:lnTo>
                    <a:pt x="17" y="21"/>
                  </a:lnTo>
                  <a:lnTo>
                    <a:pt x="14" y="6"/>
                  </a:lnTo>
                  <a:lnTo>
                    <a:pt x="11" y="0"/>
                  </a:lnTo>
                  <a:lnTo>
                    <a:pt x="6" y="6"/>
                  </a:lnTo>
                  <a:lnTo>
                    <a:pt x="4" y="21"/>
                  </a:lnTo>
                  <a:lnTo>
                    <a:pt x="2" y="45"/>
                  </a:lnTo>
                  <a:lnTo>
                    <a:pt x="0" y="73"/>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grpSp>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Lst>
  <p:hf hdr="0" ftr="0" dt="0"/>
  <p:txStyles>
    <p:titleStyle>
      <a:lvl1pPr algn="l" defTabSz="914400" rtl="0" eaLnBrk="1" latinLnBrk="0" hangingPunct="1">
        <a:lnSpc>
          <a:spcPct val="80000"/>
        </a:lnSpc>
        <a:spcBef>
          <a:spcPct val="0"/>
        </a:spcBef>
        <a:spcAft>
          <a:spcPts val="0"/>
        </a:spcAft>
        <a:buNone/>
        <a:defRPr sz="2400" b="1"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lang="en-US" sz="2400" b="1" u="none" kern="1200" dirty="0" smtClean="0">
          <a:solidFill>
            <a:schemeClr val="tx1"/>
          </a:solidFill>
          <a:latin typeface="Calibri" pitchFamily="34" charset="0"/>
          <a:ea typeface="+mn-ea"/>
          <a:cs typeface="Arial" charset="0"/>
        </a:defRPr>
      </a:lvl1pPr>
      <a:lvl2pPr marL="347472" indent="-285750" algn="l" defTabSz="914400" rtl="0" eaLnBrk="1" latinLnBrk="0" hangingPunct="1">
        <a:spcBef>
          <a:spcPct val="20000"/>
        </a:spcBef>
        <a:buClr>
          <a:schemeClr val="tx1"/>
        </a:buClr>
        <a:buFont typeface="Arial" pitchFamily="34" charset="0"/>
        <a:buChar char="•"/>
        <a:defRPr lang="en-US" sz="2400" b="1" u="none" kern="1200" dirty="0" smtClean="0">
          <a:solidFill>
            <a:schemeClr val="tx1"/>
          </a:solidFill>
          <a:latin typeface="Calibri" pitchFamily="34" charset="0"/>
          <a:ea typeface="+mn-ea"/>
          <a:cs typeface="Arial" charset="0"/>
        </a:defRPr>
      </a:lvl2pPr>
      <a:lvl3pPr marL="740664" indent="-228600" algn="l" defTabSz="914400" rtl="0" eaLnBrk="1" latinLnBrk="0" hangingPunct="1">
        <a:spcBef>
          <a:spcPct val="20000"/>
        </a:spcBef>
        <a:buClr>
          <a:schemeClr val="tx1"/>
        </a:buClr>
        <a:buFont typeface="Arial" pitchFamily="34" charset="0"/>
        <a:buChar char="•"/>
        <a:defRPr sz="2400" kern="1200">
          <a:solidFill>
            <a:schemeClr val="tx1"/>
          </a:solidFill>
          <a:latin typeface="+mn-lt"/>
          <a:ea typeface="+mn-ea"/>
          <a:cs typeface="+mn-cs"/>
        </a:defRPr>
      </a:lvl3pPr>
      <a:lvl4pPr marL="11430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4pPr>
      <a:lvl5pPr marL="16002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76802" name="think-cell Slide" r:id="rId13" imgW="270" imgH="270" progId="">
              <p:embed/>
            </p:oleObj>
          </a:graphicData>
        </a:graphic>
      </p:graphicFrame>
      <p:sp>
        <p:nvSpPr>
          <p:cNvPr id="419" name="10 Rectángulo"/>
          <p:cNvSpPr/>
          <p:nvPr/>
        </p:nvSpPr>
        <p:spPr bwMode="auto">
          <a:xfrm flipV="1">
            <a:off x="5791200" y="6658824"/>
            <a:ext cx="3352801" cy="22656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420" name="10 Rectángulo"/>
          <p:cNvSpPr/>
          <p:nvPr/>
        </p:nvSpPr>
        <p:spPr bwMode="auto">
          <a:xfrm flipV="1">
            <a:off x="1" y="6552728"/>
            <a:ext cx="8153399" cy="332656"/>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pic>
        <p:nvPicPr>
          <p:cNvPr id="421" name="Picture 3"/>
          <p:cNvPicPr>
            <a:picLocks noChangeAspect="1" noChangeArrowheads="1"/>
          </p:cNvPicPr>
          <p:nvPr/>
        </p:nvPicPr>
        <p:blipFill>
          <a:blip r:embed="rId14" cstate="screen"/>
          <a:srcRect/>
          <a:stretch>
            <a:fillRect/>
          </a:stretch>
        </p:blipFill>
        <p:spPr bwMode="auto">
          <a:xfrm>
            <a:off x="323528" y="6641307"/>
            <a:ext cx="613835" cy="155498"/>
          </a:xfrm>
          <a:prstGeom prst="rect">
            <a:avLst/>
          </a:prstGeom>
          <a:noFill/>
          <a:ln w="9525">
            <a:noFill/>
            <a:miter lim="800000"/>
            <a:headEnd/>
            <a:tailEnd/>
          </a:ln>
        </p:spPr>
      </p:pic>
      <p:sp>
        <p:nvSpPr>
          <p:cNvPr id="60" name="59 Rectángulo"/>
          <p:cNvSpPr/>
          <p:nvPr/>
        </p:nvSpPr>
        <p:spPr bwMode="auto">
          <a:xfrm>
            <a:off x="0" y="0"/>
            <a:ext cx="9144000" cy="9906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000000"/>
              </a:solidFill>
              <a:latin typeface="Arial" charset="0"/>
              <a:cs typeface="Arial" charset="0"/>
            </a:endParaRPr>
          </a:p>
        </p:txBody>
      </p:sp>
      <p:sp>
        <p:nvSpPr>
          <p:cNvPr id="56" name="Freeform 12"/>
          <p:cNvSpPr>
            <a:spLocks/>
          </p:cNvSpPr>
          <p:nvPr/>
        </p:nvSpPr>
        <p:spPr bwMode="auto">
          <a:xfrm>
            <a:off x="0" y="228600"/>
            <a:ext cx="6949440" cy="769957"/>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rgbClr val="2E67AD">
              <a:alpha val="56078"/>
            </a:srgb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2" name="Title Placeholder 1"/>
          <p:cNvSpPr>
            <a:spLocks noGrp="1"/>
          </p:cNvSpPr>
          <p:nvPr>
            <p:ph type="title"/>
          </p:nvPr>
        </p:nvSpPr>
        <p:spPr>
          <a:xfrm>
            <a:off x="107504" y="374768"/>
            <a:ext cx="5760640" cy="562074"/>
          </a:xfrm>
          <a:prstGeom prst="rect">
            <a:avLst/>
          </a:prstGeom>
        </p:spPr>
        <p:txBody>
          <a:bodyPr vert="horz" wrap="square" lIns="91440" tIns="0" rIns="91440" bIns="0" rtlCol="0" anchor="ctr">
            <a:noAutofit/>
          </a:bodyPr>
          <a:lstStyle/>
          <a:p>
            <a:r>
              <a:rPr lang="en-US" dirty="0" smtClean="0"/>
              <a:t>Click to edit Master title style</a:t>
            </a:r>
            <a:endParaRPr lang="en-US" dirty="0"/>
          </a:p>
        </p:txBody>
      </p:sp>
      <p:sp>
        <p:nvSpPr>
          <p:cNvPr id="6" name="Slide Number Placeholder 5"/>
          <p:cNvSpPr>
            <a:spLocks noGrp="1"/>
          </p:cNvSpPr>
          <p:nvPr>
            <p:ph type="sldNum" sz="quarter" idx="4"/>
          </p:nvPr>
        </p:nvSpPr>
        <p:spPr>
          <a:xfrm>
            <a:off x="8460432" y="6642000"/>
            <a:ext cx="576064" cy="216000"/>
          </a:xfrm>
          <a:prstGeom prst="rect">
            <a:avLst/>
          </a:prstGeom>
        </p:spPr>
        <p:txBody>
          <a:bodyPr vert="horz" lIns="91440" tIns="45720" rIns="91440" bIns="45720" rtlCol="0" anchor="ctr"/>
          <a:lstStyle>
            <a:lvl1pPr algn="r">
              <a:defRPr sz="1200" b="1" u="none">
                <a:solidFill>
                  <a:schemeClr val="bg1"/>
                </a:solidFill>
                <a:latin typeface="+mn-lt"/>
              </a:defRPr>
            </a:lvl1pPr>
          </a:lstStyle>
          <a:p>
            <a:pPr fontAlgn="base">
              <a:spcBef>
                <a:spcPct val="0"/>
              </a:spcBef>
              <a:spcAft>
                <a:spcPct val="0"/>
              </a:spcAft>
            </a:pPr>
            <a:fld id="{68B69B99-4CC0-4C77-940D-C46156F4FC2E}" type="slidenum">
              <a:rPr lang="en-US" smtClean="0">
                <a:solidFill>
                  <a:srgbClr val="FFFFFF"/>
                </a:solidFill>
                <a:cs typeface="Arial" charset="0"/>
              </a:rPr>
              <a:pPr fontAlgn="base">
                <a:spcBef>
                  <a:spcPct val="0"/>
                </a:spcBef>
                <a:spcAft>
                  <a:spcPct val="0"/>
                </a:spcAft>
              </a:pPr>
              <a:t>‹#›</a:t>
            </a:fld>
            <a:endParaRPr lang="en-US" dirty="0">
              <a:solidFill>
                <a:srgbClr val="FFFFFF"/>
              </a:solidFill>
              <a:cs typeface="Arial" charset="0"/>
            </a:endParaRPr>
          </a:p>
        </p:txBody>
      </p:sp>
      <p:sp>
        <p:nvSpPr>
          <p:cNvPr id="93" name="92 Rectángulo"/>
          <p:cNvSpPr/>
          <p:nvPr/>
        </p:nvSpPr>
        <p:spPr bwMode="auto">
          <a:xfrm>
            <a:off x="0" y="980728"/>
            <a:ext cx="9144000" cy="4571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61" name="Text Placeholder 60"/>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7" name="56 Rectángulo"/>
          <p:cNvSpPr/>
          <p:nvPr/>
        </p:nvSpPr>
        <p:spPr bwMode="auto">
          <a:xfrm flipV="1">
            <a:off x="0" y="914400"/>
            <a:ext cx="9143999" cy="762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3" name="94 Grupo"/>
          <p:cNvGrpSpPr/>
          <p:nvPr/>
        </p:nvGrpSpPr>
        <p:grpSpPr>
          <a:xfrm>
            <a:off x="7162800" y="303159"/>
            <a:ext cx="1559690" cy="382641"/>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70"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2"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7"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8"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9"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0"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1"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2"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3"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4"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5"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6"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7" name="Group 5"/>
            <p:cNvGrpSpPr>
              <a:grpSpLocks noChangeAspect="1"/>
            </p:cNvGrpSpPr>
            <p:nvPr userDrawn="1"/>
          </p:nvGrpSpPr>
          <p:grpSpPr bwMode="auto">
            <a:xfrm>
              <a:off x="6300192" y="2768810"/>
              <a:ext cx="791493" cy="248083"/>
              <a:chOff x="1066" y="543"/>
              <a:chExt cx="2262" cy="709"/>
            </a:xfrm>
            <a:grpFill/>
          </p:grpSpPr>
          <p:sp>
            <p:nvSpPr>
              <p:cNvPr id="65"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grpSp>
        <p:nvGrpSpPr>
          <p:cNvPr id="8" name="Group 422"/>
          <p:cNvGrpSpPr/>
          <p:nvPr/>
        </p:nvGrpSpPr>
        <p:grpSpPr>
          <a:xfrm>
            <a:off x="0" y="6189663"/>
            <a:ext cx="9145588" cy="479425"/>
            <a:chOff x="0" y="6189663"/>
            <a:chExt cx="9145588" cy="479425"/>
          </a:xfrm>
        </p:grpSpPr>
        <p:sp>
          <p:nvSpPr>
            <p:cNvPr id="424" name="AutoShape 5"/>
            <p:cNvSpPr>
              <a:spLocks noChangeAspect="1" noChangeArrowheads="1" noTextEdit="1"/>
            </p:cNvSpPr>
            <p:nvPr userDrawn="1"/>
          </p:nvSpPr>
          <p:spPr bwMode="auto">
            <a:xfrm>
              <a:off x="0" y="6189663"/>
              <a:ext cx="9144000" cy="479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5" name="Freeform 7"/>
            <p:cNvSpPr>
              <a:spLocks/>
            </p:cNvSpPr>
            <p:nvPr userDrawn="1"/>
          </p:nvSpPr>
          <p:spPr bwMode="auto">
            <a:xfrm>
              <a:off x="4113213" y="6407151"/>
              <a:ext cx="1885950" cy="165100"/>
            </a:xfrm>
            <a:custGeom>
              <a:avLst/>
              <a:gdLst/>
              <a:ahLst/>
              <a:cxnLst>
                <a:cxn ang="0">
                  <a:pos x="0" y="520"/>
                </a:cxn>
                <a:cxn ang="0">
                  <a:pos x="743" y="520"/>
                </a:cxn>
                <a:cxn ang="0">
                  <a:pos x="1486" y="520"/>
                </a:cxn>
                <a:cxn ang="0">
                  <a:pos x="2228" y="520"/>
                </a:cxn>
                <a:cxn ang="0">
                  <a:pos x="2971" y="520"/>
                </a:cxn>
                <a:cxn ang="0">
                  <a:pos x="3714" y="520"/>
                </a:cxn>
                <a:cxn ang="0">
                  <a:pos x="4457" y="520"/>
                </a:cxn>
                <a:cxn ang="0">
                  <a:pos x="5200" y="520"/>
                </a:cxn>
                <a:cxn ang="0">
                  <a:pos x="5943" y="520"/>
                </a:cxn>
                <a:cxn ang="0">
                  <a:pos x="5943" y="0"/>
                </a:cxn>
                <a:cxn ang="0">
                  <a:pos x="5200" y="0"/>
                </a:cxn>
                <a:cxn ang="0">
                  <a:pos x="4457" y="0"/>
                </a:cxn>
                <a:cxn ang="0">
                  <a:pos x="3714" y="0"/>
                </a:cxn>
                <a:cxn ang="0">
                  <a:pos x="2971" y="0"/>
                </a:cxn>
                <a:cxn ang="0">
                  <a:pos x="2228" y="0"/>
                </a:cxn>
                <a:cxn ang="0">
                  <a:pos x="1486" y="0"/>
                </a:cxn>
                <a:cxn ang="0">
                  <a:pos x="743" y="0"/>
                </a:cxn>
                <a:cxn ang="0">
                  <a:pos x="0" y="0"/>
                </a:cxn>
                <a:cxn ang="0">
                  <a:pos x="0" y="520"/>
                </a:cxn>
              </a:cxnLst>
              <a:rect l="0" t="0" r="r" b="b"/>
              <a:pathLst>
                <a:path w="5943" h="520">
                  <a:moveTo>
                    <a:pt x="0" y="520"/>
                  </a:moveTo>
                  <a:lnTo>
                    <a:pt x="743" y="520"/>
                  </a:lnTo>
                  <a:lnTo>
                    <a:pt x="1486" y="520"/>
                  </a:lnTo>
                  <a:lnTo>
                    <a:pt x="2228" y="520"/>
                  </a:lnTo>
                  <a:lnTo>
                    <a:pt x="2971" y="520"/>
                  </a:lnTo>
                  <a:lnTo>
                    <a:pt x="3714" y="520"/>
                  </a:lnTo>
                  <a:lnTo>
                    <a:pt x="4457" y="520"/>
                  </a:lnTo>
                  <a:lnTo>
                    <a:pt x="5200" y="520"/>
                  </a:lnTo>
                  <a:lnTo>
                    <a:pt x="5943" y="520"/>
                  </a:lnTo>
                  <a:lnTo>
                    <a:pt x="5943" y="0"/>
                  </a:lnTo>
                  <a:lnTo>
                    <a:pt x="5200" y="0"/>
                  </a:lnTo>
                  <a:lnTo>
                    <a:pt x="4457" y="0"/>
                  </a:lnTo>
                  <a:lnTo>
                    <a:pt x="3714" y="0"/>
                  </a:lnTo>
                  <a:lnTo>
                    <a:pt x="2971" y="0"/>
                  </a:lnTo>
                  <a:lnTo>
                    <a:pt x="2228" y="0"/>
                  </a:lnTo>
                  <a:lnTo>
                    <a:pt x="1486" y="0"/>
                  </a:lnTo>
                  <a:lnTo>
                    <a:pt x="743" y="0"/>
                  </a:lnTo>
                  <a:lnTo>
                    <a:pt x="0" y="0"/>
                  </a:lnTo>
                  <a:lnTo>
                    <a:pt x="0" y="520"/>
                  </a:lnTo>
                  <a:close/>
                </a:path>
              </a:pathLst>
            </a:custGeom>
            <a:solidFill>
              <a:srgbClr val="99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6" name="Freeform 8"/>
            <p:cNvSpPr>
              <a:spLocks noEditPoints="1"/>
            </p:cNvSpPr>
            <p:nvPr userDrawn="1"/>
          </p:nvSpPr>
          <p:spPr bwMode="auto">
            <a:xfrm>
              <a:off x="0" y="6208713"/>
              <a:ext cx="4546600" cy="363538"/>
            </a:xfrm>
            <a:custGeom>
              <a:avLst/>
              <a:gdLst/>
              <a:ahLst/>
              <a:cxnLst>
                <a:cxn ang="0">
                  <a:pos x="12835" y="583"/>
                </a:cxn>
                <a:cxn ang="0">
                  <a:pos x="5200" y="624"/>
                </a:cxn>
                <a:cxn ang="0">
                  <a:pos x="5005" y="512"/>
                </a:cxn>
                <a:cxn ang="0">
                  <a:pos x="5200" y="399"/>
                </a:cxn>
                <a:cxn ang="0">
                  <a:pos x="5508" y="396"/>
                </a:cxn>
                <a:cxn ang="0">
                  <a:pos x="5508" y="488"/>
                </a:cxn>
                <a:cxn ang="0">
                  <a:pos x="5508" y="427"/>
                </a:cxn>
                <a:cxn ang="0">
                  <a:pos x="11042" y="409"/>
                </a:cxn>
                <a:cxn ang="0">
                  <a:pos x="10776" y="357"/>
                </a:cxn>
                <a:cxn ang="0">
                  <a:pos x="10488" y="406"/>
                </a:cxn>
                <a:cxn ang="0">
                  <a:pos x="10427" y="409"/>
                </a:cxn>
                <a:cxn ang="0">
                  <a:pos x="9997" y="512"/>
                </a:cxn>
                <a:cxn ang="0">
                  <a:pos x="9843" y="624"/>
                </a:cxn>
                <a:cxn ang="0">
                  <a:pos x="9679" y="358"/>
                </a:cxn>
                <a:cxn ang="0">
                  <a:pos x="9125" y="409"/>
                </a:cxn>
                <a:cxn ang="0">
                  <a:pos x="8966" y="598"/>
                </a:cxn>
                <a:cxn ang="0">
                  <a:pos x="8791" y="624"/>
                </a:cxn>
                <a:cxn ang="0">
                  <a:pos x="8500" y="215"/>
                </a:cxn>
                <a:cxn ang="0">
                  <a:pos x="8378" y="184"/>
                </a:cxn>
                <a:cxn ang="0">
                  <a:pos x="8173" y="563"/>
                </a:cxn>
                <a:cxn ang="0">
                  <a:pos x="7978" y="533"/>
                </a:cxn>
                <a:cxn ang="0">
                  <a:pos x="7762" y="512"/>
                </a:cxn>
                <a:cxn ang="0">
                  <a:pos x="7680" y="462"/>
                </a:cxn>
                <a:cxn ang="0">
                  <a:pos x="7644" y="338"/>
                </a:cxn>
                <a:cxn ang="0">
                  <a:pos x="7602" y="455"/>
                </a:cxn>
                <a:cxn ang="0">
                  <a:pos x="7537" y="512"/>
                </a:cxn>
                <a:cxn ang="0">
                  <a:pos x="7414" y="583"/>
                </a:cxn>
                <a:cxn ang="0">
                  <a:pos x="7363" y="583"/>
                </a:cxn>
                <a:cxn ang="0">
                  <a:pos x="7147" y="492"/>
                </a:cxn>
                <a:cxn ang="0">
                  <a:pos x="7015" y="492"/>
                </a:cxn>
                <a:cxn ang="0">
                  <a:pos x="6758" y="195"/>
                </a:cxn>
                <a:cxn ang="0">
                  <a:pos x="6615" y="624"/>
                </a:cxn>
                <a:cxn ang="0">
                  <a:pos x="6461" y="443"/>
                </a:cxn>
                <a:cxn ang="0">
                  <a:pos x="6425" y="420"/>
                </a:cxn>
                <a:cxn ang="0">
                  <a:pos x="6354" y="462"/>
                </a:cxn>
                <a:cxn ang="0">
                  <a:pos x="6041" y="553"/>
                </a:cxn>
                <a:cxn ang="0">
                  <a:pos x="5815" y="512"/>
                </a:cxn>
                <a:cxn ang="0">
                  <a:pos x="5498" y="277"/>
                </a:cxn>
                <a:cxn ang="0">
                  <a:pos x="5191" y="286"/>
                </a:cxn>
                <a:cxn ang="0">
                  <a:pos x="5109" y="286"/>
                </a:cxn>
                <a:cxn ang="0">
                  <a:pos x="4791" y="669"/>
                </a:cxn>
                <a:cxn ang="0">
                  <a:pos x="2649" y="838"/>
                </a:cxn>
                <a:cxn ang="0">
                  <a:pos x="1428" y="1115"/>
                </a:cxn>
                <a:cxn ang="0">
                  <a:pos x="6327" y="1107"/>
                </a:cxn>
                <a:cxn ang="0">
                  <a:pos x="10631" y="1107"/>
                </a:cxn>
                <a:cxn ang="0">
                  <a:pos x="14321" y="624"/>
                </a:cxn>
                <a:cxn ang="0">
                  <a:pos x="13880" y="368"/>
                </a:cxn>
                <a:cxn ang="0">
                  <a:pos x="13532" y="512"/>
                </a:cxn>
                <a:cxn ang="0">
                  <a:pos x="13112" y="624"/>
                </a:cxn>
                <a:cxn ang="0">
                  <a:pos x="12528" y="624"/>
                </a:cxn>
                <a:cxn ang="0">
                  <a:pos x="12333" y="123"/>
                </a:cxn>
                <a:cxn ang="0">
                  <a:pos x="12260" y="379"/>
                </a:cxn>
                <a:cxn ang="0">
                  <a:pos x="12179" y="388"/>
                </a:cxn>
                <a:cxn ang="0">
                  <a:pos x="11994" y="481"/>
                </a:cxn>
                <a:cxn ang="0">
                  <a:pos x="11919" y="272"/>
                </a:cxn>
                <a:cxn ang="0">
                  <a:pos x="11879" y="309"/>
                </a:cxn>
                <a:cxn ang="0">
                  <a:pos x="11826" y="266"/>
                </a:cxn>
                <a:cxn ang="0">
                  <a:pos x="11769" y="338"/>
                </a:cxn>
              </a:cxnLst>
              <a:rect l="0" t="0" r="r" b="b"/>
              <a:pathLst>
                <a:path w="14321" h="1147">
                  <a:moveTo>
                    <a:pt x="12835" y="604"/>
                  </a:moveTo>
                  <a:lnTo>
                    <a:pt x="12896" y="604"/>
                  </a:lnTo>
                  <a:lnTo>
                    <a:pt x="12896" y="624"/>
                  </a:lnTo>
                  <a:lnTo>
                    <a:pt x="12835" y="624"/>
                  </a:lnTo>
                  <a:lnTo>
                    <a:pt x="12835" y="604"/>
                  </a:lnTo>
                  <a:close/>
                  <a:moveTo>
                    <a:pt x="12896" y="583"/>
                  </a:moveTo>
                  <a:lnTo>
                    <a:pt x="12835" y="583"/>
                  </a:lnTo>
                  <a:lnTo>
                    <a:pt x="12835" y="563"/>
                  </a:lnTo>
                  <a:lnTo>
                    <a:pt x="12896" y="563"/>
                  </a:lnTo>
                  <a:lnTo>
                    <a:pt x="12896" y="583"/>
                  </a:lnTo>
                  <a:close/>
                  <a:moveTo>
                    <a:pt x="5200" y="451"/>
                  </a:moveTo>
                  <a:lnTo>
                    <a:pt x="5406" y="451"/>
                  </a:lnTo>
                  <a:lnTo>
                    <a:pt x="5406" y="624"/>
                  </a:lnTo>
                  <a:lnTo>
                    <a:pt x="5200" y="624"/>
                  </a:lnTo>
                  <a:lnTo>
                    <a:pt x="5200" y="451"/>
                  </a:lnTo>
                  <a:close/>
                  <a:moveTo>
                    <a:pt x="5035" y="512"/>
                  </a:moveTo>
                  <a:lnTo>
                    <a:pt x="5098" y="450"/>
                  </a:lnTo>
                  <a:lnTo>
                    <a:pt x="5098" y="465"/>
                  </a:lnTo>
                  <a:lnTo>
                    <a:pt x="5052" y="512"/>
                  </a:lnTo>
                  <a:lnTo>
                    <a:pt x="5035" y="512"/>
                  </a:lnTo>
                  <a:close/>
                  <a:moveTo>
                    <a:pt x="5005" y="512"/>
                  </a:moveTo>
                  <a:lnTo>
                    <a:pt x="5098" y="418"/>
                  </a:lnTo>
                  <a:lnTo>
                    <a:pt x="5098" y="435"/>
                  </a:lnTo>
                  <a:lnTo>
                    <a:pt x="5021" y="512"/>
                  </a:lnTo>
                  <a:lnTo>
                    <a:pt x="5005" y="512"/>
                  </a:lnTo>
                  <a:close/>
                  <a:moveTo>
                    <a:pt x="5406" y="409"/>
                  </a:moveTo>
                  <a:lnTo>
                    <a:pt x="5200" y="409"/>
                  </a:lnTo>
                  <a:lnTo>
                    <a:pt x="5200" y="399"/>
                  </a:lnTo>
                  <a:lnTo>
                    <a:pt x="5406" y="399"/>
                  </a:lnTo>
                  <a:lnTo>
                    <a:pt x="5406" y="409"/>
                  </a:lnTo>
                  <a:close/>
                  <a:moveTo>
                    <a:pt x="5611" y="499"/>
                  </a:moveTo>
                  <a:lnTo>
                    <a:pt x="5611" y="512"/>
                  </a:lnTo>
                  <a:lnTo>
                    <a:pt x="5607" y="512"/>
                  </a:lnTo>
                  <a:lnTo>
                    <a:pt x="5508" y="412"/>
                  </a:lnTo>
                  <a:lnTo>
                    <a:pt x="5508" y="396"/>
                  </a:lnTo>
                  <a:lnTo>
                    <a:pt x="5611" y="499"/>
                  </a:lnTo>
                  <a:close/>
                  <a:moveTo>
                    <a:pt x="5508" y="474"/>
                  </a:moveTo>
                  <a:lnTo>
                    <a:pt x="5508" y="458"/>
                  </a:lnTo>
                  <a:lnTo>
                    <a:pt x="5563" y="512"/>
                  </a:lnTo>
                  <a:lnTo>
                    <a:pt x="5546" y="512"/>
                  </a:lnTo>
                  <a:lnTo>
                    <a:pt x="5508" y="474"/>
                  </a:lnTo>
                  <a:close/>
                  <a:moveTo>
                    <a:pt x="5508" y="488"/>
                  </a:moveTo>
                  <a:lnTo>
                    <a:pt x="5531" y="512"/>
                  </a:lnTo>
                  <a:lnTo>
                    <a:pt x="5508" y="512"/>
                  </a:lnTo>
                  <a:lnTo>
                    <a:pt x="5508" y="488"/>
                  </a:lnTo>
                  <a:close/>
                  <a:moveTo>
                    <a:pt x="5593" y="512"/>
                  </a:moveTo>
                  <a:lnTo>
                    <a:pt x="5577" y="512"/>
                  </a:lnTo>
                  <a:lnTo>
                    <a:pt x="5508" y="443"/>
                  </a:lnTo>
                  <a:lnTo>
                    <a:pt x="5508" y="427"/>
                  </a:lnTo>
                  <a:lnTo>
                    <a:pt x="5593" y="512"/>
                  </a:lnTo>
                  <a:close/>
                  <a:moveTo>
                    <a:pt x="12896" y="501"/>
                  </a:moveTo>
                  <a:lnTo>
                    <a:pt x="12835" y="501"/>
                  </a:lnTo>
                  <a:lnTo>
                    <a:pt x="12896" y="501"/>
                  </a:lnTo>
                  <a:close/>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7" name="Rectangle 9"/>
            <p:cNvSpPr>
              <a:spLocks noChangeArrowheads="1"/>
            </p:cNvSpPr>
            <p:nvPr userDrawn="1"/>
          </p:nvSpPr>
          <p:spPr bwMode="auto">
            <a:xfrm>
              <a:off x="4075113" y="64008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8" name="Rectangle 10"/>
            <p:cNvSpPr>
              <a:spLocks noChangeArrowheads="1"/>
            </p:cNvSpPr>
            <p:nvPr userDrawn="1"/>
          </p:nvSpPr>
          <p:spPr bwMode="auto">
            <a:xfrm>
              <a:off x="4075113" y="63881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9" name="Rectangle 11"/>
            <p:cNvSpPr>
              <a:spLocks noChangeArrowheads="1"/>
            </p:cNvSpPr>
            <p:nvPr userDrawn="1"/>
          </p:nvSpPr>
          <p:spPr bwMode="auto">
            <a:xfrm>
              <a:off x="1651000" y="6351588"/>
              <a:ext cx="65088" cy="55563"/>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0" name="Freeform 12"/>
            <p:cNvSpPr>
              <a:spLocks/>
            </p:cNvSpPr>
            <p:nvPr userDrawn="1"/>
          </p:nvSpPr>
          <p:spPr bwMode="auto">
            <a:xfrm>
              <a:off x="1598613" y="6351588"/>
              <a:ext cx="20638" cy="19050"/>
            </a:xfrm>
            <a:custGeom>
              <a:avLst/>
              <a:gdLst/>
              <a:ahLst/>
              <a:cxnLst>
                <a:cxn ang="0">
                  <a:pos x="0" y="62"/>
                </a:cxn>
                <a:cxn ang="0">
                  <a:pos x="63" y="0"/>
                </a:cxn>
                <a:cxn ang="0">
                  <a:pos x="63" y="15"/>
                </a:cxn>
                <a:cxn ang="0">
                  <a:pos x="17" y="62"/>
                </a:cxn>
                <a:cxn ang="0">
                  <a:pos x="0" y="62"/>
                </a:cxn>
              </a:cxnLst>
              <a:rect l="0" t="0" r="r" b="b"/>
              <a:pathLst>
                <a:path w="63" h="62">
                  <a:moveTo>
                    <a:pt x="0" y="62"/>
                  </a:moveTo>
                  <a:lnTo>
                    <a:pt x="63" y="0"/>
                  </a:lnTo>
                  <a:lnTo>
                    <a:pt x="63" y="15"/>
                  </a:lnTo>
                  <a:lnTo>
                    <a:pt x="17" y="62"/>
                  </a:lnTo>
                  <a:lnTo>
                    <a:pt x="0" y="62"/>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1" name="Freeform 13"/>
            <p:cNvSpPr>
              <a:spLocks/>
            </p:cNvSpPr>
            <p:nvPr userDrawn="1"/>
          </p:nvSpPr>
          <p:spPr bwMode="auto">
            <a:xfrm>
              <a:off x="1589088" y="6342063"/>
              <a:ext cx="30163" cy="28575"/>
            </a:xfrm>
            <a:custGeom>
              <a:avLst/>
              <a:gdLst/>
              <a:ahLst/>
              <a:cxnLst>
                <a:cxn ang="0">
                  <a:pos x="0" y="94"/>
                </a:cxn>
                <a:cxn ang="0">
                  <a:pos x="93" y="0"/>
                </a:cxn>
                <a:cxn ang="0">
                  <a:pos x="93" y="17"/>
                </a:cxn>
                <a:cxn ang="0">
                  <a:pos x="16" y="94"/>
                </a:cxn>
                <a:cxn ang="0">
                  <a:pos x="0" y="94"/>
                </a:cxn>
              </a:cxnLst>
              <a:rect l="0" t="0" r="r" b="b"/>
              <a:pathLst>
                <a:path w="93" h="94">
                  <a:moveTo>
                    <a:pt x="0" y="94"/>
                  </a:moveTo>
                  <a:lnTo>
                    <a:pt x="93" y="0"/>
                  </a:lnTo>
                  <a:lnTo>
                    <a:pt x="93" y="17"/>
                  </a:lnTo>
                  <a:lnTo>
                    <a:pt x="16" y="94"/>
                  </a:lnTo>
                  <a:lnTo>
                    <a:pt x="0" y="9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2" name="Rectangle 14"/>
            <p:cNvSpPr>
              <a:spLocks noChangeArrowheads="1"/>
            </p:cNvSpPr>
            <p:nvPr userDrawn="1"/>
          </p:nvSpPr>
          <p:spPr bwMode="auto">
            <a:xfrm>
              <a:off x="1651000" y="6335713"/>
              <a:ext cx="65088" cy="3175"/>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3" name="Freeform 15"/>
            <p:cNvSpPr>
              <a:spLocks/>
            </p:cNvSpPr>
            <p:nvPr userDrawn="1"/>
          </p:nvSpPr>
          <p:spPr bwMode="auto">
            <a:xfrm>
              <a:off x="1749425" y="6334126"/>
              <a:ext cx="31750" cy="36513"/>
            </a:xfrm>
            <a:custGeom>
              <a:avLst/>
              <a:gdLst/>
              <a:ahLst/>
              <a:cxnLst>
                <a:cxn ang="0">
                  <a:pos x="103" y="103"/>
                </a:cxn>
                <a:cxn ang="0">
                  <a:pos x="103" y="116"/>
                </a:cxn>
                <a:cxn ang="0">
                  <a:pos x="99" y="116"/>
                </a:cxn>
                <a:cxn ang="0">
                  <a:pos x="0" y="16"/>
                </a:cxn>
                <a:cxn ang="0">
                  <a:pos x="0" y="0"/>
                </a:cxn>
                <a:cxn ang="0">
                  <a:pos x="103" y="103"/>
                </a:cxn>
              </a:cxnLst>
              <a:rect l="0" t="0" r="r" b="b"/>
              <a:pathLst>
                <a:path w="103" h="116">
                  <a:moveTo>
                    <a:pt x="103" y="103"/>
                  </a:moveTo>
                  <a:lnTo>
                    <a:pt x="103" y="116"/>
                  </a:lnTo>
                  <a:lnTo>
                    <a:pt x="99" y="116"/>
                  </a:lnTo>
                  <a:lnTo>
                    <a:pt x="0" y="16"/>
                  </a:lnTo>
                  <a:lnTo>
                    <a:pt x="0" y="0"/>
                  </a:lnTo>
                  <a:lnTo>
                    <a:pt x="103" y="103"/>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4" name="Freeform 16"/>
            <p:cNvSpPr>
              <a:spLocks/>
            </p:cNvSpPr>
            <p:nvPr userDrawn="1"/>
          </p:nvSpPr>
          <p:spPr bwMode="auto">
            <a:xfrm>
              <a:off x="1749425" y="6354763"/>
              <a:ext cx="17463" cy="15875"/>
            </a:xfrm>
            <a:custGeom>
              <a:avLst/>
              <a:gdLst/>
              <a:ahLst/>
              <a:cxnLst>
                <a:cxn ang="0">
                  <a:pos x="0" y="16"/>
                </a:cxn>
                <a:cxn ang="0">
                  <a:pos x="0" y="0"/>
                </a:cxn>
                <a:cxn ang="0">
                  <a:pos x="55" y="54"/>
                </a:cxn>
                <a:cxn ang="0">
                  <a:pos x="38" y="54"/>
                </a:cxn>
                <a:cxn ang="0">
                  <a:pos x="0" y="16"/>
                </a:cxn>
              </a:cxnLst>
              <a:rect l="0" t="0" r="r" b="b"/>
              <a:pathLst>
                <a:path w="55" h="54">
                  <a:moveTo>
                    <a:pt x="0" y="16"/>
                  </a:moveTo>
                  <a:lnTo>
                    <a:pt x="0" y="0"/>
                  </a:lnTo>
                  <a:lnTo>
                    <a:pt x="55" y="54"/>
                  </a:lnTo>
                  <a:lnTo>
                    <a:pt x="38" y="54"/>
                  </a:lnTo>
                  <a:lnTo>
                    <a:pt x="0" y="16"/>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5" name="Freeform 17"/>
            <p:cNvSpPr>
              <a:spLocks/>
            </p:cNvSpPr>
            <p:nvPr userDrawn="1"/>
          </p:nvSpPr>
          <p:spPr bwMode="auto">
            <a:xfrm>
              <a:off x="1749425" y="6364288"/>
              <a:ext cx="6350" cy="6350"/>
            </a:xfrm>
            <a:custGeom>
              <a:avLst/>
              <a:gdLst/>
              <a:ahLst/>
              <a:cxnLst>
                <a:cxn ang="0">
                  <a:pos x="0" y="0"/>
                </a:cxn>
                <a:cxn ang="0">
                  <a:pos x="23" y="24"/>
                </a:cxn>
                <a:cxn ang="0">
                  <a:pos x="0" y="24"/>
                </a:cxn>
                <a:cxn ang="0">
                  <a:pos x="0" y="0"/>
                </a:cxn>
              </a:cxnLst>
              <a:rect l="0" t="0" r="r" b="b"/>
              <a:pathLst>
                <a:path w="23" h="24">
                  <a:moveTo>
                    <a:pt x="0" y="0"/>
                  </a:moveTo>
                  <a:lnTo>
                    <a:pt x="23" y="24"/>
                  </a:lnTo>
                  <a:lnTo>
                    <a:pt x="0" y="24"/>
                  </a:lnTo>
                  <a:lnTo>
                    <a:pt x="0"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6" name="Freeform 18"/>
            <p:cNvSpPr>
              <a:spLocks/>
            </p:cNvSpPr>
            <p:nvPr userDrawn="1"/>
          </p:nvSpPr>
          <p:spPr bwMode="auto">
            <a:xfrm>
              <a:off x="1749425" y="6343651"/>
              <a:ext cx="26988" cy="26988"/>
            </a:xfrm>
            <a:custGeom>
              <a:avLst/>
              <a:gdLst/>
              <a:ahLst/>
              <a:cxnLst>
                <a:cxn ang="0">
                  <a:pos x="85" y="85"/>
                </a:cxn>
                <a:cxn ang="0">
                  <a:pos x="69" y="85"/>
                </a:cxn>
                <a:cxn ang="0">
                  <a:pos x="0" y="16"/>
                </a:cxn>
                <a:cxn ang="0">
                  <a:pos x="0" y="0"/>
                </a:cxn>
                <a:cxn ang="0">
                  <a:pos x="85" y="85"/>
                </a:cxn>
              </a:cxnLst>
              <a:rect l="0" t="0" r="r" b="b"/>
              <a:pathLst>
                <a:path w="85" h="85">
                  <a:moveTo>
                    <a:pt x="85" y="85"/>
                  </a:moveTo>
                  <a:lnTo>
                    <a:pt x="69" y="85"/>
                  </a:lnTo>
                  <a:lnTo>
                    <a:pt x="0" y="16"/>
                  </a:lnTo>
                  <a:lnTo>
                    <a:pt x="0" y="0"/>
                  </a:lnTo>
                  <a:lnTo>
                    <a:pt x="85" y="85"/>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7" name="Freeform 19"/>
            <p:cNvSpPr>
              <a:spLocks/>
            </p:cNvSpPr>
            <p:nvPr userDrawn="1"/>
          </p:nvSpPr>
          <p:spPr bwMode="auto">
            <a:xfrm>
              <a:off x="4075113" y="6367463"/>
              <a:ext cx="19050" cy="1588"/>
            </a:xfrm>
            <a:custGeom>
              <a:avLst/>
              <a:gdLst/>
              <a:ahLst/>
              <a:cxnLst>
                <a:cxn ang="0">
                  <a:pos x="61" y="0"/>
                </a:cxn>
                <a:cxn ang="0">
                  <a:pos x="0" y="0"/>
                </a:cxn>
                <a:cxn ang="0">
                  <a:pos x="61" y="0"/>
                </a:cxn>
              </a:cxnLst>
              <a:rect l="0" t="0" r="r" b="b"/>
              <a:pathLst>
                <a:path w="61">
                  <a:moveTo>
                    <a:pt x="61" y="0"/>
                  </a:moveTo>
                  <a:lnTo>
                    <a:pt x="0" y="0"/>
                  </a:lnTo>
                  <a:lnTo>
                    <a:pt x="61"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8" name="Freeform 20"/>
            <p:cNvSpPr>
              <a:spLocks/>
            </p:cNvSpPr>
            <p:nvPr userDrawn="1"/>
          </p:nvSpPr>
          <p:spPr bwMode="auto">
            <a:xfrm>
              <a:off x="0" y="6208713"/>
              <a:ext cx="4546600" cy="363538"/>
            </a:xfrm>
            <a:custGeom>
              <a:avLst/>
              <a:gdLst/>
              <a:ahLst/>
              <a:cxnLst>
                <a:cxn ang="0">
                  <a:pos x="10943" y="387"/>
                </a:cxn>
                <a:cxn ang="0">
                  <a:pos x="10699" y="357"/>
                </a:cxn>
                <a:cxn ang="0">
                  <a:pos x="10488" y="256"/>
                </a:cxn>
                <a:cxn ang="0">
                  <a:pos x="10427" y="409"/>
                </a:cxn>
                <a:cxn ang="0">
                  <a:pos x="9997" y="388"/>
                </a:cxn>
                <a:cxn ang="0">
                  <a:pos x="9884" y="512"/>
                </a:cxn>
                <a:cxn ang="0">
                  <a:pos x="9709" y="307"/>
                </a:cxn>
                <a:cxn ang="0">
                  <a:pos x="9464" y="409"/>
                </a:cxn>
                <a:cxn ang="0">
                  <a:pos x="9047" y="624"/>
                </a:cxn>
                <a:cxn ang="0">
                  <a:pos x="8919" y="596"/>
                </a:cxn>
                <a:cxn ang="0">
                  <a:pos x="8791" y="624"/>
                </a:cxn>
                <a:cxn ang="0">
                  <a:pos x="8500" y="481"/>
                </a:cxn>
                <a:cxn ang="0">
                  <a:pos x="8418" y="215"/>
                </a:cxn>
                <a:cxn ang="0">
                  <a:pos x="8214" y="481"/>
                </a:cxn>
                <a:cxn ang="0">
                  <a:pos x="8090" y="624"/>
                </a:cxn>
                <a:cxn ang="0">
                  <a:pos x="7803" y="553"/>
                </a:cxn>
                <a:cxn ang="0">
                  <a:pos x="7742" y="512"/>
                </a:cxn>
                <a:cxn ang="0">
                  <a:pos x="7680" y="462"/>
                </a:cxn>
                <a:cxn ang="0">
                  <a:pos x="7644" y="429"/>
                </a:cxn>
                <a:cxn ang="0">
                  <a:pos x="7618" y="444"/>
                </a:cxn>
                <a:cxn ang="0">
                  <a:pos x="7558" y="512"/>
                </a:cxn>
                <a:cxn ang="0">
                  <a:pos x="7496" y="492"/>
                </a:cxn>
                <a:cxn ang="0">
                  <a:pos x="7394" y="533"/>
                </a:cxn>
                <a:cxn ang="0">
                  <a:pos x="7353" y="583"/>
                </a:cxn>
                <a:cxn ang="0">
                  <a:pos x="7147" y="492"/>
                </a:cxn>
                <a:cxn ang="0">
                  <a:pos x="7015" y="512"/>
                </a:cxn>
                <a:cxn ang="0">
                  <a:pos x="6881" y="624"/>
                </a:cxn>
                <a:cxn ang="0">
                  <a:pos x="6661" y="135"/>
                </a:cxn>
                <a:cxn ang="0">
                  <a:pos x="6515" y="471"/>
                </a:cxn>
                <a:cxn ang="0">
                  <a:pos x="6452" y="428"/>
                </a:cxn>
                <a:cxn ang="0">
                  <a:pos x="6416" y="423"/>
                </a:cxn>
                <a:cxn ang="0">
                  <a:pos x="6354" y="462"/>
                </a:cxn>
                <a:cxn ang="0">
                  <a:pos x="6215" y="553"/>
                </a:cxn>
                <a:cxn ang="0">
                  <a:pos x="5847" y="624"/>
                </a:cxn>
                <a:cxn ang="0">
                  <a:pos x="5508" y="381"/>
                </a:cxn>
                <a:cxn ang="0">
                  <a:pos x="5406" y="286"/>
                </a:cxn>
                <a:cxn ang="0">
                  <a:pos x="5170" y="277"/>
                </a:cxn>
                <a:cxn ang="0">
                  <a:pos x="5098" y="286"/>
                </a:cxn>
                <a:cxn ang="0">
                  <a:pos x="4791" y="669"/>
                </a:cxn>
                <a:cxn ang="0">
                  <a:pos x="3179" y="790"/>
                </a:cxn>
                <a:cxn ang="0">
                  <a:pos x="0" y="1083"/>
                </a:cxn>
                <a:cxn ang="0">
                  <a:pos x="4484" y="1107"/>
                </a:cxn>
                <a:cxn ang="0">
                  <a:pos x="8172" y="1107"/>
                </a:cxn>
                <a:cxn ang="0">
                  <a:pos x="11861" y="1107"/>
                </a:cxn>
                <a:cxn ang="0">
                  <a:pos x="14116" y="624"/>
                </a:cxn>
                <a:cxn ang="0">
                  <a:pos x="13880" y="368"/>
                </a:cxn>
                <a:cxn ang="0">
                  <a:pos x="13644" y="512"/>
                </a:cxn>
                <a:cxn ang="0">
                  <a:pos x="13214" y="512"/>
                </a:cxn>
                <a:cxn ang="0">
                  <a:pos x="12630" y="558"/>
                </a:cxn>
                <a:cxn ang="0">
                  <a:pos x="12476" y="440"/>
                </a:cxn>
                <a:cxn ang="0">
                  <a:pos x="12312" y="0"/>
                </a:cxn>
                <a:cxn ang="0">
                  <a:pos x="12260" y="440"/>
                </a:cxn>
                <a:cxn ang="0">
                  <a:pos x="12179" y="388"/>
                </a:cxn>
                <a:cxn ang="0">
                  <a:pos x="12067" y="481"/>
                </a:cxn>
                <a:cxn ang="0">
                  <a:pos x="11937" y="309"/>
                </a:cxn>
                <a:cxn ang="0">
                  <a:pos x="11897" y="272"/>
                </a:cxn>
                <a:cxn ang="0">
                  <a:pos x="11854" y="309"/>
                </a:cxn>
                <a:cxn ang="0">
                  <a:pos x="11814" y="272"/>
                </a:cxn>
                <a:cxn ang="0">
                  <a:pos x="11769" y="327"/>
                </a:cxn>
              </a:cxnLst>
              <a:rect l="0" t="0" r="r" b="b"/>
              <a:pathLst>
                <a:path w="14321" h="1147">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9" name="Freeform 21"/>
            <p:cNvSpPr>
              <a:spLocks noEditPoints="1"/>
            </p:cNvSpPr>
            <p:nvPr userDrawn="1"/>
          </p:nvSpPr>
          <p:spPr bwMode="auto">
            <a:xfrm>
              <a:off x="3754438" y="6208713"/>
              <a:ext cx="708025" cy="350838"/>
            </a:xfrm>
            <a:custGeom>
              <a:avLst/>
              <a:gdLst/>
              <a:ahLst/>
              <a:cxnLst>
                <a:cxn ang="0">
                  <a:pos x="802" y="605"/>
                </a:cxn>
                <a:cxn ang="0">
                  <a:pos x="740" y="625"/>
                </a:cxn>
                <a:cxn ang="0">
                  <a:pos x="802" y="583"/>
                </a:cxn>
                <a:cxn ang="0">
                  <a:pos x="740" y="563"/>
                </a:cxn>
                <a:cxn ang="0">
                  <a:pos x="802" y="583"/>
                </a:cxn>
                <a:cxn ang="0">
                  <a:pos x="740" y="501"/>
                </a:cxn>
                <a:cxn ang="0">
                  <a:pos x="0" y="1107"/>
                </a:cxn>
                <a:cxn ang="0">
                  <a:pos x="1113" y="1107"/>
                </a:cxn>
                <a:cxn ang="0">
                  <a:pos x="2226" y="1107"/>
                </a:cxn>
                <a:cxn ang="0">
                  <a:pos x="2022" y="625"/>
                </a:cxn>
                <a:cxn ang="0">
                  <a:pos x="1981" y="369"/>
                </a:cxn>
                <a:cxn ang="0">
                  <a:pos x="1806" y="185"/>
                </a:cxn>
                <a:cxn ang="0">
                  <a:pos x="1786" y="369"/>
                </a:cxn>
                <a:cxn ang="0">
                  <a:pos x="1612" y="276"/>
                </a:cxn>
                <a:cxn ang="0">
                  <a:pos x="1612" y="625"/>
                </a:cxn>
                <a:cxn ang="0">
                  <a:pos x="1550" y="512"/>
                </a:cxn>
                <a:cxn ang="0">
                  <a:pos x="1438" y="440"/>
                </a:cxn>
                <a:cxn ang="0">
                  <a:pos x="1222" y="392"/>
                </a:cxn>
                <a:cxn ang="0">
                  <a:pos x="1120" y="512"/>
                </a:cxn>
                <a:cxn ang="0">
                  <a:pos x="1017" y="625"/>
                </a:cxn>
                <a:cxn ang="0">
                  <a:pos x="545" y="625"/>
                </a:cxn>
                <a:cxn ang="0">
                  <a:pos x="536" y="559"/>
                </a:cxn>
                <a:cxn ang="0">
                  <a:pos x="443" y="625"/>
                </a:cxn>
                <a:cxn ang="0">
                  <a:pos x="433" y="522"/>
                </a:cxn>
                <a:cxn ang="0">
                  <a:pos x="382" y="440"/>
                </a:cxn>
                <a:cxn ang="0">
                  <a:pos x="249" y="379"/>
                </a:cxn>
                <a:cxn ang="0">
                  <a:pos x="238" y="123"/>
                </a:cxn>
                <a:cxn ang="0">
                  <a:pos x="218" y="0"/>
                </a:cxn>
                <a:cxn ang="0">
                  <a:pos x="197" y="123"/>
                </a:cxn>
                <a:cxn ang="0">
                  <a:pos x="177" y="379"/>
                </a:cxn>
                <a:cxn ang="0">
                  <a:pos x="166" y="440"/>
                </a:cxn>
                <a:cxn ang="0">
                  <a:pos x="146" y="267"/>
                </a:cxn>
                <a:cxn ang="0">
                  <a:pos x="95" y="440"/>
                </a:cxn>
                <a:cxn ang="0">
                  <a:pos x="84" y="389"/>
                </a:cxn>
                <a:cxn ang="0">
                  <a:pos x="0" y="1107"/>
                </a:cxn>
              </a:cxnLst>
              <a:rect l="0" t="0" r="r" b="b"/>
              <a:pathLst>
                <a:path w="2226" h="1107">
                  <a:moveTo>
                    <a:pt x="740" y="605"/>
                  </a:moveTo>
                  <a:lnTo>
                    <a:pt x="802" y="605"/>
                  </a:lnTo>
                  <a:lnTo>
                    <a:pt x="802" y="625"/>
                  </a:lnTo>
                  <a:lnTo>
                    <a:pt x="740" y="625"/>
                  </a:lnTo>
                  <a:lnTo>
                    <a:pt x="740" y="605"/>
                  </a:lnTo>
                  <a:close/>
                  <a:moveTo>
                    <a:pt x="802" y="583"/>
                  </a:moveTo>
                  <a:lnTo>
                    <a:pt x="740" y="583"/>
                  </a:lnTo>
                  <a:lnTo>
                    <a:pt x="740" y="563"/>
                  </a:lnTo>
                  <a:lnTo>
                    <a:pt x="802" y="563"/>
                  </a:lnTo>
                  <a:lnTo>
                    <a:pt x="802" y="583"/>
                  </a:lnTo>
                  <a:close/>
                  <a:moveTo>
                    <a:pt x="802" y="501"/>
                  </a:moveTo>
                  <a:lnTo>
                    <a:pt x="740" y="501"/>
                  </a:lnTo>
                  <a:lnTo>
                    <a:pt x="802" y="501"/>
                  </a:lnTo>
                  <a:close/>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0" name="Rectangle 22"/>
            <p:cNvSpPr>
              <a:spLocks noChangeArrowheads="1"/>
            </p:cNvSpPr>
            <p:nvPr userDrawn="1"/>
          </p:nvSpPr>
          <p:spPr bwMode="auto">
            <a:xfrm>
              <a:off x="3989388" y="6400801"/>
              <a:ext cx="2063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1" name="Rectangle 23"/>
            <p:cNvSpPr>
              <a:spLocks noChangeArrowheads="1"/>
            </p:cNvSpPr>
            <p:nvPr userDrawn="1"/>
          </p:nvSpPr>
          <p:spPr bwMode="auto">
            <a:xfrm>
              <a:off x="3989388" y="6386513"/>
              <a:ext cx="20638" cy="6350"/>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2" name="Freeform 24"/>
            <p:cNvSpPr>
              <a:spLocks/>
            </p:cNvSpPr>
            <p:nvPr userDrawn="1"/>
          </p:nvSpPr>
          <p:spPr bwMode="auto">
            <a:xfrm>
              <a:off x="3989388" y="6367463"/>
              <a:ext cx="20638" cy="1588"/>
            </a:xfrm>
            <a:custGeom>
              <a:avLst/>
              <a:gdLst/>
              <a:ahLst/>
              <a:cxnLst>
                <a:cxn ang="0">
                  <a:pos x="62" y="0"/>
                </a:cxn>
                <a:cxn ang="0">
                  <a:pos x="0" y="0"/>
                </a:cxn>
                <a:cxn ang="0">
                  <a:pos x="62" y="0"/>
                </a:cxn>
              </a:cxnLst>
              <a:rect l="0" t="0" r="r" b="b"/>
              <a:pathLst>
                <a:path w="62">
                  <a:moveTo>
                    <a:pt x="62" y="0"/>
                  </a:moveTo>
                  <a:lnTo>
                    <a:pt x="0" y="0"/>
                  </a:lnTo>
                  <a:lnTo>
                    <a:pt x="62"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3" name="Freeform 25"/>
            <p:cNvSpPr>
              <a:spLocks/>
            </p:cNvSpPr>
            <p:nvPr userDrawn="1"/>
          </p:nvSpPr>
          <p:spPr bwMode="auto">
            <a:xfrm>
              <a:off x="3754438" y="6208713"/>
              <a:ext cx="708025" cy="350838"/>
            </a:xfrm>
            <a:custGeom>
              <a:avLst/>
              <a:gdLst/>
              <a:ahLst/>
              <a:cxnLst>
                <a:cxn ang="0">
                  <a:pos x="0" y="1107"/>
                </a:cxn>
                <a:cxn ang="0">
                  <a:pos x="556" y="1107"/>
                </a:cxn>
                <a:cxn ang="0">
                  <a:pos x="1113" y="1107"/>
                </a:cxn>
                <a:cxn ang="0">
                  <a:pos x="1669" y="1107"/>
                </a:cxn>
                <a:cxn ang="0">
                  <a:pos x="2226" y="1107"/>
                </a:cxn>
                <a:cxn ang="0">
                  <a:pos x="2226" y="625"/>
                </a:cxn>
                <a:cxn ang="0">
                  <a:pos x="2022" y="625"/>
                </a:cxn>
                <a:cxn ang="0">
                  <a:pos x="2022" y="369"/>
                </a:cxn>
                <a:cxn ang="0">
                  <a:pos x="1981" y="369"/>
                </a:cxn>
                <a:cxn ang="0">
                  <a:pos x="1981" y="185"/>
                </a:cxn>
                <a:cxn ang="0">
                  <a:pos x="1806" y="185"/>
                </a:cxn>
                <a:cxn ang="0">
                  <a:pos x="1806" y="369"/>
                </a:cxn>
                <a:cxn ang="0">
                  <a:pos x="1786" y="369"/>
                </a:cxn>
                <a:cxn ang="0">
                  <a:pos x="1786" y="276"/>
                </a:cxn>
                <a:cxn ang="0">
                  <a:pos x="1612" y="276"/>
                </a:cxn>
                <a:cxn ang="0">
                  <a:pos x="1612" y="369"/>
                </a:cxn>
                <a:cxn ang="0">
                  <a:pos x="1612" y="625"/>
                </a:cxn>
                <a:cxn ang="0">
                  <a:pos x="1550" y="625"/>
                </a:cxn>
                <a:cxn ang="0">
                  <a:pos x="1550" y="512"/>
                </a:cxn>
                <a:cxn ang="0">
                  <a:pos x="1438" y="512"/>
                </a:cxn>
                <a:cxn ang="0">
                  <a:pos x="1438" y="440"/>
                </a:cxn>
                <a:cxn ang="0">
                  <a:pos x="1222" y="349"/>
                </a:cxn>
                <a:cxn ang="0">
                  <a:pos x="1222" y="392"/>
                </a:cxn>
                <a:cxn ang="0">
                  <a:pos x="1120" y="349"/>
                </a:cxn>
                <a:cxn ang="0">
                  <a:pos x="1120" y="512"/>
                </a:cxn>
                <a:cxn ang="0">
                  <a:pos x="1017" y="512"/>
                </a:cxn>
                <a:cxn ang="0">
                  <a:pos x="1017" y="625"/>
                </a:cxn>
                <a:cxn ang="0">
                  <a:pos x="986" y="625"/>
                </a:cxn>
                <a:cxn ang="0">
                  <a:pos x="545" y="625"/>
                </a:cxn>
                <a:cxn ang="0">
                  <a:pos x="536" y="625"/>
                </a:cxn>
                <a:cxn ang="0">
                  <a:pos x="536" y="559"/>
                </a:cxn>
                <a:cxn ang="0">
                  <a:pos x="443" y="559"/>
                </a:cxn>
                <a:cxn ang="0">
                  <a:pos x="443" y="625"/>
                </a:cxn>
                <a:cxn ang="0">
                  <a:pos x="433" y="625"/>
                </a:cxn>
                <a:cxn ang="0">
                  <a:pos x="433" y="522"/>
                </a:cxn>
                <a:cxn ang="0">
                  <a:pos x="382" y="522"/>
                </a:cxn>
                <a:cxn ang="0">
                  <a:pos x="382" y="440"/>
                </a:cxn>
                <a:cxn ang="0">
                  <a:pos x="249" y="440"/>
                </a:cxn>
                <a:cxn ang="0">
                  <a:pos x="249" y="379"/>
                </a:cxn>
                <a:cxn ang="0">
                  <a:pos x="238" y="379"/>
                </a:cxn>
                <a:cxn ang="0">
                  <a:pos x="238" y="123"/>
                </a:cxn>
                <a:cxn ang="0">
                  <a:pos x="218" y="123"/>
                </a:cxn>
                <a:cxn ang="0">
                  <a:pos x="218" y="0"/>
                </a:cxn>
                <a:cxn ang="0">
                  <a:pos x="197" y="0"/>
                </a:cxn>
                <a:cxn ang="0">
                  <a:pos x="197" y="123"/>
                </a:cxn>
                <a:cxn ang="0">
                  <a:pos x="177" y="123"/>
                </a:cxn>
                <a:cxn ang="0">
                  <a:pos x="177" y="379"/>
                </a:cxn>
                <a:cxn ang="0">
                  <a:pos x="166" y="379"/>
                </a:cxn>
                <a:cxn ang="0">
                  <a:pos x="166" y="440"/>
                </a:cxn>
                <a:cxn ang="0">
                  <a:pos x="146" y="440"/>
                </a:cxn>
                <a:cxn ang="0">
                  <a:pos x="146" y="267"/>
                </a:cxn>
                <a:cxn ang="0">
                  <a:pos x="95" y="267"/>
                </a:cxn>
                <a:cxn ang="0">
                  <a:pos x="95" y="440"/>
                </a:cxn>
                <a:cxn ang="0">
                  <a:pos x="84" y="440"/>
                </a:cxn>
                <a:cxn ang="0">
                  <a:pos x="84" y="389"/>
                </a:cxn>
                <a:cxn ang="0">
                  <a:pos x="2" y="389"/>
                </a:cxn>
                <a:cxn ang="0">
                  <a:pos x="0" y="1107"/>
                </a:cxn>
              </a:cxnLst>
              <a:rect l="0" t="0" r="r" b="b"/>
              <a:pathLst>
                <a:path w="2226" h="1107">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4" name="Freeform 26"/>
            <p:cNvSpPr>
              <a:spLocks/>
            </p:cNvSpPr>
            <p:nvPr userDrawn="1"/>
          </p:nvSpPr>
          <p:spPr bwMode="auto">
            <a:xfrm>
              <a:off x="5116513" y="6329363"/>
              <a:ext cx="203200" cy="20638"/>
            </a:xfrm>
            <a:custGeom>
              <a:avLst/>
              <a:gdLst/>
              <a:ahLst/>
              <a:cxnLst>
                <a:cxn ang="0">
                  <a:pos x="0" y="63"/>
                </a:cxn>
                <a:cxn ang="0">
                  <a:pos x="20" y="63"/>
                </a:cxn>
                <a:cxn ang="0">
                  <a:pos x="34" y="63"/>
                </a:cxn>
                <a:cxn ang="0">
                  <a:pos x="42" y="63"/>
                </a:cxn>
                <a:cxn ang="0">
                  <a:pos x="50" y="63"/>
                </a:cxn>
                <a:cxn ang="0">
                  <a:pos x="57" y="63"/>
                </a:cxn>
                <a:cxn ang="0">
                  <a:pos x="64" y="63"/>
                </a:cxn>
                <a:cxn ang="0">
                  <a:pos x="73" y="63"/>
                </a:cxn>
                <a:cxn ang="0">
                  <a:pos x="95" y="63"/>
                </a:cxn>
                <a:cxn ang="0">
                  <a:pos x="103" y="63"/>
                </a:cxn>
                <a:cxn ang="0">
                  <a:pos x="133" y="51"/>
                </a:cxn>
                <a:cxn ang="0">
                  <a:pos x="140" y="48"/>
                </a:cxn>
                <a:cxn ang="0">
                  <a:pos x="166" y="39"/>
                </a:cxn>
                <a:cxn ang="0">
                  <a:pos x="174" y="36"/>
                </a:cxn>
                <a:cxn ang="0">
                  <a:pos x="177" y="36"/>
                </a:cxn>
                <a:cxn ang="0">
                  <a:pos x="205" y="28"/>
                </a:cxn>
                <a:cxn ang="0">
                  <a:pos x="212" y="25"/>
                </a:cxn>
                <a:cxn ang="0">
                  <a:pos x="242" y="18"/>
                </a:cxn>
                <a:cxn ang="0">
                  <a:pos x="250" y="17"/>
                </a:cxn>
                <a:cxn ang="0">
                  <a:pos x="280" y="12"/>
                </a:cxn>
                <a:cxn ang="0">
                  <a:pos x="288" y="11"/>
                </a:cxn>
                <a:cxn ang="0">
                  <a:pos x="318" y="10"/>
                </a:cxn>
                <a:cxn ang="0">
                  <a:pos x="321" y="10"/>
                </a:cxn>
                <a:cxn ang="0">
                  <a:pos x="325" y="10"/>
                </a:cxn>
                <a:cxn ang="0">
                  <a:pos x="355" y="11"/>
                </a:cxn>
                <a:cxn ang="0">
                  <a:pos x="363" y="12"/>
                </a:cxn>
                <a:cxn ang="0">
                  <a:pos x="393" y="17"/>
                </a:cxn>
                <a:cxn ang="0">
                  <a:pos x="401" y="19"/>
                </a:cxn>
                <a:cxn ang="0">
                  <a:pos x="431" y="27"/>
                </a:cxn>
                <a:cxn ang="0">
                  <a:pos x="439" y="28"/>
                </a:cxn>
                <a:cxn ang="0">
                  <a:pos x="465" y="36"/>
                </a:cxn>
                <a:cxn ang="0">
                  <a:pos x="469" y="37"/>
                </a:cxn>
                <a:cxn ang="0">
                  <a:pos x="477" y="40"/>
                </a:cxn>
                <a:cxn ang="0">
                  <a:pos x="504" y="48"/>
                </a:cxn>
                <a:cxn ang="0">
                  <a:pos x="511" y="51"/>
                </a:cxn>
                <a:cxn ang="0">
                  <a:pos x="539" y="63"/>
                </a:cxn>
                <a:cxn ang="0">
                  <a:pos x="540" y="63"/>
                </a:cxn>
                <a:cxn ang="0">
                  <a:pos x="541" y="63"/>
                </a:cxn>
                <a:cxn ang="0">
                  <a:pos x="548" y="63"/>
                </a:cxn>
                <a:cxn ang="0">
                  <a:pos x="571" y="63"/>
                </a:cxn>
                <a:cxn ang="0">
                  <a:pos x="578" y="63"/>
                </a:cxn>
                <a:cxn ang="0">
                  <a:pos x="587" y="63"/>
                </a:cxn>
                <a:cxn ang="0">
                  <a:pos x="594" y="63"/>
                </a:cxn>
                <a:cxn ang="0">
                  <a:pos x="601" y="63"/>
                </a:cxn>
                <a:cxn ang="0">
                  <a:pos x="608" y="63"/>
                </a:cxn>
                <a:cxn ang="0">
                  <a:pos x="624" y="63"/>
                </a:cxn>
                <a:cxn ang="0">
                  <a:pos x="642" y="63"/>
                </a:cxn>
                <a:cxn ang="0">
                  <a:pos x="642" y="54"/>
                </a:cxn>
                <a:cxn ang="0">
                  <a:pos x="624" y="54"/>
                </a:cxn>
                <a:cxn ang="0">
                  <a:pos x="542" y="54"/>
                </a:cxn>
                <a:cxn ang="0">
                  <a:pos x="516" y="43"/>
                </a:cxn>
                <a:cxn ang="0">
                  <a:pos x="461" y="25"/>
                </a:cxn>
                <a:cxn ang="0">
                  <a:pos x="393" y="9"/>
                </a:cxn>
                <a:cxn ang="0">
                  <a:pos x="357" y="3"/>
                </a:cxn>
                <a:cxn ang="0">
                  <a:pos x="321" y="0"/>
                </a:cxn>
                <a:cxn ang="0">
                  <a:pos x="286" y="3"/>
                </a:cxn>
                <a:cxn ang="0">
                  <a:pos x="250" y="9"/>
                </a:cxn>
                <a:cxn ang="0">
                  <a:pos x="181" y="25"/>
                </a:cxn>
                <a:cxn ang="0">
                  <a:pos x="127" y="43"/>
                </a:cxn>
                <a:cxn ang="0">
                  <a:pos x="100" y="54"/>
                </a:cxn>
                <a:cxn ang="0">
                  <a:pos x="20" y="54"/>
                </a:cxn>
                <a:cxn ang="0">
                  <a:pos x="0" y="54"/>
                </a:cxn>
                <a:cxn ang="0">
                  <a:pos x="0" y="63"/>
                </a:cxn>
              </a:cxnLst>
              <a:rect l="0" t="0" r="r" b="b"/>
              <a:pathLst>
                <a:path w="642" h="63">
                  <a:moveTo>
                    <a:pt x="0" y="63"/>
                  </a:moveTo>
                  <a:lnTo>
                    <a:pt x="20" y="63"/>
                  </a:lnTo>
                  <a:lnTo>
                    <a:pt x="34" y="63"/>
                  </a:lnTo>
                  <a:lnTo>
                    <a:pt x="42" y="63"/>
                  </a:lnTo>
                  <a:lnTo>
                    <a:pt x="50" y="63"/>
                  </a:lnTo>
                  <a:lnTo>
                    <a:pt x="57" y="63"/>
                  </a:lnTo>
                  <a:lnTo>
                    <a:pt x="64" y="63"/>
                  </a:lnTo>
                  <a:lnTo>
                    <a:pt x="73" y="63"/>
                  </a:lnTo>
                  <a:lnTo>
                    <a:pt x="95" y="63"/>
                  </a:lnTo>
                  <a:lnTo>
                    <a:pt x="103" y="63"/>
                  </a:lnTo>
                  <a:lnTo>
                    <a:pt x="133" y="51"/>
                  </a:lnTo>
                  <a:lnTo>
                    <a:pt x="140" y="48"/>
                  </a:lnTo>
                  <a:lnTo>
                    <a:pt x="166" y="39"/>
                  </a:lnTo>
                  <a:lnTo>
                    <a:pt x="174" y="36"/>
                  </a:lnTo>
                  <a:lnTo>
                    <a:pt x="177" y="36"/>
                  </a:lnTo>
                  <a:lnTo>
                    <a:pt x="205" y="28"/>
                  </a:lnTo>
                  <a:lnTo>
                    <a:pt x="212" y="25"/>
                  </a:lnTo>
                  <a:lnTo>
                    <a:pt x="242" y="18"/>
                  </a:lnTo>
                  <a:lnTo>
                    <a:pt x="250" y="17"/>
                  </a:lnTo>
                  <a:lnTo>
                    <a:pt x="280" y="12"/>
                  </a:lnTo>
                  <a:lnTo>
                    <a:pt x="288" y="11"/>
                  </a:lnTo>
                  <a:lnTo>
                    <a:pt x="318" y="10"/>
                  </a:lnTo>
                  <a:lnTo>
                    <a:pt x="321" y="10"/>
                  </a:lnTo>
                  <a:lnTo>
                    <a:pt x="325" y="10"/>
                  </a:lnTo>
                  <a:lnTo>
                    <a:pt x="355" y="11"/>
                  </a:lnTo>
                  <a:lnTo>
                    <a:pt x="363" y="12"/>
                  </a:lnTo>
                  <a:lnTo>
                    <a:pt x="393" y="17"/>
                  </a:lnTo>
                  <a:lnTo>
                    <a:pt x="401" y="19"/>
                  </a:lnTo>
                  <a:lnTo>
                    <a:pt x="431" y="27"/>
                  </a:lnTo>
                  <a:lnTo>
                    <a:pt x="439" y="28"/>
                  </a:lnTo>
                  <a:lnTo>
                    <a:pt x="465" y="36"/>
                  </a:lnTo>
                  <a:lnTo>
                    <a:pt x="469" y="37"/>
                  </a:lnTo>
                  <a:lnTo>
                    <a:pt x="477" y="40"/>
                  </a:lnTo>
                  <a:lnTo>
                    <a:pt x="504" y="48"/>
                  </a:lnTo>
                  <a:lnTo>
                    <a:pt x="511" y="51"/>
                  </a:lnTo>
                  <a:lnTo>
                    <a:pt x="539" y="63"/>
                  </a:lnTo>
                  <a:lnTo>
                    <a:pt x="540" y="63"/>
                  </a:lnTo>
                  <a:lnTo>
                    <a:pt x="541" y="63"/>
                  </a:lnTo>
                  <a:lnTo>
                    <a:pt x="548" y="63"/>
                  </a:lnTo>
                  <a:lnTo>
                    <a:pt x="571" y="63"/>
                  </a:lnTo>
                  <a:lnTo>
                    <a:pt x="578" y="63"/>
                  </a:lnTo>
                  <a:lnTo>
                    <a:pt x="587" y="63"/>
                  </a:lnTo>
                  <a:lnTo>
                    <a:pt x="594" y="63"/>
                  </a:lnTo>
                  <a:lnTo>
                    <a:pt x="601" y="63"/>
                  </a:lnTo>
                  <a:lnTo>
                    <a:pt x="608" y="63"/>
                  </a:lnTo>
                  <a:lnTo>
                    <a:pt x="624" y="63"/>
                  </a:lnTo>
                  <a:lnTo>
                    <a:pt x="642" y="63"/>
                  </a:lnTo>
                  <a:lnTo>
                    <a:pt x="642" y="54"/>
                  </a:lnTo>
                  <a:lnTo>
                    <a:pt x="624" y="54"/>
                  </a:lnTo>
                  <a:lnTo>
                    <a:pt x="542" y="54"/>
                  </a:lnTo>
                  <a:lnTo>
                    <a:pt x="516" y="43"/>
                  </a:lnTo>
                  <a:lnTo>
                    <a:pt x="461" y="25"/>
                  </a:lnTo>
                  <a:lnTo>
                    <a:pt x="393" y="9"/>
                  </a:lnTo>
                  <a:lnTo>
                    <a:pt x="357" y="3"/>
                  </a:lnTo>
                  <a:lnTo>
                    <a:pt x="321" y="0"/>
                  </a:lnTo>
                  <a:lnTo>
                    <a:pt x="286" y="3"/>
                  </a:lnTo>
                  <a:lnTo>
                    <a:pt x="250" y="9"/>
                  </a:lnTo>
                  <a:lnTo>
                    <a:pt x="181" y="25"/>
                  </a:lnTo>
                  <a:lnTo>
                    <a:pt x="127" y="43"/>
                  </a:lnTo>
                  <a:lnTo>
                    <a:pt x="100" y="54"/>
                  </a:lnTo>
                  <a:lnTo>
                    <a:pt x="20" y="54"/>
                  </a:lnTo>
                  <a:lnTo>
                    <a:pt x="0" y="54"/>
                  </a:lnTo>
                  <a:lnTo>
                    <a:pt x="0" y="63"/>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5" name="Freeform 27"/>
            <p:cNvSpPr>
              <a:spLocks noEditPoints="1"/>
            </p:cNvSpPr>
            <p:nvPr userDrawn="1"/>
          </p:nvSpPr>
          <p:spPr bwMode="auto">
            <a:xfrm>
              <a:off x="4826000" y="6278563"/>
              <a:ext cx="995363" cy="190500"/>
            </a:xfrm>
            <a:custGeom>
              <a:avLst/>
              <a:gdLst/>
              <a:ahLst/>
              <a:cxnLst>
                <a:cxn ang="0">
                  <a:pos x="1588" y="177"/>
                </a:cxn>
                <a:cxn ang="0">
                  <a:pos x="1499" y="296"/>
                </a:cxn>
                <a:cxn ang="0">
                  <a:pos x="1388" y="275"/>
                </a:cxn>
                <a:cxn ang="0">
                  <a:pos x="1489" y="275"/>
                </a:cxn>
                <a:cxn ang="0">
                  <a:pos x="1535" y="296"/>
                </a:cxn>
                <a:cxn ang="0">
                  <a:pos x="1191" y="275"/>
                </a:cxn>
                <a:cxn ang="0">
                  <a:pos x="1304" y="275"/>
                </a:cxn>
                <a:cxn ang="0">
                  <a:pos x="964" y="296"/>
                </a:cxn>
                <a:cxn ang="0">
                  <a:pos x="968" y="275"/>
                </a:cxn>
                <a:cxn ang="0">
                  <a:pos x="1051" y="275"/>
                </a:cxn>
                <a:cxn ang="0">
                  <a:pos x="900" y="177"/>
                </a:cxn>
                <a:cxn ang="0">
                  <a:pos x="786" y="296"/>
                </a:cxn>
                <a:cxn ang="0">
                  <a:pos x="2716" y="18"/>
                </a:cxn>
                <a:cxn ang="0">
                  <a:pos x="2681" y="6"/>
                </a:cxn>
                <a:cxn ang="0">
                  <a:pos x="2574" y="12"/>
                </a:cxn>
                <a:cxn ang="0">
                  <a:pos x="2515" y="103"/>
                </a:cxn>
                <a:cxn ang="0">
                  <a:pos x="2467" y="48"/>
                </a:cxn>
                <a:cxn ang="0">
                  <a:pos x="2402" y="149"/>
                </a:cxn>
                <a:cxn ang="0">
                  <a:pos x="2372" y="238"/>
                </a:cxn>
                <a:cxn ang="0">
                  <a:pos x="2319" y="131"/>
                </a:cxn>
                <a:cxn ang="0">
                  <a:pos x="2295" y="119"/>
                </a:cxn>
                <a:cxn ang="0">
                  <a:pos x="2254" y="155"/>
                </a:cxn>
                <a:cxn ang="0">
                  <a:pos x="2218" y="196"/>
                </a:cxn>
                <a:cxn ang="0">
                  <a:pos x="2183" y="208"/>
                </a:cxn>
                <a:cxn ang="0">
                  <a:pos x="2129" y="196"/>
                </a:cxn>
                <a:cxn ang="0">
                  <a:pos x="2058" y="296"/>
                </a:cxn>
                <a:cxn ang="0">
                  <a:pos x="2027" y="255"/>
                </a:cxn>
                <a:cxn ang="0">
                  <a:pos x="2005" y="220"/>
                </a:cxn>
                <a:cxn ang="0">
                  <a:pos x="1921" y="255"/>
                </a:cxn>
                <a:cxn ang="0">
                  <a:pos x="1701" y="260"/>
                </a:cxn>
                <a:cxn ang="0">
                  <a:pos x="1618" y="155"/>
                </a:cxn>
                <a:cxn ang="0">
                  <a:pos x="1535" y="216"/>
                </a:cxn>
                <a:cxn ang="0">
                  <a:pos x="1519" y="225"/>
                </a:cxn>
                <a:cxn ang="0">
                  <a:pos x="1498" y="260"/>
                </a:cxn>
                <a:cxn ang="0">
                  <a:pos x="1459" y="225"/>
                </a:cxn>
                <a:cxn ang="0">
                  <a:pos x="1415" y="260"/>
                </a:cxn>
                <a:cxn ang="0">
                  <a:pos x="1350" y="190"/>
                </a:cxn>
                <a:cxn ang="0">
                  <a:pos x="1304" y="260"/>
                </a:cxn>
                <a:cxn ang="0">
                  <a:pos x="1236" y="172"/>
                </a:cxn>
                <a:cxn ang="0">
                  <a:pos x="1191" y="174"/>
                </a:cxn>
                <a:cxn ang="0">
                  <a:pos x="1123" y="260"/>
                </a:cxn>
                <a:cxn ang="0">
                  <a:pos x="1077" y="201"/>
                </a:cxn>
                <a:cxn ang="0">
                  <a:pos x="1014" y="260"/>
                </a:cxn>
                <a:cxn ang="0">
                  <a:pos x="975" y="225"/>
                </a:cxn>
                <a:cxn ang="0">
                  <a:pos x="953" y="260"/>
                </a:cxn>
                <a:cxn ang="0">
                  <a:pos x="911" y="225"/>
                </a:cxn>
                <a:cxn ang="0">
                  <a:pos x="931" y="162"/>
                </a:cxn>
                <a:cxn ang="0">
                  <a:pos x="847" y="177"/>
                </a:cxn>
                <a:cxn ang="0">
                  <a:pos x="632" y="255"/>
                </a:cxn>
                <a:cxn ang="0">
                  <a:pos x="549" y="296"/>
                </a:cxn>
                <a:cxn ang="0">
                  <a:pos x="508" y="304"/>
                </a:cxn>
                <a:cxn ang="0">
                  <a:pos x="484" y="179"/>
                </a:cxn>
                <a:cxn ang="0">
                  <a:pos x="460" y="215"/>
                </a:cxn>
                <a:cxn ang="0">
                  <a:pos x="389" y="126"/>
                </a:cxn>
                <a:cxn ang="0">
                  <a:pos x="318" y="296"/>
                </a:cxn>
                <a:cxn ang="0">
                  <a:pos x="259" y="18"/>
                </a:cxn>
                <a:cxn ang="0">
                  <a:pos x="174" y="113"/>
                </a:cxn>
                <a:cxn ang="0">
                  <a:pos x="97" y="214"/>
                </a:cxn>
                <a:cxn ang="0">
                  <a:pos x="26" y="296"/>
                </a:cxn>
                <a:cxn ang="0">
                  <a:pos x="2348" y="603"/>
                </a:cxn>
              </a:cxnLst>
              <a:rect l="0" t="0" r="r" b="b"/>
              <a:pathLst>
                <a:path w="3132" h="603">
                  <a:moveTo>
                    <a:pt x="1701" y="296"/>
                  </a:moveTo>
                  <a:lnTo>
                    <a:pt x="1618" y="296"/>
                  </a:lnTo>
                  <a:lnTo>
                    <a:pt x="1618" y="275"/>
                  </a:lnTo>
                  <a:lnTo>
                    <a:pt x="1701" y="275"/>
                  </a:lnTo>
                  <a:lnTo>
                    <a:pt x="1701" y="296"/>
                  </a:lnTo>
                  <a:close/>
                  <a:moveTo>
                    <a:pt x="1588" y="177"/>
                  </a:moveTo>
                  <a:lnTo>
                    <a:pt x="1565" y="177"/>
                  </a:lnTo>
                  <a:lnTo>
                    <a:pt x="1565" y="162"/>
                  </a:lnTo>
                  <a:lnTo>
                    <a:pt x="1588" y="162"/>
                  </a:lnTo>
                  <a:lnTo>
                    <a:pt x="1588" y="177"/>
                  </a:lnTo>
                  <a:close/>
                  <a:moveTo>
                    <a:pt x="1535" y="296"/>
                  </a:moveTo>
                  <a:lnTo>
                    <a:pt x="1499" y="296"/>
                  </a:lnTo>
                  <a:lnTo>
                    <a:pt x="1440" y="355"/>
                  </a:lnTo>
                  <a:lnTo>
                    <a:pt x="1345" y="355"/>
                  </a:lnTo>
                  <a:lnTo>
                    <a:pt x="1345" y="275"/>
                  </a:lnTo>
                  <a:lnTo>
                    <a:pt x="1350" y="275"/>
                  </a:lnTo>
                  <a:lnTo>
                    <a:pt x="1380" y="275"/>
                  </a:lnTo>
                  <a:lnTo>
                    <a:pt x="1388" y="275"/>
                  </a:lnTo>
                  <a:lnTo>
                    <a:pt x="1415" y="275"/>
                  </a:lnTo>
                  <a:lnTo>
                    <a:pt x="1422" y="275"/>
                  </a:lnTo>
                  <a:lnTo>
                    <a:pt x="1452" y="275"/>
                  </a:lnTo>
                  <a:lnTo>
                    <a:pt x="1459" y="275"/>
                  </a:lnTo>
                  <a:lnTo>
                    <a:pt x="1482" y="275"/>
                  </a:lnTo>
                  <a:lnTo>
                    <a:pt x="1489" y="275"/>
                  </a:lnTo>
                  <a:lnTo>
                    <a:pt x="1498" y="275"/>
                  </a:lnTo>
                  <a:lnTo>
                    <a:pt x="1505" y="275"/>
                  </a:lnTo>
                  <a:lnTo>
                    <a:pt x="1512" y="275"/>
                  </a:lnTo>
                  <a:lnTo>
                    <a:pt x="1519" y="275"/>
                  </a:lnTo>
                  <a:lnTo>
                    <a:pt x="1535" y="275"/>
                  </a:lnTo>
                  <a:lnTo>
                    <a:pt x="1535" y="296"/>
                  </a:lnTo>
                  <a:close/>
                  <a:moveTo>
                    <a:pt x="1321" y="355"/>
                  </a:moveTo>
                  <a:lnTo>
                    <a:pt x="1142" y="355"/>
                  </a:lnTo>
                  <a:lnTo>
                    <a:pt x="1142" y="275"/>
                  </a:lnTo>
                  <a:lnTo>
                    <a:pt x="1153" y="275"/>
                  </a:lnTo>
                  <a:lnTo>
                    <a:pt x="1161" y="275"/>
                  </a:lnTo>
                  <a:lnTo>
                    <a:pt x="1191" y="275"/>
                  </a:lnTo>
                  <a:lnTo>
                    <a:pt x="1199" y="275"/>
                  </a:lnTo>
                  <a:lnTo>
                    <a:pt x="1229" y="275"/>
                  </a:lnTo>
                  <a:lnTo>
                    <a:pt x="1236" y="275"/>
                  </a:lnTo>
                  <a:lnTo>
                    <a:pt x="1266" y="275"/>
                  </a:lnTo>
                  <a:lnTo>
                    <a:pt x="1274" y="275"/>
                  </a:lnTo>
                  <a:lnTo>
                    <a:pt x="1304" y="275"/>
                  </a:lnTo>
                  <a:lnTo>
                    <a:pt x="1312" y="275"/>
                  </a:lnTo>
                  <a:lnTo>
                    <a:pt x="1321" y="275"/>
                  </a:lnTo>
                  <a:lnTo>
                    <a:pt x="1321" y="355"/>
                  </a:lnTo>
                  <a:close/>
                  <a:moveTo>
                    <a:pt x="1120" y="355"/>
                  </a:moveTo>
                  <a:lnTo>
                    <a:pt x="1024" y="355"/>
                  </a:lnTo>
                  <a:lnTo>
                    <a:pt x="964" y="296"/>
                  </a:lnTo>
                  <a:lnTo>
                    <a:pt x="931" y="296"/>
                  </a:lnTo>
                  <a:lnTo>
                    <a:pt x="931" y="275"/>
                  </a:lnTo>
                  <a:lnTo>
                    <a:pt x="945" y="275"/>
                  </a:lnTo>
                  <a:lnTo>
                    <a:pt x="953" y="275"/>
                  </a:lnTo>
                  <a:lnTo>
                    <a:pt x="961" y="275"/>
                  </a:lnTo>
                  <a:lnTo>
                    <a:pt x="968" y="275"/>
                  </a:lnTo>
                  <a:lnTo>
                    <a:pt x="975" y="275"/>
                  </a:lnTo>
                  <a:lnTo>
                    <a:pt x="984" y="275"/>
                  </a:lnTo>
                  <a:lnTo>
                    <a:pt x="1006" y="275"/>
                  </a:lnTo>
                  <a:lnTo>
                    <a:pt x="1014" y="275"/>
                  </a:lnTo>
                  <a:lnTo>
                    <a:pt x="1044" y="275"/>
                  </a:lnTo>
                  <a:lnTo>
                    <a:pt x="1051" y="275"/>
                  </a:lnTo>
                  <a:lnTo>
                    <a:pt x="1077" y="275"/>
                  </a:lnTo>
                  <a:lnTo>
                    <a:pt x="1085" y="275"/>
                  </a:lnTo>
                  <a:lnTo>
                    <a:pt x="1116" y="275"/>
                  </a:lnTo>
                  <a:lnTo>
                    <a:pt x="1120" y="275"/>
                  </a:lnTo>
                  <a:lnTo>
                    <a:pt x="1120" y="355"/>
                  </a:lnTo>
                  <a:close/>
                  <a:moveTo>
                    <a:pt x="900" y="177"/>
                  </a:moveTo>
                  <a:lnTo>
                    <a:pt x="878" y="177"/>
                  </a:lnTo>
                  <a:lnTo>
                    <a:pt x="878" y="162"/>
                  </a:lnTo>
                  <a:lnTo>
                    <a:pt x="900" y="162"/>
                  </a:lnTo>
                  <a:lnTo>
                    <a:pt x="900" y="177"/>
                  </a:lnTo>
                  <a:close/>
                  <a:moveTo>
                    <a:pt x="847" y="296"/>
                  </a:moveTo>
                  <a:lnTo>
                    <a:pt x="786" y="296"/>
                  </a:lnTo>
                  <a:lnTo>
                    <a:pt x="786" y="275"/>
                  </a:lnTo>
                  <a:lnTo>
                    <a:pt x="847" y="275"/>
                  </a:lnTo>
                  <a:lnTo>
                    <a:pt x="847" y="296"/>
                  </a:lnTo>
                  <a:close/>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6" name="Rectangle 28"/>
            <p:cNvSpPr>
              <a:spLocks noChangeArrowheads="1"/>
            </p:cNvSpPr>
            <p:nvPr userDrawn="1"/>
          </p:nvSpPr>
          <p:spPr bwMode="auto">
            <a:xfrm>
              <a:off x="5340350" y="6365876"/>
              <a:ext cx="2698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7" name="Rectangle 29"/>
            <p:cNvSpPr>
              <a:spLocks noChangeArrowheads="1"/>
            </p:cNvSpPr>
            <p:nvPr userDrawn="1"/>
          </p:nvSpPr>
          <p:spPr bwMode="auto">
            <a:xfrm>
              <a:off x="5322888" y="6329363"/>
              <a:ext cx="7938"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8" name="Freeform 30"/>
            <p:cNvSpPr>
              <a:spLocks/>
            </p:cNvSpPr>
            <p:nvPr userDrawn="1"/>
          </p:nvSpPr>
          <p:spPr bwMode="auto">
            <a:xfrm>
              <a:off x="5253038" y="6365876"/>
              <a:ext cx="60325" cy="25400"/>
            </a:xfrm>
            <a:custGeom>
              <a:avLst/>
              <a:gdLst/>
              <a:ahLst/>
              <a:cxnLst>
                <a:cxn ang="0">
                  <a:pos x="190" y="21"/>
                </a:cxn>
                <a:cxn ang="0">
                  <a:pos x="154" y="21"/>
                </a:cxn>
                <a:cxn ang="0">
                  <a:pos x="95" y="80"/>
                </a:cxn>
                <a:cxn ang="0">
                  <a:pos x="0" y="80"/>
                </a:cxn>
                <a:cxn ang="0">
                  <a:pos x="0" y="0"/>
                </a:cxn>
                <a:cxn ang="0">
                  <a:pos x="5" y="0"/>
                </a:cxn>
                <a:cxn ang="0">
                  <a:pos x="35" y="0"/>
                </a:cxn>
                <a:cxn ang="0">
                  <a:pos x="43" y="0"/>
                </a:cxn>
                <a:cxn ang="0">
                  <a:pos x="70" y="0"/>
                </a:cxn>
                <a:cxn ang="0">
                  <a:pos x="77" y="0"/>
                </a:cxn>
                <a:cxn ang="0">
                  <a:pos x="107" y="0"/>
                </a:cxn>
                <a:cxn ang="0">
                  <a:pos x="114" y="0"/>
                </a:cxn>
                <a:cxn ang="0">
                  <a:pos x="137" y="0"/>
                </a:cxn>
                <a:cxn ang="0">
                  <a:pos x="144" y="0"/>
                </a:cxn>
                <a:cxn ang="0">
                  <a:pos x="153" y="0"/>
                </a:cxn>
                <a:cxn ang="0">
                  <a:pos x="160" y="0"/>
                </a:cxn>
                <a:cxn ang="0">
                  <a:pos x="167" y="0"/>
                </a:cxn>
                <a:cxn ang="0">
                  <a:pos x="174" y="0"/>
                </a:cxn>
                <a:cxn ang="0">
                  <a:pos x="190" y="0"/>
                </a:cxn>
                <a:cxn ang="0">
                  <a:pos x="190" y="21"/>
                </a:cxn>
              </a:cxnLst>
              <a:rect l="0" t="0" r="r" b="b"/>
              <a:pathLst>
                <a:path w="190" h="80">
                  <a:moveTo>
                    <a:pt x="190" y="21"/>
                  </a:moveTo>
                  <a:lnTo>
                    <a:pt x="154" y="21"/>
                  </a:lnTo>
                  <a:lnTo>
                    <a:pt x="95" y="80"/>
                  </a:lnTo>
                  <a:lnTo>
                    <a:pt x="0" y="80"/>
                  </a:lnTo>
                  <a:lnTo>
                    <a:pt x="0" y="0"/>
                  </a:lnTo>
                  <a:lnTo>
                    <a:pt x="5" y="0"/>
                  </a:lnTo>
                  <a:lnTo>
                    <a:pt x="35" y="0"/>
                  </a:lnTo>
                  <a:lnTo>
                    <a:pt x="43" y="0"/>
                  </a:lnTo>
                  <a:lnTo>
                    <a:pt x="70" y="0"/>
                  </a:lnTo>
                  <a:lnTo>
                    <a:pt x="77" y="0"/>
                  </a:lnTo>
                  <a:lnTo>
                    <a:pt x="107" y="0"/>
                  </a:lnTo>
                  <a:lnTo>
                    <a:pt x="114" y="0"/>
                  </a:lnTo>
                  <a:lnTo>
                    <a:pt x="137" y="0"/>
                  </a:lnTo>
                  <a:lnTo>
                    <a:pt x="144" y="0"/>
                  </a:lnTo>
                  <a:lnTo>
                    <a:pt x="153" y="0"/>
                  </a:lnTo>
                  <a:lnTo>
                    <a:pt x="160" y="0"/>
                  </a:lnTo>
                  <a:lnTo>
                    <a:pt x="167" y="0"/>
                  </a:lnTo>
                  <a:lnTo>
                    <a:pt x="174" y="0"/>
                  </a:lnTo>
                  <a:lnTo>
                    <a:pt x="190" y="0"/>
                  </a:lnTo>
                  <a:lnTo>
                    <a:pt x="190" y="21"/>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9" name="Freeform 31"/>
            <p:cNvSpPr>
              <a:spLocks/>
            </p:cNvSpPr>
            <p:nvPr userDrawn="1"/>
          </p:nvSpPr>
          <p:spPr bwMode="auto">
            <a:xfrm>
              <a:off x="5189538" y="6365876"/>
              <a:ext cx="57150" cy="25400"/>
            </a:xfrm>
            <a:custGeom>
              <a:avLst/>
              <a:gdLst/>
              <a:ahLst/>
              <a:cxnLst>
                <a:cxn ang="0">
                  <a:pos x="179" y="80"/>
                </a:cxn>
                <a:cxn ang="0">
                  <a:pos x="0" y="80"/>
                </a:cxn>
                <a:cxn ang="0">
                  <a:pos x="0" y="0"/>
                </a:cxn>
                <a:cxn ang="0">
                  <a:pos x="11" y="0"/>
                </a:cxn>
                <a:cxn ang="0">
                  <a:pos x="19" y="0"/>
                </a:cxn>
                <a:cxn ang="0">
                  <a:pos x="49" y="0"/>
                </a:cxn>
                <a:cxn ang="0">
                  <a:pos x="57" y="0"/>
                </a:cxn>
                <a:cxn ang="0">
                  <a:pos x="87" y="0"/>
                </a:cxn>
                <a:cxn ang="0">
                  <a:pos x="94" y="0"/>
                </a:cxn>
                <a:cxn ang="0">
                  <a:pos x="124" y="0"/>
                </a:cxn>
                <a:cxn ang="0">
                  <a:pos x="132" y="0"/>
                </a:cxn>
                <a:cxn ang="0">
                  <a:pos x="162" y="0"/>
                </a:cxn>
                <a:cxn ang="0">
                  <a:pos x="170" y="0"/>
                </a:cxn>
                <a:cxn ang="0">
                  <a:pos x="179" y="0"/>
                </a:cxn>
                <a:cxn ang="0">
                  <a:pos x="179" y="80"/>
                </a:cxn>
              </a:cxnLst>
              <a:rect l="0" t="0" r="r" b="b"/>
              <a:pathLst>
                <a:path w="179" h="80">
                  <a:moveTo>
                    <a:pt x="179" y="80"/>
                  </a:moveTo>
                  <a:lnTo>
                    <a:pt x="0" y="80"/>
                  </a:lnTo>
                  <a:lnTo>
                    <a:pt x="0" y="0"/>
                  </a:lnTo>
                  <a:lnTo>
                    <a:pt x="11" y="0"/>
                  </a:lnTo>
                  <a:lnTo>
                    <a:pt x="19" y="0"/>
                  </a:lnTo>
                  <a:lnTo>
                    <a:pt x="49" y="0"/>
                  </a:lnTo>
                  <a:lnTo>
                    <a:pt x="57" y="0"/>
                  </a:lnTo>
                  <a:lnTo>
                    <a:pt x="87" y="0"/>
                  </a:lnTo>
                  <a:lnTo>
                    <a:pt x="94" y="0"/>
                  </a:lnTo>
                  <a:lnTo>
                    <a:pt x="124" y="0"/>
                  </a:lnTo>
                  <a:lnTo>
                    <a:pt x="132" y="0"/>
                  </a:lnTo>
                  <a:lnTo>
                    <a:pt x="162" y="0"/>
                  </a:lnTo>
                  <a:lnTo>
                    <a:pt x="170" y="0"/>
                  </a:lnTo>
                  <a:lnTo>
                    <a:pt x="179" y="0"/>
                  </a:lnTo>
                  <a:lnTo>
                    <a:pt x="17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0" name="Freeform 32"/>
            <p:cNvSpPr>
              <a:spLocks/>
            </p:cNvSpPr>
            <p:nvPr userDrawn="1"/>
          </p:nvSpPr>
          <p:spPr bwMode="auto">
            <a:xfrm>
              <a:off x="5122863" y="6365876"/>
              <a:ext cx="58738" cy="25400"/>
            </a:xfrm>
            <a:custGeom>
              <a:avLst/>
              <a:gdLst/>
              <a:ahLst/>
              <a:cxnLst>
                <a:cxn ang="0">
                  <a:pos x="189" y="80"/>
                </a:cxn>
                <a:cxn ang="0">
                  <a:pos x="93" y="80"/>
                </a:cxn>
                <a:cxn ang="0">
                  <a:pos x="33" y="21"/>
                </a:cxn>
                <a:cxn ang="0">
                  <a:pos x="0" y="21"/>
                </a:cxn>
                <a:cxn ang="0">
                  <a:pos x="0" y="0"/>
                </a:cxn>
                <a:cxn ang="0">
                  <a:pos x="14" y="0"/>
                </a:cxn>
                <a:cxn ang="0">
                  <a:pos x="22" y="0"/>
                </a:cxn>
                <a:cxn ang="0">
                  <a:pos x="30" y="0"/>
                </a:cxn>
                <a:cxn ang="0">
                  <a:pos x="37" y="0"/>
                </a:cxn>
                <a:cxn ang="0">
                  <a:pos x="44" y="0"/>
                </a:cxn>
                <a:cxn ang="0">
                  <a:pos x="53" y="0"/>
                </a:cxn>
                <a:cxn ang="0">
                  <a:pos x="75" y="0"/>
                </a:cxn>
                <a:cxn ang="0">
                  <a:pos x="83" y="0"/>
                </a:cxn>
                <a:cxn ang="0">
                  <a:pos x="113" y="0"/>
                </a:cxn>
                <a:cxn ang="0">
                  <a:pos x="120" y="0"/>
                </a:cxn>
                <a:cxn ang="0">
                  <a:pos x="146" y="0"/>
                </a:cxn>
                <a:cxn ang="0">
                  <a:pos x="154" y="0"/>
                </a:cxn>
                <a:cxn ang="0">
                  <a:pos x="185" y="0"/>
                </a:cxn>
                <a:cxn ang="0">
                  <a:pos x="189" y="0"/>
                </a:cxn>
                <a:cxn ang="0">
                  <a:pos x="189" y="80"/>
                </a:cxn>
              </a:cxnLst>
              <a:rect l="0" t="0" r="r" b="b"/>
              <a:pathLst>
                <a:path w="189" h="80">
                  <a:moveTo>
                    <a:pt x="189" y="80"/>
                  </a:moveTo>
                  <a:lnTo>
                    <a:pt x="93" y="80"/>
                  </a:lnTo>
                  <a:lnTo>
                    <a:pt x="33" y="21"/>
                  </a:lnTo>
                  <a:lnTo>
                    <a:pt x="0" y="21"/>
                  </a:lnTo>
                  <a:lnTo>
                    <a:pt x="0" y="0"/>
                  </a:lnTo>
                  <a:lnTo>
                    <a:pt x="14" y="0"/>
                  </a:lnTo>
                  <a:lnTo>
                    <a:pt x="22" y="0"/>
                  </a:lnTo>
                  <a:lnTo>
                    <a:pt x="30" y="0"/>
                  </a:lnTo>
                  <a:lnTo>
                    <a:pt x="37" y="0"/>
                  </a:lnTo>
                  <a:lnTo>
                    <a:pt x="44" y="0"/>
                  </a:lnTo>
                  <a:lnTo>
                    <a:pt x="53" y="0"/>
                  </a:lnTo>
                  <a:lnTo>
                    <a:pt x="75" y="0"/>
                  </a:lnTo>
                  <a:lnTo>
                    <a:pt x="83" y="0"/>
                  </a:lnTo>
                  <a:lnTo>
                    <a:pt x="113" y="0"/>
                  </a:lnTo>
                  <a:lnTo>
                    <a:pt x="120" y="0"/>
                  </a:lnTo>
                  <a:lnTo>
                    <a:pt x="146" y="0"/>
                  </a:lnTo>
                  <a:lnTo>
                    <a:pt x="154" y="0"/>
                  </a:lnTo>
                  <a:lnTo>
                    <a:pt x="185" y="0"/>
                  </a:lnTo>
                  <a:lnTo>
                    <a:pt x="189" y="0"/>
                  </a:lnTo>
                  <a:lnTo>
                    <a:pt x="18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1" name="Rectangle 33"/>
            <p:cNvSpPr>
              <a:spLocks noChangeArrowheads="1"/>
            </p:cNvSpPr>
            <p:nvPr userDrawn="1"/>
          </p:nvSpPr>
          <p:spPr bwMode="auto">
            <a:xfrm>
              <a:off x="5105400" y="6329363"/>
              <a:ext cx="6350"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2" name="Rectangle 34"/>
            <p:cNvSpPr>
              <a:spLocks noChangeArrowheads="1"/>
            </p:cNvSpPr>
            <p:nvPr userDrawn="1"/>
          </p:nvSpPr>
          <p:spPr bwMode="auto">
            <a:xfrm>
              <a:off x="5076825" y="6365876"/>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3" name="Freeform 35"/>
            <p:cNvSpPr>
              <a:spLocks/>
            </p:cNvSpPr>
            <p:nvPr userDrawn="1"/>
          </p:nvSpPr>
          <p:spPr bwMode="auto">
            <a:xfrm>
              <a:off x="4826000" y="6278563"/>
              <a:ext cx="995363" cy="190500"/>
            </a:xfrm>
            <a:custGeom>
              <a:avLst/>
              <a:gdLst/>
              <a:ahLst/>
              <a:cxnLst>
                <a:cxn ang="0">
                  <a:pos x="2705" y="6"/>
                </a:cxn>
                <a:cxn ang="0">
                  <a:pos x="2681" y="18"/>
                </a:cxn>
                <a:cxn ang="0">
                  <a:pos x="2574" y="12"/>
                </a:cxn>
                <a:cxn ang="0">
                  <a:pos x="2533" y="94"/>
                </a:cxn>
                <a:cxn ang="0">
                  <a:pos x="2479" y="54"/>
                </a:cxn>
                <a:cxn ang="0">
                  <a:pos x="2467" y="208"/>
                </a:cxn>
                <a:cxn ang="0">
                  <a:pos x="2390" y="238"/>
                </a:cxn>
                <a:cxn ang="0">
                  <a:pos x="2372" y="214"/>
                </a:cxn>
                <a:cxn ang="0">
                  <a:pos x="2319" y="131"/>
                </a:cxn>
                <a:cxn ang="0">
                  <a:pos x="2295" y="77"/>
                </a:cxn>
                <a:cxn ang="0">
                  <a:pos x="2260" y="119"/>
                </a:cxn>
                <a:cxn ang="0">
                  <a:pos x="2224" y="149"/>
                </a:cxn>
                <a:cxn ang="0">
                  <a:pos x="2206" y="255"/>
                </a:cxn>
                <a:cxn ang="0">
                  <a:pos x="2171" y="208"/>
                </a:cxn>
                <a:cxn ang="0">
                  <a:pos x="2129" y="196"/>
                </a:cxn>
                <a:cxn ang="0">
                  <a:pos x="2058" y="220"/>
                </a:cxn>
                <a:cxn ang="0">
                  <a:pos x="2039" y="220"/>
                </a:cxn>
                <a:cxn ang="0">
                  <a:pos x="2011" y="220"/>
                </a:cxn>
                <a:cxn ang="0">
                  <a:pos x="1993" y="255"/>
                </a:cxn>
                <a:cxn ang="0">
                  <a:pos x="1909" y="255"/>
                </a:cxn>
                <a:cxn ang="0">
                  <a:pos x="1701" y="260"/>
                </a:cxn>
                <a:cxn ang="0">
                  <a:pos x="1618" y="162"/>
                </a:cxn>
                <a:cxn ang="0">
                  <a:pos x="1542" y="177"/>
                </a:cxn>
                <a:cxn ang="0">
                  <a:pos x="1535" y="225"/>
                </a:cxn>
                <a:cxn ang="0">
                  <a:pos x="1512" y="260"/>
                </a:cxn>
                <a:cxn ang="0">
                  <a:pos x="1489" y="260"/>
                </a:cxn>
                <a:cxn ang="0">
                  <a:pos x="1459" y="225"/>
                </a:cxn>
                <a:cxn ang="0">
                  <a:pos x="1415" y="210"/>
                </a:cxn>
                <a:cxn ang="0">
                  <a:pos x="1380" y="260"/>
                </a:cxn>
                <a:cxn ang="0">
                  <a:pos x="1312" y="260"/>
                </a:cxn>
                <a:cxn ang="0">
                  <a:pos x="1274" y="174"/>
                </a:cxn>
                <a:cxn ang="0">
                  <a:pos x="1232" y="172"/>
                </a:cxn>
                <a:cxn ang="0">
                  <a:pos x="1191" y="174"/>
                </a:cxn>
                <a:cxn ang="0">
                  <a:pos x="1153" y="260"/>
                </a:cxn>
                <a:cxn ang="0">
                  <a:pos x="1085" y="260"/>
                </a:cxn>
                <a:cxn ang="0">
                  <a:pos x="1051" y="210"/>
                </a:cxn>
                <a:cxn ang="0">
                  <a:pos x="1006" y="225"/>
                </a:cxn>
                <a:cxn ang="0">
                  <a:pos x="975" y="260"/>
                </a:cxn>
                <a:cxn ang="0">
                  <a:pos x="953" y="260"/>
                </a:cxn>
                <a:cxn ang="0">
                  <a:pos x="931" y="225"/>
                </a:cxn>
                <a:cxn ang="0">
                  <a:pos x="922" y="177"/>
                </a:cxn>
                <a:cxn ang="0">
                  <a:pos x="847" y="162"/>
                </a:cxn>
                <a:cxn ang="0">
                  <a:pos x="786" y="260"/>
                </a:cxn>
                <a:cxn ang="0">
                  <a:pos x="632" y="296"/>
                </a:cxn>
                <a:cxn ang="0">
                  <a:pos x="549" y="296"/>
                </a:cxn>
                <a:cxn ang="0">
                  <a:pos x="520" y="304"/>
                </a:cxn>
                <a:cxn ang="0">
                  <a:pos x="496" y="215"/>
                </a:cxn>
                <a:cxn ang="0">
                  <a:pos x="478" y="179"/>
                </a:cxn>
                <a:cxn ang="0">
                  <a:pos x="454" y="280"/>
                </a:cxn>
                <a:cxn ang="0">
                  <a:pos x="389" y="102"/>
                </a:cxn>
                <a:cxn ang="0">
                  <a:pos x="318" y="296"/>
                </a:cxn>
                <a:cxn ang="0">
                  <a:pos x="259" y="113"/>
                </a:cxn>
                <a:cxn ang="0">
                  <a:pos x="193" y="214"/>
                </a:cxn>
                <a:cxn ang="0">
                  <a:pos x="109" y="77"/>
                </a:cxn>
                <a:cxn ang="0">
                  <a:pos x="75" y="296"/>
                </a:cxn>
                <a:cxn ang="0">
                  <a:pos x="14" y="296"/>
                </a:cxn>
                <a:cxn ang="0">
                  <a:pos x="2348" y="603"/>
                </a:cxn>
              </a:cxnLst>
              <a:rect l="0" t="0" r="r" b="b"/>
              <a:pathLst>
                <a:path w="3132" h="603">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4" name="Freeform 36"/>
            <p:cNvSpPr>
              <a:spLocks noEditPoints="1"/>
            </p:cNvSpPr>
            <p:nvPr userDrawn="1"/>
          </p:nvSpPr>
          <p:spPr bwMode="auto">
            <a:xfrm>
              <a:off x="4457700" y="6338888"/>
              <a:ext cx="396875" cy="88900"/>
            </a:xfrm>
            <a:custGeom>
              <a:avLst/>
              <a:gdLst/>
              <a:ahLst/>
              <a:cxnLst>
                <a:cxn ang="0">
                  <a:pos x="1054" y="119"/>
                </a:cxn>
                <a:cxn ang="0">
                  <a:pos x="967" y="119"/>
                </a:cxn>
                <a:cxn ang="0">
                  <a:pos x="949" y="150"/>
                </a:cxn>
                <a:cxn ang="0">
                  <a:pos x="902" y="130"/>
                </a:cxn>
                <a:cxn ang="0">
                  <a:pos x="871" y="120"/>
                </a:cxn>
                <a:cxn ang="0">
                  <a:pos x="849" y="99"/>
                </a:cxn>
                <a:cxn ang="0">
                  <a:pos x="812" y="87"/>
                </a:cxn>
                <a:cxn ang="0">
                  <a:pos x="782" y="87"/>
                </a:cxn>
                <a:cxn ang="0">
                  <a:pos x="744" y="99"/>
                </a:cxn>
                <a:cxn ang="0">
                  <a:pos x="727" y="112"/>
                </a:cxn>
                <a:cxn ang="0">
                  <a:pos x="720" y="130"/>
                </a:cxn>
                <a:cxn ang="0">
                  <a:pos x="703" y="41"/>
                </a:cxn>
                <a:cxn ang="0">
                  <a:pos x="691" y="0"/>
                </a:cxn>
                <a:cxn ang="0">
                  <a:pos x="662" y="41"/>
                </a:cxn>
                <a:cxn ang="0">
                  <a:pos x="621" y="130"/>
                </a:cxn>
                <a:cxn ang="0">
                  <a:pos x="571" y="137"/>
                </a:cxn>
                <a:cxn ang="0">
                  <a:pos x="544" y="185"/>
                </a:cxn>
                <a:cxn ang="0">
                  <a:pos x="522" y="154"/>
                </a:cxn>
                <a:cxn ang="0">
                  <a:pos x="503" y="106"/>
                </a:cxn>
                <a:cxn ang="0">
                  <a:pos x="487" y="93"/>
                </a:cxn>
                <a:cxn ang="0">
                  <a:pos x="446" y="106"/>
                </a:cxn>
                <a:cxn ang="0">
                  <a:pos x="428" y="154"/>
                </a:cxn>
                <a:cxn ang="0">
                  <a:pos x="416" y="106"/>
                </a:cxn>
                <a:cxn ang="0">
                  <a:pos x="378" y="72"/>
                </a:cxn>
                <a:cxn ang="0">
                  <a:pos x="348" y="106"/>
                </a:cxn>
                <a:cxn ang="0">
                  <a:pos x="340" y="154"/>
                </a:cxn>
                <a:cxn ang="0">
                  <a:pos x="328" y="130"/>
                </a:cxn>
                <a:cxn ang="0">
                  <a:pos x="299" y="154"/>
                </a:cxn>
                <a:cxn ang="0">
                  <a:pos x="287" y="183"/>
                </a:cxn>
                <a:cxn ang="0">
                  <a:pos x="270" y="165"/>
                </a:cxn>
                <a:cxn ang="0">
                  <a:pos x="188" y="183"/>
                </a:cxn>
                <a:cxn ang="0">
                  <a:pos x="164" y="89"/>
                </a:cxn>
                <a:cxn ang="0">
                  <a:pos x="135" y="71"/>
                </a:cxn>
                <a:cxn ang="0">
                  <a:pos x="70" y="89"/>
                </a:cxn>
                <a:cxn ang="0">
                  <a:pos x="53" y="185"/>
                </a:cxn>
                <a:cxn ang="0">
                  <a:pos x="41" y="154"/>
                </a:cxn>
                <a:cxn ang="0">
                  <a:pos x="12" y="185"/>
                </a:cxn>
                <a:cxn ang="0">
                  <a:pos x="0" y="278"/>
                </a:cxn>
                <a:cxn ang="0">
                  <a:pos x="1249" y="278"/>
                </a:cxn>
                <a:cxn ang="0">
                  <a:pos x="1219" y="137"/>
                </a:cxn>
                <a:cxn ang="0">
                  <a:pos x="1201" y="88"/>
                </a:cxn>
                <a:cxn ang="0">
                  <a:pos x="967" y="119"/>
                </a:cxn>
              </a:cxnLst>
              <a:rect l="0" t="0" r="r" b="b"/>
              <a:pathLst>
                <a:path w="1249" h="278">
                  <a:moveTo>
                    <a:pt x="1078" y="119"/>
                  </a:moveTo>
                  <a:lnTo>
                    <a:pt x="1054" y="119"/>
                  </a:lnTo>
                  <a:lnTo>
                    <a:pt x="1078" y="119"/>
                  </a:lnTo>
                  <a:close/>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5" name="Freeform 37"/>
            <p:cNvSpPr>
              <a:spLocks/>
            </p:cNvSpPr>
            <p:nvPr userDrawn="1"/>
          </p:nvSpPr>
          <p:spPr bwMode="auto">
            <a:xfrm>
              <a:off x="4792663" y="6376988"/>
              <a:ext cx="7938" cy="1588"/>
            </a:xfrm>
            <a:custGeom>
              <a:avLst/>
              <a:gdLst/>
              <a:ahLst/>
              <a:cxnLst>
                <a:cxn ang="0">
                  <a:pos x="24" y="0"/>
                </a:cxn>
                <a:cxn ang="0">
                  <a:pos x="0" y="0"/>
                </a:cxn>
                <a:cxn ang="0">
                  <a:pos x="24" y="0"/>
                </a:cxn>
              </a:cxnLst>
              <a:rect l="0" t="0" r="r" b="b"/>
              <a:pathLst>
                <a:path w="24">
                  <a:moveTo>
                    <a:pt x="24" y="0"/>
                  </a:moveTo>
                  <a:lnTo>
                    <a:pt x="0" y="0"/>
                  </a:lnTo>
                  <a:lnTo>
                    <a:pt x="24"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6" name="Freeform 38"/>
            <p:cNvSpPr>
              <a:spLocks/>
            </p:cNvSpPr>
            <p:nvPr userDrawn="1"/>
          </p:nvSpPr>
          <p:spPr bwMode="auto">
            <a:xfrm>
              <a:off x="4457700" y="6338888"/>
              <a:ext cx="396875" cy="88900"/>
            </a:xfrm>
            <a:custGeom>
              <a:avLst/>
              <a:gdLst/>
              <a:ahLst/>
              <a:cxnLst>
                <a:cxn ang="0">
                  <a:pos x="949" y="119"/>
                </a:cxn>
                <a:cxn ang="0">
                  <a:pos x="902" y="150"/>
                </a:cxn>
                <a:cxn ang="0">
                  <a:pos x="873" y="130"/>
                </a:cxn>
                <a:cxn ang="0">
                  <a:pos x="866" y="112"/>
                </a:cxn>
                <a:cxn ang="0">
                  <a:pos x="825" y="89"/>
                </a:cxn>
                <a:cxn ang="0">
                  <a:pos x="797" y="85"/>
                </a:cxn>
                <a:cxn ang="0">
                  <a:pos x="768" y="89"/>
                </a:cxn>
                <a:cxn ang="0">
                  <a:pos x="735" y="105"/>
                </a:cxn>
                <a:cxn ang="0">
                  <a:pos x="723" y="120"/>
                </a:cxn>
                <a:cxn ang="0">
                  <a:pos x="703" y="130"/>
                </a:cxn>
                <a:cxn ang="0">
                  <a:pos x="691" y="41"/>
                </a:cxn>
                <a:cxn ang="0">
                  <a:pos x="662" y="0"/>
                </a:cxn>
                <a:cxn ang="0">
                  <a:pos x="621" y="41"/>
                </a:cxn>
                <a:cxn ang="0">
                  <a:pos x="597" y="130"/>
                </a:cxn>
                <a:cxn ang="0">
                  <a:pos x="544" y="137"/>
                </a:cxn>
                <a:cxn ang="0">
                  <a:pos x="522" y="185"/>
                </a:cxn>
                <a:cxn ang="0">
                  <a:pos x="503" y="154"/>
                </a:cxn>
                <a:cxn ang="0">
                  <a:pos x="487" y="106"/>
                </a:cxn>
                <a:cxn ang="0">
                  <a:pos x="446" y="93"/>
                </a:cxn>
                <a:cxn ang="0">
                  <a:pos x="428" y="106"/>
                </a:cxn>
                <a:cxn ang="0">
                  <a:pos x="416" y="154"/>
                </a:cxn>
                <a:cxn ang="0">
                  <a:pos x="378" y="106"/>
                </a:cxn>
                <a:cxn ang="0">
                  <a:pos x="348" y="72"/>
                </a:cxn>
                <a:cxn ang="0">
                  <a:pos x="340" y="106"/>
                </a:cxn>
                <a:cxn ang="0">
                  <a:pos x="328" y="154"/>
                </a:cxn>
                <a:cxn ang="0">
                  <a:pos x="299" y="130"/>
                </a:cxn>
                <a:cxn ang="0">
                  <a:pos x="287" y="154"/>
                </a:cxn>
                <a:cxn ang="0">
                  <a:pos x="270" y="183"/>
                </a:cxn>
                <a:cxn ang="0">
                  <a:pos x="188" y="165"/>
                </a:cxn>
                <a:cxn ang="0">
                  <a:pos x="164" y="183"/>
                </a:cxn>
                <a:cxn ang="0">
                  <a:pos x="135" y="89"/>
                </a:cxn>
                <a:cxn ang="0">
                  <a:pos x="70" y="71"/>
                </a:cxn>
                <a:cxn ang="0">
                  <a:pos x="53" y="89"/>
                </a:cxn>
                <a:cxn ang="0">
                  <a:pos x="41" y="185"/>
                </a:cxn>
                <a:cxn ang="0">
                  <a:pos x="12" y="154"/>
                </a:cxn>
                <a:cxn ang="0">
                  <a:pos x="0" y="185"/>
                </a:cxn>
                <a:cxn ang="0">
                  <a:pos x="624" y="278"/>
                </a:cxn>
                <a:cxn ang="0">
                  <a:pos x="1219" y="65"/>
                </a:cxn>
                <a:cxn ang="0">
                  <a:pos x="1201" y="137"/>
                </a:cxn>
                <a:cxn ang="0">
                  <a:pos x="1172" y="88"/>
                </a:cxn>
              </a:cxnLst>
              <a:rect l="0" t="0" r="r" b="b"/>
              <a:pathLst>
                <a:path w="1249" h="278">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7" name="Rectangle 39"/>
            <p:cNvSpPr>
              <a:spLocks noChangeArrowheads="1"/>
            </p:cNvSpPr>
            <p:nvPr userDrawn="1"/>
          </p:nvSpPr>
          <p:spPr bwMode="auto">
            <a:xfrm>
              <a:off x="4456113" y="6421438"/>
              <a:ext cx="244475" cy="34925"/>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8" name="Freeform 40"/>
            <p:cNvSpPr>
              <a:spLocks/>
            </p:cNvSpPr>
            <p:nvPr userDrawn="1"/>
          </p:nvSpPr>
          <p:spPr bwMode="auto">
            <a:xfrm>
              <a:off x="6640513" y="6462713"/>
              <a:ext cx="7938" cy="12700"/>
            </a:xfrm>
            <a:custGeom>
              <a:avLst/>
              <a:gdLst/>
              <a:ahLst/>
              <a:cxnLst>
                <a:cxn ang="0">
                  <a:pos x="17" y="39"/>
                </a:cxn>
                <a:cxn ang="0">
                  <a:pos x="18" y="39"/>
                </a:cxn>
                <a:cxn ang="0">
                  <a:pos x="20" y="39"/>
                </a:cxn>
                <a:cxn ang="0">
                  <a:pos x="20" y="40"/>
                </a:cxn>
                <a:cxn ang="0">
                  <a:pos x="21" y="40"/>
                </a:cxn>
                <a:cxn ang="0">
                  <a:pos x="21" y="41"/>
                </a:cxn>
                <a:cxn ang="0">
                  <a:pos x="22" y="41"/>
                </a:cxn>
                <a:cxn ang="0">
                  <a:pos x="22" y="42"/>
                </a:cxn>
                <a:cxn ang="0">
                  <a:pos x="23" y="36"/>
                </a:cxn>
                <a:cxn ang="0">
                  <a:pos x="23" y="28"/>
                </a:cxn>
                <a:cxn ang="0">
                  <a:pos x="23" y="23"/>
                </a:cxn>
                <a:cxn ang="0">
                  <a:pos x="21" y="21"/>
                </a:cxn>
                <a:cxn ang="0">
                  <a:pos x="18" y="15"/>
                </a:cxn>
                <a:cxn ang="0">
                  <a:pos x="16" y="8"/>
                </a:cxn>
                <a:cxn ang="0">
                  <a:pos x="17" y="4"/>
                </a:cxn>
                <a:cxn ang="0">
                  <a:pos x="14" y="3"/>
                </a:cxn>
                <a:cxn ang="0">
                  <a:pos x="12" y="2"/>
                </a:cxn>
                <a:cxn ang="0">
                  <a:pos x="11" y="0"/>
                </a:cxn>
                <a:cxn ang="0">
                  <a:pos x="8" y="5"/>
                </a:cxn>
                <a:cxn ang="0">
                  <a:pos x="3" y="11"/>
                </a:cxn>
                <a:cxn ang="0">
                  <a:pos x="0" y="14"/>
                </a:cxn>
                <a:cxn ang="0">
                  <a:pos x="0" y="16"/>
                </a:cxn>
                <a:cxn ang="0">
                  <a:pos x="4" y="22"/>
                </a:cxn>
                <a:cxn ang="0">
                  <a:pos x="5" y="26"/>
                </a:cxn>
                <a:cxn ang="0">
                  <a:pos x="5" y="24"/>
                </a:cxn>
                <a:cxn ang="0">
                  <a:pos x="6" y="24"/>
                </a:cxn>
                <a:cxn ang="0">
                  <a:pos x="5" y="24"/>
                </a:cxn>
                <a:cxn ang="0">
                  <a:pos x="5" y="23"/>
                </a:cxn>
                <a:cxn ang="0">
                  <a:pos x="5" y="22"/>
                </a:cxn>
                <a:cxn ang="0">
                  <a:pos x="6" y="22"/>
                </a:cxn>
                <a:cxn ang="0">
                  <a:pos x="8" y="22"/>
                </a:cxn>
                <a:cxn ang="0">
                  <a:pos x="9" y="22"/>
                </a:cxn>
                <a:cxn ang="0">
                  <a:pos x="9" y="23"/>
                </a:cxn>
                <a:cxn ang="0">
                  <a:pos x="9" y="24"/>
                </a:cxn>
                <a:cxn ang="0">
                  <a:pos x="9" y="26"/>
                </a:cxn>
                <a:cxn ang="0">
                  <a:pos x="9" y="24"/>
                </a:cxn>
                <a:cxn ang="0">
                  <a:pos x="10" y="23"/>
                </a:cxn>
                <a:cxn ang="0">
                  <a:pos x="10" y="24"/>
                </a:cxn>
                <a:cxn ang="0">
                  <a:pos x="11" y="24"/>
                </a:cxn>
                <a:cxn ang="0">
                  <a:pos x="11" y="26"/>
                </a:cxn>
                <a:cxn ang="0">
                  <a:pos x="12" y="27"/>
                </a:cxn>
                <a:cxn ang="0">
                  <a:pos x="12" y="26"/>
                </a:cxn>
                <a:cxn ang="0">
                  <a:pos x="14" y="27"/>
                </a:cxn>
                <a:cxn ang="0">
                  <a:pos x="14" y="28"/>
                </a:cxn>
                <a:cxn ang="0">
                  <a:pos x="14" y="29"/>
                </a:cxn>
                <a:cxn ang="0">
                  <a:pos x="15" y="30"/>
                </a:cxn>
                <a:cxn ang="0">
                  <a:pos x="15" y="29"/>
                </a:cxn>
                <a:cxn ang="0">
                  <a:pos x="16" y="29"/>
                </a:cxn>
                <a:cxn ang="0">
                  <a:pos x="17" y="30"/>
                </a:cxn>
                <a:cxn ang="0">
                  <a:pos x="17" y="32"/>
                </a:cxn>
                <a:cxn ang="0">
                  <a:pos x="17" y="33"/>
                </a:cxn>
                <a:cxn ang="0">
                  <a:pos x="16" y="33"/>
                </a:cxn>
                <a:cxn ang="0">
                  <a:pos x="16" y="32"/>
                </a:cxn>
                <a:cxn ang="0">
                  <a:pos x="15" y="32"/>
                </a:cxn>
                <a:cxn ang="0">
                  <a:pos x="15" y="33"/>
                </a:cxn>
                <a:cxn ang="0">
                  <a:pos x="16" y="33"/>
                </a:cxn>
                <a:cxn ang="0">
                  <a:pos x="16" y="34"/>
                </a:cxn>
                <a:cxn ang="0">
                  <a:pos x="16" y="35"/>
                </a:cxn>
                <a:cxn ang="0">
                  <a:pos x="17" y="38"/>
                </a:cxn>
                <a:cxn ang="0">
                  <a:pos x="17" y="39"/>
                </a:cxn>
              </a:cxnLst>
              <a:rect l="0" t="0" r="r" b="b"/>
              <a:pathLst>
                <a:path w="23" h="42">
                  <a:moveTo>
                    <a:pt x="17" y="39"/>
                  </a:moveTo>
                  <a:lnTo>
                    <a:pt x="18" y="39"/>
                  </a:lnTo>
                  <a:lnTo>
                    <a:pt x="20" y="39"/>
                  </a:lnTo>
                  <a:lnTo>
                    <a:pt x="20" y="40"/>
                  </a:lnTo>
                  <a:lnTo>
                    <a:pt x="21" y="40"/>
                  </a:lnTo>
                  <a:lnTo>
                    <a:pt x="21" y="41"/>
                  </a:lnTo>
                  <a:lnTo>
                    <a:pt x="22" y="41"/>
                  </a:lnTo>
                  <a:lnTo>
                    <a:pt x="22" y="42"/>
                  </a:lnTo>
                  <a:lnTo>
                    <a:pt x="23" y="36"/>
                  </a:lnTo>
                  <a:lnTo>
                    <a:pt x="23" y="28"/>
                  </a:lnTo>
                  <a:lnTo>
                    <a:pt x="23" y="23"/>
                  </a:lnTo>
                  <a:lnTo>
                    <a:pt x="21" y="21"/>
                  </a:lnTo>
                  <a:lnTo>
                    <a:pt x="18" y="15"/>
                  </a:lnTo>
                  <a:lnTo>
                    <a:pt x="16" y="8"/>
                  </a:lnTo>
                  <a:lnTo>
                    <a:pt x="17" y="4"/>
                  </a:lnTo>
                  <a:lnTo>
                    <a:pt x="14" y="3"/>
                  </a:lnTo>
                  <a:lnTo>
                    <a:pt x="12" y="2"/>
                  </a:lnTo>
                  <a:lnTo>
                    <a:pt x="11" y="0"/>
                  </a:lnTo>
                  <a:lnTo>
                    <a:pt x="8" y="5"/>
                  </a:lnTo>
                  <a:lnTo>
                    <a:pt x="3" y="11"/>
                  </a:lnTo>
                  <a:lnTo>
                    <a:pt x="0" y="14"/>
                  </a:lnTo>
                  <a:lnTo>
                    <a:pt x="0" y="16"/>
                  </a:lnTo>
                  <a:lnTo>
                    <a:pt x="4" y="22"/>
                  </a:lnTo>
                  <a:lnTo>
                    <a:pt x="5" y="26"/>
                  </a:lnTo>
                  <a:lnTo>
                    <a:pt x="5" y="24"/>
                  </a:lnTo>
                  <a:lnTo>
                    <a:pt x="6" y="24"/>
                  </a:lnTo>
                  <a:lnTo>
                    <a:pt x="5" y="24"/>
                  </a:lnTo>
                  <a:lnTo>
                    <a:pt x="5" y="23"/>
                  </a:lnTo>
                  <a:lnTo>
                    <a:pt x="5" y="22"/>
                  </a:lnTo>
                  <a:lnTo>
                    <a:pt x="6" y="22"/>
                  </a:lnTo>
                  <a:lnTo>
                    <a:pt x="8" y="22"/>
                  </a:lnTo>
                  <a:lnTo>
                    <a:pt x="9" y="22"/>
                  </a:lnTo>
                  <a:lnTo>
                    <a:pt x="9" y="23"/>
                  </a:lnTo>
                  <a:lnTo>
                    <a:pt x="9" y="24"/>
                  </a:lnTo>
                  <a:lnTo>
                    <a:pt x="9" y="26"/>
                  </a:lnTo>
                  <a:lnTo>
                    <a:pt x="9" y="24"/>
                  </a:lnTo>
                  <a:lnTo>
                    <a:pt x="10" y="23"/>
                  </a:lnTo>
                  <a:lnTo>
                    <a:pt x="10" y="24"/>
                  </a:lnTo>
                  <a:lnTo>
                    <a:pt x="11" y="24"/>
                  </a:lnTo>
                  <a:lnTo>
                    <a:pt x="11" y="26"/>
                  </a:lnTo>
                  <a:lnTo>
                    <a:pt x="12" y="27"/>
                  </a:lnTo>
                  <a:lnTo>
                    <a:pt x="12" y="26"/>
                  </a:lnTo>
                  <a:lnTo>
                    <a:pt x="14" y="27"/>
                  </a:lnTo>
                  <a:lnTo>
                    <a:pt x="14" y="28"/>
                  </a:lnTo>
                  <a:lnTo>
                    <a:pt x="14" y="29"/>
                  </a:lnTo>
                  <a:lnTo>
                    <a:pt x="15" y="30"/>
                  </a:lnTo>
                  <a:lnTo>
                    <a:pt x="15" y="29"/>
                  </a:lnTo>
                  <a:lnTo>
                    <a:pt x="16" y="29"/>
                  </a:lnTo>
                  <a:lnTo>
                    <a:pt x="17" y="30"/>
                  </a:lnTo>
                  <a:lnTo>
                    <a:pt x="17" y="32"/>
                  </a:lnTo>
                  <a:lnTo>
                    <a:pt x="17" y="33"/>
                  </a:lnTo>
                  <a:lnTo>
                    <a:pt x="16" y="33"/>
                  </a:lnTo>
                  <a:lnTo>
                    <a:pt x="16" y="32"/>
                  </a:lnTo>
                  <a:lnTo>
                    <a:pt x="15" y="32"/>
                  </a:lnTo>
                  <a:lnTo>
                    <a:pt x="15" y="33"/>
                  </a:lnTo>
                  <a:lnTo>
                    <a:pt x="16" y="33"/>
                  </a:lnTo>
                  <a:lnTo>
                    <a:pt x="16" y="34"/>
                  </a:lnTo>
                  <a:lnTo>
                    <a:pt x="16" y="35"/>
                  </a:lnTo>
                  <a:lnTo>
                    <a:pt x="17" y="38"/>
                  </a:lnTo>
                  <a:lnTo>
                    <a:pt x="17" y="3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9" name="Freeform 41"/>
            <p:cNvSpPr>
              <a:spLocks/>
            </p:cNvSpPr>
            <p:nvPr userDrawn="1"/>
          </p:nvSpPr>
          <p:spPr bwMode="auto">
            <a:xfrm>
              <a:off x="6640513" y="6467476"/>
              <a:ext cx="1588" cy="6350"/>
            </a:xfrm>
            <a:custGeom>
              <a:avLst/>
              <a:gdLst/>
              <a:ahLst/>
              <a:cxnLst>
                <a:cxn ang="0">
                  <a:pos x="7" y="18"/>
                </a:cxn>
                <a:cxn ang="0">
                  <a:pos x="6" y="19"/>
                </a:cxn>
                <a:cxn ang="0">
                  <a:pos x="7" y="19"/>
                </a:cxn>
                <a:cxn ang="0">
                  <a:pos x="6" y="20"/>
                </a:cxn>
                <a:cxn ang="0">
                  <a:pos x="4" y="19"/>
                </a:cxn>
                <a:cxn ang="0">
                  <a:pos x="2" y="14"/>
                </a:cxn>
                <a:cxn ang="0">
                  <a:pos x="1" y="11"/>
                </a:cxn>
                <a:cxn ang="0">
                  <a:pos x="1" y="6"/>
                </a:cxn>
                <a:cxn ang="0">
                  <a:pos x="0" y="0"/>
                </a:cxn>
                <a:cxn ang="0">
                  <a:pos x="3" y="5"/>
                </a:cxn>
                <a:cxn ang="0">
                  <a:pos x="6" y="11"/>
                </a:cxn>
                <a:cxn ang="0">
                  <a:pos x="7" y="13"/>
                </a:cxn>
                <a:cxn ang="0">
                  <a:pos x="6" y="14"/>
                </a:cxn>
                <a:cxn ang="0">
                  <a:pos x="6" y="16"/>
                </a:cxn>
                <a:cxn ang="0">
                  <a:pos x="7" y="14"/>
                </a:cxn>
                <a:cxn ang="0">
                  <a:pos x="6" y="16"/>
                </a:cxn>
                <a:cxn ang="0">
                  <a:pos x="7" y="17"/>
                </a:cxn>
                <a:cxn ang="0">
                  <a:pos x="7" y="16"/>
                </a:cxn>
                <a:cxn ang="0">
                  <a:pos x="7" y="17"/>
                </a:cxn>
                <a:cxn ang="0">
                  <a:pos x="6" y="18"/>
                </a:cxn>
                <a:cxn ang="0">
                  <a:pos x="7" y="18"/>
                </a:cxn>
              </a:cxnLst>
              <a:rect l="0" t="0" r="r" b="b"/>
              <a:pathLst>
                <a:path w="7" h="20">
                  <a:moveTo>
                    <a:pt x="7" y="18"/>
                  </a:moveTo>
                  <a:lnTo>
                    <a:pt x="6" y="19"/>
                  </a:lnTo>
                  <a:lnTo>
                    <a:pt x="7" y="19"/>
                  </a:lnTo>
                  <a:lnTo>
                    <a:pt x="6" y="20"/>
                  </a:lnTo>
                  <a:lnTo>
                    <a:pt x="4" y="19"/>
                  </a:lnTo>
                  <a:lnTo>
                    <a:pt x="2" y="14"/>
                  </a:lnTo>
                  <a:lnTo>
                    <a:pt x="1" y="11"/>
                  </a:lnTo>
                  <a:lnTo>
                    <a:pt x="1" y="6"/>
                  </a:lnTo>
                  <a:lnTo>
                    <a:pt x="0" y="0"/>
                  </a:lnTo>
                  <a:lnTo>
                    <a:pt x="3" y="5"/>
                  </a:lnTo>
                  <a:lnTo>
                    <a:pt x="6" y="11"/>
                  </a:lnTo>
                  <a:lnTo>
                    <a:pt x="7" y="13"/>
                  </a:lnTo>
                  <a:lnTo>
                    <a:pt x="6" y="14"/>
                  </a:lnTo>
                  <a:lnTo>
                    <a:pt x="6" y="16"/>
                  </a:lnTo>
                  <a:lnTo>
                    <a:pt x="7" y="14"/>
                  </a:lnTo>
                  <a:lnTo>
                    <a:pt x="6" y="16"/>
                  </a:lnTo>
                  <a:lnTo>
                    <a:pt x="7" y="17"/>
                  </a:lnTo>
                  <a:lnTo>
                    <a:pt x="7" y="16"/>
                  </a:lnTo>
                  <a:lnTo>
                    <a:pt x="7" y="17"/>
                  </a:lnTo>
                  <a:lnTo>
                    <a:pt x="6" y="18"/>
                  </a:lnTo>
                  <a:lnTo>
                    <a:pt x="7" y="1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0" name="Freeform 42"/>
            <p:cNvSpPr>
              <a:spLocks/>
            </p:cNvSpPr>
            <p:nvPr userDrawn="1"/>
          </p:nvSpPr>
          <p:spPr bwMode="auto">
            <a:xfrm>
              <a:off x="6642100" y="6475413"/>
              <a:ext cx="3175" cy="12700"/>
            </a:xfrm>
            <a:custGeom>
              <a:avLst/>
              <a:gdLst/>
              <a:ahLst/>
              <a:cxnLst>
                <a:cxn ang="0">
                  <a:pos x="6" y="38"/>
                </a:cxn>
                <a:cxn ang="0">
                  <a:pos x="5" y="35"/>
                </a:cxn>
                <a:cxn ang="0">
                  <a:pos x="5" y="26"/>
                </a:cxn>
                <a:cxn ang="0">
                  <a:pos x="3" y="14"/>
                </a:cxn>
                <a:cxn ang="0">
                  <a:pos x="2" y="8"/>
                </a:cxn>
                <a:cxn ang="0">
                  <a:pos x="0" y="2"/>
                </a:cxn>
                <a:cxn ang="0">
                  <a:pos x="0" y="0"/>
                </a:cxn>
                <a:cxn ang="0">
                  <a:pos x="1" y="0"/>
                </a:cxn>
                <a:cxn ang="0">
                  <a:pos x="2" y="0"/>
                </a:cxn>
                <a:cxn ang="0">
                  <a:pos x="3" y="0"/>
                </a:cxn>
                <a:cxn ang="0">
                  <a:pos x="3" y="1"/>
                </a:cxn>
                <a:cxn ang="0">
                  <a:pos x="3" y="4"/>
                </a:cxn>
                <a:cxn ang="0">
                  <a:pos x="3" y="6"/>
                </a:cxn>
                <a:cxn ang="0">
                  <a:pos x="3" y="7"/>
                </a:cxn>
                <a:cxn ang="0">
                  <a:pos x="5" y="8"/>
                </a:cxn>
                <a:cxn ang="0">
                  <a:pos x="5" y="9"/>
                </a:cxn>
                <a:cxn ang="0">
                  <a:pos x="6" y="9"/>
                </a:cxn>
                <a:cxn ang="0">
                  <a:pos x="6" y="10"/>
                </a:cxn>
                <a:cxn ang="0">
                  <a:pos x="6" y="12"/>
                </a:cxn>
                <a:cxn ang="0">
                  <a:pos x="7" y="10"/>
                </a:cxn>
                <a:cxn ang="0">
                  <a:pos x="7" y="12"/>
                </a:cxn>
                <a:cxn ang="0">
                  <a:pos x="6" y="13"/>
                </a:cxn>
                <a:cxn ang="0">
                  <a:pos x="6" y="14"/>
                </a:cxn>
                <a:cxn ang="0">
                  <a:pos x="6" y="15"/>
                </a:cxn>
                <a:cxn ang="0">
                  <a:pos x="6" y="14"/>
                </a:cxn>
                <a:cxn ang="0">
                  <a:pos x="7" y="14"/>
                </a:cxn>
                <a:cxn ang="0">
                  <a:pos x="6" y="15"/>
                </a:cxn>
                <a:cxn ang="0">
                  <a:pos x="6" y="17"/>
                </a:cxn>
                <a:cxn ang="0">
                  <a:pos x="7" y="15"/>
                </a:cxn>
                <a:cxn ang="0">
                  <a:pos x="7" y="14"/>
                </a:cxn>
                <a:cxn ang="0">
                  <a:pos x="7" y="15"/>
                </a:cxn>
                <a:cxn ang="0">
                  <a:pos x="8" y="17"/>
                </a:cxn>
                <a:cxn ang="0">
                  <a:pos x="8" y="18"/>
                </a:cxn>
                <a:cxn ang="0">
                  <a:pos x="8" y="20"/>
                </a:cxn>
                <a:cxn ang="0">
                  <a:pos x="9" y="25"/>
                </a:cxn>
                <a:cxn ang="0">
                  <a:pos x="11" y="29"/>
                </a:cxn>
                <a:cxn ang="0">
                  <a:pos x="8" y="35"/>
                </a:cxn>
                <a:cxn ang="0">
                  <a:pos x="7" y="36"/>
                </a:cxn>
                <a:cxn ang="0">
                  <a:pos x="6" y="38"/>
                </a:cxn>
              </a:cxnLst>
              <a:rect l="0" t="0" r="r" b="b"/>
              <a:pathLst>
                <a:path w="11" h="38">
                  <a:moveTo>
                    <a:pt x="6" y="38"/>
                  </a:moveTo>
                  <a:lnTo>
                    <a:pt x="5" y="35"/>
                  </a:lnTo>
                  <a:lnTo>
                    <a:pt x="5" y="26"/>
                  </a:lnTo>
                  <a:lnTo>
                    <a:pt x="3" y="14"/>
                  </a:lnTo>
                  <a:lnTo>
                    <a:pt x="2" y="8"/>
                  </a:lnTo>
                  <a:lnTo>
                    <a:pt x="0" y="2"/>
                  </a:lnTo>
                  <a:lnTo>
                    <a:pt x="0" y="0"/>
                  </a:lnTo>
                  <a:lnTo>
                    <a:pt x="1" y="0"/>
                  </a:lnTo>
                  <a:lnTo>
                    <a:pt x="2" y="0"/>
                  </a:lnTo>
                  <a:lnTo>
                    <a:pt x="3" y="0"/>
                  </a:lnTo>
                  <a:lnTo>
                    <a:pt x="3" y="1"/>
                  </a:lnTo>
                  <a:lnTo>
                    <a:pt x="3" y="4"/>
                  </a:lnTo>
                  <a:lnTo>
                    <a:pt x="3" y="6"/>
                  </a:lnTo>
                  <a:lnTo>
                    <a:pt x="3" y="7"/>
                  </a:lnTo>
                  <a:lnTo>
                    <a:pt x="5" y="8"/>
                  </a:lnTo>
                  <a:lnTo>
                    <a:pt x="5" y="9"/>
                  </a:lnTo>
                  <a:lnTo>
                    <a:pt x="6" y="9"/>
                  </a:lnTo>
                  <a:lnTo>
                    <a:pt x="6" y="10"/>
                  </a:lnTo>
                  <a:lnTo>
                    <a:pt x="6" y="12"/>
                  </a:lnTo>
                  <a:lnTo>
                    <a:pt x="7" y="10"/>
                  </a:lnTo>
                  <a:lnTo>
                    <a:pt x="7" y="12"/>
                  </a:lnTo>
                  <a:lnTo>
                    <a:pt x="6" y="13"/>
                  </a:lnTo>
                  <a:lnTo>
                    <a:pt x="6" y="14"/>
                  </a:lnTo>
                  <a:lnTo>
                    <a:pt x="6" y="15"/>
                  </a:lnTo>
                  <a:lnTo>
                    <a:pt x="6" y="14"/>
                  </a:lnTo>
                  <a:lnTo>
                    <a:pt x="7" y="14"/>
                  </a:lnTo>
                  <a:lnTo>
                    <a:pt x="6" y="15"/>
                  </a:lnTo>
                  <a:lnTo>
                    <a:pt x="6" y="17"/>
                  </a:lnTo>
                  <a:lnTo>
                    <a:pt x="7" y="15"/>
                  </a:lnTo>
                  <a:lnTo>
                    <a:pt x="7" y="14"/>
                  </a:lnTo>
                  <a:lnTo>
                    <a:pt x="7" y="15"/>
                  </a:lnTo>
                  <a:lnTo>
                    <a:pt x="8" y="17"/>
                  </a:lnTo>
                  <a:lnTo>
                    <a:pt x="8" y="18"/>
                  </a:lnTo>
                  <a:lnTo>
                    <a:pt x="8" y="20"/>
                  </a:lnTo>
                  <a:lnTo>
                    <a:pt x="9" y="25"/>
                  </a:lnTo>
                  <a:lnTo>
                    <a:pt x="11" y="29"/>
                  </a:lnTo>
                  <a:lnTo>
                    <a:pt x="8" y="35"/>
                  </a:lnTo>
                  <a:lnTo>
                    <a:pt x="7" y="36"/>
                  </a:lnTo>
                  <a:lnTo>
                    <a:pt x="6" y="3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1" name="Freeform 43"/>
            <p:cNvSpPr>
              <a:spLocks/>
            </p:cNvSpPr>
            <p:nvPr userDrawn="1"/>
          </p:nvSpPr>
          <p:spPr bwMode="auto">
            <a:xfrm>
              <a:off x="6640513" y="6459538"/>
              <a:ext cx="3175" cy="6350"/>
            </a:xfrm>
            <a:custGeom>
              <a:avLst/>
              <a:gdLst/>
              <a:ahLst/>
              <a:cxnLst>
                <a:cxn ang="0">
                  <a:pos x="10" y="4"/>
                </a:cxn>
                <a:cxn ang="0">
                  <a:pos x="10" y="5"/>
                </a:cxn>
                <a:cxn ang="0">
                  <a:pos x="10" y="6"/>
                </a:cxn>
                <a:cxn ang="0">
                  <a:pos x="10" y="7"/>
                </a:cxn>
                <a:cxn ang="0">
                  <a:pos x="7" y="12"/>
                </a:cxn>
                <a:cxn ang="0">
                  <a:pos x="0" y="21"/>
                </a:cxn>
                <a:cxn ang="0">
                  <a:pos x="0" y="17"/>
                </a:cxn>
                <a:cxn ang="0">
                  <a:pos x="0" y="10"/>
                </a:cxn>
                <a:cxn ang="0">
                  <a:pos x="0" y="7"/>
                </a:cxn>
                <a:cxn ang="0">
                  <a:pos x="0" y="9"/>
                </a:cxn>
                <a:cxn ang="0">
                  <a:pos x="0" y="7"/>
                </a:cxn>
                <a:cxn ang="0">
                  <a:pos x="0" y="6"/>
                </a:cxn>
                <a:cxn ang="0">
                  <a:pos x="0" y="5"/>
                </a:cxn>
                <a:cxn ang="0">
                  <a:pos x="0" y="4"/>
                </a:cxn>
                <a:cxn ang="0">
                  <a:pos x="1" y="4"/>
                </a:cxn>
                <a:cxn ang="0">
                  <a:pos x="0" y="5"/>
                </a:cxn>
                <a:cxn ang="0">
                  <a:pos x="1" y="5"/>
                </a:cxn>
                <a:cxn ang="0">
                  <a:pos x="1" y="6"/>
                </a:cxn>
                <a:cxn ang="0">
                  <a:pos x="3" y="6"/>
                </a:cxn>
                <a:cxn ang="0">
                  <a:pos x="3" y="5"/>
                </a:cxn>
                <a:cxn ang="0">
                  <a:pos x="3" y="4"/>
                </a:cxn>
                <a:cxn ang="0">
                  <a:pos x="3" y="3"/>
                </a:cxn>
                <a:cxn ang="0">
                  <a:pos x="1" y="3"/>
                </a:cxn>
                <a:cxn ang="0">
                  <a:pos x="1" y="1"/>
                </a:cxn>
                <a:cxn ang="0">
                  <a:pos x="1" y="3"/>
                </a:cxn>
                <a:cxn ang="0">
                  <a:pos x="0" y="3"/>
                </a:cxn>
                <a:cxn ang="0">
                  <a:pos x="0" y="1"/>
                </a:cxn>
                <a:cxn ang="0">
                  <a:pos x="0" y="0"/>
                </a:cxn>
                <a:cxn ang="0">
                  <a:pos x="1" y="0"/>
                </a:cxn>
                <a:cxn ang="0">
                  <a:pos x="3" y="0"/>
                </a:cxn>
                <a:cxn ang="0">
                  <a:pos x="3" y="1"/>
                </a:cxn>
                <a:cxn ang="0">
                  <a:pos x="4" y="1"/>
                </a:cxn>
                <a:cxn ang="0">
                  <a:pos x="4" y="3"/>
                </a:cxn>
                <a:cxn ang="0">
                  <a:pos x="5" y="3"/>
                </a:cxn>
                <a:cxn ang="0">
                  <a:pos x="5" y="4"/>
                </a:cxn>
                <a:cxn ang="0">
                  <a:pos x="5" y="3"/>
                </a:cxn>
                <a:cxn ang="0">
                  <a:pos x="6" y="3"/>
                </a:cxn>
                <a:cxn ang="0">
                  <a:pos x="6" y="4"/>
                </a:cxn>
                <a:cxn ang="0">
                  <a:pos x="5" y="5"/>
                </a:cxn>
                <a:cxn ang="0">
                  <a:pos x="6" y="5"/>
                </a:cxn>
                <a:cxn ang="0">
                  <a:pos x="7" y="4"/>
                </a:cxn>
                <a:cxn ang="0">
                  <a:pos x="7" y="3"/>
                </a:cxn>
                <a:cxn ang="0">
                  <a:pos x="7" y="4"/>
                </a:cxn>
                <a:cxn ang="0">
                  <a:pos x="9" y="4"/>
                </a:cxn>
                <a:cxn ang="0">
                  <a:pos x="9" y="5"/>
                </a:cxn>
                <a:cxn ang="0">
                  <a:pos x="9" y="6"/>
                </a:cxn>
                <a:cxn ang="0">
                  <a:pos x="9" y="5"/>
                </a:cxn>
                <a:cxn ang="0">
                  <a:pos x="10" y="5"/>
                </a:cxn>
                <a:cxn ang="0">
                  <a:pos x="10" y="4"/>
                </a:cxn>
              </a:cxnLst>
              <a:rect l="0" t="0" r="r" b="b"/>
              <a:pathLst>
                <a:path w="10" h="21">
                  <a:moveTo>
                    <a:pt x="10" y="4"/>
                  </a:moveTo>
                  <a:lnTo>
                    <a:pt x="10" y="5"/>
                  </a:lnTo>
                  <a:lnTo>
                    <a:pt x="10" y="6"/>
                  </a:lnTo>
                  <a:lnTo>
                    <a:pt x="10" y="7"/>
                  </a:lnTo>
                  <a:lnTo>
                    <a:pt x="7" y="12"/>
                  </a:lnTo>
                  <a:lnTo>
                    <a:pt x="0" y="21"/>
                  </a:lnTo>
                  <a:lnTo>
                    <a:pt x="0" y="17"/>
                  </a:lnTo>
                  <a:lnTo>
                    <a:pt x="0" y="10"/>
                  </a:lnTo>
                  <a:lnTo>
                    <a:pt x="0" y="7"/>
                  </a:lnTo>
                  <a:lnTo>
                    <a:pt x="0" y="9"/>
                  </a:lnTo>
                  <a:lnTo>
                    <a:pt x="0" y="7"/>
                  </a:lnTo>
                  <a:lnTo>
                    <a:pt x="0" y="6"/>
                  </a:lnTo>
                  <a:lnTo>
                    <a:pt x="0" y="5"/>
                  </a:lnTo>
                  <a:lnTo>
                    <a:pt x="0" y="4"/>
                  </a:lnTo>
                  <a:lnTo>
                    <a:pt x="1" y="4"/>
                  </a:lnTo>
                  <a:lnTo>
                    <a:pt x="0" y="5"/>
                  </a:lnTo>
                  <a:lnTo>
                    <a:pt x="1" y="5"/>
                  </a:lnTo>
                  <a:lnTo>
                    <a:pt x="1" y="6"/>
                  </a:lnTo>
                  <a:lnTo>
                    <a:pt x="3" y="6"/>
                  </a:lnTo>
                  <a:lnTo>
                    <a:pt x="3" y="5"/>
                  </a:lnTo>
                  <a:lnTo>
                    <a:pt x="3" y="4"/>
                  </a:lnTo>
                  <a:lnTo>
                    <a:pt x="3" y="3"/>
                  </a:lnTo>
                  <a:lnTo>
                    <a:pt x="1" y="3"/>
                  </a:lnTo>
                  <a:lnTo>
                    <a:pt x="1" y="1"/>
                  </a:lnTo>
                  <a:lnTo>
                    <a:pt x="1" y="3"/>
                  </a:lnTo>
                  <a:lnTo>
                    <a:pt x="0" y="3"/>
                  </a:lnTo>
                  <a:lnTo>
                    <a:pt x="0" y="1"/>
                  </a:lnTo>
                  <a:lnTo>
                    <a:pt x="0" y="0"/>
                  </a:lnTo>
                  <a:lnTo>
                    <a:pt x="1" y="0"/>
                  </a:lnTo>
                  <a:lnTo>
                    <a:pt x="3" y="0"/>
                  </a:lnTo>
                  <a:lnTo>
                    <a:pt x="3" y="1"/>
                  </a:lnTo>
                  <a:lnTo>
                    <a:pt x="4" y="1"/>
                  </a:lnTo>
                  <a:lnTo>
                    <a:pt x="4" y="3"/>
                  </a:lnTo>
                  <a:lnTo>
                    <a:pt x="5" y="3"/>
                  </a:lnTo>
                  <a:lnTo>
                    <a:pt x="5" y="4"/>
                  </a:lnTo>
                  <a:lnTo>
                    <a:pt x="5" y="3"/>
                  </a:lnTo>
                  <a:lnTo>
                    <a:pt x="6" y="3"/>
                  </a:lnTo>
                  <a:lnTo>
                    <a:pt x="6" y="4"/>
                  </a:lnTo>
                  <a:lnTo>
                    <a:pt x="5" y="5"/>
                  </a:lnTo>
                  <a:lnTo>
                    <a:pt x="6" y="5"/>
                  </a:lnTo>
                  <a:lnTo>
                    <a:pt x="7" y="4"/>
                  </a:lnTo>
                  <a:lnTo>
                    <a:pt x="7" y="3"/>
                  </a:lnTo>
                  <a:lnTo>
                    <a:pt x="7" y="4"/>
                  </a:lnTo>
                  <a:lnTo>
                    <a:pt x="9" y="4"/>
                  </a:lnTo>
                  <a:lnTo>
                    <a:pt x="9" y="5"/>
                  </a:lnTo>
                  <a:lnTo>
                    <a:pt x="9" y="6"/>
                  </a:lnTo>
                  <a:lnTo>
                    <a:pt x="9" y="5"/>
                  </a:lnTo>
                  <a:lnTo>
                    <a:pt x="10" y="5"/>
                  </a:lnTo>
                  <a:lnTo>
                    <a:pt x="10" y="4"/>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2" name="Freeform 44"/>
            <p:cNvSpPr>
              <a:spLocks/>
            </p:cNvSpPr>
            <p:nvPr userDrawn="1"/>
          </p:nvSpPr>
          <p:spPr bwMode="auto">
            <a:xfrm>
              <a:off x="6630988" y="6465888"/>
              <a:ext cx="9525" cy="6350"/>
            </a:xfrm>
            <a:custGeom>
              <a:avLst/>
              <a:gdLst/>
              <a:ahLst/>
              <a:cxnLst>
                <a:cxn ang="0">
                  <a:pos x="28" y="22"/>
                </a:cxn>
                <a:cxn ang="0">
                  <a:pos x="24" y="12"/>
                </a:cxn>
                <a:cxn ang="0">
                  <a:pos x="19" y="7"/>
                </a:cxn>
                <a:cxn ang="0">
                  <a:pos x="15" y="4"/>
                </a:cxn>
                <a:cxn ang="0">
                  <a:pos x="12" y="3"/>
                </a:cxn>
                <a:cxn ang="0">
                  <a:pos x="7" y="0"/>
                </a:cxn>
                <a:cxn ang="0">
                  <a:pos x="6" y="0"/>
                </a:cxn>
                <a:cxn ang="0">
                  <a:pos x="3" y="3"/>
                </a:cxn>
                <a:cxn ang="0">
                  <a:pos x="2" y="4"/>
                </a:cxn>
                <a:cxn ang="0">
                  <a:pos x="2" y="5"/>
                </a:cxn>
                <a:cxn ang="0">
                  <a:pos x="3" y="5"/>
                </a:cxn>
                <a:cxn ang="0">
                  <a:pos x="3" y="6"/>
                </a:cxn>
                <a:cxn ang="0">
                  <a:pos x="3" y="7"/>
                </a:cxn>
                <a:cxn ang="0">
                  <a:pos x="2" y="7"/>
                </a:cxn>
                <a:cxn ang="0">
                  <a:pos x="2" y="9"/>
                </a:cxn>
                <a:cxn ang="0">
                  <a:pos x="2" y="7"/>
                </a:cxn>
                <a:cxn ang="0">
                  <a:pos x="1" y="7"/>
                </a:cxn>
                <a:cxn ang="0">
                  <a:pos x="1" y="6"/>
                </a:cxn>
                <a:cxn ang="0">
                  <a:pos x="1" y="7"/>
                </a:cxn>
                <a:cxn ang="0">
                  <a:pos x="1" y="6"/>
                </a:cxn>
                <a:cxn ang="0">
                  <a:pos x="1" y="5"/>
                </a:cxn>
                <a:cxn ang="0">
                  <a:pos x="1" y="6"/>
                </a:cxn>
                <a:cxn ang="0">
                  <a:pos x="0" y="6"/>
                </a:cxn>
                <a:cxn ang="0">
                  <a:pos x="1" y="7"/>
                </a:cxn>
                <a:cxn ang="0">
                  <a:pos x="5" y="10"/>
                </a:cxn>
                <a:cxn ang="0">
                  <a:pos x="9" y="11"/>
                </a:cxn>
                <a:cxn ang="0">
                  <a:pos x="11" y="12"/>
                </a:cxn>
                <a:cxn ang="0">
                  <a:pos x="12" y="11"/>
                </a:cxn>
                <a:cxn ang="0">
                  <a:pos x="13" y="11"/>
                </a:cxn>
                <a:cxn ang="0">
                  <a:pos x="14" y="11"/>
                </a:cxn>
                <a:cxn ang="0">
                  <a:pos x="14" y="10"/>
                </a:cxn>
                <a:cxn ang="0">
                  <a:pos x="15" y="10"/>
                </a:cxn>
                <a:cxn ang="0">
                  <a:pos x="17" y="9"/>
                </a:cxn>
                <a:cxn ang="0">
                  <a:pos x="17" y="10"/>
                </a:cxn>
                <a:cxn ang="0">
                  <a:pos x="18" y="10"/>
                </a:cxn>
                <a:cxn ang="0">
                  <a:pos x="19" y="11"/>
                </a:cxn>
                <a:cxn ang="0">
                  <a:pos x="19" y="12"/>
                </a:cxn>
                <a:cxn ang="0">
                  <a:pos x="20" y="13"/>
                </a:cxn>
                <a:cxn ang="0">
                  <a:pos x="21" y="15"/>
                </a:cxn>
                <a:cxn ang="0">
                  <a:pos x="23" y="17"/>
                </a:cxn>
                <a:cxn ang="0">
                  <a:pos x="28" y="22"/>
                </a:cxn>
              </a:cxnLst>
              <a:rect l="0" t="0" r="r" b="b"/>
              <a:pathLst>
                <a:path w="28" h="22">
                  <a:moveTo>
                    <a:pt x="28" y="22"/>
                  </a:moveTo>
                  <a:lnTo>
                    <a:pt x="24" y="12"/>
                  </a:lnTo>
                  <a:lnTo>
                    <a:pt x="19" y="7"/>
                  </a:lnTo>
                  <a:lnTo>
                    <a:pt x="15" y="4"/>
                  </a:lnTo>
                  <a:lnTo>
                    <a:pt x="12" y="3"/>
                  </a:lnTo>
                  <a:lnTo>
                    <a:pt x="7" y="0"/>
                  </a:lnTo>
                  <a:lnTo>
                    <a:pt x="6" y="0"/>
                  </a:lnTo>
                  <a:lnTo>
                    <a:pt x="3" y="3"/>
                  </a:lnTo>
                  <a:lnTo>
                    <a:pt x="2" y="4"/>
                  </a:lnTo>
                  <a:lnTo>
                    <a:pt x="2" y="5"/>
                  </a:lnTo>
                  <a:lnTo>
                    <a:pt x="3" y="5"/>
                  </a:lnTo>
                  <a:lnTo>
                    <a:pt x="3" y="6"/>
                  </a:lnTo>
                  <a:lnTo>
                    <a:pt x="3" y="7"/>
                  </a:lnTo>
                  <a:lnTo>
                    <a:pt x="2" y="7"/>
                  </a:lnTo>
                  <a:lnTo>
                    <a:pt x="2" y="9"/>
                  </a:lnTo>
                  <a:lnTo>
                    <a:pt x="2" y="7"/>
                  </a:lnTo>
                  <a:lnTo>
                    <a:pt x="1" y="7"/>
                  </a:lnTo>
                  <a:lnTo>
                    <a:pt x="1" y="6"/>
                  </a:lnTo>
                  <a:lnTo>
                    <a:pt x="1" y="7"/>
                  </a:lnTo>
                  <a:lnTo>
                    <a:pt x="1" y="6"/>
                  </a:lnTo>
                  <a:lnTo>
                    <a:pt x="1" y="5"/>
                  </a:lnTo>
                  <a:lnTo>
                    <a:pt x="1" y="6"/>
                  </a:lnTo>
                  <a:lnTo>
                    <a:pt x="0" y="6"/>
                  </a:lnTo>
                  <a:lnTo>
                    <a:pt x="1" y="7"/>
                  </a:lnTo>
                  <a:lnTo>
                    <a:pt x="5" y="10"/>
                  </a:lnTo>
                  <a:lnTo>
                    <a:pt x="9" y="11"/>
                  </a:lnTo>
                  <a:lnTo>
                    <a:pt x="11" y="12"/>
                  </a:lnTo>
                  <a:lnTo>
                    <a:pt x="12" y="11"/>
                  </a:lnTo>
                  <a:lnTo>
                    <a:pt x="13" y="11"/>
                  </a:lnTo>
                  <a:lnTo>
                    <a:pt x="14" y="11"/>
                  </a:lnTo>
                  <a:lnTo>
                    <a:pt x="14" y="10"/>
                  </a:lnTo>
                  <a:lnTo>
                    <a:pt x="15" y="10"/>
                  </a:lnTo>
                  <a:lnTo>
                    <a:pt x="17" y="9"/>
                  </a:lnTo>
                  <a:lnTo>
                    <a:pt x="17" y="10"/>
                  </a:lnTo>
                  <a:lnTo>
                    <a:pt x="18" y="10"/>
                  </a:lnTo>
                  <a:lnTo>
                    <a:pt x="19" y="11"/>
                  </a:lnTo>
                  <a:lnTo>
                    <a:pt x="19" y="12"/>
                  </a:lnTo>
                  <a:lnTo>
                    <a:pt x="20" y="13"/>
                  </a:lnTo>
                  <a:lnTo>
                    <a:pt x="21" y="15"/>
                  </a:lnTo>
                  <a:lnTo>
                    <a:pt x="23" y="17"/>
                  </a:lnTo>
                  <a:lnTo>
                    <a:pt x="28" y="2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3" name="Freeform 45"/>
            <p:cNvSpPr>
              <a:spLocks/>
            </p:cNvSpPr>
            <p:nvPr userDrawn="1"/>
          </p:nvSpPr>
          <p:spPr bwMode="auto">
            <a:xfrm>
              <a:off x="6637338" y="6461126"/>
              <a:ext cx="3175" cy="4763"/>
            </a:xfrm>
            <a:custGeom>
              <a:avLst/>
              <a:gdLst/>
              <a:ahLst/>
              <a:cxnLst>
                <a:cxn ang="0">
                  <a:pos x="9" y="13"/>
                </a:cxn>
                <a:cxn ang="0">
                  <a:pos x="7" y="1"/>
                </a:cxn>
                <a:cxn ang="0">
                  <a:pos x="7" y="2"/>
                </a:cxn>
                <a:cxn ang="0">
                  <a:pos x="6" y="1"/>
                </a:cxn>
                <a:cxn ang="0">
                  <a:pos x="6" y="2"/>
                </a:cxn>
                <a:cxn ang="0">
                  <a:pos x="5" y="1"/>
                </a:cxn>
                <a:cxn ang="0">
                  <a:pos x="6" y="0"/>
                </a:cxn>
                <a:cxn ang="0">
                  <a:pos x="5" y="0"/>
                </a:cxn>
                <a:cxn ang="0">
                  <a:pos x="4" y="0"/>
                </a:cxn>
                <a:cxn ang="0">
                  <a:pos x="4" y="1"/>
                </a:cxn>
                <a:cxn ang="0">
                  <a:pos x="4" y="0"/>
                </a:cxn>
                <a:cxn ang="0">
                  <a:pos x="4" y="1"/>
                </a:cxn>
                <a:cxn ang="0">
                  <a:pos x="4" y="2"/>
                </a:cxn>
                <a:cxn ang="0">
                  <a:pos x="5" y="2"/>
                </a:cxn>
                <a:cxn ang="0">
                  <a:pos x="5" y="4"/>
                </a:cxn>
                <a:cxn ang="0">
                  <a:pos x="4" y="4"/>
                </a:cxn>
                <a:cxn ang="0">
                  <a:pos x="2" y="2"/>
                </a:cxn>
                <a:cxn ang="0">
                  <a:pos x="1" y="2"/>
                </a:cxn>
                <a:cxn ang="0">
                  <a:pos x="1" y="4"/>
                </a:cxn>
                <a:cxn ang="0">
                  <a:pos x="0" y="5"/>
                </a:cxn>
                <a:cxn ang="0">
                  <a:pos x="0" y="7"/>
                </a:cxn>
                <a:cxn ang="0">
                  <a:pos x="0" y="8"/>
                </a:cxn>
                <a:cxn ang="0">
                  <a:pos x="2" y="11"/>
                </a:cxn>
                <a:cxn ang="0">
                  <a:pos x="6" y="13"/>
                </a:cxn>
                <a:cxn ang="0">
                  <a:pos x="9" y="14"/>
                </a:cxn>
                <a:cxn ang="0">
                  <a:pos x="9" y="13"/>
                </a:cxn>
              </a:cxnLst>
              <a:rect l="0" t="0" r="r" b="b"/>
              <a:pathLst>
                <a:path w="9" h="14">
                  <a:moveTo>
                    <a:pt x="9" y="13"/>
                  </a:moveTo>
                  <a:lnTo>
                    <a:pt x="7" y="1"/>
                  </a:lnTo>
                  <a:lnTo>
                    <a:pt x="7" y="2"/>
                  </a:lnTo>
                  <a:lnTo>
                    <a:pt x="6" y="1"/>
                  </a:lnTo>
                  <a:lnTo>
                    <a:pt x="6" y="2"/>
                  </a:lnTo>
                  <a:lnTo>
                    <a:pt x="5" y="1"/>
                  </a:lnTo>
                  <a:lnTo>
                    <a:pt x="6" y="0"/>
                  </a:lnTo>
                  <a:lnTo>
                    <a:pt x="5" y="0"/>
                  </a:lnTo>
                  <a:lnTo>
                    <a:pt x="4" y="0"/>
                  </a:lnTo>
                  <a:lnTo>
                    <a:pt x="4" y="1"/>
                  </a:lnTo>
                  <a:lnTo>
                    <a:pt x="4" y="0"/>
                  </a:lnTo>
                  <a:lnTo>
                    <a:pt x="4" y="1"/>
                  </a:lnTo>
                  <a:lnTo>
                    <a:pt x="4" y="2"/>
                  </a:lnTo>
                  <a:lnTo>
                    <a:pt x="5" y="2"/>
                  </a:lnTo>
                  <a:lnTo>
                    <a:pt x="5" y="4"/>
                  </a:lnTo>
                  <a:lnTo>
                    <a:pt x="4" y="4"/>
                  </a:lnTo>
                  <a:lnTo>
                    <a:pt x="2" y="2"/>
                  </a:lnTo>
                  <a:lnTo>
                    <a:pt x="1" y="2"/>
                  </a:lnTo>
                  <a:lnTo>
                    <a:pt x="1" y="4"/>
                  </a:lnTo>
                  <a:lnTo>
                    <a:pt x="0" y="5"/>
                  </a:lnTo>
                  <a:lnTo>
                    <a:pt x="0" y="7"/>
                  </a:lnTo>
                  <a:lnTo>
                    <a:pt x="0" y="8"/>
                  </a:lnTo>
                  <a:lnTo>
                    <a:pt x="2" y="11"/>
                  </a:lnTo>
                  <a:lnTo>
                    <a:pt x="6" y="13"/>
                  </a:lnTo>
                  <a:lnTo>
                    <a:pt x="9" y="14"/>
                  </a:lnTo>
                  <a:lnTo>
                    <a:pt x="9"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4" name="Freeform 46"/>
            <p:cNvSpPr>
              <a:spLocks/>
            </p:cNvSpPr>
            <p:nvPr userDrawn="1"/>
          </p:nvSpPr>
          <p:spPr bwMode="auto">
            <a:xfrm>
              <a:off x="5686425" y="6329363"/>
              <a:ext cx="725488" cy="142875"/>
            </a:xfrm>
            <a:custGeom>
              <a:avLst/>
              <a:gdLst/>
              <a:ahLst/>
              <a:cxnLst>
                <a:cxn ang="0">
                  <a:pos x="1670" y="102"/>
                </a:cxn>
                <a:cxn ang="0">
                  <a:pos x="1589" y="169"/>
                </a:cxn>
                <a:cxn ang="0">
                  <a:pos x="1537" y="125"/>
                </a:cxn>
                <a:cxn ang="0">
                  <a:pos x="1532" y="106"/>
                </a:cxn>
                <a:cxn ang="0">
                  <a:pos x="1512" y="72"/>
                </a:cxn>
                <a:cxn ang="0">
                  <a:pos x="1475" y="45"/>
                </a:cxn>
                <a:cxn ang="0">
                  <a:pos x="1428" y="31"/>
                </a:cxn>
                <a:cxn ang="0">
                  <a:pos x="1377" y="31"/>
                </a:cxn>
                <a:cxn ang="0">
                  <a:pos x="1330" y="45"/>
                </a:cxn>
                <a:cxn ang="0">
                  <a:pos x="1294" y="72"/>
                </a:cxn>
                <a:cxn ang="0">
                  <a:pos x="1282" y="88"/>
                </a:cxn>
                <a:cxn ang="0">
                  <a:pos x="1270" y="125"/>
                </a:cxn>
                <a:cxn ang="0">
                  <a:pos x="918" y="179"/>
                </a:cxn>
                <a:cxn ang="0">
                  <a:pos x="911" y="179"/>
                </a:cxn>
                <a:cxn ang="0">
                  <a:pos x="890" y="73"/>
                </a:cxn>
                <a:cxn ang="0">
                  <a:pos x="666" y="1"/>
                </a:cxn>
                <a:cxn ang="0">
                  <a:pos x="615" y="73"/>
                </a:cxn>
                <a:cxn ang="0">
                  <a:pos x="599" y="179"/>
                </a:cxn>
                <a:cxn ang="0">
                  <a:pos x="578" y="126"/>
                </a:cxn>
                <a:cxn ang="0">
                  <a:pos x="527" y="179"/>
                </a:cxn>
                <a:cxn ang="0">
                  <a:pos x="506" y="239"/>
                </a:cxn>
                <a:cxn ang="0">
                  <a:pos x="475" y="201"/>
                </a:cxn>
                <a:cxn ang="0">
                  <a:pos x="330" y="239"/>
                </a:cxn>
                <a:cxn ang="0">
                  <a:pos x="289" y="38"/>
                </a:cxn>
                <a:cxn ang="0">
                  <a:pos x="238" y="0"/>
                </a:cxn>
                <a:cxn ang="0">
                  <a:pos x="125" y="38"/>
                </a:cxn>
                <a:cxn ang="0">
                  <a:pos x="93" y="244"/>
                </a:cxn>
                <a:cxn ang="0">
                  <a:pos x="73" y="179"/>
                </a:cxn>
                <a:cxn ang="0">
                  <a:pos x="22" y="244"/>
                </a:cxn>
                <a:cxn ang="0">
                  <a:pos x="0" y="445"/>
                </a:cxn>
                <a:cxn ang="0">
                  <a:pos x="1143" y="448"/>
                </a:cxn>
                <a:cxn ang="0">
                  <a:pos x="2286" y="453"/>
                </a:cxn>
                <a:cxn ang="0">
                  <a:pos x="2145" y="140"/>
                </a:cxn>
                <a:cxn ang="0">
                  <a:pos x="2114" y="35"/>
                </a:cxn>
                <a:cxn ang="0">
                  <a:pos x="1897" y="102"/>
                </a:cxn>
                <a:cxn ang="0">
                  <a:pos x="1702" y="102"/>
                </a:cxn>
              </a:cxnLst>
              <a:rect l="0" t="0" r="r" b="b"/>
              <a:pathLst>
                <a:path w="2286" h="453">
                  <a:moveTo>
                    <a:pt x="1702" y="102"/>
                  </a:moveTo>
                  <a:lnTo>
                    <a:pt x="1670" y="102"/>
                  </a:lnTo>
                  <a:lnTo>
                    <a:pt x="1670" y="169"/>
                  </a:lnTo>
                  <a:lnTo>
                    <a:pt x="1589" y="169"/>
                  </a:lnTo>
                  <a:lnTo>
                    <a:pt x="1589" y="125"/>
                  </a:lnTo>
                  <a:lnTo>
                    <a:pt x="1537" y="125"/>
                  </a:lnTo>
                  <a:lnTo>
                    <a:pt x="1536" y="115"/>
                  </a:lnTo>
                  <a:lnTo>
                    <a:pt x="1532" y="106"/>
                  </a:lnTo>
                  <a:lnTo>
                    <a:pt x="1524" y="88"/>
                  </a:lnTo>
                  <a:lnTo>
                    <a:pt x="1512" y="72"/>
                  </a:lnTo>
                  <a:lnTo>
                    <a:pt x="1495" y="58"/>
                  </a:lnTo>
                  <a:lnTo>
                    <a:pt x="1475" y="45"/>
                  </a:lnTo>
                  <a:lnTo>
                    <a:pt x="1454" y="37"/>
                  </a:lnTo>
                  <a:lnTo>
                    <a:pt x="1428" y="31"/>
                  </a:lnTo>
                  <a:lnTo>
                    <a:pt x="1403" y="30"/>
                  </a:lnTo>
                  <a:lnTo>
                    <a:pt x="1377" y="31"/>
                  </a:lnTo>
                  <a:lnTo>
                    <a:pt x="1351" y="37"/>
                  </a:lnTo>
                  <a:lnTo>
                    <a:pt x="1330" y="45"/>
                  </a:lnTo>
                  <a:lnTo>
                    <a:pt x="1310" y="58"/>
                  </a:lnTo>
                  <a:lnTo>
                    <a:pt x="1294" y="72"/>
                  </a:lnTo>
                  <a:lnTo>
                    <a:pt x="1288" y="79"/>
                  </a:lnTo>
                  <a:lnTo>
                    <a:pt x="1282" y="88"/>
                  </a:lnTo>
                  <a:lnTo>
                    <a:pt x="1273" y="106"/>
                  </a:lnTo>
                  <a:lnTo>
                    <a:pt x="1270" y="125"/>
                  </a:lnTo>
                  <a:lnTo>
                    <a:pt x="1270" y="169"/>
                  </a:lnTo>
                  <a:lnTo>
                    <a:pt x="918" y="179"/>
                  </a:lnTo>
                  <a:lnTo>
                    <a:pt x="1044" y="179"/>
                  </a:lnTo>
                  <a:lnTo>
                    <a:pt x="911" y="179"/>
                  </a:lnTo>
                  <a:lnTo>
                    <a:pt x="890" y="179"/>
                  </a:lnTo>
                  <a:lnTo>
                    <a:pt x="890" y="73"/>
                  </a:lnTo>
                  <a:lnTo>
                    <a:pt x="666" y="73"/>
                  </a:lnTo>
                  <a:lnTo>
                    <a:pt x="666" y="1"/>
                  </a:lnTo>
                  <a:lnTo>
                    <a:pt x="615" y="1"/>
                  </a:lnTo>
                  <a:lnTo>
                    <a:pt x="615" y="73"/>
                  </a:lnTo>
                  <a:lnTo>
                    <a:pt x="599" y="73"/>
                  </a:lnTo>
                  <a:lnTo>
                    <a:pt x="599" y="179"/>
                  </a:lnTo>
                  <a:lnTo>
                    <a:pt x="578" y="179"/>
                  </a:lnTo>
                  <a:lnTo>
                    <a:pt x="578" y="126"/>
                  </a:lnTo>
                  <a:lnTo>
                    <a:pt x="527" y="126"/>
                  </a:lnTo>
                  <a:lnTo>
                    <a:pt x="527" y="179"/>
                  </a:lnTo>
                  <a:lnTo>
                    <a:pt x="506" y="179"/>
                  </a:lnTo>
                  <a:lnTo>
                    <a:pt x="506" y="239"/>
                  </a:lnTo>
                  <a:lnTo>
                    <a:pt x="475" y="239"/>
                  </a:lnTo>
                  <a:lnTo>
                    <a:pt x="475" y="201"/>
                  </a:lnTo>
                  <a:lnTo>
                    <a:pt x="330" y="201"/>
                  </a:lnTo>
                  <a:lnTo>
                    <a:pt x="330" y="239"/>
                  </a:lnTo>
                  <a:lnTo>
                    <a:pt x="289" y="239"/>
                  </a:lnTo>
                  <a:lnTo>
                    <a:pt x="289" y="38"/>
                  </a:lnTo>
                  <a:lnTo>
                    <a:pt x="238" y="38"/>
                  </a:lnTo>
                  <a:lnTo>
                    <a:pt x="238" y="0"/>
                  </a:lnTo>
                  <a:lnTo>
                    <a:pt x="125" y="0"/>
                  </a:lnTo>
                  <a:lnTo>
                    <a:pt x="125" y="38"/>
                  </a:lnTo>
                  <a:lnTo>
                    <a:pt x="93" y="38"/>
                  </a:lnTo>
                  <a:lnTo>
                    <a:pt x="93" y="244"/>
                  </a:lnTo>
                  <a:lnTo>
                    <a:pt x="73" y="244"/>
                  </a:lnTo>
                  <a:lnTo>
                    <a:pt x="73" y="179"/>
                  </a:lnTo>
                  <a:lnTo>
                    <a:pt x="22" y="179"/>
                  </a:lnTo>
                  <a:lnTo>
                    <a:pt x="22" y="244"/>
                  </a:lnTo>
                  <a:lnTo>
                    <a:pt x="0" y="244"/>
                  </a:lnTo>
                  <a:lnTo>
                    <a:pt x="0" y="445"/>
                  </a:lnTo>
                  <a:lnTo>
                    <a:pt x="571" y="446"/>
                  </a:lnTo>
                  <a:lnTo>
                    <a:pt x="1143" y="448"/>
                  </a:lnTo>
                  <a:lnTo>
                    <a:pt x="1714" y="451"/>
                  </a:lnTo>
                  <a:lnTo>
                    <a:pt x="2286" y="453"/>
                  </a:lnTo>
                  <a:lnTo>
                    <a:pt x="2207" y="133"/>
                  </a:lnTo>
                  <a:lnTo>
                    <a:pt x="2145" y="140"/>
                  </a:lnTo>
                  <a:lnTo>
                    <a:pt x="2114" y="140"/>
                  </a:lnTo>
                  <a:lnTo>
                    <a:pt x="2114" y="35"/>
                  </a:lnTo>
                  <a:lnTo>
                    <a:pt x="2062" y="35"/>
                  </a:lnTo>
                  <a:lnTo>
                    <a:pt x="1897" y="102"/>
                  </a:lnTo>
                  <a:lnTo>
                    <a:pt x="1856" y="102"/>
                  </a:lnTo>
                  <a:lnTo>
                    <a:pt x="1702" y="10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5" name="Freeform 47"/>
            <p:cNvSpPr>
              <a:spLocks/>
            </p:cNvSpPr>
            <p:nvPr userDrawn="1"/>
          </p:nvSpPr>
          <p:spPr bwMode="auto">
            <a:xfrm>
              <a:off x="4872038" y="6413501"/>
              <a:ext cx="2127250" cy="100013"/>
            </a:xfrm>
            <a:custGeom>
              <a:avLst/>
              <a:gdLst/>
              <a:ahLst/>
              <a:cxnLst>
                <a:cxn ang="0">
                  <a:pos x="6662" y="264"/>
                </a:cxn>
                <a:cxn ang="0">
                  <a:pos x="6498" y="190"/>
                </a:cxn>
                <a:cxn ang="0">
                  <a:pos x="6376" y="141"/>
                </a:cxn>
                <a:cxn ang="0">
                  <a:pos x="6295" y="120"/>
                </a:cxn>
                <a:cxn ang="0">
                  <a:pos x="6156" y="118"/>
                </a:cxn>
                <a:cxn ang="0">
                  <a:pos x="5476" y="97"/>
                </a:cxn>
                <a:cxn ang="0">
                  <a:pos x="5059" y="74"/>
                </a:cxn>
                <a:cxn ang="0">
                  <a:pos x="4796" y="54"/>
                </a:cxn>
                <a:cxn ang="0">
                  <a:pos x="4566" y="29"/>
                </a:cxn>
                <a:cxn ang="0">
                  <a:pos x="4401" y="5"/>
                </a:cxn>
                <a:cxn ang="0">
                  <a:pos x="4283" y="0"/>
                </a:cxn>
                <a:cxn ang="0">
                  <a:pos x="4178" y="11"/>
                </a:cxn>
                <a:cxn ang="0">
                  <a:pos x="4086" y="32"/>
                </a:cxn>
                <a:cxn ang="0">
                  <a:pos x="3961" y="79"/>
                </a:cxn>
                <a:cxn ang="0">
                  <a:pos x="3797" y="150"/>
                </a:cxn>
                <a:cxn ang="0">
                  <a:pos x="3559" y="184"/>
                </a:cxn>
                <a:cxn ang="0">
                  <a:pos x="3451" y="179"/>
                </a:cxn>
                <a:cxn ang="0">
                  <a:pos x="3369" y="168"/>
                </a:cxn>
                <a:cxn ang="0">
                  <a:pos x="3245" y="139"/>
                </a:cxn>
                <a:cxn ang="0">
                  <a:pos x="3098" y="115"/>
                </a:cxn>
                <a:cxn ang="0">
                  <a:pos x="2988" y="112"/>
                </a:cxn>
                <a:cxn ang="0">
                  <a:pos x="2855" y="108"/>
                </a:cxn>
                <a:cxn ang="0">
                  <a:pos x="2657" y="88"/>
                </a:cxn>
                <a:cxn ang="0">
                  <a:pos x="2498" y="60"/>
                </a:cxn>
                <a:cxn ang="0">
                  <a:pos x="2318" y="40"/>
                </a:cxn>
                <a:cxn ang="0">
                  <a:pos x="2200" y="36"/>
                </a:cxn>
                <a:cxn ang="0">
                  <a:pos x="2070" y="42"/>
                </a:cxn>
                <a:cxn ang="0">
                  <a:pos x="1942" y="58"/>
                </a:cxn>
                <a:cxn ang="0">
                  <a:pos x="1819" y="80"/>
                </a:cxn>
                <a:cxn ang="0">
                  <a:pos x="1592" y="132"/>
                </a:cxn>
                <a:cxn ang="0">
                  <a:pos x="1405" y="169"/>
                </a:cxn>
                <a:cxn ang="0">
                  <a:pos x="1330" y="175"/>
                </a:cxn>
                <a:cxn ang="0">
                  <a:pos x="1269" y="179"/>
                </a:cxn>
                <a:cxn ang="0">
                  <a:pos x="1217" y="189"/>
                </a:cxn>
                <a:cxn ang="0">
                  <a:pos x="1121" y="216"/>
                </a:cxn>
                <a:cxn ang="0">
                  <a:pos x="1002" y="244"/>
                </a:cxn>
                <a:cxn ang="0">
                  <a:pos x="874" y="256"/>
                </a:cxn>
                <a:cxn ang="0">
                  <a:pos x="766" y="255"/>
                </a:cxn>
                <a:cxn ang="0">
                  <a:pos x="669" y="246"/>
                </a:cxn>
                <a:cxn ang="0">
                  <a:pos x="581" y="231"/>
                </a:cxn>
                <a:cxn ang="0">
                  <a:pos x="459" y="201"/>
                </a:cxn>
                <a:cxn ang="0">
                  <a:pos x="326" y="169"/>
                </a:cxn>
                <a:cxn ang="0">
                  <a:pos x="169" y="149"/>
                </a:cxn>
                <a:cxn ang="0">
                  <a:pos x="38" y="144"/>
                </a:cxn>
                <a:cxn ang="0">
                  <a:pos x="0" y="144"/>
                </a:cxn>
                <a:cxn ang="0">
                  <a:pos x="44" y="148"/>
                </a:cxn>
                <a:cxn ang="0">
                  <a:pos x="692" y="169"/>
                </a:cxn>
                <a:cxn ang="0">
                  <a:pos x="1700" y="198"/>
                </a:cxn>
                <a:cxn ang="0">
                  <a:pos x="2709" y="227"/>
                </a:cxn>
                <a:cxn ang="0">
                  <a:pos x="4267" y="269"/>
                </a:cxn>
                <a:cxn ang="0">
                  <a:pos x="5825" y="311"/>
                </a:cxn>
                <a:cxn ang="0">
                  <a:pos x="6700" y="278"/>
                </a:cxn>
              </a:cxnLst>
              <a:rect l="0" t="0" r="r" b="b"/>
              <a:pathLst>
                <a:path w="6700" h="311">
                  <a:moveTo>
                    <a:pt x="6700" y="278"/>
                  </a:moveTo>
                  <a:lnTo>
                    <a:pt x="6662" y="264"/>
                  </a:lnTo>
                  <a:lnTo>
                    <a:pt x="6614" y="243"/>
                  </a:lnTo>
                  <a:lnTo>
                    <a:pt x="6498" y="190"/>
                  </a:lnTo>
                  <a:lnTo>
                    <a:pt x="6437" y="163"/>
                  </a:lnTo>
                  <a:lnTo>
                    <a:pt x="6376" y="141"/>
                  </a:lnTo>
                  <a:lnTo>
                    <a:pt x="6320" y="125"/>
                  </a:lnTo>
                  <a:lnTo>
                    <a:pt x="6295" y="120"/>
                  </a:lnTo>
                  <a:lnTo>
                    <a:pt x="6270" y="119"/>
                  </a:lnTo>
                  <a:lnTo>
                    <a:pt x="6156" y="118"/>
                  </a:lnTo>
                  <a:lnTo>
                    <a:pt x="5973" y="114"/>
                  </a:lnTo>
                  <a:lnTo>
                    <a:pt x="5476" y="97"/>
                  </a:lnTo>
                  <a:lnTo>
                    <a:pt x="5198" y="83"/>
                  </a:lnTo>
                  <a:lnTo>
                    <a:pt x="5059" y="74"/>
                  </a:lnTo>
                  <a:lnTo>
                    <a:pt x="4924" y="65"/>
                  </a:lnTo>
                  <a:lnTo>
                    <a:pt x="4796" y="54"/>
                  </a:lnTo>
                  <a:lnTo>
                    <a:pt x="4675" y="42"/>
                  </a:lnTo>
                  <a:lnTo>
                    <a:pt x="4566" y="29"/>
                  </a:lnTo>
                  <a:lnTo>
                    <a:pt x="4468" y="14"/>
                  </a:lnTo>
                  <a:lnTo>
                    <a:pt x="4401" y="5"/>
                  </a:lnTo>
                  <a:lnTo>
                    <a:pt x="4339" y="0"/>
                  </a:lnTo>
                  <a:lnTo>
                    <a:pt x="4283" y="0"/>
                  </a:lnTo>
                  <a:lnTo>
                    <a:pt x="4228" y="4"/>
                  </a:lnTo>
                  <a:lnTo>
                    <a:pt x="4178" y="11"/>
                  </a:lnTo>
                  <a:lnTo>
                    <a:pt x="4131" y="20"/>
                  </a:lnTo>
                  <a:lnTo>
                    <a:pt x="4086" y="32"/>
                  </a:lnTo>
                  <a:lnTo>
                    <a:pt x="4043" y="46"/>
                  </a:lnTo>
                  <a:lnTo>
                    <a:pt x="3961" y="79"/>
                  </a:lnTo>
                  <a:lnTo>
                    <a:pt x="3880" y="114"/>
                  </a:lnTo>
                  <a:lnTo>
                    <a:pt x="3797" y="150"/>
                  </a:lnTo>
                  <a:lnTo>
                    <a:pt x="3707" y="181"/>
                  </a:lnTo>
                  <a:lnTo>
                    <a:pt x="3559" y="184"/>
                  </a:lnTo>
                  <a:lnTo>
                    <a:pt x="3501" y="183"/>
                  </a:lnTo>
                  <a:lnTo>
                    <a:pt x="3451" y="179"/>
                  </a:lnTo>
                  <a:lnTo>
                    <a:pt x="3407" y="174"/>
                  </a:lnTo>
                  <a:lnTo>
                    <a:pt x="3369" y="168"/>
                  </a:lnTo>
                  <a:lnTo>
                    <a:pt x="3304" y="154"/>
                  </a:lnTo>
                  <a:lnTo>
                    <a:pt x="3245" y="139"/>
                  </a:lnTo>
                  <a:lnTo>
                    <a:pt x="3180" y="125"/>
                  </a:lnTo>
                  <a:lnTo>
                    <a:pt x="3098" y="115"/>
                  </a:lnTo>
                  <a:lnTo>
                    <a:pt x="3047" y="112"/>
                  </a:lnTo>
                  <a:lnTo>
                    <a:pt x="2988" y="112"/>
                  </a:lnTo>
                  <a:lnTo>
                    <a:pt x="2918" y="111"/>
                  </a:lnTo>
                  <a:lnTo>
                    <a:pt x="2855" y="108"/>
                  </a:lnTo>
                  <a:lnTo>
                    <a:pt x="2748" y="100"/>
                  </a:lnTo>
                  <a:lnTo>
                    <a:pt x="2657" y="88"/>
                  </a:lnTo>
                  <a:lnTo>
                    <a:pt x="2577" y="73"/>
                  </a:lnTo>
                  <a:lnTo>
                    <a:pt x="2498" y="60"/>
                  </a:lnTo>
                  <a:lnTo>
                    <a:pt x="2414" y="48"/>
                  </a:lnTo>
                  <a:lnTo>
                    <a:pt x="2318" y="40"/>
                  </a:lnTo>
                  <a:lnTo>
                    <a:pt x="2262" y="37"/>
                  </a:lnTo>
                  <a:lnTo>
                    <a:pt x="2200" y="36"/>
                  </a:lnTo>
                  <a:lnTo>
                    <a:pt x="2135" y="37"/>
                  </a:lnTo>
                  <a:lnTo>
                    <a:pt x="2070" y="42"/>
                  </a:lnTo>
                  <a:lnTo>
                    <a:pt x="2006" y="49"/>
                  </a:lnTo>
                  <a:lnTo>
                    <a:pt x="1942" y="58"/>
                  </a:lnTo>
                  <a:lnTo>
                    <a:pt x="1879" y="68"/>
                  </a:lnTo>
                  <a:lnTo>
                    <a:pt x="1819" y="80"/>
                  </a:lnTo>
                  <a:lnTo>
                    <a:pt x="1701" y="106"/>
                  </a:lnTo>
                  <a:lnTo>
                    <a:pt x="1592" y="132"/>
                  </a:lnTo>
                  <a:lnTo>
                    <a:pt x="1493" y="154"/>
                  </a:lnTo>
                  <a:lnTo>
                    <a:pt x="1405" y="169"/>
                  </a:lnTo>
                  <a:lnTo>
                    <a:pt x="1365" y="174"/>
                  </a:lnTo>
                  <a:lnTo>
                    <a:pt x="1330" y="175"/>
                  </a:lnTo>
                  <a:lnTo>
                    <a:pt x="1298" y="177"/>
                  </a:lnTo>
                  <a:lnTo>
                    <a:pt x="1269" y="179"/>
                  </a:lnTo>
                  <a:lnTo>
                    <a:pt x="1242" y="184"/>
                  </a:lnTo>
                  <a:lnTo>
                    <a:pt x="1217" y="189"/>
                  </a:lnTo>
                  <a:lnTo>
                    <a:pt x="1169" y="202"/>
                  </a:lnTo>
                  <a:lnTo>
                    <a:pt x="1121" y="216"/>
                  </a:lnTo>
                  <a:lnTo>
                    <a:pt x="1067" y="231"/>
                  </a:lnTo>
                  <a:lnTo>
                    <a:pt x="1002" y="244"/>
                  </a:lnTo>
                  <a:lnTo>
                    <a:pt x="921" y="254"/>
                  </a:lnTo>
                  <a:lnTo>
                    <a:pt x="874" y="256"/>
                  </a:lnTo>
                  <a:lnTo>
                    <a:pt x="820" y="257"/>
                  </a:lnTo>
                  <a:lnTo>
                    <a:pt x="766" y="255"/>
                  </a:lnTo>
                  <a:lnTo>
                    <a:pt x="716" y="251"/>
                  </a:lnTo>
                  <a:lnTo>
                    <a:pt x="669" y="246"/>
                  </a:lnTo>
                  <a:lnTo>
                    <a:pt x="625" y="239"/>
                  </a:lnTo>
                  <a:lnTo>
                    <a:pt x="581" y="231"/>
                  </a:lnTo>
                  <a:lnTo>
                    <a:pt x="541" y="221"/>
                  </a:lnTo>
                  <a:lnTo>
                    <a:pt x="459" y="201"/>
                  </a:lnTo>
                  <a:lnTo>
                    <a:pt x="373" y="179"/>
                  </a:lnTo>
                  <a:lnTo>
                    <a:pt x="326" y="169"/>
                  </a:lnTo>
                  <a:lnTo>
                    <a:pt x="278" y="161"/>
                  </a:lnTo>
                  <a:lnTo>
                    <a:pt x="169" y="149"/>
                  </a:lnTo>
                  <a:lnTo>
                    <a:pt x="107" y="145"/>
                  </a:lnTo>
                  <a:lnTo>
                    <a:pt x="38" y="144"/>
                  </a:lnTo>
                  <a:lnTo>
                    <a:pt x="4" y="144"/>
                  </a:lnTo>
                  <a:lnTo>
                    <a:pt x="0" y="144"/>
                  </a:lnTo>
                  <a:lnTo>
                    <a:pt x="6" y="145"/>
                  </a:lnTo>
                  <a:lnTo>
                    <a:pt x="44" y="148"/>
                  </a:lnTo>
                  <a:lnTo>
                    <a:pt x="117" y="151"/>
                  </a:lnTo>
                  <a:lnTo>
                    <a:pt x="692" y="169"/>
                  </a:lnTo>
                  <a:lnTo>
                    <a:pt x="1196" y="184"/>
                  </a:lnTo>
                  <a:lnTo>
                    <a:pt x="1700" y="198"/>
                  </a:lnTo>
                  <a:lnTo>
                    <a:pt x="2204" y="213"/>
                  </a:lnTo>
                  <a:lnTo>
                    <a:pt x="2709" y="227"/>
                  </a:lnTo>
                  <a:lnTo>
                    <a:pt x="3488" y="248"/>
                  </a:lnTo>
                  <a:lnTo>
                    <a:pt x="4267" y="269"/>
                  </a:lnTo>
                  <a:lnTo>
                    <a:pt x="5046" y="290"/>
                  </a:lnTo>
                  <a:lnTo>
                    <a:pt x="5825" y="311"/>
                  </a:lnTo>
                  <a:lnTo>
                    <a:pt x="5825" y="268"/>
                  </a:lnTo>
                  <a:lnTo>
                    <a:pt x="6700" y="27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6" name="Freeform 48"/>
            <p:cNvSpPr>
              <a:spLocks/>
            </p:cNvSpPr>
            <p:nvPr userDrawn="1"/>
          </p:nvSpPr>
          <p:spPr bwMode="auto">
            <a:xfrm>
              <a:off x="3695700" y="6399213"/>
              <a:ext cx="3414713" cy="228600"/>
            </a:xfrm>
            <a:custGeom>
              <a:avLst/>
              <a:gdLst/>
              <a:ahLst/>
              <a:cxnLst>
                <a:cxn ang="0">
                  <a:pos x="9385" y="213"/>
                </a:cxn>
                <a:cxn ang="0">
                  <a:pos x="8277" y="216"/>
                </a:cxn>
                <a:cxn ang="0">
                  <a:pos x="7237" y="220"/>
                </a:cxn>
                <a:cxn ang="0">
                  <a:pos x="6887" y="209"/>
                </a:cxn>
                <a:cxn ang="0">
                  <a:pos x="6376" y="163"/>
                </a:cxn>
                <a:cxn ang="0">
                  <a:pos x="6034" y="143"/>
                </a:cxn>
                <a:cxn ang="0">
                  <a:pos x="5876" y="144"/>
                </a:cxn>
                <a:cxn ang="0">
                  <a:pos x="5733" y="157"/>
                </a:cxn>
                <a:cxn ang="0">
                  <a:pos x="5483" y="185"/>
                </a:cxn>
                <a:cxn ang="0">
                  <a:pos x="5261" y="195"/>
                </a:cxn>
                <a:cxn ang="0">
                  <a:pos x="5060" y="193"/>
                </a:cxn>
                <a:cxn ang="0">
                  <a:pos x="4867" y="186"/>
                </a:cxn>
                <a:cxn ang="0">
                  <a:pos x="4735" y="173"/>
                </a:cxn>
                <a:cxn ang="0">
                  <a:pos x="4306" y="110"/>
                </a:cxn>
                <a:cxn ang="0">
                  <a:pos x="3909" y="53"/>
                </a:cxn>
                <a:cxn ang="0">
                  <a:pos x="3641" y="21"/>
                </a:cxn>
                <a:cxn ang="0">
                  <a:pos x="3390" y="2"/>
                </a:cxn>
                <a:cxn ang="0">
                  <a:pos x="3224" y="0"/>
                </a:cxn>
                <a:cxn ang="0">
                  <a:pos x="3128" y="6"/>
                </a:cxn>
                <a:cxn ang="0">
                  <a:pos x="3012" y="20"/>
                </a:cxn>
                <a:cxn ang="0">
                  <a:pos x="2863" y="33"/>
                </a:cxn>
                <a:cxn ang="0">
                  <a:pos x="2635" y="44"/>
                </a:cxn>
                <a:cxn ang="0">
                  <a:pos x="2207" y="54"/>
                </a:cxn>
                <a:cxn ang="0">
                  <a:pos x="1969" y="70"/>
                </a:cxn>
                <a:cxn ang="0">
                  <a:pos x="1626" y="101"/>
                </a:cxn>
                <a:cxn ang="0">
                  <a:pos x="1313" y="107"/>
                </a:cxn>
                <a:cxn ang="0">
                  <a:pos x="1031" y="98"/>
                </a:cxn>
                <a:cxn ang="0">
                  <a:pos x="776" y="80"/>
                </a:cxn>
                <a:cxn ang="0">
                  <a:pos x="443" y="54"/>
                </a:cxn>
                <a:cxn ang="0">
                  <a:pos x="250" y="47"/>
                </a:cxn>
                <a:cxn ang="0">
                  <a:pos x="119" y="53"/>
                </a:cxn>
                <a:cxn ang="0">
                  <a:pos x="0" y="70"/>
                </a:cxn>
                <a:cxn ang="0">
                  <a:pos x="1497" y="701"/>
                </a:cxn>
                <a:cxn ang="0">
                  <a:pos x="2732" y="665"/>
                </a:cxn>
                <a:cxn ang="0">
                  <a:pos x="3966" y="629"/>
                </a:cxn>
                <a:cxn ang="0">
                  <a:pos x="5200" y="593"/>
                </a:cxn>
                <a:cxn ang="0">
                  <a:pos x="6434" y="558"/>
                </a:cxn>
                <a:cxn ang="0">
                  <a:pos x="7668" y="522"/>
                </a:cxn>
                <a:cxn ang="0">
                  <a:pos x="8902" y="486"/>
                </a:cxn>
                <a:cxn ang="0">
                  <a:pos x="10136" y="449"/>
                </a:cxn>
                <a:cxn ang="0">
                  <a:pos x="10656" y="400"/>
                </a:cxn>
                <a:cxn ang="0">
                  <a:pos x="10400" y="329"/>
                </a:cxn>
                <a:cxn ang="0">
                  <a:pos x="10230" y="290"/>
                </a:cxn>
                <a:cxn ang="0">
                  <a:pos x="9944" y="240"/>
                </a:cxn>
                <a:cxn ang="0">
                  <a:pos x="9740" y="220"/>
                </a:cxn>
              </a:cxnLst>
              <a:rect l="0" t="0" r="r" b="b"/>
              <a:pathLst>
                <a:path w="10754" h="719">
                  <a:moveTo>
                    <a:pt x="9638" y="216"/>
                  </a:moveTo>
                  <a:lnTo>
                    <a:pt x="9385" y="213"/>
                  </a:lnTo>
                  <a:lnTo>
                    <a:pt x="9055" y="213"/>
                  </a:lnTo>
                  <a:lnTo>
                    <a:pt x="8277" y="216"/>
                  </a:lnTo>
                  <a:lnTo>
                    <a:pt x="7530" y="220"/>
                  </a:lnTo>
                  <a:lnTo>
                    <a:pt x="7237" y="220"/>
                  </a:lnTo>
                  <a:lnTo>
                    <a:pt x="7038" y="217"/>
                  </a:lnTo>
                  <a:lnTo>
                    <a:pt x="6887" y="209"/>
                  </a:lnTo>
                  <a:lnTo>
                    <a:pt x="6723" y="196"/>
                  </a:lnTo>
                  <a:lnTo>
                    <a:pt x="6376" y="163"/>
                  </a:lnTo>
                  <a:lnTo>
                    <a:pt x="6203" y="150"/>
                  </a:lnTo>
                  <a:lnTo>
                    <a:pt x="6034" y="143"/>
                  </a:lnTo>
                  <a:lnTo>
                    <a:pt x="5955" y="142"/>
                  </a:lnTo>
                  <a:lnTo>
                    <a:pt x="5876" y="144"/>
                  </a:lnTo>
                  <a:lnTo>
                    <a:pt x="5803" y="149"/>
                  </a:lnTo>
                  <a:lnTo>
                    <a:pt x="5733" y="157"/>
                  </a:lnTo>
                  <a:lnTo>
                    <a:pt x="5604" y="173"/>
                  </a:lnTo>
                  <a:lnTo>
                    <a:pt x="5483" y="185"/>
                  </a:lnTo>
                  <a:lnTo>
                    <a:pt x="5370" y="192"/>
                  </a:lnTo>
                  <a:lnTo>
                    <a:pt x="5261" y="195"/>
                  </a:lnTo>
                  <a:lnTo>
                    <a:pt x="5159" y="195"/>
                  </a:lnTo>
                  <a:lnTo>
                    <a:pt x="5060" y="193"/>
                  </a:lnTo>
                  <a:lnTo>
                    <a:pt x="4963" y="190"/>
                  </a:lnTo>
                  <a:lnTo>
                    <a:pt x="4867" y="186"/>
                  </a:lnTo>
                  <a:lnTo>
                    <a:pt x="4810" y="183"/>
                  </a:lnTo>
                  <a:lnTo>
                    <a:pt x="4735" y="173"/>
                  </a:lnTo>
                  <a:lnTo>
                    <a:pt x="4542" y="146"/>
                  </a:lnTo>
                  <a:lnTo>
                    <a:pt x="4306" y="110"/>
                  </a:lnTo>
                  <a:lnTo>
                    <a:pt x="4044" y="71"/>
                  </a:lnTo>
                  <a:lnTo>
                    <a:pt x="3909" y="53"/>
                  </a:lnTo>
                  <a:lnTo>
                    <a:pt x="3773" y="36"/>
                  </a:lnTo>
                  <a:lnTo>
                    <a:pt x="3641" y="21"/>
                  </a:lnTo>
                  <a:lnTo>
                    <a:pt x="3512" y="11"/>
                  </a:lnTo>
                  <a:lnTo>
                    <a:pt x="3390" y="2"/>
                  </a:lnTo>
                  <a:lnTo>
                    <a:pt x="3277" y="0"/>
                  </a:lnTo>
                  <a:lnTo>
                    <a:pt x="3224" y="0"/>
                  </a:lnTo>
                  <a:lnTo>
                    <a:pt x="3175" y="2"/>
                  </a:lnTo>
                  <a:lnTo>
                    <a:pt x="3128" y="6"/>
                  </a:lnTo>
                  <a:lnTo>
                    <a:pt x="3085" y="11"/>
                  </a:lnTo>
                  <a:lnTo>
                    <a:pt x="3012" y="20"/>
                  </a:lnTo>
                  <a:lnTo>
                    <a:pt x="2939" y="27"/>
                  </a:lnTo>
                  <a:lnTo>
                    <a:pt x="2863" y="33"/>
                  </a:lnTo>
                  <a:lnTo>
                    <a:pt x="2787" y="38"/>
                  </a:lnTo>
                  <a:lnTo>
                    <a:pt x="2635" y="44"/>
                  </a:lnTo>
                  <a:lnTo>
                    <a:pt x="2486" y="48"/>
                  </a:lnTo>
                  <a:lnTo>
                    <a:pt x="2207" y="54"/>
                  </a:lnTo>
                  <a:lnTo>
                    <a:pt x="2081" y="60"/>
                  </a:lnTo>
                  <a:lnTo>
                    <a:pt x="1969" y="70"/>
                  </a:lnTo>
                  <a:lnTo>
                    <a:pt x="1794" y="89"/>
                  </a:lnTo>
                  <a:lnTo>
                    <a:pt x="1626" y="101"/>
                  </a:lnTo>
                  <a:lnTo>
                    <a:pt x="1466" y="106"/>
                  </a:lnTo>
                  <a:lnTo>
                    <a:pt x="1313" y="107"/>
                  </a:lnTo>
                  <a:lnTo>
                    <a:pt x="1169" y="104"/>
                  </a:lnTo>
                  <a:lnTo>
                    <a:pt x="1031" y="98"/>
                  </a:lnTo>
                  <a:lnTo>
                    <a:pt x="900" y="90"/>
                  </a:lnTo>
                  <a:lnTo>
                    <a:pt x="776" y="80"/>
                  </a:lnTo>
                  <a:lnTo>
                    <a:pt x="547" y="61"/>
                  </a:lnTo>
                  <a:lnTo>
                    <a:pt x="443" y="54"/>
                  </a:lnTo>
                  <a:lnTo>
                    <a:pt x="344" y="49"/>
                  </a:lnTo>
                  <a:lnTo>
                    <a:pt x="250" y="47"/>
                  </a:lnTo>
                  <a:lnTo>
                    <a:pt x="162" y="49"/>
                  </a:lnTo>
                  <a:lnTo>
                    <a:pt x="119" y="53"/>
                  </a:lnTo>
                  <a:lnTo>
                    <a:pt x="78" y="56"/>
                  </a:lnTo>
                  <a:lnTo>
                    <a:pt x="0" y="70"/>
                  </a:lnTo>
                  <a:lnTo>
                    <a:pt x="881" y="719"/>
                  </a:lnTo>
                  <a:lnTo>
                    <a:pt x="1497" y="701"/>
                  </a:lnTo>
                  <a:lnTo>
                    <a:pt x="2115" y="683"/>
                  </a:lnTo>
                  <a:lnTo>
                    <a:pt x="2732" y="665"/>
                  </a:lnTo>
                  <a:lnTo>
                    <a:pt x="3349" y="647"/>
                  </a:lnTo>
                  <a:lnTo>
                    <a:pt x="3966" y="629"/>
                  </a:lnTo>
                  <a:lnTo>
                    <a:pt x="4583" y="611"/>
                  </a:lnTo>
                  <a:lnTo>
                    <a:pt x="5200" y="593"/>
                  </a:lnTo>
                  <a:lnTo>
                    <a:pt x="5817" y="576"/>
                  </a:lnTo>
                  <a:lnTo>
                    <a:pt x="6434" y="558"/>
                  </a:lnTo>
                  <a:lnTo>
                    <a:pt x="7052" y="540"/>
                  </a:lnTo>
                  <a:lnTo>
                    <a:pt x="7668" y="522"/>
                  </a:lnTo>
                  <a:lnTo>
                    <a:pt x="8286" y="504"/>
                  </a:lnTo>
                  <a:lnTo>
                    <a:pt x="8902" y="486"/>
                  </a:lnTo>
                  <a:lnTo>
                    <a:pt x="9520" y="467"/>
                  </a:lnTo>
                  <a:lnTo>
                    <a:pt x="10136" y="449"/>
                  </a:lnTo>
                  <a:lnTo>
                    <a:pt x="10754" y="433"/>
                  </a:lnTo>
                  <a:lnTo>
                    <a:pt x="10656" y="400"/>
                  </a:lnTo>
                  <a:lnTo>
                    <a:pt x="10544" y="368"/>
                  </a:lnTo>
                  <a:lnTo>
                    <a:pt x="10400" y="329"/>
                  </a:lnTo>
                  <a:lnTo>
                    <a:pt x="10318" y="309"/>
                  </a:lnTo>
                  <a:lnTo>
                    <a:pt x="10230" y="290"/>
                  </a:lnTo>
                  <a:lnTo>
                    <a:pt x="10042" y="255"/>
                  </a:lnTo>
                  <a:lnTo>
                    <a:pt x="9944" y="240"/>
                  </a:lnTo>
                  <a:lnTo>
                    <a:pt x="9842" y="228"/>
                  </a:lnTo>
                  <a:lnTo>
                    <a:pt x="9740" y="220"/>
                  </a:lnTo>
                  <a:lnTo>
                    <a:pt x="9638" y="2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7" name="Freeform 49"/>
            <p:cNvSpPr>
              <a:spLocks/>
            </p:cNvSpPr>
            <p:nvPr userDrawn="1"/>
          </p:nvSpPr>
          <p:spPr bwMode="auto">
            <a:xfrm>
              <a:off x="3903663" y="6438901"/>
              <a:ext cx="3119438" cy="184150"/>
            </a:xfrm>
            <a:custGeom>
              <a:avLst/>
              <a:gdLst/>
              <a:ahLst/>
              <a:cxnLst>
                <a:cxn ang="0">
                  <a:pos x="8912" y="209"/>
                </a:cxn>
                <a:cxn ang="0">
                  <a:pos x="7820" y="109"/>
                </a:cxn>
                <a:cxn ang="0">
                  <a:pos x="7719" y="102"/>
                </a:cxn>
                <a:cxn ang="0">
                  <a:pos x="7596" y="99"/>
                </a:cxn>
                <a:cxn ang="0">
                  <a:pos x="7318" y="102"/>
                </a:cxn>
                <a:cxn ang="0">
                  <a:pos x="7180" y="109"/>
                </a:cxn>
                <a:cxn ang="0">
                  <a:pos x="6941" y="132"/>
                </a:cxn>
                <a:cxn ang="0">
                  <a:pos x="6857" y="148"/>
                </a:cxn>
                <a:cxn ang="0">
                  <a:pos x="6798" y="158"/>
                </a:cxn>
                <a:cxn ang="0">
                  <a:pos x="6723" y="161"/>
                </a:cxn>
                <a:cxn ang="0">
                  <a:pos x="6607" y="159"/>
                </a:cxn>
                <a:cxn ang="0">
                  <a:pos x="6416" y="144"/>
                </a:cxn>
                <a:cxn ang="0">
                  <a:pos x="6232" y="123"/>
                </a:cxn>
                <a:cxn ang="0">
                  <a:pos x="6088" y="101"/>
                </a:cxn>
                <a:cxn ang="0">
                  <a:pos x="5935" y="71"/>
                </a:cxn>
                <a:cxn ang="0">
                  <a:pos x="5712" y="37"/>
                </a:cxn>
                <a:cxn ang="0">
                  <a:pos x="5541" y="20"/>
                </a:cxn>
                <a:cxn ang="0">
                  <a:pos x="5375" y="24"/>
                </a:cxn>
                <a:cxn ang="0">
                  <a:pos x="5188" y="43"/>
                </a:cxn>
                <a:cxn ang="0">
                  <a:pos x="5004" y="78"/>
                </a:cxn>
                <a:cxn ang="0">
                  <a:pos x="4899" y="107"/>
                </a:cxn>
                <a:cxn ang="0">
                  <a:pos x="4828" y="120"/>
                </a:cxn>
                <a:cxn ang="0">
                  <a:pos x="4719" y="131"/>
                </a:cxn>
                <a:cxn ang="0">
                  <a:pos x="4598" y="135"/>
                </a:cxn>
                <a:cxn ang="0">
                  <a:pos x="4248" y="127"/>
                </a:cxn>
                <a:cxn ang="0">
                  <a:pos x="4125" y="130"/>
                </a:cxn>
                <a:cxn ang="0">
                  <a:pos x="4075" y="136"/>
                </a:cxn>
                <a:cxn ang="0">
                  <a:pos x="4010" y="129"/>
                </a:cxn>
                <a:cxn ang="0">
                  <a:pos x="3966" y="113"/>
                </a:cxn>
                <a:cxn ang="0">
                  <a:pos x="3839" y="47"/>
                </a:cxn>
                <a:cxn ang="0">
                  <a:pos x="3747" y="11"/>
                </a:cxn>
                <a:cxn ang="0">
                  <a:pos x="3680" y="2"/>
                </a:cxn>
                <a:cxn ang="0">
                  <a:pos x="3456" y="1"/>
                </a:cxn>
                <a:cxn ang="0">
                  <a:pos x="3029" y="11"/>
                </a:cxn>
                <a:cxn ang="0">
                  <a:pos x="2789" y="6"/>
                </a:cxn>
                <a:cxn ang="0">
                  <a:pos x="2677" y="2"/>
                </a:cxn>
                <a:cxn ang="0">
                  <a:pos x="2421" y="13"/>
                </a:cxn>
                <a:cxn ang="0">
                  <a:pos x="2017" y="46"/>
                </a:cxn>
                <a:cxn ang="0">
                  <a:pos x="1833" y="54"/>
                </a:cxn>
                <a:cxn ang="0">
                  <a:pos x="1730" y="55"/>
                </a:cxn>
                <a:cxn ang="0">
                  <a:pos x="1651" y="65"/>
                </a:cxn>
                <a:cxn ang="0">
                  <a:pos x="1588" y="84"/>
                </a:cxn>
                <a:cxn ang="0">
                  <a:pos x="1539" y="109"/>
                </a:cxn>
                <a:cxn ang="0">
                  <a:pos x="1481" y="153"/>
                </a:cxn>
                <a:cxn ang="0">
                  <a:pos x="1415" y="208"/>
                </a:cxn>
                <a:cxn ang="0">
                  <a:pos x="1379" y="228"/>
                </a:cxn>
                <a:cxn ang="0">
                  <a:pos x="1290" y="256"/>
                </a:cxn>
                <a:cxn ang="0">
                  <a:pos x="650" y="421"/>
                </a:cxn>
                <a:cxn ang="0">
                  <a:pos x="0" y="580"/>
                </a:cxn>
                <a:cxn ang="0">
                  <a:pos x="1084" y="412"/>
                </a:cxn>
                <a:cxn ang="0">
                  <a:pos x="2169" y="247"/>
                </a:cxn>
                <a:cxn ang="0">
                  <a:pos x="3581" y="253"/>
                </a:cxn>
                <a:cxn ang="0">
                  <a:pos x="5114" y="248"/>
                </a:cxn>
                <a:cxn ang="0">
                  <a:pos x="6648" y="244"/>
                </a:cxn>
                <a:cxn ang="0">
                  <a:pos x="8237" y="266"/>
                </a:cxn>
                <a:cxn ang="0">
                  <a:pos x="9827" y="289"/>
                </a:cxn>
              </a:cxnLst>
              <a:rect l="0" t="0" r="r" b="b"/>
              <a:pathLst>
                <a:path w="9827" h="580">
                  <a:moveTo>
                    <a:pt x="9827" y="289"/>
                  </a:moveTo>
                  <a:lnTo>
                    <a:pt x="8912" y="209"/>
                  </a:lnTo>
                  <a:lnTo>
                    <a:pt x="8233" y="149"/>
                  </a:lnTo>
                  <a:lnTo>
                    <a:pt x="7820" y="109"/>
                  </a:lnTo>
                  <a:lnTo>
                    <a:pt x="7772" y="106"/>
                  </a:lnTo>
                  <a:lnTo>
                    <a:pt x="7719" y="102"/>
                  </a:lnTo>
                  <a:lnTo>
                    <a:pt x="7659" y="100"/>
                  </a:lnTo>
                  <a:lnTo>
                    <a:pt x="7596" y="99"/>
                  </a:lnTo>
                  <a:lnTo>
                    <a:pt x="7459" y="99"/>
                  </a:lnTo>
                  <a:lnTo>
                    <a:pt x="7318" y="102"/>
                  </a:lnTo>
                  <a:lnTo>
                    <a:pt x="7248" y="106"/>
                  </a:lnTo>
                  <a:lnTo>
                    <a:pt x="7180" y="109"/>
                  </a:lnTo>
                  <a:lnTo>
                    <a:pt x="7051" y="120"/>
                  </a:lnTo>
                  <a:lnTo>
                    <a:pt x="6941" y="132"/>
                  </a:lnTo>
                  <a:lnTo>
                    <a:pt x="6896" y="140"/>
                  </a:lnTo>
                  <a:lnTo>
                    <a:pt x="6857" y="148"/>
                  </a:lnTo>
                  <a:lnTo>
                    <a:pt x="6820" y="155"/>
                  </a:lnTo>
                  <a:lnTo>
                    <a:pt x="6798" y="158"/>
                  </a:lnTo>
                  <a:lnTo>
                    <a:pt x="6774" y="159"/>
                  </a:lnTo>
                  <a:lnTo>
                    <a:pt x="6723" y="161"/>
                  </a:lnTo>
                  <a:lnTo>
                    <a:pt x="6667" y="160"/>
                  </a:lnTo>
                  <a:lnTo>
                    <a:pt x="6607" y="159"/>
                  </a:lnTo>
                  <a:lnTo>
                    <a:pt x="6544" y="155"/>
                  </a:lnTo>
                  <a:lnTo>
                    <a:pt x="6416" y="144"/>
                  </a:lnTo>
                  <a:lnTo>
                    <a:pt x="6291" y="130"/>
                  </a:lnTo>
                  <a:lnTo>
                    <a:pt x="6232" y="123"/>
                  </a:lnTo>
                  <a:lnTo>
                    <a:pt x="6179" y="114"/>
                  </a:lnTo>
                  <a:lnTo>
                    <a:pt x="6088" y="101"/>
                  </a:lnTo>
                  <a:lnTo>
                    <a:pt x="6029" y="89"/>
                  </a:lnTo>
                  <a:lnTo>
                    <a:pt x="5935" y="71"/>
                  </a:lnTo>
                  <a:lnTo>
                    <a:pt x="5825" y="54"/>
                  </a:lnTo>
                  <a:lnTo>
                    <a:pt x="5712" y="37"/>
                  </a:lnTo>
                  <a:lnTo>
                    <a:pt x="5608" y="25"/>
                  </a:lnTo>
                  <a:lnTo>
                    <a:pt x="5541" y="20"/>
                  </a:lnTo>
                  <a:lnTo>
                    <a:pt x="5463" y="20"/>
                  </a:lnTo>
                  <a:lnTo>
                    <a:pt x="5375" y="24"/>
                  </a:lnTo>
                  <a:lnTo>
                    <a:pt x="5283" y="31"/>
                  </a:lnTo>
                  <a:lnTo>
                    <a:pt x="5188" y="43"/>
                  </a:lnTo>
                  <a:lnTo>
                    <a:pt x="5094" y="59"/>
                  </a:lnTo>
                  <a:lnTo>
                    <a:pt x="5004" y="78"/>
                  </a:lnTo>
                  <a:lnTo>
                    <a:pt x="4920" y="101"/>
                  </a:lnTo>
                  <a:lnTo>
                    <a:pt x="4899" y="107"/>
                  </a:lnTo>
                  <a:lnTo>
                    <a:pt x="4878" y="112"/>
                  </a:lnTo>
                  <a:lnTo>
                    <a:pt x="4828" y="120"/>
                  </a:lnTo>
                  <a:lnTo>
                    <a:pt x="4775" y="127"/>
                  </a:lnTo>
                  <a:lnTo>
                    <a:pt x="4719" y="131"/>
                  </a:lnTo>
                  <a:lnTo>
                    <a:pt x="4660" y="134"/>
                  </a:lnTo>
                  <a:lnTo>
                    <a:pt x="4598" y="135"/>
                  </a:lnTo>
                  <a:lnTo>
                    <a:pt x="4475" y="134"/>
                  </a:lnTo>
                  <a:lnTo>
                    <a:pt x="4248" y="127"/>
                  </a:lnTo>
                  <a:lnTo>
                    <a:pt x="4159" y="127"/>
                  </a:lnTo>
                  <a:lnTo>
                    <a:pt x="4125" y="130"/>
                  </a:lnTo>
                  <a:lnTo>
                    <a:pt x="4097" y="134"/>
                  </a:lnTo>
                  <a:lnTo>
                    <a:pt x="4075" y="136"/>
                  </a:lnTo>
                  <a:lnTo>
                    <a:pt x="4053" y="136"/>
                  </a:lnTo>
                  <a:lnTo>
                    <a:pt x="4010" y="129"/>
                  </a:lnTo>
                  <a:lnTo>
                    <a:pt x="3988" y="121"/>
                  </a:lnTo>
                  <a:lnTo>
                    <a:pt x="3966" y="113"/>
                  </a:lnTo>
                  <a:lnTo>
                    <a:pt x="3925" y="93"/>
                  </a:lnTo>
                  <a:lnTo>
                    <a:pt x="3839" y="47"/>
                  </a:lnTo>
                  <a:lnTo>
                    <a:pt x="3794" y="27"/>
                  </a:lnTo>
                  <a:lnTo>
                    <a:pt x="3747" y="11"/>
                  </a:lnTo>
                  <a:lnTo>
                    <a:pt x="3718" y="6"/>
                  </a:lnTo>
                  <a:lnTo>
                    <a:pt x="3680" y="2"/>
                  </a:lnTo>
                  <a:lnTo>
                    <a:pt x="3580" y="0"/>
                  </a:lnTo>
                  <a:lnTo>
                    <a:pt x="3456" y="1"/>
                  </a:lnTo>
                  <a:lnTo>
                    <a:pt x="3317" y="4"/>
                  </a:lnTo>
                  <a:lnTo>
                    <a:pt x="3029" y="11"/>
                  </a:lnTo>
                  <a:lnTo>
                    <a:pt x="2899" y="11"/>
                  </a:lnTo>
                  <a:lnTo>
                    <a:pt x="2789" y="6"/>
                  </a:lnTo>
                  <a:lnTo>
                    <a:pt x="2734" y="4"/>
                  </a:lnTo>
                  <a:lnTo>
                    <a:pt x="2677" y="2"/>
                  </a:lnTo>
                  <a:lnTo>
                    <a:pt x="2553" y="5"/>
                  </a:lnTo>
                  <a:lnTo>
                    <a:pt x="2421" y="13"/>
                  </a:lnTo>
                  <a:lnTo>
                    <a:pt x="2285" y="24"/>
                  </a:lnTo>
                  <a:lnTo>
                    <a:pt x="2017" y="46"/>
                  </a:lnTo>
                  <a:lnTo>
                    <a:pt x="1892" y="53"/>
                  </a:lnTo>
                  <a:lnTo>
                    <a:pt x="1833" y="54"/>
                  </a:lnTo>
                  <a:lnTo>
                    <a:pt x="1779" y="54"/>
                  </a:lnTo>
                  <a:lnTo>
                    <a:pt x="1730" y="55"/>
                  </a:lnTo>
                  <a:lnTo>
                    <a:pt x="1689" y="59"/>
                  </a:lnTo>
                  <a:lnTo>
                    <a:pt x="1651" y="65"/>
                  </a:lnTo>
                  <a:lnTo>
                    <a:pt x="1618" y="73"/>
                  </a:lnTo>
                  <a:lnTo>
                    <a:pt x="1588" y="84"/>
                  </a:lnTo>
                  <a:lnTo>
                    <a:pt x="1563" y="96"/>
                  </a:lnTo>
                  <a:lnTo>
                    <a:pt x="1539" y="109"/>
                  </a:lnTo>
                  <a:lnTo>
                    <a:pt x="1518" y="124"/>
                  </a:lnTo>
                  <a:lnTo>
                    <a:pt x="1481" y="153"/>
                  </a:lnTo>
                  <a:lnTo>
                    <a:pt x="1447" y="182"/>
                  </a:lnTo>
                  <a:lnTo>
                    <a:pt x="1415" y="208"/>
                  </a:lnTo>
                  <a:lnTo>
                    <a:pt x="1398" y="219"/>
                  </a:lnTo>
                  <a:lnTo>
                    <a:pt x="1379" y="228"/>
                  </a:lnTo>
                  <a:lnTo>
                    <a:pt x="1346" y="239"/>
                  </a:lnTo>
                  <a:lnTo>
                    <a:pt x="1290" y="256"/>
                  </a:lnTo>
                  <a:lnTo>
                    <a:pt x="1119" y="302"/>
                  </a:lnTo>
                  <a:lnTo>
                    <a:pt x="650" y="421"/>
                  </a:lnTo>
                  <a:lnTo>
                    <a:pt x="201" y="531"/>
                  </a:lnTo>
                  <a:lnTo>
                    <a:pt x="0" y="580"/>
                  </a:lnTo>
                  <a:lnTo>
                    <a:pt x="542" y="495"/>
                  </a:lnTo>
                  <a:lnTo>
                    <a:pt x="1084" y="412"/>
                  </a:lnTo>
                  <a:lnTo>
                    <a:pt x="1626" y="329"/>
                  </a:lnTo>
                  <a:lnTo>
                    <a:pt x="2169" y="247"/>
                  </a:lnTo>
                  <a:lnTo>
                    <a:pt x="2874" y="249"/>
                  </a:lnTo>
                  <a:lnTo>
                    <a:pt x="3581" y="253"/>
                  </a:lnTo>
                  <a:lnTo>
                    <a:pt x="4347" y="250"/>
                  </a:lnTo>
                  <a:lnTo>
                    <a:pt x="5114" y="248"/>
                  </a:lnTo>
                  <a:lnTo>
                    <a:pt x="5881" y="245"/>
                  </a:lnTo>
                  <a:lnTo>
                    <a:pt x="6648" y="244"/>
                  </a:lnTo>
                  <a:lnTo>
                    <a:pt x="7442" y="255"/>
                  </a:lnTo>
                  <a:lnTo>
                    <a:pt x="8237" y="266"/>
                  </a:lnTo>
                  <a:lnTo>
                    <a:pt x="9031" y="277"/>
                  </a:lnTo>
                  <a:lnTo>
                    <a:pt x="9827" y="2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8" name="Freeform 50"/>
            <p:cNvSpPr>
              <a:spLocks/>
            </p:cNvSpPr>
            <p:nvPr userDrawn="1"/>
          </p:nvSpPr>
          <p:spPr bwMode="auto">
            <a:xfrm>
              <a:off x="3948113" y="6484938"/>
              <a:ext cx="3306763" cy="184150"/>
            </a:xfrm>
            <a:custGeom>
              <a:avLst/>
              <a:gdLst/>
              <a:ahLst/>
              <a:cxnLst>
                <a:cxn ang="0">
                  <a:pos x="7060" y="3"/>
                </a:cxn>
                <a:cxn ang="0">
                  <a:pos x="6185" y="40"/>
                </a:cxn>
                <a:cxn ang="0">
                  <a:pos x="6091" y="35"/>
                </a:cxn>
                <a:cxn ang="0">
                  <a:pos x="6002" y="45"/>
                </a:cxn>
                <a:cxn ang="0">
                  <a:pos x="5911" y="57"/>
                </a:cxn>
                <a:cxn ang="0">
                  <a:pos x="5784" y="60"/>
                </a:cxn>
                <a:cxn ang="0">
                  <a:pos x="5682" y="58"/>
                </a:cxn>
                <a:cxn ang="0">
                  <a:pos x="5534" y="51"/>
                </a:cxn>
                <a:cxn ang="0">
                  <a:pos x="5325" y="48"/>
                </a:cxn>
                <a:cxn ang="0">
                  <a:pos x="5195" y="45"/>
                </a:cxn>
                <a:cxn ang="0">
                  <a:pos x="4981" y="36"/>
                </a:cxn>
                <a:cxn ang="0">
                  <a:pos x="4799" y="38"/>
                </a:cxn>
                <a:cxn ang="0">
                  <a:pos x="4528" y="32"/>
                </a:cxn>
                <a:cxn ang="0">
                  <a:pos x="4267" y="33"/>
                </a:cxn>
                <a:cxn ang="0">
                  <a:pos x="3976" y="41"/>
                </a:cxn>
                <a:cxn ang="0">
                  <a:pos x="3853" y="35"/>
                </a:cxn>
                <a:cxn ang="0">
                  <a:pos x="3676" y="17"/>
                </a:cxn>
                <a:cxn ang="0">
                  <a:pos x="3563" y="15"/>
                </a:cxn>
                <a:cxn ang="0">
                  <a:pos x="3506" y="27"/>
                </a:cxn>
                <a:cxn ang="0">
                  <a:pos x="3327" y="76"/>
                </a:cxn>
                <a:cxn ang="0">
                  <a:pos x="3209" y="98"/>
                </a:cxn>
                <a:cxn ang="0">
                  <a:pos x="3150" y="103"/>
                </a:cxn>
                <a:cxn ang="0">
                  <a:pos x="3098" y="101"/>
                </a:cxn>
                <a:cxn ang="0">
                  <a:pos x="3014" y="89"/>
                </a:cxn>
                <a:cxn ang="0">
                  <a:pos x="2920" y="66"/>
                </a:cxn>
                <a:cxn ang="0">
                  <a:pos x="2838" y="60"/>
                </a:cxn>
                <a:cxn ang="0">
                  <a:pos x="2728" y="48"/>
                </a:cxn>
                <a:cxn ang="0">
                  <a:pos x="2687" y="47"/>
                </a:cxn>
                <a:cxn ang="0">
                  <a:pos x="2679" y="33"/>
                </a:cxn>
                <a:cxn ang="0">
                  <a:pos x="2666" y="18"/>
                </a:cxn>
                <a:cxn ang="0">
                  <a:pos x="2634" y="5"/>
                </a:cxn>
                <a:cxn ang="0">
                  <a:pos x="2549" y="0"/>
                </a:cxn>
                <a:cxn ang="0">
                  <a:pos x="2191" y="22"/>
                </a:cxn>
                <a:cxn ang="0">
                  <a:pos x="1925" y="41"/>
                </a:cxn>
                <a:cxn ang="0">
                  <a:pos x="1884" y="62"/>
                </a:cxn>
                <a:cxn ang="0">
                  <a:pos x="1836" y="77"/>
                </a:cxn>
                <a:cxn ang="0">
                  <a:pos x="1758" y="84"/>
                </a:cxn>
                <a:cxn ang="0">
                  <a:pos x="1660" y="94"/>
                </a:cxn>
                <a:cxn ang="0">
                  <a:pos x="1564" y="118"/>
                </a:cxn>
                <a:cxn ang="0">
                  <a:pos x="1430" y="154"/>
                </a:cxn>
                <a:cxn ang="0">
                  <a:pos x="1270" y="176"/>
                </a:cxn>
                <a:cxn ang="0">
                  <a:pos x="904" y="230"/>
                </a:cxn>
                <a:cxn ang="0">
                  <a:pos x="650" y="524"/>
                </a:cxn>
                <a:cxn ang="0">
                  <a:pos x="1952" y="532"/>
                </a:cxn>
                <a:cxn ang="0">
                  <a:pos x="3253" y="539"/>
                </a:cxn>
                <a:cxn ang="0">
                  <a:pos x="4556" y="546"/>
                </a:cxn>
                <a:cxn ang="0">
                  <a:pos x="5858" y="555"/>
                </a:cxn>
                <a:cxn ang="0">
                  <a:pos x="7160" y="562"/>
                </a:cxn>
                <a:cxn ang="0">
                  <a:pos x="8462" y="569"/>
                </a:cxn>
                <a:cxn ang="0">
                  <a:pos x="9765" y="576"/>
                </a:cxn>
                <a:cxn ang="0">
                  <a:pos x="10238" y="499"/>
                </a:cxn>
                <a:cxn ang="0">
                  <a:pos x="9933" y="368"/>
                </a:cxn>
                <a:cxn ang="0">
                  <a:pos x="9686" y="271"/>
                </a:cxn>
                <a:cxn ang="0">
                  <a:pos x="9430" y="178"/>
                </a:cxn>
                <a:cxn ang="0">
                  <a:pos x="9184" y="104"/>
                </a:cxn>
                <a:cxn ang="0">
                  <a:pos x="8969" y="60"/>
                </a:cxn>
                <a:cxn ang="0">
                  <a:pos x="8111" y="41"/>
                </a:cxn>
              </a:cxnLst>
              <a:rect l="0" t="0" r="r" b="b"/>
              <a:pathLst>
                <a:path w="10416" h="581">
                  <a:moveTo>
                    <a:pt x="7676" y="33"/>
                  </a:moveTo>
                  <a:lnTo>
                    <a:pt x="7060" y="3"/>
                  </a:lnTo>
                  <a:lnTo>
                    <a:pt x="6196" y="44"/>
                  </a:lnTo>
                  <a:lnTo>
                    <a:pt x="6185" y="40"/>
                  </a:lnTo>
                  <a:lnTo>
                    <a:pt x="6150" y="35"/>
                  </a:lnTo>
                  <a:lnTo>
                    <a:pt x="6091" y="35"/>
                  </a:lnTo>
                  <a:lnTo>
                    <a:pt x="6050" y="39"/>
                  </a:lnTo>
                  <a:lnTo>
                    <a:pt x="6002" y="45"/>
                  </a:lnTo>
                  <a:lnTo>
                    <a:pt x="5954" y="52"/>
                  </a:lnTo>
                  <a:lnTo>
                    <a:pt x="5911" y="57"/>
                  </a:lnTo>
                  <a:lnTo>
                    <a:pt x="5840" y="62"/>
                  </a:lnTo>
                  <a:lnTo>
                    <a:pt x="5784" y="60"/>
                  </a:lnTo>
                  <a:lnTo>
                    <a:pt x="5737" y="60"/>
                  </a:lnTo>
                  <a:lnTo>
                    <a:pt x="5682" y="58"/>
                  </a:lnTo>
                  <a:lnTo>
                    <a:pt x="5610" y="54"/>
                  </a:lnTo>
                  <a:lnTo>
                    <a:pt x="5534" y="51"/>
                  </a:lnTo>
                  <a:lnTo>
                    <a:pt x="5461" y="48"/>
                  </a:lnTo>
                  <a:lnTo>
                    <a:pt x="5325" y="48"/>
                  </a:lnTo>
                  <a:lnTo>
                    <a:pt x="5258" y="47"/>
                  </a:lnTo>
                  <a:lnTo>
                    <a:pt x="5195" y="45"/>
                  </a:lnTo>
                  <a:lnTo>
                    <a:pt x="5059" y="39"/>
                  </a:lnTo>
                  <a:lnTo>
                    <a:pt x="4981" y="36"/>
                  </a:lnTo>
                  <a:lnTo>
                    <a:pt x="4900" y="38"/>
                  </a:lnTo>
                  <a:lnTo>
                    <a:pt x="4799" y="38"/>
                  </a:lnTo>
                  <a:lnTo>
                    <a:pt x="4668" y="35"/>
                  </a:lnTo>
                  <a:lnTo>
                    <a:pt x="4528" y="32"/>
                  </a:lnTo>
                  <a:lnTo>
                    <a:pt x="4398" y="30"/>
                  </a:lnTo>
                  <a:lnTo>
                    <a:pt x="4267" y="33"/>
                  </a:lnTo>
                  <a:lnTo>
                    <a:pt x="4120" y="39"/>
                  </a:lnTo>
                  <a:lnTo>
                    <a:pt x="3976" y="41"/>
                  </a:lnTo>
                  <a:lnTo>
                    <a:pt x="3911" y="40"/>
                  </a:lnTo>
                  <a:lnTo>
                    <a:pt x="3853" y="35"/>
                  </a:lnTo>
                  <a:lnTo>
                    <a:pt x="3755" y="24"/>
                  </a:lnTo>
                  <a:lnTo>
                    <a:pt x="3676" y="17"/>
                  </a:lnTo>
                  <a:lnTo>
                    <a:pt x="3613" y="15"/>
                  </a:lnTo>
                  <a:lnTo>
                    <a:pt x="3563" y="15"/>
                  </a:lnTo>
                  <a:lnTo>
                    <a:pt x="3537" y="18"/>
                  </a:lnTo>
                  <a:lnTo>
                    <a:pt x="3506" y="27"/>
                  </a:lnTo>
                  <a:lnTo>
                    <a:pt x="3427" y="50"/>
                  </a:lnTo>
                  <a:lnTo>
                    <a:pt x="3327" y="76"/>
                  </a:lnTo>
                  <a:lnTo>
                    <a:pt x="3269" y="88"/>
                  </a:lnTo>
                  <a:lnTo>
                    <a:pt x="3209" y="98"/>
                  </a:lnTo>
                  <a:lnTo>
                    <a:pt x="3179" y="101"/>
                  </a:lnTo>
                  <a:lnTo>
                    <a:pt x="3150" y="103"/>
                  </a:lnTo>
                  <a:lnTo>
                    <a:pt x="3123" y="103"/>
                  </a:lnTo>
                  <a:lnTo>
                    <a:pt x="3098" y="101"/>
                  </a:lnTo>
                  <a:lnTo>
                    <a:pt x="3053" y="97"/>
                  </a:lnTo>
                  <a:lnTo>
                    <a:pt x="3014" y="89"/>
                  </a:lnTo>
                  <a:lnTo>
                    <a:pt x="2949" y="72"/>
                  </a:lnTo>
                  <a:lnTo>
                    <a:pt x="2920" y="66"/>
                  </a:lnTo>
                  <a:lnTo>
                    <a:pt x="2893" y="64"/>
                  </a:lnTo>
                  <a:lnTo>
                    <a:pt x="2838" y="60"/>
                  </a:lnTo>
                  <a:lnTo>
                    <a:pt x="2779" y="54"/>
                  </a:lnTo>
                  <a:lnTo>
                    <a:pt x="2728" y="48"/>
                  </a:lnTo>
                  <a:lnTo>
                    <a:pt x="2696" y="48"/>
                  </a:lnTo>
                  <a:lnTo>
                    <a:pt x="2687" y="47"/>
                  </a:lnTo>
                  <a:lnTo>
                    <a:pt x="2683" y="41"/>
                  </a:lnTo>
                  <a:lnTo>
                    <a:pt x="2679" y="33"/>
                  </a:lnTo>
                  <a:lnTo>
                    <a:pt x="2671" y="23"/>
                  </a:lnTo>
                  <a:lnTo>
                    <a:pt x="2666" y="18"/>
                  </a:lnTo>
                  <a:lnTo>
                    <a:pt x="2657" y="14"/>
                  </a:lnTo>
                  <a:lnTo>
                    <a:pt x="2634" y="5"/>
                  </a:lnTo>
                  <a:lnTo>
                    <a:pt x="2600" y="0"/>
                  </a:lnTo>
                  <a:lnTo>
                    <a:pt x="2549" y="0"/>
                  </a:lnTo>
                  <a:lnTo>
                    <a:pt x="2390" y="10"/>
                  </a:lnTo>
                  <a:lnTo>
                    <a:pt x="2191" y="22"/>
                  </a:lnTo>
                  <a:lnTo>
                    <a:pt x="1934" y="39"/>
                  </a:lnTo>
                  <a:lnTo>
                    <a:pt x="1925" y="41"/>
                  </a:lnTo>
                  <a:lnTo>
                    <a:pt x="1914" y="46"/>
                  </a:lnTo>
                  <a:lnTo>
                    <a:pt x="1884" y="62"/>
                  </a:lnTo>
                  <a:lnTo>
                    <a:pt x="1864" y="70"/>
                  </a:lnTo>
                  <a:lnTo>
                    <a:pt x="1836" y="77"/>
                  </a:lnTo>
                  <a:lnTo>
                    <a:pt x="1801" y="82"/>
                  </a:lnTo>
                  <a:lnTo>
                    <a:pt x="1758" y="84"/>
                  </a:lnTo>
                  <a:lnTo>
                    <a:pt x="1710" y="87"/>
                  </a:lnTo>
                  <a:lnTo>
                    <a:pt x="1660" y="94"/>
                  </a:lnTo>
                  <a:lnTo>
                    <a:pt x="1612" y="105"/>
                  </a:lnTo>
                  <a:lnTo>
                    <a:pt x="1564" y="118"/>
                  </a:lnTo>
                  <a:lnTo>
                    <a:pt x="1473" y="145"/>
                  </a:lnTo>
                  <a:lnTo>
                    <a:pt x="1430" y="154"/>
                  </a:lnTo>
                  <a:lnTo>
                    <a:pt x="1391" y="160"/>
                  </a:lnTo>
                  <a:lnTo>
                    <a:pt x="1270" y="176"/>
                  </a:lnTo>
                  <a:lnTo>
                    <a:pt x="1109" y="199"/>
                  </a:lnTo>
                  <a:lnTo>
                    <a:pt x="904" y="230"/>
                  </a:lnTo>
                  <a:lnTo>
                    <a:pt x="0" y="521"/>
                  </a:lnTo>
                  <a:lnTo>
                    <a:pt x="650" y="524"/>
                  </a:lnTo>
                  <a:lnTo>
                    <a:pt x="1302" y="528"/>
                  </a:lnTo>
                  <a:lnTo>
                    <a:pt x="1952" y="532"/>
                  </a:lnTo>
                  <a:lnTo>
                    <a:pt x="2603" y="535"/>
                  </a:lnTo>
                  <a:lnTo>
                    <a:pt x="3253" y="539"/>
                  </a:lnTo>
                  <a:lnTo>
                    <a:pt x="3905" y="543"/>
                  </a:lnTo>
                  <a:lnTo>
                    <a:pt x="4556" y="546"/>
                  </a:lnTo>
                  <a:lnTo>
                    <a:pt x="5207" y="551"/>
                  </a:lnTo>
                  <a:lnTo>
                    <a:pt x="5858" y="555"/>
                  </a:lnTo>
                  <a:lnTo>
                    <a:pt x="6509" y="558"/>
                  </a:lnTo>
                  <a:lnTo>
                    <a:pt x="7160" y="562"/>
                  </a:lnTo>
                  <a:lnTo>
                    <a:pt x="7812" y="565"/>
                  </a:lnTo>
                  <a:lnTo>
                    <a:pt x="8462" y="569"/>
                  </a:lnTo>
                  <a:lnTo>
                    <a:pt x="9113" y="573"/>
                  </a:lnTo>
                  <a:lnTo>
                    <a:pt x="9765" y="576"/>
                  </a:lnTo>
                  <a:lnTo>
                    <a:pt x="10416" y="581"/>
                  </a:lnTo>
                  <a:lnTo>
                    <a:pt x="10238" y="499"/>
                  </a:lnTo>
                  <a:lnTo>
                    <a:pt x="10045" y="415"/>
                  </a:lnTo>
                  <a:lnTo>
                    <a:pt x="9933" y="368"/>
                  </a:lnTo>
                  <a:lnTo>
                    <a:pt x="9813" y="319"/>
                  </a:lnTo>
                  <a:lnTo>
                    <a:pt x="9686" y="271"/>
                  </a:lnTo>
                  <a:lnTo>
                    <a:pt x="9559" y="223"/>
                  </a:lnTo>
                  <a:lnTo>
                    <a:pt x="9430" y="178"/>
                  </a:lnTo>
                  <a:lnTo>
                    <a:pt x="9305" y="139"/>
                  </a:lnTo>
                  <a:lnTo>
                    <a:pt x="9184" y="104"/>
                  </a:lnTo>
                  <a:lnTo>
                    <a:pt x="9071" y="77"/>
                  </a:lnTo>
                  <a:lnTo>
                    <a:pt x="8969" y="60"/>
                  </a:lnTo>
                  <a:lnTo>
                    <a:pt x="8878" y="53"/>
                  </a:lnTo>
                  <a:lnTo>
                    <a:pt x="8111" y="41"/>
                  </a:lnTo>
                  <a:lnTo>
                    <a:pt x="7676" y="3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9" name="Freeform 51"/>
            <p:cNvSpPr>
              <a:spLocks/>
            </p:cNvSpPr>
            <p:nvPr userDrawn="1"/>
          </p:nvSpPr>
          <p:spPr bwMode="auto">
            <a:xfrm>
              <a:off x="1654175" y="6334126"/>
              <a:ext cx="31750" cy="36513"/>
            </a:xfrm>
            <a:custGeom>
              <a:avLst/>
              <a:gdLst/>
              <a:ahLst/>
              <a:cxnLst>
                <a:cxn ang="0">
                  <a:pos x="98" y="115"/>
                </a:cxn>
                <a:cxn ang="0">
                  <a:pos x="102" y="115"/>
                </a:cxn>
                <a:cxn ang="0">
                  <a:pos x="102" y="101"/>
                </a:cxn>
                <a:cxn ang="0">
                  <a:pos x="0" y="0"/>
                </a:cxn>
                <a:cxn ang="0">
                  <a:pos x="0" y="16"/>
                </a:cxn>
                <a:cxn ang="0">
                  <a:pos x="98" y="115"/>
                </a:cxn>
              </a:cxnLst>
              <a:rect l="0" t="0" r="r" b="b"/>
              <a:pathLst>
                <a:path w="102" h="115">
                  <a:moveTo>
                    <a:pt x="98" y="115"/>
                  </a:moveTo>
                  <a:lnTo>
                    <a:pt x="102" y="115"/>
                  </a:lnTo>
                  <a:lnTo>
                    <a:pt x="102" y="101"/>
                  </a:lnTo>
                  <a:lnTo>
                    <a:pt x="0" y="0"/>
                  </a:lnTo>
                  <a:lnTo>
                    <a:pt x="0" y="16"/>
                  </a:lnTo>
                  <a:lnTo>
                    <a:pt x="98" y="11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0" name="Freeform 52"/>
            <p:cNvSpPr>
              <a:spLocks/>
            </p:cNvSpPr>
            <p:nvPr userDrawn="1"/>
          </p:nvSpPr>
          <p:spPr bwMode="auto">
            <a:xfrm>
              <a:off x="1654175" y="6362701"/>
              <a:ext cx="7938" cy="7938"/>
            </a:xfrm>
            <a:custGeom>
              <a:avLst/>
              <a:gdLst/>
              <a:ahLst/>
              <a:cxnLst>
                <a:cxn ang="0">
                  <a:pos x="0" y="0"/>
                </a:cxn>
                <a:cxn ang="0">
                  <a:pos x="0" y="23"/>
                </a:cxn>
                <a:cxn ang="0">
                  <a:pos x="24" y="23"/>
                </a:cxn>
                <a:cxn ang="0">
                  <a:pos x="0" y="0"/>
                </a:cxn>
              </a:cxnLst>
              <a:rect l="0" t="0" r="r" b="b"/>
              <a:pathLst>
                <a:path w="24" h="23">
                  <a:moveTo>
                    <a:pt x="0" y="0"/>
                  </a:moveTo>
                  <a:lnTo>
                    <a:pt x="0" y="23"/>
                  </a:lnTo>
                  <a:lnTo>
                    <a:pt x="24" y="2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1" name="Rectangle 53"/>
            <p:cNvSpPr>
              <a:spLocks noChangeArrowheads="1"/>
            </p:cNvSpPr>
            <p:nvPr userDrawn="1"/>
          </p:nvSpPr>
          <p:spPr bwMode="auto">
            <a:xfrm>
              <a:off x="3989388" y="6373813"/>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2" name="Freeform 54"/>
            <p:cNvSpPr>
              <a:spLocks/>
            </p:cNvSpPr>
            <p:nvPr userDrawn="1"/>
          </p:nvSpPr>
          <p:spPr bwMode="auto">
            <a:xfrm>
              <a:off x="766763" y="6411913"/>
              <a:ext cx="5416550" cy="153988"/>
            </a:xfrm>
            <a:custGeom>
              <a:avLst/>
              <a:gdLst/>
              <a:ahLst/>
              <a:cxnLst>
                <a:cxn ang="0">
                  <a:pos x="41" y="469"/>
                </a:cxn>
                <a:cxn ang="0">
                  <a:pos x="164" y="427"/>
                </a:cxn>
                <a:cxn ang="0">
                  <a:pos x="361" y="367"/>
                </a:cxn>
                <a:cxn ang="0">
                  <a:pos x="630" y="298"/>
                </a:cxn>
                <a:cxn ang="0">
                  <a:pos x="874" y="245"/>
                </a:cxn>
                <a:cxn ang="0">
                  <a:pos x="1155" y="197"/>
                </a:cxn>
                <a:cxn ang="0">
                  <a:pos x="1580" y="144"/>
                </a:cxn>
                <a:cxn ang="0">
                  <a:pos x="2059" y="112"/>
                </a:cxn>
                <a:cxn ang="0">
                  <a:pos x="2318" y="107"/>
                </a:cxn>
                <a:cxn ang="0">
                  <a:pos x="2940" y="113"/>
                </a:cxn>
                <a:cxn ang="0">
                  <a:pos x="3703" y="133"/>
                </a:cxn>
                <a:cxn ang="0">
                  <a:pos x="4536" y="163"/>
                </a:cxn>
                <a:cxn ang="0">
                  <a:pos x="6140" y="234"/>
                </a:cxn>
                <a:cxn ang="0">
                  <a:pos x="7364" y="296"/>
                </a:cxn>
                <a:cxn ang="0">
                  <a:pos x="7482" y="254"/>
                </a:cxn>
                <a:cxn ang="0">
                  <a:pos x="7626" y="209"/>
                </a:cxn>
                <a:cxn ang="0">
                  <a:pos x="7826" y="159"/>
                </a:cxn>
                <a:cxn ang="0">
                  <a:pos x="8078" y="106"/>
                </a:cxn>
                <a:cxn ang="0">
                  <a:pos x="8380" y="59"/>
                </a:cxn>
                <a:cxn ang="0">
                  <a:pos x="8732" y="22"/>
                </a:cxn>
                <a:cxn ang="0">
                  <a:pos x="9130" y="0"/>
                </a:cxn>
                <a:cxn ang="0">
                  <a:pos x="9550" y="59"/>
                </a:cxn>
                <a:cxn ang="0">
                  <a:pos x="10002" y="103"/>
                </a:cxn>
                <a:cxn ang="0">
                  <a:pos x="10457" y="138"/>
                </a:cxn>
                <a:cxn ang="0">
                  <a:pos x="10892" y="162"/>
                </a:cxn>
                <a:cxn ang="0">
                  <a:pos x="11584" y="189"/>
                </a:cxn>
                <a:cxn ang="0">
                  <a:pos x="12027" y="221"/>
                </a:cxn>
                <a:cxn ang="0">
                  <a:pos x="12420" y="275"/>
                </a:cxn>
                <a:cxn ang="0">
                  <a:pos x="12654" y="302"/>
                </a:cxn>
                <a:cxn ang="0">
                  <a:pos x="12889" y="322"/>
                </a:cxn>
                <a:cxn ang="0">
                  <a:pos x="13105" y="332"/>
                </a:cxn>
                <a:cxn ang="0">
                  <a:pos x="13284" y="326"/>
                </a:cxn>
                <a:cxn ang="0">
                  <a:pos x="13458" y="314"/>
                </a:cxn>
                <a:cxn ang="0">
                  <a:pos x="13660" y="306"/>
                </a:cxn>
                <a:cxn ang="0">
                  <a:pos x="14108" y="305"/>
                </a:cxn>
                <a:cxn ang="0">
                  <a:pos x="14435" y="317"/>
                </a:cxn>
                <a:cxn ang="0">
                  <a:pos x="14627" y="329"/>
                </a:cxn>
                <a:cxn ang="0">
                  <a:pos x="14783" y="345"/>
                </a:cxn>
                <a:cxn ang="0">
                  <a:pos x="15056" y="387"/>
                </a:cxn>
                <a:cxn ang="0">
                  <a:pos x="15471" y="436"/>
                </a:cxn>
                <a:cxn ang="0">
                  <a:pos x="15862" y="468"/>
                </a:cxn>
                <a:cxn ang="0">
                  <a:pos x="16217" y="482"/>
                </a:cxn>
                <a:cxn ang="0">
                  <a:pos x="16658" y="486"/>
                </a:cxn>
                <a:cxn ang="0">
                  <a:pos x="17011" y="475"/>
                </a:cxn>
                <a:cxn ang="0">
                  <a:pos x="16098" y="470"/>
                </a:cxn>
                <a:cxn ang="0">
                  <a:pos x="14176" y="468"/>
                </a:cxn>
                <a:cxn ang="0">
                  <a:pos x="12253" y="465"/>
                </a:cxn>
                <a:cxn ang="0">
                  <a:pos x="10332" y="463"/>
                </a:cxn>
                <a:cxn ang="0">
                  <a:pos x="8409" y="460"/>
                </a:cxn>
                <a:cxn ang="0">
                  <a:pos x="6487" y="458"/>
                </a:cxn>
                <a:cxn ang="0">
                  <a:pos x="4566" y="456"/>
                </a:cxn>
                <a:cxn ang="0">
                  <a:pos x="2644" y="453"/>
                </a:cxn>
                <a:cxn ang="0">
                  <a:pos x="842" y="468"/>
                </a:cxn>
              </a:cxnLst>
              <a:rect l="0" t="0" r="r" b="b"/>
              <a:pathLst>
                <a:path w="17060" h="486">
                  <a:moveTo>
                    <a:pt x="0" y="484"/>
                  </a:moveTo>
                  <a:lnTo>
                    <a:pt x="41" y="469"/>
                  </a:lnTo>
                  <a:lnTo>
                    <a:pt x="93" y="451"/>
                  </a:lnTo>
                  <a:lnTo>
                    <a:pt x="164" y="427"/>
                  </a:lnTo>
                  <a:lnTo>
                    <a:pt x="253" y="398"/>
                  </a:lnTo>
                  <a:lnTo>
                    <a:pt x="361" y="367"/>
                  </a:lnTo>
                  <a:lnTo>
                    <a:pt x="487" y="333"/>
                  </a:lnTo>
                  <a:lnTo>
                    <a:pt x="630" y="298"/>
                  </a:lnTo>
                  <a:lnTo>
                    <a:pt x="789" y="263"/>
                  </a:lnTo>
                  <a:lnTo>
                    <a:pt x="874" y="245"/>
                  </a:lnTo>
                  <a:lnTo>
                    <a:pt x="963" y="230"/>
                  </a:lnTo>
                  <a:lnTo>
                    <a:pt x="1155" y="197"/>
                  </a:lnTo>
                  <a:lnTo>
                    <a:pt x="1360" y="168"/>
                  </a:lnTo>
                  <a:lnTo>
                    <a:pt x="1580" y="144"/>
                  </a:lnTo>
                  <a:lnTo>
                    <a:pt x="1813" y="125"/>
                  </a:lnTo>
                  <a:lnTo>
                    <a:pt x="2059" y="112"/>
                  </a:lnTo>
                  <a:lnTo>
                    <a:pt x="2187" y="108"/>
                  </a:lnTo>
                  <a:lnTo>
                    <a:pt x="2318" y="107"/>
                  </a:lnTo>
                  <a:lnTo>
                    <a:pt x="2608" y="108"/>
                  </a:lnTo>
                  <a:lnTo>
                    <a:pt x="2940" y="113"/>
                  </a:lnTo>
                  <a:lnTo>
                    <a:pt x="3309" y="123"/>
                  </a:lnTo>
                  <a:lnTo>
                    <a:pt x="3703" y="133"/>
                  </a:lnTo>
                  <a:lnTo>
                    <a:pt x="4114" y="148"/>
                  </a:lnTo>
                  <a:lnTo>
                    <a:pt x="4536" y="163"/>
                  </a:lnTo>
                  <a:lnTo>
                    <a:pt x="5370" y="198"/>
                  </a:lnTo>
                  <a:lnTo>
                    <a:pt x="6140" y="234"/>
                  </a:lnTo>
                  <a:lnTo>
                    <a:pt x="6774" y="264"/>
                  </a:lnTo>
                  <a:lnTo>
                    <a:pt x="7364" y="296"/>
                  </a:lnTo>
                  <a:lnTo>
                    <a:pt x="7394" y="284"/>
                  </a:lnTo>
                  <a:lnTo>
                    <a:pt x="7482" y="254"/>
                  </a:lnTo>
                  <a:lnTo>
                    <a:pt x="7547" y="233"/>
                  </a:lnTo>
                  <a:lnTo>
                    <a:pt x="7626" y="209"/>
                  </a:lnTo>
                  <a:lnTo>
                    <a:pt x="7719" y="185"/>
                  </a:lnTo>
                  <a:lnTo>
                    <a:pt x="7826" y="159"/>
                  </a:lnTo>
                  <a:lnTo>
                    <a:pt x="7946" y="132"/>
                  </a:lnTo>
                  <a:lnTo>
                    <a:pt x="8078" y="106"/>
                  </a:lnTo>
                  <a:lnTo>
                    <a:pt x="8224" y="82"/>
                  </a:lnTo>
                  <a:lnTo>
                    <a:pt x="8380" y="59"/>
                  </a:lnTo>
                  <a:lnTo>
                    <a:pt x="8550" y="38"/>
                  </a:lnTo>
                  <a:lnTo>
                    <a:pt x="8732" y="22"/>
                  </a:lnTo>
                  <a:lnTo>
                    <a:pt x="8926" y="8"/>
                  </a:lnTo>
                  <a:lnTo>
                    <a:pt x="9130" y="0"/>
                  </a:lnTo>
                  <a:lnTo>
                    <a:pt x="9334" y="31"/>
                  </a:lnTo>
                  <a:lnTo>
                    <a:pt x="9550" y="59"/>
                  </a:lnTo>
                  <a:lnTo>
                    <a:pt x="9773" y="83"/>
                  </a:lnTo>
                  <a:lnTo>
                    <a:pt x="10002" y="103"/>
                  </a:lnTo>
                  <a:lnTo>
                    <a:pt x="10231" y="123"/>
                  </a:lnTo>
                  <a:lnTo>
                    <a:pt x="10457" y="138"/>
                  </a:lnTo>
                  <a:lnTo>
                    <a:pt x="10679" y="151"/>
                  </a:lnTo>
                  <a:lnTo>
                    <a:pt x="10892" y="162"/>
                  </a:lnTo>
                  <a:lnTo>
                    <a:pt x="11276" y="179"/>
                  </a:lnTo>
                  <a:lnTo>
                    <a:pt x="11584" y="189"/>
                  </a:lnTo>
                  <a:lnTo>
                    <a:pt x="11862" y="195"/>
                  </a:lnTo>
                  <a:lnTo>
                    <a:pt x="12027" y="221"/>
                  </a:lnTo>
                  <a:lnTo>
                    <a:pt x="12204" y="246"/>
                  </a:lnTo>
                  <a:lnTo>
                    <a:pt x="12420" y="275"/>
                  </a:lnTo>
                  <a:lnTo>
                    <a:pt x="12535" y="290"/>
                  </a:lnTo>
                  <a:lnTo>
                    <a:pt x="12654" y="302"/>
                  </a:lnTo>
                  <a:lnTo>
                    <a:pt x="12772" y="314"/>
                  </a:lnTo>
                  <a:lnTo>
                    <a:pt x="12889" y="322"/>
                  </a:lnTo>
                  <a:lnTo>
                    <a:pt x="13000" y="328"/>
                  </a:lnTo>
                  <a:lnTo>
                    <a:pt x="13105" y="332"/>
                  </a:lnTo>
                  <a:lnTo>
                    <a:pt x="13201" y="331"/>
                  </a:lnTo>
                  <a:lnTo>
                    <a:pt x="13284" y="326"/>
                  </a:lnTo>
                  <a:lnTo>
                    <a:pt x="13366" y="318"/>
                  </a:lnTo>
                  <a:lnTo>
                    <a:pt x="13458" y="314"/>
                  </a:lnTo>
                  <a:lnTo>
                    <a:pt x="13555" y="309"/>
                  </a:lnTo>
                  <a:lnTo>
                    <a:pt x="13660" y="306"/>
                  </a:lnTo>
                  <a:lnTo>
                    <a:pt x="13881" y="304"/>
                  </a:lnTo>
                  <a:lnTo>
                    <a:pt x="14108" y="305"/>
                  </a:lnTo>
                  <a:lnTo>
                    <a:pt x="14329" y="312"/>
                  </a:lnTo>
                  <a:lnTo>
                    <a:pt x="14435" y="317"/>
                  </a:lnTo>
                  <a:lnTo>
                    <a:pt x="14534" y="322"/>
                  </a:lnTo>
                  <a:lnTo>
                    <a:pt x="14627" y="329"/>
                  </a:lnTo>
                  <a:lnTo>
                    <a:pt x="14710" y="337"/>
                  </a:lnTo>
                  <a:lnTo>
                    <a:pt x="14783" y="345"/>
                  </a:lnTo>
                  <a:lnTo>
                    <a:pt x="14845" y="353"/>
                  </a:lnTo>
                  <a:lnTo>
                    <a:pt x="15056" y="387"/>
                  </a:lnTo>
                  <a:lnTo>
                    <a:pt x="15266" y="415"/>
                  </a:lnTo>
                  <a:lnTo>
                    <a:pt x="15471" y="436"/>
                  </a:lnTo>
                  <a:lnTo>
                    <a:pt x="15670" y="454"/>
                  </a:lnTo>
                  <a:lnTo>
                    <a:pt x="15862" y="468"/>
                  </a:lnTo>
                  <a:lnTo>
                    <a:pt x="16045" y="476"/>
                  </a:lnTo>
                  <a:lnTo>
                    <a:pt x="16217" y="482"/>
                  </a:lnTo>
                  <a:lnTo>
                    <a:pt x="16378" y="486"/>
                  </a:lnTo>
                  <a:lnTo>
                    <a:pt x="16658" y="486"/>
                  </a:lnTo>
                  <a:lnTo>
                    <a:pt x="16873" y="481"/>
                  </a:lnTo>
                  <a:lnTo>
                    <a:pt x="17011" y="475"/>
                  </a:lnTo>
                  <a:lnTo>
                    <a:pt x="17060" y="471"/>
                  </a:lnTo>
                  <a:lnTo>
                    <a:pt x="16098" y="470"/>
                  </a:lnTo>
                  <a:lnTo>
                    <a:pt x="15137" y="469"/>
                  </a:lnTo>
                  <a:lnTo>
                    <a:pt x="14176" y="468"/>
                  </a:lnTo>
                  <a:lnTo>
                    <a:pt x="13216" y="466"/>
                  </a:lnTo>
                  <a:lnTo>
                    <a:pt x="12253" y="465"/>
                  </a:lnTo>
                  <a:lnTo>
                    <a:pt x="11293" y="464"/>
                  </a:lnTo>
                  <a:lnTo>
                    <a:pt x="10332" y="463"/>
                  </a:lnTo>
                  <a:lnTo>
                    <a:pt x="9371" y="462"/>
                  </a:lnTo>
                  <a:lnTo>
                    <a:pt x="8409" y="460"/>
                  </a:lnTo>
                  <a:lnTo>
                    <a:pt x="7448" y="459"/>
                  </a:lnTo>
                  <a:lnTo>
                    <a:pt x="6487" y="458"/>
                  </a:lnTo>
                  <a:lnTo>
                    <a:pt x="5527" y="457"/>
                  </a:lnTo>
                  <a:lnTo>
                    <a:pt x="4566" y="456"/>
                  </a:lnTo>
                  <a:lnTo>
                    <a:pt x="3605" y="454"/>
                  </a:lnTo>
                  <a:lnTo>
                    <a:pt x="2644" y="453"/>
                  </a:lnTo>
                  <a:lnTo>
                    <a:pt x="1683" y="452"/>
                  </a:lnTo>
                  <a:lnTo>
                    <a:pt x="842" y="468"/>
                  </a:lnTo>
                  <a:lnTo>
                    <a:pt x="0" y="4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3" name="Freeform 55"/>
            <p:cNvSpPr>
              <a:spLocks noEditPoints="1"/>
            </p:cNvSpPr>
            <p:nvPr userDrawn="1"/>
          </p:nvSpPr>
          <p:spPr bwMode="auto">
            <a:xfrm>
              <a:off x="1831975" y="6197601"/>
              <a:ext cx="79375" cy="46038"/>
            </a:xfrm>
            <a:custGeom>
              <a:avLst/>
              <a:gdLst/>
              <a:ahLst/>
              <a:cxnLst>
                <a:cxn ang="0">
                  <a:pos x="29" y="50"/>
                </a:cxn>
                <a:cxn ang="0">
                  <a:pos x="27" y="43"/>
                </a:cxn>
                <a:cxn ang="0">
                  <a:pos x="32" y="44"/>
                </a:cxn>
                <a:cxn ang="0">
                  <a:pos x="40" y="50"/>
                </a:cxn>
                <a:cxn ang="0">
                  <a:pos x="250" y="56"/>
                </a:cxn>
                <a:cxn ang="0">
                  <a:pos x="241" y="49"/>
                </a:cxn>
                <a:cxn ang="0">
                  <a:pos x="234" y="39"/>
                </a:cxn>
                <a:cxn ang="0">
                  <a:pos x="224" y="26"/>
                </a:cxn>
                <a:cxn ang="0">
                  <a:pos x="212" y="23"/>
                </a:cxn>
                <a:cxn ang="0">
                  <a:pos x="188" y="27"/>
                </a:cxn>
                <a:cxn ang="0">
                  <a:pos x="182" y="23"/>
                </a:cxn>
                <a:cxn ang="0">
                  <a:pos x="163" y="14"/>
                </a:cxn>
                <a:cxn ang="0">
                  <a:pos x="151" y="9"/>
                </a:cxn>
                <a:cxn ang="0">
                  <a:pos x="128" y="0"/>
                </a:cxn>
                <a:cxn ang="0">
                  <a:pos x="116" y="0"/>
                </a:cxn>
                <a:cxn ang="0">
                  <a:pos x="98" y="3"/>
                </a:cxn>
                <a:cxn ang="0">
                  <a:pos x="87" y="8"/>
                </a:cxn>
                <a:cxn ang="0">
                  <a:pos x="73" y="14"/>
                </a:cxn>
                <a:cxn ang="0">
                  <a:pos x="49" y="27"/>
                </a:cxn>
                <a:cxn ang="0">
                  <a:pos x="35" y="35"/>
                </a:cxn>
                <a:cxn ang="0">
                  <a:pos x="25" y="37"/>
                </a:cxn>
                <a:cxn ang="0">
                  <a:pos x="10" y="38"/>
                </a:cxn>
                <a:cxn ang="0">
                  <a:pos x="0" y="41"/>
                </a:cxn>
                <a:cxn ang="0">
                  <a:pos x="3" y="45"/>
                </a:cxn>
                <a:cxn ang="0">
                  <a:pos x="16" y="45"/>
                </a:cxn>
                <a:cxn ang="0">
                  <a:pos x="22" y="47"/>
                </a:cxn>
                <a:cxn ang="0">
                  <a:pos x="17" y="46"/>
                </a:cxn>
                <a:cxn ang="0">
                  <a:pos x="17" y="52"/>
                </a:cxn>
                <a:cxn ang="0">
                  <a:pos x="9" y="51"/>
                </a:cxn>
                <a:cxn ang="0">
                  <a:pos x="8" y="55"/>
                </a:cxn>
                <a:cxn ang="0">
                  <a:pos x="18" y="58"/>
                </a:cxn>
                <a:cxn ang="0">
                  <a:pos x="33" y="57"/>
                </a:cxn>
                <a:cxn ang="0">
                  <a:pos x="52" y="64"/>
                </a:cxn>
                <a:cxn ang="0">
                  <a:pos x="67" y="73"/>
                </a:cxn>
                <a:cxn ang="0">
                  <a:pos x="71" y="79"/>
                </a:cxn>
                <a:cxn ang="0">
                  <a:pos x="65" y="89"/>
                </a:cxn>
                <a:cxn ang="0">
                  <a:pos x="63" y="97"/>
                </a:cxn>
                <a:cxn ang="0">
                  <a:pos x="62" y="100"/>
                </a:cxn>
                <a:cxn ang="0">
                  <a:pos x="59" y="106"/>
                </a:cxn>
                <a:cxn ang="0">
                  <a:pos x="59" y="113"/>
                </a:cxn>
                <a:cxn ang="0">
                  <a:pos x="57" y="121"/>
                </a:cxn>
                <a:cxn ang="0">
                  <a:pos x="51" y="136"/>
                </a:cxn>
                <a:cxn ang="0">
                  <a:pos x="52" y="139"/>
                </a:cxn>
                <a:cxn ang="0">
                  <a:pos x="55" y="142"/>
                </a:cxn>
                <a:cxn ang="0">
                  <a:pos x="64" y="125"/>
                </a:cxn>
                <a:cxn ang="0">
                  <a:pos x="69" y="127"/>
                </a:cxn>
                <a:cxn ang="0">
                  <a:pos x="82" y="112"/>
                </a:cxn>
                <a:cxn ang="0">
                  <a:pos x="105" y="91"/>
                </a:cxn>
                <a:cxn ang="0">
                  <a:pos x="121" y="77"/>
                </a:cxn>
                <a:cxn ang="0">
                  <a:pos x="149" y="70"/>
                </a:cxn>
                <a:cxn ang="0">
                  <a:pos x="165" y="64"/>
                </a:cxn>
                <a:cxn ang="0">
                  <a:pos x="185" y="55"/>
                </a:cxn>
                <a:cxn ang="0">
                  <a:pos x="199" y="51"/>
                </a:cxn>
                <a:cxn ang="0">
                  <a:pos x="211" y="52"/>
                </a:cxn>
                <a:cxn ang="0">
                  <a:pos x="224" y="55"/>
                </a:cxn>
                <a:cxn ang="0">
                  <a:pos x="236" y="57"/>
                </a:cxn>
                <a:cxn ang="0">
                  <a:pos x="251" y="59"/>
                </a:cxn>
                <a:cxn ang="0">
                  <a:pos x="253" y="58"/>
                </a:cxn>
              </a:cxnLst>
              <a:rect l="0" t="0" r="r" b="b"/>
              <a:pathLst>
                <a:path w="253" h="142">
                  <a:moveTo>
                    <a:pt x="34" y="51"/>
                  </a:moveTo>
                  <a:lnTo>
                    <a:pt x="32" y="51"/>
                  </a:lnTo>
                  <a:lnTo>
                    <a:pt x="29" y="50"/>
                  </a:lnTo>
                  <a:lnTo>
                    <a:pt x="25" y="46"/>
                  </a:lnTo>
                  <a:lnTo>
                    <a:pt x="23" y="44"/>
                  </a:lnTo>
                  <a:lnTo>
                    <a:pt x="27" y="43"/>
                  </a:lnTo>
                  <a:lnTo>
                    <a:pt x="29" y="43"/>
                  </a:lnTo>
                  <a:lnTo>
                    <a:pt x="31" y="44"/>
                  </a:lnTo>
                  <a:lnTo>
                    <a:pt x="32" y="44"/>
                  </a:lnTo>
                  <a:lnTo>
                    <a:pt x="35" y="45"/>
                  </a:lnTo>
                  <a:lnTo>
                    <a:pt x="38" y="47"/>
                  </a:lnTo>
                  <a:lnTo>
                    <a:pt x="40" y="50"/>
                  </a:lnTo>
                  <a:lnTo>
                    <a:pt x="38" y="50"/>
                  </a:lnTo>
                  <a:lnTo>
                    <a:pt x="34" y="51"/>
                  </a:lnTo>
                  <a:close/>
                  <a:moveTo>
                    <a:pt x="250" y="56"/>
                  </a:moveTo>
                  <a:lnTo>
                    <a:pt x="245" y="53"/>
                  </a:lnTo>
                  <a:lnTo>
                    <a:pt x="242" y="51"/>
                  </a:lnTo>
                  <a:lnTo>
                    <a:pt x="241" y="49"/>
                  </a:lnTo>
                  <a:lnTo>
                    <a:pt x="239" y="47"/>
                  </a:lnTo>
                  <a:lnTo>
                    <a:pt x="236" y="44"/>
                  </a:lnTo>
                  <a:lnTo>
                    <a:pt x="234" y="39"/>
                  </a:lnTo>
                  <a:lnTo>
                    <a:pt x="232" y="32"/>
                  </a:lnTo>
                  <a:lnTo>
                    <a:pt x="229" y="29"/>
                  </a:lnTo>
                  <a:lnTo>
                    <a:pt x="224" y="26"/>
                  </a:lnTo>
                  <a:lnTo>
                    <a:pt x="221" y="24"/>
                  </a:lnTo>
                  <a:lnTo>
                    <a:pt x="217" y="23"/>
                  </a:lnTo>
                  <a:lnTo>
                    <a:pt x="212" y="23"/>
                  </a:lnTo>
                  <a:lnTo>
                    <a:pt x="209" y="24"/>
                  </a:lnTo>
                  <a:lnTo>
                    <a:pt x="193" y="26"/>
                  </a:lnTo>
                  <a:lnTo>
                    <a:pt x="188" y="27"/>
                  </a:lnTo>
                  <a:lnTo>
                    <a:pt x="187" y="27"/>
                  </a:lnTo>
                  <a:lnTo>
                    <a:pt x="185" y="24"/>
                  </a:lnTo>
                  <a:lnTo>
                    <a:pt x="182" y="23"/>
                  </a:lnTo>
                  <a:lnTo>
                    <a:pt x="175" y="21"/>
                  </a:lnTo>
                  <a:lnTo>
                    <a:pt x="167" y="17"/>
                  </a:lnTo>
                  <a:lnTo>
                    <a:pt x="163" y="14"/>
                  </a:lnTo>
                  <a:lnTo>
                    <a:pt x="159" y="12"/>
                  </a:lnTo>
                  <a:lnTo>
                    <a:pt x="155" y="10"/>
                  </a:lnTo>
                  <a:lnTo>
                    <a:pt x="151" y="9"/>
                  </a:lnTo>
                  <a:lnTo>
                    <a:pt x="143" y="5"/>
                  </a:lnTo>
                  <a:lnTo>
                    <a:pt x="134" y="3"/>
                  </a:lnTo>
                  <a:lnTo>
                    <a:pt x="128" y="0"/>
                  </a:lnTo>
                  <a:lnTo>
                    <a:pt x="126" y="0"/>
                  </a:lnTo>
                  <a:lnTo>
                    <a:pt x="123" y="0"/>
                  </a:lnTo>
                  <a:lnTo>
                    <a:pt x="116" y="0"/>
                  </a:lnTo>
                  <a:lnTo>
                    <a:pt x="110" y="0"/>
                  </a:lnTo>
                  <a:lnTo>
                    <a:pt x="103" y="2"/>
                  </a:lnTo>
                  <a:lnTo>
                    <a:pt x="98" y="3"/>
                  </a:lnTo>
                  <a:lnTo>
                    <a:pt x="93" y="4"/>
                  </a:lnTo>
                  <a:lnTo>
                    <a:pt x="90" y="6"/>
                  </a:lnTo>
                  <a:lnTo>
                    <a:pt x="87" y="8"/>
                  </a:lnTo>
                  <a:lnTo>
                    <a:pt x="82" y="9"/>
                  </a:lnTo>
                  <a:lnTo>
                    <a:pt x="79" y="10"/>
                  </a:lnTo>
                  <a:lnTo>
                    <a:pt x="73" y="14"/>
                  </a:lnTo>
                  <a:lnTo>
                    <a:pt x="64" y="18"/>
                  </a:lnTo>
                  <a:lnTo>
                    <a:pt x="56" y="22"/>
                  </a:lnTo>
                  <a:lnTo>
                    <a:pt x="49" y="27"/>
                  </a:lnTo>
                  <a:lnTo>
                    <a:pt x="44" y="29"/>
                  </a:lnTo>
                  <a:lnTo>
                    <a:pt x="40" y="33"/>
                  </a:lnTo>
                  <a:lnTo>
                    <a:pt x="35" y="35"/>
                  </a:lnTo>
                  <a:lnTo>
                    <a:pt x="32" y="37"/>
                  </a:lnTo>
                  <a:lnTo>
                    <a:pt x="28" y="37"/>
                  </a:lnTo>
                  <a:lnTo>
                    <a:pt x="25" y="37"/>
                  </a:lnTo>
                  <a:lnTo>
                    <a:pt x="22" y="38"/>
                  </a:lnTo>
                  <a:lnTo>
                    <a:pt x="17" y="38"/>
                  </a:lnTo>
                  <a:lnTo>
                    <a:pt x="10" y="38"/>
                  </a:lnTo>
                  <a:lnTo>
                    <a:pt x="5" y="39"/>
                  </a:lnTo>
                  <a:lnTo>
                    <a:pt x="3" y="40"/>
                  </a:lnTo>
                  <a:lnTo>
                    <a:pt x="0" y="41"/>
                  </a:lnTo>
                  <a:lnTo>
                    <a:pt x="0" y="43"/>
                  </a:lnTo>
                  <a:lnTo>
                    <a:pt x="0" y="44"/>
                  </a:lnTo>
                  <a:lnTo>
                    <a:pt x="3" y="45"/>
                  </a:lnTo>
                  <a:lnTo>
                    <a:pt x="6" y="45"/>
                  </a:lnTo>
                  <a:lnTo>
                    <a:pt x="9" y="45"/>
                  </a:lnTo>
                  <a:lnTo>
                    <a:pt x="16" y="45"/>
                  </a:lnTo>
                  <a:lnTo>
                    <a:pt x="18" y="45"/>
                  </a:lnTo>
                  <a:lnTo>
                    <a:pt x="18" y="46"/>
                  </a:lnTo>
                  <a:lnTo>
                    <a:pt x="22" y="47"/>
                  </a:lnTo>
                  <a:lnTo>
                    <a:pt x="20" y="49"/>
                  </a:lnTo>
                  <a:lnTo>
                    <a:pt x="18" y="46"/>
                  </a:lnTo>
                  <a:lnTo>
                    <a:pt x="17" y="46"/>
                  </a:lnTo>
                  <a:lnTo>
                    <a:pt x="16" y="47"/>
                  </a:lnTo>
                  <a:lnTo>
                    <a:pt x="16" y="50"/>
                  </a:lnTo>
                  <a:lnTo>
                    <a:pt x="17" y="52"/>
                  </a:lnTo>
                  <a:lnTo>
                    <a:pt x="14" y="52"/>
                  </a:lnTo>
                  <a:lnTo>
                    <a:pt x="10" y="52"/>
                  </a:lnTo>
                  <a:lnTo>
                    <a:pt x="9" y="51"/>
                  </a:lnTo>
                  <a:lnTo>
                    <a:pt x="8" y="53"/>
                  </a:lnTo>
                  <a:lnTo>
                    <a:pt x="6" y="55"/>
                  </a:lnTo>
                  <a:lnTo>
                    <a:pt x="8" y="55"/>
                  </a:lnTo>
                  <a:lnTo>
                    <a:pt x="9" y="56"/>
                  </a:lnTo>
                  <a:lnTo>
                    <a:pt x="12" y="57"/>
                  </a:lnTo>
                  <a:lnTo>
                    <a:pt x="18" y="58"/>
                  </a:lnTo>
                  <a:lnTo>
                    <a:pt x="27" y="58"/>
                  </a:lnTo>
                  <a:lnTo>
                    <a:pt x="29" y="58"/>
                  </a:lnTo>
                  <a:lnTo>
                    <a:pt x="33" y="57"/>
                  </a:lnTo>
                  <a:lnTo>
                    <a:pt x="39" y="57"/>
                  </a:lnTo>
                  <a:lnTo>
                    <a:pt x="46" y="57"/>
                  </a:lnTo>
                  <a:lnTo>
                    <a:pt x="52" y="64"/>
                  </a:lnTo>
                  <a:lnTo>
                    <a:pt x="58" y="68"/>
                  </a:lnTo>
                  <a:lnTo>
                    <a:pt x="63" y="71"/>
                  </a:lnTo>
                  <a:lnTo>
                    <a:pt x="67" y="73"/>
                  </a:lnTo>
                  <a:lnTo>
                    <a:pt x="70" y="74"/>
                  </a:lnTo>
                  <a:lnTo>
                    <a:pt x="74" y="75"/>
                  </a:lnTo>
                  <a:lnTo>
                    <a:pt x="71" y="79"/>
                  </a:lnTo>
                  <a:lnTo>
                    <a:pt x="69" y="83"/>
                  </a:lnTo>
                  <a:lnTo>
                    <a:pt x="67" y="88"/>
                  </a:lnTo>
                  <a:lnTo>
                    <a:pt x="65" y="89"/>
                  </a:lnTo>
                  <a:lnTo>
                    <a:pt x="64" y="92"/>
                  </a:lnTo>
                  <a:lnTo>
                    <a:pt x="63" y="95"/>
                  </a:lnTo>
                  <a:lnTo>
                    <a:pt x="63" y="97"/>
                  </a:lnTo>
                  <a:lnTo>
                    <a:pt x="63" y="98"/>
                  </a:lnTo>
                  <a:lnTo>
                    <a:pt x="62" y="99"/>
                  </a:lnTo>
                  <a:lnTo>
                    <a:pt x="62" y="100"/>
                  </a:lnTo>
                  <a:lnTo>
                    <a:pt x="61" y="103"/>
                  </a:lnTo>
                  <a:lnTo>
                    <a:pt x="61" y="105"/>
                  </a:lnTo>
                  <a:lnTo>
                    <a:pt x="59" y="106"/>
                  </a:lnTo>
                  <a:lnTo>
                    <a:pt x="59" y="111"/>
                  </a:lnTo>
                  <a:lnTo>
                    <a:pt x="59" y="112"/>
                  </a:lnTo>
                  <a:lnTo>
                    <a:pt x="59" y="113"/>
                  </a:lnTo>
                  <a:lnTo>
                    <a:pt x="58" y="117"/>
                  </a:lnTo>
                  <a:lnTo>
                    <a:pt x="61" y="117"/>
                  </a:lnTo>
                  <a:lnTo>
                    <a:pt x="57" y="121"/>
                  </a:lnTo>
                  <a:lnTo>
                    <a:pt x="58" y="122"/>
                  </a:lnTo>
                  <a:lnTo>
                    <a:pt x="53" y="131"/>
                  </a:lnTo>
                  <a:lnTo>
                    <a:pt x="51" y="136"/>
                  </a:lnTo>
                  <a:lnTo>
                    <a:pt x="51" y="138"/>
                  </a:lnTo>
                  <a:lnTo>
                    <a:pt x="51" y="139"/>
                  </a:lnTo>
                  <a:lnTo>
                    <a:pt x="52" y="139"/>
                  </a:lnTo>
                  <a:lnTo>
                    <a:pt x="53" y="138"/>
                  </a:lnTo>
                  <a:lnTo>
                    <a:pt x="55" y="136"/>
                  </a:lnTo>
                  <a:lnTo>
                    <a:pt x="55" y="142"/>
                  </a:lnTo>
                  <a:lnTo>
                    <a:pt x="58" y="134"/>
                  </a:lnTo>
                  <a:lnTo>
                    <a:pt x="62" y="130"/>
                  </a:lnTo>
                  <a:lnTo>
                    <a:pt x="64" y="125"/>
                  </a:lnTo>
                  <a:lnTo>
                    <a:pt x="73" y="118"/>
                  </a:lnTo>
                  <a:lnTo>
                    <a:pt x="70" y="121"/>
                  </a:lnTo>
                  <a:lnTo>
                    <a:pt x="69" y="127"/>
                  </a:lnTo>
                  <a:lnTo>
                    <a:pt x="69" y="131"/>
                  </a:lnTo>
                  <a:lnTo>
                    <a:pt x="76" y="121"/>
                  </a:lnTo>
                  <a:lnTo>
                    <a:pt x="82" y="112"/>
                  </a:lnTo>
                  <a:lnTo>
                    <a:pt x="87" y="107"/>
                  </a:lnTo>
                  <a:lnTo>
                    <a:pt x="93" y="101"/>
                  </a:lnTo>
                  <a:lnTo>
                    <a:pt x="105" y="91"/>
                  </a:lnTo>
                  <a:lnTo>
                    <a:pt x="114" y="83"/>
                  </a:lnTo>
                  <a:lnTo>
                    <a:pt x="120" y="79"/>
                  </a:lnTo>
                  <a:lnTo>
                    <a:pt x="121" y="77"/>
                  </a:lnTo>
                  <a:lnTo>
                    <a:pt x="122" y="77"/>
                  </a:lnTo>
                  <a:lnTo>
                    <a:pt x="134" y="74"/>
                  </a:lnTo>
                  <a:lnTo>
                    <a:pt x="149" y="70"/>
                  </a:lnTo>
                  <a:lnTo>
                    <a:pt x="153" y="69"/>
                  </a:lnTo>
                  <a:lnTo>
                    <a:pt x="158" y="67"/>
                  </a:lnTo>
                  <a:lnTo>
                    <a:pt x="165" y="64"/>
                  </a:lnTo>
                  <a:lnTo>
                    <a:pt x="171" y="61"/>
                  </a:lnTo>
                  <a:lnTo>
                    <a:pt x="179" y="57"/>
                  </a:lnTo>
                  <a:lnTo>
                    <a:pt x="185" y="55"/>
                  </a:lnTo>
                  <a:lnTo>
                    <a:pt x="189" y="53"/>
                  </a:lnTo>
                  <a:lnTo>
                    <a:pt x="193" y="51"/>
                  </a:lnTo>
                  <a:lnTo>
                    <a:pt x="199" y="51"/>
                  </a:lnTo>
                  <a:lnTo>
                    <a:pt x="206" y="50"/>
                  </a:lnTo>
                  <a:lnTo>
                    <a:pt x="209" y="51"/>
                  </a:lnTo>
                  <a:lnTo>
                    <a:pt x="211" y="52"/>
                  </a:lnTo>
                  <a:lnTo>
                    <a:pt x="215" y="53"/>
                  </a:lnTo>
                  <a:lnTo>
                    <a:pt x="216" y="55"/>
                  </a:lnTo>
                  <a:lnTo>
                    <a:pt x="224" y="55"/>
                  </a:lnTo>
                  <a:lnTo>
                    <a:pt x="228" y="55"/>
                  </a:lnTo>
                  <a:lnTo>
                    <a:pt x="232" y="56"/>
                  </a:lnTo>
                  <a:lnTo>
                    <a:pt x="236" y="57"/>
                  </a:lnTo>
                  <a:lnTo>
                    <a:pt x="242" y="58"/>
                  </a:lnTo>
                  <a:lnTo>
                    <a:pt x="247" y="59"/>
                  </a:lnTo>
                  <a:lnTo>
                    <a:pt x="251" y="59"/>
                  </a:lnTo>
                  <a:lnTo>
                    <a:pt x="252" y="59"/>
                  </a:lnTo>
                  <a:lnTo>
                    <a:pt x="253" y="59"/>
                  </a:lnTo>
                  <a:lnTo>
                    <a:pt x="253" y="58"/>
                  </a:lnTo>
                  <a:lnTo>
                    <a:pt x="252" y="57"/>
                  </a:lnTo>
                  <a:lnTo>
                    <a:pt x="250" y="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4" name="Freeform 56"/>
            <p:cNvSpPr>
              <a:spLocks/>
            </p:cNvSpPr>
            <p:nvPr userDrawn="1"/>
          </p:nvSpPr>
          <p:spPr bwMode="auto">
            <a:xfrm>
              <a:off x="1838325" y="6211888"/>
              <a:ext cx="6350" cy="1588"/>
            </a:xfrm>
            <a:custGeom>
              <a:avLst/>
              <a:gdLst/>
              <a:ahLst/>
              <a:cxnLst>
                <a:cxn ang="0">
                  <a:pos x="11" y="8"/>
                </a:cxn>
                <a:cxn ang="0">
                  <a:pos x="9" y="8"/>
                </a:cxn>
                <a:cxn ang="0">
                  <a:pos x="6" y="7"/>
                </a:cxn>
                <a:cxn ang="0">
                  <a:pos x="2" y="3"/>
                </a:cxn>
                <a:cxn ang="0">
                  <a:pos x="0" y="1"/>
                </a:cxn>
                <a:cxn ang="0">
                  <a:pos x="4" y="0"/>
                </a:cxn>
                <a:cxn ang="0">
                  <a:pos x="6" y="0"/>
                </a:cxn>
                <a:cxn ang="0">
                  <a:pos x="8" y="1"/>
                </a:cxn>
                <a:cxn ang="0">
                  <a:pos x="9" y="1"/>
                </a:cxn>
                <a:cxn ang="0">
                  <a:pos x="12" y="2"/>
                </a:cxn>
                <a:cxn ang="0">
                  <a:pos x="15" y="4"/>
                </a:cxn>
                <a:cxn ang="0">
                  <a:pos x="17" y="7"/>
                </a:cxn>
                <a:cxn ang="0">
                  <a:pos x="15" y="7"/>
                </a:cxn>
                <a:cxn ang="0">
                  <a:pos x="11" y="8"/>
                </a:cxn>
              </a:cxnLst>
              <a:rect l="0" t="0" r="r" b="b"/>
              <a:pathLst>
                <a:path w="17" h="8">
                  <a:moveTo>
                    <a:pt x="11" y="8"/>
                  </a:moveTo>
                  <a:lnTo>
                    <a:pt x="9" y="8"/>
                  </a:lnTo>
                  <a:lnTo>
                    <a:pt x="6" y="7"/>
                  </a:lnTo>
                  <a:lnTo>
                    <a:pt x="2" y="3"/>
                  </a:lnTo>
                  <a:lnTo>
                    <a:pt x="0" y="1"/>
                  </a:lnTo>
                  <a:lnTo>
                    <a:pt x="4" y="0"/>
                  </a:lnTo>
                  <a:lnTo>
                    <a:pt x="6" y="0"/>
                  </a:lnTo>
                  <a:lnTo>
                    <a:pt x="8" y="1"/>
                  </a:lnTo>
                  <a:lnTo>
                    <a:pt x="9" y="1"/>
                  </a:lnTo>
                  <a:lnTo>
                    <a:pt x="12" y="2"/>
                  </a:lnTo>
                  <a:lnTo>
                    <a:pt x="15" y="4"/>
                  </a:lnTo>
                  <a:lnTo>
                    <a:pt x="17" y="7"/>
                  </a:lnTo>
                  <a:lnTo>
                    <a:pt x="15" y="7"/>
                  </a:lnTo>
                  <a:lnTo>
                    <a:pt x="11" y="8"/>
                  </a:lnTo>
                  <a:close/>
                </a:path>
              </a:pathLst>
            </a:custGeom>
            <a:solidFill>
              <a:srgbClr val="EC002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5" name="Freeform 58"/>
            <p:cNvSpPr>
              <a:spLocks/>
            </p:cNvSpPr>
            <p:nvPr userDrawn="1"/>
          </p:nvSpPr>
          <p:spPr bwMode="auto">
            <a:xfrm>
              <a:off x="101600" y="6461126"/>
              <a:ext cx="5545138" cy="161925"/>
            </a:xfrm>
            <a:custGeom>
              <a:avLst/>
              <a:gdLst/>
              <a:ahLst/>
              <a:cxnLst>
                <a:cxn ang="0">
                  <a:pos x="952" y="322"/>
                </a:cxn>
                <a:cxn ang="0">
                  <a:pos x="2109" y="167"/>
                </a:cxn>
                <a:cxn ang="0">
                  <a:pos x="2773" y="95"/>
                </a:cxn>
                <a:cxn ang="0">
                  <a:pos x="3240" y="70"/>
                </a:cxn>
                <a:cxn ang="0">
                  <a:pos x="3428" y="90"/>
                </a:cxn>
                <a:cxn ang="0">
                  <a:pos x="4139" y="143"/>
                </a:cxn>
                <a:cxn ang="0">
                  <a:pos x="5006" y="190"/>
                </a:cxn>
                <a:cxn ang="0">
                  <a:pos x="5418" y="222"/>
                </a:cxn>
                <a:cxn ang="0">
                  <a:pos x="5653" y="259"/>
                </a:cxn>
                <a:cxn ang="0">
                  <a:pos x="5819" y="270"/>
                </a:cxn>
                <a:cxn ang="0">
                  <a:pos x="6127" y="259"/>
                </a:cxn>
                <a:cxn ang="0">
                  <a:pos x="6563" y="217"/>
                </a:cxn>
                <a:cxn ang="0">
                  <a:pos x="7013" y="148"/>
                </a:cxn>
                <a:cxn ang="0">
                  <a:pos x="7559" y="59"/>
                </a:cxn>
                <a:cxn ang="0">
                  <a:pos x="7853" y="30"/>
                </a:cxn>
                <a:cxn ang="0">
                  <a:pos x="8138" y="35"/>
                </a:cxn>
                <a:cxn ang="0">
                  <a:pos x="8378" y="57"/>
                </a:cxn>
                <a:cxn ang="0">
                  <a:pos x="8621" y="95"/>
                </a:cxn>
                <a:cxn ang="0">
                  <a:pos x="8850" y="148"/>
                </a:cxn>
                <a:cxn ang="0">
                  <a:pos x="9035" y="195"/>
                </a:cxn>
                <a:cxn ang="0">
                  <a:pos x="9266" y="220"/>
                </a:cxn>
                <a:cxn ang="0">
                  <a:pos x="9686" y="223"/>
                </a:cxn>
                <a:cxn ang="0">
                  <a:pos x="10229" y="214"/>
                </a:cxn>
                <a:cxn ang="0">
                  <a:pos x="10335" y="223"/>
                </a:cxn>
                <a:cxn ang="0">
                  <a:pos x="10451" y="223"/>
                </a:cxn>
                <a:cxn ang="0">
                  <a:pos x="10560" y="189"/>
                </a:cxn>
                <a:cxn ang="0">
                  <a:pos x="10781" y="74"/>
                </a:cxn>
                <a:cxn ang="0">
                  <a:pos x="10896" y="24"/>
                </a:cxn>
                <a:cxn ang="0">
                  <a:pos x="10989" y="5"/>
                </a:cxn>
                <a:cxn ang="0">
                  <a:pos x="11240" y="1"/>
                </a:cxn>
                <a:cxn ang="0">
                  <a:pos x="11986" y="44"/>
                </a:cxn>
                <a:cxn ang="0">
                  <a:pos x="12478" y="65"/>
                </a:cxn>
                <a:cxn ang="0">
                  <a:pos x="12785" y="50"/>
                </a:cxn>
                <a:cxn ang="0">
                  <a:pos x="13375" y="26"/>
                </a:cxn>
                <a:cxn ang="0">
                  <a:pos x="14252" y="23"/>
                </a:cxn>
                <a:cxn ang="0">
                  <a:pos x="14761" y="39"/>
                </a:cxn>
                <a:cxn ang="0">
                  <a:pos x="15301" y="72"/>
                </a:cxn>
                <a:cxn ang="0">
                  <a:pos x="15855" y="126"/>
                </a:cxn>
                <a:cxn ang="0">
                  <a:pos x="16411" y="204"/>
                </a:cxn>
                <a:cxn ang="0">
                  <a:pos x="16953" y="311"/>
                </a:cxn>
                <a:cxn ang="0">
                  <a:pos x="17384" y="424"/>
                </a:cxn>
                <a:cxn ang="0">
                  <a:pos x="17461" y="464"/>
                </a:cxn>
                <a:cxn ang="0">
                  <a:pos x="17411" y="481"/>
                </a:cxn>
                <a:cxn ang="0">
                  <a:pos x="17234" y="500"/>
                </a:cxn>
                <a:cxn ang="0">
                  <a:pos x="16606" y="512"/>
                </a:cxn>
                <a:cxn ang="0">
                  <a:pos x="15579" y="493"/>
                </a:cxn>
                <a:cxn ang="0">
                  <a:pos x="13652" y="418"/>
                </a:cxn>
                <a:cxn ang="0">
                  <a:pos x="11826" y="457"/>
                </a:cxn>
                <a:cxn ang="0">
                  <a:pos x="9898" y="467"/>
                </a:cxn>
                <a:cxn ang="0">
                  <a:pos x="7919" y="465"/>
                </a:cxn>
                <a:cxn ang="0">
                  <a:pos x="5941" y="464"/>
                </a:cxn>
                <a:cxn ang="0">
                  <a:pos x="3712" y="464"/>
                </a:cxn>
                <a:cxn ang="0">
                  <a:pos x="1485" y="464"/>
                </a:cxn>
              </a:cxnLst>
              <a:rect l="0" t="0" r="r" b="b"/>
              <a:pathLst>
                <a:path w="17467" h="512">
                  <a:moveTo>
                    <a:pt x="0" y="464"/>
                  </a:moveTo>
                  <a:lnTo>
                    <a:pt x="466" y="393"/>
                  </a:lnTo>
                  <a:lnTo>
                    <a:pt x="952" y="322"/>
                  </a:lnTo>
                  <a:lnTo>
                    <a:pt x="1521" y="243"/>
                  </a:lnTo>
                  <a:lnTo>
                    <a:pt x="1817" y="203"/>
                  </a:lnTo>
                  <a:lnTo>
                    <a:pt x="2109" y="167"/>
                  </a:lnTo>
                  <a:lnTo>
                    <a:pt x="2390" y="133"/>
                  </a:lnTo>
                  <a:lnTo>
                    <a:pt x="2651" y="106"/>
                  </a:lnTo>
                  <a:lnTo>
                    <a:pt x="2773" y="95"/>
                  </a:lnTo>
                  <a:lnTo>
                    <a:pt x="2886" y="85"/>
                  </a:lnTo>
                  <a:lnTo>
                    <a:pt x="3085" y="72"/>
                  </a:lnTo>
                  <a:lnTo>
                    <a:pt x="3240" y="70"/>
                  </a:lnTo>
                  <a:lnTo>
                    <a:pt x="3299" y="72"/>
                  </a:lnTo>
                  <a:lnTo>
                    <a:pt x="3344" y="77"/>
                  </a:lnTo>
                  <a:lnTo>
                    <a:pt x="3428" y="90"/>
                  </a:lnTo>
                  <a:lnTo>
                    <a:pt x="3537" y="102"/>
                  </a:lnTo>
                  <a:lnTo>
                    <a:pt x="3812" y="124"/>
                  </a:lnTo>
                  <a:lnTo>
                    <a:pt x="4139" y="143"/>
                  </a:lnTo>
                  <a:lnTo>
                    <a:pt x="4492" y="161"/>
                  </a:lnTo>
                  <a:lnTo>
                    <a:pt x="4843" y="180"/>
                  </a:lnTo>
                  <a:lnTo>
                    <a:pt x="5006" y="190"/>
                  </a:lnTo>
                  <a:lnTo>
                    <a:pt x="5160" y="199"/>
                  </a:lnTo>
                  <a:lnTo>
                    <a:pt x="5298" y="210"/>
                  </a:lnTo>
                  <a:lnTo>
                    <a:pt x="5418" y="222"/>
                  </a:lnTo>
                  <a:lnTo>
                    <a:pt x="5516" y="234"/>
                  </a:lnTo>
                  <a:lnTo>
                    <a:pt x="5588" y="247"/>
                  </a:lnTo>
                  <a:lnTo>
                    <a:pt x="5653" y="259"/>
                  </a:lnTo>
                  <a:lnTo>
                    <a:pt x="5691" y="264"/>
                  </a:lnTo>
                  <a:lnTo>
                    <a:pt x="5731" y="267"/>
                  </a:lnTo>
                  <a:lnTo>
                    <a:pt x="5819" y="270"/>
                  </a:lnTo>
                  <a:lnTo>
                    <a:pt x="5917" y="270"/>
                  </a:lnTo>
                  <a:lnTo>
                    <a:pt x="6019" y="267"/>
                  </a:lnTo>
                  <a:lnTo>
                    <a:pt x="6127" y="259"/>
                  </a:lnTo>
                  <a:lnTo>
                    <a:pt x="6237" y="251"/>
                  </a:lnTo>
                  <a:lnTo>
                    <a:pt x="6348" y="241"/>
                  </a:lnTo>
                  <a:lnTo>
                    <a:pt x="6563" y="217"/>
                  </a:lnTo>
                  <a:lnTo>
                    <a:pt x="6756" y="191"/>
                  </a:lnTo>
                  <a:lnTo>
                    <a:pt x="6911" y="167"/>
                  </a:lnTo>
                  <a:lnTo>
                    <a:pt x="7013" y="148"/>
                  </a:lnTo>
                  <a:lnTo>
                    <a:pt x="7175" y="116"/>
                  </a:lnTo>
                  <a:lnTo>
                    <a:pt x="7364" y="86"/>
                  </a:lnTo>
                  <a:lnTo>
                    <a:pt x="7559" y="59"/>
                  </a:lnTo>
                  <a:lnTo>
                    <a:pt x="7736" y="37"/>
                  </a:lnTo>
                  <a:lnTo>
                    <a:pt x="7791" y="32"/>
                  </a:lnTo>
                  <a:lnTo>
                    <a:pt x="7853" y="30"/>
                  </a:lnTo>
                  <a:lnTo>
                    <a:pt x="7989" y="29"/>
                  </a:lnTo>
                  <a:lnTo>
                    <a:pt x="8061" y="31"/>
                  </a:lnTo>
                  <a:lnTo>
                    <a:pt x="8138" y="35"/>
                  </a:lnTo>
                  <a:lnTo>
                    <a:pt x="8216" y="41"/>
                  </a:lnTo>
                  <a:lnTo>
                    <a:pt x="8296" y="48"/>
                  </a:lnTo>
                  <a:lnTo>
                    <a:pt x="8378" y="57"/>
                  </a:lnTo>
                  <a:lnTo>
                    <a:pt x="8458" y="68"/>
                  </a:lnTo>
                  <a:lnTo>
                    <a:pt x="8540" y="80"/>
                  </a:lnTo>
                  <a:lnTo>
                    <a:pt x="8621" y="95"/>
                  </a:lnTo>
                  <a:lnTo>
                    <a:pt x="8699" y="110"/>
                  </a:lnTo>
                  <a:lnTo>
                    <a:pt x="8776" y="128"/>
                  </a:lnTo>
                  <a:lnTo>
                    <a:pt x="8850" y="148"/>
                  </a:lnTo>
                  <a:lnTo>
                    <a:pt x="8921" y="168"/>
                  </a:lnTo>
                  <a:lnTo>
                    <a:pt x="8994" y="187"/>
                  </a:lnTo>
                  <a:lnTo>
                    <a:pt x="9035" y="195"/>
                  </a:lnTo>
                  <a:lnTo>
                    <a:pt x="9078" y="202"/>
                  </a:lnTo>
                  <a:lnTo>
                    <a:pt x="9169" y="213"/>
                  </a:lnTo>
                  <a:lnTo>
                    <a:pt x="9266" y="220"/>
                  </a:lnTo>
                  <a:lnTo>
                    <a:pt x="9368" y="223"/>
                  </a:lnTo>
                  <a:lnTo>
                    <a:pt x="9473" y="226"/>
                  </a:lnTo>
                  <a:lnTo>
                    <a:pt x="9686" y="223"/>
                  </a:lnTo>
                  <a:lnTo>
                    <a:pt x="9892" y="219"/>
                  </a:lnTo>
                  <a:lnTo>
                    <a:pt x="10078" y="214"/>
                  </a:lnTo>
                  <a:lnTo>
                    <a:pt x="10229" y="214"/>
                  </a:lnTo>
                  <a:lnTo>
                    <a:pt x="10261" y="215"/>
                  </a:lnTo>
                  <a:lnTo>
                    <a:pt x="10290" y="217"/>
                  </a:lnTo>
                  <a:lnTo>
                    <a:pt x="10335" y="223"/>
                  </a:lnTo>
                  <a:lnTo>
                    <a:pt x="10375" y="228"/>
                  </a:lnTo>
                  <a:lnTo>
                    <a:pt x="10412" y="228"/>
                  </a:lnTo>
                  <a:lnTo>
                    <a:pt x="10451" y="223"/>
                  </a:lnTo>
                  <a:lnTo>
                    <a:pt x="10487" y="215"/>
                  </a:lnTo>
                  <a:lnTo>
                    <a:pt x="10524" y="203"/>
                  </a:lnTo>
                  <a:lnTo>
                    <a:pt x="10560" y="189"/>
                  </a:lnTo>
                  <a:lnTo>
                    <a:pt x="10633" y="154"/>
                  </a:lnTo>
                  <a:lnTo>
                    <a:pt x="10706" y="114"/>
                  </a:lnTo>
                  <a:lnTo>
                    <a:pt x="10781" y="74"/>
                  </a:lnTo>
                  <a:lnTo>
                    <a:pt x="10818" y="56"/>
                  </a:lnTo>
                  <a:lnTo>
                    <a:pt x="10857" y="39"/>
                  </a:lnTo>
                  <a:lnTo>
                    <a:pt x="10896" y="24"/>
                  </a:lnTo>
                  <a:lnTo>
                    <a:pt x="10937" y="13"/>
                  </a:lnTo>
                  <a:lnTo>
                    <a:pt x="10961" y="8"/>
                  </a:lnTo>
                  <a:lnTo>
                    <a:pt x="10989" y="5"/>
                  </a:lnTo>
                  <a:lnTo>
                    <a:pt x="11058" y="0"/>
                  </a:lnTo>
                  <a:lnTo>
                    <a:pt x="11142" y="0"/>
                  </a:lnTo>
                  <a:lnTo>
                    <a:pt x="11240" y="1"/>
                  </a:lnTo>
                  <a:lnTo>
                    <a:pt x="11466" y="12"/>
                  </a:lnTo>
                  <a:lnTo>
                    <a:pt x="11721" y="27"/>
                  </a:lnTo>
                  <a:lnTo>
                    <a:pt x="11986" y="44"/>
                  </a:lnTo>
                  <a:lnTo>
                    <a:pt x="12244" y="59"/>
                  </a:lnTo>
                  <a:lnTo>
                    <a:pt x="12365" y="62"/>
                  </a:lnTo>
                  <a:lnTo>
                    <a:pt x="12478" y="65"/>
                  </a:lnTo>
                  <a:lnTo>
                    <a:pt x="12581" y="64"/>
                  </a:lnTo>
                  <a:lnTo>
                    <a:pt x="12671" y="59"/>
                  </a:lnTo>
                  <a:lnTo>
                    <a:pt x="12785" y="50"/>
                  </a:lnTo>
                  <a:lnTo>
                    <a:pt x="12943" y="42"/>
                  </a:lnTo>
                  <a:lnTo>
                    <a:pt x="13142" y="33"/>
                  </a:lnTo>
                  <a:lnTo>
                    <a:pt x="13375" y="26"/>
                  </a:lnTo>
                  <a:lnTo>
                    <a:pt x="13642" y="21"/>
                  </a:lnTo>
                  <a:lnTo>
                    <a:pt x="13935" y="20"/>
                  </a:lnTo>
                  <a:lnTo>
                    <a:pt x="14252" y="23"/>
                  </a:lnTo>
                  <a:lnTo>
                    <a:pt x="14418" y="26"/>
                  </a:lnTo>
                  <a:lnTo>
                    <a:pt x="14588" y="32"/>
                  </a:lnTo>
                  <a:lnTo>
                    <a:pt x="14761" y="39"/>
                  </a:lnTo>
                  <a:lnTo>
                    <a:pt x="14939" y="48"/>
                  </a:lnTo>
                  <a:lnTo>
                    <a:pt x="15119" y="60"/>
                  </a:lnTo>
                  <a:lnTo>
                    <a:pt x="15301" y="72"/>
                  </a:lnTo>
                  <a:lnTo>
                    <a:pt x="15485" y="88"/>
                  </a:lnTo>
                  <a:lnTo>
                    <a:pt x="15669" y="106"/>
                  </a:lnTo>
                  <a:lnTo>
                    <a:pt x="15855" y="126"/>
                  </a:lnTo>
                  <a:lnTo>
                    <a:pt x="16041" y="150"/>
                  </a:lnTo>
                  <a:lnTo>
                    <a:pt x="16225" y="175"/>
                  </a:lnTo>
                  <a:lnTo>
                    <a:pt x="16411" y="204"/>
                  </a:lnTo>
                  <a:lnTo>
                    <a:pt x="16593" y="237"/>
                  </a:lnTo>
                  <a:lnTo>
                    <a:pt x="16774" y="273"/>
                  </a:lnTo>
                  <a:lnTo>
                    <a:pt x="16953" y="311"/>
                  </a:lnTo>
                  <a:lnTo>
                    <a:pt x="17127" y="353"/>
                  </a:lnTo>
                  <a:lnTo>
                    <a:pt x="17299" y="400"/>
                  </a:lnTo>
                  <a:lnTo>
                    <a:pt x="17384" y="424"/>
                  </a:lnTo>
                  <a:lnTo>
                    <a:pt x="17467" y="449"/>
                  </a:lnTo>
                  <a:lnTo>
                    <a:pt x="17467" y="457"/>
                  </a:lnTo>
                  <a:lnTo>
                    <a:pt x="17461" y="464"/>
                  </a:lnTo>
                  <a:lnTo>
                    <a:pt x="17449" y="470"/>
                  </a:lnTo>
                  <a:lnTo>
                    <a:pt x="17433" y="475"/>
                  </a:lnTo>
                  <a:lnTo>
                    <a:pt x="17411" y="481"/>
                  </a:lnTo>
                  <a:lnTo>
                    <a:pt x="17385" y="485"/>
                  </a:lnTo>
                  <a:lnTo>
                    <a:pt x="17317" y="493"/>
                  </a:lnTo>
                  <a:lnTo>
                    <a:pt x="17234" y="500"/>
                  </a:lnTo>
                  <a:lnTo>
                    <a:pt x="17134" y="505"/>
                  </a:lnTo>
                  <a:lnTo>
                    <a:pt x="16892" y="511"/>
                  </a:lnTo>
                  <a:lnTo>
                    <a:pt x="16606" y="512"/>
                  </a:lnTo>
                  <a:lnTo>
                    <a:pt x="16283" y="508"/>
                  </a:lnTo>
                  <a:lnTo>
                    <a:pt x="15938" y="501"/>
                  </a:lnTo>
                  <a:lnTo>
                    <a:pt x="15579" y="493"/>
                  </a:lnTo>
                  <a:lnTo>
                    <a:pt x="14873" y="470"/>
                  </a:lnTo>
                  <a:lnTo>
                    <a:pt x="14256" y="445"/>
                  </a:lnTo>
                  <a:lnTo>
                    <a:pt x="13652" y="418"/>
                  </a:lnTo>
                  <a:lnTo>
                    <a:pt x="13043" y="430"/>
                  </a:lnTo>
                  <a:lnTo>
                    <a:pt x="12435" y="443"/>
                  </a:lnTo>
                  <a:lnTo>
                    <a:pt x="11826" y="457"/>
                  </a:lnTo>
                  <a:lnTo>
                    <a:pt x="11218" y="470"/>
                  </a:lnTo>
                  <a:lnTo>
                    <a:pt x="10558" y="469"/>
                  </a:lnTo>
                  <a:lnTo>
                    <a:pt x="9898" y="467"/>
                  </a:lnTo>
                  <a:lnTo>
                    <a:pt x="9238" y="466"/>
                  </a:lnTo>
                  <a:lnTo>
                    <a:pt x="8579" y="466"/>
                  </a:lnTo>
                  <a:lnTo>
                    <a:pt x="7919" y="465"/>
                  </a:lnTo>
                  <a:lnTo>
                    <a:pt x="7259" y="465"/>
                  </a:lnTo>
                  <a:lnTo>
                    <a:pt x="6599" y="464"/>
                  </a:lnTo>
                  <a:lnTo>
                    <a:pt x="5941" y="464"/>
                  </a:lnTo>
                  <a:lnTo>
                    <a:pt x="5198" y="464"/>
                  </a:lnTo>
                  <a:lnTo>
                    <a:pt x="4455" y="464"/>
                  </a:lnTo>
                  <a:lnTo>
                    <a:pt x="3712" y="464"/>
                  </a:lnTo>
                  <a:lnTo>
                    <a:pt x="2970" y="464"/>
                  </a:lnTo>
                  <a:lnTo>
                    <a:pt x="2227" y="464"/>
                  </a:lnTo>
                  <a:lnTo>
                    <a:pt x="1485" y="464"/>
                  </a:lnTo>
                  <a:lnTo>
                    <a:pt x="742" y="464"/>
                  </a:lnTo>
                  <a:lnTo>
                    <a:pt x="0" y="46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6" name="Freeform 59"/>
            <p:cNvSpPr>
              <a:spLocks/>
            </p:cNvSpPr>
            <p:nvPr userDrawn="1"/>
          </p:nvSpPr>
          <p:spPr bwMode="auto">
            <a:xfrm>
              <a:off x="2671763" y="6500813"/>
              <a:ext cx="3795713" cy="109538"/>
            </a:xfrm>
            <a:custGeom>
              <a:avLst/>
              <a:gdLst/>
              <a:ahLst/>
              <a:cxnLst>
                <a:cxn ang="0">
                  <a:pos x="89" y="316"/>
                </a:cxn>
                <a:cxn ang="0">
                  <a:pos x="650" y="273"/>
                </a:cxn>
                <a:cxn ang="0">
                  <a:pos x="1233" y="235"/>
                </a:cxn>
                <a:cxn ang="0">
                  <a:pos x="1339" y="232"/>
                </a:cxn>
                <a:cxn ang="0">
                  <a:pos x="1430" y="232"/>
                </a:cxn>
                <a:cxn ang="0">
                  <a:pos x="1872" y="203"/>
                </a:cxn>
                <a:cxn ang="0">
                  <a:pos x="2350" y="173"/>
                </a:cxn>
                <a:cxn ang="0">
                  <a:pos x="2469" y="170"/>
                </a:cxn>
                <a:cxn ang="0">
                  <a:pos x="2563" y="167"/>
                </a:cxn>
                <a:cxn ang="0">
                  <a:pos x="2683" y="151"/>
                </a:cxn>
                <a:cxn ang="0">
                  <a:pos x="2787" y="126"/>
                </a:cxn>
                <a:cxn ang="0">
                  <a:pos x="2923" y="89"/>
                </a:cxn>
                <a:cxn ang="0">
                  <a:pos x="3085" y="60"/>
                </a:cxn>
                <a:cxn ang="0">
                  <a:pos x="3388" y="30"/>
                </a:cxn>
                <a:cxn ang="0">
                  <a:pos x="3543" y="25"/>
                </a:cxn>
                <a:cxn ang="0">
                  <a:pos x="3628" y="33"/>
                </a:cxn>
                <a:cxn ang="0">
                  <a:pos x="3819" y="86"/>
                </a:cxn>
                <a:cxn ang="0">
                  <a:pos x="3991" y="131"/>
                </a:cxn>
                <a:cxn ang="0">
                  <a:pos x="4195" y="169"/>
                </a:cxn>
                <a:cxn ang="0">
                  <a:pos x="4296" y="177"/>
                </a:cxn>
                <a:cxn ang="0">
                  <a:pos x="4384" y="176"/>
                </a:cxn>
                <a:cxn ang="0">
                  <a:pos x="4530" y="154"/>
                </a:cxn>
                <a:cxn ang="0">
                  <a:pos x="4691" y="114"/>
                </a:cxn>
                <a:cxn ang="0">
                  <a:pos x="4784" y="108"/>
                </a:cxn>
                <a:cxn ang="0">
                  <a:pos x="4934" y="94"/>
                </a:cxn>
                <a:cxn ang="0">
                  <a:pos x="5055" y="83"/>
                </a:cxn>
                <a:cxn ang="0">
                  <a:pos x="5086" y="84"/>
                </a:cxn>
                <a:cxn ang="0">
                  <a:pos x="5099" y="72"/>
                </a:cxn>
                <a:cxn ang="0">
                  <a:pos x="5121" y="40"/>
                </a:cxn>
                <a:cxn ang="0">
                  <a:pos x="5144" y="23"/>
                </a:cxn>
                <a:cxn ang="0">
                  <a:pos x="5210" y="4"/>
                </a:cxn>
                <a:cxn ang="0">
                  <a:pos x="5329" y="0"/>
                </a:cxn>
                <a:cxn ang="0">
                  <a:pos x="5945" y="39"/>
                </a:cxn>
                <a:cxn ang="0">
                  <a:pos x="6390" y="68"/>
                </a:cxn>
                <a:cxn ang="0">
                  <a:pos x="6867" y="88"/>
                </a:cxn>
                <a:cxn ang="0">
                  <a:pos x="7097" y="90"/>
                </a:cxn>
                <a:cxn ang="0">
                  <a:pos x="7164" y="82"/>
                </a:cxn>
                <a:cxn ang="0">
                  <a:pos x="7245" y="63"/>
                </a:cxn>
                <a:cxn ang="0">
                  <a:pos x="7334" y="31"/>
                </a:cxn>
                <a:cxn ang="0">
                  <a:pos x="7404" y="16"/>
                </a:cxn>
                <a:cxn ang="0">
                  <a:pos x="7458" y="13"/>
                </a:cxn>
                <a:cxn ang="0">
                  <a:pos x="7621" y="27"/>
                </a:cxn>
                <a:cxn ang="0">
                  <a:pos x="7877" y="39"/>
                </a:cxn>
                <a:cxn ang="0">
                  <a:pos x="8118" y="41"/>
                </a:cxn>
                <a:cxn ang="0">
                  <a:pos x="8450" y="30"/>
                </a:cxn>
                <a:cxn ang="0">
                  <a:pos x="8829" y="10"/>
                </a:cxn>
                <a:cxn ang="0">
                  <a:pos x="9057" y="3"/>
                </a:cxn>
                <a:cxn ang="0">
                  <a:pos x="9828" y="88"/>
                </a:cxn>
                <a:cxn ang="0">
                  <a:pos x="11244" y="257"/>
                </a:cxn>
                <a:cxn ang="0">
                  <a:pos x="11199" y="342"/>
                </a:cxn>
                <a:cxn ang="0">
                  <a:pos x="9691" y="339"/>
                </a:cxn>
                <a:cxn ang="0">
                  <a:pos x="8185" y="338"/>
                </a:cxn>
                <a:cxn ang="0">
                  <a:pos x="6679" y="336"/>
                </a:cxn>
                <a:cxn ang="0">
                  <a:pos x="5411" y="334"/>
                </a:cxn>
                <a:cxn ang="0">
                  <a:pos x="4383" y="332"/>
                </a:cxn>
                <a:cxn ang="0">
                  <a:pos x="3353" y="331"/>
                </a:cxn>
                <a:cxn ang="0">
                  <a:pos x="2325" y="328"/>
                </a:cxn>
                <a:cxn ang="0">
                  <a:pos x="1143" y="326"/>
                </a:cxn>
                <a:cxn ang="0">
                  <a:pos x="0" y="322"/>
                </a:cxn>
              </a:cxnLst>
              <a:rect l="0" t="0" r="r" b="b"/>
              <a:pathLst>
                <a:path w="11952" h="343">
                  <a:moveTo>
                    <a:pt x="0" y="322"/>
                  </a:moveTo>
                  <a:lnTo>
                    <a:pt x="89" y="316"/>
                  </a:lnTo>
                  <a:lnTo>
                    <a:pt x="241" y="306"/>
                  </a:lnTo>
                  <a:lnTo>
                    <a:pt x="650" y="273"/>
                  </a:lnTo>
                  <a:lnTo>
                    <a:pt x="1070" y="243"/>
                  </a:lnTo>
                  <a:lnTo>
                    <a:pt x="1233" y="235"/>
                  </a:lnTo>
                  <a:lnTo>
                    <a:pt x="1294" y="232"/>
                  </a:lnTo>
                  <a:lnTo>
                    <a:pt x="1339" y="232"/>
                  </a:lnTo>
                  <a:lnTo>
                    <a:pt x="1380" y="233"/>
                  </a:lnTo>
                  <a:lnTo>
                    <a:pt x="1430" y="232"/>
                  </a:lnTo>
                  <a:lnTo>
                    <a:pt x="1556" y="226"/>
                  </a:lnTo>
                  <a:lnTo>
                    <a:pt x="1872" y="203"/>
                  </a:lnTo>
                  <a:lnTo>
                    <a:pt x="2205" y="181"/>
                  </a:lnTo>
                  <a:lnTo>
                    <a:pt x="2350" y="173"/>
                  </a:lnTo>
                  <a:lnTo>
                    <a:pt x="2414" y="171"/>
                  </a:lnTo>
                  <a:lnTo>
                    <a:pt x="2469" y="170"/>
                  </a:lnTo>
                  <a:lnTo>
                    <a:pt x="2519" y="170"/>
                  </a:lnTo>
                  <a:lnTo>
                    <a:pt x="2563" y="167"/>
                  </a:lnTo>
                  <a:lnTo>
                    <a:pt x="2645" y="157"/>
                  </a:lnTo>
                  <a:lnTo>
                    <a:pt x="2683" y="151"/>
                  </a:lnTo>
                  <a:lnTo>
                    <a:pt x="2719" y="143"/>
                  </a:lnTo>
                  <a:lnTo>
                    <a:pt x="2787" y="126"/>
                  </a:lnTo>
                  <a:lnTo>
                    <a:pt x="2854" y="107"/>
                  </a:lnTo>
                  <a:lnTo>
                    <a:pt x="2923" y="89"/>
                  </a:lnTo>
                  <a:lnTo>
                    <a:pt x="2999" y="74"/>
                  </a:lnTo>
                  <a:lnTo>
                    <a:pt x="3085" y="60"/>
                  </a:lnTo>
                  <a:lnTo>
                    <a:pt x="3252" y="42"/>
                  </a:lnTo>
                  <a:lnTo>
                    <a:pt x="3388" y="30"/>
                  </a:lnTo>
                  <a:lnTo>
                    <a:pt x="3498" y="25"/>
                  </a:lnTo>
                  <a:lnTo>
                    <a:pt x="3543" y="25"/>
                  </a:lnTo>
                  <a:lnTo>
                    <a:pt x="3584" y="27"/>
                  </a:lnTo>
                  <a:lnTo>
                    <a:pt x="3628" y="33"/>
                  </a:lnTo>
                  <a:lnTo>
                    <a:pt x="3682" y="46"/>
                  </a:lnTo>
                  <a:lnTo>
                    <a:pt x="3819" y="86"/>
                  </a:lnTo>
                  <a:lnTo>
                    <a:pt x="3901" y="108"/>
                  </a:lnTo>
                  <a:lnTo>
                    <a:pt x="3991" y="131"/>
                  </a:lnTo>
                  <a:lnTo>
                    <a:pt x="4090" y="152"/>
                  </a:lnTo>
                  <a:lnTo>
                    <a:pt x="4195" y="169"/>
                  </a:lnTo>
                  <a:lnTo>
                    <a:pt x="4247" y="175"/>
                  </a:lnTo>
                  <a:lnTo>
                    <a:pt x="4296" y="177"/>
                  </a:lnTo>
                  <a:lnTo>
                    <a:pt x="4342" y="177"/>
                  </a:lnTo>
                  <a:lnTo>
                    <a:pt x="4384" y="176"/>
                  </a:lnTo>
                  <a:lnTo>
                    <a:pt x="4461" y="167"/>
                  </a:lnTo>
                  <a:lnTo>
                    <a:pt x="4530" y="154"/>
                  </a:lnTo>
                  <a:lnTo>
                    <a:pt x="4643" y="125"/>
                  </a:lnTo>
                  <a:lnTo>
                    <a:pt x="4691" y="114"/>
                  </a:lnTo>
                  <a:lnTo>
                    <a:pt x="4737" y="111"/>
                  </a:lnTo>
                  <a:lnTo>
                    <a:pt x="4784" y="108"/>
                  </a:lnTo>
                  <a:lnTo>
                    <a:pt x="4833" y="105"/>
                  </a:lnTo>
                  <a:lnTo>
                    <a:pt x="4934" y="94"/>
                  </a:lnTo>
                  <a:lnTo>
                    <a:pt x="5021" y="84"/>
                  </a:lnTo>
                  <a:lnTo>
                    <a:pt x="5055" y="83"/>
                  </a:lnTo>
                  <a:lnTo>
                    <a:pt x="5079" y="83"/>
                  </a:lnTo>
                  <a:lnTo>
                    <a:pt x="5086" y="84"/>
                  </a:lnTo>
                  <a:lnTo>
                    <a:pt x="5092" y="82"/>
                  </a:lnTo>
                  <a:lnTo>
                    <a:pt x="5099" y="72"/>
                  </a:lnTo>
                  <a:lnTo>
                    <a:pt x="5107" y="57"/>
                  </a:lnTo>
                  <a:lnTo>
                    <a:pt x="5121" y="40"/>
                  </a:lnTo>
                  <a:lnTo>
                    <a:pt x="5130" y="31"/>
                  </a:lnTo>
                  <a:lnTo>
                    <a:pt x="5144" y="23"/>
                  </a:lnTo>
                  <a:lnTo>
                    <a:pt x="5182" y="10"/>
                  </a:lnTo>
                  <a:lnTo>
                    <a:pt x="5210" y="4"/>
                  </a:lnTo>
                  <a:lnTo>
                    <a:pt x="5242" y="1"/>
                  </a:lnTo>
                  <a:lnTo>
                    <a:pt x="5329" y="0"/>
                  </a:lnTo>
                  <a:lnTo>
                    <a:pt x="5604" y="17"/>
                  </a:lnTo>
                  <a:lnTo>
                    <a:pt x="5945" y="39"/>
                  </a:lnTo>
                  <a:lnTo>
                    <a:pt x="6244" y="59"/>
                  </a:lnTo>
                  <a:lnTo>
                    <a:pt x="6390" y="68"/>
                  </a:lnTo>
                  <a:lnTo>
                    <a:pt x="6657" y="80"/>
                  </a:lnTo>
                  <a:lnTo>
                    <a:pt x="6867" y="88"/>
                  </a:lnTo>
                  <a:lnTo>
                    <a:pt x="7058" y="92"/>
                  </a:lnTo>
                  <a:lnTo>
                    <a:pt x="7097" y="90"/>
                  </a:lnTo>
                  <a:lnTo>
                    <a:pt x="7133" y="87"/>
                  </a:lnTo>
                  <a:lnTo>
                    <a:pt x="7164" y="82"/>
                  </a:lnTo>
                  <a:lnTo>
                    <a:pt x="7193" y="77"/>
                  </a:lnTo>
                  <a:lnTo>
                    <a:pt x="7245" y="63"/>
                  </a:lnTo>
                  <a:lnTo>
                    <a:pt x="7290" y="47"/>
                  </a:lnTo>
                  <a:lnTo>
                    <a:pt x="7334" y="31"/>
                  </a:lnTo>
                  <a:lnTo>
                    <a:pt x="7378" y="19"/>
                  </a:lnTo>
                  <a:lnTo>
                    <a:pt x="7404" y="16"/>
                  </a:lnTo>
                  <a:lnTo>
                    <a:pt x="7430" y="13"/>
                  </a:lnTo>
                  <a:lnTo>
                    <a:pt x="7458" y="13"/>
                  </a:lnTo>
                  <a:lnTo>
                    <a:pt x="7490" y="16"/>
                  </a:lnTo>
                  <a:lnTo>
                    <a:pt x="7621" y="27"/>
                  </a:lnTo>
                  <a:lnTo>
                    <a:pt x="7750" y="35"/>
                  </a:lnTo>
                  <a:lnTo>
                    <a:pt x="7877" y="39"/>
                  </a:lnTo>
                  <a:lnTo>
                    <a:pt x="8000" y="41"/>
                  </a:lnTo>
                  <a:lnTo>
                    <a:pt x="8118" y="41"/>
                  </a:lnTo>
                  <a:lnTo>
                    <a:pt x="8233" y="39"/>
                  </a:lnTo>
                  <a:lnTo>
                    <a:pt x="8450" y="30"/>
                  </a:lnTo>
                  <a:lnTo>
                    <a:pt x="8650" y="19"/>
                  </a:lnTo>
                  <a:lnTo>
                    <a:pt x="8829" y="10"/>
                  </a:lnTo>
                  <a:lnTo>
                    <a:pt x="8986" y="3"/>
                  </a:lnTo>
                  <a:lnTo>
                    <a:pt x="9057" y="3"/>
                  </a:lnTo>
                  <a:lnTo>
                    <a:pt x="9120" y="4"/>
                  </a:lnTo>
                  <a:lnTo>
                    <a:pt x="9828" y="88"/>
                  </a:lnTo>
                  <a:lnTo>
                    <a:pt x="10536" y="173"/>
                  </a:lnTo>
                  <a:lnTo>
                    <a:pt x="11244" y="257"/>
                  </a:lnTo>
                  <a:lnTo>
                    <a:pt x="11952" y="343"/>
                  </a:lnTo>
                  <a:lnTo>
                    <a:pt x="11199" y="342"/>
                  </a:lnTo>
                  <a:lnTo>
                    <a:pt x="10445" y="340"/>
                  </a:lnTo>
                  <a:lnTo>
                    <a:pt x="9691" y="339"/>
                  </a:lnTo>
                  <a:lnTo>
                    <a:pt x="8939" y="339"/>
                  </a:lnTo>
                  <a:lnTo>
                    <a:pt x="8185" y="338"/>
                  </a:lnTo>
                  <a:lnTo>
                    <a:pt x="7432" y="337"/>
                  </a:lnTo>
                  <a:lnTo>
                    <a:pt x="6679" y="336"/>
                  </a:lnTo>
                  <a:lnTo>
                    <a:pt x="5926" y="336"/>
                  </a:lnTo>
                  <a:lnTo>
                    <a:pt x="5411" y="334"/>
                  </a:lnTo>
                  <a:lnTo>
                    <a:pt x="4897" y="333"/>
                  </a:lnTo>
                  <a:lnTo>
                    <a:pt x="4383" y="332"/>
                  </a:lnTo>
                  <a:lnTo>
                    <a:pt x="3869" y="332"/>
                  </a:lnTo>
                  <a:lnTo>
                    <a:pt x="3353" y="331"/>
                  </a:lnTo>
                  <a:lnTo>
                    <a:pt x="2839" y="330"/>
                  </a:lnTo>
                  <a:lnTo>
                    <a:pt x="2325" y="328"/>
                  </a:lnTo>
                  <a:lnTo>
                    <a:pt x="1811" y="328"/>
                  </a:lnTo>
                  <a:lnTo>
                    <a:pt x="1143" y="326"/>
                  </a:lnTo>
                  <a:lnTo>
                    <a:pt x="476" y="325"/>
                  </a:lnTo>
                  <a:lnTo>
                    <a:pt x="0" y="3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7" name="Freeform 60"/>
            <p:cNvSpPr>
              <a:spLocks/>
            </p:cNvSpPr>
            <p:nvPr userDrawn="1"/>
          </p:nvSpPr>
          <p:spPr bwMode="auto">
            <a:xfrm>
              <a:off x="2855913" y="6235701"/>
              <a:ext cx="196850" cy="284163"/>
            </a:xfrm>
            <a:custGeom>
              <a:avLst/>
              <a:gdLst/>
              <a:ahLst/>
              <a:cxnLst>
                <a:cxn ang="0">
                  <a:pos x="336" y="75"/>
                </a:cxn>
                <a:cxn ang="0">
                  <a:pos x="372" y="134"/>
                </a:cxn>
                <a:cxn ang="0">
                  <a:pos x="412" y="165"/>
                </a:cxn>
                <a:cxn ang="0">
                  <a:pos x="391" y="195"/>
                </a:cxn>
                <a:cxn ang="0">
                  <a:pos x="426" y="262"/>
                </a:cxn>
                <a:cxn ang="0">
                  <a:pos x="454" y="326"/>
                </a:cxn>
                <a:cxn ang="0">
                  <a:pos x="448" y="345"/>
                </a:cxn>
                <a:cxn ang="0">
                  <a:pos x="514" y="387"/>
                </a:cxn>
                <a:cxn ang="0">
                  <a:pos x="491" y="405"/>
                </a:cxn>
                <a:cxn ang="0">
                  <a:pos x="518" y="419"/>
                </a:cxn>
                <a:cxn ang="0">
                  <a:pos x="490" y="433"/>
                </a:cxn>
                <a:cxn ang="0">
                  <a:pos x="477" y="450"/>
                </a:cxn>
                <a:cxn ang="0">
                  <a:pos x="534" y="466"/>
                </a:cxn>
                <a:cxn ang="0">
                  <a:pos x="540" y="479"/>
                </a:cxn>
                <a:cxn ang="0">
                  <a:pos x="563" y="506"/>
                </a:cxn>
                <a:cxn ang="0">
                  <a:pos x="533" y="530"/>
                </a:cxn>
                <a:cxn ang="0">
                  <a:pos x="518" y="554"/>
                </a:cxn>
                <a:cxn ang="0">
                  <a:pos x="480" y="564"/>
                </a:cxn>
                <a:cxn ang="0">
                  <a:pos x="454" y="565"/>
                </a:cxn>
                <a:cxn ang="0">
                  <a:pos x="467" y="587"/>
                </a:cxn>
                <a:cxn ang="0">
                  <a:pos x="525" y="601"/>
                </a:cxn>
                <a:cxn ang="0">
                  <a:pos x="558" y="621"/>
                </a:cxn>
                <a:cxn ang="0">
                  <a:pos x="561" y="652"/>
                </a:cxn>
                <a:cxn ang="0">
                  <a:pos x="567" y="666"/>
                </a:cxn>
                <a:cxn ang="0">
                  <a:pos x="554" y="682"/>
                </a:cxn>
                <a:cxn ang="0">
                  <a:pos x="598" y="698"/>
                </a:cxn>
                <a:cxn ang="0">
                  <a:pos x="581" y="732"/>
                </a:cxn>
                <a:cxn ang="0">
                  <a:pos x="542" y="734"/>
                </a:cxn>
                <a:cxn ang="0">
                  <a:pos x="507" y="781"/>
                </a:cxn>
                <a:cxn ang="0">
                  <a:pos x="456" y="806"/>
                </a:cxn>
                <a:cxn ang="0">
                  <a:pos x="373" y="813"/>
                </a:cxn>
                <a:cxn ang="0">
                  <a:pos x="282" y="824"/>
                </a:cxn>
                <a:cxn ang="0">
                  <a:pos x="189" y="827"/>
                </a:cxn>
                <a:cxn ang="0">
                  <a:pos x="129" y="865"/>
                </a:cxn>
                <a:cxn ang="0">
                  <a:pos x="47" y="807"/>
                </a:cxn>
                <a:cxn ang="0">
                  <a:pos x="64" y="758"/>
                </a:cxn>
                <a:cxn ang="0">
                  <a:pos x="41" y="701"/>
                </a:cxn>
                <a:cxn ang="0">
                  <a:pos x="114" y="706"/>
                </a:cxn>
                <a:cxn ang="0">
                  <a:pos x="97" y="668"/>
                </a:cxn>
                <a:cxn ang="0">
                  <a:pos x="56" y="647"/>
                </a:cxn>
                <a:cxn ang="0">
                  <a:pos x="79" y="606"/>
                </a:cxn>
                <a:cxn ang="0">
                  <a:pos x="95" y="588"/>
                </a:cxn>
                <a:cxn ang="0">
                  <a:pos x="153" y="568"/>
                </a:cxn>
                <a:cxn ang="0">
                  <a:pos x="126" y="541"/>
                </a:cxn>
                <a:cxn ang="0">
                  <a:pos x="105" y="521"/>
                </a:cxn>
                <a:cxn ang="0">
                  <a:pos x="48" y="511"/>
                </a:cxn>
                <a:cxn ang="0">
                  <a:pos x="77" y="464"/>
                </a:cxn>
                <a:cxn ang="0">
                  <a:pos x="90" y="422"/>
                </a:cxn>
                <a:cxn ang="0">
                  <a:pos x="154" y="390"/>
                </a:cxn>
                <a:cxn ang="0">
                  <a:pos x="117" y="385"/>
                </a:cxn>
                <a:cxn ang="0">
                  <a:pos x="151" y="337"/>
                </a:cxn>
                <a:cxn ang="0">
                  <a:pos x="155" y="332"/>
                </a:cxn>
                <a:cxn ang="0">
                  <a:pos x="238" y="289"/>
                </a:cxn>
                <a:cxn ang="0">
                  <a:pos x="196" y="261"/>
                </a:cxn>
                <a:cxn ang="0">
                  <a:pos x="196" y="178"/>
                </a:cxn>
                <a:cxn ang="0">
                  <a:pos x="230" y="167"/>
                </a:cxn>
                <a:cxn ang="0">
                  <a:pos x="202" y="125"/>
                </a:cxn>
                <a:cxn ang="0">
                  <a:pos x="266" y="113"/>
                </a:cxn>
                <a:cxn ang="0">
                  <a:pos x="243" y="80"/>
                </a:cxn>
                <a:cxn ang="0">
                  <a:pos x="268" y="83"/>
                </a:cxn>
                <a:cxn ang="0">
                  <a:pos x="259" y="64"/>
                </a:cxn>
                <a:cxn ang="0">
                  <a:pos x="285" y="30"/>
                </a:cxn>
                <a:cxn ang="0">
                  <a:pos x="294" y="30"/>
                </a:cxn>
              </a:cxnLst>
              <a:rect l="0" t="0" r="r" b="b"/>
              <a:pathLst>
                <a:path w="622" h="896">
                  <a:moveTo>
                    <a:pt x="310" y="15"/>
                  </a:moveTo>
                  <a:lnTo>
                    <a:pt x="313" y="10"/>
                  </a:lnTo>
                  <a:lnTo>
                    <a:pt x="316" y="0"/>
                  </a:lnTo>
                  <a:lnTo>
                    <a:pt x="315" y="5"/>
                  </a:lnTo>
                  <a:lnTo>
                    <a:pt x="314" y="10"/>
                  </a:lnTo>
                  <a:lnTo>
                    <a:pt x="310" y="15"/>
                  </a:lnTo>
                  <a:lnTo>
                    <a:pt x="310" y="17"/>
                  </a:lnTo>
                  <a:lnTo>
                    <a:pt x="314" y="12"/>
                  </a:lnTo>
                  <a:lnTo>
                    <a:pt x="315" y="12"/>
                  </a:lnTo>
                  <a:lnTo>
                    <a:pt x="313" y="17"/>
                  </a:lnTo>
                  <a:lnTo>
                    <a:pt x="313" y="18"/>
                  </a:lnTo>
                  <a:lnTo>
                    <a:pt x="321" y="15"/>
                  </a:lnTo>
                  <a:lnTo>
                    <a:pt x="310" y="21"/>
                  </a:lnTo>
                  <a:lnTo>
                    <a:pt x="312" y="22"/>
                  </a:lnTo>
                  <a:lnTo>
                    <a:pt x="312" y="23"/>
                  </a:lnTo>
                  <a:lnTo>
                    <a:pt x="315" y="20"/>
                  </a:lnTo>
                  <a:lnTo>
                    <a:pt x="316" y="21"/>
                  </a:lnTo>
                  <a:lnTo>
                    <a:pt x="313" y="24"/>
                  </a:lnTo>
                  <a:lnTo>
                    <a:pt x="319" y="24"/>
                  </a:lnTo>
                  <a:lnTo>
                    <a:pt x="319" y="26"/>
                  </a:lnTo>
                  <a:lnTo>
                    <a:pt x="313" y="26"/>
                  </a:lnTo>
                  <a:lnTo>
                    <a:pt x="312" y="27"/>
                  </a:lnTo>
                  <a:lnTo>
                    <a:pt x="312" y="29"/>
                  </a:lnTo>
                  <a:lnTo>
                    <a:pt x="318" y="29"/>
                  </a:lnTo>
                  <a:lnTo>
                    <a:pt x="316" y="30"/>
                  </a:lnTo>
                  <a:lnTo>
                    <a:pt x="312" y="30"/>
                  </a:lnTo>
                  <a:lnTo>
                    <a:pt x="315" y="32"/>
                  </a:lnTo>
                  <a:lnTo>
                    <a:pt x="312" y="32"/>
                  </a:lnTo>
                  <a:lnTo>
                    <a:pt x="312" y="33"/>
                  </a:lnTo>
                  <a:lnTo>
                    <a:pt x="314" y="33"/>
                  </a:lnTo>
                  <a:lnTo>
                    <a:pt x="314" y="32"/>
                  </a:lnTo>
                  <a:lnTo>
                    <a:pt x="315" y="33"/>
                  </a:lnTo>
                  <a:lnTo>
                    <a:pt x="316" y="33"/>
                  </a:lnTo>
                  <a:lnTo>
                    <a:pt x="319" y="28"/>
                  </a:lnTo>
                  <a:lnTo>
                    <a:pt x="318" y="33"/>
                  </a:lnTo>
                  <a:lnTo>
                    <a:pt x="319" y="33"/>
                  </a:lnTo>
                  <a:lnTo>
                    <a:pt x="321" y="32"/>
                  </a:lnTo>
                  <a:lnTo>
                    <a:pt x="321" y="33"/>
                  </a:lnTo>
                  <a:lnTo>
                    <a:pt x="320" y="33"/>
                  </a:lnTo>
                  <a:lnTo>
                    <a:pt x="318" y="34"/>
                  </a:lnTo>
                  <a:lnTo>
                    <a:pt x="318" y="35"/>
                  </a:lnTo>
                  <a:lnTo>
                    <a:pt x="320" y="34"/>
                  </a:lnTo>
                  <a:lnTo>
                    <a:pt x="320" y="35"/>
                  </a:lnTo>
                  <a:lnTo>
                    <a:pt x="316" y="36"/>
                  </a:lnTo>
                  <a:lnTo>
                    <a:pt x="318" y="38"/>
                  </a:lnTo>
                  <a:lnTo>
                    <a:pt x="319" y="39"/>
                  </a:lnTo>
                  <a:lnTo>
                    <a:pt x="320" y="36"/>
                  </a:lnTo>
                  <a:lnTo>
                    <a:pt x="326" y="33"/>
                  </a:lnTo>
                  <a:lnTo>
                    <a:pt x="325" y="35"/>
                  </a:lnTo>
                  <a:lnTo>
                    <a:pt x="327" y="36"/>
                  </a:lnTo>
                  <a:lnTo>
                    <a:pt x="330" y="35"/>
                  </a:lnTo>
                  <a:lnTo>
                    <a:pt x="328" y="36"/>
                  </a:lnTo>
                  <a:lnTo>
                    <a:pt x="324" y="38"/>
                  </a:lnTo>
                  <a:lnTo>
                    <a:pt x="322" y="38"/>
                  </a:lnTo>
                  <a:lnTo>
                    <a:pt x="327" y="41"/>
                  </a:lnTo>
                  <a:lnTo>
                    <a:pt x="321" y="39"/>
                  </a:lnTo>
                  <a:lnTo>
                    <a:pt x="322" y="40"/>
                  </a:lnTo>
                  <a:lnTo>
                    <a:pt x="320" y="39"/>
                  </a:lnTo>
                  <a:lnTo>
                    <a:pt x="319" y="40"/>
                  </a:lnTo>
                  <a:lnTo>
                    <a:pt x="318" y="40"/>
                  </a:lnTo>
                  <a:lnTo>
                    <a:pt x="319" y="42"/>
                  </a:lnTo>
                  <a:lnTo>
                    <a:pt x="316" y="40"/>
                  </a:lnTo>
                  <a:lnTo>
                    <a:pt x="310" y="44"/>
                  </a:lnTo>
                  <a:lnTo>
                    <a:pt x="309" y="46"/>
                  </a:lnTo>
                  <a:lnTo>
                    <a:pt x="312" y="47"/>
                  </a:lnTo>
                  <a:lnTo>
                    <a:pt x="314" y="46"/>
                  </a:lnTo>
                  <a:lnTo>
                    <a:pt x="315" y="45"/>
                  </a:lnTo>
                  <a:lnTo>
                    <a:pt x="315" y="46"/>
                  </a:lnTo>
                  <a:lnTo>
                    <a:pt x="319" y="46"/>
                  </a:lnTo>
                  <a:lnTo>
                    <a:pt x="321" y="44"/>
                  </a:lnTo>
                  <a:lnTo>
                    <a:pt x="320" y="47"/>
                  </a:lnTo>
                  <a:lnTo>
                    <a:pt x="325" y="47"/>
                  </a:lnTo>
                  <a:lnTo>
                    <a:pt x="324" y="48"/>
                  </a:lnTo>
                  <a:lnTo>
                    <a:pt x="320" y="48"/>
                  </a:lnTo>
                  <a:lnTo>
                    <a:pt x="321" y="51"/>
                  </a:lnTo>
                  <a:lnTo>
                    <a:pt x="318" y="48"/>
                  </a:lnTo>
                  <a:lnTo>
                    <a:pt x="316" y="48"/>
                  </a:lnTo>
                  <a:lnTo>
                    <a:pt x="315" y="48"/>
                  </a:lnTo>
                  <a:lnTo>
                    <a:pt x="313" y="48"/>
                  </a:lnTo>
                  <a:lnTo>
                    <a:pt x="314" y="50"/>
                  </a:lnTo>
                  <a:lnTo>
                    <a:pt x="318" y="50"/>
                  </a:lnTo>
                  <a:lnTo>
                    <a:pt x="315" y="51"/>
                  </a:lnTo>
                  <a:lnTo>
                    <a:pt x="316" y="51"/>
                  </a:lnTo>
                  <a:lnTo>
                    <a:pt x="319" y="53"/>
                  </a:lnTo>
                  <a:lnTo>
                    <a:pt x="315" y="53"/>
                  </a:lnTo>
                  <a:lnTo>
                    <a:pt x="315" y="54"/>
                  </a:lnTo>
                  <a:lnTo>
                    <a:pt x="320" y="58"/>
                  </a:lnTo>
                  <a:lnTo>
                    <a:pt x="320" y="59"/>
                  </a:lnTo>
                  <a:lnTo>
                    <a:pt x="318" y="59"/>
                  </a:lnTo>
                  <a:lnTo>
                    <a:pt x="318" y="60"/>
                  </a:lnTo>
                  <a:lnTo>
                    <a:pt x="318" y="62"/>
                  </a:lnTo>
                  <a:lnTo>
                    <a:pt x="316" y="62"/>
                  </a:lnTo>
                  <a:lnTo>
                    <a:pt x="315" y="62"/>
                  </a:lnTo>
                  <a:lnTo>
                    <a:pt x="315" y="63"/>
                  </a:lnTo>
                  <a:lnTo>
                    <a:pt x="319" y="63"/>
                  </a:lnTo>
                  <a:lnTo>
                    <a:pt x="321" y="62"/>
                  </a:lnTo>
                  <a:lnTo>
                    <a:pt x="320" y="63"/>
                  </a:lnTo>
                  <a:lnTo>
                    <a:pt x="321" y="66"/>
                  </a:lnTo>
                  <a:lnTo>
                    <a:pt x="320" y="66"/>
                  </a:lnTo>
                  <a:lnTo>
                    <a:pt x="319" y="64"/>
                  </a:lnTo>
                  <a:lnTo>
                    <a:pt x="316" y="64"/>
                  </a:lnTo>
                  <a:lnTo>
                    <a:pt x="318" y="66"/>
                  </a:lnTo>
                  <a:lnTo>
                    <a:pt x="321" y="69"/>
                  </a:lnTo>
                  <a:lnTo>
                    <a:pt x="326" y="71"/>
                  </a:lnTo>
                  <a:lnTo>
                    <a:pt x="333" y="75"/>
                  </a:lnTo>
                  <a:lnTo>
                    <a:pt x="336" y="75"/>
                  </a:lnTo>
                  <a:lnTo>
                    <a:pt x="334" y="76"/>
                  </a:lnTo>
                  <a:lnTo>
                    <a:pt x="336" y="76"/>
                  </a:lnTo>
                  <a:lnTo>
                    <a:pt x="339" y="75"/>
                  </a:lnTo>
                  <a:lnTo>
                    <a:pt x="337" y="76"/>
                  </a:lnTo>
                  <a:lnTo>
                    <a:pt x="342" y="78"/>
                  </a:lnTo>
                  <a:lnTo>
                    <a:pt x="342" y="80"/>
                  </a:lnTo>
                  <a:lnTo>
                    <a:pt x="334" y="78"/>
                  </a:lnTo>
                  <a:lnTo>
                    <a:pt x="336" y="80"/>
                  </a:lnTo>
                  <a:lnTo>
                    <a:pt x="336" y="82"/>
                  </a:lnTo>
                  <a:lnTo>
                    <a:pt x="334" y="83"/>
                  </a:lnTo>
                  <a:lnTo>
                    <a:pt x="334" y="80"/>
                  </a:lnTo>
                  <a:lnTo>
                    <a:pt x="333" y="80"/>
                  </a:lnTo>
                  <a:lnTo>
                    <a:pt x="333" y="77"/>
                  </a:lnTo>
                  <a:lnTo>
                    <a:pt x="332" y="77"/>
                  </a:lnTo>
                  <a:lnTo>
                    <a:pt x="332" y="80"/>
                  </a:lnTo>
                  <a:lnTo>
                    <a:pt x="331" y="80"/>
                  </a:lnTo>
                  <a:lnTo>
                    <a:pt x="331" y="76"/>
                  </a:lnTo>
                  <a:lnTo>
                    <a:pt x="327" y="75"/>
                  </a:lnTo>
                  <a:lnTo>
                    <a:pt x="327" y="77"/>
                  </a:lnTo>
                  <a:lnTo>
                    <a:pt x="330" y="80"/>
                  </a:lnTo>
                  <a:lnTo>
                    <a:pt x="328" y="82"/>
                  </a:lnTo>
                  <a:lnTo>
                    <a:pt x="328" y="83"/>
                  </a:lnTo>
                  <a:lnTo>
                    <a:pt x="326" y="84"/>
                  </a:lnTo>
                  <a:lnTo>
                    <a:pt x="330" y="86"/>
                  </a:lnTo>
                  <a:lnTo>
                    <a:pt x="331" y="84"/>
                  </a:lnTo>
                  <a:lnTo>
                    <a:pt x="332" y="84"/>
                  </a:lnTo>
                  <a:lnTo>
                    <a:pt x="331" y="86"/>
                  </a:lnTo>
                  <a:lnTo>
                    <a:pt x="333" y="86"/>
                  </a:lnTo>
                  <a:lnTo>
                    <a:pt x="336" y="87"/>
                  </a:lnTo>
                  <a:lnTo>
                    <a:pt x="332" y="87"/>
                  </a:lnTo>
                  <a:lnTo>
                    <a:pt x="331" y="87"/>
                  </a:lnTo>
                  <a:lnTo>
                    <a:pt x="330" y="88"/>
                  </a:lnTo>
                  <a:lnTo>
                    <a:pt x="333" y="88"/>
                  </a:lnTo>
                  <a:lnTo>
                    <a:pt x="336" y="89"/>
                  </a:lnTo>
                  <a:lnTo>
                    <a:pt x="337" y="92"/>
                  </a:lnTo>
                  <a:lnTo>
                    <a:pt x="336" y="92"/>
                  </a:lnTo>
                  <a:lnTo>
                    <a:pt x="334" y="92"/>
                  </a:lnTo>
                  <a:lnTo>
                    <a:pt x="333" y="92"/>
                  </a:lnTo>
                  <a:lnTo>
                    <a:pt x="333" y="93"/>
                  </a:lnTo>
                  <a:lnTo>
                    <a:pt x="334" y="94"/>
                  </a:lnTo>
                  <a:lnTo>
                    <a:pt x="336" y="94"/>
                  </a:lnTo>
                  <a:lnTo>
                    <a:pt x="337" y="93"/>
                  </a:lnTo>
                  <a:lnTo>
                    <a:pt x="341" y="93"/>
                  </a:lnTo>
                  <a:lnTo>
                    <a:pt x="342" y="93"/>
                  </a:lnTo>
                  <a:lnTo>
                    <a:pt x="343" y="95"/>
                  </a:lnTo>
                  <a:lnTo>
                    <a:pt x="344" y="96"/>
                  </a:lnTo>
                  <a:lnTo>
                    <a:pt x="348" y="96"/>
                  </a:lnTo>
                  <a:lnTo>
                    <a:pt x="353" y="99"/>
                  </a:lnTo>
                  <a:lnTo>
                    <a:pt x="355" y="100"/>
                  </a:lnTo>
                  <a:lnTo>
                    <a:pt x="355" y="101"/>
                  </a:lnTo>
                  <a:lnTo>
                    <a:pt x="359" y="101"/>
                  </a:lnTo>
                  <a:lnTo>
                    <a:pt x="357" y="101"/>
                  </a:lnTo>
                  <a:lnTo>
                    <a:pt x="359" y="101"/>
                  </a:lnTo>
                  <a:lnTo>
                    <a:pt x="362" y="101"/>
                  </a:lnTo>
                  <a:lnTo>
                    <a:pt x="362" y="102"/>
                  </a:lnTo>
                  <a:lnTo>
                    <a:pt x="363" y="104"/>
                  </a:lnTo>
                  <a:lnTo>
                    <a:pt x="371" y="107"/>
                  </a:lnTo>
                  <a:lnTo>
                    <a:pt x="373" y="108"/>
                  </a:lnTo>
                  <a:lnTo>
                    <a:pt x="375" y="108"/>
                  </a:lnTo>
                  <a:lnTo>
                    <a:pt x="374" y="108"/>
                  </a:lnTo>
                  <a:lnTo>
                    <a:pt x="375" y="110"/>
                  </a:lnTo>
                  <a:lnTo>
                    <a:pt x="377" y="110"/>
                  </a:lnTo>
                  <a:lnTo>
                    <a:pt x="377" y="111"/>
                  </a:lnTo>
                  <a:lnTo>
                    <a:pt x="379" y="112"/>
                  </a:lnTo>
                  <a:lnTo>
                    <a:pt x="380" y="113"/>
                  </a:lnTo>
                  <a:lnTo>
                    <a:pt x="383" y="113"/>
                  </a:lnTo>
                  <a:lnTo>
                    <a:pt x="383" y="114"/>
                  </a:lnTo>
                  <a:lnTo>
                    <a:pt x="381" y="114"/>
                  </a:lnTo>
                  <a:lnTo>
                    <a:pt x="384" y="117"/>
                  </a:lnTo>
                  <a:lnTo>
                    <a:pt x="381" y="116"/>
                  </a:lnTo>
                  <a:lnTo>
                    <a:pt x="380" y="116"/>
                  </a:lnTo>
                  <a:lnTo>
                    <a:pt x="380" y="118"/>
                  </a:lnTo>
                  <a:lnTo>
                    <a:pt x="379" y="114"/>
                  </a:lnTo>
                  <a:lnTo>
                    <a:pt x="378" y="114"/>
                  </a:lnTo>
                  <a:lnTo>
                    <a:pt x="377" y="114"/>
                  </a:lnTo>
                  <a:lnTo>
                    <a:pt x="377" y="113"/>
                  </a:lnTo>
                  <a:lnTo>
                    <a:pt x="372" y="110"/>
                  </a:lnTo>
                  <a:lnTo>
                    <a:pt x="372" y="114"/>
                  </a:lnTo>
                  <a:lnTo>
                    <a:pt x="372" y="117"/>
                  </a:lnTo>
                  <a:lnTo>
                    <a:pt x="371" y="117"/>
                  </a:lnTo>
                  <a:lnTo>
                    <a:pt x="371" y="114"/>
                  </a:lnTo>
                  <a:lnTo>
                    <a:pt x="371" y="110"/>
                  </a:lnTo>
                  <a:lnTo>
                    <a:pt x="369" y="112"/>
                  </a:lnTo>
                  <a:lnTo>
                    <a:pt x="369" y="116"/>
                  </a:lnTo>
                  <a:lnTo>
                    <a:pt x="369" y="117"/>
                  </a:lnTo>
                  <a:lnTo>
                    <a:pt x="368" y="117"/>
                  </a:lnTo>
                  <a:lnTo>
                    <a:pt x="368" y="118"/>
                  </a:lnTo>
                  <a:lnTo>
                    <a:pt x="367" y="118"/>
                  </a:lnTo>
                  <a:lnTo>
                    <a:pt x="368" y="119"/>
                  </a:lnTo>
                  <a:lnTo>
                    <a:pt x="371" y="120"/>
                  </a:lnTo>
                  <a:lnTo>
                    <a:pt x="369" y="120"/>
                  </a:lnTo>
                  <a:lnTo>
                    <a:pt x="369" y="122"/>
                  </a:lnTo>
                  <a:lnTo>
                    <a:pt x="372" y="122"/>
                  </a:lnTo>
                  <a:lnTo>
                    <a:pt x="372" y="123"/>
                  </a:lnTo>
                  <a:lnTo>
                    <a:pt x="369" y="123"/>
                  </a:lnTo>
                  <a:lnTo>
                    <a:pt x="371" y="124"/>
                  </a:lnTo>
                  <a:lnTo>
                    <a:pt x="372" y="125"/>
                  </a:lnTo>
                  <a:lnTo>
                    <a:pt x="372" y="127"/>
                  </a:lnTo>
                  <a:lnTo>
                    <a:pt x="372" y="129"/>
                  </a:lnTo>
                  <a:lnTo>
                    <a:pt x="372" y="130"/>
                  </a:lnTo>
                  <a:lnTo>
                    <a:pt x="371" y="131"/>
                  </a:lnTo>
                  <a:lnTo>
                    <a:pt x="368" y="131"/>
                  </a:lnTo>
                  <a:lnTo>
                    <a:pt x="367" y="131"/>
                  </a:lnTo>
                  <a:lnTo>
                    <a:pt x="368" y="133"/>
                  </a:lnTo>
                  <a:lnTo>
                    <a:pt x="372" y="133"/>
                  </a:lnTo>
                  <a:lnTo>
                    <a:pt x="372" y="134"/>
                  </a:lnTo>
                  <a:lnTo>
                    <a:pt x="373" y="134"/>
                  </a:lnTo>
                  <a:lnTo>
                    <a:pt x="374" y="135"/>
                  </a:lnTo>
                  <a:lnTo>
                    <a:pt x="377" y="134"/>
                  </a:lnTo>
                  <a:lnTo>
                    <a:pt x="378" y="134"/>
                  </a:lnTo>
                  <a:lnTo>
                    <a:pt x="378" y="135"/>
                  </a:lnTo>
                  <a:lnTo>
                    <a:pt x="375" y="135"/>
                  </a:lnTo>
                  <a:lnTo>
                    <a:pt x="377" y="136"/>
                  </a:lnTo>
                  <a:lnTo>
                    <a:pt x="378" y="136"/>
                  </a:lnTo>
                  <a:lnTo>
                    <a:pt x="379" y="135"/>
                  </a:lnTo>
                  <a:lnTo>
                    <a:pt x="381" y="135"/>
                  </a:lnTo>
                  <a:lnTo>
                    <a:pt x="380" y="136"/>
                  </a:lnTo>
                  <a:lnTo>
                    <a:pt x="384" y="136"/>
                  </a:lnTo>
                  <a:lnTo>
                    <a:pt x="383" y="137"/>
                  </a:lnTo>
                  <a:lnTo>
                    <a:pt x="386" y="139"/>
                  </a:lnTo>
                  <a:lnTo>
                    <a:pt x="383" y="137"/>
                  </a:lnTo>
                  <a:lnTo>
                    <a:pt x="383" y="139"/>
                  </a:lnTo>
                  <a:lnTo>
                    <a:pt x="384" y="142"/>
                  </a:lnTo>
                  <a:lnTo>
                    <a:pt x="383" y="142"/>
                  </a:lnTo>
                  <a:lnTo>
                    <a:pt x="381" y="139"/>
                  </a:lnTo>
                  <a:lnTo>
                    <a:pt x="380" y="139"/>
                  </a:lnTo>
                  <a:lnTo>
                    <a:pt x="380" y="141"/>
                  </a:lnTo>
                  <a:lnTo>
                    <a:pt x="379" y="141"/>
                  </a:lnTo>
                  <a:lnTo>
                    <a:pt x="378" y="140"/>
                  </a:lnTo>
                  <a:lnTo>
                    <a:pt x="377" y="140"/>
                  </a:lnTo>
                  <a:lnTo>
                    <a:pt x="377" y="137"/>
                  </a:lnTo>
                  <a:lnTo>
                    <a:pt x="375" y="137"/>
                  </a:lnTo>
                  <a:lnTo>
                    <a:pt x="375" y="139"/>
                  </a:lnTo>
                  <a:lnTo>
                    <a:pt x="375" y="140"/>
                  </a:lnTo>
                  <a:lnTo>
                    <a:pt x="374" y="140"/>
                  </a:lnTo>
                  <a:lnTo>
                    <a:pt x="372" y="145"/>
                  </a:lnTo>
                  <a:lnTo>
                    <a:pt x="372" y="146"/>
                  </a:lnTo>
                  <a:lnTo>
                    <a:pt x="371" y="145"/>
                  </a:lnTo>
                  <a:lnTo>
                    <a:pt x="369" y="147"/>
                  </a:lnTo>
                  <a:lnTo>
                    <a:pt x="368" y="147"/>
                  </a:lnTo>
                  <a:lnTo>
                    <a:pt x="369" y="145"/>
                  </a:lnTo>
                  <a:lnTo>
                    <a:pt x="368" y="146"/>
                  </a:lnTo>
                  <a:lnTo>
                    <a:pt x="367" y="146"/>
                  </a:lnTo>
                  <a:lnTo>
                    <a:pt x="367" y="143"/>
                  </a:lnTo>
                  <a:lnTo>
                    <a:pt x="366" y="143"/>
                  </a:lnTo>
                  <a:lnTo>
                    <a:pt x="366" y="146"/>
                  </a:lnTo>
                  <a:lnTo>
                    <a:pt x="365" y="146"/>
                  </a:lnTo>
                  <a:lnTo>
                    <a:pt x="365" y="147"/>
                  </a:lnTo>
                  <a:lnTo>
                    <a:pt x="365" y="143"/>
                  </a:lnTo>
                  <a:lnTo>
                    <a:pt x="365" y="142"/>
                  </a:lnTo>
                  <a:lnTo>
                    <a:pt x="363" y="143"/>
                  </a:lnTo>
                  <a:lnTo>
                    <a:pt x="362" y="145"/>
                  </a:lnTo>
                  <a:lnTo>
                    <a:pt x="362" y="141"/>
                  </a:lnTo>
                  <a:lnTo>
                    <a:pt x="361" y="141"/>
                  </a:lnTo>
                  <a:lnTo>
                    <a:pt x="361" y="142"/>
                  </a:lnTo>
                  <a:lnTo>
                    <a:pt x="360" y="145"/>
                  </a:lnTo>
                  <a:lnTo>
                    <a:pt x="359" y="146"/>
                  </a:lnTo>
                  <a:lnTo>
                    <a:pt x="359" y="147"/>
                  </a:lnTo>
                  <a:lnTo>
                    <a:pt x="360" y="149"/>
                  </a:lnTo>
                  <a:lnTo>
                    <a:pt x="362" y="149"/>
                  </a:lnTo>
                  <a:lnTo>
                    <a:pt x="365" y="151"/>
                  </a:lnTo>
                  <a:lnTo>
                    <a:pt x="367" y="153"/>
                  </a:lnTo>
                  <a:lnTo>
                    <a:pt x="372" y="154"/>
                  </a:lnTo>
                  <a:lnTo>
                    <a:pt x="373" y="154"/>
                  </a:lnTo>
                  <a:lnTo>
                    <a:pt x="379" y="154"/>
                  </a:lnTo>
                  <a:lnTo>
                    <a:pt x="380" y="155"/>
                  </a:lnTo>
                  <a:lnTo>
                    <a:pt x="384" y="155"/>
                  </a:lnTo>
                  <a:lnTo>
                    <a:pt x="385" y="155"/>
                  </a:lnTo>
                  <a:lnTo>
                    <a:pt x="386" y="155"/>
                  </a:lnTo>
                  <a:lnTo>
                    <a:pt x="387" y="155"/>
                  </a:lnTo>
                  <a:lnTo>
                    <a:pt x="390" y="154"/>
                  </a:lnTo>
                  <a:lnTo>
                    <a:pt x="389" y="155"/>
                  </a:lnTo>
                  <a:lnTo>
                    <a:pt x="390" y="155"/>
                  </a:lnTo>
                  <a:lnTo>
                    <a:pt x="391" y="155"/>
                  </a:lnTo>
                  <a:lnTo>
                    <a:pt x="392" y="155"/>
                  </a:lnTo>
                  <a:lnTo>
                    <a:pt x="397" y="153"/>
                  </a:lnTo>
                  <a:lnTo>
                    <a:pt x="398" y="153"/>
                  </a:lnTo>
                  <a:lnTo>
                    <a:pt x="393" y="155"/>
                  </a:lnTo>
                  <a:lnTo>
                    <a:pt x="403" y="155"/>
                  </a:lnTo>
                  <a:lnTo>
                    <a:pt x="403" y="157"/>
                  </a:lnTo>
                  <a:lnTo>
                    <a:pt x="395" y="158"/>
                  </a:lnTo>
                  <a:lnTo>
                    <a:pt x="393" y="157"/>
                  </a:lnTo>
                  <a:lnTo>
                    <a:pt x="396" y="158"/>
                  </a:lnTo>
                  <a:lnTo>
                    <a:pt x="395" y="159"/>
                  </a:lnTo>
                  <a:lnTo>
                    <a:pt x="390" y="157"/>
                  </a:lnTo>
                  <a:lnTo>
                    <a:pt x="389" y="158"/>
                  </a:lnTo>
                  <a:lnTo>
                    <a:pt x="389" y="159"/>
                  </a:lnTo>
                  <a:lnTo>
                    <a:pt x="390" y="160"/>
                  </a:lnTo>
                  <a:lnTo>
                    <a:pt x="389" y="161"/>
                  </a:lnTo>
                  <a:lnTo>
                    <a:pt x="387" y="164"/>
                  </a:lnTo>
                  <a:lnTo>
                    <a:pt x="386" y="165"/>
                  </a:lnTo>
                  <a:lnTo>
                    <a:pt x="389" y="165"/>
                  </a:lnTo>
                  <a:lnTo>
                    <a:pt x="390" y="166"/>
                  </a:lnTo>
                  <a:lnTo>
                    <a:pt x="387" y="166"/>
                  </a:lnTo>
                  <a:lnTo>
                    <a:pt x="387" y="167"/>
                  </a:lnTo>
                  <a:lnTo>
                    <a:pt x="390" y="169"/>
                  </a:lnTo>
                  <a:lnTo>
                    <a:pt x="391" y="170"/>
                  </a:lnTo>
                  <a:lnTo>
                    <a:pt x="391" y="171"/>
                  </a:lnTo>
                  <a:lnTo>
                    <a:pt x="392" y="171"/>
                  </a:lnTo>
                  <a:lnTo>
                    <a:pt x="393" y="170"/>
                  </a:lnTo>
                  <a:lnTo>
                    <a:pt x="393" y="169"/>
                  </a:lnTo>
                  <a:lnTo>
                    <a:pt x="393" y="167"/>
                  </a:lnTo>
                  <a:lnTo>
                    <a:pt x="395" y="167"/>
                  </a:lnTo>
                  <a:lnTo>
                    <a:pt x="395" y="169"/>
                  </a:lnTo>
                  <a:lnTo>
                    <a:pt x="396" y="170"/>
                  </a:lnTo>
                  <a:lnTo>
                    <a:pt x="402" y="166"/>
                  </a:lnTo>
                  <a:lnTo>
                    <a:pt x="404" y="166"/>
                  </a:lnTo>
                  <a:lnTo>
                    <a:pt x="409" y="163"/>
                  </a:lnTo>
                  <a:lnTo>
                    <a:pt x="410" y="163"/>
                  </a:lnTo>
                  <a:lnTo>
                    <a:pt x="407" y="166"/>
                  </a:lnTo>
                  <a:lnTo>
                    <a:pt x="408" y="166"/>
                  </a:lnTo>
                  <a:lnTo>
                    <a:pt x="412" y="165"/>
                  </a:lnTo>
                  <a:lnTo>
                    <a:pt x="409" y="166"/>
                  </a:lnTo>
                  <a:lnTo>
                    <a:pt x="410" y="166"/>
                  </a:lnTo>
                  <a:lnTo>
                    <a:pt x="408" y="167"/>
                  </a:lnTo>
                  <a:lnTo>
                    <a:pt x="407" y="169"/>
                  </a:lnTo>
                  <a:lnTo>
                    <a:pt x="408" y="169"/>
                  </a:lnTo>
                  <a:lnTo>
                    <a:pt x="408" y="170"/>
                  </a:lnTo>
                  <a:lnTo>
                    <a:pt x="407" y="170"/>
                  </a:lnTo>
                  <a:lnTo>
                    <a:pt x="406" y="169"/>
                  </a:lnTo>
                  <a:lnTo>
                    <a:pt x="403" y="169"/>
                  </a:lnTo>
                  <a:lnTo>
                    <a:pt x="407" y="171"/>
                  </a:lnTo>
                  <a:lnTo>
                    <a:pt x="406" y="171"/>
                  </a:lnTo>
                  <a:lnTo>
                    <a:pt x="404" y="171"/>
                  </a:lnTo>
                  <a:lnTo>
                    <a:pt x="402" y="170"/>
                  </a:lnTo>
                  <a:lnTo>
                    <a:pt x="398" y="171"/>
                  </a:lnTo>
                  <a:lnTo>
                    <a:pt x="402" y="171"/>
                  </a:lnTo>
                  <a:lnTo>
                    <a:pt x="404" y="172"/>
                  </a:lnTo>
                  <a:lnTo>
                    <a:pt x="406" y="173"/>
                  </a:lnTo>
                  <a:lnTo>
                    <a:pt x="404" y="173"/>
                  </a:lnTo>
                  <a:lnTo>
                    <a:pt x="403" y="172"/>
                  </a:lnTo>
                  <a:lnTo>
                    <a:pt x="402" y="172"/>
                  </a:lnTo>
                  <a:lnTo>
                    <a:pt x="400" y="172"/>
                  </a:lnTo>
                  <a:lnTo>
                    <a:pt x="400" y="175"/>
                  </a:lnTo>
                  <a:lnTo>
                    <a:pt x="397" y="173"/>
                  </a:lnTo>
                  <a:lnTo>
                    <a:pt x="395" y="173"/>
                  </a:lnTo>
                  <a:lnTo>
                    <a:pt x="395" y="175"/>
                  </a:lnTo>
                  <a:lnTo>
                    <a:pt x="397" y="176"/>
                  </a:lnTo>
                  <a:lnTo>
                    <a:pt x="401" y="178"/>
                  </a:lnTo>
                  <a:lnTo>
                    <a:pt x="404" y="179"/>
                  </a:lnTo>
                  <a:lnTo>
                    <a:pt x="409" y="181"/>
                  </a:lnTo>
                  <a:lnTo>
                    <a:pt x="406" y="182"/>
                  </a:lnTo>
                  <a:lnTo>
                    <a:pt x="412" y="185"/>
                  </a:lnTo>
                  <a:lnTo>
                    <a:pt x="406" y="183"/>
                  </a:lnTo>
                  <a:lnTo>
                    <a:pt x="404" y="183"/>
                  </a:lnTo>
                  <a:lnTo>
                    <a:pt x="404" y="184"/>
                  </a:lnTo>
                  <a:lnTo>
                    <a:pt x="404" y="185"/>
                  </a:lnTo>
                  <a:lnTo>
                    <a:pt x="403" y="185"/>
                  </a:lnTo>
                  <a:lnTo>
                    <a:pt x="403" y="182"/>
                  </a:lnTo>
                  <a:lnTo>
                    <a:pt x="402" y="182"/>
                  </a:lnTo>
                  <a:lnTo>
                    <a:pt x="398" y="187"/>
                  </a:lnTo>
                  <a:lnTo>
                    <a:pt x="397" y="187"/>
                  </a:lnTo>
                  <a:lnTo>
                    <a:pt x="398" y="184"/>
                  </a:lnTo>
                  <a:lnTo>
                    <a:pt x="397" y="184"/>
                  </a:lnTo>
                  <a:lnTo>
                    <a:pt x="396" y="185"/>
                  </a:lnTo>
                  <a:lnTo>
                    <a:pt x="396" y="187"/>
                  </a:lnTo>
                  <a:lnTo>
                    <a:pt x="397" y="188"/>
                  </a:lnTo>
                  <a:lnTo>
                    <a:pt x="400" y="188"/>
                  </a:lnTo>
                  <a:lnTo>
                    <a:pt x="401" y="189"/>
                  </a:lnTo>
                  <a:lnTo>
                    <a:pt x="402" y="191"/>
                  </a:lnTo>
                  <a:lnTo>
                    <a:pt x="402" y="193"/>
                  </a:lnTo>
                  <a:lnTo>
                    <a:pt x="403" y="194"/>
                  </a:lnTo>
                  <a:lnTo>
                    <a:pt x="404" y="195"/>
                  </a:lnTo>
                  <a:lnTo>
                    <a:pt x="406" y="196"/>
                  </a:lnTo>
                  <a:lnTo>
                    <a:pt x="407" y="196"/>
                  </a:lnTo>
                  <a:lnTo>
                    <a:pt x="408" y="196"/>
                  </a:lnTo>
                  <a:lnTo>
                    <a:pt x="408" y="197"/>
                  </a:lnTo>
                  <a:lnTo>
                    <a:pt x="412" y="199"/>
                  </a:lnTo>
                  <a:lnTo>
                    <a:pt x="412" y="197"/>
                  </a:lnTo>
                  <a:lnTo>
                    <a:pt x="413" y="199"/>
                  </a:lnTo>
                  <a:lnTo>
                    <a:pt x="415" y="199"/>
                  </a:lnTo>
                  <a:lnTo>
                    <a:pt x="415" y="200"/>
                  </a:lnTo>
                  <a:lnTo>
                    <a:pt x="418" y="200"/>
                  </a:lnTo>
                  <a:lnTo>
                    <a:pt x="415" y="200"/>
                  </a:lnTo>
                  <a:lnTo>
                    <a:pt x="415" y="201"/>
                  </a:lnTo>
                  <a:lnTo>
                    <a:pt x="416" y="202"/>
                  </a:lnTo>
                  <a:lnTo>
                    <a:pt x="416" y="203"/>
                  </a:lnTo>
                  <a:lnTo>
                    <a:pt x="416" y="205"/>
                  </a:lnTo>
                  <a:lnTo>
                    <a:pt x="415" y="205"/>
                  </a:lnTo>
                  <a:lnTo>
                    <a:pt x="414" y="202"/>
                  </a:lnTo>
                  <a:lnTo>
                    <a:pt x="413" y="205"/>
                  </a:lnTo>
                  <a:lnTo>
                    <a:pt x="413" y="201"/>
                  </a:lnTo>
                  <a:lnTo>
                    <a:pt x="412" y="201"/>
                  </a:lnTo>
                  <a:lnTo>
                    <a:pt x="412" y="202"/>
                  </a:lnTo>
                  <a:lnTo>
                    <a:pt x="410" y="201"/>
                  </a:lnTo>
                  <a:lnTo>
                    <a:pt x="409" y="200"/>
                  </a:lnTo>
                  <a:lnTo>
                    <a:pt x="408" y="200"/>
                  </a:lnTo>
                  <a:lnTo>
                    <a:pt x="408" y="201"/>
                  </a:lnTo>
                  <a:lnTo>
                    <a:pt x="408" y="202"/>
                  </a:lnTo>
                  <a:lnTo>
                    <a:pt x="408" y="203"/>
                  </a:lnTo>
                  <a:lnTo>
                    <a:pt x="408" y="206"/>
                  </a:lnTo>
                  <a:lnTo>
                    <a:pt x="407" y="207"/>
                  </a:lnTo>
                  <a:lnTo>
                    <a:pt x="406" y="208"/>
                  </a:lnTo>
                  <a:lnTo>
                    <a:pt x="406" y="205"/>
                  </a:lnTo>
                  <a:lnTo>
                    <a:pt x="406" y="203"/>
                  </a:lnTo>
                  <a:lnTo>
                    <a:pt x="406" y="202"/>
                  </a:lnTo>
                  <a:lnTo>
                    <a:pt x="404" y="203"/>
                  </a:lnTo>
                  <a:lnTo>
                    <a:pt x="404" y="207"/>
                  </a:lnTo>
                  <a:lnTo>
                    <a:pt x="403" y="207"/>
                  </a:lnTo>
                  <a:lnTo>
                    <a:pt x="401" y="205"/>
                  </a:lnTo>
                  <a:lnTo>
                    <a:pt x="401" y="202"/>
                  </a:lnTo>
                  <a:lnTo>
                    <a:pt x="400" y="202"/>
                  </a:lnTo>
                  <a:lnTo>
                    <a:pt x="398" y="203"/>
                  </a:lnTo>
                  <a:lnTo>
                    <a:pt x="397" y="203"/>
                  </a:lnTo>
                  <a:lnTo>
                    <a:pt x="397" y="202"/>
                  </a:lnTo>
                  <a:lnTo>
                    <a:pt x="396" y="203"/>
                  </a:lnTo>
                  <a:lnTo>
                    <a:pt x="396" y="202"/>
                  </a:lnTo>
                  <a:lnTo>
                    <a:pt x="396" y="201"/>
                  </a:lnTo>
                  <a:lnTo>
                    <a:pt x="397" y="199"/>
                  </a:lnTo>
                  <a:lnTo>
                    <a:pt x="396" y="199"/>
                  </a:lnTo>
                  <a:lnTo>
                    <a:pt x="395" y="199"/>
                  </a:lnTo>
                  <a:lnTo>
                    <a:pt x="393" y="200"/>
                  </a:lnTo>
                  <a:lnTo>
                    <a:pt x="392" y="201"/>
                  </a:lnTo>
                  <a:lnTo>
                    <a:pt x="391" y="201"/>
                  </a:lnTo>
                  <a:lnTo>
                    <a:pt x="391" y="200"/>
                  </a:lnTo>
                  <a:lnTo>
                    <a:pt x="391" y="199"/>
                  </a:lnTo>
                  <a:lnTo>
                    <a:pt x="391" y="196"/>
                  </a:lnTo>
                  <a:lnTo>
                    <a:pt x="391" y="195"/>
                  </a:lnTo>
                  <a:lnTo>
                    <a:pt x="389" y="196"/>
                  </a:lnTo>
                  <a:lnTo>
                    <a:pt x="389" y="197"/>
                  </a:lnTo>
                  <a:lnTo>
                    <a:pt x="390" y="197"/>
                  </a:lnTo>
                  <a:lnTo>
                    <a:pt x="390" y="199"/>
                  </a:lnTo>
                  <a:lnTo>
                    <a:pt x="389" y="200"/>
                  </a:lnTo>
                  <a:lnTo>
                    <a:pt x="387" y="199"/>
                  </a:lnTo>
                  <a:lnTo>
                    <a:pt x="387" y="196"/>
                  </a:lnTo>
                  <a:lnTo>
                    <a:pt x="387" y="195"/>
                  </a:lnTo>
                  <a:lnTo>
                    <a:pt x="387" y="194"/>
                  </a:lnTo>
                  <a:lnTo>
                    <a:pt x="387" y="193"/>
                  </a:lnTo>
                  <a:lnTo>
                    <a:pt x="387" y="191"/>
                  </a:lnTo>
                  <a:lnTo>
                    <a:pt x="386" y="193"/>
                  </a:lnTo>
                  <a:lnTo>
                    <a:pt x="385" y="191"/>
                  </a:lnTo>
                  <a:lnTo>
                    <a:pt x="385" y="193"/>
                  </a:lnTo>
                  <a:lnTo>
                    <a:pt x="386" y="195"/>
                  </a:lnTo>
                  <a:lnTo>
                    <a:pt x="386" y="196"/>
                  </a:lnTo>
                  <a:lnTo>
                    <a:pt x="386" y="197"/>
                  </a:lnTo>
                  <a:lnTo>
                    <a:pt x="385" y="199"/>
                  </a:lnTo>
                  <a:lnTo>
                    <a:pt x="386" y="199"/>
                  </a:lnTo>
                  <a:lnTo>
                    <a:pt x="386" y="200"/>
                  </a:lnTo>
                  <a:lnTo>
                    <a:pt x="389" y="201"/>
                  </a:lnTo>
                  <a:lnTo>
                    <a:pt x="390" y="202"/>
                  </a:lnTo>
                  <a:lnTo>
                    <a:pt x="392" y="203"/>
                  </a:lnTo>
                  <a:lnTo>
                    <a:pt x="395" y="205"/>
                  </a:lnTo>
                  <a:lnTo>
                    <a:pt x="395" y="206"/>
                  </a:lnTo>
                  <a:lnTo>
                    <a:pt x="396" y="206"/>
                  </a:lnTo>
                  <a:lnTo>
                    <a:pt x="397" y="205"/>
                  </a:lnTo>
                  <a:lnTo>
                    <a:pt x="397" y="206"/>
                  </a:lnTo>
                  <a:lnTo>
                    <a:pt x="400" y="208"/>
                  </a:lnTo>
                  <a:lnTo>
                    <a:pt x="402" y="209"/>
                  </a:lnTo>
                  <a:lnTo>
                    <a:pt x="404" y="209"/>
                  </a:lnTo>
                  <a:lnTo>
                    <a:pt x="406" y="208"/>
                  </a:lnTo>
                  <a:lnTo>
                    <a:pt x="407" y="208"/>
                  </a:lnTo>
                  <a:lnTo>
                    <a:pt x="409" y="208"/>
                  </a:lnTo>
                  <a:lnTo>
                    <a:pt x="412" y="208"/>
                  </a:lnTo>
                  <a:lnTo>
                    <a:pt x="414" y="207"/>
                  </a:lnTo>
                  <a:lnTo>
                    <a:pt x="416" y="206"/>
                  </a:lnTo>
                  <a:lnTo>
                    <a:pt x="418" y="205"/>
                  </a:lnTo>
                  <a:lnTo>
                    <a:pt x="419" y="203"/>
                  </a:lnTo>
                  <a:lnTo>
                    <a:pt x="421" y="202"/>
                  </a:lnTo>
                  <a:lnTo>
                    <a:pt x="422" y="200"/>
                  </a:lnTo>
                  <a:lnTo>
                    <a:pt x="421" y="199"/>
                  </a:lnTo>
                  <a:lnTo>
                    <a:pt x="424" y="200"/>
                  </a:lnTo>
                  <a:lnTo>
                    <a:pt x="425" y="199"/>
                  </a:lnTo>
                  <a:lnTo>
                    <a:pt x="421" y="195"/>
                  </a:lnTo>
                  <a:lnTo>
                    <a:pt x="424" y="195"/>
                  </a:lnTo>
                  <a:lnTo>
                    <a:pt x="425" y="195"/>
                  </a:lnTo>
                  <a:lnTo>
                    <a:pt x="425" y="196"/>
                  </a:lnTo>
                  <a:lnTo>
                    <a:pt x="426" y="197"/>
                  </a:lnTo>
                  <a:lnTo>
                    <a:pt x="433" y="191"/>
                  </a:lnTo>
                  <a:lnTo>
                    <a:pt x="434" y="191"/>
                  </a:lnTo>
                  <a:lnTo>
                    <a:pt x="432" y="193"/>
                  </a:lnTo>
                  <a:lnTo>
                    <a:pt x="433" y="194"/>
                  </a:lnTo>
                  <a:lnTo>
                    <a:pt x="438" y="193"/>
                  </a:lnTo>
                  <a:lnTo>
                    <a:pt x="434" y="194"/>
                  </a:lnTo>
                  <a:lnTo>
                    <a:pt x="436" y="195"/>
                  </a:lnTo>
                  <a:lnTo>
                    <a:pt x="433" y="195"/>
                  </a:lnTo>
                  <a:lnTo>
                    <a:pt x="434" y="197"/>
                  </a:lnTo>
                  <a:lnTo>
                    <a:pt x="432" y="196"/>
                  </a:lnTo>
                  <a:lnTo>
                    <a:pt x="431" y="196"/>
                  </a:lnTo>
                  <a:lnTo>
                    <a:pt x="428" y="197"/>
                  </a:lnTo>
                  <a:lnTo>
                    <a:pt x="428" y="199"/>
                  </a:lnTo>
                  <a:lnTo>
                    <a:pt x="433" y="200"/>
                  </a:lnTo>
                  <a:lnTo>
                    <a:pt x="432" y="201"/>
                  </a:lnTo>
                  <a:lnTo>
                    <a:pt x="428" y="200"/>
                  </a:lnTo>
                  <a:lnTo>
                    <a:pt x="428" y="201"/>
                  </a:lnTo>
                  <a:lnTo>
                    <a:pt x="426" y="201"/>
                  </a:lnTo>
                  <a:lnTo>
                    <a:pt x="425" y="201"/>
                  </a:lnTo>
                  <a:lnTo>
                    <a:pt x="425" y="202"/>
                  </a:lnTo>
                  <a:lnTo>
                    <a:pt x="424" y="203"/>
                  </a:lnTo>
                  <a:lnTo>
                    <a:pt x="428" y="207"/>
                  </a:lnTo>
                  <a:lnTo>
                    <a:pt x="424" y="205"/>
                  </a:lnTo>
                  <a:lnTo>
                    <a:pt x="421" y="203"/>
                  </a:lnTo>
                  <a:lnTo>
                    <a:pt x="421" y="205"/>
                  </a:lnTo>
                  <a:lnTo>
                    <a:pt x="425" y="206"/>
                  </a:lnTo>
                  <a:lnTo>
                    <a:pt x="426" y="207"/>
                  </a:lnTo>
                  <a:lnTo>
                    <a:pt x="428" y="207"/>
                  </a:lnTo>
                  <a:lnTo>
                    <a:pt x="425" y="209"/>
                  </a:lnTo>
                  <a:lnTo>
                    <a:pt x="428" y="212"/>
                  </a:lnTo>
                  <a:lnTo>
                    <a:pt x="428" y="213"/>
                  </a:lnTo>
                  <a:lnTo>
                    <a:pt x="426" y="214"/>
                  </a:lnTo>
                  <a:lnTo>
                    <a:pt x="428" y="215"/>
                  </a:lnTo>
                  <a:lnTo>
                    <a:pt x="426" y="218"/>
                  </a:lnTo>
                  <a:lnTo>
                    <a:pt x="424" y="217"/>
                  </a:lnTo>
                  <a:lnTo>
                    <a:pt x="424" y="215"/>
                  </a:lnTo>
                  <a:lnTo>
                    <a:pt x="422" y="214"/>
                  </a:lnTo>
                  <a:lnTo>
                    <a:pt x="422" y="213"/>
                  </a:lnTo>
                  <a:lnTo>
                    <a:pt x="422" y="212"/>
                  </a:lnTo>
                  <a:lnTo>
                    <a:pt x="421" y="212"/>
                  </a:lnTo>
                  <a:lnTo>
                    <a:pt x="421" y="213"/>
                  </a:lnTo>
                  <a:lnTo>
                    <a:pt x="421" y="214"/>
                  </a:lnTo>
                  <a:lnTo>
                    <a:pt x="421" y="217"/>
                  </a:lnTo>
                  <a:lnTo>
                    <a:pt x="419" y="217"/>
                  </a:lnTo>
                  <a:lnTo>
                    <a:pt x="419" y="218"/>
                  </a:lnTo>
                  <a:lnTo>
                    <a:pt x="421" y="218"/>
                  </a:lnTo>
                  <a:lnTo>
                    <a:pt x="421" y="217"/>
                  </a:lnTo>
                  <a:lnTo>
                    <a:pt x="422" y="218"/>
                  </a:lnTo>
                  <a:lnTo>
                    <a:pt x="424" y="259"/>
                  </a:lnTo>
                  <a:lnTo>
                    <a:pt x="425" y="259"/>
                  </a:lnTo>
                  <a:lnTo>
                    <a:pt x="428" y="219"/>
                  </a:lnTo>
                  <a:lnTo>
                    <a:pt x="428" y="259"/>
                  </a:lnTo>
                  <a:lnTo>
                    <a:pt x="432" y="261"/>
                  </a:lnTo>
                  <a:lnTo>
                    <a:pt x="431" y="261"/>
                  </a:lnTo>
                  <a:lnTo>
                    <a:pt x="428" y="261"/>
                  </a:lnTo>
                  <a:lnTo>
                    <a:pt x="426" y="261"/>
                  </a:lnTo>
                  <a:lnTo>
                    <a:pt x="426" y="262"/>
                  </a:lnTo>
                  <a:lnTo>
                    <a:pt x="428" y="264"/>
                  </a:lnTo>
                  <a:lnTo>
                    <a:pt x="426" y="264"/>
                  </a:lnTo>
                  <a:lnTo>
                    <a:pt x="425" y="265"/>
                  </a:lnTo>
                  <a:lnTo>
                    <a:pt x="424" y="265"/>
                  </a:lnTo>
                  <a:lnTo>
                    <a:pt x="424" y="264"/>
                  </a:lnTo>
                  <a:lnTo>
                    <a:pt x="421" y="264"/>
                  </a:lnTo>
                  <a:lnTo>
                    <a:pt x="424" y="267"/>
                  </a:lnTo>
                  <a:lnTo>
                    <a:pt x="422" y="267"/>
                  </a:lnTo>
                  <a:lnTo>
                    <a:pt x="421" y="266"/>
                  </a:lnTo>
                  <a:lnTo>
                    <a:pt x="420" y="266"/>
                  </a:lnTo>
                  <a:lnTo>
                    <a:pt x="419" y="266"/>
                  </a:lnTo>
                  <a:lnTo>
                    <a:pt x="419" y="265"/>
                  </a:lnTo>
                  <a:lnTo>
                    <a:pt x="418" y="265"/>
                  </a:lnTo>
                  <a:lnTo>
                    <a:pt x="418" y="266"/>
                  </a:lnTo>
                  <a:lnTo>
                    <a:pt x="416" y="266"/>
                  </a:lnTo>
                  <a:lnTo>
                    <a:pt x="416" y="264"/>
                  </a:lnTo>
                  <a:lnTo>
                    <a:pt x="415" y="266"/>
                  </a:lnTo>
                  <a:lnTo>
                    <a:pt x="414" y="266"/>
                  </a:lnTo>
                  <a:lnTo>
                    <a:pt x="414" y="268"/>
                  </a:lnTo>
                  <a:lnTo>
                    <a:pt x="414" y="270"/>
                  </a:lnTo>
                  <a:lnTo>
                    <a:pt x="418" y="270"/>
                  </a:lnTo>
                  <a:lnTo>
                    <a:pt x="418" y="271"/>
                  </a:lnTo>
                  <a:lnTo>
                    <a:pt x="415" y="271"/>
                  </a:lnTo>
                  <a:lnTo>
                    <a:pt x="415" y="272"/>
                  </a:lnTo>
                  <a:lnTo>
                    <a:pt x="421" y="272"/>
                  </a:lnTo>
                  <a:lnTo>
                    <a:pt x="420" y="273"/>
                  </a:lnTo>
                  <a:lnTo>
                    <a:pt x="421" y="274"/>
                  </a:lnTo>
                  <a:lnTo>
                    <a:pt x="422" y="273"/>
                  </a:lnTo>
                  <a:lnTo>
                    <a:pt x="424" y="273"/>
                  </a:lnTo>
                  <a:lnTo>
                    <a:pt x="424" y="277"/>
                  </a:lnTo>
                  <a:lnTo>
                    <a:pt x="428" y="280"/>
                  </a:lnTo>
                  <a:lnTo>
                    <a:pt x="428" y="279"/>
                  </a:lnTo>
                  <a:lnTo>
                    <a:pt x="431" y="279"/>
                  </a:lnTo>
                  <a:lnTo>
                    <a:pt x="431" y="280"/>
                  </a:lnTo>
                  <a:lnTo>
                    <a:pt x="432" y="279"/>
                  </a:lnTo>
                  <a:lnTo>
                    <a:pt x="434" y="279"/>
                  </a:lnTo>
                  <a:lnTo>
                    <a:pt x="436" y="279"/>
                  </a:lnTo>
                  <a:lnTo>
                    <a:pt x="437" y="280"/>
                  </a:lnTo>
                  <a:lnTo>
                    <a:pt x="434" y="280"/>
                  </a:lnTo>
                  <a:lnTo>
                    <a:pt x="434" y="283"/>
                  </a:lnTo>
                  <a:lnTo>
                    <a:pt x="436" y="284"/>
                  </a:lnTo>
                  <a:lnTo>
                    <a:pt x="434" y="284"/>
                  </a:lnTo>
                  <a:lnTo>
                    <a:pt x="433" y="282"/>
                  </a:lnTo>
                  <a:lnTo>
                    <a:pt x="432" y="282"/>
                  </a:lnTo>
                  <a:lnTo>
                    <a:pt x="433" y="283"/>
                  </a:lnTo>
                  <a:lnTo>
                    <a:pt x="433" y="284"/>
                  </a:lnTo>
                  <a:lnTo>
                    <a:pt x="432" y="284"/>
                  </a:lnTo>
                  <a:lnTo>
                    <a:pt x="431" y="283"/>
                  </a:lnTo>
                  <a:lnTo>
                    <a:pt x="428" y="284"/>
                  </a:lnTo>
                  <a:lnTo>
                    <a:pt x="431" y="285"/>
                  </a:lnTo>
                  <a:lnTo>
                    <a:pt x="432" y="286"/>
                  </a:lnTo>
                  <a:lnTo>
                    <a:pt x="432" y="288"/>
                  </a:lnTo>
                  <a:lnTo>
                    <a:pt x="431" y="289"/>
                  </a:lnTo>
                  <a:lnTo>
                    <a:pt x="431" y="290"/>
                  </a:lnTo>
                  <a:lnTo>
                    <a:pt x="433" y="292"/>
                  </a:lnTo>
                  <a:lnTo>
                    <a:pt x="434" y="292"/>
                  </a:lnTo>
                  <a:lnTo>
                    <a:pt x="436" y="292"/>
                  </a:lnTo>
                  <a:lnTo>
                    <a:pt x="437" y="295"/>
                  </a:lnTo>
                  <a:lnTo>
                    <a:pt x="439" y="296"/>
                  </a:lnTo>
                  <a:lnTo>
                    <a:pt x="443" y="295"/>
                  </a:lnTo>
                  <a:lnTo>
                    <a:pt x="440" y="297"/>
                  </a:lnTo>
                  <a:lnTo>
                    <a:pt x="445" y="302"/>
                  </a:lnTo>
                  <a:lnTo>
                    <a:pt x="445" y="303"/>
                  </a:lnTo>
                  <a:lnTo>
                    <a:pt x="448" y="303"/>
                  </a:lnTo>
                  <a:lnTo>
                    <a:pt x="451" y="307"/>
                  </a:lnTo>
                  <a:lnTo>
                    <a:pt x="452" y="308"/>
                  </a:lnTo>
                  <a:lnTo>
                    <a:pt x="456" y="308"/>
                  </a:lnTo>
                  <a:lnTo>
                    <a:pt x="455" y="309"/>
                  </a:lnTo>
                  <a:lnTo>
                    <a:pt x="456" y="310"/>
                  </a:lnTo>
                  <a:lnTo>
                    <a:pt x="455" y="310"/>
                  </a:lnTo>
                  <a:lnTo>
                    <a:pt x="460" y="313"/>
                  </a:lnTo>
                  <a:lnTo>
                    <a:pt x="459" y="313"/>
                  </a:lnTo>
                  <a:lnTo>
                    <a:pt x="452" y="312"/>
                  </a:lnTo>
                  <a:lnTo>
                    <a:pt x="459" y="316"/>
                  </a:lnTo>
                  <a:lnTo>
                    <a:pt x="460" y="315"/>
                  </a:lnTo>
                  <a:lnTo>
                    <a:pt x="461" y="318"/>
                  </a:lnTo>
                  <a:lnTo>
                    <a:pt x="465" y="319"/>
                  </a:lnTo>
                  <a:lnTo>
                    <a:pt x="462" y="320"/>
                  </a:lnTo>
                  <a:lnTo>
                    <a:pt x="463" y="321"/>
                  </a:lnTo>
                  <a:lnTo>
                    <a:pt x="467" y="321"/>
                  </a:lnTo>
                  <a:lnTo>
                    <a:pt x="471" y="324"/>
                  </a:lnTo>
                  <a:lnTo>
                    <a:pt x="473" y="325"/>
                  </a:lnTo>
                  <a:lnTo>
                    <a:pt x="469" y="325"/>
                  </a:lnTo>
                  <a:lnTo>
                    <a:pt x="474" y="328"/>
                  </a:lnTo>
                  <a:lnTo>
                    <a:pt x="474" y="330"/>
                  </a:lnTo>
                  <a:lnTo>
                    <a:pt x="469" y="327"/>
                  </a:lnTo>
                  <a:lnTo>
                    <a:pt x="468" y="327"/>
                  </a:lnTo>
                  <a:lnTo>
                    <a:pt x="467" y="327"/>
                  </a:lnTo>
                  <a:lnTo>
                    <a:pt x="467" y="328"/>
                  </a:lnTo>
                  <a:lnTo>
                    <a:pt x="466" y="328"/>
                  </a:lnTo>
                  <a:lnTo>
                    <a:pt x="466" y="326"/>
                  </a:lnTo>
                  <a:lnTo>
                    <a:pt x="467" y="326"/>
                  </a:lnTo>
                  <a:lnTo>
                    <a:pt x="466" y="325"/>
                  </a:lnTo>
                  <a:lnTo>
                    <a:pt x="465" y="325"/>
                  </a:lnTo>
                  <a:lnTo>
                    <a:pt x="465" y="322"/>
                  </a:lnTo>
                  <a:lnTo>
                    <a:pt x="463" y="324"/>
                  </a:lnTo>
                  <a:lnTo>
                    <a:pt x="462" y="325"/>
                  </a:lnTo>
                  <a:lnTo>
                    <a:pt x="461" y="321"/>
                  </a:lnTo>
                  <a:lnTo>
                    <a:pt x="461" y="328"/>
                  </a:lnTo>
                  <a:lnTo>
                    <a:pt x="460" y="330"/>
                  </a:lnTo>
                  <a:lnTo>
                    <a:pt x="459" y="327"/>
                  </a:lnTo>
                  <a:lnTo>
                    <a:pt x="457" y="327"/>
                  </a:lnTo>
                  <a:lnTo>
                    <a:pt x="456" y="330"/>
                  </a:lnTo>
                  <a:lnTo>
                    <a:pt x="455" y="330"/>
                  </a:lnTo>
                  <a:lnTo>
                    <a:pt x="454" y="328"/>
                  </a:lnTo>
                  <a:lnTo>
                    <a:pt x="454" y="326"/>
                  </a:lnTo>
                  <a:lnTo>
                    <a:pt x="454" y="325"/>
                  </a:lnTo>
                  <a:lnTo>
                    <a:pt x="454" y="322"/>
                  </a:lnTo>
                  <a:lnTo>
                    <a:pt x="454" y="324"/>
                  </a:lnTo>
                  <a:lnTo>
                    <a:pt x="452" y="324"/>
                  </a:lnTo>
                  <a:lnTo>
                    <a:pt x="451" y="319"/>
                  </a:lnTo>
                  <a:lnTo>
                    <a:pt x="449" y="319"/>
                  </a:lnTo>
                  <a:lnTo>
                    <a:pt x="448" y="319"/>
                  </a:lnTo>
                  <a:lnTo>
                    <a:pt x="446" y="321"/>
                  </a:lnTo>
                  <a:lnTo>
                    <a:pt x="446" y="322"/>
                  </a:lnTo>
                  <a:lnTo>
                    <a:pt x="445" y="322"/>
                  </a:lnTo>
                  <a:lnTo>
                    <a:pt x="445" y="320"/>
                  </a:lnTo>
                  <a:lnTo>
                    <a:pt x="445" y="318"/>
                  </a:lnTo>
                  <a:lnTo>
                    <a:pt x="444" y="316"/>
                  </a:lnTo>
                  <a:lnTo>
                    <a:pt x="443" y="318"/>
                  </a:lnTo>
                  <a:lnTo>
                    <a:pt x="442" y="319"/>
                  </a:lnTo>
                  <a:lnTo>
                    <a:pt x="442" y="318"/>
                  </a:lnTo>
                  <a:lnTo>
                    <a:pt x="440" y="318"/>
                  </a:lnTo>
                  <a:lnTo>
                    <a:pt x="442" y="320"/>
                  </a:lnTo>
                  <a:lnTo>
                    <a:pt x="444" y="324"/>
                  </a:lnTo>
                  <a:lnTo>
                    <a:pt x="448" y="324"/>
                  </a:lnTo>
                  <a:lnTo>
                    <a:pt x="448" y="325"/>
                  </a:lnTo>
                  <a:lnTo>
                    <a:pt x="445" y="325"/>
                  </a:lnTo>
                  <a:lnTo>
                    <a:pt x="448" y="328"/>
                  </a:lnTo>
                  <a:lnTo>
                    <a:pt x="450" y="330"/>
                  </a:lnTo>
                  <a:lnTo>
                    <a:pt x="451" y="332"/>
                  </a:lnTo>
                  <a:lnTo>
                    <a:pt x="457" y="334"/>
                  </a:lnTo>
                  <a:lnTo>
                    <a:pt x="456" y="336"/>
                  </a:lnTo>
                  <a:lnTo>
                    <a:pt x="461" y="339"/>
                  </a:lnTo>
                  <a:lnTo>
                    <a:pt x="459" y="338"/>
                  </a:lnTo>
                  <a:lnTo>
                    <a:pt x="457" y="339"/>
                  </a:lnTo>
                  <a:lnTo>
                    <a:pt x="462" y="342"/>
                  </a:lnTo>
                  <a:lnTo>
                    <a:pt x="457" y="339"/>
                  </a:lnTo>
                  <a:lnTo>
                    <a:pt x="456" y="339"/>
                  </a:lnTo>
                  <a:lnTo>
                    <a:pt x="455" y="343"/>
                  </a:lnTo>
                  <a:lnTo>
                    <a:pt x="455" y="338"/>
                  </a:lnTo>
                  <a:lnTo>
                    <a:pt x="455" y="337"/>
                  </a:lnTo>
                  <a:lnTo>
                    <a:pt x="452" y="339"/>
                  </a:lnTo>
                  <a:lnTo>
                    <a:pt x="452" y="337"/>
                  </a:lnTo>
                  <a:lnTo>
                    <a:pt x="451" y="336"/>
                  </a:lnTo>
                  <a:lnTo>
                    <a:pt x="451" y="337"/>
                  </a:lnTo>
                  <a:lnTo>
                    <a:pt x="450" y="339"/>
                  </a:lnTo>
                  <a:lnTo>
                    <a:pt x="449" y="333"/>
                  </a:lnTo>
                  <a:lnTo>
                    <a:pt x="448" y="339"/>
                  </a:lnTo>
                  <a:lnTo>
                    <a:pt x="448" y="340"/>
                  </a:lnTo>
                  <a:lnTo>
                    <a:pt x="446" y="342"/>
                  </a:lnTo>
                  <a:lnTo>
                    <a:pt x="446" y="339"/>
                  </a:lnTo>
                  <a:lnTo>
                    <a:pt x="446" y="334"/>
                  </a:lnTo>
                  <a:lnTo>
                    <a:pt x="445" y="336"/>
                  </a:lnTo>
                  <a:lnTo>
                    <a:pt x="444" y="336"/>
                  </a:lnTo>
                  <a:lnTo>
                    <a:pt x="446" y="330"/>
                  </a:lnTo>
                  <a:lnTo>
                    <a:pt x="445" y="327"/>
                  </a:lnTo>
                  <a:lnTo>
                    <a:pt x="445" y="330"/>
                  </a:lnTo>
                  <a:lnTo>
                    <a:pt x="444" y="334"/>
                  </a:lnTo>
                  <a:lnTo>
                    <a:pt x="443" y="333"/>
                  </a:lnTo>
                  <a:lnTo>
                    <a:pt x="444" y="327"/>
                  </a:lnTo>
                  <a:lnTo>
                    <a:pt x="443" y="327"/>
                  </a:lnTo>
                  <a:lnTo>
                    <a:pt x="442" y="330"/>
                  </a:lnTo>
                  <a:lnTo>
                    <a:pt x="443" y="332"/>
                  </a:lnTo>
                  <a:lnTo>
                    <a:pt x="442" y="331"/>
                  </a:lnTo>
                  <a:lnTo>
                    <a:pt x="443" y="324"/>
                  </a:lnTo>
                  <a:lnTo>
                    <a:pt x="442" y="324"/>
                  </a:lnTo>
                  <a:lnTo>
                    <a:pt x="440" y="330"/>
                  </a:lnTo>
                  <a:lnTo>
                    <a:pt x="440" y="332"/>
                  </a:lnTo>
                  <a:lnTo>
                    <a:pt x="438" y="333"/>
                  </a:lnTo>
                  <a:lnTo>
                    <a:pt x="437" y="332"/>
                  </a:lnTo>
                  <a:lnTo>
                    <a:pt x="436" y="327"/>
                  </a:lnTo>
                  <a:lnTo>
                    <a:pt x="436" y="326"/>
                  </a:lnTo>
                  <a:lnTo>
                    <a:pt x="434" y="326"/>
                  </a:lnTo>
                  <a:lnTo>
                    <a:pt x="432" y="326"/>
                  </a:lnTo>
                  <a:lnTo>
                    <a:pt x="432" y="324"/>
                  </a:lnTo>
                  <a:lnTo>
                    <a:pt x="433" y="322"/>
                  </a:lnTo>
                  <a:lnTo>
                    <a:pt x="432" y="320"/>
                  </a:lnTo>
                  <a:lnTo>
                    <a:pt x="432" y="321"/>
                  </a:lnTo>
                  <a:lnTo>
                    <a:pt x="431" y="324"/>
                  </a:lnTo>
                  <a:lnTo>
                    <a:pt x="431" y="326"/>
                  </a:lnTo>
                  <a:lnTo>
                    <a:pt x="428" y="326"/>
                  </a:lnTo>
                  <a:lnTo>
                    <a:pt x="428" y="324"/>
                  </a:lnTo>
                  <a:lnTo>
                    <a:pt x="426" y="322"/>
                  </a:lnTo>
                  <a:lnTo>
                    <a:pt x="425" y="324"/>
                  </a:lnTo>
                  <a:lnTo>
                    <a:pt x="425" y="325"/>
                  </a:lnTo>
                  <a:lnTo>
                    <a:pt x="426" y="327"/>
                  </a:lnTo>
                  <a:lnTo>
                    <a:pt x="428" y="330"/>
                  </a:lnTo>
                  <a:lnTo>
                    <a:pt x="426" y="330"/>
                  </a:lnTo>
                  <a:lnTo>
                    <a:pt x="428" y="331"/>
                  </a:lnTo>
                  <a:lnTo>
                    <a:pt x="428" y="332"/>
                  </a:lnTo>
                  <a:lnTo>
                    <a:pt x="433" y="336"/>
                  </a:lnTo>
                  <a:lnTo>
                    <a:pt x="434" y="337"/>
                  </a:lnTo>
                  <a:lnTo>
                    <a:pt x="438" y="337"/>
                  </a:lnTo>
                  <a:lnTo>
                    <a:pt x="436" y="338"/>
                  </a:lnTo>
                  <a:lnTo>
                    <a:pt x="436" y="339"/>
                  </a:lnTo>
                  <a:lnTo>
                    <a:pt x="440" y="339"/>
                  </a:lnTo>
                  <a:lnTo>
                    <a:pt x="442" y="340"/>
                  </a:lnTo>
                  <a:lnTo>
                    <a:pt x="440" y="340"/>
                  </a:lnTo>
                  <a:lnTo>
                    <a:pt x="439" y="340"/>
                  </a:lnTo>
                  <a:lnTo>
                    <a:pt x="439" y="342"/>
                  </a:lnTo>
                  <a:lnTo>
                    <a:pt x="440" y="342"/>
                  </a:lnTo>
                  <a:lnTo>
                    <a:pt x="443" y="343"/>
                  </a:lnTo>
                  <a:lnTo>
                    <a:pt x="442" y="344"/>
                  </a:lnTo>
                  <a:lnTo>
                    <a:pt x="443" y="345"/>
                  </a:lnTo>
                  <a:lnTo>
                    <a:pt x="444" y="344"/>
                  </a:lnTo>
                  <a:lnTo>
                    <a:pt x="444" y="343"/>
                  </a:lnTo>
                  <a:lnTo>
                    <a:pt x="445" y="343"/>
                  </a:lnTo>
                  <a:lnTo>
                    <a:pt x="446" y="343"/>
                  </a:lnTo>
                  <a:lnTo>
                    <a:pt x="446" y="345"/>
                  </a:lnTo>
                  <a:lnTo>
                    <a:pt x="450" y="344"/>
                  </a:lnTo>
                  <a:lnTo>
                    <a:pt x="448" y="345"/>
                  </a:lnTo>
                  <a:lnTo>
                    <a:pt x="448" y="347"/>
                  </a:lnTo>
                  <a:lnTo>
                    <a:pt x="451" y="348"/>
                  </a:lnTo>
                  <a:lnTo>
                    <a:pt x="448" y="349"/>
                  </a:lnTo>
                  <a:lnTo>
                    <a:pt x="449" y="349"/>
                  </a:lnTo>
                  <a:lnTo>
                    <a:pt x="449" y="350"/>
                  </a:lnTo>
                  <a:lnTo>
                    <a:pt x="450" y="350"/>
                  </a:lnTo>
                  <a:lnTo>
                    <a:pt x="451" y="350"/>
                  </a:lnTo>
                  <a:lnTo>
                    <a:pt x="452" y="350"/>
                  </a:lnTo>
                  <a:lnTo>
                    <a:pt x="452" y="351"/>
                  </a:lnTo>
                  <a:lnTo>
                    <a:pt x="454" y="353"/>
                  </a:lnTo>
                  <a:lnTo>
                    <a:pt x="457" y="351"/>
                  </a:lnTo>
                  <a:lnTo>
                    <a:pt x="457" y="353"/>
                  </a:lnTo>
                  <a:lnTo>
                    <a:pt x="455" y="353"/>
                  </a:lnTo>
                  <a:lnTo>
                    <a:pt x="454" y="353"/>
                  </a:lnTo>
                  <a:lnTo>
                    <a:pt x="455" y="354"/>
                  </a:lnTo>
                  <a:lnTo>
                    <a:pt x="459" y="356"/>
                  </a:lnTo>
                  <a:lnTo>
                    <a:pt x="457" y="356"/>
                  </a:lnTo>
                  <a:lnTo>
                    <a:pt x="452" y="354"/>
                  </a:lnTo>
                  <a:lnTo>
                    <a:pt x="452" y="355"/>
                  </a:lnTo>
                  <a:lnTo>
                    <a:pt x="452" y="357"/>
                  </a:lnTo>
                  <a:lnTo>
                    <a:pt x="456" y="357"/>
                  </a:lnTo>
                  <a:lnTo>
                    <a:pt x="459" y="359"/>
                  </a:lnTo>
                  <a:lnTo>
                    <a:pt x="460" y="359"/>
                  </a:lnTo>
                  <a:lnTo>
                    <a:pt x="462" y="359"/>
                  </a:lnTo>
                  <a:lnTo>
                    <a:pt x="465" y="359"/>
                  </a:lnTo>
                  <a:lnTo>
                    <a:pt x="466" y="360"/>
                  </a:lnTo>
                  <a:lnTo>
                    <a:pt x="461" y="360"/>
                  </a:lnTo>
                  <a:lnTo>
                    <a:pt x="461" y="361"/>
                  </a:lnTo>
                  <a:lnTo>
                    <a:pt x="463" y="361"/>
                  </a:lnTo>
                  <a:lnTo>
                    <a:pt x="465" y="361"/>
                  </a:lnTo>
                  <a:lnTo>
                    <a:pt x="461" y="362"/>
                  </a:lnTo>
                  <a:lnTo>
                    <a:pt x="460" y="362"/>
                  </a:lnTo>
                  <a:lnTo>
                    <a:pt x="459" y="362"/>
                  </a:lnTo>
                  <a:lnTo>
                    <a:pt x="459" y="365"/>
                  </a:lnTo>
                  <a:lnTo>
                    <a:pt x="457" y="365"/>
                  </a:lnTo>
                  <a:lnTo>
                    <a:pt x="457" y="361"/>
                  </a:lnTo>
                  <a:lnTo>
                    <a:pt x="459" y="361"/>
                  </a:lnTo>
                  <a:lnTo>
                    <a:pt x="457" y="360"/>
                  </a:lnTo>
                  <a:lnTo>
                    <a:pt x="456" y="360"/>
                  </a:lnTo>
                  <a:lnTo>
                    <a:pt x="456" y="363"/>
                  </a:lnTo>
                  <a:lnTo>
                    <a:pt x="455" y="362"/>
                  </a:lnTo>
                  <a:lnTo>
                    <a:pt x="455" y="361"/>
                  </a:lnTo>
                  <a:lnTo>
                    <a:pt x="455" y="360"/>
                  </a:lnTo>
                  <a:lnTo>
                    <a:pt x="454" y="360"/>
                  </a:lnTo>
                  <a:lnTo>
                    <a:pt x="454" y="362"/>
                  </a:lnTo>
                  <a:lnTo>
                    <a:pt x="454" y="363"/>
                  </a:lnTo>
                  <a:lnTo>
                    <a:pt x="452" y="363"/>
                  </a:lnTo>
                  <a:lnTo>
                    <a:pt x="455" y="363"/>
                  </a:lnTo>
                  <a:lnTo>
                    <a:pt x="455" y="365"/>
                  </a:lnTo>
                  <a:lnTo>
                    <a:pt x="456" y="365"/>
                  </a:lnTo>
                  <a:lnTo>
                    <a:pt x="456" y="366"/>
                  </a:lnTo>
                  <a:lnTo>
                    <a:pt x="455" y="367"/>
                  </a:lnTo>
                  <a:lnTo>
                    <a:pt x="457" y="367"/>
                  </a:lnTo>
                  <a:lnTo>
                    <a:pt x="459" y="367"/>
                  </a:lnTo>
                  <a:lnTo>
                    <a:pt x="461" y="366"/>
                  </a:lnTo>
                  <a:lnTo>
                    <a:pt x="462" y="367"/>
                  </a:lnTo>
                  <a:lnTo>
                    <a:pt x="466" y="363"/>
                  </a:lnTo>
                  <a:lnTo>
                    <a:pt x="466" y="365"/>
                  </a:lnTo>
                  <a:lnTo>
                    <a:pt x="467" y="365"/>
                  </a:lnTo>
                  <a:lnTo>
                    <a:pt x="465" y="367"/>
                  </a:lnTo>
                  <a:lnTo>
                    <a:pt x="466" y="367"/>
                  </a:lnTo>
                  <a:lnTo>
                    <a:pt x="467" y="366"/>
                  </a:lnTo>
                  <a:lnTo>
                    <a:pt x="468" y="365"/>
                  </a:lnTo>
                  <a:lnTo>
                    <a:pt x="469" y="366"/>
                  </a:lnTo>
                  <a:lnTo>
                    <a:pt x="469" y="367"/>
                  </a:lnTo>
                  <a:lnTo>
                    <a:pt x="471" y="368"/>
                  </a:lnTo>
                  <a:lnTo>
                    <a:pt x="471" y="369"/>
                  </a:lnTo>
                  <a:lnTo>
                    <a:pt x="469" y="369"/>
                  </a:lnTo>
                  <a:lnTo>
                    <a:pt x="467" y="368"/>
                  </a:lnTo>
                  <a:lnTo>
                    <a:pt x="466" y="368"/>
                  </a:lnTo>
                  <a:lnTo>
                    <a:pt x="465" y="368"/>
                  </a:lnTo>
                  <a:lnTo>
                    <a:pt x="466" y="369"/>
                  </a:lnTo>
                  <a:lnTo>
                    <a:pt x="468" y="372"/>
                  </a:lnTo>
                  <a:lnTo>
                    <a:pt x="472" y="373"/>
                  </a:lnTo>
                  <a:lnTo>
                    <a:pt x="474" y="371"/>
                  </a:lnTo>
                  <a:lnTo>
                    <a:pt x="479" y="371"/>
                  </a:lnTo>
                  <a:lnTo>
                    <a:pt x="481" y="373"/>
                  </a:lnTo>
                  <a:lnTo>
                    <a:pt x="484" y="374"/>
                  </a:lnTo>
                  <a:lnTo>
                    <a:pt x="485" y="374"/>
                  </a:lnTo>
                  <a:lnTo>
                    <a:pt x="486" y="375"/>
                  </a:lnTo>
                  <a:lnTo>
                    <a:pt x="487" y="374"/>
                  </a:lnTo>
                  <a:lnTo>
                    <a:pt x="487" y="377"/>
                  </a:lnTo>
                  <a:lnTo>
                    <a:pt x="490" y="378"/>
                  </a:lnTo>
                  <a:lnTo>
                    <a:pt x="490" y="379"/>
                  </a:lnTo>
                  <a:lnTo>
                    <a:pt x="492" y="379"/>
                  </a:lnTo>
                  <a:lnTo>
                    <a:pt x="493" y="378"/>
                  </a:lnTo>
                  <a:lnTo>
                    <a:pt x="495" y="378"/>
                  </a:lnTo>
                  <a:lnTo>
                    <a:pt x="495" y="375"/>
                  </a:lnTo>
                  <a:lnTo>
                    <a:pt x="496" y="375"/>
                  </a:lnTo>
                  <a:lnTo>
                    <a:pt x="496" y="377"/>
                  </a:lnTo>
                  <a:lnTo>
                    <a:pt x="495" y="379"/>
                  </a:lnTo>
                  <a:lnTo>
                    <a:pt x="495" y="380"/>
                  </a:lnTo>
                  <a:lnTo>
                    <a:pt x="496" y="381"/>
                  </a:lnTo>
                  <a:lnTo>
                    <a:pt x="498" y="381"/>
                  </a:lnTo>
                  <a:lnTo>
                    <a:pt x="499" y="381"/>
                  </a:lnTo>
                  <a:lnTo>
                    <a:pt x="501" y="381"/>
                  </a:lnTo>
                  <a:lnTo>
                    <a:pt x="503" y="383"/>
                  </a:lnTo>
                  <a:lnTo>
                    <a:pt x="501" y="383"/>
                  </a:lnTo>
                  <a:lnTo>
                    <a:pt x="498" y="383"/>
                  </a:lnTo>
                  <a:lnTo>
                    <a:pt x="498" y="384"/>
                  </a:lnTo>
                  <a:lnTo>
                    <a:pt x="502" y="386"/>
                  </a:lnTo>
                  <a:lnTo>
                    <a:pt x="503" y="386"/>
                  </a:lnTo>
                  <a:lnTo>
                    <a:pt x="504" y="386"/>
                  </a:lnTo>
                  <a:lnTo>
                    <a:pt x="505" y="387"/>
                  </a:lnTo>
                  <a:lnTo>
                    <a:pt x="510" y="387"/>
                  </a:lnTo>
                  <a:lnTo>
                    <a:pt x="514" y="387"/>
                  </a:lnTo>
                  <a:lnTo>
                    <a:pt x="516" y="387"/>
                  </a:lnTo>
                  <a:lnTo>
                    <a:pt x="516" y="389"/>
                  </a:lnTo>
                  <a:lnTo>
                    <a:pt x="515" y="389"/>
                  </a:lnTo>
                  <a:lnTo>
                    <a:pt x="513" y="389"/>
                  </a:lnTo>
                  <a:lnTo>
                    <a:pt x="515" y="391"/>
                  </a:lnTo>
                  <a:lnTo>
                    <a:pt x="515" y="392"/>
                  </a:lnTo>
                  <a:lnTo>
                    <a:pt x="511" y="390"/>
                  </a:lnTo>
                  <a:lnTo>
                    <a:pt x="510" y="390"/>
                  </a:lnTo>
                  <a:lnTo>
                    <a:pt x="509" y="390"/>
                  </a:lnTo>
                  <a:lnTo>
                    <a:pt x="509" y="391"/>
                  </a:lnTo>
                  <a:lnTo>
                    <a:pt x="510" y="392"/>
                  </a:lnTo>
                  <a:lnTo>
                    <a:pt x="509" y="392"/>
                  </a:lnTo>
                  <a:lnTo>
                    <a:pt x="509" y="391"/>
                  </a:lnTo>
                  <a:lnTo>
                    <a:pt x="508" y="390"/>
                  </a:lnTo>
                  <a:lnTo>
                    <a:pt x="507" y="389"/>
                  </a:lnTo>
                  <a:lnTo>
                    <a:pt x="503" y="389"/>
                  </a:lnTo>
                  <a:lnTo>
                    <a:pt x="504" y="390"/>
                  </a:lnTo>
                  <a:lnTo>
                    <a:pt x="508" y="392"/>
                  </a:lnTo>
                  <a:lnTo>
                    <a:pt x="509" y="395"/>
                  </a:lnTo>
                  <a:lnTo>
                    <a:pt x="515" y="397"/>
                  </a:lnTo>
                  <a:lnTo>
                    <a:pt x="515" y="398"/>
                  </a:lnTo>
                  <a:lnTo>
                    <a:pt x="514" y="398"/>
                  </a:lnTo>
                  <a:lnTo>
                    <a:pt x="510" y="396"/>
                  </a:lnTo>
                  <a:lnTo>
                    <a:pt x="509" y="396"/>
                  </a:lnTo>
                  <a:lnTo>
                    <a:pt x="509" y="398"/>
                  </a:lnTo>
                  <a:lnTo>
                    <a:pt x="508" y="398"/>
                  </a:lnTo>
                  <a:lnTo>
                    <a:pt x="508" y="396"/>
                  </a:lnTo>
                  <a:lnTo>
                    <a:pt x="508" y="395"/>
                  </a:lnTo>
                  <a:lnTo>
                    <a:pt x="507" y="395"/>
                  </a:lnTo>
                  <a:lnTo>
                    <a:pt x="505" y="398"/>
                  </a:lnTo>
                  <a:lnTo>
                    <a:pt x="504" y="401"/>
                  </a:lnTo>
                  <a:lnTo>
                    <a:pt x="503" y="402"/>
                  </a:lnTo>
                  <a:lnTo>
                    <a:pt x="502" y="403"/>
                  </a:lnTo>
                  <a:lnTo>
                    <a:pt x="502" y="402"/>
                  </a:lnTo>
                  <a:lnTo>
                    <a:pt x="502" y="398"/>
                  </a:lnTo>
                  <a:lnTo>
                    <a:pt x="498" y="398"/>
                  </a:lnTo>
                  <a:lnTo>
                    <a:pt x="498" y="397"/>
                  </a:lnTo>
                  <a:lnTo>
                    <a:pt x="498" y="396"/>
                  </a:lnTo>
                  <a:lnTo>
                    <a:pt x="497" y="395"/>
                  </a:lnTo>
                  <a:lnTo>
                    <a:pt x="497" y="396"/>
                  </a:lnTo>
                  <a:lnTo>
                    <a:pt x="496" y="397"/>
                  </a:lnTo>
                  <a:lnTo>
                    <a:pt x="493" y="398"/>
                  </a:lnTo>
                  <a:lnTo>
                    <a:pt x="493" y="399"/>
                  </a:lnTo>
                  <a:lnTo>
                    <a:pt x="492" y="402"/>
                  </a:lnTo>
                  <a:lnTo>
                    <a:pt x="491" y="403"/>
                  </a:lnTo>
                  <a:lnTo>
                    <a:pt x="491" y="402"/>
                  </a:lnTo>
                  <a:lnTo>
                    <a:pt x="491" y="397"/>
                  </a:lnTo>
                  <a:lnTo>
                    <a:pt x="490" y="396"/>
                  </a:lnTo>
                  <a:lnTo>
                    <a:pt x="490" y="399"/>
                  </a:lnTo>
                  <a:lnTo>
                    <a:pt x="489" y="399"/>
                  </a:lnTo>
                  <a:lnTo>
                    <a:pt x="487" y="397"/>
                  </a:lnTo>
                  <a:lnTo>
                    <a:pt x="487" y="396"/>
                  </a:lnTo>
                  <a:lnTo>
                    <a:pt x="487" y="397"/>
                  </a:lnTo>
                  <a:lnTo>
                    <a:pt x="486" y="397"/>
                  </a:lnTo>
                  <a:lnTo>
                    <a:pt x="486" y="398"/>
                  </a:lnTo>
                  <a:lnTo>
                    <a:pt x="485" y="397"/>
                  </a:lnTo>
                  <a:lnTo>
                    <a:pt x="484" y="397"/>
                  </a:lnTo>
                  <a:lnTo>
                    <a:pt x="485" y="396"/>
                  </a:lnTo>
                  <a:lnTo>
                    <a:pt x="485" y="395"/>
                  </a:lnTo>
                  <a:lnTo>
                    <a:pt x="485" y="393"/>
                  </a:lnTo>
                  <a:lnTo>
                    <a:pt x="485" y="392"/>
                  </a:lnTo>
                  <a:lnTo>
                    <a:pt x="485" y="391"/>
                  </a:lnTo>
                  <a:lnTo>
                    <a:pt x="484" y="391"/>
                  </a:lnTo>
                  <a:lnTo>
                    <a:pt x="484" y="392"/>
                  </a:lnTo>
                  <a:lnTo>
                    <a:pt x="484" y="393"/>
                  </a:lnTo>
                  <a:lnTo>
                    <a:pt x="485" y="395"/>
                  </a:lnTo>
                  <a:lnTo>
                    <a:pt x="485" y="396"/>
                  </a:lnTo>
                  <a:lnTo>
                    <a:pt x="484" y="396"/>
                  </a:lnTo>
                  <a:lnTo>
                    <a:pt x="484" y="397"/>
                  </a:lnTo>
                  <a:lnTo>
                    <a:pt x="484" y="399"/>
                  </a:lnTo>
                  <a:lnTo>
                    <a:pt x="484" y="401"/>
                  </a:lnTo>
                  <a:lnTo>
                    <a:pt x="484" y="402"/>
                  </a:lnTo>
                  <a:lnTo>
                    <a:pt x="483" y="401"/>
                  </a:lnTo>
                  <a:lnTo>
                    <a:pt x="483" y="399"/>
                  </a:lnTo>
                  <a:lnTo>
                    <a:pt x="481" y="398"/>
                  </a:lnTo>
                  <a:lnTo>
                    <a:pt x="480" y="398"/>
                  </a:lnTo>
                  <a:lnTo>
                    <a:pt x="480" y="395"/>
                  </a:lnTo>
                  <a:lnTo>
                    <a:pt x="479" y="395"/>
                  </a:lnTo>
                  <a:lnTo>
                    <a:pt x="477" y="396"/>
                  </a:lnTo>
                  <a:lnTo>
                    <a:pt x="477" y="397"/>
                  </a:lnTo>
                  <a:lnTo>
                    <a:pt x="477" y="398"/>
                  </a:lnTo>
                  <a:lnTo>
                    <a:pt x="475" y="399"/>
                  </a:lnTo>
                  <a:lnTo>
                    <a:pt x="475" y="401"/>
                  </a:lnTo>
                  <a:lnTo>
                    <a:pt x="477" y="402"/>
                  </a:lnTo>
                  <a:lnTo>
                    <a:pt x="479" y="402"/>
                  </a:lnTo>
                  <a:lnTo>
                    <a:pt x="480" y="403"/>
                  </a:lnTo>
                  <a:lnTo>
                    <a:pt x="483" y="404"/>
                  </a:lnTo>
                  <a:lnTo>
                    <a:pt x="483" y="405"/>
                  </a:lnTo>
                  <a:lnTo>
                    <a:pt x="481" y="405"/>
                  </a:lnTo>
                  <a:lnTo>
                    <a:pt x="481" y="404"/>
                  </a:lnTo>
                  <a:lnTo>
                    <a:pt x="480" y="405"/>
                  </a:lnTo>
                  <a:lnTo>
                    <a:pt x="480" y="404"/>
                  </a:lnTo>
                  <a:lnTo>
                    <a:pt x="479" y="404"/>
                  </a:lnTo>
                  <a:lnTo>
                    <a:pt x="478" y="404"/>
                  </a:lnTo>
                  <a:lnTo>
                    <a:pt x="478" y="405"/>
                  </a:lnTo>
                  <a:lnTo>
                    <a:pt x="479" y="407"/>
                  </a:lnTo>
                  <a:lnTo>
                    <a:pt x="480" y="408"/>
                  </a:lnTo>
                  <a:lnTo>
                    <a:pt x="481" y="408"/>
                  </a:lnTo>
                  <a:lnTo>
                    <a:pt x="483" y="407"/>
                  </a:lnTo>
                  <a:lnTo>
                    <a:pt x="484" y="405"/>
                  </a:lnTo>
                  <a:lnTo>
                    <a:pt x="484" y="407"/>
                  </a:lnTo>
                  <a:lnTo>
                    <a:pt x="484" y="408"/>
                  </a:lnTo>
                  <a:lnTo>
                    <a:pt x="487" y="408"/>
                  </a:lnTo>
                  <a:lnTo>
                    <a:pt x="490" y="407"/>
                  </a:lnTo>
                  <a:lnTo>
                    <a:pt x="491" y="407"/>
                  </a:lnTo>
                  <a:lnTo>
                    <a:pt x="491" y="405"/>
                  </a:lnTo>
                  <a:lnTo>
                    <a:pt x="492" y="405"/>
                  </a:lnTo>
                  <a:lnTo>
                    <a:pt x="493" y="407"/>
                  </a:lnTo>
                  <a:lnTo>
                    <a:pt x="499" y="407"/>
                  </a:lnTo>
                  <a:lnTo>
                    <a:pt x="501" y="407"/>
                  </a:lnTo>
                  <a:lnTo>
                    <a:pt x="502" y="407"/>
                  </a:lnTo>
                  <a:lnTo>
                    <a:pt x="503" y="407"/>
                  </a:lnTo>
                  <a:lnTo>
                    <a:pt x="504" y="408"/>
                  </a:lnTo>
                  <a:lnTo>
                    <a:pt x="504" y="407"/>
                  </a:lnTo>
                  <a:lnTo>
                    <a:pt x="505" y="407"/>
                  </a:lnTo>
                  <a:lnTo>
                    <a:pt x="507" y="407"/>
                  </a:lnTo>
                  <a:lnTo>
                    <a:pt x="508" y="407"/>
                  </a:lnTo>
                  <a:lnTo>
                    <a:pt x="510" y="407"/>
                  </a:lnTo>
                  <a:lnTo>
                    <a:pt x="511" y="408"/>
                  </a:lnTo>
                  <a:lnTo>
                    <a:pt x="514" y="408"/>
                  </a:lnTo>
                  <a:lnTo>
                    <a:pt x="515" y="408"/>
                  </a:lnTo>
                  <a:lnTo>
                    <a:pt x="518" y="408"/>
                  </a:lnTo>
                  <a:lnTo>
                    <a:pt x="519" y="408"/>
                  </a:lnTo>
                  <a:lnTo>
                    <a:pt x="521" y="409"/>
                  </a:lnTo>
                  <a:lnTo>
                    <a:pt x="522" y="409"/>
                  </a:lnTo>
                  <a:lnTo>
                    <a:pt x="524" y="409"/>
                  </a:lnTo>
                  <a:lnTo>
                    <a:pt x="526" y="410"/>
                  </a:lnTo>
                  <a:lnTo>
                    <a:pt x="527" y="411"/>
                  </a:lnTo>
                  <a:lnTo>
                    <a:pt x="528" y="411"/>
                  </a:lnTo>
                  <a:lnTo>
                    <a:pt x="531" y="411"/>
                  </a:lnTo>
                  <a:lnTo>
                    <a:pt x="532" y="413"/>
                  </a:lnTo>
                  <a:lnTo>
                    <a:pt x="533" y="413"/>
                  </a:lnTo>
                  <a:lnTo>
                    <a:pt x="534" y="413"/>
                  </a:lnTo>
                  <a:lnTo>
                    <a:pt x="534" y="414"/>
                  </a:lnTo>
                  <a:lnTo>
                    <a:pt x="536" y="414"/>
                  </a:lnTo>
                  <a:lnTo>
                    <a:pt x="536" y="415"/>
                  </a:lnTo>
                  <a:lnTo>
                    <a:pt x="537" y="416"/>
                  </a:lnTo>
                  <a:lnTo>
                    <a:pt x="539" y="415"/>
                  </a:lnTo>
                  <a:lnTo>
                    <a:pt x="540" y="415"/>
                  </a:lnTo>
                  <a:lnTo>
                    <a:pt x="542" y="415"/>
                  </a:lnTo>
                  <a:lnTo>
                    <a:pt x="543" y="415"/>
                  </a:lnTo>
                  <a:lnTo>
                    <a:pt x="544" y="416"/>
                  </a:lnTo>
                  <a:lnTo>
                    <a:pt x="546" y="415"/>
                  </a:lnTo>
                  <a:lnTo>
                    <a:pt x="544" y="416"/>
                  </a:lnTo>
                  <a:lnTo>
                    <a:pt x="544" y="417"/>
                  </a:lnTo>
                  <a:lnTo>
                    <a:pt x="550" y="420"/>
                  </a:lnTo>
                  <a:lnTo>
                    <a:pt x="545" y="419"/>
                  </a:lnTo>
                  <a:lnTo>
                    <a:pt x="543" y="419"/>
                  </a:lnTo>
                  <a:lnTo>
                    <a:pt x="543" y="420"/>
                  </a:lnTo>
                  <a:lnTo>
                    <a:pt x="544" y="421"/>
                  </a:lnTo>
                  <a:lnTo>
                    <a:pt x="542" y="420"/>
                  </a:lnTo>
                  <a:lnTo>
                    <a:pt x="542" y="417"/>
                  </a:lnTo>
                  <a:lnTo>
                    <a:pt x="540" y="417"/>
                  </a:lnTo>
                  <a:lnTo>
                    <a:pt x="540" y="419"/>
                  </a:lnTo>
                  <a:lnTo>
                    <a:pt x="539" y="417"/>
                  </a:lnTo>
                  <a:lnTo>
                    <a:pt x="538" y="417"/>
                  </a:lnTo>
                  <a:lnTo>
                    <a:pt x="538" y="420"/>
                  </a:lnTo>
                  <a:lnTo>
                    <a:pt x="537" y="421"/>
                  </a:lnTo>
                  <a:lnTo>
                    <a:pt x="536" y="422"/>
                  </a:lnTo>
                  <a:lnTo>
                    <a:pt x="536" y="423"/>
                  </a:lnTo>
                  <a:lnTo>
                    <a:pt x="534" y="425"/>
                  </a:lnTo>
                  <a:lnTo>
                    <a:pt x="533" y="425"/>
                  </a:lnTo>
                  <a:lnTo>
                    <a:pt x="533" y="426"/>
                  </a:lnTo>
                  <a:lnTo>
                    <a:pt x="532" y="427"/>
                  </a:lnTo>
                  <a:lnTo>
                    <a:pt x="532" y="426"/>
                  </a:lnTo>
                  <a:lnTo>
                    <a:pt x="531" y="425"/>
                  </a:lnTo>
                  <a:lnTo>
                    <a:pt x="531" y="423"/>
                  </a:lnTo>
                  <a:lnTo>
                    <a:pt x="532" y="422"/>
                  </a:lnTo>
                  <a:lnTo>
                    <a:pt x="531" y="422"/>
                  </a:lnTo>
                  <a:lnTo>
                    <a:pt x="531" y="421"/>
                  </a:lnTo>
                  <a:lnTo>
                    <a:pt x="531" y="420"/>
                  </a:lnTo>
                  <a:lnTo>
                    <a:pt x="531" y="419"/>
                  </a:lnTo>
                  <a:lnTo>
                    <a:pt x="531" y="417"/>
                  </a:lnTo>
                  <a:lnTo>
                    <a:pt x="531" y="416"/>
                  </a:lnTo>
                  <a:lnTo>
                    <a:pt x="531" y="415"/>
                  </a:lnTo>
                  <a:lnTo>
                    <a:pt x="530" y="414"/>
                  </a:lnTo>
                  <a:lnTo>
                    <a:pt x="528" y="414"/>
                  </a:lnTo>
                  <a:lnTo>
                    <a:pt x="527" y="414"/>
                  </a:lnTo>
                  <a:lnTo>
                    <a:pt x="528" y="415"/>
                  </a:lnTo>
                  <a:lnTo>
                    <a:pt x="530" y="416"/>
                  </a:lnTo>
                  <a:lnTo>
                    <a:pt x="530" y="417"/>
                  </a:lnTo>
                  <a:lnTo>
                    <a:pt x="528" y="417"/>
                  </a:lnTo>
                  <a:lnTo>
                    <a:pt x="527" y="417"/>
                  </a:lnTo>
                  <a:lnTo>
                    <a:pt x="527" y="419"/>
                  </a:lnTo>
                  <a:lnTo>
                    <a:pt x="528" y="420"/>
                  </a:lnTo>
                  <a:lnTo>
                    <a:pt x="528" y="421"/>
                  </a:lnTo>
                  <a:lnTo>
                    <a:pt x="528" y="423"/>
                  </a:lnTo>
                  <a:lnTo>
                    <a:pt x="527" y="423"/>
                  </a:lnTo>
                  <a:lnTo>
                    <a:pt x="527" y="422"/>
                  </a:lnTo>
                  <a:lnTo>
                    <a:pt x="527" y="421"/>
                  </a:lnTo>
                  <a:lnTo>
                    <a:pt x="526" y="420"/>
                  </a:lnTo>
                  <a:lnTo>
                    <a:pt x="526" y="421"/>
                  </a:lnTo>
                  <a:lnTo>
                    <a:pt x="525" y="421"/>
                  </a:lnTo>
                  <a:lnTo>
                    <a:pt x="525" y="422"/>
                  </a:lnTo>
                  <a:lnTo>
                    <a:pt x="524" y="422"/>
                  </a:lnTo>
                  <a:lnTo>
                    <a:pt x="524" y="421"/>
                  </a:lnTo>
                  <a:lnTo>
                    <a:pt x="524" y="420"/>
                  </a:lnTo>
                  <a:lnTo>
                    <a:pt x="522" y="419"/>
                  </a:lnTo>
                  <a:lnTo>
                    <a:pt x="522" y="417"/>
                  </a:lnTo>
                  <a:lnTo>
                    <a:pt x="521" y="419"/>
                  </a:lnTo>
                  <a:lnTo>
                    <a:pt x="521" y="420"/>
                  </a:lnTo>
                  <a:lnTo>
                    <a:pt x="521" y="422"/>
                  </a:lnTo>
                  <a:lnTo>
                    <a:pt x="522" y="423"/>
                  </a:lnTo>
                  <a:lnTo>
                    <a:pt x="522" y="426"/>
                  </a:lnTo>
                  <a:lnTo>
                    <a:pt x="522" y="427"/>
                  </a:lnTo>
                  <a:lnTo>
                    <a:pt x="521" y="427"/>
                  </a:lnTo>
                  <a:lnTo>
                    <a:pt x="521" y="426"/>
                  </a:lnTo>
                  <a:lnTo>
                    <a:pt x="520" y="425"/>
                  </a:lnTo>
                  <a:lnTo>
                    <a:pt x="520" y="423"/>
                  </a:lnTo>
                  <a:lnTo>
                    <a:pt x="519" y="422"/>
                  </a:lnTo>
                  <a:lnTo>
                    <a:pt x="519" y="419"/>
                  </a:lnTo>
                  <a:lnTo>
                    <a:pt x="518" y="419"/>
                  </a:lnTo>
                  <a:lnTo>
                    <a:pt x="518" y="420"/>
                  </a:lnTo>
                  <a:lnTo>
                    <a:pt x="516" y="420"/>
                  </a:lnTo>
                  <a:lnTo>
                    <a:pt x="516" y="419"/>
                  </a:lnTo>
                  <a:lnTo>
                    <a:pt x="516" y="416"/>
                  </a:lnTo>
                  <a:lnTo>
                    <a:pt x="515" y="416"/>
                  </a:lnTo>
                  <a:lnTo>
                    <a:pt x="515" y="419"/>
                  </a:lnTo>
                  <a:lnTo>
                    <a:pt x="515" y="420"/>
                  </a:lnTo>
                  <a:lnTo>
                    <a:pt x="515" y="421"/>
                  </a:lnTo>
                  <a:lnTo>
                    <a:pt x="515" y="422"/>
                  </a:lnTo>
                  <a:lnTo>
                    <a:pt x="514" y="422"/>
                  </a:lnTo>
                  <a:lnTo>
                    <a:pt x="513" y="422"/>
                  </a:lnTo>
                  <a:lnTo>
                    <a:pt x="513" y="421"/>
                  </a:lnTo>
                  <a:lnTo>
                    <a:pt x="511" y="425"/>
                  </a:lnTo>
                  <a:lnTo>
                    <a:pt x="510" y="426"/>
                  </a:lnTo>
                  <a:lnTo>
                    <a:pt x="510" y="421"/>
                  </a:lnTo>
                  <a:lnTo>
                    <a:pt x="509" y="421"/>
                  </a:lnTo>
                  <a:lnTo>
                    <a:pt x="509" y="423"/>
                  </a:lnTo>
                  <a:lnTo>
                    <a:pt x="509" y="425"/>
                  </a:lnTo>
                  <a:lnTo>
                    <a:pt x="508" y="425"/>
                  </a:lnTo>
                  <a:lnTo>
                    <a:pt x="508" y="426"/>
                  </a:lnTo>
                  <a:lnTo>
                    <a:pt x="508" y="427"/>
                  </a:lnTo>
                  <a:lnTo>
                    <a:pt x="507" y="427"/>
                  </a:lnTo>
                  <a:lnTo>
                    <a:pt x="507" y="428"/>
                  </a:lnTo>
                  <a:lnTo>
                    <a:pt x="505" y="429"/>
                  </a:lnTo>
                  <a:lnTo>
                    <a:pt x="504" y="429"/>
                  </a:lnTo>
                  <a:lnTo>
                    <a:pt x="504" y="428"/>
                  </a:lnTo>
                  <a:lnTo>
                    <a:pt x="503" y="428"/>
                  </a:lnTo>
                  <a:lnTo>
                    <a:pt x="503" y="427"/>
                  </a:lnTo>
                  <a:lnTo>
                    <a:pt x="503" y="426"/>
                  </a:lnTo>
                  <a:lnTo>
                    <a:pt x="503" y="425"/>
                  </a:lnTo>
                  <a:lnTo>
                    <a:pt x="502" y="425"/>
                  </a:lnTo>
                  <a:lnTo>
                    <a:pt x="502" y="426"/>
                  </a:lnTo>
                  <a:lnTo>
                    <a:pt x="502" y="425"/>
                  </a:lnTo>
                  <a:lnTo>
                    <a:pt x="502" y="423"/>
                  </a:lnTo>
                  <a:lnTo>
                    <a:pt x="502" y="422"/>
                  </a:lnTo>
                  <a:lnTo>
                    <a:pt x="501" y="422"/>
                  </a:lnTo>
                  <a:lnTo>
                    <a:pt x="499" y="422"/>
                  </a:lnTo>
                  <a:lnTo>
                    <a:pt x="499" y="423"/>
                  </a:lnTo>
                  <a:lnTo>
                    <a:pt x="498" y="423"/>
                  </a:lnTo>
                  <a:lnTo>
                    <a:pt x="498" y="425"/>
                  </a:lnTo>
                  <a:lnTo>
                    <a:pt x="498" y="426"/>
                  </a:lnTo>
                  <a:lnTo>
                    <a:pt x="499" y="426"/>
                  </a:lnTo>
                  <a:lnTo>
                    <a:pt x="498" y="427"/>
                  </a:lnTo>
                  <a:lnTo>
                    <a:pt x="498" y="428"/>
                  </a:lnTo>
                  <a:lnTo>
                    <a:pt x="499" y="428"/>
                  </a:lnTo>
                  <a:lnTo>
                    <a:pt x="498" y="429"/>
                  </a:lnTo>
                  <a:lnTo>
                    <a:pt x="497" y="429"/>
                  </a:lnTo>
                  <a:lnTo>
                    <a:pt x="497" y="428"/>
                  </a:lnTo>
                  <a:lnTo>
                    <a:pt x="496" y="428"/>
                  </a:lnTo>
                  <a:lnTo>
                    <a:pt x="495" y="427"/>
                  </a:lnTo>
                  <a:lnTo>
                    <a:pt x="495" y="428"/>
                  </a:lnTo>
                  <a:lnTo>
                    <a:pt x="493" y="428"/>
                  </a:lnTo>
                  <a:lnTo>
                    <a:pt x="492" y="429"/>
                  </a:lnTo>
                  <a:lnTo>
                    <a:pt x="492" y="428"/>
                  </a:lnTo>
                  <a:lnTo>
                    <a:pt x="491" y="428"/>
                  </a:lnTo>
                  <a:lnTo>
                    <a:pt x="491" y="426"/>
                  </a:lnTo>
                  <a:lnTo>
                    <a:pt x="490" y="426"/>
                  </a:lnTo>
                  <a:lnTo>
                    <a:pt x="489" y="427"/>
                  </a:lnTo>
                  <a:lnTo>
                    <a:pt x="490" y="427"/>
                  </a:lnTo>
                  <a:lnTo>
                    <a:pt x="490" y="428"/>
                  </a:lnTo>
                  <a:lnTo>
                    <a:pt x="490" y="429"/>
                  </a:lnTo>
                  <a:lnTo>
                    <a:pt x="489" y="428"/>
                  </a:lnTo>
                  <a:lnTo>
                    <a:pt x="487" y="428"/>
                  </a:lnTo>
                  <a:lnTo>
                    <a:pt x="486" y="428"/>
                  </a:lnTo>
                  <a:lnTo>
                    <a:pt x="486" y="427"/>
                  </a:lnTo>
                  <a:lnTo>
                    <a:pt x="485" y="427"/>
                  </a:lnTo>
                  <a:lnTo>
                    <a:pt x="484" y="427"/>
                  </a:lnTo>
                  <a:lnTo>
                    <a:pt x="483" y="427"/>
                  </a:lnTo>
                  <a:lnTo>
                    <a:pt x="483" y="428"/>
                  </a:lnTo>
                  <a:lnTo>
                    <a:pt x="481" y="428"/>
                  </a:lnTo>
                  <a:lnTo>
                    <a:pt x="481" y="429"/>
                  </a:lnTo>
                  <a:lnTo>
                    <a:pt x="483" y="429"/>
                  </a:lnTo>
                  <a:lnTo>
                    <a:pt x="484" y="429"/>
                  </a:lnTo>
                  <a:lnTo>
                    <a:pt x="485" y="431"/>
                  </a:lnTo>
                  <a:lnTo>
                    <a:pt x="486" y="431"/>
                  </a:lnTo>
                  <a:lnTo>
                    <a:pt x="487" y="429"/>
                  </a:lnTo>
                  <a:lnTo>
                    <a:pt x="489" y="429"/>
                  </a:lnTo>
                  <a:lnTo>
                    <a:pt x="490" y="429"/>
                  </a:lnTo>
                  <a:lnTo>
                    <a:pt x="491" y="429"/>
                  </a:lnTo>
                  <a:lnTo>
                    <a:pt x="492" y="431"/>
                  </a:lnTo>
                  <a:lnTo>
                    <a:pt x="493" y="431"/>
                  </a:lnTo>
                  <a:lnTo>
                    <a:pt x="495" y="431"/>
                  </a:lnTo>
                  <a:lnTo>
                    <a:pt x="499" y="431"/>
                  </a:lnTo>
                  <a:lnTo>
                    <a:pt x="501" y="431"/>
                  </a:lnTo>
                  <a:lnTo>
                    <a:pt x="501" y="432"/>
                  </a:lnTo>
                  <a:lnTo>
                    <a:pt x="499" y="432"/>
                  </a:lnTo>
                  <a:lnTo>
                    <a:pt x="498" y="432"/>
                  </a:lnTo>
                  <a:lnTo>
                    <a:pt x="497" y="432"/>
                  </a:lnTo>
                  <a:lnTo>
                    <a:pt x="496" y="432"/>
                  </a:lnTo>
                  <a:lnTo>
                    <a:pt x="496" y="433"/>
                  </a:lnTo>
                  <a:lnTo>
                    <a:pt x="497" y="433"/>
                  </a:lnTo>
                  <a:lnTo>
                    <a:pt x="497" y="434"/>
                  </a:lnTo>
                  <a:lnTo>
                    <a:pt x="497" y="435"/>
                  </a:lnTo>
                  <a:lnTo>
                    <a:pt x="496" y="434"/>
                  </a:lnTo>
                  <a:lnTo>
                    <a:pt x="495" y="433"/>
                  </a:lnTo>
                  <a:lnTo>
                    <a:pt x="495" y="432"/>
                  </a:lnTo>
                  <a:lnTo>
                    <a:pt x="493" y="432"/>
                  </a:lnTo>
                  <a:lnTo>
                    <a:pt x="492" y="432"/>
                  </a:lnTo>
                  <a:lnTo>
                    <a:pt x="493" y="433"/>
                  </a:lnTo>
                  <a:lnTo>
                    <a:pt x="493" y="434"/>
                  </a:lnTo>
                  <a:lnTo>
                    <a:pt x="492" y="434"/>
                  </a:lnTo>
                  <a:lnTo>
                    <a:pt x="492" y="433"/>
                  </a:lnTo>
                  <a:lnTo>
                    <a:pt x="491" y="433"/>
                  </a:lnTo>
                  <a:lnTo>
                    <a:pt x="491" y="432"/>
                  </a:lnTo>
                  <a:lnTo>
                    <a:pt x="491" y="433"/>
                  </a:lnTo>
                  <a:lnTo>
                    <a:pt x="490" y="433"/>
                  </a:lnTo>
                  <a:lnTo>
                    <a:pt x="490" y="432"/>
                  </a:lnTo>
                  <a:lnTo>
                    <a:pt x="489" y="432"/>
                  </a:lnTo>
                  <a:lnTo>
                    <a:pt x="487" y="432"/>
                  </a:lnTo>
                  <a:lnTo>
                    <a:pt x="489" y="432"/>
                  </a:lnTo>
                  <a:lnTo>
                    <a:pt x="489" y="433"/>
                  </a:lnTo>
                  <a:lnTo>
                    <a:pt x="489" y="434"/>
                  </a:lnTo>
                  <a:lnTo>
                    <a:pt x="489" y="435"/>
                  </a:lnTo>
                  <a:lnTo>
                    <a:pt x="490" y="435"/>
                  </a:lnTo>
                  <a:lnTo>
                    <a:pt x="490" y="437"/>
                  </a:lnTo>
                  <a:lnTo>
                    <a:pt x="490" y="438"/>
                  </a:lnTo>
                  <a:lnTo>
                    <a:pt x="489" y="438"/>
                  </a:lnTo>
                  <a:lnTo>
                    <a:pt x="489" y="437"/>
                  </a:lnTo>
                  <a:lnTo>
                    <a:pt x="487" y="437"/>
                  </a:lnTo>
                  <a:lnTo>
                    <a:pt x="487" y="435"/>
                  </a:lnTo>
                  <a:lnTo>
                    <a:pt x="487" y="434"/>
                  </a:lnTo>
                  <a:lnTo>
                    <a:pt x="486" y="434"/>
                  </a:lnTo>
                  <a:lnTo>
                    <a:pt x="486" y="433"/>
                  </a:lnTo>
                  <a:lnTo>
                    <a:pt x="485" y="433"/>
                  </a:lnTo>
                  <a:lnTo>
                    <a:pt x="485" y="432"/>
                  </a:lnTo>
                  <a:lnTo>
                    <a:pt x="484" y="432"/>
                  </a:lnTo>
                  <a:lnTo>
                    <a:pt x="484" y="433"/>
                  </a:lnTo>
                  <a:lnTo>
                    <a:pt x="484" y="434"/>
                  </a:lnTo>
                  <a:lnTo>
                    <a:pt x="484" y="435"/>
                  </a:lnTo>
                  <a:lnTo>
                    <a:pt x="484" y="437"/>
                  </a:lnTo>
                  <a:lnTo>
                    <a:pt x="484" y="435"/>
                  </a:lnTo>
                  <a:lnTo>
                    <a:pt x="483" y="435"/>
                  </a:lnTo>
                  <a:lnTo>
                    <a:pt x="483" y="434"/>
                  </a:lnTo>
                  <a:lnTo>
                    <a:pt x="483" y="433"/>
                  </a:lnTo>
                  <a:lnTo>
                    <a:pt x="481" y="433"/>
                  </a:lnTo>
                  <a:lnTo>
                    <a:pt x="480" y="433"/>
                  </a:lnTo>
                  <a:lnTo>
                    <a:pt x="480" y="434"/>
                  </a:lnTo>
                  <a:lnTo>
                    <a:pt x="481" y="434"/>
                  </a:lnTo>
                  <a:lnTo>
                    <a:pt x="481" y="435"/>
                  </a:lnTo>
                  <a:lnTo>
                    <a:pt x="481" y="437"/>
                  </a:lnTo>
                  <a:lnTo>
                    <a:pt x="480" y="437"/>
                  </a:lnTo>
                  <a:lnTo>
                    <a:pt x="480" y="438"/>
                  </a:lnTo>
                  <a:lnTo>
                    <a:pt x="480" y="439"/>
                  </a:lnTo>
                  <a:lnTo>
                    <a:pt x="480" y="438"/>
                  </a:lnTo>
                  <a:lnTo>
                    <a:pt x="479" y="438"/>
                  </a:lnTo>
                  <a:lnTo>
                    <a:pt x="479" y="437"/>
                  </a:lnTo>
                  <a:lnTo>
                    <a:pt x="478" y="435"/>
                  </a:lnTo>
                  <a:lnTo>
                    <a:pt x="478" y="437"/>
                  </a:lnTo>
                  <a:lnTo>
                    <a:pt x="477" y="437"/>
                  </a:lnTo>
                  <a:lnTo>
                    <a:pt x="477" y="435"/>
                  </a:lnTo>
                  <a:lnTo>
                    <a:pt x="477" y="434"/>
                  </a:lnTo>
                  <a:lnTo>
                    <a:pt x="475" y="433"/>
                  </a:lnTo>
                  <a:lnTo>
                    <a:pt x="475" y="431"/>
                  </a:lnTo>
                  <a:lnTo>
                    <a:pt x="475" y="429"/>
                  </a:lnTo>
                  <a:lnTo>
                    <a:pt x="475" y="428"/>
                  </a:lnTo>
                  <a:lnTo>
                    <a:pt x="475" y="427"/>
                  </a:lnTo>
                  <a:lnTo>
                    <a:pt x="477" y="427"/>
                  </a:lnTo>
                  <a:lnTo>
                    <a:pt x="477" y="426"/>
                  </a:lnTo>
                  <a:lnTo>
                    <a:pt x="475" y="426"/>
                  </a:lnTo>
                  <a:lnTo>
                    <a:pt x="475" y="427"/>
                  </a:lnTo>
                  <a:lnTo>
                    <a:pt x="475" y="428"/>
                  </a:lnTo>
                  <a:lnTo>
                    <a:pt x="474" y="429"/>
                  </a:lnTo>
                  <a:lnTo>
                    <a:pt x="474" y="431"/>
                  </a:lnTo>
                  <a:lnTo>
                    <a:pt x="474" y="432"/>
                  </a:lnTo>
                  <a:lnTo>
                    <a:pt x="474" y="433"/>
                  </a:lnTo>
                  <a:lnTo>
                    <a:pt x="474" y="435"/>
                  </a:lnTo>
                  <a:lnTo>
                    <a:pt x="474" y="437"/>
                  </a:lnTo>
                  <a:lnTo>
                    <a:pt x="475" y="437"/>
                  </a:lnTo>
                  <a:lnTo>
                    <a:pt x="475" y="438"/>
                  </a:lnTo>
                  <a:lnTo>
                    <a:pt x="475" y="439"/>
                  </a:lnTo>
                  <a:lnTo>
                    <a:pt x="474" y="440"/>
                  </a:lnTo>
                  <a:lnTo>
                    <a:pt x="473" y="440"/>
                  </a:lnTo>
                  <a:lnTo>
                    <a:pt x="472" y="439"/>
                  </a:lnTo>
                  <a:lnTo>
                    <a:pt x="473" y="438"/>
                  </a:lnTo>
                  <a:lnTo>
                    <a:pt x="472" y="437"/>
                  </a:lnTo>
                  <a:lnTo>
                    <a:pt x="471" y="438"/>
                  </a:lnTo>
                  <a:lnTo>
                    <a:pt x="472" y="439"/>
                  </a:lnTo>
                  <a:lnTo>
                    <a:pt x="471" y="439"/>
                  </a:lnTo>
                  <a:lnTo>
                    <a:pt x="469" y="439"/>
                  </a:lnTo>
                  <a:lnTo>
                    <a:pt x="468" y="439"/>
                  </a:lnTo>
                  <a:lnTo>
                    <a:pt x="468" y="438"/>
                  </a:lnTo>
                  <a:lnTo>
                    <a:pt x="467" y="439"/>
                  </a:lnTo>
                  <a:lnTo>
                    <a:pt x="466" y="440"/>
                  </a:lnTo>
                  <a:lnTo>
                    <a:pt x="465" y="440"/>
                  </a:lnTo>
                  <a:lnTo>
                    <a:pt x="465" y="441"/>
                  </a:lnTo>
                  <a:lnTo>
                    <a:pt x="466" y="443"/>
                  </a:lnTo>
                  <a:lnTo>
                    <a:pt x="467" y="444"/>
                  </a:lnTo>
                  <a:lnTo>
                    <a:pt x="468" y="445"/>
                  </a:lnTo>
                  <a:lnTo>
                    <a:pt x="467" y="445"/>
                  </a:lnTo>
                  <a:lnTo>
                    <a:pt x="466" y="445"/>
                  </a:lnTo>
                  <a:lnTo>
                    <a:pt x="465" y="444"/>
                  </a:lnTo>
                  <a:lnTo>
                    <a:pt x="463" y="444"/>
                  </a:lnTo>
                  <a:lnTo>
                    <a:pt x="462" y="443"/>
                  </a:lnTo>
                  <a:lnTo>
                    <a:pt x="461" y="441"/>
                  </a:lnTo>
                  <a:lnTo>
                    <a:pt x="460" y="443"/>
                  </a:lnTo>
                  <a:lnTo>
                    <a:pt x="460" y="444"/>
                  </a:lnTo>
                  <a:lnTo>
                    <a:pt x="460" y="445"/>
                  </a:lnTo>
                  <a:lnTo>
                    <a:pt x="460" y="446"/>
                  </a:lnTo>
                  <a:lnTo>
                    <a:pt x="461" y="446"/>
                  </a:lnTo>
                  <a:lnTo>
                    <a:pt x="461" y="447"/>
                  </a:lnTo>
                  <a:lnTo>
                    <a:pt x="463" y="447"/>
                  </a:lnTo>
                  <a:lnTo>
                    <a:pt x="465" y="447"/>
                  </a:lnTo>
                  <a:lnTo>
                    <a:pt x="466" y="447"/>
                  </a:lnTo>
                  <a:lnTo>
                    <a:pt x="467" y="447"/>
                  </a:lnTo>
                  <a:lnTo>
                    <a:pt x="467" y="449"/>
                  </a:lnTo>
                  <a:lnTo>
                    <a:pt x="468" y="449"/>
                  </a:lnTo>
                  <a:lnTo>
                    <a:pt x="469" y="449"/>
                  </a:lnTo>
                  <a:lnTo>
                    <a:pt x="471" y="449"/>
                  </a:lnTo>
                  <a:lnTo>
                    <a:pt x="473" y="449"/>
                  </a:lnTo>
                  <a:lnTo>
                    <a:pt x="474" y="449"/>
                  </a:lnTo>
                  <a:lnTo>
                    <a:pt x="475" y="449"/>
                  </a:lnTo>
                  <a:lnTo>
                    <a:pt x="477" y="450"/>
                  </a:lnTo>
                  <a:lnTo>
                    <a:pt x="478" y="450"/>
                  </a:lnTo>
                  <a:lnTo>
                    <a:pt x="479" y="450"/>
                  </a:lnTo>
                  <a:lnTo>
                    <a:pt x="480" y="450"/>
                  </a:lnTo>
                  <a:lnTo>
                    <a:pt x="481" y="450"/>
                  </a:lnTo>
                  <a:lnTo>
                    <a:pt x="481" y="451"/>
                  </a:lnTo>
                  <a:lnTo>
                    <a:pt x="483" y="451"/>
                  </a:lnTo>
                  <a:lnTo>
                    <a:pt x="484" y="451"/>
                  </a:lnTo>
                  <a:lnTo>
                    <a:pt x="485" y="451"/>
                  </a:lnTo>
                  <a:lnTo>
                    <a:pt x="486" y="451"/>
                  </a:lnTo>
                  <a:lnTo>
                    <a:pt x="492" y="451"/>
                  </a:lnTo>
                  <a:lnTo>
                    <a:pt x="493" y="451"/>
                  </a:lnTo>
                  <a:lnTo>
                    <a:pt x="495" y="451"/>
                  </a:lnTo>
                  <a:lnTo>
                    <a:pt x="496" y="451"/>
                  </a:lnTo>
                  <a:lnTo>
                    <a:pt x="498" y="451"/>
                  </a:lnTo>
                  <a:lnTo>
                    <a:pt x="499" y="451"/>
                  </a:lnTo>
                  <a:lnTo>
                    <a:pt x="501" y="452"/>
                  </a:lnTo>
                  <a:lnTo>
                    <a:pt x="502" y="452"/>
                  </a:lnTo>
                  <a:lnTo>
                    <a:pt x="503" y="451"/>
                  </a:lnTo>
                  <a:lnTo>
                    <a:pt x="504" y="451"/>
                  </a:lnTo>
                  <a:lnTo>
                    <a:pt x="505" y="452"/>
                  </a:lnTo>
                  <a:lnTo>
                    <a:pt x="507" y="452"/>
                  </a:lnTo>
                  <a:lnTo>
                    <a:pt x="507" y="451"/>
                  </a:lnTo>
                  <a:lnTo>
                    <a:pt x="507" y="450"/>
                  </a:lnTo>
                  <a:lnTo>
                    <a:pt x="508" y="450"/>
                  </a:lnTo>
                  <a:lnTo>
                    <a:pt x="508" y="451"/>
                  </a:lnTo>
                  <a:lnTo>
                    <a:pt x="510" y="451"/>
                  </a:lnTo>
                  <a:lnTo>
                    <a:pt x="511" y="451"/>
                  </a:lnTo>
                  <a:lnTo>
                    <a:pt x="511" y="452"/>
                  </a:lnTo>
                  <a:lnTo>
                    <a:pt x="510" y="452"/>
                  </a:lnTo>
                  <a:lnTo>
                    <a:pt x="510" y="454"/>
                  </a:lnTo>
                  <a:lnTo>
                    <a:pt x="511" y="454"/>
                  </a:lnTo>
                  <a:lnTo>
                    <a:pt x="513" y="454"/>
                  </a:lnTo>
                  <a:lnTo>
                    <a:pt x="514" y="455"/>
                  </a:lnTo>
                  <a:lnTo>
                    <a:pt x="515" y="454"/>
                  </a:lnTo>
                  <a:lnTo>
                    <a:pt x="516" y="454"/>
                  </a:lnTo>
                  <a:lnTo>
                    <a:pt x="518" y="454"/>
                  </a:lnTo>
                  <a:lnTo>
                    <a:pt x="518" y="452"/>
                  </a:lnTo>
                  <a:lnTo>
                    <a:pt x="519" y="452"/>
                  </a:lnTo>
                  <a:lnTo>
                    <a:pt x="520" y="454"/>
                  </a:lnTo>
                  <a:lnTo>
                    <a:pt x="519" y="454"/>
                  </a:lnTo>
                  <a:lnTo>
                    <a:pt x="519" y="455"/>
                  </a:lnTo>
                  <a:lnTo>
                    <a:pt x="520" y="455"/>
                  </a:lnTo>
                  <a:lnTo>
                    <a:pt x="521" y="456"/>
                  </a:lnTo>
                  <a:lnTo>
                    <a:pt x="522" y="456"/>
                  </a:lnTo>
                  <a:lnTo>
                    <a:pt x="522" y="455"/>
                  </a:lnTo>
                  <a:lnTo>
                    <a:pt x="524" y="455"/>
                  </a:lnTo>
                  <a:lnTo>
                    <a:pt x="524" y="456"/>
                  </a:lnTo>
                  <a:lnTo>
                    <a:pt x="525" y="456"/>
                  </a:lnTo>
                  <a:lnTo>
                    <a:pt x="526" y="456"/>
                  </a:lnTo>
                  <a:lnTo>
                    <a:pt x="527" y="455"/>
                  </a:lnTo>
                  <a:lnTo>
                    <a:pt x="528" y="456"/>
                  </a:lnTo>
                  <a:lnTo>
                    <a:pt x="531" y="456"/>
                  </a:lnTo>
                  <a:lnTo>
                    <a:pt x="532" y="456"/>
                  </a:lnTo>
                  <a:lnTo>
                    <a:pt x="536" y="455"/>
                  </a:lnTo>
                  <a:lnTo>
                    <a:pt x="537" y="456"/>
                  </a:lnTo>
                  <a:lnTo>
                    <a:pt x="536" y="456"/>
                  </a:lnTo>
                  <a:lnTo>
                    <a:pt x="536" y="457"/>
                  </a:lnTo>
                  <a:lnTo>
                    <a:pt x="534" y="457"/>
                  </a:lnTo>
                  <a:lnTo>
                    <a:pt x="532" y="457"/>
                  </a:lnTo>
                  <a:lnTo>
                    <a:pt x="531" y="457"/>
                  </a:lnTo>
                  <a:lnTo>
                    <a:pt x="530" y="457"/>
                  </a:lnTo>
                  <a:lnTo>
                    <a:pt x="528" y="457"/>
                  </a:lnTo>
                  <a:lnTo>
                    <a:pt x="528" y="458"/>
                  </a:lnTo>
                  <a:lnTo>
                    <a:pt x="530" y="460"/>
                  </a:lnTo>
                  <a:lnTo>
                    <a:pt x="530" y="461"/>
                  </a:lnTo>
                  <a:lnTo>
                    <a:pt x="528" y="461"/>
                  </a:lnTo>
                  <a:lnTo>
                    <a:pt x="528" y="460"/>
                  </a:lnTo>
                  <a:lnTo>
                    <a:pt x="527" y="458"/>
                  </a:lnTo>
                  <a:lnTo>
                    <a:pt x="526" y="458"/>
                  </a:lnTo>
                  <a:lnTo>
                    <a:pt x="525" y="457"/>
                  </a:lnTo>
                  <a:lnTo>
                    <a:pt x="524" y="457"/>
                  </a:lnTo>
                  <a:lnTo>
                    <a:pt x="524" y="458"/>
                  </a:lnTo>
                  <a:lnTo>
                    <a:pt x="524" y="460"/>
                  </a:lnTo>
                  <a:lnTo>
                    <a:pt x="524" y="461"/>
                  </a:lnTo>
                  <a:lnTo>
                    <a:pt x="522" y="460"/>
                  </a:lnTo>
                  <a:lnTo>
                    <a:pt x="522" y="458"/>
                  </a:lnTo>
                  <a:lnTo>
                    <a:pt x="521" y="457"/>
                  </a:lnTo>
                  <a:lnTo>
                    <a:pt x="520" y="457"/>
                  </a:lnTo>
                  <a:lnTo>
                    <a:pt x="519" y="457"/>
                  </a:lnTo>
                  <a:lnTo>
                    <a:pt x="519" y="458"/>
                  </a:lnTo>
                  <a:lnTo>
                    <a:pt x="520" y="460"/>
                  </a:lnTo>
                  <a:lnTo>
                    <a:pt x="519" y="461"/>
                  </a:lnTo>
                  <a:lnTo>
                    <a:pt x="520" y="461"/>
                  </a:lnTo>
                  <a:lnTo>
                    <a:pt x="520" y="462"/>
                  </a:lnTo>
                  <a:lnTo>
                    <a:pt x="520" y="463"/>
                  </a:lnTo>
                  <a:lnTo>
                    <a:pt x="519" y="463"/>
                  </a:lnTo>
                  <a:lnTo>
                    <a:pt x="519" y="464"/>
                  </a:lnTo>
                  <a:lnTo>
                    <a:pt x="519" y="466"/>
                  </a:lnTo>
                  <a:lnTo>
                    <a:pt x="520" y="466"/>
                  </a:lnTo>
                  <a:lnTo>
                    <a:pt x="520" y="467"/>
                  </a:lnTo>
                  <a:lnTo>
                    <a:pt x="519" y="467"/>
                  </a:lnTo>
                  <a:lnTo>
                    <a:pt x="519" y="468"/>
                  </a:lnTo>
                  <a:lnTo>
                    <a:pt x="520" y="468"/>
                  </a:lnTo>
                  <a:lnTo>
                    <a:pt x="521" y="468"/>
                  </a:lnTo>
                  <a:lnTo>
                    <a:pt x="522" y="468"/>
                  </a:lnTo>
                  <a:lnTo>
                    <a:pt x="524" y="468"/>
                  </a:lnTo>
                  <a:lnTo>
                    <a:pt x="525" y="468"/>
                  </a:lnTo>
                  <a:lnTo>
                    <a:pt x="526" y="468"/>
                  </a:lnTo>
                  <a:lnTo>
                    <a:pt x="527" y="467"/>
                  </a:lnTo>
                  <a:lnTo>
                    <a:pt x="528" y="467"/>
                  </a:lnTo>
                  <a:lnTo>
                    <a:pt x="530" y="467"/>
                  </a:lnTo>
                  <a:lnTo>
                    <a:pt x="531" y="467"/>
                  </a:lnTo>
                  <a:lnTo>
                    <a:pt x="531" y="466"/>
                  </a:lnTo>
                  <a:lnTo>
                    <a:pt x="532" y="466"/>
                  </a:lnTo>
                  <a:lnTo>
                    <a:pt x="533" y="466"/>
                  </a:lnTo>
                  <a:lnTo>
                    <a:pt x="534" y="466"/>
                  </a:lnTo>
                  <a:lnTo>
                    <a:pt x="536" y="466"/>
                  </a:lnTo>
                  <a:lnTo>
                    <a:pt x="537" y="466"/>
                  </a:lnTo>
                  <a:lnTo>
                    <a:pt x="538" y="466"/>
                  </a:lnTo>
                  <a:lnTo>
                    <a:pt x="539" y="466"/>
                  </a:lnTo>
                  <a:lnTo>
                    <a:pt x="540" y="466"/>
                  </a:lnTo>
                  <a:lnTo>
                    <a:pt x="542" y="466"/>
                  </a:lnTo>
                  <a:lnTo>
                    <a:pt x="543" y="466"/>
                  </a:lnTo>
                  <a:lnTo>
                    <a:pt x="544" y="466"/>
                  </a:lnTo>
                  <a:lnTo>
                    <a:pt x="545" y="466"/>
                  </a:lnTo>
                  <a:lnTo>
                    <a:pt x="548" y="464"/>
                  </a:lnTo>
                  <a:lnTo>
                    <a:pt x="549" y="463"/>
                  </a:lnTo>
                  <a:lnTo>
                    <a:pt x="550" y="463"/>
                  </a:lnTo>
                  <a:lnTo>
                    <a:pt x="551" y="463"/>
                  </a:lnTo>
                  <a:lnTo>
                    <a:pt x="552" y="463"/>
                  </a:lnTo>
                  <a:lnTo>
                    <a:pt x="551" y="464"/>
                  </a:lnTo>
                  <a:lnTo>
                    <a:pt x="550" y="464"/>
                  </a:lnTo>
                  <a:lnTo>
                    <a:pt x="549" y="464"/>
                  </a:lnTo>
                  <a:lnTo>
                    <a:pt x="549" y="466"/>
                  </a:lnTo>
                  <a:lnTo>
                    <a:pt x="548" y="466"/>
                  </a:lnTo>
                  <a:lnTo>
                    <a:pt x="546" y="467"/>
                  </a:lnTo>
                  <a:lnTo>
                    <a:pt x="548" y="467"/>
                  </a:lnTo>
                  <a:lnTo>
                    <a:pt x="548" y="468"/>
                  </a:lnTo>
                  <a:lnTo>
                    <a:pt x="550" y="468"/>
                  </a:lnTo>
                  <a:lnTo>
                    <a:pt x="551" y="468"/>
                  </a:lnTo>
                  <a:lnTo>
                    <a:pt x="552" y="468"/>
                  </a:lnTo>
                  <a:lnTo>
                    <a:pt x="554" y="468"/>
                  </a:lnTo>
                  <a:lnTo>
                    <a:pt x="555" y="468"/>
                  </a:lnTo>
                  <a:lnTo>
                    <a:pt x="555" y="469"/>
                  </a:lnTo>
                  <a:lnTo>
                    <a:pt x="552" y="469"/>
                  </a:lnTo>
                  <a:lnTo>
                    <a:pt x="551" y="469"/>
                  </a:lnTo>
                  <a:lnTo>
                    <a:pt x="552" y="470"/>
                  </a:lnTo>
                  <a:lnTo>
                    <a:pt x="554" y="470"/>
                  </a:lnTo>
                  <a:lnTo>
                    <a:pt x="555" y="472"/>
                  </a:lnTo>
                  <a:lnTo>
                    <a:pt x="556" y="472"/>
                  </a:lnTo>
                  <a:lnTo>
                    <a:pt x="557" y="470"/>
                  </a:lnTo>
                  <a:lnTo>
                    <a:pt x="558" y="470"/>
                  </a:lnTo>
                  <a:lnTo>
                    <a:pt x="560" y="470"/>
                  </a:lnTo>
                  <a:lnTo>
                    <a:pt x="561" y="470"/>
                  </a:lnTo>
                  <a:lnTo>
                    <a:pt x="561" y="472"/>
                  </a:lnTo>
                  <a:lnTo>
                    <a:pt x="560" y="472"/>
                  </a:lnTo>
                  <a:lnTo>
                    <a:pt x="558" y="472"/>
                  </a:lnTo>
                  <a:lnTo>
                    <a:pt x="558" y="473"/>
                  </a:lnTo>
                  <a:lnTo>
                    <a:pt x="563" y="473"/>
                  </a:lnTo>
                  <a:lnTo>
                    <a:pt x="562" y="473"/>
                  </a:lnTo>
                  <a:lnTo>
                    <a:pt x="561" y="473"/>
                  </a:lnTo>
                  <a:lnTo>
                    <a:pt x="560" y="473"/>
                  </a:lnTo>
                  <a:lnTo>
                    <a:pt x="558" y="473"/>
                  </a:lnTo>
                  <a:lnTo>
                    <a:pt x="558" y="474"/>
                  </a:lnTo>
                  <a:lnTo>
                    <a:pt x="557" y="474"/>
                  </a:lnTo>
                  <a:lnTo>
                    <a:pt x="556" y="474"/>
                  </a:lnTo>
                  <a:lnTo>
                    <a:pt x="556" y="473"/>
                  </a:lnTo>
                  <a:lnTo>
                    <a:pt x="555" y="473"/>
                  </a:lnTo>
                  <a:lnTo>
                    <a:pt x="555" y="474"/>
                  </a:lnTo>
                  <a:lnTo>
                    <a:pt x="555" y="476"/>
                  </a:lnTo>
                  <a:lnTo>
                    <a:pt x="555" y="479"/>
                  </a:lnTo>
                  <a:lnTo>
                    <a:pt x="555" y="480"/>
                  </a:lnTo>
                  <a:lnTo>
                    <a:pt x="554" y="480"/>
                  </a:lnTo>
                  <a:lnTo>
                    <a:pt x="552" y="479"/>
                  </a:lnTo>
                  <a:lnTo>
                    <a:pt x="552" y="476"/>
                  </a:lnTo>
                  <a:lnTo>
                    <a:pt x="552" y="478"/>
                  </a:lnTo>
                  <a:lnTo>
                    <a:pt x="552" y="479"/>
                  </a:lnTo>
                  <a:lnTo>
                    <a:pt x="552" y="480"/>
                  </a:lnTo>
                  <a:lnTo>
                    <a:pt x="551" y="480"/>
                  </a:lnTo>
                  <a:lnTo>
                    <a:pt x="550" y="480"/>
                  </a:lnTo>
                  <a:lnTo>
                    <a:pt x="550" y="479"/>
                  </a:lnTo>
                  <a:lnTo>
                    <a:pt x="550" y="476"/>
                  </a:lnTo>
                  <a:lnTo>
                    <a:pt x="551" y="474"/>
                  </a:lnTo>
                  <a:lnTo>
                    <a:pt x="551" y="473"/>
                  </a:lnTo>
                  <a:lnTo>
                    <a:pt x="550" y="472"/>
                  </a:lnTo>
                  <a:lnTo>
                    <a:pt x="549" y="472"/>
                  </a:lnTo>
                  <a:lnTo>
                    <a:pt x="548" y="470"/>
                  </a:lnTo>
                  <a:lnTo>
                    <a:pt x="546" y="470"/>
                  </a:lnTo>
                  <a:lnTo>
                    <a:pt x="548" y="472"/>
                  </a:lnTo>
                  <a:lnTo>
                    <a:pt x="549" y="473"/>
                  </a:lnTo>
                  <a:lnTo>
                    <a:pt x="550" y="474"/>
                  </a:lnTo>
                  <a:lnTo>
                    <a:pt x="550" y="475"/>
                  </a:lnTo>
                  <a:lnTo>
                    <a:pt x="549" y="475"/>
                  </a:lnTo>
                  <a:lnTo>
                    <a:pt x="549" y="476"/>
                  </a:lnTo>
                  <a:lnTo>
                    <a:pt x="549" y="478"/>
                  </a:lnTo>
                  <a:lnTo>
                    <a:pt x="550" y="478"/>
                  </a:lnTo>
                  <a:lnTo>
                    <a:pt x="550" y="479"/>
                  </a:lnTo>
                  <a:lnTo>
                    <a:pt x="549" y="480"/>
                  </a:lnTo>
                  <a:lnTo>
                    <a:pt x="549" y="481"/>
                  </a:lnTo>
                  <a:lnTo>
                    <a:pt x="549" y="484"/>
                  </a:lnTo>
                  <a:lnTo>
                    <a:pt x="549" y="485"/>
                  </a:lnTo>
                  <a:lnTo>
                    <a:pt x="548" y="484"/>
                  </a:lnTo>
                  <a:lnTo>
                    <a:pt x="548" y="475"/>
                  </a:lnTo>
                  <a:lnTo>
                    <a:pt x="546" y="475"/>
                  </a:lnTo>
                  <a:lnTo>
                    <a:pt x="546" y="476"/>
                  </a:lnTo>
                  <a:lnTo>
                    <a:pt x="546" y="478"/>
                  </a:lnTo>
                  <a:lnTo>
                    <a:pt x="546" y="479"/>
                  </a:lnTo>
                  <a:lnTo>
                    <a:pt x="546" y="480"/>
                  </a:lnTo>
                  <a:lnTo>
                    <a:pt x="546" y="481"/>
                  </a:lnTo>
                  <a:lnTo>
                    <a:pt x="546" y="482"/>
                  </a:lnTo>
                  <a:lnTo>
                    <a:pt x="546" y="484"/>
                  </a:lnTo>
                  <a:lnTo>
                    <a:pt x="546" y="487"/>
                  </a:lnTo>
                  <a:lnTo>
                    <a:pt x="545" y="487"/>
                  </a:lnTo>
                  <a:lnTo>
                    <a:pt x="544" y="487"/>
                  </a:lnTo>
                  <a:lnTo>
                    <a:pt x="544" y="486"/>
                  </a:lnTo>
                  <a:lnTo>
                    <a:pt x="544" y="479"/>
                  </a:lnTo>
                  <a:lnTo>
                    <a:pt x="543" y="479"/>
                  </a:lnTo>
                  <a:lnTo>
                    <a:pt x="543" y="480"/>
                  </a:lnTo>
                  <a:lnTo>
                    <a:pt x="543" y="481"/>
                  </a:lnTo>
                  <a:lnTo>
                    <a:pt x="542" y="480"/>
                  </a:lnTo>
                  <a:lnTo>
                    <a:pt x="540" y="480"/>
                  </a:lnTo>
                  <a:lnTo>
                    <a:pt x="540" y="479"/>
                  </a:lnTo>
                  <a:lnTo>
                    <a:pt x="539" y="478"/>
                  </a:lnTo>
                  <a:lnTo>
                    <a:pt x="538" y="479"/>
                  </a:lnTo>
                  <a:lnTo>
                    <a:pt x="537" y="479"/>
                  </a:lnTo>
                  <a:lnTo>
                    <a:pt x="537" y="478"/>
                  </a:lnTo>
                  <a:lnTo>
                    <a:pt x="537" y="476"/>
                  </a:lnTo>
                  <a:lnTo>
                    <a:pt x="537" y="475"/>
                  </a:lnTo>
                  <a:lnTo>
                    <a:pt x="537" y="474"/>
                  </a:lnTo>
                  <a:lnTo>
                    <a:pt x="536" y="474"/>
                  </a:lnTo>
                  <a:lnTo>
                    <a:pt x="536" y="475"/>
                  </a:lnTo>
                  <a:lnTo>
                    <a:pt x="534" y="475"/>
                  </a:lnTo>
                  <a:lnTo>
                    <a:pt x="534" y="476"/>
                  </a:lnTo>
                  <a:lnTo>
                    <a:pt x="534" y="478"/>
                  </a:lnTo>
                  <a:lnTo>
                    <a:pt x="534" y="479"/>
                  </a:lnTo>
                  <a:lnTo>
                    <a:pt x="536" y="480"/>
                  </a:lnTo>
                  <a:lnTo>
                    <a:pt x="537" y="480"/>
                  </a:lnTo>
                  <a:lnTo>
                    <a:pt x="537" y="481"/>
                  </a:lnTo>
                  <a:lnTo>
                    <a:pt x="536" y="481"/>
                  </a:lnTo>
                  <a:lnTo>
                    <a:pt x="534" y="481"/>
                  </a:lnTo>
                  <a:lnTo>
                    <a:pt x="536" y="482"/>
                  </a:lnTo>
                  <a:lnTo>
                    <a:pt x="534" y="482"/>
                  </a:lnTo>
                  <a:lnTo>
                    <a:pt x="534" y="484"/>
                  </a:lnTo>
                  <a:lnTo>
                    <a:pt x="534" y="485"/>
                  </a:lnTo>
                  <a:lnTo>
                    <a:pt x="533" y="485"/>
                  </a:lnTo>
                  <a:lnTo>
                    <a:pt x="533" y="484"/>
                  </a:lnTo>
                  <a:lnTo>
                    <a:pt x="533" y="482"/>
                  </a:lnTo>
                  <a:lnTo>
                    <a:pt x="532" y="482"/>
                  </a:lnTo>
                  <a:lnTo>
                    <a:pt x="531" y="482"/>
                  </a:lnTo>
                  <a:lnTo>
                    <a:pt x="531" y="484"/>
                  </a:lnTo>
                  <a:lnTo>
                    <a:pt x="531" y="485"/>
                  </a:lnTo>
                  <a:lnTo>
                    <a:pt x="532" y="485"/>
                  </a:lnTo>
                  <a:lnTo>
                    <a:pt x="532" y="486"/>
                  </a:lnTo>
                  <a:lnTo>
                    <a:pt x="533" y="487"/>
                  </a:lnTo>
                  <a:lnTo>
                    <a:pt x="533" y="488"/>
                  </a:lnTo>
                  <a:lnTo>
                    <a:pt x="533" y="490"/>
                  </a:lnTo>
                  <a:lnTo>
                    <a:pt x="533" y="491"/>
                  </a:lnTo>
                  <a:lnTo>
                    <a:pt x="532" y="491"/>
                  </a:lnTo>
                  <a:lnTo>
                    <a:pt x="533" y="492"/>
                  </a:lnTo>
                  <a:lnTo>
                    <a:pt x="534" y="492"/>
                  </a:lnTo>
                  <a:lnTo>
                    <a:pt x="536" y="493"/>
                  </a:lnTo>
                  <a:lnTo>
                    <a:pt x="537" y="493"/>
                  </a:lnTo>
                  <a:lnTo>
                    <a:pt x="538" y="494"/>
                  </a:lnTo>
                  <a:lnTo>
                    <a:pt x="539" y="496"/>
                  </a:lnTo>
                  <a:lnTo>
                    <a:pt x="540" y="497"/>
                  </a:lnTo>
                  <a:lnTo>
                    <a:pt x="540" y="498"/>
                  </a:lnTo>
                  <a:lnTo>
                    <a:pt x="542" y="498"/>
                  </a:lnTo>
                  <a:lnTo>
                    <a:pt x="544" y="498"/>
                  </a:lnTo>
                  <a:lnTo>
                    <a:pt x="546" y="498"/>
                  </a:lnTo>
                  <a:lnTo>
                    <a:pt x="546" y="499"/>
                  </a:lnTo>
                  <a:lnTo>
                    <a:pt x="548" y="500"/>
                  </a:lnTo>
                  <a:lnTo>
                    <a:pt x="549" y="500"/>
                  </a:lnTo>
                  <a:lnTo>
                    <a:pt x="550" y="499"/>
                  </a:lnTo>
                  <a:lnTo>
                    <a:pt x="551" y="499"/>
                  </a:lnTo>
                  <a:lnTo>
                    <a:pt x="552" y="499"/>
                  </a:lnTo>
                  <a:lnTo>
                    <a:pt x="554" y="498"/>
                  </a:lnTo>
                  <a:lnTo>
                    <a:pt x="555" y="499"/>
                  </a:lnTo>
                  <a:lnTo>
                    <a:pt x="554" y="499"/>
                  </a:lnTo>
                  <a:lnTo>
                    <a:pt x="554" y="500"/>
                  </a:lnTo>
                  <a:lnTo>
                    <a:pt x="555" y="500"/>
                  </a:lnTo>
                  <a:lnTo>
                    <a:pt x="556" y="500"/>
                  </a:lnTo>
                  <a:lnTo>
                    <a:pt x="556" y="502"/>
                  </a:lnTo>
                  <a:lnTo>
                    <a:pt x="557" y="502"/>
                  </a:lnTo>
                  <a:lnTo>
                    <a:pt x="556" y="502"/>
                  </a:lnTo>
                  <a:lnTo>
                    <a:pt x="555" y="502"/>
                  </a:lnTo>
                  <a:lnTo>
                    <a:pt x="554" y="502"/>
                  </a:lnTo>
                  <a:lnTo>
                    <a:pt x="552" y="502"/>
                  </a:lnTo>
                  <a:lnTo>
                    <a:pt x="552" y="503"/>
                  </a:lnTo>
                  <a:lnTo>
                    <a:pt x="554" y="503"/>
                  </a:lnTo>
                  <a:lnTo>
                    <a:pt x="554" y="504"/>
                  </a:lnTo>
                  <a:lnTo>
                    <a:pt x="552" y="504"/>
                  </a:lnTo>
                  <a:lnTo>
                    <a:pt x="551" y="503"/>
                  </a:lnTo>
                  <a:lnTo>
                    <a:pt x="550" y="503"/>
                  </a:lnTo>
                  <a:lnTo>
                    <a:pt x="550" y="502"/>
                  </a:lnTo>
                  <a:lnTo>
                    <a:pt x="550" y="503"/>
                  </a:lnTo>
                  <a:lnTo>
                    <a:pt x="550" y="504"/>
                  </a:lnTo>
                  <a:lnTo>
                    <a:pt x="549" y="504"/>
                  </a:lnTo>
                  <a:lnTo>
                    <a:pt x="549" y="503"/>
                  </a:lnTo>
                  <a:lnTo>
                    <a:pt x="549" y="502"/>
                  </a:lnTo>
                  <a:lnTo>
                    <a:pt x="549" y="500"/>
                  </a:lnTo>
                  <a:lnTo>
                    <a:pt x="548" y="500"/>
                  </a:lnTo>
                  <a:lnTo>
                    <a:pt x="548" y="502"/>
                  </a:lnTo>
                  <a:lnTo>
                    <a:pt x="548" y="503"/>
                  </a:lnTo>
                  <a:lnTo>
                    <a:pt x="548" y="504"/>
                  </a:lnTo>
                  <a:lnTo>
                    <a:pt x="548" y="505"/>
                  </a:lnTo>
                  <a:lnTo>
                    <a:pt x="548" y="506"/>
                  </a:lnTo>
                  <a:lnTo>
                    <a:pt x="548" y="508"/>
                  </a:lnTo>
                  <a:lnTo>
                    <a:pt x="549" y="508"/>
                  </a:lnTo>
                  <a:lnTo>
                    <a:pt x="550" y="508"/>
                  </a:lnTo>
                  <a:lnTo>
                    <a:pt x="554" y="508"/>
                  </a:lnTo>
                  <a:lnTo>
                    <a:pt x="555" y="508"/>
                  </a:lnTo>
                  <a:lnTo>
                    <a:pt x="555" y="506"/>
                  </a:lnTo>
                  <a:lnTo>
                    <a:pt x="556" y="506"/>
                  </a:lnTo>
                  <a:lnTo>
                    <a:pt x="557" y="506"/>
                  </a:lnTo>
                  <a:lnTo>
                    <a:pt x="558" y="506"/>
                  </a:lnTo>
                  <a:lnTo>
                    <a:pt x="558" y="505"/>
                  </a:lnTo>
                  <a:lnTo>
                    <a:pt x="558" y="506"/>
                  </a:lnTo>
                  <a:lnTo>
                    <a:pt x="560" y="506"/>
                  </a:lnTo>
                  <a:lnTo>
                    <a:pt x="560" y="505"/>
                  </a:lnTo>
                  <a:lnTo>
                    <a:pt x="561" y="505"/>
                  </a:lnTo>
                  <a:lnTo>
                    <a:pt x="561" y="506"/>
                  </a:lnTo>
                  <a:lnTo>
                    <a:pt x="563" y="505"/>
                  </a:lnTo>
                  <a:lnTo>
                    <a:pt x="566" y="505"/>
                  </a:lnTo>
                  <a:lnTo>
                    <a:pt x="567" y="505"/>
                  </a:lnTo>
                  <a:lnTo>
                    <a:pt x="567" y="506"/>
                  </a:lnTo>
                  <a:lnTo>
                    <a:pt x="566" y="506"/>
                  </a:lnTo>
                  <a:lnTo>
                    <a:pt x="564" y="506"/>
                  </a:lnTo>
                  <a:lnTo>
                    <a:pt x="563" y="506"/>
                  </a:lnTo>
                  <a:lnTo>
                    <a:pt x="563" y="508"/>
                  </a:lnTo>
                  <a:lnTo>
                    <a:pt x="563" y="509"/>
                  </a:lnTo>
                  <a:lnTo>
                    <a:pt x="562" y="509"/>
                  </a:lnTo>
                  <a:lnTo>
                    <a:pt x="561" y="509"/>
                  </a:lnTo>
                  <a:lnTo>
                    <a:pt x="560" y="508"/>
                  </a:lnTo>
                  <a:lnTo>
                    <a:pt x="558" y="508"/>
                  </a:lnTo>
                  <a:lnTo>
                    <a:pt x="558" y="509"/>
                  </a:lnTo>
                  <a:lnTo>
                    <a:pt x="560" y="509"/>
                  </a:lnTo>
                  <a:lnTo>
                    <a:pt x="560" y="510"/>
                  </a:lnTo>
                  <a:lnTo>
                    <a:pt x="558" y="510"/>
                  </a:lnTo>
                  <a:lnTo>
                    <a:pt x="558" y="509"/>
                  </a:lnTo>
                  <a:lnTo>
                    <a:pt x="557" y="510"/>
                  </a:lnTo>
                  <a:lnTo>
                    <a:pt x="558" y="511"/>
                  </a:lnTo>
                  <a:lnTo>
                    <a:pt x="557" y="511"/>
                  </a:lnTo>
                  <a:lnTo>
                    <a:pt x="557" y="510"/>
                  </a:lnTo>
                  <a:lnTo>
                    <a:pt x="557" y="509"/>
                  </a:lnTo>
                  <a:lnTo>
                    <a:pt x="556" y="509"/>
                  </a:lnTo>
                  <a:lnTo>
                    <a:pt x="554" y="509"/>
                  </a:lnTo>
                  <a:lnTo>
                    <a:pt x="556" y="510"/>
                  </a:lnTo>
                  <a:lnTo>
                    <a:pt x="556" y="511"/>
                  </a:lnTo>
                  <a:lnTo>
                    <a:pt x="556" y="512"/>
                  </a:lnTo>
                  <a:lnTo>
                    <a:pt x="555" y="512"/>
                  </a:lnTo>
                  <a:lnTo>
                    <a:pt x="555" y="511"/>
                  </a:lnTo>
                  <a:lnTo>
                    <a:pt x="555" y="510"/>
                  </a:lnTo>
                  <a:lnTo>
                    <a:pt x="554" y="510"/>
                  </a:lnTo>
                  <a:lnTo>
                    <a:pt x="552" y="510"/>
                  </a:lnTo>
                  <a:lnTo>
                    <a:pt x="551" y="509"/>
                  </a:lnTo>
                  <a:lnTo>
                    <a:pt x="551" y="510"/>
                  </a:lnTo>
                  <a:lnTo>
                    <a:pt x="552" y="511"/>
                  </a:lnTo>
                  <a:lnTo>
                    <a:pt x="554" y="512"/>
                  </a:lnTo>
                  <a:lnTo>
                    <a:pt x="552" y="514"/>
                  </a:lnTo>
                  <a:lnTo>
                    <a:pt x="554" y="515"/>
                  </a:lnTo>
                  <a:lnTo>
                    <a:pt x="554" y="516"/>
                  </a:lnTo>
                  <a:lnTo>
                    <a:pt x="555" y="516"/>
                  </a:lnTo>
                  <a:lnTo>
                    <a:pt x="556" y="515"/>
                  </a:lnTo>
                  <a:lnTo>
                    <a:pt x="557" y="515"/>
                  </a:lnTo>
                  <a:lnTo>
                    <a:pt x="557" y="516"/>
                  </a:lnTo>
                  <a:lnTo>
                    <a:pt x="556" y="516"/>
                  </a:lnTo>
                  <a:lnTo>
                    <a:pt x="555" y="516"/>
                  </a:lnTo>
                  <a:lnTo>
                    <a:pt x="556" y="517"/>
                  </a:lnTo>
                  <a:lnTo>
                    <a:pt x="557" y="517"/>
                  </a:lnTo>
                  <a:lnTo>
                    <a:pt x="558" y="518"/>
                  </a:lnTo>
                  <a:lnTo>
                    <a:pt x="560" y="518"/>
                  </a:lnTo>
                  <a:lnTo>
                    <a:pt x="562" y="518"/>
                  </a:lnTo>
                  <a:lnTo>
                    <a:pt x="561" y="520"/>
                  </a:lnTo>
                  <a:lnTo>
                    <a:pt x="560" y="520"/>
                  </a:lnTo>
                  <a:lnTo>
                    <a:pt x="558" y="520"/>
                  </a:lnTo>
                  <a:lnTo>
                    <a:pt x="557" y="520"/>
                  </a:lnTo>
                  <a:lnTo>
                    <a:pt x="557" y="518"/>
                  </a:lnTo>
                  <a:lnTo>
                    <a:pt x="556" y="518"/>
                  </a:lnTo>
                  <a:lnTo>
                    <a:pt x="556" y="520"/>
                  </a:lnTo>
                  <a:lnTo>
                    <a:pt x="557" y="520"/>
                  </a:lnTo>
                  <a:lnTo>
                    <a:pt x="558" y="521"/>
                  </a:lnTo>
                  <a:lnTo>
                    <a:pt x="558" y="522"/>
                  </a:lnTo>
                  <a:lnTo>
                    <a:pt x="560" y="522"/>
                  </a:lnTo>
                  <a:lnTo>
                    <a:pt x="558" y="522"/>
                  </a:lnTo>
                  <a:lnTo>
                    <a:pt x="557" y="522"/>
                  </a:lnTo>
                  <a:lnTo>
                    <a:pt x="556" y="522"/>
                  </a:lnTo>
                  <a:lnTo>
                    <a:pt x="556" y="523"/>
                  </a:lnTo>
                  <a:lnTo>
                    <a:pt x="557" y="524"/>
                  </a:lnTo>
                  <a:lnTo>
                    <a:pt x="557" y="526"/>
                  </a:lnTo>
                  <a:lnTo>
                    <a:pt x="556" y="524"/>
                  </a:lnTo>
                  <a:lnTo>
                    <a:pt x="555" y="524"/>
                  </a:lnTo>
                  <a:lnTo>
                    <a:pt x="555" y="523"/>
                  </a:lnTo>
                  <a:lnTo>
                    <a:pt x="555" y="522"/>
                  </a:lnTo>
                  <a:lnTo>
                    <a:pt x="554" y="521"/>
                  </a:lnTo>
                  <a:lnTo>
                    <a:pt x="552" y="521"/>
                  </a:lnTo>
                  <a:lnTo>
                    <a:pt x="552" y="522"/>
                  </a:lnTo>
                  <a:lnTo>
                    <a:pt x="552" y="523"/>
                  </a:lnTo>
                  <a:lnTo>
                    <a:pt x="551" y="523"/>
                  </a:lnTo>
                  <a:lnTo>
                    <a:pt x="551" y="530"/>
                  </a:lnTo>
                  <a:lnTo>
                    <a:pt x="551" y="532"/>
                  </a:lnTo>
                  <a:lnTo>
                    <a:pt x="550" y="532"/>
                  </a:lnTo>
                  <a:lnTo>
                    <a:pt x="549" y="532"/>
                  </a:lnTo>
                  <a:lnTo>
                    <a:pt x="549" y="529"/>
                  </a:lnTo>
                  <a:lnTo>
                    <a:pt x="549" y="528"/>
                  </a:lnTo>
                  <a:lnTo>
                    <a:pt x="549" y="529"/>
                  </a:lnTo>
                  <a:lnTo>
                    <a:pt x="548" y="529"/>
                  </a:lnTo>
                  <a:lnTo>
                    <a:pt x="548" y="528"/>
                  </a:lnTo>
                  <a:lnTo>
                    <a:pt x="546" y="528"/>
                  </a:lnTo>
                  <a:lnTo>
                    <a:pt x="546" y="527"/>
                  </a:lnTo>
                  <a:lnTo>
                    <a:pt x="545" y="527"/>
                  </a:lnTo>
                  <a:lnTo>
                    <a:pt x="545" y="526"/>
                  </a:lnTo>
                  <a:lnTo>
                    <a:pt x="544" y="526"/>
                  </a:lnTo>
                  <a:lnTo>
                    <a:pt x="543" y="527"/>
                  </a:lnTo>
                  <a:lnTo>
                    <a:pt x="542" y="527"/>
                  </a:lnTo>
                  <a:lnTo>
                    <a:pt x="542" y="526"/>
                  </a:lnTo>
                  <a:lnTo>
                    <a:pt x="540" y="526"/>
                  </a:lnTo>
                  <a:lnTo>
                    <a:pt x="540" y="528"/>
                  </a:lnTo>
                  <a:lnTo>
                    <a:pt x="539" y="529"/>
                  </a:lnTo>
                  <a:lnTo>
                    <a:pt x="540" y="530"/>
                  </a:lnTo>
                  <a:lnTo>
                    <a:pt x="540" y="532"/>
                  </a:lnTo>
                  <a:lnTo>
                    <a:pt x="542" y="533"/>
                  </a:lnTo>
                  <a:lnTo>
                    <a:pt x="542" y="534"/>
                  </a:lnTo>
                  <a:lnTo>
                    <a:pt x="540" y="534"/>
                  </a:lnTo>
                  <a:lnTo>
                    <a:pt x="540" y="533"/>
                  </a:lnTo>
                  <a:lnTo>
                    <a:pt x="539" y="532"/>
                  </a:lnTo>
                  <a:lnTo>
                    <a:pt x="539" y="533"/>
                  </a:lnTo>
                  <a:lnTo>
                    <a:pt x="538" y="534"/>
                  </a:lnTo>
                  <a:lnTo>
                    <a:pt x="537" y="533"/>
                  </a:lnTo>
                  <a:lnTo>
                    <a:pt x="537" y="532"/>
                  </a:lnTo>
                  <a:lnTo>
                    <a:pt x="536" y="530"/>
                  </a:lnTo>
                  <a:lnTo>
                    <a:pt x="536" y="532"/>
                  </a:lnTo>
                  <a:lnTo>
                    <a:pt x="536" y="530"/>
                  </a:lnTo>
                  <a:lnTo>
                    <a:pt x="534" y="529"/>
                  </a:lnTo>
                  <a:lnTo>
                    <a:pt x="533" y="530"/>
                  </a:lnTo>
                  <a:lnTo>
                    <a:pt x="533" y="529"/>
                  </a:lnTo>
                  <a:lnTo>
                    <a:pt x="532" y="529"/>
                  </a:lnTo>
                  <a:lnTo>
                    <a:pt x="532" y="530"/>
                  </a:lnTo>
                  <a:lnTo>
                    <a:pt x="531" y="532"/>
                  </a:lnTo>
                  <a:lnTo>
                    <a:pt x="530" y="533"/>
                  </a:lnTo>
                  <a:lnTo>
                    <a:pt x="528" y="534"/>
                  </a:lnTo>
                  <a:lnTo>
                    <a:pt x="528" y="533"/>
                  </a:lnTo>
                  <a:lnTo>
                    <a:pt x="528" y="530"/>
                  </a:lnTo>
                  <a:lnTo>
                    <a:pt x="527" y="530"/>
                  </a:lnTo>
                  <a:lnTo>
                    <a:pt x="526" y="532"/>
                  </a:lnTo>
                  <a:lnTo>
                    <a:pt x="525" y="532"/>
                  </a:lnTo>
                  <a:lnTo>
                    <a:pt x="526" y="533"/>
                  </a:lnTo>
                  <a:lnTo>
                    <a:pt x="526" y="534"/>
                  </a:lnTo>
                  <a:lnTo>
                    <a:pt x="527" y="535"/>
                  </a:lnTo>
                  <a:lnTo>
                    <a:pt x="527" y="536"/>
                  </a:lnTo>
                  <a:lnTo>
                    <a:pt x="526" y="535"/>
                  </a:lnTo>
                  <a:lnTo>
                    <a:pt x="525" y="535"/>
                  </a:lnTo>
                  <a:lnTo>
                    <a:pt x="524" y="535"/>
                  </a:lnTo>
                  <a:lnTo>
                    <a:pt x="521" y="538"/>
                  </a:lnTo>
                  <a:lnTo>
                    <a:pt x="520" y="539"/>
                  </a:lnTo>
                  <a:lnTo>
                    <a:pt x="521" y="541"/>
                  </a:lnTo>
                  <a:lnTo>
                    <a:pt x="522" y="541"/>
                  </a:lnTo>
                  <a:lnTo>
                    <a:pt x="524" y="542"/>
                  </a:lnTo>
                  <a:lnTo>
                    <a:pt x="525" y="542"/>
                  </a:lnTo>
                  <a:lnTo>
                    <a:pt x="526" y="541"/>
                  </a:lnTo>
                  <a:lnTo>
                    <a:pt x="527" y="542"/>
                  </a:lnTo>
                  <a:lnTo>
                    <a:pt x="528" y="542"/>
                  </a:lnTo>
                  <a:lnTo>
                    <a:pt x="530" y="542"/>
                  </a:lnTo>
                  <a:lnTo>
                    <a:pt x="531" y="541"/>
                  </a:lnTo>
                  <a:lnTo>
                    <a:pt x="532" y="541"/>
                  </a:lnTo>
                  <a:lnTo>
                    <a:pt x="532" y="540"/>
                  </a:lnTo>
                  <a:lnTo>
                    <a:pt x="533" y="540"/>
                  </a:lnTo>
                  <a:lnTo>
                    <a:pt x="534" y="541"/>
                  </a:lnTo>
                  <a:lnTo>
                    <a:pt x="536" y="540"/>
                  </a:lnTo>
                  <a:lnTo>
                    <a:pt x="538" y="541"/>
                  </a:lnTo>
                  <a:lnTo>
                    <a:pt x="539" y="540"/>
                  </a:lnTo>
                  <a:lnTo>
                    <a:pt x="540" y="540"/>
                  </a:lnTo>
                  <a:lnTo>
                    <a:pt x="540" y="541"/>
                  </a:lnTo>
                  <a:lnTo>
                    <a:pt x="539" y="541"/>
                  </a:lnTo>
                  <a:lnTo>
                    <a:pt x="538" y="541"/>
                  </a:lnTo>
                  <a:lnTo>
                    <a:pt x="537" y="542"/>
                  </a:lnTo>
                  <a:lnTo>
                    <a:pt x="538" y="544"/>
                  </a:lnTo>
                  <a:lnTo>
                    <a:pt x="537" y="545"/>
                  </a:lnTo>
                  <a:lnTo>
                    <a:pt x="537" y="544"/>
                  </a:lnTo>
                  <a:lnTo>
                    <a:pt x="536" y="544"/>
                  </a:lnTo>
                  <a:lnTo>
                    <a:pt x="534" y="542"/>
                  </a:lnTo>
                  <a:lnTo>
                    <a:pt x="533" y="542"/>
                  </a:lnTo>
                  <a:lnTo>
                    <a:pt x="532" y="542"/>
                  </a:lnTo>
                  <a:lnTo>
                    <a:pt x="532" y="544"/>
                  </a:lnTo>
                  <a:lnTo>
                    <a:pt x="532" y="545"/>
                  </a:lnTo>
                  <a:lnTo>
                    <a:pt x="533" y="546"/>
                  </a:lnTo>
                  <a:lnTo>
                    <a:pt x="532" y="547"/>
                  </a:lnTo>
                  <a:lnTo>
                    <a:pt x="531" y="546"/>
                  </a:lnTo>
                  <a:lnTo>
                    <a:pt x="531" y="545"/>
                  </a:lnTo>
                  <a:lnTo>
                    <a:pt x="530" y="544"/>
                  </a:lnTo>
                  <a:lnTo>
                    <a:pt x="527" y="544"/>
                  </a:lnTo>
                  <a:lnTo>
                    <a:pt x="526" y="544"/>
                  </a:lnTo>
                  <a:lnTo>
                    <a:pt x="527" y="545"/>
                  </a:lnTo>
                  <a:lnTo>
                    <a:pt x="528" y="546"/>
                  </a:lnTo>
                  <a:lnTo>
                    <a:pt x="528" y="547"/>
                  </a:lnTo>
                  <a:lnTo>
                    <a:pt x="528" y="548"/>
                  </a:lnTo>
                  <a:lnTo>
                    <a:pt x="528" y="550"/>
                  </a:lnTo>
                  <a:lnTo>
                    <a:pt x="528" y="551"/>
                  </a:lnTo>
                  <a:lnTo>
                    <a:pt x="528" y="552"/>
                  </a:lnTo>
                  <a:lnTo>
                    <a:pt x="527" y="553"/>
                  </a:lnTo>
                  <a:lnTo>
                    <a:pt x="527" y="554"/>
                  </a:lnTo>
                  <a:lnTo>
                    <a:pt x="526" y="554"/>
                  </a:lnTo>
                  <a:lnTo>
                    <a:pt x="525" y="553"/>
                  </a:lnTo>
                  <a:lnTo>
                    <a:pt x="525" y="552"/>
                  </a:lnTo>
                  <a:lnTo>
                    <a:pt x="525" y="550"/>
                  </a:lnTo>
                  <a:lnTo>
                    <a:pt x="525" y="548"/>
                  </a:lnTo>
                  <a:lnTo>
                    <a:pt x="525" y="546"/>
                  </a:lnTo>
                  <a:lnTo>
                    <a:pt x="524" y="546"/>
                  </a:lnTo>
                  <a:lnTo>
                    <a:pt x="524" y="545"/>
                  </a:lnTo>
                  <a:lnTo>
                    <a:pt x="524" y="544"/>
                  </a:lnTo>
                  <a:lnTo>
                    <a:pt x="522" y="542"/>
                  </a:lnTo>
                  <a:lnTo>
                    <a:pt x="522" y="544"/>
                  </a:lnTo>
                  <a:lnTo>
                    <a:pt x="524" y="545"/>
                  </a:lnTo>
                  <a:lnTo>
                    <a:pt x="524" y="546"/>
                  </a:lnTo>
                  <a:lnTo>
                    <a:pt x="522" y="545"/>
                  </a:lnTo>
                  <a:lnTo>
                    <a:pt x="521" y="545"/>
                  </a:lnTo>
                  <a:lnTo>
                    <a:pt x="521" y="547"/>
                  </a:lnTo>
                  <a:lnTo>
                    <a:pt x="521" y="548"/>
                  </a:lnTo>
                  <a:lnTo>
                    <a:pt x="522" y="550"/>
                  </a:lnTo>
                  <a:lnTo>
                    <a:pt x="522" y="551"/>
                  </a:lnTo>
                  <a:lnTo>
                    <a:pt x="522" y="552"/>
                  </a:lnTo>
                  <a:lnTo>
                    <a:pt x="521" y="553"/>
                  </a:lnTo>
                  <a:lnTo>
                    <a:pt x="520" y="553"/>
                  </a:lnTo>
                  <a:lnTo>
                    <a:pt x="520" y="551"/>
                  </a:lnTo>
                  <a:lnTo>
                    <a:pt x="520" y="548"/>
                  </a:lnTo>
                  <a:lnTo>
                    <a:pt x="520" y="546"/>
                  </a:lnTo>
                  <a:lnTo>
                    <a:pt x="520" y="545"/>
                  </a:lnTo>
                  <a:lnTo>
                    <a:pt x="519" y="544"/>
                  </a:lnTo>
                  <a:lnTo>
                    <a:pt x="519" y="542"/>
                  </a:lnTo>
                  <a:lnTo>
                    <a:pt x="518" y="542"/>
                  </a:lnTo>
                  <a:lnTo>
                    <a:pt x="519" y="545"/>
                  </a:lnTo>
                  <a:lnTo>
                    <a:pt x="520" y="546"/>
                  </a:lnTo>
                  <a:lnTo>
                    <a:pt x="520" y="547"/>
                  </a:lnTo>
                  <a:lnTo>
                    <a:pt x="519" y="550"/>
                  </a:lnTo>
                  <a:lnTo>
                    <a:pt x="519" y="551"/>
                  </a:lnTo>
                  <a:lnTo>
                    <a:pt x="518" y="551"/>
                  </a:lnTo>
                  <a:lnTo>
                    <a:pt x="518" y="550"/>
                  </a:lnTo>
                  <a:lnTo>
                    <a:pt x="516" y="550"/>
                  </a:lnTo>
                  <a:lnTo>
                    <a:pt x="518" y="552"/>
                  </a:lnTo>
                  <a:lnTo>
                    <a:pt x="518" y="553"/>
                  </a:lnTo>
                  <a:lnTo>
                    <a:pt x="518" y="554"/>
                  </a:lnTo>
                  <a:lnTo>
                    <a:pt x="518" y="556"/>
                  </a:lnTo>
                  <a:lnTo>
                    <a:pt x="518" y="557"/>
                  </a:lnTo>
                  <a:lnTo>
                    <a:pt x="516" y="557"/>
                  </a:lnTo>
                  <a:lnTo>
                    <a:pt x="516" y="556"/>
                  </a:lnTo>
                  <a:lnTo>
                    <a:pt x="515" y="554"/>
                  </a:lnTo>
                  <a:lnTo>
                    <a:pt x="515" y="553"/>
                  </a:lnTo>
                  <a:lnTo>
                    <a:pt x="514" y="553"/>
                  </a:lnTo>
                  <a:lnTo>
                    <a:pt x="514" y="552"/>
                  </a:lnTo>
                  <a:lnTo>
                    <a:pt x="513" y="552"/>
                  </a:lnTo>
                  <a:lnTo>
                    <a:pt x="513" y="553"/>
                  </a:lnTo>
                  <a:lnTo>
                    <a:pt x="514" y="554"/>
                  </a:lnTo>
                  <a:lnTo>
                    <a:pt x="514" y="556"/>
                  </a:lnTo>
                  <a:lnTo>
                    <a:pt x="513" y="557"/>
                  </a:lnTo>
                  <a:lnTo>
                    <a:pt x="511" y="557"/>
                  </a:lnTo>
                  <a:lnTo>
                    <a:pt x="511" y="554"/>
                  </a:lnTo>
                  <a:lnTo>
                    <a:pt x="511" y="553"/>
                  </a:lnTo>
                  <a:lnTo>
                    <a:pt x="511" y="552"/>
                  </a:lnTo>
                  <a:lnTo>
                    <a:pt x="510" y="552"/>
                  </a:lnTo>
                  <a:lnTo>
                    <a:pt x="509" y="552"/>
                  </a:lnTo>
                  <a:lnTo>
                    <a:pt x="508" y="551"/>
                  </a:lnTo>
                  <a:lnTo>
                    <a:pt x="508" y="554"/>
                  </a:lnTo>
                  <a:lnTo>
                    <a:pt x="508" y="556"/>
                  </a:lnTo>
                  <a:lnTo>
                    <a:pt x="508" y="557"/>
                  </a:lnTo>
                  <a:lnTo>
                    <a:pt x="507" y="557"/>
                  </a:lnTo>
                  <a:lnTo>
                    <a:pt x="507" y="556"/>
                  </a:lnTo>
                  <a:lnTo>
                    <a:pt x="507" y="554"/>
                  </a:lnTo>
                  <a:lnTo>
                    <a:pt x="505" y="553"/>
                  </a:lnTo>
                  <a:lnTo>
                    <a:pt x="505" y="554"/>
                  </a:lnTo>
                  <a:lnTo>
                    <a:pt x="505" y="556"/>
                  </a:lnTo>
                  <a:lnTo>
                    <a:pt x="504" y="556"/>
                  </a:lnTo>
                  <a:lnTo>
                    <a:pt x="504" y="557"/>
                  </a:lnTo>
                  <a:lnTo>
                    <a:pt x="503" y="557"/>
                  </a:lnTo>
                  <a:lnTo>
                    <a:pt x="504" y="558"/>
                  </a:lnTo>
                  <a:lnTo>
                    <a:pt x="504" y="559"/>
                  </a:lnTo>
                  <a:lnTo>
                    <a:pt x="505" y="561"/>
                  </a:lnTo>
                  <a:lnTo>
                    <a:pt x="505" y="562"/>
                  </a:lnTo>
                  <a:lnTo>
                    <a:pt x="505" y="563"/>
                  </a:lnTo>
                  <a:lnTo>
                    <a:pt x="505" y="564"/>
                  </a:lnTo>
                  <a:lnTo>
                    <a:pt x="504" y="565"/>
                  </a:lnTo>
                  <a:lnTo>
                    <a:pt x="503" y="565"/>
                  </a:lnTo>
                  <a:lnTo>
                    <a:pt x="503" y="564"/>
                  </a:lnTo>
                  <a:lnTo>
                    <a:pt x="503" y="562"/>
                  </a:lnTo>
                  <a:lnTo>
                    <a:pt x="503" y="561"/>
                  </a:lnTo>
                  <a:lnTo>
                    <a:pt x="502" y="559"/>
                  </a:lnTo>
                  <a:lnTo>
                    <a:pt x="502" y="558"/>
                  </a:lnTo>
                  <a:lnTo>
                    <a:pt x="499" y="558"/>
                  </a:lnTo>
                  <a:lnTo>
                    <a:pt x="498" y="558"/>
                  </a:lnTo>
                  <a:lnTo>
                    <a:pt x="499" y="561"/>
                  </a:lnTo>
                  <a:lnTo>
                    <a:pt x="499" y="562"/>
                  </a:lnTo>
                  <a:lnTo>
                    <a:pt x="499" y="563"/>
                  </a:lnTo>
                  <a:lnTo>
                    <a:pt x="498" y="564"/>
                  </a:lnTo>
                  <a:lnTo>
                    <a:pt x="497" y="565"/>
                  </a:lnTo>
                  <a:lnTo>
                    <a:pt x="497" y="564"/>
                  </a:lnTo>
                  <a:lnTo>
                    <a:pt x="497" y="563"/>
                  </a:lnTo>
                  <a:lnTo>
                    <a:pt x="497" y="562"/>
                  </a:lnTo>
                  <a:lnTo>
                    <a:pt x="497" y="561"/>
                  </a:lnTo>
                  <a:lnTo>
                    <a:pt x="496" y="562"/>
                  </a:lnTo>
                  <a:lnTo>
                    <a:pt x="495" y="562"/>
                  </a:lnTo>
                  <a:lnTo>
                    <a:pt x="495" y="561"/>
                  </a:lnTo>
                  <a:lnTo>
                    <a:pt x="496" y="559"/>
                  </a:lnTo>
                  <a:lnTo>
                    <a:pt x="495" y="559"/>
                  </a:lnTo>
                  <a:lnTo>
                    <a:pt x="495" y="558"/>
                  </a:lnTo>
                  <a:lnTo>
                    <a:pt x="493" y="558"/>
                  </a:lnTo>
                  <a:lnTo>
                    <a:pt x="493" y="557"/>
                  </a:lnTo>
                  <a:lnTo>
                    <a:pt x="493" y="556"/>
                  </a:lnTo>
                  <a:lnTo>
                    <a:pt x="492" y="553"/>
                  </a:lnTo>
                  <a:lnTo>
                    <a:pt x="492" y="552"/>
                  </a:lnTo>
                  <a:lnTo>
                    <a:pt x="491" y="553"/>
                  </a:lnTo>
                  <a:lnTo>
                    <a:pt x="492" y="554"/>
                  </a:lnTo>
                  <a:lnTo>
                    <a:pt x="493" y="558"/>
                  </a:lnTo>
                  <a:lnTo>
                    <a:pt x="493" y="559"/>
                  </a:lnTo>
                  <a:lnTo>
                    <a:pt x="493" y="561"/>
                  </a:lnTo>
                  <a:lnTo>
                    <a:pt x="492" y="559"/>
                  </a:lnTo>
                  <a:lnTo>
                    <a:pt x="492" y="558"/>
                  </a:lnTo>
                  <a:lnTo>
                    <a:pt x="491" y="558"/>
                  </a:lnTo>
                  <a:lnTo>
                    <a:pt x="492" y="559"/>
                  </a:lnTo>
                  <a:lnTo>
                    <a:pt x="492" y="561"/>
                  </a:lnTo>
                  <a:lnTo>
                    <a:pt x="492" y="562"/>
                  </a:lnTo>
                  <a:lnTo>
                    <a:pt x="492" y="563"/>
                  </a:lnTo>
                  <a:lnTo>
                    <a:pt x="492" y="564"/>
                  </a:lnTo>
                  <a:lnTo>
                    <a:pt x="493" y="565"/>
                  </a:lnTo>
                  <a:lnTo>
                    <a:pt x="492" y="567"/>
                  </a:lnTo>
                  <a:lnTo>
                    <a:pt x="492" y="568"/>
                  </a:lnTo>
                  <a:lnTo>
                    <a:pt x="491" y="567"/>
                  </a:lnTo>
                  <a:lnTo>
                    <a:pt x="491" y="565"/>
                  </a:lnTo>
                  <a:lnTo>
                    <a:pt x="490" y="565"/>
                  </a:lnTo>
                  <a:lnTo>
                    <a:pt x="489" y="567"/>
                  </a:lnTo>
                  <a:lnTo>
                    <a:pt x="489" y="568"/>
                  </a:lnTo>
                  <a:lnTo>
                    <a:pt x="489" y="569"/>
                  </a:lnTo>
                  <a:lnTo>
                    <a:pt x="487" y="569"/>
                  </a:lnTo>
                  <a:lnTo>
                    <a:pt x="487" y="568"/>
                  </a:lnTo>
                  <a:lnTo>
                    <a:pt x="486" y="567"/>
                  </a:lnTo>
                  <a:lnTo>
                    <a:pt x="486" y="565"/>
                  </a:lnTo>
                  <a:lnTo>
                    <a:pt x="486" y="564"/>
                  </a:lnTo>
                  <a:lnTo>
                    <a:pt x="485" y="564"/>
                  </a:lnTo>
                  <a:lnTo>
                    <a:pt x="484" y="564"/>
                  </a:lnTo>
                  <a:lnTo>
                    <a:pt x="484" y="567"/>
                  </a:lnTo>
                  <a:lnTo>
                    <a:pt x="484" y="570"/>
                  </a:lnTo>
                  <a:lnTo>
                    <a:pt x="483" y="569"/>
                  </a:lnTo>
                  <a:lnTo>
                    <a:pt x="483" y="568"/>
                  </a:lnTo>
                  <a:lnTo>
                    <a:pt x="483" y="567"/>
                  </a:lnTo>
                  <a:lnTo>
                    <a:pt x="483" y="565"/>
                  </a:lnTo>
                  <a:lnTo>
                    <a:pt x="483" y="564"/>
                  </a:lnTo>
                  <a:lnTo>
                    <a:pt x="483" y="563"/>
                  </a:lnTo>
                  <a:lnTo>
                    <a:pt x="481" y="564"/>
                  </a:lnTo>
                  <a:lnTo>
                    <a:pt x="480" y="564"/>
                  </a:lnTo>
                  <a:lnTo>
                    <a:pt x="480" y="563"/>
                  </a:lnTo>
                  <a:lnTo>
                    <a:pt x="480" y="562"/>
                  </a:lnTo>
                  <a:lnTo>
                    <a:pt x="480" y="561"/>
                  </a:lnTo>
                  <a:lnTo>
                    <a:pt x="479" y="559"/>
                  </a:lnTo>
                  <a:lnTo>
                    <a:pt x="479" y="562"/>
                  </a:lnTo>
                  <a:lnTo>
                    <a:pt x="478" y="562"/>
                  </a:lnTo>
                  <a:lnTo>
                    <a:pt x="478" y="563"/>
                  </a:lnTo>
                  <a:lnTo>
                    <a:pt x="479" y="564"/>
                  </a:lnTo>
                  <a:lnTo>
                    <a:pt x="479" y="565"/>
                  </a:lnTo>
                  <a:lnTo>
                    <a:pt x="478" y="565"/>
                  </a:lnTo>
                  <a:lnTo>
                    <a:pt x="478" y="564"/>
                  </a:lnTo>
                  <a:lnTo>
                    <a:pt x="477" y="564"/>
                  </a:lnTo>
                  <a:lnTo>
                    <a:pt x="478" y="565"/>
                  </a:lnTo>
                  <a:lnTo>
                    <a:pt x="477" y="567"/>
                  </a:lnTo>
                  <a:lnTo>
                    <a:pt x="477" y="564"/>
                  </a:lnTo>
                  <a:lnTo>
                    <a:pt x="475" y="563"/>
                  </a:lnTo>
                  <a:lnTo>
                    <a:pt x="475" y="562"/>
                  </a:lnTo>
                  <a:lnTo>
                    <a:pt x="475" y="561"/>
                  </a:lnTo>
                  <a:lnTo>
                    <a:pt x="475" y="559"/>
                  </a:lnTo>
                  <a:lnTo>
                    <a:pt x="474" y="558"/>
                  </a:lnTo>
                  <a:lnTo>
                    <a:pt x="475" y="559"/>
                  </a:lnTo>
                  <a:lnTo>
                    <a:pt x="475" y="561"/>
                  </a:lnTo>
                  <a:lnTo>
                    <a:pt x="474" y="561"/>
                  </a:lnTo>
                  <a:lnTo>
                    <a:pt x="474" y="563"/>
                  </a:lnTo>
                  <a:lnTo>
                    <a:pt x="474" y="564"/>
                  </a:lnTo>
                  <a:lnTo>
                    <a:pt x="474" y="565"/>
                  </a:lnTo>
                  <a:lnTo>
                    <a:pt x="473" y="565"/>
                  </a:lnTo>
                  <a:lnTo>
                    <a:pt x="473" y="564"/>
                  </a:lnTo>
                  <a:lnTo>
                    <a:pt x="473" y="563"/>
                  </a:lnTo>
                  <a:lnTo>
                    <a:pt x="473" y="562"/>
                  </a:lnTo>
                  <a:lnTo>
                    <a:pt x="473" y="561"/>
                  </a:lnTo>
                  <a:lnTo>
                    <a:pt x="472" y="559"/>
                  </a:lnTo>
                  <a:lnTo>
                    <a:pt x="472" y="558"/>
                  </a:lnTo>
                  <a:lnTo>
                    <a:pt x="472" y="557"/>
                  </a:lnTo>
                  <a:lnTo>
                    <a:pt x="472" y="556"/>
                  </a:lnTo>
                  <a:lnTo>
                    <a:pt x="471" y="554"/>
                  </a:lnTo>
                  <a:lnTo>
                    <a:pt x="469" y="553"/>
                  </a:lnTo>
                  <a:lnTo>
                    <a:pt x="469" y="552"/>
                  </a:lnTo>
                  <a:lnTo>
                    <a:pt x="468" y="552"/>
                  </a:lnTo>
                  <a:lnTo>
                    <a:pt x="469" y="553"/>
                  </a:lnTo>
                  <a:lnTo>
                    <a:pt x="469" y="554"/>
                  </a:lnTo>
                  <a:lnTo>
                    <a:pt x="471" y="556"/>
                  </a:lnTo>
                  <a:lnTo>
                    <a:pt x="471" y="557"/>
                  </a:lnTo>
                  <a:lnTo>
                    <a:pt x="469" y="557"/>
                  </a:lnTo>
                  <a:lnTo>
                    <a:pt x="471" y="558"/>
                  </a:lnTo>
                  <a:lnTo>
                    <a:pt x="469" y="558"/>
                  </a:lnTo>
                  <a:lnTo>
                    <a:pt x="471" y="559"/>
                  </a:lnTo>
                  <a:lnTo>
                    <a:pt x="472" y="561"/>
                  </a:lnTo>
                  <a:lnTo>
                    <a:pt x="473" y="561"/>
                  </a:lnTo>
                  <a:lnTo>
                    <a:pt x="473" y="562"/>
                  </a:lnTo>
                  <a:lnTo>
                    <a:pt x="473" y="563"/>
                  </a:lnTo>
                  <a:lnTo>
                    <a:pt x="472" y="563"/>
                  </a:lnTo>
                  <a:lnTo>
                    <a:pt x="471" y="563"/>
                  </a:lnTo>
                  <a:lnTo>
                    <a:pt x="472" y="562"/>
                  </a:lnTo>
                  <a:lnTo>
                    <a:pt x="471" y="561"/>
                  </a:lnTo>
                  <a:lnTo>
                    <a:pt x="469" y="561"/>
                  </a:lnTo>
                  <a:lnTo>
                    <a:pt x="468" y="561"/>
                  </a:lnTo>
                  <a:lnTo>
                    <a:pt x="468" y="562"/>
                  </a:lnTo>
                  <a:lnTo>
                    <a:pt x="469" y="562"/>
                  </a:lnTo>
                  <a:lnTo>
                    <a:pt x="469" y="563"/>
                  </a:lnTo>
                  <a:lnTo>
                    <a:pt x="469" y="564"/>
                  </a:lnTo>
                  <a:lnTo>
                    <a:pt x="468" y="563"/>
                  </a:lnTo>
                  <a:lnTo>
                    <a:pt x="468" y="564"/>
                  </a:lnTo>
                  <a:lnTo>
                    <a:pt x="469" y="567"/>
                  </a:lnTo>
                  <a:lnTo>
                    <a:pt x="468" y="567"/>
                  </a:lnTo>
                  <a:lnTo>
                    <a:pt x="467" y="567"/>
                  </a:lnTo>
                  <a:lnTo>
                    <a:pt x="467" y="569"/>
                  </a:lnTo>
                  <a:lnTo>
                    <a:pt x="468" y="570"/>
                  </a:lnTo>
                  <a:lnTo>
                    <a:pt x="468" y="573"/>
                  </a:lnTo>
                  <a:lnTo>
                    <a:pt x="468" y="575"/>
                  </a:lnTo>
                  <a:lnTo>
                    <a:pt x="467" y="574"/>
                  </a:lnTo>
                  <a:lnTo>
                    <a:pt x="467" y="573"/>
                  </a:lnTo>
                  <a:lnTo>
                    <a:pt x="467" y="570"/>
                  </a:lnTo>
                  <a:lnTo>
                    <a:pt x="466" y="569"/>
                  </a:lnTo>
                  <a:lnTo>
                    <a:pt x="465" y="570"/>
                  </a:lnTo>
                  <a:lnTo>
                    <a:pt x="463" y="570"/>
                  </a:lnTo>
                  <a:lnTo>
                    <a:pt x="465" y="571"/>
                  </a:lnTo>
                  <a:lnTo>
                    <a:pt x="466" y="573"/>
                  </a:lnTo>
                  <a:lnTo>
                    <a:pt x="465" y="573"/>
                  </a:lnTo>
                  <a:lnTo>
                    <a:pt x="463" y="573"/>
                  </a:lnTo>
                  <a:lnTo>
                    <a:pt x="463" y="574"/>
                  </a:lnTo>
                  <a:lnTo>
                    <a:pt x="463" y="576"/>
                  </a:lnTo>
                  <a:lnTo>
                    <a:pt x="462" y="575"/>
                  </a:lnTo>
                  <a:lnTo>
                    <a:pt x="463" y="573"/>
                  </a:lnTo>
                  <a:lnTo>
                    <a:pt x="462" y="571"/>
                  </a:lnTo>
                  <a:lnTo>
                    <a:pt x="461" y="570"/>
                  </a:lnTo>
                  <a:lnTo>
                    <a:pt x="461" y="569"/>
                  </a:lnTo>
                  <a:lnTo>
                    <a:pt x="461" y="567"/>
                  </a:lnTo>
                  <a:lnTo>
                    <a:pt x="460" y="564"/>
                  </a:lnTo>
                  <a:lnTo>
                    <a:pt x="460" y="563"/>
                  </a:lnTo>
                  <a:lnTo>
                    <a:pt x="460" y="561"/>
                  </a:lnTo>
                  <a:lnTo>
                    <a:pt x="459" y="561"/>
                  </a:lnTo>
                  <a:lnTo>
                    <a:pt x="457" y="562"/>
                  </a:lnTo>
                  <a:lnTo>
                    <a:pt x="456" y="563"/>
                  </a:lnTo>
                  <a:lnTo>
                    <a:pt x="456" y="567"/>
                  </a:lnTo>
                  <a:lnTo>
                    <a:pt x="456" y="569"/>
                  </a:lnTo>
                  <a:lnTo>
                    <a:pt x="456" y="570"/>
                  </a:lnTo>
                  <a:lnTo>
                    <a:pt x="457" y="573"/>
                  </a:lnTo>
                  <a:lnTo>
                    <a:pt x="459" y="574"/>
                  </a:lnTo>
                  <a:lnTo>
                    <a:pt x="459" y="575"/>
                  </a:lnTo>
                  <a:lnTo>
                    <a:pt x="457" y="574"/>
                  </a:lnTo>
                  <a:lnTo>
                    <a:pt x="456" y="573"/>
                  </a:lnTo>
                  <a:lnTo>
                    <a:pt x="456" y="570"/>
                  </a:lnTo>
                  <a:lnTo>
                    <a:pt x="455" y="568"/>
                  </a:lnTo>
                  <a:lnTo>
                    <a:pt x="455" y="567"/>
                  </a:lnTo>
                  <a:lnTo>
                    <a:pt x="454" y="565"/>
                  </a:lnTo>
                  <a:lnTo>
                    <a:pt x="454" y="568"/>
                  </a:lnTo>
                  <a:lnTo>
                    <a:pt x="452" y="568"/>
                  </a:lnTo>
                  <a:lnTo>
                    <a:pt x="451" y="568"/>
                  </a:lnTo>
                  <a:lnTo>
                    <a:pt x="451" y="569"/>
                  </a:lnTo>
                  <a:lnTo>
                    <a:pt x="452" y="571"/>
                  </a:lnTo>
                  <a:lnTo>
                    <a:pt x="454" y="575"/>
                  </a:lnTo>
                  <a:lnTo>
                    <a:pt x="454" y="576"/>
                  </a:lnTo>
                  <a:lnTo>
                    <a:pt x="452" y="579"/>
                  </a:lnTo>
                  <a:lnTo>
                    <a:pt x="451" y="577"/>
                  </a:lnTo>
                  <a:lnTo>
                    <a:pt x="451" y="576"/>
                  </a:lnTo>
                  <a:lnTo>
                    <a:pt x="451" y="575"/>
                  </a:lnTo>
                  <a:lnTo>
                    <a:pt x="451" y="577"/>
                  </a:lnTo>
                  <a:lnTo>
                    <a:pt x="450" y="577"/>
                  </a:lnTo>
                  <a:lnTo>
                    <a:pt x="449" y="576"/>
                  </a:lnTo>
                  <a:lnTo>
                    <a:pt x="449" y="574"/>
                  </a:lnTo>
                  <a:lnTo>
                    <a:pt x="449" y="573"/>
                  </a:lnTo>
                  <a:lnTo>
                    <a:pt x="450" y="568"/>
                  </a:lnTo>
                  <a:lnTo>
                    <a:pt x="450" y="567"/>
                  </a:lnTo>
                  <a:lnTo>
                    <a:pt x="449" y="565"/>
                  </a:lnTo>
                  <a:lnTo>
                    <a:pt x="450" y="563"/>
                  </a:lnTo>
                  <a:lnTo>
                    <a:pt x="450" y="561"/>
                  </a:lnTo>
                  <a:lnTo>
                    <a:pt x="449" y="558"/>
                  </a:lnTo>
                  <a:lnTo>
                    <a:pt x="448" y="557"/>
                  </a:lnTo>
                  <a:lnTo>
                    <a:pt x="446" y="554"/>
                  </a:lnTo>
                  <a:lnTo>
                    <a:pt x="446" y="557"/>
                  </a:lnTo>
                  <a:lnTo>
                    <a:pt x="445" y="559"/>
                  </a:lnTo>
                  <a:lnTo>
                    <a:pt x="444" y="558"/>
                  </a:lnTo>
                  <a:lnTo>
                    <a:pt x="443" y="558"/>
                  </a:lnTo>
                  <a:lnTo>
                    <a:pt x="443" y="561"/>
                  </a:lnTo>
                  <a:lnTo>
                    <a:pt x="442" y="563"/>
                  </a:lnTo>
                  <a:lnTo>
                    <a:pt x="440" y="562"/>
                  </a:lnTo>
                  <a:lnTo>
                    <a:pt x="440" y="559"/>
                  </a:lnTo>
                  <a:lnTo>
                    <a:pt x="440" y="554"/>
                  </a:lnTo>
                  <a:lnTo>
                    <a:pt x="440" y="551"/>
                  </a:lnTo>
                  <a:lnTo>
                    <a:pt x="439" y="550"/>
                  </a:lnTo>
                  <a:lnTo>
                    <a:pt x="439" y="556"/>
                  </a:lnTo>
                  <a:lnTo>
                    <a:pt x="438" y="556"/>
                  </a:lnTo>
                  <a:lnTo>
                    <a:pt x="437" y="553"/>
                  </a:lnTo>
                  <a:lnTo>
                    <a:pt x="436" y="553"/>
                  </a:lnTo>
                  <a:lnTo>
                    <a:pt x="437" y="551"/>
                  </a:lnTo>
                  <a:lnTo>
                    <a:pt x="436" y="548"/>
                  </a:lnTo>
                  <a:lnTo>
                    <a:pt x="436" y="547"/>
                  </a:lnTo>
                  <a:lnTo>
                    <a:pt x="434" y="551"/>
                  </a:lnTo>
                  <a:lnTo>
                    <a:pt x="434" y="553"/>
                  </a:lnTo>
                  <a:lnTo>
                    <a:pt x="433" y="550"/>
                  </a:lnTo>
                  <a:lnTo>
                    <a:pt x="432" y="547"/>
                  </a:lnTo>
                  <a:lnTo>
                    <a:pt x="432" y="545"/>
                  </a:lnTo>
                  <a:lnTo>
                    <a:pt x="432" y="544"/>
                  </a:lnTo>
                  <a:lnTo>
                    <a:pt x="431" y="541"/>
                  </a:lnTo>
                  <a:lnTo>
                    <a:pt x="428" y="541"/>
                  </a:lnTo>
                  <a:lnTo>
                    <a:pt x="427" y="542"/>
                  </a:lnTo>
                  <a:lnTo>
                    <a:pt x="427" y="544"/>
                  </a:lnTo>
                  <a:lnTo>
                    <a:pt x="428" y="544"/>
                  </a:lnTo>
                  <a:lnTo>
                    <a:pt x="430" y="545"/>
                  </a:lnTo>
                  <a:lnTo>
                    <a:pt x="431" y="546"/>
                  </a:lnTo>
                  <a:lnTo>
                    <a:pt x="432" y="547"/>
                  </a:lnTo>
                  <a:lnTo>
                    <a:pt x="432" y="548"/>
                  </a:lnTo>
                  <a:lnTo>
                    <a:pt x="432" y="550"/>
                  </a:lnTo>
                  <a:lnTo>
                    <a:pt x="432" y="552"/>
                  </a:lnTo>
                  <a:lnTo>
                    <a:pt x="432" y="553"/>
                  </a:lnTo>
                  <a:lnTo>
                    <a:pt x="428" y="554"/>
                  </a:lnTo>
                  <a:lnTo>
                    <a:pt x="428" y="553"/>
                  </a:lnTo>
                  <a:lnTo>
                    <a:pt x="428" y="554"/>
                  </a:lnTo>
                  <a:lnTo>
                    <a:pt x="428" y="557"/>
                  </a:lnTo>
                  <a:lnTo>
                    <a:pt x="428" y="558"/>
                  </a:lnTo>
                  <a:lnTo>
                    <a:pt x="431" y="558"/>
                  </a:lnTo>
                  <a:lnTo>
                    <a:pt x="432" y="558"/>
                  </a:lnTo>
                  <a:lnTo>
                    <a:pt x="433" y="557"/>
                  </a:lnTo>
                  <a:lnTo>
                    <a:pt x="434" y="557"/>
                  </a:lnTo>
                  <a:lnTo>
                    <a:pt x="434" y="559"/>
                  </a:lnTo>
                  <a:lnTo>
                    <a:pt x="436" y="559"/>
                  </a:lnTo>
                  <a:lnTo>
                    <a:pt x="438" y="561"/>
                  </a:lnTo>
                  <a:lnTo>
                    <a:pt x="439" y="562"/>
                  </a:lnTo>
                  <a:lnTo>
                    <a:pt x="437" y="562"/>
                  </a:lnTo>
                  <a:lnTo>
                    <a:pt x="436" y="562"/>
                  </a:lnTo>
                  <a:lnTo>
                    <a:pt x="434" y="563"/>
                  </a:lnTo>
                  <a:lnTo>
                    <a:pt x="433" y="563"/>
                  </a:lnTo>
                  <a:lnTo>
                    <a:pt x="433" y="567"/>
                  </a:lnTo>
                  <a:lnTo>
                    <a:pt x="434" y="569"/>
                  </a:lnTo>
                  <a:lnTo>
                    <a:pt x="434" y="571"/>
                  </a:lnTo>
                  <a:lnTo>
                    <a:pt x="436" y="573"/>
                  </a:lnTo>
                  <a:lnTo>
                    <a:pt x="436" y="575"/>
                  </a:lnTo>
                  <a:lnTo>
                    <a:pt x="439" y="576"/>
                  </a:lnTo>
                  <a:lnTo>
                    <a:pt x="440" y="577"/>
                  </a:lnTo>
                  <a:lnTo>
                    <a:pt x="443" y="577"/>
                  </a:lnTo>
                  <a:lnTo>
                    <a:pt x="445" y="577"/>
                  </a:lnTo>
                  <a:lnTo>
                    <a:pt x="446" y="579"/>
                  </a:lnTo>
                  <a:lnTo>
                    <a:pt x="449" y="579"/>
                  </a:lnTo>
                  <a:lnTo>
                    <a:pt x="454" y="580"/>
                  </a:lnTo>
                  <a:lnTo>
                    <a:pt x="459" y="580"/>
                  </a:lnTo>
                  <a:lnTo>
                    <a:pt x="461" y="581"/>
                  </a:lnTo>
                  <a:lnTo>
                    <a:pt x="465" y="582"/>
                  </a:lnTo>
                  <a:lnTo>
                    <a:pt x="471" y="583"/>
                  </a:lnTo>
                  <a:lnTo>
                    <a:pt x="474" y="583"/>
                  </a:lnTo>
                  <a:lnTo>
                    <a:pt x="474" y="585"/>
                  </a:lnTo>
                  <a:lnTo>
                    <a:pt x="472" y="585"/>
                  </a:lnTo>
                  <a:lnTo>
                    <a:pt x="468" y="585"/>
                  </a:lnTo>
                  <a:lnTo>
                    <a:pt x="469" y="585"/>
                  </a:lnTo>
                  <a:lnTo>
                    <a:pt x="469" y="586"/>
                  </a:lnTo>
                  <a:lnTo>
                    <a:pt x="469" y="587"/>
                  </a:lnTo>
                  <a:lnTo>
                    <a:pt x="468" y="586"/>
                  </a:lnTo>
                  <a:lnTo>
                    <a:pt x="467" y="585"/>
                  </a:lnTo>
                  <a:lnTo>
                    <a:pt x="466" y="583"/>
                  </a:lnTo>
                  <a:lnTo>
                    <a:pt x="465" y="583"/>
                  </a:lnTo>
                  <a:lnTo>
                    <a:pt x="466" y="586"/>
                  </a:lnTo>
                  <a:lnTo>
                    <a:pt x="467" y="587"/>
                  </a:lnTo>
                  <a:lnTo>
                    <a:pt x="466" y="587"/>
                  </a:lnTo>
                  <a:lnTo>
                    <a:pt x="463" y="587"/>
                  </a:lnTo>
                  <a:lnTo>
                    <a:pt x="462" y="586"/>
                  </a:lnTo>
                  <a:lnTo>
                    <a:pt x="461" y="586"/>
                  </a:lnTo>
                  <a:lnTo>
                    <a:pt x="462" y="587"/>
                  </a:lnTo>
                  <a:lnTo>
                    <a:pt x="461" y="587"/>
                  </a:lnTo>
                  <a:lnTo>
                    <a:pt x="459" y="587"/>
                  </a:lnTo>
                  <a:lnTo>
                    <a:pt x="457" y="587"/>
                  </a:lnTo>
                  <a:lnTo>
                    <a:pt x="456" y="587"/>
                  </a:lnTo>
                  <a:lnTo>
                    <a:pt x="456" y="588"/>
                  </a:lnTo>
                  <a:lnTo>
                    <a:pt x="459" y="588"/>
                  </a:lnTo>
                  <a:lnTo>
                    <a:pt x="461" y="588"/>
                  </a:lnTo>
                  <a:lnTo>
                    <a:pt x="465" y="588"/>
                  </a:lnTo>
                  <a:lnTo>
                    <a:pt x="466" y="589"/>
                  </a:lnTo>
                  <a:lnTo>
                    <a:pt x="469" y="589"/>
                  </a:lnTo>
                  <a:lnTo>
                    <a:pt x="471" y="591"/>
                  </a:lnTo>
                  <a:lnTo>
                    <a:pt x="473" y="591"/>
                  </a:lnTo>
                  <a:lnTo>
                    <a:pt x="475" y="589"/>
                  </a:lnTo>
                  <a:lnTo>
                    <a:pt x="478" y="589"/>
                  </a:lnTo>
                  <a:lnTo>
                    <a:pt x="477" y="591"/>
                  </a:lnTo>
                  <a:lnTo>
                    <a:pt x="478" y="591"/>
                  </a:lnTo>
                  <a:lnTo>
                    <a:pt x="478" y="592"/>
                  </a:lnTo>
                  <a:lnTo>
                    <a:pt x="475" y="592"/>
                  </a:lnTo>
                  <a:lnTo>
                    <a:pt x="478" y="593"/>
                  </a:lnTo>
                  <a:lnTo>
                    <a:pt x="479" y="594"/>
                  </a:lnTo>
                  <a:lnTo>
                    <a:pt x="481" y="593"/>
                  </a:lnTo>
                  <a:lnTo>
                    <a:pt x="484" y="593"/>
                  </a:lnTo>
                  <a:lnTo>
                    <a:pt x="487" y="592"/>
                  </a:lnTo>
                  <a:lnTo>
                    <a:pt x="490" y="591"/>
                  </a:lnTo>
                  <a:lnTo>
                    <a:pt x="493" y="592"/>
                  </a:lnTo>
                  <a:lnTo>
                    <a:pt x="492" y="592"/>
                  </a:lnTo>
                  <a:lnTo>
                    <a:pt x="493" y="592"/>
                  </a:lnTo>
                  <a:lnTo>
                    <a:pt x="496" y="591"/>
                  </a:lnTo>
                  <a:lnTo>
                    <a:pt x="499" y="589"/>
                  </a:lnTo>
                  <a:lnTo>
                    <a:pt x="502" y="588"/>
                  </a:lnTo>
                  <a:lnTo>
                    <a:pt x="503" y="588"/>
                  </a:lnTo>
                  <a:lnTo>
                    <a:pt x="504" y="587"/>
                  </a:lnTo>
                  <a:lnTo>
                    <a:pt x="504" y="588"/>
                  </a:lnTo>
                  <a:lnTo>
                    <a:pt x="503" y="589"/>
                  </a:lnTo>
                  <a:lnTo>
                    <a:pt x="505" y="588"/>
                  </a:lnTo>
                  <a:lnTo>
                    <a:pt x="507" y="588"/>
                  </a:lnTo>
                  <a:lnTo>
                    <a:pt x="507" y="587"/>
                  </a:lnTo>
                  <a:lnTo>
                    <a:pt x="509" y="587"/>
                  </a:lnTo>
                  <a:lnTo>
                    <a:pt x="510" y="587"/>
                  </a:lnTo>
                  <a:lnTo>
                    <a:pt x="511" y="587"/>
                  </a:lnTo>
                  <a:lnTo>
                    <a:pt x="513" y="586"/>
                  </a:lnTo>
                  <a:lnTo>
                    <a:pt x="515" y="586"/>
                  </a:lnTo>
                  <a:lnTo>
                    <a:pt x="516" y="586"/>
                  </a:lnTo>
                  <a:lnTo>
                    <a:pt x="518" y="585"/>
                  </a:lnTo>
                  <a:lnTo>
                    <a:pt x="516" y="583"/>
                  </a:lnTo>
                  <a:lnTo>
                    <a:pt x="519" y="583"/>
                  </a:lnTo>
                  <a:lnTo>
                    <a:pt x="519" y="585"/>
                  </a:lnTo>
                  <a:lnTo>
                    <a:pt x="520" y="585"/>
                  </a:lnTo>
                  <a:lnTo>
                    <a:pt x="521" y="585"/>
                  </a:lnTo>
                  <a:lnTo>
                    <a:pt x="521" y="582"/>
                  </a:lnTo>
                  <a:lnTo>
                    <a:pt x="522" y="581"/>
                  </a:lnTo>
                  <a:lnTo>
                    <a:pt x="524" y="582"/>
                  </a:lnTo>
                  <a:lnTo>
                    <a:pt x="524" y="583"/>
                  </a:lnTo>
                  <a:lnTo>
                    <a:pt x="525" y="583"/>
                  </a:lnTo>
                  <a:lnTo>
                    <a:pt x="526" y="583"/>
                  </a:lnTo>
                  <a:lnTo>
                    <a:pt x="527" y="583"/>
                  </a:lnTo>
                  <a:lnTo>
                    <a:pt x="528" y="582"/>
                  </a:lnTo>
                  <a:lnTo>
                    <a:pt x="530" y="583"/>
                  </a:lnTo>
                  <a:lnTo>
                    <a:pt x="531" y="582"/>
                  </a:lnTo>
                  <a:lnTo>
                    <a:pt x="532" y="582"/>
                  </a:lnTo>
                  <a:lnTo>
                    <a:pt x="533" y="581"/>
                  </a:lnTo>
                  <a:lnTo>
                    <a:pt x="534" y="581"/>
                  </a:lnTo>
                  <a:lnTo>
                    <a:pt x="539" y="579"/>
                  </a:lnTo>
                  <a:lnTo>
                    <a:pt x="538" y="581"/>
                  </a:lnTo>
                  <a:lnTo>
                    <a:pt x="538" y="582"/>
                  </a:lnTo>
                  <a:lnTo>
                    <a:pt x="539" y="581"/>
                  </a:lnTo>
                  <a:lnTo>
                    <a:pt x="542" y="580"/>
                  </a:lnTo>
                  <a:lnTo>
                    <a:pt x="540" y="582"/>
                  </a:lnTo>
                  <a:lnTo>
                    <a:pt x="539" y="582"/>
                  </a:lnTo>
                  <a:lnTo>
                    <a:pt x="542" y="582"/>
                  </a:lnTo>
                  <a:lnTo>
                    <a:pt x="543" y="583"/>
                  </a:lnTo>
                  <a:lnTo>
                    <a:pt x="540" y="583"/>
                  </a:lnTo>
                  <a:lnTo>
                    <a:pt x="539" y="583"/>
                  </a:lnTo>
                  <a:lnTo>
                    <a:pt x="537" y="583"/>
                  </a:lnTo>
                  <a:lnTo>
                    <a:pt x="537" y="586"/>
                  </a:lnTo>
                  <a:lnTo>
                    <a:pt x="537" y="587"/>
                  </a:lnTo>
                  <a:lnTo>
                    <a:pt x="536" y="586"/>
                  </a:lnTo>
                  <a:lnTo>
                    <a:pt x="534" y="585"/>
                  </a:lnTo>
                  <a:lnTo>
                    <a:pt x="533" y="583"/>
                  </a:lnTo>
                  <a:lnTo>
                    <a:pt x="532" y="583"/>
                  </a:lnTo>
                  <a:lnTo>
                    <a:pt x="532" y="586"/>
                  </a:lnTo>
                  <a:lnTo>
                    <a:pt x="532" y="585"/>
                  </a:lnTo>
                  <a:lnTo>
                    <a:pt x="531" y="585"/>
                  </a:lnTo>
                  <a:lnTo>
                    <a:pt x="530" y="585"/>
                  </a:lnTo>
                  <a:lnTo>
                    <a:pt x="530" y="586"/>
                  </a:lnTo>
                  <a:lnTo>
                    <a:pt x="531" y="587"/>
                  </a:lnTo>
                  <a:lnTo>
                    <a:pt x="532" y="588"/>
                  </a:lnTo>
                  <a:lnTo>
                    <a:pt x="532" y="591"/>
                  </a:lnTo>
                  <a:lnTo>
                    <a:pt x="532" y="593"/>
                  </a:lnTo>
                  <a:lnTo>
                    <a:pt x="530" y="597"/>
                  </a:lnTo>
                  <a:lnTo>
                    <a:pt x="528" y="597"/>
                  </a:lnTo>
                  <a:lnTo>
                    <a:pt x="528" y="595"/>
                  </a:lnTo>
                  <a:lnTo>
                    <a:pt x="528" y="593"/>
                  </a:lnTo>
                  <a:lnTo>
                    <a:pt x="528" y="592"/>
                  </a:lnTo>
                  <a:lnTo>
                    <a:pt x="528" y="593"/>
                  </a:lnTo>
                  <a:lnTo>
                    <a:pt x="527" y="594"/>
                  </a:lnTo>
                  <a:lnTo>
                    <a:pt x="527" y="597"/>
                  </a:lnTo>
                  <a:lnTo>
                    <a:pt x="528" y="598"/>
                  </a:lnTo>
                  <a:lnTo>
                    <a:pt x="527" y="598"/>
                  </a:lnTo>
                  <a:lnTo>
                    <a:pt x="525" y="599"/>
                  </a:lnTo>
                  <a:lnTo>
                    <a:pt x="525" y="601"/>
                  </a:lnTo>
                  <a:lnTo>
                    <a:pt x="522" y="603"/>
                  </a:lnTo>
                  <a:lnTo>
                    <a:pt x="524" y="604"/>
                  </a:lnTo>
                  <a:lnTo>
                    <a:pt x="525" y="601"/>
                  </a:lnTo>
                  <a:lnTo>
                    <a:pt x="527" y="601"/>
                  </a:lnTo>
                  <a:lnTo>
                    <a:pt x="530" y="601"/>
                  </a:lnTo>
                  <a:lnTo>
                    <a:pt x="531" y="603"/>
                  </a:lnTo>
                  <a:lnTo>
                    <a:pt x="532" y="603"/>
                  </a:lnTo>
                  <a:lnTo>
                    <a:pt x="533" y="601"/>
                  </a:lnTo>
                  <a:lnTo>
                    <a:pt x="537" y="603"/>
                  </a:lnTo>
                  <a:lnTo>
                    <a:pt x="538" y="604"/>
                  </a:lnTo>
                  <a:lnTo>
                    <a:pt x="537" y="604"/>
                  </a:lnTo>
                  <a:lnTo>
                    <a:pt x="534" y="604"/>
                  </a:lnTo>
                  <a:lnTo>
                    <a:pt x="533" y="604"/>
                  </a:lnTo>
                  <a:lnTo>
                    <a:pt x="532" y="604"/>
                  </a:lnTo>
                  <a:lnTo>
                    <a:pt x="531" y="604"/>
                  </a:lnTo>
                  <a:lnTo>
                    <a:pt x="530" y="603"/>
                  </a:lnTo>
                  <a:lnTo>
                    <a:pt x="528" y="603"/>
                  </a:lnTo>
                  <a:lnTo>
                    <a:pt x="528" y="604"/>
                  </a:lnTo>
                  <a:lnTo>
                    <a:pt x="531" y="605"/>
                  </a:lnTo>
                  <a:lnTo>
                    <a:pt x="532" y="606"/>
                  </a:lnTo>
                  <a:lnTo>
                    <a:pt x="531" y="606"/>
                  </a:lnTo>
                  <a:lnTo>
                    <a:pt x="530" y="606"/>
                  </a:lnTo>
                  <a:lnTo>
                    <a:pt x="528" y="606"/>
                  </a:lnTo>
                  <a:lnTo>
                    <a:pt x="528" y="605"/>
                  </a:lnTo>
                  <a:lnTo>
                    <a:pt x="527" y="605"/>
                  </a:lnTo>
                  <a:lnTo>
                    <a:pt x="526" y="604"/>
                  </a:lnTo>
                  <a:lnTo>
                    <a:pt x="526" y="605"/>
                  </a:lnTo>
                  <a:lnTo>
                    <a:pt x="526" y="606"/>
                  </a:lnTo>
                  <a:lnTo>
                    <a:pt x="527" y="606"/>
                  </a:lnTo>
                  <a:lnTo>
                    <a:pt x="526" y="607"/>
                  </a:lnTo>
                  <a:lnTo>
                    <a:pt x="527" y="609"/>
                  </a:lnTo>
                  <a:lnTo>
                    <a:pt x="528" y="607"/>
                  </a:lnTo>
                  <a:lnTo>
                    <a:pt x="530" y="607"/>
                  </a:lnTo>
                  <a:lnTo>
                    <a:pt x="532" y="607"/>
                  </a:lnTo>
                  <a:lnTo>
                    <a:pt x="534" y="606"/>
                  </a:lnTo>
                  <a:lnTo>
                    <a:pt x="536" y="606"/>
                  </a:lnTo>
                  <a:lnTo>
                    <a:pt x="539" y="606"/>
                  </a:lnTo>
                  <a:lnTo>
                    <a:pt x="540" y="606"/>
                  </a:lnTo>
                  <a:lnTo>
                    <a:pt x="540" y="607"/>
                  </a:lnTo>
                  <a:lnTo>
                    <a:pt x="539" y="607"/>
                  </a:lnTo>
                  <a:lnTo>
                    <a:pt x="539" y="609"/>
                  </a:lnTo>
                  <a:lnTo>
                    <a:pt x="542" y="607"/>
                  </a:lnTo>
                  <a:lnTo>
                    <a:pt x="543" y="609"/>
                  </a:lnTo>
                  <a:lnTo>
                    <a:pt x="540" y="610"/>
                  </a:lnTo>
                  <a:lnTo>
                    <a:pt x="539" y="609"/>
                  </a:lnTo>
                  <a:lnTo>
                    <a:pt x="538" y="609"/>
                  </a:lnTo>
                  <a:lnTo>
                    <a:pt x="537" y="610"/>
                  </a:lnTo>
                  <a:lnTo>
                    <a:pt x="538" y="611"/>
                  </a:lnTo>
                  <a:lnTo>
                    <a:pt x="539" y="611"/>
                  </a:lnTo>
                  <a:lnTo>
                    <a:pt x="543" y="611"/>
                  </a:lnTo>
                  <a:lnTo>
                    <a:pt x="545" y="610"/>
                  </a:lnTo>
                  <a:lnTo>
                    <a:pt x="549" y="607"/>
                  </a:lnTo>
                  <a:lnTo>
                    <a:pt x="551" y="606"/>
                  </a:lnTo>
                  <a:lnTo>
                    <a:pt x="551" y="607"/>
                  </a:lnTo>
                  <a:lnTo>
                    <a:pt x="550" y="609"/>
                  </a:lnTo>
                  <a:lnTo>
                    <a:pt x="551" y="609"/>
                  </a:lnTo>
                  <a:lnTo>
                    <a:pt x="554" y="609"/>
                  </a:lnTo>
                  <a:lnTo>
                    <a:pt x="555" y="607"/>
                  </a:lnTo>
                  <a:lnTo>
                    <a:pt x="556" y="607"/>
                  </a:lnTo>
                  <a:lnTo>
                    <a:pt x="558" y="605"/>
                  </a:lnTo>
                  <a:lnTo>
                    <a:pt x="560" y="606"/>
                  </a:lnTo>
                  <a:lnTo>
                    <a:pt x="561" y="606"/>
                  </a:lnTo>
                  <a:lnTo>
                    <a:pt x="562" y="605"/>
                  </a:lnTo>
                  <a:lnTo>
                    <a:pt x="564" y="605"/>
                  </a:lnTo>
                  <a:lnTo>
                    <a:pt x="566" y="605"/>
                  </a:lnTo>
                  <a:lnTo>
                    <a:pt x="563" y="606"/>
                  </a:lnTo>
                  <a:lnTo>
                    <a:pt x="562" y="607"/>
                  </a:lnTo>
                  <a:lnTo>
                    <a:pt x="562" y="609"/>
                  </a:lnTo>
                  <a:lnTo>
                    <a:pt x="563" y="610"/>
                  </a:lnTo>
                  <a:lnTo>
                    <a:pt x="564" y="610"/>
                  </a:lnTo>
                  <a:lnTo>
                    <a:pt x="563" y="611"/>
                  </a:lnTo>
                  <a:lnTo>
                    <a:pt x="562" y="610"/>
                  </a:lnTo>
                  <a:lnTo>
                    <a:pt x="561" y="609"/>
                  </a:lnTo>
                  <a:lnTo>
                    <a:pt x="560" y="609"/>
                  </a:lnTo>
                  <a:lnTo>
                    <a:pt x="557" y="609"/>
                  </a:lnTo>
                  <a:lnTo>
                    <a:pt x="558" y="611"/>
                  </a:lnTo>
                  <a:lnTo>
                    <a:pt x="560" y="612"/>
                  </a:lnTo>
                  <a:lnTo>
                    <a:pt x="558" y="612"/>
                  </a:lnTo>
                  <a:lnTo>
                    <a:pt x="557" y="611"/>
                  </a:lnTo>
                  <a:lnTo>
                    <a:pt x="556" y="610"/>
                  </a:lnTo>
                  <a:lnTo>
                    <a:pt x="556" y="609"/>
                  </a:lnTo>
                  <a:lnTo>
                    <a:pt x="554" y="610"/>
                  </a:lnTo>
                  <a:lnTo>
                    <a:pt x="555" y="612"/>
                  </a:lnTo>
                  <a:lnTo>
                    <a:pt x="556" y="615"/>
                  </a:lnTo>
                  <a:lnTo>
                    <a:pt x="555" y="616"/>
                  </a:lnTo>
                  <a:lnTo>
                    <a:pt x="555" y="617"/>
                  </a:lnTo>
                  <a:lnTo>
                    <a:pt x="556" y="617"/>
                  </a:lnTo>
                  <a:lnTo>
                    <a:pt x="558" y="617"/>
                  </a:lnTo>
                  <a:lnTo>
                    <a:pt x="560" y="617"/>
                  </a:lnTo>
                  <a:lnTo>
                    <a:pt x="562" y="615"/>
                  </a:lnTo>
                  <a:lnTo>
                    <a:pt x="563" y="615"/>
                  </a:lnTo>
                  <a:lnTo>
                    <a:pt x="563" y="616"/>
                  </a:lnTo>
                  <a:lnTo>
                    <a:pt x="566" y="616"/>
                  </a:lnTo>
                  <a:lnTo>
                    <a:pt x="567" y="615"/>
                  </a:lnTo>
                  <a:lnTo>
                    <a:pt x="569" y="616"/>
                  </a:lnTo>
                  <a:lnTo>
                    <a:pt x="566" y="617"/>
                  </a:lnTo>
                  <a:lnTo>
                    <a:pt x="563" y="617"/>
                  </a:lnTo>
                  <a:lnTo>
                    <a:pt x="564" y="618"/>
                  </a:lnTo>
                  <a:lnTo>
                    <a:pt x="564" y="619"/>
                  </a:lnTo>
                  <a:lnTo>
                    <a:pt x="563" y="619"/>
                  </a:lnTo>
                  <a:lnTo>
                    <a:pt x="562" y="619"/>
                  </a:lnTo>
                  <a:lnTo>
                    <a:pt x="561" y="618"/>
                  </a:lnTo>
                  <a:lnTo>
                    <a:pt x="560" y="618"/>
                  </a:lnTo>
                  <a:lnTo>
                    <a:pt x="560" y="619"/>
                  </a:lnTo>
                  <a:lnTo>
                    <a:pt x="560" y="621"/>
                  </a:lnTo>
                  <a:lnTo>
                    <a:pt x="558" y="621"/>
                  </a:lnTo>
                  <a:lnTo>
                    <a:pt x="557" y="619"/>
                  </a:lnTo>
                  <a:lnTo>
                    <a:pt x="556" y="619"/>
                  </a:lnTo>
                  <a:lnTo>
                    <a:pt x="557" y="619"/>
                  </a:lnTo>
                  <a:lnTo>
                    <a:pt x="557" y="622"/>
                  </a:lnTo>
                  <a:lnTo>
                    <a:pt x="557" y="621"/>
                  </a:lnTo>
                  <a:lnTo>
                    <a:pt x="556" y="621"/>
                  </a:lnTo>
                  <a:lnTo>
                    <a:pt x="555" y="619"/>
                  </a:lnTo>
                  <a:lnTo>
                    <a:pt x="554" y="619"/>
                  </a:lnTo>
                  <a:lnTo>
                    <a:pt x="552" y="619"/>
                  </a:lnTo>
                  <a:lnTo>
                    <a:pt x="555" y="623"/>
                  </a:lnTo>
                  <a:lnTo>
                    <a:pt x="554" y="623"/>
                  </a:lnTo>
                  <a:lnTo>
                    <a:pt x="552" y="622"/>
                  </a:lnTo>
                  <a:lnTo>
                    <a:pt x="552" y="621"/>
                  </a:lnTo>
                  <a:lnTo>
                    <a:pt x="551" y="621"/>
                  </a:lnTo>
                  <a:lnTo>
                    <a:pt x="551" y="622"/>
                  </a:lnTo>
                  <a:lnTo>
                    <a:pt x="551" y="623"/>
                  </a:lnTo>
                  <a:lnTo>
                    <a:pt x="551" y="625"/>
                  </a:lnTo>
                  <a:lnTo>
                    <a:pt x="550" y="625"/>
                  </a:lnTo>
                  <a:lnTo>
                    <a:pt x="549" y="625"/>
                  </a:lnTo>
                  <a:lnTo>
                    <a:pt x="548" y="625"/>
                  </a:lnTo>
                  <a:lnTo>
                    <a:pt x="548" y="628"/>
                  </a:lnTo>
                  <a:lnTo>
                    <a:pt x="549" y="630"/>
                  </a:lnTo>
                  <a:lnTo>
                    <a:pt x="548" y="630"/>
                  </a:lnTo>
                  <a:lnTo>
                    <a:pt x="546" y="630"/>
                  </a:lnTo>
                  <a:lnTo>
                    <a:pt x="545" y="629"/>
                  </a:lnTo>
                  <a:lnTo>
                    <a:pt x="545" y="630"/>
                  </a:lnTo>
                  <a:lnTo>
                    <a:pt x="546" y="631"/>
                  </a:lnTo>
                  <a:lnTo>
                    <a:pt x="549" y="631"/>
                  </a:lnTo>
                  <a:lnTo>
                    <a:pt x="549" y="633"/>
                  </a:lnTo>
                  <a:lnTo>
                    <a:pt x="546" y="633"/>
                  </a:lnTo>
                  <a:lnTo>
                    <a:pt x="546" y="634"/>
                  </a:lnTo>
                  <a:lnTo>
                    <a:pt x="549" y="635"/>
                  </a:lnTo>
                  <a:lnTo>
                    <a:pt x="550" y="636"/>
                  </a:lnTo>
                  <a:lnTo>
                    <a:pt x="550" y="637"/>
                  </a:lnTo>
                  <a:lnTo>
                    <a:pt x="549" y="637"/>
                  </a:lnTo>
                  <a:lnTo>
                    <a:pt x="546" y="636"/>
                  </a:lnTo>
                  <a:lnTo>
                    <a:pt x="545" y="635"/>
                  </a:lnTo>
                  <a:lnTo>
                    <a:pt x="545" y="636"/>
                  </a:lnTo>
                  <a:lnTo>
                    <a:pt x="544" y="636"/>
                  </a:lnTo>
                  <a:lnTo>
                    <a:pt x="543" y="635"/>
                  </a:lnTo>
                  <a:lnTo>
                    <a:pt x="542" y="635"/>
                  </a:lnTo>
                  <a:lnTo>
                    <a:pt x="542" y="636"/>
                  </a:lnTo>
                  <a:lnTo>
                    <a:pt x="542" y="637"/>
                  </a:lnTo>
                  <a:lnTo>
                    <a:pt x="542" y="639"/>
                  </a:lnTo>
                  <a:lnTo>
                    <a:pt x="544" y="639"/>
                  </a:lnTo>
                  <a:lnTo>
                    <a:pt x="546" y="639"/>
                  </a:lnTo>
                  <a:lnTo>
                    <a:pt x="549" y="639"/>
                  </a:lnTo>
                  <a:lnTo>
                    <a:pt x="551" y="639"/>
                  </a:lnTo>
                  <a:lnTo>
                    <a:pt x="554" y="639"/>
                  </a:lnTo>
                  <a:lnTo>
                    <a:pt x="556" y="639"/>
                  </a:lnTo>
                  <a:lnTo>
                    <a:pt x="558" y="637"/>
                  </a:lnTo>
                  <a:lnTo>
                    <a:pt x="560" y="637"/>
                  </a:lnTo>
                  <a:lnTo>
                    <a:pt x="562" y="637"/>
                  </a:lnTo>
                  <a:lnTo>
                    <a:pt x="564" y="637"/>
                  </a:lnTo>
                  <a:lnTo>
                    <a:pt x="564" y="640"/>
                  </a:lnTo>
                  <a:lnTo>
                    <a:pt x="562" y="640"/>
                  </a:lnTo>
                  <a:lnTo>
                    <a:pt x="561" y="641"/>
                  </a:lnTo>
                  <a:lnTo>
                    <a:pt x="560" y="640"/>
                  </a:lnTo>
                  <a:lnTo>
                    <a:pt x="558" y="640"/>
                  </a:lnTo>
                  <a:lnTo>
                    <a:pt x="560" y="643"/>
                  </a:lnTo>
                  <a:lnTo>
                    <a:pt x="558" y="645"/>
                  </a:lnTo>
                  <a:lnTo>
                    <a:pt x="558" y="643"/>
                  </a:lnTo>
                  <a:lnTo>
                    <a:pt x="557" y="642"/>
                  </a:lnTo>
                  <a:lnTo>
                    <a:pt x="557" y="641"/>
                  </a:lnTo>
                  <a:lnTo>
                    <a:pt x="556" y="641"/>
                  </a:lnTo>
                  <a:lnTo>
                    <a:pt x="556" y="643"/>
                  </a:lnTo>
                  <a:lnTo>
                    <a:pt x="557" y="645"/>
                  </a:lnTo>
                  <a:lnTo>
                    <a:pt x="557" y="647"/>
                  </a:lnTo>
                  <a:lnTo>
                    <a:pt x="557" y="651"/>
                  </a:lnTo>
                  <a:lnTo>
                    <a:pt x="557" y="652"/>
                  </a:lnTo>
                  <a:lnTo>
                    <a:pt x="556" y="652"/>
                  </a:lnTo>
                  <a:lnTo>
                    <a:pt x="555" y="649"/>
                  </a:lnTo>
                  <a:lnTo>
                    <a:pt x="555" y="648"/>
                  </a:lnTo>
                  <a:lnTo>
                    <a:pt x="555" y="646"/>
                  </a:lnTo>
                  <a:lnTo>
                    <a:pt x="555" y="645"/>
                  </a:lnTo>
                  <a:lnTo>
                    <a:pt x="554" y="643"/>
                  </a:lnTo>
                  <a:lnTo>
                    <a:pt x="552" y="643"/>
                  </a:lnTo>
                  <a:lnTo>
                    <a:pt x="552" y="645"/>
                  </a:lnTo>
                  <a:lnTo>
                    <a:pt x="552" y="646"/>
                  </a:lnTo>
                  <a:lnTo>
                    <a:pt x="552" y="648"/>
                  </a:lnTo>
                  <a:lnTo>
                    <a:pt x="551" y="648"/>
                  </a:lnTo>
                  <a:lnTo>
                    <a:pt x="550" y="646"/>
                  </a:lnTo>
                  <a:lnTo>
                    <a:pt x="549" y="646"/>
                  </a:lnTo>
                  <a:lnTo>
                    <a:pt x="549" y="645"/>
                  </a:lnTo>
                  <a:lnTo>
                    <a:pt x="548" y="645"/>
                  </a:lnTo>
                  <a:lnTo>
                    <a:pt x="548" y="646"/>
                  </a:lnTo>
                  <a:lnTo>
                    <a:pt x="548" y="647"/>
                  </a:lnTo>
                  <a:lnTo>
                    <a:pt x="548" y="648"/>
                  </a:lnTo>
                  <a:lnTo>
                    <a:pt x="549" y="648"/>
                  </a:lnTo>
                  <a:lnTo>
                    <a:pt x="549" y="649"/>
                  </a:lnTo>
                  <a:lnTo>
                    <a:pt x="550" y="651"/>
                  </a:lnTo>
                  <a:lnTo>
                    <a:pt x="551" y="653"/>
                  </a:lnTo>
                  <a:lnTo>
                    <a:pt x="550" y="653"/>
                  </a:lnTo>
                  <a:lnTo>
                    <a:pt x="549" y="653"/>
                  </a:lnTo>
                  <a:lnTo>
                    <a:pt x="548" y="653"/>
                  </a:lnTo>
                  <a:lnTo>
                    <a:pt x="546" y="653"/>
                  </a:lnTo>
                  <a:lnTo>
                    <a:pt x="548" y="653"/>
                  </a:lnTo>
                  <a:lnTo>
                    <a:pt x="548" y="654"/>
                  </a:lnTo>
                  <a:lnTo>
                    <a:pt x="549" y="654"/>
                  </a:lnTo>
                  <a:lnTo>
                    <a:pt x="550" y="654"/>
                  </a:lnTo>
                  <a:lnTo>
                    <a:pt x="551" y="654"/>
                  </a:lnTo>
                  <a:lnTo>
                    <a:pt x="552" y="654"/>
                  </a:lnTo>
                  <a:lnTo>
                    <a:pt x="555" y="653"/>
                  </a:lnTo>
                  <a:lnTo>
                    <a:pt x="556" y="653"/>
                  </a:lnTo>
                  <a:lnTo>
                    <a:pt x="558" y="652"/>
                  </a:lnTo>
                  <a:lnTo>
                    <a:pt x="561" y="652"/>
                  </a:lnTo>
                  <a:lnTo>
                    <a:pt x="563" y="652"/>
                  </a:lnTo>
                  <a:lnTo>
                    <a:pt x="566" y="651"/>
                  </a:lnTo>
                  <a:lnTo>
                    <a:pt x="569" y="649"/>
                  </a:lnTo>
                  <a:lnTo>
                    <a:pt x="570" y="649"/>
                  </a:lnTo>
                  <a:lnTo>
                    <a:pt x="573" y="651"/>
                  </a:lnTo>
                  <a:lnTo>
                    <a:pt x="574" y="649"/>
                  </a:lnTo>
                  <a:lnTo>
                    <a:pt x="575" y="648"/>
                  </a:lnTo>
                  <a:lnTo>
                    <a:pt x="578" y="648"/>
                  </a:lnTo>
                  <a:lnTo>
                    <a:pt x="580" y="648"/>
                  </a:lnTo>
                  <a:lnTo>
                    <a:pt x="583" y="648"/>
                  </a:lnTo>
                  <a:lnTo>
                    <a:pt x="584" y="647"/>
                  </a:lnTo>
                  <a:lnTo>
                    <a:pt x="585" y="647"/>
                  </a:lnTo>
                  <a:lnTo>
                    <a:pt x="585" y="648"/>
                  </a:lnTo>
                  <a:lnTo>
                    <a:pt x="584" y="649"/>
                  </a:lnTo>
                  <a:lnTo>
                    <a:pt x="586" y="649"/>
                  </a:lnTo>
                  <a:lnTo>
                    <a:pt x="586" y="648"/>
                  </a:lnTo>
                  <a:lnTo>
                    <a:pt x="587" y="647"/>
                  </a:lnTo>
                  <a:lnTo>
                    <a:pt x="587" y="648"/>
                  </a:lnTo>
                  <a:lnTo>
                    <a:pt x="589" y="647"/>
                  </a:lnTo>
                  <a:lnTo>
                    <a:pt x="590" y="647"/>
                  </a:lnTo>
                  <a:lnTo>
                    <a:pt x="592" y="645"/>
                  </a:lnTo>
                  <a:lnTo>
                    <a:pt x="593" y="646"/>
                  </a:lnTo>
                  <a:lnTo>
                    <a:pt x="592" y="647"/>
                  </a:lnTo>
                  <a:lnTo>
                    <a:pt x="597" y="646"/>
                  </a:lnTo>
                  <a:lnTo>
                    <a:pt x="597" y="647"/>
                  </a:lnTo>
                  <a:lnTo>
                    <a:pt x="595" y="648"/>
                  </a:lnTo>
                  <a:lnTo>
                    <a:pt x="592" y="648"/>
                  </a:lnTo>
                  <a:lnTo>
                    <a:pt x="592" y="649"/>
                  </a:lnTo>
                  <a:lnTo>
                    <a:pt x="595" y="651"/>
                  </a:lnTo>
                  <a:lnTo>
                    <a:pt x="596" y="651"/>
                  </a:lnTo>
                  <a:lnTo>
                    <a:pt x="596" y="652"/>
                  </a:lnTo>
                  <a:lnTo>
                    <a:pt x="595" y="651"/>
                  </a:lnTo>
                  <a:lnTo>
                    <a:pt x="592" y="649"/>
                  </a:lnTo>
                  <a:lnTo>
                    <a:pt x="590" y="649"/>
                  </a:lnTo>
                  <a:lnTo>
                    <a:pt x="589" y="649"/>
                  </a:lnTo>
                  <a:lnTo>
                    <a:pt x="589" y="651"/>
                  </a:lnTo>
                  <a:lnTo>
                    <a:pt x="590" y="652"/>
                  </a:lnTo>
                  <a:lnTo>
                    <a:pt x="590" y="653"/>
                  </a:lnTo>
                  <a:lnTo>
                    <a:pt x="589" y="653"/>
                  </a:lnTo>
                  <a:lnTo>
                    <a:pt x="589" y="652"/>
                  </a:lnTo>
                  <a:lnTo>
                    <a:pt x="587" y="651"/>
                  </a:lnTo>
                  <a:lnTo>
                    <a:pt x="586" y="649"/>
                  </a:lnTo>
                  <a:lnTo>
                    <a:pt x="584" y="649"/>
                  </a:lnTo>
                  <a:lnTo>
                    <a:pt x="583" y="651"/>
                  </a:lnTo>
                  <a:lnTo>
                    <a:pt x="584" y="652"/>
                  </a:lnTo>
                  <a:lnTo>
                    <a:pt x="585" y="653"/>
                  </a:lnTo>
                  <a:lnTo>
                    <a:pt x="586" y="654"/>
                  </a:lnTo>
                  <a:lnTo>
                    <a:pt x="586" y="655"/>
                  </a:lnTo>
                  <a:lnTo>
                    <a:pt x="586" y="659"/>
                  </a:lnTo>
                  <a:lnTo>
                    <a:pt x="585" y="659"/>
                  </a:lnTo>
                  <a:lnTo>
                    <a:pt x="585" y="660"/>
                  </a:lnTo>
                  <a:lnTo>
                    <a:pt x="585" y="661"/>
                  </a:lnTo>
                  <a:lnTo>
                    <a:pt x="585" y="664"/>
                  </a:lnTo>
                  <a:lnTo>
                    <a:pt x="584" y="664"/>
                  </a:lnTo>
                  <a:lnTo>
                    <a:pt x="584" y="663"/>
                  </a:lnTo>
                  <a:lnTo>
                    <a:pt x="583" y="661"/>
                  </a:lnTo>
                  <a:lnTo>
                    <a:pt x="581" y="659"/>
                  </a:lnTo>
                  <a:lnTo>
                    <a:pt x="581" y="657"/>
                  </a:lnTo>
                  <a:lnTo>
                    <a:pt x="581" y="658"/>
                  </a:lnTo>
                  <a:lnTo>
                    <a:pt x="581" y="659"/>
                  </a:lnTo>
                  <a:lnTo>
                    <a:pt x="580" y="658"/>
                  </a:lnTo>
                  <a:lnTo>
                    <a:pt x="580" y="657"/>
                  </a:lnTo>
                  <a:lnTo>
                    <a:pt x="580" y="654"/>
                  </a:lnTo>
                  <a:lnTo>
                    <a:pt x="579" y="653"/>
                  </a:lnTo>
                  <a:lnTo>
                    <a:pt x="578" y="652"/>
                  </a:lnTo>
                  <a:lnTo>
                    <a:pt x="578" y="654"/>
                  </a:lnTo>
                  <a:lnTo>
                    <a:pt x="579" y="654"/>
                  </a:lnTo>
                  <a:lnTo>
                    <a:pt x="578" y="654"/>
                  </a:lnTo>
                  <a:lnTo>
                    <a:pt x="576" y="655"/>
                  </a:lnTo>
                  <a:lnTo>
                    <a:pt x="576" y="653"/>
                  </a:lnTo>
                  <a:lnTo>
                    <a:pt x="575" y="653"/>
                  </a:lnTo>
                  <a:lnTo>
                    <a:pt x="575" y="654"/>
                  </a:lnTo>
                  <a:lnTo>
                    <a:pt x="575" y="655"/>
                  </a:lnTo>
                  <a:lnTo>
                    <a:pt x="576" y="658"/>
                  </a:lnTo>
                  <a:lnTo>
                    <a:pt x="575" y="658"/>
                  </a:lnTo>
                  <a:lnTo>
                    <a:pt x="574" y="657"/>
                  </a:lnTo>
                  <a:lnTo>
                    <a:pt x="573" y="655"/>
                  </a:lnTo>
                  <a:lnTo>
                    <a:pt x="573" y="657"/>
                  </a:lnTo>
                  <a:lnTo>
                    <a:pt x="574" y="659"/>
                  </a:lnTo>
                  <a:lnTo>
                    <a:pt x="575" y="661"/>
                  </a:lnTo>
                  <a:lnTo>
                    <a:pt x="575" y="664"/>
                  </a:lnTo>
                  <a:lnTo>
                    <a:pt x="574" y="664"/>
                  </a:lnTo>
                  <a:lnTo>
                    <a:pt x="574" y="663"/>
                  </a:lnTo>
                  <a:lnTo>
                    <a:pt x="573" y="661"/>
                  </a:lnTo>
                  <a:lnTo>
                    <a:pt x="573" y="659"/>
                  </a:lnTo>
                  <a:lnTo>
                    <a:pt x="572" y="658"/>
                  </a:lnTo>
                  <a:lnTo>
                    <a:pt x="570" y="658"/>
                  </a:lnTo>
                  <a:lnTo>
                    <a:pt x="570" y="659"/>
                  </a:lnTo>
                  <a:lnTo>
                    <a:pt x="569" y="659"/>
                  </a:lnTo>
                  <a:lnTo>
                    <a:pt x="569" y="660"/>
                  </a:lnTo>
                  <a:lnTo>
                    <a:pt x="569" y="661"/>
                  </a:lnTo>
                  <a:lnTo>
                    <a:pt x="569" y="663"/>
                  </a:lnTo>
                  <a:lnTo>
                    <a:pt x="568" y="663"/>
                  </a:lnTo>
                  <a:lnTo>
                    <a:pt x="568" y="660"/>
                  </a:lnTo>
                  <a:lnTo>
                    <a:pt x="567" y="660"/>
                  </a:lnTo>
                  <a:lnTo>
                    <a:pt x="566" y="659"/>
                  </a:lnTo>
                  <a:lnTo>
                    <a:pt x="564" y="659"/>
                  </a:lnTo>
                  <a:lnTo>
                    <a:pt x="564" y="660"/>
                  </a:lnTo>
                  <a:lnTo>
                    <a:pt x="566" y="661"/>
                  </a:lnTo>
                  <a:lnTo>
                    <a:pt x="568" y="663"/>
                  </a:lnTo>
                  <a:lnTo>
                    <a:pt x="568" y="664"/>
                  </a:lnTo>
                  <a:lnTo>
                    <a:pt x="567" y="664"/>
                  </a:lnTo>
                  <a:lnTo>
                    <a:pt x="566" y="663"/>
                  </a:lnTo>
                  <a:lnTo>
                    <a:pt x="564" y="663"/>
                  </a:lnTo>
                  <a:lnTo>
                    <a:pt x="566" y="665"/>
                  </a:lnTo>
                  <a:lnTo>
                    <a:pt x="567" y="666"/>
                  </a:lnTo>
                  <a:lnTo>
                    <a:pt x="568" y="668"/>
                  </a:lnTo>
                  <a:lnTo>
                    <a:pt x="569" y="669"/>
                  </a:lnTo>
                  <a:lnTo>
                    <a:pt x="575" y="671"/>
                  </a:lnTo>
                  <a:lnTo>
                    <a:pt x="574" y="672"/>
                  </a:lnTo>
                  <a:lnTo>
                    <a:pt x="573" y="672"/>
                  </a:lnTo>
                  <a:lnTo>
                    <a:pt x="573" y="671"/>
                  </a:lnTo>
                  <a:lnTo>
                    <a:pt x="572" y="671"/>
                  </a:lnTo>
                  <a:lnTo>
                    <a:pt x="572" y="672"/>
                  </a:lnTo>
                  <a:lnTo>
                    <a:pt x="572" y="674"/>
                  </a:lnTo>
                  <a:lnTo>
                    <a:pt x="570" y="674"/>
                  </a:lnTo>
                  <a:lnTo>
                    <a:pt x="570" y="672"/>
                  </a:lnTo>
                  <a:lnTo>
                    <a:pt x="569" y="671"/>
                  </a:lnTo>
                  <a:lnTo>
                    <a:pt x="568" y="670"/>
                  </a:lnTo>
                  <a:lnTo>
                    <a:pt x="568" y="671"/>
                  </a:lnTo>
                  <a:lnTo>
                    <a:pt x="568" y="672"/>
                  </a:lnTo>
                  <a:lnTo>
                    <a:pt x="568" y="675"/>
                  </a:lnTo>
                  <a:lnTo>
                    <a:pt x="567" y="675"/>
                  </a:lnTo>
                  <a:lnTo>
                    <a:pt x="567" y="674"/>
                  </a:lnTo>
                  <a:lnTo>
                    <a:pt x="566" y="674"/>
                  </a:lnTo>
                  <a:lnTo>
                    <a:pt x="564" y="674"/>
                  </a:lnTo>
                  <a:lnTo>
                    <a:pt x="564" y="675"/>
                  </a:lnTo>
                  <a:lnTo>
                    <a:pt x="564" y="674"/>
                  </a:lnTo>
                  <a:lnTo>
                    <a:pt x="563" y="674"/>
                  </a:lnTo>
                  <a:lnTo>
                    <a:pt x="563" y="672"/>
                  </a:lnTo>
                  <a:lnTo>
                    <a:pt x="563" y="671"/>
                  </a:lnTo>
                  <a:lnTo>
                    <a:pt x="564" y="671"/>
                  </a:lnTo>
                  <a:lnTo>
                    <a:pt x="564" y="669"/>
                  </a:lnTo>
                  <a:lnTo>
                    <a:pt x="563" y="668"/>
                  </a:lnTo>
                  <a:lnTo>
                    <a:pt x="563" y="669"/>
                  </a:lnTo>
                  <a:lnTo>
                    <a:pt x="562" y="670"/>
                  </a:lnTo>
                  <a:lnTo>
                    <a:pt x="561" y="669"/>
                  </a:lnTo>
                  <a:lnTo>
                    <a:pt x="560" y="669"/>
                  </a:lnTo>
                  <a:lnTo>
                    <a:pt x="560" y="671"/>
                  </a:lnTo>
                  <a:lnTo>
                    <a:pt x="558" y="672"/>
                  </a:lnTo>
                  <a:lnTo>
                    <a:pt x="558" y="671"/>
                  </a:lnTo>
                  <a:lnTo>
                    <a:pt x="558" y="669"/>
                  </a:lnTo>
                  <a:lnTo>
                    <a:pt x="558" y="668"/>
                  </a:lnTo>
                  <a:lnTo>
                    <a:pt x="558" y="665"/>
                  </a:lnTo>
                  <a:lnTo>
                    <a:pt x="557" y="664"/>
                  </a:lnTo>
                  <a:lnTo>
                    <a:pt x="557" y="663"/>
                  </a:lnTo>
                  <a:lnTo>
                    <a:pt x="557" y="664"/>
                  </a:lnTo>
                  <a:lnTo>
                    <a:pt x="556" y="665"/>
                  </a:lnTo>
                  <a:lnTo>
                    <a:pt x="556" y="664"/>
                  </a:lnTo>
                  <a:lnTo>
                    <a:pt x="555" y="664"/>
                  </a:lnTo>
                  <a:lnTo>
                    <a:pt x="556" y="665"/>
                  </a:lnTo>
                  <a:lnTo>
                    <a:pt x="556" y="666"/>
                  </a:lnTo>
                  <a:lnTo>
                    <a:pt x="555" y="668"/>
                  </a:lnTo>
                  <a:lnTo>
                    <a:pt x="554" y="668"/>
                  </a:lnTo>
                  <a:lnTo>
                    <a:pt x="554" y="669"/>
                  </a:lnTo>
                  <a:lnTo>
                    <a:pt x="554" y="670"/>
                  </a:lnTo>
                  <a:lnTo>
                    <a:pt x="555" y="671"/>
                  </a:lnTo>
                  <a:lnTo>
                    <a:pt x="557" y="671"/>
                  </a:lnTo>
                  <a:lnTo>
                    <a:pt x="557" y="672"/>
                  </a:lnTo>
                  <a:lnTo>
                    <a:pt x="557" y="674"/>
                  </a:lnTo>
                  <a:lnTo>
                    <a:pt x="558" y="674"/>
                  </a:lnTo>
                  <a:lnTo>
                    <a:pt x="558" y="675"/>
                  </a:lnTo>
                  <a:lnTo>
                    <a:pt x="560" y="676"/>
                  </a:lnTo>
                  <a:lnTo>
                    <a:pt x="563" y="677"/>
                  </a:lnTo>
                  <a:lnTo>
                    <a:pt x="564" y="677"/>
                  </a:lnTo>
                  <a:lnTo>
                    <a:pt x="566" y="677"/>
                  </a:lnTo>
                  <a:lnTo>
                    <a:pt x="568" y="677"/>
                  </a:lnTo>
                  <a:lnTo>
                    <a:pt x="570" y="677"/>
                  </a:lnTo>
                  <a:lnTo>
                    <a:pt x="572" y="677"/>
                  </a:lnTo>
                  <a:lnTo>
                    <a:pt x="572" y="678"/>
                  </a:lnTo>
                  <a:lnTo>
                    <a:pt x="573" y="678"/>
                  </a:lnTo>
                  <a:lnTo>
                    <a:pt x="574" y="680"/>
                  </a:lnTo>
                  <a:lnTo>
                    <a:pt x="572" y="680"/>
                  </a:lnTo>
                  <a:lnTo>
                    <a:pt x="570" y="678"/>
                  </a:lnTo>
                  <a:lnTo>
                    <a:pt x="570" y="680"/>
                  </a:lnTo>
                  <a:lnTo>
                    <a:pt x="569" y="681"/>
                  </a:lnTo>
                  <a:lnTo>
                    <a:pt x="569" y="682"/>
                  </a:lnTo>
                  <a:lnTo>
                    <a:pt x="569" y="681"/>
                  </a:lnTo>
                  <a:lnTo>
                    <a:pt x="568" y="680"/>
                  </a:lnTo>
                  <a:lnTo>
                    <a:pt x="568" y="678"/>
                  </a:lnTo>
                  <a:lnTo>
                    <a:pt x="567" y="678"/>
                  </a:lnTo>
                  <a:lnTo>
                    <a:pt x="566" y="678"/>
                  </a:lnTo>
                  <a:lnTo>
                    <a:pt x="566" y="680"/>
                  </a:lnTo>
                  <a:lnTo>
                    <a:pt x="567" y="681"/>
                  </a:lnTo>
                  <a:lnTo>
                    <a:pt x="568" y="683"/>
                  </a:lnTo>
                  <a:lnTo>
                    <a:pt x="567" y="684"/>
                  </a:lnTo>
                  <a:lnTo>
                    <a:pt x="566" y="683"/>
                  </a:lnTo>
                  <a:lnTo>
                    <a:pt x="564" y="682"/>
                  </a:lnTo>
                  <a:lnTo>
                    <a:pt x="563" y="681"/>
                  </a:lnTo>
                  <a:lnTo>
                    <a:pt x="563" y="680"/>
                  </a:lnTo>
                  <a:lnTo>
                    <a:pt x="561" y="678"/>
                  </a:lnTo>
                  <a:lnTo>
                    <a:pt x="560" y="677"/>
                  </a:lnTo>
                  <a:lnTo>
                    <a:pt x="560" y="678"/>
                  </a:lnTo>
                  <a:lnTo>
                    <a:pt x="560" y="680"/>
                  </a:lnTo>
                  <a:lnTo>
                    <a:pt x="560" y="681"/>
                  </a:lnTo>
                  <a:lnTo>
                    <a:pt x="560" y="682"/>
                  </a:lnTo>
                  <a:lnTo>
                    <a:pt x="561" y="684"/>
                  </a:lnTo>
                  <a:lnTo>
                    <a:pt x="561" y="686"/>
                  </a:lnTo>
                  <a:lnTo>
                    <a:pt x="558" y="687"/>
                  </a:lnTo>
                  <a:lnTo>
                    <a:pt x="558" y="684"/>
                  </a:lnTo>
                  <a:lnTo>
                    <a:pt x="558" y="683"/>
                  </a:lnTo>
                  <a:lnTo>
                    <a:pt x="558" y="682"/>
                  </a:lnTo>
                  <a:lnTo>
                    <a:pt x="558" y="681"/>
                  </a:lnTo>
                  <a:lnTo>
                    <a:pt x="557" y="683"/>
                  </a:lnTo>
                  <a:lnTo>
                    <a:pt x="557" y="682"/>
                  </a:lnTo>
                  <a:lnTo>
                    <a:pt x="556" y="681"/>
                  </a:lnTo>
                  <a:lnTo>
                    <a:pt x="555" y="680"/>
                  </a:lnTo>
                  <a:lnTo>
                    <a:pt x="555" y="678"/>
                  </a:lnTo>
                  <a:lnTo>
                    <a:pt x="555" y="680"/>
                  </a:lnTo>
                  <a:lnTo>
                    <a:pt x="555" y="682"/>
                  </a:lnTo>
                  <a:lnTo>
                    <a:pt x="555" y="683"/>
                  </a:lnTo>
                  <a:lnTo>
                    <a:pt x="554" y="682"/>
                  </a:lnTo>
                  <a:lnTo>
                    <a:pt x="552" y="680"/>
                  </a:lnTo>
                  <a:lnTo>
                    <a:pt x="551" y="678"/>
                  </a:lnTo>
                  <a:lnTo>
                    <a:pt x="551" y="680"/>
                  </a:lnTo>
                  <a:lnTo>
                    <a:pt x="552" y="682"/>
                  </a:lnTo>
                  <a:lnTo>
                    <a:pt x="552" y="683"/>
                  </a:lnTo>
                  <a:lnTo>
                    <a:pt x="552" y="684"/>
                  </a:lnTo>
                  <a:lnTo>
                    <a:pt x="552" y="687"/>
                  </a:lnTo>
                  <a:lnTo>
                    <a:pt x="552" y="688"/>
                  </a:lnTo>
                  <a:lnTo>
                    <a:pt x="554" y="690"/>
                  </a:lnTo>
                  <a:lnTo>
                    <a:pt x="554" y="692"/>
                  </a:lnTo>
                  <a:lnTo>
                    <a:pt x="555" y="694"/>
                  </a:lnTo>
                  <a:lnTo>
                    <a:pt x="552" y="694"/>
                  </a:lnTo>
                  <a:lnTo>
                    <a:pt x="554" y="695"/>
                  </a:lnTo>
                  <a:lnTo>
                    <a:pt x="555" y="695"/>
                  </a:lnTo>
                  <a:lnTo>
                    <a:pt x="556" y="695"/>
                  </a:lnTo>
                  <a:lnTo>
                    <a:pt x="558" y="695"/>
                  </a:lnTo>
                  <a:lnTo>
                    <a:pt x="560" y="694"/>
                  </a:lnTo>
                  <a:lnTo>
                    <a:pt x="562" y="694"/>
                  </a:lnTo>
                  <a:lnTo>
                    <a:pt x="563" y="694"/>
                  </a:lnTo>
                  <a:lnTo>
                    <a:pt x="566" y="692"/>
                  </a:lnTo>
                  <a:lnTo>
                    <a:pt x="568" y="690"/>
                  </a:lnTo>
                  <a:lnTo>
                    <a:pt x="569" y="689"/>
                  </a:lnTo>
                  <a:lnTo>
                    <a:pt x="572" y="689"/>
                  </a:lnTo>
                  <a:lnTo>
                    <a:pt x="573" y="688"/>
                  </a:lnTo>
                  <a:lnTo>
                    <a:pt x="573" y="687"/>
                  </a:lnTo>
                  <a:lnTo>
                    <a:pt x="574" y="687"/>
                  </a:lnTo>
                  <a:lnTo>
                    <a:pt x="574" y="686"/>
                  </a:lnTo>
                  <a:lnTo>
                    <a:pt x="576" y="686"/>
                  </a:lnTo>
                  <a:lnTo>
                    <a:pt x="578" y="684"/>
                  </a:lnTo>
                  <a:lnTo>
                    <a:pt x="578" y="687"/>
                  </a:lnTo>
                  <a:lnTo>
                    <a:pt x="579" y="688"/>
                  </a:lnTo>
                  <a:lnTo>
                    <a:pt x="580" y="689"/>
                  </a:lnTo>
                  <a:lnTo>
                    <a:pt x="578" y="689"/>
                  </a:lnTo>
                  <a:lnTo>
                    <a:pt x="576" y="690"/>
                  </a:lnTo>
                  <a:lnTo>
                    <a:pt x="574" y="693"/>
                  </a:lnTo>
                  <a:lnTo>
                    <a:pt x="573" y="692"/>
                  </a:lnTo>
                  <a:lnTo>
                    <a:pt x="574" y="693"/>
                  </a:lnTo>
                  <a:lnTo>
                    <a:pt x="575" y="694"/>
                  </a:lnTo>
                  <a:lnTo>
                    <a:pt x="576" y="694"/>
                  </a:lnTo>
                  <a:lnTo>
                    <a:pt x="579" y="693"/>
                  </a:lnTo>
                  <a:lnTo>
                    <a:pt x="581" y="693"/>
                  </a:lnTo>
                  <a:lnTo>
                    <a:pt x="584" y="693"/>
                  </a:lnTo>
                  <a:lnTo>
                    <a:pt x="586" y="692"/>
                  </a:lnTo>
                  <a:lnTo>
                    <a:pt x="589" y="690"/>
                  </a:lnTo>
                  <a:lnTo>
                    <a:pt x="591" y="689"/>
                  </a:lnTo>
                  <a:lnTo>
                    <a:pt x="595" y="686"/>
                  </a:lnTo>
                  <a:lnTo>
                    <a:pt x="601" y="683"/>
                  </a:lnTo>
                  <a:lnTo>
                    <a:pt x="605" y="681"/>
                  </a:lnTo>
                  <a:lnTo>
                    <a:pt x="607" y="680"/>
                  </a:lnTo>
                  <a:lnTo>
                    <a:pt x="608" y="680"/>
                  </a:lnTo>
                  <a:lnTo>
                    <a:pt x="609" y="680"/>
                  </a:lnTo>
                  <a:lnTo>
                    <a:pt x="610" y="678"/>
                  </a:lnTo>
                  <a:lnTo>
                    <a:pt x="613" y="677"/>
                  </a:lnTo>
                  <a:lnTo>
                    <a:pt x="614" y="676"/>
                  </a:lnTo>
                  <a:lnTo>
                    <a:pt x="616" y="676"/>
                  </a:lnTo>
                  <a:lnTo>
                    <a:pt x="622" y="675"/>
                  </a:lnTo>
                  <a:lnTo>
                    <a:pt x="622" y="676"/>
                  </a:lnTo>
                  <a:lnTo>
                    <a:pt x="621" y="676"/>
                  </a:lnTo>
                  <a:lnTo>
                    <a:pt x="617" y="677"/>
                  </a:lnTo>
                  <a:lnTo>
                    <a:pt x="617" y="678"/>
                  </a:lnTo>
                  <a:lnTo>
                    <a:pt x="619" y="680"/>
                  </a:lnTo>
                  <a:lnTo>
                    <a:pt x="616" y="680"/>
                  </a:lnTo>
                  <a:lnTo>
                    <a:pt x="615" y="678"/>
                  </a:lnTo>
                  <a:lnTo>
                    <a:pt x="614" y="680"/>
                  </a:lnTo>
                  <a:lnTo>
                    <a:pt x="615" y="680"/>
                  </a:lnTo>
                  <a:lnTo>
                    <a:pt x="616" y="681"/>
                  </a:lnTo>
                  <a:lnTo>
                    <a:pt x="614" y="681"/>
                  </a:lnTo>
                  <a:lnTo>
                    <a:pt x="613" y="682"/>
                  </a:lnTo>
                  <a:lnTo>
                    <a:pt x="610" y="682"/>
                  </a:lnTo>
                  <a:lnTo>
                    <a:pt x="611" y="683"/>
                  </a:lnTo>
                  <a:lnTo>
                    <a:pt x="611" y="684"/>
                  </a:lnTo>
                  <a:lnTo>
                    <a:pt x="610" y="683"/>
                  </a:lnTo>
                  <a:lnTo>
                    <a:pt x="609" y="683"/>
                  </a:lnTo>
                  <a:lnTo>
                    <a:pt x="608" y="683"/>
                  </a:lnTo>
                  <a:lnTo>
                    <a:pt x="610" y="686"/>
                  </a:lnTo>
                  <a:lnTo>
                    <a:pt x="609" y="687"/>
                  </a:lnTo>
                  <a:lnTo>
                    <a:pt x="608" y="686"/>
                  </a:lnTo>
                  <a:lnTo>
                    <a:pt x="607" y="684"/>
                  </a:lnTo>
                  <a:lnTo>
                    <a:pt x="605" y="683"/>
                  </a:lnTo>
                  <a:lnTo>
                    <a:pt x="604" y="684"/>
                  </a:lnTo>
                  <a:lnTo>
                    <a:pt x="605" y="687"/>
                  </a:lnTo>
                  <a:lnTo>
                    <a:pt x="607" y="687"/>
                  </a:lnTo>
                  <a:lnTo>
                    <a:pt x="607" y="688"/>
                  </a:lnTo>
                  <a:lnTo>
                    <a:pt x="605" y="688"/>
                  </a:lnTo>
                  <a:lnTo>
                    <a:pt x="608" y="689"/>
                  </a:lnTo>
                  <a:lnTo>
                    <a:pt x="609" y="690"/>
                  </a:lnTo>
                  <a:lnTo>
                    <a:pt x="604" y="689"/>
                  </a:lnTo>
                  <a:lnTo>
                    <a:pt x="603" y="688"/>
                  </a:lnTo>
                  <a:lnTo>
                    <a:pt x="602" y="687"/>
                  </a:lnTo>
                  <a:lnTo>
                    <a:pt x="603" y="689"/>
                  </a:lnTo>
                  <a:lnTo>
                    <a:pt x="603" y="692"/>
                  </a:lnTo>
                  <a:lnTo>
                    <a:pt x="602" y="690"/>
                  </a:lnTo>
                  <a:lnTo>
                    <a:pt x="599" y="688"/>
                  </a:lnTo>
                  <a:lnTo>
                    <a:pt x="599" y="689"/>
                  </a:lnTo>
                  <a:lnTo>
                    <a:pt x="601" y="692"/>
                  </a:lnTo>
                  <a:lnTo>
                    <a:pt x="602" y="694"/>
                  </a:lnTo>
                  <a:lnTo>
                    <a:pt x="603" y="698"/>
                  </a:lnTo>
                  <a:lnTo>
                    <a:pt x="603" y="700"/>
                  </a:lnTo>
                  <a:lnTo>
                    <a:pt x="603" y="701"/>
                  </a:lnTo>
                  <a:lnTo>
                    <a:pt x="602" y="700"/>
                  </a:lnTo>
                  <a:lnTo>
                    <a:pt x="601" y="699"/>
                  </a:lnTo>
                  <a:lnTo>
                    <a:pt x="599" y="698"/>
                  </a:lnTo>
                  <a:lnTo>
                    <a:pt x="599" y="696"/>
                  </a:lnTo>
                  <a:lnTo>
                    <a:pt x="598" y="695"/>
                  </a:lnTo>
                  <a:lnTo>
                    <a:pt x="597" y="696"/>
                  </a:lnTo>
                  <a:lnTo>
                    <a:pt x="598" y="698"/>
                  </a:lnTo>
                  <a:lnTo>
                    <a:pt x="598" y="699"/>
                  </a:lnTo>
                  <a:lnTo>
                    <a:pt x="599" y="700"/>
                  </a:lnTo>
                  <a:lnTo>
                    <a:pt x="599" y="701"/>
                  </a:lnTo>
                  <a:lnTo>
                    <a:pt x="598" y="701"/>
                  </a:lnTo>
                  <a:lnTo>
                    <a:pt x="599" y="701"/>
                  </a:lnTo>
                  <a:lnTo>
                    <a:pt x="598" y="702"/>
                  </a:lnTo>
                  <a:lnTo>
                    <a:pt x="598" y="704"/>
                  </a:lnTo>
                  <a:lnTo>
                    <a:pt x="597" y="704"/>
                  </a:lnTo>
                  <a:lnTo>
                    <a:pt x="596" y="702"/>
                  </a:lnTo>
                  <a:lnTo>
                    <a:pt x="596" y="701"/>
                  </a:lnTo>
                  <a:lnTo>
                    <a:pt x="595" y="701"/>
                  </a:lnTo>
                  <a:lnTo>
                    <a:pt x="595" y="704"/>
                  </a:lnTo>
                  <a:lnTo>
                    <a:pt x="596" y="707"/>
                  </a:lnTo>
                  <a:lnTo>
                    <a:pt x="595" y="706"/>
                  </a:lnTo>
                  <a:lnTo>
                    <a:pt x="593" y="707"/>
                  </a:lnTo>
                  <a:lnTo>
                    <a:pt x="592" y="705"/>
                  </a:lnTo>
                  <a:lnTo>
                    <a:pt x="592" y="702"/>
                  </a:lnTo>
                  <a:lnTo>
                    <a:pt x="592" y="701"/>
                  </a:lnTo>
                  <a:lnTo>
                    <a:pt x="591" y="701"/>
                  </a:lnTo>
                  <a:lnTo>
                    <a:pt x="591" y="702"/>
                  </a:lnTo>
                  <a:lnTo>
                    <a:pt x="591" y="705"/>
                  </a:lnTo>
                  <a:lnTo>
                    <a:pt x="590" y="705"/>
                  </a:lnTo>
                  <a:lnTo>
                    <a:pt x="590" y="702"/>
                  </a:lnTo>
                  <a:lnTo>
                    <a:pt x="589" y="701"/>
                  </a:lnTo>
                  <a:lnTo>
                    <a:pt x="589" y="704"/>
                  </a:lnTo>
                  <a:lnTo>
                    <a:pt x="587" y="704"/>
                  </a:lnTo>
                  <a:lnTo>
                    <a:pt x="587" y="705"/>
                  </a:lnTo>
                  <a:lnTo>
                    <a:pt x="586" y="705"/>
                  </a:lnTo>
                  <a:lnTo>
                    <a:pt x="587" y="707"/>
                  </a:lnTo>
                  <a:lnTo>
                    <a:pt x="587" y="708"/>
                  </a:lnTo>
                  <a:lnTo>
                    <a:pt x="587" y="710"/>
                  </a:lnTo>
                  <a:lnTo>
                    <a:pt x="586" y="711"/>
                  </a:lnTo>
                  <a:lnTo>
                    <a:pt x="586" y="712"/>
                  </a:lnTo>
                  <a:lnTo>
                    <a:pt x="587" y="714"/>
                  </a:lnTo>
                  <a:lnTo>
                    <a:pt x="586" y="714"/>
                  </a:lnTo>
                  <a:lnTo>
                    <a:pt x="585" y="713"/>
                  </a:lnTo>
                  <a:lnTo>
                    <a:pt x="585" y="711"/>
                  </a:lnTo>
                  <a:lnTo>
                    <a:pt x="585" y="708"/>
                  </a:lnTo>
                  <a:lnTo>
                    <a:pt x="583" y="710"/>
                  </a:lnTo>
                  <a:lnTo>
                    <a:pt x="583" y="708"/>
                  </a:lnTo>
                  <a:lnTo>
                    <a:pt x="581" y="708"/>
                  </a:lnTo>
                  <a:lnTo>
                    <a:pt x="581" y="710"/>
                  </a:lnTo>
                  <a:lnTo>
                    <a:pt x="581" y="712"/>
                  </a:lnTo>
                  <a:lnTo>
                    <a:pt x="580" y="711"/>
                  </a:lnTo>
                  <a:lnTo>
                    <a:pt x="579" y="710"/>
                  </a:lnTo>
                  <a:lnTo>
                    <a:pt x="579" y="708"/>
                  </a:lnTo>
                  <a:lnTo>
                    <a:pt x="578" y="708"/>
                  </a:lnTo>
                  <a:lnTo>
                    <a:pt x="579" y="711"/>
                  </a:lnTo>
                  <a:lnTo>
                    <a:pt x="579" y="712"/>
                  </a:lnTo>
                  <a:lnTo>
                    <a:pt x="581" y="713"/>
                  </a:lnTo>
                  <a:lnTo>
                    <a:pt x="583" y="714"/>
                  </a:lnTo>
                  <a:lnTo>
                    <a:pt x="587" y="716"/>
                  </a:lnTo>
                  <a:lnTo>
                    <a:pt x="587" y="717"/>
                  </a:lnTo>
                  <a:lnTo>
                    <a:pt x="590" y="718"/>
                  </a:lnTo>
                  <a:lnTo>
                    <a:pt x="592" y="718"/>
                  </a:lnTo>
                  <a:lnTo>
                    <a:pt x="598" y="716"/>
                  </a:lnTo>
                  <a:lnTo>
                    <a:pt x="598" y="717"/>
                  </a:lnTo>
                  <a:lnTo>
                    <a:pt x="593" y="718"/>
                  </a:lnTo>
                  <a:lnTo>
                    <a:pt x="593" y="719"/>
                  </a:lnTo>
                  <a:lnTo>
                    <a:pt x="596" y="720"/>
                  </a:lnTo>
                  <a:lnTo>
                    <a:pt x="597" y="723"/>
                  </a:lnTo>
                  <a:lnTo>
                    <a:pt x="595" y="722"/>
                  </a:lnTo>
                  <a:lnTo>
                    <a:pt x="593" y="720"/>
                  </a:lnTo>
                  <a:lnTo>
                    <a:pt x="593" y="724"/>
                  </a:lnTo>
                  <a:lnTo>
                    <a:pt x="592" y="722"/>
                  </a:lnTo>
                  <a:lnTo>
                    <a:pt x="591" y="719"/>
                  </a:lnTo>
                  <a:lnTo>
                    <a:pt x="590" y="719"/>
                  </a:lnTo>
                  <a:lnTo>
                    <a:pt x="590" y="720"/>
                  </a:lnTo>
                  <a:lnTo>
                    <a:pt x="590" y="724"/>
                  </a:lnTo>
                  <a:lnTo>
                    <a:pt x="589" y="724"/>
                  </a:lnTo>
                  <a:lnTo>
                    <a:pt x="587" y="723"/>
                  </a:lnTo>
                  <a:lnTo>
                    <a:pt x="589" y="723"/>
                  </a:lnTo>
                  <a:lnTo>
                    <a:pt x="589" y="722"/>
                  </a:lnTo>
                  <a:lnTo>
                    <a:pt x="589" y="720"/>
                  </a:lnTo>
                  <a:lnTo>
                    <a:pt x="587" y="720"/>
                  </a:lnTo>
                  <a:lnTo>
                    <a:pt x="585" y="720"/>
                  </a:lnTo>
                  <a:lnTo>
                    <a:pt x="584" y="720"/>
                  </a:lnTo>
                  <a:lnTo>
                    <a:pt x="585" y="723"/>
                  </a:lnTo>
                  <a:lnTo>
                    <a:pt x="587" y="724"/>
                  </a:lnTo>
                  <a:lnTo>
                    <a:pt x="589" y="725"/>
                  </a:lnTo>
                  <a:lnTo>
                    <a:pt x="589" y="726"/>
                  </a:lnTo>
                  <a:lnTo>
                    <a:pt x="585" y="725"/>
                  </a:lnTo>
                  <a:lnTo>
                    <a:pt x="586" y="725"/>
                  </a:lnTo>
                  <a:lnTo>
                    <a:pt x="587" y="728"/>
                  </a:lnTo>
                  <a:lnTo>
                    <a:pt x="587" y="729"/>
                  </a:lnTo>
                  <a:lnTo>
                    <a:pt x="586" y="729"/>
                  </a:lnTo>
                  <a:lnTo>
                    <a:pt x="585" y="728"/>
                  </a:lnTo>
                  <a:lnTo>
                    <a:pt x="584" y="725"/>
                  </a:lnTo>
                  <a:lnTo>
                    <a:pt x="581" y="723"/>
                  </a:lnTo>
                  <a:lnTo>
                    <a:pt x="579" y="722"/>
                  </a:lnTo>
                  <a:lnTo>
                    <a:pt x="576" y="722"/>
                  </a:lnTo>
                  <a:lnTo>
                    <a:pt x="574" y="722"/>
                  </a:lnTo>
                  <a:lnTo>
                    <a:pt x="575" y="725"/>
                  </a:lnTo>
                  <a:lnTo>
                    <a:pt x="578" y="728"/>
                  </a:lnTo>
                  <a:lnTo>
                    <a:pt x="578" y="729"/>
                  </a:lnTo>
                  <a:lnTo>
                    <a:pt x="580" y="729"/>
                  </a:lnTo>
                  <a:lnTo>
                    <a:pt x="583" y="730"/>
                  </a:lnTo>
                  <a:lnTo>
                    <a:pt x="584" y="731"/>
                  </a:lnTo>
                  <a:lnTo>
                    <a:pt x="586" y="732"/>
                  </a:lnTo>
                  <a:lnTo>
                    <a:pt x="586" y="734"/>
                  </a:lnTo>
                  <a:lnTo>
                    <a:pt x="586" y="735"/>
                  </a:lnTo>
                  <a:lnTo>
                    <a:pt x="585" y="735"/>
                  </a:lnTo>
                  <a:lnTo>
                    <a:pt x="584" y="734"/>
                  </a:lnTo>
                  <a:lnTo>
                    <a:pt x="584" y="735"/>
                  </a:lnTo>
                  <a:lnTo>
                    <a:pt x="583" y="734"/>
                  </a:lnTo>
                  <a:lnTo>
                    <a:pt x="581" y="732"/>
                  </a:lnTo>
                  <a:lnTo>
                    <a:pt x="579" y="730"/>
                  </a:lnTo>
                  <a:lnTo>
                    <a:pt x="578" y="730"/>
                  </a:lnTo>
                  <a:lnTo>
                    <a:pt x="576" y="729"/>
                  </a:lnTo>
                  <a:lnTo>
                    <a:pt x="578" y="731"/>
                  </a:lnTo>
                  <a:lnTo>
                    <a:pt x="579" y="735"/>
                  </a:lnTo>
                  <a:lnTo>
                    <a:pt x="576" y="735"/>
                  </a:lnTo>
                  <a:lnTo>
                    <a:pt x="575" y="734"/>
                  </a:lnTo>
                  <a:lnTo>
                    <a:pt x="575" y="735"/>
                  </a:lnTo>
                  <a:lnTo>
                    <a:pt x="575" y="736"/>
                  </a:lnTo>
                  <a:lnTo>
                    <a:pt x="574" y="735"/>
                  </a:lnTo>
                  <a:lnTo>
                    <a:pt x="573" y="734"/>
                  </a:lnTo>
                  <a:lnTo>
                    <a:pt x="573" y="732"/>
                  </a:lnTo>
                  <a:lnTo>
                    <a:pt x="573" y="730"/>
                  </a:lnTo>
                  <a:lnTo>
                    <a:pt x="572" y="728"/>
                  </a:lnTo>
                  <a:lnTo>
                    <a:pt x="570" y="730"/>
                  </a:lnTo>
                  <a:lnTo>
                    <a:pt x="572" y="728"/>
                  </a:lnTo>
                  <a:lnTo>
                    <a:pt x="572" y="726"/>
                  </a:lnTo>
                  <a:lnTo>
                    <a:pt x="570" y="725"/>
                  </a:lnTo>
                  <a:lnTo>
                    <a:pt x="569" y="725"/>
                  </a:lnTo>
                  <a:lnTo>
                    <a:pt x="569" y="726"/>
                  </a:lnTo>
                  <a:lnTo>
                    <a:pt x="568" y="724"/>
                  </a:lnTo>
                  <a:lnTo>
                    <a:pt x="568" y="723"/>
                  </a:lnTo>
                  <a:lnTo>
                    <a:pt x="567" y="723"/>
                  </a:lnTo>
                  <a:lnTo>
                    <a:pt x="567" y="724"/>
                  </a:lnTo>
                  <a:lnTo>
                    <a:pt x="567" y="726"/>
                  </a:lnTo>
                  <a:lnTo>
                    <a:pt x="568" y="729"/>
                  </a:lnTo>
                  <a:lnTo>
                    <a:pt x="568" y="731"/>
                  </a:lnTo>
                  <a:lnTo>
                    <a:pt x="568" y="732"/>
                  </a:lnTo>
                  <a:lnTo>
                    <a:pt x="569" y="734"/>
                  </a:lnTo>
                  <a:lnTo>
                    <a:pt x="569" y="735"/>
                  </a:lnTo>
                  <a:lnTo>
                    <a:pt x="569" y="736"/>
                  </a:lnTo>
                  <a:lnTo>
                    <a:pt x="568" y="740"/>
                  </a:lnTo>
                  <a:lnTo>
                    <a:pt x="568" y="738"/>
                  </a:lnTo>
                  <a:lnTo>
                    <a:pt x="566" y="737"/>
                  </a:lnTo>
                  <a:lnTo>
                    <a:pt x="564" y="737"/>
                  </a:lnTo>
                  <a:lnTo>
                    <a:pt x="564" y="736"/>
                  </a:lnTo>
                  <a:lnTo>
                    <a:pt x="564" y="734"/>
                  </a:lnTo>
                  <a:lnTo>
                    <a:pt x="564" y="731"/>
                  </a:lnTo>
                  <a:lnTo>
                    <a:pt x="563" y="732"/>
                  </a:lnTo>
                  <a:lnTo>
                    <a:pt x="563" y="734"/>
                  </a:lnTo>
                  <a:lnTo>
                    <a:pt x="563" y="736"/>
                  </a:lnTo>
                  <a:lnTo>
                    <a:pt x="563" y="737"/>
                  </a:lnTo>
                  <a:lnTo>
                    <a:pt x="563" y="738"/>
                  </a:lnTo>
                  <a:lnTo>
                    <a:pt x="563" y="740"/>
                  </a:lnTo>
                  <a:lnTo>
                    <a:pt x="562" y="741"/>
                  </a:lnTo>
                  <a:lnTo>
                    <a:pt x="562" y="740"/>
                  </a:lnTo>
                  <a:lnTo>
                    <a:pt x="561" y="741"/>
                  </a:lnTo>
                  <a:lnTo>
                    <a:pt x="561" y="742"/>
                  </a:lnTo>
                  <a:lnTo>
                    <a:pt x="560" y="742"/>
                  </a:lnTo>
                  <a:lnTo>
                    <a:pt x="560" y="740"/>
                  </a:lnTo>
                  <a:lnTo>
                    <a:pt x="561" y="736"/>
                  </a:lnTo>
                  <a:lnTo>
                    <a:pt x="560" y="734"/>
                  </a:lnTo>
                  <a:lnTo>
                    <a:pt x="560" y="730"/>
                  </a:lnTo>
                  <a:lnTo>
                    <a:pt x="558" y="735"/>
                  </a:lnTo>
                  <a:lnTo>
                    <a:pt x="557" y="735"/>
                  </a:lnTo>
                  <a:lnTo>
                    <a:pt x="557" y="732"/>
                  </a:lnTo>
                  <a:lnTo>
                    <a:pt x="557" y="730"/>
                  </a:lnTo>
                  <a:lnTo>
                    <a:pt x="556" y="728"/>
                  </a:lnTo>
                  <a:lnTo>
                    <a:pt x="556" y="725"/>
                  </a:lnTo>
                  <a:lnTo>
                    <a:pt x="555" y="724"/>
                  </a:lnTo>
                  <a:lnTo>
                    <a:pt x="555" y="726"/>
                  </a:lnTo>
                  <a:lnTo>
                    <a:pt x="555" y="730"/>
                  </a:lnTo>
                  <a:lnTo>
                    <a:pt x="556" y="734"/>
                  </a:lnTo>
                  <a:lnTo>
                    <a:pt x="556" y="735"/>
                  </a:lnTo>
                  <a:lnTo>
                    <a:pt x="557" y="737"/>
                  </a:lnTo>
                  <a:lnTo>
                    <a:pt x="558" y="740"/>
                  </a:lnTo>
                  <a:lnTo>
                    <a:pt x="557" y="740"/>
                  </a:lnTo>
                  <a:lnTo>
                    <a:pt x="557" y="741"/>
                  </a:lnTo>
                  <a:lnTo>
                    <a:pt x="556" y="741"/>
                  </a:lnTo>
                  <a:lnTo>
                    <a:pt x="556" y="740"/>
                  </a:lnTo>
                  <a:lnTo>
                    <a:pt x="555" y="738"/>
                  </a:lnTo>
                  <a:lnTo>
                    <a:pt x="554" y="736"/>
                  </a:lnTo>
                  <a:lnTo>
                    <a:pt x="554" y="735"/>
                  </a:lnTo>
                  <a:lnTo>
                    <a:pt x="554" y="732"/>
                  </a:lnTo>
                  <a:lnTo>
                    <a:pt x="552" y="731"/>
                  </a:lnTo>
                  <a:lnTo>
                    <a:pt x="552" y="732"/>
                  </a:lnTo>
                  <a:lnTo>
                    <a:pt x="552" y="735"/>
                  </a:lnTo>
                  <a:lnTo>
                    <a:pt x="552" y="736"/>
                  </a:lnTo>
                  <a:lnTo>
                    <a:pt x="551" y="737"/>
                  </a:lnTo>
                  <a:lnTo>
                    <a:pt x="550" y="735"/>
                  </a:lnTo>
                  <a:lnTo>
                    <a:pt x="550" y="732"/>
                  </a:lnTo>
                  <a:lnTo>
                    <a:pt x="549" y="732"/>
                  </a:lnTo>
                  <a:lnTo>
                    <a:pt x="548" y="729"/>
                  </a:lnTo>
                  <a:lnTo>
                    <a:pt x="548" y="730"/>
                  </a:lnTo>
                  <a:lnTo>
                    <a:pt x="548" y="732"/>
                  </a:lnTo>
                  <a:lnTo>
                    <a:pt x="549" y="735"/>
                  </a:lnTo>
                  <a:lnTo>
                    <a:pt x="549" y="737"/>
                  </a:lnTo>
                  <a:lnTo>
                    <a:pt x="548" y="737"/>
                  </a:lnTo>
                  <a:lnTo>
                    <a:pt x="549" y="738"/>
                  </a:lnTo>
                  <a:lnTo>
                    <a:pt x="548" y="740"/>
                  </a:lnTo>
                  <a:lnTo>
                    <a:pt x="546" y="738"/>
                  </a:lnTo>
                  <a:lnTo>
                    <a:pt x="546" y="741"/>
                  </a:lnTo>
                  <a:lnTo>
                    <a:pt x="548" y="742"/>
                  </a:lnTo>
                  <a:lnTo>
                    <a:pt x="548" y="743"/>
                  </a:lnTo>
                  <a:lnTo>
                    <a:pt x="551" y="744"/>
                  </a:lnTo>
                  <a:lnTo>
                    <a:pt x="550" y="744"/>
                  </a:lnTo>
                  <a:lnTo>
                    <a:pt x="548" y="743"/>
                  </a:lnTo>
                  <a:lnTo>
                    <a:pt x="549" y="744"/>
                  </a:lnTo>
                  <a:lnTo>
                    <a:pt x="549" y="747"/>
                  </a:lnTo>
                  <a:lnTo>
                    <a:pt x="548" y="747"/>
                  </a:lnTo>
                  <a:lnTo>
                    <a:pt x="546" y="747"/>
                  </a:lnTo>
                  <a:lnTo>
                    <a:pt x="543" y="743"/>
                  </a:lnTo>
                  <a:lnTo>
                    <a:pt x="543" y="741"/>
                  </a:lnTo>
                  <a:lnTo>
                    <a:pt x="542" y="740"/>
                  </a:lnTo>
                  <a:lnTo>
                    <a:pt x="543" y="735"/>
                  </a:lnTo>
                  <a:lnTo>
                    <a:pt x="542" y="734"/>
                  </a:lnTo>
                  <a:lnTo>
                    <a:pt x="542" y="730"/>
                  </a:lnTo>
                  <a:lnTo>
                    <a:pt x="542" y="729"/>
                  </a:lnTo>
                  <a:lnTo>
                    <a:pt x="540" y="729"/>
                  </a:lnTo>
                  <a:lnTo>
                    <a:pt x="540" y="731"/>
                  </a:lnTo>
                  <a:lnTo>
                    <a:pt x="540" y="732"/>
                  </a:lnTo>
                  <a:lnTo>
                    <a:pt x="539" y="732"/>
                  </a:lnTo>
                  <a:lnTo>
                    <a:pt x="539" y="735"/>
                  </a:lnTo>
                  <a:lnTo>
                    <a:pt x="539" y="737"/>
                  </a:lnTo>
                  <a:lnTo>
                    <a:pt x="540" y="740"/>
                  </a:lnTo>
                  <a:lnTo>
                    <a:pt x="540" y="741"/>
                  </a:lnTo>
                  <a:lnTo>
                    <a:pt x="540" y="742"/>
                  </a:lnTo>
                  <a:lnTo>
                    <a:pt x="542" y="743"/>
                  </a:lnTo>
                  <a:lnTo>
                    <a:pt x="543" y="746"/>
                  </a:lnTo>
                  <a:lnTo>
                    <a:pt x="544" y="747"/>
                  </a:lnTo>
                  <a:lnTo>
                    <a:pt x="544" y="749"/>
                  </a:lnTo>
                  <a:lnTo>
                    <a:pt x="543" y="750"/>
                  </a:lnTo>
                  <a:lnTo>
                    <a:pt x="543" y="752"/>
                  </a:lnTo>
                  <a:lnTo>
                    <a:pt x="543" y="753"/>
                  </a:lnTo>
                  <a:lnTo>
                    <a:pt x="544" y="755"/>
                  </a:lnTo>
                  <a:lnTo>
                    <a:pt x="544" y="756"/>
                  </a:lnTo>
                  <a:lnTo>
                    <a:pt x="545" y="758"/>
                  </a:lnTo>
                  <a:lnTo>
                    <a:pt x="548" y="758"/>
                  </a:lnTo>
                  <a:lnTo>
                    <a:pt x="550" y="758"/>
                  </a:lnTo>
                  <a:lnTo>
                    <a:pt x="554" y="756"/>
                  </a:lnTo>
                  <a:lnTo>
                    <a:pt x="557" y="755"/>
                  </a:lnTo>
                  <a:lnTo>
                    <a:pt x="558" y="754"/>
                  </a:lnTo>
                  <a:lnTo>
                    <a:pt x="560" y="754"/>
                  </a:lnTo>
                  <a:lnTo>
                    <a:pt x="562" y="754"/>
                  </a:lnTo>
                  <a:lnTo>
                    <a:pt x="564" y="753"/>
                  </a:lnTo>
                  <a:lnTo>
                    <a:pt x="567" y="753"/>
                  </a:lnTo>
                  <a:lnTo>
                    <a:pt x="567" y="754"/>
                  </a:lnTo>
                  <a:lnTo>
                    <a:pt x="566" y="755"/>
                  </a:lnTo>
                  <a:lnTo>
                    <a:pt x="566" y="756"/>
                  </a:lnTo>
                  <a:lnTo>
                    <a:pt x="564" y="756"/>
                  </a:lnTo>
                  <a:lnTo>
                    <a:pt x="563" y="756"/>
                  </a:lnTo>
                  <a:lnTo>
                    <a:pt x="564" y="758"/>
                  </a:lnTo>
                  <a:lnTo>
                    <a:pt x="563" y="758"/>
                  </a:lnTo>
                  <a:lnTo>
                    <a:pt x="562" y="758"/>
                  </a:lnTo>
                  <a:lnTo>
                    <a:pt x="561" y="756"/>
                  </a:lnTo>
                  <a:lnTo>
                    <a:pt x="560" y="758"/>
                  </a:lnTo>
                  <a:lnTo>
                    <a:pt x="562" y="759"/>
                  </a:lnTo>
                  <a:lnTo>
                    <a:pt x="562" y="760"/>
                  </a:lnTo>
                  <a:lnTo>
                    <a:pt x="561" y="761"/>
                  </a:lnTo>
                  <a:lnTo>
                    <a:pt x="560" y="761"/>
                  </a:lnTo>
                  <a:lnTo>
                    <a:pt x="558" y="761"/>
                  </a:lnTo>
                  <a:lnTo>
                    <a:pt x="557" y="760"/>
                  </a:lnTo>
                  <a:lnTo>
                    <a:pt x="558" y="761"/>
                  </a:lnTo>
                  <a:lnTo>
                    <a:pt x="558" y="764"/>
                  </a:lnTo>
                  <a:lnTo>
                    <a:pt x="557" y="765"/>
                  </a:lnTo>
                  <a:lnTo>
                    <a:pt x="557" y="766"/>
                  </a:lnTo>
                  <a:lnTo>
                    <a:pt x="556" y="767"/>
                  </a:lnTo>
                  <a:lnTo>
                    <a:pt x="555" y="767"/>
                  </a:lnTo>
                  <a:lnTo>
                    <a:pt x="554" y="767"/>
                  </a:lnTo>
                  <a:lnTo>
                    <a:pt x="554" y="768"/>
                  </a:lnTo>
                  <a:lnTo>
                    <a:pt x="551" y="770"/>
                  </a:lnTo>
                  <a:lnTo>
                    <a:pt x="554" y="771"/>
                  </a:lnTo>
                  <a:lnTo>
                    <a:pt x="554" y="772"/>
                  </a:lnTo>
                  <a:lnTo>
                    <a:pt x="552" y="772"/>
                  </a:lnTo>
                  <a:lnTo>
                    <a:pt x="551" y="773"/>
                  </a:lnTo>
                  <a:lnTo>
                    <a:pt x="550" y="773"/>
                  </a:lnTo>
                  <a:lnTo>
                    <a:pt x="550" y="772"/>
                  </a:lnTo>
                  <a:lnTo>
                    <a:pt x="549" y="772"/>
                  </a:lnTo>
                  <a:lnTo>
                    <a:pt x="548" y="772"/>
                  </a:lnTo>
                  <a:lnTo>
                    <a:pt x="546" y="770"/>
                  </a:lnTo>
                  <a:lnTo>
                    <a:pt x="546" y="768"/>
                  </a:lnTo>
                  <a:lnTo>
                    <a:pt x="545" y="770"/>
                  </a:lnTo>
                  <a:lnTo>
                    <a:pt x="546" y="771"/>
                  </a:lnTo>
                  <a:lnTo>
                    <a:pt x="548" y="772"/>
                  </a:lnTo>
                  <a:lnTo>
                    <a:pt x="548" y="773"/>
                  </a:lnTo>
                  <a:lnTo>
                    <a:pt x="546" y="775"/>
                  </a:lnTo>
                  <a:lnTo>
                    <a:pt x="546" y="776"/>
                  </a:lnTo>
                  <a:lnTo>
                    <a:pt x="544" y="776"/>
                  </a:lnTo>
                  <a:lnTo>
                    <a:pt x="543" y="777"/>
                  </a:lnTo>
                  <a:lnTo>
                    <a:pt x="540" y="776"/>
                  </a:lnTo>
                  <a:lnTo>
                    <a:pt x="540" y="777"/>
                  </a:lnTo>
                  <a:lnTo>
                    <a:pt x="538" y="777"/>
                  </a:lnTo>
                  <a:lnTo>
                    <a:pt x="537" y="776"/>
                  </a:lnTo>
                  <a:lnTo>
                    <a:pt x="536" y="777"/>
                  </a:lnTo>
                  <a:lnTo>
                    <a:pt x="534" y="777"/>
                  </a:lnTo>
                  <a:lnTo>
                    <a:pt x="533" y="777"/>
                  </a:lnTo>
                  <a:lnTo>
                    <a:pt x="533" y="776"/>
                  </a:lnTo>
                  <a:lnTo>
                    <a:pt x="532" y="776"/>
                  </a:lnTo>
                  <a:lnTo>
                    <a:pt x="531" y="776"/>
                  </a:lnTo>
                  <a:lnTo>
                    <a:pt x="530" y="776"/>
                  </a:lnTo>
                  <a:lnTo>
                    <a:pt x="530" y="775"/>
                  </a:lnTo>
                  <a:lnTo>
                    <a:pt x="528" y="776"/>
                  </a:lnTo>
                  <a:lnTo>
                    <a:pt x="527" y="776"/>
                  </a:lnTo>
                  <a:lnTo>
                    <a:pt x="526" y="776"/>
                  </a:lnTo>
                  <a:lnTo>
                    <a:pt x="525" y="776"/>
                  </a:lnTo>
                  <a:lnTo>
                    <a:pt x="524" y="776"/>
                  </a:lnTo>
                  <a:lnTo>
                    <a:pt x="524" y="777"/>
                  </a:lnTo>
                  <a:lnTo>
                    <a:pt x="521" y="777"/>
                  </a:lnTo>
                  <a:lnTo>
                    <a:pt x="520" y="777"/>
                  </a:lnTo>
                  <a:lnTo>
                    <a:pt x="519" y="777"/>
                  </a:lnTo>
                  <a:lnTo>
                    <a:pt x="518" y="778"/>
                  </a:lnTo>
                  <a:lnTo>
                    <a:pt x="518" y="777"/>
                  </a:lnTo>
                  <a:lnTo>
                    <a:pt x="516" y="776"/>
                  </a:lnTo>
                  <a:lnTo>
                    <a:pt x="515" y="776"/>
                  </a:lnTo>
                  <a:lnTo>
                    <a:pt x="515" y="777"/>
                  </a:lnTo>
                  <a:lnTo>
                    <a:pt x="514" y="777"/>
                  </a:lnTo>
                  <a:lnTo>
                    <a:pt x="513" y="777"/>
                  </a:lnTo>
                  <a:lnTo>
                    <a:pt x="511" y="777"/>
                  </a:lnTo>
                  <a:lnTo>
                    <a:pt x="510" y="777"/>
                  </a:lnTo>
                  <a:lnTo>
                    <a:pt x="509" y="778"/>
                  </a:lnTo>
                  <a:lnTo>
                    <a:pt x="508" y="779"/>
                  </a:lnTo>
                  <a:lnTo>
                    <a:pt x="507" y="781"/>
                  </a:lnTo>
                  <a:lnTo>
                    <a:pt x="507" y="782"/>
                  </a:lnTo>
                  <a:lnTo>
                    <a:pt x="505" y="782"/>
                  </a:lnTo>
                  <a:lnTo>
                    <a:pt x="504" y="783"/>
                  </a:lnTo>
                  <a:lnTo>
                    <a:pt x="502" y="783"/>
                  </a:lnTo>
                  <a:lnTo>
                    <a:pt x="501" y="783"/>
                  </a:lnTo>
                  <a:lnTo>
                    <a:pt x="503" y="784"/>
                  </a:lnTo>
                  <a:lnTo>
                    <a:pt x="504" y="784"/>
                  </a:lnTo>
                  <a:lnTo>
                    <a:pt x="504" y="785"/>
                  </a:lnTo>
                  <a:lnTo>
                    <a:pt x="503" y="785"/>
                  </a:lnTo>
                  <a:lnTo>
                    <a:pt x="501" y="784"/>
                  </a:lnTo>
                  <a:lnTo>
                    <a:pt x="499" y="785"/>
                  </a:lnTo>
                  <a:lnTo>
                    <a:pt x="502" y="787"/>
                  </a:lnTo>
                  <a:lnTo>
                    <a:pt x="501" y="788"/>
                  </a:lnTo>
                  <a:lnTo>
                    <a:pt x="502" y="789"/>
                  </a:lnTo>
                  <a:lnTo>
                    <a:pt x="501" y="789"/>
                  </a:lnTo>
                  <a:lnTo>
                    <a:pt x="499" y="788"/>
                  </a:lnTo>
                  <a:lnTo>
                    <a:pt x="498" y="789"/>
                  </a:lnTo>
                  <a:lnTo>
                    <a:pt x="499" y="790"/>
                  </a:lnTo>
                  <a:lnTo>
                    <a:pt x="498" y="790"/>
                  </a:lnTo>
                  <a:lnTo>
                    <a:pt x="497" y="790"/>
                  </a:lnTo>
                  <a:lnTo>
                    <a:pt x="497" y="791"/>
                  </a:lnTo>
                  <a:lnTo>
                    <a:pt x="496" y="791"/>
                  </a:lnTo>
                  <a:lnTo>
                    <a:pt x="495" y="790"/>
                  </a:lnTo>
                  <a:lnTo>
                    <a:pt x="493" y="790"/>
                  </a:lnTo>
                  <a:lnTo>
                    <a:pt x="495" y="791"/>
                  </a:lnTo>
                  <a:lnTo>
                    <a:pt x="496" y="794"/>
                  </a:lnTo>
                  <a:lnTo>
                    <a:pt x="496" y="795"/>
                  </a:lnTo>
                  <a:lnTo>
                    <a:pt x="495" y="795"/>
                  </a:lnTo>
                  <a:lnTo>
                    <a:pt x="493" y="793"/>
                  </a:lnTo>
                  <a:lnTo>
                    <a:pt x="492" y="791"/>
                  </a:lnTo>
                  <a:lnTo>
                    <a:pt x="492" y="793"/>
                  </a:lnTo>
                  <a:lnTo>
                    <a:pt x="493" y="794"/>
                  </a:lnTo>
                  <a:lnTo>
                    <a:pt x="492" y="795"/>
                  </a:lnTo>
                  <a:lnTo>
                    <a:pt x="492" y="796"/>
                  </a:lnTo>
                  <a:lnTo>
                    <a:pt x="493" y="796"/>
                  </a:lnTo>
                  <a:lnTo>
                    <a:pt x="493" y="799"/>
                  </a:lnTo>
                  <a:lnTo>
                    <a:pt x="493" y="800"/>
                  </a:lnTo>
                  <a:lnTo>
                    <a:pt x="495" y="801"/>
                  </a:lnTo>
                  <a:lnTo>
                    <a:pt x="496" y="803"/>
                  </a:lnTo>
                  <a:lnTo>
                    <a:pt x="496" y="805"/>
                  </a:lnTo>
                  <a:lnTo>
                    <a:pt x="497" y="807"/>
                  </a:lnTo>
                  <a:lnTo>
                    <a:pt x="499" y="809"/>
                  </a:lnTo>
                  <a:lnTo>
                    <a:pt x="502" y="811"/>
                  </a:lnTo>
                  <a:lnTo>
                    <a:pt x="503" y="812"/>
                  </a:lnTo>
                  <a:lnTo>
                    <a:pt x="502" y="813"/>
                  </a:lnTo>
                  <a:lnTo>
                    <a:pt x="501" y="814"/>
                  </a:lnTo>
                  <a:lnTo>
                    <a:pt x="501" y="815"/>
                  </a:lnTo>
                  <a:lnTo>
                    <a:pt x="501" y="817"/>
                  </a:lnTo>
                  <a:lnTo>
                    <a:pt x="499" y="818"/>
                  </a:lnTo>
                  <a:lnTo>
                    <a:pt x="498" y="818"/>
                  </a:lnTo>
                  <a:lnTo>
                    <a:pt x="497" y="818"/>
                  </a:lnTo>
                  <a:lnTo>
                    <a:pt x="496" y="819"/>
                  </a:lnTo>
                  <a:lnTo>
                    <a:pt x="498" y="820"/>
                  </a:lnTo>
                  <a:lnTo>
                    <a:pt x="499" y="821"/>
                  </a:lnTo>
                  <a:lnTo>
                    <a:pt x="498" y="821"/>
                  </a:lnTo>
                  <a:lnTo>
                    <a:pt x="497" y="820"/>
                  </a:lnTo>
                  <a:lnTo>
                    <a:pt x="496" y="819"/>
                  </a:lnTo>
                  <a:lnTo>
                    <a:pt x="495" y="818"/>
                  </a:lnTo>
                  <a:lnTo>
                    <a:pt x="492" y="817"/>
                  </a:lnTo>
                  <a:lnTo>
                    <a:pt x="492" y="815"/>
                  </a:lnTo>
                  <a:lnTo>
                    <a:pt x="490" y="814"/>
                  </a:lnTo>
                  <a:lnTo>
                    <a:pt x="489" y="815"/>
                  </a:lnTo>
                  <a:lnTo>
                    <a:pt x="487" y="817"/>
                  </a:lnTo>
                  <a:lnTo>
                    <a:pt x="486" y="817"/>
                  </a:lnTo>
                  <a:lnTo>
                    <a:pt x="484" y="817"/>
                  </a:lnTo>
                  <a:lnTo>
                    <a:pt x="484" y="818"/>
                  </a:lnTo>
                  <a:lnTo>
                    <a:pt x="484" y="819"/>
                  </a:lnTo>
                  <a:lnTo>
                    <a:pt x="483" y="820"/>
                  </a:lnTo>
                  <a:lnTo>
                    <a:pt x="481" y="819"/>
                  </a:lnTo>
                  <a:lnTo>
                    <a:pt x="481" y="820"/>
                  </a:lnTo>
                  <a:lnTo>
                    <a:pt x="480" y="820"/>
                  </a:lnTo>
                  <a:lnTo>
                    <a:pt x="481" y="821"/>
                  </a:lnTo>
                  <a:lnTo>
                    <a:pt x="480" y="823"/>
                  </a:lnTo>
                  <a:lnTo>
                    <a:pt x="479" y="823"/>
                  </a:lnTo>
                  <a:lnTo>
                    <a:pt x="478" y="823"/>
                  </a:lnTo>
                  <a:lnTo>
                    <a:pt x="478" y="824"/>
                  </a:lnTo>
                  <a:lnTo>
                    <a:pt x="478" y="825"/>
                  </a:lnTo>
                  <a:lnTo>
                    <a:pt x="477" y="825"/>
                  </a:lnTo>
                  <a:lnTo>
                    <a:pt x="477" y="824"/>
                  </a:lnTo>
                  <a:lnTo>
                    <a:pt x="475" y="825"/>
                  </a:lnTo>
                  <a:lnTo>
                    <a:pt x="474" y="825"/>
                  </a:lnTo>
                  <a:lnTo>
                    <a:pt x="473" y="825"/>
                  </a:lnTo>
                  <a:lnTo>
                    <a:pt x="472" y="825"/>
                  </a:lnTo>
                  <a:lnTo>
                    <a:pt x="472" y="823"/>
                  </a:lnTo>
                  <a:lnTo>
                    <a:pt x="471" y="820"/>
                  </a:lnTo>
                  <a:lnTo>
                    <a:pt x="471" y="819"/>
                  </a:lnTo>
                  <a:lnTo>
                    <a:pt x="471" y="818"/>
                  </a:lnTo>
                  <a:lnTo>
                    <a:pt x="471" y="817"/>
                  </a:lnTo>
                  <a:lnTo>
                    <a:pt x="471" y="814"/>
                  </a:lnTo>
                  <a:lnTo>
                    <a:pt x="471" y="813"/>
                  </a:lnTo>
                  <a:lnTo>
                    <a:pt x="473" y="812"/>
                  </a:lnTo>
                  <a:lnTo>
                    <a:pt x="474" y="812"/>
                  </a:lnTo>
                  <a:lnTo>
                    <a:pt x="473" y="809"/>
                  </a:lnTo>
                  <a:lnTo>
                    <a:pt x="472" y="807"/>
                  </a:lnTo>
                  <a:lnTo>
                    <a:pt x="471" y="806"/>
                  </a:lnTo>
                  <a:lnTo>
                    <a:pt x="468" y="806"/>
                  </a:lnTo>
                  <a:lnTo>
                    <a:pt x="467" y="806"/>
                  </a:lnTo>
                  <a:lnTo>
                    <a:pt x="466" y="806"/>
                  </a:lnTo>
                  <a:lnTo>
                    <a:pt x="466" y="805"/>
                  </a:lnTo>
                  <a:lnTo>
                    <a:pt x="465" y="805"/>
                  </a:lnTo>
                  <a:lnTo>
                    <a:pt x="462" y="805"/>
                  </a:lnTo>
                  <a:lnTo>
                    <a:pt x="461" y="805"/>
                  </a:lnTo>
                  <a:lnTo>
                    <a:pt x="460" y="805"/>
                  </a:lnTo>
                  <a:lnTo>
                    <a:pt x="459" y="806"/>
                  </a:lnTo>
                  <a:lnTo>
                    <a:pt x="457" y="806"/>
                  </a:lnTo>
                  <a:lnTo>
                    <a:pt x="456" y="806"/>
                  </a:lnTo>
                  <a:lnTo>
                    <a:pt x="455" y="806"/>
                  </a:lnTo>
                  <a:lnTo>
                    <a:pt x="454" y="805"/>
                  </a:lnTo>
                  <a:lnTo>
                    <a:pt x="452" y="805"/>
                  </a:lnTo>
                  <a:lnTo>
                    <a:pt x="452" y="803"/>
                  </a:lnTo>
                  <a:lnTo>
                    <a:pt x="451" y="803"/>
                  </a:lnTo>
                  <a:lnTo>
                    <a:pt x="450" y="803"/>
                  </a:lnTo>
                  <a:lnTo>
                    <a:pt x="449" y="802"/>
                  </a:lnTo>
                  <a:lnTo>
                    <a:pt x="449" y="801"/>
                  </a:lnTo>
                  <a:lnTo>
                    <a:pt x="449" y="800"/>
                  </a:lnTo>
                  <a:lnTo>
                    <a:pt x="448" y="800"/>
                  </a:lnTo>
                  <a:lnTo>
                    <a:pt x="444" y="800"/>
                  </a:lnTo>
                  <a:lnTo>
                    <a:pt x="444" y="799"/>
                  </a:lnTo>
                  <a:lnTo>
                    <a:pt x="444" y="801"/>
                  </a:lnTo>
                  <a:lnTo>
                    <a:pt x="443" y="802"/>
                  </a:lnTo>
                  <a:lnTo>
                    <a:pt x="442" y="801"/>
                  </a:lnTo>
                  <a:lnTo>
                    <a:pt x="440" y="801"/>
                  </a:lnTo>
                  <a:lnTo>
                    <a:pt x="440" y="800"/>
                  </a:lnTo>
                  <a:lnTo>
                    <a:pt x="440" y="797"/>
                  </a:lnTo>
                  <a:lnTo>
                    <a:pt x="440" y="796"/>
                  </a:lnTo>
                  <a:lnTo>
                    <a:pt x="440" y="797"/>
                  </a:lnTo>
                  <a:lnTo>
                    <a:pt x="440" y="800"/>
                  </a:lnTo>
                  <a:lnTo>
                    <a:pt x="440" y="801"/>
                  </a:lnTo>
                  <a:lnTo>
                    <a:pt x="439" y="800"/>
                  </a:lnTo>
                  <a:lnTo>
                    <a:pt x="439" y="801"/>
                  </a:lnTo>
                  <a:lnTo>
                    <a:pt x="439" y="802"/>
                  </a:lnTo>
                  <a:lnTo>
                    <a:pt x="439" y="803"/>
                  </a:lnTo>
                  <a:lnTo>
                    <a:pt x="438" y="803"/>
                  </a:lnTo>
                  <a:lnTo>
                    <a:pt x="437" y="803"/>
                  </a:lnTo>
                  <a:lnTo>
                    <a:pt x="436" y="802"/>
                  </a:lnTo>
                  <a:lnTo>
                    <a:pt x="436" y="803"/>
                  </a:lnTo>
                  <a:lnTo>
                    <a:pt x="434" y="803"/>
                  </a:lnTo>
                  <a:lnTo>
                    <a:pt x="434" y="802"/>
                  </a:lnTo>
                  <a:lnTo>
                    <a:pt x="434" y="801"/>
                  </a:lnTo>
                  <a:lnTo>
                    <a:pt x="433" y="801"/>
                  </a:lnTo>
                  <a:lnTo>
                    <a:pt x="433" y="803"/>
                  </a:lnTo>
                  <a:lnTo>
                    <a:pt x="433" y="805"/>
                  </a:lnTo>
                  <a:lnTo>
                    <a:pt x="433" y="806"/>
                  </a:lnTo>
                  <a:lnTo>
                    <a:pt x="432" y="806"/>
                  </a:lnTo>
                  <a:lnTo>
                    <a:pt x="428" y="805"/>
                  </a:lnTo>
                  <a:lnTo>
                    <a:pt x="428" y="808"/>
                  </a:lnTo>
                  <a:lnTo>
                    <a:pt x="427" y="807"/>
                  </a:lnTo>
                  <a:lnTo>
                    <a:pt x="427" y="806"/>
                  </a:lnTo>
                  <a:lnTo>
                    <a:pt x="428" y="803"/>
                  </a:lnTo>
                  <a:lnTo>
                    <a:pt x="426" y="806"/>
                  </a:lnTo>
                  <a:lnTo>
                    <a:pt x="425" y="806"/>
                  </a:lnTo>
                  <a:lnTo>
                    <a:pt x="426" y="807"/>
                  </a:lnTo>
                  <a:lnTo>
                    <a:pt x="426" y="808"/>
                  </a:lnTo>
                  <a:lnTo>
                    <a:pt x="426" y="809"/>
                  </a:lnTo>
                  <a:lnTo>
                    <a:pt x="425" y="808"/>
                  </a:lnTo>
                  <a:lnTo>
                    <a:pt x="424" y="808"/>
                  </a:lnTo>
                  <a:lnTo>
                    <a:pt x="422" y="807"/>
                  </a:lnTo>
                  <a:lnTo>
                    <a:pt x="421" y="807"/>
                  </a:lnTo>
                  <a:lnTo>
                    <a:pt x="421" y="806"/>
                  </a:lnTo>
                  <a:lnTo>
                    <a:pt x="420" y="808"/>
                  </a:lnTo>
                  <a:lnTo>
                    <a:pt x="419" y="809"/>
                  </a:lnTo>
                  <a:lnTo>
                    <a:pt x="418" y="809"/>
                  </a:lnTo>
                  <a:lnTo>
                    <a:pt x="416" y="809"/>
                  </a:lnTo>
                  <a:lnTo>
                    <a:pt x="415" y="808"/>
                  </a:lnTo>
                  <a:lnTo>
                    <a:pt x="413" y="807"/>
                  </a:lnTo>
                  <a:lnTo>
                    <a:pt x="412" y="807"/>
                  </a:lnTo>
                  <a:lnTo>
                    <a:pt x="410" y="806"/>
                  </a:lnTo>
                  <a:lnTo>
                    <a:pt x="410" y="805"/>
                  </a:lnTo>
                  <a:lnTo>
                    <a:pt x="409" y="805"/>
                  </a:lnTo>
                  <a:lnTo>
                    <a:pt x="409" y="806"/>
                  </a:lnTo>
                  <a:lnTo>
                    <a:pt x="409" y="807"/>
                  </a:lnTo>
                  <a:lnTo>
                    <a:pt x="408" y="807"/>
                  </a:lnTo>
                  <a:lnTo>
                    <a:pt x="408" y="808"/>
                  </a:lnTo>
                  <a:lnTo>
                    <a:pt x="407" y="808"/>
                  </a:lnTo>
                  <a:lnTo>
                    <a:pt x="406" y="809"/>
                  </a:lnTo>
                  <a:lnTo>
                    <a:pt x="404" y="811"/>
                  </a:lnTo>
                  <a:lnTo>
                    <a:pt x="404" y="812"/>
                  </a:lnTo>
                  <a:lnTo>
                    <a:pt x="403" y="812"/>
                  </a:lnTo>
                  <a:lnTo>
                    <a:pt x="401" y="812"/>
                  </a:lnTo>
                  <a:lnTo>
                    <a:pt x="402" y="813"/>
                  </a:lnTo>
                  <a:lnTo>
                    <a:pt x="402" y="814"/>
                  </a:lnTo>
                  <a:lnTo>
                    <a:pt x="401" y="814"/>
                  </a:lnTo>
                  <a:lnTo>
                    <a:pt x="401" y="815"/>
                  </a:lnTo>
                  <a:lnTo>
                    <a:pt x="400" y="817"/>
                  </a:lnTo>
                  <a:lnTo>
                    <a:pt x="400" y="818"/>
                  </a:lnTo>
                  <a:lnTo>
                    <a:pt x="398" y="817"/>
                  </a:lnTo>
                  <a:lnTo>
                    <a:pt x="397" y="817"/>
                  </a:lnTo>
                  <a:lnTo>
                    <a:pt x="396" y="817"/>
                  </a:lnTo>
                  <a:lnTo>
                    <a:pt x="397" y="818"/>
                  </a:lnTo>
                  <a:lnTo>
                    <a:pt x="400" y="819"/>
                  </a:lnTo>
                  <a:lnTo>
                    <a:pt x="398" y="820"/>
                  </a:lnTo>
                  <a:lnTo>
                    <a:pt x="397" y="819"/>
                  </a:lnTo>
                  <a:lnTo>
                    <a:pt x="395" y="819"/>
                  </a:lnTo>
                  <a:lnTo>
                    <a:pt x="393" y="817"/>
                  </a:lnTo>
                  <a:lnTo>
                    <a:pt x="391" y="817"/>
                  </a:lnTo>
                  <a:lnTo>
                    <a:pt x="390" y="815"/>
                  </a:lnTo>
                  <a:lnTo>
                    <a:pt x="389" y="815"/>
                  </a:lnTo>
                  <a:lnTo>
                    <a:pt x="387" y="815"/>
                  </a:lnTo>
                  <a:lnTo>
                    <a:pt x="386" y="815"/>
                  </a:lnTo>
                  <a:lnTo>
                    <a:pt x="386" y="814"/>
                  </a:lnTo>
                  <a:lnTo>
                    <a:pt x="384" y="813"/>
                  </a:lnTo>
                  <a:lnTo>
                    <a:pt x="384" y="814"/>
                  </a:lnTo>
                  <a:lnTo>
                    <a:pt x="383" y="814"/>
                  </a:lnTo>
                  <a:lnTo>
                    <a:pt x="381" y="814"/>
                  </a:lnTo>
                  <a:lnTo>
                    <a:pt x="380" y="813"/>
                  </a:lnTo>
                  <a:lnTo>
                    <a:pt x="378" y="814"/>
                  </a:lnTo>
                  <a:lnTo>
                    <a:pt x="377" y="814"/>
                  </a:lnTo>
                  <a:lnTo>
                    <a:pt x="377" y="815"/>
                  </a:lnTo>
                  <a:lnTo>
                    <a:pt x="375" y="815"/>
                  </a:lnTo>
                  <a:lnTo>
                    <a:pt x="374" y="814"/>
                  </a:lnTo>
                  <a:lnTo>
                    <a:pt x="373" y="814"/>
                  </a:lnTo>
                  <a:lnTo>
                    <a:pt x="373" y="813"/>
                  </a:lnTo>
                  <a:lnTo>
                    <a:pt x="373" y="811"/>
                  </a:lnTo>
                  <a:lnTo>
                    <a:pt x="373" y="809"/>
                  </a:lnTo>
                  <a:lnTo>
                    <a:pt x="372" y="811"/>
                  </a:lnTo>
                  <a:lnTo>
                    <a:pt x="372" y="812"/>
                  </a:lnTo>
                  <a:lnTo>
                    <a:pt x="372" y="813"/>
                  </a:lnTo>
                  <a:lnTo>
                    <a:pt x="372" y="815"/>
                  </a:lnTo>
                  <a:lnTo>
                    <a:pt x="371" y="815"/>
                  </a:lnTo>
                  <a:lnTo>
                    <a:pt x="371" y="817"/>
                  </a:lnTo>
                  <a:lnTo>
                    <a:pt x="369" y="819"/>
                  </a:lnTo>
                  <a:lnTo>
                    <a:pt x="369" y="820"/>
                  </a:lnTo>
                  <a:lnTo>
                    <a:pt x="369" y="821"/>
                  </a:lnTo>
                  <a:lnTo>
                    <a:pt x="368" y="821"/>
                  </a:lnTo>
                  <a:lnTo>
                    <a:pt x="367" y="823"/>
                  </a:lnTo>
                  <a:lnTo>
                    <a:pt x="368" y="825"/>
                  </a:lnTo>
                  <a:lnTo>
                    <a:pt x="368" y="826"/>
                  </a:lnTo>
                  <a:lnTo>
                    <a:pt x="367" y="826"/>
                  </a:lnTo>
                  <a:lnTo>
                    <a:pt x="367" y="829"/>
                  </a:lnTo>
                  <a:lnTo>
                    <a:pt x="367" y="830"/>
                  </a:lnTo>
                  <a:lnTo>
                    <a:pt x="366" y="830"/>
                  </a:lnTo>
                  <a:lnTo>
                    <a:pt x="366" y="832"/>
                  </a:lnTo>
                  <a:lnTo>
                    <a:pt x="365" y="833"/>
                  </a:lnTo>
                  <a:lnTo>
                    <a:pt x="365" y="835"/>
                  </a:lnTo>
                  <a:lnTo>
                    <a:pt x="362" y="836"/>
                  </a:lnTo>
                  <a:lnTo>
                    <a:pt x="361" y="837"/>
                  </a:lnTo>
                  <a:lnTo>
                    <a:pt x="359" y="838"/>
                  </a:lnTo>
                  <a:lnTo>
                    <a:pt x="357" y="838"/>
                  </a:lnTo>
                  <a:lnTo>
                    <a:pt x="357" y="837"/>
                  </a:lnTo>
                  <a:lnTo>
                    <a:pt x="356" y="838"/>
                  </a:lnTo>
                  <a:lnTo>
                    <a:pt x="355" y="837"/>
                  </a:lnTo>
                  <a:lnTo>
                    <a:pt x="354" y="837"/>
                  </a:lnTo>
                  <a:lnTo>
                    <a:pt x="353" y="836"/>
                  </a:lnTo>
                  <a:lnTo>
                    <a:pt x="351" y="836"/>
                  </a:lnTo>
                  <a:lnTo>
                    <a:pt x="351" y="835"/>
                  </a:lnTo>
                  <a:lnTo>
                    <a:pt x="350" y="836"/>
                  </a:lnTo>
                  <a:lnTo>
                    <a:pt x="349" y="836"/>
                  </a:lnTo>
                  <a:lnTo>
                    <a:pt x="349" y="835"/>
                  </a:lnTo>
                  <a:lnTo>
                    <a:pt x="348" y="833"/>
                  </a:lnTo>
                  <a:lnTo>
                    <a:pt x="347" y="833"/>
                  </a:lnTo>
                  <a:lnTo>
                    <a:pt x="345" y="833"/>
                  </a:lnTo>
                  <a:lnTo>
                    <a:pt x="344" y="833"/>
                  </a:lnTo>
                  <a:lnTo>
                    <a:pt x="344" y="836"/>
                  </a:lnTo>
                  <a:lnTo>
                    <a:pt x="344" y="837"/>
                  </a:lnTo>
                  <a:lnTo>
                    <a:pt x="344" y="836"/>
                  </a:lnTo>
                  <a:lnTo>
                    <a:pt x="343" y="836"/>
                  </a:lnTo>
                  <a:lnTo>
                    <a:pt x="343" y="837"/>
                  </a:lnTo>
                  <a:lnTo>
                    <a:pt x="343" y="838"/>
                  </a:lnTo>
                  <a:lnTo>
                    <a:pt x="342" y="838"/>
                  </a:lnTo>
                  <a:lnTo>
                    <a:pt x="342" y="841"/>
                  </a:lnTo>
                  <a:lnTo>
                    <a:pt x="341" y="839"/>
                  </a:lnTo>
                  <a:lnTo>
                    <a:pt x="341" y="841"/>
                  </a:lnTo>
                  <a:lnTo>
                    <a:pt x="341" y="842"/>
                  </a:lnTo>
                  <a:lnTo>
                    <a:pt x="341" y="843"/>
                  </a:lnTo>
                  <a:lnTo>
                    <a:pt x="339" y="844"/>
                  </a:lnTo>
                  <a:lnTo>
                    <a:pt x="338" y="844"/>
                  </a:lnTo>
                  <a:lnTo>
                    <a:pt x="339" y="845"/>
                  </a:lnTo>
                  <a:lnTo>
                    <a:pt x="339" y="847"/>
                  </a:lnTo>
                  <a:lnTo>
                    <a:pt x="338" y="848"/>
                  </a:lnTo>
                  <a:lnTo>
                    <a:pt x="338" y="849"/>
                  </a:lnTo>
                  <a:lnTo>
                    <a:pt x="338" y="850"/>
                  </a:lnTo>
                  <a:lnTo>
                    <a:pt x="338" y="851"/>
                  </a:lnTo>
                  <a:lnTo>
                    <a:pt x="338" y="859"/>
                  </a:lnTo>
                  <a:lnTo>
                    <a:pt x="338" y="868"/>
                  </a:lnTo>
                  <a:lnTo>
                    <a:pt x="338" y="878"/>
                  </a:lnTo>
                  <a:lnTo>
                    <a:pt x="338" y="889"/>
                  </a:lnTo>
                  <a:lnTo>
                    <a:pt x="338" y="891"/>
                  </a:lnTo>
                  <a:lnTo>
                    <a:pt x="337" y="894"/>
                  </a:lnTo>
                  <a:lnTo>
                    <a:pt x="336" y="896"/>
                  </a:lnTo>
                  <a:lnTo>
                    <a:pt x="332" y="896"/>
                  </a:lnTo>
                  <a:lnTo>
                    <a:pt x="309" y="896"/>
                  </a:lnTo>
                  <a:lnTo>
                    <a:pt x="308" y="878"/>
                  </a:lnTo>
                  <a:lnTo>
                    <a:pt x="308" y="862"/>
                  </a:lnTo>
                  <a:lnTo>
                    <a:pt x="307" y="845"/>
                  </a:lnTo>
                  <a:lnTo>
                    <a:pt x="307" y="842"/>
                  </a:lnTo>
                  <a:lnTo>
                    <a:pt x="304" y="841"/>
                  </a:lnTo>
                  <a:lnTo>
                    <a:pt x="304" y="839"/>
                  </a:lnTo>
                  <a:lnTo>
                    <a:pt x="302" y="839"/>
                  </a:lnTo>
                  <a:lnTo>
                    <a:pt x="301" y="838"/>
                  </a:lnTo>
                  <a:lnTo>
                    <a:pt x="300" y="838"/>
                  </a:lnTo>
                  <a:lnTo>
                    <a:pt x="298" y="837"/>
                  </a:lnTo>
                  <a:lnTo>
                    <a:pt x="297" y="836"/>
                  </a:lnTo>
                  <a:lnTo>
                    <a:pt x="296" y="835"/>
                  </a:lnTo>
                  <a:lnTo>
                    <a:pt x="296" y="833"/>
                  </a:lnTo>
                  <a:lnTo>
                    <a:pt x="297" y="832"/>
                  </a:lnTo>
                  <a:lnTo>
                    <a:pt x="297" y="831"/>
                  </a:lnTo>
                  <a:lnTo>
                    <a:pt x="297" y="830"/>
                  </a:lnTo>
                  <a:lnTo>
                    <a:pt x="298" y="827"/>
                  </a:lnTo>
                  <a:lnTo>
                    <a:pt x="298" y="829"/>
                  </a:lnTo>
                  <a:lnTo>
                    <a:pt x="300" y="829"/>
                  </a:lnTo>
                  <a:lnTo>
                    <a:pt x="300" y="827"/>
                  </a:lnTo>
                  <a:lnTo>
                    <a:pt x="300" y="826"/>
                  </a:lnTo>
                  <a:lnTo>
                    <a:pt x="300" y="825"/>
                  </a:lnTo>
                  <a:lnTo>
                    <a:pt x="300" y="824"/>
                  </a:lnTo>
                  <a:lnTo>
                    <a:pt x="298" y="823"/>
                  </a:lnTo>
                  <a:lnTo>
                    <a:pt x="298" y="821"/>
                  </a:lnTo>
                  <a:lnTo>
                    <a:pt x="296" y="820"/>
                  </a:lnTo>
                  <a:lnTo>
                    <a:pt x="295" y="820"/>
                  </a:lnTo>
                  <a:lnTo>
                    <a:pt x="294" y="820"/>
                  </a:lnTo>
                  <a:lnTo>
                    <a:pt x="292" y="820"/>
                  </a:lnTo>
                  <a:lnTo>
                    <a:pt x="290" y="821"/>
                  </a:lnTo>
                  <a:lnTo>
                    <a:pt x="288" y="823"/>
                  </a:lnTo>
                  <a:lnTo>
                    <a:pt x="286" y="823"/>
                  </a:lnTo>
                  <a:lnTo>
                    <a:pt x="285" y="823"/>
                  </a:lnTo>
                  <a:lnTo>
                    <a:pt x="284" y="823"/>
                  </a:lnTo>
                  <a:lnTo>
                    <a:pt x="283" y="821"/>
                  </a:lnTo>
                  <a:lnTo>
                    <a:pt x="283" y="823"/>
                  </a:lnTo>
                  <a:lnTo>
                    <a:pt x="282" y="824"/>
                  </a:lnTo>
                  <a:lnTo>
                    <a:pt x="282" y="823"/>
                  </a:lnTo>
                  <a:lnTo>
                    <a:pt x="280" y="823"/>
                  </a:lnTo>
                  <a:lnTo>
                    <a:pt x="280" y="824"/>
                  </a:lnTo>
                  <a:lnTo>
                    <a:pt x="278" y="825"/>
                  </a:lnTo>
                  <a:lnTo>
                    <a:pt x="277" y="826"/>
                  </a:lnTo>
                  <a:lnTo>
                    <a:pt x="275" y="827"/>
                  </a:lnTo>
                  <a:lnTo>
                    <a:pt x="274" y="829"/>
                  </a:lnTo>
                  <a:lnTo>
                    <a:pt x="273" y="829"/>
                  </a:lnTo>
                  <a:lnTo>
                    <a:pt x="273" y="830"/>
                  </a:lnTo>
                  <a:lnTo>
                    <a:pt x="273" y="831"/>
                  </a:lnTo>
                  <a:lnTo>
                    <a:pt x="273" y="832"/>
                  </a:lnTo>
                  <a:lnTo>
                    <a:pt x="272" y="831"/>
                  </a:lnTo>
                  <a:lnTo>
                    <a:pt x="271" y="831"/>
                  </a:lnTo>
                  <a:lnTo>
                    <a:pt x="271" y="832"/>
                  </a:lnTo>
                  <a:lnTo>
                    <a:pt x="269" y="832"/>
                  </a:lnTo>
                  <a:lnTo>
                    <a:pt x="269" y="835"/>
                  </a:lnTo>
                  <a:lnTo>
                    <a:pt x="268" y="832"/>
                  </a:lnTo>
                  <a:lnTo>
                    <a:pt x="267" y="832"/>
                  </a:lnTo>
                  <a:lnTo>
                    <a:pt x="268" y="833"/>
                  </a:lnTo>
                  <a:lnTo>
                    <a:pt x="268" y="835"/>
                  </a:lnTo>
                  <a:lnTo>
                    <a:pt x="267" y="836"/>
                  </a:lnTo>
                  <a:lnTo>
                    <a:pt x="266" y="836"/>
                  </a:lnTo>
                  <a:lnTo>
                    <a:pt x="265" y="835"/>
                  </a:lnTo>
                  <a:lnTo>
                    <a:pt x="265" y="836"/>
                  </a:lnTo>
                  <a:lnTo>
                    <a:pt x="263" y="836"/>
                  </a:lnTo>
                  <a:lnTo>
                    <a:pt x="263" y="835"/>
                  </a:lnTo>
                  <a:lnTo>
                    <a:pt x="262" y="835"/>
                  </a:lnTo>
                  <a:lnTo>
                    <a:pt x="262" y="836"/>
                  </a:lnTo>
                  <a:lnTo>
                    <a:pt x="260" y="836"/>
                  </a:lnTo>
                  <a:lnTo>
                    <a:pt x="257" y="835"/>
                  </a:lnTo>
                  <a:lnTo>
                    <a:pt x="255" y="833"/>
                  </a:lnTo>
                  <a:lnTo>
                    <a:pt x="253" y="832"/>
                  </a:lnTo>
                  <a:lnTo>
                    <a:pt x="253" y="830"/>
                  </a:lnTo>
                  <a:lnTo>
                    <a:pt x="251" y="831"/>
                  </a:lnTo>
                  <a:lnTo>
                    <a:pt x="251" y="832"/>
                  </a:lnTo>
                  <a:lnTo>
                    <a:pt x="251" y="833"/>
                  </a:lnTo>
                  <a:lnTo>
                    <a:pt x="249" y="832"/>
                  </a:lnTo>
                  <a:lnTo>
                    <a:pt x="248" y="833"/>
                  </a:lnTo>
                  <a:lnTo>
                    <a:pt x="247" y="833"/>
                  </a:lnTo>
                  <a:lnTo>
                    <a:pt x="247" y="832"/>
                  </a:lnTo>
                  <a:lnTo>
                    <a:pt x="245" y="831"/>
                  </a:lnTo>
                  <a:lnTo>
                    <a:pt x="245" y="832"/>
                  </a:lnTo>
                  <a:lnTo>
                    <a:pt x="245" y="833"/>
                  </a:lnTo>
                  <a:lnTo>
                    <a:pt x="244" y="833"/>
                  </a:lnTo>
                  <a:lnTo>
                    <a:pt x="243" y="832"/>
                  </a:lnTo>
                  <a:lnTo>
                    <a:pt x="242" y="831"/>
                  </a:lnTo>
                  <a:lnTo>
                    <a:pt x="241" y="830"/>
                  </a:lnTo>
                  <a:lnTo>
                    <a:pt x="239" y="829"/>
                  </a:lnTo>
                  <a:lnTo>
                    <a:pt x="239" y="827"/>
                  </a:lnTo>
                  <a:lnTo>
                    <a:pt x="238" y="826"/>
                  </a:lnTo>
                  <a:lnTo>
                    <a:pt x="238" y="825"/>
                  </a:lnTo>
                  <a:lnTo>
                    <a:pt x="237" y="824"/>
                  </a:lnTo>
                  <a:lnTo>
                    <a:pt x="237" y="823"/>
                  </a:lnTo>
                  <a:lnTo>
                    <a:pt x="235" y="823"/>
                  </a:lnTo>
                  <a:lnTo>
                    <a:pt x="233" y="821"/>
                  </a:lnTo>
                  <a:lnTo>
                    <a:pt x="232" y="821"/>
                  </a:lnTo>
                  <a:lnTo>
                    <a:pt x="232" y="819"/>
                  </a:lnTo>
                  <a:lnTo>
                    <a:pt x="231" y="819"/>
                  </a:lnTo>
                  <a:lnTo>
                    <a:pt x="231" y="820"/>
                  </a:lnTo>
                  <a:lnTo>
                    <a:pt x="230" y="821"/>
                  </a:lnTo>
                  <a:lnTo>
                    <a:pt x="229" y="820"/>
                  </a:lnTo>
                  <a:lnTo>
                    <a:pt x="227" y="820"/>
                  </a:lnTo>
                  <a:lnTo>
                    <a:pt x="226" y="820"/>
                  </a:lnTo>
                  <a:lnTo>
                    <a:pt x="226" y="819"/>
                  </a:lnTo>
                  <a:lnTo>
                    <a:pt x="226" y="820"/>
                  </a:lnTo>
                  <a:lnTo>
                    <a:pt x="225" y="820"/>
                  </a:lnTo>
                  <a:lnTo>
                    <a:pt x="224" y="820"/>
                  </a:lnTo>
                  <a:lnTo>
                    <a:pt x="224" y="821"/>
                  </a:lnTo>
                  <a:lnTo>
                    <a:pt x="223" y="821"/>
                  </a:lnTo>
                  <a:lnTo>
                    <a:pt x="221" y="821"/>
                  </a:lnTo>
                  <a:lnTo>
                    <a:pt x="220" y="820"/>
                  </a:lnTo>
                  <a:lnTo>
                    <a:pt x="219" y="820"/>
                  </a:lnTo>
                  <a:lnTo>
                    <a:pt x="218" y="820"/>
                  </a:lnTo>
                  <a:lnTo>
                    <a:pt x="215" y="820"/>
                  </a:lnTo>
                  <a:lnTo>
                    <a:pt x="214" y="820"/>
                  </a:lnTo>
                  <a:lnTo>
                    <a:pt x="210" y="824"/>
                  </a:lnTo>
                  <a:lnTo>
                    <a:pt x="209" y="826"/>
                  </a:lnTo>
                  <a:lnTo>
                    <a:pt x="208" y="827"/>
                  </a:lnTo>
                  <a:lnTo>
                    <a:pt x="208" y="829"/>
                  </a:lnTo>
                  <a:lnTo>
                    <a:pt x="206" y="830"/>
                  </a:lnTo>
                  <a:lnTo>
                    <a:pt x="203" y="830"/>
                  </a:lnTo>
                  <a:lnTo>
                    <a:pt x="201" y="831"/>
                  </a:lnTo>
                  <a:lnTo>
                    <a:pt x="200" y="830"/>
                  </a:lnTo>
                  <a:lnTo>
                    <a:pt x="198" y="829"/>
                  </a:lnTo>
                  <a:lnTo>
                    <a:pt x="197" y="829"/>
                  </a:lnTo>
                  <a:lnTo>
                    <a:pt x="197" y="827"/>
                  </a:lnTo>
                  <a:lnTo>
                    <a:pt x="197" y="826"/>
                  </a:lnTo>
                  <a:lnTo>
                    <a:pt x="197" y="823"/>
                  </a:lnTo>
                  <a:lnTo>
                    <a:pt x="197" y="821"/>
                  </a:lnTo>
                  <a:lnTo>
                    <a:pt x="196" y="825"/>
                  </a:lnTo>
                  <a:lnTo>
                    <a:pt x="196" y="827"/>
                  </a:lnTo>
                  <a:lnTo>
                    <a:pt x="195" y="827"/>
                  </a:lnTo>
                  <a:lnTo>
                    <a:pt x="194" y="827"/>
                  </a:lnTo>
                  <a:lnTo>
                    <a:pt x="192" y="826"/>
                  </a:lnTo>
                  <a:lnTo>
                    <a:pt x="192" y="824"/>
                  </a:lnTo>
                  <a:lnTo>
                    <a:pt x="192" y="823"/>
                  </a:lnTo>
                  <a:lnTo>
                    <a:pt x="192" y="821"/>
                  </a:lnTo>
                  <a:lnTo>
                    <a:pt x="192" y="820"/>
                  </a:lnTo>
                  <a:lnTo>
                    <a:pt x="192" y="823"/>
                  </a:lnTo>
                  <a:lnTo>
                    <a:pt x="191" y="824"/>
                  </a:lnTo>
                  <a:lnTo>
                    <a:pt x="191" y="825"/>
                  </a:lnTo>
                  <a:lnTo>
                    <a:pt x="192" y="827"/>
                  </a:lnTo>
                  <a:lnTo>
                    <a:pt x="191" y="827"/>
                  </a:lnTo>
                  <a:lnTo>
                    <a:pt x="190" y="829"/>
                  </a:lnTo>
                  <a:lnTo>
                    <a:pt x="189" y="829"/>
                  </a:lnTo>
                  <a:lnTo>
                    <a:pt x="189" y="827"/>
                  </a:lnTo>
                  <a:lnTo>
                    <a:pt x="189" y="826"/>
                  </a:lnTo>
                  <a:lnTo>
                    <a:pt x="189" y="825"/>
                  </a:lnTo>
                  <a:lnTo>
                    <a:pt x="188" y="825"/>
                  </a:lnTo>
                  <a:lnTo>
                    <a:pt x="188" y="827"/>
                  </a:lnTo>
                  <a:lnTo>
                    <a:pt x="188" y="829"/>
                  </a:lnTo>
                  <a:lnTo>
                    <a:pt x="186" y="829"/>
                  </a:lnTo>
                  <a:lnTo>
                    <a:pt x="186" y="827"/>
                  </a:lnTo>
                  <a:lnTo>
                    <a:pt x="185" y="827"/>
                  </a:lnTo>
                  <a:lnTo>
                    <a:pt x="185" y="826"/>
                  </a:lnTo>
                  <a:lnTo>
                    <a:pt x="185" y="825"/>
                  </a:lnTo>
                  <a:lnTo>
                    <a:pt x="185" y="824"/>
                  </a:lnTo>
                  <a:lnTo>
                    <a:pt x="184" y="824"/>
                  </a:lnTo>
                  <a:lnTo>
                    <a:pt x="183" y="827"/>
                  </a:lnTo>
                  <a:lnTo>
                    <a:pt x="180" y="827"/>
                  </a:lnTo>
                  <a:lnTo>
                    <a:pt x="178" y="827"/>
                  </a:lnTo>
                  <a:lnTo>
                    <a:pt x="178" y="825"/>
                  </a:lnTo>
                  <a:lnTo>
                    <a:pt x="178" y="826"/>
                  </a:lnTo>
                  <a:lnTo>
                    <a:pt x="177" y="827"/>
                  </a:lnTo>
                  <a:lnTo>
                    <a:pt x="177" y="829"/>
                  </a:lnTo>
                  <a:lnTo>
                    <a:pt x="176" y="829"/>
                  </a:lnTo>
                  <a:lnTo>
                    <a:pt x="176" y="827"/>
                  </a:lnTo>
                  <a:lnTo>
                    <a:pt x="174" y="827"/>
                  </a:lnTo>
                  <a:lnTo>
                    <a:pt x="174" y="829"/>
                  </a:lnTo>
                  <a:lnTo>
                    <a:pt x="174" y="830"/>
                  </a:lnTo>
                  <a:lnTo>
                    <a:pt x="174" y="832"/>
                  </a:lnTo>
                  <a:lnTo>
                    <a:pt x="174" y="833"/>
                  </a:lnTo>
                  <a:lnTo>
                    <a:pt x="173" y="832"/>
                  </a:lnTo>
                  <a:lnTo>
                    <a:pt x="172" y="832"/>
                  </a:lnTo>
                  <a:lnTo>
                    <a:pt x="173" y="833"/>
                  </a:lnTo>
                  <a:lnTo>
                    <a:pt x="172" y="835"/>
                  </a:lnTo>
                  <a:lnTo>
                    <a:pt x="172" y="836"/>
                  </a:lnTo>
                  <a:lnTo>
                    <a:pt x="171" y="836"/>
                  </a:lnTo>
                  <a:lnTo>
                    <a:pt x="170" y="836"/>
                  </a:lnTo>
                  <a:lnTo>
                    <a:pt x="168" y="837"/>
                  </a:lnTo>
                  <a:lnTo>
                    <a:pt x="167" y="838"/>
                  </a:lnTo>
                  <a:lnTo>
                    <a:pt x="167" y="839"/>
                  </a:lnTo>
                  <a:lnTo>
                    <a:pt x="166" y="841"/>
                  </a:lnTo>
                  <a:lnTo>
                    <a:pt x="166" y="842"/>
                  </a:lnTo>
                  <a:lnTo>
                    <a:pt x="165" y="843"/>
                  </a:lnTo>
                  <a:lnTo>
                    <a:pt x="165" y="844"/>
                  </a:lnTo>
                  <a:lnTo>
                    <a:pt x="165" y="845"/>
                  </a:lnTo>
                  <a:lnTo>
                    <a:pt x="164" y="845"/>
                  </a:lnTo>
                  <a:lnTo>
                    <a:pt x="162" y="847"/>
                  </a:lnTo>
                  <a:lnTo>
                    <a:pt x="161" y="848"/>
                  </a:lnTo>
                  <a:lnTo>
                    <a:pt x="159" y="850"/>
                  </a:lnTo>
                  <a:lnTo>
                    <a:pt x="158" y="850"/>
                  </a:lnTo>
                  <a:lnTo>
                    <a:pt x="156" y="850"/>
                  </a:lnTo>
                  <a:lnTo>
                    <a:pt x="155" y="849"/>
                  </a:lnTo>
                  <a:lnTo>
                    <a:pt x="156" y="848"/>
                  </a:lnTo>
                  <a:lnTo>
                    <a:pt x="156" y="847"/>
                  </a:lnTo>
                  <a:lnTo>
                    <a:pt x="156" y="844"/>
                  </a:lnTo>
                  <a:lnTo>
                    <a:pt x="155" y="844"/>
                  </a:lnTo>
                  <a:lnTo>
                    <a:pt x="155" y="845"/>
                  </a:lnTo>
                  <a:lnTo>
                    <a:pt x="155" y="847"/>
                  </a:lnTo>
                  <a:lnTo>
                    <a:pt x="154" y="849"/>
                  </a:lnTo>
                  <a:lnTo>
                    <a:pt x="155" y="851"/>
                  </a:lnTo>
                  <a:lnTo>
                    <a:pt x="155" y="853"/>
                  </a:lnTo>
                  <a:lnTo>
                    <a:pt x="154" y="853"/>
                  </a:lnTo>
                  <a:lnTo>
                    <a:pt x="153" y="854"/>
                  </a:lnTo>
                  <a:lnTo>
                    <a:pt x="151" y="854"/>
                  </a:lnTo>
                  <a:lnTo>
                    <a:pt x="150" y="854"/>
                  </a:lnTo>
                  <a:lnTo>
                    <a:pt x="150" y="855"/>
                  </a:lnTo>
                  <a:lnTo>
                    <a:pt x="149" y="855"/>
                  </a:lnTo>
                  <a:lnTo>
                    <a:pt x="148" y="855"/>
                  </a:lnTo>
                  <a:lnTo>
                    <a:pt x="148" y="854"/>
                  </a:lnTo>
                  <a:lnTo>
                    <a:pt x="148" y="853"/>
                  </a:lnTo>
                  <a:lnTo>
                    <a:pt x="147" y="853"/>
                  </a:lnTo>
                  <a:lnTo>
                    <a:pt x="145" y="853"/>
                  </a:lnTo>
                  <a:lnTo>
                    <a:pt x="145" y="851"/>
                  </a:lnTo>
                  <a:lnTo>
                    <a:pt x="145" y="850"/>
                  </a:lnTo>
                  <a:lnTo>
                    <a:pt x="144" y="849"/>
                  </a:lnTo>
                  <a:lnTo>
                    <a:pt x="143" y="848"/>
                  </a:lnTo>
                  <a:lnTo>
                    <a:pt x="142" y="847"/>
                  </a:lnTo>
                  <a:lnTo>
                    <a:pt x="142" y="848"/>
                  </a:lnTo>
                  <a:lnTo>
                    <a:pt x="142" y="849"/>
                  </a:lnTo>
                  <a:lnTo>
                    <a:pt x="139" y="850"/>
                  </a:lnTo>
                  <a:lnTo>
                    <a:pt x="141" y="851"/>
                  </a:lnTo>
                  <a:lnTo>
                    <a:pt x="142" y="853"/>
                  </a:lnTo>
                  <a:lnTo>
                    <a:pt x="141" y="854"/>
                  </a:lnTo>
                  <a:lnTo>
                    <a:pt x="141" y="853"/>
                  </a:lnTo>
                  <a:lnTo>
                    <a:pt x="141" y="854"/>
                  </a:lnTo>
                  <a:lnTo>
                    <a:pt x="142" y="854"/>
                  </a:lnTo>
                  <a:lnTo>
                    <a:pt x="142" y="855"/>
                  </a:lnTo>
                  <a:lnTo>
                    <a:pt x="141" y="856"/>
                  </a:lnTo>
                  <a:lnTo>
                    <a:pt x="141" y="857"/>
                  </a:lnTo>
                  <a:lnTo>
                    <a:pt x="141" y="860"/>
                  </a:lnTo>
                  <a:lnTo>
                    <a:pt x="139" y="860"/>
                  </a:lnTo>
                  <a:lnTo>
                    <a:pt x="139" y="861"/>
                  </a:lnTo>
                  <a:lnTo>
                    <a:pt x="141" y="861"/>
                  </a:lnTo>
                  <a:lnTo>
                    <a:pt x="141" y="862"/>
                  </a:lnTo>
                  <a:lnTo>
                    <a:pt x="139" y="862"/>
                  </a:lnTo>
                  <a:lnTo>
                    <a:pt x="138" y="861"/>
                  </a:lnTo>
                  <a:lnTo>
                    <a:pt x="139" y="862"/>
                  </a:lnTo>
                  <a:lnTo>
                    <a:pt x="139" y="863"/>
                  </a:lnTo>
                  <a:lnTo>
                    <a:pt x="137" y="863"/>
                  </a:lnTo>
                  <a:lnTo>
                    <a:pt x="136" y="865"/>
                  </a:lnTo>
                  <a:lnTo>
                    <a:pt x="135" y="865"/>
                  </a:lnTo>
                  <a:lnTo>
                    <a:pt x="133" y="865"/>
                  </a:lnTo>
                  <a:lnTo>
                    <a:pt x="133" y="866"/>
                  </a:lnTo>
                  <a:lnTo>
                    <a:pt x="132" y="866"/>
                  </a:lnTo>
                  <a:lnTo>
                    <a:pt x="132" y="867"/>
                  </a:lnTo>
                  <a:lnTo>
                    <a:pt x="131" y="868"/>
                  </a:lnTo>
                  <a:lnTo>
                    <a:pt x="130" y="868"/>
                  </a:lnTo>
                  <a:lnTo>
                    <a:pt x="129" y="868"/>
                  </a:lnTo>
                  <a:lnTo>
                    <a:pt x="129" y="867"/>
                  </a:lnTo>
                  <a:lnTo>
                    <a:pt x="129" y="865"/>
                  </a:lnTo>
                  <a:lnTo>
                    <a:pt x="129" y="863"/>
                  </a:lnTo>
                  <a:lnTo>
                    <a:pt x="127" y="863"/>
                  </a:lnTo>
                  <a:lnTo>
                    <a:pt x="127" y="862"/>
                  </a:lnTo>
                  <a:lnTo>
                    <a:pt x="126" y="862"/>
                  </a:lnTo>
                  <a:lnTo>
                    <a:pt x="125" y="861"/>
                  </a:lnTo>
                  <a:lnTo>
                    <a:pt x="124" y="861"/>
                  </a:lnTo>
                  <a:lnTo>
                    <a:pt x="123" y="861"/>
                  </a:lnTo>
                  <a:lnTo>
                    <a:pt x="121" y="861"/>
                  </a:lnTo>
                  <a:lnTo>
                    <a:pt x="121" y="860"/>
                  </a:lnTo>
                  <a:lnTo>
                    <a:pt x="121" y="859"/>
                  </a:lnTo>
                  <a:lnTo>
                    <a:pt x="120" y="857"/>
                  </a:lnTo>
                  <a:lnTo>
                    <a:pt x="119" y="856"/>
                  </a:lnTo>
                  <a:lnTo>
                    <a:pt x="118" y="856"/>
                  </a:lnTo>
                  <a:lnTo>
                    <a:pt x="117" y="856"/>
                  </a:lnTo>
                  <a:lnTo>
                    <a:pt x="115" y="856"/>
                  </a:lnTo>
                  <a:lnTo>
                    <a:pt x="114" y="855"/>
                  </a:lnTo>
                  <a:lnTo>
                    <a:pt x="109" y="855"/>
                  </a:lnTo>
                  <a:lnTo>
                    <a:pt x="108" y="854"/>
                  </a:lnTo>
                  <a:lnTo>
                    <a:pt x="107" y="853"/>
                  </a:lnTo>
                  <a:lnTo>
                    <a:pt x="107" y="854"/>
                  </a:lnTo>
                  <a:lnTo>
                    <a:pt x="106" y="854"/>
                  </a:lnTo>
                  <a:lnTo>
                    <a:pt x="105" y="854"/>
                  </a:lnTo>
                  <a:lnTo>
                    <a:pt x="105" y="855"/>
                  </a:lnTo>
                  <a:lnTo>
                    <a:pt x="103" y="855"/>
                  </a:lnTo>
                  <a:lnTo>
                    <a:pt x="102" y="855"/>
                  </a:lnTo>
                  <a:lnTo>
                    <a:pt x="101" y="855"/>
                  </a:lnTo>
                  <a:lnTo>
                    <a:pt x="100" y="855"/>
                  </a:lnTo>
                  <a:lnTo>
                    <a:pt x="100" y="853"/>
                  </a:lnTo>
                  <a:lnTo>
                    <a:pt x="99" y="853"/>
                  </a:lnTo>
                  <a:lnTo>
                    <a:pt x="96" y="853"/>
                  </a:lnTo>
                  <a:lnTo>
                    <a:pt x="95" y="851"/>
                  </a:lnTo>
                  <a:lnTo>
                    <a:pt x="94" y="850"/>
                  </a:lnTo>
                  <a:lnTo>
                    <a:pt x="94" y="848"/>
                  </a:lnTo>
                  <a:lnTo>
                    <a:pt x="94" y="849"/>
                  </a:lnTo>
                  <a:lnTo>
                    <a:pt x="92" y="849"/>
                  </a:lnTo>
                  <a:lnTo>
                    <a:pt x="91" y="849"/>
                  </a:lnTo>
                  <a:lnTo>
                    <a:pt x="89" y="848"/>
                  </a:lnTo>
                  <a:lnTo>
                    <a:pt x="89" y="847"/>
                  </a:lnTo>
                  <a:lnTo>
                    <a:pt x="89" y="845"/>
                  </a:lnTo>
                  <a:lnTo>
                    <a:pt x="88" y="844"/>
                  </a:lnTo>
                  <a:lnTo>
                    <a:pt x="88" y="843"/>
                  </a:lnTo>
                  <a:lnTo>
                    <a:pt x="86" y="843"/>
                  </a:lnTo>
                  <a:lnTo>
                    <a:pt x="86" y="841"/>
                  </a:lnTo>
                  <a:lnTo>
                    <a:pt x="88" y="841"/>
                  </a:lnTo>
                  <a:lnTo>
                    <a:pt x="88" y="842"/>
                  </a:lnTo>
                  <a:lnTo>
                    <a:pt x="89" y="842"/>
                  </a:lnTo>
                  <a:lnTo>
                    <a:pt x="89" y="839"/>
                  </a:lnTo>
                  <a:lnTo>
                    <a:pt x="89" y="838"/>
                  </a:lnTo>
                  <a:lnTo>
                    <a:pt x="88" y="838"/>
                  </a:lnTo>
                  <a:lnTo>
                    <a:pt x="88" y="839"/>
                  </a:lnTo>
                  <a:lnTo>
                    <a:pt x="86" y="839"/>
                  </a:lnTo>
                  <a:lnTo>
                    <a:pt x="85" y="841"/>
                  </a:lnTo>
                  <a:lnTo>
                    <a:pt x="84" y="839"/>
                  </a:lnTo>
                  <a:lnTo>
                    <a:pt x="84" y="838"/>
                  </a:lnTo>
                  <a:lnTo>
                    <a:pt x="84" y="837"/>
                  </a:lnTo>
                  <a:lnTo>
                    <a:pt x="83" y="836"/>
                  </a:lnTo>
                  <a:lnTo>
                    <a:pt x="82" y="837"/>
                  </a:lnTo>
                  <a:lnTo>
                    <a:pt x="80" y="836"/>
                  </a:lnTo>
                  <a:lnTo>
                    <a:pt x="79" y="835"/>
                  </a:lnTo>
                  <a:lnTo>
                    <a:pt x="79" y="833"/>
                  </a:lnTo>
                  <a:lnTo>
                    <a:pt x="79" y="832"/>
                  </a:lnTo>
                  <a:lnTo>
                    <a:pt x="77" y="831"/>
                  </a:lnTo>
                  <a:lnTo>
                    <a:pt x="76" y="831"/>
                  </a:lnTo>
                  <a:lnTo>
                    <a:pt x="76" y="830"/>
                  </a:lnTo>
                  <a:lnTo>
                    <a:pt x="74" y="830"/>
                  </a:lnTo>
                  <a:lnTo>
                    <a:pt x="74" y="827"/>
                  </a:lnTo>
                  <a:lnTo>
                    <a:pt x="74" y="826"/>
                  </a:lnTo>
                  <a:lnTo>
                    <a:pt x="76" y="826"/>
                  </a:lnTo>
                  <a:lnTo>
                    <a:pt x="77" y="825"/>
                  </a:lnTo>
                  <a:lnTo>
                    <a:pt x="77" y="824"/>
                  </a:lnTo>
                  <a:lnTo>
                    <a:pt x="76" y="824"/>
                  </a:lnTo>
                  <a:lnTo>
                    <a:pt x="76" y="823"/>
                  </a:lnTo>
                  <a:lnTo>
                    <a:pt x="74" y="823"/>
                  </a:lnTo>
                  <a:lnTo>
                    <a:pt x="73" y="821"/>
                  </a:lnTo>
                  <a:lnTo>
                    <a:pt x="73" y="823"/>
                  </a:lnTo>
                  <a:lnTo>
                    <a:pt x="72" y="823"/>
                  </a:lnTo>
                  <a:lnTo>
                    <a:pt x="71" y="823"/>
                  </a:lnTo>
                  <a:lnTo>
                    <a:pt x="70" y="820"/>
                  </a:lnTo>
                  <a:lnTo>
                    <a:pt x="68" y="819"/>
                  </a:lnTo>
                  <a:lnTo>
                    <a:pt x="67" y="819"/>
                  </a:lnTo>
                  <a:lnTo>
                    <a:pt x="66" y="819"/>
                  </a:lnTo>
                  <a:lnTo>
                    <a:pt x="65" y="820"/>
                  </a:lnTo>
                  <a:lnTo>
                    <a:pt x="64" y="820"/>
                  </a:lnTo>
                  <a:lnTo>
                    <a:pt x="62" y="819"/>
                  </a:lnTo>
                  <a:lnTo>
                    <a:pt x="61" y="818"/>
                  </a:lnTo>
                  <a:lnTo>
                    <a:pt x="59" y="818"/>
                  </a:lnTo>
                  <a:lnTo>
                    <a:pt x="58" y="819"/>
                  </a:lnTo>
                  <a:lnTo>
                    <a:pt x="56" y="819"/>
                  </a:lnTo>
                  <a:lnTo>
                    <a:pt x="55" y="819"/>
                  </a:lnTo>
                  <a:lnTo>
                    <a:pt x="55" y="818"/>
                  </a:lnTo>
                  <a:lnTo>
                    <a:pt x="54" y="818"/>
                  </a:lnTo>
                  <a:lnTo>
                    <a:pt x="53" y="818"/>
                  </a:lnTo>
                  <a:lnTo>
                    <a:pt x="53" y="817"/>
                  </a:lnTo>
                  <a:lnTo>
                    <a:pt x="53" y="815"/>
                  </a:lnTo>
                  <a:lnTo>
                    <a:pt x="53" y="814"/>
                  </a:lnTo>
                  <a:lnTo>
                    <a:pt x="52" y="814"/>
                  </a:lnTo>
                  <a:lnTo>
                    <a:pt x="53" y="813"/>
                  </a:lnTo>
                  <a:lnTo>
                    <a:pt x="53" y="812"/>
                  </a:lnTo>
                  <a:lnTo>
                    <a:pt x="52" y="812"/>
                  </a:lnTo>
                  <a:lnTo>
                    <a:pt x="50" y="811"/>
                  </a:lnTo>
                  <a:lnTo>
                    <a:pt x="49" y="809"/>
                  </a:lnTo>
                  <a:lnTo>
                    <a:pt x="49" y="808"/>
                  </a:lnTo>
                  <a:lnTo>
                    <a:pt x="48" y="808"/>
                  </a:lnTo>
                  <a:lnTo>
                    <a:pt x="48" y="809"/>
                  </a:lnTo>
                  <a:lnTo>
                    <a:pt x="47" y="808"/>
                  </a:lnTo>
                  <a:lnTo>
                    <a:pt x="47" y="807"/>
                  </a:lnTo>
                  <a:lnTo>
                    <a:pt x="46" y="807"/>
                  </a:lnTo>
                  <a:lnTo>
                    <a:pt x="46" y="808"/>
                  </a:lnTo>
                  <a:lnTo>
                    <a:pt x="44" y="808"/>
                  </a:lnTo>
                  <a:lnTo>
                    <a:pt x="43" y="808"/>
                  </a:lnTo>
                  <a:lnTo>
                    <a:pt x="42" y="808"/>
                  </a:lnTo>
                  <a:lnTo>
                    <a:pt x="41" y="808"/>
                  </a:lnTo>
                  <a:lnTo>
                    <a:pt x="40" y="808"/>
                  </a:lnTo>
                  <a:lnTo>
                    <a:pt x="38" y="808"/>
                  </a:lnTo>
                  <a:lnTo>
                    <a:pt x="37" y="809"/>
                  </a:lnTo>
                  <a:lnTo>
                    <a:pt x="36" y="808"/>
                  </a:lnTo>
                  <a:lnTo>
                    <a:pt x="35" y="807"/>
                  </a:lnTo>
                  <a:lnTo>
                    <a:pt x="33" y="807"/>
                  </a:lnTo>
                  <a:lnTo>
                    <a:pt x="33" y="806"/>
                  </a:lnTo>
                  <a:lnTo>
                    <a:pt x="32" y="806"/>
                  </a:lnTo>
                  <a:lnTo>
                    <a:pt x="32" y="805"/>
                  </a:lnTo>
                  <a:lnTo>
                    <a:pt x="32" y="803"/>
                  </a:lnTo>
                  <a:lnTo>
                    <a:pt x="31" y="802"/>
                  </a:lnTo>
                  <a:lnTo>
                    <a:pt x="31" y="805"/>
                  </a:lnTo>
                  <a:lnTo>
                    <a:pt x="31" y="803"/>
                  </a:lnTo>
                  <a:lnTo>
                    <a:pt x="31" y="802"/>
                  </a:lnTo>
                  <a:lnTo>
                    <a:pt x="31" y="801"/>
                  </a:lnTo>
                  <a:lnTo>
                    <a:pt x="30" y="801"/>
                  </a:lnTo>
                  <a:lnTo>
                    <a:pt x="29" y="800"/>
                  </a:lnTo>
                  <a:lnTo>
                    <a:pt x="29" y="801"/>
                  </a:lnTo>
                  <a:lnTo>
                    <a:pt x="27" y="800"/>
                  </a:lnTo>
                  <a:lnTo>
                    <a:pt x="27" y="799"/>
                  </a:lnTo>
                  <a:lnTo>
                    <a:pt x="25" y="799"/>
                  </a:lnTo>
                  <a:lnTo>
                    <a:pt x="24" y="799"/>
                  </a:lnTo>
                  <a:lnTo>
                    <a:pt x="23" y="797"/>
                  </a:lnTo>
                  <a:lnTo>
                    <a:pt x="21" y="797"/>
                  </a:lnTo>
                  <a:lnTo>
                    <a:pt x="19" y="797"/>
                  </a:lnTo>
                  <a:lnTo>
                    <a:pt x="17" y="796"/>
                  </a:lnTo>
                  <a:lnTo>
                    <a:pt x="14" y="796"/>
                  </a:lnTo>
                  <a:lnTo>
                    <a:pt x="13" y="795"/>
                  </a:lnTo>
                  <a:lnTo>
                    <a:pt x="14" y="794"/>
                  </a:lnTo>
                  <a:lnTo>
                    <a:pt x="15" y="793"/>
                  </a:lnTo>
                  <a:lnTo>
                    <a:pt x="14" y="794"/>
                  </a:lnTo>
                  <a:lnTo>
                    <a:pt x="13" y="794"/>
                  </a:lnTo>
                  <a:lnTo>
                    <a:pt x="13" y="793"/>
                  </a:lnTo>
                  <a:lnTo>
                    <a:pt x="13" y="791"/>
                  </a:lnTo>
                  <a:lnTo>
                    <a:pt x="12" y="790"/>
                  </a:lnTo>
                  <a:lnTo>
                    <a:pt x="12" y="788"/>
                  </a:lnTo>
                  <a:lnTo>
                    <a:pt x="13" y="787"/>
                  </a:lnTo>
                  <a:lnTo>
                    <a:pt x="14" y="785"/>
                  </a:lnTo>
                  <a:lnTo>
                    <a:pt x="13" y="785"/>
                  </a:lnTo>
                  <a:lnTo>
                    <a:pt x="13" y="784"/>
                  </a:lnTo>
                  <a:lnTo>
                    <a:pt x="13" y="783"/>
                  </a:lnTo>
                  <a:lnTo>
                    <a:pt x="12" y="782"/>
                  </a:lnTo>
                  <a:lnTo>
                    <a:pt x="11" y="781"/>
                  </a:lnTo>
                  <a:lnTo>
                    <a:pt x="11" y="779"/>
                  </a:lnTo>
                  <a:lnTo>
                    <a:pt x="12" y="779"/>
                  </a:lnTo>
                  <a:lnTo>
                    <a:pt x="12" y="773"/>
                  </a:lnTo>
                  <a:lnTo>
                    <a:pt x="11" y="773"/>
                  </a:lnTo>
                  <a:lnTo>
                    <a:pt x="11" y="772"/>
                  </a:lnTo>
                  <a:lnTo>
                    <a:pt x="9" y="771"/>
                  </a:lnTo>
                  <a:lnTo>
                    <a:pt x="8" y="771"/>
                  </a:lnTo>
                  <a:lnTo>
                    <a:pt x="7" y="770"/>
                  </a:lnTo>
                  <a:lnTo>
                    <a:pt x="6" y="770"/>
                  </a:lnTo>
                  <a:lnTo>
                    <a:pt x="5" y="768"/>
                  </a:lnTo>
                  <a:lnTo>
                    <a:pt x="2" y="767"/>
                  </a:lnTo>
                  <a:lnTo>
                    <a:pt x="1" y="766"/>
                  </a:lnTo>
                  <a:lnTo>
                    <a:pt x="0" y="765"/>
                  </a:lnTo>
                  <a:lnTo>
                    <a:pt x="0" y="764"/>
                  </a:lnTo>
                  <a:lnTo>
                    <a:pt x="1" y="764"/>
                  </a:lnTo>
                  <a:lnTo>
                    <a:pt x="3" y="764"/>
                  </a:lnTo>
                  <a:lnTo>
                    <a:pt x="5" y="764"/>
                  </a:lnTo>
                  <a:lnTo>
                    <a:pt x="8" y="765"/>
                  </a:lnTo>
                  <a:lnTo>
                    <a:pt x="12" y="766"/>
                  </a:lnTo>
                  <a:lnTo>
                    <a:pt x="15" y="767"/>
                  </a:lnTo>
                  <a:lnTo>
                    <a:pt x="18" y="768"/>
                  </a:lnTo>
                  <a:lnTo>
                    <a:pt x="20" y="770"/>
                  </a:lnTo>
                  <a:lnTo>
                    <a:pt x="25" y="771"/>
                  </a:lnTo>
                  <a:lnTo>
                    <a:pt x="29" y="772"/>
                  </a:lnTo>
                  <a:lnTo>
                    <a:pt x="32" y="772"/>
                  </a:lnTo>
                  <a:lnTo>
                    <a:pt x="36" y="773"/>
                  </a:lnTo>
                  <a:lnTo>
                    <a:pt x="38" y="773"/>
                  </a:lnTo>
                  <a:lnTo>
                    <a:pt x="44" y="773"/>
                  </a:lnTo>
                  <a:lnTo>
                    <a:pt x="49" y="773"/>
                  </a:lnTo>
                  <a:lnTo>
                    <a:pt x="53" y="773"/>
                  </a:lnTo>
                  <a:lnTo>
                    <a:pt x="58" y="773"/>
                  </a:lnTo>
                  <a:lnTo>
                    <a:pt x="60" y="772"/>
                  </a:lnTo>
                  <a:lnTo>
                    <a:pt x="64" y="772"/>
                  </a:lnTo>
                  <a:lnTo>
                    <a:pt x="72" y="772"/>
                  </a:lnTo>
                  <a:lnTo>
                    <a:pt x="74" y="771"/>
                  </a:lnTo>
                  <a:lnTo>
                    <a:pt x="76" y="770"/>
                  </a:lnTo>
                  <a:lnTo>
                    <a:pt x="78" y="767"/>
                  </a:lnTo>
                  <a:lnTo>
                    <a:pt x="79" y="766"/>
                  </a:lnTo>
                  <a:lnTo>
                    <a:pt x="79" y="765"/>
                  </a:lnTo>
                  <a:lnTo>
                    <a:pt x="80" y="764"/>
                  </a:lnTo>
                  <a:lnTo>
                    <a:pt x="80" y="762"/>
                  </a:lnTo>
                  <a:lnTo>
                    <a:pt x="79" y="762"/>
                  </a:lnTo>
                  <a:lnTo>
                    <a:pt x="78" y="764"/>
                  </a:lnTo>
                  <a:lnTo>
                    <a:pt x="78" y="762"/>
                  </a:lnTo>
                  <a:lnTo>
                    <a:pt x="77" y="762"/>
                  </a:lnTo>
                  <a:lnTo>
                    <a:pt x="76" y="762"/>
                  </a:lnTo>
                  <a:lnTo>
                    <a:pt x="74" y="761"/>
                  </a:lnTo>
                  <a:lnTo>
                    <a:pt x="73" y="760"/>
                  </a:lnTo>
                  <a:lnTo>
                    <a:pt x="72" y="759"/>
                  </a:lnTo>
                  <a:lnTo>
                    <a:pt x="71" y="759"/>
                  </a:lnTo>
                  <a:lnTo>
                    <a:pt x="71" y="760"/>
                  </a:lnTo>
                  <a:lnTo>
                    <a:pt x="70" y="759"/>
                  </a:lnTo>
                  <a:lnTo>
                    <a:pt x="68" y="759"/>
                  </a:lnTo>
                  <a:lnTo>
                    <a:pt x="67" y="759"/>
                  </a:lnTo>
                  <a:lnTo>
                    <a:pt x="66" y="759"/>
                  </a:lnTo>
                  <a:lnTo>
                    <a:pt x="65" y="759"/>
                  </a:lnTo>
                  <a:lnTo>
                    <a:pt x="64" y="758"/>
                  </a:lnTo>
                  <a:lnTo>
                    <a:pt x="62" y="759"/>
                  </a:lnTo>
                  <a:lnTo>
                    <a:pt x="62" y="758"/>
                  </a:lnTo>
                  <a:lnTo>
                    <a:pt x="62" y="756"/>
                  </a:lnTo>
                  <a:lnTo>
                    <a:pt x="61" y="755"/>
                  </a:lnTo>
                  <a:lnTo>
                    <a:pt x="61" y="756"/>
                  </a:lnTo>
                  <a:lnTo>
                    <a:pt x="61" y="758"/>
                  </a:lnTo>
                  <a:lnTo>
                    <a:pt x="60" y="758"/>
                  </a:lnTo>
                  <a:lnTo>
                    <a:pt x="60" y="756"/>
                  </a:lnTo>
                  <a:lnTo>
                    <a:pt x="59" y="756"/>
                  </a:lnTo>
                  <a:lnTo>
                    <a:pt x="59" y="755"/>
                  </a:lnTo>
                  <a:lnTo>
                    <a:pt x="58" y="754"/>
                  </a:lnTo>
                  <a:lnTo>
                    <a:pt x="58" y="756"/>
                  </a:lnTo>
                  <a:lnTo>
                    <a:pt x="58" y="755"/>
                  </a:lnTo>
                  <a:lnTo>
                    <a:pt x="56" y="755"/>
                  </a:lnTo>
                  <a:lnTo>
                    <a:pt x="55" y="755"/>
                  </a:lnTo>
                  <a:lnTo>
                    <a:pt x="54" y="754"/>
                  </a:lnTo>
                  <a:lnTo>
                    <a:pt x="53" y="753"/>
                  </a:lnTo>
                  <a:lnTo>
                    <a:pt x="53" y="752"/>
                  </a:lnTo>
                  <a:lnTo>
                    <a:pt x="52" y="750"/>
                  </a:lnTo>
                  <a:lnTo>
                    <a:pt x="52" y="749"/>
                  </a:lnTo>
                  <a:lnTo>
                    <a:pt x="50" y="749"/>
                  </a:lnTo>
                  <a:lnTo>
                    <a:pt x="49" y="748"/>
                  </a:lnTo>
                  <a:lnTo>
                    <a:pt x="49" y="747"/>
                  </a:lnTo>
                  <a:lnTo>
                    <a:pt x="48" y="747"/>
                  </a:lnTo>
                  <a:lnTo>
                    <a:pt x="48" y="746"/>
                  </a:lnTo>
                  <a:lnTo>
                    <a:pt x="47" y="746"/>
                  </a:lnTo>
                  <a:lnTo>
                    <a:pt x="46" y="744"/>
                  </a:lnTo>
                  <a:lnTo>
                    <a:pt x="47" y="743"/>
                  </a:lnTo>
                  <a:lnTo>
                    <a:pt x="46" y="744"/>
                  </a:lnTo>
                  <a:lnTo>
                    <a:pt x="46" y="743"/>
                  </a:lnTo>
                  <a:lnTo>
                    <a:pt x="44" y="742"/>
                  </a:lnTo>
                  <a:lnTo>
                    <a:pt x="44" y="741"/>
                  </a:lnTo>
                  <a:lnTo>
                    <a:pt x="46" y="740"/>
                  </a:lnTo>
                  <a:lnTo>
                    <a:pt x="47" y="741"/>
                  </a:lnTo>
                  <a:lnTo>
                    <a:pt x="49" y="740"/>
                  </a:lnTo>
                  <a:lnTo>
                    <a:pt x="55" y="741"/>
                  </a:lnTo>
                  <a:lnTo>
                    <a:pt x="60" y="741"/>
                  </a:lnTo>
                  <a:lnTo>
                    <a:pt x="62" y="742"/>
                  </a:lnTo>
                  <a:lnTo>
                    <a:pt x="65" y="741"/>
                  </a:lnTo>
                  <a:lnTo>
                    <a:pt x="67" y="741"/>
                  </a:lnTo>
                  <a:lnTo>
                    <a:pt x="68" y="740"/>
                  </a:lnTo>
                  <a:lnTo>
                    <a:pt x="68" y="738"/>
                  </a:lnTo>
                  <a:lnTo>
                    <a:pt x="70" y="737"/>
                  </a:lnTo>
                  <a:lnTo>
                    <a:pt x="68" y="737"/>
                  </a:lnTo>
                  <a:lnTo>
                    <a:pt x="68" y="736"/>
                  </a:lnTo>
                  <a:lnTo>
                    <a:pt x="67" y="735"/>
                  </a:lnTo>
                  <a:lnTo>
                    <a:pt x="66" y="734"/>
                  </a:lnTo>
                  <a:lnTo>
                    <a:pt x="66" y="732"/>
                  </a:lnTo>
                  <a:lnTo>
                    <a:pt x="65" y="732"/>
                  </a:lnTo>
                  <a:lnTo>
                    <a:pt x="64" y="732"/>
                  </a:lnTo>
                  <a:lnTo>
                    <a:pt x="62" y="731"/>
                  </a:lnTo>
                  <a:lnTo>
                    <a:pt x="61" y="730"/>
                  </a:lnTo>
                  <a:lnTo>
                    <a:pt x="60" y="730"/>
                  </a:lnTo>
                  <a:lnTo>
                    <a:pt x="59" y="730"/>
                  </a:lnTo>
                  <a:lnTo>
                    <a:pt x="58" y="730"/>
                  </a:lnTo>
                  <a:lnTo>
                    <a:pt x="56" y="730"/>
                  </a:lnTo>
                  <a:lnTo>
                    <a:pt x="56" y="729"/>
                  </a:lnTo>
                  <a:lnTo>
                    <a:pt x="55" y="729"/>
                  </a:lnTo>
                  <a:lnTo>
                    <a:pt x="55" y="728"/>
                  </a:lnTo>
                  <a:lnTo>
                    <a:pt x="54" y="728"/>
                  </a:lnTo>
                  <a:lnTo>
                    <a:pt x="53" y="728"/>
                  </a:lnTo>
                  <a:lnTo>
                    <a:pt x="53" y="726"/>
                  </a:lnTo>
                  <a:lnTo>
                    <a:pt x="52" y="726"/>
                  </a:lnTo>
                  <a:lnTo>
                    <a:pt x="50" y="725"/>
                  </a:lnTo>
                  <a:lnTo>
                    <a:pt x="49" y="725"/>
                  </a:lnTo>
                  <a:lnTo>
                    <a:pt x="49" y="724"/>
                  </a:lnTo>
                  <a:lnTo>
                    <a:pt x="48" y="724"/>
                  </a:lnTo>
                  <a:lnTo>
                    <a:pt x="47" y="724"/>
                  </a:lnTo>
                  <a:lnTo>
                    <a:pt x="46" y="723"/>
                  </a:lnTo>
                  <a:lnTo>
                    <a:pt x="46" y="722"/>
                  </a:lnTo>
                  <a:lnTo>
                    <a:pt x="44" y="720"/>
                  </a:lnTo>
                  <a:lnTo>
                    <a:pt x="43" y="720"/>
                  </a:lnTo>
                  <a:lnTo>
                    <a:pt x="42" y="719"/>
                  </a:lnTo>
                  <a:lnTo>
                    <a:pt x="41" y="718"/>
                  </a:lnTo>
                  <a:lnTo>
                    <a:pt x="41" y="717"/>
                  </a:lnTo>
                  <a:lnTo>
                    <a:pt x="42" y="716"/>
                  </a:lnTo>
                  <a:lnTo>
                    <a:pt x="41" y="713"/>
                  </a:lnTo>
                  <a:lnTo>
                    <a:pt x="40" y="712"/>
                  </a:lnTo>
                  <a:lnTo>
                    <a:pt x="38" y="711"/>
                  </a:lnTo>
                  <a:lnTo>
                    <a:pt x="38" y="710"/>
                  </a:lnTo>
                  <a:lnTo>
                    <a:pt x="38" y="708"/>
                  </a:lnTo>
                  <a:lnTo>
                    <a:pt x="40" y="708"/>
                  </a:lnTo>
                  <a:lnTo>
                    <a:pt x="41" y="710"/>
                  </a:lnTo>
                  <a:lnTo>
                    <a:pt x="43" y="711"/>
                  </a:lnTo>
                  <a:lnTo>
                    <a:pt x="44" y="711"/>
                  </a:lnTo>
                  <a:lnTo>
                    <a:pt x="44" y="710"/>
                  </a:lnTo>
                  <a:lnTo>
                    <a:pt x="43" y="710"/>
                  </a:lnTo>
                  <a:lnTo>
                    <a:pt x="42" y="710"/>
                  </a:lnTo>
                  <a:lnTo>
                    <a:pt x="41" y="708"/>
                  </a:lnTo>
                  <a:lnTo>
                    <a:pt x="40" y="707"/>
                  </a:lnTo>
                  <a:lnTo>
                    <a:pt x="41" y="707"/>
                  </a:lnTo>
                  <a:lnTo>
                    <a:pt x="42" y="706"/>
                  </a:lnTo>
                  <a:lnTo>
                    <a:pt x="43" y="706"/>
                  </a:lnTo>
                  <a:lnTo>
                    <a:pt x="46" y="705"/>
                  </a:lnTo>
                  <a:lnTo>
                    <a:pt x="47" y="704"/>
                  </a:lnTo>
                  <a:lnTo>
                    <a:pt x="46" y="704"/>
                  </a:lnTo>
                  <a:lnTo>
                    <a:pt x="44" y="704"/>
                  </a:lnTo>
                  <a:lnTo>
                    <a:pt x="43" y="704"/>
                  </a:lnTo>
                  <a:lnTo>
                    <a:pt x="42" y="704"/>
                  </a:lnTo>
                  <a:lnTo>
                    <a:pt x="41" y="702"/>
                  </a:lnTo>
                  <a:lnTo>
                    <a:pt x="41" y="701"/>
                  </a:lnTo>
                  <a:lnTo>
                    <a:pt x="42" y="702"/>
                  </a:lnTo>
                  <a:lnTo>
                    <a:pt x="43" y="702"/>
                  </a:lnTo>
                  <a:lnTo>
                    <a:pt x="43" y="701"/>
                  </a:lnTo>
                  <a:lnTo>
                    <a:pt x="42" y="701"/>
                  </a:lnTo>
                  <a:lnTo>
                    <a:pt x="41" y="701"/>
                  </a:lnTo>
                  <a:lnTo>
                    <a:pt x="40" y="700"/>
                  </a:lnTo>
                  <a:lnTo>
                    <a:pt x="41" y="700"/>
                  </a:lnTo>
                  <a:lnTo>
                    <a:pt x="42" y="700"/>
                  </a:lnTo>
                  <a:lnTo>
                    <a:pt x="42" y="699"/>
                  </a:lnTo>
                  <a:lnTo>
                    <a:pt x="43" y="698"/>
                  </a:lnTo>
                  <a:lnTo>
                    <a:pt x="44" y="699"/>
                  </a:lnTo>
                  <a:lnTo>
                    <a:pt x="46" y="699"/>
                  </a:lnTo>
                  <a:lnTo>
                    <a:pt x="46" y="698"/>
                  </a:lnTo>
                  <a:lnTo>
                    <a:pt x="47" y="698"/>
                  </a:lnTo>
                  <a:lnTo>
                    <a:pt x="47" y="699"/>
                  </a:lnTo>
                  <a:lnTo>
                    <a:pt x="48" y="701"/>
                  </a:lnTo>
                  <a:lnTo>
                    <a:pt x="48" y="702"/>
                  </a:lnTo>
                  <a:lnTo>
                    <a:pt x="50" y="702"/>
                  </a:lnTo>
                  <a:lnTo>
                    <a:pt x="50" y="704"/>
                  </a:lnTo>
                  <a:lnTo>
                    <a:pt x="50" y="705"/>
                  </a:lnTo>
                  <a:lnTo>
                    <a:pt x="52" y="705"/>
                  </a:lnTo>
                  <a:lnTo>
                    <a:pt x="53" y="706"/>
                  </a:lnTo>
                  <a:lnTo>
                    <a:pt x="54" y="706"/>
                  </a:lnTo>
                  <a:lnTo>
                    <a:pt x="55" y="707"/>
                  </a:lnTo>
                  <a:lnTo>
                    <a:pt x="56" y="708"/>
                  </a:lnTo>
                  <a:lnTo>
                    <a:pt x="59" y="708"/>
                  </a:lnTo>
                  <a:lnTo>
                    <a:pt x="60" y="708"/>
                  </a:lnTo>
                  <a:lnTo>
                    <a:pt x="61" y="710"/>
                  </a:lnTo>
                  <a:lnTo>
                    <a:pt x="64" y="710"/>
                  </a:lnTo>
                  <a:lnTo>
                    <a:pt x="66" y="711"/>
                  </a:lnTo>
                  <a:lnTo>
                    <a:pt x="67" y="711"/>
                  </a:lnTo>
                  <a:lnTo>
                    <a:pt x="68" y="711"/>
                  </a:lnTo>
                  <a:lnTo>
                    <a:pt x="70" y="711"/>
                  </a:lnTo>
                  <a:lnTo>
                    <a:pt x="68" y="711"/>
                  </a:lnTo>
                  <a:lnTo>
                    <a:pt x="67" y="710"/>
                  </a:lnTo>
                  <a:lnTo>
                    <a:pt x="67" y="708"/>
                  </a:lnTo>
                  <a:lnTo>
                    <a:pt x="68" y="707"/>
                  </a:lnTo>
                  <a:lnTo>
                    <a:pt x="68" y="706"/>
                  </a:lnTo>
                  <a:lnTo>
                    <a:pt x="70" y="706"/>
                  </a:lnTo>
                  <a:lnTo>
                    <a:pt x="71" y="705"/>
                  </a:lnTo>
                  <a:lnTo>
                    <a:pt x="70" y="705"/>
                  </a:lnTo>
                  <a:lnTo>
                    <a:pt x="68" y="705"/>
                  </a:lnTo>
                  <a:lnTo>
                    <a:pt x="68" y="704"/>
                  </a:lnTo>
                  <a:lnTo>
                    <a:pt x="67" y="705"/>
                  </a:lnTo>
                  <a:lnTo>
                    <a:pt x="67" y="704"/>
                  </a:lnTo>
                  <a:lnTo>
                    <a:pt x="67" y="702"/>
                  </a:lnTo>
                  <a:lnTo>
                    <a:pt x="68" y="702"/>
                  </a:lnTo>
                  <a:lnTo>
                    <a:pt x="67" y="701"/>
                  </a:lnTo>
                  <a:lnTo>
                    <a:pt x="67" y="700"/>
                  </a:lnTo>
                  <a:lnTo>
                    <a:pt x="68" y="700"/>
                  </a:lnTo>
                  <a:lnTo>
                    <a:pt x="70" y="700"/>
                  </a:lnTo>
                  <a:lnTo>
                    <a:pt x="71" y="700"/>
                  </a:lnTo>
                  <a:lnTo>
                    <a:pt x="72" y="700"/>
                  </a:lnTo>
                  <a:lnTo>
                    <a:pt x="73" y="700"/>
                  </a:lnTo>
                  <a:lnTo>
                    <a:pt x="74" y="701"/>
                  </a:lnTo>
                  <a:lnTo>
                    <a:pt x="76" y="701"/>
                  </a:lnTo>
                  <a:lnTo>
                    <a:pt x="77" y="701"/>
                  </a:lnTo>
                  <a:lnTo>
                    <a:pt x="77" y="700"/>
                  </a:lnTo>
                  <a:lnTo>
                    <a:pt x="74" y="700"/>
                  </a:lnTo>
                  <a:lnTo>
                    <a:pt x="74" y="699"/>
                  </a:lnTo>
                  <a:lnTo>
                    <a:pt x="74" y="698"/>
                  </a:lnTo>
                  <a:lnTo>
                    <a:pt x="76" y="698"/>
                  </a:lnTo>
                  <a:lnTo>
                    <a:pt x="76" y="696"/>
                  </a:lnTo>
                  <a:lnTo>
                    <a:pt x="76" y="695"/>
                  </a:lnTo>
                  <a:lnTo>
                    <a:pt x="76" y="694"/>
                  </a:lnTo>
                  <a:lnTo>
                    <a:pt x="77" y="694"/>
                  </a:lnTo>
                  <a:lnTo>
                    <a:pt x="78" y="693"/>
                  </a:lnTo>
                  <a:lnTo>
                    <a:pt x="79" y="693"/>
                  </a:lnTo>
                  <a:lnTo>
                    <a:pt x="79" y="694"/>
                  </a:lnTo>
                  <a:lnTo>
                    <a:pt x="79" y="695"/>
                  </a:lnTo>
                  <a:lnTo>
                    <a:pt x="80" y="696"/>
                  </a:lnTo>
                  <a:lnTo>
                    <a:pt x="82" y="698"/>
                  </a:lnTo>
                  <a:lnTo>
                    <a:pt x="83" y="698"/>
                  </a:lnTo>
                  <a:lnTo>
                    <a:pt x="84" y="699"/>
                  </a:lnTo>
                  <a:lnTo>
                    <a:pt x="85" y="700"/>
                  </a:lnTo>
                  <a:lnTo>
                    <a:pt x="84" y="700"/>
                  </a:lnTo>
                  <a:lnTo>
                    <a:pt x="83" y="699"/>
                  </a:lnTo>
                  <a:lnTo>
                    <a:pt x="83" y="700"/>
                  </a:lnTo>
                  <a:lnTo>
                    <a:pt x="84" y="700"/>
                  </a:lnTo>
                  <a:lnTo>
                    <a:pt x="84" y="701"/>
                  </a:lnTo>
                  <a:lnTo>
                    <a:pt x="84" y="702"/>
                  </a:lnTo>
                  <a:lnTo>
                    <a:pt x="83" y="702"/>
                  </a:lnTo>
                  <a:lnTo>
                    <a:pt x="84" y="702"/>
                  </a:lnTo>
                  <a:lnTo>
                    <a:pt x="84" y="704"/>
                  </a:lnTo>
                  <a:lnTo>
                    <a:pt x="84" y="705"/>
                  </a:lnTo>
                  <a:lnTo>
                    <a:pt x="85" y="706"/>
                  </a:lnTo>
                  <a:lnTo>
                    <a:pt x="86" y="706"/>
                  </a:lnTo>
                  <a:lnTo>
                    <a:pt x="88" y="706"/>
                  </a:lnTo>
                  <a:lnTo>
                    <a:pt x="86" y="707"/>
                  </a:lnTo>
                  <a:lnTo>
                    <a:pt x="85" y="707"/>
                  </a:lnTo>
                  <a:lnTo>
                    <a:pt x="84" y="707"/>
                  </a:lnTo>
                  <a:lnTo>
                    <a:pt x="84" y="708"/>
                  </a:lnTo>
                  <a:lnTo>
                    <a:pt x="84" y="710"/>
                  </a:lnTo>
                  <a:lnTo>
                    <a:pt x="85" y="710"/>
                  </a:lnTo>
                  <a:lnTo>
                    <a:pt x="86" y="708"/>
                  </a:lnTo>
                  <a:lnTo>
                    <a:pt x="86" y="710"/>
                  </a:lnTo>
                  <a:lnTo>
                    <a:pt x="88" y="710"/>
                  </a:lnTo>
                  <a:lnTo>
                    <a:pt x="90" y="711"/>
                  </a:lnTo>
                  <a:lnTo>
                    <a:pt x="91" y="711"/>
                  </a:lnTo>
                  <a:lnTo>
                    <a:pt x="94" y="711"/>
                  </a:lnTo>
                  <a:lnTo>
                    <a:pt x="95" y="712"/>
                  </a:lnTo>
                  <a:lnTo>
                    <a:pt x="97" y="712"/>
                  </a:lnTo>
                  <a:lnTo>
                    <a:pt x="101" y="712"/>
                  </a:lnTo>
                  <a:lnTo>
                    <a:pt x="105" y="712"/>
                  </a:lnTo>
                  <a:lnTo>
                    <a:pt x="106" y="711"/>
                  </a:lnTo>
                  <a:lnTo>
                    <a:pt x="107" y="711"/>
                  </a:lnTo>
                  <a:lnTo>
                    <a:pt x="111" y="711"/>
                  </a:lnTo>
                  <a:lnTo>
                    <a:pt x="113" y="710"/>
                  </a:lnTo>
                  <a:lnTo>
                    <a:pt x="114" y="708"/>
                  </a:lnTo>
                  <a:lnTo>
                    <a:pt x="114" y="707"/>
                  </a:lnTo>
                  <a:lnTo>
                    <a:pt x="114" y="706"/>
                  </a:lnTo>
                  <a:lnTo>
                    <a:pt x="113" y="707"/>
                  </a:lnTo>
                  <a:lnTo>
                    <a:pt x="112" y="706"/>
                  </a:lnTo>
                  <a:lnTo>
                    <a:pt x="112" y="705"/>
                  </a:lnTo>
                  <a:lnTo>
                    <a:pt x="111" y="707"/>
                  </a:lnTo>
                  <a:lnTo>
                    <a:pt x="108" y="708"/>
                  </a:lnTo>
                  <a:lnTo>
                    <a:pt x="107" y="710"/>
                  </a:lnTo>
                  <a:lnTo>
                    <a:pt x="107" y="708"/>
                  </a:lnTo>
                  <a:lnTo>
                    <a:pt x="108" y="706"/>
                  </a:lnTo>
                  <a:lnTo>
                    <a:pt x="111" y="705"/>
                  </a:lnTo>
                  <a:lnTo>
                    <a:pt x="111" y="704"/>
                  </a:lnTo>
                  <a:lnTo>
                    <a:pt x="111" y="702"/>
                  </a:lnTo>
                  <a:lnTo>
                    <a:pt x="111" y="701"/>
                  </a:lnTo>
                  <a:lnTo>
                    <a:pt x="109" y="702"/>
                  </a:lnTo>
                  <a:lnTo>
                    <a:pt x="109" y="704"/>
                  </a:lnTo>
                  <a:lnTo>
                    <a:pt x="109" y="702"/>
                  </a:lnTo>
                  <a:lnTo>
                    <a:pt x="108" y="702"/>
                  </a:lnTo>
                  <a:lnTo>
                    <a:pt x="106" y="702"/>
                  </a:lnTo>
                  <a:lnTo>
                    <a:pt x="106" y="704"/>
                  </a:lnTo>
                  <a:lnTo>
                    <a:pt x="106" y="702"/>
                  </a:lnTo>
                  <a:lnTo>
                    <a:pt x="106" y="701"/>
                  </a:lnTo>
                  <a:lnTo>
                    <a:pt x="106" y="700"/>
                  </a:lnTo>
                  <a:lnTo>
                    <a:pt x="108" y="699"/>
                  </a:lnTo>
                  <a:lnTo>
                    <a:pt x="108" y="698"/>
                  </a:lnTo>
                  <a:lnTo>
                    <a:pt x="108" y="696"/>
                  </a:lnTo>
                  <a:lnTo>
                    <a:pt x="107" y="695"/>
                  </a:lnTo>
                  <a:lnTo>
                    <a:pt x="107" y="696"/>
                  </a:lnTo>
                  <a:lnTo>
                    <a:pt x="107" y="698"/>
                  </a:lnTo>
                  <a:lnTo>
                    <a:pt x="106" y="698"/>
                  </a:lnTo>
                  <a:lnTo>
                    <a:pt x="105" y="699"/>
                  </a:lnTo>
                  <a:lnTo>
                    <a:pt x="103" y="699"/>
                  </a:lnTo>
                  <a:lnTo>
                    <a:pt x="103" y="698"/>
                  </a:lnTo>
                  <a:lnTo>
                    <a:pt x="102" y="698"/>
                  </a:lnTo>
                  <a:lnTo>
                    <a:pt x="101" y="699"/>
                  </a:lnTo>
                  <a:lnTo>
                    <a:pt x="100" y="699"/>
                  </a:lnTo>
                  <a:lnTo>
                    <a:pt x="100" y="698"/>
                  </a:lnTo>
                  <a:lnTo>
                    <a:pt x="99" y="696"/>
                  </a:lnTo>
                  <a:lnTo>
                    <a:pt x="100" y="695"/>
                  </a:lnTo>
                  <a:lnTo>
                    <a:pt x="100" y="694"/>
                  </a:lnTo>
                  <a:lnTo>
                    <a:pt x="101" y="693"/>
                  </a:lnTo>
                  <a:lnTo>
                    <a:pt x="101" y="692"/>
                  </a:lnTo>
                  <a:lnTo>
                    <a:pt x="101" y="690"/>
                  </a:lnTo>
                  <a:lnTo>
                    <a:pt x="100" y="690"/>
                  </a:lnTo>
                  <a:lnTo>
                    <a:pt x="100" y="692"/>
                  </a:lnTo>
                  <a:lnTo>
                    <a:pt x="97" y="692"/>
                  </a:lnTo>
                  <a:lnTo>
                    <a:pt x="95" y="692"/>
                  </a:lnTo>
                  <a:lnTo>
                    <a:pt x="94" y="693"/>
                  </a:lnTo>
                  <a:lnTo>
                    <a:pt x="92" y="693"/>
                  </a:lnTo>
                  <a:lnTo>
                    <a:pt x="92" y="692"/>
                  </a:lnTo>
                  <a:lnTo>
                    <a:pt x="91" y="692"/>
                  </a:lnTo>
                  <a:lnTo>
                    <a:pt x="91" y="690"/>
                  </a:lnTo>
                  <a:lnTo>
                    <a:pt x="90" y="690"/>
                  </a:lnTo>
                  <a:lnTo>
                    <a:pt x="92" y="689"/>
                  </a:lnTo>
                  <a:lnTo>
                    <a:pt x="95" y="689"/>
                  </a:lnTo>
                  <a:lnTo>
                    <a:pt x="96" y="689"/>
                  </a:lnTo>
                  <a:lnTo>
                    <a:pt x="99" y="688"/>
                  </a:lnTo>
                  <a:lnTo>
                    <a:pt x="99" y="686"/>
                  </a:lnTo>
                  <a:lnTo>
                    <a:pt x="100" y="686"/>
                  </a:lnTo>
                  <a:lnTo>
                    <a:pt x="100" y="684"/>
                  </a:lnTo>
                  <a:lnTo>
                    <a:pt x="99" y="684"/>
                  </a:lnTo>
                  <a:lnTo>
                    <a:pt x="97" y="686"/>
                  </a:lnTo>
                  <a:lnTo>
                    <a:pt x="96" y="686"/>
                  </a:lnTo>
                  <a:lnTo>
                    <a:pt x="95" y="687"/>
                  </a:lnTo>
                  <a:lnTo>
                    <a:pt x="94" y="688"/>
                  </a:lnTo>
                  <a:lnTo>
                    <a:pt x="92" y="687"/>
                  </a:lnTo>
                  <a:lnTo>
                    <a:pt x="92" y="686"/>
                  </a:lnTo>
                  <a:lnTo>
                    <a:pt x="94" y="686"/>
                  </a:lnTo>
                  <a:lnTo>
                    <a:pt x="95" y="684"/>
                  </a:lnTo>
                  <a:lnTo>
                    <a:pt x="97" y="684"/>
                  </a:lnTo>
                  <a:lnTo>
                    <a:pt x="99" y="683"/>
                  </a:lnTo>
                  <a:lnTo>
                    <a:pt x="100" y="683"/>
                  </a:lnTo>
                  <a:lnTo>
                    <a:pt x="101" y="682"/>
                  </a:lnTo>
                  <a:lnTo>
                    <a:pt x="102" y="681"/>
                  </a:lnTo>
                  <a:lnTo>
                    <a:pt x="101" y="681"/>
                  </a:lnTo>
                  <a:lnTo>
                    <a:pt x="100" y="682"/>
                  </a:lnTo>
                  <a:lnTo>
                    <a:pt x="99" y="682"/>
                  </a:lnTo>
                  <a:lnTo>
                    <a:pt x="99" y="683"/>
                  </a:lnTo>
                  <a:lnTo>
                    <a:pt x="97" y="682"/>
                  </a:lnTo>
                  <a:lnTo>
                    <a:pt x="95" y="682"/>
                  </a:lnTo>
                  <a:lnTo>
                    <a:pt x="94" y="682"/>
                  </a:lnTo>
                  <a:lnTo>
                    <a:pt x="94" y="681"/>
                  </a:lnTo>
                  <a:lnTo>
                    <a:pt x="95" y="680"/>
                  </a:lnTo>
                  <a:lnTo>
                    <a:pt x="94" y="678"/>
                  </a:lnTo>
                  <a:lnTo>
                    <a:pt x="92" y="678"/>
                  </a:lnTo>
                  <a:lnTo>
                    <a:pt x="94" y="678"/>
                  </a:lnTo>
                  <a:lnTo>
                    <a:pt x="94" y="677"/>
                  </a:lnTo>
                  <a:lnTo>
                    <a:pt x="92" y="676"/>
                  </a:lnTo>
                  <a:lnTo>
                    <a:pt x="91" y="676"/>
                  </a:lnTo>
                  <a:lnTo>
                    <a:pt x="91" y="674"/>
                  </a:lnTo>
                  <a:lnTo>
                    <a:pt x="94" y="675"/>
                  </a:lnTo>
                  <a:lnTo>
                    <a:pt x="95" y="675"/>
                  </a:lnTo>
                  <a:lnTo>
                    <a:pt x="97" y="674"/>
                  </a:lnTo>
                  <a:lnTo>
                    <a:pt x="101" y="670"/>
                  </a:lnTo>
                  <a:lnTo>
                    <a:pt x="103" y="669"/>
                  </a:lnTo>
                  <a:lnTo>
                    <a:pt x="105" y="668"/>
                  </a:lnTo>
                  <a:lnTo>
                    <a:pt x="105" y="664"/>
                  </a:lnTo>
                  <a:lnTo>
                    <a:pt x="103" y="661"/>
                  </a:lnTo>
                  <a:lnTo>
                    <a:pt x="102" y="665"/>
                  </a:lnTo>
                  <a:lnTo>
                    <a:pt x="102" y="668"/>
                  </a:lnTo>
                  <a:lnTo>
                    <a:pt x="101" y="666"/>
                  </a:lnTo>
                  <a:lnTo>
                    <a:pt x="100" y="666"/>
                  </a:lnTo>
                  <a:lnTo>
                    <a:pt x="100" y="665"/>
                  </a:lnTo>
                  <a:lnTo>
                    <a:pt x="100" y="663"/>
                  </a:lnTo>
                  <a:lnTo>
                    <a:pt x="99" y="663"/>
                  </a:lnTo>
                  <a:lnTo>
                    <a:pt x="97" y="663"/>
                  </a:lnTo>
                  <a:lnTo>
                    <a:pt x="97" y="666"/>
                  </a:lnTo>
                  <a:lnTo>
                    <a:pt x="97" y="668"/>
                  </a:lnTo>
                  <a:lnTo>
                    <a:pt x="96" y="670"/>
                  </a:lnTo>
                  <a:lnTo>
                    <a:pt x="94" y="670"/>
                  </a:lnTo>
                  <a:lnTo>
                    <a:pt x="94" y="669"/>
                  </a:lnTo>
                  <a:lnTo>
                    <a:pt x="95" y="666"/>
                  </a:lnTo>
                  <a:lnTo>
                    <a:pt x="96" y="665"/>
                  </a:lnTo>
                  <a:lnTo>
                    <a:pt x="96" y="664"/>
                  </a:lnTo>
                  <a:lnTo>
                    <a:pt x="96" y="663"/>
                  </a:lnTo>
                  <a:lnTo>
                    <a:pt x="99" y="660"/>
                  </a:lnTo>
                  <a:lnTo>
                    <a:pt x="100" y="659"/>
                  </a:lnTo>
                  <a:lnTo>
                    <a:pt x="100" y="658"/>
                  </a:lnTo>
                  <a:lnTo>
                    <a:pt x="99" y="659"/>
                  </a:lnTo>
                  <a:lnTo>
                    <a:pt x="97" y="659"/>
                  </a:lnTo>
                  <a:lnTo>
                    <a:pt x="99" y="658"/>
                  </a:lnTo>
                  <a:lnTo>
                    <a:pt x="97" y="657"/>
                  </a:lnTo>
                  <a:lnTo>
                    <a:pt x="96" y="659"/>
                  </a:lnTo>
                  <a:lnTo>
                    <a:pt x="96" y="660"/>
                  </a:lnTo>
                  <a:lnTo>
                    <a:pt x="96" y="661"/>
                  </a:lnTo>
                  <a:lnTo>
                    <a:pt x="95" y="663"/>
                  </a:lnTo>
                  <a:lnTo>
                    <a:pt x="94" y="664"/>
                  </a:lnTo>
                  <a:lnTo>
                    <a:pt x="92" y="663"/>
                  </a:lnTo>
                  <a:lnTo>
                    <a:pt x="92" y="660"/>
                  </a:lnTo>
                  <a:lnTo>
                    <a:pt x="91" y="659"/>
                  </a:lnTo>
                  <a:lnTo>
                    <a:pt x="91" y="658"/>
                  </a:lnTo>
                  <a:lnTo>
                    <a:pt x="92" y="657"/>
                  </a:lnTo>
                  <a:lnTo>
                    <a:pt x="94" y="657"/>
                  </a:lnTo>
                  <a:lnTo>
                    <a:pt x="94" y="654"/>
                  </a:lnTo>
                  <a:lnTo>
                    <a:pt x="92" y="657"/>
                  </a:lnTo>
                  <a:lnTo>
                    <a:pt x="91" y="658"/>
                  </a:lnTo>
                  <a:lnTo>
                    <a:pt x="90" y="658"/>
                  </a:lnTo>
                  <a:lnTo>
                    <a:pt x="89" y="659"/>
                  </a:lnTo>
                  <a:lnTo>
                    <a:pt x="88" y="661"/>
                  </a:lnTo>
                  <a:lnTo>
                    <a:pt x="86" y="660"/>
                  </a:lnTo>
                  <a:lnTo>
                    <a:pt x="85" y="660"/>
                  </a:lnTo>
                  <a:lnTo>
                    <a:pt x="85" y="663"/>
                  </a:lnTo>
                  <a:lnTo>
                    <a:pt x="84" y="663"/>
                  </a:lnTo>
                  <a:lnTo>
                    <a:pt x="84" y="661"/>
                  </a:lnTo>
                  <a:lnTo>
                    <a:pt x="83" y="661"/>
                  </a:lnTo>
                  <a:lnTo>
                    <a:pt x="83" y="659"/>
                  </a:lnTo>
                  <a:lnTo>
                    <a:pt x="83" y="658"/>
                  </a:lnTo>
                  <a:lnTo>
                    <a:pt x="82" y="658"/>
                  </a:lnTo>
                  <a:lnTo>
                    <a:pt x="82" y="659"/>
                  </a:lnTo>
                  <a:lnTo>
                    <a:pt x="82" y="664"/>
                  </a:lnTo>
                  <a:lnTo>
                    <a:pt x="82" y="665"/>
                  </a:lnTo>
                  <a:lnTo>
                    <a:pt x="80" y="666"/>
                  </a:lnTo>
                  <a:lnTo>
                    <a:pt x="79" y="665"/>
                  </a:lnTo>
                  <a:lnTo>
                    <a:pt x="79" y="663"/>
                  </a:lnTo>
                  <a:lnTo>
                    <a:pt x="79" y="661"/>
                  </a:lnTo>
                  <a:lnTo>
                    <a:pt x="78" y="659"/>
                  </a:lnTo>
                  <a:lnTo>
                    <a:pt x="77" y="659"/>
                  </a:lnTo>
                  <a:lnTo>
                    <a:pt x="77" y="661"/>
                  </a:lnTo>
                  <a:lnTo>
                    <a:pt x="76" y="663"/>
                  </a:lnTo>
                  <a:lnTo>
                    <a:pt x="74" y="661"/>
                  </a:lnTo>
                  <a:lnTo>
                    <a:pt x="74" y="664"/>
                  </a:lnTo>
                  <a:lnTo>
                    <a:pt x="73" y="664"/>
                  </a:lnTo>
                  <a:lnTo>
                    <a:pt x="72" y="663"/>
                  </a:lnTo>
                  <a:lnTo>
                    <a:pt x="72" y="659"/>
                  </a:lnTo>
                  <a:lnTo>
                    <a:pt x="72" y="658"/>
                  </a:lnTo>
                  <a:lnTo>
                    <a:pt x="70" y="658"/>
                  </a:lnTo>
                  <a:lnTo>
                    <a:pt x="71" y="657"/>
                  </a:lnTo>
                  <a:lnTo>
                    <a:pt x="71" y="655"/>
                  </a:lnTo>
                  <a:lnTo>
                    <a:pt x="74" y="654"/>
                  </a:lnTo>
                  <a:lnTo>
                    <a:pt x="72" y="653"/>
                  </a:lnTo>
                  <a:lnTo>
                    <a:pt x="70" y="653"/>
                  </a:lnTo>
                  <a:lnTo>
                    <a:pt x="70" y="652"/>
                  </a:lnTo>
                  <a:lnTo>
                    <a:pt x="68" y="652"/>
                  </a:lnTo>
                  <a:lnTo>
                    <a:pt x="68" y="653"/>
                  </a:lnTo>
                  <a:lnTo>
                    <a:pt x="67" y="655"/>
                  </a:lnTo>
                  <a:lnTo>
                    <a:pt x="66" y="655"/>
                  </a:lnTo>
                  <a:lnTo>
                    <a:pt x="65" y="654"/>
                  </a:lnTo>
                  <a:lnTo>
                    <a:pt x="62" y="655"/>
                  </a:lnTo>
                  <a:lnTo>
                    <a:pt x="59" y="657"/>
                  </a:lnTo>
                  <a:lnTo>
                    <a:pt x="58" y="657"/>
                  </a:lnTo>
                  <a:lnTo>
                    <a:pt x="59" y="655"/>
                  </a:lnTo>
                  <a:lnTo>
                    <a:pt x="60" y="653"/>
                  </a:lnTo>
                  <a:lnTo>
                    <a:pt x="61" y="653"/>
                  </a:lnTo>
                  <a:lnTo>
                    <a:pt x="66" y="651"/>
                  </a:lnTo>
                  <a:lnTo>
                    <a:pt x="67" y="649"/>
                  </a:lnTo>
                  <a:lnTo>
                    <a:pt x="70" y="648"/>
                  </a:lnTo>
                  <a:lnTo>
                    <a:pt x="72" y="646"/>
                  </a:lnTo>
                  <a:lnTo>
                    <a:pt x="72" y="645"/>
                  </a:lnTo>
                  <a:lnTo>
                    <a:pt x="71" y="643"/>
                  </a:lnTo>
                  <a:lnTo>
                    <a:pt x="70" y="646"/>
                  </a:lnTo>
                  <a:lnTo>
                    <a:pt x="68" y="647"/>
                  </a:lnTo>
                  <a:lnTo>
                    <a:pt x="67" y="648"/>
                  </a:lnTo>
                  <a:lnTo>
                    <a:pt x="66" y="648"/>
                  </a:lnTo>
                  <a:lnTo>
                    <a:pt x="65" y="648"/>
                  </a:lnTo>
                  <a:lnTo>
                    <a:pt x="64" y="647"/>
                  </a:lnTo>
                  <a:lnTo>
                    <a:pt x="64" y="645"/>
                  </a:lnTo>
                  <a:lnTo>
                    <a:pt x="64" y="643"/>
                  </a:lnTo>
                  <a:lnTo>
                    <a:pt x="62" y="645"/>
                  </a:lnTo>
                  <a:lnTo>
                    <a:pt x="62" y="647"/>
                  </a:lnTo>
                  <a:lnTo>
                    <a:pt x="62" y="648"/>
                  </a:lnTo>
                  <a:lnTo>
                    <a:pt x="62" y="651"/>
                  </a:lnTo>
                  <a:lnTo>
                    <a:pt x="61" y="652"/>
                  </a:lnTo>
                  <a:lnTo>
                    <a:pt x="60" y="652"/>
                  </a:lnTo>
                  <a:lnTo>
                    <a:pt x="60" y="651"/>
                  </a:lnTo>
                  <a:lnTo>
                    <a:pt x="60" y="649"/>
                  </a:lnTo>
                  <a:lnTo>
                    <a:pt x="60" y="648"/>
                  </a:lnTo>
                  <a:lnTo>
                    <a:pt x="60" y="647"/>
                  </a:lnTo>
                  <a:lnTo>
                    <a:pt x="59" y="646"/>
                  </a:lnTo>
                  <a:lnTo>
                    <a:pt x="59" y="648"/>
                  </a:lnTo>
                  <a:lnTo>
                    <a:pt x="59" y="649"/>
                  </a:lnTo>
                  <a:lnTo>
                    <a:pt x="58" y="652"/>
                  </a:lnTo>
                  <a:lnTo>
                    <a:pt x="56" y="652"/>
                  </a:lnTo>
                  <a:lnTo>
                    <a:pt x="56" y="649"/>
                  </a:lnTo>
                  <a:lnTo>
                    <a:pt x="56" y="647"/>
                  </a:lnTo>
                  <a:lnTo>
                    <a:pt x="56" y="645"/>
                  </a:lnTo>
                  <a:lnTo>
                    <a:pt x="56" y="643"/>
                  </a:lnTo>
                  <a:lnTo>
                    <a:pt x="55" y="646"/>
                  </a:lnTo>
                  <a:lnTo>
                    <a:pt x="54" y="646"/>
                  </a:lnTo>
                  <a:lnTo>
                    <a:pt x="53" y="647"/>
                  </a:lnTo>
                  <a:lnTo>
                    <a:pt x="53" y="651"/>
                  </a:lnTo>
                  <a:lnTo>
                    <a:pt x="53" y="652"/>
                  </a:lnTo>
                  <a:lnTo>
                    <a:pt x="52" y="651"/>
                  </a:lnTo>
                  <a:lnTo>
                    <a:pt x="50" y="649"/>
                  </a:lnTo>
                  <a:lnTo>
                    <a:pt x="50" y="648"/>
                  </a:lnTo>
                  <a:lnTo>
                    <a:pt x="50" y="646"/>
                  </a:lnTo>
                  <a:lnTo>
                    <a:pt x="50" y="643"/>
                  </a:lnTo>
                  <a:lnTo>
                    <a:pt x="50" y="641"/>
                  </a:lnTo>
                  <a:lnTo>
                    <a:pt x="50" y="639"/>
                  </a:lnTo>
                  <a:lnTo>
                    <a:pt x="49" y="639"/>
                  </a:lnTo>
                  <a:lnTo>
                    <a:pt x="49" y="641"/>
                  </a:lnTo>
                  <a:lnTo>
                    <a:pt x="49" y="642"/>
                  </a:lnTo>
                  <a:lnTo>
                    <a:pt x="48" y="645"/>
                  </a:lnTo>
                  <a:lnTo>
                    <a:pt x="47" y="645"/>
                  </a:lnTo>
                  <a:lnTo>
                    <a:pt x="46" y="643"/>
                  </a:lnTo>
                  <a:lnTo>
                    <a:pt x="46" y="642"/>
                  </a:lnTo>
                  <a:lnTo>
                    <a:pt x="46" y="640"/>
                  </a:lnTo>
                  <a:lnTo>
                    <a:pt x="46" y="639"/>
                  </a:lnTo>
                  <a:lnTo>
                    <a:pt x="46" y="637"/>
                  </a:lnTo>
                  <a:lnTo>
                    <a:pt x="44" y="636"/>
                  </a:lnTo>
                  <a:lnTo>
                    <a:pt x="43" y="636"/>
                  </a:lnTo>
                  <a:lnTo>
                    <a:pt x="43" y="639"/>
                  </a:lnTo>
                  <a:lnTo>
                    <a:pt x="42" y="642"/>
                  </a:lnTo>
                  <a:lnTo>
                    <a:pt x="41" y="643"/>
                  </a:lnTo>
                  <a:lnTo>
                    <a:pt x="38" y="642"/>
                  </a:lnTo>
                  <a:lnTo>
                    <a:pt x="38" y="641"/>
                  </a:lnTo>
                  <a:lnTo>
                    <a:pt x="37" y="641"/>
                  </a:lnTo>
                  <a:lnTo>
                    <a:pt x="37" y="642"/>
                  </a:lnTo>
                  <a:lnTo>
                    <a:pt x="37" y="645"/>
                  </a:lnTo>
                  <a:lnTo>
                    <a:pt x="37" y="648"/>
                  </a:lnTo>
                  <a:lnTo>
                    <a:pt x="36" y="648"/>
                  </a:lnTo>
                  <a:lnTo>
                    <a:pt x="36" y="647"/>
                  </a:lnTo>
                  <a:lnTo>
                    <a:pt x="35" y="645"/>
                  </a:lnTo>
                  <a:lnTo>
                    <a:pt x="35" y="647"/>
                  </a:lnTo>
                  <a:lnTo>
                    <a:pt x="33" y="647"/>
                  </a:lnTo>
                  <a:lnTo>
                    <a:pt x="31" y="646"/>
                  </a:lnTo>
                  <a:lnTo>
                    <a:pt x="32" y="642"/>
                  </a:lnTo>
                  <a:lnTo>
                    <a:pt x="31" y="641"/>
                  </a:lnTo>
                  <a:lnTo>
                    <a:pt x="30" y="641"/>
                  </a:lnTo>
                  <a:lnTo>
                    <a:pt x="29" y="641"/>
                  </a:lnTo>
                  <a:lnTo>
                    <a:pt x="27" y="641"/>
                  </a:lnTo>
                  <a:lnTo>
                    <a:pt x="25" y="641"/>
                  </a:lnTo>
                  <a:lnTo>
                    <a:pt x="27" y="640"/>
                  </a:lnTo>
                  <a:lnTo>
                    <a:pt x="29" y="637"/>
                  </a:lnTo>
                  <a:lnTo>
                    <a:pt x="30" y="636"/>
                  </a:lnTo>
                  <a:lnTo>
                    <a:pt x="33" y="634"/>
                  </a:lnTo>
                  <a:lnTo>
                    <a:pt x="40" y="631"/>
                  </a:lnTo>
                  <a:lnTo>
                    <a:pt x="44" y="629"/>
                  </a:lnTo>
                  <a:lnTo>
                    <a:pt x="50" y="628"/>
                  </a:lnTo>
                  <a:lnTo>
                    <a:pt x="55" y="628"/>
                  </a:lnTo>
                  <a:lnTo>
                    <a:pt x="58" y="629"/>
                  </a:lnTo>
                  <a:lnTo>
                    <a:pt x="59" y="629"/>
                  </a:lnTo>
                  <a:lnTo>
                    <a:pt x="60" y="629"/>
                  </a:lnTo>
                  <a:lnTo>
                    <a:pt x="62" y="629"/>
                  </a:lnTo>
                  <a:lnTo>
                    <a:pt x="64" y="629"/>
                  </a:lnTo>
                  <a:lnTo>
                    <a:pt x="67" y="628"/>
                  </a:lnTo>
                  <a:lnTo>
                    <a:pt x="70" y="627"/>
                  </a:lnTo>
                  <a:lnTo>
                    <a:pt x="73" y="625"/>
                  </a:lnTo>
                  <a:lnTo>
                    <a:pt x="73" y="624"/>
                  </a:lnTo>
                  <a:lnTo>
                    <a:pt x="72" y="623"/>
                  </a:lnTo>
                  <a:lnTo>
                    <a:pt x="71" y="623"/>
                  </a:lnTo>
                  <a:lnTo>
                    <a:pt x="66" y="624"/>
                  </a:lnTo>
                  <a:lnTo>
                    <a:pt x="68" y="623"/>
                  </a:lnTo>
                  <a:lnTo>
                    <a:pt x="70" y="623"/>
                  </a:lnTo>
                  <a:lnTo>
                    <a:pt x="66" y="621"/>
                  </a:lnTo>
                  <a:lnTo>
                    <a:pt x="67" y="619"/>
                  </a:lnTo>
                  <a:lnTo>
                    <a:pt x="71" y="621"/>
                  </a:lnTo>
                  <a:lnTo>
                    <a:pt x="72" y="621"/>
                  </a:lnTo>
                  <a:lnTo>
                    <a:pt x="73" y="622"/>
                  </a:lnTo>
                  <a:lnTo>
                    <a:pt x="74" y="623"/>
                  </a:lnTo>
                  <a:lnTo>
                    <a:pt x="77" y="624"/>
                  </a:lnTo>
                  <a:lnTo>
                    <a:pt x="78" y="623"/>
                  </a:lnTo>
                  <a:lnTo>
                    <a:pt x="80" y="625"/>
                  </a:lnTo>
                  <a:lnTo>
                    <a:pt x="82" y="627"/>
                  </a:lnTo>
                  <a:lnTo>
                    <a:pt x="85" y="624"/>
                  </a:lnTo>
                  <a:lnTo>
                    <a:pt x="90" y="623"/>
                  </a:lnTo>
                  <a:lnTo>
                    <a:pt x="96" y="621"/>
                  </a:lnTo>
                  <a:lnTo>
                    <a:pt x="97" y="621"/>
                  </a:lnTo>
                  <a:lnTo>
                    <a:pt x="100" y="621"/>
                  </a:lnTo>
                  <a:lnTo>
                    <a:pt x="100" y="619"/>
                  </a:lnTo>
                  <a:lnTo>
                    <a:pt x="99" y="619"/>
                  </a:lnTo>
                  <a:lnTo>
                    <a:pt x="99" y="617"/>
                  </a:lnTo>
                  <a:lnTo>
                    <a:pt x="99" y="616"/>
                  </a:lnTo>
                  <a:lnTo>
                    <a:pt x="99" y="613"/>
                  </a:lnTo>
                  <a:lnTo>
                    <a:pt x="97" y="613"/>
                  </a:lnTo>
                  <a:lnTo>
                    <a:pt x="96" y="617"/>
                  </a:lnTo>
                  <a:lnTo>
                    <a:pt x="95" y="617"/>
                  </a:lnTo>
                  <a:lnTo>
                    <a:pt x="94" y="615"/>
                  </a:lnTo>
                  <a:lnTo>
                    <a:pt x="94" y="613"/>
                  </a:lnTo>
                  <a:lnTo>
                    <a:pt x="94" y="612"/>
                  </a:lnTo>
                  <a:lnTo>
                    <a:pt x="92" y="613"/>
                  </a:lnTo>
                  <a:lnTo>
                    <a:pt x="91" y="613"/>
                  </a:lnTo>
                  <a:lnTo>
                    <a:pt x="90" y="613"/>
                  </a:lnTo>
                  <a:lnTo>
                    <a:pt x="89" y="612"/>
                  </a:lnTo>
                  <a:lnTo>
                    <a:pt x="89" y="613"/>
                  </a:lnTo>
                  <a:lnTo>
                    <a:pt x="88" y="613"/>
                  </a:lnTo>
                  <a:lnTo>
                    <a:pt x="86" y="612"/>
                  </a:lnTo>
                  <a:lnTo>
                    <a:pt x="85" y="611"/>
                  </a:lnTo>
                  <a:lnTo>
                    <a:pt x="83" y="610"/>
                  </a:lnTo>
                  <a:lnTo>
                    <a:pt x="79" y="609"/>
                  </a:lnTo>
                  <a:lnTo>
                    <a:pt x="79" y="606"/>
                  </a:lnTo>
                  <a:lnTo>
                    <a:pt x="78" y="605"/>
                  </a:lnTo>
                  <a:lnTo>
                    <a:pt x="77" y="605"/>
                  </a:lnTo>
                  <a:lnTo>
                    <a:pt x="76" y="605"/>
                  </a:lnTo>
                  <a:lnTo>
                    <a:pt x="74" y="604"/>
                  </a:lnTo>
                  <a:lnTo>
                    <a:pt x="76" y="603"/>
                  </a:lnTo>
                  <a:lnTo>
                    <a:pt x="77" y="600"/>
                  </a:lnTo>
                  <a:lnTo>
                    <a:pt x="74" y="600"/>
                  </a:lnTo>
                  <a:lnTo>
                    <a:pt x="73" y="604"/>
                  </a:lnTo>
                  <a:lnTo>
                    <a:pt x="72" y="605"/>
                  </a:lnTo>
                  <a:lnTo>
                    <a:pt x="71" y="606"/>
                  </a:lnTo>
                  <a:lnTo>
                    <a:pt x="71" y="605"/>
                  </a:lnTo>
                  <a:lnTo>
                    <a:pt x="71" y="601"/>
                  </a:lnTo>
                  <a:lnTo>
                    <a:pt x="71" y="600"/>
                  </a:lnTo>
                  <a:lnTo>
                    <a:pt x="70" y="600"/>
                  </a:lnTo>
                  <a:lnTo>
                    <a:pt x="70" y="601"/>
                  </a:lnTo>
                  <a:lnTo>
                    <a:pt x="68" y="605"/>
                  </a:lnTo>
                  <a:lnTo>
                    <a:pt x="70" y="607"/>
                  </a:lnTo>
                  <a:lnTo>
                    <a:pt x="68" y="609"/>
                  </a:lnTo>
                  <a:lnTo>
                    <a:pt x="68" y="607"/>
                  </a:lnTo>
                  <a:lnTo>
                    <a:pt x="68" y="605"/>
                  </a:lnTo>
                  <a:lnTo>
                    <a:pt x="67" y="604"/>
                  </a:lnTo>
                  <a:lnTo>
                    <a:pt x="66" y="603"/>
                  </a:lnTo>
                  <a:lnTo>
                    <a:pt x="67" y="600"/>
                  </a:lnTo>
                  <a:lnTo>
                    <a:pt x="68" y="599"/>
                  </a:lnTo>
                  <a:lnTo>
                    <a:pt x="67" y="597"/>
                  </a:lnTo>
                  <a:lnTo>
                    <a:pt x="67" y="595"/>
                  </a:lnTo>
                  <a:lnTo>
                    <a:pt x="66" y="594"/>
                  </a:lnTo>
                  <a:lnTo>
                    <a:pt x="65" y="595"/>
                  </a:lnTo>
                  <a:lnTo>
                    <a:pt x="64" y="597"/>
                  </a:lnTo>
                  <a:lnTo>
                    <a:pt x="62" y="595"/>
                  </a:lnTo>
                  <a:lnTo>
                    <a:pt x="62" y="594"/>
                  </a:lnTo>
                  <a:lnTo>
                    <a:pt x="62" y="593"/>
                  </a:lnTo>
                  <a:lnTo>
                    <a:pt x="62" y="591"/>
                  </a:lnTo>
                  <a:lnTo>
                    <a:pt x="62" y="589"/>
                  </a:lnTo>
                  <a:lnTo>
                    <a:pt x="64" y="587"/>
                  </a:lnTo>
                  <a:lnTo>
                    <a:pt x="64" y="586"/>
                  </a:lnTo>
                  <a:lnTo>
                    <a:pt x="62" y="586"/>
                  </a:lnTo>
                  <a:lnTo>
                    <a:pt x="60" y="587"/>
                  </a:lnTo>
                  <a:lnTo>
                    <a:pt x="60" y="589"/>
                  </a:lnTo>
                  <a:lnTo>
                    <a:pt x="60" y="591"/>
                  </a:lnTo>
                  <a:lnTo>
                    <a:pt x="60" y="593"/>
                  </a:lnTo>
                  <a:lnTo>
                    <a:pt x="61" y="597"/>
                  </a:lnTo>
                  <a:lnTo>
                    <a:pt x="60" y="598"/>
                  </a:lnTo>
                  <a:lnTo>
                    <a:pt x="59" y="598"/>
                  </a:lnTo>
                  <a:lnTo>
                    <a:pt x="59" y="595"/>
                  </a:lnTo>
                  <a:lnTo>
                    <a:pt x="59" y="592"/>
                  </a:lnTo>
                  <a:lnTo>
                    <a:pt x="59" y="593"/>
                  </a:lnTo>
                  <a:lnTo>
                    <a:pt x="59" y="595"/>
                  </a:lnTo>
                  <a:lnTo>
                    <a:pt x="58" y="595"/>
                  </a:lnTo>
                  <a:lnTo>
                    <a:pt x="56" y="594"/>
                  </a:lnTo>
                  <a:lnTo>
                    <a:pt x="56" y="592"/>
                  </a:lnTo>
                  <a:lnTo>
                    <a:pt x="56" y="589"/>
                  </a:lnTo>
                  <a:lnTo>
                    <a:pt x="56" y="588"/>
                  </a:lnTo>
                  <a:lnTo>
                    <a:pt x="56" y="591"/>
                  </a:lnTo>
                  <a:lnTo>
                    <a:pt x="55" y="595"/>
                  </a:lnTo>
                  <a:lnTo>
                    <a:pt x="55" y="597"/>
                  </a:lnTo>
                  <a:lnTo>
                    <a:pt x="54" y="598"/>
                  </a:lnTo>
                  <a:lnTo>
                    <a:pt x="54" y="597"/>
                  </a:lnTo>
                  <a:lnTo>
                    <a:pt x="54" y="593"/>
                  </a:lnTo>
                  <a:lnTo>
                    <a:pt x="54" y="591"/>
                  </a:lnTo>
                  <a:lnTo>
                    <a:pt x="53" y="593"/>
                  </a:lnTo>
                  <a:lnTo>
                    <a:pt x="53" y="595"/>
                  </a:lnTo>
                  <a:lnTo>
                    <a:pt x="53" y="599"/>
                  </a:lnTo>
                  <a:lnTo>
                    <a:pt x="52" y="599"/>
                  </a:lnTo>
                  <a:lnTo>
                    <a:pt x="50" y="598"/>
                  </a:lnTo>
                  <a:lnTo>
                    <a:pt x="50" y="595"/>
                  </a:lnTo>
                  <a:lnTo>
                    <a:pt x="50" y="593"/>
                  </a:lnTo>
                  <a:lnTo>
                    <a:pt x="50" y="592"/>
                  </a:lnTo>
                  <a:lnTo>
                    <a:pt x="49" y="593"/>
                  </a:lnTo>
                  <a:lnTo>
                    <a:pt x="48" y="592"/>
                  </a:lnTo>
                  <a:lnTo>
                    <a:pt x="47" y="592"/>
                  </a:lnTo>
                  <a:lnTo>
                    <a:pt x="47" y="593"/>
                  </a:lnTo>
                  <a:lnTo>
                    <a:pt x="46" y="594"/>
                  </a:lnTo>
                  <a:lnTo>
                    <a:pt x="44" y="595"/>
                  </a:lnTo>
                  <a:lnTo>
                    <a:pt x="43" y="597"/>
                  </a:lnTo>
                  <a:lnTo>
                    <a:pt x="43" y="594"/>
                  </a:lnTo>
                  <a:lnTo>
                    <a:pt x="44" y="593"/>
                  </a:lnTo>
                  <a:lnTo>
                    <a:pt x="42" y="594"/>
                  </a:lnTo>
                  <a:lnTo>
                    <a:pt x="40" y="594"/>
                  </a:lnTo>
                  <a:lnTo>
                    <a:pt x="41" y="593"/>
                  </a:lnTo>
                  <a:lnTo>
                    <a:pt x="43" y="591"/>
                  </a:lnTo>
                  <a:lnTo>
                    <a:pt x="43" y="589"/>
                  </a:lnTo>
                  <a:lnTo>
                    <a:pt x="44" y="591"/>
                  </a:lnTo>
                  <a:lnTo>
                    <a:pt x="46" y="591"/>
                  </a:lnTo>
                  <a:lnTo>
                    <a:pt x="47" y="589"/>
                  </a:lnTo>
                  <a:lnTo>
                    <a:pt x="49" y="589"/>
                  </a:lnTo>
                  <a:lnTo>
                    <a:pt x="50" y="588"/>
                  </a:lnTo>
                  <a:lnTo>
                    <a:pt x="53" y="587"/>
                  </a:lnTo>
                  <a:lnTo>
                    <a:pt x="56" y="586"/>
                  </a:lnTo>
                  <a:lnTo>
                    <a:pt x="59" y="585"/>
                  </a:lnTo>
                  <a:lnTo>
                    <a:pt x="60" y="586"/>
                  </a:lnTo>
                  <a:lnTo>
                    <a:pt x="64" y="585"/>
                  </a:lnTo>
                  <a:lnTo>
                    <a:pt x="65" y="585"/>
                  </a:lnTo>
                  <a:lnTo>
                    <a:pt x="67" y="585"/>
                  </a:lnTo>
                  <a:lnTo>
                    <a:pt x="71" y="585"/>
                  </a:lnTo>
                  <a:lnTo>
                    <a:pt x="73" y="585"/>
                  </a:lnTo>
                  <a:lnTo>
                    <a:pt x="74" y="586"/>
                  </a:lnTo>
                  <a:lnTo>
                    <a:pt x="77" y="586"/>
                  </a:lnTo>
                  <a:lnTo>
                    <a:pt x="79" y="586"/>
                  </a:lnTo>
                  <a:lnTo>
                    <a:pt x="80" y="587"/>
                  </a:lnTo>
                  <a:lnTo>
                    <a:pt x="83" y="587"/>
                  </a:lnTo>
                  <a:lnTo>
                    <a:pt x="85" y="587"/>
                  </a:lnTo>
                  <a:lnTo>
                    <a:pt x="90" y="587"/>
                  </a:lnTo>
                  <a:lnTo>
                    <a:pt x="94" y="587"/>
                  </a:lnTo>
                  <a:lnTo>
                    <a:pt x="94" y="589"/>
                  </a:lnTo>
                  <a:lnTo>
                    <a:pt x="95" y="588"/>
                  </a:lnTo>
                  <a:lnTo>
                    <a:pt x="96" y="588"/>
                  </a:lnTo>
                  <a:lnTo>
                    <a:pt x="97" y="588"/>
                  </a:lnTo>
                  <a:lnTo>
                    <a:pt x="100" y="588"/>
                  </a:lnTo>
                  <a:lnTo>
                    <a:pt x="101" y="588"/>
                  </a:lnTo>
                  <a:lnTo>
                    <a:pt x="102" y="589"/>
                  </a:lnTo>
                  <a:lnTo>
                    <a:pt x="103" y="589"/>
                  </a:lnTo>
                  <a:lnTo>
                    <a:pt x="105" y="589"/>
                  </a:lnTo>
                  <a:lnTo>
                    <a:pt x="109" y="589"/>
                  </a:lnTo>
                  <a:lnTo>
                    <a:pt x="113" y="588"/>
                  </a:lnTo>
                  <a:lnTo>
                    <a:pt x="115" y="588"/>
                  </a:lnTo>
                  <a:lnTo>
                    <a:pt x="117" y="588"/>
                  </a:lnTo>
                  <a:lnTo>
                    <a:pt x="118" y="588"/>
                  </a:lnTo>
                  <a:lnTo>
                    <a:pt x="118" y="589"/>
                  </a:lnTo>
                  <a:lnTo>
                    <a:pt x="119" y="589"/>
                  </a:lnTo>
                  <a:lnTo>
                    <a:pt x="120" y="589"/>
                  </a:lnTo>
                  <a:lnTo>
                    <a:pt x="121" y="589"/>
                  </a:lnTo>
                  <a:lnTo>
                    <a:pt x="123" y="588"/>
                  </a:lnTo>
                  <a:lnTo>
                    <a:pt x="124" y="587"/>
                  </a:lnTo>
                  <a:lnTo>
                    <a:pt x="126" y="587"/>
                  </a:lnTo>
                  <a:lnTo>
                    <a:pt x="129" y="586"/>
                  </a:lnTo>
                  <a:lnTo>
                    <a:pt x="132" y="586"/>
                  </a:lnTo>
                  <a:lnTo>
                    <a:pt x="136" y="583"/>
                  </a:lnTo>
                  <a:lnTo>
                    <a:pt x="139" y="582"/>
                  </a:lnTo>
                  <a:lnTo>
                    <a:pt x="139" y="581"/>
                  </a:lnTo>
                  <a:lnTo>
                    <a:pt x="137" y="582"/>
                  </a:lnTo>
                  <a:lnTo>
                    <a:pt x="133" y="583"/>
                  </a:lnTo>
                  <a:lnTo>
                    <a:pt x="138" y="580"/>
                  </a:lnTo>
                  <a:lnTo>
                    <a:pt x="137" y="580"/>
                  </a:lnTo>
                  <a:lnTo>
                    <a:pt x="133" y="580"/>
                  </a:lnTo>
                  <a:lnTo>
                    <a:pt x="132" y="580"/>
                  </a:lnTo>
                  <a:lnTo>
                    <a:pt x="137" y="579"/>
                  </a:lnTo>
                  <a:lnTo>
                    <a:pt x="138" y="579"/>
                  </a:lnTo>
                  <a:lnTo>
                    <a:pt x="139" y="577"/>
                  </a:lnTo>
                  <a:lnTo>
                    <a:pt x="139" y="576"/>
                  </a:lnTo>
                  <a:lnTo>
                    <a:pt x="142" y="576"/>
                  </a:lnTo>
                  <a:lnTo>
                    <a:pt x="143" y="576"/>
                  </a:lnTo>
                  <a:lnTo>
                    <a:pt x="142" y="577"/>
                  </a:lnTo>
                  <a:lnTo>
                    <a:pt x="142" y="579"/>
                  </a:lnTo>
                  <a:lnTo>
                    <a:pt x="145" y="580"/>
                  </a:lnTo>
                  <a:lnTo>
                    <a:pt x="145" y="581"/>
                  </a:lnTo>
                  <a:lnTo>
                    <a:pt x="149" y="581"/>
                  </a:lnTo>
                  <a:lnTo>
                    <a:pt x="151" y="580"/>
                  </a:lnTo>
                  <a:lnTo>
                    <a:pt x="158" y="579"/>
                  </a:lnTo>
                  <a:lnTo>
                    <a:pt x="159" y="579"/>
                  </a:lnTo>
                  <a:lnTo>
                    <a:pt x="160" y="579"/>
                  </a:lnTo>
                  <a:lnTo>
                    <a:pt x="161" y="579"/>
                  </a:lnTo>
                  <a:lnTo>
                    <a:pt x="164" y="580"/>
                  </a:lnTo>
                  <a:lnTo>
                    <a:pt x="166" y="579"/>
                  </a:lnTo>
                  <a:lnTo>
                    <a:pt x="167" y="577"/>
                  </a:lnTo>
                  <a:lnTo>
                    <a:pt x="167" y="576"/>
                  </a:lnTo>
                  <a:lnTo>
                    <a:pt x="170" y="576"/>
                  </a:lnTo>
                  <a:lnTo>
                    <a:pt x="172" y="576"/>
                  </a:lnTo>
                  <a:lnTo>
                    <a:pt x="173" y="575"/>
                  </a:lnTo>
                  <a:lnTo>
                    <a:pt x="176" y="575"/>
                  </a:lnTo>
                  <a:lnTo>
                    <a:pt x="177" y="575"/>
                  </a:lnTo>
                  <a:lnTo>
                    <a:pt x="179" y="568"/>
                  </a:lnTo>
                  <a:lnTo>
                    <a:pt x="182" y="567"/>
                  </a:lnTo>
                  <a:lnTo>
                    <a:pt x="182" y="564"/>
                  </a:lnTo>
                  <a:lnTo>
                    <a:pt x="180" y="562"/>
                  </a:lnTo>
                  <a:lnTo>
                    <a:pt x="179" y="559"/>
                  </a:lnTo>
                  <a:lnTo>
                    <a:pt x="178" y="559"/>
                  </a:lnTo>
                  <a:lnTo>
                    <a:pt x="177" y="561"/>
                  </a:lnTo>
                  <a:lnTo>
                    <a:pt x="174" y="561"/>
                  </a:lnTo>
                  <a:lnTo>
                    <a:pt x="173" y="562"/>
                  </a:lnTo>
                  <a:lnTo>
                    <a:pt x="172" y="563"/>
                  </a:lnTo>
                  <a:lnTo>
                    <a:pt x="172" y="564"/>
                  </a:lnTo>
                  <a:lnTo>
                    <a:pt x="172" y="567"/>
                  </a:lnTo>
                  <a:lnTo>
                    <a:pt x="171" y="569"/>
                  </a:lnTo>
                  <a:lnTo>
                    <a:pt x="170" y="569"/>
                  </a:lnTo>
                  <a:lnTo>
                    <a:pt x="168" y="568"/>
                  </a:lnTo>
                  <a:lnTo>
                    <a:pt x="168" y="567"/>
                  </a:lnTo>
                  <a:lnTo>
                    <a:pt x="168" y="564"/>
                  </a:lnTo>
                  <a:lnTo>
                    <a:pt x="167" y="563"/>
                  </a:lnTo>
                  <a:lnTo>
                    <a:pt x="166" y="564"/>
                  </a:lnTo>
                  <a:lnTo>
                    <a:pt x="166" y="567"/>
                  </a:lnTo>
                  <a:lnTo>
                    <a:pt x="165" y="568"/>
                  </a:lnTo>
                  <a:lnTo>
                    <a:pt x="165" y="569"/>
                  </a:lnTo>
                  <a:lnTo>
                    <a:pt x="165" y="568"/>
                  </a:lnTo>
                  <a:lnTo>
                    <a:pt x="164" y="567"/>
                  </a:lnTo>
                  <a:lnTo>
                    <a:pt x="165" y="565"/>
                  </a:lnTo>
                  <a:lnTo>
                    <a:pt x="164" y="564"/>
                  </a:lnTo>
                  <a:lnTo>
                    <a:pt x="164" y="563"/>
                  </a:lnTo>
                  <a:lnTo>
                    <a:pt x="164" y="562"/>
                  </a:lnTo>
                  <a:lnTo>
                    <a:pt x="164" y="561"/>
                  </a:lnTo>
                  <a:lnTo>
                    <a:pt x="162" y="562"/>
                  </a:lnTo>
                  <a:lnTo>
                    <a:pt x="162" y="561"/>
                  </a:lnTo>
                  <a:lnTo>
                    <a:pt x="161" y="561"/>
                  </a:lnTo>
                  <a:lnTo>
                    <a:pt x="160" y="561"/>
                  </a:lnTo>
                  <a:lnTo>
                    <a:pt x="160" y="562"/>
                  </a:lnTo>
                  <a:lnTo>
                    <a:pt x="159" y="561"/>
                  </a:lnTo>
                  <a:lnTo>
                    <a:pt x="159" y="559"/>
                  </a:lnTo>
                  <a:lnTo>
                    <a:pt x="159" y="561"/>
                  </a:lnTo>
                  <a:lnTo>
                    <a:pt x="158" y="562"/>
                  </a:lnTo>
                  <a:lnTo>
                    <a:pt x="159" y="565"/>
                  </a:lnTo>
                  <a:lnTo>
                    <a:pt x="158" y="567"/>
                  </a:lnTo>
                  <a:lnTo>
                    <a:pt x="158" y="564"/>
                  </a:lnTo>
                  <a:lnTo>
                    <a:pt x="156" y="563"/>
                  </a:lnTo>
                  <a:lnTo>
                    <a:pt x="156" y="561"/>
                  </a:lnTo>
                  <a:lnTo>
                    <a:pt x="156" y="558"/>
                  </a:lnTo>
                  <a:lnTo>
                    <a:pt x="156" y="557"/>
                  </a:lnTo>
                  <a:lnTo>
                    <a:pt x="155" y="558"/>
                  </a:lnTo>
                  <a:lnTo>
                    <a:pt x="155" y="559"/>
                  </a:lnTo>
                  <a:lnTo>
                    <a:pt x="153" y="559"/>
                  </a:lnTo>
                  <a:lnTo>
                    <a:pt x="153" y="561"/>
                  </a:lnTo>
                  <a:lnTo>
                    <a:pt x="153" y="564"/>
                  </a:lnTo>
                  <a:lnTo>
                    <a:pt x="153" y="568"/>
                  </a:lnTo>
                  <a:lnTo>
                    <a:pt x="151" y="564"/>
                  </a:lnTo>
                  <a:lnTo>
                    <a:pt x="151" y="562"/>
                  </a:lnTo>
                  <a:lnTo>
                    <a:pt x="151" y="559"/>
                  </a:lnTo>
                  <a:lnTo>
                    <a:pt x="151" y="556"/>
                  </a:lnTo>
                  <a:lnTo>
                    <a:pt x="150" y="556"/>
                  </a:lnTo>
                  <a:lnTo>
                    <a:pt x="150" y="561"/>
                  </a:lnTo>
                  <a:lnTo>
                    <a:pt x="149" y="562"/>
                  </a:lnTo>
                  <a:lnTo>
                    <a:pt x="149" y="559"/>
                  </a:lnTo>
                  <a:lnTo>
                    <a:pt x="148" y="559"/>
                  </a:lnTo>
                  <a:lnTo>
                    <a:pt x="148" y="562"/>
                  </a:lnTo>
                  <a:lnTo>
                    <a:pt x="147" y="565"/>
                  </a:lnTo>
                  <a:lnTo>
                    <a:pt x="145" y="563"/>
                  </a:lnTo>
                  <a:lnTo>
                    <a:pt x="145" y="562"/>
                  </a:lnTo>
                  <a:lnTo>
                    <a:pt x="145" y="559"/>
                  </a:lnTo>
                  <a:lnTo>
                    <a:pt x="145" y="552"/>
                  </a:lnTo>
                  <a:lnTo>
                    <a:pt x="144" y="552"/>
                  </a:lnTo>
                  <a:lnTo>
                    <a:pt x="143" y="554"/>
                  </a:lnTo>
                  <a:lnTo>
                    <a:pt x="143" y="557"/>
                  </a:lnTo>
                  <a:lnTo>
                    <a:pt x="144" y="561"/>
                  </a:lnTo>
                  <a:lnTo>
                    <a:pt x="144" y="564"/>
                  </a:lnTo>
                  <a:lnTo>
                    <a:pt x="143" y="567"/>
                  </a:lnTo>
                  <a:lnTo>
                    <a:pt x="143" y="565"/>
                  </a:lnTo>
                  <a:lnTo>
                    <a:pt x="142" y="563"/>
                  </a:lnTo>
                  <a:lnTo>
                    <a:pt x="141" y="564"/>
                  </a:lnTo>
                  <a:lnTo>
                    <a:pt x="139" y="562"/>
                  </a:lnTo>
                  <a:lnTo>
                    <a:pt x="139" y="559"/>
                  </a:lnTo>
                  <a:lnTo>
                    <a:pt x="139" y="557"/>
                  </a:lnTo>
                  <a:lnTo>
                    <a:pt x="141" y="556"/>
                  </a:lnTo>
                  <a:lnTo>
                    <a:pt x="139" y="554"/>
                  </a:lnTo>
                  <a:lnTo>
                    <a:pt x="138" y="557"/>
                  </a:lnTo>
                  <a:lnTo>
                    <a:pt x="138" y="562"/>
                  </a:lnTo>
                  <a:lnTo>
                    <a:pt x="138" y="563"/>
                  </a:lnTo>
                  <a:lnTo>
                    <a:pt x="137" y="564"/>
                  </a:lnTo>
                  <a:lnTo>
                    <a:pt x="137" y="562"/>
                  </a:lnTo>
                  <a:lnTo>
                    <a:pt x="137" y="561"/>
                  </a:lnTo>
                  <a:lnTo>
                    <a:pt x="136" y="563"/>
                  </a:lnTo>
                  <a:lnTo>
                    <a:pt x="136" y="565"/>
                  </a:lnTo>
                  <a:lnTo>
                    <a:pt x="136" y="567"/>
                  </a:lnTo>
                  <a:lnTo>
                    <a:pt x="136" y="569"/>
                  </a:lnTo>
                  <a:lnTo>
                    <a:pt x="133" y="567"/>
                  </a:lnTo>
                  <a:lnTo>
                    <a:pt x="133" y="568"/>
                  </a:lnTo>
                  <a:lnTo>
                    <a:pt x="133" y="569"/>
                  </a:lnTo>
                  <a:lnTo>
                    <a:pt x="133" y="570"/>
                  </a:lnTo>
                  <a:lnTo>
                    <a:pt x="131" y="570"/>
                  </a:lnTo>
                  <a:lnTo>
                    <a:pt x="132" y="567"/>
                  </a:lnTo>
                  <a:lnTo>
                    <a:pt x="132" y="564"/>
                  </a:lnTo>
                  <a:lnTo>
                    <a:pt x="132" y="562"/>
                  </a:lnTo>
                  <a:lnTo>
                    <a:pt x="131" y="561"/>
                  </a:lnTo>
                  <a:lnTo>
                    <a:pt x="130" y="562"/>
                  </a:lnTo>
                  <a:lnTo>
                    <a:pt x="130" y="563"/>
                  </a:lnTo>
                  <a:lnTo>
                    <a:pt x="131" y="565"/>
                  </a:lnTo>
                  <a:lnTo>
                    <a:pt x="131" y="568"/>
                  </a:lnTo>
                  <a:lnTo>
                    <a:pt x="131" y="569"/>
                  </a:lnTo>
                  <a:lnTo>
                    <a:pt x="130" y="570"/>
                  </a:lnTo>
                  <a:lnTo>
                    <a:pt x="129" y="570"/>
                  </a:lnTo>
                  <a:lnTo>
                    <a:pt x="129" y="569"/>
                  </a:lnTo>
                  <a:lnTo>
                    <a:pt x="129" y="568"/>
                  </a:lnTo>
                  <a:lnTo>
                    <a:pt x="127" y="565"/>
                  </a:lnTo>
                  <a:lnTo>
                    <a:pt x="127" y="563"/>
                  </a:lnTo>
                  <a:lnTo>
                    <a:pt x="126" y="563"/>
                  </a:lnTo>
                  <a:lnTo>
                    <a:pt x="124" y="564"/>
                  </a:lnTo>
                  <a:lnTo>
                    <a:pt x="124" y="568"/>
                  </a:lnTo>
                  <a:lnTo>
                    <a:pt x="124" y="569"/>
                  </a:lnTo>
                  <a:lnTo>
                    <a:pt x="123" y="569"/>
                  </a:lnTo>
                  <a:lnTo>
                    <a:pt x="121" y="565"/>
                  </a:lnTo>
                  <a:lnTo>
                    <a:pt x="115" y="567"/>
                  </a:lnTo>
                  <a:lnTo>
                    <a:pt x="118" y="565"/>
                  </a:lnTo>
                  <a:lnTo>
                    <a:pt x="120" y="564"/>
                  </a:lnTo>
                  <a:lnTo>
                    <a:pt x="120" y="563"/>
                  </a:lnTo>
                  <a:lnTo>
                    <a:pt x="123" y="562"/>
                  </a:lnTo>
                  <a:lnTo>
                    <a:pt x="124" y="561"/>
                  </a:lnTo>
                  <a:lnTo>
                    <a:pt x="127" y="561"/>
                  </a:lnTo>
                  <a:lnTo>
                    <a:pt x="129" y="558"/>
                  </a:lnTo>
                  <a:lnTo>
                    <a:pt x="131" y="557"/>
                  </a:lnTo>
                  <a:lnTo>
                    <a:pt x="133" y="556"/>
                  </a:lnTo>
                  <a:lnTo>
                    <a:pt x="136" y="554"/>
                  </a:lnTo>
                  <a:lnTo>
                    <a:pt x="147" y="550"/>
                  </a:lnTo>
                  <a:lnTo>
                    <a:pt x="147" y="548"/>
                  </a:lnTo>
                  <a:lnTo>
                    <a:pt x="145" y="548"/>
                  </a:lnTo>
                  <a:lnTo>
                    <a:pt x="144" y="548"/>
                  </a:lnTo>
                  <a:lnTo>
                    <a:pt x="142" y="550"/>
                  </a:lnTo>
                  <a:lnTo>
                    <a:pt x="141" y="550"/>
                  </a:lnTo>
                  <a:lnTo>
                    <a:pt x="138" y="551"/>
                  </a:lnTo>
                  <a:lnTo>
                    <a:pt x="137" y="552"/>
                  </a:lnTo>
                  <a:lnTo>
                    <a:pt x="137" y="550"/>
                  </a:lnTo>
                  <a:lnTo>
                    <a:pt x="136" y="548"/>
                  </a:lnTo>
                  <a:lnTo>
                    <a:pt x="136" y="547"/>
                  </a:lnTo>
                  <a:lnTo>
                    <a:pt x="135" y="547"/>
                  </a:lnTo>
                  <a:lnTo>
                    <a:pt x="137" y="545"/>
                  </a:lnTo>
                  <a:lnTo>
                    <a:pt x="137" y="542"/>
                  </a:lnTo>
                  <a:lnTo>
                    <a:pt x="138" y="541"/>
                  </a:lnTo>
                  <a:lnTo>
                    <a:pt x="138" y="540"/>
                  </a:lnTo>
                  <a:lnTo>
                    <a:pt x="138" y="538"/>
                  </a:lnTo>
                  <a:lnTo>
                    <a:pt x="137" y="536"/>
                  </a:lnTo>
                  <a:lnTo>
                    <a:pt x="136" y="536"/>
                  </a:lnTo>
                  <a:lnTo>
                    <a:pt x="136" y="539"/>
                  </a:lnTo>
                  <a:lnTo>
                    <a:pt x="136" y="541"/>
                  </a:lnTo>
                  <a:lnTo>
                    <a:pt x="135" y="542"/>
                  </a:lnTo>
                  <a:lnTo>
                    <a:pt x="135" y="541"/>
                  </a:lnTo>
                  <a:lnTo>
                    <a:pt x="133" y="540"/>
                  </a:lnTo>
                  <a:lnTo>
                    <a:pt x="132" y="540"/>
                  </a:lnTo>
                  <a:lnTo>
                    <a:pt x="131" y="541"/>
                  </a:lnTo>
                  <a:lnTo>
                    <a:pt x="130" y="540"/>
                  </a:lnTo>
                  <a:lnTo>
                    <a:pt x="130" y="541"/>
                  </a:lnTo>
                  <a:lnTo>
                    <a:pt x="129" y="541"/>
                  </a:lnTo>
                  <a:lnTo>
                    <a:pt x="126" y="541"/>
                  </a:lnTo>
                  <a:lnTo>
                    <a:pt x="127" y="540"/>
                  </a:lnTo>
                  <a:lnTo>
                    <a:pt x="130" y="539"/>
                  </a:lnTo>
                  <a:lnTo>
                    <a:pt x="130" y="536"/>
                  </a:lnTo>
                  <a:lnTo>
                    <a:pt x="130" y="535"/>
                  </a:lnTo>
                  <a:lnTo>
                    <a:pt x="129" y="533"/>
                  </a:lnTo>
                  <a:lnTo>
                    <a:pt x="129" y="534"/>
                  </a:lnTo>
                  <a:lnTo>
                    <a:pt x="127" y="535"/>
                  </a:lnTo>
                  <a:lnTo>
                    <a:pt x="126" y="538"/>
                  </a:lnTo>
                  <a:lnTo>
                    <a:pt x="127" y="538"/>
                  </a:lnTo>
                  <a:lnTo>
                    <a:pt x="127" y="539"/>
                  </a:lnTo>
                  <a:lnTo>
                    <a:pt x="126" y="539"/>
                  </a:lnTo>
                  <a:lnTo>
                    <a:pt x="124" y="538"/>
                  </a:lnTo>
                  <a:lnTo>
                    <a:pt x="123" y="536"/>
                  </a:lnTo>
                  <a:lnTo>
                    <a:pt x="123" y="539"/>
                  </a:lnTo>
                  <a:lnTo>
                    <a:pt x="123" y="542"/>
                  </a:lnTo>
                  <a:lnTo>
                    <a:pt x="121" y="544"/>
                  </a:lnTo>
                  <a:lnTo>
                    <a:pt x="120" y="542"/>
                  </a:lnTo>
                  <a:lnTo>
                    <a:pt x="120" y="540"/>
                  </a:lnTo>
                  <a:lnTo>
                    <a:pt x="119" y="539"/>
                  </a:lnTo>
                  <a:lnTo>
                    <a:pt x="119" y="535"/>
                  </a:lnTo>
                  <a:lnTo>
                    <a:pt x="118" y="533"/>
                  </a:lnTo>
                  <a:lnTo>
                    <a:pt x="117" y="533"/>
                  </a:lnTo>
                  <a:lnTo>
                    <a:pt x="114" y="533"/>
                  </a:lnTo>
                  <a:lnTo>
                    <a:pt x="114" y="538"/>
                  </a:lnTo>
                  <a:lnTo>
                    <a:pt x="113" y="542"/>
                  </a:lnTo>
                  <a:lnTo>
                    <a:pt x="113" y="541"/>
                  </a:lnTo>
                  <a:lnTo>
                    <a:pt x="112" y="538"/>
                  </a:lnTo>
                  <a:lnTo>
                    <a:pt x="112" y="533"/>
                  </a:lnTo>
                  <a:lnTo>
                    <a:pt x="111" y="533"/>
                  </a:lnTo>
                  <a:lnTo>
                    <a:pt x="111" y="536"/>
                  </a:lnTo>
                  <a:lnTo>
                    <a:pt x="109" y="536"/>
                  </a:lnTo>
                  <a:lnTo>
                    <a:pt x="109" y="539"/>
                  </a:lnTo>
                  <a:lnTo>
                    <a:pt x="108" y="539"/>
                  </a:lnTo>
                  <a:lnTo>
                    <a:pt x="107" y="536"/>
                  </a:lnTo>
                  <a:lnTo>
                    <a:pt x="107" y="533"/>
                  </a:lnTo>
                  <a:lnTo>
                    <a:pt x="106" y="535"/>
                  </a:lnTo>
                  <a:lnTo>
                    <a:pt x="105" y="538"/>
                  </a:lnTo>
                  <a:lnTo>
                    <a:pt x="103" y="536"/>
                  </a:lnTo>
                  <a:lnTo>
                    <a:pt x="102" y="535"/>
                  </a:lnTo>
                  <a:lnTo>
                    <a:pt x="101" y="534"/>
                  </a:lnTo>
                  <a:lnTo>
                    <a:pt x="99" y="535"/>
                  </a:lnTo>
                  <a:lnTo>
                    <a:pt x="97" y="535"/>
                  </a:lnTo>
                  <a:lnTo>
                    <a:pt x="96" y="535"/>
                  </a:lnTo>
                  <a:lnTo>
                    <a:pt x="95" y="535"/>
                  </a:lnTo>
                  <a:lnTo>
                    <a:pt x="95" y="536"/>
                  </a:lnTo>
                  <a:lnTo>
                    <a:pt x="92" y="534"/>
                  </a:lnTo>
                  <a:lnTo>
                    <a:pt x="91" y="535"/>
                  </a:lnTo>
                  <a:lnTo>
                    <a:pt x="90" y="533"/>
                  </a:lnTo>
                  <a:lnTo>
                    <a:pt x="91" y="530"/>
                  </a:lnTo>
                  <a:lnTo>
                    <a:pt x="90" y="529"/>
                  </a:lnTo>
                  <a:lnTo>
                    <a:pt x="91" y="528"/>
                  </a:lnTo>
                  <a:lnTo>
                    <a:pt x="90" y="528"/>
                  </a:lnTo>
                  <a:lnTo>
                    <a:pt x="89" y="529"/>
                  </a:lnTo>
                  <a:lnTo>
                    <a:pt x="90" y="530"/>
                  </a:lnTo>
                  <a:lnTo>
                    <a:pt x="89" y="533"/>
                  </a:lnTo>
                  <a:lnTo>
                    <a:pt x="90" y="535"/>
                  </a:lnTo>
                  <a:lnTo>
                    <a:pt x="90" y="539"/>
                  </a:lnTo>
                  <a:lnTo>
                    <a:pt x="88" y="539"/>
                  </a:lnTo>
                  <a:lnTo>
                    <a:pt x="88" y="538"/>
                  </a:lnTo>
                  <a:lnTo>
                    <a:pt x="88" y="534"/>
                  </a:lnTo>
                  <a:lnTo>
                    <a:pt x="86" y="533"/>
                  </a:lnTo>
                  <a:lnTo>
                    <a:pt x="85" y="532"/>
                  </a:lnTo>
                  <a:lnTo>
                    <a:pt x="85" y="533"/>
                  </a:lnTo>
                  <a:lnTo>
                    <a:pt x="85" y="536"/>
                  </a:lnTo>
                  <a:lnTo>
                    <a:pt x="85" y="538"/>
                  </a:lnTo>
                  <a:lnTo>
                    <a:pt x="85" y="539"/>
                  </a:lnTo>
                  <a:lnTo>
                    <a:pt x="84" y="540"/>
                  </a:lnTo>
                  <a:lnTo>
                    <a:pt x="83" y="539"/>
                  </a:lnTo>
                  <a:lnTo>
                    <a:pt x="83" y="536"/>
                  </a:lnTo>
                  <a:lnTo>
                    <a:pt x="83" y="534"/>
                  </a:lnTo>
                  <a:lnTo>
                    <a:pt x="83" y="533"/>
                  </a:lnTo>
                  <a:lnTo>
                    <a:pt x="82" y="535"/>
                  </a:lnTo>
                  <a:lnTo>
                    <a:pt x="80" y="536"/>
                  </a:lnTo>
                  <a:lnTo>
                    <a:pt x="82" y="538"/>
                  </a:lnTo>
                  <a:lnTo>
                    <a:pt x="79" y="538"/>
                  </a:lnTo>
                  <a:lnTo>
                    <a:pt x="80" y="539"/>
                  </a:lnTo>
                  <a:lnTo>
                    <a:pt x="80" y="540"/>
                  </a:lnTo>
                  <a:lnTo>
                    <a:pt x="80" y="542"/>
                  </a:lnTo>
                  <a:lnTo>
                    <a:pt x="80" y="545"/>
                  </a:lnTo>
                  <a:lnTo>
                    <a:pt x="79" y="544"/>
                  </a:lnTo>
                  <a:lnTo>
                    <a:pt x="79" y="542"/>
                  </a:lnTo>
                  <a:lnTo>
                    <a:pt x="78" y="544"/>
                  </a:lnTo>
                  <a:lnTo>
                    <a:pt x="77" y="544"/>
                  </a:lnTo>
                  <a:lnTo>
                    <a:pt x="76" y="541"/>
                  </a:lnTo>
                  <a:lnTo>
                    <a:pt x="77" y="540"/>
                  </a:lnTo>
                  <a:lnTo>
                    <a:pt x="73" y="540"/>
                  </a:lnTo>
                  <a:lnTo>
                    <a:pt x="72" y="540"/>
                  </a:lnTo>
                  <a:lnTo>
                    <a:pt x="72" y="539"/>
                  </a:lnTo>
                  <a:lnTo>
                    <a:pt x="74" y="538"/>
                  </a:lnTo>
                  <a:lnTo>
                    <a:pt x="74" y="536"/>
                  </a:lnTo>
                  <a:lnTo>
                    <a:pt x="73" y="536"/>
                  </a:lnTo>
                  <a:lnTo>
                    <a:pt x="73" y="535"/>
                  </a:lnTo>
                  <a:lnTo>
                    <a:pt x="76" y="536"/>
                  </a:lnTo>
                  <a:lnTo>
                    <a:pt x="79" y="535"/>
                  </a:lnTo>
                  <a:lnTo>
                    <a:pt x="80" y="532"/>
                  </a:lnTo>
                  <a:lnTo>
                    <a:pt x="78" y="532"/>
                  </a:lnTo>
                  <a:lnTo>
                    <a:pt x="79" y="532"/>
                  </a:lnTo>
                  <a:lnTo>
                    <a:pt x="82" y="529"/>
                  </a:lnTo>
                  <a:lnTo>
                    <a:pt x="83" y="528"/>
                  </a:lnTo>
                  <a:lnTo>
                    <a:pt x="88" y="527"/>
                  </a:lnTo>
                  <a:lnTo>
                    <a:pt x="90" y="524"/>
                  </a:lnTo>
                  <a:lnTo>
                    <a:pt x="92" y="523"/>
                  </a:lnTo>
                  <a:lnTo>
                    <a:pt x="97" y="522"/>
                  </a:lnTo>
                  <a:lnTo>
                    <a:pt x="102" y="522"/>
                  </a:lnTo>
                  <a:lnTo>
                    <a:pt x="105" y="522"/>
                  </a:lnTo>
                  <a:lnTo>
                    <a:pt x="105" y="521"/>
                  </a:lnTo>
                  <a:lnTo>
                    <a:pt x="103" y="518"/>
                  </a:lnTo>
                  <a:lnTo>
                    <a:pt x="106" y="518"/>
                  </a:lnTo>
                  <a:lnTo>
                    <a:pt x="107" y="518"/>
                  </a:lnTo>
                  <a:lnTo>
                    <a:pt x="111" y="518"/>
                  </a:lnTo>
                  <a:lnTo>
                    <a:pt x="112" y="518"/>
                  </a:lnTo>
                  <a:lnTo>
                    <a:pt x="112" y="515"/>
                  </a:lnTo>
                  <a:lnTo>
                    <a:pt x="111" y="514"/>
                  </a:lnTo>
                  <a:lnTo>
                    <a:pt x="107" y="512"/>
                  </a:lnTo>
                  <a:lnTo>
                    <a:pt x="107" y="515"/>
                  </a:lnTo>
                  <a:lnTo>
                    <a:pt x="107" y="516"/>
                  </a:lnTo>
                  <a:lnTo>
                    <a:pt x="106" y="515"/>
                  </a:lnTo>
                  <a:lnTo>
                    <a:pt x="105" y="512"/>
                  </a:lnTo>
                  <a:lnTo>
                    <a:pt x="105" y="514"/>
                  </a:lnTo>
                  <a:lnTo>
                    <a:pt x="105" y="516"/>
                  </a:lnTo>
                  <a:lnTo>
                    <a:pt x="103" y="516"/>
                  </a:lnTo>
                  <a:lnTo>
                    <a:pt x="103" y="514"/>
                  </a:lnTo>
                  <a:lnTo>
                    <a:pt x="102" y="514"/>
                  </a:lnTo>
                  <a:lnTo>
                    <a:pt x="102" y="516"/>
                  </a:lnTo>
                  <a:lnTo>
                    <a:pt x="101" y="517"/>
                  </a:lnTo>
                  <a:lnTo>
                    <a:pt x="101" y="520"/>
                  </a:lnTo>
                  <a:lnTo>
                    <a:pt x="100" y="521"/>
                  </a:lnTo>
                  <a:lnTo>
                    <a:pt x="99" y="521"/>
                  </a:lnTo>
                  <a:lnTo>
                    <a:pt x="99" y="518"/>
                  </a:lnTo>
                  <a:lnTo>
                    <a:pt x="97" y="517"/>
                  </a:lnTo>
                  <a:lnTo>
                    <a:pt x="96" y="516"/>
                  </a:lnTo>
                  <a:lnTo>
                    <a:pt x="96" y="515"/>
                  </a:lnTo>
                  <a:lnTo>
                    <a:pt x="95" y="514"/>
                  </a:lnTo>
                  <a:lnTo>
                    <a:pt x="92" y="515"/>
                  </a:lnTo>
                  <a:lnTo>
                    <a:pt x="92" y="516"/>
                  </a:lnTo>
                  <a:lnTo>
                    <a:pt x="90" y="518"/>
                  </a:lnTo>
                  <a:lnTo>
                    <a:pt x="89" y="518"/>
                  </a:lnTo>
                  <a:lnTo>
                    <a:pt x="88" y="520"/>
                  </a:lnTo>
                  <a:lnTo>
                    <a:pt x="86" y="517"/>
                  </a:lnTo>
                  <a:lnTo>
                    <a:pt x="86" y="518"/>
                  </a:lnTo>
                  <a:lnTo>
                    <a:pt x="85" y="520"/>
                  </a:lnTo>
                  <a:lnTo>
                    <a:pt x="85" y="521"/>
                  </a:lnTo>
                  <a:lnTo>
                    <a:pt x="84" y="521"/>
                  </a:lnTo>
                  <a:lnTo>
                    <a:pt x="83" y="517"/>
                  </a:lnTo>
                  <a:lnTo>
                    <a:pt x="83" y="515"/>
                  </a:lnTo>
                  <a:lnTo>
                    <a:pt x="83" y="516"/>
                  </a:lnTo>
                  <a:lnTo>
                    <a:pt x="82" y="516"/>
                  </a:lnTo>
                  <a:lnTo>
                    <a:pt x="80" y="514"/>
                  </a:lnTo>
                  <a:lnTo>
                    <a:pt x="79" y="517"/>
                  </a:lnTo>
                  <a:lnTo>
                    <a:pt x="78" y="518"/>
                  </a:lnTo>
                  <a:lnTo>
                    <a:pt x="78" y="522"/>
                  </a:lnTo>
                  <a:lnTo>
                    <a:pt x="77" y="523"/>
                  </a:lnTo>
                  <a:lnTo>
                    <a:pt x="76" y="522"/>
                  </a:lnTo>
                  <a:lnTo>
                    <a:pt x="76" y="520"/>
                  </a:lnTo>
                  <a:lnTo>
                    <a:pt x="76" y="516"/>
                  </a:lnTo>
                  <a:lnTo>
                    <a:pt x="74" y="515"/>
                  </a:lnTo>
                  <a:lnTo>
                    <a:pt x="73" y="515"/>
                  </a:lnTo>
                  <a:lnTo>
                    <a:pt x="73" y="517"/>
                  </a:lnTo>
                  <a:lnTo>
                    <a:pt x="73" y="521"/>
                  </a:lnTo>
                  <a:lnTo>
                    <a:pt x="73" y="522"/>
                  </a:lnTo>
                  <a:lnTo>
                    <a:pt x="72" y="521"/>
                  </a:lnTo>
                  <a:lnTo>
                    <a:pt x="71" y="518"/>
                  </a:lnTo>
                  <a:lnTo>
                    <a:pt x="71" y="517"/>
                  </a:lnTo>
                  <a:lnTo>
                    <a:pt x="70" y="515"/>
                  </a:lnTo>
                  <a:lnTo>
                    <a:pt x="70" y="516"/>
                  </a:lnTo>
                  <a:lnTo>
                    <a:pt x="68" y="517"/>
                  </a:lnTo>
                  <a:lnTo>
                    <a:pt x="66" y="517"/>
                  </a:lnTo>
                  <a:lnTo>
                    <a:pt x="65" y="517"/>
                  </a:lnTo>
                  <a:lnTo>
                    <a:pt x="64" y="517"/>
                  </a:lnTo>
                  <a:lnTo>
                    <a:pt x="62" y="518"/>
                  </a:lnTo>
                  <a:lnTo>
                    <a:pt x="61" y="521"/>
                  </a:lnTo>
                  <a:lnTo>
                    <a:pt x="60" y="523"/>
                  </a:lnTo>
                  <a:lnTo>
                    <a:pt x="59" y="526"/>
                  </a:lnTo>
                  <a:lnTo>
                    <a:pt x="59" y="524"/>
                  </a:lnTo>
                  <a:lnTo>
                    <a:pt x="56" y="524"/>
                  </a:lnTo>
                  <a:lnTo>
                    <a:pt x="56" y="522"/>
                  </a:lnTo>
                  <a:lnTo>
                    <a:pt x="56" y="520"/>
                  </a:lnTo>
                  <a:lnTo>
                    <a:pt x="54" y="521"/>
                  </a:lnTo>
                  <a:lnTo>
                    <a:pt x="53" y="522"/>
                  </a:lnTo>
                  <a:lnTo>
                    <a:pt x="52" y="521"/>
                  </a:lnTo>
                  <a:lnTo>
                    <a:pt x="53" y="520"/>
                  </a:lnTo>
                  <a:lnTo>
                    <a:pt x="54" y="518"/>
                  </a:lnTo>
                  <a:lnTo>
                    <a:pt x="56" y="515"/>
                  </a:lnTo>
                  <a:lnTo>
                    <a:pt x="58" y="514"/>
                  </a:lnTo>
                  <a:lnTo>
                    <a:pt x="59" y="511"/>
                  </a:lnTo>
                  <a:lnTo>
                    <a:pt x="59" y="509"/>
                  </a:lnTo>
                  <a:lnTo>
                    <a:pt x="60" y="506"/>
                  </a:lnTo>
                  <a:lnTo>
                    <a:pt x="59" y="508"/>
                  </a:lnTo>
                  <a:lnTo>
                    <a:pt x="58" y="511"/>
                  </a:lnTo>
                  <a:lnTo>
                    <a:pt x="58" y="510"/>
                  </a:lnTo>
                  <a:lnTo>
                    <a:pt x="56" y="506"/>
                  </a:lnTo>
                  <a:lnTo>
                    <a:pt x="55" y="506"/>
                  </a:lnTo>
                  <a:lnTo>
                    <a:pt x="55" y="504"/>
                  </a:lnTo>
                  <a:lnTo>
                    <a:pt x="55" y="502"/>
                  </a:lnTo>
                  <a:lnTo>
                    <a:pt x="58" y="499"/>
                  </a:lnTo>
                  <a:lnTo>
                    <a:pt x="59" y="498"/>
                  </a:lnTo>
                  <a:lnTo>
                    <a:pt x="58" y="498"/>
                  </a:lnTo>
                  <a:lnTo>
                    <a:pt x="55" y="498"/>
                  </a:lnTo>
                  <a:lnTo>
                    <a:pt x="54" y="498"/>
                  </a:lnTo>
                  <a:lnTo>
                    <a:pt x="54" y="503"/>
                  </a:lnTo>
                  <a:lnTo>
                    <a:pt x="53" y="508"/>
                  </a:lnTo>
                  <a:lnTo>
                    <a:pt x="53" y="509"/>
                  </a:lnTo>
                  <a:lnTo>
                    <a:pt x="52" y="508"/>
                  </a:lnTo>
                  <a:lnTo>
                    <a:pt x="52" y="505"/>
                  </a:lnTo>
                  <a:lnTo>
                    <a:pt x="52" y="502"/>
                  </a:lnTo>
                  <a:lnTo>
                    <a:pt x="50" y="499"/>
                  </a:lnTo>
                  <a:lnTo>
                    <a:pt x="50" y="502"/>
                  </a:lnTo>
                  <a:lnTo>
                    <a:pt x="50" y="504"/>
                  </a:lnTo>
                  <a:lnTo>
                    <a:pt x="49" y="505"/>
                  </a:lnTo>
                  <a:lnTo>
                    <a:pt x="49" y="506"/>
                  </a:lnTo>
                  <a:lnTo>
                    <a:pt x="49" y="510"/>
                  </a:lnTo>
                  <a:lnTo>
                    <a:pt x="48" y="511"/>
                  </a:lnTo>
                  <a:lnTo>
                    <a:pt x="47" y="511"/>
                  </a:lnTo>
                  <a:lnTo>
                    <a:pt x="47" y="509"/>
                  </a:lnTo>
                  <a:lnTo>
                    <a:pt x="47" y="505"/>
                  </a:lnTo>
                  <a:lnTo>
                    <a:pt x="46" y="504"/>
                  </a:lnTo>
                  <a:lnTo>
                    <a:pt x="44" y="503"/>
                  </a:lnTo>
                  <a:lnTo>
                    <a:pt x="43" y="502"/>
                  </a:lnTo>
                  <a:lnTo>
                    <a:pt x="43" y="504"/>
                  </a:lnTo>
                  <a:lnTo>
                    <a:pt x="41" y="505"/>
                  </a:lnTo>
                  <a:lnTo>
                    <a:pt x="41" y="503"/>
                  </a:lnTo>
                  <a:lnTo>
                    <a:pt x="41" y="502"/>
                  </a:lnTo>
                  <a:lnTo>
                    <a:pt x="40" y="502"/>
                  </a:lnTo>
                  <a:lnTo>
                    <a:pt x="38" y="504"/>
                  </a:lnTo>
                  <a:lnTo>
                    <a:pt x="37" y="503"/>
                  </a:lnTo>
                  <a:lnTo>
                    <a:pt x="37" y="502"/>
                  </a:lnTo>
                  <a:lnTo>
                    <a:pt x="38" y="500"/>
                  </a:lnTo>
                  <a:lnTo>
                    <a:pt x="41" y="500"/>
                  </a:lnTo>
                  <a:lnTo>
                    <a:pt x="43" y="499"/>
                  </a:lnTo>
                  <a:lnTo>
                    <a:pt x="46" y="498"/>
                  </a:lnTo>
                  <a:lnTo>
                    <a:pt x="48" y="497"/>
                  </a:lnTo>
                  <a:lnTo>
                    <a:pt x="49" y="497"/>
                  </a:lnTo>
                  <a:lnTo>
                    <a:pt x="52" y="497"/>
                  </a:lnTo>
                  <a:lnTo>
                    <a:pt x="54" y="496"/>
                  </a:lnTo>
                  <a:lnTo>
                    <a:pt x="58" y="494"/>
                  </a:lnTo>
                  <a:lnTo>
                    <a:pt x="61" y="494"/>
                  </a:lnTo>
                  <a:lnTo>
                    <a:pt x="62" y="494"/>
                  </a:lnTo>
                  <a:lnTo>
                    <a:pt x="64" y="493"/>
                  </a:lnTo>
                  <a:lnTo>
                    <a:pt x="65" y="493"/>
                  </a:lnTo>
                  <a:lnTo>
                    <a:pt x="71" y="492"/>
                  </a:lnTo>
                  <a:lnTo>
                    <a:pt x="70" y="491"/>
                  </a:lnTo>
                  <a:lnTo>
                    <a:pt x="71" y="491"/>
                  </a:lnTo>
                  <a:lnTo>
                    <a:pt x="72" y="492"/>
                  </a:lnTo>
                  <a:lnTo>
                    <a:pt x="73" y="492"/>
                  </a:lnTo>
                  <a:lnTo>
                    <a:pt x="77" y="492"/>
                  </a:lnTo>
                  <a:lnTo>
                    <a:pt x="76" y="490"/>
                  </a:lnTo>
                  <a:lnTo>
                    <a:pt x="77" y="491"/>
                  </a:lnTo>
                  <a:lnTo>
                    <a:pt x="79" y="491"/>
                  </a:lnTo>
                  <a:lnTo>
                    <a:pt x="82" y="491"/>
                  </a:lnTo>
                  <a:lnTo>
                    <a:pt x="90" y="490"/>
                  </a:lnTo>
                  <a:lnTo>
                    <a:pt x="95" y="488"/>
                  </a:lnTo>
                  <a:lnTo>
                    <a:pt x="99" y="490"/>
                  </a:lnTo>
                  <a:lnTo>
                    <a:pt x="102" y="490"/>
                  </a:lnTo>
                  <a:lnTo>
                    <a:pt x="103" y="488"/>
                  </a:lnTo>
                  <a:lnTo>
                    <a:pt x="102" y="487"/>
                  </a:lnTo>
                  <a:lnTo>
                    <a:pt x="101" y="487"/>
                  </a:lnTo>
                  <a:lnTo>
                    <a:pt x="102" y="486"/>
                  </a:lnTo>
                  <a:lnTo>
                    <a:pt x="102" y="484"/>
                  </a:lnTo>
                  <a:lnTo>
                    <a:pt x="103" y="482"/>
                  </a:lnTo>
                  <a:lnTo>
                    <a:pt x="105" y="481"/>
                  </a:lnTo>
                  <a:lnTo>
                    <a:pt x="102" y="479"/>
                  </a:lnTo>
                  <a:lnTo>
                    <a:pt x="102" y="476"/>
                  </a:lnTo>
                  <a:lnTo>
                    <a:pt x="101" y="475"/>
                  </a:lnTo>
                  <a:lnTo>
                    <a:pt x="101" y="478"/>
                  </a:lnTo>
                  <a:lnTo>
                    <a:pt x="99" y="479"/>
                  </a:lnTo>
                  <a:lnTo>
                    <a:pt x="97" y="480"/>
                  </a:lnTo>
                  <a:lnTo>
                    <a:pt x="97" y="484"/>
                  </a:lnTo>
                  <a:lnTo>
                    <a:pt x="96" y="485"/>
                  </a:lnTo>
                  <a:lnTo>
                    <a:pt x="95" y="485"/>
                  </a:lnTo>
                  <a:lnTo>
                    <a:pt x="94" y="485"/>
                  </a:lnTo>
                  <a:lnTo>
                    <a:pt x="92" y="484"/>
                  </a:lnTo>
                  <a:lnTo>
                    <a:pt x="91" y="482"/>
                  </a:lnTo>
                  <a:lnTo>
                    <a:pt x="91" y="481"/>
                  </a:lnTo>
                  <a:lnTo>
                    <a:pt x="91" y="482"/>
                  </a:lnTo>
                  <a:lnTo>
                    <a:pt x="90" y="484"/>
                  </a:lnTo>
                  <a:lnTo>
                    <a:pt x="90" y="482"/>
                  </a:lnTo>
                  <a:lnTo>
                    <a:pt x="89" y="481"/>
                  </a:lnTo>
                  <a:lnTo>
                    <a:pt x="88" y="481"/>
                  </a:lnTo>
                  <a:lnTo>
                    <a:pt x="84" y="484"/>
                  </a:lnTo>
                  <a:lnTo>
                    <a:pt x="84" y="482"/>
                  </a:lnTo>
                  <a:lnTo>
                    <a:pt x="85" y="481"/>
                  </a:lnTo>
                  <a:lnTo>
                    <a:pt x="88" y="479"/>
                  </a:lnTo>
                  <a:lnTo>
                    <a:pt x="89" y="478"/>
                  </a:lnTo>
                  <a:lnTo>
                    <a:pt x="89" y="475"/>
                  </a:lnTo>
                  <a:lnTo>
                    <a:pt x="89" y="474"/>
                  </a:lnTo>
                  <a:lnTo>
                    <a:pt x="88" y="472"/>
                  </a:lnTo>
                  <a:lnTo>
                    <a:pt x="85" y="472"/>
                  </a:lnTo>
                  <a:lnTo>
                    <a:pt x="84" y="472"/>
                  </a:lnTo>
                  <a:lnTo>
                    <a:pt x="84" y="473"/>
                  </a:lnTo>
                  <a:lnTo>
                    <a:pt x="83" y="473"/>
                  </a:lnTo>
                  <a:lnTo>
                    <a:pt x="80" y="470"/>
                  </a:lnTo>
                  <a:lnTo>
                    <a:pt x="79" y="468"/>
                  </a:lnTo>
                  <a:lnTo>
                    <a:pt x="79" y="470"/>
                  </a:lnTo>
                  <a:lnTo>
                    <a:pt x="80" y="473"/>
                  </a:lnTo>
                  <a:lnTo>
                    <a:pt x="80" y="474"/>
                  </a:lnTo>
                  <a:lnTo>
                    <a:pt x="79" y="478"/>
                  </a:lnTo>
                  <a:lnTo>
                    <a:pt x="78" y="478"/>
                  </a:lnTo>
                  <a:lnTo>
                    <a:pt x="79" y="480"/>
                  </a:lnTo>
                  <a:lnTo>
                    <a:pt x="78" y="481"/>
                  </a:lnTo>
                  <a:lnTo>
                    <a:pt x="77" y="481"/>
                  </a:lnTo>
                  <a:lnTo>
                    <a:pt x="77" y="482"/>
                  </a:lnTo>
                  <a:lnTo>
                    <a:pt x="74" y="482"/>
                  </a:lnTo>
                  <a:lnTo>
                    <a:pt x="73" y="481"/>
                  </a:lnTo>
                  <a:lnTo>
                    <a:pt x="72" y="481"/>
                  </a:lnTo>
                  <a:lnTo>
                    <a:pt x="71" y="482"/>
                  </a:lnTo>
                  <a:lnTo>
                    <a:pt x="68" y="481"/>
                  </a:lnTo>
                  <a:lnTo>
                    <a:pt x="68" y="480"/>
                  </a:lnTo>
                  <a:lnTo>
                    <a:pt x="68" y="479"/>
                  </a:lnTo>
                  <a:lnTo>
                    <a:pt x="66" y="479"/>
                  </a:lnTo>
                  <a:lnTo>
                    <a:pt x="64" y="478"/>
                  </a:lnTo>
                  <a:lnTo>
                    <a:pt x="66" y="476"/>
                  </a:lnTo>
                  <a:lnTo>
                    <a:pt x="68" y="475"/>
                  </a:lnTo>
                  <a:lnTo>
                    <a:pt x="72" y="473"/>
                  </a:lnTo>
                  <a:lnTo>
                    <a:pt x="72" y="470"/>
                  </a:lnTo>
                  <a:lnTo>
                    <a:pt x="73" y="468"/>
                  </a:lnTo>
                  <a:lnTo>
                    <a:pt x="76" y="467"/>
                  </a:lnTo>
                  <a:lnTo>
                    <a:pt x="74" y="466"/>
                  </a:lnTo>
                  <a:lnTo>
                    <a:pt x="77" y="464"/>
                  </a:lnTo>
                  <a:lnTo>
                    <a:pt x="78" y="464"/>
                  </a:lnTo>
                  <a:lnTo>
                    <a:pt x="79" y="462"/>
                  </a:lnTo>
                  <a:lnTo>
                    <a:pt x="82" y="462"/>
                  </a:lnTo>
                  <a:lnTo>
                    <a:pt x="83" y="461"/>
                  </a:lnTo>
                  <a:lnTo>
                    <a:pt x="86" y="460"/>
                  </a:lnTo>
                  <a:lnTo>
                    <a:pt x="90" y="460"/>
                  </a:lnTo>
                  <a:lnTo>
                    <a:pt x="95" y="458"/>
                  </a:lnTo>
                  <a:lnTo>
                    <a:pt x="97" y="458"/>
                  </a:lnTo>
                  <a:lnTo>
                    <a:pt x="97" y="456"/>
                  </a:lnTo>
                  <a:lnTo>
                    <a:pt x="97" y="455"/>
                  </a:lnTo>
                  <a:lnTo>
                    <a:pt x="95" y="455"/>
                  </a:lnTo>
                  <a:lnTo>
                    <a:pt x="95" y="454"/>
                  </a:lnTo>
                  <a:lnTo>
                    <a:pt x="95" y="451"/>
                  </a:lnTo>
                  <a:lnTo>
                    <a:pt x="94" y="451"/>
                  </a:lnTo>
                  <a:lnTo>
                    <a:pt x="92" y="452"/>
                  </a:lnTo>
                  <a:lnTo>
                    <a:pt x="91" y="455"/>
                  </a:lnTo>
                  <a:lnTo>
                    <a:pt x="90" y="456"/>
                  </a:lnTo>
                  <a:lnTo>
                    <a:pt x="89" y="455"/>
                  </a:lnTo>
                  <a:lnTo>
                    <a:pt x="90" y="452"/>
                  </a:lnTo>
                  <a:lnTo>
                    <a:pt x="90" y="451"/>
                  </a:lnTo>
                  <a:lnTo>
                    <a:pt x="88" y="451"/>
                  </a:lnTo>
                  <a:lnTo>
                    <a:pt x="85" y="451"/>
                  </a:lnTo>
                  <a:lnTo>
                    <a:pt x="88" y="450"/>
                  </a:lnTo>
                  <a:lnTo>
                    <a:pt x="89" y="449"/>
                  </a:lnTo>
                  <a:lnTo>
                    <a:pt x="91" y="447"/>
                  </a:lnTo>
                  <a:lnTo>
                    <a:pt x="92" y="449"/>
                  </a:lnTo>
                  <a:lnTo>
                    <a:pt x="95" y="447"/>
                  </a:lnTo>
                  <a:lnTo>
                    <a:pt x="96" y="449"/>
                  </a:lnTo>
                  <a:lnTo>
                    <a:pt x="99" y="449"/>
                  </a:lnTo>
                  <a:lnTo>
                    <a:pt x="100" y="447"/>
                  </a:lnTo>
                  <a:lnTo>
                    <a:pt x="101" y="447"/>
                  </a:lnTo>
                  <a:lnTo>
                    <a:pt x="103" y="446"/>
                  </a:lnTo>
                  <a:lnTo>
                    <a:pt x="105" y="446"/>
                  </a:lnTo>
                  <a:lnTo>
                    <a:pt x="106" y="445"/>
                  </a:lnTo>
                  <a:lnTo>
                    <a:pt x="107" y="444"/>
                  </a:lnTo>
                  <a:lnTo>
                    <a:pt x="107" y="443"/>
                  </a:lnTo>
                  <a:lnTo>
                    <a:pt x="108" y="441"/>
                  </a:lnTo>
                  <a:lnTo>
                    <a:pt x="109" y="443"/>
                  </a:lnTo>
                  <a:lnTo>
                    <a:pt x="111" y="441"/>
                  </a:lnTo>
                  <a:lnTo>
                    <a:pt x="111" y="439"/>
                  </a:lnTo>
                  <a:lnTo>
                    <a:pt x="109" y="439"/>
                  </a:lnTo>
                  <a:lnTo>
                    <a:pt x="108" y="439"/>
                  </a:lnTo>
                  <a:lnTo>
                    <a:pt x="111" y="437"/>
                  </a:lnTo>
                  <a:lnTo>
                    <a:pt x="112" y="435"/>
                  </a:lnTo>
                  <a:lnTo>
                    <a:pt x="117" y="431"/>
                  </a:lnTo>
                  <a:lnTo>
                    <a:pt x="118" y="429"/>
                  </a:lnTo>
                  <a:lnTo>
                    <a:pt x="120" y="428"/>
                  </a:lnTo>
                  <a:lnTo>
                    <a:pt x="120" y="426"/>
                  </a:lnTo>
                  <a:lnTo>
                    <a:pt x="118" y="425"/>
                  </a:lnTo>
                  <a:lnTo>
                    <a:pt x="117" y="423"/>
                  </a:lnTo>
                  <a:lnTo>
                    <a:pt x="117" y="426"/>
                  </a:lnTo>
                  <a:lnTo>
                    <a:pt x="117" y="427"/>
                  </a:lnTo>
                  <a:lnTo>
                    <a:pt x="114" y="427"/>
                  </a:lnTo>
                  <a:lnTo>
                    <a:pt x="114" y="428"/>
                  </a:lnTo>
                  <a:lnTo>
                    <a:pt x="114" y="431"/>
                  </a:lnTo>
                  <a:lnTo>
                    <a:pt x="113" y="431"/>
                  </a:lnTo>
                  <a:lnTo>
                    <a:pt x="113" y="432"/>
                  </a:lnTo>
                  <a:lnTo>
                    <a:pt x="112" y="433"/>
                  </a:lnTo>
                  <a:lnTo>
                    <a:pt x="112" y="432"/>
                  </a:lnTo>
                  <a:lnTo>
                    <a:pt x="111" y="429"/>
                  </a:lnTo>
                  <a:lnTo>
                    <a:pt x="111" y="428"/>
                  </a:lnTo>
                  <a:lnTo>
                    <a:pt x="112" y="427"/>
                  </a:lnTo>
                  <a:lnTo>
                    <a:pt x="111" y="426"/>
                  </a:lnTo>
                  <a:lnTo>
                    <a:pt x="109" y="426"/>
                  </a:lnTo>
                  <a:lnTo>
                    <a:pt x="108" y="427"/>
                  </a:lnTo>
                  <a:lnTo>
                    <a:pt x="107" y="428"/>
                  </a:lnTo>
                  <a:lnTo>
                    <a:pt x="108" y="432"/>
                  </a:lnTo>
                  <a:lnTo>
                    <a:pt x="107" y="433"/>
                  </a:lnTo>
                  <a:lnTo>
                    <a:pt x="106" y="432"/>
                  </a:lnTo>
                  <a:lnTo>
                    <a:pt x="106" y="431"/>
                  </a:lnTo>
                  <a:lnTo>
                    <a:pt x="106" y="428"/>
                  </a:lnTo>
                  <a:lnTo>
                    <a:pt x="105" y="428"/>
                  </a:lnTo>
                  <a:lnTo>
                    <a:pt x="103" y="429"/>
                  </a:lnTo>
                  <a:lnTo>
                    <a:pt x="103" y="428"/>
                  </a:lnTo>
                  <a:lnTo>
                    <a:pt x="102" y="429"/>
                  </a:lnTo>
                  <a:lnTo>
                    <a:pt x="102" y="431"/>
                  </a:lnTo>
                  <a:lnTo>
                    <a:pt x="101" y="432"/>
                  </a:lnTo>
                  <a:lnTo>
                    <a:pt x="100" y="432"/>
                  </a:lnTo>
                  <a:lnTo>
                    <a:pt x="100" y="431"/>
                  </a:lnTo>
                  <a:lnTo>
                    <a:pt x="100" y="428"/>
                  </a:lnTo>
                  <a:lnTo>
                    <a:pt x="100" y="426"/>
                  </a:lnTo>
                  <a:lnTo>
                    <a:pt x="99" y="426"/>
                  </a:lnTo>
                  <a:lnTo>
                    <a:pt x="97" y="427"/>
                  </a:lnTo>
                  <a:lnTo>
                    <a:pt x="99" y="429"/>
                  </a:lnTo>
                  <a:lnTo>
                    <a:pt x="99" y="431"/>
                  </a:lnTo>
                  <a:lnTo>
                    <a:pt x="99" y="432"/>
                  </a:lnTo>
                  <a:lnTo>
                    <a:pt x="99" y="435"/>
                  </a:lnTo>
                  <a:lnTo>
                    <a:pt x="97" y="437"/>
                  </a:lnTo>
                  <a:lnTo>
                    <a:pt x="96" y="438"/>
                  </a:lnTo>
                  <a:lnTo>
                    <a:pt x="95" y="437"/>
                  </a:lnTo>
                  <a:lnTo>
                    <a:pt x="95" y="438"/>
                  </a:lnTo>
                  <a:lnTo>
                    <a:pt x="94" y="439"/>
                  </a:lnTo>
                  <a:lnTo>
                    <a:pt x="92" y="439"/>
                  </a:lnTo>
                  <a:lnTo>
                    <a:pt x="92" y="435"/>
                  </a:lnTo>
                  <a:lnTo>
                    <a:pt x="92" y="433"/>
                  </a:lnTo>
                  <a:lnTo>
                    <a:pt x="92" y="432"/>
                  </a:lnTo>
                  <a:lnTo>
                    <a:pt x="94" y="429"/>
                  </a:lnTo>
                  <a:lnTo>
                    <a:pt x="94" y="428"/>
                  </a:lnTo>
                  <a:lnTo>
                    <a:pt x="95" y="426"/>
                  </a:lnTo>
                  <a:lnTo>
                    <a:pt x="95" y="422"/>
                  </a:lnTo>
                  <a:lnTo>
                    <a:pt x="95" y="419"/>
                  </a:lnTo>
                  <a:lnTo>
                    <a:pt x="94" y="417"/>
                  </a:lnTo>
                  <a:lnTo>
                    <a:pt x="91" y="417"/>
                  </a:lnTo>
                  <a:lnTo>
                    <a:pt x="91" y="420"/>
                  </a:lnTo>
                  <a:lnTo>
                    <a:pt x="91" y="422"/>
                  </a:lnTo>
                  <a:lnTo>
                    <a:pt x="90" y="422"/>
                  </a:lnTo>
                  <a:lnTo>
                    <a:pt x="89" y="421"/>
                  </a:lnTo>
                  <a:lnTo>
                    <a:pt x="89" y="419"/>
                  </a:lnTo>
                  <a:lnTo>
                    <a:pt x="86" y="416"/>
                  </a:lnTo>
                  <a:lnTo>
                    <a:pt x="86" y="415"/>
                  </a:lnTo>
                  <a:lnTo>
                    <a:pt x="86" y="416"/>
                  </a:lnTo>
                  <a:lnTo>
                    <a:pt x="86" y="420"/>
                  </a:lnTo>
                  <a:lnTo>
                    <a:pt x="86" y="422"/>
                  </a:lnTo>
                  <a:lnTo>
                    <a:pt x="84" y="421"/>
                  </a:lnTo>
                  <a:lnTo>
                    <a:pt x="84" y="419"/>
                  </a:lnTo>
                  <a:lnTo>
                    <a:pt x="83" y="416"/>
                  </a:lnTo>
                  <a:lnTo>
                    <a:pt x="82" y="415"/>
                  </a:lnTo>
                  <a:lnTo>
                    <a:pt x="82" y="417"/>
                  </a:lnTo>
                  <a:lnTo>
                    <a:pt x="82" y="421"/>
                  </a:lnTo>
                  <a:lnTo>
                    <a:pt x="82" y="423"/>
                  </a:lnTo>
                  <a:lnTo>
                    <a:pt x="80" y="422"/>
                  </a:lnTo>
                  <a:lnTo>
                    <a:pt x="79" y="419"/>
                  </a:lnTo>
                  <a:lnTo>
                    <a:pt x="79" y="416"/>
                  </a:lnTo>
                  <a:lnTo>
                    <a:pt x="79" y="414"/>
                  </a:lnTo>
                  <a:lnTo>
                    <a:pt x="79" y="411"/>
                  </a:lnTo>
                  <a:lnTo>
                    <a:pt x="80" y="408"/>
                  </a:lnTo>
                  <a:lnTo>
                    <a:pt x="79" y="408"/>
                  </a:lnTo>
                  <a:lnTo>
                    <a:pt x="77" y="408"/>
                  </a:lnTo>
                  <a:lnTo>
                    <a:pt x="76" y="409"/>
                  </a:lnTo>
                  <a:lnTo>
                    <a:pt x="77" y="407"/>
                  </a:lnTo>
                  <a:lnTo>
                    <a:pt x="77" y="405"/>
                  </a:lnTo>
                  <a:lnTo>
                    <a:pt x="74" y="405"/>
                  </a:lnTo>
                  <a:lnTo>
                    <a:pt x="73" y="405"/>
                  </a:lnTo>
                  <a:lnTo>
                    <a:pt x="74" y="404"/>
                  </a:lnTo>
                  <a:lnTo>
                    <a:pt x="76" y="403"/>
                  </a:lnTo>
                  <a:lnTo>
                    <a:pt x="76" y="402"/>
                  </a:lnTo>
                  <a:lnTo>
                    <a:pt x="77" y="403"/>
                  </a:lnTo>
                  <a:lnTo>
                    <a:pt x="77" y="404"/>
                  </a:lnTo>
                  <a:lnTo>
                    <a:pt x="79" y="405"/>
                  </a:lnTo>
                  <a:lnTo>
                    <a:pt x="79" y="404"/>
                  </a:lnTo>
                  <a:lnTo>
                    <a:pt x="80" y="404"/>
                  </a:lnTo>
                  <a:lnTo>
                    <a:pt x="82" y="404"/>
                  </a:lnTo>
                  <a:lnTo>
                    <a:pt x="83" y="405"/>
                  </a:lnTo>
                  <a:lnTo>
                    <a:pt x="84" y="404"/>
                  </a:lnTo>
                  <a:lnTo>
                    <a:pt x="85" y="404"/>
                  </a:lnTo>
                  <a:lnTo>
                    <a:pt x="85" y="407"/>
                  </a:lnTo>
                  <a:lnTo>
                    <a:pt x="86" y="407"/>
                  </a:lnTo>
                  <a:lnTo>
                    <a:pt x="88" y="405"/>
                  </a:lnTo>
                  <a:lnTo>
                    <a:pt x="89" y="407"/>
                  </a:lnTo>
                  <a:lnTo>
                    <a:pt x="90" y="408"/>
                  </a:lnTo>
                  <a:lnTo>
                    <a:pt x="92" y="409"/>
                  </a:lnTo>
                  <a:lnTo>
                    <a:pt x="94" y="410"/>
                  </a:lnTo>
                  <a:lnTo>
                    <a:pt x="99" y="410"/>
                  </a:lnTo>
                  <a:lnTo>
                    <a:pt x="102" y="410"/>
                  </a:lnTo>
                  <a:lnTo>
                    <a:pt x="105" y="410"/>
                  </a:lnTo>
                  <a:lnTo>
                    <a:pt x="108" y="411"/>
                  </a:lnTo>
                  <a:lnTo>
                    <a:pt x="113" y="411"/>
                  </a:lnTo>
                  <a:lnTo>
                    <a:pt x="117" y="411"/>
                  </a:lnTo>
                  <a:lnTo>
                    <a:pt x="120" y="413"/>
                  </a:lnTo>
                  <a:lnTo>
                    <a:pt x="124" y="411"/>
                  </a:lnTo>
                  <a:lnTo>
                    <a:pt x="126" y="413"/>
                  </a:lnTo>
                  <a:lnTo>
                    <a:pt x="129" y="414"/>
                  </a:lnTo>
                  <a:lnTo>
                    <a:pt x="133" y="413"/>
                  </a:lnTo>
                  <a:lnTo>
                    <a:pt x="137" y="413"/>
                  </a:lnTo>
                  <a:lnTo>
                    <a:pt x="138" y="411"/>
                  </a:lnTo>
                  <a:lnTo>
                    <a:pt x="141" y="411"/>
                  </a:lnTo>
                  <a:lnTo>
                    <a:pt x="143" y="409"/>
                  </a:lnTo>
                  <a:lnTo>
                    <a:pt x="143" y="407"/>
                  </a:lnTo>
                  <a:lnTo>
                    <a:pt x="144" y="407"/>
                  </a:lnTo>
                  <a:lnTo>
                    <a:pt x="148" y="407"/>
                  </a:lnTo>
                  <a:lnTo>
                    <a:pt x="150" y="408"/>
                  </a:lnTo>
                  <a:lnTo>
                    <a:pt x="151" y="409"/>
                  </a:lnTo>
                  <a:lnTo>
                    <a:pt x="154" y="409"/>
                  </a:lnTo>
                  <a:lnTo>
                    <a:pt x="155" y="409"/>
                  </a:lnTo>
                  <a:lnTo>
                    <a:pt x="159" y="407"/>
                  </a:lnTo>
                  <a:lnTo>
                    <a:pt x="162" y="404"/>
                  </a:lnTo>
                  <a:lnTo>
                    <a:pt x="166" y="402"/>
                  </a:lnTo>
                  <a:lnTo>
                    <a:pt x="168" y="399"/>
                  </a:lnTo>
                  <a:lnTo>
                    <a:pt x="172" y="397"/>
                  </a:lnTo>
                  <a:lnTo>
                    <a:pt x="174" y="395"/>
                  </a:lnTo>
                  <a:lnTo>
                    <a:pt x="173" y="393"/>
                  </a:lnTo>
                  <a:lnTo>
                    <a:pt x="171" y="393"/>
                  </a:lnTo>
                  <a:lnTo>
                    <a:pt x="171" y="392"/>
                  </a:lnTo>
                  <a:lnTo>
                    <a:pt x="173" y="391"/>
                  </a:lnTo>
                  <a:lnTo>
                    <a:pt x="174" y="390"/>
                  </a:lnTo>
                  <a:lnTo>
                    <a:pt x="176" y="387"/>
                  </a:lnTo>
                  <a:lnTo>
                    <a:pt x="174" y="387"/>
                  </a:lnTo>
                  <a:lnTo>
                    <a:pt x="173" y="389"/>
                  </a:lnTo>
                  <a:lnTo>
                    <a:pt x="172" y="390"/>
                  </a:lnTo>
                  <a:lnTo>
                    <a:pt x="171" y="391"/>
                  </a:lnTo>
                  <a:lnTo>
                    <a:pt x="170" y="390"/>
                  </a:lnTo>
                  <a:lnTo>
                    <a:pt x="168" y="389"/>
                  </a:lnTo>
                  <a:lnTo>
                    <a:pt x="167" y="389"/>
                  </a:lnTo>
                  <a:lnTo>
                    <a:pt x="168" y="390"/>
                  </a:lnTo>
                  <a:lnTo>
                    <a:pt x="167" y="391"/>
                  </a:lnTo>
                  <a:lnTo>
                    <a:pt x="168" y="395"/>
                  </a:lnTo>
                  <a:lnTo>
                    <a:pt x="168" y="396"/>
                  </a:lnTo>
                  <a:lnTo>
                    <a:pt x="167" y="397"/>
                  </a:lnTo>
                  <a:lnTo>
                    <a:pt x="166" y="396"/>
                  </a:lnTo>
                  <a:lnTo>
                    <a:pt x="166" y="393"/>
                  </a:lnTo>
                  <a:lnTo>
                    <a:pt x="164" y="392"/>
                  </a:lnTo>
                  <a:lnTo>
                    <a:pt x="162" y="391"/>
                  </a:lnTo>
                  <a:lnTo>
                    <a:pt x="161" y="390"/>
                  </a:lnTo>
                  <a:lnTo>
                    <a:pt x="160" y="391"/>
                  </a:lnTo>
                  <a:lnTo>
                    <a:pt x="160" y="393"/>
                  </a:lnTo>
                  <a:lnTo>
                    <a:pt x="159" y="396"/>
                  </a:lnTo>
                  <a:lnTo>
                    <a:pt x="158" y="395"/>
                  </a:lnTo>
                  <a:lnTo>
                    <a:pt x="158" y="391"/>
                  </a:lnTo>
                  <a:lnTo>
                    <a:pt x="156" y="390"/>
                  </a:lnTo>
                  <a:lnTo>
                    <a:pt x="156" y="391"/>
                  </a:lnTo>
                  <a:lnTo>
                    <a:pt x="156" y="392"/>
                  </a:lnTo>
                  <a:lnTo>
                    <a:pt x="154" y="390"/>
                  </a:lnTo>
                  <a:lnTo>
                    <a:pt x="154" y="389"/>
                  </a:lnTo>
                  <a:lnTo>
                    <a:pt x="154" y="393"/>
                  </a:lnTo>
                  <a:lnTo>
                    <a:pt x="154" y="396"/>
                  </a:lnTo>
                  <a:lnTo>
                    <a:pt x="153" y="396"/>
                  </a:lnTo>
                  <a:lnTo>
                    <a:pt x="151" y="395"/>
                  </a:lnTo>
                  <a:lnTo>
                    <a:pt x="149" y="391"/>
                  </a:lnTo>
                  <a:lnTo>
                    <a:pt x="148" y="390"/>
                  </a:lnTo>
                  <a:lnTo>
                    <a:pt x="148" y="393"/>
                  </a:lnTo>
                  <a:lnTo>
                    <a:pt x="148" y="397"/>
                  </a:lnTo>
                  <a:lnTo>
                    <a:pt x="147" y="395"/>
                  </a:lnTo>
                  <a:lnTo>
                    <a:pt x="145" y="392"/>
                  </a:lnTo>
                  <a:lnTo>
                    <a:pt x="145" y="390"/>
                  </a:lnTo>
                  <a:lnTo>
                    <a:pt x="143" y="387"/>
                  </a:lnTo>
                  <a:lnTo>
                    <a:pt x="143" y="393"/>
                  </a:lnTo>
                  <a:lnTo>
                    <a:pt x="144" y="396"/>
                  </a:lnTo>
                  <a:lnTo>
                    <a:pt x="142" y="395"/>
                  </a:lnTo>
                  <a:lnTo>
                    <a:pt x="141" y="392"/>
                  </a:lnTo>
                  <a:lnTo>
                    <a:pt x="142" y="396"/>
                  </a:lnTo>
                  <a:lnTo>
                    <a:pt x="142" y="397"/>
                  </a:lnTo>
                  <a:lnTo>
                    <a:pt x="141" y="398"/>
                  </a:lnTo>
                  <a:lnTo>
                    <a:pt x="139" y="397"/>
                  </a:lnTo>
                  <a:lnTo>
                    <a:pt x="139" y="395"/>
                  </a:lnTo>
                  <a:lnTo>
                    <a:pt x="138" y="395"/>
                  </a:lnTo>
                  <a:lnTo>
                    <a:pt x="136" y="393"/>
                  </a:lnTo>
                  <a:lnTo>
                    <a:pt x="136" y="392"/>
                  </a:lnTo>
                  <a:lnTo>
                    <a:pt x="135" y="395"/>
                  </a:lnTo>
                  <a:lnTo>
                    <a:pt x="137" y="397"/>
                  </a:lnTo>
                  <a:lnTo>
                    <a:pt x="137" y="398"/>
                  </a:lnTo>
                  <a:lnTo>
                    <a:pt x="136" y="397"/>
                  </a:lnTo>
                  <a:lnTo>
                    <a:pt x="135" y="396"/>
                  </a:lnTo>
                  <a:lnTo>
                    <a:pt x="132" y="395"/>
                  </a:lnTo>
                  <a:lnTo>
                    <a:pt x="132" y="399"/>
                  </a:lnTo>
                  <a:lnTo>
                    <a:pt x="130" y="401"/>
                  </a:lnTo>
                  <a:lnTo>
                    <a:pt x="130" y="402"/>
                  </a:lnTo>
                  <a:lnTo>
                    <a:pt x="129" y="402"/>
                  </a:lnTo>
                  <a:lnTo>
                    <a:pt x="127" y="402"/>
                  </a:lnTo>
                  <a:lnTo>
                    <a:pt x="126" y="401"/>
                  </a:lnTo>
                  <a:lnTo>
                    <a:pt x="126" y="399"/>
                  </a:lnTo>
                  <a:lnTo>
                    <a:pt x="125" y="399"/>
                  </a:lnTo>
                  <a:lnTo>
                    <a:pt x="125" y="401"/>
                  </a:lnTo>
                  <a:lnTo>
                    <a:pt x="125" y="402"/>
                  </a:lnTo>
                  <a:lnTo>
                    <a:pt x="126" y="403"/>
                  </a:lnTo>
                  <a:lnTo>
                    <a:pt x="126" y="405"/>
                  </a:lnTo>
                  <a:lnTo>
                    <a:pt x="125" y="408"/>
                  </a:lnTo>
                  <a:lnTo>
                    <a:pt x="124" y="407"/>
                  </a:lnTo>
                  <a:lnTo>
                    <a:pt x="124" y="404"/>
                  </a:lnTo>
                  <a:lnTo>
                    <a:pt x="124" y="403"/>
                  </a:lnTo>
                  <a:lnTo>
                    <a:pt x="123" y="401"/>
                  </a:lnTo>
                  <a:lnTo>
                    <a:pt x="123" y="403"/>
                  </a:lnTo>
                  <a:lnTo>
                    <a:pt x="121" y="403"/>
                  </a:lnTo>
                  <a:lnTo>
                    <a:pt x="120" y="403"/>
                  </a:lnTo>
                  <a:lnTo>
                    <a:pt x="120" y="402"/>
                  </a:lnTo>
                  <a:lnTo>
                    <a:pt x="120" y="399"/>
                  </a:lnTo>
                  <a:lnTo>
                    <a:pt x="119" y="397"/>
                  </a:lnTo>
                  <a:lnTo>
                    <a:pt x="119" y="396"/>
                  </a:lnTo>
                  <a:lnTo>
                    <a:pt x="119" y="401"/>
                  </a:lnTo>
                  <a:lnTo>
                    <a:pt x="119" y="404"/>
                  </a:lnTo>
                  <a:lnTo>
                    <a:pt x="119" y="405"/>
                  </a:lnTo>
                  <a:lnTo>
                    <a:pt x="117" y="408"/>
                  </a:lnTo>
                  <a:lnTo>
                    <a:pt x="115" y="408"/>
                  </a:lnTo>
                  <a:lnTo>
                    <a:pt x="113" y="408"/>
                  </a:lnTo>
                  <a:lnTo>
                    <a:pt x="113" y="405"/>
                  </a:lnTo>
                  <a:lnTo>
                    <a:pt x="113" y="403"/>
                  </a:lnTo>
                  <a:lnTo>
                    <a:pt x="113" y="401"/>
                  </a:lnTo>
                  <a:lnTo>
                    <a:pt x="112" y="403"/>
                  </a:lnTo>
                  <a:lnTo>
                    <a:pt x="112" y="404"/>
                  </a:lnTo>
                  <a:lnTo>
                    <a:pt x="111" y="403"/>
                  </a:lnTo>
                  <a:lnTo>
                    <a:pt x="109" y="403"/>
                  </a:lnTo>
                  <a:lnTo>
                    <a:pt x="108" y="405"/>
                  </a:lnTo>
                  <a:lnTo>
                    <a:pt x="107" y="408"/>
                  </a:lnTo>
                  <a:lnTo>
                    <a:pt x="107" y="405"/>
                  </a:lnTo>
                  <a:lnTo>
                    <a:pt x="106" y="404"/>
                  </a:lnTo>
                  <a:lnTo>
                    <a:pt x="102" y="407"/>
                  </a:lnTo>
                  <a:lnTo>
                    <a:pt x="103" y="405"/>
                  </a:lnTo>
                  <a:lnTo>
                    <a:pt x="105" y="404"/>
                  </a:lnTo>
                  <a:lnTo>
                    <a:pt x="103" y="402"/>
                  </a:lnTo>
                  <a:lnTo>
                    <a:pt x="105" y="402"/>
                  </a:lnTo>
                  <a:lnTo>
                    <a:pt x="108" y="402"/>
                  </a:lnTo>
                  <a:lnTo>
                    <a:pt x="109" y="402"/>
                  </a:lnTo>
                  <a:lnTo>
                    <a:pt x="106" y="401"/>
                  </a:lnTo>
                  <a:lnTo>
                    <a:pt x="107" y="399"/>
                  </a:lnTo>
                  <a:lnTo>
                    <a:pt x="109" y="399"/>
                  </a:lnTo>
                  <a:lnTo>
                    <a:pt x="112" y="399"/>
                  </a:lnTo>
                  <a:lnTo>
                    <a:pt x="113" y="398"/>
                  </a:lnTo>
                  <a:lnTo>
                    <a:pt x="112" y="397"/>
                  </a:lnTo>
                  <a:lnTo>
                    <a:pt x="113" y="396"/>
                  </a:lnTo>
                  <a:lnTo>
                    <a:pt x="115" y="395"/>
                  </a:lnTo>
                  <a:lnTo>
                    <a:pt x="118" y="393"/>
                  </a:lnTo>
                  <a:lnTo>
                    <a:pt x="119" y="393"/>
                  </a:lnTo>
                  <a:lnTo>
                    <a:pt x="118" y="392"/>
                  </a:lnTo>
                  <a:lnTo>
                    <a:pt x="119" y="391"/>
                  </a:lnTo>
                  <a:lnTo>
                    <a:pt x="120" y="390"/>
                  </a:lnTo>
                  <a:lnTo>
                    <a:pt x="121" y="389"/>
                  </a:lnTo>
                  <a:lnTo>
                    <a:pt x="124" y="387"/>
                  </a:lnTo>
                  <a:lnTo>
                    <a:pt x="125" y="386"/>
                  </a:lnTo>
                  <a:lnTo>
                    <a:pt x="125" y="384"/>
                  </a:lnTo>
                  <a:lnTo>
                    <a:pt x="124" y="383"/>
                  </a:lnTo>
                  <a:lnTo>
                    <a:pt x="123" y="381"/>
                  </a:lnTo>
                  <a:lnTo>
                    <a:pt x="123" y="383"/>
                  </a:lnTo>
                  <a:lnTo>
                    <a:pt x="121" y="386"/>
                  </a:lnTo>
                  <a:lnTo>
                    <a:pt x="120" y="386"/>
                  </a:lnTo>
                  <a:lnTo>
                    <a:pt x="119" y="389"/>
                  </a:lnTo>
                  <a:lnTo>
                    <a:pt x="119" y="387"/>
                  </a:lnTo>
                  <a:lnTo>
                    <a:pt x="118" y="385"/>
                  </a:lnTo>
                  <a:lnTo>
                    <a:pt x="117" y="386"/>
                  </a:lnTo>
                  <a:lnTo>
                    <a:pt x="117" y="385"/>
                  </a:lnTo>
                  <a:lnTo>
                    <a:pt x="117" y="384"/>
                  </a:lnTo>
                  <a:lnTo>
                    <a:pt x="115" y="383"/>
                  </a:lnTo>
                  <a:lnTo>
                    <a:pt x="118" y="383"/>
                  </a:lnTo>
                  <a:lnTo>
                    <a:pt x="119" y="381"/>
                  </a:lnTo>
                  <a:lnTo>
                    <a:pt x="121" y="379"/>
                  </a:lnTo>
                  <a:lnTo>
                    <a:pt x="119" y="379"/>
                  </a:lnTo>
                  <a:lnTo>
                    <a:pt x="118" y="378"/>
                  </a:lnTo>
                  <a:lnTo>
                    <a:pt x="120" y="378"/>
                  </a:lnTo>
                  <a:lnTo>
                    <a:pt x="123" y="378"/>
                  </a:lnTo>
                  <a:lnTo>
                    <a:pt x="126" y="378"/>
                  </a:lnTo>
                  <a:lnTo>
                    <a:pt x="130" y="377"/>
                  </a:lnTo>
                  <a:lnTo>
                    <a:pt x="135" y="374"/>
                  </a:lnTo>
                  <a:lnTo>
                    <a:pt x="138" y="373"/>
                  </a:lnTo>
                  <a:lnTo>
                    <a:pt x="143" y="371"/>
                  </a:lnTo>
                  <a:lnTo>
                    <a:pt x="147" y="369"/>
                  </a:lnTo>
                  <a:lnTo>
                    <a:pt x="150" y="368"/>
                  </a:lnTo>
                  <a:lnTo>
                    <a:pt x="154" y="368"/>
                  </a:lnTo>
                  <a:lnTo>
                    <a:pt x="158" y="367"/>
                  </a:lnTo>
                  <a:lnTo>
                    <a:pt x="160" y="367"/>
                  </a:lnTo>
                  <a:lnTo>
                    <a:pt x="160" y="365"/>
                  </a:lnTo>
                  <a:lnTo>
                    <a:pt x="159" y="365"/>
                  </a:lnTo>
                  <a:lnTo>
                    <a:pt x="158" y="363"/>
                  </a:lnTo>
                  <a:lnTo>
                    <a:pt x="162" y="362"/>
                  </a:lnTo>
                  <a:lnTo>
                    <a:pt x="165" y="362"/>
                  </a:lnTo>
                  <a:lnTo>
                    <a:pt x="167" y="361"/>
                  </a:lnTo>
                  <a:lnTo>
                    <a:pt x="168" y="361"/>
                  </a:lnTo>
                  <a:lnTo>
                    <a:pt x="170" y="359"/>
                  </a:lnTo>
                  <a:lnTo>
                    <a:pt x="170" y="356"/>
                  </a:lnTo>
                  <a:lnTo>
                    <a:pt x="168" y="354"/>
                  </a:lnTo>
                  <a:lnTo>
                    <a:pt x="167" y="351"/>
                  </a:lnTo>
                  <a:lnTo>
                    <a:pt x="165" y="349"/>
                  </a:lnTo>
                  <a:lnTo>
                    <a:pt x="165" y="351"/>
                  </a:lnTo>
                  <a:lnTo>
                    <a:pt x="165" y="353"/>
                  </a:lnTo>
                  <a:lnTo>
                    <a:pt x="164" y="354"/>
                  </a:lnTo>
                  <a:lnTo>
                    <a:pt x="161" y="353"/>
                  </a:lnTo>
                  <a:lnTo>
                    <a:pt x="161" y="354"/>
                  </a:lnTo>
                  <a:lnTo>
                    <a:pt x="160" y="355"/>
                  </a:lnTo>
                  <a:lnTo>
                    <a:pt x="159" y="355"/>
                  </a:lnTo>
                  <a:lnTo>
                    <a:pt x="158" y="353"/>
                  </a:lnTo>
                  <a:lnTo>
                    <a:pt x="156" y="350"/>
                  </a:lnTo>
                  <a:lnTo>
                    <a:pt x="158" y="355"/>
                  </a:lnTo>
                  <a:lnTo>
                    <a:pt x="155" y="356"/>
                  </a:lnTo>
                  <a:lnTo>
                    <a:pt x="155" y="355"/>
                  </a:lnTo>
                  <a:lnTo>
                    <a:pt x="154" y="353"/>
                  </a:lnTo>
                  <a:lnTo>
                    <a:pt x="153" y="350"/>
                  </a:lnTo>
                  <a:lnTo>
                    <a:pt x="153" y="353"/>
                  </a:lnTo>
                  <a:lnTo>
                    <a:pt x="150" y="355"/>
                  </a:lnTo>
                  <a:lnTo>
                    <a:pt x="150" y="353"/>
                  </a:lnTo>
                  <a:lnTo>
                    <a:pt x="149" y="351"/>
                  </a:lnTo>
                  <a:lnTo>
                    <a:pt x="150" y="355"/>
                  </a:lnTo>
                  <a:lnTo>
                    <a:pt x="150" y="357"/>
                  </a:lnTo>
                  <a:lnTo>
                    <a:pt x="148" y="359"/>
                  </a:lnTo>
                  <a:lnTo>
                    <a:pt x="147" y="359"/>
                  </a:lnTo>
                  <a:lnTo>
                    <a:pt x="147" y="356"/>
                  </a:lnTo>
                  <a:lnTo>
                    <a:pt x="145" y="353"/>
                  </a:lnTo>
                  <a:lnTo>
                    <a:pt x="144" y="354"/>
                  </a:lnTo>
                  <a:lnTo>
                    <a:pt x="144" y="356"/>
                  </a:lnTo>
                  <a:lnTo>
                    <a:pt x="142" y="356"/>
                  </a:lnTo>
                  <a:lnTo>
                    <a:pt x="142" y="355"/>
                  </a:lnTo>
                  <a:lnTo>
                    <a:pt x="141" y="356"/>
                  </a:lnTo>
                  <a:lnTo>
                    <a:pt x="139" y="354"/>
                  </a:lnTo>
                  <a:lnTo>
                    <a:pt x="139" y="353"/>
                  </a:lnTo>
                  <a:lnTo>
                    <a:pt x="138" y="353"/>
                  </a:lnTo>
                  <a:lnTo>
                    <a:pt x="139" y="356"/>
                  </a:lnTo>
                  <a:lnTo>
                    <a:pt x="138" y="356"/>
                  </a:lnTo>
                  <a:lnTo>
                    <a:pt x="136" y="357"/>
                  </a:lnTo>
                  <a:lnTo>
                    <a:pt x="136" y="356"/>
                  </a:lnTo>
                  <a:lnTo>
                    <a:pt x="135" y="356"/>
                  </a:lnTo>
                  <a:lnTo>
                    <a:pt x="136" y="360"/>
                  </a:lnTo>
                  <a:lnTo>
                    <a:pt x="136" y="362"/>
                  </a:lnTo>
                  <a:lnTo>
                    <a:pt x="133" y="362"/>
                  </a:lnTo>
                  <a:lnTo>
                    <a:pt x="132" y="361"/>
                  </a:lnTo>
                  <a:lnTo>
                    <a:pt x="131" y="360"/>
                  </a:lnTo>
                  <a:lnTo>
                    <a:pt x="130" y="356"/>
                  </a:lnTo>
                  <a:lnTo>
                    <a:pt x="129" y="355"/>
                  </a:lnTo>
                  <a:lnTo>
                    <a:pt x="126" y="356"/>
                  </a:lnTo>
                  <a:lnTo>
                    <a:pt x="125" y="355"/>
                  </a:lnTo>
                  <a:lnTo>
                    <a:pt x="123" y="356"/>
                  </a:lnTo>
                  <a:lnTo>
                    <a:pt x="124" y="357"/>
                  </a:lnTo>
                  <a:lnTo>
                    <a:pt x="123" y="356"/>
                  </a:lnTo>
                  <a:lnTo>
                    <a:pt x="120" y="357"/>
                  </a:lnTo>
                  <a:lnTo>
                    <a:pt x="117" y="357"/>
                  </a:lnTo>
                  <a:lnTo>
                    <a:pt x="117" y="356"/>
                  </a:lnTo>
                  <a:lnTo>
                    <a:pt x="121" y="355"/>
                  </a:lnTo>
                  <a:lnTo>
                    <a:pt x="125" y="353"/>
                  </a:lnTo>
                  <a:lnTo>
                    <a:pt x="126" y="350"/>
                  </a:lnTo>
                  <a:lnTo>
                    <a:pt x="127" y="351"/>
                  </a:lnTo>
                  <a:lnTo>
                    <a:pt x="131" y="350"/>
                  </a:lnTo>
                  <a:lnTo>
                    <a:pt x="133" y="349"/>
                  </a:lnTo>
                  <a:lnTo>
                    <a:pt x="135" y="348"/>
                  </a:lnTo>
                  <a:lnTo>
                    <a:pt x="130" y="348"/>
                  </a:lnTo>
                  <a:lnTo>
                    <a:pt x="127" y="349"/>
                  </a:lnTo>
                  <a:lnTo>
                    <a:pt x="130" y="348"/>
                  </a:lnTo>
                  <a:lnTo>
                    <a:pt x="133" y="345"/>
                  </a:lnTo>
                  <a:lnTo>
                    <a:pt x="135" y="345"/>
                  </a:lnTo>
                  <a:lnTo>
                    <a:pt x="131" y="344"/>
                  </a:lnTo>
                  <a:lnTo>
                    <a:pt x="136" y="344"/>
                  </a:lnTo>
                  <a:lnTo>
                    <a:pt x="139" y="343"/>
                  </a:lnTo>
                  <a:lnTo>
                    <a:pt x="139" y="342"/>
                  </a:lnTo>
                  <a:lnTo>
                    <a:pt x="142" y="342"/>
                  </a:lnTo>
                  <a:lnTo>
                    <a:pt x="144" y="340"/>
                  </a:lnTo>
                  <a:lnTo>
                    <a:pt x="143" y="339"/>
                  </a:lnTo>
                  <a:lnTo>
                    <a:pt x="144" y="339"/>
                  </a:lnTo>
                  <a:lnTo>
                    <a:pt x="149" y="339"/>
                  </a:lnTo>
                  <a:lnTo>
                    <a:pt x="150" y="337"/>
                  </a:lnTo>
                  <a:lnTo>
                    <a:pt x="151" y="337"/>
                  </a:lnTo>
                  <a:lnTo>
                    <a:pt x="153" y="338"/>
                  </a:lnTo>
                  <a:lnTo>
                    <a:pt x="155" y="338"/>
                  </a:lnTo>
                  <a:lnTo>
                    <a:pt x="158" y="337"/>
                  </a:lnTo>
                  <a:lnTo>
                    <a:pt x="156" y="334"/>
                  </a:lnTo>
                  <a:lnTo>
                    <a:pt x="159" y="336"/>
                  </a:lnTo>
                  <a:lnTo>
                    <a:pt x="160" y="333"/>
                  </a:lnTo>
                  <a:lnTo>
                    <a:pt x="162" y="333"/>
                  </a:lnTo>
                  <a:lnTo>
                    <a:pt x="165" y="334"/>
                  </a:lnTo>
                  <a:lnTo>
                    <a:pt x="167" y="334"/>
                  </a:lnTo>
                  <a:lnTo>
                    <a:pt x="168" y="333"/>
                  </a:lnTo>
                  <a:lnTo>
                    <a:pt x="174" y="332"/>
                  </a:lnTo>
                  <a:lnTo>
                    <a:pt x="178" y="331"/>
                  </a:lnTo>
                  <a:lnTo>
                    <a:pt x="182" y="330"/>
                  </a:lnTo>
                  <a:lnTo>
                    <a:pt x="183" y="330"/>
                  </a:lnTo>
                  <a:lnTo>
                    <a:pt x="185" y="328"/>
                  </a:lnTo>
                  <a:lnTo>
                    <a:pt x="189" y="328"/>
                  </a:lnTo>
                  <a:lnTo>
                    <a:pt x="191" y="327"/>
                  </a:lnTo>
                  <a:lnTo>
                    <a:pt x="194" y="327"/>
                  </a:lnTo>
                  <a:lnTo>
                    <a:pt x="196" y="327"/>
                  </a:lnTo>
                  <a:lnTo>
                    <a:pt x="198" y="326"/>
                  </a:lnTo>
                  <a:lnTo>
                    <a:pt x="200" y="327"/>
                  </a:lnTo>
                  <a:lnTo>
                    <a:pt x="201" y="325"/>
                  </a:lnTo>
                  <a:lnTo>
                    <a:pt x="202" y="325"/>
                  </a:lnTo>
                  <a:lnTo>
                    <a:pt x="203" y="325"/>
                  </a:lnTo>
                  <a:lnTo>
                    <a:pt x="204" y="325"/>
                  </a:lnTo>
                  <a:lnTo>
                    <a:pt x="207" y="326"/>
                  </a:lnTo>
                  <a:lnTo>
                    <a:pt x="208" y="326"/>
                  </a:lnTo>
                  <a:lnTo>
                    <a:pt x="210" y="325"/>
                  </a:lnTo>
                  <a:lnTo>
                    <a:pt x="212" y="325"/>
                  </a:lnTo>
                  <a:lnTo>
                    <a:pt x="214" y="325"/>
                  </a:lnTo>
                  <a:lnTo>
                    <a:pt x="215" y="324"/>
                  </a:lnTo>
                  <a:lnTo>
                    <a:pt x="219" y="322"/>
                  </a:lnTo>
                  <a:lnTo>
                    <a:pt x="221" y="322"/>
                  </a:lnTo>
                  <a:lnTo>
                    <a:pt x="223" y="322"/>
                  </a:lnTo>
                  <a:lnTo>
                    <a:pt x="223" y="321"/>
                  </a:lnTo>
                  <a:lnTo>
                    <a:pt x="221" y="320"/>
                  </a:lnTo>
                  <a:lnTo>
                    <a:pt x="220" y="321"/>
                  </a:lnTo>
                  <a:lnTo>
                    <a:pt x="218" y="321"/>
                  </a:lnTo>
                  <a:lnTo>
                    <a:pt x="215" y="324"/>
                  </a:lnTo>
                  <a:lnTo>
                    <a:pt x="213" y="324"/>
                  </a:lnTo>
                  <a:lnTo>
                    <a:pt x="210" y="324"/>
                  </a:lnTo>
                  <a:lnTo>
                    <a:pt x="210" y="322"/>
                  </a:lnTo>
                  <a:lnTo>
                    <a:pt x="209" y="324"/>
                  </a:lnTo>
                  <a:lnTo>
                    <a:pt x="209" y="325"/>
                  </a:lnTo>
                  <a:lnTo>
                    <a:pt x="208" y="325"/>
                  </a:lnTo>
                  <a:lnTo>
                    <a:pt x="207" y="325"/>
                  </a:lnTo>
                  <a:lnTo>
                    <a:pt x="204" y="322"/>
                  </a:lnTo>
                  <a:lnTo>
                    <a:pt x="203" y="322"/>
                  </a:lnTo>
                  <a:lnTo>
                    <a:pt x="203" y="324"/>
                  </a:lnTo>
                  <a:lnTo>
                    <a:pt x="202" y="324"/>
                  </a:lnTo>
                  <a:lnTo>
                    <a:pt x="200" y="325"/>
                  </a:lnTo>
                  <a:lnTo>
                    <a:pt x="200" y="324"/>
                  </a:lnTo>
                  <a:lnTo>
                    <a:pt x="200" y="325"/>
                  </a:lnTo>
                  <a:lnTo>
                    <a:pt x="198" y="325"/>
                  </a:lnTo>
                  <a:lnTo>
                    <a:pt x="197" y="325"/>
                  </a:lnTo>
                  <a:lnTo>
                    <a:pt x="196" y="325"/>
                  </a:lnTo>
                  <a:lnTo>
                    <a:pt x="195" y="325"/>
                  </a:lnTo>
                  <a:lnTo>
                    <a:pt x="192" y="326"/>
                  </a:lnTo>
                  <a:lnTo>
                    <a:pt x="190" y="326"/>
                  </a:lnTo>
                  <a:lnTo>
                    <a:pt x="190" y="325"/>
                  </a:lnTo>
                  <a:lnTo>
                    <a:pt x="189" y="324"/>
                  </a:lnTo>
                  <a:lnTo>
                    <a:pt x="190" y="322"/>
                  </a:lnTo>
                  <a:lnTo>
                    <a:pt x="188" y="324"/>
                  </a:lnTo>
                  <a:lnTo>
                    <a:pt x="186" y="325"/>
                  </a:lnTo>
                  <a:lnTo>
                    <a:pt x="185" y="325"/>
                  </a:lnTo>
                  <a:lnTo>
                    <a:pt x="185" y="327"/>
                  </a:lnTo>
                  <a:lnTo>
                    <a:pt x="184" y="327"/>
                  </a:lnTo>
                  <a:lnTo>
                    <a:pt x="184" y="326"/>
                  </a:lnTo>
                  <a:lnTo>
                    <a:pt x="183" y="326"/>
                  </a:lnTo>
                  <a:lnTo>
                    <a:pt x="182" y="327"/>
                  </a:lnTo>
                  <a:lnTo>
                    <a:pt x="182" y="328"/>
                  </a:lnTo>
                  <a:lnTo>
                    <a:pt x="179" y="327"/>
                  </a:lnTo>
                  <a:lnTo>
                    <a:pt x="178" y="326"/>
                  </a:lnTo>
                  <a:lnTo>
                    <a:pt x="179" y="328"/>
                  </a:lnTo>
                  <a:lnTo>
                    <a:pt x="178" y="328"/>
                  </a:lnTo>
                  <a:lnTo>
                    <a:pt x="176" y="330"/>
                  </a:lnTo>
                  <a:lnTo>
                    <a:pt x="173" y="328"/>
                  </a:lnTo>
                  <a:lnTo>
                    <a:pt x="173" y="327"/>
                  </a:lnTo>
                  <a:lnTo>
                    <a:pt x="171" y="331"/>
                  </a:lnTo>
                  <a:lnTo>
                    <a:pt x="171" y="330"/>
                  </a:lnTo>
                  <a:lnTo>
                    <a:pt x="171" y="328"/>
                  </a:lnTo>
                  <a:lnTo>
                    <a:pt x="172" y="326"/>
                  </a:lnTo>
                  <a:lnTo>
                    <a:pt x="171" y="327"/>
                  </a:lnTo>
                  <a:lnTo>
                    <a:pt x="170" y="325"/>
                  </a:lnTo>
                  <a:lnTo>
                    <a:pt x="168" y="325"/>
                  </a:lnTo>
                  <a:lnTo>
                    <a:pt x="168" y="328"/>
                  </a:lnTo>
                  <a:lnTo>
                    <a:pt x="167" y="328"/>
                  </a:lnTo>
                  <a:lnTo>
                    <a:pt x="167" y="330"/>
                  </a:lnTo>
                  <a:lnTo>
                    <a:pt x="166" y="332"/>
                  </a:lnTo>
                  <a:lnTo>
                    <a:pt x="165" y="333"/>
                  </a:lnTo>
                  <a:lnTo>
                    <a:pt x="164" y="332"/>
                  </a:lnTo>
                  <a:lnTo>
                    <a:pt x="165" y="330"/>
                  </a:lnTo>
                  <a:lnTo>
                    <a:pt x="165" y="326"/>
                  </a:lnTo>
                  <a:lnTo>
                    <a:pt x="164" y="326"/>
                  </a:lnTo>
                  <a:lnTo>
                    <a:pt x="164" y="327"/>
                  </a:lnTo>
                  <a:lnTo>
                    <a:pt x="162" y="332"/>
                  </a:lnTo>
                  <a:lnTo>
                    <a:pt x="161" y="332"/>
                  </a:lnTo>
                  <a:lnTo>
                    <a:pt x="161" y="330"/>
                  </a:lnTo>
                  <a:lnTo>
                    <a:pt x="161" y="328"/>
                  </a:lnTo>
                  <a:lnTo>
                    <a:pt x="160" y="327"/>
                  </a:lnTo>
                  <a:lnTo>
                    <a:pt x="160" y="326"/>
                  </a:lnTo>
                  <a:lnTo>
                    <a:pt x="160" y="325"/>
                  </a:lnTo>
                  <a:lnTo>
                    <a:pt x="159" y="328"/>
                  </a:lnTo>
                  <a:lnTo>
                    <a:pt x="159" y="331"/>
                  </a:lnTo>
                  <a:lnTo>
                    <a:pt x="156" y="331"/>
                  </a:lnTo>
                  <a:lnTo>
                    <a:pt x="155" y="332"/>
                  </a:lnTo>
                  <a:lnTo>
                    <a:pt x="154" y="328"/>
                  </a:lnTo>
                  <a:lnTo>
                    <a:pt x="153" y="332"/>
                  </a:lnTo>
                  <a:lnTo>
                    <a:pt x="153" y="333"/>
                  </a:lnTo>
                  <a:lnTo>
                    <a:pt x="154" y="334"/>
                  </a:lnTo>
                  <a:lnTo>
                    <a:pt x="151" y="336"/>
                  </a:lnTo>
                  <a:lnTo>
                    <a:pt x="150" y="336"/>
                  </a:lnTo>
                  <a:lnTo>
                    <a:pt x="150" y="333"/>
                  </a:lnTo>
                  <a:lnTo>
                    <a:pt x="149" y="332"/>
                  </a:lnTo>
                  <a:lnTo>
                    <a:pt x="148" y="331"/>
                  </a:lnTo>
                  <a:lnTo>
                    <a:pt x="148" y="328"/>
                  </a:lnTo>
                  <a:lnTo>
                    <a:pt x="148" y="327"/>
                  </a:lnTo>
                  <a:lnTo>
                    <a:pt x="147" y="328"/>
                  </a:lnTo>
                  <a:lnTo>
                    <a:pt x="145" y="330"/>
                  </a:lnTo>
                  <a:lnTo>
                    <a:pt x="144" y="332"/>
                  </a:lnTo>
                  <a:lnTo>
                    <a:pt x="144" y="331"/>
                  </a:lnTo>
                  <a:lnTo>
                    <a:pt x="143" y="330"/>
                  </a:lnTo>
                  <a:lnTo>
                    <a:pt x="142" y="331"/>
                  </a:lnTo>
                  <a:lnTo>
                    <a:pt x="142" y="333"/>
                  </a:lnTo>
                  <a:lnTo>
                    <a:pt x="141" y="334"/>
                  </a:lnTo>
                  <a:lnTo>
                    <a:pt x="139" y="332"/>
                  </a:lnTo>
                  <a:lnTo>
                    <a:pt x="137" y="332"/>
                  </a:lnTo>
                  <a:lnTo>
                    <a:pt x="137" y="333"/>
                  </a:lnTo>
                  <a:lnTo>
                    <a:pt x="136" y="333"/>
                  </a:lnTo>
                  <a:lnTo>
                    <a:pt x="136" y="331"/>
                  </a:lnTo>
                  <a:lnTo>
                    <a:pt x="135" y="328"/>
                  </a:lnTo>
                  <a:lnTo>
                    <a:pt x="132" y="327"/>
                  </a:lnTo>
                  <a:lnTo>
                    <a:pt x="132" y="328"/>
                  </a:lnTo>
                  <a:lnTo>
                    <a:pt x="131" y="328"/>
                  </a:lnTo>
                  <a:lnTo>
                    <a:pt x="130" y="330"/>
                  </a:lnTo>
                  <a:lnTo>
                    <a:pt x="129" y="332"/>
                  </a:lnTo>
                  <a:lnTo>
                    <a:pt x="127" y="331"/>
                  </a:lnTo>
                  <a:lnTo>
                    <a:pt x="127" y="330"/>
                  </a:lnTo>
                  <a:lnTo>
                    <a:pt x="121" y="332"/>
                  </a:lnTo>
                  <a:lnTo>
                    <a:pt x="123" y="331"/>
                  </a:lnTo>
                  <a:lnTo>
                    <a:pt x="125" y="330"/>
                  </a:lnTo>
                  <a:lnTo>
                    <a:pt x="127" y="328"/>
                  </a:lnTo>
                  <a:lnTo>
                    <a:pt x="125" y="327"/>
                  </a:lnTo>
                  <a:lnTo>
                    <a:pt x="129" y="327"/>
                  </a:lnTo>
                  <a:lnTo>
                    <a:pt x="127" y="326"/>
                  </a:lnTo>
                  <a:lnTo>
                    <a:pt x="127" y="325"/>
                  </a:lnTo>
                  <a:lnTo>
                    <a:pt x="130" y="325"/>
                  </a:lnTo>
                  <a:lnTo>
                    <a:pt x="132" y="324"/>
                  </a:lnTo>
                  <a:lnTo>
                    <a:pt x="135" y="324"/>
                  </a:lnTo>
                  <a:lnTo>
                    <a:pt x="137" y="322"/>
                  </a:lnTo>
                  <a:lnTo>
                    <a:pt x="138" y="321"/>
                  </a:lnTo>
                  <a:lnTo>
                    <a:pt x="141" y="319"/>
                  </a:lnTo>
                  <a:lnTo>
                    <a:pt x="142" y="318"/>
                  </a:lnTo>
                  <a:lnTo>
                    <a:pt x="143" y="316"/>
                  </a:lnTo>
                  <a:lnTo>
                    <a:pt x="142" y="315"/>
                  </a:lnTo>
                  <a:lnTo>
                    <a:pt x="138" y="316"/>
                  </a:lnTo>
                  <a:lnTo>
                    <a:pt x="139" y="315"/>
                  </a:lnTo>
                  <a:lnTo>
                    <a:pt x="141" y="314"/>
                  </a:lnTo>
                  <a:lnTo>
                    <a:pt x="142" y="312"/>
                  </a:lnTo>
                  <a:lnTo>
                    <a:pt x="143" y="313"/>
                  </a:lnTo>
                  <a:lnTo>
                    <a:pt x="143" y="314"/>
                  </a:lnTo>
                  <a:lnTo>
                    <a:pt x="145" y="313"/>
                  </a:lnTo>
                  <a:lnTo>
                    <a:pt x="149" y="314"/>
                  </a:lnTo>
                  <a:lnTo>
                    <a:pt x="156" y="312"/>
                  </a:lnTo>
                  <a:lnTo>
                    <a:pt x="160" y="310"/>
                  </a:lnTo>
                  <a:lnTo>
                    <a:pt x="160" y="309"/>
                  </a:lnTo>
                  <a:lnTo>
                    <a:pt x="161" y="310"/>
                  </a:lnTo>
                  <a:lnTo>
                    <a:pt x="164" y="310"/>
                  </a:lnTo>
                  <a:lnTo>
                    <a:pt x="165" y="309"/>
                  </a:lnTo>
                  <a:lnTo>
                    <a:pt x="166" y="308"/>
                  </a:lnTo>
                  <a:lnTo>
                    <a:pt x="167" y="308"/>
                  </a:lnTo>
                  <a:lnTo>
                    <a:pt x="173" y="307"/>
                  </a:lnTo>
                  <a:lnTo>
                    <a:pt x="177" y="307"/>
                  </a:lnTo>
                  <a:lnTo>
                    <a:pt x="178" y="307"/>
                  </a:lnTo>
                  <a:lnTo>
                    <a:pt x="180" y="306"/>
                  </a:lnTo>
                  <a:lnTo>
                    <a:pt x="182" y="306"/>
                  </a:lnTo>
                  <a:lnTo>
                    <a:pt x="185" y="306"/>
                  </a:lnTo>
                  <a:lnTo>
                    <a:pt x="188" y="304"/>
                  </a:lnTo>
                  <a:lnTo>
                    <a:pt x="156" y="303"/>
                  </a:lnTo>
                  <a:lnTo>
                    <a:pt x="158" y="303"/>
                  </a:lnTo>
                  <a:lnTo>
                    <a:pt x="160" y="302"/>
                  </a:lnTo>
                  <a:lnTo>
                    <a:pt x="165" y="301"/>
                  </a:lnTo>
                  <a:lnTo>
                    <a:pt x="166" y="301"/>
                  </a:lnTo>
                  <a:lnTo>
                    <a:pt x="168" y="301"/>
                  </a:lnTo>
                  <a:lnTo>
                    <a:pt x="172" y="301"/>
                  </a:lnTo>
                  <a:lnTo>
                    <a:pt x="172" y="300"/>
                  </a:lnTo>
                  <a:lnTo>
                    <a:pt x="174" y="300"/>
                  </a:lnTo>
                  <a:lnTo>
                    <a:pt x="176" y="301"/>
                  </a:lnTo>
                  <a:lnTo>
                    <a:pt x="180" y="301"/>
                  </a:lnTo>
                  <a:lnTo>
                    <a:pt x="183" y="301"/>
                  </a:lnTo>
                  <a:lnTo>
                    <a:pt x="186" y="300"/>
                  </a:lnTo>
                  <a:lnTo>
                    <a:pt x="190" y="298"/>
                  </a:lnTo>
                  <a:lnTo>
                    <a:pt x="194" y="298"/>
                  </a:lnTo>
                  <a:lnTo>
                    <a:pt x="198" y="297"/>
                  </a:lnTo>
                  <a:lnTo>
                    <a:pt x="203" y="297"/>
                  </a:lnTo>
                  <a:lnTo>
                    <a:pt x="206" y="295"/>
                  </a:lnTo>
                  <a:lnTo>
                    <a:pt x="208" y="295"/>
                  </a:lnTo>
                  <a:lnTo>
                    <a:pt x="208" y="296"/>
                  </a:lnTo>
                  <a:lnTo>
                    <a:pt x="209" y="297"/>
                  </a:lnTo>
                  <a:lnTo>
                    <a:pt x="210" y="297"/>
                  </a:lnTo>
                  <a:lnTo>
                    <a:pt x="213" y="296"/>
                  </a:lnTo>
                  <a:lnTo>
                    <a:pt x="216" y="295"/>
                  </a:lnTo>
                  <a:lnTo>
                    <a:pt x="218" y="295"/>
                  </a:lnTo>
                  <a:lnTo>
                    <a:pt x="221" y="295"/>
                  </a:lnTo>
                  <a:lnTo>
                    <a:pt x="223" y="296"/>
                  </a:lnTo>
                  <a:lnTo>
                    <a:pt x="225" y="295"/>
                  </a:lnTo>
                  <a:lnTo>
                    <a:pt x="226" y="294"/>
                  </a:lnTo>
                  <a:lnTo>
                    <a:pt x="230" y="294"/>
                  </a:lnTo>
                  <a:lnTo>
                    <a:pt x="233" y="294"/>
                  </a:lnTo>
                  <a:lnTo>
                    <a:pt x="233" y="292"/>
                  </a:lnTo>
                  <a:lnTo>
                    <a:pt x="235" y="290"/>
                  </a:lnTo>
                  <a:lnTo>
                    <a:pt x="238" y="289"/>
                  </a:lnTo>
                  <a:lnTo>
                    <a:pt x="239" y="289"/>
                  </a:lnTo>
                  <a:lnTo>
                    <a:pt x="242" y="288"/>
                  </a:lnTo>
                  <a:lnTo>
                    <a:pt x="244" y="285"/>
                  </a:lnTo>
                  <a:lnTo>
                    <a:pt x="248" y="283"/>
                  </a:lnTo>
                  <a:lnTo>
                    <a:pt x="250" y="282"/>
                  </a:lnTo>
                  <a:lnTo>
                    <a:pt x="250" y="276"/>
                  </a:lnTo>
                  <a:lnTo>
                    <a:pt x="250" y="273"/>
                  </a:lnTo>
                  <a:lnTo>
                    <a:pt x="249" y="273"/>
                  </a:lnTo>
                  <a:lnTo>
                    <a:pt x="248" y="276"/>
                  </a:lnTo>
                  <a:lnTo>
                    <a:pt x="247" y="276"/>
                  </a:lnTo>
                  <a:lnTo>
                    <a:pt x="245" y="274"/>
                  </a:lnTo>
                  <a:lnTo>
                    <a:pt x="247" y="272"/>
                  </a:lnTo>
                  <a:lnTo>
                    <a:pt x="245" y="272"/>
                  </a:lnTo>
                  <a:lnTo>
                    <a:pt x="244" y="273"/>
                  </a:lnTo>
                  <a:lnTo>
                    <a:pt x="245" y="276"/>
                  </a:lnTo>
                  <a:lnTo>
                    <a:pt x="245" y="278"/>
                  </a:lnTo>
                  <a:lnTo>
                    <a:pt x="247" y="280"/>
                  </a:lnTo>
                  <a:lnTo>
                    <a:pt x="247" y="282"/>
                  </a:lnTo>
                  <a:lnTo>
                    <a:pt x="245" y="283"/>
                  </a:lnTo>
                  <a:lnTo>
                    <a:pt x="244" y="283"/>
                  </a:lnTo>
                  <a:lnTo>
                    <a:pt x="243" y="284"/>
                  </a:lnTo>
                  <a:lnTo>
                    <a:pt x="242" y="285"/>
                  </a:lnTo>
                  <a:lnTo>
                    <a:pt x="239" y="288"/>
                  </a:lnTo>
                  <a:lnTo>
                    <a:pt x="238" y="286"/>
                  </a:lnTo>
                  <a:lnTo>
                    <a:pt x="237" y="288"/>
                  </a:lnTo>
                  <a:lnTo>
                    <a:pt x="235" y="288"/>
                  </a:lnTo>
                  <a:lnTo>
                    <a:pt x="233" y="290"/>
                  </a:lnTo>
                  <a:lnTo>
                    <a:pt x="233" y="289"/>
                  </a:lnTo>
                  <a:lnTo>
                    <a:pt x="233" y="288"/>
                  </a:lnTo>
                  <a:lnTo>
                    <a:pt x="235" y="285"/>
                  </a:lnTo>
                  <a:lnTo>
                    <a:pt x="235" y="284"/>
                  </a:lnTo>
                  <a:lnTo>
                    <a:pt x="235" y="282"/>
                  </a:lnTo>
                  <a:lnTo>
                    <a:pt x="236" y="279"/>
                  </a:lnTo>
                  <a:lnTo>
                    <a:pt x="235" y="277"/>
                  </a:lnTo>
                  <a:lnTo>
                    <a:pt x="235" y="274"/>
                  </a:lnTo>
                  <a:lnTo>
                    <a:pt x="233" y="276"/>
                  </a:lnTo>
                  <a:lnTo>
                    <a:pt x="235" y="277"/>
                  </a:lnTo>
                  <a:lnTo>
                    <a:pt x="235" y="278"/>
                  </a:lnTo>
                  <a:lnTo>
                    <a:pt x="233" y="277"/>
                  </a:lnTo>
                  <a:lnTo>
                    <a:pt x="232" y="278"/>
                  </a:lnTo>
                  <a:lnTo>
                    <a:pt x="233" y="279"/>
                  </a:lnTo>
                  <a:lnTo>
                    <a:pt x="232" y="280"/>
                  </a:lnTo>
                  <a:lnTo>
                    <a:pt x="231" y="280"/>
                  </a:lnTo>
                  <a:lnTo>
                    <a:pt x="231" y="279"/>
                  </a:lnTo>
                  <a:lnTo>
                    <a:pt x="231" y="277"/>
                  </a:lnTo>
                  <a:lnTo>
                    <a:pt x="231" y="276"/>
                  </a:lnTo>
                  <a:lnTo>
                    <a:pt x="229" y="276"/>
                  </a:lnTo>
                  <a:lnTo>
                    <a:pt x="229" y="278"/>
                  </a:lnTo>
                  <a:lnTo>
                    <a:pt x="229" y="280"/>
                  </a:lnTo>
                  <a:lnTo>
                    <a:pt x="227" y="282"/>
                  </a:lnTo>
                  <a:lnTo>
                    <a:pt x="226" y="282"/>
                  </a:lnTo>
                  <a:lnTo>
                    <a:pt x="225" y="280"/>
                  </a:lnTo>
                  <a:lnTo>
                    <a:pt x="225" y="282"/>
                  </a:lnTo>
                  <a:lnTo>
                    <a:pt x="225" y="283"/>
                  </a:lnTo>
                  <a:lnTo>
                    <a:pt x="224" y="284"/>
                  </a:lnTo>
                  <a:lnTo>
                    <a:pt x="223" y="283"/>
                  </a:lnTo>
                  <a:lnTo>
                    <a:pt x="223" y="284"/>
                  </a:lnTo>
                  <a:lnTo>
                    <a:pt x="221" y="284"/>
                  </a:lnTo>
                  <a:lnTo>
                    <a:pt x="220" y="283"/>
                  </a:lnTo>
                  <a:lnTo>
                    <a:pt x="219" y="282"/>
                  </a:lnTo>
                  <a:lnTo>
                    <a:pt x="220" y="284"/>
                  </a:lnTo>
                  <a:lnTo>
                    <a:pt x="220" y="288"/>
                  </a:lnTo>
                  <a:lnTo>
                    <a:pt x="219" y="289"/>
                  </a:lnTo>
                  <a:lnTo>
                    <a:pt x="218" y="286"/>
                  </a:lnTo>
                  <a:lnTo>
                    <a:pt x="218" y="285"/>
                  </a:lnTo>
                  <a:lnTo>
                    <a:pt x="218" y="283"/>
                  </a:lnTo>
                  <a:lnTo>
                    <a:pt x="216" y="282"/>
                  </a:lnTo>
                  <a:lnTo>
                    <a:pt x="218" y="285"/>
                  </a:lnTo>
                  <a:lnTo>
                    <a:pt x="218" y="288"/>
                  </a:lnTo>
                  <a:lnTo>
                    <a:pt x="218" y="289"/>
                  </a:lnTo>
                  <a:lnTo>
                    <a:pt x="216" y="289"/>
                  </a:lnTo>
                  <a:lnTo>
                    <a:pt x="216" y="288"/>
                  </a:lnTo>
                  <a:lnTo>
                    <a:pt x="215" y="289"/>
                  </a:lnTo>
                  <a:lnTo>
                    <a:pt x="215" y="290"/>
                  </a:lnTo>
                  <a:lnTo>
                    <a:pt x="214" y="292"/>
                  </a:lnTo>
                  <a:lnTo>
                    <a:pt x="213" y="292"/>
                  </a:lnTo>
                  <a:lnTo>
                    <a:pt x="213" y="289"/>
                  </a:lnTo>
                  <a:lnTo>
                    <a:pt x="213" y="288"/>
                  </a:lnTo>
                  <a:lnTo>
                    <a:pt x="210" y="288"/>
                  </a:lnTo>
                  <a:lnTo>
                    <a:pt x="209" y="286"/>
                  </a:lnTo>
                  <a:lnTo>
                    <a:pt x="208" y="285"/>
                  </a:lnTo>
                  <a:lnTo>
                    <a:pt x="210" y="283"/>
                  </a:lnTo>
                  <a:lnTo>
                    <a:pt x="213" y="280"/>
                  </a:lnTo>
                  <a:lnTo>
                    <a:pt x="213" y="279"/>
                  </a:lnTo>
                  <a:lnTo>
                    <a:pt x="210" y="279"/>
                  </a:lnTo>
                  <a:lnTo>
                    <a:pt x="210" y="282"/>
                  </a:lnTo>
                  <a:lnTo>
                    <a:pt x="208" y="280"/>
                  </a:lnTo>
                  <a:lnTo>
                    <a:pt x="207" y="279"/>
                  </a:lnTo>
                  <a:lnTo>
                    <a:pt x="207" y="278"/>
                  </a:lnTo>
                  <a:lnTo>
                    <a:pt x="207" y="277"/>
                  </a:lnTo>
                  <a:lnTo>
                    <a:pt x="206" y="278"/>
                  </a:lnTo>
                  <a:lnTo>
                    <a:pt x="204" y="279"/>
                  </a:lnTo>
                  <a:lnTo>
                    <a:pt x="203" y="278"/>
                  </a:lnTo>
                  <a:lnTo>
                    <a:pt x="203" y="277"/>
                  </a:lnTo>
                  <a:lnTo>
                    <a:pt x="202" y="276"/>
                  </a:lnTo>
                  <a:lnTo>
                    <a:pt x="202" y="274"/>
                  </a:lnTo>
                  <a:lnTo>
                    <a:pt x="202" y="272"/>
                  </a:lnTo>
                  <a:lnTo>
                    <a:pt x="200" y="273"/>
                  </a:lnTo>
                  <a:lnTo>
                    <a:pt x="198" y="272"/>
                  </a:lnTo>
                  <a:lnTo>
                    <a:pt x="200" y="266"/>
                  </a:lnTo>
                  <a:lnTo>
                    <a:pt x="198" y="262"/>
                  </a:lnTo>
                  <a:lnTo>
                    <a:pt x="198" y="265"/>
                  </a:lnTo>
                  <a:lnTo>
                    <a:pt x="197" y="264"/>
                  </a:lnTo>
                  <a:lnTo>
                    <a:pt x="197" y="261"/>
                  </a:lnTo>
                  <a:lnTo>
                    <a:pt x="230" y="219"/>
                  </a:lnTo>
                  <a:lnTo>
                    <a:pt x="196" y="261"/>
                  </a:lnTo>
                  <a:lnTo>
                    <a:pt x="229" y="218"/>
                  </a:lnTo>
                  <a:lnTo>
                    <a:pt x="226" y="218"/>
                  </a:lnTo>
                  <a:lnTo>
                    <a:pt x="219" y="224"/>
                  </a:lnTo>
                  <a:lnTo>
                    <a:pt x="218" y="225"/>
                  </a:lnTo>
                  <a:lnTo>
                    <a:pt x="218" y="229"/>
                  </a:lnTo>
                  <a:lnTo>
                    <a:pt x="218" y="230"/>
                  </a:lnTo>
                  <a:lnTo>
                    <a:pt x="218" y="229"/>
                  </a:lnTo>
                  <a:lnTo>
                    <a:pt x="216" y="230"/>
                  </a:lnTo>
                  <a:lnTo>
                    <a:pt x="216" y="229"/>
                  </a:lnTo>
                  <a:lnTo>
                    <a:pt x="215" y="226"/>
                  </a:lnTo>
                  <a:lnTo>
                    <a:pt x="216" y="225"/>
                  </a:lnTo>
                  <a:lnTo>
                    <a:pt x="223" y="218"/>
                  </a:lnTo>
                  <a:lnTo>
                    <a:pt x="221" y="217"/>
                  </a:lnTo>
                  <a:lnTo>
                    <a:pt x="220" y="215"/>
                  </a:lnTo>
                  <a:lnTo>
                    <a:pt x="220" y="214"/>
                  </a:lnTo>
                  <a:lnTo>
                    <a:pt x="221" y="212"/>
                  </a:lnTo>
                  <a:lnTo>
                    <a:pt x="220" y="209"/>
                  </a:lnTo>
                  <a:lnTo>
                    <a:pt x="219" y="207"/>
                  </a:lnTo>
                  <a:lnTo>
                    <a:pt x="219" y="209"/>
                  </a:lnTo>
                  <a:lnTo>
                    <a:pt x="215" y="209"/>
                  </a:lnTo>
                  <a:lnTo>
                    <a:pt x="214" y="211"/>
                  </a:lnTo>
                  <a:lnTo>
                    <a:pt x="213" y="209"/>
                  </a:lnTo>
                  <a:lnTo>
                    <a:pt x="213" y="208"/>
                  </a:lnTo>
                  <a:lnTo>
                    <a:pt x="212" y="208"/>
                  </a:lnTo>
                  <a:lnTo>
                    <a:pt x="212" y="213"/>
                  </a:lnTo>
                  <a:lnTo>
                    <a:pt x="213" y="214"/>
                  </a:lnTo>
                  <a:lnTo>
                    <a:pt x="212" y="214"/>
                  </a:lnTo>
                  <a:lnTo>
                    <a:pt x="209" y="214"/>
                  </a:lnTo>
                  <a:lnTo>
                    <a:pt x="209" y="213"/>
                  </a:lnTo>
                  <a:lnTo>
                    <a:pt x="210" y="209"/>
                  </a:lnTo>
                  <a:lnTo>
                    <a:pt x="210" y="206"/>
                  </a:lnTo>
                  <a:lnTo>
                    <a:pt x="209" y="205"/>
                  </a:lnTo>
                  <a:lnTo>
                    <a:pt x="208" y="205"/>
                  </a:lnTo>
                  <a:lnTo>
                    <a:pt x="208" y="202"/>
                  </a:lnTo>
                  <a:lnTo>
                    <a:pt x="206" y="202"/>
                  </a:lnTo>
                  <a:lnTo>
                    <a:pt x="207" y="201"/>
                  </a:lnTo>
                  <a:lnTo>
                    <a:pt x="207" y="199"/>
                  </a:lnTo>
                  <a:lnTo>
                    <a:pt x="206" y="199"/>
                  </a:lnTo>
                  <a:lnTo>
                    <a:pt x="204" y="200"/>
                  </a:lnTo>
                  <a:lnTo>
                    <a:pt x="202" y="200"/>
                  </a:lnTo>
                  <a:lnTo>
                    <a:pt x="201" y="199"/>
                  </a:lnTo>
                  <a:lnTo>
                    <a:pt x="200" y="197"/>
                  </a:lnTo>
                  <a:lnTo>
                    <a:pt x="201" y="195"/>
                  </a:lnTo>
                  <a:lnTo>
                    <a:pt x="201" y="193"/>
                  </a:lnTo>
                  <a:lnTo>
                    <a:pt x="200" y="193"/>
                  </a:lnTo>
                  <a:lnTo>
                    <a:pt x="197" y="194"/>
                  </a:lnTo>
                  <a:lnTo>
                    <a:pt x="197" y="193"/>
                  </a:lnTo>
                  <a:lnTo>
                    <a:pt x="200" y="191"/>
                  </a:lnTo>
                  <a:lnTo>
                    <a:pt x="200" y="189"/>
                  </a:lnTo>
                  <a:lnTo>
                    <a:pt x="201" y="189"/>
                  </a:lnTo>
                  <a:lnTo>
                    <a:pt x="203" y="189"/>
                  </a:lnTo>
                  <a:lnTo>
                    <a:pt x="204" y="188"/>
                  </a:lnTo>
                  <a:lnTo>
                    <a:pt x="203" y="187"/>
                  </a:lnTo>
                  <a:lnTo>
                    <a:pt x="201" y="187"/>
                  </a:lnTo>
                  <a:lnTo>
                    <a:pt x="200" y="187"/>
                  </a:lnTo>
                  <a:lnTo>
                    <a:pt x="200" y="188"/>
                  </a:lnTo>
                  <a:lnTo>
                    <a:pt x="198" y="189"/>
                  </a:lnTo>
                  <a:lnTo>
                    <a:pt x="198" y="190"/>
                  </a:lnTo>
                  <a:lnTo>
                    <a:pt x="197" y="191"/>
                  </a:lnTo>
                  <a:lnTo>
                    <a:pt x="197" y="190"/>
                  </a:lnTo>
                  <a:lnTo>
                    <a:pt x="196" y="191"/>
                  </a:lnTo>
                  <a:lnTo>
                    <a:pt x="195" y="190"/>
                  </a:lnTo>
                  <a:lnTo>
                    <a:pt x="196" y="189"/>
                  </a:lnTo>
                  <a:lnTo>
                    <a:pt x="196" y="188"/>
                  </a:lnTo>
                  <a:lnTo>
                    <a:pt x="195" y="187"/>
                  </a:lnTo>
                  <a:lnTo>
                    <a:pt x="195" y="188"/>
                  </a:lnTo>
                  <a:lnTo>
                    <a:pt x="194" y="188"/>
                  </a:lnTo>
                  <a:lnTo>
                    <a:pt x="192" y="187"/>
                  </a:lnTo>
                  <a:lnTo>
                    <a:pt x="192" y="185"/>
                  </a:lnTo>
                  <a:lnTo>
                    <a:pt x="194" y="185"/>
                  </a:lnTo>
                  <a:lnTo>
                    <a:pt x="195" y="185"/>
                  </a:lnTo>
                  <a:lnTo>
                    <a:pt x="196" y="185"/>
                  </a:lnTo>
                  <a:lnTo>
                    <a:pt x="197" y="184"/>
                  </a:lnTo>
                  <a:lnTo>
                    <a:pt x="198" y="183"/>
                  </a:lnTo>
                  <a:lnTo>
                    <a:pt x="196" y="183"/>
                  </a:lnTo>
                  <a:lnTo>
                    <a:pt x="195" y="182"/>
                  </a:lnTo>
                  <a:lnTo>
                    <a:pt x="198" y="182"/>
                  </a:lnTo>
                  <a:lnTo>
                    <a:pt x="198" y="181"/>
                  </a:lnTo>
                  <a:lnTo>
                    <a:pt x="195" y="181"/>
                  </a:lnTo>
                  <a:lnTo>
                    <a:pt x="194" y="181"/>
                  </a:lnTo>
                  <a:lnTo>
                    <a:pt x="191" y="181"/>
                  </a:lnTo>
                  <a:lnTo>
                    <a:pt x="191" y="179"/>
                  </a:lnTo>
                  <a:lnTo>
                    <a:pt x="190" y="179"/>
                  </a:lnTo>
                  <a:lnTo>
                    <a:pt x="189" y="181"/>
                  </a:lnTo>
                  <a:lnTo>
                    <a:pt x="189" y="179"/>
                  </a:lnTo>
                  <a:lnTo>
                    <a:pt x="190" y="178"/>
                  </a:lnTo>
                  <a:lnTo>
                    <a:pt x="189" y="178"/>
                  </a:lnTo>
                  <a:lnTo>
                    <a:pt x="189" y="177"/>
                  </a:lnTo>
                  <a:lnTo>
                    <a:pt x="188" y="178"/>
                  </a:lnTo>
                  <a:lnTo>
                    <a:pt x="185" y="178"/>
                  </a:lnTo>
                  <a:lnTo>
                    <a:pt x="184" y="178"/>
                  </a:lnTo>
                  <a:lnTo>
                    <a:pt x="188" y="177"/>
                  </a:lnTo>
                  <a:lnTo>
                    <a:pt x="188" y="176"/>
                  </a:lnTo>
                  <a:lnTo>
                    <a:pt x="184" y="176"/>
                  </a:lnTo>
                  <a:lnTo>
                    <a:pt x="183" y="175"/>
                  </a:lnTo>
                  <a:lnTo>
                    <a:pt x="188" y="175"/>
                  </a:lnTo>
                  <a:lnTo>
                    <a:pt x="189" y="175"/>
                  </a:lnTo>
                  <a:lnTo>
                    <a:pt x="190" y="175"/>
                  </a:lnTo>
                  <a:lnTo>
                    <a:pt x="190" y="173"/>
                  </a:lnTo>
                  <a:lnTo>
                    <a:pt x="191" y="172"/>
                  </a:lnTo>
                  <a:lnTo>
                    <a:pt x="191" y="176"/>
                  </a:lnTo>
                  <a:lnTo>
                    <a:pt x="192" y="176"/>
                  </a:lnTo>
                  <a:lnTo>
                    <a:pt x="194" y="176"/>
                  </a:lnTo>
                  <a:lnTo>
                    <a:pt x="194" y="177"/>
                  </a:lnTo>
                  <a:lnTo>
                    <a:pt x="195" y="178"/>
                  </a:lnTo>
                  <a:lnTo>
                    <a:pt x="196" y="178"/>
                  </a:lnTo>
                  <a:lnTo>
                    <a:pt x="197" y="177"/>
                  </a:lnTo>
                  <a:lnTo>
                    <a:pt x="197" y="176"/>
                  </a:lnTo>
                  <a:lnTo>
                    <a:pt x="198" y="176"/>
                  </a:lnTo>
                  <a:lnTo>
                    <a:pt x="198" y="177"/>
                  </a:lnTo>
                  <a:lnTo>
                    <a:pt x="200" y="178"/>
                  </a:lnTo>
                  <a:lnTo>
                    <a:pt x="200" y="179"/>
                  </a:lnTo>
                  <a:lnTo>
                    <a:pt x="200" y="181"/>
                  </a:lnTo>
                  <a:lnTo>
                    <a:pt x="201" y="181"/>
                  </a:lnTo>
                  <a:lnTo>
                    <a:pt x="201" y="182"/>
                  </a:lnTo>
                  <a:lnTo>
                    <a:pt x="202" y="181"/>
                  </a:lnTo>
                  <a:lnTo>
                    <a:pt x="202" y="179"/>
                  </a:lnTo>
                  <a:lnTo>
                    <a:pt x="203" y="178"/>
                  </a:lnTo>
                  <a:lnTo>
                    <a:pt x="204" y="178"/>
                  </a:lnTo>
                  <a:lnTo>
                    <a:pt x="206" y="179"/>
                  </a:lnTo>
                  <a:lnTo>
                    <a:pt x="207" y="178"/>
                  </a:lnTo>
                  <a:lnTo>
                    <a:pt x="207" y="177"/>
                  </a:lnTo>
                  <a:lnTo>
                    <a:pt x="206" y="177"/>
                  </a:lnTo>
                  <a:lnTo>
                    <a:pt x="204" y="177"/>
                  </a:lnTo>
                  <a:lnTo>
                    <a:pt x="203" y="176"/>
                  </a:lnTo>
                  <a:lnTo>
                    <a:pt x="203" y="175"/>
                  </a:lnTo>
                  <a:lnTo>
                    <a:pt x="202" y="175"/>
                  </a:lnTo>
                  <a:lnTo>
                    <a:pt x="201" y="175"/>
                  </a:lnTo>
                  <a:lnTo>
                    <a:pt x="200" y="175"/>
                  </a:lnTo>
                  <a:lnTo>
                    <a:pt x="200" y="173"/>
                  </a:lnTo>
                  <a:lnTo>
                    <a:pt x="200" y="172"/>
                  </a:lnTo>
                  <a:lnTo>
                    <a:pt x="198" y="173"/>
                  </a:lnTo>
                  <a:lnTo>
                    <a:pt x="197" y="173"/>
                  </a:lnTo>
                  <a:lnTo>
                    <a:pt x="198" y="173"/>
                  </a:lnTo>
                  <a:lnTo>
                    <a:pt x="198" y="175"/>
                  </a:lnTo>
                  <a:lnTo>
                    <a:pt x="197" y="175"/>
                  </a:lnTo>
                  <a:lnTo>
                    <a:pt x="196" y="173"/>
                  </a:lnTo>
                  <a:lnTo>
                    <a:pt x="195" y="173"/>
                  </a:lnTo>
                  <a:lnTo>
                    <a:pt x="195" y="175"/>
                  </a:lnTo>
                  <a:lnTo>
                    <a:pt x="195" y="173"/>
                  </a:lnTo>
                  <a:lnTo>
                    <a:pt x="197" y="172"/>
                  </a:lnTo>
                  <a:lnTo>
                    <a:pt x="197" y="171"/>
                  </a:lnTo>
                  <a:lnTo>
                    <a:pt x="195" y="171"/>
                  </a:lnTo>
                  <a:lnTo>
                    <a:pt x="194" y="171"/>
                  </a:lnTo>
                  <a:lnTo>
                    <a:pt x="194" y="170"/>
                  </a:lnTo>
                  <a:lnTo>
                    <a:pt x="192" y="170"/>
                  </a:lnTo>
                  <a:lnTo>
                    <a:pt x="196" y="170"/>
                  </a:lnTo>
                  <a:lnTo>
                    <a:pt x="198" y="171"/>
                  </a:lnTo>
                  <a:lnTo>
                    <a:pt x="202" y="171"/>
                  </a:lnTo>
                  <a:lnTo>
                    <a:pt x="204" y="173"/>
                  </a:lnTo>
                  <a:lnTo>
                    <a:pt x="204" y="175"/>
                  </a:lnTo>
                  <a:lnTo>
                    <a:pt x="206" y="176"/>
                  </a:lnTo>
                  <a:lnTo>
                    <a:pt x="207" y="176"/>
                  </a:lnTo>
                  <a:lnTo>
                    <a:pt x="208" y="175"/>
                  </a:lnTo>
                  <a:lnTo>
                    <a:pt x="208" y="173"/>
                  </a:lnTo>
                  <a:lnTo>
                    <a:pt x="206" y="173"/>
                  </a:lnTo>
                  <a:lnTo>
                    <a:pt x="209" y="173"/>
                  </a:lnTo>
                  <a:lnTo>
                    <a:pt x="209" y="171"/>
                  </a:lnTo>
                  <a:lnTo>
                    <a:pt x="210" y="171"/>
                  </a:lnTo>
                  <a:lnTo>
                    <a:pt x="210" y="173"/>
                  </a:lnTo>
                  <a:lnTo>
                    <a:pt x="210" y="175"/>
                  </a:lnTo>
                  <a:lnTo>
                    <a:pt x="210" y="176"/>
                  </a:lnTo>
                  <a:lnTo>
                    <a:pt x="213" y="178"/>
                  </a:lnTo>
                  <a:lnTo>
                    <a:pt x="214" y="179"/>
                  </a:lnTo>
                  <a:lnTo>
                    <a:pt x="216" y="179"/>
                  </a:lnTo>
                  <a:lnTo>
                    <a:pt x="218" y="179"/>
                  </a:lnTo>
                  <a:lnTo>
                    <a:pt x="219" y="179"/>
                  </a:lnTo>
                  <a:lnTo>
                    <a:pt x="219" y="177"/>
                  </a:lnTo>
                  <a:lnTo>
                    <a:pt x="220" y="178"/>
                  </a:lnTo>
                  <a:lnTo>
                    <a:pt x="221" y="178"/>
                  </a:lnTo>
                  <a:lnTo>
                    <a:pt x="221" y="177"/>
                  </a:lnTo>
                  <a:lnTo>
                    <a:pt x="221" y="176"/>
                  </a:lnTo>
                  <a:lnTo>
                    <a:pt x="223" y="177"/>
                  </a:lnTo>
                  <a:lnTo>
                    <a:pt x="224" y="177"/>
                  </a:lnTo>
                  <a:lnTo>
                    <a:pt x="225" y="176"/>
                  </a:lnTo>
                  <a:lnTo>
                    <a:pt x="226" y="173"/>
                  </a:lnTo>
                  <a:lnTo>
                    <a:pt x="225" y="173"/>
                  </a:lnTo>
                  <a:lnTo>
                    <a:pt x="224" y="173"/>
                  </a:lnTo>
                  <a:lnTo>
                    <a:pt x="223" y="173"/>
                  </a:lnTo>
                  <a:lnTo>
                    <a:pt x="223" y="172"/>
                  </a:lnTo>
                  <a:lnTo>
                    <a:pt x="221" y="171"/>
                  </a:lnTo>
                  <a:lnTo>
                    <a:pt x="220" y="170"/>
                  </a:lnTo>
                  <a:lnTo>
                    <a:pt x="219" y="170"/>
                  </a:lnTo>
                  <a:lnTo>
                    <a:pt x="218" y="170"/>
                  </a:lnTo>
                  <a:lnTo>
                    <a:pt x="216" y="170"/>
                  </a:lnTo>
                  <a:lnTo>
                    <a:pt x="216" y="169"/>
                  </a:lnTo>
                  <a:lnTo>
                    <a:pt x="216" y="167"/>
                  </a:lnTo>
                  <a:lnTo>
                    <a:pt x="215" y="167"/>
                  </a:lnTo>
                  <a:lnTo>
                    <a:pt x="213" y="169"/>
                  </a:lnTo>
                  <a:lnTo>
                    <a:pt x="212" y="169"/>
                  </a:lnTo>
                  <a:lnTo>
                    <a:pt x="212" y="167"/>
                  </a:lnTo>
                  <a:lnTo>
                    <a:pt x="214" y="166"/>
                  </a:lnTo>
                  <a:lnTo>
                    <a:pt x="215" y="166"/>
                  </a:lnTo>
                  <a:lnTo>
                    <a:pt x="215" y="165"/>
                  </a:lnTo>
                  <a:lnTo>
                    <a:pt x="214" y="165"/>
                  </a:lnTo>
                  <a:lnTo>
                    <a:pt x="215" y="165"/>
                  </a:lnTo>
                  <a:lnTo>
                    <a:pt x="216" y="165"/>
                  </a:lnTo>
                  <a:lnTo>
                    <a:pt x="215" y="164"/>
                  </a:lnTo>
                  <a:lnTo>
                    <a:pt x="214" y="161"/>
                  </a:lnTo>
                  <a:lnTo>
                    <a:pt x="215" y="161"/>
                  </a:lnTo>
                  <a:lnTo>
                    <a:pt x="216" y="164"/>
                  </a:lnTo>
                  <a:lnTo>
                    <a:pt x="218" y="164"/>
                  </a:lnTo>
                  <a:lnTo>
                    <a:pt x="220" y="164"/>
                  </a:lnTo>
                  <a:lnTo>
                    <a:pt x="220" y="165"/>
                  </a:lnTo>
                  <a:lnTo>
                    <a:pt x="221" y="165"/>
                  </a:lnTo>
                  <a:lnTo>
                    <a:pt x="221" y="166"/>
                  </a:lnTo>
                  <a:lnTo>
                    <a:pt x="223" y="167"/>
                  </a:lnTo>
                  <a:lnTo>
                    <a:pt x="225" y="167"/>
                  </a:lnTo>
                  <a:lnTo>
                    <a:pt x="226" y="166"/>
                  </a:lnTo>
                  <a:lnTo>
                    <a:pt x="227" y="169"/>
                  </a:lnTo>
                  <a:lnTo>
                    <a:pt x="230" y="169"/>
                  </a:lnTo>
                  <a:lnTo>
                    <a:pt x="230" y="167"/>
                  </a:lnTo>
                  <a:lnTo>
                    <a:pt x="231" y="167"/>
                  </a:lnTo>
                  <a:lnTo>
                    <a:pt x="231" y="170"/>
                  </a:lnTo>
                  <a:lnTo>
                    <a:pt x="232" y="171"/>
                  </a:lnTo>
                  <a:lnTo>
                    <a:pt x="235" y="171"/>
                  </a:lnTo>
                  <a:lnTo>
                    <a:pt x="237" y="170"/>
                  </a:lnTo>
                  <a:lnTo>
                    <a:pt x="238" y="169"/>
                  </a:lnTo>
                  <a:lnTo>
                    <a:pt x="241" y="167"/>
                  </a:lnTo>
                  <a:lnTo>
                    <a:pt x="242" y="165"/>
                  </a:lnTo>
                  <a:lnTo>
                    <a:pt x="242" y="164"/>
                  </a:lnTo>
                  <a:lnTo>
                    <a:pt x="242" y="163"/>
                  </a:lnTo>
                  <a:lnTo>
                    <a:pt x="241" y="163"/>
                  </a:lnTo>
                  <a:lnTo>
                    <a:pt x="243" y="163"/>
                  </a:lnTo>
                  <a:lnTo>
                    <a:pt x="243" y="161"/>
                  </a:lnTo>
                  <a:lnTo>
                    <a:pt x="243" y="160"/>
                  </a:lnTo>
                  <a:lnTo>
                    <a:pt x="241" y="160"/>
                  </a:lnTo>
                  <a:lnTo>
                    <a:pt x="239" y="160"/>
                  </a:lnTo>
                  <a:lnTo>
                    <a:pt x="241" y="160"/>
                  </a:lnTo>
                  <a:lnTo>
                    <a:pt x="241" y="159"/>
                  </a:lnTo>
                  <a:lnTo>
                    <a:pt x="244" y="159"/>
                  </a:lnTo>
                  <a:lnTo>
                    <a:pt x="244" y="158"/>
                  </a:lnTo>
                  <a:lnTo>
                    <a:pt x="244" y="155"/>
                  </a:lnTo>
                  <a:lnTo>
                    <a:pt x="243" y="155"/>
                  </a:lnTo>
                  <a:lnTo>
                    <a:pt x="242" y="155"/>
                  </a:lnTo>
                  <a:lnTo>
                    <a:pt x="242" y="158"/>
                  </a:lnTo>
                  <a:lnTo>
                    <a:pt x="241" y="158"/>
                  </a:lnTo>
                  <a:lnTo>
                    <a:pt x="241" y="157"/>
                  </a:lnTo>
                  <a:lnTo>
                    <a:pt x="239" y="155"/>
                  </a:lnTo>
                  <a:lnTo>
                    <a:pt x="238" y="157"/>
                  </a:lnTo>
                  <a:lnTo>
                    <a:pt x="238" y="155"/>
                  </a:lnTo>
                  <a:lnTo>
                    <a:pt x="238" y="154"/>
                  </a:lnTo>
                  <a:lnTo>
                    <a:pt x="237" y="154"/>
                  </a:lnTo>
                  <a:lnTo>
                    <a:pt x="237" y="155"/>
                  </a:lnTo>
                  <a:lnTo>
                    <a:pt x="237" y="157"/>
                  </a:lnTo>
                  <a:lnTo>
                    <a:pt x="236" y="155"/>
                  </a:lnTo>
                  <a:lnTo>
                    <a:pt x="235" y="154"/>
                  </a:lnTo>
                  <a:lnTo>
                    <a:pt x="235" y="155"/>
                  </a:lnTo>
                  <a:lnTo>
                    <a:pt x="233" y="155"/>
                  </a:lnTo>
                  <a:lnTo>
                    <a:pt x="233" y="154"/>
                  </a:lnTo>
                  <a:lnTo>
                    <a:pt x="232" y="154"/>
                  </a:lnTo>
                  <a:lnTo>
                    <a:pt x="231" y="151"/>
                  </a:lnTo>
                  <a:lnTo>
                    <a:pt x="231" y="152"/>
                  </a:lnTo>
                  <a:lnTo>
                    <a:pt x="231" y="153"/>
                  </a:lnTo>
                  <a:lnTo>
                    <a:pt x="230" y="153"/>
                  </a:lnTo>
                  <a:lnTo>
                    <a:pt x="229" y="153"/>
                  </a:lnTo>
                  <a:lnTo>
                    <a:pt x="229" y="152"/>
                  </a:lnTo>
                  <a:lnTo>
                    <a:pt x="227" y="152"/>
                  </a:lnTo>
                  <a:lnTo>
                    <a:pt x="226" y="151"/>
                  </a:lnTo>
                  <a:lnTo>
                    <a:pt x="225" y="149"/>
                  </a:lnTo>
                  <a:lnTo>
                    <a:pt x="225" y="148"/>
                  </a:lnTo>
                  <a:lnTo>
                    <a:pt x="224" y="147"/>
                  </a:lnTo>
                  <a:lnTo>
                    <a:pt x="223" y="147"/>
                  </a:lnTo>
                  <a:lnTo>
                    <a:pt x="224" y="146"/>
                  </a:lnTo>
                  <a:lnTo>
                    <a:pt x="224" y="145"/>
                  </a:lnTo>
                  <a:lnTo>
                    <a:pt x="221" y="146"/>
                  </a:lnTo>
                  <a:lnTo>
                    <a:pt x="221" y="145"/>
                  </a:lnTo>
                  <a:lnTo>
                    <a:pt x="224" y="143"/>
                  </a:lnTo>
                  <a:lnTo>
                    <a:pt x="224" y="142"/>
                  </a:lnTo>
                  <a:lnTo>
                    <a:pt x="223" y="142"/>
                  </a:lnTo>
                  <a:lnTo>
                    <a:pt x="223" y="143"/>
                  </a:lnTo>
                  <a:lnTo>
                    <a:pt x="221" y="143"/>
                  </a:lnTo>
                  <a:lnTo>
                    <a:pt x="220" y="143"/>
                  </a:lnTo>
                  <a:lnTo>
                    <a:pt x="219" y="143"/>
                  </a:lnTo>
                  <a:lnTo>
                    <a:pt x="219" y="142"/>
                  </a:lnTo>
                  <a:lnTo>
                    <a:pt x="218" y="142"/>
                  </a:lnTo>
                  <a:lnTo>
                    <a:pt x="218" y="143"/>
                  </a:lnTo>
                  <a:lnTo>
                    <a:pt x="216" y="142"/>
                  </a:lnTo>
                  <a:lnTo>
                    <a:pt x="218" y="142"/>
                  </a:lnTo>
                  <a:lnTo>
                    <a:pt x="219" y="141"/>
                  </a:lnTo>
                  <a:lnTo>
                    <a:pt x="220" y="140"/>
                  </a:lnTo>
                  <a:lnTo>
                    <a:pt x="221" y="140"/>
                  </a:lnTo>
                  <a:lnTo>
                    <a:pt x="224" y="139"/>
                  </a:lnTo>
                  <a:lnTo>
                    <a:pt x="220" y="139"/>
                  </a:lnTo>
                  <a:lnTo>
                    <a:pt x="220" y="137"/>
                  </a:lnTo>
                  <a:lnTo>
                    <a:pt x="219" y="137"/>
                  </a:lnTo>
                  <a:lnTo>
                    <a:pt x="216" y="140"/>
                  </a:lnTo>
                  <a:lnTo>
                    <a:pt x="215" y="140"/>
                  </a:lnTo>
                  <a:lnTo>
                    <a:pt x="215" y="139"/>
                  </a:lnTo>
                  <a:lnTo>
                    <a:pt x="218" y="136"/>
                  </a:lnTo>
                  <a:lnTo>
                    <a:pt x="216" y="136"/>
                  </a:lnTo>
                  <a:lnTo>
                    <a:pt x="215" y="136"/>
                  </a:lnTo>
                  <a:lnTo>
                    <a:pt x="212" y="139"/>
                  </a:lnTo>
                  <a:lnTo>
                    <a:pt x="210" y="137"/>
                  </a:lnTo>
                  <a:lnTo>
                    <a:pt x="214" y="135"/>
                  </a:lnTo>
                  <a:lnTo>
                    <a:pt x="212" y="135"/>
                  </a:lnTo>
                  <a:lnTo>
                    <a:pt x="208" y="135"/>
                  </a:lnTo>
                  <a:lnTo>
                    <a:pt x="208" y="136"/>
                  </a:lnTo>
                  <a:lnTo>
                    <a:pt x="207" y="135"/>
                  </a:lnTo>
                  <a:lnTo>
                    <a:pt x="208" y="135"/>
                  </a:lnTo>
                  <a:lnTo>
                    <a:pt x="208" y="134"/>
                  </a:lnTo>
                  <a:lnTo>
                    <a:pt x="207" y="134"/>
                  </a:lnTo>
                  <a:lnTo>
                    <a:pt x="207" y="131"/>
                  </a:lnTo>
                  <a:lnTo>
                    <a:pt x="204" y="131"/>
                  </a:lnTo>
                  <a:lnTo>
                    <a:pt x="203" y="131"/>
                  </a:lnTo>
                  <a:lnTo>
                    <a:pt x="204" y="130"/>
                  </a:lnTo>
                  <a:lnTo>
                    <a:pt x="204" y="129"/>
                  </a:lnTo>
                  <a:lnTo>
                    <a:pt x="203" y="129"/>
                  </a:lnTo>
                  <a:lnTo>
                    <a:pt x="200" y="129"/>
                  </a:lnTo>
                  <a:lnTo>
                    <a:pt x="198" y="130"/>
                  </a:lnTo>
                  <a:lnTo>
                    <a:pt x="197" y="129"/>
                  </a:lnTo>
                  <a:lnTo>
                    <a:pt x="200" y="128"/>
                  </a:lnTo>
                  <a:lnTo>
                    <a:pt x="201" y="128"/>
                  </a:lnTo>
                  <a:lnTo>
                    <a:pt x="200" y="125"/>
                  </a:lnTo>
                  <a:lnTo>
                    <a:pt x="197" y="124"/>
                  </a:lnTo>
                  <a:lnTo>
                    <a:pt x="198" y="124"/>
                  </a:lnTo>
                  <a:lnTo>
                    <a:pt x="200" y="124"/>
                  </a:lnTo>
                  <a:lnTo>
                    <a:pt x="202" y="125"/>
                  </a:lnTo>
                  <a:lnTo>
                    <a:pt x="206" y="127"/>
                  </a:lnTo>
                  <a:lnTo>
                    <a:pt x="207" y="128"/>
                  </a:lnTo>
                  <a:lnTo>
                    <a:pt x="207" y="129"/>
                  </a:lnTo>
                  <a:lnTo>
                    <a:pt x="207" y="130"/>
                  </a:lnTo>
                  <a:lnTo>
                    <a:pt x="208" y="129"/>
                  </a:lnTo>
                  <a:lnTo>
                    <a:pt x="207" y="128"/>
                  </a:lnTo>
                  <a:lnTo>
                    <a:pt x="208" y="128"/>
                  </a:lnTo>
                  <a:lnTo>
                    <a:pt x="209" y="129"/>
                  </a:lnTo>
                  <a:lnTo>
                    <a:pt x="209" y="130"/>
                  </a:lnTo>
                  <a:lnTo>
                    <a:pt x="212" y="130"/>
                  </a:lnTo>
                  <a:lnTo>
                    <a:pt x="212" y="131"/>
                  </a:lnTo>
                  <a:lnTo>
                    <a:pt x="213" y="130"/>
                  </a:lnTo>
                  <a:lnTo>
                    <a:pt x="214" y="129"/>
                  </a:lnTo>
                  <a:lnTo>
                    <a:pt x="214" y="128"/>
                  </a:lnTo>
                  <a:lnTo>
                    <a:pt x="215" y="129"/>
                  </a:lnTo>
                  <a:lnTo>
                    <a:pt x="215" y="131"/>
                  </a:lnTo>
                  <a:lnTo>
                    <a:pt x="215" y="134"/>
                  </a:lnTo>
                  <a:lnTo>
                    <a:pt x="218" y="135"/>
                  </a:lnTo>
                  <a:lnTo>
                    <a:pt x="218" y="133"/>
                  </a:lnTo>
                  <a:lnTo>
                    <a:pt x="219" y="133"/>
                  </a:lnTo>
                  <a:lnTo>
                    <a:pt x="219" y="134"/>
                  </a:lnTo>
                  <a:lnTo>
                    <a:pt x="220" y="134"/>
                  </a:lnTo>
                  <a:lnTo>
                    <a:pt x="220" y="135"/>
                  </a:lnTo>
                  <a:lnTo>
                    <a:pt x="221" y="136"/>
                  </a:lnTo>
                  <a:lnTo>
                    <a:pt x="225" y="136"/>
                  </a:lnTo>
                  <a:lnTo>
                    <a:pt x="226" y="134"/>
                  </a:lnTo>
                  <a:lnTo>
                    <a:pt x="226" y="135"/>
                  </a:lnTo>
                  <a:lnTo>
                    <a:pt x="226" y="136"/>
                  </a:lnTo>
                  <a:lnTo>
                    <a:pt x="233" y="141"/>
                  </a:lnTo>
                  <a:lnTo>
                    <a:pt x="236" y="142"/>
                  </a:lnTo>
                  <a:lnTo>
                    <a:pt x="238" y="142"/>
                  </a:lnTo>
                  <a:lnTo>
                    <a:pt x="239" y="142"/>
                  </a:lnTo>
                  <a:lnTo>
                    <a:pt x="241" y="143"/>
                  </a:lnTo>
                  <a:lnTo>
                    <a:pt x="241" y="145"/>
                  </a:lnTo>
                  <a:lnTo>
                    <a:pt x="242" y="145"/>
                  </a:lnTo>
                  <a:lnTo>
                    <a:pt x="243" y="143"/>
                  </a:lnTo>
                  <a:lnTo>
                    <a:pt x="245" y="143"/>
                  </a:lnTo>
                  <a:lnTo>
                    <a:pt x="245" y="145"/>
                  </a:lnTo>
                  <a:lnTo>
                    <a:pt x="248" y="145"/>
                  </a:lnTo>
                  <a:lnTo>
                    <a:pt x="249" y="143"/>
                  </a:lnTo>
                  <a:lnTo>
                    <a:pt x="251" y="142"/>
                  </a:lnTo>
                  <a:lnTo>
                    <a:pt x="254" y="141"/>
                  </a:lnTo>
                  <a:lnTo>
                    <a:pt x="255" y="141"/>
                  </a:lnTo>
                  <a:lnTo>
                    <a:pt x="256" y="141"/>
                  </a:lnTo>
                  <a:lnTo>
                    <a:pt x="260" y="141"/>
                  </a:lnTo>
                  <a:lnTo>
                    <a:pt x="262" y="141"/>
                  </a:lnTo>
                  <a:lnTo>
                    <a:pt x="262" y="140"/>
                  </a:lnTo>
                  <a:lnTo>
                    <a:pt x="262" y="137"/>
                  </a:lnTo>
                  <a:lnTo>
                    <a:pt x="263" y="136"/>
                  </a:lnTo>
                  <a:lnTo>
                    <a:pt x="262" y="136"/>
                  </a:lnTo>
                  <a:lnTo>
                    <a:pt x="261" y="137"/>
                  </a:lnTo>
                  <a:lnTo>
                    <a:pt x="259" y="139"/>
                  </a:lnTo>
                  <a:lnTo>
                    <a:pt x="257" y="139"/>
                  </a:lnTo>
                  <a:lnTo>
                    <a:pt x="256" y="139"/>
                  </a:lnTo>
                  <a:lnTo>
                    <a:pt x="257" y="137"/>
                  </a:lnTo>
                  <a:lnTo>
                    <a:pt x="260" y="136"/>
                  </a:lnTo>
                  <a:lnTo>
                    <a:pt x="261" y="135"/>
                  </a:lnTo>
                  <a:lnTo>
                    <a:pt x="262" y="135"/>
                  </a:lnTo>
                  <a:lnTo>
                    <a:pt x="262" y="134"/>
                  </a:lnTo>
                  <a:lnTo>
                    <a:pt x="261" y="134"/>
                  </a:lnTo>
                  <a:lnTo>
                    <a:pt x="261" y="133"/>
                  </a:lnTo>
                  <a:lnTo>
                    <a:pt x="262" y="131"/>
                  </a:lnTo>
                  <a:lnTo>
                    <a:pt x="261" y="130"/>
                  </a:lnTo>
                  <a:lnTo>
                    <a:pt x="260" y="130"/>
                  </a:lnTo>
                  <a:lnTo>
                    <a:pt x="259" y="129"/>
                  </a:lnTo>
                  <a:lnTo>
                    <a:pt x="257" y="129"/>
                  </a:lnTo>
                  <a:lnTo>
                    <a:pt x="259" y="129"/>
                  </a:lnTo>
                  <a:lnTo>
                    <a:pt x="261" y="129"/>
                  </a:lnTo>
                  <a:lnTo>
                    <a:pt x="265" y="130"/>
                  </a:lnTo>
                  <a:lnTo>
                    <a:pt x="266" y="130"/>
                  </a:lnTo>
                  <a:lnTo>
                    <a:pt x="271" y="125"/>
                  </a:lnTo>
                  <a:lnTo>
                    <a:pt x="272" y="127"/>
                  </a:lnTo>
                  <a:lnTo>
                    <a:pt x="273" y="125"/>
                  </a:lnTo>
                  <a:lnTo>
                    <a:pt x="273" y="124"/>
                  </a:lnTo>
                  <a:lnTo>
                    <a:pt x="274" y="123"/>
                  </a:lnTo>
                  <a:lnTo>
                    <a:pt x="277" y="123"/>
                  </a:lnTo>
                  <a:lnTo>
                    <a:pt x="277" y="122"/>
                  </a:lnTo>
                  <a:lnTo>
                    <a:pt x="278" y="122"/>
                  </a:lnTo>
                  <a:lnTo>
                    <a:pt x="279" y="120"/>
                  </a:lnTo>
                  <a:lnTo>
                    <a:pt x="279" y="119"/>
                  </a:lnTo>
                  <a:lnTo>
                    <a:pt x="279" y="117"/>
                  </a:lnTo>
                  <a:lnTo>
                    <a:pt x="279" y="116"/>
                  </a:lnTo>
                  <a:lnTo>
                    <a:pt x="278" y="116"/>
                  </a:lnTo>
                  <a:lnTo>
                    <a:pt x="279" y="114"/>
                  </a:lnTo>
                  <a:lnTo>
                    <a:pt x="279" y="113"/>
                  </a:lnTo>
                  <a:lnTo>
                    <a:pt x="277" y="112"/>
                  </a:lnTo>
                  <a:lnTo>
                    <a:pt x="277" y="111"/>
                  </a:lnTo>
                  <a:lnTo>
                    <a:pt x="275" y="112"/>
                  </a:lnTo>
                  <a:lnTo>
                    <a:pt x="275" y="113"/>
                  </a:lnTo>
                  <a:lnTo>
                    <a:pt x="274" y="113"/>
                  </a:lnTo>
                  <a:lnTo>
                    <a:pt x="273" y="114"/>
                  </a:lnTo>
                  <a:lnTo>
                    <a:pt x="272" y="114"/>
                  </a:lnTo>
                  <a:lnTo>
                    <a:pt x="272" y="117"/>
                  </a:lnTo>
                  <a:lnTo>
                    <a:pt x="271" y="116"/>
                  </a:lnTo>
                  <a:lnTo>
                    <a:pt x="271" y="114"/>
                  </a:lnTo>
                  <a:lnTo>
                    <a:pt x="271" y="113"/>
                  </a:lnTo>
                  <a:lnTo>
                    <a:pt x="269" y="113"/>
                  </a:lnTo>
                  <a:lnTo>
                    <a:pt x="267" y="117"/>
                  </a:lnTo>
                  <a:lnTo>
                    <a:pt x="266" y="117"/>
                  </a:lnTo>
                  <a:lnTo>
                    <a:pt x="266" y="116"/>
                  </a:lnTo>
                  <a:lnTo>
                    <a:pt x="269" y="113"/>
                  </a:lnTo>
                  <a:lnTo>
                    <a:pt x="269" y="112"/>
                  </a:lnTo>
                  <a:lnTo>
                    <a:pt x="268" y="112"/>
                  </a:lnTo>
                  <a:lnTo>
                    <a:pt x="267" y="112"/>
                  </a:lnTo>
                  <a:lnTo>
                    <a:pt x="266" y="112"/>
                  </a:lnTo>
                  <a:lnTo>
                    <a:pt x="266" y="113"/>
                  </a:lnTo>
                  <a:lnTo>
                    <a:pt x="265" y="113"/>
                  </a:lnTo>
                  <a:lnTo>
                    <a:pt x="263" y="112"/>
                  </a:lnTo>
                  <a:lnTo>
                    <a:pt x="263" y="111"/>
                  </a:lnTo>
                  <a:lnTo>
                    <a:pt x="263" y="110"/>
                  </a:lnTo>
                  <a:lnTo>
                    <a:pt x="263" y="108"/>
                  </a:lnTo>
                  <a:lnTo>
                    <a:pt x="261" y="108"/>
                  </a:lnTo>
                  <a:lnTo>
                    <a:pt x="262" y="108"/>
                  </a:lnTo>
                  <a:lnTo>
                    <a:pt x="262" y="107"/>
                  </a:lnTo>
                  <a:lnTo>
                    <a:pt x="261" y="107"/>
                  </a:lnTo>
                  <a:lnTo>
                    <a:pt x="261" y="106"/>
                  </a:lnTo>
                  <a:lnTo>
                    <a:pt x="262" y="105"/>
                  </a:lnTo>
                  <a:lnTo>
                    <a:pt x="263" y="105"/>
                  </a:lnTo>
                  <a:lnTo>
                    <a:pt x="263" y="106"/>
                  </a:lnTo>
                  <a:lnTo>
                    <a:pt x="265" y="106"/>
                  </a:lnTo>
                  <a:lnTo>
                    <a:pt x="265" y="105"/>
                  </a:lnTo>
                  <a:lnTo>
                    <a:pt x="263" y="102"/>
                  </a:lnTo>
                  <a:lnTo>
                    <a:pt x="262" y="101"/>
                  </a:lnTo>
                  <a:lnTo>
                    <a:pt x="261" y="100"/>
                  </a:lnTo>
                  <a:lnTo>
                    <a:pt x="260" y="102"/>
                  </a:lnTo>
                  <a:lnTo>
                    <a:pt x="259" y="102"/>
                  </a:lnTo>
                  <a:lnTo>
                    <a:pt x="259" y="101"/>
                  </a:lnTo>
                  <a:lnTo>
                    <a:pt x="260" y="101"/>
                  </a:lnTo>
                  <a:lnTo>
                    <a:pt x="260" y="100"/>
                  </a:lnTo>
                  <a:lnTo>
                    <a:pt x="259" y="100"/>
                  </a:lnTo>
                  <a:lnTo>
                    <a:pt x="259" y="95"/>
                  </a:lnTo>
                  <a:lnTo>
                    <a:pt x="257" y="95"/>
                  </a:lnTo>
                  <a:lnTo>
                    <a:pt x="257" y="96"/>
                  </a:lnTo>
                  <a:lnTo>
                    <a:pt x="256" y="98"/>
                  </a:lnTo>
                  <a:lnTo>
                    <a:pt x="255" y="100"/>
                  </a:lnTo>
                  <a:lnTo>
                    <a:pt x="253" y="99"/>
                  </a:lnTo>
                  <a:lnTo>
                    <a:pt x="254" y="99"/>
                  </a:lnTo>
                  <a:lnTo>
                    <a:pt x="254" y="98"/>
                  </a:lnTo>
                  <a:lnTo>
                    <a:pt x="253" y="96"/>
                  </a:lnTo>
                  <a:lnTo>
                    <a:pt x="254" y="96"/>
                  </a:lnTo>
                  <a:lnTo>
                    <a:pt x="255" y="96"/>
                  </a:lnTo>
                  <a:lnTo>
                    <a:pt x="256" y="95"/>
                  </a:lnTo>
                  <a:lnTo>
                    <a:pt x="255" y="95"/>
                  </a:lnTo>
                  <a:lnTo>
                    <a:pt x="254" y="95"/>
                  </a:lnTo>
                  <a:lnTo>
                    <a:pt x="253" y="94"/>
                  </a:lnTo>
                  <a:lnTo>
                    <a:pt x="256" y="94"/>
                  </a:lnTo>
                  <a:lnTo>
                    <a:pt x="257" y="94"/>
                  </a:lnTo>
                  <a:lnTo>
                    <a:pt x="259" y="93"/>
                  </a:lnTo>
                  <a:lnTo>
                    <a:pt x="256" y="92"/>
                  </a:lnTo>
                  <a:lnTo>
                    <a:pt x="254" y="93"/>
                  </a:lnTo>
                  <a:lnTo>
                    <a:pt x="253" y="92"/>
                  </a:lnTo>
                  <a:lnTo>
                    <a:pt x="255" y="90"/>
                  </a:lnTo>
                  <a:lnTo>
                    <a:pt x="254" y="90"/>
                  </a:lnTo>
                  <a:lnTo>
                    <a:pt x="250" y="92"/>
                  </a:lnTo>
                  <a:lnTo>
                    <a:pt x="249" y="92"/>
                  </a:lnTo>
                  <a:lnTo>
                    <a:pt x="249" y="90"/>
                  </a:lnTo>
                  <a:lnTo>
                    <a:pt x="251" y="89"/>
                  </a:lnTo>
                  <a:lnTo>
                    <a:pt x="251" y="88"/>
                  </a:lnTo>
                  <a:lnTo>
                    <a:pt x="250" y="88"/>
                  </a:lnTo>
                  <a:lnTo>
                    <a:pt x="249" y="88"/>
                  </a:lnTo>
                  <a:lnTo>
                    <a:pt x="250" y="88"/>
                  </a:lnTo>
                  <a:lnTo>
                    <a:pt x="249" y="87"/>
                  </a:lnTo>
                  <a:lnTo>
                    <a:pt x="248" y="88"/>
                  </a:lnTo>
                  <a:lnTo>
                    <a:pt x="245" y="88"/>
                  </a:lnTo>
                  <a:lnTo>
                    <a:pt x="244" y="88"/>
                  </a:lnTo>
                  <a:lnTo>
                    <a:pt x="243" y="89"/>
                  </a:lnTo>
                  <a:lnTo>
                    <a:pt x="242" y="88"/>
                  </a:lnTo>
                  <a:lnTo>
                    <a:pt x="242" y="87"/>
                  </a:lnTo>
                  <a:lnTo>
                    <a:pt x="242" y="86"/>
                  </a:lnTo>
                  <a:lnTo>
                    <a:pt x="243" y="86"/>
                  </a:lnTo>
                  <a:lnTo>
                    <a:pt x="244" y="86"/>
                  </a:lnTo>
                  <a:lnTo>
                    <a:pt x="247" y="86"/>
                  </a:lnTo>
                  <a:lnTo>
                    <a:pt x="247" y="84"/>
                  </a:lnTo>
                  <a:lnTo>
                    <a:pt x="244" y="83"/>
                  </a:lnTo>
                  <a:lnTo>
                    <a:pt x="243" y="84"/>
                  </a:lnTo>
                  <a:lnTo>
                    <a:pt x="242" y="84"/>
                  </a:lnTo>
                  <a:lnTo>
                    <a:pt x="241" y="86"/>
                  </a:lnTo>
                  <a:lnTo>
                    <a:pt x="239" y="84"/>
                  </a:lnTo>
                  <a:lnTo>
                    <a:pt x="241" y="83"/>
                  </a:lnTo>
                  <a:lnTo>
                    <a:pt x="241" y="82"/>
                  </a:lnTo>
                  <a:lnTo>
                    <a:pt x="239" y="83"/>
                  </a:lnTo>
                  <a:lnTo>
                    <a:pt x="237" y="83"/>
                  </a:lnTo>
                  <a:lnTo>
                    <a:pt x="237" y="84"/>
                  </a:lnTo>
                  <a:lnTo>
                    <a:pt x="236" y="83"/>
                  </a:lnTo>
                  <a:lnTo>
                    <a:pt x="237" y="83"/>
                  </a:lnTo>
                  <a:lnTo>
                    <a:pt x="238" y="82"/>
                  </a:lnTo>
                  <a:lnTo>
                    <a:pt x="237" y="81"/>
                  </a:lnTo>
                  <a:lnTo>
                    <a:pt x="236" y="82"/>
                  </a:lnTo>
                  <a:lnTo>
                    <a:pt x="235" y="82"/>
                  </a:lnTo>
                  <a:lnTo>
                    <a:pt x="233" y="82"/>
                  </a:lnTo>
                  <a:lnTo>
                    <a:pt x="232" y="82"/>
                  </a:lnTo>
                  <a:lnTo>
                    <a:pt x="231" y="83"/>
                  </a:lnTo>
                  <a:lnTo>
                    <a:pt x="230" y="82"/>
                  </a:lnTo>
                  <a:lnTo>
                    <a:pt x="232" y="81"/>
                  </a:lnTo>
                  <a:lnTo>
                    <a:pt x="233" y="81"/>
                  </a:lnTo>
                  <a:lnTo>
                    <a:pt x="226" y="76"/>
                  </a:lnTo>
                  <a:lnTo>
                    <a:pt x="225" y="75"/>
                  </a:lnTo>
                  <a:lnTo>
                    <a:pt x="229" y="76"/>
                  </a:lnTo>
                  <a:lnTo>
                    <a:pt x="233" y="78"/>
                  </a:lnTo>
                  <a:lnTo>
                    <a:pt x="235" y="78"/>
                  </a:lnTo>
                  <a:lnTo>
                    <a:pt x="236" y="78"/>
                  </a:lnTo>
                  <a:lnTo>
                    <a:pt x="233" y="77"/>
                  </a:lnTo>
                  <a:lnTo>
                    <a:pt x="233" y="76"/>
                  </a:lnTo>
                  <a:lnTo>
                    <a:pt x="237" y="78"/>
                  </a:lnTo>
                  <a:lnTo>
                    <a:pt x="237" y="80"/>
                  </a:lnTo>
                  <a:lnTo>
                    <a:pt x="238" y="80"/>
                  </a:lnTo>
                  <a:lnTo>
                    <a:pt x="239" y="78"/>
                  </a:lnTo>
                  <a:lnTo>
                    <a:pt x="241" y="80"/>
                  </a:lnTo>
                  <a:lnTo>
                    <a:pt x="241" y="81"/>
                  </a:lnTo>
                  <a:lnTo>
                    <a:pt x="242" y="81"/>
                  </a:lnTo>
                  <a:lnTo>
                    <a:pt x="242" y="80"/>
                  </a:lnTo>
                  <a:lnTo>
                    <a:pt x="243" y="80"/>
                  </a:lnTo>
                  <a:lnTo>
                    <a:pt x="243" y="81"/>
                  </a:lnTo>
                  <a:lnTo>
                    <a:pt x="244" y="82"/>
                  </a:lnTo>
                  <a:lnTo>
                    <a:pt x="244" y="83"/>
                  </a:lnTo>
                  <a:lnTo>
                    <a:pt x="245" y="83"/>
                  </a:lnTo>
                  <a:lnTo>
                    <a:pt x="247" y="83"/>
                  </a:lnTo>
                  <a:lnTo>
                    <a:pt x="248" y="83"/>
                  </a:lnTo>
                  <a:lnTo>
                    <a:pt x="247" y="82"/>
                  </a:lnTo>
                  <a:lnTo>
                    <a:pt x="245" y="82"/>
                  </a:lnTo>
                  <a:lnTo>
                    <a:pt x="245" y="81"/>
                  </a:lnTo>
                  <a:lnTo>
                    <a:pt x="247" y="81"/>
                  </a:lnTo>
                  <a:lnTo>
                    <a:pt x="247" y="80"/>
                  </a:lnTo>
                  <a:lnTo>
                    <a:pt x="248" y="80"/>
                  </a:lnTo>
                  <a:lnTo>
                    <a:pt x="249" y="81"/>
                  </a:lnTo>
                  <a:lnTo>
                    <a:pt x="249" y="82"/>
                  </a:lnTo>
                  <a:lnTo>
                    <a:pt x="250" y="83"/>
                  </a:lnTo>
                  <a:lnTo>
                    <a:pt x="251" y="83"/>
                  </a:lnTo>
                  <a:lnTo>
                    <a:pt x="251" y="84"/>
                  </a:lnTo>
                  <a:lnTo>
                    <a:pt x="253" y="86"/>
                  </a:lnTo>
                  <a:lnTo>
                    <a:pt x="253" y="87"/>
                  </a:lnTo>
                  <a:lnTo>
                    <a:pt x="254" y="88"/>
                  </a:lnTo>
                  <a:lnTo>
                    <a:pt x="255" y="86"/>
                  </a:lnTo>
                  <a:lnTo>
                    <a:pt x="256" y="86"/>
                  </a:lnTo>
                  <a:lnTo>
                    <a:pt x="256" y="87"/>
                  </a:lnTo>
                  <a:lnTo>
                    <a:pt x="255" y="88"/>
                  </a:lnTo>
                  <a:lnTo>
                    <a:pt x="256" y="89"/>
                  </a:lnTo>
                  <a:lnTo>
                    <a:pt x="257" y="89"/>
                  </a:lnTo>
                  <a:lnTo>
                    <a:pt x="257" y="90"/>
                  </a:lnTo>
                  <a:lnTo>
                    <a:pt x="259" y="92"/>
                  </a:lnTo>
                  <a:lnTo>
                    <a:pt x="260" y="92"/>
                  </a:lnTo>
                  <a:lnTo>
                    <a:pt x="261" y="92"/>
                  </a:lnTo>
                  <a:lnTo>
                    <a:pt x="262" y="92"/>
                  </a:lnTo>
                  <a:lnTo>
                    <a:pt x="262" y="89"/>
                  </a:lnTo>
                  <a:lnTo>
                    <a:pt x="261" y="90"/>
                  </a:lnTo>
                  <a:lnTo>
                    <a:pt x="260" y="90"/>
                  </a:lnTo>
                  <a:lnTo>
                    <a:pt x="260" y="89"/>
                  </a:lnTo>
                  <a:lnTo>
                    <a:pt x="261" y="89"/>
                  </a:lnTo>
                  <a:lnTo>
                    <a:pt x="261" y="88"/>
                  </a:lnTo>
                  <a:lnTo>
                    <a:pt x="260" y="87"/>
                  </a:lnTo>
                  <a:lnTo>
                    <a:pt x="261" y="87"/>
                  </a:lnTo>
                  <a:lnTo>
                    <a:pt x="262" y="88"/>
                  </a:lnTo>
                  <a:lnTo>
                    <a:pt x="263" y="89"/>
                  </a:lnTo>
                  <a:lnTo>
                    <a:pt x="263" y="88"/>
                  </a:lnTo>
                  <a:lnTo>
                    <a:pt x="265" y="87"/>
                  </a:lnTo>
                  <a:lnTo>
                    <a:pt x="266" y="87"/>
                  </a:lnTo>
                  <a:lnTo>
                    <a:pt x="266" y="88"/>
                  </a:lnTo>
                  <a:lnTo>
                    <a:pt x="265" y="88"/>
                  </a:lnTo>
                  <a:lnTo>
                    <a:pt x="265" y="89"/>
                  </a:lnTo>
                  <a:lnTo>
                    <a:pt x="266" y="90"/>
                  </a:lnTo>
                  <a:lnTo>
                    <a:pt x="267" y="90"/>
                  </a:lnTo>
                  <a:lnTo>
                    <a:pt x="266" y="90"/>
                  </a:lnTo>
                  <a:lnTo>
                    <a:pt x="265" y="90"/>
                  </a:lnTo>
                  <a:lnTo>
                    <a:pt x="263" y="92"/>
                  </a:lnTo>
                  <a:lnTo>
                    <a:pt x="263" y="93"/>
                  </a:lnTo>
                  <a:lnTo>
                    <a:pt x="262" y="94"/>
                  </a:lnTo>
                  <a:lnTo>
                    <a:pt x="265" y="94"/>
                  </a:lnTo>
                  <a:lnTo>
                    <a:pt x="265" y="95"/>
                  </a:lnTo>
                  <a:lnTo>
                    <a:pt x="267" y="96"/>
                  </a:lnTo>
                  <a:lnTo>
                    <a:pt x="269" y="98"/>
                  </a:lnTo>
                  <a:lnTo>
                    <a:pt x="271" y="99"/>
                  </a:lnTo>
                  <a:lnTo>
                    <a:pt x="273" y="100"/>
                  </a:lnTo>
                  <a:lnTo>
                    <a:pt x="274" y="101"/>
                  </a:lnTo>
                  <a:lnTo>
                    <a:pt x="275" y="101"/>
                  </a:lnTo>
                  <a:lnTo>
                    <a:pt x="278" y="101"/>
                  </a:lnTo>
                  <a:lnTo>
                    <a:pt x="278" y="100"/>
                  </a:lnTo>
                  <a:lnTo>
                    <a:pt x="279" y="98"/>
                  </a:lnTo>
                  <a:lnTo>
                    <a:pt x="280" y="96"/>
                  </a:lnTo>
                  <a:lnTo>
                    <a:pt x="280" y="95"/>
                  </a:lnTo>
                  <a:lnTo>
                    <a:pt x="279" y="95"/>
                  </a:lnTo>
                  <a:lnTo>
                    <a:pt x="279" y="96"/>
                  </a:lnTo>
                  <a:lnTo>
                    <a:pt x="275" y="96"/>
                  </a:lnTo>
                  <a:lnTo>
                    <a:pt x="277" y="95"/>
                  </a:lnTo>
                  <a:lnTo>
                    <a:pt x="278" y="95"/>
                  </a:lnTo>
                  <a:lnTo>
                    <a:pt x="280" y="94"/>
                  </a:lnTo>
                  <a:lnTo>
                    <a:pt x="282" y="94"/>
                  </a:lnTo>
                  <a:lnTo>
                    <a:pt x="282" y="93"/>
                  </a:lnTo>
                  <a:lnTo>
                    <a:pt x="280" y="93"/>
                  </a:lnTo>
                  <a:lnTo>
                    <a:pt x="278" y="93"/>
                  </a:lnTo>
                  <a:lnTo>
                    <a:pt x="277" y="92"/>
                  </a:lnTo>
                  <a:lnTo>
                    <a:pt x="277" y="90"/>
                  </a:lnTo>
                  <a:lnTo>
                    <a:pt x="275" y="89"/>
                  </a:lnTo>
                  <a:lnTo>
                    <a:pt x="277" y="88"/>
                  </a:lnTo>
                  <a:lnTo>
                    <a:pt x="279" y="88"/>
                  </a:lnTo>
                  <a:lnTo>
                    <a:pt x="280" y="88"/>
                  </a:lnTo>
                  <a:lnTo>
                    <a:pt x="283" y="88"/>
                  </a:lnTo>
                  <a:lnTo>
                    <a:pt x="283" y="87"/>
                  </a:lnTo>
                  <a:lnTo>
                    <a:pt x="282" y="86"/>
                  </a:lnTo>
                  <a:lnTo>
                    <a:pt x="280" y="86"/>
                  </a:lnTo>
                  <a:lnTo>
                    <a:pt x="279" y="86"/>
                  </a:lnTo>
                  <a:lnTo>
                    <a:pt x="279" y="84"/>
                  </a:lnTo>
                  <a:lnTo>
                    <a:pt x="279" y="83"/>
                  </a:lnTo>
                  <a:lnTo>
                    <a:pt x="278" y="83"/>
                  </a:lnTo>
                  <a:lnTo>
                    <a:pt x="278" y="84"/>
                  </a:lnTo>
                  <a:lnTo>
                    <a:pt x="275" y="84"/>
                  </a:lnTo>
                  <a:lnTo>
                    <a:pt x="277" y="83"/>
                  </a:lnTo>
                  <a:lnTo>
                    <a:pt x="279" y="83"/>
                  </a:lnTo>
                  <a:lnTo>
                    <a:pt x="279" y="82"/>
                  </a:lnTo>
                  <a:lnTo>
                    <a:pt x="278" y="82"/>
                  </a:lnTo>
                  <a:lnTo>
                    <a:pt x="277" y="81"/>
                  </a:lnTo>
                  <a:lnTo>
                    <a:pt x="277" y="82"/>
                  </a:lnTo>
                  <a:lnTo>
                    <a:pt x="275" y="82"/>
                  </a:lnTo>
                  <a:lnTo>
                    <a:pt x="273" y="82"/>
                  </a:lnTo>
                  <a:lnTo>
                    <a:pt x="272" y="82"/>
                  </a:lnTo>
                  <a:lnTo>
                    <a:pt x="271" y="83"/>
                  </a:lnTo>
                  <a:lnTo>
                    <a:pt x="269" y="84"/>
                  </a:lnTo>
                  <a:lnTo>
                    <a:pt x="269" y="83"/>
                  </a:lnTo>
                  <a:lnTo>
                    <a:pt x="268" y="83"/>
                  </a:lnTo>
                  <a:lnTo>
                    <a:pt x="269" y="82"/>
                  </a:lnTo>
                  <a:lnTo>
                    <a:pt x="272" y="81"/>
                  </a:lnTo>
                  <a:lnTo>
                    <a:pt x="271" y="80"/>
                  </a:lnTo>
                  <a:lnTo>
                    <a:pt x="271" y="81"/>
                  </a:lnTo>
                  <a:lnTo>
                    <a:pt x="269" y="81"/>
                  </a:lnTo>
                  <a:lnTo>
                    <a:pt x="269" y="80"/>
                  </a:lnTo>
                  <a:lnTo>
                    <a:pt x="271" y="78"/>
                  </a:lnTo>
                  <a:lnTo>
                    <a:pt x="271" y="77"/>
                  </a:lnTo>
                  <a:lnTo>
                    <a:pt x="269" y="77"/>
                  </a:lnTo>
                  <a:lnTo>
                    <a:pt x="268" y="77"/>
                  </a:lnTo>
                  <a:lnTo>
                    <a:pt x="268" y="78"/>
                  </a:lnTo>
                  <a:lnTo>
                    <a:pt x="268" y="80"/>
                  </a:lnTo>
                  <a:lnTo>
                    <a:pt x="268" y="81"/>
                  </a:lnTo>
                  <a:lnTo>
                    <a:pt x="267" y="81"/>
                  </a:lnTo>
                  <a:lnTo>
                    <a:pt x="266" y="80"/>
                  </a:lnTo>
                  <a:lnTo>
                    <a:pt x="266" y="78"/>
                  </a:lnTo>
                  <a:lnTo>
                    <a:pt x="265" y="78"/>
                  </a:lnTo>
                  <a:lnTo>
                    <a:pt x="263" y="77"/>
                  </a:lnTo>
                  <a:lnTo>
                    <a:pt x="265" y="77"/>
                  </a:lnTo>
                  <a:lnTo>
                    <a:pt x="267" y="76"/>
                  </a:lnTo>
                  <a:lnTo>
                    <a:pt x="266" y="76"/>
                  </a:lnTo>
                  <a:lnTo>
                    <a:pt x="265" y="76"/>
                  </a:lnTo>
                  <a:lnTo>
                    <a:pt x="265" y="75"/>
                  </a:lnTo>
                  <a:lnTo>
                    <a:pt x="263" y="75"/>
                  </a:lnTo>
                  <a:lnTo>
                    <a:pt x="263" y="74"/>
                  </a:lnTo>
                  <a:lnTo>
                    <a:pt x="261" y="72"/>
                  </a:lnTo>
                  <a:lnTo>
                    <a:pt x="260" y="72"/>
                  </a:lnTo>
                  <a:lnTo>
                    <a:pt x="259" y="72"/>
                  </a:lnTo>
                  <a:lnTo>
                    <a:pt x="257" y="72"/>
                  </a:lnTo>
                  <a:lnTo>
                    <a:pt x="259" y="71"/>
                  </a:lnTo>
                  <a:lnTo>
                    <a:pt x="260" y="70"/>
                  </a:lnTo>
                  <a:lnTo>
                    <a:pt x="261" y="70"/>
                  </a:lnTo>
                  <a:lnTo>
                    <a:pt x="261" y="69"/>
                  </a:lnTo>
                  <a:lnTo>
                    <a:pt x="260" y="69"/>
                  </a:lnTo>
                  <a:lnTo>
                    <a:pt x="259" y="68"/>
                  </a:lnTo>
                  <a:lnTo>
                    <a:pt x="257" y="68"/>
                  </a:lnTo>
                  <a:lnTo>
                    <a:pt x="257" y="69"/>
                  </a:lnTo>
                  <a:lnTo>
                    <a:pt x="254" y="68"/>
                  </a:lnTo>
                  <a:lnTo>
                    <a:pt x="253" y="69"/>
                  </a:lnTo>
                  <a:lnTo>
                    <a:pt x="250" y="69"/>
                  </a:lnTo>
                  <a:lnTo>
                    <a:pt x="249" y="69"/>
                  </a:lnTo>
                  <a:lnTo>
                    <a:pt x="248" y="69"/>
                  </a:lnTo>
                  <a:lnTo>
                    <a:pt x="248" y="68"/>
                  </a:lnTo>
                  <a:lnTo>
                    <a:pt x="249" y="66"/>
                  </a:lnTo>
                  <a:lnTo>
                    <a:pt x="250" y="66"/>
                  </a:lnTo>
                  <a:lnTo>
                    <a:pt x="251" y="66"/>
                  </a:lnTo>
                  <a:lnTo>
                    <a:pt x="253" y="66"/>
                  </a:lnTo>
                  <a:lnTo>
                    <a:pt x="253" y="65"/>
                  </a:lnTo>
                  <a:lnTo>
                    <a:pt x="251" y="65"/>
                  </a:lnTo>
                  <a:lnTo>
                    <a:pt x="250" y="65"/>
                  </a:lnTo>
                  <a:lnTo>
                    <a:pt x="250" y="66"/>
                  </a:lnTo>
                  <a:lnTo>
                    <a:pt x="248" y="68"/>
                  </a:lnTo>
                  <a:lnTo>
                    <a:pt x="247" y="66"/>
                  </a:lnTo>
                  <a:lnTo>
                    <a:pt x="248" y="65"/>
                  </a:lnTo>
                  <a:lnTo>
                    <a:pt x="249" y="65"/>
                  </a:lnTo>
                  <a:lnTo>
                    <a:pt x="250" y="64"/>
                  </a:lnTo>
                  <a:lnTo>
                    <a:pt x="248" y="64"/>
                  </a:lnTo>
                  <a:lnTo>
                    <a:pt x="247" y="64"/>
                  </a:lnTo>
                  <a:lnTo>
                    <a:pt x="245" y="65"/>
                  </a:lnTo>
                  <a:lnTo>
                    <a:pt x="244" y="65"/>
                  </a:lnTo>
                  <a:lnTo>
                    <a:pt x="245" y="64"/>
                  </a:lnTo>
                  <a:lnTo>
                    <a:pt x="245" y="63"/>
                  </a:lnTo>
                  <a:lnTo>
                    <a:pt x="245" y="62"/>
                  </a:lnTo>
                  <a:lnTo>
                    <a:pt x="245" y="63"/>
                  </a:lnTo>
                  <a:lnTo>
                    <a:pt x="244" y="63"/>
                  </a:lnTo>
                  <a:lnTo>
                    <a:pt x="243" y="63"/>
                  </a:lnTo>
                  <a:lnTo>
                    <a:pt x="241" y="64"/>
                  </a:lnTo>
                  <a:lnTo>
                    <a:pt x="239" y="63"/>
                  </a:lnTo>
                  <a:lnTo>
                    <a:pt x="241" y="63"/>
                  </a:lnTo>
                  <a:lnTo>
                    <a:pt x="241" y="62"/>
                  </a:lnTo>
                  <a:lnTo>
                    <a:pt x="242" y="62"/>
                  </a:lnTo>
                  <a:lnTo>
                    <a:pt x="243" y="62"/>
                  </a:lnTo>
                  <a:lnTo>
                    <a:pt x="242" y="60"/>
                  </a:lnTo>
                  <a:lnTo>
                    <a:pt x="237" y="58"/>
                  </a:lnTo>
                  <a:lnTo>
                    <a:pt x="236" y="57"/>
                  </a:lnTo>
                  <a:lnTo>
                    <a:pt x="237" y="57"/>
                  </a:lnTo>
                  <a:lnTo>
                    <a:pt x="239" y="58"/>
                  </a:lnTo>
                  <a:lnTo>
                    <a:pt x="243" y="59"/>
                  </a:lnTo>
                  <a:lnTo>
                    <a:pt x="242" y="58"/>
                  </a:lnTo>
                  <a:lnTo>
                    <a:pt x="241" y="58"/>
                  </a:lnTo>
                  <a:lnTo>
                    <a:pt x="242" y="57"/>
                  </a:lnTo>
                  <a:lnTo>
                    <a:pt x="243" y="57"/>
                  </a:lnTo>
                  <a:lnTo>
                    <a:pt x="244" y="58"/>
                  </a:lnTo>
                  <a:lnTo>
                    <a:pt x="245" y="59"/>
                  </a:lnTo>
                  <a:lnTo>
                    <a:pt x="248" y="60"/>
                  </a:lnTo>
                  <a:lnTo>
                    <a:pt x="249" y="60"/>
                  </a:lnTo>
                  <a:lnTo>
                    <a:pt x="249" y="62"/>
                  </a:lnTo>
                  <a:lnTo>
                    <a:pt x="250" y="62"/>
                  </a:lnTo>
                  <a:lnTo>
                    <a:pt x="250" y="60"/>
                  </a:lnTo>
                  <a:lnTo>
                    <a:pt x="251" y="59"/>
                  </a:lnTo>
                  <a:lnTo>
                    <a:pt x="253" y="60"/>
                  </a:lnTo>
                  <a:lnTo>
                    <a:pt x="253" y="62"/>
                  </a:lnTo>
                  <a:lnTo>
                    <a:pt x="254" y="62"/>
                  </a:lnTo>
                  <a:lnTo>
                    <a:pt x="255" y="63"/>
                  </a:lnTo>
                  <a:lnTo>
                    <a:pt x="256" y="64"/>
                  </a:lnTo>
                  <a:lnTo>
                    <a:pt x="256" y="63"/>
                  </a:lnTo>
                  <a:lnTo>
                    <a:pt x="255" y="62"/>
                  </a:lnTo>
                  <a:lnTo>
                    <a:pt x="255" y="60"/>
                  </a:lnTo>
                  <a:lnTo>
                    <a:pt x="256" y="60"/>
                  </a:lnTo>
                  <a:lnTo>
                    <a:pt x="257" y="60"/>
                  </a:lnTo>
                  <a:lnTo>
                    <a:pt x="259" y="60"/>
                  </a:lnTo>
                  <a:lnTo>
                    <a:pt x="259" y="62"/>
                  </a:lnTo>
                  <a:lnTo>
                    <a:pt x="260" y="63"/>
                  </a:lnTo>
                  <a:lnTo>
                    <a:pt x="260" y="64"/>
                  </a:lnTo>
                  <a:lnTo>
                    <a:pt x="259" y="63"/>
                  </a:lnTo>
                  <a:lnTo>
                    <a:pt x="259" y="64"/>
                  </a:lnTo>
                  <a:lnTo>
                    <a:pt x="260" y="64"/>
                  </a:lnTo>
                  <a:lnTo>
                    <a:pt x="261" y="64"/>
                  </a:lnTo>
                  <a:lnTo>
                    <a:pt x="262" y="65"/>
                  </a:lnTo>
                  <a:lnTo>
                    <a:pt x="263" y="66"/>
                  </a:lnTo>
                  <a:lnTo>
                    <a:pt x="265" y="66"/>
                  </a:lnTo>
                  <a:lnTo>
                    <a:pt x="266" y="68"/>
                  </a:lnTo>
                  <a:lnTo>
                    <a:pt x="267" y="66"/>
                  </a:lnTo>
                  <a:lnTo>
                    <a:pt x="268" y="66"/>
                  </a:lnTo>
                  <a:lnTo>
                    <a:pt x="269" y="68"/>
                  </a:lnTo>
                  <a:lnTo>
                    <a:pt x="271" y="68"/>
                  </a:lnTo>
                  <a:lnTo>
                    <a:pt x="271" y="69"/>
                  </a:lnTo>
                  <a:lnTo>
                    <a:pt x="272" y="70"/>
                  </a:lnTo>
                  <a:lnTo>
                    <a:pt x="273" y="71"/>
                  </a:lnTo>
                  <a:lnTo>
                    <a:pt x="274" y="72"/>
                  </a:lnTo>
                  <a:lnTo>
                    <a:pt x="275" y="72"/>
                  </a:lnTo>
                  <a:lnTo>
                    <a:pt x="277" y="72"/>
                  </a:lnTo>
                  <a:lnTo>
                    <a:pt x="275" y="71"/>
                  </a:lnTo>
                  <a:lnTo>
                    <a:pt x="277" y="71"/>
                  </a:lnTo>
                  <a:lnTo>
                    <a:pt x="277" y="70"/>
                  </a:lnTo>
                  <a:lnTo>
                    <a:pt x="277" y="69"/>
                  </a:lnTo>
                  <a:lnTo>
                    <a:pt x="277" y="68"/>
                  </a:lnTo>
                  <a:lnTo>
                    <a:pt x="272" y="68"/>
                  </a:lnTo>
                  <a:lnTo>
                    <a:pt x="272" y="66"/>
                  </a:lnTo>
                  <a:lnTo>
                    <a:pt x="273" y="66"/>
                  </a:lnTo>
                  <a:lnTo>
                    <a:pt x="271" y="66"/>
                  </a:lnTo>
                  <a:lnTo>
                    <a:pt x="272" y="65"/>
                  </a:lnTo>
                  <a:lnTo>
                    <a:pt x="273" y="65"/>
                  </a:lnTo>
                  <a:lnTo>
                    <a:pt x="277" y="66"/>
                  </a:lnTo>
                  <a:lnTo>
                    <a:pt x="277" y="65"/>
                  </a:lnTo>
                  <a:lnTo>
                    <a:pt x="277" y="64"/>
                  </a:lnTo>
                  <a:lnTo>
                    <a:pt x="278" y="63"/>
                  </a:lnTo>
                  <a:lnTo>
                    <a:pt x="279" y="64"/>
                  </a:lnTo>
                  <a:lnTo>
                    <a:pt x="280" y="64"/>
                  </a:lnTo>
                  <a:lnTo>
                    <a:pt x="283" y="65"/>
                  </a:lnTo>
                  <a:lnTo>
                    <a:pt x="284" y="65"/>
                  </a:lnTo>
                  <a:lnTo>
                    <a:pt x="285" y="65"/>
                  </a:lnTo>
                  <a:lnTo>
                    <a:pt x="286" y="65"/>
                  </a:lnTo>
                  <a:lnTo>
                    <a:pt x="289" y="64"/>
                  </a:lnTo>
                  <a:lnTo>
                    <a:pt x="290" y="64"/>
                  </a:lnTo>
                  <a:lnTo>
                    <a:pt x="289" y="63"/>
                  </a:lnTo>
                  <a:lnTo>
                    <a:pt x="289" y="62"/>
                  </a:lnTo>
                  <a:lnTo>
                    <a:pt x="289" y="60"/>
                  </a:lnTo>
                  <a:lnTo>
                    <a:pt x="290" y="59"/>
                  </a:lnTo>
                  <a:lnTo>
                    <a:pt x="289" y="58"/>
                  </a:lnTo>
                  <a:lnTo>
                    <a:pt x="288" y="59"/>
                  </a:lnTo>
                  <a:lnTo>
                    <a:pt x="286" y="60"/>
                  </a:lnTo>
                  <a:lnTo>
                    <a:pt x="286" y="62"/>
                  </a:lnTo>
                  <a:lnTo>
                    <a:pt x="285" y="62"/>
                  </a:lnTo>
                  <a:lnTo>
                    <a:pt x="284" y="63"/>
                  </a:lnTo>
                  <a:lnTo>
                    <a:pt x="284" y="64"/>
                  </a:lnTo>
                  <a:lnTo>
                    <a:pt x="283" y="64"/>
                  </a:lnTo>
                  <a:lnTo>
                    <a:pt x="283" y="63"/>
                  </a:lnTo>
                  <a:lnTo>
                    <a:pt x="282" y="62"/>
                  </a:lnTo>
                  <a:lnTo>
                    <a:pt x="280" y="63"/>
                  </a:lnTo>
                  <a:lnTo>
                    <a:pt x="279" y="63"/>
                  </a:lnTo>
                  <a:lnTo>
                    <a:pt x="280" y="62"/>
                  </a:lnTo>
                  <a:lnTo>
                    <a:pt x="279" y="60"/>
                  </a:lnTo>
                  <a:lnTo>
                    <a:pt x="278" y="60"/>
                  </a:lnTo>
                  <a:lnTo>
                    <a:pt x="279" y="59"/>
                  </a:lnTo>
                  <a:lnTo>
                    <a:pt x="282" y="59"/>
                  </a:lnTo>
                  <a:lnTo>
                    <a:pt x="283" y="60"/>
                  </a:lnTo>
                  <a:lnTo>
                    <a:pt x="284" y="59"/>
                  </a:lnTo>
                  <a:lnTo>
                    <a:pt x="285" y="58"/>
                  </a:lnTo>
                  <a:lnTo>
                    <a:pt x="286" y="58"/>
                  </a:lnTo>
                  <a:lnTo>
                    <a:pt x="289" y="57"/>
                  </a:lnTo>
                  <a:lnTo>
                    <a:pt x="291" y="56"/>
                  </a:lnTo>
                  <a:lnTo>
                    <a:pt x="294" y="54"/>
                  </a:lnTo>
                  <a:lnTo>
                    <a:pt x="292" y="54"/>
                  </a:lnTo>
                  <a:lnTo>
                    <a:pt x="292" y="53"/>
                  </a:lnTo>
                  <a:lnTo>
                    <a:pt x="294" y="52"/>
                  </a:lnTo>
                  <a:lnTo>
                    <a:pt x="292" y="52"/>
                  </a:lnTo>
                  <a:lnTo>
                    <a:pt x="292" y="51"/>
                  </a:lnTo>
                  <a:lnTo>
                    <a:pt x="291" y="50"/>
                  </a:lnTo>
                  <a:lnTo>
                    <a:pt x="290" y="46"/>
                  </a:lnTo>
                  <a:lnTo>
                    <a:pt x="290" y="45"/>
                  </a:lnTo>
                  <a:lnTo>
                    <a:pt x="289" y="42"/>
                  </a:lnTo>
                  <a:lnTo>
                    <a:pt x="288" y="41"/>
                  </a:lnTo>
                  <a:lnTo>
                    <a:pt x="286" y="41"/>
                  </a:lnTo>
                  <a:lnTo>
                    <a:pt x="288" y="40"/>
                  </a:lnTo>
                  <a:lnTo>
                    <a:pt x="289" y="40"/>
                  </a:lnTo>
                  <a:lnTo>
                    <a:pt x="291" y="40"/>
                  </a:lnTo>
                  <a:lnTo>
                    <a:pt x="290" y="39"/>
                  </a:lnTo>
                  <a:lnTo>
                    <a:pt x="289" y="39"/>
                  </a:lnTo>
                  <a:lnTo>
                    <a:pt x="289" y="38"/>
                  </a:lnTo>
                  <a:lnTo>
                    <a:pt x="288" y="39"/>
                  </a:lnTo>
                  <a:lnTo>
                    <a:pt x="286" y="39"/>
                  </a:lnTo>
                  <a:lnTo>
                    <a:pt x="285" y="39"/>
                  </a:lnTo>
                  <a:lnTo>
                    <a:pt x="285" y="38"/>
                  </a:lnTo>
                  <a:lnTo>
                    <a:pt x="285" y="36"/>
                  </a:lnTo>
                  <a:lnTo>
                    <a:pt x="286" y="36"/>
                  </a:lnTo>
                  <a:lnTo>
                    <a:pt x="285" y="35"/>
                  </a:lnTo>
                  <a:lnTo>
                    <a:pt x="286" y="35"/>
                  </a:lnTo>
                  <a:lnTo>
                    <a:pt x="288" y="35"/>
                  </a:lnTo>
                  <a:lnTo>
                    <a:pt x="290" y="35"/>
                  </a:lnTo>
                  <a:lnTo>
                    <a:pt x="291" y="35"/>
                  </a:lnTo>
                  <a:lnTo>
                    <a:pt x="292" y="35"/>
                  </a:lnTo>
                  <a:lnTo>
                    <a:pt x="294" y="34"/>
                  </a:lnTo>
                  <a:lnTo>
                    <a:pt x="292" y="34"/>
                  </a:lnTo>
                  <a:lnTo>
                    <a:pt x="291" y="33"/>
                  </a:lnTo>
                  <a:lnTo>
                    <a:pt x="289" y="32"/>
                  </a:lnTo>
                  <a:lnTo>
                    <a:pt x="288" y="32"/>
                  </a:lnTo>
                  <a:lnTo>
                    <a:pt x="286" y="33"/>
                  </a:lnTo>
                  <a:lnTo>
                    <a:pt x="285" y="33"/>
                  </a:lnTo>
                  <a:lnTo>
                    <a:pt x="285" y="32"/>
                  </a:lnTo>
                  <a:lnTo>
                    <a:pt x="286" y="32"/>
                  </a:lnTo>
                  <a:lnTo>
                    <a:pt x="285" y="30"/>
                  </a:lnTo>
                  <a:lnTo>
                    <a:pt x="284" y="32"/>
                  </a:lnTo>
                  <a:lnTo>
                    <a:pt x="283" y="32"/>
                  </a:lnTo>
                  <a:lnTo>
                    <a:pt x="283" y="30"/>
                  </a:lnTo>
                  <a:lnTo>
                    <a:pt x="284" y="30"/>
                  </a:lnTo>
                  <a:lnTo>
                    <a:pt x="282" y="30"/>
                  </a:lnTo>
                  <a:lnTo>
                    <a:pt x="280" y="30"/>
                  </a:lnTo>
                  <a:lnTo>
                    <a:pt x="280" y="32"/>
                  </a:lnTo>
                  <a:lnTo>
                    <a:pt x="278" y="32"/>
                  </a:lnTo>
                  <a:lnTo>
                    <a:pt x="278" y="30"/>
                  </a:lnTo>
                  <a:lnTo>
                    <a:pt x="279" y="29"/>
                  </a:lnTo>
                  <a:lnTo>
                    <a:pt x="278" y="29"/>
                  </a:lnTo>
                  <a:lnTo>
                    <a:pt x="275" y="29"/>
                  </a:lnTo>
                  <a:lnTo>
                    <a:pt x="274" y="28"/>
                  </a:lnTo>
                  <a:lnTo>
                    <a:pt x="273" y="28"/>
                  </a:lnTo>
                  <a:lnTo>
                    <a:pt x="273" y="27"/>
                  </a:lnTo>
                  <a:lnTo>
                    <a:pt x="275" y="28"/>
                  </a:lnTo>
                  <a:lnTo>
                    <a:pt x="277" y="28"/>
                  </a:lnTo>
                  <a:lnTo>
                    <a:pt x="275" y="27"/>
                  </a:lnTo>
                  <a:lnTo>
                    <a:pt x="277" y="27"/>
                  </a:lnTo>
                  <a:lnTo>
                    <a:pt x="278" y="27"/>
                  </a:lnTo>
                  <a:lnTo>
                    <a:pt x="280" y="28"/>
                  </a:lnTo>
                  <a:lnTo>
                    <a:pt x="282" y="28"/>
                  </a:lnTo>
                  <a:lnTo>
                    <a:pt x="282" y="27"/>
                  </a:lnTo>
                  <a:lnTo>
                    <a:pt x="282" y="26"/>
                  </a:lnTo>
                  <a:lnTo>
                    <a:pt x="282" y="24"/>
                  </a:lnTo>
                  <a:lnTo>
                    <a:pt x="283" y="26"/>
                  </a:lnTo>
                  <a:lnTo>
                    <a:pt x="283" y="27"/>
                  </a:lnTo>
                  <a:lnTo>
                    <a:pt x="283" y="28"/>
                  </a:lnTo>
                  <a:lnTo>
                    <a:pt x="284" y="28"/>
                  </a:lnTo>
                  <a:lnTo>
                    <a:pt x="285" y="28"/>
                  </a:lnTo>
                  <a:lnTo>
                    <a:pt x="286" y="28"/>
                  </a:lnTo>
                  <a:lnTo>
                    <a:pt x="288" y="29"/>
                  </a:lnTo>
                  <a:lnTo>
                    <a:pt x="288" y="30"/>
                  </a:lnTo>
                  <a:lnTo>
                    <a:pt x="290" y="30"/>
                  </a:lnTo>
                  <a:lnTo>
                    <a:pt x="291" y="30"/>
                  </a:lnTo>
                  <a:lnTo>
                    <a:pt x="291" y="29"/>
                  </a:lnTo>
                  <a:lnTo>
                    <a:pt x="290" y="28"/>
                  </a:lnTo>
                  <a:lnTo>
                    <a:pt x="289" y="29"/>
                  </a:lnTo>
                  <a:lnTo>
                    <a:pt x="288" y="29"/>
                  </a:lnTo>
                  <a:lnTo>
                    <a:pt x="288" y="28"/>
                  </a:lnTo>
                  <a:lnTo>
                    <a:pt x="288" y="27"/>
                  </a:lnTo>
                  <a:lnTo>
                    <a:pt x="288" y="28"/>
                  </a:lnTo>
                  <a:lnTo>
                    <a:pt x="286" y="28"/>
                  </a:lnTo>
                  <a:lnTo>
                    <a:pt x="286" y="27"/>
                  </a:lnTo>
                  <a:lnTo>
                    <a:pt x="288" y="27"/>
                  </a:lnTo>
                  <a:lnTo>
                    <a:pt x="286" y="26"/>
                  </a:lnTo>
                  <a:lnTo>
                    <a:pt x="288" y="26"/>
                  </a:lnTo>
                  <a:lnTo>
                    <a:pt x="289" y="26"/>
                  </a:lnTo>
                  <a:lnTo>
                    <a:pt x="289" y="24"/>
                  </a:lnTo>
                  <a:lnTo>
                    <a:pt x="288" y="24"/>
                  </a:lnTo>
                  <a:lnTo>
                    <a:pt x="288" y="23"/>
                  </a:lnTo>
                  <a:lnTo>
                    <a:pt x="286" y="23"/>
                  </a:lnTo>
                  <a:lnTo>
                    <a:pt x="285" y="23"/>
                  </a:lnTo>
                  <a:lnTo>
                    <a:pt x="282" y="23"/>
                  </a:lnTo>
                  <a:lnTo>
                    <a:pt x="286" y="23"/>
                  </a:lnTo>
                  <a:lnTo>
                    <a:pt x="285" y="22"/>
                  </a:lnTo>
                  <a:lnTo>
                    <a:pt x="284" y="21"/>
                  </a:lnTo>
                  <a:lnTo>
                    <a:pt x="283" y="21"/>
                  </a:lnTo>
                  <a:lnTo>
                    <a:pt x="282" y="21"/>
                  </a:lnTo>
                  <a:lnTo>
                    <a:pt x="282" y="20"/>
                  </a:lnTo>
                  <a:lnTo>
                    <a:pt x="283" y="20"/>
                  </a:lnTo>
                  <a:lnTo>
                    <a:pt x="284" y="20"/>
                  </a:lnTo>
                  <a:lnTo>
                    <a:pt x="285" y="21"/>
                  </a:lnTo>
                  <a:lnTo>
                    <a:pt x="285" y="20"/>
                  </a:lnTo>
                  <a:lnTo>
                    <a:pt x="280" y="16"/>
                  </a:lnTo>
                  <a:lnTo>
                    <a:pt x="279" y="13"/>
                  </a:lnTo>
                  <a:lnTo>
                    <a:pt x="275" y="11"/>
                  </a:lnTo>
                  <a:lnTo>
                    <a:pt x="274" y="10"/>
                  </a:lnTo>
                  <a:lnTo>
                    <a:pt x="274" y="9"/>
                  </a:lnTo>
                  <a:lnTo>
                    <a:pt x="275" y="9"/>
                  </a:lnTo>
                  <a:lnTo>
                    <a:pt x="278" y="10"/>
                  </a:lnTo>
                  <a:lnTo>
                    <a:pt x="279" y="12"/>
                  </a:lnTo>
                  <a:lnTo>
                    <a:pt x="283" y="16"/>
                  </a:lnTo>
                  <a:lnTo>
                    <a:pt x="285" y="17"/>
                  </a:lnTo>
                  <a:lnTo>
                    <a:pt x="286" y="20"/>
                  </a:lnTo>
                  <a:lnTo>
                    <a:pt x="288" y="21"/>
                  </a:lnTo>
                  <a:lnTo>
                    <a:pt x="289" y="22"/>
                  </a:lnTo>
                  <a:lnTo>
                    <a:pt x="290" y="21"/>
                  </a:lnTo>
                  <a:lnTo>
                    <a:pt x="291" y="20"/>
                  </a:lnTo>
                  <a:lnTo>
                    <a:pt x="294" y="17"/>
                  </a:lnTo>
                  <a:lnTo>
                    <a:pt x="295" y="17"/>
                  </a:lnTo>
                  <a:lnTo>
                    <a:pt x="296" y="16"/>
                  </a:lnTo>
                  <a:lnTo>
                    <a:pt x="296" y="18"/>
                  </a:lnTo>
                  <a:lnTo>
                    <a:pt x="295" y="18"/>
                  </a:lnTo>
                  <a:lnTo>
                    <a:pt x="294" y="18"/>
                  </a:lnTo>
                  <a:lnTo>
                    <a:pt x="292" y="18"/>
                  </a:lnTo>
                  <a:lnTo>
                    <a:pt x="292" y="20"/>
                  </a:lnTo>
                  <a:lnTo>
                    <a:pt x="291" y="21"/>
                  </a:lnTo>
                  <a:lnTo>
                    <a:pt x="290" y="22"/>
                  </a:lnTo>
                  <a:lnTo>
                    <a:pt x="290" y="23"/>
                  </a:lnTo>
                  <a:lnTo>
                    <a:pt x="290" y="24"/>
                  </a:lnTo>
                  <a:lnTo>
                    <a:pt x="291" y="24"/>
                  </a:lnTo>
                  <a:lnTo>
                    <a:pt x="292" y="23"/>
                  </a:lnTo>
                  <a:lnTo>
                    <a:pt x="294" y="23"/>
                  </a:lnTo>
                  <a:lnTo>
                    <a:pt x="294" y="24"/>
                  </a:lnTo>
                  <a:lnTo>
                    <a:pt x="292" y="24"/>
                  </a:lnTo>
                  <a:lnTo>
                    <a:pt x="291" y="26"/>
                  </a:lnTo>
                  <a:lnTo>
                    <a:pt x="291" y="27"/>
                  </a:lnTo>
                  <a:lnTo>
                    <a:pt x="292" y="27"/>
                  </a:lnTo>
                  <a:lnTo>
                    <a:pt x="294" y="26"/>
                  </a:lnTo>
                  <a:lnTo>
                    <a:pt x="295" y="26"/>
                  </a:lnTo>
                  <a:lnTo>
                    <a:pt x="295" y="27"/>
                  </a:lnTo>
                  <a:lnTo>
                    <a:pt x="294" y="28"/>
                  </a:lnTo>
                  <a:lnTo>
                    <a:pt x="292" y="29"/>
                  </a:lnTo>
                  <a:lnTo>
                    <a:pt x="292" y="30"/>
                  </a:lnTo>
                  <a:lnTo>
                    <a:pt x="294" y="30"/>
                  </a:lnTo>
                  <a:lnTo>
                    <a:pt x="294" y="29"/>
                  </a:lnTo>
                  <a:lnTo>
                    <a:pt x="295" y="29"/>
                  </a:lnTo>
                  <a:lnTo>
                    <a:pt x="296" y="29"/>
                  </a:lnTo>
                  <a:lnTo>
                    <a:pt x="296" y="28"/>
                  </a:lnTo>
                  <a:lnTo>
                    <a:pt x="297" y="28"/>
                  </a:lnTo>
                  <a:lnTo>
                    <a:pt x="298" y="27"/>
                  </a:lnTo>
                  <a:lnTo>
                    <a:pt x="297" y="26"/>
                  </a:lnTo>
                  <a:lnTo>
                    <a:pt x="296" y="26"/>
                  </a:lnTo>
                  <a:lnTo>
                    <a:pt x="296" y="24"/>
                  </a:lnTo>
                  <a:lnTo>
                    <a:pt x="297" y="23"/>
                  </a:lnTo>
                  <a:lnTo>
                    <a:pt x="297" y="24"/>
                  </a:lnTo>
                  <a:lnTo>
                    <a:pt x="298" y="24"/>
                  </a:lnTo>
                  <a:lnTo>
                    <a:pt x="298" y="22"/>
                  </a:lnTo>
                  <a:lnTo>
                    <a:pt x="297" y="21"/>
                  </a:lnTo>
                  <a:lnTo>
                    <a:pt x="296" y="21"/>
                  </a:lnTo>
                  <a:lnTo>
                    <a:pt x="294" y="21"/>
                  </a:lnTo>
                  <a:lnTo>
                    <a:pt x="292" y="21"/>
                  </a:lnTo>
                  <a:lnTo>
                    <a:pt x="292" y="20"/>
                  </a:lnTo>
                  <a:lnTo>
                    <a:pt x="295" y="20"/>
                  </a:lnTo>
                  <a:lnTo>
                    <a:pt x="297" y="20"/>
                  </a:lnTo>
                  <a:lnTo>
                    <a:pt x="298" y="20"/>
                  </a:lnTo>
                  <a:lnTo>
                    <a:pt x="298" y="18"/>
                  </a:lnTo>
                  <a:lnTo>
                    <a:pt x="300" y="17"/>
                  </a:lnTo>
                  <a:lnTo>
                    <a:pt x="300" y="16"/>
                  </a:lnTo>
                  <a:lnTo>
                    <a:pt x="300" y="13"/>
                  </a:lnTo>
                  <a:lnTo>
                    <a:pt x="300" y="10"/>
                  </a:lnTo>
                  <a:lnTo>
                    <a:pt x="301" y="10"/>
                  </a:lnTo>
                  <a:lnTo>
                    <a:pt x="301" y="11"/>
                  </a:lnTo>
                  <a:lnTo>
                    <a:pt x="301" y="16"/>
                  </a:lnTo>
                  <a:lnTo>
                    <a:pt x="301" y="18"/>
                  </a:lnTo>
                  <a:lnTo>
                    <a:pt x="301" y="22"/>
                  </a:lnTo>
                  <a:lnTo>
                    <a:pt x="301" y="23"/>
                  </a:lnTo>
                  <a:lnTo>
                    <a:pt x="300" y="24"/>
                  </a:lnTo>
                  <a:lnTo>
                    <a:pt x="300" y="26"/>
                  </a:lnTo>
                  <a:lnTo>
                    <a:pt x="301" y="26"/>
                  </a:lnTo>
                  <a:lnTo>
                    <a:pt x="302" y="24"/>
                  </a:lnTo>
                  <a:lnTo>
                    <a:pt x="302" y="26"/>
                  </a:lnTo>
                  <a:lnTo>
                    <a:pt x="303" y="27"/>
                  </a:lnTo>
                  <a:lnTo>
                    <a:pt x="303" y="28"/>
                  </a:lnTo>
                  <a:lnTo>
                    <a:pt x="304" y="28"/>
                  </a:lnTo>
                  <a:lnTo>
                    <a:pt x="306" y="27"/>
                  </a:lnTo>
                  <a:lnTo>
                    <a:pt x="307" y="26"/>
                  </a:lnTo>
                  <a:lnTo>
                    <a:pt x="307" y="24"/>
                  </a:lnTo>
                  <a:lnTo>
                    <a:pt x="306" y="23"/>
                  </a:lnTo>
                  <a:lnTo>
                    <a:pt x="304" y="23"/>
                  </a:lnTo>
                  <a:lnTo>
                    <a:pt x="304" y="22"/>
                  </a:lnTo>
                  <a:lnTo>
                    <a:pt x="306" y="22"/>
                  </a:lnTo>
                  <a:lnTo>
                    <a:pt x="307" y="22"/>
                  </a:lnTo>
                  <a:lnTo>
                    <a:pt x="308" y="23"/>
                  </a:lnTo>
                  <a:lnTo>
                    <a:pt x="307" y="22"/>
                  </a:lnTo>
                  <a:lnTo>
                    <a:pt x="308" y="22"/>
                  </a:lnTo>
                  <a:lnTo>
                    <a:pt x="309" y="21"/>
                  </a:lnTo>
                  <a:lnTo>
                    <a:pt x="308" y="21"/>
                  </a:lnTo>
                  <a:lnTo>
                    <a:pt x="307" y="20"/>
                  </a:lnTo>
                  <a:lnTo>
                    <a:pt x="308" y="18"/>
                  </a:lnTo>
                  <a:lnTo>
                    <a:pt x="309" y="20"/>
                  </a:lnTo>
                  <a:lnTo>
                    <a:pt x="309" y="18"/>
                  </a:lnTo>
                  <a:lnTo>
                    <a:pt x="309" y="17"/>
                  </a:lnTo>
                  <a:lnTo>
                    <a:pt x="307" y="16"/>
                  </a:lnTo>
                  <a:lnTo>
                    <a:pt x="306" y="15"/>
                  </a:lnTo>
                  <a:lnTo>
                    <a:pt x="302" y="12"/>
                  </a:lnTo>
                  <a:lnTo>
                    <a:pt x="302" y="11"/>
                  </a:lnTo>
                  <a:lnTo>
                    <a:pt x="303" y="11"/>
                  </a:lnTo>
                  <a:lnTo>
                    <a:pt x="304" y="12"/>
                  </a:lnTo>
                  <a:lnTo>
                    <a:pt x="308" y="16"/>
                  </a:lnTo>
                  <a:lnTo>
                    <a:pt x="309" y="15"/>
                  </a:lnTo>
                  <a:lnTo>
                    <a:pt x="308" y="15"/>
                  </a:lnTo>
                  <a:lnTo>
                    <a:pt x="308" y="13"/>
                  </a:lnTo>
                  <a:lnTo>
                    <a:pt x="308" y="12"/>
                  </a:lnTo>
                  <a:lnTo>
                    <a:pt x="307" y="11"/>
                  </a:lnTo>
                  <a:lnTo>
                    <a:pt x="307" y="10"/>
                  </a:lnTo>
                  <a:lnTo>
                    <a:pt x="308" y="10"/>
                  </a:lnTo>
                  <a:lnTo>
                    <a:pt x="308" y="11"/>
                  </a:lnTo>
                  <a:lnTo>
                    <a:pt x="309" y="11"/>
                  </a:lnTo>
                  <a:lnTo>
                    <a:pt x="309" y="12"/>
                  </a:lnTo>
                  <a:lnTo>
                    <a:pt x="309" y="10"/>
                  </a:lnTo>
                  <a:lnTo>
                    <a:pt x="309" y="9"/>
                  </a:lnTo>
                  <a:lnTo>
                    <a:pt x="309" y="6"/>
                  </a:lnTo>
                  <a:lnTo>
                    <a:pt x="310" y="6"/>
                  </a:lnTo>
                  <a:lnTo>
                    <a:pt x="310" y="7"/>
                  </a:lnTo>
                  <a:lnTo>
                    <a:pt x="310" y="9"/>
                  </a:lnTo>
                  <a:lnTo>
                    <a:pt x="310" y="12"/>
                  </a:lnTo>
                  <a:lnTo>
                    <a:pt x="310" y="13"/>
                  </a:lnTo>
                  <a:lnTo>
                    <a:pt x="310" y="1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8" name="Freeform 61"/>
            <p:cNvSpPr>
              <a:spLocks/>
            </p:cNvSpPr>
            <p:nvPr userDrawn="1"/>
          </p:nvSpPr>
          <p:spPr bwMode="auto">
            <a:xfrm>
              <a:off x="404813" y="6256338"/>
              <a:ext cx="282575" cy="304800"/>
            </a:xfrm>
            <a:custGeom>
              <a:avLst/>
              <a:gdLst/>
              <a:ahLst/>
              <a:cxnLst>
                <a:cxn ang="0">
                  <a:pos x="102" y="417"/>
                </a:cxn>
                <a:cxn ang="0">
                  <a:pos x="144" y="361"/>
                </a:cxn>
                <a:cxn ang="0">
                  <a:pos x="246" y="330"/>
                </a:cxn>
                <a:cxn ang="0">
                  <a:pos x="243" y="325"/>
                </a:cxn>
                <a:cxn ang="0">
                  <a:pos x="178" y="314"/>
                </a:cxn>
                <a:cxn ang="0">
                  <a:pos x="169" y="275"/>
                </a:cxn>
                <a:cxn ang="0">
                  <a:pos x="195" y="238"/>
                </a:cxn>
                <a:cxn ang="0">
                  <a:pos x="210" y="208"/>
                </a:cxn>
                <a:cxn ang="0">
                  <a:pos x="230" y="149"/>
                </a:cxn>
                <a:cxn ang="0">
                  <a:pos x="281" y="159"/>
                </a:cxn>
                <a:cxn ang="0">
                  <a:pos x="336" y="166"/>
                </a:cxn>
                <a:cxn ang="0">
                  <a:pos x="361" y="169"/>
                </a:cxn>
                <a:cxn ang="0">
                  <a:pos x="401" y="197"/>
                </a:cxn>
                <a:cxn ang="0">
                  <a:pos x="425" y="224"/>
                </a:cxn>
                <a:cxn ang="0">
                  <a:pos x="444" y="203"/>
                </a:cxn>
                <a:cxn ang="0">
                  <a:pos x="403" y="173"/>
                </a:cxn>
                <a:cxn ang="0">
                  <a:pos x="368" y="169"/>
                </a:cxn>
                <a:cxn ang="0">
                  <a:pos x="308" y="123"/>
                </a:cxn>
                <a:cxn ang="0">
                  <a:pos x="325" y="78"/>
                </a:cxn>
                <a:cxn ang="0">
                  <a:pos x="348" y="28"/>
                </a:cxn>
                <a:cxn ang="0">
                  <a:pos x="386" y="17"/>
                </a:cxn>
                <a:cxn ang="0">
                  <a:pos x="434" y="40"/>
                </a:cxn>
                <a:cxn ang="0">
                  <a:pos x="487" y="24"/>
                </a:cxn>
                <a:cxn ang="0">
                  <a:pos x="510" y="40"/>
                </a:cxn>
                <a:cxn ang="0">
                  <a:pos x="543" y="76"/>
                </a:cxn>
                <a:cxn ang="0">
                  <a:pos x="581" y="54"/>
                </a:cxn>
                <a:cxn ang="0">
                  <a:pos x="628" y="70"/>
                </a:cxn>
                <a:cxn ang="0">
                  <a:pos x="622" y="125"/>
                </a:cxn>
                <a:cxn ang="0">
                  <a:pos x="656" y="166"/>
                </a:cxn>
                <a:cxn ang="0">
                  <a:pos x="710" y="209"/>
                </a:cxn>
                <a:cxn ang="0">
                  <a:pos x="729" y="249"/>
                </a:cxn>
                <a:cxn ang="0">
                  <a:pos x="802" y="283"/>
                </a:cxn>
                <a:cxn ang="0">
                  <a:pos x="821" y="389"/>
                </a:cxn>
                <a:cxn ang="0">
                  <a:pos x="750" y="413"/>
                </a:cxn>
                <a:cxn ang="0">
                  <a:pos x="841" y="524"/>
                </a:cxn>
                <a:cxn ang="0">
                  <a:pos x="730" y="457"/>
                </a:cxn>
                <a:cxn ang="0">
                  <a:pos x="694" y="471"/>
                </a:cxn>
                <a:cxn ang="0">
                  <a:pos x="809" y="548"/>
                </a:cxn>
                <a:cxn ang="0">
                  <a:pos x="874" y="660"/>
                </a:cxn>
                <a:cxn ang="0">
                  <a:pos x="786" y="660"/>
                </a:cxn>
                <a:cxn ang="0">
                  <a:pos x="752" y="719"/>
                </a:cxn>
                <a:cxn ang="0">
                  <a:pos x="735" y="737"/>
                </a:cxn>
                <a:cxn ang="0">
                  <a:pos x="684" y="678"/>
                </a:cxn>
                <a:cxn ang="0">
                  <a:pos x="644" y="719"/>
                </a:cxn>
                <a:cxn ang="0">
                  <a:pos x="729" y="806"/>
                </a:cxn>
                <a:cxn ang="0">
                  <a:pos x="633" y="798"/>
                </a:cxn>
                <a:cxn ang="0">
                  <a:pos x="538" y="744"/>
                </a:cxn>
                <a:cxn ang="0">
                  <a:pos x="593" y="795"/>
                </a:cxn>
                <a:cxn ang="0">
                  <a:pos x="373" y="784"/>
                </a:cxn>
                <a:cxn ang="0">
                  <a:pos x="212" y="808"/>
                </a:cxn>
                <a:cxn ang="0">
                  <a:pos x="301" y="771"/>
                </a:cxn>
                <a:cxn ang="0">
                  <a:pos x="403" y="734"/>
                </a:cxn>
                <a:cxn ang="0">
                  <a:pos x="331" y="718"/>
                </a:cxn>
                <a:cxn ang="0">
                  <a:pos x="256" y="737"/>
                </a:cxn>
                <a:cxn ang="0">
                  <a:pos x="196" y="725"/>
                </a:cxn>
                <a:cxn ang="0">
                  <a:pos x="151" y="672"/>
                </a:cxn>
                <a:cxn ang="0">
                  <a:pos x="269" y="619"/>
                </a:cxn>
                <a:cxn ang="0">
                  <a:pos x="244" y="615"/>
                </a:cxn>
                <a:cxn ang="0">
                  <a:pos x="214" y="576"/>
                </a:cxn>
                <a:cxn ang="0">
                  <a:pos x="216" y="554"/>
                </a:cxn>
                <a:cxn ang="0">
                  <a:pos x="127" y="607"/>
                </a:cxn>
                <a:cxn ang="0">
                  <a:pos x="126" y="547"/>
                </a:cxn>
                <a:cxn ang="0">
                  <a:pos x="85" y="508"/>
                </a:cxn>
              </a:cxnLst>
              <a:rect l="0" t="0" r="r" b="b"/>
              <a:pathLst>
                <a:path w="893" h="960">
                  <a:moveTo>
                    <a:pt x="9" y="455"/>
                  </a:moveTo>
                  <a:lnTo>
                    <a:pt x="7" y="452"/>
                  </a:lnTo>
                  <a:lnTo>
                    <a:pt x="9" y="453"/>
                  </a:lnTo>
                  <a:lnTo>
                    <a:pt x="13" y="451"/>
                  </a:lnTo>
                  <a:lnTo>
                    <a:pt x="14" y="453"/>
                  </a:lnTo>
                  <a:lnTo>
                    <a:pt x="16" y="455"/>
                  </a:lnTo>
                  <a:lnTo>
                    <a:pt x="16" y="453"/>
                  </a:lnTo>
                  <a:lnTo>
                    <a:pt x="15" y="452"/>
                  </a:lnTo>
                  <a:lnTo>
                    <a:pt x="15" y="451"/>
                  </a:lnTo>
                  <a:lnTo>
                    <a:pt x="20" y="451"/>
                  </a:lnTo>
                  <a:lnTo>
                    <a:pt x="20" y="453"/>
                  </a:lnTo>
                  <a:lnTo>
                    <a:pt x="21" y="455"/>
                  </a:lnTo>
                  <a:lnTo>
                    <a:pt x="26" y="456"/>
                  </a:lnTo>
                  <a:lnTo>
                    <a:pt x="23" y="453"/>
                  </a:lnTo>
                  <a:lnTo>
                    <a:pt x="21" y="451"/>
                  </a:lnTo>
                  <a:lnTo>
                    <a:pt x="21" y="449"/>
                  </a:lnTo>
                  <a:lnTo>
                    <a:pt x="20" y="446"/>
                  </a:lnTo>
                  <a:lnTo>
                    <a:pt x="23" y="445"/>
                  </a:lnTo>
                  <a:lnTo>
                    <a:pt x="24" y="446"/>
                  </a:lnTo>
                  <a:lnTo>
                    <a:pt x="25" y="447"/>
                  </a:lnTo>
                  <a:lnTo>
                    <a:pt x="27" y="447"/>
                  </a:lnTo>
                  <a:lnTo>
                    <a:pt x="29" y="450"/>
                  </a:lnTo>
                  <a:lnTo>
                    <a:pt x="29" y="451"/>
                  </a:lnTo>
                  <a:lnTo>
                    <a:pt x="29" y="452"/>
                  </a:lnTo>
                  <a:lnTo>
                    <a:pt x="30" y="453"/>
                  </a:lnTo>
                  <a:lnTo>
                    <a:pt x="32" y="453"/>
                  </a:lnTo>
                  <a:lnTo>
                    <a:pt x="33" y="453"/>
                  </a:lnTo>
                  <a:lnTo>
                    <a:pt x="33" y="455"/>
                  </a:lnTo>
                  <a:lnTo>
                    <a:pt x="32" y="455"/>
                  </a:lnTo>
                  <a:lnTo>
                    <a:pt x="33" y="456"/>
                  </a:lnTo>
                  <a:lnTo>
                    <a:pt x="37" y="456"/>
                  </a:lnTo>
                  <a:lnTo>
                    <a:pt x="37" y="451"/>
                  </a:lnTo>
                  <a:lnTo>
                    <a:pt x="38" y="450"/>
                  </a:lnTo>
                  <a:lnTo>
                    <a:pt x="39" y="449"/>
                  </a:lnTo>
                  <a:lnTo>
                    <a:pt x="42" y="451"/>
                  </a:lnTo>
                  <a:lnTo>
                    <a:pt x="42" y="452"/>
                  </a:lnTo>
                  <a:lnTo>
                    <a:pt x="43" y="452"/>
                  </a:lnTo>
                  <a:lnTo>
                    <a:pt x="48" y="452"/>
                  </a:lnTo>
                  <a:lnTo>
                    <a:pt x="47" y="451"/>
                  </a:lnTo>
                  <a:lnTo>
                    <a:pt x="45" y="450"/>
                  </a:lnTo>
                  <a:lnTo>
                    <a:pt x="43" y="449"/>
                  </a:lnTo>
                  <a:lnTo>
                    <a:pt x="43" y="445"/>
                  </a:lnTo>
                  <a:lnTo>
                    <a:pt x="42" y="443"/>
                  </a:lnTo>
                  <a:lnTo>
                    <a:pt x="39" y="439"/>
                  </a:lnTo>
                  <a:lnTo>
                    <a:pt x="39" y="437"/>
                  </a:lnTo>
                  <a:lnTo>
                    <a:pt x="41" y="437"/>
                  </a:lnTo>
                  <a:lnTo>
                    <a:pt x="41" y="435"/>
                  </a:lnTo>
                  <a:lnTo>
                    <a:pt x="43" y="435"/>
                  </a:lnTo>
                  <a:lnTo>
                    <a:pt x="44" y="437"/>
                  </a:lnTo>
                  <a:lnTo>
                    <a:pt x="44" y="438"/>
                  </a:lnTo>
                  <a:lnTo>
                    <a:pt x="45" y="438"/>
                  </a:lnTo>
                  <a:lnTo>
                    <a:pt x="45" y="437"/>
                  </a:lnTo>
                  <a:lnTo>
                    <a:pt x="47" y="438"/>
                  </a:lnTo>
                  <a:lnTo>
                    <a:pt x="48" y="441"/>
                  </a:lnTo>
                  <a:lnTo>
                    <a:pt x="49" y="441"/>
                  </a:lnTo>
                  <a:lnTo>
                    <a:pt x="50" y="441"/>
                  </a:lnTo>
                  <a:lnTo>
                    <a:pt x="51" y="443"/>
                  </a:lnTo>
                  <a:lnTo>
                    <a:pt x="53" y="443"/>
                  </a:lnTo>
                  <a:lnTo>
                    <a:pt x="53" y="445"/>
                  </a:lnTo>
                  <a:lnTo>
                    <a:pt x="54" y="446"/>
                  </a:lnTo>
                  <a:lnTo>
                    <a:pt x="54" y="445"/>
                  </a:lnTo>
                  <a:lnTo>
                    <a:pt x="54" y="444"/>
                  </a:lnTo>
                  <a:lnTo>
                    <a:pt x="54" y="441"/>
                  </a:lnTo>
                  <a:lnTo>
                    <a:pt x="55" y="441"/>
                  </a:lnTo>
                  <a:lnTo>
                    <a:pt x="56" y="441"/>
                  </a:lnTo>
                  <a:lnTo>
                    <a:pt x="60" y="441"/>
                  </a:lnTo>
                  <a:lnTo>
                    <a:pt x="59" y="438"/>
                  </a:lnTo>
                  <a:lnTo>
                    <a:pt x="60" y="438"/>
                  </a:lnTo>
                  <a:lnTo>
                    <a:pt x="61" y="437"/>
                  </a:lnTo>
                  <a:lnTo>
                    <a:pt x="61" y="434"/>
                  </a:lnTo>
                  <a:lnTo>
                    <a:pt x="61" y="433"/>
                  </a:lnTo>
                  <a:lnTo>
                    <a:pt x="63" y="432"/>
                  </a:lnTo>
                  <a:lnTo>
                    <a:pt x="65" y="433"/>
                  </a:lnTo>
                  <a:lnTo>
                    <a:pt x="66" y="434"/>
                  </a:lnTo>
                  <a:lnTo>
                    <a:pt x="67" y="433"/>
                  </a:lnTo>
                  <a:lnTo>
                    <a:pt x="68" y="433"/>
                  </a:lnTo>
                  <a:lnTo>
                    <a:pt x="69" y="432"/>
                  </a:lnTo>
                  <a:lnTo>
                    <a:pt x="69" y="431"/>
                  </a:lnTo>
                  <a:lnTo>
                    <a:pt x="68" y="431"/>
                  </a:lnTo>
                  <a:lnTo>
                    <a:pt x="67" y="429"/>
                  </a:lnTo>
                  <a:lnTo>
                    <a:pt x="68" y="428"/>
                  </a:lnTo>
                  <a:lnTo>
                    <a:pt x="67" y="426"/>
                  </a:lnTo>
                  <a:lnTo>
                    <a:pt x="68" y="425"/>
                  </a:lnTo>
                  <a:lnTo>
                    <a:pt x="69" y="425"/>
                  </a:lnTo>
                  <a:lnTo>
                    <a:pt x="71" y="426"/>
                  </a:lnTo>
                  <a:lnTo>
                    <a:pt x="72" y="427"/>
                  </a:lnTo>
                  <a:lnTo>
                    <a:pt x="72" y="426"/>
                  </a:lnTo>
                  <a:lnTo>
                    <a:pt x="73" y="426"/>
                  </a:lnTo>
                  <a:lnTo>
                    <a:pt x="74" y="426"/>
                  </a:lnTo>
                  <a:lnTo>
                    <a:pt x="74" y="427"/>
                  </a:lnTo>
                  <a:lnTo>
                    <a:pt x="75" y="428"/>
                  </a:lnTo>
                  <a:lnTo>
                    <a:pt x="79" y="428"/>
                  </a:lnTo>
                  <a:lnTo>
                    <a:pt x="79" y="429"/>
                  </a:lnTo>
                  <a:lnTo>
                    <a:pt x="80" y="429"/>
                  </a:lnTo>
                  <a:lnTo>
                    <a:pt x="83" y="429"/>
                  </a:lnTo>
                  <a:lnTo>
                    <a:pt x="83" y="428"/>
                  </a:lnTo>
                  <a:lnTo>
                    <a:pt x="80" y="427"/>
                  </a:lnTo>
                  <a:lnTo>
                    <a:pt x="79" y="427"/>
                  </a:lnTo>
                  <a:lnTo>
                    <a:pt x="79" y="425"/>
                  </a:lnTo>
                  <a:lnTo>
                    <a:pt x="78" y="421"/>
                  </a:lnTo>
                  <a:lnTo>
                    <a:pt x="78" y="420"/>
                  </a:lnTo>
                  <a:lnTo>
                    <a:pt x="79" y="419"/>
                  </a:lnTo>
                  <a:lnTo>
                    <a:pt x="80" y="420"/>
                  </a:lnTo>
                  <a:lnTo>
                    <a:pt x="82" y="422"/>
                  </a:lnTo>
                  <a:lnTo>
                    <a:pt x="83" y="422"/>
                  </a:lnTo>
                  <a:lnTo>
                    <a:pt x="84" y="422"/>
                  </a:lnTo>
                  <a:lnTo>
                    <a:pt x="86" y="423"/>
                  </a:lnTo>
                  <a:lnTo>
                    <a:pt x="89" y="423"/>
                  </a:lnTo>
                  <a:lnTo>
                    <a:pt x="90" y="422"/>
                  </a:lnTo>
                  <a:lnTo>
                    <a:pt x="92" y="421"/>
                  </a:lnTo>
                  <a:lnTo>
                    <a:pt x="92" y="423"/>
                  </a:lnTo>
                  <a:lnTo>
                    <a:pt x="95" y="423"/>
                  </a:lnTo>
                  <a:lnTo>
                    <a:pt x="95" y="425"/>
                  </a:lnTo>
                  <a:lnTo>
                    <a:pt x="98" y="425"/>
                  </a:lnTo>
                  <a:lnTo>
                    <a:pt x="100" y="423"/>
                  </a:lnTo>
                  <a:lnTo>
                    <a:pt x="101" y="423"/>
                  </a:lnTo>
                  <a:lnTo>
                    <a:pt x="102" y="423"/>
                  </a:lnTo>
                  <a:lnTo>
                    <a:pt x="102" y="421"/>
                  </a:lnTo>
                  <a:lnTo>
                    <a:pt x="102" y="420"/>
                  </a:lnTo>
                  <a:lnTo>
                    <a:pt x="102" y="417"/>
                  </a:lnTo>
                  <a:lnTo>
                    <a:pt x="102" y="416"/>
                  </a:lnTo>
                  <a:lnTo>
                    <a:pt x="102" y="415"/>
                  </a:lnTo>
                  <a:lnTo>
                    <a:pt x="103" y="415"/>
                  </a:lnTo>
                  <a:lnTo>
                    <a:pt x="106" y="414"/>
                  </a:lnTo>
                  <a:lnTo>
                    <a:pt x="106" y="415"/>
                  </a:lnTo>
                  <a:lnTo>
                    <a:pt x="107" y="419"/>
                  </a:lnTo>
                  <a:lnTo>
                    <a:pt x="108" y="419"/>
                  </a:lnTo>
                  <a:lnTo>
                    <a:pt x="109" y="420"/>
                  </a:lnTo>
                  <a:lnTo>
                    <a:pt x="112" y="422"/>
                  </a:lnTo>
                  <a:lnTo>
                    <a:pt x="115" y="422"/>
                  </a:lnTo>
                  <a:lnTo>
                    <a:pt x="115" y="421"/>
                  </a:lnTo>
                  <a:lnTo>
                    <a:pt x="114" y="421"/>
                  </a:lnTo>
                  <a:lnTo>
                    <a:pt x="113" y="420"/>
                  </a:lnTo>
                  <a:lnTo>
                    <a:pt x="113" y="417"/>
                  </a:lnTo>
                  <a:lnTo>
                    <a:pt x="112" y="416"/>
                  </a:lnTo>
                  <a:lnTo>
                    <a:pt x="110" y="413"/>
                  </a:lnTo>
                  <a:lnTo>
                    <a:pt x="110" y="410"/>
                  </a:lnTo>
                  <a:lnTo>
                    <a:pt x="109" y="409"/>
                  </a:lnTo>
                  <a:lnTo>
                    <a:pt x="109" y="408"/>
                  </a:lnTo>
                  <a:lnTo>
                    <a:pt x="110" y="407"/>
                  </a:lnTo>
                  <a:lnTo>
                    <a:pt x="113" y="405"/>
                  </a:lnTo>
                  <a:lnTo>
                    <a:pt x="113" y="407"/>
                  </a:lnTo>
                  <a:lnTo>
                    <a:pt x="114" y="407"/>
                  </a:lnTo>
                  <a:lnTo>
                    <a:pt x="116" y="408"/>
                  </a:lnTo>
                  <a:lnTo>
                    <a:pt x="116" y="409"/>
                  </a:lnTo>
                  <a:lnTo>
                    <a:pt x="119" y="411"/>
                  </a:lnTo>
                  <a:lnTo>
                    <a:pt x="120" y="410"/>
                  </a:lnTo>
                  <a:lnTo>
                    <a:pt x="121" y="409"/>
                  </a:lnTo>
                  <a:lnTo>
                    <a:pt x="122" y="409"/>
                  </a:lnTo>
                  <a:lnTo>
                    <a:pt x="122" y="410"/>
                  </a:lnTo>
                  <a:lnTo>
                    <a:pt x="124" y="411"/>
                  </a:lnTo>
                  <a:lnTo>
                    <a:pt x="125" y="410"/>
                  </a:lnTo>
                  <a:lnTo>
                    <a:pt x="127" y="410"/>
                  </a:lnTo>
                  <a:lnTo>
                    <a:pt x="128" y="411"/>
                  </a:lnTo>
                  <a:lnTo>
                    <a:pt x="132" y="411"/>
                  </a:lnTo>
                  <a:lnTo>
                    <a:pt x="134" y="411"/>
                  </a:lnTo>
                  <a:lnTo>
                    <a:pt x="133" y="409"/>
                  </a:lnTo>
                  <a:lnTo>
                    <a:pt x="132" y="408"/>
                  </a:lnTo>
                  <a:lnTo>
                    <a:pt x="132" y="405"/>
                  </a:lnTo>
                  <a:lnTo>
                    <a:pt x="131" y="404"/>
                  </a:lnTo>
                  <a:lnTo>
                    <a:pt x="130" y="403"/>
                  </a:lnTo>
                  <a:lnTo>
                    <a:pt x="127" y="403"/>
                  </a:lnTo>
                  <a:lnTo>
                    <a:pt x="126" y="403"/>
                  </a:lnTo>
                  <a:lnTo>
                    <a:pt x="126" y="402"/>
                  </a:lnTo>
                  <a:lnTo>
                    <a:pt x="127" y="401"/>
                  </a:lnTo>
                  <a:lnTo>
                    <a:pt x="127" y="399"/>
                  </a:lnTo>
                  <a:lnTo>
                    <a:pt x="128" y="397"/>
                  </a:lnTo>
                  <a:lnTo>
                    <a:pt x="127" y="398"/>
                  </a:lnTo>
                  <a:lnTo>
                    <a:pt x="126" y="398"/>
                  </a:lnTo>
                  <a:lnTo>
                    <a:pt x="125" y="399"/>
                  </a:lnTo>
                  <a:lnTo>
                    <a:pt x="122" y="397"/>
                  </a:lnTo>
                  <a:lnTo>
                    <a:pt x="120" y="396"/>
                  </a:lnTo>
                  <a:lnTo>
                    <a:pt x="119" y="395"/>
                  </a:lnTo>
                  <a:lnTo>
                    <a:pt x="116" y="395"/>
                  </a:lnTo>
                  <a:lnTo>
                    <a:pt x="115" y="395"/>
                  </a:lnTo>
                  <a:lnTo>
                    <a:pt x="115" y="393"/>
                  </a:lnTo>
                  <a:lnTo>
                    <a:pt x="114" y="393"/>
                  </a:lnTo>
                  <a:lnTo>
                    <a:pt x="113" y="392"/>
                  </a:lnTo>
                  <a:lnTo>
                    <a:pt x="110" y="391"/>
                  </a:lnTo>
                  <a:lnTo>
                    <a:pt x="110" y="390"/>
                  </a:lnTo>
                  <a:lnTo>
                    <a:pt x="109" y="389"/>
                  </a:lnTo>
                  <a:lnTo>
                    <a:pt x="108" y="387"/>
                  </a:lnTo>
                  <a:lnTo>
                    <a:pt x="109" y="385"/>
                  </a:lnTo>
                  <a:lnTo>
                    <a:pt x="109" y="382"/>
                  </a:lnTo>
                  <a:lnTo>
                    <a:pt x="107" y="379"/>
                  </a:lnTo>
                  <a:lnTo>
                    <a:pt x="106" y="378"/>
                  </a:lnTo>
                  <a:lnTo>
                    <a:pt x="106" y="375"/>
                  </a:lnTo>
                  <a:lnTo>
                    <a:pt x="107" y="375"/>
                  </a:lnTo>
                  <a:lnTo>
                    <a:pt x="107" y="374"/>
                  </a:lnTo>
                  <a:lnTo>
                    <a:pt x="109" y="374"/>
                  </a:lnTo>
                  <a:lnTo>
                    <a:pt x="109" y="375"/>
                  </a:lnTo>
                  <a:lnTo>
                    <a:pt x="110" y="375"/>
                  </a:lnTo>
                  <a:lnTo>
                    <a:pt x="110" y="378"/>
                  </a:lnTo>
                  <a:lnTo>
                    <a:pt x="112" y="376"/>
                  </a:lnTo>
                  <a:lnTo>
                    <a:pt x="113" y="376"/>
                  </a:lnTo>
                  <a:lnTo>
                    <a:pt x="114" y="376"/>
                  </a:lnTo>
                  <a:lnTo>
                    <a:pt x="114" y="375"/>
                  </a:lnTo>
                  <a:lnTo>
                    <a:pt x="113" y="374"/>
                  </a:lnTo>
                  <a:lnTo>
                    <a:pt x="114" y="370"/>
                  </a:lnTo>
                  <a:lnTo>
                    <a:pt x="115" y="370"/>
                  </a:lnTo>
                  <a:lnTo>
                    <a:pt x="116" y="370"/>
                  </a:lnTo>
                  <a:lnTo>
                    <a:pt x="116" y="372"/>
                  </a:lnTo>
                  <a:lnTo>
                    <a:pt x="118" y="373"/>
                  </a:lnTo>
                  <a:lnTo>
                    <a:pt x="120" y="374"/>
                  </a:lnTo>
                  <a:lnTo>
                    <a:pt x="120" y="375"/>
                  </a:lnTo>
                  <a:lnTo>
                    <a:pt x="121" y="376"/>
                  </a:lnTo>
                  <a:lnTo>
                    <a:pt x="122" y="379"/>
                  </a:lnTo>
                  <a:lnTo>
                    <a:pt x="124" y="379"/>
                  </a:lnTo>
                  <a:lnTo>
                    <a:pt x="125" y="379"/>
                  </a:lnTo>
                  <a:lnTo>
                    <a:pt x="126" y="378"/>
                  </a:lnTo>
                  <a:lnTo>
                    <a:pt x="125" y="376"/>
                  </a:lnTo>
                  <a:lnTo>
                    <a:pt x="124" y="375"/>
                  </a:lnTo>
                  <a:lnTo>
                    <a:pt x="124" y="373"/>
                  </a:lnTo>
                  <a:lnTo>
                    <a:pt x="124" y="372"/>
                  </a:lnTo>
                  <a:lnTo>
                    <a:pt x="124" y="370"/>
                  </a:lnTo>
                  <a:lnTo>
                    <a:pt x="126" y="369"/>
                  </a:lnTo>
                  <a:lnTo>
                    <a:pt x="127" y="369"/>
                  </a:lnTo>
                  <a:lnTo>
                    <a:pt x="127" y="372"/>
                  </a:lnTo>
                  <a:lnTo>
                    <a:pt x="127" y="369"/>
                  </a:lnTo>
                  <a:lnTo>
                    <a:pt x="128" y="369"/>
                  </a:lnTo>
                  <a:lnTo>
                    <a:pt x="128" y="370"/>
                  </a:lnTo>
                  <a:lnTo>
                    <a:pt x="131" y="370"/>
                  </a:lnTo>
                  <a:lnTo>
                    <a:pt x="133" y="370"/>
                  </a:lnTo>
                  <a:lnTo>
                    <a:pt x="133" y="372"/>
                  </a:lnTo>
                  <a:lnTo>
                    <a:pt x="134" y="373"/>
                  </a:lnTo>
                  <a:lnTo>
                    <a:pt x="134" y="374"/>
                  </a:lnTo>
                  <a:lnTo>
                    <a:pt x="136" y="375"/>
                  </a:lnTo>
                  <a:lnTo>
                    <a:pt x="138" y="374"/>
                  </a:lnTo>
                  <a:lnTo>
                    <a:pt x="138" y="373"/>
                  </a:lnTo>
                  <a:lnTo>
                    <a:pt x="138" y="370"/>
                  </a:lnTo>
                  <a:lnTo>
                    <a:pt x="139" y="368"/>
                  </a:lnTo>
                  <a:lnTo>
                    <a:pt x="139" y="367"/>
                  </a:lnTo>
                  <a:lnTo>
                    <a:pt x="141" y="366"/>
                  </a:lnTo>
                  <a:lnTo>
                    <a:pt x="144" y="366"/>
                  </a:lnTo>
                  <a:lnTo>
                    <a:pt x="143" y="369"/>
                  </a:lnTo>
                  <a:lnTo>
                    <a:pt x="144" y="370"/>
                  </a:lnTo>
                  <a:lnTo>
                    <a:pt x="147" y="370"/>
                  </a:lnTo>
                  <a:lnTo>
                    <a:pt x="147" y="368"/>
                  </a:lnTo>
                  <a:lnTo>
                    <a:pt x="145" y="366"/>
                  </a:lnTo>
                  <a:lnTo>
                    <a:pt x="144" y="361"/>
                  </a:lnTo>
                  <a:lnTo>
                    <a:pt x="144" y="358"/>
                  </a:lnTo>
                  <a:lnTo>
                    <a:pt x="144" y="357"/>
                  </a:lnTo>
                  <a:lnTo>
                    <a:pt x="145" y="357"/>
                  </a:lnTo>
                  <a:lnTo>
                    <a:pt x="147" y="356"/>
                  </a:lnTo>
                  <a:lnTo>
                    <a:pt x="148" y="357"/>
                  </a:lnTo>
                  <a:lnTo>
                    <a:pt x="150" y="358"/>
                  </a:lnTo>
                  <a:lnTo>
                    <a:pt x="150" y="360"/>
                  </a:lnTo>
                  <a:lnTo>
                    <a:pt x="151" y="358"/>
                  </a:lnTo>
                  <a:lnTo>
                    <a:pt x="151" y="361"/>
                  </a:lnTo>
                  <a:lnTo>
                    <a:pt x="151" y="362"/>
                  </a:lnTo>
                  <a:lnTo>
                    <a:pt x="151" y="363"/>
                  </a:lnTo>
                  <a:lnTo>
                    <a:pt x="153" y="363"/>
                  </a:lnTo>
                  <a:lnTo>
                    <a:pt x="154" y="363"/>
                  </a:lnTo>
                  <a:lnTo>
                    <a:pt x="154" y="362"/>
                  </a:lnTo>
                  <a:lnTo>
                    <a:pt x="155" y="364"/>
                  </a:lnTo>
                  <a:lnTo>
                    <a:pt x="154" y="367"/>
                  </a:lnTo>
                  <a:lnTo>
                    <a:pt x="155" y="367"/>
                  </a:lnTo>
                  <a:lnTo>
                    <a:pt x="156" y="367"/>
                  </a:lnTo>
                  <a:lnTo>
                    <a:pt x="156" y="366"/>
                  </a:lnTo>
                  <a:lnTo>
                    <a:pt x="157" y="366"/>
                  </a:lnTo>
                  <a:lnTo>
                    <a:pt x="159" y="366"/>
                  </a:lnTo>
                  <a:lnTo>
                    <a:pt x="159" y="367"/>
                  </a:lnTo>
                  <a:lnTo>
                    <a:pt x="160" y="368"/>
                  </a:lnTo>
                  <a:lnTo>
                    <a:pt x="163" y="369"/>
                  </a:lnTo>
                  <a:lnTo>
                    <a:pt x="167" y="369"/>
                  </a:lnTo>
                  <a:lnTo>
                    <a:pt x="167" y="372"/>
                  </a:lnTo>
                  <a:lnTo>
                    <a:pt x="168" y="373"/>
                  </a:lnTo>
                  <a:lnTo>
                    <a:pt x="171" y="373"/>
                  </a:lnTo>
                  <a:lnTo>
                    <a:pt x="172" y="372"/>
                  </a:lnTo>
                  <a:lnTo>
                    <a:pt x="169" y="369"/>
                  </a:lnTo>
                  <a:lnTo>
                    <a:pt x="169" y="367"/>
                  </a:lnTo>
                  <a:lnTo>
                    <a:pt x="167" y="366"/>
                  </a:lnTo>
                  <a:lnTo>
                    <a:pt x="167" y="362"/>
                  </a:lnTo>
                  <a:lnTo>
                    <a:pt x="168" y="361"/>
                  </a:lnTo>
                  <a:lnTo>
                    <a:pt x="169" y="360"/>
                  </a:lnTo>
                  <a:lnTo>
                    <a:pt x="171" y="360"/>
                  </a:lnTo>
                  <a:lnTo>
                    <a:pt x="173" y="361"/>
                  </a:lnTo>
                  <a:lnTo>
                    <a:pt x="172" y="361"/>
                  </a:lnTo>
                  <a:lnTo>
                    <a:pt x="172" y="360"/>
                  </a:lnTo>
                  <a:lnTo>
                    <a:pt x="173" y="360"/>
                  </a:lnTo>
                  <a:lnTo>
                    <a:pt x="174" y="358"/>
                  </a:lnTo>
                  <a:lnTo>
                    <a:pt x="174" y="360"/>
                  </a:lnTo>
                  <a:lnTo>
                    <a:pt x="175" y="360"/>
                  </a:lnTo>
                  <a:lnTo>
                    <a:pt x="175" y="358"/>
                  </a:lnTo>
                  <a:lnTo>
                    <a:pt x="178" y="358"/>
                  </a:lnTo>
                  <a:lnTo>
                    <a:pt x="178" y="357"/>
                  </a:lnTo>
                  <a:lnTo>
                    <a:pt x="179" y="356"/>
                  </a:lnTo>
                  <a:lnTo>
                    <a:pt x="184" y="355"/>
                  </a:lnTo>
                  <a:lnTo>
                    <a:pt x="186" y="355"/>
                  </a:lnTo>
                  <a:lnTo>
                    <a:pt x="186" y="356"/>
                  </a:lnTo>
                  <a:lnTo>
                    <a:pt x="187" y="357"/>
                  </a:lnTo>
                  <a:lnTo>
                    <a:pt x="190" y="358"/>
                  </a:lnTo>
                  <a:lnTo>
                    <a:pt x="191" y="360"/>
                  </a:lnTo>
                  <a:lnTo>
                    <a:pt x="192" y="360"/>
                  </a:lnTo>
                  <a:lnTo>
                    <a:pt x="193" y="360"/>
                  </a:lnTo>
                  <a:lnTo>
                    <a:pt x="195" y="357"/>
                  </a:lnTo>
                  <a:lnTo>
                    <a:pt x="196" y="357"/>
                  </a:lnTo>
                  <a:lnTo>
                    <a:pt x="196" y="356"/>
                  </a:lnTo>
                  <a:lnTo>
                    <a:pt x="201" y="356"/>
                  </a:lnTo>
                  <a:lnTo>
                    <a:pt x="201" y="355"/>
                  </a:lnTo>
                  <a:lnTo>
                    <a:pt x="201" y="354"/>
                  </a:lnTo>
                  <a:lnTo>
                    <a:pt x="202" y="354"/>
                  </a:lnTo>
                  <a:lnTo>
                    <a:pt x="203" y="352"/>
                  </a:lnTo>
                  <a:lnTo>
                    <a:pt x="204" y="352"/>
                  </a:lnTo>
                  <a:lnTo>
                    <a:pt x="204" y="354"/>
                  </a:lnTo>
                  <a:lnTo>
                    <a:pt x="204" y="355"/>
                  </a:lnTo>
                  <a:lnTo>
                    <a:pt x="203" y="354"/>
                  </a:lnTo>
                  <a:lnTo>
                    <a:pt x="203" y="355"/>
                  </a:lnTo>
                  <a:lnTo>
                    <a:pt x="204" y="356"/>
                  </a:lnTo>
                  <a:lnTo>
                    <a:pt x="204" y="355"/>
                  </a:lnTo>
                  <a:lnTo>
                    <a:pt x="206" y="354"/>
                  </a:lnTo>
                  <a:lnTo>
                    <a:pt x="208" y="354"/>
                  </a:lnTo>
                  <a:lnTo>
                    <a:pt x="208" y="351"/>
                  </a:lnTo>
                  <a:lnTo>
                    <a:pt x="209" y="350"/>
                  </a:lnTo>
                  <a:lnTo>
                    <a:pt x="208" y="350"/>
                  </a:lnTo>
                  <a:lnTo>
                    <a:pt x="208" y="351"/>
                  </a:lnTo>
                  <a:lnTo>
                    <a:pt x="206" y="351"/>
                  </a:lnTo>
                  <a:lnTo>
                    <a:pt x="207" y="349"/>
                  </a:lnTo>
                  <a:lnTo>
                    <a:pt x="206" y="346"/>
                  </a:lnTo>
                  <a:lnTo>
                    <a:pt x="204" y="345"/>
                  </a:lnTo>
                  <a:lnTo>
                    <a:pt x="206" y="345"/>
                  </a:lnTo>
                  <a:lnTo>
                    <a:pt x="206" y="342"/>
                  </a:lnTo>
                  <a:lnTo>
                    <a:pt x="207" y="339"/>
                  </a:lnTo>
                  <a:lnTo>
                    <a:pt x="208" y="339"/>
                  </a:lnTo>
                  <a:lnTo>
                    <a:pt x="208" y="340"/>
                  </a:lnTo>
                  <a:lnTo>
                    <a:pt x="212" y="339"/>
                  </a:lnTo>
                  <a:lnTo>
                    <a:pt x="213" y="342"/>
                  </a:lnTo>
                  <a:lnTo>
                    <a:pt x="214" y="340"/>
                  </a:lnTo>
                  <a:lnTo>
                    <a:pt x="215" y="342"/>
                  </a:lnTo>
                  <a:lnTo>
                    <a:pt x="216" y="340"/>
                  </a:lnTo>
                  <a:lnTo>
                    <a:pt x="219" y="339"/>
                  </a:lnTo>
                  <a:lnTo>
                    <a:pt x="220" y="337"/>
                  </a:lnTo>
                  <a:lnTo>
                    <a:pt x="222" y="337"/>
                  </a:lnTo>
                  <a:lnTo>
                    <a:pt x="222" y="334"/>
                  </a:lnTo>
                  <a:lnTo>
                    <a:pt x="222" y="333"/>
                  </a:lnTo>
                  <a:lnTo>
                    <a:pt x="224" y="333"/>
                  </a:lnTo>
                  <a:lnTo>
                    <a:pt x="226" y="333"/>
                  </a:lnTo>
                  <a:lnTo>
                    <a:pt x="227" y="332"/>
                  </a:lnTo>
                  <a:lnTo>
                    <a:pt x="226" y="331"/>
                  </a:lnTo>
                  <a:lnTo>
                    <a:pt x="226" y="330"/>
                  </a:lnTo>
                  <a:lnTo>
                    <a:pt x="227" y="330"/>
                  </a:lnTo>
                  <a:lnTo>
                    <a:pt x="227" y="328"/>
                  </a:lnTo>
                  <a:lnTo>
                    <a:pt x="227" y="330"/>
                  </a:lnTo>
                  <a:lnTo>
                    <a:pt x="228" y="330"/>
                  </a:lnTo>
                  <a:lnTo>
                    <a:pt x="230" y="331"/>
                  </a:lnTo>
                  <a:lnTo>
                    <a:pt x="231" y="331"/>
                  </a:lnTo>
                  <a:lnTo>
                    <a:pt x="232" y="333"/>
                  </a:lnTo>
                  <a:lnTo>
                    <a:pt x="233" y="332"/>
                  </a:lnTo>
                  <a:lnTo>
                    <a:pt x="234" y="331"/>
                  </a:lnTo>
                  <a:lnTo>
                    <a:pt x="236" y="331"/>
                  </a:lnTo>
                  <a:lnTo>
                    <a:pt x="237" y="331"/>
                  </a:lnTo>
                  <a:lnTo>
                    <a:pt x="238" y="331"/>
                  </a:lnTo>
                  <a:lnTo>
                    <a:pt x="239" y="331"/>
                  </a:lnTo>
                  <a:lnTo>
                    <a:pt x="240" y="331"/>
                  </a:lnTo>
                  <a:lnTo>
                    <a:pt x="240" y="332"/>
                  </a:lnTo>
                  <a:lnTo>
                    <a:pt x="242" y="332"/>
                  </a:lnTo>
                  <a:lnTo>
                    <a:pt x="244" y="331"/>
                  </a:lnTo>
                  <a:lnTo>
                    <a:pt x="245" y="331"/>
                  </a:lnTo>
                  <a:lnTo>
                    <a:pt x="245" y="330"/>
                  </a:lnTo>
                  <a:lnTo>
                    <a:pt x="246" y="330"/>
                  </a:lnTo>
                  <a:lnTo>
                    <a:pt x="246" y="328"/>
                  </a:lnTo>
                  <a:lnTo>
                    <a:pt x="249" y="328"/>
                  </a:lnTo>
                  <a:lnTo>
                    <a:pt x="249" y="330"/>
                  </a:lnTo>
                  <a:lnTo>
                    <a:pt x="250" y="330"/>
                  </a:lnTo>
                  <a:lnTo>
                    <a:pt x="250" y="331"/>
                  </a:lnTo>
                  <a:lnTo>
                    <a:pt x="250" y="330"/>
                  </a:lnTo>
                  <a:lnTo>
                    <a:pt x="251" y="328"/>
                  </a:lnTo>
                  <a:lnTo>
                    <a:pt x="250" y="327"/>
                  </a:lnTo>
                  <a:lnTo>
                    <a:pt x="251" y="327"/>
                  </a:lnTo>
                  <a:lnTo>
                    <a:pt x="251" y="326"/>
                  </a:lnTo>
                  <a:lnTo>
                    <a:pt x="252" y="326"/>
                  </a:lnTo>
                  <a:lnTo>
                    <a:pt x="255" y="325"/>
                  </a:lnTo>
                  <a:lnTo>
                    <a:pt x="256" y="325"/>
                  </a:lnTo>
                  <a:lnTo>
                    <a:pt x="256" y="326"/>
                  </a:lnTo>
                  <a:lnTo>
                    <a:pt x="257" y="326"/>
                  </a:lnTo>
                  <a:lnTo>
                    <a:pt x="259" y="325"/>
                  </a:lnTo>
                  <a:lnTo>
                    <a:pt x="257" y="324"/>
                  </a:lnTo>
                  <a:lnTo>
                    <a:pt x="256" y="324"/>
                  </a:lnTo>
                  <a:lnTo>
                    <a:pt x="256" y="322"/>
                  </a:lnTo>
                  <a:lnTo>
                    <a:pt x="257" y="322"/>
                  </a:lnTo>
                  <a:lnTo>
                    <a:pt x="256" y="321"/>
                  </a:lnTo>
                  <a:lnTo>
                    <a:pt x="259" y="320"/>
                  </a:lnTo>
                  <a:lnTo>
                    <a:pt x="259" y="321"/>
                  </a:lnTo>
                  <a:lnTo>
                    <a:pt x="260" y="322"/>
                  </a:lnTo>
                  <a:lnTo>
                    <a:pt x="260" y="321"/>
                  </a:lnTo>
                  <a:lnTo>
                    <a:pt x="261" y="321"/>
                  </a:lnTo>
                  <a:lnTo>
                    <a:pt x="260" y="320"/>
                  </a:lnTo>
                  <a:lnTo>
                    <a:pt x="261" y="319"/>
                  </a:lnTo>
                  <a:lnTo>
                    <a:pt x="262" y="319"/>
                  </a:lnTo>
                  <a:lnTo>
                    <a:pt x="261" y="319"/>
                  </a:lnTo>
                  <a:lnTo>
                    <a:pt x="261" y="318"/>
                  </a:lnTo>
                  <a:lnTo>
                    <a:pt x="261" y="316"/>
                  </a:lnTo>
                  <a:lnTo>
                    <a:pt x="261" y="315"/>
                  </a:lnTo>
                  <a:lnTo>
                    <a:pt x="260" y="314"/>
                  </a:lnTo>
                  <a:lnTo>
                    <a:pt x="261" y="314"/>
                  </a:lnTo>
                  <a:lnTo>
                    <a:pt x="261" y="313"/>
                  </a:lnTo>
                  <a:lnTo>
                    <a:pt x="262" y="313"/>
                  </a:lnTo>
                  <a:lnTo>
                    <a:pt x="263" y="313"/>
                  </a:lnTo>
                  <a:lnTo>
                    <a:pt x="262" y="313"/>
                  </a:lnTo>
                  <a:lnTo>
                    <a:pt x="262" y="312"/>
                  </a:lnTo>
                  <a:lnTo>
                    <a:pt x="262" y="310"/>
                  </a:lnTo>
                  <a:lnTo>
                    <a:pt x="265" y="309"/>
                  </a:lnTo>
                  <a:lnTo>
                    <a:pt x="266" y="310"/>
                  </a:lnTo>
                  <a:lnTo>
                    <a:pt x="266" y="309"/>
                  </a:lnTo>
                  <a:lnTo>
                    <a:pt x="267" y="308"/>
                  </a:lnTo>
                  <a:lnTo>
                    <a:pt x="267" y="307"/>
                  </a:lnTo>
                  <a:lnTo>
                    <a:pt x="267" y="306"/>
                  </a:lnTo>
                  <a:lnTo>
                    <a:pt x="268" y="306"/>
                  </a:lnTo>
                  <a:lnTo>
                    <a:pt x="268" y="303"/>
                  </a:lnTo>
                  <a:lnTo>
                    <a:pt x="269" y="303"/>
                  </a:lnTo>
                  <a:lnTo>
                    <a:pt x="271" y="302"/>
                  </a:lnTo>
                  <a:lnTo>
                    <a:pt x="272" y="301"/>
                  </a:lnTo>
                  <a:lnTo>
                    <a:pt x="272" y="300"/>
                  </a:lnTo>
                  <a:lnTo>
                    <a:pt x="271" y="300"/>
                  </a:lnTo>
                  <a:lnTo>
                    <a:pt x="271" y="297"/>
                  </a:lnTo>
                  <a:lnTo>
                    <a:pt x="271" y="295"/>
                  </a:lnTo>
                  <a:lnTo>
                    <a:pt x="272" y="295"/>
                  </a:lnTo>
                  <a:lnTo>
                    <a:pt x="271" y="295"/>
                  </a:lnTo>
                  <a:lnTo>
                    <a:pt x="269" y="295"/>
                  </a:lnTo>
                  <a:lnTo>
                    <a:pt x="268" y="295"/>
                  </a:lnTo>
                  <a:lnTo>
                    <a:pt x="268" y="296"/>
                  </a:lnTo>
                  <a:lnTo>
                    <a:pt x="267" y="295"/>
                  </a:lnTo>
                  <a:lnTo>
                    <a:pt x="265" y="295"/>
                  </a:lnTo>
                  <a:lnTo>
                    <a:pt x="265" y="294"/>
                  </a:lnTo>
                  <a:lnTo>
                    <a:pt x="263" y="294"/>
                  </a:lnTo>
                  <a:lnTo>
                    <a:pt x="263" y="295"/>
                  </a:lnTo>
                  <a:lnTo>
                    <a:pt x="262" y="295"/>
                  </a:lnTo>
                  <a:lnTo>
                    <a:pt x="261" y="295"/>
                  </a:lnTo>
                  <a:lnTo>
                    <a:pt x="261" y="294"/>
                  </a:lnTo>
                  <a:lnTo>
                    <a:pt x="260" y="294"/>
                  </a:lnTo>
                  <a:lnTo>
                    <a:pt x="259" y="294"/>
                  </a:lnTo>
                  <a:lnTo>
                    <a:pt x="257" y="294"/>
                  </a:lnTo>
                  <a:lnTo>
                    <a:pt x="256" y="294"/>
                  </a:lnTo>
                  <a:lnTo>
                    <a:pt x="255" y="295"/>
                  </a:lnTo>
                  <a:lnTo>
                    <a:pt x="254" y="295"/>
                  </a:lnTo>
                  <a:lnTo>
                    <a:pt x="254" y="296"/>
                  </a:lnTo>
                  <a:lnTo>
                    <a:pt x="252" y="296"/>
                  </a:lnTo>
                  <a:lnTo>
                    <a:pt x="251" y="297"/>
                  </a:lnTo>
                  <a:lnTo>
                    <a:pt x="251" y="298"/>
                  </a:lnTo>
                  <a:lnTo>
                    <a:pt x="250" y="298"/>
                  </a:lnTo>
                  <a:lnTo>
                    <a:pt x="250" y="300"/>
                  </a:lnTo>
                  <a:lnTo>
                    <a:pt x="250" y="301"/>
                  </a:lnTo>
                  <a:lnTo>
                    <a:pt x="249" y="301"/>
                  </a:lnTo>
                  <a:lnTo>
                    <a:pt x="250" y="302"/>
                  </a:lnTo>
                  <a:lnTo>
                    <a:pt x="250" y="303"/>
                  </a:lnTo>
                  <a:lnTo>
                    <a:pt x="251" y="303"/>
                  </a:lnTo>
                  <a:lnTo>
                    <a:pt x="251" y="304"/>
                  </a:lnTo>
                  <a:lnTo>
                    <a:pt x="252" y="306"/>
                  </a:lnTo>
                  <a:lnTo>
                    <a:pt x="251" y="307"/>
                  </a:lnTo>
                  <a:lnTo>
                    <a:pt x="250" y="308"/>
                  </a:lnTo>
                  <a:lnTo>
                    <a:pt x="250" y="309"/>
                  </a:lnTo>
                  <a:lnTo>
                    <a:pt x="249" y="309"/>
                  </a:lnTo>
                  <a:lnTo>
                    <a:pt x="249" y="310"/>
                  </a:lnTo>
                  <a:lnTo>
                    <a:pt x="248" y="312"/>
                  </a:lnTo>
                  <a:lnTo>
                    <a:pt x="246" y="312"/>
                  </a:lnTo>
                  <a:lnTo>
                    <a:pt x="246" y="313"/>
                  </a:lnTo>
                  <a:lnTo>
                    <a:pt x="245" y="313"/>
                  </a:lnTo>
                  <a:lnTo>
                    <a:pt x="244" y="314"/>
                  </a:lnTo>
                  <a:lnTo>
                    <a:pt x="243" y="315"/>
                  </a:lnTo>
                  <a:lnTo>
                    <a:pt x="243" y="316"/>
                  </a:lnTo>
                  <a:lnTo>
                    <a:pt x="244" y="316"/>
                  </a:lnTo>
                  <a:lnTo>
                    <a:pt x="245" y="316"/>
                  </a:lnTo>
                  <a:lnTo>
                    <a:pt x="245" y="315"/>
                  </a:lnTo>
                  <a:lnTo>
                    <a:pt x="246" y="315"/>
                  </a:lnTo>
                  <a:lnTo>
                    <a:pt x="248" y="315"/>
                  </a:lnTo>
                  <a:lnTo>
                    <a:pt x="248" y="316"/>
                  </a:lnTo>
                  <a:lnTo>
                    <a:pt x="249" y="316"/>
                  </a:lnTo>
                  <a:lnTo>
                    <a:pt x="250" y="316"/>
                  </a:lnTo>
                  <a:lnTo>
                    <a:pt x="251" y="316"/>
                  </a:lnTo>
                  <a:lnTo>
                    <a:pt x="252" y="319"/>
                  </a:lnTo>
                  <a:lnTo>
                    <a:pt x="251" y="319"/>
                  </a:lnTo>
                  <a:lnTo>
                    <a:pt x="250" y="319"/>
                  </a:lnTo>
                  <a:lnTo>
                    <a:pt x="250" y="320"/>
                  </a:lnTo>
                  <a:lnTo>
                    <a:pt x="249" y="320"/>
                  </a:lnTo>
                  <a:lnTo>
                    <a:pt x="249" y="322"/>
                  </a:lnTo>
                  <a:lnTo>
                    <a:pt x="248" y="322"/>
                  </a:lnTo>
                  <a:lnTo>
                    <a:pt x="246" y="324"/>
                  </a:lnTo>
                  <a:lnTo>
                    <a:pt x="245" y="325"/>
                  </a:lnTo>
                  <a:lnTo>
                    <a:pt x="244" y="325"/>
                  </a:lnTo>
                  <a:lnTo>
                    <a:pt x="243" y="325"/>
                  </a:lnTo>
                  <a:lnTo>
                    <a:pt x="243" y="324"/>
                  </a:lnTo>
                  <a:lnTo>
                    <a:pt x="242" y="324"/>
                  </a:lnTo>
                  <a:lnTo>
                    <a:pt x="242" y="325"/>
                  </a:lnTo>
                  <a:lnTo>
                    <a:pt x="242" y="326"/>
                  </a:lnTo>
                  <a:lnTo>
                    <a:pt x="240" y="325"/>
                  </a:lnTo>
                  <a:lnTo>
                    <a:pt x="240" y="326"/>
                  </a:lnTo>
                  <a:lnTo>
                    <a:pt x="239" y="325"/>
                  </a:lnTo>
                  <a:lnTo>
                    <a:pt x="238" y="325"/>
                  </a:lnTo>
                  <a:lnTo>
                    <a:pt x="238" y="326"/>
                  </a:lnTo>
                  <a:lnTo>
                    <a:pt x="237" y="326"/>
                  </a:lnTo>
                  <a:lnTo>
                    <a:pt x="236" y="326"/>
                  </a:lnTo>
                  <a:lnTo>
                    <a:pt x="237" y="324"/>
                  </a:lnTo>
                  <a:lnTo>
                    <a:pt x="236" y="324"/>
                  </a:lnTo>
                  <a:lnTo>
                    <a:pt x="234" y="322"/>
                  </a:lnTo>
                  <a:lnTo>
                    <a:pt x="232" y="324"/>
                  </a:lnTo>
                  <a:lnTo>
                    <a:pt x="230" y="324"/>
                  </a:lnTo>
                  <a:lnTo>
                    <a:pt x="230" y="322"/>
                  </a:lnTo>
                  <a:lnTo>
                    <a:pt x="228" y="322"/>
                  </a:lnTo>
                  <a:lnTo>
                    <a:pt x="228" y="324"/>
                  </a:lnTo>
                  <a:lnTo>
                    <a:pt x="227" y="324"/>
                  </a:lnTo>
                  <a:lnTo>
                    <a:pt x="227" y="322"/>
                  </a:lnTo>
                  <a:lnTo>
                    <a:pt x="226" y="322"/>
                  </a:lnTo>
                  <a:lnTo>
                    <a:pt x="225" y="322"/>
                  </a:lnTo>
                  <a:lnTo>
                    <a:pt x="225" y="321"/>
                  </a:lnTo>
                  <a:lnTo>
                    <a:pt x="225" y="320"/>
                  </a:lnTo>
                  <a:lnTo>
                    <a:pt x="228" y="319"/>
                  </a:lnTo>
                  <a:lnTo>
                    <a:pt x="228" y="318"/>
                  </a:lnTo>
                  <a:lnTo>
                    <a:pt x="227" y="315"/>
                  </a:lnTo>
                  <a:lnTo>
                    <a:pt x="230" y="315"/>
                  </a:lnTo>
                  <a:lnTo>
                    <a:pt x="230" y="314"/>
                  </a:lnTo>
                  <a:lnTo>
                    <a:pt x="232" y="314"/>
                  </a:lnTo>
                  <a:lnTo>
                    <a:pt x="231" y="313"/>
                  </a:lnTo>
                  <a:lnTo>
                    <a:pt x="231" y="312"/>
                  </a:lnTo>
                  <a:lnTo>
                    <a:pt x="231" y="310"/>
                  </a:lnTo>
                  <a:lnTo>
                    <a:pt x="230" y="310"/>
                  </a:lnTo>
                  <a:lnTo>
                    <a:pt x="228" y="309"/>
                  </a:lnTo>
                  <a:lnTo>
                    <a:pt x="228" y="308"/>
                  </a:lnTo>
                  <a:lnTo>
                    <a:pt x="228" y="307"/>
                  </a:lnTo>
                  <a:lnTo>
                    <a:pt x="230" y="307"/>
                  </a:lnTo>
                  <a:lnTo>
                    <a:pt x="230" y="306"/>
                  </a:lnTo>
                  <a:lnTo>
                    <a:pt x="230" y="304"/>
                  </a:lnTo>
                  <a:lnTo>
                    <a:pt x="230" y="306"/>
                  </a:lnTo>
                  <a:lnTo>
                    <a:pt x="231" y="306"/>
                  </a:lnTo>
                  <a:lnTo>
                    <a:pt x="232" y="304"/>
                  </a:lnTo>
                  <a:lnTo>
                    <a:pt x="232" y="306"/>
                  </a:lnTo>
                  <a:lnTo>
                    <a:pt x="233" y="306"/>
                  </a:lnTo>
                  <a:lnTo>
                    <a:pt x="233" y="303"/>
                  </a:lnTo>
                  <a:lnTo>
                    <a:pt x="233" y="302"/>
                  </a:lnTo>
                  <a:lnTo>
                    <a:pt x="232" y="302"/>
                  </a:lnTo>
                  <a:lnTo>
                    <a:pt x="231" y="303"/>
                  </a:lnTo>
                  <a:lnTo>
                    <a:pt x="232" y="302"/>
                  </a:lnTo>
                  <a:lnTo>
                    <a:pt x="231" y="301"/>
                  </a:lnTo>
                  <a:lnTo>
                    <a:pt x="231" y="302"/>
                  </a:lnTo>
                  <a:lnTo>
                    <a:pt x="228" y="302"/>
                  </a:lnTo>
                  <a:lnTo>
                    <a:pt x="228" y="303"/>
                  </a:lnTo>
                  <a:lnTo>
                    <a:pt x="227" y="304"/>
                  </a:lnTo>
                  <a:lnTo>
                    <a:pt x="226" y="304"/>
                  </a:lnTo>
                  <a:lnTo>
                    <a:pt x="225" y="304"/>
                  </a:lnTo>
                  <a:lnTo>
                    <a:pt x="224" y="306"/>
                  </a:lnTo>
                  <a:lnTo>
                    <a:pt x="222" y="306"/>
                  </a:lnTo>
                  <a:lnTo>
                    <a:pt x="221" y="306"/>
                  </a:lnTo>
                  <a:lnTo>
                    <a:pt x="221" y="307"/>
                  </a:lnTo>
                  <a:lnTo>
                    <a:pt x="220" y="306"/>
                  </a:lnTo>
                  <a:lnTo>
                    <a:pt x="219" y="306"/>
                  </a:lnTo>
                  <a:lnTo>
                    <a:pt x="219" y="307"/>
                  </a:lnTo>
                  <a:lnTo>
                    <a:pt x="218" y="307"/>
                  </a:lnTo>
                  <a:lnTo>
                    <a:pt x="216" y="307"/>
                  </a:lnTo>
                  <a:lnTo>
                    <a:pt x="215" y="306"/>
                  </a:lnTo>
                  <a:lnTo>
                    <a:pt x="215" y="307"/>
                  </a:lnTo>
                  <a:lnTo>
                    <a:pt x="214" y="308"/>
                  </a:lnTo>
                  <a:lnTo>
                    <a:pt x="214" y="309"/>
                  </a:lnTo>
                  <a:lnTo>
                    <a:pt x="213" y="308"/>
                  </a:lnTo>
                  <a:lnTo>
                    <a:pt x="213" y="309"/>
                  </a:lnTo>
                  <a:lnTo>
                    <a:pt x="212" y="309"/>
                  </a:lnTo>
                  <a:lnTo>
                    <a:pt x="212" y="310"/>
                  </a:lnTo>
                  <a:lnTo>
                    <a:pt x="213" y="310"/>
                  </a:lnTo>
                  <a:lnTo>
                    <a:pt x="212" y="310"/>
                  </a:lnTo>
                  <a:lnTo>
                    <a:pt x="212" y="312"/>
                  </a:lnTo>
                  <a:lnTo>
                    <a:pt x="210" y="312"/>
                  </a:lnTo>
                  <a:lnTo>
                    <a:pt x="209" y="310"/>
                  </a:lnTo>
                  <a:lnTo>
                    <a:pt x="209" y="312"/>
                  </a:lnTo>
                  <a:lnTo>
                    <a:pt x="208" y="313"/>
                  </a:lnTo>
                  <a:lnTo>
                    <a:pt x="207" y="312"/>
                  </a:lnTo>
                  <a:lnTo>
                    <a:pt x="206" y="312"/>
                  </a:lnTo>
                  <a:lnTo>
                    <a:pt x="204" y="310"/>
                  </a:lnTo>
                  <a:lnTo>
                    <a:pt x="202" y="310"/>
                  </a:lnTo>
                  <a:lnTo>
                    <a:pt x="202" y="309"/>
                  </a:lnTo>
                  <a:lnTo>
                    <a:pt x="200" y="309"/>
                  </a:lnTo>
                  <a:lnTo>
                    <a:pt x="198" y="309"/>
                  </a:lnTo>
                  <a:lnTo>
                    <a:pt x="198" y="308"/>
                  </a:lnTo>
                  <a:lnTo>
                    <a:pt x="197" y="308"/>
                  </a:lnTo>
                  <a:lnTo>
                    <a:pt x="196" y="307"/>
                  </a:lnTo>
                  <a:lnTo>
                    <a:pt x="196" y="308"/>
                  </a:lnTo>
                  <a:lnTo>
                    <a:pt x="196" y="309"/>
                  </a:lnTo>
                  <a:lnTo>
                    <a:pt x="195" y="308"/>
                  </a:lnTo>
                  <a:lnTo>
                    <a:pt x="195" y="310"/>
                  </a:lnTo>
                  <a:lnTo>
                    <a:pt x="193" y="310"/>
                  </a:lnTo>
                  <a:lnTo>
                    <a:pt x="192" y="312"/>
                  </a:lnTo>
                  <a:lnTo>
                    <a:pt x="191" y="312"/>
                  </a:lnTo>
                  <a:lnTo>
                    <a:pt x="191" y="313"/>
                  </a:lnTo>
                  <a:lnTo>
                    <a:pt x="190" y="314"/>
                  </a:lnTo>
                  <a:lnTo>
                    <a:pt x="190" y="313"/>
                  </a:lnTo>
                  <a:lnTo>
                    <a:pt x="189" y="312"/>
                  </a:lnTo>
                  <a:lnTo>
                    <a:pt x="189" y="310"/>
                  </a:lnTo>
                  <a:lnTo>
                    <a:pt x="187" y="312"/>
                  </a:lnTo>
                  <a:lnTo>
                    <a:pt x="186" y="313"/>
                  </a:lnTo>
                  <a:lnTo>
                    <a:pt x="187" y="313"/>
                  </a:lnTo>
                  <a:lnTo>
                    <a:pt x="186" y="315"/>
                  </a:lnTo>
                  <a:lnTo>
                    <a:pt x="187" y="315"/>
                  </a:lnTo>
                  <a:lnTo>
                    <a:pt x="186" y="315"/>
                  </a:lnTo>
                  <a:lnTo>
                    <a:pt x="186" y="314"/>
                  </a:lnTo>
                  <a:lnTo>
                    <a:pt x="185" y="315"/>
                  </a:lnTo>
                  <a:lnTo>
                    <a:pt x="185" y="316"/>
                  </a:lnTo>
                  <a:lnTo>
                    <a:pt x="184" y="316"/>
                  </a:lnTo>
                  <a:lnTo>
                    <a:pt x="183" y="314"/>
                  </a:lnTo>
                  <a:lnTo>
                    <a:pt x="181" y="313"/>
                  </a:lnTo>
                  <a:lnTo>
                    <a:pt x="181" y="314"/>
                  </a:lnTo>
                  <a:lnTo>
                    <a:pt x="180" y="314"/>
                  </a:lnTo>
                  <a:lnTo>
                    <a:pt x="178" y="315"/>
                  </a:lnTo>
                  <a:lnTo>
                    <a:pt x="178" y="314"/>
                  </a:lnTo>
                  <a:lnTo>
                    <a:pt x="179" y="314"/>
                  </a:lnTo>
                  <a:lnTo>
                    <a:pt x="178" y="313"/>
                  </a:lnTo>
                  <a:lnTo>
                    <a:pt x="178" y="312"/>
                  </a:lnTo>
                  <a:lnTo>
                    <a:pt x="178" y="310"/>
                  </a:lnTo>
                  <a:lnTo>
                    <a:pt x="179" y="310"/>
                  </a:lnTo>
                  <a:lnTo>
                    <a:pt x="179" y="309"/>
                  </a:lnTo>
                  <a:lnTo>
                    <a:pt x="180" y="309"/>
                  </a:lnTo>
                  <a:lnTo>
                    <a:pt x="181" y="309"/>
                  </a:lnTo>
                  <a:lnTo>
                    <a:pt x="183" y="309"/>
                  </a:lnTo>
                  <a:lnTo>
                    <a:pt x="184" y="309"/>
                  </a:lnTo>
                  <a:lnTo>
                    <a:pt x="183" y="308"/>
                  </a:lnTo>
                  <a:lnTo>
                    <a:pt x="184" y="307"/>
                  </a:lnTo>
                  <a:lnTo>
                    <a:pt x="183" y="307"/>
                  </a:lnTo>
                  <a:lnTo>
                    <a:pt x="183" y="306"/>
                  </a:lnTo>
                  <a:lnTo>
                    <a:pt x="185" y="306"/>
                  </a:lnTo>
                  <a:lnTo>
                    <a:pt x="186" y="304"/>
                  </a:lnTo>
                  <a:lnTo>
                    <a:pt x="187" y="306"/>
                  </a:lnTo>
                  <a:lnTo>
                    <a:pt x="189" y="306"/>
                  </a:lnTo>
                  <a:lnTo>
                    <a:pt x="189" y="304"/>
                  </a:lnTo>
                  <a:lnTo>
                    <a:pt x="187" y="304"/>
                  </a:lnTo>
                  <a:lnTo>
                    <a:pt x="186" y="303"/>
                  </a:lnTo>
                  <a:lnTo>
                    <a:pt x="185" y="303"/>
                  </a:lnTo>
                  <a:lnTo>
                    <a:pt x="185" y="302"/>
                  </a:lnTo>
                  <a:lnTo>
                    <a:pt x="183" y="302"/>
                  </a:lnTo>
                  <a:lnTo>
                    <a:pt x="183" y="303"/>
                  </a:lnTo>
                  <a:lnTo>
                    <a:pt x="181" y="304"/>
                  </a:lnTo>
                  <a:lnTo>
                    <a:pt x="179" y="304"/>
                  </a:lnTo>
                  <a:lnTo>
                    <a:pt x="178" y="304"/>
                  </a:lnTo>
                  <a:lnTo>
                    <a:pt x="178" y="306"/>
                  </a:lnTo>
                  <a:lnTo>
                    <a:pt x="178" y="307"/>
                  </a:lnTo>
                  <a:lnTo>
                    <a:pt x="177" y="307"/>
                  </a:lnTo>
                  <a:lnTo>
                    <a:pt x="177" y="306"/>
                  </a:lnTo>
                  <a:lnTo>
                    <a:pt x="177" y="304"/>
                  </a:lnTo>
                  <a:lnTo>
                    <a:pt x="175" y="304"/>
                  </a:lnTo>
                  <a:lnTo>
                    <a:pt x="174" y="306"/>
                  </a:lnTo>
                  <a:lnTo>
                    <a:pt x="173" y="308"/>
                  </a:lnTo>
                  <a:lnTo>
                    <a:pt x="173" y="310"/>
                  </a:lnTo>
                  <a:lnTo>
                    <a:pt x="172" y="307"/>
                  </a:lnTo>
                  <a:lnTo>
                    <a:pt x="171" y="307"/>
                  </a:lnTo>
                  <a:lnTo>
                    <a:pt x="169" y="307"/>
                  </a:lnTo>
                  <a:lnTo>
                    <a:pt x="168" y="307"/>
                  </a:lnTo>
                  <a:lnTo>
                    <a:pt x="168" y="306"/>
                  </a:lnTo>
                  <a:lnTo>
                    <a:pt x="168" y="304"/>
                  </a:lnTo>
                  <a:lnTo>
                    <a:pt x="168" y="306"/>
                  </a:lnTo>
                  <a:lnTo>
                    <a:pt x="167" y="306"/>
                  </a:lnTo>
                  <a:lnTo>
                    <a:pt x="166" y="306"/>
                  </a:lnTo>
                  <a:lnTo>
                    <a:pt x="166" y="304"/>
                  </a:lnTo>
                  <a:lnTo>
                    <a:pt x="165" y="304"/>
                  </a:lnTo>
                  <a:lnTo>
                    <a:pt x="165" y="303"/>
                  </a:lnTo>
                  <a:lnTo>
                    <a:pt x="163" y="303"/>
                  </a:lnTo>
                  <a:lnTo>
                    <a:pt x="163" y="304"/>
                  </a:lnTo>
                  <a:lnTo>
                    <a:pt x="162" y="304"/>
                  </a:lnTo>
                  <a:lnTo>
                    <a:pt x="161" y="303"/>
                  </a:lnTo>
                  <a:lnTo>
                    <a:pt x="162" y="303"/>
                  </a:lnTo>
                  <a:lnTo>
                    <a:pt x="161" y="302"/>
                  </a:lnTo>
                  <a:lnTo>
                    <a:pt x="160" y="302"/>
                  </a:lnTo>
                  <a:lnTo>
                    <a:pt x="160" y="301"/>
                  </a:lnTo>
                  <a:lnTo>
                    <a:pt x="159" y="302"/>
                  </a:lnTo>
                  <a:lnTo>
                    <a:pt x="159" y="301"/>
                  </a:lnTo>
                  <a:lnTo>
                    <a:pt x="157" y="301"/>
                  </a:lnTo>
                  <a:lnTo>
                    <a:pt x="156" y="300"/>
                  </a:lnTo>
                  <a:lnTo>
                    <a:pt x="157" y="300"/>
                  </a:lnTo>
                  <a:lnTo>
                    <a:pt x="159" y="300"/>
                  </a:lnTo>
                  <a:lnTo>
                    <a:pt x="157" y="298"/>
                  </a:lnTo>
                  <a:lnTo>
                    <a:pt x="156" y="297"/>
                  </a:lnTo>
                  <a:lnTo>
                    <a:pt x="155" y="296"/>
                  </a:lnTo>
                  <a:lnTo>
                    <a:pt x="156" y="296"/>
                  </a:lnTo>
                  <a:lnTo>
                    <a:pt x="157" y="296"/>
                  </a:lnTo>
                  <a:lnTo>
                    <a:pt x="157" y="295"/>
                  </a:lnTo>
                  <a:lnTo>
                    <a:pt x="156" y="295"/>
                  </a:lnTo>
                  <a:lnTo>
                    <a:pt x="156" y="294"/>
                  </a:lnTo>
                  <a:lnTo>
                    <a:pt x="157" y="294"/>
                  </a:lnTo>
                  <a:lnTo>
                    <a:pt x="157" y="292"/>
                  </a:lnTo>
                  <a:lnTo>
                    <a:pt x="156" y="294"/>
                  </a:lnTo>
                  <a:lnTo>
                    <a:pt x="156" y="292"/>
                  </a:lnTo>
                  <a:lnTo>
                    <a:pt x="155" y="292"/>
                  </a:lnTo>
                  <a:lnTo>
                    <a:pt x="155" y="291"/>
                  </a:lnTo>
                  <a:lnTo>
                    <a:pt x="153" y="291"/>
                  </a:lnTo>
                  <a:lnTo>
                    <a:pt x="154" y="290"/>
                  </a:lnTo>
                  <a:lnTo>
                    <a:pt x="153" y="290"/>
                  </a:lnTo>
                  <a:lnTo>
                    <a:pt x="153" y="289"/>
                  </a:lnTo>
                  <a:lnTo>
                    <a:pt x="153" y="288"/>
                  </a:lnTo>
                  <a:lnTo>
                    <a:pt x="153" y="286"/>
                  </a:lnTo>
                  <a:lnTo>
                    <a:pt x="151" y="286"/>
                  </a:lnTo>
                  <a:lnTo>
                    <a:pt x="151" y="285"/>
                  </a:lnTo>
                  <a:lnTo>
                    <a:pt x="151" y="284"/>
                  </a:lnTo>
                  <a:lnTo>
                    <a:pt x="151" y="283"/>
                  </a:lnTo>
                  <a:lnTo>
                    <a:pt x="150" y="283"/>
                  </a:lnTo>
                  <a:lnTo>
                    <a:pt x="150" y="282"/>
                  </a:lnTo>
                  <a:lnTo>
                    <a:pt x="150" y="280"/>
                  </a:lnTo>
                  <a:lnTo>
                    <a:pt x="150" y="279"/>
                  </a:lnTo>
                  <a:lnTo>
                    <a:pt x="151" y="279"/>
                  </a:lnTo>
                  <a:lnTo>
                    <a:pt x="151" y="278"/>
                  </a:lnTo>
                  <a:lnTo>
                    <a:pt x="153" y="278"/>
                  </a:lnTo>
                  <a:lnTo>
                    <a:pt x="153" y="279"/>
                  </a:lnTo>
                  <a:lnTo>
                    <a:pt x="154" y="279"/>
                  </a:lnTo>
                  <a:lnTo>
                    <a:pt x="155" y="280"/>
                  </a:lnTo>
                  <a:lnTo>
                    <a:pt x="155" y="282"/>
                  </a:lnTo>
                  <a:lnTo>
                    <a:pt x="156" y="282"/>
                  </a:lnTo>
                  <a:lnTo>
                    <a:pt x="156" y="280"/>
                  </a:lnTo>
                  <a:lnTo>
                    <a:pt x="157" y="280"/>
                  </a:lnTo>
                  <a:lnTo>
                    <a:pt x="159" y="280"/>
                  </a:lnTo>
                  <a:lnTo>
                    <a:pt x="160" y="280"/>
                  </a:lnTo>
                  <a:lnTo>
                    <a:pt x="160" y="279"/>
                  </a:lnTo>
                  <a:lnTo>
                    <a:pt x="161" y="279"/>
                  </a:lnTo>
                  <a:lnTo>
                    <a:pt x="161" y="278"/>
                  </a:lnTo>
                  <a:lnTo>
                    <a:pt x="161" y="277"/>
                  </a:lnTo>
                  <a:lnTo>
                    <a:pt x="162" y="277"/>
                  </a:lnTo>
                  <a:lnTo>
                    <a:pt x="163" y="277"/>
                  </a:lnTo>
                  <a:lnTo>
                    <a:pt x="163" y="278"/>
                  </a:lnTo>
                  <a:lnTo>
                    <a:pt x="165" y="279"/>
                  </a:lnTo>
                  <a:lnTo>
                    <a:pt x="165" y="278"/>
                  </a:lnTo>
                  <a:lnTo>
                    <a:pt x="166" y="278"/>
                  </a:lnTo>
                  <a:lnTo>
                    <a:pt x="166" y="277"/>
                  </a:lnTo>
                  <a:lnTo>
                    <a:pt x="166" y="275"/>
                  </a:lnTo>
                  <a:lnTo>
                    <a:pt x="167" y="275"/>
                  </a:lnTo>
                  <a:lnTo>
                    <a:pt x="167" y="277"/>
                  </a:lnTo>
                  <a:lnTo>
                    <a:pt x="168" y="277"/>
                  </a:lnTo>
                  <a:lnTo>
                    <a:pt x="171" y="277"/>
                  </a:lnTo>
                  <a:lnTo>
                    <a:pt x="169" y="275"/>
                  </a:lnTo>
                  <a:lnTo>
                    <a:pt x="168" y="274"/>
                  </a:lnTo>
                  <a:lnTo>
                    <a:pt x="168" y="273"/>
                  </a:lnTo>
                  <a:lnTo>
                    <a:pt x="168" y="272"/>
                  </a:lnTo>
                  <a:lnTo>
                    <a:pt x="167" y="272"/>
                  </a:lnTo>
                  <a:lnTo>
                    <a:pt x="167" y="271"/>
                  </a:lnTo>
                  <a:lnTo>
                    <a:pt x="166" y="271"/>
                  </a:lnTo>
                  <a:lnTo>
                    <a:pt x="165" y="269"/>
                  </a:lnTo>
                  <a:lnTo>
                    <a:pt x="166" y="268"/>
                  </a:lnTo>
                  <a:lnTo>
                    <a:pt x="166" y="267"/>
                  </a:lnTo>
                  <a:lnTo>
                    <a:pt x="165" y="266"/>
                  </a:lnTo>
                  <a:lnTo>
                    <a:pt x="163" y="266"/>
                  </a:lnTo>
                  <a:lnTo>
                    <a:pt x="163" y="265"/>
                  </a:lnTo>
                  <a:lnTo>
                    <a:pt x="162" y="265"/>
                  </a:lnTo>
                  <a:lnTo>
                    <a:pt x="162" y="263"/>
                  </a:lnTo>
                  <a:lnTo>
                    <a:pt x="161" y="263"/>
                  </a:lnTo>
                  <a:lnTo>
                    <a:pt x="161" y="262"/>
                  </a:lnTo>
                  <a:lnTo>
                    <a:pt x="161" y="261"/>
                  </a:lnTo>
                  <a:lnTo>
                    <a:pt x="161" y="260"/>
                  </a:lnTo>
                  <a:lnTo>
                    <a:pt x="161" y="257"/>
                  </a:lnTo>
                  <a:lnTo>
                    <a:pt x="160" y="257"/>
                  </a:lnTo>
                  <a:lnTo>
                    <a:pt x="160" y="256"/>
                  </a:lnTo>
                  <a:lnTo>
                    <a:pt x="159" y="256"/>
                  </a:lnTo>
                  <a:lnTo>
                    <a:pt x="159" y="255"/>
                  </a:lnTo>
                  <a:lnTo>
                    <a:pt x="159" y="254"/>
                  </a:lnTo>
                  <a:lnTo>
                    <a:pt x="157" y="253"/>
                  </a:lnTo>
                  <a:lnTo>
                    <a:pt x="157" y="251"/>
                  </a:lnTo>
                  <a:lnTo>
                    <a:pt x="157" y="250"/>
                  </a:lnTo>
                  <a:lnTo>
                    <a:pt x="157" y="249"/>
                  </a:lnTo>
                  <a:lnTo>
                    <a:pt x="157" y="248"/>
                  </a:lnTo>
                  <a:lnTo>
                    <a:pt x="157" y="247"/>
                  </a:lnTo>
                  <a:lnTo>
                    <a:pt x="157" y="245"/>
                  </a:lnTo>
                  <a:lnTo>
                    <a:pt x="157" y="244"/>
                  </a:lnTo>
                  <a:lnTo>
                    <a:pt x="157" y="243"/>
                  </a:lnTo>
                  <a:lnTo>
                    <a:pt x="157" y="242"/>
                  </a:lnTo>
                  <a:lnTo>
                    <a:pt x="157" y="239"/>
                  </a:lnTo>
                  <a:lnTo>
                    <a:pt x="156" y="239"/>
                  </a:lnTo>
                  <a:lnTo>
                    <a:pt x="156" y="238"/>
                  </a:lnTo>
                  <a:lnTo>
                    <a:pt x="155" y="238"/>
                  </a:lnTo>
                  <a:lnTo>
                    <a:pt x="155" y="237"/>
                  </a:lnTo>
                  <a:lnTo>
                    <a:pt x="156" y="237"/>
                  </a:lnTo>
                  <a:lnTo>
                    <a:pt x="156" y="236"/>
                  </a:lnTo>
                  <a:lnTo>
                    <a:pt x="157" y="235"/>
                  </a:lnTo>
                  <a:lnTo>
                    <a:pt x="159" y="235"/>
                  </a:lnTo>
                  <a:lnTo>
                    <a:pt x="160" y="235"/>
                  </a:lnTo>
                  <a:lnTo>
                    <a:pt x="160" y="236"/>
                  </a:lnTo>
                  <a:lnTo>
                    <a:pt x="160" y="237"/>
                  </a:lnTo>
                  <a:lnTo>
                    <a:pt x="160" y="238"/>
                  </a:lnTo>
                  <a:lnTo>
                    <a:pt x="161" y="238"/>
                  </a:lnTo>
                  <a:lnTo>
                    <a:pt x="161" y="239"/>
                  </a:lnTo>
                  <a:lnTo>
                    <a:pt x="162" y="239"/>
                  </a:lnTo>
                  <a:lnTo>
                    <a:pt x="163" y="239"/>
                  </a:lnTo>
                  <a:lnTo>
                    <a:pt x="165" y="241"/>
                  </a:lnTo>
                  <a:lnTo>
                    <a:pt x="166" y="241"/>
                  </a:lnTo>
                  <a:lnTo>
                    <a:pt x="166" y="242"/>
                  </a:lnTo>
                  <a:lnTo>
                    <a:pt x="167" y="242"/>
                  </a:lnTo>
                  <a:lnTo>
                    <a:pt x="167" y="243"/>
                  </a:lnTo>
                  <a:lnTo>
                    <a:pt x="167" y="244"/>
                  </a:lnTo>
                  <a:lnTo>
                    <a:pt x="167" y="243"/>
                  </a:lnTo>
                  <a:lnTo>
                    <a:pt x="168" y="243"/>
                  </a:lnTo>
                  <a:lnTo>
                    <a:pt x="168" y="242"/>
                  </a:lnTo>
                  <a:lnTo>
                    <a:pt x="168" y="239"/>
                  </a:lnTo>
                  <a:lnTo>
                    <a:pt x="168" y="238"/>
                  </a:lnTo>
                  <a:lnTo>
                    <a:pt x="169" y="237"/>
                  </a:lnTo>
                  <a:lnTo>
                    <a:pt x="169" y="236"/>
                  </a:lnTo>
                  <a:lnTo>
                    <a:pt x="171" y="236"/>
                  </a:lnTo>
                  <a:lnTo>
                    <a:pt x="171" y="237"/>
                  </a:lnTo>
                  <a:lnTo>
                    <a:pt x="172" y="236"/>
                  </a:lnTo>
                  <a:lnTo>
                    <a:pt x="173" y="238"/>
                  </a:lnTo>
                  <a:lnTo>
                    <a:pt x="173" y="239"/>
                  </a:lnTo>
                  <a:lnTo>
                    <a:pt x="174" y="239"/>
                  </a:lnTo>
                  <a:lnTo>
                    <a:pt x="174" y="241"/>
                  </a:lnTo>
                  <a:lnTo>
                    <a:pt x="174" y="242"/>
                  </a:lnTo>
                  <a:lnTo>
                    <a:pt x="174" y="241"/>
                  </a:lnTo>
                  <a:lnTo>
                    <a:pt x="175" y="241"/>
                  </a:lnTo>
                  <a:lnTo>
                    <a:pt x="175" y="239"/>
                  </a:lnTo>
                  <a:lnTo>
                    <a:pt x="175" y="238"/>
                  </a:lnTo>
                  <a:lnTo>
                    <a:pt x="178" y="238"/>
                  </a:lnTo>
                  <a:lnTo>
                    <a:pt x="179" y="238"/>
                  </a:lnTo>
                  <a:lnTo>
                    <a:pt x="179" y="239"/>
                  </a:lnTo>
                  <a:lnTo>
                    <a:pt x="179" y="241"/>
                  </a:lnTo>
                  <a:lnTo>
                    <a:pt x="180" y="241"/>
                  </a:lnTo>
                  <a:lnTo>
                    <a:pt x="181" y="242"/>
                  </a:lnTo>
                  <a:lnTo>
                    <a:pt x="183" y="242"/>
                  </a:lnTo>
                  <a:lnTo>
                    <a:pt x="183" y="243"/>
                  </a:lnTo>
                  <a:lnTo>
                    <a:pt x="184" y="243"/>
                  </a:lnTo>
                  <a:lnTo>
                    <a:pt x="184" y="244"/>
                  </a:lnTo>
                  <a:lnTo>
                    <a:pt x="184" y="245"/>
                  </a:lnTo>
                  <a:lnTo>
                    <a:pt x="185" y="245"/>
                  </a:lnTo>
                  <a:lnTo>
                    <a:pt x="185" y="247"/>
                  </a:lnTo>
                  <a:lnTo>
                    <a:pt x="186" y="247"/>
                  </a:lnTo>
                  <a:lnTo>
                    <a:pt x="189" y="248"/>
                  </a:lnTo>
                  <a:lnTo>
                    <a:pt x="190" y="247"/>
                  </a:lnTo>
                  <a:lnTo>
                    <a:pt x="190" y="245"/>
                  </a:lnTo>
                  <a:lnTo>
                    <a:pt x="189" y="245"/>
                  </a:lnTo>
                  <a:lnTo>
                    <a:pt x="189" y="244"/>
                  </a:lnTo>
                  <a:lnTo>
                    <a:pt x="187" y="244"/>
                  </a:lnTo>
                  <a:lnTo>
                    <a:pt x="186" y="244"/>
                  </a:lnTo>
                  <a:lnTo>
                    <a:pt x="186" y="243"/>
                  </a:lnTo>
                  <a:lnTo>
                    <a:pt x="186" y="242"/>
                  </a:lnTo>
                  <a:lnTo>
                    <a:pt x="185" y="241"/>
                  </a:lnTo>
                  <a:lnTo>
                    <a:pt x="184" y="241"/>
                  </a:lnTo>
                  <a:lnTo>
                    <a:pt x="184" y="239"/>
                  </a:lnTo>
                  <a:lnTo>
                    <a:pt x="185" y="239"/>
                  </a:lnTo>
                  <a:lnTo>
                    <a:pt x="185" y="238"/>
                  </a:lnTo>
                  <a:lnTo>
                    <a:pt x="185" y="237"/>
                  </a:lnTo>
                  <a:lnTo>
                    <a:pt x="185" y="236"/>
                  </a:lnTo>
                  <a:lnTo>
                    <a:pt x="186" y="236"/>
                  </a:lnTo>
                  <a:lnTo>
                    <a:pt x="186" y="235"/>
                  </a:lnTo>
                  <a:lnTo>
                    <a:pt x="187" y="235"/>
                  </a:lnTo>
                  <a:lnTo>
                    <a:pt x="189" y="236"/>
                  </a:lnTo>
                  <a:lnTo>
                    <a:pt x="190" y="236"/>
                  </a:lnTo>
                  <a:lnTo>
                    <a:pt x="192" y="236"/>
                  </a:lnTo>
                  <a:lnTo>
                    <a:pt x="192" y="235"/>
                  </a:lnTo>
                  <a:lnTo>
                    <a:pt x="195" y="235"/>
                  </a:lnTo>
                  <a:lnTo>
                    <a:pt x="193" y="236"/>
                  </a:lnTo>
                  <a:lnTo>
                    <a:pt x="195" y="236"/>
                  </a:lnTo>
                  <a:lnTo>
                    <a:pt x="195" y="237"/>
                  </a:lnTo>
                  <a:lnTo>
                    <a:pt x="196" y="237"/>
                  </a:lnTo>
                  <a:lnTo>
                    <a:pt x="195" y="237"/>
                  </a:lnTo>
                  <a:lnTo>
                    <a:pt x="195" y="238"/>
                  </a:lnTo>
                  <a:lnTo>
                    <a:pt x="196" y="239"/>
                  </a:lnTo>
                  <a:lnTo>
                    <a:pt x="196" y="238"/>
                  </a:lnTo>
                  <a:lnTo>
                    <a:pt x="197" y="238"/>
                  </a:lnTo>
                  <a:lnTo>
                    <a:pt x="198" y="238"/>
                  </a:lnTo>
                  <a:lnTo>
                    <a:pt x="198" y="239"/>
                  </a:lnTo>
                  <a:lnTo>
                    <a:pt x="201" y="238"/>
                  </a:lnTo>
                  <a:lnTo>
                    <a:pt x="201" y="239"/>
                  </a:lnTo>
                  <a:lnTo>
                    <a:pt x="202" y="239"/>
                  </a:lnTo>
                  <a:lnTo>
                    <a:pt x="203" y="239"/>
                  </a:lnTo>
                  <a:lnTo>
                    <a:pt x="206" y="239"/>
                  </a:lnTo>
                  <a:lnTo>
                    <a:pt x="207" y="237"/>
                  </a:lnTo>
                  <a:lnTo>
                    <a:pt x="208" y="237"/>
                  </a:lnTo>
                  <a:lnTo>
                    <a:pt x="208" y="236"/>
                  </a:lnTo>
                  <a:lnTo>
                    <a:pt x="207" y="235"/>
                  </a:lnTo>
                  <a:lnTo>
                    <a:pt x="208" y="235"/>
                  </a:lnTo>
                  <a:lnTo>
                    <a:pt x="207" y="235"/>
                  </a:lnTo>
                  <a:lnTo>
                    <a:pt x="207" y="236"/>
                  </a:lnTo>
                  <a:lnTo>
                    <a:pt x="207" y="235"/>
                  </a:lnTo>
                  <a:lnTo>
                    <a:pt x="204" y="236"/>
                  </a:lnTo>
                  <a:lnTo>
                    <a:pt x="204" y="235"/>
                  </a:lnTo>
                  <a:lnTo>
                    <a:pt x="203" y="235"/>
                  </a:lnTo>
                  <a:lnTo>
                    <a:pt x="202" y="233"/>
                  </a:lnTo>
                  <a:lnTo>
                    <a:pt x="201" y="233"/>
                  </a:lnTo>
                  <a:lnTo>
                    <a:pt x="201" y="232"/>
                  </a:lnTo>
                  <a:lnTo>
                    <a:pt x="200" y="232"/>
                  </a:lnTo>
                  <a:lnTo>
                    <a:pt x="197" y="232"/>
                  </a:lnTo>
                  <a:lnTo>
                    <a:pt x="197" y="231"/>
                  </a:lnTo>
                  <a:lnTo>
                    <a:pt x="196" y="231"/>
                  </a:lnTo>
                  <a:lnTo>
                    <a:pt x="196" y="230"/>
                  </a:lnTo>
                  <a:lnTo>
                    <a:pt x="196" y="227"/>
                  </a:lnTo>
                  <a:lnTo>
                    <a:pt x="195" y="227"/>
                  </a:lnTo>
                  <a:lnTo>
                    <a:pt x="193" y="227"/>
                  </a:lnTo>
                  <a:lnTo>
                    <a:pt x="193" y="229"/>
                  </a:lnTo>
                  <a:lnTo>
                    <a:pt x="192" y="229"/>
                  </a:lnTo>
                  <a:lnTo>
                    <a:pt x="190" y="229"/>
                  </a:lnTo>
                  <a:lnTo>
                    <a:pt x="189" y="229"/>
                  </a:lnTo>
                  <a:lnTo>
                    <a:pt x="186" y="227"/>
                  </a:lnTo>
                  <a:lnTo>
                    <a:pt x="185" y="227"/>
                  </a:lnTo>
                  <a:lnTo>
                    <a:pt x="184" y="226"/>
                  </a:lnTo>
                  <a:lnTo>
                    <a:pt x="184" y="225"/>
                  </a:lnTo>
                  <a:lnTo>
                    <a:pt x="184" y="224"/>
                  </a:lnTo>
                  <a:lnTo>
                    <a:pt x="183" y="224"/>
                  </a:lnTo>
                  <a:lnTo>
                    <a:pt x="183" y="223"/>
                  </a:lnTo>
                  <a:lnTo>
                    <a:pt x="183" y="221"/>
                  </a:lnTo>
                  <a:lnTo>
                    <a:pt x="181" y="221"/>
                  </a:lnTo>
                  <a:lnTo>
                    <a:pt x="180" y="220"/>
                  </a:lnTo>
                  <a:lnTo>
                    <a:pt x="179" y="221"/>
                  </a:lnTo>
                  <a:lnTo>
                    <a:pt x="178" y="220"/>
                  </a:lnTo>
                  <a:lnTo>
                    <a:pt x="177" y="220"/>
                  </a:lnTo>
                  <a:lnTo>
                    <a:pt x="175" y="219"/>
                  </a:lnTo>
                  <a:lnTo>
                    <a:pt x="177" y="218"/>
                  </a:lnTo>
                  <a:lnTo>
                    <a:pt x="175" y="218"/>
                  </a:lnTo>
                  <a:lnTo>
                    <a:pt x="177" y="217"/>
                  </a:lnTo>
                  <a:lnTo>
                    <a:pt x="177" y="215"/>
                  </a:lnTo>
                  <a:lnTo>
                    <a:pt x="177" y="213"/>
                  </a:lnTo>
                  <a:lnTo>
                    <a:pt x="175" y="213"/>
                  </a:lnTo>
                  <a:lnTo>
                    <a:pt x="174" y="213"/>
                  </a:lnTo>
                  <a:lnTo>
                    <a:pt x="174" y="212"/>
                  </a:lnTo>
                  <a:lnTo>
                    <a:pt x="173" y="211"/>
                  </a:lnTo>
                  <a:lnTo>
                    <a:pt x="172" y="211"/>
                  </a:lnTo>
                  <a:lnTo>
                    <a:pt x="173" y="209"/>
                  </a:lnTo>
                  <a:lnTo>
                    <a:pt x="173" y="208"/>
                  </a:lnTo>
                  <a:lnTo>
                    <a:pt x="174" y="208"/>
                  </a:lnTo>
                  <a:lnTo>
                    <a:pt x="175" y="207"/>
                  </a:lnTo>
                  <a:lnTo>
                    <a:pt x="177" y="207"/>
                  </a:lnTo>
                  <a:lnTo>
                    <a:pt x="177" y="208"/>
                  </a:lnTo>
                  <a:lnTo>
                    <a:pt x="178" y="209"/>
                  </a:lnTo>
                  <a:lnTo>
                    <a:pt x="181" y="209"/>
                  </a:lnTo>
                  <a:lnTo>
                    <a:pt x="183" y="209"/>
                  </a:lnTo>
                  <a:lnTo>
                    <a:pt x="183" y="211"/>
                  </a:lnTo>
                  <a:lnTo>
                    <a:pt x="184" y="212"/>
                  </a:lnTo>
                  <a:lnTo>
                    <a:pt x="185" y="212"/>
                  </a:lnTo>
                  <a:lnTo>
                    <a:pt x="185" y="211"/>
                  </a:lnTo>
                  <a:lnTo>
                    <a:pt x="185" y="209"/>
                  </a:lnTo>
                  <a:lnTo>
                    <a:pt x="185" y="208"/>
                  </a:lnTo>
                  <a:lnTo>
                    <a:pt x="184" y="208"/>
                  </a:lnTo>
                  <a:lnTo>
                    <a:pt x="184" y="207"/>
                  </a:lnTo>
                  <a:lnTo>
                    <a:pt x="184" y="205"/>
                  </a:lnTo>
                  <a:lnTo>
                    <a:pt x="184" y="203"/>
                  </a:lnTo>
                  <a:lnTo>
                    <a:pt x="185" y="203"/>
                  </a:lnTo>
                  <a:lnTo>
                    <a:pt x="186" y="203"/>
                  </a:lnTo>
                  <a:lnTo>
                    <a:pt x="186" y="205"/>
                  </a:lnTo>
                  <a:lnTo>
                    <a:pt x="187" y="206"/>
                  </a:lnTo>
                  <a:lnTo>
                    <a:pt x="189" y="207"/>
                  </a:lnTo>
                  <a:lnTo>
                    <a:pt x="189" y="208"/>
                  </a:lnTo>
                  <a:lnTo>
                    <a:pt x="189" y="207"/>
                  </a:lnTo>
                  <a:lnTo>
                    <a:pt x="190" y="207"/>
                  </a:lnTo>
                  <a:lnTo>
                    <a:pt x="190" y="206"/>
                  </a:lnTo>
                  <a:lnTo>
                    <a:pt x="192" y="206"/>
                  </a:lnTo>
                  <a:lnTo>
                    <a:pt x="192" y="207"/>
                  </a:lnTo>
                  <a:lnTo>
                    <a:pt x="192" y="208"/>
                  </a:lnTo>
                  <a:lnTo>
                    <a:pt x="192" y="212"/>
                  </a:lnTo>
                  <a:lnTo>
                    <a:pt x="192" y="213"/>
                  </a:lnTo>
                  <a:lnTo>
                    <a:pt x="193" y="214"/>
                  </a:lnTo>
                  <a:lnTo>
                    <a:pt x="195" y="214"/>
                  </a:lnTo>
                  <a:lnTo>
                    <a:pt x="196" y="213"/>
                  </a:lnTo>
                  <a:lnTo>
                    <a:pt x="197" y="213"/>
                  </a:lnTo>
                  <a:lnTo>
                    <a:pt x="198" y="213"/>
                  </a:lnTo>
                  <a:lnTo>
                    <a:pt x="198" y="212"/>
                  </a:lnTo>
                  <a:lnTo>
                    <a:pt x="198" y="211"/>
                  </a:lnTo>
                  <a:lnTo>
                    <a:pt x="201" y="211"/>
                  </a:lnTo>
                  <a:lnTo>
                    <a:pt x="203" y="211"/>
                  </a:lnTo>
                  <a:lnTo>
                    <a:pt x="204" y="211"/>
                  </a:lnTo>
                  <a:lnTo>
                    <a:pt x="208" y="212"/>
                  </a:lnTo>
                  <a:lnTo>
                    <a:pt x="208" y="214"/>
                  </a:lnTo>
                  <a:lnTo>
                    <a:pt x="209" y="214"/>
                  </a:lnTo>
                  <a:lnTo>
                    <a:pt x="209" y="215"/>
                  </a:lnTo>
                  <a:lnTo>
                    <a:pt x="209" y="217"/>
                  </a:lnTo>
                  <a:lnTo>
                    <a:pt x="212" y="217"/>
                  </a:lnTo>
                  <a:lnTo>
                    <a:pt x="210" y="215"/>
                  </a:lnTo>
                  <a:lnTo>
                    <a:pt x="210" y="214"/>
                  </a:lnTo>
                  <a:lnTo>
                    <a:pt x="209" y="213"/>
                  </a:lnTo>
                  <a:lnTo>
                    <a:pt x="209" y="212"/>
                  </a:lnTo>
                  <a:lnTo>
                    <a:pt x="208" y="212"/>
                  </a:lnTo>
                  <a:lnTo>
                    <a:pt x="208" y="211"/>
                  </a:lnTo>
                  <a:lnTo>
                    <a:pt x="208" y="208"/>
                  </a:lnTo>
                  <a:lnTo>
                    <a:pt x="208" y="206"/>
                  </a:lnTo>
                  <a:lnTo>
                    <a:pt x="209" y="207"/>
                  </a:lnTo>
                  <a:lnTo>
                    <a:pt x="210" y="207"/>
                  </a:lnTo>
                  <a:lnTo>
                    <a:pt x="210" y="208"/>
                  </a:lnTo>
                  <a:lnTo>
                    <a:pt x="212" y="208"/>
                  </a:lnTo>
                  <a:lnTo>
                    <a:pt x="213" y="208"/>
                  </a:lnTo>
                  <a:lnTo>
                    <a:pt x="213" y="207"/>
                  </a:lnTo>
                  <a:lnTo>
                    <a:pt x="214" y="207"/>
                  </a:lnTo>
                  <a:lnTo>
                    <a:pt x="213" y="206"/>
                  </a:lnTo>
                  <a:lnTo>
                    <a:pt x="213" y="205"/>
                  </a:lnTo>
                  <a:lnTo>
                    <a:pt x="213" y="202"/>
                  </a:lnTo>
                  <a:lnTo>
                    <a:pt x="212" y="201"/>
                  </a:lnTo>
                  <a:lnTo>
                    <a:pt x="210" y="200"/>
                  </a:lnTo>
                  <a:lnTo>
                    <a:pt x="212" y="199"/>
                  </a:lnTo>
                  <a:lnTo>
                    <a:pt x="212" y="197"/>
                  </a:lnTo>
                  <a:lnTo>
                    <a:pt x="214" y="197"/>
                  </a:lnTo>
                  <a:lnTo>
                    <a:pt x="214" y="199"/>
                  </a:lnTo>
                  <a:lnTo>
                    <a:pt x="216" y="199"/>
                  </a:lnTo>
                  <a:lnTo>
                    <a:pt x="218" y="199"/>
                  </a:lnTo>
                  <a:lnTo>
                    <a:pt x="218" y="197"/>
                  </a:lnTo>
                  <a:lnTo>
                    <a:pt x="218" y="199"/>
                  </a:lnTo>
                  <a:lnTo>
                    <a:pt x="219" y="199"/>
                  </a:lnTo>
                  <a:lnTo>
                    <a:pt x="219" y="200"/>
                  </a:lnTo>
                  <a:lnTo>
                    <a:pt x="220" y="201"/>
                  </a:lnTo>
                  <a:lnTo>
                    <a:pt x="222" y="201"/>
                  </a:lnTo>
                  <a:lnTo>
                    <a:pt x="224" y="201"/>
                  </a:lnTo>
                  <a:lnTo>
                    <a:pt x="224" y="200"/>
                  </a:lnTo>
                  <a:lnTo>
                    <a:pt x="225" y="199"/>
                  </a:lnTo>
                  <a:lnTo>
                    <a:pt x="225" y="197"/>
                  </a:lnTo>
                  <a:lnTo>
                    <a:pt x="224" y="196"/>
                  </a:lnTo>
                  <a:lnTo>
                    <a:pt x="225" y="196"/>
                  </a:lnTo>
                  <a:lnTo>
                    <a:pt x="226" y="196"/>
                  </a:lnTo>
                  <a:lnTo>
                    <a:pt x="225" y="194"/>
                  </a:lnTo>
                  <a:lnTo>
                    <a:pt x="224" y="193"/>
                  </a:lnTo>
                  <a:lnTo>
                    <a:pt x="222" y="193"/>
                  </a:lnTo>
                  <a:lnTo>
                    <a:pt x="222" y="191"/>
                  </a:lnTo>
                  <a:lnTo>
                    <a:pt x="224" y="191"/>
                  </a:lnTo>
                  <a:lnTo>
                    <a:pt x="224" y="190"/>
                  </a:lnTo>
                  <a:lnTo>
                    <a:pt x="225" y="189"/>
                  </a:lnTo>
                  <a:lnTo>
                    <a:pt x="227" y="189"/>
                  </a:lnTo>
                  <a:lnTo>
                    <a:pt x="228" y="189"/>
                  </a:lnTo>
                  <a:lnTo>
                    <a:pt x="228" y="190"/>
                  </a:lnTo>
                  <a:lnTo>
                    <a:pt x="230" y="191"/>
                  </a:lnTo>
                  <a:lnTo>
                    <a:pt x="231" y="191"/>
                  </a:lnTo>
                  <a:lnTo>
                    <a:pt x="231" y="189"/>
                  </a:lnTo>
                  <a:lnTo>
                    <a:pt x="232" y="189"/>
                  </a:lnTo>
                  <a:lnTo>
                    <a:pt x="232" y="188"/>
                  </a:lnTo>
                  <a:lnTo>
                    <a:pt x="233" y="188"/>
                  </a:lnTo>
                  <a:lnTo>
                    <a:pt x="233" y="187"/>
                  </a:lnTo>
                  <a:lnTo>
                    <a:pt x="234" y="187"/>
                  </a:lnTo>
                  <a:lnTo>
                    <a:pt x="234" y="185"/>
                  </a:lnTo>
                  <a:lnTo>
                    <a:pt x="233" y="185"/>
                  </a:lnTo>
                  <a:lnTo>
                    <a:pt x="233" y="184"/>
                  </a:lnTo>
                  <a:lnTo>
                    <a:pt x="233" y="183"/>
                  </a:lnTo>
                  <a:lnTo>
                    <a:pt x="232" y="183"/>
                  </a:lnTo>
                  <a:lnTo>
                    <a:pt x="233" y="182"/>
                  </a:lnTo>
                  <a:lnTo>
                    <a:pt x="232" y="181"/>
                  </a:lnTo>
                  <a:lnTo>
                    <a:pt x="232" y="179"/>
                  </a:lnTo>
                  <a:lnTo>
                    <a:pt x="231" y="179"/>
                  </a:lnTo>
                  <a:lnTo>
                    <a:pt x="230" y="179"/>
                  </a:lnTo>
                  <a:lnTo>
                    <a:pt x="230" y="178"/>
                  </a:lnTo>
                  <a:lnTo>
                    <a:pt x="230" y="177"/>
                  </a:lnTo>
                  <a:lnTo>
                    <a:pt x="228" y="176"/>
                  </a:lnTo>
                  <a:lnTo>
                    <a:pt x="228" y="175"/>
                  </a:lnTo>
                  <a:lnTo>
                    <a:pt x="228" y="173"/>
                  </a:lnTo>
                  <a:lnTo>
                    <a:pt x="227" y="173"/>
                  </a:lnTo>
                  <a:lnTo>
                    <a:pt x="226" y="173"/>
                  </a:lnTo>
                  <a:lnTo>
                    <a:pt x="225" y="173"/>
                  </a:lnTo>
                  <a:lnTo>
                    <a:pt x="224" y="173"/>
                  </a:lnTo>
                  <a:lnTo>
                    <a:pt x="224" y="172"/>
                  </a:lnTo>
                  <a:lnTo>
                    <a:pt x="222" y="172"/>
                  </a:lnTo>
                  <a:lnTo>
                    <a:pt x="222" y="171"/>
                  </a:lnTo>
                  <a:lnTo>
                    <a:pt x="221" y="171"/>
                  </a:lnTo>
                  <a:lnTo>
                    <a:pt x="220" y="170"/>
                  </a:lnTo>
                  <a:lnTo>
                    <a:pt x="219" y="169"/>
                  </a:lnTo>
                  <a:lnTo>
                    <a:pt x="219" y="167"/>
                  </a:lnTo>
                  <a:lnTo>
                    <a:pt x="219" y="166"/>
                  </a:lnTo>
                  <a:lnTo>
                    <a:pt x="220" y="165"/>
                  </a:lnTo>
                  <a:lnTo>
                    <a:pt x="220" y="166"/>
                  </a:lnTo>
                  <a:lnTo>
                    <a:pt x="224" y="165"/>
                  </a:lnTo>
                  <a:lnTo>
                    <a:pt x="225" y="165"/>
                  </a:lnTo>
                  <a:lnTo>
                    <a:pt x="224" y="165"/>
                  </a:lnTo>
                  <a:lnTo>
                    <a:pt x="224" y="164"/>
                  </a:lnTo>
                  <a:lnTo>
                    <a:pt x="222" y="164"/>
                  </a:lnTo>
                  <a:lnTo>
                    <a:pt x="221" y="162"/>
                  </a:lnTo>
                  <a:lnTo>
                    <a:pt x="219" y="162"/>
                  </a:lnTo>
                  <a:lnTo>
                    <a:pt x="219" y="164"/>
                  </a:lnTo>
                  <a:lnTo>
                    <a:pt x="218" y="162"/>
                  </a:lnTo>
                  <a:lnTo>
                    <a:pt x="218" y="161"/>
                  </a:lnTo>
                  <a:lnTo>
                    <a:pt x="218" y="159"/>
                  </a:lnTo>
                  <a:lnTo>
                    <a:pt x="215" y="159"/>
                  </a:lnTo>
                  <a:lnTo>
                    <a:pt x="214" y="159"/>
                  </a:lnTo>
                  <a:lnTo>
                    <a:pt x="214" y="158"/>
                  </a:lnTo>
                  <a:lnTo>
                    <a:pt x="213" y="158"/>
                  </a:lnTo>
                  <a:lnTo>
                    <a:pt x="213" y="156"/>
                  </a:lnTo>
                  <a:lnTo>
                    <a:pt x="212" y="156"/>
                  </a:lnTo>
                  <a:lnTo>
                    <a:pt x="213" y="155"/>
                  </a:lnTo>
                  <a:lnTo>
                    <a:pt x="213" y="152"/>
                  </a:lnTo>
                  <a:lnTo>
                    <a:pt x="214" y="150"/>
                  </a:lnTo>
                  <a:lnTo>
                    <a:pt x="214" y="148"/>
                  </a:lnTo>
                  <a:lnTo>
                    <a:pt x="213" y="147"/>
                  </a:lnTo>
                  <a:lnTo>
                    <a:pt x="213" y="144"/>
                  </a:lnTo>
                  <a:lnTo>
                    <a:pt x="213" y="143"/>
                  </a:lnTo>
                  <a:lnTo>
                    <a:pt x="213" y="142"/>
                  </a:lnTo>
                  <a:lnTo>
                    <a:pt x="214" y="141"/>
                  </a:lnTo>
                  <a:lnTo>
                    <a:pt x="215" y="141"/>
                  </a:lnTo>
                  <a:lnTo>
                    <a:pt x="216" y="141"/>
                  </a:lnTo>
                  <a:lnTo>
                    <a:pt x="216" y="142"/>
                  </a:lnTo>
                  <a:lnTo>
                    <a:pt x="218" y="142"/>
                  </a:lnTo>
                  <a:lnTo>
                    <a:pt x="218" y="143"/>
                  </a:lnTo>
                  <a:lnTo>
                    <a:pt x="218" y="144"/>
                  </a:lnTo>
                  <a:lnTo>
                    <a:pt x="219" y="144"/>
                  </a:lnTo>
                  <a:lnTo>
                    <a:pt x="220" y="143"/>
                  </a:lnTo>
                  <a:lnTo>
                    <a:pt x="221" y="143"/>
                  </a:lnTo>
                  <a:lnTo>
                    <a:pt x="225" y="143"/>
                  </a:lnTo>
                  <a:lnTo>
                    <a:pt x="225" y="142"/>
                  </a:lnTo>
                  <a:lnTo>
                    <a:pt x="226" y="142"/>
                  </a:lnTo>
                  <a:lnTo>
                    <a:pt x="226" y="143"/>
                  </a:lnTo>
                  <a:lnTo>
                    <a:pt x="226" y="144"/>
                  </a:lnTo>
                  <a:lnTo>
                    <a:pt x="227" y="144"/>
                  </a:lnTo>
                  <a:lnTo>
                    <a:pt x="227" y="146"/>
                  </a:lnTo>
                  <a:lnTo>
                    <a:pt x="228" y="147"/>
                  </a:lnTo>
                  <a:lnTo>
                    <a:pt x="230" y="148"/>
                  </a:lnTo>
                  <a:lnTo>
                    <a:pt x="230" y="149"/>
                  </a:lnTo>
                  <a:lnTo>
                    <a:pt x="230" y="150"/>
                  </a:lnTo>
                  <a:lnTo>
                    <a:pt x="231" y="152"/>
                  </a:lnTo>
                  <a:lnTo>
                    <a:pt x="232" y="152"/>
                  </a:lnTo>
                  <a:lnTo>
                    <a:pt x="233" y="152"/>
                  </a:lnTo>
                  <a:lnTo>
                    <a:pt x="234" y="152"/>
                  </a:lnTo>
                  <a:lnTo>
                    <a:pt x="236" y="152"/>
                  </a:lnTo>
                  <a:lnTo>
                    <a:pt x="236" y="150"/>
                  </a:lnTo>
                  <a:lnTo>
                    <a:pt x="236" y="149"/>
                  </a:lnTo>
                  <a:lnTo>
                    <a:pt x="237" y="149"/>
                  </a:lnTo>
                  <a:lnTo>
                    <a:pt x="238" y="150"/>
                  </a:lnTo>
                  <a:lnTo>
                    <a:pt x="238" y="153"/>
                  </a:lnTo>
                  <a:lnTo>
                    <a:pt x="239" y="152"/>
                  </a:lnTo>
                  <a:lnTo>
                    <a:pt x="243" y="152"/>
                  </a:lnTo>
                  <a:lnTo>
                    <a:pt x="244" y="150"/>
                  </a:lnTo>
                  <a:lnTo>
                    <a:pt x="245" y="150"/>
                  </a:lnTo>
                  <a:lnTo>
                    <a:pt x="245" y="149"/>
                  </a:lnTo>
                  <a:lnTo>
                    <a:pt x="244" y="149"/>
                  </a:lnTo>
                  <a:lnTo>
                    <a:pt x="243" y="148"/>
                  </a:lnTo>
                  <a:lnTo>
                    <a:pt x="242" y="147"/>
                  </a:lnTo>
                  <a:lnTo>
                    <a:pt x="242" y="146"/>
                  </a:lnTo>
                  <a:lnTo>
                    <a:pt x="240" y="144"/>
                  </a:lnTo>
                  <a:lnTo>
                    <a:pt x="239" y="144"/>
                  </a:lnTo>
                  <a:lnTo>
                    <a:pt x="239" y="143"/>
                  </a:lnTo>
                  <a:lnTo>
                    <a:pt x="239" y="140"/>
                  </a:lnTo>
                  <a:lnTo>
                    <a:pt x="239" y="137"/>
                  </a:lnTo>
                  <a:lnTo>
                    <a:pt x="239" y="136"/>
                  </a:lnTo>
                  <a:lnTo>
                    <a:pt x="240" y="136"/>
                  </a:lnTo>
                  <a:lnTo>
                    <a:pt x="240" y="135"/>
                  </a:lnTo>
                  <a:lnTo>
                    <a:pt x="242" y="135"/>
                  </a:lnTo>
                  <a:lnTo>
                    <a:pt x="243" y="134"/>
                  </a:lnTo>
                  <a:lnTo>
                    <a:pt x="243" y="132"/>
                  </a:lnTo>
                  <a:lnTo>
                    <a:pt x="243" y="131"/>
                  </a:lnTo>
                  <a:lnTo>
                    <a:pt x="242" y="130"/>
                  </a:lnTo>
                  <a:lnTo>
                    <a:pt x="243" y="130"/>
                  </a:lnTo>
                  <a:lnTo>
                    <a:pt x="244" y="129"/>
                  </a:lnTo>
                  <a:lnTo>
                    <a:pt x="246" y="129"/>
                  </a:lnTo>
                  <a:lnTo>
                    <a:pt x="248" y="130"/>
                  </a:lnTo>
                  <a:lnTo>
                    <a:pt x="249" y="130"/>
                  </a:lnTo>
                  <a:lnTo>
                    <a:pt x="249" y="131"/>
                  </a:lnTo>
                  <a:lnTo>
                    <a:pt x="249" y="132"/>
                  </a:lnTo>
                  <a:lnTo>
                    <a:pt x="249" y="134"/>
                  </a:lnTo>
                  <a:lnTo>
                    <a:pt x="250" y="135"/>
                  </a:lnTo>
                  <a:lnTo>
                    <a:pt x="250" y="134"/>
                  </a:lnTo>
                  <a:lnTo>
                    <a:pt x="251" y="131"/>
                  </a:lnTo>
                  <a:lnTo>
                    <a:pt x="251" y="128"/>
                  </a:lnTo>
                  <a:lnTo>
                    <a:pt x="254" y="128"/>
                  </a:lnTo>
                  <a:lnTo>
                    <a:pt x="255" y="131"/>
                  </a:lnTo>
                  <a:lnTo>
                    <a:pt x="255" y="132"/>
                  </a:lnTo>
                  <a:lnTo>
                    <a:pt x="255" y="134"/>
                  </a:lnTo>
                  <a:lnTo>
                    <a:pt x="256" y="134"/>
                  </a:lnTo>
                  <a:lnTo>
                    <a:pt x="257" y="134"/>
                  </a:lnTo>
                  <a:lnTo>
                    <a:pt x="259" y="134"/>
                  </a:lnTo>
                  <a:lnTo>
                    <a:pt x="259" y="135"/>
                  </a:lnTo>
                  <a:lnTo>
                    <a:pt x="259" y="136"/>
                  </a:lnTo>
                  <a:lnTo>
                    <a:pt x="257" y="138"/>
                  </a:lnTo>
                  <a:lnTo>
                    <a:pt x="257" y="142"/>
                  </a:lnTo>
                  <a:lnTo>
                    <a:pt x="256" y="142"/>
                  </a:lnTo>
                  <a:lnTo>
                    <a:pt x="256" y="143"/>
                  </a:lnTo>
                  <a:lnTo>
                    <a:pt x="256" y="144"/>
                  </a:lnTo>
                  <a:lnTo>
                    <a:pt x="255" y="144"/>
                  </a:lnTo>
                  <a:lnTo>
                    <a:pt x="255" y="146"/>
                  </a:lnTo>
                  <a:lnTo>
                    <a:pt x="256" y="148"/>
                  </a:lnTo>
                  <a:lnTo>
                    <a:pt x="256" y="147"/>
                  </a:lnTo>
                  <a:lnTo>
                    <a:pt x="256" y="149"/>
                  </a:lnTo>
                  <a:lnTo>
                    <a:pt x="257" y="149"/>
                  </a:lnTo>
                  <a:lnTo>
                    <a:pt x="259" y="149"/>
                  </a:lnTo>
                  <a:lnTo>
                    <a:pt x="260" y="149"/>
                  </a:lnTo>
                  <a:lnTo>
                    <a:pt x="260" y="148"/>
                  </a:lnTo>
                  <a:lnTo>
                    <a:pt x="262" y="148"/>
                  </a:lnTo>
                  <a:lnTo>
                    <a:pt x="263" y="148"/>
                  </a:lnTo>
                  <a:lnTo>
                    <a:pt x="265" y="148"/>
                  </a:lnTo>
                  <a:lnTo>
                    <a:pt x="265" y="149"/>
                  </a:lnTo>
                  <a:lnTo>
                    <a:pt x="266" y="149"/>
                  </a:lnTo>
                  <a:lnTo>
                    <a:pt x="267" y="149"/>
                  </a:lnTo>
                  <a:lnTo>
                    <a:pt x="267" y="148"/>
                  </a:lnTo>
                  <a:lnTo>
                    <a:pt x="266" y="148"/>
                  </a:lnTo>
                  <a:lnTo>
                    <a:pt x="266" y="147"/>
                  </a:lnTo>
                  <a:lnTo>
                    <a:pt x="265" y="147"/>
                  </a:lnTo>
                  <a:lnTo>
                    <a:pt x="265" y="146"/>
                  </a:lnTo>
                  <a:lnTo>
                    <a:pt x="265" y="143"/>
                  </a:lnTo>
                  <a:lnTo>
                    <a:pt x="263" y="142"/>
                  </a:lnTo>
                  <a:lnTo>
                    <a:pt x="263" y="141"/>
                  </a:lnTo>
                  <a:lnTo>
                    <a:pt x="263" y="140"/>
                  </a:lnTo>
                  <a:lnTo>
                    <a:pt x="263" y="138"/>
                  </a:lnTo>
                  <a:lnTo>
                    <a:pt x="263" y="137"/>
                  </a:lnTo>
                  <a:lnTo>
                    <a:pt x="265" y="136"/>
                  </a:lnTo>
                  <a:lnTo>
                    <a:pt x="265" y="135"/>
                  </a:lnTo>
                  <a:lnTo>
                    <a:pt x="267" y="135"/>
                  </a:lnTo>
                  <a:lnTo>
                    <a:pt x="267" y="136"/>
                  </a:lnTo>
                  <a:lnTo>
                    <a:pt x="267" y="137"/>
                  </a:lnTo>
                  <a:lnTo>
                    <a:pt x="267" y="138"/>
                  </a:lnTo>
                  <a:lnTo>
                    <a:pt x="268" y="138"/>
                  </a:lnTo>
                  <a:lnTo>
                    <a:pt x="268" y="140"/>
                  </a:lnTo>
                  <a:lnTo>
                    <a:pt x="269" y="138"/>
                  </a:lnTo>
                  <a:lnTo>
                    <a:pt x="271" y="138"/>
                  </a:lnTo>
                  <a:lnTo>
                    <a:pt x="272" y="137"/>
                  </a:lnTo>
                  <a:lnTo>
                    <a:pt x="272" y="138"/>
                  </a:lnTo>
                  <a:lnTo>
                    <a:pt x="273" y="141"/>
                  </a:lnTo>
                  <a:lnTo>
                    <a:pt x="273" y="142"/>
                  </a:lnTo>
                  <a:lnTo>
                    <a:pt x="274" y="142"/>
                  </a:lnTo>
                  <a:lnTo>
                    <a:pt x="275" y="143"/>
                  </a:lnTo>
                  <a:lnTo>
                    <a:pt x="277" y="143"/>
                  </a:lnTo>
                  <a:lnTo>
                    <a:pt x="278" y="143"/>
                  </a:lnTo>
                  <a:lnTo>
                    <a:pt x="279" y="143"/>
                  </a:lnTo>
                  <a:lnTo>
                    <a:pt x="279" y="144"/>
                  </a:lnTo>
                  <a:lnTo>
                    <a:pt x="280" y="144"/>
                  </a:lnTo>
                  <a:lnTo>
                    <a:pt x="280" y="146"/>
                  </a:lnTo>
                  <a:lnTo>
                    <a:pt x="281" y="146"/>
                  </a:lnTo>
                  <a:lnTo>
                    <a:pt x="280" y="148"/>
                  </a:lnTo>
                  <a:lnTo>
                    <a:pt x="280" y="149"/>
                  </a:lnTo>
                  <a:lnTo>
                    <a:pt x="279" y="149"/>
                  </a:lnTo>
                  <a:lnTo>
                    <a:pt x="279" y="150"/>
                  </a:lnTo>
                  <a:lnTo>
                    <a:pt x="280" y="153"/>
                  </a:lnTo>
                  <a:lnTo>
                    <a:pt x="279" y="154"/>
                  </a:lnTo>
                  <a:lnTo>
                    <a:pt x="278" y="154"/>
                  </a:lnTo>
                  <a:lnTo>
                    <a:pt x="278" y="155"/>
                  </a:lnTo>
                  <a:lnTo>
                    <a:pt x="279" y="156"/>
                  </a:lnTo>
                  <a:lnTo>
                    <a:pt x="280" y="158"/>
                  </a:lnTo>
                  <a:lnTo>
                    <a:pt x="280" y="159"/>
                  </a:lnTo>
                  <a:lnTo>
                    <a:pt x="281" y="159"/>
                  </a:lnTo>
                  <a:lnTo>
                    <a:pt x="281" y="160"/>
                  </a:lnTo>
                  <a:lnTo>
                    <a:pt x="283" y="161"/>
                  </a:lnTo>
                  <a:lnTo>
                    <a:pt x="284" y="161"/>
                  </a:lnTo>
                  <a:lnTo>
                    <a:pt x="285" y="161"/>
                  </a:lnTo>
                  <a:lnTo>
                    <a:pt x="286" y="161"/>
                  </a:lnTo>
                  <a:lnTo>
                    <a:pt x="286" y="160"/>
                  </a:lnTo>
                  <a:lnTo>
                    <a:pt x="286" y="159"/>
                  </a:lnTo>
                  <a:lnTo>
                    <a:pt x="285" y="158"/>
                  </a:lnTo>
                  <a:lnTo>
                    <a:pt x="285" y="156"/>
                  </a:lnTo>
                  <a:lnTo>
                    <a:pt x="285" y="155"/>
                  </a:lnTo>
                  <a:lnTo>
                    <a:pt x="286" y="155"/>
                  </a:lnTo>
                  <a:lnTo>
                    <a:pt x="286" y="154"/>
                  </a:lnTo>
                  <a:lnTo>
                    <a:pt x="287" y="154"/>
                  </a:lnTo>
                  <a:lnTo>
                    <a:pt x="287" y="153"/>
                  </a:lnTo>
                  <a:lnTo>
                    <a:pt x="286" y="153"/>
                  </a:lnTo>
                  <a:lnTo>
                    <a:pt x="286" y="152"/>
                  </a:lnTo>
                  <a:lnTo>
                    <a:pt x="286" y="150"/>
                  </a:lnTo>
                  <a:lnTo>
                    <a:pt x="285" y="148"/>
                  </a:lnTo>
                  <a:lnTo>
                    <a:pt x="284" y="147"/>
                  </a:lnTo>
                  <a:lnTo>
                    <a:pt x="284" y="146"/>
                  </a:lnTo>
                  <a:lnTo>
                    <a:pt x="285" y="146"/>
                  </a:lnTo>
                  <a:lnTo>
                    <a:pt x="285" y="144"/>
                  </a:lnTo>
                  <a:lnTo>
                    <a:pt x="286" y="144"/>
                  </a:lnTo>
                  <a:lnTo>
                    <a:pt x="287" y="144"/>
                  </a:lnTo>
                  <a:lnTo>
                    <a:pt x="289" y="146"/>
                  </a:lnTo>
                  <a:lnTo>
                    <a:pt x="290" y="146"/>
                  </a:lnTo>
                  <a:lnTo>
                    <a:pt x="291" y="144"/>
                  </a:lnTo>
                  <a:lnTo>
                    <a:pt x="292" y="143"/>
                  </a:lnTo>
                  <a:lnTo>
                    <a:pt x="292" y="141"/>
                  </a:lnTo>
                  <a:lnTo>
                    <a:pt x="291" y="140"/>
                  </a:lnTo>
                  <a:lnTo>
                    <a:pt x="292" y="140"/>
                  </a:lnTo>
                  <a:lnTo>
                    <a:pt x="292" y="138"/>
                  </a:lnTo>
                  <a:lnTo>
                    <a:pt x="295" y="138"/>
                  </a:lnTo>
                  <a:lnTo>
                    <a:pt x="296" y="140"/>
                  </a:lnTo>
                  <a:lnTo>
                    <a:pt x="298" y="140"/>
                  </a:lnTo>
                  <a:lnTo>
                    <a:pt x="299" y="140"/>
                  </a:lnTo>
                  <a:lnTo>
                    <a:pt x="298" y="140"/>
                  </a:lnTo>
                  <a:lnTo>
                    <a:pt x="299" y="140"/>
                  </a:lnTo>
                  <a:lnTo>
                    <a:pt x="299" y="138"/>
                  </a:lnTo>
                  <a:lnTo>
                    <a:pt x="301" y="138"/>
                  </a:lnTo>
                  <a:lnTo>
                    <a:pt x="302" y="138"/>
                  </a:lnTo>
                  <a:lnTo>
                    <a:pt x="303" y="138"/>
                  </a:lnTo>
                  <a:lnTo>
                    <a:pt x="304" y="140"/>
                  </a:lnTo>
                  <a:lnTo>
                    <a:pt x="304" y="141"/>
                  </a:lnTo>
                  <a:lnTo>
                    <a:pt x="304" y="143"/>
                  </a:lnTo>
                  <a:lnTo>
                    <a:pt x="304" y="144"/>
                  </a:lnTo>
                  <a:lnTo>
                    <a:pt x="304" y="146"/>
                  </a:lnTo>
                  <a:lnTo>
                    <a:pt x="304" y="144"/>
                  </a:lnTo>
                  <a:lnTo>
                    <a:pt x="305" y="143"/>
                  </a:lnTo>
                  <a:lnTo>
                    <a:pt x="307" y="143"/>
                  </a:lnTo>
                  <a:lnTo>
                    <a:pt x="307" y="142"/>
                  </a:lnTo>
                  <a:lnTo>
                    <a:pt x="308" y="142"/>
                  </a:lnTo>
                  <a:lnTo>
                    <a:pt x="308" y="144"/>
                  </a:lnTo>
                  <a:lnTo>
                    <a:pt x="309" y="144"/>
                  </a:lnTo>
                  <a:lnTo>
                    <a:pt x="309" y="146"/>
                  </a:lnTo>
                  <a:lnTo>
                    <a:pt x="310" y="146"/>
                  </a:lnTo>
                  <a:lnTo>
                    <a:pt x="310" y="147"/>
                  </a:lnTo>
                  <a:lnTo>
                    <a:pt x="311" y="147"/>
                  </a:lnTo>
                  <a:lnTo>
                    <a:pt x="311" y="148"/>
                  </a:lnTo>
                  <a:lnTo>
                    <a:pt x="313" y="149"/>
                  </a:lnTo>
                  <a:lnTo>
                    <a:pt x="314" y="149"/>
                  </a:lnTo>
                  <a:lnTo>
                    <a:pt x="314" y="150"/>
                  </a:lnTo>
                  <a:lnTo>
                    <a:pt x="315" y="150"/>
                  </a:lnTo>
                  <a:lnTo>
                    <a:pt x="315" y="152"/>
                  </a:lnTo>
                  <a:lnTo>
                    <a:pt x="315" y="153"/>
                  </a:lnTo>
                  <a:lnTo>
                    <a:pt x="315" y="154"/>
                  </a:lnTo>
                  <a:lnTo>
                    <a:pt x="314" y="154"/>
                  </a:lnTo>
                  <a:lnTo>
                    <a:pt x="314" y="155"/>
                  </a:lnTo>
                  <a:lnTo>
                    <a:pt x="313" y="156"/>
                  </a:lnTo>
                  <a:lnTo>
                    <a:pt x="311" y="156"/>
                  </a:lnTo>
                  <a:lnTo>
                    <a:pt x="311" y="158"/>
                  </a:lnTo>
                  <a:lnTo>
                    <a:pt x="311" y="159"/>
                  </a:lnTo>
                  <a:lnTo>
                    <a:pt x="311" y="161"/>
                  </a:lnTo>
                  <a:lnTo>
                    <a:pt x="310" y="161"/>
                  </a:lnTo>
                  <a:lnTo>
                    <a:pt x="311" y="162"/>
                  </a:lnTo>
                  <a:lnTo>
                    <a:pt x="311" y="164"/>
                  </a:lnTo>
                  <a:lnTo>
                    <a:pt x="311" y="165"/>
                  </a:lnTo>
                  <a:lnTo>
                    <a:pt x="311" y="166"/>
                  </a:lnTo>
                  <a:lnTo>
                    <a:pt x="313" y="166"/>
                  </a:lnTo>
                  <a:lnTo>
                    <a:pt x="313" y="167"/>
                  </a:lnTo>
                  <a:lnTo>
                    <a:pt x="314" y="167"/>
                  </a:lnTo>
                  <a:lnTo>
                    <a:pt x="315" y="169"/>
                  </a:lnTo>
                  <a:lnTo>
                    <a:pt x="315" y="167"/>
                  </a:lnTo>
                  <a:lnTo>
                    <a:pt x="314" y="166"/>
                  </a:lnTo>
                  <a:lnTo>
                    <a:pt x="314" y="165"/>
                  </a:lnTo>
                  <a:lnTo>
                    <a:pt x="314" y="164"/>
                  </a:lnTo>
                  <a:lnTo>
                    <a:pt x="316" y="164"/>
                  </a:lnTo>
                  <a:lnTo>
                    <a:pt x="319" y="162"/>
                  </a:lnTo>
                  <a:lnTo>
                    <a:pt x="319" y="161"/>
                  </a:lnTo>
                  <a:lnTo>
                    <a:pt x="320" y="161"/>
                  </a:lnTo>
                  <a:lnTo>
                    <a:pt x="321" y="160"/>
                  </a:lnTo>
                  <a:lnTo>
                    <a:pt x="322" y="160"/>
                  </a:lnTo>
                  <a:lnTo>
                    <a:pt x="322" y="159"/>
                  </a:lnTo>
                  <a:lnTo>
                    <a:pt x="324" y="159"/>
                  </a:lnTo>
                  <a:lnTo>
                    <a:pt x="324" y="158"/>
                  </a:lnTo>
                  <a:lnTo>
                    <a:pt x="324" y="156"/>
                  </a:lnTo>
                  <a:lnTo>
                    <a:pt x="324" y="155"/>
                  </a:lnTo>
                  <a:lnTo>
                    <a:pt x="326" y="155"/>
                  </a:lnTo>
                  <a:lnTo>
                    <a:pt x="328" y="156"/>
                  </a:lnTo>
                  <a:lnTo>
                    <a:pt x="330" y="156"/>
                  </a:lnTo>
                  <a:lnTo>
                    <a:pt x="330" y="158"/>
                  </a:lnTo>
                  <a:lnTo>
                    <a:pt x="331" y="159"/>
                  </a:lnTo>
                  <a:lnTo>
                    <a:pt x="331" y="160"/>
                  </a:lnTo>
                  <a:lnTo>
                    <a:pt x="330" y="160"/>
                  </a:lnTo>
                  <a:lnTo>
                    <a:pt x="331" y="161"/>
                  </a:lnTo>
                  <a:lnTo>
                    <a:pt x="332" y="161"/>
                  </a:lnTo>
                  <a:lnTo>
                    <a:pt x="332" y="160"/>
                  </a:lnTo>
                  <a:lnTo>
                    <a:pt x="332" y="159"/>
                  </a:lnTo>
                  <a:lnTo>
                    <a:pt x="332" y="158"/>
                  </a:lnTo>
                  <a:lnTo>
                    <a:pt x="333" y="158"/>
                  </a:lnTo>
                  <a:lnTo>
                    <a:pt x="334" y="158"/>
                  </a:lnTo>
                  <a:lnTo>
                    <a:pt x="334" y="159"/>
                  </a:lnTo>
                  <a:lnTo>
                    <a:pt x="336" y="160"/>
                  </a:lnTo>
                  <a:lnTo>
                    <a:pt x="336" y="161"/>
                  </a:lnTo>
                  <a:lnTo>
                    <a:pt x="337" y="161"/>
                  </a:lnTo>
                  <a:lnTo>
                    <a:pt x="336" y="162"/>
                  </a:lnTo>
                  <a:lnTo>
                    <a:pt x="336" y="164"/>
                  </a:lnTo>
                  <a:lnTo>
                    <a:pt x="334" y="164"/>
                  </a:lnTo>
                  <a:lnTo>
                    <a:pt x="334" y="165"/>
                  </a:lnTo>
                  <a:lnTo>
                    <a:pt x="336" y="166"/>
                  </a:lnTo>
                  <a:lnTo>
                    <a:pt x="336" y="167"/>
                  </a:lnTo>
                  <a:lnTo>
                    <a:pt x="334" y="167"/>
                  </a:lnTo>
                  <a:lnTo>
                    <a:pt x="334" y="169"/>
                  </a:lnTo>
                  <a:lnTo>
                    <a:pt x="334" y="170"/>
                  </a:lnTo>
                  <a:lnTo>
                    <a:pt x="334" y="171"/>
                  </a:lnTo>
                  <a:lnTo>
                    <a:pt x="336" y="172"/>
                  </a:lnTo>
                  <a:lnTo>
                    <a:pt x="336" y="173"/>
                  </a:lnTo>
                  <a:lnTo>
                    <a:pt x="337" y="173"/>
                  </a:lnTo>
                  <a:lnTo>
                    <a:pt x="338" y="172"/>
                  </a:lnTo>
                  <a:lnTo>
                    <a:pt x="337" y="172"/>
                  </a:lnTo>
                  <a:lnTo>
                    <a:pt x="336" y="172"/>
                  </a:lnTo>
                  <a:lnTo>
                    <a:pt x="336" y="171"/>
                  </a:lnTo>
                  <a:lnTo>
                    <a:pt x="336" y="169"/>
                  </a:lnTo>
                  <a:lnTo>
                    <a:pt x="337" y="167"/>
                  </a:lnTo>
                  <a:lnTo>
                    <a:pt x="338" y="169"/>
                  </a:lnTo>
                  <a:lnTo>
                    <a:pt x="339" y="169"/>
                  </a:lnTo>
                  <a:lnTo>
                    <a:pt x="339" y="170"/>
                  </a:lnTo>
                  <a:lnTo>
                    <a:pt x="339" y="172"/>
                  </a:lnTo>
                  <a:lnTo>
                    <a:pt x="339" y="173"/>
                  </a:lnTo>
                  <a:lnTo>
                    <a:pt x="340" y="173"/>
                  </a:lnTo>
                  <a:lnTo>
                    <a:pt x="340" y="175"/>
                  </a:lnTo>
                  <a:lnTo>
                    <a:pt x="342" y="175"/>
                  </a:lnTo>
                  <a:lnTo>
                    <a:pt x="343" y="176"/>
                  </a:lnTo>
                  <a:lnTo>
                    <a:pt x="344" y="176"/>
                  </a:lnTo>
                  <a:lnTo>
                    <a:pt x="343" y="176"/>
                  </a:lnTo>
                  <a:lnTo>
                    <a:pt x="343" y="175"/>
                  </a:lnTo>
                  <a:lnTo>
                    <a:pt x="342" y="175"/>
                  </a:lnTo>
                  <a:lnTo>
                    <a:pt x="342" y="173"/>
                  </a:lnTo>
                  <a:lnTo>
                    <a:pt x="342" y="171"/>
                  </a:lnTo>
                  <a:lnTo>
                    <a:pt x="343" y="171"/>
                  </a:lnTo>
                  <a:lnTo>
                    <a:pt x="343" y="170"/>
                  </a:lnTo>
                  <a:lnTo>
                    <a:pt x="343" y="167"/>
                  </a:lnTo>
                  <a:lnTo>
                    <a:pt x="344" y="167"/>
                  </a:lnTo>
                  <a:lnTo>
                    <a:pt x="345" y="169"/>
                  </a:lnTo>
                  <a:lnTo>
                    <a:pt x="345" y="170"/>
                  </a:lnTo>
                  <a:lnTo>
                    <a:pt x="345" y="171"/>
                  </a:lnTo>
                  <a:lnTo>
                    <a:pt x="346" y="172"/>
                  </a:lnTo>
                  <a:lnTo>
                    <a:pt x="348" y="172"/>
                  </a:lnTo>
                  <a:lnTo>
                    <a:pt x="348" y="173"/>
                  </a:lnTo>
                  <a:lnTo>
                    <a:pt x="349" y="173"/>
                  </a:lnTo>
                  <a:lnTo>
                    <a:pt x="349" y="172"/>
                  </a:lnTo>
                  <a:lnTo>
                    <a:pt x="349" y="171"/>
                  </a:lnTo>
                  <a:lnTo>
                    <a:pt x="350" y="170"/>
                  </a:lnTo>
                  <a:lnTo>
                    <a:pt x="350" y="171"/>
                  </a:lnTo>
                  <a:lnTo>
                    <a:pt x="351" y="171"/>
                  </a:lnTo>
                  <a:lnTo>
                    <a:pt x="351" y="172"/>
                  </a:lnTo>
                  <a:lnTo>
                    <a:pt x="351" y="173"/>
                  </a:lnTo>
                  <a:lnTo>
                    <a:pt x="352" y="173"/>
                  </a:lnTo>
                  <a:lnTo>
                    <a:pt x="352" y="175"/>
                  </a:lnTo>
                  <a:lnTo>
                    <a:pt x="352" y="176"/>
                  </a:lnTo>
                  <a:lnTo>
                    <a:pt x="351" y="176"/>
                  </a:lnTo>
                  <a:lnTo>
                    <a:pt x="351" y="177"/>
                  </a:lnTo>
                  <a:lnTo>
                    <a:pt x="350" y="177"/>
                  </a:lnTo>
                  <a:lnTo>
                    <a:pt x="349" y="177"/>
                  </a:lnTo>
                  <a:lnTo>
                    <a:pt x="349" y="178"/>
                  </a:lnTo>
                  <a:lnTo>
                    <a:pt x="348" y="178"/>
                  </a:lnTo>
                  <a:lnTo>
                    <a:pt x="346" y="177"/>
                  </a:lnTo>
                  <a:lnTo>
                    <a:pt x="346" y="176"/>
                  </a:lnTo>
                  <a:lnTo>
                    <a:pt x="345" y="176"/>
                  </a:lnTo>
                  <a:lnTo>
                    <a:pt x="345" y="177"/>
                  </a:lnTo>
                  <a:lnTo>
                    <a:pt x="344" y="177"/>
                  </a:lnTo>
                  <a:lnTo>
                    <a:pt x="344" y="178"/>
                  </a:lnTo>
                  <a:lnTo>
                    <a:pt x="344" y="179"/>
                  </a:lnTo>
                  <a:lnTo>
                    <a:pt x="345" y="179"/>
                  </a:lnTo>
                  <a:lnTo>
                    <a:pt x="346" y="179"/>
                  </a:lnTo>
                  <a:lnTo>
                    <a:pt x="348" y="178"/>
                  </a:lnTo>
                  <a:lnTo>
                    <a:pt x="348" y="179"/>
                  </a:lnTo>
                  <a:lnTo>
                    <a:pt x="349" y="179"/>
                  </a:lnTo>
                  <a:lnTo>
                    <a:pt x="349" y="181"/>
                  </a:lnTo>
                  <a:lnTo>
                    <a:pt x="350" y="181"/>
                  </a:lnTo>
                  <a:lnTo>
                    <a:pt x="351" y="181"/>
                  </a:lnTo>
                  <a:lnTo>
                    <a:pt x="352" y="181"/>
                  </a:lnTo>
                  <a:lnTo>
                    <a:pt x="354" y="179"/>
                  </a:lnTo>
                  <a:lnTo>
                    <a:pt x="355" y="179"/>
                  </a:lnTo>
                  <a:lnTo>
                    <a:pt x="354" y="178"/>
                  </a:lnTo>
                  <a:lnTo>
                    <a:pt x="355" y="178"/>
                  </a:lnTo>
                  <a:lnTo>
                    <a:pt x="355" y="177"/>
                  </a:lnTo>
                  <a:lnTo>
                    <a:pt x="356" y="177"/>
                  </a:lnTo>
                  <a:lnTo>
                    <a:pt x="356" y="176"/>
                  </a:lnTo>
                  <a:lnTo>
                    <a:pt x="356" y="175"/>
                  </a:lnTo>
                  <a:lnTo>
                    <a:pt x="355" y="173"/>
                  </a:lnTo>
                  <a:lnTo>
                    <a:pt x="355" y="172"/>
                  </a:lnTo>
                  <a:lnTo>
                    <a:pt x="355" y="171"/>
                  </a:lnTo>
                  <a:lnTo>
                    <a:pt x="354" y="171"/>
                  </a:lnTo>
                  <a:lnTo>
                    <a:pt x="354" y="170"/>
                  </a:lnTo>
                  <a:lnTo>
                    <a:pt x="352" y="170"/>
                  </a:lnTo>
                  <a:lnTo>
                    <a:pt x="352" y="167"/>
                  </a:lnTo>
                  <a:lnTo>
                    <a:pt x="352" y="166"/>
                  </a:lnTo>
                  <a:lnTo>
                    <a:pt x="354" y="165"/>
                  </a:lnTo>
                  <a:lnTo>
                    <a:pt x="352" y="165"/>
                  </a:lnTo>
                  <a:lnTo>
                    <a:pt x="351" y="165"/>
                  </a:lnTo>
                  <a:lnTo>
                    <a:pt x="351" y="164"/>
                  </a:lnTo>
                  <a:lnTo>
                    <a:pt x="351" y="162"/>
                  </a:lnTo>
                  <a:lnTo>
                    <a:pt x="352" y="162"/>
                  </a:lnTo>
                  <a:lnTo>
                    <a:pt x="352" y="164"/>
                  </a:lnTo>
                  <a:lnTo>
                    <a:pt x="354" y="164"/>
                  </a:lnTo>
                  <a:lnTo>
                    <a:pt x="355" y="164"/>
                  </a:lnTo>
                  <a:lnTo>
                    <a:pt x="356" y="164"/>
                  </a:lnTo>
                  <a:lnTo>
                    <a:pt x="357" y="164"/>
                  </a:lnTo>
                  <a:lnTo>
                    <a:pt x="357" y="162"/>
                  </a:lnTo>
                  <a:lnTo>
                    <a:pt x="360" y="161"/>
                  </a:lnTo>
                  <a:lnTo>
                    <a:pt x="360" y="162"/>
                  </a:lnTo>
                  <a:lnTo>
                    <a:pt x="360" y="164"/>
                  </a:lnTo>
                  <a:lnTo>
                    <a:pt x="361" y="164"/>
                  </a:lnTo>
                  <a:lnTo>
                    <a:pt x="361" y="162"/>
                  </a:lnTo>
                  <a:lnTo>
                    <a:pt x="360" y="161"/>
                  </a:lnTo>
                  <a:lnTo>
                    <a:pt x="362" y="161"/>
                  </a:lnTo>
                  <a:lnTo>
                    <a:pt x="361" y="160"/>
                  </a:lnTo>
                  <a:lnTo>
                    <a:pt x="363" y="160"/>
                  </a:lnTo>
                  <a:lnTo>
                    <a:pt x="362" y="161"/>
                  </a:lnTo>
                  <a:lnTo>
                    <a:pt x="363" y="162"/>
                  </a:lnTo>
                  <a:lnTo>
                    <a:pt x="364" y="162"/>
                  </a:lnTo>
                  <a:lnTo>
                    <a:pt x="363" y="164"/>
                  </a:lnTo>
                  <a:lnTo>
                    <a:pt x="363" y="165"/>
                  </a:lnTo>
                  <a:lnTo>
                    <a:pt x="362" y="166"/>
                  </a:lnTo>
                  <a:lnTo>
                    <a:pt x="361" y="166"/>
                  </a:lnTo>
                  <a:lnTo>
                    <a:pt x="362" y="166"/>
                  </a:lnTo>
                  <a:lnTo>
                    <a:pt x="362" y="167"/>
                  </a:lnTo>
                  <a:lnTo>
                    <a:pt x="361" y="167"/>
                  </a:lnTo>
                  <a:lnTo>
                    <a:pt x="361" y="169"/>
                  </a:lnTo>
                  <a:lnTo>
                    <a:pt x="361" y="170"/>
                  </a:lnTo>
                  <a:lnTo>
                    <a:pt x="361" y="171"/>
                  </a:lnTo>
                  <a:lnTo>
                    <a:pt x="360" y="171"/>
                  </a:lnTo>
                  <a:lnTo>
                    <a:pt x="360" y="172"/>
                  </a:lnTo>
                  <a:lnTo>
                    <a:pt x="358" y="172"/>
                  </a:lnTo>
                  <a:lnTo>
                    <a:pt x="358" y="173"/>
                  </a:lnTo>
                  <a:lnTo>
                    <a:pt x="357" y="173"/>
                  </a:lnTo>
                  <a:lnTo>
                    <a:pt x="357" y="172"/>
                  </a:lnTo>
                  <a:lnTo>
                    <a:pt x="356" y="173"/>
                  </a:lnTo>
                  <a:lnTo>
                    <a:pt x="357" y="173"/>
                  </a:lnTo>
                  <a:lnTo>
                    <a:pt x="357" y="175"/>
                  </a:lnTo>
                  <a:lnTo>
                    <a:pt x="357" y="178"/>
                  </a:lnTo>
                  <a:lnTo>
                    <a:pt x="357" y="179"/>
                  </a:lnTo>
                  <a:lnTo>
                    <a:pt x="358" y="181"/>
                  </a:lnTo>
                  <a:lnTo>
                    <a:pt x="358" y="182"/>
                  </a:lnTo>
                  <a:lnTo>
                    <a:pt x="360" y="182"/>
                  </a:lnTo>
                  <a:lnTo>
                    <a:pt x="360" y="181"/>
                  </a:lnTo>
                  <a:lnTo>
                    <a:pt x="361" y="181"/>
                  </a:lnTo>
                  <a:lnTo>
                    <a:pt x="363" y="181"/>
                  </a:lnTo>
                  <a:lnTo>
                    <a:pt x="366" y="181"/>
                  </a:lnTo>
                  <a:lnTo>
                    <a:pt x="366" y="179"/>
                  </a:lnTo>
                  <a:lnTo>
                    <a:pt x="367" y="179"/>
                  </a:lnTo>
                  <a:lnTo>
                    <a:pt x="368" y="179"/>
                  </a:lnTo>
                  <a:lnTo>
                    <a:pt x="369" y="181"/>
                  </a:lnTo>
                  <a:lnTo>
                    <a:pt x="370" y="179"/>
                  </a:lnTo>
                  <a:lnTo>
                    <a:pt x="372" y="179"/>
                  </a:lnTo>
                  <a:lnTo>
                    <a:pt x="373" y="179"/>
                  </a:lnTo>
                  <a:lnTo>
                    <a:pt x="373" y="181"/>
                  </a:lnTo>
                  <a:lnTo>
                    <a:pt x="374" y="181"/>
                  </a:lnTo>
                  <a:lnTo>
                    <a:pt x="376" y="181"/>
                  </a:lnTo>
                  <a:lnTo>
                    <a:pt x="376" y="182"/>
                  </a:lnTo>
                  <a:lnTo>
                    <a:pt x="378" y="181"/>
                  </a:lnTo>
                  <a:lnTo>
                    <a:pt x="378" y="182"/>
                  </a:lnTo>
                  <a:lnTo>
                    <a:pt x="379" y="182"/>
                  </a:lnTo>
                  <a:lnTo>
                    <a:pt x="380" y="182"/>
                  </a:lnTo>
                  <a:lnTo>
                    <a:pt x="381" y="182"/>
                  </a:lnTo>
                  <a:lnTo>
                    <a:pt x="381" y="181"/>
                  </a:lnTo>
                  <a:lnTo>
                    <a:pt x="383" y="181"/>
                  </a:lnTo>
                  <a:lnTo>
                    <a:pt x="383" y="182"/>
                  </a:lnTo>
                  <a:lnTo>
                    <a:pt x="384" y="182"/>
                  </a:lnTo>
                  <a:lnTo>
                    <a:pt x="384" y="183"/>
                  </a:lnTo>
                  <a:lnTo>
                    <a:pt x="385" y="183"/>
                  </a:lnTo>
                  <a:lnTo>
                    <a:pt x="385" y="182"/>
                  </a:lnTo>
                  <a:lnTo>
                    <a:pt x="384" y="181"/>
                  </a:lnTo>
                  <a:lnTo>
                    <a:pt x="384" y="179"/>
                  </a:lnTo>
                  <a:lnTo>
                    <a:pt x="384" y="181"/>
                  </a:lnTo>
                  <a:lnTo>
                    <a:pt x="383" y="179"/>
                  </a:lnTo>
                  <a:lnTo>
                    <a:pt x="384" y="179"/>
                  </a:lnTo>
                  <a:lnTo>
                    <a:pt x="384" y="178"/>
                  </a:lnTo>
                  <a:lnTo>
                    <a:pt x="386" y="178"/>
                  </a:lnTo>
                  <a:lnTo>
                    <a:pt x="386" y="179"/>
                  </a:lnTo>
                  <a:lnTo>
                    <a:pt x="386" y="181"/>
                  </a:lnTo>
                  <a:lnTo>
                    <a:pt x="385" y="181"/>
                  </a:lnTo>
                  <a:lnTo>
                    <a:pt x="386" y="182"/>
                  </a:lnTo>
                  <a:lnTo>
                    <a:pt x="385" y="182"/>
                  </a:lnTo>
                  <a:lnTo>
                    <a:pt x="386" y="182"/>
                  </a:lnTo>
                  <a:lnTo>
                    <a:pt x="385" y="183"/>
                  </a:lnTo>
                  <a:lnTo>
                    <a:pt x="385" y="184"/>
                  </a:lnTo>
                  <a:lnTo>
                    <a:pt x="385" y="185"/>
                  </a:lnTo>
                  <a:lnTo>
                    <a:pt x="384" y="185"/>
                  </a:lnTo>
                  <a:lnTo>
                    <a:pt x="383" y="187"/>
                  </a:lnTo>
                  <a:lnTo>
                    <a:pt x="383" y="188"/>
                  </a:lnTo>
                  <a:lnTo>
                    <a:pt x="383" y="189"/>
                  </a:lnTo>
                  <a:lnTo>
                    <a:pt x="381" y="188"/>
                  </a:lnTo>
                  <a:lnTo>
                    <a:pt x="380" y="189"/>
                  </a:lnTo>
                  <a:lnTo>
                    <a:pt x="381" y="189"/>
                  </a:lnTo>
                  <a:lnTo>
                    <a:pt x="381" y="191"/>
                  </a:lnTo>
                  <a:lnTo>
                    <a:pt x="381" y="194"/>
                  </a:lnTo>
                  <a:lnTo>
                    <a:pt x="381" y="195"/>
                  </a:lnTo>
                  <a:lnTo>
                    <a:pt x="380" y="195"/>
                  </a:lnTo>
                  <a:lnTo>
                    <a:pt x="380" y="194"/>
                  </a:lnTo>
                  <a:lnTo>
                    <a:pt x="379" y="195"/>
                  </a:lnTo>
                  <a:lnTo>
                    <a:pt x="380" y="195"/>
                  </a:lnTo>
                  <a:lnTo>
                    <a:pt x="380" y="196"/>
                  </a:lnTo>
                  <a:lnTo>
                    <a:pt x="379" y="197"/>
                  </a:lnTo>
                  <a:lnTo>
                    <a:pt x="380" y="197"/>
                  </a:lnTo>
                  <a:lnTo>
                    <a:pt x="381" y="197"/>
                  </a:lnTo>
                  <a:lnTo>
                    <a:pt x="381" y="196"/>
                  </a:lnTo>
                  <a:lnTo>
                    <a:pt x="380" y="195"/>
                  </a:lnTo>
                  <a:lnTo>
                    <a:pt x="381" y="194"/>
                  </a:lnTo>
                  <a:lnTo>
                    <a:pt x="383" y="193"/>
                  </a:lnTo>
                  <a:lnTo>
                    <a:pt x="383" y="191"/>
                  </a:lnTo>
                  <a:lnTo>
                    <a:pt x="384" y="191"/>
                  </a:lnTo>
                  <a:lnTo>
                    <a:pt x="384" y="193"/>
                  </a:lnTo>
                  <a:lnTo>
                    <a:pt x="385" y="195"/>
                  </a:lnTo>
                  <a:lnTo>
                    <a:pt x="385" y="194"/>
                  </a:lnTo>
                  <a:lnTo>
                    <a:pt x="385" y="193"/>
                  </a:lnTo>
                  <a:lnTo>
                    <a:pt x="386" y="193"/>
                  </a:lnTo>
                  <a:lnTo>
                    <a:pt x="386" y="191"/>
                  </a:lnTo>
                  <a:lnTo>
                    <a:pt x="387" y="191"/>
                  </a:lnTo>
                  <a:lnTo>
                    <a:pt x="386" y="191"/>
                  </a:lnTo>
                  <a:lnTo>
                    <a:pt x="387" y="193"/>
                  </a:lnTo>
                  <a:lnTo>
                    <a:pt x="387" y="194"/>
                  </a:lnTo>
                  <a:lnTo>
                    <a:pt x="386" y="194"/>
                  </a:lnTo>
                  <a:lnTo>
                    <a:pt x="386" y="195"/>
                  </a:lnTo>
                  <a:lnTo>
                    <a:pt x="385" y="195"/>
                  </a:lnTo>
                  <a:lnTo>
                    <a:pt x="385" y="196"/>
                  </a:lnTo>
                  <a:lnTo>
                    <a:pt x="386" y="196"/>
                  </a:lnTo>
                  <a:lnTo>
                    <a:pt x="386" y="197"/>
                  </a:lnTo>
                  <a:lnTo>
                    <a:pt x="387" y="197"/>
                  </a:lnTo>
                  <a:lnTo>
                    <a:pt x="389" y="197"/>
                  </a:lnTo>
                  <a:lnTo>
                    <a:pt x="390" y="197"/>
                  </a:lnTo>
                  <a:lnTo>
                    <a:pt x="390" y="196"/>
                  </a:lnTo>
                  <a:lnTo>
                    <a:pt x="390" y="195"/>
                  </a:lnTo>
                  <a:lnTo>
                    <a:pt x="391" y="195"/>
                  </a:lnTo>
                  <a:lnTo>
                    <a:pt x="390" y="194"/>
                  </a:lnTo>
                  <a:lnTo>
                    <a:pt x="391" y="194"/>
                  </a:lnTo>
                  <a:lnTo>
                    <a:pt x="392" y="193"/>
                  </a:lnTo>
                  <a:lnTo>
                    <a:pt x="393" y="193"/>
                  </a:lnTo>
                  <a:lnTo>
                    <a:pt x="393" y="194"/>
                  </a:lnTo>
                  <a:lnTo>
                    <a:pt x="396" y="194"/>
                  </a:lnTo>
                  <a:lnTo>
                    <a:pt x="396" y="195"/>
                  </a:lnTo>
                  <a:lnTo>
                    <a:pt x="397" y="195"/>
                  </a:lnTo>
                  <a:lnTo>
                    <a:pt x="397" y="196"/>
                  </a:lnTo>
                  <a:lnTo>
                    <a:pt x="397" y="195"/>
                  </a:lnTo>
                  <a:lnTo>
                    <a:pt x="398" y="195"/>
                  </a:lnTo>
                  <a:lnTo>
                    <a:pt x="398" y="196"/>
                  </a:lnTo>
                  <a:lnTo>
                    <a:pt x="399" y="196"/>
                  </a:lnTo>
                  <a:lnTo>
                    <a:pt x="399" y="197"/>
                  </a:lnTo>
                  <a:lnTo>
                    <a:pt x="401" y="197"/>
                  </a:lnTo>
                  <a:lnTo>
                    <a:pt x="402" y="196"/>
                  </a:lnTo>
                  <a:lnTo>
                    <a:pt x="404" y="196"/>
                  </a:lnTo>
                  <a:lnTo>
                    <a:pt x="405" y="196"/>
                  </a:lnTo>
                  <a:lnTo>
                    <a:pt x="405" y="197"/>
                  </a:lnTo>
                  <a:lnTo>
                    <a:pt x="407" y="197"/>
                  </a:lnTo>
                  <a:lnTo>
                    <a:pt x="407" y="199"/>
                  </a:lnTo>
                  <a:lnTo>
                    <a:pt x="407" y="200"/>
                  </a:lnTo>
                  <a:lnTo>
                    <a:pt x="408" y="200"/>
                  </a:lnTo>
                  <a:lnTo>
                    <a:pt x="408" y="201"/>
                  </a:lnTo>
                  <a:lnTo>
                    <a:pt x="409" y="201"/>
                  </a:lnTo>
                  <a:lnTo>
                    <a:pt x="410" y="201"/>
                  </a:lnTo>
                  <a:lnTo>
                    <a:pt x="411" y="201"/>
                  </a:lnTo>
                  <a:lnTo>
                    <a:pt x="413" y="201"/>
                  </a:lnTo>
                  <a:lnTo>
                    <a:pt x="413" y="200"/>
                  </a:lnTo>
                  <a:lnTo>
                    <a:pt x="414" y="200"/>
                  </a:lnTo>
                  <a:lnTo>
                    <a:pt x="414" y="201"/>
                  </a:lnTo>
                  <a:lnTo>
                    <a:pt x="415" y="201"/>
                  </a:lnTo>
                  <a:lnTo>
                    <a:pt x="416" y="201"/>
                  </a:lnTo>
                  <a:lnTo>
                    <a:pt x="416" y="202"/>
                  </a:lnTo>
                  <a:lnTo>
                    <a:pt x="416" y="205"/>
                  </a:lnTo>
                  <a:lnTo>
                    <a:pt x="417" y="205"/>
                  </a:lnTo>
                  <a:lnTo>
                    <a:pt x="419" y="205"/>
                  </a:lnTo>
                  <a:lnTo>
                    <a:pt x="417" y="205"/>
                  </a:lnTo>
                  <a:lnTo>
                    <a:pt x="417" y="203"/>
                  </a:lnTo>
                  <a:lnTo>
                    <a:pt x="419" y="203"/>
                  </a:lnTo>
                  <a:lnTo>
                    <a:pt x="420" y="203"/>
                  </a:lnTo>
                  <a:lnTo>
                    <a:pt x="421" y="203"/>
                  </a:lnTo>
                  <a:lnTo>
                    <a:pt x="422" y="203"/>
                  </a:lnTo>
                  <a:lnTo>
                    <a:pt x="421" y="205"/>
                  </a:lnTo>
                  <a:lnTo>
                    <a:pt x="420" y="205"/>
                  </a:lnTo>
                  <a:lnTo>
                    <a:pt x="419" y="205"/>
                  </a:lnTo>
                  <a:lnTo>
                    <a:pt x="419" y="206"/>
                  </a:lnTo>
                  <a:lnTo>
                    <a:pt x="417" y="206"/>
                  </a:lnTo>
                  <a:lnTo>
                    <a:pt x="417" y="207"/>
                  </a:lnTo>
                  <a:lnTo>
                    <a:pt x="417" y="206"/>
                  </a:lnTo>
                  <a:lnTo>
                    <a:pt x="419" y="207"/>
                  </a:lnTo>
                  <a:lnTo>
                    <a:pt x="420" y="208"/>
                  </a:lnTo>
                  <a:lnTo>
                    <a:pt x="419" y="208"/>
                  </a:lnTo>
                  <a:lnTo>
                    <a:pt x="419" y="209"/>
                  </a:lnTo>
                  <a:lnTo>
                    <a:pt x="420" y="209"/>
                  </a:lnTo>
                  <a:lnTo>
                    <a:pt x="421" y="208"/>
                  </a:lnTo>
                  <a:lnTo>
                    <a:pt x="421" y="209"/>
                  </a:lnTo>
                  <a:lnTo>
                    <a:pt x="421" y="208"/>
                  </a:lnTo>
                  <a:lnTo>
                    <a:pt x="422" y="209"/>
                  </a:lnTo>
                  <a:lnTo>
                    <a:pt x="423" y="208"/>
                  </a:lnTo>
                  <a:lnTo>
                    <a:pt x="423" y="206"/>
                  </a:lnTo>
                  <a:lnTo>
                    <a:pt x="423" y="205"/>
                  </a:lnTo>
                  <a:lnTo>
                    <a:pt x="423" y="203"/>
                  </a:lnTo>
                  <a:lnTo>
                    <a:pt x="423" y="202"/>
                  </a:lnTo>
                  <a:lnTo>
                    <a:pt x="425" y="203"/>
                  </a:lnTo>
                  <a:lnTo>
                    <a:pt x="425" y="205"/>
                  </a:lnTo>
                  <a:lnTo>
                    <a:pt x="426" y="206"/>
                  </a:lnTo>
                  <a:lnTo>
                    <a:pt x="426" y="207"/>
                  </a:lnTo>
                  <a:lnTo>
                    <a:pt x="425" y="206"/>
                  </a:lnTo>
                  <a:lnTo>
                    <a:pt x="425" y="207"/>
                  </a:lnTo>
                  <a:lnTo>
                    <a:pt x="425" y="208"/>
                  </a:lnTo>
                  <a:lnTo>
                    <a:pt x="426" y="209"/>
                  </a:lnTo>
                  <a:lnTo>
                    <a:pt x="426" y="211"/>
                  </a:lnTo>
                  <a:lnTo>
                    <a:pt x="426" y="209"/>
                  </a:lnTo>
                  <a:lnTo>
                    <a:pt x="428" y="209"/>
                  </a:lnTo>
                  <a:lnTo>
                    <a:pt x="429" y="208"/>
                  </a:lnTo>
                  <a:lnTo>
                    <a:pt x="431" y="209"/>
                  </a:lnTo>
                  <a:lnTo>
                    <a:pt x="433" y="209"/>
                  </a:lnTo>
                  <a:lnTo>
                    <a:pt x="434" y="209"/>
                  </a:lnTo>
                  <a:lnTo>
                    <a:pt x="435" y="211"/>
                  </a:lnTo>
                  <a:lnTo>
                    <a:pt x="437" y="212"/>
                  </a:lnTo>
                  <a:lnTo>
                    <a:pt x="438" y="211"/>
                  </a:lnTo>
                  <a:lnTo>
                    <a:pt x="437" y="211"/>
                  </a:lnTo>
                  <a:lnTo>
                    <a:pt x="437" y="212"/>
                  </a:lnTo>
                  <a:lnTo>
                    <a:pt x="437" y="213"/>
                  </a:lnTo>
                  <a:lnTo>
                    <a:pt x="438" y="214"/>
                  </a:lnTo>
                  <a:lnTo>
                    <a:pt x="438" y="212"/>
                  </a:lnTo>
                  <a:lnTo>
                    <a:pt x="438" y="211"/>
                  </a:lnTo>
                  <a:lnTo>
                    <a:pt x="439" y="211"/>
                  </a:lnTo>
                  <a:lnTo>
                    <a:pt x="439" y="212"/>
                  </a:lnTo>
                  <a:lnTo>
                    <a:pt x="440" y="212"/>
                  </a:lnTo>
                  <a:lnTo>
                    <a:pt x="440" y="213"/>
                  </a:lnTo>
                  <a:lnTo>
                    <a:pt x="440" y="214"/>
                  </a:lnTo>
                  <a:lnTo>
                    <a:pt x="440" y="215"/>
                  </a:lnTo>
                  <a:lnTo>
                    <a:pt x="440" y="217"/>
                  </a:lnTo>
                  <a:lnTo>
                    <a:pt x="442" y="218"/>
                  </a:lnTo>
                  <a:lnTo>
                    <a:pt x="442" y="219"/>
                  </a:lnTo>
                  <a:lnTo>
                    <a:pt x="440" y="220"/>
                  </a:lnTo>
                  <a:lnTo>
                    <a:pt x="440" y="221"/>
                  </a:lnTo>
                  <a:lnTo>
                    <a:pt x="440" y="223"/>
                  </a:lnTo>
                  <a:lnTo>
                    <a:pt x="440" y="224"/>
                  </a:lnTo>
                  <a:lnTo>
                    <a:pt x="439" y="224"/>
                  </a:lnTo>
                  <a:lnTo>
                    <a:pt x="439" y="225"/>
                  </a:lnTo>
                  <a:lnTo>
                    <a:pt x="438" y="225"/>
                  </a:lnTo>
                  <a:lnTo>
                    <a:pt x="437" y="225"/>
                  </a:lnTo>
                  <a:lnTo>
                    <a:pt x="437" y="226"/>
                  </a:lnTo>
                  <a:lnTo>
                    <a:pt x="435" y="226"/>
                  </a:lnTo>
                  <a:lnTo>
                    <a:pt x="434" y="226"/>
                  </a:lnTo>
                  <a:lnTo>
                    <a:pt x="433" y="226"/>
                  </a:lnTo>
                  <a:lnTo>
                    <a:pt x="432" y="227"/>
                  </a:lnTo>
                  <a:lnTo>
                    <a:pt x="431" y="227"/>
                  </a:lnTo>
                  <a:lnTo>
                    <a:pt x="431" y="226"/>
                  </a:lnTo>
                  <a:lnTo>
                    <a:pt x="432" y="226"/>
                  </a:lnTo>
                  <a:lnTo>
                    <a:pt x="432" y="225"/>
                  </a:lnTo>
                  <a:lnTo>
                    <a:pt x="432" y="224"/>
                  </a:lnTo>
                  <a:lnTo>
                    <a:pt x="433" y="224"/>
                  </a:lnTo>
                  <a:lnTo>
                    <a:pt x="432" y="224"/>
                  </a:lnTo>
                  <a:lnTo>
                    <a:pt x="432" y="223"/>
                  </a:lnTo>
                  <a:lnTo>
                    <a:pt x="432" y="225"/>
                  </a:lnTo>
                  <a:lnTo>
                    <a:pt x="431" y="225"/>
                  </a:lnTo>
                  <a:lnTo>
                    <a:pt x="431" y="226"/>
                  </a:lnTo>
                  <a:lnTo>
                    <a:pt x="429" y="226"/>
                  </a:lnTo>
                  <a:lnTo>
                    <a:pt x="431" y="226"/>
                  </a:lnTo>
                  <a:lnTo>
                    <a:pt x="431" y="227"/>
                  </a:lnTo>
                  <a:lnTo>
                    <a:pt x="429" y="227"/>
                  </a:lnTo>
                  <a:lnTo>
                    <a:pt x="429" y="226"/>
                  </a:lnTo>
                  <a:lnTo>
                    <a:pt x="429" y="225"/>
                  </a:lnTo>
                  <a:lnTo>
                    <a:pt x="429" y="224"/>
                  </a:lnTo>
                  <a:lnTo>
                    <a:pt x="429" y="223"/>
                  </a:lnTo>
                  <a:lnTo>
                    <a:pt x="428" y="223"/>
                  </a:lnTo>
                  <a:lnTo>
                    <a:pt x="427" y="223"/>
                  </a:lnTo>
                  <a:lnTo>
                    <a:pt x="426" y="221"/>
                  </a:lnTo>
                  <a:lnTo>
                    <a:pt x="425" y="220"/>
                  </a:lnTo>
                  <a:lnTo>
                    <a:pt x="425" y="221"/>
                  </a:lnTo>
                  <a:lnTo>
                    <a:pt x="425" y="224"/>
                  </a:lnTo>
                  <a:lnTo>
                    <a:pt x="425" y="226"/>
                  </a:lnTo>
                  <a:lnTo>
                    <a:pt x="426" y="226"/>
                  </a:lnTo>
                  <a:lnTo>
                    <a:pt x="426" y="225"/>
                  </a:lnTo>
                  <a:lnTo>
                    <a:pt x="427" y="225"/>
                  </a:lnTo>
                  <a:lnTo>
                    <a:pt x="427" y="224"/>
                  </a:lnTo>
                  <a:lnTo>
                    <a:pt x="427" y="223"/>
                  </a:lnTo>
                  <a:lnTo>
                    <a:pt x="428" y="224"/>
                  </a:lnTo>
                  <a:lnTo>
                    <a:pt x="428" y="225"/>
                  </a:lnTo>
                  <a:lnTo>
                    <a:pt x="428" y="226"/>
                  </a:lnTo>
                  <a:lnTo>
                    <a:pt x="426" y="227"/>
                  </a:lnTo>
                  <a:lnTo>
                    <a:pt x="427" y="227"/>
                  </a:lnTo>
                  <a:lnTo>
                    <a:pt x="432" y="227"/>
                  </a:lnTo>
                  <a:lnTo>
                    <a:pt x="434" y="227"/>
                  </a:lnTo>
                  <a:lnTo>
                    <a:pt x="434" y="229"/>
                  </a:lnTo>
                  <a:lnTo>
                    <a:pt x="434" y="230"/>
                  </a:lnTo>
                  <a:lnTo>
                    <a:pt x="435" y="231"/>
                  </a:lnTo>
                  <a:lnTo>
                    <a:pt x="435" y="232"/>
                  </a:lnTo>
                  <a:lnTo>
                    <a:pt x="435" y="233"/>
                  </a:lnTo>
                  <a:lnTo>
                    <a:pt x="434" y="233"/>
                  </a:lnTo>
                  <a:lnTo>
                    <a:pt x="434" y="236"/>
                  </a:lnTo>
                  <a:lnTo>
                    <a:pt x="435" y="237"/>
                  </a:lnTo>
                  <a:lnTo>
                    <a:pt x="434" y="238"/>
                  </a:lnTo>
                  <a:lnTo>
                    <a:pt x="435" y="238"/>
                  </a:lnTo>
                  <a:lnTo>
                    <a:pt x="435" y="237"/>
                  </a:lnTo>
                  <a:lnTo>
                    <a:pt x="437" y="236"/>
                  </a:lnTo>
                  <a:lnTo>
                    <a:pt x="438" y="236"/>
                  </a:lnTo>
                  <a:lnTo>
                    <a:pt x="438" y="235"/>
                  </a:lnTo>
                  <a:lnTo>
                    <a:pt x="438" y="233"/>
                  </a:lnTo>
                  <a:lnTo>
                    <a:pt x="438" y="232"/>
                  </a:lnTo>
                  <a:lnTo>
                    <a:pt x="437" y="232"/>
                  </a:lnTo>
                  <a:lnTo>
                    <a:pt x="435" y="232"/>
                  </a:lnTo>
                  <a:lnTo>
                    <a:pt x="435" y="231"/>
                  </a:lnTo>
                  <a:lnTo>
                    <a:pt x="435" y="230"/>
                  </a:lnTo>
                  <a:lnTo>
                    <a:pt x="435" y="229"/>
                  </a:lnTo>
                  <a:lnTo>
                    <a:pt x="437" y="227"/>
                  </a:lnTo>
                  <a:lnTo>
                    <a:pt x="437" y="229"/>
                  </a:lnTo>
                  <a:lnTo>
                    <a:pt x="438" y="229"/>
                  </a:lnTo>
                  <a:lnTo>
                    <a:pt x="439" y="230"/>
                  </a:lnTo>
                  <a:lnTo>
                    <a:pt x="440" y="229"/>
                  </a:lnTo>
                  <a:lnTo>
                    <a:pt x="439" y="229"/>
                  </a:lnTo>
                  <a:lnTo>
                    <a:pt x="439" y="227"/>
                  </a:lnTo>
                  <a:lnTo>
                    <a:pt x="440" y="227"/>
                  </a:lnTo>
                  <a:lnTo>
                    <a:pt x="442" y="227"/>
                  </a:lnTo>
                  <a:lnTo>
                    <a:pt x="443" y="227"/>
                  </a:lnTo>
                  <a:lnTo>
                    <a:pt x="443" y="229"/>
                  </a:lnTo>
                  <a:lnTo>
                    <a:pt x="444" y="229"/>
                  </a:lnTo>
                  <a:lnTo>
                    <a:pt x="444" y="230"/>
                  </a:lnTo>
                  <a:lnTo>
                    <a:pt x="444" y="231"/>
                  </a:lnTo>
                  <a:lnTo>
                    <a:pt x="446" y="231"/>
                  </a:lnTo>
                  <a:lnTo>
                    <a:pt x="448" y="231"/>
                  </a:lnTo>
                  <a:lnTo>
                    <a:pt x="448" y="232"/>
                  </a:lnTo>
                  <a:lnTo>
                    <a:pt x="449" y="232"/>
                  </a:lnTo>
                  <a:lnTo>
                    <a:pt x="449" y="235"/>
                  </a:lnTo>
                  <a:lnTo>
                    <a:pt x="450" y="235"/>
                  </a:lnTo>
                  <a:lnTo>
                    <a:pt x="450" y="237"/>
                  </a:lnTo>
                  <a:lnTo>
                    <a:pt x="451" y="237"/>
                  </a:lnTo>
                  <a:lnTo>
                    <a:pt x="451" y="238"/>
                  </a:lnTo>
                  <a:lnTo>
                    <a:pt x="452" y="238"/>
                  </a:lnTo>
                  <a:lnTo>
                    <a:pt x="452" y="239"/>
                  </a:lnTo>
                  <a:lnTo>
                    <a:pt x="452" y="241"/>
                  </a:lnTo>
                  <a:lnTo>
                    <a:pt x="451" y="239"/>
                  </a:lnTo>
                  <a:lnTo>
                    <a:pt x="450" y="241"/>
                  </a:lnTo>
                  <a:lnTo>
                    <a:pt x="450" y="243"/>
                  </a:lnTo>
                  <a:lnTo>
                    <a:pt x="449" y="243"/>
                  </a:lnTo>
                  <a:lnTo>
                    <a:pt x="450" y="243"/>
                  </a:lnTo>
                  <a:lnTo>
                    <a:pt x="451" y="243"/>
                  </a:lnTo>
                  <a:lnTo>
                    <a:pt x="451" y="244"/>
                  </a:lnTo>
                  <a:lnTo>
                    <a:pt x="452" y="243"/>
                  </a:lnTo>
                  <a:lnTo>
                    <a:pt x="452" y="244"/>
                  </a:lnTo>
                  <a:lnTo>
                    <a:pt x="454" y="244"/>
                  </a:lnTo>
                  <a:lnTo>
                    <a:pt x="454" y="245"/>
                  </a:lnTo>
                  <a:lnTo>
                    <a:pt x="455" y="244"/>
                  </a:lnTo>
                  <a:lnTo>
                    <a:pt x="456" y="245"/>
                  </a:lnTo>
                  <a:lnTo>
                    <a:pt x="457" y="247"/>
                  </a:lnTo>
                  <a:lnTo>
                    <a:pt x="457" y="245"/>
                  </a:lnTo>
                  <a:lnTo>
                    <a:pt x="456" y="244"/>
                  </a:lnTo>
                  <a:lnTo>
                    <a:pt x="455" y="243"/>
                  </a:lnTo>
                  <a:lnTo>
                    <a:pt x="454" y="242"/>
                  </a:lnTo>
                  <a:lnTo>
                    <a:pt x="456" y="242"/>
                  </a:lnTo>
                  <a:lnTo>
                    <a:pt x="456" y="241"/>
                  </a:lnTo>
                  <a:lnTo>
                    <a:pt x="456" y="238"/>
                  </a:lnTo>
                  <a:lnTo>
                    <a:pt x="455" y="238"/>
                  </a:lnTo>
                  <a:lnTo>
                    <a:pt x="455" y="237"/>
                  </a:lnTo>
                  <a:lnTo>
                    <a:pt x="454" y="237"/>
                  </a:lnTo>
                  <a:lnTo>
                    <a:pt x="454" y="236"/>
                  </a:lnTo>
                  <a:lnTo>
                    <a:pt x="454" y="235"/>
                  </a:lnTo>
                  <a:lnTo>
                    <a:pt x="452" y="235"/>
                  </a:lnTo>
                  <a:lnTo>
                    <a:pt x="451" y="235"/>
                  </a:lnTo>
                  <a:lnTo>
                    <a:pt x="451" y="233"/>
                  </a:lnTo>
                  <a:lnTo>
                    <a:pt x="452" y="232"/>
                  </a:lnTo>
                  <a:lnTo>
                    <a:pt x="452" y="231"/>
                  </a:lnTo>
                  <a:lnTo>
                    <a:pt x="451" y="231"/>
                  </a:lnTo>
                  <a:lnTo>
                    <a:pt x="451" y="230"/>
                  </a:lnTo>
                  <a:lnTo>
                    <a:pt x="450" y="229"/>
                  </a:lnTo>
                  <a:lnTo>
                    <a:pt x="450" y="227"/>
                  </a:lnTo>
                  <a:lnTo>
                    <a:pt x="449" y="226"/>
                  </a:lnTo>
                  <a:lnTo>
                    <a:pt x="449" y="225"/>
                  </a:lnTo>
                  <a:lnTo>
                    <a:pt x="450" y="225"/>
                  </a:lnTo>
                  <a:lnTo>
                    <a:pt x="449" y="221"/>
                  </a:lnTo>
                  <a:lnTo>
                    <a:pt x="449" y="220"/>
                  </a:lnTo>
                  <a:lnTo>
                    <a:pt x="449" y="219"/>
                  </a:lnTo>
                  <a:lnTo>
                    <a:pt x="449" y="218"/>
                  </a:lnTo>
                  <a:lnTo>
                    <a:pt x="448" y="218"/>
                  </a:lnTo>
                  <a:lnTo>
                    <a:pt x="448" y="217"/>
                  </a:lnTo>
                  <a:lnTo>
                    <a:pt x="448" y="215"/>
                  </a:lnTo>
                  <a:lnTo>
                    <a:pt x="448" y="214"/>
                  </a:lnTo>
                  <a:lnTo>
                    <a:pt x="446" y="214"/>
                  </a:lnTo>
                  <a:lnTo>
                    <a:pt x="446" y="213"/>
                  </a:lnTo>
                  <a:lnTo>
                    <a:pt x="448" y="213"/>
                  </a:lnTo>
                  <a:lnTo>
                    <a:pt x="448" y="212"/>
                  </a:lnTo>
                  <a:lnTo>
                    <a:pt x="446" y="211"/>
                  </a:lnTo>
                  <a:lnTo>
                    <a:pt x="445" y="211"/>
                  </a:lnTo>
                  <a:lnTo>
                    <a:pt x="446" y="211"/>
                  </a:lnTo>
                  <a:lnTo>
                    <a:pt x="446" y="209"/>
                  </a:lnTo>
                  <a:lnTo>
                    <a:pt x="445" y="208"/>
                  </a:lnTo>
                  <a:lnTo>
                    <a:pt x="445" y="207"/>
                  </a:lnTo>
                  <a:lnTo>
                    <a:pt x="444" y="207"/>
                  </a:lnTo>
                  <a:lnTo>
                    <a:pt x="444" y="206"/>
                  </a:lnTo>
                  <a:lnTo>
                    <a:pt x="445" y="205"/>
                  </a:lnTo>
                  <a:lnTo>
                    <a:pt x="444" y="203"/>
                  </a:lnTo>
                  <a:lnTo>
                    <a:pt x="443" y="203"/>
                  </a:lnTo>
                  <a:lnTo>
                    <a:pt x="442" y="203"/>
                  </a:lnTo>
                  <a:lnTo>
                    <a:pt x="442" y="205"/>
                  </a:lnTo>
                  <a:lnTo>
                    <a:pt x="442" y="203"/>
                  </a:lnTo>
                  <a:lnTo>
                    <a:pt x="440" y="203"/>
                  </a:lnTo>
                  <a:lnTo>
                    <a:pt x="439" y="203"/>
                  </a:lnTo>
                  <a:lnTo>
                    <a:pt x="440" y="202"/>
                  </a:lnTo>
                  <a:lnTo>
                    <a:pt x="439" y="202"/>
                  </a:lnTo>
                  <a:lnTo>
                    <a:pt x="439" y="201"/>
                  </a:lnTo>
                  <a:lnTo>
                    <a:pt x="440" y="201"/>
                  </a:lnTo>
                  <a:lnTo>
                    <a:pt x="440" y="200"/>
                  </a:lnTo>
                  <a:lnTo>
                    <a:pt x="439" y="200"/>
                  </a:lnTo>
                  <a:lnTo>
                    <a:pt x="439" y="199"/>
                  </a:lnTo>
                  <a:lnTo>
                    <a:pt x="440" y="199"/>
                  </a:lnTo>
                  <a:lnTo>
                    <a:pt x="442" y="199"/>
                  </a:lnTo>
                  <a:lnTo>
                    <a:pt x="443" y="199"/>
                  </a:lnTo>
                  <a:lnTo>
                    <a:pt x="442" y="199"/>
                  </a:lnTo>
                  <a:lnTo>
                    <a:pt x="440" y="197"/>
                  </a:lnTo>
                  <a:lnTo>
                    <a:pt x="440" y="196"/>
                  </a:lnTo>
                  <a:lnTo>
                    <a:pt x="439" y="196"/>
                  </a:lnTo>
                  <a:lnTo>
                    <a:pt x="438" y="196"/>
                  </a:lnTo>
                  <a:lnTo>
                    <a:pt x="438" y="197"/>
                  </a:lnTo>
                  <a:lnTo>
                    <a:pt x="438" y="196"/>
                  </a:lnTo>
                  <a:lnTo>
                    <a:pt x="437" y="196"/>
                  </a:lnTo>
                  <a:lnTo>
                    <a:pt x="435" y="196"/>
                  </a:lnTo>
                  <a:lnTo>
                    <a:pt x="434" y="197"/>
                  </a:lnTo>
                  <a:lnTo>
                    <a:pt x="433" y="197"/>
                  </a:lnTo>
                  <a:lnTo>
                    <a:pt x="433" y="199"/>
                  </a:lnTo>
                  <a:lnTo>
                    <a:pt x="432" y="199"/>
                  </a:lnTo>
                  <a:lnTo>
                    <a:pt x="432" y="197"/>
                  </a:lnTo>
                  <a:lnTo>
                    <a:pt x="431" y="197"/>
                  </a:lnTo>
                  <a:lnTo>
                    <a:pt x="429" y="196"/>
                  </a:lnTo>
                  <a:lnTo>
                    <a:pt x="428" y="196"/>
                  </a:lnTo>
                  <a:lnTo>
                    <a:pt x="427" y="196"/>
                  </a:lnTo>
                  <a:lnTo>
                    <a:pt x="426" y="196"/>
                  </a:lnTo>
                  <a:lnTo>
                    <a:pt x="426" y="195"/>
                  </a:lnTo>
                  <a:lnTo>
                    <a:pt x="425" y="195"/>
                  </a:lnTo>
                  <a:lnTo>
                    <a:pt x="425" y="194"/>
                  </a:lnTo>
                  <a:lnTo>
                    <a:pt x="426" y="193"/>
                  </a:lnTo>
                  <a:lnTo>
                    <a:pt x="426" y="191"/>
                  </a:lnTo>
                  <a:lnTo>
                    <a:pt x="427" y="190"/>
                  </a:lnTo>
                  <a:lnTo>
                    <a:pt x="427" y="191"/>
                  </a:lnTo>
                  <a:lnTo>
                    <a:pt x="428" y="190"/>
                  </a:lnTo>
                  <a:lnTo>
                    <a:pt x="428" y="191"/>
                  </a:lnTo>
                  <a:lnTo>
                    <a:pt x="429" y="190"/>
                  </a:lnTo>
                  <a:lnTo>
                    <a:pt x="431" y="190"/>
                  </a:lnTo>
                  <a:lnTo>
                    <a:pt x="431" y="189"/>
                  </a:lnTo>
                  <a:lnTo>
                    <a:pt x="432" y="189"/>
                  </a:lnTo>
                  <a:lnTo>
                    <a:pt x="433" y="189"/>
                  </a:lnTo>
                  <a:lnTo>
                    <a:pt x="434" y="189"/>
                  </a:lnTo>
                  <a:lnTo>
                    <a:pt x="434" y="190"/>
                  </a:lnTo>
                  <a:lnTo>
                    <a:pt x="434" y="189"/>
                  </a:lnTo>
                  <a:lnTo>
                    <a:pt x="434" y="188"/>
                  </a:lnTo>
                  <a:lnTo>
                    <a:pt x="433" y="187"/>
                  </a:lnTo>
                  <a:lnTo>
                    <a:pt x="432" y="187"/>
                  </a:lnTo>
                  <a:lnTo>
                    <a:pt x="432" y="185"/>
                  </a:lnTo>
                  <a:lnTo>
                    <a:pt x="431" y="185"/>
                  </a:lnTo>
                  <a:lnTo>
                    <a:pt x="431" y="184"/>
                  </a:lnTo>
                  <a:lnTo>
                    <a:pt x="429" y="184"/>
                  </a:lnTo>
                  <a:lnTo>
                    <a:pt x="429" y="185"/>
                  </a:lnTo>
                  <a:lnTo>
                    <a:pt x="429" y="187"/>
                  </a:lnTo>
                  <a:lnTo>
                    <a:pt x="429" y="188"/>
                  </a:lnTo>
                  <a:lnTo>
                    <a:pt x="429" y="189"/>
                  </a:lnTo>
                  <a:lnTo>
                    <a:pt x="429" y="188"/>
                  </a:lnTo>
                  <a:lnTo>
                    <a:pt x="428" y="189"/>
                  </a:lnTo>
                  <a:lnTo>
                    <a:pt x="425" y="189"/>
                  </a:lnTo>
                  <a:lnTo>
                    <a:pt x="425" y="190"/>
                  </a:lnTo>
                  <a:lnTo>
                    <a:pt x="423" y="189"/>
                  </a:lnTo>
                  <a:lnTo>
                    <a:pt x="422" y="189"/>
                  </a:lnTo>
                  <a:lnTo>
                    <a:pt x="420" y="189"/>
                  </a:lnTo>
                  <a:lnTo>
                    <a:pt x="421" y="187"/>
                  </a:lnTo>
                  <a:lnTo>
                    <a:pt x="420" y="187"/>
                  </a:lnTo>
                  <a:lnTo>
                    <a:pt x="420" y="188"/>
                  </a:lnTo>
                  <a:lnTo>
                    <a:pt x="419" y="188"/>
                  </a:lnTo>
                  <a:lnTo>
                    <a:pt x="417" y="188"/>
                  </a:lnTo>
                  <a:lnTo>
                    <a:pt x="417" y="189"/>
                  </a:lnTo>
                  <a:lnTo>
                    <a:pt x="416" y="189"/>
                  </a:lnTo>
                  <a:lnTo>
                    <a:pt x="415" y="188"/>
                  </a:lnTo>
                  <a:lnTo>
                    <a:pt x="414" y="188"/>
                  </a:lnTo>
                  <a:lnTo>
                    <a:pt x="414" y="187"/>
                  </a:lnTo>
                  <a:lnTo>
                    <a:pt x="413" y="187"/>
                  </a:lnTo>
                  <a:lnTo>
                    <a:pt x="411" y="187"/>
                  </a:lnTo>
                  <a:lnTo>
                    <a:pt x="410" y="187"/>
                  </a:lnTo>
                  <a:lnTo>
                    <a:pt x="409" y="187"/>
                  </a:lnTo>
                  <a:lnTo>
                    <a:pt x="408" y="185"/>
                  </a:lnTo>
                  <a:lnTo>
                    <a:pt x="407" y="185"/>
                  </a:lnTo>
                  <a:lnTo>
                    <a:pt x="404" y="184"/>
                  </a:lnTo>
                  <a:lnTo>
                    <a:pt x="405" y="184"/>
                  </a:lnTo>
                  <a:lnTo>
                    <a:pt x="407" y="183"/>
                  </a:lnTo>
                  <a:lnTo>
                    <a:pt x="405" y="183"/>
                  </a:lnTo>
                  <a:lnTo>
                    <a:pt x="405" y="182"/>
                  </a:lnTo>
                  <a:lnTo>
                    <a:pt x="407" y="182"/>
                  </a:lnTo>
                  <a:lnTo>
                    <a:pt x="407" y="181"/>
                  </a:lnTo>
                  <a:lnTo>
                    <a:pt x="409" y="181"/>
                  </a:lnTo>
                  <a:lnTo>
                    <a:pt x="410" y="182"/>
                  </a:lnTo>
                  <a:lnTo>
                    <a:pt x="413" y="182"/>
                  </a:lnTo>
                  <a:lnTo>
                    <a:pt x="413" y="181"/>
                  </a:lnTo>
                  <a:lnTo>
                    <a:pt x="411" y="179"/>
                  </a:lnTo>
                  <a:lnTo>
                    <a:pt x="410" y="179"/>
                  </a:lnTo>
                  <a:lnTo>
                    <a:pt x="409" y="178"/>
                  </a:lnTo>
                  <a:lnTo>
                    <a:pt x="409" y="179"/>
                  </a:lnTo>
                  <a:lnTo>
                    <a:pt x="408" y="179"/>
                  </a:lnTo>
                  <a:lnTo>
                    <a:pt x="407" y="179"/>
                  </a:lnTo>
                  <a:lnTo>
                    <a:pt x="405" y="179"/>
                  </a:lnTo>
                  <a:lnTo>
                    <a:pt x="404" y="181"/>
                  </a:lnTo>
                  <a:lnTo>
                    <a:pt x="403" y="181"/>
                  </a:lnTo>
                  <a:lnTo>
                    <a:pt x="403" y="182"/>
                  </a:lnTo>
                  <a:lnTo>
                    <a:pt x="402" y="182"/>
                  </a:lnTo>
                  <a:lnTo>
                    <a:pt x="402" y="181"/>
                  </a:lnTo>
                  <a:lnTo>
                    <a:pt x="403" y="181"/>
                  </a:lnTo>
                  <a:lnTo>
                    <a:pt x="403" y="179"/>
                  </a:lnTo>
                  <a:lnTo>
                    <a:pt x="404" y="178"/>
                  </a:lnTo>
                  <a:lnTo>
                    <a:pt x="405" y="178"/>
                  </a:lnTo>
                  <a:lnTo>
                    <a:pt x="403" y="178"/>
                  </a:lnTo>
                  <a:lnTo>
                    <a:pt x="403" y="177"/>
                  </a:lnTo>
                  <a:lnTo>
                    <a:pt x="403" y="176"/>
                  </a:lnTo>
                  <a:lnTo>
                    <a:pt x="404" y="176"/>
                  </a:lnTo>
                  <a:lnTo>
                    <a:pt x="403" y="176"/>
                  </a:lnTo>
                  <a:lnTo>
                    <a:pt x="403" y="175"/>
                  </a:lnTo>
                  <a:lnTo>
                    <a:pt x="403" y="173"/>
                  </a:lnTo>
                  <a:lnTo>
                    <a:pt x="404" y="173"/>
                  </a:lnTo>
                  <a:lnTo>
                    <a:pt x="404" y="172"/>
                  </a:lnTo>
                  <a:lnTo>
                    <a:pt x="403" y="171"/>
                  </a:lnTo>
                  <a:lnTo>
                    <a:pt x="403" y="170"/>
                  </a:lnTo>
                  <a:lnTo>
                    <a:pt x="402" y="170"/>
                  </a:lnTo>
                  <a:lnTo>
                    <a:pt x="402" y="169"/>
                  </a:lnTo>
                  <a:lnTo>
                    <a:pt x="401" y="169"/>
                  </a:lnTo>
                  <a:lnTo>
                    <a:pt x="399" y="170"/>
                  </a:lnTo>
                  <a:lnTo>
                    <a:pt x="398" y="170"/>
                  </a:lnTo>
                  <a:lnTo>
                    <a:pt x="398" y="169"/>
                  </a:lnTo>
                  <a:lnTo>
                    <a:pt x="397" y="169"/>
                  </a:lnTo>
                  <a:lnTo>
                    <a:pt x="397" y="171"/>
                  </a:lnTo>
                  <a:lnTo>
                    <a:pt x="398" y="171"/>
                  </a:lnTo>
                  <a:lnTo>
                    <a:pt x="398" y="172"/>
                  </a:lnTo>
                  <a:lnTo>
                    <a:pt x="397" y="172"/>
                  </a:lnTo>
                  <a:lnTo>
                    <a:pt x="399" y="172"/>
                  </a:lnTo>
                  <a:lnTo>
                    <a:pt x="401" y="172"/>
                  </a:lnTo>
                  <a:lnTo>
                    <a:pt x="401" y="173"/>
                  </a:lnTo>
                  <a:lnTo>
                    <a:pt x="399" y="173"/>
                  </a:lnTo>
                  <a:lnTo>
                    <a:pt x="401" y="173"/>
                  </a:lnTo>
                  <a:lnTo>
                    <a:pt x="401" y="175"/>
                  </a:lnTo>
                  <a:lnTo>
                    <a:pt x="401" y="176"/>
                  </a:lnTo>
                  <a:lnTo>
                    <a:pt x="399" y="175"/>
                  </a:lnTo>
                  <a:lnTo>
                    <a:pt x="398" y="175"/>
                  </a:lnTo>
                  <a:lnTo>
                    <a:pt x="398" y="176"/>
                  </a:lnTo>
                  <a:lnTo>
                    <a:pt x="397" y="176"/>
                  </a:lnTo>
                  <a:lnTo>
                    <a:pt x="396" y="176"/>
                  </a:lnTo>
                  <a:lnTo>
                    <a:pt x="393" y="176"/>
                  </a:lnTo>
                  <a:lnTo>
                    <a:pt x="393" y="177"/>
                  </a:lnTo>
                  <a:lnTo>
                    <a:pt x="392" y="177"/>
                  </a:lnTo>
                  <a:lnTo>
                    <a:pt x="393" y="178"/>
                  </a:lnTo>
                  <a:lnTo>
                    <a:pt x="392" y="178"/>
                  </a:lnTo>
                  <a:lnTo>
                    <a:pt x="392" y="179"/>
                  </a:lnTo>
                  <a:lnTo>
                    <a:pt x="391" y="179"/>
                  </a:lnTo>
                  <a:lnTo>
                    <a:pt x="391" y="181"/>
                  </a:lnTo>
                  <a:lnTo>
                    <a:pt x="390" y="181"/>
                  </a:lnTo>
                  <a:lnTo>
                    <a:pt x="390" y="179"/>
                  </a:lnTo>
                  <a:lnTo>
                    <a:pt x="387" y="179"/>
                  </a:lnTo>
                  <a:lnTo>
                    <a:pt x="389" y="178"/>
                  </a:lnTo>
                  <a:lnTo>
                    <a:pt x="389" y="177"/>
                  </a:lnTo>
                  <a:lnTo>
                    <a:pt x="389" y="176"/>
                  </a:lnTo>
                  <a:lnTo>
                    <a:pt x="387" y="175"/>
                  </a:lnTo>
                  <a:lnTo>
                    <a:pt x="387" y="173"/>
                  </a:lnTo>
                  <a:lnTo>
                    <a:pt x="389" y="173"/>
                  </a:lnTo>
                  <a:lnTo>
                    <a:pt x="390" y="175"/>
                  </a:lnTo>
                  <a:lnTo>
                    <a:pt x="391" y="175"/>
                  </a:lnTo>
                  <a:lnTo>
                    <a:pt x="391" y="176"/>
                  </a:lnTo>
                  <a:lnTo>
                    <a:pt x="390" y="176"/>
                  </a:lnTo>
                  <a:lnTo>
                    <a:pt x="391" y="177"/>
                  </a:lnTo>
                  <a:lnTo>
                    <a:pt x="392" y="176"/>
                  </a:lnTo>
                  <a:lnTo>
                    <a:pt x="392" y="175"/>
                  </a:lnTo>
                  <a:lnTo>
                    <a:pt x="392" y="176"/>
                  </a:lnTo>
                  <a:lnTo>
                    <a:pt x="391" y="175"/>
                  </a:lnTo>
                  <a:lnTo>
                    <a:pt x="391" y="173"/>
                  </a:lnTo>
                  <a:lnTo>
                    <a:pt x="390" y="172"/>
                  </a:lnTo>
                  <a:lnTo>
                    <a:pt x="391" y="172"/>
                  </a:lnTo>
                  <a:lnTo>
                    <a:pt x="391" y="171"/>
                  </a:lnTo>
                  <a:lnTo>
                    <a:pt x="390" y="172"/>
                  </a:lnTo>
                  <a:lnTo>
                    <a:pt x="389" y="172"/>
                  </a:lnTo>
                  <a:lnTo>
                    <a:pt x="390" y="171"/>
                  </a:lnTo>
                  <a:lnTo>
                    <a:pt x="390" y="170"/>
                  </a:lnTo>
                  <a:lnTo>
                    <a:pt x="389" y="169"/>
                  </a:lnTo>
                  <a:lnTo>
                    <a:pt x="389" y="167"/>
                  </a:lnTo>
                  <a:lnTo>
                    <a:pt x="387" y="167"/>
                  </a:lnTo>
                  <a:lnTo>
                    <a:pt x="386" y="167"/>
                  </a:lnTo>
                  <a:lnTo>
                    <a:pt x="386" y="166"/>
                  </a:lnTo>
                  <a:lnTo>
                    <a:pt x="386" y="165"/>
                  </a:lnTo>
                  <a:lnTo>
                    <a:pt x="386" y="166"/>
                  </a:lnTo>
                  <a:lnTo>
                    <a:pt x="385" y="166"/>
                  </a:lnTo>
                  <a:lnTo>
                    <a:pt x="386" y="166"/>
                  </a:lnTo>
                  <a:lnTo>
                    <a:pt x="386" y="167"/>
                  </a:lnTo>
                  <a:lnTo>
                    <a:pt x="386" y="169"/>
                  </a:lnTo>
                  <a:lnTo>
                    <a:pt x="385" y="170"/>
                  </a:lnTo>
                  <a:lnTo>
                    <a:pt x="385" y="169"/>
                  </a:lnTo>
                  <a:lnTo>
                    <a:pt x="385" y="167"/>
                  </a:lnTo>
                  <a:lnTo>
                    <a:pt x="384" y="167"/>
                  </a:lnTo>
                  <a:lnTo>
                    <a:pt x="383" y="167"/>
                  </a:lnTo>
                  <a:lnTo>
                    <a:pt x="381" y="167"/>
                  </a:lnTo>
                  <a:lnTo>
                    <a:pt x="381" y="169"/>
                  </a:lnTo>
                  <a:lnTo>
                    <a:pt x="381" y="167"/>
                  </a:lnTo>
                  <a:lnTo>
                    <a:pt x="380" y="167"/>
                  </a:lnTo>
                  <a:lnTo>
                    <a:pt x="380" y="166"/>
                  </a:lnTo>
                  <a:lnTo>
                    <a:pt x="380" y="165"/>
                  </a:lnTo>
                  <a:lnTo>
                    <a:pt x="379" y="165"/>
                  </a:lnTo>
                  <a:lnTo>
                    <a:pt x="378" y="165"/>
                  </a:lnTo>
                  <a:lnTo>
                    <a:pt x="378" y="164"/>
                  </a:lnTo>
                  <a:lnTo>
                    <a:pt x="376" y="165"/>
                  </a:lnTo>
                  <a:lnTo>
                    <a:pt x="376" y="166"/>
                  </a:lnTo>
                  <a:lnTo>
                    <a:pt x="376" y="169"/>
                  </a:lnTo>
                  <a:lnTo>
                    <a:pt x="376" y="170"/>
                  </a:lnTo>
                  <a:lnTo>
                    <a:pt x="375" y="169"/>
                  </a:lnTo>
                  <a:lnTo>
                    <a:pt x="375" y="167"/>
                  </a:lnTo>
                  <a:lnTo>
                    <a:pt x="375" y="166"/>
                  </a:lnTo>
                  <a:lnTo>
                    <a:pt x="374" y="167"/>
                  </a:lnTo>
                  <a:lnTo>
                    <a:pt x="374" y="169"/>
                  </a:lnTo>
                  <a:lnTo>
                    <a:pt x="373" y="169"/>
                  </a:lnTo>
                  <a:lnTo>
                    <a:pt x="374" y="169"/>
                  </a:lnTo>
                  <a:lnTo>
                    <a:pt x="375" y="169"/>
                  </a:lnTo>
                  <a:lnTo>
                    <a:pt x="375" y="170"/>
                  </a:lnTo>
                  <a:lnTo>
                    <a:pt x="374" y="171"/>
                  </a:lnTo>
                  <a:lnTo>
                    <a:pt x="374" y="172"/>
                  </a:lnTo>
                  <a:lnTo>
                    <a:pt x="373" y="172"/>
                  </a:lnTo>
                  <a:lnTo>
                    <a:pt x="372" y="173"/>
                  </a:lnTo>
                  <a:lnTo>
                    <a:pt x="372" y="175"/>
                  </a:lnTo>
                  <a:lnTo>
                    <a:pt x="372" y="173"/>
                  </a:lnTo>
                  <a:lnTo>
                    <a:pt x="370" y="173"/>
                  </a:lnTo>
                  <a:lnTo>
                    <a:pt x="370" y="175"/>
                  </a:lnTo>
                  <a:lnTo>
                    <a:pt x="369" y="175"/>
                  </a:lnTo>
                  <a:lnTo>
                    <a:pt x="366" y="175"/>
                  </a:lnTo>
                  <a:lnTo>
                    <a:pt x="366" y="172"/>
                  </a:lnTo>
                  <a:lnTo>
                    <a:pt x="367" y="172"/>
                  </a:lnTo>
                  <a:lnTo>
                    <a:pt x="367" y="171"/>
                  </a:lnTo>
                  <a:lnTo>
                    <a:pt x="368" y="171"/>
                  </a:lnTo>
                  <a:lnTo>
                    <a:pt x="368" y="170"/>
                  </a:lnTo>
                  <a:lnTo>
                    <a:pt x="367" y="170"/>
                  </a:lnTo>
                  <a:lnTo>
                    <a:pt x="367" y="171"/>
                  </a:lnTo>
                  <a:lnTo>
                    <a:pt x="366" y="170"/>
                  </a:lnTo>
                  <a:lnTo>
                    <a:pt x="367" y="170"/>
                  </a:lnTo>
                  <a:lnTo>
                    <a:pt x="367" y="169"/>
                  </a:lnTo>
                  <a:lnTo>
                    <a:pt x="368" y="169"/>
                  </a:lnTo>
                  <a:lnTo>
                    <a:pt x="368" y="167"/>
                  </a:lnTo>
                  <a:lnTo>
                    <a:pt x="369" y="167"/>
                  </a:lnTo>
                  <a:lnTo>
                    <a:pt x="369" y="166"/>
                  </a:lnTo>
                  <a:lnTo>
                    <a:pt x="368" y="166"/>
                  </a:lnTo>
                  <a:lnTo>
                    <a:pt x="368" y="165"/>
                  </a:lnTo>
                  <a:lnTo>
                    <a:pt x="369" y="165"/>
                  </a:lnTo>
                  <a:lnTo>
                    <a:pt x="369" y="164"/>
                  </a:lnTo>
                  <a:lnTo>
                    <a:pt x="369" y="162"/>
                  </a:lnTo>
                  <a:lnTo>
                    <a:pt x="369" y="161"/>
                  </a:lnTo>
                  <a:lnTo>
                    <a:pt x="370" y="160"/>
                  </a:lnTo>
                  <a:lnTo>
                    <a:pt x="369" y="160"/>
                  </a:lnTo>
                  <a:lnTo>
                    <a:pt x="367" y="159"/>
                  </a:lnTo>
                  <a:lnTo>
                    <a:pt x="366" y="159"/>
                  </a:lnTo>
                  <a:lnTo>
                    <a:pt x="366" y="160"/>
                  </a:lnTo>
                  <a:lnTo>
                    <a:pt x="364" y="161"/>
                  </a:lnTo>
                  <a:lnTo>
                    <a:pt x="363" y="161"/>
                  </a:lnTo>
                  <a:lnTo>
                    <a:pt x="363" y="160"/>
                  </a:lnTo>
                  <a:lnTo>
                    <a:pt x="364" y="160"/>
                  </a:lnTo>
                  <a:lnTo>
                    <a:pt x="364" y="159"/>
                  </a:lnTo>
                  <a:lnTo>
                    <a:pt x="363" y="159"/>
                  </a:lnTo>
                  <a:lnTo>
                    <a:pt x="362" y="159"/>
                  </a:lnTo>
                  <a:lnTo>
                    <a:pt x="361" y="159"/>
                  </a:lnTo>
                  <a:lnTo>
                    <a:pt x="360" y="158"/>
                  </a:lnTo>
                  <a:lnTo>
                    <a:pt x="357" y="158"/>
                  </a:lnTo>
                  <a:lnTo>
                    <a:pt x="356" y="158"/>
                  </a:lnTo>
                  <a:lnTo>
                    <a:pt x="352" y="158"/>
                  </a:lnTo>
                  <a:lnTo>
                    <a:pt x="354" y="158"/>
                  </a:lnTo>
                  <a:lnTo>
                    <a:pt x="354" y="160"/>
                  </a:lnTo>
                  <a:lnTo>
                    <a:pt x="354" y="161"/>
                  </a:lnTo>
                  <a:lnTo>
                    <a:pt x="352" y="160"/>
                  </a:lnTo>
                  <a:lnTo>
                    <a:pt x="351" y="160"/>
                  </a:lnTo>
                  <a:lnTo>
                    <a:pt x="351" y="159"/>
                  </a:lnTo>
                  <a:lnTo>
                    <a:pt x="352" y="158"/>
                  </a:lnTo>
                  <a:lnTo>
                    <a:pt x="351" y="158"/>
                  </a:lnTo>
                  <a:lnTo>
                    <a:pt x="350" y="158"/>
                  </a:lnTo>
                  <a:lnTo>
                    <a:pt x="349" y="159"/>
                  </a:lnTo>
                  <a:lnTo>
                    <a:pt x="348" y="159"/>
                  </a:lnTo>
                  <a:lnTo>
                    <a:pt x="346" y="159"/>
                  </a:lnTo>
                  <a:lnTo>
                    <a:pt x="346" y="160"/>
                  </a:lnTo>
                  <a:lnTo>
                    <a:pt x="345" y="160"/>
                  </a:lnTo>
                  <a:lnTo>
                    <a:pt x="344" y="160"/>
                  </a:lnTo>
                  <a:lnTo>
                    <a:pt x="345" y="161"/>
                  </a:lnTo>
                  <a:lnTo>
                    <a:pt x="346" y="161"/>
                  </a:lnTo>
                  <a:lnTo>
                    <a:pt x="346" y="162"/>
                  </a:lnTo>
                  <a:lnTo>
                    <a:pt x="344" y="162"/>
                  </a:lnTo>
                  <a:lnTo>
                    <a:pt x="344" y="164"/>
                  </a:lnTo>
                  <a:lnTo>
                    <a:pt x="343" y="165"/>
                  </a:lnTo>
                  <a:lnTo>
                    <a:pt x="343" y="166"/>
                  </a:lnTo>
                  <a:lnTo>
                    <a:pt x="342" y="166"/>
                  </a:lnTo>
                  <a:lnTo>
                    <a:pt x="342" y="165"/>
                  </a:lnTo>
                  <a:lnTo>
                    <a:pt x="340" y="165"/>
                  </a:lnTo>
                  <a:lnTo>
                    <a:pt x="340" y="164"/>
                  </a:lnTo>
                  <a:lnTo>
                    <a:pt x="339" y="162"/>
                  </a:lnTo>
                  <a:lnTo>
                    <a:pt x="338" y="161"/>
                  </a:lnTo>
                  <a:lnTo>
                    <a:pt x="339" y="161"/>
                  </a:lnTo>
                  <a:lnTo>
                    <a:pt x="339" y="162"/>
                  </a:lnTo>
                  <a:lnTo>
                    <a:pt x="340" y="161"/>
                  </a:lnTo>
                  <a:lnTo>
                    <a:pt x="342" y="161"/>
                  </a:lnTo>
                  <a:lnTo>
                    <a:pt x="342" y="160"/>
                  </a:lnTo>
                  <a:lnTo>
                    <a:pt x="343" y="160"/>
                  </a:lnTo>
                  <a:lnTo>
                    <a:pt x="343" y="159"/>
                  </a:lnTo>
                  <a:lnTo>
                    <a:pt x="342" y="159"/>
                  </a:lnTo>
                  <a:lnTo>
                    <a:pt x="343" y="156"/>
                  </a:lnTo>
                  <a:lnTo>
                    <a:pt x="342" y="156"/>
                  </a:lnTo>
                  <a:lnTo>
                    <a:pt x="342" y="155"/>
                  </a:lnTo>
                  <a:lnTo>
                    <a:pt x="340" y="155"/>
                  </a:lnTo>
                  <a:lnTo>
                    <a:pt x="340" y="158"/>
                  </a:lnTo>
                  <a:lnTo>
                    <a:pt x="339" y="158"/>
                  </a:lnTo>
                  <a:lnTo>
                    <a:pt x="339" y="156"/>
                  </a:lnTo>
                  <a:lnTo>
                    <a:pt x="338" y="155"/>
                  </a:lnTo>
                  <a:lnTo>
                    <a:pt x="338" y="154"/>
                  </a:lnTo>
                  <a:lnTo>
                    <a:pt x="337" y="154"/>
                  </a:lnTo>
                  <a:lnTo>
                    <a:pt x="337" y="153"/>
                  </a:lnTo>
                  <a:lnTo>
                    <a:pt x="336" y="153"/>
                  </a:lnTo>
                  <a:lnTo>
                    <a:pt x="336" y="152"/>
                  </a:lnTo>
                  <a:lnTo>
                    <a:pt x="334" y="152"/>
                  </a:lnTo>
                  <a:lnTo>
                    <a:pt x="333" y="152"/>
                  </a:lnTo>
                  <a:lnTo>
                    <a:pt x="332" y="152"/>
                  </a:lnTo>
                  <a:lnTo>
                    <a:pt x="333" y="150"/>
                  </a:lnTo>
                  <a:lnTo>
                    <a:pt x="331" y="150"/>
                  </a:lnTo>
                  <a:lnTo>
                    <a:pt x="331" y="149"/>
                  </a:lnTo>
                  <a:lnTo>
                    <a:pt x="330" y="149"/>
                  </a:lnTo>
                  <a:lnTo>
                    <a:pt x="328" y="149"/>
                  </a:lnTo>
                  <a:lnTo>
                    <a:pt x="328" y="148"/>
                  </a:lnTo>
                  <a:lnTo>
                    <a:pt x="327" y="147"/>
                  </a:lnTo>
                  <a:lnTo>
                    <a:pt x="326" y="147"/>
                  </a:lnTo>
                  <a:lnTo>
                    <a:pt x="325" y="147"/>
                  </a:lnTo>
                  <a:lnTo>
                    <a:pt x="325" y="146"/>
                  </a:lnTo>
                  <a:lnTo>
                    <a:pt x="325" y="144"/>
                  </a:lnTo>
                  <a:lnTo>
                    <a:pt x="324" y="144"/>
                  </a:lnTo>
                  <a:lnTo>
                    <a:pt x="322" y="144"/>
                  </a:lnTo>
                  <a:lnTo>
                    <a:pt x="321" y="143"/>
                  </a:lnTo>
                  <a:lnTo>
                    <a:pt x="319" y="143"/>
                  </a:lnTo>
                  <a:lnTo>
                    <a:pt x="319" y="142"/>
                  </a:lnTo>
                  <a:lnTo>
                    <a:pt x="319" y="141"/>
                  </a:lnTo>
                  <a:lnTo>
                    <a:pt x="318" y="141"/>
                  </a:lnTo>
                  <a:lnTo>
                    <a:pt x="316" y="140"/>
                  </a:lnTo>
                  <a:lnTo>
                    <a:pt x="315" y="137"/>
                  </a:lnTo>
                  <a:lnTo>
                    <a:pt x="316" y="136"/>
                  </a:lnTo>
                  <a:lnTo>
                    <a:pt x="316" y="134"/>
                  </a:lnTo>
                  <a:lnTo>
                    <a:pt x="318" y="132"/>
                  </a:lnTo>
                  <a:lnTo>
                    <a:pt x="316" y="132"/>
                  </a:lnTo>
                  <a:lnTo>
                    <a:pt x="315" y="131"/>
                  </a:lnTo>
                  <a:lnTo>
                    <a:pt x="314" y="131"/>
                  </a:lnTo>
                  <a:lnTo>
                    <a:pt x="314" y="130"/>
                  </a:lnTo>
                  <a:lnTo>
                    <a:pt x="313" y="131"/>
                  </a:lnTo>
                  <a:lnTo>
                    <a:pt x="313" y="130"/>
                  </a:lnTo>
                  <a:lnTo>
                    <a:pt x="311" y="130"/>
                  </a:lnTo>
                  <a:lnTo>
                    <a:pt x="310" y="130"/>
                  </a:lnTo>
                  <a:lnTo>
                    <a:pt x="309" y="130"/>
                  </a:lnTo>
                  <a:lnTo>
                    <a:pt x="308" y="129"/>
                  </a:lnTo>
                  <a:lnTo>
                    <a:pt x="308" y="128"/>
                  </a:lnTo>
                  <a:lnTo>
                    <a:pt x="307" y="128"/>
                  </a:lnTo>
                  <a:lnTo>
                    <a:pt x="307" y="126"/>
                  </a:lnTo>
                  <a:lnTo>
                    <a:pt x="305" y="126"/>
                  </a:lnTo>
                  <a:lnTo>
                    <a:pt x="305" y="125"/>
                  </a:lnTo>
                  <a:lnTo>
                    <a:pt x="305" y="124"/>
                  </a:lnTo>
                  <a:lnTo>
                    <a:pt x="305" y="123"/>
                  </a:lnTo>
                  <a:lnTo>
                    <a:pt x="307" y="123"/>
                  </a:lnTo>
                  <a:lnTo>
                    <a:pt x="308" y="123"/>
                  </a:lnTo>
                  <a:lnTo>
                    <a:pt x="308" y="122"/>
                  </a:lnTo>
                  <a:lnTo>
                    <a:pt x="309" y="122"/>
                  </a:lnTo>
                  <a:lnTo>
                    <a:pt x="310" y="122"/>
                  </a:lnTo>
                  <a:lnTo>
                    <a:pt x="311" y="122"/>
                  </a:lnTo>
                  <a:lnTo>
                    <a:pt x="311" y="120"/>
                  </a:lnTo>
                  <a:lnTo>
                    <a:pt x="311" y="119"/>
                  </a:lnTo>
                  <a:lnTo>
                    <a:pt x="313" y="119"/>
                  </a:lnTo>
                  <a:lnTo>
                    <a:pt x="313" y="118"/>
                  </a:lnTo>
                  <a:lnTo>
                    <a:pt x="314" y="118"/>
                  </a:lnTo>
                  <a:lnTo>
                    <a:pt x="314" y="119"/>
                  </a:lnTo>
                  <a:lnTo>
                    <a:pt x="315" y="119"/>
                  </a:lnTo>
                  <a:lnTo>
                    <a:pt x="319" y="120"/>
                  </a:lnTo>
                  <a:lnTo>
                    <a:pt x="319" y="122"/>
                  </a:lnTo>
                  <a:lnTo>
                    <a:pt x="320" y="122"/>
                  </a:lnTo>
                  <a:lnTo>
                    <a:pt x="320" y="120"/>
                  </a:lnTo>
                  <a:lnTo>
                    <a:pt x="319" y="120"/>
                  </a:lnTo>
                  <a:lnTo>
                    <a:pt x="319" y="119"/>
                  </a:lnTo>
                  <a:lnTo>
                    <a:pt x="319" y="118"/>
                  </a:lnTo>
                  <a:lnTo>
                    <a:pt x="318" y="118"/>
                  </a:lnTo>
                  <a:lnTo>
                    <a:pt x="316" y="118"/>
                  </a:lnTo>
                  <a:lnTo>
                    <a:pt x="315" y="117"/>
                  </a:lnTo>
                  <a:lnTo>
                    <a:pt x="314" y="116"/>
                  </a:lnTo>
                  <a:lnTo>
                    <a:pt x="314" y="117"/>
                  </a:lnTo>
                  <a:lnTo>
                    <a:pt x="313" y="117"/>
                  </a:lnTo>
                  <a:lnTo>
                    <a:pt x="313" y="116"/>
                  </a:lnTo>
                  <a:lnTo>
                    <a:pt x="311" y="116"/>
                  </a:lnTo>
                  <a:lnTo>
                    <a:pt x="311" y="114"/>
                  </a:lnTo>
                  <a:lnTo>
                    <a:pt x="310" y="113"/>
                  </a:lnTo>
                  <a:lnTo>
                    <a:pt x="311" y="112"/>
                  </a:lnTo>
                  <a:lnTo>
                    <a:pt x="310" y="112"/>
                  </a:lnTo>
                  <a:lnTo>
                    <a:pt x="310" y="111"/>
                  </a:lnTo>
                  <a:lnTo>
                    <a:pt x="310" y="110"/>
                  </a:lnTo>
                  <a:lnTo>
                    <a:pt x="309" y="110"/>
                  </a:lnTo>
                  <a:lnTo>
                    <a:pt x="309" y="108"/>
                  </a:lnTo>
                  <a:lnTo>
                    <a:pt x="308" y="108"/>
                  </a:lnTo>
                  <a:lnTo>
                    <a:pt x="308" y="107"/>
                  </a:lnTo>
                  <a:lnTo>
                    <a:pt x="308" y="106"/>
                  </a:lnTo>
                  <a:lnTo>
                    <a:pt x="308" y="105"/>
                  </a:lnTo>
                  <a:lnTo>
                    <a:pt x="308" y="104"/>
                  </a:lnTo>
                  <a:lnTo>
                    <a:pt x="309" y="104"/>
                  </a:lnTo>
                  <a:lnTo>
                    <a:pt x="309" y="102"/>
                  </a:lnTo>
                  <a:lnTo>
                    <a:pt x="310" y="102"/>
                  </a:lnTo>
                  <a:lnTo>
                    <a:pt x="310" y="104"/>
                  </a:lnTo>
                  <a:lnTo>
                    <a:pt x="311" y="104"/>
                  </a:lnTo>
                  <a:lnTo>
                    <a:pt x="311" y="105"/>
                  </a:lnTo>
                  <a:lnTo>
                    <a:pt x="313" y="105"/>
                  </a:lnTo>
                  <a:lnTo>
                    <a:pt x="316" y="105"/>
                  </a:lnTo>
                  <a:lnTo>
                    <a:pt x="318" y="105"/>
                  </a:lnTo>
                  <a:lnTo>
                    <a:pt x="319" y="105"/>
                  </a:lnTo>
                  <a:lnTo>
                    <a:pt x="319" y="106"/>
                  </a:lnTo>
                  <a:lnTo>
                    <a:pt x="319" y="107"/>
                  </a:lnTo>
                  <a:lnTo>
                    <a:pt x="322" y="107"/>
                  </a:lnTo>
                  <a:lnTo>
                    <a:pt x="322" y="106"/>
                  </a:lnTo>
                  <a:lnTo>
                    <a:pt x="324" y="106"/>
                  </a:lnTo>
                  <a:lnTo>
                    <a:pt x="324" y="105"/>
                  </a:lnTo>
                  <a:lnTo>
                    <a:pt x="322" y="105"/>
                  </a:lnTo>
                  <a:lnTo>
                    <a:pt x="322" y="104"/>
                  </a:lnTo>
                  <a:lnTo>
                    <a:pt x="322" y="102"/>
                  </a:lnTo>
                  <a:lnTo>
                    <a:pt x="322" y="101"/>
                  </a:lnTo>
                  <a:lnTo>
                    <a:pt x="321" y="102"/>
                  </a:lnTo>
                  <a:lnTo>
                    <a:pt x="319" y="102"/>
                  </a:lnTo>
                  <a:lnTo>
                    <a:pt x="319" y="101"/>
                  </a:lnTo>
                  <a:lnTo>
                    <a:pt x="318" y="101"/>
                  </a:lnTo>
                  <a:lnTo>
                    <a:pt x="316" y="100"/>
                  </a:lnTo>
                  <a:lnTo>
                    <a:pt x="316" y="101"/>
                  </a:lnTo>
                  <a:lnTo>
                    <a:pt x="315" y="101"/>
                  </a:lnTo>
                  <a:lnTo>
                    <a:pt x="316" y="100"/>
                  </a:lnTo>
                  <a:lnTo>
                    <a:pt x="315" y="100"/>
                  </a:lnTo>
                  <a:lnTo>
                    <a:pt x="314" y="99"/>
                  </a:lnTo>
                  <a:lnTo>
                    <a:pt x="315" y="99"/>
                  </a:lnTo>
                  <a:lnTo>
                    <a:pt x="314" y="98"/>
                  </a:lnTo>
                  <a:lnTo>
                    <a:pt x="314" y="96"/>
                  </a:lnTo>
                  <a:lnTo>
                    <a:pt x="313" y="96"/>
                  </a:lnTo>
                  <a:lnTo>
                    <a:pt x="314" y="95"/>
                  </a:lnTo>
                  <a:lnTo>
                    <a:pt x="313" y="94"/>
                  </a:lnTo>
                  <a:lnTo>
                    <a:pt x="313" y="93"/>
                  </a:lnTo>
                  <a:lnTo>
                    <a:pt x="311" y="93"/>
                  </a:lnTo>
                  <a:lnTo>
                    <a:pt x="311" y="92"/>
                  </a:lnTo>
                  <a:lnTo>
                    <a:pt x="311" y="90"/>
                  </a:lnTo>
                  <a:lnTo>
                    <a:pt x="313" y="90"/>
                  </a:lnTo>
                  <a:lnTo>
                    <a:pt x="313" y="89"/>
                  </a:lnTo>
                  <a:lnTo>
                    <a:pt x="314" y="89"/>
                  </a:lnTo>
                  <a:lnTo>
                    <a:pt x="315" y="89"/>
                  </a:lnTo>
                  <a:lnTo>
                    <a:pt x="315" y="90"/>
                  </a:lnTo>
                  <a:lnTo>
                    <a:pt x="316" y="92"/>
                  </a:lnTo>
                  <a:lnTo>
                    <a:pt x="318" y="93"/>
                  </a:lnTo>
                  <a:lnTo>
                    <a:pt x="319" y="93"/>
                  </a:lnTo>
                  <a:lnTo>
                    <a:pt x="319" y="92"/>
                  </a:lnTo>
                  <a:lnTo>
                    <a:pt x="319" y="90"/>
                  </a:lnTo>
                  <a:lnTo>
                    <a:pt x="320" y="89"/>
                  </a:lnTo>
                  <a:lnTo>
                    <a:pt x="319" y="89"/>
                  </a:lnTo>
                  <a:lnTo>
                    <a:pt x="319" y="88"/>
                  </a:lnTo>
                  <a:lnTo>
                    <a:pt x="320" y="88"/>
                  </a:lnTo>
                  <a:lnTo>
                    <a:pt x="319" y="87"/>
                  </a:lnTo>
                  <a:lnTo>
                    <a:pt x="318" y="86"/>
                  </a:lnTo>
                  <a:lnTo>
                    <a:pt x="318" y="84"/>
                  </a:lnTo>
                  <a:lnTo>
                    <a:pt x="316" y="84"/>
                  </a:lnTo>
                  <a:lnTo>
                    <a:pt x="316" y="83"/>
                  </a:lnTo>
                  <a:lnTo>
                    <a:pt x="316" y="82"/>
                  </a:lnTo>
                  <a:lnTo>
                    <a:pt x="318" y="81"/>
                  </a:lnTo>
                  <a:lnTo>
                    <a:pt x="319" y="80"/>
                  </a:lnTo>
                  <a:lnTo>
                    <a:pt x="319" y="78"/>
                  </a:lnTo>
                  <a:lnTo>
                    <a:pt x="319" y="76"/>
                  </a:lnTo>
                  <a:lnTo>
                    <a:pt x="318" y="76"/>
                  </a:lnTo>
                  <a:lnTo>
                    <a:pt x="318" y="75"/>
                  </a:lnTo>
                  <a:lnTo>
                    <a:pt x="318" y="74"/>
                  </a:lnTo>
                  <a:lnTo>
                    <a:pt x="318" y="72"/>
                  </a:lnTo>
                  <a:lnTo>
                    <a:pt x="319" y="71"/>
                  </a:lnTo>
                  <a:lnTo>
                    <a:pt x="320" y="71"/>
                  </a:lnTo>
                  <a:lnTo>
                    <a:pt x="321" y="71"/>
                  </a:lnTo>
                  <a:lnTo>
                    <a:pt x="322" y="71"/>
                  </a:lnTo>
                  <a:lnTo>
                    <a:pt x="322" y="75"/>
                  </a:lnTo>
                  <a:lnTo>
                    <a:pt x="322" y="77"/>
                  </a:lnTo>
                  <a:lnTo>
                    <a:pt x="324" y="77"/>
                  </a:lnTo>
                  <a:lnTo>
                    <a:pt x="324" y="78"/>
                  </a:lnTo>
                  <a:lnTo>
                    <a:pt x="324" y="80"/>
                  </a:lnTo>
                  <a:lnTo>
                    <a:pt x="324" y="81"/>
                  </a:lnTo>
                  <a:lnTo>
                    <a:pt x="324" y="82"/>
                  </a:lnTo>
                  <a:lnTo>
                    <a:pt x="325" y="80"/>
                  </a:lnTo>
                  <a:lnTo>
                    <a:pt x="325" y="78"/>
                  </a:lnTo>
                  <a:lnTo>
                    <a:pt x="326" y="78"/>
                  </a:lnTo>
                  <a:lnTo>
                    <a:pt x="326" y="77"/>
                  </a:lnTo>
                  <a:lnTo>
                    <a:pt x="327" y="77"/>
                  </a:lnTo>
                  <a:lnTo>
                    <a:pt x="327" y="75"/>
                  </a:lnTo>
                  <a:lnTo>
                    <a:pt x="326" y="75"/>
                  </a:lnTo>
                  <a:lnTo>
                    <a:pt x="326" y="74"/>
                  </a:lnTo>
                  <a:lnTo>
                    <a:pt x="325" y="72"/>
                  </a:lnTo>
                  <a:lnTo>
                    <a:pt x="324" y="71"/>
                  </a:lnTo>
                  <a:lnTo>
                    <a:pt x="325" y="71"/>
                  </a:lnTo>
                  <a:lnTo>
                    <a:pt x="325" y="70"/>
                  </a:lnTo>
                  <a:lnTo>
                    <a:pt x="326" y="69"/>
                  </a:lnTo>
                  <a:lnTo>
                    <a:pt x="326" y="68"/>
                  </a:lnTo>
                  <a:lnTo>
                    <a:pt x="327" y="68"/>
                  </a:lnTo>
                  <a:lnTo>
                    <a:pt x="328" y="68"/>
                  </a:lnTo>
                  <a:lnTo>
                    <a:pt x="328" y="69"/>
                  </a:lnTo>
                  <a:lnTo>
                    <a:pt x="330" y="70"/>
                  </a:lnTo>
                  <a:lnTo>
                    <a:pt x="332" y="70"/>
                  </a:lnTo>
                  <a:lnTo>
                    <a:pt x="333" y="70"/>
                  </a:lnTo>
                  <a:lnTo>
                    <a:pt x="333" y="69"/>
                  </a:lnTo>
                  <a:lnTo>
                    <a:pt x="332" y="69"/>
                  </a:lnTo>
                  <a:lnTo>
                    <a:pt x="330" y="69"/>
                  </a:lnTo>
                  <a:lnTo>
                    <a:pt x="331" y="68"/>
                  </a:lnTo>
                  <a:lnTo>
                    <a:pt x="330" y="68"/>
                  </a:lnTo>
                  <a:lnTo>
                    <a:pt x="330" y="66"/>
                  </a:lnTo>
                  <a:lnTo>
                    <a:pt x="330" y="64"/>
                  </a:lnTo>
                  <a:lnTo>
                    <a:pt x="331" y="63"/>
                  </a:lnTo>
                  <a:lnTo>
                    <a:pt x="332" y="63"/>
                  </a:lnTo>
                  <a:lnTo>
                    <a:pt x="332" y="62"/>
                  </a:lnTo>
                  <a:lnTo>
                    <a:pt x="331" y="60"/>
                  </a:lnTo>
                  <a:lnTo>
                    <a:pt x="331" y="59"/>
                  </a:lnTo>
                  <a:lnTo>
                    <a:pt x="332" y="59"/>
                  </a:lnTo>
                  <a:lnTo>
                    <a:pt x="331" y="58"/>
                  </a:lnTo>
                  <a:lnTo>
                    <a:pt x="330" y="58"/>
                  </a:lnTo>
                  <a:lnTo>
                    <a:pt x="328" y="58"/>
                  </a:lnTo>
                  <a:lnTo>
                    <a:pt x="328" y="57"/>
                  </a:lnTo>
                  <a:lnTo>
                    <a:pt x="326" y="55"/>
                  </a:lnTo>
                  <a:lnTo>
                    <a:pt x="325" y="55"/>
                  </a:lnTo>
                  <a:lnTo>
                    <a:pt x="325" y="54"/>
                  </a:lnTo>
                  <a:lnTo>
                    <a:pt x="327" y="54"/>
                  </a:lnTo>
                  <a:lnTo>
                    <a:pt x="327" y="53"/>
                  </a:lnTo>
                  <a:lnTo>
                    <a:pt x="327" y="51"/>
                  </a:lnTo>
                  <a:lnTo>
                    <a:pt x="328" y="52"/>
                  </a:lnTo>
                  <a:lnTo>
                    <a:pt x="330" y="52"/>
                  </a:lnTo>
                  <a:lnTo>
                    <a:pt x="330" y="51"/>
                  </a:lnTo>
                  <a:lnTo>
                    <a:pt x="328" y="51"/>
                  </a:lnTo>
                  <a:lnTo>
                    <a:pt x="330" y="49"/>
                  </a:lnTo>
                  <a:lnTo>
                    <a:pt x="328" y="49"/>
                  </a:lnTo>
                  <a:lnTo>
                    <a:pt x="328" y="47"/>
                  </a:lnTo>
                  <a:lnTo>
                    <a:pt x="328" y="45"/>
                  </a:lnTo>
                  <a:lnTo>
                    <a:pt x="330" y="45"/>
                  </a:lnTo>
                  <a:lnTo>
                    <a:pt x="331" y="45"/>
                  </a:lnTo>
                  <a:lnTo>
                    <a:pt x="331" y="43"/>
                  </a:lnTo>
                  <a:lnTo>
                    <a:pt x="332" y="45"/>
                  </a:lnTo>
                  <a:lnTo>
                    <a:pt x="333" y="45"/>
                  </a:lnTo>
                  <a:lnTo>
                    <a:pt x="332" y="46"/>
                  </a:lnTo>
                  <a:lnTo>
                    <a:pt x="333" y="47"/>
                  </a:lnTo>
                  <a:lnTo>
                    <a:pt x="333" y="48"/>
                  </a:lnTo>
                  <a:lnTo>
                    <a:pt x="334" y="48"/>
                  </a:lnTo>
                  <a:lnTo>
                    <a:pt x="334" y="49"/>
                  </a:lnTo>
                  <a:lnTo>
                    <a:pt x="336" y="51"/>
                  </a:lnTo>
                  <a:lnTo>
                    <a:pt x="337" y="51"/>
                  </a:lnTo>
                  <a:lnTo>
                    <a:pt x="337" y="49"/>
                  </a:lnTo>
                  <a:lnTo>
                    <a:pt x="338" y="49"/>
                  </a:lnTo>
                  <a:lnTo>
                    <a:pt x="339" y="51"/>
                  </a:lnTo>
                  <a:lnTo>
                    <a:pt x="339" y="52"/>
                  </a:lnTo>
                  <a:lnTo>
                    <a:pt x="339" y="53"/>
                  </a:lnTo>
                  <a:lnTo>
                    <a:pt x="339" y="57"/>
                  </a:lnTo>
                  <a:lnTo>
                    <a:pt x="340" y="57"/>
                  </a:lnTo>
                  <a:lnTo>
                    <a:pt x="343" y="57"/>
                  </a:lnTo>
                  <a:lnTo>
                    <a:pt x="343" y="55"/>
                  </a:lnTo>
                  <a:lnTo>
                    <a:pt x="345" y="57"/>
                  </a:lnTo>
                  <a:lnTo>
                    <a:pt x="345" y="55"/>
                  </a:lnTo>
                  <a:lnTo>
                    <a:pt x="346" y="55"/>
                  </a:lnTo>
                  <a:lnTo>
                    <a:pt x="346" y="54"/>
                  </a:lnTo>
                  <a:lnTo>
                    <a:pt x="348" y="54"/>
                  </a:lnTo>
                  <a:lnTo>
                    <a:pt x="346" y="54"/>
                  </a:lnTo>
                  <a:lnTo>
                    <a:pt x="345" y="54"/>
                  </a:lnTo>
                  <a:lnTo>
                    <a:pt x="345" y="53"/>
                  </a:lnTo>
                  <a:lnTo>
                    <a:pt x="345" y="52"/>
                  </a:lnTo>
                  <a:lnTo>
                    <a:pt x="345" y="51"/>
                  </a:lnTo>
                  <a:lnTo>
                    <a:pt x="344" y="51"/>
                  </a:lnTo>
                  <a:lnTo>
                    <a:pt x="344" y="49"/>
                  </a:lnTo>
                  <a:lnTo>
                    <a:pt x="343" y="48"/>
                  </a:lnTo>
                  <a:lnTo>
                    <a:pt x="344" y="48"/>
                  </a:lnTo>
                  <a:lnTo>
                    <a:pt x="344" y="47"/>
                  </a:lnTo>
                  <a:lnTo>
                    <a:pt x="343" y="47"/>
                  </a:lnTo>
                  <a:lnTo>
                    <a:pt x="343" y="46"/>
                  </a:lnTo>
                  <a:lnTo>
                    <a:pt x="343" y="45"/>
                  </a:lnTo>
                  <a:lnTo>
                    <a:pt x="344" y="43"/>
                  </a:lnTo>
                  <a:lnTo>
                    <a:pt x="343" y="43"/>
                  </a:lnTo>
                  <a:lnTo>
                    <a:pt x="343" y="41"/>
                  </a:lnTo>
                  <a:lnTo>
                    <a:pt x="343" y="40"/>
                  </a:lnTo>
                  <a:lnTo>
                    <a:pt x="342" y="39"/>
                  </a:lnTo>
                  <a:lnTo>
                    <a:pt x="342" y="37"/>
                  </a:lnTo>
                  <a:lnTo>
                    <a:pt x="342" y="36"/>
                  </a:lnTo>
                  <a:lnTo>
                    <a:pt x="339" y="36"/>
                  </a:lnTo>
                  <a:lnTo>
                    <a:pt x="339" y="35"/>
                  </a:lnTo>
                  <a:lnTo>
                    <a:pt x="340" y="34"/>
                  </a:lnTo>
                  <a:lnTo>
                    <a:pt x="339" y="34"/>
                  </a:lnTo>
                  <a:lnTo>
                    <a:pt x="339" y="33"/>
                  </a:lnTo>
                  <a:lnTo>
                    <a:pt x="339" y="31"/>
                  </a:lnTo>
                  <a:lnTo>
                    <a:pt x="339" y="29"/>
                  </a:lnTo>
                  <a:lnTo>
                    <a:pt x="340" y="29"/>
                  </a:lnTo>
                  <a:lnTo>
                    <a:pt x="342" y="29"/>
                  </a:lnTo>
                  <a:lnTo>
                    <a:pt x="342" y="30"/>
                  </a:lnTo>
                  <a:lnTo>
                    <a:pt x="343" y="29"/>
                  </a:lnTo>
                  <a:lnTo>
                    <a:pt x="343" y="27"/>
                  </a:lnTo>
                  <a:lnTo>
                    <a:pt x="343" y="25"/>
                  </a:lnTo>
                  <a:lnTo>
                    <a:pt x="343" y="24"/>
                  </a:lnTo>
                  <a:lnTo>
                    <a:pt x="343" y="23"/>
                  </a:lnTo>
                  <a:lnTo>
                    <a:pt x="343" y="22"/>
                  </a:lnTo>
                  <a:lnTo>
                    <a:pt x="344" y="21"/>
                  </a:lnTo>
                  <a:lnTo>
                    <a:pt x="344" y="22"/>
                  </a:lnTo>
                  <a:lnTo>
                    <a:pt x="348" y="22"/>
                  </a:lnTo>
                  <a:lnTo>
                    <a:pt x="348" y="23"/>
                  </a:lnTo>
                  <a:lnTo>
                    <a:pt x="346" y="24"/>
                  </a:lnTo>
                  <a:lnTo>
                    <a:pt x="348" y="24"/>
                  </a:lnTo>
                  <a:lnTo>
                    <a:pt x="348" y="25"/>
                  </a:lnTo>
                  <a:lnTo>
                    <a:pt x="348" y="27"/>
                  </a:lnTo>
                  <a:lnTo>
                    <a:pt x="348" y="28"/>
                  </a:lnTo>
                  <a:lnTo>
                    <a:pt x="349" y="28"/>
                  </a:lnTo>
                  <a:lnTo>
                    <a:pt x="349" y="30"/>
                  </a:lnTo>
                  <a:lnTo>
                    <a:pt x="349" y="31"/>
                  </a:lnTo>
                  <a:lnTo>
                    <a:pt x="350" y="31"/>
                  </a:lnTo>
                  <a:lnTo>
                    <a:pt x="350" y="30"/>
                  </a:lnTo>
                  <a:lnTo>
                    <a:pt x="351" y="30"/>
                  </a:lnTo>
                  <a:lnTo>
                    <a:pt x="351" y="29"/>
                  </a:lnTo>
                  <a:lnTo>
                    <a:pt x="352" y="29"/>
                  </a:lnTo>
                  <a:lnTo>
                    <a:pt x="354" y="29"/>
                  </a:lnTo>
                  <a:lnTo>
                    <a:pt x="355" y="30"/>
                  </a:lnTo>
                  <a:lnTo>
                    <a:pt x="356" y="30"/>
                  </a:lnTo>
                  <a:lnTo>
                    <a:pt x="356" y="31"/>
                  </a:lnTo>
                  <a:lnTo>
                    <a:pt x="357" y="31"/>
                  </a:lnTo>
                  <a:lnTo>
                    <a:pt x="357" y="30"/>
                  </a:lnTo>
                  <a:lnTo>
                    <a:pt x="358" y="30"/>
                  </a:lnTo>
                  <a:lnTo>
                    <a:pt x="358" y="29"/>
                  </a:lnTo>
                  <a:lnTo>
                    <a:pt x="358" y="28"/>
                  </a:lnTo>
                  <a:lnTo>
                    <a:pt x="358" y="25"/>
                  </a:lnTo>
                  <a:lnTo>
                    <a:pt x="360" y="24"/>
                  </a:lnTo>
                  <a:lnTo>
                    <a:pt x="361" y="25"/>
                  </a:lnTo>
                  <a:lnTo>
                    <a:pt x="362" y="25"/>
                  </a:lnTo>
                  <a:lnTo>
                    <a:pt x="363" y="27"/>
                  </a:lnTo>
                  <a:lnTo>
                    <a:pt x="364" y="27"/>
                  </a:lnTo>
                  <a:lnTo>
                    <a:pt x="364" y="28"/>
                  </a:lnTo>
                  <a:lnTo>
                    <a:pt x="363" y="30"/>
                  </a:lnTo>
                  <a:lnTo>
                    <a:pt x="362" y="31"/>
                  </a:lnTo>
                  <a:lnTo>
                    <a:pt x="362" y="35"/>
                  </a:lnTo>
                  <a:lnTo>
                    <a:pt x="363" y="35"/>
                  </a:lnTo>
                  <a:lnTo>
                    <a:pt x="364" y="36"/>
                  </a:lnTo>
                  <a:lnTo>
                    <a:pt x="363" y="36"/>
                  </a:lnTo>
                  <a:lnTo>
                    <a:pt x="364" y="36"/>
                  </a:lnTo>
                  <a:lnTo>
                    <a:pt x="366" y="37"/>
                  </a:lnTo>
                  <a:lnTo>
                    <a:pt x="364" y="37"/>
                  </a:lnTo>
                  <a:lnTo>
                    <a:pt x="363" y="39"/>
                  </a:lnTo>
                  <a:lnTo>
                    <a:pt x="362" y="40"/>
                  </a:lnTo>
                  <a:lnTo>
                    <a:pt x="361" y="41"/>
                  </a:lnTo>
                  <a:lnTo>
                    <a:pt x="361" y="42"/>
                  </a:lnTo>
                  <a:lnTo>
                    <a:pt x="361" y="43"/>
                  </a:lnTo>
                  <a:lnTo>
                    <a:pt x="360" y="43"/>
                  </a:lnTo>
                  <a:lnTo>
                    <a:pt x="360" y="45"/>
                  </a:lnTo>
                  <a:lnTo>
                    <a:pt x="360" y="46"/>
                  </a:lnTo>
                  <a:lnTo>
                    <a:pt x="361" y="46"/>
                  </a:lnTo>
                  <a:lnTo>
                    <a:pt x="361" y="47"/>
                  </a:lnTo>
                  <a:lnTo>
                    <a:pt x="362" y="48"/>
                  </a:lnTo>
                  <a:lnTo>
                    <a:pt x="362" y="49"/>
                  </a:lnTo>
                  <a:lnTo>
                    <a:pt x="363" y="51"/>
                  </a:lnTo>
                  <a:lnTo>
                    <a:pt x="363" y="49"/>
                  </a:lnTo>
                  <a:lnTo>
                    <a:pt x="364" y="49"/>
                  </a:lnTo>
                  <a:lnTo>
                    <a:pt x="364" y="51"/>
                  </a:lnTo>
                  <a:lnTo>
                    <a:pt x="366" y="51"/>
                  </a:lnTo>
                  <a:lnTo>
                    <a:pt x="366" y="52"/>
                  </a:lnTo>
                  <a:lnTo>
                    <a:pt x="367" y="52"/>
                  </a:lnTo>
                  <a:lnTo>
                    <a:pt x="368" y="53"/>
                  </a:lnTo>
                  <a:lnTo>
                    <a:pt x="368" y="52"/>
                  </a:lnTo>
                  <a:lnTo>
                    <a:pt x="369" y="51"/>
                  </a:lnTo>
                  <a:lnTo>
                    <a:pt x="369" y="48"/>
                  </a:lnTo>
                  <a:lnTo>
                    <a:pt x="370" y="48"/>
                  </a:lnTo>
                  <a:lnTo>
                    <a:pt x="370" y="47"/>
                  </a:lnTo>
                  <a:lnTo>
                    <a:pt x="370" y="46"/>
                  </a:lnTo>
                  <a:lnTo>
                    <a:pt x="370" y="45"/>
                  </a:lnTo>
                  <a:lnTo>
                    <a:pt x="370" y="43"/>
                  </a:lnTo>
                  <a:lnTo>
                    <a:pt x="372" y="43"/>
                  </a:lnTo>
                  <a:lnTo>
                    <a:pt x="373" y="42"/>
                  </a:lnTo>
                  <a:lnTo>
                    <a:pt x="374" y="41"/>
                  </a:lnTo>
                  <a:lnTo>
                    <a:pt x="374" y="37"/>
                  </a:lnTo>
                  <a:lnTo>
                    <a:pt x="374" y="36"/>
                  </a:lnTo>
                  <a:lnTo>
                    <a:pt x="374" y="35"/>
                  </a:lnTo>
                  <a:lnTo>
                    <a:pt x="374" y="34"/>
                  </a:lnTo>
                  <a:lnTo>
                    <a:pt x="376" y="33"/>
                  </a:lnTo>
                  <a:lnTo>
                    <a:pt x="378" y="33"/>
                  </a:lnTo>
                  <a:lnTo>
                    <a:pt x="378" y="34"/>
                  </a:lnTo>
                  <a:lnTo>
                    <a:pt x="379" y="34"/>
                  </a:lnTo>
                  <a:lnTo>
                    <a:pt x="379" y="35"/>
                  </a:lnTo>
                  <a:lnTo>
                    <a:pt x="379" y="36"/>
                  </a:lnTo>
                  <a:lnTo>
                    <a:pt x="379" y="39"/>
                  </a:lnTo>
                  <a:lnTo>
                    <a:pt x="380" y="39"/>
                  </a:lnTo>
                  <a:lnTo>
                    <a:pt x="380" y="40"/>
                  </a:lnTo>
                  <a:lnTo>
                    <a:pt x="381" y="39"/>
                  </a:lnTo>
                  <a:lnTo>
                    <a:pt x="384" y="40"/>
                  </a:lnTo>
                  <a:lnTo>
                    <a:pt x="384" y="41"/>
                  </a:lnTo>
                  <a:lnTo>
                    <a:pt x="384" y="42"/>
                  </a:lnTo>
                  <a:lnTo>
                    <a:pt x="384" y="45"/>
                  </a:lnTo>
                  <a:lnTo>
                    <a:pt x="385" y="45"/>
                  </a:lnTo>
                  <a:lnTo>
                    <a:pt x="386" y="42"/>
                  </a:lnTo>
                  <a:lnTo>
                    <a:pt x="387" y="42"/>
                  </a:lnTo>
                  <a:lnTo>
                    <a:pt x="389" y="42"/>
                  </a:lnTo>
                  <a:lnTo>
                    <a:pt x="390" y="42"/>
                  </a:lnTo>
                  <a:lnTo>
                    <a:pt x="390" y="43"/>
                  </a:lnTo>
                  <a:lnTo>
                    <a:pt x="390" y="45"/>
                  </a:lnTo>
                  <a:lnTo>
                    <a:pt x="391" y="45"/>
                  </a:lnTo>
                  <a:lnTo>
                    <a:pt x="391" y="43"/>
                  </a:lnTo>
                  <a:lnTo>
                    <a:pt x="390" y="43"/>
                  </a:lnTo>
                  <a:lnTo>
                    <a:pt x="390" y="42"/>
                  </a:lnTo>
                  <a:lnTo>
                    <a:pt x="390" y="41"/>
                  </a:lnTo>
                  <a:lnTo>
                    <a:pt x="391" y="40"/>
                  </a:lnTo>
                  <a:lnTo>
                    <a:pt x="392" y="40"/>
                  </a:lnTo>
                  <a:lnTo>
                    <a:pt x="392" y="39"/>
                  </a:lnTo>
                  <a:lnTo>
                    <a:pt x="393" y="39"/>
                  </a:lnTo>
                  <a:lnTo>
                    <a:pt x="393" y="37"/>
                  </a:lnTo>
                  <a:lnTo>
                    <a:pt x="395" y="36"/>
                  </a:lnTo>
                  <a:lnTo>
                    <a:pt x="393" y="35"/>
                  </a:lnTo>
                  <a:lnTo>
                    <a:pt x="393" y="34"/>
                  </a:lnTo>
                  <a:lnTo>
                    <a:pt x="393" y="33"/>
                  </a:lnTo>
                  <a:lnTo>
                    <a:pt x="393" y="31"/>
                  </a:lnTo>
                  <a:lnTo>
                    <a:pt x="392" y="30"/>
                  </a:lnTo>
                  <a:lnTo>
                    <a:pt x="393" y="31"/>
                  </a:lnTo>
                  <a:lnTo>
                    <a:pt x="395" y="30"/>
                  </a:lnTo>
                  <a:lnTo>
                    <a:pt x="392" y="29"/>
                  </a:lnTo>
                  <a:lnTo>
                    <a:pt x="392" y="28"/>
                  </a:lnTo>
                  <a:lnTo>
                    <a:pt x="391" y="28"/>
                  </a:lnTo>
                  <a:lnTo>
                    <a:pt x="390" y="28"/>
                  </a:lnTo>
                  <a:lnTo>
                    <a:pt x="389" y="27"/>
                  </a:lnTo>
                  <a:lnTo>
                    <a:pt x="389" y="25"/>
                  </a:lnTo>
                  <a:lnTo>
                    <a:pt x="390" y="25"/>
                  </a:lnTo>
                  <a:lnTo>
                    <a:pt x="389" y="24"/>
                  </a:lnTo>
                  <a:lnTo>
                    <a:pt x="389" y="22"/>
                  </a:lnTo>
                  <a:lnTo>
                    <a:pt x="387" y="21"/>
                  </a:lnTo>
                  <a:lnTo>
                    <a:pt x="386" y="19"/>
                  </a:lnTo>
                  <a:lnTo>
                    <a:pt x="385" y="18"/>
                  </a:lnTo>
                  <a:lnTo>
                    <a:pt x="386" y="17"/>
                  </a:lnTo>
                  <a:lnTo>
                    <a:pt x="386" y="16"/>
                  </a:lnTo>
                  <a:lnTo>
                    <a:pt x="387" y="16"/>
                  </a:lnTo>
                  <a:lnTo>
                    <a:pt x="389" y="16"/>
                  </a:lnTo>
                  <a:lnTo>
                    <a:pt x="390" y="18"/>
                  </a:lnTo>
                  <a:lnTo>
                    <a:pt x="391" y="18"/>
                  </a:lnTo>
                  <a:lnTo>
                    <a:pt x="391" y="15"/>
                  </a:lnTo>
                  <a:lnTo>
                    <a:pt x="391" y="13"/>
                  </a:lnTo>
                  <a:lnTo>
                    <a:pt x="391" y="11"/>
                  </a:lnTo>
                  <a:lnTo>
                    <a:pt x="392" y="10"/>
                  </a:lnTo>
                  <a:lnTo>
                    <a:pt x="393" y="10"/>
                  </a:lnTo>
                  <a:lnTo>
                    <a:pt x="395" y="10"/>
                  </a:lnTo>
                  <a:lnTo>
                    <a:pt x="396" y="10"/>
                  </a:lnTo>
                  <a:lnTo>
                    <a:pt x="396" y="11"/>
                  </a:lnTo>
                  <a:lnTo>
                    <a:pt x="397" y="11"/>
                  </a:lnTo>
                  <a:lnTo>
                    <a:pt x="397" y="12"/>
                  </a:lnTo>
                  <a:lnTo>
                    <a:pt x="397" y="13"/>
                  </a:lnTo>
                  <a:lnTo>
                    <a:pt x="398" y="13"/>
                  </a:lnTo>
                  <a:lnTo>
                    <a:pt x="398" y="15"/>
                  </a:lnTo>
                  <a:lnTo>
                    <a:pt x="399" y="15"/>
                  </a:lnTo>
                  <a:lnTo>
                    <a:pt x="399" y="16"/>
                  </a:lnTo>
                  <a:lnTo>
                    <a:pt x="401" y="16"/>
                  </a:lnTo>
                  <a:lnTo>
                    <a:pt x="401" y="17"/>
                  </a:lnTo>
                  <a:lnTo>
                    <a:pt x="401" y="18"/>
                  </a:lnTo>
                  <a:lnTo>
                    <a:pt x="401" y="19"/>
                  </a:lnTo>
                  <a:lnTo>
                    <a:pt x="399" y="19"/>
                  </a:lnTo>
                  <a:lnTo>
                    <a:pt x="399" y="21"/>
                  </a:lnTo>
                  <a:lnTo>
                    <a:pt x="398" y="21"/>
                  </a:lnTo>
                  <a:lnTo>
                    <a:pt x="398" y="22"/>
                  </a:lnTo>
                  <a:lnTo>
                    <a:pt x="398" y="23"/>
                  </a:lnTo>
                  <a:lnTo>
                    <a:pt x="397" y="23"/>
                  </a:lnTo>
                  <a:lnTo>
                    <a:pt x="397" y="24"/>
                  </a:lnTo>
                  <a:lnTo>
                    <a:pt x="396" y="25"/>
                  </a:lnTo>
                  <a:lnTo>
                    <a:pt x="397" y="25"/>
                  </a:lnTo>
                  <a:lnTo>
                    <a:pt x="397" y="27"/>
                  </a:lnTo>
                  <a:lnTo>
                    <a:pt x="398" y="27"/>
                  </a:lnTo>
                  <a:lnTo>
                    <a:pt x="401" y="27"/>
                  </a:lnTo>
                  <a:lnTo>
                    <a:pt x="401" y="25"/>
                  </a:lnTo>
                  <a:lnTo>
                    <a:pt x="402" y="25"/>
                  </a:lnTo>
                  <a:lnTo>
                    <a:pt x="403" y="24"/>
                  </a:lnTo>
                  <a:lnTo>
                    <a:pt x="404" y="24"/>
                  </a:lnTo>
                  <a:lnTo>
                    <a:pt x="405" y="24"/>
                  </a:lnTo>
                  <a:lnTo>
                    <a:pt x="407" y="27"/>
                  </a:lnTo>
                  <a:lnTo>
                    <a:pt x="407" y="29"/>
                  </a:lnTo>
                  <a:lnTo>
                    <a:pt x="408" y="29"/>
                  </a:lnTo>
                  <a:lnTo>
                    <a:pt x="409" y="30"/>
                  </a:lnTo>
                  <a:lnTo>
                    <a:pt x="410" y="34"/>
                  </a:lnTo>
                  <a:lnTo>
                    <a:pt x="410" y="30"/>
                  </a:lnTo>
                  <a:lnTo>
                    <a:pt x="411" y="30"/>
                  </a:lnTo>
                  <a:lnTo>
                    <a:pt x="411" y="28"/>
                  </a:lnTo>
                  <a:lnTo>
                    <a:pt x="411" y="27"/>
                  </a:lnTo>
                  <a:lnTo>
                    <a:pt x="410" y="25"/>
                  </a:lnTo>
                  <a:lnTo>
                    <a:pt x="411" y="25"/>
                  </a:lnTo>
                  <a:lnTo>
                    <a:pt x="411" y="22"/>
                  </a:lnTo>
                  <a:lnTo>
                    <a:pt x="410" y="22"/>
                  </a:lnTo>
                  <a:lnTo>
                    <a:pt x="411" y="21"/>
                  </a:lnTo>
                  <a:lnTo>
                    <a:pt x="411" y="19"/>
                  </a:lnTo>
                  <a:lnTo>
                    <a:pt x="411" y="18"/>
                  </a:lnTo>
                  <a:lnTo>
                    <a:pt x="413" y="17"/>
                  </a:lnTo>
                  <a:lnTo>
                    <a:pt x="414" y="17"/>
                  </a:lnTo>
                  <a:lnTo>
                    <a:pt x="416" y="17"/>
                  </a:lnTo>
                  <a:lnTo>
                    <a:pt x="417" y="18"/>
                  </a:lnTo>
                  <a:lnTo>
                    <a:pt x="417" y="17"/>
                  </a:lnTo>
                  <a:lnTo>
                    <a:pt x="417" y="16"/>
                  </a:lnTo>
                  <a:lnTo>
                    <a:pt x="419" y="15"/>
                  </a:lnTo>
                  <a:lnTo>
                    <a:pt x="419" y="13"/>
                  </a:lnTo>
                  <a:lnTo>
                    <a:pt x="420" y="13"/>
                  </a:lnTo>
                  <a:lnTo>
                    <a:pt x="420" y="11"/>
                  </a:lnTo>
                  <a:lnTo>
                    <a:pt x="420" y="10"/>
                  </a:lnTo>
                  <a:lnTo>
                    <a:pt x="419" y="10"/>
                  </a:lnTo>
                  <a:lnTo>
                    <a:pt x="420" y="7"/>
                  </a:lnTo>
                  <a:lnTo>
                    <a:pt x="423" y="7"/>
                  </a:lnTo>
                  <a:lnTo>
                    <a:pt x="423" y="9"/>
                  </a:lnTo>
                  <a:lnTo>
                    <a:pt x="423" y="10"/>
                  </a:lnTo>
                  <a:lnTo>
                    <a:pt x="425" y="11"/>
                  </a:lnTo>
                  <a:lnTo>
                    <a:pt x="425" y="12"/>
                  </a:lnTo>
                  <a:lnTo>
                    <a:pt x="426" y="12"/>
                  </a:lnTo>
                  <a:lnTo>
                    <a:pt x="427" y="11"/>
                  </a:lnTo>
                  <a:lnTo>
                    <a:pt x="427" y="7"/>
                  </a:lnTo>
                  <a:lnTo>
                    <a:pt x="428" y="7"/>
                  </a:lnTo>
                  <a:lnTo>
                    <a:pt x="428" y="6"/>
                  </a:lnTo>
                  <a:lnTo>
                    <a:pt x="429" y="5"/>
                  </a:lnTo>
                  <a:lnTo>
                    <a:pt x="429" y="4"/>
                  </a:lnTo>
                  <a:lnTo>
                    <a:pt x="429" y="1"/>
                  </a:lnTo>
                  <a:lnTo>
                    <a:pt x="431" y="1"/>
                  </a:lnTo>
                  <a:lnTo>
                    <a:pt x="431" y="0"/>
                  </a:lnTo>
                  <a:lnTo>
                    <a:pt x="432" y="0"/>
                  </a:lnTo>
                  <a:lnTo>
                    <a:pt x="434" y="1"/>
                  </a:lnTo>
                  <a:lnTo>
                    <a:pt x="435" y="1"/>
                  </a:lnTo>
                  <a:lnTo>
                    <a:pt x="437" y="3"/>
                  </a:lnTo>
                  <a:lnTo>
                    <a:pt x="435" y="3"/>
                  </a:lnTo>
                  <a:lnTo>
                    <a:pt x="435" y="5"/>
                  </a:lnTo>
                  <a:lnTo>
                    <a:pt x="434" y="6"/>
                  </a:lnTo>
                  <a:lnTo>
                    <a:pt x="434" y="7"/>
                  </a:lnTo>
                  <a:lnTo>
                    <a:pt x="434" y="9"/>
                  </a:lnTo>
                  <a:lnTo>
                    <a:pt x="434" y="10"/>
                  </a:lnTo>
                  <a:lnTo>
                    <a:pt x="435" y="10"/>
                  </a:lnTo>
                  <a:lnTo>
                    <a:pt x="437" y="10"/>
                  </a:lnTo>
                  <a:lnTo>
                    <a:pt x="437" y="11"/>
                  </a:lnTo>
                  <a:lnTo>
                    <a:pt x="437" y="12"/>
                  </a:lnTo>
                  <a:lnTo>
                    <a:pt x="435" y="15"/>
                  </a:lnTo>
                  <a:lnTo>
                    <a:pt x="435" y="17"/>
                  </a:lnTo>
                  <a:lnTo>
                    <a:pt x="434" y="17"/>
                  </a:lnTo>
                  <a:lnTo>
                    <a:pt x="434" y="18"/>
                  </a:lnTo>
                  <a:lnTo>
                    <a:pt x="435" y="18"/>
                  </a:lnTo>
                  <a:lnTo>
                    <a:pt x="437" y="19"/>
                  </a:lnTo>
                  <a:lnTo>
                    <a:pt x="438" y="19"/>
                  </a:lnTo>
                  <a:lnTo>
                    <a:pt x="438" y="21"/>
                  </a:lnTo>
                  <a:lnTo>
                    <a:pt x="438" y="22"/>
                  </a:lnTo>
                  <a:lnTo>
                    <a:pt x="437" y="24"/>
                  </a:lnTo>
                  <a:lnTo>
                    <a:pt x="437" y="25"/>
                  </a:lnTo>
                  <a:lnTo>
                    <a:pt x="435" y="28"/>
                  </a:lnTo>
                  <a:lnTo>
                    <a:pt x="435" y="29"/>
                  </a:lnTo>
                  <a:lnTo>
                    <a:pt x="434" y="29"/>
                  </a:lnTo>
                  <a:lnTo>
                    <a:pt x="435" y="30"/>
                  </a:lnTo>
                  <a:lnTo>
                    <a:pt x="435" y="31"/>
                  </a:lnTo>
                  <a:lnTo>
                    <a:pt x="435" y="34"/>
                  </a:lnTo>
                  <a:lnTo>
                    <a:pt x="434" y="35"/>
                  </a:lnTo>
                  <a:lnTo>
                    <a:pt x="434" y="37"/>
                  </a:lnTo>
                  <a:lnTo>
                    <a:pt x="433" y="39"/>
                  </a:lnTo>
                  <a:lnTo>
                    <a:pt x="434" y="40"/>
                  </a:lnTo>
                  <a:lnTo>
                    <a:pt x="433" y="40"/>
                  </a:lnTo>
                  <a:lnTo>
                    <a:pt x="433" y="41"/>
                  </a:lnTo>
                  <a:lnTo>
                    <a:pt x="434" y="43"/>
                  </a:lnTo>
                  <a:lnTo>
                    <a:pt x="433" y="43"/>
                  </a:lnTo>
                  <a:lnTo>
                    <a:pt x="433" y="45"/>
                  </a:lnTo>
                  <a:lnTo>
                    <a:pt x="434" y="45"/>
                  </a:lnTo>
                  <a:lnTo>
                    <a:pt x="434" y="42"/>
                  </a:lnTo>
                  <a:lnTo>
                    <a:pt x="435" y="42"/>
                  </a:lnTo>
                  <a:lnTo>
                    <a:pt x="437" y="42"/>
                  </a:lnTo>
                  <a:lnTo>
                    <a:pt x="438" y="42"/>
                  </a:lnTo>
                  <a:lnTo>
                    <a:pt x="439" y="43"/>
                  </a:lnTo>
                  <a:lnTo>
                    <a:pt x="439" y="42"/>
                  </a:lnTo>
                  <a:lnTo>
                    <a:pt x="440" y="42"/>
                  </a:lnTo>
                  <a:lnTo>
                    <a:pt x="443" y="42"/>
                  </a:lnTo>
                  <a:lnTo>
                    <a:pt x="444" y="41"/>
                  </a:lnTo>
                  <a:lnTo>
                    <a:pt x="444" y="40"/>
                  </a:lnTo>
                  <a:lnTo>
                    <a:pt x="445" y="40"/>
                  </a:lnTo>
                  <a:lnTo>
                    <a:pt x="445" y="39"/>
                  </a:lnTo>
                  <a:lnTo>
                    <a:pt x="446" y="39"/>
                  </a:lnTo>
                  <a:lnTo>
                    <a:pt x="446" y="40"/>
                  </a:lnTo>
                  <a:lnTo>
                    <a:pt x="448" y="41"/>
                  </a:lnTo>
                  <a:lnTo>
                    <a:pt x="448" y="42"/>
                  </a:lnTo>
                  <a:lnTo>
                    <a:pt x="446" y="45"/>
                  </a:lnTo>
                  <a:lnTo>
                    <a:pt x="446" y="46"/>
                  </a:lnTo>
                  <a:lnTo>
                    <a:pt x="446" y="47"/>
                  </a:lnTo>
                  <a:lnTo>
                    <a:pt x="445" y="47"/>
                  </a:lnTo>
                  <a:lnTo>
                    <a:pt x="445" y="48"/>
                  </a:lnTo>
                  <a:lnTo>
                    <a:pt x="445" y="49"/>
                  </a:lnTo>
                  <a:lnTo>
                    <a:pt x="445" y="51"/>
                  </a:lnTo>
                  <a:lnTo>
                    <a:pt x="445" y="52"/>
                  </a:lnTo>
                  <a:lnTo>
                    <a:pt x="445" y="53"/>
                  </a:lnTo>
                  <a:lnTo>
                    <a:pt x="445" y="54"/>
                  </a:lnTo>
                  <a:lnTo>
                    <a:pt x="445" y="55"/>
                  </a:lnTo>
                  <a:lnTo>
                    <a:pt x="448" y="55"/>
                  </a:lnTo>
                  <a:lnTo>
                    <a:pt x="449" y="54"/>
                  </a:lnTo>
                  <a:lnTo>
                    <a:pt x="449" y="52"/>
                  </a:lnTo>
                  <a:lnTo>
                    <a:pt x="450" y="52"/>
                  </a:lnTo>
                  <a:lnTo>
                    <a:pt x="450" y="51"/>
                  </a:lnTo>
                  <a:lnTo>
                    <a:pt x="450" y="49"/>
                  </a:lnTo>
                  <a:lnTo>
                    <a:pt x="450" y="47"/>
                  </a:lnTo>
                  <a:lnTo>
                    <a:pt x="451" y="47"/>
                  </a:lnTo>
                  <a:lnTo>
                    <a:pt x="455" y="48"/>
                  </a:lnTo>
                  <a:lnTo>
                    <a:pt x="456" y="48"/>
                  </a:lnTo>
                  <a:lnTo>
                    <a:pt x="457" y="48"/>
                  </a:lnTo>
                  <a:lnTo>
                    <a:pt x="457" y="49"/>
                  </a:lnTo>
                  <a:lnTo>
                    <a:pt x="457" y="52"/>
                  </a:lnTo>
                  <a:lnTo>
                    <a:pt x="458" y="52"/>
                  </a:lnTo>
                  <a:lnTo>
                    <a:pt x="458" y="51"/>
                  </a:lnTo>
                  <a:lnTo>
                    <a:pt x="462" y="51"/>
                  </a:lnTo>
                  <a:lnTo>
                    <a:pt x="462" y="49"/>
                  </a:lnTo>
                  <a:lnTo>
                    <a:pt x="461" y="48"/>
                  </a:lnTo>
                  <a:lnTo>
                    <a:pt x="461" y="47"/>
                  </a:lnTo>
                  <a:lnTo>
                    <a:pt x="462" y="47"/>
                  </a:lnTo>
                  <a:lnTo>
                    <a:pt x="463" y="46"/>
                  </a:lnTo>
                  <a:lnTo>
                    <a:pt x="462" y="46"/>
                  </a:lnTo>
                  <a:lnTo>
                    <a:pt x="461" y="45"/>
                  </a:lnTo>
                  <a:lnTo>
                    <a:pt x="460" y="45"/>
                  </a:lnTo>
                  <a:lnTo>
                    <a:pt x="460" y="43"/>
                  </a:lnTo>
                  <a:lnTo>
                    <a:pt x="461" y="40"/>
                  </a:lnTo>
                  <a:lnTo>
                    <a:pt x="461" y="39"/>
                  </a:lnTo>
                  <a:lnTo>
                    <a:pt x="462" y="39"/>
                  </a:lnTo>
                  <a:lnTo>
                    <a:pt x="463" y="39"/>
                  </a:lnTo>
                  <a:lnTo>
                    <a:pt x="463" y="40"/>
                  </a:lnTo>
                  <a:lnTo>
                    <a:pt x="464" y="41"/>
                  </a:lnTo>
                  <a:lnTo>
                    <a:pt x="466" y="42"/>
                  </a:lnTo>
                  <a:lnTo>
                    <a:pt x="467" y="42"/>
                  </a:lnTo>
                  <a:lnTo>
                    <a:pt x="468" y="43"/>
                  </a:lnTo>
                  <a:lnTo>
                    <a:pt x="468" y="42"/>
                  </a:lnTo>
                  <a:lnTo>
                    <a:pt x="468" y="41"/>
                  </a:lnTo>
                  <a:lnTo>
                    <a:pt x="469" y="41"/>
                  </a:lnTo>
                  <a:lnTo>
                    <a:pt x="469" y="40"/>
                  </a:lnTo>
                  <a:lnTo>
                    <a:pt x="469" y="39"/>
                  </a:lnTo>
                  <a:lnTo>
                    <a:pt x="470" y="39"/>
                  </a:lnTo>
                  <a:lnTo>
                    <a:pt x="470" y="37"/>
                  </a:lnTo>
                  <a:lnTo>
                    <a:pt x="470" y="35"/>
                  </a:lnTo>
                  <a:lnTo>
                    <a:pt x="472" y="35"/>
                  </a:lnTo>
                  <a:lnTo>
                    <a:pt x="472" y="34"/>
                  </a:lnTo>
                  <a:lnTo>
                    <a:pt x="473" y="34"/>
                  </a:lnTo>
                  <a:lnTo>
                    <a:pt x="474" y="34"/>
                  </a:lnTo>
                  <a:lnTo>
                    <a:pt x="474" y="33"/>
                  </a:lnTo>
                  <a:lnTo>
                    <a:pt x="475" y="31"/>
                  </a:lnTo>
                  <a:lnTo>
                    <a:pt x="475" y="30"/>
                  </a:lnTo>
                  <a:lnTo>
                    <a:pt x="474" y="30"/>
                  </a:lnTo>
                  <a:lnTo>
                    <a:pt x="474" y="29"/>
                  </a:lnTo>
                  <a:lnTo>
                    <a:pt x="474" y="30"/>
                  </a:lnTo>
                  <a:lnTo>
                    <a:pt x="473" y="29"/>
                  </a:lnTo>
                  <a:lnTo>
                    <a:pt x="470" y="28"/>
                  </a:lnTo>
                  <a:lnTo>
                    <a:pt x="470" y="25"/>
                  </a:lnTo>
                  <a:lnTo>
                    <a:pt x="472" y="25"/>
                  </a:lnTo>
                  <a:lnTo>
                    <a:pt x="473" y="24"/>
                  </a:lnTo>
                  <a:lnTo>
                    <a:pt x="474" y="24"/>
                  </a:lnTo>
                  <a:lnTo>
                    <a:pt x="475" y="25"/>
                  </a:lnTo>
                  <a:lnTo>
                    <a:pt x="476" y="24"/>
                  </a:lnTo>
                  <a:lnTo>
                    <a:pt x="476" y="23"/>
                  </a:lnTo>
                  <a:lnTo>
                    <a:pt x="476" y="22"/>
                  </a:lnTo>
                  <a:lnTo>
                    <a:pt x="476" y="19"/>
                  </a:lnTo>
                  <a:lnTo>
                    <a:pt x="476" y="18"/>
                  </a:lnTo>
                  <a:lnTo>
                    <a:pt x="476" y="17"/>
                  </a:lnTo>
                  <a:lnTo>
                    <a:pt x="476" y="15"/>
                  </a:lnTo>
                  <a:lnTo>
                    <a:pt x="479" y="15"/>
                  </a:lnTo>
                  <a:lnTo>
                    <a:pt x="480" y="15"/>
                  </a:lnTo>
                  <a:lnTo>
                    <a:pt x="480" y="13"/>
                  </a:lnTo>
                  <a:lnTo>
                    <a:pt x="481" y="12"/>
                  </a:lnTo>
                  <a:lnTo>
                    <a:pt x="481" y="11"/>
                  </a:lnTo>
                  <a:lnTo>
                    <a:pt x="482" y="10"/>
                  </a:lnTo>
                  <a:lnTo>
                    <a:pt x="482" y="9"/>
                  </a:lnTo>
                  <a:lnTo>
                    <a:pt x="484" y="10"/>
                  </a:lnTo>
                  <a:lnTo>
                    <a:pt x="485" y="11"/>
                  </a:lnTo>
                  <a:lnTo>
                    <a:pt x="486" y="11"/>
                  </a:lnTo>
                  <a:lnTo>
                    <a:pt x="487" y="12"/>
                  </a:lnTo>
                  <a:lnTo>
                    <a:pt x="486" y="13"/>
                  </a:lnTo>
                  <a:lnTo>
                    <a:pt x="486" y="15"/>
                  </a:lnTo>
                  <a:lnTo>
                    <a:pt x="486" y="17"/>
                  </a:lnTo>
                  <a:lnTo>
                    <a:pt x="486" y="18"/>
                  </a:lnTo>
                  <a:lnTo>
                    <a:pt x="486" y="19"/>
                  </a:lnTo>
                  <a:lnTo>
                    <a:pt x="486" y="22"/>
                  </a:lnTo>
                  <a:lnTo>
                    <a:pt x="486" y="24"/>
                  </a:lnTo>
                  <a:lnTo>
                    <a:pt x="486" y="25"/>
                  </a:lnTo>
                  <a:lnTo>
                    <a:pt x="486" y="24"/>
                  </a:lnTo>
                  <a:lnTo>
                    <a:pt x="487" y="24"/>
                  </a:lnTo>
                  <a:lnTo>
                    <a:pt x="488" y="24"/>
                  </a:lnTo>
                  <a:lnTo>
                    <a:pt x="490" y="23"/>
                  </a:lnTo>
                  <a:lnTo>
                    <a:pt x="488" y="23"/>
                  </a:lnTo>
                  <a:lnTo>
                    <a:pt x="490" y="23"/>
                  </a:lnTo>
                  <a:lnTo>
                    <a:pt x="491" y="24"/>
                  </a:lnTo>
                  <a:lnTo>
                    <a:pt x="492" y="25"/>
                  </a:lnTo>
                  <a:lnTo>
                    <a:pt x="492" y="27"/>
                  </a:lnTo>
                  <a:lnTo>
                    <a:pt x="491" y="27"/>
                  </a:lnTo>
                  <a:lnTo>
                    <a:pt x="491" y="28"/>
                  </a:lnTo>
                  <a:lnTo>
                    <a:pt x="490" y="28"/>
                  </a:lnTo>
                  <a:lnTo>
                    <a:pt x="488" y="29"/>
                  </a:lnTo>
                  <a:lnTo>
                    <a:pt x="487" y="29"/>
                  </a:lnTo>
                  <a:lnTo>
                    <a:pt x="487" y="30"/>
                  </a:lnTo>
                  <a:lnTo>
                    <a:pt x="486" y="30"/>
                  </a:lnTo>
                  <a:lnTo>
                    <a:pt x="485" y="31"/>
                  </a:lnTo>
                  <a:lnTo>
                    <a:pt x="484" y="31"/>
                  </a:lnTo>
                  <a:lnTo>
                    <a:pt x="484" y="33"/>
                  </a:lnTo>
                  <a:lnTo>
                    <a:pt x="482" y="34"/>
                  </a:lnTo>
                  <a:lnTo>
                    <a:pt x="481" y="35"/>
                  </a:lnTo>
                  <a:lnTo>
                    <a:pt x="480" y="35"/>
                  </a:lnTo>
                  <a:lnTo>
                    <a:pt x="480" y="36"/>
                  </a:lnTo>
                  <a:lnTo>
                    <a:pt x="481" y="36"/>
                  </a:lnTo>
                  <a:lnTo>
                    <a:pt x="481" y="37"/>
                  </a:lnTo>
                  <a:lnTo>
                    <a:pt x="481" y="39"/>
                  </a:lnTo>
                  <a:lnTo>
                    <a:pt x="481" y="40"/>
                  </a:lnTo>
                  <a:lnTo>
                    <a:pt x="481" y="41"/>
                  </a:lnTo>
                  <a:lnTo>
                    <a:pt x="481" y="42"/>
                  </a:lnTo>
                  <a:lnTo>
                    <a:pt x="480" y="42"/>
                  </a:lnTo>
                  <a:lnTo>
                    <a:pt x="480" y="43"/>
                  </a:lnTo>
                  <a:lnTo>
                    <a:pt x="480" y="45"/>
                  </a:lnTo>
                  <a:lnTo>
                    <a:pt x="481" y="46"/>
                  </a:lnTo>
                  <a:lnTo>
                    <a:pt x="482" y="46"/>
                  </a:lnTo>
                  <a:lnTo>
                    <a:pt x="482" y="45"/>
                  </a:lnTo>
                  <a:lnTo>
                    <a:pt x="482" y="43"/>
                  </a:lnTo>
                  <a:lnTo>
                    <a:pt x="484" y="43"/>
                  </a:lnTo>
                  <a:lnTo>
                    <a:pt x="485" y="43"/>
                  </a:lnTo>
                  <a:lnTo>
                    <a:pt x="486" y="42"/>
                  </a:lnTo>
                  <a:lnTo>
                    <a:pt x="487" y="42"/>
                  </a:lnTo>
                  <a:lnTo>
                    <a:pt x="487" y="43"/>
                  </a:lnTo>
                  <a:lnTo>
                    <a:pt x="488" y="43"/>
                  </a:lnTo>
                  <a:lnTo>
                    <a:pt x="490" y="45"/>
                  </a:lnTo>
                  <a:lnTo>
                    <a:pt x="490" y="46"/>
                  </a:lnTo>
                  <a:lnTo>
                    <a:pt x="491" y="46"/>
                  </a:lnTo>
                  <a:lnTo>
                    <a:pt x="492" y="46"/>
                  </a:lnTo>
                  <a:lnTo>
                    <a:pt x="492" y="45"/>
                  </a:lnTo>
                  <a:lnTo>
                    <a:pt x="492" y="43"/>
                  </a:lnTo>
                  <a:lnTo>
                    <a:pt x="492" y="42"/>
                  </a:lnTo>
                  <a:lnTo>
                    <a:pt x="493" y="41"/>
                  </a:lnTo>
                  <a:lnTo>
                    <a:pt x="494" y="41"/>
                  </a:lnTo>
                  <a:lnTo>
                    <a:pt x="494" y="40"/>
                  </a:lnTo>
                  <a:lnTo>
                    <a:pt x="496" y="39"/>
                  </a:lnTo>
                  <a:lnTo>
                    <a:pt x="496" y="36"/>
                  </a:lnTo>
                  <a:lnTo>
                    <a:pt x="496" y="34"/>
                  </a:lnTo>
                  <a:lnTo>
                    <a:pt x="494" y="33"/>
                  </a:lnTo>
                  <a:lnTo>
                    <a:pt x="494" y="31"/>
                  </a:lnTo>
                  <a:lnTo>
                    <a:pt x="494" y="30"/>
                  </a:lnTo>
                  <a:lnTo>
                    <a:pt x="493" y="29"/>
                  </a:lnTo>
                  <a:lnTo>
                    <a:pt x="494" y="29"/>
                  </a:lnTo>
                  <a:lnTo>
                    <a:pt x="496" y="28"/>
                  </a:lnTo>
                  <a:lnTo>
                    <a:pt x="497" y="28"/>
                  </a:lnTo>
                  <a:lnTo>
                    <a:pt x="497" y="27"/>
                  </a:lnTo>
                  <a:lnTo>
                    <a:pt x="498" y="25"/>
                  </a:lnTo>
                  <a:lnTo>
                    <a:pt x="498" y="23"/>
                  </a:lnTo>
                  <a:lnTo>
                    <a:pt x="498" y="22"/>
                  </a:lnTo>
                  <a:lnTo>
                    <a:pt x="502" y="22"/>
                  </a:lnTo>
                  <a:lnTo>
                    <a:pt x="502" y="23"/>
                  </a:lnTo>
                  <a:lnTo>
                    <a:pt x="502" y="25"/>
                  </a:lnTo>
                  <a:lnTo>
                    <a:pt x="501" y="25"/>
                  </a:lnTo>
                  <a:lnTo>
                    <a:pt x="501" y="27"/>
                  </a:lnTo>
                  <a:lnTo>
                    <a:pt x="502" y="27"/>
                  </a:lnTo>
                  <a:lnTo>
                    <a:pt x="502" y="29"/>
                  </a:lnTo>
                  <a:lnTo>
                    <a:pt x="503" y="29"/>
                  </a:lnTo>
                  <a:lnTo>
                    <a:pt x="504" y="29"/>
                  </a:lnTo>
                  <a:lnTo>
                    <a:pt x="503" y="28"/>
                  </a:lnTo>
                  <a:lnTo>
                    <a:pt x="503" y="27"/>
                  </a:lnTo>
                  <a:lnTo>
                    <a:pt x="504" y="27"/>
                  </a:lnTo>
                  <a:lnTo>
                    <a:pt x="505" y="25"/>
                  </a:lnTo>
                  <a:lnTo>
                    <a:pt x="505" y="24"/>
                  </a:lnTo>
                  <a:lnTo>
                    <a:pt x="505" y="23"/>
                  </a:lnTo>
                  <a:lnTo>
                    <a:pt x="505" y="22"/>
                  </a:lnTo>
                  <a:lnTo>
                    <a:pt x="507" y="21"/>
                  </a:lnTo>
                  <a:lnTo>
                    <a:pt x="507" y="19"/>
                  </a:lnTo>
                  <a:lnTo>
                    <a:pt x="507" y="18"/>
                  </a:lnTo>
                  <a:lnTo>
                    <a:pt x="508" y="18"/>
                  </a:lnTo>
                  <a:lnTo>
                    <a:pt x="509" y="18"/>
                  </a:lnTo>
                  <a:lnTo>
                    <a:pt x="509" y="19"/>
                  </a:lnTo>
                  <a:lnTo>
                    <a:pt x="510" y="19"/>
                  </a:lnTo>
                  <a:lnTo>
                    <a:pt x="510" y="18"/>
                  </a:lnTo>
                  <a:lnTo>
                    <a:pt x="511" y="17"/>
                  </a:lnTo>
                  <a:lnTo>
                    <a:pt x="510" y="16"/>
                  </a:lnTo>
                  <a:lnTo>
                    <a:pt x="511" y="15"/>
                  </a:lnTo>
                  <a:lnTo>
                    <a:pt x="513" y="13"/>
                  </a:lnTo>
                  <a:lnTo>
                    <a:pt x="513" y="15"/>
                  </a:lnTo>
                  <a:lnTo>
                    <a:pt x="515" y="15"/>
                  </a:lnTo>
                  <a:lnTo>
                    <a:pt x="516" y="15"/>
                  </a:lnTo>
                  <a:lnTo>
                    <a:pt x="516" y="16"/>
                  </a:lnTo>
                  <a:lnTo>
                    <a:pt x="516" y="17"/>
                  </a:lnTo>
                  <a:lnTo>
                    <a:pt x="515" y="18"/>
                  </a:lnTo>
                  <a:lnTo>
                    <a:pt x="515" y="21"/>
                  </a:lnTo>
                  <a:lnTo>
                    <a:pt x="515" y="23"/>
                  </a:lnTo>
                  <a:lnTo>
                    <a:pt x="516" y="23"/>
                  </a:lnTo>
                  <a:lnTo>
                    <a:pt x="516" y="24"/>
                  </a:lnTo>
                  <a:lnTo>
                    <a:pt x="516" y="27"/>
                  </a:lnTo>
                  <a:lnTo>
                    <a:pt x="516" y="28"/>
                  </a:lnTo>
                  <a:lnTo>
                    <a:pt x="515" y="28"/>
                  </a:lnTo>
                  <a:lnTo>
                    <a:pt x="515" y="29"/>
                  </a:lnTo>
                  <a:lnTo>
                    <a:pt x="514" y="30"/>
                  </a:lnTo>
                  <a:lnTo>
                    <a:pt x="513" y="33"/>
                  </a:lnTo>
                  <a:lnTo>
                    <a:pt x="511" y="33"/>
                  </a:lnTo>
                  <a:lnTo>
                    <a:pt x="511" y="34"/>
                  </a:lnTo>
                  <a:lnTo>
                    <a:pt x="509" y="34"/>
                  </a:lnTo>
                  <a:lnTo>
                    <a:pt x="509" y="35"/>
                  </a:lnTo>
                  <a:lnTo>
                    <a:pt x="508" y="36"/>
                  </a:lnTo>
                  <a:lnTo>
                    <a:pt x="505" y="37"/>
                  </a:lnTo>
                  <a:lnTo>
                    <a:pt x="507" y="37"/>
                  </a:lnTo>
                  <a:lnTo>
                    <a:pt x="508" y="37"/>
                  </a:lnTo>
                  <a:lnTo>
                    <a:pt x="508" y="39"/>
                  </a:lnTo>
                  <a:lnTo>
                    <a:pt x="509" y="37"/>
                  </a:lnTo>
                  <a:lnTo>
                    <a:pt x="509" y="39"/>
                  </a:lnTo>
                  <a:lnTo>
                    <a:pt x="510" y="40"/>
                  </a:lnTo>
                  <a:lnTo>
                    <a:pt x="511" y="39"/>
                  </a:lnTo>
                  <a:lnTo>
                    <a:pt x="513" y="37"/>
                  </a:lnTo>
                  <a:lnTo>
                    <a:pt x="514" y="37"/>
                  </a:lnTo>
                  <a:lnTo>
                    <a:pt x="515" y="39"/>
                  </a:lnTo>
                  <a:lnTo>
                    <a:pt x="515" y="41"/>
                  </a:lnTo>
                  <a:lnTo>
                    <a:pt x="516" y="42"/>
                  </a:lnTo>
                  <a:lnTo>
                    <a:pt x="517" y="43"/>
                  </a:lnTo>
                  <a:lnTo>
                    <a:pt x="517" y="46"/>
                  </a:lnTo>
                  <a:lnTo>
                    <a:pt x="517" y="45"/>
                  </a:lnTo>
                  <a:lnTo>
                    <a:pt x="519" y="45"/>
                  </a:lnTo>
                  <a:lnTo>
                    <a:pt x="520" y="43"/>
                  </a:lnTo>
                  <a:lnTo>
                    <a:pt x="520" y="41"/>
                  </a:lnTo>
                  <a:lnTo>
                    <a:pt x="519" y="41"/>
                  </a:lnTo>
                  <a:lnTo>
                    <a:pt x="520" y="39"/>
                  </a:lnTo>
                  <a:lnTo>
                    <a:pt x="521" y="37"/>
                  </a:lnTo>
                  <a:lnTo>
                    <a:pt x="522" y="37"/>
                  </a:lnTo>
                  <a:lnTo>
                    <a:pt x="523" y="40"/>
                  </a:lnTo>
                  <a:lnTo>
                    <a:pt x="523" y="39"/>
                  </a:lnTo>
                  <a:lnTo>
                    <a:pt x="525" y="39"/>
                  </a:lnTo>
                  <a:lnTo>
                    <a:pt x="525" y="37"/>
                  </a:lnTo>
                  <a:lnTo>
                    <a:pt x="526" y="37"/>
                  </a:lnTo>
                  <a:lnTo>
                    <a:pt x="526" y="36"/>
                  </a:lnTo>
                  <a:lnTo>
                    <a:pt x="527" y="36"/>
                  </a:lnTo>
                  <a:lnTo>
                    <a:pt x="528" y="35"/>
                  </a:lnTo>
                  <a:lnTo>
                    <a:pt x="529" y="34"/>
                  </a:lnTo>
                  <a:lnTo>
                    <a:pt x="531" y="34"/>
                  </a:lnTo>
                  <a:lnTo>
                    <a:pt x="531" y="33"/>
                  </a:lnTo>
                  <a:lnTo>
                    <a:pt x="533" y="35"/>
                  </a:lnTo>
                  <a:lnTo>
                    <a:pt x="534" y="37"/>
                  </a:lnTo>
                  <a:lnTo>
                    <a:pt x="533" y="39"/>
                  </a:lnTo>
                  <a:lnTo>
                    <a:pt x="532" y="40"/>
                  </a:lnTo>
                  <a:lnTo>
                    <a:pt x="531" y="41"/>
                  </a:lnTo>
                  <a:lnTo>
                    <a:pt x="529" y="42"/>
                  </a:lnTo>
                  <a:lnTo>
                    <a:pt x="528" y="46"/>
                  </a:lnTo>
                  <a:lnTo>
                    <a:pt x="528" y="49"/>
                  </a:lnTo>
                  <a:lnTo>
                    <a:pt x="527" y="49"/>
                  </a:lnTo>
                  <a:lnTo>
                    <a:pt x="526" y="49"/>
                  </a:lnTo>
                  <a:lnTo>
                    <a:pt x="526" y="51"/>
                  </a:lnTo>
                  <a:lnTo>
                    <a:pt x="525" y="60"/>
                  </a:lnTo>
                  <a:lnTo>
                    <a:pt x="525" y="62"/>
                  </a:lnTo>
                  <a:lnTo>
                    <a:pt x="525" y="63"/>
                  </a:lnTo>
                  <a:lnTo>
                    <a:pt x="526" y="63"/>
                  </a:lnTo>
                  <a:lnTo>
                    <a:pt x="526" y="64"/>
                  </a:lnTo>
                  <a:lnTo>
                    <a:pt x="527" y="63"/>
                  </a:lnTo>
                  <a:lnTo>
                    <a:pt x="528" y="63"/>
                  </a:lnTo>
                  <a:lnTo>
                    <a:pt x="529" y="63"/>
                  </a:lnTo>
                  <a:lnTo>
                    <a:pt x="528" y="65"/>
                  </a:lnTo>
                  <a:lnTo>
                    <a:pt x="528" y="66"/>
                  </a:lnTo>
                  <a:lnTo>
                    <a:pt x="527" y="66"/>
                  </a:lnTo>
                  <a:lnTo>
                    <a:pt x="527" y="68"/>
                  </a:lnTo>
                  <a:lnTo>
                    <a:pt x="527" y="69"/>
                  </a:lnTo>
                  <a:lnTo>
                    <a:pt x="526" y="69"/>
                  </a:lnTo>
                  <a:lnTo>
                    <a:pt x="525" y="70"/>
                  </a:lnTo>
                  <a:lnTo>
                    <a:pt x="526" y="71"/>
                  </a:lnTo>
                  <a:lnTo>
                    <a:pt x="526" y="72"/>
                  </a:lnTo>
                  <a:lnTo>
                    <a:pt x="527" y="72"/>
                  </a:lnTo>
                  <a:lnTo>
                    <a:pt x="526" y="75"/>
                  </a:lnTo>
                  <a:lnTo>
                    <a:pt x="527" y="76"/>
                  </a:lnTo>
                  <a:lnTo>
                    <a:pt x="528" y="77"/>
                  </a:lnTo>
                  <a:lnTo>
                    <a:pt x="531" y="77"/>
                  </a:lnTo>
                  <a:lnTo>
                    <a:pt x="532" y="76"/>
                  </a:lnTo>
                  <a:lnTo>
                    <a:pt x="533" y="75"/>
                  </a:lnTo>
                  <a:lnTo>
                    <a:pt x="533" y="74"/>
                  </a:lnTo>
                  <a:lnTo>
                    <a:pt x="534" y="74"/>
                  </a:lnTo>
                  <a:lnTo>
                    <a:pt x="534" y="71"/>
                  </a:lnTo>
                  <a:lnTo>
                    <a:pt x="533" y="70"/>
                  </a:lnTo>
                  <a:lnTo>
                    <a:pt x="534" y="70"/>
                  </a:lnTo>
                  <a:lnTo>
                    <a:pt x="537" y="70"/>
                  </a:lnTo>
                  <a:lnTo>
                    <a:pt x="537" y="69"/>
                  </a:lnTo>
                  <a:lnTo>
                    <a:pt x="535" y="68"/>
                  </a:lnTo>
                  <a:lnTo>
                    <a:pt x="535" y="66"/>
                  </a:lnTo>
                  <a:lnTo>
                    <a:pt x="534" y="63"/>
                  </a:lnTo>
                  <a:lnTo>
                    <a:pt x="534" y="60"/>
                  </a:lnTo>
                  <a:lnTo>
                    <a:pt x="535" y="60"/>
                  </a:lnTo>
                  <a:lnTo>
                    <a:pt x="535" y="59"/>
                  </a:lnTo>
                  <a:lnTo>
                    <a:pt x="535" y="58"/>
                  </a:lnTo>
                  <a:lnTo>
                    <a:pt x="534" y="57"/>
                  </a:lnTo>
                  <a:lnTo>
                    <a:pt x="535" y="55"/>
                  </a:lnTo>
                  <a:lnTo>
                    <a:pt x="535" y="54"/>
                  </a:lnTo>
                  <a:lnTo>
                    <a:pt x="537" y="54"/>
                  </a:lnTo>
                  <a:lnTo>
                    <a:pt x="538" y="54"/>
                  </a:lnTo>
                  <a:lnTo>
                    <a:pt x="539" y="54"/>
                  </a:lnTo>
                  <a:lnTo>
                    <a:pt x="539" y="53"/>
                  </a:lnTo>
                  <a:lnTo>
                    <a:pt x="540" y="52"/>
                  </a:lnTo>
                  <a:lnTo>
                    <a:pt x="540" y="49"/>
                  </a:lnTo>
                  <a:lnTo>
                    <a:pt x="543" y="48"/>
                  </a:lnTo>
                  <a:lnTo>
                    <a:pt x="543" y="49"/>
                  </a:lnTo>
                  <a:lnTo>
                    <a:pt x="545" y="49"/>
                  </a:lnTo>
                  <a:lnTo>
                    <a:pt x="546" y="51"/>
                  </a:lnTo>
                  <a:lnTo>
                    <a:pt x="545" y="52"/>
                  </a:lnTo>
                  <a:lnTo>
                    <a:pt x="545" y="55"/>
                  </a:lnTo>
                  <a:lnTo>
                    <a:pt x="544" y="57"/>
                  </a:lnTo>
                  <a:lnTo>
                    <a:pt x="543" y="59"/>
                  </a:lnTo>
                  <a:lnTo>
                    <a:pt x="544" y="59"/>
                  </a:lnTo>
                  <a:lnTo>
                    <a:pt x="544" y="60"/>
                  </a:lnTo>
                  <a:lnTo>
                    <a:pt x="544" y="62"/>
                  </a:lnTo>
                  <a:lnTo>
                    <a:pt x="545" y="62"/>
                  </a:lnTo>
                  <a:lnTo>
                    <a:pt x="546" y="62"/>
                  </a:lnTo>
                  <a:lnTo>
                    <a:pt x="546" y="60"/>
                  </a:lnTo>
                  <a:lnTo>
                    <a:pt x="547" y="60"/>
                  </a:lnTo>
                  <a:lnTo>
                    <a:pt x="547" y="62"/>
                  </a:lnTo>
                  <a:lnTo>
                    <a:pt x="549" y="63"/>
                  </a:lnTo>
                  <a:lnTo>
                    <a:pt x="549" y="64"/>
                  </a:lnTo>
                  <a:lnTo>
                    <a:pt x="547" y="64"/>
                  </a:lnTo>
                  <a:lnTo>
                    <a:pt x="546" y="65"/>
                  </a:lnTo>
                  <a:lnTo>
                    <a:pt x="545" y="65"/>
                  </a:lnTo>
                  <a:lnTo>
                    <a:pt x="544" y="66"/>
                  </a:lnTo>
                  <a:lnTo>
                    <a:pt x="544" y="68"/>
                  </a:lnTo>
                  <a:lnTo>
                    <a:pt x="543" y="69"/>
                  </a:lnTo>
                  <a:lnTo>
                    <a:pt x="541" y="69"/>
                  </a:lnTo>
                  <a:lnTo>
                    <a:pt x="540" y="70"/>
                  </a:lnTo>
                  <a:lnTo>
                    <a:pt x="540" y="71"/>
                  </a:lnTo>
                  <a:lnTo>
                    <a:pt x="540" y="72"/>
                  </a:lnTo>
                  <a:lnTo>
                    <a:pt x="541" y="71"/>
                  </a:lnTo>
                  <a:lnTo>
                    <a:pt x="541" y="72"/>
                  </a:lnTo>
                  <a:lnTo>
                    <a:pt x="540" y="72"/>
                  </a:lnTo>
                  <a:lnTo>
                    <a:pt x="541" y="74"/>
                  </a:lnTo>
                  <a:lnTo>
                    <a:pt x="543" y="74"/>
                  </a:lnTo>
                  <a:lnTo>
                    <a:pt x="543" y="75"/>
                  </a:lnTo>
                  <a:lnTo>
                    <a:pt x="543" y="76"/>
                  </a:lnTo>
                  <a:lnTo>
                    <a:pt x="544" y="76"/>
                  </a:lnTo>
                  <a:lnTo>
                    <a:pt x="545" y="75"/>
                  </a:lnTo>
                  <a:lnTo>
                    <a:pt x="546" y="76"/>
                  </a:lnTo>
                  <a:lnTo>
                    <a:pt x="546" y="75"/>
                  </a:lnTo>
                  <a:lnTo>
                    <a:pt x="547" y="75"/>
                  </a:lnTo>
                  <a:lnTo>
                    <a:pt x="547" y="74"/>
                  </a:lnTo>
                  <a:lnTo>
                    <a:pt x="547" y="72"/>
                  </a:lnTo>
                  <a:lnTo>
                    <a:pt x="549" y="72"/>
                  </a:lnTo>
                  <a:lnTo>
                    <a:pt x="549" y="66"/>
                  </a:lnTo>
                  <a:lnTo>
                    <a:pt x="549" y="65"/>
                  </a:lnTo>
                  <a:lnTo>
                    <a:pt x="551" y="65"/>
                  </a:lnTo>
                  <a:lnTo>
                    <a:pt x="551" y="66"/>
                  </a:lnTo>
                  <a:lnTo>
                    <a:pt x="552" y="66"/>
                  </a:lnTo>
                  <a:lnTo>
                    <a:pt x="552" y="65"/>
                  </a:lnTo>
                  <a:lnTo>
                    <a:pt x="553" y="65"/>
                  </a:lnTo>
                  <a:lnTo>
                    <a:pt x="553" y="66"/>
                  </a:lnTo>
                  <a:lnTo>
                    <a:pt x="555" y="65"/>
                  </a:lnTo>
                  <a:lnTo>
                    <a:pt x="556" y="65"/>
                  </a:lnTo>
                  <a:lnTo>
                    <a:pt x="556" y="66"/>
                  </a:lnTo>
                  <a:lnTo>
                    <a:pt x="557" y="68"/>
                  </a:lnTo>
                  <a:lnTo>
                    <a:pt x="558" y="68"/>
                  </a:lnTo>
                  <a:lnTo>
                    <a:pt x="558" y="66"/>
                  </a:lnTo>
                  <a:lnTo>
                    <a:pt x="558" y="65"/>
                  </a:lnTo>
                  <a:lnTo>
                    <a:pt x="557" y="65"/>
                  </a:lnTo>
                  <a:lnTo>
                    <a:pt x="555" y="65"/>
                  </a:lnTo>
                  <a:lnTo>
                    <a:pt x="555" y="64"/>
                  </a:lnTo>
                  <a:lnTo>
                    <a:pt x="553" y="64"/>
                  </a:lnTo>
                  <a:lnTo>
                    <a:pt x="553" y="63"/>
                  </a:lnTo>
                  <a:lnTo>
                    <a:pt x="553" y="62"/>
                  </a:lnTo>
                  <a:lnTo>
                    <a:pt x="553" y="60"/>
                  </a:lnTo>
                  <a:lnTo>
                    <a:pt x="552" y="60"/>
                  </a:lnTo>
                  <a:lnTo>
                    <a:pt x="551" y="59"/>
                  </a:lnTo>
                  <a:lnTo>
                    <a:pt x="551" y="58"/>
                  </a:lnTo>
                  <a:lnTo>
                    <a:pt x="552" y="57"/>
                  </a:lnTo>
                  <a:lnTo>
                    <a:pt x="553" y="55"/>
                  </a:lnTo>
                  <a:lnTo>
                    <a:pt x="553" y="54"/>
                  </a:lnTo>
                  <a:lnTo>
                    <a:pt x="553" y="53"/>
                  </a:lnTo>
                  <a:lnTo>
                    <a:pt x="553" y="52"/>
                  </a:lnTo>
                  <a:lnTo>
                    <a:pt x="556" y="51"/>
                  </a:lnTo>
                  <a:lnTo>
                    <a:pt x="557" y="51"/>
                  </a:lnTo>
                  <a:lnTo>
                    <a:pt x="558" y="51"/>
                  </a:lnTo>
                  <a:lnTo>
                    <a:pt x="558" y="52"/>
                  </a:lnTo>
                  <a:lnTo>
                    <a:pt x="558" y="53"/>
                  </a:lnTo>
                  <a:lnTo>
                    <a:pt x="560" y="53"/>
                  </a:lnTo>
                  <a:lnTo>
                    <a:pt x="560" y="52"/>
                  </a:lnTo>
                  <a:lnTo>
                    <a:pt x="560" y="51"/>
                  </a:lnTo>
                  <a:lnTo>
                    <a:pt x="561" y="51"/>
                  </a:lnTo>
                  <a:lnTo>
                    <a:pt x="561" y="49"/>
                  </a:lnTo>
                  <a:lnTo>
                    <a:pt x="561" y="48"/>
                  </a:lnTo>
                  <a:lnTo>
                    <a:pt x="561" y="47"/>
                  </a:lnTo>
                  <a:lnTo>
                    <a:pt x="561" y="46"/>
                  </a:lnTo>
                  <a:lnTo>
                    <a:pt x="562" y="45"/>
                  </a:lnTo>
                  <a:lnTo>
                    <a:pt x="563" y="43"/>
                  </a:lnTo>
                  <a:lnTo>
                    <a:pt x="564" y="43"/>
                  </a:lnTo>
                  <a:lnTo>
                    <a:pt x="566" y="42"/>
                  </a:lnTo>
                  <a:lnTo>
                    <a:pt x="566" y="40"/>
                  </a:lnTo>
                  <a:lnTo>
                    <a:pt x="566" y="39"/>
                  </a:lnTo>
                  <a:lnTo>
                    <a:pt x="567" y="37"/>
                  </a:lnTo>
                  <a:lnTo>
                    <a:pt x="568" y="37"/>
                  </a:lnTo>
                  <a:lnTo>
                    <a:pt x="569" y="37"/>
                  </a:lnTo>
                  <a:lnTo>
                    <a:pt x="569" y="39"/>
                  </a:lnTo>
                  <a:lnTo>
                    <a:pt x="569" y="40"/>
                  </a:lnTo>
                  <a:lnTo>
                    <a:pt x="570" y="39"/>
                  </a:lnTo>
                  <a:lnTo>
                    <a:pt x="572" y="39"/>
                  </a:lnTo>
                  <a:lnTo>
                    <a:pt x="572" y="40"/>
                  </a:lnTo>
                  <a:lnTo>
                    <a:pt x="573" y="41"/>
                  </a:lnTo>
                  <a:lnTo>
                    <a:pt x="573" y="42"/>
                  </a:lnTo>
                  <a:lnTo>
                    <a:pt x="573" y="43"/>
                  </a:lnTo>
                  <a:lnTo>
                    <a:pt x="573" y="45"/>
                  </a:lnTo>
                  <a:lnTo>
                    <a:pt x="573" y="48"/>
                  </a:lnTo>
                  <a:lnTo>
                    <a:pt x="574" y="48"/>
                  </a:lnTo>
                  <a:lnTo>
                    <a:pt x="574" y="49"/>
                  </a:lnTo>
                  <a:lnTo>
                    <a:pt x="574" y="51"/>
                  </a:lnTo>
                  <a:lnTo>
                    <a:pt x="574" y="52"/>
                  </a:lnTo>
                  <a:lnTo>
                    <a:pt x="574" y="53"/>
                  </a:lnTo>
                  <a:lnTo>
                    <a:pt x="574" y="54"/>
                  </a:lnTo>
                  <a:lnTo>
                    <a:pt x="573" y="54"/>
                  </a:lnTo>
                  <a:lnTo>
                    <a:pt x="572" y="55"/>
                  </a:lnTo>
                  <a:lnTo>
                    <a:pt x="570" y="57"/>
                  </a:lnTo>
                  <a:lnTo>
                    <a:pt x="572" y="57"/>
                  </a:lnTo>
                  <a:lnTo>
                    <a:pt x="573" y="57"/>
                  </a:lnTo>
                  <a:lnTo>
                    <a:pt x="573" y="58"/>
                  </a:lnTo>
                  <a:lnTo>
                    <a:pt x="574" y="58"/>
                  </a:lnTo>
                  <a:lnTo>
                    <a:pt x="574" y="59"/>
                  </a:lnTo>
                  <a:lnTo>
                    <a:pt x="575" y="59"/>
                  </a:lnTo>
                  <a:lnTo>
                    <a:pt x="575" y="60"/>
                  </a:lnTo>
                  <a:lnTo>
                    <a:pt x="576" y="60"/>
                  </a:lnTo>
                  <a:lnTo>
                    <a:pt x="576" y="63"/>
                  </a:lnTo>
                  <a:lnTo>
                    <a:pt x="575" y="64"/>
                  </a:lnTo>
                  <a:lnTo>
                    <a:pt x="575" y="65"/>
                  </a:lnTo>
                  <a:lnTo>
                    <a:pt x="574" y="66"/>
                  </a:lnTo>
                  <a:lnTo>
                    <a:pt x="574" y="69"/>
                  </a:lnTo>
                  <a:lnTo>
                    <a:pt x="573" y="68"/>
                  </a:lnTo>
                  <a:lnTo>
                    <a:pt x="572" y="68"/>
                  </a:lnTo>
                  <a:lnTo>
                    <a:pt x="573" y="70"/>
                  </a:lnTo>
                  <a:lnTo>
                    <a:pt x="572" y="70"/>
                  </a:lnTo>
                  <a:lnTo>
                    <a:pt x="570" y="69"/>
                  </a:lnTo>
                  <a:lnTo>
                    <a:pt x="570" y="70"/>
                  </a:lnTo>
                  <a:lnTo>
                    <a:pt x="570" y="72"/>
                  </a:lnTo>
                  <a:lnTo>
                    <a:pt x="572" y="72"/>
                  </a:lnTo>
                  <a:lnTo>
                    <a:pt x="574" y="71"/>
                  </a:lnTo>
                  <a:lnTo>
                    <a:pt x="575" y="70"/>
                  </a:lnTo>
                  <a:lnTo>
                    <a:pt x="575" y="69"/>
                  </a:lnTo>
                  <a:lnTo>
                    <a:pt x="576" y="68"/>
                  </a:lnTo>
                  <a:lnTo>
                    <a:pt x="578" y="68"/>
                  </a:lnTo>
                  <a:lnTo>
                    <a:pt x="578" y="66"/>
                  </a:lnTo>
                  <a:lnTo>
                    <a:pt x="578" y="65"/>
                  </a:lnTo>
                  <a:lnTo>
                    <a:pt x="578" y="63"/>
                  </a:lnTo>
                  <a:lnTo>
                    <a:pt x="579" y="63"/>
                  </a:lnTo>
                  <a:lnTo>
                    <a:pt x="580" y="63"/>
                  </a:lnTo>
                  <a:lnTo>
                    <a:pt x="581" y="63"/>
                  </a:lnTo>
                  <a:lnTo>
                    <a:pt x="582" y="63"/>
                  </a:lnTo>
                  <a:lnTo>
                    <a:pt x="582" y="60"/>
                  </a:lnTo>
                  <a:lnTo>
                    <a:pt x="582" y="62"/>
                  </a:lnTo>
                  <a:lnTo>
                    <a:pt x="584" y="60"/>
                  </a:lnTo>
                  <a:lnTo>
                    <a:pt x="584" y="58"/>
                  </a:lnTo>
                  <a:lnTo>
                    <a:pt x="582" y="57"/>
                  </a:lnTo>
                  <a:lnTo>
                    <a:pt x="581" y="57"/>
                  </a:lnTo>
                  <a:lnTo>
                    <a:pt x="581" y="55"/>
                  </a:lnTo>
                  <a:lnTo>
                    <a:pt x="581" y="54"/>
                  </a:lnTo>
                  <a:lnTo>
                    <a:pt x="581" y="53"/>
                  </a:lnTo>
                  <a:lnTo>
                    <a:pt x="582" y="53"/>
                  </a:lnTo>
                  <a:lnTo>
                    <a:pt x="582" y="52"/>
                  </a:lnTo>
                  <a:lnTo>
                    <a:pt x="584" y="51"/>
                  </a:lnTo>
                  <a:lnTo>
                    <a:pt x="582" y="49"/>
                  </a:lnTo>
                  <a:lnTo>
                    <a:pt x="584" y="48"/>
                  </a:lnTo>
                  <a:lnTo>
                    <a:pt x="584" y="47"/>
                  </a:lnTo>
                  <a:lnTo>
                    <a:pt x="584" y="46"/>
                  </a:lnTo>
                  <a:lnTo>
                    <a:pt x="585" y="47"/>
                  </a:lnTo>
                  <a:lnTo>
                    <a:pt x="586" y="46"/>
                  </a:lnTo>
                  <a:lnTo>
                    <a:pt x="587" y="46"/>
                  </a:lnTo>
                  <a:lnTo>
                    <a:pt x="587" y="45"/>
                  </a:lnTo>
                  <a:lnTo>
                    <a:pt x="588" y="45"/>
                  </a:lnTo>
                  <a:lnTo>
                    <a:pt x="592" y="45"/>
                  </a:lnTo>
                  <a:lnTo>
                    <a:pt x="593" y="45"/>
                  </a:lnTo>
                  <a:lnTo>
                    <a:pt x="593" y="43"/>
                  </a:lnTo>
                  <a:lnTo>
                    <a:pt x="594" y="43"/>
                  </a:lnTo>
                  <a:lnTo>
                    <a:pt x="594" y="41"/>
                  </a:lnTo>
                  <a:lnTo>
                    <a:pt x="598" y="41"/>
                  </a:lnTo>
                  <a:lnTo>
                    <a:pt x="598" y="40"/>
                  </a:lnTo>
                  <a:lnTo>
                    <a:pt x="599" y="39"/>
                  </a:lnTo>
                  <a:lnTo>
                    <a:pt x="599" y="37"/>
                  </a:lnTo>
                  <a:lnTo>
                    <a:pt x="599" y="36"/>
                  </a:lnTo>
                  <a:lnTo>
                    <a:pt x="600" y="36"/>
                  </a:lnTo>
                  <a:lnTo>
                    <a:pt x="600" y="35"/>
                  </a:lnTo>
                  <a:lnTo>
                    <a:pt x="602" y="35"/>
                  </a:lnTo>
                  <a:lnTo>
                    <a:pt x="603" y="34"/>
                  </a:lnTo>
                  <a:lnTo>
                    <a:pt x="603" y="35"/>
                  </a:lnTo>
                  <a:lnTo>
                    <a:pt x="605" y="35"/>
                  </a:lnTo>
                  <a:lnTo>
                    <a:pt x="606" y="36"/>
                  </a:lnTo>
                  <a:lnTo>
                    <a:pt x="606" y="40"/>
                  </a:lnTo>
                  <a:lnTo>
                    <a:pt x="606" y="41"/>
                  </a:lnTo>
                  <a:lnTo>
                    <a:pt x="605" y="42"/>
                  </a:lnTo>
                  <a:lnTo>
                    <a:pt x="606" y="42"/>
                  </a:lnTo>
                  <a:lnTo>
                    <a:pt x="606" y="43"/>
                  </a:lnTo>
                  <a:lnTo>
                    <a:pt x="608" y="45"/>
                  </a:lnTo>
                  <a:lnTo>
                    <a:pt x="609" y="46"/>
                  </a:lnTo>
                  <a:lnTo>
                    <a:pt x="610" y="46"/>
                  </a:lnTo>
                  <a:lnTo>
                    <a:pt x="610" y="47"/>
                  </a:lnTo>
                  <a:lnTo>
                    <a:pt x="611" y="49"/>
                  </a:lnTo>
                  <a:lnTo>
                    <a:pt x="610" y="51"/>
                  </a:lnTo>
                  <a:lnTo>
                    <a:pt x="609" y="52"/>
                  </a:lnTo>
                  <a:lnTo>
                    <a:pt x="609" y="53"/>
                  </a:lnTo>
                  <a:lnTo>
                    <a:pt x="610" y="53"/>
                  </a:lnTo>
                  <a:lnTo>
                    <a:pt x="612" y="53"/>
                  </a:lnTo>
                  <a:lnTo>
                    <a:pt x="612" y="54"/>
                  </a:lnTo>
                  <a:lnTo>
                    <a:pt x="611" y="55"/>
                  </a:lnTo>
                  <a:lnTo>
                    <a:pt x="612" y="55"/>
                  </a:lnTo>
                  <a:lnTo>
                    <a:pt x="614" y="55"/>
                  </a:lnTo>
                  <a:lnTo>
                    <a:pt x="614" y="54"/>
                  </a:lnTo>
                  <a:lnTo>
                    <a:pt x="616" y="53"/>
                  </a:lnTo>
                  <a:lnTo>
                    <a:pt x="617" y="53"/>
                  </a:lnTo>
                  <a:lnTo>
                    <a:pt x="617" y="52"/>
                  </a:lnTo>
                  <a:lnTo>
                    <a:pt x="619" y="52"/>
                  </a:lnTo>
                  <a:lnTo>
                    <a:pt x="619" y="51"/>
                  </a:lnTo>
                  <a:lnTo>
                    <a:pt x="621" y="51"/>
                  </a:lnTo>
                  <a:lnTo>
                    <a:pt x="621" y="52"/>
                  </a:lnTo>
                  <a:lnTo>
                    <a:pt x="622" y="53"/>
                  </a:lnTo>
                  <a:lnTo>
                    <a:pt x="622" y="54"/>
                  </a:lnTo>
                  <a:lnTo>
                    <a:pt x="623" y="53"/>
                  </a:lnTo>
                  <a:lnTo>
                    <a:pt x="623" y="54"/>
                  </a:lnTo>
                  <a:lnTo>
                    <a:pt x="625" y="55"/>
                  </a:lnTo>
                  <a:lnTo>
                    <a:pt x="626" y="55"/>
                  </a:lnTo>
                  <a:lnTo>
                    <a:pt x="626" y="57"/>
                  </a:lnTo>
                  <a:lnTo>
                    <a:pt x="627" y="58"/>
                  </a:lnTo>
                  <a:lnTo>
                    <a:pt x="626" y="58"/>
                  </a:lnTo>
                  <a:lnTo>
                    <a:pt x="626" y="59"/>
                  </a:lnTo>
                  <a:lnTo>
                    <a:pt x="626" y="60"/>
                  </a:lnTo>
                  <a:lnTo>
                    <a:pt x="625" y="60"/>
                  </a:lnTo>
                  <a:lnTo>
                    <a:pt x="625" y="62"/>
                  </a:lnTo>
                  <a:lnTo>
                    <a:pt x="625" y="63"/>
                  </a:lnTo>
                  <a:lnTo>
                    <a:pt x="623" y="63"/>
                  </a:lnTo>
                  <a:lnTo>
                    <a:pt x="623" y="64"/>
                  </a:lnTo>
                  <a:lnTo>
                    <a:pt x="622" y="65"/>
                  </a:lnTo>
                  <a:lnTo>
                    <a:pt x="622" y="66"/>
                  </a:lnTo>
                  <a:lnTo>
                    <a:pt x="621" y="68"/>
                  </a:lnTo>
                  <a:lnTo>
                    <a:pt x="621" y="70"/>
                  </a:lnTo>
                  <a:lnTo>
                    <a:pt x="620" y="70"/>
                  </a:lnTo>
                  <a:lnTo>
                    <a:pt x="620" y="71"/>
                  </a:lnTo>
                  <a:lnTo>
                    <a:pt x="619" y="72"/>
                  </a:lnTo>
                  <a:lnTo>
                    <a:pt x="617" y="72"/>
                  </a:lnTo>
                  <a:lnTo>
                    <a:pt x="616" y="72"/>
                  </a:lnTo>
                  <a:lnTo>
                    <a:pt x="615" y="72"/>
                  </a:lnTo>
                  <a:lnTo>
                    <a:pt x="615" y="74"/>
                  </a:lnTo>
                  <a:lnTo>
                    <a:pt x="614" y="74"/>
                  </a:lnTo>
                  <a:lnTo>
                    <a:pt x="614" y="75"/>
                  </a:lnTo>
                  <a:lnTo>
                    <a:pt x="612" y="75"/>
                  </a:lnTo>
                  <a:lnTo>
                    <a:pt x="611" y="75"/>
                  </a:lnTo>
                  <a:lnTo>
                    <a:pt x="610" y="75"/>
                  </a:lnTo>
                  <a:lnTo>
                    <a:pt x="608" y="75"/>
                  </a:lnTo>
                  <a:lnTo>
                    <a:pt x="606" y="74"/>
                  </a:lnTo>
                  <a:lnTo>
                    <a:pt x="605" y="76"/>
                  </a:lnTo>
                  <a:lnTo>
                    <a:pt x="605" y="77"/>
                  </a:lnTo>
                  <a:lnTo>
                    <a:pt x="604" y="78"/>
                  </a:lnTo>
                  <a:lnTo>
                    <a:pt x="603" y="80"/>
                  </a:lnTo>
                  <a:lnTo>
                    <a:pt x="602" y="82"/>
                  </a:lnTo>
                  <a:lnTo>
                    <a:pt x="603" y="84"/>
                  </a:lnTo>
                  <a:lnTo>
                    <a:pt x="604" y="84"/>
                  </a:lnTo>
                  <a:lnTo>
                    <a:pt x="605" y="86"/>
                  </a:lnTo>
                  <a:lnTo>
                    <a:pt x="606" y="86"/>
                  </a:lnTo>
                  <a:lnTo>
                    <a:pt x="606" y="84"/>
                  </a:lnTo>
                  <a:lnTo>
                    <a:pt x="608" y="83"/>
                  </a:lnTo>
                  <a:lnTo>
                    <a:pt x="609" y="83"/>
                  </a:lnTo>
                  <a:lnTo>
                    <a:pt x="610" y="83"/>
                  </a:lnTo>
                  <a:lnTo>
                    <a:pt x="612" y="83"/>
                  </a:lnTo>
                  <a:lnTo>
                    <a:pt x="614" y="83"/>
                  </a:lnTo>
                  <a:lnTo>
                    <a:pt x="616" y="83"/>
                  </a:lnTo>
                  <a:lnTo>
                    <a:pt x="616" y="82"/>
                  </a:lnTo>
                  <a:lnTo>
                    <a:pt x="617" y="82"/>
                  </a:lnTo>
                  <a:lnTo>
                    <a:pt x="620" y="82"/>
                  </a:lnTo>
                  <a:lnTo>
                    <a:pt x="620" y="81"/>
                  </a:lnTo>
                  <a:lnTo>
                    <a:pt x="620" y="78"/>
                  </a:lnTo>
                  <a:lnTo>
                    <a:pt x="620" y="76"/>
                  </a:lnTo>
                  <a:lnTo>
                    <a:pt x="621" y="75"/>
                  </a:lnTo>
                  <a:lnTo>
                    <a:pt x="625" y="75"/>
                  </a:lnTo>
                  <a:lnTo>
                    <a:pt x="626" y="75"/>
                  </a:lnTo>
                  <a:lnTo>
                    <a:pt x="627" y="74"/>
                  </a:lnTo>
                  <a:lnTo>
                    <a:pt x="628" y="74"/>
                  </a:lnTo>
                  <a:lnTo>
                    <a:pt x="628" y="71"/>
                  </a:lnTo>
                  <a:lnTo>
                    <a:pt x="628" y="70"/>
                  </a:lnTo>
                  <a:lnTo>
                    <a:pt x="629" y="70"/>
                  </a:lnTo>
                  <a:lnTo>
                    <a:pt x="631" y="70"/>
                  </a:lnTo>
                  <a:lnTo>
                    <a:pt x="631" y="69"/>
                  </a:lnTo>
                  <a:lnTo>
                    <a:pt x="632" y="69"/>
                  </a:lnTo>
                  <a:lnTo>
                    <a:pt x="633" y="69"/>
                  </a:lnTo>
                  <a:lnTo>
                    <a:pt x="633" y="70"/>
                  </a:lnTo>
                  <a:lnTo>
                    <a:pt x="634" y="70"/>
                  </a:lnTo>
                  <a:lnTo>
                    <a:pt x="634" y="71"/>
                  </a:lnTo>
                  <a:lnTo>
                    <a:pt x="637" y="71"/>
                  </a:lnTo>
                  <a:lnTo>
                    <a:pt x="638" y="70"/>
                  </a:lnTo>
                  <a:lnTo>
                    <a:pt x="638" y="69"/>
                  </a:lnTo>
                  <a:lnTo>
                    <a:pt x="639" y="69"/>
                  </a:lnTo>
                  <a:lnTo>
                    <a:pt x="639" y="68"/>
                  </a:lnTo>
                  <a:lnTo>
                    <a:pt x="640" y="68"/>
                  </a:lnTo>
                  <a:lnTo>
                    <a:pt x="641" y="69"/>
                  </a:lnTo>
                  <a:lnTo>
                    <a:pt x="641" y="70"/>
                  </a:lnTo>
                  <a:lnTo>
                    <a:pt x="643" y="70"/>
                  </a:lnTo>
                  <a:lnTo>
                    <a:pt x="643" y="71"/>
                  </a:lnTo>
                  <a:lnTo>
                    <a:pt x="643" y="72"/>
                  </a:lnTo>
                  <a:lnTo>
                    <a:pt x="644" y="72"/>
                  </a:lnTo>
                  <a:lnTo>
                    <a:pt x="644" y="74"/>
                  </a:lnTo>
                  <a:lnTo>
                    <a:pt x="645" y="76"/>
                  </a:lnTo>
                  <a:lnTo>
                    <a:pt x="644" y="80"/>
                  </a:lnTo>
                  <a:lnTo>
                    <a:pt x="645" y="80"/>
                  </a:lnTo>
                  <a:lnTo>
                    <a:pt x="645" y="81"/>
                  </a:lnTo>
                  <a:lnTo>
                    <a:pt x="646" y="80"/>
                  </a:lnTo>
                  <a:lnTo>
                    <a:pt x="647" y="80"/>
                  </a:lnTo>
                  <a:lnTo>
                    <a:pt x="647" y="78"/>
                  </a:lnTo>
                  <a:lnTo>
                    <a:pt x="649" y="78"/>
                  </a:lnTo>
                  <a:lnTo>
                    <a:pt x="650" y="77"/>
                  </a:lnTo>
                  <a:lnTo>
                    <a:pt x="651" y="76"/>
                  </a:lnTo>
                  <a:lnTo>
                    <a:pt x="651" y="75"/>
                  </a:lnTo>
                  <a:lnTo>
                    <a:pt x="651" y="74"/>
                  </a:lnTo>
                  <a:lnTo>
                    <a:pt x="652" y="74"/>
                  </a:lnTo>
                  <a:lnTo>
                    <a:pt x="652" y="72"/>
                  </a:lnTo>
                  <a:lnTo>
                    <a:pt x="653" y="72"/>
                  </a:lnTo>
                  <a:lnTo>
                    <a:pt x="655" y="74"/>
                  </a:lnTo>
                  <a:lnTo>
                    <a:pt x="656" y="75"/>
                  </a:lnTo>
                  <a:lnTo>
                    <a:pt x="657" y="76"/>
                  </a:lnTo>
                  <a:lnTo>
                    <a:pt x="656" y="76"/>
                  </a:lnTo>
                  <a:lnTo>
                    <a:pt x="656" y="77"/>
                  </a:lnTo>
                  <a:lnTo>
                    <a:pt x="655" y="77"/>
                  </a:lnTo>
                  <a:lnTo>
                    <a:pt x="655" y="80"/>
                  </a:lnTo>
                  <a:lnTo>
                    <a:pt x="655" y="81"/>
                  </a:lnTo>
                  <a:lnTo>
                    <a:pt x="655" y="82"/>
                  </a:lnTo>
                  <a:lnTo>
                    <a:pt x="655" y="83"/>
                  </a:lnTo>
                  <a:lnTo>
                    <a:pt x="653" y="84"/>
                  </a:lnTo>
                  <a:lnTo>
                    <a:pt x="653" y="86"/>
                  </a:lnTo>
                  <a:lnTo>
                    <a:pt x="656" y="87"/>
                  </a:lnTo>
                  <a:lnTo>
                    <a:pt x="656" y="88"/>
                  </a:lnTo>
                  <a:lnTo>
                    <a:pt x="657" y="88"/>
                  </a:lnTo>
                  <a:lnTo>
                    <a:pt x="657" y="92"/>
                  </a:lnTo>
                  <a:lnTo>
                    <a:pt x="656" y="94"/>
                  </a:lnTo>
                  <a:lnTo>
                    <a:pt x="655" y="95"/>
                  </a:lnTo>
                  <a:lnTo>
                    <a:pt x="653" y="95"/>
                  </a:lnTo>
                  <a:lnTo>
                    <a:pt x="652" y="96"/>
                  </a:lnTo>
                  <a:lnTo>
                    <a:pt x="651" y="96"/>
                  </a:lnTo>
                  <a:lnTo>
                    <a:pt x="651" y="98"/>
                  </a:lnTo>
                  <a:lnTo>
                    <a:pt x="650" y="99"/>
                  </a:lnTo>
                  <a:lnTo>
                    <a:pt x="650" y="100"/>
                  </a:lnTo>
                  <a:lnTo>
                    <a:pt x="651" y="100"/>
                  </a:lnTo>
                  <a:lnTo>
                    <a:pt x="652" y="100"/>
                  </a:lnTo>
                  <a:lnTo>
                    <a:pt x="652" y="102"/>
                  </a:lnTo>
                  <a:lnTo>
                    <a:pt x="652" y="106"/>
                  </a:lnTo>
                  <a:lnTo>
                    <a:pt x="649" y="106"/>
                  </a:lnTo>
                  <a:lnTo>
                    <a:pt x="647" y="107"/>
                  </a:lnTo>
                  <a:lnTo>
                    <a:pt x="649" y="108"/>
                  </a:lnTo>
                  <a:lnTo>
                    <a:pt x="646" y="108"/>
                  </a:lnTo>
                  <a:lnTo>
                    <a:pt x="645" y="107"/>
                  </a:lnTo>
                  <a:lnTo>
                    <a:pt x="645" y="108"/>
                  </a:lnTo>
                  <a:lnTo>
                    <a:pt x="644" y="110"/>
                  </a:lnTo>
                  <a:lnTo>
                    <a:pt x="644" y="111"/>
                  </a:lnTo>
                  <a:lnTo>
                    <a:pt x="643" y="111"/>
                  </a:lnTo>
                  <a:lnTo>
                    <a:pt x="640" y="111"/>
                  </a:lnTo>
                  <a:lnTo>
                    <a:pt x="639" y="111"/>
                  </a:lnTo>
                  <a:lnTo>
                    <a:pt x="639" y="114"/>
                  </a:lnTo>
                  <a:lnTo>
                    <a:pt x="640" y="114"/>
                  </a:lnTo>
                  <a:lnTo>
                    <a:pt x="640" y="113"/>
                  </a:lnTo>
                  <a:lnTo>
                    <a:pt x="641" y="113"/>
                  </a:lnTo>
                  <a:lnTo>
                    <a:pt x="643" y="113"/>
                  </a:lnTo>
                  <a:lnTo>
                    <a:pt x="641" y="112"/>
                  </a:lnTo>
                  <a:lnTo>
                    <a:pt x="643" y="112"/>
                  </a:lnTo>
                  <a:lnTo>
                    <a:pt x="644" y="111"/>
                  </a:lnTo>
                  <a:lnTo>
                    <a:pt x="645" y="112"/>
                  </a:lnTo>
                  <a:lnTo>
                    <a:pt x="646" y="112"/>
                  </a:lnTo>
                  <a:lnTo>
                    <a:pt x="647" y="112"/>
                  </a:lnTo>
                  <a:lnTo>
                    <a:pt x="649" y="111"/>
                  </a:lnTo>
                  <a:lnTo>
                    <a:pt x="649" y="112"/>
                  </a:lnTo>
                  <a:lnTo>
                    <a:pt x="650" y="112"/>
                  </a:lnTo>
                  <a:lnTo>
                    <a:pt x="650" y="116"/>
                  </a:lnTo>
                  <a:lnTo>
                    <a:pt x="649" y="117"/>
                  </a:lnTo>
                  <a:lnTo>
                    <a:pt x="647" y="117"/>
                  </a:lnTo>
                  <a:lnTo>
                    <a:pt x="647" y="118"/>
                  </a:lnTo>
                  <a:lnTo>
                    <a:pt x="646" y="119"/>
                  </a:lnTo>
                  <a:lnTo>
                    <a:pt x="645" y="119"/>
                  </a:lnTo>
                  <a:lnTo>
                    <a:pt x="645" y="120"/>
                  </a:lnTo>
                  <a:lnTo>
                    <a:pt x="644" y="120"/>
                  </a:lnTo>
                  <a:lnTo>
                    <a:pt x="644" y="122"/>
                  </a:lnTo>
                  <a:lnTo>
                    <a:pt x="643" y="122"/>
                  </a:lnTo>
                  <a:lnTo>
                    <a:pt x="643" y="123"/>
                  </a:lnTo>
                  <a:lnTo>
                    <a:pt x="641" y="122"/>
                  </a:lnTo>
                  <a:lnTo>
                    <a:pt x="638" y="122"/>
                  </a:lnTo>
                  <a:lnTo>
                    <a:pt x="638" y="123"/>
                  </a:lnTo>
                  <a:lnTo>
                    <a:pt x="637" y="124"/>
                  </a:lnTo>
                  <a:lnTo>
                    <a:pt x="633" y="124"/>
                  </a:lnTo>
                  <a:lnTo>
                    <a:pt x="632" y="123"/>
                  </a:lnTo>
                  <a:lnTo>
                    <a:pt x="631" y="123"/>
                  </a:lnTo>
                  <a:lnTo>
                    <a:pt x="629" y="122"/>
                  </a:lnTo>
                  <a:lnTo>
                    <a:pt x="629" y="120"/>
                  </a:lnTo>
                  <a:lnTo>
                    <a:pt x="629" y="119"/>
                  </a:lnTo>
                  <a:lnTo>
                    <a:pt x="628" y="120"/>
                  </a:lnTo>
                  <a:lnTo>
                    <a:pt x="628" y="119"/>
                  </a:lnTo>
                  <a:lnTo>
                    <a:pt x="627" y="120"/>
                  </a:lnTo>
                  <a:lnTo>
                    <a:pt x="628" y="120"/>
                  </a:lnTo>
                  <a:lnTo>
                    <a:pt x="628" y="123"/>
                  </a:lnTo>
                  <a:lnTo>
                    <a:pt x="628" y="124"/>
                  </a:lnTo>
                  <a:lnTo>
                    <a:pt x="627" y="124"/>
                  </a:lnTo>
                  <a:lnTo>
                    <a:pt x="626" y="124"/>
                  </a:lnTo>
                  <a:lnTo>
                    <a:pt x="625" y="124"/>
                  </a:lnTo>
                  <a:lnTo>
                    <a:pt x="622" y="125"/>
                  </a:lnTo>
                  <a:lnTo>
                    <a:pt x="621" y="125"/>
                  </a:lnTo>
                  <a:lnTo>
                    <a:pt x="620" y="125"/>
                  </a:lnTo>
                  <a:lnTo>
                    <a:pt x="620" y="124"/>
                  </a:lnTo>
                  <a:lnTo>
                    <a:pt x="619" y="123"/>
                  </a:lnTo>
                  <a:lnTo>
                    <a:pt x="619" y="120"/>
                  </a:lnTo>
                  <a:lnTo>
                    <a:pt x="620" y="118"/>
                  </a:lnTo>
                  <a:lnTo>
                    <a:pt x="617" y="117"/>
                  </a:lnTo>
                  <a:lnTo>
                    <a:pt x="616" y="119"/>
                  </a:lnTo>
                  <a:lnTo>
                    <a:pt x="615" y="119"/>
                  </a:lnTo>
                  <a:lnTo>
                    <a:pt x="614" y="120"/>
                  </a:lnTo>
                  <a:lnTo>
                    <a:pt x="614" y="122"/>
                  </a:lnTo>
                  <a:lnTo>
                    <a:pt x="612" y="123"/>
                  </a:lnTo>
                  <a:lnTo>
                    <a:pt x="610" y="123"/>
                  </a:lnTo>
                  <a:lnTo>
                    <a:pt x="609" y="124"/>
                  </a:lnTo>
                  <a:lnTo>
                    <a:pt x="609" y="125"/>
                  </a:lnTo>
                  <a:lnTo>
                    <a:pt x="610" y="125"/>
                  </a:lnTo>
                  <a:lnTo>
                    <a:pt x="610" y="126"/>
                  </a:lnTo>
                  <a:lnTo>
                    <a:pt x="611" y="128"/>
                  </a:lnTo>
                  <a:lnTo>
                    <a:pt x="608" y="126"/>
                  </a:lnTo>
                  <a:lnTo>
                    <a:pt x="610" y="128"/>
                  </a:lnTo>
                  <a:lnTo>
                    <a:pt x="610" y="129"/>
                  </a:lnTo>
                  <a:lnTo>
                    <a:pt x="611" y="129"/>
                  </a:lnTo>
                  <a:lnTo>
                    <a:pt x="612" y="131"/>
                  </a:lnTo>
                  <a:lnTo>
                    <a:pt x="614" y="132"/>
                  </a:lnTo>
                  <a:lnTo>
                    <a:pt x="615" y="131"/>
                  </a:lnTo>
                  <a:lnTo>
                    <a:pt x="616" y="131"/>
                  </a:lnTo>
                  <a:lnTo>
                    <a:pt x="617" y="134"/>
                  </a:lnTo>
                  <a:lnTo>
                    <a:pt x="620" y="134"/>
                  </a:lnTo>
                  <a:lnTo>
                    <a:pt x="622" y="132"/>
                  </a:lnTo>
                  <a:lnTo>
                    <a:pt x="623" y="134"/>
                  </a:lnTo>
                  <a:lnTo>
                    <a:pt x="625" y="134"/>
                  </a:lnTo>
                  <a:lnTo>
                    <a:pt x="625" y="136"/>
                  </a:lnTo>
                  <a:lnTo>
                    <a:pt x="625" y="137"/>
                  </a:lnTo>
                  <a:lnTo>
                    <a:pt x="623" y="137"/>
                  </a:lnTo>
                  <a:lnTo>
                    <a:pt x="622" y="138"/>
                  </a:lnTo>
                  <a:lnTo>
                    <a:pt x="622" y="140"/>
                  </a:lnTo>
                  <a:lnTo>
                    <a:pt x="621" y="140"/>
                  </a:lnTo>
                  <a:lnTo>
                    <a:pt x="620" y="140"/>
                  </a:lnTo>
                  <a:lnTo>
                    <a:pt x="620" y="141"/>
                  </a:lnTo>
                  <a:lnTo>
                    <a:pt x="617" y="141"/>
                  </a:lnTo>
                  <a:lnTo>
                    <a:pt x="616" y="140"/>
                  </a:lnTo>
                  <a:lnTo>
                    <a:pt x="616" y="138"/>
                  </a:lnTo>
                  <a:lnTo>
                    <a:pt x="615" y="137"/>
                  </a:lnTo>
                  <a:lnTo>
                    <a:pt x="616" y="137"/>
                  </a:lnTo>
                  <a:lnTo>
                    <a:pt x="615" y="136"/>
                  </a:lnTo>
                  <a:lnTo>
                    <a:pt x="615" y="135"/>
                  </a:lnTo>
                  <a:lnTo>
                    <a:pt x="614" y="134"/>
                  </a:lnTo>
                  <a:lnTo>
                    <a:pt x="612" y="132"/>
                  </a:lnTo>
                  <a:lnTo>
                    <a:pt x="611" y="131"/>
                  </a:lnTo>
                  <a:lnTo>
                    <a:pt x="610" y="130"/>
                  </a:lnTo>
                  <a:lnTo>
                    <a:pt x="609" y="129"/>
                  </a:lnTo>
                  <a:lnTo>
                    <a:pt x="608" y="132"/>
                  </a:lnTo>
                  <a:lnTo>
                    <a:pt x="611" y="132"/>
                  </a:lnTo>
                  <a:lnTo>
                    <a:pt x="611" y="134"/>
                  </a:lnTo>
                  <a:lnTo>
                    <a:pt x="611" y="135"/>
                  </a:lnTo>
                  <a:lnTo>
                    <a:pt x="610" y="135"/>
                  </a:lnTo>
                  <a:lnTo>
                    <a:pt x="610" y="136"/>
                  </a:lnTo>
                  <a:lnTo>
                    <a:pt x="609" y="136"/>
                  </a:lnTo>
                  <a:lnTo>
                    <a:pt x="608" y="137"/>
                  </a:lnTo>
                  <a:lnTo>
                    <a:pt x="608" y="138"/>
                  </a:lnTo>
                  <a:lnTo>
                    <a:pt x="606" y="140"/>
                  </a:lnTo>
                  <a:lnTo>
                    <a:pt x="608" y="141"/>
                  </a:lnTo>
                  <a:lnTo>
                    <a:pt x="609" y="141"/>
                  </a:lnTo>
                  <a:lnTo>
                    <a:pt x="610" y="141"/>
                  </a:lnTo>
                  <a:lnTo>
                    <a:pt x="611" y="141"/>
                  </a:lnTo>
                  <a:lnTo>
                    <a:pt x="612" y="141"/>
                  </a:lnTo>
                  <a:lnTo>
                    <a:pt x="614" y="140"/>
                  </a:lnTo>
                  <a:lnTo>
                    <a:pt x="615" y="141"/>
                  </a:lnTo>
                  <a:lnTo>
                    <a:pt x="615" y="142"/>
                  </a:lnTo>
                  <a:lnTo>
                    <a:pt x="616" y="144"/>
                  </a:lnTo>
                  <a:lnTo>
                    <a:pt x="616" y="146"/>
                  </a:lnTo>
                  <a:lnTo>
                    <a:pt x="616" y="147"/>
                  </a:lnTo>
                  <a:lnTo>
                    <a:pt x="617" y="148"/>
                  </a:lnTo>
                  <a:lnTo>
                    <a:pt x="619" y="148"/>
                  </a:lnTo>
                  <a:lnTo>
                    <a:pt x="620" y="148"/>
                  </a:lnTo>
                  <a:lnTo>
                    <a:pt x="621" y="148"/>
                  </a:lnTo>
                  <a:lnTo>
                    <a:pt x="621" y="146"/>
                  </a:lnTo>
                  <a:lnTo>
                    <a:pt x="622" y="146"/>
                  </a:lnTo>
                  <a:lnTo>
                    <a:pt x="623" y="144"/>
                  </a:lnTo>
                  <a:lnTo>
                    <a:pt x="625" y="144"/>
                  </a:lnTo>
                  <a:lnTo>
                    <a:pt x="626" y="144"/>
                  </a:lnTo>
                  <a:lnTo>
                    <a:pt x="627" y="146"/>
                  </a:lnTo>
                  <a:lnTo>
                    <a:pt x="627" y="148"/>
                  </a:lnTo>
                  <a:lnTo>
                    <a:pt x="627" y="149"/>
                  </a:lnTo>
                  <a:lnTo>
                    <a:pt x="628" y="149"/>
                  </a:lnTo>
                  <a:lnTo>
                    <a:pt x="629" y="149"/>
                  </a:lnTo>
                  <a:lnTo>
                    <a:pt x="631" y="149"/>
                  </a:lnTo>
                  <a:lnTo>
                    <a:pt x="631" y="148"/>
                  </a:lnTo>
                  <a:lnTo>
                    <a:pt x="632" y="148"/>
                  </a:lnTo>
                  <a:lnTo>
                    <a:pt x="632" y="149"/>
                  </a:lnTo>
                  <a:lnTo>
                    <a:pt x="633" y="149"/>
                  </a:lnTo>
                  <a:lnTo>
                    <a:pt x="633" y="152"/>
                  </a:lnTo>
                  <a:lnTo>
                    <a:pt x="635" y="153"/>
                  </a:lnTo>
                  <a:lnTo>
                    <a:pt x="637" y="153"/>
                  </a:lnTo>
                  <a:lnTo>
                    <a:pt x="638" y="153"/>
                  </a:lnTo>
                  <a:lnTo>
                    <a:pt x="639" y="153"/>
                  </a:lnTo>
                  <a:lnTo>
                    <a:pt x="640" y="153"/>
                  </a:lnTo>
                  <a:lnTo>
                    <a:pt x="640" y="154"/>
                  </a:lnTo>
                  <a:lnTo>
                    <a:pt x="641" y="153"/>
                  </a:lnTo>
                  <a:lnTo>
                    <a:pt x="644" y="153"/>
                  </a:lnTo>
                  <a:lnTo>
                    <a:pt x="645" y="153"/>
                  </a:lnTo>
                  <a:lnTo>
                    <a:pt x="645" y="154"/>
                  </a:lnTo>
                  <a:lnTo>
                    <a:pt x="646" y="155"/>
                  </a:lnTo>
                  <a:lnTo>
                    <a:pt x="649" y="155"/>
                  </a:lnTo>
                  <a:lnTo>
                    <a:pt x="649" y="154"/>
                  </a:lnTo>
                  <a:lnTo>
                    <a:pt x="651" y="154"/>
                  </a:lnTo>
                  <a:lnTo>
                    <a:pt x="651" y="155"/>
                  </a:lnTo>
                  <a:lnTo>
                    <a:pt x="651" y="156"/>
                  </a:lnTo>
                  <a:lnTo>
                    <a:pt x="652" y="156"/>
                  </a:lnTo>
                  <a:lnTo>
                    <a:pt x="652" y="158"/>
                  </a:lnTo>
                  <a:lnTo>
                    <a:pt x="652" y="159"/>
                  </a:lnTo>
                  <a:lnTo>
                    <a:pt x="652" y="165"/>
                  </a:lnTo>
                  <a:lnTo>
                    <a:pt x="652" y="169"/>
                  </a:lnTo>
                  <a:lnTo>
                    <a:pt x="653" y="170"/>
                  </a:lnTo>
                  <a:lnTo>
                    <a:pt x="656" y="170"/>
                  </a:lnTo>
                  <a:lnTo>
                    <a:pt x="656" y="169"/>
                  </a:lnTo>
                  <a:lnTo>
                    <a:pt x="657" y="169"/>
                  </a:lnTo>
                  <a:lnTo>
                    <a:pt x="657" y="167"/>
                  </a:lnTo>
                  <a:lnTo>
                    <a:pt x="657" y="166"/>
                  </a:lnTo>
                  <a:lnTo>
                    <a:pt x="656" y="166"/>
                  </a:lnTo>
                  <a:lnTo>
                    <a:pt x="657" y="165"/>
                  </a:lnTo>
                  <a:lnTo>
                    <a:pt x="657" y="164"/>
                  </a:lnTo>
                  <a:lnTo>
                    <a:pt x="658" y="164"/>
                  </a:lnTo>
                  <a:lnTo>
                    <a:pt x="658" y="161"/>
                  </a:lnTo>
                  <a:lnTo>
                    <a:pt x="659" y="160"/>
                  </a:lnTo>
                  <a:lnTo>
                    <a:pt x="661" y="159"/>
                  </a:lnTo>
                  <a:lnTo>
                    <a:pt x="663" y="159"/>
                  </a:lnTo>
                  <a:lnTo>
                    <a:pt x="663" y="160"/>
                  </a:lnTo>
                  <a:lnTo>
                    <a:pt x="663" y="161"/>
                  </a:lnTo>
                  <a:lnTo>
                    <a:pt x="664" y="162"/>
                  </a:lnTo>
                  <a:lnTo>
                    <a:pt x="665" y="164"/>
                  </a:lnTo>
                  <a:lnTo>
                    <a:pt x="667" y="165"/>
                  </a:lnTo>
                  <a:lnTo>
                    <a:pt x="668" y="164"/>
                  </a:lnTo>
                  <a:lnTo>
                    <a:pt x="669" y="162"/>
                  </a:lnTo>
                  <a:lnTo>
                    <a:pt x="670" y="160"/>
                  </a:lnTo>
                  <a:lnTo>
                    <a:pt x="669" y="159"/>
                  </a:lnTo>
                  <a:lnTo>
                    <a:pt x="669" y="158"/>
                  </a:lnTo>
                  <a:lnTo>
                    <a:pt x="670" y="156"/>
                  </a:lnTo>
                  <a:lnTo>
                    <a:pt x="673" y="156"/>
                  </a:lnTo>
                  <a:lnTo>
                    <a:pt x="673" y="158"/>
                  </a:lnTo>
                  <a:lnTo>
                    <a:pt x="674" y="158"/>
                  </a:lnTo>
                  <a:lnTo>
                    <a:pt x="675" y="158"/>
                  </a:lnTo>
                  <a:lnTo>
                    <a:pt x="676" y="158"/>
                  </a:lnTo>
                  <a:lnTo>
                    <a:pt x="678" y="158"/>
                  </a:lnTo>
                  <a:lnTo>
                    <a:pt x="678" y="156"/>
                  </a:lnTo>
                  <a:lnTo>
                    <a:pt x="679" y="155"/>
                  </a:lnTo>
                  <a:lnTo>
                    <a:pt x="679" y="154"/>
                  </a:lnTo>
                  <a:lnTo>
                    <a:pt x="680" y="154"/>
                  </a:lnTo>
                  <a:lnTo>
                    <a:pt x="681" y="155"/>
                  </a:lnTo>
                  <a:lnTo>
                    <a:pt x="682" y="155"/>
                  </a:lnTo>
                  <a:lnTo>
                    <a:pt x="684" y="155"/>
                  </a:lnTo>
                  <a:lnTo>
                    <a:pt x="684" y="158"/>
                  </a:lnTo>
                  <a:lnTo>
                    <a:pt x="682" y="158"/>
                  </a:lnTo>
                  <a:lnTo>
                    <a:pt x="682" y="160"/>
                  </a:lnTo>
                  <a:lnTo>
                    <a:pt x="682" y="161"/>
                  </a:lnTo>
                  <a:lnTo>
                    <a:pt x="681" y="161"/>
                  </a:lnTo>
                  <a:lnTo>
                    <a:pt x="681" y="162"/>
                  </a:lnTo>
                  <a:lnTo>
                    <a:pt x="681" y="165"/>
                  </a:lnTo>
                  <a:lnTo>
                    <a:pt x="681" y="166"/>
                  </a:lnTo>
                  <a:lnTo>
                    <a:pt x="681" y="167"/>
                  </a:lnTo>
                  <a:lnTo>
                    <a:pt x="680" y="169"/>
                  </a:lnTo>
                  <a:lnTo>
                    <a:pt x="679" y="170"/>
                  </a:lnTo>
                  <a:lnTo>
                    <a:pt x="678" y="170"/>
                  </a:lnTo>
                  <a:lnTo>
                    <a:pt x="678" y="171"/>
                  </a:lnTo>
                  <a:lnTo>
                    <a:pt x="676" y="171"/>
                  </a:lnTo>
                  <a:lnTo>
                    <a:pt x="675" y="172"/>
                  </a:lnTo>
                  <a:lnTo>
                    <a:pt x="675" y="176"/>
                  </a:lnTo>
                  <a:lnTo>
                    <a:pt x="675" y="177"/>
                  </a:lnTo>
                  <a:lnTo>
                    <a:pt x="676" y="178"/>
                  </a:lnTo>
                  <a:lnTo>
                    <a:pt x="676" y="179"/>
                  </a:lnTo>
                  <a:lnTo>
                    <a:pt x="676" y="181"/>
                  </a:lnTo>
                  <a:lnTo>
                    <a:pt x="678" y="181"/>
                  </a:lnTo>
                  <a:lnTo>
                    <a:pt x="679" y="181"/>
                  </a:lnTo>
                  <a:lnTo>
                    <a:pt x="680" y="179"/>
                  </a:lnTo>
                  <a:lnTo>
                    <a:pt x="680" y="178"/>
                  </a:lnTo>
                  <a:lnTo>
                    <a:pt x="680" y="177"/>
                  </a:lnTo>
                  <a:lnTo>
                    <a:pt x="681" y="176"/>
                  </a:lnTo>
                  <a:lnTo>
                    <a:pt x="681" y="175"/>
                  </a:lnTo>
                  <a:lnTo>
                    <a:pt x="682" y="173"/>
                  </a:lnTo>
                  <a:lnTo>
                    <a:pt x="685" y="173"/>
                  </a:lnTo>
                  <a:lnTo>
                    <a:pt x="685" y="175"/>
                  </a:lnTo>
                  <a:lnTo>
                    <a:pt x="686" y="175"/>
                  </a:lnTo>
                  <a:lnTo>
                    <a:pt x="686" y="176"/>
                  </a:lnTo>
                  <a:lnTo>
                    <a:pt x="686" y="177"/>
                  </a:lnTo>
                  <a:lnTo>
                    <a:pt x="686" y="178"/>
                  </a:lnTo>
                  <a:lnTo>
                    <a:pt x="686" y="179"/>
                  </a:lnTo>
                  <a:lnTo>
                    <a:pt x="686" y="181"/>
                  </a:lnTo>
                  <a:lnTo>
                    <a:pt x="686" y="183"/>
                  </a:lnTo>
                  <a:lnTo>
                    <a:pt x="685" y="184"/>
                  </a:lnTo>
                  <a:lnTo>
                    <a:pt x="684" y="185"/>
                  </a:lnTo>
                  <a:lnTo>
                    <a:pt x="684" y="188"/>
                  </a:lnTo>
                  <a:lnTo>
                    <a:pt x="682" y="188"/>
                  </a:lnTo>
                  <a:lnTo>
                    <a:pt x="682" y="190"/>
                  </a:lnTo>
                  <a:lnTo>
                    <a:pt x="682" y="191"/>
                  </a:lnTo>
                  <a:lnTo>
                    <a:pt x="681" y="191"/>
                  </a:lnTo>
                  <a:lnTo>
                    <a:pt x="679" y="193"/>
                  </a:lnTo>
                  <a:lnTo>
                    <a:pt x="678" y="191"/>
                  </a:lnTo>
                  <a:lnTo>
                    <a:pt x="676" y="191"/>
                  </a:lnTo>
                  <a:lnTo>
                    <a:pt x="675" y="193"/>
                  </a:lnTo>
                  <a:lnTo>
                    <a:pt x="676" y="194"/>
                  </a:lnTo>
                  <a:lnTo>
                    <a:pt x="678" y="194"/>
                  </a:lnTo>
                  <a:lnTo>
                    <a:pt x="678" y="195"/>
                  </a:lnTo>
                  <a:lnTo>
                    <a:pt x="678" y="196"/>
                  </a:lnTo>
                  <a:lnTo>
                    <a:pt x="679" y="196"/>
                  </a:lnTo>
                  <a:lnTo>
                    <a:pt x="681" y="196"/>
                  </a:lnTo>
                  <a:lnTo>
                    <a:pt x="681" y="195"/>
                  </a:lnTo>
                  <a:lnTo>
                    <a:pt x="684" y="195"/>
                  </a:lnTo>
                  <a:lnTo>
                    <a:pt x="684" y="196"/>
                  </a:lnTo>
                  <a:lnTo>
                    <a:pt x="686" y="196"/>
                  </a:lnTo>
                  <a:lnTo>
                    <a:pt x="688" y="196"/>
                  </a:lnTo>
                  <a:lnTo>
                    <a:pt x="688" y="199"/>
                  </a:lnTo>
                  <a:lnTo>
                    <a:pt x="687" y="200"/>
                  </a:lnTo>
                  <a:lnTo>
                    <a:pt x="688" y="201"/>
                  </a:lnTo>
                  <a:lnTo>
                    <a:pt x="690" y="201"/>
                  </a:lnTo>
                  <a:lnTo>
                    <a:pt x="691" y="199"/>
                  </a:lnTo>
                  <a:lnTo>
                    <a:pt x="692" y="199"/>
                  </a:lnTo>
                  <a:lnTo>
                    <a:pt x="693" y="197"/>
                  </a:lnTo>
                  <a:lnTo>
                    <a:pt x="694" y="199"/>
                  </a:lnTo>
                  <a:lnTo>
                    <a:pt x="696" y="199"/>
                  </a:lnTo>
                  <a:lnTo>
                    <a:pt x="697" y="199"/>
                  </a:lnTo>
                  <a:lnTo>
                    <a:pt x="698" y="197"/>
                  </a:lnTo>
                  <a:lnTo>
                    <a:pt x="699" y="197"/>
                  </a:lnTo>
                  <a:lnTo>
                    <a:pt x="700" y="199"/>
                  </a:lnTo>
                  <a:lnTo>
                    <a:pt x="700" y="200"/>
                  </a:lnTo>
                  <a:lnTo>
                    <a:pt x="700" y="201"/>
                  </a:lnTo>
                  <a:lnTo>
                    <a:pt x="698" y="203"/>
                  </a:lnTo>
                  <a:lnTo>
                    <a:pt x="699" y="203"/>
                  </a:lnTo>
                  <a:lnTo>
                    <a:pt x="700" y="202"/>
                  </a:lnTo>
                  <a:lnTo>
                    <a:pt x="702" y="203"/>
                  </a:lnTo>
                  <a:lnTo>
                    <a:pt x="702" y="207"/>
                  </a:lnTo>
                  <a:lnTo>
                    <a:pt x="703" y="207"/>
                  </a:lnTo>
                  <a:lnTo>
                    <a:pt x="704" y="207"/>
                  </a:lnTo>
                  <a:lnTo>
                    <a:pt x="704" y="206"/>
                  </a:lnTo>
                  <a:lnTo>
                    <a:pt x="706" y="207"/>
                  </a:lnTo>
                  <a:lnTo>
                    <a:pt x="710" y="206"/>
                  </a:lnTo>
                  <a:lnTo>
                    <a:pt x="711" y="206"/>
                  </a:lnTo>
                  <a:lnTo>
                    <a:pt x="711" y="207"/>
                  </a:lnTo>
                  <a:lnTo>
                    <a:pt x="711" y="208"/>
                  </a:lnTo>
                  <a:lnTo>
                    <a:pt x="710" y="208"/>
                  </a:lnTo>
                  <a:lnTo>
                    <a:pt x="710" y="209"/>
                  </a:lnTo>
                  <a:lnTo>
                    <a:pt x="710" y="211"/>
                  </a:lnTo>
                  <a:lnTo>
                    <a:pt x="709" y="211"/>
                  </a:lnTo>
                  <a:lnTo>
                    <a:pt x="709" y="212"/>
                  </a:lnTo>
                  <a:lnTo>
                    <a:pt x="709" y="215"/>
                  </a:lnTo>
                  <a:lnTo>
                    <a:pt x="710" y="217"/>
                  </a:lnTo>
                  <a:lnTo>
                    <a:pt x="711" y="217"/>
                  </a:lnTo>
                  <a:lnTo>
                    <a:pt x="711" y="215"/>
                  </a:lnTo>
                  <a:lnTo>
                    <a:pt x="712" y="215"/>
                  </a:lnTo>
                  <a:lnTo>
                    <a:pt x="714" y="214"/>
                  </a:lnTo>
                  <a:lnTo>
                    <a:pt x="715" y="213"/>
                  </a:lnTo>
                  <a:lnTo>
                    <a:pt x="718" y="212"/>
                  </a:lnTo>
                  <a:lnTo>
                    <a:pt x="720" y="212"/>
                  </a:lnTo>
                  <a:lnTo>
                    <a:pt x="721" y="212"/>
                  </a:lnTo>
                  <a:lnTo>
                    <a:pt x="722" y="212"/>
                  </a:lnTo>
                  <a:lnTo>
                    <a:pt x="723" y="212"/>
                  </a:lnTo>
                  <a:lnTo>
                    <a:pt x="724" y="212"/>
                  </a:lnTo>
                  <a:lnTo>
                    <a:pt x="726" y="212"/>
                  </a:lnTo>
                  <a:lnTo>
                    <a:pt x="726" y="213"/>
                  </a:lnTo>
                  <a:lnTo>
                    <a:pt x="726" y="214"/>
                  </a:lnTo>
                  <a:lnTo>
                    <a:pt x="726" y="215"/>
                  </a:lnTo>
                  <a:lnTo>
                    <a:pt x="724" y="215"/>
                  </a:lnTo>
                  <a:lnTo>
                    <a:pt x="726" y="215"/>
                  </a:lnTo>
                  <a:lnTo>
                    <a:pt x="726" y="217"/>
                  </a:lnTo>
                  <a:lnTo>
                    <a:pt x="727" y="215"/>
                  </a:lnTo>
                  <a:lnTo>
                    <a:pt x="728" y="215"/>
                  </a:lnTo>
                  <a:lnTo>
                    <a:pt x="729" y="214"/>
                  </a:lnTo>
                  <a:lnTo>
                    <a:pt x="729" y="215"/>
                  </a:lnTo>
                  <a:lnTo>
                    <a:pt x="730" y="215"/>
                  </a:lnTo>
                  <a:lnTo>
                    <a:pt x="732" y="215"/>
                  </a:lnTo>
                  <a:lnTo>
                    <a:pt x="732" y="217"/>
                  </a:lnTo>
                  <a:lnTo>
                    <a:pt x="734" y="217"/>
                  </a:lnTo>
                  <a:lnTo>
                    <a:pt x="735" y="217"/>
                  </a:lnTo>
                  <a:lnTo>
                    <a:pt x="736" y="217"/>
                  </a:lnTo>
                  <a:lnTo>
                    <a:pt x="738" y="217"/>
                  </a:lnTo>
                  <a:lnTo>
                    <a:pt x="738" y="215"/>
                  </a:lnTo>
                  <a:lnTo>
                    <a:pt x="739" y="214"/>
                  </a:lnTo>
                  <a:lnTo>
                    <a:pt x="740" y="215"/>
                  </a:lnTo>
                  <a:lnTo>
                    <a:pt x="740" y="217"/>
                  </a:lnTo>
                  <a:lnTo>
                    <a:pt x="741" y="217"/>
                  </a:lnTo>
                  <a:lnTo>
                    <a:pt x="740" y="218"/>
                  </a:lnTo>
                  <a:lnTo>
                    <a:pt x="740" y="219"/>
                  </a:lnTo>
                  <a:lnTo>
                    <a:pt x="739" y="219"/>
                  </a:lnTo>
                  <a:lnTo>
                    <a:pt x="739" y="220"/>
                  </a:lnTo>
                  <a:lnTo>
                    <a:pt x="739" y="221"/>
                  </a:lnTo>
                  <a:lnTo>
                    <a:pt x="739" y="223"/>
                  </a:lnTo>
                  <a:lnTo>
                    <a:pt x="739" y="225"/>
                  </a:lnTo>
                  <a:lnTo>
                    <a:pt x="738" y="225"/>
                  </a:lnTo>
                  <a:lnTo>
                    <a:pt x="736" y="225"/>
                  </a:lnTo>
                  <a:lnTo>
                    <a:pt x="735" y="225"/>
                  </a:lnTo>
                  <a:lnTo>
                    <a:pt x="734" y="226"/>
                  </a:lnTo>
                  <a:lnTo>
                    <a:pt x="733" y="229"/>
                  </a:lnTo>
                  <a:lnTo>
                    <a:pt x="733" y="230"/>
                  </a:lnTo>
                  <a:lnTo>
                    <a:pt x="734" y="231"/>
                  </a:lnTo>
                  <a:lnTo>
                    <a:pt x="735" y="230"/>
                  </a:lnTo>
                  <a:lnTo>
                    <a:pt x="736" y="230"/>
                  </a:lnTo>
                  <a:lnTo>
                    <a:pt x="736" y="229"/>
                  </a:lnTo>
                  <a:lnTo>
                    <a:pt x="741" y="230"/>
                  </a:lnTo>
                  <a:lnTo>
                    <a:pt x="741" y="229"/>
                  </a:lnTo>
                  <a:lnTo>
                    <a:pt x="743" y="229"/>
                  </a:lnTo>
                  <a:lnTo>
                    <a:pt x="743" y="225"/>
                  </a:lnTo>
                  <a:lnTo>
                    <a:pt x="744" y="225"/>
                  </a:lnTo>
                  <a:lnTo>
                    <a:pt x="745" y="224"/>
                  </a:lnTo>
                  <a:lnTo>
                    <a:pt x="745" y="223"/>
                  </a:lnTo>
                  <a:lnTo>
                    <a:pt x="746" y="223"/>
                  </a:lnTo>
                  <a:lnTo>
                    <a:pt x="746" y="224"/>
                  </a:lnTo>
                  <a:lnTo>
                    <a:pt x="747" y="224"/>
                  </a:lnTo>
                  <a:lnTo>
                    <a:pt x="747" y="223"/>
                  </a:lnTo>
                  <a:lnTo>
                    <a:pt x="749" y="223"/>
                  </a:lnTo>
                  <a:lnTo>
                    <a:pt x="750" y="223"/>
                  </a:lnTo>
                  <a:lnTo>
                    <a:pt x="750" y="220"/>
                  </a:lnTo>
                  <a:lnTo>
                    <a:pt x="751" y="220"/>
                  </a:lnTo>
                  <a:lnTo>
                    <a:pt x="752" y="220"/>
                  </a:lnTo>
                  <a:lnTo>
                    <a:pt x="753" y="220"/>
                  </a:lnTo>
                  <a:lnTo>
                    <a:pt x="753" y="221"/>
                  </a:lnTo>
                  <a:lnTo>
                    <a:pt x="752" y="223"/>
                  </a:lnTo>
                  <a:lnTo>
                    <a:pt x="752" y="227"/>
                  </a:lnTo>
                  <a:lnTo>
                    <a:pt x="753" y="227"/>
                  </a:lnTo>
                  <a:lnTo>
                    <a:pt x="755" y="227"/>
                  </a:lnTo>
                  <a:lnTo>
                    <a:pt x="756" y="227"/>
                  </a:lnTo>
                  <a:lnTo>
                    <a:pt x="757" y="227"/>
                  </a:lnTo>
                  <a:lnTo>
                    <a:pt x="758" y="225"/>
                  </a:lnTo>
                  <a:lnTo>
                    <a:pt x="759" y="225"/>
                  </a:lnTo>
                  <a:lnTo>
                    <a:pt x="759" y="226"/>
                  </a:lnTo>
                  <a:lnTo>
                    <a:pt x="761" y="229"/>
                  </a:lnTo>
                  <a:lnTo>
                    <a:pt x="759" y="230"/>
                  </a:lnTo>
                  <a:lnTo>
                    <a:pt x="758" y="230"/>
                  </a:lnTo>
                  <a:lnTo>
                    <a:pt x="758" y="231"/>
                  </a:lnTo>
                  <a:lnTo>
                    <a:pt x="757" y="231"/>
                  </a:lnTo>
                  <a:lnTo>
                    <a:pt x="757" y="232"/>
                  </a:lnTo>
                  <a:lnTo>
                    <a:pt x="757" y="233"/>
                  </a:lnTo>
                  <a:lnTo>
                    <a:pt x="756" y="236"/>
                  </a:lnTo>
                  <a:lnTo>
                    <a:pt x="753" y="236"/>
                  </a:lnTo>
                  <a:lnTo>
                    <a:pt x="751" y="236"/>
                  </a:lnTo>
                  <a:lnTo>
                    <a:pt x="753" y="237"/>
                  </a:lnTo>
                  <a:lnTo>
                    <a:pt x="752" y="237"/>
                  </a:lnTo>
                  <a:lnTo>
                    <a:pt x="750" y="236"/>
                  </a:lnTo>
                  <a:lnTo>
                    <a:pt x="749" y="237"/>
                  </a:lnTo>
                  <a:lnTo>
                    <a:pt x="750" y="237"/>
                  </a:lnTo>
                  <a:lnTo>
                    <a:pt x="751" y="238"/>
                  </a:lnTo>
                  <a:lnTo>
                    <a:pt x="751" y="239"/>
                  </a:lnTo>
                  <a:lnTo>
                    <a:pt x="749" y="239"/>
                  </a:lnTo>
                  <a:lnTo>
                    <a:pt x="747" y="241"/>
                  </a:lnTo>
                  <a:lnTo>
                    <a:pt x="746" y="241"/>
                  </a:lnTo>
                  <a:lnTo>
                    <a:pt x="745" y="241"/>
                  </a:lnTo>
                  <a:lnTo>
                    <a:pt x="745" y="242"/>
                  </a:lnTo>
                  <a:lnTo>
                    <a:pt x="744" y="242"/>
                  </a:lnTo>
                  <a:lnTo>
                    <a:pt x="743" y="242"/>
                  </a:lnTo>
                  <a:lnTo>
                    <a:pt x="741" y="243"/>
                  </a:lnTo>
                  <a:lnTo>
                    <a:pt x="740" y="242"/>
                  </a:lnTo>
                  <a:lnTo>
                    <a:pt x="739" y="242"/>
                  </a:lnTo>
                  <a:lnTo>
                    <a:pt x="738" y="241"/>
                  </a:lnTo>
                  <a:lnTo>
                    <a:pt x="735" y="242"/>
                  </a:lnTo>
                  <a:lnTo>
                    <a:pt x="736" y="243"/>
                  </a:lnTo>
                  <a:lnTo>
                    <a:pt x="736" y="245"/>
                  </a:lnTo>
                  <a:lnTo>
                    <a:pt x="735" y="245"/>
                  </a:lnTo>
                  <a:lnTo>
                    <a:pt x="735" y="247"/>
                  </a:lnTo>
                  <a:lnTo>
                    <a:pt x="734" y="247"/>
                  </a:lnTo>
                  <a:lnTo>
                    <a:pt x="733" y="248"/>
                  </a:lnTo>
                  <a:lnTo>
                    <a:pt x="730" y="249"/>
                  </a:lnTo>
                  <a:lnTo>
                    <a:pt x="729" y="249"/>
                  </a:lnTo>
                  <a:lnTo>
                    <a:pt x="729" y="250"/>
                  </a:lnTo>
                  <a:lnTo>
                    <a:pt x="728" y="251"/>
                  </a:lnTo>
                  <a:lnTo>
                    <a:pt x="727" y="253"/>
                  </a:lnTo>
                  <a:lnTo>
                    <a:pt x="726" y="253"/>
                  </a:lnTo>
                  <a:lnTo>
                    <a:pt x="726" y="254"/>
                  </a:lnTo>
                  <a:lnTo>
                    <a:pt x="724" y="255"/>
                  </a:lnTo>
                  <a:lnTo>
                    <a:pt x="723" y="255"/>
                  </a:lnTo>
                  <a:lnTo>
                    <a:pt x="723" y="256"/>
                  </a:lnTo>
                  <a:lnTo>
                    <a:pt x="722" y="256"/>
                  </a:lnTo>
                  <a:lnTo>
                    <a:pt x="721" y="257"/>
                  </a:lnTo>
                  <a:lnTo>
                    <a:pt x="720" y="257"/>
                  </a:lnTo>
                  <a:lnTo>
                    <a:pt x="721" y="257"/>
                  </a:lnTo>
                  <a:lnTo>
                    <a:pt x="726" y="257"/>
                  </a:lnTo>
                  <a:lnTo>
                    <a:pt x="727" y="256"/>
                  </a:lnTo>
                  <a:lnTo>
                    <a:pt x="728" y="256"/>
                  </a:lnTo>
                  <a:lnTo>
                    <a:pt x="729" y="257"/>
                  </a:lnTo>
                  <a:lnTo>
                    <a:pt x="730" y="259"/>
                  </a:lnTo>
                  <a:lnTo>
                    <a:pt x="732" y="259"/>
                  </a:lnTo>
                  <a:lnTo>
                    <a:pt x="733" y="260"/>
                  </a:lnTo>
                  <a:lnTo>
                    <a:pt x="734" y="261"/>
                  </a:lnTo>
                  <a:lnTo>
                    <a:pt x="735" y="262"/>
                  </a:lnTo>
                  <a:lnTo>
                    <a:pt x="735" y="261"/>
                  </a:lnTo>
                  <a:lnTo>
                    <a:pt x="736" y="261"/>
                  </a:lnTo>
                  <a:lnTo>
                    <a:pt x="738" y="261"/>
                  </a:lnTo>
                  <a:lnTo>
                    <a:pt x="739" y="260"/>
                  </a:lnTo>
                  <a:lnTo>
                    <a:pt x="739" y="261"/>
                  </a:lnTo>
                  <a:lnTo>
                    <a:pt x="740" y="261"/>
                  </a:lnTo>
                  <a:lnTo>
                    <a:pt x="740" y="262"/>
                  </a:lnTo>
                  <a:lnTo>
                    <a:pt x="739" y="263"/>
                  </a:lnTo>
                  <a:lnTo>
                    <a:pt x="740" y="265"/>
                  </a:lnTo>
                  <a:lnTo>
                    <a:pt x="740" y="262"/>
                  </a:lnTo>
                  <a:lnTo>
                    <a:pt x="743" y="262"/>
                  </a:lnTo>
                  <a:lnTo>
                    <a:pt x="744" y="261"/>
                  </a:lnTo>
                  <a:lnTo>
                    <a:pt x="745" y="260"/>
                  </a:lnTo>
                  <a:lnTo>
                    <a:pt x="745" y="259"/>
                  </a:lnTo>
                  <a:lnTo>
                    <a:pt x="749" y="259"/>
                  </a:lnTo>
                  <a:lnTo>
                    <a:pt x="749" y="257"/>
                  </a:lnTo>
                  <a:lnTo>
                    <a:pt x="751" y="257"/>
                  </a:lnTo>
                  <a:lnTo>
                    <a:pt x="752" y="259"/>
                  </a:lnTo>
                  <a:lnTo>
                    <a:pt x="751" y="261"/>
                  </a:lnTo>
                  <a:lnTo>
                    <a:pt x="751" y="263"/>
                  </a:lnTo>
                  <a:lnTo>
                    <a:pt x="752" y="265"/>
                  </a:lnTo>
                  <a:lnTo>
                    <a:pt x="753" y="265"/>
                  </a:lnTo>
                  <a:lnTo>
                    <a:pt x="755" y="265"/>
                  </a:lnTo>
                  <a:lnTo>
                    <a:pt x="756" y="265"/>
                  </a:lnTo>
                  <a:lnTo>
                    <a:pt x="758" y="265"/>
                  </a:lnTo>
                  <a:lnTo>
                    <a:pt x="759" y="265"/>
                  </a:lnTo>
                  <a:lnTo>
                    <a:pt x="761" y="265"/>
                  </a:lnTo>
                  <a:lnTo>
                    <a:pt x="761" y="263"/>
                  </a:lnTo>
                  <a:lnTo>
                    <a:pt x="762" y="263"/>
                  </a:lnTo>
                  <a:lnTo>
                    <a:pt x="763" y="263"/>
                  </a:lnTo>
                  <a:lnTo>
                    <a:pt x="764" y="263"/>
                  </a:lnTo>
                  <a:lnTo>
                    <a:pt x="765" y="265"/>
                  </a:lnTo>
                  <a:lnTo>
                    <a:pt x="767" y="265"/>
                  </a:lnTo>
                  <a:lnTo>
                    <a:pt x="768" y="265"/>
                  </a:lnTo>
                  <a:lnTo>
                    <a:pt x="768" y="266"/>
                  </a:lnTo>
                  <a:lnTo>
                    <a:pt x="769" y="266"/>
                  </a:lnTo>
                  <a:lnTo>
                    <a:pt x="769" y="265"/>
                  </a:lnTo>
                  <a:lnTo>
                    <a:pt x="770" y="263"/>
                  </a:lnTo>
                  <a:lnTo>
                    <a:pt x="773" y="262"/>
                  </a:lnTo>
                  <a:lnTo>
                    <a:pt x="771" y="263"/>
                  </a:lnTo>
                  <a:lnTo>
                    <a:pt x="771" y="265"/>
                  </a:lnTo>
                  <a:lnTo>
                    <a:pt x="773" y="265"/>
                  </a:lnTo>
                  <a:lnTo>
                    <a:pt x="773" y="266"/>
                  </a:lnTo>
                  <a:lnTo>
                    <a:pt x="774" y="266"/>
                  </a:lnTo>
                  <a:lnTo>
                    <a:pt x="775" y="267"/>
                  </a:lnTo>
                  <a:lnTo>
                    <a:pt x="775" y="266"/>
                  </a:lnTo>
                  <a:lnTo>
                    <a:pt x="776" y="265"/>
                  </a:lnTo>
                  <a:lnTo>
                    <a:pt x="776" y="263"/>
                  </a:lnTo>
                  <a:lnTo>
                    <a:pt x="776" y="262"/>
                  </a:lnTo>
                  <a:lnTo>
                    <a:pt x="777" y="262"/>
                  </a:lnTo>
                  <a:lnTo>
                    <a:pt x="779" y="262"/>
                  </a:lnTo>
                  <a:lnTo>
                    <a:pt x="779" y="265"/>
                  </a:lnTo>
                  <a:lnTo>
                    <a:pt x="780" y="265"/>
                  </a:lnTo>
                  <a:lnTo>
                    <a:pt x="780" y="263"/>
                  </a:lnTo>
                  <a:lnTo>
                    <a:pt x="781" y="263"/>
                  </a:lnTo>
                  <a:lnTo>
                    <a:pt x="780" y="265"/>
                  </a:lnTo>
                  <a:lnTo>
                    <a:pt x="779" y="266"/>
                  </a:lnTo>
                  <a:lnTo>
                    <a:pt x="779" y="267"/>
                  </a:lnTo>
                  <a:lnTo>
                    <a:pt x="777" y="268"/>
                  </a:lnTo>
                  <a:lnTo>
                    <a:pt x="777" y="269"/>
                  </a:lnTo>
                  <a:lnTo>
                    <a:pt x="779" y="271"/>
                  </a:lnTo>
                  <a:lnTo>
                    <a:pt x="780" y="272"/>
                  </a:lnTo>
                  <a:lnTo>
                    <a:pt x="780" y="273"/>
                  </a:lnTo>
                  <a:lnTo>
                    <a:pt x="781" y="273"/>
                  </a:lnTo>
                  <a:lnTo>
                    <a:pt x="781" y="274"/>
                  </a:lnTo>
                  <a:lnTo>
                    <a:pt x="782" y="275"/>
                  </a:lnTo>
                  <a:lnTo>
                    <a:pt x="785" y="275"/>
                  </a:lnTo>
                  <a:lnTo>
                    <a:pt x="783" y="277"/>
                  </a:lnTo>
                  <a:lnTo>
                    <a:pt x="783" y="278"/>
                  </a:lnTo>
                  <a:lnTo>
                    <a:pt x="777" y="279"/>
                  </a:lnTo>
                  <a:lnTo>
                    <a:pt x="777" y="283"/>
                  </a:lnTo>
                  <a:lnTo>
                    <a:pt x="776" y="283"/>
                  </a:lnTo>
                  <a:lnTo>
                    <a:pt x="775" y="284"/>
                  </a:lnTo>
                  <a:lnTo>
                    <a:pt x="775" y="286"/>
                  </a:lnTo>
                  <a:lnTo>
                    <a:pt x="777" y="286"/>
                  </a:lnTo>
                  <a:lnTo>
                    <a:pt x="777" y="288"/>
                  </a:lnTo>
                  <a:lnTo>
                    <a:pt x="777" y="289"/>
                  </a:lnTo>
                  <a:lnTo>
                    <a:pt x="776" y="290"/>
                  </a:lnTo>
                  <a:lnTo>
                    <a:pt x="776" y="291"/>
                  </a:lnTo>
                  <a:lnTo>
                    <a:pt x="779" y="291"/>
                  </a:lnTo>
                  <a:lnTo>
                    <a:pt x="781" y="290"/>
                  </a:lnTo>
                  <a:lnTo>
                    <a:pt x="785" y="290"/>
                  </a:lnTo>
                  <a:lnTo>
                    <a:pt x="787" y="289"/>
                  </a:lnTo>
                  <a:lnTo>
                    <a:pt x="787" y="288"/>
                  </a:lnTo>
                  <a:lnTo>
                    <a:pt x="787" y="286"/>
                  </a:lnTo>
                  <a:lnTo>
                    <a:pt x="788" y="286"/>
                  </a:lnTo>
                  <a:lnTo>
                    <a:pt x="788" y="284"/>
                  </a:lnTo>
                  <a:lnTo>
                    <a:pt x="789" y="283"/>
                  </a:lnTo>
                  <a:lnTo>
                    <a:pt x="791" y="282"/>
                  </a:lnTo>
                  <a:lnTo>
                    <a:pt x="793" y="282"/>
                  </a:lnTo>
                  <a:lnTo>
                    <a:pt x="794" y="282"/>
                  </a:lnTo>
                  <a:lnTo>
                    <a:pt x="794" y="280"/>
                  </a:lnTo>
                  <a:lnTo>
                    <a:pt x="795" y="280"/>
                  </a:lnTo>
                  <a:lnTo>
                    <a:pt x="797" y="280"/>
                  </a:lnTo>
                  <a:lnTo>
                    <a:pt x="799" y="279"/>
                  </a:lnTo>
                  <a:lnTo>
                    <a:pt x="802" y="279"/>
                  </a:lnTo>
                  <a:lnTo>
                    <a:pt x="802" y="280"/>
                  </a:lnTo>
                  <a:lnTo>
                    <a:pt x="803" y="282"/>
                  </a:lnTo>
                  <a:lnTo>
                    <a:pt x="802" y="283"/>
                  </a:lnTo>
                  <a:lnTo>
                    <a:pt x="802" y="284"/>
                  </a:lnTo>
                  <a:lnTo>
                    <a:pt x="802" y="286"/>
                  </a:lnTo>
                  <a:lnTo>
                    <a:pt x="800" y="289"/>
                  </a:lnTo>
                  <a:lnTo>
                    <a:pt x="798" y="290"/>
                  </a:lnTo>
                  <a:lnTo>
                    <a:pt x="795" y="291"/>
                  </a:lnTo>
                  <a:lnTo>
                    <a:pt x="793" y="292"/>
                  </a:lnTo>
                  <a:lnTo>
                    <a:pt x="792" y="292"/>
                  </a:lnTo>
                  <a:lnTo>
                    <a:pt x="791" y="292"/>
                  </a:lnTo>
                  <a:lnTo>
                    <a:pt x="789" y="295"/>
                  </a:lnTo>
                  <a:lnTo>
                    <a:pt x="791" y="297"/>
                  </a:lnTo>
                  <a:lnTo>
                    <a:pt x="789" y="297"/>
                  </a:lnTo>
                  <a:lnTo>
                    <a:pt x="788" y="298"/>
                  </a:lnTo>
                  <a:lnTo>
                    <a:pt x="786" y="300"/>
                  </a:lnTo>
                  <a:lnTo>
                    <a:pt x="783" y="302"/>
                  </a:lnTo>
                  <a:lnTo>
                    <a:pt x="782" y="304"/>
                  </a:lnTo>
                  <a:lnTo>
                    <a:pt x="781" y="306"/>
                  </a:lnTo>
                  <a:lnTo>
                    <a:pt x="780" y="306"/>
                  </a:lnTo>
                  <a:lnTo>
                    <a:pt x="780" y="308"/>
                  </a:lnTo>
                  <a:lnTo>
                    <a:pt x="779" y="308"/>
                  </a:lnTo>
                  <a:lnTo>
                    <a:pt x="776" y="308"/>
                  </a:lnTo>
                  <a:lnTo>
                    <a:pt x="775" y="307"/>
                  </a:lnTo>
                  <a:lnTo>
                    <a:pt x="774" y="307"/>
                  </a:lnTo>
                  <a:lnTo>
                    <a:pt x="773" y="306"/>
                  </a:lnTo>
                  <a:lnTo>
                    <a:pt x="770" y="307"/>
                  </a:lnTo>
                  <a:lnTo>
                    <a:pt x="768" y="308"/>
                  </a:lnTo>
                  <a:lnTo>
                    <a:pt x="767" y="309"/>
                  </a:lnTo>
                  <a:lnTo>
                    <a:pt x="764" y="309"/>
                  </a:lnTo>
                  <a:lnTo>
                    <a:pt x="767" y="310"/>
                  </a:lnTo>
                  <a:lnTo>
                    <a:pt x="770" y="312"/>
                  </a:lnTo>
                  <a:lnTo>
                    <a:pt x="770" y="315"/>
                  </a:lnTo>
                  <a:lnTo>
                    <a:pt x="770" y="316"/>
                  </a:lnTo>
                  <a:lnTo>
                    <a:pt x="771" y="315"/>
                  </a:lnTo>
                  <a:lnTo>
                    <a:pt x="773" y="315"/>
                  </a:lnTo>
                  <a:lnTo>
                    <a:pt x="774" y="318"/>
                  </a:lnTo>
                  <a:lnTo>
                    <a:pt x="774" y="319"/>
                  </a:lnTo>
                  <a:lnTo>
                    <a:pt x="775" y="321"/>
                  </a:lnTo>
                  <a:lnTo>
                    <a:pt x="776" y="321"/>
                  </a:lnTo>
                  <a:lnTo>
                    <a:pt x="780" y="320"/>
                  </a:lnTo>
                  <a:lnTo>
                    <a:pt x="782" y="320"/>
                  </a:lnTo>
                  <a:lnTo>
                    <a:pt x="786" y="320"/>
                  </a:lnTo>
                  <a:lnTo>
                    <a:pt x="788" y="320"/>
                  </a:lnTo>
                  <a:lnTo>
                    <a:pt x="788" y="321"/>
                  </a:lnTo>
                  <a:lnTo>
                    <a:pt x="788" y="324"/>
                  </a:lnTo>
                  <a:lnTo>
                    <a:pt x="786" y="325"/>
                  </a:lnTo>
                  <a:lnTo>
                    <a:pt x="786" y="327"/>
                  </a:lnTo>
                  <a:lnTo>
                    <a:pt x="787" y="326"/>
                  </a:lnTo>
                  <a:lnTo>
                    <a:pt x="788" y="326"/>
                  </a:lnTo>
                  <a:lnTo>
                    <a:pt x="788" y="327"/>
                  </a:lnTo>
                  <a:lnTo>
                    <a:pt x="789" y="327"/>
                  </a:lnTo>
                  <a:lnTo>
                    <a:pt x="789" y="328"/>
                  </a:lnTo>
                  <a:lnTo>
                    <a:pt x="787" y="332"/>
                  </a:lnTo>
                  <a:lnTo>
                    <a:pt x="785" y="334"/>
                  </a:lnTo>
                  <a:lnTo>
                    <a:pt x="783" y="336"/>
                  </a:lnTo>
                  <a:lnTo>
                    <a:pt x="782" y="337"/>
                  </a:lnTo>
                  <a:lnTo>
                    <a:pt x="786" y="339"/>
                  </a:lnTo>
                  <a:lnTo>
                    <a:pt x="786" y="340"/>
                  </a:lnTo>
                  <a:lnTo>
                    <a:pt x="786" y="342"/>
                  </a:lnTo>
                  <a:lnTo>
                    <a:pt x="785" y="342"/>
                  </a:lnTo>
                  <a:lnTo>
                    <a:pt x="785" y="343"/>
                  </a:lnTo>
                  <a:lnTo>
                    <a:pt x="786" y="344"/>
                  </a:lnTo>
                  <a:lnTo>
                    <a:pt x="786" y="345"/>
                  </a:lnTo>
                  <a:lnTo>
                    <a:pt x="787" y="348"/>
                  </a:lnTo>
                  <a:lnTo>
                    <a:pt x="786" y="348"/>
                  </a:lnTo>
                  <a:lnTo>
                    <a:pt x="785" y="349"/>
                  </a:lnTo>
                  <a:lnTo>
                    <a:pt x="785" y="350"/>
                  </a:lnTo>
                  <a:lnTo>
                    <a:pt x="787" y="349"/>
                  </a:lnTo>
                  <a:lnTo>
                    <a:pt x="788" y="349"/>
                  </a:lnTo>
                  <a:lnTo>
                    <a:pt x="789" y="349"/>
                  </a:lnTo>
                  <a:lnTo>
                    <a:pt x="789" y="351"/>
                  </a:lnTo>
                  <a:lnTo>
                    <a:pt x="791" y="355"/>
                  </a:lnTo>
                  <a:lnTo>
                    <a:pt x="795" y="355"/>
                  </a:lnTo>
                  <a:lnTo>
                    <a:pt x="797" y="355"/>
                  </a:lnTo>
                  <a:lnTo>
                    <a:pt x="798" y="354"/>
                  </a:lnTo>
                  <a:lnTo>
                    <a:pt x="800" y="354"/>
                  </a:lnTo>
                  <a:lnTo>
                    <a:pt x="803" y="354"/>
                  </a:lnTo>
                  <a:lnTo>
                    <a:pt x="805" y="352"/>
                  </a:lnTo>
                  <a:lnTo>
                    <a:pt x="805" y="355"/>
                  </a:lnTo>
                  <a:lnTo>
                    <a:pt x="808" y="355"/>
                  </a:lnTo>
                  <a:lnTo>
                    <a:pt x="811" y="356"/>
                  </a:lnTo>
                  <a:lnTo>
                    <a:pt x="812" y="357"/>
                  </a:lnTo>
                  <a:lnTo>
                    <a:pt x="816" y="357"/>
                  </a:lnTo>
                  <a:lnTo>
                    <a:pt x="818" y="357"/>
                  </a:lnTo>
                  <a:lnTo>
                    <a:pt x="820" y="358"/>
                  </a:lnTo>
                  <a:lnTo>
                    <a:pt x="823" y="357"/>
                  </a:lnTo>
                  <a:lnTo>
                    <a:pt x="826" y="356"/>
                  </a:lnTo>
                  <a:lnTo>
                    <a:pt x="826" y="358"/>
                  </a:lnTo>
                  <a:lnTo>
                    <a:pt x="823" y="361"/>
                  </a:lnTo>
                  <a:lnTo>
                    <a:pt x="822" y="364"/>
                  </a:lnTo>
                  <a:lnTo>
                    <a:pt x="821" y="368"/>
                  </a:lnTo>
                  <a:lnTo>
                    <a:pt x="824" y="368"/>
                  </a:lnTo>
                  <a:lnTo>
                    <a:pt x="828" y="368"/>
                  </a:lnTo>
                  <a:lnTo>
                    <a:pt x="828" y="367"/>
                  </a:lnTo>
                  <a:lnTo>
                    <a:pt x="833" y="368"/>
                  </a:lnTo>
                  <a:lnTo>
                    <a:pt x="833" y="370"/>
                  </a:lnTo>
                  <a:lnTo>
                    <a:pt x="834" y="369"/>
                  </a:lnTo>
                  <a:lnTo>
                    <a:pt x="836" y="369"/>
                  </a:lnTo>
                  <a:lnTo>
                    <a:pt x="838" y="369"/>
                  </a:lnTo>
                  <a:lnTo>
                    <a:pt x="839" y="369"/>
                  </a:lnTo>
                  <a:lnTo>
                    <a:pt x="840" y="368"/>
                  </a:lnTo>
                  <a:lnTo>
                    <a:pt x="842" y="368"/>
                  </a:lnTo>
                  <a:lnTo>
                    <a:pt x="844" y="368"/>
                  </a:lnTo>
                  <a:lnTo>
                    <a:pt x="845" y="369"/>
                  </a:lnTo>
                  <a:lnTo>
                    <a:pt x="845" y="372"/>
                  </a:lnTo>
                  <a:lnTo>
                    <a:pt x="844" y="373"/>
                  </a:lnTo>
                  <a:lnTo>
                    <a:pt x="842" y="374"/>
                  </a:lnTo>
                  <a:lnTo>
                    <a:pt x="841" y="374"/>
                  </a:lnTo>
                  <a:lnTo>
                    <a:pt x="840" y="375"/>
                  </a:lnTo>
                  <a:lnTo>
                    <a:pt x="840" y="376"/>
                  </a:lnTo>
                  <a:lnTo>
                    <a:pt x="839" y="378"/>
                  </a:lnTo>
                  <a:lnTo>
                    <a:pt x="836" y="379"/>
                  </a:lnTo>
                  <a:lnTo>
                    <a:pt x="836" y="380"/>
                  </a:lnTo>
                  <a:lnTo>
                    <a:pt x="835" y="380"/>
                  </a:lnTo>
                  <a:lnTo>
                    <a:pt x="834" y="380"/>
                  </a:lnTo>
                  <a:lnTo>
                    <a:pt x="833" y="381"/>
                  </a:lnTo>
                  <a:lnTo>
                    <a:pt x="832" y="381"/>
                  </a:lnTo>
                  <a:lnTo>
                    <a:pt x="829" y="384"/>
                  </a:lnTo>
                  <a:lnTo>
                    <a:pt x="827" y="386"/>
                  </a:lnTo>
                  <a:lnTo>
                    <a:pt x="823" y="389"/>
                  </a:lnTo>
                  <a:lnTo>
                    <a:pt x="822" y="389"/>
                  </a:lnTo>
                  <a:lnTo>
                    <a:pt x="821" y="389"/>
                  </a:lnTo>
                  <a:lnTo>
                    <a:pt x="818" y="387"/>
                  </a:lnTo>
                  <a:lnTo>
                    <a:pt x="816" y="389"/>
                  </a:lnTo>
                  <a:lnTo>
                    <a:pt x="815" y="389"/>
                  </a:lnTo>
                  <a:lnTo>
                    <a:pt x="814" y="389"/>
                  </a:lnTo>
                  <a:lnTo>
                    <a:pt x="810" y="389"/>
                  </a:lnTo>
                  <a:lnTo>
                    <a:pt x="808" y="389"/>
                  </a:lnTo>
                  <a:lnTo>
                    <a:pt x="805" y="389"/>
                  </a:lnTo>
                  <a:lnTo>
                    <a:pt x="805" y="387"/>
                  </a:lnTo>
                  <a:lnTo>
                    <a:pt x="804" y="385"/>
                  </a:lnTo>
                  <a:lnTo>
                    <a:pt x="803" y="385"/>
                  </a:lnTo>
                  <a:lnTo>
                    <a:pt x="802" y="384"/>
                  </a:lnTo>
                  <a:lnTo>
                    <a:pt x="800" y="384"/>
                  </a:lnTo>
                  <a:lnTo>
                    <a:pt x="799" y="382"/>
                  </a:lnTo>
                  <a:lnTo>
                    <a:pt x="798" y="381"/>
                  </a:lnTo>
                  <a:lnTo>
                    <a:pt x="797" y="378"/>
                  </a:lnTo>
                  <a:lnTo>
                    <a:pt x="797" y="376"/>
                  </a:lnTo>
                  <a:lnTo>
                    <a:pt x="794" y="376"/>
                  </a:lnTo>
                  <a:lnTo>
                    <a:pt x="793" y="376"/>
                  </a:lnTo>
                  <a:lnTo>
                    <a:pt x="792" y="378"/>
                  </a:lnTo>
                  <a:lnTo>
                    <a:pt x="792" y="379"/>
                  </a:lnTo>
                  <a:lnTo>
                    <a:pt x="794" y="380"/>
                  </a:lnTo>
                  <a:lnTo>
                    <a:pt x="795" y="381"/>
                  </a:lnTo>
                  <a:lnTo>
                    <a:pt x="798" y="384"/>
                  </a:lnTo>
                  <a:lnTo>
                    <a:pt x="798" y="386"/>
                  </a:lnTo>
                  <a:lnTo>
                    <a:pt x="797" y="386"/>
                  </a:lnTo>
                  <a:lnTo>
                    <a:pt x="797" y="387"/>
                  </a:lnTo>
                  <a:lnTo>
                    <a:pt x="794" y="390"/>
                  </a:lnTo>
                  <a:lnTo>
                    <a:pt x="792" y="392"/>
                  </a:lnTo>
                  <a:lnTo>
                    <a:pt x="792" y="391"/>
                  </a:lnTo>
                  <a:lnTo>
                    <a:pt x="791" y="391"/>
                  </a:lnTo>
                  <a:lnTo>
                    <a:pt x="788" y="391"/>
                  </a:lnTo>
                  <a:lnTo>
                    <a:pt x="788" y="390"/>
                  </a:lnTo>
                  <a:lnTo>
                    <a:pt x="787" y="390"/>
                  </a:lnTo>
                  <a:lnTo>
                    <a:pt x="787" y="387"/>
                  </a:lnTo>
                  <a:lnTo>
                    <a:pt x="785" y="387"/>
                  </a:lnTo>
                  <a:lnTo>
                    <a:pt x="786" y="386"/>
                  </a:lnTo>
                  <a:lnTo>
                    <a:pt x="785" y="384"/>
                  </a:lnTo>
                  <a:lnTo>
                    <a:pt x="783" y="384"/>
                  </a:lnTo>
                  <a:lnTo>
                    <a:pt x="782" y="384"/>
                  </a:lnTo>
                  <a:lnTo>
                    <a:pt x="782" y="382"/>
                  </a:lnTo>
                  <a:lnTo>
                    <a:pt x="781" y="382"/>
                  </a:lnTo>
                  <a:lnTo>
                    <a:pt x="781" y="381"/>
                  </a:lnTo>
                  <a:lnTo>
                    <a:pt x="779" y="381"/>
                  </a:lnTo>
                  <a:lnTo>
                    <a:pt x="777" y="382"/>
                  </a:lnTo>
                  <a:lnTo>
                    <a:pt x="776" y="381"/>
                  </a:lnTo>
                  <a:lnTo>
                    <a:pt x="774" y="380"/>
                  </a:lnTo>
                  <a:lnTo>
                    <a:pt x="774" y="379"/>
                  </a:lnTo>
                  <a:lnTo>
                    <a:pt x="773" y="379"/>
                  </a:lnTo>
                  <a:lnTo>
                    <a:pt x="770" y="378"/>
                  </a:lnTo>
                  <a:lnTo>
                    <a:pt x="767" y="376"/>
                  </a:lnTo>
                  <a:lnTo>
                    <a:pt x="765" y="376"/>
                  </a:lnTo>
                  <a:lnTo>
                    <a:pt x="765" y="378"/>
                  </a:lnTo>
                  <a:lnTo>
                    <a:pt x="763" y="380"/>
                  </a:lnTo>
                  <a:lnTo>
                    <a:pt x="762" y="379"/>
                  </a:lnTo>
                  <a:lnTo>
                    <a:pt x="761" y="379"/>
                  </a:lnTo>
                  <a:lnTo>
                    <a:pt x="759" y="380"/>
                  </a:lnTo>
                  <a:lnTo>
                    <a:pt x="758" y="381"/>
                  </a:lnTo>
                  <a:lnTo>
                    <a:pt x="757" y="382"/>
                  </a:lnTo>
                  <a:lnTo>
                    <a:pt x="756" y="382"/>
                  </a:lnTo>
                  <a:lnTo>
                    <a:pt x="755" y="382"/>
                  </a:lnTo>
                  <a:lnTo>
                    <a:pt x="753" y="381"/>
                  </a:lnTo>
                  <a:lnTo>
                    <a:pt x="752" y="378"/>
                  </a:lnTo>
                  <a:lnTo>
                    <a:pt x="750" y="380"/>
                  </a:lnTo>
                  <a:lnTo>
                    <a:pt x="749" y="381"/>
                  </a:lnTo>
                  <a:lnTo>
                    <a:pt x="746" y="382"/>
                  </a:lnTo>
                  <a:lnTo>
                    <a:pt x="744" y="384"/>
                  </a:lnTo>
                  <a:lnTo>
                    <a:pt x="741" y="385"/>
                  </a:lnTo>
                  <a:lnTo>
                    <a:pt x="740" y="386"/>
                  </a:lnTo>
                  <a:lnTo>
                    <a:pt x="739" y="386"/>
                  </a:lnTo>
                  <a:lnTo>
                    <a:pt x="736" y="386"/>
                  </a:lnTo>
                  <a:lnTo>
                    <a:pt x="736" y="385"/>
                  </a:lnTo>
                  <a:lnTo>
                    <a:pt x="735" y="384"/>
                  </a:lnTo>
                  <a:lnTo>
                    <a:pt x="735" y="381"/>
                  </a:lnTo>
                  <a:lnTo>
                    <a:pt x="735" y="379"/>
                  </a:lnTo>
                  <a:lnTo>
                    <a:pt x="734" y="378"/>
                  </a:lnTo>
                  <a:lnTo>
                    <a:pt x="732" y="378"/>
                  </a:lnTo>
                  <a:lnTo>
                    <a:pt x="729" y="379"/>
                  </a:lnTo>
                  <a:lnTo>
                    <a:pt x="728" y="379"/>
                  </a:lnTo>
                  <a:lnTo>
                    <a:pt x="726" y="379"/>
                  </a:lnTo>
                  <a:lnTo>
                    <a:pt x="724" y="380"/>
                  </a:lnTo>
                  <a:lnTo>
                    <a:pt x="724" y="381"/>
                  </a:lnTo>
                  <a:lnTo>
                    <a:pt x="724" y="382"/>
                  </a:lnTo>
                  <a:lnTo>
                    <a:pt x="724" y="384"/>
                  </a:lnTo>
                  <a:lnTo>
                    <a:pt x="724" y="385"/>
                  </a:lnTo>
                  <a:lnTo>
                    <a:pt x="723" y="386"/>
                  </a:lnTo>
                  <a:lnTo>
                    <a:pt x="724" y="386"/>
                  </a:lnTo>
                  <a:lnTo>
                    <a:pt x="726" y="386"/>
                  </a:lnTo>
                  <a:lnTo>
                    <a:pt x="726" y="385"/>
                  </a:lnTo>
                  <a:lnTo>
                    <a:pt x="728" y="384"/>
                  </a:lnTo>
                  <a:lnTo>
                    <a:pt x="728" y="385"/>
                  </a:lnTo>
                  <a:lnTo>
                    <a:pt x="728" y="387"/>
                  </a:lnTo>
                  <a:lnTo>
                    <a:pt x="728" y="390"/>
                  </a:lnTo>
                  <a:lnTo>
                    <a:pt x="729" y="386"/>
                  </a:lnTo>
                  <a:lnTo>
                    <a:pt x="729" y="390"/>
                  </a:lnTo>
                  <a:lnTo>
                    <a:pt x="729" y="393"/>
                  </a:lnTo>
                  <a:lnTo>
                    <a:pt x="730" y="395"/>
                  </a:lnTo>
                  <a:lnTo>
                    <a:pt x="730" y="396"/>
                  </a:lnTo>
                  <a:lnTo>
                    <a:pt x="732" y="396"/>
                  </a:lnTo>
                  <a:lnTo>
                    <a:pt x="733" y="395"/>
                  </a:lnTo>
                  <a:lnTo>
                    <a:pt x="734" y="397"/>
                  </a:lnTo>
                  <a:lnTo>
                    <a:pt x="730" y="397"/>
                  </a:lnTo>
                  <a:lnTo>
                    <a:pt x="730" y="401"/>
                  </a:lnTo>
                  <a:lnTo>
                    <a:pt x="732" y="399"/>
                  </a:lnTo>
                  <a:lnTo>
                    <a:pt x="733" y="401"/>
                  </a:lnTo>
                  <a:lnTo>
                    <a:pt x="734" y="401"/>
                  </a:lnTo>
                  <a:lnTo>
                    <a:pt x="734" y="399"/>
                  </a:lnTo>
                  <a:lnTo>
                    <a:pt x="738" y="399"/>
                  </a:lnTo>
                  <a:lnTo>
                    <a:pt x="738" y="401"/>
                  </a:lnTo>
                  <a:lnTo>
                    <a:pt x="740" y="401"/>
                  </a:lnTo>
                  <a:lnTo>
                    <a:pt x="741" y="401"/>
                  </a:lnTo>
                  <a:lnTo>
                    <a:pt x="741" y="402"/>
                  </a:lnTo>
                  <a:lnTo>
                    <a:pt x="743" y="402"/>
                  </a:lnTo>
                  <a:lnTo>
                    <a:pt x="744" y="403"/>
                  </a:lnTo>
                  <a:lnTo>
                    <a:pt x="745" y="404"/>
                  </a:lnTo>
                  <a:lnTo>
                    <a:pt x="746" y="407"/>
                  </a:lnTo>
                  <a:lnTo>
                    <a:pt x="746" y="408"/>
                  </a:lnTo>
                  <a:lnTo>
                    <a:pt x="747" y="409"/>
                  </a:lnTo>
                  <a:lnTo>
                    <a:pt x="747" y="410"/>
                  </a:lnTo>
                  <a:lnTo>
                    <a:pt x="749" y="410"/>
                  </a:lnTo>
                  <a:lnTo>
                    <a:pt x="750" y="413"/>
                  </a:lnTo>
                  <a:lnTo>
                    <a:pt x="753" y="414"/>
                  </a:lnTo>
                  <a:lnTo>
                    <a:pt x="756" y="417"/>
                  </a:lnTo>
                  <a:lnTo>
                    <a:pt x="758" y="419"/>
                  </a:lnTo>
                  <a:lnTo>
                    <a:pt x="759" y="420"/>
                  </a:lnTo>
                  <a:lnTo>
                    <a:pt x="761" y="421"/>
                  </a:lnTo>
                  <a:lnTo>
                    <a:pt x="762" y="422"/>
                  </a:lnTo>
                  <a:lnTo>
                    <a:pt x="763" y="423"/>
                  </a:lnTo>
                  <a:lnTo>
                    <a:pt x="764" y="422"/>
                  </a:lnTo>
                  <a:lnTo>
                    <a:pt x="768" y="422"/>
                  </a:lnTo>
                  <a:lnTo>
                    <a:pt x="769" y="422"/>
                  </a:lnTo>
                  <a:lnTo>
                    <a:pt x="769" y="423"/>
                  </a:lnTo>
                  <a:lnTo>
                    <a:pt x="770" y="423"/>
                  </a:lnTo>
                  <a:lnTo>
                    <a:pt x="771" y="425"/>
                  </a:lnTo>
                  <a:lnTo>
                    <a:pt x="773" y="425"/>
                  </a:lnTo>
                  <a:lnTo>
                    <a:pt x="773" y="426"/>
                  </a:lnTo>
                  <a:lnTo>
                    <a:pt x="774" y="427"/>
                  </a:lnTo>
                  <a:lnTo>
                    <a:pt x="777" y="428"/>
                  </a:lnTo>
                  <a:lnTo>
                    <a:pt x="779" y="428"/>
                  </a:lnTo>
                  <a:lnTo>
                    <a:pt x="781" y="428"/>
                  </a:lnTo>
                  <a:lnTo>
                    <a:pt x="781" y="429"/>
                  </a:lnTo>
                  <a:lnTo>
                    <a:pt x="782" y="431"/>
                  </a:lnTo>
                  <a:lnTo>
                    <a:pt x="782" y="432"/>
                  </a:lnTo>
                  <a:lnTo>
                    <a:pt x="785" y="433"/>
                  </a:lnTo>
                  <a:lnTo>
                    <a:pt x="787" y="433"/>
                  </a:lnTo>
                  <a:lnTo>
                    <a:pt x="787" y="435"/>
                  </a:lnTo>
                  <a:lnTo>
                    <a:pt x="785" y="435"/>
                  </a:lnTo>
                  <a:lnTo>
                    <a:pt x="785" y="437"/>
                  </a:lnTo>
                  <a:lnTo>
                    <a:pt x="785" y="438"/>
                  </a:lnTo>
                  <a:lnTo>
                    <a:pt x="787" y="439"/>
                  </a:lnTo>
                  <a:lnTo>
                    <a:pt x="787" y="441"/>
                  </a:lnTo>
                  <a:lnTo>
                    <a:pt x="788" y="443"/>
                  </a:lnTo>
                  <a:lnTo>
                    <a:pt x="788" y="444"/>
                  </a:lnTo>
                  <a:lnTo>
                    <a:pt x="791" y="444"/>
                  </a:lnTo>
                  <a:lnTo>
                    <a:pt x="792" y="445"/>
                  </a:lnTo>
                  <a:lnTo>
                    <a:pt x="793" y="446"/>
                  </a:lnTo>
                  <a:lnTo>
                    <a:pt x="794" y="446"/>
                  </a:lnTo>
                  <a:lnTo>
                    <a:pt x="798" y="445"/>
                  </a:lnTo>
                  <a:lnTo>
                    <a:pt x="803" y="444"/>
                  </a:lnTo>
                  <a:lnTo>
                    <a:pt x="803" y="449"/>
                  </a:lnTo>
                  <a:lnTo>
                    <a:pt x="804" y="449"/>
                  </a:lnTo>
                  <a:lnTo>
                    <a:pt x="809" y="449"/>
                  </a:lnTo>
                  <a:lnTo>
                    <a:pt x="812" y="449"/>
                  </a:lnTo>
                  <a:lnTo>
                    <a:pt x="814" y="447"/>
                  </a:lnTo>
                  <a:lnTo>
                    <a:pt x="815" y="447"/>
                  </a:lnTo>
                  <a:lnTo>
                    <a:pt x="815" y="450"/>
                  </a:lnTo>
                  <a:lnTo>
                    <a:pt x="817" y="451"/>
                  </a:lnTo>
                  <a:lnTo>
                    <a:pt x="818" y="450"/>
                  </a:lnTo>
                  <a:lnTo>
                    <a:pt x="820" y="450"/>
                  </a:lnTo>
                  <a:lnTo>
                    <a:pt x="821" y="451"/>
                  </a:lnTo>
                  <a:lnTo>
                    <a:pt x="821" y="452"/>
                  </a:lnTo>
                  <a:lnTo>
                    <a:pt x="818" y="456"/>
                  </a:lnTo>
                  <a:lnTo>
                    <a:pt x="816" y="457"/>
                  </a:lnTo>
                  <a:lnTo>
                    <a:pt x="815" y="458"/>
                  </a:lnTo>
                  <a:lnTo>
                    <a:pt x="814" y="459"/>
                  </a:lnTo>
                  <a:lnTo>
                    <a:pt x="815" y="459"/>
                  </a:lnTo>
                  <a:lnTo>
                    <a:pt x="816" y="459"/>
                  </a:lnTo>
                  <a:lnTo>
                    <a:pt x="817" y="461"/>
                  </a:lnTo>
                  <a:lnTo>
                    <a:pt x="818" y="461"/>
                  </a:lnTo>
                  <a:lnTo>
                    <a:pt x="821" y="462"/>
                  </a:lnTo>
                  <a:lnTo>
                    <a:pt x="822" y="463"/>
                  </a:lnTo>
                  <a:lnTo>
                    <a:pt x="824" y="463"/>
                  </a:lnTo>
                  <a:lnTo>
                    <a:pt x="826" y="463"/>
                  </a:lnTo>
                  <a:lnTo>
                    <a:pt x="827" y="463"/>
                  </a:lnTo>
                  <a:lnTo>
                    <a:pt x="828" y="464"/>
                  </a:lnTo>
                  <a:lnTo>
                    <a:pt x="828" y="465"/>
                  </a:lnTo>
                  <a:lnTo>
                    <a:pt x="827" y="465"/>
                  </a:lnTo>
                  <a:lnTo>
                    <a:pt x="826" y="467"/>
                  </a:lnTo>
                  <a:lnTo>
                    <a:pt x="826" y="468"/>
                  </a:lnTo>
                  <a:lnTo>
                    <a:pt x="827" y="469"/>
                  </a:lnTo>
                  <a:lnTo>
                    <a:pt x="829" y="469"/>
                  </a:lnTo>
                  <a:lnTo>
                    <a:pt x="833" y="471"/>
                  </a:lnTo>
                  <a:lnTo>
                    <a:pt x="834" y="471"/>
                  </a:lnTo>
                  <a:lnTo>
                    <a:pt x="836" y="471"/>
                  </a:lnTo>
                  <a:lnTo>
                    <a:pt x="838" y="471"/>
                  </a:lnTo>
                  <a:lnTo>
                    <a:pt x="839" y="471"/>
                  </a:lnTo>
                  <a:lnTo>
                    <a:pt x="841" y="473"/>
                  </a:lnTo>
                  <a:lnTo>
                    <a:pt x="842" y="471"/>
                  </a:lnTo>
                  <a:lnTo>
                    <a:pt x="846" y="471"/>
                  </a:lnTo>
                  <a:lnTo>
                    <a:pt x="846" y="473"/>
                  </a:lnTo>
                  <a:lnTo>
                    <a:pt x="845" y="475"/>
                  </a:lnTo>
                  <a:lnTo>
                    <a:pt x="842" y="477"/>
                  </a:lnTo>
                  <a:lnTo>
                    <a:pt x="841" y="480"/>
                  </a:lnTo>
                  <a:lnTo>
                    <a:pt x="840" y="481"/>
                  </a:lnTo>
                  <a:lnTo>
                    <a:pt x="838" y="482"/>
                  </a:lnTo>
                  <a:lnTo>
                    <a:pt x="834" y="482"/>
                  </a:lnTo>
                  <a:lnTo>
                    <a:pt x="832" y="485"/>
                  </a:lnTo>
                  <a:lnTo>
                    <a:pt x="836" y="486"/>
                  </a:lnTo>
                  <a:lnTo>
                    <a:pt x="839" y="485"/>
                  </a:lnTo>
                  <a:lnTo>
                    <a:pt x="840" y="485"/>
                  </a:lnTo>
                  <a:lnTo>
                    <a:pt x="841" y="486"/>
                  </a:lnTo>
                  <a:lnTo>
                    <a:pt x="841" y="488"/>
                  </a:lnTo>
                  <a:lnTo>
                    <a:pt x="842" y="489"/>
                  </a:lnTo>
                  <a:lnTo>
                    <a:pt x="844" y="491"/>
                  </a:lnTo>
                  <a:lnTo>
                    <a:pt x="845" y="493"/>
                  </a:lnTo>
                  <a:lnTo>
                    <a:pt x="844" y="494"/>
                  </a:lnTo>
                  <a:lnTo>
                    <a:pt x="842" y="494"/>
                  </a:lnTo>
                  <a:lnTo>
                    <a:pt x="841" y="497"/>
                  </a:lnTo>
                  <a:lnTo>
                    <a:pt x="839" y="499"/>
                  </a:lnTo>
                  <a:lnTo>
                    <a:pt x="840" y="500"/>
                  </a:lnTo>
                  <a:lnTo>
                    <a:pt x="839" y="503"/>
                  </a:lnTo>
                  <a:lnTo>
                    <a:pt x="840" y="504"/>
                  </a:lnTo>
                  <a:lnTo>
                    <a:pt x="840" y="506"/>
                  </a:lnTo>
                  <a:lnTo>
                    <a:pt x="840" y="508"/>
                  </a:lnTo>
                  <a:lnTo>
                    <a:pt x="841" y="509"/>
                  </a:lnTo>
                  <a:lnTo>
                    <a:pt x="842" y="509"/>
                  </a:lnTo>
                  <a:lnTo>
                    <a:pt x="842" y="510"/>
                  </a:lnTo>
                  <a:lnTo>
                    <a:pt x="844" y="511"/>
                  </a:lnTo>
                  <a:lnTo>
                    <a:pt x="844" y="514"/>
                  </a:lnTo>
                  <a:lnTo>
                    <a:pt x="841" y="514"/>
                  </a:lnTo>
                  <a:lnTo>
                    <a:pt x="840" y="515"/>
                  </a:lnTo>
                  <a:lnTo>
                    <a:pt x="838" y="515"/>
                  </a:lnTo>
                  <a:lnTo>
                    <a:pt x="836" y="515"/>
                  </a:lnTo>
                  <a:lnTo>
                    <a:pt x="836" y="516"/>
                  </a:lnTo>
                  <a:lnTo>
                    <a:pt x="834" y="517"/>
                  </a:lnTo>
                  <a:lnTo>
                    <a:pt x="834" y="518"/>
                  </a:lnTo>
                  <a:lnTo>
                    <a:pt x="835" y="520"/>
                  </a:lnTo>
                  <a:lnTo>
                    <a:pt x="838" y="522"/>
                  </a:lnTo>
                  <a:lnTo>
                    <a:pt x="840" y="523"/>
                  </a:lnTo>
                  <a:lnTo>
                    <a:pt x="841" y="526"/>
                  </a:lnTo>
                  <a:lnTo>
                    <a:pt x="841" y="524"/>
                  </a:lnTo>
                  <a:lnTo>
                    <a:pt x="842" y="523"/>
                  </a:lnTo>
                  <a:lnTo>
                    <a:pt x="844" y="524"/>
                  </a:lnTo>
                  <a:lnTo>
                    <a:pt x="845" y="526"/>
                  </a:lnTo>
                  <a:lnTo>
                    <a:pt x="847" y="526"/>
                  </a:lnTo>
                  <a:lnTo>
                    <a:pt x="848" y="526"/>
                  </a:lnTo>
                  <a:lnTo>
                    <a:pt x="848" y="527"/>
                  </a:lnTo>
                  <a:lnTo>
                    <a:pt x="847" y="527"/>
                  </a:lnTo>
                  <a:lnTo>
                    <a:pt x="845" y="529"/>
                  </a:lnTo>
                  <a:lnTo>
                    <a:pt x="842" y="530"/>
                  </a:lnTo>
                  <a:lnTo>
                    <a:pt x="839" y="530"/>
                  </a:lnTo>
                  <a:lnTo>
                    <a:pt x="836" y="532"/>
                  </a:lnTo>
                  <a:lnTo>
                    <a:pt x="835" y="532"/>
                  </a:lnTo>
                  <a:lnTo>
                    <a:pt x="835" y="530"/>
                  </a:lnTo>
                  <a:lnTo>
                    <a:pt x="835" y="529"/>
                  </a:lnTo>
                  <a:lnTo>
                    <a:pt x="832" y="530"/>
                  </a:lnTo>
                  <a:lnTo>
                    <a:pt x="832" y="529"/>
                  </a:lnTo>
                  <a:lnTo>
                    <a:pt x="830" y="529"/>
                  </a:lnTo>
                  <a:lnTo>
                    <a:pt x="830" y="527"/>
                  </a:lnTo>
                  <a:lnTo>
                    <a:pt x="829" y="526"/>
                  </a:lnTo>
                  <a:lnTo>
                    <a:pt x="827" y="526"/>
                  </a:lnTo>
                  <a:lnTo>
                    <a:pt x="824" y="526"/>
                  </a:lnTo>
                  <a:lnTo>
                    <a:pt x="822" y="526"/>
                  </a:lnTo>
                  <a:lnTo>
                    <a:pt x="820" y="522"/>
                  </a:lnTo>
                  <a:lnTo>
                    <a:pt x="818" y="520"/>
                  </a:lnTo>
                  <a:lnTo>
                    <a:pt x="816" y="516"/>
                  </a:lnTo>
                  <a:lnTo>
                    <a:pt x="815" y="512"/>
                  </a:lnTo>
                  <a:lnTo>
                    <a:pt x="812" y="510"/>
                  </a:lnTo>
                  <a:lnTo>
                    <a:pt x="812" y="506"/>
                  </a:lnTo>
                  <a:lnTo>
                    <a:pt x="811" y="506"/>
                  </a:lnTo>
                  <a:lnTo>
                    <a:pt x="810" y="505"/>
                  </a:lnTo>
                  <a:lnTo>
                    <a:pt x="810" y="503"/>
                  </a:lnTo>
                  <a:lnTo>
                    <a:pt x="808" y="500"/>
                  </a:lnTo>
                  <a:lnTo>
                    <a:pt x="805" y="500"/>
                  </a:lnTo>
                  <a:lnTo>
                    <a:pt x="804" y="503"/>
                  </a:lnTo>
                  <a:lnTo>
                    <a:pt x="800" y="503"/>
                  </a:lnTo>
                  <a:lnTo>
                    <a:pt x="798" y="502"/>
                  </a:lnTo>
                  <a:lnTo>
                    <a:pt x="797" y="500"/>
                  </a:lnTo>
                  <a:lnTo>
                    <a:pt x="795" y="502"/>
                  </a:lnTo>
                  <a:lnTo>
                    <a:pt x="793" y="503"/>
                  </a:lnTo>
                  <a:lnTo>
                    <a:pt x="792" y="505"/>
                  </a:lnTo>
                  <a:lnTo>
                    <a:pt x="791" y="505"/>
                  </a:lnTo>
                  <a:lnTo>
                    <a:pt x="789" y="504"/>
                  </a:lnTo>
                  <a:lnTo>
                    <a:pt x="787" y="504"/>
                  </a:lnTo>
                  <a:lnTo>
                    <a:pt x="787" y="503"/>
                  </a:lnTo>
                  <a:lnTo>
                    <a:pt x="787" y="502"/>
                  </a:lnTo>
                  <a:lnTo>
                    <a:pt x="786" y="502"/>
                  </a:lnTo>
                  <a:lnTo>
                    <a:pt x="786" y="500"/>
                  </a:lnTo>
                  <a:lnTo>
                    <a:pt x="786" y="498"/>
                  </a:lnTo>
                  <a:lnTo>
                    <a:pt x="788" y="497"/>
                  </a:lnTo>
                  <a:lnTo>
                    <a:pt x="789" y="494"/>
                  </a:lnTo>
                  <a:lnTo>
                    <a:pt x="791" y="494"/>
                  </a:lnTo>
                  <a:lnTo>
                    <a:pt x="793" y="494"/>
                  </a:lnTo>
                  <a:lnTo>
                    <a:pt x="793" y="492"/>
                  </a:lnTo>
                  <a:lnTo>
                    <a:pt x="792" y="491"/>
                  </a:lnTo>
                  <a:lnTo>
                    <a:pt x="793" y="488"/>
                  </a:lnTo>
                  <a:lnTo>
                    <a:pt x="793" y="489"/>
                  </a:lnTo>
                  <a:lnTo>
                    <a:pt x="794" y="489"/>
                  </a:lnTo>
                  <a:lnTo>
                    <a:pt x="795" y="489"/>
                  </a:lnTo>
                  <a:lnTo>
                    <a:pt x="797" y="489"/>
                  </a:lnTo>
                  <a:lnTo>
                    <a:pt x="799" y="489"/>
                  </a:lnTo>
                  <a:lnTo>
                    <a:pt x="799" y="488"/>
                  </a:lnTo>
                  <a:lnTo>
                    <a:pt x="799" y="486"/>
                  </a:lnTo>
                  <a:lnTo>
                    <a:pt x="795" y="486"/>
                  </a:lnTo>
                  <a:lnTo>
                    <a:pt x="794" y="486"/>
                  </a:lnTo>
                  <a:lnTo>
                    <a:pt x="794" y="485"/>
                  </a:lnTo>
                  <a:lnTo>
                    <a:pt x="792" y="485"/>
                  </a:lnTo>
                  <a:lnTo>
                    <a:pt x="791" y="485"/>
                  </a:lnTo>
                  <a:lnTo>
                    <a:pt x="788" y="485"/>
                  </a:lnTo>
                  <a:lnTo>
                    <a:pt x="786" y="483"/>
                  </a:lnTo>
                  <a:lnTo>
                    <a:pt x="785" y="483"/>
                  </a:lnTo>
                  <a:lnTo>
                    <a:pt x="782" y="482"/>
                  </a:lnTo>
                  <a:lnTo>
                    <a:pt x="779" y="481"/>
                  </a:lnTo>
                  <a:lnTo>
                    <a:pt x="781" y="479"/>
                  </a:lnTo>
                  <a:lnTo>
                    <a:pt x="777" y="479"/>
                  </a:lnTo>
                  <a:lnTo>
                    <a:pt x="776" y="476"/>
                  </a:lnTo>
                  <a:lnTo>
                    <a:pt x="777" y="474"/>
                  </a:lnTo>
                  <a:lnTo>
                    <a:pt x="776" y="473"/>
                  </a:lnTo>
                  <a:lnTo>
                    <a:pt x="775" y="474"/>
                  </a:lnTo>
                  <a:lnTo>
                    <a:pt x="771" y="475"/>
                  </a:lnTo>
                  <a:lnTo>
                    <a:pt x="770" y="475"/>
                  </a:lnTo>
                  <a:lnTo>
                    <a:pt x="768" y="476"/>
                  </a:lnTo>
                  <a:lnTo>
                    <a:pt x="767" y="475"/>
                  </a:lnTo>
                  <a:lnTo>
                    <a:pt x="764" y="474"/>
                  </a:lnTo>
                  <a:lnTo>
                    <a:pt x="764" y="473"/>
                  </a:lnTo>
                  <a:lnTo>
                    <a:pt x="764" y="470"/>
                  </a:lnTo>
                  <a:lnTo>
                    <a:pt x="761" y="471"/>
                  </a:lnTo>
                  <a:lnTo>
                    <a:pt x="759" y="470"/>
                  </a:lnTo>
                  <a:lnTo>
                    <a:pt x="761" y="469"/>
                  </a:lnTo>
                  <a:lnTo>
                    <a:pt x="758" y="468"/>
                  </a:lnTo>
                  <a:lnTo>
                    <a:pt x="756" y="467"/>
                  </a:lnTo>
                  <a:lnTo>
                    <a:pt x="753" y="467"/>
                  </a:lnTo>
                  <a:lnTo>
                    <a:pt x="752" y="467"/>
                  </a:lnTo>
                  <a:lnTo>
                    <a:pt x="751" y="465"/>
                  </a:lnTo>
                  <a:lnTo>
                    <a:pt x="750" y="465"/>
                  </a:lnTo>
                  <a:lnTo>
                    <a:pt x="749" y="464"/>
                  </a:lnTo>
                  <a:lnTo>
                    <a:pt x="747" y="465"/>
                  </a:lnTo>
                  <a:lnTo>
                    <a:pt x="746" y="463"/>
                  </a:lnTo>
                  <a:lnTo>
                    <a:pt x="746" y="462"/>
                  </a:lnTo>
                  <a:lnTo>
                    <a:pt x="745" y="462"/>
                  </a:lnTo>
                  <a:lnTo>
                    <a:pt x="745" y="459"/>
                  </a:lnTo>
                  <a:lnTo>
                    <a:pt x="743" y="459"/>
                  </a:lnTo>
                  <a:lnTo>
                    <a:pt x="744" y="457"/>
                  </a:lnTo>
                  <a:lnTo>
                    <a:pt x="744" y="455"/>
                  </a:lnTo>
                  <a:lnTo>
                    <a:pt x="745" y="455"/>
                  </a:lnTo>
                  <a:lnTo>
                    <a:pt x="743" y="455"/>
                  </a:lnTo>
                  <a:lnTo>
                    <a:pt x="743" y="453"/>
                  </a:lnTo>
                  <a:lnTo>
                    <a:pt x="741" y="452"/>
                  </a:lnTo>
                  <a:lnTo>
                    <a:pt x="741" y="451"/>
                  </a:lnTo>
                  <a:lnTo>
                    <a:pt x="741" y="450"/>
                  </a:lnTo>
                  <a:lnTo>
                    <a:pt x="740" y="450"/>
                  </a:lnTo>
                  <a:lnTo>
                    <a:pt x="739" y="449"/>
                  </a:lnTo>
                  <a:lnTo>
                    <a:pt x="736" y="446"/>
                  </a:lnTo>
                  <a:lnTo>
                    <a:pt x="736" y="449"/>
                  </a:lnTo>
                  <a:lnTo>
                    <a:pt x="736" y="450"/>
                  </a:lnTo>
                  <a:lnTo>
                    <a:pt x="736" y="451"/>
                  </a:lnTo>
                  <a:lnTo>
                    <a:pt x="736" y="453"/>
                  </a:lnTo>
                  <a:lnTo>
                    <a:pt x="735" y="453"/>
                  </a:lnTo>
                  <a:lnTo>
                    <a:pt x="732" y="453"/>
                  </a:lnTo>
                  <a:lnTo>
                    <a:pt x="730" y="455"/>
                  </a:lnTo>
                  <a:lnTo>
                    <a:pt x="730" y="457"/>
                  </a:lnTo>
                  <a:lnTo>
                    <a:pt x="732" y="458"/>
                  </a:lnTo>
                  <a:lnTo>
                    <a:pt x="733" y="458"/>
                  </a:lnTo>
                  <a:lnTo>
                    <a:pt x="734" y="457"/>
                  </a:lnTo>
                  <a:lnTo>
                    <a:pt x="735" y="458"/>
                  </a:lnTo>
                  <a:lnTo>
                    <a:pt x="736" y="457"/>
                  </a:lnTo>
                  <a:lnTo>
                    <a:pt x="739" y="457"/>
                  </a:lnTo>
                  <a:lnTo>
                    <a:pt x="739" y="462"/>
                  </a:lnTo>
                  <a:lnTo>
                    <a:pt x="740" y="462"/>
                  </a:lnTo>
                  <a:lnTo>
                    <a:pt x="740" y="464"/>
                  </a:lnTo>
                  <a:lnTo>
                    <a:pt x="741" y="467"/>
                  </a:lnTo>
                  <a:lnTo>
                    <a:pt x="741" y="468"/>
                  </a:lnTo>
                  <a:lnTo>
                    <a:pt x="744" y="469"/>
                  </a:lnTo>
                  <a:lnTo>
                    <a:pt x="743" y="471"/>
                  </a:lnTo>
                  <a:lnTo>
                    <a:pt x="739" y="470"/>
                  </a:lnTo>
                  <a:lnTo>
                    <a:pt x="738" y="470"/>
                  </a:lnTo>
                  <a:lnTo>
                    <a:pt x="738" y="469"/>
                  </a:lnTo>
                  <a:lnTo>
                    <a:pt x="736" y="469"/>
                  </a:lnTo>
                  <a:lnTo>
                    <a:pt x="735" y="468"/>
                  </a:lnTo>
                  <a:lnTo>
                    <a:pt x="734" y="468"/>
                  </a:lnTo>
                  <a:lnTo>
                    <a:pt x="733" y="467"/>
                  </a:lnTo>
                  <a:lnTo>
                    <a:pt x="730" y="465"/>
                  </a:lnTo>
                  <a:lnTo>
                    <a:pt x="730" y="463"/>
                  </a:lnTo>
                  <a:lnTo>
                    <a:pt x="729" y="464"/>
                  </a:lnTo>
                  <a:lnTo>
                    <a:pt x="728" y="464"/>
                  </a:lnTo>
                  <a:lnTo>
                    <a:pt x="726" y="465"/>
                  </a:lnTo>
                  <a:lnTo>
                    <a:pt x="724" y="464"/>
                  </a:lnTo>
                  <a:lnTo>
                    <a:pt x="723" y="462"/>
                  </a:lnTo>
                  <a:lnTo>
                    <a:pt x="721" y="462"/>
                  </a:lnTo>
                  <a:lnTo>
                    <a:pt x="718" y="462"/>
                  </a:lnTo>
                  <a:lnTo>
                    <a:pt x="717" y="461"/>
                  </a:lnTo>
                  <a:lnTo>
                    <a:pt x="716" y="462"/>
                  </a:lnTo>
                  <a:lnTo>
                    <a:pt x="715" y="461"/>
                  </a:lnTo>
                  <a:lnTo>
                    <a:pt x="712" y="459"/>
                  </a:lnTo>
                  <a:lnTo>
                    <a:pt x="710" y="459"/>
                  </a:lnTo>
                  <a:lnTo>
                    <a:pt x="708" y="459"/>
                  </a:lnTo>
                  <a:lnTo>
                    <a:pt x="703" y="459"/>
                  </a:lnTo>
                  <a:lnTo>
                    <a:pt x="702" y="458"/>
                  </a:lnTo>
                  <a:lnTo>
                    <a:pt x="699" y="458"/>
                  </a:lnTo>
                  <a:lnTo>
                    <a:pt x="700" y="456"/>
                  </a:lnTo>
                  <a:lnTo>
                    <a:pt x="700" y="455"/>
                  </a:lnTo>
                  <a:lnTo>
                    <a:pt x="699" y="455"/>
                  </a:lnTo>
                  <a:lnTo>
                    <a:pt x="697" y="455"/>
                  </a:lnTo>
                  <a:lnTo>
                    <a:pt x="696" y="455"/>
                  </a:lnTo>
                  <a:lnTo>
                    <a:pt x="694" y="453"/>
                  </a:lnTo>
                  <a:lnTo>
                    <a:pt x="691" y="451"/>
                  </a:lnTo>
                  <a:lnTo>
                    <a:pt x="688" y="449"/>
                  </a:lnTo>
                  <a:lnTo>
                    <a:pt x="688" y="447"/>
                  </a:lnTo>
                  <a:lnTo>
                    <a:pt x="688" y="446"/>
                  </a:lnTo>
                  <a:lnTo>
                    <a:pt x="690" y="444"/>
                  </a:lnTo>
                  <a:lnTo>
                    <a:pt x="693" y="440"/>
                  </a:lnTo>
                  <a:lnTo>
                    <a:pt x="693" y="438"/>
                  </a:lnTo>
                  <a:lnTo>
                    <a:pt x="692" y="437"/>
                  </a:lnTo>
                  <a:lnTo>
                    <a:pt x="692" y="438"/>
                  </a:lnTo>
                  <a:lnTo>
                    <a:pt x="691" y="439"/>
                  </a:lnTo>
                  <a:lnTo>
                    <a:pt x="691" y="440"/>
                  </a:lnTo>
                  <a:lnTo>
                    <a:pt x="690" y="443"/>
                  </a:lnTo>
                  <a:lnTo>
                    <a:pt x="687" y="445"/>
                  </a:lnTo>
                  <a:lnTo>
                    <a:pt x="686" y="444"/>
                  </a:lnTo>
                  <a:lnTo>
                    <a:pt x="684" y="443"/>
                  </a:lnTo>
                  <a:lnTo>
                    <a:pt x="682" y="443"/>
                  </a:lnTo>
                  <a:lnTo>
                    <a:pt x="681" y="441"/>
                  </a:lnTo>
                  <a:lnTo>
                    <a:pt x="680" y="441"/>
                  </a:lnTo>
                  <a:lnTo>
                    <a:pt x="678" y="443"/>
                  </a:lnTo>
                  <a:lnTo>
                    <a:pt x="676" y="445"/>
                  </a:lnTo>
                  <a:lnTo>
                    <a:pt x="676" y="446"/>
                  </a:lnTo>
                  <a:lnTo>
                    <a:pt x="675" y="447"/>
                  </a:lnTo>
                  <a:lnTo>
                    <a:pt x="671" y="447"/>
                  </a:lnTo>
                  <a:lnTo>
                    <a:pt x="670" y="447"/>
                  </a:lnTo>
                  <a:lnTo>
                    <a:pt x="669" y="446"/>
                  </a:lnTo>
                  <a:lnTo>
                    <a:pt x="667" y="447"/>
                  </a:lnTo>
                  <a:lnTo>
                    <a:pt x="665" y="449"/>
                  </a:lnTo>
                  <a:lnTo>
                    <a:pt x="665" y="452"/>
                  </a:lnTo>
                  <a:lnTo>
                    <a:pt x="667" y="455"/>
                  </a:lnTo>
                  <a:lnTo>
                    <a:pt x="667" y="453"/>
                  </a:lnTo>
                  <a:lnTo>
                    <a:pt x="669" y="452"/>
                  </a:lnTo>
                  <a:lnTo>
                    <a:pt x="670" y="452"/>
                  </a:lnTo>
                  <a:lnTo>
                    <a:pt x="670" y="453"/>
                  </a:lnTo>
                  <a:lnTo>
                    <a:pt x="671" y="455"/>
                  </a:lnTo>
                  <a:lnTo>
                    <a:pt x="673" y="456"/>
                  </a:lnTo>
                  <a:lnTo>
                    <a:pt x="674" y="452"/>
                  </a:lnTo>
                  <a:lnTo>
                    <a:pt x="675" y="452"/>
                  </a:lnTo>
                  <a:lnTo>
                    <a:pt x="676" y="451"/>
                  </a:lnTo>
                  <a:lnTo>
                    <a:pt x="679" y="452"/>
                  </a:lnTo>
                  <a:lnTo>
                    <a:pt x="679" y="451"/>
                  </a:lnTo>
                  <a:lnTo>
                    <a:pt x="680" y="452"/>
                  </a:lnTo>
                  <a:lnTo>
                    <a:pt x="680" y="453"/>
                  </a:lnTo>
                  <a:lnTo>
                    <a:pt x="681" y="453"/>
                  </a:lnTo>
                  <a:lnTo>
                    <a:pt x="680" y="453"/>
                  </a:lnTo>
                  <a:lnTo>
                    <a:pt x="679" y="455"/>
                  </a:lnTo>
                  <a:lnTo>
                    <a:pt x="679" y="456"/>
                  </a:lnTo>
                  <a:lnTo>
                    <a:pt x="679" y="458"/>
                  </a:lnTo>
                  <a:lnTo>
                    <a:pt x="680" y="462"/>
                  </a:lnTo>
                  <a:lnTo>
                    <a:pt x="680" y="463"/>
                  </a:lnTo>
                  <a:lnTo>
                    <a:pt x="678" y="462"/>
                  </a:lnTo>
                  <a:lnTo>
                    <a:pt x="676" y="462"/>
                  </a:lnTo>
                  <a:lnTo>
                    <a:pt x="675" y="462"/>
                  </a:lnTo>
                  <a:lnTo>
                    <a:pt x="674" y="461"/>
                  </a:lnTo>
                  <a:lnTo>
                    <a:pt x="673" y="459"/>
                  </a:lnTo>
                  <a:lnTo>
                    <a:pt x="673" y="458"/>
                  </a:lnTo>
                  <a:lnTo>
                    <a:pt x="671" y="458"/>
                  </a:lnTo>
                  <a:lnTo>
                    <a:pt x="670" y="462"/>
                  </a:lnTo>
                  <a:lnTo>
                    <a:pt x="671" y="463"/>
                  </a:lnTo>
                  <a:lnTo>
                    <a:pt x="674" y="463"/>
                  </a:lnTo>
                  <a:lnTo>
                    <a:pt x="678" y="463"/>
                  </a:lnTo>
                  <a:lnTo>
                    <a:pt x="678" y="467"/>
                  </a:lnTo>
                  <a:lnTo>
                    <a:pt x="680" y="468"/>
                  </a:lnTo>
                  <a:lnTo>
                    <a:pt x="682" y="468"/>
                  </a:lnTo>
                  <a:lnTo>
                    <a:pt x="682" y="465"/>
                  </a:lnTo>
                  <a:lnTo>
                    <a:pt x="684" y="467"/>
                  </a:lnTo>
                  <a:lnTo>
                    <a:pt x="685" y="467"/>
                  </a:lnTo>
                  <a:lnTo>
                    <a:pt x="688" y="464"/>
                  </a:lnTo>
                  <a:lnTo>
                    <a:pt x="688" y="463"/>
                  </a:lnTo>
                  <a:lnTo>
                    <a:pt x="690" y="463"/>
                  </a:lnTo>
                  <a:lnTo>
                    <a:pt x="693" y="464"/>
                  </a:lnTo>
                  <a:lnTo>
                    <a:pt x="694" y="464"/>
                  </a:lnTo>
                  <a:lnTo>
                    <a:pt x="694" y="465"/>
                  </a:lnTo>
                  <a:lnTo>
                    <a:pt x="693" y="467"/>
                  </a:lnTo>
                  <a:lnTo>
                    <a:pt x="693" y="468"/>
                  </a:lnTo>
                  <a:lnTo>
                    <a:pt x="693" y="470"/>
                  </a:lnTo>
                  <a:lnTo>
                    <a:pt x="694" y="471"/>
                  </a:lnTo>
                  <a:lnTo>
                    <a:pt x="697" y="473"/>
                  </a:lnTo>
                  <a:lnTo>
                    <a:pt x="698" y="474"/>
                  </a:lnTo>
                  <a:lnTo>
                    <a:pt x="698" y="475"/>
                  </a:lnTo>
                  <a:lnTo>
                    <a:pt x="697" y="476"/>
                  </a:lnTo>
                  <a:lnTo>
                    <a:pt x="698" y="476"/>
                  </a:lnTo>
                  <a:lnTo>
                    <a:pt x="697" y="477"/>
                  </a:lnTo>
                  <a:lnTo>
                    <a:pt x="697" y="479"/>
                  </a:lnTo>
                  <a:lnTo>
                    <a:pt x="697" y="480"/>
                  </a:lnTo>
                  <a:lnTo>
                    <a:pt x="699" y="481"/>
                  </a:lnTo>
                  <a:lnTo>
                    <a:pt x="700" y="480"/>
                  </a:lnTo>
                  <a:lnTo>
                    <a:pt x="702" y="481"/>
                  </a:lnTo>
                  <a:lnTo>
                    <a:pt x="703" y="482"/>
                  </a:lnTo>
                  <a:lnTo>
                    <a:pt x="704" y="482"/>
                  </a:lnTo>
                  <a:lnTo>
                    <a:pt x="704" y="483"/>
                  </a:lnTo>
                  <a:lnTo>
                    <a:pt x="703" y="485"/>
                  </a:lnTo>
                  <a:lnTo>
                    <a:pt x="705" y="485"/>
                  </a:lnTo>
                  <a:lnTo>
                    <a:pt x="709" y="485"/>
                  </a:lnTo>
                  <a:lnTo>
                    <a:pt x="712" y="485"/>
                  </a:lnTo>
                  <a:lnTo>
                    <a:pt x="712" y="486"/>
                  </a:lnTo>
                  <a:lnTo>
                    <a:pt x="714" y="487"/>
                  </a:lnTo>
                  <a:lnTo>
                    <a:pt x="714" y="488"/>
                  </a:lnTo>
                  <a:lnTo>
                    <a:pt x="716" y="488"/>
                  </a:lnTo>
                  <a:lnTo>
                    <a:pt x="718" y="491"/>
                  </a:lnTo>
                  <a:lnTo>
                    <a:pt x="720" y="492"/>
                  </a:lnTo>
                  <a:lnTo>
                    <a:pt x="721" y="492"/>
                  </a:lnTo>
                  <a:lnTo>
                    <a:pt x="721" y="491"/>
                  </a:lnTo>
                  <a:lnTo>
                    <a:pt x="724" y="488"/>
                  </a:lnTo>
                  <a:lnTo>
                    <a:pt x="727" y="487"/>
                  </a:lnTo>
                  <a:lnTo>
                    <a:pt x="728" y="487"/>
                  </a:lnTo>
                  <a:lnTo>
                    <a:pt x="730" y="488"/>
                  </a:lnTo>
                  <a:lnTo>
                    <a:pt x="732" y="488"/>
                  </a:lnTo>
                  <a:lnTo>
                    <a:pt x="733" y="488"/>
                  </a:lnTo>
                  <a:lnTo>
                    <a:pt x="735" y="488"/>
                  </a:lnTo>
                  <a:lnTo>
                    <a:pt x="738" y="488"/>
                  </a:lnTo>
                  <a:lnTo>
                    <a:pt x="739" y="488"/>
                  </a:lnTo>
                  <a:lnTo>
                    <a:pt x="738" y="487"/>
                  </a:lnTo>
                  <a:lnTo>
                    <a:pt x="736" y="487"/>
                  </a:lnTo>
                  <a:lnTo>
                    <a:pt x="736" y="486"/>
                  </a:lnTo>
                  <a:lnTo>
                    <a:pt x="736" y="485"/>
                  </a:lnTo>
                  <a:lnTo>
                    <a:pt x="739" y="485"/>
                  </a:lnTo>
                  <a:lnTo>
                    <a:pt x="739" y="486"/>
                  </a:lnTo>
                  <a:lnTo>
                    <a:pt x="740" y="486"/>
                  </a:lnTo>
                  <a:lnTo>
                    <a:pt x="744" y="486"/>
                  </a:lnTo>
                  <a:lnTo>
                    <a:pt x="743" y="487"/>
                  </a:lnTo>
                  <a:lnTo>
                    <a:pt x="746" y="488"/>
                  </a:lnTo>
                  <a:lnTo>
                    <a:pt x="749" y="489"/>
                  </a:lnTo>
                  <a:lnTo>
                    <a:pt x="750" y="489"/>
                  </a:lnTo>
                  <a:lnTo>
                    <a:pt x="752" y="491"/>
                  </a:lnTo>
                  <a:lnTo>
                    <a:pt x="752" y="492"/>
                  </a:lnTo>
                  <a:lnTo>
                    <a:pt x="755" y="492"/>
                  </a:lnTo>
                  <a:lnTo>
                    <a:pt x="755" y="493"/>
                  </a:lnTo>
                  <a:lnTo>
                    <a:pt x="756" y="493"/>
                  </a:lnTo>
                  <a:lnTo>
                    <a:pt x="758" y="494"/>
                  </a:lnTo>
                  <a:lnTo>
                    <a:pt x="758" y="497"/>
                  </a:lnTo>
                  <a:lnTo>
                    <a:pt x="756" y="497"/>
                  </a:lnTo>
                  <a:lnTo>
                    <a:pt x="757" y="498"/>
                  </a:lnTo>
                  <a:lnTo>
                    <a:pt x="756" y="500"/>
                  </a:lnTo>
                  <a:lnTo>
                    <a:pt x="756" y="502"/>
                  </a:lnTo>
                  <a:lnTo>
                    <a:pt x="757" y="502"/>
                  </a:lnTo>
                  <a:lnTo>
                    <a:pt x="757" y="505"/>
                  </a:lnTo>
                  <a:lnTo>
                    <a:pt x="753" y="506"/>
                  </a:lnTo>
                  <a:lnTo>
                    <a:pt x="752" y="506"/>
                  </a:lnTo>
                  <a:lnTo>
                    <a:pt x="751" y="506"/>
                  </a:lnTo>
                  <a:lnTo>
                    <a:pt x="751" y="508"/>
                  </a:lnTo>
                  <a:lnTo>
                    <a:pt x="751" y="510"/>
                  </a:lnTo>
                  <a:lnTo>
                    <a:pt x="752" y="511"/>
                  </a:lnTo>
                  <a:lnTo>
                    <a:pt x="753" y="510"/>
                  </a:lnTo>
                  <a:lnTo>
                    <a:pt x="755" y="508"/>
                  </a:lnTo>
                  <a:lnTo>
                    <a:pt x="757" y="506"/>
                  </a:lnTo>
                  <a:lnTo>
                    <a:pt x="758" y="505"/>
                  </a:lnTo>
                  <a:lnTo>
                    <a:pt x="761" y="504"/>
                  </a:lnTo>
                  <a:lnTo>
                    <a:pt x="763" y="504"/>
                  </a:lnTo>
                  <a:lnTo>
                    <a:pt x="764" y="503"/>
                  </a:lnTo>
                  <a:lnTo>
                    <a:pt x="765" y="504"/>
                  </a:lnTo>
                  <a:lnTo>
                    <a:pt x="765" y="505"/>
                  </a:lnTo>
                  <a:lnTo>
                    <a:pt x="767" y="505"/>
                  </a:lnTo>
                  <a:lnTo>
                    <a:pt x="767" y="506"/>
                  </a:lnTo>
                  <a:lnTo>
                    <a:pt x="769" y="506"/>
                  </a:lnTo>
                  <a:lnTo>
                    <a:pt x="769" y="508"/>
                  </a:lnTo>
                  <a:lnTo>
                    <a:pt x="770" y="510"/>
                  </a:lnTo>
                  <a:lnTo>
                    <a:pt x="770" y="512"/>
                  </a:lnTo>
                  <a:lnTo>
                    <a:pt x="771" y="514"/>
                  </a:lnTo>
                  <a:lnTo>
                    <a:pt x="773" y="514"/>
                  </a:lnTo>
                  <a:lnTo>
                    <a:pt x="774" y="515"/>
                  </a:lnTo>
                  <a:lnTo>
                    <a:pt x="775" y="516"/>
                  </a:lnTo>
                  <a:lnTo>
                    <a:pt x="777" y="518"/>
                  </a:lnTo>
                  <a:lnTo>
                    <a:pt x="779" y="520"/>
                  </a:lnTo>
                  <a:lnTo>
                    <a:pt x="780" y="520"/>
                  </a:lnTo>
                  <a:lnTo>
                    <a:pt x="780" y="521"/>
                  </a:lnTo>
                  <a:lnTo>
                    <a:pt x="782" y="520"/>
                  </a:lnTo>
                  <a:lnTo>
                    <a:pt x="783" y="518"/>
                  </a:lnTo>
                  <a:lnTo>
                    <a:pt x="786" y="517"/>
                  </a:lnTo>
                  <a:lnTo>
                    <a:pt x="786" y="520"/>
                  </a:lnTo>
                  <a:lnTo>
                    <a:pt x="787" y="520"/>
                  </a:lnTo>
                  <a:lnTo>
                    <a:pt x="788" y="520"/>
                  </a:lnTo>
                  <a:lnTo>
                    <a:pt x="789" y="520"/>
                  </a:lnTo>
                  <a:lnTo>
                    <a:pt x="791" y="520"/>
                  </a:lnTo>
                  <a:lnTo>
                    <a:pt x="792" y="521"/>
                  </a:lnTo>
                  <a:lnTo>
                    <a:pt x="792" y="522"/>
                  </a:lnTo>
                  <a:lnTo>
                    <a:pt x="791" y="522"/>
                  </a:lnTo>
                  <a:lnTo>
                    <a:pt x="792" y="527"/>
                  </a:lnTo>
                  <a:lnTo>
                    <a:pt x="793" y="528"/>
                  </a:lnTo>
                  <a:lnTo>
                    <a:pt x="792" y="529"/>
                  </a:lnTo>
                  <a:lnTo>
                    <a:pt x="791" y="530"/>
                  </a:lnTo>
                  <a:lnTo>
                    <a:pt x="791" y="532"/>
                  </a:lnTo>
                  <a:lnTo>
                    <a:pt x="792" y="532"/>
                  </a:lnTo>
                  <a:lnTo>
                    <a:pt x="793" y="534"/>
                  </a:lnTo>
                  <a:lnTo>
                    <a:pt x="793" y="539"/>
                  </a:lnTo>
                  <a:lnTo>
                    <a:pt x="792" y="540"/>
                  </a:lnTo>
                  <a:lnTo>
                    <a:pt x="791" y="540"/>
                  </a:lnTo>
                  <a:lnTo>
                    <a:pt x="792" y="544"/>
                  </a:lnTo>
                  <a:lnTo>
                    <a:pt x="793" y="545"/>
                  </a:lnTo>
                  <a:lnTo>
                    <a:pt x="794" y="546"/>
                  </a:lnTo>
                  <a:lnTo>
                    <a:pt x="795" y="546"/>
                  </a:lnTo>
                  <a:lnTo>
                    <a:pt x="798" y="546"/>
                  </a:lnTo>
                  <a:lnTo>
                    <a:pt x="800" y="546"/>
                  </a:lnTo>
                  <a:lnTo>
                    <a:pt x="803" y="546"/>
                  </a:lnTo>
                  <a:lnTo>
                    <a:pt x="805" y="546"/>
                  </a:lnTo>
                  <a:lnTo>
                    <a:pt x="808" y="547"/>
                  </a:lnTo>
                  <a:lnTo>
                    <a:pt x="809" y="548"/>
                  </a:lnTo>
                  <a:lnTo>
                    <a:pt x="809" y="550"/>
                  </a:lnTo>
                  <a:lnTo>
                    <a:pt x="809" y="551"/>
                  </a:lnTo>
                  <a:lnTo>
                    <a:pt x="810" y="553"/>
                  </a:lnTo>
                  <a:lnTo>
                    <a:pt x="816" y="552"/>
                  </a:lnTo>
                  <a:lnTo>
                    <a:pt x="818" y="553"/>
                  </a:lnTo>
                  <a:lnTo>
                    <a:pt x="820" y="554"/>
                  </a:lnTo>
                  <a:lnTo>
                    <a:pt x="821" y="556"/>
                  </a:lnTo>
                  <a:lnTo>
                    <a:pt x="821" y="557"/>
                  </a:lnTo>
                  <a:lnTo>
                    <a:pt x="821" y="559"/>
                  </a:lnTo>
                  <a:lnTo>
                    <a:pt x="820" y="559"/>
                  </a:lnTo>
                  <a:lnTo>
                    <a:pt x="818" y="560"/>
                  </a:lnTo>
                  <a:lnTo>
                    <a:pt x="818" y="562"/>
                  </a:lnTo>
                  <a:lnTo>
                    <a:pt x="820" y="564"/>
                  </a:lnTo>
                  <a:lnTo>
                    <a:pt x="822" y="564"/>
                  </a:lnTo>
                  <a:lnTo>
                    <a:pt x="823" y="564"/>
                  </a:lnTo>
                  <a:lnTo>
                    <a:pt x="823" y="565"/>
                  </a:lnTo>
                  <a:lnTo>
                    <a:pt x="823" y="566"/>
                  </a:lnTo>
                  <a:lnTo>
                    <a:pt x="824" y="568"/>
                  </a:lnTo>
                  <a:lnTo>
                    <a:pt x="826" y="569"/>
                  </a:lnTo>
                  <a:lnTo>
                    <a:pt x="827" y="569"/>
                  </a:lnTo>
                  <a:lnTo>
                    <a:pt x="829" y="569"/>
                  </a:lnTo>
                  <a:lnTo>
                    <a:pt x="832" y="570"/>
                  </a:lnTo>
                  <a:lnTo>
                    <a:pt x="833" y="572"/>
                  </a:lnTo>
                  <a:lnTo>
                    <a:pt x="833" y="575"/>
                  </a:lnTo>
                  <a:lnTo>
                    <a:pt x="834" y="575"/>
                  </a:lnTo>
                  <a:lnTo>
                    <a:pt x="836" y="575"/>
                  </a:lnTo>
                  <a:lnTo>
                    <a:pt x="836" y="576"/>
                  </a:lnTo>
                  <a:lnTo>
                    <a:pt x="839" y="576"/>
                  </a:lnTo>
                  <a:lnTo>
                    <a:pt x="839" y="577"/>
                  </a:lnTo>
                  <a:lnTo>
                    <a:pt x="838" y="578"/>
                  </a:lnTo>
                  <a:lnTo>
                    <a:pt x="838" y="580"/>
                  </a:lnTo>
                  <a:lnTo>
                    <a:pt x="838" y="581"/>
                  </a:lnTo>
                  <a:lnTo>
                    <a:pt x="838" y="584"/>
                  </a:lnTo>
                  <a:lnTo>
                    <a:pt x="839" y="588"/>
                  </a:lnTo>
                  <a:lnTo>
                    <a:pt x="841" y="588"/>
                  </a:lnTo>
                  <a:lnTo>
                    <a:pt x="841" y="589"/>
                  </a:lnTo>
                  <a:lnTo>
                    <a:pt x="840" y="589"/>
                  </a:lnTo>
                  <a:lnTo>
                    <a:pt x="838" y="590"/>
                  </a:lnTo>
                  <a:lnTo>
                    <a:pt x="840" y="590"/>
                  </a:lnTo>
                  <a:lnTo>
                    <a:pt x="841" y="593"/>
                  </a:lnTo>
                  <a:lnTo>
                    <a:pt x="844" y="595"/>
                  </a:lnTo>
                  <a:lnTo>
                    <a:pt x="845" y="598"/>
                  </a:lnTo>
                  <a:lnTo>
                    <a:pt x="844" y="599"/>
                  </a:lnTo>
                  <a:lnTo>
                    <a:pt x="842" y="600"/>
                  </a:lnTo>
                  <a:lnTo>
                    <a:pt x="842" y="603"/>
                  </a:lnTo>
                  <a:lnTo>
                    <a:pt x="842" y="606"/>
                  </a:lnTo>
                  <a:lnTo>
                    <a:pt x="844" y="605"/>
                  </a:lnTo>
                  <a:lnTo>
                    <a:pt x="847" y="605"/>
                  </a:lnTo>
                  <a:lnTo>
                    <a:pt x="848" y="606"/>
                  </a:lnTo>
                  <a:lnTo>
                    <a:pt x="850" y="607"/>
                  </a:lnTo>
                  <a:lnTo>
                    <a:pt x="851" y="611"/>
                  </a:lnTo>
                  <a:lnTo>
                    <a:pt x="851" y="613"/>
                  </a:lnTo>
                  <a:lnTo>
                    <a:pt x="854" y="613"/>
                  </a:lnTo>
                  <a:lnTo>
                    <a:pt x="854" y="612"/>
                  </a:lnTo>
                  <a:lnTo>
                    <a:pt x="856" y="613"/>
                  </a:lnTo>
                  <a:lnTo>
                    <a:pt x="857" y="615"/>
                  </a:lnTo>
                  <a:lnTo>
                    <a:pt x="859" y="615"/>
                  </a:lnTo>
                  <a:lnTo>
                    <a:pt x="858" y="617"/>
                  </a:lnTo>
                  <a:lnTo>
                    <a:pt x="858" y="618"/>
                  </a:lnTo>
                  <a:lnTo>
                    <a:pt x="858" y="619"/>
                  </a:lnTo>
                  <a:lnTo>
                    <a:pt x="858" y="621"/>
                  </a:lnTo>
                  <a:lnTo>
                    <a:pt x="857" y="621"/>
                  </a:lnTo>
                  <a:lnTo>
                    <a:pt x="856" y="621"/>
                  </a:lnTo>
                  <a:lnTo>
                    <a:pt x="856" y="622"/>
                  </a:lnTo>
                  <a:lnTo>
                    <a:pt x="858" y="623"/>
                  </a:lnTo>
                  <a:lnTo>
                    <a:pt x="858" y="622"/>
                  </a:lnTo>
                  <a:lnTo>
                    <a:pt x="861" y="623"/>
                  </a:lnTo>
                  <a:lnTo>
                    <a:pt x="862" y="623"/>
                  </a:lnTo>
                  <a:lnTo>
                    <a:pt x="863" y="624"/>
                  </a:lnTo>
                  <a:lnTo>
                    <a:pt x="863" y="625"/>
                  </a:lnTo>
                  <a:lnTo>
                    <a:pt x="862" y="625"/>
                  </a:lnTo>
                  <a:lnTo>
                    <a:pt x="862" y="628"/>
                  </a:lnTo>
                  <a:lnTo>
                    <a:pt x="863" y="628"/>
                  </a:lnTo>
                  <a:lnTo>
                    <a:pt x="864" y="629"/>
                  </a:lnTo>
                  <a:lnTo>
                    <a:pt x="865" y="630"/>
                  </a:lnTo>
                  <a:lnTo>
                    <a:pt x="867" y="631"/>
                  </a:lnTo>
                  <a:lnTo>
                    <a:pt x="867" y="630"/>
                  </a:lnTo>
                  <a:lnTo>
                    <a:pt x="869" y="631"/>
                  </a:lnTo>
                  <a:lnTo>
                    <a:pt x="871" y="633"/>
                  </a:lnTo>
                  <a:lnTo>
                    <a:pt x="871" y="634"/>
                  </a:lnTo>
                  <a:lnTo>
                    <a:pt x="870" y="635"/>
                  </a:lnTo>
                  <a:lnTo>
                    <a:pt x="869" y="635"/>
                  </a:lnTo>
                  <a:lnTo>
                    <a:pt x="869" y="636"/>
                  </a:lnTo>
                  <a:lnTo>
                    <a:pt x="871" y="639"/>
                  </a:lnTo>
                  <a:lnTo>
                    <a:pt x="873" y="640"/>
                  </a:lnTo>
                  <a:lnTo>
                    <a:pt x="875" y="641"/>
                  </a:lnTo>
                  <a:lnTo>
                    <a:pt x="876" y="642"/>
                  </a:lnTo>
                  <a:lnTo>
                    <a:pt x="877" y="641"/>
                  </a:lnTo>
                  <a:lnTo>
                    <a:pt x="879" y="641"/>
                  </a:lnTo>
                  <a:lnTo>
                    <a:pt x="880" y="640"/>
                  </a:lnTo>
                  <a:lnTo>
                    <a:pt x="881" y="640"/>
                  </a:lnTo>
                  <a:lnTo>
                    <a:pt x="882" y="639"/>
                  </a:lnTo>
                  <a:lnTo>
                    <a:pt x="883" y="642"/>
                  </a:lnTo>
                  <a:lnTo>
                    <a:pt x="885" y="643"/>
                  </a:lnTo>
                  <a:lnTo>
                    <a:pt x="885" y="642"/>
                  </a:lnTo>
                  <a:lnTo>
                    <a:pt x="886" y="642"/>
                  </a:lnTo>
                  <a:lnTo>
                    <a:pt x="886" y="641"/>
                  </a:lnTo>
                  <a:lnTo>
                    <a:pt x="888" y="641"/>
                  </a:lnTo>
                  <a:lnTo>
                    <a:pt x="889" y="641"/>
                  </a:lnTo>
                  <a:lnTo>
                    <a:pt x="891" y="640"/>
                  </a:lnTo>
                  <a:lnTo>
                    <a:pt x="893" y="641"/>
                  </a:lnTo>
                  <a:lnTo>
                    <a:pt x="891" y="642"/>
                  </a:lnTo>
                  <a:lnTo>
                    <a:pt x="891" y="643"/>
                  </a:lnTo>
                  <a:lnTo>
                    <a:pt x="891" y="646"/>
                  </a:lnTo>
                  <a:lnTo>
                    <a:pt x="891" y="647"/>
                  </a:lnTo>
                  <a:lnTo>
                    <a:pt x="888" y="647"/>
                  </a:lnTo>
                  <a:lnTo>
                    <a:pt x="888" y="646"/>
                  </a:lnTo>
                  <a:lnTo>
                    <a:pt x="887" y="646"/>
                  </a:lnTo>
                  <a:lnTo>
                    <a:pt x="887" y="648"/>
                  </a:lnTo>
                  <a:lnTo>
                    <a:pt x="885" y="649"/>
                  </a:lnTo>
                  <a:lnTo>
                    <a:pt x="881" y="649"/>
                  </a:lnTo>
                  <a:lnTo>
                    <a:pt x="880" y="651"/>
                  </a:lnTo>
                  <a:lnTo>
                    <a:pt x="879" y="649"/>
                  </a:lnTo>
                  <a:lnTo>
                    <a:pt x="879" y="651"/>
                  </a:lnTo>
                  <a:lnTo>
                    <a:pt x="876" y="652"/>
                  </a:lnTo>
                  <a:lnTo>
                    <a:pt x="877" y="654"/>
                  </a:lnTo>
                  <a:lnTo>
                    <a:pt x="877" y="655"/>
                  </a:lnTo>
                  <a:lnTo>
                    <a:pt x="877" y="657"/>
                  </a:lnTo>
                  <a:lnTo>
                    <a:pt x="875" y="659"/>
                  </a:lnTo>
                  <a:lnTo>
                    <a:pt x="874" y="660"/>
                  </a:lnTo>
                  <a:lnTo>
                    <a:pt x="874" y="661"/>
                  </a:lnTo>
                  <a:lnTo>
                    <a:pt x="873" y="661"/>
                  </a:lnTo>
                  <a:lnTo>
                    <a:pt x="873" y="663"/>
                  </a:lnTo>
                  <a:lnTo>
                    <a:pt x="874" y="664"/>
                  </a:lnTo>
                  <a:lnTo>
                    <a:pt x="875" y="667"/>
                  </a:lnTo>
                  <a:lnTo>
                    <a:pt x="871" y="669"/>
                  </a:lnTo>
                  <a:lnTo>
                    <a:pt x="874" y="669"/>
                  </a:lnTo>
                  <a:lnTo>
                    <a:pt x="875" y="670"/>
                  </a:lnTo>
                  <a:lnTo>
                    <a:pt x="876" y="670"/>
                  </a:lnTo>
                  <a:lnTo>
                    <a:pt x="879" y="672"/>
                  </a:lnTo>
                  <a:lnTo>
                    <a:pt x="879" y="673"/>
                  </a:lnTo>
                  <a:lnTo>
                    <a:pt x="880" y="673"/>
                  </a:lnTo>
                  <a:lnTo>
                    <a:pt x="880" y="672"/>
                  </a:lnTo>
                  <a:lnTo>
                    <a:pt x="881" y="673"/>
                  </a:lnTo>
                  <a:lnTo>
                    <a:pt x="882" y="673"/>
                  </a:lnTo>
                  <a:lnTo>
                    <a:pt x="882" y="675"/>
                  </a:lnTo>
                  <a:lnTo>
                    <a:pt x="882" y="676"/>
                  </a:lnTo>
                  <a:lnTo>
                    <a:pt x="881" y="676"/>
                  </a:lnTo>
                  <a:lnTo>
                    <a:pt x="879" y="676"/>
                  </a:lnTo>
                  <a:lnTo>
                    <a:pt x="877" y="677"/>
                  </a:lnTo>
                  <a:lnTo>
                    <a:pt x="876" y="678"/>
                  </a:lnTo>
                  <a:lnTo>
                    <a:pt x="875" y="678"/>
                  </a:lnTo>
                  <a:lnTo>
                    <a:pt x="874" y="677"/>
                  </a:lnTo>
                  <a:lnTo>
                    <a:pt x="871" y="676"/>
                  </a:lnTo>
                  <a:lnTo>
                    <a:pt x="869" y="673"/>
                  </a:lnTo>
                  <a:lnTo>
                    <a:pt x="868" y="672"/>
                  </a:lnTo>
                  <a:lnTo>
                    <a:pt x="867" y="671"/>
                  </a:lnTo>
                  <a:lnTo>
                    <a:pt x="864" y="669"/>
                  </a:lnTo>
                  <a:lnTo>
                    <a:pt x="862" y="669"/>
                  </a:lnTo>
                  <a:lnTo>
                    <a:pt x="861" y="667"/>
                  </a:lnTo>
                  <a:lnTo>
                    <a:pt x="858" y="665"/>
                  </a:lnTo>
                  <a:lnTo>
                    <a:pt x="859" y="664"/>
                  </a:lnTo>
                  <a:lnTo>
                    <a:pt x="859" y="661"/>
                  </a:lnTo>
                  <a:lnTo>
                    <a:pt x="859" y="660"/>
                  </a:lnTo>
                  <a:lnTo>
                    <a:pt x="857" y="660"/>
                  </a:lnTo>
                  <a:lnTo>
                    <a:pt x="854" y="661"/>
                  </a:lnTo>
                  <a:lnTo>
                    <a:pt x="851" y="661"/>
                  </a:lnTo>
                  <a:lnTo>
                    <a:pt x="847" y="660"/>
                  </a:lnTo>
                  <a:lnTo>
                    <a:pt x="844" y="660"/>
                  </a:lnTo>
                  <a:lnTo>
                    <a:pt x="841" y="660"/>
                  </a:lnTo>
                  <a:lnTo>
                    <a:pt x="840" y="660"/>
                  </a:lnTo>
                  <a:lnTo>
                    <a:pt x="841" y="658"/>
                  </a:lnTo>
                  <a:lnTo>
                    <a:pt x="841" y="657"/>
                  </a:lnTo>
                  <a:lnTo>
                    <a:pt x="840" y="655"/>
                  </a:lnTo>
                  <a:lnTo>
                    <a:pt x="841" y="653"/>
                  </a:lnTo>
                  <a:lnTo>
                    <a:pt x="841" y="652"/>
                  </a:lnTo>
                  <a:lnTo>
                    <a:pt x="840" y="652"/>
                  </a:lnTo>
                  <a:lnTo>
                    <a:pt x="840" y="655"/>
                  </a:lnTo>
                  <a:lnTo>
                    <a:pt x="839" y="657"/>
                  </a:lnTo>
                  <a:lnTo>
                    <a:pt x="839" y="658"/>
                  </a:lnTo>
                  <a:lnTo>
                    <a:pt x="835" y="658"/>
                  </a:lnTo>
                  <a:lnTo>
                    <a:pt x="833" y="659"/>
                  </a:lnTo>
                  <a:lnTo>
                    <a:pt x="832" y="660"/>
                  </a:lnTo>
                  <a:lnTo>
                    <a:pt x="830" y="660"/>
                  </a:lnTo>
                  <a:lnTo>
                    <a:pt x="830" y="661"/>
                  </a:lnTo>
                  <a:lnTo>
                    <a:pt x="830" y="664"/>
                  </a:lnTo>
                  <a:lnTo>
                    <a:pt x="830" y="665"/>
                  </a:lnTo>
                  <a:lnTo>
                    <a:pt x="832" y="665"/>
                  </a:lnTo>
                  <a:lnTo>
                    <a:pt x="832" y="664"/>
                  </a:lnTo>
                  <a:lnTo>
                    <a:pt x="833" y="665"/>
                  </a:lnTo>
                  <a:lnTo>
                    <a:pt x="833" y="666"/>
                  </a:lnTo>
                  <a:lnTo>
                    <a:pt x="832" y="667"/>
                  </a:lnTo>
                  <a:lnTo>
                    <a:pt x="833" y="670"/>
                  </a:lnTo>
                  <a:lnTo>
                    <a:pt x="830" y="671"/>
                  </a:lnTo>
                  <a:lnTo>
                    <a:pt x="828" y="672"/>
                  </a:lnTo>
                  <a:lnTo>
                    <a:pt x="827" y="673"/>
                  </a:lnTo>
                  <a:lnTo>
                    <a:pt x="827" y="672"/>
                  </a:lnTo>
                  <a:lnTo>
                    <a:pt x="826" y="672"/>
                  </a:lnTo>
                  <a:lnTo>
                    <a:pt x="823" y="673"/>
                  </a:lnTo>
                  <a:lnTo>
                    <a:pt x="822" y="675"/>
                  </a:lnTo>
                  <a:lnTo>
                    <a:pt x="821" y="673"/>
                  </a:lnTo>
                  <a:lnTo>
                    <a:pt x="822" y="672"/>
                  </a:lnTo>
                  <a:lnTo>
                    <a:pt x="822" y="671"/>
                  </a:lnTo>
                  <a:lnTo>
                    <a:pt x="821" y="671"/>
                  </a:lnTo>
                  <a:lnTo>
                    <a:pt x="821" y="670"/>
                  </a:lnTo>
                  <a:lnTo>
                    <a:pt x="822" y="669"/>
                  </a:lnTo>
                  <a:lnTo>
                    <a:pt x="821" y="669"/>
                  </a:lnTo>
                  <a:lnTo>
                    <a:pt x="820" y="667"/>
                  </a:lnTo>
                  <a:lnTo>
                    <a:pt x="818" y="665"/>
                  </a:lnTo>
                  <a:lnTo>
                    <a:pt x="818" y="663"/>
                  </a:lnTo>
                  <a:lnTo>
                    <a:pt x="816" y="661"/>
                  </a:lnTo>
                  <a:lnTo>
                    <a:pt x="814" y="661"/>
                  </a:lnTo>
                  <a:lnTo>
                    <a:pt x="812" y="660"/>
                  </a:lnTo>
                  <a:lnTo>
                    <a:pt x="810" y="661"/>
                  </a:lnTo>
                  <a:lnTo>
                    <a:pt x="809" y="661"/>
                  </a:lnTo>
                  <a:lnTo>
                    <a:pt x="809" y="659"/>
                  </a:lnTo>
                  <a:lnTo>
                    <a:pt x="808" y="659"/>
                  </a:lnTo>
                  <a:lnTo>
                    <a:pt x="809" y="659"/>
                  </a:lnTo>
                  <a:lnTo>
                    <a:pt x="810" y="657"/>
                  </a:lnTo>
                  <a:lnTo>
                    <a:pt x="808" y="657"/>
                  </a:lnTo>
                  <a:lnTo>
                    <a:pt x="805" y="655"/>
                  </a:lnTo>
                  <a:lnTo>
                    <a:pt x="804" y="655"/>
                  </a:lnTo>
                  <a:lnTo>
                    <a:pt x="803" y="653"/>
                  </a:lnTo>
                  <a:lnTo>
                    <a:pt x="802" y="651"/>
                  </a:lnTo>
                  <a:lnTo>
                    <a:pt x="800" y="648"/>
                  </a:lnTo>
                  <a:lnTo>
                    <a:pt x="798" y="647"/>
                  </a:lnTo>
                  <a:lnTo>
                    <a:pt x="795" y="648"/>
                  </a:lnTo>
                  <a:lnTo>
                    <a:pt x="795" y="649"/>
                  </a:lnTo>
                  <a:lnTo>
                    <a:pt x="795" y="651"/>
                  </a:lnTo>
                  <a:lnTo>
                    <a:pt x="795" y="652"/>
                  </a:lnTo>
                  <a:lnTo>
                    <a:pt x="794" y="652"/>
                  </a:lnTo>
                  <a:lnTo>
                    <a:pt x="792" y="653"/>
                  </a:lnTo>
                  <a:lnTo>
                    <a:pt x="789" y="652"/>
                  </a:lnTo>
                  <a:lnTo>
                    <a:pt x="787" y="649"/>
                  </a:lnTo>
                  <a:lnTo>
                    <a:pt x="783" y="651"/>
                  </a:lnTo>
                  <a:lnTo>
                    <a:pt x="782" y="652"/>
                  </a:lnTo>
                  <a:lnTo>
                    <a:pt x="781" y="653"/>
                  </a:lnTo>
                  <a:lnTo>
                    <a:pt x="780" y="655"/>
                  </a:lnTo>
                  <a:lnTo>
                    <a:pt x="779" y="655"/>
                  </a:lnTo>
                  <a:lnTo>
                    <a:pt x="779" y="657"/>
                  </a:lnTo>
                  <a:lnTo>
                    <a:pt x="777" y="657"/>
                  </a:lnTo>
                  <a:lnTo>
                    <a:pt x="777" y="658"/>
                  </a:lnTo>
                  <a:lnTo>
                    <a:pt x="779" y="659"/>
                  </a:lnTo>
                  <a:lnTo>
                    <a:pt x="781" y="659"/>
                  </a:lnTo>
                  <a:lnTo>
                    <a:pt x="782" y="660"/>
                  </a:lnTo>
                  <a:lnTo>
                    <a:pt x="782" y="661"/>
                  </a:lnTo>
                  <a:lnTo>
                    <a:pt x="783" y="663"/>
                  </a:lnTo>
                  <a:lnTo>
                    <a:pt x="785" y="663"/>
                  </a:lnTo>
                  <a:lnTo>
                    <a:pt x="785" y="661"/>
                  </a:lnTo>
                  <a:lnTo>
                    <a:pt x="786" y="660"/>
                  </a:lnTo>
                  <a:lnTo>
                    <a:pt x="787" y="660"/>
                  </a:lnTo>
                  <a:lnTo>
                    <a:pt x="787" y="661"/>
                  </a:lnTo>
                  <a:lnTo>
                    <a:pt x="788" y="661"/>
                  </a:lnTo>
                  <a:lnTo>
                    <a:pt x="789" y="661"/>
                  </a:lnTo>
                  <a:lnTo>
                    <a:pt x="791" y="661"/>
                  </a:lnTo>
                  <a:lnTo>
                    <a:pt x="791" y="664"/>
                  </a:lnTo>
                  <a:lnTo>
                    <a:pt x="792" y="664"/>
                  </a:lnTo>
                  <a:lnTo>
                    <a:pt x="793" y="663"/>
                  </a:lnTo>
                  <a:lnTo>
                    <a:pt x="795" y="663"/>
                  </a:lnTo>
                  <a:lnTo>
                    <a:pt x="795" y="661"/>
                  </a:lnTo>
                  <a:lnTo>
                    <a:pt x="797" y="661"/>
                  </a:lnTo>
                  <a:lnTo>
                    <a:pt x="798" y="663"/>
                  </a:lnTo>
                  <a:lnTo>
                    <a:pt x="799" y="663"/>
                  </a:lnTo>
                  <a:lnTo>
                    <a:pt x="800" y="665"/>
                  </a:lnTo>
                  <a:lnTo>
                    <a:pt x="803" y="665"/>
                  </a:lnTo>
                  <a:lnTo>
                    <a:pt x="803" y="666"/>
                  </a:lnTo>
                  <a:lnTo>
                    <a:pt x="804" y="667"/>
                  </a:lnTo>
                  <a:lnTo>
                    <a:pt x="804" y="669"/>
                  </a:lnTo>
                  <a:lnTo>
                    <a:pt x="805" y="670"/>
                  </a:lnTo>
                  <a:lnTo>
                    <a:pt x="808" y="670"/>
                  </a:lnTo>
                  <a:lnTo>
                    <a:pt x="808" y="671"/>
                  </a:lnTo>
                  <a:lnTo>
                    <a:pt x="808" y="672"/>
                  </a:lnTo>
                  <a:lnTo>
                    <a:pt x="811" y="675"/>
                  </a:lnTo>
                  <a:lnTo>
                    <a:pt x="811" y="673"/>
                  </a:lnTo>
                  <a:lnTo>
                    <a:pt x="812" y="676"/>
                  </a:lnTo>
                  <a:lnTo>
                    <a:pt x="811" y="676"/>
                  </a:lnTo>
                  <a:lnTo>
                    <a:pt x="811" y="677"/>
                  </a:lnTo>
                  <a:lnTo>
                    <a:pt x="811" y="678"/>
                  </a:lnTo>
                  <a:lnTo>
                    <a:pt x="810" y="678"/>
                  </a:lnTo>
                  <a:lnTo>
                    <a:pt x="811" y="679"/>
                  </a:lnTo>
                  <a:lnTo>
                    <a:pt x="810" y="681"/>
                  </a:lnTo>
                  <a:lnTo>
                    <a:pt x="811" y="681"/>
                  </a:lnTo>
                  <a:lnTo>
                    <a:pt x="810" y="684"/>
                  </a:lnTo>
                  <a:lnTo>
                    <a:pt x="810" y="685"/>
                  </a:lnTo>
                  <a:lnTo>
                    <a:pt x="810" y="687"/>
                  </a:lnTo>
                  <a:lnTo>
                    <a:pt x="809" y="687"/>
                  </a:lnTo>
                  <a:lnTo>
                    <a:pt x="806" y="687"/>
                  </a:lnTo>
                  <a:lnTo>
                    <a:pt x="804" y="687"/>
                  </a:lnTo>
                  <a:lnTo>
                    <a:pt x="803" y="687"/>
                  </a:lnTo>
                  <a:lnTo>
                    <a:pt x="799" y="685"/>
                  </a:lnTo>
                  <a:lnTo>
                    <a:pt x="797" y="685"/>
                  </a:lnTo>
                  <a:lnTo>
                    <a:pt x="795" y="685"/>
                  </a:lnTo>
                  <a:lnTo>
                    <a:pt x="794" y="687"/>
                  </a:lnTo>
                  <a:lnTo>
                    <a:pt x="792" y="687"/>
                  </a:lnTo>
                  <a:lnTo>
                    <a:pt x="789" y="687"/>
                  </a:lnTo>
                  <a:lnTo>
                    <a:pt x="789" y="688"/>
                  </a:lnTo>
                  <a:lnTo>
                    <a:pt x="788" y="689"/>
                  </a:lnTo>
                  <a:lnTo>
                    <a:pt x="788" y="690"/>
                  </a:lnTo>
                  <a:lnTo>
                    <a:pt x="788" y="694"/>
                  </a:lnTo>
                  <a:lnTo>
                    <a:pt x="787" y="693"/>
                  </a:lnTo>
                  <a:lnTo>
                    <a:pt x="787" y="694"/>
                  </a:lnTo>
                  <a:lnTo>
                    <a:pt x="785" y="693"/>
                  </a:lnTo>
                  <a:lnTo>
                    <a:pt x="783" y="691"/>
                  </a:lnTo>
                  <a:lnTo>
                    <a:pt x="782" y="695"/>
                  </a:lnTo>
                  <a:lnTo>
                    <a:pt x="781" y="691"/>
                  </a:lnTo>
                  <a:lnTo>
                    <a:pt x="782" y="694"/>
                  </a:lnTo>
                  <a:lnTo>
                    <a:pt x="781" y="695"/>
                  </a:lnTo>
                  <a:lnTo>
                    <a:pt x="779" y="694"/>
                  </a:lnTo>
                  <a:lnTo>
                    <a:pt x="776" y="693"/>
                  </a:lnTo>
                  <a:lnTo>
                    <a:pt x="775" y="694"/>
                  </a:lnTo>
                  <a:lnTo>
                    <a:pt x="775" y="695"/>
                  </a:lnTo>
                  <a:lnTo>
                    <a:pt x="774" y="695"/>
                  </a:lnTo>
                  <a:lnTo>
                    <a:pt x="771" y="694"/>
                  </a:lnTo>
                  <a:lnTo>
                    <a:pt x="768" y="694"/>
                  </a:lnTo>
                  <a:lnTo>
                    <a:pt x="767" y="693"/>
                  </a:lnTo>
                  <a:lnTo>
                    <a:pt x="765" y="693"/>
                  </a:lnTo>
                  <a:lnTo>
                    <a:pt x="763" y="691"/>
                  </a:lnTo>
                  <a:lnTo>
                    <a:pt x="762" y="691"/>
                  </a:lnTo>
                  <a:lnTo>
                    <a:pt x="761" y="689"/>
                  </a:lnTo>
                  <a:lnTo>
                    <a:pt x="758" y="690"/>
                  </a:lnTo>
                  <a:lnTo>
                    <a:pt x="757" y="689"/>
                  </a:lnTo>
                  <a:lnTo>
                    <a:pt x="757" y="688"/>
                  </a:lnTo>
                  <a:lnTo>
                    <a:pt x="756" y="688"/>
                  </a:lnTo>
                  <a:lnTo>
                    <a:pt x="756" y="685"/>
                  </a:lnTo>
                  <a:lnTo>
                    <a:pt x="755" y="684"/>
                  </a:lnTo>
                  <a:lnTo>
                    <a:pt x="753" y="685"/>
                  </a:lnTo>
                  <a:lnTo>
                    <a:pt x="753" y="688"/>
                  </a:lnTo>
                  <a:lnTo>
                    <a:pt x="755" y="689"/>
                  </a:lnTo>
                  <a:lnTo>
                    <a:pt x="758" y="690"/>
                  </a:lnTo>
                  <a:lnTo>
                    <a:pt x="759" y="690"/>
                  </a:lnTo>
                  <a:lnTo>
                    <a:pt x="761" y="693"/>
                  </a:lnTo>
                  <a:lnTo>
                    <a:pt x="762" y="693"/>
                  </a:lnTo>
                  <a:lnTo>
                    <a:pt x="762" y="694"/>
                  </a:lnTo>
                  <a:lnTo>
                    <a:pt x="761" y="695"/>
                  </a:lnTo>
                  <a:lnTo>
                    <a:pt x="759" y="699"/>
                  </a:lnTo>
                  <a:lnTo>
                    <a:pt x="759" y="695"/>
                  </a:lnTo>
                  <a:lnTo>
                    <a:pt x="758" y="699"/>
                  </a:lnTo>
                  <a:lnTo>
                    <a:pt x="758" y="700"/>
                  </a:lnTo>
                  <a:lnTo>
                    <a:pt x="757" y="701"/>
                  </a:lnTo>
                  <a:lnTo>
                    <a:pt x="759" y="703"/>
                  </a:lnTo>
                  <a:lnTo>
                    <a:pt x="757" y="705"/>
                  </a:lnTo>
                  <a:lnTo>
                    <a:pt x="756" y="705"/>
                  </a:lnTo>
                  <a:lnTo>
                    <a:pt x="755" y="706"/>
                  </a:lnTo>
                  <a:lnTo>
                    <a:pt x="752" y="706"/>
                  </a:lnTo>
                  <a:lnTo>
                    <a:pt x="750" y="706"/>
                  </a:lnTo>
                  <a:lnTo>
                    <a:pt x="749" y="705"/>
                  </a:lnTo>
                  <a:lnTo>
                    <a:pt x="746" y="706"/>
                  </a:lnTo>
                  <a:lnTo>
                    <a:pt x="744" y="707"/>
                  </a:lnTo>
                  <a:lnTo>
                    <a:pt x="744" y="710"/>
                  </a:lnTo>
                  <a:lnTo>
                    <a:pt x="745" y="710"/>
                  </a:lnTo>
                  <a:lnTo>
                    <a:pt x="745" y="711"/>
                  </a:lnTo>
                  <a:lnTo>
                    <a:pt x="744" y="712"/>
                  </a:lnTo>
                  <a:lnTo>
                    <a:pt x="741" y="712"/>
                  </a:lnTo>
                  <a:lnTo>
                    <a:pt x="740" y="710"/>
                  </a:lnTo>
                  <a:lnTo>
                    <a:pt x="738" y="708"/>
                  </a:lnTo>
                  <a:lnTo>
                    <a:pt x="738" y="710"/>
                  </a:lnTo>
                  <a:lnTo>
                    <a:pt x="739" y="712"/>
                  </a:lnTo>
                  <a:lnTo>
                    <a:pt x="739" y="714"/>
                  </a:lnTo>
                  <a:lnTo>
                    <a:pt x="740" y="716"/>
                  </a:lnTo>
                  <a:lnTo>
                    <a:pt x="741" y="717"/>
                  </a:lnTo>
                  <a:lnTo>
                    <a:pt x="740" y="718"/>
                  </a:lnTo>
                  <a:lnTo>
                    <a:pt x="740" y="720"/>
                  </a:lnTo>
                  <a:lnTo>
                    <a:pt x="741" y="720"/>
                  </a:lnTo>
                  <a:lnTo>
                    <a:pt x="741" y="722"/>
                  </a:lnTo>
                  <a:lnTo>
                    <a:pt x="746" y="723"/>
                  </a:lnTo>
                  <a:lnTo>
                    <a:pt x="746" y="722"/>
                  </a:lnTo>
                  <a:lnTo>
                    <a:pt x="749" y="722"/>
                  </a:lnTo>
                  <a:lnTo>
                    <a:pt x="752" y="723"/>
                  </a:lnTo>
                  <a:lnTo>
                    <a:pt x="751" y="720"/>
                  </a:lnTo>
                  <a:lnTo>
                    <a:pt x="752" y="719"/>
                  </a:lnTo>
                  <a:lnTo>
                    <a:pt x="753" y="719"/>
                  </a:lnTo>
                  <a:lnTo>
                    <a:pt x="756" y="719"/>
                  </a:lnTo>
                  <a:lnTo>
                    <a:pt x="755" y="720"/>
                  </a:lnTo>
                  <a:lnTo>
                    <a:pt x="755" y="722"/>
                  </a:lnTo>
                  <a:lnTo>
                    <a:pt x="756" y="723"/>
                  </a:lnTo>
                  <a:lnTo>
                    <a:pt x="757" y="723"/>
                  </a:lnTo>
                  <a:lnTo>
                    <a:pt x="757" y="724"/>
                  </a:lnTo>
                  <a:lnTo>
                    <a:pt x="757" y="725"/>
                  </a:lnTo>
                  <a:lnTo>
                    <a:pt x="758" y="726"/>
                  </a:lnTo>
                  <a:lnTo>
                    <a:pt x="757" y="728"/>
                  </a:lnTo>
                  <a:lnTo>
                    <a:pt x="756" y="730"/>
                  </a:lnTo>
                  <a:lnTo>
                    <a:pt x="757" y="732"/>
                  </a:lnTo>
                  <a:lnTo>
                    <a:pt x="759" y="735"/>
                  </a:lnTo>
                  <a:lnTo>
                    <a:pt x="757" y="737"/>
                  </a:lnTo>
                  <a:lnTo>
                    <a:pt x="755" y="737"/>
                  </a:lnTo>
                  <a:lnTo>
                    <a:pt x="753" y="737"/>
                  </a:lnTo>
                  <a:lnTo>
                    <a:pt x="752" y="737"/>
                  </a:lnTo>
                  <a:lnTo>
                    <a:pt x="752" y="738"/>
                  </a:lnTo>
                  <a:lnTo>
                    <a:pt x="752" y="740"/>
                  </a:lnTo>
                  <a:lnTo>
                    <a:pt x="752" y="741"/>
                  </a:lnTo>
                  <a:lnTo>
                    <a:pt x="750" y="741"/>
                  </a:lnTo>
                  <a:lnTo>
                    <a:pt x="749" y="741"/>
                  </a:lnTo>
                  <a:lnTo>
                    <a:pt x="749" y="742"/>
                  </a:lnTo>
                  <a:lnTo>
                    <a:pt x="751" y="744"/>
                  </a:lnTo>
                  <a:lnTo>
                    <a:pt x="753" y="744"/>
                  </a:lnTo>
                  <a:lnTo>
                    <a:pt x="755" y="743"/>
                  </a:lnTo>
                  <a:lnTo>
                    <a:pt x="756" y="742"/>
                  </a:lnTo>
                  <a:lnTo>
                    <a:pt x="757" y="741"/>
                  </a:lnTo>
                  <a:lnTo>
                    <a:pt x="758" y="741"/>
                  </a:lnTo>
                  <a:lnTo>
                    <a:pt x="758" y="742"/>
                  </a:lnTo>
                  <a:lnTo>
                    <a:pt x="761" y="742"/>
                  </a:lnTo>
                  <a:lnTo>
                    <a:pt x="761" y="743"/>
                  </a:lnTo>
                  <a:lnTo>
                    <a:pt x="761" y="746"/>
                  </a:lnTo>
                  <a:lnTo>
                    <a:pt x="763" y="749"/>
                  </a:lnTo>
                  <a:lnTo>
                    <a:pt x="764" y="752"/>
                  </a:lnTo>
                  <a:lnTo>
                    <a:pt x="765" y="750"/>
                  </a:lnTo>
                  <a:lnTo>
                    <a:pt x="767" y="750"/>
                  </a:lnTo>
                  <a:lnTo>
                    <a:pt x="768" y="753"/>
                  </a:lnTo>
                  <a:lnTo>
                    <a:pt x="769" y="755"/>
                  </a:lnTo>
                  <a:lnTo>
                    <a:pt x="770" y="755"/>
                  </a:lnTo>
                  <a:lnTo>
                    <a:pt x="770" y="756"/>
                  </a:lnTo>
                  <a:lnTo>
                    <a:pt x="769" y="756"/>
                  </a:lnTo>
                  <a:lnTo>
                    <a:pt x="767" y="756"/>
                  </a:lnTo>
                  <a:lnTo>
                    <a:pt x="764" y="760"/>
                  </a:lnTo>
                  <a:lnTo>
                    <a:pt x="765" y="760"/>
                  </a:lnTo>
                  <a:lnTo>
                    <a:pt x="767" y="760"/>
                  </a:lnTo>
                  <a:lnTo>
                    <a:pt x="768" y="760"/>
                  </a:lnTo>
                  <a:lnTo>
                    <a:pt x="767" y="761"/>
                  </a:lnTo>
                  <a:lnTo>
                    <a:pt x="765" y="764"/>
                  </a:lnTo>
                  <a:lnTo>
                    <a:pt x="763" y="764"/>
                  </a:lnTo>
                  <a:lnTo>
                    <a:pt x="761" y="762"/>
                  </a:lnTo>
                  <a:lnTo>
                    <a:pt x="759" y="764"/>
                  </a:lnTo>
                  <a:lnTo>
                    <a:pt x="759" y="765"/>
                  </a:lnTo>
                  <a:lnTo>
                    <a:pt x="758" y="764"/>
                  </a:lnTo>
                  <a:lnTo>
                    <a:pt x="757" y="762"/>
                  </a:lnTo>
                  <a:lnTo>
                    <a:pt x="756" y="762"/>
                  </a:lnTo>
                  <a:lnTo>
                    <a:pt x="756" y="761"/>
                  </a:lnTo>
                  <a:lnTo>
                    <a:pt x="753" y="764"/>
                  </a:lnTo>
                  <a:lnTo>
                    <a:pt x="751" y="762"/>
                  </a:lnTo>
                  <a:lnTo>
                    <a:pt x="750" y="764"/>
                  </a:lnTo>
                  <a:lnTo>
                    <a:pt x="749" y="762"/>
                  </a:lnTo>
                  <a:lnTo>
                    <a:pt x="747" y="761"/>
                  </a:lnTo>
                  <a:lnTo>
                    <a:pt x="746" y="760"/>
                  </a:lnTo>
                  <a:lnTo>
                    <a:pt x="744" y="759"/>
                  </a:lnTo>
                  <a:lnTo>
                    <a:pt x="741" y="759"/>
                  </a:lnTo>
                  <a:lnTo>
                    <a:pt x="739" y="755"/>
                  </a:lnTo>
                  <a:lnTo>
                    <a:pt x="736" y="753"/>
                  </a:lnTo>
                  <a:lnTo>
                    <a:pt x="735" y="754"/>
                  </a:lnTo>
                  <a:lnTo>
                    <a:pt x="734" y="754"/>
                  </a:lnTo>
                  <a:lnTo>
                    <a:pt x="730" y="754"/>
                  </a:lnTo>
                  <a:lnTo>
                    <a:pt x="730" y="750"/>
                  </a:lnTo>
                  <a:lnTo>
                    <a:pt x="734" y="752"/>
                  </a:lnTo>
                  <a:lnTo>
                    <a:pt x="734" y="748"/>
                  </a:lnTo>
                  <a:lnTo>
                    <a:pt x="733" y="747"/>
                  </a:lnTo>
                  <a:lnTo>
                    <a:pt x="734" y="746"/>
                  </a:lnTo>
                  <a:lnTo>
                    <a:pt x="735" y="746"/>
                  </a:lnTo>
                  <a:lnTo>
                    <a:pt x="735" y="744"/>
                  </a:lnTo>
                  <a:lnTo>
                    <a:pt x="736" y="746"/>
                  </a:lnTo>
                  <a:lnTo>
                    <a:pt x="736" y="747"/>
                  </a:lnTo>
                  <a:lnTo>
                    <a:pt x="738" y="750"/>
                  </a:lnTo>
                  <a:lnTo>
                    <a:pt x="740" y="753"/>
                  </a:lnTo>
                  <a:lnTo>
                    <a:pt x="741" y="753"/>
                  </a:lnTo>
                  <a:lnTo>
                    <a:pt x="741" y="754"/>
                  </a:lnTo>
                  <a:lnTo>
                    <a:pt x="744" y="755"/>
                  </a:lnTo>
                  <a:lnTo>
                    <a:pt x="746" y="754"/>
                  </a:lnTo>
                  <a:lnTo>
                    <a:pt x="747" y="754"/>
                  </a:lnTo>
                  <a:lnTo>
                    <a:pt x="750" y="754"/>
                  </a:lnTo>
                  <a:lnTo>
                    <a:pt x="751" y="753"/>
                  </a:lnTo>
                  <a:lnTo>
                    <a:pt x="750" y="749"/>
                  </a:lnTo>
                  <a:lnTo>
                    <a:pt x="749" y="749"/>
                  </a:lnTo>
                  <a:lnTo>
                    <a:pt x="747" y="749"/>
                  </a:lnTo>
                  <a:lnTo>
                    <a:pt x="746" y="752"/>
                  </a:lnTo>
                  <a:lnTo>
                    <a:pt x="746" y="749"/>
                  </a:lnTo>
                  <a:lnTo>
                    <a:pt x="745" y="747"/>
                  </a:lnTo>
                  <a:lnTo>
                    <a:pt x="745" y="744"/>
                  </a:lnTo>
                  <a:lnTo>
                    <a:pt x="743" y="741"/>
                  </a:lnTo>
                  <a:lnTo>
                    <a:pt x="746" y="740"/>
                  </a:lnTo>
                  <a:lnTo>
                    <a:pt x="743" y="738"/>
                  </a:lnTo>
                  <a:lnTo>
                    <a:pt x="743" y="737"/>
                  </a:lnTo>
                  <a:lnTo>
                    <a:pt x="741" y="736"/>
                  </a:lnTo>
                  <a:lnTo>
                    <a:pt x="740" y="735"/>
                  </a:lnTo>
                  <a:lnTo>
                    <a:pt x="739" y="734"/>
                  </a:lnTo>
                  <a:lnTo>
                    <a:pt x="741" y="731"/>
                  </a:lnTo>
                  <a:lnTo>
                    <a:pt x="740" y="730"/>
                  </a:lnTo>
                  <a:lnTo>
                    <a:pt x="739" y="730"/>
                  </a:lnTo>
                  <a:lnTo>
                    <a:pt x="736" y="730"/>
                  </a:lnTo>
                  <a:lnTo>
                    <a:pt x="735" y="731"/>
                  </a:lnTo>
                  <a:lnTo>
                    <a:pt x="735" y="732"/>
                  </a:lnTo>
                  <a:lnTo>
                    <a:pt x="734" y="734"/>
                  </a:lnTo>
                  <a:lnTo>
                    <a:pt x="736" y="735"/>
                  </a:lnTo>
                  <a:lnTo>
                    <a:pt x="736" y="736"/>
                  </a:lnTo>
                  <a:lnTo>
                    <a:pt x="738" y="736"/>
                  </a:lnTo>
                  <a:lnTo>
                    <a:pt x="739" y="736"/>
                  </a:lnTo>
                  <a:lnTo>
                    <a:pt x="741" y="736"/>
                  </a:lnTo>
                  <a:lnTo>
                    <a:pt x="741" y="737"/>
                  </a:lnTo>
                  <a:lnTo>
                    <a:pt x="740" y="737"/>
                  </a:lnTo>
                  <a:lnTo>
                    <a:pt x="739" y="737"/>
                  </a:lnTo>
                  <a:lnTo>
                    <a:pt x="738" y="738"/>
                  </a:lnTo>
                  <a:lnTo>
                    <a:pt x="736" y="740"/>
                  </a:lnTo>
                  <a:lnTo>
                    <a:pt x="735" y="737"/>
                  </a:lnTo>
                  <a:lnTo>
                    <a:pt x="735" y="736"/>
                  </a:lnTo>
                  <a:lnTo>
                    <a:pt x="734" y="736"/>
                  </a:lnTo>
                  <a:lnTo>
                    <a:pt x="732" y="735"/>
                  </a:lnTo>
                  <a:lnTo>
                    <a:pt x="730" y="735"/>
                  </a:lnTo>
                  <a:lnTo>
                    <a:pt x="729" y="734"/>
                  </a:lnTo>
                  <a:lnTo>
                    <a:pt x="728" y="732"/>
                  </a:lnTo>
                  <a:lnTo>
                    <a:pt x="726" y="729"/>
                  </a:lnTo>
                  <a:lnTo>
                    <a:pt x="724" y="729"/>
                  </a:lnTo>
                  <a:lnTo>
                    <a:pt x="722" y="728"/>
                  </a:lnTo>
                  <a:lnTo>
                    <a:pt x="722" y="726"/>
                  </a:lnTo>
                  <a:lnTo>
                    <a:pt x="720" y="725"/>
                  </a:lnTo>
                  <a:lnTo>
                    <a:pt x="718" y="724"/>
                  </a:lnTo>
                  <a:lnTo>
                    <a:pt x="717" y="723"/>
                  </a:lnTo>
                  <a:lnTo>
                    <a:pt x="716" y="722"/>
                  </a:lnTo>
                  <a:lnTo>
                    <a:pt x="716" y="719"/>
                  </a:lnTo>
                  <a:lnTo>
                    <a:pt x="718" y="719"/>
                  </a:lnTo>
                  <a:lnTo>
                    <a:pt x="721" y="719"/>
                  </a:lnTo>
                  <a:lnTo>
                    <a:pt x="721" y="718"/>
                  </a:lnTo>
                  <a:lnTo>
                    <a:pt x="721" y="716"/>
                  </a:lnTo>
                  <a:lnTo>
                    <a:pt x="721" y="714"/>
                  </a:lnTo>
                  <a:lnTo>
                    <a:pt x="720" y="713"/>
                  </a:lnTo>
                  <a:lnTo>
                    <a:pt x="721" y="711"/>
                  </a:lnTo>
                  <a:lnTo>
                    <a:pt x="721" y="707"/>
                  </a:lnTo>
                  <a:lnTo>
                    <a:pt x="720" y="711"/>
                  </a:lnTo>
                  <a:lnTo>
                    <a:pt x="718" y="713"/>
                  </a:lnTo>
                  <a:lnTo>
                    <a:pt x="716" y="713"/>
                  </a:lnTo>
                  <a:lnTo>
                    <a:pt x="714" y="713"/>
                  </a:lnTo>
                  <a:lnTo>
                    <a:pt x="712" y="712"/>
                  </a:lnTo>
                  <a:lnTo>
                    <a:pt x="711" y="711"/>
                  </a:lnTo>
                  <a:lnTo>
                    <a:pt x="709" y="710"/>
                  </a:lnTo>
                  <a:lnTo>
                    <a:pt x="708" y="710"/>
                  </a:lnTo>
                  <a:lnTo>
                    <a:pt x="708" y="707"/>
                  </a:lnTo>
                  <a:lnTo>
                    <a:pt x="706" y="706"/>
                  </a:lnTo>
                  <a:lnTo>
                    <a:pt x="705" y="706"/>
                  </a:lnTo>
                  <a:lnTo>
                    <a:pt x="703" y="707"/>
                  </a:lnTo>
                  <a:lnTo>
                    <a:pt x="702" y="708"/>
                  </a:lnTo>
                  <a:lnTo>
                    <a:pt x="702" y="707"/>
                  </a:lnTo>
                  <a:lnTo>
                    <a:pt x="700" y="706"/>
                  </a:lnTo>
                  <a:lnTo>
                    <a:pt x="699" y="705"/>
                  </a:lnTo>
                  <a:lnTo>
                    <a:pt x="698" y="702"/>
                  </a:lnTo>
                  <a:lnTo>
                    <a:pt x="698" y="699"/>
                  </a:lnTo>
                  <a:lnTo>
                    <a:pt x="697" y="697"/>
                  </a:lnTo>
                  <a:lnTo>
                    <a:pt x="696" y="695"/>
                  </a:lnTo>
                  <a:lnTo>
                    <a:pt x="696" y="694"/>
                  </a:lnTo>
                  <a:lnTo>
                    <a:pt x="697" y="693"/>
                  </a:lnTo>
                  <a:lnTo>
                    <a:pt x="697" y="691"/>
                  </a:lnTo>
                  <a:lnTo>
                    <a:pt x="699" y="693"/>
                  </a:lnTo>
                  <a:lnTo>
                    <a:pt x="699" y="691"/>
                  </a:lnTo>
                  <a:lnTo>
                    <a:pt x="699" y="694"/>
                  </a:lnTo>
                  <a:lnTo>
                    <a:pt x="700" y="694"/>
                  </a:lnTo>
                  <a:lnTo>
                    <a:pt x="702" y="694"/>
                  </a:lnTo>
                  <a:lnTo>
                    <a:pt x="702" y="691"/>
                  </a:lnTo>
                  <a:lnTo>
                    <a:pt x="703" y="689"/>
                  </a:lnTo>
                  <a:lnTo>
                    <a:pt x="704" y="690"/>
                  </a:lnTo>
                  <a:lnTo>
                    <a:pt x="705" y="691"/>
                  </a:lnTo>
                  <a:lnTo>
                    <a:pt x="705" y="690"/>
                  </a:lnTo>
                  <a:lnTo>
                    <a:pt x="705" y="689"/>
                  </a:lnTo>
                  <a:lnTo>
                    <a:pt x="704" y="687"/>
                  </a:lnTo>
                  <a:lnTo>
                    <a:pt x="705" y="687"/>
                  </a:lnTo>
                  <a:lnTo>
                    <a:pt x="704" y="683"/>
                  </a:lnTo>
                  <a:lnTo>
                    <a:pt x="705" y="682"/>
                  </a:lnTo>
                  <a:lnTo>
                    <a:pt x="706" y="679"/>
                  </a:lnTo>
                  <a:lnTo>
                    <a:pt x="706" y="678"/>
                  </a:lnTo>
                  <a:lnTo>
                    <a:pt x="708" y="677"/>
                  </a:lnTo>
                  <a:lnTo>
                    <a:pt x="709" y="679"/>
                  </a:lnTo>
                  <a:lnTo>
                    <a:pt x="710" y="681"/>
                  </a:lnTo>
                  <a:lnTo>
                    <a:pt x="709" y="682"/>
                  </a:lnTo>
                  <a:lnTo>
                    <a:pt x="710" y="684"/>
                  </a:lnTo>
                  <a:lnTo>
                    <a:pt x="710" y="687"/>
                  </a:lnTo>
                  <a:lnTo>
                    <a:pt x="712" y="687"/>
                  </a:lnTo>
                  <a:lnTo>
                    <a:pt x="712" y="685"/>
                  </a:lnTo>
                  <a:lnTo>
                    <a:pt x="714" y="690"/>
                  </a:lnTo>
                  <a:lnTo>
                    <a:pt x="711" y="689"/>
                  </a:lnTo>
                  <a:lnTo>
                    <a:pt x="709" y="690"/>
                  </a:lnTo>
                  <a:lnTo>
                    <a:pt x="710" y="691"/>
                  </a:lnTo>
                  <a:lnTo>
                    <a:pt x="710" y="693"/>
                  </a:lnTo>
                  <a:lnTo>
                    <a:pt x="712" y="693"/>
                  </a:lnTo>
                  <a:lnTo>
                    <a:pt x="712" y="691"/>
                  </a:lnTo>
                  <a:lnTo>
                    <a:pt x="714" y="691"/>
                  </a:lnTo>
                  <a:lnTo>
                    <a:pt x="716" y="690"/>
                  </a:lnTo>
                  <a:lnTo>
                    <a:pt x="717" y="690"/>
                  </a:lnTo>
                  <a:lnTo>
                    <a:pt x="717" y="693"/>
                  </a:lnTo>
                  <a:lnTo>
                    <a:pt x="718" y="694"/>
                  </a:lnTo>
                  <a:lnTo>
                    <a:pt x="721" y="695"/>
                  </a:lnTo>
                  <a:lnTo>
                    <a:pt x="721" y="696"/>
                  </a:lnTo>
                  <a:lnTo>
                    <a:pt x="723" y="696"/>
                  </a:lnTo>
                  <a:lnTo>
                    <a:pt x="723" y="695"/>
                  </a:lnTo>
                  <a:lnTo>
                    <a:pt x="724" y="694"/>
                  </a:lnTo>
                  <a:lnTo>
                    <a:pt x="726" y="691"/>
                  </a:lnTo>
                  <a:lnTo>
                    <a:pt x="726" y="690"/>
                  </a:lnTo>
                  <a:lnTo>
                    <a:pt x="726" y="688"/>
                  </a:lnTo>
                  <a:lnTo>
                    <a:pt x="723" y="687"/>
                  </a:lnTo>
                  <a:lnTo>
                    <a:pt x="726" y="684"/>
                  </a:lnTo>
                  <a:lnTo>
                    <a:pt x="727" y="682"/>
                  </a:lnTo>
                  <a:lnTo>
                    <a:pt x="724" y="678"/>
                  </a:lnTo>
                  <a:lnTo>
                    <a:pt x="723" y="677"/>
                  </a:lnTo>
                  <a:lnTo>
                    <a:pt x="720" y="676"/>
                  </a:lnTo>
                  <a:lnTo>
                    <a:pt x="715" y="676"/>
                  </a:lnTo>
                  <a:lnTo>
                    <a:pt x="711" y="676"/>
                  </a:lnTo>
                  <a:lnTo>
                    <a:pt x="708" y="676"/>
                  </a:lnTo>
                  <a:lnTo>
                    <a:pt x="705" y="677"/>
                  </a:lnTo>
                  <a:lnTo>
                    <a:pt x="704" y="677"/>
                  </a:lnTo>
                  <a:lnTo>
                    <a:pt x="703" y="677"/>
                  </a:lnTo>
                  <a:lnTo>
                    <a:pt x="702" y="677"/>
                  </a:lnTo>
                  <a:lnTo>
                    <a:pt x="700" y="678"/>
                  </a:lnTo>
                  <a:lnTo>
                    <a:pt x="698" y="676"/>
                  </a:lnTo>
                  <a:lnTo>
                    <a:pt x="696" y="673"/>
                  </a:lnTo>
                  <a:lnTo>
                    <a:pt x="693" y="672"/>
                  </a:lnTo>
                  <a:lnTo>
                    <a:pt x="692" y="672"/>
                  </a:lnTo>
                  <a:lnTo>
                    <a:pt x="690" y="672"/>
                  </a:lnTo>
                  <a:lnTo>
                    <a:pt x="687" y="672"/>
                  </a:lnTo>
                  <a:lnTo>
                    <a:pt x="686" y="672"/>
                  </a:lnTo>
                  <a:lnTo>
                    <a:pt x="687" y="673"/>
                  </a:lnTo>
                  <a:lnTo>
                    <a:pt x="687" y="675"/>
                  </a:lnTo>
                  <a:lnTo>
                    <a:pt x="690" y="675"/>
                  </a:lnTo>
                  <a:lnTo>
                    <a:pt x="691" y="675"/>
                  </a:lnTo>
                  <a:lnTo>
                    <a:pt x="690" y="676"/>
                  </a:lnTo>
                  <a:lnTo>
                    <a:pt x="690" y="677"/>
                  </a:lnTo>
                  <a:lnTo>
                    <a:pt x="686" y="677"/>
                  </a:lnTo>
                  <a:lnTo>
                    <a:pt x="684" y="678"/>
                  </a:lnTo>
                  <a:lnTo>
                    <a:pt x="681" y="682"/>
                  </a:lnTo>
                  <a:lnTo>
                    <a:pt x="680" y="683"/>
                  </a:lnTo>
                  <a:lnTo>
                    <a:pt x="679" y="682"/>
                  </a:lnTo>
                  <a:lnTo>
                    <a:pt x="678" y="681"/>
                  </a:lnTo>
                  <a:lnTo>
                    <a:pt x="676" y="681"/>
                  </a:lnTo>
                  <a:lnTo>
                    <a:pt x="673" y="682"/>
                  </a:lnTo>
                  <a:lnTo>
                    <a:pt x="671" y="681"/>
                  </a:lnTo>
                  <a:lnTo>
                    <a:pt x="671" y="679"/>
                  </a:lnTo>
                  <a:lnTo>
                    <a:pt x="669" y="678"/>
                  </a:lnTo>
                  <a:lnTo>
                    <a:pt x="668" y="678"/>
                  </a:lnTo>
                  <a:lnTo>
                    <a:pt x="665" y="678"/>
                  </a:lnTo>
                  <a:lnTo>
                    <a:pt x="664" y="679"/>
                  </a:lnTo>
                  <a:lnTo>
                    <a:pt x="662" y="679"/>
                  </a:lnTo>
                  <a:lnTo>
                    <a:pt x="662" y="681"/>
                  </a:lnTo>
                  <a:lnTo>
                    <a:pt x="661" y="681"/>
                  </a:lnTo>
                  <a:lnTo>
                    <a:pt x="659" y="684"/>
                  </a:lnTo>
                  <a:lnTo>
                    <a:pt x="656" y="684"/>
                  </a:lnTo>
                  <a:lnTo>
                    <a:pt x="655" y="683"/>
                  </a:lnTo>
                  <a:lnTo>
                    <a:pt x="655" y="682"/>
                  </a:lnTo>
                  <a:lnTo>
                    <a:pt x="651" y="681"/>
                  </a:lnTo>
                  <a:lnTo>
                    <a:pt x="650" y="682"/>
                  </a:lnTo>
                  <a:lnTo>
                    <a:pt x="649" y="684"/>
                  </a:lnTo>
                  <a:lnTo>
                    <a:pt x="647" y="684"/>
                  </a:lnTo>
                  <a:lnTo>
                    <a:pt x="647" y="683"/>
                  </a:lnTo>
                  <a:lnTo>
                    <a:pt x="646" y="682"/>
                  </a:lnTo>
                  <a:lnTo>
                    <a:pt x="645" y="681"/>
                  </a:lnTo>
                  <a:lnTo>
                    <a:pt x="645" y="678"/>
                  </a:lnTo>
                  <a:lnTo>
                    <a:pt x="644" y="675"/>
                  </a:lnTo>
                  <a:lnTo>
                    <a:pt x="644" y="673"/>
                  </a:lnTo>
                  <a:lnTo>
                    <a:pt x="643" y="672"/>
                  </a:lnTo>
                  <a:lnTo>
                    <a:pt x="641" y="672"/>
                  </a:lnTo>
                  <a:lnTo>
                    <a:pt x="639" y="673"/>
                  </a:lnTo>
                  <a:lnTo>
                    <a:pt x="637" y="673"/>
                  </a:lnTo>
                  <a:lnTo>
                    <a:pt x="626" y="676"/>
                  </a:lnTo>
                  <a:lnTo>
                    <a:pt x="621" y="677"/>
                  </a:lnTo>
                  <a:lnTo>
                    <a:pt x="619" y="677"/>
                  </a:lnTo>
                  <a:lnTo>
                    <a:pt x="616" y="678"/>
                  </a:lnTo>
                  <a:lnTo>
                    <a:pt x="614" y="679"/>
                  </a:lnTo>
                  <a:lnTo>
                    <a:pt x="611" y="679"/>
                  </a:lnTo>
                  <a:lnTo>
                    <a:pt x="605" y="679"/>
                  </a:lnTo>
                  <a:lnTo>
                    <a:pt x="602" y="681"/>
                  </a:lnTo>
                  <a:lnTo>
                    <a:pt x="600" y="683"/>
                  </a:lnTo>
                  <a:lnTo>
                    <a:pt x="594" y="683"/>
                  </a:lnTo>
                  <a:lnTo>
                    <a:pt x="592" y="681"/>
                  </a:lnTo>
                  <a:lnTo>
                    <a:pt x="588" y="681"/>
                  </a:lnTo>
                  <a:lnTo>
                    <a:pt x="584" y="682"/>
                  </a:lnTo>
                  <a:lnTo>
                    <a:pt x="574" y="682"/>
                  </a:lnTo>
                  <a:lnTo>
                    <a:pt x="572" y="682"/>
                  </a:lnTo>
                  <a:lnTo>
                    <a:pt x="572" y="683"/>
                  </a:lnTo>
                  <a:lnTo>
                    <a:pt x="572" y="688"/>
                  </a:lnTo>
                  <a:lnTo>
                    <a:pt x="573" y="687"/>
                  </a:lnTo>
                  <a:lnTo>
                    <a:pt x="574" y="688"/>
                  </a:lnTo>
                  <a:lnTo>
                    <a:pt x="574" y="690"/>
                  </a:lnTo>
                  <a:lnTo>
                    <a:pt x="575" y="691"/>
                  </a:lnTo>
                  <a:lnTo>
                    <a:pt x="575" y="690"/>
                  </a:lnTo>
                  <a:lnTo>
                    <a:pt x="576" y="690"/>
                  </a:lnTo>
                  <a:lnTo>
                    <a:pt x="578" y="691"/>
                  </a:lnTo>
                  <a:lnTo>
                    <a:pt x="579" y="690"/>
                  </a:lnTo>
                  <a:lnTo>
                    <a:pt x="580" y="690"/>
                  </a:lnTo>
                  <a:lnTo>
                    <a:pt x="582" y="690"/>
                  </a:lnTo>
                  <a:lnTo>
                    <a:pt x="585" y="690"/>
                  </a:lnTo>
                  <a:lnTo>
                    <a:pt x="585" y="691"/>
                  </a:lnTo>
                  <a:lnTo>
                    <a:pt x="586" y="690"/>
                  </a:lnTo>
                  <a:lnTo>
                    <a:pt x="587" y="690"/>
                  </a:lnTo>
                  <a:lnTo>
                    <a:pt x="588" y="694"/>
                  </a:lnTo>
                  <a:lnTo>
                    <a:pt x="588" y="691"/>
                  </a:lnTo>
                  <a:lnTo>
                    <a:pt x="591" y="693"/>
                  </a:lnTo>
                  <a:lnTo>
                    <a:pt x="591" y="694"/>
                  </a:lnTo>
                  <a:lnTo>
                    <a:pt x="591" y="695"/>
                  </a:lnTo>
                  <a:lnTo>
                    <a:pt x="592" y="695"/>
                  </a:lnTo>
                  <a:lnTo>
                    <a:pt x="591" y="696"/>
                  </a:lnTo>
                  <a:lnTo>
                    <a:pt x="593" y="697"/>
                  </a:lnTo>
                  <a:lnTo>
                    <a:pt x="597" y="699"/>
                  </a:lnTo>
                  <a:lnTo>
                    <a:pt x="597" y="701"/>
                  </a:lnTo>
                  <a:lnTo>
                    <a:pt x="596" y="701"/>
                  </a:lnTo>
                  <a:lnTo>
                    <a:pt x="596" y="705"/>
                  </a:lnTo>
                  <a:lnTo>
                    <a:pt x="596" y="707"/>
                  </a:lnTo>
                  <a:lnTo>
                    <a:pt x="597" y="707"/>
                  </a:lnTo>
                  <a:lnTo>
                    <a:pt x="596" y="711"/>
                  </a:lnTo>
                  <a:lnTo>
                    <a:pt x="596" y="713"/>
                  </a:lnTo>
                  <a:lnTo>
                    <a:pt x="597" y="714"/>
                  </a:lnTo>
                  <a:lnTo>
                    <a:pt x="594" y="716"/>
                  </a:lnTo>
                  <a:lnTo>
                    <a:pt x="591" y="717"/>
                  </a:lnTo>
                  <a:lnTo>
                    <a:pt x="590" y="718"/>
                  </a:lnTo>
                  <a:lnTo>
                    <a:pt x="587" y="718"/>
                  </a:lnTo>
                  <a:lnTo>
                    <a:pt x="586" y="719"/>
                  </a:lnTo>
                  <a:lnTo>
                    <a:pt x="585" y="719"/>
                  </a:lnTo>
                  <a:lnTo>
                    <a:pt x="580" y="719"/>
                  </a:lnTo>
                  <a:lnTo>
                    <a:pt x="582" y="720"/>
                  </a:lnTo>
                  <a:lnTo>
                    <a:pt x="586" y="723"/>
                  </a:lnTo>
                  <a:lnTo>
                    <a:pt x="587" y="723"/>
                  </a:lnTo>
                  <a:lnTo>
                    <a:pt x="588" y="723"/>
                  </a:lnTo>
                  <a:lnTo>
                    <a:pt x="592" y="723"/>
                  </a:lnTo>
                  <a:lnTo>
                    <a:pt x="606" y="723"/>
                  </a:lnTo>
                  <a:lnTo>
                    <a:pt x="606" y="722"/>
                  </a:lnTo>
                  <a:lnTo>
                    <a:pt x="610" y="722"/>
                  </a:lnTo>
                  <a:lnTo>
                    <a:pt x="610" y="724"/>
                  </a:lnTo>
                  <a:lnTo>
                    <a:pt x="612" y="724"/>
                  </a:lnTo>
                  <a:lnTo>
                    <a:pt x="616" y="724"/>
                  </a:lnTo>
                  <a:lnTo>
                    <a:pt x="623" y="725"/>
                  </a:lnTo>
                  <a:lnTo>
                    <a:pt x="626" y="726"/>
                  </a:lnTo>
                  <a:lnTo>
                    <a:pt x="628" y="726"/>
                  </a:lnTo>
                  <a:lnTo>
                    <a:pt x="631" y="725"/>
                  </a:lnTo>
                  <a:lnTo>
                    <a:pt x="631" y="723"/>
                  </a:lnTo>
                  <a:lnTo>
                    <a:pt x="631" y="722"/>
                  </a:lnTo>
                  <a:lnTo>
                    <a:pt x="628" y="722"/>
                  </a:lnTo>
                  <a:lnTo>
                    <a:pt x="627" y="722"/>
                  </a:lnTo>
                  <a:lnTo>
                    <a:pt x="627" y="720"/>
                  </a:lnTo>
                  <a:lnTo>
                    <a:pt x="626" y="718"/>
                  </a:lnTo>
                  <a:lnTo>
                    <a:pt x="627" y="717"/>
                  </a:lnTo>
                  <a:lnTo>
                    <a:pt x="629" y="717"/>
                  </a:lnTo>
                  <a:lnTo>
                    <a:pt x="633" y="717"/>
                  </a:lnTo>
                  <a:lnTo>
                    <a:pt x="635" y="717"/>
                  </a:lnTo>
                  <a:lnTo>
                    <a:pt x="637" y="718"/>
                  </a:lnTo>
                  <a:lnTo>
                    <a:pt x="637" y="717"/>
                  </a:lnTo>
                  <a:lnTo>
                    <a:pt x="640" y="717"/>
                  </a:lnTo>
                  <a:lnTo>
                    <a:pt x="639" y="719"/>
                  </a:lnTo>
                  <a:lnTo>
                    <a:pt x="640" y="720"/>
                  </a:lnTo>
                  <a:lnTo>
                    <a:pt x="641" y="720"/>
                  </a:lnTo>
                  <a:lnTo>
                    <a:pt x="644" y="719"/>
                  </a:lnTo>
                  <a:lnTo>
                    <a:pt x="644" y="717"/>
                  </a:lnTo>
                  <a:lnTo>
                    <a:pt x="647" y="717"/>
                  </a:lnTo>
                  <a:lnTo>
                    <a:pt x="649" y="716"/>
                  </a:lnTo>
                  <a:lnTo>
                    <a:pt x="650" y="714"/>
                  </a:lnTo>
                  <a:lnTo>
                    <a:pt x="649" y="713"/>
                  </a:lnTo>
                  <a:lnTo>
                    <a:pt x="651" y="713"/>
                  </a:lnTo>
                  <a:lnTo>
                    <a:pt x="652" y="713"/>
                  </a:lnTo>
                  <a:lnTo>
                    <a:pt x="653" y="713"/>
                  </a:lnTo>
                  <a:lnTo>
                    <a:pt x="653" y="712"/>
                  </a:lnTo>
                  <a:lnTo>
                    <a:pt x="655" y="712"/>
                  </a:lnTo>
                  <a:lnTo>
                    <a:pt x="656" y="711"/>
                  </a:lnTo>
                  <a:lnTo>
                    <a:pt x="657" y="711"/>
                  </a:lnTo>
                  <a:lnTo>
                    <a:pt x="658" y="711"/>
                  </a:lnTo>
                  <a:lnTo>
                    <a:pt x="658" y="710"/>
                  </a:lnTo>
                  <a:lnTo>
                    <a:pt x="663" y="710"/>
                  </a:lnTo>
                  <a:lnTo>
                    <a:pt x="663" y="711"/>
                  </a:lnTo>
                  <a:lnTo>
                    <a:pt x="664" y="711"/>
                  </a:lnTo>
                  <a:lnTo>
                    <a:pt x="665" y="711"/>
                  </a:lnTo>
                  <a:lnTo>
                    <a:pt x="668" y="711"/>
                  </a:lnTo>
                  <a:lnTo>
                    <a:pt x="668" y="712"/>
                  </a:lnTo>
                  <a:lnTo>
                    <a:pt x="671" y="714"/>
                  </a:lnTo>
                  <a:lnTo>
                    <a:pt x="671" y="716"/>
                  </a:lnTo>
                  <a:lnTo>
                    <a:pt x="674" y="716"/>
                  </a:lnTo>
                  <a:lnTo>
                    <a:pt x="674" y="718"/>
                  </a:lnTo>
                  <a:lnTo>
                    <a:pt x="675" y="718"/>
                  </a:lnTo>
                  <a:lnTo>
                    <a:pt x="676" y="718"/>
                  </a:lnTo>
                  <a:lnTo>
                    <a:pt x="676" y="719"/>
                  </a:lnTo>
                  <a:lnTo>
                    <a:pt x="678" y="719"/>
                  </a:lnTo>
                  <a:lnTo>
                    <a:pt x="678" y="720"/>
                  </a:lnTo>
                  <a:lnTo>
                    <a:pt x="678" y="722"/>
                  </a:lnTo>
                  <a:lnTo>
                    <a:pt x="680" y="720"/>
                  </a:lnTo>
                  <a:lnTo>
                    <a:pt x="679" y="725"/>
                  </a:lnTo>
                  <a:lnTo>
                    <a:pt x="681" y="725"/>
                  </a:lnTo>
                  <a:lnTo>
                    <a:pt x="685" y="726"/>
                  </a:lnTo>
                  <a:lnTo>
                    <a:pt x="686" y="730"/>
                  </a:lnTo>
                  <a:lnTo>
                    <a:pt x="687" y="730"/>
                  </a:lnTo>
                  <a:lnTo>
                    <a:pt x="688" y="730"/>
                  </a:lnTo>
                  <a:lnTo>
                    <a:pt x="690" y="729"/>
                  </a:lnTo>
                  <a:lnTo>
                    <a:pt x="691" y="726"/>
                  </a:lnTo>
                  <a:lnTo>
                    <a:pt x="694" y="726"/>
                  </a:lnTo>
                  <a:lnTo>
                    <a:pt x="694" y="728"/>
                  </a:lnTo>
                  <a:lnTo>
                    <a:pt x="697" y="728"/>
                  </a:lnTo>
                  <a:lnTo>
                    <a:pt x="700" y="728"/>
                  </a:lnTo>
                  <a:lnTo>
                    <a:pt x="702" y="730"/>
                  </a:lnTo>
                  <a:lnTo>
                    <a:pt x="702" y="731"/>
                  </a:lnTo>
                  <a:lnTo>
                    <a:pt x="702" y="732"/>
                  </a:lnTo>
                  <a:lnTo>
                    <a:pt x="703" y="735"/>
                  </a:lnTo>
                  <a:lnTo>
                    <a:pt x="704" y="736"/>
                  </a:lnTo>
                  <a:lnTo>
                    <a:pt x="705" y="736"/>
                  </a:lnTo>
                  <a:lnTo>
                    <a:pt x="705" y="738"/>
                  </a:lnTo>
                  <a:lnTo>
                    <a:pt x="704" y="741"/>
                  </a:lnTo>
                  <a:lnTo>
                    <a:pt x="705" y="743"/>
                  </a:lnTo>
                  <a:lnTo>
                    <a:pt x="703" y="744"/>
                  </a:lnTo>
                  <a:lnTo>
                    <a:pt x="704" y="744"/>
                  </a:lnTo>
                  <a:lnTo>
                    <a:pt x="705" y="744"/>
                  </a:lnTo>
                  <a:lnTo>
                    <a:pt x="705" y="746"/>
                  </a:lnTo>
                  <a:lnTo>
                    <a:pt x="710" y="749"/>
                  </a:lnTo>
                  <a:lnTo>
                    <a:pt x="711" y="749"/>
                  </a:lnTo>
                  <a:lnTo>
                    <a:pt x="712" y="749"/>
                  </a:lnTo>
                  <a:lnTo>
                    <a:pt x="714" y="749"/>
                  </a:lnTo>
                  <a:lnTo>
                    <a:pt x="714" y="748"/>
                  </a:lnTo>
                  <a:lnTo>
                    <a:pt x="716" y="748"/>
                  </a:lnTo>
                  <a:lnTo>
                    <a:pt x="716" y="749"/>
                  </a:lnTo>
                  <a:lnTo>
                    <a:pt x="718" y="749"/>
                  </a:lnTo>
                  <a:lnTo>
                    <a:pt x="718" y="752"/>
                  </a:lnTo>
                  <a:lnTo>
                    <a:pt x="721" y="755"/>
                  </a:lnTo>
                  <a:lnTo>
                    <a:pt x="721" y="756"/>
                  </a:lnTo>
                  <a:lnTo>
                    <a:pt x="720" y="756"/>
                  </a:lnTo>
                  <a:lnTo>
                    <a:pt x="718" y="758"/>
                  </a:lnTo>
                  <a:lnTo>
                    <a:pt x="718" y="760"/>
                  </a:lnTo>
                  <a:lnTo>
                    <a:pt x="717" y="761"/>
                  </a:lnTo>
                  <a:lnTo>
                    <a:pt x="720" y="760"/>
                  </a:lnTo>
                  <a:lnTo>
                    <a:pt x="720" y="759"/>
                  </a:lnTo>
                  <a:lnTo>
                    <a:pt x="722" y="759"/>
                  </a:lnTo>
                  <a:lnTo>
                    <a:pt x="722" y="760"/>
                  </a:lnTo>
                  <a:lnTo>
                    <a:pt x="723" y="760"/>
                  </a:lnTo>
                  <a:lnTo>
                    <a:pt x="723" y="761"/>
                  </a:lnTo>
                  <a:lnTo>
                    <a:pt x="724" y="762"/>
                  </a:lnTo>
                  <a:lnTo>
                    <a:pt x="723" y="762"/>
                  </a:lnTo>
                  <a:lnTo>
                    <a:pt x="723" y="765"/>
                  </a:lnTo>
                  <a:lnTo>
                    <a:pt x="724" y="768"/>
                  </a:lnTo>
                  <a:lnTo>
                    <a:pt x="724" y="771"/>
                  </a:lnTo>
                  <a:lnTo>
                    <a:pt x="726" y="771"/>
                  </a:lnTo>
                  <a:lnTo>
                    <a:pt x="727" y="773"/>
                  </a:lnTo>
                  <a:lnTo>
                    <a:pt x="727" y="772"/>
                  </a:lnTo>
                  <a:lnTo>
                    <a:pt x="728" y="773"/>
                  </a:lnTo>
                  <a:lnTo>
                    <a:pt x="730" y="774"/>
                  </a:lnTo>
                  <a:lnTo>
                    <a:pt x="730" y="777"/>
                  </a:lnTo>
                  <a:lnTo>
                    <a:pt x="727" y="774"/>
                  </a:lnTo>
                  <a:lnTo>
                    <a:pt x="728" y="777"/>
                  </a:lnTo>
                  <a:lnTo>
                    <a:pt x="728" y="778"/>
                  </a:lnTo>
                  <a:lnTo>
                    <a:pt x="726" y="777"/>
                  </a:lnTo>
                  <a:lnTo>
                    <a:pt x="723" y="774"/>
                  </a:lnTo>
                  <a:lnTo>
                    <a:pt x="723" y="778"/>
                  </a:lnTo>
                  <a:lnTo>
                    <a:pt x="723" y="779"/>
                  </a:lnTo>
                  <a:lnTo>
                    <a:pt x="724" y="779"/>
                  </a:lnTo>
                  <a:lnTo>
                    <a:pt x="726" y="780"/>
                  </a:lnTo>
                  <a:lnTo>
                    <a:pt x="726" y="783"/>
                  </a:lnTo>
                  <a:lnTo>
                    <a:pt x="727" y="784"/>
                  </a:lnTo>
                  <a:lnTo>
                    <a:pt x="727" y="785"/>
                  </a:lnTo>
                  <a:lnTo>
                    <a:pt x="728" y="785"/>
                  </a:lnTo>
                  <a:lnTo>
                    <a:pt x="728" y="783"/>
                  </a:lnTo>
                  <a:lnTo>
                    <a:pt x="729" y="784"/>
                  </a:lnTo>
                  <a:lnTo>
                    <a:pt x="730" y="786"/>
                  </a:lnTo>
                  <a:lnTo>
                    <a:pt x="732" y="789"/>
                  </a:lnTo>
                  <a:lnTo>
                    <a:pt x="733" y="790"/>
                  </a:lnTo>
                  <a:lnTo>
                    <a:pt x="735" y="791"/>
                  </a:lnTo>
                  <a:lnTo>
                    <a:pt x="735" y="792"/>
                  </a:lnTo>
                  <a:lnTo>
                    <a:pt x="736" y="794"/>
                  </a:lnTo>
                  <a:lnTo>
                    <a:pt x="739" y="795"/>
                  </a:lnTo>
                  <a:lnTo>
                    <a:pt x="739" y="797"/>
                  </a:lnTo>
                  <a:lnTo>
                    <a:pt x="738" y="798"/>
                  </a:lnTo>
                  <a:lnTo>
                    <a:pt x="736" y="801"/>
                  </a:lnTo>
                  <a:lnTo>
                    <a:pt x="738" y="802"/>
                  </a:lnTo>
                  <a:lnTo>
                    <a:pt x="736" y="804"/>
                  </a:lnTo>
                  <a:lnTo>
                    <a:pt x="735" y="806"/>
                  </a:lnTo>
                  <a:lnTo>
                    <a:pt x="733" y="806"/>
                  </a:lnTo>
                  <a:lnTo>
                    <a:pt x="732" y="807"/>
                  </a:lnTo>
                  <a:lnTo>
                    <a:pt x="730" y="806"/>
                  </a:lnTo>
                  <a:lnTo>
                    <a:pt x="729" y="806"/>
                  </a:lnTo>
                  <a:lnTo>
                    <a:pt x="728" y="806"/>
                  </a:lnTo>
                  <a:lnTo>
                    <a:pt x="727" y="806"/>
                  </a:lnTo>
                  <a:lnTo>
                    <a:pt x="726" y="803"/>
                  </a:lnTo>
                  <a:lnTo>
                    <a:pt x="724" y="802"/>
                  </a:lnTo>
                  <a:lnTo>
                    <a:pt x="723" y="802"/>
                  </a:lnTo>
                  <a:lnTo>
                    <a:pt x="721" y="801"/>
                  </a:lnTo>
                  <a:lnTo>
                    <a:pt x="720" y="801"/>
                  </a:lnTo>
                  <a:lnTo>
                    <a:pt x="720" y="800"/>
                  </a:lnTo>
                  <a:lnTo>
                    <a:pt x="718" y="798"/>
                  </a:lnTo>
                  <a:lnTo>
                    <a:pt x="715" y="797"/>
                  </a:lnTo>
                  <a:lnTo>
                    <a:pt x="714" y="797"/>
                  </a:lnTo>
                  <a:lnTo>
                    <a:pt x="712" y="797"/>
                  </a:lnTo>
                  <a:lnTo>
                    <a:pt x="712" y="796"/>
                  </a:lnTo>
                  <a:lnTo>
                    <a:pt x="710" y="795"/>
                  </a:lnTo>
                  <a:lnTo>
                    <a:pt x="709" y="792"/>
                  </a:lnTo>
                  <a:lnTo>
                    <a:pt x="709" y="790"/>
                  </a:lnTo>
                  <a:lnTo>
                    <a:pt x="708" y="790"/>
                  </a:lnTo>
                  <a:lnTo>
                    <a:pt x="708" y="791"/>
                  </a:lnTo>
                  <a:lnTo>
                    <a:pt x="706" y="792"/>
                  </a:lnTo>
                  <a:lnTo>
                    <a:pt x="709" y="794"/>
                  </a:lnTo>
                  <a:lnTo>
                    <a:pt x="709" y="795"/>
                  </a:lnTo>
                  <a:lnTo>
                    <a:pt x="705" y="792"/>
                  </a:lnTo>
                  <a:lnTo>
                    <a:pt x="706" y="795"/>
                  </a:lnTo>
                  <a:lnTo>
                    <a:pt x="706" y="796"/>
                  </a:lnTo>
                  <a:lnTo>
                    <a:pt x="705" y="796"/>
                  </a:lnTo>
                  <a:lnTo>
                    <a:pt x="703" y="798"/>
                  </a:lnTo>
                  <a:lnTo>
                    <a:pt x="702" y="798"/>
                  </a:lnTo>
                  <a:lnTo>
                    <a:pt x="700" y="798"/>
                  </a:lnTo>
                  <a:lnTo>
                    <a:pt x="699" y="797"/>
                  </a:lnTo>
                  <a:lnTo>
                    <a:pt x="700" y="796"/>
                  </a:lnTo>
                  <a:lnTo>
                    <a:pt x="704" y="796"/>
                  </a:lnTo>
                  <a:lnTo>
                    <a:pt x="703" y="795"/>
                  </a:lnTo>
                  <a:lnTo>
                    <a:pt x="703" y="794"/>
                  </a:lnTo>
                  <a:lnTo>
                    <a:pt x="702" y="792"/>
                  </a:lnTo>
                  <a:lnTo>
                    <a:pt x="700" y="790"/>
                  </a:lnTo>
                  <a:lnTo>
                    <a:pt x="700" y="791"/>
                  </a:lnTo>
                  <a:lnTo>
                    <a:pt x="699" y="790"/>
                  </a:lnTo>
                  <a:lnTo>
                    <a:pt x="697" y="792"/>
                  </a:lnTo>
                  <a:lnTo>
                    <a:pt x="694" y="791"/>
                  </a:lnTo>
                  <a:lnTo>
                    <a:pt x="697" y="790"/>
                  </a:lnTo>
                  <a:lnTo>
                    <a:pt x="696" y="789"/>
                  </a:lnTo>
                  <a:lnTo>
                    <a:pt x="693" y="788"/>
                  </a:lnTo>
                  <a:lnTo>
                    <a:pt x="692" y="788"/>
                  </a:lnTo>
                  <a:lnTo>
                    <a:pt x="690" y="786"/>
                  </a:lnTo>
                  <a:lnTo>
                    <a:pt x="690" y="788"/>
                  </a:lnTo>
                  <a:lnTo>
                    <a:pt x="687" y="788"/>
                  </a:lnTo>
                  <a:lnTo>
                    <a:pt x="685" y="786"/>
                  </a:lnTo>
                  <a:lnTo>
                    <a:pt x="684" y="786"/>
                  </a:lnTo>
                  <a:lnTo>
                    <a:pt x="685" y="785"/>
                  </a:lnTo>
                  <a:lnTo>
                    <a:pt x="684" y="783"/>
                  </a:lnTo>
                  <a:lnTo>
                    <a:pt x="682" y="784"/>
                  </a:lnTo>
                  <a:lnTo>
                    <a:pt x="681" y="784"/>
                  </a:lnTo>
                  <a:lnTo>
                    <a:pt x="680" y="784"/>
                  </a:lnTo>
                  <a:lnTo>
                    <a:pt x="680" y="785"/>
                  </a:lnTo>
                  <a:lnTo>
                    <a:pt x="678" y="785"/>
                  </a:lnTo>
                  <a:lnTo>
                    <a:pt x="678" y="786"/>
                  </a:lnTo>
                  <a:lnTo>
                    <a:pt x="679" y="788"/>
                  </a:lnTo>
                  <a:lnTo>
                    <a:pt x="680" y="789"/>
                  </a:lnTo>
                  <a:lnTo>
                    <a:pt x="681" y="790"/>
                  </a:lnTo>
                  <a:lnTo>
                    <a:pt x="682" y="791"/>
                  </a:lnTo>
                  <a:lnTo>
                    <a:pt x="685" y="794"/>
                  </a:lnTo>
                  <a:lnTo>
                    <a:pt x="684" y="794"/>
                  </a:lnTo>
                  <a:lnTo>
                    <a:pt x="682" y="792"/>
                  </a:lnTo>
                  <a:lnTo>
                    <a:pt x="681" y="791"/>
                  </a:lnTo>
                  <a:lnTo>
                    <a:pt x="680" y="792"/>
                  </a:lnTo>
                  <a:lnTo>
                    <a:pt x="678" y="792"/>
                  </a:lnTo>
                  <a:lnTo>
                    <a:pt x="676" y="792"/>
                  </a:lnTo>
                  <a:lnTo>
                    <a:pt x="675" y="792"/>
                  </a:lnTo>
                  <a:lnTo>
                    <a:pt x="675" y="794"/>
                  </a:lnTo>
                  <a:lnTo>
                    <a:pt x="674" y="794"/>
                  </a:lnTo>
                  <a:lnTo>
                    <a:pt x="671" y="797"/>
                  </a:lnTo>
                  <a:lnTo>
                    <a:pt x="669" y="798"/>
                  </a:lnTo>
                  <a:lnTo>
                    <a:pt x="668" y="798"/>
                  </a:lnTo>
                  <a:lnTo>
                    <a:pt x="665" y="800"/>
                  </a:lnTo>
                  <a:lnTo>
                    <a:pt x="664" y="798"/>
                  </a:lnTo>
                  <a:lnTo>
                    <a:pt x="663" y="798"/>
                  </a:lnTo>
                  <a:lnTo>
                    <a:pt x="663" y="800"/>
                  </a:lnTo>
                  <a:lnTo>
                    <a:pt x="664" y="801"/>
                  </a:lnTo>
                  <a:lnTo>
                    <a:pt x="665" y="802"/>
                  </a:lnTo>
                  <a:lnTo>
                    <a:pt x="669" y="803"/>
                  </a:lnTo>
                  <a:lnTo>
                    <a:pt x="669" y="804"/>
                  </a:lnTo>
                  <a:lnTo>
                    <a:pt x="669" y="806"/>
                  </a:lnTo>
                  <a:lnTo>
                    <a:pt x="668" y="806"/>
                  </a:lnTo>
                  <a:lnTo>
                    <a:pt x="663" y="803"/>
                  </a:lnTo>
                  <a:lnTo>
                    <a:pt x="663" y="806"/>
                  </a:lnTo>
                  <a:lnTo>
                    <a:pt x="662" y="806"/>
                  </a:lnTo>
                  <a:lnTo>
                    <a:pt x="661" y="804"/>
                  </a:lnTo>
                  <a:lnTo>
                    <a:pt x="657" y="806"/>
                  </a:lnTo>
                  <a:lnTo>
                    <a:pt x="656" y="803"/>
                  </a:lnTo>
                  <a:lnTo>
                    <a:pt x="653" y="803"/>
                  </a:lnTo>
                  <a:lnTo>
                    <a:pt x="652" y="804"/>
                  </a:lnTo>
                  <a:lnTo>
                    <a:pt x="651" y="804"/>
                  </a:lnTo>
                  <a:lnTo>
                    <a:pt x="650" y="802"/>
                  </a:lnTo>
                  <a:lnTo>
                    <a:pt x="645" y="801"/>
                  </a:lnTo>
                  <a:lnTo>
                    <a:pt x="644" y="801"/>
                  </a:lnTo>
                  <a:lnTo>
                    <a:pt x="643" y="802"/>
                  </a:lnTo>
                  <a:lnTo>
                    <a:pt x="643" y="803"/>
                  </a:lnTo>
                  <a:lnTo>
                    <a:pt x="643" y="804"/>
                  </a:lnTo>
                  <a:lnTo>
                    <a:pt x="644" y="807"/>
                  </a:lnTo>
                  <a:lnTo>
                    <a:pt x="645" y="808"/>
                  </a:lnTo>
                  <a:lnTo>
                    <a:pt x="645" y="809"/>
                  </a:lnTo>
                  <a:lnTo>
                    <a:pt x="644" y="809"/>
                  </a:lnTo>
                  <a:lnTo>
                    <a:pt x="643" y="808"/>
                  </a:lnTo>
                  <a:lnTo>
                    <a:pt x="641" y="808"/>
                  </a:lnTo>
                  <a:lnTo>
                    <a:pt x="641" y="809"/>
                  </a:lnTo>
                  <a:lnTo>
                    <a:pt x="639" y="808"/>
                  </a:lnTo>
                  <a:lnTo>
                    <a:pt x="637" y="812"/>
                  </a:lnTo>
                  <a:lnTo>
                    <a:pt x="635" y="809"/>
                  </a:lnTo>
                  <a:lnTo>
                    <a:pt x="634" y="809"/>
                  </a:lnTo>
                  <a:lnTo>
                    <a:pt x="632" y="810"/>
                  </a:lnTo>
                  <a:lnTo>
                    <a:pt x="631" y="810"/>
                  </a:lnTo>
                  <a:lnTo>
                    <a:pt x="631" y="809"/>
                  </a:lnTo>
                  <a:lnTo>
                    <a:pt x="631" y="808"/>
                  </a:lnTo>
                  <a:lnTo>
                    <a:pt x="629" y="804"/>
                  </a:lnTo>
                  <a:lnTo>
                    <a:pt x="631" y="802"/>
                  </a:lnTo>
                  <a:lnTo>
                    <a:pt x="634" y="803"/>
                  </a:lnTo>
                  <a:lnTo>
                    <a:pt x="634" y="801"/>
                  </a:lnTo>
                  <a:lnTo>
                    <a:pt x="635" y="798"/>
                  </a:lnTo>
                  <a:lnTo>
                    <a:pt x="634" y="797"/>
                  </a:lnTo>
                  <a:lnTo>
                    <a:pt x="633" y="798"/>
                  </a:lnTo>
                  <a:lnTo>
                    <a:pt x="632" y="802"/>
                  </a:lnTo>
                  <a:lnTo>
                    <a:pt x="629" y="798"/>
                  </a:lnTo>
                  <a:lnTo>
                    <a:pt x="627" y="797"/>
                  </a:lnTo>
                  <a:lnTo>
                    <a:pt x="627" y="795"/>
                  </a:lnTo>
                  <a:lnTo>
                    <a:pt x="625" y="796"/>
                  </a:lnTo>
                  <a:lnTo>
                    <a:pt x="623" y="792"/>
                  </a:lnTo>
                  <a:lnTo>
                    <a:pt x="625" y="790"/>
                  </a:lnTo>
                  <a:lnTo>
                    <a:pt x="627" y="791"/>
                  </a:lnTo>
                  <a:lnTo>
                    <a:pt x="627" y="790"/>
                  </a:lnTo>
                  <a:lnTo>
                    <a:pt x="628" y="790"/>
                  </a:lnTo>
                  <a:lnTo>
                    <a:pt x="629" y="790"/>
                  </a:lnTo>
                  <a:lnTo>
                    <a:pt x="635" y="791"/>
                  </a:lnTo>
                  <a:lnTo>
                    <a:pt x="635" y="790"/>
                  </a:lnTo>
                  <a:lnTo>
                    <a:pt x="634" y="790"/>
                  </a:lnTo>
                  <a:lnTo>
                    <a:pt x="634" y="789"/>
                  </a:lnTo>
                  <a:lnTo>
                    <a:pt x="637" y="789"/>
                  </a:lnTo>
                  <a:lnTo>
                    <a:pt x="637" y="786"/>
                  </a:lnTo>
                  <a:lnTo>
                    <a:pt x="639" y="785"/>
                  </a:lnTo>
                  <a:lnTo>
                    <a:pt x="641" y="785"/>
                  </a:lnTo>
                  <a:lnTo>
                    <a:pt x="640" y="782"/>
                  </a:lnTo>
                  <a:lnTo>
                    <a:pt x="639" y="780"/>
                  </a:lnTo>
                  <a:lnTo>
                    <a:pt x="640" y="778"/>
                  </a:lnTo>
                  <a:lnTo>
                    <a:pt x="640" y="777"/>
                  </a:lnTo>
                  <a:lnTo>
                    <a:pt x="641" y="774"/>
                  </a:lnTo>
                  <a:lnTo>
                    <a:pt x="643" y="771"/>
                  </a:lnTo>
                  <a:lnTo>
                    <a:pt x="643" y="770"/>
                  </a:lnTo>
                  <a:lnTo>
                    <a:pt x="644" y="770"/>
                  </a:lnTo>
                  <a:lnTo>
                    <a:pt x="645" y="768"/>
                  </a:lnTo>
                  <a:lnTo>
                    <a:pt x="646" y="767"/>
                  </a:lnTo>
                  <a:lnTo>
                    <a:pt x="646" y="766"/>
                  </a:lnTo>
                  <a:lnTo>
                    <a:pt x="645" y="766"/>
                  </a:lnTo>
                  <a:lnTo>
                    <a:pt x="643" y="767"/>
                  </a:lnTo>
                  <a:lnTo>
                    <a:pt x="641" y="768"/>
                  </a:lnTo>
                  <a:lnTo>
                    <a:pt x="641" y="765"/>
                  </a:lnTo>
                  <a:lnTo>
                    <a:pt x="638" y="765"/>
                  </a:lnTo>
                  <a:lnTo>
                    <a:pt x="635" y="765"/>
                  </a:lnTo>
                  <a:lnTo>
                    <a:pt x="633" y="764"/>
                  </a:lnTo>
                  <a:lnTo>
                    <a:pt x="634" y="760"/>
                  </a:lnTo>
                  <a:lnTo>
                    <a:pt x="634" y="759"/>
                  </a:lnTo>
                  <a:lnTo>
                    <a:pt x="635" y="759"/>
                  </a:lnTo>
                  <a:lnTo>
                    <a:pt x="638" y="760"/>
                  </a:lnTo>
                  <a:lnTo>
                    <a:pt x="639" y="759"/>
                  </a:lnTo>
                  <a:lnTo>
                    <a:pt x="640" y="759"/>
                  </a:lnTo>
                  <a:lnTo>
                    <a:pt x="639" y="758"/>
                  </a:lnTo>
                  <a:lnTo>
                    <a:pt x="638" y="758"/>
                  </a:lnTo>
                  <a:lnTo>
                    <a:pt x="638" y="755"/>
                  </a:lnTo>
                  <a:lnTo>
                    <a:pt x="637" y="755"/>
                  </a:lnTo>
                  <a:lnTo>
                    <a:pt x="637" y="754"/>
                  </a:lnTo>
                  <a:lnTo>
                    <a:pt x="638" y="753"/>
                  </a:lnTo>
                  <a:lnTo>
                    <a:pt x="638" y="754"/>
                  </a:lnTo>
                  <a:lnTo>
                    <a:pt x="638" y="752"/>
                  </a:lnTo>
                  <a:lnTo>
                    <a:pt x="638" y="750"/>
                  </a:lnTo>
                  <a:lnTo>
                    <a:pt x="638" y="748"/>
                  </a:lnTo>
                  <a:lnTo>
                    <a:pt x="639" y="748"/>
                  </a:lnTo>
                  <a:lnTo>
                    <a:pt x="640" y="748"/>
                  </a:lnTo>
                  <a:lnTo>
                    <a:pt x="643" y="748"/>
                  </a:lnTo>
                  <a:lnTo>
                    <a:pt x="640" y="747"/>
                  </a:lnTo>
                  <a:lnTo>
                    <a:pt x="638" y="746"/>
                  </a:lnTo>
                  <a:lnTo>
                    <a:pt x="638" y="743"/>
                  </a:lnTo>
                  <a:lnTo>
                    <a:pt x="635" y="741"/>
                  </a:lnTo>
                  <a:lnTo>
                    <a:pt x="635" y="740"/>
                  </a:lnTo>
                  <a:lnTo>
                    <a:pt x="634" y="738"/>
                  </a:lnTo>
                  <a:lnTo>
                    <a:pt x="635" y="737"/>
                  </a:lnTo>
                  <a:lnTo>
                    <a:pt x="637" y="736"/>
                  </a:lnTo>
                  <a:lnTo>
                    <a:pt x="638" y="736"/>
                  </a:lnTo>
                  <a:lnTo>
                    <a:pt x="638" y="735"/>
                  </a:lnTo>
                  <a:lnTo>
                    <a:pt x="634" y="734"/>
                  </a:lnTo>
                  <a:lnTo>
                    <a:pt x="632" y="734"/>
                  </a:lnTo>
                  <a:lnTo>
                    <a:pt x="632" y="735"/>
                  </a:lnTo>
                  <a:lnTo>
                    <a:pt x="632" y="737"/>
                  </a:lnTo>
                  <a:lnTo>
                    <a:pt x="631" y="737"/>
                  </a:lnTo>
                  <a:lnTo>
                    <a:pt x="629" y="737"/>
                  </a:lnTo>
                  <a:lnTo>
                    <a:pt x="628" y="736"/>
                  </a:lnTo>
                  <a:lnTo>
                    <a:pt x="628" y="732"/>
                  </a:lnTo>
                  <a:lnTo>
                    <a:pt x="625" y="731"/>
                  </a:lnTo>
                  <a:lnTo>
                    <a:pt x="617" y="730"/>
                  </a:lnTo>
                  <a:lnTo>
                    <a:pt x="610" y="729"/>
                  </a:lnTo>
                  <a:lnTo>
                    <a:pt x="606" y="729"/>
                  </a:lnTo>
                  <a:lnTo>
                    <a:pt x="604" y="728"/>
                  </a:lnTo>
                  <a:lnTo>
                    <a:pt x="600" y="728"/>
                  </a:lnTo>
                  <a:lnTo>
                    <a:pt x="598" y="728"/>
                  </a:lnTo>
                  <a:lnTo>
                    <a:pt x="596" y="728"/>
                  </a:lnTo>
                  <a:lnTo>
                    <a:pt x="594" y="729"/>
                  </a:lnTo>
                  <a:lnTo>
                    <a:pt x="593" y="730"/>
                  </a:lnTo>
                  <a:lnTo>
                    <a:pt x="596" y="732"/>
                  </a:lnTo>
                  <a:lnTo>
                    <a:pt x="593" y="732"/>
                  </a:lnTo>
                  <a:lnTo>
                    <a:pt x="592" y="732"/>
                  </a:lnTo>
                  <a:lnTo>
                    <a:pt x="591" y="731"/>
                  </a:lnTo>
                  <a:lnTo>
                    <a:pt x="588" y="732"/>
                  </a:lnTo>
                  <a:lnTo>
                    <a:pt x="587" y="732"/>
                  </a:lnTo>
                  <a:lnTo>
                    <a:pt x="586" y="731"/>
                  </a:lnTo>
                  <a:lnTo>
                    <a:pt x="585" y="732"/>
                  </a:lnTo>
                  <a:lnTo>
                    <a:pt x="586" y="735"/>
                  </a:lnTo>
                  <a:lnTo>
                    <a:pt x="586" y="736"/>
                  </a:lnTo>
                  <a:lnTo>
                    <a:pt x="585" y="736"/>
                  </a:lnTo>
                  <a:lnTo>
                    <a:pt x="582" y="736"/>
                  </a:lnTo>
                  <a:lnTo>
                    <a:pt x="580" y="736"/>
                  </a:lnTo>
                  <a:lnTo>
                    <a:pt x="579" y="735"/>
                  </a:lnTo>
                  <a:lnTo>
                    <a:pt x="575" y="736"/>
                  </a:lnTo>
                  <a:lnTo>
                    <a:pt x="574" y="737"/>
                  </a:lnTo>
                  <a:lnTo>
                    <a:pt x="574" y="738"/>
                  </a:lnTo>
                  <a:lnTo>
                    <a:pt x="573" y="740"/>
                  </a:lnTo>
                  <a:lnTo>
                    <a:pt x="572" y="740"/>
                  </a:lnTo>
                  <a:lnTo>
                    <a:pt x="570" y="741"/>
                  </a:lnTo>
                  <a:lnTo>
                    <a:pt x="569" y="747"/>
                  </a:lnTo>
                  <a:lnTo>
                    <a:pt x="568" y="747"/>
                  </a:lnTo>
                  <a:lnTo>
                    <a:pt x="567" y="748"/>
                  </a:lnTo>
                  <a:lnTo>
                    <a:pt x="564" y="748"/>
                  </a:lnTo>
                  <a:lnTo>
                    <a:pt x="564" y="747"/>
                  </a:lnTo>
                  <a:lnTo>
                    <a:pt x="561" y="748"/>
                  </a:lnTo>
                  <a:lnTo>
                    <a:pt x="562" y="744"/>
                  </a:lnTo>
                  <a:lnTo>
                    <a:pt x="558" y="744"/>
                  </a:lnTo>
                  <a:lnTo>
                    <a:pt x="557" y="742"/>
                  </a:lnTo>
                  <a:lnTo>
                    <a:pt x="555" y="741"/>
                  </a:lnTo>
                  <a:lnTo>
                    <a:pt x="553" y="741"/>
                  </a:lnTo>
                  <a:lnTo>
                    <a:pt x="552" y="740"/>
                  </a:lnTo>
                  <a:lnTo>
                    <a:pt x="547" y="741"/>
                  </a:lnTo>
                  <a:lnTo>
                    <a:pt x="544" y="742"/>
                  </a:lnTo>
                  <a:lnTo>
                    <a:pt x="539" y="743"/>
                  </a:lnTo>
                  <a:lnTo>
                    <a:pt x="538" y="744"/>
                  </a:lnTo>
                  <a:lnTo>
                    <a:pt x="537" y="746"/>
                  </a:lnTo>
                  <a:lnTo>
                    <a:pt x="541" y="747"/>
                  </a:lnTo>
                  <a:lnTo>
                    <a:pt x="543" y="746"/>
                  </a:lnTo>
                  <a:lnTo>
                    <a:pt x="544" y="744"/>
                  </a:lnTo>
                  <a:lnTo>
                    <a:pt x="549" y="747"/>
                  </a:lnTo>
                  <a:lnTo>
                    <a:pt x="549" y="748"/>
                  </a:lnTo>
                  <a:lnTo>
                    <a:pt x="547" y="749"/>
                  </a:lnTo>
                  <a:lnTo>
                    <a:pt x="545" y="752"/>
                  </a:lnTo>
                  <a:lnTo>
                    <a:pt x="547" y="753"/>
                  </a:lnTo>
                  <a:lnTo>
                    <a:pt x="547" y="758"/>
                  </a:lnTo>
                  <a:lnTo>
                    <a:pt x="547" y="760"/>
                  </a:lnTo>
                  <a:lnTo>
                    <a:pt x="546" y="761"/>
                  </a:lnTo>
                  <a:lnTo>
                    <a:pt x="547" y="761"/>
                  </a:lnTo>
                  <a:lnTo>
                    <a:pt x="549" y="760"/>
                  </a:lnTo>
                  <a:lnTo>
                    <a:pt x="550" y="761"/>
                  </a:lnTo>
                  <a:lnTo>
                    <a:pt x="549" y="765"/>
                  </a:lnTo>
                  <a:lnTo>
                    <a:pt x="549" y="767"/>
                  </a:lnTo>
                  <a:lnTo>
                    <a:pt x="547" y="767"/>
                  </a:lnTo>
                  <a:lnTo>
                    <a:pt x="545" y="766"/>
                  </a:lnTo>
                  <a:lnTo>
                    <a:pt x="544" y="766"/>
                  </a:lnTo>
                  <a:lnTo>
                    <a:pt x="544" y="768"/>
                  </a:lnTo>
                  <a:lnTo>
                    <a:pt x="546" y="768"/>
                  </a:lnTo>
                  <a:lnTo>
                    <a:pt x="547" y="770"/>
                  </a:lnTo>
                  <a:lnTo>
                    <a:pt x="549" y="772"/>
                  </a:lnTo>
                  <a:lnTo>
                    <a:pt x="549" y="773"/>
                  </a:lnTo>
                  <a:lnTo>
                    <a:pt x="547" y="774"/>
                  </a:lnTo>
                  <a:lnTo>
                    <a:pt x="546" y="776"/>
                  </a:lnTo>
                  <a:lnTo>
                    <a:pt x="544" y="774"/>
                  </a:lnTo>
                  <a:lnTo>
                    <a:pt x="543" y="773"/>
                  </a:lnTo>
                  <a:lnTo>
                    <a:pt x="539" y="773"/>
                  </a:lnTo>
                  <a:lnTo>
                    <a:pt x="539" y="774"/>
                  </a:lnTo>
                  <a:lnTo>
                    <a:pt x="538" y="776"/>
                  </a:lnTo>
                  <a:lnTo>
                    <a:pt x="538" y="777"/>
                  </a:lnTo>
                  <a:lnTo>
                    <a:pt x="539" y="777"/>
                  </a:lnTo>
                  <a:lnTo>
                    <a:pt x="541" y="776"/>
                  </a:lnTo>
                  <a:lnTo>
                    <a:pt x="544" y="776"/>
                  </a:lnTo>
                  <a:lnTo>
                    <a:pt x="545" y="776"/>
                  </a:lnTo>
                  <a:lnTo>
                    <a:pt x="545" y="777"/>
                  </a:lnTo>
                  <a:lnTo>
                    <a:pt x="546" y="777"/>
                  </a:lnTo>
                  <a:lnTo>
                    <a:pt x="546" y="778"/>
                  </a:lnTo>
                  <a:lnTo>
                    <a:pt x="543" y="779"/>
                  </a:lnTo>
                  <a:lnTo>
                    <a:pt x="540" y="782"/>
                  </a:lnTo>
                  <a:lnTo>
                    <a:pt x="539" y="780"/>
                  </a:lnTo>
                  <a:lnTo>
                    <a:pt x="539" y="782"/>
                  </a:lnTo>
                  <a:lnTo>
                    <a:pt x="540" y="783"/>
                  </a:lnTo>
                  <a:lnTo>
                    <a:pt x="537" y="784"/>
                  </a:lnTo>
                  <a:lnTo>
                    <a:pt x="539" y="785"/>
                  </a:lnTo>
                  <a:lnTo>
                    <a:pt x="540" y="786"/>
                  </a:lnTo>
                  <a:lnTo>
                    <a:pt x="540" y="788"/>
                  </a:lnTo>
                  <a:lnTo>
                    <a:pt x="540" y="789"/>
                  </a:lnTo>
                  <a:lnTo>
                    <a:pt x="539" y="789"/>
                  </a:lnTo>
                  <a:lnTo>
                    <a:pt x="538" y="788"/>
                  </a:lnTo>
                  <a:lnTo>
                    <a:pt x="535" y="788"/>
                  </a:lnTo>
                  <a:lnTo>
                    <a:pt x="534" y="785"/>
                  </a:lnTo>
                  <a:lnTo>
                    <a:pt x="534" y="783"/>
                  </a:lnTo>
                  <a:lnTo>
                    <a:pt x="533" y="783"/>
                  </a:lnTo>
                  <a:lnTo>
                    <a:pt x="533" y="784"/>
                  </a:lnTo>
                  <a:lnTo>
                    <a:pt x="533" y="785"/>
                  </a:lnTo>
                  <a:lnTo>
                    <a:pt x="532" y="785"/>
                  </a:lnTo>
                  <a:lnTo>
                    <a:pt x="532" y="784"/>
                  </a:lnTo>
                  <a:lnTo>
                    <a:pt x="528" y="786"/>
                  </a:lnTo>
                  <a:lnTo>
                    <a:pt x="528" y="785"/>
                  </a:lnTo>
                  <a:lnTo>
                    <a:pt x="527" y="784"/>
                  </a:lnTo>
                  <a:lnTo>
                    <a:pt x="527" y="783"/>
                  </a:lnTo>
                  <a:lnTo>
                    <a:pt x="528" y="782"/>
                  </a:lnTo>
                  <a:lnTo>
                    <a:pt x="525" y="779"/>
                  </a:lnTo>
                  <a:lnTo>
                    <a:pt x="527" y="779"/>
                  </a:lnTo>
                  <a:lnTo>
                    <a:pt x="528" y="780"/>
                  </a:lnTo>
                  <a:lnTo>
                    <a:pt x="529" y="779"/>
                  </a:lnTo>
                  <a:lnTo>
                    <a:pt x="529" y="780"/>
                  </a:lnTo>
                  <a:lnTo>
                    <a:pt x="531" y="782"/>
                  </a:lnTo>
                  <a:lnTo>
                    <a:pt x="533" y="782"/>
                  </a:lnTo>
                  <a:lnTo>
                    <a:pt x="532" y="780"/>
                  </a:lnTo>
                  <a:lnTo>
                    <a:pt x="531" y="779"/>
                  </a:lnTo>
                  <a:lnTo>
                    <a:pt x="529" y="777"/>
                  </a:lnTo>
                  <a:lnTo>
                    <a:pt x="528" y="777"/>
                  </a:lnTo>
                  <a:lnTo>
                    <a:pt x="527" y="777"/>
                  </a:lnTo>
                  <a:lnTo>
                    <a:pt x="526" y="776"/>
                  </a:lnTo>
                  <a:lnTo>
                    <a:pt x="527" y="776"/>
                  </a:lnTo>
                  <a:lnTo>
                    <a:pt x="528" y="774"/>
                  </a:lnTo>
                  <a:lnTo>
                    <a:pt x="529" y="772"/>
                  </a:lnTo>
                  <a:lnTo>
                    <a:pt x="531" y="771"/>
                  </a:lnTo>
                  <a:lnTo>
                    <a:pt x="529" y="771"/>
                  </a:lnTo>
                  <a:lnTo>
                    <a:pt x="528" y="772"/>
                  </a:lnTo>
                  <a:lnTo>
                    <a:pt x="526" y="774"/>
                  </a:lnTo>
                  <a:lnTo>
                    <a:pt x="523" y="776"/>
                  </a:lnTo>
                  <a:lnTo>
                    <a:pt x="521" y="779"/>
                  </a:lnTo>
                  <a:lnTo>
                    <a:pt x="517" y="783"/>
                  </a:lnTo>
                  <a:lnTo>
                    <a:pt x="511" y="790"/>
                  </a:lnTo>
                  <a:lnTo>
                    <a:pt x="509" y="794"/>
                  </a:lnTo>
                  <a:lnTo>
                    <a:pt x="509" y="797"/>
                  </a:lnTo>
                  <a:lnTo>
                    <a:pt x="510" y="800"/>
                  </a:lnTo>
                  <a:lnTo>
                    <a:pt x="511" y="801"/>
                  </a:lnTo>
                  <a:lnTo>
                    <a:pt x="514" y="802"/>
                  </a:lnTo>
                  <a:lnTo>
                    <a:pt x="515" y="803"/>
                  </a:lnTo>
                  <a:lnTo>
                    <a:pt x="520" y="802"/>
                  </a:lnTo>
                  <a:lnTo>
                    <a:pt x="525" y="801"/>
                  </a:lnTo>
                  <a:lnTo>
                    <a:pt x="529" y="800"/>
                  </a:lnTo>
                  <a:lnTo>
                    <a:pt x="535" y="798"/>
                  </a:lnTo>
                  <a:lnTo>
                    <a:pt x="540" y="798"/>
                  </a:lnTo>
                  <a:lnTo>
                    <a:pt x="546" y="797"/>
                  </a:lnTo>
                  <a:lnTo>
                    <a:pt x="551" y="796"/>
                  </a:lnTo>
                  <a:lnTo>
                    <a:pt x="556" y="794"/>
                  </a:lnTo>
                  <a:lnTo>
                    <a:pt x="567" y="794"/>
                  </a:lnTo>
                  <a:lnTo>
                    <a:pt x="579" y="792"/>
                  </a:lnTo>
                  <a:lnTo>
                    <a:pt x="591" y="791"/>
                  </a:lnTo>
                  <a:lnTo>
                    <a:pt x="593" y="791"/>
                  </a:lnTo>
                  <a:lnTo>
                    <a:pt x="594" y="789"/>
                  </a:lnTo>
                  <a:lnTo>
                    <a:pt x="597" y="786"/>
                  </a:lnTo>
                  <a:lnTo>
                    <a:pt x="597" y="785"/>
                  </a:lnTo>
                  <a:lnTo>
                    <a:pt x="598" y="786"/>
                  </a:lnTo>
                  <a:lnTo>
                    <a:pt x="597" y="789"/>
                  </a:lnTo>
                  <a:lnTo>
                    <a:pt x="598" y="790"/>
                  </a:lnTo>
                  <a:lnTo>
                    <a:pt x="600" y="790"/>
                  </a:lnTo>
                  <a:lnTo>
                    <a:pt x="603" y="790"/>
                  </a:lnTo>
                  <a:lnTo>
                    <a:pt x="604" y="790"/>
                  </a:lnTo>
                  <a:lnTo>
                    <a:pt x="603" y="791"/>
                  </a:lnTo>
                  <a:lnTo>
                    <a:pt x="599" y="794"/>
                  </a:lnTo>
                  <a:lnTo>
                    <a:pt x="597" y="795"/>
                  </a:lnTo>
                  <a:lnTo>
                    <a:pt x="593" y="795"/>
                  </a:lnTo>
                  <a:lnTo>
                    <a:pt x="587" y="797"/>
                  </a:lnTo>
                  <a:lnTo>
                    <a:pt x="581" y="797"/>
                  </a:lnTo>
                  <a:lnTo>
                    <a:pt x="574" y="797"/>
                  </a:lnTo>
                  <a:lnTo>
                    <a:pt x="570" y="798"/>
                  </a:lnTo>
                  <a:lnTo>
                    <a:pt x="567" y="800"/>
                  </a:lnTo>
                  <a:lnTo>
                    <a:pt x="560" y="800"/>
                  </a:lnTo>
                  <a:lnTo>
                    <a:pt x="553" y="801"/>
                  </a:lnTo>
                  <a:lnTo>
                    <a:pt x="549" y="802"/>
                  </a:lnTo>
                  <a:lnTo>
                    <a:pt x="543" y="804"/>
                  </a:lnTo>
                  <a:lnTo>
                    <a:pt x="539" y="806"/>
                  </a:lnTo>
                  <a:lnTo>
                    <a:pt x="535" y="807"/>
                  </a:lnTo>
                  <a:lnTo>
                    <a:pt x="531" y="808"/>
                  </a:lnTo>
                  <a:lnTo>
                    <a:pt x="527" y="809"/>
                  </a:lnTo>
                  <a:lnTo>
                    <a:pt x="523" y="812"/>
                  </a:lnTo>
                  <a:lnTo>
                    <a:pt x="520" y="813"/>
                  </a:lnTo>
                  <a:lnTo>
                    <a:pt x="515" y="814"/>
                  </a:lnTo>
                  <a:lnTo>
                    <a:pt x="513" y="815"/>
                  </a:lnTo>
                  <a:lnTo>
                    <a:pt x="511" y="817"/>
                  </a:lnTo>
                  <a:lnTo>
                    <a:pt x="511" y="818"/>
                  </a:lnTo>
                  <a:lnTo>
                    <a:pt x="511" y="819"/>
                  </a:lnTo>
                  <a:lnTo>
                    <a:pt x="513" y="823"/>
                  </a:lnTo>
                  <a:lnTo>
                    <a:pt x="514" y="826"/>
                  </a:lnTo>
                  <a:lnTo>
                    <a:pt x="515" y="830"/>
                  </a:lnTo>
                  <a:lnTo>
                    <a:pt x="515" y="833"/>
                  </a:lnTo>
                  <a:lnTo>
                    <a:pt x="515" y="837"/>
                  </a:lnTo>
                  <a:lnTo>
                    <a:pt x="513" y="842"/>
                  </a:lnTo>
                  <a:lnTo>
                    <a:pt x="511" y="847"/>
                  </a:lnTo>
                  <a:lnTo>
                    <a:pt x="510" y="853"/>
                  </a:lnTo>
                  <a:lnTo>
                    <a:pt x="510" y="857"/>
                  </a:lnTo>
                  <a:lnTo>
                    <a:pt x="509" y="861"/>
                  </a:lnTo>
                  <a:lnTo>
                    <a:pt x="509" y="869"/>
                  </a:lnTo>
                  <a:lnTo>
                    <a:pt x="510" y="877"/>
                  </a:lnTo>
                  <a:lnTo>
                    <a:pt x="510" y="884"/>
                  </a:lnTo>
                  <a:lnTo>
                    <a:pt x="511" y="891"/>
                  </a:lnTo>
                  <a:lnTo>
                    <a:pt x="511" y="926"/>
                  </a:lnTo>
                  <a:lnTo>
                    <a:pt x="511" y="937"/>
                  </a:lnTo>
                  <a:lnTo>
                    <a:pt x="510" y="946"/>
                  </a:lnTo>
                  <a:lnTo>
                    <a:pt x="510" y="950"/>
                  </a:lnTo>
                  <a:lnTo>
                    <a:pt x="509" y="952"/>
                  </a:lnTo>
                  <a:lnTo>
                    <a:pt x="508" y="955"/>
                  </a:lnTo>
                  <a:lnTo>
                    <a:pt x="505" y="957"/>
                  </a:lnTo>
                  <a:lnTo>
                    <a:pt x="501" y="958"/>
                  </a:lnTo>
                  <a:lnTo>
                    <a:pt x="497" y="960"/>
                  </a:lnTo>
                  <a:lnTo>
                    <a:pt x="492" y="960"/>
                  </a:lnTo>
                  <a:lnTo>
                    <a:pt x="487" y="960"/>
                  </a:lnTo>
                  <a:lnTo>
                    <a:pt x="481" y="958"/>
                  </a:lnTo>
                  <a:lnTo>
                    <a:pt x="478" y="958"/>
                  </a:lnTo>
                  <a:lnTo>
                    <a:pt x="473" y="957"/>
                  </a:lnTo>
                  <a:lnTo>
                    <a:pt x="472" y="956"/>
                  </a:lnTo>
                  <a:lnTo>
                    <a:pt x="470" y="955"/>
                  </a:lnTo>
                  <a:lnTo>
                    <a:pt x="469" y="954"/>
                  </a:lnTo>
                  <a:lnTo>
                    <a:pt x="468" y="952"/>
                  </a:lnTo>
                  <a:lnTo>
                    <a:pt x="469" y="946"/>
                  </a:lnTo>
                  <a:lnTo>
                    <a:pt x="470" y="942"/>
                  </a:lnTo>
                  <a:lnTo>
                    <a:pt x="470" y="940"/>
                  </a:lnTo>
                  <a:lnTo>
                    <a:pt x="472" y="937"/>
                  </a:lnTo>
                  <a:lnTo>
                    <a:pt x="472" y="932"/>
                  </a:lnTo>
                  <a:lnTo>
                    <a:pt x="472" y="928"/>
                  </a:lnTo>
                  <a:lnTo>
                    <a:pt x="473" y="924"/>
                  </a:lnTo>
                  <a:lnTo>
                    <a:pt x="473" y="904"/>
                  </a:lnTo>
                  <a:lnTo>
                    <a:pt x="473" y="901"/>
                  </a:lnTo>
                  <a:lnTo>
                    <a:pt x="472" y="896"/>
                  </a:lnTo>
                  <a:lnTo>
                    <a:pt x="472" y="892"/>
                  </a:lnTo>
                  <a:lnTo>
                    <a:pt x="472" y="889"/>
                  </a:lnTo>
                  <a:lnTo>
                    <a:pt x="474" y="881"/>
                  </a:lnTo>
                  <a:lnTo>
                    <a:pt x="474" y="878"/>
                  </a:lnTo>
                  <a:lnTo>
                    <a:pt x="474" y="873"/>
                  </a:lnTo>
                  <a:lnTo>
                    <a:pt x="474" y="865"/>
                  </a:lnTo>
                  <a:lnTo>
                    <a:pt x="474" y="860"/>
                  </a:lnTo>
                  <a:lnTo>
                    <a:pt x="475" y="855"/>
                  </a:lnTo>
                  <a:lnTo>
                    <a:pt x="475" y="850"/>
                  </a:lnTo>
                  <a:lnTo>
                    <a:pt x="476" y="847"/>
                  </a:lnTo>
                  <a:lnTo>
                    <a:pt x="475" y="837"/>
                  </a:lnTo>
                  <a:lnTo>
                    <a:pt x="475" y="833"/>
                  </a:lnTo>
                  <a:lnTo>
                    <a:pt x="475" y="831"/>
                  </a:lnTo>
                  <a:lnTo>
                    <a:pt x="473" y="830"/>
                  </a:lnTo>
                  <a:lnTo>
                    <a:pt x="472" y="827"/>
                  </a:lnTo>
                  <a:lnTo>
                    <a:pt x="469" y="826"/>
                  </a:lnTo>
                  <a:lnTo>
                    <a:pt x="464" y="825"/>
                  </a:lnTo>
                  <a:lnTo>
                    <a:pt x="456" y="821"/>
                  </a:lnTo>
                  <a:lnTo>
                    <a:pt x="449" y="818"/>
                  </a:lnTo>
                  <a:lnTo>
                    <a:pt x="444" y="815"/>
                  </a:lnTo>
                  <a:lnTo>
                    <a:pt x="440" y="813"/>
                  </a:lnTo>
                  <a:lnTo>
                    <a:pt x="434" y="808"/>
                  </a:lnTo>
                  <a:lnTo>
                    <a:pt x="432" y="807"/>
                  </a:lnTo>
                  <a:lnTo>
                    <a:pt x="431" y="807"/>
                  </a:lnTo>
                  <a:lnTo>
                    <a:pt x="426" y="806"/>
                  </a:lnTo>
                  <a:lnTo>
                    <a:pt x="420" y="806"/>
                  </a:lnTo>
                  <a:lnTo>
                    <a:pt x="415" y="806"/>
                  </a:lnTo>
                  <a:lnTo>
                    <a:pt x="409" y="806"/>
                  </a:lnTo>
                  <a:lnTo>
                    <a:pt x="408" y="806"/>
                  </a:lnTo>
                  <a:lnTo>
                    <a:pt x="405" y="804"/>
                  </a:lnTo>
                  <a:lnTo>
                    <a:pt x="396" y="803"/>
                  </a:lnTo>
                  <a:lnTo>
                    <a:pt x="386" y="801"/>
                  </a:lnTo>
                  <a:lnTo>
                    <a:pt x="381" y="801"/>
                  </a:lnTo>
                  <a:lnTo>
                    <a:pt x="376" y="801"/>
                  </a:lnTo>
                  <a:lnTo>
                    <a:pt x="374" y="801"/>
                  </a:lnTo>
                  <a:lnTo>
                    <a:pt x="372" y="801"/>
                  </a:lnTo>
                  <a:lnTo>
                    <a:pt x="370" y="801"/>
                  </a:lnTo>
                  <a:lnTo>
                    <a:pt x="368" y="802"/>
                  </a:lnTo>
                  <a:lnTo>
                    <a:pt x="364" y="804"/>
                  </a:lnTo>
                  <a:lnTo>
                    <a:pt x="361" y="807"/>
                  </a:lnTo>
                  <a:lnTo>
                    <a:pt x="360" y="808"/>
                  </a:lnTo>
                  <a:lnTo>
                    <a:pt x="357" y="809"/>
                  </a:lnTo>
                  <a:lnTo>
                    <a:pt x="352" y="812"/>
                  </a:lnTo>
                  <a:lnTo>
                    <a:pt x="348" y="813"/>
                  </a:lnTo>
                  <a:lnTo>
                    <a:pt x="346" y="812"/>
                  </a:lnTo>
                  <a:lnTo>
                    <a:pt x="346" y="810"/>
                  </a:lnTo>
                  <a:lnTo>
                    <a:pt x="348" y="808"/>
                  </a:lnTo>
                  <a:lnTo>
                    <a:pt x="350" y="807"/>
                  </a:lnTo>
                  <a:lnTo>
                    <a:pt x="355" y="806"/>
                  </a:lnTo>
                  <a:lnTo>
                    <a:pt x="358" y="802"/>
                  </a:lnTo>
                  <a:lnTo>
                    <a:pt x="362" y="800"/>
                  </a:lnTo>
                  <a:lnTo>
                    <a:pt x="364" y="796"/>
                  </a:lnTo>
                  <a:lnTo>
                    <a:pt x="368" y="794"/>
                  </a:lnTo>
                  <a:lnTo>
                    <a:pt x="372" y="791"/>
                  </a:lnTo>
                  <a:lnTo>
                    <a:pt x="373" y="790"/>
                  </a:lnTo>
                  <a:lnTo>
                    <a:pt x="374" y="789"/>
                  </a:lnTo>
                  <a:lnTo>
                    <a:pt x="374" y="786"/>
                  </a:lnTo>
                  <a:lnTo>
                    <a:pt x="373" y="784"/>
                  </a:lnTo>
                  <a:lnTo>
                    <a:pt x="372" y="783"/>
                  </a:lnTo>
                  <a:lnTo>
                    <a:pt x="370" y="782"/>
                  </a:lnTo>
                  <a:lnTo>
                    <a:pt x="368" y="782"/>
                  </a:lnTo>
                  <a:lnTo>
                    <a:pt x="366" y="783"/>
                  </a:lnTo>
                  <a:lnTo>
                    <a:pt x="364" y="784"/>
                  </a:lnTo>
                  <a:lnTo>
                    <a:pt x="362" y="784"/>
                  </a:lnTo>
                  <a:lnTo>
                    <a:pt x="357" y="784"/>
                  </a:lnTo>
                  <a:lnTo>
                    <a:pt x="352" y="785"/>
                  </a:lnTo>
                  <a:lnTo>
                    <a:pt x="348" y="785"/>
                  </a:lnTo>
                  <a:lnTo>
                    <a:pt x="345" y="784"/>
                  </a:lnTo>
                  <a:lnTo>
                    <a:pt x="344" y="784"/>
                  </a:lnTo>
                  <a:lnTo>
                    <a:pt x="327" y="785"/>
                  </a:lnTo>
                  <a:lnTo>
                    <a:pt x="316" y="786"/>
                  </a:lnTo>
                  <a:lnTo>
                    <a:pt x="311" y="786"/>
                  </a:lnTo>
                  <a:lnTo>
                    <a:pt x="309" y="788"/>
                  </a:lnTo>
                  <a:lnTo>
                    <a:pt x="307" y="788"/>
                  </a:lnTo>
                  <a:lnTo>
                    <a:pt x="303" y="788"/>
                  </a:lnTo>
                  <a:lnTo>
                    <a:pt x="301" y="788"/>
                  </a:lnTo>
                  <a:lnTo>
                    <a:pt x="298" y="786"/>
                  </a:lnTo>
                  <a:lnTo>
                    <a:pt x="297" y="786"/>
                  </a:lnTo>
                  <a:lnTo>
                    <a:pt x="296" y="788"/>
                  </a:lnTo>
                  <a:lnTo>
                    <a:pt x="297" y="791"/>
                  </a:lnTo>
                  <a:lnTo>
                    <a:pt x="297" y="794"/>
                  </a:lnTo>
                  <a:lnTo>
                    <a:pt x="296" y="795"/>
                  </a:lnTo>
                  <a:lnTo>
                    <a:pt x="292" y="797"/>
                  </a:lnTo>
                  <a:lnTo>
                    <a:pt x="289" y="797"/>
                  </a:lnTo>
                  <a:lnTo>
                    <a:pt x="285" y="797"/>
                  </a:lnTo>
                  <a:lnTo>
                    <a:pt x="283" y="796"/>
                  </a:lnTo>
                  <a:lnTo>
                    <a:pt x="283" y="797"/>
                  </a:lnTo>
                  <a:lnTo>
                    <a:pt x="284" y="797"/>
                  </a:lnTo>
                  <a:lnTo>
                    <a:pt x="284" y="798"/>
                  </a:lnTo>
                  <a:lnTo>
                    <a:pt x="284" y="801"/>
                  </a:lnTo>
                  <a:lnTo>
                    <a:pt x="283" y="803"/>
                  </a:lnTo>
                  <a:lnTo>
                    <a:pt x="279" y="804"/>
                  </a:lnTo>
                  <a:lnTo>
                    <a:pt x="277" y="806"/>
                  </a:lnTo>
                  <a:lnTo>
                    <a:pt x="275" y="808"/>
                  </a:lnTo>
                  <a:lnTo>
                    <a:pt x="274" y="809"/>
                  </a:lnTo>
                  <a:lnTo>
                    <a:pt x="273" y="810"/>
                  </a:lnTo>
                  <a:lnTo>
                    <a:pt x="272" y="809"/>
                  </a:lnTo>
                  <a:lnTo>
                    <a:pt x="269" y="810"/>
                  </a:lnTo>
                  <a:lnTo>
                    <a:pt x="268" y="809"/>
                  </a:lnTo>
                  <a:lnTo>
                    <a:pt x="267" y="809"/>
                  </a:lnTo>
                  <a:lnTo>
                    <a:pt x="266" y="809"/>
                  </a:lnTo>
                  <a:lnTo>
                    <a:pt x="266" y="810"/>
                  </a:lnTo>
                  <a:lnTo>
                    <a:pt x="265" y="810"/>
                  </a:lnTo>
                  <a:lnTo>
                    <a:pt x="263" y="810"/>
                  </a:lnTo>
                  <a:lnTo>
                    <a:pt x="263" y="809"/>
                  </a:lnTo>
                  <a:lnTo>
                    <a:pt x="263" y="807"/>
                  </a:lnTo>
                  <a:lnTo>
                    <a:pt x="259" y="807"/>
                  </a:lnTo>
                  <a:lnTo>
                    <a:pt x="257" y="806"/>
                  </a:lnTo>
                  <a:lnTo>
                    <a:pt x="254" y="804"/>
                  </a:lnTo>
                  <a:lnTo>
                    <a:pt x="252" y="803"/>
                  </a:lnTo>
                  <a:lnTo>
                    <a:pt x="251" y="806"/>
                  </a:lnTo>
                  <a:lnTo>
                    <a:pt x="250" y="807"/>
                  </a:lnTo>
                  <a:lnTo>
                    <a:pt x="249" y="808"/>
                  </a:lnTo>
                  <a:lnTo>
                    <a:pt x="248" y="808"/>
                  </a:lnTo>
                  <a:lnTo>
                    <a:pt x="248" y="810"/>
                  </a:lnTo>
                  <a:lnTo>
                    <a:pt x="246" y="812"/>
                  </a:lnTo>
                  <a:lnTo>
                    <a:pt x="244" y="815"/>
                  </a:lnTo>
                  <a:lnTo>
                    <a:pt x="243" y="818"/>
                  </a:lnTo>
                  <a:lnTo>
                    <a:pt x="244" y="819"/>
                  </a:lnTo>
                  <a:lnTo>
                    <a:pt x="243" y="820"/>
                  </a:lnTo>
                  <a:lnTo>
                    <a:pt x="240" y="819"/>
                  </a:lnTo>
                  <a:lnTo>
                    <a:pt x="240" y="821"/>
                  </a:lnTo>
                  <a:lnTo>
                    <a:pt x="239" y="823"/>
                  </a:lnTo>
                  <a:lnTo>
                    <a:pt x="238" y="823"/>
                  </a:lnTo>
                  <a:lnTo>
                    <a:pt x="238" y="824"/>
                  </a:lnTo>
                  <a:lnTo>
                    <a:pt x="236" y="823"/>
                  </a:lnTo>
                  <a:lnTo>
                    <a:pt x="234" y="821"/>
                  </a:lnTo>
                  <a:lnTo>
                    <a:pt x="233" y="818"/>
                  </a:lnTo>
                  <a:lnTo>
                    <a:pt x="231" y="818"/>
                  </a:lnTo>
                  <a:lnTo>
                    <a:pt x="230" y="819"/>
                  </a:lnTo>
                  <a:lnTo>
                    <a:pt x="228" y="818"/>
                  </a:lnTo>
                  <a:lnTo>
                    <a:pt x="227" y="817"/>
                  </a:lnTo>
                  <a:lnTo>
                    <a:pt x="226" y="818"/>
                  </a:lnTo>
                  <a:lnTo>
                    <a:pt x="225" y="818"/>
                  </a:lnTo>
                  <a:lnTo>
                    <a:pt x="224" y="818"/>
                  </a:lnTo>
                  <a:lnTo>
                    <a:pt x="221" y="818"/>
                  </a:lnTo>
                  <a:lnTo>
                    <a:pt x="219" y="820"/>
                  </a:lnTo>
                  <a:lnTo>
                    <a:pt x="219" y="819"/>
                  </a:lnTo>
                  <a:lnTo>
                    <a:pt x="218" y="820"/>
                  </a:lnTo>
                  <a:lnTo>
                    <a:pt x="218" y="818"/>
                  </a:lnTo>
                  <a:lnTo>
                    <a:pt x="216" y="818"/>
                  </a:lnTo>
                  <a:lnTo>
                    <a:pt x="218" y="815"/>
                  </a:lnTo>
                  <a:lnTo>
                    <a:pt x="218" y="813"/>
                  </a:lnTo>
                  <a:lnTo>
                    <a:pt x="218" y="814"/>
                  </a:lnTo>
                  <a:lnTo>
                    <a:pt x="216" y="814"/>
                  </a:lnTo>
                  <a:lnTo>
                    <a:pt x="216" y="813"/>
                  </a:lnTo>
                  <a:lnTo>
                    <a:pt x="214" y="813"/>
                  </a:lnTo>
                  <a:lnTo>
                    <a:pt x="214" y="812"/>
                  </a:lnTo>
                  <a:lnTo>
                    <a:pt x="213" y="813"/>
                  </a:lnTo>
                  <a:lnTo>
                    <a:pt x="210" y="812"/>
                  </a:lnTo>
                  <a:lnTo>
                    <a:pt x="207" y="815"/>
                  </a:lnTo>
                  <a:lnTo>
                    <a:pt x="206" y="817"/>
                  </a:lnTo>
                  <a:lnTo>
                    <a:pt x="203" y="817"/>
                  </a:lnTo>
                  <a:lnTo>
                    <a:pt x="200" y="815"/>
                  </a:lnTo>
                  <a:lnTo>
                    <a:pt x="198" y="814"/>
                  </a:lnTo>
                  <a:lnTo>
                    <a:pt x="200" y="813"/>
                  </a:lnTo>
                  <a:lnTo>
                    <a:pt x="201" y="813"/>
                  </a:lnTo>
                  <a:lnTo>
                    <a:pt x="203" y="812"/>
                  </a:lnTo>
                  <a:lnTo>
                    <a:pt x="202" y="810"/>
                  </a:lnTo>
                  <a:lnTo>
                    <a:pt x="201" y="810"/>
                  </a:lnTo>
                  <a:lnTo>
                    <a:pt x="200" y="809"/>
                  </a:lnTo>
                  <a:lnTo>
                    <a:pt x="197" y="808"/>
                  </a:lnTo>
                  <a:lnTo>
                    <a:pt x="196" y="806"/>
                  </a:lnTo>
                  <a:lnTo>
                    <a:pt x="193" y="804"/>
                  </a:lnTo>
                  <a:lnTo>
                    <a:pt x="193" y="803"/>
                  </a:lnTo>
                  <a:lnTo>
                    <a:pt x="195" y="802"/>
                  </a:lnTo>
                  <a:lnTo>
                    <a:pt x="196" y="800"/>
                  </a:lnTo>
                  <a:lnTo>
                    <a:pt x="197" y="802"/>
                  </a:lnTo>
                  <a:lnTo>
                    <a:pt x="198" y="803"/>
                  </a:lnTo>
                  <a:lnTo>
                    <a:pt x="200" y="804"/>
                  </a:lnTo>
                  <a:lnTo>
                    <a:pt x="201" y="804"/>
                  </a:lnTo>
                  <a:lnTo>
                    <a:pt x="203" y="804"/>
                  </a:lnTo>
                  <a:lnTo>
                    <a:pt x="204" y="806"/>
                  </a:lnTo>
                  <a:lnTo>
                    <a:pt x="204" y="804"/>
                  </a:lnTo>
                  <a:lnTo>
                    <a:pt x="207" y="804"/>
                  </a:lnTo>
                  <a:lnTo>
                    <a:pt x="208" y="806"/>
                  </a:lnTo>
                  <a:lnTo>
                    <a:pt x="210" y="808"/>
                  </a:lnTo>
                  <a:lnTo>
                    <a:pt x="212" y="808"/>
                  </a:lnTo>
                  <a:lnTo>
                    <a:pt x="213" y="807"/>
                  </a:lnTo>
                  <a:lnTo>
                    <a:pt x="213" y="806"/>
                  </a:lnTo>
                  <a:lnTo>
                    <a:pt x="213" y="804"/>
                  </a:lnTo>
                  <a:lnTo>
                    <a:pt x="209" y="804"/>
                  </a:lnTo>
                  <a:lnTo>
                    <a:pt x="209" y="802"/>
                  </a:lnTo>
                  <a:lnTo>
                    <a:pt x="209" y="800"/>
                  </a:lnTo>
                  <a:lnTo>
                    <a:pt x="210" y="796"/>
                  </a:lnTo>
                  <a:lnTo>
                    <a:pt x="209" y="796"/>
                  </a:lnTo>
                  <a:lnTo>
                    <a:pt x="209" y="795"/>
                  </a:lnTo>
                  <a:lnTo>
                    <a:pt x="209" y="794"/>
                  </a:lnTo>
                  <a:lnTo>
                    <a:pt x="212" y="794"/>
                  </a:lnTo>
                  <a:lnTo>
                    <a:pt x="213" y="791"/>
                  </a:lnTo>
                  <a:lnTo>
                    <a:pt x="215" y="792"/>
                  </a:lnTo>
                  <a:lnTo>
                    <a:pt x="216" y="790"/>
                  </a:lnTo>
                  <a:lnTo>
                    <a:pt x="218" y="789"/>
                  </a:lnTo>
                  <a:lnTo>
                    <a:pt x="218" y="786"/>
                  </a:lnTo>
                  <a:lnTo>
                    <a:pt x="219" y="784"/>
                  </a:lnTo>
                  <a:lnTo>
                    <a:pt x="220" y="784"/>
                  </a:lnTo>
                  <a:lnTo>
                    <a:pt x="222" y="785"/>
                  </a:lnTo>
                  <a:lnTo>
                    <a:pt x="225" y="784"/>
                  </a:lnTo>
                  <a:lnTo>
                    <a:pt x="226" y="785"/>
                  </a:lnTo>
                  <a:lnTo>
                    <a:pt x="227" y="785"/>
                  </a:lnTo>
                  <a:lnTo>
                    <a:pt x="230" y="788"/>
                  </a:lnTo>
                  <a:lnTo>
                    <a:pt x="231" y="788"/>
                  </a:lnTo>
                  <a:lnTo>
                    <a:pt x="231" y="786"/>
                  </a:lnTo>
                  <a:lnTo>
                    <a:pt x="231" y="785"/>
                  </a:lnTo>
                  <a:lnTo>
                    <a:pt x="231" y="784"/>
                  </a:lnTo>
                  <a:lnTo>
                    <a:pt x="230" y="783"/>
                  </a:lnTo>
                  <a:lnTo>
                    <a:pt x="228" y="783"/>
                  </a:lnTo>
                  <a:lnTo>
                    <a:pt x="227" y="783"/>
                  </a:lnTo>
                  <a:lnTo>
                    <a:pt x="228" y="782"/>
                  </a:lnTo>
                  <a:lnTo>
                    <a:pt x="226" y="782"/>
                  </a:lnTo>
                  <a:lnTo>
                    <a:pt x="226" y="780"/>
                  </a:lnTo>
                  <a:lnTo>
                    <a:pt x="226" y="778"/>
                  </a:lnTo>
                  <a:lnTo>
                    <a:pt x="226" y="777"/>
                  </a:lnTo>
                  <a:lnTo>
                    <a:pt x="225" y="776"/>
                  </a:lnTo>
                  <a:lnTo>
                    <a:pt x="226" y="774"/>
                  </a:lnTo>
                  <a:lnTo>
                    <a:pt x="226" y="771"/>
                  </a:lnTo>
                  <a:lnTo>
                    <a:pt x="224" y="768"/>
                  </a:lnTo>
                  <a:lnTo>
                    <a:pt x="226" y="767"/>
                  </a:lnTo>
                  <a:lnTo>
                    <a:pt x="227" y="766"/>
                  </a:lnTo>
                  <a:lnTo>
                    <a:pt x="228" y="766"/>
                  </a:lnTo>
                  <a:lnTo>
                    <a:pt x="230" y="766"/>
                  </a:lnTo>
                  <a:lnTo>
                    <a:pt x="230" y="768"/>
                  </a:lnTo>
                  <a:lnTo>
                    <a:pt x="231" y="770"/>
                  </a:lnTo>
                  <a:lnTo>
                    <a:pt x="232" y="771"/>
                  </a:lnTo>
                  <a:lnTo>
                    <a:pt x="234" y="772"/>
                  </a:lnTo>
                  <a:lnTo>
                    <a:pt x="236" y="771"/>
                  </a:lnTo>
                  <a:lnTo>
                    <a:pt x="236" y="773"/>
                  </a:lnTo>
                  <a:lnTo>
                    <a:pt x="238" y="773"/>
                  </a:lnTo>
                  <a:lnTo>
                    <a:pt x="242" y="773"/>
                  </a:lnTo>
                  <a:lnTo>
                    <a:pt x="242" y="774"/>
                  </a:lnTo>
                  <a:lnTo>
                    <a:pt x="244" y="774"/>
                  </a:lnTo>
                  <a:lnTo>
                    <a:pt x="244" y="777"/>
                  </a:lnTo>
                  <a:lnTo>
                    <a:pt x="245" y="777"/>
                  </a:lnTo>
                  <a:lnTo>
                    <a:pt x="245" y="778"/>
                  </a:lnTo>
                  <a:lnTo>
                    <a:pt x="246" y="778"/>
                  </a:lnTo>
                  <a:lnTo>
                    <a:pt x="249" y="778"/>
                  </a:lnTo>
                  <a:lnTo>
                    <a:pt x="250" y="776"/>
                  </a:lnTo>
                  <a:lnTo>
                    <a:pt x="250" y="774"/>
                  </a:lnTo>
                  <a:lnTo>
                    <a:pt x="251" y="774"/>
                  </a:lnTo>
                  <a:lnTo>
                    <a:pt x="251" y="776"/>
                  </a:lnTo>
                  <a:lnTo>
                    <a:pt x="255" y="774"/>
                  </a:lnTo>
                  <a:lnTo>
                    <a:pt x="256" y="777"/>
                  </a:lnTo>
                  <a:lnTo>
                    <a:pt x="257" y="777"/>
                  </a:lnTo>
                  <a:lnTo>
                    <a:pt x="259" y="777"/>
                  </a:lnTo>
                  <a:lnTo>
                    <a:pt x="257" y="774"/>
                  </a:lnTo>
                  <a:lnTo>
                    <a:pt x="259" y="773"/>
                  </a:lnTo>
                  <a:lnTo>
                    <a:pt x="257" y="772"/>
                  </a:lnTo>
                  <a:lnTo>
                    <a:pt x="260" y="772"/>
                  </a:lnTo>
                  <a:lnTo>
                    <a:pt x="260" y="771"/>
                  </a:lnTo>
                  <a:lnTo>
                    <a:pt x="261" y="771"/>
                  </a:lnTo>
                  <a:lnTo>
                    <a:pt x="262" y="771"/>
                  </a:lnTo>
                  <a:lnTo>
                    <a:pt x="263" y="772"/>
                  </a:lnTo>
                  <a:lnTo>
                    <a:pt x="263" y="771"/>
                  </a:lnTo>
                  <a:lnTo>
                    <a:pt x="265" y="772"/>
                  </a:lnTo>
                  <a:lnTo>
                    <a:pt x="266" y="772"/>
                  </a:lnTo>
                  <a:lnTo>
                    <a:pt x="267" y="772"/>
                  </a:lnTo>
                  <a:lnTo>
                    <a:pt x="269" y="771"/>
                  </a:lnTo>
                  <a:lnTo>
                    <a:pt x="271" y="773"/>
                  </a:lnTo>
                  <a:lnTo>
                    <a:pt x="272" y="773"/>
                  </a:lnTo>
                  <a:lnTo>
                    <a:pt x="273" y="773"/>
                  </a:lnTo>
                  <a:lnTo>
                    <a:pt x="273" y="770"/>
                  </a:lnTo>
                  <a:lnTo>
                    <a:pt x="274" y="770"/>
                  </a:lnTo>
                  <a:lnTo>
                    <a:pt x="274" y="768"/>
                  </a:lnTo>
                  <a:lnTo>
                    <a:pt x="273" y="768"/>
                  </a:lnTo>
                  <a:lnTo>
                    <a:pt x="272" y="768"/>
                  </a:lnTo>
                  <a:lnTo>
                    <a:pt x="271" y="766"/>
                  </a:lnTo>
                  <a:lnTo>
                    <a:pt x="268" y="765"/>
                  </a:lnTo>
                  <a:lnTo>
                    <a:pt x="268" y="764"/>
                  </a:lnTo>
                  <a:lnTo>
                    <a:pt x="269" y="764"/>
                  </a:lnTo>
                  <a:lnTo>
                    <a:pt x="272" y="764"/>
                  </a:lnTo>
                  <a:lnTo>
                    <a:pt x="274" y="761"/>
                  </a:lnTo>
                  <a:lnTo>
                    <a:pt x="278" y="764"/>
                  </a:lnTo>
                  <a:lnTo>
                    <a:pt x="279" y="766"/>
                  </a:lnTo>
                  <a:lnTo>
                    <a:pt x="281" y="765"/>
                  </a:lnTo>
                  <a:lnTo>
                    <a:pt x="281" y="764"/>
                  </a:lnTo>
                  <a:lnTo>
                    <a:pt x="280" y="761"/>
                  </a:lnTo>
                  <a:lnTo>
                    <a:pt x="280" y="758"/>
                  </a:lnTo>
                  <a:lnTo>
                    <a:pt x="281" y="758"/>
                  </a:lnTo>
                  <a:lnTo>
                    <a:pt x="283" y="758"/>
                  </a:lnTo>
                  <a:lnTo>
                    <a:pt x="284" y="758"/>
                  </a:lnTo>
                  <a:lnTo>
                    <a:pt x="286" y="756"/>
                  </a:lnTo>
                  <a:lnTo>
                    <a:pt x="287" y="760"/>
                  </a:lnTo>
                  <a:lnTo>
                    <a:pt x="287" y="761"/>
                  </a:lnTo>
                  <a:lnTo>
                    <a:pt x="290" y="761"/>
                  </a:lnTo>
                  <a:lnTo>
                    <a:pt x="290" y="762"/>
                  </a:lnTo>
                  <a:lnTo>
                    <a:pt x="289" y="765"/>
                  </a:lnTo>
                  <a:lnTo>
                    <a:pt x="290" y="765"/>
                  </a:lnTo>
                  <a:lnTo>
                    <a:pt x="290" y="766"/>
                  </a:lnTo>
                  <a:lnTo>
                    <a:pt x="291" y="766"/>
                  </a:lnTo>
                  <a:lnTo>
                    <a:pt x="291" y="765"/>
                  </a:lnTo>
                  <a:lnTo>
                    <a:pt x="295" y="766"/>
                  </a:lnTo>
                  <a:lnTo>
                    <a:pt x="293" y="768"/>
                  </a:lnTo>
                  <a:lnTo>
                    <a:pt x="296" y="768"/>
                  </a:lnTo>
                  <a:lnTo>
                    <a:pt x="296" y="771"/>
                  </a:lnTo>
                  <a:lnTo>
                    <a:pt x="297" y="771"/>
                  </a:lnTo>
                  <a:lnTo>
                    <a:pt x="298" y="771"/>
                  </a:lnTo>
                  <a:lnTo>
                    <a:pt x="301" y="770"/>
                  </a:lnTo>
                  <a:lnTo>
                    <a:pt x="301" y="771"/>
                  </a:lnTo>
                  <a:lnTo>
                    <a:pt x="302" y="771"/>
                  </a:lnTo>
                  <a:lnTo>
                    <a:pt x="303" y="771"/>
                  </a:lnTo>
                  <a:lnTo>
                    <a:pt x="302" y="773"/>
                  </a:lnTo>
                  <a:lnTo>
                    <a:pt x="301" y="774"/>
                  </a:lnTo>
                  <a:lnTo>
                    <a:pt x="301" y="776"/>
                  </a:lnTo>
                  <a:lnTo>
                    <a:pt x="299" y="776"/>
                  </a:lnTo>
                  <a:lnTo>
                    <a:pt x="299" y="778"/>
                  </a:lnTo>
                  <a:lnTo>
                    <a:pt x="299" y="779"/>
                  </a:lnTo>
                  <a:lnTo>
                    <a:pt x="302" y="780"/>
                  </a:lnTo>
                  <a:lnTo>
                    <a:pt x="301" y="780"/>
                  </a:lnTo>
                  <a:lnTo>
                    <a:pt x="299" y="782"/>
                  </a:lnTo>
                  <a:lnTo>
                    <a:pt x="301" y="783"/>
                  </a:lnTo>
                  <a:lnTo>
                    <a:pt x="302" y="782"/>
                  </a:lnTo>
                  <a:lnTo>
                    <a:pt x="304" y="782"/>
                  </a:lnTo>
                  <a:lnTo>
                    <a:pt x="305" y="780"/>
                  </a:lnTo>
                  <a:lnTo>
                    <a:pt x="309" y="780"/>
                  </a:lnTo>
                  <a:lnTo>
                    <a:pt x="310" y="779"/>
                  </a:lnTo>
                  <a:lnTo>
                    <a:pt x="313" y="779"/>
                  </a:lnTo>
                  <a:lnTo>
                    <a:pt x="313" y="780"/>
                  </a:lnTo>
                  <a:lnTo>
                    <a:pt x="314" y="782"/>
                  </a:lnTo>
                  <a:lnTo>
                    <a:pt x="315" y="783"/>
                  </a:lnTo>
                  <a:lnTo>
                    <a:pt x="316" y="783"/>
                  </a:lnTo>
                  <a:lnTo>
                    <a:pt x="319" y="782"/>
                  </a:lnTo>
                  <a:lnTo>
                    <a:pt x="320" y="782"/>
                  </a:lnTo>
                  <a:lnTo>
                    <a:pt x="324" y="780"/>
                  </a:lnTo>
                  <a:lnTo>
                    <a:pt x="333" y="780"/>
                  </a:lnTo>
                  <a:lnTo>
                    <a:pt x="338" y="780"/>
                  </a:lnTo>
                  <a:lnTo>
                    <a:pt x="343" y="779"/>
                  </a:lnTo>
                  <a:lnTo>
                    <a:pt x="348" y="779"/>
                  </a:lnTo>
                  <a:lnTo>
                    <a:pt x="350" y="778"/>
                  </a:lnTo>
                  <a:lnTo>
                    <a:pt x="351" y="779"/>
                  </a:lnTo>
                  <a:lnTo>
                    <a:pt x="352" y="778"/>
                  </a:lnTo>
                  <a:lnTo>
                    <a:pt x="354" y="779"/>
                  </a:lnTo>
                  <a:lnTo>
                    <a:pt x="358" y="779"/>
                  </a:lnTo>
                  <a:lnTo>
                    <a:pt x="363" y="779"/>
                  </a:lnTo>
                  <a:lnTo>
                    <a:pt x="367" y="777"/>
                  </a:lnTo>
                  <a:lnTo>
                    <a:pt x="375" y="774"/>
                  </a:lnTo>
                  <a:lnTo>
                    <a:pt x="379" y="772"/>
                  </a:lnTo>
                  <a:lnTo>
                    <a:pt x="380" y="770"/>
                  </a:lnTo>
                  <a:lnTo>
                    <a:pt x="381" y="768"/>
                  </a:lnTo>
                  <a:lnTo>
                    <a:pt x="384" y="768"/>
                  </a:lnTo>
                  <a:lnTo>
                    <a:pt x="385" y="768"/>
                  </a:lnTo>
                  <a:lnTo>
                    <a:pt x="386" y="771"/>
                  </a:lnTo>
                  <a:lnTo>
                    <a:pt x="389" y="772"/>
                  </a:lnTo>
                  <a:lnTo>
                    <a:pt x="392" y="772"/>
                  </a:lnTo>
                  <a:lnTo>
                    <a:pt x="395" y="772"/>
                  </a:lnTo>
                  <a:lnTo>
                    <a:pt x="397" y="771"/>
                  </a:lnTo>
                  <a:lnTo>
                    <a:pt x="399" y="770"/>
                  </a:lnTo>
                  <a:lnTo>
                    <a:pt x="402" y="768"/>
                  </a:lnTo>
                  <a:lnTo>
                    <a:pt x="403" y="767"/>
                  </a:lnTo>
                  <a:lnTo>
                    <a:pt x="404" y="766"/>
                  </a:lnTo>
                  <a:lnTo>
                    <a:pt x="405" y="765"/>
                  </a:lnTo>
                  <a:lnTo>
                    <a:pt x="405" y="764"/>
                  </a:lnTo>
                  <a:lnTo>
                    <a:pt x="405" y="760"/>
                  </a:lnTo>
                  <a:lnTo>
                    <a:pt x="407" y="760"/>
                  </a:lnTo>
                  <a:lnTo>
                    <a:pt x="409" y="761"/>
                  </a:lnTo>
                  <a:lnTo>
                    <a:pt x="411" y="761"/>
                  </a:lnTo>
                  <a:lnTo>
                    <a:pt x="414" y="760"/>
                  </a:lnTo>
                  <a:lnTo>
                    <a:pt x="414" y="759"/>
                  </a:lnTo>
                  <a:lnTo>
                    <a:pt x="415" y="759"/>
                  </a:lnTo>
                  <a:lnTo>
                    <a:pt x="416" y="758"/>
                  </a:lnTo>
                  <a:lnTo>
                    <a:pt x="421" y="756"/>
                  </a:lnTo>
                  <a:lnTo>
                    <a:pt x="423" y="756"/>
                  </a:lnTo>
                  <a:lnTo>
                    <a:pt x="425" y="756"/>
                  </a:lnTo>
                  <a:lnTo>
                    <a:pt x="426" y="756"/>
                  </a:lnTo>
                  <a:lnTo>
                    <a:pt x="427" y="755"/>
                  </a:lnTo>
                  <a:lnTo>
                    <a:pt x="429" y="753"/>
                  </a:lnTo>
                  <a:lnTo>
                    <a:pt x="432" y="752"/>
                  </a:lnTo>
                  <a:lnTo>
                    <a:pt x="432" y="750"/>
                  </a:lnTo>
                  <a:lnTo>
                    <a:pt x="433" y="749"/>
                  </a:lnTo>
                  <a:lnTo>
                    <a:pt x="431" y="750"/>
                  </a:lnTo>
                  <a:lnTo>
                    <a:pt x="431" y="749"/>
                  </a:lnTo>
                  <a:lnTo>
                    <a:pt x="427" y="749"/>
                  </a:lnTo>
                  <a:lnTo>
                    <a:pt x="428" y="744"/>
                  </a:lnTo>
                  <a:lnTo>
                    <a:pt x="428" y="742"/>
                  </a:lnTo>
                  <a:lnTo>
                    <a:pt x="427" y="742"/>
                  </a:lnTo>
                  <a:lnTo>
                    <a:pt x="427" y="740"/>
                  </a:lnTo>
                  <a:lnTo>
                    <a:pt x="425" y="738"/>
                  </a:lnTo>
                  <a:lnTo>
                    <a:pt x="423" y="738"/>
                  </a:lnTo>
                  <a:lnTo>
                    <a:pt x="423" y="740"/>
                  </a:lnTo>
                  <a:lnTo>
                    <a:pt x="425" y="741"/>
                  </a:lnTo>
                  <a:lnTo>
                    <a:pt x="425" y="742"/>
                  </a:lnTo>
                  <a:lnTo>
                    <a:pt x="426" y="743"/>
                  </a:lnTo>
                  <a:lnTo>
                    <a:pt x="426" y="744"/>
                  </a:lnTo>
                  <a:lnTo>
                    <a:pt x="425" y="744"/>
                  </a:lnTo>
                  <a:lnTo>
                    <a:pt x="425" y="746"/>
                  </a:lnTo>
                  <a:lnTo>
                    <a:pt x="423" y="747"/>
                  </a:lnTo>
                  <a:lnTo>
                    <a:pt x="423" y="752"/>
                  </a:lnTo>
                  <a:lnTo>
                    <a:pt x="422" y="750"/>
                  </a:lnTo>
                  <a:lnTo>
                    <a:pt x="421" y="752"/>
                  </a:lnTo>
                  <a:lnTo>
                    <a:pt x="422" y="753"/>
                  </a:lnTo>
                  <a:lnTo>
                    <a:pt x="417" y="753"/>
                  </a:lnTo>
                  <a:lnTo>
                    <a:pt x="415" y="750"/>
                  </a:lnTo>
                  <a:lnTo>
                    <a:pt x="414" y="749"/>
                  </a:lnTo>
                  <a:lnTo>
                    <a:pt x="414" y="748"/>
                  </a:lnTo>
                  <a:lnTo>
                    <a:pt x="415" y="748"/>
                  </a:lnTo>
                  <a:lnTo>
                    <a:pt x="415" y="747"/>
                  </a:lnTo>
                  <a:lnTo>
                    <a:pt x="413" y="747"/>
                  </a:lnTo>
                  <a:lnTo>
                    <a:pt x="411" y="748"/>
                  </a:lnTo>
                  <a:lnTo>
                    <a:pt x="409" y="749"/>
                  </a:lnTo>
                  <a:lnTo>
                    <a:pt x="407" y="750"/>
                  </a:lnTo>
                  <a:lnTo>
                    <a:pt x="404" y="748"/>
                  </a:lnTo>
                  <a:lnTo>
                    <a:pt x="403" y="747"/>
                  </a:lnTo>
                  <a:lnTo>
                    <a:pt x="402" y="747"/>
                  </a:lnTo>
                  <a:lnTo>
                    <a:pt x="399" y="749"/>
                  </a:lnTo>
                  <a:lnTo>
                    <a:pt x="398" y="752"/>
                  </a:lnTo>
                  <a:lnTo>
                    <a:pt x="395" y="753"/>
                  </a:lnTo>
                  <a:lnTo>
                    <a:pt x="393" y="753"/>
                  </a:lnTo>
                  <a:lnTo>
                    <a:pt x="393" y="752"/>
                  </a:lnTo>
                  <a:lnTo>
                    <a:pt x="393" y="748"/>
                  </a:lnTo>
                  <a:lnTo>
                    <a:pt x="393" y="746"/>
                  </a:lnTo>
                  <a:lnTo>
                    <a:pt x="397" y="746"/>
                  </a:lnTo>
                  <a:lnTo>
                    <a:pt x="397" y="743"/>
                  </a:lnTo>
                  <a:lnTo>
                    <a:pt x="397" y="738"/>
                  </a:lnTo>
                  <a:lnTo>
                    <a:pt x="397" y="737"/>
                  </a:lnTo>
                  <a:lnTo>
                    <a:pt x="397" y="735"/>
                  </a:lnTo>
                  <a:lnTo>
                    <a:pt x="399" y="732"/>
                  </a:lnTo>
                  <a:lnTo>
                    <a:pt x="401" y="731"/>
                  </a:lnTo>
                  <a:lnTo>
                    <a:pt x="402" y="734"/>
                  </a:lnTo>
                  <a:lnTo>
                    <a:pt x="403" y="734"/>
                  </a:lnTo>
                  <a:lnTo>
                    <a:pt x="404" y="732"/>
                  </a:lnTo>
                  <a:lnTo>
                    <a:pt x="404" y="731"/>
                  </a:lnTo>
                  <a:lnTo>
                    <a:pt x="403" y="731"/>
                  </a:lnTo>
                  <a:lnTo>
                    <a:pt x="399" y="729"/>
                  </a:lnTo>
                  <a:lnTo>
                    <a:pt x="398" y="730"/>
                  </a:lnTo>
                  <a:lnTo>
                    <a:pt x="397" y="730"/>
                  </a:lnTo>
                  <a:lnTo>
                    <a:pt x="395" y="730"/>
                  </a:lnTo>
                  <a:lnTo>
                    <a:pt x="393" y="729"/>
                  </a:lnTo>
                  <a:lnTo>
                    <a:pt x="390" y="729"/>
                  </a:lnTo>
                  <a:lnTo>
                    <a:pt x="390" y="726"/>
                  </a:lnTo>
                  <a:lnTo>
                    <a:pt x="391" y="724"/>
                  </a:lnTo>
                  <a:lnTo>
                    <a:pt x="391" y="723"/>
                  </a:lnTo>
                  <a:lnTo>
                    <a:pt x="390" y="723"/>
                  </a:lnTo>
                  <a:lnTo>
                    <a:pt x="387" y="722"/>
                  </a:lnTo>
                  <a:lnTo>
                    <a:pt x="386" y="720"/>
                  </a:lnTo>
                  <a:lnTo>
                    <a:pt x="387" y="724"/>
                  </a:lnTo>
                  <a:lnTo>
                    <a:pt x="387" y="726"/>
                  </a:lnTo>
                  <a:lnTo>
                    <a:pt x="386" y="726"/>
                  </a:lnTo>
                  <a:lnTo>
                    <a:pt x="384" y="724"/>
                  </a:lnTo>
                  <a:lnTo>
                    <a:pt x="383" y="723"/>
                  </a:lnTo>
                  <a:lnTo>
                    <a:pt x="381" y="724"/>
                  </a:lnTo>
                  <a:lnTo>
                    <a:pt x="381" y="725"/>
                  </a:lnTo>
                  <a:lnTo>
                    <a:pt x="378" y="724"/>
                  </a:lnTo>
                  <a:lnTo>
                    <a:pt x="378" y="725"/>
                  </a:lnTo>
                  <a:lnTo>
                    <a:pt x="378" y="726"/>
                  </a:lnTo>
                  <a:lnTo>
                    <a:pt x="378" y="729"/>
                  </a:lnTo>
                  <a:lnTo>
                    <a:pt x="376" y="729"/>
                  </a:lnTo>
                  <a:lnTo>
                    <a:pt x="374" y="729"/>
                  </a:lnTo>
                  <a:lnTo>
                    <a:pt x="374" y="730"/>
                  </a:lnTo>
                  <a:lnTo>
                    <a:pt x="374" y="731"/>
                  </a:lnTo>
                  <a:lnTo>
                    <a:pt x="373" y="734"/>
                  </a:lnTo>
                  <a:lnTo>
                    <a:pt x="368" y="736"/>
                  </a:lnTo>
                  <a:lnTo>
                    <a:pt x="367" y="736"/>
                  </a:lnTo>
                  <a:lnTo>
                    <a:pt x="367" y="737"/>
                  </a:lnTo>
                  <a:lnTo>
                    <a:pt x="366" y="740"/>
                  </a:lnTo>
                  <a:lnTo>
                    <a:pt x="364" y="742"/>
                  </a:lnTo>
                  <a:lnTo>
                    <a:pt x="363" y="743"/>
                  </a:lnTo>
                  <a:lnTo>
                    <a:pt x="363" y="744"/>
                  </a:lnTo>
                  <a:lnTo>
                    <a:pt x="366" y="742"/>
                  </a:lnTo>
                  <a:lnTo>
                    <a:pt x="366" y="741"/>
                  </a:lnTo>
                  <a:lnTo>
                    <a:pt x="368" y="742"/>
                  </a:lnTo>
                  <a:lnTo>
                    <a:pt x="368" y="743"/>
                  </a:lnTo>
                  <a:lnTo>
                    <a:pt x="368" y="747"/>
                  </a:lnTo>
                  <a:lnTo>
                    <a:pt x="367" y="747"/>
                  </a:lnTo>
                  <a:lnTo>
                    <a:pt x="367" y="746"/>
                  </a:lnTo>
                  <a:lnTo>
                    <a:pt x="366" y="746"/>
                  </a:lnTo>
                  <a:lnTo>
                    <a:pt x="366" y="747"/>
                  </a:lnTo>
                  <a:lnTo>
                    <a:pt x="368" y="747"/>
                  </a:lnTo>
                  <a:lnTo>
                    <a:pt x="370" y="746"/>
                  </a:lnTo>
                  <a:lnTo>
                    <a:pt x="369" y="748"/>
                  </a:lnTo>
                  <a:lnTo>
                    <a:pt x="369" y="749"/>
                  </a:lnTo>
                  <a:lnTo>
                    <a:pt x="368" y="752"/>
                  </a:lnTo>
                  <a:lnTo>
                    <a:pt x="368" y="753"/>
                  </a:lnTo>
                  <a:lnTo>
                    <a:pt x="369" y="752"/>
                  </a:lnTo>
                  <a:lnTo>
                    <a:pt x="370" y="754"/>
                  </a:lnTo>
                  <a:lnTo>
                    <a:pt x="370" y="755"/>
                  </a:lnTo>
                  <a:lnTo>
                    <a:pt x="368" y="755"/>
                  </a:lnTo>
                  <a:lnTo>
                    <a:pt x="367" y="756"/>
                  </a:lnTo>
                  <a:lnTo>
                    <a:pt x="366" y="756"/>
                  </a:lnTo>
                  <a:lnTo>
                    <a:pt x="364" y="759"/>
                  </a:lnTo>
                  <a:lnTo>
                    <a:pt x="363" y="759"/>
                  </a:lnTo>
                  <a:lnTo>
                    <a:pt x="360" y="759"/>
                  </a:lnTo>
                  <a:lnTo>
                    <a:pt x="357" y="759"/>
                  </a:lnTo>
                  <a:lnTo>
                    <a:pt x="360" y="756"/>
                  </a:lnTo>
                  <a:lnTo>
                    <a:pt x="360" y="754"/>
                  </a:lnTo>
                  <a:lnTo>
                    <a:pt x="358" y="753"/>
                  </a:lnTo>
                  <a:lnTo>
                    <a:pt x="357" y="755"/>
                  </a:lnTo>
                  <a:lnTo>
                    <a:pt x="357" y="758"/>
                  </a:lnTo>
                  <a:lnTo>
                    <a:pt x="356" y="758"/>
                  </a:lnTo>
                  <a:lnTo>
                    <a:pt x="352" y="759"/>
                  </a:lnTo>
                  <a:lnTo>
                    <a:pt x="351" y="755"/>
                  </a:lnTo>
                  <a:lnTo>
                    <a:pt x="350" y="756"/>
                  </a:lnTo>
                  <a:lnTo>
                    <a:pt x="349" y="756"/>
                  </a:lnTo>
                  <a:lnTo>
                    <a:pt x="349" y="758"/>
                  </a:lnTo>
                  <a:lnTo>
                    <a:pt x="348" y="759"/>
                  </a:lnTo>
                  <a:lnTo>
                    <a:pt x="345" y="758"/>
                  </a:lnTo>
                  <a:lnTo>
                    <a:pt x="345" y="760"/>
                  </a:lnTo>
                  <a:lnTo>
                    <a:pt x="343" y="759"/>
                  </a:lnTo>
                  <a:lnTo>
                    <a:pt x="343" y="758"/>
                  </a:lnTo>
                  <a:lnTo>
                    <a:pt x="338" y="756"/>
                  </a:lnTo>
                  <a:lnTo>
                    <a:pt x="338" y="754"/>
                  </a:lnTo>
                  <a:lnTo>
                    <a:pt x="339" y="754"/>
                  </a:lnTo>
                  <a:lnTo>
                    <a:pt x="340" y="752"/>
                  </a:lnTo>
                  <a:lnTo>
                    <a:pt x="342" y="750"/>
                  </a:lnTo>
                  <a:lnTo>
                    <a:pt x="345" y="748"/>
                  </a:lnTo>
                  <a:lnTo>
                    <a:pt x="345" y="747"/>
                  </a:lnTo>
                  <a:lnTo>
                    <a:pt x="345" y="744"/>
                  </a:lnTo>
                  <a:lnTo>
                    <a:pt x="344" y="746"/>
                  </a:lnTo>
                  <a:lnTo>
                    <a:pt x="343" y="747"/>
                  </a:lnTo>
                  <a:lnTo>
                    <a:pt x="342" y="749"/>
                  </a:lnTo>
                  <a:lnTo>
                    <a:pt x="338" y="749"/>
                  </a:lnTo>
                  <a:lnTo>
                    <a:pt x="337" y="748"/>
                  </a:lnTo>
                  <a:lnTo>
                    <a:pt x="334" y="748"/>
                  </a:lnTo>
                  <a:lnTo>
                    <a:pt x="332" y="746"/>
                  </a:lnTo>
                  <a:lnTo>
                    <a:pt x="332" y="744"/>
                  </a:lnTo>
                  <a:lnTo>
                    <a:pt x="333" y="744"/>
                  </a:lnTo>
                  <a:lnTo>
                    <a:pt x="333" y="742"/>
                  </a:lnTo>
                  <a:lnTo>
                    <a:pt x="332" y="742"/>
                  </a:lnTo>
                  <a:lnTo>
                    <a:pt x="331" y="742"/>
                  </a:lnTo>
                  <a:lnTo>
                    <a:pt x="331" y="743"/>
                  </a:lnTo>
                  <a:lnTo>
                    <a:pt x="330" y="742"/>
                  </a:lnTo>
                  <a:lnTo>
                    <a:pt x="330" y="740"/>
                  </a:lnTo>
                  <a:lnTo>
                    <a:pt x="331" y="736"/>
                  </a:lnTo>
                  <a:lnTo>
                    <a:pt x="331" y="734"/>
                  </a:lnTo>
                  <a:lnTo>
                    <a:pt x="331" y="732"/>
                  </a:lnTo>
                  <a:lnTo>
                    <a:pt x="328" y="730"/>
                  </a:lnTo>
                  <a:lnTo>
                    <a:pt x="327" y="728"/>
                  </a:lnTo>
                  <a:lnTo>
                    <a:pt x="327" y="723"/>
                  </a:lnTo>
                  <a:lnTo>
                    <a:pt x="328" y="722"/>
                  </a:lnTo>
                  <a:lnTo>
                    <a:pt x="330" y="724"/>
                  </a:lnTo>
                  <a:lnTo>
                    <a:pt x="331" y="724"/>
                  </a:lnTo>
                  <a:lnTo>
                    <a:pt x="331" y="723"/>
                  </a:lnTo>
                  <a:lnTo>
                    <a:pt x="331" y="720"/>
                  </a:lnTo>
                  <a:lnTo>
                    <a:pt x="334" y="718"/>
                  </a:lnTo>
                  <a:lnTo>
                    <a:pt x="339" y="718"/>
                  </a:lnTo>
                  <a:lnTo>
                    <a:pt x="338" y="716"/>
                  </a:lnTo>
                  <a:lnTo>
                    <a:pt x="336" y="716"/>
                  </a:lnTo>
                  <a:lnTo>
                    <a:pt x="334" y="716"/>
                  </a:lnTo>
                  <a:lnTo>
                    <a:pt x="333" y="717"/>
                  </a:lnTo>
                  <a:lnTo>
                    <a:pt x="331" y="718"/>
                  </a:lnTo>
                  <a:lnTo>
                    <a:pt x="330" y="717"/>
                  </a:lnTo>
                  <a:lnTo>
                    <a:pt x="328" y="716"/>
                  </a:lnTo>
                  <a:lnTo>
                    <a:pt x="326" y="716"/>
                  </a:lnTo>
                  <a:lnTo>
                    <a:pt x="325" y="716"/>
                  </a:lnTo>
                  <a:lnTo>
                    <a:pt x="324" y="718"/>
                  </a:lnTo>
                  <a:lnTo>
                    <a:pt x="322" y="720"/>
                  </a:lnTo>
                  <a:lnTo>
                    <a:pt x="324" y="722"/>
                  </a:lnTo>
                  <a:lnTo>
                    <a:pt x="325" y="722"/>
                  </a:lnTo>
                  <a:lnTo>
                    <a:pt x="322" y="725"/>
                  </a:lnTo>
                  <a:lnTo>
                    <a:pt x="321" y="726"/>
                  </a:lnTo>
                  <a:lnTo>
                    <a:pt x="321" y="729"/>
                  </a:lnTo>
                  <a:lnTo>
                    <a:pt x="320" y="729"/>
                  </a:lnTo>
                  <a:lnTo>
                    <a:pt x="319" y="728"/>
                  </a:lnTo>
                  <a:lnTo>
                    <a:pt x="321" y="723"/>
                  </a:lnTo>
                  <a:lnTo>
                    <a:pt x="318" y="723"/>
                  </a:lnTo>
                  <a:lnTo>
                    <a:pt x="316" y="724"/>
                  </a:lnTo>
                  <a:lnTo>
                    <a:pt x="316" y="725"/>
                  </a:lnTo>
                  <a:lnTo>
                    <a:pt x="315" y="726"/>
                  </a:lnTo>
                  <a:lnTo>
                    <a:pt x="313" y="726"/>
                  </a:lnTo>
                  <a:lnTo>
                    <a:pt x="310" y="725"/>
                  </a:lnTo>
                  <a:lnTo>
                    <a:pt x="308" y="726"/>
                  </a:lnTo>
                  <a:lnTo>
                    <a:pt x="307" y="726"/>
                  </a:lnTo>
                  <a:lnTo>
                    <a:pt x="308" y="726"/>
                  </a:lnTo>
                  <a:lnTo>
                    <a:pt x="308" y="728"/>
                  </a:lnTo>
                  <a:lnTo>
                    <a:pt x="307" y="729"/>
                  </a:lnTo>
                  <a:lnTo>
                    <a:pt x="305" y="730"/>
                  </a:lnTo>
                  <a:lnTo>
                    <a:pt x="305" y="729"/>
                  </a:lnTo>
                  <a:lnTo>
                    <a:pt x="303" y="729"/>
                  </a:lnTo>
                  <a:lnTo>
                    <a:pt x="302" y="730"/>
                  </a:lnTo>
                  <a:lnTo>
                    <a:pt x="301" y="731"/>
                  </a:lnTo>
                  <a:lnTo>
                    <a:pt x="299" y="731"/>
                  </a:lnTo>
                  <a:lnTo>
                    <a:pt x="299" y="730"/>
                  </a:lnTo>
                  <a:lnTo>
                    <a:pt x="297" y="731"/>
                  </a:lnTo>
                  <a:lnTo>
                    <a:pt x="296" y="730"/>
                  </a:lnTo>
                  <a:lnTo>
                    <a:pt x="295" y="730"/>
                  </a:lnTo>
                  <a:lnTo>
                    <a:pt x="295" y="731"/>
                  </a:lnTo>
                  <a:lnTo>
                    <a:pt x="293" y="731"/>
                  </a:lnTo>
                  <a:lnTo>
                    <a:pt x="292" y="730"/>
                  </a:lnTo>
                  <a:lnTo>
                    <a:pt x="292" y="729"/>
                  </a:lnTo>
                  <a:lnTo>
                    <a:pt x="291" y="729"/>
                  </a:lnTo>
                  <a:lnTo>
                    <a:pt x="290" y="729"/>
                  </a:lnTo>
                  <a:lnTo>
                    <a:pt x="287" y="728"/>
                  </a:lnTo>
                  <a:lnTo>
                    <a:pt x="286" y="726"/>
                  </a:lnTo>
                  <a:lnTo>
                    <a:pt x="285" y="725"/>
                  </a:lnTo>
                  <a:lnTo>
                    <a:pt x="286" y="723"/>
                  </a:lnTo>
                  <a:lnTo>
                    <a:pt x="284" y="723"/>
                  </a:lnTo>
                  <a:lnTo>
                    <a:pt x="281" y="723"/>
                  </a:lnTo>
                  <a:lnTo>
                    <a:pt x="280" y="722"/>
                  </a:lnTo>
                  <a:lnTo>
                    <a:pt x="279" y="723"/>
                  </a:lnTo>
                  <a:lnTo>
                    <a:pt x="278" y="724"/>
                  </a:lnTo>
                  <a:lnTo>
                    <a:pt x="277" y="725"/>
                  </a:lnTo>
                  <a:lnTo>
                    <a:pt x="275" y="724"/>
                  </a:lnTo>
                  <a:lnTo>
                    <a:pt x="272" y="724"/>
                  </a:lnTo>
                  <a:lnTo>
                    <a:pt x="269" y="723"/>
                  </a:lnTo>
                  <a:lnTo>
                    <a:pt x="269" y="720"/>
                  </a:lnTo>
                  <a:lnTo>
                    <a:pt x="268" y="720"/>
                  </a:lnTo>
                  <a:lnTo>
                    <a:pt x="267" y="720"/>
                  </a:lnTo>
                  <a:lnTo>
                    <a:pt x="267" y="722"/>
                  </a:lnTo>
                  <a:lnTo>
                    <a:pt x="266" y="723"/>
                  </a:lnTo>
                  <a:lnTo>
                    <a:pt x="265" y="724"/>
                  </a:lnTo>
                  <a:lnTo>
                    <a:pt x="262" y="723"/>
                  </a:lnTo>
                  <a:lnTo>
                    <a:pt x="261" y="722"/>
                  </a:lnTo>
                  <a:lnTo>
                    <a:pt x="260" y="722"/>
                  </a:lnTo>
                  <a:lnTo>
                    <a:pt x="259" y="722"/>
                  </a:lnTo>
                  <a:lnTo>
                    <a:pt x="256" y="722"/>
                  </a:lnTo>
                  <a:lnTo>
                    <a:pt x="255" y="722"/>
                  </a:lnTo>
                  <a:lnTo>
                    <a:pt x="254" y="722"/>
                  </a:lnTo>
                  <a:lnTo>
                    <a:pt x="252" y="720"/>
                  </a:lnTo>
                  <a:lnTo>
                    <a:pt x="250" y="722"/>
                  </a:lnTo>
                  <a:lnTo>
                    <a:pt x="248" y="722"/>
                  </a:lnTo>
                  <a:lnTo>
                    <a:pt x="244" y="723"/>
                  </a:lnTo>
                  <a:lnTo>
                    <a:pt x="244" y="724"/>
                  </a:lnTo>
                  <a:lnTo>
                    <a:pt x="243" y="726"/>
                  </a:lnTo>
                  <a:lnTo>
                    <a:pt x="244" y="728"/>
                  </a:lnTo>
                  <a:lnTo>
                    <a:pt x="245" y="725"/>
                  </a:lnTo>
                  <a:lnTo>
                    <a:pt x="248" y="725"/>
                  </a:lnTo>
                  <a:lnTo>
                    <a:pt x="248" y="726"/>
                  </a:lnTo>
                  <a:lnTo>
                    <a:pt x="250" y="726"/>
                  </a:lnTo>
                  <a:lnTo>
                    <a:pt x="251" y="726"/>
                  </a:lnTo>
                  <a:lnTo>
                    <a:pt x="252" y="726"/>
                  </a:lnTo>
                  <a:lnTo>
                    <a:pt x="254" y="728"/>
                  </a:lnTo>
                  <a:lnTo>
                    <a:pt x="255" y="725"/>
                  </a:lnTo>
                  <a:lnTo>
                    <a:pt x="255" y="723"/>
                  </a:lnTo>
                  <a:lnTo>
                    <a:pt x="255" y="724"/>
                  </a:lnTo>
                  <a:lnTo>
                    <a:pt x="256" y="724"/>
                  </a:lnTo>
                  <a:lnTo>
                    <a:pt x="256" y="726"/>
                  </a:lnTo>
                  <a:lnTo>
                    <a:pt x="257" y="725"/>
                  </a:lnTo>
                  <a:lnTo>
                    <a:pt x="260" y="725"/>
                  </a:lnTo>
                  <a:lnTo>
                    <a:pt x="260" y="726"/>
                  </a:lnTo>
                  <a:lnTo>
                    <a:pt x="261" y="724"/>
                  </a:lnTo>
                  <a:lnTo>
                    <a:pt x="262" y="724"/>
                  </a:lnTo>
                  <a:lnTo>
                    <a:pt x="263" y="725"/>
                  </a:lnTo>
                  <a:lnTo>
                    <a:pt x="265" y="725"/>
                  </a:lnTo>
                  <a:lnTo>
                    <a:pt x="265" y="726"/>
                  </a:lnTo>
                  <a:lnTo>
                    <a:pt x="265" y="725"/>
                  </a:lnTo>
                  <a:lnTo>
                    <a:pt x="265" y="726"/>
                  </a:lnTo>
                  <a:lnTo>
                    <a:pt x="265" y="728"/>
                  </a:lnTo>
                  <a:lnTo>
                    <a:pt x="266" y="729"/>
                  </a:lnTo>
                  <a:lnTo>
                    <a:pt x="267" y="729"/>
                  </a:lnTo>
                  <a:lnTo>
                    <a:pt x="267" y="730"/>
                  </a:lnTo>
                  <a:lnTo>
                    <a:pt x="267" y="729"/>
                  </a:lnTo>
                  <a:lnTo>
                    <a:pt x="268" y="729"/>
                  </a:lnTo>
                  <a:lnTo>
                    <a:pt x="268" y="726"/>
                  </a:lnTo>
                  <a:lnTo>
                    <a:pt x="268" y="725"/>
                  </a:lnTo>
                  <a:lnTo>
                    <a:pt x="269" y="724"/>
                  </a:lnTo>
                  <a:lnTo>
                    <a:pt x="272" y="725"/>
                  </a:lnTo>
                  <a:lnTo>
                    <a:pt x="272" y="729"/>
                  </a:lnTo>
                  <a:lnTo>
                    <a:pt x="271" y="728"/>
                  </a:lnTo>
                  <a:lnTo>
                    <a:pt x="269" y="731"/>
                  </a:lnTo>
                  <a:lnTo>
                    <a:pt x="271" y="734"/>
                  </a:lnTo>
                  <a:lnTo>
                    <a:pt x="267" y="734"/>
                  </a:lnTo>
                  <a:lnTo>
                    <a:pt x="266" y="734"/>
                  </a:lnTo>
                  <a:lnTo>
                    <a:pt x="268" y="734"/>
                  </a:lnTo>
                  <a:lnTo>
                    <a:pt x="268" y="737"/>
                  </a:lnTo>
                  <a:lnTo>
                    <a:pt x="267" y="736"/>
                  </a:lnTo>
                  <a:lnTo>
                    <a:pt x="266" y="736"/>
                  </a:lnTo>
                  <a:lnTo>
                    <a:pt x="263" y="736"/>
                  </a:lnTo>
                  <a:lnTo>
                    <a:pt x="262" y="736"/>
                  </a:lnTo>
                  <a:lnTo>
                    <a:pt x="260" y="737"/>
                  </a:lnTo>
                  <a:lnTo>
                    <a:pt x="256" y="737"/>
                  </a:lnTo>
                  <a:lnTo>
                    <a:pt x="255" y="740"/>
                  </a:lnTo>
                  <a:lnTo>
                    <a:pt x="255" y="741"/>
                  </a:lnTo>
                  <a:lnTo>
                    <a:pt x="254" y="743"/>
                  </a:lnTo>
                  <a:lnTo>
                    <a:pt x="252" y="744"/>
                  </a:lnTo>
                  <a:lnTo>
                    <a:pt x="252" y="746"/>
                  </a:lnTo>
                  <a:lnTo>
                    <a:pt x="249" y="746"/>
                  </a:lnTo>
                  <a:lnTo>
                    <a:pt x="246" y="744"/>
                  </a:lnTo>
                  <a:lnTo>
                    <a:pt x="248" y="743"/>
                  </a:lnTo>
                  <a:lnTo>
                    <a:pt x="248" y="742"/>
                  </a:lnTo>
                  <a:lnTo>
                    <a:pt x="246" y="742"/>
                  </a:lnTo>
                  <a:lnTo>
                    <a:pt x="245" y="740"/>
                  </a:lnTo>
                  <a:lnTo>
                    <a:pt x="244" y="736"/>
                  </a:lnTo>
                  <a:lnTo>
                    <a:pt x="242" y="736"/>
                  </a:lnTo>
                  <a:lnTo>
                    <a:pt x="242" y="737"/>
                  </a:lnTo>
                  <a:lnTo>
                    <a:pt x="243" y="738"/>
                  </a:lnTo>
                  <a:lnTo>
                    <a:pt x="244" y="741"/>
                  </a:lnTo>
                  <a:lnTo>
                    <a:pt x="245" y="742"/>
                  </a:lnTo>
                  <a:lnTo>
                    <a:pt x="244" y="743"/>
                  </a:lnTo>
                  <a:lnTo>
                    <a:pt x="242" y="744"/>
                  </a:lnTo>
                  <a:lnTo>
                    <a:pt x="243" y="741"/>
                  </a:lnTo>
                  <a:lnTo>
                    <a:pt x="242" y="741"/>
                  </a:lnTo>
                  <a:lnTo>
                    <a:pt x="240" y="742"/>
                  </a:lnTo>
                  <a:lnTo>
                    <a:pt x="240" y="744"/>
                  </a:lnTo>
                  <a:lnTo>
                    <a:pt x="243" y="747"/>
                  </a:lnTo>
                  <a:lnTo>
                    <a:pt x="239" y="747"/>
                  </a:lnTo>
                  <a:lnTo>
                    <a:pt x="239" y="748"/>
                  </a:lnTo>
                  <a:lnTo>
                    <a:pt x="240" y="749"/>
                  </a:lnTo>
                  <a:lnTo>
                    <a:pt x="240" y="750"/>
                  </a:lnTo>
                  <a:lnTo>
                    <a:pt x="238" y="749"/>
                  </a:lnTo>
                  <a:lnTo>
                    <a:pt x="238" y="752"/>
                  </a:lnTo>
                  <a:lnTo>
                    <a:pt x="238" y="753"/>
                  </a:lnTo>
                  <a:lnTo>
                    <a:pt x="239" y="753"/>
                  </a:lnTo>
                  <a:lnTo>
                    <a:pt x="239" y="754"/>
                  </a:lnTo>
                  <a:lnTo>
                    <a:pt x="238" y="754"/>
                  </a:lnTo>
                  <a:lnTo>
                    <a:pt x="237" y="755"/>
                  </a:lnTo>
                  <a:lnTo>
                    <a:pt x="240" y="756"/>
                  </a:lnTo>
                  <a:lnTo>
                    <a:pt x="243" y="755"/>
                  </a:lnTo>
                  <a:lnTo>
                    <a:pt x="243" y="756"/>
                  </a:lnTo>
                  <a:lnTo>
                    <a:pt x="244" y="756"/>
                  </a:lnTo>
                  <a:lnTo>
                    <a:pt x="244" y="761"/>
                  </a:lnTo>
                  <a:lnTo>
                    <a:pt x="243" y="764"/>
                  </a:lnTo>
                  <a:lnTo>
                    <a:pt x="243" y="766"/>
                  </a:lnTo>
                  <a:lnTo>
                    <a:pt x="242" y="766"/>
                  </a:lnTo>
                  <a:lnTo>
                    <a:pt x="239" y="767"/>
                  </a:lnTo>
                  <a:lnTo>
                    <a:pt x="239" y="766"/>
                  </a:lnTo>
                  <a:lnTo>
                    <a:pt x="237" y="766"/>
                  </a:lnTo>
                  <a:lnTo>
                    <a:pt x="236" y="765"/>
                  </a:lnTo>
                  <a:lnTo>
                    <a:pt x="233" y="764"/>
                  </a:lnTo>
                  <a:lnTo>
                    <a:pt x="230" y="761"/>
                  </a:lnTo>
                  <a:lnTo>
                    <a:pt x="228" y="761"/>
                  </a:lnTo>
                  <a:lnTo>
                    <a:pt x="226" y="761"/>
                  </a:lnTo>
                  <a:lnTo>
                    <a:pt x="224" y="761"/>
                  </a:lnTo>
                  <a:lnTo>
                    <a:pt x="221" y="761"/>
                  </a:lnTo>
                  <a:lnTo>
                    <a:pt x="219" y="762"/>
                  </a:lnTo>
                  <a:lnTo>
                    <a:pt x="214" y="762"/>
                  </a:lnTo>
                  <a:lnTo>
                    <a:pt x="212" y="762"/>
                  </a:lnTo>
                  <a:lnTo>
                    <a:pt x="210" y="762"/>
                  </a:lnTo>
                  <a:lnTo>
                    <a:pt x="208" y="762"/>
                  </a:lnTo>
                  <a:lnTo>
                    <a:pt x="207" y="761"/>
                  </a:lnTo>
                  <a:lnTo>
                    <a:pt x="206" y="762"/>
                  </a:lnTo>
                  <a:lnTo>
                    <a:pt x="204" y="764"/>
                  </a:lnTo>
                  <a:lnTo>
                    <a:pt x="203" y="764"/>
                  </a:lnTo>
                  <a:lnTo>
                    <a:pt x="202" y="765"/>
                  </a:lnTo>
                  <a:lnTo>
                    <a:pt x="198" y="768"/>
                  </a:lnTo>
                  <a:lnTo>
                    <a:pt x="198" y="770"/>
                  </a:lnTo>
                  <a:lnTo>
                    <a:pt x="197" y="771"/>
                  </a:lnTo>
                  <a:lnTo>
                    <a:pt x="196" y="770"/>
                  </a:lnTo>
                  <a:lnTo>
                    <a:pt x="195" y="771"/>
                  </a:lnTo>
                  <a:lnTo>
                    <a:pt x="192" y="771"/>
                  </a:lnTo>
                  <a:lnTo>
                    <a:pt x="190" y="768"/>
                  </a:lnTo>
                  <a:lnTo>
                    <a:pt x="187" y="765"/>
                  </a:lnTo>
                  <a:lnTo>
                    <a:pt x="189" y="764"/>
                  </a:lnTo>
                  <a:lnTo>
                    <a:pt x="187" y="762"/>
                  </a:lnTo>
                  <a:lnTo>
                    <a:pt x="186" y="760"/>
                  </a:lnTo>
                  <a:lnTo>
                    <a:pt x="185" y="759"/>
                  </a:lnTo>
                  <a:lnTo>
                    <a:pt x="183" y="760"/>
                  </a:lnTo>
                  <a:lnTo>
                    <a:pt x="181" y="760"/>
                  </a:lnTo>
                  <a:lnTo>
                    <a:pt x="180" y="759"/>
                  </a:lnTo>
                  <a:lnTo>
                    <a:pt x="179" y="756"/>
                  </a:lnTo>
                  <a:lnTo>
                    <a:pt x="177" y="753"/>
                  </a:lnTo>
                  <a:lnTo>
                    <a:pt x="174" y="750"/>
                  </a:lnTo>
                  <a:lnTo>
                    <a:pt x="175" y="750"/>
                  </a:lnTo>
                  <a:lnTo>
                    <a:pt x="175" y="749"/>
                  </a:lnTo>
                  <a:lnTo>
                    <a:pt x="175" y="748"/>
                  </a:lnTo>
                  <a:lnTo>
                    <a:pt x="177" y="749"/>
                  </a:lnTo>
                  <a:lnTo>
                    <a:pt x="178" y="749"/>
                  </a:lnTo>
                  <a:lnTo>
                    <a:pt x="179" y="750"/>
                  </a:lnTo>
                  <a:lnTo>
                    <a:pt x="181" y="750"/>
                  </a:lnTo>
                  <a:lnTo>
                    <a:pt x="183" y="752"/>
                  </a:lnTo>
                  <a:lnTo>
                    <a:pt x="185" y="750"/>
                  </a:lnTo>
                  <a:lnTo>
                    <a:pt x="184" y="748"/>
                  </a:lnTo>
                  <a:lnTo>
                    <a:pt x="184" y="747"/>
                  </a:lnTo>
                  <a:lnTo>
                    <a:pt x="184" y="746"/>
                  </a:lnTo>
                  <a:lnTo>
                    <a:pt x="186" y="746"/>
                  </a:lnTo>
                  <a:lnTo>
                    <a:pt x="189" y="747"/>
                  </a:lnTo>
                  <a:lnTo>
                    <a:pt x="189" y="746"/>
                  </a:lnTo>
                  <a:lnTo>
                    <a:pt x="191" y="746"/>
                  </a:lnTo>
                  <a:lnTo>
                    <a:pt x="192" y="744"/>
                  </a:lnTo>
                  <a:lnTo>
                    <a:pt x="191" y="744"/>
                  </a:lnTo>
                  <a:lnTo>
                    <a:pt x="190" y="743"/>
                  </a:lnTo>
                  <a:lnTo>
                    <a:pt x="187" y="741"/>
                  </a:lnTo>
                  <a:lnTo>
                    <a:pt x="187" y="737"/>
                  </a:lnTo>
                  <a:lnTo>
                    <a:pt x="190" y="738"/>
                  </a:lnTo>
                  <a:lnTo>
                    <a:pt x="191" y="740"/>
                  </a:lnTo>
                  <a:lnTo>
                    <a:pt x="192" y="740"/>
                  </a:lnTo>
                  <a:lnTo>
                    <a:pt x="195" y="738"/>
                  </a:lnTo>
                  <a:lnTo>
                    <a:pt x="197" y="736"/>
                  </a:lnTo>
                  <a:lnTo>
                    <a:pt x="198" y="736"/>
                  </a:lnTo>
                  <a:lnTo>
                    <a:pt x="198" y="735"/>
                  </a:lnTo>
                  <a:lnTo>
                    <a:pt x="195" y="732"/>
                  </a:lnTo>
                  <a:lnTo>
                    <a:pt x="193" y="731"/>
                  </a:lnTo>
                  <a:lnTo>
                    <a:pt x="192" y="730"/>
                  </a:lnTo>
                  <a:lnTo>
                    <a:pt x="192" y="728"/>
                  </a:lnTo>
                  <a:lnTo>
                    <a:pt x="190" y="728"/>
                  </a:lnTo>
                  <a:lnTo>
                    <a:pt x="189" y="726"/>
                  </a:lnTo>
                  <a:lnTo>
                    <a:pt x="190" y="725"/>
                  </a:lnTo>
                  <a:lnTo>
                    <a:pt x="191" y="725"/>
                  </a:lnTo>
                  <a:lnTo>
                    <a:pt x="192" y="724"/>
                  </a:lnTo>
                  <a:lnTo>
                    <a:pt x="192" y="723"/>
                  </a:lnTo>
                  <a:lnTo>
                    <a:pt x="196" y="725"/>
                  </a:lnTo>
                  <a:lnTo>
                    <a:pt x="197" y="724"/>
                  </a:lnTo>
                  <a:lnTo>
                    <a:pt x="195" y="723"/>
                  </a:lnTo>
                  <a:lnTo>
                    <a:pt x="196" y="719"/>
                  </a:lnTo>
                  <a:lnTo>
                    <a:pt x="196" y="717"/>
                  </a:lnTo>
                  <a:lnTo>
                    <a:pt x="195" y="716"/>
                  </a:lnTo>
                  <a:lnTo>
                    <a:pt x="193" y="717"/>
                  </a:lnTo>
                  <a:lnTo>
                    <a:pt x="190" y="717"/>
                  </a:lnTo>
                  <a:lnTo>
                    <a:pt x="187" y="716"/>
                  </a:lnTo>
                  <a:lnTo>
                    <a:pt x="186" y="716"/>
                  </a:lnTo>
                  <a:lnTo>
                    <a:pt x="185" y="716"/>
                  </a:lnTo>
                  <a:lnTo>
                    <a:pt x="183" y="716"/>
                  </a:lnTo>
                  <a:lnTo>
                    <a:pt x="181" y="717"/>
                  </a:lnTo>
                  <a:lnTo>
                    <a:pt x="179" y="718"/>
                  </a:lnTo>
                  <a:lnTo>
                    <a:pt x="178" y="719"/>
                  </a:lnTo>
                  <a:lnTo>
                    <a:pt x="178" y="718"/>
                  </a:lnTo>
                  <a:lnTo>
                    <a:pt x="177" y="717"/>
                  </a:lnTo>
                  <a:lnTo>
                    <a:pt x="175" y="718"/>
                  </a:lnTo>
                  <a:lnTo>
                    <a:pt x="173" y="718"/>
                  </a:lnTo>
                  <a:lnTo>
                    <a:pt x="172" y="718"/>
                  </a:lnTo>
                  <a:lnTo>
                    <a:pt x="169" y="717"/>
                  </a:lnTo>
                  <a:lnTo>
                    <a:pt x="168" y="717"/>
                  </a:lnTo>
                  <a:lnTo>
                    <a:pt x="166" y="716"/>
                  </a:lnTo>
                  <a:lnTo>
                    <a:pt x="163" y="717"/>
                  </a:lnTo>
                  <a:lnTo>
                    <a:pt x="161" y="717"/>
                  </a:lnTo>
                  <a:lnTo>
                    <a:pt x="161" y="718"/>
                  </a:lnTo>
                  <a:lnTo>
                    <a:pt x="160" y="718"/>
                  </a:lnTo>
                  <a:lnTo>
                    <a:pt x="159" y="719"/>
                  </a:lnTo>
                  <a:lnTo>
                    <a:pt x="157" y="722"/>
                  </a:lnTo>
                  <a:lnTo>
                    <a:pt x="155" y="720"/>
                  </a:lnTo>
                  <a:lnTo>
                    <a:pt x="149" y="720"/>
                  </a:lnTo>
                  <a:lnTo>
                    <a:pt x="147" y="720"/>
                  </a:lnTo>
                  <a:lnTo>
                    <a:pt x="143" y="719"/>
                  </a:lnTo>
                  <a:lnTo>
                    <a:pt x="141" y="723"/>
                  </a:lnTo>
                  <a:lnTo>
                    <a:pt x="138" y="722"/>
                  </a:lnTo>
                  <a:lnTo>
                    <a:pt x="137" y="720"/>
                  </a:lnTo>
                  <a:lnTo>
                    <a:pt x="136" y="719"/>
                  </a:lnTo>
                  <a:lnTo>
                    <a:pt x="133" y="719"/>
                  </a:lnTo>
                  <a:lnTo>
                    <a:pt x="131" y="717"/>
                  </a:lnTo>
                  <a:lnTo>
                    <a:pt x="128" y="717"/>
                  </a:lnTo>
                  <a:lnTo>
                    <a:pt x="128" y="716"/>
                  </a:lnTo>
                  <a:lnTo>
                    <a:pt x="131" y="713"/>
                  </a:lnTo>
                  <a:lnTo>
                    <a:pt x="132" y="713"/>
                  </a:lnTo>
                  <a:lnTo>
                    <a:pt x="132" y="714"/>
                  </a:lnTo>
                  <a:lnTo>
                    <a:pt x="136" y="714"/>
                  </a:lnTo>
                  <a:lnTo>
                    <a:pt x="137" y="714"/>
                  </a:lnTo>
                  <a:lnTo>
                    <a:pt x="138" y="714"/>
                  </a:lnTo>
                  <a:lnTo>
                    <a:pt x="138" y="713"/>
                  </a:lnTo>
                  <a:lnTo>
                    <a:pt x="136" y="712"/>
                  </a:lnTo>
                  <a:lnTo>
                    <a:pt x="136" y="710"/>
                  </a:lnTo>
                  <a:lnTo>
                    <a:pt x="133" y="708"/>
                  </a:lnTo>
                  <a:lnTo>
                    <a:pt x="132" y="708"/>
                  </a:lnTo>
                  <a:lnTo>
                    <a:pt x="131" y="708"/>
                  </a:lnTo>
                  <a:lnTo>
                    <a:pt x="131" y="707"/>
                  </a:lnTo>
                  <a:lnTo>
                    <a:pt x="128" y="707"/>
                  </a:lnTo>
                  <a:lnTo>
                    <a:pt x="130" y="701"/>
                  </a:lnTo>
                  <a:lnTo>
                    <a:pt x="133" y="697"/>
                  </a:lnTo>
                  <a:lnTo>
                    <a:pt x="134" y="697"/>
                  </a:lnTo>
                  <a:lnTo>
                    <a:pt x="136" y="697"/>
                  </a:lnTo>
                  <a:lnTo>
                    <a:pt x="136" y="696"/>
                  </a:lnTo>
                  <a:lnTo>
                    <a:pt x="138" y="695"/>
                  </a:lnTo>
                  <a:lnTo>
                    <a:pt x="139" y="697"/>
                  </a:lnTo>
                  <a:lnTo>
                    <a:pt x="143" y="699"/>
                  </a:lnTo>
                  <a:lnTo>
                    <a:pt x="143" y="696"/>
                  </a:lnTo>
                  <a:lnTo>
                    <a:pt x="143" y="694"/>
                  </a:lnTo>
                  <a:lnTo>
                    <a:pt x="144" y="694"/>
                  </a:lnTo>
                  <a:lnTo>
                    <a:pt x="145" y="694"/>
                  </a:lnTo>
                  <a:lnTo>
                    <a:pt x="149" y="693"/>
                  </a:lnTo>
                  <a:lnTo>
                    <a:pt x="150" y="693"/>
                  </a:lnTo>
                  <a:lnTo>
                    <a:pt x="150" y="691"/>
                  </a:lnTo>
                  <a:lnTo>
                    <a:pt x="147" y="688"/>
                  </a:lnTo>
                  <a:lnTo>
                    <a:pt x="145" y="688"/>
                  </a:lnTo>
                  <a:lnTo>
                    <a:pt x="144" y="689"/>
                  </a:lnTo>
                  <a:lnTo>
                    <a:pt x="143" y="690"/>
                  </a:lnTo>
                  <a:lnTo>
                    <a:pt x="143" y="689"/>
                  </a:lnTo>
                  <a:lnTo>
                    <a:pt x="141" y="689"/>
                  </a:lnTo>
                  <a:lnTo>
                    <a:pt x="139" y="689"/>
                  </a:lnTo>
                  <a:lnTo>
                    <a:pt x="138" y="688"/>
                  </a:lnTo>
                  <a:lnTo>
                    <a:pt x="137" y="688"/>
                  </a:lnTo>
                  <a:lnTo>
                    <a:pt x="137" y="687"/>
                  </a:lnTo>
                  <a:lnTo>
                    <a:pt x="133" y="685"/>
                  </a:lnTo>
                  <a:lnTo>
                    <a:pt x="128" y="683"/>
                  </a:lnTo>
                  <a:lnTo>
                    <a:pt x="127" y="682"/>
                  </a:lnTo>
                  <a:lnTo>
                    <a:pt x="126" y="681"/>
                  </a:lnTo>
                  <a:lnTo>
                    <a:pt x="126" y="678"/>
                  </a:lnTo>
                  <a:lnTo>
                    <a:pt x="125" y="677"/>
                  </a:lnTo>
                  <a:lnTo>
                    <a:pt x="124" y="676"/>
                  </a:lnTo>
                  <a:lnTo>
                    <a:pt x="122" y="675"/>
                  </a:lnTo>
                  <a:lnTo>
                    <a:pt x="125" y="673"/>
                  </a:lnTo>
                  <a:lnTo>
                    <a:pt x="125" y="672"/>
                  </a:lnTo>
                  <a:lnTo>
                    <a:pt x="126" y="672"/>
                  </a:lnTo>
                  <a:lnTo>
                    <a:pt x="127" y="673"/>
                  </a:lnTo>
                  <a:lnTo>
                    <a:pt x="127" y="675"/>
                  </a:lnTo>
                  <a:lnTo>
                    <a:pt x="130" y="675"/>
                  </a:lnTo>
                  <a:lnTo>
                    <a:pt x="130" y="676"/>
                  </a:lnTo>
                  <a:lnTo>
                    <a:pt x="132" y="677"/>
                  </a:lnTo>
                  <a:lnTo>
                    <a:pt x="133" y="677"/>
                  </a:lnTo>
                  <a:lnTo>
                    <a:pt x="134" y="678"/>
                  </a:lnTo>
                  <a:lnTo>
                    <a:pt x="134" y="677"/>
                  </a:lnTo>
                  <a:lnTo>
                    <a:pt x="133" y="675"/>
                  </a:lnTo>
                  <a:lnTo>
                    <a:pt x="134" y="672"/>
                  </a:lnTo>
                  <a:lnTo>
                    <a:pt x="137" y="670"/>
                  </a:lnTo>
                  <a:lnTo>
                    <a:pt x="138" y="672"/>
                  </a:lnTo>
                  <a:lnTo>
                    <a:pt x="139" y="675"/>
                  </a:lnTo>
                  <a:lnTo>
                    <a:pt x="141" y="676"/>
                  </a:lnTo>
                  <a:lnTo>
                    <a:pt x="141" y="677"/>
                  </a:lnTo>
                  <a:lnTo>
                    <a:pt x="144" y="677"/>
                  </a:lnTo>
                  <a:lnTo>
                    <a:pt x="145" y="677"/>
                  </a:lnTo>
                  <a:lnTo>
                    <a:pt x="145" y="678"/>
                  </a:lnTo>
                  <a:lnTo>
                    <a:pt x="145" y="679"/>
                  </a:lnTo>
                  <a:lnTo>
                    <a:pt x="147" y="681"/>
                  </a:lnTo>
                  <a:lnTo>
                    <a:pt x="149" y="682"/>
                  </a:lnTo>
                  <a:lnTo>
                    <a:pt x="149" y="681"/>
                  </a:lnTo>
                  <a:lnTo>
                    <a:pt x="150" y="681"/>
                  </a:lnTo>
                  <a:lnTo>
                    <a:pt x="153" y="682"/>
                  </a:lnTo>
                  <a:lnTo>
                    <a:pt x="155" y="682"/>
                  </a:lnTo>
                  <a:lnTo>
                    <a:pt x="157" y="682"/>
                  </a:lnTo>
                  <a:lnTo>
                    <a:pt x="155" y="678"/>
                  </a:lnTo>
                  <a:lnTo>
                    <a:pt x="154" y="676"/>
                  </a:lnTo>
                  <a:lnTo>
                    <a:pt x="153" y="673"/>
                  </a:lnTo>
                  <a:lnTo>
                    <a:pt x="151" y="672"/>
                  </a:lnTo>
                  <a:lnTo>
                    <a:pt x="153" y="672"/>
                  </a:lnTo>
                  <a:lnTo>
                    <a:pt x="153" y="671"/>
                  </a:lnTo>
                  <a:lnTo>
                    <a:pt x="154" y="670"/>
                  </a:lnTo>
                  <a:lnTo>
                    <a:pt x="155" y="671"/>
                  </a:lnTo>
                  <a:lnTo>
                    <a:pt x="157" y="672"/>
                  </a:lnTo>
                  <a:lnTo>
                    <a:pt x="159" y="673"/>
                  </a:lnTo>
                  <a:lnTo>
                    <a:pt x="160" y="675"/>
                  </a:lnTo>
                  <a:lnTo>
                    <a:pt x="161" y="676"/>
                  </a:lnTo>
                  <a:lnTo>
                    <a:pt x="162" y="673"/>
                  </a:lnTo>
                  <a:lnTo>
                    <a:pt x="161" y="672"/>
                  </a:lnTo>
                  <a:lnTo>
                    <a:pt x="160" y="670"/>
                  </a:lnTo>
                  <a:lnTo>
                    <a:pt x="160" y="669"/>
                  </a:lnTo>
                  <a:lnTo>
                    <a:pt x="159" y="667"/>
                  </a:lnTo>
                  <a:lnTo>
                    <a:pt x="157" y="664"/>
                  </a:lnTo>
                  <a:lnTo>
                    <a:pt x="161" y="664"/>
                  </a:lnTo>
                  <a:lnTo>
                    <a:pt x="163" y="664"/>
                  </a:lnTo>
                  <a:lnTo>
                    <a:pt x="163" y="665"/>
                  </a:lnTo>
                  <a:lnTo>
                    <a:pt x="163" y="666"/>
                  </a:lnTo>
                  <a:lnTo>
                    <a:pt x="166" y="666"/>
                  </a:lnTo>
                  <a:lnTo>
                    <a:pt x="168" y="666"/>
                  </a:lnTo>
                  <a:lnTo>
                    <a:pt x="168" y="667"/>
                  </a:lnTo>
                  <a:lnTo>
                    <a:pt x="171" y="669"/>
                  </a:lnTo>
                  <a:lnTo>
                    <a:pt x="171" y="667"/>
                  </a:lnTo>
                  <a:lnTo>
                    <a:pt x="171" y="666"/>
                  </a:lnTo>
                  <a:lnTo>
                    <a:pt x="171" y="665"/>
                  </a:lnTo>
                  <a:lnTo>
                    <a:pt x="172" y="663"/>
                  </a:lnTo>
                  <a:lnTo>
                    <a:pt x="175" y="664"/>
                  </a:lnTo>
                  <a:lnTo>
                    <a:pt x="175" y="665"/>
                  </a:lnTo>
                  <a:lnTo>
                    <a:pt x="177" y="666"/>
                  </a:lnTo>
                  <a:lnTo>
                    <a:pt x="178" y="665"/>
                  </a:lnTo>
                  <a:lnTo>
                    <a:pt x="179" y="665"/>
                  </a:lnTo>
                  <a:lnTo>
                    <a:pt x="179" y="663"/>
                  </a:lnTo>
                  <a:lnTo>
                    <a:pt x="181" y="661"/>
                  </a:lnTo>
                  <a:lnTo>
                    <a:pt x="184" y="661"/>
                  </a:lnTo>
                  <a:lnTo>
                    <a:pt x="184" y="660"/>
                  </a:lnTo>
                  <a:lnTo>
                    <a:pt x="183" y="659"/>
                  </a:lnTo>
                  <a:lnTo>
                    <a:pt x="181" y="659"/>
                  </a:lnTo>
                  <a:lnTo>
                    <a:pt x="181" y="658"/>
                  </a:lnTo>
                  <a:lnTo>
                    <a:pt x="180" y="657"/>
                  </a:lnTo>
                  <a:lnTo>
                    <a:pt x="179" y="655"/>
                  </a:lnTo>
                  <a:lnTo>
                    <a:pt x="179" y="652"/>
                  </a:lnTo>
                  <a:lnTo>
                    <a:pt x="181" y="651"/>
                  </a:lnTo>
                  <a:lnTo>
                    <a:pt x="183" y="649"/>
                  </a:lnTo>
                  <a:lnTo>
                    <a:pt x="181" y="652"/>
                  </a:lnTo>
                  <a:lnTo>
                    <a:pt x="184" y="653"/>
                  </a:lnTo>
                  <a:lnTo>
                    <a:pt x="185" y="654"/>
                  </a:lnTo>
                  <a:lnTo>
                    <a:pt x="186" y="653"/>
                  </a:lnTo>
                  <a:lnTo>
                    <a:pt x="187" y="654"/>
                  </a:lnTo>
                  <a:lnTo>
                    <a:pt x="189" y="655"/>
                  </a:lnTo>
                  <a:lnTo>
                    <a:pt x="190" y="655"/>
                  </a:lnTo>
                  <a:lnTo>
                    <a:pt x="190" y="654"/>
                  </a:lnTo>
                  <a:lnTo>
                    <a:pt x="190" y="652"/>
                  </a:lnTo>
                  <a:lnTo>
                    <a:pt x="189" y="651"/>
                  </a:lnTo>
                  <a:lnTo>
                    <a:pt x="191" y="651"/>
                  </a:lnTo>
                  <a:lnTo>
                    <a:pt x="191" y="649"/>
                  </a:lnTo>
                  <a:lnTo>
                    <a:pt x="193" y="652"/>
                  </a:lnTo>
                  <a:lnTo>
                    <a:pt x="195" y="653"/>
                  </a:lnTo>
                  <a:lnTo>
                    <a:pt x="196" y="653"/>
                  </a:lnTo>
                  <a:lnTo>
                    <a:pt x="196" y="652"/>
                  </a:lnTo>
                  <a:lnTo>
                    <a:pt x="195" y="651"/>
                  </a:lnTo>
                  <a:lnTo>
                    <a:pt x="193" y="649"/>
                  </a:lnTo>
                  <a:lnTo>
                    <a:pt x="193" y="648"/>
                  </a:lnTo>
                  <a:lnTo>
                    <a:pt x="195" y="647"/>
                  </a:lnTo>
                  <a:lnTo>
                    <a:pt x="196" y="648"/>
                  </a:lnTo>
                  <a:lnTo>
                    <a:pt x="197" y="648"/>
                  </a:lnTo>
                  <a:lnTo>
                    <a:pt x="200" y="648"/>
                  </a:lnTo>
                  <a:lnTo>
                    <a:pt x="197" y="646"/>
                  </a:lnTo>
                  <a:lnTo>
                    <a:pt x="195" y="642"/>
                  </a:lnTo>
                  <a:lnTo>
                    <a:pt x="197" y="641"/>
                  </a:lnTo>
                  <a:lnTo>
                    <a:pt x="198" y="642"/>
                  </a:lnTo>
                  <a:lnTo>
                    <a:pt x="200" y="642"/>
                  </a:lnTo>
                  <a:lnTo>
                    <a:pt x="202" y="641"/>
                  </a:lnTo>
                  <a:lnTo>
                    <a:pt x="203" y="641"/>
                  </a:lnTo>
                  <a:lnTo>
                    <a:pt x="204" y="641"/>
                  </a:lnTo>
                  <a:lnTo>
                    <a:pt x="206" y="640"/>
                  </a:lnTo>
                  <a:lnTo>
                    <a:pt x="207" y="640"/>
                  </a:lnTo>
                  <a:lnTo>
                    <a:pt x="209" y="639"/>
                  </a:lnTo>
                  <a:lnTo>
                    <a:pt x="210" y="640"/>
                  </a:lnTo>
                  <a:lnTo>
                    <a:pt x="212" y="641"/>
                  </a:lnTo>
                  <a:lnTo>
                    <a:pt x="214" y="641"/>
                  </a:lnTo>
                  <a:lnTo>
                    <a:pt x="216" y="641"/>
                  </a:lnTo>
                  <a:lnTo>
                    <a:pt x="218" y="643"/>
                  </a:lnTo>
                  <a:lnTo>
                    <a:pt x="220" y="643"/>
                  </a:lnTo>
                  <a:lnTo>
                    <a:pt x="221" y="643"/>
                  </a:lnTo>
                  <a:lnTo>
                    <a:pt x="221" y="642"/>
                  </a:lnTo>
                  <a:lnTo>
                    <a:pt x="225" y="643"/>
                  </a:lnTo>
                  <a:lnTo>
                    <a:pt x="226" y="643"/>
                  </a:lnTo>
                  <a:lnTo>
                    <a:pt x="228" y="642"/>
                  </a:lnTo>
                  <a:lnTo>
                    <a:pt x="227" y="640"/>
                  </a:lnTo>
                  <a:lnTo>
                    <a:pt x="227" y="637"/>
                  </a:lnTo>
                  <a:lnTo>
                    <a:pt x="230" y="639"/>
                  </a:lnTo>
                  <a:lnTo>
                    <a:pt x="234" y="640"/>
                  </a:lnTo>
                  <a:lnTo>
                    <a:pt x="237" y="637"/>
                  </a:lnTo>
                  <a:lnTo>
                    <a:pt x="238" y="634"/>
                  </a:lnTo>
                  <a:lnTo>
                    <a:pt x="238" y="633"/>
                  </a:lnTo>
                  <a:lnTo>
                    <a:pt x="239" y="631"/>
                  </a:lnTo>
                  <a:lnTo>
                    <a:pt x="243" y="629"/>
                  </a:lnTo>
                  <a:lnTo>
                    <a:pt x="245" y="628"/>
                  </a:lnTo>
                  <a:lnTo>
                    <a:pt x="246" y="628"/>
                  </a:lnTo>
                  <a:lnTo>
                    <a:pt x="248" y="627"/>
                  </a:lnTo>
                  <a:lnTo>
                    <a:pt x="249" y="624"/>
                  </a:lnTo>
                  <a:lnTo>
                    <a:pt x="250" y="623"/>
                  </a:lnTo>
                  <a:lnTo>
                    <a:pt x="251" y="622"/>
                  </a:lnTo>
                  <a:lnTo>
                    <a:pt x="250" y="622"/>
                  </a:lnTo>
                  <a:lnTo>
                    <a:pt x="249" y="621"/>
                  </a:lnTo>
                  <a:lnTo>
                    <a:pt x="250" y="619"/>
                  </a:lnTo>
                  <a:lnTo>
                    <a:pt x="251" y="621"/>
                  </a:lnTo>
                  <a:lnTo>
                    <a:pt x="252" y="619"/>
                  </a:lnTo>
                  <a:lnTo>
                    <a:pt x="254" y="621"/>
                  </a:lnTo>
                  <a:lnTo>
                    <a:pt x="255" y="619"/>
                  </a:lnTo>
                  <a:lnTo>
                    <a:pt x="256" y="619"/>
                  </a:lnTo>
                  <a:lnTo>
                    <a:pt x="257" y="617"/>
                  </a:lnTo>
                  <a:lnTo>
                    <a:pt x="260" y="618"/>
                  </a:lnTo>
                  <a:lnTo>
                    <a:pt x="260" y="619"/>
                  </a:lnTo>
                  <a:lnTo>
                    <a:pt x="262" y="618"/>
                  </a:lnTo>
                  <a:lnTo>
                    <a:pt x="263" y="618"/>
                  </a:lnTo>
                  <a:lnTo>
                    <a:pt x="266" y="618"/>
                  </a:lnTo>
                  <a:lnTo>
                    <a:pt x="267" y="617"/>
                  </a:lnTo>
                  <a:lnTo>
                    <a:pt x="268" y="619"/>
                  </a:lnTo>
                  <a:lnTo>
                    <a:pt x="269" y="619"/>
                  </a:lnTo>
                  <a:lnTo>
                    <a:pt x="269" y="618"/>
                  </a:lnTo>
                  <a:lnTo>
                    <a:pt x="272" y="618"/>
                  </a:lnTo>
                  <a:lnTo>
                    <a:pt x="272" y="617"/>
                  </a:lnTo>
                  <a:lnTo>
                    <a:pt x="271" y="616"/>
                  </a:lnTo>
                  <a:lnTo>
                    <a:pt x="272" y="615"/>
                  </a:lnTo>
                  <a:lnTo>
                    <a:pt x="273" y="615"/>
                  </a:lnTo>
                  <a:lnTo>
                    <a:pt x="273" y="616"/>
                  </a:lnTo>
                  <a:lnTo>
                    <a:pt x="273" y="617"/>
                  </a:lnTo>
                  <a:lnTo>
                    <a:pt x="277" y="617"/>
                  </a:lnTo>
                  <a:lnTo>
                    <a:pt x="275" y="615"/>
                  </a:lnTo>
                  <a:lnTo>
                    <a:pt x="277" y="613"/>
                  </a:lnTo>
                  <a:lnTo>
                    <a:pt x="280" y="613"/>
                  </a:lnTo>
                  <a:lnTo>
                    <a:pt x="281" y="611"/>
                  </a:lnTo>
                  <a:lnTo>
                    <a:pt x="281" y="612"/>
                  </a:lnTo>
                  <a:lnTo>
                    <a:pt x="284" y="612"/>
                  </a:lnTo>
                  <a:lnTo>
                    <a:pt x="285" y="611"/>
                  </a:lnTo>
                  <a:lnTo>
                    <a:pt x="283" y="611"/>
                  </a:lnTo>
                  <a:lnTo>
                    <a:pt x="284" y="610"/>
                  </a:lnTo>
                  <a:lnTo>
                    <a:pt x="285" y="609"/>
                  </a:lnTo>
                  <a:lnTo>
                    <a:pt x="287" y="609"/>
                  </a:lnTo>
                  <a:lnTo>
                    <a:pt x="289" y="607"/>
                  </a:lnTo>
                  <a:lnTo>
                    <a:pt x="289" y="609"/>
                  </a:lnTo>
                  <a:lnTo>
                    <a:pt x="290" y="609"/>
                  </a:lnTo>
                  <a:lnTo>
                    <a:pt x="289" y="610"/>
                  </a:lnTo>
                  <a:lnTo>
                    <a:pt x="289" y="611"/>
                  </a:lnTo>
                  <a:lnTo>
                    <a:pt x="290" y="611"/>
                  </a:lnTo>
                  <a:lnTo>
                    <a:pt x="290" y="610"/>
                  </a:lnTo>
                  <a:lnTo>
                    <a:pt x="291" y="611"/>
                  </a:lnTo>
                  <a:lnTo>
                    <a:pt x="293" y="613"/>
                  </a:lnTo>
                  <a:lnTo>
                    <a:pt x="297" y="613"/>
                  </a:lnTo>
                  <a:lnTo>
                    <a:pt x="296" y="611"/>
                  </a:lnTo>
                  <a:lnTo>
                    <a:pt x="296" y="610"/>
                  </a:lnTo>
                  <a:lnTo>
                    <a:pt x="293" y="610"/>
                  </a:lnTo>
                  <a:lnTo>
                    <a:pt x="292" y="609"/>
                  </a:lnTo>
                  <a:lnTo>
                    <a:pt x="293" y="609"/>
                  </a:lnTo>
                  <a:lnTo>
                    <a:pt x="295" y="609"/>
                  </a:lnTo>
                  <a:lnTo>
                    <a:pt x="295" y="607"/>
                  </a:lnTo>
                  <a:lnTo>
                    <a:pt x="296" y="607"/>
                  </a:lnTo>
                  <a:lnTo>
                    <a:pt x="296" y="606"/>
                  </a:lnTo>
                  <a:lnTo>
                    <a:pt x="296" y="605"/>
                  </a:lnTo>
                  <a:lnTo>
                    <a:pt x="298" y="606"/>
                  </a:lnTo>
                  <a:lnTo>
                    <a:pt x="298" y="605"/>
                  </a:lnTo>
                  <a:lnTo>
                    <a:pt x="297" y="604"/>
                  </a:lnTo>
                  <a:lnTo>
                    <a:pt x="298" y="603"/>
                  </a:lnTo>
                  <a:lnTo>
                    <a:pt x="299" y="603"/>
                  </a:lnTo>
                  <a:lnTo>
                    <a:pt x="299" y="601"/>
                  </a:lnTo>
                  <a:lnTo>
                    <a:pt x="298" y="601"/>
                  </a:lnTo>
                  <a:lnTo>
                    <a:pt x="299" y="601"/>
                  </a:lnTo>
                  <a:lnTo>
                    <a:pt x="297" y="601"/>
                  </a:lnTo>
                  <a:lnTo>
                    <a:pt x="297" y="600"/>
                  </a:lnTo>
                  <a:lnTo>
                    <a:pt x="296" y="600"/>
                  </a:lnTo>
                  <a:lnTo>
                    <a:pt x="296" y="603"/>
                  </a:lnTo>
                  <a:lnTo>
                    <a:pt x="295" y="601"/>
                  </a:lnTo>
                  <a:lnTo>
                    <a:pt x="293" y="603"/>
                  </a:lnTo>
                  <a:lnTo>
                    <a:pt x="293" y="604"/>
                  </a:lnTo>
                  <a:lnTo>
                    <a:pt x="292" y="604"/>
                  </a:lnTo>
                  <a:lnTo>
                    <a:pt x="291" y="605"/>
                  </a:lnTo>
                  <a:lnTo>
                    <a:pt x="290" y="605"/>
                  </a:lnTo>
                  <a:lnTo>
                    <a:pt x="289" y="600"/>
                  </a:lnTo>
                  <a:lnTo>
                    <a:pt x="289" y="599"/>
                  </a:lnTo>
                  <a:lnTo>
                    <a:pt x="289" y="598"/>
                  </a:lnTo>
                  <a:lnTo>
                    <a:pt x="285" y="598"/>
                  </a:lnTo>
                  <a:lnTo>
                    <a:pt x="284" y="596"/>
                  </a:lnTo>
                  <a:lnTo>
                    <a:pt x="283" y="596"/>
                  </a:lnTo>
                  <a:lnTo>
                    <a:pt x="283" y="595"/>
                  </a:lnTo>
                  <a:lnTo>
                    <a:pt x="281" y="599"/>
                  </a:lnTo>
                  <a:lnTo>
                    <a:pt x="281" y="601"/>
                  </a:lnTo>
                  <a:lnTo>
                    <a:pt x="277" y="600"/>
                  </a:lnTo>
                  <a:lnTo>
                    <a:pt x="275" y="601"/>
                  </a:lnTo>
                  <a:lnTo>
                    <a:pt x="274" y="601"/>
                  </a:lnTo>
                  <a:lnTo>
                    <a:pt x="273" y="601"/>
                  </a:lnTo>
                  <a:lnTo>
                    <a:pt x="272" y="601"/>
                  </a:lnTo>
                  <a:lnTo>
                    <a:pt x="272" y="604"/>
                  </a:lnTo>
                  <a:lnTo>
                    <a:pt x="272" y="605"/>
                  </a:lnTo>
                  <a:lnTo>
                    <a:pt x="271" y="605"/>
                  </a:lnTo>
                  <a:lnTo>
                    <a:pt x="271" y="604"/>
                  </a:lnTo>
                  <a:lnTo>
                    <a:pt x="269" y="604"/>
                  </a:lnTo>
                  <a:lnTo>
                    <a:pt x="268" y="604"/>
                  </a:lnTo>
                  <a:lnTo>
                    <a:pt x="268" y="605"/>
                  </a:lnTo>
                  <a:lnTo>
                    <a:pt x="266" y="605"/>
                  </a:lnTo>
                  <a:lnTo>
                    <a:pt x="265" y="605"/>
                  </a:lnTo>
                  <a:lnTo>
                    <a:pt x="265" y="606"/>
                  </a:lnTo>
                  <a:lnTo>
                    <a:pt x="266" y="606"/>
                  </a:lnTo>
                  <a:lnTo>
                    <a:pt x="266" y="607"/>
                  </a:lnTo>
                  <a:lnTo>
                    <a:pt x="263" y="607"/>
                  </a:lnTo>
                  <a:lnTo>
                    <a:pt x="262" y="606"/>
                  </a:lnTo>
                  <a:lnTo>
                    <a:pt x="261" y="605"/>
                  </a:lnTo>
                  <a:lnTo>
                    <a:pt x="260" y="603"/>
                  </a:lnTo>
                  <a:lnTo>
                    <a:pt x="261" y="604"/>
                  </a:lnTo>
                  <a:lnTo>
                    <a:pt x="262" y="604"/>
                  </a:lnTo>
                  <a:lnTo>
                    <a:pt x="261" y="603"/>
                  </a:lnTo>
                  <a:lnTo>
                    <a:pt x="261" y="601"/>
                  </a:lnTo>
                  <a:lnTo>
                    <a:pt x="259" y="601"/>
                  </a:lnTo>
                  <a:lnTo>
                    <a:pt x="257" y="601"/>
                  </a:lnTo>
                  <a:lnTo>
                    <a:pt x="256" y="601"/>
                  </a:lnTo>
                  <a:lnTo>
                    <a:pt x="256" y="603"/>
                  </a:lnTo>
                  <a:lnTo>
                    <a:pt x="254" y="604"/>
                  </a:lnTo>
                  <a:lnTo>
                    <a:pt x="252" y="606"/>
                  </a:lnTo>
                  <a:lnTo>
                    <a:pt x="254" y="605"/>
                  </a:lnTo>
                  <a:lnTo>
                    <a:pt x="255" y="605"/>
                  </a:lnTo>
                  <a:lnTo>
                    <a:pt x="255" y="607"/>
                  </a:lnTo>
                  <a:lnTo>
                    <a:pt x="252" y="607"/>
                  </a:lnTo>
                  <a:lnTo>
                    <a:pt x="250" y="607"/>
                  </a:lnTo>
                  <a:lnTo>
                    <a:pt x="250" y="609"/>
                  </a:lnTo>
                  <a:lnTo>
                    <a:pt x="249" y="609"/>
                  </a:lnTo>
                  <a:lnTo>
                    <a:pt x="249" y="610"/>
                  </a:lnTo>
                  <a:lnTo>
                    <a:pt x="246" y="610"/>
                  </a:lnTo>
                  <a:lnTo>
                    <a:pt x="246" y="611"/>
                  </a:lnTo>
                  <a:lnTo>
                    <a:pt x="245" y="612"/>
                  </a:lnTo>
                  <a:lnTo>
                    <a:pt x="246" y="612"/>
                  </a:lnTo>
                  <a:lnTo>
                    <a:pt x="248" y="613"/>
                  </a:lnTo>
                  <a:lnTo>
                    <a:pt x="249" y="615"/>
                  </a:lnTo>
                  <a:lnTo>
                    <a:pt x="248" y="616"/>
                  </a:lnTo>
                  <a:lnTo>
                    <a:pt x="244" y="617"/>
                  </a:lnTo>
                  <a:lnTo>
                    <a:pt x="245" y="615"/>
                  </a:lnTo>
                  <a:lnTo>
                    <a:pt x="244" y="616"/>
                  </a:lnTo>
                  <a:lnTo>
                    <a:pt x="243" y="617"/>
                  </a:lnTo>
                  <a:lnTo>
                    <a:pt x="243" y="616"/>
                  </a:lnTo>
                  <a:lnTo>
                    <a:pt x="243" y="615"/>
                  </a:lnTo>
                  <a:lnTo>
                    <a:pt x="244" y="615"/>
                  </a:lnTo>
                  <a:lnTo>
                    <a:pt x="245" y="613"/>
                  </a:lnTo>
                  <a:lnTo>
                    <a:pt x="245" y="612"/>
                  </a:lnTo>
                  <a:lnTo>
                    <a:pt x="244" y="613"/>
                  </a:lnTo>
                  <a:lnTo>
                    <a:pt x="242" y="612"/>
                  </a:lnTo>
                  <a:lnTo>
                    <a:pt x="242" y="613"/>
                  </a:lnTo>
                  <a:lnTo>
                    <a:pt x="242" y="615"/>
                  </a:lnTo>
                  <a:lnTo>
                    <a:pt x="242" y="616"/>
                  </a:lnTo>
                  <a:lnTo>
                    <a:pt x="242" y="617"/>
                  </a:lnTo>
                  <a:lnTo>
                    <a:pt x="244" y="618"/>
                  </a:lnTo>
                  <a:lnTo>
                    <a:pt x="243" y="619"/>
                  </a:lnTo>
                  <a:lnTo>
                    <a:pt x="240" y="621"/>
                  </a:lnTo>
                  <a:lnTo>
                    <a:pt x="240" y="622"/>
                  </a:lnTo>
                  <a:lnTo>
                    <a:pt x="239" y="622"/>
                  </a:lnTo>
                  <a:lnTo>
                    <a:pt x="236" y="621"/>
                  </a:lnTo>
                  <a:lnTo>
                    <a:pt x="233" y="618"/>
                  </a:lnTo>
                  <a:lnTo>
                    <a:pt x="234" y="618"/>
                  </a:lnTo>
                  <a:lnTo>
                    <a:pt x="236" y="618"/>
                  </a:lnTo>
                  <a:lnTo>
                    <a:pt x="237" y="617"/>
                  </a:lnTo>
                  <a:lnTo>
                    <a:pt x="236" y="616"/>
                  </a:lnTo>
                  <a:lnTo>
                    <a:pt x="234" y="616"/>
                  </a:lnTo>
                  <a:lnTo>
                    <a:pt x="233" y="616"/>
                  </a:lnTo>
                  <a:lnTo>
                    <a:pt x="233" y="615"/>
                  </a:lnTo>
                  <a:lnTo>
                    <a:pt x="234" y="613"/>
                  </a:lnTo>
                  <a:lnTo>
                    <a:pt x="234" y="612"/>
                  </a:lnTo>
                  <a:lnTo>
                    <a:pt x="234" y="611"/>
                  </a:lnTo>
                  <a:lnTo>
                    <a:pt x="236" y="611"/>
                  </a:lnTo>
                  <a:lnTo>
                    <a:pt x="236" y="610"/>
                  </a:lnTo>
                  <a:lnTo>
                    <a:pt x="237" y="610"/>
                  </a:lnTo>
                  <a:lnTo>
                    <a:pt x="237" y="609"/>
                  </a:lnTo>
                  <a:lnTo>
                    <a:pt x="236" y="606"/>
                  </a:lnTo>
                  <a:lnTo>
                    <a:pt x="234" y="606"/>
                  </a:lnTo>
                  <a:lnTo>
                    <a:pt x="233" y="607"/>
                  </a:lnTo>
                  <a:lnTo>
                    <a:pt x="234" y="610"/>
                  </a:lnTo>
                  <a:lnTo>
                    <a:pt x="233" y="611"/>
                  </a:lnTo>
                  <a:lnTo>
                    <a:pt x="232" y="611"/>
                  </a:lnTo>
                  <a:lnTo>
                    <a:pt x="230" y="613"/>
                  </a:lnTo>
                  <a:lnTo>
                    <a:pt x="230" y="616"/>
                  </a:lnTo>
                  <a:lnTo>
                    <a:pt x="227" y="616"/>
                  </a:lnTo>
                  <a:lnTo>
                    <a:pt x="227" y="615"/>
                  </a:lnTo>
                  <a:lnTo>
                    <a:pt x="226" y="616"/>
                  </a:lnTo>
                  <a:lnTo>
                    <a:pt x="222" y="615"/>
                  </a:lnTo>
                  <a:lnTo>
                    <a:pt x="221" y="616"/>
                  </a:lnTo>
                  <a:lnTo>
                    <a:pt x="221" y="615"/>
                  </a:lnTo>
                  <a:lnTo>
                    <a:pt x="220" y="616"/>
                  </a:lnTo>
                  <a:lnTo>
                    <a:pt x="216" y="616"/>
                  </a:lnTo>
                  <a:lnTo>
                    <a:pt x="216" y="613"/>
                  </a:lnTo>
                  <a:lnTo>
                    <a:pt x="215" y="613"/>
                  </a:lnTo>
                  <a:lnTo>
                    <a:pt x="214" y="612"/>
                  </a:lnTo>
                  <a:lnTo>
                    <a:pt x="215" y="610"/>
                  </a:lnTo>
                  <a:lnTo>
                    <a:pt x="215" y="611"/>
                  </a:lnTo>
                  <a:lnTo>
                    <a:pt x="216" y="610"/>
                  </a:lnTo>
                  <a:lnTo>
                    <a:pt x="216" y="609"/>
                  </a:lnTo>
                  <a:lnTo>
                    <a:pt x="218" y="609"/>
                  </a:lnTo>
                  <a:lnTo>
                    <a:pt x="219" y="610"/>
                  </a:lnTo>
                  <a:lnTo>
                    <a:pt x="219" y="607"/>
                  </a:lnTo>
                  <a:lnTo>
                    <a:pt x="219" y="606"/>
                  </a:lnTo>
                  <a:lnTo>
                    <a:pt x="220" y="606"/>
                  </a:lnTo>
                  <a:lnTo>
                    <a:pt x="220" y="605"/>
                  </a:lnTo>
                  <a:lnTo>
                    <a:pt x="220" y="601"/>
                  </a:lnTo>
                  <a:lnTo>
                    <a:pt x="221" y="601"/>
                  </a:lnTo>
                  <a:lnTo>
                    <a:pt x="222" y="600"/>
                  </a:lnTo>
                  <a:lnTo>
                    <a:pt x="225" y="599"/>
                  </a:lnTo>
                  <a:lnTo>
                    <a:pt x="226" y="598"/>
                  </a:lnTo>
                  <a:lnTo>
                    <a:pt x="228" y="596"/>
                  </a:lnTo>
                  <a:lnTo>
                    <a:pt x="228" y="594"/>
                  </a:lnTo>
                  <a:lnTo>
                    <a:pt x="230" y="594"/>
                  </a:lnTo>
                  <a:lnTo>
                    <a:pt x="231" y="593"/>
                  </a:lnTo>
                  <a:lnTo>
                    <a:pt x="232" y="593"/>
                  </a:lnTo>
                  <a:lnTo>
                    <a:pt x="234" y="593"/>
                  </a:lnTo>
                  <a:lnTo>
                    <a:pt x="233" y="590"/>
                  </a:lnTo>
                  <a:lnTo>
                    <a:pt x="232" y="588"/>
                  </a:lnTo>
                  <a:lnTo>
                    <a:pt x="230" y="588"/>
                  </a:lnTo>
                  <a:lnTo>
                    <a:pt x="228" y="588"/>
                  </a:lnTo>
                  <a:lnTo>
                    <a:pt x="228" y="589"/>
                  </a:lnTo>
                  <a:lnTo>
                    <a:pt x="227" y="592"/>
                  </a:lnTo>
                  <a:lnTo>
                    <a:pt x="225" y="593"/>
                  </a:lnTo>
                  <a:lnTo>
                    <a:pt x="222" y="592"/>
                  </a:lnTo>
                  <a:lnTo>
                    <a:pt x="221" y="593"/>
                  </a:lnTo>
                  <a:lnTo>
                    <a:pt x="220" y="593"/>
                  </a:lnTo>
                  <a:lnTo>
                    <a:pt x="219" y="593"/>
                  </a:lnTo>
                  <a:lnTo>
                    <a:pt x="219" y="590"/>
                  </a:lnTo>
                  <a:lnTo>
                    <a:pt x="216" y="592"/>
                  </a:lnTo>
                  <a:lnTo>
                    <a:pt x="215" y="592"/>
                  </a:lnTo>
                  <a:lnTo>
                    <a:pt x="214" y="593"/>
                  </a:lnTo>
                  <a:lnTo>
                    <a:pt x="213" y="594"/>
                  </a:lnTo>
                  <a:lnTo>
                    <a:pt x="212" y="594"/>
                  </a:lnTo>
                  <a:lnTo>
                    <a:pt x="212" y="593"/>
                  </a:lnTo>
                  <a:lnTo>
                    <a:pt x="210" y="594"/>
                  </a:lnTo>
                  <a:lnTo>
                    <a:pt x="210" y="595"/>
                  </a:lnTo>
                  <a:lnTo>
                    <a:pt x="209" y="595"/>
                  </a:lnTo>
                  <a:lnTo>
                    <a:pt x="209" y="593"/>
                  </a:lnTo>
                  <a:lnTo>
                    <a:pt x="208" y="595"/>
                  </a:lnTo>
                  <a:lnTo>
                    <a:pt x="206" y="595"/>
                  </a:lnTo>
                  <a:lnTo>
                    <a:pt x="204" y="595"/>
                  </a:lnTo>
                  <a:lnTo>
                    <a:pt x="204" y="596"/>
                  </a:lnTo>
                  <a:lnTo>
                    <a:pt x="202" y="595"/>
                  </a:lnTo>
                  <a:lnTo>
                    <a:pt x="200" y="594"/>
                  </a:lnTo>
                  <a:lnTo>
                    <a:pt x="201" y="593"/>
                  </a:lnTo>
                  <a:lnTo>
                    <a:pt x="201" y="592"/>
                  </a:lnTo>
                  <a:lnTo>
                    <a:pt x="203" y="592"/>
                  </a:lnTo>
                  <a:lnTo>
                    <a:pt x="203" y="589"/>
                  </a:lnTo>
                  <a:lnTo>
                    <a:pt x="204" y="588"/>
                  </a:lnTo>
                  <a:lnTo>
                    <a:pt x="206" y="588"/>
                  </a:lnTo>
                  <a:lnTo>
                    <a:pt x="206" y="589"/>
                  </a:lnTo>
                  <a:lnTo>
                    <a:pt x="208" y="589"/>
                  </a:lnTo>
                  <a:lnTo>
                    <a:pt x="208" y="588"/>
                  </a:lnTo>
                  <a:lnTo>
                    <a:pt x="209" y="588"/>
                  </a:lnTo>
                  <a:lnTo>
                    <a:pt x="208" y="588"/>
                  </a:lnTo>
                  <a:lnTo>
                    <a:pt x="208" y="587"/>
                  </a:lnTo>
                  <a:lnTo>
                    <a:pt x="207" y="587"/>
                  </a:lnTo>
                  <a:lnTo>
                    <a:pt x="206" y="586"/>
                  </a:lnTo>
                  <a:lnTo>
                    <a:pt x="203" y="584"/>
                  </a:lnTo>
                  <a:lnTo>
                    <a:pt x="203" y="581"/>
                  </a:lnTo>
                  <a:lnTo>
                    <a:pt x="204" y="580"/>
                  </a:lnTo>
                  <a:lnTo>
                    <a:pt x="204" y="577"/>
                  </a:lnTo>
                  <a:lnTo>
                    <a:pt x="207" y="575"/>
                  </a:lnTo>
                  <a:lnTo>
                    <a:pt x="207" y="577"/>
                  </a:lnTo>
                  <a:lnTo>
                    <a:pt x="209" y="576"/>
                  </a:lnTo>
                  <a:lnTo>
                    <a:pt x="212" y="576"/>
                  </a:lnTo>
                  <a:lnTo>
                    <a:pt x="214" y="576"/>
                  </a:lnTo>
                  <a:lnTo>
                    <a:pt x="218" y="575"/>
                  </a:lnTo>
                  <a:lnTo>
                    <a:pt x="219" y="575"/>
                  </a:lnTo>
                  <a:lnTo>
                    <a:pt x="219" y="572"/>
                  </a:lnTo>
                  <a:lnTo>
                    <a:pt x="219" y="570"/>
                  </a:lnTo>
                  <a:lnTo>
                    <a:pt x="219" y="566"/>
                  </a:lnTo>
                  <a:lnTo>
                    <a:pt x="221" y="565"/>
                  </a:lnTo>
                  <a:lnTo>
                    <a:pt x="224" y="565"/>
                  </a:lnTo>
                  <a:lnTo>
                    <a:pt x="225" y="564"/>
                  </a:lnTo>
                  <a:lnTo>
                    <a:pt x="226" y="564"/>
                  </a:lnTo>
                  <a:lnTo>
                    <a:pt x="226" y="563"/>
                  </a:lnTo>
                  <a:lnTo>
                    <a:pt x="227" y="563"/>
                  </a:lnTo>
                  <a:lnTo>
                    <a:pt x="228" y="560"/>
                  </a:lnTo>
                  <a:lnTo>
                    <a:pt x="230" y="559"/>
                  </a:lnTo>
                  <a:lnTo>
                    <a:pt x="230" y="558"/>
                  </a:lnTo>
                  <a:lnTo>
                    <a:pt x="230" y="554"/>
                  </a:lnTo>
                  <a:lnTo>
                    <a:pt x="232" y="554"/>
                  </a:lnTo>
                  <a:lnTo>
                    <a:pt x="233" y="556"/>
                  </a:lnTo>
                  <a:lnTo>
                    <a:pt x="234" y="554"/>
                  </a:lnTo>
                  <a:lnTo>
                    <a:pt x="237" y="553"/>
                  </a:lnTo>
                  <a:lnTo>
                    <a:pt x="238" y="553"/>
                  </a:lnTo>
                  <a:lnTo>
                    <a:pt x="238" y="552"/>
                  </a:lnTo>
                  <a:lnTo>
                    <a:pt x="239" y="550"/>
                  </a:lnTo>
                  <a:lnTo>
                    <a:pt x="238" y="547"/>
                  </a:lnTo>
                  <a:lnTo>
                    <a:pt x="239" y="545"/>
                  </a:lnTo>
                  <a:lnTo>
                    <a:pt x="242" y="547"/>
                  </a:lnTo>
                  <a:lnTo>
                    <a:pt x="243" y="547"/>
                  </a:lnTo>
                  <a:lnTo>
                    <a:pt x="243" y="546"/>
                  </a:lnTo>
                  <a:lnTo>
                    <a:pt x="243" y="545"/>
                  </a:lnTo>
                  <a:lnTo>
                    <a:pt x="244" y="544"/>
                  </a:lnTo>
                  <a:lnTo>
                    <a:pt x="245" y="544"/>
                  </a:lnTo>
                  <a:lnTo>
                    <a:pt x="245" y="545"/>
                  </a:lnTo>
                  <a:lnTo>
                    <a:pt x="246" y="546"/>
                  </a:lnTo>
                  <a:lnTo>
                    <a:pt x="248" y="546"/>
                  </a:lnTo>
                  <a:lnTo>
                    <a:pt x="249" y="546"/>
                  </a:lnTo>
                  <a:lnTo>
                    <a:pt x="249" y="545"/>
                  </a:lnTo>
                  <a:lnTo>
                    <a:pt x="249" y="544"/>
                  </a:lnTo>
                  <a:lnTo>
                    <a:pt x="251" y="541"/>
                  </a:lnTo>
                  <a:lnTo>
                    <a:pt x="252" y="542"/>
                  </a:lnTo>
                  <a:lnTo>
                    <a:pt x="252" y="544"/>
                  </a:lnTo>
                  <a:lnTo>
                    <a:pt x="254" y="542"/>
                  </a:lnTo>
                  <a:lnTo>
                    <a:pt x="257" y="541"/>
                  </a:lnTo>
                  <a:lnTo>
                    <a:pt x="257" y="544"/>
                  </a:lnTo>
                  <a:lnTo>
                    <a:pt x="259" y="541"/>
                  </a:lnTo>
                  <a:lnTo>
                    <a:pt x="261" y="540"/>
                  </a:lnTo>
                  <a:lnTo>
                    <a:pt x="262" y="538"/>
                  </a:lnTo>
                  <a:lnTo>
                    <a:pt x="263" y="538"/>
                  </a:lnTo>
                  <a:lnTo>
                    <a:pt x="265" y="538"/>
                  </a:lnTo>
                  <a:lnTo>
                    <a:pt x="265" y="536"/>
                  </a:lnTo>
                  <a:lnTo>
                    <a:pt x="267" y="536"/>
                  </a:lnTo>
                  <a:lnTo>
                    <a:pt x="266" y="535"/>
                  </a:lnTo>
                  <a:lnTo>
                    <a:pt x="267" y="533"/>
                  </a:lnTo>
                  <a:lnTo>
                    <a:pt x="267" y="532"/>
                  </a:lnTo>
                  <a:lnTo>
                    <a:pt x="268" y="532"/>
                  </a:lnTo>
                  <a:lnTo>
                    <a:pt x="268" y="533"/>
                  </a:lnTo>
                  <a:lnTo>
                    <a:pt x="269" y="533"/>
                  </a:lnTo>
                  <a:lnTo>
                    <a:pt x="269" y="532"/>
                  </a:lnTo>
                  <a:lnTo>
                    <a:pt x="269" y="530"/>
                  </a:lnTo>
                  <a:lnTo>
                    <a:pt x="271" y="530"/>
                  </a:lnTo>
                  <a:lnTo>
                    <a:pt x="273" y="529"/>
                  </a:lnTo>
                  <a:lnTo>
                    <a:pt x="272" y="528"/>
                  </a:lnTo>
                  <a:lnTo>
                    <a:pt x="271" y="527"/>
                  </a:lnTo>
                  <a:lnTo>
                    <a:pt x="271" y="526"/>
                  </a:lnTo>
                  <a:lnTo>
                    <a:pt x="272" y="526"/>
                  </a:lnTo>
                  <a:lnTo>
                    <a:pt x="273" y="528"/>
                  </a:lnTo>
                  <a:lnTo>
                    <a:pt x="274" y="526"/>
                  </a:lnTo>
                  <a:lnTo>
                    <a:pt x="277" y="526"/>
                  </a:lnTo>
                  <a:lnTo>
                    <a:pt x="275" y="526"/>
                  </a:lnTo>
                  <a:lnTo>
                    <a:pt x="274" y="524"/>
                  </a:lnTo>
                  <a:lnTo>
                    <a:pt x="273" y="522"/>
                  </a:lnTo>
                  <a:lnTo>
                    <a:pt x="275" y="521"/>
                  </a:lnTo>
                  <a:lnTo>
                    <a:pt x="277" y="521"/>
                  </a:lnTo>
                  <a:lnTo>
                    <a:pt x="277" y="520"/>
                  </a:lnTo>
                  <a:lnTo>
                    <a:pt x="274" y="520"/>
                  </a:lnTo>
                  <a:lnTo>
                    <a:pt x="273" y="521"/>
                  </a:lnTo>
                  <a:lnTo>
                    <a:pt x="272" y="521"/>
                  </a:lnTo>
                  <a:lnTo>
                    <a:pt x="268" y="522"/>
                  </a:lnTo>
                  <a:lnTo>
                    <a:pt x="268" y="523"/>
                  </a:lnTo>
                  <a:lnTo>
                    <a:pt x="266" y="522"/>
                  </a:lnTo>
                  <a:lnTo>
                    <a:pt x="263" y="522"/>
                  </a:lnTo>
                  <a:lnTo>
                    <a:pt x="260" y="523"/>
                  </a:lnTo>
                  <a:lnTo>
                    <a:pt x="257" y="523"/>
                  </a:lnTo>
                  <a:lnTo>
                    <a:pt x="254" y="524"/>
                  </a:lnTo>
                  <a:lnTo>
                    <a:pt x="251" y="526"/>
                  </a:lnTo>
                  <a:lnTo>
                    <a:pt x="249" y="527"/>
                  </a:lnTo>
                  <a:lnTo>
                    <a:pt x="248" y="528"/>
                  </a:lnTo>
                  <a:lnTo>
                    <a:pt x="248" y="527"/>
                  </a:lnTo>
                  <a:lnTo>
                    <a:pt x="245" y="527"/>
                  </a:lnTo>
                  <a:lnTo>
                    <a:pt x="243" y="528"/>
                  </a:lnTo>
                  <a:lnTo>
                    <a:pt x="242" y="529"/>
                  </a:lnTo>
                  <a:lnTo>
                    <a:pt x="239" y="529"/>
                  </a:lnTo>
                  <a:lnTo>
                    <a:pt x="239" y="530"/>
                  </a:lnTo>
                  <a:lnTo>
                    <a:pt x="237" y="530"/>
                  </a:lnTo>
                  <a:lnTo>
                    <a:pt x="236" y="530"/>
                  </a:lnTo>
                  <a:lnTo>
                    <a:pt x="234" y="532"/>
                  </a:lnTo>
                  <a:lnTo>
                    <a:pt x="230" y="533"/>
                  </a:lnTo>
                  <a:lnTo>
                    <a:pt x="228" y="533"/>
                  </a:lnTo>
                  <a:lnTo>
                    <a:pt x="227" y="534"/>
                  </a:lnTo>
                  <a:lnTo>
                    <a:pt x="225" y="536"/>
                  </a:lnTo>
                  <a:lnTo>
                    <a:pt x="222" y="536"/>
                  </a:lnTo>
                  <a:lnTo>
                    <a:pt x="218" y="540"/>
                  </a:lnTo>
                  <a:lnTo>
                    <a:pt x="215" y="542"/>
                  </a:lnTo>
                  <a:lnTo>
                    <a:pt x="213" y="544"/>
                  </a:lnTo>
                  <a:lnTo>
                    <a:pt x="210" y="545"/>
                  </a:lnTo>
                  <a:lnTo>
                    <a:pt x="209" y="547"/>
                  </a:lnTo>
                  <a:lnTo>
                    <a:pt x="209" y="548"/>
                  </a:lnTo>
                  <a:lnTo>
                    <a:pt x="210" y="547"/>
                  </a:lnTo>
                  <a:lnTo>
                    <a:pt x="210" y="546"/>
                  </a:lnTo>
                  <a:lnTo>
                    <a:pt x="213" y="547"/>
                  </a:lnTo>
                  <a:lnTo>
                    <a:pt x="215" y="548"/>
                  </a:lnTo>
                  <a:lnTo>
                    <a:pt x="215" y="550"/>
                  </a:lnTo>
                  <a:lnTo>
                    <a:pt x="214" y="550"/>
                  </a:lnTo>
                  <a:lnTo>
                    <a:pt x="213" y="550"/>
                  </a:lnTo>
                  <a:lnTo>
                    <a:pt x="214" y="550"/>
                  </a:lnTo>
                  <a:lnTo>
                    <a:pt x="216" y="551"/>
                  </a:lnTo>
                  <a:lnTo>
                    <a:pt x="216" y="552"/>
                  </a:lnTo>
                  <a:lnTo>
                    <a:pt x="218" y="552"/>
                  </a:lnTo>
                  <a:lnTo>
                    <a:pt x="218" y="553"/>
                  </a:lnTo>
                  <a:lnTo>
                    <a:pt x="216" y="553"/>
                  </a:lnTo>
                  <a:lnTo>
                    <a:pt x="218" y="554"/>
                  </a:lnTo>
                  <a:lnTo>
                    <a:pt x="216" y="554"/>
                  </a:lnTo>
                  <a:lnTo>
                    <a:pt x="215" y="554"/>
                  </a:lnTo>
                  <a:lnTo>
                    <a:pt x="215" y="556"/>
                  </a:lnTo>
                  <a:lnTo>
                    <a:pt x="215" y="557"/>
                  </a:lnTo>
                  <a:lnTo>
                    <a:pt x="214" y="557"/>
                  </a:lnTo>
                  <a:lnTo>
                    <a:pt x="214" y="558"/>
                  </a:lnTo>
                  <a:lnTo>
                    <a:pt x="216" y="558"/>
                  </a:lnTo>
                  <a:lnTo>
                    <a:pt x="218" y="559"/>
                  </a:lnTo>
                  <a:lnTo>
                    <a:pt x="219" y="560"/>
                  </a:lnTo>
                  <a:lnTo>
                    <a:pt x="216" y="560"/>
                  </a:lnTo>
                  <a:lnTo>
                    <a:pt x="218" y="563"/>
                  </a:lnTo>
                  <a:lnTo>
                    <a:pt x="218" y="564"/>
                  </a:lnTo>
                  <a:lnTo>
                    <a:pt x="218" y="565"/>
                  </a:lnTo>
                  <a:lnTo>
                    <a:pt x="216" y="565"/>
                  </a:lnTo>
                  <a:lnTo>
                    <a:pt x="216" y="566"/>
                  </a:lnTo>
                  <a:lnTo>
                    <a:pt x="218" y="568"/>
                  </a:lnTo>
                  <a:lnTo>
                    <a:pt x="215" y="568"/>
                  </a:lnTo>
                  <a:lnTo>
                    <a:pt x="214" y="568"/>
                  </a:lnTo>
                  <a:lnTo>
                    <a:pt x="213" y="569"/>
                  </a:lnTo>
                  <a:lnTo>
                    <a:pt x="213" y="570"/>
                  </a:lnTo>
                  <a:lnTo>
                    <a:pt x="210" y="570"/>
                  </a:lnTo>
                  <a:lnTo>
                    <a:pt x="210" y="568"/>
                  </a:lnTo>
                  <a:lnTo>
                    <a:pt x="209" y="566"/>
                  </a:lnTo>
                  <a:lnTo>
                    <a:pt x="208" y="565"/>
                  </a:lnTo>
                  <a:lnTo>
                    <a:pt x="206" y="566"/>
                  </a:lnTo>
                  <a:lnTo>
                    <a:pt x="204" y="568"/>
                  </a:lnTo>
                  <a:lnTo>
                    <a:pt x="204" y="569"/>
                  </a:lnTo>
                  <a:lnTo>
                    <a:pt x="204" y="572"/>
                  </a:lnTo>
                  <a:lnTo>
                    <a:pt x="204" y="575"/>
                  </a:lnTo>
                  <a:lnTo>
                    <a:pt x="203" y="576"/>
                  </a:lnTo>
                  <a:lnTo>
                    <a:pt x="203" y="578"/>
                  </a:lnTo>
                  <a:lnTo>
                    <a:pt x="202" y="578"/>
                  </a:lnTo>
                  <a:lnTo>
                    <a:pt x="201" y="581"/>
                  </a:lnTo>
                  <a:lnTo>
                    <a:pt x="198" y="581"/>
                  </a:lnTo>
                  <a:lnTo>
                    <a:pt x="200" y="581"/>
                  </a:lnTo>
                  <a:lnTo>
                    <a:pt x="198" y="583"/>
                  </a:lnTo>
                  <a:lnTo>
                    <a:pt x="197" y="584"/>
                  </a:lnTo>
                  <a:lnTo>
                    <a:pt x="196" y="586"/>
                  </a:lnTo>
                  <a:lnTo>
                    <a:pt x="195" y="586"/>
                  </a:lnTo>
                  <a:lnTo>
                    <a:pt x="195" y="584"/>
                  </a:lnTo>
                  <a:lnTo>
                    <a:pt x="192" y="584"/>
                  </a:lnTo>
                  <a:lnTo>
                    <a:pt x="192" y="587"/>
                  </a:lnTo>
                  <a:lnTo>
                    <a:pt x="191" y="587"/>
                  </a:lnTo>
                  <a:lnTo>
                    <a:pt x="190" y="588"/>
                  </a:lnTo>
                  <a:lnTo>
                    <a:pt x="189" y="588"/>
                  </a:lnTo>
                  <a:lnTo>
                    <a:pt x="189" y="587"/>
                  </a:lnTo>
                  <a:lnTo>
                    <a:pt x="187" y="587"/>
                  </a:lnTo>
                  <a:lnTo>
                    <a:pt x="187" y="588"/>
                  </a:lnTo>
                  <a:lnTo>
                    <a:pt x="185" y="588"/>
                  </a:lnTo>
                  <a:lnTo>
                    <a:pt x="184" y="587"/>
                  </a:lnTo>
                  <a:lnTo>
                    <a:pt x="183" y="587"/>
                  </a:lnTo>
                  <a:lnTo>
                    <a:pt x="181" y="584"/>
                  </a:lnTo>
                  <a:lnTo>
                    <a:pt x="183" y="582"/>
                  </a:lnTo>
                  <a:lnTo>
                    <a:pt x="184" y="582"/>
                  </a:lnTo>
                  <a:lnTo>
                    <a:pt x="184" y="581"/>
                  </a:lnTo>
                  <a:lnTo>
                    <a:pt x="184" y="582"/>
                  </a:lnTo>
                  <a:lnTo>
                    <a:pt x="184" y="580"/>
                  </a:lnTo>
                  <a:lnTo>
                    <a:pt x="185" y="580"/>
                  </a:lnTo>
                  <a:lnTo>
                    <a:pt x="185" y="578"/>
                  </a:lnTo>
                  <a:lnTo>
                    <a:pt x="185" y="576"/>
                  </a:lnTo>
                  <a:lnTo>
                    <a:pt x="181" y="575"/>
                  </a:lnTo>
                  <a:lnTo>
                    <a:pt x="181" y="574"/>
                  </a:lnTo>
                  <a:lnTo>
                    <a:pt x="180" y="574"/>
                  </a:lnTo>
                  <a:lnTo>
                    <a:pt x="179" y="574"/>
                  </a:lnTo>
                  <a:lnTo>
                    <a:pt x="178" y="572"/>
                  </a:lnTo>
                  <a:lnTo>
                    <a:pt x="177" y="574"/>
                  </a:lnTo>
                  <a:lnTo>
                    <a:pt x="175" y="574"/>
                  </a:lnTo>
                  <a:lnTo>
                    <a:pt x="175" y="575"/>
                  </a:lnTo>
                  <a:lnTo>
                    <a:pt x="174" y="576"/>
                  </a:lnTo>
                  <a:lnTo>
                    <a:pt x="173" y="577"/>
                  </a:lnTo>
                  <a:lnTo>
                    <a:pt x="172" y="577"/>
                  </a:lnTo>
                  <a:lnTo>
                    <a:pt x="171" y="580"/>
                  </a:lnTo>
                  <a:lnTo>
                    <a:pt x="171" y="582"/>
                  </a:lnTo>
                  <a:lnTo>
                    <a:pt x="171" y="583"/>
                  </a:lnTo>
                  <a:lnTo>
                    <a:pt x="171" y="584"/>
                  </a:lnTo>
                  <a:lnTo>
                    <a:pt x="169" y="586"/>
                  </a:lnTo>
                  <a:lnTo>
                    <a:pt x="168" y="586"/>
                  </a:lnTo>
                  <a:lnTo>
                    <a:pt x="167" y="587"/>
                  </a:lnTo>
                  <a:lnTo>
                    <a:pt x="165" y="590"/>
                  </a:lnTo>
                  <a:lnTo>
                    <a:pt x="165" y="592"/>
                  </a:lnTo>
                  <a:lnTo>
                    <a:pt x="166" y="594"/>
                  </a:lnTo>
                  <a:lnTo>
                    <a:pt x="163" y="596"/>
                  </a:lnTo>
                  <a:lnTo>
                    <a:pt x="161" y="596"/>
                  </a:lnTo>
                  <a:lnTo>
                    <a:pt x="160" y="598"/>
                  </a:lnTo>
                  <a:lnTo>
                    <a:pt x="159" y="599"/>
                  </a:lnTo>
                  <a:lnTo>
                    <a:pt x="155" y="599"/>
                  </a:lnTo>
                  <a:lnTo>
                    <a:pt x="153" y="598"/>
                  </a:lnTo>
                  <a:lnTo>
                    <a:pt x="153" y="596"/>
                  </a:lnTo>
                  <a:lnTo>
                    <a:pt x="153" y="595"/>
                  </a:lnTo>
                  <a:lnTo>
                    <a:pt x="151" y="595"/>
                  </a:lnTo>
                  <a:lnTo>
                    <a:pt x="149" y="594"/>
                  </a:lnTo>
                  <a:lnTo>
                    <a:pt x="149" y="593"/>
                  </a:lnTo>
                  <a:lnTo>
                    <a:pt x="148" y="592"/>
                  </a:lnTo>
                  <a:lnTo>
                    <a:pt x="147" y="595"/>
                  </a:lnTo>
                  <a:lnTo>
                    <a:pt x="144" y="595"/>
                  </a:lnTo>
                  <a:lnTo>
                    <a:pt x="143" y="595"/>
                  </a:lnTo>
                  <a:lnTo>
                    <a:pt x="143" y="596"/>
                  </a:lnTo>
                  <a:lnTo>
                    <a:pt x="142" y="599"/>
                  </a:lnTo>
                  <a:lnTo>
                    <a:pt x="142" y="601"/>
                  </a:lnTo>
                  <a:lnTo>
                    <a:pt x="143" y="603"/>
                  </a:lnTo>
                  <a:lnTo>
                    <a:pt x="141" y="603"/>
                  </a:lnTo>
                  <a:lnTo>
                    <a:pt x="141" y="604"/>
                  </a:lnTo>
                  <a:lnTo>
                    <a:pt x="142" y="605"/>
                  </a:lnTo>
                  <a:lnTo>
                    <a:pt x="143" y="605"/>
                  </a:lnTo>
                  <a:lnTo>
                    <a:pt x="141" y="605"/>
                  </a:lnTo>
                  <a:lnTo>
                    <a:pt x="143" y="606"/>
                  </a:lnTo>
                  <a:lnTo>
                    <a:pt x="141" y="607"/>
                  </a:lnTo>
                  <a:lnTo>
                    <a:pt x="139" y="607"/>
                  </a:lnTo>
                  <a:lnTo>
                    <a:pt x="137" y="606"/>
                  </a:lnTo>
                  <a:lnTo>
                    <a:pt x="136" y="607"/>
                  </a:lnTo>
                  <a:lnTo>
                    <a:pt x="138" y="610"/>
                  </a:lnTo>
                  <a:lnTo>
                    <a:pt x="136" y="610"/>
                  </a:lnTo>
                  <a:lnTo>
                    <a:pt x="134" y="611"/>
                  </a:lnTo>
                  <a:lnTo>
                    <a:pt x="134" y="610"/>
                  </a:lnTo>
                  <a:lnTo>
                    <a:pt x="131" y="611"/>
                  </a:lnTo>
                  <a:lnTo>
                    <a:pt x="128" y="610"/>
                  </a:lnTo>
                  <a:lnTo>
                    <a:pt x="133" y="607"/>
                  </a:lnTo>
                  <a:lnTo>
                    <a:pt x="131" y="606"/>
                  </a:lnTo>
                  <a:lnTo>
                    <a:pt x="130" y="606"/>
                  </a:lnTo>
                  <a:lnTo>
                    <a:pt x="128" y="605"/>
                  </a:lnTo>
                  <a:lnTo>
                    <a:pt x="127" y="607"/>
                  </a:lnTo>
                  <a:lnTo>
                    <a:pt x="126" y="609"/>
                  </a:lnTo>
                  <a:lnTo>
                    <a:pt x="125" y="610"/>
                  </a:lnTo>
                  <a:lnTo>
                    <a:pt x="124" y="612"/>
                  </a:lnTo>
                  <a:lnTo>
                    <a:pt x="120" y="612"/>
                  </a:lnTo>
                  <a:lnTo>
                    <a:pt x="121" y="615"/>
                  </a:lnTo>
                  <a:lnTo>
                    <a:pt x="120" y="616"/>
                  </a:lnTo>
                  <a:lnTo>
                    <a:pt x="119" y="617"/>
                  </a:lnTo>
                  <a:lnTo>
                    <a:pt x="121" y="618"/>
                  </a:lnTo>
                  <a:lnTo>
                    <a:pt x="122" y="618"/>
                  </a:lnTo>
                  <a:lnTo>
                    <a:pt x="122" y="621"/>
                  </a:lnTo>
                  <a:lnTo>
                    <a:pt x="118" y="622"/>
                  </a:lnTo>
                  <a:lnTo>
                    <a:pt x="118" y="624"/>
                  </a:lnTo>
                  <a:lnTo>
                    <a:pt x="116" y="627"/>
                  </a:lnTo>
                  <a:lnTo>
                    <a:pt x="115" y="629"/>
                  </a:lnTo>
                  <a:lnTo>
                    <a:pt x="114" y="629"/>
                  </a:lnTo>
                  <a:lnTo>
                    <a:pt x="113" y="628"/>
                  </a:lnTo>
                  <a:lnTo>
                    <a:pt x="110" y="627"/>
                  </a:lnTo>
                  <a:lnTo>
                    <a:pt x="109" y="625"/>
                  </a:lnTo>
                  <a:lnTo>
                    <a:pt x="108" y="625"/>
                  </a:lnTo>
                  <a:lnTo>
                    <a:pt x="107" y="624"/>
                  </a:lnTo>
                  <a:lnTo>
                    <a:pt x="106" y="623"/>
                  </a:lnTo>
                  <a:lnTo>
                    <a:pt x="108" y="622"/>
                  </a:lnTo>
                  <a:lnTo>
                    <a:pt x="107" y="621"/>
                  </a:lnTo>
                  <a:lnTo>
                    <a:pt x="104" y="621"/>
                  </a:lnTo>
                  <a:lnTo>
                    <a:pt x="100" y="622"/>
                  </a:lnTo>
                  <a:lnTo>
                    <a:pt x="100" y="624"/>
                  </a:lnTo>
                  <a:lnTo>
                    <a:pt x="100" y="625"/>
                  </a:lnTo>
                  <a:lnTo>
                    <a:pt x="98" y="625"/>
                  </a:lnTo>
                  <a:lnTo>
                    <a:pt x="97" y="623"/>
                  </a:lnTo>
                  <a:lnTo>
                    <a:pt x="96" y="622"/>
                  </a:lnTo>
                  <a:lnTo>
                    <a:pt x="94" y="623"/>
                  </a:lnTo>
                  <a:lnTo>
                    <a:pt x="92" y="623"/>
                  </a:lnTo>
                  <a:lnTo>
                    <a:pt x="90" y="623"/>
                  </a:lnTo>
                  <a:lnTo>
                    <a:pt x="89" y="622"/>
                  </a:lnTo>
                  <a:lnTo>
                    <a:pt x="88" y="619"/>
                  </a:lnTo>
                  <a:lnTo>
                    <a:pt x="86" y="619"/>
                  </a:lnTo>
                  <a:lnTo>
                    <a:pt x="86" y="621"/>
                  </a:lnTo>
                  <a:lnTo>
                    <a:pt x="84" y="618"/>
                  </a:lnTo>
                  <a:lnTo>
                    <a:pt x="85" y="618"/>
                  </a:lnTo>
                  <a:lnTo>
                    <a:pt x="85" y="617"/>
                  </a:lnTo>
                  <a:lnTo>
                    <a:pt x="85" y="615"/>
                  </a:lnTo>
                  <a:lnTo>
                    <a:pt x="83" y="615"/>
                  </a:lnTo>
                  <a:lnTo>
                    <a:pt x="82" y="613"/>
                  </a:lnTo>
                  <a:lnTo>
                    <a:pt x="77" y="611"/>
                  </a:lnTo>
                  <a:lnTo>
                    <a:pt x="77" y="610"/>
                  </a:lnTo>
                  <a:lnTo>
                    <a:pt x="78" y="609"/>
                  </a:lnTo>
                  <a:lnTo>
                    <a:pt x="85" y="609"/>
                  </a:lnTo>
                  <a:lnTo>
                    <a:pt x="84" y="607"/>
                  </a:lnTo>
                  <a:lnTo>
                    <a:pt x="84" y="606"/>
                  </a:lnTo>
                  <a:lnTo>
                    <a:pt x="83" y="605"/>
                  </a:lnTo>
                  <a:lnTo>
                    <a:pt x="80" y="605"/>
                  </a:lnTo>
                  <a:lnTo>
                    <a:pt x="80" y="604"/>
                  </a:lnTo>
                  <a:lnTo>
                    <a:pt x="80" y="603"/>
                  </a:lnTo>
                  <a:lnTo>
                    <a:pt x="78" y="600"/>
                  </a:lnTo>
                  <a:lnTo>
                    <a:pt x="77" y="599"/>
                  </a:lnTo>
                  <a:lnTo>
                    <a:pt x="75" y="598"/>
                  </a:lnTo>
                  <a:lnTo>
                    <a:pt x="75" y="596"/>
                  </a:lnTo>
                  <a:lnTo>
                    <a:pt x="77" y="595"/>
                  </a:lnTo>
                  <a:lnTo>
                    <a:pt x="79" y="595"/>
                  </a:lnTo>
                  <a:lnTo>
                    <a:pt x="80" y="595"/>
                  </a:lnTo>
                  <a:lnTo>
                    <a:pt x="80" y="596"/>
                  </a:lnTo>
                  <a:lnTo>
                    <a:pt x="83" y="595"/>
                  </a:lnTo>
                  <a:lnTo>
                    <a:pt x="84" y="594"/>
                  </a:lnTo>
                  <a:lnTo>
                    <a:pt x="88" y="594"/>
                  </a:lnTo>
                  <a:lnTo>
                    <a:pt x="88" y="593"/>
                  </a:lnTo>
                  <a:lnTo>
                    <a:pt x="90" y="593"/>
                  </a:lnTo>
                  <a:lnTo>
                    <a:pt x="90" y="590"/>
                  </a:lnTo>
                  <a:lnTo>
                    <a:pt x="88" y="592"/>
                  </a:lnTo>
                  <a:lnTo>
                    <a:pt x="86" y="592"/>
                  </a:lnTo>
                  <a:lnTo>
                    <a:pt x="85" y="592"/>
                  </a:lnTo>
                  <a:lnTo>
                    <a:pt x="85" y="590"/>
                  </a:lnTo>
                  <a:lnTo>
                    <a:pt x="84" y="588"/>
                  </a:lnTo>
                  <a:lnTo>
                    <a:pt x="82" y="586"/>
                  </a:lnTo>
                  <a:lnTo>
                    <a:pt x="80" y="584"/>
                  </a:lnTo>
                  <a:lnTo>
                    <a:pt x="83" y="584"/>
                  </a:lnTo>
                  <a:lnTo>
                    <a:pt x="84" y="582"/>
                  </a:lnTo>
                  <a:lnTo>
                    <a:pt x="85" y="584"/>
                  </a:lnTo>
                  <a:lnTo>
                    <a:pt x="86" y="583"/>
                  </a:lnTo>
                  <a:lnTo>
                    <a:pt x="89" y="583"/>
                  </a:lnTo>
                  <a:lnTo>
                    <a:pt x="90" y="583"/>
                  </a:lnTo>
                  <a:lnTo>
                    <a:pt x="91" y="584"/>
                  </a:lnTo>
                  <a:lnTo>
                    <a:pt x="92" y="584"/>
                  </a:lnTo>
                  <a:lnTo>
                    <a:pt x="90" y="581"/>
                  </a:lnTo>
                  <a:lnTo>
                    <a:pt x="90" y="580"/>
                  </a:lnTo>
                  <a:lnTo>
                    <a:pt x="90" y="578"/>
                  </a:lnTo>
                  <a:lnTo>
                    <a:pt x="91" y="577"/>
                  </a:lnTo>
                  <a:lnTo>
                    <a:pt x="95" y="578"/>
                  </a:lnTo>
                  <a:lnTo>
                    <a:pt x="97" y="580"/>
                  </a:lnTo>
                  <a:lnTo>
                    <a:pt x="98" y="578"/>
                  </a:lnTo>
                  <a:lnTo>
                    <a:pt x="98" y="576"/>
                  </a:lnTo>
                  <a:lnTo>
                    <a:pt x="100" y="574"/>
                  </a:lnTo>
                  <a:lnTo>
                    <a:pt x="100" y="571"/>
                  </a:lnTo>
                  <a:lnTo>
                    <a:pt x="100" y="570"/>
                  </a:lnTo>
                  <a:lnTo>
                    <a:pt x="102" y="569"/>
                  </a:lnTo>
                  <a:lnTo>
                    <a:pt x="104" y="569"/>
                  </a:lnTo>
                  <a:lnTo>
                    <a:pt x="104" y="568"/>
                  </a:lnTo>
                  <a:lnTo>
                    <a:pt x="104" y="566"/>
                  </a:lnTo>
                  <a:lnTo>
                    <a:pt x="107" y="568"/>
                  </a:lnTo>
                  <a:lnTo>
                    <a:pt x="108" y="569"/>
                  </a:lnTo>
                  <a:lnTo>
                    <a:pt x="109" y="569"/>
                  </a:lnTo>
                  <a:lnTo>
                    <a:pt x="109" y="563"/>
                  </a:lnTo>
                  <a:lnTo>
                    <a:pt x="107" y="562"/>
                  </a:lnTo>
                  <a:lnTo>
                    <a:pt x="104" y="559"/>
                  </a:lnTo>
                  <a:lnTo>
                    <a:pt x="103" y="556"/>
                  </a:lnTo>
                  <a:lnTo>
                    <a:pt x="103" y="554"/>
                  </a:lnTo>
                  <a:lnTo>
                    <a:pt x="104" y="554"/>
                  </a:lnTo>
                  <a:lnTo>
                    <a:pt x="106" y="554"/>
                  </a:lnTo>
                  <a:lnTo>
                    <a:pt x="107" y="553"/>
                  </a:lnTo>
                  <a:lnTo>
                    <a:pt x="107" y="552"/>
                  </a:lnTo>
                  <a:lnTo>
                    <a:pt x="108" y="553"/>
                  </a:lnTo>
                  <a:lnTo>
                    <a:pt x="108" y="554"/>
                  </a:lnTo>
                  <a:lnTo>
                    <a:pt x="110" y="554"/>
                  </a:lnTo>
                  <a:lnTo>
                    <a:pt x="113" y="552"/>
                  </a:lnTo>
                  <a:lnTo>
                    <a:pt x="114" y="553"/>
                  </a:lnTo>
                  <a:lnTo>
                    <a:pt x="115" y="553"/>
                  </a:lnTo>
                  <a:lnTo>
                    <a:pt x="116" y="551"/>
                  </a:lnTo>
                  <a:lnTo>
                    <a:pt x="118" y="550"/>
                  </a:lnTo>
                  <a:lnTo>
                    <a:pt x="121" y="550"/>
                  </a:lnTo>
                  <a:lnTo>
                    <a:pt x="124" y="547"/>
                  </a:lnTo>
                  <a:lnTo>
                    <a:pt x="126" y="547"/>
                  </a:lnTo>
                  <a:lnTo>
                    <a:pt x="125" y="546"/>
                  </a:lnTo>
                  <a:lnTo>
                    <a:pt x="125" y="545"/>
                  </a:lnTo>
                  <a:lnTo>
                    <a:pt x="125" y="544"/>
                  </a:lnTo>
                  <a:lnTo>
                    <a:pt x="124" y="542"/>
                  </a:lnTo>
                  <a:lnTo>
                    <a:pt x="121" y="541"/>
                  </a:lnTo>
                  <a:lnTo>
                    <a:pt x="121" y="539"/>
                  </a:lnTo>
                  <a:lnTo>
                    <a:pt x="121" y="538"/>
                  </a:lnTo>
                  <a:lnTo>
                    <a:pt x="122" y="538"/>
                  </a:lnTo>
                  <a:lnTo>
                    <a:pt x="124" y="538"/>
                  </a:lnTo>
                  <a:lnTo>
                    <a:pt x="125" y="538"/>
                  </a:lnTo>
                  <a:lnTo>
                    <a:pt x="127" y="538"/>
                  </a:lnTo>
                  <a:lnTo>
                    <a:pt x="128" y="538"/>
                  </a:lnTo>
                  <a:lnTo>
                    <a:pt x="130" y="539"/>
                  </a:lnTo>
                  <a:lnTo>
                    <a:pt x="130" y="538"/>
                  </a:lnTo>
                  <a:lnTo>
                    <a:pt x="131" y="538"/>
                  </a:lnTo>
                  <a:lnTo>
                    <a:pt x="132" y="538"/>
                  </a:lnTo>
                  <a:lnTo>
                    <a:pt x="132" y="536"/>
                  </a:lnTo>
                  <a:lnTo>
                    <a:pt x="133" y="535"/>
                  </a:lnTo>
                  <a:lnTo>
                    <a:pt x="134" y="535"/>
                  </a:lnTo>
                  <a:lnTo>
                    <a:pt x="136" y="538"/>
                  </a:lnTo>
                  <a:lnTo>
                    <a:pt x="137" y="538"/>
                  </a:lnTo>
                  <a:lnTo>
                    <a:pt x="139" y="538"/>
                  </a:lnTo>
                  <a:lnTo>
                    <a:pt x="139" y="541"/>
                  </a:lnTo>
                  <a:lnTo>
                    <a:pt x="139" y="539"/>
                  </a:lnTo>
                  <a:lnTo>
                    <a:pt x="143" y="536"/>
                  </a:lnTo>
                  <a:lnTo>
                    <a:pt x="142" y="535"/>
                  </a:lnTo>
                  <a:lnTo>
                    <a:pt x="143" y="534"/>
                  </a:lnTo>
                  <a:lnTo>
                    <a:pt x="144" y="533"/>
                  </a:lnTo>
                  <a:lnTo>
                    <a:pt x="145" y="533"/>
                  </a:lnTo>
                  <a:lnTo>
                    <a:pt x="145" y="532"/>
                  </a:lnTo>
                  <a:lnTo>
                    <a:pt x="144" y="530"/>
                  </a:lnTo>
                  <a:lnTo>
                    <a:pt x="144" y="528"/>
                  </a:lnTo>
                  <a:lnTo>
                    <a:pt x="145" y="527"/>
                  </a:lnTo>
                  <a:lnTo>
                    <a:pt x="147" y="526"/>
                  </a:lnTo>
                  <a:lnTo>
                    <a:pt x="148" y="524"/>
                  </a:lnTo>
                  <a:lnTo>
                    <a:pt x="149" y="522"/>
                  </a:lnTo>
                  <a:lnTo>
                    <a:pt x="150" y="520"/>
                  </a:lnTo>
                  <a:lnTo>
                    <a:pt x="151" y="518"/>
                  </a:lnTo>
                  <a:lnTo>
                    <a:pt x="151" y="517"/>
                  </a:lnTo>
                  <a:lnTo>
                    <a:pt x="155" y="517"/>
                  </a:lnTo>
                  <a:lnTo>
                    <a:pt x="155" y="514"/>
                  </a:lnTo>
                  <a:lnTo>
                    <a:pt x="156" y="512"/>
                  </a:lnTo>
                  <a:lnTo>
                    <a:pt x="157" y="510"/>
                  </a:lnTo>
                  <a:lnTo>
                    <a:pt x="159" y="510"/>
                  </a:lnTo>
                  <a:lnTo>
                    <a:pt x="159" y="508"/>
                  </a:lnTo>
                  <a:lnTo>
                    <a:pt x="162" y="508"/>
                  </a:lnTo>
                  <a:lnTo>
                    <a:pt x="162" y="506"/>
                  </a:lnTo>
                  <a:lnTo>
                    <a:pt x="160" y="505"/>
                  </a:lnTo>
                  <a:lnTo>
                    <a:pt x="160" y="503"/>
                  </a:lnTo>
                  <a:lnTo>
                    <a:pt x="161" y="503"/>
                  </a:lnTo>
                  <a:lnTo>
                    <a:pt x="161" y="502"/>
                  </a:lnTo>
                  <a:lnTo>
                    <a:pt x="159" y="503"/>
                  </a:lnTo>
                  <a:lnTo>
                    <a:pt x="156" y="502"/>
                  </a:lnTo>
                  <a:lnTo>
                    <a:pt x="157" y="500"/>
                  </a:lnTo>
                  <a:lnTo>
                    <a:pt x="159" y="498"/>
                  </a:lnTo>
                  <a:lnTo>
                    <a:pt x="160" y="497"/>
                  </a:lnTo>
                  <a:lnTo>
                    <a:pt x="157" y="496"/>
                  </a:lnTo>
                  <a:lnTo>
                    <a:pt x="155" y="496"/>
                  </a:lnTo>
                  <a:lnTo>
                    <a:pt x="155" y="493"/>
                  </a:lnTo>
                  <a:lnTo>
                    <a:pt x="153" y="492"/>
                  </a:lnTo>
                  <a:lnTo>
                    <a:pt x="151" y="492"/>
                  </a:lnTo>
                  <a:lnTo>
                    <a:pt x="147" y="491"/>
                  </a:lnTo>
                  <a:lnTo>
                    <a:pt x="148" y="488"/>
                  </a:lnTo>
                  <a:lnTo>
                    <a:pt x="145" y="486"/>
                  </a:lnTo>
                  <a:lnTo>
                    <a:pt x="144" y="486"/>
                  </a:lnTo>
                  <a:lnTo>
                    <a:pt x="144" y="485"/>
                  </a:lnTo>
                  <a:lnTo>
                    <a:pt x="142" y="485"/>
                  </a:lnTo>
                  <a:lnTo>
                    <a:pt x="139" y="485"/>
                  </a:lnTo>
                  <a:lnTo>
                    <a:pt x="137" y="483"/>
                  </a:lnTo>
                  <a:lnTo>
                    <a:pt x="137" y="482"/>
                  </a:lnTo>
                  <a:lnTo>
                    <a:pt x="136" y="481"/>
                  </a:lnTo>
                  <a:lnTo>
                    <a:pt x="136" y="480"/>
                  </a:lnTo>
                  <a:lnTo>
                    <a:pt x="137" y="479"/>
                  </a:lnTo>
                  <a:lnTo>
                    <a:pt x="139" y="479"/>
                  </a:lnTo>
                  <a:lnTo>
                    <a:pt x="139" y="477"/>
                  </a:lnTo>
                  <a:lnTo>
                    <a:pt x="138" y="477"/>
                  </a:lnTo>
                  <a:lnTo>
                    <a:pt x="137" y="477"/>
                  </a:lnTo>
                  <a:lnTo>
                    <a:pt x="136" y="479"/>
                  </a:lnTo>
                  <a:lnTo>
                    <a:pt x="134" y="477"/>
                  </a:lnTo>
                  <a:lnTo>
                    <a:pt x="133" y="476"/>
                  </a:lnTo>
                  <a:lnTo>
                    <a:pt x="132" y="476"/>
                  </a:lnTo>
                  <a:lnTo>
                    <a:pt x="132" y="479"/>
                  </a:lnTo>
                  <a:lnTo>
                    <a:pt x="132" y="480"/>
                  </a:lnTo>
                  <a:lnTo>
                    <a:pt x="131" y="482"/>
                  </a:lnTo>
                  <a:lnTo>
                    <a:pt x="133" y="482"/>
                  </a:lnTo>
                  <a:lnTo>
                    <a:pt x="132" y="485"/>
                  </a:lnTo>
                  <a:lnTo>
                    <a:pt x="130" y="486"/>
                  </a:lnTo>
                  <a:lnTo>
                    <a:pt x="132" y="485"/>
                  </a:lnTo>
                  <a:lnTo>
                    <a:pt x="132" y="487"/>
                  </a:lnTo>
                  <a:lnTo>
                    <a:pt x="130" y="488"/>
                  </a:lnTo>
                  <a:lnTo>
                    <a:pt x="131" y="488"/>
                  </a:lnTo>
                  <a:lnTo>
                    <a:pt x="130" y="489"/>
                  </a:lnTo>
                  <a:lnTo>
                    <a:pt x="128" y="491"/>
                  </a:lnTo>
                  <a:lnTo>
                    <a:pt x="127" y="491"/>
                  </a:lnTo>
                  <a:lnTo>
                    <a:pt x="126" y="494"/>
                  </a:lnTo>
                  <a:lnTo>
                    <a:pt x="125" y="496"/>
                  </a:lnTo>
                  <a:lnTo>
                    <a:pt x="122" y="494"/>
                  </a:lnTo>
                  <a:lnTo>
                    <a:pt x="122" y="496"/>
                  </a:lnTo>
                  <a:lnTo>
                    <a:pt x="121" y="494"/>
                  </a:lnTo>
                  <a:lnTo>
                    <a:pt x="118" y="496"/>
                  </a:lnTo>
                  <a:lnTo>
                    <a:pt x="116" y="494"/>
                  </a:lnTo>
                  <a:lnTo>
                    <a:pt x="115" y="496"/>
                  </a:lnTo>
                  <a:lnTo>
                    <a:pt x="114" y="498"/>
                  </a:lnTo>
                  <a:lnTo>
                    <a:pt x="113" y="499"/>
                  </a:lnTo>
                  <a:lnTo>
                    <a:pt x="113" y="500"/>
                  </a:lnTo>
                  <a:lnTo>
                    <a:pt x="112" y="500"/>
                  </a:lnTo>
                  <a:lnTo>
                    <a:pt x="110" y="500"/>
                  </a:lnTo>
                  <a:lnTo>
                    <a:pt x="108" y="502"/>
                  </a:lnTo>
                  <a:lnTo>
                    <a:pt x="103" y="503"/>
                  </a:lnTo>
                  <a:lnTo>
                    <a:pt x="101" y="506"/>
                  </a:lnTo>
                  <a:lnTo>
                    <a:pt x="100" y="504"/>
                  </a:lnTo>
                  <a:lnTo>
                    <a:pt x="98" y="506"/>
                  </a:lnTo>
                  <a:lnTo>
                    <a:pt x="97" y="506"/>
                  </a:lnTo>
                  <a:lnTo>
                    <a:pt x="96" y="508"/>
                  </a:lnTo>
                  <a:lnTo>
                    <a:pt x="94" y="508"/>
                  </a:lnTo>
                  <a:lnTo>
                    <a:pt x="91" y="509"/>
                  </a:lnTo>
                  <a:lnTo>
                    <a:pt x="89" y="508"/>
                  </a:lnTo>
                  <a:lnTo>
                    <a:pt x="86" y="509"/>
                  </a:lnTo>
                  <a:lnTo>
                    <a:pt x="86" y="508"/>
                  </a:lnTo>
                  <a:lnTo>
                    <a:pt x="85" y="508"/>
                  </a:lnTo>
                  <a:lnTo>
                    <a:pt x="84" y="509"/>
                  </a:lnTo>
                  <a:lnTo>
                    <a:pt x="82" y="509"/>
                  </a:lnTo>
                  <a:lnTo>
                    <a:pt x="80" y="510"/>
                  </a:lnTo>
                  <a:lnTo>
                    <a:pt x="77" y="509"/>
                  </a:lnTo>
                  <a:lnTo>
                    <a:pt x="73" y="510"/>
                  </a:lnTo>
                  <a:lnTo>
                    <a:pt x="73" y="508"/>
                  </a:lnTo>
                  <a:lnTo>
                    <a:pt x="72" y="506"/>
                  </a:lnTo>
                  <a:lnTo>
                    <a:pt x="71" y="506"/>
                  </a:lnTo>
                  <a:lnTo>
                    <a:pt x="71" y="504"/>
                  </a:lnTo>
                  <a:lnTo>
                    <a:pt x="69" y="504"/>
                  </a:lnTo>
                  <a:lnTo>
                    <a:pt x="68" y="504"/>
                  </a:lnTo>
                  <a:lnTo>
                    <a:pt x="68" y="503"/>
                  </a:lnTo>
                  <a:lnTo>
                    <a:pt x="67" y="503"/>
                  </a:lnTo>
                  <a:lnTo>
                    <a:pt x="66" y="503"/>
                  </a:lnTo>
                  <a:lnTo>
                    <a:pt x="66" y="500"/>
                  </a:lnTo>
                  <a:lnTo>
                    <a:pt x="66" y="499"/>
                  </a:lnTo>
                  <a:lnTo>
                    <a:pt x="65" y="499"/>
                  </a:lnTo>
                  <a:lnTo>
                    <a:pt x="63" y="499"/>
                  </a:lnTo>
                  <a:lnTo>
                    <a:pt x="63" y="498"/>
                  </a:lnTo>
                  <a:lnTo>
                    <a:pt x="62" y="498"/>
                  </a:lnTo>
                  <a:lnTo>
                    <a:pt x="61" y="499"/>
                  </a:lnTo>
                  <a:lnTo>
                    <a:pt x="61" y="498"/>
                  </a:lnTo>
                  <a:lnTo>
                    <a:pt x="60" y="498"/>
                  </a:lnTo>
                  <a:lnTo>
                    <a:pt x="59" y="498"/>
                  </a:lnTo>
                  <a:lnTo>
                    <a:pt x="57" y="499"/>
                  </a:lnTo>
                  <a:lnTo>
                    <a:pt x="55" y="498"/>
                  </a:lnTo>
                  <a:lnTo>
                    <a:pt x="56" y="498"/>
                  </a:lnTo>
                  <a:lnTo>
                    <a:pt x="53" y="497"/>
                  </a:lnTo>
                  <a:lnTo>
                    <a:pt x="54" y="496"/>
                  </a:lnTo>
                  <a:lnTo>
                    <a:pt x="51" y="492"/>
                  </a:lnTo>
                  <a:lnTo>
                    <a:pt x="50" y="491"/>
                  </a:lnTo>
                  <a:lnTo>
                    <a:pt x="49" y="491"/>
                  </a:lnTo>
                  <a:lnTo>
                    <a:pt x="48" y="491"/>
                  </a:lnTo>
                  <a:lnTo>
                    <a:pt x="47" y="492"/>
                  </a:lnTo>
                  <a:lnTo>
                    <a:pt x="44" y="491"/>
                  </a:lnTo>
                  <a:lnTo>
                    <a:pt x="43" y="491"/>
                  </a:lnTo>
                  <a:lnTo>
                    <a:pt x="42" y="491"/>
                  </a:lnTo>
                  <a:lnTo>
                    <a:pt x="41" y="489"/>
                  </a:lnTo>
                  <a:lnTo>
                    <a:pt x="38" y="488"/>
                  </a:lnTo>
                  <a:lnTo>
                    <a:pt x="37" y="487"/>
                  </a:lnTo>
                  <a:lnTo>
                    <a:pt x="36" y="486"/>
                  </a:lnTo>
                  <a:lnTo>
                    <a:pt x="37" y="486"/>
                  </a:lnTo>
                  <a:lnTo>
                    <a:pt x="35" y="485"/>
                  </a:lnTo>
                  <a:lnTo>
                    <a:pt x="33" y="485"/>
                  </a:lnTo>
                  <a:lnTo>
                    <a:pt x="32" y="483"/>
                  </a:lnTo>
                  <a:lnTo>
                    <a:pt x="35" y="483"/>
                  </a:lnTo>
                  <a:lnTo>
                    <a:pt x="35" y="480"/>
                  </a:lnTo>
                  <a:lnTo>
                    <a:pt x="37" y="482"/>
                  </a:lnTo>
                  <a:lnTo>
                    <a:pt x="37" y="481"/>
                  </a:lnTo>
                  <a:lnTo>
                    <a:pt x="38" y="480"/>
                  </a:lnTo>
                  <a:lnTo>
                    <a:pt x="38" y="477"/>
                  </a:lnTo>
                  <a:lnTo>
                    <a:pt x="37" y="475"/>
                  </a:lnTo>
                  <a:lnTo>
                    <a:pt x="35" y="474"/>
                  </a:lnTo>
                  <a:lnTo>
                    <a:pt x="33" y="473"/>
                  </a:lnTo>
                  <a:lnTo>
                    <a:pt x="35" y="471"/>
                  </a:lnTo>
                  <a:lnTo>
                    <a:pt x="37" y="471"/>
                  </a:lnTo>
                  <a:lnTo>
                    <a:pt x="41" y="470"/>
                  </a:lnTo>
                  <a:lnTo>
                    <a:pt x="42" y="469"/>
                  </a:lnTo>
                  <a:lnTo>
                    <a:pt x="37" y="469"/>
                  </a:lnTo>
                  <a:lnTo>
                    <a:pt x="35" y="470"/>
                  </a:lnTo>
                  <a:lnTo>
                    <a:pt x="32" y="471"/>
                  </a:lnTo>
                  <a:lnTo>
                    <a:pt x="31" y="475"/>
                  </a:lnTo>
                  <a:lnTo>
                    <a:pt x="30" y="475"/>
                  </a:lnTo>
                  <a:lnTo>
                    <a:pt x="30" y="476"/>
                  </a:lnTo>
                  <a:lnTo>
                    <a:pt x="27" y="479"/>
                  </a:lnTo>
                  <a:lnTo>
                    <a:pt x="26" y="479"/>
                  </a:lnTo>
                  <a:lnTo>
                    <a:pt x="24" y="479"/>
                  </a:lnTo>
                  <a:lnTo>
                    <a:pt x="20" y="477"/>
                  </a:lnTo>
                  <a:lnTo>
                    <a:pt x="20" y="479"/>
                  </a:lnTo>
                  <a:lnTo>
                    <a:pt x="19" y="479"/>
                  </a:lnTo>
                  <a:lnTo>
                    <a:pt x="16" y="477"/>
                  </a:lnTo>
                  <a:lnTo>
                    <a:pt x="16" y="479"/>
                  </a:lnTo>
                  <a:lnTo>
                    <a:pt x="14" y="476"/>
                  </a:lnTo>
                  <a:lnTo>
                    <a:pt x="12" y="476"/>
                  </a:lnTo>
                  <a:lnTo>
                    <a:pt x="13" y="475"/>
                  </a:lnTo>
                  <a:lnTo>
                    <a:pt x="12" y="474"/>
                  </a:lnTo>
                  <a:lnTo>
                    <a:pt x="10" y="473"/>
                  </a:lnTo>
                  <a:lnTo>
                    <a:pt x="10" y="471"/>
                  </a:lnTo>
                  <a:lnTo>
                    <a:pt x="8" y="470"/>
                  </a:lnTo>
                  <a:lnTo>
                    <a:pt x="9" y="470"/>
                  </a:lnTo>
                  <a:lnTo>
                    <a:pt x="8" y="467"/>
                  </a:lnTo>
                  <a:lnTo>
                    <a:pt x="6" y="464"/>
                  </a:lnTo>
                  <a:lnTo>
                    <a:pt x="3" y="463"/>
                  </a:lnTo>
                  <a:lnTo>
                    <a:pt x="3" y="461"/>
                  </a:lnTo>
                  <a:lnTo>
                    <a:pt x="3" y="459"/>
                  </a:lnTo>
                  <a:lnTo>
                    <a:pt x="4" y="458"/>
                  </a:lnTo>
                  <a:lnTo>
                    <a:pt x="3" y="457"/>
                  </a:lnTo>
                  <a:lnTo>
                    <a:pt x="2" y="456"/>
                  </a:lnTo>
                  <a:lnTo>
                    <a:pt x="0" y="452"/>
                  </a:lnTo>
                  <a:lnTo>
                    <a:pt x="0" y="451"/>
                  </a:lnTo>
                  <a:lnTo>
                    <a:pt x="0" y="450"/>
                  </a:lnTo>
                  <a:lnTo>
                    <a:pt x="1" y="450"/>
                  </a:lnTo>
                  <a:lnTo>
                    <a:pt x="3" y="449"/>
                  </a:lnTo>
                  <a:lnTo>
                    <a:pt x="6" y="451"/>
                  </a:lnTo>
                  <a:lnTo>
                    <a:pt x="6" y="452"/>
                  </a:lnTo>
                  <a:lnTo>
                    <a:pt x="8" y="453"/>
                  </a:lnTo>
                  <a:lnTo>
                    <a:pt x="8" y="455"/>
                  </a:lnTo>
                  <a:lnTo>
                    <a:pt x="9" y="45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9" name="Freeform 62"/>
            <p:cNvSpPr>
              <a:spLocks/>
            </p:cNvSpPr>
            <p:nvPr userDrawn="1"/>
          </p:nvSpPr>
          <p:spPr bwMode="auto">
            <a:xfrm>
              <a:off x="3551238" y="6235701"/>
              <a:ext cx="344488" cy="290513"/>
            </a:xfrm>
            <a:custGeom>
              <a:avLst/>
              <a:gdLst/>
              <a:ahLst/>
              <a:cxnLst>
                <a:cxn ang="0">
                  <a:pos x="359" y="802"/>
                </a:cxn>
                <a:cxn ang="0">
                  <a:pos x="313" y="812"/>
                </a:cxn>
                <a:cxn ang="0">
                  <a:pos x="287" y="782"/>
                </a:cxn>
                <a:cxn ang="0">
                  <a:pos x="235" y="795"/>
                </a:cxn>
                <a:cxn ang="0">
                  <a:pos x="249" y="769"/>
                </a:cxn>
                <a:cxn ang="0">
                  <a:pos x="120" y="806"/>
                </a:cxn>
                <a:cxn ang="0">
                  <a:pos x="140" y="771"/>
                </a:cxn>
                <a:cxn ang="0">
                  <a:pos x="95" y="757"/>
                </a:cxn>
                <a:cxn ang="0">
                  <a:pos x="75" y="677"/>
                </a:cxn>
                <a:cxn ang="0">
                  <a:pos x="17" y="613"/>
                </a:cxn>
                <a:cxn ang="0">
                  <a:pos x="82" y="626"/>
                </a:cxn>
                <a:cxn ang="0">
                  <a:pos x="123" y="594"/>
                </a:cxn>
                <a:cxn ang="0">
                  <a:pos x="218" y="557"/>
                </a:cxn>
                <a:cxn ang="0">
                  <a:pos x="173" y="539"/>
                </a:cxn>
                <a:cxn ang="0">
                  <a:pos x="90" y="540"/>
                </a:cxn>
                <a:cxn ang="0">
                  <a:pos x="112" y="480"/>
                </a:cxn>
                <a:cxn ang="0">
                  <a:pos x="137" y="379"/>
                </a:cxn>
                <a:cxn ang="0">
                  <a:pos x="181" y="367"/>
                </a:cxn>
                <a:cxn ang="0">
                  <a:pos x="205" y="331"/>
                </a:cxn>
                <a:cxn ang="0">
                  <a:pos x="257" y="277"/>
                </a:cxn>
                <a:cxn ang="0">
                  <a:pos x="259" y="239"/>
                </a:cxn>
                <a:cxn ang="0">
                  <a:pos x="165" y="231"/>
                </a:cxn>
                <a:cxn ang="0">
                  <a:pos x="165" y="183"/>
                </a:cxn>
                <a:cxn ang="0">
                  <a:pos x="181" y="126"/>
                </a:cxn>
                <a:cxn ang="0">
                  <a:pos x="225" y="107"/>
                </a:cxn>
                <a:cxn ang="0">
                  <a:pos x="276" y="40"/>
                </a:cxn>
                <a:cxn ang="0">
                  <a:pos x="359" y="14"/>
                </a:cxn>
                <a:cxn ang="0">
                  <a:pos x="460" y="24"/>
                </a:cxn>
                <a:cxn ang="0">
                  <a:pos x="488" y="90"/>
                </a:cxn>
                <a:cxn ang="0">
                  <a:pos x="538" y="87"/>
                </a:cxn>
                <a:cxn ang="0">
                  <a:pos x="554" y="121"/>
                </a:cxn>
                <a:cxn ang="0">
                  <a:pos x="638" y="109"/>
                </a:cxn>
                <a:cxn ang="0">
                  <a:pos x="721" y="124"/>
                </a:cxn>
                <a:cxn ang="0">
                  <a:pos x="821" y="147"/>
                </a:cxn>
                <a:cxn ang="0">
                  <a:pos x="891" y="162"/>
                </a:cxn>
                <a:cxn ang="0">
                  <a:pos x="860" y="198"/>
                </a:cxn>
                <a:cxn ang="0">
                  <a:pos x="883" y="256"/>
                </a:cxn>
                <a:cxn ang="0">
                  <a:pos x="838" y="271"/>
                </a:cxn>
                <a:cxn ang="0">
                  <a:pos x="832" y="293"/>
                </a:cxn>
                <a:cxn ang="0">
                  <a:pos x="902" y="355"/>
                </a:cxn>
                <a:cxn ang="0">
                  <a:pos x="962" y="370"/>
                </a:cxn>
                <a:cxn ang="0">
                  <a:pos x="943" y="424"/>
                </a:cxn>
                <a:cxn ang="0">
                  <a:pos x="1003" y="444"/>
                </a:cxn>
                <a:cxn ang="0">
                  <a:pos x="1055" y="448"/>
                </a:cxn>
                <a:cxn ang="0">
                  <a:pos x="1068" y="521"/>
                </a:cxn>
                <a:cxn ang="0">
                  <a:pos x="1058" y="522"/>
                </a:cxn>
                <a:cxn ang="0">
                  <a:pos x="1080" y="578"/>
                </a:cxn>
                <a:cxn ang="0">
                  <a:pos x="1078" y="624"/>
                </a:cxn>
                <a:cxn ang="0">
                  <a:pos x="973" y="638"/>
                </a:cxn>
                <a:cxn ang="0">
                  <a:pos x="926" y="664"/>
                </a:cxn>
                <a:cxn ang="0">
                  <a:pos x="915" y="695"/>
                </a:cxn>
                <a:cxn ang="0">
                  <a:pos x="952" y="745"/>
                </a:cxn>
                <a:cxn ang="0">
                  <a:pos x="902" y="782"/>
                </a:cxn>
                <a:cxn ang="0">
                  <a:pos x="856" y="757"/>
                </a:cxn>
                <a:cxn ang="0">
                  <a:pos x="778" y="759"/>
                </a:cxn>
                <a:cxn ang="0">
                  <a:pos x="759" y="780"/>
                </a:cxn>
                <a:cxn ang="0">
                  <a:pos x="718" y="780"/>
                </a:cxn>
                <a:cxn ang="0">
                  <a:pos x="769" y="819"/>
                </a:cxn>
                <a:cxn ang="0">
                  <a:pos x="707" y="840"/>
                </a:cxn>
                <a:cxn ang="0">
                  <a:pos x="654" y="842"/>
                </a:cxn>
                <a:cxn ang="0">
                  <a:pos x="618" y="804"/>
                </a:cxn>
                <a:cxn ang="0">
                  <a:pos x="552" y="840"/>
                </a:cxn>
                <a:cxn ang="0">
                  <a:pos x="539" y="786"/>
                </a:cxn>
              </a:cxnLst>
              <a:rect l="0" t="0" r="r" b="b"/>
              <a:pathLst>
                <a:path w="1086" h="917">
                  <a:moveTo>
                    <a:pt x="511" y="917"/>
                  </a:moveTo>
                  <a:lnTo>
                    <a:pt x="354" y="917"/>
                  </a:lnTo>
                  <a:lnTo>
                    <a:pt x="358" y="911"/>
                  </a:lnTo>
                  <a:lnTo>
                    <a:pt x="361" y="898"/>
                  </a:lnTo>
                  <a:lnTo>
                    <a:pt x="362" y="889"/>
                  </a:lnTo>
                  <a:lnTo>
                    <a:pt x="365" y="884"/>
                  </a:lnTo>
                  <a:lnTo>
                    <a:pt x="367" y="879"/>
                  </a:lnTo>
                  <a:lnTo>
                    <a:pt x="372" y="872"/>
                  </a:lnTo>
                  <a:lnTo>
                    <a:pt x="375" y="863"/>
                  </a:lnTo>
                  <a:lnTo>
                    <a:pt x="372" y="849"/>
                  </a:lnTo>
                  <a:lnTo>
                    <a:pt x="375" y="838"/>
                  </a:lnTo>
                  <a:lnTo>
                    <a:pt x="379" y="832"/>
                  </a:lnTo>
                  <a:lnTo>
                    <a:pt x="382" y="826"/>
                  </a:lnTo>
                  <a:lnTo>
                    <a:pt x="383" y="815"/>
                  </a:lnTo>
                  <a:lnTo>
                    <a:pt x="384" y="808"/>
                  </a:lnTo>
                  <a:lnTo>
                    <a:pt x="383" y="806"/>
                  </a:lnTo>
                  <a:lnTo>
                    <a:pt x="381" y="806"/>
                  </a:lnTo>
                  <a:lnTo>
                    <a:pt x="375" y="813"/>
                  </a:lnTo>
                  <a:lnTo>
                    <a:pt x="370" y="813"/>
                  </a:lnTo>
                  <a:lnTo>
                    <a:pt x="369" y="812"/>
                  </a:lnTo>
                  <a:lnTo>
                    <a:pt x="365" y="812"/>
                  </a:lnTo>
                  <a:lnTo>
                    <a:pt x="358" y="813"/>
                  </a:lnTo>
                  <a:lnTo>
                    <a:pt x="356" y="809"/>
                  </a:lnTo>
                  <a:lnTo>
                    <a:pt x="359" y="802"/>
                  </a:lnTo>
                  <a:lnTo>
                    <a:pt x="359" y="800"/>
                  </a:lnTo>
                  <a:lnTo>
                    <a:pt x="356" y="801"/>
                  </a:lnTo>
                  <a:lnTo>
                    <a:pt x="353" y="800"/>
                  </a:lnTo>
                  <a:lnTo>
                    <a:pt x="350" y="798"/>
                  </a:lnTo>
                  <a:lnTo>
                    <a:pt x="350" y="796"/>
                  </a:lnTo>
                  <a:lnTo>
                    <a:pt x="349" y="790"/>
                  </a:lnTo>
                  <a:lnTo>
                    <a:pt x="348" y="789"/>
                  </a:lnTo>
                  <a:lnTo>
                    <a:pt x="348" y="792"/>
                  </a:lnTo>
                  <a:lnTo>
                    <a:pt x="349" y="798"/>
                  </a:lnTo>
                  <a:lnTo>
                    <a:pt x="347" y="800"/>
                  </a:lnTo>
                  <a:lnTo>
                    <a:pt x="346" y="798"/>
                  </a:lnTo>
                  <a:lnTo>
                    <a:pt x="343" y="800"/>
                  </a:lnTo>
                  <a:lnTo>
                    <a:pt x="336" y="800"/>
                  </a:lnTo>
                  <a:lnTo>
                    <a:pt x="334" y="801"/>
                  </a:lnTo>
                  <a:lnTo>
                    <a:pt x="331" y="802"/>
                  </a:lnTo>
                  <a:lnTo>
                    <a:pt x="330" y="804"/>
                  </a:lnTo>
                  <a:lnTo>
                    <a:pt x="331" y="807"/>
                  </a:lnTo>
                  <a:lnTo>
                    <a:pt x="331" y="809"/>
                  </a:lnTo>
                  <a:lnTo>
                    <a:pt x="328" y="809"/>
                  </a:lnTo>
                  <a:lnTo>
                    <a:pt x="325" y="808"/>
                  </a:lnTo>
                  <a:lnTo>
                    <a:pt x="324" y="812"/>
                  </a:lnTo>
                  <a:lnTo>
                    <a:pt x="320" y="809"/>
                  </a:lnTo>
                  <a:lnTo>
                    <a:pt x="317" y="810"/>
                  </a:lnTo>
                  <a:lnTo>
                    <a:pt x="313" y="812"/>
                  </a:lnTo>
                  <a:lnTo>
                    <a:pt x="316" y="813"/>
                  </a:lnTo>
                  <a:lnTo>
                    <a:pt x="311" y="814"/>
                  </a:lnTo>
                  <a:lnTo>
                    <a:pt x="302" y="813"/>
                  </a:lnTo>
                  <a:lnTo>
                    <a:pt x="297" y="812"/>
                  </a:lnTo>
                  <a:lnTo>
                    <a:pt x="294" y="809"/>
                  </a:lnTo>
                  <a:lnTo>
                    <a:pt x="291" y="806"/>
                  </a:lnTo>
                  <a:lnTo>
                    <a:pt x="289" y="802"/>
                  </a:lnTo>
                  <a:lnTo>
                    <a:pt x="289" y="798"/>
                  </a:lnTo>
                  <a:lnTo>
                    <a:pt x="289" y="796"/>
                  </a:lnTo>
                  <a:lnTo>
                    <a:pt x="291" y="795"/>
                  </a:lnTo>
                  <a:lnTo>
                    <a:pt x="297" y="794"/>
                  </a:lnTo>
                  <a:lnTo>
                    <a:pt x="299" y="791"/>
                  </a:lnTo>
                  <a:lnTo>
                    <a:pt x="297" y="786"/>
                  </a:lnTo>
                  <a:lnTo>
                    <a:pt x="299" y="785"/>
                  </a:lnTo>
                  <a:lnTo>
                    <a:pt x="305" y="783"/>
                  </a:lnTo>
                  <a:lnTo>
                    <a:pt x="308" y="780"/>
                  </a:lnTo>
                  <a:lnTo>
                    <a:pt x="308" y="778"/>
                  </a:lnTo>
                  <a:lnTo>
                    <a:pt x="307" y="774"/>
                  </a:lnTo>
                  <a:lnTo>
                    <a:pt x="303" y="772"/>
                  </a:lnTo>
                  <a:lnTo>
                    <a:pt x="300" y="771"/>
                  </a:lnTo>
                  <a:lnTo>
                    <a:pt x="297" y="773"/>
                  </a:lnTo>
                  <a:lnTo>
                    <a:pt x="293" y="777"/>
                  </a:lnTo>
                  <a:lnTo>
                    <a:pt x="289" y="779"/>
                  </a:lnTo>
                  <a:lnTo>
                    <a:pt x="287" y="782"/>
                  </a:lnTo>
                  <a:lnTo>
                    <a:pt x="284" y="786"/>
                  </a:lnTo>
                  <a:lnTo>
                    <a:pt x="281" y="786"/>
                  </a:lnTo>
                  <a:lnTo>
                    <a:pt x="277" y="783"/>
                  </a:lnTo>
                  <a:lnTo>
                    <a:pt x="276" y="783"/>
                  </a:lnTo>
                  <a:lnTo>
                    <a:pt x="275" y="786"/>
                  </a:lnTo>
                  <a:lnTo>
                    <a:pt x="273" y="796"/>
                  </a:lnTo>
                  <a:lnTo>
                    <a:pt x="272" y="797"/>
                  </a:lnTo>
                  <a:lnTo>
                    <a:pt x="271" y="798"/>
                  </a:lnTo>
                  <a:lnTo>
                    <a:pt x="264" y="798"/>
                  </a:lnTo>
                  <a:lnTo>
                    <a:pt x="264" y="802"/>
                  </a:lnTo>
                  <a:lnTo>
                    <a:pt x="263" y="803"/>
                  </a:lnTo>
                  <a:lnTo>
                    <a:pt x="261" y="804"/>
                  </a:lnTo>
                  <a:lnTo>
                    <a:pt x="255" y="806"/>
                  </a:lnTo>
                  <a:lnTo>
                    <a:pt x="254" y="806"/>
                  </a:lnTo>
                  <a:lnTo>
                    <a:pt x="252" y="803"/>
                  </a:lnTo>
                  <a:lnTo>
                    <a:pt x="248" y="801"/>
                  </a:lnTo>
                  <a:lnTo>
                    <a:pt x="249" y="797"/>
                  </a:lnTo>
                  <a:lnTo>
                    <a:pt x="255" y="788"/>
                  </a:lnTo>
                  <a:lnTo>
                    <a:pt x="254" y="785"/>
                  </a:lnTo>
                  <a:lnTo>
                    <a:pt x="251" y="785"/>
                  </a:lnTo>
                  <a:lnTo>
                    <a:pt x="243" y="791"/>
                  </a:lnTo>
                  <a:lnTo>
                    <a:pt x="238" y="794"/>
                  </a:lnTo>
                  <a:lnTo>
                    <a:pt x="241" y="795"/>
                  </a:lnTo>
                  <a:lnTo>
                    <a:pt x="235" y="795"/>
                  </a:lnTo>
                  <a:lnTo>
                    <a:pt x="226" y="795"/>
                  </a:lnTo>
                  <a:lnTo>
                    <a:pt x="220" y="790"/>
                  </a:lnTo>
                  <a:lnTo>
                    <a:pt x="211" y="785"/>
                  </a:lnTo>
                  <a:lnTo>
                    <a:pt x="208" y="783"/>
                  </a:lnTo>
                  <a:lnTo>
                    <a:pt x="207" y="782"/>
                  </a:lnTo>
                  <a:lnTo>
                    <a:pt x="210" y="780"/>
                  </a:lnTo>
                  <a:lnTo>
                    <a:pt x="211" y="780"/>
                  </a:lnTo>
                  <a:lnTo>
                    <a:pt x="212" y="778"/>
                  </a:lnTo>
                  <a:lnTo>
                    <a:pt x="213" y="772"/>
                  </a:lnTo>
                  <a:lnTo>
                    <a:pt x="216" y="771"/>
                  </a:lnTo>
                  <a:lnTo>
                    <a:pt x="216" y="768"/>
                  </a:lnTo>
                  <a:lnTo>
                    <a:pt x="218" y="769"/>
                  </a:lnTo>
                  <a:lnTo>
                    <a:pt x="222" y="773"/>
                  </a:lnTo>
                  <a:lnTo>
                    <a:pt x="223" y="774"/>
                  </a:lnTo>
                  <a:lnTo>
                    <a:pt x="225" y="774"/>
                  </a:lnTo>
                  <a:lnTo>
                    <a:pt x="225" y="772"/>
                  </a:lnTo>
                  <a:lnTo>
                    <a:pt x="228" y="771"/>
                  </a:lnTo>
                  <a:lnTo>
                    <a:pt x="231" y="771"/>
                  </a:lnTo>
                  <a:lnTo>
                    <a:pt x="235" y="772"/>
                  </a:lnTo>
                  <a:lnTo>
                    <a:pt x="236" y="772"/>
                  </a:lnTo>
                  <a:lnTo>
                    <a:pt x="240" y="771"/>
                  </a:lnTo>
                  <a:lnTo>
                    <a:pt x="242" y="769"/>
                  </a:lnTo>
                  <a:lnTo>
                    <a:pt x="244" y="768"/>
                  </a:lnTo>
                  <a:lnTo>
                    <a:pt x="249" y="769"/>
                  </a:lnTo>
                  <a:lnTo>
                    <a:pt x="249" y="766"/>
                  </a:lnTo>
                  <a:lnTo>
                    <a:pt x="246" y="760"/>
                  </a:lnTo>
                  <a:lnTo>
                    <a:pt x="242" y="757"/>
                  </a:lnTo>
                  <a:lnTo>
                    <a:pt x="236" y="762"/>
                  </a:lnTo>
                  <a:lnTo>
                    <a:pt x="232" y="765"/>
                  </a:lnTo>
                  <a:lnTo>
                    <a:pt x="228" y="766"/>
                  </a:lnTo>
                  <a:lnTo>
                    <a:pt x="210" y="766"/>
                  </a:lnTo>
                  <a:lnTo>
                    <a:pt x="195" y="766"/>
                  </a:lnTo>
                  <a:lnTo>
                    <a:pt x="188" y="765"/>
                  </a:lnTo>
                  <a:lnTo>
                    <a:pt x="184" y="765"/>
                  </a:lnTo>
                  <a:lnTo>
                    <a:pt x="184" y="767"/>
                  </a:lnTo>
                  <a:lnTo>
                    <a:pt x="188" y="774"/>
                  </a:lnTo>
                  <a:lnTo>
                    <a:pt x="189" y="778"/>
                  </a:lnTo>
                  <a:lnTo>
                    <a:pt x="188" y="780"/>
                  </a:lnTo>
                  <a:lnTo>
                    <a:pt x="177" y="784"/>
                  </a:lnTo>
                  <a:lnTo>
                    <a:pt x="176" y="783"/>
                  </a:lnTo>
                  <a:lnTo>
                    <a:pt x="171" y="782"/>
                  </a:lnTo>
                  <a:lnTo>
                    <a:pt x="165" y="783"/>
                  </a:lnTo>
                  <a:lnTo>
                    <a:pt x="160" y="782"/>
                  </a:lnTo>
                  <a:lnTo>
                    <a:pt x="157" y="776"/>
                  </a:lnTo>
                  <a:lnTo>
                    <a:pt x="151" y="779"/>
                  </a:lnTo>
                  <a:lnTo>
                    <a:pt x="143" y="785"/>
                  </a:lnTo>
                  <a:lnTo>
                    <a:pt x="135" y="794"/>
                  </a:lnTo>
                  <a:lnTo>
                    <a:pt x="120" y="806"/>
                  </a:lnTo>
                  <a:lnTo>
                    <a:pt x="113" y="809"/>
                  </a:lnTo>
                  <a:lnTo>
                    <a:pt x="107" y="810"/>
                  </a:lnTo>
                  <a:lnTo>
                    <a:pt x="102" y="810"/>
                  </a:lnTo>
                  <a:lnTo>
                    <a:pt x="110" y="809"/>
                  </a:lnTo>
                  <a:lnTo>
                    <a:pt x="117" y="806"/>
                  </a:lnTo>
                  <a:lnTo>
                    <a:pt x="125" y="800"/>
                  </a:lnTo>
                  <a:lnTo>
                    <a:pt x="137" y="789"/>
                  </a:lnTo>
                  <a:lnTo>
                    <a:pt x="140" y="785"/>
                  </a:lnTo>
                  <a:lnTo>
                    <a:pt x="113" y="798"/>
                  </a:lnTo>
                  <a:lnTo>
                    <a:pt x="96" y="806"/>
                  </a:lnTo>
                  <a:lnTo>
                    <a:pt x="125" y="791"/>
                  </a:lnTo>
                  <a:lnTo>
                    <a:pt x="143" y="779"/>
                  </a:lnTo>
                  <a:lnTo>
                    <a:pt x="145" y="778"/>
                  </a:lnTo>
                  <a:lnTo>
                    <a:pt x="140" y="774"/>
                  </a:lnTo>
                  <a:lnTo>
                    <a:pt x="134" y="769"/>
                  </a:lnTo>
                  <a:lnTo>
                    <a:pt x="131" y="769"/>
                  </a:lnTo>
                  <a:lnTo>
                    <a:pt x="125" y="774"/>
                  </a:lnTo>
                  <a:lnTo>
                    <a:pt x="114" y="784"/>
                  </a:lnTo>
                  <a:lnTo>
                    <a:pt x="111" y="785"/>
                  </a:lnTo>
                  <a:lnTo>
                    <a:pt x="116" y="782"/>
                  </a:lnTo>
                  <a:lnTo>
                    <a:pt x="123" y="776"/>
                  </a:lnTo>
                  <a:lnTo>
                    <a:pt x="129" y="767"/>
                  </a:lnTo>
                  <a:lnTo>
                    <a:pt x="134" y="767"/>
                  </a:lnTo>
                  <a:lnTo>
                    <a:pt x="140" y="771"/>
                  </a:lnTo>
                  <a:lnTo>
                    <a:pt x="147" y="777"/>
                  </a:lnTo>
                  <a:lnTo>
                    <a:pt x="151" y="777"/>
                  </a:lnTo>
                  <a:lnTo>
                    <a:pt x="153" y="773"/>
                  </a:lnTo>
                  <a:lnTo>
                    <a:pt x="155" y="771"/>
                  </a:lnTo>
                  <a:lnTo>
                    <a:pt x="153" y="768"/>
                  </a:lnTo>
                  <a:lnTo>
                    <a:pt x="151" y="765"/>
                  </a:lnTo>
                  <a:lnTo>
                    <a:pt x="147" y="762"/>
                  </a:lnTo>
                  <a:lnTo>
                    <a:pt x="141" y="762"/>
                  </a:lnTo>
                  <a:lnTo>
                    <a:pt x="134" y="761"/>
                  </a:lnTo>
                  <a:lnTo>
                    <a:pt x="127" y="762"/>
                  </a:lnTo>
                  <a:lnTo>
                    <a:pt x="122" y="765"/>
                  </a:lnTo>
                  <a:lnTo>
                    <a:pt x="119" y="769"/>
                  </a:lnTo>
                  <a:lnTo>
                    <a:pt x="118" y="772"/>
                  </a:lnTo>
                  <a:lnTo>
                    <a:pt x="116" y="774"/>
                  </a:lnTo>
                  <a:lnTo>
                    <a:pt x="112" y="776"/>
                  </a:lnTo>
                  <a:lnTo>
                    <a:pt x="111" y="773"/>
                  </a:lnTo>
                  <a:lnTo>
                    <a:pt x="108" y="767"/>
                  </a:lnTo>
                  <a:lnTo>
                    <a:pt x="111" y="763"/>
                  </a:lnTo>
                  <a:lnTo>
                    <a:pt x="111" y="762"/>
                  </a:lnTo>
                  <a:lnTo>
                    <a:pt x="107" y="762"/>
                  </a:lnTo>
                  <a:lnTo>
                    <a:pt x="100" y="767"/>
                  </a:lnTo>
                  <a:lnTo>
                    <a:pt x="98" y="767"/>
                  </a:lnTo>
                  <a:lnTo>
                    <a:pt x="98" y="763"/>
                  </a:lnTo>
                  <a:lnTo>
                    <a:pt x="95" y="757"/>
                  </a:lnTo>
                  <a:lnTo>
                    <a:pt x="96" y="753"/>
                  </a:lnTo>
                  <a:lnTo>
                    <a:pt x="101" y="747"/>
                  </a:lnTo>
                  <a:lnTo>
                    <a:pt x="102" y="745"/>
                  </a:lnTo>
                  <a:lnTo>
                    <a:pt x="101" y="743"/>
                  </a:lnTo>
                  <a:lnTo>
                    <a:pt x="96" y="738"/>
                  </a:lnTo>
                  <a:lnTo>
                    <a:pt x="95" y="733"/>
                  </a:lnTo>
                  <a:lnTo>
                    <a:pt x="93" y="730"/>
                  </a:lnTo>
                  <a:lnTo>
                    <a:pt x="93" y="725"/>
                  </a:lnTo>
                  <a:lnTo>
                    <a:pt x="99" y="719"/>
                  </a:lnTo>
                  <a:lnTo>
                    <a:pt x="101" y="717"/>
                  </a:lnTo>
                  <a:lnTo>
                    <a:pt x="102" y="715"/>
                  </a:lnTo>
                  <a:lnTo>
                    <a:pt x="96" y="712"/>
                  </a:lnTo>
                  <a:lnTo>
                    <a:pt x="95" y="711"/>
                  </a:lnTo>
                  <a:lnTo>
                    <a:pt x="98" y="707"/>
                  </a:lnTo>
                  <a:lnTo>
                    <a:pt x="105" y="703"/>
                  </a:lnTo>
                  <a:lnTo>
                    <a:pt x="107" y="701"/>
                  </a:lnTo>
                  <a:lnTo>
                    <a:pt x="108" y="699"/>
                  </a:lnTo>
                  <a:lnTo>
                    <a:pt x="110" y="690"/>
                  </a:lnTo>
                  <a:lnTo>
                    <a:pt x="111" y="685"/>
                  </a:lnTo>
                  <a:lnTo>
                    <a:pt x="113" y="679"/>
                  </a:lnTo>
                  <a:lnTo>
                    <a:pt x="93" y="681"/>
                  </a:lnTo>
                  <a:lnTo>
                    <a:pt x="84" y="682"/>
                  </a:lnTo>
                  <a:lnTo>
                    <a:pt x="80" y="681"/>
                  </a:lnTo>
                  <a:lnTo>
                    <a:pt x="75" y="677"/>
                  </a:lnTo>
                  <a:lnTo>
                    <a:pt x="74" y="676"/>
                  </a:lnTo>
                  <a:lnTo>
                    <a:pt x="70" y="677"/>
                  </a:lnTo>
                  <a:lnTo>
                    <a:pt x="68" y="682"/>
                  </a:lnTo>
                  <a:lnTo>
                    <a:pt x="60" y="681"/>
                  </a:lnTo>
                  <a:lnTo>
                    <a:pt x="51" y="677"/>
                  </a:lnTo>
                  <a:lnTo>
                    <a:pt x="45" y="677"/>
                  </a:lnTo>
                  <a:lnTo>
                    <a:pt x="39" y="678"/>
                  </a:lnTo>
                  <a:lnTo>
                    <a:pt x="34" y="676"/>
                  </a:lnTo>
                  <a:lnTo>
                    <a:pt x="25" y="669"/>
                  </a:lnTo>
                  <a:lnTo>
                    <a:pt x="21" y="660"/>
                  </a:lnTo>
                  <a:lnTo>
                    <a:pt x="16" y="656"/>
                  </a:lnTo>
                  <a:lnTo>
                    <a:pt x="15" y="654"/>
                  </a:lnTo>
                  <a:lnTo>
                    <a:pt x="15" y="652"/>
                  </a:lnTo>
                  <a:lnTo>
                    <a:pt x="17" y="643"/>
                  </a:lnTo>
                  <a:lnTo>
                    <a:pt x="16" y="646"/>
                  </a:lnTo>
                  <a:lnTo>
                    <a:pt x="11" y="640"/>
                  </a:lnTo>
                  <a:lnTo>
                    <a:pt x="4" y="624"/>
                  </a:lnTo>
                  <a:lnTo>
                    <a:pt x="0" y="617"/>
                  </a:lnTo>
                  <a:lnTo>
                    <a:pt x="0" y="614"/>
                  </a:lnTo>
                  <a:lnTo>
                    <a:pt x="4" y="614"/>
                  </a:lnTo>
                  <a:lnTo>
                    <a:pt x="9" y="613"/>
                  </a:lnTo>
                  <a:lnTo>
                    <a:pt x="11" y="611"/>
                  </a:lnTo>
                  <a:lnTo>
                    <a:pt x="13" y="611"/>
                  </a:lnTo>
                  <a:lnTo>
                    <a:pt x="17" y="613"/>
                  </a:lnTo>
                  <a:lnTo>
                    <a:pt x="21" y="619"/>
                  </a:lnTo>
                  <a:lnTo>
                    <a:pt x="25" y="622"/>
                  </a:lnTo>
                  <a:lnTo>
                    <a:pt x="30" y="624"/>
                  </a:lnTo>
                  <a:lnTo>
                    <a:pt x="31" y="626"/>
                  </a:lnTo>
                  <a:lnTo>
                    <a:pt x="35" y="636"/>
                  </a:lnTo>
                  <a:lnTo>
                    <a:pt x="35" y="638"/>
                  </a:lnTo>
                  <a:lnTo>
                    <a:pt x="37" y="637"/>
                  </a:lnTo>
                  <a:lnTo>
                    <a:pt x="40" y="634"/>
                  </a:lnTo>
                  <a:lnTo>
                    <a:pt x="42" y="629"/>
                  </a:lnTo>
                  <a:lnTo>
                    <a:pt x="46" y="628"/>
                  </a:lnTo>
                  <a:lnTo>
                    <a:pt x="51" y="629"/>
                  </a:lnTo>
                  <a:lnTo>
                    <a:pt x="55" y="629"/>
                  </a:lnTo>
                  <a:lnTo>
                    <a:pt x="61" y="626"/>
                  </a:lnTo>
                  <a:lnTo>
                    <a:pt x="59" y="625"/>
                  </a:lnTo>
                  <a:lnTo>
                    <a:pt x="57" y="622"/>
                  </a:lnTo>
                  <a:lnTo>
                    <a:pt x="53" y="618"/>
                  </a:lnTo>
                  <a:lnTo>
                    <a:pt x="54" y="614"/>
                  </a:lnTo>
                  <a:lnTo>
                    <a:pt x="60" y="612"/>
                  </a:lnTo>
                  <a:lnTo>
                    <a:pt x="66" y="611"/>
                  </a:lnTo>
                  <a:lnTo>
                    <a:pt x="70" y="613"/>
                  </a:lnTo>
                  <a:lnTo>
                    <a:pt x="70" y="620"/>
                  </a:lnTo>
                  <a:lnTo>
                    <a:pt x="78" y="624"/>
                  </a:lnTo>
                  <a:lnTo>
                    <a:pt x="76" y="625"/>
                  </a:lnTo>
                  <a:lnTo>
                    <a:pt x="82" y="626"/>
                  </a:lnTo>
                  <a:lnTo>
                    <a:pt x="92" y="630"/>
                  </a:lnTo>
                  <a:lnTo>
                    <a:pt x="94" y="631"/>
                  </a:lnTo>
                  <a:lnTo>
                    <a:pt x="95" y="629"/>
                  </a:lnTo>
                  <a:lnTo>
                    <a:pt x="96" y="624"/>
                  </a:lnTo>
                  <a:lnTo>
                    <a:pt x="102" y="626"/>
                  </a:lnTo>
                  <a:lnTo>
                    <a:pt x="116" y="634"/>
                  </a:lnTo>
                  <a:lnTo>
                    <a:pt x="118" y="635"/>
                  </a:lnTo>
                  <a:lnTo>
                    <a:pt x="120" y="632"/>
                  </a:lnTo>
                  <a:lnTo>
                    <a:pt x="123" y="628"/>
                  </a:lnTo>
                  <a:lnTo>
                    <a:pt x="125" y="626"/>
                  </a:lnTo>
                  <a:lnTo>
                    <a:pt x="127" y="628"/>
                  </a:lnTo>
                  <a:lnTo>
                    <a:pt x="131" y="628"/>
                  </a:lnTo>
                  <a:lnTo>
                    <a:pt x="140" y="625"/>
                  </a:lnTo>
                  <a:lnTo>
                    <a:pt x="147" y="625"/>
                  </a:lnTo>
                  <a:lnTo>
                    <a:pt x="149" y="624"/>
                  </a:lnTo>
                  <a:lnTo>
                    <a:pt x="146" y="622"/>
                  </a:lnTo>
                  <a:lnTo>
                    <a:pt x="136" y="614"/>
                  </a:lnTo>
                  <a:lnTo>
                    <a:pt x="135" y="610"/>
                  </a:lnTo>
                  <a:lnTo>
                    <a:pt x="133" y="607"/>
                  </a:lnTo>
                  <a:lnTo>
                    <a:pt x="129" y="607"/>
                  </a:lnTo>
                  <a:lnTo>
                    <a:pt x="127" y="605"/>
                  </a:lnTo>
                  <a:lnTo>
                    <a:pt x="124" y="601"/>
                  </a:lnTo>
                  <a:lnTo>
                    <a:pt x="122" y="599"/>
                  </a:lnTo>
                  <a:lnTo>
                    <a:pt x="123" y="594"/>
                  </a:lnTo>
                  <a:lnTo>
                    <a:pt x="129" y="590"/>
                  </a:lnTo>
                  <a:lnTo>
                    <a:pt x="130" y="587"/>
                  </a:lnTo>
                  <a:lnTo>
                    <a:pt x="133" y="583"/>
                  </a:lnTo>
                  <a:lnTo>
                    <a:pt x="139" y="582"/>
                  </a:lnTo>
                  <a:lnTo>
                    <a:pt x="145" y="578"/>
                  </a:lnTo>
                  <a:lnTo>
                    <a:pt x="152" y="572"/>
                  </a:lnTo>
                  <a:lnTo>
                    <a:pt x="157" y="568"/>
                  </a:lnTo>
                  <a:lnTo>
                    <a:pt x="159" y="566"/>
                  </a:lnTo>
                  <a:lnTo>
                    <a:pt x="159" y="564"/>
                  </a:lnTo>
                  <a:lnTo>
                    <a:pt x="160" y="562"/>
                  </a:lnTo>
                  <a:lnTo>
                    <a:pt x="163" y="562"/>
                  </a:lnTo>
                  <a:lnTo>
                    <a:pt x="173" y="568"/>
                  </a:lnTo>
                  <a:lnTo>
                    <a:pt x="183" y="564"/>
                  </a:lnTo>
                  <a:lnTo>
                    <a:pt x="188" y="563"/>
                  </a:lnTo>
                  <a:lnTo>
                    <a:pt x="192" y="560"/>
                  </a:lnTo>
                  <a:lnTo>
                    <a:pt x="196" y="554"/>
                  </a:lnTo>
                  <a:lnTo>
                    <a:pt x="201" y="552"/>
                  </a:lnTo>
                  <a:lnTo>
                    <a:pt x="202" y="551"/>
                  </a:lnTo>
                  <a:lnTo>
                    <a:pt x="204" y="547"/>
                  </a:lnTo>
                  <a:lnTo>
                    <a:pt x="205" y="547"/>
                  </a:lnTo>
                  <a:lnTo>
                    <a:pt x="206" y="551"/>
                  </a:lnTo>
                  <a:lnTo>
                    <a:pt x="211" y="558"/>
                  </a:lnTo>
                  <a:lnTo>
                    <a:pt x="216" y="558"/>
                  </a:lnTo>
                  <a:lnTo>
                    <a:pt x="218" y="557"/>
                  </a:lnTo>
                  <a:lnTo>
                    <a:pt x="220" y="554"/>
                  </a:lnTo>
                  <a:lnTo>
                    <a:pt x="224" y="549"/>
                  </a:lnTo>
                  <a:lnTo>
                    <a:pt x="226" y="547"/>
                  </a:lnTo>
                  <a:lnTo>
                    <a:pt x="226" y="542"/>
                  </a:lnTo>
                  <a:lnTo>
                    <a:pt x="226" y="540"/>
                  </a:lnTo>
                  <a:lnTo>
                    <a:pt x="223" y="537"/>
                  </a:lnTo>
                  <a:lnTo>
                    <a:pt x="219" y="539"/>
                  </a:lnTo>
                  <a:lnTo>
                    <a:pt x="216" y="543"/>
                  </a:lnTo>
                  <a:lnTo>
                    <a:pt x="214" y="543"/>
                  </a:lnTo>
                  <a:lnTo>
                    <a:pt x="212" y="541"/>
                  </a:lnTo>
                  <a:lnTo>
                    <a:pt x="210" y="537"/>
                  </a:lnTo>
                  <a:lnTo>
                    <a:pt x="208" y="535"/>
                  </a:lnTo>
                  <a:lnTo>
                    <a:pt x="206" y="534"/>
                  </a:lnTo>
                  <a:lnTo>
                    <a:pt x="201" y="535"/>
                  </a:lnTo>
                  <a:lnTo>
                    <a:pt x="199" y="539"/>
                  </a:lnTo>
                  <a:lnTo>
                    <a:pt x="199" y="542"/>
                  </a:lnTo>
                  <a:lnTo>
                    <a:pt x="196" y="543"/>
                  </a:lnTo>
                  <a:lnTo>
                    <a:pt x="193" y="541"/>
                  </a:lnTo>
                  <a:lnTo>
                    <a:pt x="185" y="537"/>
                  </a:lnTo>
                  <a:lnTo>
                    <a:pt x="179" y="535"/>
                  </a:lnTo>
                  <a:lnTo>
                    <a:pt x="173" y="533"/>
                  </a:lnTo>
                  <a:lnTo>
                    <a:pt x="171" y="534"/>
                  </a:lnTo>
                  <a:lnTo>
                    <a:pt x="171" y="536"/>
                  </a:lnTo>
                  <a:lnTo>
                    <a:pt x="173" y="539"/>
                  </a:lnTo>
                  <a:lnTo>
                    <a:pt x="179" y="545"/>
                  </a:lnTo>
                  <a:lnTo>
                    <a:pt x="179" y="546"/>
                  </a:lnTo>
                  <a:lnTo>
                    <a:pt x="176" y="546"/>
                  </a:lnTo>
                  <a:lnTo>
                    <a:pt x="166" y="543"/>
                  </a:lnTo>
                  <a:lnTo>
                    <a:pt x="161" y="543"/>
                  </a:lnTo>
                  <a:lnTo>
                    <a:pt x="157" y="551"/>
                  </a:lnTo>
                  <a:lnTo>
                    <a:pt x="154" y="552"/>
                  </a:lnTo>
                  <a:lnTo>
                    <a:pt x="151" y="551"/>
                  </a:lnTo>
                  <a:lnTo>
                    <a:pt x="146" y="549"/>
                  </a:lnTo>
                  <a:lnTo>
                    <a:pt x="145" y="543"/>
                  </a:lnTo>
                  <a:lnTo>
                    <a:pt x="147" y="537"/>
                  </a:lnTo>
                  <a:lnTo>
                    <a:pt x="143" y="536"/>
                  </a:lnTo>
                  <a:lnTo>
                    <a:pt x="130" y="536"/>
                  </a:lnTo>
                  <a:lnTo>
                    <a:pt x="130" y="539"/>
                  </a:lnTo>
                  <a:lnTo>
                    <a:pt x="129" y="541"/>
                  </a:lnTo>
                  <a:lnTo>
                    <a:pt x="124" y="543"/>
                  </a:lnTo>
                  <a:lnTo>
                    <a:pt x="119" y="543"/>
                  </a:lnTo>
                  <a:lnTo>
                    <a:pt x="118" y="540"/>
                  </a:lnTo>
                  <a:lnTo>
                    <a:pt x="116" y="540"/>
                  </a:lnTo>
                  <a:lnTo>
                    <a:pt x="107" y="545"/>
                  </a:lnTo>
                  <a:lnTo>
                    <a:pt x="104" y="547"/>
                  </a:lnTo>
                  <a:lnTo>
                    <a:pt x="101" y="548"/>
                  </a:lnTo>
                  <a:lnTo>
                    <a:pt x="98" y="545"/>
                  </a:lnTo>
                  <a:lnTo>
                    <a:pt x="90" y="540"/>
                  </a:lnTo>
                  <a:lnTo>
                    <a:pt x="88" y="537"/>
                  </a:lnTo>
                  <a:lnTo>
                    <a:pt x="88" y="535"/>
                  </a:lnTo>
                  <a:lnTo>
                    <a:pt x="90" y="531"/>
                  </a:lnTo>
                  <a:lnTo>
                    <a:pt x="88" y="529"/>
                  </a:lnTo>
                  <a:lnTo>
                    <a:pt x="82" y="527"/>
                  </a:lnTo>
                  <a:lnTo>
                    <a:pt x="78" y="523"/>
                  </a:lnTo>
                  <a:lnTo>
                    <a:pt x="76" y="515"/>
                  </a:lnTo>
                  <a:lnTo>
                    <a:pt x="78" y="512"/>
                  </a:lnTo>
                  <a:lnTo>
                    <a:pt x="83" y="512"/>
                  </a:lnTo>
                  <a:lnTo>
                    <a:pt x="90" y="513"/>
                  </a:lnTo>
                  <a:lnTo>
                    <a:pt x="95" y="517"/>
                  </a:lnTo>
                  <a:lnTo>
                    <a:pt x="101" y="522"/>
                  </a:lnTo>
                  <a:lnTo>
                    <a:pt x="102" y="521"/>
                  </a:lnTo>
                  <a:lnTo>
                    <a:pt x="101" y="516"/>
                  </a:lnTo>
                  <a:lnTo>
                    <a:pt x="100" y="515"/>
                  </a:lnTo>
                  <a:lnTo>
                    <a:pt x="102" y="512"/>
                  </a:lnTo>
                  <a:lnTo>
                    <a:pt x="106" y="507"/>
                  </a:lnTo>
                  <a:lnTo>
                    <a:pt x="110" y="501"/>
                  </a:lnTo>
                  <a:lnTo>
                    <a:pt x="116" y="498"/>
                  </a:lnTo>
                  <a:lnTo>
                    <a:pt x="122" y="493"/>
                  </a:lnTo>
                  <a:lnTo>
                    <a:pt x="123" y="488"/>
                  </a:lnTo>
                  <a:lnTo>
                    <a:pt x="124" y="486"/>
                  </a:lnTo>
                  <a:lnTo>
                    <a:pt x="123" y="485"/>
                  </a:lnTo>
                  <a:lnTo>
                    <a:pt x="112" y="480"/>
                  </a:lnTo>
                  <a:lnTo>
                    <a:pt x="108" y="476"/>
                  </a:lnTo>
                  <a:lnTo>
                    <a:pt x="107" y="468"/>
                  </a:lnTo>
                  <a:lnTo>
                    <a:pt x="107" y="452"/>
                  </a:lnTo>
                  <a:lnTo>
                    <a:pt x="108" y="447"/>
                  </a:lnTo>
                  <a:lnTo>
                    <a:pt x="110" y="442"/>
                  </a:lnTo>
                  <a:lnTo>
                    <a:pt x="104" y="440"/>
                  </a:lnTo>
                  <a:lnTo>
                    <a:pt x="100" y="438"/>
                  </a:lnTo>
                  <a:lnTo>
                    <a:pt x="96" y="433"/>
                  </a:lnTo>
                  <a:lnTo>
                    <a:pt x="94" y="424"/>
                  </a:lnTo>
                  <a:lnTo>
                    <a:pt x="98" y="418"/>
                  </a:lnTo>
                  <a:lnTo>
                    <a:pt x="104" y="412"/>
                  </a:lnTo>
                  <a:lnTo>
                    <a:pt x="106" y="406"/>
                  </a:lnTo>
                  <a:lnTo>
                    <a:pt x="104" y="402"/>
                  </a:lnTo>
                  <a:lnTo>
                    <a:pt x="104" y="396"/>
                  </a:lnTo>
                  <a:lnTo>
                    <a:pt x="108" y="390"/>
                  </a:lnTo>
                  <a:lnTo>
                    <a:pt x="112" y="385"/>
                  </a:lnTo>
                  <a:lnTo>
                    <a:pt x="111" y="378"/>
                  </a:lnTo>
                  <a:lnTo>
                    <a:pt x="111" y="376"/>
                  </a:lnTo>
                  <a:lnTo>
                    <a:pt x="113" y="375"/>
                  </a:lnTo>
                  <a:lnTo>
                    <a:pt x="119" y="378"/>
                  </a:lnTo>
                  <a:lnTo>
                    <a:pt x="125" y="380"/>
                  </a:lnTo>
                  <a:lnTo>
                    <a:pt x="133" y="378"/>
                  </a:lnTo>
                  <a:lnTo>
                    <a:pt x="135" y="378"/>
                  </a:lnTo>
                  <a:lnTo>
                    <a:pt x="137" y="379"/>
                  </a:lnTo>
                  <a:lnTo>
                    <a:pt x="141" y="382"/>
                  </a:lnTo>
                  <a:lnTo>
                    <a:pt x="146" y="385"/>
                  </a:lnTo>
                  <a:lnTo>
                    <a:pt x="151" y="382"/>
                  </a:lnTo>
                  <a:lnTo>
                    <a:pt x="152" y="382"/>
                  </a:lnTo>
                  <a:lnTo>
                    <a:pt x="153" y="385"/>
                  </a:lnTo>
                  <a:lnTo>
                    <a:pt x="154" y="393"/>
                  </a:lnTo>
                  <a:lnTo>
                    <a:pt x="155" y="396"/>
                  </a:lnTo>
                  <a:lnTo>
                    <a:pt x="159" y="398"/>
                  </a:lnTo>
                  <a:lnTo>
                    <a:pt x="164" y="399"/>
                  </a:lnTo>
                  <a:lnTo>
                    <a:pt x="166" y="396"/>
                  </a:lnTo>
                  <a:lnTo>
                    <a:pt x="169" y="391"/>
                  </a:lnTo>
                  <a:lnTo>
                    <a:pt x="167" y="387"/>
                  </a:lnTo>
                  <a:lnTo>
                    <a:pt x="163" y="384"/>
                  </a:lnTo>
                  <a:lnTo>
                    <a:pt x="152" y="379"/>
                  </a:lnTo>
                  <a:lnTo>
                    <a:pt x="148" y="378"/>
                  </a:lnTo>
                  <a:lnTo>
                    <a:pt x="148" y="374"/>
                  </a:lnTo>
                  <a:lnTo>
                    <a:pt x="151" y="366"/>
                  </a:lnTo>
                  <a:lnTo>
                    <a:pt x="153" y="361"/>
                  </a:lnTo>
                  <a:lnTo>
                    <a:pt x="152" y="356"/>
                  </a:lnTo>
                  <a:lnTo>
                    <a:pt x="155" y="355"/>
                  </a:lnTo>
                  <a:lnTo>
                    <a:pt x="161" y="356"/>
                  </a:lnTo>
                  <a:lnTo>
                    <a:pt x="169" y="357"/>
                  </a:lnTo>
                  <a:lnTo>
                    <a:pt x="176" y="363"/>
                  </a:lnTo>
                  <a:lnTo>
                    <a:pt x="181" y="367"/>
                  </a:lnTo>
                  <a:lnTo>
                    <a:pt x="185" y="366"/>
                  </a:lnTo>
                  <a:lnTo>
                    <a:pt x="185" y="364"/>
                  </a:lnTo>
                  <a:lnTo>
                    <a:pt x="183" y="362"/>
                  </a:lnTo>
                  <a:lnTo>
                    <a:pt x="173" y="351"/>
                  </a:lnTo>
                  <a:lnTo>
                    <a:pt x="166" y="349"/>
                  </a:lnTo>
                  <a:lnTo>
                    <a:pt x="166" y="344"/>
                  </a:lnTo>
                  <a:lnTo>
                    <a:pt x="171" y="332"/>
                  </a:lnTo>
                  <a:lnTo>
                    <a:pt x="175" y="331"/>
                  </a:lnTo>
                  <a:lnTo>
                    <a:pt x="179" y="331"/>
                  </a:lnTo>
                  <a:lnTo>
                    <a:pt x="183" y="328"/>
                  </a:lnTo>
                  <a:lnTo>
                    <a:pt x="188" y="331"/>
                  </a:lnTo>
                  <a:lnTo>
                    <a:pt x="193" y="331"/>
                  </a:lnTo>
                  <a:lnTo>
                    <a:pt x="195" y="332"/>
                  </a:lnTo>
                  <a:lnTo>
                    <a:pt x="196" y="337"/>
                  </a:lnTo>
                  <a:lnTo>
                    <a:pt x="196" y="345"/>
                  </a:lnTo>
                  <a:lnTo>
                    <a:pt x="198" y="348"/>
                  </a:lnTo>
                  <a:lnTo>
                    <a:pt x="200" y="345"/>
                  </a:lnTo>
                  <a:lnTo>
                    <a:pt x="206" y="343"/>
                  </a:lnTo>
                  <a:lnTo>
                    <a:pt x="208" y="339"/>
                  </a:lnTo>
                  <a:lnTo>
                    <a:pt x="211" y="335"/>
                  </a:lnTo>
                  <a:lnTo>
                    <a:pt x="210" y="333"/>
                  </a:lnTo>
                  <a:lnTo>
                    <a:pt x="207" y="332"/>
                  </a:lnTo>
                  <a:lnTo>
                    <a:pt x="206" y="332"/>
                  </a:lnTo>
                  <a:lnTo>
                    <a:pt x="205" y="331"/>
                  </a:lnTo>
                  <a:lnTo>
                    <a:pt x="204" y="327"/>
                  </a:lnTo>
                  <a:lnTo>
                    <a:pt x="204" y="317"/>
                  </a:lnTo>
                  <a:lnTo>
                    <a:pt x="202" y="315"/>
                  </a:lnTo>
                  <a:lnTo>
                    <a:pt x="200" y="314"/>
                  </a:lnTo>
                  <a:lnTo>
                    <a:pt x="189" y="314"/>
                  </a:lnTo>
                  <a:lnTo>
                    <a:pt x="182" y="309"/>
                  </a:lnTo>
                  <a:lnTo>
                    <a:pt x="178" y="305"/>
                  </a:lnTo>
                  <a:lnTo>
                    <a:pt x="178" y="304"/>
                  </a:lnTo>
                  <a:lnTo>
                    <a:pt x="182" y="297"/>
                  </a:lnTo>
                  <a:lnTo>
                    <a:pt x="188" y="291"/>
                  </a:lnTo>
                  <a:lnTo>
                    <a:pt x="193" y="289"/>
                  </a:lnTo>
                  <a:lnTo>
                    <a:pt x="195" y="286"/>
                  </a:lnTo>
                  <a:lnTo>
                    <a:pt x="200" y="287"/>
                  </a:lnTo>
                  <a:lnTo>
                    <a:pt x="210" y="291"/>
                  </a:lnTo>
                  <a:lnTo>
                    <a:pt x="218" y="291"/>
                  </a:lnTo>
                  <a:lnTo>
                    <a:pt x="225" y="291"/>
                  </a:lnTo>
                  <a:lnTo>
                    <a:pt x="232" y="290"/>
                  </a:lnTo>
                  <a:lnTo>
                    <a:pt x="240" y="291"/>
                  </a:lnTo>
                  <a:lnTo>
                    <a:pt x="243" y="291"/>
                  </a:lnTo>
                  <a:lnTo>
                    <a:pt x="247" y="291"/>
                  </a:lnTo>
                  <a:lnTo>
                    <a:pt x="249" y="289"/>
                  </a:lnTo>
                  <a:lnTo>
                    <a:pt x="252" y="284"/>
                  </a:lnTo>
                  <a:lnTo>
                    <a:pt x="253" y="280"/>
                  </a:lnTo>
                  <a:lnTo>
                    <a:pt x="257" y="277"/>
                  </a:lnTo>
                  <a:lnTo>
                    <a:pt x="263" y="272"/>
                  </a:lnTo>
                  <a:lnTo>
                    <a:pt x="264" y="269"/>
                  </a:lnTo>
                  <a:lnTo>
                    <a:pt x="263" y="268"/>
                  </a:lnTo>
                  <a:lnTo>
                    <a:pt x="258" y="268"/>
                  </a:lnTo>
                  <a:lnTo>
                    <a:pt x="254" y="268"/>
                  </a:lnTo>
                  <a:lnTo>
                    <a:pt x="248" y="272"/>
                  </a:lnTo>
                  <a:lnTo>
                    <a:pt x="246" y="266"/>
                  </a:lnTo>
                  <a:lnTo>
                    <a:pt x="242" y="263"/>
                  </a:lnTo>
                  <a:lnTo>
                    <a:pt x="237" y="262"/>
                  </a:lnTo>
                  <a:lnTo>
                    <a:pt x="238" y="261"/>
                  </a:lnTo>
                  <a:lnTo>
                    <a:pt x="236" y="257"/>
                  </a:lnTo>
                  <a:lnTo>
                    <a:pt x="226" y="251"/>
                  </a:lnTo>
                  <a:lnTo>
                    <a:pt x="223" y="248"/>
                  </a:lnTo>
                  <a:lnTo>
                    <a:pt x="230" y="247"/>
                  </a:lnTo>
                  <a:lnTo>
                    <a:pt x="236" y="248"/>
                  </a:lnTo>
                  <a:lnTo>
                    <a:pt x="237" y="250"/>
                  </a:lnTo>
                  <a:lnTo>
                    <a:pt x="242" y="250"/>
                  </a:lnTo>
                  <a:lnTo>
                    <a:pt x="246" y="250"/>
                  </a:lnTo>
                  <a:lnTo>
                    <a:pt x="247" y="249"/>
                  </a:lnTo>
                  <a:lnTo>
                    <a:pt x="248" y="248"/>
                  </a:lnTo>
                  <a:lnTo>
                    <a:pt x="251" y="244"/>
                  </a:lnTo>
                  <a:lnTo>
                    <a:pt x="254" y="236"/>
                  </a:lnTo>
                  <a:lnTo>
                    <a:pt x="255" y="239"/>
                  </a:lnTo>
                  <a:lnTo>
                    <a:pt x="259" y="239"/>
                  </a:lnTo>
                  <a:lnTo>
                    <a:pt x="260" y="242"/>
                  </a:lnTo>
                  <a:lnTo>
                    <a:pt x="263" y="248"/>
                  </a:lnTo>
                  <a:lnTo>
                    <a:pt x="267" y="251"/>
                  </a:lnTo>
                  <a:lnTo>
                    <a:pt x="269" y="253"/>
                  </a:lnTo>
                  <a:lnTo>
                    <a:pt x="271" y="249"/>
                  </a:lnTo>
                  <a:lnTo>
                    <a:pt x="279" y="238"/>
                  </a:lnTo>
                  <a:lnTo>
                    <a:pt x="284" y="235"/>
                  </a:lnTo>
                  <a:lnTo>
                    <a:pt x="284" y="231"/>
                  </a:lnTo>
                  <a:lnTo>
                    <a:pt x="277" y="227"/>
                  </a:lnTo>
                  <a:lnTo>
                    <a:pt x="273" y="225"/>
                  </a:lnTo>
                  <a:lnTo>
                    <a:pt x="265" y="225"/>
                  </a:lnTo>
                  <a:lnTo>
                    <a:pt x="255" y="227"/>
                  </a:lnTo>
                  <a:lnTo>
                    <a:pt x="251" y="227"/>
                  </a:lnTo>
                  <a:lnTo>
                    <a:pt x="248" y="226"/>
                  </a:lnTo>
                  <a:lnTo>
                    <a:pt x="244" y="225"/>
                  </a:lnTo>
                  <a:lnTo>
                    <a:pt x="241" y="225"/>
                  </a:lnTo>
                  <a:lnTo>
                    <a:pt x="235" y="222"/>
                  </a:lnTo>
                  <a:lnTo>
                    <a:pt x="217" y="218"/>
                  </a:lnTo>
                  <a:lnTo>
                    <a:pt x="214" y="215"/>
                  </a:lnTo>
                  <a:lnTo>
                    <a:pt x="206" y="215"/>
                  </a:lnTo>
                  <a:lnTo>
                    <a:pt x="194" y="221"/>
                  </a:lnTo>
                  <a:lnTo>
                    <a:pt x="185" y="226"/>
                  </a:lnTo>
                  <a:lnTo>
                    <a:pt x="173" y="228"/>
                  </a:lnTo>
                  <a:lnTo>
                    <a:pt x="165" y="231"/>
                  </a:lnTo>
                  <a:lnTo>
                    <a:pt x="147" y="232"/>
                  </a:lnTo>
                  <a:lnTo>
                    <a:pt x="143" y="235"/>
                  </a:lnTo>
                  <a:lnTo>
                    <a:pt x="140" y="238"/>
                  </a:lnTo>
                  <a:lnTo>
                    <a:pt x="134" y="238"/>
                  </a:lnTo>
                  <a:lnTo>
                    <a:pt x="130" y="236"/>
                  </a:lnTo>
                  <a:lnTo>
                    <a:pt x="125" y="236"/>
                  </a:lnTo>
                  <a:lnTo>
                    <a:pt x="118" y="233"/>
                  </a:lnTo>
                  <a:lnTo>
                    <a:pt x="111" y="230"/>
                  </a:lnTo>
                  <a:lnTo>
                    <a:pt x="108" y="225"/>
                  </a:lnTo>
                  <a:lnTo>
                    <a:pt x="111" y="219"/>
                  </a:lnTo>
                  <a:lnTo>
                    <a:pt x="116" y="215"/>
                  </a:lnTo>
                  <a:lnTo>
                    <a:pt x="119" y="214"/>
                  </a:lnTo>
                  <a:lnTo>
                    <a:pt x="120" y="209"/>
                  </a:lnTo>
                  <a:lnTo>
                    <a:pt x="118" y="203"/>
                  </a:lnTo>
                  <a:lnTo>
                    <a:pt x="123" y="203"/>
                  </a:lnTo>
                  <a:lnTo>
                    <a:pt x="133" y="203"/>
                  </a:lnTo>
                  <a:lnTo>
                    <a:pt x="137" y="201"/>
                  </a:lnTo>
                  <a:lnTo>
                    <a:pt x="142" y="202"/>
                  </a:lnTo>
                  <a:lnTo>
                    <a:pt x="147" y="200"/>
                  </a:lnTo>
                  <a:lnTo>
                    <a:pt x="147" y="195"/>
                  </a:lnTo>
                  <a:lnTo>
                    <a:pt x="151" y="192"/>
                  </a:lnTo>
                  <a:lnTo>
                    <a:pt x="154" y="188"/>
                  </a:lnTo>
                  <a:lnTo>
                    <a:pt x="157" y="185"/>
                  </a:lnTo>
                  <a:lnTo>
                    <a:pt x="165" y="183"/>
                  </a:lnTo>
                  <a:lnTo>
                    <a:pt x="167" y="182"/>
                  </a:lnTo>
                  <a:lnTo>
                    <a:pt x="169" y="179"/>
                  </a:lnTo>
                  <a:lnTo>
                    <a:pt x="163" y="173"/>
                  </a:lnTo>
                  <a:lnTo>
                    <a:pt x="155" y="170"/>
                  </a:lnTo>
                  <a:lnTo>
                    <a:pt x="155" y="173"/>
                  </a:lnTo>
                  <a:lnTo>
                    <a:pt x="154" y="174"/>
                  </a:lnTo>
                  <a:lnTo>
                    <a:pt x="149" y="173"/>
                  </a:lnTo>
                  <a:lnTo>
                    <a:pt x="139" y="172"/>
                  </a:lnTo>
                  <a:lnTo>
                    <a:pt x="136" y="172"/>
                  </a:lnTo>
                  <a:lnTo>
                    <a:pt x="136" y="168"/>
                  </a:lnTo>
                  <a:lnTo>
                    <a:pt x="139" y="162"/>
                  </a:lnTo>
                  <a:lnTo>
                    <a:pt x="142" y="159"/>
                  </a:lnTo>
                  <a:lnTo>
                    <a:pt x="143" y="155"/>
                  </a:lnTo>
                  <a:lnTo>
                    <a:pt x="143" y="150"/>
                  </a:lnTo>
                  <a:lnTo>
                    <a:pt x="142" y="144"/>
                  </a:lnTo>
                  <a:lnTo>
                    <a:pt x="145" y="141"/>
                  </a:lnTo>
                  <a:lnTo>
                    <a:pt x="145" y="137"/>
                  </a:lnTo>
                  <a:lnTo>
                    <a:pt x="149" y="137"/>
                  </a:lnTo>
                  <a:lnTo>
                    <a:pt x="157" y="140"/>
                  </a:lnTo>
                  <a:lnTo>
                    <a:pt x="164" y="138"/>
                  </a:lnTo>
                  <a:lnTo>
                    <a:pt x="171" y="137"/>
                  </a:lnTo>
                  <a:lnTo>
                    <a:pt x="173" y="134"/>
                  </a:lnTo>
                  <a:lnTo>
                    <a:pt x="176" y="128"/>
                  </a:lnTo>
                  <a:lnTo>
                    <a:pt x="181" y="126"/>
                  </a:lnTo>
                  <a:lnTo>
                    <a:pt x="185" y="130"/>
                  </a:lnTo>
                  <a:lnTo>
                    <a:pt x="190" y="130"/>
                  </a:lnTo>
                  <a:lnTo>
                    <a:pt x="198" y="129"/>
                  </a:lnTo>
                  <a:lnTo>
                    <a:pt x="202" y="126"/>
                  </a:lnTo>
                  <a:lnTo>
                    <a:pt x="204" y="125"/>
                  </a:lnTo>
                  <a:lnTo>
                    <a:pt x="205" y="123"/>
                  </a:lnTo>
                  <a:lnTo>
                    <a:pt x="200" y="123"/>
                  </a:lnTo>
                  <a:lnTo>
                    <a:pt x="192" y="125"/>
                  </a:lnTo>
                  <a:lnTo>
                    <a:pt x="189" y="121"/>
                  </a:lnTo>
                  <a:lnTo>
                    <a:pt x="188" y="113"/>
                  </a:lnTo>
                  <a:lnTo>
                    <a:pt x="184" y="112"/>
                  </a:lnTo>
                  <a:lnTo>
                    <a:pt x="183" y="111"/>
                  </a:lnTo>
                  <a:lnTo>
                    <a:pt x="185" y="108"/>
                  </a:lnTo>
                  <a:lnTo>
                    <a:pt x="190" y="103"/>
                  </a:lnTo>
                  <a:lnTo>
                    <a:pt x="192" y="100"/>
                  </a:lnTo>
                  <a:lnTo>
                    <a:pt x="195" y="96"/>
                  </a:lnTo>
                  <a:lnTo>
                    <a:pt x="202" y="97"/>
                  </a:lnTo>
                  <a:lnTo>
                    <a:pt x="211" y="99"/>
                  </a:lnTo>
                  <a:lnTo>
                    <a:pt x="213" y="99"/>
                  </a:lnTo>
                  <a:lnTo>
                    <a:pt x="214" y="101"/>
                  </a:lnTo>
                  <a:lnTo>
                    <a:pt x="214" y="106"/>
                  </a:lnTo>
                  <a:lnTo>
                    <a:pt x="219" y="107"/>
                  </a:lnTo>
                  <a:lnTo>
                    <a:pt x="224" y="107"/>
                  </a:lnTo>
                  <a:lnTo>
                    <a:pt x="225" y="107"/>
                  </a:lnTo>
                  <a:lnTo>
                    <a:pt x="226" y="111"/>
                  </a:lnTo>
                  <a:lnTo>
                    <a:pt x="229" y="108"/>
                  </a:lnTo>
                  <a:lnTo>
                    <a:pt x="232" y="97"/>
                  </a:lnTo>
                  <a:lnTo>
                    <a:pt x="241" y="89"/>
                  </a:lnTo>
                  <a:lnTo>
                    <a:pt x="246" y="85"/>
                  </a:lnTo>
                  <a:lnTo>
                    <a:pt x="249" y="85"/>
                  </a:lnTo>
                  <a:lnTo>
                    <a:pt x="253" y="87"/>
                  </a:lnTo>
                  <a:lnTo>
                    <a:pt x="257" y="84"/>
                  </a:lnTo>
                  <a:lnTo>
                    <a:pt x="263" y="79"/>
                  </a:lnTo>
                  <a:lnTo>
                    <a:pt x="264" y="79"/>
                  </a:lnTo>
                  <a:lnTo>
                    <a:pt x="267" y="78"/>
                  </a:lnTo>
                  <a:lnTo>
                    <a:pt x="275" y="72"/>
                  </a:lnTo>
                  <a:lnTo>
                    <a:pt x="279" y="71"/>
                  </a:lnTo>
                  <a:lnTo>
                    <a:pt x="281" y="70"/>
                  </a:lnTo>
                  <a:lnTo>
                    <a:pt x="279" y="67"/>
                  </a:lnTo>
                  <a:lnTo>
                    <a:pt x="277" y="65"/>
                  </a:lnTo>
                  <a:lnTo>
                    <a:pt x="273" y="60"/>
                  </a:lnTo>
                  <a:lnTo>
                    <a:pt x="272" y="60"/>
                  </a:lnTo>
                  <a:lnTo>
                    <a:pt x="272" y="57"/>
                  </a:lnTo>
                  <a:lnTo>
                    <a:pt x="275" y="49"/>
                  </a:lnTo>
                  <a:lnTo>
                    <a:pt x="278" y="45"/>
                  </a:lnTo>
                  <a:lnTo>
                    <a:pt x="281" y="45"/>
                  </a:lnTo>
                  <a:lnTo>
                    <a:pt x="281" y="42"/>
                  </a:lnTo>
                  <a:lnTo>
                    <a:pt x="276" y="40"/>
                  </a:lnTo>
                  <a:lnTo>
                    <a:pt x="276" y="35"/>
                  </a:lnTo>
                  <a:lnTo>
                    <a:pt x="281" y="30"/>
                  </a:lnTo>
                  <a:lnTo>
                    <a:pt x="283" y="28"/>
                  </a:lnTo>
                  <a:lnTo>
                    <a:pt x="288" y="29"/>
                  </a:lnTo>
                  <a:lnTo>
                    <a:pt x="295" y="27"/>
                  </a:lnTo>
                  <a:lnTo>
                    <a:pt x="297" y="24"/>
                  </a:lnTo>
                  <a:lnTo>
                    <a:pt x="294" y="21"/>
                  </a:lnTo>
                  <a:lnTo>
                    <a:pt x="293" y="19"/>
                  </a:lnTo>
                  <a:lnTo>
                    <a:pt x="296" y="18"/>
                  </a:lnTo>
                  <a:lnTo>
                    <a:pt x="305" y="18"/>
                  </a:lnTo>
                  <a:lnTo>
                    <a:pt x="312" y="19"/>
                  </a:lnTo>
                  <a:lnTo>
                    <a:pt x="317" y="18"/>
                  </a:lnTo>
                  <a:lnTo>
                    <a:pt x="322" y="19"/>
                  </a:lnTo>
                  <a:lnTo>
                    <a:pt x="324" y="19"/>
                  </a:lnTo>
                  <a:lnTo>
                    <a:pt x="328" y="17"/>
                  </a:lnTo>
                  <a:lnTo>
                    <a:pt x="331" y="12"/>
                  </a:lnTo>
                  <a:lnTo>
                    <a:pt x="334" y="10"/>
                  </a:lnTo>
                  <a:lnTo>
                    <a:pt x="335" y="7"/>
                  </a:lnTo>
                  <a:lnTo>
                    <a:pt x="335" y="6"/>
                  </a:lnTo>
                  <a:lnTo>
                    <a:pt x="338" y="6"/>
                  </a:lnTo>
                  <a:lnTo>
                    <a:pt x="346" y="6"/>
                  </a:lnTo>
                  <a:lnTo>
                    <a:pt x="352" y="10"/>
                  </a:lnTo>
                  <a:lnTo>
                    <a:pt x="355" y="14"/>
                  </a:lnTo>
                  <a:lnTo>
                    <a:pt x="359" y="14"/>
                  </a:lnTo>
                  <a:lnTo>
                    <a:pt x="361" y="14"/>
                  </a:lnTo>
                  <a:lnTo>
                    <a:pt x="365" y="12"/>
                  </a:lnTo>
                  <a:lnTo>
                    <a:pt x="375" y="4"/>
                  </a:lnTo>
                  <a:lnTo>
                    <a:pt x="388" y="0"/>
                  </a:lnTo>
                  <a:lnTo>
                    <a:pt x="390" y="0"/>
                  </a:lnTo>
                  <a:lnTo>
                    <a:pt x="393" y="2"/>
                  </a:lnTo>
                  <a:lnTo>
                    <a:pt x="401" y="8"/>
                  </a:lnTo>
                  <a:lnTo>
                    <a:pt x="406" y="14"/>
                  </a:lnTo>
                  <a:lnTo>
                    <a:pt x="409" y="16"/>
                  </a:lnTo>
                  <a:lnTo>
                    <a:pt x="414" y="11"/>
                  </a:lnTo>
                  <a:lnTo>
                    <a:pt x="419" y="13"/>
                  </a:lnTo>
                  <a:lnTo>
                    <a:pt x="423" y="19"/>
                  </a:lnTo>
                  <a:lnTo>
                    <a:pt x="425" y="21"/>
                  </a:lnTo>
                  <a:lnTo>
                    <a:pt x="429" y="22"/>
                  </a:lnTo>
                  <a:lnTo>
                    <a:pt x="428" y="24"/>
                  </a:lnTo>
                  <a:lnTo>
                    <a:pt x="430" y="23"/>
                  </a:lnTo>
                  <a:lnTo>
                    <a:pt x="435" y="18"/>
                  </a:lnTo>
                  <a:lnTo>
                    <a:pt x="438" y="16"/>
                  </a:lnTo>
                  <a:lnTo>
                    <a:pt x="440" y="11"/>
                  </a:lnTo>
                  <a:lnTo>
                    <a:pt x="442" y="10"/>
                  </a:lnTo>
                  <a:lnTo>
                    <a:pt x="447" y="12"/>
                  </a:lnTo>
                  <a:lnTo>
                    <a:pt x="454" y="19"/>
                  </a:lnTo>
                  <a:lnTo>
                    <a:pt x="458" y="22"/>
                  </a:lnTo>
                  <a:lnTo>
                    <a:pt x="460" y="24"/>
                  </a:lnTo>
                  <a:lnTo>
                    <a:pt x="461" y="28"/>
                  </a:lnTo>
                  <a:lnTo>
                    <a:pt x="462" y="35"/>
                  </a:lnTo>
                  <a:lnTo>
                    <a:pt x="465" y="45"/>
                  </a:lnTo>
                  <a:lnTo>
                    <a:pt x="461" y="51"/>
                  </a:lnTo>
                  <a:lnTo>
                    <a:pt x="458" y="54"/>
                  </a:lnTo>
                  <a:lnTo>
                    <a:pt x="456" y="58"/>
                  </a:lnTo>
                  <a:lnTo>
                    <a:pt x="456" y="61"/>
                  </a:lnTo>
                  <a:lnTo>
                    <a:pt x="458" y="66"/>
                  </a:lnTo>
                  <a:lnTo>
                    <a:pt x="462" y="71"/>
                  </a:lnTo>
                  <a:lnTo>
                    <a:pt x="466" y="70"/>
                  </a:lnTo>
                  <a:lnTo>
                    <a:pt x="468" y="67"/>
                  </a:lnTo>
                  <a:lnTo>
                    <a:pt x="472" y="65"/>
                  </a:lnTo>
                  <a:lnTo>
                    <a:pt x="473" y="69"/>
                  </a:lnTo>
                  <a:lnTo>
                    <a:pt x="473" y="75"/>
                  </a:lnTo>
                  <a:lnTo>
                    <a:pt x="470" y="79"/>
                  </a:lnTo>
                  <a:lnTo>
                    <a:pt x="466" y="83"/>
                  </a:lnTo>
                  <a:lnTo>
                    <a:pt x="465" y="85"/>
                  </a:lnTo>
                  <a:lnTo>
                    <a:pt x="466" y="87"/>
                  </a:lnTo>
                  <a:lnTo>
                    <a:pt x="470" y="87"/>
                  </a:lnTo>
                  <a:lnTo>
                    <a:pt x="472" y="88"/>
                  </a:lnTo>
                  <a:lnTo>
                    <a:pt x="476" y="90"/>
                  </a:lnTo>
                  <a:lnTo>
                    <a:pt x="479" y="93"/>
                  </a:lnTo>
                  <a:lnTo>
                    <a:pt x="483" y="94"/>
                  </a:lnTo>
                  <a:lnTo>
                    <a:pt x="488" y="90"/>
                  </a:lnTo>
                  <a:lnTo>
                    <a:pt x="495" y="88"/>
                  </a:lnTo>
                  <a:lnTo>
                    <a:pt x="496" y="85"/>
                  </a:lnTo>
                  <a:lnTo>
                    <a:pt x="497" y="83"/>
                  </a:lnTo>
                  <a:lnTo>
                    <a:pt x="499" y="82"/>
                  </a:lnTo>
                  <a:lnTo>
                    <a:pt x="495" y="81"/>
                  </a:lnTo>
                  <a:lnTo>
                    <a:pt x="489" y="76"/>
                  </a:lnTo>
                  <a:lnTo>
                    <a:pt x="487" y="72"/>
                  </a:lnTo>
                  <a:lnTo>
                    <a:pt x="488" y="67"/>
                  </a:lnTo>
                  <a:lnTo>
                    <a:pt x="490" y="66"/>
                  </a:lnTo>
                  <a:lnTo>
                    <a:pt x="499" y="69"/>
                  </a:lnTo>
                  <a:lnTo>
                    <a:pt x="503" y="72"/>
                  </a:lnTo>
                  <a:lnTo>
                    <a:pt x="503" y="76"/>
                  </a:lnTo>
                  <a:lnTo>
                    <a:pt x="505" y="79"/>
                  </a:lnTo>
                  <a:lnTo>
                    <a:pt x="507" y="79"/>
                  </a:lnTo>
                  <a:lnTo>
                    <a:pt x="509" y="76"/>
                  </a:lnTo>
                  <a:lnTo>
                    <a:pt x="512" y="75"/>
                  </a:lnTo>
                  <a:lnTo>
                    <a:pt x="518" y="72"/>
                  </a:lnTo>
                  <a:lnTo>
                    <a:pt x="525" y="69"/>
                  </a:lnTo>
                  <a:lnTo>
                    <a:pt x="529" y="69"/>
                  </a:lnTo>
                  <a:lnTo>
                    <a:pt x="532" y="71"/>
                  </a:lnTo>
                  <a:lnTo>
                    <a:pt x="533" y="76"/>
                  </a:lnTo>
                  <a:lnTo>
                    <a:pt x="535" y="82"/>
                  </a:lnTo>
                  <a:lnTo>
                    <a:pt x="536" y="85"/>
                  </a:lnTo>
                  <a:lnTo>
                    <a:pt x="538" y="87"/>
                  </a:lnTo>
                  <a:lnTo>
                    <a:pt x="541" y="83"/>
                  </a:lnTo>
                  <a:lnTo>
                    <a:pt x="547" y="81"/>
                  </a:lnTo>
                  <a:lnTo>
                    <a:pt x="555" y="82"/>
                  </a:lnTo>
                  <a:lnTo>
                    <a:pt x="555" y="85"/>
                  </a:lnTo>
                  <a:lnTo>
                    <a:pt x="555" y="90"/>
                  </a:lnTo>
                  <a:lnTo>
                    <a:pt x="558" y="91"/>
                  </a:lnTo>
                  <a:lnTo>
                    <a:pt x="560" y="94"/>
                  </a:lnTo>
                  <a:lnTo>
                    <a:pt x="558" y="97"/>
                  </a:lnTo>
                  <a:lnTo>
                    <a:pt x="559" y="100"/>
                  </a:lnTo>
                  <a:lnTo>
                    <a:pt x="558" y="102"/>
                  </a:lnTo>
                  <a:lnTo>
                    <a:pt x="554" y="102"/>
                  </a:lnTo>
                  <a:lnTo>
                    <a:pt x="554" y="106"/>
                  </a:lnTo>
                  <a:lnTo>
                    <a:pt x="554" y="113"/>
                  </a:lnTo>
                  <a:lnTo>
                    <a:pt x="553" y="115"/>
                  </a:lnTo>
                  <a:lnTo>
                    <a:pt x="544" y="115"/>
                  </a:lnTo>
                  <a:lnTo>
                    <a:pt x="542" y="114"/>
                  </a:lnTo>
                  <a:lnTo>
                    <a:pt x="539" y="115"/>
                  </a:lnTo>
                  <a:lnTo>
                    <a:pt x="537" y="118"/>
                  </a:lnTo>
                  <a:lnTo>
                    <a:pt x="535" y="120"/>
                  </a:lnTo>
                  <a:lnTo>
                    <a:pt x="536" y="125"/>
                  </a:lnTo>
                  <a:lnTo>
                    <a:pt x="536" y="124"/>
                  </a:lnTo>
                  <a:lnTo>
                    <a:pt x="539" y="121"/>
                  </a:lnTo>
                  <a:lnTo>
                    <a:pt x="548" y="121"/>
                  </a:lnTo>
                  <a:lnTo>
                    <a:pt x="554" y="121"/>
                  </a:lnTo>
                  <a:lnTo>
                    <a:pt x="555" y="124"/>
                  </a:lnTo>
                  <a:lnTo>
                    <a:pt x="556" y="128"/>
                  </a:lnTo>
                  <a:lnTo>
                    <a:pt x="559" y="126"/>
                  </a:lnTo>
                  <a:lnTo>
                    <a:pt x="561" y="120"/>
                  </a:lnTo>
                  <a:lnTo>
                    <a:pt x="562" y="117"/>
                  </a:lnTo>
                  <a:lnTo>
                    <a:pt x="567" y="115"/>
                  </a:lnTo>
                  <a:lnTo>
                    <a:pt x="572" y="114"/>
                  </a:lnTo>
                  <a:lnTo>
                    <a:pt x="576" y="115"/>
                  </a:lnTo>
                  <a:lnTo>
                    <a:pt x="582" y="119"/>
                  </a:lnTo>
                  <a:lnTo>
                    <a:pt x="588" y="121"/>
                  </a:lnTo>
                  <a:lnTo>
                    <a:pt x="598" y="121"/>
                  </a:lnTo>
                  <a:lnTo>
                    <a:pt x="602" y="121"/>
                  </a:lnTo>
                  <a:lnTo>
                    <a:pt x="603" y="124"/>
                  </a:lnTo>
                  <a:lnTo>
                    <a:pt x="603" y="126"/>
                  </a:lnTo>
                  <a:lnTo>
                    <a:pt x="603" y="129"/>
                  </a:lnTo>
                  <a:lnTo>
                    <a:pt x="606" y="130"/>
                  </a:lnTo>
                  <a:lnTo>
                    <a:pt x="609" y="130"/>
                  </a:lnTo>
                  <a:lnTo>
                    <a:pt x="612" y="129"/>
                  </a:lnTo>
                  <a:lnTo>
                    <a:pt x="614" y="120"/>
                  </a:lnTo>
                  <a:lnTo>
                    <a:pt x="618" y="115"/>
                  </a:lnTo>
                  <a:lnTo>
                    <a:pt x="621" y="113"/>
                  </a:lnTo>
                  <a:lnTo>
                    <a:pt x="626" y="113"/>
                  </a:lnTo>
                  <a:lnTo>
                    <a:pt x="633" y="113"/>
                  </a:lnTo>
                  <a:lnTo>
                    <a:pt x="638" y="109"/>
                  </a:lnTo>
                  <a:lnTo>
                    <a:pt x="641" y="107"/>
                  </a:lnTo>
                  <a:lnTo>
                    <a:pt x="647" y="109"/>
                  </a:lnTo>
                  <a:lnTo>
                    <a:pt x="653" y="109"/>
                  </a:lnTo>
                  <a:lnTo>
                    <a:pt x="656" y="109"/>
                  </a:lnTo>
                  <a:lnTo>
                    <a:pt x="660" y="113"/>
                  </a:lnTo>
                  <a:lnTo>
                    <a:pt x="663" y="113"/>
                  </a:lnTo>
                  <a:lnTo>
                    <a:pt x="667" y="111"/>
                  </a:lnTo>
                  <a:lnTo>
                    <a:pt x="671" y="111"/>
                  </a:lnTo>
                  <a:lnTo>
                    <a:pt x="674" y="114"/>
                  </a:lnTo>
                  <a:lnTo>
                    <a:pt x="680" y="114"/>
                  </a:lnTo>
                  <a:lnTo>
                    <a:pt x="690" y="108"/>
                  </a:lnTo>
                  <a:lnTo>
                    <a:pt x="696" y="105"/>
                  </a:lnTo>
                  <a:lnTo>
                    <a:pt x="702" y="103"/>
                  </a:lnTo>
                  <a:lnTo>
                    <a:pt x="708" y="103"/>
                  </a:lnTo>
                  <a:lnTo>
                    <a:pt x="709" y="107"/>
                  </a:lnTo>
                  <a:lnTo>
                    <a:pt x="707" y="112"/>
                  </a:lnTo>
                  <a:lnTo>
                    <a:pt x="707" y="114"/>
                  </a:lnTo>
                  <a:lnTo>
                    <a:pt x="709" y="117"/>
                  </a:lnTo>
                  <a:lnTo>
                    <a:pt x="715" y="119"/>
                  </a:lnTo>
                  <a:lnTo>
                    <a:pt x="718" y="120"/>
                  </a:lnTo>
                  <a:lnTo>
                    <a:pt x="716" y="124"/>
                  </a:lnTo>
                  <a:lnTo>
                    <a:pt x="716" y="125"/>
                  </a:lnTo>
                  <a:lnTo>
                    <a:pt x="720" y="126"/>
                  </a:lnTo>
                  <a:lnTo>
                    <a:pt x="721" y="124"/>
                  </a:lnTo>
                  <a:lnTo>
                    <a:pt x="724" y="121"/>
                  </a:lnTo>
                  <a:lnTo>
                    <a:pt x="727" y="121"/>
                  </a:lnTo>
                  <a:lnTo>
                    <a:pt x="731" y="129"/>
                  </a:lnTo>
                  <a:lnTo>
                    <a:pt x="733" y="132"/>
                  </a:lnTo>
                  <a:lnTo>
                    <a:pt x="736" y="136"/>
                  </a:lnTo>
                  <a:lnTo>
                    <a:pt x="737" y="140"/>
                  </a:lnTo>
                  <a:lnTo>
                    <a:pt x="741" y="141"/>
                  </a:lnTo>
                  <a:lnTo>
                    <a:pt x="743" y="138"/>
                  </a:lnTo>
                  <a:lnTo>
                    <a:pt x="747" y="137"/>
                  </a:lnTo>
                  <a:lnTo>
                    <a:pt x="754" y="141"/>
                  </a:lnTo>
                  <a:lnTo>
                    <a:pt x="760" y="143"/>
                  </a:lnTo>
                  <a:lnTo>
                    <a:pt x="762" y="137"/>
                  </a:lnTo>
                  <a:lnTo>
                    <a:pt x="765" y="136"/>
                  </a:lnTo>
                  <a:lnTo>
                    <a:pt x="767" y="138"/>
                  </a:lnTo>
                  <a:lnTo>
                    <a:pt x="773" y="143"/>
                  </a:lnTo>
                  <a:lnTo>
                    <a:pt x="777" y="146"/>
                  </a:lnTo>
                  <a:lnTo>
                    <a:pt x="784" y="147"/>
                  </a:lnTo>
                  <a:lnTo>
                    <a:pt x="791" y="148"/>
                  </a:lnTo>
                  <a:lnTo>
                    <a:pt x="797" y="147"/>
                  </a:lnTo>
                  <a:lnTo>
                    <a:pt x="798" y="143"/>
                  </a:lnTo>
                  <a:lnTo>
                    <a:pt x="803" y="143"/>
                  </a:lnTo>
                  <a:lnTo>
                    <a:pt x="810" y="148"/>
                  </a:lnTo>
                  <a:lnTo>
                    <a:pt x="816" y="148"/>
                  </a:lnTo>
                  <a:lnTo>
                    <a:pt x="821" y="147"/>
                  </a:lnTo>
                  <a:lnTo>
                    <a:pt x="826" y="147"/>
                  </a:lnTo>
                  <a:lnTo>
                    <a:pt x="837" y="148"/>
                  </a:lnTo>
                  <a:lnTo>
                    <a:pt x="845" y="149"/>
                  </a:lnTo>
                  <a:lnTo>
                    <a:pt x="850" y="148"/>
                  </a:lnTo>
                  <a:lnTo>
                    <a:pt x="854" y="144"/>
                  </a:lnTo>
                  <a:lnTo>
                    <a:pt x="855" y="144"/>
                  </a:lnTo>
                  <a:lnTo>
                    <a:pt x="855" y="148"/>
                  </a:lnTo>
                  <a:lnTo>
                    <a:pt x="853" y="160"/>
                  </a:lnTo>
                  <a:lnTo>
                    <a:pt x="851" y="165"/>
                  </a:lnTo>
                  <a:lnTo>
                    <a:pt x="854" y="166"/>
                  </a:lnTo>
                  <a:lnTo>
                    <a:pt x="857" y="166"/>
                  </a:lnTo>
                  <a:lnTo>
                    <a:pt x="860" y="168"/>
                  </a:lnTo>
                  <a:lnTo>
                    <a:pt x="865" y="170"/>
                  </a:lnTo>
                  <a:lnTo>
                    <a:pt x="869" y="170"/>
                  </a:lnTo>
                  <a:lnTo>
                    <a:pt x="871" y="170"/>
                  </a:lnTo>
                  <a:lnTo>
                    <a:pt x="871" y="167"/>
                  </a:lnTo>
                  <a:lnTo>
                    <a:pt x="867" y="164"/>
                  </a:lnTo>
                  <a:lnTo>
                    <a:pt x="867" y="162"/>
                  </a:lnTo>
                  <a:lnTo>
                    <a:pt x="871" y="160"/>
                  </a:lnTo>
                  <a:lnTo>
                    <a:pt x="880" y="158"/>
                  </a:lnTo>
                  <a:lnTo>
                    <a:pt x="883" y="156"/>
                  </a:lnTo>
                  <a:lnTo>
                    <a:pt x="885" y="159"/>
                  </a:lnTo>
                  <a:lnTo>
                    <a:pt x="890" y="165"/>
                  </a:lnTo>
                  <a:lnTo>
                    <a:pt x="891" y="162"/>
                  </a:lnTo>
                  <a:lnTo>
                    <a:pt x="891" y="165"/>
                  </a:lnTo>
                  <a:lnTo>
                    <a:pt x="892" y="177"/>
                  </a:lnTo>
                  <a:lnTo>
                    <a:pt x="889" y="183"/>
                  </a:lnTo>
                  <a:lnTo>
                    <a:pt x="890" y="185"/>
                  </a:lnTo>
                  <a:lnTo>
                    <a:pt x="886" y="185"/>
                  </a:lnTo>
                  <a:lnTo>
                    <a:pt x="880" y="185"/>
                  </a:lnTo>
                  <a:lnTo>
                    <a:pt x="879" y="189"/>
                  </a:lnTo>
                  <a:lnTo>
                    <a:pt x="879" y="191"/>
                  </a:lnTo>
                  <a:lnTo>
                    <a:pt x="875" y="191"/>
                  </a:lnTo>
                  <a:lnTo>
                    <a:pt x="866" y="189"/>
                  </a:lnTo>
                  <a:lnTo>
                    <a:pt x="867" y="192"/>
                  </a:lnTo>
                  <a:lnTo>
                    <a:pt x="867" y="197"/>
                  </a:lnTo>
                  <a:lnTo>
                    <a:pt x="862" y="197"/>
                  </a:lnTo>
                  <a:lnTo>
                    <a:pt x="859" y="194"/>
                  </a:lnTo>
                  <a:lnTo>
                    <a:pt x="856" y="194"/>
                  </a:lnTo>
                  <a:lnTo>
                    <a:pt x="851" y="195"/>
                  </a:lnTo>
                  <a:lnTo>
                    <a:pt x="844" y="197"/>
                  </a:lnTo>
                  <a:lnTo>
                    <a:pt x="843" y="197"/>
                  </a:lnTo>
                  <a:lnTo>
                    <a:pt x="843" y="200"/>
                  </a:lnTo>
                  <a:lnTo>
                    <a:pt x="844" y="202"/>
                  </a:lnTo>
                  <a:lnTo>
                    <a:pt x="849" y="201"/>
                  </a:lnTo>
                  <a:lnTo>
                    <a:pt x="855" y="197"/>
                  </a:lnTo>
                  <a:lnTo>
                    <a:pt x="857" y="197"/>
                  </a:lnTo>
                  <a:lnTo>
                    <a:pt x="860" y="198"/>
                  </a:lnTo>
                  <a:lnTo>
                    <a:pt x="868" y="202"/>
                  </a:lnTo>
                  <a:lnTo>
                    <a:pt x="871" y="206"/>
                  </a:lnTo>
                  <a:lnTo>
                    <a:pt x="877" y="207"/>
                  </a:lnTo>
                  <a:lnTo>
                    <a:pt x="879" y="212"/>
                  </a:lnTo>
                  <a:lnTo>
                    <a:pt x="880" y="216"/>
                  </a:lnTo>
                  <a:lnTo>
                    <a:pt x="883" y="219"/>
                  </a:lnTo>
                  <a:lnTo>
                    <a:pt x="889" y="220"/>
                  </a:lnTo>
                  <a:lnTo>
                    <a:pt x="895" y="222"/>
                  </a:lnTo>
                  <a:lnTo>
                    <a:pt x="897" y="226"/>
                  </a:lnTo>
                  <a:lnTo>
                    <a:pt x="902" y="231"/>
                  </a:lnTo>
                  <a:lnTo>
                    <a:pt x="908" y="231"/>
                  </a:lnTo>
                  <a:lnTo>
                    <a:pt x="908" y="236"/>
                  </a:lnTo>
                  <a:lnTo>
                    <a:pt x="901" y="248"/>
                  </a:lnTo>
                  <a:lnTo>
                    <a:pt x="895" y="250"/>
                  </a:lnTo>
                  <a:lnTo>
                    <a:pt x="891" y="250"/>
                  </a:lnTo>
                  <a:lnTo>
                    <a:pt x="890" y="248"/>
                  </a:lnTo>
                  <a:lnTo>
                    <a:pt x="887" y="247"/>
                  </a:lnTo>
                  <a:lnTo>
                    <a:pt x="883" y="247"/>
                  </a:lnTo>
                  <a:lnTo>
                    <a:pt x="880" y="249"/>
                  </a:lnTo>
                  <a:lnTo>
                    <a:pt x="878" y="249"/>
                  </a:lnTo>
                  <a:lnTo>
                    <a:pt x="869" y="248"/>
                  </a:lnTo>
                  <a:lnTo>
                    <a:pt x="873" y="250"/>
                  </a:lnTo>
                  <a:lnTo>
                    <a:pt x="878" y="253"/>
                  </a:lnTo>
                  <a:lnTo>
                    <a:pt x="883" y="256"/>
                  </a:lnTo>
                  <a:lnTo>
                    <a:pt x="884" y="262"/>
                  </a:lnTo>
                  <a:lnTo>
                    <a:pt x="884" y="267"/>
                  </a:lnTo>
                  <a:lnTo>
                    <a:pt x="884" y="271"/>
                  </a:lnTo>
                  <a:lnTo>
                    <a:pt x="881" y="271"/>
                  </a:lnTo>
                  <a:lnTo>
                    <a:pt x="872" y="267"/>
                  </a:lnTo>
                  <a:lnTo>
                    <a:pt x="867" y="265"/>
                  </a:lnTo>
                  <a:lnTo>
                    <a:pt x="862" y="265"/>
                  </a:lnTo>
                  <a:lnTo>
                    <a:pt x="857" y="262"/>
                  </a:lnTo>
                  <a:lnTo>
                    <a:pt x="855" y="261"/>
                  </a:lnTo>
                  <a:lnTo>
                    <a:pt x="855" y="265"/>
                  </a:lnTo>
                  <a:lnTo>
                    <a:pt x="853" y="265"/>
                  </a:lnTo>
                  <a:lnTo>
                    <a:pt x="849" y="261"/>
                  </a:lnTo>
                  <a:lnTo>
                    <a:pt x="843" y="253"/>
                  </a:lnTo>
                  <a:lnTo>
                    <a:pt x="839" y="250"/>
                  </a:lnTo>
                  <a:lnTo>
                    <a:pt x="837" y="248"/>
                  </a:lnTo>
                  <a:lnTo>
                    <a:pt x="833" y="248"/>
                  </a:lnTo>
                  <a:lnTo>
                    <a:pt x="832" y="250"/>
                  </a:lnTo>
                  <a:lnTo>
                    <a:pt x="830" y="251"/>
                  </a:lnTo>
                  <a:lnTo>
                    <a:pt x="822" y="251"/>
                  </a:lnTo>
                  <a:lnTo>
                    <a:pt x="818" y="251"/>
                  </a:lnTo>
                  <a:lnTo>
                    <a:pt x="819" y="257"/>
                  </a:lnTo>
                  <a:lnTo>
                    <a:pt x="822" y="263"/>
                  </a:lnTo>
                  <a:lnTo>
                    <a:pt x="830" y="265"/>
                  </a:lnTo>
                  <a:lnTo>
                    <a:pt x="838" y="271"/>
                  </a:lnTo>
                  <a:lnTo>
                    <a:pt x="838" y="272"/>
                  </a:lnTo>
                  <a:lnTo>
                    <a:pt x="839" y="274"/>
                  </a:lnTo>
                  <a:lnTo>
                    <a:pt x="847" y="281"/>
                  </a:lnTo>
                  <a:lnTo>
                    <a:pt x="848" y="284"/>
                  </a:lnTo>
                  <a:lnTo>
                    <a:pt x="847" y="285"/>
                  </a:lnTo>
                  <a:lnTo>
                    <a:pt x="842" y="286"/>
                  </a:lnTo>
                  <a:lnTo>
                    <a:pt x="830" y="284"/>
                  </a:lnTo>
                  <a:lnTo>
                    <a:pt x="827" y="284"/>
                  </a:lnTo>
                  <a:lnTo>
                    <a:pt x="826" y="284"/>
                  </a:lnTo>
                  <a:lnTo>
                    <a:pt x="824" y="284"/>
                  </a:lnTo>
                  <a:lnTo>
                    <a:pt x="822" y="280"/>
                  </a:lnTo>
                  <a:lnTo>
                    <a:pt x="822" y="273"/>
                  </a:lnTo>
                  <a:lnTo>
                    <a:pt x="815" y="268"/>
                  </a:lnTo>
                  <a:lnTo>
                    <a:pt x="802" y="263"/>
                  </a:lnTo>
                  <a:lnTo>
                    <a:pt x="800" y="263"/>
                  </a:lnTo>
                  <a:lnTo>
                    <a:pt x="802" y="266"/>
                  </a:lnTo>
                  <a:lnTo>
                    <a:pt x="807" y="272"/>
                  </a:lnTo>
                  <a:lnTo>
                    <a:pt x="808" y="277"/>
                  </a:lnTo>
                  <a:lnTo>
                    <a:pt x="809" y="283"/>
                  </a:lnTo>
                  <a:lnTo>
                    <a:pt x="812" y="281"/>
                  </a:lnTo>
                  <a:lnTo>
                    <a:pt x="815" y="285"/>
                  </a:lnTo>
                  <a:lnTo>
                    <a:pt x="824" y="291"/>
                  </a:lnTo>
                  <a:lnTo>
                    <a:pt x="830" y="293"/>
                  </a:lnTo>
                  <a:lnTo>
                    <a:pt x="832" y="293"/>
                  </a:lnTo>
                  <a:lnTo>
                    <a:pt x="837" y="298"/>
                  </a:lnTo>
                  <a:lnTo>
                    <a:pt x="844" y="304"/>
                  </a:lnTo>
                  <a:lnTo>
                    <a:pt x="847" y="308"/>
                  </a:lnTo>
                  <a:lnTo>
                    <a:pt x="848" y="313"/>
                  </a:lnTo>
                  <a:lnTo>
                    <a:pt x="851" y="317"/>
                  </a:lnTo>
                  <a:lnTo>
                    <a:pt x="854" y="323"/>
                  </a:lnTo>
                  <a:lnTo>
                    <a:pt x="859" y="325"/>
                  </a:lnTo>
                  <a:lnTo>
                    <a:pt x="867" y="323"/>
                  </a:lnTo>
                  <a:lnTo>
                    <a:pt x="871" y="325"/>
                  </a:lnTo>
                  <a:lnTo>
                    <a:pt x="872" y="326"/>
                  </a:lnTo>
                  <a:lnTo>
                    <a:pt x="872" y="333"/>
                  </a:lnTo>
                  <a:lnTo>
                    <a:pt x="873" y="335"/>
                  </a:lnTo>
                  <a:lnTo>
                    <a:pt x="875" y="337"/>
                  </a:lnTo>
                  <a:lnTo>
                    <a:pt x="880" y="334"/>
                  </a:lnTo>
                  <a:lnTo>
                    <a:pt x="881" y="333"/>
                  </a:lnTo>
                  <a:lnTo>
                    <a:pt x="884" y="334"/>
                  </a:lnTo>
                  <a:lnTo>
                    <a:pt x="887" y="341"/>
                  </a:lnTo>
                  <a:lnTo>
                    <a:pt x="890" y="341"/>
                  </a:lnTo>
                  <a:lnTo>
                    <a:pt x="891" y="346"/>
                  </a:lnTo>
                  <a:lnTo>
                    <a:pt x="890" y="355"/>
                  </a:lnTo>
                  <a:lnTo>
                    <a:pt x="891" y="357"/>
                  </a:lnTo>
                  <a:lnTo>
                    <a:pt x="893" y="357"/>
                  </a:lnTo>
                  <a:lnTo>
                    <a:pt x="898" y="357"/>
                  </a:lnTo>
                  <a:lnTo>
                    <a:pt x="902" y="355"/>
                  </a:lnTo>
                  <a:lnTo>
                    <a:pt x="904" y="351"/>
                  </a:lnTo>
                  <a:lnTo>
                    <a:pt x="907" y="350"/>
                  </a:lnTo>
                  <a:lnTo>
                    <a:pt x="913" y="350"/>
                  </a:lnTo>
                  <a:lnTo>
                    <a:pt x="918" y="349"/>
                  </a:lnTo>
                  <a:lnTo>
                    <a:pt x="919" y="346"/>
                  </a:lnTo>
                  <a:lnTo>
                    <a:pt x="919" y="345"/>
                  </a:lnTo>
                  <a:lnTo>
                    <a:pt x="924" y="344"/>
                  </a:lnTo>
                  <a:lnTo>
                    <a:pt x="933" y="344"/>
                  </a:lnTo>
                  <a:lnTo>
                    <a:pt x="936" y="345"/>
                  </a:lnTo>
                  <a:lnTo>
                    <a:pt x="937" y="348"/>
                  </a:lnTo>
                  <a:lnTo>
                    <a:pt x="936" y="354"/>
                  </a:lnTo>
                  <a:lnTo>
                    <a:pt x="934" y="358"/>
                  </a:lnTo>
                  <a:lnTo>
                    <a:pt x="937" y="360"/>
                  </a:lnTo>
                  <a:lnTo>
                    <a:pt x="940" y="360"/>
                  </a:lnTo>
                  <a:lnTo>
                    <a:pt x="944" y="357"/>
                  </a:lnTo>
                  <a:lnTo>
                    <a:pt x="951" y="357"/>
                  </a:lnTo>
                  <a:lnTo>
                    <a:pt x="952" y="358"/>
                  </a:lnTo>
                  <a:lnTo>
                    <a:pt x="955" y="356"/>
                  </a:lnTo>
                  <a:lnTo>
                    <a:pt x="960" y="352"/>
                  </a:lnTo>
                  <a:lnTo>
                    <a:pt x="962" y="352"/>
                  </a:lnTo>
                  <a:lnTo>
                    <a:pt x="963" y="354"/>
                  </a:lnTo>
                  <a:lnTo>
                    <a:pt x="962" y="361"/>
                  </a:lnTo>
                  <a:lnTo>
                    <a:pt x="962" y="368"/>
                  </a:lnTo>
                  <a:lnTo>
                    <a:pt x="962" y="370"/>
                  </a:lnTo>
                  <a:lnTo>
                    <a:pt x="966" y="374"/>
                  </a:lnTo>
                  <a:lnTo>
                    <a:pt x="974" y="372"/>
                  </a:lnTo>
                  <a:lnTo>
                    <a:pt x="979" y="367"/>
                  </a:lnTo>
                  <a:lnTo>
                    <a:pt x="981" y="366"/>
                  </a:lnTo>
                  <a:lnTo>
                    <a:pt x="984" y="366"/>
                  </a:lnTo>
                  <a:lnTo>
                    <a:pt x="985" y="370"/>
                  </a:lnTo>
                  <a:lnTo>
                    <a:pt x="987" y="374"/>
                  </a:lnTo>
                  <a:lnTo>
                    <a:pt x="993" y="380"/>
                  </a:lnTo>
                  <a:lnTo>
                    <a:pt x="997" y="386"/>
                  </a:lnTo>
                  <a:lnTo>
                    <a:pt x="996" y="388"/>
                  </a:lnTo>
                  <a:lnTo>
                    <a:pt x="992" y="391"/>
                  </a:lnTo>
                  <a:lnTo>
                    <a:pt x="981" y="392"/>
                  </a:lnTo>
                  <a:lnTo>
                    <a:pt x="978" y="391"/>
                  </a:lnTo>
                  <a:lnTo>
                    <a:pt x="975" y="393"/>
                  </a:lnTo>
                  <a:lnTo>
                    <a:pt x="973" y="397"/>
                  </a:lnTo>
                  <a:lnTo>
                    <a:pt x="968" y="400"/>
                  </a:lnTo>
                  <a:lnTo>
                    <a:pt x="967" y="400"/>
                  </a:lnTo>
                  <a:lnTo>
                    <a:pt x="962" y="404"/>
                  </a:lnTo>
                  <a:lnTo>
                    <a:pt x="956" y="409"/>
                  </a:lnTo>
                  <a:lnTo>
                    <a:pt x="950" y="410"/>
                  </a:lnTo>
                  <a:lnTo>
                    <a:pt x="945" y="411"/>
                  </a:lnTo>
                  <a:lnTo>
                    <a:pt x="944" y="414"/>
                  </a:lnTo>
                  <a:lnTo>
                    <a:pt x="942" y="420"/>
                  </a:lnTo>
                  <a:lnTo>
                    <a:pt x="943" y="424"/>
                  </a:lnTo>
                  <a:lnTo>
                    <a:pt x="948" y="429"/>
                  </a:lnTo>
                  <a:lnTo>
                    <a:pt x="945" y="432"/>
                  </a:lnTo>
                  <a:lnTo>
                    <a:pt x="933" y="432"/>
                  </a:lnTo>
                  <a:lnTo>
                    <a:pt x="928" y="432"/>
                  </a:lnTo>
                  <a:lnTo>
                    <a:pt x="926" y="435"/>
                  </a:lnTo>
                  <a:lnTo>
                    <a:pt x="926" y="441"/>
                  </a:lnTo>
                  <a:lnTo>
                    <a:pt x="928" y="442"/>
                  </a:lnTo>
                  <a:lnTo>
                    <a:pt x="943" y="442"/>
                  </a:lnTo>
                  <a:lnTo>
                    <a:pt x="943" y="440"/>
                  </a:lnTo>
                  <a:lnTo>
                    <a:pt x="945" y="440"/>
                  </a:lnTo>
                  <a:lnTo>
                    <a:pt x="951" y="442"/>
                  </a:lnTo>
                  <a:lnTo>
                    <a:pt x="962" y="447"/>
                  </a:lnTo>
                  <a:lnTo>
                    <a:pt x="967" y="446"/>
                  </a:lnTo>
                  <a:lnTo>
                    <a:pt x="967" y="442"/>
                  </a:lnTo>
                  <a:lnTo>
                    <a:pt x="968" y="441"/>
                  </a:lnTo>
                  <a:lnTo>
                    <a:pt x="973" y="442"/>
                  </a:lnTo>
                  <a:lnTo>
                    <a:pt x="981" y="446"/>
                  </a:lnTo>
                  <a:lnTo>
                    <a:pt x="985" y="445"/>
                  </a:lnTo>
                  <a:lnTo>
                    <a:pt x="992" y="439"/>
                  </a:lnTo>
                  <a:lnTo>
                    <a:pt x="996" y="433"/>
                  </a:lnTo>
                  <a:lnTo>
                    <a:pt x="999" y="434"/>
                  </a:lnTo>
                  <a:lnTo>
                    <a:pt x="1005" y="440"/>
                  </a:lnTo>
                  <a:lnTo>
                    <a:pt x="1005" y="441"/>
                  </a:lnTo>
                  <a:lnTo>
                    <a:pt x="1003" y="444"/>
                  </a:lnTo>
                  <a:lnTo>
                    <a:pt x="996" y="447"/>
                  </a:lnTo>
                  <a:lnTo>
                    <a:pt x="995" y="448"/>
                  </a:lnTo>
                  <a:lnTo>
                    <a:pt x="997" y="450"/>
                  </a:lnTo>
                  <a:lnTo>
                    <a:pt x="1010" y="455"/>
                  </a:lnTo>
                  <a:lnTo>
                    <a:pt x="1014" y="456"/>
                  </a:lnTo>
                  <a:lnTo>
                    <a:pt x="1016" y="458"/>
                  </a:lnTo>
                  <a:lnTo>
                    <a:pt x="1019" y="461"/>
                  </a:lnTo>
                  <a:lnTo>
                    <a:pt x="1022" y="462"/>
                  </a:lnTo>
                  <a:lnTo>
                    <a:pt x="1023" y="461"/>
                  </a:lnTo>
                  <a:lnTo>
                    <a:pt x="1023" y="459"/>
                  </a:lnTo>
                  <a:lnTo>
                    <a:pt x="1026" y="462"/>
                  </a:lnTo>
                  <a:lnTo>
                    <a:pt x="1030" y="465"/>
                  </a:lnTo>
                  <a:lnTo>
                    <a:pt x="1031" y="469"/>
                  </a:lnTo>
                  <a:lnTo>
                    <a:pt x="1033" y="470"/>
                  </a:lnTo>
                  <a:lnTo>
                    <a:pt x="1036" y="469"/>
                  </a:lnTo>
                  <a:lnTo>
                    <a:pt x="1043" y="464"/>
                  </a:lnTo>
                  <a:lnTo>
                    <a:pt x="1042" y="462"/>
                  </a:lnTo>
                  <a:lnTo>
                    <a:pt x="1042" y="458"/>
                  </a:lnTo>
                  <a:lnTo>
                    <a:pt x="1043" y="452"/>
                  </a:lnTo>
                  <a:lnTo>
                    <a:pt x="1043" y="450"/>
                  </a:lnTo>
                  <a:lnTo>
                    <a:pt x="1042" y="448"/>
                  </a:lnTo>
                  <a:lnTo>
                    <a:pt x="1046" y="447"/>
                  </a:lnTo>
                  <a:lnTo>
                    <a:pt x="1054" y="446"/>
                  </a:lnTo>
                  <a:lnTo>
                    <a:pt x="1055" y="448"/>
                  </a:lnTo>
                  <a:lnTo>
                    <a:pt x="1055" y="453"/>
                  </a:lnTo>
                  <a:lnTo>
                    <a:pt x="1058" y="455"/>
                  </a:lnTo>
                  <a:lnTo>
                    <a:pt x="1063" y="453"/>
                  </a:lnTo>
                  <a:lnTo>
                    <a:pt x="1067" y="455"/>
                  </a:lnTo>
                  <a:lnTo>
                    <a:pt x="1072" y="459"/>
                  </a:lnTo>
                  <a:lnTo>
                    <a:pt x="1076" y="465"/>
                  </a:lnTo>
                  <a:lnTo>
                    <a:pt x="1079" y="473"/>
                  </a:lnTo>
                  <a:lnTo>
                    <a:pt x="1074" y="475"/>
                  </a:lnTo>
                  <a:lnTo>
                    <a:pt x="1069" y="477"/>
                  </a:lnTo>
                  <a:lnTo>
                    <a:pt x="1061" y="479"/>
                  </a:lnTo>
                  <a:lnTo>
                    <a:pt x="1061" y="482"/>
                  </a:lnTo>
                  <a:lnTo>
                    <a:pt x="1062" y="481"/>
                  </a:lnTo>
                  <a:lnTo>
                    <a:pt x="1066" y="483"/>
                  </a:lnTo>
                  <a:lnTo>
                    <a:pt x="1076" y="492"/>
                  </a:lnTo>
                  <a:lnTo>
                    <a:pt x="1079" y="492"/>
                  </a:lnTo>
                  <a:lnTo>
                    <a:pt x="1079" y="493"/>
                  </a:lnTo>
                  <a:lnTo>
                    <a:pt x="1076" y="497"/>
                  </a:lnTo>
                  <a:lnTo>
                    <a:pt x="1069" y="501"/>
                  </a:lnTo>
                  <a:lnTo>
                    <a:pt x="1070" y="506"/>
                  </a:lnTo>
                  <a:lnTo>
                    <a:pt x="1074" y="516"/>
                  </a:lnTo>
                  <a:lnTo>
                    <a:pt x="1076" y="519"/>
                  </a:lnTo>
                  <a:lnTo>
                    <a:pt x="1075" y="521"/>
                  </a:lnTo>
                  <a:lnTo>
                    <a:pt x="1070" y="521"/>
                  </a:lnTo>
                  <a:lnTo>
                    <a:pt x="1068" y="521"/>
                  </a:lnTo>
                  <a:lnTo>
                    <a:pt x="1066" y="518"/>
                  </a:lnTo>
                  <a:lnTo>
                    <a:pt x="1064" y="513"/>
                  </a:lnTo>
                  <a:lnTo>
                    <a:pt x="1061" y="512"/>
                  </a:lnTo>
                  <a:lnTo>
                    <a:pt x="1056" y="512"/>
                  </a:lnTo>
                  <a:lnTo>
                    <a:pt x="1054" y="511"/>
                  </a:lnTo>
                  <a:lnTo>
                    <a:pt x="1054" y="509"/>
                  </a:lnTo>
                  <a:lnTo>
                    <a:pt x="1056" y="509"/>
                  </a:lnTo>
                  <a:lnTo>
                    <a:pt x="1050" y="507"/>
                  </a:lnTo>
                  <a:lnTo>
                    <a:pt x="1038" y="507"/>
                  </a:lnTo>
                  <a:lnTo>
                    <a:pt x="1033" y="509"/>
                  </a:lnTo>
                  <a:lnTo>
                    <a:pt x="1028" y="512"/>
                  </a:lnTo>
                  <a:lnTo>
                    <a:pt x="1030" y="513"/>
                  </a:lnTo>
                  <a:lnTo>
                    <a:pt x="1028" y="518"/>
                  </a:lnTo>
                  <a:lnTo>
                    <a:pt x="1023" y="521"/>
                  </a:lnTo>
                  <a:lnTo>
                    <a:pt x="1025" y="522"/>
                  </a:lnTo>
                  <a:lnTo>
                    <a:pt x="1027" y="523"/>
                  </a:lnTo>
                  <a:lnTo>
                    <a:pt x="1032" y="525"/>
                  </a:lnTo>
                  <a:lnTo>
                    <a:pt x="1036" y="530"/>
                  </a:lnTo>
                  <a:lnTo>
                    <a:pt x="1037" y="530"/>
                  </a:lnTo>
                  <a:lnTo>
                    <a:pt x="1038" y="528"/>
                  </a:lnTo>
                  <a:lnTo>
                    <a:pt x="1042" y="521"/>
                  </a:lnTo>
                  <a:lnTo>
                    <a:pt x="1045" y="517"/>
                  </a:lnTo>
                  <a:lnTo>
                    <a:pt x="1050" y="518"/>
                  </a:lnTo>
                  <a:lnTo>
                    <a:pt x="1058" y="522"/>
                  </a:lnTo>
                  <a:lnTo>
                    <a:pt x="1064" y="524"/>
                  </a:lnTo>
                  <a:lnTo>
                    <a:pt x="1069" y="525"/>
                  </a:lnTo>
                  <a:lnTo>
                    <a:pt x="1078" y="524"/>
                  </a:lnTo>
                  <a:lnTo>
                    <a:pt x="1082" y="523"/>
                  </a:lnTo>
                  <a:lnTo>
                    <a:pt x="1084" y="524"/>
                  </a:lnTo>
                  <a:lnTo>
                    <a:pt x="1085" y="525"/>
                  </a:lnTo>
                  <a:lnTo>
                    <a:pt x="1086" y="531"/>
                  </a:lnTo>
                  <a:lnTo>
                    <a:pt x="1084" y="537"/>
                  </a:lnTo>
                  <a:lnTo>
                    <a:pt x="1079" y="543"/>
                  </a:lnTo>
                  <a:lnTo>
                    <a:pt x="1076" y="546"/>
                  </a:lnTo>
                  <a:lnTo>
                    <a:pt x="1074" y="546"/>
                  </a:lnTo>
                  <a:lnTo>
                    <a:pt x="1070" y="542"/>
                  </a:lnTo>
                  <a:lnTo>
                    <a:pt x="1069" y="541"/>
                  </a:lnTo>
                  <a:lnTo>
                    <a:pt x="1067" y="542"/>
                  </a:lnTo>
                  <a:lnTo>
                    <a:pt x="1063" y="548"/>
                  </a:lnTo>
                  <a:lnTo>
                    <a:pt x="1061" y="549"/>
                  </a:lnTo>
                  <a:lnTo>
                    <a:pt x="1057" y="549"/>
                  </a:lnTo>
                  <a:lnTo>
                    <a:pt x="1056" y="551"/>
                  </a:lnTo>
                  <a:lnTo>
                    <a:pt x="1057" y="553"/>
                  </a:lnTo>
                  <a:lnTo>
                    <a:pt x="1064" y="557"/>
                  </a:lnTo>
                  <a:lnTo>
                    <a:pt x="1069" y="560"/>
                  </a:lnTo>
                  <a:lnTo>
                    <a:pt x="1076" y="569"/>
                  </a:lnTo>
                  <a:lnTo>
                    <a:pt x="1080" y="574"/>
                  </a:lnTo>
                  <a:lnTo>
                    <a:pt x="1080" y="578"/>
                  </a:lnTo>
                  <a:lnTo>
                    <a:pt x="1072" y="588"/>
                  </a:lnTo>
                  <a:lnTo>
                    <a:pt x="1072" y="590"/>
                  </a:lnTo>
                  <a:lnTo>
                    <a:pt x="1070" y="592"/>
                  </a:lnTo>
                  <a:lnTo>
                    <a:pt x="1066" y="598"/>
                  </a:lnTo>
                  <a:lnTo>
                    <a:pt x="1061" y="598"/>
                  </a:lnTo>
                  <a:lnTo>
                    <a:pt x="1054" y="598"/>
                  </a:lnTo>
                  <a:lnTo>
                    <a:pt x="1050" y="596"/>
                  </a:lnTo>
                  <a:lnTo>
                    <a:pt x="1046" y="596"/>
                  </a:lnTo>
                  <a:lnTo>
                    <a:pt x="1042" y="596"/>
                  </a:lnTo>
                  <a:lnTo>
                    <a:pt x="1042" y="598"/>
                  </a:lnTo>
                  <a:lnTo>
                    <a:pt x="1044" y="600"/>
                  </a:lnTo>
                  <a:lnTo>
                    <a:pt x="1049" y="602"/>
                  </a:lnTo>
                  <a:lnTo>
                    <a:pt x="1050" y="605"/>
                  </a:lnTo>
                  <a:lnTo>
                    <a:pt x="1046" y="612"/>
                  </a:lnTo>
                  <a:lnTo>
                    <a:pt x="1046" y="614"/>
                  </a:lnTo>
                  <a:lnTo>
                    <a:pt x="1048" y="617"/>
                  </a:lnTo>
                  <a:lnTo>
                    <a:pt x="1052" y="618"/>
                  </a:lnTo>
                  <a:lnTo>
                    <a:pt x="1058" y="618"/>
                  </a:lnTo>
                  <a:lnTo>
                    <a:pt x="1064" y="619"/>
                  </a:lnTo>
                  <a:lnTo>
                    <a:pt x="1067" y="620"/>
                  </a:lnTo>
                  <a:lnTo>
                    <a:pt x="1070" y="620"/>
                  </a:lnTo>
                  <a:lnTo>
                    <a:pt x="1075" y="618"/>
                  </a:lnTo>
                  <a:lnTo>
                    <a:pt x="1078" y="619"/>
                  </a:lnTo>
                  <a:lnTo>
                    <a:pt x="1078" y="624"/>
                  </a:lnTo>
                  <a:lnTo>
                    <a:pt x="1074" y="630"/>
                  </a:lnTo>
                  <a:lnTo>
                    <a:pt x="1067" y="637"/>
                  </a:lnTo>
                  <a:lnTo>
                    <a:pt x="1049" y="643"/>
                  </a:lnTo>
                  <a:lnTo>
                    <a:pt x="1044" y="650"/>
                  </a:lnTo>
                  <a:lnTo>
                    <a:pt x="1043" y="650"/>
                  </a:lnTo>
                  <a:lnTo>
                    <a:pt x="1038" y="649"/>
                  </a:lnTo>
                  <a:lnTo>
                    <a:pt x="1036" y="647"/>
                  </a:lnTo>
                  <a:lnTo>
                    <a:pt x="1033" y="642"/>
                  </a:lnTo>
                  <a:lnTo>
                    <a:pt x="1031" y="650"/>
                  </a:lnTo>
                  <a:lnTo>
                    <a:pt x="1031" y="652"/>
                  </a:lnTo>
                  <a:lnTo>
                    <a:pt x="1027" y="650"/>
                  </a:lnTo>
                  <a:lnTo>
                    <a:pt x="1021" y="649"/>
                  </a:lnTo>
                  <a:lnTo>
                    <a:pt x="1015" y="644"/>
                  </a:lnTo>
                  <a:lnTo>
                    <a:pt x="1013" y="640"/>
                  </a:lnTo>
                  <a:lnTo>
                    <a:pt x="1010" y="634"/>
                  </a:lnTo>
                  <a:lnTo>
                    <a:pt x="1004" y="630"/>
                  </a:lnTo>
                  <a:lnTo>
                    <a:pt x="1002" y="626"/>
                  </a:lnTo>
                  <a:lnTo>
                    <a:pt x="998" y="625"/>
                  </a:lnTo>
                  <a:lnTo>
                    <a:pt x="990" y="628"/>
                  </a:lnTo>
                  <a:lnTo>
                    <a:pt x="979" y="628"/>
                  </a:lnTo>
                  <a:lnTo>
                    <a:pt x="974" y="626"/>
                  </a:lnTo>
                  <a:lnTo>
                    <a:pt x="973" y="629"/>
                  </a:lnTo>
                  <a:lnTo>
                    <a:pt x="974" y="636"/>
                  </a:lnTo>
                  <a:lnTo>
                    <a:pt x="973" y="638"/>
                  </a:lnTo>
                  <a:lnTo>
                    <a:pt x="971" y="640"/>
                  </a:lnTo>
                  <a:lnTo>
                    <a:pt x="964" y="641"/>
                  </a:lnTo>
                  <a:lnTo>
                    <a:pt x="961" y="640"/>
                  </a:lnTo>
                  <a:lnTo>
                    <a:pt x="957" y="634"/>
                  </a:lnTo>
                  <a:lnTo>
                    <a:pt x="952" y="630"/>
                  </a:lnTo>
                  <a:lnTo>
                    <a:pt x="948" y="630"/>
                  </a:lnTo>
                  <a:lnTo>
                    <a:pt x="944" y="632"/>
                  </a:lnTo>
                  <a:lnTo>
                    <a:pt x="937" y="636"/>
                  </a:lnTo>
                  <a:lnTo>
                    <a:pt x="921" y="647"/>
                  </a:lnTo>
                  <a:lnTo>
                    <a:pt x="918" y="650"/>
                  </a:lnTo>
                  <a:lnTo>
                    <a:pt x="925" y="656"/>
                  </a:lnTo>
                  <a:lnTo>
                    <a:pt x="932" y="660"/>
                  </a:lnTo>
                  <a:lnTo>
                    <a:pt x="936" y="662"/>
                  </a:lnTo>
                  <a:lnTo>
                    <a:pt x="938" y="667"/>
                  </a:lnTo>
                  <a:lnTo>
                    <a:pt x="948" y="671"/>
                  </a:lnTo>
                  <a:lnTo>
                    <a:pt x="963" y="677"/>
                  </a:lnTo>
                  <a:lnTo>
                    <a:pt x="948" y="676"/>
                  </a:lnTo>
                  <a:lnTo>
                    <a:pt x="940" y="673"/>
                  </a:lnTo>
                  <a:lnTo>
                    <a:pt x="937" y="672"/>
                  </a:lnTo>
                  <a:lnTo>
                    <a:pt x="942" y="681"/>
                  </a:lnTo>
                  <a:lnTo>
                    <a:pt x="931" y="672"/>
                  </a:lnTo>
                  <a:lnTo>
                    <a:pt x="931" y="667"/>
                  </a:lnTo>
                  <a:lnTo>
                    <a:pt x="930" y="665"/>
                  </a:lnTo>
                  <a:lnTo>
                    <a:pt x="926" y="664"/>
                  </a:lnTo>
                  <a:lnTo>
                    <a:pt x="915" y="658"/>
                  </a:lnTo>
                  <a:lnTo>
                    <a:pt x="903" y="650"/>
                  </a:lnTo>
                  <a:lnTo>
                    <a:pt x="887" y="640"/>
                  </a:lnTo>
                  <a:lnTo>
                    <a:pt x="890" y="641"/>
                  </a:lnTo>
                  <a:lnTo>
                    <a:pt x="890" y="643"/>
                  </a:lnTo>
                  <a:lnTo>
                    <a:pt x="886" y="646"/>
                  </a:lnTo>
                  <a:lnTo>
                    <a:pt x="883" y="647"/>
                  </a:lnTo>
                  <a:lnTo>
                    <a:pt x="881" y="649"/>
                  </a:lnTo>
                  <a:lnTo>
                    <a:pt x="879" y="650"/>
                  </a:lnTo>
                  <a:lnTo>
                    <a:pt x="878" y="654"/>
                  </a:lnTo>
                  <a:lnTo>
                    <a:pt x="879" y="660"/>
                  </a:lnTo>
                  <a:lnTo>
                    <a:pt x="884" y="666"/>
                  </a:lnTo>
                  <a:lnTo>
                    <a:pt x="889" y="672"/>
                  </a:lnTo>
                  <a:lnTo>
                    <a:pt x="891" y="676"/>
                  </a:lnTo>
                  <a:lnTo>
                    <a:pt x="893" y="682"/>
                  </a:lnTo>
                  <a:lnTo>
                    <a:pt x="896" y="683"/>
                  </a:lnTo>
                  <a:lnTo>
                    <a:pt x="898" y="683"/>
                  </a:lnTo>
                  <a:lnTo>
                    <a:pt x="902" y="685"/>
                  </a:lnTo>
                  <a:lnTo>
                    <a:pt x="905" y="688"/>
                  </a:lnTo>
                  <a:lnTo>
                    <a:pt x="908" y="683"/>
                  </a:lnTo>
                  <a:lnTo>
                    <a:pt x="909" y="682"/>
                  </a:lnTo>
                  <a:lnTo>
                    <a:pt x="910" y="683"/>
                  </a:lnTo>
                  <a:lnTo>
                    <a:pt x="913" y="693"/>
                  </a:lnTo>
                  <a:lnTo>
                    <a:pt x="915" y="695"/>
                  </a:lnTo>
                  <a:lnTo>
                    <a:pt x="918" y="695"/>
                  </a:lnTo>
                  <a:lnTo>
                    <a:pt x="919" y="697"/>
                  </a:lnTo>
                  <a:lnTo>
                    <a:pt x="916" y="702"/>
                  </a:lnTo>
                  <a:lnTo>
                    <a:pt x="918" y="703"/>
                  </a:lnTo>
                  <a:lnTo>
                    <a:pt x="922" y="701"/>
                  </a:lnTo>
                  <a:lnTo>
                    <a:pt x="926" y="700"/>
                  </a:lnTo>
                  <a:lnTo>
                    <a:pt x="927" y="702"/>
                  </a:lnTo>
                  <a:lnTo>
                    <a:pt x="931" y="706"/>
                  </a:lnTo>
                  <a:lnTo>
                    <a:pt x="933" y="707"/>
                  </a:lnTo>
                  <a:lnTo>
                    <a:pt x="933" y="703"/>
                  </a:lnTo>
                  <a:lnTo>
                    <a:pt x="938" y="705"/>
                  </a:lnTo>
                  <a:lnTo>
                    <a:pt x="943" y="707"/>
                  </a:lnTo>
                  <a:lnTo>
                    <a:pt x="944" y="709"/>
                  </a:lnTo>
                  <a:lnTo>
                    <a:pt x="943" y="715"/>
                  </a:lnTo>
                  <a:lnTo>
                    <a:pt x="944" y="717"/>
                  </a:lnTo>
                  <a:lnTo>
                    <a:pt x="946" y="717"/>
                  </a:lnTo>
                  <a:lnTo>
                    <a:pt x="951" y="714"/>
                  </a:lnTo>
                  <a:lnTo>
                    <a:pt x="952" y="713"/>
                  </a:lnTo>
                  <a:lnTo>
                    <a:pt x="954" y="715"/>
                  </a:lnTo>
                  <a:lnTo>
                    <a:pt x="954" y="724"/>
                  </a:lnTo>
                  <a:lnTo>
                    <a:pt x="955" y="733"/>
                  </a:lnTo>
                  <a:lnTo>
                    <a:pt x="949" y="733"/>
                  </a:lnTo>
                  <a:lnTo>
                    <a:pt x="957" y="742"/>
                  </a:lnTo>
                  <a:lnTo>
                    <a:pt x="952" y="745"/>
                  </a:lnTo>
                  <a:lnTo>
                    <a:pt x="949" y="747"/>
                  </a:lnTo>
                  <a:lnTo>
                    <a:pt x="950" y="748"/>
                  </a:lnTo>
                  <a:lnTo>
                    <a:pt x="946" y="750"/>
                  </a:lnTo>
                  <a:lnTo>
                    <a:pt x="939" y="751"/>
                  </a:lnTo>
                  <a:lnTo>
                    <a:pt x="937" y="751"/>
                  </a:lnTo>
                  <a:lnTo>
                    <a:pt x="934" y="756"/>
                  </a:lnTo>
                  <a:lnTo>
                    <a:pt x="931" y="757"/>
                  </a:lnTo>
                  <a:lnTo>
                    <a:pt x="928" y="759"/>
                  </a:lnTo>
                  <a:lnTo>
                    <a:pt x="928" y="761"/>
                  </a:lnTo>
                  <a:lnTo>
                    <a:pt x="930" y="762"/>
                  </a:lnTo>
                  <a:lnTo>
                    <a:pt x="932" y="767"/>
                  </a:lnTo>
                  <a:lnTo>
                    <a:pt x="932" y="772"/>
                  </a:lnTo>
                  <a:lnTo>
                    <a:pt x="927" y="774"/>
                  </a:lnTo>
                  <a:lnTo>
                    <a:pt x="925" y="774"/>
                  </a:lnTo>
                  <a:lnTo>
                    <a:pt x="924" y="772"/>
                  </a:lnTo>
                  <a:lnTo>
                    <a:pt x="922" y="771"/>
                  </a:lnTo>
                  <a:lnTo>
                    <a:pt x="920" y="771"/>
                  </a:lnTo>
                  <a:lnTo>
                    <a:pt x="918" y="772"/>
                  </a:lnTo>
                  <a:lnTo>
                    <a:pt x="914" y="771"/>
                  </a:lnTo>
                  <a:lnTo>
                    <a:pt x="912" y="769"/>
                  </a:lnTo>
                  <a:lnTo>
                    <a:pt x="912" y="771"/>
                  </a:lnTo>
                  <a:lnTo>
                    <a:pt x="912" y="777"/>
                  </a:lnTo>
                  <a:lnTo>
                    <a:pt x="909" y="782"/>
                  </a:lnTo>
                  <a:lnTo>
                    <a:pt x="902" y="782"/>
                  </a:lnTo>
                  <a:lnTo>
                    <a:pt x="898" y="779"/>
                  </a:lnTo>
                  <a:lnTo>
                    <a:pt x="893" y="778"/>
                  </a:lnTo>
                  <a:lnTo>
                    <a:pt x="891" y="777"/>
                  </a:lnTo>
                  <a:lnTo>
                    <a:pt x="893" y="777"/>
                  </a:lnTo>
                  <a:lnTo>
                    <a:pt x="891" y="774"/>
                  </a:lnTo>
                  <a:lnTo>
                    <a:pt x="884" y="768"/>
                  </a:lnTo>
                  <a:lnTo>
                    <a:pt x="883" y="768"/>
                  </a:lnTo>
                  <a:lnTo>
                    <a:pt x="883" y="765"/>
                  </a:lnTo>
                  <a:lnTo>
                    <a:pt x="887" y="761"/>
                  </a:lnTo>
                  <a:lnTo>
                    <a:pt x="887" y="759"/>
                  </a:lnTo>
                  <a:lnTo>
                    <a:pt x="886" y="755"/>
                  </a:lnTo>
                  <a:lnTo>
                    <a:pt x="884" y="750"/>
                  </a:lnTo>
                  <a:lnTo>
                    <a:pt x="883" y="745"/>
                  </a:lnTo>
                  <a:lnTo>
                    <a:pt x="881" y="744"/>
                  </a:lnTo>
                  <a:lnTo>
                    <a:pt x="879" y="745"/>
                  </a:lnTo>
                  <a:lnTo>
                    <a:pt x="875" y="751"/>
                  </a:lnTo>
                  <a:lnTo>
                    <a:pt x="874" y="755"/>
                  </a:lnTo>
                  <a:lnTo>
                    <a:pt x="872" y="757"/>
                  </a:lnTo>
                  <a:lnTo>
                    <a:pt x="868" y="757"/>
                  </a:lnTo>
                  <a:lnTo>
                    <a:pt x="862" y="760"/>
                  </a:lnTo>
                  <a:lnTo>
                    <a:pt x="862" y="759"/>
                  </a:lnTo>
                  <a:lnTo>
                    <a:pt x="861" y="757"/>
                  </a:lnTo>
                  <a:lnTo>
                    <a:pt x="860" y="756"/>
                  </a:lnTo>
                  <a:lnTo>
                    <a:pt x="856" y="757"/>
                  </a:lnTo>
                  <a:lnTo>
                    <a:pt x="849" y="762"/>
                  </a:lnTo>
                  <a:lnTo>
                    <a:pt x="849" y="763"/>
                  </a:lnTo>
                  <a:lnTo>
                    <a:pt x="845" y="762"/>
                  </a:lnTo>
                  <a:lnTo>
                    <a:pt x="842" y="762"/>
                  </a:lnTo>
                  <a:lnTo>
                    <a:pt x="840" y="761"/>
                  </a:lnTo>
                  <a:lnTo>
                    <a:pt x="839" y="754"/>
                  </a:lnTo>
                  <a:lnTo>
                    <a:pt x="838" y="751"/>
                  </a:lnTo>
                  <a:lnTo>
                    <a:pt x="836" y="753"/>
                  </a:lnTo>
                  <a:lnTo>
                    <a:pt x="831" y="756"/>
                  </a:lnTo>
                  <a:lnTo>
                    <a:pt x="826" y="756"/>
                  </a:lnTo>
                  <a:lnTo>
                    <a:pt x="824" y="754"/>
                  </a:lnTo>
                  <a:lnTo>
                    <a:pt x="819" y="754"/>
                  </a:lnTo>
                  <a:lnTo>
                    <a:pt x="803" y="759"/>
                  </a:lnTo>
                  <a:lnTo>
                    <a:pt x="804" y="763"/>
                  </a:lnTo>
                  <a:lnTo>
                    <a:pt x="804" y="765"/>
                  </a:lnTo>
                  <a:lnTo>
                    <a:pt x="802" y="765"/>
                  </a:lnTo>
                  <a:lnTo>
                    <a:pt x="795" y="761"/>
                  </a:lnTo>
                  <a:lnTo>
                    <a:pt x="791" y="756"/>
                  </a:lnTo>
                  <a:lnTo>
                    <a:pt x="789" y="754"/>
                  </a:lnTo>
                  <a:lnTo>
                    <a:pt x="789" y="756"/>
                  </a:lnTo>
                  <a:lnTo>
                    <a:pt x="789" y="762"/>
                  </a:lnTo>
                  <a:lnTo>
                    <a:pt x="786" y="762"/>
                  </a:lnTo>
                  <a:lnTo>
                    <a:pt x="781" y="759"/>
                  </a:lnTo>
                  <a:lnTo>
                    <a:pt x="778" y="759"/>
                  </a:lnTo>
                  <a:lnTo>
                    <a:pt x="774" y="757"/>
                  </a:lnTo>
                  <a:lnTo>
                    <a:pt x="773" y="755"/>
                  </a:lnTo>
                  <a:lnTo>
                    <a:pt x="769" y="755"/>
                  </a:lnTo>
                  <a:lnTo>
                    <a:pt x="767" y="757"/>
                  </a:lnTo>
                  <a:lnTo>
                    <a:pt x="765" y="760"/>
                  </a:lnTo>
                  <a:lnTo>
                    <a:pt x="765" y="761"/>
                  </a:lnTo>
                  <a:lnTo>
                    <a:pt x="771" y="763"/>
                  </a:lnTo>
                  <a:lnTo>
                    <a:pt x="775" y="765"/>
                  </a:lnTo>
                  <a:lnTo>
                    <a:pt x="779" y="766"/>
                  </a:lnTo>
                  <a:lnTo>
                    <a:pt x="784" y="767"/>
                  </a:lnTo>
                  <a:lnTo>
                    <a:pt x="788" y="772"/>
                  </a:lnTo>
                  <a:lnTo>
                    <a:pt x="790" y="777"/>
                  </a:lnTo>
                  <a:lnTo>
                    <a:pt x="788" y="778"/>
                  </a:lnTo>
                  <a:lnTo>
                    <a:pt x="783" y="776"/>
                  </a:lnTo>
                  <a:lnTo>
                    <a:pt x="780" y="776"/>
                  </a:lnTo>
                  <a:lnTo>
                    <a:pt x="778" y="779"/>
                  </a:lnTo>
                  <a:lnTo>
                    <a:pt x="774" y="779"/>
                  </a:lnTo>
                  <a:lnTo>
                    <a:pt x="771" y="777"/>
                  </a:lnTo>
                  <a:lnTo>
                    <a:pt x="769" y="778"/>
                  </a:lnTo>
                  <a:lnTo>
                    <a:pt x="768" y="782"/>
                  </a:lnTo>
                  <a:lnTo>
                    <a:pt x="765" y="783"/>
                  </a:lnTo>
                  <a:lnTo>
                    <a:pt x="762" y="780"/>
                  </a:lnTo>
                  <a:lnTo>
                    <a:pt x="761" y="780"/>
                  </a:lnTo>
                  <a:lnTo>
                    <a:pt x="759" y="780"/>
                  </a:lnTo>
                  <a:lnTo>
                    <a:pt x="756" y="778"/>
                  </a:lnTo>
                  <a:lnTo>
                    <a:pt x="753" y="773"/>
                  </a:lnTo>
                  <a:lnTo>
                    <a:pt x="750" y="769"/>
                  </a:lnTo>
                  <a:lnTo>
                    <a:pt x="747" y="768"/>
                  </a:lnTo>
                  <a:lnTo>
                    <a:pt x="741" y="769"/>
                  </a:lnTo>
                  <a:lnTo>
                    <a:pt x="733" y="768"/>
                  </a:lnTo>
                  <a:lnTo>
                    <a:pt x="725" y="769"/>
                  </a:lnTo>
                  <a:lnTo>
                    <a:pt x="720" y="768"/>
                  </a:lnTo>
                  <a:lnTo>
                    <a:pt x="714" y="763"/>
                  </a:lnTo>
                  <a:lnTo>
                    <a:pt x="709" y="761"/>
                  </a:lnTo>
                  <a:lnTo>
                    <a:pt x="704" y="761"/>
                  </a:lnTo>
                  <a:lnTo>
                    <a:pt x="700" y="761"/>
                  </a:lnTo>
                  <a:lnTo>
                    <a:pt x="697" y="759"/>
                  </a:lnTo>
                  <a:lnTo>
                    <a:pt x="694" y="756"/>
                  </a:lnTo>
                  <a:lnTo>
                    <a:pt x="691" y="756"/>
                  </a:lnTo>
                  <a:lnTo>
                    <a:pt x="695" y="765"/>
                  </a:lnTo>
                  <a:lnTo>
                    <a:pt x="698" y="772"/>
                  </a:lnTo>
                  <a:lnTo>
                    <a:pt x="702" y="776"/>
                  </a:lnTo>
                  <a:lnTo>
                    <a:pt x="704" y="776"/>
                  </a:lnTo>
                  <a:lnTo>
                    <a:pt x="707" y="778"/>
                  </a:lnTo>
                  <a:lnTo>
                    <a:pt x="708" y="778"/>
                  </a:lnTo>
                  <a:lnTo>
                    <a:pt x="712" y="779"/>
                  </a:lnTo>
                  <a:lnTo>
                    <a:pt x="714" y="782"/>
                  </a:lnTo>
                  <a:lnTo>
                    <a:pt x="718" y="780"/>
                  </a:lnTo>
                  <a:lnTo>
                    <a:pt x="724" y="780"/>
                  </a:lnTo>
                  <a:lnTo>
                    <a:pt x="727" y="779"/>
                  </a:lnTo>
                  <a:lnTo>
                    <a:pt x="730" y="779"/>
                  </a:lnTo>
                  <a:lnTo>
                    <a:pt x="735" y="783"/>
                  </a:lnTo>
                  <a:lnTo>
                    <a:pt x="739" y="785"/>
                  </a:lnTo>
                  <a:lnTo>
                    <a:pt x="744" y="786"/>
                  </a:lnTo>
                  <a:lnTo>
                    <a:pt x="748" y="786"/>
                  </a:lnTo>
                  <a:lnTo>
                    <a:pt x="749" y="789"/>
                  </a:lnTo>
                  <a:lnTo>
                    <a:pt x="753" y="794"/>
                  </a:lnTo>
                  <a:lnTo>
                    <a:pt x="754" y="796"/>
                  </a:lnTo>
                  <a:lnTo>
                    <a:pt x="751" y="802"/>
                  </a:lnTo>
                  <a:lnTo>
                    <a:pt x="754" y="803"/>
                  </a:lnTo>
                  <a:lnTo>
                    <a:pt x="760" y="801"/>
                  </a:lnTo>
                  <a:lnTo>
                    <a:pt x="762" y="797"/>
                  </a:lnTo>
                  <a:lnTo>
                    <a:pt x="762" y="792"/>
                  </a:lnTo>
                  <a:lnTo>
                    <a:pt x="767" y="791"/>
                  </a:lnTo>
                  <a:lnTo>
                    <a:pt x="774" y="792"/>
                  </a:lnTo>
                  <a:lnTo>
                    <a:pt x="774" y="796"/>
                  </a:lnTo>
                  <a:lnTo>
                    <a:pt x="772" y="800"/>
                  </a:lnTo>
                  <a:lnTo>
                    <a:pt x="771" y="802"/>
                  </a:lnTo>
                  <a:lnTo>
                    <a:pt x="772" y="806"/>
                  </a:lnTo>
                  <a:lnTo>
                    <a:pt x="773" y="810"/>
                  </a:lnTo>
                  <a:lnTo>
                    <a:pt x="773" y="816"/>
                  </a:lnTo>
                  <a:lnTo>
                    <a:pt x="769" y="819"/>
                  </a:lnTo>
                  <a:lnTo>
                    <a:pt x="766" y="818"/>
                  </a:lnTo>
                  <a:lnTo>
                    <a:pt x="762" y="815"/>
                  </a:lnTo>
                  <a:lnTo>
                    <a:pt x="760" y="814"/>
                  </a:lnTo>
                  <a:lnTo>
                    <a:pt x="759" y="815"/>
                  </a:lnTo>
                  <a:lnTo>
                    <a:pt x="756" y="814"/>
                  </a:lnTo>
                  <a:lnTo>
                    <a:pt x="748" y="810"/>
                  </a:lnTo>
                  <a:lnTo>
                    <a:pt x="744" y="812"/>
                  </a:lnTo>
                  <a:lnTo>
                    <a:pt x="744" y="814"/>
                  </a:lnTo>
                  <a:lnTo>
                    <a:pt x="743" y="815"/>
                  </a:lnTo>
                  <a:lnTo>
                    <a:pt x="743" y="820"/>
                  </a:lnTo>
                  <a:lnTo>
                    <a:pt x="747" y="830"/>
                  </a:lnTo>
                  <a:lnTo>
                    <a:pt x="744" y="837"/>
                  </a:lnTo>
                  <a:lnTo>
                    <a:pt x="744" y="843"/>
                  </a:lnTo>
                  <a:lnTo>
                    <a:pt x="744" y="845"/>
                  </a:lnTo>
                  <a:lnTo>
                    <a:pt x="743" y="845"/>
                  </a:lnTo>
                  <a:lnTo>
                    <a:pt x="733" y="840"/>
                  </a:lnTo>
                  <a:lnTo>
                    <a:pt x="727" y="837"/>
                  </a:lnTo>
                  <a:lnTo>
                    <a:pt x="729" y="839"/>
                  </a:lnTo>
                  <a:lnTo>
                    <a:pt x="727" y="842"/>
                  </a:lnTo>
                  <a:lnTo>
                    <a:pt x="725" y="844"/>
                  </a:lnTo>
                  <a:lnTo>
                    <a:pt x="722" y="845"/>
                  </a:lnTo>
                  <a:lnTo>
                    <a:pt x="718" y="846"/>
                  </a:lnTo>
                  <a:lnTo>
                    <a:pt x="713" y="845"/>
                  </a:lnTo>
                  <a:lnTo>
                    <a:pt x="707" y="840"/>
                  </a:lnTo>
                  <a:lnTo>
                    <a:pt x="703" y="834"/>
                  </a:lnTo>
                  <a:lnTo>
                    <a:pt x="700" y="832"/>
                  </a:lnTo>
                  <a:lnTo>
                    <a:pt x="700" y="830"/>
                  </a:lnTo>
                  <a:lnTo>
                    <a:pt x="700" y="824"/>
                  </a:lnTo>
                  <a:lnTo>
                    <a:pt x="694" y="818"/>
                  </a:lnTo>
                  <a:lnTo>
                    <a:pt x="694" y="819"/>
                  </a:lnTo>
                  <a:lnTo>
                    <a:pt x="696" y="825"/>
                  </a:lnTo>
                  <a:lnTo>
                    <a:pt x="691" y="826"/>
                  </a:lnTo>
                  <a:lnTo>
                    <a:pt x="684" y="825"/>
                  </a:lnTo>
                  <a:lnTo>
                    <a:pt x="682" y="825"/>
                  </a:lnTo>
                  <a:lnTo>
                    <a:pt x="677" y="828"/>
                  </a:lnTo>
                  <a:lnTo>
                    <a:pt x="673" y="830"/>
                  </a:lnTo>
                  <a:lnTo>
                    <a:pt x="682" y="832"/>
                  </a:lnTo>
                  <a:lnTo>
                    <a:pt x="685" y="832"/>
                  </a:lnTo>
                  <a:lnTo>
                    <a:pt x="690" y="833"/>
                  </a:lnTo>
                  <a:lnTo>
                    <a:pt x="691" y="838"/>
                  </a:lnTo>
                  <a:lnTo>
                    <a:pt x="692" y="842"/>
                  </a:lnTo>
                  <a:lnTo>
                    <a:pt x="695" y="845"/>
                  </a:lnTo>
                  <a:lnTo>
                    <a:pt x="694" y="848"/>
                  </a:lnTo>
                  <a:lnTo>
                    <a:pt x="682" y="850"/>
                  </a:lnTo>
                  <a:lnTo>
                    <a:pt x="674" y="848"/>
                  </a:lnTo>
                  <a:lnTo>
                    <a:pt x="670" y="845"/>
                  </a:lnTo>
                  <a:lnTo>
                    <a:pt x="659" y="842"/>
                  </a:lnTo>
                  <a:lnTo>
                    <a:pt x="654" y="842"/>
                  </a:lnTo>
                  <a:lnTo>
                    <a:pt x="651" y="839"/>
                  </a:lnTo>
                  <a:lnTo>
                    <a:pt x="648" y="837"/>
                  </a:lnTo>
                  <a:lnTo>
                    <a:pt x="647" y="834"/>
                  </a:lnTo>
                  <a:lnTo>
                    <a:pt x="649" y="830"/>
                  </a:lnTo>
                  <a:lnTo>
                    <a:pt x="649" y="826"/>
                  </a:lnTo>
                  <a:lnTo>
                    <a:pt x="648" y="825"/>
                  </a:lnTo>
                  <a:lnTo>
                    <a:pt x="645" y="824"/>
                  </a:lnTo>
                  <a:lnTo>
                    <a:pt x="643" y="824"/>
                  </a:lnTo>
                  <a:lnTo>
                    <a:pt x="642" y="827"/>
                  </a:lnTo>
                  <a:lnTo>
                    <a:pt x="641" y="828"/>
                  </a:lnTo>
                  <a:lnTo>
                    <a:pt x="638" y="828"/>
                  </a:lnTo>
                  <a:lnTo>
                    <a:pt x="632" y="827"/>
                  </a:lnTo>
                  <a:lnTo>
                    <a:pt x="631" y="824"/>
                  </a:lnTo>
                  <a:lnTo>
                    <a:pt x="631" y="815"/>
                  </a:lnTo>
                  <a:lnTo>
                    <a:pt x="627" y="809"/>
                  </a:lnTo>
                  <a:lnTo>
                    <a:pt x="627" y="812"/>
                  </a:lnTo>
                  <a:lnTo>
                    <a:pt x="626" y="809"/>
                  </a:lnTo>
                  <a:lnTo>
                    <a:pt x="621" y="801"/>
                  </a:lnTo>
                  <a:lnTo>
                    <a:pt x="621" y="798"/>
                  </a:lnTo>
                  <a:lnTo>
                    <a:pt x="619" y="796"/>
                  </a:lnTo>
                  <a:lnTo>
                    <a:pt x="614" y="796"/>
                  </a:lnTo>
                  <a:lnTo>
                    <a:pt x="611" y="795"/>
                  </a:lnTo>
                  <a:lnTo>
                    <a:pt x="612" y="797"/>
                  </a:lnTo>
                  <a:lnTo>
                    <a:pt x="618" y="804"/>
                  </a:lnTo>
                  <a:lnTo>
                    <a:pt x="621" y="814"/>
                  </a:lnTo>
                  <a:lnTo>
                    <a:pt x="625" y="818"/>
                  </a:lnTo>
                  <a:lnTo>
                    <a:pt x="626" y="822"/>
                  </a:lnTo>
                  <a:lnTo>
                    <a:pt x="624" y="827"/>
                  </a:lnTo>
                  <a:lnTo>
                    <a:pt x="624" y="831"/>
                  </a:lnTo>
                  <a:lnTo>
                    <a:pt x="625" y="840"/>
                  </a:lnTo>
                  <a:lnTo>
                    <a:pt x="625" y="844"/>
                  </a:lnTo>
                  <a:lnTo>
                    <a:pt x="624" y="846"/>
                  </a:lnTo>
                  <a:lnTo>
                    <a:pt x="617" y="848"/>
                  </a:lnTo>
                  <a:lnTo>
                    <a:pt x="611" y="851"/>
                  </a:lnTo>
                  <a:lnTo>
                    <a:pt x="608" y="854"/>
                  </a:lnTo>
                  <a:lnTo>
                    <a:pt x="606" y="854"/>
                  </a:lnTo>
                  <a:lnTo>
                    <a:pt x="597" y="855"/>
                  </a:lnTo>
                  <a:lnTo>
                    <a:pt x="585" y="857"/>
                  </a:lnTo>
                  <a:lnTo>
                    <a:pt x="582" y="857"/>
                  </a:lnTo>
                  <a:lnTo>
                    <a:pt x="578" y="855"/>
                  </a:lnTo>
                  <a:lnTo>
                    <a:pt x="574" y="845"/>
                  </a:lnTo>
                  <a:lnTo>
                    <a:pt x="574" y="838"/>
                  </a:lnTo>
                  <a:lnTo>
                    <a:pt x="570" y="836"/>
                  </a:lnTo>
                  <a:lnTo>
                    <a:pt x="565" y="834"/>
                  </a:lnTo>
                  <a:lnTo>
                    <a:pt x="562" y="836"/>
                  </a:lnTo>
                  <a:lnTo>
                    <a:pt x="561" y="839"/>
                  </a:lnTo>
                  <a:lnTo>
                    <a:pt x="558" y="840"/>
                  </a:lnTo>
                  <a:lnTo>
                    <a:pt x="552" y="840"/>
                  </a:lnTo>
                  <a:lnTo>
                    <a:pt x="548" y="840"/>
                  </a:lnTo>
                  <a:lnTo>
                    <a:pt x="547" y="844"/>
                  </a:lnTo>
                  <a:lnTo>
                    <a:pt x="543" y="844"/>
                  </a:lnTo>
                  <a:lnTo>
                    <a:pt x="535" y="840"/>
                  </a:lnTo>
                  <a:lnTo>
                    <a:pt x="535" y="833"/>
                  </a:lnTo>
                  <a:lnTo>
                    <a:pt x="537" y="830"/>
                  </a:lnTo>
                  <a:lnTo>
                    <a:pt x="536" y="827"/>
                  </a:lnTo>
                  <a:lnTo>
                    <a:pt x="533" y="826"/>
                  </a:lnTo>
                  <a:lnTo>
                    <a:pt x="533" y="824"/>
                  </a:lnTo>
                  <a:lnTo>
                    <a:pt x="530" y="822"/>
                  </a:lnTo>
                  <a:lnTo>
                    <a:pt x="524" y="824"/>
                  </a:lnTo>
                  <a:lnTo>
                    <a:pt x="521" y="821"/>
                  </a:lnTo>
                  <a:lnTo>
                    <a:pt x="519" y="819"/>
                  </a:lnTo>
                  <a:lnTo>
                    <a:pt x="519" y="814"/>
                  </a:lnTo>
                  <a:lnTo>
                    <a:pt x="517" y="809"/>
                  </a:lnTo>
                  <a:lnTo>
                    <a:pt x="519" y="808"/>
                  </a:lnTo>
                  <a:lnTo>
                    <a:pt x="529" y="808"/>
                  </a:lnTo>
                  <a:lnTo>
                    <a:pt x="533" y="802"/>
                  </a:lnTo>
                  <a:lnTo>
                    <a:pt x="537" y="803"/>
                  </a:lnTo>
                  <a:lnTo>
                    <a:pt x="538" y="802"/>
                  </a:lnTo>
                  <a:lnTo>
                    <a:pt x="539" y="800"/>
                  </a:lnTo>
                  <a:lnTo>
                    <a:pt x="543" y="791"/>
                  </a:lnTo>
                  <a:lnTo>
                    <a:pt x="542" y="788"/>
                  </a:lnTo>
                  <a:lnTo>
                    <a:pt x="539" y="786"/>
                  </a:lnTo>
                  <a:lnTo>
                    <a:pt x="533" y="788"/>
                  </a:lnTo>
                  <a:lnTo>
                    <a:pt x="527" y="791"/>
                  </a:lnTo>
                  <a:lnTo>
                    <a:pt x="523" y="792"/>
                  </a:lnTo>
                  <a:lnTo>
                    <a:pt x="520" y="794"/>
                  </a:lnTo>
                  <a:lnTo>
                    <a:pt x="519" y="792"/>
                  </a:lnTo>
                  <a:lnTo>
                    <a:pt x="515" y="789"/>
                  </a:lnTo>
                  <a:lnTo>
                    <a:pt x="513" y="789"/>
                  </a:lnTo>
                  <a:lnTo>
                    <a:pt x="511" y="792"/>
                  </a:lnTo>
                  <a:lnTo>
                    <a:pt x="506" y="798"/>
                  </a:lnTo>
                  <a:lnTo>
                    <a:pt x="497" y="806"/>
                  </a:lnTo>
                  <a:lnTo>
                    <a:pt x="493" y="812"/>
                  </a:lnTo>
                  <a:lnTo>
                    <a:pt x="490" y="820"/>
                  </a:lnTo>
                  <a:lnTo>
                    <a:pt x="490" y="837"/>
                  </a:lnTo>
                  <a:lnTo>
                    <a:pt x="493" y="864"/>
                  </a:lnTo>
                  <a:lnTo>
                    <a:pt x="493" y="879"/>
                  </a:lnTo>
                  <a:lnTo>
                    <a:pt x="494" y="885"/>
                  </a:lnTo>
                  <a:lnTo>
                    <a:pt x="499" y="891"/>
                  </a:lnTo>
                  <a:lnTo>
                    <a:pt x="505" y="899"/>
                  </a:lnTo>
                  <a:lnTo>
                    <a:pt x="508" y="909"/>
                  </a:lnTo>
                  <a:lnTo>
                    <a:pt x="511" y="91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0" name="Freeform 63"/>
            <p:cNvSpPr>
              <a:spLocks/>
            </p:cNvSpPr>
            <p:nvPr userDrawn="1"/>
          </p:nvSpPr>
          <p:spPr bwMode="auto">
            <a:xfrm>
              <a:off x="4319588" y="6208713"/>
              <a:ext cx="287338" cy="350838"/>
            </a:xfrm>
            <a:custGeom>
              <a:avLst/>
              <a:gdLst/>
              <a:ahLst/>
              <a:cxnLst>
                <a:cxn ang="0">
                  <a:pos x="422" y="709"/>
                </a:cxn>
                <a:cxn ang="0">
                  <a:pos x="410" y="667"/>
                </a:cxn>
                <a:cxn ang="0">
                  <a:pos x="390" y="629"/>
                </a:cxn>
                <a:cxn ang="0">
                  <a:pos x="430" y="603"/>
                </a:cxn>
                <a:cxn ang="0">
                  <a:pos x="355" y="668"/>
                </a:cxn>
                <a:cxn ang="0">
                  <a:pos x="387" y="737"/>
                </a:cxn>
                <a:cxn ang="0">
                  <a:pos x="371" y="696"/>
                </a:cxn>
                <a:cxn ang="0">
                  <a:pos x="319" y="703"/>
                </a:cxn>
                <a:cxn ang="0">
                  <a:pos x="273" y="707"/>
                </a:cxn>
                <a:cxn ang="0">
                  <a:pos x="231" y="682"/>
                </a:cxn>
                <a:cxn ang="0">
                  <a:pos x="207" y="703"/>
                </a:cxn>
                <a:cxn ang="0">
                  <a:pos x="175" y="722"/>
                </a:cxn>
                <a:cxn ang="0">
                  <a:pos x="130" y="698"/>
                </a:cxn>
                <a:cxn ang="0">
                  <a:pos x="21" y="722"/>
                </a:cxn>
                <a:cxn ang="0">
                  <a:pos x="80" y="649"/>
                </a:cxn>
                <a:cxn ang="0">
                  <a:pos x="23" y="611"/>
                </a:cxn>
                <a:cxn ang="0">
                  <a:pos x="9" y="560"/>
                </a:cxn>
                <a:cxn ang="0">
                  <a:pos x="9" y="490"/>
                </a:cxn>
                <a:cxn ang="0">
                  <a:pos x="116" y="494"/>
                </a:cxn>
                <a:cxn ang="0">
                  <a:pos x="125" y="454"/>
                </a:cxn>
                <a:cxn ang="0">
                  <a:pos x="149" y="383"/>
                </a:cxn>
                <a:cxn ang="0">
                  <a:pos x="86" y="381"/>
                </a:cxn>
                <a:cxn ang="0">
                  <a:pos x="51" y="358"/>
                </a:cxn>
                <a:cxn ang="0">
                  <a:pos x="62" y="328"/>
                </a:cxn>
                <a:cxn ang="0">
                  <a:pos x="88" y="275"/>
                </a:cxn>
                <a:cxn ang="0">
                  <a:pos x="125" y="203"/>
                </a:cxn>
                <a:cxn ang="0">
                  <a:pos x="165" y="155"/>
                </a:cxn>
                <a:cxn ang="0">
                  <a:pos x="207" y="149"/>
                </a:cxn>
                <a:cxn ang="0">
                  <a:pos x="246" y="179"/>
                </a:cxn>
                <a:cxn ang="0">
                  <a:pos x="332" y="174"/>
                </a:cxn>
                <a:cxn ang="0">
                  <a:pos x="348" y="105"/>
                </a:cxn>
                <a:cxn ang="0">
                  <a:pos x="353" y="108"/>
                </a:cxn>
                <a:cxn ang="0">
                  <a:pos x="385" y="155"/>
                </a:cxn>
                <a:cxn ang="0">
                  <a:pos x="454" y="126"/>
                </a:cxn>
                <a:cxn ang="0">
                  <a:pos x="501" y="156"/>
                </a:cxn>
                <a:cxn ang="0">
                  <a:pos x="556" y="210"/>
                </a:cxn>
                <a:cxn ang="0">
                  <a:pos x="541" y="141"/>
                </a:cxn>
                <a:cxn ang="0">
                  <a:pos x="503" y="89"/>
                </a:cxn>
                <a:cxn ang="0">
                  <a:pos x="490" y="18"/>
                </a:cxn>
                <a:cxn ang="0">
                  <a:pos x="562" y="41"/>
                </a:cxn>
                <a:cxn ang="0">
                  <a:pos x="631" y="86"/>
                </a:cxn>
                <a:cxn ang="0">
                  <a:pos x="648" y="139"/>
                </a:cxn>
                <a:cxn ang="0">
                  <a:pos x="678" y="171"/>
                </a:cxn>
                <a:cxn ang="0">
                  <a:pos x="730" y="171"/>
                </a:cxn>
                <a:cxn ang="0">
                  <a:pos x="780" y="141"/>
                </a:cxn>
                <a:cxn ang="0">
                  <a:pos x="816" y="169"/>
                </a:cxn>
                <a:cxn ang="0">
                  <a:pos x="779" y="222"/>
                </a:cxn>
                <a:cxn ang="0">
                  <a:pos x="755" y="250"/>
                </a:cxn>
                <a:cxn ang="0">
                  <a:pos x="794" y="273"/>
                </a:cxn>
                <a:cxn ang="0">
                  <a:pos x="860" y="298"/>
                </a:cxn>
                <a:cxn ang="0">
                  <a:pos x="902" y="356"/>
                </a:cxn>
                <a:cxn ang="0">
                  <a:pos x="847" y="407"/>
                </a:cxn>
                <a:cxn ang="0">
                  <a:pos x="838" y="446"/>
                </a:cxn>
                <a:cxn ang="0">
                  <a:pos x="771" y="477"/>
                </a:cxn>
                <a:cxn ang="0">
                  <a:pos x="842" y="551"/>
                </a:cxn>
                <a:cxn ang="0">
                  <a:pos x="774" y="549"/>
                </a:cxn>
                <a:cxn ang="0">
                  <a:pos x="768" y="601"/>
                </a:cxn>
                <a:cxn ang="0">
                  <a:pos x="786" y="694"/>
                </a:cxn>
                <a:cxn ang="0">
                  <a:pos x="757" y="742"/>
                </a:cxn>
                <a:cxn ang="0">
                  <a:pos x="686" y="786"/>
                </a:cxn>
                <a:cxn ang="0">
                  <a:pos x="619" y="773"/>
                </a:cxn>
                <a:cxn ang="0">
                  <a:pos x="544" y="777"/>
                </a:cxn>
                <a:cxn ang="0">
                  <a:pos x="483" y="722"/>
                </a:cxn>
              </a:cxnLst>
              <a:rect l="0" t="0" r="r" b="b"/>
              <a:pathLst>
                <a:path w="906" h="1106">
                  <a:moveTo>
                    <a:pt x="472" y="1106"/>
                  </a:moveTo>
                  <a:lnTo>
                    <a:pt x="442" y="1106"/>
                  </a:lnTo>
                  <a:lnTo>
                    <a:pt x="440" y="1077"/>
                  </a:lnTo>
                  <a:lnTo>
                    <a:pt x="437" y="1060"/>
                  </a:lnTo>
                  <a:lnTo>
                    <a:pt x="437" y="1022"/>
                  </a:lnTo>
                  <a:lnTo>
                    <a:pt x="436" y="1017"/>
                  </a:lnTo>
                  <a:lnTo>
                    <a:pt x="438" y="1009"/>
                  </a:lnTo>
                  <a:lnTo>
                    <a:pt x="444" y="958"/>
                  </a:lnTo>
                  <a:lnTo>
                    <a:pt x="452" y="912"/>
                  </a:lnTo>
                  <a:lnTo>
                    <a:pt x="455" y="892"/>
                  </a:lnTo>
                  <a:lnTo>
                    <a:pt x="461" y="873"/>
                  </a:lnTo>
                  <a:lnTo>
                    <a:pt x="462" y="868"/>
                  </a:lnTo>
                  <a:lnTo>
                    <a:pt x="462" y="862"/>
                  </a:lnTo>
                  <a:lnTo>
                    <a:pt x="461" y="849"/>
                  </a:lnTo>
                  <a:lnTo>
                    <a:pt x="461" y="823"/>
                  </a:lnTo>
                  <a:lnTo>
                    <a:pt x="459" y="802"/>
                  </a:lnTo>
                  <a:lnTo>
                    <a:pt x="460" y="791"/>
                  </a:lnTo>
                  <a:lnTo>
                    <a:pt x="461" y="780"/>
                  </a:lnTo>
                  <a:lnTo>
                    <a:pt x="461" y="768"/>
                  </a:lnTo>
                  <a:lnTo>
                    <a:pt x="460" y="756"/>
                  </a:lnTo>
                  <a:lnTo>
                    <a:pt x="458" y="748"/>
                  </a:lnTo>
                  <a:lnTo>
                    <a:pt x="454" y="740"/>
                  </a:lnTo>
                  <a:lnTo>
                    <a:pt x="452" y="738"/>
                  </a:lnTo>
                  <a:lnTo>
                    <a:pt x="452" y="734"/>
                  </a:lnTo>
                  <a:lnTo>
                    <a:pt x="452" y="728"/>
                  </a:lnTo>
                  <a:lnTo>
                    <a:pt x="446" y="714"/>
                  </a:lnTo>
                  <a:lnTo>
                    <a:pt x="444" y="708"/>
                  </a:lnTo>
                  <a:lnTo>
                    <a:pt x="442" y="710"/>
                  </a:lnTo>
                  <a:lnTo>
                    <a:pt x="446" y="715"/>
                  </a:lnTo>
                  <a:lnTo>
                    <a:pt x="444" y="718"/>
                  </a:lnTo>
                  <a:lnTo>
                    <a:pt x="443" y="724"/>
                  </a:lnTo>
                  <a:lnTo>
                    <a:pt x="443" y="728"/>
                  </a:lnTo>
                  <a:lnTo>
                    <a:pt x="441" y="726"/>
                  </a:lnTo>
                  <a:lnTo>
                    <a:pt x="440" y="728"/>
                  </a:lnTo>
                  <a:lnTo>
                    <a:pt x="437" y="728"/>
                  </a:lnTo>
                  <a:lnTo>
                    <a:pt x="435" y="726"/>
                  </a:lnTo>
                  <a:lnTo>
                    <a:pt x="432" y="728"/>
                  </a:lnTo>
                  <a:lnTo>
                    <a:pt x="429" y="731"/>
                  </a:lnTo>
                  <a:lnTo>
                    <a:pt x="426" y="734"/>
                  </a:lnTo>
                  <a:lnTo>
                    <a:pt x="425" y="728"/>
                  </a:lnTo>
                  <a:lnTo>
                    <a:pt x="425" y="726"/>
                  </a:lnTo>
                  <a:lnTo>
                    <a:pt x="423" y="727"/>
                  </a:lnTo>
                  <a:lnTo>
                    <a:pt x="420" y="727"/>
                  </a:lnTo>
                  <a:lnTo>
                    <a:pt x="418" y="732"/>
                  </a:lnTo>
                  <a:lnTo>
                    <a:pt x="408" y="734"/>
                  </a:lnTo>
                  <a:lnTo>
                    <a:pt x="406" y="736"/>
                  </a:lnTo>
                  <a:lnTo>
                    <a:pt x="410" y="732"/>
                  </a:lnTo>
                  <a:lnTo>
                    <a:pt x="412" y="728"/>
                  </a:lnTo>
                  <a:lnTo>
                    <a:pt x="413" y="725"/>
                  </a:lnTo>
                  <a:lnTo>
                    <a:pt x="417" y="724"/>
                  </a:lnTo>
                  <a:lnTo>
                    <a:pt x="414" y="722"/>
                  </a:lnTo>
                  <a:lnTo>
                    <a:pt x="411" y="725"/>
                  </a:lnTo>
                  <a:lnTo>
                    <a:pt x="411" y="721"/>
                  </a:lnTo>
                  <a:lnTo>
                    <a:pt x="416" y="719"/>
                  </a:lnTo>
                  <a:lnTo>
                    <a:pt x="417" y="719"/>
                  </a:lnTo>
                  <a:lnTo>
                    <a:pt x="417" y="718"/>
                  </a:lnTo>
                  <a:lnTo>
                    <a:pt x="416" y="715"/>
                  </a:lnTo>
                  <a:lnTo>
                    <a:pt x="419" y="714"/>
                  </a:lnTo>
                  <a:lnTo>
                    <a:pt x="420" y="716"/>
                  </a:lnTo>
                  <a:lnTo>
                    <a:pt x="420" y="719"/>
                  </a:lnTo>
                  <a:lnTo>
                    <a:pt x="419" y="720"/>
                  </a:lnTo>
                  <a:lnTo>
                    <a:pt x="420" y="722"/>
                  </a:lnTo>
                  <a:lnTo>
                    <a:pt x="424" y="720"/>
                  </a:lnTo>
                  <a:lnTo>
                    <a:pt x="425" y="719"/>
                  </a:lnTo>
                  <a:lnTo>
                    <a:pt x="425" y="718"/>
                  </a:lnTo>
                  <a:lnTo>
                    <a:pt x="424" y="715"/>
                  </a:lnTo>
                  <a:lnTo>
                    <a:pt x="423" y="713"/>
                  </a:lnTo>
                  <a:lnTo>
                    <a:pt x="422" y="709"/>
                  </a:lnTo>
                  <a:lnTo>
                    <a:pt x="423" y="708"/>
                  </a:lnTo>
                  <a:lnTo>
                    <a:pt x="422" y="708"/>
                  </a:lnTo>
                  <a:lnTo>
                    <a:pt x="424" y="703"/>
                  </a:lnTo>
                  <a:lnTo>
                    <a:pt x="428" y="701"/>
                  </a:lnTo>
                  <a:lnTo>
                    <a:pt x="434" y="701"/>
                  </a:lnTo>
                  <a:lnTo>
                    <a:pt x="435" y="702"/>
                  </a:lnTo>
                  <a:lnTo>
                    <a:pt x="440" y="696"/>
                  </a:lnTo>
                  <a:lnTo>
                    <a:pt x="444" y="686"/>
                  </a:lnTo>
                  <a:lnTo>
                    <a:pt x="449" y="683"/>
                  </a:lnTo>
                  <a:lnTo>
                    <a:pt x="449" y="680"/>
                  </a:lnTo>
                  <a:lnTo>
                    <a:pt x="449" y="678"/>
                  </a:lnTo>
                  <a:lnTo>
                    <a:pt x="448" y="680"/>
                  </a:lnTo>
                  <a:lnTo>
                    <a:pt x="448" y="678"/>
                  </a:lnTo>
                  <a:lnTo>
                    <a:pt x="446" y="679"/>
                  </a:lnTo>
                  <a:lnTo>
                    <a:pt x="442" y="682"/>
                  </a:lnTo>
                  <a:lnTo>
                    <a:pt x="438" y="682"/>
                  </a:lnTo>
                  <a:lnTo>
                    <a:pt x="438" y="679"/>
                  </a:lnTo>
                  <a:lnTo>
                    <a:pt x="436" y="680"/>
                  </a:lnTo>
                  <a:lnTo>
                    <a:pt x="435" y="682"/>
                  </a:lnTo>
                  <a:lnTo>
                    <a:pt x="435" y="678"/>
                  </a:lnTo>
                  <a:lnTo>
                    <a:pt x="436" y="676"/>
                  </a:lnTo>
                  <a:lnTo>
                    <a:pt x="437" y="673"/>
                  </a:lnTo>
                  <a:lnTo>
                    <a:pt x="441" y="670"/>
                  </a:lnTo>
                  <a:lnTo>
                    <a:pt x="435" y="674"/>
                  </a:lnTo>
                  <a:lnTo>
                    <a:pt x="434" y="671"/>
                  </a:lnTo>
                  <a:lnTo>
                    <a:pt x="434" y="668"/>
                  </a:lnTo>
                  <a:lnTo>
                    <a:pt x="436" y="667"/>
                  </a:lnTo>
                  <a:lnTo>
                    <a:pt x="435" y="666"/>
                  </a:lnTo>
                  <a:lnTo>
                    <a:pt x="432" y="667"/>
                  </a:lnTo>
                  <a:lnTo>
                    <a:pt x="430" y="670"/>
                  </a:lnTo>
                  <a:lnTo>
                    <a:pt x="430" y="666"/>
                  </a:lnTo>
                  <a:lnTo>
                    <a:pt x="429" y="664"/>
                  </a:lnTo>
                  <a:lnTo>
                    <a:pt x="428" y="660"/>
                  </a:lnTo>
                  <a:lnTo>
                    <a:pt x="425" y="665"/>
                  </a:lnTo>
                  <a:lnTo>
                    <a:pt x="423" y="666"/>
                  </a:lnTo>
                  <a:lnTo>
                    <a:pt x="422" y="668"/>
                  </a:lnTo>
                  <a:lnTo>
                    <a:pt x="423" y="672"/>
                  </a:lnTo>
                  <a:lnTo>
                    <a:pt x="420" y="673"/>
                  </a:lnTo>
                  <a:lnTo>
                    <a:pt x="420" y="674"/>
                  </a:lnTo>
                  <a:lnTo>
                    <a:pt x="425" y="676"/>
                  </a:lnTo>
                  <a:lnTo>
                    <a:pt x="425" y="678"/>
                  </a:lnTo>
                  <a:lnTo>
                    <a:pt x="426" y="680"/>
                  </a:lnTo>
                  <a:lnTo>
                    <a:pt x="425" y="684"/>
                  </a:lnTo>
                  <a:lnTo>
                    <a:pt x="424" y="683"/>
                  </a:lnTo>
                  <a:lnTo>
                    <a:pt x="422" y="680"/>
                  </a:lnTo>
                  <a:lnTo>
                    <a:pt x="420" y="683"/>
                  </a:lnTo>
                  <a:lnTo>
                    <a:pt x="420" y="684"/>
                  </a:lnTo>
                  <a:lnTo>
                    <a:pt x="418" y="679"/>
                  </a:lnTo>
                  <a:lnTo>
                    <a:pt x="416" y="677"/>
                  </a:lnTo>
                  <a:lnTo>
                    <a:pt x="414" y="678"/>
                  </a:lnTo>
                  <a:lnTo>
                    <a:pt x="412" y="680"/>
                  </a:lnTo>
                  <a:lnTo>
                    <a:pt x="411" y="680"/>
                  </a:lnTo>
                  <a:lnTo>
                    <a:pt x="408" y="682"/>
                  </a:lnTo>
                  <a:lnTo>
                    <a:pt x="406" y="686"/>
                  </a:lnTo>
                  <a:lnTo>
                    <a:pt x="402" y="688"/>
                  </a:lnTo>
                  <a:lnTo>
                    <a:pt x="399" y="691"/>
                  </a:lnTo>
                  <a:lnTo>
                    <a:pt x="399" y="688"/>
                  </a:lnTo>
                  <a:lnTo>
                    <a:pt x="402" y="685"/>
                  </a:lnTo>
                  <a:lnTo>
                    <a:pt x="405" y="683"/>
                  </a:lnTo>
                  <a:lnTo>
                    <a:pt x="403" y="683"/>
                  </a:lnTo>
                  <a:lnTo>
                    <a:pt x="403" y="682"/>
                  </a:lnTo>
                  <a:lnTo>
                    <a:pt x="406" y="679"/>
                  </a:lnTo>
                  <a:lnTo>
                    <a:pt x="405" y="678"/>
                  </a:lnTo>
                  <a:lnTo>
                    <a:pt x="402" y="678"/>
                  </a:lnTo>
                  <a:lnTo>
                    <a:pt x="400" y="678"/>
                  </a:lnTo>
                  <a:lnTo>
                    <a:pt x="401" y="674"/>
                  </a:lnTo>
                  <a:lnTo>
                    <a:pt x="403" y="668"/>
                  </a:lnTo>
                  <a:lnTo>
                    <a:pt x="410" y="667"/>
                  </a:lnTo>
                  <a:lnTo>
                    <a:pt x="412" y="670"/>
                  </a:lnTo>
                  <a:lnTo>
                    <a:pt x="413" y="670"/>
                  </a:lnTo>
                  <a:lnTo>
                    <a:pt x="411" y="666"/>
                  </a:lnTo>
                  <a:lnTo>
                    <a:pt x="412" y="665"/>
                  </a:lnTo>
                  <a:lnTo>
                    <a:pt x="417" y="665"/>
                  </a:lnTo>
                  <a:lnTo>
                    <a:pt x="418" y="668"/>
                  </a:lnTo>
                  <a:lnTo>
                    <a:pt x="419" y="666"/>
                  </a:lnTo>
                  <a:lnTo>
                    <a:pt x="422" y="665"/>
                  </a:lnTo>
                  <a:lnTo>
                    <a:pt x="425" y="662"/>
                  </a:lnTo>
                  <a:lnTo>
                    <a:pt x="426" y="659"/>
                  </a:lnTo>
                  <a:lnTo>
                    <a:pt x="426" y="655"/>
                  </a:lnTo>
                  <a:lnTo>
                    <a:pt x="425" y="655"/>
                  </a:lnTo>
                  <a:lnTo>
                    <a:pt x="423" y="656"/>
                  </a:lnTo>
                  <a:lnTo>
                    <a:pt x="418" y="656"/>
                  </a:lnTo>
                  <a:lnTo>
                    <a:pt x="422" y="654"/>
                  </a:lnTo>
                  <a:lnTo>
                    <a:pt x="422" y="650"/>
                  </a:lnTo>
                  <a:lnTo>
                    <a:pt x="422" y="647"/>
                  </a:lnTo>
                  <a:lnTo>
                    <a:pt x="424" y="642"/>
                  </a:lnTo>
                  <a:lnTo>
                    <a:pt x="423" y="642"/>
                  </a:lnTo>
                  <a:lnTo>
                    <a:pt x="418" y="643"/>
                  </a:lnTo>
                  <a:lnTo>
                    <a:pt x="414" y="646"/>
                  </a:lnTo>
                  <a:lnTo>
                    <a:pt x="411" y="648"/>
                  </a:lnTo>
                  <a:lnTo>
                    <a:pt x="408" y="652"/>
                  </a:lnTo>
                  <a:lnTo>
                    <a:pt x="406" y="655"/>
                  </a:lnTo>
                  <a:lnTo>
                    <a:pt x="405" y="654"/>
                  </a:lnTo>
                  <a:lnTo>
                    <a:pt x="405" y="649"/>
                  </a:lnTo>
                  <a:lnTo>
                    <a:pt x="407" y="648"/>
                  </a:lnTo>
                  <a:lnTo>
                    <a:pt x="412" y="647"/>
                  </a:lnTo>
                  <a:lnTo>
                    <a:pt x="417" y="642"/>
                  </a:lnTo>
                  <a:lnTo>
                    <a:pt x="418" y="637"/>
                  </a:lnTo>
                  <a:lnTo>
                    <a:pt x="416" y="638"/>
                  </a:lnTo>
                  <a:lnTo>
                    <a:pt x="412" y="644"/>
                  </a:lnTo>
                  <a:lnTo>
                    <a:pt x="410" y="644"/>
                  </a:lnTo>
                  <a:lnTo>
                    <a:pt x="414" y="637"/>
                  </a:lnTo>
                  <a:lnTo>
                    <a:pt x="414" y="632"/>
                  </a:lnTo>
                  <a:lnTo>
                    <a:pt x="418" y="629"/>
                  </a:lnTo>
                  <a:lnTo>
                    <a:pt x="420" y="626"/>
                  </a:lnTo>
                  <a:lnTo>
                    <a:pt x="417" y="626"/>
                  </a:lnTo>
                  <a:lnTo>
                    <a:pt x="416" y="627"/>
                  </a:lnTo>
                  <a:lnTo>
                    <a:pt x="416" y="630"/>
                  </a:lnTo>
                  <a:lnTo>
                    <a:pt x="413" y="632"/>
                  </a:lnTo>
                  <a:lnTo>
                    <a:pt x="413" y="630"/>
                  </a:lnTo>
                  <a:lnTo>
                    <a:pt x="413" y="626"/>
                  </a:lnTo>
                  <a:lnTo>
                    <a:pt x="411" y="625"/>
                  </a:lnTo>
                  <a:lnTo>
                    <a:pt x="408" y="623"/>
                  </a:lnTo>
                  <a:lnTo>
                    <a:pt x="405" y="623"/>
                  </a:lnTo>
                  <a:lnTo>
                    <a:pt x="410" y="626"/>
                  </a:lnTo>
                  <a:lnTo>
                    <a:pt x="410" y="629"/>
                  </a:lnTo>
                  <a:lnTo>
                    <a:pt x="408" y="630"/>
                  </a:lnTo>
                  <a:lnTo>
                    <a:pt x="408" y="632"/>
                  </a:lnTo>
                  <a:lnTo>
                    <a:pt x="406" y="630"/>
                  </a:lnTo>
                  <a:lnTo>
                    <a:pt x="405" y="632"/>
                  </a:lnTo>
                  <a:lnTo>
                    <a:pt x="406" y="633"/>
                  </a:lnTo>
                  <a:lnTo>
                    <a:pt x="406" y="636"/>
                  </a:lnTo>
                  <a:lnTo>
                    <a:pt x="401" y="641"/>
                  </a:lnTo>
                  <a:lnTo>
                    <a:pt x="399" y="643"/>
                  </a:lnTo>
                  <a:lnTo>
                    <a:pt x="397" y="639"/>
                  </a:lnTo>
                  <a:lnTo>
                    <a:pt x="397" y="635"/>
                  </a:lnTo>
                  <a:lnTo>
                    <a:pt x="396" y="635"/>
                  </a:lnTo>
                  <a:lnTo>
                    <a:pt x="397" y="631"/>
                  </a:lnTo>
                  <a:lnTo>
                    <a:pt x="397" y="629"/>
                  </a:lnTo>
                  <a:lnTo>
                    <a:pt x="397" y="630"/>
                  </a:lnTo>
                  <a:lnTo>
                    <a:pt x="396" y="631"/>
                  </a:lnTo>
                  <a:lnTo>
                    <a:pt x="396" y="627"/>
                  </a:lnTo>
                  <a:lnTo>
                    <a:pt x="395" y="631"/>
                  </a:lnTo>
                  <a:lnTo>
                    <a:pt x="391" y="631"/>
                  </a:lnTo>
                  <a:lnTo>
                    <a:pt x="389" y="633"/>
                  </a:lnTo>
                  <a:lnTo>
                    <a:pt x="390" y="629"/>
                  </a:lnTo>
                  <a:lnTo>
                    <a:pt x="393" y="626"/>
                  </a:lnTo>
                  <a:lnTo>
                    <a:pt x="393" y="624"/>
                  </a:lnTo>
                  <a:lnTo>
                    <a:pt x="388" y="625"/>
                  </a:lnTo>
                  <a:lnTo>
                    <a:pt x="389" y="621"/>
                  </a:lnTo>
                  <a:lnTo>
                    <a:pt x="389" y="619"/>
                  </a:lnTo>
                  <a:lnTo>
                    <a:pt x="389" y="615"/>
                  </a:lnTo>
                  <a:lnTo>
                    <a:pt x="389" y="613"/>
                  </a:lnTo>
                  <a:lnTo>
                    <a:pt x="389" y="612"/>
                  </a:lnTo>
                  <a:lnTo>
                    <a:pt x="391" y="609"/>
                  </a:lnTo>
                  <a:lnTo>
                    <a:pt x="393" y="613"/>
                  </a:lnTo>
                  <a:lnTo>
                    <a:pt x="394" y="617"/>
                  </a:lnTo>
                  <a:lnTo>
                    <a:pt x="394" y="619"/>
                  </a:lnTo>
                  <a:lnTo>
                    <a:pt x="395" y="620"/>
                  </a:lnTo>
                  <a:lnTo>
                    <a:pt x="397" y="620"/>
                  </a:lnTo>
                  <a:lnTo>
                    <a:pt x="400" y="617"/>
                  </a:lnTo>
                  <a:lnTo>
                    <a:pt x="403" y="617"/>
                  </a:lnTo>
                  <a:lnTo>
                    <a:pt x="406" y="618"/>
                  </a:lnTo>
                  <a:lnTo>
                    <a:pt x="407" y="620"/>
                  </a:lnTo>
                  <a:lnTo>
                    <a:pt x="411" y="621"/>
                  </a:lnTo>
                  <a:lnTo>
                    <a:pt x="413" y="621"/>
                  </a:lnTo>
                  <a:lnTo>
                    <a:pt x="416" y="621"/>
                  </a:lnTo>
                  <a:lnTo>
                    <a:pt x="416" y="618"/>
                  </a:lnTo>
                  <a:lnTo>
                    <a:pt x="418" y="617"/>
                  </a:lnTo>
                  <a:lnTo>
                    <a:pt x="422" y="617"/>
                  </a:lnTo>
                  <a:lnTo>
                    <a:pt x="423" y="617"/>
                  </a:lnTo>
                  <a:lnTo>
                    <a:pt x="424" y="619"/>
                  </a:lnTo>
                  <a:lnTo>
                    <a:pt x="425" y="620"/>
                  </a:lnTo>
                  <a:lnTo>
                    <a:pt x="426" y="619"/>
                  </a:lnTo>
                  <a:lnTo>
                    <a:pt x="428" y="618"/>
                  </a:lnTo>
                  <a:lnTo>
                    <a:pt x="426" y="617"/>
                  </a:lnTo>
                  <a:lnTo>
                    <a:pt x="425" y="615"/>
                  </a:lnTo>
                  <a:lnTo>
                    <a:pt x="423" y="614"/>
                  </a:lnTo>
                  <a:lnTo>
                    <a:pt x="422" y="614"/>
                  </a:lnTo>
                  <a:lnTo>
                    <a:pt x="419" y="615"/>
                  </a:lnTo>
                  <a:lnTo>
                    <a:pt x="417" y="615"/>
                  </a:lnTo>
                  <a:lnTo>
                    <a:pt x="414" y="618"/>
                  </a:lnTo>
                  <a:lnTo>
                    <a:pt x="412" y="619"/>
                  </a:lnTo>
                  <a:lnTo>
                    <a:pt x="411" y="618"/>
                  </a:lnTo>
                  <a:lnTo>
                    <a:pt x="410" y="617"/>
                  </a:lnTo>
                  <a:lnTo>
                    <a:pt x="408" y="614"/>
                  </a:lnTo>
                  <a:lnTo>
                    <a:pt x="411" y="613"/>
                  </a:lnTo>
                  <a:lnTo>
                    <a:pt x="412" y="612"/>
                  </a:lnTo>
                  <a:lnTo>
                    <a:pt x="416" y="611"/>
                  </a:lnTo>
                  <a:lnTo>
                    <a:pt x="417" y="612"/>
                  </a:lnTo>
                  <a:lnTo>
                    <a:pt x="419" y="611"/>
                  </a:lnTo>
                  <a:lnTo>
                    <a:pt x="418" y="611"/>
                  </a:lnTo>
                  <a:lnTo>
                    <a:pt x="419" y="608"/>
                  </a:lnTo>
                  <a:lnTo>
                    <a:pt x="419" y="607"/>
                  </a:lnTo>
                  <a:lnTo>
                    <a:pt x="420" y="607"/>
                  </a:lnTo>
                  <a:lnTo>
                    <a:pt x="423" y="606"/>
                  </a:lnTo>
                  <a:lnTo>
                    <a:pt x="418" y="606"/>
                  </a:lnTo>
                  <a:lnTo>
                    <a:pt x="414" y="608"/>
                  </a:lnTo>
                  <a:lnTo>
                    <a:pt x="406" y="608"/>
                  </a:lnTo>
                  <a:lnTo>
                    <a:pt x="410" y="606"/>
                  </a:lnTo>
                  <a:lnTo>
                    <a:pt x="413" y="602"/>
                  </a:lnTo>
                  <a:lnTo>
                    <a:pt x="419" y="602"/>
                  </a:lnTo>
                  <a:lnTo>
                    <a:pt x="423" y="602"/>
                  </a:lnTo>
                  <a:lnTo>
                    <a:pt x="426" y="603"/>
                  </a:lnTo>
                  <a:lnTo>
                    <a:pt x="425" y="607"/>
                  </a:lnTo>
                  <a:lnTo>
                    <a:pt x="426" y="609"/>
                  </a:lnTo>
                  <a:lnTo>
                    <a:pt x="426" y="611"/>
                  </a:lnTo>
                  <a:lnTo>
                    <a:pt x="429" y="612"/>
                  </a:lnTo>
                  <a:lnTo>
                    <a:pt x="429" y="611"/>
                  </a:lnTo>
                  <a:lnTo>
                    <a:pt x="431" y="609"/>
                  </a:lnTo>
                  <a:lnTo>
                    <a:pt x="430" y="607"/>
                  </a:lnTo>
                  <a:lnTo>
                    <a:pt x="429" y="607"/>
                  </a:lnTo>
                  <a:lnTo>
                    <a:pt x="429" y="606"/>
                  </a:lnTo>
                  <a:lnTo>
                    <a:pt x="430" y="603"/>
                  </a:lnTo>
                  <a:lnTo>
                    <a:pt x="430" y="601"/>
                  </a:lnTo>
                  <a:lnTo>
                    <a:pt x="429" y="600"/>
                  </a:lnTo>
                  <a:lnTo>
                    <a:pt x="429" y="597"/>
                  </a:lnTo>
                  <a:lnTo>
                    <a:pt x="429" y="596"/>
                  </a:lnTo>
                  <a:lnTo>
                    <a:pt x="428" y="594"/>
                  </a:lnTo>
                  <a:lnTo>
                    <a:pt x="429" y="594"/>
                  </a:lnTo>
                  <a:lnTo>
                    <a:pt x="425" y="593"/>
                  </a:lnTo>
                  <a:lnTo>
                    <a:pt x="405" y="593"/>
                  </a:lnTo>
                  <a:lnTo>
                    <a:pt x="366" y="599"/>
                  </a:lnTo>
                  <a:lnTo>
                    <a:pt x="355" y="600"/>
                  </a:lnTo>
                  <a:lnTo>
                    <a:pt x="348" y="602"/>
                  </a:lnTo>
                  <a:lnTo>
                    <a:pt x="330" y="611"/>
                  </a:lnTo>
                  <a:lnTo>
                    <a:pt x="325" y="611"/>
                  </a:lnTo>
                  <a:lnTo>
                    <a:pt x="334" y="617"/>
                  </a:lnTo>
                  <a:lnTo>
                    <a:pt x="342" y="621"/>
                  </a:lnTo>
                  <a:lnTo>
                    <a:pt x="346" y="626"/>
                  </a:lnTo>
                  <a:lnTo>
                    <a:pt x="351" y="631"/>
                  </a:lnTo>
                  <a:lnTo>
                    <a:pt x="354" y="633"/>
                  </a:lnTo>
                  <a:lnTo>
                    <a:pt x="349" y="631"/>
                  </a:lnTo>
                  <a:lnTo>
                    <a:pt x="347" y="636"/>
                  </a:lnTo>
                  <a:lnTo>
                    <a:pt x="346" y="638"/>
                  </a:lnTo>
                  <a:lnTo>
                    <a:pt x="346" y="642"/>
                  </a:lnTo>
                  <a:lnTo>
                    <a:pt x="349" y="648"/>
                  </a:lnTo>
                  <a:lnTo>
                    <a:pt x="353" y="652"/>
                  </a:lnTo>
                  <a:lnTo>
                    <a:pt x="355" y="655"/>
                  </a:lnTo>
                  <a:lnTo>
                    <a:pt x="357" y="656"/>
                  </a:lnTo>
                  <a:lnTo>
                    <a:pt x="358" y="655"/>
                  </a:lnTo>
                  <a:lnTo>
                    <a:pt x="358" y="658"/>
                  </a:lnTo>
                  <a:lnTo>
                    <a:pt x="355" y="658"/>
                  </a:lnTo>
                  <a:lnTo>
                    <a:pt x="358" y="659"/>
                  </a:lnTo>
                  <a:lnTo>
                    <a:pt x="360" y="661"/>
                  </a:lnTo>
                  <a:lnTo>
                    <a:pt x="363" y="664"/>
                  </a:lnTo>
                  <a:lnTo>
                    <a:pt x="364" y="661"/>
                  </a:lnTo>
                  <a:lnTo>
                    <a:pt x="363" y="660"/>
                  </a:lnTo>
                  <a:lnTo>
                    <a:pt x="361" y="656"/>
                  </a:lnTo>
                  <a:lnTo>
                    <a:pt x="366" y="659"/>
                  </a:lnTo>
                  <a:lnTo>
                    <a:pt x="370" y="664"/>
                  </a:lnTo>
                  <a:lnTo>
                    <a:pt x="367" y="662"/>
                  </a:lnTo>
                  <a:lnTo>
                    <a:pt x="365" y="664"/>
                  </a:lnTo>
                  <a:lnTo>
                    <a:pt x="366" y="667"/>
                  </a:lnTo>
                  <a:lnTo>
                    <a:pt x="369" y="670"/>
                  </a:lnTo>
                  <a:lnTo>
                    <a:pt x="369" y="674"/>
                  </a:lnTo>
                  <a:lnTo>
                    <a:pt x="366" y="672"/>
                  </a:lnTo>
                  <a:lnTo>
                    <a:pt x="365" y="668"/>
                  </a:lnTo>
                  <a:lnTo>
                    <a:pt x="364" y="671"/>
                  </a:lnTo>
                  <a:lnTo>
                    <a:pt x="365" y="677"/>
                  </a:lnTo>
                  <a:lnTo>
                    <a:pt x="365" y="680"/>
                  </a:lnTo>
                  <a:lnTo>
                    <a:pt x="364" y="673"/>
                  </a:lnTo>
                  <a:lnTo>
                    <a:pt x="363" y="677"/>
                  </a:lnTo>
                  <a:lnTo>
                    <a:pt x="361" y="679"/>
                  </a:lnTo>
                  <a:lnTo>
                    <a:pt x="363" y="673"/>
                  </a:lnTo>
                  <a:lnTo>
                    <a:pt x="360" y="676"/>
                  </a:lnTo>
                  <a:lnTo>
                    <a:pt x="363" y="671"/>
                  </a:lnTo>
                  <a:lnTo>
                    <a:pt x="361" y="668"/>
                  </a:lnTo>
                  <a:lnTo>
                    <a:pt x="363" y="667"/>
                  </a:lnTo>
                  <a:lnTo>
                    <a:pt x="364" y="666"/>
                  </a:lnTo>
                  <a:lnTo>
                    <a:pt x="359" y="662"/>
                  </a:lnTo>
                  <a:lnTo>
                    <a:pt x="355" y="658"/>
                  </a:lnTo>
                  <a:lnTo>
                    <a:pt x="352" y="652"/>
                  </a:lnTo>
                  <a:lnTo>
                    <a:pt x="349" y="649"/>
                  </a:lnTo>
                  <a:lnTo>
                    <a:pt x="351" y="658"/>
                  </a:lnTo>
                  <a:lnTo>
                    <a:pt x="352" y="662"/>
                  </a:lnTo>
                  <a:lnTo>
                    <a:pt x="353" y="666"/>
                  </a:lnTo>
                  <a:lnTo>
                    <a:pt x="353" y="664"/>
                  </a:lnTo>
                  <a:lnTo>
                    <a:pt x="357" y="662"/>
                  </a:lnTo>
                  <a:lnTo>
                    <a:pt x="355" y="666"/>
                  </a:lnTo>
                  <a:lnTo>
                    <a:pt x="354" y="667"/>
                  </a:lnTo>
                  <a:lnTo>
                    <a:pt x="355" y="668"/>
                  </a:lnTo>
                  <a:lnTo>
                    <a:pt x="358" y="667"/>
                  </a:lnTo>
                  <a:lnTo>
                    <a:pt x="357" y="671"/>
                  </a:lnTo>
                  <a:lnTo>
                    <a:pt x="355" y="672"/>
                  </a:lnTo>
                  <a:lnTo>
                    <a:pt x="358" y="676"/>
                  </a:lnTo>
                  <a:lnTo>
                    <a:pt x="363" y="682"/>
                  </a:lnTo>
                  <a:lnTo>
                    <a:pt x="366" y="685"/>
                  </a:lnTo>
                  <a:lnTo>
                    <a:pt x="365" y="683"/>
                  </a:lnTo>
                  <a:lnTo>
                    <a:pt x="369" y="684"/>
                  </a:lnTo>
                  <a:lnTo>
                    <a:pt x="370" y="689"/>
                  </a:lnTo>
                  <a:lnTo>
                    <a:pt x="372" y="690"/>
                  </a:lnTo>
                  <a:lnTo>
                    <a:pt x="375" y="689"/>
                  </a:lnTo>
                  <a:lnTo>
                    <a:pt x="376" y="686"/>
                  </a:lnTo>
                  <a:lnTo>
                    <a:pt x="376" y="684"/>
                  </a:lnTo>
                  <a:lnTo>
                    <a:pt x="377" y="682"/>
                  </a:lnTo>
                  <a:lnTo>
                    <a:pt x="381" y="680"/>
                  </a:lnTo>
                  <a:lnTo>
                    <a:pt x="383" y="679"/>
                  </a:lnTo>
                  <a:lnTo>
                    <a:pt x="384" y="683"/>
                  </a:lnTo>
                  <a:lnTo>
                    <a:pt x="382" y="686"/>
                  </a:lnTo>
                  <a:lnTo>
                    <a:pt x="381" y="690"/>
                  </a:lnTo>
                  <a:lnTo>
                    <a:pt x="382" y="692"/>
                  </a:lnTo>
                  <a:lnTo>
                    <a:pt x="385" y="692"/>
                  </a:lnTo>
                  <a:lnTo>
                    <a:pt x="387" y="691"/>
                  </a:lnTo>
                  <a:lnTo>
                    <a:pt x="389" y="688"/>
                  </a:lnTo>
                  <a:lnTo>
                    <a:pt x="388" y="686"/>
                  </a:lnTo>
                  <a:lnTo>
                    <a:pt x="389" y="682"/>
                  </a:lnTo>
                  <a:lnTo>
                    <a:pt x="390" y="685"/>
                  </a:lnTo>
                  <a:lnTo>
                    <a:pt x="390" y="688"/>
                  </a:lnTo>
                  <a:lnTo>
                    <a:pt x="388" y="691"/>
                  </a:lnTo>
                  <a:lnTo>
                    <a:pt x="387" y="692"/>
                  </a:lnTo>
                  <a:lnTo>
                    <a:pt x="387" y="694"/>
                  </a:lnTo>
                  <a:lnTo>
                    <a:pt x="389" y="695"/>
                  </a:lnTo>
                  <a:lnTo>
                    <a:pt x="390" y="696"/>
                  </a:lnTo>
                  <a:lnTo>
                    <a:pt x="395" y="698"/>
                  </a:lnTo>
                  <a:lnTo>
                    <a:pt x="395" y="702"/>
                  </a:lnTo>
                  <a:lnTo>
                    <a:pt x="393" y="701"/>
                  </a:lnTo>
                  <a:lnTo>
                    <a:pt x="391" y="702"/>
                  </a:lnTo>
                  <a:lnTo>
                    <a:pt x="391" y="703"/>
                  </a:lnTo>
                  <a:lnTo>
                    <a:pt x="394" y="709"/>
                  </a:lnTo>
                  <a:lnTo>
                    <a:pt x="390" y="708"/>
                  </a:lnTo>
                  <a:lnTo>
                    <a:pt x="388" y="702"/>
                  </a:lnTo>
                  <a:lnTo>
                    <a:pt x="390" y="700"/>
                  </a:lnTo>
                  <a:lnTo>
                    <a:pt x="388" y="698"/>
                  </a:lnTo>
                  <a:lnTo>
                    <a:pt x="387" y="696"/>
                  </a:lnTo>
                  <a:lnTo>
                    <a:pt x="385" y="695"/>
                  </a:lnTo>
                  <a:lnTo>
                    <a:pt x="384" y="694"/>
                  </a:lnTo>
                  <a:lnTo>
                    <a:pt x="381" y="692"/>
                  </a:lnTo>
                  <a:lnTo>
                    <a:pt x="379" y="695"/>
                  </a:lnTo>
                  <a:lnTo>
                    <a:pt x="383" y="698"/>
                  </a:lnTo>
                  <a:lnTo>
                    <a:pt x="384" y="704"/>
                  </a:lnTo>
                  <a:lnTo>
                    <a:pt x="388" y="707"/>
                  </a:lnTo>
                  <a:lnTo>
                    <a:pt x="388" y="712"/>
                  </a:lnTo>
                  <a:lnTo>
                    <a:pt x="389" y="720"/>
                  </a:lnTo>
                  <a:lnTo>
                    <a:pt x="393" y="725"/>
                  </a:lnTo>
                  <a:lnTo>
                    <a:pt x="395" y="727"/>
                  </a:lnTo>
                  <a:lnTo>
                    <a:pt x="397" y="728"/>
                  </a:lnTo>
                  <a:lnTo>
                    <a:pt x="400" y="728"/>
                  </a:lnTo>
                  <a:lnTo>
                    <a:pt x="402" y="733"/>
                  </a:lnTo>
                  <a:lnTo>
                    <a:pt x="399" y="732"/>
                  </a:lnTo>
                  <a:lnTo>
                    <a:pt x="400" y="734"/>
                  </a:lnTo>
                  <a:lnTo>
                    <a:pt x="397" y="737"/>
                  </a:lnTo>
                  <a:lnTo>
                    <a:pt x="396" y="737"/>
                  </a:lnTo>
                  <a:lnTo>
                    <a:pt x="396" y="738"/>
                  </a:lnTo>
                  <a:lnTo>
                    <a:pt x="394" y="736"/>
                  </a:lnTo>
                  <a:lnTo>
                    <a:pt x="393" y="737"/>
                  </a:lnTo>
                  <a:lnTo>
                    <a:pt x="390" y="742"/>
                  </a:lnTo>
                  <a:lnTo>
                    <a:pt x="388" y="739"/>
                  </a:lnTo>
                  <a:lnTo>
                    <a:pt x="387" y="738"/>
                  </a:lnTo>
                  <a:lnTo>
                    <a:pt x="387" y="737"/>
                  </a:lnTo>
                  <a:lnTo>
                    <a:pt x="387" y="734"/>
                  </a:lnTo>
                  <a:lnTo>
                    <a:pt x="388" y="732"/>
                  </a:lnTo>
                  <a:lnTo>
                    <a:pt x="387" y="728"/>
                  </a:lnTo>
                  <a:lnTo>
                    <a:pt x="389" y="722"/>
                  </a:lnTo>
                  <a:lnTo>
                    <a:pt x="387" y="713"/>
                  </a:lnTo>
                  <a:lnTo>
                    <a:pt x="385" y="714"/>
                  </a:lnTo>
                  <a:lnTo>
                    <a:pt x="384" y="714"/>
                  </a:lnTo>
                  <a:lnTo>
                    <a:pt x="385" y="718"/>
                  </a:lnTo>
                  <a:lnTo>
                    <a:pt x="382" y="716"/>
                  </a:lnTo>
                  <a:lnTo>
                    <a:pt x="377" y="714"/>
                  </a:lnTo>
                  <a:lnTo>
                    <a:pt x="376" y="713"/>
                  </a:lnTo>
                  <a:lnTo>
                    <a:pt x="375" y="714"/>
                  </a:lnTo>
                  <a:lnTo>
                    <a:pt x="376" y="716"/>
                  </a:lnTo>
                  <a:lnTo>
                    <a:pt x="375" y="722"/>
                  </a:lnTo>
                  <a:lnTo>
                    <a:pt x="375" y="724"/>
                  </a:lnTo>
                  <a:lnTo>
                    <a:pt x="372" y="720"/>
                  </a:lnTo>
                  <a:lnTo>
                    <a:pt x="371" y="716"/>
                  </a:lnTo>
                  <a:lnTo>
                    <a:pt x="373" y="714"/>
                  </a:lnTo>
                  <a:lnTo>
                    <a:pt x="375" y="712"/>
                  </a:lnTo>
                  <a:lnTo>
                    <a:pt x="377" y="709"/>
                  </a:lnTo>
                  <a:lnTo>
                    <a:pt x="378" y="707"/>
                  </a:lnTo>
                  <a:lnTo>
                    <a:pt x="378" y="704"/>
                  </a:lnTo>
                  <a:lnTo>
                    <a:pt x="376" y="704"/>
                  </a:lnTo>
                  <a:lnTo>
                    <a:pt x="375" y="707"/>
                  </a:lnTo>
                  <a:lnTo>
                    <a:pt x="375" y="706"/>
                  </a:lnTo>
                  <a:lnTo>
                    <a:pt x="373" y="703"/>
                  </a:lnTo>
                  <a:lnTo>
                    <a:pt x="370" y="708"/>
                  </a:lnTo>
                  <a:lnTo>
                    <a:pt x="366" y="715"/>
                  </a:lnTo>
                  <a:lnTo>
                    <a:pt x="363" y="722"/>
                  </a:lnTo>
                  <a:lnTo>
                    <a:pt x="364" y="725"/>
                  </a:lnTo>
                  <a:lnTo>
                    <a:pt x="365" y="726"/>
                  </a:lnTo>
                  <a:lnTo>
                    <a:pt x="367" y="725"/>
                  </a:lnTo>
                  <a:lnTo>
                    <a:pt x="369" y="728"/>
                  </a:lnTo>
                  <a:lnTo>
                    <a:pt x="367" y="728"/>
                  </a:lnTo>
                  <a:lnTo>
                    <a:pt x="367" y="733"/>
                  </a:lnTo>
                  <a:lnTo>
                    <a:pt x="366" y="734"/>
                  </a:lnTo>
                  <a:lnTo>
                    <a:pt x="369" y="737"/>
                  </a:lnTo>
                  <a:lnTo>
                    <a:pt x="369" y="739"/>
                  </a:lnTo>
                  <a:lnTo>
                    <a:pt x="367" y="738"/>
                  </a:lnTo>
                  <a:lnTo>
                    <a:pt x="369" y="744"/>
                  </a:lnTo>
                  <a:lnTo>
                    <a:pt x="367" y="748"/>
                  </a:lnTo>
                  <a:lnTo>
                    <a:pt x="364" y="743"/>
                  </a:lnTo>
                  <a:lnTo>
                    <a:pt x="361" y="739"/>
                  </a:lnTo>
                  <a:lnTo>
                    <a:pt x="360" y="743"/>
                  </a:lnTo>
                  <a:lnTo>
                    <a:pt x="355" y="746"/>
                  </a:lnTo>
                  <a:lnTo>
                    <a:pt x="355" y="744"/>
                  </a:lnTo>
                  <a:lnTo>
                    <a:pt x="354" y="742"/>
                  </a:lnTo>
                  <a:lnTo>
                    <a:pt x="352" y="744"/>
                  </a:lnTo>
                  <a:lnTo>
                    <a:pt x="351" y="738"/>
                  </a:lnTo>
                  <a:lnTo>
                    <a:pt x="352" y="734"/>
                  </a:lnTo>
                  <a:lnTo>
                    <a:pt x="349" y="736"/>
                  </a:lnTo>
                  <a:lnTo>
                    <a:pt x="349" y="732"/>
                  </a:lnTo>
                  <a:lnTo>
                    <a:pt x="354" y="726"/>
                  </a:lnTo>
                  <a:lnTo>
                    <a:pt x="354" y="724"/>
                  </a:lnTo>
                  <a:lnTo>
                    <a:pt x="351" y="725"/>
                  </a:lnTo>
                  <a:lnTo>
                    <a:pt x="347" y="730"/>
                  </a:lnTo>
                  <a:lnTo>
                    <a:pt x="346" y="730"/>
                  </a:lnTo>
                  <a:lnTo>
                    <a:pt x="346" y="727"/>
                  </a:lnTo>
                  <a:lnTo>
                    <a:pt x="348" y="721"/>
                  </a:lnTo>
                  <a:lnTo>
                    <a:pt x="351" y="719"/>
                  </a:lnTo>
                  <a:lnTo>
                    <a:pt x="355" y="721"/>
                  </a:lnTo>
                  <a:lnTo>
                    <a:pt x="360" y="720"/>
                  </a:lnTo>
                  <a:lnTo>
                    <a:pt x="363" y="718"/>
                  </a:lnTo>
                  <a:lnTo>
                    <a:pt x="366" y="713"/>
                  </a:lnTo>
                  <a:lnTo>
                    <a:pt x="371" y="704"/>
                  </a:lnTo>
                  <a:lnTo>
                    <a:pt x="373" y="700"/>
                  </a:lnTo>
                  <a:lnTo>
                    <a:pt x="371" y="700"/>
                  </a:lnTo>
                  <a:lnTo>
                    <a:pt x="371" y="696"/>
                  </a:lnTo>
                  <a:lnTo>
                    <a:pt x="370" y="695"/>
                  </a:lnTo>
                  <a:lnTo>
                    <a:pt x="370" y="696"/>
                  </a:lnTo>
                  <a:lnTo>
                    <a:pt x="369" y="698"/>
                  </a:lnTo>
                  <a:lnTo>
                    <a:pt x="365" y="700"/>
                  </a:lnTo>
                  <a:lnTo>
                    <a:pt x="361" y="700"/>
                  </a:lnTo>
                  <a:lnTo>
                    <a:pt x="360" y="701"/>
                  </a:lnTo>
                  <a:lnTo>
                    <a:pt x="359" y="702"/>
                  </a:lnTo>
                  <a:lnTo>
                    <a:pt x="353" y="702"/>
                  </a:lnTo>
                  <a:lnTo>
                    <a:pt x="355" y="700"/>
                  </a:lnTo>
                  <a:lnTo>
                    <a:pt x="358" y="697"/>
                  </a:lnTo>
                  <a:lnTo>
                    <a:pt x="359" y="695"/>
                  </a:lnTo>
                  <a:lnTo>
                    <a:pt x="360" y="694"/>
                  </a:lnTo>
                  <a:lnTo>
                    <a:pt x="365" y="694"/>
                  </a:lnTo>
                  <a:lnTo>
                    <a:pt x="367" y="695"/>
                  </a:lnTo>
                  <a:lnTo>
                    <a:pt x="367" y="692"/>
                  </a:lnTo>
                  <a:lnTo>
                    <a:pt x="370" y="691"/>
                  </a:lnTo>
                  <a:lnTo>
                    <a:pt x="370" y="690"/>
                  </a:lnTo>
                  <a:lnTo>
                    <a:pt x="367" y="690"/>
                  </a:lnTo>
                  <a:lnTo>
                    <a:pt x="364" y="688"/>
                  </a:lnTo>
                  <a:lnTo>
                    <a:pt x="364" y="685"/>
                  </a:lnTo>
                  <a:lnTo>
                    <a:pt x="364" y="688"/>
                  </a:lnTo>
                  <a:lnTo>
                    <a:pt x="360" y="688"/>
                  </a:lnTo>
                  <a:lnTo>
                    <a:pt x="357" y="686"/>
                  </a:lnTo>
                  <a:lnTo>
                    <a:pt x="354" y="686"/>
                  </a:lnTo>
                  <a:lnTo>
                    <a:pt x="351" y="685"/>
                  </a:lnTo>
                  <a:lnTo>
                    <a:pt x="348" y="680"/>
                  </a:lnTo>
                  <a:lnTo>
                    <a:pt x="347" y="683"/>
                  </a:lnTo>
                  <a:lnTo>
                    <a:pt x="351" y="688"/>
                  </a:lnTo>
                  <a:lnTo>
                    <a:pt x="352" y="690"/>
                  </a:lnTo>
                  <a:lnTo>
                    <a:pt x="349" y="691"/>
                  </a:lnTo>
                  <a:lnTo>
                    <a:pt x="349" y="695"/>
                  </a:lnTo>
                  <a:lnTo>
                    <a:pt x="351" y="698"/>
                  </a:lnTo>
                  <a:lnTo>
                    <a:pt x="347" y="697"/>
                  </a:lnTo>
                  <a:lnTo>
                    <a:pt x="347" y="700"/>
                  </a:lnTo>
                  <a:lnTo>
                    <a:pt x="347" y="703"/>
                  </a:lnTo>
                  <a:lnTo>
                    <a:pt x="346" y="702"/>
                  </a:lnTo>
                  <a:lnTo>
                    <a:pt x="344" y="698"/>
                  </a:lnTo>
                  <a:lnTo>
                    <a:pt x="343" y="698"/>
                  </a:lnTo>
                  <a:lnTo>
                    <a:pt x="342" y="701"/>
                  </a:lnTo>
                  <a:lnTo>
                    <a:pt x="341" y="698"/>
                  </a:lnTo>
                  <a:lnTo>
                    <a:pt x="340" y="701"/>
                  </a:lnTo>
                  <a:lnTo>
                    <a:pt x="340" y="707"/>
                  </a:lnTo>
                  <a:lnTo>
                    <a:pt x="338" y="702"/>
                  </a:lnTo>
                  <a:lnTo>
                    <a:pt x="336" y="702"/>
                  </a:lnTo>
                  <a:lnTo>
                    <a:pt x="332" y="704"/>
                  </a:lnTo>
                  <a:lnTo>
                    <a:pt x="334" y="698"/>
                  </a:lnTo>
                  <a:lnTo>
                    <a:pt x="334" y="694"/>
                  </a:lnTo>
                  <a:lnTo>
                    <a:pt x="336" y="689"/>
                  </a:lnTo>
                  <a:lnTo>
                    <a:pt x="334" y="688"/>
                  </a:lnTo>
                  <a:lnTo>
                    <a:pt x="331" y="685"/>
                  </a:lnTo>
                  <a:lnTo>
                    <a:pt x="331" y="686"/>
                  </a:lnTo>
                  <a:lnTo>
                    <a:pt x="329" y="685"/>
                  </a:lnTo>
                  <a:lnTo>
                    <a:pt x="325" y="685"/>
                  </a:lnTo>
                  <a:lnTo>
                    <a:pt x="325" y="688"/>
                  </a:lnTo>
                  <a:lnTo>
                    <a:pt x="329" y="690"/>
                  </a:lnTo>
                  <a:lnTo>
                    <a:pt x="329" y="695"/>
                  </a:lnTo>
                  <a:lnTo>
                    <a:pt x="326" y="695"/>
                  </a:lnTo>
                  <a:lnTo>
                    <a:pt x="326" y="698"/>
                  </a:lnTo>
                  <a:lnTo>
                    <a:pt x="324" y="697"/>
                  </a:lnTo>
                  <a:lnTo>
                    <a:pt x="322" y="692"/>
                  </a:lnTo>
                  <a:lnTo>
                    <a:pt x="320" y="690"/>
                  </a:lnTo>
                  <a:lnTo>
                    <a:pt x="318" y="691"/>
                  </a:lnTo>
                  <a:lnTo>
                    <a:pt x="318" y="694"/>
                  </a:lnTo>
                  <a:lnTo>
                    <a:pt x="320" y="696"/>
                  </a:lnTo>
                  <a:lnTo>
                    <a:pt x="323" y="698"/>
                  </a:lnTo>
                  <a:lnTo>
                    <a:pt x="324" y="703"/>
                  </a:lnTo>
                  <a:lnTo>
                    <a:pt x="323" y="709"/>
                  </a:lnTo>
                  <a:lnTo>
                    <a:pt x="319" y="703"/>
                  </a:lnTo>
                  <a:lnTo>
                    <a:pt x="317" y="698"/>
                  </a:lnTo>
                  <a:lnTo>
                    <a:pt x="316" y="700"/>
                  </a:lnTo>
                  <a:lnTo>
                    <a:pt x="314" y="702"/>
                  </a:lnTo>
                  <a:lnTo>
                    <a:pt x="313" y="700"/>
                  </a:lnTo>
                  <a:lnTo>
                    <a:pt x="312" y="700"/>
                  </a:lnTo>
                  <a:lnTo>
                    <a:pt x="310" y="703"/>
                  </a:lnTo>
                  <a:lnTo>
                    <a:pt x="310" y="706"/>
                  </a:lnTo>
                  <a:lnTo>
                    <a:pt x="310" y="709"/>
                  </a:lnTo>
                  <a:lnTo>
                    <a:pt x="313" y="710"/>
                  </a:lnTo>
                  <a:lnTo>
                    <a:pt x="317" y="710"/>
                  </a:lnTo>
                  <a:lnTo>
                    <a:pt x="318" y="712"/>
                  </a:lnTo>
                  <a:lnTo>
                    <a:pt x="316" y="712"/>
                  </a:lnTo>
                  <a:lnTo>
                    <a:pt x="312" y="712"/>
                  </a:lnTo>
                  <a:lnTo>
                    <a:pt x="311" y="710"/>
                  </a:lnTo>
                  <a:lnTo>
                    <a:pt x="311" y="713"/>
                  </a:lnTo>
                  <a:lnTo>
                    <a:pt x="312" y="716"/>
                  </a:lnTo>
                  <a:lnTo>
                    <a:pt x="311" y="715"/>
                  </a:lnTo>
                  <a:lnTo>
                    <a:pt x="311" y="718"/>
                  </a:lnTo>
                  <a:lnTo>
                    <a:pt x="308" y="720"/>
                  </a:lnTo>
                  <a:lnTo>
                    <a:pt x="307" y="718"/>
                  </a:lnTo>
                  <a:lnTo>
                    <a:pt x="308" y="712"/>
                  </a:lnTo>
                  <a:lnTo>
                    <a:pt x="308" y="709"/>
                  </a:lnTo>
                  <a:lnTo>
                    <a:pt x="307" y="713"/>
                  </a:lnTo>
                  <a:lnTo>
                    <a:pt x="306" y="715"/>
                  </a:lnTo>
                  <a:lnTo>
                    <a:pt x="305" y="713"/>
                  </a:lnTo>
                  <a:lnTo>
                    <a:pt x="304" y="715"/>
                  </a:lnTo>
                  <a:lnTo>
                    <a:pt x="302" y="714"/>
                  </a:lnTo>
                  <a:lnTo>
                    <a:pt x="301" y="712"/>
                  </a:lnTo>
                  <a:lnTo>
                    <a:pt x="301" y="709"/>
                  </a:lnTo>
                  <a:lnTo>
                    <a:pt x="300" y="706"/>
                  </a:lnTo>
                  <a:lnTo>
                    <a:pt x="300" y="708"/>
                  </a:lnTo>
                  <a:lnTo>
                    <a:pt x="298" y="709"/>
                  </a:lnTo>
                  <a:lnTo>
                    <a:pt x="299" y="712"/>
                  </a:lnTo>
                  <a:lnTo>
                    <a:pt x="299" y="716"/>
                  </a:lnTo>
                  <a:lnTo>
                    <a:pt x="293" y="721"/>
                  </a:lnTo>
                  <a:lnTo>
                    <a:pt x="295" y="716"/>
                  </a:lnTo>
                  <a:lnTo>
                    <a:pt x="298" y="712"/>
                  </a:lnTo>
                  <a:lnTo>
                    <a:pt x="296" y="709"/>
                  </a:lnTo>
                  <a:lnTo>
                    <a:pt x="294" y="710"/>
                  </a:lnTo>
                  <a:lnTo>
                    <a:pt x="292" y="712"/>
                  </a:lnTo>
                  <a:lnTo>
                    <a:pt x="290" y="713"/>
                  </a:lnTo>
                  <a:lnTo>
                    <a:pt x="287" y="712"/>
                  </a:lnTo>
                  <a:lnTo>
                    <a:pt x="287" y="714"/>
                  </a:lnTo>
                  <a:lnTo>
                    <a:pt x="290" y="718"/>
                  </a:lnTo>
                  <a:lnTo>
                    <a:pt x="289" y="722"/>
                  </a:lnTo>
                  <a:lnTo>
                    <a:pt x="289" y="724"/>
                  </a:lnTo>
                  <a:lnTo>
                    <a:pt x="288" y="724"/>
                  </a:lnTo>
                  <a:lnTo>
                    <a:pt x="284" y="722"/>
                  </a:lnTo>
                  <a:lnTo>
                    <a:pt x="284" y="725"/>
                  </a:lnTo>
                  <a:lnTo>
                    <a:pt x="282" y="727"/>
                  </a:lnTo>
                  <a:lnTo>
                    <a:pt x="281" y="728"/>
                  </a:lnTo>
                  <a:lnTo>
                    <a:pt x="278" y="728"/>
                  </a:lnTo>
                  <a:lnTo>
                    <a:pt x="277" y="725"/>
                  </a:lnTo>
                  <a:lnTo>
                    <a:pt x="276" y="722"/>
                  </a:lnTo>
                  <a:lnTo>
                    <a:pt x="272" y="724"/>
                  </a:lnTo>
                  <a:lnTo>
                    <a:pt x="271" y="724"/>
                  </a:lnTo>
                  <a:lnTo>
                    <a:pt x="273" y="720"/>
                  </a:lnTo>
                  <a:lnTo>
                    <a:pt x="275" y="718"/>
                  </a:lnTo>
                  <a:lnTo>
                    <a:pt x="275" y="714"/>
                  </a:lnTo>
                  <a:lnTo>
                    <a:pt x="276" y="713"/>
                  </a:lnTo>
                  <a:lnTo>
                    <a:pt x="273" y="712"/>
                  </a:lnTo>
                  <a:lnTo>
                    <a:pt x="272" y="712"/>
                  </a:lnTo>
                  <a:lnTo>
                    <a:pt x="275" y="709"/>
                  </a:lnTo>
                  <a:lnTo>
                    <a:pt x="276" y="707"/>
                  </a:lnTo>
                  <a:lnTo>
                    <a:pt x="276" y="706"/>
                  </a:lnTo>
                  <a:lnTo>
                    <a:pt x="273" y="703"/>
                  </a:lnTo>
                  <a:lnTo>
                    <a:pt x="273" y="704"/>
                  </a:lnTo>
                  <a:lnTo>
                    <a:pt x="273" y="707"/>
                  </a:lnTo>
                  <a:lnTo>
                    <a:pt x="272" y="708"/>
                  </a:lnTo>
                  <a:lnTo>
                    <a:pt x="269" y="710"/>
                  </a:lnTo>
                  <a:lnTo>
                    <a:pt x="267" y="709"/>
                  </a:lnTo>
                  <a:lnTo>
                    <a:pt x="265" y="707"/>
                  </a:lnTo>
                  <a:lnTo>
                    <a:pt x="267" y="703"/>
                  </a:lnTo>
                  <a:lnTo>
                    <a:pt x="266" y="700"/>
                  </a:lnTo>
                  <a:lnTo>
                    <a:pt x="265" y="701"/>
                  </a:lnTo>
                  <a:lnTo>
                    <a:pt x="264" y="701"/>
                  </a:lnTo>
                  <a:lnTo>
                    <a:pt x="263" y="700"/>
                  </a:lnTo>
                  <a:lnTo>
                    <a:pt x="263" y="697"/>
                  </a:lnTo>
                  <a:lnTo>
                    <a:pt x="261" y="698"/>
                  </a:lnTo>
                  <a:lnTo>
                    <a:pt x="259" y="698"/>
                  </a:lnTo>
                  <a:lnTo>
                    <a:pt x="258" y="700"/>
                  </a:lnTo>
                  <a:lnTo>
                    <a:pt x="259" y="701"/>
                  </a:lnTo>
                  <a:lnTo>
                    <a:pt x="263" y="701"/>
                  </a:lnTo>
                  <a:lnTo>
                    <a:pt x="264" y="703"/>
                  </a:lnTo>
                  <a:lnTo>
                    <a:pt x="263" y="703"/>
                  </a:lnTo>
                  <a:lnTo>
                    <a:pt x="260" y="706"/>
                  </a:lnTo>
                  <a:lnTo>
                    <a:pt x="260" y="708"/>
                  </a:lnTo>
                  <a:lnTo>
                    <a:pt x="258" y="706"/>
                  </a:lnTo>
                  <a:lnTo>
                    <a:pt x="255" y="704"/>
                  </a:lnTo>
                  <a:lnTo>
                    <a:pt x="257" y="702"/>
                  </a:lnTo>
                  <a:lnTo>
                    <a:pt x="254" y="702"/>
                  </a:lnTo>
                  <a:lnTo>
                    <a:pt x="253" y="704"/>
                  </a:lnTo>
                  <a:lnTo>
                    <a:pt x="253" y="702"/>
                  </a:lnTo>
                  <a:lnTo>
                    <a:pt x="252" y="701"/>
                  </a:lnTo>
                  <a:lnTo>
                    <a:pt x="253" y="700"/>
                  </a:lnTo>
                  <a:lnTo>
                    <a:pt x="257" y="698"/>
                  </a:lnTo>
                  <a:lnTo>
                    <a:pt x="257" y="697"/>
                  </a:lnTo>
                  <a:lnTo>
                    <a:pt x="255" y="697"/>
                  </a:lnTo>
                  <a:lnTo>
                    <a:pt x="257" y="696"/>
                  </a:lnTo>
                  <a:lnTo>
                    <a:pt x="259" y="695"/>
                  </a:lnTo>
                  <a:lnTo>
                    <a:pt x="260" y="694"/>
                  </a:lnTo>
                  <a:lnTo>
                    <a:pt x="265" y="691"/>
                  </a:lnTo>
                  <a:lnTo>
                    <a:pt x="267" y="689"/>
                  </a:lnTo>
                  <a:lnTo>
                    <a:pt x="266" y="688"/>
                  </a:lnTo>
                  <a:lnTo>
                    <a:pt x="266" y="689"/>
                  </a:lnTo>
                  <a:lnTo>
                    <a:pt x="265" y="690"/>
                  </a:lnTo>
                  <a:lnTo>
                    <a:pt x="263" y="689"/>
                  </a:lnTo>
                  <a:lnTo>
                    <a:pt x="259" y="689"/>
                  </a:lnTo>
                  <a:lnTo>
                    <a:pt x="261" y="686"/>
                  </a:lnTo>
                  <a:lnTo>
                    <a:pt x="264" y="685"/>
                  </a:lnTo>
                  <a:lnTo>
                    <a:pt x="264" y="684"/>
                  </a:lnTo>
                  <a:lnTo>
                    <a:pt x="263" y="683"/>
                  </a:lnTo>
                  <a:lnTo>
                    <a:pt x="261" y="684"/>
                  </a:lnTo>
                  <a:lnTo>
                    <a:pt x="257" y="688"/>
                  </a:lnTo>
                  <a:lnTo>
                    <a:pt x="257" y="685"/>
                  </a:lnTo>
                  <a:lnTo>
                    <a:pt x="259" y="683"/>
                  </a:lnTo>
                  <a:lnTo>
                    <a:pt x="260" y="680"/>
                  </a:lnTo>
                  <a:lnTo>
                    <a:pt x="257" y="682"/>
                  </a:lnTo>
                  <a:lnTo>
                    <a:pt x="255" y="684"/>
                  </a:lnTo>
                  <a:lnTo>
                    <a:pt x="251" y="686"/>
                  </a:lnTo>
                  <a:lnTo>
                    <a:pt x="251" y="682"/>
                  </a:lnTo>
                  <a:lnTo>
                    <a:pt x="249" y="682"/>
                  </a:lnTo>
                  <a:lnTo>
                    <a:pt x="248" y="683"/>
                  </a:lnTo>
                  <a:lnTo>
                    <a:pt x="248" y="686"/>
                  </a:lnTo>
                  <a:lnTo>
                    <a:pt x="245" y="683"/>
                  </a:lnTo>
                  <a:lnTo>
                    <a:pt x="242" y="682"/>
                  </a:lnTo>
                  <a:lnTo>
                    <a:pt x="241" y="684"/>
                  </a:lnTo>
                  <a:lnTo>
                    <a:pt x="240" y="685"/>
                  </a:lnTo>
                  <a:lnTo>
                    <a:pt x="237" y="683"/>
                  </a:lnTo>
                  <a:lnTo>
                    <a:pt x="235" y="682"/>
                  </a:lnTo>
                  <a:lnTo>
                    <a:pt x="235" y="678"/>
                  </a:lnTo>
                  <a:lnTo>
                    <a:pt x="236" y="677"/>
                  </a:lnTo>
                  <a:lnTo>
                    <a:pt x="239" y="676"/>
                  </a:lnTo>
                  <a:lnTo>
                    <a:pt x="235" y="676"/>
                  </a:lnTo>
                  <a:lnTo>
                    <a:pt x="233" y="678"/>
                  </a:lnTo>
                  <a:lnTo>
                    <a:pt x="231" y="682"/>
                  </a:lnTo>
                  <a:lnTo>
                    <a:pt x="230" y="683"/>
                  </a:lnTo>
                  <a:lnTo>
                    <a:pt x="230" y="685"/>
                  </a:lnTo>
                  <a:lnTo>
                    <a:pt x="233" y="688"/>
                  </a:lnTo>
                  <a:lnTo>
                    <a:pt x="235" y="689"/>
                  </a:lnTo>
                  <a:lnTo>
                    <a:pt x="237" y="691"/>
                  </a:lnTo>
                  <a:lnTo>
                    <a:pt x="241" y="692"/>
                  </a:lnTo>
                  <a:lnTo>
                    <a:pt x="240" y="694"/>
                  </a:lnTo>
                  <a:lnTo>
                    <a:pt x="239" y="695"/>
                  </a:lnTo>
                  <a:lnTo>
                    <a:pt x="236" y="695"/>
                  </a:lnTo>
                  <a:lnTo>
                    <a:pt x="236" y="696"/>
                  </a:lnTo>
                  <a:lnTo>
                    <a:pt x="241" y="697"/>
                  </a:lnTo>
                  <a:lnTo>
                    <a:pt x="243" y="702"/>
                  </a:lnTo>
                  <a:lnTo>
                    <a:pt x="241" y="702"/>
                  </a:lnTo>
                  <a:lnTo>
                    <a:pt x="237" y="700"/>
                  </a:lnTo>
                  <a:lnTo>
                    <a:pt x="236" y="701"/>
                  </a:lnTo>
                  <a:lnTo>
                    <a:pt x="235" y="702"/>
                  </a:lnTo>
                  <a:lnTo>
                    <a:pt x="229" y="700"/>
                  </a:lnTo>
                  <a:lnTo>
                    <a:pt x="228" y="700"/>
                  </a:lnTo>
                  <a:lnTo>
                    <a:pt x="227" y="701"/>
                  </a:lnTo>
                  <a:lnTo>
                    <a:pt x="224" y="707"/>
                  </a:lnTo>
                  <a:lnTo>
                    <a:pt x="223" y="707"/>
                  </a:lnTo>
                  <a:lnTo>
                    <a:pt x="223" y="704"/>
                  </a:lnTo>
                  <a:lnTo>
                    <a:pt x="220" y="700"/>
                  </a:lnTo>
                  <a:lnTo>
                    <a:pt x="220" y="696"/>
                  </a:lnTo>
                  <a:lnTo>
                    <a:pt x="219" y="700"/>
                  </a:lnTo>
                  <a:lnTo>
                    <a:pt x="218" y="703"/>
                  </a:lnTo>
                  <a:lnTo>
                    <a:pt x="219" y="704"/>
                  </a:lnTo>
                  <a:lnTo>
                    <a:pt x="217" y="703"/>
                  </a:lnTo>
                  <a:lnTo>
                    <a:pt x="214" y="701"/>
                  </a:lnTo>
                  <a:lnTo>
                    <a:pt x="216" y="704"/>
                  </a:lnTo>
                  <a:lnTo>
                    <a:pt x="216" y="708"/>
                  </a:lnTo>
                  <a:lnTo>
                    <a:pt x="216" y="710"/>
                  </a:lnTo>
                  <a:lnTo>
                    <a:pt x="218" y="712"/>
                  </a:lnTo>
                  <a:lnTo>
                    <a:pt x="220" y="713"/>
                  </a:lnTo>
                  <a:lnTo>
                    <a:pt x="220" y="715"/>
                  </a:lnTo>
                  <a:lnTo>
                    <a:pt x="220" y="719"/>
                  </a:lnTo>
                  <a:lnTo>
                    <a:pt x="222" y="719"/>
                  </a:lnTo>
                  <a:lnTo>
                    <a:pt x="223" y="718"/>
                  </a:lnTo>
                  <a:lnTo>
                    <a:pt x="223" y="712"/>
                  </a:lnTo>
                  <a:lnTo>
                    <a:pt x="224" y="710"/>
                  </a:lnTo>
                  <a:lnTo>
                    <a:pt x="227" y="715"/>
                  </a:lnTo>
                  <a:lnTo>
                    <a:pt x="228" y="720"/>
                  </a:lnTo>
                  <a:lnTo>
                    <a:pt x="224" y="725"/>
                  </a:lnTo>
                  <a:lnTo>
                    <a:pt x="224" y="722"/>
                  </a:lnTo>
                  <a:lnTo>
                    <a:pt x="222" y="720"/>
                  </a:lnTo>
                  <a:lnTo>
                    <a:pt x="223" y="725"/>
                  </a:lnTo>
                  <a:lnTo>
                    <a:pt x="222" y="726"/>
                  </a:lnTo>
                  <a:lnTo>
                    <a:pt x="219" y="724"/>
                  </a:lnTo>
                  <a:lnTo>
                    <a:pt x="216" y="722"/>
                  </a:lnTo>
                  <a:lnTo>
                    <a:pt x="218" y="721"/>
                  </a:lnTo>
                  <a:lnTo>
                    <a:pt x="219" y="719"/>
                  </a:lnTo>
                  <a:lnTo>
                    <a:pt x="219" y="718"/>
                  </a:lnTo>
                  <a:lnTo>
                    <a:pt x="217" y="719"/>
                  </a:lnTo>
                  <a:lnTo>
                    <a:pt x="214" y="720"/>
                  </a:lnTo>
                  <a:lnTo>
                    <a:pt x="214" y="716"/>
                  </a:lnTo>
                  <a:lnTo>
                    <a:pt x="212" y="715"/>
                  </a:lnTo>
                  <a:lnTo>
                    <a:pt x="206" y="716"/>
                  </a:lnTo>
                  <a:lnTo>
                    <a:pt x="207" y="713"/>
                  </a:lnTo>
                  <a:lnTo>
                    <a:pt x="210" y="710"/>
                  </a:lnTo>
                  <a:lnTo>
                    <a:pt x="213" y="710"/>
                  </a:lnTo>
                  <a:lnTo>
                    <a:pt x="213" y="709"/>
                  </a:lnTo>
                  <a:lnTo>
                    <a:pt x="210" y="709"/>
                  </a:lnTo>
                  <a:lnTo>
                    <a:pt x="210" y="708"/>
                  </a:lnTo>
                  <a:lnTo>
                    <a:pt x="211" y="706"/>
                  </a:lnTo>
                  <a:lnTo>
                    <a:pt x="210" y="703"/>
                  </a:lnTo>
                  <a:lnTo>
                    <a:pt x="210" y="702"/>
                  </a:lnTo>
                  <a:lnTo>
                    <a:pt x="208" y="701"/>
                  </a:lnTo>
                  <a:lnTo>
                    <a:pt x="207" y="703"/>
                  </a:lnTo>
                  <a:lnTo>
                    <a:pt x="206" y="703"/>
                  </a:lnTo>
                  <a:lnTo>
                    <a:pt x="205" y="706"/>
                  </a:lnTo>
                  <a:lnTo>
                    <a:pt x="205" y="709"/>
                  </a:lnTo>
                  <a:lnTo>
                    <a:pt x="202" y="706"/>
                  </a:lnTo>
                  <a:lnTo>
                    <a:pt x="200" y="702"/>
                  </a:lnTo>
                  <a:lnTo>
                    <a:pt x="200" y="700"/>
                  </a:lnTo>
                  <a:lnTo>
                    <a:pt x="198" y="697"/>
                  </a:lnTo>
                  <a:lnTo>
                    <a:pt x="200" y="695"/>
                  </a:lnTo>
                  <a:lnTo>
                    <a:pt x="200" y="692"/>
                  </a:lnTo>
                  <a:lnTo>
                    <a:pt x="198" y="694"/>
                  </a:lnTo>
                  <a:lnTo>
                    <a:pt x="198" y="692"/>
                  </a:lnTo>
                  <a:lnTo>
                    <a:pt x="196" y="691"/>
                  </a:lnTo>
                  <a:lnTo>
                    <a:pt x="194" y="691"/>
                  </a:lnTo>
                  <a:lnTo>
                    <a:pt x="193" y="690"/>
                  </a:lnTo>
                  <a:lnTo>
                    <a:pt x="192" y="689"/>
                  </a:lnTo>
                  <a:lnTo>
                    <a:pt x="192" y="686"/>
                  </a:lnTo>
                  <a:lnTo>
                    <a:pt x="190" y="690"/>
                  </a:lnTo>
                  <a:lnTo>
                    <a:pt x="192" y="691"/>
                  </a:lnTo>
                  <a:lnTo>
                    <a:pt x="195" y="692"/>
                  </a:lnTo>
                  <a:lnTo>
                    <a:pt x="194" y="695"/>
                  </a:lnTo>
                  <a:lnTo>
                    <a:pt x="193" y="696"/>
                  </a:lnTo>
                  <a:lnTo>
                    <a:pt x="193" y="698"/>
                  </a:lnTo>
                  <a:lnTo>
                    <a:pt x="190" y="701"/>
                  </a:lnTo>
                  <a:lnTo>
                    <a:pt x="194" y="701"/>
                  </a:lnTo>
                  <a:lnTo>
                    <a:pt x="196" y="701"/>
                  </a:lnTo>
                  <a:lnTo>
                    <a:pt x="198" y="704"/>
                  </a:lnTo>
                  <a:lnTo>
                    <a:pt x="196" y="707"/>
                  </a:lnTo>
                  <a:lnTo>
                    <a:pt x="195" y="707"/>
                  </a:lnTo>
                  <a:lnTo>
                    <a:pt x="194" y="708"/>
                  </a:lnTo>
                  <a:lnTo>
                    <a:pt x="193" y="709"/>
                  </a:lnTo>
                  <a:lnTo>
                    <a:pt x="190" y="710"/>
                  </a:lnTo>
                  <a:lnTo>
                    <a:pt x="189" y="709"/>
                  </a:lnTo>
                  <a:lnTo>
                    <a:pt x="189" y="704"/>
                  </a:lnTo>
                  <a:lnTo>
                    <a:pt x="188" y="703"/>
                  </a:lnTo>
                  <a:lnTo>
                    <a:pt x="187" y="707"/>
                  </a:lnTo>
                  <a:lnTo>
                    <a:pt x="186" y="712"/>
                  </a:lnTo>
                  <a:lnTo>
                    <a:pt x="186" y="708"/>
                  </a:lnTo>
                  <a:lnTo>
                    <a:pt x="184" y="709"/>
                  </a:lnTo>
                  <a:lnTo>
                    <a:pt x="182" y="712"/>
                  </a:lnTo>
                  <a:lnTo>
                    <a:pt x="182" y="707"/>
                  </a:lnTo>
                  <a:lnTo>
                    <a:pt x="181" y="704"/>
                  </a:lnTo>
                  <a:lnTo>
                    <a:pt x="180" y="704"/>
                  </a:lnTo>
                  <a:lnTo>
                    <a:pt x="178" y="706"/>
                  </a:lnTo>
                  <a:lnTo>
                    <a:pt x="178" y="707"/>
                  </a:lnTo>
                  <a:lnTo>
                    <a:pt x="180" y="709"/>
                  </a:lnTo>
                  <a:lnTo>
                    <a:pt x="177" y="713"/>
                  </a:lnTo>
                  <a:lnTo>
                    <a:pt x="175" y="715"/>
                  </a:lnTo>
                  <a:lnTo>
                    <a:pt x="174" y="713"/>
                  </a:lnTo>
                  <a:lnTo>
                    <a:pt x="171" y="710"/>
                  </a:lnTo>
                  <a:lnTo>
                    <a:pt x="170" y="714"/>
                  </a:lnTo>
                  <a:lnTo>
                    <a:pt x="171" y="718"/>
                  </a:lnTo>
                  <a:lnTo>
                    <a:pt x="172" y="718"/>
                  </a:lnTo>
                  <a:lnTo>
                    <a:pt x="176" y="718"/>
                  </a:lnTo>
                  <a:lnTo>
                    <a:pt x="177" y="720"/>
                  </a:lnTo>
                  <a:lnTo>
                    <a:pt x="178" y="720"/>
                  </a:lnTo>
                  <a:lnTo>
                    <a:pt x="180" y="716"/>
                  </a:lnTo>
                  <a:lnTo>
                    <a:pt x="181" y="712"/>
                  </a:lnTo>
                  <a:lnTo>
                    <a:pt x="181" y="714"/>
                  </a:lnTo>
                  <a:lnTo>
                    <a:pt x="182" y="714"/>
                  </a:lnTo>
                  <a:lnTo>
                    <a:pt x="187" y="715"/>
                  </a:lnTo>
                  <a:lnTo>
                    <a:pt x="184" y="719"/>
                  </a:lnTo>
                  <a:lnTo>
                    <a:pt x="182" y="720"/>
                  </a:lnTo>
                  <a:lnTo>
                    <a:pt x="182" y="721"/>
                  </a:lnTo>
                  <a:lnTo>
                    <a:pt x="183" y="722"/>
                  </a:lnTo>
                  <a:lnTo>
                    <a:pt x="181" y="724"/>
                  </a:lnTo>
                  <a:lnTo>
                    <a:pt x="180" y="722"/>
                  </a:lnTo>
                  <a:lnTo>
                    <a:pt x="175" y="721"/>
                  </a:lnTo>
                  <a:lnTo>
                    <a:pt x="175" y="722"/>
                  </a:lnTo>
                  <a:lnTo>
                    <a:pt x="176" y="725"/>
                  </a:lnTo>
                  <a:lnTo>
                    <a:pt x="174" y="727"/>
                  </a:lnTo>
                  <a:lnTo>
                    <a:pt x="174" y="730"/>
                  </a:lnTo>
                  <a:lnTo>
                    <a:pt x="171" y="726"/>
                  </a:lnTo>
                  <a:lnTo>
                    <a:pt x="169" y="721"/>
                  </a:lnTo>
                  <a:lnTo>
                    <a:pt x="166" y="721"/>
                  </a:lnTo>
                  <a:lnTo>
                    <a:pt x="164" y="724"/>
                  </a:lnTo>
                  <a:lnTo>
                    <a:pt x="165" y="720"/>
                  </a:lnTo>
                  <a:lnTo>
                    <a:pt x="163" y="722"/>
                  </a:lnTo>
                  <a:lnTo>
                    <a:pt x="161" y="726"/>
                  </a:lnTo>
                  <a:lnTo>
                    <a:pt x="160" y="725"/>
                  </a:lnTo>
                  <a:lnTo>
                    <a:pt x="155" y="728"/>
                  </a:lnTo>
                  <a:lnTo>
                    <a:pt x="154" y="731"/>
                  </a:lnTo>
                  <a:lnTo>
                    <a:pt x="152" y="728"/>
                  </a:lnTo>
                  <a:lnTo>
                    <a:pt x="149" y="727"/>
                  </a:lnTo>
                  <a:lnTo>
                    <a:pt x="146" y="731"/>
                  </a:lnTo>
                  <a:lnTo>
                    <a:pt x="145" y="734"/>
                  </a:lnTo>
                  <a:lnTo>
                    <a:pt x="142" y="730"/>
                  </a:lnTo>
                  <a:lnTo>
                    <a:pt x="140" y="726"/>
                  </a:lnTo>
                  <a:lnTo>
                    <a:pt x="139" y="724"/>
                  </a:lnTo>
                  <a:lnTo>
                    <a:pt x="137" y="725"/>
                  </a:lnTo>
                  <a:lnTo>
                    <a:pt x="139" y="721"/>
                  </a:lnTo>
                  <a:lnTo>
                    <a:pt x="142" y="716"/>
                  </a:lnTo>
                  <a:lnTo>
                    <a:pt x="146" y="715"/>
                  </a:lnTo>
                  <a:lnTo>
                    <a:pt x="148" y="716"/>
                  </a:lnTo>
                  <a:lnTo>
                    <a:pt x="151" y="716"/>
                  </a:lnTo>
                  <a:lnTo>
                    <a:pt x="149" y="714"/>
                  </a:lnTo>
                  <a:lnTo>
                    <a:pt x="148" y="713"/>
                  </a:lnTo>
                  <a:lnTo>
                    <a:pt x="146" y="714"/>
                  </a:lnTo>
                  <a:lnTo>
                    <a:pt x="141" y="714"/>
                  </a:lnTo>
                  <a:lnTo>
                    <a:pt x="139" y="713"/>
                  </a:lnTo>
                  <a:lnTo>
                    <a:pt x="136" y="713"/>
                  </a:lnTo>
                  <a:lnTo>
                    <a:pt x="131" y="715"/>
                  </a:lnTo>
                  <a:lnTo>
                    <a:pt x="127" y="720"/>
                  </a:lnTo>
                  <a:lnTo>
                    <a:pt x="127" y="716"/>
                  </a:lnTo>
                  <a:lnTo>
                    <a:pt x="128" y="713"/>
                  </a:lnTo>
                  <a:lnTo>
                    <a:pt x="130" y="709"/>
                  </a:lnTo>
                  <a:lnTo>
                    <a:pt x="134" y="709"/>
                  </a:lnTo>
                  <a:lnTo>
                    <a:pt x="136" y="709"/>
                  </a:lnTo>
                  <a:lnTo>
                    <a:pt x="141" y="707"/>
                  </a:lnTo>
                  <a:lnTo>
                    <a:pt x="135" y="706"/>
                  </a:lnTo>
                  <a:lnTo>
                    <a:pt x="130" y="707"/>
                  </a:lnTo>
                  <a:lnTo>
                    <a:pt x="127" y="707"/>
                  </a:lnTo>
                  <a:lnTo>
                    <a:pt x="125" y="708"/>
                  </a:lnTo>
                  <a:lnTo>
                    <a:pt x="124" y="709"/>
                  </a:lnTo>
                  <a:lnTo>
                    <a:pt x="125" y="707"/>
                  </a:lnTo>
                  <a:lnTo>
                    <a:pt x="122" y="708"/>
                  </a:lnTo>
                  <a:lnTo>
                    <a:pt x="121" y="709"/>
                  </a:lnTo>
                  <a:lnTo>
                    <a:pt x="122" y="706"/>
                  </a:lnTo>
                  <a:lnTo>
                    <a:pt x="124" y="702"/>
                  </a:lnTo>
                  <a:lnTo>
                    <a:pt x="133" y="702"/>
                  </a:lnTo>
                  <a:lnTo>
                    <a:pt x="136" y="703"/>
                  </a:lnTo>
                  <a:lnTo>
                    <a:pt x="140" y="706"/>
                  </a:lnTo>
                  <a:lnTo>
                    <a:pt x="143" y="706"/>
                  </a:lnTo>
                  <a:lnTo>
                    <a:pt x="147" y="703"/>
                  </a:lnTo>
                  <a:lnTo>
                    <a:pt x="153" y="702"/>
                  </a:lnTo>
                  <a:lnTo>
                    <a:pt x="154" y="701"/>
                  </a:lnTo>
                  <a:lnTo>
                    <a:pt x="153" y="701"/>
                  </a:lnTo>
                  <a:lnTo>
                    <a:pt x="152" y="702"/>
                  </a:lnTo>
                  <a:lnTo>
                    <a:pt x="149" y="701"/>
                  </a:lnTo>
                  <a:lnTo>
                    <a:pt x="146" y="702"/>
                  </a:lnTo>
                  <a:lnTo>
                    <a:pt x="143" y="703"/>
                  </a:lnTo>
                  <a:lnTo>
                    <a:pt x="137" y="702"/>
                  </a:lnTo>
                  <a:lnTo>
                    <a:pt x="139" y="700"/>
                  </a:lnTo>
                  <a:lnTo>
                    <a:pt x="136" y="700"/>
                  </a:lnTo>
                  <a:lnTo>
                    <a:pt x="137" y="697"/>
                  </a:lnTo>
                  <a:lnTo>
                    <a:pt x="134" y="698"/>
                  </a:lnTo>
                  <a:lnTo>
                    <a:pt x="130" y="698"/>
                  </a:lnTo>
                  <a:lnTo>
                    <a:pt x="127" y="698"/>
                  </a:lnTo>
                  <a:lnTo>
                    <a:pt x="121" y="700"/>
                  </a:lnTo>
                  <a:lnTo>
                    <a:pt x="121" y="696"/>
                  </a:lnTo>
                  <a:lnTo>
                    <a:pt x="122" y="694"/>
                  </a:lnTo>
                  <a:lnTo>
                    <a:pt x="121" y="692"/>
                  </a:lnTo>
                  <a:lnTo>
                    <a:pt x="118" y="691"/>
                  </a:lnTo>
                  <a:lnTo>
                    <a:pt x="118" y="688"/>
                  </a:lnTo>
                  <a:lnTo>
                    <a:pt x="116" y="689"/>
                  </a:lnTo>
                  <a:lnTo>
                    <a:pt x="115" y="686"/>
                  </a:lnTo>
                  <a:lnTo>
                    <a:pt x="113" y="688"/>
                  </a:lnTo>
                  <a:lnTo>
                    <a:pt x="112" y="689"/>
                  </a:lnTo>
                  <a:lnTo>
                    <a:pt x="110" y="688"/>
                  </a:lnTo>
                  <a:lnTo>
                    <a:pt x="107" y="689"/>
                  </a:lnTo>
                  <a:lnTo>
                    <a:pt x="105" y="695"/>
                  </a:lnTo>
                  <a:lnTo>
                    <a:pt x="101" y="702"/>
                  </a:lnTo>
                  <a:lnTo>
                    <a:pt x="99" y="706"/>
                  </a:lnTo>
                  <a:lnTo>
                    <a:pt x="98" y="702"/>
                  </a:lnTo>
                  <a:lnTo>
                    <a:pt x="95" y="698"/>
                  </a:lnTo>
                  <a:lnTo>
                    <a:pt x="93" y="700"/>
                  </a:lnTo>
                  <a:lnTo>
                    <a:pt x="92" y="701"/>
                  </a:lnTo>
                  <a:lnTo>
                    <a:pt x="93" y="703"/>
                  </a:lnTo>
                  <a:lnTo>
                    <a:pt x="92" y="704"/>
                  </a:lnTo>
                  <a:lnTo>
                    <a:pt x="92" y="707"/>
                  </a:lnTo>
                  <a:lnTo>
                    <a:pt x="89" y="708"/>
                  </a:lnTo>
                  <a:lnTo>
                    <a:pt x="93" y="708"/>
                  </a:lnTo>
                  <a:lnTo>
                    <a:pt x="95" y="709"/>
                  </a:lnTo>
                  <a:lnTo>
                    <a:pt x="95" y="710"/>
                  </a:lnTo>
                  <a:lnTo>
                    <a:pt x="94" y="716"/>
                  </a:lnTo>
                  <a:lnTo>
                    <a:pt x="92" y="715"/>
                  </a:lnTo>
                  <a:lnTo>
                    <a:pt x="87" y="714"/>
                  </a:lnTo>
                  <a:lnTo>
                    <a:pt x="86" y="712"/>
                  </a:lnTo>
                  <a:lnTo>
                    <a:pt x="84" y="712"/>
                  </a:lnTo>
                  <a:lnTo>
                    <a:pt x="86" y="716"/>
                  </a:lnTo>
                  <a:lnTo>
                    <a:pt x="82" y="713"/>
                  </a:lnTo>
                  <a:lnTo>
                    <a:pt x="81" y="710"/>
                  </a:lnTo>
                  <a:lnTo>
                    <a:pt x="78" y="713"/>
                  </a:lnTo>
                  <a:lnTo>
                    <a:pt x="78" y="715"/>
                  </a:lnTo>
                  <a:lnTo>
                    <a:pt x="75" y="716"/>
                  </a:lnTo>
                  <a:lnTo>
                    <a:pt x="72" y="716"/>
                  </a:lnTo>
                  <a:lnTo>
                    <a:pt x="71" y="716"/>
                  </a:lnTo>
                  <a:lnTo>
                    <a:pt x="69" y="720"/>
                  </a:lnTo>
                  <a:lnTo>
                    <a:pt x="66" y="724"/>
                  </a:lnTo>
                  <a:lnTo>
                    <a:pt x="65" y="721"/>
                  </a:lnTo>
                  <a:lnTo>
                    <a:pt x="62" y="721"/>
                  </a:lnTo>
                  <a:lnTo>
                    <a:pt x="59" y="719"/>
                  </a:lnTo>
                  <a:lnTo>
                    <a:pt x="53" y="722"/>
                  </a:lnTo>
                  <a:lnTo>
                    <a:pt x="48" y="724"/>
                  </a:lnTo>
                  <a:lnTo>
                    <a:pt x="47" y="727"/>
                  </a:lnTo>
                  <a:lnTo>
                    <a:pt x="46" y="730"/>
                  </a:lnTo>
                  <a:lnTo>
                    <a:pt x="45" y="732"/>
                  </a:lnTo>
                  <a:lnTo>
                    <a:pt x="42" y="731"/>
                  </a:lnTo>
                  <a:lnTo>
                    <a:pt x="41" y="728"/>
                  </a:lnTo>
                  <a:lnTo>
                    <a:pt x="42" y="727"/>
                  </a:lnTo>
                  <a:lnTo>
                    <a:pt x="39" y="727"/>
                  </a:lnTo>
                  <a:lnTo>
                    <a:pt x="37" y="727"/>
                  </a:lnTo>
                  <a:lnTo>
                    <a:pt x="40" y="725"/>
                  </a:lnTo>
                  <a:lnTo>
                    <a:pt x="37" y="726"/>
                  </a:lnTo>
                  <a:lnTo>
                    <a:pt x="37" y="722"/>
                  </a:lnTo>
                  <a:lnTo>
                    <a:pt x="36" y="725"/>
                  </a:lnTo>
                  <a:lnTo>
                    <a:pt x="36" y="724"/>
                  </a:lnTo>
                  <a:lnTo>
                    <a:pt x="31" y="724"/>
                  </a:lnTo>
                  <a:lnTo>
                    <a:pt x="27" y="726"/>
                  </a:lnTo>
                  <a:lnTo>
                    <a:pt x="27" y="725"/>
                  </a:lnTo>
                  <a:lnTo>
                    <a:pt x="23" y="727"/>
                  </a:lnTo>
                  <a:lnTo>
                    <a:pt x="19" y="728"/>
                  </a:lnTo>
                  <a:lnTo>
                    <a:pt x="23" y="724"/>
                  </a:lnTo>
                  <a:lnTo>
                    <a:pt x="23" y="722"/>
                  </a:lnTo>
                  <a:lnTo>
                    <a:pt x="21" y="722"/>
                  </a:lnTo>
                  <a:lnTo>
                    <a:pt x="24" y="716"/>
                  </a:lnTo>
                  <a:lnTo>
                    <a:pt x="28" y="712"/>
                  </a:lnTo>
                  <a:lnTo>
                    <a:pt x="31" y="710"/>
                  </a:lnTo>
                  <a:lnTo>
                    <a:pt x="29" y="709"/>
                  </a:lnTo>
                  <a:lnTo>
                    <a:pt x="22" y="714"/>
                  </a:lnTo>
                  <a:lnTo>
                    <a:pt x="19" y="719"/>
                  </a:lnTo>
                  <a:lnTo>
                    <a:pt x="24" y="710"/>
                  </a:lnTo>
                  <a:lnTo>
                    <a:pt x="23" y="706"/>
                  </a:lnTo>
                  <a:lnTo>
                    <a:pt x="22" y="703"/>
                  </a:lnTo>
                  <a:lnTo>
                    <a:pt x="27" y="698"/>
                  </a:lnTo>
                  <a:lnTo>
                    <a:pt x="23" y="698"/>
                  </a:lnTo>
                  <a:lnTo>
                    <a:pt x="21" y="701"/>
                  </a:lnTo>
                  <a:lnTo>
                    <a:pt x="16" y="703"/>
                  </a:lnTo>
                  <a:lnTo>
                    <a:pt x="15" y="701"/>
                  </a:lnTo>
                  <a:lnTo>
                    <a:pt x="15" y="695"/>
                  </a:lnTo>
                  <a:lnTo>
                    <a:pt x="17" y="691"/>
                  </a:lnTo>
                  <a:lnTo>
                    <a:pt x="19" y="690"/>
                  </a:lnTo>
                  <a:lnTo>
                    <a:pt x="22" y="691"/>
                  </a:lnTo>
                  <a:lnTo>
                    <a:pt x="25" y="690"/>
                  </a:lnTo>
                  <a:lnTo>
                    <a:pt x="30" y="688"/>
                  </a:lnTo>
                  <a:lnTo>
                    <a:pt x="33" y="686"/>
                  </a:lnTo>
                  <a:lnTo>
                    <a:pt x="35" y="684"/>
                  </a:lnTo>
                  <a:lnTo>
                    <a:pt x="36" y="684"/>
                  </a:lnTo>
                  <a:lnTo>
                    <a:pt x="37" y="689"/>
                  </a:lnTo>
                  <a:lnTo>
                    <a:pt x="39" y="686"/>
                  </a:lnTo>
                  <a:lnTo>
                    <a:pt x="42" y="686"/>
                  </a:lnTo>
                  <a:lnTo>
                    <a:pt x="45" y="685"/>
                  </a:lnTo>
                  <a:lnTo>
                    <a:pt x="52" y="682"/>
                  </a:lnTo>
                  <a:lnTo>
                    <a:pt x="58" y="683"/>
                  </a:lnTo>
                  <a:lnTo>
                    <a:pt x="54" y="684"/>
                  </a:lnTo>
                  <a:lnTo>
                    <a:pt x="52" y="686"/>
                  </a:lnTo>
                  <a:lnTo>
                    <a:pt x="48" y="688"/>
                  </a:lnTo>
                  <a:lnTo>
                    <a:pt x="48" y="691"/>
                  </a:lnTo>
                  <a:lnTo>
                    <a:pt x="47" y="692"/>
                  </a:lnTo>
                  <a:lnTo>
                    <a:pt x="48" y="692"/>
                  </a:lnTo>
                  <a:lnTo>
                    <a:pt x="53" y="691"/>
                  </a:lnTo>
                  <a:lnTo>
                    <a:pt x="54" y="689"/>
                  </a:lnTo>
                  <a:lnTo>
                    <a:pt x="56" y="686"/>
                  </a:lnTo>
                  <a:lnTo>
                    <a:pt x="57" y="685"/>
                  </a:lnTo>
                  <a:lnTo>
                    <a:pt x="58" y="685"/>
                  </a:lnTo>
                  <a:lnTo>
                    <a:pt x="62" y="685"/>
                  </a:lnTo>
                  <a:lnTo>
                    <a:pt x="65" y="684"/>
                  </a:lnTo>
                  <a:lnTo>
                    <a:pt x="63" y="683"/>
                  </a:lnTo>
                  <a:lnTo>
                    <a:pt x="60" y="684"/>
                  </a:lnTo>
                  <a:lnTo>
                    <a:pt x="60" y="682"/>
                  </a:lnTo>
                  <a:lnTo>
                    <a:pt x="63" y="676"/>
                  </a:lnTo>
                  <a:lnTo>
                    <a:pt x="66" y="673"/>
                  </a:lnTo>
                  <a:lnTo>
                    <a:pt x="68" y="671"/>
                  </a:lnTo>
                  <a:lnTo>
                    <a:pt x="69" y="670"/>
                  </a:lnTo>
                  <a:lnTo>
                    <a:pt x="65" y="671"/>
                  </a:lnTo>
                  <a:lnTo>
                    <a:pt x="64" y="674"/>
                  </a:lnTo>
                  <a:lnTo>
                    <a:pt x="64" y="670"/>
                  </a:lnTo>
                  <a:lnTo>
                    <a:pt x="62" y="670"/>
                  </a:lnTo>
                  <a:lnTo>
                    <a:pt x="56" y="674"/>
                  </a:lnTo>
                  <a:lnTo>
                    <a:pt x="60" y="666"/>
                  </a:lnTo>
                  <a:lnTo>
                    <a:pt x="63" y="662"/>
                  </a:lnTo>
                  <a:lnTo>
                    <a:pt x="68" y="660"/>
                  </a:lnTo>
                  <a:lnTo>
                    <a:pt x="66" y="656"/>
                  </a:lnTo>
                  <a:lnTo>
                    <a:pt x="68" y="654"/>
                  </a:lnTo>
                  <a:lnTo>
                    <a:pt x="64" y="653"/>
                  </a:lnTo>
                  <a:lnTo>
                    <a:pt x="58" y="654"/>
                  </a:lnTo>
                  <a:lnTo>
                    <a:pt x="63" y="649"/>
                  </a:lnTo>
                  <a:lnTo>
                    <a:pt x="68" y="647"/>
                  </a:lnTo>
                  <a:lnTo>
                    <a:pt x="66" y="647"/>
                  </a:lnTo>
                  <a:lnTo>
                    <a:pt x="72" y="646"/>
                  </a:lnTo>
                  <a:lnTo>
                    <a:pt x="76" y="648"/>
                  </a:lnTo>
                  <a:lnTo>
                    <a:pt x="78" y="649"/>
                  </a:lnTo>
                  <a:lnTo>
                    <a:pt x="80" y="649"/>
                  </a:lnTo>
                  <a:lnTo>
                    <a:pt x="83" y="649"/>
                  </a:lnTo>
                  <a:lnTo>
                    <a:pt x="86" y="649"/>
                  </a:lnTo>
                  <a:lnTo>
                    <a:pt x="84" y="648"/>
                  </a:lnTo>
                  <a:lnTo>
                    <a:pt x="78" y="647"/>
                  </a:lnTo>
                  <a:lnTo>
                    <a:pt x="77" y="644"/>
                  </a:lnTo>
                  <a:lnTo>
                    <a:pt x="80" y="643"/>
                  </a:lnTo>
                  <a:lnTo>
                    <a:pt x="82" y="641"/>
                  </a:lnTo>
                  <a:lnTo>
                    <a:pt x="81" y="638"/>
                  </a:lnTo>
                  <a:lnTo>
                    <a:pt x="78" y="638"/>
                  </a:lnTo>
                  <a:lnTo>
                    <a:pt x="76" y="642"/>
                  </a:lnTo>
                  <a:lnTo>
                    <a:pt x="76" y="639"/>
                  </a:lnTo>
                  <a:lnTo>
                    <a:pt x="75" y="636"/>
                  </a:lnTo>
                  <a:lnTo>
                    <a:pt x="77" y="633"/>
                  </a:lnTo>
                  <a:lnTo>
                    <a:pt x="75" y="633"/>
                  </a:lnTo>
                  <a:lnTo>
                    <a:pt x="75" y="631"/>
                  </a:lnTo>
                  <a:lnTo>
                    <a:pt x="74" y="633"/>
                  </a:lnTo>
                  <a:lnTo>
                    <a:pt x="70" y="635"/>
                  </a:lnTo>
                  <a:lnTo>
                    <a:pt x="69" y="638"/>
                  </a:lnTo>
                  <a:lnTo>
                    <a:pt x="69" y="633"/>
                  </a:lnTo>
                  <a:lnTo>
                    <a:pt x="70" y="631"/>
                  </a:lnTo>
                  <a:lnTo>
                    <a:pt x="68" y="635"/>
                  </a:lnTo>
                  <a:lnTo>
                    <a:pt x="70" y="629"/>
                  </a:lnTo>
                  <a:lnTo>
                    <a:pt x="71" y="626"/>
                  </a:lnTo>
                  <a:lnTo>
                    <a:pt x="75" y="624"/>
                  </a:lnTo>
                  <a:lnTo>
                    <a:pt x="78" y="619"/>
                  </a:lnTo>
                  <a:lnTo>
                    <a:pt x="82" y="615"/>
                  </a:lnTo>
                  <a:lnTo>
                    <a:pt x="80" y="615"/>
                  </a:lnTo>
                  <a:lnTo>
                    <a:pt x="78" y="617"/>
                  </a:lnTo>
                  <a:lnTo>
                    <a:pt x="77" y="615"/>
                  </a:lnTo>
                  <a:lnTo>
                    <a:pt x="76" y="617"/>
                  </a:lnTo>
                  <a:lnTo>
                    <a:pt x="75" y="619"/>
                  </a:lnTo>
                  <a:lnTo>
                    <a:pt x="75" y="617"/>
                  </a:lnTo>
                  <a:lnTo>
                    <a:pt x="74" y="620"/>
                  </a:lnTo>
                  <a:lnTo>
                    <a:pt x="71" y="618"/>
                  </a:lnTo>
                  <a:lnTo>
                    <a:pt x="70" y="618"/>
                  </a:lnTo>
                  <a:lnTo>
                    <a:pt x="68" y="623"/>
                  </a:lnTo>
                  <a:lnTo>
                    <a:pt x="68" y="619"/>
                  </a:lnTo>
                  <a:lnTo>
                    <a:pt x="69" y="615"/>
                  </a:lnTo>
                  <a:lnTo>
                    <a:pt x="66" y="614"/>
                  </a:lnTo>
                  <a:lnTo>
                    <a:pt x="64" y="612"/>
                  </a:lnTo>
                  <a:lnTo>
                    <a:pt x="63" y="609"/>
                  </a:lnTo>
                  <a:lnTo>
                    <a:pt x="64" y="607"/>
                  </a:lnTo>
                  <a:lnTo>
                    <a:pt x="63" y="606"/>
                  </a:lnTo>
                  <a:lnTo>
                    <a:pt x="60" y="602"/>
                  </a:lnTo>
                  <a:lnTo>
                    <a:pt x="52" y="608"/>
                  </a:lnTo>
                  <a:lnTo>
                    <a:pt x="50" y="618"/>
                  </a:lnTo>
                  <a:lnTo>
                    <a:pt x="46" y="625"/>
                  </a:lnTo>
                  <a:lnTo>
                    <a:pt x="42" y="629"/>
                  </a:lnTo>
                  <a:lnTo>
                    <a:pt x="45" y="625"/>
                  </a:lnTo>
                  <a:lnTo>
                    <a:pt x="48" y="619"/>
                  </a:lnTo>
                  <a:lnTo>
                    <a:pt x="48" y="613"/>
                  </a:lnTo>
                  <a:lnTo>
                    <a:pt x="45" y="615"/>
                  </a:lnTo>
                  <a:lnTo>
                    <a:pt x="40" y="617"/>
                  </a:lnTo>
                  <a:lnTo>
                    <a:pt x="45" y="614"/>
                  </a:lnTo>
                  <a:lnTo>
                    <a:pt x="50" y="611"/>
                  </a:lnTo>
                  <a:lnTo>
                    <a:pt x="50" y="608"/>
                  </a:lnTo>
                  <a:lnTo>
                    <a:pt x="41" y="613"/>
                  </a:lnTo>
                  <a:lnTo>
                    <a:pt x="34" y="619"/>
                  </a:lnTo>
                  <a:lnTo>
                    <a:pt x="39" y="613"/>
                  </a:lnTo>
                  <a:lnTo>
                    <a:pt x="33" y="614"/>
                  </a:lnTo>
                  <a:lnTo>
                    <a:pt x="31" y="613"/>
                  </a:lnTo>
                  <a:lnTo>
                    <a:pt x="36" y="613"/>
                  </a:lnTo>
                  <a:lnTo>
                    <a:pt x="34" y="611"/>
                  </a:lnTo>
                  <a:lnTo>
                    <a:pt x="30" y="612"/>
                  </a:lnTo>
                  <a:lnTo>
                    <a:pt x="28" y="613"/>
                  </a:lnTo>
                  <a:lnTo>
                    <a:pt x="25" y="613"/>
                  </a:lnTo>
                  <a:lnTo>
                    <a:pt x="25" y="611"/>
                  </a:lnTo>
                  <a:lnTo>
                    <a:pt x="23" y="611"/>
                  </a:lnTo>
                  <a:lnTo>
                    <a:pt x="21" y="612"/>
                  </a:lnTo>
                  <a:lnTo>
                    <a:pt x="21" y="607"/>
                  </a:lnTo>
                  <a:lnTo>
                    <a:pt x="23" y="605"/>
                  </a:lnTo>
                  <a:lnTo>
                    <a:pt x="22" y="605"/>
                  </a:lnTo>
                  <a:lnTo>
                    <a:pt x="23" y="602"/>
                  </a:lnTo>
                  <a:lnTo>
                    <a:pt x="22" y="601"/>
                  </a:lnTo>
                  <a:lnTo>
                    <a:pt x="22" y="600"/>
                  </a:lnTo>
                  <a:lnTo>
                    <a:pt x="23" y="599"/>
                  </a:lnTo>
                  <a:lnTo>
                    <a:pt x="24" y="597"/>
                  </a:lnTo>
                  <a:lnTo>
                    <a:pt x="29" y="596"/>
                  </a:lnTo>
                  <a:lnTo>
                    <a:pt x="33" y="595"/>
                  </a:lnTo>
                  <a:lnTo>
                    <a:pt x="34" y="595"/>
                  </a:lnTo>
                  <a:lnTo>
                    <a:pt x="33" y="594"/>
                  </a:lnTo>
                  <a:lnTo>
                    <a:pt x="34" y="593"/>
                  </a:lnTo>
                  <a:lnTo>
                    <a:pt x="33" y="591"/>
                  </a:lnTo>
                  <a:lnTo>
                    <a:pt x="34" y="589"/>
                  </a:lnTo>
                  <a:lnTo>
                    <a:pt x="36" y="588"/>
                  </a:lnTo>
                  <a:lnTo>
                    <a:pt x="30" y="589"/>
                  </a:lnTo>
                  <a:lnTo>
                    <a:pt x="28" y="587"/>
                  </a:lnTo>
                  <a:lnTo>
                    <a:pt x="23" y="585"/>
                  </a:lnTo>
                  <a:lnTo>
                    <a:pt x="25" y="584"/>
                  </a:lnTo>
                  <a:lnTo>
                    <a:pt x="29" y="582"/>
                  </a:lnTo>
                  <a:lnTo>
                    <a:pt x="33" y="582"/>
                  </a:lnTo>
                  <a:lnTo>
                    <a:pt x="37" y="582"/>
                  </a:lnTo>
                  <a:lnTo>
                    <a:pt x="39" y="585"/>
                  </a:lnTo>
                  <a:lnTo>
                    <a:pt x="43" y="588"/>
                  </a:lnTo>
                  <a:lnTo>
                    <a:pt x="47" y="588"/>
                  </a:lnTo>
                  <a:lnTo>
                    <a:pt x="47" y="585"/>
                  </a:lnTo>
                  <a:lnTo>
                    <a:pt x="51" y="585"/>
                  </a:lnTo>
                  <a:lnTo>
                    <a:pt x="53" y="585"/>
                  </a:lnTo>
                  <a:lnTo>
                    <a:pt x="56" y="583"/>
                  </a:lnTo>
                  <a:lnTo>
                    <a:pt x="58" y="583"/>
                  </a:lnTo>
                  <a:lnTo>
                    <a:pt x="60" y="582"/>
                  </a:lnTo>
                  <a:lnTo>
                    <a:pt x="63" y="581"/>
                  </a:lnTo>
                  <a:lnTo>
                    <a:pt x="63" y="578"/>
                  </a:lnTo>
                  <a:lnTo>
                    <a:pt x="65" y="577"/>
                  </a:lnTo>
                  <a:lnTo>
                    <a:pt x="65" y="575"/>
                  </a:lnTo>
                  <a:lnTo>
                    <a:pt x="66" y="571"/>
                  </a:lnTo>
                  <a:lnTo>
                    <a:pt x="63" y="573"/>
                  </a:lnTo>
                  <a:lnTo>
                    <a:pt x="57" y="577"/>
                  </a:lnTo>
                  <a:lnTo>
                    <a:pt x="56" y="579"/>
                  </a:lnTo>
                  <a:lnTo>
                    <a:pt x="54" y="573"/>
                  </a:lnTo>
                  <a:lnTo>
                    <a:pt x="52" y="569"/>
                  </a:lnTo>
                  <a:lnTo>
                    <a:pt x="52" y="565"/>
                  </a:lnTo>
                  <a:lnTo>
                    <a:pt x="48" y="565"/>
                  </a:lnTo>
                  <a:lnTo>
                    <a:pt x="43" y="569"/>
                  </a:lnTo>
                  <a:lnTo>
                    <a:pt x="42" y="571"/>
                  </a:lnTo>
                  <a:lnTo>
                    <a:pt x="41" y="566"/>
                  </a:lnTo>
                  <a:lnTo>
                    <a:pt x="39" y="566"/>
                  </a:lnTo>
                  <a:lnTo>
                    <a:pt x="36" y="565"/>
                  </a:lnTo>
                  <a:lnTo>
                    <a:pt x="33" y="564"/>
                  </a:lnTo>
                  <a:lnTo>
                    <a:pt x="33" y="565"/>
                  </a:lnTo>
                  <a:lnTo>
                    <a:pt x="31" y="563"/>
                  </a:lnTo>
                  <a:lnTo>
                    <a:pt x="31" y="555"/>
                  </a:lnTo>
                  <a:lnTo>
                    <a:pt x="28" y="559"/>
                  </a:lnTo>
                  <a:lnTo>
                    <a:pt x="29" y="565"/>
                  </a:lnTo>
                  <a:lnTo>
                    <a:pt x="29" y="573"/>
                  </a:lnTo>
                  <a:lnTo>
                    <a:pt x="28" y="577"/>
                  </a:lnTo>
                  <a:lnTo>
                    <a:pt x="22" y="567"/>
                  </a:lnTo>
                  <a:lnTo>
                    <a:pt x="19" y="566"/>
                  </a:lnTo>
                  <a:lnTo>
                    <a:pt x="17" y="567"/>
                  </a:lnTo>
                  <a:lnTo>
                    <a:pt x="15" y="570"/>
                  </a:lnTo>
                  <a:lnTo>
                    <a:pt x="15" y="565"/>
                  </a:lnTo>
                  <a:lnTo>
                    <a:pt x="15" y="564"/>
                  </a:lnTo>
                  <a:lnTo>
                    <a:pt x="13" y="563"/>
                  </a:lnTo>
                  <a:lnTo>
                    <a:pt x="11" y="563"/>
                  </a:lnTo>
                  <a:lnTo>
                    <a:pt x="9" y="564"/>
                  </a:lnTo>
                  <a:lnTo>
                    <a:pt x="9" y="560"/>
                  </a:lnTo>
                  <a:lnTo>
                    <a:pt x="10" y="555"/>
                  </a:lnTo>
                  <a:lnTo>
                    <a:pt x="15" y="552"/>
                  </a:lnTo>
                  <a:lnTo>
                    <a:pt x="13" y="551"/>
                  </a:lnTo>
                  <a:lnTo>
                    <a:pt x="15" y="547"/>
                  </a:lnTo>
                  <a:lnTo>
                    <a:pt x="16" y="543"/>
                  </a:lnTo>
                  <a:lnTo>
                    <a:pt x="18" y="540"/>
                  </a:lnTo>
                  <a:lnTo>
                    <a:pt x="18" y="542"/>
                  </a:lnTo>
                  <a:lnTo>
                    <a:pt x="21" y="541"/>
                  </a:lnTo>
                  <a:lnTo>
                    <a:pt x="21" y="540"/>
                  </a:lnTo>
                  <a:lnTo>
                    <a:pt x="24" y="535"/>
                  </a:lnTo>
                  <a:lnTo>
                    <a:pt x="27" y="530"/>
                  </a:lnTo>
                  <a:lnTo>
                    <a:pt x="28" y="532"/>
                  </a:lnTo>
                  <a:lnTo>
                    <a:pt x="29" y="531"/>
                  </a:lnTo>
                  <a:lnTo>
                    <a:pt x="31" y="530"/>
                  </a:lnTo>
                  <a:lnTo>
                    <a:pt x="34" y="529"/>
                  </a:lnTo>
                  <a:lnTo>
                    <a:pt x="36" y="528"/>
                  </a:lnTo>
                  <a:lnTo>
                    <a:pt x="39" y="526"/>
                  </a:lnTo>
                  <a:lnTo>
                    <a:pt x="29" y="523"/>
                  </a:lnTo>
                  <a:lnTo>
                    <a:pt x="21" y="518"/>
                  </a:lnTo>
                  <a:lnTo>
                    <a:pt x="19" y="520"/>
                  </a:lnTo>
                  <a:lnTo>
                    <a:pt x="19" y="525"/>
                  </a:lnTo>
                  <a:lnTo>
                    <a:pt x="17" y="525"/>
                  </a:lnTo>
                  <a:lnTo>
                    <a:pt x="15" y="529"/>
                  </a:lnTo>
                  <a:lnTo>
                    <a:pt x="12" y="530"/>
                  </a:lnTo>
                  <a:lnTo>
                    <a:pt x="11" y="531"/>
                  </a:lnTo>
                  <a:lnTo>
                    <a:pt x="11" y="528"/>
                  </a:lnTo>
                  <a:lnTo>
                    <a:pt x="11" y="524"/>
                  </a:lnTo>
                  <a:lnTo>
                    <a:pt x="13" y="523"/>
                  </a:lnTo>
                  <a:lnTo>
                    <a:pt x="13" y="520"/>
                  </a:lnTo>
                  <a:lnTo>
                    <a:pt x="15" y="517"/>
                  </a:lnTo>
                  <a:lnTo>
                    <a:pt x="16" y="518"/>
                  </a:lnTo>
                  <a:lnTo>
                    <a:pt x="19" y="518"/>
                  </a:lnTo>
                  <a:lnTo>
                    <a:pt x="15" y="514"/>
                  </a:lnTo>
                  <a:lnTo>
                    <a:pt x="11" y="513"/>
                  </a:lnTo>
                  <a:lnTo>
                    <a:pt x="10" y="511"/>
                  </a:lnTo>
                  <a:lnTo>
                    <a:pt x="13" y="512"/>
                  </a:lnTo>
                  <a:lnTo>
                    <a:pt x="17" y="514"/>
                  </a:lnTo>
                  <a:lnTo>
                    <a:pt x="27" y="520"/>
                  </a:lnTo>
                  <a:lnTo>
                    <a:pt x="42" y="524"/>
                  </a:lnTo>
                  <a:lnTo>
                    <a:pt x="34" y="518"/>
                  </a:lnTo>
                  <a:lnTo>
                    <a:pt x="33" y="517"/>
                  </a:lnTo>
                  <a:lnTo>
                    <a:pt x="33" y="520"/>
                  </a:lnTo>
                  <a:lnTo>
                    <a:pt x="29" y="517"/>
                  </a:lnTo>
                  <a:lnTo>
                    <a:pt x="28" y="513"/>
                  </a:lnTo>
                  <a:lnTo>
                    <a:pt x="21" y="507"/>
                  </a:lnTo>
                  <a:lnTo>
                    <a:pt x="16" y="504"/>
                  </a:lnTo>
                  <a:lnTo>
                    <a:pt x="16" y="506"/>
                  </a:lnTo>
                  <a:lnTo>
                    <a:pt x="17" y="511"/>
                  </a:lnTo>
                  <a:lnTo>
                    <a:pt x="15" y="508"/>
                  </a:lnTo>
                  <a:lnTo>
                    <a:pt x="12" y="508"/>
                  </a:lnTo>
                  <a:lnTo>
                    <a:pt x="12" y="505"/>
                  </a:lnTo>
                  <a:lnTo>
                    <a:pt x="12" y="504"/>
                  </a:lnTo>
                  <a:lnTo>
                    <a:pt x="11" y="506"/>
                  </a:lnTo>
                  <a:lnTo>
                    <a:pt x="5" y="508"/>
                  </a:lnTo>
                  <a:lnTo>
                    <a:pt x="0" y="508"/>
                  </a:lnTo>
                  <a:lnTo>
                    <a:pt x="4" y="506"/>
                  </a:lnTo>
                  <a:lnTo>
                    <a:pt x="5" y="504"/>
                  </a:lnTo>
                  <a:lnTo>
                    <a:pt x="5" y="502"/>
                  </a:lnTo>
                  <a:lnTo>
                    <a:pt x="10" y="502"/>
                  </a:lnTo>
                  <a:lnTo>
                    <a:pt x="13" y="504"/>
                  </a:lnTo>
                  <a:lnTo>
                    <a:pt x="16" y="502"/>
                  </a:lnTo>
                  <a:lnTo>
                    <a:pt x="9" y="494"/>
                  </a:lnTo>
                  <a:lnTo>
                    <a:pt x="6" y="493"/>
                  </a:lnTo>
                  <a:lnTo>
                    <a:pt x="1" y="490"/>
                  </a:lnTo>
                  <a:lnTo>
                    <a:pt x="0" y="488"/>
                  </a:lnTo>
                  <a:lnTo>
                    <a:pt x="4" y="489"/>
                  </a:lnTo>
                  <a:lnTo>
                    <a:pt x="6" y="490"/>
                  </a:lnTo>
                  <a:lnTo>
                    <a:pt x="9" y="490"/>
                  </a:lnTo>
                  <a:lnTo>
                    <a:pt x="11" y="489"/>
                  </a:lnTo>
                  <a:lnTo>
                    <a:pt x="13" y="492"/>
                  </a:lnTo>
                  <a:lnTo>
                    <a:pt x="16" y="494"/>
                  </a:lnTo>
                  <a:lnTo>
                    <a:pt x="17" y="498"/>
                  </a:lnTo>
                  <a:lnTo>
                    <a:pt x="16" y="496"/>
                  </a:lnTo>
                  <a:lnTo>
                    <a:pt x="16" y="498"/>
                  </a:lnTo>
                  <a:lnTo>
                    <a:pt x="12" y="494"/>
                  </a:lnTo>
                  <a:lnTo>
                    <a:pt x="10" y="493"/>
                  </a:lnTo>
                  <a:lnTo>
                    <a:pt x="16" y="501"/>
                  </a:lnTo>
                  <a:lnTo>
                    <a:pt x="28" y="512"/>
                  </a:lnTo>
                  <a:lnTo>
                    <a:pt x="30" y="511"/>
                  </a:lnTo>
                  <a:lnTo>
                    <a:pt x="34" y="510"/>
                  </a:lnTo>
                  <a:lnTo>
                    <a:pt x="36" y="511"/>
                  </a:lnTo>
                  <a:lnTo>
                    <a:pt x="34" y="513"/>
                  </a:lnTo>
                  <a:lnTo>
                    <a:pt x="34" y="516"/>
                  </a:lnTo>
                  <a:lnTo>
                    <a:pt x="42" y="524"/>
                  </a:lnTo>
                  <a:lnTo>
                    <a:pt x="46" y="524"/>
                  </a:lnTo>
                  <a:lnTo>
                    <a:pt x="48" y="519"/>
                  </a:lnTo>
                  <a:lnTo>
                    <a:pt x="50" y="519"/>
                  </a:lnTo>
                  <a:lnTo>
                    <a:pt x="50" y="517"/>
                  </a:lnTo>
                  <a:lnTo>
                    <a:pt x="50" y="513"/>
                  </a:lnTo>
                  <a:lnTo>
                    <a:pt x="52" y="513"/>
                  </a:lnTo>
                  <a:lnTo>
                    <a:pt x="57" y="517"/>
                  </a:lnTo>
                  <a:lnTo>
                    <a:pt x="58" y="519"/>
                  </a:lnTo>
                  <a:lnTo>
                    <a:pt x="62" y="520"/>
                  </a:lnTo>
                  <a:lnTo>
                    <a:pt x="63" y="520"/>
                  </a:lnTo>
                  <a:lnTo>
                    <a:pt x="63" y="514"/>
                  </a:lnTo>
                  <a:lnTo>
                    <a:pt x="63" y="512"/>
                  </a:lnTo>
                  <a:lnTo>
                    <a:pt x="65" y="510"/>
                  </a:lnTo>
                  <a:lnTo>
                    <a:pt x="70" y="505"/>
                  </a:lnTo>
                  <a:lnTo>
                    <a:pt x="74" y="502"/>
                  </a:lnTo>
                  <a:lnTo>
                    <a:pt x="80" y="502"/>
                  </a:lnTo>
                  <a:lnTo>
                    <a:pt x="82" y="505"/>
                  </a:lnTo>
                  <a:lnTo>
                    <a:pt x="86" y="505"/>
                  </a:lnTo>
                  <a:lnTo>
                    <a:pt x="89" y="507"/>
                  </a:lnTo>
                  <a:lnTo>
                    <a:pt x="86" y="507"/>
                  </a:lnTo>
                  <a:lnTo>
                    <a:pt x="86" y="511"/>
                  </a:lnTo>
                  <a:lnTo>
                    <a:pt x="89" y="511"/>
                  </a:lnTo>
                  <a:lnTo>
                    <a:pt x="92" y="512"/>
                  </a:lnTo>
                  <a:lnTo>
                    <a:pt x="94" y="512"/>
                  </a:lnTo>
                  <a:lnTo>
                    <a:pt x="94" y="511"/>
                  </a:lnTo>
                  <a:lnTo>
                    <a:pt x="94" y="507"/>
                  </a:lnTo>
                  <a:lnTo>
                    <a:pt x="92" y="508"/>
                  </a:lnTo>
                  <a:lnTo>
                    <a:pt x="89" y="508"/>
                  </a:lnTo>
                  <a:lnTo>
                    <a:pt x="92" y="507"/>
                  </a:lnTo>
                  <a:lnTo>
                    <a:pt x="92" y="506"/>
                  </a:lnTo>
                  <a:lnTo>
                    <a:pt x="92" y="505"/>
                  </a:lnTo>
                  <a:lnTo>
                    <a:pt x="89" y="504"/>
                  </a:lnTo>
                  <a:lnTo>
                    <a:pt x="88" y="502"/>
                  </a:lnTo>
                  <a:lnTo>
                    <a:pt x="92" y="500"/>
                  </a:lnTo>
                  <a:lnTo>
                    <a:pt x="93" y="499"/>
                  </a:lnTo>
                  <a:lnTo>
                    <a:pt x="94" y="496"/>
                  </a:lnTo>
                  <a:lnTo>
                    <a:pt x="89" y="498"/>
                  </a:lnTo>
                  <a:lnTo>
                    <a:pt x="86" y="495"/>
                  </a:lnTo>
                  <a:lnTo>
                    <a:pt x="89" y="495"/>
                  </a:lnTo>
                  <a:lnTo>
                    <a:pt x="89" y="493"/>
                  </a:lnTo>
                  <a:lnTo>
                    <a:pt x="93" y="494"/>
                  </a:lnTo>
                  <a:lnTo>
                    <a:pt x="95" y="494"/>
                  </a:lnTo>
                  <a:lnTo>
                    <a:pt x="93" y="493"/>
                  </a:lnTo>
                  <a:lnTo>
                    <a:pt x="98" y="493"/>
                  </a:lnTo>
                  <a:lnTo>
                    <a:pt x="102" y="494"/>
                  </a:lnTo>
                  <a:lnTo>
                    <a:pt x="106" y="493"/>
                  </a:lnTo>
                  <a:lnTo>
                    <a:pt x="107" y="488"/>
                  </a:lnTo>
                  <a:lnTo>
                    <a:pt x="109" y="489"/>
                  </a:lnTo>
                  <a:lnTo>
                    <a:pt x="111" y="493"/>
                  </a:lnTo>
                  <a:lnTo>
                    <a:pt x="111" y="498"/>
                  </a:lnTo>
                  <a:lnTo>
                    <a:pt x="113" y="496"/>
                  </a:lnTo>
                  <a:lnTo>
                    <a:pt x="116" y="494"/>
                  </a:lnTo>
                  <a:lnTo>
                    <a:pt x="116" y="492"/>
                  </a:lnTo>
                  <a:lnTo>
                    <a:pt x="117" y="489"/>
                  </a:lnTo>
                  <a:lnTo>
                    <a:pt x="118" y="487"/>
                  </a:lnTo>
                  <a:lnTo>
                    <a:pt x="116" y="486"/>
                  </a:lnTo>
                  <a:lnTo>
                    <a:pt x="118" y="486"/>
                  </a:lnTo>
                  <a:lnTo>
                    <a:pt x="118" y="483"/>
                  </a:lnTo>
                  <a:lnTo>
                    <a:pt x="121" y="483"/>
                  </a:lnTo>
                  <a:lnTo>
                    <a:pt x="125" y="482"/>
                  </a:lnTo>
                  <a:lnTo>
                    <a:pt x="124" y="484"/>
                  </a:lnTo>
                  <a:lnTo>
                    <a:pt x="124" y="487"/>
                  </a:lnTo>
                  <a:lnTo>
                    <a:pt x="127" y="486"/>
                  </a:lnTo>
                  <a:lnTo>
                    <a:pt x="129" y="483"/>
                  </a:lnTo>
                  <a:lnTo>
                    <a:pt x="133" y="480"/>
                  </a:lnTo>
                  <a:lnTo>
                    <a:pt x="135" y="477"/>
                  </a:lnTo>
                  <a:lnTo>
                    <a:pt x="135" y="475"/>
                  </a:lnTo>
                  <a:lnTo>
                    <a:pt x="133" y="474"/>
                  </a:lnTo>
                  <a:lnTo>
                    <a:pt x="129" y="474"/>
                  </a:lnTo>
                  <a:lnTo>
                    <a:pt x="124" y="475"/>
                  </a:lnTo>
                  <a:lnTo>
                    <a:pt x="121" y="475"/>
                  </a:lnTo>
                  <a:lnTo>
                    <a:pt x="122" y="472"/>
                  </a:lnTo>
                  <a:lnTo>
                    <a:pt x="125" y="470"/>
                  </a:lnTo>
                  <a:lnTo>
                    <a:pt x="125" y="468"/>
                  </a:lnTo>
                  <a:lnTo>
                    <a:pt x="124" y="464"/>
                  </a:lnTo>
                  <a:lnTo>
                    <a:pt x="117" y="459"/>
                  </a:lnTo>
                  <a:lnTo>
                    <a:pt x="115" y="460"/>
                  </a:lnTo>
                  <a:lnTo>
                    <a:pt x="112" y="463"/>
                  </a:lnTo>
                  <a:lnTo>
                    <a:pt x="113" y="459"/>
                  </a:lnTo>
                  <a:lnTo>
                    <a:pt x="116" y="458"/>
                  </a:lnTo>
                  <a:lnTo>
                    <a:pt x="112" y="456"/>
                  </a:lnTo>
                  <a:lnTo>
                    <a:pt x="111" y="456"/>
                  </a:lnTo>
                  <a:lnTo>
                    <a:pt x="109" y="458"/>
                  </a:lnTo>
                  <a:lnTo>
                    <a:pt x="105" y="459"/>
                  </a:lnTo>
                  <a:lnTo>
                    <a:pt x="106" y="458"/>
                  </a:lnTo>
                  <a:lnTo>
                    <a:pt x="109" y="456"/>
                  </a:lnTo>
                  <a:lnTo>
                    <a:pt x="107" y="454"/>
                  </a:lnTo>
                  <a:lnTo>
                    <a:pt x="109" y="452"/>
                  </a:lnTo>
                  <a:lnTo>
                    <a:pt x="105" y="453"/>
                  </a:lnTo>
                  <a:lnTo>
                    <a:pt x="101" y="458"/>
                  </a:lnTo>
                  <a:lnTo>
                    <a:pt x="100" y="456"/>
                  </a:lnTo>
                  <a:lnTo>
                    <a:pt x="98" y="457"/>
                  </a:lnTo>
                  <a:lnTo>
                    <a:pt x="93" y="457"/>
                  </a:lnTo>
                  <a:lnTo>
                    <a:pt x="99" y="456"/>
                  </a:lnTo>
                  <a:lnTo>
                    <a:pt x="100" y="452"/>
                  </a:lnTo>
                  <a:lnTo>
                    <a:pt x="104" y="452"/>
                  </a:lnTo>
                  <a:lnTo>
                    <a:pt x="107" y="451"/>
                  </a:lnTo>
                  <a:lnTo>
                    <a:pt x="102" y="445"/>
                  </a:lnTo>
                  <a:lnTo>
                    <a:pt x="102" y="444"/>
                  </a:lnTo>
                  <a:lnTo>
                    <a:pt x="104" y="441"/>
                  </a:lnTo>
                  <a:lnTo>
                    <a:pt x="106" y="441"/>
                  </a:lnTo>
                  <a:lnTo>
                    <a:pt x="109" y="440"/>
                  </a:lnTo>
                  <a:lnTo>
                    <a:pt x="112" y="441"/>
                  </a:lnTo>
                  <a:lnTo>
                    <a:pt x="110" y="445"/>
                  </a:lnTo>
                  <a:lnTo>
                    <a:pt x="107" y="447"/>
                  </a:lnTo>
                  <a:lnTo>
                    <a:pt x="106" y="446"/>
                  </a:lnTo>
                  <a:lnTo>
                    <a:pt x="104" y="445"/>
                  </a:lnTo>
                  <a:lnTo>
                    <a:pt x="107" y="451"/>
                  </a:lnTo>
                  <a:lnTo>
                    <a:pt x="110" y="451"/>
                  </a:lnTo>
                  <a:lnTo>
                    <a:pt x="112" y="452"/>
                  </a:lnTo>
                  <a:lnTo>
                    <a:pt x="115" y="450"/>
                  </a:lnTo>
                  <a:lnTo>
                    <a:pt x="113" y="453"/>
                  </a:lnTo>
                  <a:lnTo>
                    <a:pt x="118" y="458"/>
                  </a:lnTo>
                  <a:lnTo>
                    <a:pt x="127" y="464"/>
                  </a:lnTo>
                  <a:lnTo>
                    <a:pt x="128" y="466"/>
                  </a:lnTo>
                  <a:lnTo>
                    <a:pt x="129" y="463"/>
                  </a:lnTo>
                  <a:lnTo>
                    <a:pt x="128" y="462"/>
                  </a:lnTo>
                  <a:lnTo>
                    <a:pt x="128" y="460"/>
                  </a:lnTo>
                  <a:lnTo>
                    <a:pt x="128" y="458"/>
                  </a:lnTo>
                  <a:lnTo>
                    <a:pt x="125" y="454"/>
                  </a:lnTo>
                  <a:lnTo>
                    <a:pt x="127" y="451"/>
                  </a:lnTo>
                  <a:lnTo>
                    <a:pt x="133" y="452"/>
                  </a:lnTo>
                  <a:lnTo>
                    <a:pt x="129" y="450"/>
                  </a:lnTo>
                  <a:lnTo>
                    <a:pt x="124" y="452"/>
                  </a:lnTo>
                  <a:lnTo>
                    <a:pt x="121" y="458"/>
                  </a:lnTo>
                  <a:lnTo>
                    <a:pt x="121" y="453"/>
                  </a:lnTo>
                  <a:lnTo>
                    <a:pt x="122" y="451"/>
                  </a:lnTo>
                  <a:lnTo>
                    <a:pt x="122" y="447"/>
                  </a:lnTo>
                  <a:lnTo>
                    <a:pt x="123" y="445"/>
                  </a:lnTo>
                  <a:lnTo>
                    <a:pt x="124" y="440"/>
                  </a:lnTo>
                  <a:lnTo>
                    <a:pt x="128" y="438"/>
                  </a:lnTo>
                  <a:lnTo>
                    <a:pt x="125" y="436"/>
                  </a:lnTo>
                  <a:lnTo>
                    <a:pt x="129" y="435"/>
                  </a:lnTo>
                  <a:lnTo>
                    <a:pt x="131" y="432"/>
                  </a:lnTo>
                  <a:lnTo>
                    <a:pt x="131" y="429"/>
                  </a:lnTo>
                  <a:lnTo>
                    <a:pt x="129" y="430"/>
                  </a:lnTo>
                  <a:lnTo>
                    <a:pt x="129" y="428"/>
                  </a:lnTo>
                  <a:lnTo>
                    <a:pt x="128" y="427"/>
                  </a:lnTo>
                  <a:lnTo>
                    <a:pt x="130" y="424"/>
                  </a:lnTo>
                  <a:lnTo>
                    <a:pt x="131" y="422"/>
                  </a:lnTo>
                  <a:lnTo>
                    <a:pt x="133" y="419"/>
                  </a:lnTo>
                  <a:lnTo>
                    <a:pt x="133" y="416"/>
                  </a:lnTo>
                  <a:lnTo>
                    <a:pt x="129" y="418"/>
                  </a:lnTo>
                  <a:lnTo>
                    <a:pt x="125" y="422"/>
                  </a:lnTo>
                  <a:lnTo>
                    <a:pt x="127" y="416"/>
                  </a:lnTo>
                  <a:lnTo>
                    <a:pt x="128" y="412"/>
                  </a:lnTo>
                  <a:lnTo>
                    <a:pt x="129" y="411"/>
                  </a:lnTo>
                  <a:lnTo>
                    <a:pt x="127" y="410"/>
                  </a:lnTo>
                  <a:lnTo>
                    <a:pt x="130" y="409"/>
                  </a:lnTo>
                  <a:lnTo>
                    <a:pt x="134" y="406"/>
                  </a:lnTo>
                  <a:lnTo>
                    <a:pt x="131" y="406"/>
                  </a:lnTo>
                  <a:lnTo>
                    <a:pt x="130" y="405"/>
                  </a:lnTo>
                  <a:lnTo>
                    <a:pt x="125" y="406"/>
                  </a:lnTo>
                  <a:lnTo>
                    <a:pt x="128" y="403"/>
                  </a:lnTo>
                  <a:lnTo>
                    <a:pt x="133" y="399"/>
                  </a:lnTo>
                  <a:lnTo>
                    <a:pt x="133" y="398"/>
                  </a:lnTo>
                  <a:lnTo>
                    <a:pt x="135" y="398"/>
                  </a:lnTo>
                  <a:lnTo>
                    <a:pt x="139" y="398"/>
                  </a:lnTo>
                  <a:lnTo>
                    <a:pt x="141" y="395"/>
                  </a:lnTo>
                  <a:lnTo>
                    <a:pt x="142" y="395"/>
                  </a:lnTo>
                  <a:lnTo>
                    <a:pt x="146" y="395"/>
                  </a:lnTo>
                  <a:lnTo>
                    <a:pt x="149" y="393"/>
                  </a:lnTo>
                  <a:lnTo>
                    <a:pt x="149" y="397"/>
                  </a:lnTo>
                  <a:lnTo>
                    <a:pt x="153" y="398"/>
                  </a:lnTo>
                  <a:lnTo>
                    <a:pt x="154" y="395"/>
                  </a:lnTo>
                  <a:lnTo>
                    <a:pt x="157" y="397"/>
                  </a:lnTo>
                  <a:lnTo>
                    <a:pt x="159" y="395"/>
                  </a:lnTo>
                  <a:lnTo>
                    <a:pt x="158" y="394"/>
                  </a:lnTo>
                  <a:lnTo>
                    <a:pt x="157" y="393"/>
                  </a:lnTo>
                  <a:lnTo>
                    <a:pt x="157" y="392"/>
                  </a:lnTo>
                  <a:lnTo>
                    <a:pt x="159" y="386"/>
                  </a:lnTo>
                  <a:lnTo>
                    <a:pt x="161" y="385"/>
                  </a:lnTo>
                  <a:lnTo>
                    <a:pt x="163" y="385"/>
                  </a:lnTo>
                  <a:lnTo>
                    <a:pt x="161" y="388"/>
                  </a:lnTo>
                  <a:lnTo>
                    <a:pt x="164" y="389"/>
                  </a:lnTo>
                  <a:lnTo>
                    <a:pt x="166" y="387"/>
                  </a:lnTo>
                  <a:lnTo>
                    <a:pt x="168" y="388"/>
                  </a:lnTo>
                  <a:lnTo>
                    <a:pt x="168" y="386"/>
                  </a:lnTo>
                  <a:lnTo>
                    <a:pt x="164" y="382"/>
                  </a:lnTo>
                  <a:lnTo>
                    <a:pt x="159" y="382"/>
                  </a:lnTo>
                  <a:lnTo>
                    <a:pt x="155" y="387"/>
                  </a:lnTo>
                  <a:lnTo>
                    <a:pt x="154" y="383"/>
                  </a:lnTo>
                  <a:lnTo>
                    <a:pt x="154" y="382"/>
                  </a:lnTo>
                  <a:lnTo>
                    <a:pt x="155" y="380"/>
                  </a:lnTo>
                  <a:lnTo>
                    <a:pt x="154" y="377"/>
                  </a:lnTo>
                  <a:lnTo>
                    <a:pt x="153" y="380"/>
                  </a:lnTo>
                  <a:lnTo>
                    <a:pt x="151" y="379"/>
                  </a:lnTo>
                  <a:lnTo>
                    <a:pt x="149" y="383"/>
                  </a:lnTo>
                  <a:lnTo>
                    <a:pt x="145" y="386"/>
                  </a:lnTo>
                  <a:lnTo>
                    <a:pt x="143" y="387"/>
                  </a:lnTo>
                  <a:lnTo>
                    <a:pt x="143" y="383"/>
                  </a:lnTo>
                  <a:lnTo>
                    <a:pt x="139" y="381"/>
                  </a:lnTo>
                  <a:lnTo>
                    <a:pt x="142" y="381"/>
                  </a:lnTo>
                  <a:lnTo>
                    <a:pt x="142" y="379"/>
                  </a:lnTo>
                  <a:lnTo>
                    <a:pt x="143" y="377"/>
                  </a:lnTo>
                  <a:lnTo>
                    <a:pt x="142" y="374"/>
                  </a:lnTo>
                  <a:lnTo>
                    <a:pt x="141" y="375"/>
                  </a:lnTo>
                  <a:lnTo>
                    <a:pt x="140" y="371"/>
                  </a:lnTo>
                  <a:lnTo>
                    <a:pt x="135" y="370"/>
                  </a:lnTo>
                  <a:lnTo>
                    <a:pt x="130" y="376"/>
                  </a:lnTo>
                  <a:lnTo>
                    <a:pt x="128" y="380"/>
                  </a:lnTo>
                  <a:lnTo>
                    <a:pt x="129" y="374"/>
                  </a:lnTo>
                  <a:lnTo>
                    <a:pt x="128" y="368"/>
                  </a:lnTo>
                  <a:lnTo>
                    <a:pt x="125" y="374"/>
                  </a:lnTo>
                  <a:lnTo>
                    <a:pt x="123" y="371"/>
                  </a:lnTo>
                  <a:lnTo>
                    <a:pt x="121" y="373"/>
                  </a:lnTo>
                  <a:lnTo>
                    <a:pt x="119" y="373"/>
                  </a:lnTo>
                  <a:lnTo>
                    <a:pt x="118" y="374"/>
                  </a:lnTo>
                  <a:lnTo>
                    <a:pt x="116" y="379"/>
                  </a:lnTo>
                  <a:lnTo>
                    <a:pt x="116" y="381"/>
                  </a:lnTo>
                  <a:lnTo>
                    <a:pt x="115" y="382"/>
                  </a:lnTo>
                  <a:lnTo>
                    <a:pt x="111" y="385"/>
                  </a:lnTo>
                  <a:lnTo>
                    <a:pt x="110" y="386"/>
                  </a:lnTo>
                  <a:lnTo>
                    <a:pt x="107" y="383"/>
                  </a:lnTo>
                  <a:lnTo>
                    <a:pt x="107" y="382"/>
                  </a:lnTo>
                  <a:lnTo>
                    <a:pt x="105" y="386"/>
                  </a:lnTo>
                  <a:lnTo>
                    <a:pt x="105" y="393"/>
                  </a:lnTo>
                  <a:lnTo>
                    <a:pt x="102" y="389"/>
                  </a:lnTo>
                  <a:lnTo>
                    <a:pt x="101" y="385"/>
                  </a:lnTo>
                  <a:lnTo>
                    <a:pt x="100" y="389"/>
                  </a:lnTo>
                  <a:lnTo>
                    <a:pt x="99" y="391"/>
                  </a:lnTo>
                  <a:lnTo>
                    <a:pt x="98" y="389"/>
                  </a:lnTo>
                  <a:lnTo>
                    <a:pt x="94" y="391"/>
                  </a:lnTo>
                  <a:lnTo>
                    <a:pt x="93" y="394"/>
                  </a:lnTo>
                  <a:lnTo>
                    <a:pt x="90" y="397"/>
                  </a:lnTo>
                  <a:lnTo>
                    <a:pt x="89" y="399"/>
                  </a:lnTo>
                  <a:lnTo>
                    <a:pt x="90" y="393"/>
                  </a:lnTo>
                  <a:lnTo>
                    <a:pt x="92" y="388"/>
                  </a:lnTo>
                  <a:lnTo>
                    <a:pt x="88" y="388"/>
                  </a:lnTo>
                  <a:lnTo>
                    <a:pt x="88" y="387"/>
                  </a:lnTo>
                  <a:lnTo>
                    <a:pt x="87" y="387"/>
                  </a:lnTo>
                  <a:lnTo>
                    <a:pt x="89" y="386"/>
                  </a:lnTo>
                  <a:lnTo>
                    <a:pt x="92" y="382"/>
                  </a:lnTo>
                  <a:lnTo>
                    <a:pt x="94" y="379"/>
                  </a:lnTo>
                  <a:lnTo>
                    <a:pt x="98" y="379"/>
                  </a:lnTo>
                  <a:lnTo>
                    <a:pt x="102" y="379"/>
                  </a:lnTo>
                  <a:lnTo>
                    <a:pt x="106" y="379"/>
                  </a:lnTo>
                  <a:lnTo>
                    <a:pt x="106" y="376"/>
                  </a:lnTo>
                  <a:lnTo>
                    <a:pt x="104" y="374"/>
                  </a:lnTo>
                  <a:lnTo>
                    <a:pt x="101" y="374"/>
                  </a:lnTo>
                  <a:lnTo>
                    <a:pt x="98" y="376"/>
                  </a:lnTo>
                  <a:lnTo>
                    <a:pt x="96" y="376"/>
                  </a:lnTo>
                  <a:lnTo>
                    <a:pt x="98" y="373"/>
                  </a:lnTo>
                  <a:lnTo>
                    <a:pt x="99" y="370"/>
                  </a:lnTo>
                  <a:lnTo>
                    <a:pt x="96" y="368"/>
                  </a:lnTo>
                  <a:lnTo>
                    <a:pt x="94" y="370"/>
                  </a:lnTo>
                  <a:lnTo>
                    <a:pt x="93" y="368"/>
                  </a:lnTo>
                  <a:lnTo>
                    <a:pt x="92" y="370"/>
                  </a:lnTo>
                  <a:lnTo>
                    <a:pt x="89" y="371"/>
                  </a:lnTo>
                  <a:lnTo>
                    <a:pt x="89" y="374"/>
                  </a:lnTo>
                  <a:lnTo>
                    <a:pt x="93" y="374"/>
                  </a:lnTo>
                  <a:lnTo>
                    <a:pt x="94" y="376"/>
                  </a:lnTo>
                  <a:lnTo>
                    <a:pt x="90" y="380"/>
                  </a:lnTo>
                  <a:lnTo>
                    <a:pt x="89" y="382"/>
                  </a:lnTo>
                  <a:lnTo>
                    <a:pt x="89" y="380"/>
                  </a:lnTo>
                  <a:lnTo>
                    <a:pt x="86" y="381"/>
                  </a:lnTo>
                  <a:lnTo>
                    <a:pt x="80" y="385"/>
                  </a:lnTo>
                  <a:lnTo>
                    <a:pt x="82" y="380"/>
                  </a:lnTo>
                  <a:lnTo>
                    <a:pt x="81" y="376"/>
                  </a:lnTo>
                  <a:lnTo>
                    <a:pt x="80" y="376"/>
                  </a:lnTo>
                  <a:lnTo>
                    <a:pt x="81" y="374"/>
                  </a:lnTo>
                  <a:lnTo>
                    <a:pt x="82" y="371"/>
                  </a:lnTo>
                  <a:lnTo>
                    <a:pt x="83" y="370"/>
                  </a:lnTo>
                  <a:lnTo>
                    <a:pt x="80" y="370"/>
                  </a:lnTo>
                  <a:lnTo>
                    <a:pt x="82" y="367"/>
                  </a:lnTo>
                  <a:lnTo>
                    <a:pt x="82" y="365"/>
                  </a:lnTo>
                  <a:lnTo>
                    <a:pt x="83" y="365"/>
                  </a:lnTo>
                  <a:lnTo>
                    <a:pt x="87" y="367"/>
                  </a:lnTo>
                  <a:lnTo>
                    <a:pt x="88" y="364"/>
                  </a:lnTo>
                  <a:lnTo>
                    <a:pt x="83" y="363"/>
                  </a:lnTo>
                  <a:lnTo>
                    <a:pt x="80" y="364"/>
                  </a:lnTo>
                  <a:lnTo>
                    <a:pt x="74" y="364"/>
                  </a:lnTo>
                  <a:lnTo>
                    <a:pt x="77" y="362"/>
                  </a:lnTo>
                  <a:lnTo>
                    <a:pt x="81" y="359"/>
                  </a:lnTo>
                  <a:lnTo>
                    <a:pt x="83" y="361"/>
                  </a:lnTo>
                  <a:lnTo>
                    <a:pt x="87" y="362"/>
                  </a:lnTo>
                  <a:lnTo>
                    <a:pt x="92" y="364"/>
                  </a:lnTo>
                  <a:lnTo>
                    <a:pt x="94" y="364"/>
                  </a:lnTo>
                  <a:lnTo>
                    <a:pt x="98" y="362"/>
                  </a:lnTo>
                  <a:lnTo>
                    <a:pt x="99" y="359"/>
                  </a:lnTo>
                  <a:lnTo>
                    <a:pt x="99" y="356"/>
                  </a:lnTo>
                  <a:lnTo>
                    <a:pt x="95" y="356"/>
                  </a:lnTo>
                  <a:lnTo>
                    <a:pt x="90" y="358"/>
                  </a:lnTo>
                  <a:lnTo>
                    <a:pt x="89" y="361"/>
                  </a:lnTo>
                  <a:lnTo>
                    <a:pt x="86" y="359"/>
                  </a:lnTo>
                  <a:lnTo>
                    <a:pt x="86" y="356"/>
                  </a:lnTo>
                  <a:lnTo>
                    <a:pt x="89" y="352"/>
                  </a:lnTo>
                  <a:lnTo>
                    <a:pt x="89" y="349"/>
                  </a:lnTo>
                  <a:lnTo>
                    <a:pt x="86" y="347"/>
                  </a:lnTo>
                  <a:lnTo>
                    <a:pt x="84" y="345"/>
                  </a:lnTo>
                  <a:lnTo>
                    <a:pt x="86" y="343"/>
                  </a:lnTo>
                  <a:lnTo>
                    <a:pt x="82" y="339"/>
                  </a:lnTo>
                  <a:lnTo>
                    <a:pt x="78" y="337"/>
                  </a:lnTo>
                  <a:lnTo>
                    <a:pt x="80" y="341"/>
                  </a:lnTo>
                  <a:lnTo>
                    <a:pt x="78" y="344"/>
                  </a:lnTo>
                  <a:lnTo>
                    <a:pt x="76" y="340"/>
                  </a:lnTo>
                  <a:lnTo>
                    <a:pt x="74" y="340"/>
                  </a:lnTo>
                  <a:lnTo>
                    <a:pt x="75" y="343"/>
                  </a:lnTo>
                  <a:lnTo>
                    <a:pt x="72" y="344"/>
                  </a:lnTo>
                  <a:lnTo>
                    <a:pt x="72" y="345"/>
                  </a:lnTo>
                  <a:lnTo>
                    <a:pt x="75" y="347"/>
                  </a:lnTo>
                  <a:lnTo>
                    <a:pt x="76" y="349"/>
                  </a:lnTo>
                  <a:lnTo>
                    <a:pt x="74" y="351"/>
                  </a:lnTo>
                  <a:lnTo>
                    <a:pt x="72" y="355"/>
                  </a:lnTo>
                  <a:lnTo>
                    <a:pt x="76" y="358"/>
                  </a:lnTo>
                  <a:lnTo>
                    <a:pt x="72" y="356"/>
                  </a:lnTo>
                  <a:lnTo>
                    <a:pt x="71" y="359"/>
                  </a:lnTo>
                  <a:lnTo>
                    <a:pt x="70" y="356"/>
                  </a:lnTo>
                  <a:lnTo>
                    <a:pt x="68" y="351"/>
                  </a:lnTo>
                  <a:lnTo>
                    <a:pt x="63" y="351"/>
                  </a:lnTo>
                  <a:lnTo>
                    <a:pt x="64" y="358"/>
                  </a:lnTo>
                  <a:lnTo>
                    <a:pt x="60" y="359"/>
                  </a:lnTo>
                  <a:lnTo>
                    <a:pt x="57" y="361"/>
                  </a:lnTo>
                  <a:lnTo>
                    <a:pt x="59" y="364"/>
                  </a:lnTo>
                  <a:lnTo>
                    <a:pt x="56" y="369"/>
                  </a:lnTo>
                  <a:lnTo>
                    <a:pt x="52" y="374"/>
                  </a:lnTo>
                  <a:lnTo>
                    <a:pt x="53" y="370"/>
                  </a:lnTo>
                  <a:lnTo>
                    <a:pt x="54" y="365"/>
                  </a:lnTo>
                  <a:lnTo>
                    <a:pt x="56" y="365"/>
                  </a:lnTo>
                  <a:lnTo>
                    <a:pt x="57" y="363"/>
                  </a:lnTo>
                  <a:lnTo>
                    <a:pt x="56" y="362"/>
                  </a:lnTo>
                  <a:lnTo>
                    <a:pt x="54" y="361"/>
                  </a:lnTo>
                  <a:lnTo>
                    <a:pt x="52" y="362"/>
                  </a:lnTo>
                  <a:lnTo>
                    <a:pt x="51" y="358"/>
                  </a:lnTo>
                  <a:lnTo>
                    <a:pt x="47" y="357"/>
                  </a:lnTo>
                  <a:lnTo>
                    <a:pt x="43" y="362"/>
                  </a:lnTo>
                  <a:lnTo>
                    <a:pt x="45" y="356"/>
                  </a:lnTo>
                  <a:lnTo>
                    <a:pt x="41" y="361"/>
                  </a:lnTo>
                  <a:lnTo>
                    <a:pt x="40" y="362"/>
                  </a:lnTo>
                  <a:lnTo>
                    <a:pt x="39" y="362"/>
                  </a:lnTo>
                  <a:lnTo>
                    <a:pt x="40" y="359"/>
                  </a:lnTo>
                  <a:lnTo>
                    <a:pt x="39" y="358"/>
                  </a:lnTo>
                  <a:lnTo>
                    <a:pt x="39" y="356"/>
                  </a:lnTo>
                  <a:lnTo>
                    <a:pt x="36" y="356"/>
                  </a:lnTo>
                  <a:lnTo>
                    <a:pt x="41" y="352"/>
                  </a:lnTo>
                  <a:lnTo>
                    <a:pt x="45" y="352"/>
                  </a:lnTo>
                  <a:lnTo>
                    <a:pt x="46" y="350"/>
                  </a:lnTo>
                  <a:lnTo>
                    <a:pt x="50" y="347"/>
                  </a:lnTo>
                  <a:lnTo>
                    <a:pt x="50" y="345"/>
                  </a:lnTo>
                  <a:lnTo>
                    <a:pt x="45" y="344"/>
                  </a:lnTo>
                  <a:lnTo>
                    <a:pt x="41" y="343"/>
                  </a:lnTo>
                  <a:lnTo>
                    <a:pt x="41" y="345"/>
                  </a:lnTo>
                  <a:lnTo>
                    <a:pt x="40" y="346"/>
                  </a:lnTo>
                  <a:lnTo>
                    <a:pt x="36" y="343"/>
                  </a:lnTo>
                  <a:lnTo>
                    <a:pt x="33" y="344"/>
                  </a:lnTo>
                  <a:lnTo>
                    <a:pt x="36" y="347"/>
                  </a:lnTo>
                  <a:lnTo>
                    <a:pt x="33" y="352"/>
                  </a:lnTo>
                  <a:lnTo>
                    <a:pt x="29" y="355"/>
                  </a:lnTo>
                  <a:lnTo>
                    <a:pt x="27" y="356"/>
                  </a:lnTo>
                  <a:lnTo>
                    <a:pt x="24" y="351"/>
                  </a:lnTo>
                  <a:lnTo>
                    <a:pt x="25" y="345"/>
                  </a:lnTo>
                  <a:lnTo>
                    <a:pt x="28" y="345"/>
                  </a:lnTo>
                  <a:lnTo>
                    <a:pt x="31" y="344"/>
                  </a:lnTo>
                  <a:lnTo>
                    <a:pt x="35" y="341"/>
                  </a:lnTo>
                  <a:lnTo>
                    <a:pt x="37" y="340"/>
                  </a:lnTo>
                  <a:lnTo>
                    <a:pt x="34" y="340"/>
                  </a:lnTo>
                  <a:lnTo>
                    <a:pt x="30" y="339"/>
                  </a:lnTo>
                  <a:lnTo>
                    <a:pt x="30" y="338"/>
                  </a:lnTo>
                  <a:lnTo>
                    <a:pt x="29" y="338"/>
                  </a:lnTo>
                  <a:lnTo>
                    <a:pt x="28" y="338"/>
                  </a:lnTo>
                  <a:lnTo>
                    <a:pt x="27" y="338"/>
                  </a:lnTo>
                  <a:lnTo>
                    <a:pt x="22" y="340"/>
                  </a:lnTo>
                  <a:lnTo>
                    <a:pt x="23" y="338"/>
                  </a:lnTo>
                  <a:lnTo>
                    <a:pt x="24" y="333"/>
                  </a:lnTo>
                  <a:lnTo>
                    <a:pt x="23" y="334"/>
                  </a:lnTo>
                  <a:lnTo>
                    <a:pt x="22" y="333"/>
                  </a:lnTo>
                  <a:lnTo>
                    <a:pt x="22" y="332"/>
                  </a:lnTo>
                  <a:lnTo>
                    <a:pt x="27" y="331"/>
                  </a:lnTo>
                  <a:lnTo>
                    <a:pt x="28" y="334"/>
                  </a:lnTo>
                  <a:lnTo>
                    <a:pt x="31" y="337"/>
                  </a:lnTo>
                  <a:lnTo>
                    <a:pt x="34" y="337"/>
                  </a:lnTo>
                  <a:lnTo>
                    <a:pt x="33" y="332"/>
                  </a:lnTo>
                  <a:lnTo>
                    <a:pt x="30" y="331"/>
                  </a:lnTo>
                  <a:lnTo>
                    <a:pt x="31" y="326"/>
                  </a:lnTo>
                  <a:lnTo>
                    <a:pt x="34" y="328"/>
                  </a:lnTo>
                  <a:lnTo>
                    <a:pt x="34" y="334"/>
                  </a:lnTo>
                  <a:lnTo>
                    <a:pt x="36" y="335"/>
                  </a:lnTo>
                  <a:lnTo>
                    <a:pt x="36" y="333"/>
                  </a:lnTo>
                  <a:lnTo>
                    <a:pt x="35" y="332"/>
                  </a:lnTo>
                  <a:lnTo>
                    <a:pt x="36" y="331"/>
                  </a:lnTo>
                  <a:lnTo>
                    <a:pt x="39" y="329"/>
                  </a:lnTo>
                  <a:lnTo>
                    <a:pt x="41" y="331"/>
                  </a:lnTo>
                  <a:lnTo>
                    <a:pt x="42" y="332"/>
                  </a:lnTo>
                  <a:lnTo>
                    <a:pt x="47" y="331"/>
                  </a:lnTo>
                  <a:lnTo>
                    <a:pt x="48" y="333"/>
                  </a:lnTo>
                  <a:lnTo>
                    <a:pt x="53" y="334"/>
                  </a:lnTo>
                  <a:lnTo>
                    <a:pt x="59" y="338"/>
                  </a:lnTo>
                  <a:lnTo>
                    <a:pt x="59" y="337"/>
                  </a:lnTo>
                  <a:lnTo>
                    <a:pt x="58" y="335"/>
                  </a:lnTo>
                  <a:lnTo>
                    <a:pt x="56" y="334"/>
                  </a:lnTo>
                  <a:lnTo>
                    <a:pt x="59" y="331"/>
                  </a:lnTo>
                  <a:lnTo>
                    <a:pt x="62" y="328"/>
                  </a:lnTo>
                  <a:lnTo>
                    <a:pt x="64" y="325"/>
                  </a:lnTo>
                  <a:lnTo>
                    <a:pt x="65" y="322"/>
                  </a:lnTo>
                  <a:lnTo>
                    <a:pt x="62" y="326"/>
                  </a:lnTo>
                  <a:lnTo>
                    <a:pt x="58" y="329"/>
                  </a:lnTo>
                  <a:lnTo>
                    <a:pt x="52" y="331"/>
                  </a:lnTo>
                  <a:lnTo>
                    <a:pt x="53" y="327"/>
                  </a:lnTo>
                  <a:lnTo>
                    <a:pt x="56" y="322"/>
                  </a:lnTo>
                  <a:lnTo>
                    <a:pt x="58" y="320"/>
                  </a:lnTo>
                  <a:lnTo>
                    <a:pt x="60" y="317"/>
                  </a:lnTo>
                  <a:lnTo>
                    <a:pt x="60" y="320"/>
                  </a:lnTo>
                  <a:lnTo>
                    <a:pt x="63" y="319"/>
                  </a:lnTo>
                  <a:lnTo>
                    <a:pt x="66" y="317"/>
                  </a:lnTo>
                  <a:lnTo>
                    <a:pt x="63" y="314"/>
                  </a:lnTo>
                  <a:lnTo>
                    <a:pt x="60" y="316"/>
                  </a:lnTo>
                  <a:lnTo>
                    <a:pt x="57" y="316"/>
                  </a:lnTo>
                  <a:lnTo>
                    <a:pt x="53" y="316"/>
                  </a:lnTo>
                  <a:lnTo>
                    <a:pt x="52" y="317"/>
                  </a:lnTo>
                  <a:lnTo>
                    <a:pt x="52" y="314"/>
                  </a:lnTo>
                  <a:lnTo>
                    <a:pt x="46" y="308"/>
                  </a:lnTo>
                  <a:lnTo>
                    <a:pt x="52" y="306"/>
                  </a:lnTo>
                  <a:lnTo>
                    <a:pt x="54" y="302"/>
                  </a:lnTo>
                  <a:lnTo>
                    <a:pt x="50" y="304"/>
                  </a:lnTo>
                  <a:lnTo>
                    <a:pt x="51" y="299"/>
                  </a:lnTo>
                  <a:lnTo>
                    <a:pt x="56" y="293"/>
                  </a:lnTo>
                  <a:lnTo>
                    <a:pt x="60" y="291"/>
                  </a:lnTo>
                  <a:lnTo>
                    <a:pt x="54" y="290"/>
                  </a:lnTo>
                  <a:lnTo>
                    <a:pt x="45" y="293"/>
                  </a:lnTo>
                  <a:lnTo>
                    <a:pt x="35" y="303"/>
                  </a:lnTo>
                  <a:lnTo>
                    <a:pt x="30" y="310"/>
                  </a:lnTo>
                  <a:lnTo>
                    <a:pt x="30" y="306"/>
                  </a:lnTo>
                  <a:lnTo>
                    <a:pt x="31" y="303"/>
                  </a:lnTo>
                  <a:lnTo>
                    <a:pt x="33" y="298"/>
                  </a:lnTo>
                  <a:lnTo>
                    <a:pt x="29" y="300"/>
                  </a:lnTo>
                  <a:lnTo>
                    <a:pt x="31" y="292"/>
                  </a:lnTo>
                  <a:lnTo>
                    <a:pt x="34" y="287"/>
                  </a:lnTo>
                  <a:lnTo>
                    <a:pt x="35" y="287"/>
                  </a:lnTo>
                  <a:lnTo>
                    <a:pt x="40" y="288"/>
                  </a:lnTo>
                  <a:lnTo>
                    <a:pt x="39" y="285"/>
                  </a:lnTo>
                  <a:lnTo>
                    <a:pt x="40" y="285"/>
                  </a:lnTo>
                  <a:lnTo>
                    <a:pt x="43" y="281"/>
                  </a:lnTo>
                  <a:lnTo>
                    <a:pt x="45" y="278"/>
                  </a:lnTo>
                  <a:lnTo>
                    <a:pt x="33" y="276"/>
                  </a:lnTo>
                  <a:lnTo>
                    <a:pt x="24" y="274"/>
                  </a:lnTo>
                  <a:lnTo>
                    <a:pt x="30" y="274"/>
                  </a:lnTo>
                  <a:lnTo>
                    <a:pt x="33" y="274"/>
                  </a:lnTo>
                  <a:lnTo>
                    <a:pt x="33" y="272"/>
                  </a:lnTo>
                  <a:lnTo>
                    <a:pt x="35" y="272"/>
                  </a:lnTo>
                  <a:lnTo>
                    <a:pt x="35" y="270"/>
                  </a:lnTo>
                  <a:lnTo>
                    <a:pt x="39" y="272"/>
                  </a:lnTo>
                  <a:lnTo>
                    <a:pt x="37" y="269"/>
                  </a:lnTo>
                  <a:lnTo>
                    <a:pt x="41" y="270"/>
                  </a:lnTo>
                  <a:lnTo>
                    <a:pt x="42" y="268"/>
                  </a:lnTo>
                  <a:lnTo>
                    <a:pt x="46" y="272"/>
                  </a:lnTo>
                  <a:lnTo>
                    <a:pt x="47" y="274"/>
                  </a:lnTo>
                  <a:lnTo>
                    <a:pt x="50" y="278"/>
                  </a:lnTo>
                  <a:lnTo>
                    <a:pt x="51" y="280"/>
                  </a:lnTo>
                  <a:lnTo>
                    <a:pt x="53" y="280"/>
                  </a:lnTo>
                  <a:lnTo>
                    <a:pt x="54" y="278"/>
                  </a:lnTo>
                  <a:lnTo>
                    <a:pt x="54" y="276"/>
                  </a:lnTo>
                  <a:lnTo>
                    <a:pt x="56" y="275"/>
                  </a:lnTo>
                  <a:lnTo>
                    <a:pt x="58" y="275"/>
                  </a:lnTo>
                  <a:lnTo>
                    <a:pt x="64" y="273"/>
                  </a:lnTo>
                  <a:lnTo>
                    <a:pt x="69" y="275"/>
                  </a:lnTo>
                  <a:lnTo>
                    <a:pt x="71" y="275"/>
                  </a:lnTo>
                  <a:lnTo>
                    <a:pt x="75" y="275"/>
                  </a:lnTo>
                  <a:lnTo>
                    <a:pt x="81" y="275"/>
                  </a:lnTo>
                  <a:lnTo>
                    <a:pt x="83" y="275"/>
                  </a:lnTo>
                  <a:lnTo>
                    <a:pt x="88" y="275"/>
                  </a:lnTo>
                  <a:lnTo>
                    <a:pt x="88" y="272"/>
                  </a:lnTo>
                  <a:lnTo>
                    <a:pt x="90" y="273"/>
                  </a:lnTo>
                  <a:lnTo>
                    <a:pt x="92" y="274"/>
                  </a:lnTo>
                  <a:lnTo>
                    <a:pt x="92" y="275"/>
                  </a:lnTo>
                  <a:lnTo>
                    <a:pt x="95" y="274"/>
                  </a:lnTo>
                  <a:lnTo>
                    <a:pt x="100" y="275"/>
                  </a:lnTo>
                  <a:lnTo>
                    <a:pt x="105" y="276"/>
                  </a:lnTo>
                  <a:lnTo>
                    <a:pt x="109" y="279"/>
                  </a:lnTo>
                  <a:lnTo>
                    <a:pt x="112" y="280"/>
                  </a:lnTo>
                  <a:lnTo>
                    <a:pt x="116" y="280"/>
                  </a:lnTo>
                  <a:lnTo>
                    <a:pt x="117" y="275"/>
                  </a:lnTo>
                  <a:lnTo>
                    <a:pt x="117" y="272"/>
                  </a:lnTo>
                  <a:lnTo>
                    <a:pt x="118" y="269"/>
                  </a:lnTo>
                  <a:lnTo>
                    <a:pt x="115" y="272"/>
                  </a:lnTo>
                  <a:lnTo>
                    <a:pt x="112" y="270"/>
                  </a:lnTo>
                  <a:lnTo>
                    <a:pt x="111" y="273"/>
                  </a:lnTo>
                  <a:lnTo>
                    <a:pt x="111" y="269"/>
                  </a:lnTo>
                  <a:lnTo>
                    <a:pt x="106" y="268"/>
                  </a:lnTo>
                  <a:lnTo>
                    <a:pt x="105" y="267"/>
                  </a:lnTo>
                  <a:lnTo>
                    <a:pt x="105" y="266"/>
                  </a:lnTo>
                  <a:lnTo>
                    <a:pt x="102" y="267"/>
                  </a:lnTo>
                  <a:lnTo>
                    <a:pt x="100" y="268"/>
                  </a:lnTo>
                  <a:lnTo>
                    <a:pt x="101" y="264"/>
                  </a:lnTo>
                  <a:lnTo>
                    <a:pt x="101" y="258"/>
                  </a:lnTo>
                  <a:lnTo>
                    <a:pt x="96" y="261"/>
                  </a:lnTo>
                  <a:lnTo>
                    <a:pt x="93" y="263"/>
                  </a:lnTo>
                  <a:lnTo>
                    <a:pt x="92" y="262"/>
                  </a:lnTo>
                  <a:lnTo>
                    <a:pt x="88" y="260"/>
                  </a:lnTo>
                  <a:lnTo>
                    <a:pt x="86" y="263"/>
                  </a:lnTo>
                  <a:lnTo>
                    <a:pt x="86" y="260"/>
                  </a:lnTo>
                  <a:lnTo>
                    <a:pt x="88" y="256"/>
                  </a:lnTo>
                  <a:lnTo>
                    <a:pt x="86" y="254"/>
                  </a:lnTo>
                  <a:lnTo>
                    <a:pt x="89" y="254"/>
                  </a:lnTo>
                  <a:lnTo>
                    <a:pt x="93" y="254"/>
                  </a:lnTo>
                  <a:lnTo>
                    <a:pt x="95" y="255"/>
                  </a:lnTo>
                  <a:lnTo>
                    <a:pt x="98" y="252"/>
                  </a:lnTo>
                  <a:lnTo>
                    <a:pt x="95" y="250"/>
                  </a:lnTo>
                  <a:lnTo>
                    <a:pt x="93" y="248"/>
                  </a:lnTo>
                  <a:lnTo>
                    <a:pt x="93" y="245"/>
                  </a:lnTo>
                  <a:lnTo>
                    <a:pt x="89" y="248"/>
                  </a:lnTo>
                  <a:lnTo>
                    <a:pt x="90" y="244"/>
                  </a:lnTo>
                  <a:lnTo>
                    <a:pt x="95" y="240"/>
                  </a:lnTo>
                  <a:lnTo>
                    <a:pt x="100" y="242"/>
                  </a:lnTo>
                  <a:lnTo>
                    <a:pt x="101" y="243"/>
                  </a:lnTo>
                  <a:lnTo>
                    <a:pt x="104" y="240"/>
                  </a:lnTo>
                  <a:lnTo>
                    <a:pt x="107" y="238"/>
                  </a:lnTo>
                  <a:lnTo>
                    <a:pt x="109" y="236"/>
                  </a:lnTo>
                  <a:lnTo>
                    <a:pt x="115" y="233"/>
                  </a:lnTo>
                  <a:lnTo>
                    <a:pt x="113" y="230"/>
                  </a:lnTo>
                  <a:lnTo>
                    <a:pt x="110" y="227"/>
                  </a:lnTo>
                  <a:lnTo>
                    <a:pt x="110" y="226"/>
                  </a:lnTo>
                  <a:lnTo>
                    <a:pt x="111" y="227"/>
                  </a:lnTo>
                  <a:lnTo>
                    <a:pt x="113" y="228"/>
                  </a:lnTo>
                  <a:lnTo>
                    <a:pt x="116" y="226"/>
                  </a:lnTo>
                  <a:lnTo>
                    <a:pt x="116" y="224"/>
                  </a:lnTo>
                  <a:lnTo>
                    <a:pt x="121" y="222"/>
                  </a:lnTo>
                  <a:lnTo>
                    <a:pt x="124" y="221"/>
                  </a:lnTo>
                  <a:lnTo>
                    <a:pt x="128" y="219"/>
                  </a:lnTo>
                  <a:lnTo>
                    <a:pt x="130" y="218"/>
                  </a:lnTo>
                  <a:lnTo>
                    <a:pt x="128" y="213"/>
                  </a:lnTo>
                  <a:lnTo>
                    <a:pt x="127" y="210"/>
                  </a:lnTo>
                  <a:lnTo>
                    <a:pt x="123" y="215"/>
                  </a:lnTo>
                  <a:lnTo>
                    <a:pt x="118" y="219"/>
                  </a:lnTo>
                  <a:lnTo>
                    <a:pt x="119" y="215"/>
                  </a:lnTo>
                  <a:lnTo>
                    <a:pt x="125" y="209"/>
                  </a:lnTo>
                  <a:lnTo>
                    <a:pt x="128" y="207"/>
                  </a:lnTo>
                  <a:lnTo>
                    <a:pt x="125" y="207"/>
                  </a:lnTo>
                  <a:lnTo>
                    <a:pt x="125" y="203"/>
                  </a:lnTo>
                  <a:lnTo>
                    <a:pt x="125" y="202"/>
                  </a:lnTo>
                  <a:lnTo>
                    <a:pt x="121" y="203"/>
                  </a:lnTo>
                  <a:lnTo>
                    <a:pt x="115" y="205"/>
                  </a:lnTo>
                  <a:lnTo>
                    <a:pt x="109" y="208"/>
                  </a:lnTo>
                  <a:lnTo>
                    <a:pt x="111" y="202"/>
                  </a:lnTo>
                  <a:lnTo>
                    <a:pt x="113" y="199"/>
                  </a:lnTo>
                  <a:lnTo>
                    <a:pt x="116" y="196"/>
                  </a:lnTo>
                  <a:lnTo>
                    <a:pt x="119" y="195"/>
                  </a:lnTo>
                  <a:lnTo>
                    <a:pt x="125" y="196"/>
                  </a:lnTo>
                  <a:lnTo>
                    <a:pt x="125" y="193"/>
                  </a:lnTo>
                  <a:lnTo>
                    <a:pt x="111" y="192"/>
                  </a:lnTo>
                  <a:lnTo>
                    <a:pt x="110" y="190"/>
                  </a:lnTo>
                  <a:lnTo>
                    <a:pt x="113" y="189"/>
                  </a:lnTo>
                  <a:lnTo>
                    <a:pt x="117" y="187"/>
                  </a:lnTo>
                  <a:lnTo>
                    <a:pt x="119" y="186"/>
                  </a:lnTo>
                  <a:lnTo>
                    <a:pt x="122" y="185"/>
                  </a:lnTo>
                  <a:lnTo>
                    <a:pt x="127" y="186"/>
                  </a:lnTo>
                  <a:lnTo>
                    <a:pt x="129" y="190"/>
                  </a:lnTo>
                  <a:lnTo>
                    <a:pt x="129" y="189"/>
                  </a:lnTo>
                  <a:lnTo>
                    <a:pt x="130" y="186"/>
                  </a:lnTo>
                  <a:lnTo>
                    <a:pt x="134" y="187"/>
                  </a:lnTo>
                  <a:lnTo>
                    <a:pt x="135" y="185"/>
                  </a:lnTo>
                  <a:lnTo>
                    <a:pt x="134" y="183"/>
                  </a:lnTo>
                  <a:lnTo>
                    <a:pt x="129" y="180"/>
                  </a:lnTo>
                  <a:lnTo>
                    <a:pt x="128" y="178"/>
                  </a:lnTo>
                  <a:lnTo>
                    <a:pt x="127" y="177"/>
                  </a:lnTo>
                  <a:lnTo>
                    <a:pt x="125" y="174"/>
                  </a:lnTo>
                  <a:lnTo>
                    <a:pt x="125" y="171"/>
                  </a:lnTo>
                  <a:lnTo>
                    <a:pt x="127" y="168"/>
                  </a:lnTo>
                  <a:lnTo>
                    <a:pt x="127" y="166"/>
                  </a:lnTo>
                  <a:lnTo>
                    <a:pt x="129" y="168"/>
                  </a:lnTo>
                  <a:lnTo>
                    <a:pt x="130" y="167"/>
                  </a:lnTo>
                  <a:lnTo>
                    <a:pt x="133" y="171"/>
                  </a:lnTo>
                  <a:lnTo>
                    <a:pt x="135" y="171"/>
                  </a:lnTo>
                  <a:lnTo>
                    <a:pt x="136" y="177"/>
                  </a:lnTo>
                  <a:lnTo>
                    <a:pt x="136" y="181"/>
                  </a:lnTo>
                  <a:lnTo>
                    <a:pt x="137" y="186"/>
                  </a:lnTo>
                  <a:lnTo>
                    <a:pt x="140" y="189"/>
                  </a:lnTo>
                  <a:lnTo>
                    <a:pt x="145" y="190"/>
                  </a:lnTo>
                  <a:lnTo>
                    <a:pt x="148" y="191"/>
                  </a:lnTo>
                  <a:lnTo>
                    <a:pt x="153" y="189"/>
                  </a:lnTo>
                  <a:lnTo>
                    <a:pt x="155" y="189"/>
                  </a:lnTo>
                  <a:lnTo>
                    <a:pt x="155" y="187"/>
                  </a:lnTo>
                  <a:lnTo>
                    <a:pt x="158" y="186"/>
                  </a:lnTo>
                  <a:lnTo>
                    <a:pt x="159" y="187"/>
                  </a:lnTo>
                  <a:lnTo>
                    <a:pt x="160" y="185"/>
                  </a:lnTo>
                  <a:lnTo>
                    <a:pt x="163" y="184"/>
                  </a:lnTo>
                  <a:lnTo>
                    <a:pt x="165" y="181"/>
                  </a:lnTo>
                  <a:lnTo>
                    <a:pt x="166" y="179"/>
                  </a:lnTo>
                  <a:lnTo>
                    <a:pt x="168" y="178"/>
                  </a:lnTo>
                  <a:lnTo>
                    <a:pt x="166" y="178"/>
                  </a:lnTo>
                  <a:lnTo>
                    <a:pt x="166" y="174"/>
                  </a:lnTo>
                  <a:lnTo>
                    <a:pt x="166" y="173"/>
                  </a:lnTo>
                  <a:lnTo>
                    <a:pt x="165" y="171"/>
                  </a:lnTo>
                  <a:lnTo>
                    <a:pt x="165" y="167"/>
                  </a:lnTo>
                  <a:lnTo>
                    <a:pt x="168" y="168"/>
                  </a:lnTo>
                  <a:lnTo>
                    <a:pt x="169" y="169"/>
                  </a:lnTo>
                  <a:lnTo>
                    <a:pt x="170" y="168"/>
                  </a:lnTo>
                  <a:lnTo>
                    <a:pt x="169" y="167"/>
                  </a:lnTo>
                  <a:lnTo>
                    <a:pt x="172" y="166"/>
                  </a:lnTo>
                  <a:lnTo>
                    <a:pt x="175" y="166"/>
                  </a:lnTo>
                  <a:lnTo>
                    <a:pt x="174" y="162"/>
                  </a:lnTo>
                  <a:lnTo>
                    <a:pt x="172" y="155"/>
                  </a:lnTo>
                  <a:lnTo>
                    <a:pt x="171" y="156"/>
                  </a:lnTo>
                  <a:lnTo>
                    <a:pt x="169" y="155"/>
                  </a:lnTo>
                  <a:lnTo>
                    <a:pt x="168" y="157"/>
                  </a:lnTo>
                  <a:lnTo>
                    <a:pt x="166" y="157"/>
                  </a:lnTo>
                  <a:lnTo>
                    <a:pt x="165" y="155"/>
                  </a:lnTo>
                  <a:lnTo>
                    <a:pt x="165" y="154"/>
                  </a:lnTo>
                  <a:lnTo>
                    <a:pt x="164" y="151"/>
                  </a:lnTo>
                  <a:lnTo>
                    <a:pt x="166" y="151"/>
                  </a:lnTo>
                  <a:lnTo>
                    <a:pt x="170" y="154"/>
                  </a:lnTo>
                  <a:lnTo>
                    <a:pt x="170" y="150"/>
                  </a:lnTo>
                  <a:lnTo>
                    <a:pt x="169" y="147"/>
                  </a:lnTo>
                  <a:lnTo>
                    <a:pt x="170" y="147"/>
                  </a:lnTo>
                  <a:lnTo>
                    <a:pt x="171" y="144"/>
                  </a:lnTo>
                  <a:lnTo>
                    <a:pt x="172" y="143"/>
                  </a:lnTo>
                  <a:lnTo>
                    <a:pt x="174" y="143"/>
                  </a:lnTo>
                  <a:lnTo>
                    <a:pt x="175" y="143"/>
                  </a:lnTo>
                  <a:lnTo>
                    <a:pt x="175" y="147"/>
                  </a:lnTo>
                  <a:lnTo>
                    <a:pt x="177" y="147"/>
                  </a:lnTo>
                  <a:lnTo>
                    <a:pt x="178" y="148"/>
                  </a:lnTo>
                  <a:lnTo>
                    <a:pt x="178" y="149"/>
                  </a:lnTo>
                  <a:lnTo>
                    <a:pt x="175" y="150"/>
                  </a:lnTo>
                  <a:lnTo>
                    <a:pt x="174" y="154"/>
                  </a:lnTo>
                  <a:lnTo>
                    <a:pt x="174" y="157"/>
                  </a:lnTo>
                  <a:lnTo>
                    <a:pt x="175" y="161"/>
                  </a:lnTo>
                  <a:lnTo>
                    <a:pt x="177" y="160"/>
                  </a:lnTo>
                  <a:lnTo>
                    <a:pt x="176" y="157"/>
                  </a:lnTo>
                  <a:lnTo>
                    <a:pt x="176" y="154"/>
                  </a:lnTo>
                  <a:lnTo>
                    <a:pt x="176" y="153"/>
                  </a:lnTo>
                  <a:lnTo>
                    <a:pt x="177" y="153"/>
                  </a:lnTo>
                  <a:lnTo>
                    <a:pt x="178" y="153"/>
                  </a:lnTo>
                  <a:lnTo>
                    <a:pt x="181" y="153"/>
                  </a:lnTo>
                  <a:lnTo>
                    <a:pt x="182" y="153"/>
                  </a:lnTo>
                  <a:lnTo>
                    <a:pt x="182" y="154"/>
                  </a:lnTo>
                  <a:lnTo>
                    <a:pt x="180" y="159"/>
                  </a:lnTo>
                  <a:lnTo>
                    <a:pt x="182" y="161"/>
                  </a:lnTo>
                  <a:lnTo>
                    <a:pt x="184" y="162"/>
                  </a:lnTo>
                  <a:lnTo>
                    <a:pt x="184" y="163"/>
                  </a:lnTo>
                  <a:lnTo>
                    <a:pt x="180" y="167"/>
                  </a:lnTo>
                  <a:lnTo>
                    <a:pt x="182" y="167"/>
                  </a:lnTo>
                  <a:lnTo>
                    <a:pt x="183" y="166"/>
                  </a:lnTo>
                  <a:lnTo>
                    <a:pt x="186" y="165"/>
                  </a:lnTo>
                  <a:lnTo>
                    <a:pt x="188" y="163"/>
                  </a:lnTo>
                  <a:lnTo>
                    <a:pt x="190" y="161"/>
                  </a:lnTo>
                  <a:lnTo>
                    <a:pt x="188" y="160"/>
                  </a:lnTo>
                  <a:lnTo>
                    <a:pt x="183" y="159"/>
                  </a:lnTo>
                  <a:lnTo>
                    <a:pt x="183" y="155"/>
                  </a:lnTo>
                  <a:lnTo>
                    <a:pt x="182" y="150"/>
                  </a:lnTo>
                  <a:lnTo>
                    <a:pt x="183" y="150"/>
                  </a:lnTo>
                  <a:lnTo>
                    <a:pt x="184" y="149"/>
                  </a:lnTo>
                  <a:lnTo>
                    <a:pt x="186" y="149"/>
                  </a:lnTo>
                  <a:lnTo>
                    <a:pt x="188" y="149"/>
                  </a:lnTo>
                  <a:lnTo>
                    <a:pt x="189" y="151"/>
                  </a:lnTo>
                  <a:lnTo>
                    <a:pt x="192" y="149"/>
                  </a:lnTo>
                  <a:lnTo>
                    <a:pt x="195" y="150"/>
                  </a:lnTo>
                  <a:lnTo>
                    <a:pt x="195" y="151"/>
                  </a:lnTo>
                  <a:lnTo>
                    <a:pt x="198" y="153"/>
                  </a:lnTo>
                  <a:lnTo>
                    <a:pt x="196" y="156"/>
                  </a:lnTo>
                  <a:lnTo>
                    <a:pt x="199" y="157"/>
                  </a:lnTo>
                  <a:lnTo>
                    <a:pt x="201" y="155"/>
                  </a:lnTo>
                  <a:lnTo>
                    <a:pt x="200" y="159"/>
                  </a:lnTo>
                  <a:lnTo>
                    <a:pt x="201" y="161"/>
                  </a:lnTo>
                  <a:lnTo>
                    <a:pt x="202" y="157"/>
                  </a:lnTo>
                  <a:lnTo>
                    <a:pt x="204" y="160"/>
                  </a:lnTo>
                  <a:lnTo>
                    <a:pt x="206" y="159"/>
                  </a:lnTo>
                  <a:lnTo>
                    <a:pt x="208" y="156"/>
                  </a:lnTo>
                  <a:lnTo>
                    <a:pt x="206" y="157"/>
                  </a:lnTo>
                  <a:lnTo>
                    <a:pt x="205" y="157"/>
                  </a:lnTo>
                  <a:lnTo>
                    <a:pt x="205" y="155"/>
                  </a:lnTo>
                  <a:lnTo>
                    <a:pt x="204" y="154"/>
                  </a:lnTo>
                  <a:lnTo>
                    <a:pt x="204" y="153"/>
                  </a:lnTo>
                  <a:lnTo>
                    <a:pt x="206" y="153"/>
                  </a:lnTo>
                  <a:lnTo>
                    <a:pt x="206" y="150"/>
                  </a:lnTo>
                  <a:lnTo>
                    <a:pt x="207" y="149"/>
                  </a:lnTo>
                  <a:lnTo>
                    <a:pt x="208" y="149"/>
                  </a:lnTo>
                  <a:lnTo>
                    <a:pt x="211" y="149"/>
                  </a:lnTo>
                  <a:lnTo>
                    <a:pt x="212" y="151"/>
                  </a:lnTo>
                  <a:lnTo>
                    <a:pt x="213" y="149"/>
                  </a:lnTo>
                  <a:lnTo>
                    <a:pt x="214" y="148"/>
                  </a:lnTo>
                  <a:lnTo>
                    <a:pt x="214" y="147"/>
                  </a:lnTo>
                  <a:lnTo>
                    <a:pt x="214" y="138"/>
                  </a:lnTo>
                  <a:lnTo>
                    <a:pt x="217" y="142"/>
                  </a:lnTo>
                  <a:lnTo>
                    <a:pt x="217" y="145"/>
                  </a:lnTo>
                  <a:lnTo>
                    <a:pt x="219" y="145"/>
                  </a:lnTo>
                  <a:lnTo>
                    <a:pt x="219" y="148"/>
                  </a:lnTo>
                  <a:lnTo>
                    <a:pt x="218" y="149"/>
                  </a:lnTo>
                  <a:lnTo>
                    <a:pt x="217" y="151"/>
                  </a:lnTo>
                  <a:lnTo>
                    <a:pt x="218" y="155"/>
                  </a:lnTo>
                  <a:lnTo>
                    <a:pt x="220" y="157"/>
                  </a:lnTo>
                  <a:lnTo>
                    <a:pt x="222" y="155"/>
                  </a:lnTo>
                  <a:lnTo>
                    <a:pt x="224" y="157"/>
                  </a:lnTo>
                  <a:lnTo>
                    <a:pt x="225" y="162"/>
                  </a:lnTo>
                  <a:lnTo>
                    <a:pt x="229" y="160"/>
                  </a:lnTo>
                  <a:lnTo>
                    <a:pt x="231" y="161"/>
                  </a:lnTo>
                  <a:lnTo>
                    <a:pt x="234" y="161"/>
                  </a:lnTo>
                  <a:lnTo>
                    <a:pt x="234" y="163"/>
                  </a:lnTo>
                  <a:lnTo>
                    <a:pt x="236" y="165"/>
                  </a:lnTo>
                  <a:lnTo>
                    <a:pt x="237" y="168"/>
                  </a:lnTo>
                  <a:lnTo>
                    <a:pt x="240" y="172"/>
                  </a:lnTo>
                  <a:lnTo>
                    <a:pt x="241" y="173"/>
                  </a:lnTo>
                  <a:lnTo>
                    <a:pt x="233" y="168"/>
                  </a:lnTo>
                  <a:lnTo>
                    <a:pt x="225" y="165"/>
                  </a:lnTo>
                  <a:lnTo>
                    <a:pt x="223" y="161"/>
                  </a:lnTo>
                  <a:lnTo>
                    <a:pt x="223" y="165"/>
                  </a:lnTo>
                  <a:lnTo>
                    <a:pt x="225" y="168"/>
                  </a:lnTo>
                  <a:lnTo>
                    <a:pt x="225" y="171"/>
                  </a:lnTo>
                  <a:lnTo>
                    <a:pt x="227" y="173"/>
                  </a:lnTo>
                  <a:lnTo>
                    <a:pt x="230" y="174"/>
                  </a:lnTo>
                  <a:lnTo>
                    <a:pt x="234" y="175"/>
                  </a:lnTo>
                  <a:lnTo>
                    <a:pt x="229" y="177"/>
                  </a:lnTo>
                  <a:lnTo>
                    <a:pt x="231" y="186"/>
                  </a:lnTo>
                  <a:lnTo>
                    <a:pt x="234" y="191"/>
                  </a:lnTo>
                  <a:lnTo>
                    <a:pt x="236" y="190"/>
                  </a:lnTo>
                  <a:lnTo>
                    <a:pt x="237" y="191"/>
                  </a:lnTo>
                  <a:lnTo>
                    <a:pt x="239" y="195"/>
                  </a:lnTo>
                  <a:lnTo>
                    <a:pt x="240" y="195"/>
                  </a:lnTo>
                  <a:lnTo>
                    <a:pt x="241" y="193"/>
                  </a:lnTo>
                  <a:lnTo>
                    <a:pt x="242" y="195"/>
                  </a:lnTo>
                  <a:lnTo>
                    <a:pt x="242" y="199"/>
                  </a:lnTo>
                  <a:lnTo>
                    <a:pt x="242" y="203"/>
                  </a:lnTo>
                  <a:lnTo>
                    <a:pt x="243" y="204"/>
                  </a:lnTo>
                  <a:lnTo>
                    <a:pt x="246" y="203"/>
                  </a:lnTo>
                  <a:lnTo>
                    <a:pt x="247" y="203"/>
                  </a:lnTo>
                  <a:lnTo>
                    <a:pt x="247" y="199"/>
                  </a:lnTo>
                  <a:lnTo>
                    <a:pt x="249" y="197"/>
                  </a:lnTo>
                  <a:lnTo>
                    <a:pt x="252" y="196"/>
                  </a:lnTo>
                  <a:lnTo>
                    <a:pt x="257" y="195"/>
                  </a:lnTo>
                  <a:lnTo>
                    <a:pt x="253" y="193"/>
                  </a:lnTo>
                  <a:lnTo>
                    <a:pt x="247" y="195"/>
                  </a:lnTo>
                  <a:lnTo>
                    <a:pt x="245" y="193"/>
                  </a:lnTo>
                  <a:lnTo>
                    <a:pt x="245" y="191"/>
                  </a:lnTo>
                  <a:lnTo>
                    <a:pt x="247" y="190"/>
                  </a:lnTo>
                  <a:lnTo>
                    <a:pt x="248" y="187"/>
                  </a:lnTo>
                  <a:lnTo>
                    <a:pt x="249" y="186"/>
                  </a:lnTo>
                  <a:lnTo>
                    <a:pt x="253" y="185"/>
                  </a:lnTo>
                  <a:lnTo>
                    <a:pt x="255" y="184"/>
                  </a:lnTo>
                  <a:lnTo>
                    <a:pt x="257" y="183"/>
                  </a:lnTo>
                  <a:lnTo>
                    <a:pt x="255" y="180"/>
                  </a:lnTo>
                  <a:lnTo>
                    <a:pt x="254" y="177"/>
                  </a:lnTo>
                  <a:lnTo>
                    <a:pt x="248" y="181"/>
                  </a:lnTo>
                  <a:lnTo>
                    <a:pt x="246" y="183"/>
                  </a:lnTo>
                  <a:lnTo>
                    <a:pt x="246" y="179"/>
                  </a:lnTo>
                  <a:lnTo>
                    <a:pt x="245" y="178"/>
                  </a:lnTo>
                  <a:lnTo>
                    <a:pt x="245" y="177"/>
                  </a:lnTo>
                  <a:lnTo>
                    <a:pt x="245" y="173"/>
                  </a:lnTo>
                  <a:lnTo>
                    <a:pt x="243" y="171"/>
                  </a:lnTo>
                  <a:lnTo>
                    <a:pt x="245" y="169"/>
                  </a:lnTo>
                  <a:lnTo>
                    <a:pt x="241" y="162"/>
                  </a:lnTo>
                  <a:lnTo>
                    <a:pt x="245" y="165"/>
                  </a:lnTo>
                  <a:lnTo>
                    <a:pt x="248" y="163"/>
                  </a:lnTo>
                  <a:lnTo>
                    <a:pt x="251" y="165"/>
                  </a:lnTo>
                  <a:lnTo>
                    <a:pt x="254" y="166"/>
                  </a:lnTo>
                  <a:lnTo>
                    <a:pt x="257" y="160"/>
                  </a:lnTo>
                  <a:lnTo>
                    <a:pt x="255" y="157"/>
                  </a:lnTo>
                  <a:lnTo>
                    <a:pt x="252" y="159"/>
                  </a:lnTo>
                  <a:lnTo>
                    <a:pt x="249" y="159"/>
                  </a:lnTo>
                  <a:lnTo>
                    <a:pt x="248" y="155"/>
                  </a:lnTo>
                  <a:lnTo>
                    <a:pt x="247" y="153"/>
                  </a:lnTo>
                  <a:lnTo>
                    <a:pt x="252" y="153"/>
                  </a:lnTo>
                  <a:lnTo>
                    <a:pt x="255" y="154"/>
                  </a:lnTo>
                  <a:lnTo>
                    <a:pt x="258" y="153"/>
                  </a:lnTo>
                  <a:lnTo>
                    <a:pt x="259" y="151"/>
                  </a:lnTo>
                  <a:lnTo>
                    <a:pt x="261" y="151"/>
                  </a:lnTo>
                  <a:lnTo>
                    <a:pt x="261" y="148"/>
                  </a:lnTo>
                  <a:lnTo>
                    <a:pt x="263" y="149"/>
                  </a:lnTo>
                  <a:lnTo>
                    <a:pt x="264" y="153"/>
                  </a:lnTo>
                  <a:lnTo>
                    <a:pt x="265" y="156"/>
                  </a:lnTo>
                  <a:lnTo>
                    <a:pt x="267" y="155"/>
                  </a:lnTo>
                  <a:lnTo>
                    <a:pt x="267" y="157"/>
                  </a:lnTo>
                  <a:lnTo>
                    <a:pt x="269" y="160"/>
                  </a:lnTo>
                  <a:lnTo>
                    <a:pt x="270" y="160"/>
                  </a:lnTo>
                  <a:lnTo>
                    <a:pt x="272" y="162"/>
                  </a:lnTo>
                  <a:lnTo>
                    <a:pt x="275" y="163"/>
                  </a:lnTo>
                  <a:lnTo>
                    <a:pt x="275" y="165"/>
                  </a:lnTo>
                  <a:lnTo>
                    <a:pt x="276" y="171"/>
                  </a:lnTo>
                  <a:lnTo>
                    <a:pt x="277" y="173"/>
                  </a:lnTo>
                  <a:lnTo>
                    <a:pt x="278" y="177"/>
                  </a:lnTo>
                  <a:lnTo>
                    <a:pt x="279" y="174"/>
                  </a:lnTo>
                  <a:lnTo>
                    <a:pt x="281" y="177"/>
                  </a:lnTo>
                  <a:lnTo>
                    <a:pt x="284" y="174"/>
                  </a:lnTo>
                  <a:lnTo>
                    <a:pt x="287" y="174"/>
                  </a:lnTo>
                  <a:lnTo>
                    <a:pt x="287" y="169"/>
                  </a:lnTo>
                  <a:lnTo>
                    <a:pt x="290" y="172"/>
                  </a:lnTo>
                  <a:lnTo>
                    <a:pt x="294" y="175"/>
                  </a:lnTo>
                  <a:lnTo>
                    <a:pt x="295" y="177"/>
                  </a:lnTo>
                  <a:lnTo>
                    <a:pt x="298" y="178"/>
                  </a:lnTo>
                  <a:lnTo>
                    <a:pt x="300" y="180"/>
                  </a:lnTo>
                  <a:lnTo>
                    <a:pt x="300" y="184"/>
                  </a:lnTo>
                  <a:lnTo>
                    <a:pt x="304" y="184"/>
                  </a:lnTo>
                  <a:lnTo>
                    <a:pt x="307" y="181"/>
                  </a:lnTo>
                  <a:lnTo>
                    <a:pt x="304" y="181"/>
                  </a:lnTo>
                  <a:lnTo>
                    <a:pt x="305" y="179"/>
                  </a:lnTo>
                  <a:lnTo>
                    <a:pt x="305" y="177"/>
                  </a:lnTo>
                  <a:lnTo>
                    <a:pt x="306" y="175"/>
                  </a:lnTo>
                  <a:lnTo>
                    <a:pt x="310" y="175"/>
                  </a:lnTo>
                  <a:lnTo>
                    <a:pt x="310" y="174"/>
                  </a:lnTo>
                  <a:lnTo>
                    <a:pt x="311" y="172"/>
                  </a:lnTo>
                  <a:lnTo>
                    <a:pt x="313" y="171"/>
                  </a:lnTo>
                  <a:lnTo>
                    <a:pt x="314" y="172"/>
                  </a:lnTo>
                  <a:lnTo>
                    <a:pt x="317" y="174"/>
                  </a:lnTo>
                  <a:lnTo>
                    <a:pt x="319" y="174"/>
                  </a:lnTo>
                  <a:lnTo>
                    <a:pt x="322" y="174"/>
                  </a:lnTo>
                  <a:lnTo>
                    <a:pt x="322" y="175"/>
                  </a:lnTo>
                  <a:lnTo>
                    <a:pt x="322" y="179"/>
                  </a:lnTo>
                  <a:lnTo>
                    <a:pt x="324" y="178"/>
                  </a:lnTo>
                  <a:lnTo>
                    <a:pt x="324" y="177"/>
                  </a:lnTo>
                  <a:lnTo>
                    <a:pt x="326" y="175"/>
                  </a:lnTo>
                  <a:lnTo>
                    <a:pt x="328" y="174"/>
                  </a:lnTo>
                  <a:lnTo>
                    <a:pt x="331" y="177"/>
                  </a:lnTo>
                  <a:lnTo>
                    <a:pt x="332" y="174"/>
                  </a:lnTo>
                  <a:lnTo>
                    <a:pt x="329" y="173"/>
                  </a:lnTo>
                  <a:lnTo>
                    <a:pt x="326" y="173"/>
                  </a:lnTo>
                  <a:lnTo>
                    <a:pt x="325" y="172"/>
                  </a:lnTo>
                  <a:lnTo>
                    <a:pt x="325" y="167"/>
                  </a:lnTo>
                  <a:lnTo>
                    <a:pt x="328" y="168"/>
                  </a:lnTo>
                  <a:lnTo>
                    <a:pt x="330" y="167"/>
                  </a:lnTo>
                  <a:lnTo>
                    <a:pt x="332" y="165"/>
                  </a:lnTo>
                  <a:lnTo>
                    <a:pt x="334" y="163"/>
                  </a:lnTo>
                  <a:lnTo>
                    <a:pt x="335" y="163"/>
                  </a:lnTo>
                  <a:lnTo>
                    <a:pt x="337" y="165"/>
                  </a:lnTo>
                  <a:lnTo>
                    <a:pt x="340" y="168"/>
                  </a:lnTo>
                  <a:lnTo>
                    <a:pt x="342" y="166"/>
                  </a:lnTo>
                  <a:lnTo>
                    <a:pt x="343" y="165"/>
                  </a:lnTo>
                  <a:lnTo>
                    <a:pt x="342" y="162"/>
                  </a:lnTo>
                  <a:lnTo>
                    <a:pt x="342" y="161"/>
                  </a:lnTo>
                  <a:lnTo>
                    <a:pt x="343" y="160"/>
                  </a:lnTo>
                  <a:lnTo>
                    <a:pt x="346" y="159"/>
                  </a:lnTo>
                  <a:lnTo>
                    <a:pt x="346" y="157"/>
                  </a:lnTo>
                  <a:lnTo>
                    <a:pt x="348" y="155"/>
                  </a:lnTo>
                  <a:lnTo>
                    <a:pt x="351" y="154"/>
                  </a:lnTo>
                  <a:lnTo>
                    <a:pt x="344" y="155"/>
                  </a:lnTo>
                  <a:lnTo>
                    <a:pt x="341" y="156"/>
                  </a:lnTo>
                  <a:lnTo>
                    <a:pt x="340" y="157"/>
                  </a:lnTo>
                  <a:lnTo>
                    <a:pt x="340" y="156"/>
                  </a:lnTo>
                  <a:lnTo>
                    <a:pt x="343" y="151"/>
                  </a:lnTo>
                  <a:lnTo>
                    <a:pt x="344" y="148"/>
                  </a:lnTo>
                  <a:lnTo>
                    <a:pt x="346" y="147"/>
                  </a:lnTo>
                  <a:lnTo>
                    <a:pt x="348" y="144"/>
                  </a:lnTo>
                  <a:lnTo>
                    <a:pt x="349" y="142"/>
                  </a:lnTo>
                  <a:lnTo>
                    <a:pt x="352" y="141"/>
                  </a:lnTo>
                  <a:lnTo>
                    <a:pt x="357" y="141"/>
                  </a:lnTo>
                  <a:lnTo>
                    <a:pt x="358" y="142"/>
                  </a:lnTo>
                  <a:lnTo>
                    <a:pt x="359" y="142"/>
                  </a:lnTo>
                  <a:lnTo>
                    <a:pt x="361" y="142"/>
                  </a:lnTo>
                  <a:lnTo>
                    <a:pt x="361" y="141"/>
                  </a:lnTo>
                  <a:lnTo>
                    <a:pt x="364" y="141"/>
                  </a:lnTo>
                  <a:lnTo>
                    <a:pt x="361" y="133"/>
                  </a:lnTo>
                  <a:lnTo>
                    <a:pt x="360" y="135"/>
                  </a:lnTo>
                  <a:lnTo>
                    <a:pt x="359" y="137"/>
                  </a:lnTo>
                  <a:lnTo>
                    <a:pt x="359" y="133"/>
                  </a:lnTo>
                  <a:lnTo>
                    <a:pt x="359" y="131"/>
                  </a:lnTo>
                  <a:lnTo>
                    <a:pt x="354" y="130"/>
                  </a:lnTo>
                  <a:lnTo>
                    <a:pt x="348" y="131"/>
                  </a:lnTo>
                  <a:lnTo>
                    <a:pt x="341" y="131"/>
                  </a:lnTo>
                  <a:lnTo>
                    <a:pt x="343" y="130"/>
                  </a:lnTo>
                  <a:lnTo>
                    <a:pt x="344" y="127"/>
                  </a:lnTo>
                  <a:lnTo>
                    <a:pt x="348" y="127"/>
                  </a:lnTo>
                  <a:lnTo>
                    <a:pt x="353" y="125"/>
                  </a:lnTo>
                  <a:lnTo>
                    <a:pt x="354" y="127"/>
                  </a:lnTo>
                  <a:lnTo>
                    <a:pt x="360" y="130"/>
                  </a:lnTo>
                  <a:lnTo>
                    <a:pt x="361" y="130"/>
                  </a:lnTo>
                  <a:lnTo>
                    <a:pt x="357" y="118"/>
                  </a:lnTo>
                  <a:lnTo>
                    <a:pt x="353" y="111"/>
                  </a:lnTo>
                  <a:lnTo>
                    <a:pt x="352" y="113"/>
                  </a:lnTo>
                  <a:lnTo>
                    <a:pt x="348" y="114"/>
                  </a:lnTo>
                  <a:lnTo>
                    <a:pt x="347" y="115"/>
                  </a:lnTo>
                  <a:lnTo>
                    <a:pt x="347" y="112"/>
                  </a:lnTo>
                  <a:lnTo>
                    <a:pt x="347" y="108"/>
                  </a:lnTo>
                  <a:lnTo>
                    <a:pt x="349" y="109"/>
                  </a:lnTo>
                  <a:lnTo>
                    <a:pt x="349" y="106"/>
                  </a:lnTo>
                  <a:lnTo>
                    <a:pt x="346" y="106"/>
                  </a:lnTo>
                  <a:lnTo>
                    <a:pt x="342" y="108"/>
                  </a:lnTo>
                  <a:lnTo>
                    <a:pt x="338" y="112"/>
                  </a:lnTo>
                  <a:lnTo>
                    <a:pt x="338" y="106"/>
                  </a:lnTo>
                  <a:lnTo>
                    <a:pt x="340" y="103"/>
                  </a:lnTo>
                  <a:lnTo>
                    <a:pt x="342" y="102"/>
                  </a:lnTo>
                  <a:lnTo>
                    <a:pt x="346" y="102"/>
                  </a:lnTo>
                  <a:lnTo>
                    <a:pt x="348" y="105"/>
                  </a:lnTo>
                  <a:lnTo>
                    <a:pt x="344" y="97"/>
                  </a:lnTo>
                  <a:lnTo>
                    <a:pt x="338" y="97"/>
                  </a:lnTo>
                  <a:lnTo>
                    <a:pt x="334" y="100"/>
                  </a:lnTo>
                  <a:lnTo>
                    <a:pt x="332" y="105"/>
                  </a:lnTo>
                  <a:lnTo>
                    <a:pt x="330" y="106"/>
                  </a:lnTo>
                  <a:lnTo>
                    <a:pt x="330" y="103"/>
                  </a:lnTo>
                  <a:lnTo>
                    <a:pt x="328" y="100"/>
                  </a:lnTo>
                  <a:lnTo>
                    <a:pt x="329" y="96"/>
                  </a:lnTo>
                  <a:lnTo>
                    <a:pt x="330" y="95"/>
                  </a:lnTo>
                  <a:lnTo>
                    <a:pt x="334" y="96"/>
                  </a:lnTo>
                  <a:lnTo>
                    <a:pt x="340" y="96"/>
                  </a:lnTo>
                  <a:lnTo>
                    <a:pt x="342" y="95"/>
                  </a:lnTo>
                  <a:lnTo>
                    <a:pt x="338" y="95"/>
                  </a:lnTo>
                  <a:lnTo>
                    <a:pt x="335" y="95"/>
                  </a:lnTo>
                  <a:lnTo>
                    <a:pt x="335" y="92"/>
                  </a:lnTo>
                  <a:lnTo>
                    <a:pt x="338" y="91"/>
                  </a:lnTo>
                  <a:lnTo>
                    <a:pt x="338" y="90"/>
                  </a:lnTo>
                  <a:lnTo>
                    <a:pt x="335" y="90"/>
                  </a:lnTo>
                  <a:lnTo>
                    <a:pt x="334" y="91"/>
                  </a:lnTo>
                  <a:lnTo>
                    <a:pt x="331" y="92"/>
                  </a:lnTo>
                  <a:lnTo>
                    <a:pt x="330" y="90"/>
                  </a:lnTo>
                  <a:lnTo>
                    <a:pt x="334" y="89"/>
                  </a:lnTo>
                  <a:lnTo>
                    <a:pt x="338" y="89"/>
                  </a:lnTo>
                  <a:lnTo>
                    <a:pt x="336" y="86"/>
                  </a:lnTo>
                  <a:lnTo>
                    <a:pt x="332" y="86"/>
                  </a:lnTo>
                  <a:lnTo>
                    <a:pt x="329" y="89"/>
                  </a:lnTo>
                  <a:lnTo>
                    <a:pt x="325" y="85"/>
                  </a:lnTo>
                  <a:lnTo>
                    <a:pt x="326" y="84"/>
                  </a:lnTo>
                  <a:lnTo>
                    <a:pt x="330" y="83"/>
                  </a:lnTo>
                  <a:lnTo>
                    <a:pt x="332" y="85"/>
                  </a:lnTo>
                  <a:lnTo>
                    <a:pt x="335" y="85"/>
                  </a:lnTo>
                  <a:lnTo>
                    <a:pt x="331" y="82"/>
                  </a:lnTo>
                  <a:lnTo>
                    <a:pt x="328" y="82"/>
                  </a:lnTo>
                  <a:lnTo>
                    <a:pt x="324" y="80"/>
                  </a:lnTo>
                  <a:lnTo>
                    <a:pt x="319" y="77"/>
                  </a:lnTo>
                  <a:lnTo>
                    <a:pt x="323" y="77"/>
                  </a:lnTo>
                  <a:lnTo>
                    <a:pt x="328" y="78"/>
                  </a:lnTo>
                  <a:lnTo>
                    <a:pt x="332" y="80"/>
                  </a:lnTo>
                  <a:lnTo>
                    <a:pt x="337" y="85"/>
                  </a:lnTo>
                  <a:lnTo>
                    <a:pt x="338" y="85"/>
                  </a:lnTo>
                  <a:lnTo>
                    <a:pt x="340" y="82"/>
                  </a:lnTo>
                  <a:lnTo>
                    <a:pt x="337" y="78"/>
                  </a:lnTo>
                  <a:lnTo>
                    <a:pt x="335" y="77"/>
                  </a:lnTo>
                  <a:lnTo>
                    <a:pt x="329" y="76"/>
                  </a:lnTo>
                  <a:lnTo>
                    <a:pt x="326" y="73"/>
                  </a:lnTo>
                  <a:lnTo>
                    <a:pt x="337" y="73"/>
                  </a:lnTo>
                  <a:lnTo>
                    <a:pt x="338" y="77"/>
                  </a:lnTo>
                  <a:lnTo>
                    <a:pt x="340" y="79"/>
                  </a:lnTo>
                  <a:lnTo>
                    <a:pt x="342" y="77"/>
                  </a:lnTo>
                  <a:lnTo>
                    <a:pt x="344" y="76"/>
                  </a:lnTo>
                  <a:lnTo>
                    <a:pt x="346" y="72"/>
                  </a:lnTo>
                  <a:lnTo>
                    <a:pt x="346" y="71"/>
                  </a:lnTo>
                  <a:lnTo>
                    <a:pt x="347" y="70"/>
                  </a:lnTo>
                  <a:lnTo>
                    <a:pt x="351" y="70"/>
                  </a:lnTo>
                  <a:lnTo>
                    <a:pt x="354" y="70"/>
                  </a:lnTo>
                  <a:lnTo>
                    <a:pt x="358" y="68"/>
                  </a:lnTo>
                  <a:lnTo>
                    <a:pt x="354" y="74"/>
                  </a:lnTo>
                  <a:lnTo>
                    <a:pt x="348" y="74"/>
                  </a:lnTo>
                  <a:lnTo>
                    <a:pt x="344" y="78"/>
                  </a:lnTo>
                  <a:lnTo>
                    <a:pt x="344" y="80"/>
                  </a:lnTo>
                  <a:lnTo>
                    <a:pt x="343" y="83"/>
                  </a:lnTo>
                  <a:lnTo>
                    <a:pt x="347" y="84"/>
                  </a:lnTo>
                  <a:lnTo>
                    <a:pt x="346" y="86"/>
                  </a:lnTo>
                  <a:lnTo>
                    <a:pt x="344" y="92"/>
                  </a:lnTo>
                  <a:lnTo>
                    <a:pt x="346" y="90"/>
                  </a:lnTo>
                  <a:lnTo>
                    <a:pt x="348" y="94"/>
                  </a:lnTo>
                  <a:lnTo>
                    <a:pt x="348" y="97"/>
                  </a:lnTo>
                  <a:lnTo>
                    <a:pt x="353" y="108"/>
                  </a:lnTo>
                  <a:lnTo>
                    <a:pt x="361" y="127"/>
                  </a:lnTo>
                  <a:lnTo>
                    <a:pt x="364" y="127"/>
                  </a:lnTo>
                  <a:lnTo>
                    <a:pt x="367" y="125"/>
                  </a:lnTo>
                  <a:lnTo>
                    <a:pt x="366" y="121"/>
                  </a:lnTo>
                  <a:lnTo>
                    <a:pt x="367" y="120"/>
                  </a:lnTo>
                  <a:lnTo>
                    <a:pt x="367" y="118"/>
                  </a:lnTo>
                  <a:lnTo>
                    <a:pt x="370" y="119"/>
                  </a:lnTo>
                  <a:lnTo>
                    <a:pt x="372" y="120"/>
                  </a:lnTo>
                  <a:lnTo>
                    <a:pt x="373" y="121"/>
                  </a:lnTo>
                  <a:lnTo>
                    <a:pt x="373" y="120"/>
                  </a:lnTo>
                  <a:lnTo>
                    <a:pt x="372" y="115"/>
                  </a:lnTo>
                  <a:lnTo>
                    <a:pt x="375" y="115"/>
                  </a:lnTo>
                  <a:lnTo>
                    <a:pt x="377" y="117"/>
                  </a:lnTo>
                  <a:lnTo>
                    <a:pt x="378" y="117"/>
                  </a:lnTo>
                  <a:lnTo>
                    <a:pt x="381" y="114"/>
                  </a:lnTo>
                  <a:lnTo>
                    <a:pt x="382" y="112"/>
                  </a:lnTo>
                  <a:lnTo>
                    <a:pt x="383" y="112"/>
                  </a:lnTo>
                  <a:lnTo>
                    <a:pt x="387" y="114"/>
                  </a:lnTo>
                  <a:lnTo>
                    <a:pt x="389" y="115"/>
                  </a:lnTo>
                  <a:lnTo>
                    <a:pt x="387" y="117"/>
                  </a:lnTo>
                  <a:lnTo>
                    <a:pt x="387" y="118"/>
                  </a:lnTo>
                  <a:lnTo>
                    <a:pt x="390" y="118"/>
                  </a:lnTo>
                  <a:lnTo>
                    <a:pt x="390" y="120"/>
                  </a:lnTo>
                  <a:lnTo>
                    <a:pt x="393" y="123"/>
                  </a:lnTo>
                  <a:lnTo>
                    <a:pt x="393" y="124"/>
                  </a:lnTo>
                  <a:lnTo>
                    <a:pt x="394" y="125"/>
                  </a:lnTo>
                  <a:lnTo>
                    <a:pt x="395" y="126"/>
                  </a:lnTo>
                  <a:lnTo>
                    <a:pt x="387" y="124"/>
                  </a:lnTo>
                  <a:lnTo>
                    <a:pt x="379" y="123"/>
                  </a:lnTo>
                  <a:lnTo>
                    <a:pt x="378" y="124"/>
                  </a:lnTo>
                  <a:lnTo>
                    <a:pt x="378" y="126"/>
                  </a:lnTo>
                  <a:lnTo>
                    <a:pt x="378" y="127"/>
                  </a:lnTo>
                  <a:lnTo>
                    <a:pt x="379" y="131"/>
                  </a:lnTo>
                  <a:lnTo>
                    <a:pt x="379" y="135"/>
                  </a:lnTo>
                  <a:lnTo>
                    <a:pt x="383" y="132"/>
                  </a:lnTo>
                  <a:lnTo>
                    <a:pt x="383" y="133"/>
                  </a:lnTo>
                  <a:lnTo>
                    <a:pt x="387" y="133"/>
                  </a:lnTo>
                  <a:lnTo>
                    <a:pt x="385" y="135"/>
                  </a:lnTo>
                  <a:lnTo>
                    <a:pt x="388" y="135"/>
                  </a:lnTo>
                  <a:lnTo>
                    <a:pt x="391" y="133"/>
                  </a:lnTo>
                  <a:lnTo>
                    <a:pt x="391" y="135"/>
                  </a:lnTo>
                  <a:lnTo>
                    <a:pt x="394" y="135"/>
                  </a:lnTo>
                  <a:lnTo>
                    <a:pt x="395" y="137"/>
                  </a:lnTo>
                  <a:lnTo>
                    <a:pt x="400" y="137"/>
                  </a:lnTo>
                  <a:lnTo>
                    <a:pt x="395" y="138"/>
                  </a:lnTo>
                  <a:lnTo>
                    <a:pt x="394" y="139"/>
                  </a:lnTo>
                  <a:lnTo>
                    <a:pt x="394" y="141"/>
                  </a:lnTo>
                  <a:lnTo>
                    <a:pt x="393" y="143"/>
                  </a:lnTo>
                  <a:lnTo>
                    <a:pt x="394" y="148"/>
                  </a:lnTo>
                  <a:lnTo>
                    <a:pt x="394" y="151"/>
                  </a:lnTo>
                  <a:lnTo>
                    <a:pt x="393" y="153"/>
                  </a:lnTo>
                  <a:lnTo>
                    <a:pt x="391" y="151"/>
                  </a:lnTo>
                  <a:lnTo>
                    <a:pt x="390" y="148"/>
                  </a:lnTo>
                  <a:lnTo>
                    <a:pt x="389" y="147"/>
                  </a:lnTo>
                  <a:lnTo>
                    <a:pt x="387" y="147"/>
                  </a:lnTo>
                  <a:lnTo>
                    <a:pt x="381" y="148"/>
                  </a:lnTo>
                  <a:lnTo>
                    <a:pt x="378" y="145"/>
                  </a:lnTo>
                  <a:lnTo>
                    <a:pt x="376" y="144"/>
                  </a:lnTo>
                  <a:lnTo>
                    <a:pt x="369" y="147"/>
                  </a:lnTo>
                  <a:lnTo>
                    <a:pt x="371" y="155"/>
                  </a:lnTo>
                  <a:lnTo>
                    <a:pt x="372" y="156"/>
                  </a:lnTo>
                  <a:lnTo>
                    <a:pt x="373" y="156"/>
                  </a:lnTo>
                  <a:lnTo>
                    <a:pt x="375" y="154"/>
                  </a:lnTo>
                  <a:lnTo>
                    <a:pt x="376" y="153"/>
                  </a:lnTo>
                  <a:lnTo>
                    <a:pt x="379" y="151"/>
                  </a:lnTo>
                  <a:lnTo>
                    <a:pt x="383" y="154"/>
                  </a:lnTo>
                  <a:lnTo>
                    <a:pt x="383" y="156"/>
                  </a:lnTo>
                  <a:lnTo>
                    <a:pt x="385" y="155"/>
                  </a:lnTo>
                  <a:lnTo>
                    <a:pt x="389" y="154"/>
                  </a:lnTo>
                  <a:lnTo>
                    <a:pt x="390" y="156"/>
                  </a:lnTo>
                  <a:lnTo>
                    <a:pt x="393" y="157"/>
                  </a:lnTo>
                  <a:lnTo>
                    <a:pt x="396" y="157"/>
                  </a:lnTo>
                  <a:lnTo>
                    <a:pt x="399" y="160"/>
                  </a:lnTo>
                  <a:lnTo>
                    <a:pt x="397" y="162"/>
                  </a:lnTo>
                  <a:lnTo>
                    <a:pt x="400" y="162"/>
                  </a:lnTo>
                  <a:lnTo>
                    <a:pt x="403" y="160"/>
                  </a:lnTo>
                  <a:lnTo>
                    <a:pt x="405" y="157"/>
                  </a:lnTo>
                  <a:lnTo>
                    <a:pt x="406" y="160"/>
                  </a:lnTo>
                  <a:lnTo>
                    <a:pt x="407" y="159"/>
                  </a:lnTo>
                  <a:lnTo>
                    <a:pt x="408" y="160"/>
                  </a:lnTo>
                  <a:lnTo>
                    <a:pt x="410" y="161"/>
                  </a:lnTo>
                  <a:lnTo>
                    <a:pt x="413" y="161"/>
                  </a:lnTo>
                  <a:lnTo>
                    <a:pt x="413" y="160"/>
                  </a:lnTo>
                  <a:lnTo>
                    <a:pt x="414" y="160"/>
                  </a:lnTo>
                  <a:lnTo>
                    <a:pt x="414" y="159"/>
                  </a:lnTo>
                  <a:lnTo>
                    <a:pt x="414" y="156"/>
                  </a:lnTo>
                  <a:lnTo>
                    <a:pt x="416" y="155"/>
                  </a:lnTo>
                  <a:lnTo>
                    <a:pt x="420" y="151"/>
                  </a:lnTo>
                  <a:lnTo>
                    <a:pt x="422" y="150"/>
                  </a:lnTo>
                  <a:lnTo>
                    <a:pt x="423" y="148"/>
                  </a:lnTo>
                  <a:lnTo>
                    <a:pt x="425" y="145"/>
                  </a:lnTo>
                  <a:lnTo>
                    <a:pt x="428" y="143"/>
                  </a:lnTo>
                  <a:lnTo>
                    <a:pt x="424" y="139"/>
                  </a:lnTo>
                  <a:lnTo>
                    <a:pt x="420" y="130"/>
                  </a:lnTo>
                  <a:lnTo>
                    <a:pt x="422" y="131"/>
                  </a:lnTo>
                  <a:lnTo>
                    <a:pt x="423" y="135"/>
                  </a:lnTo>
                  <a:lnTo>
                    <a:pt x="424" y="132"/>
                  </a:lnTo>
                  <a:lnTo>
                    <a:pt x="426" y="131"/>
                  </a:lnTo>
                  <a:lnTo>
                    <a:pt x="428" y="130"/>
                  </a:lnTo>
                  <a:lnTo>
                    <a:pt x="429" y="130"/>
                  </a:lnTo>
                  <a:lnTo>
                    <a:pt x="429" y="132"/>
                  </a:lnTo>
                  <a:lnTo>
                    <a:pt x="428" y="133"/>
                  </a:lnTo>
                  <a:lnTo>
                    <a:pt x="424" y="137"/>
                  </a:lnTo>
                  <a:lnTo>
                    <a:pt x="425" y="139"/>
                  </a:lnTo>
                  <a:lnTo>
                    <a:pt x="426" y="137"/>
                  </a:lnTo>
                  <a:lnTo>
                    <a:pt x="429" y="136"/>
                  </a:lnTo>
                  <a:lnTo>
                    <a:pt x="431" y="136"/>
                  </a:lnTo>
                  <a:lnTo>
                    <a:pt x="431" y="139"/>
                  </a:lnTo>
                  <a:lnTo>
                    <a:pt x="428" y="141"/>
                  </a:lnTo>
                  <a:lnTo>
                    <a:pt x="430" y="144"/>
                  </a:lnTo>
                  <a:lnTo>
                    <a:pt x="434" y="145"/>
                  </a:lnTo>
                  <a:lnTo>
                    <a:pt x="438" y="145"/>
                  </a:lnTo>
                  <a:lnTo>
                    <a:pt x="435" y="142"/>
                  </a:lnTo>
                  <a:lnTo>
                    <a:pt x="436" y="141"/>
                  </a:lnTo>
                  <a:lnTo>
                    <a:pt x="440" y="141"/>
                  </a:lnTo>
                  <a:lnTo>
                    <a:pt x="440" y="144"/>
                  </a:lnTo>
                  <a:lnTo>
                    <a:pt x="442" y="147"/>
                  </a:lnTo>
                  <a:lnTo>
                    <a:pt x="444" y="144"/>
                  </a:lnTo>
                  <a:lnTo>
                    <a:pt x="444" y="141"/>
                  </a:lnTo>
                  <a:lnTo>
                    <a:pt x="442" y="139"/>
                  </a:lnTo>
                  <a:lnTo>
                    <a:pt x="441" y="136"/>
                  </a:lnTo>
                  <a:lnTo>
                    <a:pt x="443" y="138"/>
                  </a:lnTo>
                  <a:lnTo>
                    <a:pt x="442" y="136"/>
                  </a:lnTo>
                  <a:lnTo>
                    <a:pt x="441" y="135"/>
                  </a:lnTo>
                  <a:lnTo>
                    <a:pt x="442" y="135"/>
                  </a:lnTo>
                  <a:lnTo>
                    <a:pt x="444" y="132"/>
                  </a:lnTo>
                  <a:lnTo>
                    <a:pt x="446" y="130"/>
                  </a:lnTo>
                  <a:lnTo>
                    <a:pt x="447" y="129"/>
                  </a:lnTo>
                  <a:lnTo>
                    <a:pt x="447" y="126"/>
                  </a:lnTo>
                  <a:lnTo>
                    <a:pt x="449" y="126"/>
                  </a:lnTo>
                  <a:lnTo>
                    <a:pt x="452" y="125"/>
                  </a:lnTo>
                  <a:lnTo>
                    <a:pt x="452" y="130"/>
                  </a:lnTo>
                  <a:lnTo>
                    <a:pt x="452" y="131"/>
                  </a:lnTo>
                  <a:lnTo>
                    <a:pt x="454" y="131"/>
                  </a:lnTo>
                  <a:lnTo>
                    <a:pt x="456" y="130"/>
                  </a:lnTo>
                  <a:lnTo>
                    <a:pt x="454" y="126"/>
                  </a:lnTo>
                  <a:lnTo>
                    <a:pt x="456" y="125"/>
                  </a:lnTo>
                  <a:lnTo>
                    <a:pt x="456" y="124"/>
                  </a:lnTo>
                  <a:lnTo>
                    <a:pt x="456" y="123"/>
                  </a:lnTo>
                  <a:lnTo>
                    <a:pt x="456" y="124"/>
                  </a:lnTo>
                  <a:lnTo>
                    <a:pt x="458" y="133"/>
                  </a:lnTo>
                  <a:lnTo>
                    <a:pt x="460" y="132"/>
                  </a:lnTo>
                  <a:lnTo>
                    <a:pt x="462" y="136"/>
                  </a:lnTo>
                  <a:lnTo>
                    <a:pt x="465" y="133"/>
                  </a:lnTo>
                  <a:lnTo>
                    <a:pt x="462" y="131"/>
                  </a:lnTo>
                  <a:lnTo>
                    <a:pt x="461" y="130"/>
                  </a:lnTo>
                  <a:lnTo>
                    <a:pt x="461" y="129"/>
                  </a:lnTo>
                  <a:lnTo>
                    <a:pt x="462" y="126"/>
                  </a:lnTo>
                  <a:lnTo>
                    <a:pt x="462" y="124"/>
                  </a:lnTo>
                  <a:lnTo>
                    <a:pt x="464" y="121"/>
                  </a:lnTo>
                  <a:lnTo>
                    <a:pt x="462" y="119"/>
                  </a:lnTo>
                  <a:lnTo>
                    <a:pt x="465" y="118"/>
                  </a:lnTo>
                  <a:lnTo>
                    <a:pt x="465" y="117"/>
                  </a:lnTo>
                  <a:lnTo>
                    <a:pt x="466" y="115"/>
                  </a:lnTo>
                  <a:lnTo>
                    <a:pt x="470" y="113"/>
                  </a:lnTo>
                  <a:lnTo>
                    <a:pt x="471" y="117"/>
                  </a:lnTo>
                  <a:lnTo>
                    <a:pt x="472" y="120"/>
                  </a:lnTo>
                  <a:lnTo>
                    <a:pt x="473" y="121"/>
                  </a:lnTo>
                  <a:lnTo>
                    <a:pt x="473" y="124"/>
                  </a:lnTo>
                  <a:lnTo>
                    <a:pt x="472" y="124"/>
                  </a:lnTo>
                  <a:lnTo>
                    <a:pt x="472" y="126"/>
                  </a:lnTo>
                  <a:lnTo>
                    <a:pt x="473" y="132"/>
                  </a:lnTo>
                  <a:lnTo>
                    <a:pt x="475" y="133"/>
                  </a:lnTo>
                  <a:lnTo>
                    <a:pt x="472" y="135"/>
                  </a:lnTo>
                  <a:lnTo>
                    <a:pt x="469" y="133"/>
                  </a:lnTo>
                  <a:lnTo>
                    <a:pt x="469" y="136"/>
                  </a:lnTo>
                  <a:lnTo>
                    <a:pt x="472" y="137"/>
                  </a:lnTo>
                  <a:lnTo>
                    <a:pt x="473" y="138"/>
                  </a:lnTo>
                  <a:lnTo>
                    <a:pt x="475" y="139"/>
                  </a:lnTo>
                  <a:lnTo>
                    <a:pt x="476" y="142"/>
                  </a:lnTo>
                  <a:lnTo>
                    <a:pt x="476" y="143"/>
                  </a:lnTo>
                  <a:lnTo>
                    <a:pt x="477" y="143"/>
                  </a:lnTo>
                  <a:lnTo>
                    <a:pt x="481" y="142"/>
                  </a:lnTo>
                  <a:lnTo>
                    <a:pt x="482" y="142"/>
                  </a:lnTo>
                  <a:lnTo>
                    <a:pt x="483" y="143"/>
                  </a:lnTo>
                  <a:lnTo>
                    <a:pt x="483" y="147"/>
                  </a:lnTo>
                  <a:lnTo>
                    <a:pt x="485" y="147"/>
                  </a:lnTo>
                  <a:lnTo>
                    <a:pt x="488" y="149"/>
                  </a:lnTo>
                  <a:lnTo>
                    <a:pt x="490" y="150"/>
                  </a:lnTo>
                  <a:lnTo>
                    <a:pt x="489" y="154"/>
                  </a:lnTo>
                  <a:lnTo>
                    <a:pt x="491" y="156"/>
                  </a:lnTo>
                  <a:lnTo>
                    <a:pt x="494" y="156"/>
                  </a:lnTo>
                  <a:lnTo>
                    <a:pt x="496" y="157"/>
                  </a:lnTo>
                  <a:lnTo>
                    <a:pt x="497" y="154"/>
                  </a:lnTo>
                  <a:lnTo>
                    <a:pt x="499" y="150"/>
                  </a:lnTo>
                  <a:lnTo>
                    <a:pt x="499" y="145"/>
                  </a:lnTo>
                  <a:lnTo>
                    <a:pt x="499" y="142"/>
                  </a:lnTo>
                  <a:lnTo>
                    <a:pt x="499" y="141"/>
                  </a:lnTo>
                  <a:lnTo>
                    <a:pt x="500" y="141"/>
                  </a:lnTo>
                  <a:lnTo>
                    <a:pt x="500" y="139"/>
                  </a:lnTo>
                  <a:lnTo>
                    <a:pt x="499" y="139"/>
                  </a:lnTo>
                  <a:lnTo>
                    <a:pt x="497" y="133"/>
                  </a:lnTo>
                  <a:lnTo>
                    <a:pt x="500" y="131"/>
                  </a:lnTo>
                  <a:lnTo>
                    <a:pt x="501" y="132"/>
                  </a:lnTo>
                  <a:lnTo>
                    <a:pt x="502" y="133"/>
                  </a:lnTo>
                  <a:lnTo>
                    <a:pt x="503" y="135"/>
                  </a:lnTo>
                  <a:lnTo>
                    <a:pt x="501" y="139"/>
                  </a:lnTo>
                  <a:lnTo>
                    <a:pt x="501" y="141"/>
                  </a:lnTo>
                  <a:lnTo>
                    <a:pt x="503" y="139"/>
                  </a:lnTo>
                  <a:lnTo>
                    <a:pt x="502" y="143"/>
                  </a:lnTo>
                  <a:lnTo>
                    <a:pt x="500" y="148"/>
                  </a:lnTo>
                  <a:lnTo>
                    <a:pt x="499" y="156"/>
                  </a:lnTo>
                  <a:lnTo>
                    <a:pt x="499" y="159"/>
                  </a:lnTo>
                  <a:lnTo>
                    <a:pt x="501" y="156"/>
                  </a:lnTo>
                  <a:lnTo>
                    <a:pt x="505" y="154"/>
                  </a:lnTo>
                  <a:lnTo>
                    <a:pt x="506" y="156"/>
                  </a:lnTo>
                  <a:lnTo>
                    <a:pt x="506" y="159"/>
                  </a:lnTo>
                  <a:lnTo>
                    <a:pt x="508" y="156"/>
                  </a:lnTo>
                  <a:lnTo>
                    <a:pt x="511" y="155"/>
                  </a:lnTo>
                  <a:lnTo>
                    <a:pt x="512" y="153"/>
                  </a:lnTo>
                  <a:lnTo>
                    <a:pt x="514" y="151"/>
                  </a:lnTo>
                  <a:lnTo>
                    <a:pt x="515" y="153"/>
                  </a:lnTo>
                  <a:lnTo>
                    <a:pt x="517" y="154"/>
                  </a:lnTo>
                  <a:lnTo>
                    <a:pt x="520" y="153"/>
                  </a:lnTo>
                  <a:lnTo>
                    <a:pt x="523" y="154"/>
                  </a:lnTo>
                  <a:lnTo>
                    <a:pt x="526" y="154"/>
                  </a:lnTo>
                  <a:lnTo>
                    <a:pt x="519" y="156"/>
                  </a:lnTo>
                  <a:lnTo>
                    <a:pt x="513" y="156"/>
                  </a:lnTo>
                  <a:lnTo>
                    <a:pt x="508" y="161"/>
                  </a:lnTo>
                  <a:lnTo>
                    <a:pt x="503" y="165"/>
                  </a:lnTo>
                  <a:lnTo>
                    <a:pt x="499" y="167"/>
                  </a:lnTo>
                  <a:lnTo>
                    <a:pt x="495" y="172"/>
                  </a:lnTo>
                  <a:lnTo>
                    <a:pt x="495" y="174"/>
                  </a:lnTo>
                  <a:lnTo>
                    <a:pt x="497" y="172"/>
                  </a:lnTo>
                  <a:lnTo>
                    <a:pt x="499" y="169"/>
                  </a:lnTo>
                  <a:lnTo>
                    <a:pt x="501" y="168"/>
                  </a:lnTo>
                  <a:lnTo>
                    <a:pt x="507" y="166"/>
                  </a:lnTo>
                  <a:lnTo>
                    <a:pt x="502" y="173"/>
                  </a:lnTo>
                  <a:lnTo>
                    <a:pt x="500" y="175"/>
                  </a:lnTo>
                  <a:lnTo>
                    <a:pt x="505" y="178"/>
                  </a:lnTo>
                  <a:lnTo>
                    <a:pt x="508" y="180"/>
                  </a:lnTo>
                  <a:lnTo>
                    <a:pt x="511" y="179"/>
                  </a:lnTo>
                  <a:lnTo>
                    <a:pt x="514" y="178"/>
                  </a:lnTo>
                  <a:lnTo>
                    <a:pt x="517" y="178"/>
                  </a:lnTo>
                  <a:lnTo>
                    <a:pt x="519" y="179"/>
                  </a:lnTo>
                  <a:lnTo>
                    <a:pt x="519" y="180"/>
                  </a:lnTo>
                  <a:lnTo>
                    <a:pt x="520" y="183"/>
                  </a:lnTo>
                  <a:lnTo>
                    <a:pt x="521" y="184"/>
                  </a:lnTo>
                  <a:lnTo>
                    <a:pt x="521" y="187"/>
                  </a:lnTo>
                  <a:lnTo>
                    <a:pt x="523" y="190"/>
                  </a:lnTo>
                  <a:lnTo>
                    <a:pt x="521" y="192"/>
                  </a:lnTo>
                  <a:lnTo>
                    <a:pt x="521" y="195"/>
                  </a:lnTo>
                  <a:lnTo>
                    <a:pt x="524" y="197"/>
                  </a:lnTo>
                  <a:lnTo>
                    <a:pt x="525" y="193"/>
                  </a:lnTo>
                  <a:lnTo>
                    <a:pt x="526" y="191"/>
                  </a:lnTo>
                  <a:lnTo>
                    <a:pt x="530" y="187"/>
                  </a:lnTo>
                  <a:lnTo>
                    <a:pt x="530" y="186"/>
                  </a:lnTo>
                  <a:lnTo>
                    <a:pt x="531" y="192"/>
                  </a:lnTo>
                  <a:lnTo>
                    <a:pt x="531" y="196"/>
                  </a:lnTo>
                  <a:lnTo>
                    <a:pt x="534" y="192"/>
                  </a:lnTo>
                  <a:lnTo>
                    <a:pt x="535" y="197"/>
                  </a:lnTo>
                  <a:lnTo>
                    <a:pt x="535" y="199"/>
                  </a:lnTo>
                  <a:lnTo>
                    <a:pt x="537" y="198"/>
                  </a:lnTo>
                  <a:lnTo>
                    <a:pt x="540" y="197"/>
                  </a:lnTo>
                  <a:lnTo>
                    <a:pt x="540" y="201"/>
                  </a:lnTo>
                  <a:lnTo>
                    <a:pt x="542" y="198"/>
                  </a:lnTo>
                  <a:lnTo>
                    <a:pt x="543" y="199"/>
                  </a:lnTo>
                  <a:lnTo>
                    <a:pt x="544" y="198"/>
                  </a:lnTo>
                  <a:lnTo>
                    <a:pt x="548" y="202"/>
                  </a:lnTo>
                  <a:lnTo>
                    <a:pt x="542" y="202"/>
                  </a:lnTo>
                  <a:lnTo>
                    <a:pt x="536" y="202"/>
                  </a:lnTo>
                  <a:lnTo>
                    <a:pt x="534" y="202"/>
                  </a:lnTo>
                  <a:lnTo>
                    <a:pt x="535" y="205"/>
                  </a:lnTo>
                  <a:lnTo>
                    <a:pt x="536" y="205"/>
                  </a:lnTo>
                  <a:lnTo>
                    <a:pt x="538" y="205"/>
                  </a:lnTo>
                  <a:lnTo>
                    <a:pt x="540" y="207"/>
                  </a:lnTo>
                  <a:lnTo>
                    <a:pt x="542" y="205"/>
                  </a:lnTo>
                  <a:lnTo>
                    <a:pt x="544" y="205"/>
                  </a:lnTo>
                  <a:lnTo>
                    <a:pt x="548" y="207"/>
                  </a:lnTo>
                  <a:lnTo>
                    <a:pt x="552" y="208"/>
                  </a:lnTo>
                  <a:lnTo>
                    <a:pt x="554" y="208"/>
                  </a:lnTo>
                  <a:lnTo>
                    <a:pt x="556" y="210"/>
                  </a:lnTo>
                  <a:lnTo>
                    <a:pt x="558" y="205"/>
                  </a:lnTo>
                  <a:lnTo>
                    <a:pt x="559" y="204"/>
                  </a:lnTo>
                  <a:lnTo>
                    <a:pt x="560" y="202"/>
                  </a:lnTo>
                  <a:lnTo>
                    <a:pt x="562" y="198"/>
                  </a:lnTo>
                  <a:lnTo>
                    <a:pt x="564" y="198"/>
                  </a:lnTo>
                  <a:lnTo>
                    <a:pt x="561" y="202"/>
                  </a:lnTo>
                  <a:lnTo>
                    <a:pt x="562" y="203"/>
                  </a:lnTo>
                  <a:lnTo>
                    <a:pt x="564" y="202"/>
                  </a:lnTo>
                  <a:lnTo>
                    <a:pt x="567" y="202"/>
                  </a:lnTo>
                  <a:lnTo>
                    <a:pt x="566" y="201"/>
                  </a:lnTo>
                  <a:lnTo>
                    <a:pt x="565" y="198"/>
                  </a:lnTo>
                  <a:lnTo>
                    <a:pt x="565" y="196"/>
                  </a:lnTo>
                  <a:lnTo>
                    <a:pt x="565" y="195"/>
                  </a:lnTo>
                  <a:lnTo>
                    <a:pt x="564" y="193"/>
                  </a:lnTo>
                  <a:lnTo>
                    <a:pt x="559" y="195"/>
                  </a:lnTo>
                  <a:lnTo>
                    <a:pt x="554" y="196"/>
                  </a:lnTo>
                  <a:lnTo>
                    <a:pt x="555" y="192"/>
                  </a:lnTo>
                  <a:lnTo>
                    <a:pt x="556" y="190"/>
                  </a:lnTo>
                  <a:lnTo>
                    <a:pt x="559" y="189"/>
                  </a:lnTo>
                  <a:lnTo>
                    <a:pt x="562" y="189"/>
                  </a:lnTo>
                  <a:lnTo>
                    <a:pt x="565" y="190"/>
                  </a:lnTo>
                  <a:lnTo>
                    <a:pt x="566" y="192"/>
                  </a:lnTo>
                  <a:lnTo>
                    <a:pt x="567" y="192"/>
                  </a:lnTo>
                  <a:lnTo>
                    <a:pt x="568" y="191"/>
                  </a:lnTo>
                  <a:lnTo>
                    <a:pt x="572" y="190"/>
                  </a:lnTo>
                  <a:lnTo>
                    <a:pt x="574" y="190"/>
                  </a:lnTo>
                  <a:lnTo>
                    <a:pt x="576" y="187"/>
                  </a:lnTo>
                  <a:lnTo>
                    <a:pt x="577" y="185"/>
                  </a:lnTo>
                  <a:lnTo>
                    <a:pt x="579" y="184"/>
                  </a:lnTo>
                  <a:lnTo>
                    <a:pt x="580" y="183"/>
                  </a:lnTo>
                  <a:lnTo>
                    <a:pt x="583" y="184"/>
                  </a:lnTo>
                  <a:lnTo>
                    <a:pt x="583" y="181"/>
                  </a:lnTo>
                  <a:lnTo>
                    <a:pt x="580" y="181"/>
                  </a:lnTo>
                  <a:lnTo>
                    <a:pt x="577" y="184"/>
                  </a:lnTo>
                  <a:lnTo>
                    <a:pt x="577" y="180"/>
                  </a:lnTo>
                  <a:lnTo>
                    <a:pt x="578" y="178"/>
                  </a:lnTo>
                  <a:lnTo>
                    <a:pt x="576" y="181"/>
                  </a:lnTo>
                  <a:lnTo>
                    <a:pt x="573" y="185"/>
                  </a:lnTo>
                  <a:lnTo>
                    <a:pt x="571" y="187"/>
                  </a:lnTo>
                  <a:lnTo>
                    <a:pt x="570" y="186"/>
                  </a:lnTo>
                  <a:lnTo>
                    <a:pt x="568" y="183"/>
                  </a:lnTo>
                  <a:lnTo>
                    <a:pt x="570" y="179"/>
                  </a:lnTo>
                  <a:lnTo>
                    <a:pt x="574" y="177"/>
                  </a:lnTo>
                  <a:lnTo>
                    <a:pt x="574" y="174"/>
                  </a:lnTo>
                  <a:lnTo>
                    <a:pt x="576" y="173"/>
                  </a:lnTo>
                  <a:lnTo>
                    <a:pt x="578" y="169"/>
                  </a:lnTo>
                  <a:lnTo>
                    <a:pt x="576" y="167"/>
                  </a:lnTo>
                  <a:lnTo>
                    <a:pt x="568" y="161"/>
                  </a:lnTo>
                  <a:lnTo>
                    <a:pt x="561" y="153"/>
                  </a:lnTo>
                  <a:lnTo>
                    <a:pt x="552" y="130"/>
                  </a:lnTo>
                  <a:lnTo>
                    <a:pt x="550" y="132"/>
                  </a:lnTo>
                  <a:lnTo>
                    <a:pt x="552" y="138"/>
                  </a:lnTo>
                  <a:lnTo>
                    <a:pt x="553" y="145"/>
                  </a:lnTo>
                  <a:lnTo>
                    <a:pt x="552" y="143"/>
                  </a:lnTo>
                  <a:lnTo>
                    <a:pt x="550" y="139"/>
                  </a:lnTo>
                  <a:lnTo>
                    <a:pt x="549" y="144"/>
                  </a:lnTo>
                  <a:lnTo>
                    <a:pt x="550" y="143"/>
                  </a:lnTo>
                  <a:lnTo>
                    <a:pt x="552" y="145"/>
                  </a:lnTo>
                  <a:lnTo>
                    <a:pt x="550" y="149"/>
                  </a:lnTo>
                  <a:lnTo>
                    <a:pt x="549" y="154"/>
                  </a:lnTo>
                  <a:lnTo>
                    <a:pt x="549" y="156"/>
                  </a:lnTo>
                  <a:lnTo>
                    <a:pt x="548" y="151"/>
                  </a:lnTo>
                  <a:lnTo>
                    <a:pt x="546" y="148"/>
                  </a:lnTo>
                  <a:lnTo>
                    <a:pt x="543" y="147"/>
                  </a:lnTo>
                  <a:lnTo>
                    <a:pt x="543" y="149"/>
                  </a:lnTo>
                  <a:lnTo>
                    <a:pt x="542" y="147"/>
                  </a:lnTo>
                  <a:lnTo>
                    <a:pt x="542" y="144"/>
                  </a:lnTo>
                  <a:lnTo>
                    <a:pt x="541" y="141"/>
                  </a:lnTo>
                  <a:lnTo>
                    <a:pt x="540" y="141"/>
                  </a:lnTo>
                  <a:lnTo>
                    <a:pt x="537" y="143"/>
                  </a:lnTo>
                  <a:lnTo>
                    <a:pt x="534" y="144"/>
                  </a:lnTo>
                  <a:lnTo>
                    <a:pt x="531" y="147"/>
                  </a:lnTo>
                  <a:lnTo>
                    <a:pt x="530" y="148"/>
                  </a:lnTo>
                  <a:lnTo>
                    <a:pt x="531" y="143"/>
                  </a:lnTo>
                  <a:lnTo>
                    <a:pt x="532" y="138"/>
                  </a:lnTo>
                  <a:lnTo>
                    <a:pt x="531" y="137"/>
                  </a:lnTo>
                  <a:lnTo>
                    <a:pt x="529" y="139"/>
                  </a:lnTo>
                  <a:lnTo>
                    <a:pt x="526" y="142"/>
                  </a:lnTo>
                  <a:lnTo>
                    <a:pt x="525" y="144"/>
                  </a:lnTo>
                  <a:lnTo>
                    <a:pt x="525" y="138"/>
                  </a:lnTo>
                  <a:lnTo>
                    <a:pt x="524" y="137"/>
                  </a:lnTo>
                  <a:lnTo>
                    <a:pt x="525" y="136"/>
                  </a:lnTo>
                  <a:lnTo>
                    <a:pt x="526" y="132"/>
                  </a:lnTo>
                  <a:lnTo>
                    <a:pt x="525" y="131"/>
                  </a:lnTo>
                  <a:lnTo>
                    <a:pt x="526" y="131"/>
                  </a:lnTo>
                  <a:lnTo>
                    <a:pt x="526" y="130"/>
                  </a:lnTo>
                  <a:lnTo>
                    <a:pt x="528" y="127"/>
                  </a:lnTo>
                  <a:lnTo>
                    <a:pt x="532" y="127"/>
                  </a:lnTo>
                  <a:lnTo>
                    <a:pt x="534" y="125"/>
                  </a:lnTo>
                  <a:lnTo>
                    <a:pt x="532" y="126"/>
                  </a:lnTo>
                  <a:lnTo>
                    <a:pt x="534" y="125"/>
                  </a:lnTo>
                  <a:lnTo>
                    <a:pt x="536" y="120"/>
                  </a:lnTo>
                  <a:lnTo>
                    <a:pt x="537" y="119"/>
                  </a:lnTo>
                  <a:lnTo>
                    <a:pt x="535" y="120"/>
                  </a:lnTo>
                  <a:lnTo>
                    <a:pt x="531" y="123"/>
                  </a:lnTo>
                  <a:lnTo>
                    <a:pt x="532" y="119"/>
                  </a:lnTo>
                  <a:lnTo>
                    <a:pt x="530" y="119"/>
                  </a:lnTo>
                  <a:lnTo>
                    <a:pt x="528" y="118"/>
                  </a:lnTo>
                  <a:lnTo>
                    <a:pt x="525" y="119"/>
                  </a:lnTo>
                  <a:lnTo>
                    <a:pt x="524" y="119"/>
                  </a:lnTo>
                  <a:lnTo>
                    <a:pt x="520" y="118"/>
                  </a:lnTo>
                  <a:lnTo>
                    <a:pt x="521" y="117"/>
                  </a:lnTo>
                  <a:lnTo>
                    <a:pt x="520" y="115"/>
                  </a:lnTo>
                  <a:lnTo>
                    <a:pt x="515" y="114"/>
                  </a:lnTo>
                  <a:lnTo>
                    <a:pt x="515" y="111"/>
                  </a:lnTo>
                  <a:lnTo>
                    <a:pt x="518" y="112"/>
                  </a:lnTo>
                  <a:lnTo>
                    <a:pt x="520" y="109"/>
                  </a:lnTo>
                  <a:lnTo>
                    <a:pt x="519" y="107"/>
                  </a:lnTo>
                  <a:lnTo>
                    <a:pt x="523" y="105"/>
                  </a:lnTo>
                  <a:lnTo>
                    <a:pt x="525" y="106"/>
                  </a:lnTo>
                  <a:lnTo>
                    <a:pt x="528" y="106"/>
                  </a:lnTo>
                  <a:lnTo>
                    <a:pt x="526" y="103"/>
                  </a:lnTo>
                  <a:lnTo>
                    <a:pt x="525" y="101"/>
                  </a:lnTo>
                  <a:lnTo>
                    <a:pt x="524" y="100"/>
                  </a:lnTo>
                  <a:lnTo>
                    <a:pt x="524" y="103"/>
                  </a:lnTo>
                  <a:lnTo>
                    <a:pt x="521" y="100"/>
                  </a:lnTo>
                  <a:lnTo>
                    <a:pt x="520" y="96"/>
                  </a:lnTo>
                  <a:lnTo>
                    <a:pt x="519" y="94"/>
                  </a:lnTo>
                  <a:lnTo>
                    <a:pt x="517" y="95"/>
                  </a:lnTo>
                  <a:lnTo>
                    <a:pt x="515" y="95"/>
                  </a:lnTo>
                  <a:lnTo>
                    <a:pt x="515" y="89"/>
                  </a:lnTo>
                  <a:lnTo>
                    <a:pt x="517" y="85"/>
                  </a:lnTo>
                  <a:lnTo>
                    <a:pt x="517" y="83"/>
                  </a:lnTo>
                  <a:lnTo>
                    <a:pt x="517" y="80"/>
                  </a:lnTo>
                  <a:lnTo>
                    <a:pt x="517" y="78"/>
                  </a:lnTo>
                  <a:lnTo>
                    <a:pt x="514" y="83"/>
                  </a:lnTo>
                  <a:lnTo>
                    <a:pt x="514" y="85"/>
                  </a:lnTo>
                  <a:lnTo>
                    <a:pt x="512" y="90"/>
                  </a:lnTo>
                  <a:lnTo>
                    <a:pt x="511" y="88"/>
                  </a:lnTo>
                  <a:lnTo>
                    <a:pt x="509" y="84"/>
                  </a:lnTo>
                  <a:lnTo>
                    <a:pt x="509" y="80"/>
                  </a:lnTo>
                  <a:lnTo>
                    <a:pt x="508" y="79"/>
                  </a:lnTo>
                  <a:lnTo>
                    <a:pt x="507" y="79"/>
                  </a:lnTo>
                  <a:lnTo>
                    <a:pt x="507" y="84"/>
                  </a:lnTo>
                  <a:lnTo>
                    <a:pt x="506" y="88"/>
                  </a:lnTo>
                  <a:lnTo>
                    <a:pt x="503" y="89"/>
                  </a:lnTo>
                  <a:lnTo>
                    <a:pt x="503" y="91"/>
                  </a:lnTo>
                  <a:lnTo>
                    <a:pt x="502" y="92"/>
                  </a:lnTo>
                  <a:lnTo>
                    <a:pt x="501" y="95"/>
                  </a:lnTo>
                  <a:lnTo>
                    <a:pt x="500" y="94"/>
                  </a:lnTo>
                  <a:lnTo>
                    <a:pt x="500" y="96"/>
                  </a:lnTo>
                  <a:lnTo>
                    <a:pt x="499" y="97"/>
                  </a:lnTo>
                  <a:lnTo>
                    <a:pt x="497" y="95"/>
                  </a:lnTo>
                  <a:lnTo>
                    <a:pt x="497" y="90"/>
                  </a:lnTo>
                  <a:lnTo>
                    <a:pt x="496" y="89"/>
                  </a:lnTo>
                  <a:lnTo>
                    <a:pt x="496" y="88"/>
                  </a:lnTo>
                  <a:lnTo>
                    <a:pt x="496" y="89"/>
                  </a:lnTo>
                  <a:lnTo>
                    <a:pt x="494" y="90"/>
                  </a:lnTo>
                  <a:lnTo>
                    <a:pt x="493" y="90"/>
                  </a:lnTo>
                  <a:lnTo>
                    <a:pt x="489" y="92"/>
                  </a:lnTo>
                  <a:lnTo>
                    <a:pt x="488" y="95"/>
                  </a:lnTo>
                  <a:lnTo>
                    <a:pt x="487" y="96"/>
                  </a:lnTo>
                  <a:lnTo>
                    <a:pt x="487" y="91"/>
                  </a:lnTo>
                  <a:lnTo>
                    <a:pt x="488" y="85"/>
                  </a:lnTo>
                  <a:lnTo>
                    <a:pt x="489" y="83"/>
                  </a:lnTo>
                  <a:lnTo>
                    <a:pt x="489" y="82"/>
                  </a:lnTo>
                  <a:lnTo>
                    <a:pt x="488" y="82"/>
                  </a:lnTo>
                  <a:lnTo>
                    <a:pt x="487" y="82"/>
                  </a:lnTo>
                  <a:lnTo>
                    <a:pt x="487" y="79"/>
                  </a:lnTo>
                  <a:lnTo>
                    <a:pt x="488" y="74"/>
                  </a:lnTo>
                  <a:lnTo>
                    <a:pt x="489" y="72"/>
                  </a:lnTo>
                  <a:lnTo>
                    <a:pt x="491" y="70"/>
                  </a:lnTo>
                  <a:lnTo>
                    <a:pt x="493" y="66"/>
                  </a:lnTo>
                  <a:lnTo>
                    <a:pt x="494" y="64"/>
                  </a:lnTo>
                  <a:lnTo>
                    <a:pt x="494" y="61"/>
                  </a:lnTo>
                  <a:lnTo>
                    <a:pt x="491" y="65"/>
                  </a:lnTo>
                  <a:lnTo>
                    <a:pt x="490" y="66"/>
                  </a:lnTo>
                  <a:lnTo>
                    <a:pt x="490" y="62"/>
                  </a:lnTo>
                  <a:lnTo>
                    <a:pt x="487" y="66"/>
                  </a:lnTo>
                  <a:lnTo>
                    <a:pt x="484" y="66"/>
                  </a:lnTo>
                  <a:lnTo>
                    <a:pt x="483" y="64"/>
                  </a:lnTo>
                  <a:lnTo>
                    <a:pt x="477" y="66"/>
                  </a:lnTo>
                  <a:lnTo>
                    <a:pt x="475" y="67"/>
                  </a:lnTo>
                  <a:lnTo>
                    <a:pt x="470" y="77"/>
                  </a:lnTo>
                  <a:lnTo>
                    <a:pt x="466" y="79"/>
                  </a:lnTo>
                  <a:lnTo>
                    <a:pt x="465" y="82"/>
                  </a:lnTo>
                  <a:lnTo>
                    <a:pt x="462" y="79"/>
                  </a:lnTo>
                  <a:lnTo>
                    <a:pt x="464" y="73"/>
                  </a:lnTo>
                  <a:lnTo>
                    <a:pt x="466" y="67"/>
                  </a:lnTo>
                  <a:lnTo>
                    <a:pt x="465" y="65"/>
                  </a:lnTo>
                  <a:lnTo>
                    <a:pt x="467" y="61"/>
                  </a:lnTo>
                  <a:lnTo>
                    <a:pt x="470" y="60"/>
                  </a:lnTo>
                  <a:lnTo>
                    <a:pt x="473" y="61"/>
                  </a:lnTo>
                  <a:lnTo>
                    <a:pt x="478" y="61"/>
                  </a:lnTo>
                  <a:lnTo>
                    <a:pt x="483" y="58"/>
                  </a:lnTo>
                  <a:lnTo>
                    <a:pt x="488" y="55"/>
                  </a:lnTo>
                  <a:lnTo>
                    <a:pt x="488" y="53"/>
                  </a:lnTo>
                  <a:lnTo>
                    <a:pt x="487" y="50"/>
                  </a:lnTo>
                  <a:lnTo>
                    <a:pt x="487" y="46"/>
                  </a:lnTo>
                  <a:lnTo>
                    <a:pt x="484" y="46"/>
                  </a:lnTo>
                  <a:lnTo>
                    <a:pt x="485" y="40"/>
                  </a:lnTo>
                  <a:lnTo>
                    <a:pt x="484" y="38"/>
                  </a:lnTo>
                  <a:lnTo>
                    <a:pt x="483" y="41"/>
                  </a:lnTo>
                  <a:lnTo>
                    <a:pt x="478" y="48"/>
                  </a:lnTo>
                  <a:lnTo>
                    <a:pt x="477" y="49"/>
                  </a:lnTo>
                  <a:lnTo>
                    <a:pt x="475" y="44"/>
                  </a:lnTo>
                  <a:lnTo>
                    <a:pt x="475" y="37"/>
                  </a:lnTo>
                  <a:lnTo>
                    <a:pt x="476" y="35"/>
                  </a:lnTo>
                  <a:lnTo>
                    <a:pt x="473" y="35"/>
                  </a:lnTo>
                  <a:lnTo>
                    <a:pt x="476" y="28"/>
                  </a:lnTo>
                  <a:lnTo>
                    <a:pt x="481" y="25"/>
                  </a:lnTo>
                  <a:lnTo>
                    <a:pt x="483" y="23"/>
                  </a:lnTo>
                  <a:lnTo>
                    <a:pt x="487" y="20"/>
                  </a:lnTo>
                  <a:lnTo>
                    <a:pt x="490" y="18"/>
                  </a:lnTo>
                  <a:lnTo>
                    <a:pt x="490" y="14"/>
                  </a:lnTo>
                  <a:lnTo>
                    <a:pt x="484" y="12"/>
                  </a:lnTo>
                  <a:lnTo>
                    <a:pt x="479" y="11"/>
                  </a:lnTo>
                  <a:lnTo>
                    <a:pt x="484" y="11"/>
                  </a:lnTo>
                  <a:lnTo>
                    <a:pt x="487" y="8"/>
                  </a:lnTo>
                  <a:lnTo>
                    <a:pt x="490" y="7"/>
                  </a:lnTo>
                  <a:lnTo>
                    <a:pt x="490" y="5"/>
                  </a:lnTo>
                  <a:lnTo>
                    <a:pt x="490" y="2"/>
                  </a:lnTo>
                  <a:lnTo>
                    <a:pt x="491" y="1"/>
                  </a:lnTo>
                  <a:lnTo>
                    <a:pt x="495" y="0"/>
                  </a:lnTo>
                  <a:lnTo>
                    <a:pt x="497" y="0"/>
                  </a:lnTo>
                  <a:lnTo>
                    <a:pt x="501" y="0"/>
                  </a:lnTo>
                  <a:lnTo>
                    <a:pt x="501" y="1"/>
                  </a:lnTo>
                  <a:lnTo>
                    <a:pt x="502" y="1"/>
                  </a:lnTo>
                  <a:lnTo>
                    <a:pt x="502" y="4"/>
                  </a:lnTo>
                  <a:lnTo>
                    <a:pt x="505" y="2"/>
                  </a:lnTo>
                  <a:lnTo>
                    <a:pt x="506" y="2"/>
                  </a:lnTo>
                  <a:lnTo>
                    <a:pt x="507" y="2"/>
                  </a:lnTo>
                  <a:lnTo>
                    <a:pt x="509" y="2"/>
                  </a:lnTo>
                  <a:lnTo>
                    <a:pt x="511" y="1"/>
                  </a:lnTo>
                  <a:lnTo>
                    <a:pt x="513" y="0"/>
                  </a:lnTo>
                  <a:lnTo>
                    <a:pt x="511" y="6"/>
                  </a:lnTo>
                  <a:lnTo>
                    <a:pt x="508" y="16"/>
                  </a:lnTo>
                  <a:lnTo>
                    <a:pt x="508" y="18"/>
                  </a:lnTo>
                  <a:lnTo>
                    <a:pt x="511" y="14"/>
                  </a:lnTo>
                  <a:lnTo>
                    <a:pt x="512" y="16"/>
                  </a:lnTo>
                  <a:lnTo>
                    <a:pt x="513" y="20"/>
                  </a:lnTo>
                  <a:lnTo>
                    <a:pt x="512" y="26"/>
                  </a:lnTo>
                  <a:lnTo>
                    <a:pt x="514" y="31"/>
                  </a:lnTo>
                  <a:lnTo>
                    <a:pt x="514" y="29"/>
                  </a:lnTo>
                  <a:lnTo>
                    <a:pt x="518" y="30"/>
                  </a:lnTo>
                  <a:lnTo>
                    <a:pt x="518" y="28"/>
                  </a:lnTo>
                  <a:lnTo>
                    <a:pt x="518" y="23"/>
                  </a:lnTo>
                  <a:lnTo>
                    <a:pt x="523" y="22"/>
                  </a:lnTo>
                  <a:lnTo>
                    <a:pt x="528" y="24"/>
                  </a:lnTo>
                  <a:lnTo>
                    <a:pt x="530" y="28"/>
                  </a:lnTo>
                  <a:lnTo>
                    <a:pt x="531" y="32"/>
                  </a:lnTo>
                  <a:lnTo>
                    <a:pt x="529" y="34"/>
                  </a:lnTo>
                  <a:lnTo>
                    <a:pt x="526" y="32"/>
                  </a:lnTo>
                  <a:lnTo>
                    <a:pt x="526" y="34"/>
                  </a:lnTo>
                  <a:lnTo>
                    <a:pt x="524" y="32"/>
                  </a:lnTo>
                  <a:lnTo>
                    <a:pt x="523" y="31"/>
                  </a:lnTo>
                  <a:lnTo>
                    <a:pt x="523" y="35"/>
                  </a:lnTo>
                  <a:lnTo>
                    <a:pt x="524" y="37"/>
                  </a:lnTo>
                  <a:lnTo>
                    <a:pt x="526" y="40"/>
                  </a:lnTo>
                  <a:lnTo>
                    <a:pt x="529" y="42"/>
                  </a:lnTo>
                  <a:lnTo>
                    <a:pt x="530" y="46"/>
                  </a:lnTo>
                  <a:lnTo>
                    <a:pt x="531" y="49"/>
                  </a:lnTo>
                  <a:lnTo>
                    <a:pt x="534" y="50"/>
                  </a:lnTo>
                  <a:lnTo>
                    <a:pt x="536" y="49"/>
                  </a:lnTo>
                  <a:lnTo>
                    <a:pt x="537" y="52"/>
                  </a:lnTo>
                  <a:lnTo>
                    <a:pt x="538" y="50"/>
                  </a:lnTo>
                  <a:lnTo>
                    <a:pt x="540" y="49"/>
                  </a:lnTo>
                  <a:lnTo>
                    <a:pt x="541" y="49"/>
                  </a:lnTo>
                  <a:lnTo>
                    <a:pt x="544" y="49"/>
                  </a:lnTo>
                  <a:lnTo>
                    <a:pt x="547" y="52"/>
                  </a:lnTo>
                  <a:lnTo>
                    <a:pt x="547" y="49"/>
                  </a:lnTo>
                  <a:lnTo>
                    <a:pt x="544" y="46"/>
                  </a:lnTo>
                  <a:lnTo>
                    <a:pt x="546" y="41"/>
                  </a:lnTo>
                  <a:lnTo>
                    <a:pt x="546" y="37"/>
                  </a:lnTo>
                  <a:lnTo>
                    <a:pt x="548" y="37"/>
                  </a:lnTo>
                  <a:lnTo>
                    <a:pt x="550" y="35"/>
                  </a:lnTo>
                  <a:lnTo>
                    <a:pt x="554" y="36"/>
                  </a:lnTo>
                  <a:lnTo>
                    <a:pt x="556" y="38"/>
                  </a:lnTo>
                  <a:lnTo>
                    <a:pt x="559" y="41"/>
                  </a:lnTo>
                  <a:lnTo>
                    <a:pt x="562" y="41"/>
                  </a:lnTo>
                  <a:lnTo>
                    <a:pt x="566" y="38"/>
                  </a:lnTo>
                  <a:lnTo>
                    <a:pt x="562" y="41"/>
                  </a:lnTo>
                  <a:lnTo>
                    <a:pt x="561" y="44"/>
                  </a:lnTo>
                  <a:lnTo>
                    <a:pt x="559" y="43"/>
                  </a:lnTo>
                  <a:lnTo>
                    <a:pt x="556" y="43"/>
                  </a:lnTo>
                  <a:lnTo>
                    <a:pt x="552" y="50"/>
                  </a:lnTo>
                  <a:lnTo>
                    <a:pt x="556" y="50"/>
                  </a:lnTo>
                  <a:lnTo>
                    <a:pt x="561" y="53"/>
                  </a:lnTo>
                  <a:lnTo>
                    <a:pt x="566" y="55"/>
                  </a:lnTo>
                  <a:lnTo>
                    <a:pt x="562" y="56"/>
                  </a:lnTo>
                  <a:lnTo>
                    <a:pt x="562" y="61"/>
                  </a:lnTo>
                  <a:lnTo>
                    <a:pt x="561" y="62"/>
                  </a:lnTo>
                  <a:lnTo>
                    <a:pt x="560" y="61"/>
                  </a:lnTo>
                  <a:lnTo>
                    <a:pt x="559" y="53"/>
                  </a:lnTo>
                  <a:lnTo>
                    <a:pt x="555" y="52"/>
                  </a:lnTo>
                  <a:lnTo>
                    <a:pt x="550" y="53"/>
                  </a:lnTo>
                  <a:lnTo>
                    <a:pt x="549" y="58"/>
                  </a:lnTo>
                  <a:lnTo>
                    <a:pt x="548" y="61"/>
                  </a:lnTo>
                  <a:lnTo>
                    <a:pt x="549" y="67"/>
                  </a:lnTo>
                  <a:lnTo>
                    <a:pt x="553" y="66"/>
                  </a:lnTo>
                  <a:lnTo>
                    <a:pt x="556" y="68"/>
                  </a:lnTo>
                  <a:lnTo>
                    <a:pt x="558" y="71"/>
                  </a:lnTo>
                  <a:lnTo>
                    <a:pt x="559" y="73"/>
                  </a:lnTo>
                  <a:lnTo>
                    <a:pt x="558" y="76"/>
                  </a:lnTo>
                  <a:lnTo>
                    <a:pt x="561" y="78"/>
                  </a:lnTo>
                  <a:lnTo>
                    <a:pt x="561" y="84"/>
                  </a:lnTo>
                  <a:lnTo>
                    <a:pt x="561" y="88"/>
                  </a:lnTo>
                  <a:lnTo>
                    <a:pt x="562" y="90"/>
                  </a:lnTo>
                  <a:lnTo>
                    <a:pt x="562" y="94"/>
                  </a:lnTo>
                  <a:lnTo>
                    <a:pt x="561" y="97"/>
                  </a:lnTo>
                  <a:lnTo>
                    <a:pt x="562" y="100"/>
                  </a:lnTo>
                  <a:lnTo>
                    <a:pt x="566" y="100"/>
                  </a:lnTo>
                  <a:lnTo>
                    <a:pt x="570" y="97"/>
                  </a:lnTo>
                  <a:lnTo>
                    <a:pt x="573" y="96"/>
                  </a:lnTo>
                  <a:lnTo>
                    <a:pt x="574" y="95"/>
                  </a:lnTo>
                  <a:lnTo>
                    <a:pt x="578" y="94"/>
                  </a:lnTo>
                  <a:lnTo>
                    <a:pt x="578" y="91"/>
                  </a:lnTo>
                  <a:lnTo>
                    <a:pt x="580" y="91"/>
                  </a:lnTo>
                  <a:lnTo>
                    <a:pt x="583" y="91"/>
                  </a:lnTo>
                  <a:lnTo>
                    <a:pt x="584" y="92"/>
                  </a:lnTo>
                  <a:lnTo>
                    <a:pt x="587" y="92"/>
                  </a:lnTo>
                  <a:lnTo>
                    <a:pt x="584" y="95"/>
                  </a:lnTo>
                  <a:lnTo>
                    <a:pt x="587" y="94"/>
                  </a:lnTo>
                  <a:lnTo>
                    <a:pt x="589" y="94"/>
                  </a:lnTo>
                  <a:lnTo>
                    <a:pt x="590" y="95"/>
                  </a:lnTo>
                  <a:lnTo>
                    <a:pt x="594" y="95"/>
                  </a:lnTo>
                  <a:lnTo>
                    <a:pt x="596" y="92"/>
                  </a:lnTo>
                  <a:lnTo>
                    <a:pt x="599" y="90"/>
                  </a:lnTo>
                  <a:lnTo>
                    <a:pt x="600" y="91"/>
                  </a:lnTo>
                  <a:lnTo>
                    <a:pt x="601" y="94"/>
                  </a:lnTo>
                  <a:lnTo>
                    <a:pt x="603" y="95"/>
                  </a:lnTo>
                  <a:lnTo>
                    <a:pt x="607" y="94"/>
                  </a:lnTo>
                  <a:lnTo>
                    <a:pt x="606" y="94"/>
                  </a:lnTo>
                  <a:lnTo>
                    <a:pt x="606" y="95"/>
                  </a:lnTo>
                  <a:lnTo>
                    <a:pt x="611" y="96"/>
                  </a:lnTo>
                  <a:lnTo>
                    <a:pt x="613" y="100"/>
                  </a:lnTo>
                  <a:lnTo>
                    <a:pt x="615" y="97"/>
                  </a:lnTo>
                  <a:lnTo>
                    <a:pt x="618" y="97"/>
                  </a:lnTo>
                  <a:lnTo>
                    <a:pt x="618" y="96"/>
                  </a:lnTo>
                  <a:lnTo>
                    <a:pt x="619" y="95"/>
                  </a:lnTo>
                  <a:lnTo>
                    <a:pt x="621" y="94"/>
                  </a:lnTo>
                  <a:lnTo>
                    <a:pt x="623" y="92"/>
                  </a:lnTo>
                  <a:lnTo>
                    <a:pt x="625" y="95"/>
                  </a:lnTo>
                  <a:lnTo>
                    <a:pt x="626" y="95"/>
                  </a:lnTo>
                  <a:lnTo>
                    <a:pt x="627" y="97"/>
                  </a:lnTo>
                  <a:lnTo>
                    <a:pt x="630" y="96"/>
                  </a:lnTo>
                  <a:lnTo>
                    <a:pt x="630" y="92"/>
                  </a:lnTo>
                  <a:lnTo>
                    <a:pt x="629" y="91"/>
                  </a:lnTo>
                  <a:lnTo>
                    <a:pt x="630" y="89"/>
                  </a:lnTo>
                  <a:lnTo>
                    <a:pt x="631" y="86"/>
                  </a:lnTo>
                  <a:lnTo>
                    <a:pt x="633" y="84"/>
                  </a:lnTo>
                  <a:lnTo>
                    <a:pt x="637" y="83"/>
                  </a:lnTo>
                  <a:lnTo>
                    <a:pt x="639" y="84"/>
                  </a:lnTo>
                  <a:lnTo>
                    <a:pt x="642" y="85"/>
                  </a:lnTo>
                  <a:lnTo>
                    <a:pt x="644" y="85"/>
                  </a:lnTo>
                  <a:lnTo>
                    <a:pt x="644" y="86"/>
                  </a:lnTo>
                  <a:lnTo>
                    <a:pt x="645" y="86"/>
                  </a:lnTo>
                  <a:lnTo>
                    <a:pt x="645" y="77"/>
                  </a:lnTo>
                  <a:lnTo>
                    <a:pt x="642" y="74"/>
                  </a:lnTo>
                  <a:lnTo>
                    <a:pt x="639" y="71"/>
                  </a:lnTo>
                  <a:lnTo>
                    <a:pt x="641" y="68"/>
                  </a:lnTo>
                  <a:lnTo>
                    <a:pt x="641" y="67"/>
                  </a:lnTo>
                  <a:lnTo>
                    <a:pt x="642" y="66"/>
                  </a:lnTo>
                  <a:lnTo>
                    <a:pt x="643" y="67"/>
                  </a:lnTo>
                  <a:lnTo>
                    <a:pt x="643" y="65"/>
                  </a:lnTo>
                  <a:lnTo>
                    <a:pt x="645" y="65"/>
                  </a:lnTo>
                  <a:lnTo>
                    <a:pt x="648" y="65"/>
                  </a:lnTo>
                  <a:lnTo>
                    <a:pt x="649" y="65"/>
                  </a:lnTo>
                  <a:lnTo>
                    <a:pt x="652" y="65"/>
                  </a:lnTo>
                  <a:lnTo>
                    <a:pt x="650" y="68"/>
                  </a:lnTo>
                  <a:lnTo>
                    <a:pt x="652" y="71"/>
                  </a:lnTo>
                  <a:lnTo>
                    <a:pt x="655" y="71"/>
                  </a:lnTo>
                  <a:lnTo>
                    <a:pt x="661" y="71"/>
                  </a:lnTo>
                  <a:lnTo>
                    <a:pt x="658" y="73"/>
                  </a:lnTo>
                  <a:lnTo>
                    <a:pt x="654" y="76"/>
                  </a:lnTo>
                  <a:lnTo>
                    <a:pt x="652" y="78"/>
                  </a:lnTo>
                  <a:lnTo>
                    <a:pt x="650" y="79"/>
                  </a:lnTo>
                  <a:lnTo>
                    <a:pt x="653" y="78"/>
                  </a:lnTo>
                  <a:lnTo>
                    <a:pt x="656" y="77"/>
                  </a:lnTo>
                  <a:lnTo>
                    <a:pt x="654" y="79"/>
                  </a:lnTo>
                  <a:lnTo>
                    <a:pt x="656" y="82"/>
                  </a:lnTo>
                  <a:lnTo>
                    <a:pt x="658" y="83"/>
                  </a:lnTo>
                  <a:lnTo>
                    <a:pt x="654" y="83"/>
                  </a:lnTo>
                  <a:lnTo>
                    <a:pt x="650" y="85"/>
                  </a:lnTo>
                  <a:lnTo>
                    <a:pt x="654" y="85"/>
                  </a:lnTo>
                  <a:lnTo>
                    <a:pt x="659" y="84"/>
                  </a:lnTo>
                  <a:lnTo>
                    <a:pt x="664" y="85"/>
                  </a:lnTo>
                  <a:lnTo>
                    <a:pt x="667" y="84"/>
                  </a:lnTo>
                  <a:lnTo>
                    <a:pt x="662" y="88"/>
                  </a:lnTo>
                  <a:lnTo>
                    <a:pt x="659" y="90"/>
                  </a:lnTo>
                  <a:lnTo>
                    <a:pt x="656" y="92"/>
                  </a:lnTo>
                  <a:lnTo>
                    <a:pt x="653" y="95"/>
                  </a:lnTo>
                  <a:lnTo>
                    <a:pt x="653" y="98"/>
                  </a:lnTo>
                  <a:lnTo>
                    <a:pt x="655" y="98"/>
                  </a:lnTo>
                  <a:lnTo>
                    <a:pt x="659" y="98"/>
                  </a:lnTo>
                  <a:lnTo>
                    <a:pt x="662" y="96"/>
                  </a:lnTo>
                  <a:lnTo>
                    <a:pt x="665" y="96"/>
                  </a:lnTo>
                  <a:lnTo>
                    <a:pt x="668" y="97"/>
                  </a:lnTo>
                  <a:lnTo>
                    <a:pt x="667" y="97"/>
                  </a:lnTo>
                  <a:lnTo>
                    <a:pt x="666" y="98"/>
                  </a:lnTo>
                  <a:lnTo>
                    <a:pt x="666" y="103"/>
                  </a:lnTo>
                  <a:lnTo>
                    <a:pt x="668" y="106"/>
                  </a:lnTo>
                  <a:lnTo>
                    <a:pt x="670" y="109"/>
                  </a:lnTo>
                  <a:lnTo>
                    <a:pt x="666" y="111"/>
                  </a:lnTo>
                  <a:lnTo>
                    <a:pt x="667" y="113"/>
                  </a:lnTo>
                  <a:lnTo>
                    <a:pt x="667" y="118"/>
                  </a:lnTo>
                  <a:lnTo>
                    <a:pt x="666" y="120"/>
                  </a:lnTo>
                  <a:lnTo>
                    <a:pt x="665" y="118"/>
                  </a:lnTo>
                  <a:lnTo>
                    <a:pt x="664" y="120"/>
                  </a:lnTo>
                  <a:lnTo>
                    <a:pt x="662" y="125"/>
                  </a:lnTo>
                  <a:lnTo>
                    <a:pt x="661" y="127"/>
                  </a:lnTo>
                  <a:lnTo>
                    <a:pt x="661" y="132"/>
                  </a:lnTo>
                  <a:lnTo>
                    <a:pt x="659" y="133"/>
                  </a:lnTo>
                  <a:lnTo>
                    <a:pt x="656" y="137"/>
                  </a:lnTo>
                  <a:lnTo>
                    <a:pt x="653" y="137"/>
                  </a:lnTo>
                  <a:lnTo>
                    <a:pt x="653" y="139"/>
                  </a:lnTo>
                  <a:lnTo>
                    <a:pt x="648" y="142"/>
                  </a:lnTo>
                  <a:lnTo>
                    <a:pt x="648" y="139"/>
                  </a:lnTo>
                  <a:lnTo>
                    <a:pt x="645" y="138"/>
                  </a:lnTo>
                  <a:lnTo>
                    <a:pt x="645" y="137"/>
                  </a:lnTo>
                  <a:lnTo>
                    <a:pt x="644" y="141"/>
                  </a:lnTo>
                  <a:lnTo>
                    <a:pt x="642" y="144"/>
                  </a:lnTo>
                  <a:lnTo>
                    <a:pt x="643" y="137"/>
                  </a:lnTo>
                  <a:lnTo>
                    <a:pt x="641" y="142"/>
                  </a:lnTo>
                  <a:lnTo>
                    <a:pt x="638" y="138"/>
                  </a:lnTo>
                  <a:lnTo>
                    <a:pt x="636" y="141"/>
                  </a:lnTo>
                  <a:lnTo>
                    <a:pt x="637" y="144"/>
                  </a:lnTo>
                  <a:lnTo>
                    <a:pt x="639" y="145"/>
                  </a:lnTo>
                  <a:lnTo>
                    <a:pt x="633" y="147"/>
                  </a:lnTo>
                  <a:lnTo>
                    <a:pt x="630" y="148"/>
                  </a:lnTo>
                  <a:lnTo>
                    <a:pt x="627" y="151"/>
                  </a:lnTo>
                  <a:lnTo>
                    <a:pt x="629" y="153"/>
                  </a:lnTo>
                  <a:lnTo>
                    <a:pt x="631" y="154"/>
                  </a:lnTo>
                  <a:lnTo>
                    <a:pt x="635" y="154"/>
                  </a:lnTo>
                  <a:lnTo>
                    <a:pt x="636" y="157"/>
                  </a:lnTo>
                  <a:lnTo>
                    <a:pt x="633" y="159"/>
                  </a:lnTo>
                  <a:lnTo>
                    <a:pt x="629" y="157"/>
                  </a:lnTo>
                  <a:lnTo>
                    <a:pt x="629" y="155"/>
                  </a:lnTo>
                  <a:lnTo>
                    <a:pt x="627" y="155"/>
                  </a:lnTo>
                  <a:lnTo>
                    <a:pt x="627" y="160"/>
                  </a:lnTo>
                  <a:lnTo>
                    <a:pt x="630" y="160"/>
                  </a:lnTo>
                  <a:lnTo>
                    <a:pt x="633" y="161"/>
                  </a:lnTo>
                  <a:lnTo>
                    <a:pt x="633" y="166"/>
                  </a:lnTo>
                  <a:lnTo>
                    <a:pt x="635" y="167"/>
                  </a:lnTo>
                  <a:lnTo>
                    <a:pt x="641" y="165"/>
                  </a:lnTo>
                  <a:lnTo>
                    <a:pt x="645" y="161"/>
                  </a:lnTo>
                  <a:lnTo>
                    <a:pt x="644" y="160"/>
                  </a:lnTo>
                  <a:lnTo>
                    <a:pt x="643" y="157"/>
                  </a:lnTo>
                  <a:lnTo>
                    <a:pt x="645" y="154"/>
                  </a:lnTo>
                  <a:lnTo>
                    <a:pt x="648" y="150"/>
                  </a:lnTo>
                  <a:lnTo>
                    <a:pt x="650" y="148"/>
                  </a:lnTo>
                  <a:lnTo>
                    <a:pt x="652" y="150"/>
                  </a:lnTo>
                  <a:lnTo>
                    <a:pt x="654" y="149"/>
                  </a:lnTo>
                  <a:lnTo>
                    <a:pt x="655" y="149"/>
                  </a:lnTo>
                  <a:lnTo>
                    <a:pt x="656" y="148"/>
                  </a:lnTo>
                  <a:lnTo>
                    <a:pt x="659" y="148"/>
                  </a:lnTo>
                  <a:lnTo>
                    <a:pt x="661" y="147"/>
                  </a:lnTo>
                  <a:lnTo>
                    <a:pt x="660" y="150"/>
                  </a:lnTo>
                  <a:lnTo>
                    <a:pt x="659" y="153"/>
                  </a:lnTo>
                  <a:lnTo>
                    <a:pt x="660" y="154"/>
                  </a:lnTo>
                  <a:lnTo>
                    <a:pt x="660" y="155"/>
                  </a:lnTo>
                  <a:lnTo>
                    <a:pt x="661" y="154"/>
                  </a:lnTo>
                  <a:lnTo>
                    <a:pt x="661" y="156"/>
                  </a:lnTo>
                  <a:lnTo>
                    <a:pt x="662" y="157"/>
                  </a:lnTo>
                  <a:lnTo>
                    <a:pt x="665" y="156"/>
                  </a:lnTo>
                  <a:lnTo>
                    <a:pt x="662" y="153"/>
                  </a:lnTo>
                  <a:lnTo>
                    <a:pt x="664" y="148"/>
                  </a:lnTo>
                  <a:lnTo>
                    <a:pt x="666" y="149"/>
                  </a:lnTo>
                  <a:lnTo>
                    <a:pt x="670" y="147"/>
                  </a:lnTo>
                  <a:lnTo>
                    <a:pt x="671" y="148"/>
                  </a:lnTo>
                  <a:lnTo>
                    <a:pt x="673" y="150"/>
                  </a:lnTo>
                  <a:lnTo>
                    <a:pt x="676" y="151"/>
                  </a:lnTo>
                  <a:lnTo>
                    <a:pt x="676" y="155"/>
                  </a:lnTo>
                  <a:lnTo>
                    <a:pt x="672" y="157"/>
                  </a:lnTo>
                  <a:lnTo>
                    <a:pt x="672" y="154"/>
                  </a:lnTo>
                  <a:lnTo>
                    <a:pt x="668" y="156"/>
                  </a:lnTo>
                  <a:lnTo>
                    <a:pt x="660" y="162"/>
                  </a:lnTo>
                  <a:lnTo>
                    <a:pt x="662" y="165"/>
                  </a:lnTo>
                  <a:lnTo>
                    <a:pt x="665" y="163"/>
                  </a:lnTo>
                  <a:lnTo>
                    <a:pt x="664" y="167"/>
                  </a:lnTo>
                  <a:lnTo>
                    <a:pt x="670" y="169"/>
                  </a:lnTo>
                  <a:lnTo>
                    <a:pt x="671" y="172"/>
                  </a:lnTo>
                  <a:lnTo>
                    <a:pt x="672" y="173"/>
                  </a:lnTo>
                  <a:lnTo>
                    <a:pt x="673" y="172"/>
                  </a:lnTo>
                  <a:lnTo>
                    <a:pt x="676" y="173"/>
                  </a:lnTo>
                  <a:lnTo>
                    <a:pt x="678" y="171"/>
                  </a:lnTo>
                  <a:lnTo>
                    <a:pt x="676" y="177"/>
                  </a:lnTo>
                  <a:lnTo>
                    <a:pt x="674" y="179"/>
                  </a:lnTo>
                  <a:lnTo>
                    <a:pt x="674" y="183"/>
                  </a:lnTo>
                  <a:lnTo>
                    <a:pt x="674" y="184"/>
                  </a:lnTo>
                  <a:lnTo>
                    <a:pt x="677" y="184"/>
                  </a:lnTo>
                  <a:lnTo>
                    <a:pt x="679" y="184"/>
                  </a:lnTo>
                  <a:lnTo>
                    <a:pt x="682" y="183"/>
                  </a:lnTo>
                  <a:lnTo>
                    <a:pt x="684" y="178"/>
                  </a:lnTo>
                  <a:lnTo>
                    <a:pt x="685" y="175"/>
                  </a:lnTo>
                  <a:lnTo>
                    <a:pt x="683" y="173"/>
                  </a:lnTo>
                  <a:lnTo>
                    <a:pt x="684" y="169"/>
                  </a:lnTo>
                  <a:lnTo>
                    <a:pt x="685" y="167"/>
                  </a:lnTo>
                  <a:lnTo>
                    <a:pt x="688" y="165"/>
                  </a:lnTo>
                  <a:lnTo>
                    <a:pt x="689" y="163"/>
                  </a:lnTo>
                  <a:lnTo>
                    <a:pt x="691" y="163"/>
                  </a:lnTo>
                  <a:lnTo>
                    <a:pt x="694" y="163"/>
                  </a:lnTo>
                  <a:lnTo>
                    <a:pt x="695" y="166"/>
                  </a:lnTo>
                  <a:lnTo>
                    <a:pt x="697" y="166"/>
                  </a:lnTo>
                  <a:lnTo>
                    <a:pt x="697" y="167"/>
                  </a:lnTo>
                  <a:lnTo>
                    <a:pt x="697" y="171"/>
                  </a:lnTo>
                  <a:lnTo>
                    <a:pt x="698" y="172"/>
                  </a:lnTo>
                  <a:lnTo>
                    <a:pt x="697" y="173"/>
                  </a:lnTo>
                  <a:lnTo>
                    <a:pt x="694" y="174"/>
                  </a:lnTo>
                  <a:lnTo>
                    <a:pt x="696" y="177"/>
                  </a:lnTo>
                  <a:lnTo>
                    <a:pt x="694" y="178"/>
                  </a:lnTo>
                  <a:lnTo>
                    <a:pt x="694" y="180"/>
                  </a:lnTo>
                  <a:lnTo>
                    <a:pt x="695" y="183"/>
                  </a:lnTo>
                  <a:lnTo>
                    <a:pt x="696" y="183"/>
                  </a:lnTo>
                  <a:lnTo>
                    <a:pt x="697" y="183"/>
                  </a:lnTo>
                  <a:lnTo>
                    <a:pt x="697" y="181"/>
                  </a:lnTo>
                  <a:lnTo>
                    <a:pt x="698" y="180"/>
                  </a:lnTo>
                  <a:lnTo>
                    <a:pt x="701" y="180"/>
                  </a:lnTo>
                  <a:lnTo>
                    <a:pt x="701" y="183"/>
                  </a:lnTo>
                  <a:lnTo>
                    <a:pt x="702" y="180"/>
                  </a:lnTo>
                  <a:lnTo>
                    <a:pt x="706" y="179"/>
                  </a:lnTo>
                  <a:lnTo>
                    <a:pt x="708" y="177"/>
                  </a:lnTo>
                  <a:lnTo>
                    <a:pt x="711" y="175"/>
                  </a:lnTo>
                  <a:lnTo>
                    <a:pt x="712" y="174"/>
                  </a:lnTo>
                  <a:lnTo>
                    <a:pt x="712" y="173"/>
                  </a:lnTo>
                  <a:lnTo>
                    <a:pt x="711" y="173"/>
                  </a:lnTo>
                  <a:lnTo>
                    <a:pt x="709" y="172"/>
                  </a:lnTo>
                  <a:lnTo>
                    <a:pt x="713" y="169"/>
                  </a:lnTo>
                  <a:lnTo>
                    <a:pt x="714" y="169"/>
                  </a:lnTo>
                  <a:lnTo>
                    <a:pt x="714" y="173"/>
                  </a:lnTo>
                  <a:lnTo>
                    <a:pt x="717" y="172"/>
                  </a:lnTo>
                  <a:lnTo>
                    <a:pt x="715" y="169"/>
                  </a:lnTo>
                  <a:lnTo>
                    <a:pt x="709" y="165"/>
                  </a:lnTo>
                  <a:lnTo>
                    <a:pt x="706" y="166"/>
                  </a:lnTo>
                  <a:lnTo>
                    <a:pt x="701" y="165"/>
                  </a:lnTo>
                  <a:lnTo>
                    <a:pt x="701" y="162"/>
                  </a:lnTo>
                  <a:lnTo>
                    <a:pt x="702" y="162"/>
                  </a:lnTo>
                  <a:lnTo>
                    <a:pt x="704" y="162"/>
                  </a:lnTo>
                  <a:lnTo>
                    <a:pt x="704" y="161"/>
                  </a:lnTo>
                  <a:lnTo>
                    <a:pt x="706" y="161"/>
                  </a:lnTo>
                  <a:lnTo>
                    <a:pt x="707" y="159"/>
                  </a:lnTo>
                  <a:lnTo>
                    <a:pt x="708" y="160"/>
                  </a:lnTo>
                  <a:lnTo>
                    <a:pt x="709" y="159"/>
                  </a:lnTo>
                  <a:lnTo>
                    <a:pt x="711" y="161"/>
                  </a:lnTo>
                  <a:lnTo>
                    <a:pt x="713" y="166"/>
                  </a:lnTo>
                  <a:lnTo>
                    <a:pt x="718" y="169"/>
                  </a:lnTo>
                  <a:lnTo>
                    <a:pt x="719" y="169"/>
                  </a:lnTo>
                  <a:lnTo>
                    <a:pt x="721" y="168"/>
                  </a:lnTo>
                  <a:lnTo>
                    <a:pt x="721" y="167"/>
                  </a:lnTo>
                  <a:lnTo>
                    <a:pt x="723" y="165"/>
                  </a:lnTo>
                  <a:lnTo>
                    <a:pt x="725" y="165"/>
                  </a:lnTo>
                  <a:lnTo>
                    <a:pt x="726" y="167"/>
                  </a:lnTo>
                  <a:lnTo>
                    <a:pt x="727" y="168"/>
                  </a:lnTo>
                  <a:lnTo>
                    <a:pt x="730" y="171"/>
                  </a:lnTo>
                  <a:lnTo>
                    <a:pt x="730" y="169"/>
                  </a:lnTo>
                  <a:lnTo>
                    <a:pt x="732" y="168"/>
                  </a:lnTo>
                  <a:lnTo>
                    <a:pt x="733" y="166"/>
                  </a:lnTo>
                  <a:lnTo>
                    <a:pt x="736" y="167"/>
                  </a:lnTo>
                  <a:lnTo>
                    <a:pt x="737" y="168"/>
                  </a:lnTo>
                  <a:lnTo>
                    <a:pt x="737" y="161"/>
                  </a:lnTo>
                  <a:lnTo>
                    <a:pt x="729" y="160"/>
                  </a:lnTo>
                  <a:lnTo>
                    <a:pt x="720" y="159"/>
                  </a:lnTo>
                  <a:lnTo>
                    <a:pt x="720" y="156"/>
                  </a:lnTo>
                  <a:lnTo>
                    <a:pt x="723" y="155"/>
                  </a:lnTo>
                  <a:lnTo>
                    <a:pt x="725" y="154"/>
                  </a:lnTo>
                  <a:lnTo>
                    <a:pt x="726" y="154"/>
                  </a:lnTo>
                  <a:lnTo>
                    <a:pt x="726" y="153"/>
                  </a:lnTo>
                  <a:lnTo>
                    <a:pt x="730" y="151"/>
                  </a:lnTo>
                  <a:lnTo>
                    <a:pt x="732" y="151"/>
                  </a:lnTo>
                  <a:lnTo>
                    <a:pt x="733" y="149"/>
                  </a:lnTo>
                  <a:lnTo>
                    <a:pt x="735" y="151"/>
                  </a:lnTo>
                  <a:lnTo>
                    <a:pt x="736" y="150"/>
                  </a:lnTo>
                  <a:lnTo>
                    <a:pt x="736" y="151"/>
                  </a:lnTo>
                  <a:lnTo>
                    <a:pt x="736" y="156"/>
                  </a:lnTo>
                  <a:lnTo>
                    <a:pt x="738" y="161"/>
                  </a:lnTo>
                  <a:lnTo>
                    <a:pt x="741" y="163"/>
                  </a:lnTo>
                  <a:lnTo>
                    <a:pt x="743" y="162"/>
                  </a:lnTo>
                  <a:lnTo>
                    <a:pt x="747" y="159"/>
                  </a:lnTo>
                  <a:lnTo>
                    <a:pt x="748" y="156"/>
                  </a:lnTo>
                  <a:lnTo>
                    <a:pt x="749" y="153"/>
                  </a:lnTo>
                  <a:lnTo>
                    <a:pt x="753" y="151"/>
                  </a:lnTo>
                  <a:lnTo>
                    <a:pt x="754" y="153"/>
                  </a:lnTo>
                  <a:lnTo>
                    <a:pt x="754" y="154"/>
                  </a:lnTo>
                  <a:lnTo>
                    <a:pt x="754" y="156"/>
                  </a:lnTo>
                  <a:lnTo>
                    <a:pt x="756" y="156"/>
                  </a:lnTo>
                  <a:lnTo>
                    <a:pt x="757" y="154"/>
                  </a:lnTo>
                  <a:lnTo>
                    <a:pt x="760" y="154"/>
                  </a:lnTo>
                  <a:lnTo>
                    <a:pt x="762" y="154"/>
                  </a:lnTo>
                  <a:lnTo>
                    <a:pt x="761" y="156"/>
                  </a:lnTo>
                  <a:lnTo>
                    <a:pt x="762" y="159"/>
                  </a:lnTo>
                  <a:lnTo>
                    <a:pt x="766" y="160"/>
                  </a:lnTo>
                  <a:lnTo>
                    <a:pt x="762" y="161"/>
                  </a:lnTo>
                  <a:lnTo>
                    <a:pt x="759" y="161"/>
                  </a:lnTo>
                  <a:lnTo>
                    <a:pt x="756" y="162"/>
                  </a:lnTo>
                  <a:lnTo>
                    <a:pt x="754" y="162"/>
                  </a:lnTo>
                  <a:lnTo>
                    <a:pt x="755" y="163"/>
                  </a:lnTo>
                  <a:lnTo>
                    <a:pt x="751" y="163"/>
                  </a:lnTo>
                  <a:lnTo>
                    <a:pt x="754" y="167"/>
                  </a:lnTo>
                  <a:lnTo>
                    <a:pt x="756" y="172"/>
                  </a:lnTo>
                  <a:lnTo>
                    <a:pt x="759" y="171"/>
                  </a:lnTo>
                  <a:lnTo>
                    <a:pt x="760" y="172"/>
                  </a:lnTo>
                  <a:lnTo>
                    <a:pt x="762" y="171"/>
                  </a:lnTo>
                  <a:lnTo>
                    <a:pt x="766" y="171"/>
                  </a:lnTo>
                  <a:lnTo>
                    <a:pt x="762" y="168"/>
                  </a:lnTo>
                  <a:lnTo>
                    <a:pt x="761" y="163"/>
                  </a:lnTo>
                  <a:lnTo>
                    <a:pt x="763" y="165"/>
                  </a:lnTo>
                  <a:lnTo>
                    <a:pt x="766" y="162"/>
                  </a:lnTo>
                  <a:lnTo>
                    <a:pt x="768" y="160"/>
                  </a:lnTo>
                  <a:lnTo>
                    <a:pt x="770" y="156"/>
                  </a:lnTo>
                  <a:lnTo>
                    <a:pt x="771" y="154"/>
                  </a:lnTo>
                  <a:lnTo>
                    <a:pt x="772" y="154"/>
                  </a:lnTo>
                  <a:lnTo>
                    <a:pt x="776" y="154"/>
                  </a:lnTo>
                  <a:lnTo>
                    <a:pt x="777" y="153"/>
                  </a:lnTo>
                  <a:lnTo>
                    <a:pt x="776" y="153"/>
                  </a:lnTo>
                  <a:lnTo>
                    <a:pt x="776" y="150"/>
                  </a:lnTo>
                  <a:lnTo>
                    <a:pt x="776" y="147"/>
                  </a:lnTo>
                  <a:lnTo>
                    <a:pt x="774" y="147"/>
                  </a:lnTo>
                  <a:lnTo>
                    <a:pt x="776" y="144"/>
                  </a:lnTo>
                  <a:lnTo>
                    <a:pt x="778" y="143"/>
                  </a:lnTo>
                  <a:lnTo>
                    <a:pt x="776" y="142"/>
                  </a:lnTo>
                  <a:lnTo>
                    <a:pt x="778" y="141"/>
                  </a:lnTo>
                  <a:lnTo>
                    <a:pt x="780" y="141"/>
                  </a:lnTo>
                  <a:lnTo>
                    <a:pt x="779" y="138"/>
                  </a:lnTo>
                  <a:lnTo>
                    <a:pt x="780" y="135"/>
                  </a:lnTo>
                  <a:lnTo>
                    <a:pt x="783" y="132"/>
                  </a:lnTo>
                  <a:lnTo>
                    <a:pt x="785" y="133"/>
                  </a:lnTo>
                  <a:lnTo>
                    <a:pt x="789" y="133"/>
                  </a:lnTo>
                  <a:lnTo>
                    <a:pt x="789" y="130"/>
                  </a:lnTo>
                  <a:lnTo>
                    <a:pt x="786" y="129"/>
                  </a:lnTo>
                  <a:lnTo>
                    <a:pt x="782" y="130"/>
                  </a:lnTo>
                  <a:lnTo>
                    <a:pt x="784" y="127"/>
                  </a:lnTo>
                  <a:lnTo>
                    <a:pt x="786" y="125"/>
                  </a:lnTo>
                  <a:lnTo>
                    <a:pt x="790" y="127"/>
                  </a:lnTo>
                  <a:lnTo>
                    <a:pt x="792" y="127"/>
                  </a:lnTo>
                  <a:lnTo>
                    <a:pt x="794" y="130"/>
                  </a:lnTo>
                  <a:lnTo>
                    <a:pt x="797" y="131"/>
                  </a:lnTo>
                  <a:lnTo>
                    <a:pt x="797" y="132"/>
                  </a:lnTo>
                  <a:lnTo>
                    <a:pt x="803" y="127"/>
                  </a:lnTo>
                  <a:lnTo>
                    <a:pt x="803" y="126"/>
                  </a:lnTo>
                  <a:lnTo>
                    <a:pt x="803" y="124"/>
                  </a:lnTo>
                  <a:lnTo>
                    <a:pt x="806" y="121"/>
                  </a:lnTo>
                  <a:lnTo>
                    <a:pt x="807" y="120"/>
                  </a:lnTo>
                  <a:lnTo>
                    <a:pt x="809" y="120"/>
                  </a:lnTo>
                  <a:lnTo>
                    <a:pt x="808" y="125"/>
                  </a:lnTo>
                  <a:lnTo>
                    <a:pt x="810" y="124"/>
                  </a:lnTo>
                  <a:lnTo>
                    <a:pt x="813" y="120"/>
                  </a:lnTo>
                  <a:lnTo>
                    <a:pt x="815" y="121"/>
                  </a:lnTo>
                  <a:lnTo>
                    <a:pt x="816" y="123"/>
                  </a:lnTo>
                  <a:lnTo>
                    <a:pt x="820" y="123"/>
                  </a:lnTo>
                  <a:lnTo>
                    <a:pt x="821" y="124"/>
                  </a:lnTo>
                  <a:lnTo>
                    <a:pt x="816" y="126"/>
                  </a:lnTo>
                  <a:lnTo>
                    <a:pt x="810" y="129"/>
                  </a:lnTo>
                  <a:lnTo>
                    <a:pt x="813" y="132"/>
                  </a:lnTo>
                  <a:lnTo>
                    <a:pt x="815" y="130"/>
                  </a:lnTo>
                  <a:lnTo>
                    <a:pt x="821" y="125"/>
                  </a:lnTo>
                  <a:lnTo>
                    <a:pt x="822" y="126"/>
                  </a:lnTo>
                  <a:lnTo>
                    <a:pt x="818" y="131"/>
                  </a:lnTo>
                  <a:lnTo>
                    <a:pt x="820" y="135"/>
                  </a:lnTo>
                  <a:lnTo>
                    <a:pt x="816" y="136"/>
                  </a:lnTo>
                  <a:lnTo>
                    <a:pt x="815" y="137"/>
                  </a:lnTo>
                  <a:lnTo>
                    <a:pt x="818" y="139"/>
                  </a:lnTo>
                  <a:lnTo>
                    <a:pt x="820" y="139"/>
                  </a:lnTo>
                  <a:lnTo>
                    <a:pt x="824" y="142"/>
                  </a:lnTo>
                  <a:lnTo>
                    <a:pt x="825" y="141"/>
                  </a:lnTo>
                  <a:lnTo>
                    <a:pt x="826" y="142"/>
                  </a:lnTo>
                  <a:lnTo>
                    <a:pt x="830" y="143"/>
                  </a:lnTo>
                  <a:lnTo>
                    <a:pt x="831" y="144"/>
                  </a:lnTo>
                  <a:lnTo>
                    <a:pt x="831" y="145"/>
                  </a:lnTo>
                  <a:lnTo>
                    <a:pt x="832" y="145"/>
                  </a:lnTo>
                  <a:lnTo>
                    <a:pt x="832" y="149"/>
                  </a:lnTo>
                  <a:lnTo>
                    <a:pt x="827" y="149"/>
                  </a:lnTo>
                  <a:lnTo>
                    <a:pt x="830" y="151"/>
                  </a:lnTo>
                  <a:lnTo>
                    <a:pt x="831" y="154"/>
                  </a:lnTo>
                  <a:lnTo>
                    <a:pt x="832" y="155"/>
                  </a:lnTo>
                  <a:lnTo>
                    <a:pt x="836" y="153"/>
                  </a:lnTo>
                  <a:lnTo>
                    <a:pt x="836" y="155"/>
                  </a:lnTo>
                  <a:lnTo>
                    <a:pt x="837" y="161"/>
                  </a:lnTo>
                  <a:lnTo>
                    <a:pt x="838" y="162"/>
                  </a:lnTo>
                  <a:lnTo>
                    <a:pt x="837" y="165"/>
                  </a:lnTo>
                  <a:lnTo>
                    <a:pt x="837" y="168"/>
                  </a:lnTo>
                  <a:lnTo>
                    <a:pt x="835" y="173"/>
                  </a:lnTo>
                  <a:lnTo>
                    <a:pt x="833" y="165"/>
                  </a:lnTo>
                  <a:lnTo>
                    <a:pt x="832" y="157"/>
                  </a:lnTo>
                  <a:lnTo>
                    <a:pt x="827" y="156"/>
                  </a:lnTo>
                  <a:lnTo>
                    <a:pt x="821" y="154"/>
                  </a:lnTo>
                  <a:lnTo>
                    <a:pt x="821" y="156"/>
                  </a:lnTo>
                  <a:lnTo>
                    <a:pt x="822" y="161"/>
                  </a:lnTo>
                  <a:lnTo>
                    <a:pt x="821" y="165"/>
                  </a:lnTo>
                  <a:lnTo>
                    <a:pt x="820" y="167"/>
                  </a:lnTo>
                  <a:lnTo>
                    <a:pt x="816" y="169"/>
                  </a:lnTo>
                  <a:lnTo>
                    <a:pt x="813" y="169"/>
                  </a:lnTo>
                  <a:lnTo>
                    <a:pt x="812" y="168"/>
                  </a:lnTo>
                  <a:lnTo>
                    <a:pt x="808" y="169"/>
                  </a:lnTo>
                  <a:lnTo>
                    <a:pt x="802" y="172"/>
                  </a:lnTo>
                  <a:lnTo>
                    <a:pt x="796" y="172"/>
                  </a:lnTo>
                  <a:lnTo>
                    <a:pt x="794" y="172"/>
                  </a:lnTo>
                  <a:lnTo>
                    <a:pt x="792" y="174"/>
                  </a:lnTo>
                  <a:lnTo>
                    <a:pt x="792" y="175"/>
                  </a:lnTo>
                  <a:lnTo>
                    <a:pt x="792" y="177"/>
                  </a:lnTo>
                  <a:lnTo>
                    <a:pt x="797" y="174"/>
                  </a:lnTo>
                  <a:lnTo>
                    <a:pt x="796" y="177"/>
                  </a:lnTo>
                  <a:lnTo>
                    <a:pt x="800" y="175"/>
                  </a:lnTo>
                  <a:lnTo>
                    <a:pt x="804" y="172"/>
                  </a:lnTo>
                  <a:lnTo>
                    <a:pt x="813" y="173"/>
                  </a:lnTo>
                  <a:lnTo>
                    <a:pt x="818" y="173"/>
                  </a:lnTo>
                  <a:lnTo>
                    <a:pt x="821" y="173"/>
                  </a:lnTo>
                  <a:lnTo>
                    <a:pt x="824" y="177"/>
                  </a:lnTo>
                  <a:lnTo>
                    <a:pt x="820" y="177"/>
                  </a:lnTo>
                  <a:lnTo>
                    <a:pt x="818" y="178"/>
                  </a:lnTo>
                  <a:lnTo>
                    <a:pt x="819" y="179"/>
                  </a:lnTo>
                  <a:lnTo>
                    <a:pt x="816" y="179"/>
                  </a:lnTo>
                  <a:lnTo>
                    <a:pt x="814" y="183"/>
                  </a:lnTo>
                  <a:lnTo>
                    <a:pt x="814" y="184"/>
                  </a:lnTo>
                  <a:lnTo>
                    <a:pt x="810" y="183"/>
                  </a:lnTo>
                  <a:lnTo>
                    <a:pt x="813" y="187"/>
                  </a:lnTo>
                  <a:lnTo>
                    <a:pt x="816" y="190"/>
                  </a:lnTo>
                  <a:lnTo>
                    <a:pt x="816" y="191"/>
                  </a:lnTo>
                  <a:lnTo>
                    <a:pt x="815" y="195"/>
                  </a:lnTo>
                  <a:lnTo>
                    <a:pt x="814" y="196"/>
                  </a:lnTo>
                  <a:lnTo>
                    <a:pt x="813" y="192"/>
                  </a:lnTo>
                  <a:lnTo>
                    <a:pt x="812" y="193"/>
                  </a:lnTo>
                  <a:lnTo>
                    <a:pt x="810" y="193"/>
                  </a:lnTo>
                  <a:lnTo>
                    <a:pt x="807" y="190"/>
                  </a:lnTo>
                  <a:lnTo>
                    <a:pt x="806" y="184"/>
                  </a:lnTo>
                  <a:lnTo>
                    <a:pt x="806" y="181"/>
                  </a:lnTo>
                  <a:lnTo>
                    <a:pt x="803" y="179"/>
                  </a:lnTo>
                  <a:lnTo>
                    <a:pt x="800" y="179"/>
                  </a:lnTo>
                  <a:lnTo>
                    <a:pt x="798" y="183"/>
                  </a:lnTo>
                  <a:lnTo>
                    <a:pt x="797" y="186"/>
                  </a:lnTo>
                  <a:lnTo>
                    <a:pt x="795" y="189"/>
                  </a:lnTo>
                  <a:lnTo>
                    <a:pt x="789" y="196"/>
                  </a:lnTo>
                  <a:lnTo>
                    <a:pt x="789" y="192"/>
                  </a:lnTo>
                  <a:lnTo>
                    <a:pt x="789" y="189"/>
                  </a:lnTo>
                  <a:lnTo>
                    <a:pt x="786" y="192"/>
                  </a:lnTo>
                  <a:lnTo>
                    <a:pt x="779" y="199"/>
                  </a:lnTo>
                  <a:lnTo>
                    <a:pt x="780" y="195"/>
                  </a:lnTo>
                  <a:lnTo>
                    <a:pt x="782" y="192"/>
                  </a:lnTo>
                  <a:lnTo>
                    <a:pt x="782" y="190"/>
                  </a:lnTo>
                  <a:lnTo>
                    <a:pt x="777" y="190"/>
                  </a:lnTo>
                  <a:lnTo>
                    <a:pt x="774" y="193"/>
                  </a:lnTo>
                  <a:lnTo>
                    <a:pt x="774" y="197"/>
                  </a:lnTo>
                  <a:lnTo>
                    <a:pt x="773" y="199"/>
                  </a:lnTo>
                  <a:lnTo>
                    <a:pt x="771" y="203"/>
                  </a:lnTo>
                  <a:lnTo>
                    <a:pt x="770" y="205"/>
                  </a:lnTo>
                  <a:lnTo>
                    <a:pt x="767" y="208"/>
                  </a:lnTo>
                  <a:lnTo>
                    <a:pt x="768" y="208"/>
                  </a:lnTo>
                  <a:lnTo>
                    <a:pt x="771" y="207"/>
                  </a:lnTo>
                  <a:lnTo>
                    <a:pt x="772" y="208"/>
                  </a:lnTo>
                  <a:lnTo>
                    <a:pt x="774" y="205"/>
                  </a:lnTo>
                  <a:lnTo>
                    <a:pt x="774" y="210"/>
                  </a:lnTo>
                  <a:lnTo>
                    <a:pt x="771" y="215"/>
                  </a:lnTo>
                  <a:lnTo>
                    <a:pt x="770" y="219"/>
                  </a:lnTo>
                  <a:lnTo>
                    <a:pt x="772" y="219"/>
                  </a:lnTo>
                  <a:lnTo>
                    <a:pt x="770" y="221"/>
                  </a:lnTo>
                  <a:lnTo>
                    <a:pt x="770" y="225"/>
                  </a:lnTo>
                  <a:lnTo>
                    <a:pt x="772" y="224"/>
                  </a:lnTo>
                  <a:lnTo>
                    <a:pt x="777" y="224"/>
                  </a:lnTo>
                  <a:lnTo>
                    <a:pt x="779" y="222"/>
                  </a:lnTo>
                  <a:lnTo>
                    <a:pt x="784" y="224"/>
                  </a:lnTo>
                  <a:lnTo>
                    <a:pt x="786" y="225"/>
                  </a:lnTo>
                  <a:lnTo>
                    <a:pt x="785" y="226"/>
                  </a:lnTo>
                  <a:lnTo>
                    <a:pt x="786" y="227"/>
                  </a:lnTo>
                  <a:lnTo>
                    <a:pt x="784" y="228"/>
                  </a:lnTo>
                  <a:lnTo>
                    <a:pt x="784" y="231"/>
                  </a:lnTo>
                  <a:lnTo>
                    <a:pt x="783" y="232"/>
                  </a:lnTo>
                  <a:lnTo>
                    <a:pt x="782" y="237"/>
                  </a:lnTo>
                  <a:lnTo>
                    <a:pt x="779" y="233"/>
                  </a:lnTo>
                  <a:lnTo>
                    <a:pt x="776" y="232"/>
                  </a:lnTo>
                  <a:lnTo>
                    <a:pt x="774" y="231"/>
                  </a:lnTo>
                  <a:lnTo>
                    <a:pt x="773" y="230"/>
                  </a:lnTo>
                  <a:lnTo>
                    <a:pt x="772" y="228"/>
                  </a:lnTo>
                  <a:lnTo>
                    <a:pt x="770" y="230"/>
                  </a:lnTo>
                  <a:lnTo>
                    <a:pt x="767" y="232"/>
                  </a:lnTo>
                  <a:lnTo>
                    <a:pt x="772" y="232"/>
                  </a:lnTo>
                  <a:lnTo>
                    <a:pt x="767" y="233"/>
                  </a:lnTo>
                  <a:lnTo>
                    <a:pt x="767" y="236"/>
                  </a:lnTo>
                  <a:lnTo>
                    <a:pt x="771" y="237"/>
                  </a:lnTo>
                  <a:lnTo>
                    <a:pt x="776" y="237"/>
                  </a:lnTo>
                  <a:lnTo>
                    <a:pt x="779" y="236"/>
                  </a:lnTo>
                  <a:lnTo>
                    <a:pt x="780" y="238"/>
                  </a:lnTo>
                  <a:lnTo>
                    <a:pt x="782" y="238"/>
                  </a:lnTo>
                  <a:lnTo>
                    <a:pt x="780" y="239"/>
                  </a:lnTo>
                  <a:lnTo>
                    <a:pt x="782" y="240"/>
                  </a:lnTo>
                  <a:lnTo>
                    <a:pt x="782" y="243"/>
                  </a:lnTo>
                  <a:lnTo>
                    <a:pt x="780" y="243"/>
                  </a:lnTo>
                  <a:lnTo>
                    <a:pt x="783" y="245"/>
                  </a:lnTo>
                  <a:lnTo>
                    <a:pt x="780" y="248"/>
                  </a:lnTo>
                  <a:lnTo>
                    <a:pt x="778" y="244"/>
                  </a:lnTo>
                  <a:lnTo>
                    <a:pt x="774" y="239"/>
                  </a:lnTo>
                  <a:lnTo>
                    <a:pt x="773" y="240"/>
                  </a:lnTo>
                  <a:lnTo>
                    <a:pt x="774" y="244"/>
                  </a:lnTo>
                  <a:lnTo>
                    <a:pt x="772" y="245"/>
                  </a:lnTo>
                  <a:lnTo>
                    <a:pt x="772" y="248"/>
                  </a:lnTo>
                  <a:lnTo>
                    <a:pt x="772" y="254"/>
                  </a:lnTo>
                  <a:lnTo>
                    <a:pt x="771" y="248"/>
                  </a:lnTo>
                  <a:lnTo>
                    <a:pt x="770" y="250"/>
                  </a:lnTo>
                  <a:lnTo>
                    <a:pt x="768" y="246"/>
                  </a:lnTo>
                  <a:lnTo>
                    <a:pt x="768" y="242"/>
                  </a:lnTo>
                  <a:lnTo>
                    <a:pt x="767" y="242"/>
                  </a:lnTo>
                  <a:lnTo>
                    <a:pt x="763" y="239"/>
                  </a:lnTo>
                  <a:lnTo>
                    <a:pt x="765" y="243"/>
                  </a:lnTo>
                  <a:lnTo>
                    <a:pt x="763" y="251"/>
                  </a:lnTo>
                  <a:lnTo>
                    <a:pt x="761" y="250"/>
                  </a:lnTo>
                  <a:lnTo>
                    <a:pt x="760" y="248"/>
                  </a:lnTo>
                  <a:lnTo>
                    <a:pt x="759" y="243"/>
                  </a:lnTo>
                  <a:lnTo>
                    <a:pt x="759" y="244"/>
                  </a:lnTo>
                  <a:lnTo>
                    <a:pt x="757" y="252"/>
                  </a:lnTo>
                  <a:lnTo>
                    <a:pt x="762" y="256"/>
                  </a:lnTo>
                  <a:lnTo>
                    <a:pt x="762" y="261"/>
                  </a:lnTo>
                  <a:lnTo>
                    <a:pt x="761" y="263"/>
                  </a:lnTo>
                  <a:lnTo>
                    <a:pt x="761" y="264"/>
                  </a:lnTo>
                  <a:lnTo>
                    <a:pt x="759" y="264"/>
                  </a:lnTo>
                  <a:lnTo>
                    <a:pt x="759" y="267"/>
                  </a:lnTo>
                  <a:lnTo>
                    <a:pt x="757" y="268"/>
                  </a:lnTo>
                  <a:lnTo>
                    <a:pt x="757" y="273"/>
                  </a:lnTo>
                  <a:lnTo>
                    <a:pt x="755" y="270"/>
                  </a:lnTo>
                  <a:lnTo>
                    <a:pt x="754" y="268"/>
                  </a:lnTo>
                  <a:lnTo>
                    <a:pt x="754" y="267"/>
                  </a:lnTo>
                  <a:lnTo>
                    <a:pt x="753" y="264"/>
                  </a:lnTo>
                  <a:lnTo>
                    <a:pt x="751" y="262"/>
                  </a:lnTo>
                  <a:lnTo>
                    <a:pt x="750" y="262"/>
                  </a:lnTo>
                  <a:lnTo>
                    <a:pt x="750" y="258"/>
                  </a:lnTo>
                  <a:lnTo>
                    <a:pt x="753" y="255"/>
                  </a:lnTo>
                  <a:lnTo>
                    <a:pt x="756" y="252"/>
                  </a:lnTo>
                  <a:lnTo>
                    <a:pt x="757" y="248"/>
                  </a:lnTo>
                  <a:lnTo>
                    <a:pt x="755" y="250"/>
                  </a:lnTo>
                  <a:lnTo>
                    <a:pt x="753" y="251"/>
                  </a:lnTo>
                  <a:lnTo>
                    <a:pt x="754" y="246"/>
                  </a:lnTo>
                  <a:lnTo>
                    <a:pt x="750" y="249"/>
                  </a:lnTo>
                  <a:lnTo>
                    <a:pt x="748" y="250"/>
                  </a:lnTo>
                  <a:lnTo>
                    <a:pt x="745" y="252"/>
                  </a:lnTo>
                  <a:lnTo>
                    <a:pt x="745" y="249"/>
                  </a:lnTo>
                  <a:lnTo>
                    <a:pt x="744" y="250"/>
                  </a:lnTo>
                  <a:lnTo>
                    <a:pt x="739" y="249"/>
                  </a:lnTo>
                  <a:lnTo>
                    <a:pt x="737" y="249"/>
                  </a:lnTo>
                  <a:lnTo>
                    <a:pt x="741" y="251"/>
                  </a:lnTo>
                  <a:lnTo>
                    <a:pt x="738" y="255"/>
                  </a:lnTo>
                  <a:lnTo>
                    <a:pt x="736" y="256"/>
                  </a:lnTo>
                  <a:lnTo>
                    <a:pt x="733" y="258"/>
                  </a:lnTo>
                  <a:lnTo>
                    <a:pt x="733" y="263"/>
                  </a:lnTo>
                  <a:lnTo>
                    <a:pt x="736" y="263"/>
                  </a:lnTo>
                  <a:lnTo>
                    <a:pt x="738" y="266"/>
                  </a:lnTo>
                  <a:lnTo>
                    <a:pt x="737" y="269"/>
                  </a:lnTo>
                  <a:lnTo>
                    <a:pt x="738" y="268"/>
                  </a:lnTo>
                  <a:lnTo>
                    <a:pt x="739" y="272"/>
                  </a:lnTo>
                  <a:lnTo>
                    <a:pt x="741" y="274"/>
                  </a:lnTo>
                  <a:lnTo>
                    <a:pt x="744" y="276"/>
                  </a:lnTo>
                  <a:lnTo>
                    <a:pt x="748" y="275"/>
                  </a:lnTo>
                  <a:lnTo>
                    <a:pt x="744" y="273"/>
                  </a:lnTo>
                  <a:lnTo>
                    <a:pt x="742" y="270"/>
                  </a:lnTo>
                  <a:lnTo>
                    <a:pt x="748" y="269"/>
                  </a:lnTo>
                  <a:lnTo>
                    <a:pt x="751" y="270"/>
                  </a:lnTo>
                  <a:lnTo>
                    <a:pt x="751" y="274"/>
                  </a:lnTo>
                  <a:lnTo>
                    <a:pt x="754" y="274"/>
                  </a:lnTo>
                  <a:lnTo>
                    <a:pt x="756" y="275"/>
                  </a:lnTo>
                  <a:lnTo>
                    <a:pt x="760" y="274"/>
                  </a:lnTo>
                  <a:lnTo>
                    <a:pt x="763" y="272"/>
                  </a:lnTo>
                  <a:lnTo>
                    <a:pt x="767" y="270"/>
                  </a:lnTo>
                  <a:lnTo>
                    <a:pt x="770" y="269"/>
                  </a:lnTo>
                  <a:lnTo>
                    <a:pt x="770" y="272"/>
                  </a:lnTo>
                  <a:lnTo>
                    <a:pt x="770" y="275"/>
                  </a:lnTo>
                  <a:lnTo>
                    <a:pt x="772" y="275"/>
                  </a:lnTo>
                  <a:lnTo>
                    <a:pt x="772" y="274"/>
                  </a:lnTo>
                  <a:lnTo>
                    <a:pt x="771" y="273"/>
                  </a:lnTo>
                  <a:lnTo>
                    <a:pt x="772" y="272"/>
                  </a:lnTo>
                  <a:lnTo>
                    <a:pt x="776" y="272"/>
                  </a:lnTo>
                  <a:lnTo>
                    <a:pt x="778" y="270"/>
                  </a:lnTo>
                  <a:lnTo>
                    <a:pt x="780" y="272"/>
                  </a:lnTo>
                  <a:lnTo>
                    <a:pt x="779" y="273"/>
                  </a:lnTo>
                  <a:lnTo>
                    <a:pt x="782" y="272"/>
                  </a:lnTo>
                  <a:lnTo>
                    <a:pt x="778" y="266"/>
                  </a:lnTo>
                  <a:lnTo>
                    <a:pt x="773" y="266"/>
                  </a:lnTo>
                  <a:lnTo>
                    <a:pt x="770" y="268"/>
                  </a:lnTo>
                  <a:lnTo>
                    <a:pt x="770" y="266"/>
                  </a:lnTo>
                  <a:lnTo>
                    <a:pt x="767" y="264"/>
                  </a:lnTo>
                  <a:lnTo>
                    <a:pt x="766" y="262"/>
                  </a:lnTo>
                  <a:lnTo>
                    <a:pt x="772" y="261"/>
                  </a:lnTo>
                  <a:lnTo>
                    <a:pt x="778" y="262"/>
                  </a:lnTo>
                  <a:lnTo>
                    <a:pt x="782" y="262"/>
                  </a:lnTo>
                  <a:lnTo>
                    <a:pt x="780" y="262"/>
                  </a:lnTo>
                  <a:lnTo>
                    <a:pt x="779" y="264"/>
                  </a:lnTo>
                  <a:lnTo>
                    <a:pt x="782" y="269"/>
                  </a:lnTo>
                  <a:lnTo>
                    <a:pt x="784" y="269"/>
                  </a:lnTo>
                  <a:lnTo>
                    <a:pt x="786" y="269"/>
                  </a:lnTo>
                  <a:lnTo>
                    <a:pt x="786" y="267"/>
                  </a:lnTo>
                  <a:lnTo>
                    <a:pt x="788" y="266"/>
                  </a:lnTo>
                  <a:lnTo>
                    <a:pt x="790" y="264"/>
                  </a:lnTo>
                  <a:lnTo>
                    <a:pt x="790" y="263"/>
                  </a:lnTo>
                  <a:lnTo>
                    <a:pt x="791" y="263"/>
                  </a:lnTo>
                  <a:lnTo>
                    <a:pt x="792" y="266"/>
                  </a:lnTo>
                  <a:lnTo>
                    <a:pt x="795" y="267"/>
                  </a:lnTo>
                  <a:lnTo>
                    <a:pt x="794" y="270"/>
                  </a:lnTo>
                  <a:lnTo>
                    <a:pt x="791" y="273"/>
                  </a:lnTo>
                  <a:lnTo>
                    <a:pt x="794" y="273"/>
                  </a:lnTo>
                  <a:lnTo>
                    <a:pt x="796" y="272"/>
                  </a:lnTo>
                  <a:lnTo>
                    <a:pt x="800" y="269"/>
                  </a:lnTo>
                  <a:lnTo>
                    <a:pt x="803" y="267"/>
                  </a:lnTo>
                  <a:lnTo>
                    <a:pt x="807" y="266"/>
                  </a:lnTo>
                  <a:lnTo>
                    <a:pt x="801" y="274"/>
                  </a:lnTo>
                  <a:lnTo>
                    <a:pt x="797" y="278"/>
                  </a:lnTo>
                  <a:lnTo>
                    <a:pt x="796" y="287"/>
                  </a:lnTo>
                  <a:lnTo>
                    <a:pt x="797" y="288"/>
                  </a:lnTo>
                  <a:lnTo>
                    <a:pt x="798" y="282"/>
                  </a:lnTo>
                  <a:lnTo>
                    <a:pt x="802" y="280"/>
                  </a:lnTo>
                  <a:lnTo>
                    <a:pt x="803" y="278"/>
                  </a:lnTo>
                  <a:lnTo>
                    <a:pt x="804" y="274"/>
                  </a:lnTo>
                  <a:lnTo>
                    <a:pt x="807" y="276"/>
                  </a:lnTo>
                  <a:lnTo>
                    <a:pt x="809" y="278"/>
                  </a:lnTo>
                  <a:lnTo>
                    <a:pt x="809" y="279"/>
                  </a:lnTo>
                  <a:lnTo>
                    <a:pt x="810" y="280"/>
                  </a:lnTo>
                  <a:lnTo>
                    <a:pt x="810" y="281"/>
                  </a:lnTo>
                  <a:lnTo>
                    <a:pt x="810" y="284"/>
                  </a:lnTo>
                  <a:lnTo>
                    <a:pt x="808" y="287"/>
                  </a:lnTo>
                  <a:lnTo>
                    <a:pt x="808" y="290"/>
                  </a:lnTo>
                  <a:lnTo>
                    <a:pt x="810" y="287"/>
                  </a:lnTo>
                  <a:lnTo>
                    <a:pt x="814" y="287"/>
                  </a:lnTo>
                  <a:lnTo>
                    <a:pt x="819" y="287"/>
                  </a:lnTo>
                  <a:lnTo>
                    <a:pt x="821" y="287"/>
                  </a:lnTo>
                  <a:lnTo>
                    <a:pt x="825" y="286"/>
                  </a:lnTo>
                  <a:lnTo>
                    <a:pt x="825" y="288"/>
                  </a:lnTo>
                  <a:lnTo>
                    <a:pt x="827" y="288"/>
                  </a:lnTo>
                  <a:lnTo>
                    <a:pt x="824" y="292"/>
                  </a:lnTo>
                  <a:lnTo>
                    <a:pt x="819" y="293"/>
                  </a:lnTo>
                  <a:lnTo>
                    <a:pt x="814" y="293"/>
                  </a:lnTo>
                  <a:lnTo>
                    <a:pt x="809" y="293"/>
                  </a:lnTo>
                  <a:lnTo>
                    <a:pt x="809" y="297"/>
                  </a:lnTo>
                  <a:lnTo>
                    <a:pt x="812" y="296"/>
                  </a:lnTo>
                  <a:lnTo>
                    <a:pt x="815" y="294"/>
                  </a:lnTo>
                  <a:lnTo>
                    <a:pt x="816" y="296"/>
                  </a:lnTo>
                  <a:lnTo>
                    <a:pt x="819" y="296"/>
                  </a:lnTo>
                  <a:lnTo>
                    <a:pt x="822" y="294"/>
                  </a:lnTo>
                  <a:lnTo>
                    <a:pt x="825" y="297"/>
                  </a:lnTo>
                  <a:lnTo>
                    <a:pt x="826" y="297"/>
                  </a:lnTo>
                  <a:lnTo>
                    <a:pt x="829" y="298"/>
                  </a:lnTo>
                  <a:lnTo>
                    <a:pt x="829" y="296"/>
                  </a:lnTo>
                  <a:lnTo>
                    <a:pt x="829" y="290"/>
                  </a:lnTo>
                  <a:lnTo>
                    <a:pt x="832" y="287"/>
                  </a:lnTo>
                  <a:lnTo>
                    <a:pt x="833" y="284"/>
                  </a:lnTo>
                  <a:lnTo>
                    <a:pt x="831" y="284"/>
                  </a:lnTo>
                  <a:lnTo>
                    <a:pt x="829" y="282"/>
                  </a:lnTo>
                  <a:lnTo>
                    <a:pt x="831" y="281"/>
                  </a:lnTo>
                  <a:lnTo>
                    <a:pt x="832" y="275"/>
                  </a:lnTo>
                  <a:lnTo>
                    <a:pt x="836" y="276"/>
                  </a:lnTo>
                  <a:lnTo>
                    <a:pt x="839" y="273"/>
                  </a:lnTo>
                  <a:lnTo>
                    <a:pt x="839" y="275"/>
                  </a:lnTo>
                  <a:lnTo>
                    <a:pt x="839" y="279"/>
                  </a:lnTo>
                  <a:lnTo>
                    <a:pt x="839" y="280"/>
                  </a:lnTo>
                  <a:lnTo>
                    <a:pt x="841" y="284"/>
                  </a:lnTo>
                  <a:lnTo>
                    <a:pt x="842" y="287"/>
                  </a:lnTo>
                  <a:lnTo>
                    <a:pt x="844" y="290"/>
                  </a:lnTo>
                  <a:lnTo>
                    <a:pt x="845" y="291"/>
                  </a:lnTo>
                  <a:lnTo>
                    <a:pt x="845" y="292"/>
                  </a:lnTo>
                  <a:lnTo>
                    <a:pt x="848" y="293"/>
                  </a:lnTo>
                  <a:lnTo>
                    <a:pt x="851" y="296"/>
                  </a:lnTo>
                  <a:lnTo>
                    <a:pt x="853" y="296"/>
                  </a:lnTo>
                  <a:lnTo>
                    <a:pt x="853" y="293"/>
                  </a:lnTo>
                  <a:lnTo>
                    <a:pt x="855" y="292"/>
                  </a:lnTo>
                  <a:lnTo>
                    <a:pt x="860" y="292"/>
                  </a:lnTo>
                  <a:lnTo>
                    <a:pt x="856" y="296"/>
                  </a:lnTo>
                  <a:lnTo>
                    <a:pt x="855" y="297"/>
                  </a:lnTo>
                  <a:lnTo>
                    <a:pt x="857" y="297"/>
                  </a:lnTo>
                  <a:lnTo>
                    <a:pt x="860" y="298"/>
                  </a:lnTo>
                  <a:lnTo>
                    <a:pt x="862" y="299"/>
                  </a:lnTo>
                  <a:lnTo>
                    <a:pt x="861" y="303"/>
                  </a:lnTo>
                  <a:lnTo>
                    <a:pt x="859" y="306"/>
                  </a:lnTo>
                  <a:lnTo>
                    <a:pt x="859" y="309"/>
                  </a:lnTo>
                  <a:lnTo>
                    <a:pt x="854" y="305"/>
                  </a:lnTo>
                  <a:lnTo>
                    <a:pt x="850" y="308"/>
                  </a:lnTo>
                  <a:lnTo>
                    <a:pt x="849" y="311"/>
                  </a:lnTo>
                  <a:lnTo>
                    <a:pt x="851" y="311"/>
                  </a:lnTo>
                  <a:lnTo>
                    <a:pt x="850" y="314"/>
                  </a:lnTo>
                  <a:lnTo>
                    <a:pt x="848" y="319"/>
                  </a:lnTo>
                  <a:lnTo>
                    <a:pt x="845" y="321"/>
                  </a:lnTo>
                  <a:lnTo>
                    <a:pt x="844" y="320"/>
                  </a:lnTo>
                  <a:lnTo>
                    <a:pt x="844" y="325"/>
                  </a:lnTo>
                  <a:lnTo>
                    <a:pt x="847" y="328"/>
                  </a:lnTo>
                  <a:lnTo>
                    <a:pt x="850" y="327"/>
                  </a:lnTo>
                  <a:lnTo>
                    <a:pt x="855" y="325"/>
                  </a:lnTo>
                  <a:lnTo>
                    <a:pt x="859" y="323"/>
                  </a:lnTo>
                  <a:lnTo>
                    <a:pt x="863" y="322"/>
                  </a:lnTo>
                  <a:lnTo>
                    <a:pt x="857" y="326"/>
                  </a:lnTo>
                  <a:lnTo>
                    <a:pt x="854" y="329"/>
                  </a:lnTo>
                  <a:lnTo>
                    <a:pt x="855" y="331"/>
                  </a:lnTo>
                  <a:lnTo>
                    <a:pt x="855" y="332"/>
                  </a:lnTo>
                  <a:lnTo>
                    <a:pt x="857" y="333"/>
                  </a:lnTo>
                  <a:lnTo>
                    <a:pt x="862" y="332"/>
                  </a:lnTo>
                  <a:lnTo>
                    <a:pt x="868" y="333"/>
                  </a:lnTo>
                  <a:lnTo>
                    <a:pt x="869" y="331"/>
                  </a:lnTo>
                  <a:lnTo>
                    <a:pt x="872" y="327"/>
                  </a:lnTo>
                  <a:lnTo>
                    <a:pt x="874" y="325"/>
                  </a:lnTo>
                  <a:lnTo>
                    <a:pt x="878" y="321"/>
                  </a:lnTo>
                  <a:lnTo>
                    <a:pt x="883" y="321"/>
                  </a:lnTo>
                  <a:lnTo>
                    <a:pt x="881" y="321"/>
                  </a:lnTo>
                  <a:lnTo>
                    <a:pt x="883" y="322"/>
                  </a:lnTo>
                  <a:lnTo>
                    <a:pt x="886" y="322"/>
                  </a:lnTo>
                  <a:lnTo>
                    <a:pt x="886" y="323"/>
                  </a:lnTo>
                  <a:lnTo>
                    <a:pt x="884" y="325"/>
                  </a:lnTo>
                  <a:lnTo>
                    <a:pt x="879" y="326"/>
                  </a:lnTo>
                  <a:lnTo>
                    <a:pt x="878" y="328"/>
                  </a:lnTo>
                  <a:lnTo>
                    <a:pt x="878" y="331"/>
                  </a:lnTo>
                  <a:lnTo>
                    <a:pt x="879" y="333"/>
                  </a:lnTo>
                  <a:lnTo>
                    <a:pt x="881" y="334"/>
                  </a:lnTo>
                  <a:lnTo>
                    <a:pt x="884" y="338"/>
                  </a:lnTo>
                  <a:lnTo>
                    <a:pt x="883" y="340"/>
                  </a:lnTo>
                  <a:lnTo>
                    <a:pt x="885" y="343"/>
                  </a:lnTo>
                  <a:lnTo>
                    <a:pt x="885" y="346"/>
                  </a:lnTo>
                  <a:lnTo>
                    <a:pt x="884" y="347"/>
                  </a:lnTo>
                  <a:lnTo>
                    <a:pt x="883" y="352"/>
                  </a:lnTo>
                  <a:lnTo>
                    <a:pt x="883" y="356"/>
                  </a:lnTo>
                  <a:lnTo>
                    <a:pt x="885" y="357"/>
                  </a:lnTo>
                  <a:lnTo>
                    <a:pt x="886" y="356"/>
                  </a:lnTo>
                  <a:lnTo>
                    <a:pt x="889" y="352"/>
                  </a:lnTo>
                  <a:lnTo>
                    <a:pt x="892" y="350"/>
                  </a:lnTo>
                  <a:lnTo>
                    <a:pt x="889" y="350"/>
                  </a:lnTo>
                  <a:lnTo>
                    <a:pt x="888" y="350"/>
                  </a:lnTo>
                  <a:lnTo>
                    <a:pt x="888" y="349"/>
                  </a:lnTo>
                  <a:lnTo>
                    <a:pt x="889" y="347"/>
                  </a:lnTo>
                  <a:lnTo>
                    <a:pt x="894" y="345"/>
                  </a:lnTo>
                  <a:lnTo>
                    <a:pt x="897" y="345"/>
                  </a:lnTo>
                  <a:lnTo>
                    <a:pt x="898" y="341"/>
                  </a:lnTo>
                  <a:lnTo>
                    <a:pt x="898" y="337"/>
                  </a:lnTo>
                  <a:lnTo>
                    <a:pt x="903" y="333"/>
                  </a:lnTo>
                  <a:lnTo>
                    <a:pt x="901" y="340"/>
                  </a:lnTo>
                  <a:lnTo>
                    <a:pt x="902" y="343"/>
                  </a:lnTo>
                  <a:lnTo>
                    <a:pt x="904" y="341"/>
                  </a:lnTo>
                  <a:lnTo>
                    <a:pt x="902" y="345"/>
                  </a:lnTo>
                  <a:lnTo>
                    <a:pt x="901" y="350"/>
                  </a:lnTo>
                  <a:lnTo>
                    <a:pt x="902" y="352"/>
                  </a:lnTo>
                  <a:lnTo>
                    <a:pt x="902" y="353"/>
                  </a:lnTo>
                  <a:lnTo>
                    <a:pt x="902" y="356"/>
                  </a:lnTo>
                  <a:lnTo>
                    <a:pt x="904" y="362"/>
                  </a:lnTo>
                  <a:lnTo>
                    <a:pt x="901" y="365"/>
                  </a:lnTo>
                  <a:lnTo>
                    <a:pt x="897" y="365"/>
                  </a:lnTo>
                  <a:lnTo>
                    <a:pt x="891" y="364"/>
                  </a:lnTo>
                  <a:lnTo>
                    <a:pt x="886" y="364"/>
                  </a:lnTo>
                  <a:lnTo>
                    <a:pt x="879" y="367"/>
                  </a:lnTo>
                  <a:lnTo>
                    <a:pt x="877" y="370"/>
                  </a:lnTo>
                  <a:lnTo>
                    <a:pt x="880" y="369"/>
                  </a:lnTo>
                  <a:lnTo>
                    <a:pt x="886" y="370"/>
                  </a:lnTo>
                  <a:lnTo>
                    <a:pt x="886" y="374"/>
                  </a:lnTo>
                  <a:lnTo>
                    <a:pt x="889" y="374"/>
                  </a:lnTo>
                  <a:lnTo>
                    <a:pt x="891" y="375"/>
                  </a:lnTo>
                  <a:lnTo>
                    <a:pt x="895" y="376"/>
                  </a:lnTo>
                  <a:lnTo>
                    <a:pt x="898" y="377"/>
                  </a:lnTo>
                  <a:lnTo>
                    <a:pt x="902" y="377"/>
                  </a:lnTo>
                  <a:lnTo>
                    <a:pt x="904" y="376"/>
                  </a:lnTo>
                  <a:lnTo>
                    <a:pt x="906" y="379"/>
                  </a:lnTo>
                  <a:lnTo>
                    <a:pt x="906" y="381"/>
                  </a:lnTo>
                  <a:lnTo>
                    <a:pt x="904" y="382"/>
                  </a:lnTo>
                  <a:lnTo>
                    <a:pt x="901" y="383"/>
                  </a:lnTo>
                  <a:lnTo>
                    <a:pt x="906" y="387"/>
                  </a:lnTo>
                  <a:lnTo>
                    <a:pt x="902" y="387"/>
                  </a:lnTo>
                  <a:lnTo>
                    <a:pt x="902" y="388"/>
                  </a:lnTo>
                  <a:lnTo>
                    <a:pt x="901" y="392"/>
                  </a:lnTo>
                  <a:lnTo>
                    <a:pt x="900" y="393"/>
                  </a:lnTo>
                  <a:lnTo>
                    <a:pt x="897" y="392"/>
                  </a:lnTo>
                  <a:lnTo>
                    <a:pt x="898" y="397"/>
                  </a:lnTo>
                  <a:lnTo>
                    <a:pt x="896" y="395"/>
                  </a:lnTo>
                  <a:lnTo>
                    <a:pt x="894" y="399"/>
                  </a:lnTo>
                  <a:lnTo>
                    <a:pt x="891" y="398"/>
                  </a:lnTo>
                  <a:lnTo>
                    <a:pt x="891" y="399"/>
                  </a:lnTo>
                  <a:lnTo>
                    <a:pt x="889" y="401"/>
                  </a:lnTo>
                  <a:lnTo>
                    <a:pt x="888" y="401"/>
                  </a:lnTo>
                  <a:lnTo>
                    <a:pt x="884" y="399"/>
                  </a:lnTo>
                  <a:lnTo>
                    <a:pt x="883" y="400"/>
                  </a:lnTo>
                  <a:lnTo>
                    <a:pt x="881" y="397"/>
                  </a:lnTo>
                  <a:lnTo>
                    <a:pt x="880" y="399"/>
                  </a:lnTo>
                  <a:lnTo>
                    <a:pt x="881" y="401"/>
                  </a:lnTo>
                  <a:lnTo>
                    <a:pt x="885" y="401"/>
                  </a:lnTo>
                  <a:lnTo>
                    <a:pt x="889" y="405"/>
                  </a:lnTo>
                  <a:lnTo>
                    <a:pt x="891" y="412"/>
                  </a:lnTo>
                  <a:lnTo>
                    <a:pt x="890" y="415"/>
                  </a:lnTo>
                  <a:lnTo>
                    <a:pt x="888" y="410"/>
                  </a:lnTo>
                  <a:lnTo>
                    <a:pt x="885" y="406"/>
                  </a:lnTo>
                  <a:lnTo>
                    <a:pt x="883" y="409"/>
                  </a:lnTo>
                  <a:lnTo>
                    <a:pt x="881" y="410"/>
                  </a:lnTo>
                  <a:lnTo>
                    <a:pt x="880" y="407"/>
                  </a:lnTo>
                  <a:lnTo>
                    <a:pt x="879" y="407"/>
                  </a:lnTo>
                  <a:lnTo>
                    <a:pt x="879" y="405"/>
                  </a:lnTo>
                  <a:lnTo>
                    <a:pt x="879" y="403"/>
                  </a:lnTo>
                  <a:lnTo>
                    <a:pt x="875" y="405"/>
                  </a:lnTo>
                  <a:lnTo>
                    <a:pt x="873" y="407"/>
                  </a:lnTo>
                  <a:lnTo>
                    <a:pt x="872" y="406"/>
                  </a:lnTo>
                  <a:lnTo>
                    <a:pt x="869" y="409"/>
                  </a:lnTo>
                  <a:lnTo>
                    <a:pt x="868" y="411"/>
                  </a:lnTo>
                  <a:lnTo>
                    <a:pt x="866" y="405"/>
                  </a:lnTo>
                  <a:lnTo>
                    <a:pt x="866" y="400"/>
                  </a:lnTo>
                  <a:lnTo>
                    <a:pt x="863" y="401"/>
                  </a:lnTo>
                  <a:lnTo>
                    <a:pt x="862" y="399"/>
                  </a:lnTo>
                  <a:lnTo>
                    <a:pt x="863" y="393"/>
                  </a:lnTo>
                  <a:lnTo>
                    <a:pt x="863" y="389"/>
                  </a:lnTo>
                  <a:lnTo>
                    <a:pt x="860" y="391"/>
                  </a:lnTo>
                  <a:lnTo>
                    <a:pt x="854" y="395"/>
                  </a:lnTo>
                  <a:lnTo>
                    <a:pt x="847" y="400"/>
                  </a:lnTo>
                  <a:lnTo>
                    <a:pt x="847" y="403"/>
                  </a:lnTo>
                  <a:lnTo>
                    <a:pt x="848" y="403"/>
                  </a:lnTo>
                  <a:lnTo>
                    <a:pt x="848" y="405"/>
                  </a:lnTo>
                  <a:lnTo>
                    <a:pt x="847" y="407"/>
                  </a:lnTo>
                  <a:lnTo>
                    <a:pt x="851" y="413"/>
                  </a:lnTo>
                  <a:lnTo>
                    <a:pt x="854" y="415"/>
                  </a:lnTo>
                  <a:lnTo>
                    <a:pt x="862" y="423"/>
                  </a:lnTo>
                  <a:lnTo>
                    <a:pt x="865" y="421"/>
                  </a:lnTo>
                  <a:lnTo>
                    <a:pt x="866" y="418"/>
                  </a:lnTo>
                  <a:lnTo>
                    <a:pt x="867" y="415"/>
                  </a:lnTo>
                  <a:lnTo>
                    <a:pt x="869" y="415"/>
                  </a:lnTo>
                  <a:lnTo>
                    <a:pt x="871" y="416"/>
                  </a:lnTo>
                  <a:lnTo>
                    <a:pt x="871" y="419"/>
                  </a:lnTo>
                  <a:lnTo>
                    <a:pt x="877" y="422"/>
                  </a:lnTo>
                  <a:lnTo>
                    <a:pt x="875" y="428"/>
                  </a:lnTo>
                  <a:lnTo>
                    <a:pt x="877" y="433"/>
                  </a:lnTo>
                  <a:lnTo>
                    <a:pt x="886" y="433"/>
                  </a:lnTo>
                  <a:lnTo>
                    <a:pt x="886" y="429"/>
                  </a:lnTo>
                  <a:lnTo>
                    <a:pt x="884" y="429"/>
                  </a:lnTo>
                  <a:lnTo>
                    <a:pt x="888" y="424"/>
                  </a:lnTo>
                  <a:lnTo>
                    <a:pt x="894" y="423"/>
                  </a:lnTo>
                  <a:lnTo>
                    <a:pt x="896" y="419"/>
                  </a:lnTo>
                  <a:lnTo>
                    <a:pt x="898" y="421"/>
                  </a:lnTo>
                  <a:lnTo>
                    <a:pt x="897" y="425"/>
                  </a:lnTo>
                  <a:lnTo>
                    <a:pt x="892" y="429"/>
                  </a:lnTo>
                  <a:lnTo>
                    <a:pt x="889" y="433"/>
                  </a:lnTo>
                  <a:lnTo>
                    <a:pt x="888" y="434"/>
                  </a:lnTo>
                  <a:lnTo>
                    <a:pt x="878" y="435"/>
                  </a:lnTo>
                  <a:lnTo>
                    <a:pt x="877" y="438"/>
                  </a:lnTo>
                  <a:lnTo>
                    <a:pt x="874" y="438"/>
                  </a:lnTo>
                  <a:lnTo>
                    <a:pt x="874" y="441"/>
                  </a:lnTo>
                  <a:lnTo>
                    <a:pt x="878" y="441"/>
                  </a:lnTo>
                  <a:lnTo>
                    <a:pt x="875" y="447"/>
                  </a:lnTo>
                  <a:lnTo>
                    <a:pt x="874" y="448"/>
                  </a:lnTo>
                  <a:lnTo>
                    <a:pt x="872" y="445"/>
                  </a:lnTo>
                  <a:lnTo>
                    <a:pt x="871" y="440"/>
                  </a:lnTo>
                  <a:lnTo>
                    <a:pt x="871" y="436"/>
                  </a:lnTo>
                  <a:lnTo>
                    <a:pt x="868" y="439"/>
                  </a:lnTo>
                  <a:lnTo>
                    <a:pt x="868" y="442"/>
                  </a:lnTo>
                  <a:lnTo>
                    <a:pt x="863" y="445"/>
                  </a:lnTo>
                  <a:lnTo>
                    <a:pt x="862" y="442"/>
                  </a:lnTo>
                  <a:lnTo>
                    <a:pt x="861" y="436"/>
                  </a:lnTo>
                  <a:lnTo>
                    <a:pt x="859" y="440"/>
                  </a:lnTo>
                  <a:lnTo>
                    <a:pt x="856" y="445"/>
                  </a:lnTo>
                  <a:lnTo>
                    <a:pt x="854" y="447"/>
                  </a:lnTo>
                  <a:lnTo>
                    <a:pt x="853" y="444"/>
                  </a:lnTo>
                  <a:lnTo>
                    <a:pt x="851" y="440"/>
                  </a:lnTo>
                  <a:lnTo>
                    <a:pt x="853" y="435"/>
                  </a:lnTo>
                  <a:lnTo>
                    <a:pt x="850" y="434"/>
                  </a:lnTo>
                  <a:lnTo>
                    <a:pt x="848" y="435"/>
                  </a:lnTo>
                  <a:lnTo>
                    <a:pt x="843" y="436"/>
                  </a:lnTo>
                  <a:lnTo>
                    <a:pt x="844" y="433"/>
                  </a:lnTo>
                  <a:lnTo>
                    <a:pt x="845" y="428"/>
                  </a:lnTo>
                  <a:lnTo>
                    <a:pt x="842" y="428"/>
                  </a:lnTo>
                  <a:lnTo>
                    <a:pt x="843" y="424"/>
                  </a:lnTo>
                  <a:lnTo>
                    <a:pt x="843" y="422"/>
                  </a:lnTo>
                  <a:lnTo>
                    <a:pt x="842" y="419"/>
                  </a:lnTo>
                  <a:lnTo>
                    <a:pt x="841" y="419"/>
                  </a:lnTo>
                  <a:lnTo>
                    <a:pt x="838" y="423"/>
                  </a:lnTo>
                  <a:lnTo>
                    <a:pt x="837" y="422"/>
                  </a:lnTo>
                  <a:lnTo>
                    <a:pt x="838" y="417"/>
                  </a:lnTo>
                  <a:lnTo>
                    <a:pt x="835" y="418"/>
                  </a:lnTo>
                  <a:lnTo>
                    <a:pt x="833" y="422"/>
                  </a:lnTo>
                  <a:lnTo>
                    <a:pt x="833" y="424"/>
                  </a:lnTo>
                  <a:lnTo>
                    <a:pt x="835" y="428"/>
                  </a:lnTo>
                  <a:lnTo>
                    <a:pt x="835" y="432"/>
                  </a:lnTo>
                  <a:lnTo>
                    <a:pt x="833" y="433"/>
                  </a:lnTo>
                  <a:lnTo>
                    <a:pt x="836" y="435"/>
                  </a:lnTo>
                  <a:lnTo>
                    <a:pt x="836" y="441"/>
                  </a:lnTo>
                  <a:lnTo>
                    <a:pt x="835" y="442"/>
                  </a:lnTo>
                  <a:lnTo>
                    <a:pt x="835" y="444"/>
                  </a:lnTo>
                  <a:lnTo>
                    <a:pt x="838" y="446"/>
                  </a:lnTo>
                  <a:lnTo>
                    <a:pt x="837" y="446"/>
                  </a:lnTo>
                  <a:lnTo>
                    <a:pt x="836" y="447"/>
                  </a:lnTo>
                  <a:lnTo>
                    <a:pt x="842" y="451"/>
                  </a:lnTo>
                  <a:lnTo>
                    <a:pt x="842" y="452"/>
                  </a:lnTo>
                  <a:lnTo>
                    <a:pt x="843" y="452"/>
                  </a:lnTo>
                  <a:lnTo>
                    <a:pt x="845" y="447"/>
                  </a:lnTo>
                  <a:lnTo>
                    <a:pt x="849" y="446"/>
                  </a:lnTo>
                  <a:lnTo>
                    <a:pt x="851" y="451"/>
                  </a:lnTo>
                  <a:lnTo>
                    <a:pt x="855" y="452"/>
                  </a:lnTo>
                  <a:lnTo>
                    <a:pt x="851" y="454"/>
                  </a:lnTo>
                  <a:lnTo>
                    <a:pt x="856" y="456"/>
                  </a:lnTo>
                  <a:lnTo>
                    <a:pt x="855" y="458"/>
                  </a:lnTo>
                  <a:lnTo>
                    <a:pt x="851" y="459"/>
                  </a:lnTo>
                  <a:lnTo>
                    <a:pt x="844" y="456"/>
                  </a:lnTo>
                  <a:lnTo>
                    <a:pt x="841" y="457"/>
                  </a:lnTo>
                  <a:lnTo>
                    <a:pt x="839" y="456"/>
                  </a:lnTo>
                  <a:lnTo>
                    <a:pt x="835" y="454"/>
                  </a:lnTo>
                  <a:lnTo>
                    <a:pt x="830" y="457"/>
                  </a:lnTo>
                  <a:lnTo>
                    <a:pt x="825" y="462"/>
                  </a:lnTo>
                  <a:lnTo>
                    <a:pt x="824" y="457"/>
                  </a:lnTo>
                  <a:lnTo>
                    <a:pt x="820" y="462"/>
                  </a:lnTo>
                  <a:lnTo>
                    <a:pt x="820" y="456"/>
                  </a:lnTo>
                  <a:lnTo>
                    <a:pt x="814" y="453"/>
                  </a:lnTo>
                  <a:lnTo>
                    <a:pt x="814" y="457"/>
                  </a:lnTo>
                  <a:lnTo>
                    <a:pt x="815" y="459"/>
                  </a:lnTo>
                  <a:lnTo>
                    <a:pt x="813" y="459"/>
                  </a:lnTo>
                  <a:lnTo>
                    <a:pt x="812" y="460"/>
                  </a:lnTo>
                  <a:lnTo>
                    <a:pt x="812" y="463"/>
                  </a:lnTo>
                  <a:lnTo>
                    <a:pt x="814" y="465"/>
                  </a:lnTo>
                  <a:lnTo>
                    <a:pt x="812" y="466"/>
                  </a:lnTo>
                  <a:lnTo>
                    <a:pt x="810" y="469"/>
                  </a:lnTo>
                  <a:lnTo>
                    <a:pt x="809" y="465"/>
                  </a:lnTo>
                  <a:lnTo>
                    <a:pt x="808" y="460"/>
                  </a:lnTo>
                  <a:lnTo>
                    <a:pt x="807" y="463"/>
                  </a:lnTo>
                  <a:lnTo>
                    <a:pt x="807" y="459"/>
                  </a:lnTo>
                  <a:lnTo>
                    <a:pt x="804" y="460"/>
                  </a:lnTo>
                  <a:lnTo>
                    <a:pt x="803" y="463"/>
                  </a:lnTo>
                  <a:lnTo>
                    <a:pt x="802" y="462"/>
                  </a:lnTo>
                  <a:lnTo>
                    <a:pt x="801" y="462"/>
                  </a:lnTo>
                  <a:lnTo>
                    <a:pt x="798" y="459"/>
                  </a:lnTo>
                  <a:lnTo>
                    <a:pt x="796" y="459"/>
                  </a:lnTo>
                  <a:lnTo>
                    <a:pt x="796" y="457"/>
                  </a:lnTo>
                  <a:lnTo>
                    <a:pt x="794" y="456"/>
                  </a:lnTo>
                  <a:lnTo>
                    <a:pt x="791" y="459"/>
                  </a:lnTo>
                  <a:lnTo>
                    <a:pt x="788" y="463"/>
                  </a:lnTo>
                  <a:lnTo>
                    <a:pt x="785" y="466"/>
                  </a:lnTo>
                  <a:lnTo>
                    <a:pt x="785" y="469"/>
                  </a:lnTo>
                  <a:lnTo>
                    <a:pt x="784" y="464"/>
                  </a:lnTo>
                  <a:lnTo>
                    <a:pt x="780" y="463"/>
                  </a:lnTo>
                  <a:lnTo>
                    <a:pt x="777" y="464"/>
                  </a:lnTo>
                  <a:lnTo>
                    <a:pt x="774" y="465"/>
                  </a:lnTo>
                  <a:lnTo>
                    <a:pt x="774" y="463"/>
                  </a:lnTo>
                  <a:lnTo>
                    <a:pt x="768" y="464"/>
                  </a:lnTo>
                  <a:lnTo>
                    <a:pt x="766" y="466"/>
                  </a:lnTo>
                  <a:lnTo>
                    <a:pt x="765" y="471"/>
                  </a:lnTo>
                  <a:lnTo>
                    <a:pt x="763" y="470"/>
                  </a:lnTo>
                  <a:lnTo>
                    <a:pt x="762" y="466"/>
                  </a:lnTo>
                  <a:lnTo>
                    <a:pt x="761" y="469"/>
                  </a:lnTo>
                  <a:lnTo>
                    <a:pt x="760" y="471"/>
                  </a:lnTo>
                  <a:lnTo>
                    <a:pt x="760" y="474"/>
                  </a:lnTo>
                  <a:lnTo>
                    <a:pt x="762" y="474"/>
                  </a:lnTo>
                  <a:lnTo>
                    <a:pt x="760" y="477"/>
                  </a:lnTo>
                  <a:lnTo>
                    <a:pt x="762" y="478"/>
                  </a:lnTo>
                  <a:lnTo>
                    <a:pt x="763" y="480"/>
                  </a:lnTo>
                  <a:lnTo>
                    <a:pt x="766" y="480"/>
                  </a:lnTo>
                  <a:lnTo>
                    <a:pt x="767" y="478"/>
                  </a:lnTo>
                  <a:lnTo>
                    <a:pt x="770" y="480"/>
                  </a:lnTo>
                  <a:lnTo>
                    <a:pt x="771" y="477"/>
                  </a:lnTo>
                  <a:lnTo>
                    <a:pt x="771" y="472"/>
                  </a:lnTo>
                  <a:lnTo>
                    <a:pt x="774" y="475"/>
                  </a:lnTo>
                  <a:lnTo>
                    <a:pt x="777" y="478"/>
                  </a:lnTo>
                  <a:lnTo>
                    <a:pt x="780" y="478"/>
                  </a:lnTo>
                  <a:lnTo>
                    <a:pt x="782" y="482"/>
                  </a:lnTo>
                  <a:lnTo>
                    <a:pt x="779" y="482"/>
                  </a:lnTo>
                  <a:lnTo>
                    <a:pt x="778" y="482"/>
                  </a:lnTo>
                  <a:lnTo>
                    <a:pt x="778" y="483"/>
                  </a:lnTo>
                  <a:lnTo>
                    <a:pt x="780" y="487"/>
                  </a:lnTo>
                  <a:lnTo>
                    <a:pt x="778" y="486"/>
                  </a:lnTo>
                  <a:lnTo>
                    <a:pt x="776" y="486"/>
                  </a:lnTo>
                  <a:lnTo>
                    <a:pt x="774" y="487"/>
                  </a:lnTo>
                  <a:lnTo>
                    <a:pt x="777" y="489"/>
                  </a:lnTo>
                  <a:lnTo>
                    <a:pt x="779" y="490"/>
                  </a:lnTo>
                  <a:lnTo>
                    <a:pt x="782" y="489"/>
                  </a:lnTo>
                  <a:lnTo>
                    <a:pt x="783" y="487"/>
                  </a:lnTo>
                  <a:lnTo>
                    <a:pt x="784" y="490"/>
                  </a:lnTo>
                  <a:lnTo>
                    <a:pt x="783" y="494"/>
                  </a:lnTo>
                  <a:lnTo>
                    <a:pt x="780" y="494"/>
                  </a:lnTo>
                  <a:lnTo>
                    <a:pt x="778" y="495"/>
                  </a:lnTo>
                  <a:lnTo>
                    <a:pt x="779" y="496"/>
                  </a:lnTo>
                  <a:lnTo>
                    <a:pt x="783" y="496"/>
                  </a:lnTo>
                  <a:lnTo>
                    <a:pt x="785" y="498"/>
                  </a:lnTo>
                  <a:lnTo>
                    <a:pt x="789" y="499"/>
                  </a:lnTo>
                  <a:lnTo>
                    <a:pt x="790" y="500"/>
                  </a:lnTo>
                  <a:lnTo>
                    <a:pt x="790" y="501"/>
                  </a:lnTo>
                  <a:lnTo>
                    <a:pt x="790" y="506"/>
                  </a:lnTo>
                  <a:lnTo>
                    <a:pt x="792" y="508"/>
                  </a:lnTo>
                  <a:lnTo>
                    <a:pt x="795" y="508"/>
                  </a:lnTo>
                  <a:lnTo>
                    <a:pt x="797" y="508"/>
                  </a:lnTo>
                  <a:lnTo>
                    <a:pt x="800" y="510"/>
                  </a:lnTo>
                  <a:lnTo>
                    <a:pt x="801" y="508"/>
                  </a:lnTo>
                  <a:lnTo>
                    <a:pt x="801" y="505"/>
                  </a:lnTo>
                  <a:lnTo>
                    <a:pt x="803" y="502"/>
                  </a:lnTo>
                  <a:lnTo>
                    <a:pt x="804" y="501"/>
                  </a:lnTo>
                  <a:lnTo>
                    <a:pt x="809" y="501"/>
                  </a:lnTo>
                  <a:lnTo>
                    <a:pt x="807" y="505"/>
                  </a:lnTo>
                  <a:lnTo>
                    <a:pt x="806" y="506"/>
                  </a:lnTo>
                  <a:lnTo>
                    <a:pt x="807" y="506"/>
                  </a:lnTo>
                  <a:lnTo>
                    <a:pt x="808" y="506"/>
                  </a:lnTo>
                  <a:lnTo>
                    <a:pt x="807" y="510"/>
                  </a:lnTo>
                  <a:lnTo>
                    <a:pt x="809" y="514"/>
                  </a:lnTo>
                  <a:lnTo>
                    <a:pt x="810" y="518"/>
                  </a:lnTo>
                  <a:lnTo>
                    <a:pt x="810" y="519"/>
                  </a:lnTo>
                  <a:lnTo>
                    <a:pt x="812" y="516"/>
                  </a:lnTo>
                  <a:lnTo>
                    <a:pt x="814" y="519"/>
                  </a:lnTo>
                  <a:lnTo>
                    <a:pt x="814" y="525"/>
                  </a:lnTo>
                  <a:lnTo>
                    <a:pt x="813" y="530"/>
                  </a:lnTo>
                  <a:lnTo>
                    <a:pt x="816" y="530"/>
                  </a:lnTo>
                  <a:lnTo>
                    <a:pt x="819" y="528"/>
                  </a:lnTo>
                  <a:lnTo>
                    <a:pt x="821" y="528"/>
                  </a:lnTo>
                  <a:lnTo>
                    <a:pt x="824" y="530"/>
                  </a:lnTo>
                  <a:lnTo>
                    <a:pt x="827" y="530"/>
                  </a:lnTo>
                  <a:lnTo>
                    <a:pt x="825" y="529"/>
                  </a:lnTo>
                  <a:lnTo>
                    <a:pt x="827" y="528"/>
                  </a:lnTo>
                  <a:lnTo>
                    <a:pt x="829" y="526"/>
                  </a:lnTo>
                  <a:lnTo>
                    <a:pt x="830" y="525"/>
                  </a:lnTo>
                  <a:lnTo>
                    <a:pt x="832" y="526"/>
                  </a:lnTo>
                  <a:lnTo>
                    <a:pt x="833" y="529"/>
                  </a:lnTo>
                  <a:lnTo>
                    <a:pt x="832" y="530"/>
                  </a:lnTo>
                  <a:lnTo>
                    <a:pt x="832" y="531"/>
                  </a:lnTo>
                  <a:lnTo>
                    <a:pt x="836" y="532"/>
                  </a:lnTo>
                  <a:lnTo>
                    <a:pt x="842" y="537"/>
                  </a:lnTo>
                  <a:lnTo>
                    <a:pt x="839" y="537"/>
                  </a:lnTo>
                  <a:lnTo>
                    <a:pt x="838" y="540"/>
                  </a:lnTo>
                  <a:lnTo>
                    <a:pt x="841" y="542"/>
                  </a:lnTo>
                  <a:lnTo>
                    <a:pt x="842" y="542"/>
                  </a:lnTo>
                  <a:lnTo>
                    <a:pt x="842" y="551"/>
                  </a:lnTo>
                  <a:lnTo>
                    <a:pt x="839" y="555"/>
                  </a:lnTo>
                  <a:lnTo>
                    <a:pt x="836" y="554"/>
                  </a:lnTo>
                  <a:lnTo>
                    <a:pt x="836" y="557"/>
                  </a:lnTo>
                  <a:lnTo>
                    <a:pt x="833" y="561"/>
                  </a:lnTo>
                  <a:lnTo>
                    <a:pt x="830" y="564"/>
                  </a:lnTo>
                  <a:lnTo>
                    <a:pt x="825" y="564"/>
                  </a:lnTo>
                  <a:lnTo>
                    <a:pt x="824" y="567"/>
                  </a:lnTo>
                  <a:lnTo>
                    <a:pt x="821" y="567"/>
                  </a:lnTo>
                  <a:lnTo>
                    <a:pt x="819" y="569"/>
                  </a:lnTo>
                  <a:lnTo>
                    <a:pt x="824" y="572"/>
                  </a:lnTo>
                  <a:lnTo>
                    <a:pt x="827" y="575"/>
                  </a:lnTo>
                  <a:lnTo>
                    <a:pt x="833" y="575"/>
                  </a:lnTo>
                  <a:lnTo>
                    <a:pt x="841" y="575"/>
                  </a:lnTo>
                  <a:lnTo>
                    <a:pt x="843" y="577"/>
                  </a:lnTo>
                  <a:lnTo>
                    <a:pt x="847" y="581"/>
                  </a:lnTo>
                  <a:lnTo>
                    <a:pt x="848" y="587"/>
                  </a:lnTo>
                  <a:lnTo>
                    <a:pt x="844" y="584"/>
                  </a:lnTo>
                  <a:lnTo>
                    <a:pt x="841" y="582"/>
                  </a:lnTo>
                  <a:lnTo>
                    <a:pt x="836" y="581"/>
                  </a:lnTo>
                  <a:lnTo>
                    <a:pt x="835" y="579"/>
                  </a:lnTo>
                  <a:lnTo>
                    <a:pt x="835" y="577"/>
                  </a:lnTo>
                  <a:lnTo>
                    <a:pt x="829" y="576"/>
                  </a:lnTo>
                  <a:lnTo>
                    <a:pt x="822" y="573"/>
                  </a:lnTo>
                  <a:lnTo>
                    <a:pt x="821" y="573"/>
                  </a:lnTo>
                  <a:lnTo>
                    <a:pt x="820" y="576"/>
                  </a:lnTo>
                  <a:lnTo>
                    <a:pt x="820" y="578"/>
                  </a:lnTo>
                  <a:lnTo>
                    <a:pt x="819" y="579"/>
                  </a:lnTo>
                  <a:lnTo>
                    <a:pt x="818" y="582"/>
                  </a:lnTo>
                  <a:lnTo>
                    <a:pt x="815" y="585"/>
                  </a:lnTo>
                  <a:lnTo>
                    <a:pt x="813" y="585"/>
                  </a:lnTo>
                  <a:lnTo>
                    <a:pt x="810" y="588"/>
                  </a:lnTo>
                  <a:lnTo>
                    <a:pt x="809" y="589"/>
                  </a:lnTo>
                  <a:lnTo>
                    <a:pt x="810" y="582"/>
                  </a:lnTo>
                  <a:lnTo>
                    <a:pt x="810" y="578"/>
                  </a:lnTo>
                  <a:lnTo>
                    <a:pt x="812" y="573"/>
                  </a:lnTo>
                  <a:lnTo>
                    <a:pt x="816" y="572"/>
                  </a:lnTo>
                  <a:lnTo>
                    <a:pt x="816" y="569"/>
                  </a:lnTo>
                  <a:lnTo>
                    <a:pt x="813" y="569"/>
                  </a:lnTo>
                  <a:lnTo>
                    <a:pt x="812" y="570"/>
                  </a:lnTo>
                  <a:lnTo>
                    <a:pt x="810" y="573"/>
                  </a:lnTo>
                  <a:lnTo>
                    <a:pt x="809" y="576"/>
                  </a:lnTo>
                  <a:lnTo>
                    <a:pt x="807" y="578"/>
                  </a:lnTo>
                  <a:lnTo>
                    <a:pt x="808" y="572"/>
                  </a:lnTo>
                  <a:lnTo>
                    <a:pt x="809" y="569"/>
                  </a:lnTo>
                  <a:lnTo>
                    <a:pt x="808" y="567"/>
                  </a:lnTo>
                  <a:lnTo>
                    <a:pt x="806" y="569"/>
                  </a:lnTo>
                  <a:lnTo>
                    <a:pt x="806" y="571"/>
                  </a:lnTo>
                  <a:lnTo>
                    <a:pt x="803" y="573"/>
                  </a:lnTo>
                  <a:lnTo>
                    <a:pt x="802" y="573"/>
                  </a:lnTo>
                  <a:lnTo>
                    <a:pt x="801" y="570"/>
                  </a:lnTo>
                  <a:lnTo>
                    <a:pt x="800" y="567"/>
                  </a:lnTo>
                  <a:lnTo>
                    <a:pt x="798" y="566"/>
                  </a:lnTo>
                  <a:lnTo>
                    <a:pt x="796" y="565"/>
                  </a:lnTo>
                  <a:lnTo>
                    <a:pt x="795" y="565"/>
                  </a:lnTo>
                  <a:lnTo>
                    <a:pt x="791" y="563"/>
                  </a:lnTo>
                  <a:lnTo>
                    <a:pt x="792" y="560"/>
                  </a:lnTo>
                  <a:lnTo>
                    <a:pt x="789" y="561"/>
                  </a:lnTo>
                  <a:lnTo>
                    <a:pt x="786" y="564"/>
                  </a:lnTo>
                  <a:lnTo>
                    <a:pt x="786" y="560"/>
                  </a:lnTo>
                  <a:lnTo>
                    <a:pt x="788" y="557"/>
                  </a:lnTo>
                  <a:lnTo>
                    <a:pt x="786" y="555"/>
                  </a:lnTo>
                  <a:lnTo>
                    <a:pt x="783" y="555"/>
                  </a:lnTo>
                  <a:lnTo>
                    <a:pt x="780" y="554"/>
                  </a:lnTo>
                  <a:lnTo>
                    <a:pt x="780" y="551"/>
                  </a:lnTo>
                  <a:lnTo>
                    <a:pt x="778" y="551"/>
                  </a:lnTo>
                  <a:lnTo>
                    <a:pt x="776" y="552"/>
                  </a:lnTo>
                  <a:lnTo>
                    <a:pt x="774" y="551"/>
                  </a:lnTo>
                  <a:lnTo>
                    <a:pt x="774" y="549"/>
                  </a:lnTo>
                  <a:lnTo>
                    <a:pt x="779" y="548"/>
                  </a:lnTo>
                  <a:lnTo>
                    <a:pt x="780" y="548"/>
                  </a:lnTo>
                  <a:lnTo>
                    <a:pt x="779" y="547"/>
                  </a:lnTo>
                  <a:lnTo>
                    <a:pt x="776" y="545"/>
                  </a:lnTo>
                  <a:lnTo>
                    <a:pt x="778" y="542"/>
                  </a:lnTo>
                  <a:lnTo>
                    <a:pt x="776" y="543"/>
                  </a:lnTo>
                  <a:lnTo>
                    <a:pt x="773" y="542"/>
                  </a:lnTo>
                  <a:lnTo>
                    <a:pt x="772" y="539"/>
                  </a:lnTo>
                  <a:lnTo>
                    <a:pt x="767" y="539"/>
                  </a:lnTo>
                  <a:lnTo>
                    <a:pt x="768" y="546"/>
                  </a:lnTo>
                  <a:lnTo>
                    <a:pt x="770" y="559"/>
                  </a:lnTo>
                  <a:lnTo>
                    <a:pt x="771" y="560"/>
                  </a:lnTo>
                  <a:lnTo>
                    <a:pt x="771" y="564"/>
                  </a:lnTo>
                  <a:lnTo>
                    <a:pt x="771" y="569"/>
                  </a:lnTo>
                  <a:lnTo>
                    <a:pt x="770" y="566"/>
                  </a:lnTo>
                  <a:lnTo>
                    <a:pt x="768" y="561"/>
                  </a:lnTo>
                  <a:lnTo>
                    <a:pt x="767" y="554"/>
                  </a:lnTo>
                  <a:lnTo>
                    <a:pt x="765" y="557"/>
                  </a:lnTo>
                  <a:lnTo>
                    <a:pt x="761" y="563"/>
                  </a:lnTo>
                  <a:lnTo>
                    <a:pt x="761" y="566"/>
                  </a:lnTo>
                  <a:lnTo>
                    <a:pt x="762" y="569"/>
                  </a:lnTo>
                  <a:lnTo>
                    <a:pt x="762" y="571"/>
                  </a:lnTo>
                  <a:lnTo>
                    <a:pt x="760" y="576"/>
                  </a:lnTo>
                  <a:lnTo>
                    <a:pt x="753" y="581"/>
                  </a:lnTo>
                  <a:lnTo>
                    <a:pt x="751" y="584"/>
                  </a:lnTo>
                  <a:lnTo>
                    <a:pt x="759" y="593"/>
                  </a:lnTo>
                  <a:lnTo>
                    <a:pt x="763" y="595"/>
                  </a:lnTo>
                  <a:lnTo>
                    <a:pt x="763" y="593"/>
                  </a:lnTo>
                  <a:lnTo>
                    <a:pt x="768" y="594"/>
                  </a:lnTo>
                  <a:lnTo>
                    <a:pt x="771" y="596"/>
                  </a:lnTo>
                  <a:lnTo>
                    <a:pt x="770" y="597"/>
                  </a:lnTo>
                  <a:lnTo>
                    <a:pt x="771" y="599"/>
                  </a:lnTo>
                  <a:lnTo>
                    <a:pt x="773" y="597"/>
                  </a:lnTo>
                  <a:lnTo>
                    <a:pt x="776" y="597"/>
                  </a:lnTo>
                  <a:lnTo>
                    <a:pt x="777" y="595"/>
                  </a:lnTo>
                  <a:lnTo>
                    <a:pt x="778" y="590"/>
                  </a:lnTo>
                  <a:lnTo>
                    <a:pt x="780" y="588"/>
                  </a:lnTo>
                  <a:lnTo>
                    <a:pt x="783" y="589"/>
                  </a:lnTo>
                  <a:lnTo>
                    <a:pt x="785" y="591"/>
                  </a:lnTo>
                  <a:lnTo>
                    <a:pt x="780" y="599"/>
                  </a:lnTo>
                  <a:lnTo>
                    <a:pt x="782" y="602"/>
                  </a:lnTo>
                  <a:lnTo>
                    <a:pt x="784" y="599"/>
                  </a:lnTo>
                  <a:lnTo>
                    <a:pt x="785" y="599"/>
                  </a:lnTo>
                  <a:lnTo>
                    <a:pt x="786" y="602"/>
                  </a:lnTo>
                  <a:lnTo>
                    <a:pt x="788" y="600"/>
                  </a:lnTo>
                  <a:lnTo>
                    <a:pt x="791" y="600"/>
                  </a:lnTo>
                  <a:lnTo>
                    <a:pt x="790" y="603"/>
                  </a:lnTo>
                  <a:lnTo>
                    <a:pt x="784" y="605"/>
                  </a:lnTo>
                  <a:lnTo>
                    <a:pt x="783" y="607"/>
                  </a:lnTo>
                  <a:lnTo>
                    <a:pt x="786" y="609"/>
                  </a:lnTo>
                  <a:lnTo>
                    <a:pt x="789" y="611"/>
                  </a:lnTo>
                  <a:lnTo>
                    <a:pt x="790" y="615"/>
                  </a:lnTo>
                  <a:lnTo>
                    <a:pt x="788" y="619"/>
                  </a:lnTo>
                  <a:lnTo>
                    <a:pt x="786" y="617"/>
                  </a:lnTo>
                  <a:lnTo>
                    <a:pt x="786" y="620"/>
                  </a:lnTo>
                  <a:lnTo>
                    <a:pt x="784" y="625"/>
                  </a:lnTo>
                  <a:lnTo>
                    <a:pt x="782" y="623"/>
                  </a:lnTo>
                  <a:lnTo>
                    <a:pt x="779" y="621"/>
                  </a:lnTo>
                  <a:lnTo>
                    <a:pt x="778" y="620"/>
                  </a:lnTo>
                  <a:lnTo>
                    <a:pt x="780" y="614"/>
                  </a:lnTo>
                  <a:lnTo>
                    <a:pt x="780" y="609"/>
                  </a:lnTo>
                  <a:lnTo>
                    <a:pt x="779" y="611"/>
                  </a:lnTo>
                  <a:lnTo>
                    <a:pt x="776" y="613"/>
                  </a:lnTo>
                  <a:lnTo>
                    <a:pt x="774" y="612"/>
                  </a:lnTo>
                  <a:lnTo>
                    <a:pt x="774" y="606"/>
                  </a:lnTo>
                  <a:lnTo>
                    <a:pt x="772" y="607"/>
                  </a:lnTo>
                  <a:lnTo>
                    <a:pt x="768" y="606"/>
                  </a:lnTo>
                  <a:lnTo>
                    <a:pt x="768" y="601"/>
                  </a:lnTo>
                  <a:lnTo>
                    <a:pt x="767" y="599"/>
                  </a:lnTo>
                  <a:lnTo>
                    <a:pt x="767" y="601"/>
                  </a:lnTo>
                  <a:lnTo>
                    <a:pt x="767" y="603"/>
                  </a:lnTo>
                  <a:lnTo>
                    <a:pt x="760" y="602"/>
                  </a:lnTo>
                  <a:lnTo>
                    <a:pt x="761" y="600"/>
                  </a:lnTo>
                  <a:lnTo>
                    <a:pt x="763" y="599"/>
                  </a:lnTo>
                  <a:lnTo>
                    <a:pt x="763" y="597"/>
                  </a:lnTo>
                  <a:lnTo>
                    <a:pt x="762" y="596"/>
                  </a:lnTo>
                  <a:lnTo>
                    <a:pt x="757" y="593"/>
                  </a:lnTo>
                  <a:lnTo>
                    <a:pt x="751" y="588"/>
                  </a:lnTo>
                  <a:lnTo>
                    <a:pt x="751" y="591"/>
                  </a:lnTo>
                  <a:lnTo>
                    <a:pt x="753" y="595"/>
                  </a:lnTo>
                  <a:lnTo>
                    <a:pt x="754" y="600"/>
                  </a:lnTo>
                  <a:lnTo>
                    <a:pt x="756" y="603"/>
                  </a:lnTo>
                  <a:lnTo>
                    <a:pt x="756" y="605"/>
                  </a:lnTo>
                  <a:lnTo>
                    <a:pt x="754" y="612"/>
                  </a:lnTo>
                  <a:lnTo>
                    <a:pt x="751" y="615"/>
                  </a:lnTo>
                  <a:lnTo>
                    <a:pt x="750" y="620"/>
                  </a:lnTo>
                  <a:lnTo>
                    <a:pt x="748" y="624"/>
                  </a:lnTo>
                  <a:lnTo>
                    <a:pt x="749" y="626"/>
                  </a:lnTo>
                  <a:lnTo>
                    <a:pt x="750" y="629"/>
                  </a:lnTo>
                  <a:lnTo>
                    <a:pt x="753" y="630"/>
                  </a:lnTo>
                  <a:lnTo>
                    <a:pt x="755" y="626"/>
                  </a:lnTo>
                  <a:lnTo>
                    <a:pt x="757" y="624"/>
                  </a:lnTo>
                  <a:lnTo>
                    <a:pt x="760" y="624"/>
                  </a:lnTo>
                  <a:lnTo>
                    <a:pt x="761" y="625"/>
                  </a:lnTo>
                  <a:lnTo>
                    <a:pt x="761" y="630"/>
                  </a:lnTo>
                  <a:lnTo>
                    <a:pt x="765" y="629"/>
                  </a:lnTo>
                  <a:lnTo>
                    <a:pt x="766" y="629"/>
                  </a:lnTo>
                  <a:lnTo>
                    <a:pt x="770" y="631"/>
                  </a:lnTo>
                  <a:lnTo>
                    <a:pt x="772" y="633"/>
                  </a:lnTo>
                  <a:lnTo>
                    <a:pt x="774" y="632"/>
                  </a:lnTo>
                  <a:lnTo>
                    <a:pt x="776" y="630"/>
                  </a:lnTo>
                  <a:lnTo>
                    <a:pt x="780" y="627"/>
                  </a:lnTo>
                  <a:lnTo>
                    <a:pt x="784" y="630"/>
                  </a:lnTo>
                  <a:lnTo>
                    <a:pt x="778" y="630"/>
                  </a:lnTo>
                  <a:lnTo>
                    <a:pt x="777" y="633"/>
                  </a:lnTo>
                  <a:lnTo>
                    <a:pt x="776" y="636"/>
                  </a:lnTo>
                  <a:lnTo>
                    <a:pt x="778" y="637"/>
                  </a:lnTo>
                  <a:lnTo>
                    <a:pt x="783" y="637"/>
                  </a:lnTo>
                  <a:lnTo>
                    <a:pt x="786" y="636"/>
                  </a:lnTo>
                  <a:lnTo>
                    <a:pt x="789" y="635"/>
                  </a:lnTo>
                  <a:lnTo>
                    <a:pt x="791" y="635"/>
                  </a:lnTo>
                  <a:lnTo>
                    <a:pt x="795" y="633"/>
                  </a:lnTo>
                  <a:lnTo>
                    <a:pt x="795" y="631"/>
                  </a:lnTo>
                  <a:lnTo>
                    <a:pt x="796" y="635"/>
                  </a:lnTo>
                  <a:lnTo>
                    <a:pt x="797" y="638"/>
                  </a:lnTo>
                  <a:lnTo>
                    <a:pt x="794" y="644"/>
                  </a:lnTo>
                  <a:lnTo>
                    <a:pt x="795" y="647"/>
                  </a:lnTo>
                  <a:lnTo>
                    <a:pt x="796" y="647"/>
                  </a:lnTo>
                  <a:lnTo>
                    <a:pt x="797" y="649"/>
                  </a:lnTo>
                  <a:lnTo>
                    <a:pt x="795" y="658"/>
                  </a:lnTo>
                  <a:lnTo>
                    <a:pt x="792" y="664"/>
                  </a:lnTo>
                  <a:lnTo>
                    <a:pt x="790" y="665"/>
                  </a:lnTo>
                  <a:lnTo>
                    <a:pt x="789" y="670"/>
                  </a:lnTo>
                  <a:lnTo>
                    <a:pt x="788" y="672"/>
                  </a:lnTo>
                  <a:lnTo>
                    <a:pt x="791" y="673"/>
                  </a:lnTo>
                  <a:lnTo>
                    <a:pt x="791" y="682"/>
                  </a:lnTo>
                  <a:lnTo>
                    <a:pt x="790" y="684"/>
                  </a:lnTo>
                  <a:lnTo>
                    <a:pt x="788" y="683"/>
                  </a:lnTo>
                  <a:lnTo>
                    <a:pt x="785" y="684"/>
                  </a:lnTo>
                  <a:lnTo>
                    <a:pt x="785" y="685"/>
                  </a:lnTo>
                  <a:lnTo>
                    <a:pt x="786" y="689"/>
                  </a:lnTo>
                  <a:lnTo>
                    <a:pt x="785" y="691"/>
                  </a:lnTo>
                  <a:lnTo>
                    <a:pt x="784" y="690"/>
                  </a:lnTo>
                  <a:lnTo>
                    <a:pt x="784" y="689"/>
                  </a:lnTo>
                  <a:lnTo>
                    <a:pt x="784" y="692"/>
                  </a:lnTo>
                  <a:lnTo>
                    <a:pt x="786" y="694"/>
                  </a:lnTo>
                  <a:lnTo>
                    <a:pt x="788" y="695"/>
                  </a:lnTo>
                  <a:lnTo>
                    <a:pt x="788" y="690"/>
                  </a:lnTo>
                  <a:lnTo>
                    <a:pt x="788" y="688"/>
                  </a:lnTo>
                  <a:lnTo>
                    <a:pt x="791" y="688"/>
                  </a:lnTo>
                  <a:lnTo>
                    <a:pt x="792" y="691"/>
                  </a:lnTo>
                  <a:lnTo>
                    <a:pt x="794" y="694"/>
                  </a:lnTo>
                  <a:lnTo>
                    <a:pt x="792" y="696"/>
                  </a:lnTo>
                  <a:lnTo>
                    <a:pt x="792" y="698"/>
                  </a:lnTo>
                  <a:lnTo>
                    <a:pt x="795" y="700"/>
                  </a:lnTo>
                  <a:lnTo>
                    <a:pt x="796" y="702"/>
                  </a:lnTo>
                  <a:lnTo>
                    <a:pt x="798" y="703"/>
                  </a:lnTo>
                  <a:lnTo>
                    <a:pt x="798" y="704"/>
                  </a:lnTo>
                  <a:lnTo>
                    <a:pt x="798" y="706"/>
                  </a:lnTo>
                  <a:lnTo>
                    <a:pt x="798" y="708"/>
                  </a:lnTo>
                  <a:lnTo>
                    <a:pt x="800" y="709"/>
                  </a:lnTo>
                  <a:lnTo>
                    <a:pt x="802" y="710"/>
                  </a:lnTo>
                  <a:lnTo>
                    <a:pt x="803" y="710"/>
                  </a:lnTo>
                  <a:lnTo>
                    <a:pt x="806" y="710"/>
                  </a:lnTo>
                  <a:lnTo>
                    <a:pt x="807" y="712"/>
                  </a:lnTo>
                  <a:lnTo>
                    <a:pt x="812" y="716"/>
                  </a:lnTo>
                  <a:lnTo>
                    <a:pt x="807" y="716"/>
                  </a:lnTo>
                  <a:lnTo>
                    <a:pt x="804" y="716"/>
                  </a:lnTo>
                  <a:lnTo>
                    <a:pt x="803" y="716"/>
                  </a:lnTo>
                  <a:lnTo>
                    <a:pt x="808" y="720"/>
                  </a:lnTo>
                  <a:lnTo>
                    <a:pt x="810" y="721"/>
                  </a:lnTo>
                  <a:lnTo>
                    <a:pt x="812" y="722"/>
                  </a:lnTo>
                  <a:lnTo>
                    <a:pt x="810" y="728"/>
                  </a:lnTo>
                  <a:lnTo>
                    <a:pt x="806" y="725"/>
                  </a:lnTo>
                  <a:lnTo>
                    <a:pt x="803" y="721"/>
                  </a:lnTo>
                  <a:lnTo>
                    <a:pt x="802" y="722"/>
                  </a:lnTo>
                  <a:lnTo>
                    <a:pt x="800" y="722"/>
                  </a:lnTo>
                  <a:lnTo>
                    <a:pt x="798" y="725"/>
                  </a:lnTo>
                  <a:lnTo>
                    <a:pt x="795" y="730"/>
                  </a:lnTo>
                  <a:lnTo>
                    <a:pt x="790" y="731"/>
                  </a:lnTo>
                  <a:lnTo>
                    <a:pt x="788" y="733"/>
                  </a:lnTo>
                  <a:lnTo>
                    <a:pt x="789" y="727"/>
                  </a:lnTo>
                  <a:lnTo>
                    <a:pt x="788" y="726"/>
                  </a:lnTo>
                  <a:lnTo>
                    <a:pt x="790" y="721"/>
                  </a:lnTo>
                  <a:lnTo>
                    <a:pt x="791" y="720"/>
                  </a:lnTo>
                  <a:lnTo>
                    <a:pt x="791" y="718"/>
                  </a:lnTo>
                  <a:lnTo>
                    <a:pt x="790" y="715"/>
                  </a:lnTo>
                  <a:lnTo>
                    <a:pt x="789" y="719"/>
                  </a:lnTo>
                  <a:lnTo>
                    <a:pt x="786" y="719"/>
                  </a:lnTo>
                  <a:lnTo>
                    <a:pt x="784" y="713"/>
                  </a:lnTo>
                  <a:lnTo>
                    <a:pt x="782" y="710"/>
                  </a:lnTo>
                  <a:lnTo>
                    <a:pt x="783" y="713"/>
                  </a:lnTo>
                  <a:lnTo>
                    <a:pt x="783" y="716"/>
                  </a:lnTo>
                  <a:lnTo>
                    <a:pt x="779" y="718"/>
                  </a:lnTo>
                  <a:lnTo>
                    <a:pt x="779" y="722"/>
                  </a:lnTo>
                  <a:lnTo>
                    <a:pt x="779" y="725"/>
                  </a:lnTo>
                  <a:lnTo>
                    <a:pt x="777" y="722"/>
                  </a:lnTo>
                  <a:lnTo>
                    <a:pt x="778" y="725"/>
                  </a:lnTo>
                  <a:lnTo>
                    <a:pt x="780" y="728"/>
                  </a:lnTo>
                  <a:lnTo>
                    <a:pt x="777" y="726"/>
                  </a:lnTo>
                  <a:lnTo>
                    <a:pt x="776" y="728"/>
                  </a:lnTo>
                  <a:lnTo>
                    <a:pt x="774" y="730"/>
                  </a:lnTo>
                  <a:lnTo>
                    <a:pt x="772" y="733"/>
                  </a:lnTo>
                  <a:lnTo>
                    <a:pt x="770" y="737"/>
                  </a:lnTo>
                  <a:lnTo>
                    <a:pt x="766" y="740"/>
                  </a:lnTo>
                  <a:lnTo>
                    <a:pt x="765" y="737"/>
                  </a:lnTo>
                  <a:lnTo>
                    <a:pt x="765" y="733"/>
                  </a:lnTo>
                  <a:lnTo>
                    <a:pt x="763" y="738"/>
                  </a:lnTo>
                  <a:lnTo>
                    <a:pt x="762" y="740"/>
                  </a:lnTo>
                  <a:lnTo>
                    <a:pt x="760" y="736"/>
                  </a:lnTo>
                  <a:lnTo>
                    <a:pt x="759" y="736"/>
                  </a:lnTo>
                  <a:lnTo>
                    <a:pt x="760" y="740"/>
                  </a:lnTo>
                  <a:lnTo>
                    <a:pt x="760" y="744"/>
                  </a:lnTo>
                  <a:lnTo>
                    <a:pt x="757" y="742"/>
                  </a:lnTo>
                  <a:lnTo>
                    <a:pt x="754" y="744"/>
                  </a:lnTo>
                  <a:lnTo>
                    <a:pt x="754" y="746"/>
                  </a:lnTo>
                  <a:lnTo>
                    <a:pt x="751" y="745"/>
                  </a:lnTo>
                  <a:lnTo>
                    <a:pt x="750" y="746"/>
                  </a:lnTo>
                  <a:lnTo>
                    <a:pt x="748" y="748"/>
                  </a:lnTo>
                  <a:lnTo>
                    <a:pt x="747" y="746"/>
                  </a:lnTo>
                  <a:lnTo>
                    <a:pt x="745" y="748"/>
                  </a:lnTo>
                  <a:lnTo>
                    <a:pt x="744" y="748"/>
                  </a:lnTo>
                  <a:lnTo>
                    <a:pt x="743" y="744"/>
                  </a:lnTo>
                  <a:lnTo>
                    <a:pt x="743" y="740"/>
                  </a:lnTo>
                  <a:lnTo>
                    <a:pt x="743" y="737"/>
                  </a:lnTo>
                  <a:lnTo>
                    <a:pt x="739" y="736"/>
                  </a:lnTo>
                  <a:lnTo>
                    <a:pt x="739" y="739"/>
                  </a:lnTo>
                  <a:lnTo>
                    <a:pt x="738" y="743"/>
                  </a:lnTo>
                  <a:lnTo>
                    <a:pt x="738" y="748"/>
                  </a:lnTo>
                  <a:lnTo>
                    <a:pt x="742" y="753"/>
                  </a:lnTo>
                  <a:lnTo>
                    <a:pt x="743" y="757"/>
                  </a:lnTo>
                  <a:lnTo>
                    <a:pt x="745" y="760"/>
                  </a:lnTo>
                  <a:lnTo>
                    <a:pt x="742" y="761"/>
                  </a:lnTo>
                  <a:lnTo>
                    <a:pt x="739" y="757"/>
                  </a:lnTo>
                  <a:lnTo>
                    <a:pt x="736" y="757"/>
                  </a:lnTo>
                  <a:lnTo>
                    <a:pt x="735" y="757"/>
                  </a:lnTo>
                  <a:lnTo>
                    <a:pt x="735" y="759"/>
                  </a:lnTo>
                  <a:lnTo>
                    <a:pt x="736" y="763"/>
                  </a:lnTo>
                  <a:lnTo>
                    <a:pt x="733" y="767"/>
                  </a:lnTo>
                  <a:lnTo>
                    <a:pt x="733" y="769"/>
                  </a:lnTo>
                  <a:lnTo>
                    <a:pt x="732" y="768"/>
                  </a:lnTo>
                  <a:lnTo>
                    <a:pt x="729" y="771"/>
                  </a:lnTo>
                  <a:lnTo>
                    <a:pt x="726" y="774"/>
                  </a:lnTo>
                  <a:lnTo>
                    <a:pt x="726" y="779"/>
                  </a:lnTo>
                  <a:lnTo>
                    <a:pt x="729" y="786"/>
                  </a:lnTo>
                  <a:lnTo>
                    <a:pt x="731" y="792"/>
                  </a:lnTo>
                  <a:lnTo>
                    <a:pt x="730" y="795"/>
                  </a:lnTo>
                  <a:lnTo>
                    <a:pt x="729" y="797"/>
                  </a:lnTo>
                  <a:lnTo>
                    <a:pt x="726" y="801"/>
                  </a:lnTo>
                  <a:lnTo>
                    <a:pt x="723" y="805"/>
                  </a:lnTo>
                  <a:lnTo>
                    <a:pt x="719" y="810"/>
                  </a:lnTo>
                  <a:lnTo>
                    <a:pt x="718" y="814"/>
                  </a:lnTo>
                  <a:lnTo>
                    <a:pt x="717" y="809"/>
                  </a:lnTo>
                  <a:lnTo>
                    <a:pt x="715" y="804"/>
                  </a:lnTo>
                  <a:lnTo>
                    <a:pt x="714" y="802"/>
                  </a:lnTo>
                  <a:lnTo>
                    <a:pt x="714" y="799"/>
                  </a:lnTo>
                  <a:lnTo>
                    <a:pt x="712" y="801"/>
                  </a:lnTo>
                  <a:lnTo>
                    <a:pt x="708" y="802"/>
                  </a:lnTo>
                  <a:lnTo>
                    <a:pt x="708" y="798"/>
                  </a:lnTo>
                  <a:lnTo>
                    <a:pt x="706" y="798"/>
                  </a:lnTo>
                  <a:lnTo>
                    <a:pt x="703" y="802"/>
                  </a:lnTo>
                  <a:lnTo>
                    <a:pt x="703" y="807"/>
                  </a:lnTo>
                  <a:lnTo>
                    <a:pt x="702" y="801"/>
                  </a:lnTo>
                  <a:lnTo>
                    <a:pt x="701" y="797"/>
                  </a:lnTo>
                  <a:lnTo>
                    <a:pt x="702" y="792"/>
                  </a:lnTo>
                  <a:lnTo>
                    <a:pt x="704" y="791"/>
                  </a:lnTo>
                  <a:lnTo>
                    <a:pt x="707" y="793"/>
                  </a:lnTo>
                  <a:lnTo>
                    <a:pt x="709" y="792"/>
                  </a:lnTo>
                  <a:lnTo>
                    <a:pt x="712" y="786"/>
                  </a:lnTo>
                  <a:lnTo>
                    <a:pt x="712" y="780"/>
                  </a:lnTo>
                  <a:lnTo>
                    <a:pt x="712" y="777"/>
                  </a:lnTo>
                  <a:lnTo>
                    <a:pt x="709" y="775"/>
                  </a:lnTo>
                  <a:lnTo>
                    <a:pt x="706" y="774"/>
                  </a:lnTo>
                  <a:lnTo>
                    <a:pt x="702" y="778"/>
                  </a:lnTo>
                  <a:lnTo>
                    <a:pt x="702" y="774"/>
                  </a:lnTo>
                  <a:lnTo>
                    <a:pt x="704" y="772"/>
                  </a:lnTo>
                  <a:lnTo>
                    <a:pt x="700" y="774"/>
                  </a:lnTo>
                  <a:lnTo>
                    <a:pt x="697" y="775"/>
                  </a:lnTo>
                  <a:lnTo>
                    <a:pt x="697" y="778"/>
                  </a:lnTo>
                  <a:lnTo>
                    <a:pt x="694" y="785"/>
                  </a:lnTo>
                  <a:lnTo>
                    <a:pt x="691" y="786"/>
                  </a:lnTo>
                  <a:lnTo>
                    <a:pt x="686" y="786"/>
                  </a:lnTo>
                  <a:lnTo>
                    <a:pt x="686" y="784"/>
                  </a:lnTo>
                  <a:lnTo>
                    <a:pt x="686" y="783"/>
                  </a:lnTo>
                  <a:lnTo>
                    <a:pt x="683" y="785"/>
                  </a:lnTo>
                  <a:lnTo>
                    <a:pt x="682" y="789"/>
                  </a:lnTo>
                  <a:lnTo>
                    <a:pt x="680" y="791"/>
                  </a:lnTo>
                  <a:lnTo>
                    <a:pt x="680" y="795"/>
                  </a:lnTo>
                  <a:lnTo>
                    <a:pt x="679" y="798"/>
                  </a:lnTo>
                  <a:lnTo>
                    <a:pt x="677" y="802"/>
                  </a:lnTo>
                  <a:lnTo>
                    <a:pt x="674" y="804"/>
                  </a:lnTo>
                  <a:lnTo>
                    <a:pt x="673" y="807"/>
                  </a:lnTo>
                  <a:lnTo>
                    <a:pt x="672" y="810"/>
                  </a:lnTo>
                  <a:lnTo>
                    <a:pt x="671" y="810"/>
                  </a:lnTo>
                  <a:lnTo>
                    <a:pt x="670" y="813"/>
                  </a:lnTo>
                  <a:lnTo>
                    <a:pt x="667" y="816"/>
                  </a:lnTo>
                  <a:lnTo>
                    <a:pt x="666" y="820"/>
                  </a:lnTo>
                  <a:lnTo>
                    <a:pt x="666" y="814"/>
                  </a:lnTo>
                  <a:lnTo>
                    <a:pt x="664" y="816"/>
                  </a:lnTo>
                  <a:lnTo>
                    <a:pt x="660" y="816"/>
                  </a:lnTo>
                  <a:lnTo>
                    <a:pt x="658" y="817"/>
                  </a:lnTo>
                  <a:lnTo>
                    <a:pt x="658" y="814"/>
                  </a:lnTo>
                  <a:lnTo>
                    <a:pt x="660" y="810"/>
                  </a:lnTo>
                  <a:lnTo>
                    <a:pt x="659" y="807"/>
                  </a:lnTo>
                  <a:lnTo>
                    <a:pt x="658" y="805"/>
                  </a:lnTo>
                  <a:lnTo>
                    <a:pt x="661" y="804"/>
                  </a:lnTo>
                  <a:lnTo>
                    <a:pt x="659" y="803"/>
                  </a:lnTo>
                  <a:lnTo>
                    <a:pt x="661" y="802"/>
                  </a:lnTo>
                  <a:lnTo>
                    <a:pt x="662" y="799"/>
                  </a:lnTo>
                  <a:lnTo>
                    <a:pt x="660" y="799"/>
                  </a:lnTo>
                  <a:lnTo>
                    <a:pt x="661" y="796"/>
                  </a:lnTo>
                  <a:lnTo>
                    <a:pt x="664" y="792"/>
                  </a:lnTo>
                  <a:lnTo>
                    <a:pt x="661" y="787"/>
                  </a:lnTo>
                  <a:lnTo>
                    <a:pt x="660" y="775"/>
                  </a:lnTo>
                  <a:lnTo>
                    <a:pt x="662" y="757"/>
                  </a:lnTo>
                  <a:lnTo>
                    <a:pt x="661" y="740"/>
                  </a:lnTo>
                  <a:lnTo>
                    <a:pt x="658" y="746"/>
                  </a:lnTo>
                  <a:lnTo>
                    <a:pt x="654" y="756"/>
                  </a:lnTo>
                  <a:lnTo>
                    <a:pt x="656" y="759"/>
                  </a:lnTo>
                  <a:lnTo>
                    <a:pt x="653" y="756"/>
                  </a:lnTo>
                  <a:lnTo>
                    <a:pt x="643" y="759"/>
                  </a:lnTo>
                  <a:lnTo>
                    <a:pt x="653" y="756"/>
                  </a:lnTo>
                  <a:lnTo>
                    <a:pt x="659" y="742"/>
                  </a:lnTo>
                  <a:lnTo>
                    <a:pt x="654" y="743"/>
                  </a:lnTo>
                  <a:lnTo>
                    <a:pt x="649" y="743"/>
                  </a:lnTo>
                  <a:lnTo>
                    <a:pt x="645" y="740"/>
                  </a:lnTo>
                  <a:lnTo>
                    <a:pt x="643" y="743"/>
                  </a:lnTo>
                  <a:lnTo>
                    <a:pt x="639" y="744"/>
                  </a:lnTo>
                  <a:lnTo>
                    <a:pt x="636" y="743"/>
                  </a:lnTo>
                  <a:lnTo>
                    <a:pt x="633" y="739"/>
                  </a:lnTo>
                  <a:lnTo>
                    <a:pt x="635" y="738"/>
                  </a:lnTo>
                  <a:lnTo>
                    <a:pt x="637" y="734"/>
                  </a:lnTo>
                  <a:lnTo>
                    <a:pt x="635" y="733"/>
                  </a:lnTo>
                  <a:lnTo>
                    <a:pt x="632" y="736"/>
                  </a:lnTo>
                  <a:lnTo>
                    <a:pt x="630" y="737"/>
                  </a:lnTo>
                  <a:lnTo>
                    <a:pt x="627" y="737"/>
                  </a:lnTo>
                  <a:lnTo>
                    <a:pt x="625" y="736"/>
                  </a:lnTo>
                  <a:lnTo>
                    <a:pt x="620" y="738"/>
                  </a:lnTo>
                  <a:lnTo>
                    <a:pt x="621" y="744"/>
                  </a:lnTo>
                  <a:lnTo>
                    <a:pt x="621" y="749"/>
                  </a:lnTo>
                  <a:lnTo>
                    <a:pt x="624" y="751"/>
                  </a:lnTo>
                  <a:lnTo>
                    <a:pt x="625" y="753"/>
                  </a:lnTo>
                  <a:lnTo>
                    <a:pt x="623" y="754"/>
                  </a:lnTo>
                  <a:lnTo>
                    <a:pt x="623" y="757"/>
                  </a:lnTo>
                  <a:lnTo>
                    <a:pt x="624" y="763"/>
                  </a:lnTo>
                  <a:lnTo>
                    <a:pt x="626" y="769"/>
                  </a:lnTo>
                  <a:lnTo>
                    <a:pt x="623" y="761"/>
                  </a:lnTo>
                  <a:lnTo>
                    <a:pt x="620" y="762"/>
                  </a:lnTo>
                  <a:lnTo>
                    <a:pt x="618" y="766"/>
                  </a:lnTo>
                  <a:lnTo>
                    <a:pt x="619" y="773"/>
                  </a:lnTo>
                  <a:lnTo>
                    <a:pt x="614" y="780"/>
                  </a:lnTo>
                  <a:lnTo>
                    <a:pt x="611" y="785"/>
                  </a:lnTo>
                  <a:lnTo>
                    <a:pt x="615" y="775"/>
                  </a:lnTo>
                  <a:lnTo>
                    <a:pt x="617" y="771"/>
                  </a:lnTo>
                  <a:lnTo>
                    <a:pt x="614" y="767"/>
                  </a:lnTo>
                  <a:lnTo>
                    <a:pt x="612" y="768"/>
                  </a:lnTo>
                  <a:lnTo>
                    <a:pt x="612" y="772"/>
                  </a:lnTo>
                  <a:lnTo>
                    <a:pt x="612" y="774"/>
                  </a:lnTo>
                  <a:lnTo>
                    <a:pt x="612" y="777"/>
                  </a:lnTo>
                  <a:lnTo>
                    <a:pt x="609" y="778"/>
                  </a:lnTo>
                  <a:lnTo>
                    <a:pt x="608" y="775"/>
                  </a:lnTo>
                  <a:lnTo>
                    <a:pt x="608" y="774"/>
                  </a:lnTo>
                  <a:lnTo>
                    <a:pt x="607" y="774"/>
                  </a:lnTo>
                  <a:lnTo>
                    <a:pt x="606" y="777"/>
                  </a:lnTo>
                  <a:lnTo>
                    <a:pt x="607" y="785"/>
                  </a:lnTo>
                  <a:lnTo>
                    <a:pt x="608" y="786"/>
                  </a:lnTo>
                  <a:lnTo>
                    <a:pt x="605" y="793"/>
                  </a:lnTo>
                  <a:lnTo>
                    <a:pt x="601" y="796"/>
                  </a:lnTo>
                  <a:lnTo>
                    <a:pt x="605" y="789"/>
                  </a:lnTo>
                  <a:lnTo>
                    <a:pt x="606" y="784"/>
                  </a:lnTo>
                  <a:lnTo>
                    <a:pt x="605" y="774"/>
                  </a:lnTo>
                  <a:lnTo>
                    <a:pt x="603" y="778"/>
                  </a:lnTo>
                  <a:lnTo>
                    <a:pt x="602" y="783"/>
                  </a:lnTo>
                  <a:lnTo>
                    <a:pt x="601" y="789"/>
                  </a:lnTo>
                  <a:lnTo>
                    <a:pt x="599" y="791"/>
                  </a:lnTo>
                  <a:lnTo>
                    <a:pt x="596" y="791"/>
                  </a:lnTo>
                  <a:lnTo>
                    <a:pt x="594" y="795"/>
                  </a:lnTo>
                  <a:lnTo>
                    <a:pt x="593" y="795"/>
                  </a:lnTo>
                  <a:lnTo>
                    <a:pt x="591" y="792"/>
                  </a:lnTo>
                  <a:lnTo>
                    <a:pt x="591" y="790"/>
                  </a:lnTo>
                  <a:lnTo>
                    <a:pt x="590" y="791"/>
                  </a:lnTo>
                  <a:lnTo>
                    <a:pt x="587" y="795"/>
                  </a:lnTo>
                  <a:lnTo>
                    <a:pt x="583" y="798"/>
                  </a:lnTo>
                  <a:lnTo>
                    <a:pt x="579" y="796"/>
                  </a:lnTo>
                  <a:lnTo>
                    <a:pt x="578" y="790"/>
                  </a:lnTo>
                  <a:lnTo>
                    <a:pt x="578" y="785"/>
                  </a:lnTo>
                  <a:lnTo>
                    <a:pt x="580" y="784"/>
                  </a:lnTo>
                  <a:lnTo>
                    <a:pt x="584" y="784"/>
                  </a:lnTo>
                  <a:lnTo>
                    <a:pt x="584" y="779"/>
                  </a:lnTo>
                  <a:lnTo>
                    <a:pt x="583" y="778"/>
                  </a:lnTo>
                  <a:lnTo>
                    <a:pt x="583" y="775"/>
                  </a:lnTo>
                  <a:lnTo>
                    <a:pt x="587" y="771"/>
                  </a:lnTo>
                  <a:lnTo>
                    <a:pt x="583" y="772"/>
                  </a:lnTo>
                  <a:lnTo>
                    <a:pt x="580" y="775"/>
                  </a:lnTo>
                  <a:lnTo>
                    <a:pt x="578" y="783"/>
                  </a:lnTo>
                  <a:lnTo>
                    <a:pt x="577" y="786"/>
                  </a:lnTo>
                  <a:lnTo>
                    <a:pt x="576" y="792"/>
                  </a:lnTo>
                  <a:lnTo>
                    <a:pt x="574" y="791"/>
                  </a:lnTo>
                  <a:lnTo>
                    <a:pt x="571" y="795"/>
                  </a:lnTo>
                  <a:lnTo>
                    <a:pt x="570" y="795"/>
                  </a:lnTo>
                  <a:lnTo>
                    <a:pt x="570" y="789"/>
                  </a:lnTo>
                  <a:lnTo>
                    <a:pt x="568" y="791"/>
                  </a:lnTo>
                  <a:lnTo>
                    <a:pt x="567" y="785"/>
                  </a:lnTo>
                  <a:lnTo>
                    <a:pt x="565" y="780"/>
                  </a:lnTo>
                  <a:lnTo>
                    <a:pt x="561" y="781"/>
                  </a:lnTo>
                  <a:lnTo>
                    <a:pt x="559" y="783"/>
                  </a:lnTo>
                  <a:lnTo>
                    <a:pt x="555" y="787"/>
                  </a:lnTo>
                  <a:lnTo>
                    <a:pt x="550" y="789"/>
                  </a:lnTo>
                  <a:lnTo>
                    <a:pt x="552" y="784"/>
                  </a:lnTo>
                  <a:lnTo>
                    <a:pt x="553" y="779"/>
                  </a:lnTo>
                  <a:lnTo>
                    <a:pt x="549" y="779"/>
                  </a:lnTo>
                  <a:lnTo>
                    <a:pt x="549" y="781"/>
                  </a:lnTo>
                  <a:lnTo>
                    <a:pt x="546" y="787"/>
                  </a:lnTo>
                  <a:lnTo>
                    <a:pt x="542" y="791"/>
                  </a:lnTo>
                  <a:lnTo>
                    <a:pt x="540" y="792"/>
                  </a:lnTo>
                  <a:lnTo>
                    <a:pt x="541" y="786"/>
                  </a:lnTo>
                  <a:lnTo>
                    <a:pt x="543" y="781"/>
                  </a:lnTo>
                  <a:lnTo>
                    <a:pt x="544" y="777"/>
                  </a:lnTo>
                  <a:lnTo>
                    <a:pt x="548" y="773"/>
                  </a:lnTo>
                  <a:lnTo>
                    <a:pt x="547" y="772"/>
                  </a:lnTo>
                  <a:lnTo>
                    <a:pt x="544" y="774"/>
                  </a:lnTo>
                  <a:lnTo>
                    <a:pt x="544" y="771"/>
                  </a:lnTo>
                  <a:lnTo>
                    <a:pt x="540" y="771"/>
                  </a:lnTo>
                  <a:lnTo>
                    <a:pt x="540" y="766"/>
                  </a:lnTo>
                  <a:lnTo>
                    <a:pt x="537" y="768"/>
                  </a:lnTo>
                  <a:lnTo>
                    <a:pt x="534" y="768"/>
                  </a:lnTo>
                  <a:lnTo>
                    <a:pt x="535" y="763"/>
                  </a:lnTo>
                  <a:lnTo>
                    <a:pt x="532" y="766"/>
                  </a:lnTo>
                  <a:lnTo>
                    <a:pt x="529" y="768"/>
                  </a:lnTo>
                  <a:lnTo>
                    <a:pt x="530" y="763"/>
                  </a:lnTo>
                  <a:lnTo>
                    <a:pt x="529" y="763"/>
                  </a:lnTo>
                  <a:lnTo>
                    <a:pt x="526" y="759"/>
                  </a:lnTo>
                  <a:lnTo>
                    <a:pt x="526" y="756"/>
                  </a:lnTo>
                  <a:lnTo>
                    <a:pt x="526" y="755"/>
                  </a:lnTo>
                  <a:lnTo>
                    <a:pt x="523" y="757"/>
                  </a:lnTo>
                  <a:lnTo>
                    <a:pt x="517" y="761"/>
                  </a:lnTo>
                  <a:lnTo>
                    <a:pt x="520" y="756"/>
                  </a:lnTo>
                  <a:lnTo>
                    <a:pt x="524" y="754"/>
                  </a:lnTo>
                  <a:lnTo>
                    <a:pt x="528" y="751"/>
                  </a:lnTo>
                  <a:lnTo>
                    <a:pt x="530" y="750"/>
                  </a:lnTo>
                  <a:lnTo>
                    <a:pt x="526" y="749"/>
                  </a:lnTo>
                  <a:lnTo>
                    <a:pt x="524" y="750"/>
                  </a:lnTo>
                  <a:lnTo>
                    <a:pt x="521" y="749"/>
                  </a:lnTo>
                  <a:lnTo>
                    <a:pt x="521" y="750"/>
                  </a:lnTo>
                  <a:lnTo>
                    <a:pt x="519" y="749"/>
                  </a:lnTo>
                  <a:lnTo>
                    <a:pt x="517" y="749"/>
                  </a:lnTo>
                  <a:lnTo>
                    <a:pt x="515" y="750"/>
                  </a:lnTo>
                  <a:lnTo>
                    <a:pt x="514" y="753"/>
                  </a:lnTo>
                  <a:lnTo>
                    <a:pt x="512" y="750"/>
                  </a:lnTo>
                  <a:lnTo>
                    <a:pt x="509" y="744"/>
                  </a:lnTo>
                  <a:lnTo>
                    <a:pt x="509" y="740"/>
                  </a:lnTo>
                  <a:lnTo>
                    <a:pt x="509" y="736"/>
                  </a:lnTo>
                  <a:lnTo>
                    <a:pt x="512" y="733"/>
                  </a:lnTo>
                  <a:lnTo>
                    <a:pt x="515" y="733"/>
                  </a:lnTo>
                  <a:lnTo>
                    <a:pt x="517" y="731"/>
                  </a:lnTo>
                  <a:lnTo>
                    <a:pt x="515" y="727"/>
                  </a:lnTo>
                  <a:lnTo>
                    <a:pt x="515" y="724"/>
                  </a:lnTo>
                  <a:lnTo>
                    <a:pt x="512" y="726"/>
                  </a:lnTo>
                  <a:lnTo>
                    <a:pt x="509" y="727"/>
                  </a:lnTo>
                  <a:lnTo>
                    <a:pt x="508" y="724"/>
                  </a:lnTo>
                  <a:lnTo>
                    <a:pt x="507" y="725"/>
                  </a:lnTo>
                  <a:lnTo>
                    <a:pt x="506" y="726"/>
                  </a:lnTo>
                  <a:lnTo>
                    <a:pt x="503" y="731"/>
                  </a:lnTo>
                  <a:lnTo>
                    <a:pt x="502" y="730"/>
                  </a:lnTo>
                  <a:lnTo>
                    <a:pt x="502" y="733"/>
                  </a:lnTo>
                  <a:lnTo>
                    <a:pt x="499" y="736"/>
                  </a:lnTo>
                  <a:lnTo>
                    <a:pt x="495" y="739"/>
                  </a:lnTo>
                  <a:lnTo>
                    <a:pt x="495" y="736"/>
                  </a:lnTo>
                  <a:lnTo>
                    <a:pt x="495" y="733"/>
                  </a:lnTo>
                  <a:lnTo>
                    <a:pt x="493" y="734"/>
                  </a:lnTo>
                  <a:lnTo>
                    <a:pt x="493" y="733"/>
                  </a:lnTo>
                  <a:lnTo>
                    <a:pt x="490" y="733"/>
                  </a:lnTo>
                  <a:lnTo>
                    <a:pt x="488" y="731"/>
                  </a:lnTo>
                  <a:lnTo>
                    <a:pt x="485" y="732"/>
                  </a:lnTo>
                  <a:lnTo>
                    <a:pt x="481" y="734"/>
                  </a:lnTo>
                  <a:lnTo>
                    <a:pt x="481" y="732"/>
                  </a:lnTo>
                  <a:lnTo>
                    <a:pt x="483" y="730"/>
                  </a:lnTo>
                  <a:lnTo>
                    <a:pt x="483" y="728"/>
                  </a:lnTo>
                  <a:lnTo>
                    <a:pt x="484" y="728"/>
                  </a:lnTo>
                  <a:lnTo>
                    <a:pt x="485" y="727"/>
                  </a:lnTo>
                  <a:lnTo>
                    <a:pt x="489" y="728"/>
                  </a:lnTo>
                  <a:lnTo>
                    <a:pt x="490" y="726"/>
                  </a:lnTo>
                  <a:lnTo>
                    <a:pt x="489" y="724"/>
                  </a:lnTo>
                  <a:lnTo>
                    <a:pt x="488" y="724"/>
                  </a:lnTo>
                  <a:lnTo>
                    <a:pt x="484" y="724"/>
                  </a:lnTo>
                  <a:lnTo>
                    <a:pt x="483" y="722"/>
                  </a:lnTo>
                  <a:lnTo>
                    <a:pt x="481" y="722"/>
                  </a:lnTo>
                  <a:lnTo>
                    <a:pt x="477" y="724"/>
                  </a:lnTo>
                  <a:lnTo>
                    <a:pt x="476" y="721"/>
                  </a:lnTo>
                  <a:lnTo>
                    <a:pt x="476" y="719"/>
                  </a:lnTo>
                  <a:lnTo>
                    <a:pt x="478" y="716"/>
                  </a:lnTo>
                  <a:lnTo>
                    <a:pt x="481" y="715"/>
                  </a:lnTo>
                  <a:lnTo>
                    <a:pt x="484" y="714"/>
                  </a:lnTo>
                  <a:lnTo>
                    <a:pt x="485" y="713"/>
                  </a:lnTo>
                  <a:lnTo>
                    <a:pt x="484" y="712"/>
                  </a:lnTo>
                  <a:lnTo>
                    <a:pt x="482" y="712"/>
                  </a:lnTo>
                  <a:lnTo>
                    <a:pt x="479" y="714"/>
                  </a:lnTo>
                  <a:lnTo>
                    <a:pt x="475" y="716"/>
                  </a:lnTo>
                  <a:lnTo>
                    <a:pt x="471" y="719"/>
                  </a:lnTo>
                  <a:lnTo>
                    <a:pt x="472" y="724"/>
                  </a:lnTo>
                  <a:lnTo>
                    <a:pt x="477" y="736"/>
                  </a:lnTo>
                  <a:lnTo>
                    <a:pt x="482" y="749"/>
                  </a:lnTo>
                  <a:lnTo>
                    <a:pt x="484" y="759"/>
                  </a:lnTo>
                  <a:lnTo>
                    <a:pt x="483" y="774"/>
                  </a:lnTo>
                  <a:lnTo>
                    <a:pt x="483" y="790"/>
                  </a:lnTo>
                  <a:lnTo>
                    <a:pt x="497" y="817"/>
                  </a:lnTo>
                  <a:lnTo>
                    <a:pt x="505" y="833"/>
                  </a:lnTo>
                  <a:lnTo>
                    <a:pt x="506" y="839"/>
                  </a:lnTo>
                  <a:lnTo>
                    <a:pt x="505" y="846"/>
                  </a:lnTo>
                  <a:lnTo>
                    <a:pt x="497" y="860"/>
                  </a:lnTo>
                  <a:lnTo>
                    <a:pt x="493" y="869"/>
                  </a:lnTo>
                  <a:lnTo>
                    <a:pt x="487" y="884"/>
                  </a:lnTo>
                  <a:lnTo>
                    <a:pt x="484" y="893"/>
                  </a:lnTo>
                  <a:lnTo>
                    <a:pt x="483" y="903"/>
                  </a:lnTo>
                  <a:lnTo>
                    <a:pt x="481" y="922"/>
                  </a:lnTo>
                  <a:lnTo>
                    <a:pt x="479" y="941"/>
                  </a:lnTo>
                  <a:lnTo>
                    <a:pt x="478" y="959"/>
                  </a:lnTo>
                  <a:lnTo>
                    <a:pt x="477" y="975"/>
                  </a:lnTo>
                  <a:lnTo>
                    <a:pt x="477" y="993"/>
                  </a:lnTo>
                  <a:lnTo>
                    <a:pt x="481" y="1041"/>
                  </a:lnTo>
                  <a:lnTo>
                    <a:pt x="479" y="1069"/>
                  </a:lnTo>
                  <a:lnTo>
                    <a:pt x="476" y="1088"/>
                  </a:lnTo>
                  <a:lnTo>
                    <a:pt x="472" y="110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1" name="Freeform 64"/>
            <p:cNvSpPr>
              <a:spLocks/>
            </p:cNvSpPr>
            <p:nvPr userDrawn="1"/>
          </p:nvSpPr>
          <p:spPr bwMode="auto">
            <a:xfrm>
              <a:off x="4610100" y="6411913"/>
              <a:ext cx="65088" cy="107950"/>
            </a:xfrm>
            <a:custGeom>
              <a:avLst/>
              <a:gdLst/>
              <a:ahLst/>
              <a:cxnLst>
                <a:cxn ang="0">
                  <a:pos x="106" y="18"/>
                </a:cxn>
                <a:cxn ang="0">
                  <a:pos x="118" y="40"/>
                </a:cxn>
                <a:cxn ang="0">
                  <a:pos x="122" y="58"/>
                </a:cxn>
                <a:cxn ang="0">
                  <a:pos x="136" y="71"/>
                </a:cxn>
                <a:cxn ang="0">
                  <a:pos x="132" y="81"/>
                </a:cxn>
                <a:cxn ang="0">
                  <a:pos x="140" y="88"/>
                </a:cxn>
                <a:cxn ang="0">
                  <a:pos x="155" y="112"/>
                </a:cxn>
                <a:cxn ang="0">
                  <a:pos x="141" y="113"/>
                </a:cxn>
                <a:cxn ang="0">
                  <a:pos x="158" y="131"/>
                </a:cxn>
                <a:cxn ang="0">
                  <a:pos x="161" y="140"/>
                </a:cxn>
                <a:cxn ang="0">
                  <a:pos x="176" y="149"/>
                </a:cxn>
                <a:cxn ang="0">
                  <a:pos x="165" y="155"/>
                </a:cxn>
                <a:cxn ang="0">
                  <a:pos x="173" y="164"/>
                </a:cxn>
                <a:cxn ang="0">
                  <a:pos x="183" y="171"/>
                </a:cxn>
                <a:cxn ang="0">
                  <a:pos x="182" y="183"/>
                </a:cxn>
                <a:cxn ang="0">
                  <a:pos x="175" y="195"/>
                </a:cxn>
                <a:cxn ang="0">
                  <a:pos x="170" y="204"/>
                </a:cxn>
                <a:cxn ang="0">
                  <a:pos x="157" y="203"/>
                </a:cxn>
                <a:cxn ang="0">
                  <a:pos x="145" y="202"/>
                </a:cxn>
                <a:cxn ang="0">
                  <a:pos x="165" y="218"/>
                </a:cxn>
                <a:cxn ang="0">
                  <a:pos x="180" y="225"/>
                </a:cxn>
                <a:cxn ang="0">
                  <a:pos x="183" y="236"/>
                </a:cxn>
                <a:cxn ang="0">
                  <a:pos x="198" y="241"/>
                </a:cxn>
                <a:cxn ang="0">
                  <a:pos x="186" y="247"/>
                </a:cxn>
                <a:cxn ang="0">
                  <a:pos x="193" y="257"/>
                </a:cxn>
                <a:cxn ang="0">
                  <a:pos x="194" y="265"/>
                </a:cxn>
                <a:cxn ang="0">
                  <a:pos x="191" y="271"/>
                </a:cxn>
                <a:cxn ang="0">
                  <a:pos x="180" y="277"/>
                </a:cxn>
                <a:cxn ang="0">
                  <a:pos x="167" y="296"/>
                </a:cxn>
                <a:cxn ang="0">
                  <a:pos x="145" y="301"/>
                </a:cxn>
                <a:cxn ang="0">
                  <a:pos x="112" y="320"/>
                </a:cxn>
                <a:cxn ang="0">
                  <a:pos x="76" y="308"/>
                </a:cxn>
                <a:cxn ang="0">
                  <a:pos x="49" y="320"/>
                </a:cxn>
                <a:cxn ang="0">
                  <a:pos x="17" y="307"/>
                </a:cxn>
                <a:cxn ang="0">
                  <a:pos x="22" y="284"/>
                </a:cxn>
                <a:cxn ang="0">
                  <a:pos x="23" y="265"/>
                </a:cxn>
                <a:cxn ang="0">
                  <a:pos x="33" y="256"/>
                </a:cxn>
                <a:cxn ang="0">
                  <a:pos x="28" y="245"/>
                </a:cxn>
                <a:cxn ang="0">
                  <a:pos x="15" y="236"/>
                </a:cxn>
                <a:cxn ang="0">
                  <a:pos x="23" y="221"/>
                </a:cxn>
                <a:cxn ang="0">
                  <a:pos x="29" y="217"/>
                </a:cxn>
                <a:cxn ang="0">
                  <a:pos x="52" y="207"/>
                </a:cxn>
                <a:cxn ang="0">
                  <a:pos x="40" y="207"/>
                </a:cxn>
                <a:cxn ang="0">
                  <a:pos x="31" y="194"/>
                </a:cxn>
                <a:cxn ang="0">
                  <a:pos x="28" y="189"/>
                </a:cxn>
                <a:cxn ang="0">
                  <a:pos x="17" y="180"/>
                </a:cxn>
                <a:cxn ang="0">
                  <a:pos x="29" y="164"/>
                </a:cxn>
                <a:cxn ang="0">
                  <a:pos x="27" y="150"/>
                </a:cxn>
                <a:cxn ang="0">
                  <a:pos x="51" y="138"/>
                </a:cxn>
                <a:cxn ang="0">
                  <a:pos x="40" y="138"/>
                </a:cxn>
                <a:cxn ang="0">
                  <a:pos x="45" y="125"/>
                </a:cxn>
                <a:cxn ang="0">
                  <a:pos x="68" y="112"/>
                </a:cxn>
                <a:cxn ang="0">
                  <a:pos x="46" y="111"/>
                </a:cxn>
                <a:cxn ang="0">
                  <a:pos x="92" y="95"/>
                </a:cxn>
                <a:cxn ang="0">
                  <a:pos x="74" y="85"/>
                </a:cxn>
                <a:cxn ang="0">
                  <a:pos x="67" y="69"/>
                </a:cxn>
                <a:cxn ang="0">
                  <a:pos x="76" y="59"/>
                </a:cxn>
                <a:cxn ang="0">
                  <a:pos x="87" y="54"/>
                </a:cxn>
                <a:cxn ang="0">
                  <a:pos x="82" y="35"/>
                </a:cxn>
                <a:cxn ang="0">
                  <a:pos x="93" y="39"/>
                </a:cxn>
                <a:cxn ang="0">
                  <a:pos x="81" y="23"/>
                </a:cxn>
                <a:cxn ang="0">
                  <a:pos x="97" y="13"/>
                </a:cxn>
                <a:cxn ang="0">
                  <a:pos x="97" y="9"/>
                </a:cxn>
              </a:cxnLst>
              <a:rect l="0" t="0" r="r" b="b"/>
              <a:pathLst>
                <a:path w="206" h="338">
                  <a:moveTo>
                    <a:pt x="103" y="6"/>
                  </a:moveTo>
                  <a:lnTo>
                    <a:pt x="104" y="4"/>
                  </a:lnTo>
                  <a:lnTo>
                    <a:pt x="105" y="0"/>
                  </a:lnTo>
                  <a:lnTo>
                    <a:pt x="105" y="3"/>
                  </a:lnTo>
                  <a:lnTo>
                    <a:pt x="104" y="4"/>
                  </a:lnTo>
                  <a:lnTo>
                    <a:pt x="103" y="6"/>
                  </a:lnTo>
                  <a:lnTo>
                    <a:pt x="104" y="7"/>
                  </a:lnTo>
                  <a:lnTo>
                    <a:pt x="104" y="5"/>
                  </a:lnTo>
                  <a:lnTo>
                    <a:pt x="105" y="5"/>
                  </a:lnTo>
                  <a:lnTo>
                    <a:pt x="104" y="7"/>
                  </a:lnTo>
                  <a:lnTo>
                    <a:pt x="106" y="6"/>
                  </a:lnTo>
                  <a:lnTo>
                    <a:pt x="108" y="6"/>
                  </a:lnTo>
                  <a:lnTo>
                    <a:pt x="103" y="9"/>
                  </a:lnTo>
                  <a:lnTo>
                    <a:pt x="104" y="9"/>
                  </a:lnTo>
                  <a:lnTo>
                    <a:pt x="105" y="9"/>
                  </a:lnTo>
                  <a:lnTo>
                    <a:pt x="104" y="10"/>
                  </a:lnTo>
                  <a:lnTo>
                    <a:pt x="106" y="10"/>
                  </a:lnTo>
                  <a:lnTo>
                    <a:pt x="104" y="10"/>
                  </a:lnTo>
                  <a:lnTo>
                    <a:pt x="104" y="11"/>
                  </a:lnTo>
                  <a:lnTo>
                    <a:pt x="104" y="12"/>
                  </a:lnTo>
                  <a:lnTo>
                    <a:pt x="105" y="12"/>
                  </a:lnTo>
                  <a:lnTo>
                    <a:pt x="104" y="12"/>
                  </a:lnTo>
                  <a:lnTo>
                    <a:pt x="105" y="12"/>
                  </a:lnTo>
                  <a:lnTo>
                    <a:pt x="104" y="12"/>
                  </a:lnTo>
                  <a:lnTo>
                    <a:pt x="104" y="13"/>
                  </a:lnTo>
                  <a:lnTo>
                    <a:pt x="104" y="12"/>
                  </a:lnTo>
                  <a:lnTo>
                    <a:pt x="105" y="13"/>
                  </a:lnTo>
                  <a:lnTo>
                    <a:pt x="106" y="11"/>
                  </a:lnTo>
                  <a:lnTo>
                    <a:pt x="105" y="13"/>
                  </a:lnTo>
                  <a:lnTo>
                    <a:pt x="106" y="13"/>
                  </a:lnTo>
                  <a:lnTo>
                    <a:pt x="106" y="12"/>
                  </a:lnTo>
                  <a:lnTo>
                    <a:pt x="106" y="13"/>
                  </a:lnTo>
                  <a:lnTo>
                    <a:pt x="105" y="13"/>
                  </a:lnTo>
                  <a:lnTo>
                    <a:pt x="106" y="13"/>
                  </a:lnTo>
                  <a:lnTo>
                    <a:pt x="105" y="15"/>
                  </a:lnTo>
                  <a:lnTo>
                    <a:pt x="106" y="16"/>
                  </a:lnTo>
                  <a:lnTo>
                    <a:pt x="106" y="15"/>
                  </a:lnTo>
                  <a:lnTo>
                    <a:pt x="109" y="13"/>
                  </a:lnTo>
                  <a:lnTo>
                    <a:pt x="108" y="15"/>
                  </a:lnTo>
                  <a:lnTo>
                    <a:pt x="109" y="15"/>
                  </a:lnTo>
                  <a:lnTo>
                    <a:pt x="110" y="15"/>
                  </a:lnTo>
                  <a:lnTo>
                    <a:pt x="109" y="15"/>
                  </a:lnTo>
                  <a:lnTo>
                    <a:pt x="108" y="15"/>
                  </a:lnTo>
                  <a:lnTo>
                    <a:pt x="109" y="16"/>
                  </a:lnTo>
                  <a:lnTo>
                    <a:pt x="108" y="16"/>
                  </a:lnTo>
                  <a:lnTo>
                    <a:pt x="106" y="16"/>
                  </a:lnTo>
                  <a:lnTo>
                    <a:pt x="108" y="16"/>
                  </a:lnTo>
                  <a:lnTo>
                    <a:pt x="106" y="16"/>
                  </a:lnTo>
                  <a:lnTo>
                    <a:pt x="105" y="16"/>
                  </a:lnTo>
                  <a:lnTo>
                    <a:pt x="106" y="17"/>
                  </a:lnTo>
                  <a:lnTo>
                    <a:pt x="105" y="16"/>
                  </a:lnTo>
                  <a:lnTo>
                    <a:pt x="103" y="17"/>
                  </a:lnTo>
                  <a:lnTo>
                    <a:pt x="103" y="18"/>
                  </a:lnTo>
                  <a:lnTo>
                    <a:pt x="104" y="18"/>
                  </a:lnTo>
                  <a:lnTo>
                    <a:pt x="105" y="18"/>
                  </a:lnTo>
                  <a:lnTo>
                    <a:pt x="106" y="18"/>
                  </a:lnTo>
                  <a:lnTo>
                    <a:pt x="106" y="17"/>
                  </a:lnTo>
                  <a:lnTo>
                    <a:pt x="108" y="17"/>
                  </a:lnTo>
                  <a:lnTo>
                    <a:pt x="106" y="18"/>
                  </a:lnTo>
                  <a:lnTo>
                    <a:pt x="108" y="18"/>
                  </a:lnTo>
                  <a:lnTo>
                    <a:pt x="108" y="19"/>
                  </a:lnTo>
                  <a:lnTo>
                    <a:pt x="106" y="19"/>
                  </a:lnTo>
                  <a:lnTo>
                    <a:pt x="108" y="21"/>
                  </a:lnTo>
                  <a:lnTo>
                    <a:pt x="105" y="19"/>
                  </a:lnTo>
                  <a:lnTo>
                    <a:pt x="104" y="19"/>
                  </a:lnTo>
                  <a:lnTo>
                    <a:pt x="105" y="19"/>
                  </a:lnTo>
                  <a:lnTo>
                    <a:pt x="105" y="21"/>
                  </a:lnTo>
                  <a:lnTo>
                    <a:pt x="106" y="21"/>
                  </a:lnTo>
                  <a:lnTo>
                    <a:pt x="105" y="22"/>
                  </a:lnTo>
                  <a:lnTo>
                    <a:pt x="106" y="23"/>
                  </a:lnTo>
                  <a:lnTo>
                    <a:pt x="105" y="23"/>
                  </a:lnTo>
                  <a:lnTo>
                    <a:pt x="105" y="24"/>
                  </a:lnTo>
                  <a:lnTo>
                    <a:pt x="106" y="24"/>
                  </a:lnTo>
                  <a:lnTo>
                    <a:pt x="105" y="24"/>
                  </a:lnTo>
                  <a:lnTo>
                    <a:pt x="105" y="25"/>
                  </a:lnTo>
                  <a:lnTo>
                    <a:pt x="106" y="25"/>
                  </a:lnTo>
                  <a:lnTo>
                    <a:pt x="106" y="24"/>
                  </a:lnTo>
                  <a:lnTo>
                    <a:pt x="106" y="25"/>
                  </a:lnTo>
                  <a:lnTo>
                    <a:pt x="106" y="27"/>
                  </a:lnTo>
                  <a:lnTo>
                    <a:pt x="106" y="25"/>
                  </a:lnTo>
                  <a:lnTo>
                    <a:pt x="105" y="25"/>
                  </a:lnTo>
                  <a:lnTo>
                    <a:pt x="105" y="27"/>
                  </a:lnTo>
                  <a:lnTo>
                    <a:pt x="106" y="27"/>
                  </a:lnTo>
                  <a:lnTo>
                    <a:pt x="109" y="28"/>
                  </a:lnTo>
                  <a:lnTo>
                    <a:pt x="111" y="30"/>
                  </a:lnTo>
                  <a:lnTo>
                    <a:pt x="112" y="30"/>
                  </a:lnTo>
                  <a:lnTo>
                    <a:pt x="111" y="30"/>
                  </a:lnTo>
                  <a:lnTo>
                    <a:pt x="112" y="30"/>
                  </a:lnTo>
                  <a:lnTo>
                    <a:pt x="114" y="31"/>
                  </a:lnTo>
                  <a:lnTo>
                    <a:pt x="111" y="31"/>
                  </a:lnTo>
                  <a:lnTo>
                    <a:pt x="111" y="33"/>
                  </a:lnTo>
                  <a:lnTo>
                    <a:pt x="111" y="31"/>
                  </a:lnTo>
                  <a:lnTo>
                    <a:pt x="111" y="30"/>
                  </a:lnTo>
                  <a:lnTo>
                    <a:pt x="110" y="30"/>
                  </a:lnTo>
                  <a:lnTo>
                    <a:pt x="110" y="31"/>
                  </a:lnTo>
                  <a:lnTo>
                    <a:pt x="110" y="30"/>
                  </a:lnTo>
                  <a:lnTo>
                    <a:pt x="109" y="30"/>
                  </a:lnTo>
                  <a:lnTo>
                    <a:pt x="110" y="31"/>
                  </a:lnTo>
                  <a:lnTo>
                    <a:pt x="109" y="33"/>
                  </a:lnTo>
                  <a:lnTo>
                    <a:pt x="109" y="34"/>
                  </a:lnTo>
                  <a:lnTo>
                    <a:pt x="110" y="34"/>
                  </a:lnTo>
                  <a:lnTo>
                    <a:pt x="111" y="34"/>
                  </a:lnTo>
                  <a:lnTo>
                    <a:pt x="110" y="35"/>
                  </a:lnTo>
                  <a:lnTo>
                    <a:pt x="110" y="34"/>
                  </a:lnTo>
                  <a:lnTo>
                    <a:pt x="110" y="35"/>
                  </a:lnTo>
                  <a:lnTo>
                    <a:pt x="111" y="35"/>
                  </a:lnTo>
                  <a:lnTo>
                    <a:pt x="112" y="36"/>
                  </a:lnTo>
                  <a:lnTo>
                    <a:pt x="111" y="36"/>
                  </a:lnTo>
                  <a:lnTo>
                    <a:pt x="111" y="37"/>
                  </a:lnTo>
                  <a:lnTo>
                    <a:pt x="112" y="36"/>
                  </a:lnTo>
                  <a:lnTo>
                    <a:pt x="114" y="36"/>
                  </a:lnTo>
                  <a:lnTo>
                    <a:pt x="114" y="37"/>
                  </a:lnTo>
                  <a:lnTo>
                    <a:pt x="115" y="39"/>
                  </a:lnTo>
                  <a:lnTo>
                    <a:pt x="116" y="39"/>
                  </a:lnTo>
                  <a:lnTo>
                    <a:pt x="117" y="39"/>
                  </a:lnTo>
                  <a:lnTo>
                    <a:pt x="118" y="40"/>
                  </a:lnTo>
                  <a:lnTo>
                    <a:pt x="120" y="40"/>
                  </a:lnTo>
                  <a:lnTo>
                    <a:pt x="118" y="40"/>
                  </a:lnTo>
                  <a:lnTo>
                    <a:pt x="120" y="40"/>
                  </a:lnTo>
                  <a:lnTo>
                    <a:pt x="121" y="40"/>
                  </a:lnTo>
                  <a:lnTo>
                    <a:pt x="121" y="41"/>
                  </a:lnTo>
                  <a:lnTo>
                    <a:pt x="123" y="42"/>
                  </a:lnTo>
                  <a:lnTo>
                    <a:pt x="124" y="42"/>
                  </a:lnTo>
                  <a:lnTo>
                    <a:pt x="124" y="43"/>
                  </a:lnTo>
                  <a:lnTo>
                    <a:pt x="126" y="43"/>
                  </a:lnTo>
                  <a:lnTo>
                    <a:pt x="126" y="45"/>
                  </a:lnTo>
                  <a:lnTo>
                    <a:pt x="127" y="45"/>
                  </a:lnTo>
                  <a:lnTo>
                    <a:pt x="128" y="47"/>
                  </a:lnTo>
                  <a:lnTo>
                    <a:pt x="127" y="46"/>
                  </a:lnTo>
                  <a:lnTo>
                    <a:pt x="127" y="47"/>
                  </a:lnTo>
                  <a:lnTo>
                    <a:pt x="126" y="46"/>
                  </a:lnTo>
                  <a:lnTo>
                    <a:pt x="126" y="45"/>
                  </a:lnTo>
                  <a:lnTo>
                    <a:pt x="123" y="43"/>
                  </a:lnTo>
                  <a:lnTo>
                    <a:pt x="124" y="45"/>
                  </a:lnTo>
                  <a:lnTo>
                    <a:pt x="123" y="45"/>
                  </a:lnTo>
                  <a:lnTo>
                    <a:pt x="123" y="46"/>
                  </a:lnTo>
                  <a:lnTo>
                    <a:pt x="123" y="45"/>
                  </a:lnTo>
                  <a:lnTo>
                    <a:pt x="123" y="43"/>
                  </a:lnTo>
                  <a:lnTo>
                    <a:pt x="123" y="45"/>
                  </a:lnTo>
                  <a:lnTo>
                    <a:pt x="123" y="46"/>
                  </a:lnTo>
                  <a:lnTo>
                    <a:pt x="122" y="46"/>
                  </a:lnTo>
                  <a:lnTo>
                    <a:pt x="122" y="47"/>
                  </a:lnTo>
                  <a:lnTo>
                    <a:pt x="123" y="47"/>
                  </a:lnTo>
                  <a:lnTo>
                    <a:pt x="123" y="48"/>
                  </a:lnTo>
                  <a:lnTo>
                    <a:pt x="123" y="49"/>
                  </a:lnTo>
                  <a:lnTo>
                    <a:pt x="123" y="51"/>
                  </a:lnTo>
                  <a:lnTo>
                    <a:pt x="123" y="52"/>
                  </a:lnTo>
                  <a:lnTo>
                    <a:pt x="122" y="52"/>
                  </a:lnTo>
                  <a:lnTo>
                    <a:pt x="123" y="52"/>
                  </a:lnTo>
                  <a:lnTo>
                    <a:pt x="123" y="53"/>
                  </a:lnTo>
                  <a:lnTo>
                    <a:pt x="124" y="53"/>
                  </a:lnTo>
                  <a:lnTo>
                    <a:pt x="126" y="53"/>
                  </a:lnTo>
                  <a:lnTo>
                    <a:pt x="124" y="53"/>
                  </a:lnTo>
                  <a:lnTo>
                    <a:pt x="126" y="54"/>
                  </a:lnTo>
                  <a:lnTo>
                    <a:pt x="126" y="53"/>
                  </a:lnTo>
                  <a:lnTo>
                    <a:pt x="127" y="53"/>
                  </a:lnTo>
                  <a:lnTo>
                    <a:pt x="127" y="54"/>
                  </a:lnTo>
                  <a:lnTo>
                    <a:pt x="128" y="54"/>
                  </a:lnTo>
                  <a:lnTo>
                    <a:pt x="127" y="54"/>
                  </a:lnTo>
                  <a:lnTo>
                    <a:pt x="129" y="54"/>
                  </a:lnTo>
                  <a:lnTo>
                    <a:pt x="128" y="55"/>
                  </a:lnTo>
                  <a:lnTo>
                    <a:pt x="127" y="54"/>
                  </a:lnTo>
                  <a:lnTo>
                    <a:pt x="128" y="57"/>
                  </a:lnTo>
                  <a:lnTo>
                    <a:pt x="127" y="54"/>
                  </a:lnTo>
                  <a:lnTo>
                    <a:pt x="127" y="55"/>
                  </a:lnTo>
                  <a:lnTo>
                    <a:pt x="126" y="55"/>
                  </a:lnTo>
                  <a:lnTo>
                    <a:pt x="126" y="54"/>
                  </a:lnTo>
                  <a:lnTo>
                    <a:pt x="124" y="54"/>
                  </a:lnTo>
                  <a:lnTo>
                    <a:pt x="124" y="55"/>
                  </a:lnTo>
                  <a:lnTo>
                    <a:pt x="124" y="58"/>
                  </a:lnTo>
                  <a:lnTo>
                    <a:pt x="123" y="58"/>
                  </a:lnTo>
                  <a:lnTo>
                    <a:pt x="123" y="57"/>
                  </a:lnTo>
                  <a:lnTo>
                    <a:pt x="123" y="58"/>
                  </a:lnTo>
                  <a:lnTo>
                    <a:pt x="123" y="57"/>
                  </a:lnTo>
                  <a:lnTo>
                    <a:pt x="122" y="58"/>
                  </a:lnTo>
                  <a:lnTo>
                    <a:pt x="122" y="57"/>
                  </a:lnTo>
                  <a:lnTo>
                    <a:pt x="122" y="58"/>
                  </a:lnTo>
                  <a:lnTo>
                    <a:pt x="121" y="58"/>
                  </a:lnTo>
                  <a:lnTo>
                    <a:pt x="121" y="57"/>
                  </a:lnTo>
                  <a:lnTo>
                    <a:pt x="121" y="55"/>
                  </a:lnTo>
                  <a:lnTo>
                    <a:pt x="120" y="55"/>
                  </a:lnTo>
                  <a:lnTo>
                    <a:pt x="120" y="57"/>
                  </a:lnTo>
                  <a:lnTo>
                    <a:pt x="120" y="58"/>
                  </a:lnTo>
                  <a:lnTo>
                    <a:pt x="120" y="59"/>
                  </a:lnTo>
                  <a:lnTo>
                    <a:pt x="121" y="59"/>
                  </a:lnTo>
                  <a:lnTo>
                    <a:pt x="122" y="60"/>
                  </a:lnTo>
                  <a:lnTo>
                    <a:pt x="123" y="60"/>
                  </a:lnTo>
                  <a:lnTo>
                    <a:pt x="124" y="61"/>
                  </a:lnTo>
                  <a:lnTo>
                    <a:pt x="126" y="61"/>
                  </a:lnTo>
                  <a:lnTo>
                    <a:pt x="127" y="61"/>
                  </a:lnTo>
                  <a:lnTo>
                    <a:pt x="128" y="61"/>
                  </a:lnTo>
                  <a:lnTo>
                    <a:pt x="129" y="61"/>
                  </a:lnTo>
                  <a:lnTo>
                    <a:pt x="129" y="60"/>
                  </a:lnTo>
                  <a:lnTo>
                    <a:pt x="129" y="61"/>
                  </a:lnTo>
                  <a:lnTo>
                    <a:pt x="130" y="61"/>
                  </a:lnTo>
                  <a:lnTo>
                    <a:pt x="132" y="60"/>
                  </a:lnTo>
                  <a:lnTo>
                    <a:pt x="133" y="60"/>
                  </a:lnTo>
                  <a:lnTo>
                    <a:pt x="130" y="61"/>
                  </a:lnTo>
                  <a:lnTo>
                    <a:pt x="134" y="61"/>
                  </a:lnTo>
                  <a:lnTo>
                    <a:pt x="132" y="63"/>
                  </a:lnTo>
                  <a:lnTo>
                    <a:pt x="130" y="63"/>
                  </a:lnTo>
                  <a:lnTo>
                    <a:pt x="132" y="63"/>
                  </a:lnTo>
                  <a:lnTo>
                    <a:pt x="130" y="61"/>
                  </a:lnTo>
                  <a:lnTo>
                    <a:pt x="129" y="61"/>
                  </a:lnTo>
                  <a:lnTo>
                    <a:pt x="129" y="63"/>
                  </a:lnTo>
                  <a:lnTo>
                    <a:pt x="129" y="64"/>
                  </a:lnTo>
                  <a:lnTo>
                    <a:pt x="129" y="65"/>
                  </a:lnTo>
                  <a:lnTo>
                    <a:pt x="128" y="65"/>
                  </a:lnTo>
                  <a:lnTo>
                    <a:pt x="129" y="65"/>
                  </a:lnTo>
                  <a:lnTo>
                    <a:pt x="129" y="66"/>
                  </a:lnTo>
                  <a:lnTo>
                    <a:pt x="130" y="67"/>
                  </a:lnTo>
                  <a:lnTo>
                    <a:pt x="130" y="66"/>
                  </a:lnTo>
                  <a:lnTo>
                    <a:pt x="132" y="66"/>
                  </a:lnTo>
                  <a:lnTo>
                    <a:pt x="132" y="67"/>
                  </a:lnTo>
                  <a:lnTo>
                    <a:pt x="134" y="66"/>
                  </a:lnTo>
                  <a:lnTo>
                    <a:pt x="134" y="65"/>
                  </a:lnTo>
                  <a:lnTo>
                    <a:pt x="136" y="64"/>
                  </a:lnTo>
                  <a:lnTo>
                    <a:pt x="135" y="65"/>
                  </a:lnTo>
                  <a:lnTo>
                    <a:pt x="136" y="65"/>
                  </a:lnTo>
                  <a:lnTo>
                    <a:pt x="136" y="66"/>
                  </a:lnTo>
                  <a:lnTo>
                    <a:pt x="135" y="66"/>
                  </a:lnTo>
                  <a:lnTo>
                    <a:pt x="135" y="67"/>
                  </a:lnTo>
                  <a:lnTo>
                    <a:pt x="135" y="66"/>
                  </a:lnTo>
                  <a:lnTo>
                    <a:pt x="134" y="66"/>
                  </a:lnTo>
                  <a:lnTo>
                    <a:pt x="135" y="67"/>
                  </a:lnTo>
                  <a:lnTo>
                    <a:pt x="134" y="67"/>
                  </a:lnTo>
                  <a:lnTo>
                    <a:pt x="133" y="67"/>
                  </a:lnTo>
                  <a:lnTo>
                    <a:pt x="134" y="67"/>
                  </a:lnTo>
                  <a:lnTo>
                    <a:pt x="135" y="69"/>
                  </a:lnTo>
                  <a:lnTo>
                    <a:pt x="134" y="69"/>
                  </a:lnTo>
                  <a:lnTo>
                    <a:pt x="133" y="69"/>
                  </a:lnTo>
                  <a:lnTo>
                    <a:pt x="132" y="69"/>
                  </a:lnTo>
                  <a:lnTo>
                    <a:pt x="132" y="70"/>
                  </a:lnTo>
                  <a:lnTo>
                    <a:pt x="133" y="71"/>
                  </a:lnTo>
                  <a:lnTo>
                    <a:pt x="134" y="71"/>
                  </a:lnTo>
                  <a:lnTo>
                    <a:pt x="136" y="71"/>
                  </a:lnTo>
                  <a:lnTo>
                    <a:pt x="135" y="71"/>
                  </a:lnTo>
                  <a:lnTo>
                    <a:pt x="135" y="72"/>
                  </a:lnTo>
                  <a:lnTo>
                    <a:pt x="136" y="73"/>
                  </a:lnTo>
                  <a:lnTo>
                    <a:pt x="135" y="72"/>
                  </a:lnTo>
                  <a:lnTo>
                    <a:pt x="134" y="72"/>
                  </a:lnTo>
                  <a:lnTo>
                    <a:pt x="134" y="73"/>
                  </a:lnTo>
                  <a:lnTo>
                    <a:pt x="134" y="72"/>
                  </a:lnTo>
                  <a:lnTo>
                    <a:pt x="133" y="73"/>
                  </a:lnTo>
                  <a:lnTo>
                    <a:pt x="132" y="73"/>
                  </a:lnTo>
                  <a:lnTo>
                    <a:pt x="133" y="73"/>
                  </a:lnTo>
                  <a:lnTo>
                    <a:pt x="132" y="73"/>
                  </a:lnTo>
                  <a:lnTo>
                    <a:pt x="132" y="75"/>
                  </a:lnTo>
                  <a:lnTo>
                    <a:pt x="133" y="75"/>
                  </a:lnTo>
                  <a:lnTo>
                    <a:pt x="134" y="76"/>
                  </a:lnTo>
                  <a:lnTo>
                    <a:pt x="134" y="77"/>
                  </a:lnTo>
                  <a:lnTo>
                    <a:pt x="135" y="77"/>
                  </a:lnTo>
                  <a:lnTo>
                    <a:pt x="135" y="78"/>
                  </a:lnTo>
                  <a:lnTo>
                    <a:pt x="136" y="78"/>
                  </a:lnTo>
                  <a:lnTo>
                    <a:pt x="138" y="78"/>
                  </a:lnTo>
                  <a:lnTo>
                    <a:pt x="139" y="78"/>
                  </a:lnTo>
                  <a:lnTo>
                    <a:pt x="139" y="79"/>
                  </a:lnTo>
                  <a:lnTo>
                    <a:pt x="138" y="79"/>
                  </a:lnTo>
                  <a:lnTo>
                    <a:pt x="139" y="79"/>
                  </a:lnTo>
                  <a:lnTo>
                    <a:pt x="139" y="81"/>
                  </a:lnTo>
                  <a:lnTo>
                    <a:pt x="138" y="81"/>
                  </a:lnTo>
                  <a:lnTo>
                    <a:pt x="138" y="79"/>
                  </a:lnTo>
                  <a:lnTo>
                    <a:pt x="138" y="81"/>
                  </a:lnTo>
                  <a:lnTo>
                    <a:pt x="138" y="79"/>
                  </a:lnTo>
                  <a:lnTo>
                    <a:pt x="136" y="79"/>
                  </a:lnTo>
                  <a:lnTo>
                    <a:pt x="135" y="78"/>
                  </a:lnTo>
                  <a:lnTo>
                    <a:pt x="135" y="79"/>
                  </a:lnTo>
                  <a:lnTo>
                    <a:pt x="135" y="81"/>
                  </a:lnTo>
                  <a:lnTo>
                    <a:pt x="135" y="82"/>
                  </a:lnTo>
                  <a:lnTo>
                    <a:pt x="135" y="81"/>
                  </a:lnTo>
                  <a:lnTo>
                    <a:pt x="135" y="79"/>
                  </a:lnTo>
                  <a:lnTo>
                    <a:pt x="134" y="81"/>
                  </a:lnTo>
                  <a:lnTo>
                    <a:pt x="134" y="82"/>
                  </a:lnTo>
                  <a:lnTo>
                    <a:pt x="133" y="81"/>
                  </a:lnTo>
                  <a:lnTo>
                    <a:pt x="133" y="79"/>
                  </a:lnTo>
                  <a:lnTo>
                    <a:pt x="133" y="81"/>
                  </a:lnTo>
                  <a:lnTo>
                    <a:pt x="132" y="81"/>
                  </a:lnTo>
                  <a:lnTo>
                    <a:pt x="132" y="79"/>
                  </a:lnTo>
                  <a:lnTo>
                    <a:pt x="132" y="78"/>
                  </a:lnTo>
                  <a:lnTo>
                    <a:pt x="130" y="79"/>
                  </a:lnTo>
                  <a:lnTo>
                    <a:pt x="130" y="78"/>
                  </a:lnTo>
                  <a:lnTo>
                    <a:pt x="130" y="77"/>
                  </a:lnTo>
                  <a:lnTo>
                    <a:pt x="129" y="77"/>
                  </a:lnTo>
                  <a:lnTo>
                    <a:pt x="129" y="78"/>
                  </a:lnTo>
                  <a:lnTo>
                    <a:pt x="129" y="79"/>
                  </a:lnTo>
                  <a:lnTo>
                    <a:pt x="129" y="78"/>
                  </a:lnTo>
                  <a:lnTo>
                    <a:pt x="129" y="77"/>
                  </a:lnTo>
                  <a:lnTo>
                    <a:pt x="129" y="76"/>
                  </a:lnTo>
                  <a:lnTo>
                    <a:pt x="128" y="76"/>
                  </a:lnTo>
                  <a:lnTo>
                    <a:pt x="128" y="77"/>
                  </a:lnTo>
                  <a:lnTo>
                    <a:pt x="128" y="78"/>
                  </a:lnTo>
                  <a:lnTo>
                    <a:pt x="129" y="78"/>
                  </a:lnTo>
                  <a:lnTo>
                    <a:pt x="129" y="79"/>
                  </a:lnTo>
                  <a:lnTo>
                    <a:pt x="130" y="81"/>
                  </a:lnTo>
                  <a:lnTo>
                    <a:pt x="132" y="81"/>
                  </a:lnTo>
                  <a:lnTo>
                    <a:pt x="132" y="82"/>
                  </a:lnTo>
                  <a:lnTo>
                    <a:pt x="133" y="82"/>
                  </a:lnTo>
                  <a:lnTo>
                    <a:pt x="134" y="83"/>
                  </a:lnTo>
                  <a:lnTo>
                    <a:pt x="135" y="82"/>
                  </a:lnTo>
                  <a:lnTo>
                    <a:pt x="136" y="82"/>
                  </a:lnTo>
                  <a:lnTo>
                    <a:pt x="138" y="82"/>
                  </a:lnTo>
                  <a:lnTo>
                    <a:pt x="139" y="82"/>
                  </a:lnTo>
                  <a:lnTo>
                    <a:pt x="139" y="81"/>
                  </a:lnTo>
                  <a:lnTo>
                    <a:pt x="140" y="79"/>
                  </a:lnTo>
                  <a:lnTo>
                    <a:pt x="140" y="78"/>
                  </a:lnTo>
                  <a:lnTo>
                    <a:pt x="141" y="78"/>
                  </a:lnTo>
                  <a:lnTo>
                    <a:pt x="140" y="77"/>
                  </a:lnTo>
                  <a:lnTo>
                    <a:pt x="141" y="77"/>
                  </a:lnTo>
                  <a:lnTo>
                    <a:pt x="141" y="78"/>
                  </a:lnTo>
                  <a:lnTo>
                    <a:pt x="144" y="76"/>
                  </a:lnTo>
                  <a:lnTo>
                    <a:pt x="145" y="76"/>
                  </a:lnTo>
                  <a:lnTo>
                    <a:pt x="144" y="76"/>
                  </a:lnTo>
                  <a:lnTo>
                    <a:pt x="146" y="76"/>
                  </a:lnTo>
                  <a:lnTo>
                    <a:pt x="145" y="77"/>
                  </a:lnTo>
                  <a:lnTo>
                    <a:pt x="144" y="77"/>
                  </a:lnTo>
                  <a:lnTo>
                    <a:pt x="145" y="78"/>
                  </a:lnTo>
                  <a:lnTo>
                    <a:pt x="144" y="77"/>
                  </a:lnTo>
                  <a:lnTo>
                    <a:pt x="142" y="78"/>
                  </a:lnTo>
                  <a:lnTo>
                    <a:pt x="144" y="79"/>
                  </a:lnTo>
                  <a:lnTo>
                    <a:pt x="142" y="78"/>
                  </a:lnTo>
                  <a:lnTo>
                    <a:pt x="142" y="79"/>
                  </a:lnTo>
                  <a:lnTo>
                    <a:pt x="141" y="79"/>
                  </a:lnTo>
                  <a:lnTo>
                    <a:pt x="141" y="81"/>
                  </a:lnTo>
                  <a:lnTo>
                    <a:pt x="142" y="82"/>
                  </a:lnTo>
                  <a:lnTo>
                    <a:pt x="141" y="81"/>
                  </a:lnTo>
                  <a:lnTo>
                    <a:pt x="140" y="81"/>
                  </a:lnTo>
                  <a:lnTo>
                    <a:pt x="141" y="82"/>
                  </a:lnTo>
                  <a:lnTo>
                    <a:pt x="142" y="82"/>
                  </a:lnTo>
                  <a:lnTo>
                    <a:pt x="141" y="83"/>
                  </a:lnTo>
                  <a:lnTo>
                    <a:pt x="142" y="83"/>
                  </a:lnTo>
                  <a:lnTo>
                    <a:pt x="142" y="84"/>
                  </a:lnTo>
                  <a:lnTo>
                    <a:pt x="141" y="84"/>
                  </a:lnTo>
                  <a:lnTo>
                    <a:pt x="142" y="85"/>
                  </a:lnTo>
                  <a:lnTo>
                    <a:pt x="141" y="85"/>
                  </a:lnTo>
                  <a:lnTo>
                    <a:pt x="140" y="84"/>
                  </a:lnTo>
                  <a:lnTo>
                    <a:pt x="140" y="83"/>
                  </a:lnTo>
                  <a:lnTo>
                    <a:pt x="140" y="84"/>
                  </a:lnTo>
                  <a:lnTo>
                    <a:pt x="140" y="85"/>
                  </a:lnTo>
                  <a:lnTo>
                    <a:pt x="139" y="85"/>
                  </a:lnTo>
                  <a:lnTo>
                    <a:pt x="139" y="87"/>
                  </a:lnTo>
                  <a:lnTo>
                    <a:pt x="140" y="87"/>
                  </a:lnTo>
                  <a:lnTo>
                    <a:pt x="140" y="85"/>
                  </a:lnTo>
                  <a:lnTo>
                    <a:pt x="140" y="87"/>
                  </a:lnTo>
                  <a:lnTo>
                    <a:pt x="141" y="87"/>
                  </a:lnTo>
                  <a:lnTo>
                    <a:pt x="142" y="87"/>
                  </a:lnTo>
                  <a:lnTo>
                    <a:pt x="144" y="88"/>
                  </a:lnTo>
                  <a:lnTo>
                    <a:pt x="142" y="88"/>
                  </a:lnTo>
                  <a:lnTo>
                    <a:pt x="141" y="88"/>
                  </a:lnTo>
                  <a:lnTo>
                    <a:pt x="142" y="88"/>
                  </a:lnTo>
                  <a:lnTo>
                    <a:pt x="142" y="89"/>
                  </a:lnTo>
                  <a:lnTo>
                    <a:pt x="141" y="88"/>
                  </a:lnTo>
                  <a:lnTo>
                    <a:pt x="141" y="89"/>
                  </a:lnTo>
                  <a:lnTo>
                    <a:pt x="141" y="88"/>
                  </a:lnTo>
                  <a:lnTo>
                    <a:pt x="140" y="88"/>
                  </a:lnTo>
                  <a:lnTo>
                    <a:pt x="141" y="89"/>
                  </a:lnTo>
                  <a:lnTo>
                    <a:pt x="140" y="90"/>
                  </a:lnTo>
                  <a:lnTo>
                    <a:pt x="140" y="89"/>
                  </a:lnTo>
                  <a:lnTo>
                    <a:pt x="139" y="89"/>
                  </a:lnTo>
                  <a:lnTo>
                    <a:pt x="139" y="88"/>
                  </a:lnTo>
                  <a:lnTo>
                    <a:pt x="139" y="89"/>
                  </a:lnTo>
                  <a:lnTo>
                    <a:pt x="138" y="89"/>
                  </a:lnTo>
                  <a:lnTo>
                    <a:pt x="138" y="90"/>
                  </a:lnTo>
                  <a:lnTo>
                    <a:pt x="138" y="91"/>
                  </a:lnTo>
                  <a:lnTo>
                    <a:pt x="139" y="90"/>
                  </a:lnTo>
                  <a:lnTo>
                    <a:pt x="139" y="91"/>
                  </a:lnTo>
                  <a:lnTo>
                    <a:pt x="138" y="91"/>
                  </a:lnTo>
                  <a:lnTo>
                    <a:pt x="140" y="91"/>
                  </a:lnTo>
                  <a:lnTo>
                    <a:pt x="140" y="93"/>
                  </a:lnTo>
                  <a:lnTo>
                    <a:pt x="141" y="93"/>
                  </a:lnTo>
                  <a:lnTo>
                    <a:pt x="141" y="94"/>
                  </a:lnTo>
                  <a:lnTo>
                    <a:pt x="142" y="95"/>
                  </a:lnTo>
                  <a:lnTo>
                    <a:pt x="142" y="94"/>
                  </a:lnTo>
                  <a:lnTo>
                    <a:pt x="144" y="95"/>
                  </a:lnTo>
                  <a:lnTo>
                    <a:pt x="145" y="94"/>
                  </a:lnTo>
                  <a:lnTo>
                    <a:pt x="145" y="95"/>
                  </a:lnTo>
                  <a:lnTo>
                    <a:pt x="145" y="96"/>
                  </a:lnTo>
                  <a:lnTo>
                    <a:pt x="144" y="96"/>
                  </a:lnTo>
                  <a:lnTo>
                    <a:pt x="144" y="95"/>
                  </a:lnTo>
                  <a:lnTo>
                    <a:pt x="144" y="96"/>
                  </a:lnTo>
                  <a:lnTo>
                    <a:pt x="142" y="96"/>
                  </a:lnTo>
                  <a:lnTo>
                    <a:pt x="144" y="96"/>
                  </a:lnTo>
                  <a:lnTo>
                    <a:pt x="144" y="97"/>
                  </a:lnTo>
                  <a:lnTo>
                    <a:pt x="144" y="99"/>
                  </a:lnTo>
                  <a:lnTo>
                    <a:pt x="144" y="100"/>
                  </a:lnTo>
                  <a:lnTo>
                    <a:pt x="145" y="100"/>
                  </a:lnTo>
                  <a:lnTo>
                    <a:pt x="145" y="101"/>
                  </a:lnTo>
                  <a:lnTo>
                    <a:pt x="146" y="101"/>
                  </a:lnTo>
                  <a:lnTo>
                    <a:pt x="147" y="101"/>
                  </a:lnTo>
                  <a:lnTo>
                    <a:pt x="146" y="101"/>
                  </a:lnTo>
                  <a:lnTo>
                    <a:pt x="148" y="103"/>
                  </a:lnTo>
                  <a:lnTo>
                    <a:pt x="150" y="106"/>
                  </a:lnTo>
                  <a:lnTo>
                    <a:pt x="151" y="106"/>
                  </a:lnTo>
                  <a:lnTo>
                    <a:pt x="152" y="106"/>
                  </a:lnTo>
                  <a:lnTo>
                    <a:pt x="151" y="106"/>
                  </a:lnTo>
                  <a:lnTo>
                    <a:pt x="151" y="107"/>
                  </a:lnTo>
                  <a:lnTo>
                    <a:pt x="153" y="108"/>
                  </a:lnTo>
                  <a:lnTo>
                    <a:pt x="152" y="108"/>
                  </a:lnTo>
                  <a:lnTo>
                    <a:pt x="151" y="107"/>
                  </a:lnTo>
                  <a:lnTo>
                    <a:pt x="152" y="110"/>
                  </a:lnTo>
                  <a:lnTo>
                    <a:pt x="153" y="108"/>
                  </a:lnTo>
                  <a:lnTo>
                    <a:pt x="153" y="110"/>
                  </a:lnTo>
                  <a:lnTo>
                    <a:pt x="155" y="111"/>
                  </a:lnTo>
                  <a:lnTo>
                    <a:pt x="153" y="111"/>
                  </a:lnTo>
                  <a:lnTo>
                    <a:pt x="155" y="111"/>
                  </a:lnTo>
                  <a:lnTo>
                    <a:pt x="156" y="111"/>
                  </a:lnTo>
                  <a:lnTo>
                    <a:pt x="157" y="112"/>
                  </a:lnTo>
                  <a:lnTo>
                    <a:pt x="156" y="113"/>
                  </a:lnTo>
                  <a:lnTo>
                    <a:pt x="158" y="114"/>
                  </a:lnTo>
                  <a:lnTo>
                    <a:pt x="156" y="113"/>
                  </a:lnTo>
                  <a:lnTo>
                    <a:pt x="156" y="114"/>
                  </a:lnTo>
                  <a:lnTo>
                    <a:pt x="155" y="114"/>
                  </a:lnTo>
                  <a:lnTo>
                    <a:pt x="155" y="113"/>
                  </a:lnTo>
                  <a:lnTo>
                    <a:pt x="155" y="112"/>
                  </a:lnTo>
                  <a:lnTo>
                    <a:pt x="153" y="113"/>
                  </a:lnTo>
                  <a:lnTo>
                    <a:pt x="153" y="111"/>
                  </a:lnTo>
                  <a:lnTo>
                    <a:pt x="153" y="114"/>
                  </a:lnTo>
                  <a:lnTo>
                    <a:pt x="152" y="113"/>
                  </a:lnTo>
                  <a:lnTo>
                    <a:pt x="152" y="114"/>
                  </a:lnTo>
                  <a:lnTo>
                    <a:pt x="151" y="114"/>
                  </a:lnTo>
                  <a:lnTo>
                    <a:pt x="151" y="113"/>
                  </a:lnTo>
                  <a:lnTo>
                    <a:pt x="151" y="112"/>
                  </a:lnTo>
                  <a:lnTo>
                    <a:pt x="150" y="111"/>
                  </a:lnTo>
                  <a:lnTo>
                    <a:pt x="148" y="111"/>
                  </a:lnTo>
                  <a:lnTo>
                    <a:pt x="148" y="112"/>
                  </a:lnTo>
                  <a:lnTo>
                    <a:pt x="148" y="111"/>
                  </a:lnTo>
                  <a:lnTo>
                    <a:pt x="148" y="110"/>
                  </a:lnTo>
                  <a:lnTo>
                    <a:pt x="147" y="110"/>
                  </a:lnTo>
                  <a:lnTo>
                    <a:pt x="146" y="110"/>
                  </a:lnTo>
                  <a:lnTo>
                    <a:pt x="146" y="111"/>
                  </a:lnTo>
                  <a:lnTo>
                    <a:pt x="147" y="112"/>
                  </a:lnTo>
                  <a:lnTo>
                    <a:pt x="148" y="112"/>
                  </a:lnTo>
                  <a:lnTo>
                    <a:pt x="148" y="114"/>
                  </a:lnTo>
                  <a:lnTo>
                    <a:pt x="150" y="114"/>
                  </a:lnTo>
                  <a:lnTo>
                    <a:pt x="150" y="116"/>
                  </a:lnTo>
                  <a:lnTo>
                    <a:pt x="152" y="117"/>
                  </a:lnTo>
                  <a:lnTo>
                    <a:pt x="153" y="118"/>
                  </a:lnTo>
                  <a:lnTo>
                    <a:pt x="152" y="118"/>
                  </a:lnTo>
                  <a:lnTo>
                    <a:pt x="153" y="119"/>
                  </a:lnTo>
                  <a:lnTo>
                    <a:pt x="152" y="118"/>
                  </a:lnTo>
                  <a:lnTo>
                    <a:pt x="151" y="119"/>
                  </a:lnTo>
                  <a:lnTo>
                    <a:pt x="151" y="118"/>
                  </a:lnTo>
                  <a:lnTo>
                    <a:pt x="151" y="117"/>
                  </a:lnTo>
                  <a:lnTo>
                    <a:pt x="150" y="117"/>
                  </a:lnTo>
                  <a:lnTo>
                    <a:pt x="150" y="118"/>
                  </a:lnTo>
                  <a:lnTo>
                    <a:pt x="150" y="116"/>
                  </a:lnTo>
                  <a:lnTo>
                    <a:pt x="148" y="118"/>
                  </a:lnTo>
                  <a:lnTo>
                    <a:pt x="148" y="119"/>
                  </a:lnTo>
                  <a:lnTo>
                    <a:pt x="148" y="118"/>
                  </a:lnTo>
                  <a:lnTo>
                    <a:pt x="148" y="117"/>
                  </a:lnTo>
                  <a:lnTo>
                    <a:pt x="147" y="117"/>
                  </a:lnTo>
                  <a:lnTo>
                    <a:pt x="148" y="114"/>
                  </a:lnTo>
                  <a:lnTo>
                    <a:pt x="148" y="113"/>
                  </a:lnTo>
                  <a:lnTo>
                    <a:pt x="148" y="114"/>
                  </a:lnTo>
                  <a:lnTo>
                    <a:pt x="147" y="117"/>
                  </a:lnTo>
                  <a:lnTo>
                    <a:pt x="147" y="116"/>
                  </a:lnTo>
                  <a:lnTo>
                    <a:pt x="147" y="113"/>
                  </a:lnTo>
                  <a:lnTo>
                    <a:pt x="147" y="114"/>
                  </a:lnTo>
                  <a:lnTo>
                    <a:pt x="147" y="116"/>
                  </a:lnTo>
                  <a:lnTo>
                    <a:pt x="147" y="112"/>
                  </a:lnTo>
                  <a:lnTo>
                    <a:pt x="146" y="114"/>
                  </a:lnTo>
                  <a:lnTo>
                    <a:pt x="146" y="116"/>
                  </a:lnTo>
                  <a:lnTo>
                    <a:pt x="145" y="116"/>
                  </a:lnTo>
                  <a:lnTo>
                    <a:pt x="145" y="113"/>
                  </a:lnTo>
                  <a:lnTo>
                    <a:pt x="144" y="113"/>
                  </a:lnTo>
                  <a:lnTo>
                    <a:pt x="144" y="112"/>
                  </a:lnTo>
                  <a:lnTo>
                    <a:pt x="144" y="111"/>
                  </a:lnTo>
                  <a:lnTo>
                    <a:pt x="144" y="112"/>
                  </a:lnTo>
                  <a:lnTo>
                    <a:pt x="144" y="113"/>
                  </a:lnTo>
                  <a:lnTo>
                    <a:pt x="142" y="113"/>
                  </a:lnTo>
                  <a:lnTo>
                    <a:pt x="142" y="112"/>
                  </a:lnTo>
                  <a:lnTo>
                    <a:pt x="141" y="112"/>
                  </a:lnTo>
                  <a:lnTo>
                    <a:pt x="141" y="113"/>
                  </a:lnTo>
                  <a:lnTo>
                    <a:pt x="142" y="114"/>
                  </a:lnTo>
                  <a:lnTo>
                    <a:pt x="141" y="114"/>
                  </a:lnTo>
                  <a:lnTo>
                    <a:pt x="142" y="114"/>
                  </a:lnTo>
                  <a:lnTo>
                    <a:pt x="142" y="116"/>
                  </a:lnTo>
                  <a:lnTo>
                    <a:pt x="144" y="117"/>
                  </a:lnTo>
                  <a:lnTo>
                    <a:pt x="145" y="117"/>
                  </a:lnTo>
                  <a:lnTo>
                    <a:pt x="146" y="118"/>
                  </a:lnTo>
                  <a:lnTo>
                    <a:pt x="145" y="118"/>
                  </a:lnTo>
                  <a:lnTo>
                    <a:pt x="146" y="118"/>
                  </a:lnTo>
                  <a:lnTo>
                    <a:pt x="147" y="119"/>
                  </a:lnTo>
                  <a:lnTo>
                    <a:pt x="146" y="119"/>
                  </a:lnTo>
                  <a:lnTo>
                    <a:pt x="147" y="120"/>
                  </a:lnTo>
                  <a:lnTo>
                    <a:pt x="147" y="119"/>
                  </a:lnTo>
                  <a:lnTo>
                    <a:pt x="148" y="119"/>
                  </a:lnTo>
                  <a:lnTo>
                    <a:pt x="148" y="120"/>
                  </a:lnTo>
                  <a:lnTo>
                    <a:pt x="150" y="120"/>
                  </a:lnTo>
                  <a:lnTo>
                    <a:pt x="148" y="120"/>
                  </a:lnTo>
                  <a:lnTo>
                    <a:pt x="148" y="122"/>
                  </a:lnTo>
                  <a:lnTo>
                    <a:pt x="150" y="122"/>
                  </a:lnTo>
                  <a:lnTo>
                    <a:pt x="148" y="122"/>
                  </a:lnTo>
                  <a:lnTo>
                    <a:pt x="150" y="123"/>
                  </a:lnTo>
                  <a:lnTo>
                    <a:pt x="151" y="123"/>
                  </a:lnTo>
                  <a:lnTo>
                    <a:pt x="152" y="123"/>
                  </a:lnTo>
                  <a:lnTo>
                    <a:pt x="151" y="124"/>
                  </a:lnTo>
                  <a:lnTo>
                    <a:pt x="152" y="125"/>
                  </a:lnTo>
                  <a:lnTo>
                    <a:pt x="151" y="124"/>
                  </a:lnTo>
                  <a:lnTo>
                    <a:pt x="150" y="124"/>
                  </a:lnTo>
                  <a:lnTo>
                    <a:pt x="150" y="125"/>
                  </a:lnTo>
                  <a:lnTo>
                    <a:pt x="151" y="125"/>
                  </a:lnTo>
                  <a:lnTo>
                    <a:pt x="152" y="125"/>
                  </a:lnTo>
                  <a:lnTo>
                    <a:pt x="153" y="126"/>
                  </a:lnTo>
                  <a:lnTo>
                    <a:pt x="153" y="125"/>
                  </a:lnTo>
                  <a:lnTo>
                    <a:pt x="155" y="126"/>
                  </a:lnTo>
                  <a:lnTo>
                    <a:pt x="153" y="126"/>
                  </a:lnTo>
                  <a:lnTo>
                    <a:pt x="155" y="126"/>
                  </a:lnTo>
                  <a:lnTo>
                    <a:pt x="155" y="128"/>
                  </a:lnTo>
                  <a:lnTo>
                    <a:pt x="153" y="128"/>
                  </a:lnTo>
                  <a:lnTo>
                    <a:pt x="152" y="128"/>
                  </a:lnTo>
                  <a:lnTo>
                    <a:pt x="152" y="129"/>
                  </a:lnTo>
                  <a:lnTo>
                    <a:pt x="152" y="128"/>
                  </a:lnTo>
                  <a:lnTo>
                    <a:pt x="152" y="126"/>
                  </a:lnTo>
                  <a:lnTo>
                    <a:pt x="152" y="128"/>
                  </a:lnTo>
                  <a:lnTo>
                    <a:pt x="151" y="128"/>
                  </a:lnTo>
                  <a:lnTo>
                    <a:pt x="151" y="126"/>
                  </a:lnTo>
                  <a:lnTo>
                    <a:pt x="151" y="128"/>
                  </a:lnTo>
                  <a:lnTo>
                    <a:pt x="151" y="129"/>
                  </a:lnTo>
                  <a:lnTo>
                    <a:pt x="152" y="129"/>
                  </a:lnTo>
                  <a:lnTo>
                    <a:pt x="151" y="129"/>
                  </a:lnTo>
                  <a:lnTo>
                    <a:pt x="152" y="129"/>
                  </a:lnTo>
                  <a:lnTo>
                    <a:pt x="153" y="129"/>
                  </a:lnTo>
                  <a:lnTo>
                    <a:pt x="155" y="128"/>
                  </a:lnTo>
                  <a:lnTo>
                    <a:pt x="155" y="129"/>
                  </a:lnTo>
                  <a:lnTo>
                    <a:pt x="156" y="129"/>
                  </a:lnTo>
                  <a:lnTo>
                    <a:pt x="157" y="130"/>
                  </a:lnTo>
                  <a:lnTo>
                    <a:pt x="156" y="130"/>
                  </a:lnTo>
                  <a:lnTo>
                    <a:pt x="155" y="130"/>
                  </a:lnTo>
                  <a:lnTo>
                    <a:pt x="156" y="131"/>
                  </a:lnTo>
                  <a:lnTo>
                    <a:pt x="157" y="131"/>
                  </a:lnTo>
                  <a:lnTo>
                    <a:pt x="158" y="131"/>
                  </a:lnTo>
                  <a:lnTo>
                    <a:pt x="159" y="131"/>
                  </a:lnTo>
                  <a:lnTo>
                    <a:pt x="161" y="131"/>
                  </a:lnTo>
                  <a:lnTo>
                    <a:pt x="161" y="132"/>
                  </a:lnTo>
                  <a:lnTo>
                    <a:pt x="162" y="132"/>
                  </a:lnTo>
                  <a:lnTo>
                    <a:pt x="163" y="134"/>
                  </a:lnTo>
                  <a:lnTo>
                    <a:pt x="164" y="134"/>
                  </a:lnTo>
                  <a:lnTo>
                    <a:pt x="164" y="132"/>
                  </a:lnTo>
                  <a:lnTo>
                    <a:pt x="165" y="132"/>
                  </a:lnTo>
                  <a:lnTo>
                    <a:pt x="165" y="134"/>
                  </a:lnTo>
                  <a:lnTo>
                    <a:pt x="164" y="134"/>
                  </a:lnTo>
                  <a:lnTo>
                    <a:pt x="164" y="135"/>
                  </a:lnTo>
                  <a:lnTo>
                    <a:pt x="165" y="135"/>
                  </a:lnTo>
                  <a:lnTo>
                    <a:pt x="167" y="135"/>
                  </a:lnTo>
                  <a:lnTo>
                    <a:pt x="168" y="135"/>
                  </a:lnTo>
                  <a:lnTo>
                    <a:pt x="167" y="136"/>
                  </a:lnTo>
                  <a:lnTo>
                    <a:pt x="167" y="135"/>
                  </a:lnTo>
                  <a:lnTo>
                    <a:pt x="165" y="135"/>
                  </a:lnTo>
                  <a:lnTo>
                    <a:pt x="165" y="136"/>
                  </a:lnTo>
                  <a:lnTo>
                    <a:pt x="167" y="137"/>
                  </a:lnTo>
                  <a:lnTo>
                    <a:pt x="168" y="137"/>
                  </a:lnTo>
                  <a:lnTo>
                    <a:pt x="170" y="137"/>
                  </a:lnTo>
                  <a:lnTo>
                    <a:pt x="171" y="137"/>
                  </a:lnTo>
                  <a:lnTo>
                    <a:pt x="170" y="138"/>
                  </a:lnTo>
                  <a:lnTo>
                    <a:pt x="171" y="138"/>
                  </a:lnTo>
                  <a:lnTo>
                    <a:pt x="171" y="140"/>
                  </a:lnTo>
                  <a:lnTo>
                    <a:pt x="170" y="138"/>
                  </a:lnTo>
                  <a:lnTo>
                    <a:pt x="169" y="138"/>
                  </a:lnTo>
                  <a:lnTo>
                    <a:pt x="170" y="140"/>
                  </a:lnTo>
                  <a:lnTo>
                    <a:pt x="169" y="140"/>
                  </a:lnTo>
                  <a:lnTo>
                    <a:pt x="169" y="138"/>
                  </a:lnTo>
                  <a:lnTo>
                    <a:pt x="168" y="137"/>
                  </a:lnTo>
                  <a:lnTo>
                    <a:pt x="168" y="138"/>
                  </a:lnTo>
                  <a:lnTo>
                    <a:pt x="169" y="140"/>
                  </a:lnTo>
                  <a:lnTo>
                    <a:pt x="171" y="141"/>
                  </a:lnTo>
                  <a:lnTo>
                    <a:pt x="170" y="141"/>
                  </a:lnTo>
                  <a:lnTo>
                    <a:pt x="169" y="141"/>
                  </a:lnTo>
                  <a:lnTo>
                    <a:pt x="169" y="142"/>
                  </a:lnTo>
                  <a:lnTo>
                    <a:pt x="169" y="141"/>
                  </a:lnTo>
                  <a:lnTo>
                    <a:pt x="169" y="140"/>
                  </a:lnTo>
                  <a:lnTo>
                    <a:pt x="168" y="140"/>
                  </a:lnTo>
                  <a:lnTo>
                    <a:pt x="168" y="142"/>
                  </a:lnTo>
                  <a:lnTo>
                    <a:pt x="168" y="143"/>
                  </a:lnTo>
                  <a:lnTo>
                    <a:pt x="167" y="143"/>
                  </a:lnTo>
                  <a:lnTo>
                    <a:pt x="167" y="142"/>
                  </a:lnTo>
                  <a:lnTo>
                    <a:pt x="165" y="142"/>
                  </a:lnTo>
                  <a:lnTo>
                    <a:pt x="165" y="141"/>
                  </a:lnTo>
                  <a:lnTo>
                    <a:pt x="164" y="141"/>
                  </a:lnTo>
                  <a:lnTo>
                    <a:pt x="164" y="142"/>
                  </a:lnTo>
                  <a:lnTo>
                    <a:pt x="164" y="143"/>
                  </a:lnTo>
                  <a:lnTo>
                    <a:pt x="163" y="143"/>
                  </a:lnTo>
                  <a:lnTo>
                    <a:pt x="163" y="141"/>
                  </a:lnTo>
                  <a:lnTo>
                    <a:pt x="163" y="142"/>
                  </a:lnTo>
                  <a:lnTo>
                    <a:pt x="162" y="141"/>
                  </a:lnTo>
                  <a:lnTo>
                    <a:pt x="161" y="141"/>
                  </a:lnTo>
                  <a:lnTo>
                    <a:pt x="162" y="141"/>
                  </a:lnTo>
                  <a:lnTo>
                    <a:pt x="162" y="140"/>
                  </a:lnTo>
                  <a:lnTo>
                    <a:pt x="162" y="138"/>
                  </a:lnTo>
                  <a:lnTo>
                    <a:pt x="161" y="138"/>
                  </a:lnTo>
                  <a:lnTo>
                    <a:pt x="161" y="140"/>
                  </a:lnTo>
                  <a:lnTo>
                    <a:pt x="162" y="140"/>
                  </a:lnTo>
                  <a:lnTo>
                    <a:pt x="161" y="141"/>
                  </a:lnTo>
                  <a:lnTo>
                    <a:pt x="161" y="142"/>
                  </a:lnTo>
                  <a:lnTo>
                    <a:pt x="161" y="143"/>
                  </a:lnTo>
                  <a:lnTo>
                    <a:pt x="161" y="142"/>
                  </a:lnTo>
                  <a:lnTo>
                    <a:pt x="159" y="142"/>
                  </a:lnTo>
                  <a:lnTo>
                    <a:pt x="159" y="140"/>
                  </a:lnTo>
                  <a:lnTo>
                    <a:pt x="159" y="141"/>
                  </a:lnTo>
                  <a:lnTo>
                    <a:pt x="158" y="141"/>
                  </a:lnTo>
                  <a:lnTo>
                    <a:pt x="158" y="142"/>
                  </a:lnTo>
                  <a:lnTo>
                    <a:pt x="158" y="143"/>
                  </a:lnTo>
                  <a:lnTo>
                    <a:pt x="159" y="143"/>
                  </a:lnTo>
                  <a:lnTo>
                    <a:pt x="161" y="144"/>
                  </a:lnTo>
                  <a:lnTo>
                    <a:pt x="159" y="144"/>
                  </a:lnTo>
                  <a:lnTo>
                    <a:pt x="159" y="143"/>
                  </a:lnTo>
                  <a:lnTo>
                    <a:pt x="159" y="144"/>
                  </a:lnTo>
                  <a:lnTo>
                    <a:pt x="159" y="146"/>
                  </a:lnTo>
                  <a:lnTo>
                    <a:pt x="161" y="146"/>
                  </a:lnTo>
                  <a:lnTo>
                    <a:pt x="161" y="144"/>
                  </a:lnTo>
                  <a:lnTo>
                    <a:pt x="161" y="146"/>
                  </a:lnTo>
                  <a:lnTo>
                    <a:pt x="162" y="146"/>
                  </a:lnTo>
                  <a:lnTo>
                    <a:pt x="163" y="144"/>
                  </a:lnTo>
                  <a:lnTo>
                    <a:pt x="164" y="144"/>
                  </a:lnTo>
                  <a:lnTo>
                    <a:pt x="167" y="144"/>
                  </a:lnTo>
                  <a:lnTo>
                    <a:pt x="168" y="144"/>
                  </a:lnTo>
                  <a:lnTo>
                    <a:pt x="168" y="146"/>
                  </a:lnTo>
                  <a:lnTo>
                    <a:pt x="168" y="144"/>
                  </a:lnTo>
                  <a:lnTo>
                    <a:pt x="169" y="144"/>
                  </a:lnTo>
                  <a:lnTo>
                    <a:pt x="170" y="144"/>
                  </a:lnTo>
                  <a:lnTo>
                    <a:pt x="170" y="146"/>
                  </a:lnTo>
                  <a:lnTo>
                    <a:pt x="171" y="146"/>
                  </a:lnTo>
                  <a:lnTo>
                    <a:pt x="173" y="146"/>
                  </a:lnTo>
                  <a:lnTo>
                    <a:pt x="174" y="146"/>
                  </a:lnTo>
                  <a:lnTo>
                    <a:pt x="175" y="146"/>
                  </a:lnTo>
                  <a:lnTo>
                    <a:pt x="175" y="147"/>
                  </a:lnTo>
                  <a:lnTo>
                    <a:pt x="176" y="147"/>
                  </a:lnTo>
                  <a:lnTo>
                    <a:pt x="177" y="147"/>
                  </a:lnTo>
                  <a:lnTo>
                    <a:pt x="177" y="148"/>
                  </a:lnTo>
                  <a:lnTo>
                    <a:pt x="179" y="148"/>
                  </a:lnTo>
                  <a:lnTo>
                    <a:pt x="180" y="148"/>
                  </a:lnTo>
                  <a:lnTo>
                    <a:pt x="181" y="148"/>
                  </a:lnTo>
                  <a:lnTo>
                    <a:pt x="182" y="148"/>
                  </a:lnTo>
                  <a:lnTo>
                    <a:pt x="181" y="148"/>
                  </a:lnTo>
                  <a:lnTo>
                    <a:pt x="181" y="149"/>
                  </a:lnTo>
                  <a:lnTo>
                    <a:pt x="183" y="149"/>
                  </a:lnTo>
                  <a:lnTo>
                    <a:pt x="182" y="150"/>
                  </a:lnTo>
                  <a:lnTo>
                    <a:pt x="181" y="149"/>
                  </a:lnTo>
                  <a:lnTo>
                    <a:pt x="181" y="150"/>
                  </a:lnTo>
                  <a:lnTo>
                    <a:pt x="180" y="150"/>
                  </a:lnTo>
                  <a:lnTo>
                    <a:pt x="180" y="149"/>
                  </a:lnTo>
                  <a:lnTo>
                    <a:pt x="179" y="149"/>
                  </a:lnTo>
                  <a:lnTo>
                    <a:pt x="179" y="150"/>
                  </a:lnTo>
                  <a:lnTo>
                    <a:pt x="179" y="152"/>
                  </a:lnTo>
                  <a:lnTo>
                    <a:pt x="177" y="152"/>
                  </a:lnTo>
                  <a:lnTo>
                    <a:pt x="177" y="153"/>
                  </a:lnTo>
                  <a:lnTo>
                    <a:pt x="176" y="153"/>
                  </a:lnTo>
                  <a:lnTo>
                    <a:pt x="176" y="152"/>
                  </a:lnTo>
                  <a:lnTo>
                    <a:pt x="176" y="150"/>
                  </a:lnTo>
                  <a:lnTo>
                    <a:pt x="176" y="149"/>
                  </a:lnTo>
                  <a:lnTo>
                    <a:pt x="176" y="148"/>
                  </a:lnTo>
                  <a:lnTo>
                    <a:pt x="175" y="148"/>
                  </a:lnTo>
                  <a:lnTo>
                    <a:pt x="176" y="148"/>
                  </a:lnTo>
                  <a:lnTo>
                    <a:pt x="176" y="149"/>
                  </a:lnTo>
                  <a:lnTo>
                    <a:pt x="175" y="149"/>
                  </a:lnTo>
                  <a:lnTo>
                    <a:pt x="176" y="150"/>
                  </a:lnTo>
                  <a:lnTo>
                    <a:pt x="176" y="152"/>
                  </a:lnTo>
                  <a:lnTo>
                    <a:pt x="175" y="152"/>
                  </a:lnTo>
                  <a:lnTo>
                    <a:pt x="175" y="150"/>
                  </a:lnTo>
                  <a:lnTo>
                    <a:pt x="174" y="150"/>
                  </a:lnTo>
                  <a:lnTo>
                    <a:pt x="174" y="149"/>
                  </a:lnTo>
                  <a:lnTo>
                    <a:pt x="174" y="150"/>
                  </a:lnTo>
                  <a:lnTo>
                    <a:pt x="174" y="152"/>
                  </a:lnTo>
                  <a:lnTo>
                    <a:pt x="174" y="153"/>
                  </a:lnTo>
                  <a:lnTo>
                    <a:pt x="173" y="153"/>
                  </a:lnTo>
                  <a:lnTo>
                    <a:pt x="173" y="152"/>
                  </a:lnTo>
                  <a:lnTo>
                    <a:pt x="173" y="150"/>
                  </a:lnTo>
                  <a:lnTo>
                    <a:pt x="173" y="149"/>
                  </a:lnTo>
                  <a:lnTo>
                    <a:pt x="171" y="150"/>
                  </a:lnTo>
                  <a:lnTo>
                    <a:pt x="171" y="149"/>
                  </a:lnTo>
                  <a:lnTo>
                    <a:pt x="171" y="148"/>
                  </a:lnTo>
                  <a:lnTo>
                    <a:pt x="171" y="149"/>
                  </a:lnTo>
                  <a:lnTo>
                    <a:pt x="171" y="150"/>
                  </a:lnTo>
                  <a:lnTo>
                    <a:pt x="171" y="152"/>
                  </a:lnTo>
                  <a:lnTo>
                    <a:pt x="171" y="150"/>
                  </a:lnTo>
                  <a:lnTo>
                    <a:pt x="170" y="150"/>
                  </a:lnTo>
                  <a:lnTo>
                    <a:pt x="170" y="152"/>
                  </a:lnTo>
                  <a:lnTo>
                    <a:pt x="170" y="150"/>
                  </a:lnTo>
                  <a:lnTo>
                    <a:pt x="169" y="150"/>
                  </a:lnTo>
                  <a:lnTo>
                    <a:pt x="169" y="152"/>
                  </a:lnTo>
                  <a:lnTo>
                    <a:pt x="169" y="153"/>
                  </a:lnTo>
                  <a:lnTo>
                    <a:pt x="169" y="154"/>
                  </a:lnTo>
                  <a:lnTo>
                    <a:pt x="168" y="154"/>
                  </a:lnTo>
                  <a:lnTo>
                    <a:pt x="168" y="153"/>
                  </a:lnTo>
                  <a:lnTo>
                    <a:pt x="168" y="152"/>
                  </a:lnTo>
                  <a:lnTo>
                    <a:pt x="167" y="152"/>
                  </a:lnTo>
                  <a:lnTo>
                    <a:pt x="167" y="150"/>
                  </a:lnTo>
                  <a:lnTo>
                    <a:pt x="167" y="152"/>
                  </a:lnTo>
                  <a:lnTo>
                    <a:pt x="165" y="152"/>
                  </a:lnTo>
                  <a:lnTo>
                    <a:pt x="165" y="153"/>
                  </a:lnTo>
                  <a:lnTo>
                    <a:pt x="165" y="154"/>
                  </a:lnTo>
                  <a:lnTo>
                    <a:pt x="165" y="153"/>
                  </a:lnTo>
                  <a:lnTo>
                    <a:pt x="164" y="153"/>
                  </a:lnTo>
                  <a:lnTo>
                    <a:pt x="164" y="154"/>
                  </a:lnTo>
                  <a:lnTo>
                    <a:pt x="163" y="154"/>
                  </a:lnTo>
                  <a:lnTo>
                    <a:pt x="163" y="153"/>
                  </a:lnTo>
                  <a:lnTo>
                    <a:pt x="163" y="152"/>
                  </a:lnTo>
                  <a:lnTo>
                    <a:pt x="163" y="153"/>
                  </a:lnTo>
                  <a:lnTo>
                    <a:pt x="163" y="154"/>
                  </a:lnTo>
                  <a:lnTo>
                    <a:pt x="162" y="154"/>
                  </a:lnTo>
                  <a:lnTo>
                    <a:pt x="162" y="153"/>
                  </a:lnTo>
                  <a:lnTo>
                    <a:pt x="161" y="153"/>
                  </a:lnTo>
                  <a:lnTo>
                    <a:pt x="161" y="154"/>
                  </a:lnTo>
                  <a:lnTo>
                    <a:pt x="162" y="154"/>
                  </a:lnTo>
                  <a:lnTo>
                    <a:pt x="163" y="154"/>
                  </a:lnTo>
                  <a:lnTo>
                    <a:pt x="164" y="154"/>
                  </a:lnTo>
                  <a:lnTo>
                    <a:pt x="167" y="154"/>
                  </a:lnTo>
                  <a:lnTo>
                    <a:pt x="165" y="154"/>
                  </a:lnTo>
                  <a:lnTo>
                    <a:pt x="165" y="155"/>
                  </a:lnTo>
                  <a:lnTo>
                    <a:pt x="165" y="156"/>
                  </a:lnTo>
                  <a:lnTo>
                    <a:pt x="164" y="155"/>
                  </a:lnTo>
                  <a:lnTo>
                    <a:pt x="163" y="155"/>
                  </a:lnTo>
                  <a:lnTo>
                    <a:pt x="163" y="154"/>
                  </a:lnTo>
                  <a:lnTo>
                    <a:pt x="162" y="154"/>
                  </a:lnTo>
                  <a:lnTo>
                    <a:pt x="162" y="155"/>
                  </a:lnTo>
                  <a:lnTo>
                    <a:pt x="163" y="155"/>
                  </a:lnTo>
                  <a:lnTo>
                    <a:pt x="163" y="156"/>
                  </a:lnTo>
                  <a:lnTo>
                    <a:pt x="163" y="158"/>
                  </a:lnTo>
                  <a:lnTo>
                    <a:pt x="162" y="156"/>
                  </a:lnTo>
                  <a:lnTo>
                    <a:pt x="162" y="155"/>
                  </a:lnTo>
                  <a:lnTo>
                    <a:pt x="161" y="155"/>
                  </a:lnTo>
                  <a:lnTo>
                    <a:pt x="161" y="156"/>
                  </a:lnTo>
                  <a:lnTo>
                    <a:pt x="161" y="155"/>
                  </a:lnTo>
                  <a:lnTo>
                    <a:pt x="159" y="155"/>
                  </a:lnTo>
                  <a:lnTo>
                    <a:pt x="161" y="156"/>
                  </a:lnTo>
                  <a:lnTo>
                    <a:pt x="159" y="156"/>
                  </a:lnTo>
                  <a:lnTo>
                    <a:pt x="159" y="158"/>
                  </a:lnTo>
                  <a:lnTo>
                    <a:pt x="159" y="156"/>
                  </a:lnTo>
                  <a:lnTo>
                    <a:pt x="158" y="156"/>
                  </a:lnTo>
                  <a:lnTo>
                    <a:pt x="158" y="155"/>
                  </a:lnTo>
                  <a:lnTo>
                    <a:pt x="158" y="154"/>
                  </a:lnTo>
                  <a:lnTo>
                    <a:pt x="158" y="153"/>
                  </a:lnTo>
                  <a:lnTo>
                    <a:pt x="158" y="152"/>
                  </a:lnTo>
                  <a:lnTo>
                    <a:pt x="158" y="153"/>
                  </a:lnTo>
                  <a:lnTo>
                    <a:pt x="158" y="154"/>
                  </a:lnTo>
                  <a:lnTo>
                    <a:pt x="158" y="155"/>
                  </a:lnTo>
                  <a:lnTo>
                    <a:pt x="158" y="156"/>
                  </a:lnTo>
                  <a:lnTo>
                    <a:pt x="158" y="158"/>
                  </a:lnTo>
                  <a:lnTo>
                    <a:pt x="157" y="158"/>
                  </a:lnTo>
                  <a:lnTo>
                    <a:pt x="157" y="156"/>
                  </a:lnTo>
                  <a:lnTo>
                    <a:pt x="157" y="158"/>
                  </a:lnTo>
                  <a:lnTo>
                    <a:pt x="156" y="158"/>
                  </a:lnTo>
                  <a:lnTo>
                    <a:pt x="155" y="158"/>
                  </a:lnTo>
                  <a:lnTo>
                    <a:pt x="155" y="159"/>
                  </a:lnTo>
                  <a:lnTo>
                    <a:pt x="156" y="159"/>
                  </a:lnTo>
                  <a:lnTo>
                    <a:pt x="156" y="160"/>
                  </a:lnTo>
                  <a:lnTo>
                    <a:pt x="155" y="160"/>
                  </a:lnTo>
                  <a:lnTo>
                    <a:pt x="153" y="159"/>
                  </a:lnTo>
                  <a:lnTo>
                    <a:pt x="153" y="160"/>
                  </a:lnTo>
                  <a:lnTo>
                    <a:pt x="153" y="161"/>
                  </a:lnTo>
                  <a:lnTo>
                    <a:pt x="155" y="161"/>
                  </a:lnTo>
                  <a:lnTo>
                    <a:pt x="156" y="161"/>
                  </a:lnTo>
                  <a:lnTo>
                    <a:pt x="157" y="161"/>
                  </a:lnTo>
                  <a:lnTo>
                    <a:pt x="158" y="161"/>
                  </a:lnTo>
                  <a:lnTo>
                    <a:pt x="158" y="162"/>
                  </a:lnTo>
                  <a:lnTo>
                    <a:pt x="159" y="162"/>
                  </a:lnTo>
                  <a:lnTo>
                    <a:pt x="159" y="161"/>
                  </a:lnTo>
                  <a:lnTo>
                    <a:pt x="161" y="162"/>
                  </a:lnTo>
                  <a:lnTo>
                    <a:pt x="162" y="162"/>
                  </a:lnTo>
                  <a:lnTo>
                    <a:pt x="164" y="162"/>
                  </a:lnTo>
                  <a:lnTo>
                    <a:pt x="165" y="162"/>
                  </a:lnTo>
                  <a:lnTo>
                    <a:pt x="167" y="162"/>
                  </a:lnTo>
                  <a:lnTo>
                    <a:pt x="168" y="162"/>
                  </a:lnTo>
                  <a:lnTo>
                    <a:pt x="169" y="162"/>
                  </a:lnTo>
                  <a:lnTo>
                    <a:pt x="170" y="162"/>
                  </a:lnTo>
                  <a:lnTo>
                    <a:pt x="170" y="164"/>
                  </a:lnTo>
                  <a:lnTo>
                    <a:pt x="171" y="164"/>
                  </a:lnTo>
                  <a:lnTo>
                    <a:pt x="173" y="164"/>
                  </a:lnTo>
                  <a:lnTo>
                    <a:pt x="173" y="162"/>
                  </a:lnTo>
                  <a:lnTo>
                    <a:pt x="173" y="164"/>
                  </a:lnTo>
                  <a:lnTo>
                    <a:pt x="174" y="165"/>
                  </a:lnTo>
                  <a:lnTo>
                    <a:pt x="174" y="164"/>
                  </a:lnTo>
                  <a:lnTo>
                    <a:pt x="174" y="165"/>
                  </a:lnTo>
                  <a:lnTo>
                    <a:pt x="175" y="164"/>
                  </a:lnTo>
                  <a:lnTo>
                    <a:pt x="176" y="164"/>
                  </a:lnTo>
                  <a:lnTo>
                    <a:pt x="177" y="164"/>
                  </a:lnTo>
                  <a:lnTo>
                    <a:pt x="179" y="164"/>
                  </a:lnTo>
                  <a:lnTo>
                    <a:pt x="179" y="165"/>
                  </a:lnTo>
                  <a:lnTo>
                    <a:pt x="177" y="165"/>
                  </a:lnTo>
                  <a:lnTo>
                    <a:pt x="176" y="165"/>
                  </a:lnTo>
                  <a:lnTo>
                    <a:pt x="176" y="166"/>
                  </a:lnTo>
                  <a:lnTo>
                    <a:pt x="175" y="166"/>
                  </a:lnTo>
                  <a:lnTo>
                    <a:pt x="175" y="165"/>
                  </a:lnTo>
                  <a:lnTo>
                    <a:pt x="174" y="165"/>
                  </a:lnTo>
                  <a:lnTo>
                    <a:pt x="174" y="166"/>
                  </a:lnTo>
                  <a:lnTo>
                    <a:pt x="174" y="165"/>
                  </a:lnTo>
                  <a:lnTo>
                    <a:pt x="173" y="165"/>
                  </a:lnTo>
                  <a:lnTo>
                    <a:pt x="173" y="166"/>
                  </a:lnTo>
                  <a:lnTo>
                    <a:pt x="173" y="167"/>
                  </a:lnTo>
                  <a:lnTo>
                    <a:pt x="173" y="168"/>
                  </a:lnTo>
                  <a:lnTo>
                    <a:pt x="174" y="168"/>
                  </a:lnTo>
                  <a:lnTo>
                    <a:pt x="175" y="168"/>
                  </a:lnTo>
                  <a:lnTo>
                    <a:pt x="176" y="168"/>
                  </a:lnTo>
                  <a:lnTo>
                    <a:pt x="177" y="168"/>
                  </a:lnTo>
                  <a:lnTo>
                    <a:pt x="179" y="168"/>
                  </a:lnTo>
                  <a:lnTo>
                    <a:pt x="180" y="167"/>
                  </a:lnTo>
                  <a:lnTo>
                    <a:pt x="180" y="168"/>
                  </a:lnTo>
                  <a:lnTo>
                    <a:pt x="181" y="168"/>
                  </a:lnTo>
                  <a:lnTo>
                    <a:pt x="182" y="167"/>
                  </a:lnTo>
                  <a:lnTo>
                    <a:pt x="183" y="167"/>
                  </a:lnTo>
                  <a:lnTo>
                    <a:pt x="182" y="167"/>
                  </a:lnTo>
                  <a:lnTo>
                    <a:pt x="182" y="168"/>
                  </a:lnTo>
                  <a:lnTo>
                    <a:pt x="183" y="168"/>
                  </a:lnTo>
                  <a:lnTo>
                    <a:pt x="185" y="168"/>
                  </a:lnTo>
                  <a:lnTo>
                    <a:pt x="185" y="170"/>
                  </a:lnTo>
                  <a:lnTo>
                    <a:pt x="183" y="170"/>
                  </a:lnTo>
                  <a:lnTo>
                    <a:pt x="185" y="170"/>
                  </a:lnTo>
                  <a:lnTo>
                    <a:pt x="185" y="171"/>
                  </a:lnTo>
                  <a:lnTo>
                    <a:pt x="185" y="170"/>
                  </a:lnTo>
                  <a:lnTo>
                    <a:pt x="186" y="170"/>
                  </a:lnTo>
                  <a:lnTo>
                    <a:pt x="187" y="170"/>
                  </a:lnTo>
                  <a:lnTo>
                    <a:pt x="186" y="170"/>
                  </a:lnTo>
                  <a:lnTo>
                    <a:pt x="186" y="171"/>
                  </a:lnTo>
                  <a:lnTo>
                    <a:pt x="187" y="171"/>
                  </a:lnTo>
                  <a:lnTo>
                    <a:pt x="186" y="171"/>
                  </a:lnTo>
                  <a:lnTo>
                    <a:pt x="185" y="171"/>
                  </a:lnTo>
                  <a:lnTo>
                    <a:pt x="185" y="172"/>
                  </a:lnTo>
                  <a:lnTo>
                    <a:pt x="185" y="173"/>
                  </a:lnTo>
                  <a:lnTo>
                    <a:pt x="183" y="173"/>
                  </a:lnTo>
                  <a:lnTo>
                    <a:pt x="183" y="172"/>
                  </a:lnTo>
                  <a:lnTo>
                    <a:pt x="183" y="173"/>
                  </a:lnTo>
                  <a:lnTo>
                    <a:pt x="183" y="172"/>
                  </a:lnTo>
                  <a:lnTo>
                    <a:pt x="183" y="171"/>
                  </a:lnTo>
                  <a:lnTo>
                    <a:pt x="182" y="171"/>
                  </a:lnTo>
                  <a:lnTo>
                    <a:pt x="182" y="170"/>
                  </a:lnTo>
                  <a:lnTo>
                    <a:pt x="182" y="171"/>
                  </a:lnTo>
                  <a:lnTo>
                    <a:pt x="183" y="171"/>
                  </a:lnTo>
                  <a:lnTo>
                    <a:pt x="183" y="172"/>
                  </a:lnTo>
                  <a:lnTo>
                    <a:pt x="182" y="172"/>
                  </a:lnTo>
                  <a:lnTo>
                    <a:pt x="182" y="173"/>
                  </a:lnTo>
                  <a:lnTo>
                    <a:pt x="183" y="173"/>
                  </a:lnTo>
                  <a:lnTo>
                    <a:pt x="182" y="173"/>
                  </a:lnTo>
                  <a:lnTo>
                    <a:pt x="182" y="174"/>
                  </a:lnTo>
                  <a:lnTo>
                    <a:pt x="182" y="176"/>
                  </a:lnTo>
                  <a:lnTo>
                    <a:pt x="182" y="174"/>
                  </a:lnTo>
                  <a:lnTo>
                    <a:pt x="182" y="172"/>
                  </a:lnTo>
                  <a:lnTo>
                    <a:pt x="182" y="173"/>
                  </a:lnTo>
                  <a:lnTo>
                    <a:pt x="181" y="173"/>
                  </a:lnTo>
                  <a:lnTo>
                    <a:pt x="182" y="173"/>
                  </a:lnTo>
                  <a:lnTo>
                    <a:pt x="181" y="174"/>
                  </a:lnTo>
                  <a:lnTo>
                    <a:pt x="182" y="174"/>
                  </a:lnTo>
                  <a:lnTo>
                    <a:pt x="181" y="174"/>
                  </a:lnTo>
                  <a:lnTo>
                    <a:pt x="181" y="177"/>
                  </a:lnTo>
                  <a:lnTo>
                    <a:pt x="181" y="176"/>
                  </a:lnTo>
                  <a:lnTo>
                    <a:pt x="181" y="173"/>
                  </a:lnTo>
                  <a:lnTo>
                    <a:pt x="180" y="174"/>
                  </a:lnTo>
                  <a:lnTo>
                    <a:pt x="180" y="173"/>
                  </a:lnTo>
                  <a:lnTo>
                    <a:pt x="179" y="173"/>
                  </a:lnTo>
                  <a:lnTo>
                    <a:pt x="179" y="172"/>
                  </a:lnTo>
                  <a:lnTo>
                    <a:pt x="179" y="171"/>
                  </a:lnTo>
                  <a:lnTo>
                    <a:pt x="179" y="172"/>
                  </a:lnTo>
                  <a:lnTo>
                    <a:pt x="177" y="172"/>
                  </a:lnTo>
                  <a:lnTo>
                    <a:pt x="177" y="173"/>
                  </a:lnTo>
                  <a:lnTo>
                    <a:pt x="179" y="173"/>
                  </a:lnTo>
                  <a:lnTo>
                    <a:pt x="179" y="174"/>
                  </a:lnTo>
                  <a:lnTo>
                    <a:pt x="177" y="174"/>
                  </a:lnTo>
                  <a:lnTo>
                    <a:pt x="179" y="174"/>
                  </a:lnTo>
                  <a:lnTo>
                    <a:pt x="177" y="174"/>
                  </a:lnTo>
                  <a:lnTo>
                    <a:pt x="177" y="176"/>
                  </a:lnTo>
                  <a:lnTo>
                    <a:pt x="177" y="174"/>
                  </a:lnTo>
                  <a:lnTo>
                    <a:pt x="176" y="174"/>
                  </a:lnTo>
                  <a:lnTo>
                    <a:pt x="176" y="176"/>
                  </a:lnTo>
                  <a:lnTo>
                    <a:pt x="177" y="176"/>
                  </a:lnTo>
                  <a:lnTo>
                    <a:pt x="177" y="177"/>
                  </a:lnTo>
                  <a:lnTo>
                    <a:pt x="177" y="178"/>
                  </a:lnTo>
                  <a:lnTo>
                    <a:pt x="179" y="179"/>
                  </a:lnTo>
                  <a:lnTo>
                    <a:pt x="180" y="179"/>
                  </a:lnTo>
                  <a:lnTo>
                    <a:pt x="180" y="180"/>
                  </a:lnTo>
                  <a:lnTo>
                    <a:pt x="181" y="180"/>
                  </a:lnTo>
                  <a:lnTo>
                    <a:pt x="182" y="182"/>
                  </a:lnTo>
                  <a:lnTo>
                    <a:pt x="183" y="182"/>
                  </a:lnTo>
                  <a:lnTo>
                    <a:pt x="185" y="180"/>
                  </a:lnTo>
                  <a:lnTo>
                    <a:pt x="185" y="182"/>
                  </a:lnTo>
                  <a:lnTo>
                    <a:pt x="183" y="182"/>
                  </a:lnTo>
                  <a:lnTo>
                    <a:pt x="185" y="182"/>
                  </a:lnTo>
                  <a:lnTo>
                    <a:pt x="186" y="182"/>
                  </a:lnTo>
                  <a:lnTo>
                    <a:pt x="185" y="182"/>
                  </a:lnTo>
                  <a:lnTo>
                    <a:pt x="185" y="183"/>
                  </a:lnTo>
                  <a:lnTo>
                    <a:pt x="185" y="182"/>
                  </a:lnTo>
                  <a:lnTo>
                    <a:pt x="183" y="182"/>
                  </a:lnTo>
                  <a:lnTo>
                    <a:pt x="183" y="183"/>
                  </a:lnTo>
                  <a:lnTo>
                    <a:pt x="185" y="183"/>
                  </a:lnTo>
                  <a:lnTo>
                    <a:pt x="183" y="183"/>
                  </a:lnTo>
                  <a:lnTo>
                    <a:pt x="182" y="183"/>
                  </a:lnTo>
                  <a:lnTo>
                    <a:pt x="182" y="182"/>
                  </a:lnTo>
                  <a:lnTo>
                    <a:pt x="182" y="183"/>
                  </a:lnTo>
                  <a:lnTo>
                    <a:pt x="182" y="184"/>
                  </a:lnTo>
                  <a:lnTo>
                    <a:pt x="183" y="184"/>
                  </a:lnTo>
                  <a:lnTo>
                    <a:pt x="183" y="185"/>
                  </a:lnTo>
                  <a:lnTo>
                    <a:pt x="185" y="184"/>
                  </a:lnTo>
                  <a:lnTo>
                    <a:pt x="186" y="184"/>
                  </a:lnTo>
                  <a:lnTo>
                    <a:pt x="187" y="183"/>
                  </a:lnTo>
                  <a:lnTo>
                    <a:pt x="187" y="184"/>
                  </a:lnTo>
                  <a:lnTo>
                    <a:pt x="188" y="184"/>
                  </a:lnTo>
                  <a:lnTo>
                    <a:pt x="187" y="184"/>
                  </a:lnTo>
                  <a:lnTo>
                    <a:pt x="187" y="185"/>
                  </a:lnTo>
                  <a:lnTo>
                    <a:pt x="186" y="185"/>
                  </a:lnTo>
                  <a:lnTo>
                    <a:pt x="186" y="186"/>
                  </a:lnTo>
                  <a:lnTo>
                    <a:pt x="186" y="185"/>
                  </a:lnTo>
                  <a:lnTo>
                    <a:pt x="185" y="185"/>
                  </a:lnTo>
                  <a:lnTo>
                    <a:pt x="185" y="186"/>
                  </a:lnTo>
                  <a:lnTo>
                    <a:pt x="185" y="185"/>
                  </a:lnTo>
                  <a:lnTo>
                    <a:pt x="183" y="185"/>
                  </a:lnTo>
                  <a:lnTo>
                    <a:pt x="183" y="186"/>
                  </a:lnTo>
                  <a:lnTo>
                    <a:pt x="185" y="188"/>
                  </a:lnTo>
                  <a:lnTo>
                    <a:pt x="186" y="188"/>
                  </a:lnTo>
                  <a:lnTo>
                    <a:pt x="185" y="188"/>
                  </a:lnTo>
                  <a:lnTo>
                    <a:pt x="185" y="189"/>
                  </a:lnTo>
                  <a:lnTo>
                    <a:pt x="186" y="189"/>
                  </a:lnTo>
                  <a:lnTo>
                    <a:pt x="187" y="189"/>
                  </a:lnTo>
                  <a:lnTo>
                    <a:pt x="186" y="189"/>
                  </a:lnTo>
                  <a:lnTo>
                    <a:pt x="185" y="189"/>
                  </a:lnTo>
                  <a:lnTo>
                    <a:pt x="186" y="189"/>
                  </a:lnTo>
                  <a:lnTo>
                    <a:pt x="186" y="190"/>
                  </a:lnTo>
                  <a:lnTo>
                    <a:pt x="185" y="190"/>
                  </a:lnTo>
                  <a:lnTo>
                    <a:pt x="185" y="191"/>
                  </a:lnTo>
                  <a:lnTo>
                    <a:pt x="185" y="190"/>
                  </a:lnTo>
                  <a:lnTo>
                    <a:pt x="183" y="190"/>
                  </a:lnTo>
                  <a:lnTo>
                    <a:pt x="183" y="191"/>
                  </a:lnTo>
                  <a:lnTo>
                    <a:pt x="183" y="194"/>
                  </a:lnTo>
                  <a:lnTo>
                    <a:pt x="182" y="194"/>
                  </a:lnTo>
                  <a:lnTo>
                    <a:pt x="182" y="192"/>
                  </a:lnTo>
                  <a:lnTo>
                    <a:pt x="182" y="194"/>
                  </a:lnTo>
                  <a:lnTo>
                    <a:pt x="182" y="192"/>
                  </a:lnTo>
                  <a:lnTo>
                    <a:pt x="181" y="192"/>
                  </a:lnTo>
                  <a:lnTo>
                    <a:pt x="181" y="191"/>
                  </a:lnTo>
                  <a:lnTo>
                    <a:pt x="181" y="192"/>
                  </a:lnTo>
                  <a:lnTo>
                    <a:pt x="180" y="192"/>
                  </a:lnTo>
                  <a:lnTo>
                    <a:pt x="180" y="191"/>
                  </a:lnTo>
                  <a:lnTo>
                    <a:pt x="180" y="192"/>
                  </a:lnTo>
                  <a:lnTo>
                    <a:pt x="180" y="194"/>
                  </a:lnTo>
                  <a:lnTo>
                    <a:pt x="180" y="195"/>
                  </a:lnTo>
                  <a:lnTo>
                    <a:pt x="180" y="194"/>
                  </a:lnTo>
                  <a:lnTo>
                    <a:pt x="179" y="194"/>
                  </a:lnTo>
                  <a:lnTo>
                    <a:pt x="180" y="195"/>
                  </a:lnTo>
                  <a:lnTo>
                    <a:pt x="179" y="195"/>
                  </a:lnTo>
                  <a:lnTo>
                    <a:pt x="179" y="194"/>
                  </a:lnTo>
                  <a:lnTo>
                    <a:pt x="177" y="194"/>
                  </a:lnTo>
                  <a:lnTo>
                    <a:pt x="177" y="192"/>
                  </a:lnTo>
                  <a:lnTo>
                    <a:pt x="177" y="194"/>
                  </a:lnTo>
                  <a:lnTo>
                    <a:pt x="176" y="194"/>
                  </a:lnTo>
                  <a:lnTo>
                    <a:pt x="176" y="195"/>
                  </a:lnTo>
                  <a:lnTo>
                    <a:pt x="176" y="194"/>
                  </a:lnTo>
                  <a:lnTo>
                    <a:pt x="175" y="194"/>
                  </a:lnTo>
                  <a:lnTo>
                    <a:pt x="175" y="195"/>
                  </a:lnTo>
                  <a:lnTo>
                    <a:pt x="175" y="196"/>
                  </a:lnTo>
                  <a:lnTo>
                    <a:pt x="175" y="195"/>
                  </a:lnTo>
                  <a:lnTo>
                    <a:pt x="174" y="195"/>
                  </a:lnTo>
                  <a:lnTo>
                    <a:pt x="174" y="196"/>
                  </a:lnTo>
                  <a:lnTo>
                    <a:pt x="173" y="197"/>
                  </a:lnTo>
                  <a:lnTo>
                    <a:pt x="174" y="198"/>
                  </a:lnTo>
                  <a:lnTo>
                    <a:pt x="175" y="198"/>
                  </a:lnTo>
                  <a:lnTo>
                    <a:pt x="175" y="197"/>
                  </a:lnTo>
                  <a:lnTo>
                    <a:pt x="175" y="198"/>
                  </a:lnTo>
                  <a:lnTo>
                    <a:pt x="176" y="198"/>
                  </a:lnTo>
                  <a:lnTo>
                    <a:pt x="176" y="197"/>
                  </a:lnTo>
                  <a:lnTo>
                    <a:pt x="177" y="197"/>
                  </a:lnTo>
                  <a:lnTo>
                    <a:pt x="179" y="197"/>
                  </a:lnTo>
                  <a:lnTo>
                    <a:pt x="180" y="197"/>
                  </a:lnTo>
                  <a:lnTo>
                    <a:pt x="179" y="197"/>
                  </a:lnTo>
                  <a:lnTo>
                    <a:pt x="179" y="198"/>
                  </a:lnTo>
                  <a:lnTo>
                    <a:pt x="177" y="198"/>
                  </a:lnTo>
                  <a:lnTo>
                    <a:pt x="176" y="198"/>
                  </a:lnTo>
                  <a:lnTo>
                    <a:pt x="177" y="198"/>
                  </a:lnTo>
                  <a:lnTo>
                    <a:pt x="177" y="200"/>
                  </a:lnTo>
                  <a:lnTo>
                    <a:pt x="176" y="200"/>
                  </a:lnTo>
                  <a:lnTo>
                    <a:pt x="176" y="198"/>
                  </a:lnTo>
                  <a:lnTo>
                    <a:pt x="175" y="198"/>
                  </a:lnTo>
                  <a:lnTo>
                    <a:pt x="175" y="200"/>
                  </a:lnTo>
                  <a:lnTo>
                    <a:pt x="176" y="200"/>
                  </a:lnTo>
                  <a:lnTo>
                    <a:pt x="176" y="201"/>
                  </a:lnTo>
                  <a:lnTo>
                    <a:pt x="175" y="201"/>
                  </a:lnTo>
                  <a:lnTo>
                    <a:pt x="176" y="202"/>
                  </a:lnTo>
                  <a:lnTo>
                    <a:pt x="175" y="202"/>
                  </a:lnTo>
                  <a:lnTo>
                    <a:pt x="175" y="203"/>
                  </a:lnTo>
                  <a:lnTo>
                    <a:pt x="175" y="202"/>
                  </a:lnTo>
                  <a:lnTo>
                    <a:pt x="175" y="201"/>
                  </a:lnTo>
                  <a:lnTo>
                    <a:pt x="175" y="200"/>
                  </a:lnTo>
                  <a:lnTo>
                    <a:pt x="174" y="200"/>
                  </a:lnTo>
                  <a:lnTo>
                    <a:pt x="174" y="198"/>
                  </a:lnTo>
                  <a:lnTo>
                    <a:pt x="174" y="200"/>
                  </a:lnTo>
                  <a:lnTo>
                    <a:pt x="174" y="198"/>
                  </a:lnTo>
                  <a:lnTo>
                    <a:pt x="174" y="200"/>
                  </a:lnTo>
                  <a:lnTo>
                    <a:pt x="174" y="201"/>
                  </a:lnTo>
                  <a:lnTo>
                    <a:pt x="174" y="202"/>
                  </a:lnTo>
                  <a:lnTo>
                    <a:pt x="174" y="203"/>
                  </a:lnTo>
                  <a:lnTo>
                    <a:pt x="173" y="203"/>
                  </a:lnTo>
                  <a:lnTo>
                    <a:pt x="173" y="202"/>
                  </a:lnTo>
                  <a:lnTo>
                    <a:pt x="173" y="201"/>
                  </a:lnTo>
                  <a:lnTo>
                    <a:pt x="173" y="200"/>
                  </a:lnTo>
                  <a:lnTo>
                    <a:pt x="173" y="198"/>
                  </a:lnTo>
                  <a:lnTo>
                    <a:pt x="173" y="200"/>
                  </a:lnTo>
                  <a:lnTo>
                    <a:pt x="173" y="201"/>
                  </a:lnTo>
                  <a:lnTo>
                    <a:pt x="171" y="201"/>
                  </a:lnTo>
                  <a:lnTo>
                    <a:pt x="171" y="202"/>
                  </a:lnTo>
                  <a:lnTo>
                    <a:pt x="173" y="202"/>
                  </a:lnTo>
                  <a:lnTo>
                    <a:pt x="173" y="203"/>
                  </a:lnTo>
                  <a:lnTo>
                    <a:pt x="171" y="203"/>
                  </a:lnTo>
                  <a:lnTo>
                    <a:pt x="171" y="202"/>
                  </a:lnTo>
                  <a:lnTo>
                    <a:pt x="170" y="202"/>
                  </a:lnTo>
                  <a:lnTo>
                    <a:pt x="170" y="203"/>
                  </a:lnTo>
                  <a:lnTo>
                    <a:pt x="171" y="203"/>
                  </a:lnTo>
                  <a:lnTo>
                    <a:pt x="170" y="203"/>
                  </a:lnTo>
                  <a:lnTo>
                    <a:pt x="170" y="204"/>
                  </a:lnTo>
                  <a:lnTo>
                    <a:pt x="170" y="203"/>
                  </a:lnTo>
                  <a:lnTo>
                    <a:pt x="170" y="202"/>
                  </a:lnTo>
                  <a:lnTo>
                    <a:pt x="169" y="202"/>
                  </a:lnTo>
                  <a:lnTo>
                    <a:pt x="169" y="203"/>
                  </a:lnTo>
                  <a:lnTo>
                    <a:pt x="168" y="202"/>
                  </a:lnTo>
                  <a:lnTo>
                    <a:pt x="168" y="203"/>
                  </a:lnTo>
                  <a:lnTo>
                    <a:pt x="168" y="204"/>
                  </a:lnTo>
                  <a:lnTo>
                    <a:pt x="168" y="206"/>
                  </a:lnTo>
                  <a:lnTo>
                    <a:pt x="168" y="207"/>
                  </a:lnTo>
                  <a:lnTo>
                    <a:pt x="168" y="206"/>
                  </a:lnTo>
                  <a:lnTo>
                    <a:pt x="167" y="204"/>
                  </a:lnTo>
                  <a:lnTo>
                    <a:pt x="165" y="204"/>
                  </a:lnTo>
                  <a:lnTo>
                    <a:pt x="165" y="206"/>
                  </a:lnTo>
                  <a:lnTo>
                    <a:pt x="167" y="206"/>
                  </a:lnTo>
                  <a:lnTo>
                    <a:pt x="167" y="207"/>
                  </a:lnTo>
                  <a:lnTo>
                    <a:pt x="165" y="207"/>
                  </a:lnTo>
                  <a:lnTo>
                    <a:pt x="165" y="206"/>
                  </a:lnTo>
                  <a:lnTo>
                    <a:pt x="164" y="206"/>
                  </a:lnTo>
                  <a:lnTo>
                    <a:pt x="164" y="204"/>
                  </a:lnTo>
                  <a:lnTo>
                    <a:pt x="164" y="203"/>
                  </a:lnTo>
                  <a:lnTo>
                    <a:pt x="164" y="202"/>
                  </a:lnTo>
                  <a:lnTo>
                    <a:pt x="163" y="202"/>
                  </a:lnTo>
                  <a:lnTo>
                    <a:pt x="164" y="203"/>
                  </a:lnTo>
                  <a:lnTo>
                    <a:pt x="164" y="204"/>
                  </a:lnTo>
                  <a:lnTo>
                    <a:pt x="164" y="206"/>
                  </a:lnTo>
                  <a:lnTo>
                    <a:pt x="164" y="204"/>
                  </a:lnTo>
                  <a:lnTo>
                    <a:pt x="163" y="204"/>
                  </a:lnTo>
                  <a:lnTo>
                    <a:pt x="163" y="206"/>
                  </a:lnTo>
                  <a:lnTo>
                    <a:pt x="164" y="207"/>
                  </a:lnTo>
                  <a:lnTo>
                    <a:pt x="164" y="208"/>
                  </a:lnTo>
                  <a:lnTo>
                    <a:pt x="163" y="208"/>
                  </a:lnTo>
                  <a:lnTo>
                    <a:pt x="163" y="207"/>
                  </a:lnTo>
                  <a:lnTo>
                    <a:pt x="163" y="208"/>
                  </a:lnTo>
                  <a:lnTo>
                    <a:pt x="162" y="208"/>
                  </a:lnTo>
                  <a:lnTo>
                    <a:pt x="162" y="207"/>
                  </a:lnTo>
                  <a:lnTo>
                    <a:pt x="161" y="207"/>
                  </a:lnTo>
                  <a:lnTo>
                    <a:pt x="161" y="208"/>
                  </a:lnTo>
                  <a:lnTo>
                    <a:pt x="161" y="209"/>
                  </a:lnTo>
                  <a:lnTo>
                    <a:pt x="161" y="208"/>
                  </a:lnTo>
                  <a:lnTo>
                    <a:pt x="161" y="207"/>
                  </a:lnTo>
                  <a:lnTo>
                    <a:pt x="159" y="207"/>
                  </a:lnTo>
                  <a:lnTo>
                    <a:pt x="159" y="206"/>
                  </a:lnTo>
                  <a:lnTo>
                    <a:pt x="159" y="204"/>
                  </a:lnTo>
                  <a:lnTo>
                    <a:pt x="159" y="206"/>
                  </a:lnTo>
                  <a:lnTo>
                    <a:pt x="159" y="207"/>
                  </a:lnTo>
                  <a:lnTo>
                    <a:pt x="158" y="207"/>
                  </a:lnTo>
                  <a:lnTo>
                    <a:pt x="158" y="208"/>
                  </a:lnTo>
                  <a:lnTo>
                    <a:pt x="158" y="207"/>
                  </a:lnTo>
                  <a:lnTo>
                    <a:pt x="158" y="206"/>
                  </a:lnTo>
                  <a:lnTo>
                    <a:pt x="158" y="204"/>
                  </a:lnTo>
                  <a:lnTo>
                    <a:pt x="158" y="206"/>
                  </a:lnTo>
                  <a:lnTo>
                    <a:pt x="158" y="207"/>
                  </a:lnTo>
                  <a:lnTo>
                    <a:pt x="157" y="207"/>
                  </a:lnTo>
                  <a:lnTo>
                    <a:pt x="157" y="206"/>
                  </a:lnTo>
                  <a:lnTo>
                    <a:pt x="157" y="204"/>
                  </a:lnTo>
                  <a:lnTo>
                    <a:pt x="157" y="203"/>
                  </a:lnTo>
                  <a:lnTo>
                    <a:pt x="156" y="202"/>
                  </a:lnTo>
                  <a:lnTo>
                    <a:pt x="156" y="203"/>
                  </a:lnTo>
                  <a:lnTo>
                    <a:pt x="157" y="203"/>
                  </a:lnTo>
                  <a:lnTo>
                    <a:pt x="157" y="204"/>
                  </a:lnTo>
                  <a:lnTo>
                    <a:pt x="156" y="204"/>
                  </a:lnTo>
                  <a:lnTo>
                    <a:pt x="157" y="204"/>
                  </a:lnTo>
                  <a:lnTo>
                    <a:pt x="156" y="204"/>
                  </a:lnTo>
                  <a:lnTo>
                    <a:pt x="157" y="204"/>
                  </a:lnTo>
                  <a:lnTo>
                    <a:pt x="157" y="206"/>
                  </a:lnTo>
                  <a:lnTo>
                    <a:pt x="157" y="207"/>
                  </a:lnTo>
                  <a:lnTo>
                    <a:pt x="157" y="206"/>
                  </a:lnTo>
                  <a:lnTo>
                    <a:pt x="156" y="206"/>
                  </a:lnTo>
                  <a:lnTo>
                    <a:pt x="156" y="207"/>
                  </a:lnTo>
                  <a:lnTo>
                    <a:pt x="156" y="208"/>
                  </a:lnTo>
                  <a:lnTo>
                    <a:pt x="156" y="209"/>
                  </a:lnTo>
                  <a:lnTo>
                    <a:pt x="156" y="210"/>
                  </a:lnTo>
                  <a:lnTo>
                    <a:pt x="156" y="209"/>
                  </a:lnTo>
                  <a:lnTo>
                    <a:pt x="155" y="209"/>
                  </a:lnTo>
                  <a:lnTo>
                    <a:pt x="155" y="210"/>
                  </a:lnTo>
                  <a:lnTo>
                    <a:pt x="155" y="212"/>
                  </a:lnTo>
                  <a:lnTo>
                    <a:pt x="153" y="212"/>
                  </a:lnTo>
                  <a:lnTo>
                    <a:pt x="153" y="210"/>
                  </a:lnTo>
                  <a:lnTo>
                    <a:pt x="153" y="209"/>
                  </a:lnTo>
                  <a:lnTo>
                    <a:pt x="153" y="208"/>
                  </a:lnTo>
                  <a:lnTo>
                    <a:pt x="153" y="207"/>
                  </a:lnTo>
                  <a:lnTo>
                    <a:pt x="153" y="206"/>
                  </a:lnTo>
                  <a:lnTo>
                    <a:pt x="152" y="206"/>
                  </a:lnTo>
                  <a:lnTo>
                    <a:pt x="152" y="208"/>
                  </a:lnTo>
                  <a:lnTo>
                    <a:pt x="152" y="209"/>
                  </a:lnTo>
                  <a:lnTo>
                    <a:pt x="152" y="210"/>
                  </a:lnTo>
                  <a:lnTo>
                    <a:pt x="152" y="212"/>
                  </a:lnTo>
                  <a:lnTo>
                    <a:pt x="152" y="210"/>
                  </a:lnTo>
                  <a:lnTo>
                    <a:pt x="152" y="209"/>
                  </a:lnTo>
                  <a:lnTo>
                    <a:pt x="151" y="208"/>
                  </a:lnTo>
                  <a:lnTo>
                    <a:pt x="151" y="207"/>
                  </a:lnTo>
                  <a:lnTo>
                    <a:pt x="151" y="208"/>
                  </a:lnTo>
                  <a:lnTo>
                    <a:pt x="150" y="208"/>
                  </a:lnTo>
                  <a:lnTo>
                    <a:pt x="150" y="209"/>
                  </a:lnTo>
                  <a:lnTo>
                    <a:pt x="151" y="209"/>
                  </a:lnTo>
                  <a:lnTo>
                    <a:pt x="151" y="210"/>
                  </a:lnTo>
                  <a:lnTo>
                    <a:pt x="151" y="212"/>
                  </a:lnTo>
                  <a:lnTo>
                    <a:pt x="150" y="212"/>
                  </a:lnTo>
                  <a:lnTo>
                    <a:pt x="150" y="210"/>
                  </a:lnTo>
                  <a:lnTo>
                    <a:pt x="150" y="208"/>
                  </a:lnTo>
                  <a:lnTo>
                    <a:pt x="150" y="207"/>
                  </a:lnTo>
                  <a:lnTo>
                    <a:pt x="150" y="206"/>
                  </a:lnTo>
                  <a:lnTo>
                    <a:pt x="150" y="204"/>
                  </a:lnTo>
                  <a:lnTo>
                    <a:pt x="148" y="204"/>
                  </a:lnTo>
                  <a:lnTo>
                    <a:pt x="148" y="203"/>
                  </a:lnTo>
                  <a:lnTo>
                    <a:pt x="148" y="204"/>
                  </a:lnTo>
                  <a:lnTo>
                    <a:pt x="147" y="204"/>
                  </a:lnTo>
                  <a:lnTo>
                    <a:pt x="147" y="206"/>
                  </a:lnTo>
                  <a:lnTo>
                    <a:pt x="147" y="207"/>
                  </a:lnTo>
                  <a:lnTo>
                    <a:pt x="146" y="206"/>
                  </a:lnTo>
                  <a:lnTo>
                    <a:pt x="146" y="204"/>
                  </a:lnTo>
                  <a:lnTo>
                    <a:pt x="146" y="203"/>
                  </a:lnTo>
                  <a:lnTo>
                    <a:pt x="146" y="202"/>
                  </a:lnTo>
                  <a:lnTo>
                    <a:pt x="146" y="201"/>
                  </a:lnTo>
                  <a:lnTo>
                    <a:pt x="146" y="203"/>
                  </a:lnTo>
                  <a:lnTo>
                    <a:pt x="145" y="202"/>
                  </a:lnTo>
                  <a:lnTo>
                    <a:pt x="145" y="201"/>
                  </a:lnTo>
                  <a:lnTo>
                    <a:pt x="145" y="202"/>
                  </a:lnTo>
                  <a:lnTo>
                    <a:pt x="144" y="201"/>
                  </a:lnTo>
                  <a:lnTo>
                    <a:pt x="144" y="200"/>
                  </a:lnTo>
                  <a:lnTo>
                    <a:pt x="144" y="198"/>
                  </a:lnTo>
                  <a:lnTo>
                    <a:pt x="144" y="197"/>
                  </a:lnTo>
                  <a:lnTo>
                    <a:pt x="142" y="197"/>
                  </a:lnTo>
                  <a:lnTo>
                    <a:pt x="142" y="198"/>
                  </a:lnTo>
                  <a:lnTo>
                    <a:pt x="144" y="200"/>
                  </a:lnTo>
                  <a:lnTo>
                    <a:pt x="144" y="201"/>
                  </a:lnTo>
                  <a:lnTo>
                    <a:pt x="144" y="202"/>
                  </a:lnTo>
                  <a:lnTo>
                    <a:pt x="144" y="203"/>
                  </a:lnTo>
                  <a:lnTo>
                    <a:pt x="142" y="203"/>
                  </a:lnTo>
                  <a:lnTo>
                    <a:pt x="142" y="204"/>
                  </a:lnTo>
                  <a:lnTo>
                    <a:pt x="144" y="204"/>
                  </a:lnTo>
                  <a:lnTo>
                    <a:pt x="145" y="204"/>
                  </a:lnTo>
                  <a:lnTo>
                    <a:pt x="146" y="206"/>
                  </a:lnTo>
                  <a:lnTo>
                    <a:pt x="145" y="206"/>
                  </a:lnTo>
                  <a:lnTo>
                    <a:pt x="144" y="206"/>
                  </a:lnTo>
                  <a:lnTo>
                    <a:pt x="144" y="207"/>
                  </a:lnTo>
                  <a:lnTo>
                    <a:pt x="144" y="208"/>
                  </a:lnTo>
                  <a:lnTo>
                    <a:pt x="145" y="209"/>
                  </a:lnTo>
                  <a:lnTo>
                    <a:pt x="145" y="210"/>
                  </a:lnTo>
                  <a:lnTo>
                    <a:pt x="146" y="212"/>
                  </a:lnTo>
                  <a:lnTo>
                    <a:pt x="147" y="212"/>
                  </a:lnTo>
                  <a:lnTo>
                    <a:pt x="148" y="212"/>
                  </a:lnTo>
                  <a:lnTo>
                    <a:pt x="148" y="213"/>
                  </a:lnTo>
                  <a:lnTo>
                    <a:pt x="150" y="213"/>
                  </a:lnTo>
                  <a:lnTo>
                    <a:pt x="151" y="213"/>
                  </a:lnTo>
                  <a:lnTo>
                    <a:pt x="152" y="213"/>
                  </a:lnTo>
                  <a:lnTo>
                    <a:pt x="153" y="213"/>
                  </a:lnTo>
                  <a:lnTo>
                    <a:pt x="155" y="214"/>
                  </a:lnTo>
                  <a:lnTo>
                    <a:pt x="156" y="214"/>
                  </a:lnTo>
                  <a:lnTo>
                    <a:pt x="157" y="214"/>
                  </a:lnTo>
                  <a:lnTo>
                    <a:pt x="158" y="215"/>
                  </a:lnTo>
                  <a:lnTo>
                    <a:pt x="157" y="215"/>
                  </a:lnTo>
                  <a:lnTo>
                    <a:pt x="156" y="214"/>
                  </a:lnTo>
                  <a:lnTo>
                    <a:pt x="156" y="215"/>
                  </a:lnTo>
                  <a:lnTo>
                    <a:pt x="155" y="214"/>
                  </a:lnTo>
                  <a:lnTo>
                    <a:pt x="155" y="215"/>
                  </a:lnTo>
                  <a:lnTo>
                    <a:pt x="156" y="215"/>
                  </a:lnTo>
                  <a:lnTo>
                    <a:pt x="155" y="215"/>
                  </a:lnTo>
                  <a:lnTo>
                    <a:pt x="153" y="215"/>
                  </a:lnTo>
                  <a:lnTo>
                    <a:pt x="153" y="217"/>
                  </a:lnTo>
                  <a:lnTo>
                    <a:pt x="152" y="215"/>
                  </a:lnTo>
                  <a:lnTo>
                    <a:pt x="152" y="217"/>
                  </a:lnTo>
                  <a:lnTo>
                    <a:pt x="153" y="217"/>
                  </a:lnTo>
                  <a:lnTo>
                    <a:pt x="155" y="217"/>
                  </a:lnTo>
                  <a:lnTo>
                    <a:pt x="156" y="217"/>
                  </a:lnTo>
                  <a:lnTo>
                    <a:pt x="157" y="218"/>
                  </a:lnTo>
                  <a:lnTo>
                    <a:pt x="158" y="217"/>
                  </a:lnTo>
                  <a:lnTo>
                    <a:pt x="158" y="218"/>
                  </a:lnTo>
                  <a:lnTo>
                    <a:pt x="159" y="218"/>
                  </a:lnTo>
                  <a:lnTo>
                    <a:pt x="158" y="218"/>
                  </a:lnTo>
                  <a:lnTo>
                    <a:pt x="159" y="219"/>
                  </a:lnTo>
                  <a:lnTo>
                    <a:pt x="161" y="219"/>
                  </a:lnTo>
                  <a:lnTo>
                    <a:pt x="161" y="218"/>
                  </a:lnTo>
                  <a:lnTo>
                    <a:pt x="162" y="218"/>
                  </a:lnTo>
                  <a:lnTo>
                    <a:pt x="163" y="218"/>
                  </a:lnTo>
                  <a:lnTo>
                    <a:pt x="164" y="218"/>
                  </a:lnTo>
                  <a:lnTo>
                    <a:pt x="165" y="218"/>
                  </a:lnTo>
                  <a:lnTo>
                    <a:pt x="167" y="217"/>
                  </a:lnTo>
                  <a:lnTo>
                    <a:pt x="168" y="217"/>
                  </a:lnTo>
                  <a:lnTo>
                    <a:pt x="168" y="215"/>
                  </a:lnTo>
                  <a:lnTo>
                    <a:pt x="168" y="217"/>
                  </a:lnTo>
                  <a:lnTo>
                    <a:pt x="169" y="217"/>
                  </a:lnTo>
                  <a:lnTo>
                    <a:pt x="169" y="215"/>
                  </a:lnTo>
                  <a:lnTo>
                    <a:pt x="170" y="215"/>
                  </a:lnTo>
                  <a:lnTo>
                    <a:pt x="171" y="215"/>
                  </a:lnTo>
                  <a:lnTo>
                    <a:pt x="173" y="215"/>
                  </a:lnTo>
                  <a:lnTo>
                    <a:pt x="171" y="214"/>
                  </a:lnTo>
                  <a:lnTo>
                    <a:pt x="173" y="214"/>
                  </a:lnTo>
                  <a:lnTo>
                    <a:pt x="174" y="214"/>
                  </a:lnTo>
                  <a:lnTo>
                    <a:pt x="175" y="214"/>
                  </a:lnTo>
                  <a:lnTo>
                    <a:pt x="176" y="214"/>
                  </a:lnTo>
                  <a:lnTo>
                    <a:pt x="177" y="214"/>
                  </a:lnTo>
                  <a:lnTo>
                    <a:pt x="179" y="213"/>
                  </a:lnTo>
                  <a:lnTo>
                    <a:pt x="180" y="213"/>
                  </a:lnTo>
                  <a:lnTo>
                    <a:pt x="179" y="213"/>
                  </a:lnTo>
                  <a:lnTo>
                    <a:pt x="179" y="214"/>
                  </a:lnTo>
                  <a:lnTo>
                    <a:pt x="180" y="214"/>
                  </a:lnTo>
                  <a:lnTo>
                    <a:pt x="180" y="213"/>
                  </a:lnTo>
                  <a:lnTo>
                    <a:pt x="180" y="214"/>
                  </a:lnTo>
                  <a:lnTo>
                    <a:pt x="181" y="214"/>
                  </a:lnTo>
                  <a:lnTo>
                    <a:pt x="180" y="214"/>
                  </a:lnTo>
                  <a:lnTo>
                    <a:pt x="179" y="214"/>
                  </a:lnTo>
                  <a:lnTo>
                    <a:pt x="179" y="215"/>
                  </a:lnTo>
                  <a:lnTo>
                    <a:pt x="177" y="215"/>
                  </a:lnTo>
                  <a:lnTo>
                    <a:pt x="177" y="214"/>
                  </a:lnTo>
                  <a:lnTo>
                    <a:pt x="177" y="215"/>
                  </a:lnTo>
                  <a:lnTo>
                    <a:pt x="176" y="214"/>
                  </a:lnTo>
                  <a:lnTo>
                    <a:pt x="176" y="215"/>
                  </a:lnTo>
                  <a:lnTo>
                    <a:pt x="177" y="217"/>
                  </a:lnTo>
                  <a:lnTo>
                    <a:pt x="177" y="218"/>
                  </a:lnTo>
                  <a:lnTo>
                    <a:pt x="176" y="219"/>
                  </a:lnTo>
                  <a:lnTo>
                    <a:pt x="176" y="220"/>
                  </a:lnTo>
                  <a:lnTo>
                    <a:pt x="176" y="219"/>
                  </a:lnTo>
                  <a:lnTo>
                    <a:pt x="176" y="218"/>
                  </a:lnTo>
                  <a:lnTo>
                    <a:pt x="175" y="218"/>
                  </a:lnTo>
                  <a:lnTo>
                    <a:pt x="175" y="219"/>
                  </a:lnTo>
                  <a:lnTo>
                    <a:pt x="176" y="220"/>
                  </a:lnTo>
                  <a:lnTo>
                    <a:pt x="175" y="220"/>
                  </a:lnTo>
                  <a:lnTo>
                    <a:pt x="175" y="221"/>
                  </a:lnTo>
                  <a:lnTo>
                    <a:pt x="174" y="221"/>
                  </a:lnTo>
                  <a:lnTo>
                    <a:pt x="174" y="223"/>
                  </a:lnTo>
                  <a:lnTo>
                    <a:pt x="175" y="221"/>
                  </a:lnTo>
                  <a:lnTo>
                    <a:pt x="176" y="221"/>
                  </a:lnTo>
                  <a:lnTo>
                    <a:pt x="177" y="221"/>
                  </a:lnTo>
                  <a:lnTo>
                    <a:pt x="179" y="221"/>
                  </a:lnTo>
                  <a:lnTo>
                    <a:pt x="179" y="223"/>
                  </a:lnTo>
                  <a:lnTo>
                    <a:pt x="177" y="223"/>
                  </a:lnTo>
                  <a:lnTo>
                    <a:pt x="176" y="223"/>
                  </a:lnTo>
                  <a:lnTo>
                    <a:pt x="176" y="224"/>
                  </a:lnTo>
                  <a:lnTo>
                    <a:pt x="175" y="223"/>
                  </a:lnTo>
                  <a:lnTo>
                    <a:pt x="175" y="224"/>
                  </a:lnTo>
                  <a:lnTo>
                    <a:pt x="176" y="224"/>
                  </a:lnTo>
                  <a:lnTo>
                    <a:pt x="177" y="224"/>
                  </a:lnTo>
                  <a:lnTo>
                    <a:pt x="179" y="224"/>
                  </a:lnTo>
                  <a:lnTo>
                    <a:pt x="180" y="224"/>
                  </a:lnTo>
                  <a:lnTo>
                    <a:pt x="180" y="225"/>
                  </a:lnTo>
                  <a:lnTo>
                    <a:pt x="179" y="225"/>
                  </a:lnTo>
                  <a:lnTo>
                    <a:pt x="180" y="225"/>
                  </a:lnTo>
                  <a:lnTo>
                    <a:pt x="181" y="225"/>
                  </a:lnTo>
                  <a:lnTo>
                    <a:pt x="182" y="224"/>
                  </a:lnTo>
                  <a:lnTo>
                    <a:pt x="183" y="224"/>
                  </a:lnTo>
                  <a:lnTo>
                    <a:pt x="183" y="225"/>
                  </a:lnTo>
                  <a:lnTo>
                    <a:pt x="183" y="224"/>
                  </a:lnTo>
                  <a:lnTo>
                    <a:pt x="185" y="224"/>
                  </a:lnTo>
                  <a:lnTo>
                    <a:pt x="186" y="223"/>
                  </a:lnTo>
                  <a:lnTo>
                    <a:pt x="186" y="224"/>
                  </a:lnTo>
                  <a:lnTo>
                    <a:pt x="187" y="223"/>
                  </a:lnTo>
                  <a:lnTo>
                    <a:pt x="188" y="223"/>
                  </a:lnTo>
                  <a:lnTo>
                    <a:pt x="187" y="224"/>
                  </a:lnTo>
                  <a:lnTo>
                    <a:pt x="187" y="225"/>
                  </a:lnTo>
                  <a:lnTo>
                    <a:pt x="188" y="225"/>
                  </a:lnTo>
                  <a:lnTo>
                    <a:pt x="187" y="225"/>
                  </a:lnTo>
                  <a:lnTo>
                    <a:pt x="186" y="224"/>
                  </a:lnTo>
                  <a:lnTo>
                    <a:pt x="185" y="224"/>
                  </a:lnTo>
                  <a:lnTo>
                    <a:pt x="186" y="225"/>
                  </a:lnTo>
                  <a:lnTo>
                    <a:pt x="186" y="226"/>
                  </a:lnTo>
                  <a:lnTo>
                    <a:pt x="186" y="225"/>
                  </a:lnTo>
                  <a:lnTo>
                    <a:pt x="185" y="225"/>
                  </a:lnTo>
                  <a:lnTo>
                    <a:pt x="183" y="225"/>
                  </a:lnTo>
                  <a:lnTo>
                    <a:pt x="185" y="226"/>
                  </a:lnTo>
                  <a:lnTo>
                    <a:pt x="185" y="227"/>
                  </a:lnTo>
                  <a:lnTo>
                    <a:pt x="186" y="227"/>
                  </a:lnTo>
                  <a:lnTo>
                    <a:pt x="187" y="227"/>
                  </a:lnTo>
                  <a:lnTo>
                    <a:pt x="187" y="226"/>
                  </a:lnTo>
                  <a:lnTo>
                    <a:pt x="187" y="227"/>
                  </a:lnTo>
                  <a:lnTo>
                    <a:pt x="188" y="227"/>
                  </a:lnTo>
                  <a:lnTo>
                    <a:pt x="189" y="227"/>
                  </a:lnTo>
                  <a:lnTo>
                    <a:pt x="188" y="227"/>
                  </a:lnTo>
                  <a:lnTo>
                    <a:pt x="187" y="227"/>
                  </a:lnTo>
                  <a:lnTo>
                    <a:pt x="187" y="229"/>
                  </a:lnTo>
                  <a:lnTo>
                    <a:pt x="188" y="229"/>
                  </a:lnTo>
                  <a:lnTo>
                    <a:pt x="187" y="229"/>
                  </a:lnTo>
                  <a:lnTo>
                    <a:pt x="186" y="227"/>
                  </a:lnTo>
                  <a:lnTo>
                    <a:pt x="186" y="229"/>
                  </a:lnTo>
                  <a:lnTo>
                    <a:pt x="186" y="230"/>
                  </a:lnTo>
                  <a:lnTo>
                    <a:pt x="186" y="229"/>
                  </a:lnTo>
                  <a:lnTo>
                    <a:pt x="185" y="229"/>
                  </a:lnTo>
                  <a:lnTo>
                    <a:pt x="186" y="230"/>
                  </a:lnTo>
                  <a:lnTo>
                    <a:pt x="185" y="230"/>
                  </a:lnTo>
                  <a:lnTo>
                    <a:pt x="185" y="229"/>
                  </a:lnTo>
                  <a:lnTo>
                    <a:pt x="183" y="229"/>
                  </a:lnTo>
                  <a:lnTo>
                    <a:pt x="185" y="230"/>
                  </a:lnTo>
                  <a:lnTo>
                    <a:pt x="183" y="230"/>
                  </a:lnTo>
                  <a:lnTo>
                    <a:pt x="183" y="229"/>
                  </a:lnTo>
                  <a:lnTo>
                    <a:pt x="183" y="230"/>
                  </a:lnTo>
                  <a:lnTo>
                    <a:pt x="183" y="231"/>
                  </a:lnTo>
                  <a:lnTo>
                    <a:pt x="182" y="231"/>
                  </a:lnTo>
                  <a:lnTo>
                    <a:pt x="182" y="232"/>
                  </a:lnTo>
                  <a:lnTo>
                    <a:pt x="182" y="233"/>
                  </a:lnTo>
                  <a:lnTo>
                    <a:pt x="181" y="232"/>
                  </a:lnTo>
                  <a:lnTo>
                    <a:pt x="181" y="233"/>
                  </a:lnTo>
                  <a:lnTo>
                    <a:pt x="182" y="233"/>
                  </a:lnTo>
                  <a:lnTo>
                    <a:pt x="181" y="235"/>
                  </a:lnTo>
                  <a:lnTo>
                    <a:pt x="182" y="235"/>
                  </a:lnTo>
                  <a:lnTo>
                    <a:pt x="183" y="236"/>
                  </a:lnTo>
                  <a:lnTo>
                    <a:pt x="182" y="236"/>
                  </a:lnTo>
                  <a:lnTo>
                    <a:pt x="181" y="235"/>
                  </a:lnTo>
                  <a:lnTo>
                    <a:pt x="181" y="236"/>
                  </a:lnTo>
                  <a:lnTo>
                    <a:pt x="181" y="235"/>
                  </a:lnTo>
                  <a:lnTo>
                    <a:pt x="180" y="235"/>
                  </a:lnTo>
                  <a:lnTo>
                    <a:pt x="180" y="236"/>
                  </a:lnTo>
                  <a:lnTo>
                    <a:pt x="181" y="236"/>
                  </a:lnTo>
                  <a:lnTo>
                    <a:pt x="182" y="236"/>
                  </a:lnTo>
                  <a:lnTo>
                    <a:pt x="183" y="236"/>
                  </a:lnTo>
                  <a:lnTo>
                    <a:pt x="185" y="236"/>
                  </a:lnTo>
                  <a:lnTo>
                    <a:pt x="186" y="236"/>
                  </a:lnTo>
                  <a:lnTo>
                    <a:pt x="187" y="236"/>
                  </a:lnTo>
                  <a:lnTo>
                    <a:pt x="188" y="236"/>
                  </a:lnTo>
                  <a:lnTo>
                    <a:pt x="187" y="237"/>
                  </a:lnTo>
                  <a:lnTo>
                    <a:pt x="186" y="237"/>
                  </a:lnTo>
                  <a:lnTo>
                    <a:pt x="186" y="238"/>
                  </a:lnTo>
                  <a:lnTo>
                    <a:pt x="186" y="237"/>
                  </a:lnTo>
                  <a:lnTo>
                    <a:pt x="185" y="237"/>
                  </a:lnTo>
                  <a:lnTo>
                    <a:pt x="185" y="238"/>
                  </a:lnTo>
                  <a:lnTo>
                    <a:pt x="186" y="238"/>
                  </a:lnTo>
                  <a:lnTo>
                    <a:pt x="186" y="239"/>
                  </a:lnTo>
                  <a:lnTo>
                    <a:pt x="186" y="241"/>
                  </a:lnTo>
                  <a:lnTo>
                    <a:pt x="185" y="242"/>
                  </a:lnTo>
                  <a:lnTo>
                    <a:pt x="185" y="241"/>
                  </a:lnTo>
                  <a:lnTo>
                    <a:pt x="185" y="239"/>
                  </a:lnTo>
                  <a:lnTo>
                    <a:pt x="185" y="238"/>
                  </a:lnTo>
                  <a:lnTo>
                    <a:pt x="183" y="238"/>
                  </a:lnTo>
                  <a:lnTo>
                    <a:pt x="183" y="239"/>
                  </a:lnTo>
                  <a:lnTo>
                    <a:pt x="182" y="239"/>
                  </a:lnTo>
                  <a:lnTo>
                    <a:pt x="182" y="238"/>
                  </a:lnTo>
                  <a:lnTo>
                    <a:pt x="182" y="239"/>
                  </a:lnTo>
                  <a:lnTo>
                    <a:pt x="182" y="241"/>
                  </a:lnTo>
                  <a:lnTo>
                    <a:pt x="183" y="241"/>
                  </a:lnTo>
                  <a:lnTo>
                    <a:pt x="183" y="242"/>
                  </a:lnTo>
                  <a:lnTo>
                    <a:pt x="182" y="242"/>
                  </a:lnTo>
                  <a:lnTo>
                    <a:pt x="183" y="242"/>
                  </a:lnTo>
                  <a:lnTo>
                    <a:pt x="185" y="242"/>
                  </a:lnTo>
                  <a:lnTo>
                    <a:pt x="186" y="242"/>
                  </a:lnTo>
                  <a:lnTo>
                    <a:pt x="186" y="241"/>
                  </a:lnTo>
                  <a:lnTo>
                    <a:pt x="187" y="241"/>
                  </a:lnTo>
                  <a:lnTo>
                    <a:pt x="188" y="241"/>
                  </a:lnTo>
                  <a:lnTo>
                    <a:pt x="189" y="241"/>
                  </a:lnTo>
                  <a:lnTo>
                    <a:pt x="191" y="241"/>
                  </a:lnTo>
                  <a:lnTo>
                    <a:pt x="192" y="241"/>
                  </a:lnTo>
                  <a:lnTo>
                    <a:pt x="192" y="239"/>
                  </a:lnTo>
                  <a:lnTo>
                    <a:pt x="193" y="239"/>
                  </a:lnTo>
                  <a:lnTo>
                    <a:pt x="194" y="239"/>
                  </a:lnTo>
                  <a:lnTo>
                    <a:pt x="194" y="241"/>
                  </a:lnTo>
                  <a:lnTo>
                    <a:pt x="195" y="239"/>
                  </a:lnTo>
                  <a:lnTo>
                    <a:pt x="197" y="239"/>
                  </a:lnTo>
                  <a:lnTo>
                    <a:pt x="197" y="238"/>
                  </a:lnTo>
                  <a:lnTo>
                    <a:pt x="197" y="239"/>
                  </a:lnTo>
                  <a:lnTo>
                    <a:pt x="199" y="239"/>
                  </a:lnTo>
                  <a:lnTo>
                    <a:pt x="198" y="239"/>
                  </a:lnTo>
                  <a:lnTo>
                    <a:pt x="197" y="239"/>
                  </a:lnTo>
                  <a:lnTo>
                    <a:pt x="197" y="241"/>
                  </a:lnTo>
                  <a:lnTo>
                    <a:pt x="198" y="241"/>
                  </a:lnTo>
                  <a:lnTo>
                    <a:pt x="198" y="242"/>
                  </a:lnTo>
                  <a:lnTo>
                    <a:pt x="198" y="241"/>
                  </a:lnTo>
                  <a:lnTo>
                    <a:pt x="197" y="241"/>
                  </a:lnTo>
                  <a:lnTo>
                    <a:pt x="195" y="241"/>
                  </a:lnTo>
                  <a:lnTo>
                    <a:pt x="195" y="242"/>
                  </a:lnTo>
                  <a:lnTo>
                    <a:pt x="195" y="241"/>
                  </a:lnTo>
                  <a:lnTo>
                    <a:pt x="194" y="241"/>
                  </a:lnTo>
                  <a:lnTo>
                    <a:pt x="194" y="242"/>
                  </a:lnTo>
                  <a:lnTo>
                    <a:pt x="195" y="242"/>
                  </a:lnTo>
                  <a:lnTo>
                    <a:pt x="195" y="243"/>
                  </a:lnTo>
                  <a:lnTo>
                    <a:pt x="195" y="244"/>
                  </a:lnTo>
                  <a:lnTo>
                    <a:pt x="194" y="244"/>
                  </a:lnTo>
                  <a:lnTo>
                    <a:pt x="194" y="245"/>
                  </a:lnTo>
                  <a:lnTo>
                    <a:pt x="193" y="244"/>
                  </a:lnTo>
                  <a:lnTo>
                    <a:pt x="193" y="243"/>
                  </a:lnTo>
                  <a:lnTo>
                    <a:pt x="193" y="244"/>
                  </a:lnTo>
                  <a:lnTo>
                    <a:pt x="193" y="243"/>
                  </a:lnTo>
                  <a:lnTo>
                    <a:pt x="192" y="242"/>
                  </a:lnTo>
                  <a:lnTo>
                    <a:pt x="192" y="243"/>
                  </a:lnTo>
                  <a:lnTo>
                    <a:pt x="192" y="242"/>
                  </a:lnTo>
                  <a:lnTo>
                    <a:pt x="191" y="242"/>
                  </a:lnTo>
                  <a:lnTo>
                    <a:pt x="192" y="243"/>
                  </a:lnTo>
                  <a:lnTo>
                    <a:pt x="192" y="244"/>
                  </a:lnTo>
                  <a:lnTo>
                    <a:pt x="191" y="243"/>
                  </a:lnTo>
                  <a:lnTo>
                    <a:pt x="191" y="244"/>
                  </a:lnTo>
                  <a:lnTo>
                    <a:pt x="192" y="245"/>
                  </a:lnTo>
                  <a:lnTo>
                    <a:pt x="192" y="247"/>
                  </a:lnTo>
                  <a:lnTo>
                    <a:pt x="191" y="247"/>
                  </a:lnTo>
                  <a:lnTo>
                    <a:pt x="191" y="245"/>
                  </a:lnTo>
                  <a:lnTo>
                    <a:pt x="191" y="244"/>
                  </a:lnTo>
                  <a:lnTo>
                    <a:pt x="189" y="244"/>
                  </a:lnTo>
                  <a:lnTo>
                    <a:pt x="189" y="245"/>
                  </a:lnTo>
                  <a:lnTo>
                    <a:pt x="188" y="245"/>
                  </a:lnTo>
                  <a:lnTo>
                    <a:pt x="188" y="244"/>
                  </a:lnTo>
                  <a:lnTo>
                    <a:pt x="188" y="245"/>
                  </a:lnTo>
                  <a:lnTo>
                    <a:pt x="189" y="247"/>
                  </a:lnTo>
                  <a:lnTo>
                    <a:pt x="188" y="247"/>
                  </a:lnTo>
                  <a:lnTo>
                    <a:pt x="188" y="245"/>
                  </a:lnTo>
                  <a:lnTo>
                    <a:pt x="188" y="247"/>
                  </a:lnTo>
                  <a:lnTo>
                    <a:pt x="188" y="248"/>
                  </a:lnTo>
                  <a:lnTo>
                    <a:pt x="189" y="248"/>
                  </a:lnTo>
                  <a:lnTo>
                    <a:pt x="191" y="249"/>
                  </a:lnTo>
                  <a:lnTo>
                    <a:pt x="192" y="249"/>
                  </a:lnTo>
                  <a:lnTo>
                    <a:pt x="191" y="249"/>
                  </a:lnTo>
                  <a:lnTo>
                    <a:pt x="191" y="250"/>
                  </a:lnTo>
                  <a:lnTo>
                    <a:pt x="189" y="250"/>
                  </a:lnTo>
                  <a:lnTo>
                    <a:pt x="189" y="249"/>
                  </a:lnTo>
                  <a:lnTo>
                    <a:pt x="188" y="249"/>
                  </a:lnTo>
                  <a:lnTo>
                    <a:pt x="189" y="249"/>
                  </a:lnTo>
                  <a:lnTo>
                    <a:pt x="189" y="250"/>
                  </a:lnTo>
                  <a:lnTo>
                    <a:pt x="188" y="250"/>
                  </a:lnTo>
                  <a:lnTo>
                    <a:pt x="187" y="250"/>
                  </a:lnTo>
                  <a:lnTo>
                    <a:pt x="187" y="249"/>
                  </a:lnTo>
                  <a:lnTo>
                    <a:pt x="188" y="249"/>
                  </a:lnTo>
                  <a:lnTo>
                    <a:pt x="187" y="248"/>
                  </a:lnTo>
                  <a:lnTo>
                    <a:pt x="187" y="249"/>
                  </a:lnTo>
                  <a:lnTo>
                    <a:pt x="187" y="248"/>
                  </a:lnTo>
                  <a:lnTo>
                    <a:pt x="186" y="248"/>
                  </a:lnTo>
                  <a:lnTo>
                    <a:pt x="186" y="249"/>
                  </a:lnTo>
                  <a:lnTo>
                    <a:pt x="186" y="248"/>
                  </a:lnTo>
                  <a:lnTo>
                    <a:pt x="186" y="247"/>
                  </a:lnTo>
                  <a:lnTo>
                    <a:pt x="186" y="245"/>
                  </a:lnTo>
                  <a:lnTo>
                    <a:pt x="185" y="247"/>
                  </a:lnTo>
                  <a:lnTo>
                    <a:pt x="185" y="248"/>
                  </a:lnTo>
                  <a:lnTo>
                    <a:pt x="185" y="249"/>
                  </a:lnTo>
                  <a:lnTo>
                    <a:pt x="186" y="249"/>
                  </a:lnTo>
                  <a:lnTo>
                    <a:pt x="185" y="250"/>
                  </a:lnTo>
                  <a:lnTo>
                    <a:pt x="186" y="250"/>
                  </a:lnTo>
                  <a:lnTo>
                    <a:pt x="187" y="251"/>
                  </a:lnTo>
                  <a:lnTo>
                    <a:pt x="188" y="251"/>
                  </a:lnTo>
                  <a:lnTo>
                    <a:pt x="189" y="251"/>
                  </a:lnTo>
                  <a:lnTo>
                    <a:pt x="191" y="251"/>
                  </a:lnTo>
                  <a:lnTo>
                    <a:pt x="191" y="253"/>
                  </a:lnTo>
                  <a:lnTo>
                    <a:pt x="189" y="253"/>
                  </a:lnTo>
                  <a:lnTo>
                    <a:pt x="188" y="251"/>
                  </a:lnTo>
                  <a:lnTo>
                    <a:pt x="188" y="253"/>
                  </a:lnTo>
                  <a:lnTo>
                    <a:pt x="188" y="254"/>
                  </a:lnTo>
                  <a:lnTo>
                    <a:pt x="187" y="253"/>
                  </a:lnTo>
                  <a:lnTo>
                    <a:pt x="187" y="251"/>
                  </a:lnTo>
                  <a:lnTo>
                    <a:pt x="186" y="251"/>
                  </a:lnTo>
                  <a:lnTo>
                    <a:pt x="186" y="253"/>
                  </a:lnTo>
                  <a:lnTo>
                    <a:pt x="186" y="254"/>
                  </a:lnTo>
                  <a:lnTo>
                    <a:pt x="186" y="255"/>
                  </a:lnTo>
                  <a:lnTo>
                    <a:pt x="186" y="254"/>
                  </a:lnTo>
                  <a:lnTo>
                    <a:pt x="186" y="253"/>
                  </a:lnTo>
                  <a:lnTo>
                    <a:pt x="186" y="254"/>
                  </a:lnTo>
                  <a:lnTo>
                    <a:pt x="185" y="253"/>
                  </a:lnTo>
                  <a:lnTo>
                    <a:pt x="185" y="251"/>
                  </a:lnTo>
                  <a:lnTo>
                    <a:pt x="185" y="253"/>
                  </a:lnTo>
                  <a:lnTo>
                    <a:pt x="185" y="254"/>
                  </a:lnTo>
                  <a:lnTo>
                    <a:pt x="185" y="253"/>
                  </a:lnTo>
                  <a:lnTo>
                    <a:pt x="183" y="253"/>
                  </a:lnTo>
                  <a:lnTo>
                    <a:pt x="183" y="251"/>
                  </a:lnTo>
                  <a:lnTo>
                    <a:pt x="183" y="253"/>
                  </a:lnTo>
                  <a:lnTo>
                    <a:pt x="183" y="254"/>
                  </a:lnTo>
                  <a:lnTo>
                    <a:pt x="183" y="255"/>
                  </a:lnTo>
                  <a:lnTo>
                    <a:pt x="183" y="256"/>
                  </a:lnTo>
                  <a:lnTo>
                    <a:pt x="183" y="257"/>
                  </a:lnTo>
                  <a:lnTo>
                    <a:pt x="185" y="259"/>
                  </a:lnTo>
                  <a:lnTo>
                    <a:pt x="183" y="257"/>
                  </a:lnTo>
                  <a:lnTo>
                    <a:pt x="183" y="259"/>
                  </a:lnTo>
                  <a:lnTo>
                    <a:pt x="185" y="259"/>
                  </a:lnTo>
                  <a:lnTo>
                    <a:pt x="186" y="259"/>
                  </a:lnTo>
                  <a:lnTo>
                    <a:pt x="187" y="259"/>
                  </a:lnTo>
                  <a:lnTo>
                    <a:pt x="187" y="257"/>
                  </a:lnTo>
                  <a:lnTo>
                    <a:pt x="188" y="257"/>
                  </a:lnTo>
                  <a:lnTo>
                    <a:pt x="189" y="256"/>
                  </a:lnTo>
                  <a:lnTo>
                    <a:pt x="191" y="256"/>
                  </a:lnTo>
                  <a:lnTo>
                    <a:pt x="191" y="255"/>
                  </a:lnTo>
                  <a:lnTo>
                    <a:pt x="192" y="255"/>
                  </a:lnTo>
                  <a:lnTo>
                    <a:pt x="192" y="254"/>
                  </a:lnTo>
                  <a:lnTo>
                    <a:pt x="192" y="255"/>
                  </a:lnTo>
                  <a:lnTo>
                    <a:pt x="193" y="255"/>
                  </a:lnTo>
                  <a:lnTo>
                    <a:pt x="193" y="256"/>
                  </a:lnTo>
                  <a:lnTo>
                    <a:pt x="192" y="256"/>
                  </a:lnTo>
                  <a:lnTo>
                    <a:pt x="191" y="257"/>
                  </a:lnTo>
                  <a:lnTo>
                    <a:pt x="191" y="259"/>
                  </a:lnTo>
                  <a:lnTo>
                    <a:pt x="192" y="259"/>
                  </a:lnTo>
                  <a:lnTo>
                    <a:pt x="192" y="257"/>
                  </a:lnTo>
                  <a:lnTo>
                    <a:pt x="193" y="257"/>
                  </a:lnTo>
                  <a:lnTo>
                    <a:pt x="194" y="257"/>
                  </a:lnTo>
                  <a:lnTo>
                    <a:pt x="195" y="257"/>
                  </a:lnTo>
                  <a:lnTo>
                    <a:pt x="195" y="256"/>
                  </a:lnTo>
                  <a:lnTo>
                    <a:pt x="197" y="256"/>
                  </a:lnTo>
                  <a:lnTo>
                    <a:pt x="198" y="255"/>
                  </a:lnTo>
                  <a:lnTo>
                    <a:pt x="199" y="254"/>
                  </a:lnTo>
                  <a:lnTo>
                    <a:pt x="201" y="253"/>
                  </a:lnTo>
                  <a:lnTo>
                    <a:pt x="203" y="253"/>
                  </a:lnTo>
                  <a:lnTo>
                    <a:pt x="203" y="251"/>
                  </a:lnTo>
                  <a:lnTo>
                    <a:pt x="204" y="251"/>
                  </a:lnTo>
                  <a:lnTo>
                    <a:pt x="205" y="251"/>
                  </a:lnTo>
                  <a:lnTo>
                    <a:pt x="206" y="250"/>
                  </a:lnTo>
                  <a:lnTo>
                    <a:pt x="206" y="251"/>
                  </a:lnTo>
                  <a:lnTo>
                    <a:pt x="205" y="251"/>
                  </a:lnTo>
                  <a:lnTo>
                    <a:pt x="205" y="253"/>
                  </a:lnTo>
                  <a:lnTo>
                    <a:pt x="204" y="251"/>
                  </a:lnTo>
                  <a:lnTo>
                    <a:pt x="204" y="253"/>
                  </a:lnTo>
                  <a:lnTo>
                    <a:pt x="205" y="253"/>
                  </a:lnTo>
                  <a:lnTo>
                    <a:pt x="204" y="253"/>
                  </a:lnTo>
                  <a:lnTo>
                    <a:pt x="203" y="254"/>
                  </a:lnTo>
                  <a:lnTo>
                    <a:pt x="204" y="254"/>
                  </a:lnTo>
                  <a:lnTo>
                    <a:pt x="203" y="254"/>
                  </a:lnTo>
                  <a:lnTo>
                    <a:pt x="203" y="255"/>
                  </a:lnTo>
                  <a:lnTo>
                    <a:pt x="201" y="254"/>
                  </a:lnTo>
                  <a:lnTo>
                    <a:pt x="201" y="255"/>
                  </a:lnTo>
                  <a:lnTo>
                    <a:pt x="201" y="256"/>
                  </a:lnTo>
                  <a:lnTo>
                    <a:pt x="203" y="256"/>
                  </a:lnTo>
                  <a:lnTo>
                    <a:pt x="201" y="256"/>
                  </a:lnTo>
                  <a:lnTo>
                    <a:pt x="200" y="256"/>
                  </a:lnTo>
                  <a:lnTo>
                    <a:pt x="200" y="255"/>
                  </a:lnTo>
                  <a:lnTo>
                    <a:pt x="200" y="256"/>
                  </a:lnTo>
                  <a:lnTo>
                    <a:pt x="200" y="257"/>
                  </a:lnTo>
                  <a:lnTo>
                    <a:pt x="200" y="256"/>
                  </a:lnTo>
                  <a:lnTo>
                    <a:pt x="199" y="256"/>
                  </a:lnTo>
                  <a:lnTo>
                    <a:pt x="200" y="257"/>
                  </a:lnTo>
                  <a:lnTo>
                    <a:pt x="200" y="259"/>
                  </a:lnTo>
                  <a:lnTo>
                    <a:pt x="200" y="260"/>
                  </a:lnTo>
                  <a:lnTo>
                    <a:pt x="200" y="261"/>
                  </a:lnTo>
                  <a:lnTo>
                    <a:pt x="200" y="260"/>
                  </a:lnTo>
                  <a:lnTo>
                    <a:pt x="199" y="260"/>
                  </a:lnTo>
                  <a:lnTo>
                    <a:pt x="199" y="259"/>
                  </a:lnTo>
                  <a:lnTo>
                    <a:pt x="199" y="260"/>
                  </a:lnTo>
                  <a:lnTo>
                    <a:pt x="199" y="261"/>
                  </a:lnTo>
                  <a:lnTo>
                    <a:pt x="199" y="262"/>
                  </a:lnTo>
                  <a:lnTo>
                    <a:pt x="199" y="261"/>
                  </a:lnTo>
                  <a:lnTo>
                    <a:pt x="198" y="261"/>
                  </a:lnTo>
                  <a:lnTo>
                    <a:pt x="198" y="262"/>
                  </a:lnTo>
                  <a:lnTo>
                    <a:pt x="198" y="263"/>
                  </a:lnTo>
                  <a:lnTo>
                    <a:pt x="197" y="263"/>
                  </a:lnTo>
                  <a:lnTo>
                    <a:pt x="197" y="262"/>
                  </a:lnTo>
                  <a:lnTo>
                    <a:pt x="197" y="261"/>
                  </a:lnTo>
                  <a:lnTo>
                    <a:pt x="197" y="262"/>
                  </a:lnTo>
                  <a:lnTo>
                    <a:pt x="195" y="261"/>
                  </a:lnTo>
                  <a:lnTo>
                    <a:pt x="195" y="262"/>
                  </a:lnTo>
                  <a:lnTo>
                    <a:pt x="195" y="263"/>
                  </a:lnTo>
                  <a:lnTo>
                    <a:pt x="195" y="265"/>
                  </a:lnTo>
                  <a:lnTo>
                    <a:pt x="195" y="266"/>
                  </a:lnTo>
                  <a:lnTo>
                    <a:pt x="194" y="266"/>
                  </a:lnTo>
                  <a:lnTo>
                    <a:pt x="194" y="265"/>
                  </a:lnTo>
                  <a:lnTo>
                    <a:pt x="194" y="263"/>
                  </a:lnTo>
                  <a:lnTo>
                    <a:pt x="194" y="265"/>
                  </a:lnTo>
                  <a:lnTo>
                    <a:pt x="194" y="263"/>
                  </a:lnTo>
                  <a:lnTo>
                    <a:pt x="193" y="263"/>
                  </a:lnTo>
                  <a:lnTo>
                    <a:pt x="193" y="265"/>
                  </a:lnTo>
                  <a:lnTo>
                    <a:pt x="193" y="263"/>
                  </a:lnTo>
                  <a:lnTo>
                    <a:pt x="192" y="263"/>
                  </a:lnTo>
                  <a:lnTo>
                    <a:pt x="192" y="265"/>
                  </a:lnTo>
                  <a:lnTo>
                    <a:pt x="193" y="265"/>
                  </a:lnTo>
                  <a:lnTo>
                    <a:pt x="193" y="266"/>
                  </a:lnTo>
                  <a:lnTo>
                    <a:pt x="194" y="266"/>
                  </a:lnTo>
                  <a:lnTo>
                    <a:pt x="195" y="267"/>
                  </a:lnTo>
                  <a:lnTo>
                    <a:pt x="197" y="267"/>
                  </a:lnTo>
                  <a:lnTo>
                    <a:pt x="199" y="267"/>
                  </a:lnTo>
                  <a:lnTo>
                    <a:pt x="198" y="267"/>
                  </a:lnTo>
                  <a:lnTo>
                    <a:pt x="197" y="268"/>
                  </a:lnTo>
                  <a:lnTo>
                    <a:pt x="198" y="268"/>
                  </a:lnTo>
                  <a:lnTo>
                    <a:pt x="199" y="269"/>
                  </a:lnTo>
                  <a:lnTo>
                    <a:pt x="198" y="269"/>
                  </a:lnTo>
                  <a:lnTo>
                    <a:pt x="198" y="268"/>
                  </a:lnTo>
                  <a:lnTo>
                    <a:pt x="198" y="269"/>
                  </a:lnTo>
                  <a:lnTo>
                    <a:pt x="197" y="269"/>
                  </a:lnTo>
                  <a:lnTo>
                    <a:pt x="197" y="268"/>
                  </a:lnTo>
                  <a:lnTo>
                    <a:pt x="197" y="269"/>
                  </a:lnTo>
                  <a:lnTo>
                    <a:pt x="195" y="269"/>
                  </a:lnTo>
                  <a:lnTo>
                    <a:pt x="195" y="268"/>
                  </a:lnTo>
                  <a:lnTo>
                    <a:pt x="194" y="268"/>
                  </a:lnTo>
                  <a:lnTo>
                    <a:pt x="194" y="269"/>
                  </a:lnTo>
                  <a:lnTo>
                    <a:pt x="195" y="269"/>
                  </a:lnTo>
                  <a:lnTo>
                    <a:pt x="195" y="271"/>
                  </a:lnTo>
                  <a:lnTo>
                    <a:pt x="194" y="271"/>
                  </a:lnTo>
                  <a:lnTo>
                    <a:pt x="195" y="272"/>
                  </a:lnTo>
                  <a:lnTo>
                    <a:pt x="194" y="271"/>
                  </a:lnTo>
                  <a:lnTo>
                    <a:pt x="193" y="269"/>
                  </a:lnTo>
                  <a:lnTo>
                    <a:pt x="193" y="268"/>
                  </a:lnTo>
                  <a:lnTo>
                    <a:pt x="192" y="268"/>
                  </a:lnTo>
                  <a:lnTo>
                    <a:pt x="192" y="269"/>
                  </a:lnTo>
                  <a:lnTo>
                    <a:pt x="191" y="269"/>
                  </a:lnTo>
                  <a:lnTo>
                    <a:pt x="192" y="271"/>
                  </a:lnTo>
                  <a:lnTo>
                    <a:pt x="192" y="272"/>
                  </a:lnTo>
                  <a:lnTo>
                    <a:pt x="193" y="272"/>
                  </a:lnTo>
                  <a:lnTo>
                    <a:pt x="194" y="272"/>
                  </a:lnTo>
                  <a:lnTo>
                    <a:pt x="194" y="273"/>
                  </a:lnTo>
                  <a:lnTo>
                    <a:pt x="195" y="274"/>
                  </a:lnTo>
                  <a:lnTo>
                    <a:pt x="194" y="274"/>
                  </a:lnTo>
                  <a:lnTo>
                    <a:pt x="193" y="274"/>
                  </a:lnTo>
                  <a:lnTo>
                    <a:pt x="193" y="273"/>
                  </a:lnTo>
                  <a:lnTo>
                    <a:pt x="193" y="272"/>
                  </a:lnTo>
                  <a:lnTo>
                    <a:pt x="192" y="272"/>
                  </a:lnTo>
                  <a:lnTo>
                    <a:pt x="192" y="273"/>
                  </a:lnTo>
                  <a:lnTo>
                    <a:pt x="193" y="274"/>
                  </a:lnTo>
                  <a:lnTo>
                    <a:pt x="192" y="274"/>
                  </a:lnTo>
                  <a:lnTo>
                    <a:pt x="192" y="273"/>
                  </a:lnTo>
                  <a:lnTo>
                    <a:pt x="192" y="274"/>
                  </a:lnTo>
                  <a:lnTo>
                    <a:pt x="191" y="274"/>
                  </a:lnTo>
                  <a:lnTo>
                    <a:pt x="191" y="273"/>
                  </a:lnTo>
                  <a:lnTo>
                    <a:pt x="191" y="272"/>
                  </a:lnTo>
                  <a:lnTo>
                    <a:pt x="189" y="272"/>
                  </a:lnTo>
                  <a:lnTo>
                    <a:pt x="191" y="271"/>
                  </a:lnTo>
                  <a:lnTo>
                    <a:pt x="189" y="271"/>
                  </a:lnTo>
                  <a:lnTo>
                    <a:pt x="188" y="269"/>
                  </a:lnTo>
                  <a:lnTo>
                    <a:pt x="188" y="271"/>
                  </a:lnTo>
                  <a:lnTo>
                    <a:pt x="188" y="272"/>
                  </a:lnTo>
                  <a:lnTo>
                    <a:pt x="189" y="273"/>
                  </a:lnTo>
                  <a:lnTo>
                    <a:pt x="189" y="274"/>
                  </a:lnTo>
                  <a:lnTo>
                    <a:pt x="189" y="275"/>
                  </a:lnTo>
                  <a:lnTo>
                    <a:pt x="188" y="275"/>
                  </a:lnTo>
                  <a:lnTo>
                    <a:pt x="188" y="274"/>
                  </a:lnTo>
                  <a:lnTo>
                    <a:pt x="188" y="273"/>
                  </a:lnTo>
                  <a:lnTo>
                    <a:pt x="187" y="273"/>
                  </a:lnTo>
                  <a:lnTo>
                    <a:pt x="187" y="274"/>
                  </a:lnTo>
                  <a:lnTo>
                    <a:pt x="187" y="275"/>
                  </a:lnTo>
                  <a:lnTo>
                    <a:pt x="187" y="277"/>
                  </a:lnTo>
                  <a:lnTo>
                    <a:pt x="186" y="277"/>
                  </a:lnTo>
                  <a:lnTo>
                    <a:pt x="186" y="275"/>
                  </a:lnTo>
                  <a:lnTo>
                    <a:pt x="186" y="274"/>
                  </a:lnTo>
                  <a:lnTo>
                    <a:pt x="186" y="272"/>
                  </a:lnTo>
                  <a:lnTo>
                    <a:pt x="186" y="274"/>
                  </a:lnTo>
                  <a:lnTo>
                    <a:pt x="186" y="273"/>
                  </a:lnTo>
                  <a:lnTo>
                    <a:pt x="186" y="272"/>
                  </a:lnTo>
                  <a:lnTo>
                    <a:pt x="185" y="272"/>
                  </a:lnTo>
                  <a:lnTo>
                    <a:pt x="185" y="271"/>
                  </a:lnTo>
                  <a:lnTo>
                    <a:pt x="185" y="269"/>
                  </a:lnTo>
                  <a:lnTo>
                    <a:pt x="185" y="271"/>
                  </a:lnTo>
                  <a:lnTo>
                    <a:pt x="185" y="272"/>
                  </a:lnTo>
                  <a:lnTo>
                    <a:pt x="185" y="273"/>
                  </a:lnTo>
                  <a:lnTo>
                    <a:pt x="185" y="274"/>
                  </a:lnTo>
                  <a:lnTo>
                    <a:pt x="186" y="275"/>
                  </a:lnTo>
                  <a:lnTo>
                    <a:pt x="186" y="277"/>
                  </a:lnTo>
                  <a:lnTo>
                    <a:pt x="185" y="277"/>
                  </a:lnTo>
                  <a:lnTo>
                    <a:pt x="185" y="275"/>
                  </a:lnTo>
                  <a:lnTo>
                    <a:pt x="185" y="274"/>
                  </a:lnTo>
                  <a:lnTo>
                    <a:pt x="183" y="274"/>
                  </a:lnTo>
                  <a:lnTo>
                    <a:pt x="185" y="274"/>
                  </a:lnTo>
                  <a:lnTo>
                    <a:pt x="183" y="273"/>
                  </a:lnTo>
                  <a:lnTo>
                    <a:pt x="183" y="274"/>
                  </a:lnTo>
                  <a:lnTo>
                    <a:pt x="183" y="275"/>
                  </a:lnTo>
                  <a:lnTo>
                    <a:pt x="183" y="274"/>
                  </a:lnTo>
                  <a:lnTo>
                    <a:pt x="183" y="273"/>
                  </a:lnTo>
                  <a:lnTo>
                    <a:pt x="182" y="273"/>
                  </a:lnTo>
                  <a:lnTo>
                    <a:pt x="182" y="272"/>
                  </a:lnTo>
                  <a:lnTo>
                    <a:pt x="182" y="273"/>
                  </a:lnTo>
                  <a:lnTo>
                    <a:pt x="182" y="274"/>
                  </a:lnTo>
                  <a:lnTo>
                    <a:pt x="182" y="275"/>
                  </a:lnTo>
                  <a:lnTo>
                    <a:pt x="182" y="277"/>
                  </a:lnTo>
                  <a:lnTo>
                    <a:pt x="183" y="278"/>
                  </a:lnTo>
                  <a:lnTo>
                    <a:pt x="182" y="278"/>
                  </a:lnTo>
                  <a:lnTo>
                    <a:pt x="182" y="279"/>
                  </a:lnTo>
                  <a:lnTo>
                    <a:pt x="181" y="279"/>
                  </a:lnTo>
                  <a:lnTo>
                    <a:pt x="181" y="278"/>
                  </a:lnTo>
                  <a:lnTo>
                    <a:pt x="180" y="277"/>
                  </a:lnTo>
                  <a:lnTo>
                    <a:pt x="180" y="274"/>
                  </a:lnTo>
                  <a:lnTo>
                    <a:pt x="180" y="273"/>
                  </a:lnTo>
                  <a:lnTo>
                    <a:pt x="180" y="272"/>
                  </a:lnTo>
                  <a:lnTo>
                    <a:pt x="180" y="273"/>
                  </a:lnTo>
                  <a:lnTo>
                    <a:pt x="180" y="274"/>
                  </a:lnTo>
                  <a:lnTo>
                    <a:pt x="180" y="275"/>
                  </a:lnTo>
                  <a:lnTo>
                    <a:pt x="180" y="277"/>
                  </a:lnTo>
                  <a:lnTo>
                    <a:pt x="180" y="278"/>
                  </a:lnTo>
                  <a:lnTo>
                    <a:pt x="181" y="278"/>
                  </a:lnTo>
                  <a:lnTo>
                    <a:pt x="181" y="279"/>
                  </a:lnTo>
                  <a:lnTo>
                    <a:pt x="181" y="280"/>
                  </a:lnTo>
                  <a:lnTo>
                    <a:pt x="181" y="281"/>
                  </a:lnTo>
                  <a:lnTo>
                    <a:pt x="181" y="283"/>
                  </a:lnTo>
                  <a:lnTo>
                    <a:pt x="182" y="284"/>
                  </a:lnTo>
                  <a:lnTo>
                    <a:pt x="183" y="283"/>
                  </a:lnTo>
                  <a:lnTo>
                    <a:pt x="185" y="283"/>
                  </a:lnTo>
                  <a:lnTo>
                    <a:pt x="186" y="281"/>
                  </a:lnTo>
                  <a:lnTo>
                    <a:pt x="187" y="281"/>
                  </a:lnTo>
                  <a:lnTo>
                    <a:pt x="188" y="281"/>
                  </a:lnTo>
                  <a:lnTo>
                    <a:pt x="188" y="283"/>
                  </a:lnTo>
                  <a:lnTo>
                    <a:pt x="187" y="283"/>
                  </a:lnTo>
                  <a:lnTo>
                    <a:pt x="188" y="283"/>
                  </a:lnTo>
                  <a:lnTo>
                    <a:pt x="187" y="284"/>
                  </a:lnTo>
                  <a:lnTo>
                    <a:pt x="187" y="283"/>
                  </a:lnTo>
                  <a:lnTo>
                    <a:pt x="186" y="283"/>
                  </a:lnTo>
                  <a:lnTo>
                    <a:pt x="187" y="284"/>
                  </a:lnTo>
                  <a:lnTo>
                    <a:pt x="186" y="285"/>
                  </a:lnTo>
                  <a:lnTo>
                    <a:pt x="186" y="284"/>
                  </a:lnTo>
                  <a:lnTo>
                    <a:pt x="186" y="285"/>
                  </a:lnTo>
                  <a:lnTo>
                    <a:pt x="186" y="286"/>
                  </a:lnTo>
                  <a:lnTo>
                    <a:pt x="185" y="286"/>
                  </a:lnTo>
                  <a:lnTo>
                    <a:pt x="185" y="287"/>
                  </a:lnTo>
                  <a:lnTo>
                    <a:pt x="183" y="287"/>
                  </a:lnTo>
                  <a:lnTo>
                    <a:pt x="185" y="289"/>
                  </a:lnTo>
                  <a:lnTo>
                    <a:pt x="183" y="289"/>
                  </a:lnTo>
                  <a:lnTo>
                    <a:pt x="182" y="289"/>
                  </a:lnTo>
                  <a:lnTo>
                    <a:pt x="182" y="287"/>
                  </a:lnTo>
                  <a:lnTo>
                    <a:pt x="181" y="287"/>
                  </a:lnTo>
                  <a:lnTo>
                    <a:pt x="182" y="289"/>
                  </a:lnTo>
                  <a:lnTo>
                    <a:pt x="182" y="290"/>
                  </a:lnTo>
                  <a:lnTo>
                    <a:pt x="181" y="290"/>
                  </a:lnTo>
                  <a:lnTo>
                    <a:pt x="180" y="291"/>
                  </a:lnTo>
                  <a:lnTo>
                    <a:pt x="180" y="290"/>
                  </a:lnTo>
                  <a:lnTo>
                    <a:pt x="180" y="291"/>
                  </a:lnTo>
                  <a:lnTo>
                    <a:pt x="179" y="291"/>
                  </a:lnTo>
                  <a:lnTo>
                    <a:pt x="179" y="290"/>
                  </a:lnTo>
                  <a:lnTo>
                    <a:pt x="179" y="291"/>
                  </a:lnTo>
                  <a:lnTo>
                    <a:pt x="177" y="291"/>
                  </a:lnTo>
                  <a:lnTo>
                    <a:pt x="177" y="290"/>
                  </a:lnTo>
                  <a:lnTo>
                    <a:pt x="176" y="290"/>
                  </a:lnTo>
                  <a:lnTo>
                    <a:pt x="175" y="290"/>
                  </a:lnTo>
                  <a:lnTo>
                    <a:pt x="174" y="290"/>
                  </a:lnTo>
                  <a:lnTo>
                    <a:pt x="174" y="291"/>
                  </a:lnTo>
                  <a:lnTo>
                    <a:pt x="173" y="291"/>
                  </a:lnTo>
                  <a:lnTo>
                    <a:pt x="171" y="290"/>
                  </a:lnTo>
                  <a:lnTo>
                    <a:pt x="171" y="291"/>
                  </a:lnTo>
                  <a:lnTo>
                    <a:pt x="170" y="291"/>
                  </a:lnTo>
                  <a:lnTo>
                    <a:pt x="169" y="291"/>
                  </a:lnTo>
                  <a:lnTo>
                    <a:pt x="169" y="292"/>
                  </a:lnTo>
                  <a:lnTo>
                    <a:pt x="168" y="292"/>
                  </a:lnTo>
                  <a:lnTo>
                    <a:pt x="168" y="293"/>
                  </a:lnTo>
                  <a:lnTo>
                    <a:pt x="167" y="293"/>
                  </a:lnTo>
                  <a:lnTo>
                    <a:pt x="168" y="293"/>
                  </a:lnTo>
                  <a:lnTo>
                    <a:pt x="167" y="293"/>
                  </a:lnTo>
                  <a:lnTo>
                    <a:pt x="167" y="295"/>
                  </a:lnTo>
                  <a:lnTo>
                    <a:pt x="167" y="296"/>
                  </a:lnTo>
                  <a:lnTo>
                    <a:pt x="167" y="295"/>
                  </a:lnTo>
                  <a:lnTo>
                    <a:pt x="165" y="295"/>
                  </a:lnTo>
                  <a:lnTo>
                    <a:pt x="165" y="296"/>
                  </a:lnTo>
                  <a:lnTo>
                    <a:pt x="165" y="297"/>
                  </a:lnTo>
                  <a:lnTo>
                    <a:pt x="164" y="296"/>
                  </a:lnTo>
                  <a:lnTo>
                    <a:pt x="164" y="297"/>
                  </a:lnTo>
                  <a:lnTo>
                    <a:pt x="165" y="297"/>
                  </a:lnTo>
                  <a:lnTo>
                    <a:pt x="165" y="298"/>
                  </a:lnTo>
                  <a:lnTo>
                    <a:pt x="164" y="297"/>
                  </a:lnTo>
                  <a:lnTo>
                    <a:pt x="164" y="296"/>
                  </a:lnTo>
                  <a:lnTo>
                    <a:pt x="164" y="297"/>
                  </a:lnTo>
                  <a:lnTo>
                    <a:pt x="164" y="298"/>
                  </a:lnTo>
                  <a:lnTo>
                    <a:pt x="164" y="299"/>
                  </a:lnTo>
                  <a:lnTo>
                    <a:pt x="164" y="301"/>
                  </a:lnTo>
                  <a:lnTo>
                    <a:pt x="165" y="301"/>
                  </a:lnTo>
                  <a:lnTo>
                    <a:pt x="165" y="302"/>
                  </a:lnTo>
                  <a:lnTo>
                    <a:pt x="165" y="303"/>
                  </a:lnTo>
                  <a:lnTo>
                    <a:pt x="167" y="303"/>
                  </a:lnTo>
                  <a:lnTo>
                    <a:pt x="167" y="304"/>
                  </a:lnTo>
                  <a:lnTo>
                    <a:pt x="167" y="305"/>
                  </a:lnTo>
                  <a:lnTo>
                    <a:pt x="167" y="307"/>
                  </a:lnTo>
                  <a:lnTo>
                    <a:pt x="165" y="307"/>
                  </a:lnTo>
                  <a:lnTo>
                    <a:pt x="165" y="308"/>
                  </a:lnTo>
                  <a:lnTo>
                    <a:pt x="165" y="307"/>
                  </a:lnTo>
                  <a:lnTo>
                    <a:pt x="164" y="307"/>
                  </a:lnTo>
                  <a:lnTo>
                    <a:pt x="164" y="305"/>
                  </a:lnTo>
                  <a:lnTo>
                    <a:pt x="163" y="305"/>
                  </a:lnTo>
                  <a:lnTo>
                    <a:pt x="162" y="307"/>
                  </a:lnTo>
                  <a:lnTo>
                    <a:pt x="161" y="307"/>
                  </a:lnTo>
                  <a:lnTo>
                    <a:pt x="161" y="308"/>
                  </a:lnTo>
                  <a:lnTo>
                    <a:pt x="159" y="308"/>
                  </a:lnTo>
                  <a:lnTo>
                    <a:pt x="159" y="309"/>
                  </a:lnTo>
                  <a:lnTo>
                    <a:pt x="158" y="309"/>
                  </a:lnTo>
                  <a:lnTo>
                    <a:pt x="158" y="310"/>
                  </a:lnTo>
                  <a:lnTo>
                    <a:pt x="157" y="310"/>
                  </a:lnTo>
                  <a:lnTo>
                    <a:pt x="157" y="309"/>
                  </a:lnTo>
                  <a:lnTo>
                    <a:pt x="157" y="308"/>
                  </a:lnTo>
                  <a:lnTo>
                    <a:pt x="157" y="307"/>
                  </a:lnTo>
                  <a:lnTo>
                    <a:pt x="157" y="305"/>
                  </a:lnTo>
                  <a:lnTo>
                    <a:pt x="157" y="304"/>
                  </a:lnTo>
                  <a:lnTo>
                    <a:pt x="158" y="304"/>
                  </a:lnTo>
                  <a:lnTo>
                    <a:pt x="157" y="303"/>
                  </a:lnTo>
                  <a:lnTo>
                    <a:pt x="157" y="302"/>
                  </a:lnTo>
                  <a:lnTo>
                    <a:pt x="156" y="302"/>
                  </a:lnTo>
                  <a:lnTo>
                    <a:pt x="155" y="302"/>
                  </a:lnTo>
                  <a:lnTo>
                    <a:pt x="153" y="302"/>
                  </a:lnTo>
                  <a:lnTo>
                    <a:pt x="152" y="302"/>
                  </a:lnTo>
                  <a:lnTo>
                    <a:pt x="151" y="302"/>
                  </a:lnTo>
                  <a:lnTo>
                    <a:pt x="151" y="301"/>
                  </a:lnTo>
                  <a:lnTo>
                    <a:pt x="150" y="301"/>
                  </a:lnTo>
                  <a:lnTo>
                    <a:pt x="150" y="299"/>
                  </a:lnTo>
                  <a:lnTo>
                    <a:pt x="148" y="299"/>
                  </a:lnTo>
                  <a:lnTo>
                    <a:pt x="147" y="299"/>
                  </a:lnTo>
                  <a:lnTo>
                    <a:pt x="147" y="301"/>
                  </a:lnTo>
                  <a:lnTo>
                    <a:pt x="146" y="299"/>
                  </a:lnTo>
                  <a:lnTo>
                    <a:pt x="146" y="298"/>
                  </a:lnTo>
                  <a:lnTo>
                    <a:pt x="146" y="299"/>
                  </a:lnTo>
                  <a:lnTo>
                    <a:pt x="146" y="301"/>
                  </a:lnTo>
                  <a:lnTo>
                    <a:pt x="145" y="301"/>
                  </a:lnTo>
                  <a:lnTo>
                    <a:pt x="144" y="301"/>
                  </a:lnTo>
                  <a:lnTo>
                    <a:pt x="144" y="302"/>
                  </a:lnTo>
                  <a:lnTo>
                    <a:pt x="142" y="302"/>
                  </a:lnTo>
                  <a:lnTo>
                    <a:pt x="142" y="303"/>
                  </a:lnTo>
                  <a:lnTo>
                    <a:pt x="142" y="301"/>
                  </a:lnTo>
                  <a:lnTo>
                    <a:pt x="141" y="302"/>
                  </a:lnTo>
                  <a:lnTo>
                    <a:pt x="141" y="303"/>
                  </a:lnTo>
                  <a:lnTo>
                    <a:pt x="140" y="303"/>
                  </a:lnTo>
                  <a:lnTo>
                    <a:pt x="140" y="302"/>
                  </a:lnTo>
                  <a:lnTo>
                    <a:pt x="140" y="303"/>
                  </a:lnTo>
                  <a:lnTo>
                    <a:pt x="139" y="303"/>
                  </a:lnTo>
                  <a:lnTo>
                    <a:pt x="138" y="303"/>
                  </a:lnTo>
                  <a:lnTo>
                    <a:pt x="136" y="302"/>
                  </a:lnTo>
                  <a:lnTo>
                    <a:pt x="135" y="303"/>
                  </a:lnTo>
                  <a:lnTo>
                    <a:pt x="134" y="304"/>
                  </a:lnTo>
                  <a:lnTo>
                    <a:pt x="133" y="304"/>
                  </a:lnTo>
                  <a:lnTo>
                    <a:pt x="134" y="305"/>
                  </a:lnTo>
                  <a:lnTo>
                    <a:pt x="133" y="305"/>
                  </a:lnTo>
                  <a:lnTo>
                    <a:pt x="133" y="307"/>
                  </a:lnTo>
                  <a:lnTo>
                    <a:pt x="132" y="307"/>
                  </a:lnTo>
                  <a:lnTo>
                    <a:pt x="133" y="308"/>
                  </a:lnTo>
                  <a:lnTo>
                    <a:pt x="132" y="307"/>
                  </a:lnTo>
                  <a:lnTo>
                    <a:pt x="130" y="307"/>
                  </a:lnTo>
                  <a:lnTo>
                    <a:pt x="129" y="305"/>
                  </a:lnTo>
                  <a:lnTo>
                    <a:pt x="128" y="305"/>
                  </a:lnTo>
                  <a:lnTo>
                    <a:pt x="127" y="305"/>
                  </a:lnTo>
                  <a:lnTo>
                    <a:pt x="126" y="305"/>
                  </a:lnTo>
                  <a:lnTo>
                    <a:pt x="124" y="305"/>
                  </a:lnTo>
                  <a:lnTo>
                    <a:pt x="124" y="304"/>
                  </a:lnTo>
                  <a:lnTo>
                    <a:pt x="124" y="303"/>
                  </a:lnTo>
                  <a:lnTo>
                    <a:pt x="123" y="304"/>
                  </a:lnTo>
                  <a:lnTo>
                    <a:pt x="123" y="305"/>
                  </a:lnTo>
                  <a:lnTo>
                    <a:pt x="123" y="307"/>
                  </a:lnTo>
                  <a:lnTo>
                    <a:pt x="123" y="308"/>
                  </a:lnTo>
                  <a:lnTo>
                    <a:pt x="122" y="308"/>
                  </a:lnTo>
                  <a:lnTo>
                    <a:pt x="122" y="309"/>
                  </a:lnTo>
                  <a:lnTo>
                    <a:pt x="122" y="310"/>
                  </a:lnTo>
                  <a:lnTo>
                    <a:pt x="122" y="311"/>
                  </a:lnTo>
                  <a:lnTo>
                    <a:pt x="122" y="313"/>
                  </a:lnTo>
                  <a:lnTo>
                    <a:pt x="121" y="313"/>
                  </a:lnTo>
                  <a:lnTo>
                    <a:pt x="121" y="314"/>
                  </a:lnTo>
                  <a:lnTo>
                    <a:pt x="120" y="314"/>
                  </a:lnTo>
                  <a:lnTo>
                    <a:pt x="120" y="315"/>
                  </a:lnTo>
                  <a:lnTo>
                    <a:pt x="118" y="315"/>
                  </a:lnTo>
                  <a:lnTo>
                    <a:pt x="118" y="314"/>
                  </a:lnTo>
                  <a:lnTo>
                    <a:pt x="118" y="315"/>
                  </a:lnTo>
                  <a:lnTo>
                    <a:pt x="118" y="314"/>
                  </a:lnTo>
                  <a:lnTo>
                    <a:pt x="117" y="314"/>
                  </a:lnTo>
                  <a:lnTo>
                    <a:pt x="116" y="314"/>
                  </a:lnTo>
                  <a:lnTo>
                    <a:pt x="116" y="313"/>
                  </a:lnTo>
                  <a:lnTo>
                    <a:pt x="115" y="313"/>
                  </a:lnTo>
                  <a:lnTo>
                    <a:pt x="115" y="314"/>
                  </a:lnTo>
                  <a:lnTo>
                    <a:pt x="114" y="314"/>
                  </a:lnTo>
                  <a:lnTo>
                    <a:pt x="114" y="315"/>
                  </a:lnTo>
                  <a:lnTo>
                    <a:pt x="114" y="316"/>
                  </a:lnTo>
                  <a:lnTo>
                    <a:pt x="114" y="317"/>
                  </a:lnTo>
                  <a:lnTo>
                    <a:pt x="112" y="317"/>
                  </a:lnTo>
                  <a:lnTo>
                    <a:pt x="112" y="319"/>
                  </a:lnTo>
                  <a:lnTo>
                    <a:pt x="112" y="320"/>
                  </a:lnTo>
                  <a:lnTo>
                    <a:pt x="112" y="322"/>
                  </a:lnTo>
                  <a:lnTo>
                    <a:pt x="112" y="327"/>
                  </a:lnTo>
                  <a:lnTo>
                    <a:pt x="112" y="331"/>
                  </a:lnTo>
                  <a:lnTo>
                    <a:pt x="112" y="334"/>
                  </a:lnTo>
                  <a:lnTo>
                    <a:pt x="112" y="336"/>
                  </a:lnTo>
                  <a:lnTo>
                    <a:pt x="112" y="337"/>
                  </a:lnTo>
                  <a:lnTo>
                    <a:pt x="111" y="338"/>
                  </a:lnTo>
                  <a:lnTo>
                    <a:pt x="110" y="338"/>
                  </a:lnTo>
                  <a:lnTo>
                    <a:pt x="103" y="337"/>
                  </a:lnTo>
                  <a:lnTo>
                    <a:pt x="103" y="331"/>
                  </a:lnTo>
                  <a:lnTo>
                    <a:pt x="103" y="325"/>
                  </a:lnTo>
                  <a:lnTo>
                    <a:pt x="103" y="317"/>
                  </a:lnTo>
                  <a:lnTo>
                    <a:pt x="102" y="316"/>
                  </a:lnTo>
                  <a:lnTo>
                    <a:pt x="102" y="315"/>
                  </a:lnTo>
                  <a:lnTo>
                    <a:pt x="100" y="315"/>
                  </a:lnTo>
                  <a:lnTo>
                    <a:pt x="99" y="315"/>
                  </a:lnTo>
                  <a:lnTo>
                    <a:pt x="99" y="314"/>
                  </a:lnTo>
                  <a:lnTo>
                    <a:pt x="98" y="314"/>
                  </a:lnTo>
                  <a:lnTo>
                    <a:pt x="98" y="313"/>
                  </a:lnTo>
                  <a:lnTo>
                    <a:pt x="99" y="313"/>
                  </a:lnTo>
                  <a:lnTo>
                    <a:pt x="99" y="311"/>
                  </a:lnTo>
                  <a:lnTo>
                    <a:pt x="99" y="310"/>
                  </a:lnTo>
                  <a:lnTo>
                    <a:pt x="99" y="311"/>
                  </a:lnTo>
                  <a:lnTo>
                    <a:pt x="99" y="310"/>
                  </a:lnTo>
                  <a:lnTo>
                    <a:pt x="100" y="310"/>
                  </a:lnTo>
                  <a:lnTo>
                    <a:pt x="99" y="310"/>
                  </a:lnTo>
                  <a:lnTo>
                    <a:pt x="99" y="309"/>
                  </a:lnTo>
                  <a:lnTo>
                    <a:pt x="99" y="308"/>
                  </a:lnTo>
                  <a:lnTo>
                    <a:pt x="98" y="308"/>
                  </a:lnTo>
                  <a:lnTo>
                    <a:pt x="97" y="308"/>
                  </a:lnTo>
                  <a:lnTo>
                    <a:pt x="96" y="308"/>
                  </a:lnTo>
                  <a:lnTo>
                    <a:pt x="96" y="309"/>
                  </a:lnTo>
                  <a:lnTo>
                    <a:pt x="94" y="309"/>
                  </a:lnTo>
                  <a:lnTo>
                    <a:pt x="94" y="308"/>
                  </a:lnTo>
                  <a:lnTo>
                    <a:pt x="94" y="309"/>
                  </a:lnTo>
                  <a:lnTo>
                    <a:pt x="93" y="309"/>
                  </a:lnTo>
                  <a:lnTo>
                    <a:pt x="92" y="310"/>
                  </a:lnTo>
                  <a:lnTo>
                    <a:pt x="91" y="311"/>
                  </a:lnTo>
                  <a:lnTo>
                    <a:pt x="91" y="313"/>
                  </a:lnTo>
                  <a:lnTo>
                    <a:pt x="91" y="311"/>
                  </a:lnTo>
                  <a:lnTo>
                    <a:pt x="89" y="313"/>
                  </a:lnTo>
                  <a:lnTo>
                    <a:pt x="89" y="314"/>
                  </a:lnTo>
                  <a:lnTo>
                    <a:pt x="88" y="314"/>
                  </a:lnTo>
                  <a:lnTo>
                    <a:pt x="87" y="314"/>
                  </a:lnTo>
                  <a:lnTo>
                    <a:pt x="86" y="314"/>
                  </a:lnTo>
                  <a:lnTo>
                    <a:pt x="85" y="313"/>
                  </a:lnTo>
                  <a:lnTo>
                    <a:pt x="83" y="311"/>
                  </a:lnTo>
                  <a:lnTo>
                    <a:pt x="83" y="313"/>
                  </a:lnTo>
                  <a:lnTo>
                    <a:pt x="82" y="313"/>
                  </a:lnTo>
                  <a:lnTo>
                    <a:pt x="81" y="313"/>
                  </a:lnTo>
                  <a:lnTo>
                    <a:pt x="81" y="311"/>
                  </a:lnTo>
                  <a:lnTo>
                    <a:pt x="80" y="311"/>
                  </a:lnTo>
                  <a:lnTo>
                    <a:pt x="80" y="310"/>
                  </a:lnTo>
                  <a:lnTo>
                    <a:pt x="79" y="310"/>
                  </a:lnTo>
                  <a:lnTo>
                    <a:pt x="79" y="309"/>
                  </a:lnTo>
                  <a:lnTo>
                    <a:pt x="77" y="309"/>
                  </a:lnTo>
                  <a:lnTo>
                    <a:pt x="77" y="308"/>
                  </a:lnTo>
                  <a:lnTo>
                    <a:pt x="76" y="307"/>
                  </a:lnTo>
                  <a:lnTo>
                    <a:pt x="76" y="308"/>
                  </a:lnTo>
                  <a:lnTo>
                    <a:pt x="75" y="308"/>
                  </a:lnTo>
                  <a:lnTo>
                    <a:pt x="75" y="307"/>
                  </a:lnTo>
                  <a:lnTo>
                    <a:pt x="75" y="308"/>
                  </a:lnTo>
                  <a:lnTo>
                    <a:pt x="74" y="308"/>
                  </a:lnTo>
                  <a:lnTo>
                    <a:pt x="73" y="308"/>
                  </a:lnTo>
                  <a:lnTo>
                    <a:pt x="71" y="308"/>
                  </a:lnTo>
                  <a:lnTo>
                    <a:pt x="70" y="309"/>
                  </a:lnTo>
                  <a:lnTo>
                    <a:pt x="69" y="310"/>
                  </a:lnTo>
                  <a:lnTo>
                    <a:pt x="69" y="311"/>
                  </a:lnTo>
                  <a:lnTo>
                    <a:pt x="68" y="311"/>
                  </a:lnTo>
                  <a:lnTo>
                    <a:pt x="67" y="311"/>
                  </a:lnTo>
                  <a:lnTo>
                    <a:pt x="65" y="311"/>
                  </a:lnTo>
                  <a:lnTo>
                    <a:pt x="65" y="310"/>
                  </a:lnTo>
                  <a:lnTo>
                    <a:pt x="65" y="309"/>
                  </a:lnTo>
                  <a:lnTo>
                    <a:pt x="65" y="308"/>
                  </a:lnTo>
                  <a:lnTo>
                    <a:pt x="65" y="309"/>
                  </a:lnTo>
                  <a:lnTo>
                    <a:pt x="65" y="310"/>
                  </a:lnTo>
                  <a:lnTo>
                    <a:pt x="64" y="310"/>
                  </a:lnTo>
                  <a:lnTo>
                    <a:pt x="64" y="309"/>
                  </a:lnTo>
                  <a:lnTo>
                    <a:pt x="64" y="308"/>
                  </a:lnTo>
                  <a:lnTo>
                    <a:pt x="64" y="309"/>
                  </a:lnTo>
                  <a:lnTo>
                    <a:pt x="64" y="310"/>
                  </a:lnTo>
                  <a:lnTo>
                    <a:pt x="63" y="310"/>
                  </a:lnTo>
                  <a:lnTo>
                    <a:pt x="63" y="311"/>
                  </a:lnTo>
                  <a:lnTo>
                    <a:pt x="63" y="310"/>
                  </a:lnTo>
                  <a:lnTo>
                    <a:pt x="63" y="309"/>
                  </a:lnTo>
                  <a:lnTo>
                    <a:pt x="62" y="310"/>
                  </a:lnTo>
                  <a:lnTo>
                    <a:pt x="62" y="311"/>
                  </a:lnTo>
                  <a:lnTo>
                    <a:pt x="62" y="310"/>
                  </a:lnTo>
                  <a:lnTo>
                    <a:pt x="62" y="309"/>
                  </a:lnTo>
                  <a:lnTo>
                    <a:pt x="61" y="309"/>
                  </a:lnTo>
                  <a:lnTo>
                    <a:pt x="61" y="310"/>
                  </a:lnTo>
                  <a:lnTo>
                    <a:pt x="59" y="310"/>
                  </a:lnTo>
                  <a:lnTo>
                    <a:pt x="58" y="310"/>
                  </a:lnTo>
                  <a:lnTo>
                    <a:pt x="58" y="311"/>
                  </a:lnTo>
                  <a:lnTo>
                    <a:pt x="58" y="310"/>
                  </a:lnTo>
                  <a:lnTo>
                    <a:pt x="58" y="311"/>
                  </a:lnTo>
                  <a:lnTo>
                    <a:pt x="58" y="313"/>
                  </a:lnTo>
                  <a:lnTo>
                    <a:pt x="57" y="313"/>
                  </a:lnTo>
                  <a:lnTo>
                    <a:pt x="57" y="314"/>
                  </a:lnTo>
                  <a:lnTo>
                    <a:pt x="56" y="314"/>
                  </a:lnTo>
                  <a:lnTo>
                    <a:pt x="56" y="315"/>
                  </a:lnTo>
                  <a:lnTo>
                    <a:pt x="56" y="316"/>
                  </a:lnTo>
                  <a:lnTo>
                    <a:pt x="55" y="316"/>
                  </a:lnTo>
                  <a:lnTo>
                    <a:pt x="55" y="317"/>
                  </a:lnTo>
                  <a:lnTo>
                    <a:pt x="55" y="319"/>
                  </a:lnTo>
                  <a:lnTo>
                    <a:pt x="53" y="319"/>
                  </a:lnTo>
                  <a:lnTo>
                    <a:pt x="53" y="320"/>
                  </a:lnTo>
                  <a:lnTo>
                    <a:pt x="52" y="320"/>
                  </a:lnTo>
                  <a:lnTo>
                    <a:pt x="52" y="319"/>
                  </a:lnTo>
                  <a:lnTo>
                    <a:pt x="52" y="317"/>
                  </a:lnTo>
                  <a:lnTo>
                    <a:pt x="51" y="319"/>
                  </a:lnTo>
                  <a:lnTo>
                    <a:pt x="51" y="320"/>
                  </a:lnTo>
                  <a:lnTo>
                    <a:pt x="51" y="321"/>
                  </a:lnTo>
                  <a:lnTo>
                    <a:pt x="50" y="321"/>
                  </a:lnTo>
                  <a:lnTo>
                    <a:pt x="49" y="321"/>
                  </a:lnTo>
                  <a:lnTo>
                    <a:pt x="49" y="320"/>
                  </a:lnTo>
                  <a:lnTo>
                    <a:pt x="49" y="321"/>
                  </a:lnTo>
                  <a:lnTo>
                    <a:pt x="49" y="320"/>
                  </a:lnTo>
                  <a:lnTo>
                    <a:pt x="47" y="319"/>
                  </a:lnTo>
                  <a:lnTo>
                    <a:pt x="46" y="320"/>
                  </a:lnTo>
                  <a:lnTo>
                    <a:pt x="47" y="320"/>
                  </a:lnTo>
                  <a:lnTo>
                    <a:pt x="47" y="321"/>
                  </a:lnTo>
                  <a:lnTo>
                    <a:pt x="46" y="321"/>
                  </a:lnTo>
                  <a:lnTo>
                    <a:pt x="47" y="321"/>
                  </a:lnTo>
                  <a:lnTo>
                    <a:pt x="47" y="322"/>
                  </a:lnTo>
                  <a:lnTo>
                    <a:pt x="47" y="324"/>
                  </a:lnTo>
                  <a:lnTo>
                    <a:pt x="46" y="324"/>
                  </a:lnTo>
                  <a:lnTo>
                    <a:pt x="46" y="325"/>
                  </a:lnTo>
                  <a:lnTo>
                    <a:pt x="45" y="325"/>
                  </a:lnTo>
                  <a:lnTo>
                    <a:pt x="45" y="326"/>
                  </a:lnTo>
                  <a:lnTo>
                    <a:pt x="44" y="326"/>
                  </a:lnTo>
                  <a:lnTo>
                    <a:pt x="43" y="327"/>
                  </a:lnTo>
                  <a:lnTo>
                    <a:pt x="43" y="326"/>
                  </a:lnTo>
                  <a:lnTo>
                    <a:pt x="43" y="325"/>
                  </a:lnTo>
                  <a:lnTo>
                    <a:pt x="43" y="324"/>
                  </a:lnTo>
                  <a:lnTo>
                    <a:pt x="41" y="324"/>
                  </a:lnTo>
                  <a:lnTo>
                    <a:pt x="40" y="324"/>
                  </a:lnTo>
                  <a:lnTo>
                    <a:pt x="40" y="322"/>
                  </a:lnTo>
                  <a:lnTo>
                    <a:pt x="39" y="322"/>
                  </a:lnTo>
                  <a:lnTo>
                    <a:pt x="39" y="321"/>
                  </a:lnTo>
                  <a:lnTo>
                    <a:pt x="38" y="321"/>
                  </a:lnTo>
                  <a:lnTo>
                    <a:pt x="37" y="321"/>
                  </a:lnTo>
                  <a:lnTo>
                    <a:pt x="35" y="321"/>
                  </a:lnTo>
                  <a:lnTo>
                    <a:pt x="34" y="321"/>
                  </a:lnTo>
                  <a:lnTo>
                    <a:pt x="33" y="321"/>
                  </a:lnTo>
                  <a:lnTo>
                    <a:pt x="33" y="320"/>
                  </a:lnTo>
                  <a:lnTo>
                    <a:pt x="32" y="320"/>
                  </a:lnTo>
                  <a:lnTo>
                    <a:pt x="32" y="319"/>
                  </a:lnTo>
                  <a:lnTo>
                    <a:pt x="31" y="319"/>
                  </a:lnTo>
                  <a:lnTo>
                    <a:pt x="29" y="319"/>
                  </a:lnTo>
                  <a:lnTo>
                    <a:pt x="29" y="317"/>
                  </a:lnTo>
                  <a:lnTo>
                    <a:pt x="29" y="316"/>
                  </a:lnTo>
                  <a:lnTo>
                    <a:pt x="29" y="315"/>
                  </a:lnTo>
                  <a:lnTo>
                    <a:pt x="29" y="316"/>
                  </a:lnTo>
                  <a:lnTo>
                    <a:pt x="29" y="315"/>
                  </a:lnTo>
                  <a:lnTo>
                    <a:pt x="28" y="316"/>
                  </a:lnTo>
                  <a:lnTo>
                    <a:pt x="28" y="315"/>
                  </a:lnTo>
                  <a:lnTo>
                    <a:pt x="28" y="314"/>
                  </a:lnTo>
                  <a:lnTo>
                    <a:pt x="27" y="314"/>
                  </a:lnTo>
                  <a:lnTo>
                    <a:pt x="27" y="313"/>
                  </a:lnTo>
                  <a:lnTo>
                    <a:pt x="26" y="313"/>
                  </a:lnTo>
                  <a:lnTo>
                    <a:pt x="26" y="311"/>
                  </a:lnTo>
                  <a:lnTo>
                    <a:pt x="24" y="311"/>
                  </a:lnTo>
                  <a:lnTo>
                    <a:pt x="24" y="310"/>
                  </a:lnTo>
                  <a:lnTo>
                    <a:pt x="26" y="309"/>
                  </a:lnTo>
                  <a:lnTo>
                    <a:pt x="24" y="309"/>
                  </a:lnTo>
                  <a:lnTo>
                    <a:pt x="24" y="308"/>
                  </a:lnTo>
                  <a:lnTo>
                    <a:pt x="24" y="309"/>
                  </a:lnTo>
                  <a:lnTo>
                    <a:pt x="23" y="309"/>
                  </a:lnTo>
                  <a:lnTo>
                    <a:pt x="23" y="308"/>
                  </a:lnTo>
                  <a:lnTo>
                    <a:pt x="22" y="307"/>
                  </a:lnTo>
                  <a:lnTo>
                    <a:pt x="22" y="308"/>
                  </a:lnTo>
                  <a:lnTo>
                    <a:pt x="21" y="308"/>
                  </a:lnTo>
                  <a:lnTo>
                    <a:pt x="21" y="307"/>
                  </a:lnTo>
                  <a:lnTo>
                    <a:pt x="20" y="307"/>
                  </a:lnTo>
                  <a:lnTo>
                    <a:pt x="18" y="307"/>
                  </a:lnTo>
                  <a:lnTo>
                    <a:pt x="17" y="307"/>
                  </a:lnTo>
                  <a:lnTo>
                    <a:pt x="17" y="305"/>
                  </a:lnTo>
                  <a:lnTo>
                    <a:pt x="17" y="304"/>
                  </a:lnTo>
                  <a:lnTo>
                    <a:pt x="16" y="303"/>
                  </a:lnTo>
                  <a:lnTo>
                    <a:pt x="15" y="303"/>
                  </a:lnTo>
                  <a:lnTo>
                    <a:pt x="14" y="303"/>
                  </a:lnTo>
                  <a:lnTo>
                    <a:pt x="12" y="303"/>
                  </a:lnTo>
                  <a:lnTo>
                    <a:pt x="11" y="303"/>
                  </a:lnTo>
                  <a:lnTo>
                    <a:pt x="11" y="302"/>
                  </a:lnTo>
                  <a:lnTo>
                    <a:pt x="11" y="301"/>
                  </a:lnTo>
                  <a:lnTo>
                    <a:pt x="10" y="301"/>
                  </a:lnTo>
                  <a:lnTo>
                    <a:pt x="10" y="302"/>
                  </a:lnTo>
                  <a:lnTo>
                    <a:pt x="10" y="301"/>
                  </a:lnTo>
                  <a:lnTo>
                    <a:pt x="10" y="299"/>
                  </a:lnTo>
                  <a:lnTo>
                    <a:pt x="9" y="299"/>
                  </a:lnTo>
                  <a:lnTo>
                    <a:pt x="8" y="299"/>
                  </a:lnTo>
                  <a:lnTo>
                    <a:pt x="8" y="298"/>
                  </a:lnTo>
                  <a:lnTo>
                    <a:pt x="6" y="298"/>
                  </a:lnTo>
                  <a:lnTo>
                    <a:pt x="5" y="298"/>
                  </a:lnTo>
                  <a:lnTo>
                    <a:pt x="4" y="298"/>
                  </a:lnTo>
                  <a:lnTo>
                    <a:pt x="4" y="297"/>
                  </a:lnTo>
                  <a:lnTo>
                    <a:pt x="5" y="297"/>
                  </a:lnTo>
                  <a:lnTo>
                    <a:pt x="4" y="297"/>
                  </a:lnTo>
                  <a:lnTo>
                    <a:pt x="4" y="296"/>
                  </a:lnTo>
                  <a:lnTo>
                    <a:pt x="4" y="295"/>
                  </a:lnTo>
                  <a:lnTo>
                    <a:pt x="4" y="293"/>
                  </a:lnTo>
                  <a:lnTo>
                    <a:pt x="4" y="292"/>
                  </a:lnTo>
                  <a:lnTo>
                    <a:pt x="4" y="291"/>
                  </a:lnTo>
                  <a:lnTo>
                    <a:pt x="4" y="290"/>
                  </a:lnTo>
                  <a:lnTo>
                    <a:pt x="4" y="289"/>
                  </a:lnTo>
                  <a:lnTo>
                    <a:pt x="3" y="289"/>
                  </a:lnTo>
                  <a:lnTo>
                    <a:pt x="4" y="289"/>
                  </a:lnTo>
                  <a:lnTo>
                    <a:pt x="3" y="289"/>
                  </a:lnTo>
                  <a:lnTo>
                    <a:pt x="3" y="287"/>
                  </a:lnTo>
                  <a:lnTo>
                    <a:pt x="2" y="287"/>
                  </a:lnTo>
                  <a:lnTo>
                    <a:pt x="0" y="286"/>
                  </a:lnTo>
                  <a:lnTo>
                    <a:pt x="0" y="285"/>
                  </a:lnTo>
                  <a:lnTo>
                    <a:pt x="2" y="285"/>
                  </a:lnTo>
                  <a:lnTo>
                    <a:pt x="3" y="286"/>
                  </a:lnTo>
                  <a:lnTo>
                    <a:pt x="4" y="286"/>
                  </a:lnTo>
                  <a:lnTo>
                    <a:pt x="5" y="287"/>
                  </a:lnTo>
                  <a:lnTo>
                    <a:pt x="6" y="287"/>
                  </a:lnTo>
                  <a:lnTo>
                    <a:pt x="9" y="289"/>
                  </a:lnTo>
                  <a:lnTo>
                    <a:pt x="10" y="289"/>
                  </a:lnTo>
                  <a:lnTo>
                    <a:pt x="11" y="289"/>
                  </a:lnTo>
                  <a:lnTo>
                    <a:pt x="12" y="289"/>
                  </a:lnTo>
                  <a:lnTo>
                    <a:pt x="15" y="290"/>
                  </a:lnTo>
                  <a:lnTo>
                    <a:pt x="16" y="290"/>
                  </a:lnTo>
                  <a:lnTo>
                    <a:pt x="17" y="290"/>
                  </a:lnTo>
                  <a:lnTo>
                    <a:pt x="20" y="289"/>
                  </a:lnTo>
                  <a:lnTo>
                    <a:pt x="21" y="289"/>
                  </a:lnTo>
                  <a:lnTo>
                    <a:pt x="24" y="289"/>
                  </a:lnTo>
                  <a:lnTo>
                    <a:pt x="26" y="287"/>
                  </a:lnTo>
                  <a:lnTo>
                    <a:pt x="26" y="286"/>
                  </a:lnTo>
                  <a:lnTo>
                    <a:pt x="27" y="285"/>
                  </a:lnTo>
                  <a:lnTo>
                    <a:pt x="26" y="285"/>
                  </a:lnTo>
                  <a:lnTo>
                    <a:pt x="24" y="285"/>
                  </a:lnTo>
                  <a:lnTo>
                    <a:pt x="24" y="284"/>
                  </a:lnTo>
                  <a:lnTo>
                    <a:pt x="23" y="284"/>
                  </a:lnTo>
                  <a:lnTo>
                    <a:pt x="22" y="284"/>
                  </a:lnTo>
                  <a:lnTo>
                    <a:pt x="21" y="284"/>
                  </a:lnTo>
                  <a:lnTo>
                    <a:pt x="21" y="283"/>
                  </a:lnTo>
                  <a:lnTo>
                    <a:pt x="21" y="281"/>
                  </a:lnTo>
                  <a:lnTo>
                    <a:pt x="20" y="283"/>
                  </a:lnTo>
                  <a:lnTo>
                    <a:pt x="20" y="281"/>
                  </a:lnTo>
                  <a:lnTo>
                    <a:pt x="20" y="283"/>
                  </a:lnTo>
                  <a:lnTo>
                    <a:pt x="18" y="283"/>
                  </a:lnTo>
                  <a:lnTo>
                    <a:pt x="17" y="281"/>
                  </a:lnTo>
                  <a:lnTo>
                    <a:pt x="17" y="280"/>
                  </a:lnTo>
                  <a:lnTo>
                    <a:pt x="16" y="279"/>
                  </a:lnTo>
                  <a:lnTo>
                    <a:pt x="16" y="278"/>
                  </a:lnTo>
                  <a:lnTo>
                    <a:pt x="15" y="278"/>
                  </a:lnTo>
                  <a:lnTo>
                    <a:pt x="15" y="277"/>
                  </a:lnTo>
                  <a:lnTo>
                    <a:pt x="15" y="275"/>
                  </a:lnTo>
                  <a:lnTo>
                    <a:pt x="16" y="277"/>
                  </a:lnTo>
                  <a:lnTo>
                    <a:pt x="18" y="277"/>
                  </a:lnTo>
                  <a:lnTo>
                    <a:pt x="20" y="277"/>
                  </a:lnTo>
                  <a:lnTo>
                    <a:pt x="21" y="277"/>
                  </a:lnTo>
                  <a:lnTo>
                    <a:pt x="22" y="277"/>
                  </a:lnTo>
                  <a:lnTo>
                    <a:pt x="23" y="275"/>
                  </a:lnTo>
                  <a:lnTo>
                    <a:pt x="23" y="274"/>
                  </a:lnTo>
                  <a:lnTo>
                    <a:pt x="22" y="274"/>
                  </a:lnTo>
                  <a:lnTo>
                    <a:pt x="22" y="273"/>
                  </a:lnTo>
                  <a:lnTo>
                    <a:pt x="21" y="273"/>
                  </a:lnTo>
                  <a:lnTo>
                    <a:pt x="21" y="272"/>
                  </a:lnTo>
                  <a:lnTo>
                    <a:pt x="20" y="272"/>
                  </a:lnTo>
                  <a:lnTo>
                    <a:pt x="18" y="272"/>
                  </a:lnTo>
                  <a:lnTo>
                    <a:pt x="17" y="271"/>
                  </a:lnTo>
                  <a:lnTo>
                    <a:pt x="16" y="271"/>
                  </a:lnTo>
                  <a:lnTo>
                    <a:pt x="16" y="269"/>
                  </a:lnTo>
                  <a:lnTo>
                    <a:pt x="15" y="269"/>
                  </a:lnTo>
                  <a:lnTo>
                    <a:pt x="15" y="268"/>
                  </a:lnTo>
                  <a:lnTo>
                    <a:pt x="14" y="268"/>
                  </a:lnTo>
                  <a:lnTo>
                    <a:pt x="14" y="267"/>
                  </a:lnTo>
                  <a:lnTo>
                    <a:pt x="14" y="266"/>
                  </a:lnTo>
                  <a:lnTo>
                    <a:pt x="14" y="265"/>
                  </a:lnTo>
                  <a:lnTo>
                    <a:pt x="12" y="265"/>
                  </a:lnTo>
                  <a:lnTo>
                    <a:pt x="12" y="263"/>
                  </a:lnTo>
                  <a:lnTo>
                    <a:pt x="14" y="263"/>
                  </a:lnTo>
                  <a:lnTo>
                    <a:pt x="14" y="265"/>
                  </a:lnTo>
                  <a:lnTo>
                    <a:pt x="15" y="265"/>
                  </a:lnTo>
                  <a:lnTo>
                    <a:pt x="14" y="263"/>
                  </a:lnTo>
                  <a:lnTo>
                    <a:pt x="14" y="262"/>
                  </a:lnTo>
                  <a:lnTo>
                    <a:pt x="15" y="262"/>
                  </a:lnTo>
                  <a:lnTo>
                    <a:pt x="14" y="262"/>
                  </a:lnTo>
                  <a:lnTo>
                    <a:pt x="14" y="261"/>
                  </a:lnTo>
                  <a:lnTo>
                    <a:pt x="15" y="261"/>
                  </a:lnTo>
                  <a:lnTo>
                    <a:pt x="14" y="261"/>
                  </a:lnTo>
                  <a:lnTo>
                    <a:pt x="14" y="260"/>
                  </a:lnTo>
                  <a:lnTo>
                    <a:pt x="15" y="260"/>
                  </a:lnTo>
                  <a:lnTo>
                    <a:pt x="16" y="260"/>
                  </a:lnTo>
                  <a:lnTo>
                    <a:pt x="16" y="261"/>
                  </a:lnTo>
                  <a:lnTo>
                    <a:pt x="17" y="261"/>
                  </a:lnTo>
                  <a:lnTo>
                    <a:pt x="17" y="262"/>
                  </a:lnTo>
                  <a:lnTo>
                    <a:pt x="18" y="263"/>
                  </a:lnTo>
                  <a:lnTo>
                    <a:pt x="20" y="263"/>
                  </a:lnTo>
                  <a:lnTo>
                    <a:pt x="21" y="265"/>
                  </a:lnTo>
                  <a:lnTo>
                    <a:pt x="22" y="265"/>
                  </a:lnTo>
                  <a:lnTo>
                    <a:pt x="23" y="265"/>
                  </a:lnTo>
                  <a:lnTo>
                    <a:pt x="22" y="263"/>
                  </a:lnTo>
                  <a:lnTo>
                    <a:pt x="23" y="263"/>
                  </a:lnTo>
                  <a:lnTo>
                    <a:pt x="23" y="262"/>
                  </a:lnTo>
                  <a:lnTo>
                    <a:pt x="22" y="262"/>
                  </a:lnTo>
                  <a:lnTo>
                    <a:pt x="22" y="261"/>
                  </a:lnTo>
                  <a:lnTo>
                    <a:pt x="22" y="260"/>
                  </a:lnTo>
                  <a:lnTo>
                    <a:pt x="23" y="260"/>
                  </a:lnTo>
                  <a:lnTo>
                    <a:pt x="24" y="260"/>
                  </a:lnTo>
                  <a:lnTo>
                    <a:pt x="24" y="261"/>
                  </a:lnTo>
                  <a:lnTo>
                    <a:pt x="26" y="261"/>
                  </a:lnTo>
                  <a:lnTo>
                    <a:pt x="24" y="260"/>
                  </a:lnTo>
                  <a:lnTo>
                    <a:pt x="24" y="259"/>
                  </a:lnTo>
                  <a:lnTo>
                    <a:pt x="26" y="257"/>
                  </a:lnTo>
                  <a:lnTo>
                    <a:pt x="26" y="259"/>
                  </a:lnTo>
                  <a:lnTo>
                    <a:pt x="27" y="259"/>
                  </a:lnTo>
                  <a:lnTo>
                    <a:pt x="27" y="260"/>
                  </a:lnTo>
                  <a:lnTo>
                    <a:pt x="27" y="259"/>
                  </a:lnTo>
                  <a:lnTo>
                    <a:pt x="28" y="260"/>
                  </a:lnTo>
                  <a:lnTo>
                    <a:pt x="27" y="260"/>
                  </a:lnTo>
                  <a:lnTo>
                    <a:pt x="28" y="261"/>
                  </a:lnTo>
                  <a:lnTo>
                    <a:pt x="27" y="261"/>
                  </a:lnTo>
                  <a:lnTo>
                    <a:pt x="28" y="261"/>
                  </a:lnTo>
                  <a:lnTo>
                    <a:pt x="28" y="262"/>
                  </a:lnTo>
                  <a:lnTo>
                    <a:pt x="29" y="262"/>
                  </a:lnTo>
                  <a:lnTo>
                    <a:pt x="28" y="263"/>
                  </a:lnTo>
                  <a:lnTo>
                    <a:pt x="29" y="263"/>
                  </a:lnTo>
                  <a:lnTo>
                    <a:pt x="29" y="265"/>
                  </a:lnTo>
                  <a:lnTo>
                    <a:pt x="31" y="265"/>
                  </a:lnTo>
                  <a:lnTo>
                    <a:pt x="32" y="265"/>
                  </a:lnTo>
                  <a:lnTo>
                    <a:pt x="33" y="265"/>
                  </a:lnTo>
                  <a:lnTo>
                    <a:pt x="34" y="265"/>
                  </a:lnTo>
                  <a:lnTo>
                    <a:pt x="35" y="265"/>
                  </a:lnTo>
                  <a:lnTo>
                    <a:pt x="37" y="265"/>
                  </a:lnTo>
                  <a:lnTo>
                    <a:pt x="38" y="265"/>
                  </a:lnTo>
                  <a:lnTo>
                    <a:pt x="38" y="263"/>
                  </a:lnTo>
                  <a:lnTo>
                    <a:pt x="38" y="262"/>
                  </a:lnTo>
                  <a:lnTo>
                    <a:pt x="37" y="262"/>
                  </a:lnTo>
                  <a:lnTo>
                    <a:pt x="37" y="263"/>
                  </a:lnTo>
                  <a:lnTo>
                    <a:pt x="35" y="265"/>
                  </a:lnTo>
                  <a:lnTo>
                    <a:pt x="35" y="263"/>
                  </a:lnTo>
                  <a:lnTo>
                    <a:pt x="37" y="263"/>
                  </a:lnTo>
                  <a:lnTo>
                    <a:pt x="37" y="262"/>
                  </a:lnTo>
                  <a:lnTo>
                    <a:pt x="37" y="261"/>
                  </a:lnTo>
                  <a:lnTo>
                    <a:pt x="37" y="262"/>
                  </a:lnTo>
                  <a:lnTo>
                    <a:pt x="37" y="261"/>
                  </a:lnTo>
                  <a:lnTo>
                    <a:pt x="35" y="261"/>
                  </a:lnTo>
                  <a:lnTo>
                    <a:pt x="35" y="262"/>
                  </a:lnTo>
                  <a:lnTo>
                    <a:pt x="35" y="261"/>
                  </a:lnTo>
                  <a:lnTo>
                    <a:pt x="35" y="260"/>
                  </a:lnTo>
                  <a:lnTo>
                    <a:pt x="37" y="260"/>
                  </a:lnTo>
                  <a:lnTo>
                    <a:pt x="35" y="259"/>
                  </a:lnTo>
                  <a:lnTo>
                    <a:pt x="35" y="260"/>
                  </a:lnTo>
                  <a:lnTo>
                    <a:pt x="34" y="260"/>
                  </a:lnTo>
                  <a:lnTo>
                    <a:pt x="33" y="260"/>
                  </a:lnTo>
                  <a:lnTo>
                    <a:pt x="33" y="259"/>
                  </a:lnTo>
                  <a:lnTo>
                    <a:pt x="33" y="257"/>
                  </a:lnTo>
                  <a:lnTo>
                    <a:pt x="34" y="257"/>
                  </a:lnTo>
                  <a:lnTo>
                    <a:pt x="34" y="256"/>
                  </a:lnTo>
                  <a:lnTo>
                    <a:pt x="33" y="256"/>
                  </a:lnTo>
                  <a:lnTo>
                    <a:pt x="33" y="257"/>
                  </a:lnTo>
                  <a:lnTo>
                    <a:pt x="32" y="257"/>
                  </a:lnTo>
                  <a:lnTo>
                    <a:pt x="31" y="257"/>
                  </a:lnTo>
                  <a:lnTo>
                    <a:pt x="31" y="256"/>
                  </a:lnTo>
                  <a:lnTo>
                    <a:pt x="32" y="256"/>
                  </a:lnTo>
                  <a:lnTo>
                    <a:pt x="33" y="255"/>
                  </a:lnTo>
                  <a:lnTo>
                    <a:pt x="33" y="254"/>
                  </a:lnTo>
                  <a:lnTo>
                    <a:pt x="33" y="255"/>
                  </a:lnTo>
                  <a:lnTo>
                    <a:pt x="32" y="255"/>
                  </a:lnTo>
                  <a:lnTo>
                    <a:pt x="31" y="255"/>
                  </a:lnTo>
                  <a:lnTo>
                    <a:pt x="32" y="254"/>
                  </a:lnTo>
                  <a:lnTo>
                    <a:pt x="33" y="254"/>
                  </a:lnTo>
                  <a:lnTo>
                    <a:pt x="34" y="254"/>
                  </a:lnTo>
                  <a:lnTo>
                    <a:pt x="34" y="253"/>
                  </a:lnTo>
                  <a:lnTo>
                    <a:pt x="33" y="253"/>
                  </a:lnTo>
                  <a:lnTo>
                    <a:pt x="33" y="254"/>
                  </a:lnTo>
                  <a:lnTo>
                    <a:pt x="32" y="254"/>
                  </a:lnTo>
                  <a:lnTo>
                    <a:pt x="31" y="254"/>
                  </a:lnTo>
                  <a:lnTo>
                    <a:pt x="32" y="253"/>
                  </a:lnTo>
                  <a:lnTo>
                    <a:pt x="32" y="251"/>
                  </a:lnTo>
                  <a:lnTo>
                    <a:pt x="31" y="253"/>
                  </a:lnTo>
                  <a:lnTo>
                    <a:pt x="32" y="251"/>
                  </a:lnTo>
                  <a:lnTo>
                    <a:pt x="31" y="251"/>
                  </a:lnTo>
                  <a:lnTo>
                    <a:pt x="31" y="250"/>
                  </a:lnTo>
                  <a:lnTo>
                    <a:pt x="32" y="250"/>
                  </a:lnTo>
                  <a:lnTo>
                    <a:pt x="33" y="250"/>
                  </a:lnTo>
                  <a:lnTo>
                    <a:pt x="33" y="249"/>
                  </a:lnTo>
                  <a:lnTo>
                    <a:pt x="34" y="248"/>
                  </a:lnTo>
                  <a:lnTo>
                    <a:pt x="35" y="248"/>
                  </a:lnTo>
                  <a:lnTo>
                    <a:pt x="34" y="245"/>
                  </a:lnTo>
                  <a:lnTo>
                    <a:pt x="34" y="247"/>
                  </a:lnTo>
                  <a:lnTo>
                    <a:pt x="34" y="248"/>
                  </a:lnTo>
                  <a:lnTo>
                    <a:pt x="34" y="247"/>
                  </a:lnTo>
                  <a:lnTo>
                    <a:pt x="33" y="248"/>
                  </a:lnTo>
                  <a:lnTo>
                    <a:pt x="33" y="247"/>
                  </a:lnTo>
                  <a:lnTo>
                    <a:pt x="33" y="245"/>
                  </a:lnTo>
                  <a:lnTo>
                    <a:pt x="33" y="248"/>
                  </a:lnTo>
                  <a:lnTo>
                    <a:pt x="32" y="248"/>
                  </a:lnTo>
                  <a:lnTo>
                    <a:pt x="32" y="249"/>
                  </a:lnTo>
                  <a:lnTo>
                    <a:pt x="32" y="248"/>
                  </a:lnTo>
                  <a:lnTo>
                    <a:pt x="32" y="247"/>
                  </a:lnTo>
                  <a:lnTo>
                    <a:pt x="32" y="245"/>
                  </a:lnTo>
                  <a:lnTo>
                    <a:pt x="33" y="245"/>
                  </a:lnTo>
                  <a:lnTo>
                    <a:pt x="33" y="244"/>
                  </a:lnTo>
                  <a:lnTo>
                    <a:pt x="33" y="243"/>
                  </a:lnTo>
                  <a:lnTo>
                    <a:pt x="32" y="243"/>
                  </a:lnTo>
                  <a:lnTo>
                    <a:pt x="32" y="244"/>
                  </a:lnTo>
                  <a:lnTo>
                    <a:pt x="32" y="245"/>
                  </a:lnTo>
                  <a:lnTo>
                    <a:pt x="32" y="247"/>
                  </a:lnTo>
                  <a:lnTo>
                    <a:pt x="31" y="247"/>
                  </a:lnTo>
                  <a:lnTo>
                    <a:pt x="31" y="245"/>
                  </a:lnTo>
                  <a:lnTo>
                    <a:pt x="31" y="244"/>
                  </a:lnTo>
                  <a:lnTo>
                    <a:pt x="31" y="243"/>
                  </a:lnTo>
                  <a:lnTo>
                    <a:pt x="32" y="243"/>
                  </a:lnTo>
                  <a:lnTo>
                    <a:pt x="31" y="243"/>
                  </a:lnTo>
                  <a:lnTo>
                    <a:pt x="31" y="244"/>
                  </a:lnTo>
                  <a:lnTo>
                    <a:pt x="29" y="244"/>
                  </a:lnTo>
                  <a:lnTo>
                    <a:pt x="29" y="245"/>
                  </a:lnTo>
                  <a:lnTo>
                    <a:pt x="28" y="245"/>
                  </a:lnTo>
                  <a:lnTo>
                    <a:pt x="28" y="244"/>
                  </a:lnTo>
                  <a:lnTo>
                    <a:pt x="27" y="244"/>
                  </a:lnTo>
                  <a:lnTo>
                    <a:pt x="27" y="247"/>
                  </a:lnTo>
                  <a:lnTo>
                    <a:pt x="27" y="245"/>
                  </a:lnTo>
                  <a:lnTo>
                    <a:pt x="26" y="244"/>
                  </a:lnTo>
                  <a:lnTo>
                    <a:pt x="26" y="245"/>
                  </a:lnTo>
                  <a:lnTo>
                    <a:pt x="24" y="245"/>
                  </a:lnTo>
                  <a:lnTo>
                    <a:pt x="24" y="247"/>
                  </a:lnTo>
                  <a:lnTo>
                    <a:pt x="24" y="245"/>
                  </a:lnTo>
                  <a:lnTo>
                    <a:pt x="24" y="244"/>
                  </a:lnTo>
                  <a:lnTo>
                    <a:pt x="23" y="244"/>
                  </a:lnTo>
                  <a:lnTo>
                    <a:pt x="23" y="243"/>
                  </a:lnTo>
                  <a:lnTo>
                    <a:pt x="24" y="242"/>
                  </a:lnTo>
                  <a:lnTo>
                    <a:pt x="23" y="242"/>
                  </a:lnTo>
                  <a:lnTo>
                    <a:pt x="22" y="242"/>
                  </a:lnTo>
                  <a:lnTo>
                    <a:pt x="22" y="243"/>
                  </a:lnTo>
                  <a:lnTo>
                    <a:pt x="22" y="242"/>
                  </a:lnTo>
                  <a:lnTo>
                    <a:pt x="21" y="243"/>
                  </a:lnTo>
                  <a:lnTo>
                    <a:pt x="20" y="243"/>
                  </a:lnTo>
                  <a:lnTo>
                    <a:pt x="18" y="243"/>
                  </a:lnTo>
                  <a:lnTo>
                    <a:pt x="20" y="243"/>
                  </a:lnTo>
                  <a:lnTo>
                    <a:pt x="20" y="242"/>
                  </a:lnTo>
                  <a:lnTo>
                    <a:pt x="21" y="242"/>
                  </a:lnTo>
                  <a:lnTo>
                    <a:pt x="22" y="241"/>
                  </a:lnTo>
                  <a:lnTo>
                    <a:pt x="23" y="239"/>
                  </a:lnTo>
                  <a:lnTo>
                    <a:pt x="24" y="238"/>
                  </a:lnTo>
                  <a:lnTo>
                    <a:pt x="23" y="238"/>
                  </a:lnTo>
                  <a:lnTo>
                    <a:pt x="23" y="239"/>
                  </a:lnTo>
                  <a:lnTo>
                    <a:pt x="22" y="239"/>
                  </a:lnTo>
                  <a:lnTo>
                    <a:pt x="21" y="239"/>
                  </a:lnTo>
                  <a:lnTo>
                    <a:pt x="21" y="238"/>
                  </a:lnTo>
                  <a:lnTo>
                    <a:pt x="21" y="239"/>
                  </a:lnTo>
                  <a:lnTo>
                    <a:pt x="21" y="241"/>
                  </a:lnTo>
                  <a:lnTo>
                    <a:pt x="21" y="242"/>
                  </a:lnTo>
                  <a:lnTo>
                    <a:pt x="20" y="242"/>
                  </a:lnTo>
                  <a:lnTo>
                    <a:pt x="20" y="241"/>
                  </a:lnTo>
                  <a:lnTo>
                    <a:pt x="20" y="239"/>
                  </a:lnTo>
                  <a:lnTo>
                    <a:pt x="20" y="241"/>
                  </a:lnTo>
                  <a:lnTo>
                    <a:pt x="20" y="242"/>
                  </a:lnTo>
                  <a:lnTo>
                    <a:pt x="18" y="242"/>
                  </a:lnTo>
                  <a:lnTo>
                    <a:pt x="18" y="241"/>
                  </a:lnTo>
                  <a:lnTo>
                    <a:pt x="18" y="239"/>
                  </a:lnTo>
                  <a:lnTo>
                    <a:pt x="18" y="238"/>
                  </a:lnTo>
                  <a:lnTo>
                    <a:pt x="18" y="239"/>
                  </a:lnTo>
                  <a:lnTo>
                    <a:pt x="17" y="239"/>
                  </a:lnTo>
                  <a:lnTo>
                    <a:pt x="17" y="241"/>
                  </a:lnTo>
                  <a:lnTo>
                    <a:pt x="17" y="242"/>
                  </a:lnTo>
                  <a:lnTo>
                    <a:pt x="17" y="241"/>
                  </a:lnTo>
                  <a:lnTo>
                    <a:pt x="17" y="239"/>
                  </a:lnTo>
                  <a:lnTo>
                    <a:pt x="17" y="238"/>
                  </a:lnTo>
                  <a:lnTo>
                    <a:pt x="16" y="237"/>
                  </a:lnTo>
                  <a:lnTo>
                    <a:pt x="17" y="237"/>
                  </a:lnTo>
                  <a:lnTo>
                    <a:pt x="17" y="236"/>
                  </a:lnTo>
                  <a:lnTo>
                    <a:pt x="16" y="236"/>
                  </a:lnTo>
                  <a:lnTo>
                    <a:pt x="16" y="237"/>
                  </a:lnTo>
                  <a:lnTo>
                    <a:pt x="16" y="238"/>
                  </a:lnTo>
                  <a:lnTo>
                    <a:pt x="15" y="238"/>
                  </a:lnTo>
                  <a:lnTo>
                    <a:pt x="15" y="237"/>
                  </a:lnTo>
                  <a:lnTo>
                    <a:pt x="15" y="236"/>
                  </a:lnTo>
                  <a:lnTo>
                    <a:pt x="14" y="238"/>
                  </a:lnTo>
                  <a:lnTo>
                    <a:pt x="12" y="238"/>
                  </a:lnTo>
                  <a:lnTo>
                    <a:pt x="12" y="237"/>
                  </a:lnTo>
                  <a:lnTo>
                    <a:pt x="12" y="238"/>
                  </a:lnTo>
                  <a:lnTo>
                    <a:pt x="12" y="239"/>
                  </a:lnTo>
                  <a:lnTo>
                    <a:pt x="12" y="241"/>
                  </a:lnTo>
                  <a:lnTo>
                    <a:pt x="11" y="239"/>
                  </a:lnTo>
                  <a:lnTo>
                    <a:pt x="11" y="238"/>
                  </a:lnTo>
                  <a:lnTo>
                    <a:pt x="11" y="239"/>
                  </a:lnTo>
                  <a:lnTo>
                    <a:pt x="10" y="239"/>
                  </a:lnTo>
                  <a:lnTo>
                    <a:pt x="10" y="238"/>
                  </a:lnTo>
                  <a:lnTo>
                    <a:pt x="10" y="237"/>
                  </a:lnTo>
                  <a:lnTo>
                    <a:pt x="9" y="237"/>
                  </a:lnTo>
                  <a:lnTo>
                    <a:pt x="10" y="236"/>
                  </a:lnTo>
                  <a:lnTo>
                    <a:pt x="11" y="235"/>
                  </a:lnTo>
                  <a:lnTo>
                    <a:pt x="14" y="233"/>
                  </a:lnTo>
                  <a:lnTo>
                    <a:pt x="15" y="232"/>
                  </a:lnTo>
                  <a:lnTo>
                    <a:pt x="17" y="232"/>
                  </a:lnTo>
                  <a:lnTo>
                    <a:pt x="18" y="232"/>
                  </a:lnTo>
                  <a:lnTo>
                    <a:pt x="20" y="232"/>
                  </a:lnTo>
                  <a:lnTo>
                    <a:pt x="21" y="232"/>
                  </a:lnTo>
                  <a:lnTo>
                    <a:pt x="22" y="232"/>
                  </a:lnTo>
                  <a:lnTo>
                    <a:pt x="23" y="231"/>
                  </a:lnTo>
                  <a:lnTo>
                    <a:pt x="24" y="231"/>
                  </a:lnTo>
                  <a:lnTo>
                    <a:pt x="24" y="230"/>
                  </a:lnTo>
                  <a:lnTo>
                    <a:pt x="23" y="230"/>
                  </a:lnTo>
                  <a:lnTo>
                    <a:pt x="22" y="231"/>
                  </a:lnTo>
                  <a:lnTo>
                    <a:pt x="22" y="230"/>
                  </a:lnTo>
                  <a:lnTo>
                    <a:pt x="23" y="230"/>
                  </a:lnTo>
                  <a:lnTo>
                    <a:pt x="22" y="229"/>
                  </a:lnTo>
                  <a:lnTo>
                    <a:pt x="23" y="230"/>
                  </a:lnTo>
                  <a:lnTo>
                    <a:pt x="23" y="229"/>
                  </a:lnTo>
                  <a:lnTo>
                    <a:pt x="24" y="230"/>
                  </a:lnTo>
                  <a:lnTo>
                    <a:pt x="26" y="230"/>
                  </a:lnTo>
                  <a:lnTo>
                    <a:pt x="27" y="231"/>
                  </a:lnTo>
                  <a:lnTo>
                    <a:pt x="28" y="231"/>
                  </a:lnTo>
                  <a:lnTo>
                    <a:pt x="31" y="230"/>
                  </a:lnTo>
                  <a:lnTo>
                    <a:pt x="32" y="229"/>
                  </a:lnTo>
                  <a:lnTo>
                    <a:pt x="33" y="230"/>
                  </a:lnTo>
                  <a:lnTo>
                    <a:pt x="33" y="229"/>
                  </a:lnTo>
                  <a:lnTo>
                    <a:pt x="33" y="227"/>
                  </a:lnTo>
                  <a:lnTo>
                    <a:pt x="33" y="226"/>
                  </a:lnTo>
                  <a:lnTo>
                    <a:pt x="32" y="226"/>
                  </a:lnTo>
                  <a:lnTo>
                    <a:pt x="32" y="227"/>
                  </a:lnTo>
                  <a:lnTo>
                    <a:pt x="32" y="226"/>
                  </a:lnTo>
                  <a:lnTo>
                    <a:pt x="31" y="226"/>
                  </a:lnTo>
                  <a:lnTo>
                    <a:pt x="29" y="226"/>
                  </a:lnTo>
                  <a:lnTo>
                    <a:pt x="28" y="225"/>
                  </a:lnTo>
                  <a:lnTo>
                    <a:pt x="27" y="224"/>
                  </a:lnTo>
                  <a:lnTo>
                    <a:pt x="26" y="224"/>
                  </a:lnTo>
                  <a:lnTo>
                    <a:pt x="26" y="223"/>
                  </a:lnTo>
                  <a:lnTo>
                    <a:pt x="24" y="223"/>
                  </a:lnTo>
                  <a:lnTo>
                    <a:pt x="24" y="221"/>
                  </a:lnTo>
                  <a:lnTo>
                    <a:pt x="26" y="221"/>
                  </a:lnTo>
                  <a:lnTo>
                    <a:pt x="24" y="221"/>
                  </a:lnTo>
                  <a:lnTo>
                    <a:pt x="24" y="223"/>
                  </a:lnTo>
                  <a:lnTo>
                    <a:pt x="23" y="224"/>
                  </a:lnTo>
                  <a:lnTo>
                    <a:pt x="23" y="223"/>
                  </a:lnTo>
                  <a:lnTo>
                    <a:pt x="23" y="221"/>
                  </a:lnTo>
                  <a:lnTo>
                    <a:pt x="23" y="223"/>
                  </a:lnTo>
                  <a:lnTo>
                    <a:pt x="23" y="224"/>
                  </a:lnTo>
                  <a:lnTo>
                    <a:pt x="23" y="225"/>
                  </a:lnTo>
                  <a:lnTo>
                    <a:pt x="22" y="224"/>
                  </a:lnTo>
                  <a:lnTo>
                    <a:pt x="22" y="223"/>
                  </a:lnTo>
                  <a:lnTo>
                    <a:pt x="22" y="221"/>
                  </a:lnTo>
                  <a:lnTo>
                    <a:pt x="23" y="220"/>
                  </a:lnTo>
                  <a:lnTo>
                    <a:pt x="22" y="220"/>
                  </a:lnTo>
                  <a:lnTo>
                    <a:pt x="22" y="219"/>
                  </a:lnTo>
                  <a:lnTo>
                    <a:pt x="21" y="219"/>
                  </a:lnTo>
                  <a:lnTo>
                    <a:pt x="21" y="220"/>
                  </a:lnTo>
                  <a:lnTo>
                    <a:pt x="21" y="219"/>
                  </a:lnTo>
                  <a:lnTo>
                    <a:pt x="21" y="218"/>
                  </a:lnTo>
                  <a:lnTo>
                    <a:pt x="21" y="217"/>
                  </a:lnTo>
                  <a:lnTo>
                    <a:pt x="21" y="215"/>
                  </a:lnTo>
                  <a:lnTo>
                    <a:pt x="20" y="215"/>
                  </a:lnTo>
                  <a:lnTo>
                    <a:pt x="20" y="217"/>
                  </a:lnTo>
                  <a:lnTo>
                    <a:pt x="20" y="218"/>
                  </a:lnTo>
                  <a:lnTo>
                    <a:pt x="20" y="219"/>
                  </a:lnTo>
                  <a:lnTo>
                    <a:pt x="20" y="220"/>
                  </a:lnTo>
                  <a:lnTo>
                    <a:pt x="20" y="219"/>
                  </a:lnTo>
                  <a:lnTo>
                    <a:pt x="20" y="218"/>
                  </a:lnTo>
                  <a:lnTo>
                    <a:pt x="20" y="219"/>
                  </a:lnTo>
                  <a:lnTo>
                    <a:pt x="18" y="219"/>
                  </a:lnTo>
                  <a:lnTo>
                    <a:pt x="18" y="218"/>
                  </a:lnTo>
                  <a:lnTo>
                    <a:pt x="18" y="217"/>
                  </a:lnTo>
                  <a:lnTo>
                    <a:pt x="18" y="218"/>
                  </a:lnTo>
                  <a:lnTo>
                    <a:pt x="18" y="219"/>
                  </a:lnTo>
                  <a:lnTo>
                    <a:pt x="18" y="220"/>
                  </a:lnTo>
                  <a:lnTo>
                    <a:pt x="17" y="218"/>
                  </a:lnTo>
                  <a:lnTo>
                    <a:pt x="17" y="219"/>
                  </a:lnTo>
                  <a:lnTo>
                    <a:pt x="17" y="220"/>
                  </a:lnTo>
                  <a:lnTo>
                    <a:pt x="17" y="219"/>
                  </a:lnTo>
                  <a:lnTo>
                    <a:pt x="17" y="218"/>
                  </a:lnTo>
                  <a:lnTo>
                    <a:pt x="16" y="218"/>
                  </a:lnTo>
                  <a:lnTo>
                    <a:pt x="15" y="218"/>
                  </a:lnTo>
                  <a:lnTo>
                    <a:pt x="15" y="219"/>
                  </a:lnTo>
                  <a:lnTo>
                    <a:pt x="15" y="220"/>
                  </a:lnTo>
                  <a:lnTo>
                    <a:pt x="15" y="219"/>
                  </a:lnTo>
                  <a:lnTo>
                    <a:pt x="15" y="218"/>
                  </a:lnTo>
                  <a:lnTo>
                    <a:pt x="14" y="219"/>
                  </a:lnTo>
                  <a:lnTo>
                    <a:pt x="14" y="218"/>
                  </a:lnTo>
                  <a:lnTo>
                    <a:pt x="14" y="217"/>
                  </a:lnTo>
                  <a:lnTo>
                    <a:pt x="15" y="217"/>
                  </a:lnTo>
                  <a:lnTo>
                    <a:pt x="15" y="218"/>
                  </a:lnTo>
                  <a:lnTo>
                    <a:pt x="16" y="217"/>
                  </a:lnTo>
                  <a:lnTo>
                    <a:pt x="17" y="217"/>
                  </a:lnTo>
                  <a:lnTo>
                    <a:pt x="17" y="215"/>
                  </a:lnTo>
                  <a:lnTo>
                    <a:pt x="18" y="215"/>
                  </a:lnTo>
                  <a:lnTo>
                    <a:pt x="20" y="215"/>
                  </a:lnTo>
                  <a:lnTo>
                    <a:pt x="21" y="215"/>
                  </a:lnTo>
                  <a:lnTo>
                    <a:pt x="22" y="215"/>
                  </a:lnTo>
                  <a:lnTo>
                    <a:pt x="23" y="215"/>
                  </a:lnTo>
                  <a:lnTo>
                    <a:pt x="24" y="215"/>
                  </a:lnTo>
                  <a:lnTo>
                    <a:pt x="26" y="215"/>
                  </a:lnTo>
                  <a:lnTo>
                    <a:pt x="27" y="215"/>
                  </a:lnTo>
                  <a:lnTo>
                    <a:pt x="28" y="215"/>
                  </a:lnTo>
                  <a:lnTo>
                    <a:pt x="28" y="217"/>
                  </a:lnTo>
                  <a:lnTo>
                    <a:pt x="29" y="217"/>
                  </a:lnTo>
                  <a:lnTo>
                    <a:pt x="32" y="217"/>
                  </a:lnTo>
                  <a:lnTo>
                    <a:pt x="33" y="217"/>
                  </a:lnTo>
                  <a:lnTo>
                    <a:pt x="34" y="217"/>
                  </a:lnTo>
                  <a:lnTo>
                    <a:pt x="35" y="217"/>
                  </a:lnTo>
                  <a:lnTo>
                    <a:pt x="37" y="217"/>
                  </a:lnTo>
                  <a:lnTo>
                    <a:pt x="38" y="217"/>
                  </a:lnTo>
                  <a:lnTo>
                    <a:pt x="39" y="217"/>
                  </a:lnTo>
                  <a:lnTo>
                    <a:pt x="40" y="217"/>
                  </a:lnTo>
                  <a:lnTo>
                    <a:pt x="41" y="217"/>
                  </a:lnTo>
                  <a:lnTo>
                    <a:pt x="43" y="215"/>
                  </a:lnTo>
                  <a:lnTo>
                    <a:pt x="44" y="215"/>
                  </a:lnTo>
                  <a:lnTo>
                    <a:pt x="45" y="214"/>
                  </a:lnTo>
                  <a:lnTo>
                    <a:pt x="46" y="214"/>
                  </a:lnTo>
                  <a:lnTo>
                    <a:pt x="46" y="213"/>
                  </a:lnTo>
                  <a:lnTo>
                    <a:pt x="46" y="214"/>
                  </a:lnTo>
                  <a:lnTo>
                    <a:pt x="45" y="214"/>
                  </a:lnTo>
                  <a:lnTo>
                    <a:pt x="46" y="213"/>
                  </a:lnTo>
                  <a:lnTo>
                    <a:pt x="45" y="213"/>
                  </a:lnTo>
                  <a:lnTo>
                    <a:pt x="44" y="213"/>
                  </a:lnTo>
                  <a:lnTo>
                    <a:pt x="46" y="213"/>
                  </a:lnTo>
                  <a:lnTo>
                    <a:pt x="46" y="212"/>
                  </a:lnTo>
                  <a:lnTo>
                    <a:pt x="47" y="212"/>
                  </a:lnTo>
                  <a:lnTo>
                    <a:pt x="47" y="213"/>
                  </a:lnTo>
                  <a:lnTo>
                    <a:pt x="49" y="213"/>
                  </a:lnTo>
                  <a:lnTo>
                    <a:pt x="49" y="214"/>
                  </a:lnTo>
                  <a:lnTo>
                    <a:pt x="50" y="213"/>
                  </a:lnTo>
                  <a:lnTo>
                    <a:pt x="52" y="212"/>
                  </a:lnTo>
                  <a:lnTo>
                    <a:pt x="53" y="213"/>
                  </a:lnTo>
                  <a:lnTo>
                    <a:pt x="55" y="213"/>
                  </a:lnTo>
                  <a:lnTo>
                    <a:pt x="56" y="212"/>
                  </a:lnTo>
                  <a:lnTo>
                    <a:pt x="57" y="212"/>
                  </a:lnTo>
                  <a:lnTo>
                    <a:pt x="58" y="212"/>
                  </a:lnTo>
                  <a:lnTo>
                    <a:pt x="58" y="210"/>
                  </a:lnTo>
                  <a:lnTo>
                    <a:pt x="59" y="208"/>
                  </a:lnTo>
                  <a:lnTo>
                    <a:pt x="61" y="208"/>
                  </a:lnTo>
                  <a:lnTo>
                    <a:pt x="61" y="207"/>
                  </a:lnTo>
                  <a:lnTo>
                    <a:pt x="59" y="206"/>
                  </a:lnTo>
                  <a:lnTo>
                    <a:pt x="59" y="204"/>
                  </a:lnTo>
                  <a:lnTo>
                    <a:pt x="58" y="206"/>
                  </a:lnTo>
                  <a:lnTo>
                    <a:pt x="57" y="206"/>
                  </a:lnTo>
                  <a:lnTo>
                    <a:pt x="57" y="207"/>
                  </a:lnTo>
                  <a:lnTo>
                    <a:pt x="57" y="208"/>
                  </a:lnTo>
                  <a:lnTo>
                    <a:pt x="57" y="209"/>
                  </a:lnTo>
                  <a:lnTo>
                    <a:pt x="56" y="209"/>
                  </a:lnTo>
                  <a:lnTo>
                    <a:pt x="56" y="208"/>
                  </a:lnTo>
                  <a:lnTo>
                    <a:pt x="56" y="207"/>
                  </a:lnTo>
                  <a:lnTo>
                    <a:pt x="55" y="207"/>
                  </a:lnTo>
                  <a:lnTo>
                    <a:pt x="56" y="208"/>
                  </a:lnTo>
                  <a:lnTo>
                    <a:pt x="55" y="208"/>
                  </a:lnTo>
                  <a:lnTo>
                    <a:pt x="55" y="207"/>
                  </a:lnTo>
                  <a:lnTo>
                    <a:pt x="55" y="206"/>
                  </a:lnTo>
                  <a:lnTo>
                    <a:pt x="53" y="206"/>
                  </a:lnTo>
                  <a:lnTo>
                    <a:pt x="52" y="206"/>
                  </a:lnTo>
                  <a:lnTo>
                    <a:pt x="53" y="204"/>
                  </a:lnTo>
                  <a:lnTo>
                    <a:pt x="52" y="204"/>
                  </a:lnTo>
                  <a:lnTo>
                    <a:pt x="52" y="206"/>
                  </a:lnTo>
                  <a:lnTo>
                    <a:pt x="52" y="207"/>
                  </a:lnTo>
                  <a:lnTo>
                    <a:pt x="52" y="208"/>
                  </a:lnTo>
                  <a:lnTo>
                    <a:pt x="52" y="207"/>
                  </a:lnTo>
                  <a:lnTo>
                    <a:pt x="52" y="206"/>
                  </a:lnTo>
                  <a:lnTo>
                    <a:pt x="52" y="204"/>
                  </a:lnTo>
                  <a:lnTo>
                    <a:pt x="52" y="203"/>
                  </a:lnTo>
                  <a:lnTo>
                    <a:pt x="52" y="204"/>
                  </a:lnTo>
                  <a:lnTo>
                    <a:pt x="51" y="204"/>
                  </a:lnTo>
                  <a:lnTo>
                    <a:pt x="51" y="206"/>
                  </a:lnTo>
                  <a:lnTo>
                    <a:pt x="51" y="207"/>
                  </a:lnTo>
                  <a:lnTo>
                    <a:pt x="51" y="208"/>
                  </a:lnTo>
                  <a:lnTo>
                    <a:pt x="50" y="207"/>
                  </a:lnTo>
                  <a:lnTo>
                    <a:pt x="50" y="206"/>
                  </a:lnTo>
                  <a:lnTo>
                    <a:pt x="50" y="204"/>
                  </a:lnTo>
                  <a:lnTo>
                    <a:pt x="51" y="203"/>
                  </a:lnTo>
                  <a:lnTo>
                    <a:pt x="50" y="203"/>
                  </a:lnTo>
                  <a:lnTo>
                    <a:pt x="50" y="206"/>
                  </a:lnTo>
                  <a:lnTo>
                    <a:pt x="50" y="204"/>
                  </a:lnTo>
                  <a:lnTo>
                    <a:pt x="49" y="206"/>
                  </a:lnTo>
                  <a:lnTo>
                    <a:pt x="49" y="207"/>
                  </a:lnTo>
                  <a:lnTo>
                    <a:pt x="49" y="206"/>
                  </a:lnTo>
                  <a:lnTo>
                    <a:pt x="49" y="204"/>
                  </a:lnTo>
                  <a:lnTo>
                    <a:pt x="49" y="202"/>
                  </a:lnTo>
                  <a:lnTo>
                    <a:pt x="47" y="203"/>
                  </a:lnTo>
                  <a:lnTo>
                    <a:pt x="47" y="204"/>
                  </a:lnTo>
                  <a:lnTo>
                    <a:pt x="47" y="206"/>
                  </a:lnTo>
                  <a:lnTo>
                    <a:pt x="49" y="207"/>
                  </a:lnTo>
                  <a:lnTo>
                    <a:pt x="47" y="208"/>
                  </a:lnTo>
                  <a:lnTo>
                    <a:pt x="47" y="207"/>
                  </a:lnTo>
                  <a:lnTo>
                    <a:pt x="47" y="206"/>
                  </a:lnTo>
                  <a:lnTo>
                    <a:pt x="47" y="207"/>
                  </a:lnTo>
                  <a:lnTo>
                    <a:pt x="46" y="207"/>
                  </a:lnTo>
                  <a:lnTo>
                    <a:pt x="46" y="206"/>
                  </a:lnTo>
                  <a:lnTo>
                    <a:pt x="46" y="204"/>
                  </a:lnTo>
                  <a:lnTo>
                    <a:pt x="46" y="203"/>
                  </a:lnTo>
                  <a:lnTo>
                    <a:pt x="46" y="204"/>
                  </a:lnTo>
                  <a:lnTo>
                    <a:pt x="46" y="206"/>
                  </a:lnTo>
                  <a:lnTo>
                    <a:pt x="46" y="207"/>
                  </a:lnTo>
                  <a:lnTo>
                    <a:pt x="45" y="207"/>
                  </a:lnTo>
                  <a:lnTo>
                    <a:pt x="45" y="206"/>
                  </a:lnTo>
                  <a:lnTo>
                    <a:pt x="45" y="207"/>
                  </a:lnTo>
                  <a:lnTo>
                    <a:pt x="45" y="208"/>
                  </a:lnTo>
                  <a:lnTo>
                    <a:pt x="44" y="209"/>
                  </a:lnTo>
                  <a:lnTo>
                    <a:pt x="44" y="208"/>
                  </a:lnTo>
                  <a:lnTo>
                    <a:pt x="44" y="207"/>
                  </a:lnTo>
                  <a:lnTo>
                    <a:pt x="44" y="206"/>
                  </a:lnTo>
                  <a:lnTo>
                    <a:pt x="43" y="206"/>
                  </a:lnTo>
                  <a:lnTo>
                    <a:pt x="43" y="207"/>
                  </a:lnTo>
                  <a:lnTo>
                    <a:pt x="44" y="207"/>
                  </a:lnTo>
                  <a:lnTo>
                    <a:pt x="44" y="208"/>
                  </a:lnTo>
                  <a:lnTo>
                    <a:pt x="44" y="209"/>
                  </a:lnTo>
                  <a:lnTo>
                    <a:pt x="43" y="209"/>
                  </a:lnTo>
                  <a:lnTo>
                    <a:pt x="43" y="208"/>
                  </a:lnTo>
                  <a:lnTo>
                    <a:pt x="43" y="207"/>
                  </a:lnTo>
                  <a:lnTo>
                    <a:pt x="41" y="207"/>
                  </a:lnTo>
                  <a:lnTo>
                    <a:pt x="41" y="208"/>
                  </a:lnTo>
                  <a:lnTo>
                    <a:pt x="41" y="209"/>
                  </a:lnTo>
                  <a:lnTo>
                    <a:pt x="41" y="208"/>
                  </a:lnTo>
                  <a:lnTo>
                    <a:pt x="40" y="207"/>
                  </a:lnTo>
                  <a:lnTo>
                    <a:pt x="39" y="208"/>
                  </a:lnTo>
                  <a:lnTo>
                    <a:pt x="39" y="207"/>
                  </a:lnTo>
                  <a:lnTo>
                    <a:pt x="40" y="207"/>
                  </a:lnTo>
                  <a:lnTo>
                    <a:pt x="40" y="206"/>
                  </a:lnTo>
                  <a:lnTo>
                    <a:pt x="41" y="206"/>
                  </a:lnTo>
                  <a:lnTo>
                    <a:pt x="43" y="206"/>
                  </a:lnTo>
                  <a:lnTo>
                    <a:pt x="43" y="204"/>
                  </a:lnTo>
                  <a:lnTo>
                    <a:pt x="44" y="204"/>
                  </a:lnTo>
                  <a:lnTo>
                    <a:pt x="44" y="203"/>
                  </a:lnTo>
                  <a:lnTo>
                    <a:pt x="45" y="203"/>
                  </a:lnTo>
                  <a:lnTo>
                    <a:pt x="49" y="201"/>
                  </a:lnTo>
                  <a:lnTo>
                    <a:pt x="47" y="201"/>
                  </a:lnTo>
                  <a:lnTo>
                    <a:pt x="46" y="202"/>
                  </a:lnTo>
                  <a:lnTo>
                    <a:pt x="45" y="202"/>
                  </a:lnTo>
                  <a:lnTo>
                    <a:pt x="45" y="201"/>
                  </a:lnTo>
                  <a:lnTo>
                    <a:pt x="45" y="200"/>
                  </a:lnTo>
                  <a:lnTo>
                    <a:pt x="46" y="198"/>
                  </a:lnTo>
                  <a:lnTo>
                    <a:pt x="46" y="197"/>
                  </a:lnTo>
                  <a:lnTo>
                    <a:pt x="46" y="196"/>
                  </a:lnTo>
                  <a:lnTo>
                    <a:pt x="45" y="196"/>
                  </a:lnTo>
                  <a:lnTo>
                    <a:pt x="45" y="197"/>
                  </a:lnTo>
                  <a:lnTo>
                    <a:pt x="45" y="198"/>
                  </a:lnTo>
                  <a:lnTo>
                    <a:pt x="45" y="197"/>
                  </a:lnTo>
                  <a:lnTo>
                    <a:pt x="44" y="197"/>
                  </a:lnTo>
                  <a:lnTo>
                    <a:pt x="43" y="197"/>
                  </a:lnTo>
                  <a:lnTo>
                    <a:pt x="43" y="198"/>
                  </a:lnTo>
                  <a:lnTo>
                    <a:pt x="43" y="197"/>
                  </a:lnTo>
                  <a:lnTo>
                    <a:pt x="41" y="197"/>
                  </a:lnTo>
                  <a:lnTo>
                    <a:pt x="43" y="197"/>
                  </a:lnTo>
                  <a:lnTo>
                    <a:pt x="43" y="196"/>
                  </a:lnTo>
                  <a:lnTo>
                    <a:pt x="44" y="196"/>
                  </a:lnTo>
                  <a:lnTo>
                    <a:pt x="44" y="195"/>
                  </a:lnTo>
                  <a:lnTo>
                    <a:pt x="43" y="195"/>
                  </a:lnTo>
                  <a:lnTo>
                    <a:pt x="43" y="196"/>
                  </a:lnTo>
                  <a:lnTo>
                    <a:pt x="41" y="197"/>
                  </a:lnTo>
                  <a:lnTo>
                    <a:pt x="41" y="196"/>
                  </a:lnTo>
                  <a:lnTo>
                    <a:pt x="40" y="197"/>
                  </a:lnTo>
                  <a:lnTo>
                    <a:pt x="40" y="198"/>
                  </a:lnTo>
                  <a:lnTo>
                    <a:pt x="40" y="197"/>
                  </a:lnTo>
                  <a:lnTo>
                    <a:pt x="40" y="196"/>
                  </a:lnTo>
                  <a:lnTo>
                    <a:pt x="40" y="195"/>
                  </a:lnTo>
                  <a:lnTo>
                    <a:pt x="39" y="195"/>
                  </a:lnTo>
                  <a:lnTo>
                    <a:pt x="38" y="195"/>
                  </a:lnTo>
                  <a:lnTo>
                    <a:pt x="38" y="196"/>
                  </a:lnTo>
                  <a:lnTo>
                    <a:pt x="38" y="198"/>
                  </a:lnTo>
                  <a:lnTo>
                    <a:pt x="37" y="196"/>
                  </a:lnTo>
                  <a:lnTo>
                    <a:pt x="37" y="195"/>
                  </a:lnTo>
                  <a:lnTo>
                    <a:pt x="37" y="196"/>
                  </a:lnTo>
                  <a:lnTo>
                    <a:pt x="37" y="197"/>
                  </a:lnTo>
                  <a:lnTo>
                    <a:pt x="37" y="196"/>
                  </a:lnTo>
                  <a:lnTo>
                    <a:pt x="35" y="196"/>
                  </a:lnTo>
                  <a:lnTo>
                    <a:pt x="35" y="195"/>
                  </a:lnTo>
                  <a:lnTo>
                    <a:pt x="35" y="196"/>
                  </a:lnTo>
                  <a:lnTo>
                    <a:pt x="34" y="196"/>
                  </a:lnTo>
                  <a:lnTo>
                    <a:pt x="34" y="195"/>
                  </a:lnTo>
                  <a:lnTo>
                    <a:pt x="33" y="196"/>
                  </a:lnTo>
                  <a:lnTo>
                    <a:pt x="33" y="195"/>
                  </a:lnTo>
                  <a:lnTo>
                    <a:pt x="32" y="196"/>
                  </a:lnTo>
                  <a:lnTo>
                    <a:pt x="32" y="195"/>
                  </a:lnTo>
                  <a:lnTo>
                    <a:pt x="32" y="196"/>
                  </a:lnTo>
                  <a:lnTo>
                    <a:pt x="31" y="195"/>
                  </a:lnTo>
                  <a:lnTo>
                    <a:pt x="31" y="194"/>
                  </a:lnTo>
                  <a:lnTo>
                    <a:pt x="31" y="192"/>
                  </a:lnTo>
                  <a:lnTo>
                    <a:pt x="29" y="192"/>
                  </a:lnTo>
                  <a:lnTo>
                    <a:pt x="29" y="194"/>
                  </a:lnTo>
                  <a:lnTo>
                    <a:pt x="29" y="195"/>
                  </a:lnTo>
                  <a:lnTo>
                    <a:pt x="29" y="197"/>
                  </a:lnTo>
                  <a:lnTo>
                    <a:pt x="29" y="196"/>
                  </a:lnTo>
                  <a:lnTo>
                    <a:pt x="29" y="195"/>
                  </a:lnTo>
                  <a:lnTo>
                    <a:pt x="28" y="194"/>
                  </a:lnTo>
                  <a:lnTo>
                    <a:pt x="28" y="195"/>
                  </a:lnTo>
                  <a:lnTo>
                    <a:pt x="28" y="196"/>
                  </a:lnTo>
                  <a:lnTo>
                    <a:pt x="28" y="197"/>
                  </a:lnTo>
                  <a:lnTo>
                    <a:pt x="28" y="196"/>
                  </a:lnTo>
                  <a:lnTo>
                    <a:pt x="28" y="195"/>
                  </a:lnTo>
                  <a:lnTo>
                    <a:pt x="27" y="195"/>
                  </a:lnTo>
                  <a:lnTo>
                    <a:pt x="27" y="196"/>
                  </a:lnTo>
                  <a:lnTo>
                    <a:pt x="27" y="197"/>
                  </a:lnTo>
                  <a:lnTo>
                    <a:pt x="27" y="198"/>
                  </a:lnTo>
                  <a:lnTo>
                    <a:pt x="27" y="200"/>
                  </a:lnTo>
                  <a:lnTo>
                    <a:pt x="26" y="198"/>
                  </a:lnTo>
                  <a:lnTo>
                    <a:pt x="26" y="197"/>
                  </a:lnTo>
                  <a:lnTo>
                    <a:pt x="24" y="197"/>
                  </a:lnTo>
                  <a:lnTo>
                    <a:pt x="24" y="196"/>
                  </a:lnTo>
                  <a:lnTo>
                    <a:pt x="26" y="196"/>
                  </a:lnTo>
                  <a:lnTo>
                    <a:pt x="26" y="195"/>
                  </a:lnTo>
                  <a:lnTo>
                    <a:pt x="27" y="194"/>
                  </a:lnTo>
                  <a:lnTo>
                    <a:pt x="26" y="194"/>
                  </a:lnTo>
                  <a:lnTo>
                    <a:pt x="27" y="194"/>
                  </a:lnTo>
                  <a:lnTo>
                    <a:pt x="27" y="192"/>
                  </a:lnTo>
                  <a:lnTo>
                    <a:pt x="28" y="192"/>
                  </a:lnTo>
                  <a:lnTo>
                    <a:pt x="29" y="192"/>
                  </a:lnTo>
                  <a:lnTo>
                    <a:pt x="29" y="191"/>
                  </a:lnTo>
                  <a:lnTo>
                    <a:pt x="31" y="190"/>
                  </a:lnTo>
                  <a:lnTo>
                    <a:pt x="33" y="190"/>
                  </a:lnTo>
                  <a:lnTo>
                    <a:pt x="34" y="190"/>
                  </a:lnTo>
                  <a:lnTo>
                    <a:pt x="35" y="190"/>
                  </a:lnTo>
                  <a:lnTo>
                    <a:pt x="34" y="189"/>
                  </a:lnTo>
                  <a:lnTo>
                    <a:pt x="35" y="189"/>
                  </a:lnTo>
                  <a:lnTo>
                    <a:pt x="37" y="189"/>
                  </a:lnTo>
                  <a:lnTo>
                    <a:pt x="38" y="189"/>
                  </a:lnTo>
                  <a:lnTo>
                    <a:pt x="38" y="188"/>
                  </a:lnTo>
                  <a:lnTo>
                    <a:pt x="37" y="186"/>
                  </a:lnTo>
                  <a:lnTo>
                    <a:pt x="35" y="186"/>
                  </a:lnTo>
                  <a:lnTo>
                    <a:pt x="35" y="188"/>
                  </a:lnTo>
                  <a:lnTo>
                    <a:pt x="35" y="186"/>
                  </a:lnTo>
                  <a:lnTo>
                    <a:pt x="34" y="188"/>
                  </a:lnTo>
                  <a:lnTo>
                    <a:pt x="34" y="186"/>
                  </a:lnTo>
                  <a:lnTo>
                    <a:pt x="34" y="188"/>
                  </a:lnTo>
                  <a:lnTo>
                    <a:pt x="33" y="189"/>
                  </a:lnTo>
                  <a:lnTo>
                    <a:pt x="33" y="190"/>
                  </a:lnTo>
                  <a:lnTo>
                    <a:pt x="33" y="189"/>
                  </a:lnTo>
                  <a:lnTo>
                    <a:pt x="33" y="188"/>
                  </a:lnTo>
                  <a:lnTo>
                    <a:pt x="32" y="188"/>
                  </a:lnTo>
                  <a:lnTo>
                    <a:pt x="32" y="186"/>
                  </a:lnTo>
                  <a:lnTo>
                    <a:pt x="31" y="188"/>
                  </a:lnTo>
                  <a:lnTo>
                    <a:pt x="31" y="189"/>
                  </a:lnTo>
                  <a:lnTo>
                    <a:pt x="29" y="189"/>
                  </a:lnTo>
                  <a:lnTo>
                    <a:pt x="28" y="189"/>
                  </a:lnTo>
                  <a:lnTo>
                    <a:pt x="28" y="190"/>
                  </a:lnTo>
                  <a:lnTo>
                    <a:pt x="28" y="189"/>
                  </a:lnTo>
                  <a:lnTo>
                    <a:pt x="28" y="188"/>
                  </a:lnTo>
                  <a:lnTo>
                    <a:pt x="27" y="188"/>
                  </a:lnTo>
                  <a:lnTo>
                    <a:pt x="27" y="186"/>
                  </a:lnTo>
                  <a:lnTo>
                    <a:pt x="27" y="188"/>
                  </a:lnTo>
                  <a:lnTo>
                    <a:pt x="27" y="189"/>
                  </a:lnTo>
                  <a:lnTo>
                    <a:pt x="26" y="189"/>
                  </a:lnTo>
                  <a:lnTo>
                    <a:pt x="26" y="190"/>
                  </a:lnTo>
                  <a:lnTo>
                    <a:pt x="26" y="191"/>
                  </a:lnTo>
                  <a:lnTo>
                    <a:pt x="26" y="190"/>
                  </a:lnTo>
                  <a:lnTo>
                    <a:pt x="26" y="189"/>
                  </a:lnTo>
                  <a:lnTo>
                    <a:pt x="24" y="188"/>
                  </a:lnTo>
                  <a:lnTo>
                    <a:pt x="24" y="189"/>
                  </a:lnTo>
                  <a:lnTo>
                    <a:pt x="24" y="190"/>
                  </a:lnTo>
                  <a:lnTo>
                    <a:pt x="23" y="189"/>
                  </a:lnTo>
                  <a:lnTo>
                    <a:pt x="23" y="188"/>
                  </a:lnTo>
                  <a:lnTo>
                    <a:pt x="22" y="188"/>
                  </a:lnTo>
                  <a:lnTo>
                    <a:pt x="22" y="189"/>
                  </a:lnTo>
                  <a:lnTo>
                    <a:pt x="21" y="189"/>
                  </a:lnTo>
                  <a:lnTo>
                    <a:pt x="20" y="190"/>
                  </a:lnTo>
                  <a:lnTo>
                    <a:pt x="20" y="191"/>
                  </a:lnTo>
                  <a:lnTo>
                    <a:pt x="18" y="191"/>
                  </a:lnTo>
                  <a:lnTo>
                    <a:pt x="18" y="190"/>
                  </a:lnTo>
                  <a:lnTo>
                    <a:pt x="18" y="189"/>
                  </a:lnTo>
                  <a:lnTo>
                    <a:pt x="18" y="190"/>
                  </a:lnTo>
                  <a:lnTo>
                    <a:pt x="17" y="190"/>
                  </a:lnTo>
                  <a:lnTo>
                    <a:pt x="18" y="189"/>
                  </a:lnTo>
                  <a:lnTo>
                    <a:pt x="18" y="188"/>
                  </a:lnTo>
                  <a:lnTo>
                    <a:pt x="20" y="186"/>
                  </a:lnTo>
                  <a:lnTo>
                    <a:pt x="20" y="185"/>
                  </a:lnTo>
                  <a:lnTo>
                    <a:pt x="20" y="184"/>
                  </a:lnTo>
                  <a:lnTo>
                    <a:pt x="20" y="186"/>
                  </a:lnTo>
                  <a:lnTo>
                    <a:pt x="18" y="185"/>
                  </a:lnTo>
                  <a:lnTo>
                    <a:pt x="18" y="184"/>
                  </a:lnTo>
                  <a:lnTo>
                    <a:pt x="18" y="183"/>
                  </a:lnTo>
                  <a:lnTo>
                    <a:pt x="20" y="182"/>
                  </a:lnTo>
                  <a:lnTo>
                    <a:pt x="20" y="180"/>
                  </a:lnTo>
                  <a:lnTo>
                    <a:pt x="18" y="180"/>
                  </a:lnTo>
                  <a:lnTo>
                    <a:pt x="17" y="180"/>
                  </a:lnTo>
                  <a:lnTo>
                    <a:pt x="17" y="183"/>
                  </a:lnTo>
                  <a:lnTo>
                    <a:pt x="17" y="185"/>
                  </a:lnTo>
                  <a:lnTo>
                    <a:pt x="17" y="184"/>
                  </a:lnTo>
                  <a:lnTo>
                    <a:pt x="17" y="183"/>
                  </a:lnTo>
                  <a:lnTo>
                    <a:pt x="17" y="182"/>
                  </a:lnTo>
                  <a:lnTo>
                    <a:pt x="16" y="182"/>
                  </a:lnTo>
                  <a:lnTo>
                    <a:pt x="17" y="183"/>
                  </a:lnTo>
                  <a:lnTo>
                    <a:pt x="16" y="184"/>
                  </a:lnTo>
                  <a:lnTo>
                    <a:pt x="16" y="185"/>
                  </a:lnTo>
                  <a:lnTo>
                    <a:pt x="16" y="186"/>
                  </a:lnTo>
                  <a:lnTo>
                    <a:pt x="15" y="185"/>
                  </a:lnTo>
                  <a:lnTo>
                    <a:pt x="15" y="184"/>
                  </a:lnTo>
                  <a:lnTo>
                    <a:pt x="15" y="183"/>
                  </a:lnTo>
                  <a:lnTo>
                    <a:pt x="14" y="183"/>
                  </a:lnTo>
                  <a:lnTo>
                    <a:pt x="12" y="183"/>
                  </a:lnTo>
                  <a:lnTo>
                    <a:pt x="12" y="182"/>
                  </a:lnTo>
                  <a:lnTo>
                    <a:pt x="14" y="182"/>
                  </a:lnTo>
                  <a:lnTo>
                    <a:pt x="15" y="182"/>
                  </a:lnTo>
                  <a:lnTo>
                    <a:pt x="15" y="180"/>
                  </a:lnTo>
                  <a:lnTo>
                    <a:pt x="16" y="180"/>
                  </a:lnTo>
                  <a:lnTo>
                    <a:pt x="17" y="180"/>
                  </a:lnTo>
                  <a:lnTo>
                    <a:pt x="20" y="179"/>
                  </a:lnTo>
                  <a:lnTo>
                    <a:pt x="21" y="179"/>
                  </a:lnTo>
                  <a:lnTo>
                    <a:pt x="22" y="179"/>
                  </a:lnTo>
                  <a:lnTo>
                    <a:pt x="23" y="178"/>
                  </a:lnTo>
                  <a:lnTo>
                    <a:pt x="24" y="178"/>
                  </a:lnTo>
                  <a:lnTo>
                    <a:pt x="26" y="178"/>
                  </a:lnTo>
                  <a:lnTo>
                    <a:pt x="27" y="178"/>
                  </a:lnTo>
                  <a:lnTo>
                    <a:pt x="29" y="177"/>
                  </a:lnTo>
                  <a:lnTo>
                    <a:pt x="32" y="177"/>
                  </a:lnTo>
                  <a:lnTo>
                    <a:pt x="33" y="177"/>
                  </a:lnTo>
                  <a:lnTo>
                    <a:pt x="34" y="177"/>
                  </a:lnTo>
                  <a:lnTo>
                    <a:pt x="34" y="176"/>
                  </a:lnTo>
                  <a:lnTo>
                    <a:pt x="34" y="174"/>
                  </a:lnTo>
                  <a:lnTo>
                    <a:pt x="35" y="174"/>
                  </a:lnTo>
                  <a:lnTo>
                    <a:pt x="34" y="173"/>
                  </a:lnTo>
                  <a:lnTo>
                    <a:pt x="34" y="172"/>
                  </a:lnTo>
                  <a:lnTo>
                    <a:pt x="33" y="172"/>
                  </a:lnTo>
                  <a:lnTo>
                    <a:pt x="33" y="173"/>
                  </a:lnTo>
                  <a:lnTo>
                    <a:pt x="32" y="176"/>
                  </a:lnTo>
                  <a:lnTo>
                    <a:pt x="31" y="176"/>
                  </a:lnTo>
                  <a:lnTo>
                    <a:pt x="31" y="174"/>
                  </a:lnTo>
                  <a:lnTo>
                    <a:pt x="31" y="176"/>
                  </a:lnTo>
                  <a:lnTo>
                    <a:pt x="29" y="174"/>
                  </a:lnTo>
                  <a:lnTo>
                    <a:pt x="28" y="174"/>
                  </a:lnTo>
                  <a:lnTo>
                    <a:pt x="29" y="173"/>
                  </a:lnTo>
                  <a:lnTo>
                    <a:pt x="29" y="172"/>
                  </a:lnTo>
                  <a:lnTo>
                    <a:pt x="29" y="171"/>
                  </a:lnTo>
                  <a:lnTo>
                    <a:pt x="28" y="170"/>
                  </a:lnTo>
                  <a:lnTo>
                    <a:pt x="28" y="171"/>
                  </a:lnTo>
                  <a:lnTo>
                    <a:pt x="27" y="170"/>
                  </a:lnTo>
                  <a:lnTo>
                    <a:pt x="26" y="168"/>
                  </a:lnTo>
                  <a:lnTo>
                    <a:pt x="27" y="170"/>
                  </a:lnTo>
                  <a:lnTo>
                    <a:pt x="27" y="171"/>
                  </a:lnTo>
                  <a:lnTo>
                    <a:pt x="27" y="172"/>
                  </a:lnTo>
                  <a:lnTo>
                    <a:pt x="26" y="173"/>
                  </a:lnTo>
                  <a:lnTo>
                    <a:pt x="26" y="174"/>
                  </a:lnTo>
                  <a:lnTo>
                    <a:pt x="24" y="174"/>
                  </a:lnTo>
                  <a:lnTo>
                    <a:pt x="23" y="174"/>
                  </a:lnTo>
                  <a:lnTo>
                    <a:pt x="23" y="173"/>
                  </a:lnTo>
                  <a:lnTo>
                    <a:pt x="22" y="173"/>
                  </a:lnTo>
                  <a:lnTo>
                    <a:pt x="21" y="173"/>
                  </a:lnTo>
                  <a:lnTo>
                    <a:pt x="22" y="172"/>
                  </a:lnTo>
                  <a:lnTo>
                    <a:pt x="23" y="172"/>
                  </a:lnTo>
                  <a:lnTo>
                    <a:pt x="23" y="171"/>
                  </a:lnTo>
                  <a:lnTo>
                    <a:pt x="24" y="170"/>
                  </a:lnTo>
                  <a:lnTo>
                    <a:pt x="24" y="168"/>
                  </a:lnTo>
                  <a:lnTo>
                    <a:pt x="24" y="167"/>
                  </a:lnTo>
                  <a:lnTo>
                    <a:pt x="26" y="167"/>
                  </a:lnTo>
                  <a:lnTo>
                    <a:pt x="27" y="167"/>
                  </a:lnTo>
                  <a:lnTo>
                    <a:pt x="27" y="166"/>
                  </a:lnTo>
                  <a:lnTo>
                    <a:pt x="28" y="166"/>
                  </a:lnTo>
                  <a:lnTo>
                    <a:pt x="29" y="166"/>
                  </a:lnTo>
                  <a:lnTo>
                    <a:pt x="32" y="165"/>
                  </a:lnTo>
                  <a:lnTo>
                    <a:pt x="33" y="164"/>
                  </a:lnTo>
                  <a:lnTo>
                    <a:pt x="32" y="164"/>
                  </a:lnTo>
                  <a:lnTo>
                    <a:pt x="32" y="162"/>
                  </a:lnTo>
                  <a:lnTo>
                    <a:pt x="31" y="162"/>
                  </a:lnTo>
                  <a:lnTo>
                    <a:pt x="31" y="164"/>
                  </a:lnTo>
                  <a:lnTo>
                    <a:pt x="29" y="164"/>
                  </a:lnTo>
                  <a:lnTo>
                    <a:pt x="31" y="162"/>
                  </a:lnTo>
                  <a:lnTo>
                    <a:pt x="29" y="162"/>
                  </a:lnTo>
                  <a:lnTo>
                    <a:pt x="28" y="162"/>
                  </a:lnTo>
                  <a:lnTo>
                    <a:pt x="29" y="162"/>
                  </a:lnTo>
                  <a:lnTo>
                    <a:pt x="29" y="161"/>
                  </a:lnTo>
                  <a:lnTo>
                    <a:pt x="31" y="161"/>
                  </a:lnTo>
                  <a:lnTo>
                    <a:pt x="32" y="161"/>
                  </a:lnTo>
                  <a:lnTo>
                    <a:pt x="33" y="161"/>
                  </a:lnTo>
                  <a:lnTo>
                    <a:pt x="34" y="161"/>
                  </a:lnTo>
                  <a:lnTo>
                    <a:pt x="34" y="160"/>
                  </a:lnTo>
                  <a:lnTo>
                    <a:pt x="35" y="160"/>
                  </a:lnTo>
                  <a:lnTo>
                    <a:pt x="35" y="159"/>
                  </a:lnTo>
                  <a:lnTo>
                    <a:pt x="37" y="159"/>
                  </a:lnTo>
                  <a:lnTo>
                    <a:pt x="37" y="158"/>
                  </a:lnTo>
                  <a:lnTo>
                    <a:pt x="37" y="156"/>
                  </a:lnTo>
                  <a:lnTo>
                    <a:pt x="38" y="156"/>
                  </a:lnTo>
                  <a:lnTo>
                    <a:pt x="39" y="154"/>
                  </a:lnTo>
                  <a:lnTo>
                    <a:pt x="40" y="153"/>
                  </a:lnTo>
                  <a:lnTo>
                    <a:pt x="39" y="152"/>
                  </a:lnTo>
                  <a:lnTo>
                    <a:pt x="39" y="153"/>
                  </a:lnTo>
                  <a:lnTo>
                    <a:pt x="38" y="153"/>
                  </a:lnTo>
                  <a:lnTo>
                    <a:pt x="38" y="154"/>
                  </a:lnTo>
                  <a:lnTo>
                    <a:pt x="38" y="155"/>
                  </a:lnTo>
                  <a:lnTo>
                    <a:pt x="37" y="154"/>
                  </a:lnTo>
                  <a:lnTo>
                    <a:pt x="37" y="153"/>
                  </a:lnTo>
                  <a:lnTo>
                    <a:pt x="35" y="153"/>
                  </a:lnTo>
                  <a:lnTo>
                    <a:pt x="35" y="154"/>
                  </a:lnTo>
                  <a:lnTo>
                    <a:pt x="35" y="155"/>
                  </a:lnTo>
                  <a:lnTo>
                    <a:pt x="35" y="154"/>
                  </a:lnTo>
                  <a:lnTo>
                    <a:pt x="35" y="153"/>
                  </a:lnTo>
                  <a:lnTo>
                    <a:pt x="35" y="154"/>
                  </a:lnTo>
                  <a:lnTo>
                    <a:pt x="34" y="154"/>
                  </a:lnTo>
                  <a:lnTo>
                    <a:pt x="34" y="153"/>
                  </a:lnTo>
                  <a:lnTo>
                    <a:pt x="34" y="154"/>
                  </a:lnTo>
                  <a:lnTo>
                    <a:pt x="33" y="154"/>
                  </a:lnTo>
                  <a:lnTo>
                    <a:pt x="33" y="153"/>
                  </a:lnTo>
                  <a:lnTo>
                    <a:pt x="32" y="153"/>
                  </a:lnTo>
                  <a:lnTo>
                    <a:pt x="33" y="154"/>
                  </a:lnTo>
                  <a:lnTo>
                    <a:pt x="33" y="156"/>
                  </a:lnTo>
                  <a:lnTo>
                    <a:pt x="32" y="156"/>
                  </a:lnTo>
                  <a:lnTo>
                    <a:pt x="32" y="158"/>
                  </a:lnTo>
                  <a:lnTo>
                    <a:pt x="31" y="158"/>
                  </a:lnTo>
                  <a:lnTo>
                    <a:pt x="31" y="156"/>
                  </a:lnTo>
                  <a:lnTo>
                    <a:pt x="31" y="155"/>
                  </a:lnTo>
                  <a:lnTo>
                    <a:pt x="32" y="154"/>
                  </a:lnTo>
                  <a:lnTo>
                    <a:pt x="32" y="153"/>
                  </a:lnTo>
                  <a:lnTo>
                    <a:pt x="32" y="150"/>
                  </a:lnTo>
                  <a:lnTo>
                    <a:pt x="32" y="149"/>
                  </a:lnTo>
                  <a:lnTo>
                    <a:pt x="31" y="149"/>
                  </a:lnTo>
                  <a:lnTo>
                    <a:pt x="31" y="150"/>
                  </a:lnTo>
                  <a:lnTo>
                    <a:pt x="29" y="150"/>
                  </a:lnTo>
                  <a:lnTo>
                    <a:pt x="29" y="149"/>
                  </a:lnTo>
                  <a:lnTo>
                    <a:pt x="29" y="148"/>
                  </a:lnTo>
                  <a:lnTo>
                    <a:pt x="29" y="150"/>
                  </a:lnTo>
                  <a:lnTo>
                    <a:pt x="28" y="150"/>
                  </a:lnTo>
                  <a:lnTo>
                    <a:pt x="28" y="149"/>
                  </a:lnTo>
                  <a:lnTo>
                    <a:pt x="27" y="148"/>
                  </a:lnTo>
                  <a:lnTo>
                    <a:pt x="27" y="149"/>
                  </a:lnTo>
                  <a:lnTo>
                    <a:pt x="27" y="150"/>
                  </a:lnTo>
                  <a:lnTo>
                    <a:pt x="27" y="152"/>
                  </a:lnTo>
                  <a:lnTo>
                    <a:pt x="27" y="150"/>
                  </a:lnTo>
                  <a:lnTo>
                    <a:pt x="27" y="149"/>
                  </a:lnTo>
                  <a:lnTo>
                    <a:pt x="27" y="148"/>
                  </a:lnTo>
                  <a:lnTo>
                    <a:pt x="26" y="147"/>
                  </a:lnTo>
                  <a:lnTo>
                    <a:pt x="27" y="146"/>
                  </a:lnTo>
                  <a:lnTo>
                    <a:pt x="26" y="146"/>
                  </a:lnTo>
                  <a:lnTo>
                    <a:pt x="26" y="144"/>
                  </a:lnTo>
                  <a:lnTo>
                    <a:pt x="24" y="144"/>
                  </a:lnTo>
                  <a:lnTo>
                    <a:pt x="24" y="143"/>
                  </a:lnTo>
                  <a:lnTo>
                    <a:pt x="26" y="143"/>
                  </a:lnTo>
                  <a:lnTo>
                    <a:pt x="27" y="144"/>
                  </a:lnTo>
                  <a:lnTo>
                    <a:pt x="27" y="143"/>
                  </a:lnTo>
                  <a:lnTo>
                    <a:pt x="27" y="144"/>
                  </a:lnTo>
                  <a:lnTo>
                    <a:pt x="28" y="144"/>
                  </a:lnTo>
                  <a:lnTo>
                    <a:pt x="28" y="143"/>
                  </a:lnTo>
                  <a:lnTo>
                    <a:pt x="28" y="144"/>
                  </a:lnTo>
                  <a:lnTo>
                    <a:pt x="29" y="144"/>
                  </a:lnTo>
                  <a:lnTo>
                    <a:pt x="31" y="146"/>
                  </a:lnTo>
                  <a:lnTo>
                    <a:pt x="33" y="146"/>
                  </a:lnTo>
                  <a:lnTo>
                    <a:pt x="34" y="146"/>
                  </a:lnTo>
                  <a:lnTo>
                    <a:pt x="35" y="147"/>
                  </a:lnTo>
                  <a:lnTo>
                    <a:pt x="37" y="147"/>
                  </a:lnTo>
                  <a:lnTo>
                    <a:pt x="38" y="147"/>
                  </a:lnTo>
                  <a:lnTo>
                    <a:pt x="39" y="147"/>
                  </a:lnTo>
                  <a:lnTo>
                    <a:pt x="40" y="147"/>
                  </a:lnTo>
                  <a:lnTo>
                    <a:pt x="41" y="147"/>
                  </a:lnTo>
                  <a:lnTo>
                    <a:pt x="43" y="148"/>
                  </a:lnTo>
                  <a:lnTo>
                    <a:pt x="45" y="147"/>
                  </a:lnTo>
                  <a:lnTo>
                    <a:pt x="46" y="147"/>
                  </a:lnTo>
                  <a:lnTo>
                    <a:pt x="47" y="147"/>
                  </a:lnTo>
                  <a:lnTo>
                    <a:pt x="47" y="146"/>
                  </a:lnTo>
                  <a:lnTo>
                    <a:pt x="47" y="144"/>
                  </a:lnTo>
                  <a:lnTo>
                    <a:pt x="49" y="144"/>
                  </a:lnTo>
                  <a:lnTo>
                    <a:pt x="50" y="146"/>
                  </a:lnTo>
                  <a:lnTo>
                    <a:pt x="51" y="146"/>
                  </a:lnTo>
                  <a:lnTo>
                    <a:pt x="52" y="144"/>
                  </a:lnTo>
                  <a:lnTo>
                    <a:pt x="53" y="144"/>
                  </a:lnTo>
                  <a:lnTo>
                    <a:pt x="55" y="143"/>
                  </a:lnTo>
                  <a:lnTo>
                    <a:pt x="56" y="142"/>
                  </a:lnTo>
                  <a:lnTo>
                    <a:pt x="57" y="141"/>
                  </a:lnTo>
                  <a:lnTo>
                    <a:pt x="58" y="140"/>
                  </a:lnTo>
                  <a:lnTo>
                    <a:pt x="57" y="140"/>
                  </a:lnTo>
                  <a:lnTo>
                    <a:pt x="58" y="138"/>
                  </a:lnTo>
                  <a:lnTo>
                    <a:pt x="58" y="137"/>
                  </a:lnTo>
                  <a:lnTo>
                    <a:pt x="57" y="137"/>
                  </a:lnTo>
                  <a:lnTo>
                    <a:pt x="57" y="138"/>
                  </a:lnTo>
                  <a:lnTo>
                    <a:pt x="56" y="137"/>
                  </a:lnTo>
                  <a:lnTo>
                    <a:pt x="56" y="138"/>
                  </a:lnTo>
                  <a:lnTo>
                    <a:pt x="56" y="141"/>
                  </a:lnTo>
                  <a:lnTo>
                    <a:pt x="55" y="140"/>
                  </a:lnTo>
                  <a:lnTo>
                    <a:pt x="55" y="138"/>
                  </a:lnTo>
                  <a:lnTo>
                    <a:pt x="53" y="138"/>
                  </a:lnTo>
                  <a:lnTo>
                    <a:pt x="53" y="140"/>
                  </a:lnTo>
                  <a:lnTo>
                    <a:pt x="53" y="141"/>
                  </a:lnTo>
                  <a:lnTo>
                    <a:pt x="52" y="140"/>
                  </a:lnTo>
                  <a:lnTo>
                    <a:pt x="52" y="138"/>
                  </a:lnTo>
                  <a:lnTo>
                    <a:pt x="52" y="140"/>
                  </a:lnTo>
                  <a:lnTo>
                    <a:pt x="51" y="138"/>
                  </a:lnTo>
                  <a:lnTo>
                    <a:pt x="51" y="137"/>
                  </a:lnTo>
                  <a:lnTo>
                    <a:pt x="51" y="140"/>
                  </a:lnTo>
                  <a:lnTo>
                    <a:pt x="51" y="141"/>
                  </a:lnTo>
                  <a:lnTo>
                    <a:pt x="51" y="140"/>
                  </a:lnTo>
                  <a:lnTo>
                    <a:pt x="50" y="138"/>
                  </a:lnTo>
                  <a:lnTo>
                    <a:pt x="49" y="138"/>
                  </a:lnTo>
                  <a:lnTo>
                    <a:pt x="49" y="140"/>
                  </a:lnTo>
                  <a:lnTo>
                    <a:pt x="50" y="141"/>
                  </a:lnTo>
                  <a:lnTo>
                    <a:pt x="49" y="141"/>
                  </a:lnTo>
                  <a:lnTo>
                    <a:pt x="49" y="140"/>
                  </a:lnTo>
                  <a:lnTo>
                    <a:pt x="49" y="138"/>
                  </a:lnTo>
                  <a:lnTo>
                    <a:pt x="47" y="137"/>
                  </a:lnTo>
                  <a:lnTo>
                    <a:pt x="47" y="140"/>
                  </a:lnTo>
                  <a:lnTo>
                    <a:pt x="49" y="141"/>
                  </a:lnTo>
                  <a:lnTo>
                    <a:pt x="47" y="140"/>
                  </a:lnTo>
                  <a:lnTo>
                    <a:pt x="47" y="138"/>
                  </a:lnTo>
                  <a:lnTo>
                    <a:pt x="47" y="141"/>
                  </a:lnTo>
                  <a:lnTo>
                    <a:pt x="46" y="141"/>
                  </a:lnTo>
                  <a:lnTo>
                    <a:pt x="46" y="140"/>
                  </a:lnTo>
                  <a:lnTo>
                    <a:pt x="45" y="140"/>
                  </a:lnTo>
                  <a:lnTo>
                    <a:pt x="45" y="141"/>
                  </a:lnTo>
                  <a:lnTo>
                    <a:pt x="44" y="140"/>
                  </a:lnTo>
                  <a:lnTo>
                    <a:pt x="44" y="142"/>
                  </a:lnTo>
                  <a:lnTo>
                    <a:pt x="43" y="143"/>
                  </a:lnTo>
                  <a:lnTo>
                    <a:pt x="43" y="142"/>
                  </a:lnTo>
                  <a:lnTo>
                    <a:pt x="41" y="142"/>
                  </a:lnTo>
                  <a:lnTo>
                    <a:pt x="41" y="144"/>
                  </a:lnTo>
                  <a:lnTo>
                    <a:pt x="41" y="143"/>
                  </a:lnTo>
                  <a:lnTo>
                    <a:pt x="40" y="142"/>
                  </a:lnTo>
                  <a:lnTo>
                    <a:pt x="40" y="143"/>
                  </a:lnTo>
                  <a:lnTo>
                    <a:pt x="40" y="142"/>
                  </a:lnTo>
                  <a:lnTo>
                    <a:pt x="39" y="141"/>
                  </a:lnTo>
                  <a:lnTo>
                    <a:pt x="39" y="142"/>
                  </a:lnTo>
                  <a:lnTo>
                    <a:pt x="39" y="143"/>
                  </a:lnTo>
                  <a:lnTo>
                    <a:pt x="39" y="144"/>
                  </a:lnTo>
                  <a:lnTo>
                    <a:pt x="39" y="146"/>
                  </a:lnTo>
                  <a:lnTo>
                    <a:pt x="38" y="146"/>
                  </a:lnTo>
                  <a:lnTo>
                    <a:pt x="38" y="144"/>
                  </a:lnTo>
                  <a:lnTo>
                    <a:pt x="38" y="143"/>
                  </a:lnTo>
                  <a:lnTo>
                    <a:pt x="38" y="142"/>
                  </a:lnTo>
                  <a:lnTo>
                    <a:pt x="37" y="143"/>
                  </a:lnTo>
                  <a:lnTo>
                    <a:pt x="37" y="144"/>
                  </a:lnTo>
                  <a:lnTo>
                    <a:pt x="37" y="143"/>
                  </a:lnTo>
                  <a:lnTo>
                    <a:pt x="37" y="144"/>
                  </a:lnTo>
                  <a:lnTo>
                    <a:pt x="35" y="146"/>
                  </a:lnTo>
                  <a:lnTo>
                    <a:pt x="35" y="144"/>
                  </a:lnTo>
                  <a:lnTo>
                    <a:pt x="35" y="143"/>
                  </a:lnTo>
                  <a:lnTo>
                    <a:pt x="34" y="144"/>
                  </a:lnTo>
                  <a:lnTo>
                    <a:pt x="34" y="143"/>
                  </a:lnTo>
                  <a:lnTo>
                    <a:pt x="35" y="143"/>
                  </a:lnTo>
                  <a:lnTo>
                    <a:pt x="37" y="143"/>
                  </a:lnTo>
                  <a:lnTo>
                    <a:pt x="35" y="142"/>
                  </a:lnTo>
                  <a:lnTo>
                    <a:pt x="37" y="142"/>
                  </a:lnTo>
                  <a:lnTo>
                    <a:pt x="38" y="142"/>
                  </a:lnTo>
                  <a:lnTo>
                    <a:pt x="38" y="141"/>
                  </a:lnTo>
                  <a:lnTo>
                    <a:pt x="38" y="140"/>
                  </a:lnTo>
                  <a:lnTo>
                    <a:pt x="39" y="140"/>
                  </a:lnTo>
                  <a:lnTo>
                    <a:pt x="39" y="138"/>
                  </a:lnTo>
                  <a:lnTo>
                    <a:pt x="40" y="138"/>
                  </a:lnTo>
                  <a:lnTo>
                    <a:pt x="40" y="137"/>
                  </a:lnTo>
                  <a:lnTo>
                    <a:pt x="41" y="137"/>
                  </a:lnTo>
                  <a:lnTo>
                    <a:pt x="41" y="136"/>
                  </a:lnTo>
                  <a:lnTo>
                    <a:pt x="41" y="135"/>
                  </a:lnTo>
                  <a:lnTo>
                    <a:pt x="40" y="136"/>
                  </a:lnTo>
                  <a:lnTo>
                    <a:pt x="40" y="137"/>
                  </a:lnTo>
                  <a:lnTo>
                    <a:pt x="39" y="137"/>
                  </a:lnTo>
                  <a:lnTo>
                    <a:pt x="39" y="136"/>
                  </a:lnTo>
                  <a:lnTo>
                    <a:pt x="39" y="137"/>
                  </a:lnTo>
                  <a:lnTo>
                    <a:pt x="39" y="136"/>
                  </a:lnTo>
                  <a:lnTo>
                    <a:pt x="39" y="135"/>
                  </a:lnTo>
                  <a:lnTo>
                    <a:pt x="40" y="135"/>
                  </a:lnTo>
                  <a:lnTo>
                    <a:pt x="40" y="134"/>
                  </a:lnTo>
                  <a:lnTo>
                    <a:pt x="39" y="134"/>
                  </a:lnTo>
                  <a:lnTo>
                    <a:pt x="40" y="134"/>
                  </a:lnTo>
                  <a:lnTo>
                    <a:pt x="43" y="134"/>
                  </a:lnTo>
                  <a:lnTo>
                    <a:pt x="44" y="132"/>
                  </a:lnTo>
                  <a:lnTo>
                    <a:pt x="45" y="132"/>
                  </a:lnTo>
                  <a:lnTo>
                    <a:pt x="46" y="131"/>
                  </a:lnTo>
                  <a:lnTo>
                    <a:pt x="47" y="130"/>
                  </a:lnTo>
                  <a:lnTo>
                    <a:pt x="49" y="130"/>
                  </a:lnTo>
                  <a:lnTo>
                    <a:pt x="50" y="130"/>
                  </a:lnTo>
                  <a:lnTo>
                    <a:pt x="51" y="130"/>
                  </a:lnTo>
                  <a:lnTo>
                    <a:pt x="52" y="129"/>
                  </a:lnTo>
                  <a:lnTo>
                    <a:pt x="53" y="129"/>
                  </a:lnTo>
                  <a:lnTo>
                    <a:pt x="53" y="128"/>
                  </a:lnTo>
                  <a:lnTo>
                    <a:pt x="52" y="128"/>
                  </a:lnTo>
                  <a:lnTo>
                    <a:pt x="53" y="128"/>
                  </a:lnTo>
                  <a:lnTo>
                    <a:pt x="55" y="128"/>
                  </a:lnTo>
                  <a:lnTo>
                    <a:pt x="56" y="126"/>
                  </a:lnTo>
                  <a:lnTo>
                    <a:pt x="56" y="125"/>
                  </a:lnTo>
                  <a:lnTo>
                    <a:pt x="56" y="124"/>
                  </a:lnTo>
                  <a:lnTo>
                    <a:pt x="56" y="123"/>
                  </a:lnTo>
                  <a:lnTo>
                    <a:pt x="55" y="122"/>
                  </a:lnTo>
                  <a:lnTo>
                    <a:pt x="55" y="123"/>
                  </a:lnTo>
                  <a:lnTo>
                    <a:pt x="55" y="124"/>
                  </a:lnTo>
                  <a:lnTo>
                    <a:pt x="53" y="124"/>
                  </a:lnTo>
                  <a:lnTo>
                    <a:pt x="52" y="124"/>
                  </a:lnTo>
                  <a:lnTo>
                    <a:pt x="52" y="123"/>
                  </a:lnTo>
                  <a:lnTo>
                    <a:pt x="52" y="124"/>
                  </a:lnTo>
                  <a:lnTo>
                    <a:pt x="52" y="125"/>
                  </a:lnTo>
                  <a:lnTo>
                    <a:pt x="51" y="124"/>
                  </a:lnTo>
                  <a:lnTo>
                    <a:pt x="51" y="123"/>
                  </a:lnTo>
                  <a:lnTo>
                    <a:pt x="51" y="124"/>
                  </a:lnTo>
                  <a:lnTo>
                    <a:pt x="50" y="124"/>
                  </a:lnTo>
                  <a:lnTo>
                    <a:pt x="50" y="123"/>
                  </a:lnTo>
                  <a:lnTo>
                    <a:pt x="50" y="124"/>
                  </a:lnTo>
                  <a:lnTo>
                    <a:pt x="50" y="125"/>
                  </a:lnTo>
                  <a:lnTo>
                    <a:pt x="50" y="126"/>
                  </a:lnTo>
                  <a:lnTo>
                    <a:pt x="49" y="126"/>
                  </a:lnTo>
                  <a:lnTo>
                    <a:pt x="49" y="125"/>
                  </a:lnTo>
                  <a:lnTo>
                    <a:pt x="49" y="124"/>
                  </a:lnTo>
                  <a:lnTo>
                    <a:pt x="49" y="125"/>
                  </a:lnTo>
                  <a:lnTo>
                    <a:pt x="47" y="125"/>
                  </a:lnTo>
                  <a:lnTo>
                    <a:pt x="47" y="124"/>
                  </a:lnTo>
                  <a:lnTo>
                    <a:pt x="46" y="125"/>
                  </a:lnTo>
                  <a:lnTo>
                    <a:pt x="46" y="124"/>
                  </a:lnTo>
                  <a:lnTo>
                    <a:pt x="46" y="125"/>
                  </a:lnTo>
                  <a:lnTo>
                    <a:pt x="45" y="125"/>
                  </a:lnTo>
                  <a:lnTo>
                    <a:pt x="45" y="126"/>
                  </a:lnTo>
                  <a:lnTo>
                    <a:pt x="45" y="128"/>
                  </a:lnTo>
                  <a:lnTo>
                    <a:pt x="44" y="128"/>
                  </a:lnTo>
                  <a:lnTo>
                    <a:pt x="44" y="126"/>
                  </a:lnTo>
                  <a:lnTo>
                    <a:pt x="44" y="125"/>
                  </a:lnTo>
                  <a:lnTo>
                    <a:pt x="43" y="125"/>
                  </a:lnTo>
                  <a:lnTo>
                    <a:pt x="41" y="125"/>
                  </a:lnTo>
                  <a:lnTo>
                    <a:pt x="41" y="124"/>
                  </a:lnTo>
                  <a:lnTo>
                    <a:pt x="41" y="125"/>
                  </a:lnTo>
                  <a:lnTo>
                    <a:pt x="40" y="125"/>
                  </a:lnTo>
                  <a:lnTo>
                    <a:pt x="39" y="125"/>
                  </a:lnTo>
                  <a:lnTo>
                    <a:pt x="40" y="124"/>
                  </a:lnTo>
                  <a:lnTo>
                    <a:pt x="41" y="123"/>
                  </a:lnTo>
                  <a:lnTo>
                    <a:pt x="43" y="123"/>
                  </a:lnTo>
                  <a:lnTo>
                    <a:pt x="44" y="123"/>
                  </a:lnTo>
                  <a:lnTo>
                    <a:pt x="45" y="122"/>
                  </a:lnTo>
                  <a:lnTo>
                    <a:pt x="44" y="122"/>
                  </a:lnTo>
                  <a:lnTo>
                    <a:pt x="43" y="122"/>
                  </a:lnTo>
                  <a:lnTo>
                    <a:pt x="45" y="120"/>
                  </a:lnTo>
                  <a:lnTo>
                    <a:pt x="44" y="120"/>
                  </a:lnTo>
                  <a:lnTo>
                    <a:pt x="45" y="120"/>
                  </a:lnTo>
                  <a:lnTo>
                    <a:pt x="46" y="119"/>
                  </a:lnTo>
                  <a:lnTo>
                    <a:pt x="47" y="119"/>
                  </a:lnTo>
                  <a:lnTo>
                    <a:pt x="47" y="118"/>
                  </a:lnTo>
                  <a:lnTo>
                    <a:pt x="49" y="118"/>
                  </a:lnTo>
                  <a:lnTo>
                    <a:pt x="50" y="118"/>
                  </a:lnTo>
                  <a:lnTo>
                    <a:pt x="50" y="117"/>
                  </a:lnTo>
                  <a:lnTo>
                    <a:pt x="51" y="118"/>
                  </a:lnTo>
                  <a:lnTo>
                    <a:pt x="52" y="118"/>
                  </a:lnTo>
                  <a:lnTo>
                    <a:pt x="52" y="117"/>
                  </a:lnTo>
                  <a:lnTo>
                    <a:pt x="53" y="117"/>
                  </a:lnTo>
                  <a:lnTo>
                    <a:pt x="53" y="116"/>
                  </a:lnTo>
                  <a:lnTo>
                    <a:pt x="55" y="117"/>
                  </a:lnTo>
                  <a:lnTo>
                    <a:pt x="56" y="117"/>
                  </a:lnTo>
                  <a:lnTo>
                    <a:pt x="56" y="116"/>
                  </a:lnTo>
                  <a:lnTo>
                    <a:pt x="58" y="116"/>
                  </a:lnTo>
                  <a:lnTo>
                    <a:pt x="59" y="114"/>
                  </a:lnTo>
                  <a:lnTo>
                    <a:pt x="61" y="114"/>
                  </a:lnTo>
                  <a:lnTo>
                    <a:pt x="62" y="114"/>
                  </a:lnTo>
                  <a:lnTo>
                    <a:pt x="63" y="114"/>
                  </a:lnTo>
                  <a:lnTo>
                    <a:pt x="64" y="113"/>
                  </a:lnTo>
                  <a:lnTo>
                    <a:pt x="65" y="113"/>
                  </a:lnTo>
                  <a:lnTo>
                    <a:pt x="67" y="113"/>
                  </a:lnTo>
                  <a:lnTo>
                    <a:pt x="68" y="112"/>
                  </a:lnTo>
                  <a:lnTo>
                    <a:pt x="68" y="113"/>
                  </a:lnTo>
                  <a:lnTo>
                    <a:pt x="69" y="113"/>
                  </a:lnTo>
                  <a:lnTo>
                    <a:pt x="70" y="113"/>
                  </a:lnTo>
                  <a:lnTo>
                    <a:pt x="70" y="112"/>
                  </a:lnTo>
                  <a:lnTo>
                    <a:pt x="71" y="112"/>
                  </a:lnTo>
                  <a:lnTo>
                    <a:pt x="73" y="112"/>
                  </a:lnTo>
                  <a:lnTo>
                    <a:pt x="74" y="112"/>
                  </a:lnTo>
                  <a:lnTo>
                    <a:pt x="74" y="111"/>
                  </a:lnTo>
                  <a:lnTo>
                    <a:pt x="73" y="111"/>
                  </a:lnTo>
                  <a:lnTo>
                    <a:pt x="73" y="112"/>
                  </a:lnTo>
                  <a:lnTo>
                    <a:pt x="71" y="112"/>
                  </a:lnTo>
                  <a:lnTo>
                    <a:pt x="70" y="112"/>
                  </a:lnTo>
                  <a:lnTo>
                    <a:pt x="69" y="112"/>
                  </a:lnTo>
                  <a:lnTo>
                    <a:pt x="69" y="113"/>
                  </a:lnTo>
                  <a:lnTo>
                    <a:pt x="68" y="112"/>
                  </a:lnTo>
                  <a:lnTo>
                    <a:pt x="67" y="112"/>
                  </a:lnTo>
                  <a:lnTo>
                    <a:pt x="65" y="112"/>
                  </a:lnTo>
                  <a:lnTo>
                    <a:pt x="65" y="113"/>
                  </a:lnTo>
                  <a:lnTo>
                    <a:pt x="64" y="113"/>
                  </a:lnTo>
                  <a:lnTo>
                    <a:pt x="63" y="113"/>
                  </a:lnTo>
                  <a:lnTo>
                    <a:pt x="63" y="112"/>
                  </a:lnTo>
                  <a:lnTo>
                    <a:pt x="62" y="113"/>
                  </a:lnTo>
                  <a:lnTo>
                    <a:pt x="61" y="113"/>
                  </a:lnTo>
                  <a:lnTo>
                    <a:pt x="61" y="114"/>
                  </a:lnTo>
                  <a:lnTo>
                    <a:pt x="59" y="113"/>
                  </a:lnTo>
                  <a:lnTo>
                    <a:pt x="59" y="114"/>
                  </a:lnTo>
                  <a:lnTo>
                    <a:pt x="58" y="114"/>
                  </a:lnTo>
                  <a:lnTo>
                    <a:pt x="57" y="113"/>
                  </a:lnTo>
                  <a:lnTo>
                    <a:pt x="57" y="114"/>
                  </a:lnTo>
                  <a:lnTo>
                    <a:pt x="57" y="113"/>
                  </a:lnTo>
                  <a:lnTo>
                    <a:pt x="56" y="112"/>
                  </a:lnTo>
                  <a:lnTo>
                    <a:pt x="56" y="113"/>
                  </a:lnTo>
                  <a:lnTo>
                    <a:pt x="56" y="114"/>
                  </a:lnTo>
                  <a:lnTo>
                    <a:pt x="55" y="116"/>
                  </a:lnTo>
                  <a:lnTo>
                    <a:pt x="55" y="114"/>
                  </a:lnTo>
                  <a:lnTo>
                    <a:pt x="55" y="113"/>
                  </a:lnTo>
                  <a:lnTo>
                    <a:pt x="53" y="116"/>
                  </a:lnTo>
                  <a:lnTo>
                    <a:pt x="53" y="114"/>
                  </a:lnTo>
                  <a:lnTo>
                    <a:pt x="53" y="113"/>
                  </a:lnTo>
                  <a:lnTo>
                    <a:pt x="53" y="112"/>
                  </a:lnTo>
                  <a:lnTo>
                    <a:pt x="52" y="114"/>
                  </a:lnTo>
                  <a:lnTo>
                    <a:pt x="52" y="116"/>
                  </a:lnTo>
                  <a:lnTo>
                    <a:pt x="51" y="116"/>
                  </a:lnTo>
                  <a:lnTo>
                    <a:pt x="51" y="114"/>
                  </a:lnTo>
                  <a:lnTo>
                    <a:pt x="51" y="116"/>
                  </a:lnTo>
                  <a:lnTo>
                    <a:pt x="51" y="117"/>
                  </a:lnTo>
                  <a:lnTo>
                    <a:pt x="50" y="117"/>
                  </a:lnTo>
                  <a:lnTo>
                    <a:pt x="50" y="116"/>
                  </a:lnTo>
                  <a:lnTo>
                    <a:pt x="49" y="114"/>
                  </a:lnTo>
                  <a:lnTo>
                    <a:pt x="49" y="113"/>
                  </a:lnTo>
                  <a:lnTo>
                    <a:pt x="49" y="114"/>
                  </a:lnTo>
                  <a:lnTo>
                    <a:pt x="49" y="116"/>
                  </a:lnTo>
                  <a:lnTo>
                    <a:pt x="47" y="116"/>
                  </a:lnTo>
                  <a:lnTo>
                    <a:pt x="47" y="114"/>
                  </a:lnTo>
                  <a:lnTo>
                    <a:pt x="47" y="116"/>
                  </a:lnTo>
                  <a:lnTo>
                    <a:pt x="47" y="117"/>
                  </a:lnTo>
                  <a:lnTo>
                    <a:pt x="46" y="117"/>
                  </a:lnTo>
                  <a:lnTo>
                    <a:pt x="46" y="116"/>
                  </a:lnTo>
                  <a:lnTo>
                    <a:pt x="45" y="116"/>
                  </a:lnTo>
                  <a:lnTo>
                    <a:pt x="45" y="114"/>
                  </a:lnTo>
                  <a:lnTo>
                    <a:pt x="44" y="113"/>
                  </a:lnTo>
                  <a:lnTo>
                    <a:pt x="44" y="114"/>
                  </a:lnTo>
                  <a:lnTo>
                    <a:pt x="43" y="116"/>
                  </a:lnTo>
                  <a:lnTo>
                    <a:pt x="43" y="114"/>
                  </a:lnTo>
                  <a:lnTo>
                    <a:pt x="40" y="116"/>
                  </a:lnTo>
                  <a:lnTo>
                    <a:pt x="40" y="114"/>
                  </a:lnTo>
                  <a:lnTo>
                    <a:pt x="41" y="114"/>
                  </a:lnTo>
                  <a:lnTo>
                    <a:pt x="43" y="114"/>
                  </a:lnTo>
                  <a:lnTo>
                    <a:pt x="41" y="113"/>
                  </a:lnTo>
                  <a:lnTo>
                    <a:pt x="43" y="113"/>
                  </a:lnTo>
                  <a:lnTo>
                    <a:pt x="44" y="113"/>
                  </a:lnTo>
                  <a:lnTo>
                    <a:pt x="44" y="112"/>
                  </a:lnTo>
                  <a:lnTo>
                    <a:pt x="45" y="112"/>
                  </a:lnTo>
                  <a:lnTo>
                    <a:pt x="46" y="111"/>
                  </a:lnTo>
                  <a:lnTo>
                    <a:pt x="47" y="110"/>
                  </a:lnTo>
                  <a:lnTo>
                    <a:pt x="46" y="110"/>
                  </a:lnTo>
                  <a:lnTo>
                    <a:pt x="46" y="108"/>
                  </a:lnTo>
                  <a:lnTo>
                    <a:pt x="47" y="108"/>
                  </a:lnTo>
                  <a:lnTo>
                    <a:pt x="47" y="107"/>
                  </a:lnTo>
                  <a:lnTo>
                    <a:pt x="47" y="108"/>
                  </a:lnTo>
                  <a:lnTo>
                    <a:pt x="49" y="108"/>
                  </a:lnTo>
                  <a:lnTo>
                    <a:pt x="50" y="108"/>
                  </a:lnTo>
                  <a:lnTo>
                    <a:pt x="52" y="107"/>
                  </a:lnTo>
                  <a:lnTo>
                    <a:pt x="53" y="107"/>
                  </a:lnTo>
                  <a:lnTo>
                    <a:pt x="53" y="106"/>
                  </a:lnTo>
                  <a:lnTo>
                    <a:pt x="53" y="107"/>
                  </a:lnTo>
                  <a:lnTo>
                    <a:pt x="55" y="107"/>
                  </a:lnTo>
                  <a:lnTo>
                    <a:pt x="55" y="106"/>
                  </a:lnTo>
                  <a:lnTo>
                    <a:pt x="56" y="106"/>
                  </a:lnTo>
                  <a:lnTo>
                    <a:pt x="57" y="106"/>
                  </a:lnTo>
                  <a:lnTo>
                    <a:pt x="59" y="106"/>
                  </a:lnTo>
                  <a:lnTo>
                    <a:pt x="59" y="105"/>
                  </a:lnTo>
                  <a:lnTo>
                    <a:pt x="61" y="105"/>
                  </a:lnTo>
                  <a:lnTo>
                    <a:pt x="62" y="105"/>
                  </a:lnTo>
                  <a:lnTo>
                    <a:pt x="63" y="103"/>
                  </a:lnTo>
                  <a:lnTo>
                    <a:pt x="64" y="103"/>
                  </a:lnTo>
                  <a:lnTo>
                    <a:pt x="65" y="102"/>
                  </a:lnTo>
                  <a:lnTo>
                    <a:pt x="67" y="102"/>
                  </a:lnTo>
                  <a:lnTo>
                    <a:pt x="68" y="102"/>
                  </a:lnTo>
                  <a:lnTo>
                    <a:pt x="69" y="102"/>
                  </a:lnTo>
                  <a:lnTo>
                    <a:pt x="71" y="102"/>
                  </a:lnTo>
                  <a:lnTo>
                    <a:pt x="73" y="102"/>
                  </a:lnTo>
                  <a:lnTo>
                    <a:pt x="74" y="101"/>
                  </a:lnTo>
                  <a:lnTo>
                    <a:pt x="75" y="101"/>
                  </a:lnTo>
                  <a:lnTo>
                    <a:pt x="76" y="101"/>
                  </a:lnTo>
                  <a:lnTo>
                    <a:pt x="79" y="101"/>
                  </a:lnTo>
                  <a:lnTo>
                    <a:pt x="80" y="100"/>
                  </a:lnTo>
                  <a:lnTo>
                    <a:pt x="81" y="101"/>
                  </a:lnTo>
                  <a:lnTo>
                    <a:pt x="82" y="101"/>
                  </a:lnTo>
                  <a:lnTo>
                    <a:pt x="82" y="100"/>
                  </a:lnTo>
                  <a:lnTo>
                    <a:pt x="83" y="100"/>
                  </a:lnTo>
                  <a:lnTo>
                    <a:pt x="85" y="100"/>
                  </a:lnTo>
                  <a:lnTo>
                    <a:pt x="86" y="100"/>
                  </a:lnTo>
                  <a:lnTo>
                    <a:pt x="87" y="100"/>
                  </a:lnTo>
                  <a:lnTo>
                    <a:pt x="88" y="100"/>
                  </a:lnTo>
                  <a:lnTo>
                    <a:pt x="88" y="99"/>
                  </a:lnTo>
                  <a:lnTo>
                    <a:pt x="89" y="99"/>
                  </a:lnTo>
                  <a:lnTo>
                    <a:pt x="89" y="97"/>
                  </a:lnTo>
                  <a:lnTo>
                    <a:pt x="91" y="97"/>
                  </a:lnTo>
                  <a:lnTo>
                    <a:pt x="92" y="97"/>
                  </a:lnTo>
                  <a:lnTo>
                    <a:pt x="92" y="96"/>
                  </a:lnTo>
                  <a:lnTo>
                    <a:pt x="93" y="95"/>
                  </a:lnTo>
                  <a:lnTo>
                    <a:pt x="94" y="95"/>
                  </a:lnTo>
                  <a:lnTo>
                    <a:pt x="94" y="93"/>
                  </a:lnTo>
                  <a:lnTo>
                    <a:pt x="94" y="91"/>
                  </a:lnTo>
                  <a:lnTo>
                    <a:pt x="93" y="93"/>
                  </a:lnTo>
                  <a:lnTo>
                    <a:pt x="93" y="91"/>
                  </a:lnTo>
                  <a:lnTo>
                    <a:pt x="93" y="90"/>
                  </a:lnTo>
                  <a:lnTo>
                    <a:pt x="92" y="91"/>
                  </a:lnTo>
                  <a:lnTo>
                    <a:pt x="93" y="93"/>
                  </a:lnTo>
                  <a:lnTo>
                    <a:pt x="93" y="94"/>
                  </a:lnTo>
                  <a:lnTo>
                    <a:pt x="93" y="95"/>
                  </a:lnTo>
                  <a:lnTo>
                    <a:pt x="92" y="95"/>
                  </a:lnTo>
                  <a:lnTo>
                    <a:pt x="92" y="96"/>
                  </a:lnTo>
                  <a:lnTo>
                    <a:pt x="91" y="97"/>
                  </a:lnTo>
                  <a:lnTo>
                    <a:pt x="91" y="96"/>
                  </a:lnTo>
                  <a:lnTo>
                    <a:pt x="89" y="97"/>
                  </a:lnTo>
                  <a:lnTo>
                    <a:pt x="88" y="97"/>
                  </a:lnTo>
                  <a:lnTo>
                    <a:pt x="89" y="96"/>
                  </a:lnTo>
                  <a:lnTo>
                    <a:pt x="89" y="95"/>
                  </a:lnTo>
                  <a:lnTo>
                    <a:pt x="89" y="94"/>
                  </a:lnTo>
                  <a:lnTo>
                    <a:pt x="89" y="93"/>
                  </a:lnTo>
                  <a:lnTo>
                    <a:pt x="89" y="91"/>
                  </a:lnTo>
                  <a:lnTo>
                    <a:pt x="88" y="93"/>
                  </a:lnTo>
                  <a:lnTo>
                    <a:pt x="89" y="93"/>
                  </a:lnTo>
                  <a:lnTo>
                    <a:pt x="88" y="93"/>
                  </a:lnTo>
                  <a:lnTo>
                    <a:pt x="88" y="94"/>
                  </a:lnTo>
                  <a:lnTo>
                    <a:pt x="88" y="93"/>
                  </a:lnTo>
                  <a:lnTo>
                    <a:pt x="87" y="93"/>
                  </a:lnTo>
                  <a:lnTo>
                    <a:pt x="87" y="94"/>
                  </a:lnTo>
                  <a:lnTo>
                    <a:pt x="87" y="95"/>
                  </a:lnTo>
                  <a:lnTo>
                    <a:pt x="86" y="95"/>
                  </a:lnTo>
                  <a:lnTo>
                    <a:pt x="86" y="94"/>
                  </a:lnTo>
                  <a:lnTo>
                    <a:pt x="86" y="95"/>
                  </a:lnTo>
                  <a:lnTo>
                    <a:pt x="85" y="95"/>
                  </a:lnTo>
                  <a:lnTo>
                    <a:pt x="85" y="96"/>
                  </a:lnTo>
                  <a:lnTo>
                    <a:pt x="85" y="95"/>
                  </a:lnTo>
                  <a:lnTo>
                    <a:pt x="83" y="95"/>
                  </a:lnTo>
                  <a:lnTo>
                    <a:pt x="85" y="96"/>
                  </a:lnTo>
                  <a:lnTo>
                    <a:pt x="85" y="97"/>
                  </a:lnTo>
                  <a:lnTo>
                    <a:pt x="83" y="97"/>
                  </a:lnTo>
                  <a:lnTo>
                    <a:pt x="83" y="96"/>
                  </a:lnTo>
                  <a:lnTo>
                    <a:pt x="83" y="95"/>
                  </a:lnTo>
                  <a:lnTo>
                    <a:pt x="83" y="96"/>
                  </a:lnTo>
                  <a:lnTo>
                    <a:pt x="83" y="97"/>
                  </a:lnTo>
                  <a:lnTo>
                    <a:pt x="82" y="97"/>
                  </a:lnTo>
                  <a:lnTo>
                    <a:pt x="82" y="99"/>
                  </a:lnTo>
                  <a:lnTo>
                    <a:pt x="82" y="97"/>
                  </a:lnTo>
                  <a:lnTo>
                    <a:pt x="81" y="97"/>
                  </a:lnTo>
                  <a:lnTo>
                    <a:pt x="81" y="96"/>
                  </a:lnTo>
                  <a:lnTo>
                    <a:pt x="80" y="96"/>
                  </a:lnTo>
                  <a:lnTo>
                    <a:pt x="81" y="95"/>
                  </a:lnTo>
                  <a:lnTo>
                    <a:pt x="81" y="94"/>
                  </a:lnTo>
                  <a:lnTo>
                    <a:pt x="81" y="95"/>
                  </a:lnTo>
                  <a:lnTo>
                    <a:pt x="80" y="94"/>
                  </a:lnTo>
                  <a:lnTo>
                    <a:pt x="80" y="93"/>
                  </a:lnTo>
                  <a:lnTo>
                    <a:pt x="79" y="94"/>
                  </a:lnTo>
                  <a:lnTo>
                    <a:pt x="79" y="93"/>
                  </a:lnTo>
                  <a:lnTo>
                    <a:pt x="79" y="91"/>
                  </a:lnTo>
                  <a:lnTo>
                    <a:pt x="77" y="91"/>
                  </a:lnTo>
                  <a:lnTo>
                    <a:pt x="77" y="88"/>
                  </a:lnTo>
                  <a:lnTo>
                    <a:pt x="77" y="87"/>
                  </a:lnTo>
                  <a:lnTo>
                    <a:pt x="77" y="88"/>
                  </a:lnTo>
                  <a:lnTo>
                    <a:pt x="76" y="88"/>
                  </a:lnTo>
                  <a:lnTo>
                    <a:pt x="76" y="87"/>
                  </a:lnTo>
                  <a:lnTo>
                    <a:pt x="75" y="87"/>
                  </a:lnTo>
                  <a:lnTo>
                    <a:pt x="75" y="88"/>
                  </a:lnTo>
                  <a:lnTo>
                    <a:pt x="75" y="89"/>
                  </a:lnTo>
                  <a:lnTo>
                    <a:pt x="74" y="89"/>
                  </a:lnTo>
                  <a:lnTo>
                    <a:pt x="74" y="88"/>
                  </a:lnTo>
                  <a:lnTo>
                    <a:pt x="74" y="87"/>
                  </a:lnTo>
                  <a:lnTo>
                    <a:pt x="74" y="85"/>
                  </a:lnTo>
                  <a:lnTo>
                    <a:pt x="73" y="85"/>
                  </a:lnTo>
                  <a:lnTo>
                    <a:pt x="73" y="84"/>
                  </a:lnTo>
                  <a:lnTo>
                    <a:pt x="74" y="83"/>
                  </a:lnTo>
                  <a:lnTo>
                    <a:pt x="74" y="82"/>
                  </a:lnTo>
                  <a:lnTo>
                    <a:pt x="73" y="82"/>
                  </a:lnTo>
                  <a:lnTo>
                    <a:pt x="73" y="83"/>
                  </a:lnTo>
                  <a:lnTo>
                    <a:pt x="71" y="83"/>
                  </a:lnTo>
                  <a:lnTo>
                    <a:pt x="70" y="82"/>
                  </a:lnTo>
                  <a:lnTo>
                    <a:pt x="70" y="84"/>
                  </a:lnTo>
                  <a:lnTo>
                    <a:pt x="70" y="83"/>
                  </a:lnTo>
                  <a:lnTo>
                    <a:pt x="70" y="82"/>
                  </a:lnTo>
                  <a:lnTo>
                    <a:pt x="69" y="81"/>
                  </a:lnTo>
                  <a:lnTo>
                    <a:pt x="69" y="79"/>
                  </a:lnTo>
                  <a:lnTo>
                    <a:pt x="69" y="78"/>
                  </a:lnTo>
                  <a:lnTo>
                    <a:pt x="68" y="78"/>
                  </a:lnTo>
                  <a:lnTo>
                    <a:pt x="68" y="79"/>
                  </a:lnTo>
                  <a:lnTo>
                    <a:pt x="67" y="79"/>
                  </a:lnTo>
                  <a:lnTo>
                    <a:pt x="67" y="78"/>
                  </a:lnTo>
                  <a:lnTo>
                    <a:pt x="67" y="77"/>
                  </a:lnTo>
                  <a:lnTo>
                    <a:pt x="67" y="76"/>
                  </a:lnTo>
                  <a:lnTo>
                    <a:pt x="65" y="76"/>
                  </a:lnTo>
                  <a:lnTo>
                    <a:pt x="67" y="76"/>
                  </a:lnTo>
                  <a:lnTo>
                    <a:pt x="67" y="75"/>
                  </a:lnTo>
                  <a:lnTo>
                    <a:pt x="68" y="75"/>
                  </a:lnTo>
                  <a:lnTo>
                    <a:pt x="68" y="73"/>
                  </a:lnTo>
                  <a:lnTo>
                    <a:pt x="67" y="73"/>
                  </a:lnTo>
                  <a:lnTo>
                    <a:pt x="65" y="75"/>
                  </a:lnTo>
                  <a:lnTo>
                    <a:pt x="65" y="76"/>
                  </a:lnTo>
                  <a:lnTo>
                    <a:pt x="65" y="75"/>
                  </a:lnTo>
                  <a:lnTo>
                    <a:pt x="65" y="76"/>
                  </a:lnTo>
                  <a:lnTo>
                    <a:pt x="65" y="75"/>
                  </a:lnTo>
                  <a:lnTo>
                    <a:pt x="65" y="73"/>
                  </a:lnTo>
                  <a:lnTo>
                    <a:pt x="64" y="73"/>
                  </a:lnTo>
                  <a:lnTo>
                    <a:pt x="65" y="73"/>
                  </a:lnTo>
                  <a:lnTo>
                    <a:pt x="65" y="72"/>
                  </a:lnTo>
                  <a:lnTo>
                    <a:pt x="67" y="72"/>
                  </a:lnTo>
                  <a:lnTo>
                    <a:pt x="65" y="72"/>
                  </a:lnTo>
                  <a:lnTo>
                    <a:pt x="64" y="72"/>
                  </a:lnTo>
                  <a:lnTo>
                    <a:pt x="65" y="72"/>
                  </a:lnTo>
                  <a:lnTo>
                    <a:pt x="65" y="71"/>
                  </a:lnTo>
                  <a:lnTo>
                    <a:pt x="64" y="71"/>
                  </a:lnTo>
                  <a:lnTo>
                    <a:pt x="63" y="71"/>
                  </a:lnTo>
                  <a:lnTo>
                    <a:pt x="63" y="70"/>
                  </a:lnTo>
                  <a:lnTo>
                    <a:pt x="62" y="70"/>
                  </a:lnTo>
                  <a:lnTo>
                    <a:pt x="62" y="71"/>
                  </a:lnTo>
                  <a:lnTo>
                    <a:pt x="62" y="70"/>
                  </a:lnTo>
                  <a:lnTo>
                    <a:pt x="61" y="70"/>
                  </a:lnTo>
                  <a:lnTo>
                    <a:pt x="61" y="69"/>
                  </a:lnTo>
                  <a:lnTo>
                    <a:pt x="63" y="69"/>
                  </a:lnTo>
                  <a:lnTo>
                    <a:pt x="64" y="70"/>
                  </a:lnTo>
                  <a:lnTo>
                    <a:pt x="65" y="70"/>
                  </a:lnTo>
                  <a:lnTo>
                    <a:pt x="67" y="70"/>
                  </a:lnTo>
                  <a:lnTo>
                    <a:pt x="67" y="71"/>
                  </a:lnTo>
                  <a:lnTo>
                    <a:pt x="68" y="71"/>
                  </a:lnTo>
                  <a:lnTo>
                    <a:pt x="69" y="71"/>
                  </a:lnTo>
                  <a:lnTo>
                    <a:pt x="69" y="70"/>
                  </a:lnTo>
                  <a:lnTo>
                    <a:pt x="68" y="70"/>
                  </a:lnTo>
                  <a:lnTo>
                    <a:pt x="68" y="69"/>
                  </a:lnTo>
                  <a:lnTo>
                    <a:pt x="67" y="69"/>
                  </a:lnTo>
                  <a:lnTo>
                    <a:pt x="65" y="69"/>
                  </a:lnTo>
                  <a:lnTo>
                    <a:pt x="64" y="69"/>
                  </a:lnTo>
                  <a:lnTo>
                    <a:pt x="65" y="67"/>
                  </a:lnTo>
                  <a:lnTo>
                    <a:pt x="64" y="67"/>
                  </a:lnTo>
                  <a:lnTo>
                    <a:pt x="65" y="67"/>
                  </a:lnTo>
                  <a:lnTo>
                    <a:pt x="67" y="67"/>
                  </a:lnTo>
                  <a:lnTo>
                    <a:pt x="68" y="67"/>
                  </a:lnTo>
                  <a:lnTo>
                    <a:pt x="68" y="69"/>
                  </a:lnTo>
                  <a:lnTo>
                    <a:pt x="69" y="70"/>
                  </a:lnTo>
                  <a:lnTo>
                    <a:pt x="69" y="69"/>
                  </a:lnTo>
                  <a:lnTo>
                    <a:pt x="68" y="69"/>
                  </a:lnTo>
                  <a:lnTo>
                    <a:pt x="69" y="69"/>
                  </a:lnTo>
                  <a:lnTo>
                    <a:pt x="69" y="67"/>
                  </a:lnTo>
                  <a:lnTo>
                    <a:pt x="70" y="67"/>
                  </a:lnTo>
                  <a:lnTo>
                    <a:pt x="70" y="69"/>
                  </a:lnTo>
                  <a:lnTo>
                    <a:pt x="70" y="70"/>
                  </a:lnTo>
                  <a:lnTo>
                    <a:pt x="71" y="71"/>
                  </a:lnTo>
                  <a:lnTo>
                    <a:pt x="73" y="71"/>
                  </a:lnTo>
                  <a:lnTo>
                    <a:pt x="73" y="70"/>
                  </a:lnTo>
                  <a:lnTo>
                    <a:pt x="74" y="70"/>
                  </a:lnTo>
                  <a:lnTo>
                    <a:pt x="75" y="70"/>
                  </a:lnTo>
                  <a:lnTo>
                    <a:pt x="75" y="69"/>
                  </a:lnTo>
                  <a:lnTo>
                    <a:pt x="74" y="69"/>
                  </a:lnTo>
                  <a:lnTo>
                    <a:pt x="74" y="67"/>
                  </a:lnTo>
                  <a:lnTo>
                    <a:pt x="73" y="67"/>
                  </a:lnTo>
                  <a:lnTo>
                    <a:pt x="71" y="67"/>
                  </a:lnTo>
                  <a:lnTo>
                    <a:pt x="71" y="66"/>
                  </a:lnTo>
                  <a:lnTo>
                    <a:pt x="70" y="66"/>
                  </a:lnTo>
                  <a:lnTo>
                    <a:pt x="71" y="66"/>
                  </a:lnTo>
                  <a:lnTo>
                    <a:pt x="71" y="65"/>
                  </a:lnTo>
                  <a:lnTo>
                    <a:pt x="71" y="64"/>
                  </a:lnTo>
                  <a:lnTo>
                    <a:pt x="73" y="65"/>
                  </a:lnTo>
                  <a:lnTo>
                    <a:pt x="74" y="65"/>
                  </a:lnTo>
                  <a:lnTo>
                    <a:pt x="74" y="66"/>
                  </a:lnTo>
                  <a:lnTo>
                    <a:pt x="75" y="66"/>
                  </a:lnTo>
                  <a:lnTo>
                    <a:pt x="75" y="65"/>
                  </a:lnTo>
                  <a:lnTo>
                    <a:pt x="75" y="66"/>
                  </a:lnTo>
                  <a:lnTo>
                    <a:pt x="76" y="66"/>
                  </a:lnTo>
                  <a:lnTo>
                    <a:pt x="77" y="67"/>
                  </a:lnTo>
                  <a:lnTo>
                    <a:pt x="79" y="66"/>
                  </a:lnTo>
                  <a:lnTo>
                    <a:pt x="80" y="66"/>
                  </a:lnTo>
                  <a:lnTo>
                    <a:pt x="80" y="65"/>
                  </a:lnTo>
                  <a:lnTo>
                    <a:pt x="81" y="65"/>
                  </a:lnTo>
                  <a:lnTo>
                    <a:pt x="80" y="64"/>
                  </a:lnTo>
                  <a:lnTo>
                    <a:pt x="81" y="64"/>
                  </a:lnTo>
                  <a:lnTo>
                    <a:pt x="80" y="64"/>
                  </a:lnTo>
                  <a:lnTo>
                    <a:pt x="80" y="63"/>
                  </a:lnTo>
                  <a:lnTo>
                    <a:pt x="81" y="63"/>
                  </a:lnTo>
                  <a:lnTo>
                    <a:pt x="81" y="61"/>
                  </a:lnTo>
                  <a:lnTo>
                    <a:pt x="80" y="61"/>
                  </a:lnTo>
                  <a:lnTo>
                    <a:pt x="80" y="63"/>
                  </a:lnTo>
                  <a:lnTo>
                    <a:pt x="80" y="61"/>
                  </a:lnTo>
                  <a:lnTo>
                    <a:pt x="79" y="61"/>
                  </a:lnTo>
                  <a:lnTo>
                    <a:pt x="80" y="61"/>
                  </a:lnTo>
                  <a:lnTo>
                    <a:pt x="79" y="61"/>
                  </a:lnTo>
                  <a:lnTo>
                    <a:pt x="77" y="61"/>
                  </a:lnTo>
                  <a:lnTo>
                    <a:pt x="77" y="60"/>
                  </a:lnTo>
                  <a:lnTo>
                    <a:pt x="77" y="59"/>
                  </a:lnTo>
                  <a:lnTo>
                    <a:pt x="76" y="59"/>
                  </a:lnTo>
                  <a:lnTo>
                    <a:pt x="76" y="60"/>
                  </a:lnTo>
                  <a:lnTo>
                    <a:pt x="75" y="60"/>
                  </a:lnTo>
                  <a:lnTo>
                    <a:pt x="75" y="59"/>
                  </a:lnTo>
                  <a:lnTo>
                    <a:pt x="75" y="58"/>
                  </a:lnTo>
                  <a:lnTo>
                    <a:pt x="74" y="58"/>
                  </a:lnTo>
                  <a:lnTo>
                    <a:pt x="74" y="57"/>
                  </a:lnTo>
                  <a:lnTo>
                    <a:pt x="74" y="58"/>
                  </a:lnTo>
                  <a:lnTo>
                    <a:pt x="74" y="57"/>
                  </a:lnTo>
                  <a:lnTo>
                    <a:pt x="74" y="55"/>
                  </a:lnTo>
                  <a:lnTo>
                    <a:pt x="74" y="57"/>
                  </a:lnTo>
                  <a:lnTo>
                    <a:pt x="73" y="57"/>
                  </a:lnTo>
                  <a:lnTo>
                    <a:pt x="71" y="57"/>
                  </a:lnTo>
                  <a:lnTo>
                    <a:pt x="73" y="57"/>
                  </a:lnTo>
                  <a:lnTo>
                    <a:pt x="73" y="55"/>
                  </a:lnTo>
                  <a:lnTo>
                    <a:pt x="74" y="55"/>
                  </a:lnTo>
                  <a:lnTo>
                    <a:pt x="74" y="54"/>
                  </a:lnTo>
                  <a:lnTo>
                    <a:pt x="73" y="54"/>
                  </a:lnTo>
                  <a:lnTo>
                    <a:pt x="71" y="55"/>
                  </a:lnTo>
                  <a:lnTo>
                    <a:pt x="73" y="54"/>
                  </a:lnTo>
                  <a:lnTo>
                    <a:pt x="71" y="53"/>
                  </a:lnTo>
                  <a:lnTo>
                    <a:pt x="70" y="54"/>
                  </a:lnTo>
                  <a:lnTo>
                    <a:pt x="71" y="53"/>
                  </a:lnTo>
                  <a:lnTo>
                    <a:pt x="70" y="53"/>
                  </a:lnTo>
                  <a:lnTo>
                    <a:pt x="69" y="53"/>
                  </a:lnTo>
                  <a:lnTo>
                    <a:pt x="69" y="52"/>
                  </a:lnTo>
                  <a:lnTo>
                    <a:pt x="68" y="52"/>
                  </a:lnTo>
                  <a:lnTo>
                    <a:pt x="68" y="51"/>
                  </a:lnTo>
                  <a:lnTo>
                    <a:pt x="67" y="51"/>
                  </a:lnTo>
                  <a:lnTo>
                    <a:pt x="65" y="51"/>
                  </a:lnTo>
                  <a:lnTo>
                    <a:pt x="67" y="51"/>
                  </a:lnTo>
                  <a:lnTo>
                    <a:pt x="67" y="49"/>
                  </a:lnTo>
                  <a:lnTo>
                    <a:pt x="65" y="49"/>
                  </a:lnTo>
                  <a:lnTo>
                    <a:pt x="67" y="49"/>
                  </a:lnTo>
                  <a:lnTo>
                    <a:pt x="68" y="51"/>
                  </a:lnTo>
                  <a:lnTo>
                    <a:pt x="69" y="51"/>
                  </a:lnTo>
                  <a:lnTo>
                    <a:pt x="69" y="52"/>
                  </a:lnTo>
                  <a:lnTo>
                    <a:pt x="70" y="52"/>
                  </a:lnTo>
                  <a:lnTo>
                    <a:pt x="71" y="52"/>
                  </a:lnTo>
                  <a:lnTo>
                    <a:pt x="71" y="51"/>
                  </a:lnTo>
                  <a:lnTo>
                    <a:pt x="71" y="52"/>
                  </a:lnTo>
                  <a:lnTo>
                    <a:pt x="71" y="53"/>
                  </a:lnTo>
                  <a:lnTo>
                    <a:pt x="73" y="53"/>
                  </a:lnTo>
                  <a:lnTo>
                    <a:pt x="73" y="52"/>
                  </a:lnTo>
                  <a:lnTo>
                    <a:pt x="73" y="53"/>
                  </a:lnTo>
                  <a:lnTo>
                    <a:pt x="74" y="53"/>
                  </a:lnTo>
                  <a:lnTo>
                    <a:pt x="75" y="54"/>
                  </a:lnTo>
                  <a:lnTo>
                    <a:pt x="75" y="53"/>
                  </a:lnTo>
                  <a:lnTo>
                    <a:pt x="75" y="54"/>
                  </a:lnTo>
                  <a:lnTo>
                    <a:pt x="77" y="55"/>
                  </a:lnTo>
                  <a:lnTo>
                    <a:pt x="79" y="55"/>
                  </a:lnTo>
                  <a:lnTo>
                    <a:pt x="79" y="57"/>
                  </a:lnTo>
                  <a:lnTo>
                    <a:pt x="80" y="57"/>
                  </a:lnTo>
                  <a:lnTo>
                    <a:pt x="81" y="57"/>
                  </a:lnTo>
                  <a:lnTo>
                    <a:pt x="82" y="57"/>
                  </a:lnTo>
                  <a:lnTo>
                    <a:pt x="83" y="57"/>
                  </a:lnTo>
                  <a:lnTo>
                    <a:pt x="85" y="55"/>
                  </a:lnTo>
                  <a:lnTo>
                    <a:pt x="86" y="55"/>
                  </a:lnTo>
                  <a:lnTo>
                    <a:pt x="87" y="55"/>
                  </a:lnTo>
                  <a:lnTo>
                    <a:pt x="87" y="54"/>
                  </a:lnTo>
                  <a:lnTo>
                    <a:pt x="86" y="54"/>
                  </a:lnTo>
                  <a:lnTo>
                    <a:pt x="85" y="54"/>
                  </a:lnTo>
                  <a:lnTo>
                    <a:pt x="86" y="54"/>
                  </a:lnTo>
                  <a:lnTo>
                    <a:pt x="87" y="53"/>
                  </a:lnTo>
                  <a:lnTo>
                    <a:pt x="87" y="52"/>
                  </a:lnTo>
                  <a:lnTo>
                    <a:pt x="86" y="52"/>
                  </a:lnTo>
                  <a:lnTo>
                    <a:pt x="86" y="51"/>
                  </a:lnTo>
                  <a:lnTo>
                    <a:pt x="87" y="51"/>
                  </a:lnTo>
                  <a:lnTo>
                    <a:pt x="88" y="52"/>
                  </a:lnTo>
                  <a:lnTo>
                    <a:pt x="89" y="49"/>
                  </a:lnTo>
                  <a:lnTo>
                    <a:pt x="91" y="49"/>
                  </a:lnTo>
                  <a:lnTo>
                    <a:pt x="91" y="48"/>
                  </a:lnTo>
                  <a:lnTo>
                    <a:pt x="92" y="48"/>
                  </a:lnTo>
                  <a:lnTo>
                    <a:pt x="93" y="47"/>
                  </a:lnTo>
                  <a:lnTo>
                    <a:pt x="93" y="46"/>
                  </a:lnTo>
                  <a:lnTo>
                    <a:pt x="92" y="46"/>
                  </a:lnTo>
                  <a:lnTo>
                    <a:pt x="93" y="46"/>
                  </a:lnTo>
                  <a:lnTo>
                    <a:pt x="93" y="45"/>
                  </a:lnTo>
                  <a:lnTo>
                    <a:pt x="92" y="45"/>
                  </a:lnTo>
                  <a:lnTo>
                    <a:pt x="91" y="45"/>
                  </a:lnTo>
                  <a:lnTo>
                    <a:pt x="91" y="46"/>
                  </a:lnTo>
                  <a:lnTo>
                    <a:pt x="91" y="45"/>
                  </a:lnTo>
                  <a:lnTo>
                    <a:pt x="91" y="46"/>
                  </a:lnTo>
                  <a:lnTo>
                    <a:pt x="89" y="46"/>
                  </a:lnTo>
                  <a:lnTo>
                    <a:pt x="89" y="45"/>
                  </a:lnTo>
                  <a:lnTo>
                    <a:pt x="88" y="46"/>
                  </a:lnTo>
                  <a:lnTo>
                    <a:pt x="89" y="45"/>
                  </a:lnTo>
                  <a:lnTo>
                    <a:pt x="88" y="45"/>
                  </a:lnTo>
                  <a:lnTo>
                    <a:pt x="87" y="45"/>
                  </a:lnTo>
                  <a:lnTo>
                    <a:pt x="87" y="43"/>
                  </a:lnTo>
                  <a:lnTo>
                    <a:pt x="87" y="42"/>
                  </a:lnTo>
                  <a:lnTo>
                    <a:pt x="87" y="41"/>
                  </a:lnTo>
                  <a:lnTo>
                    <a:pt x="88" y="42"/>
                  </a:lnTo>
                  <a:lnTo>
                    <a:pt x="88" y="41"/>
                  </a:lnTo>
                  <a:lnTo>
                    <a:pt x="87" y="41"/>
                  </a:lnTo>
                  <a:lnTo>
                    <a:pt x="87" y="40"/>
                  </a:lnTo>
                  <a:lnTo>
                    <a:pt x="86" y="41"/>
                  </a:lnTo>
                  <a:lnTo>
                    <a:pt x="86" y="40"/>
                  </a:lnTo>
                  <a:lnTo>
                    <a:pt x="87" y="40"/>
                  </a:lnTo>
                  <a:lnTo>
                    <a:pt x="86" y="40"/>
                  </a:lnTo>
                  <a:lnTo>
                    <a:pt x="86" y="37"/>
                  </a:lnTo>
                  <a:lnTo>
                    <a:pt x="86" y="39"/>
                  </a:lnTo>
                  <a:lnTo>
                    <a:pt x="85" y="39"/>
                  </a:lnTo>
                  <a:lnTo>
                    <a:pt x="85" y="40"/>
                  </a:lnTo>
                  <a:lnTo>
                    <a:pt x="85" y="39"/>
                  </a:lnTo>
                  <a:lnTo>
                    <a:pt x="83" y="39"/>
                  </a:lnTo>
                  <a:lnTo>
                    <a:pt x="85" y="39"/>
                  </a:lnTo>
                  <a:lnTo>
                    <a:pt x="85" y="37"/>
                  </a:lnTo>
                  <a:lnTo>
                    <a:pt x="83" y="37"/>
                  </a:lnTo>
                  <a:lnTo>
                    <a:pt x="85" y="37"/>
                  </a:lnTo>
                  <a:lnTo>
                    <a:pt x="86" y="37"/>
                  </a:lnTo>
                  <a:lnTo>
                    <a:pt x="86" y="36"/>
                  </a:lnTo>
                  <a:lnTo>
                    <a:pt x="85" y="36"/>
                  </a:lnTo>
                  <a:lnTo>
                    <a:pt x="83" y="36"/>
                  </a:lnTo>
                  <a:lnTo>
                    <a:pt x="85" y="36"/>
                  </a:lnTo>
                  <a:lnTo>
                    <a:pt x="83" y="36"/>
                  </a:lnTo>
                  <a:lnTo>
                    <a:pt x="82" y="36"/>
                  </a:lnTo>
                  <a:lnTo>
                    <a:pt x="83" y="35"/>
                  </a:lnTo>
                  <a:lnTo>
                    <a:pt x="82" y="35"/>
                  </a:lnTo>
                  <a:lnTo>
                    <a:pt x="83" y="35"/>
                  </a:lnTo>
                  <a:lnTo>
                    <a:pt x="82" y="35"/>
                  </a:lnTo>
                  <a:lnTo>
                    <a:pt x="81" y="35"/>
                  </a:lnTo>
                  <a:lnTo>
                    <a:pt x="80" y="35"/>
                  </a:lnTo>
                  <a:lnTo>
                    <a:pt x="80" y="34"/>
                  </a:lnTo>
                  <a:lnTo>
                    <a:pt x="81" y="34"/>
                  </a:lnTo>
                  <a:lnTo>
                    <a:pt x="82" y="34"/>
                  </a:lnTo>
                  <a:lnTo>
                    <a:pt x="81" y="33"/>
                  </a:lnTo>
                  <a:lnTo>
                    <a:pt x="81" y="34"/>
                  </a:lnTo>
                  <a:lnTo>
                    <a:pt x="80" y="34"/>
                  </a:lnTo>
                  <a:lnTo>
                    <a:pt x="80" y="33"/>
                  </a:lnTo>
                  <a:lnTo>
                    <a:pt x="79" y="33"/>
                  </a:lnTo>
                  <a:lnTo>
                    <a:pt x="79" y="34"/>
                  </a:lnTo>
                  <a:lnTo>
                    <a:pt x="79" y="33"/>
                  </a:lnTo>
                  <a:lnTo>
                    <a:pt x="77" y="33"/>
                  </a:lnTo>
                  <a:lnTo>
                    <a:pt x="76" y="33"/>
                  </a:lnTo>
                  <a:lnTo>
                    <a:pt x="77" y="33"/>
                  </a:lnTo>
                  <a:lnTo>
                    <a:pt x="77" y="31"/>
                  </a:lnTo>
                  <a:lnTo>
                    <a:pt x="75" y="30"/>
                  </a:lnTo>
                  <a:lnTo>
                    <a:pt x="76" y="30"/>
                  </a:lnTo>
                  <a:lnTo>
                    <a:pt x="77" y="31"/>
                  </a:lnTo>
                  <a:lnTo>
                    <a:pt x="79" y="31"/>
                  </a:lnTo>
                  <a:lnTo>
                    <a:pt x="77" y="30"/>
                  </a:lnTo>
                  <a:lnTo>
                    <a:pt x="79" y="31"/>
                  </a:lnTo>
                  <a:lnTo>
                    <a:pt x="80" y="31"/>
                  </a:lnTo>
                  <a:lnTo>
                    <a:pt x="80" y="33"/>
                  </a:lnTo>
                  <a:lnTo>
                    <a:pt x="81" y="31"/>
                  </a:lnTo>
                  <a:lnTo>
                    <a:pt x="81" y="33"/>
                  </a:lnTo>
                  <a:lnTo>
                    <a:pt x="82" y="33"/>
                  </a:lnTo>
                  <a:lnTo>
                    <a:pt x="81" y="33"/>
                  </a:lnTo>
                  <a:lnTo>
                    <a:pt x="82" y="33"/>
                  </a:lnTo>
                  <a:lnTo>
                    <a:pt x="82" y="31"/>
                  </a:lnTo>
                  <a:lnTo>
                    <a:pt x="82" y="33"/>
                  </a:lnTo>
                  <a:lnTo>
                    <a:pt x="83" y="33"/>
                  </a:lnTo>
                  <a:lnTo>
                    <a:pt x="83" y="34"/>
                  </a:lnTo>
                  <a:lnTo>
                    <a:pt x="85" y="35"/>
                  </a:lnTo>
                  <a:lnTo>
                    <a:pt x="85" y="34"/>
                  </a:lnTo>
                  <a:lnTo>
                    <a:pt x="85" y="35"/>
                  </a:lnTo>
                  <a:lnTo>
                    <a:pt x="86" y="35"/>
                  </a:lnTo>
                  <a:lnTo>
                    <a:pt x="86" y="36"/>
                  </a:lnTo>
                  <a:lnTo>
                    <a:pt x="87" y="36"/>
                  </a:lnTo>
                  <a:lnTo>
                    <a:pt x="87" y="35"/>
                  </a:lnTo>
                  <a:lnTo>
                    <a:pt x="87" y="36"/>
                  </a:lnTo>
                  <a:lnTo>
                    <a:pt x="86" y="36"/>
                  </a:lnTo>
                  <a:lnTo>
                    <a:pt x="87" y="35"/>
                  </a:lnTo>
                  <a:lnTo>
                    <a:pt x="87" y="34"/>
                  </a:lnTo>
                  <a:lnTo>
                    <a:pt x="87" y="35"/>
                  </a:lnTo>
                  <a:lnTo>
                    <a:pt x="88" y="35"/>
                  </a:lnTo>
                  <a:lnTo>
                    <a:pt x="88" y="34"/>
                  </a:lnTo>
                  <a:lnTo>
                    <a:pt x="88" y="35"/>
                  </a:lnTo>
                  <a:lnTo>
                    <a:pt x="88" y="36"/>
                  </a:lnTo>
                  <a:lnTo>
                    <a:pt x="87" y="36"/>
                  </a:lnTo>
                  <a:lnTo>
                    <a:pt x="87" y="37"/>
                  </a:lnTo>
                  <a:lnTo>
                    <a:pt x="88" y="37"/>
                  </a:lnTo>
                  <a:lnTo>
                    <a:pt x="88" y="39"/>
                  </a:lnTo>
                  <a:lnTo>
                    <a:pt x="89" y="39"/>
                  </a:lnTo>
                  <a:lnTo>
                    <a:pt x="91" y="40"/>
                  </a:lnTo>
                  <a:lnTo>
                    <a:pt x="92" y="40"/>
                  </a:lnTo>
                  <a:lnTo>
                    <a:pt x="93" y="39"/>
                  </a:lnTo>
                  <a:lnTo>
                    <a:pt x="93" y="37"/>
                  </a:lnTo>
                  <a:lnTo>
                    <a:pt x="93" y="39"/>
                  </a:lnTo>
                  <a:lnTo>
                    <a:pt x="92" y="37"/>
                  </a:lnTo>
                  <a:lnTo>
                    <a:pt x="93" y="37"/>
                  </a:lnTo>
                  <a:lnTo>
                    <a:pt x="93" y="36"/>
                  </a:lnTo>
                  <a:lnTo>
                    <a:pt x="92" y="36"/>
                  </a:lnTo>
                  <a:lnTo>
                    <a:pt x="92" y="35"/>
                  </a:lnTo>
                  <a:lnTo>
                    <a:pt x="93" y="35"/>
                  </a:lnTo>
                  <a:lnTo>
                    <a:pt x="94" y="35"/>
                  </a:lnTo>
                  <a:lnTo>
                    <a:pt x="94" y="34"/>
                  </a:lnTo>
                  <a:lnTo>
                    <a:pt x="93" y="34"/>
                  </a:lnTo>
                  <a:lnTo>
                    <a:pt x="92" y="34"/>
                  </a:lnTo>
                  <a:lnTo>
                    <a:pt x="92" y="33"/>
                  </a:lnTo>
                  <a:lnTo>
                    <a:pt x="93" y="33"/>
                  </a:lnTo>
                  <a:lnTo>
                    <a:pt x="92" y="33"/>
                  </a:lnTo>
                  <a:lnTo>
                    <a:pt x="91" y="33"/>
                  </a:lnTo>
                  <a:lnTo>
                    <a:pt x="89" y="33"/>
                  </a:lnTo>
                  <a:lnTo>
                    <a:pt x="89" y="34"/>
                  </a:lnTo>
                  <a:lnTo>
                    <a:pt x="89" y="33"/>
                  </a:lnTo>
                  <a:lnTo>
                    <a:pt x="91" y="31"/>
                  </a:lnTo>
                  <a:lnTo>
                    <a:pt x="89" y="31"/>
                  </a:lnTo>
                  <a:lnTo>
                    <a:pt x="89" y="30"/>
                  </a:lnTo>
                  <a:lnTo>
                    <a:pt x="89" y="31"/>
                  </a:lnTo>
                  <a:lnTo>
                    <a:pt x="89" y="33"/>
                  </a:lnTo>
                  <a:lnTo>
                    <a:pt x="88" y="33"/>
                  </a:lnTo>
                  <a:lnTo>
                    <a:pt x="88" y="31"/>
                  </a:lnTo>
                  <a:lnTo>
                    <a:pt x="87" y="30"/>
                  </a:lnTo>
                  <a:lnTo>
                    <a:pt x="88" y="30"/>
                  </a:lnTo>
                  <a:lnTo>
                    <a:pt x="88" y="29"/>
                  </a:lnTo>
                  <a:lnTo>
                    <a:pt x="87" y="29"/>
                  </a:lnTo>
                  <a:lnTo>
                    <a:pt x="86" y="29"/>
                  </a:lnTo>
                  <a:lnTo>
                    <a:pt x="86" y="28"/>
                  </a:lnTo>
                  <a:lnTo>
                    <a:pt x="87" y="28"/>
                  </a:lnTo>
                  <a:lnTo>
                    <a:pt x="86" y="27"/>
                  </a:lnTo>
                  <a:lnTo>
                    <a:pt x="85" y="27"/>
                  </a:lnTo>
                  <a:lnTo>
                    <a:pt x="83" y="27"/>
                  </a:lnTo>
                  <a:lnTo>
                    <a:pt x="83" y="28"/>
                  </a:lnTo>
                  <a:lnTo>
                    <a:pt x="82" y="28"/>
                  </a:lnTo>
                  <a:lnTo>
                    <a:pt x="82" y="27"/>
                  </a:lnTo>
                  <a:lnTo>
                    <a:pt x="83" y="27"/>
                  </a:lnTo>
                  <a:lnTo>
                    <a:pt x="83" y="25"/>
                  </a:lnTo>
                  <a:lnTo>
                    <a:pt x="83" y="27"/>
                  </a:lnTo>
                  <a:lnTo>
                    <a:pt x="82" y="27"/>
                  </a:lnTo>
                  <a:lnTo>
                    <a:pt x="83" y="25"/>
                  </a:lnTo>
                  <a:lnTo>
                    <a:pt x="82" y="25"/>
                  </a:lnTo>
                  <a:lnTo>
                    <a:pt x="81" y="27"/>
                  </a:lnTo>
                  <a:lnTo>
                    <a:pt x="81" y="25"/>
                  </a:lnTo>
                  <a:lnTo>
                    <a:pt x="81" y="24"/>
                  </a:lnTo>
                  <a:lnTo>
                    <a:pt x="81" y="25"/>
                  </a:lnTo>
                  <a:lnTo>
                    <a:pt x="80" y="25"/>
                  </a:lnTo>
                  <a:lnTo>
                    <a:pt x="80" y="24"/>
                  </a:lnTo>
                  <a:lnTo>
                    <a:pt x="81" y="24"/>
                  </a:lnTo>
                  <a:lnTo>
                    <a:pt x="80" y="24"/>
                  </a:lnTo>
                  <a:lnTo>
                    <a:pt x="79" y="23"/>
                  </a:lnTo>
                  <a:lnTo>
                    <a:pt x="80" y="23"/>
                  </a:lnTo>
                  <a:lnTo>
                    <a:pt x="81" y="24"/>
                  </a:lnTo>
                  <a:lnTo>
                    <a:pt x="81" y="23"/>
                  </a:lnTo>
                  <a:lnTo>
                    <a:pt x="80" y="23"/>
                  </a:lnTo>
                  <a:lnTo>
                    <a:pt x="81" y="23"/>
                  </a:lnTo>
                  <a:lnTo>
                    <a:pt x="82" y="23"/>
                  </a:lnTo>
                  <a:lnTo>
                    <a:pt x="82" y="24"/>
                  </a:lnTo>
                  <a:lnTo>
                    <a:pt x="83" y="24"/>
                  </a:lnTo>
                  <a:lnTo>
                    <a:pt x="85" y="24"/>
                  </a:lnTo>
                  <a:lnTo>
                    <a:pt x="85" y="25"/>
                  </a:lnTo>
                  <a:lnTo>
                    <a:pt x="85" y="24"/>
                  </a:lnTo>
                  <a:lnTo>
                    <a:pt x="86" y="24"/>
                  </a:lnTo>
                  <a:lnTo>
                    <a:pt x="86" y="25"/>
                  </a:lnTo>
                  <a:lnTo>
                    <a:pt x="87" y="25"/>
                  </a:lnTo>
                  <a:lnTo>
                    <a:pt x="87" y="27"/>
                  </a:lnTo>
                  <a:lnTo>
                    <a:pt x="88" y="27"/>
                  </a:lnTo>
                  <a:lnTo>
                    <a:pt x="89" y="27"/>
                  </a:lnTo>
                  <a:lnTo>
                    <a:pt x="91" y="28"/>
                  </a:lnTo>
                  <a:lnTo>
                    <a:pt x="92" y="29"/>
                  </a:lnTo>
                  <a:lnTo>
                    <a:pt x="92" y="28"/>
                  </a:lnTo>
                  <a:lnTo>
                    <a:pt x="92" y="27"/>
                  </a:lnTo>
                  <a:lnTo>
                    <a:pt x="91" y="27"/>
                  </a:lnTo>
                  <a:lnTo>
                    <a:pt x="89" y="27"/>
                  </a:lnTo>
                  <a:lnTo>
                    <a:pt x="91" y="25"/>
                  </a:lnTo>
                  <a:lnTo>
                    <a:pt x="91" y="27"/>
                  </a:lnTo>
                  <a:lnTo>
                    <a:pt x="92" y="27"/>
                  </a:lnTo>
                  <a:lnTo>
                    <a:pt x="92" y="25"/>
                  </a:lnTo>
                  <a:lnTo>
                    <a:pt x="93" y="25"/>
                  </a:lnTo>
                  <a:lnTo>
                    <a:pt x="94" y="25"/>
                  </a:lnTo>
                  <a:lnTo>
                    <a:pt x="96" y="25"/>
                  </a:lnTo>
                  <a:lnTo>
                    <a:pt x="97" y="25"/>
                  </a:lnTo>
                  <a:lnTo>
                    <a:pt x="96" y="25"/>
                  </a:lnTo>
                  <a:lnTo>
                    <a:pt x="96" y="24"/>
                  </a:lnTo>
                  <a:lnTo>
                    <a:pt x="97" y="23"/>
                  </a:lnTo>
                  <a:lnTo>
                    <a:pt x="96" y="23"/>
                  </a:lnTo>
                  <a:lnTo>
                    <a:pt x="96" y="24"/>
                  </a:lnTo>
                  <a:lnTo>
                    <a:pt x="94" y="24"/>
                  </a:lnTo>
                  <a:lnTo>
                    <a:pt x="94" y="25"/>
                  </a:lnTo>
                  <a:lnTo>
                    <a:pt x="94" y="24"/>
                  </a:lnTo>
                  <a:lnTo>
                    <a:pt x="93" y="25"/>
                  </a:lnTo>
                  <a:lnTo>
                    <a:pt x="93" y="24"/>
                  </a:lnTo>
                  <a:lnTo>
                    <a:pt x="92" y="24"/>
                  </a:lnTo>
                  <a:lnTo>
                    <a:pt x="93" y="24"/>
                  </a:lnTo>
                  <a:lnTo>
                    <a:pt x="94" y="24"/>
                  </a:lnTo>
                  <a:lnTo>
                    <a:pt x="94" y="23"/>
                  </a:lnTo>
                  <a:lnTo>
                    <a:pt x="96" y="23"/>
                  </a:lnTo>
                  <a:lnTo>
                    <a:pt x="97" y="22"/>
                  </a:lnTo>
                  <a:lnTo>
                    <a:pt x="98" y="22"/>
                  </a:lnTo>
                  <a:lnTo>
                    <a:pt x="97" y="22"/>
                  </a:lnTo>
                  <a:lnTo>
                    <a:pt x="97" y="21"/>
                  </a:lnTo>
                  <a:lnTo>
                    <a:pt x="98" y="21"/>
                  </a:lnTo>
                  <a:lnTo>
                    <a:pt x="97" y="21"/>
                  </a:lnTo>
                  <a:lnTo>
                    <a:pt x="97" y="19"/>
                  </a:lnTo>
                  <a:lnTo>
                    <a:pt x="97" y="18"/>
                  </a:lnTo>
                  <a:lnTo>
                    <a:pt x="96" y="17"/>
                  </a:lnTo>
                  <a:lnTo>
                    <a:pt x="96" y="16"/>
                  </a:lnTo>
                  <a:lnTo>
                    <a:pt x="97" y="16"/>
                  </a:lnTo>
                  <a:lnTo>
                    <a:pt x="96" y="15"/>
                  </a:lnTo>
                  <a:lnTo>
                    <a:pt x="96" y="16"/>
                  </a:lnTo>
                  <a:lnTo>
                    <a:pt x="94" y="15"/>
                  </a:lnTo>
                  <a:lnTo>
                    <a:pt x="96" y="15"/>
                  </a:lnTo>
                  <a:lnTo>
                    <a:pt x="94" y="15"/>
                  </a:lnTo>
                  <a:lnTo>
                    <a:pt x="96" y="15"/>
                  </a:lnTo>
                  <a:lnTo>
                    <a:pt x="97" y="13"/>
                  </a:lnTo>
                  <a:lnTo>
                    <a:pt x="97" y="15"/>
                  </a:lnTo>
                  <a:lnTo>
                    <a:pt x="97" y="13"/>
                  </a:lnTo>
                  <a:lnTo>
                    <a:pt x="98" y="13"/>
                  </a:lnTo>
                  <a:lnTo>
                    <a:pt x="97" y="13"/>
                  </a:lnTo>
                  <a:lnTo>
                    <a:pt x="96" y="13"/>
                  </a:lnTo>
                  <a:lnTo>
                    <a:pt x="96" y="12"/>
                  </a:lnTo>
                  <a:lnTo>
                    <a:pt x="96" y="13"/>
                  </a:lnTo>
                  <a:lnTo>
                    <a:pt x="94" y="13"/>
                  </a:lnTo>
                  <a:lnTo>
                    <a:pt x="94" y="12"/>
                  </a:lnTo>
                  <a:lnTo>
                    <a:pt x="96" y="12"/>
                  </a:lnTo>
                  <a:lnTo>
                    <a:pt x="94" y="12"/>
                  </a:lnTo>
                  <a:lnTo>
                    <a:pt x="94" y="13"/>
                  </a:lnTo>
                  <a:lnTo>
                    <a:pt x="94" y="12"/>
                  </a:lnTo>
                  <a:lnTo>
                    <a:pt x="93" y="12"/>
                  </a:lnTo>
                  <a:lnTo>
                    <a:pt x="93" y="13"/>
                  </a:lnTo>
                  <a:lnTo>
                    <a:pt x="92" y="12"/>
                  </a:lnTo>
                  <a:lnTo>
                    <a:pt x="93" y="12"/>
                  </a:lnTo>
                  <a:lnTo>
                    <a:pt x="92" y="12"/>
                  </a:lnTo>
                  <a:lnTo>
                    <a:pt x="92" y="11"/>
                  </a:lnTo>
                  <a:lnTo>
                    <a:pt x="91" y="11"/>
                  </a:lnTo>
                  <a:lnTo>
                    <a:pt x="92" y="11"/>
                  </a:lnTo>
                  <a:lnTo>
                    <a:pt x="93" y="11"/>
                  </a:lnTo>
                  <a:lnTo>
                    <a:pt x="94" y="11"/>
                  </a:lnTo>
                  <a:lnTo>
                    <a:pt x="93" y="11"/>
                  </a:lnTo>
                  <a:lnTo>
                    <a:pt x="93" y="10"/>
                  </a:lnTo>
                  <a:lnTo>
                    <a:pt x="94" y="10"/>
                  </a:lnTo>
                  <a:lnTo>
                    <a:pt x="94" y="11"/>
                  </a:lnTo>
                  <a:lnTo>
                    <a:pt x="96" y="11"/>
                  </a:lnTo>
                  <a:lnTo>
                    <a:pt x="96" y="12"/>
                  </a:lnTo>
                  <a:lnTo>
                    <a:pt x="97" y="12"/>
                  </a:lnTo>
                  <a:lnTo>
                    <a:pt x="97" y="11"/>
                  </a:lnTo>
                  <a:lnTo>
                    <a:pt x="96" y="12"/>
                  </a:lnTo>
                  <a:lnTo>
                    <a:pt x="96" y="11"/>
                  </a:lnTo>
                  <a:lnTo>
                    <a:pt x="96" y="10"/>
                  </a:lnTo>
                  <a:lnTo>
                    <a:pt x="94" y="10"/>
                  </a:lnTo>
                  <a:lnTo>
                    <a:pt x="93" y="10"/>
                  </a:lnTo>
                  <a:lnTo>
                    <a:pt x="93" y="9"/>
                  </a:lnTo>
                  <a:lnTo>
                    <a:pt x="96" y="9"/>
                  </a:lnTo>
                  <a:lnTo>
                    <a:pt x="94" y="9"/>
                  </a:lnTo>
                  <a:lnTo>
                    <a:pt x="93" y="9"/>
                  </a:lnTo>
                  <a:lnTo>
                    <a:pt x="93" y="7"/>
                  </a:lnTo>
                  <a:lnTo>
                    <a:pt x="94" y="7"/>
                  </a:lnTo>
                  <a:lnTo>
                    <a:pt x="94" y="9"/>
                  </a:lnTo>
                  <a:lnTo>
                    <a:pt x="93" y="6"/>
                  </a:lnTo>
                  <a:lnTo>
                    <a:pt x="92" y="5"/>
                  </a:lnTo>
                  <a:lnTo>
                    <a:pt x="91" y="4"/>
                  </a:lnTo>
                  <a:lnTo>
                    <a:pt x="92" y="4"/>
                  </a:lnTo>
                  <a:lnTo>
                    <a:pt x="93" y="5"/>
                  </a:lnTo>
                  <a:lnTo>
                    <a:pt x="94" y="6"/>
                  </a:lnTo>
                  <a:lnTo>
                    <a:pt x="94" y="7"/>
                  </a:lnTo>
                  <a:lnTo>
                    <a:pt x="96" y="7"/>
                  </a:lnTo>
                  <a:lnTo>
                    <a:pt x="96" y="9"/>
                  </a:lnTo>
                  <a:lnTo>
                    <a:pt x="97" y="9"/>
                  </a:lnTo>
                  <a:lnTo>
                    <a:pt x="97" y="7"/>
                  </a:lnTo>
                  <a:lnTo>
                    <a:pt x="98" y="7"/>
                  </a:lnTo>
                  <a:lnTo>
                    <a:pt x="98" y="6"/>
                  </a:lnTo>
                  <a:lnTo>
                    <a:pt x="98" y="7"/>
                  </a:lnTo>
                  <a:lnTo>
                    <a:pt x="97" y="7"/>
                  </a:lnTo>
                  <a:lnTo>
                    <a:pt x="97" y="9"/>
                  </a:lnTo>
                  <a:lnTo>
                    <a:pt x="97" y="10"/>
                  </a:lnTo>
                  <a:lnTo>
                    <a:pt x="98" y="10"/>
                  </a:lnTo>
                  <a:lnTo>
                    <a:pt x="98" y="9"/>
                  </a:lnTo>
                  <a:lnTo>
                    <a:pt x="98" y="10"/>
                  </a:lnTo>
                  <a:lnTo>
                    <a:pt x="97" y="10"/>
                  </a:lnTo>
                  <a:lnTo>
                    <a:pt x="97" y="11"/>
                  </a:lnTo>
                  <a:lnTo>
                    <a:pt x="98" y="11"/>
                  </a:lnTo>
                  <a:lnTo>
                    <a:pt x="98" y="10"/>
                  </a:lnTo>
                  <a:lnTo>
                    <a:pt x="98" y="11"/>
                  </a:lnTo>
                  <a:lnTo>
                    <a:pt x="97" y="12"/>
                  </a:lnTo>
                  <a:lnTo>
                    <a:pt x="98" y="12"/>
                  </a:lnTo>
                  <a:lnTo>
                    <a:pt x="98" y="11"/>
                  </a:lnTo>
                  <a:lnTo>
                    <a:pt x="99" y="11"/>
                  </a:lnTo>
                  <a:lnTo>
                    <a:pt x="99" y="10"/>
                  </a:lnTo>
                  <a:lnTo>
                    <a:pt x="98" y="10"/>
                  </a:lnTo>
                  <a:lnTo>
                    <a:pt x="99" y="10"/>
                  </a:lnTo>
                  <a:lnTo>
                    <a:pt x="99" y="9"/>
                  </a:lnTo>
                  <a:lnTo>
                    <a:pt x="98" y="9"/>
                  </a:lnTo>
                  <a:lnTo>
                    <a:pt x="97" y="9"/>
                  </a:lnTo>
                  <a:lnTo>
                    <a:pt x="98" y="9"/>
                  </a:lnTo>
                  <a:lnTo>
                    <a:pt x="99" y="9"/>
                  </a:lnTo>
                  <a:lnTo>
                    <a:pt x="99" y="7"/>
                  </a:lnTo>
                  <a:lnTo>
                    <a:pt x="99" y="6"/>
                  </a:lnTo>
                  <a:lnTo>
                    <a:pt x="99" y="5"/>
                  </a:lnTo>
                  <a:lnTo>
                    <a:pt x="99" y="4"/>
                  </a:lnTo>
                  <a:lnTo>
                    <a:pt x="100" y="4"/>
                  </a:lnTo>
                  <a:lnTo>
                    <a:pt x="100" y="5"/>
                  </a:lnTo>
                  <a:lnTo>
                    <a:pt x="100" y="6"/>
                  </a:lnTo>
                  <a:lnTo>
                    <a:pt x="100" y="7"/>
                  </a:lnTo>
                  <a:lnTo>
                    <a:pt x="100" y="9"/>
                  </a:lnTo>
                  <a:lnTo>
                    <a:pt x="99" y="10"/>
                  </a:lnTo>
                  <a:lnTo>
                    <a:pt x="99" y="11"/>
                  </a:lnTo>
                  <a:lnTo>
                    <a:pt x="100" y="10"/>
                  </a:lnTo>
                  <a:lnTo>
                    <a:pt x="100" y="11"/>
                  </a:lnTo>
                  <a:lnTo>
                    <a:pt x="102" y="11"/>
                  </a:lnTo>
                  <a:lnTo>
                    <a:pt x="102" y="10"/>
                  </a:lnTo>
                  <a:lnTo>
                    <a:pt x="102" y="9"/>
                  </a:lnTo>
                  <a:lnTo>
                    <a:pt x="103" y="10"/>
                  </a:lnTo>
                  <a:lnTo>
                    <a:pt x="102" y="9"/>
                  </a:lnTo>
                  <a:lnTo>
                    <a:pt x="103" y="9"/>
                  </a:lnTo>
                  <a:lnTo>
                    <a:pt x="102" y="7"/>
                  </a:lnTo>
                  <a:lnTo>
                    <a:pt x="103" y="7"/>
                  </a:lnTo>
                  <a:lnTo>
                    <a:pt x="102" y="6"/>
                  </a:lnTo>
                  <a:lnTo>
                    <a:pt x="100" y="5"/>
                  </a:lnTo>
                  <a:lnTo>
                    <a:pt x="102" y="5"/>
                  </a:lnTo>
                  <a:lnTo>
                    <a:pt x="103" y="6"/>
                  </a:lnTo>
                  <a:lnTo>
                    <a:pt x="103" y="5"/>
                  </a:lnTo>
                  <a:lnTo>
                    <a:pt x="102" y="5"/>
                  </a:lnTo>
                  <a:lnTo>
                    <a:pt x="103" y="4"/>
                  </a:lnTo>
                  <a:lnTo>
                    <a:pt x="103" y="5"/>
                  </a:lnTo>
                  <a:lnTo>
                    <a:pt x="103" y="4"/>
                  </a:lnTo>
                  <a:lnTo>
                    <a:pt x="103" y="3"/>
                  </a:lnTo>
                  <a:lnTo>
                    <a:pt x="103" y="4"/>
                  </a:lnTo>
                  <a:lnTo>
                    <a:pt x="103" y="5"/>
                  </a:lnTo>
                  <a:lnTo>
                    <a:pt x="103" y="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2" name="Freeform 65"/>
            <p:cNvSpPr>
              <a:spLocks/>
            </p:cNvSpPr>
            <p:nvPr userDrawn="1"/>
          </p:nvSpPr>
          <p:spPr bwMode="auto">
            <a:xfrm>
              <a:off x="4665663" y="6424613"/>
              <a:ext cx="95250" cy="114300"/>
            </a:xfrm>
            <a:custGeom>
              <a:avLst/>
              <a:gdLst/>
              <a:ahLst/>
              <a:cxnLst>
                <a:cxn ang="0">
                  <a:pos x="168" y="253"/>
                </a:cxn>
                <a:cxn ang="0">
                  <a:pos x="170" y="248"/>
                </a:cxn>
                <a:cxn ang="0">
                  <a:pos x="170" y="279"/>
                </a:cxn>
                <a:cxn ang="0">
                  <a:pos x="182" y="274"/>
                </a:cxn>
                <a:cxn ang="0">
                  <a:pos x="197" y="272"/>
                </a:cxn>
                <a:cxn ang="0">
                  <a:pos x="183" y="295"/>
                </a:cxn>
                <a:cxn ang="0">
                  <a:pos x="197" y="308"/>
                </a:cxn>
                <a:cxn ang="0">
                  <a:pos x="235" y="311"/>
                </a:cxn>
                <a:cxn ang="0">
                  <a:pos x="244" y="290"/>
                </a:cxn>
                <a:cxn ang="0">
                  <a:pos x="248" y="273"/>
                </a:cxn>
                <a:cxn ang="0">
                  <a:pos x="222" y="262"/>
                </a:cxn>
                <a:cxn ang="0">
                  <a:pos x="239" y="258"/>
                </a:cxn>
                <a:cxn ang="0">
                  <a:pos x="238" y="246"/>
                </a:cxn>
                <a:cxn ang="0">
                  <a:pos x="226" y="228"/>
                </a:cxn>
                <a:cxn ang="0">
                  <a:pos x="220" y="202"/>
                </a:cxn>
                <a:cxn ang="0">
                  <a:pos x="215" y="188"/>
                </a:cxn>
                <a:cxn ang="0">
                  <a:pos x="260" y="189"/>
                </a:cxn>
                <a:cxn ang="0">
                  <a:pos x="274" y="158"/>
                </a:cxn>
                <a:cxn ang="0">
                  <a:pos x="269" y="139"/>
                </a:cxn>
                <a:cxn ang="0">
                  <a:pos x="260" y="109"/>
                </a:cxn>
                <a:cxn ang="0">
                  <a:pos x="272" y="92"/>
                </a:cxn>
                <a:cxn ang="0">
                  <a:pos x="263" y="70"/>
                </a:cxn>
                <a:cxn ang="0">
                  <a:pos x="253" y="56"/>
                </a:cxn>
                <a:cxn ang="0">
                  <a:pos x="224" y="26"/>
                </a:cxn>
                <a:cxn ang="0">
                  <a:pos x="197" y="14"/>
                </a:cxn>
                <a:cxn ang="0">
                  <a:pos x="186" y="28"/>
                </a:cxn>
                <a:cxn ang="0">
                  <a:pos x="182" y="50"/>
                </a:cxn>
                <a:cxn ang="0">
                  <a:pos x="170" y="54"/>
                </a:cxn>
                <a:cxn ang="0">
                  <a:pos x="170" y="33"/>
                </a:cxn>
                <a:cxn ang="0">
                  <a:pos x="155" y="14"/>
                </a:cxn>
                <a:cxn ang="0">
                  <a:pos x="126" y="15"/>
                </a:cxn>
                <a:cxn ang="0">
                  <a:pos x="132" y="36"/>
                </a:cxn>
                <a:cxn ang="0">
                  <a:pos x="99" y="22"/>
                </a:cxn>
                <a:cxn ang="0">
                  <a:pos x="87" y="40"/>
                </a:cxn>
                <a:cxn ang="0">
                  <a:pos x="97" y="52"/>
                </a:cxn>
                <a:cxn ang="0">
                  <a:pos x="71" y="59"/>
                </a:cxn>
                <a:cxn ang="0">
                  <a:pos x="102" y="76"/>
                </a:cxn>
                <a:cxn ang="0">
                  <a:pos x="116" y="75"/>
                </a:cxn>
                <a:cxn ang="0">
                  <a:pos x="111" y="92"/>
                </a:cxn>
                <a:cxn ang="0">
                  <a:pos x="85" y="111"/>
                </a:cxn>
                <a:cxn ang="0">
                  <a:pos x="58" y="95"/>
                </a:cxn>
                <a:cxn ang="0">
                  <a:pos x="37" y="99"/>
                </a:cxn>
                <a:cxn ang="0">
                  <a:pos x="53" y="134"/>
                </a:cxn>
                <a:cxn ang="0">
                  <a:pos x="50" y="148"/>
                </a:cxn>
                <a:cxn ang="0">
                  <a:pos x="26" y="154"/>
                </a:cxn>
                <a:cxn ang="0">
                  <a:pos x="5" y="161"/>
                </a:cxn>
                <a:cxn ang="0">
                  <a:pos x="2" y="178"/>
                </a:cxn>
                <a:cxn ang="0">
                  <a:pos x="30" y="188"/>
                </a:cxn>
                <a:cxn ang="0">
                  <a:pos x="57" y="192"/>
                </a:cxn>
                <a:cxn ang="0">
                  <a:pos x="68" y="201"/>
                </a:cxn>
                <a:cxn ang="0">
                  <a:pos x="32" y="222"/>
                </a:cxn>
                <a:cxn ang="0">
                  <a:pos x="33" y="240"/>
                </a:cxn>
                <a:cxn ang="0">
                  <a:pos x="71" y="235"/>
                </a:cxn>
                <a:cxn ang="0">
                  <a:pos x="71" y="244"/>
                </a:cxn>
                <a:cxn ang="0">
                  <a:pos x="55" y="266"/>
                </a:cxn>
                <a:cxn ang="0">
                  <a:pos x="91" y="271"/>
                </a:cxn>
                <a:cxn ang="0">
                  <a:pos x="97" y="250"/>
                </a:cxn>
                <a:cxn ang="0">
                  <a:pos x="103" y="230"/>
                </a:cxn>
                <a:cxn ang="0">
                  <a:pos x="123" y="262"/>
                </a:cxn>
                <a:cxn ang="0">
                  <a:pos x="120" y="232"/>
                </a:cxn>
                <a:cxn ang="0">
                  <a:pos x="126" y="237"/>
                </a:cxn>
                <a:cxn ang="0">
                  <a:pos x="140" y="229"/>
                </a:cxn>
                <a:cxn ang="0">
                  <a:pos x="151" y="232"/>
                </a:cxn>
              </a:cxnLst>
              <a:rect l="0" t="0" r="r" b="b"/>
              <a:pathLst>
                <a:path w="297" h="363">
                  <a:moveTo>
                    <a:pt x="197" y="360"/>
                  </a:moveTo>
                  <a:lnTo>
                    <a:pt x="195" y="360"/>
                  </a:lnTo>
                  <a:lnTo>
                    <a:pt x="182" y="361"/>
                  </a:lnTo>
                  <a:lnTo>
                    <a:pt x="175" y="360"/>
                  </a:lnTo>
                  <a:lnTo>
                    <a:pt x="174" y="355"/>
                  </a:lnTo>
                  <a:lnTo>
                    <a:pt x="174" y="350"/>
                  </a:lnTo>
                  <a:lnTo>
                    <a:pt x="174" y="348"/>
                  </a:lnTo>
                  <a:lnTo>
                    <a:pt x="173" y="339"/>
                  </a:lnTo>
                  <a:lnTo>
                    <a:pt x="170" y="313"/>
                  </a:lnTo>
                  <a:lnTo>
                    <a:pt x="170" y="308"/>
                  </a:lnTo>
                  <a:lnTo>
                    <a:pt x="169" y="301"/>
                  </a:lnTo>
                  <a:lnTo>
                    <a:pt x="169" y="295"/>
                  </a:lnTo>
                  <a:lnTo>
                    <a:pt x="168" y="290"/>
                  </a:lnTo>
                  <a:lnTo>
                    <a:pt x="168" y="285"/>
                  </a:lnTo>
                  <a:lnTo>
                    <a:pt x="167" y="280"/>
                  </a:lnTo>
                  <a:lnTo>
                    <a:pt x="167" y="278"/>
                  </a:lnTo>
                  <a:lnTo>
                    <a:pt x="168" y="278"/>
                  </a:lnTo>
                  <a:lnTo>
                    <a:pt x="169" y="279"/>
                  </a:lnTo>
                  <a:lnTo>
                    <a:pt x="170" y="279"/>
                  </a:lnTo>
                  <a:lnTo>
                    <a:pt x="170" y="278"/>
                  </a:lnTo>
                  <a:lnTo>
                    <a:pt x="169" y="277"/>
                  </a:lnTo>
                  <a:lnTo>
                    <a:pt x="169" y="276"/>
                  </a:lnTo>
                  <a:lnTo>
                    <a:pt x="168" y="277"/>
                  </a:lnTo>
                  <a:lnTo>
                    <a:pt x="168" y="276"/>
                  </a:lnTo>
                  <a:lnTo>
                    <a:pt x="168" y="274"/>
                  </a:lnTo>
                  <a:lnTo>
                    <a:pt x="169" y="274"/>
                  </a:lnTo>
                  <a:lnTo>
                    <a:pt x="170" y="274"/>
                  </a:lnTo>
                  <a:lnTo>
                    <a:pt x="170" y="273"/>
                  </a:lnTo>
                  <a:lnTo>
                    <a:pt x="171" y="272"/>
                  </a:lnTo>
                  <a:lnTo>
                    <a:pt x="171" y="271"/>
                  </a:lnTo>
                  <a:lnTo>
                    <a:pt x="170" y="271"/>
                  </a:lnTo>
                  <a:lnTo>
                    <a:pt x="170" y="272"/>
                  </a:lnTo>
                  <a:lnTo>
                    <a:pt x="169" y="273"/>
                  </a:lnTo>
                  <a:lnTo>
                    <a:pt x="168" y="273"/>
                  </a:lnTo>
                  <a:lnTo>
                    <a:pt x="167" y="273"/>
                  </a:lnTo>
                  <a:lnTo>
                    <a:pt x="167" y="271"/>
                  </a:lnTo>
                  <a:lnTo>
                    <a:pt x="167" y="264"/>
                  </a:lnTo>
                  <a:lnTo>
                    <a:pt x="167" y="261"/>
                  </a:lnTo>
                  <a:lnTo>
                    <a:pt x="168" y="261"/>
                  </a:lnTo>
                  <a:lnTo>
                    <a:pt x="168" y="260"/>
                  </a:lnTo>
                  <a:lnTo>
                    <a:pt x="168" y="259"/>
                  </a:lnTo>
                  <a:lnTo>
                    <a:pt x="167" y="258"/>
                  </a:lnTo>
                  <a:lnTo>
                    <a:pt x="167" y="255"/>
                  </a:lnTo>
                  <a:lnTo>
                    <a:pt x="167" y="253"/>
                  </a:lnTo>
                  <a:lnTo>
                    <a:pt x="165" y="252"/>
                  </a:lnTo>
                  <a:lnTo>
                    <a:pt x="167" y="252"/>
                  </a:lnTo>
                  <a:lnTo>
                    <a:pt x="167" y="250"/>
                  </a:lnTo>
                  <a:lnTo>
                    <a:pt x="167" y="248"/>
                  </a:lnTo>
                  <a:lnTo>
                    <a:pt x="167" y="247"/>
                  </a:lnTo>
                  <a:lnTo>
                    <a:pt x="167" y="246"/>
                  </a:lnTo>
                  <a:lnTo>
                    <a:pt x="165" y="246"/>
                  </a:lnTo>
                  <a:lnTo>
                    <a:pt x="167" y="243"/>
                  </a:lnTo>
                  <a:lnTo>
                    <a:pt x="167" y="244"/>
                  </a:lnTo>
                  <a:lnTo>
                    <a:pt x="167" y="246"/>
                  </a:lnTo>
                  <a:lnTo>
                    <a:pt x="168" y="244"/>
                  </a:lnTo>
                  <a:lnTo>
                    <a:pt x="168" y="243"/>
                  </a:lnTo>
                  <a:lnTo>
                    <a:pt x="167" y="242"/>
                  </a:lnTo>
                  <a:lnTo>
                    <a:pt x="167" y="238"/>
                  </a:lnTo>
                  <a:lnTo>
                    <a:pt x="167" y="236"/>
                  </a:lnTo>
                  <a:lnTo>
                    <a:pt x="167" y="235"/>
                  </a:lnTo>
                  <a:lnTo>
                    <a:pt x="168" y="234"/>
                  </a:lnTo>
                  <a:lnTo>
                    <a:pt x="168" y="232"/>
                  </a:lnTo>
                  <a:lnTo>
                    <a:pt x="169" y="231"/>
                  </a:lnTo>
                  <a:lnTo>
                    <a:pt x="170" y="231"/>
                  </a:lnTo>
                  <a:lnTo>
                    <a:pt x="170" y="232"/>
                  </a:lnTo>
                  <a:lnTo>
                    <a:pt x="170" y="234"/>
                  </a:lnTo>
                  <a:lnTo>
                    <a:pt x="170" y="235"/>
                  </a:lnTo>
                  <a:lnTo>
                    <a:pt x="169" y="236"/>
                  </a:lnTo>
                  <a:lnTo>
                    <a:pt x="169" y="237"/>
                  </a:lnTo>
                  <a:lnTo>
                    <a:pt x="169" y="241"/>
                  </a:lnTo>
                  <a:lnTo>
                    <a:pt x="169" y="244"/>
                  </a:lnTo>
                  <a:lnTo>
                    <a:pt x="169" y="247"/>
                  </a:lnTo>
                  <a:lnTo>
                    <a:pt x="169" y="249"/>
                  </a:lnTo>
                  <a:lnTo>
                    <a:pt x="169" y="250"/>
                  </a:lnTo>
                  <a:lnTo>
                    <a:pt x="168" y="253"/>
                  </a:lnTo>
                  <a:lnTo>
                    <a:pt x="169" y="253"/>
                  </a:lnTo>
                  <a:lnTo>
                    <a:pt x="169" y="254"/>
                  </a:lnTo>
                  <a:lnTo>
                    <a:pt x="168" y="254"/>
                  </a:lnTo>
                  <a:lnTo>
                    <a:pt x="169" y="254"/>
                  </a:lnTo>
                  <a:lnTo>
                    <a:pt x="169" y="255"/>
                  </a:lnTo>
                  <a:lnTo>
                    <a:pt x="169" y="256"/>
                  </a:lnTo>
                  <a:lnTo>
                    <a:pt x="169" y="258"/>
                  </a:lnTo>
                  <a:lnTo>
                    <a:pt x="169" y="259"/>
                  </a:lnTo>
                  <a:lnTo>
                    <a:pt x="169" y="260"/>
                  </a:lnTo>
                  <a:lnTo>
                    <a:pt x="169" y="261"/>
                  </a:lnTo>
                  <a:lnTo>
                    <a:pt x="169" y="262"/>
                  </a:lnTo>
                  <a:lnTo>
                    <a:pt x="169" y="264"/>
                  </a:lnTo>
                  <a:lnTo>
                    <a:pt x="169" y="265"/>
                  </a:lnTo>
                  <a:lnTo>
                    <a:pt x="169" y="266"/>
                  </a:lnTo>
                  <a:lnTo>
                    <a:pt x="168" y="267"/>
                  </a:lnTo>
                  <a:lnTo>
                    <a:pt x="168" y="268"/>
                  </a:lnTo>
                  <a:lnTo>
                    <a:pt x="169" y="270"/>
                  </a:lnTo>
                  <a:lnTo>
                    <a:pt x="169" y="271"/>
                  </a:lnTo>
                  <a:lnTo>
                    <a:pt x="170" y="271"/>
                  </a:lnTo>
                  <a:lnTo>
                    <a:pt x="170" y="270"/>
                  </a:lnTo>
                  <a:lnTo>
                    <a:pt x="170" y="268"/>
                  </a:lnTo>
                  <a:lnTo>
                    <a:pt x="170" y="267"/>
                  </a:lnTo>
                  <a:lnTo>
                    <a:pt x="170" y="268"/>
                  </a:lnTo>
                  <a:lnTo>
                    <a:pt x="170" y="270"/>
                  </a:lnTo>
                  <a:lnTo>
                    <a:pt x="171" y="268"/>
                  </a:lnTo>
                  <a:lnTo>
                    <a:pt x="171" y="267"/>
                  </a:lnTo>
                  <a:lnTo>
                    <a:pt x="171" y="266"/>
                  </a:lnTo>
                  <a:lnTo>
                    <a:pt x="171" y="265"/>
                  </a:lnTo>
                  <a:lnTo>
                    <a:pt x="171" y="264"/>
                  </a:lnTo>
                  <a:lnTo>
                    <a:pt x="170" y="264"/>
                  </a:lnTo>
                  <a:lnTo>
                    <a:pt x="170" y="262"/>
                  </a:lnTo>
                  <a:lnTo>
                    <a:pt x="171" y="264"/>
                  </a:lnTo>
                  <a:lnTo>
                    <a:pt x="173" y="264"/>
                  </a:lnTo>
                  <a:lnTo>
                    <a:pt x="174" y="265"/>
                  </a:lnTo>
                  <a:lnTo>
                    <a:pt x="173" y="266"/>
                  </a:lnTo>
                  <a:lnTo>
                    <a:pt x="173" y="267"/>
                  </a:lnTo>
                  <a:lnTo>
                    <a:pt x="174" y="266"/>
                  </a:lnTo>
                  <a:lnTo>
                    <a:pt x="174" y="267"/>
                  </a:lnTo>
                  <a:lnTo>
                    <a:pt x="175" y="268"/>
                  </a:lnTo>
                  <a:lnTo>
                    <a:pt x="176" y="268"/>
                  </a:lnTo>
                  <a:lnTo>
                    <a:pt x="177" y="267"/>
                  </a:lnTo>
                  <a:lnTo>
                    <a:pt x="176" y="266"/>
                  </a:lnTo>
                  <a:lnTo>
                    <a:pt x="175" y="266"/>
                  </a:lnTo>
                  <a:lnTo>
                    <a:pt x="176" y="266"/>
                  </a:lnTo>
                  <a:lnTo>
                    <a:pt x="177" y="266"/>
                  </a:lnTo>
                  <a:lnTo>
                    <a:pt x="179" y="265"/>
                  </a:lnTo>
                  <a:lnTo>
                    <a:pt x="179" y="264"/>
                  </a:lnTo>
                  <a:lnTo>
                    <a:pt x="177" y="262"/>
                  </a:lnTo>
                  <a:lnTo>
                    <a:pt x="177" y="264"/>
                  </a:lnTo>
                  <a:lnTo>
                    <a:pt x="176" y="264"/>
                  </a:lnTo>
                  <a:lnTo>
                    <a:pt x="175" y="264"/>
                  </a:lnTo>
                  <a:lnTo>
                    <a:pt x="174" y="264"/>
                  </a:lnTo>
                  <a:lnTo>
                    <a:pt x="175" y="262"/>
                  </a:lnTo>
                  <a:lnTo>
                    <a:pt x="175" y="261"/>
                  </a:lnTo>
                  <a:lnTo>
                    <a:pt x="174" y="261"/>
                  </a:lnTo>
                  <a:lnTo>
                    <a:pt x="173" y="262"/>
                  </a:lnTo>
                  <a:lnTo>
                    <a:pt x="173" y="261"/>
                  </a:lnTo>
                  <a:lnTo>
                    <a:pt x="171" y="260"/>
                  </a:lnTo>
                  <a:lnTo>
                    <a:pt x="170" y="259"/>
                  </a:lnTo>
                  <a:lnTo>
                    <a:pt x="170" y="258"/>
                  </a:lnTo>
                  <a:lnTo>
                    <a:pt x="170" y="256"/>
                  </a:lnTo>
                  <a:lnTo>
                    <a:pt x="171" y="256"/>
                  </a:lnTo>
                  <a:lnTo>
                    <a:pt x="171" y="258"/>
                  </a:lnTo>
                  <a:lnTo>
                    <a:pt x="171" y="259"/>
                  </a:lnTo>
                  <a:lnTo>
                    <a:pt x="171" y="258"/>
                  </a:lnTo>
                  <a:lnTo>
                    <a:pt x="171" y="256"/>
                  </a:lnTo>
                  <a:lnTo>
                    <a:pt x="171" y="255"/>
                  </a:lnTo>
                  <a:lnTo>
                    <a:pt x="171" y="254"/>
                  </a:lnTo>
                  <a:lnTo>
                    <a:pt x="170" y="254"/>
                  </a:lnTo>
                  <a:lnTo>
                    <a:pt x="170" y="253"/>
                  </a:lnTo>
                  <a:lnTo>
                    <a:pt x="170" y="252"/>
                  </a:lnTo>
                  <a:lnTo>
                    <a:pt x="169" y="250"/>
                  </a:lnTo>
                  <a:lnTo>
                    <a:pt x="169" y="249"/>
                  </a:lnTo>
                  <a:lnTo>
                    <a:pt x="169" y="248"/>
                  </a:lnTo>
                  <a:lnTo>
                    <a:pt x="170" y="248"/>
                  </a:lnTo>
                  <a:lnTo>
                    <a:pt x="171" y="248"/>
                  </a:lnTo>
                  <a:lnTo>
                    <a:pt x="171" y="249"/>
                  </a:lnTo>
                  <a:lnTo>
                    <a:pt x="173" y="250"/>
                  </a:lnTo>
                  <a:lnTo>
                    <a:pt x="174" y="252"/>
                  </a:lnTo>
                  <a:lnTo>
                    <a:pt x="175" y="253"/>
                  </a:lnTo>
                  <a:lnTo>
                    <a:pt x="174" y="254"/>
                  </a:lnTo>
                  <a:lnTo>
                    <a:pt x="174" y="253"/>
                  </a:lnTo>
                  <a:lnTo>
                    <a:pt x="173" y="253"/>
                  </a:lnTo>
                  <a:lnTo>
                    <a:pt x="173" y="254"/>
                  </a:lnTo>
                  <a:lnTo>
                    <a:pt x="174" y="255"/>
                  </a:lnTo>
                  <a:lnTo>
                    <a:pt x="173" y="256"/>
                  </a:lnTo>
                  <a:lnTo>
                    <a:pt x="173" y="258"/>
                  </a:lnTo>
                  <a:lnTo>
                    <a:pt x="174" y="256"/>
                  </a:lnTo>
                  <a:lnTo>
                    <a:pt x="175" y="255"/>
                  </a:lnTo>
                  <a:lnTo>
                    <a:pt x="176" y="255"/>
                  </a:lnTo>
                  <a:lnTo>
                    <a:pt x="176" y="256"/>
                  </a:lnTo>
                  <a:lnTo>
                    <a:pt x="175" y="256"/>
                  </a:lnTo>
                  <a:lnTo>
                    <a:pt x="173" y="258"/>
                  </a:lnTo>
                  <a:lnTo>
                    <a:pt x="173" y="259"/>
                  </a:lnTo>
                  <a:lnTo>
                    <a:pt x="174" y="259"/>
                  </a:lnTo>
                  <a:lnTo>
                    <a:pt x="174" y="258"/>
                  </a:lnTo>
                  <a:lnTo>
                    <a:pt x="175" y="258"/>
                  </a:lnTo>
                  <a:lnTo>
                    <a:pt x="176" y="258"/>
                  </a:lnTo>
                  <a:lnTo>
                    <a:pt x="177" y="258"/>
                  </a:lnTo>
                  <a:lnTo>
                    <a:pt x="179" y="258"/>
                  </a:lnTo>
                  <a:lnTo>
                    <a:pt x="180" y="256"/>
                  </a:lnTo>
                  <a:lnTo>
                    <a:pt x="181" y="258"/>
                  </a:lnTo>
                  <a:lnTo>
                    <a:pt x="180" y="258"/>
                  </a:lnTo>
                  <a:lnTo>
                    <a:pt x="179" y="259"/>
                  </a:lnTo>
                  <a:lnTo>
                    <a:pt x="177" y="259"/>
                  </a:lnTo>
                  <a:lnTo>
                    <a:pt x="176" y="259"/>
                  </a:lnTo>
                  <a:lnTo>
                    <a:pt x="177" y="260"/>
                  </a:lnTo>
                  <a:lnTo>
                    <a:pt x="179" y="260"/>
                  </a:lnTo>
                  <a:lnTo>
                    <a:pt x="180" y="260"/>
                  </a:lnTo>
                  <a:lnTo>
                    <a:pt x="179" y="261"/>
                  </a:lnTo>
                  <a:lnTo>
                    <a:pt x="177" y="260"/>
                  </a:lnTo>
                  <a:lnTo>
                    <a:pt x="176" y="260"/>
                  </a:lnTo>
                  <a:lnTo>
                    <a:pt x="175" y="260"/>
                  </a:lnTo>
                  <a:lnTo>
                    <a:pt x="174" y="260"/>
                  </a:lnTo>
                  <a:lnTo>
                    <a:pt x="173" y="260"/>
                  </a:lnTo>
                  <a:lnTo>
                    <a:pt x="174" y="261"/>
                  </a:lnTo>
                  <a:lnTo>
                    <a:pt x="175" y="261"/>
                  </a:lnTo>
                  <a:lnTo>
                    <a:pt x="176" y="261"/>
                  </a:lnTo>
                  <a:lnTo>
                    <a:pt x="176" y="262"/>
                  </a:lnTo>
                  <a:lnTo>
                    <a:pt x="177" y="262"/>
                  </a:lnTo>
                  <a:lnTo>
                    <a:pt x="179" y="262"/>
                  </a:lnTo>
                  <a:lnTo>
                    <a:pt x="179" y="264"/>
                  </a:lnTo>
                  <a:lnTo>
                    <a:pt x="179" y="265"/>
                  </a:lnTo>
                  <a:lnTo>
                    <a:pt x="179" y="266"/>
                  </a:lnTo>
                  <a:lnTo>
                    <a:pt x="180" y="266"/>
                  </a:lnTo>
                  <a:lnTo>
                    <a:pt x="180" y="265"/>
                  </a:lnTo>
                  <a:lnTo>
                    <a:pt x="180" y="264"/>
                  </a:lnTo>
                  <a:lnTo>
                    <a:pt x="181" y="262"/>
                  </a:lnTo>
                  <a:lnTo>
                    <a:pt x="182" y="262"/>
                  </a:lnTo>
                  <a:lnTo>
                    <a:pt x="183" y="261"/>
                  </a:lnTo>
                  <a:lnTo>
                    <a:pt x="183" y="262"/>
                  </a:lnTo>
                  <a:lnTo>
                    <a:pt x="182" y="264"/>
                  </a:lnTo>
                  <a:lnTo>
                    <a:pt x="181" y="264"/>
                  </a:lnTo>
                  <a:lnTo>
                    <a:pt x="182" y="265"/>
                  </a:lnTo>
                  <a:lnTo>
                    <a:pt x="181" y="265"/>
                  </a:lnTo>
                  <a:lnTo>
                    <a:pt x="181" y="264"/>
                  </a:lnTo>
                  <a:lnTo>
                    <a:pt x="180" y="265"/>
                  </a:lnTo>
                  <a:lnTo>
                    <a:pt x="180" y="266"/>
                  </a:lnTo>
                  <a:lnTo>
                    <a:pt x="180" y="267"/>
                  </a:lnTo>
                  <a:lnTo>
                    <a:pt x="180" y="268"/>
                  </a:lnTo>
                  <a:lnTo>
                    <a:pt x="179" y="270"/>
                  </a:lnTo>
                  <a:lnTo>
                    <a:pt x="176" y="271"/>
                  </a:lnTo>
                  <a:lnTo>
                    <a:pt x="175" y="272"/>
                  </a:lnTo>
                  <a:lnTo>
                    <a:pt x="175" y="274"/>
                  </a:lnTo>
                  <a:lnTo>
                    <a:pt x="175" y="276"/>
                  </a:lnTo>
                  <a:lnTo>
                    <a:pt x="174" y="276"/>
                  </a:lnTo>
                  <a:lnTo>
                    <a:pt x="174" y="278"/>
                  </a:lnTo>
                  <a:lnTo>
                    <a:pt x="173" y="279"/>
                  </a:lnTo>
                  <a:lnTo>
                    <a:pt x="171" y="279"/>
                  </a:lnTo>
                  <a:lnTo>
                    <a:pt x="170" y="279"/>
                  </a:lnTo>
                  <a:lnTo>
                    <a:pt x="170" y="280"/>
                  </a:lnTo>
                  <a:lnTo>
                    <a:pt x="170" y="282"/>
                  </a:lnTo>
                  <a:lnTo>
                    <a:pt x="170" y="283"/>
                  </a:lnTo>
                  <a:lnTo>
                    <a:pt x="170" y="284"/>
                  </a:lnTo>
                  <a:lnTo>
                    <a:pt x="169" y="285"/>
                  </a:lnTo>
                  <a:lnTo>
                    <a:pt x="168" y="287"/>
                  </a:lnTo>
                  <a:lnTo>
                    <a:pt x="169" y="287"/>
                  </a:lnTo>
                  <a:lnTo>
                    <a:pt x="169" y="285"/>
                  </a:lnTo>
                  <a:lnTo>
                    <a:pt x="169" y="288"/>
                  </a:lnTo>
                  <a:lnTo>
                    <a:pt x="169" y="289"/>
                  </a:lnTo>
                  <a:lnTo>
                    <a:pt x="169" y="290"/>
                  </a:lnTo>
                  <a:lnTo>
                    <a:pt x="169" y="291"/>
                  </a:lnTo>
                  <a:lnTo>
                    <a:pt x="169" y="293"/>
                  </a:lnTo>
                  <a:lnTo>
                    <a:pt x="170" y="290"/>
                  </a:lnTo>
                  <a:lnTo>
                    <a:pt x="170" y="289"/>
                  </a:lnTo>
                  <a:lnTo>
                    <a:pt x="170" y="287"/>
                  </a:lnTo>
                  <a:lnTo>
                    <a:pt x="171" y="287"/>
                  </a:lnTo>
                  <a:lnTo>
                    <a:pt x="171" y="285"/>
                  </a:lnTo>
                  <a:lnTo>
                    <a:pt x="171" y="284"/>
                  </a:lnTo>
                  <a:lnTo>
                    <a:pt x="173" y="282"/>
                  </a:lnTo>
                  <a:lnTo>
                    <a:pt x="173" y="283"/>
                  </a:lnTo>
                  <a:lnTo>
                    <a:pt x="173" y="284"/>
                  </a:lnTo>
                  <a:lnTo>
                    <a:pt x="173" y="285"/>
                  </a:lnTo>
                  <a:lnTo>
                    <a:pt x="174" y="287"/>
                  </a:lnTo>
                  <a:lnTo>
                    <a:pt x="174" y="285"/>
                  </a:lnTo>
                  <a:lnTo>
                    <a:pt x="175" y="285"/>
                  </a:lnTo>
                  <a:lnTo>
                    <a:pt x="176" y="284"/>
                  </a:lnTo>
                  <a:lnTo>
                    <a:pt x="175" y="284"/>
                  </a:lnTo>
                  <a:lnTo>
                    <a:pt x="175" y="283"/>
                  </a:lnTo>
                  <a:lnTo>
                    <a:pt x="175" y="282"/>
                  </a:lnTo>
                  <a:lnTo>
                    <a:pt x="175" y="280"/>
                  </a:lnTo>
                  <a:lnTo>
                    <a:pt x="175" y="279"/>
                  </a:lnTo>
                  <a:lnTo>
                    <a:pt x="175" y="278"/>
                  </a:lnTo>
                  <a:lnTo>
                    <a:pt x="175" y="277"/>
                  </a:lnTo>
                  <a:lnTo>
                    <a:pt x="176" y="276"/>
                  </a:lnTo>
                  <a:lnTo>
                    <a:pt x="176" y="274"/>
                  </a:lnTo>
                  <a:lnTo>
                    <a:pt x="177" y="273"/>
                  </a:lnTo>
                  <a:lnTo>
                    <a:pt x="179" y="273"/>
                  </a:lnTo>
                  <a:lnTo>
                    <a:pt x="179" y="272"/>
                  </a:lnTo>
                  <a:lnTo>
                    <a:pt x="179" y="273"/>
                  </a:lnTo>
                  <a:lnTo>
                    <a:pt x="177" y="274"/>
                  </a:lnTo>
                  <a:lnTo>
                    <a:pt x="177" y="276"/>
                  </a:lnTo>
                  <a:lnTo>
                    <a:pt x="177" y="277"/>
                  </a:lnTo>
                  <a:lnTo>
                    <a:pt x="176" y="277"/>
                  </a:lnTo>
                  <a:lnTo>
                    <a:pt x="175" y="279"/>
                  </a:lnTo>
                  <a:lnTo>
                    <a:pt x="175" y="282"/>
                  </a:lnTo>
                  <a:lnTo>
                    <a:pt x="175" y="283"/>
                  </a:lnTo>
                  <a:lnTo>
                    <a:pt x="176" y="283"/>
                  </a:lnTo>
                  <a:lnTo>
                    <a:pt x="176" y="280"/>
                  </a:lnTo>
                  <a:lnTo>
                    <a:pt x="177" y="283"/>
                  </a:lnTo>
                  <a:lnTo>
                    <a:pt x="177" y="282"/>
                  </a:lnTo>
                  <a:lnTo>
                    <a:pt x="179" y="280"/>
                  </a:lnTo>
                  <a:lnTo>
                    <a:pt x="177" y="279"/>
                  </a:lnTo>
                  <a:lnTo>
                    <a:pt x="176" y="279"/>
                  </a:lnTo>
                  <a:lnTo>
                    <a:pt x="176" y="278"/>
                  </a:lnTo>
                  <a:lnTo>
                    <a:pt x="176" y="277"/>
                  </a:lnTo>
                  <a:lnTo>
                    <a:pt x="177" y="277"/>
                  </a:lnTo>
                  <a:lnTo>
                    <a:pt x="177" y="276"/>
                  </a:lnTo>
                  <a:lnTo>
                    <a:pt x="179" y="274"/>
                  </a:lnTo>
                  <a:lnTo>
                    <a:pt x="180" y="273"/>
                  </a:lnTo>
                  <a:lnTo>
                    <a:pt x="180" y="272"/>
                  </a:lnTo>
                  <a:lnTo>
                    <a:pt x="181" y="271"/>
                  </a:lnTo>
                  <a:lnTo>
                    <a:pt x="181" y="272"/>
                  </a:lnTo>
                  <a:lnTo>
                    <a:pt x="180" y="273"/>
                  </a:lnTo>
                  <a:lnTo>
                    <a:pt x="181" y="273"/>
                  </a:lnTo>
                  <a:lnTo>
                    <a:pt x="181" y="274"/>
                  </a:lnTo>
                  <a:lnTo>
                    <a:pt x="180" y="276"/>
                  </a:lnTo>
                  <a:lnTo>
                    <a:pt x="180" y="277"/>
                  </a:lnTo>
                  <a:lnTo>
                    <a:pt x="180" y="279"/>
                  </a:lnTo>
                  <a:lnTo>
                    <a:pt x="180" y="280"/>
                  </a:lnTo>
                  <a:lnTo>
                    <a:pt x="181" y="279"/>
                  </a:lnTo>
                  <a:lnTo>
                    <a:pt x="181" y="277"/>
                  </a:lnTo>
                  <a:lnTo>
                    <a:pt x="181" y="276"/>
                  </a:lnTo>
                  <a:lnTo>
                    <a:pt x="182" y="276"/>
                  </a:lnTo>
                  <a:lnTo>
                    <a:pt x="182" y="274"/>
                  </a:lnTo>
                  <a:lnTo>
                    <a:pt x="182" y="273"/>
                  </a:lnTo>
                  <a:lnTo>
                    <a:pt x="182" y="272"/>
                  </a:lnTo>
                  <a:lnTo>
                    <a:pt x="182" y="271"/>
                  </a:lnTo>
                  <a:lnTo>
                    <a:pt x="182" y="268"/>
                  </a:lnTo>
                  <a:lnTo>
                    <a:pt x="182" y="270"/>
                  </a:lnTo>
                  <a:lnTo>
                    <a:pt x="182" y="271"/>
                  </a:lnTo>
                  <a:lnTo>
                    <a:pt x="183" y="271"/>
                  </a:lnTo>
                  <a:lnTo>
                    <a:pt x="183" y="272"/>
                  </a:lnTo>
                  <a:lnTo>
                    <a:pt x="183" y="273"/>
                  </a:lnTo>
                  <a:lnTo>
                    <a:pt x="183" y="272"/>
                  </a:lnTo>
                  <a:lnTo>
                    <a:pt x="185" y="272"/>
                  </a:lnTo>
                  <a:lnTo>
                    <a:pt x="183" y="273"/>
                  </a:lnTo>
                  <a:lnTo>
                    <a:pt x="183" y="274"/>
                  </a:lnTo>
                  <a:lnTo>
                    <a:pt x="183" y="276"/>
                  </a:lnTo>
                  <a:lnTo>
                    <a:pt x="185" y="276"/>
                  </a:lnTo>
                  <a:lnTo>
                    <a:pt x="186" y="276"/>
                  </a:lnTo>
                  <a:lnTo>
                    <a:pt x="186" y="274"/>
                  </a:lnTo>
                  <a:lnTo>
                    <a:pt x="187" y="276"/>
                  </a:lnTo>
                  <a:lnTo>
                    <a:pt x="187" y="277"/>
                  </a:lnTo>
                  <a:lnTo>
                    <a:pt x="188" y="277"/>
                  </a:lnTo>
                  <a:lnTo>
                    <a:pt x="189" y="278"/>
                  </a:lnTo>
                  <a:lnTo>
                    <a:pt x="189" y="277"/>
                  </a:lnTo>
                  <a:lnTo>
                    <a:pt x="189" y="276"/>
                  </a:lnTo>
                  <a:lnTo>
                    <a:pt x="188" y="276"/>
                  </a:lnTo>
                  <a:lnTo>
                    <a:pt x="189" y="276"/>
                  </a:lnTo>
                  <a:lnTo>
                    <a:pt x="191" y="276"/>
                  </a:lnTo>
                  <a:lnTo>
                    <a:pt x="192" y="276"/>
                  </a:lnTo>
                  <a:lnTo>
                    <a:pt x="193" y="276"/>
                  </a:lnTo>
                  <a:lnTo>
                    <a:pt x="193" y="274"/>
                  </a:lnTo>
                  <a:lnTo>
                    <a:pt x="192" y="274"/>
                  </a:lnTo>
                  <a:lnTo>
                    <a:pt x="191" y="274"/>
                  </a:lnTo>
                  <a:lnTo>
                    <a:pt x="189" y="274"/>
                  </a:lnTo>
                  <a:lnTo>
                    <a:pt x="189" y="273"/>
                  </a:lnTo>
                  <a:lnTo>
                    <a:pt x="188" y="273"/>
                  </a:lnTo>
                  <a:lnTo>
                    <a:pt x="187" y="272"/>
                  </a:lnTo>
                  <a:lnTo>
                    <a:pt x="186" y="271"/>
                  </a:lnTo>
                  <a:lnTo>
                    <a:pt x="186" y="270"/>
                  </a:lnTo>
                  <a:lnTo>
                    <a:pt x="185" y="270"/>
                  </a:lnTo>
                  <a:lnTo>
                    <a:pt x="183" y="268"/>
                  </a:lnTo>
                  <a:lnTo>
                    <a:pt x="183" y="267"/>
                  </a:lnTo>
                  <a:lnTo>
                    <a:pt x="185" y="266"/>
                  </a:lnTo>
                  <a:lnTo>
                    <a:pt x="187" y="266"/>
                  </a:lnTo>
                  <a:lnTo>
                    <a:pt x="187" y="265"/>
                  </a:lnTo>
                  <a:lnTo>
                    <a:pt x="188" y="264"/>
                  </a:lnTo>
                  <a:lnTo>
                    <a:pt x="189" y="262"/>
                  </a:lnTo>
                  <a:lnTo>
                    <a:pt x="192" y="261"/>
                  </a:lnTo>
                  <a:lnTo>
                    <a:pt x="193" y="264"/>
                  </a:lnTo>
                  <a:lnTo>
                    <a:pt x="193" y="265"/>
                  </a:lnTo>
                  <a:lnTo>
                    <a:pt x="193" y="267"/>
                  </a:lnTo>
                  <a:lnTo>
                    <a:pt x="191" y="268"/>
                  </a:lnTo>
                  <a:lnTo>
                    <a:pt x="191" y="270"/>
                  </a:lnTo>
                  <a:lnTo>
                    <a:pt x="188" y="271"/>
                  </a:lnTo>
                  <a:lnTo>
                    <a:pt x="187" y="271"/>
                  </a:lnTo>
                  <a:lnTo>
                    <a:pt x="188" y="271"/>
                  </a:lnTo>
                  <a:lnTo>
                    <a:pt x="191" y="270"/>
                  </a:lnTo>
                  <a:lnTo>
                    <a:pt x="192" y="268"/>
                  </a:lnTo>
                  <a:lnTo>
                    <a:pt x="193" y="268"/>
                  </a:lnTo>
                  <a:lnTo>
                    <a:pt x="193" y="267"/>
                  </a:lnTo>
                  <a:lnTo>
                    <a:pt x="193" y="270"/>
                  </a:lnTo>
                  <a:lnTo>
                    <a:pt x="193" y="271"/>
                  </a:lnTo>
                  <a:lnTo>
                    <a:pt x="193" y="273"/>
                  </a:lnTo>
                  <a:lnTo>
                    <a:pt x="193" y="271"/>
                  </a:lnTo>
                  <a:lnTo>
                    <a:pt x="193" y="270"/>
                  </a:lnTo>
                  <a:lnTo>
                    <a:pt x="194" y="268"/>
                  </a:lnTo>
                  <a:lnTo>
                    <a:pt x="194" y="267"/>
                  </a:lnTo>
                  <a:lnTo>
                    <a:pt x="195" y="267"/>
                  </a:lnTo>
                  <a:lnTo>
                    <a:pt x="195" y="266"/>
                  </a:lnTo>
                  <a:lnTo>
                    <a:pt x="195" y="265"/>
                  </a:lnTo>
                  <a:lnTo>
                    <a:pt x="194" y="264"/>
                  </a:lnTo>
                  <a:lnTo>
                    <a:pt x="195" y="264"/>
                  </a:lnTo>
                  <a:lnTo>
                    <a:pt x="197" y="266"/>
                  </a:lnTo>
                  <a:lnTo>
                    <a:pt x="198" y="266"/>
                  </a:lnTo>
                  <a:lnTo>
                    <a:pt x="198" y="267"/>
                  </a:lnTo>
                  <a:lnTo>
                    <a:pt x="198" y="270"/>
                  </a:lnTo>
                  <a:lnTo>
                    <a:pt x="197" y="272"/>
                  </a:lnTo>
                  <a:lnTo>
                    <a:pt x="194" y="276"/>
                  </a:lnTo>
                  <a:lnTo>
                    <a:pt x="192" y="278"/>
                  </a:lnTo>
                  <a:lnTo>
                    <a:pt x="191" y="280"/>
                  </a:lnTo>
                  <a:lnTo>
                    <a:pt x="189" y="280"/>
                  </a:lnTo>
                  <a:lnTo>
                    <a:pt x="189" y="282"/>
                  </a:lnTo>
                  <a:lnTo>
                    <a:pt x="188" y="282"/>
                  </a:lnTo>
                  <a:lnTo>
                    <a:pt x="187" y="282"/>
                  </a:lnTo>
                  <a:lnTo>
                    <a:pt x="186" y="282"/>
                  </a:lnTo>
                  <a:lnTo>
                    <a:pt x="185" y="282"/>
                  </a:lnTo>
                  <a:lnTo>
                    <a:pt x="183" y="280"/>
                  </a:lnTo>
                  <a:lnTo>
                    <a:pt x="183" y="279"/>
                  </a:lnTo>
                  <a:lnTo>
                    <a:pt x="182" y="278"/>
                  </a:lnTo>
                  <a:lnTo>
                    <a:pt x="182" y="277"/>
                  </a:lnTo>
                  <a:lnTo>
                    <a:pt x="182" y="278"/>
                  </a:lnTo>
                  <a:lnTo>
                    <a:pt x="182" y="279"/>
                  </a:lnTo>
                  <a:lnTo>
                    <a:pt x="182" y="280"/>
                  </a:lnTo>
                  <a:lnTo>
                    <a:pt x="183" y="280"/>
                  </a:lnTo>
                  <a:lnTo>
                    <a:pt x="185" y="282"/>
                  </a:lnTo>
                  <a:lnTo>
                    <a:pt x="185" y="283"/>
                  </a:lnTo>
                  <a:lnTo>
                    <a:pt x="186" y="283"/>
                  </a:lnTo>
                  <a:lnTo>
                    <a:pt x="187" y="284"/>
                  </a:lnTo>
                  <a:lnTo>
                    <a:pt x="187" y="285"/>
                  </a:lnTo>
                  <a:lnTo>
                    <a:pt x="186" y="284"/>
                  </a:lnTo>
                  <a:lnTo>
                    <a:pt x="185" y="283"/>
                  </a:lnTo>
                  <a:lnTo>
                    <a:pt x="183" y="283"/>
                  </a:lnTo>
                  <a:lnTo>
                    <a:pt x="182" y="283"/>
                  </a:lnTo>
                  <a:lnTo>
                    <a:pt x="183" y="284"/>
                  </a:lnTo>
                  <a:lnTo>
                    <a:pt x="183" y="285"/>
                  </a:lnTo>
                  <a:lnTo>
                    <a:pt x="182" y="284"/>
                  </a:lnTo>
                  <a:lnTo>
                    <a:pt x="181" y="284"/>
                  </a:lnTo>
                  <a:lnTo>
                    <a:pt x="182" y="285"/>
                  </a:lnTo>
                  <a:lnTo>
                    <a:pt x="182" y="287"/>
                  </a:lnTo>
                  <a:lnTo>
                    <a:pt x="182" y="288"/>
                  </a:lnTo>
                  <a:lnTo>
                    <a:pt x="181" y="288"/>
                  </a:lnTo>
                  <a:lnTo>
                    <a:pt x="180" y="288"/>
                  </a:lnTo>
                  <a:lnTo>
                    <a:pt x="180" y="289"/>
                  </a:lnTo>
                  <a:lnTo>
                    <a:pt x="177" y="290"/>
                  </a:lnTo>
                  <a:lnTo>
                    <a:pt x="176" y="291"/>
                  </a:lnTo>
                  <a:lnTo>
                    <a:pt x="175" y="293"/>
                  </a:lnTo>
                  <a:lnTo>
                    <a:pt x="174" y="294"/>
                  </a:lnTo>
                  <a:lnTo>
                    <a:pt x="174" y="295"/>
                  </a:lnTo>
                  <a:lnTo>
                    <a:pt x="174" y="297"/>
                  </a:lnTo>
                  <a:lnTo>
                    <a:pt x="175" y="296"/>
                  </a:lnTo>
                  <a:lnTo>
                    <a:pt x="175" y="295"/>
                  </a:lnTo>
                  <a:lnTo>
                    <a:pt x="176" y="294"/>
                  </a:lnTo>
                  <a:lnTo>
                    <a:pt x="176" y="293"/>
                  </a:lnTo>
                  <a:lnTo>
                    <a:pt x="177" y="291"/>
                  </a:lnTo>
                  <a:lnTo>
                    <a:pt x="179" y="291"/>
                  </a:lnTo>
                  <a:lnTo>
                    <a:pt x="180" y="290"/>
                  </a:lnTo>
                  <a:lnTo>
                    <a:pt x="181" y="289"/>
                  </a:lnTo>
                  <a:lnTo>
                    <a:pt x="182" y="288"/>
                  </a:lnTo>
                  <a:lnTo>
                    <a:pt x="183" y="287"/>
                  </a:lnTo>
                  <a:lnTo>
                    <a:pt x="183" y="288"/>
                  </a:lnTo>
                  <a:lnTo>
                    <a:pt x="185" y="288"/>
                  </a:lnTo>
                  <a:lnTo>
                    <a:pt x="183" y="290"/>
                  </a:lnTo>
                  <a:lnTo>
                    <a:pt x="183" y="291"/>
                  </a:lnTo>
                  <a:lnTo>
                    <a:pt x="185" y="290"/>
                  </a:lnTo>
                  <a:lnTo>
                    <a:pt x="185" y="289"/>
                  </a:lnTo>
                  <a:lnTo>
                    <a:pt x="186" y="289"/>
                  </a:lnTo>
                  <a:lnTo>
                    <a:pt x="187" y="288"/>
                  </a:lnTo>
                  <a:lnTo>
                    <a:pt x="187" y="287"/>
                  </a:lnTo>
                  <a:lnTo>
                    <a:pt x="188" y="287"/>
                  </a:lnTo>
                  <a:lnTo>
                    <a:pt x="189" y="287"/>
                  </a:lnTo>
                  <a:lnTo>
                    <a:pt x="189" y="288"/>
                  </a:lnTo>
                  <a:lnTo>
                    <a:pt x="189" y="289"/>
                  </a:lnTo>
                  <a:lnTo>
                    <a:pt x="188" y="289"/>
                  </a:lnTo>
                  <a:lnTo>
                    <a:pt x="187" y="289"/>
                  </a:lnTo>
                  <a:lnTo>
                    <a:pt x="186" y="290"/>
                  </a:lnTo>
                  <a:lnTo>
                    <a:pt x="185" y="290"/>
                  </a:lnTo>
                  <a:lnTo>
                    <a:pt x="185" y="291"/>
                  </a:lnTo>
                  <a:lnTo>
                    <a:pt x="183" y="293"/>
                  </a:lnTo>
                  <a:lnTo>
                    <a:pt x="183" y="294"/>
                  </a:lnTo>
                  <a:lnTo>
                    <a:pt x="182" y="293"/>
                  </a:lnTo>
                  <a:lnTo>
                    <a:pt x="182" y="294"/>
                  </a:lnTo>
                  <a:lnTo>
                    <a:pt x="183" y="295"/>
                  </a:lnTo>
                  <a:lnTo>
                    <a:pt x="185" y="295"/>
                  </a:lnTo>
                  <a:lnTo>
                    <a:pt x="186" y="294"/>
                  </a:lnTo>
                  <a:lnTo>
                    <a:pt x="187" y="293"/>
                  </a:lnTo>
                  <a:lnTo>
                    <a:pt x="188" y="291"/>
                  </a:lnTo>
                  <a:lnTo>
                    <a:pt x="189" y="291"/>
                  </a:lnTo>
                  <a:lnTo>
                    <a:pt x="188" y="294"/>
                  </a:lnTo>
                  <a:lnTo>
                    <a:pt x="187" y="294"/>
                  </a:lnTo>
                  <a:lnTo>
                    <a:pt x="186" y="295"/>
                  </a:lnTo>
                  <a:lnTo>
                    <a:pt x="183" y="296"/>
                  </a:lnTo>
                  <a:lnTo>
                    <a:pt x="185" y="296"/>
                  </a:lnTo>
                  <a:lnTo>
                    <a:pt x="186" y="297"/>
                  </a:lnTo>
                  <a:lnTo>
                    <a:pt x="187" y="299"/>
                  </a:lnTo>
                  <a:lnTo>
                    <a:pt x="188" y="300"/>
                  </a:lnTo>
                  <a:lnTo>
                    <a:pt x="189" y="301"/>
                  </a:lnTo>
                  <a:lnTo>
                    <a:pt x="189" y="302"/>
                  </a:lnTo>
                  <a:lnTo>
                    <a:pt x="188" y="302"/>
                  </a:lnTo>
                  <a:lnTo>
                    <a:pt x="188" y="301"/>
                  </a:lnTo>
                  <a:lnTo>
                    <a:pt x="187" y="300"/>
                  </a:lnTo>
                  <a:lnTo>
                    <a:pt x="186" y="300"/>
                  </a:lnTo>
                  <a:lnTo>
                    <a:pt x="187" y="301"/>
                  </a:lnTo>
                  <a:lnTo>
                    <a:pt x="186" y="302"/>
                  </a:lnTo>
                  <a:lnTo>
                    <a:pt x="185" y="302"/>
                  </a:lnTo>
                  <a:lnTo>
                    <a:pt x="185" y="303"/>
                  </a:lnTo>
                  <a:lnTo>
                    <a:pt x="185" y="305"/>
                  </a:lnTo>
                  <a:lnTo>
                    <a:pt x="186" y="305"/>
                  </a:lnTo>
                  <a:lnTo>
                    <a:pt x="186" y="306"/>
                  </a:lnTo>
                  <a:lnTo>
                    <a:pt x="187" y="306"/>
                  </a:lnTo>
                  <a:lnTo>
                    <a:pt x="188" y="306"/>
                  </a:lnTo>
                  <a:lnTo>
                    <a:pt x="189" y="305"/>
                  </a:lnTo>
                  <a:lnTo>
                    <a:pt x="191" y="305"/>
                  </a:lnTo>
                  <a:lnTo>
                    <a:pt x="191" y="303"/>
                  </a:lnTo>
                  <a:lnTo>
                    <a:pt x="191" y="302"/>
                  </a:lnTo>
                  <a:lnTo>
                    <a:pt x="192" y="302"/>
                  </a:lnTo>
                  <a:lnTo>
                    <a:pt x="192" y="301"/>
                  </a:lnTo>
                  <a:lnTo>
                    <a:pt x="193" y="300"/>
                  </a:lnTo>
                  <a:lnTo>
                    <a:pt x="194" y="300"/>
                  </a:lnTo>
                  <a:lnTo>
                    <a:pt x="195" y="300"/>
                  </a:lnTo>
                  <a:lnTo>
                    <a:pt x="197" y="299"/>
                  </a:lnTo>
                  <a:lnTo>
                    <a:pt x="198" y="299"/>
                  </a:lnTo>
                  <a:lnTo>
                    <a:pt x="198" y="300"/>
                  </a:lnTo>
                  <a:lnTo>
                    <a:pt x="197" y="300"/>
                  </a:lnTo>
                  <a:lnTo>
                    <a:pt x="197" y="301"/>
                  </a:lnTo>
                  <a:lnTo>
                    <a:pt x="197" y="302"/>
                  </a:lnTo>
                  <a:lnTo>
                    <a:pt x="195" y="301"/>
                  </a:lnTo>
                  <a:lnTo>
                    <a:pt x="194" y="301"/>
                  </a:lnTo>
                  <a:lnTo>
                    <a:pt x="193" y="302"/>
                  </a:lnTo>
                  <a:lnTo>
                    <a:pt x="193" y="303"/>
                  </a:lnTo>
                  <a:lnTo>
                    <a:pt x="194" y="305"/>
                  </a:lnTo>
                  <a:lnTo>
                    <a:pt x="195" y="305"/>
                  </a:lnTo>
                  <a:lnTo>
                    <a:pt x="197" y="303"/>
                  </a:lnTo>
                  <a:lnTo>
                    <a:pt x="198" y="303"/>
                  </a:lnTo>
                  <a:lnTo>
                    <a:pt x="197" y="305"/>
                  </a:lnTo>
                  <a:lnTo>
                    <a:pt x="195" y="305"/>
                  </a:lnTo>
                  <a:lnTo>
                    <a:pt x="195" y="306"/>
                  </a:lnTo>
                  <a:lnTo>
                    <a:pt x="195" y="307"/>
                  </a:lnTo>
                  <a:lnTo>
                    <a:pt x="195" y="308"/>
                  </a:lnTo>
                  <a:lnTo>
                    <a:pt x="194" y="308"/>
                  </a:lnTo>
                  <a:lnTo>
                    <a:pt x="193" y="308"/>
                  </a:lnTo>
                  <a:lnTo>
                    <a:pt x="193" y="306"/>
                  </a:lnTo>
                  <a:lnTo>
                    <a:pt x="192" y="306"/>
                  </a:lnTo>
                  <a:lnTo>
                    <a:pt x="192" y="307"/>
                  </a:lnTo>
                  <a:lnTo>
                    <a:pt x="192" y="308"/>
                  </a:lnTo>
                  <a:lnTo>
                    <a:pt x="191" y="309"/>
                  </a:lnTo>
                  <a:lnTo>
                    <a:pt x="191" y="311"/>
                  </a:lnTo>
                  <a:lnTo>
                    <a:pt x="192" y="312"/>
                  </a:lnTo>
                  <a:lnTo>
                    <a:pt x="192" y="313"/>
                  </a:lnTo>
                  <a:lnTo>
                    <a:pt x="192" y="312"/>
                  </a:lnTo>
                  <a:lnTo>
                    <a:pt x="193" y="311"/>
                  </a:lnTo>
                  <a:lnTo>
                    <a:pt x="194" y="311"/>
                  </a:lnTo>
                  <a:lnTo>
                    <a:pt x="195" y="309"/>
                  </a:lnTo>
                  <a:lnTo>
                    <a:pt x="197" y="309"/>
                  </a:lnTo>
                  <a:lnTo>
                    <a:pt x="197" y="311"/>
                  </a:lnTo>
                  <a:lnTo>
                    <a:pt x="198" y="311"/>
                  </a:lnTo>
                  <a:lnTo>
                    <a:pt x="198" y="309"/>
                  </a:lnTo>
                  <a:lnTo>
                    <a:pt x="197" y="308"/>
                  </a:lnTo>
                  <a:lnTo>
                    <a:pt x="198" y="308"/>
                  </a:lnTo>
                  <a:lnTo>
                    <a:pt x="198" y="307"/>
                  </a:lnTo>
                  <a:lnTo>
                    <a:pt x="199" y="308"/>
                  </a:lnTo>
                  <a:lnTo>
                    <a:pt x="199" y="311"/>
                  </a:lnTo>
                  <a:lnTo>
                    <a:pt x="200" y="311"/>
                  </a:lnTo>
                  <a:lnTo>
                    <a:pt x="200" y="309"/>
                  </a:lnTo>
                  <a:lnTo>
                    <a:pt x="199" y="307"/>
                  </a:lnTo>
                  <a:lnTo>
                    <a:pt x="200" y="307"/>
                  </a:lnTo>
                  <a:lnTo>
                    <a:pt x="201" y="307"/>
                  </a:lnTo>
                  <a:lnTo>
                    <a:pt x="203" y="307"/>
                  </a:lnTo>
                  <a:lnTo>
                    <a:pt x="204" y="307"/>
                  </a:lnTo>
                  <a:lnTo>
                    <a:pt x="205" y="308"/>
                  </a:lnTo>
                  <a:lnTo>
                    <a:pt x="205" y="309"/>
                  </a:lnTo>
                  <a:lnTo>
                    <a:pt x="204" y="311"/>
                  </a:lnTo>
                  <a:lnTo>
                    <a:pt x="203" y="311"/>
                  </a:lnTo>
                  <a:lnTo>
                    <a:pt x="201" y="311"/>
                  </a:lnTo>
                  <a:lnTo>
                    <a:pt x="201" y="312"/>
                  </a:lnTo>
                  <a:lnTo>
                    <a:pt x="203" y="312"/>
                  </a:lnTo>
                  <a:lnTo>
                    <a:pt x="204" y="312"/>
                  </a:lnTo>
                  <a:lnTo>
                    <a:pt x="205" y="312"/>
                  </a:lnTo>
                  <a:lnTo>
                    <a:pt x="205" y="313"/>
                  </a:lnTo>
                  <a:lnTo>
                    <a:pt x="205" y="314"/>
                  </a:lnTo>
                  <a:lnTo>
                    <a:pt x="204" y="314"/>
                  </a:lnTo>
                  <a:lnTo>
                    <a:pt x="203" y="314"/>
                  </a:lnTo>
                  <a:lnTo>
                    <a:pt x="203" y="315"/>
                  </a:lnTo>
                  <a:lnTo>
                    <a:pt x="204" y="317"/>
                  </a:lnTo>
                  <a:lnTo>
                    <a:pt x="205" y="317"/>
                  </a:lnTo>
                  <a:lnTo>
                    <a:pt x="206" y="318"/>
                  </a:lnTo>
                  <a:lnTo>
                    <a:pt x="207" y="317"/>
                  </a:lnTo>
                  <a:lnTo>
                    <a:pt x="207" y="315"/>
                  </a:lnTo>
                  <a:lnTo>
                    <a:pt x="207" y="313"/>
                  </a:lnTo>
                  <a:lnTo>
                    <a:pt x="209" y="312"/>
                  </a:lnTo>
                  <a:lnTo>
                    <a:pt x="210" y="312"/>
                  </a:lnTo>
                  <a:lnTo>
                    <a:pt x="211" y="311"/>
                  </a:lnTo>
                  <a:lnTo>
                    <a:pt x="212" y="311"/>
                  </a:lnTo>
                  <a:lnTo>
                    <a:pt x="214" y="309"/>
                  </a:lnTo>
                  <a:lnTo>
                    <a:pt x="215" y="309"/>
                  </a:lnTo>
                  <a:lnTo>
                    <a:pt x="215" y="308"/>
                  </a:lnTo>
                  <a:lnTo>
                    <a:pt x="216" y="309"/>
                  </a:lnTo>
                  <a:lnTo>
                    <a:pt x="216" y="312"/>
                  </a:lnTo>
                  <a:lnTo>
                    <a:pt x="217" y="313"/>
                  </a:lnTo>
                  <a:lnTo>
                    <a:pt x="218" y="314"/>
                  </a:lnTo>
                  <a:lnTo>
                    <a:pt x="220" y="313"/>
                  </a:lnTo>
                  <a:lnTo>
                    <a:pt x="221" y="312"/>
                  </a:lnTo>
                  <a:lnTo>
                    <a:pt x="221" y="311"/>
                  </a:lnTo>
                  <a:lnTo>
                    <a:pt x="221" y="309"/>
                  </a:lnTo>
                  <a:lnTo>
                    <a:pt x="222" y="309"/>
                  </a:lnTo>
                  <a:lnTo>
                    <a:pt x="222" y="308"/>
                  </a:lnTo>
                  <a:lnTo>
                    <a:pt x="222" y="311"/>
                  </a:lnTo>
                  <a:lnTo>
                    <a:pt x="222" y="313"/>
                  </a:lnTo>
                  <a:lnTo>
                    <a:pt x="223" y="312"/>
                  </a:lnTo>
                  <a:lnTo>
                    <a:pt x="224" y="312"/>
                  </a:lnTo>
                  <a:lnTo>
                    <a:pt x="224" y="313"/>
                  </a:lnTo>
                  <a:lnTo>
                    <a:pt x="224" y="315"/>
                  </a:lnTo>
                  <a:lnTo>
                    <a:pt x="226" y="318"/>
                  </a:lnTo>
                  <a:lnTo>
                    <a:pt x="227" y="318"/>
                  </a:lnTo>
                  <a:lnTo>
                    <a:pt x="228" y="318"/>
                  </a:lnTo>
                  <a:lnTo>
                    <a:pt x="228" y="317"/>
                  </a:lnTo>
                  <a:lnTo>
                    <a:pt x="228" y="315"/>
                  </a:lnTo>
                  <a:lnTo>
                    <a:pt x="227" y="315"/>
                  </a:lnTo>
                  <a:lnTo>
                    <a:pt x="226" y="315"/>
                  </a:lnTo>
                  <a:lnTo>
                    <a:pt x="226" y="314"/>
                  </a:lnTo>
                  <a:lnTo>
                    <a:pt x="224" y="313"/>
                  </a:lnTo>
                  <a:lnTo>
                    <a:pt x="226" y="313"/>
                  </a:lnTo>
                  <a:lnTo>
                    <a:pt x="227" y="313"/>
                  </a:lnTo>
                  <a:lnTo>
                    <a:pt x="228" y="314"/>
                  </a:lnTo>
                  <a:lnTo>
                    <a:pt x="229" y="314"/>
                  </a:lnTo>
                  <a:lnTo>
                    <a:pt x="230" y="314"/>
                  </a:lnTo>
                  <a:lnTo>
                    <a:pt x="232" y="314"/>
                  </a:lnTo>
                  <a:lnTo>
                    <a:pt x="232" y="313"/>
                  </a:lnTo>
                  <a:lnTo>
                    <a:pt x="233" y="313"/>
                  </a:lnTo>
                  <a:lnTo>
                    <a:pt x="233" y="312"/>
                  </a:lnTo>
                  <a:lnTo>
                    <a:pt x="232" y="311"/>
                  </a:lnTo>
                  <a:lnTo>
                    <a:pt x="233" y="311"/>
                  </a:lnTo>
                  <a:lnTo>
                    <a:pt x="235" y="311"/>
                  </a:lnTo>
                  <a:lnTo>
                    <a:pt x="236" y="311"/>
                  </a:lnTo>
                  <a:lnTo>
                    <a:pt x="236" y="309"/>
                  </a:lnTo>
                  <a:lnTo>
                    <a:pt x="238" y="308"/>
                  </a:lnTo>
                  <a:lnTo>
                    <a:pt x="239" y="308"/>
                  </a:lnTo>
                  <a:lnTo>
                    <a:pt x="240" y="307"/>
                  </a:lnTo>
                  <a:lnTo>
                    <a:pt x="240" y="306"/>
                  </a:lnTo>
                  <a:lnTo>
                    <a:pt x="241" y="305"/>
                  </a:lnTo>
                  <a:lnTo>
                    <a:pt x="242" y="306"/>
                  </a:lnTo>
                  <a:lnTo>
                    <a:pt x="244" y="305"/>
                  </a:lnTo>
                  <a:lnTo>
                    <a:pt x="245" y="303"/>
                  </a:lnTo>
                  <a:lnTo>
                    <a:pt x="245" y="306"/>
                  </a:lnTo>
                  <a:lnTo>
                    <a:pt x="244" y="307"/>
                  </a:lnTo>
                  <a:lnTo>
                    <a:pt x="245" y="308"/>
                  </a:lnTo>
                  <a:lnTo>
                    <a:pt x="246" y="309"/>
                  </a:lnTo>
                  <a:lnTo>
                    <a:pt x="247" y="309"/>
                  </a:lnTo>
                  <a:lnTo>
                    <a:pt x="248" y="308"/>
                  </a:lnTo>
                  <a:lnTo>
                    <a:pt x="247" y="309"/>
                  </a:lnTo>
                  <a:lnTo>
                    <a:pt x="247" y="311"/>
                  </a:lnTo>
                  <a:lnTo>
                    <a:pt x="247" y="312"/>
                  </a:lnTo>
                  <a:lnTo>
                    <a:pt x="248" y="312"/>
                  </a:lnTo>
                  <a:lnTo>
                    <a:pt x="250" y="312"/>
                  </a:lnTo>
                  <a:lnTo>
                    <a:pt x="250" y="311"/>
                  </a:lnTo>
                  <a:lnTo>
                    <a:pt x="251" y="311"/>
                  </a:lnTo>
                  <a:lnTo>
                    <a:pt x="252" y="311"/>
                  </a:lnTo>
                  <a:lnTo>
                    <a:pt x="253" y="309"/>
                  </a:lnTo>
                  <a:lnTo>
                    <a:pt x="254" y="308"/>
                  </a:lnTo>
                  <a:lnTo>
                    <a:pt x="256" y="307"/>
                  </a:lnTo>
                  <a:lnTo>
                    <a:pt x="257" y="306"/>
                  </a:lnTo>
                  <a:lnTo>
                    <a:pt x="256" y="306"/>
                  </a:lnTo>
                  <a:lnTo>
                    <a:pt x="257" y="305"/>
                  </a:lnTo>
                  <a:lnTo>
                    <a:pt x="258" y="305"/>
                  </a:lnTo>
                  <a:lnTo>
                    <a:pt x="259" y="305"/>
                  </a:lnTo>
                  <a:lnTo>
                    <a:pt x="259" y="303"/>
                  </a:lnTo>
                  <a:lnTo>
                    <a:pt x="259" y="302"/>
                  </a:lnTo>
                  <a:lnTo>
                    <a:pt x="259" y="301"/>
                  </a:lnTo>
                  <a:lnTo>
                    <a:pt x="259" y="300"/>
                  </a:lnTo>
                  <a:lnTo>
                    <a:pt x="259" y="299"/>
                  </a:lnTo>
                  <a:lnTo>
                    <a:pt x="260" y="299"/>
                  </a:lnTo>
                  <a:lnTo>
                    <a:pt x="262" y="297"/>
                  </a:lnTo>
                  <a:lnTo>
                    <a:pt x="262" y="296"/>
                  </a:lnTo>
                  <a:lnTo>
                    <a:pt x="260" y="296"/>
                  </a:lnTo>
                  <a:lnTo>
                    <a:pt x="260" y="295"/>
                  </a:lnTo>
                  <a:lnTo>
                    <a:pt x="259" y="295"/>
                  </a:lnTo>
                  <a:lnTo>
                    <a:pt x="258" y="296"/>
                  </a:lnTo>
                  <a:lnTo>
                    <a:pt x="257" y="297"/>
                  </a:lnTo>
                  <a:lnTo>
                    <a:pt x="257" y="296"/>
                  </a:lnTo>
                  <a:lnTo>
                    <a:pt x="257" y="295"/>
                  </a:lnTo>
                  <a:lnTo>
                    <a:pt x="256" y="295"/>
                  </a:lnTo>
                  <a:lnTo>
                    <a:pt x="256" y="294"/>
                  </a:lnTo>
                  <a:lnTo>
                    <a:pt x="254" y="295"/>
                  </a:lnTo>
                  <a:lnTo>
                    <a:pt x="254" y="296"/>
                  </a:lnTo>
                  <a:lnTo>
                    <a:pt x="253" y="299"/>
                  </a:lnTo>
                  <a:lnTo>
                    <a:pt x="253" y="297"/>
                  </a:lnTo>
                  <a:lnTo>
                    <a:pt x="252" y="296"/>
                  </a:lnTo>
                  <a:lnTo>
                    <a:pt x="252" y="297"/>
                  </a:lnTo>
                  <a:lnTo>
                    <a:pt x="251" y="297"/>
                  </a:lnTo>
                  <a:lnTo>
                    <a:pt x="251" y="299"/>
                  </a:lnTo>
                  <a:lnTo>
                    <a:pt x="250" y="299"/>
                  </a:lnTo>
                  <a:lnTo>
                    <a:pt x="251" y="297"/>
                  </a:lnTo>
                  <a:lnTo>
                    <a:pt x="251" y="296"/>
                  </a:lnTo>
                  <a:lnTo>
                    <a:pt x="250" y="296"/>
                  </a:lnTo>
                  <a:lnTo>
                    <a:pt x="250" y="295"/>
                  </a:lnTo>
                  <a:lnTo>
                    <a:pt x="248" y="295"/>
                  </a:lnTo>
                  <a:lnTo>
                    <a:pt x="248" y="296"/>
                  </a:lnTo>
                  <a:lnTo>
                    <a:pt x="247" y="297"/>
                  </a:lnTo>
                  <a:lnTo>
                    <a:pt x="245" y="297"/>
                  </a:lnTo>
                  <a:lnTo>
                    <a:pt x="246" y="296"/>
                  </a:lnTo>
                  <a:lnTo>
                    <a:pt x="247" y="295"/>
                  </a:lnTo>
                  <a:lnTo>
                    <a:pt x="246" y="294"/>
                  </a:lnTo>
                  <a:lnTo>
                    <a:pt x="246" y="293"/>
                  </a:lnTo>
                  <a:lnTo>
                    <a:pt x="245" y="293"/>
                  </a:lnTo>
                  <a:lnTo>
                    <a:pt x="245" y="291"/>
                  </a:lnTo>
                  <a:lnTo>
                    <a:pt x="244" y="290"/>
                  </a:lnTo>
                  <a:lnTo>
                    <a:pt x="244" y="291"/>
                  </a:lnTo>
                  <a:lnTo>
                    <a:pt x="244" y="290"/>
                  </a:lnTo>
                  <a:lnTo>
                    <a:pt x="242" y="289"/>
                  </a:lnTo>
                  <a:lnTo>
                    <a:pt x="241" y="288"/>
                  </a:lnTo>
                  <a:lnTo>
                    <a:pt x="240" y="288"/>
                  </a:lnTo>
                  <a:lnTo>
                    <a:pt x="238" y="288"/>
                  </a:lnTo>
                  <a:lnTo>
                    <a:pt x="236" y="287"/>
                  </a:lnTo>
                  <a:lnTo>
                    <a:pt x="236" y="285"/>
                  </a:lnTo>
                  <a:lnTo>
                    <a:pt x="235" y="284"/>
                  </a:lnTo>
                  <a:lnTo>
                    <a:pt x="234" y="284"/>
                  </a:lnTo>
                  <a:lnTo>
                    <a:pt x="234" y="283"/>
                  </a:lnTo>
                  <a:lnTo>
                    <a:pt x="234" y="282"/>
                  </a:lnTo>
                  <a:lnTo>
                    <a:pt x="235" y="282"/>
                  </a:lnTo>
                  <a:lnTo>
                    <a:pt x="235" y="283"/>
                  </a:lnTo>
                  <a:lnTo>
                    <a:pt x="236" y="283"/>
                  </a:lnTo>
                  <a:lnTo>
                    <a:pt x="236" y="284"/>
                  </a:lnTo>
                  <a:lnTo>
                    <a:pt x="238" y="285"/>
                  </a:lnTo>
                  <a:lnTo>
                    <a:pt x="238" y="287"/>
                  </a:lnTo>
                  <a:lnTo>
                    <a:pt x="239" y="288"/>
                  </a:lnTo>
                  <a:lnTo>
                    <a:pt x="240" y="287"/>
                  </a:lnTo>
                  <a:lnTo>
                    <a:pt x="240" y="285"/>
                  </a:lnTo>
                  <a:lnTo>
                    <a:pt x="240" y="284"/>
                  </a:lnTo>
                  <a:lnTo>
                    <a:pt x="239" y="284"/>
                  </a:lnTo>
                  <a:lnTo>
                    <a:pt x="238" y="283"/>
                  </a:lnTo>
                  <a:lnTo>
                    <a:pt x="236" y="282"/>
                  </a:lnTo>
                  <a:lnTo>
                    <a:pt x="236" y="280"/>
                  </a:lnTo>
                  <a:lnTo>
                    <a:pt x="235" y="280"/>
                  </a:lnTo>
                  <a:lnTo>
                    <a:pt x="234" y="280"/>
                  </a:lnTo>
                  <a:lnTo>
                    <a:pt x="234" y="279"/>
                  </a:lnTo>
                  <a:lnTo>
                    <a:pt x="235" y="279"/>
                  </a:lnTo>
                  <a:lnTo>
                    <a:pt x="235" y="278"/>
                  </a:lnTo>
                  <a:lnTo>
                    <a:pt x="236" y="279"/>
                  </a:lnTo>
                  <a:lnTo>
                    <a:pt x="238" y="279"/>
                  </a:lnTo>
                  <a:lnTo>
                    <a:pt x="238" y="280"/>
                  </a:lnTo>
                  <a:lnTo>
                    <a:pt x="240" y="282"/>
                  </a:lnTo>
                  <a:lnTo>
                    <a:pt x="241" y="283"/>
                  </a:lnTo>
                  <a:lnTo>
                    <a:pt x="240" y="284"/>
                  </a:lnTo>
                  <a:lnTo>
                    <a:pt x="241" y="284"/>
                  </a:lnTo>
                  <a:lnTo>
                    <a:pt x="242" y="284"/>
                  </a:lnTo>
                  <a:lnTo>
                    <a:pt x="242" y="283"/>
                  </a:lnTo>
                  <a:lnTo>
                    <a:pt x="244" y="283"/>
                  </a:lnTo>
                  <a:lnTo>
                    <a:pt x="244" y="284"/>
                  </a:lnTo>
                  <a:lnTo>
                    <a:pt x="245" y="283"/>
                  </a:lnTo>
                  <a:lnTo>
                    <a:pt x="246" y="283"/>
                  </a:lnTo>
                  <a:lnTo>
                    <a:pt x="247" y="284"/>
                  </a:lnTo>
                  <a:lnTo>
                    <a:pt x="250" y="284"/>
                  </a:lnTo>
                  <a:lnTo>
                    <a:pt x="251" y="284"/>
                  </a:lnTo>
                  <a:lnTo>
                    <a:pt x="251" y="283"/>
                  </a:lnTo>
                  <a:lnTo>
                    <a:pt x="250" y="282"/>
                  </a:lnTo>
                  <a:lnTo>
                    <a:pt x="251" y="280"/>
                  </a:lnTo>
                  <a:lnTo>
                    <a:pt x="250" y="280"/>
                  </a:lnTo>
                  <a:lnTo>
                    <a:pt x="248" y="280"/>
                  </a:lnTo>
                  <a:lnTo>
                    <a:pt x="248" y="279"/>
                  </a:lnTo>
                  <a:lnTo>
                    <a:pt x="248" y="278"/>
                  </a:lnTo>
                  <a:lnTo>
                    <a:pt x="250" y="279"/>
                  </a:lnTo>
                  <a:lnTo>
                    <a:pt x="251" y="279"/>
                  </a:lnTo>
                  <a:lnTo>
                    <a:pt x="251" y="278"/>
                  </a:lnTo>
                  <a:lnTo>
                    <a:pt x="251" y="277"/>
                  </a:lnTo>
                  <a:lnTo>
                    <a:pt x="250" y="276"/>
                  </a:lnTo>
                  <a:lnTo>
                    <a:pt x="251" y="276"/>
                  </a:lnTo>
                  <a:lnTo>
                    <a:pt x="251" y="274"/>
                  </a:lnTo>
                  <a:lnTo>
                    <a:pt x="250" y="274"/>
                  </a:lnTo>
                  <a:lnTo>
                    <a:pt x="248" y="274"/>
                  </a:lnTo>
                  <a:lnTo>
                    <a:pt x="248" y="276"/>
                  </a:lnTo>
                  <a:lnTo>
                    <a:pt x="247" y="276"/>
                  </a:lnTo>
                  <a:lnTo>
                    <a:pt x="246" y="276"/>
                  </a:lnTo>
                  <a:lnTo>
                    <a:pt x="246" y="277"/>
                  </a:lnTo>
                  <a:lnTo>
                    <a:pt x="245" y="277"/>
                  </a:lnTo>
                  <a:lnTo>
                    <a:pt x="244" y="277"/>
                  </a:lnTo>
                  <a:lnTo>
                    <a:pt x="242" y="277"/>
                  </a:lnTo>
                  <a:lnTo>
                    <a:pt x="242" y="276"/>
                  </a:lnTo>
                  <a:lnTo>
                    <a:pt x="244" y="274"/>
                  </a:lnTo>
                  <a:lnTo>
                    <a:pt x="245" y="274"/>
                  </a:lnTo>
                  <a:lnTo>
                    <a:pt x="247" y="274"/>
                  </a:lnTo>
                  <a:lnTo>
                    <a:pt x="246" y="273"/>
                  </a:lnTo>
                  <a:lnTo>
                    <a:pt x="247" y="273"/>
                  </a:lnTo>
                  <a:lnTo>
                    <a:pt x="248" y="273"/>
                  </a:lnTo>
                  <a:lnTo>
                    <a:pt x="250" y="272"/>
                  </a:lnTo>
                  <a:lnTo>
                    <a:pt x="251" y="272"/>
                  </a:lnTo>
                  <a:lnTo>
                    <a:pt x="252" y="272"/>
                  </a:lnTo>
                  <a:lnTo>
                    <a:pt x="253" y="271"/>
                  </a:lnTo>
                  <a:lnTo>
                    <a:pt x="254" y="271"/>
                  </a:lnTo>
                  <a:lnTo>
                    <a:pt x="254" y="270"/>
                  </a:lnTo>
                  <a:lnTo>
                    <a:pt x="253" y="268"/>
                  </a:lnTo>
                  <a:lnTo>
                    <a:pt x="252" y="267"/>
                  </a:lnTo>
                  <a:lnTo>
                    <a:pt x="251" y="267"/>
                  </a:lnTo>
                  <a:lnTo>
                    <a:pt x="250" y="267"/>
                  </a:lnTo>
                  <a:lnTo>
                    <a:pt x="250" y="268"/>
                  </a:lnTo>
                  <a:lnTo>
                    <a:pt x="248" y="270"/>
                  </a:lnTo>
                  <a:lnTo>
                    <a:pt x="247" y="271"/>
                  </a:lnTo>
                  <a:lnTo>
                    <a:pt x="246" y="272"/>
                  </a:lnTo>
                  <a:lnTo>
                    <a:pt x="245" y="273"/>
                  </a:lnTo>
                  <a:lnTo>
                    <a:pt x="244" y="273"/>
                  </a:lnTo>
                  <a:lnTo>
                    <a:pt x="241" y="274"/>
                  </a:lnTo>
                  <a:lnTo>
                    <a:pt x="240" y="276"/>
                  </a:lnTo>
                  <a:lnTo>
                    <a:pt x="239" y="276"/>
                  </a:lnTo>
                  <a:lnTo>
                    <a:pt x="238" y="276"/>
                  </a:lnTo>
                  <a:lnTo>
                    <a:pt x="238" y="274"/>
                  </a:lnTo>
                  <a:lnTo>
                    <a:pt x="239" y="273"/>
                  </a:lnTo>
                  <a:lnTo>
                    <a:pt x="240" y="273"/>
                  </a:lnTo>
                  <a:lnTo>
                    <a:pt x="240" y="272"/>
                  </a:lnTo>
                  <a:lnTo>
                    <a:pt x="239" y="272"/>
                  </a:lnTo>
                  <a:lnTo>
                    <a:pt x="239" y="271"/>
                  </a:lnTo>
                  <a:lnTo>
                    <a:pt x="238" y="271"/>
                  </a:lnTo>
                  <a:lnTo>
                    <a:pt x="238" y="272"/>
                  </a:lnTo>
                  <a:lnTo>
                    <a:pt x="235" y="272"/>
                  </a:lnTo>
                  <a:lnTo>
                    <a:pt x="234" y="273"/>
                  </a:lnTo>
                  <a:lnTo>
                    <a:pt x="234" y="272"/>
                  </a:lnTo>
                  <a:lnTo>
                    <a:pt x="235" y="271"/>
                  </a:lnTo>
                  <a:lnTo>
                    <a:pt x="236" y="271"/>
                  </a:lnTo>
                  <a:lnTo>
                    <a:pt x="235" y="270"/>
                  </a:lnTo>
                  <a:lnTo>
                    <a:pt x="234" y="271"/>
                  </a:lnTo>
                  <a:lnTo>
                    <a:pt x="234" y="272"/>
                  </a:lnTo>
                  <a:lnTo>
                    <a:pt x="234" y="273"/>
                  </a:lnTo>
                  <a:lnTo>
                    <a:pt x="233" y="273"/>
                  </a:lnTo>
                  <a:lnTo>
                    <a:pt x="233" y="272"/>
                  </a:lnTo>
                  <a:lnTo>
                    <a:pt x="232" y="272"/>
                  </a:lnTo>
                  <a:lnTo>
                    <a:pt x="230" y="272"/>
                  </a:lnTo>
                  <a:lnTo>
                    <a:pt x="230" y="273"/>
                  </a:lnTo>
                  <a:lnTo>
                    <a:pt x="230" y="274"/>
                  </a:lnTo>
                  <a:lnTo>
                    <a:pt x="229" y="276"/>
                  </a:lnTo>
                  <a:lnTo>
                    <a:pt x="229" y="274"/>
                  </a:lnTo>
                  <a:lnTo>
                    <a:pt x="228" y="273"/>
                  </a:lnTo>
                  <a:lnTo>
                    <a:pt x="228" y="274"/>
                  </a:lnTo>
                  <a:lnTo>
                    <a:pt x="227" y="273"/>
                  </a:lnTo>
                  <a:lnTo>
                    <a:pt x="226" y="272"/>
                  </a:lnTo>
                  <a:lnTo>
                    <a:pt x="227" y="272"/>
                  </a:lnTo>
                  <a:lnTo>
                    <a:pt x="227" y="271"/>
                  </a:lnTo>
                  <a:lnTo>
                    <a:pt x="229" y="270"/>
                  </a:lnTo>
                  <a:lnTo>
                    <a:pt x="228" y="268"/>
                  </a:lnTo>
                  <a:lnTo>
                    <a:pt x="227" y="268"/>
                  </a:lnTo>
                  <a:lnTo>
                    <a:pt x="226" y="268"/>
                  </a:lnTo>
                  <a:lnTo>
                    <a:pt x="226" y="270"/>
                  </a:lnTo>
                  <a:lnTo>
                    <a:pt x="226" y="271"/>
                  </a:lnTo>
                  <a:lnTo>
                    <a:pt x="224" y="270"/>
                  </a:lnTo>
                  <a:lnTo>
                    <a:pt x="223" y="270"/>
                  </a:lnTo>
                  <a:lnTo>
                    <a:pt x="222" y="270"/>
                  </a:lnTo>
                  <a:lnTo>
                    <a:pt x="221" y="268"/>
                  </a:lnTo>
                  <a:lnTo>
                    <a:pt x="220" y="271"/>
                  </a:lnTo>
                  <a:lnTo>
                    <a:pt x="218" y="270"/>
                  </a:lnTo>
                  <a:lnTo>
                    <a:pt x="217" y="270"/>
                  </a:lnTo>
                  <a:lnTo>
                    <a:pt x="217" y="268"/>
                  </a:lnTo>
                  <a:lnTo>
                    <a:pt x="218" y="268"/>
                  </a:lnTo>
                  <a:lnTo>
                    <a:pt x="220" y="268"/>
                  </a:lnTo>
                  <a:lnTo>
                    <a:pt x="221" y="267"/>
                  </a:lnTo>
                  <a:lnTo>
                    <a:pt x="222" y="266"/>
                  </a:lnTo>
                  <a:lnTo>
                    <a:pt x="221" y="266"/>
                  </a:lnTo>
                  <a:lnTo>
                    <a:pt x="221" y="265"/>
                  </a:lnTo>
                  <a:lnTo>
                    <a:pt x="222" y="264"/>
                  </a:lnTo>
                  <a:lnTo>
                    <a:pt x="223" y="264"/>
                  </a:lnTo>
                  <a:lnTo>
                    <a:pt x="223" y="262"/>
                  </a:lnTo>
                  <a:lnTo>
                    <a:pt x="222" y="262"/>
                  </a:lnTo>
                  <a:lnTo>
                    <a:pt x="221" y="262"/>
                  </a:lnTo>
                  <a:lnTo>
                    <a:pt x="220" y="262"/>
                  </a:lnTo>
                  <a:lnTo>
                    <a:pt x="220" y="261"/>
                  </a:lnTo>
                  <a:lnTo>
                    <a:pt x="221" y="261"/>
                  </a:lnTo>
                  <a:lnTo>
                    <a:pt x="222" y="261"/>
                  </a:lnTo>
                  <a:lnTo>
                    <a:pt x="223" y="262"/>
                  </a:lnTo>
                  <a:lnTo>
                    <a:pt x="224" y="261"/>
                  </a:lnTo>
                  <a:lnTo>
                    <a:pt x="226" y="262"/>
                  </a:lnTo>
                  <a:lnTo>
                    <a:pt x="227" y="262"/>
                  </a:lnTo>
                  <a:lnTo>
                    <a:pt x="228" y="265"/>
                  </a:lnTo>
                  <a:lnTo>
                    <a:pt x="228" y="266"/>
                  </a:lnTo>
                  <a:lnTo>
                    <a:pt x="228" y="267"/>
                  </a:lnTo>
                  <a:lnTo>
                    <a:pt x="229" y="267"/>
                  </a:lnTo>
                  <a:lnTo>
                    <a:pt x="230" y="266"/>
                  </a:lnTo>
                  <a:lnTo>
                    <a:pt x="232" y="266"/>
                  </a:lnTo>
                  <a:lnTo>
                    <a:pt x="233" y="266"/>
                  </a:lnTo>
                  <a:lnTo>
                    <a:pt x="234" y="266"/>
                  </a:lnTo>
                  <a:lnTo>
                    <a:pt x="236" y="266"/>
                  </a:lnTo>
                  <a:lnTo>
                    <a:pt x="238" y="266"/>
                  </a:lnTo>
                  <a:lnTo>
                    <a:pt x="238" y="265"/>
                  </a:lnTo>
                  <a:lnTo>
                    <a:pt x="238" y="264"/>
                  </a:lnTo>
                  <a:lnTo>
                    <a:pt x="236" y="264"/>
                  </a:lnTo>
                  <a:lnTo>
                    <a:pt x="235" y="265"/>
                  </a:lnTo>
                  <a:lnTo>
                    <a:pt x="234" y="265"/>
                  </a:lnTo>
                  <a:lnTo>
                    <a:pt x="233" y="265"/>
                  </a:lnTo>
                  <a:lnTo>
                    <a:pt x="233" y="264"/>
                  </a:lnTo>
                  <a:lnTo>
                    <a:pt x="230" y="264"/>
                  </a:lnTo>
                  <a:lnTo>
                    <a:pt x="230" y="262"/>
                  </a:lnTo>
                  <a:lnTo>
                    <a:pt x="229" y="262"/>
                  </a:lnTo>
                  <a:lnTo>
                    <a:pt x="228" y="261"/>
                  </a:lnTo>
                  <a:lnTo>
                    <a:pt x="227" y="261"/>
                  </a:lnTo>
                  <a:lnTo>
                    <a:pt x="228" y="261"/>
                  </a:lnTo>
                  <a:lnTo>
                    <a:pt x="229" y="260"/>
                  </a:lnTo>
                  <a:lnTo>
                    <a:pt x="228" y="259"/>
                  </a:lnTo>
                  <a:lnTo>
                    <a:pt x="227" y="259"/>
                  </a:lnTo>
                  <a:lnTo>
                    <a:pt x="227" y="258"/>
                  </a:lnTo>
                  <a:lnTo>
                    <a:pt x="227" y="256"/>
                  </a:lnTo>
                  <a:lnTo>
                    <a:pt x="226" y="256"/>
                  </a:lnTo>
                  <a:lnTo>
                    <a:pt x="224" y="256"/>
                  </a:lnTo>
                  <a:lnTo>
                    <a:pt x="223" y="256"/>
                  </a:lnTo>
                  <a:lnTo>
                    <a:pt x="222" y="255"/>
                  </a:lnTo>
                  <a:lnTo>
                    <a:pt x="222" y="254"/>
                  </a:lnTo>
                  <a:lnTo>
                    <a:pt x="222" y="253"/>
                  </a:lnTo>
                  <a:lnTo>
                    <a:pt x="222" y="254"/>
                  </a:lnTo>
                  <a:lnTo>
                    <a:pt x="223" y="255"/>
                  </a:lnTo>
                  <a:lnTo>
                    <a:pt x="224" y="256"/>
                  </a:lnTo>
                  <a:lnTo>
                    <a:pt x="226" y="255"/>
                  </a:lnTo>
                  <a:lnTo>
                    <a:pt x="224" y="255"/>
                  </a:lnTo>
                  <a:lnTo>
                    <a:pt x="224" y="254"/>
                  </a:lnTo>
                  <a:lnTo>
                    <a:pt x="226" y="255"/>
                  </a:lnTo>
                  <a:lnTo>
                    <a:pt x="227" y="255"/>
                  </a:lnTo>
                  <a:lnTo>
                    <a:pt x="228" y="256"/>
                  </a:lnTo>
                  <a:lnTo>
                    <a:pt x="229" y="258"/>
                  </a:lnTo>
                  <a:lnTo>
                    <a:pt x="230" y="258"/>
                  </a:lnTo>
                  <a:lnTo>
                    <a:pt x="230" y="259"/>
                  </a:lnTo>
                  <a:lnTo>
                    <a:pt x="232" y="260"/>
                  </a:lnTo>
                  <a:lnTo>
                    <a:pt x="232" y="261"/>
                  </a:lnTo>
                  <a:lnTo>
                    <a:pt x="232" y="260"/>
                  </a:lnTo>
                  <a:lnTo>
                    <a:pt x="230" y="260"/>
                  </a:lnTo>
                  <a:lnTo>
                    <a:pt x="230" y="261"/>
                  </a:lnTo>
                  <a:lnTo>
                    <a:pt x="232" y="261"/>
                  </a:lnTo>
                  <a:lnTo>
                    <a:pt x="232" y="262"/>
                  </a:lnTo>
                  <a:lnTo>
                    <a:pt x="234" y="262"/>
                  </a:lnTo>
                  <a:lnTo>
                    <a:pt x="234" y="264"/>
                  </a:lnTo>
                  <a:lnTo>
                    <a:pt x="235" y="262"/>
                  </a:lnTo>
                  <a:lnTo>
                    <a:pt x="236" y="262"/>
                  </a:lnTo>
                  <a:lnTo>
                    <a:pt x="238" y="262"/>
                  </a:lnTo>
                  <a:lnTo>
                    <a:pt x="236" y="261"/>
                  </a:lnTo>
                  <a:lnTo>
                    <a:pt x="238" y="260"/>
                  </a:lnTo>
                  <a:lnTo>
                    <a:pt x="239" y="261"/>
                  </a:lnTo>
                  <a:lnTo>
                    <a:pt x="241" y="261"/>
                  </a:lnTo>
                  <a:lnTo>
                    <a:pt x="242" y="259"/>
                  </a:lnTo>
                  <a:lnTo>
                    <a:pt x="241" y="259"/>
                  </a:lnTo>
                  <a:lnTo>
                    <a:pt x="240" y="259"/>
                  </a:lnTo>
                  <a:lnTo>
                    <a:pt x="239" y="258"/>
                  </a:lnTo>
                  <a:lnTo>
                    <a:pt x="238" y="258"/>
                  </a:lnTo>
                  <a:lnTo>
                    <a:pt x="236" y="258"/>
                  </a:lnTo>
                  <a:lnTo>
                    <a:pt x="235" y="256"/>
                  </a:lnTo>
                  <a:lnTo>
                    <a:pt x="233" y="256"/>
                  </a:lnTo>
                  <a:lnTo>
                    <a:pt x="232" y="256"/>
                  </a:lnTo>
                  <a:lnTo>
                    <a:pt x="230" y="255"/>
                  </a:lnTo>
                  <a:lnTo>
                    <a:pt x="229" y="255"/>
                  </a:lnTo>
                  <a:lnTo>
                    <a:pt x="228" y="254"/>
                  </a:lnTo>
                  <a:lnTo>
                    <a:pt x="227" y="253"/>
                  </a:lnTo>
                  <a:lnTo>
                    <a:pt x="227" y="252"/>
                  </a:lnTo>
                  <a:lnTo>
                    <a:pt x="226" y="250"/>
                  </a:lnTo>
                  <a:lnTo>
                    <a:pt x="224" y="249"/>
                  </a:lnTo>
                  <a:lnTo>
                    <a:pt x="223" y="249"/>
                  </a:lnTo>
                  <a:lnTo>
                    <a:pt x="222" y="249"/>
                  </a:lnTo>
                  <a:lnTo>
                    <a:pt x="222" y="248"/>
                  </a:lnTo>
                  <a:lnTo>
                    <a:pt x="222" y="247"/>
                  </a:lnTo>
                  <a:lnTo>
                    <a:pt x="222" y="246"/>
                  </a:lnTo>
                  <a:lnTo>
                    <a:pt x="223" y="247"/>
                  </a:lnTo>
                  <a:lnTo>
                    <a:pt x="224" y="247"/>
                  </a:lnTo>
                  <a:lnTo>
                    <a:pt x="226" y="247"/>
                  </a:lnTo>
                  <a:lnTo>
                    <a:pt x="227" y="249"/>
                  </a:lnTo>
                  <a:lnTo>
                    <a:pt x="227" y="250"/>
                  </a:lnTo>
                  <a:lnTo>
                    <a:pt x="228" y="250"/>
                  </a:lnTo>
                  <a:lnTo>
                    <a:pt x="228" y="252"/>
                  </a:lnTo>
                  <a:lnTo>
                    <a:pt x="229" y="253"/>
                  </a:lnTo>
                  <a:lnTo>
                    <a:pt x="230" y="254"/>
                  </a:lnTo>
                  <a:lnTo>
                    <a:pt x="233" y="254"/>
                  </a:lnTo>
                  <a:lnTo>
                    <a:pt x="234" y="255"/>
                  </a:lnTo>
                  <a:lnTo>
                    <a:pt x="235" y="256"/>
                  </a:lnTo>
                  <a:lnTo>
                    <a:pt x="236" y="256"/>
                  </a:lnTo>
                  <a:lnTo>
                    <a:pt x="238" y="255"/>
                  </a:lnTo>
                  <a:lnTo>
                    <a:pt x="239" y="256"/>
                  </a:lnTo>
                  <a:lnTo>
                    <a:pt x="240" y="258"/>
                  </a:lnTo>
                  <a:lnTo>
                    <a:pt x="241" y="258"/>
                  </a:lnTo>
                  <a:lnTo>
                    <a:pt x="242" y="258"/>
                  </a:lnTo>
                  <a:lnTo>
                    <a:pt x="242" y="256"/>
                  </a:lnTo>
                  <a:lnTo>
                    <a:pt x="241" y="256"/>
                  </a:lnTo>
                  <a:lnTo>
                    <a:pt x="239" y="255"/>
                  </a:lnTo>
                  <a:lnTo>
                    <a:pt x="240" y="254"/>
                  </a:lnTo>
                  <a:lnTo>
                    <a:pt x="241" y="254"/>
                  </a:lnTo>
                  <a:lnTo>
                    <a:pt x="242" y="254"/>
                  </a:lnTo>
                  <a:lnTo>
                    <a:pt x="244" y="252"/>
                  </a:lnTo>
                  <a:lnTo>
                    <a:pt x="244" y="250"/>
                  </a:lnTo>
                  <a:lnTo>
                    <a:pt x="242" y="250"/>
                  </a:lnTo>
                  <a:lnTo>
                    <a:pt x="242" y="249"/>
                  </a:lnTo>
                  <a:lnTo>
                    <a:pt x="242" y="250"/>
                  </a:lnTo>
                  <a:lnTo>
                    <a:pt x="241" y="252"/>
                  </a:lnTo>
                  <a:lnTo>
                    <a:pt x="239" y="252"/>
                  </a:lnTo>
                  <a:lnTo>
                    <a:pt x="239" y="250"/>
                  </a:lnTo>
                  <a:lnTo>
                    <a:pt x="238" y="250"/>
                  </a:lnTo>
                  <a:lnTo>
                    <a:pt x="238" y="252"/>
                  </a:lnTo>
                  <a:lnTo>
                    <a:pt x="238" y="253"/>
                  </a:lnTo>
                  <a:lnTo>
                    <a:pt x="236" y="253"/>
                  </a:lnTo>
                  <a:lnTo>
                    <a:pt x="236" y="252"/>
                  </a:lnTo>
                  <a:lnTo>
                    <a:pt x="235" y="252"/>
                  </a:lnTo>
                  <a:lnTo>
                    <a:pt x="234" y="250"/>
                  </a:lnTo>
                  <a:lnTo>
                    <a:pt x="234" y="249"/>
                  </a:lnTo>
                  <a:lnTo>
                    <a:pt x="233" y="249"/>
                  </a:lnTo>
                  <a:lnTo>
                    <a:pt x="233" y="248"/>
                  </a:lnTo>
                  <a:lnTo>
                    <a:pt x="232" y="247"/>
                  </a:lnTo>
                  <a:lnTo>
                    <a:pt x="230" y="247"/>
                  </a:lnTo>
                  <a:lnTo>
                    <a:pt x="230" y="246"/>
                  </a:lnTo>
                  <a:lnTo>
                    <a:pt x="232" y="246"/>
                  </a:lnTo>
                  <a:lnTo>
                    <a:pt x="233" y="246"/>
                  </a:lnTo>
                  <a:lnTo>
                    <a:pt x="234" y="246"/>
                  </a:lnTo>
                  <a:lnTo>
                    <a:pt x="235" y="247"/>
                  </a:lnTo>
                  <a:lnTo>
                    <a:pt x="238" y="248"/>
                  </a:lnTo>
                  <a:lnTo>
                    <a:pt x="240" y="248"/>
                  </a:lnTo>
                  <a:lnTo>
                    <a:pt x="240" y="247"/>
                  </a:lnTo>
                  <a:lnTo>
                    <a:pt x="240" y="246"/>
                  </a:lnTo>
                  <a:lnTo>
                    <a:pt x="239" y="246"/>
                  </a:lnTo>
                  <a:lnTo>
                    <a:pt x="238" y="246"/>
                  </a:lnTo>
                  <a:lnTo>
                    <a:pt x="235" y="244"/>
                  </a:lnTo>
                  <a:lnTo>
                    <a:pt x="236" y="244"/>
                  </a:lnTo>
                  <a:lnTo>
                    <a:pt x="238" y="246"/>
                  </a:lnTo>
                  <a:lnTo>
                    <a:pt x="238" y="244"/>
                  </a:lnTo>
                  <a:lnTo>
                    <a:pt x="239" y="244"/>
                  </a:lnTo>
                  <a:lnTo>
                    <a:pt x="239" y="243"/>
                  </a:lnTo>
                  <a:lnTo>
                    <a:pt x="240" y="244"/>
                  </a:lnTo>
                  <a:lnTo>
                    <a:pt x="240" y="246"/>
                  </a:lnTo>
                  <a:lnTo>
                    <a:pt x="241" y="246"/>
                  </a:lnTo>
                  <a:lnTo>
                    <a:pt x="242" y="246"/>
                  </a:lnTo>
                  <a:lnTo>
                    <a:pt x="242" y="244"/>
                  </a:lnTo>
                  <a:lnTo>
                    <a:pt x="242" y="243"/>
                  </a:lnTo>
                  <a:lnTo>
                    <a:pt x="242" y="242"/>
                  </a:lnTo>
                  <a:lnTo>
                    <a:pt x="241" y="242"/>
                  </a:lnTo>
                  <a:lnTo>
                    <a:pt x="240" y="242"/>
                  </a:lnTo>
                  <a:lnTo>
                    <a:pt x="240" y="241"/>
                  </a:lnTo>
                  <a:lnTo>
                    <a:pt x="240" y="242"/>
                  </a:lnTo>
                  <a:lnTo>
                    <a:pt x="239" y="242"/>
                  </a:lnTo>
                  <a:lnTo>
                    <a:pt x="238" y="242"/>
                  </a:lnTo>
                  <a:lnTo>
                    <a:pt x="236" y="242"/>
                  </a:lnTo>
                  <a:lnTo>
                    <a:pt x="236" y="241"/>
                  </a:lnTo>
                  <a:lnTo>
                    <a:pt x="238" y="240"/>
                  </a:lnTo>
                  <a:lnTo>
                    <a:pt x="236" y="240"/>
                  </a:lnTo>
                  <a:lnTo>
                    <a:pt x="234" y="240"/>
                  </a:lnTo>
                  <a:lnTo>
                    <a:pt x="233" y="241"/>
                  </a:lnTo>
                  <a:lnTo>
                    <a:pt x="232" y="241"/>
                  </a:lnTo>
                  <a:lnTo>
                    <a:pt x="233" y="238"/>
                  </a:lnTo>
                  <a:lnTo>
                    <a:pt x="234" y="238"/>
                  </a:lnTo>
                  <a:lnTo>
                    <a:pt x="235" y="238"/>
                  </a:lnTo>
                  <a:lnTo>
                    <a:pt x="236" y="237"/>
                  </a:lnTo>
                  <a:lnTo>
                    <a:pt x="236" y="236"/>
                  </a:lnTo>
                  <a:lnTo>
                    <a:pt x="239" y="236"/>
                  </a:lnTo>
                  <a:lnTo>
                    <a:pt x="240" y="235"/>
                  </a:lnTo>
                  <a:lnTo>
                    <a:pt x="241" y="235"/>
                  </a:lnTo>
                  <a:lnTo>
                    <a:pt x="241" y="234"/>
                  </a:lnTo>
                  <a:lnTo>
                    <a:pt x="241" y="232"/>
                  </a:lnTo>
                  <a:lnTo>
                    <a:pt x="240" y="232"/>
                  </a:lnTo>
                  <a:lnTo>
                    <a:pt x="240" y="231"/>
                  </a:lnTo>
                  <a:lnTo>
                    <a:pt x="239" y="232"/>
                  </a:lnTo>
                  <a:lnTo>
                    <a:pt x="238" y="232"/>
                  </a:lnTo>
                  <a:lnTo>
                    <a:pt x="238" y="231"/>
                  </a:lnTo>
                  <a:lnTo>
                    <a:pt x="236" y="231"/>
                  </a:lnTo>
                  <a:lnTo>
                    <a:pt x="235" y="232"/>
                  </a:lnTo>
                  <a:lnTo>
                    <a:pt x="235" y="234"/>
                  </a:lnTo>
                  <a:lnTo>
                    <a:pt x="235" y="232"/>
                  </a:lnTo>
                  <a:lnTo>
                    <a:pt x="235" y="231"/>
                  </a:lnTo>
                  <a:lnTo>
                    <a:pt x="234" y="231"/>
                  </a:lnTo>
                  <a:lnTo>
                    <a:pt x="233" y="232"/>
                  </a:lnTo>
                  <a:lnTo>
                    <a:pt x="232" y="234"/>
                  </a:lnTo>
                  <a:lnTo>
                    <a:pt x="230" y="234"/>
                  </a:lnTo>
                  <a:lnTo>
                    <a:pt x="232" y="232"/>
                  </a:lnTo>
                  <a:lnTo>
                    <a:pt x="233" y="232"/>
                  </a:lnTo>
                  <a:lnTo>
                    <a:pt x="233" y="231"/>
                  </a:lnTo>
                  <a:lnTo>
                    <a:pt x="232" y="230"/>
                  </a:lnTo>
                  <a:lnTo>
                    <a:pt x="232" y="229"/>
                  </a:lnTo>
                  <a:lnTo>
                    <a:pt x="230" y="229"/>
                  </a:lnTo>
                  <a:lnTo>
                    <a:pt x="232" y="228"/>
                  </a:lnTo>
                  <a:lnTo>
                    <a:pt x="232" y="229"/>
                  </a:lnTo>
                  <a:lnTo>
                    <a:pt x="233" y="229"/>
                  </a:lnTo>
                  <a:lnTo>
                    <a:pt x="234" y="229"/>
                  </a:lnTo>
                  <a:lnTo>
                    <a:pt x="234" y="228"/>
                  </a:lnTo>
                  <a:lnTo>
                    <a:pt x="235" y="228"/>
                  </a:lnTo>
                  <a:lnTo>
                    <a:pt x="235" y="226"/>
                  </a:lnTo>
                  <a:lnTo>
                    <a:pt x="234" y="225"/>
                  </a:lnTo>
                  <a:lnTo>
                    <a:pt x="233" y="224"/>
                  </a:lnTo>
                  <a:lnTo>
                    <a:pt x="232" y="224"/>
                  </a:lnTo>
                  <a:lnTo>
                    <a:pt x="232" y="225"/>
                  </a:lnTo>
                  <a:lnTo>
                    <a:pt x="230" y="225"/>
                  </a:lnTo>
                  <a:lnTo>
                    <a:pt x="229" y="225"/>
                  </a:lnTo>
                  <a:lnTo>
                    <a:pt x="228" y="225"/>
                  </a:lnTo>
                  <a:lnTo>
                    <a:pt x="227" y="226"/>
                  </a:lnTo>
                  <a:lnTo>
                    <a:pt x="227" y="228"/>
                  </a:lnTo>
                  <a:lnTo>
                    <a:pt x="228" y="228"/>
                  </a:lnTo>
                  <a:lnTo>
                    <a:pt x="228" y="229"/>
                  </a:lnTo>
                  <a:lnTo>
                    <a:pt x="228" y="230"/>
                  </a:lnTo>
                  <a:lnTo>
                    <a:pt x="227" y="229"/>
                  </a:lnTo>
                  <a:lnTo>
                    <a:pt x="226" y="229"/>
                  </a:lnTo>
                  <a:lnTo>
                    <a:pt x="226" y="228"/>
                  </a:lnTo>
                  <a:lnTo>
                    <a:pt x="224" y="228"/>
                  </a:lnTo>
                  <a:lnTo>
                    <a:pt x="224" y="226"/>
                  </a:lnTo>
                  <a:lnTo>
                    <a:pt x="226" y="225"/>
                  </a:lnTo>
                  <a:lnTo>
                    <a:pt x="226" y="224"/>
                  </a:lnTo>
                  <a:lnTo>
                    <a:pt x="226" y="223"/>
                  </a:lnTo>
                  <a:lnTo>
                    <a:pt x="224" y="223"/>
                  </a:lnTo>
                  <a:lnTo>
                    <a:pt x="222" y="223"/>
                  </a:lnTo>
                  <a:lnTo>
                    <a:pt x="222" y="224"/>
                  </a:lnTo>
                  <a:lnTo>
                    <a:pt x="222" y="225"/>
                  </a:lnTo>
                  <a:lnTo>
                    <a:pt x="221" y="226"/>
                  </a:lnTo>
                  <a:lnTo>
                    <a:pt x="220" y="225"/>
                  </a:lnTo>
                  <a:lnTo>
                    <a:pt x="221" y="224"/>
                  </a:lnTo>
                  <a:lnTo>
                    <a:pt x="221" y="223"/>
                  </a:lnTo>
                  <a:lnTo>
                    <a:pt x="222" y="223"/>
                  </a:lnTo>
                  <a:lnTo>
                    <a:pt x="224" y="222"/>
                  </a:lnTo>
                  <a:lnTo>
                    <a:pt x="224" y="220"/>
                  </a:lnTo>
                  <a:lnTo>
                    <a:pt x="223" y="220"/>
                  </a:lnTo>
                  <a:lnTo>
                    <a:pt x="223" y="219"/>
                  </a:lnTo>
                  <a:lnTo>
                    <a:pt x="224" y="219"/>
                  </a:lnTo>
                  <a:lnTo>
                    <a:pt x="226" y="219"/>
                  </a:lnTo>
                  <a:lnTo>
                    <a:pt x="227" y="219"/>
                  </a:lnTo>
                  <a:lnTo>
                    <a:pt x="227" y="218"/>
                  </a:lnTo>
                  <a:lnTo>
                    <a:pt x="228" y="217"/>
                  </a:lnTo>
                  <a:lnTo>
                    <a:pt x="228" y="216"/>
                  </a:lnTo>
                  <a:lnTo>
                    <a:pt x="229" y="216"/>
                  </a:lnTo>
                  <a:lnTo>
                    <a:pt x="229" y="214"/>
                  </a:lnTo>
                  <a:lnTo>
                    <a:pt x="229" y="213"/>
                  </a:lnTo>
                  <a:lnTo>
                    <a:pt x="228" y="213"/>
                  </a:lnTo>
                  <a:lnTo>
                    <a:pt x="227" y="214"/>
                  </a:lnTo>
                  <a:lnTo>
                    <a:pt x="227" y="213"/>
                  </a:lnTo>
                  <a:lnTo>
                    <a:pt x="226" y="213"/>
                  </a:lnTo>
                  <a:lnTo>
                    <a:pt x="226" y="214"/>
                  </a:lnTo>
                  <a:lnTo>
                    <a:pt x="224" y="214"/>
                  </a:lnTo>
                  <a:lnTo>
                    <a:pt x="223" y="216"/>
                  </a:lnTo>
                  <a:lnTo>
                    <a:pt x="222" y="214"/>
                  </a:lnTo>
                  <a:lnTo>
                    <a:pt x="224" y="213"/>
                  </a:lnTo>
                  <a:lnTo>
                    <a:pt x="226" y="212"/>
                  </a:lnTo>
                  <a:lnTo>
                    <a:pt x="224" y="211"/>
                  </a:lnTo>
                  <a:lnTo>
                    <a:pt x="223" y="212"/>
                  </a:lnTo>
                  <a:lnTo>
                    <a:pt x="222" y="211"/>
                  </a:lnTo>
                  <a:lnTo>
                    <a:pt x="222" y="210"/>
                  </a:lnTo>
                  <a:lnTo>
                    <a:pt x="222" y="208"/>
                  </a:lnTo>
                  <a:lnTo>
                    <a:pt x="221" y="211"/>
                  </a:lnTo>
                  <a:lnTo>
                    <a:pt x="220" y="210"/>
                  </a:lnTo>
                  <a:lnTo>
                    <a:pt x="218" y="210"/>
                  </a:lnTo>
                  <a:lnTo>
                    <a:pt x="217" y="210"/>
                  </a:lnTo>
                  <a:lnTo>
                    <a:pt x="217" y="208"/>
                  </a:lnTo>
                  <a:lnTo>
                    <a:pt x="216" y="208"/>
                  </a:lnTo>
                  <a:lnTo>
                    <a:pt x="215" y="207"/>
                  </a:lnTo>
                  <a:lnTo>
                    <a:pt x="215" y="206"/>
                  </a:lnTo>
                  <a:lnTo>
                    <a:pt x="214" y="206"/>
                  </a:lnTo>
                  <a:lnTo>
                    <a:pt x="215" y="206"/>
                  </a:lnTo>
                  <a:lnTo>
                    <a:pt x="216" y="207"/>
                  </a:lnTo>
                  <a:lnTo>
                    <a:pt x="217" y="207"/>
                  </a:lnTo>
                  <a:lnTo>
                    <a:pt x="218" y="207"/>
                  </a:lnTo>
                  <a:lnTo>
                    <a:pt x="218" y="208"/>
                  </a:lnTo>
                  <a:lnTo>
                    <a:pt x="220" y="208"/>
                  </a:lnTo>
                  <a:lnTo>
                    <a:pt x="221" y="206"/>
                  </a:lnTo>
                  <a:lnTo>
                    <a:pt x="221" y="207"/>
                  </a:lnTo>
                  <a:lnTo>
                    <a:pt x="222" y="207"/>
                  </a:lnTo>
                  <a:lnTo>
                    <a:pt x="223" y="207"/>
                  </a:lnTo>
                  <a:lnTo>
                    <a:pt x="223" y="206"/>
                  </a:lnTo>
                  <a:lnTo>
                    <a:pt x="224" y="206"/>
                  </a:lnTo>
                  <a:lnTo>
                    <a:pt x="226" y="205"/>
                  </a:lnTo>
                  <a:lnTo>
                    <a:pt x="227" y="205"/>
                  </a:lnTo>
                  <a:lnTo>
                    <a:pt x="228" y="205"/>
                  </a:lnTo>
                  <a:lnTo>
                    <a:pt x="228" y="204"/>
                  </a:lnTo>
                  <a:lnTo>
                    <a:pt x="227" y="202"/>
                  </a:lnTo>
                  <a:lnTo>
                    <a:pt x="227" y="201"/>
                  </a:lnTo>
                  <a:lnTo>
                    <a:pt x="226" y="202"/>
                  </a:lnTo>
                  <a:lnTo>
                    <a:pt x="224" y="202"/>
                  </a:lnTo>
                  <a:lnTo>
                    <a:pt x="223" y="202"/>
                  </a:lnTo>
                  <a:lnTo>
                    <a:pt x="222" y="202"/>
                  </a:lnTo>
                  <a:lnTo>
                    <a:pt x="221" y="202"/>
                  </a:lnTo>
                  <a:lnTo>
                    <a:pt x="220" y="202"/>
                  </a:lnTo>
                  <a:lnTo>
                    <a:pt x="220" y="201"/>
                  </a:lnTo>
                  <a:lnTo>
                    <a:pt x="217" y="201"/>
                  </a:lnTo>
                  <a:lnTo>
                    <a:pt x="216" y="201"/>
                  </a:lnTo>
                  <a:lnTo>
                    <a:pt x="216" y="200"/>
                  </a:lnTo>
                  <a:lnTo>
                    <a:pt x="215" y="200"/>
                  </a:lnTo>
                  <a:lnTo>
                    <a:pt x="214" y="200"/>
                  </a:lnTo>
                  <a:lnTo>
                    <a:pt x="214" y="199"/>
                  </a:lnTo>
                  <a:lnTo>
                    <a:pt x="212" y="199"/>
                  </a:lnTo>
                  <a:lnTo>
                    <a:pt x="211" y="199"/>
                  </a:lnTo>
                  <a:lnTo>
                    <a:pt x="210" y="199"/>
                  </a:lnTo>
                  <a:lnTo>
                    <a:pt x="210" y="198"/>
                  </a:lnTo>
                  <a:lnTo>
                    <a:pt x="209" y="196"/>
                  </a:lnTo>
                  <a:lnTo>
                    <a:pt x="207" y="196"/>
                  </a:lnTo>
                  <a:lnTo>
                    <a:pt x="206" y="198"/>
                  </a:lnTo>
                  <a:lnTo>
                    <a:pt x="204" y="198"/>
                  </a:lnTo>
                  <a:lnTo>
                    <a:pt x="205" y="196"/>
                  </a:lnTo>
                  <a:lnTo>
                    <a:pt x="206" y="196"/>
                  </a:lnTo>
                  <a:lnTo>
                    <a:pt x="207" y="196"/>
                  </a:lnTo>
                  <a:lnTo>
                    <a:pt x="209" y="196"/>
                  </a:lnTo>
                  <a:lnTo>
                    <a:pt x="210" y="196"/>
                  </a:lnTo>
                  <a:lnTo>
                    <a:pt x="209" y="195"/>
                  </a:lnTo>
                  <a:lnTo>
                    <a:pt x="207" y="194"/>
                  </a:lnTo>
                  <a:lnTo>
                    <a:pt x="206" y="193"/>
                  </a:lnTo>
                  <a:lnTo>
                    <a:pt x="206" y="194"/>
                  </a:lnTo>
                  <a:lnTo>
                    <a:pt x="205" y="195"/>
                  </a:lnTo>
                  <a:lnTo>
                    <a:pt x="205" y="194"/>
                  </a:lnTo>
                  <a:lnTo>
                    <a:pt x="204" y="193"/>
                  </a:lnTo>
                  <a:lnTo>
                    <a:pt x="205" y="193"/>
                  </a:lnTo>
                  <a:lnTo>
                    <a:pt x="205" y="192"/>
                  </a:lnTo>
                  <a:lnTo>
                    <a:pt x="205" y="190"/>
                  </a:lnTo>
                  <a:lnTo>
                    <a:pt x="206" y="190"/>
                  </a:lnTo>
                  <a:lnTo>
                    <a:pt x="206" y="192"/>
                  </a:lnTo>
                  <a:lnTo>
                    <a:pt x="207" y="192"/>
                  </a:lnTo>
                  <a:lnTo>
                    <a:pt x="207" y="190"/>
                  </a:lnTo>
                  <a:lnTo>
                    <a:pt x="206" y="189"/>
                  </a:lnTo>
                  <a:lnTo>
                    <a:pt x="206" y="188"/>
                  </a:lnTo>
                  <a:lnTo>
                    <a:pt x="205" y="188"/>
                  </a:lnTo>
                  <a:lnTo>
                    <a:pt x="205" y="187"/>
                  </a:lnTo>
                  <a:lnTo>
                    <a:pt x="206" y="187"/>
                  </a:lnTo>
                  <a:lnTo>
                    <a:pt x="207" y="186"/>
                  </a:lnTo>
                  <a:lnTo>
                    <a:pt x="206" y="186"/>
                  </a:lnTo>
                  <a:lnTo>
                    <a:pt x="206" y="187"/>
                  </a:lnTo>
                  <a:lnTo>
                    <a:pt x="205" y="186"/>
                  </a:lnTo>
                  <a:lnTo>
                    <a:pt x="204" y="186"/>
                  </a:lnTo>
                  <a:lnTo>
                    <a:pt x="203" y="187"/>
                  </a:lnTo>
                  <a:lnTo>
                    <a:pt x="201" y="186"/>
                  </a:lnTo>
                  <a:lnTo>
                    <a:pt x="200" y="184"/>
                  </a:lnTo>
                  <a:lnTo>
                    <a:pt x="200" y="183"/>
                  </a:lnTo>
                  <a:lnTo>
                    <a:pt x="201" y="183"/>
                  </a:lnTo>
                  <a:lnTo>
                    <a:pt x="203" y="183"/>
                  </a:lnTo>
                  <a:lnTo>
                    <a:pt x="204" y="182"/>
                  </a:lnTo>
                  <a:lnTo>
                    <a:pt x="205" y="182"/>
                  </a:lnTo>
                  <a:lnTo>
                    <a:pt x="206" y="183"/>
                  </a:lnTo>
                  <a:lnTo>
                    <a:pt x="209" y="183"/>
                  </a:lnTo>
                  <a:lnTo>
                    <a:pt x="209" y="182"/>
                  </a:lnTo>
                  <a:lnTo>
                    <a:pt x="210" y="183"/>
                  </a:lnTo>
                  <a:lnTo>
                    <a:pt x="211" y="183"/>
                  </a:lnTo>
                  <a:lnTo>
                    <a:pt x="212" y="183"/>
                  </a:lnTo>
                  <a:lnTo>
                    <a:pt x="214" y="182"/>
                  </a:lnTo>
                  <a:lnTo>
                    <a:pt x="212" y="183"/>
                  </a:lnTo>
                  <a:lnTo>
                    <a:pt x="212" y="184"/>
                  </a:lnTo>
                  <a:lnTo>
                    <a:pt x="212" y="186"/>
                  </a:lnTo>
                  <a:lnTo>
                    <a:pt x="212" y="187"/>
                  </a:lnTo>
                  <a:lnTo>
                    <a:pt x="211" y="187"/>
                  </a:lnTo>
                  <a:lnTo>
                    <a:pt x="210" y="186"/>
                  </a:lnTo>
                  <a:lnTo>
                    <a:pt x="210" y="187"/>
                  </a:lnTo>
                  <a:lnTo>
                    <a:pt x="209" y="187"/>
                  </a:lnTo>
                  <a:lnTo>
                    <a:pt x="209" y="188"/>
                  </a:lnTo>
                  <a:lnTo>
                    <a:pt x="210" y="188"/>
                  </a:lnTo>
                  <a:lnTo>
                    <a:pt x="212" y="188"/>
                  </a:lnTo>
                  <a:lnTo>
                    <a:pt x="214" y="187"/>
                  </a:lnTo>
                  <a:lnTo>
                    <a:pt x="211" y="188"/>
                  </a:lnTo>
                  <a:lnTo>
                    <a:pt x="211" y="189"/>
                  </a:lnTo>
                  <a:lnTo>
                    <a:pt x="214" y="188"/>
                  </a:lnTo>
                  <a:lnTo>
                    <a:pt x="215" y="188"/>
                  </a:lnTo>
                  <a:lnTo>
                    <a:pt x="214" y="189"/>
                  </a:lnTo>
                  <a:lnTo>
                    <a:pt x="212" y="190"/>
                  </a:lnTo>
                  <a:lnTo>
                    <a:pt x="212" y="192"/>
                  </a:lnTo>
                  <a:lnTo>
                    <a:pt x="214" y="192"/>
                  </a:lnTo>
                  <a:lnTo>
                    <a:pt x="215" y="190"/>
                  </a:lnTo>
                  <a:lnTo>
                    <a:pt x="216" y="192"/>
                  </a:lnTo>
                  <a:lnTo>
                    <a:pt x="217" y="192"/>
                  </a:lnTo>
                  <a:lnTo>
                    <a:pt x="217" y="193"/>
                  </a:lnTo>
                  <a:lnTo>
                    <a:pt x="218" y="193"/>
                  </a:lnTo>
                  <a:lnTo>
                    <a:pt x="220" y="192"/>
                  </a:lnTo>
                  <a:lnTo>
                    <a:pt x="221" y="193"/>
                  </a:lnTo>
                  <a:lnTo>
                    <a:pt x="222" y="193"/>
                  </a:lnTo>
                  <a:lnTo>
                    <a:pt x="223" y="193"/>
                  </a:lnTo>
                  <a:lnTo>
                    <a:pt x="224" y="192"/>
                  </a:lnTo>
                  <a:lnTo>
                    <a:pt x="224" y="190"/>
                  </a:lnTo>
                  <a:lnTo>
                    <a:pt x="226" y="192"/>
                  </a:lnTo>
                  <a:lnTo>
                    <a:pt x="227" y="193"/>
                  </a:lnTo>
                  <a:lnTo>
                    <a:pt x="227" y="194"/>
                  </a:lnTo>
                  <a:lnTo>
                    <a:pt x="228" y="195"/>
                  </a:lnTo>
                  <a:lnTo>
                    <a:pt x="230" y="198"/>
                  </a:lnTo>
                  <a:lnTo>
                    <a:pt x="230" y="196"/>
                  </a:lnTo>
                  <a:lnTo>
                    <a:pt x="230" y="194"/>
                  </a:lnTo>
                  <a:lnTo>
                    <a:pt x="229" y="194"/>
                  </a:lnTo>
                  <a:lnTo>
                    <a:pt x="229" y="193"/>
                  </a:lnTo>
                  <a:lnTo>
                    <a:pt x="230" y="193"/>
                  </a:lnTo>
                  <a:lnTo>
                    <a:pt x="232" y="193"/>
                  </a:lnTo>
                  <a:lnTo>
                    <a:pt x="233" y="194"/>
                  </a:lnTo>
                  <a:lnTo>
                    <a:pt x="234" y="194"/>
                  </a:lnTo>
                  <a:lnTo>
                    <a:pt x="235" y="196"/>
                  </a:lnTo>
                  <a:lnTo>
                    <a:pt x="236" y="199"/>
                  </a:lnTo>
                  <a:lnTo>
                    <a:pt x="235" y="200"/>
                  </a:lnTo>
                  <a:lnTo>
                    <a:pt x="238" y="201"/>
                  </a:lnTo>
                  <a:lnTo>
                    <a:pt x="239" y="201"/>
                  </a:lnTo>
                  <a:lnTo>
                    <a:pt x="239" y="202"/>
                  </a:lnTo>
                  <a:lnTo>
                    <a:pt x="240" y="202"/>
                  </a:lnTo>
                  <a:lnTo>
                    <a:pt x="242" y="204"/>
                  </a:lnTo>
                  <a:lnTo>
                    <a:pt x="244" y="202"/>
                  </a:lnTo>
                  <a:lnTo>
                    <a:pt x="244" y="201"/>
                  </a:lnTo>
                  <a:lnTo>
                    <a:pt x="242" y="201"/>
                  </a:lnTo>
                  <a:lnTo>
                    <a:pt x="242" y="200"/>
                  </a:lnTo>
                  <a:lnTo>
                    <a:pt x="241" y="199"/>
                  </a:lnTo>
                  <a:lnTo>
                    <a:pt x="240" y="199"/>
                  </a:lnTo>
                  <a:lnTo>
                    <a:pt x="240" y="198"/>
                  </a:lnTo>
                  <a:lnTo>
                    <a:pt x="239" y="196"/>
                  </a:lnTo>
                  <a:lnTo>
                    <a:pt x="240" y="196"/>
                  </a:lnTo>
                  <a:lnTo>
                    <a:pt x="241" y="195"/>
                  </a:lnTo>
                  <a:lnTo>
                    <a:pt x="241" y="194"/>
                  </a:lnTo>
                  <a:lnTo>
                    <a:pt x="239" y="194"/>
                  </a:lnTo>
                  <a:lnTo>
                    <a:pt x="238" y="193"/>
                  </a:lnTo>
                  <a:lnTo>
                    <a:pt x="238" y="192"/>
                  </a:lnTo>
                  <a:lnTo>
                    <a:pt x="236" y="190"/>
                  </a:lnTo>
                  <a:lnTo>
                    <a:pt x="235" y="189"/>
                  </a:lnTo>
                  <a:lnTo>
                    <a:pt x="235" y="188"/>
                  </a:lnTo>
                  <a:lnTo>
                    <a:pt x="236" y="189"/>
                  </a:lnTo>
                  <a:lnTo>
                    <a:pt x="238" y="190"/>
                  </a:lnTo>
                  <a:lnTo>
                    <a:pt x="240" y="192"/>
                  </a:lnTo>
                  <a:lnTo>
                    <a:pt x="241" y="193"/>
                  </a:lnTo>
                  <a:lnTo>
                    <a:pt x="242" y="193"/>
                  </a:lnTo>
                  <a:lnTo>
                    <a:pt x="244" y="190"/>
                  </a:lnTo>
                  <a:lnTo>
                    <a:pt x="244" y="193"/>
                  </a:lnTo>
                  <a:lnTo>
                    <a:pt x="245" y="194"/>
                  </a:lnTo>
                  <a:lnTo>
                    <a:pt x="246" y="194"/>
                  </a:lnTo>
                  <a:lnTo>
                    <a:pt x="246" y="193"/>
                  </a:lnTo>
                  <a:lnTo>
                    <a:pt x="247" y="193"/>
                  </a:lnTo>
                  <a:lnTo>
                    <a:pt x="248" y="194"/>
                  </a:lnTo>
                  <a:lnTo>
                    <a:pt x="251" y="194"/>
                  </a:lnTo>
                  <a:lnTo>
                    <a:pt x="253" y="194"/>
                  </a:lnTo>
                  <a:lnTo>
                    <a:pt x="253" y="193"/>
                  </a:lnTo>
                  <a:lnTo>
                    <a:pt x="254" y="193"/>
                  </a:lnTo>
                  <a:lnTo>
                    <a:pt x="254" y="192"/>
                  </a:lnTo>
                  <a:lnTo>
                    <a:pt x="256" y="190"/>
                  </a:lnTo>
                  <a:lnTo>
                    <a:pt x="258" y="190"/>
                  </a:lnTo>
                  <a:lnTo>
                    <a:pt x="258" y="189"/>
                  </a:lnTo>
                  <a:lnTo>
                    <a:pt x="259" y="189"/>
                  </a:lnTo>
                  <a:lnTo>
                    <a:pt x="260" y="189"/>
                  </a:lnTo>
                  <a:lnTo>
                    <a:pt x="260" y="188"/>
                  </a:lnTo>
                  <a:lnTo>
                    <a:pt x="263" y="188"/>
                  </a:lnTo>
                  <a:lnTo>
                    <a:pt x="264" y="188"/>
                  </a:lnTo>
                  <a:lnTo>
                    <a:pt x="265" y="187"/>
                  </a:lnTo>
                  <a:lnTo>
                    <a:pt x="265" y="186"/>
                  </a:lnTo>
                  <a:lnTo>
                    <a:pt x="266" y="186"/>
                  </a:lnTo>
                  <a:lnTo>
                    <a:pt x="268" y="187"/>
                  </a:lnTo>
                  <a:lnTo>
                    <a:pt x="269" y="187"/>
                  </a:lnTo>
                  <a:lnTo>
                    <a:pt x="269" y="186"/>
                  </a:lnTo>
                  <a:lnTo>
                    <a:pt x="268" y="184"/>
                  </a:lnTo>
                  <a:lnTo>
                    <a:pt x="268" y="183"/>
                  </a:lnTo>
                  <a:lnTo>
                    <a:pt x="269" y="182"/>
                  </a:lnTo>
                  <a:lnTo>
                    <a:pt x="271" y="183"/>
                  </a:lnTo>
                  <a:lnTo>
                    <a:pt x="272" y="182"/>
                  </a:lnTo>
                  <a:lnTo>
                    <a:pt x="274" y="181"/>
                  </a:lnTo>
                  <a:lnTo>
                    <a:pt x="275" y="181"/>
                  </a:lnTo>
                  <a:lnTo>
                    <a:pt x="276" y="181"/>
                  </a:lnTo>
                  <a:lnTo>
                    <a:pt x="277" y="181"/>
                  </a:lnTo>
                  <a:lnTo>
                    <a:pt x="277" y="180"/>
                  </a:lnTo>
                  <a:lnTo>
                    <a:pt x="277" y="178"/>
                  </a:lnTo>
                  <a:lnTo>
                    <a:pt x="277" y="177"/>
                  </a:lnTo>
                  <a:lnTo>
                    <a:pt x="277" y="176"/>
                  </a:lnTo>
                  <a:lnTo>
                    <a:pt x="275" y="176"/>
                  </a:lnTo>
                  <a:lnTo>
                    <a:pt x="272" y="176"/>
                  </a:lnTo>
                  <a:lnTo>
                    <a:pt x="271" y="176"/>
                  </a:lnTo>
                  <a:lnTo>
                    <a:pt x="269" y="177"/>
                  </a:lnTo>
                  <a:lnTo>
                    <a:pt x="269" y="176"/>
                  </a:lnTo>
                  <a:lnTo>
                    <a:pt x="268" y="177"/>
                  </a:lnTo>
                  <a:lnTo>
                    <a:pt x="266" y="177"/>
                  </a:lnTo>
                  <a:lnTo>
                    <a:pt x="266" y="176"/>
                  </a:lnTo>
                  <a:lnTo>
                    <a:pt x="268" y="175"/>
                  </a:lnTo>
                  <a:lnTo>
                    <a:pt x="269" y="173"/>
                  </a:lnTo>
                  <a:lnTo>
                    <a:pt x="269" y="172"/>
                  </a:lnTo>
                  <a:lnTo>
                    <a:pt x="268" y="172"/>
                  </a:lnTo>
                  <a:lnTo>
                    <a:pt x="265" y="173"/>
                  </a:lnTo>
                  <a:lnTo>
                    <a:pt x="264" y="172"/>
                  </a:lnTo>
                  <a:lnTo>
                    <a:pt x="265" y="172"/>
                  </a:lnTo>
                  <a:lnTo>
                    <a:pt x="268" y="171"/>
                  </a:lnTo>
                  <a:lnTo>
                    <a:pt x="266" y="171"/>
                  </a:lnTo>
                  <a:lnTo>
                    <a:pt x="268" y="171"/>
                  </a:lnTo>
                  <a:lnTo>
                    <a:pt x="269" y="170"/>
                  </a:lnTo>
                  <a:lnTo>
                    <a:pt x="270" y="169"/>
                  </a:lnTo>
                  <a:lnTo>
                    <a:pt x="270" y="167"/>
                  </a:lnTo>
                  <a:lnTo>
                    <a:pt x="271" y="166"/>
                  </a:lnTo>
                  <a:lnTo>
                    <a:pt x="271" y="167"/>
                  </a:lnTo>
                  <a:lnTo>
                    <a:pt x="271" y="169"/>
                  </a:lnTo>
                  <a:lnTo>
                    <a:pt x="274" y="169"/>
                  </a:lnTo>
                  <a:lnTo>
                    <a:pt x="275" y="169"/>
                  </a:lnTo>
                  <a:lnTo>
                    <a:pt x="276" y="167"/>
                  </a:lnTo>
                  <a:lnTo>
                    <a:pt x="276" y="166"/>
                  </a:lnTo>
                  <a:lnTo>
                    <a:pt x="275" y="166"/>
                  </a:lnTo>
                  <a:lnTo>
                    <a:pt x="274" y="166"/>
                  </a:lnTo>
                  <a:lnTo>
                    <a:pt x="272" y="166"/>
                  </a:lnTo>
                  <a:lnTo>
                    <a:pt x="272" y="165"/>
                  </a:lnTo>
                  <a:lnTo>
                    <a:pt x="272" y="164"/>
                  </a:lnTo>
                  <a:lnTo>
                    <a:pt x="274" y="164"/>
                  </a:lnTo>
                  <a:lnTo>
                    <a:pt x="274" y="163"/>
                  </a:lnTo>
                  <a:lnTo>
                    <a:pt x="274" y="161"/>
                  </a:lnTo>
                  <a:lnTo>
                    <a:pt x="274" y="163"/>
                  </a:lnTo>
                  <a:lnTo>
                    <a:pt x="275" y="164"/>
                  </a:lnTo>
                  <a:lnTo>
                    <a:pt x="276" y="164"/>
                  </a:lnTo>
                  <a:lnTo>
                    <a:pt x="277" y="165"/>
                  </a:lnTo>
                  <a:lnTo>
                    <a:pt x="280" y="165"/>
                  </a:lnTo>
                  <a:lnTo>
                    <a:pt x="281" y="165"/>
                  </a:lnTo>
                  <a:lnTo>
                    <a:pt x="282" y="164"/>
                  </a:lnTo>
                  <a:lnTo>
                    <a:pt x="282" y="163"/>
                  </a:lnTo>
                  <a:lnTo>
                    <a:pt x="282" y="161"/>
                  </a:lnTo>
                  <a:lnTo>
                    <a:pt x="280" y="163"/>
                  </a:lnTo>
                  <a:lnTo>
                    <a:pt x="279" y="161"/>
                  </a:lnTo>
                  <a:lnTo>
                    <a:pt x="277" y="161"/>
                  </a:lnTo>
                  <a:lnTo>
                    <a:pt x="276" y="160"/>
                  </a:lnTo>
                  <a:lnTo>
                    <a:pt x="276" y="161"/>
                  </a:lnTo>
                  <a:lnTo>
                    <a:pt x="275" y="160"/>
                  </a:lnTo>
                  <a:lnTo>
                    <a:pt x="275" y="159"/>
                  </a:lnTo>
                  <a:lnTo>
                    <a:pt x="274" y="158"/>
                  </a:lnTo>
                  <a:lnTo>
                    <a:pt x="275" y="157"/>
                  </a:lnTo>
                  <a:lnTo>
                    <a:pt x="276" y="157"/>
                  </a:lnTo>
                  <a:lnTo>
                    <a:pt x="277" y="158"/>
                  </a:lnTo>
                  <a:lnTo>
                    <a:pt x="277" y="159"/>
                  </a:lnTo>
                  <a:lnTo>
                    <a:pt x="279" y="160"/>
                  </a:lnTo>
                  <a:lnTo>
                    <a:pt x="280" y="160"/>
                  </a:lnTo>
                  <a:lnTo>
                    <a:pt x="281" y="160"/>
                  </a:lnTo>
                  <a:lnTo>
                    <a:pt x="281" y="159"/>
                  </a:lnTo>
                  <a:lnTo>
                    <a:pt x="282" y="159"/>
                  </a:lnTo>
                  <a:lnTo>
                    <a:pt x="282" y="160"/>
                  </a:lnTo>
                  <a:lnTo>
                    <a:pt x="285" y="160"/>
                  </a:lnTo>
                  <a:lnTo>
                    <a:pt x="285" y="159"/>
                  </a:lnTo>
                  <a:lnTo>
                    <a:pt x="285" y="158"/>
                  </a:lnTo>
                  <a:lnTo>
                    <a:pt x="283" y="158"/>
                  </a:lnTo>
                  <a:lnTo>
                    <a:pt x="282" y="158"/>
                  </a:lnTo>
                  <a:lnTo>
                    <a:pt x="280" y="157"/>
                  </a:lnTo>
                  <a:lnTo>
                    <a:pt x="281" y="155"/>
                  </a:lnTo>
                  <a:lnTo>
                    <a:pt x="282" y="155"/>
                  </a:lnTo>
                  <a:lnTo>
                    <a:pt x="283" y="157"/>
                  </a:lnTo>
                  <a:lnTo>
                    <a:pt x="285" y="158"/>
                  </a:lnTo>
                  <a:lnTo>
                    <a:pt x="286" y="159"/>
                  </a:lnTo>
                  <a:lnTo>
                    <a:pt x="286" y="160"/>
                  </a:lnTo>
                  <a:lnTo>
                    <a:pt x="288" y="159"/>
                  </a:lnTo>
                  <a:lnTo>
                    <a:pt x="289" y="159"/>
                  </a:lnTo>
                  <a:lnTo>
                    <a:pt x="289" y="158"/>
                  </a:lnTo>
                  <a:lnTo>
                    <a:pt x="289" y="157"/>
                  </a:lnTo>
                  <a:lnTo>
                    <a:pt x="287" y="157"/>
                  </a:lnTo>
                  <a:lnTo>
                    <a:pt x="286" y="158"/>
                  </a:lnTo>
                  <a:lnTo>
                    <a:pt x="285" y="158"/>
                  </a:lnTo>
                  <a:lnTo>
                    <a:pt x="285" y="157"/>
                  </a:lnTo>
                  <a:lnTo>
                    <a:pt x="286" y="155"/>
                  </a:lnTo>
                  <a:lnTo>
                    <a:pt x="288" y="154"/>
                  </a:lnTo>
                  <a:lnTo>
                    <a:pt x="288" y="153"/>
                  </a:lnTo>
                  <a:lnTo>
                    <a:pt x="289" y="152"/>
                  </a:lnTo>
                  <a:lnTo>
                    <a:pt x="291" y="153"/>
                  </a:lnTo>
                  <a:lnTo>
                    <a:pt x="292" y="152"/>
                  </a:lnTo>
                  <a:lnTo>
                    <a:pt x="293" y="152"/>
                  </a:lnTo>
                  <a:lnTo>
                    <a:pt x="292" y="149"/>
                  </a:lnTo>
                  <a:lnTo>
                    <a:pt x="293" y="148"/>
                  </a:lnTo>
                  <a:lnTo>
                    <a:pt x="294" y="148"/>
                  </a:lnTo>
                  <a:lnTo>
                    <a:pt x="295" y="147"/>
                  </a:lnTo>
                  <a:lnTo>
                    <a:pt x="295" y="146"/>
                  </a:lnTo>
                  <a:lnTo>
                    <a:pt x="297" y="145"/>
                  </a:lnTo>
                  <a:lnTo>
                    <a:pt x="297" y="143"/>
                  </a:lnTo>
                  <a:lnTo>
                    <a:pt x="295" y="142"/>
                  </a:lnTo>
                  <a:lnTo>
                    <a:pt x="294" y="143"/>
                  </a:lnTo>
                  <a:lnTo>
                    <a:pt x="293" y="145"/>
                  </a:lnTo>
                  <a:lnTo>
                    <a:pt x="293" y="146"/>
                  </a:lnTo>
                  <a:lnTo>
                    <a:pt x="292" y="146"/>
                  </a:lnTo>
                  <a:lnTo>
                    <a:pt x="292" y="145"/>
                  </a:lnTo>
                  <a:lnTo>
                    <a:pt x="292" y="143"/>
                  </a:lnTo>
                  <a:lnTo>
                    <a:pt x="291" y="143"/>
                  </a:lnTo>
                  <a:lnTo>
                    <a:pt x="289" y="142"/>
                  </a:lnTo>
                  <a:lnTo>
                    <a:pt x="288" y="142"/>
                  </a:lnTo>
                  <a:lnTo>
                    <a:pt x="288" y="141"/>
                  </a:lnTo>
                  <a:lnTo>
                    <a:pt x="288" y="140"/>
                  </a:lnTo>
                  <a:lnTo>
                    <a:pt x="287" y="140"/>
                  </a:lnTo>
                  <a:lnTo>
                    <a:pt x="286" y="141"/>
                  </a:lnTo>
                  <a:lnTo>
                    <a:pt x="285" y="142"/>
                  </a:lnTo>
                  <a:lnTo>
                    <a:pt x="282" y="142"/>
                  </a:lnTo>
                  <a:lnTo>
                    <a:pt x="281" y="142"/>
                  </a:lnTo>
                  <a:lnTo>
                    <a:pt x="281" y="141"/>
                  </a:lnTo>
                  <a:lnTo>
                    <a:pt x="280" y="142"/>
                  </a:lnTo>
                  <a:lnTo>
                    <a:pt x="279" y="142"/>
                  </a:lnTo>
                  <a:lnTo>
                    <a:pt x="277" y="142"/>
                  </a:lnTo>
                  <a:lnTo>
                    <a:pt x="276" y="141"/>
                  </a:lnTo>
                  <a:lnTo>
                    <a:pt x="275" y="140"/>
                  </a:lnTo>
                  <a:lnTo>
                    <a:pt x="275" y="142"/>
                  </a:lnTo>
                  <a:lnTo>
                    <a:pt x="274" y="142"/>
                  </a:lnTo>
                  <a:lnTo>
                    <a:pt x="272" y="142"/>
                  </a:lnTo>
                  <a:lnTo>
                    <a:pt x="270" y="142"/>
                  </a:lnTo>
                  <a:lnTo>
                    <a:pt x="269" y="141"/>
                  </a:lnTo>
                  <a:lnTo>
                    <a:pt x="268" y="141"/>
                  </a:lnTo>
                  <a:lnTo>
                    <a:pt x="268" y="140"/>
                  </a:lnTo>
                  <a:lnTo>
                    <a:pt x="269" y="139"/>
                  </a:lnTo>
                  <a:lnTo>
                    <a:pt x="268" y="139"/>
                  </a:lnTo>
                  <a:lnTo>
                    <a:pt x="266" y="139"/>
                  </a:lnTo>
                  <a:lnTo>
                    <a:pt x="265" y="139"/>
                  </a:lnTo>
                  <a:lnTo>
                    <a:pt x="264" y="139"/>
                  </a:lnTo>
                  <a:lnTo>
                    <a:pt x="263" y="139"/>
                  </a:lnTo>
                  <a:lnTo>
                    <a:pt x="262" y="139"/>
                  </a:lnTo>
                  <a:lnTo>
                    <a:pt x="262" y="137"/>
                  </a:lnTo>
                  <a:lnTo>
                    <a:pt x="260" y="136"/>
                  </a:lnTo>
                  <a:lnTo>
                    <a:pt x="259" y="136"/>
                  </a:lnTo>
                  <a:lnTo>
                    <a:pt x="259" y="137"/>
                  </a:lnTo>
                  <a:lnTo>
                    <a:pt x="258" y="137"/>
                  </a:lnTo>
                  <a:lnTo>
                    <a:pt x="257" y="137"/>
                  </a:lnTo>
                  <a:lnTo>
                    <a:pt x="257" y="139"/>
                  </a:lnTo>
                  <a:lnTo>
                    <a:pt x="256" y="137"/>
                  </a:lnTo>
                  <a:lnTo>
                    <a:pt x="256" y="136"/>
                  </a:lnTo>
                  <a:lnTo>
                    <a:pt x="257" y="135"/>
                  </a:lnTo>
                  <a:lnTo>
                    <a:pt x="256" y="135"/>
                  </a:lnTo>
                  <a:lnTo>
                    <a:pt x="254" y="135"/>
                  </a:lnTo>
                  <a:lnTo>
                    <a:pt x="253" y="135"/>
                  </a:lnTo>
                  <a:lnTo>
                    <a:pt x="253" y="134"/>
                  </a:lnTo>
                  <a:lnTo>
                    <a:pt x="254" y="133"/>
                  </a:lnTo>
                  <a:lnTo>
                    <a:pt x="256" y="134"/>
                  </a:lnTo>
                  <a:lnTo>
                    <a:pt x="257" y="134"/>
                  </a:lnTo>
                  <a:lnTo>
                    <a:pt x="259" y="133"/>
                  </a:lnTo>
                  <a:lnTo>
                    <a:pt x="258" y="131"/>
                  </a:lnTo>
                  <a:lnTo>
                    <a:pt x="257" y="131"/>
                  </a:lnTo>
                  <a:lnTo>
                    <a:pt x="258" y="131"/>
                  </a:lnTo>
                  <a:lnTo>
                    <a:pt x="259" y="131"/>
                  </a:lnTo>
                  <a:lnTo>
                    <a:pt x="259" y="130"/>
                  </a:lnTo>
                  <a:lnTo>
                    <a:pt x="262" y="130"/>
                  </a:lnTo>
                  <a:lnTo>
                    <a:pt x="262" y="131"/>
                  </a:lnTo>
                  <a:lnTo>
                    <a:pt x="263" y="131"/>
                  </a:lnTo>
                  <a:lnTo>
                    <a:pt x="265" y="131"/>
                  </a:lnTo>
                  <a:lnTo>
                    <a:pt x="265" y="130"/>
                  </a:lnTo>
                  <a:lnTo>
                    <a:pt x="265" y="129"/>
                  </a:lnTo>
                  <a:lnTo>
                    <a:pt x="266" y="129"/>
                  </a:lnTo>
                  <a:lnTo>
                    <a:pt x="268" y="129"/>
                  </a:lnTo>
                  <a:lnTo>
                    <a:pt x="269" y="128"/>
                  </a:lnTo>
                  <a:lnTo>
                    <a:pt x="270" y="127"/>
                  </a:lnTo>
                  <a:lnTo>
                    <a:pt x="270" y="125"/>
                  </a:lnTo>
                  <a:lnTo>
                    <a:pt x="269" y="125"/>
                  </a:lnTo>
                  <a:lnTo>
                    <a:pt x="269" y="124"/>
                  </a:lnTo>
                  <a:lnTo>
                    <a:pt x="268" y="125"/>
                  </a:lnTo>
                  <a:lnTo>
                    <a:pt x="266" y="125"/>
                  </a:lnTo>
                  <a:lnTo>
                    <a:pt x="264" y="127"/>
                  </a:lnTo>
                  <a:lnTo>
                    <a:pt x="264" y="125"/>
                  </a:lnTo>
                  <a:lnTo>
                    <a:pt x="263" y="125"/>
                  </a:lnTo>
                  <a:lnTo>
                    <a:pt x="262" y="127"/>
                  </a:lnTo>
                  <a:lnTo>
                    <a:pt x="260" y="125"/>
                  </a:lnTo>
                  <a:lnTo>
                    <a:pt x="259" y="124"/>
                  </a:lnTo>
                  <a:lnTo>
                    <a:pt x="258" y="125"/>
                  </a:lnTo>
                  <a:lnTo>
                    <a:pt x="257" y="124"/>
                  </a:lnTo>
                  <a:lnTo>
                    <a:pt x="259" y="124"/>
                  </a:lnTo>
                  <a:lnTo>
                    <a:pt x="259" y="123"/>
                  </a:lnTo>
                  <a:lnTo>
                    <a:pt x="258" y="122"/>
                  </a:lnTo>
                  <a:lnTo>
                    <a:pt x="257" y="122"/>
                  </a:lnTo>
                  <a:lnTo>
                    <a:pt x="257" y="121"/>
                  </a:lnTo>
                  <a:lnTo>
                    <a:pt x="259" y="119"/>
                  </a:lnTo>
                  <a:lnTo>
                    <a:pt x="260" y="118"/>
                  </a:lnTo>
                  <a:lnTo>
                    <a:pt x="260" y="116"/>
                  </a:lnTo>
                  <a:lnTo>
                    <a:pt x="259" y="116"/>
                  </a:lnTo>
                  <a:lnTo>
                    <a:pt x="259" y="115"/>
                  </a:lnTo>
                  <a:lnTo>
                    <a:pt x="259" y="113"/>
                  </a:lnTo>
                  <a:lnTo>
                    <a:pt x="260" y="113"/>
                  </a:lnTo>
                  <a:lnTo>
                    <a:pt x="263" y="112"/>
                  </a:lnTo>
                  <a:lnTo>
                    <a:pt x="264" y="112"/>
                  </a:lnTo>
                  <a:lnTo>
                    <a:pt x="265" y="111"/>
                  </a:lnTo>
                  <a:lnTo>
                    <a:pt x="266" y="110"/>
                  </a:lnTo>
                  <a:lnTo>
                    <a:pt x="265" y="109"/>
                  </a:lnTo>
                  <a:lnTo>
                    <a:pt x="265" y="107"/>
                  </a:lnTo>
                  <a:lnTo>
                    <a:pt x="264" y="106"/>
                  </a:lnTo>
                  <a:lnTo>
                    <a:pt x="263" y="107"/>
                  </a:lnTo>
                  <a:lnTo>
                    <a:pt x="263" y="109"/>
                  </a:lnTo>
                  <a:lnTo>
                    <a:pt x="262" y="109"/>
                  </a:lnTo>
                  <a:lnTo>
                    <a:pt x="260" y="109"/>
                  </a:lnTo>
                  <a:lnTo>
                    <a:pt x="259" y="109"/>
                  </a:lnTo>
                  <a:lnTo>
                    <a:pt x="259" y="107"/>
                  </a:lnTo>
                  <a:lnTo>
                    <a:pt x="259" y="106"/>
                  </a:lnTo>
                  <a:lnTo>
                    <a:pt x="259" y="105"/>
                  </a:lnTo>
                  <a:lnTo>
                    <a:pt x="259" y="106"/>
                  </a:lnTo>
                  <a:lnTo>
                    <a:pt x="258" y="106"/>
                  </a:lnTo>
                  <a:lnTo>
                    <a:pt x="257" y="106"/>
                  </a:lnTo>
                  <a:lnTo>
                    <a:pt x="256" y="106"/>
                  </a:lnTo>
                  <a:lnTo>
                    <a:pt x="254" y="106"/>
                  </a:lnTo>
                  <a:lnTo>
                    <a:pt x="254" y="105"/>
                  </a:lnTo>
                  <a:lnTo>
                    <a:pt x="253" y="104"/>
                  </a:lnTo>
                  <a:lnTo>
                    <a:pt x="252" y="104"/>
                  </a:lnTo>
                  <a:lnTo>
                    <a:pt x="252" y="105"/>
                  </a:lnTo>
                  <a:lnTo>
                    <a:pt x="251" y="105"/>
                  </a:lnTo>
                  <a:lnTo>
                    <a:pt x="251" y="104"/>
                  </a:lnTo>
                  <a:lnTo>
                    <a:pt x="250" y="104"/>
                  </a:lnTo>
                  <a:lnTo>
                    <a:pt x="248" y="105"/>
                  </a:lnTo>
                  <a:lnTo>
                    <a:pt x="248" y="104"/>
                  </a:lnTo>
                  <a:lnTo>
                    <a:pt x="250" y="103"/>
                  </a:lnTo>
                  <a:lnTo>
                    <a:pt x="248" y="103"/>
                  </a:lnTo>
                  <a:lnTo>
                    <a:pt x="247" y="103"/>
                  </a:lnTo>
                  <a:lnTo>
                    <a:pt x="246" y="103"/>
                  </a:lnTo>
                  <a:lnTo>
                    <a:pt x="245" y="101"/>
                  </a:lnTo>
                  <a:lnTo>
                    <a:pt x="246" y="101"/>
                  </a:lnTo>
                  <a:lnTo>
                    <a:pt x="247" y="101"/>
                  </a:lnTo>
                  <a:lnTo>
                    <a:pt x="246" y="100"/>
                  </a:lnTo>
                  <a:lnTo>
                    <a:pt x="246" y="98"/>
                  </a:lnTo>
                  <a:lnTo>
                    <a:pt x="247" y="98"/>
                  </a:lnTo>
                  <a:lnTo>
                    <a:pt x="247" y="100"/>
                  </a:lnTo>
                  <a:lnTo>
                    <a:pt x="248" y="100"/>
                  </a:lnTo>
                  <a:lnTo>
                    <a:pt x="248" y="101"/>
                  </a:lnTo>
                  <a:lnTo>
                    <a:pt x="250" y="101"/>
                  </a:lnTo>
                  <a:lnTo>
                    <a:pt x="250" y="99"/>
                  </a:lnTo>
                  <a:lnTo>
                    <a:pt x="250" y="98"/>
                  </a:lnTo>
                  <a:lnTo>
                    <a:pt x="251" y="100"/>
                  </a:lnTo>
                  <a:lnTo>
                    <a:pt x="252" y="100"/>
                  </a:lnTo>
                  <a:lnTo>
                    <a:pt x="252" y="101"/>
                  </a:lnTo>
                  <a:lnTo>
                    <a:pt x="252" y="103"/>
                  </a:lnTo>
                  <a:lnTo>
                    <a:pt x="254" y="103"/>
                  </a:lnTo>
                  <a:lnTo>
                    <a:pt x="256" y="103"/>
                  </a:lnTo>
                  <a:lnTo>
                    <a:pt x="256" y="101"/>
                  </a:lnTo>
                  <a:lnTo>
                    <a:pt x="254" y="101"/>
                  </a:lnTo>
                  <a:lnTo>
                    <a:pt x="254" y="100"/>
                  </a:lnTo>
                  <a:lnTo>
                    <a:pt x="254" y="99"/>
                  </a:lnTo>
                  <a:lnTo>
                    <a:pt x="253" y="99"/>
                  </a:lnTo>
                  <a:lnTo>
                    <a:pt x="253" y="98"/>
                  </a:lnTo>
                  <a:lnTo>
                    <a:pt x="252" y="98"/>
                  </a:lnTo>
                  <a:lnTo>
                    <a:pt x="252" y="97"/>
                  </a:lnTo>
                  <a:lnTo>
                    <a:pt x="251" y="97"/>
                  </a:lnTo>
                  <a:lnTo>
                    <a:pt x="251" y="95"/>
                  </a:lnTo>
                  <a:lnTo>
                    <a:pt x="252" y="94"/>
                  </a:lnTo>
                  <a:lnTo>
                    <a:pt x="252" y="95"/>
                  </a:lnTo>
                  <a:lnTo>
                    <a:pt x="253" y="97"/>
                  </a:lnTo>
                  <a:lnTo>
                    <a:pt x="256" y="97"/>
                  </a:lnTo>
                  <a:lnTo>
                    <a:pt x="254" y="95"/>
                  </a:lnTo>
                  <a:lnTo>
                    <a:pt x="256" y="95"/>
                  </a:lnTo>
                  <a:lnTo>
                    <a:pt x="256" y="97"/>
                  </a:lnTo>
                  <a:lnTo>
                    <a:pt x="256" y="98"/>
                  </a:lnTo>
                  <a:lnTo>
                    <a:pt x="257" y="98"/>
                  </a:lnTo>
                  <a:lnTo>
                    <a:pt x="258" y="98"/>
                  </a:lnTo>
                  <a:lnTo>
                    <a:pt x="259" y="97"/>
                  </a:lnTo>
                  <a:lnTo>
                    <a:pt x="260" y="97"/>
                  </a:lnTo>
                  <a:lnTo>
                    <a:pt x="262" y="97"/>
                  </a:lnTo>
                  <a:lnTo>
                    <a:pt x="263" y="95"/>
                  </a:lnTo>
                  <a:lnTo>
                    <a:pt x="264" y="95"/>
                  </a:lnTo>
                  <a:lnTo>
                    <a:pt x="264" y="98"/>
                  </a:lnTo>
                  <a:lnTo>
                    <a:pt x="266" y="99"/>
                  </a:lnTo>
                  <a:lnTo>
                    <a:pt x="268" y="98"/>
                  </a:lnTo>
                  <a:lnTo>
                    <a:pt x="270" y="97"/>
                  </a:lnTo>
                  <a:lnTo>
                    <a:pt x="271" y="95"/>
                  </a:lnTo>
                  <a:lnTo>
                    <a:pt x="271" y="94"/>
                  </a:lnTo>
                  <a:lnTo>
                    <a:pt x="270" y="94"/>
                  </a:lnTo>
                  <a:lnTo>
                    <a:pt x="271" y="93"/>
                  </a:lnTo>
                  <a:lnTo>
                    <a:pt x="271" y="92"/>
                  </a:lnTo>
                  <a:lnTo>
                    <a:pt x="272" y="92"/>
                  </a:lnTo>
                  <a:lnTo>
                    <a:pt x="274" y="91"/>
                  </a:lnTo>
                  <a:lnTo>
                    <a:pt x="276" y="91"/>
                  </a:lnTo>
                  <a:lnTo>
                    <a:pt x="277" y="89"/>
                  </a:lnTo>
                  <a:lnTo>
                    <a:pt x="277" y="88"/>
                  </a:lnTo>
                  <a:lnTo>
                    <a:pt x="279" y="87"/>
                  </a:lnTo>
                  <a:lnTo>
                    <a:pt x="280" y="86"/>
                  </a:lnTo>
                  <a:lnTo>
                    <a:pt x="281" y="85"/>
                  </a:lnTo>
                  <a:lnTo>
                    <a:pt x="280" y="83"/>
                  </a:lnTo>
                  <a:lnTo>
                    <a:pt x="277" y="83"/>
                  </a:lnTo>
                  <a:lnTo>
                    <a:pt x="276" y="85"/>
                  </a:lnTo>
                  <a:lnTo>
                    <a:pt x="275" y="83"/>
                  </a:lnTo>
                  <a:lnTo>
                    <a:pt x="274" y="85"/>
                  </a:lnTo>
                  <a:lnTo>
                    <a:pt x="271" y="85"/>
                  </a:lnTo>
                  <a:lnTo>
                    <a:pt x="274" y="83"/>
                  </a:lnTo>
                  <a:lnTo>
                    <a:pt x="274" y="82"/>
                  </a:lnTo>
                  <a:lnTo>
                    <a:pt x="272" y="81"/>
                  </a:lnTo>
                  <a:lnTo>
                    <a:pt x="274" y="80"/>
                  </a:lnTo>
                  <a:lnTo>
                    <a:pt x="275" y="80"/>
                  </a:lnTo>
                  <a:lnTo>
                    <a:pt x="275" y="77"/>
                  </a:lnTo>
                  <a:lnTo>
                    <a:pt x="274" y="77"/>
                  </a:lnTo>
                  <a:lnTo>
                    <a:pt x="272" y="77"/>
                  </a:lnTo>
                  <a:lnTo>
                    <a:pt x="272" y="79"/>
                  </a:lnTo>
                  <a:lnTo>
                    <a:pt x="271" y="79"/>
                  </a:lnTo>
                  <a:lnTo>
                    <a:pt x="270" y="79"/>
                  </a:lnTo>
                  <a:lnTo>
                    <a:pt x="269" y="80"/>
                  </a:lnTo>
                  <a:lnTo>
                    <a:pt x="269" y="79"/>
                  </a:lnTo>
                  <a:lnTo>
                    <a:pt x="270" y="77"/>
                  </a:lnTo>
                  <a:lnTo>
                    <a:pt x="271" y="77"/>
                  </a:lnTo>
                  <a:lnTo>
                    <a:pt x="271" y="76"/>
                  </a:lnTo>
                  <a:lnTo>
                    <a:pt x="272" y="76"/>
                  </a:lnTo>
                  <a:lnTo>
                    <a:pt x="274" y="75"/>
                  </a:lnTo>
                  <a:lnTo>
                    <a:pt x="272" y="74"/>
                  </a:lnTo>
                  <a:lnTo>
                    <a:pt x="270" y="74"/>
                  </a:lnTo>
                  <a:lnTo>
                    <a:pt x="269" y="75"/>
                  </a:lnTo>
                  <a:lnTo>
                    <a:pt x="269" y="74"/>
                  </a:lnTo>
                  <a:lnTo>
                    <a:pt x="272" y="73"/>
                  </a:lnTo>
                  <a:lnTo>
                    <a:pt x="274" y="71"/>
                  </a:lnTo>
                  <a:lnTo>
                    <a:pt x="275" y="71"/>
                  </a:lnTo>
                  <a:lnTo>
                    <a:pt x="275" y="70"/>
                  </a:lnTo>
                  <a:lnTo>
                    <a:pt x="276" y="69"/>
                  </a:lnTo>
                  <a:lnTo>
                    <a:pt x="275" y="68"/>
                  </a:lnTo>
                  <a:lnTo>
                    <a:pt x="274" y="68"/>
                  </a:lnTo>
                  <a:lnTo>
                    <a:pt x="274" y="69"/>
                  </a:lnTo>
                  <a:lnTo>
                    <a:pt x="272" y="69"/>
                  </a:lnTo>
                  <a:lnTo>
                    <a:pt x="271" y="69"/>
                  </a:lnTo>
                  <a:lnTo>
                    <a:pt x="270" y="70"/>
                  </a:lnTo>
                  <a:lnTo>
                    <a:pt x="269" y="70"/>
                  </a:lnTo>
                  <a:lnTo>
                    <a:pt x="266" y="70"/>
                  </a:lnTo>
                  <a:lnTo>
                    <a:pt x="266" y="71"/>
                  </a:lnTo>
                  <a:lnTo>
                    <a:pt x="265" y="71"/>
                  </a:lnTo>
                  <a:lnTo>
                    <a:pt x="265" y="70"/>
                  </a:lnTo>
                  <a:lnTo>
                    <a:pt x="266" y="70"/>
                  </a:lnTo>
                  <a:lnTo>
                    <a:pt x="266" y="69"/>
                  </a:lnTo>
                  <a:lnTo>
                    <a:pt x="269" y="69"/>
                  </a:lnTo>
                  <a:lnTo>
                    <a:pt x="270" y="69"/>
                  </a:lnTo>
                  <a:lnTo>
                    <a:pt x="271" y="68"/>
                  </a:lnTo>
                  <a:lnTo>
                    <a:pt x="271" y="65"/>
                  </a:lnTo>
                  <a:lnTo>
                    <a:pt x="272" y="64"/>
                  </a:lnTo>
                  <a:lnTo>
                    <a:pt x="272" y="63"/>
                  </a:lnTo>
                  <a:lnTo>
                    <a:pt x="272" y="62"/>
                  </a:lnTo>
                  <a:lnTo>
                    <a:pt x="271" y="60"/>
                  </a:lnTo>
                  <a:lnTo>
                    <a:pt x="270" y="60"/>
                  </a:lnTo>
                  <a:lnTo>
                    <a:pt x="269" y="60"/>
                  </a:lnTo>
                  <a:lnTo>
                    <a:pt x="269" y="62"/>
                  </a:lnTo>
                  <a:lnTo>
                    <a:pt x="270" y="63"/>
                  </a:lnTo>
                  <a:lnTo>
                    <a:pt x="269" y="64"/>
                  </a:lnTo>
                  <a:lnTo>
                    <a:pt x="268" y="65"/>
                  </a:lnTo>
                  <a:lnTo>
                    <a:pt x="266" y="65"/>
                  </a:lnTo>
                  <a:lnTo>
                    <a:pt x="265" y="64"/>
                  </a:lnTo>
                  <a:lnTo>
                    <a:pt x="264" y="64"/>
                  </a:lnTo>
                  <a:lnTo>
                    <a:pt x="263" y="65"/>
                  </a:lnTo>
                  <a:lnTo>
                    <a:pt x="263" y="66"/>
                  </a:lnTo>
                  <a:lnTo>
                    <a:pt x="263" y="68"/>
                  </a:lnTo>
                  <a:lnTo>
                    <a:pt x="264" y="70"/>
                  </a:lnTo>
                  <a:lnTo>
                    <a:pt x="263" y="70"/>
                  </a:lnTo>
                  <a:lnTo>
                    <a:pt x="263" y="69"/>
                  </a:lnTo>
                  <a:lnTo>
                    <a:pt x="262" y="68"/>
                  </a:lnTo>
                  <a:lnTo>
                    <a:pt x="260" y="66"/>
                  </a:lnTo>
                  <a:lnTo>
                    <a:pt x="259" y="66"/>
                  </a:lnTo>
                  <a:lnTo>
                    <a:pt x="258" y="66"/>
                  </a:lnTo>
                  <a:lnTo>
                    <a:pt x="258" y="68"/>
                  </a:lnTo>
                  <a:lnTo>
                    <a:pt x="257" y="69"/>
                  </a:lnTo>
                  <a:lnTo>
                    <a:pt x="257" y="70"/>
                  </a:lnTo>
                  <a:lnTo>
                    <a:pt x="257" y="71"/>
                  </a:lnTo>
                  <a:lnTo>
                    <a:pt x="256" y="71"/>
                  </a:lnTo>
                  <a:lnTo>
                    <a:pt x="254" y="70"/>
                  </a:lnTo>
                  <a:lnTo>
                    <a:pt x="254" y="71"/>
                  </a:lnTo>
                  <a:lnTo>
                    <a:pt x="253" y="71"/>
                  </a:lnTo>
                  <a:lnTo>
                    <a:pt x="252" y="73"/>
                  </a:lnTo>
                  <a:lnTo>
                    <a:pt x="251" y="74"/>
                  </a:lnTo>
                  <a:lnTo>
                    <a:pt x="250" y="74"/>
                  </a:lnTo>
                  <a:lnTo>
                    <a:pt x="248" y="74"/>
                  </a:lnTo>
                  <a:lnTo>
                    <a:pt x="247" y="73"/>
                  </a:lnTo>
                  <a:lnTo>
                    <a:pt x="247" y="71"/>
                  </a:lnTo>
                  <a:lnTo>
                    <a:pt x="246" y="70"/>
                  </a:lnTo>
                  <a:lnTo>
                    <a:pt x="244" y="70"/>
                  </a:lnTo>
                  <a:lnTo>
                    <a:pt x="245" y="69"/>
                  </a:lnTo>
                  <a:lnTo>
                    <a:pt x="246" y="70"/>
                  </a:lnTo>
                  <a:lnTo>
                    <a:pt x="246" y="69"/>
                  </a:lnTo>
                  <a:lnTo>
                    <a:pt x="247" y="68"/>
                  </a:lnTo>
                  <a:lnTo>
                    <a:pt x="248" y="68"/>
                  </a:lnTo>
                  <a:lnTo>
                    <a:pt x="250" y="66"/>
                  </a:lnTo>
                  <a:lnTo>
                    <a:pt x="248" y="65"/>
                  </a:lnTo>
                  <a:lnTo>
                    <a:pt x="248" y="64"/>
                  </a:lnTo>
                  <a:lnTo>
                    <a:pt x="248" y="62"/>
                  </a:lnTo>
                  <a:lnTo>
                    <a:pt x="250" y="60"/>
                  </a:lnTo>
                  <a:lnTo>
                    <a:pt x="251" y="59"/>
                  </a:lnTo>
                  <a:lnTo>
                    <a:pt x="253" y="59"/>
                  </a:lnTo>
                  <a:lnTo>
                    <a:pt x="254" y="60"/>
                  </a:lnTo>
                  <a:lnTo>
                    <a:pt x="253" y="60"/>
                  </a:lnTo>
                  <a:lnTo>
                    <a:pt x="251" y="62"/>
                  </a:lnTo>
                  <a:lnTo>
                    <a:pt x="250" y="63"/>
                  </a:lnTo>
                  <a:lnTo>
                    <a:pt x="250" y="64"/>
                  </a:lnTo>
                  <a:lnTo>
                    <a:pt x="251" y="65"/>
                  </a:lnTo>
                  <a:lnTo>
                    <a:pt x="253" y="66"/>
                  </a:lnTo>
                  <a:lnTo>
                    <a:pt x="253" y="65"/>
                  </a:lnTo>
                  <a:lnTo>
                    <a:pt x="254" y="65"/>
                  </a:lnTo>
                  <a:lnTo>
                    <a:pt x="256" y="65"/>
                  </a:lnTo>
                  <a:lnTo>
                    <a:pt x="256" y="64"/>
                  </a:lnTo>
                  <a:lnTo>
                    <a:pt x="257" y="65"/>
                  </a:lnTo>
                  <a:lnTo>
                    <a:pt x="258" y="64"/>
                  </a:lnTo>
                  <a:lnTo>
                    <a:pt x="259" y="64"/>
                  </a:lnTo>
                  <a:lnTo>
                    <a:pt x="259" y="63"/>
                  </a:lnTo>
                  <a:lnTo>
                    <a:pt x="258" y="62"/>
                  </a:lnTo>
                  <a:lnTo>
                    <a:pt x="258" y="60"/>
                  </a:lnTo>
                  <a:lnTo>
                    <a:pt x="259" y="59"/>
                  </a:lnTo>
                  <a:lnTo>
                    <a:pt x="260" y="60"/>
                  </a:lnTo>
                  <a:lnTo>
                    <a:pt x="262" y="60"/>
                  </a:lnTo>
                  <a:lnTo>
                    <a:pt x="263" y="59"/>
                  </a:lnTo>
                  <a:lnTo>
                    <a:pt x="264" y="58"/>
                  </a:lnTo>
                  <a:lnTo>
                    <a:pt x="265" y="58"/>
                  </a:lnTo>
                  <a:lnTo>
                    <a:pt x="264" y="57"/>
                  </a:lnTo>
                  <a:lnTo>
                    <a:pt x="263" y="56"/>
                  </a:lnTo>
                  <a:lnTo>
                    <a:pt x="264" y="54"/>
                  </a:lnTo>
                  <a:lnTo>
                    <a:pt x="264" y="53"/>
                  </a:lnTo>
                  <a:lnTo>
                    <a:pt x="263" y="53"/>
                  </a:lnTo>
                  <a:lnTo>
                    <a:pt x="263" y="52"/>
                  </a:lnTo>
                  <a:lnTo>
                    <a:pt x="262" y="51"/>
                  </a:lnTo>
                  <a:lnTo>
                    <a:pt x="262" y="53"/>
                  </a:lnTo>
                  <a:lnTo>
                    <a:pt x="262" y="54"/>
                  </a:lnTo>
                  <a:lnTo>
                    <a:pt x="260" y="53"/>
                  </a:lnTo>
                  <a:lnTo>
                    <a:pt x="259" y="53"/>
                  </a:lnTo>
                  <a:lnTo>
                    <a:pt x="259" y="56"/>
                  </a:lnTo>
                  <a:lnTo>
                    <a:pt x="260" y="57"/>
                  </a:lnTo>
                  <a:lnTo>
                    <a:pt x="259" y="57"/>
                  </a:lnTo>
                  <a:lnTo>
                    <a:pt x="259" y="56"/>
                  </a:lnTo>
                  <a:lnTo>
                    <a:pt x="258" y="54"/>
                  </a:lnTo>
                  <a:lnTo>
                    <a:pt x="257" y="54"/>
                  </a:lnTo>
                  <a:lnTo>
                    <a:pt x="256" y="54"/>
                  </a:lnTo>
                  <a:lnTo>
                    <a:pt x="253" y="56"/>
                  </a:lnTo>
                  <a:lnTo>
                    <a:pt x="252" y="56"/>
                  </a:lnTo>
                  <a:lnTo>
                    <a:pt x="252" y="57"/>
                  </a:lnTo>
                  <a:lnTo>
                    <a:pt x="252" y="54"/>
                  </a:lnTo>
                  <a:lnTo>
                    <a:pt x="251" y="53"/>
                  </a:lnTo>
                  <a:lnTo>
                    <a:pt x="251" y="52"/>
                  </a:lnTo>
                  <a:lnTo>
                    <a:pt x="250" y="52"/>
                  </a:lnTo>
                  <a:lnTo>
                    <a:pt x="250" y="54"/>
                  </a:lnTo>
                  <a:lnTo>
                    <a:pt x="248" y="54"/>
                  </a:lnTo>
                  <a:lnTo>
                    <a:pt x="248" y="53"/>
                  </a:lnTo>
                  <a:lnTo>
                    <a:pt x="248" y="52"/>
                  </a:lnTo>
                  <a:lnTo>
                    <a:pt x="248" y="51"/>
                  </a:lnTo>
                  <a:lnTo>
                    <a:pt x="247" y="50"/>
                  </a:lnTo>
                  <a:lnTo>
                    <a:pt x="246" y="51"/>
                  </a:lnTo>
                  <a:lnTo>
                    <a:pt x="245" y="50"/>
                  </a:lnTo>
                  <a:lnTo>
                    <a:pt x="242" y="48"/>
                  </a:lnTo>
                  <a:lnTo>
                    <a:pt x="242" y="47"/>
                  </a:lnTo>
                  <a:lnTo>
                    <a:pt x="242" y="46"/>
                  </a:lnTo>
                  <a:lnTo>
                    <a:pt x="242" y="45"/>
                  </a:lnTo>
                  <a:lnTo>
                    <a:pt x="241" y="45"/>
                  </a:lnTo>
                  <a:lnTo>
                    <a:pt x="240" y="44"/>
                  </a:lnTo>
                  <a:lnTo>
                    <a:pt x="240" y="42"/>
                  </a:lnTo>
                  <a:lnTo>
                    <a:pt x="241" y="44"/>
                  </a:lnTo>
                  <a:lnTo>
                    <a:pt x="242" y="44"/>
                  </a:lnTo>
                  <a:lnTo>
                    <a:pt x="244" y="42"/>
                  </a:lnTo>
                  <a:lnTo>
                    <a:pt x="244" y="41"/>
                  </a:lnTo>
                  <a:lnTo>
                    <a:pt x="244" y="40"/>
                  </a:lnTo>
                  <a:lnTo>
                    <a:pt x="245" y="39"/>
                  </a:lnTo>
                  <a:lnTo>
                    <a:pt x="245" y="38"/>
                  </a:lnTo>
                  <a:lnTo>
                    <a:pt x="244" y="38"/>
                  </a:lnTo>
                  <a:lnTo>
                    <a:pt x="242" y="38"/>
                  </a:lnTo>
                  <a:lnTo>
                    <a:pt x="242" y="39"/>
                  </a:lnTo>
                  <a:lnTo>
                    <a:pt x="241" y="39"/>
                  </a:lnTo>
                  <a:lnTo>
                    <a:pt x="240" y="39"/>
                  </a:lnTo>
                  <a:lnTo>
                    <a:pt x="239" y="40"/>
                  </a:lnTo>
                  <a:lnTo>
                    <a:pt x="239" y="41"/>
                  </a:lnTo>
                  <a:lnTo>
                    <a:pt x="239" y="42"/>
                  </a:lnTo>
                  <a:lnTo>
                    <a:pt x="238" y="42"/>
                  </a:lnTo>
                  <a:lnTo>
                    <a:pt x="238" y="41"/>
                  </a:lnTo>
                  <a:lnTo>
                    <a:pt x="238" y="40"/>
                  </a:lnTo>
                  <a:lnTo>
                    <a:pt x="239" y="38"/>
                  </a:lnTo>
                  <a:lnTo>
                    <a:pt x="238" y="36"/>
                  </a:lnTo>
                  <a:lnTo>
                    <a:pt x="236" y="36"/>
                  </a:lnTo>
                  <a:lnTo>
                    <a:pt x="235" y="39"/>
                  </a:lnTo>
                  <a:lnTo>
                    <a:pt x="234" y="40"/>
                  </a:lnTo>
                  <a:lnTo>
                    <a:pt x="235" y="38"/>
                  </a:lnTo>
                  <a:lnTo>
                    <a:pt x="235" y="36"/>
                  </a:lnTo>
                  <a:lnTo>
                    <a:pt x="236" y="35"/>
                  </a:lnTo>
                  <a:lnTo>
                    <a:pt x="235" y="34"/>
                  </a:lnTo>
                  <a:lnTo>
                    <a:pt x="234" y="34"/>
                  </a:lnTo>
                  <a:lnTo>
                    <a:pt x="233" y="35"/>
                  </a:lnTo>
                  <a:lnTo>
                    <a:pt x="232" y="35"/>
                  </a:lnTo>
                  <a:lnTo>
                    <a:pt x="232" y="36"/>
                  </a:lnTo>
                  <a:lnTo>
                    <a:pt x="230" y="38"/>
                  </a:lnTo>
                  <a:lnTo>
                    <a:pt x="229" y="38"/>
                  </a:lnTo>
                  <a:lnTo>
                    <a:pt x="228" y="38"/>
                  </a:lnTo>
                  <a:lnTo>
                    <a:pt x="229" y="36"/>
                  </a:lnTo>
                  <a:lnTo>
                    <a:pt x="228" y="36"/>
                  </a:lnTo>
                  <a:lnTo>
                    <a:pt x="227" y="35"/>
                  </a:lnTo>
                  <a:lnTo>
                    <a:pt x="226" y="35"/>
                  </a:lnTo>
                  <a:lnTo>
                    <a:pt x="226" y="34"/>
                  </a:lnTo>
                  <a:lnTo>
                    <a:pt x="227" y="33"/>
                  </a:lnTo>
                  <a:lnTo>
                    <a:pt x="228" y="33"/>
                  </a:lnTo>
                  <a:lnTo>
                    <a:pt x="228" y="32"/>
                  </a:lnTo>
                  <a:lnTo>
                    <a:pt x="226" y="32"/>
                  </a:lnTo>
                  <a:lnTo>
                    <a:pt x="224" y="32"/>
                  </a:lnTo>
                  <a:lnTo>
                    <a:pt x="224" y="30"/>
                  </a:lnTo>
                  <a:lnTo>
                    <a:pt x="226" y="30"/>
                  </a:lnTo>
                  <a:lnTo>
                    <a:pt x="227" y="29"/>
                  </a:lnTo>
                  <a:lnTo>
                    <a:pt x="228" y="28"/>
                  </a:lnTo>
                  <a:lnTo>
                    <a:pt x="228" y="27"/>
                  </a:lnTo>
                  <a:lnTo>
                    <a:pt x="228" y="26"/>
                  </a:lnTo>
                  <a:lnTo>
                    <a:pt x="226" y="27"/>
                  </a:lnTo>
                  <a:lnTo>
                    <a:pt x="226" y="28"/>
                  </a:lnTo>
                  <a:lnTo>
                    <a:pt x="224" y="28"/>
                  </a:lnTo>
                  <a:lnTo>
                    <a:pt x="224" y="26"/>
                  </a:lnTo>
                  <a:lnTo>
                    <a:pt x="226" y="24"/>
                  </a:lnTo>
                  <a:lnTo>
                    <a:pt x="224" y="23"/>
                  </a:lnTo>
                  <a:lnTo>
                    <a:pt x="224" y="22"/>
                  </a:lnTo>
                  <a:lnTo>
                    <a:pt x="222" y="22"/>
                  </a:lnTo>
                  <a:lnTo>
                    <a:pt x="222" y="21"/>
                  </a:lnTo>
                  <a:lnTo>
                    <a:pt x="224" y="21"/>
                  </a:lnTo>
                  <a:lnTo>
                    <a:pt x="224" y="20"/>
                  </a:lnTo>
                  <a:lnTo>
                    <a:pt x="224" y="18"/>
                  </a:lnTo>
                  <a:lnTo>
                    <a:pt x="223" y="18"/>
                  </a:lnTo>
                  <a:lnTo>
                    <a:pt x="222" y="18"/>
                  </a:lnTo>
                  <a:lnTo>
                    <a:pt x="221" y="20"/>
                  </a:lnTo>
                  <a:lnTo>
                    <a:pt x="220" y="20"/>
                  </a:lnTo>
                  <a:lnTo>
                    <a:pt x="220" y="18"/>
                  </a:lnTo>
                  <a:lnTo>
                    <a:pt x="218" y="17"/>
                  </a:lnTo>
                  <a:lnTo>
                    <a:pt x="217" y="18"/>
                  </a:lnTo>
                  <a:lnTo>
                    <a:pt x="215" y="18"/>
                  </a:lnTo>
                  <a:lnTo>
                    <a:pt x="214" y="18"/>
                  </a:lnTo>
                  <a:lnTo>
                    <a:pt x="216" y="17"/>
                  </a:lnTo>
                  <a:lnTo>
                    <a:pt x="216" y="16"/>
                  </a:lnTo>
                  <a:lnTo>
                    <a:pt x="218" y="16"/>
                  </a:lnTo>
                  <a:lnTo>
                    <a:pt x="220" y="15"/>
                  </a:lnTo>
                  <a:lnTo>
                    <a:pt x="221" y="15"/>
                  </a:lnTo>
                  <a:lnTo>
                    <a:pt x="222" y="14"/>
                  </a:lnTo>
                  <a:lnTo>
                    <a:pt x="221" y="12"/>
                  </a:lnTo>
                  <a:lnTo>
                    <a:pt x="218" y="12"/>
                  </a:lnTo>
                  <a:lnTo>
                    <a:pt x="218" y="11"/>
                  </a:lnTo>
                  <a:lnTo>
                    <a:pt x="218" y="10"/>
                  </a:lnTo>
                  <a:lnTo>
                    <a:pt x="216" y="10"/>
                  </a:lnTo>
                  <a:lnTo>
                    <a:pt x="216" y="12"/>
                  </a:lnTo>
                  <a:lnTo>
                    <a:pt x="214" y="12"/>
                  </a:lnTo>
                  <a:lnTo>
                    <a:pt x="215" y="11"/>
                  </a:lnTo>
                  <a:lnTo>
                    <a:pt x="214" y="10"/>
                  </a:lnTo>
                  <a:lnTo>
                    <a:pt x="212" y="10"/>
                  </a:lnTo>
                  <a:lnTo>
                    <a:pt x="211" y="12"/>
                  </a:lnTo>
                  <a:lnTo>
                    <a:pt x="211" y="10"/>
                  </a:lnTo>
                  <a:lnTo>
                    <a:pt x="210" y="9"/>
                  </a:lnTo>
                  <a:lnTo>
                    <a:pt x="210" y="8"/>
                  </a:lnTo>
                  <a:lnTo>
                    <a:pt x="210" y="6"/>
                  </a:lnTo>
                  <a:lnTo>
                    <a:pt x="209" y="6"/>
                  </a:lnTo>
                  <a:lnTo>
                    <a:pt x="207" y="6"/>
                  </a:lnTo>
                  <a:lnTo>
                    <a:pt x="206" y="6"/>
                  </a:lnTo>
                  <a:lnTo>
                    <a:pt x="205" y="6"/>
                  </a:lnTo>
                  <a:lnTo>
                    <a:pt x="205" y="5"/>
                  </a:lnTo>
                  <a:lnTo>
                    <a:pt x="206" y="4"/>
                  </a:lnTo>
                  <a:lnTo>
                    <a:pt x="206" y="3"/>
                  </a:lnTo>
                  <a:lnTo>
                    <a:pt x="206" y="2"/>
                  </a:lnTo>
                  <a:lnTo>
                    <a:pt x="206" y="0"/>
                  </a:lnTo>
                  <a:lnTo>
                    <a:pt x="205" y="0"/>
                  </a:lnTo>
                  <a:lnTo>
                    <a:pt x="204" y="2"/>
                  </a:lnTo>
                  <a:lnTo>
                    <a:pt x="204" y="3"/>
                  </a:lnTo>
                  <a:lnTo>
                    <a:pt x="203" y="3"/>
                  </a:lnTo>
                  <a:lnTo>
                    <a:pt x="203" y="2"/>
                  </a:lnTo>
                  <a:lnTo>
                    <a:pt x="203" y="0"/>
                  </a:lnTo>
                  <a:lnTo>
                    <a:pt x="201" y="0"/>
                  </a:lnTo>
                  <a:lnTo>
                    <a:pt x="201" y="2"/>
                  </a:lnTo>
                  <a:lnTo>
                    <a:pt x="200" y="3"/>
                  </a:lnTo>
                  <a:lnTo>
                    <a:pt x="199" y="4"/>
                  </a:lnTo>
                  <a:lnTo>
                    <a:pt x="199" y="5"/>
                  </a:lnTo>
                  <a:lnTo>
                    <a:pt x="200" y="6"/>
                  </a:lnTo>
                  <a:lnTo>
                    <a:pt x="199" y="6"/>
                  </a:lnTo>
                  <a:lnTo>
                    <a:pt x="198" y="8"/>
                  </a:lnTo>
                  <a:lnTo>
                    <a:pt x="198" y="9"/>
                  </a:lnTo>
                  <a:lnTo>
                    <a:pt x="198" y="10"/>
                  </a:lnTo>
                  <a:lnTo>
                    <a:pt x="197" y="10"/>
                  </a:lnTo>
                  <a:lnTo>
                    <a:pt x="197" y="9"/>
                  </a:lnTo>
                  <a:lnTo>
                    <a:pt x="195" y="9"/>
                  </a:lnTo>
                  <a:lnTo>
                    <a:pt x="194" y="10"/>
                  </a:lnTo>
                  <a:lnTo>
                    <a:pt x="195" y="11"/>
                  </a:lnTo>
                  <a:lnTo>
                    <a:pt x="195" y="12"/>
                  </a:lnTo>
                  <a:lnTo>
                    <a:pt x="197" y="12"/>
                  </a:lnTo>
                  <a:lnTo>
                    <a:pt x="198" y="12"/>
                  </a:lnTo>
                  <a:lnTo>
                    <a:pt x="199" y="14"/>
                  </a:lnTo>
                  <a:lnTo>
                    <a:pt x="198" y="15"/>
                  </a:lnTo>
                  <a:lnTo>
                    <a:pt x="197" y="15"/>
                  </a:lnTo>
                  <a:lnTo>
                    <a:pt x="197" y="14"/>
                  </a:lnTo>
                  <a:lnTo>
                    <a:pt x="195" y="14"/>
                  </a:lnTo>
                  <a:lnTo>
                    <a:pt x="195" y="12"/>
                  </a:lnTo>
                  <a:lnTo>
                    <a:pt x="194" y="12"/>
                  </a:lnTo>
                  <a:lnTo>
                    <a:pt x="194" y="10"/>
                  </a:lnTo>
                  <a:lnTo>
                    <a:pt x="193" y="10"/>
                  </a:lnTo>
                  <a:lnTo>
                    <a:pt x="192" y="10"/>
                  </a:lnTo>
                  <a:lnTo>
                    <a:pt x="191" y="11"/>
                  </a:lnTo>
                  <a:lnTo>
                    <a:pt x="192" y="12"/>
                  </a:lnTo>
                  <a:lnTo>
                    <a:pt x="192" y="14"/>
                  </a:lnTo>
                  <a:lnTo>
                    <a:pt x="193" y="15"/>
                  </a:lnTo>
                  <a:lnTo>
                    <a:pt x="194" y="16"/>
                  </a:lnTo>
                  <a:lnTo>
                    <a:pt x="194" y="17"/>
                  </a:lnTo>
                  <a:lnTo>
                    <a:pt x="193" y="17"/>
                  </a:lnTo>
                  <a:lnTo>
                    <a:pt x="194" y="18"/>
                  </a:lnTo>
                  <a:lnTo>
                    <a:pt x="195" y="18"/>
                  </a:lnTo>
                  <a:lnTo>
                    <a:pt x="195" y="17"/>
                  </a:lnTo>
                  <a:lnTo>
                    <a:pt x="197" y="17"/>
                  </a:lnTo>
                  <a:lnTo>
                    <a:pt x="197" y="18"/>
                  </a:lnTo>
                  <a:lnTo>
                    <a:pt x="195" y="20"/>
                  </a:lnTo>
                  <a:lnTo>
                    <a:pt x="197" y="20"/>
                  </a:lnTo>
                  <a:lnTo>
                    <a:pt x="197" y="21"/>
                  </a:lnTo>
                  <a:lnTo>
                    <a:pt x="195" y="21"/>
                  </a:lnTo>
                  <a:lnTo>
                    <a:pt x="194" y="21"/>
                  </a:lnTo>
                  <a:lnTo>
                    <a:pt x="193" y="20"/>
                  </a:lnTo>
                  <a:lnTo>
                    <a:pt x="192" y="20"/>
                  </a:lnTo>
                  <a:lnTo>
                    <a:pt x="192" y="21"/>
                  </a:lnTo>
                  <a:lnTo>
                    <a:pt x="193" y="22"/>
                  </a:lnTo>
                  <a:lnTo>
                    <a:pt x="193" y="23"/>
                  </a:lnTo>
                  <a:lnTo>
                    <a:pt x="194" y="23"/>
                  </a:lnTo>
                  <a:lnTo>
                    <a:pt x="195" y="24"/>
                  </a:lnTo>
                  <a:lnTo>
                    <a:pt x="195" y="23"/>
                  </a:lnTo>
                  <a:lnTo>
                    <a:pt x="197" y="23"/>
                  </a:lnTo>
                  <a:lnTo>
                    <a:pt x="198" y="22"/>
                  </a:lnTo>
                  <a:lnTo>
                    <a:pt x="199" y="22"/>
                  </a:lnTo>
                  <a:lnTo>
                    <a:pt x="200" y="22"/>
                  </a:lnTo>
                  <a:lnTo>
                    <a:pt x="199" y="23"/>
                  </a:lnTo>
                  <a:lnTo>
                    <a:pt x="198" y="23"/>
                  </a:lnTo>
                  <a:lnTo>
                    <a:pt x="197" y="23"/>
                  </a:lnTo>
                  <a:lnTo>
                    <a:pt x="198" y="24"/>
                  </a:lnTo>
                  <a:lnTo>
                    <a:pt x="199" y="24"/>
                  </a:lnTo>
                  <a:lnTo>
                    <a:pt x="199" y="26"/>
                  </a:lnTo>
                  <a:lnTo>
                    <a:pt x="200" y="26"/>
                  </a:lnTo>
                  <a:lnTo>
                    <a:pt x="201" y="26"/>
                  </a:lnTo>
                  <a:lnTo>
                    <a:pt x="200" y="24"/>
                  </a:lnTo>
                  <a:lnTo>
                    <a:pt x="201" y="23"/>
                  </a:lnTo>
                  <a:lnTo>
                    <a:pt x="203" y="23"/>
                  </a:lnTo>
                  <a:lnTo>
                    <a:pt x="203" y="24"/>
                  </a:lnTo>
                  <a:lnTo>
                    <a:pt x="201" y="24"/>
                  </a:lnTo>
                  <a:lnTo>
                    <a:pt x="201" y="26"/>
                  </a:lnTo>
                  <a:lnTo>
                    <a:pt x="200" y="27"/>
                  </a:lnTo>
                  <a:lnTo>
                    <a:pt x="199" y="27"/>
                  </a:lnTo>
                  <a:lnTo>
                    <a:pt x="199" y="28"/>
                  </a:lnTo>
                  <a:lnTo>
                    <a:pt x="200" y="28"/>
                  </a:lnTo>
                  <a:lnTo>
                    <a:pt x="200" y="29"/>
                  </a:lnTo>
                  <a:lnTo>
                    <a:pt x="199" y="29"/>
                  </a:lnTo>
                  <a:lnTo>
                    <a:pt x="198" y="28"/>
                  </a:lnTo>
                  <a:lnTo>
                    <a:pt x="198" y="29"/>
                  </a:lnTo>
                  <a:lnTo>
                    <a:pt x="198" y="30"/>
                  </a:lnTo>
                  <a:lnTo>
                    <a:pt x="198" y="29"/>
                  </a:lnTo>
                  <a:lnTo>
                    <a:pt x="197" y="29"/>
                  </a:lnTo>
                  <a:lnTo>
                    <a:pt x="195" y="30"/>
                  </a:lnTo>
                  <a:lnTo>
                    <a:pt x="195" y="29"/>
                  </a:lnTo>
                  <a:lnTo>
                    <a:pt x="194" y="28"/>
                  </a:lnTo>
                  <a:lnTo>
                    <a:pt x="194" y="29"/>
                  </a:lnTo>
                  <a:lnTo>
                    <a:pt x="193" y="29"/>
                  </a:lnTo>
                  <a:lnTo>
                    <a:pt x="192" y="29"/>
                  </a:lnTo>
                  <a:lnTo>
                    <a:pt x="191" y="29"/>
                  </a:lnTo>
                  <a:lnTo>
                    <a:pt x="191" y="28"/>
                  </a:lnTo>
                  <a:lnTo>
                    <a:pt x="189" y="28"/>
                  </a:lnTo>
                  <a:lnTo>
                    <a:pt x="189" y="27"/>
                  </a:lnTo>
                  <a:lnTo>
                    <a:pt x="188" y="27"/>
                  </a:lnTo>
                  <a:lnTo>
                    <a:pt x="188" y="28"/>
                  </a:lnTo>
                  <a:lnTo>
                    <a:pt x="187" y="28"/>
                  </a:lnTo>
                  <a:lnTo>
                    <a:pt x="187" y="29"/>
                  </a:lnTo>
                  <a:lnTo>
                    <a:pt x="186" y="28"/>
                  </a:lnTo>
                  <a:lnTo>
                    <a:pt x="185" y="29"/>
                  </a:lnTo>
                  <a:lnTo>
                    <a:pt x="185" y="30"/>
                  </a:lnTo>
                  <a:lnTo>
                    <a:pt x="186" y="32"/>
                  </a:lnTo>
                  <a:lnTo>
                    <a:pt x="186" y="33"/>
                  </a:lnTo>
                  <a:lnTo>
                    <a:pt x="187" y="33"/>
                  </a:lnTo>
                  <a:lnTo>
                    <a:pt x="187" y="32"/>
                  </a:lnTo>
                  <a:lnTo>
                    <a:pt x="188" y="33"/>
                  </a:lnTo>
                  <a:lnTo>
                    <a:pt x="189" y="34"/>
                  </a:lnTo>
                  <a:lnTo>
                    <a:pt x="191" y="35"/>
                  </a:lnTo>
                  <a:lnTo>
                    <a:pt x="192" y="35"/>
                  </a:lnTo>
                  <a:lnTo>
                    <a:pt x="193" y="35"/>
                  </a:lnTo>
                  <a:lnTo>
                    <a:pt x="194" y="35"/>
                  </a:lnTo>
                  <a:lnTo>
                    <a:pt x="194" y="36"/>
                  </a:lnTo>
                  <a:lnTo>
                    <a:pt x="194" y="38"/>
                  </a:lnTo>
                  <a:lnTo>
                    <a:pt x="195" y="38"/>
                  </a:lnTo>
                  <a:lnTo>
                    <a:pt x="197" y="36"/>
                  </a:lnTo>
                  <a:lnTo>
                    <a:pt x="197" y="35"/>
                  </a:lnTo>
                  <a:lnTo>
                    <a:pt x="195" y="35"/>
                  </a:lnTo>
                  <a:lnTo>
                    <a:pt x="197" y="35"/>
                  </a:lnTo>
                  <a:lnTo>
                    <a:pt x="198" y="35"/>
                  </a:lnTo>
                  <a:lnTo>
                    <a:pt x="198" y="36"/>
                  </a:lnTo>
                  <a:lnTo>
                    <a:pt x="199" y="36"/>
                  </a:lnTo>
                  <a:lnTo>
                    <a:pt x="199" y="38"/>
                  </a:lnTo>
                  <a:lnTo>
                    <a:pt x="198" y="38"/>
                  </a:lnTo>
                  <a:lnTo>
                    <a:pt x="198" y="36"/>
                  </a:lnTo>
                  <a:lnTo>
                    <a:pt x="197" y="38"/>
                  </a:lnTo>
                  <a:lnTo>
                    <a:pt x="195" y="38"/>
                  </a:lnTo>
                  <a:lnTo>
                    <a:pt x="195" y="39"/>
                  </a:lnTo>
                  <a:lnTo>
                    <a:pt x="195" y="40"/>
                  </a:lnTo>
                  <a:lnTo>
                    <a:pt x="197" y="41"/>
                  </a:lnTo>
                  <a:lnTo>
                    <a:pt x="197" y="42"/>
                  </a:lnTo>
                  <a:lnTo>
                    <a:pt x="195" y="42"/>
                  </a:lnTo>
                  <a:lnTo>
                    <a:pt x="195" y="41"/>
                  </a:lnTo>
                  <a:lnTo>
                    <a:pt x="194" y="42"/>
                  </a:lnTo>
                  <a:lnTo>
                    <a:pt x="193" y="42"/>
                  </a:lnTo>
                  <a:lnTo>
                    <a:pt x="193" y="41"/>
                  </a:lnTo>
                  <a:lnTo>
                    <a:pt x="193" y="42"/>
                  </a:lnTo>
                  <a:lnTo>
                    <a:pt x="192" y="42"/>
                  </a:lnTo>
                  <a:lnTo>
                    <a:pt x="192" y="41"/>
                  </a:lnTo>
                  <a:lnTo>
                    <a:pt x="191" y="40"/>
                  </a:lnTo>
                  <a:lnTo>
                    <a:pt x="191" y="41"/>
                  </a:lnTo>
                  <a:lnTo>
                    <a:pt x="189" y="41"/>
                  </a:lnTo>
                  <a:lnTo>
                    <a:pt x="189" y="40"/>
                  </a:lnTo>
                  <a:lnTo>
                    <a:pt x="191" y="39"/>
                  </a:lnTo>
                  <a:lnTo>
                    <a:pt x="191" y="38"/>
                  </a:lnTo>
                  <a:lnTo>
                    <a:pt x="191" y="36"/>
                  </a:lnTo>
                  <a:lnTo>
                    <a:pt x="189" y="36"/>
                  </a:lnTo>
                  <a:lnTo>
                    <a:pt x="188" y="35"/>
                  </a:lnTo>
                  <a:lnTo>
                    <a:pt x="188" y="36"/>
                  </a:lnTo>
                  <a:lnTo>
                    <a:pt x="188" y="38"/>
                  </a:lnTo>
                  <a:lnTo>
                    <a:pt x="187" y="39"/>
                  </a:lnTo>
                  <a:lnTo>
                    <a:pt x="187" y="40"/>
                  </a:lnTo>
                  <a:lnTo>
                    <a:pt x="187" y="41"/>
                  </a:lnTo>
                  <a:lnTo>
                    <a:pt x="187" y="40"/>
                  </a:lnTo>
                  <a:lnTo>
                    <a:pt x="187" y="39"/>
                  </a:lnTo>
                  <a:lnTo>
                    <a:pt x="187" y="38"/>
                  </a:lnTo>
                  <a:lnTo>
                    <a:pt x="187" y="36"/>
                  </a:lnTo>
                  <a:lnTo>
                    <a:pt x="187" y="35"/>
                  </a:lnTo>
                  <a:lnTo>
                    <a:pt x="186" y="35"/>
                  </a:lnTo>
                  <a:lnTo>
                    <a:pt x="185" y="36"/>
                  </a:lnTo>
                  <a:lnTo>
                    <a:pt x="183" y="36"/>
                  </a:lnTo>
                  <a:lnTo>
                    <a:pt x="182" y="36"/>
                  </a:lnTo>
                  <a:lnTo>
                    <a:pt x="182" y="38"/>
                  </a:lnTo>
                  <a:lnTo>
                    <a:pt x="182" y="39"/>
                  </a:lnTo>
                  <a:lnTo>
                    <a:pt x="182" y="40"/>
                  </a:lnTo>
                  <a:lnTo>
                    <a:pt x="183" y="41"/>
                  </a:lnTo>
                  <a:lnTo>
                    <a:pt x="183" y="42"/>
                  </a:lnTo>
                  <a:lnTo>
                    <a:pt x="183" y="44"/>
                  </a:lnTo>
                  <a:lnTo>
                    <a:pt x="185" y="44"/>
                  </a:lnTo>
                  <a:lnTo>
                    <a:pt x="185" y="45"/>
                  </a:lnTo>
                  <a:lnTo>
                    <a:pt x="183" y="45"/>
                  </a:lnTo>
                  <a:lnTo>
                    <a:pt x="183" y="46"/>
                  </a:lnTo>
                  <a:lnTo>
                    <a:pt x="183" y="48"/>
                  </a:lnTo>
                  <a:lnTo>
                    <a:pt x="183" y="50"/>
                  </a:lnTo>
                  <a:lnTo>
                    <a:pt x="182" y="50"/>
                  </a:lnTo>
                  <a:lnTo>
                    <a:pt x="182" y="48"/>
                  </a:lnTo>
                  <a:lnTo>
                    <a:pt x="182" y="47"/>
                  </a:lnTo>
                  <a:lnTo>
                    <a:pt x="182" y="46"/>
                  </a:lnTo>
                  <a:lnTo>
                    <a:pt x="182" y="45"/>
                  </a:lnTo>
                  <a:lnTo>
                    <a:pt x="181" y="45"/>
                  </a:lnTo>
                  <a:lnTo>
                    <a:pt x="181" y="46"/>
                  </a:lnTo>
                  <a:lnTo>
                    <a:pt x="181" y="47"/>
                  </a:lnTo>
                  <a:lnTo>
                    <a:pt x="180" y="47"/>
                  </a:lnTo>
                  <a:lnTo>
                    <a:pt x="180" y="46"/>
                  </a:lnTo>
                  <a:lnTo>
                    <a:pt x="181" y="46"/>
                  </a:lnTo>
                  <a:lnTo>
                    <a:pt x="181" y="45"/>
                  </a:lnTo>
                  <a:lnTo>
                    <a:pt x="180" y="45"/>
                  </a:lnTo>
                  <a:lnTo>
                    <a:pt x="180" y="44"/>
                  </a:lnTo>
                  <a:lnTo>
                    <a:pt x="179" y="44"/>
                  </a:lnTo>
                  <a:lnTo>
                    <a:pt x="179" y="45"/>
                  </a:lnTo>
                  <a:lnTo>
                    <a:pt x="177" y="45"/>
                  </a:lnTo>
                  <a:lnTo>
                    <a:pt x="177" y="44"/>
                  </a:lnTo>
                  <a:lnTo>
                    <a:pt x="176" y="42"/>
                  </a:lnTo>
                  <a:lnTo>
                    <a:pt x="175" y="42"/>
                  </a:lnTo>
                  <a:lnTo>
                    <a:pt x="174" y="44"/>
                  </a:lnTo>
                  <a:lnTo>
                    <a:pt x="175" y="45"/>
                  </a:lnTo>
                  <a:lnTo>
                    <a:pt x="175" y="46"/>
                  </a:lnTo>
                  <a:lnTo>
                    <a:pt x="174" y="46"/>
                  </a:lnTo>
                  <a:lnTo>
                    <a:pt x="174" y="47"/>
                  </a:lnTo>
                  <a:lnTo>
                    <a:pt x="175" y="48"/>
                  </a:lnTo>
                  <a:lnTo>
                    <a:pt x="175" y="50"/>
                  </a:lnTo>
                  <a:lnTo>
                    <a:pt x="176" y="50"/>
                  </a:lnTo>
                  <a:lnTo>
                    <a:pt x="177" y="50"/>
                  </a:lnTo>
                  <a:lnTo>
                    <a:pt x="177" y="51"/>
                  </a:lnTo>
                  <a:lnTo>
                    <a:pt x="177" y="52"/>
                  </a:lnTo>
                  <a:lnTo>
                    <a:pt x="179" y="52"/>
                  </a:lnTo>
                  <a:lnTo>
                    <a:pt x="179" y="53"/>
                  </a:lnTo>
                  <a:lnTo>
                    <a:pt x="179" y="54"/>
                  </a:lnTo>
                  <a:lnTo>
                    <a:pt x="180" y="54"/>
                  </a:lnTo>
                  <a:lnTo>
                    <a:pt x="180" y="53"/>
                  </a:lnTo>
                  <a:lnTo>
                    <a:pt x="181" y="53"/>
                  </a:lnTo>
                  <a:lnTo>
                    <a:pt x="181" y="54"/>
                  </a:lnTo>
                  <a:lnTo>
                    <a:pt x="181" y="56"/>
                  </a:lnTo>
                  <a:lnTo>
                    <a:pt x="180" y="56"/>
                  </a:lnTo>
                  <a:lnTo>
                    <a:pt x="179" y="56"/>
                  </a:lnTo>
                  <a:lnTo>
                    <a:pt x="179" y="54"/>
                  </a:lnTo>
                  <a:lnTo>
                    <a:pt x="179" y="53"/>
                  </a:lnTo>
                  <a:lnTo>
                    <a:pt x="177" y="53"/>
                  </a:lnTo>
                  <a:lnTo>
                    <a:pt x="177" y="52"/>
                  </a:lnTo>
                  <a:lnTo>
                    <a:pt x="176" y="52"/>
                  </a:lnTo>
                  <a:lnTo>
                    <a:pt x="176" y="51"/>
                  </a:lnTo>
                  <a:lnTo>
                    <a:pt x="176" y="50"/>
                  </a:lnTo>
                  <a:lnTo>
                    <a:pt x="175" y="50"/>
                  </a:lnTo>
                  <a:lnTo>
                    <a:pt x="175" y="51"/>
                  </a:lnTo>
                  <a:lnTo>
                    <a:pt x="175" y="52"/>
                  </a:lnTo>
                  <a:lnTo>
                    <a:pt x="175" y="53"/>
                  </a:lnTo>
                  <a:lnTo>
                    <a:pt x="176" y="54"/>
                  </a:lnTo>
                  <a:lnTo>
                    <a:pt x="175" y="54"/>
                  </a:lnTo>
                  <a:lnTo>
                    <a:pt x="175" y="53"/>
                  </a:lnTo>
                  <a:lnTo>
                    <a:pt x="174" y="52"/>
                  </a:lnTo>
                  <a:lnTo>
                    <a:pt x="174" y="51"/>
                  </a:lnTo>
                  <a:lnTo>
                    <a:pt x="174" y="50"/>
                  </a:lnTo>
                  <a:lnTo>
                    <a:pt x="174" y="48"/>
                  </a:lnTo>
                  <a:lnTo>
                    <a:pt x="173" y="48"/>
                  </a:lnTo>
                  <a:lnTo>
                    <a:pt x="171" y="48"/>
                  </a:lnTo>
                  <a:lnTo>
                    <a:pt x="171" y="50"/>
                  </a:lnTo>
                  <a:lnTo>
                    <a:pt x="173" y="51"/>
                  </a:lnTo>
                  <a:lnTo>
                    <a:pt x="173" y="52"/>
                  </a:lnTo>
                  <a:lnTo>
                    <a:pt x="173" y="53"/>
                  </a:lnTo>
                  <a:lnTo>
                    <a:pt x="173" y="54"/>
                  </a:lnTo>
                  <a:lnTo>
                    <a:pt x="171" y="54"/>
                  </a:lnTo>
                  <a:lnTo>
                    <a:pt x="171" y="53"/>
                  </a:lnTo>
                  <a:lnTo>
                    <a:pt x="170" y="53"/>
                  </a:lnTo>
                  <a:lnTo>
                    <a:pt x="170" y="52"/>
                  </a:lnTo>
                  <a:lnTo>
                    <a:pt x="171" y="52"/>
                  </a:lnTo>
                  <a:lnTo>
                    <a:pt x="170" y="51"/>
                  </a:lnTo>
                  <a:lnTo>
                    <a:pt x="169" y="51"/>
                  </a:lnTo>
                  <a:lnTo>
                    <a:pt x="169" y="52"/>
                  </a:lnTo>
                  <a:lnTo>
                    <a:pt x="169" y="53"/>
                  </a:lnTo>
                  <a:lnTo>
                    <a:pt x="170" y="54"/>
                  </a:lnTo>
                  <a:lnTo>
                    <a:pt x="169" y="54"/>
                  </a:lnTo>
                  <a:lnTo>
                    <a:pt x="169" y="53"/>
                  </a:lnTo>
                  <a:lnTo>
                    <a:pt x="169" y="52"/>
                  </a:lnTo>
                  <a:lnTo>
                    <a:pt x="168" y="52"/>
                  </a:lnTo>
                  <a:lnTo>
                    <a:pt x="168" y="51"/>
                  </a:lnTo>
                  <a:lnTo>
                    <a:pt x="167" y="52"/>
                  </a:lnTo>
                  <a:lnTo>
                    <a:pt x="165" y="52"/>
                  </a:lnTo>
                  <a:lnTo>
                    <a:pt x="165" y="51"/>
                  </a:lnTo>
                  <a:lnTo>
                    <a:pt x="167" y="51"/>
                  </a:lnTo>
                  <a:lnTo>
                    <a:pt x="167" y="50"/>
                  </a:lnTo>
                  <a:lnTo>
                    <a:pt x="167" y="48"/>
                  </a:lnTo>
                  <a:lnTo>
                    <a:pt x="168" y="48"/>
                  </a:lnTo>
                  <a:lnTo>
                    <a:pt x="168" y="47"/>
                  </a:lnTo>
                  <a:lnTo>
                    <a:pt x="167" y="46"/>
                  </a:lnTo>
                  <a:lnTo>
                    <a:pt x="165" y="47"/>
                  </a:lnTo>
                  <a:lnTo>
                    <a:pt x="165" y="46"/>
                  </a:lnTo>
                  <a:lnTo>
                    <a:pt x="167" y="46"/>
                  </a:lnTo>
                  <a:lnTo>
                    <a:pt x="168" y="46"/>
                  </a:lnTo>
                  <a:lnTo>
                    <a:pt x="168" y="45"/>
                  </a:lnTo>
                  <a:lnTo>
                    <a:pt x="168" y="46"/>
                  </a:lnTo>
                  <a:lnTo>
                    <a:pt x="169" y="46"/>
                  </a:lnTo>
                  <a:lnTo>
                    <a:pt x="170" y="46"/>
                  </a:lnTo>
                  <a:lnTo>
                    <a:pt x="170" y="45"/>
                  </a:lnTo>
                  <a:lnTo>
                    <a:pt x="171" y="45"/>
                  </a:lnTo>
                  <a:lnTo>
                    <a:pt x="171" y="44"/>
                  </a:lnTo>
                  <a:lnTo>
                    <a:pt x="170" y="44"/>
                  </a:lnTo>
                  <a:lnTo>
                    <a:pt x="170" y="42"/>
                  </a:lnTo>
                  <a:lnTo>
                    <a:pt x="170" y="44"/>
                  </a:lnTo>
                  <a:lnTo>
                    <a:pt x="169" y="44"/>
                  </a:lnTo>
                  <a:lnTo>
                    <a:pt x="168" y="42"/>
                  </a:lnTo>
                  <a:lnTo>
                    <a:pt x="167" y="42"/>
                  </a:lnTo>
                  <a:lnTo>
                    <a:pt x="168" y="41"/>
                  </a:lnTo>
                  <a:lnTo>
                    <a:pt x="169" y="40"/>
                  </a:lnTo>
                  <a:lnTo>
                    <a:pt x="170" y="40"/>
                  </a:lnTo>
                  <a:lnTo>
                    <a:pt x="170" y="39"/>
                  </a:lnTo>
                  <a:lnTo>
                    <a:pt x="171" y="39"/>
                  </a:lnTo>
                  <a:lnTo>
                    <a:pt x="173" y="39"/>
                  </a:lnTo>
                  <a:lnTo>
                    <a:pt x="174" y="38"/>
                  </a:lnTo>
                  <a:lnTo>
                    <a:pt x="174" y="39"/>
                  </a:lnTo>
                  <a:lnTo>
                    <a:pt x="175" y="39"/>
                  </a:lnTo>
                  <a:lnTo>
                    <a:pt x="175" y="38"/>
                  </a:lnTo>
                  <a:lnTo>
                    <a:pt x="176" y="38"/>
                  </a:lnTo>
                  <a:lnTo>
                    <a:pt x="176" y="39"/>
                  </a:lnTo>
                  <a:lnTo>
                    <a:pt x="177" y="39"/>
                  </a:lnTo>
                  <a:lnTo>
                    <a:pt x="179" y="38"/>
                  </a:lnTo>
                  <a:lnTo>
                    <a:pt x="180" y="36"/>
                  </a:lnTo>
                  <a:lnTo>
                    <a:pt x="180" y="35"/>
                  </a:lnTo>
                  <a:lnTo>
                    <a:pt x="180" y="34"/>
                  </a:lnTo>
                  <a:lnTo>
                    <a:pt x="179" y="34"/>
                  </a:lnTo>
                  <a:lnTo>
                    <a:pt x="177" y="34"/>
                  </a:lnTo>
                  <a:lnTo>
                    <a:pt x="177" y="35"/>
                  </a:lnTo>
                  <a:lnTo>
                    <a:pt x="176" y="36"/>
                  </a:lnTo>
                  <a:lnTo>
                    <a:pt x="175" y="36"/>
                  </a:lnTo>
                  <a:lnTo>
                    <a:pt x="176" y="35"/>
                  </a:lnTo>
                  <a:lnTo>
                    <a:pt x="176" y="34"/>
                  </a:lnTo>
                  <a:lnTo>
                    <a:pt x="175" y="34"/>
                  </a:lnTo>
                  <a:lnTo>
                    <a:pt x="175" y="35"/>
                  </a:lnTo>
                  <a:lnTo>
                    <a:pt x="174" y="35"/>
                  </a:lnTo>
                  <a:lnTo>
                    <a:pt x="173" y="35"/>
                  </a:lnTo>
                  <a:lnTo>
                    <a:pt x="171" y="35"/>
                  </a:lnTo>
                  <a:lnTo>
                    <a:pt x="173" y="34"/>
                  </a:lnTo>
                  <a:lnTo>
                    <a:pt x="174" y="34"/>
                  </a:lnTo>
                  <a:lnTo>
                    <a:pt x="174" y="33"/>
                  </a:lnTo>
                  <a:lnTo>
                    <a:pt x="174" y="32"/>
                  </a:lnTo>
                  <a:lnTo>
                    <a:pt x="174" y="30"/>
                  </a:lnTo>
                  <a:lnTo>
                    <a:pt x="173" y="30"/>
                  </a:lnTo>
                  <a:lnTo>
                    <a:pt x="171" y="30"/>
                  </a:lnTo>
                  <a:lnTo>
                    <a:pt x="171" y="32"/>
                  </a:lnTo>
                  <a:lnTo>
                    <a:pt x="171" y="33"/>
                  </a:lnTo>
                  <a:lnTo>
                    <a:pt x="170" y="33"/>
                  </a:lnTo>
                  <a:lnTo>
                    <a:pt x="170" y="34"/>
                  </a:lnTo>
                  <a:lnTo>
                    <a:pt x="169" y="34"/>
                  </a:lnTo>
                  <a:lnTo>
                    <a:pt x="169" y="35"/>
                  </a:lnTo>
                  <a:lnTo>
                    <a:pt x="169" y="34"/>
                  </a:lnTo>
                  <a:lnTo>
                    <a:pt x="170" y="33"/>
                  </a:lnTo>
                  <a:lnTo>
                    <a:pt x="170" y="32"/>
                  </a:lnTo>
                  <a:lnTo>
                    <a:pt x="170" y="30"/>
                  </a:lnTo>
                  <a:lnTo>
                    <a:pt x="169" y="30"/>
                  </a:lnTo>
                  <a:lnTo>
                    <a:pt x="168" y="32"/>
                  </a:lnTo>
                  <a:lnTo>
                    <a:pt x="167" y="32"/>
                  </a:lnTo>
                  <a:lnTo>
                    <a:pt x="165" y="32"/>
                  </a:lnTo>
                  <a:lnTo>
                    <a:pt x="165" y="33"/>
                  </a:lnTo>
                  <a:lnTo>
                    <a:pt x="164" y="33"/>
                  </a:lnTo>
                  <a:lnTo>
                    <a:pt x="163" y="33"/>
                  </a:lnTo>
                  <a:lnTo>
                    <a:pt x="163" y="32"/>
                  </a:lnTo>
                  <a:lnTo>
                    <a:pt x="162" y="32"/>
                  </a:lnTo>
                  <a:lnTo>
                    <a:pt x="163" y="30"/>
                  </a:lnTo>
                  <a:lnTo>
                    <a:pt x="163" y="29"/>
                  </a:lnTo>
                  <a:lnTo>
                    <a:pt x="163" y="28"/>
                  </a:lnTo>
                  <a:lnTo>
                    <a:pt x="162" y="28"/>
                  </a:lnTo>
                  <a:lnTo>
                    <a:pt x="161" y="29"/>
                  </a:lnTo>
                  <a:lnTo>
                    <a:pt x="161" y="30"/>
                  </a:lnTo>
                  <a:lnTo>
                    <a:pt x="159" y="32"/>
                  </a:lnTo>
                  <a:lnTo>
                    <a:pt x="157" y="32"/>
                  </a:lnTo>
                  <a:lnTo>
                    <a:pt x="156" y="32"/>
                  </a:lnTo>
                  <a:lnTo>
                    <a:pt x="156" y="30"/>
                  </a:lnTo>
                  <a:lnTo>
                    <a:pt x="157" y="30"/>
                  </a:lnTo>
                  <a:lnTo>
                    <a:pt x="157" y="29"/>
                  </a:lnTo>
                  <a:lnTo>
                    <a:pt x="157" y="28"/>
                  </a:lnTo>
                  <a:lnTo>
                    <a:pt x="157" y="27"/>
                  </a:lnTo>
                  <a:lnTo>
                    <a:pt x="156" y="26"/>
                  </a:lnTo>
                  <a:lnTo>
                    <a:pt x="156" y="24"/>
                  </a:lnTo>
                  <a:lnTo>
                    <a:pt x="155" y="24"/>
                  </a:lnTo>
                  <a:lnTo>
                    <a:pt x="153" y="26"/>
                  </a:lnTo>
                  <a:lnTo>
                    <a:pt x="152" y="26"/>
                  </a:lnTo>
                  <a:lnTo>
                    <a:pt x="151" y="27"/>
                  </a:lnTo>
                  <a:lnTo>
                    <a:pt x="150" y="27"/>
                  </a:lnTo>
                  <a:lnTo>
                    <a:pt x="150" y="26"/>
                  </a:lnTo>
                  <a:lnTo>
                    <a:pt x="150" y="24"/>
                  </a:lnTo>
                  <a:lnTo>
                    <a:pt x="148" y="24"/>
                  </a:lnTo>
                  <a:lnTo>
                    <a:pt x="148" y="26"/>
                  </a:lnTo>
                  <a:lnTo>
                    <a:pt x="147" y="27"/>
                  </a:lnTo>
                  <a:lnTo>
                    <a:pt x="147" y="26"/>
                  </a:lnTo>
                  <a:lnTo>
                    <a:pt x="146" y="26"/>
                  </a:lnTo>
                  <a:lnTo>
                    <a:pt x="146" y="24"/>
                  </a:lnTo>
                  <a:lnTo>
                    <a:pt x="145" y="24"/>
                  </a:lnTo>
                  <a:lnTo>
                    <a:pt x="144" y="26"/>
                  </a:lnTo>
                  <a:lnTo>
                    <a:pt x="144" y="24"/>
                  </a:lnTo>
                  <a:lnTo>
                    <a:pt x="142" y="24"/>
                  </a:lnTo>
                  <a:lnTo>
                    <a:pt x="141" y="24"/>
                  </a:lnTo>
                  <a:lnTo>
                    <a:pt x="141" y="23"/>
                  </a:lnTo>
                  <a:lnTo>
                    <a:pt x="142" y="23"/>
                  </a:lnTo>
                  <a:lnTo>
                    <a:pt x="144" y="23"/>
                  </a:lnTo>
                  <a:lnTo>
                    <a:pt x="145" y="23"/>
                  </a:lnTo>
                  <a:lnTo>
                    <a:pt x="146" y="23"/>
                  </a:lnTo>
                  <a:lnTo>
                    <a:pt x="147" y="23"/>
                  </a:lnTo>
                  <a:lnTo>
                    <a:pt x="148" y="23"/>
                  </a:lnTo>
                  <a:lnTo>
                    <a:pt x="150" y="23"/>
                  </a:lnTo>
                  <a:lnTo>
                    <a:pt x="151" y="22"/>
                  </a:lnTo>
                  <a:lnTo>
                    <a:pt x="151" y="21"/>
                  </a:lnTo>
                  <a:lnTo>
                    <a:pt x="150" y="20"/>
                  </a:lnTo>
                  <a:lnTo>
                    <a:pt x="150" y="21"/>
                  </a:lnTo>
                  <a:lnTo>
                    <a:pt x="148" y="21"/>
                  </a:lnTo>
                  <a:lnTo>
                    <a:pt x="147" y="21"/>
                  </a:lnTo>
                  <a:lnTo>
                    <a:pt x="148" y="21"/>
                  </a:lnTo>
                  <a:lnTo>
                    <a:pt x="148" y="20"/>
                  </a:lnTo>
                  <a:lnTo>
                    <a:pt x="147" y="20"/>
                  </a:lnTo>
                  <a:lnTo>
                    <a:pt x="147" y="18"/>
                  </a:lnTo>
                  <a:lnTo>
                    <a:pt x="148" y="20"/>
                  </a:lnTo>
                  <a:lnTo>
                    <a:pt x="150" y="20"/>
                  </a:lnTo>
                  <a:lnTo>
                    <a:pt x="151" y="18"/>
                  </a:lnTo>
                  <a:lnTo>
                    <a:pt x="152" y="18"/>
                  </a:lnTo>
                  <a:lnTo>
                    <a:pt x="153" y="18"/>
                  </a:lnTo>
                  <a:lnTo>
                    <a:pt x="153" y="17"/>
                  </a:lnTo>
                  <a:lnTo>
                    <a:pt x="155" y="17"/>
                  </a:lnTo>
                  <a:lnTo>
                    <a:pt x="155" y="16"/>
                  </a:lnTo>
                  <a:lnTo>
                    <a:pt x="156" y="16"/>
                  </a:lnTo>
                  <a:lnTo>
                    <a:pt x="156" y="15"/>
                  </a:lnTo>
                  <a:lnTo>
                    <a:pt x="155" y="15"/>
                  </a:lnTo>
                  <a:lnTo>
                    <a:pt x="155" y="14"/>
                  </a:lnTo>
                  <a:lnTo>
                    <a:pt x="153" y="15"/>
                  </a:lnTo>
                  <a:lnTo>
                    <a:pt x="152" y="16"/>
                  </a:lnTo>
                  <a:lnTo>
                    <a:pt x="152" y="15"/>
                  </a:lnTo>
                  <a:lnTo>
                    <a:pt x="152" y="14"/>
                  </a:lnTo>
                  <a:lnTo>
                    <a:pt x="153" y="12"/>
                  </a:lnTo>
                  <a:lnTo>
                    <a:pt x="153" y="10"/>
                  </a:lnTo>
                  <a:lnTo>
                    <a:pt x="152" y="10"/>
                  </a:lnTo>
                  <a:lnTo>
                    <a:pt x="151" y="10"/>
                  </a:lnTo>
                  <a:lnTo>
                    <a:pt x="150" y="11"/>
                  </a:lnTo>
                  <a:lnTo>
                    <a:pt x="150" y="12"/>
                  </a:lnTo>
                  <a:lnTo>
                    <a:pt x="150" y="14"/>
                  </a:lnTo>
                  <a:lnTo>
                    <a:pt x="148" y="12"/>
                  </a:lnTo>
                  <a:lnTo>
                    <a:pt x="148" y="11"/>
                  </a:lnTo>
                  <a:lnTo>
                    <a:pt x="148" y="10"/>
                  </a:lnTo>
                  <a:lnTo>
                    <a:pt x="147" y="10"/>
                  </a:lnTo>
                  <a:lnTo>
                    <a:pt x="147" y="11"/>
                  </a:lnTo>
                  <a:lnTo>
                    <a:pt x="146" y="11"/>
                  </a:lnTo>
                  <a:lnTo>
                    <a:pt x="146" y="12"/>
                  </a:lnTo>
                  <a:lnTo>
                    <a:pt x="145" y="12"/>
                  </a:lnTo>
                  <a:lnTo>
                    <a:pt x="144" y="12"/>
                  </a:lnTo>
                  <a:lnTo>
                    <a:pt x="144" y="14"/>
                  </a:lnTo>
                  <a:lnTo>
                    <a:pt x="142" y="14"/>
                  </a:lnTo>
                  <a:lnTo>
                    <a:pt x="144" y="15"/>
                  </a:lnTo>
                  <a:lnTo>
                    <a:pt x="142" y="15"/>
                  </a:lnTo>
                  <a:lnTo>
                    <a:pt x="142" y="16"/>
                  </a:lnTo>
                  <a:lnTo>
                    <a:pt x="141" y="15"/>
                  </a:lnTo>
                  <a:lnTo>
                    <a:pt x="141" y="14"/>
                  </a:lnTo>
                  <a:lnTo>
                    <a:pt x="140" y="14"/>
                  </a:lnTo>
                  <a:lnTo>
                    <a:pt x="140" y="12"/>
                  </a:lnTo>
                  <a:lnTo>
                    <a:pt x="140" y="11"/>
                  </a:lnTo>
                  <a:lnTo>
                    <a:pt x="139" y="11"/>
                  </a:lnTo>
                  <a:lnTo>
                    <a:pt x="138" y="11"/>
                  </a:lnTo>
                  <a:lnTo>
                    <a:pt x="138" y="12"/>
                  </a:lnTo>
                  <a:lnTo>
                    <a:pt x="136" y="12"/>
                  </a:lnTo>
                  <a:lnTo>
                    <a:pt x="136" y="11"/>
                  </a:lnTo>
                  <a:lnTo>
                    <a:pt x="136" y="10"/>
                  </a:lnTo>
                  <a:lnTo>
                    <a:pt x="136" y="9"/>
                  </a:lnTo>
                  <a:lnTo>
                    <a:pt x="136" y="8"/>
                  </a:lnTo>
                  <a:lnTo>
                    <a:pt x="135" y="6"/>
                  </a:lnTo>
                  <a:lnTo>
                    <a:pt x="134" y="6"/>
                  </a:lnTo>
                  <a:lnTo>
                    <a:pt x="134" y="8"/>
                  </a:lnTo>
                  <a:lnTo>
                    <a:pt x="133" y="9"/>
                  </a:lnTo>
                  <a:lnTo>
                    <a:pt x="133" y="10"/>
                  </a:lnTo>
                  <a:lnTo>
                    <a:pt x="133" y="11"/>
                  </a:lnTo>
                  <a:lnTo>
                    <a:pt x="133" y="10"/>
                  </a:lnTo>
                  <a:lnTo>
                    <a:pt x="132" y="9"/>
                  </a:lnTo>
                  <a:lnTo>
                    <a:pt x="132" y="8"/>
                  </a:lnTo>
                  <a:lnTo>
                    <a:pt x="130" y="6"/>
                  </a:lnTo>
                  <a:lnTo>
                    <a:pt x="132" y="6"/>
                  </a:lnTo>
                  <a:lnTo>
                    <a:pt x="132" y="5"/>
                  </a:lnTo>
                  <a:lnTo>
                    <a:pt x="129" y="4"/>
                  </a:lnTo>
                  <a:lnTo>
                    <a:pt x="129" y="5"/>
                  </a:lnTo>
                  <a:lnTo>
                    <a:pt x="128" y="5"/>
                  </a:lnTo>
                  <a:lnTo>
                    <a:pt x="128" y="6"/>
                  </a:lnTo>
                  <a:lnTo>
                    <a:pt x="127" y="8"/>
                  </a:lnTo>
                  <a:lnTo>
                    <a:pt x="127" y="9"/>
                  </a:lnTo>
                  <a:lnTo>
                    <a:pt x="126" y="9"/>
                  </a:lnTo>
                  <a:lnTo>
                    <a:pt x="127" y="10"/>
                  </a:lnTo>
                  <a:lnTo>
                    <a:pt x="128" y="10"/>
                  </a:lnTo>
                  <a:lnTo>
                    <a:pt x="128" y="11"/>
                  </a:lnTo>
                  <a:lnTo>
                    <a:pt x="129" y="11"/>
                  </a:lnTo>
                  <a:lnTo>
                    <a:pt x="129" y="12"/>
                  </a:lnTo>
                  <a:lnTo>
                    <a:pt x="128" y="12"/>
                  </a:lnTo>
                  <a:lnTo>
                    <a:pt x="128" y="14"/>
                  </a:lnTo>
                  <a:lnTo>
                    <a:pt x="127" y="12"/>
                  </a:lnTo>
                  <a:lnTo>
                    <a:pt x="126" y="11"/>
                  </a:lnTo>
                  <a:lnTo>
                    <a:pt x="124" y="10"/>
                  </a:lnTo>
                  <a:lnTo>
                    <a:pt x="123" y="10"/>
                  </a:lnTo>
                  <a:lnTo>
                    <a:pt x="122" y="10"/>
                  </a:lnTo>
                  <a:lnTo>
                    <a:pt x="122" y="11"/>
                  </a:lnTo>
                  <a:lnTo>
                    <a:pt x="122" y="12"/>
                  </a:lnTo>
                  <a:lnTo>
                    <a:pt x="122" y="14"/>
                  </a:lnTo>
                  <a:lnTo>
                    <a:pt x="123" y="15"/>
                  </a:lnTo>
                  <a:lnTo>
                    <a:pt x="124" y="15"/>
                  </a:lnTo>
                  <a:lnTo>
                    <a:pt x="126" y="15"/>
                  </a:lnTo>
                  <a:lnTo>
                    <a:pt x="124" y="15"/>
                  </a:lnTo>
                  <a:lnTo>
                    <a:pt x="124" y="16"/>
                  </a:lnTo>
                  <a:lnTo>
                    <a:pt x="126" y="16"/>
                  </a:lnTo>
                  <a:lnTo>
                    <a:pt x="127" y="17"/>
                  </a:lnTo>
                  <a:lnTo>
                    <a:pt x="128" y="17"/>
                  </a:lnTo>
                  <a:lnTo>
                    <a:pt x="129" y="18"/>
                  </a:lnTo>
                  <a:lnTo>
                    <a:pt x="128" y="20"/>
                  </a:lnTo>
                  <a:lnTo>
                    <a:pt x="127" y="20"/>
                  </a:lnTo>
                  <a:lnTo>
                    <a:pt x="127" y="18"/>
                  </a:lnTo>
                  <a:lnTo>
                    <a:pt x="126" y="17"/>
                  </a:lnTo>
                  <a:lnTo>
                    <a:pt x="124" y="17"/>
                  </a:lnTo>
                  <a:lnTo>
                    <a:pt x="124" y="18"/>
                  </a:lnTo>
                  <a:lnTo>
                    <a:pt x="123" y="18"/>
                  </a:lnTo>
                  <a:lnTo>
                    <a:pt x="122" y="18"/>
                  </a:lnTo>
                  <a:lnTo>
                    <a:pt x="121" y="18"/>
                  </a:lnTo>
                  <a:lnTo>
                    <a:pt x="121" y="17"/>
                  </a:lnTo>
                  <a:lnTo>
                    <a:pt x="120" y="17"/>
                  </a:lnTo>
                  <a:lnTo>
                    <a:pt x="120" y="18"/>
                  </a:lnTo>
                  <a:lnTo>
                    <a:pt x="120" y="20"/>
                  </a:lnTo>
                  <a:lnTo>
                    <a:pt x="121" y="21"/>
                  </a:lnTo>
                  <a:lnTo>
                    <a:pt x="121" y="22"/>
                  </a:lnTo>
                  <a:lnTo>
                    <a:pt x="122" y="22"/>
                  </a:lnTo>
                  <a:lnTo>
                    <a:pt x="123" y="22"/>
                  </a:lnTo>
                  <a:lnTo>
                    <a:pt x="124" y="22"/>
                  </a:lnTo>
                  <a:lnTo>
                    <a:pt x="126" y="22"/>
                  </a:lnTo>
                  <a:lnTo>
                    <a:pt x="126" y="23"/>
                  </a:lnTo>
                  <a:lnTo>
                    <a:pt x="127" y="23"/>
                  </a:lnTo>
                  <a:lnTo>
                    <a:pt x="126" y="23"/>
                  </a:lnTo>
                  <a:lnTo>
                    <a:pt x="124" y="23"/>
                  </a:lnTo>
                  <a:lnTo>
                    <a:pt x="124" y="24"/>
                  </a:lnTo>
                  <a:lnTo>
                    <a:pt x="124" y="26"/>
                  </a:lnTo>
                  <a:lnTo>
                    <a:pt x="123" y="26"/>
                  </a:lnTo>
                  <a:lnTo>
                    <a:pt x="122" y="26"/>
                  </a:lnTo>
                  <a:lnTo>
                    <a:pt x="123" y="28"/>
                  </a:lnTo>
                  <a:lnTo>
                    <a:pt x="124" y="28"/>
                  </a:lnTo>
                  <a:lnTo>
                    <a:pt x="126" y="29"/>
                  </a:lnTo>
                  <a:lnTo>
                    <a:pt x="127" y="29"/>
                  </a:lnTo>
                  <a:lnTo>
                    <a:pt x="127" y="30"/>
                  </a:lnTo>
                  <a:lnTo>
                    <a:pt x="128" y="30"/>
                  </a:lnTo>
                  <a:lnTo>
                    <a:pt x="129" y="29"/>
                  </a:lnTo>
                  <a:lnTo>
                    <a:pt x="129" y="28"/>
                  </a:lnTo>
                  <a:lnTo>
                    <a:pt x="129" y="27"/>
                  </a:lnTo>
                  <a:lnTo>
                    <a:pt x="130" y="28"/>
                  </a:lnTo>
                  <a:lnTo>
                    <a:pt x="132" y="28"/>
                  </a:lnTo>
                  <a:lnTo>
                    <a:pt x="132" y="27"/>
                  </a:lnTo>
                  <a:lnTo>
                    <a:pt x="133" y="28"/>
                  </a:lnTo>
                  <a:lnTo>
                    <a:pt x="133" y="29"/>
                  </a:lnTo>
                  <a:lnTo>
                    <a:pt x="132" y="29"/>
                  </a:lnTo>
                  <a:lnTo>
                    <a:pt x="130" y="29"/>
                  </a:lnTo>
                  <a:lnTo>
                    <a:pt x="129" y="30"/>
                  </a:lnTo>
                  <a:lnTo>
                    <a:pt x="129" y="32"/>
                  </a:lnTo>
                  <a:lnTo>
                    <a:pt x="130" y="33"/>
                  </a:lnTo>
                  <a:lnTo>
                    <a:pt x="132" y="34"/>
                  </a:lnTo>
                  <a:lnTo>
                    <a:pt x="133" y="33"/>
                  </a:lnTo>
                  <a:lnTo>
                    <a:pt x="134" y="33"/>
                  </a:lnTo>
                  <a:lnTo>
                    <a:pt x="134" y="32"/>
                  </a:lnTo>
                  <a:lnTo>
                    <a:pt x="134" y="30"/>
                  </a:lnTo>
                  <a:lnTo>
                    <a:pt x="135" y="32"/>
                  </a:lnTo>
                  <a:lnTo>
                    <a:pt x="136" y="32"/>
                  </a:lnTo>
                  <a:lnTo>
                    <a:pt x="136" y="33"/>
                  </a:lnTo>
                  <a:lnTo>
                    <a:pt x="135" y="33"/>
                  </a:lnTo>
                  <a:lnTo>
                    <a:pt x="134" y="34"/>
                  </a:lnTo>
                  <a:lnTo>
                    <a:pt x="134" y="35"/>
                  </a:lnTo>
                  <a:lnTo>
                    <a:pt x="134" y="36"/>
                  </a:lnTo>
                  <a:lnTo>
                    <a:pt x="135" y="38"/>
                  </a:lnTo>
                  <a:lnTo>
                    <a:pt x="135" y="39"/>
                  </a:lnTo>
                  <a:lnTo>
                    <a:pt x="136" y="40"/>
                  </a:lnTo>
                  <a:lnTo>
                    <a:pt x="136" y="41"/>
                  </a:lnTo>
                  <a:lnTo>
                    <a:pt x="135" y="41"/>
                  </a:lnTo>
                  <a:lnTo>
                    <a:pt x="135" y="40"/>
                  </a:lnTo>
                  <a:lnTo>
                    <a:pt x="135" y="39"/>
                  </a:lnTo>
                  <a:lnTo>
                    <a:pt x="134" y="39"/>
                  </a:lnTo>
                  <a:lnTo>
                    <a:pt x="134" y="38"/>
                  </a:lnTo>
                  <a:lnTo>
                    <a:pt x="133" y="36"/>
                  </a:lnTo>
                  <a:lnTo>
                    <a:pt x="132" y="36"/>
                  </a:lnTo>
                  <a:lnTo>
                    <a:pt x="132" y="38"/>
                  </a:lnTo>
                  <a:lnTo>
                    <a:pt x="132" y="39"/>
                  </a:lnTo>
                  <a:lnTo>
                    <a:pt x="130" y="39"/>
                  </a:lnTo>
                  <a:lnTo>
                    <a:pt x="130" y="40"/>
                  </a:lnTo>
                  <a:lnTo>
                    <a:pt x="129" y="40"/>
                  </a:lnTo>
                  <a:lnTo>
                    <a:pt x="129" y="39"/>
                  </a:lnTo>
                  <a:lnTo>
                    <a:pt x="129" y="38"/>
                  </a:lnTo>
                  <a:lnTo>
                    <a:pt x="128" y="39"/>
                  </a:lnTo>
                  <a:lnTo>
                    <a:pt x="128" y="40"/>
                  </a:lnTo>
                  <a:lnTo>
                    <a:pt x="127" y="40"/>
                  </a:lnTo>
                  <a:lnTo>
                    <a:pt x="127" y="39"/>
                  </a:lnTo>
                  <a:lnTo>
                    <a:pt x="127" y="38"/>
                  </a:lnTo>
                  <a:lnTo>
                    <a:pt x="127" y="36"/>
                  </a:lnTo>
                  <a:lnTo>
                    <a:pt x="126" y="36"/>
                  </a:lnTo>
                  <a:lnTo>
                    <a:pt x="126" y="35"/>
                  </a:lnTo>
                  <a:lnTo>
                    <a:pt x="124" y="35"/>
                  </a:lnTo>
                  <a:lnTo>
                    <a:pt x="123" y="36"/>
                  </a:lnTo>
                  <a:lnTo>
                    <a:pt x="123" y="38"/>
                  </a:lnTo>
                  <a:lnTo>
                    <a:pt x="123" y="39"/>
                  </a:lnTo>
                  <a:lnTo>
                    <a:pt x="123" y="40"/>
                  </a:lnTo>
                  <a:lnTo>
                    <a:pt x="122" y="40"/>
                  </a:lnTo>
                  <a:lnTo>
                    <a:pt x="122" y="39"/>
                  </a:lnTo>
                  <a:lnTo>
                    <a:pt x="121" y="39"/>
                  </a:lnTo>
                  <a:lnTo>
                    <a:pt x="121" y="40"/>
                  </a:lnTo>
                  <a:lnTo>
                    <a:pt x="120" y="40"/>
                  </a:lnTo>
                  <a:lnTo>
                    <a:pt x="118" y="39"/>
                  </a:lnTo>
                  <a:lnTo>
                    <a:pt x="118" y="38"/>
                  </a:lnTo>
                  <a:lnTo>
                    <a:pt x="117" y="38"/>
                  </a:lnTo>
                  <a:lnTo>
                    <a:pt x="117" y="36"/>
                  </a:lnTo>
                  <a:lnTo>
                    <a:pt x="117" y="35"/>
                  </a:lnTo>
                  <a:lnTo>
                    <a:pt x="117" y="34"/>
                  </a:lnTo>
                  <a:lnTo>
                    <a:pt x="116" y="33"/>
                  </a:lnTo>
                  <a:lnTo>
                    <a:pt x="115" y="34"/>
                  </a:lnTo>
                  <a:lnTo>
                    <a:pt x="114" y="35"/>
                  </a:lnTo>
                  <a:lnTo>
                    <a:pt x="112" y="36"/>
                  </a:lnTo>
                  <a:lnTo>
                    <a:pt x="112" y="35"/>
                  </a:lnTo>
                  <a:lnTo>
                    <a:pt x="112" y="34"/>
                  </a:lnTo>
                  <a:lnTo>
                    <a:pt x="111" y="33"/>
                  </a:lnTo>
                  <a:lnTo>
                    <a:pt x="110" y="33"/>
                  </a:lnTo>
                  <a:lnTo>
                    <a:pt x="110" y="34"/>
                  </a:lnTo>
                  <a:lnTo>
                    <a:pt x="109" y="35"/>
                  </a:lnTo>
                  <a:lnTo>
                    <a:pt x="109" y="36"/>
                  </a:lnTo>
                  <a:lnTo>
                    <a:pt x="108" y="35"/>
                  </a:lnTo>
                  <a:lnTo>
                    <a:pt x="108" y="34"/>
                  </a:lnTo>
                  <a:lnTo>
                    <a:pt x="109" y="33"/>
                  </a:lnTo>
                  <a:lnTo>
                    <a:pt x="109" y="32"/>
                  </a:lnTo>
                  <a:lnTo>
                    <a:pt x="108" y="32"/>
                  </a:lnTo>
                  <a:lnTo>
                    <a:pt x="109" y="32"/>
                  </a:lnTo>
                  <a:lnTo>
                    <a:pt x="109" y="30"/>
                  </a:lnTo>
                  <a:lnTo>
                    <a:pt x="108" y="29"/>
                  </a:lnTo>
                  <a:lnTo>
                    <a:pt x="106" y="29"/>
                  </a:lnTo>
                  <a:lnTo>
                    <a:pt x="105" y="29"/>
                  </a:lnTo>
                  <a:lnTo>
                    <a:pt x="105" y="28"/>
                  </a:lnTo>
                  <a:lnTo>
                    <a:pt x="105" y="27"/>
                  </a:lnTo>
                  <a:lnTo>
                    <a:pt x="104" y="26"/>
                  </a:lnTo>
                  <a:lnTo>
                    <a:pt x="103" y="24"/>
                  </a:lnTo>
                  <a:lnTo>
                    <a:pt x="103" y="26"/>
                  </a:lnTo>
                  <a:lnTo>
                    <a:pt x="102" y="27"/>
                  </a:lnTo>
                  <a:lnTo>
                    <a:pt x="100" y="28"/>
                  </a:lnTo>
                  <a:lnTo>
                    <a:pt x="99" y="29"/>
                  </a:lnTo>
                  <a:lnTo>
                    <a:pt x="99" y="28"/>
                  </a:lnTo>
                  <a:lnTo>
                    <a:pt x="99" y="27"/>
                  </a:lnTo>
                  <a:lnTo>
                    <a:pt x="100" y="26"/>
                  </a:lnTo>
                  <a:lnTo>
                    <a:pt x="99" y="26"/>
                  </a:lnTo>
                  <a:lnTo>
                    <a:pt x="100" y="26"/>
                  </a:lnTo>
                  <a:lnTo>
                    <a:pt x="100" y="24"/>
                  </a:lnTo>
                  <a:lnTo>
                    <a:pt x="102" y="24"/>
                  </a:lnTo>
                  <a:lnTo>
                    <a:pt x="102" y="23"/>
                  </a:lnTo>
                  <a:lnTo>
                    <a:pt x="102" y="22"/>
                  </a:lnTo>
                  <a:lnTo>
                    <a:pt x="103" y="21"/>
                  </a:lnTo>
                  <a:lnTo>
                    <a:pt x="102" y="20"/>
                  </a:lnTo>
                  <a:lnTo>
                    <a:pt x="100" y="20"/>
                  </a:lnTo>
                  <a:lnTo>
                    <a:pt x="99" y="20"/>
                  </a:lnTo>
                  <a:lnTo>
                    <a:pt x="100" y="21"/>
                  </a:lnTo>
                  <a:lnTo>
                    <a:pt x="99" y="22"/>
                  </a:lnTo>
                  <a:lnTo>
                    <a:pt x="99" y="21"/>
                  </a:lnTo>
                  <a:lnTo>
                    <a:pt x="98" y="22"/>
                  </a:lnTo>
                  <a:lnTo>
                    <a:pt x="98" y="23"/>
                  </a:lnTo>
                  <a:lnTo>
                    <a:pt x="98" y="24"/>
                  </a:lnTo>
                  <a:lnTo>
                    <a:pt x="97" y="24"/>
                  </a:lnTo>
                  <a:lnTo>
                    <a:pt x="97" y="23"/>
                  </a:lnTo>
                  <a:lnTo>
                    <a:pt x="97" y="22"/>
                  </a:lnTo>
                  <a:lnTo>
                    <a:pt x="97" y="21"/>
                  </a:lnTo>
                  <a:lnTo>
                    <a:pt x="98" y="20"/>
                  </a:lnTo>
                  <a:lnTo>
                    <a:pt x="97" y="18"/>
                  </a:lnTo>
                  <a:lnTo>
                    <a:pt x="96" y="17"/>
                  </a:lnTo>
                  <a:lnTo>
                    <a:pt x="96" y="18"/>
                  </a:lnTo>
                  <a:lnTo>
                    <a:pt x="94" y="20"/>
                  </a:lnTo>
                  <a:lnTo>
                    <a:pt x="94" y="18"/>
                  </a:lnTo>
                  <a:lnTo>
                    <a:pt x="94" y="17"/>
                  </a:lnTo>
                  <a:lnTo>
                    <a:pt x="93" y="18"/>
                  </a:lnTo>
                  <a:lnTo>
                    <a:pt x="93" y="17"/>
                  </a:lnTo>
                  <a:lnTo>
                    <a:pt x="92" y="17"/>
                  </a:lnTo>
                  <a:lnTo>
                    <a:pt x="92" y="16"/>
                  </a:lnTo>
                  <a:lnTo>
                    <a:pt x="92" y="15"/>
                  </a:lnTo>
                  <a:lnTo>
                    <a:pt x="91" y="15"/>
                  </a:lnTo>
                  <a:lnTo>
                    <a:pt x="89" y="15"/>
                  </a:lnTo>
                  <a:lnTo>
                    <a:pt x="89" y="16"/>
                  </a:lnTo>
                  <a:lnTo>
                    <a:pt x="89" y="17"/>
                  </a:lnTo>
                  <a:lnTo>
                    <a:pt x="91" y="18"/>
                  </a:lnTo>
                  <a:lnTo>
                    <a:pt x="89" y="18"/>
                  </a:lnTo>
                  <a:lnTo>
                    <a:pt x="88" y="18"/>
                  </a:lnTo>
                  <a:lnTo>
                    <a:pt x="89" y="20"/>
                  </a:lnTo>
                  <a:lnTo>
                    <a:pt x="91" y="21"/>
                  </a:lnTo>
                  <a:lnTo>
                    <a:pt x="92" y="22"/>
                  </a:lnTo>
                  <a:lnTo>
                    <a:pt x="92" y="23"/>
                  </a:lnTo>
                  <a:lnTo>
                    <a:pt x="93" y="23"/>
                  </a:lnTo>
                  <a:lnTo>
                    <a:pt x="92" y="23"/>
                  </a:lnTo>
                  <a:lnTo>
                    <a:pt x="91" y="22"/>
                  </a:lnTo>
                  <a:lnTo>
                    <a:pt x="89" y="22"/>
                  </a:lnTo>
                  <a:lnTo>
                    <a:pt x="88" y="23"/>
                  </a:lnTo>
                  <a:lnTo>
                    <a:pt x="89" y="23"/>
                  </a:lnTo>
                  <a:lnTo>
                    <a:pt x="89" y="24"/>
                  </a:lnTo>
                  <a:lnTo>
                    <a:pt x="91" y="26"/>
                  </a:lnTo>
                  <a:lnTo>
                    <a:pt x="91" y="27"/>
                  </a:lnTo>
                  <a:lnTo>
                    <a:pt x="91" y="28"/>
                  </a:lnTo>
                  <a:lnTo>
                    <a:pt x="89" y="28"/>
                  </a:lnTo>
                  <a:lnTo>
                    <a:pt x="88" y="27"/>
                  </a:lnTo>
                  <a:lnTo>
                    <a:pt x="86" y="27"/>
                  </a:lnTo>
                  <a:lnTo>
                    <a:pt x="85" y="28"/>
                  </a:lnTo>
                  <a:lnTo>
                    <a:pt x="85" y="29"/>
                  </a:lnTo>
                  <a:lnTo>
                    <a:pt x="86" y="30"/>
                  </a:lnTo>
                  <a:lnTo>
                    <a:pt x="86" y="32"/>
                  </a:lnTo>
                  <a:lnTo>
                    <a:pt x="87" y="32"/>
                  </a:lnTo>
                  <a:lnTo>
                    <a:pt x="88" y="33"/>
                  </a:lnTo>
                  <a:lnTo>
                    <a:pt x="89" y="34"/>
                  </a:lnTo>
                  <a:lnTo>
                    <a:pt x="91" y="35"/>
                  </a:lnTo>
                  <a:lnTo>
                    <a:pt x="92" y="34"/>
                  </a:lnTo>
                  <a:lnTo>
                    <a:pt x="93" y="34"/>
                  </a:lnTo>
                  <a:lnTo>
                    <a:pt x="94" y="35"/>
                  </a:lnTo>
                  <a:lnTo>
                    <a:pt x="93" y="36"/>
                  </a:lnTo>
                  <a:lnTo>
                    <a:pt x="93" y="35"/>
                  </a:lnTo>
                  <a:lnTo>
                    <a:pt x="92" y="35"/>
                  </a:lnTo>
                  <a:lnTo>
                    <a:pt x="91" y="35"/>
                  </a:lnTo>
                  <a:lnTo>
                    <a:pt x="89" y="35"/>
                  </a:lnTo>
                  <a:lnTo>
                    <a:pt x="88" y="35"/>
                  </a:lnTo>
                  <a:lnTo>
                    <a:pt x="88" y="34"/>
                  </a:lnTo>
                  <a:lnTo>
                    <a:pt x="87" y="34"/>
                  </a:lnTo>
                  <a:lnTo>
                    <a:pt x="87" y="35"/>
                  </a:lnTo>
                  <a:lnTo>
                    <a:pt x="86" y="35"/>
                  </a:lnTo>
                  <a:lnTo>
                    <a:pt x="87" y="36"/>
                  </a:lnTo>
                  <a:lnTo>
                    <a:pt x="88" y="36"/>
                  </a:lnTo>
                  <a:lnTo>
                    <a:pt x="88" y="38"/>
                  </a:lnTo>
                  <a:lnTo>
                    <a:pt x="88" y="39"/>
                  </a:lnTo>
                  <a:lnTo>
                    <a:pt x="88" y="40"/>
                  </a:lnTo>
                  <a:lnTo>
                    <a:pt x="89" y="40"/>
                  </a:lnTo>
                  <a:lnTo>
                    <a:pt x="89" y="41"/>
                  </a:lnTo>
                  <a:lnTo>
                    <a:pt x="88" y="41"/>
                  </a:lnTo>
                  <a:lnTo>
                    <a:pt x="88" y="40"/>
                  </a:lnTo>
                  <a:lnTo>
                    <a:pt x="87" y="40"/>
                  </a:lnTo>
                  <a:lnTo>
                    <a:pt x="87" y="41"/>
                  </a:lnTo>
                  <a:lnTo>
                    <a:pt x="87" y="42"/>
                  </a:lnTo>
                  <a:lnTo>
                    <a:pt x="87" y="41"/>
                  </a:lnTo>
                  <a:lnTo>
                    <a:pt x="86" y="42"/>
                  </a:lnTo>
                  <a:lnTo>
                    <a:pt x="87" y="44"/>
                  </a:lnTo>
                  <a:lnTo>
                    <a:pt x="88" y="44"/>
                  </a:lnTo>
                  <a:lnTo>
                    <a:pt x="89" y="44"/>
                  </a:lnTo>
                  <a:lnTo>
                    <a:pt x="91" y="44"/>
                  </a:lnTo>
                  <a:lnTo>
                    <a:pt x="92" y="44"/>
                  </a:lnTo>
                  <a:lnTo>
                    <a:pt x="93" y="44"/>
                  </a:lnTo>
                  <a:lnTo>
                    <a:pt x="94" y="44"/>
                  </a:lnTo>
                  <a:lnTo>
                    <a:pt x="96" y="44"/>
                  </a:lnTo>
                  <a:lnTo>
                    <a:pt x="96" y="45"/>
                  </a:lnTo>
                  <a:lnTo>
                    <a:pt x="97" y="45"/>
                  </a:lnTo>
                  <a:lnTo>
                    <a:pt x="98" y="45"/>
                  </a:lnTo>
                  <a:lnTo>
                    <a:pt x="99" y="45"/>
                  </a:lnTo>
                  <a:lnTo>
                    <a:pt x="100" y="45"/>
                  </a:lnTo>
                  <a:lnTo>
                    <a:pt x="102" y="46"/>
                  </a:lnTo>
                  <a:lnTo>
                    <a:pt x="100" y="46"/>
                  </a:lnTo>
                  <a:lnTo>
                    <a:pt x="99" y="46"/>
                  </a:lnTo>
                  <a:lnTo>
                    <a:pt x="98" y="46"/>
                  </a:lnTo>
                  <a:lnTo>
                    <a:pt x="97" y="47"/>
                  </a:lnTo>
                  <a:lnTo>
                    <a:pt x="96" y="46"/>
                  </a:lnTo>
                  <a:lnTo>
                    <a:pt x="96" y="47"/>
                  </a:lnTo>
                  <a:lnTo>
                    <a:pt x="94" y="47"/>
                  </a:lnTo>
                  <a:lnTo>
                    <a:pt x="94" y="46"/>
                  </a:lnTo>
                  <a:lnTo>
                    <a:pt x="93" y="45"/>
                  </a:lnTo>
                  <a:lnTo>
                    <a:pt x="93" y="46"/>
                  </a:lnTo>
                  <a:lnTo>
                    <a:pt x="92" y="46"/>
                  </a:lnTo>
                  <a:lnTo>
                    <a:pt x="92" y="47"/>
                  </a:lnTo>
                  <a:lnTo>
                    <a:pt x="93" y="47"/>
                  </a:lnTo>
                  <a:lnTo>
                    <a:pt x="92" y="48"/>
                  </a:lnTo>
                  <a:lnTo>
                    <a:pt x="92" y="47"/>
                  </a:lnTo>
                  <a:lnTo>
                    <a:pt x="91" y="46"/>
                  </a:lnTo>
                  <a:lnTo>
                    <a:pt x="91" y="47"/>
                  </a:lnTo>
                  <a:lnTo>
                    <a:pt x="89" y="47"/>
                  </a:lnTo>
                  <a:lnTo>
                    <a:pt x="89" y="46"/>
                  </a:lnTo>
                  <a:lnTo>
                    <a:pt x="89" y="45"/>
                  </a:lnTo>
                  <a:lnTo>
                    <a:pt x="88" y="45"/>
                  </a:lnTo>
                  <a:lnTo>
                    <a:pt x="87" y="45"/>
                  </a:lnTo>
                  <a:lnTo>
                    <a:pt x="86" y="45"/>
                  </a:lnTo>
                  <a:lnTo>
                    <a:pt x="86" y="46"/>
                  </a:lnTo>
                  <a:lnTo>
                    <a:pt x="85" y="46"/>
                  </a:lnTo>
                  <a:lnTo>
                    <a:pt x="86" y="46"/>
                  </a:lnTo>
                  <a:lnTo>
                    <a:pt x="86" y="48"/>
                  </a:lnTo>
                  <a:lnTo>
                    <a:pt x="87" y="48"/>
                  </a:lnTo>
                  <a:lnTo>
                    <a:pt x="87" y="50"/>
                  </a:lnTo>
                  <a:lnTo>
                    <a:pt x="88" y="50"/>
                  </a:lnTo>
                  <a:lnTo>
                    <a:pt x="88" y="51"/>
                  </a:lnTo>
                  <a:lnTo>
                    <a:pt x="89" y="51"/>
                  </a:lnTo>
                  <a:lnTo>
                    <a:pt x="89" y="52"/>
                  </a:lnTo>
                  <a:lnTo>
                    <a:pt x="88" y="52"/>
                  </a:lnTo>
                  <a:lnTo>
                    <a:pt x="87" y="51"/>
                  </a:lnTo>
                  <a:lnTo>
                    <a:pt x="87" y="52"/>
                  </a:lnTo>
                  <a:lnTo>
                    <a:pt x="86" y="52"/>
                  </a:lnTo>
                  <a:lnTo>
                    <a:pt x="85" y="52"/>
                  </a:lnTo>
                  <a:lnTo>
                    <a:pt x="85" y="51"/>
                  </a:lnTo>
                  <a:lnTo>
                    <a:pt x="83" y="51"/>
                  </a:lnTo>
                  <a:lnTo>
                    <a:pt x="82" y="52"/>
                  </a:lnTo>
                  <a:lnTo>
                    <a:pt x="82" y="53"/>
                  </a:lnTo>
                  <a:lnTo>
                    <a:pt x="83" y="53"/>
                  </a:lnTo>
                  <a:lnTo>
                    <a:pt x="85" y="54"/>
                  </a:lnTo>
                  <a:lnTo>
                    <a:pt x="86" y="54"/>
                  </a:lnTo>
                  <a:lnTo>
                    <a:pt x="87" y="54"/>
                  </a:lnTo>
                  <a:lnTo>
                    <a:pt x="88" y="54"/>
                  </a:lnTo>
                  <a:lnTo>
                    <a:pt x="89" y="54"/>
                  </a:lnTo>
                  <a:lnTo>
                    <a:pt x="91" y="53"/>
                  </a:lnTo>
                  <a:lnTo>
                    <a:pt x="91" y="52"/>
                  </a:lnTo>
                  <a:lnTo>
                    <a:pt x="92" y="52"/>
                  </a:lnTo>
                  <a:lnTo>
                    <a:pt x="93" y="52"/>
                  </a:lnTo>
                  <a:lnTo>
                    <a:pt x="94" y="51"/>
                  </a:lnTo>
                  <a:lnTo>
                    <a:pt x="96" y="50"/>
                  </a:lnTo>
                  <a:lnTo>
                    <a:pt x="97" y="50"/>
                  </a:lnTo>
                  <a:lnTo>
                    <a:pt x="98" y="51"/>
                  </a:lnTo>
                  <a:lnTo>
                    <a:pt x="97" y="52"/>
                  </a:lnTo>
                  <a:lnTo>
                    <a:pt x="97" y="51"/>
                  </a:lnTo>
                  <a:lnTo>
                    <a:pt x="96" y="51"/>
                  </a:lnTo>
                  <a:lnTo>
                    <a:pt x="94" y="52"/>
                  </a:lnTo>
                  <a:lnTo>
                    <a:pt x="94" y="53"/>
                  </a:lnTo>
                  <a:lnTo>
                    <a:pt x="94" y="54"/>
                  </a:lnTo>
                  <a:lnTo>
                    <a:pt x="93" y="54"/>
                  </a:lnTo>
                  <a:lnTo>
                    <a:pt x="93" y="53"/>
                  </a:lnTo>
                  <a:lnTo>
                    <a:pt x="92" y="53"/>
                  </a:lnTo>
                  <a:lnTo>
                    <a:pt x="92" y="54"/>
                  </a:lnTo>
                  <a:lnTo>
                    <a:pt x="92" y="56"/>
                  </a:lnTo>
                  <a:lnTo>
                    <a:pt x="91" y="56"/>
                  </a:lnTo>
                  <a:lnTo>
                    <a:pt x="91" y="57"/>
                  </a:lnTo>
                  <a:lnTo>
                    <a:pt x="89" y="57"/>
                  </a:lnTo>
                  <a:lnTo>
                    <a:pt x="89" y="56"/>
                  </a:lnTo>
                  <a:lnTo>
                    <a:pt x="88" y="56"/>
                  </a:lnTo>
                  <a:lnTo>
                    <a:pt x="88" y="57"/>
                  </a:lnTo>
                  <a:lnTo>
                    <a:pt x="87" y="57"/>
                  </a:lnTo>
                  <a:lnTo>
                    <a:pt x="87" y="56"/>
                  </a:lnTo>
                  <a:lnTo>
                    <a:pt x="86" y="56"/>
                  </a:lnTo>
                  <a:lnTo>
                    <a:pt x="85" y="56"/>
                  </a:lnTo>
                  <a:lnTo>
                    <a:pt x="83" y="56"/>
                  </a:lnTo>
                  <a:lnTo>
                    <a:pt x="83" y="54"/>
                  </a:lnTo>
                  <a:lnTo>
                    <a:pt x="82" y="54"/>
                  </a:lnTo>
                  <a:lnTo>
                    <a:pt x="81" y="54"/>
                  </a:lnTo>
                  <a:lnTo>
                    <a:pt x="80" y="53"/>
                  </a:lnTo>
                  <a:lnTo>
                    <a:pt x="80" y="52"/>
                  </a:lnTo>
                  <a:lnTo>
                    <a:pt x="79" y="51"/>
                  </a:lnTo>
                  <a:lnTo>
                    <a:pt x="77" y="51"/>
                  </a:lnTo>
                  <a:lnTo>
                    <a:pt x="77" y="50"/>
                  </a:lnTo>
                  <a:lnTo>
                    <a:pt x="76" y="50"/>
                  </a:lnTo>
                  <a:lnTo>
                    <a:pt x="75" y="50"/>
                  </a:lnTo>
                  <a:lnTo>
                    <a:pt x="75" y="51"/>
                  </a:lnTo>
                  <a:lnTo>
                    <a:pt x="76" y="51"/>
                  </a:lnTo>
                  <a:lnTo>
                    <a:pt x="76" y="53"/>
                  </a:lnTo>
                  <a:lnTo>
                    <a:pt x="75" y="53"/>
                  </a:lnTo>
                  <a:lnTo>
                    <a:pt x="74" y="52"/>
                  </a:lnTo>
                  <a:lnTo>
                    <a:pt x="73" y="52"/>
                  </a:lnTo>
                  <a:lnTo>
                    <a:pt x="71" y="52"/>
                  </a:lnTo>
                  <a:lnTo>
                    <a:pt x="70" y="52"/>
                  </a:lnTo>
                  <a:lnTo>
                    <a:pt x="70" y="51"/>
                  </a:lnTo>
                  <a:lnTo>
                    <a:pt x="69" y="51"/>
                  </a:lnTo>
                  <a:lnTo>
                    <a:pt x="68" y="51"/>
                  </a:lnTo>
                  <a:lnTo>
                    <a:pt x="67" y="50"/>
                  </a:lnTo>
                  <a:lnTo>
                    <a:pt x="67" y="48"/>
                  </a:lnTo>
                  <a:lnTo>
                    <a:pt x="65" y="48"/>
                  </a:lnTo>
                  <a:lnTo>
                    <a:pt x="64" y="48"/>
                  </a:lnTo>
                  <a:lnTo>
                    <a:pt x="64" y="50"/>
                  </a:lnTo>
                  <a:lnTo>
                    <a:pt x="65" y="51"/>
                  </a:lnTo>
                  <a:lnTo>
                    <a:pt x="64" y="52"/>
                  </a:lnTo>
                  <a:lnTo>
                    <a:pt x="63" y="52"/>
                  </a:lnTo>
                  <a:lnTo>
                    <a:pt x="63" y="51"/>
                  </a:lnTo>
                  <a:lnTo>
                    <a:pt x="63" y="50"/>
                  </a:lnTo>
                  <a:lnTo>
                    <a:pt x="62" y="50"/>
                  </a:lnTo>
                  <a:lnTo>
                    <a:pt x="61" y="51"/>
                  </a:lnTo>
                  <a:lnTo>
                    <a:pt x="59" y="51"/>
                  </a:lnTo>
                  <a:lnTo>
                    <a:pt x="61" y="52"/>
                  </a:lnTo>
                  <a:lnTo>
                    <a:pt x="62" y="53"/>
                  </a:lnTo>
                  <a:lnTo>
                    <a:pt x="62" y="54"/>
                  </a:lnTo>
                  <a:lnTo>
                    <a:pt x="63" y="54"/>
                  </a:lnTo>
                  <a:lnTo>
                    <a:pt x="64" y="54"/>
                  </a:lnTo>
                  <a:lnTo>
                    <a:pt x="64" y="56"/>
                  </a:lnTo>
                  <a:lnTo>
                    <a:pt x="63" y="56"/>
                  </a:lnTo>
                  <a:lnTo>
                    <a:pt x="62" y="56"/>
                  </a:lnTo>
                  <a:lnTo>
                    <a:pt x="62" y="57"/>
                  </a:lnTo>
                  <a:lnTo>
                    <a:pt x="63" y="57"/>
                  </a:lnTo>
                  <a:lnTo>
                    <a:pt x="64" y="58"/>
                  </a:lnTo>
                  <a:lnTo>
                    <a:pt x="65" y="58"/>
                  </a:lnTo>
                  <a:lnTo>
                    <a:pt x="67" y="58"/>
                  </a:lnTo>
                  <a:lnTo>
                    <a:pt x="68" y="58"/>
                  </a:lnTo>
                  <a:lnTo>
                    <a:pt x="69" y="58"/>
                  </a:lnTo>
                  <a:lnTo>
                    <a:pt x="69" y="59"/>
                  </a:lnTo>
                  <a:lnTo>
                    <a:pt x="69" y="60"/>
                  </a:lnTo>
                  <a:lnTo>
                    <a:pt x="70" y="60"/>
                  </a:lnTo>
                  <a:lnTo>
                    <a:pt x="71" y="60"/>
                  </a:lnTo>
                  <a:lnTo>
                    <a:pt x="71" y="59"/>
                  </a:lnTo>
                  <a:lnTo>
                    <a:pt x="73" y="60"/>
                  </a:lnTo>
                  <a:lnTo>
                    <a:pt x="74" y="60"/>
                  </a:lnTo>
                  <a:lnTo>
                    <a:pt x="75" y="60"/>
                  </a:lnTo>
                  <a:lnTo>
                    <a:pt x="75" y="59"/>
                  </a:lnTo>
                  <a:lnTo>
                    <a:pt x="76" y="58"/>
                  </a:lnTo>
                  <a:lnTo>
                    <a:pt x="76" y="59"/>
                  </a:lnTo>
                  <a:lnTo>
                    <a:pt x="77" y="59"/>
                  </a:lnTo>
                  <a:lnTo>
                    <a:pt x="79" y="60"/>
                  </a:lnTo>
                  <a:lnTo>
                    <a:pt x="77" y="60"/>
                  </a:lnTo>
                  <a:lnTo>
                    <a:pt x="77" y="62"/>
                  </a:lnTo>
                  <a:lnTo>
                    <a:pt x="79" y="62"/>
                  </a:lnTo>
                  <a:lnTo>
                    <a:pt x="77" y="63"/>
                  </a:lnTo>
                  <a:lnTo>
                    <a:pt x="76" y="63"/>
                  </a:lnTo>
                  <a:lnTo>
                    <a:pt x="75" y="64"/>
                  </a:lnTo>
                  <a:lnTo>
                    <a:pt x="76" y="65"/>
                  </a:lnTo>
                  <a:lnTo>
                    <a:pt x="77" y="65"/>
                  </a:lnTo>
                  <a:lnTo>
                    <a:pt x="77" y="66"/>
                  </a:lnTo>
                  <a:lnTo>
                    <a:pt x="79" y="66"/>
                  </a:lnTo>
                  <a:lnTo>
                    <a:pt x="79" y="68"/>
                  </a:lnTo>
                  <a:lnTo>
                    <a:pt x="77" y="68"/>
                  </a:lnTo>
                  <a:lnTo>
                    <a:pt x="79" y="69"/>
                  </a:lnTo>
                  <a:lnTo>
                    <a:pt x="80" y="69"/>
                  </a:lnTo>
                  <a:lnTo>
                    <a:pt x="81" y="69"/>
                  </a:lnTo>
                  <a:lnTo>
                    <a:pt x="80" y="70"/>
                  </a:lnTo>
                  <a:lnTo>
                    <a:pt x="80" y="71"/>
                  </a:lnTo>
                  <a:lnTo>
                    <a:pt x="79" y="71"/>
                  </a:lnTo>
                  <a:lnTo>
                    <a:pt x="77" y="71"/>
                  </a:lnTo>
                  <a:lnTo>
                    <a:pt x="77" y="73"/>
                  </a:lnTo>
                  <a:lnTo>
                    <a:pt x="79" y="74"/>
                  </a:lnTo>
                  <a:lnTo>
                    <a:pt x="80" y="74"/>
                  </a:lnTo>
                  <a:lnTo>
                    <a:pt x="80" y="75"/>
                  </a:lnTo>
                  <a:lnTo>
                    <a:pt x="81" y="74"/>
                  </a:lnTo>
                  <a:lnTo>
                    <a:pt x="81" y="75"/>
                  </a:lnTo>
                  <a:lnTo>
                    <a:pt x="82" y="76"/>
                  </a:lnTo>
                  <a:lnTo>
                    <a:pt x="83" y="76"/>
                  </a:lnTo>
                  <a:lnTo>
                    <a:pt x="85" y="76"/>
                  </a:lnTo>
                  <a:lnTo>
                    <a:pt x="85" y="75"/>
                  </a:lnTo>
                  <a:lnTo>
                    <a:pt x="86" y="75"/>
                  </a:lnTo>
                  <a:lnTo>
                    <a:pt x="87" y="75"/>
                  </a:lnTo>
                  <a:lnTo>
                    <a:pt x="87" y="74"/>
                  </a:lnTo>
                  <a:lnTo>
                    <a:pt x="88" y="74"/>
                  </a:lnTo>
                  <a:lnTo>
                    <a:pt x="89" y="74"/>
                  </a:lnTo>
                  <a:lnTo>
                    <a:pt x="91" y="74"/>
                  </a:lnTo>
                  <a:lnTo>
                    <a:pt x="92" y="74"/>
                  </a:lnTo>
                  <a:lnTo>
                    <a:pt x="92" y="75"/>
                  </a:lnTo>
                  <a:lnTo>
                    <a:pt x="93" y="75"/>
                  </a:lnTo>
                  <a:lnTo>
                    <a:pt x="94" y="74"/>
                  </a:lnTo>
                  <a:lnTo>
                    <a:pt x="94" y="73"/>
                  </a:lnTo>
                  <a:lnTo>
                    <a:pt x="94" y="74"/>
                  </a:lnTo>
                  <a:lnTo>
                    <a:pt x="96" y="74"/>
                  </a:lnTo>
                  <a:lnTo>
                    <a:pt x="97" y="74"/>
                  </a:lnTo>
                  <a:lnTo>
                    <a:pt x="97" y="73"/>
                  </a:lnTo>
                  <a:lnTo>
                    <a:pt x="98" y="71"/>
                  </a:lnTo>
                  <a:lnTo>
                    <a:pt x="99" y="70"/>
                  </a:lnTo>
                  <a:lnTo>
                    <a:pt x="100" y="71"/>
                  </a:lnTo>
                  <a:lnTo>
                    <a:pt x="102" y="71"/>
                  </a:lnTo>
                  <a:lnTo>
                    <a:pt x="103" y="71"/>
                  </a:lnTo>
                  <a:lnTo>
                    <a:pt x="104" y="71"/>
                  </a:lnTo>
                  <a:lnTo>
                    <a:pt x="105" y="71"/>
                  </a:lnTo>
                  <a:lnTo>
                    <a:pt x="105" y="73"/>
                  </a:lnTo>
                  <a:lnTo>
                    <a:pt x="104" y="73"/>
                  </a:lnTo>
                  <a:lnTo>
                    <a:pt x="103" y="73"/>
                  </a:lnTo>
                  <a:lnTo>
                    <a:pt x="103" y="74"/>
                  </a:lnTo>
                  <a:lnTo>
                    <a:pt x="103" y="75"/>
                  </a:lnTo>
                  <a:lnTo>
                    <a:pt x="102" y="75"/>
                  </a:lnTo>
                  <a:lnTo>
                    <a:pt x="100" y="75"/>
                  </a:lnTo>
                  <a:lnTo>
                    <a:pt x="99" y="76"/>
                  </a:lnTo>
                  <a:lnTo>
                    <a:pt x="98" y="76"/>
                  </a:lnTo>
                  <a:lnTo>
                    <a:pt x="98" y="77"/>
                  </a:lnTo>
                  <a:lnTo>
                    <a:pt x="98" y="79"/>
                  </a:lnTo>
                  <a:lnTo>
                    <a:pt x="99" y="79"/>
                  </a:lnTo>
                  <a:lnTo>
                    <a:pt x="100" y="79"/>
                  </a:lnTo>
                  <a:lnTo>
                    <a:pt x="100" y="77"/>
                  </a:lnTo>
                  <a:lnTo>
                    <a:pt x="102" y="77"/>
                  </a:lnTo>
                  <a:lnTo>
                    <a:pt x="102" y="76"/>
                  </a:lnTo>
                  <a:lnTo>
                    <a:pt x="103" y="76"/>
                  </a:lnTo>
                  <a:lnTo>
                    <a:pt x="104" y="76"/>
                  </a:lnTo>
                  <a:lnTo>
                    <a:pt x="104" y="75"/>
                  </a:lnTo>
                  <a:lnTo>
                    <a:pt x="105" y="75"/>
                  </a:lnTo>
                  <a:lnTo>
                    <a:pt x="106" y="74"/>
                  </a:lnTo>
                  <a:lnTo>
                    <a:pt x="106" y="75"/>
                  </a:lnTo>
                  <a:lnTo>
                    <a:pt x="105" y="75"/>
                  </a:lnTo>
                  <a:lnTo>
                    <a:pt x="104" y="76"/>
                  </a:lnTo>
                  <a:lnTo>
                    <a:pt x="105" y="76"/>
                  </a:lnTo>
                  <a:lnTo>
                    <a:pt x="106" y="76"/>
                  </a:lnTo>
                  <a:lnTo>
                    <a:pt x="106" y="75"/>
                  </a:lnTo>
                  <a:lnTo>
                    <a:pt x="108" y="75"/>
                  </a:lnTo>
                  <a:lnTo>
                    <a:pt x="108" y="74"/>
                  </a:lnTo>
                  <a:lnTo>
                    <a:pt x="109" y="75"/>
                  </a:lnTo>
                  <a:lnTo>
                    <a:pt x="108" y="76"/>
                  </a:lnTo>
                  <a:lnTo>
                    <a:pt x="106" y="76"/>
                  </a:lnTo>
                  <a:lnTo>
                    <a:pt x="106" y="77"/>
                  </a:lnTo>
                  <a:lnTo>
                    <a:pt x="108" y="77"/>
                  </a:lnTo>
                  <a:lnTo>
                    <a:pt x="106" y="79"/>
                  </a:lnTo>
                  <a:lnTo>
                    <a:pt x="105" y="79"/>
                  </a:lnTo>
                  <a:lnTo>
                    <a:pt x="104" y="80"/>
                  </a:lnTo>
                  <a:lnTo>
                    <a:pt x="104" y="79"/>
                  </a:lnTo>
                  <a:lnTo>
                    <a:pt x="103" y="79"/>
                  </a:lnTo>
                  <a:lnTo>
                    <a:pt x="103" y="80"/>
                  </a:lnTo>
                  <a:lnTo>
                    <a:pt x="104" y="81"/>
                  </a:lnTo>
                  <a:lnTo>
                    <a:pt x="103" y="81"/>
                  </a:lnTo>
                  <a:lnTo>
                    <a:pt x="103" y="82"/>
                  </a:lnTo>
                  <a:lnTo>
                    <a:pt x="102" y="83"/>
                  </a:lnTo>
                  <a:lnTo>
                    <a:pt x="102" y="85"/>
                  </a:lnTo>
                  <a:lnTo>
                    <a:pt x="103" y="85"/>
                  </a:lnTo>
                  <a:lnTo>
                    <a:pt x="104" y="85"/>
                  </a:lnTo>
                  <a:lnTo>
                    <a:pt x="105" y="85"/>
                  </a:lnTo>
                  <a:lnTo>
                    <a:pt x="106" y="85"/>
                  </a:lnTo>
                  <a:lnTo>
                    <a:pt x="108" y="83"/>
                  </a:lnTo>
                  <a:lnTo>
                    <a:pt x="109" y="83"/>
                  </a:lnTo>
                  <a:lnTo>
                    <a:pt x="109" y="82"/>
                  </a:lnTo>
                  <a:lnTo>
                    <a:pt x="108" y="81"/>
                  </a:lnTo>
                  <a:lnTo>
                    <a:pt x="108" y="80"/>
                  </a:lnTo>
                  <a:lnTo>
                    <a:pt x="109" y="80"/>
                  </a:lnTo>
                  <a:lnTo>
                    <a:pt x="109" y="79"/>
                  </a:lnTo>
                  <a:lnTo>
                    <a:pt x="109" y="77"/>
                  </a:lnTo>
                  <a:lnTo>
                    <a:pt x="110" y="77"/>
                  </a:lnTo>
                  <a:lnTo>
                    <a:pt x="110" y="76"/>
                  </a:lnTo>
                  <a:lnTo>
                    <a:pt x="110" y="75"/>
                  </a:lnTo>
                  <a:lnTo>
                    <a:pt x="110" y="74"/>
                  </a:lnTo>
                  <a:lnTo>
                    <a:pt x="111" y="74"/>
                  </a:lnTo>
                  <a:lnTo>
                    <a:pt x="111" y="73"/>
                  </a:lnTo>
                  <a:lnTo>
                    <a:pt x="110" y="71"/>
                  </a:lnTo>
                  <a:lnTo>
                    <a:pt x="111" y="70"/>
                  </a:lnTo>
                  <a:lnTo>
                    <a:pt x="112" y="70"/>
                  </a:lnTo>
                  <a:lnTo>
                    <a:pt x="114" y="70"/>
                  </a:lnTo>
                  <a:lnTo>
                    <a:pt x="115" y="69"/>
                  </a:lnTo>
                  <a:lnTo>
                    <a:pt x="116" y="69"/>
                  </a:lnTo>
                  <a:lnTo>
                    <a:pt x="118" y="69"/>
                  </a:lnTo>
                  <a:lnTo>
                    <a:pt x="120" y="69"/>
                  </a:lnTo>
                  <a:lnTo>
                    <a:pt x="120" y="70"/>
                  </a:lnTo>
                  <a:lnTo>
                    <a:pt x="121" y="70"/>
                  </a:lnTo>
                  <a:lnTo>
                    <a:pt x="122" y="70"/>
                  </a:lnTo>
                  <a:lnTo>
                    <a:pt x="123" y="70"/>
                  </a:lnTo>
                  <a:lnTo>
                    <a:pt x="122" y="71"/>
                  </a:lnTo>
                  <a:lnTo>
                    <a:pt x="121" y="71"/>
                  </a:lnTo>
                  <a:lnTo>
                    <a:pt x="121" y="73"/>
                  </a:lnTo>
                  <a:lnTo>
                    <a:pt x="122" y="73"/>
                  </a:lnTo>
                  <a:lnTo>
                    <a:pt x="123" y="73"/>
                  </a:lnTo>
                  <a:lnTo>
                    <a:pt x="124" y="73"/>
                  </a:lnTo>
                  <a:lnTo>
                    <a:pt x="123" y="74"/>
                  </a:lnTo>
                  <a:lnTo>
                    <a:pt x="122" y="75"/>
                  </a:lnTo>
                  <a:lnTo>
                    <a:pt x="121" y="75"/>
                  </a:lnTo>
                  <a:lnTo>
                    <a:pt x="120" y="75"/>
                  </a:lnTo>
                  <a:lnTo>
                    <a:pt x="120" y="76"/>
                  </a:lnTo>
                  <a:lnTo>
                    <a:pt x="120" y="77"/>
                  </a:lnTo>
                  <a:lnTo>
                    <a:pt x="118" y="76"/>
                  </a:lnTo>
                  <a:lnTo>
                    <a:pt x="117" y="77"/>
                  </a:lnTo>
                  <a:lnTo>
                    <a:pt x="117" y="76"/>
                  </a:lnTo>
                  <a:lnTo>
                    <a:pt x="116" y="75"/>
                  </a:lnTo>
                  <a:lnTo>
                    <a:pt x="115" y="76"/>
                  </a:lnTo>
                  <a:lnTo>
                    <a:pt x="114" y="75"/>
                  </a:lnTo>
                  <a:lnTo>
                    <a:pt x="112" y="75"/>
                  </a:lnTo>
                  <a:lnTo>
                    <a:pt x="112" y="76"/>
                  </a:lnTo>
                  <a:lnTo>
                    <a:pt x="114" y="76"/>
                  </a:lnTo>
                  <a:lnTo>
                    <a:pt x="114" y="77"/>
                  </a:lnTo>
                  <a:lnTo>
                    <a:pt x="115" y="77"/>
                  </a:lnTo>
                  <a:lnTo>
                    <a:pt x="116" y="77"/>
                  </a:lnTo>
                  <a:lnTo>
                    <a:pt x="115" y="79"/>
                  </a:lnTo>
                  <a:lnTo>
                    <a:pt x="114" y="79"/>
                  </a:lnTo>
                  <a:lnTo>
                    <a:pt x="112" y="79"/>
                  </a:lnTo>
                  <a:lnTo>
                    <a:pt x="112" y="80"/>
                  </a:lnTo>
                  <a:lnTo>
                    <a:pt x="114" y="80"/>
                  </a:lnTo>
                  <a:lnTo>
                    <a:pt x="115" y="80"/>
                  </a:lnTo>
                  <a:lnTo>
                    <a:pt x="116" y="80"/>
                  </a:lnTo>
                  <a:lnTo>
                    <a:pt x="117" y="79"/>
                  </a:lnTo>
                  <a:lnTo>
                    <a:pt x="118" y="79"/>
                  </a:lnTo>
                  <a:lnTo>
                    <a:pt x="118" y="80"/>
                  </a:lnTo>
                  <a:lnTo>
                    <a:pt x="120" y="80"/>
                  </a:lnTo>
                  <a:lnTo>
                    <a:pt x="120" y="79"/>
                  </a:lnTo>
                  <a:lnTo>
                    <a:pt x="121" y="79"/>
                  </a:lnTo>
                  <a:lnTo>
                    <a:pt x="122" y="79"/>
                  </a:lnTo>
                  <a:lnTo>
                    <a:pt x="122" y="77"/>
                  </a:lnTo>
                  <a:lnTo>
                    <a:pt x="122" y="76"/>
                  </a:lnTo>
                  <a:lnTo>
                    <a:pt x="123" y="75"/>
                  </a:lnTo>
                  <a:lnTo>
                    <a:pt x="124" y="74"/>
                  </a:lnTo>
                  <a:lnTo>
                    <a:pt x="126" y="73"/>
                  </a:lnTo>
                  <a:lnTo>
                    <a:pt x="127" y="73"/>
                  </a:lnTo>
                  <a:lnTo>
                    <a:pt x="126" y="74"/>
                  </a:lnTo>
                  <a:lnTo>
                    <a:pt x="126" y="75"/>
                  </a:lnTo>
                  <a:lnTo>
                    <a:pt x="126" y="76"/>
                  </a:lnTo>
                  <a:lnTo>
                    <a:pt x="126" y="77"/>
                  </a:lnTo>
                  <a:lnTo>
                    <a:pt x="127" y="77"/>
                  </a:lnTo>
                  <a:lnTo>
                    <a:pt x="128" y="79"/>
                  </a:lnTo>
                  <a:lnTo>
                    <a:pt x="130" y="79"/>
                  </a:lnTo>
                  <a:lnTo>
                    <a:pt x="130" y="80"/>
                  </a:lnTo>
                  <a:lnTo>
                    <a:pt x="129" y="80"/>
                  </a:lnTo>
                  <a:lnTo>
                    <a:pt x="128" y="80"/>
                  </a:lnTo>
                  <a:lnTo>
                    <a:pt x="127" y="80"/>
                  </a:lnTo>
                  <a:lnTo>
                    <a:pt x="126" y="81"/>
                  </a:lnTo>
                  <a:lnTo>
                    <a:pt x="124" y="81"/>
                  </a:lnTo>
                  <a:lnTo>
                    <a:pt x="126" y="82"/>
                  </a:lnTo>
                  <a:lnTo>
                    <a:pt x="127" y="81"/>
                  </a:lnTo>
                  <a:lnTo>
                    <a:pt x="128" y="81"/>
                  </a:lnTo>
                  <a:lnTo>
                    <a:pt x="127" y="82"/>
                  </a:lnTo>
                  <a:lnTo>
                    <a:pt x="126" y="82"/>
                  </a:lnTo>
                  <a:lnTo>
                    <a:pt x="124" y="83"/>
                  </a:lnTo>
                  <a:lnTo>
                    <a:pt x="123" y="83"/>
                  </a:lnTo>
                  <a:lnTo>
                    <a:pt x="122" y="85"/>
                  </a:lnTo>
                  <a:lnTo>
                    <a:pt x="121" y="86"/>
                  </a:lnTo>
                  <a:lnTo>
                    <a:pt x="120" y="87"/>
                  </a:lnTo>
                  <a:lnTo>
                    <a:pt x="120" y="88"/>
                  </a:lnTo>
                  <a:lnTo>
                    <a:pt x="118" y="88"/>
                  </a:lnTo>
                  <a:lnTo>
                    <a:pt x="118" y="87"/>
                  </a:lnTo>
                  <a:lnTo>
                    <a:pt x="117" y="87"/>
                  </a:lnTo>
                  <a:lnTo>
                    <a:pt x="116" y="87"/>
                  </a:lnTo>
                  <a:lnTo>
                    <a:pt x="116" y="88"/>
                  </a:lnTo>
                  <a:lnTo>
                    <a:pt x="116" y="89"/>
                  </a:lnTo>
                  <a:lnTo>
                    <a:pt x="117" y="89"/>
                  </a:lnTo>
                  <a:lnTo>
                    <a:pt x="116" y="91"/>
                  </a:lnTo>
                  <a:lnTo>
                    <a:pt x="115" y="91"/>
                  </a:lnTo>
                  <a:lnTo>
                    <a:pt x="114" y="91"/>
                  </a:lnTo>
                  <a:lnTo>
                    <a:pt x="112" y="89"/>
                  </a:lnTo>
                  <a:lnTo>
                    <a:pt x="112" y="88"/>
                  </a:lnTo>
                  <a:lnTo>
                    <a:pt x="111" y="88"/>
                  </a:lnTo>
                  <a:lnTo>
                    <a:pt x="111" y="89"/>
                  </a:lnTo>
                  <a:lnTo>
                    <a:pt x="110" y="89"/>
                  </a:lnTo>
                  <a:lnTo>
                    <a:pt x="109" y="89"/>
                  </a:lnTo>
                  <a:lnTo>
                    <a:pt x="109" y="91"/>
                  </a:lnTo>
                  <a:lnTo>
                    <a:pt x="110" y="92"/>
                  </a:lnTo>
                  <a:lnTo>
                    <a:pt x="111" y="92"/>
                  </a:lnTo>
                  <a:lnTo>
                    <a:pt x="114" y="92"/>
                  </a:lnTo>
                  <a:lnTo>
                    <a:pt x="115" y="92"/>
                  </a:lnTo>
                  <a:lnTo>
                    <a:pt x="112" y="92"/>
                  </a:lnTo>
                  <a:lnTo>
                    <a:pt x="111" y="92"/>
                  </a:lnTo>
                  <a:lnTo>
                    <a:pt x="110" y="93"/>
                  </a:lnTo>
                  <a:lnTo>
                    <a:pt x="110" y="94"/>
                  </a:lnTo>
                  <a:lnTo>
                    <a:pt x="109" y="94"/>
                  </a:lnTo>
                  <a:lnTo>
                    <a:pt x="110" y="94"/>
                  </a:lnTo>
                  <a:lnTo>
                    <a:pt x="111" y="94"/>
                  </a:lnTo>
                  <a:lnTo>
                    <a:pt x="112" y="94"/>
                  </a:lnTo>
                  <a:lnTo>
                    <a:pt x="114" y="94"/>
                  </a:lnTo>
                  <a:lnTo>
                    <a:pt x="114" y="95"/>
                  </a:lnTo>
                  <a:lnTo>
                    <a:pt x="112" y="95"/>
                  </a:lnTo>
                  <a:lnTo>
                    <a:pt x="111" y="95"/>
                  </a:lnTo>
                  <a:lnTo>
                    <a:pt x="110" y="95"/>
                  </a:lnTo>
                  <a:lnTo>
                    <a:pt x="109" y="95"/>
                  </a:lnTo>
                  <a:lnTo>
                    <a:pt x="109" y="97"/>
                  </a:lnTo>
                  <a:lnTo>
                    <a:pt x="110" y="97"/>
                  </a:lnTo>
                  <a:lnTo>
                    <a:pt x="110" y="98"/>
                  </a:lnTo>
                  <a:lnTo>
                    <a:pt x="111" y="98"/>
                  </a:lnTo>
                  <a:lnTo>
                    <a:pt x="110" y="99"/>
                  </a:lnTo>
                  <a:lnTo>
                    <a:pt x="110" y="100"/>
                  </a:lnTo>
                  <a:lnTo>
                    <a:pt x="109" y="100"/>
                  </a:lnTo>
                  <a:lnTo>
                    <a:pt x="109" y="101"/>
                  </a:lnTo>
                  <a:lnTo>
                    <a:pt x="108" y="101"/>
                  </a:lnTo>
                  <a:lnTo>
                    <a:pt x="108" y="103"/>
                  </a:lnTo>
                  <a:lnTo>
                    <a:pt x="106" y="103"/>
                  </a:lnTo>
                  <a:lnTo>
                    <a:pt x="106" y="101"/>
                  </a:lnTo>
                  <a:lnTo>
                    <a:pt x="105" y="101"/>
                  </a:lnTo>
                  <a:lnTo>
                    <a:pt x="104" y="101"/>
                  </a:lnTo>
                  <a:lnTo>
                    <a:pt x="104" y="103"/>
                  </a:lnTo>
                  <a:lnTo>
                    <a:pt x="103" y="103"/>
                  </a:lnTo>
                  <a:lnTo>
                    <a:pt x="103" y="101"/>
                  </a:lnTo>
                  <a:lnTo>
                    <a:pt x="103" y="103"/>
                  </a:lnTo>
                  <a:lnTo>
                    <a:pt x="102" y="103"/>
                  </a:lnTo>
                  <a:lnTo>
                    <a:pt x="102" y="104"/>
                  </a:lnTo>
                  <a:lnTo>
                    <a:pt x="102" y="103"/>
                  </a:lnTo>
                  <a:lnTo>
                    <a:pt x="100" y="103"/>
                  </a:lnTo>
                  <a:lnTo>
                    <a:pt x="99" y="103"/>
                  </a:lnTo>
                  <a:lnTo>
                    <a:pt x="99" y="104"/>
                  </a:lnTo>
                  <a:lnTo>
                    <a:pt x="98" y="104"/>
                  </a:lnTo>
                  <a:lnTo>
                    <a:pt x="97" y="104"/>
                  </a:lnTo>
                  <a:lnTo>
                    <a:pt x="97" y="105"/>
                  </a:lnTo>
                  <a:lnTo>
                    <a:pt x="96" y="104"/>
                  </a:lnTo>
                  <a:lnTo>
                    <a:pt x="94" y="104"/>
                  </a:lnTo>
                  <a:lnTo>
                    <a:pt x="93" y="104"/>
                  </a:lnTo>
                  <a:lnTo>
                    <a:pt x="92" y="104"/>
                  </a:lnTo>
                  <a:lnTo>
                    <a:pt x="91" y="104"/>
                  </a:lnTo>
                  <a:lnTo>
                    <a:pt x="91" y="105"/>
                  </a:lnTo>
                  <a:lnTo>
                    <a:pt x="91" y="106"/>
                  </a:lnTo>
                  <a:lnTo>
                    <a:pt x="92" y="106"/>
                  </a:lnTo>
                  <a:lnTo>
                    <a:pt x="92" y="107"/>
                  </a:lnTo>
                  <a:lnTo>
                    <a:pt x="92" y="109"/>
                  </a:lnTo>
                  <a:lnTo>
                    <a:pt x="93" y="110"/>
                  </a:lnTo>
                  <a:lnTo>
                    <a:pt x="94" y="110"/>
                  </a:lnTo>
                  <a:lnTo>
                    <a:pt x="94" y="111"/>
                  </a:lnTo>
                  <a:lnTo>
                    <a:pt x="93" y="111"/>
                  </a:lnTo>
                  <a:lnTo>
                    <a:pt x="92" y="111"/>
                  </a:lnTo>
                  <a:lnTo>
                    <a:pt x="91" y="111"/>
                  </a:lnTo>
                  <a:lnTo>
                    <a:pt x="91" y="110"/>
                  </a:lnTo>
                  <a:lnTo>
                    <a:pt x="92" y="110"/>
                  </a:lnTo>
                  <a:lnTo>
                    <a:pt x="92" y="109"/>
                  </a:lnTo>
                  <a:lnTo>
                    <a:pt x="91" y="109"/>
                  </a:lnTo>
                  <a:lnTo>
                    <a:pt x="89" y="109"/>
                  </a:lnTo>
                  <a:lnTo>
                    <a:pt x="91" y="107"/>
                  </a:lnTo>
                  <a:lnTo>
                    <a:pt x="91" y="106"/>
                  </a:lnTo>
                  <a:lnTo>
                    <a:pt x="89" y="106"/>
                  </a:lnTo>
                  <a:lnTo>
                    <a:pt x="89" y="107"/>
                  </a:lnTo>
                  <a:lnTo>
                    <a:pt x="88" y="107"/>
                  </a:lnTo>
                  <a:lnTo>
                    <a:pt x="87" y="107"/>
                  </a:lnTo>
                  <a:lnTo>
                    <a:pt x="87" y="109"/>
                  </a:lnTo>
                  <a:lnTo>
                    <a:pt x="86" y="109"/>
                  </a:lnTo>
                  <a:lnTo>
                    <a:pt x="86" y="107"/>
                  </a:lnTo>
                  <a:lnTo>
                    <a:pt x="85" y="107"/>
                  </a:lnTo>
                  <a:lnTo>
                    <a:pt x="83" y="107"/>
                  </a:lnTo>
                  <a:lnTo>
                    <a:pt x="83" y="109"/>
                  </a:lnTo>
                  <a:lnTo>
                    <a:pt x="82" y="110"/>
                  </a:lnTo>
                  <a:lnTo>
                    <a:pt x="83" y="111"/>
                  </a:lnTo>
                  <a:lnTo>
                    <a:pt x="85" y="111"/>
                  </a:lnTo>
                  <a:lnTo>
                    <a:pt x="85" y="112"/>
                  </a:lnTo>
                  <a:lnTo>
                    <a:pt x="86" y="112"/>
                  </a:lnTo>
                  <a:lnTo>
                    <a:pt x="85" y="112"/>
                  </a:lnTo>
                  <a:lnTo>
                    <a:pt x="83" y="111"/>
                  </a:lnTo>
                  <a:lnTo>
                    <a:pt x="82" y="111"/>
                  </a:lnTo>
                  <a:lnTo>
                    <a:pt x="82" y="110"/>
                  </a:lnTo>
                  <a:lnTo>
                    <a:pt x="82" y="109"/>
                  </a:lnTo>
                  <a:lnTo>
                    <a:pt x="83" y="107"/>
                  </a:lnTo>
                  <a:lnTo>
                    <a:pt x="83" y="106"/>
                  </a:lnTo>
                  <a:lnTo>
                    <a:pt x="82" y="105"/>
                  </a:lnTo>
                  <a:lnTo>
                    <a:pt x="82" y="104"/>
                  </a:lnTo>
                  <a:lnTo>
                    <a:pt x="82" y="103"/>
                  </a:lnTo>
                  <a:lnTo>
                    <a:pt x="82" y="101"/>
                  </a:lnTo>
                  <a:lnTo>
                    <a:pt x="80" y="103"/>
                  </a:lnTo>
                  <a:lnTo>
                    <a:pt x="80" y="104"/>
                  </a:lnTo>
                  <a:lnTo>
                    <a:pt x="79" y="104"/>
                  </a:lnTo>
                  <a:lnTo>
                    <a:pt x="79" y="103"/>
                  </a:lnTo>
                  <a:lnTo>
                    <a:pt x="77" y="103"/>
                  </a:lnTo>
                  <a:lnTo>
                    <a:pt x="77" y="101"/>
                  </a:lnTo>
                  <a:lnTo>
                    <a:pt x="76" y="101"/>
                  </a:lnTo>
                  <a:lnTo>
                    <a:pt x="75" y="101"/>
                  </a:lnTo>
                  <a:lnTo>
                    <a:pt x="75" y="100"/>
                  </a:lnTo>
                  <a:lnTo>
                    <a:pt x="76" y="100"/>
                  </a:lnTo>
                  <a:lnTo>
                    <a:pt x="76" y="99"/>
                  </a:lnTo>
                  <a:lnTo>
                    <a:pt x="76" y="98"/>
                  </a:lnTo>
                  <a:lnTo>
                    <a:pt x="75" y="97"/>
                  </a:lnTo>
                  <a:lnTo>
                    <a:pt x="74" y="97"/>
                  </a:lnTo>
                  <a:lnTo>
                    <a:pt x="73" y="97"/>
                  </a:lnTo>
                  <a:lnTo>
                    <a:pt x="73" y="98"/>
                  </a:lnTo>
                  <a:lnTo>
                    <a:pt x="71" y="98"/>
                  </a:lnTo>
                  <a:lnTo>
                    <a:pt x="73" y="99"/>
                  </a:lnTo>
                  <a:lnTo>
                    <a:pt x="71" y="100"/>
                  </a:lnTo>
                  <a:lnTo>
                    <a:pt x="73" y="101"/>
                  </a:lnTo>
                  <a:lnTo>
                    <a:pt x="73" y="103"/>
                  </a:lnTo>
                  <a:lnTo>
                    <a:pt x="73" y="104"/>
                  </a:lnTo>
                  <a:lnTo>
                    <a:pt x="73" y="105"/>
                  </a:lnTo>
                  <a:lnTo>
                    <a:pt x="74" y="105"/>
                  </a:lnTo>
                  <a:lnTo>
                    <a:pt x="74" y="106"/>
                  </a:lnTo>
                  <a:lnTo>
                    <a:pt x="74" y="107"/>
                  </a:lnTo>
                  <a:lnTo>
                    <a:pt x="73" y="107"/>
                  </a:lnTo>
                  <a:lnTo>
                    <a:pt x="73" y="106"/>
                  </a:lnTo>
                  <a:lnTo>
                    <a:pt x="73" y="105"/>
                  </a:lnTo>
                  <a:lnTo>
                    <a:pt x="71" y="105"/>
                  </a:lnTo>
                  <a:lnTo>
                    <a:pt x="71" y="104"/>
                  </a:lnTo>
                  <a:lnTo>
                    <a:pt x="71" y="103"/>
                  </a:lnTo>
                  <a:lnTo>
                    <a:pt x="70" y="103"/>
                  </a:lnTo>
                  <a:lnTo>
                    <a:pt x="70" y="101"/>
                  </a:lnTo>
                  <a:lnTo>
                    <a:pt x="69" y="101"/>
                  </a:lnTo>
                  <a:lnTo>
                    <a:pt x="68" y="103"/>
                  </a:lnTo>
                  <a:lnTo>
                    <a:pt x="68" y="104"/>
                  </a:lnTo>
                  <a:lnTo>
                    <a:pt x="69" y="104"/>
                  </a:lnTo>
                  <a:lnTo>
                    <a:pt x="69" y="105"/>
                  </a:lnTo>
                  <a:lnTo>
                    <a:pt x="70" y="105"/>
                  </a:lnTo>
                  <a:lnTo>
                    <a:pt x="70" y="106"/>
                  </a:lnTo>
                  <a:lnTo>
                    <a:pt x="69" y="106"/>
                  </a:lnTo>
                  <a:lnTo>
                    <a:pt x="69" y="105"/>
                  </a:lnTo>
                  <a:lnTo>
                    <a:pt x="68" y="105"/>
                  </a:lnTo>
                  <a:lnTo>
                    <a:pt x="68" y="104"/>
                  </a:lnTo>
                  <a:lnTo>
                    <a:pt x="67" y="104"/>
                  </a:lnTo>
                  <a:lnTo>
                    <a:pt x="67" y="103"/>
                  </a:lnTo>
                  <a:lnTo>
                    <a:pt x="67" y="101"/>
                  </a:lnTo>
                  <a:lnTo>
                    <a:pt x="65" y="101"/>
                  </a:lnTo>
                  <a:lnTo>
                    <a:pt x="67" y="100"/>
                  </a:lnTo>
                  <a:lnTo>
                    <a:pt x="67" y="99"/>
                  </a:lnTo>
                  <a:lnTo>
                    <a:pt x="65" y="99"/>
                  </a:lnTo>
                  <a:lnTo>
                    <a:pt x="64" y="99"/>
                  </a:lnTo>
                  <a:lnTo>
                    <a:pt x="63" y="99"/>
                  </a:lnTo>
                  <a:lnTo>
                    <a:pt x="63" y="98"/>
                  </a:lnTo>
                  <a:lnTo>
                    <a:pt x="62" y="97"/>
                  </a:lnTo>
                  <a:lnTo>
                    <a:pt x="62" y="95"/>
                  </a:lnTo>
                  <a:lnTo>
                    <a:pt x="61" y="95"/>
                  </a:lnTo>
                  <a:lnTo>
                    <a:pt x="61" y="94"/>
                  </a:lnTo>
                  <a:lnTo>
                    <a:pt x="59" y="94"/>
                  </a:lnTo>
                  <a:lnTo>
                    <a:pt x="58" y="94"/>
                  </a:lnTo>
                  <a:lnTo>
                    <a:pt x="58" y="95"/>
                  </a:lnTo>
                  <a:lnTo>
                    <a:pt x="57" y="97"/>
                  </a:lnTo>
                  <a:lnTo>
                    <a:pt x="58" y="97"/>
                  </a:lnTo>
                  <a:lnTo>
                    <a:pt x="58" y="98"/>
                  </a:lnTo>
                  <a:lnTo>
                    <a:pt x="59" y="99"/>
                  </a:lnTo>
                  <a:lnTo>
                    <a:pt x="61" y="99"/>
                  </a:lnTo>
                  <a:lnTo>
                    <a:pt x="62" y="100"/>
                  </a:lnTo>
                  <a:lnTo>
                    <a:pt x="62" y="101"/>
                  </a:lnTo>
                  <a:lnTo>
                    <a:pt x="61" y="100"/>
                  </a:lnTo>
                  <a:lnTo>
                    <a:pt x="59" y="99"/>
                  </a:lnTo>
                  <a:lnTo>
                    <a:pt x="59" y="100"/>
                  </a:lnTo>
                  <a:lnTo>
                    <a:pt x="58" y="100"/>
                  </a:lnTo>
                  <a:lnTo>
                    <a:pt x="58" y="99"/>
                  </a:lnTo>
                  <a:lnTo>
                    <a:pt x="57" y="98"/>
                  </a:lnTo>
                  <a:lnTo>
                    <a:pt x="57" y="99"/>
                  </a:lnTo>
                  <a:lnTo>
                    <a:pt x="56" y="99"/>
                  </a:lnTo>
                  <a:lnTo>
                    <a:pt x="56" y="98"/>
                  </a:lnTo>
                  <a:lnTo>
                    <a:pt x="55" y="97"/>
                  </a:lnTo>
                  <a:lnTo>
                    <a:pt x="53" y="97"/>
                  </a:lnTo>
                  <a:lnTo>
                    <a:pt x="53" y="98"/>
                  </a:lnTo>
                  <a:lnTo>
                    <a:pt x="52" y="97"/>
                  </a:lnTo>
                  <a:lnTo>
                    <a:pt x="53" y="95"/>
                  </a:lnTo>
                  <a:lnTo>
                    <a:pt x="53" y="94"/>
                  </a:lnTo>
                  <a:lnTo>
                    <a:pt x="52" y="94"/>
                  </a:lnTo>
                  <a:lnTo>
                    <a:pt x="51" y="94"/>
                  </a:lnTo>
                  <a:lnTo>
                    <a:pt x="50" y="94"/>
                  </a:lnTo>
                  <a:lnTo>
                    <a:pt x="49" y="94"/>
                  </a:lnTo>
                  <a:lnTo>
                    <a:pt x="47" y="94"/>
                  </a:lnTo>
                  <a:lnTo>
                    <a:pt x="47" y="93"/>
                  </a:lnTo>
                  <a:lnTo>
                    <a:pt x="46" y="93"/>
                  </a:lnTo>
                  <a:lnTo>
                    <a:pt x="44" y="93"/>
                  </a:lnTo>
                  <a:lnTo>
                    <a:pt x="44" y="94"/>
                  </a:lnTo>
                  <a:lnTo>
                    <a:pt x="43" y="94"/>
                  </a:lnTo>
                  <a:lnTo>
                    <a:pt x="43" y="93"/>
                  </a:lnTo>
                  <a:lnTo>
                    <a:pt x="43" y="92"/>
                  </a:lnTo>
                  <a:lnTo>
                    <a:pt x="43" y="91"/>
                  </a:lnTo>
                  <a:lnTo>
                    <a:pt x="41" y="91"/>
                  </a:lnTo>
                  <a:lnTo>
                    <a:pt x="40" y="91"/>
                  </a:lnTo>
                  <a:lnTo>
                    <a:pt x="40" y="89"/>
                  </a:lnTo>
                  <a:lnTo>
                    <a:pt x="40" y="88"/>
                  </a:lnTo>
                  <a:lnTo>
                    <a:pt x="39" y="88"/>
                  </a:lnTo>
                  <a:lnTo>
                    <a:pt x="38" y="88"/>
                  </a:lnTo>
                  <a:lnTo>
                    <a:pt x="39" y="88"/>
                  </a:lnTo>
                  <a:lnTo>
                    <a:pt x="39" y="89"/>
                  </a:lnTo>
                  <a:lnTo>
                    <a:pt x="38" y="89"/>
                  </a:lnTo>
                  <a:lnTo>
                    <a:pt x="38" y="88"/>
                  </a:lnTo>
                  <a:lnTo>
                    <a:pt x="37" y="88"/>
                  </a:lnTo>
                  <a:lnTo>
                    <a:pt x="35" y="87"/>
                  </a:lnTo>
                  <a:lnTo>
                    <a:pt x="34" y="87"/>
                  </a:lnTo>
                  <a:lnTo>
                    <a:pt x="33" y="87"/>
                  </a:lnTo>
                  <a:lnTo>
                    <a:pt x="33" y="89"/>
                  </a:lnTo>
                  <a:lnTo>
                    <a:pt x="34" y="89"/>
                  </a:lnTo>
                  <a:lnTo>
                    <a:pt x="34" y="91"/>
                  </a:lnTo>
                  <a:lnTo>
                    <a:pt x="35" y="92"/>
                  </a:lnTo>
                  <a:lnTo>
                    <a:pt x="34" y="92"/>
                  </a:lnTo>
                  <a:lnTo>
                    <a:pt x="34" y="93"/>
                  </a:lnTo>
                  <a:lnTo>
                    <a:pt x="34" y="94"/>
                  </a:lnTo>
                  <a:lnTo>
                    <a:pt x="35" y="94"/>
                  </a:lnTo>
                  <a:lnTo>
                    <a:pt x="37" y="95"/>
                  </a:lnTo>
                  <a:lnTo>
                    <a:pt x="38" y="95"/>
                  </a:lnTo>
                  <a:lnTo>
                    <a:pt x="39" y="95"/>
                  </a:lnTo>
                  <a:lnTo>
                    <a:pt x="39" y="97"/>
                  </a:lnTo>
                  <a:lnTo>
                    <a:pt x="38" y="97"/>
                  </a:lnTo>
                  <a:lnTo>
                    <a:pt x="37" y="97"/>
                  </a:lnTo>
                  <a:lnTo>
                    <a:pt x="37" y="98"/>
                  </a:lnTo>
                  <a:lnTo>
                    <a:pt x="38" y="98"/>
                  </a:lnTo>
                  <a:lnTo>
                    <a:pt x="38" y="99"/>
                  </a:lnTo>
                  <a:lnTo>
                    <a:pt x="39" y="100"/>
                  </a:lnTo>
                  <a:lnTo>
                    <a:pt x="40" y="100"/>
                  </a:lnTo>
                  <a:lnTo>
                    <a:pt x="41" y="100"/>
                  </a:lnTo>
                  <a:lnTo>
                    <a:pt x="41" y="101"/>
                  </a:lnTo>
                  <a:lnTo>
                    <a:pt x="40" y="101"/>
                  </a:lnTo>
                  <a:lnTo>
                    <a:pt x="39" y="100"/>
                  </a:lnTo>
                  <a:lnTo>
                    <a:pt x="38" y="100"/>
                  </a:lnTo>
                  <a:lnTo>
                    <a:pt x="38" y="99"/>
                  </a:lnTo>
                  <a:lnTo>
                    <a:pt x="37" y="99"/>
                  </a:lnTo>
                  <a:lnTo>
                    <a:pt x="37" y="100"/>
                  </a:lnTo>
                  <a:lnTo>
                    <a:pt x="35" y="100"/>
                  </a:lnTo>
                  <a:lnTo>
                    <a:pt x="35" y="99"/>
                  </a:lnTo>
                  <a:lnTo>
                    <a:pt x="34" y="100"/>
                  </a:lnTo>
                  <a:lnTo>
                    <a:pt x="33" y="100"/>
                  </a:lnTo>
                  <a:lnTo>
                    <a:pt x="32" y="101"/>
                  </a:lnTo>
                  <a:lnTo>
                    <a:pt x="32" y="103"/>
                  </a:lnTo>
                  <a:lnTo>
                    <a:pt x="33" y="103"/>
                  </a:lnTo>
                  <a:lnTo>
                    <a:pt x="34" y="103"/>
                  </a:lnTo>
                  <a:lnTo>
                    <a:pt x="34" y="104"/>
                  </a:lnTo>
                  <a:lnTo>
                    <a:pt x="35" y="105"/>
                  </a:lnTo>
                  <a:lnTo>
                    <a:pt x="37" y="105"/>
                  </a:lnTo>
                  <a:lnTo>
                    <a:pt x="38" y="105"/>
                  </a:lnTo>
                  <a:lnTo>
                    <a:pt x="39" y="105"/>
                  </a:lnTo>
                  <a:lnTo>
                    <a:pt x="39" y="106"/>
                  </a:lnTo>
                  <a:lnTo>
                    <a:pt x="40" y="107"/>
                  </a:lnTo>
                  <a:lnTo>
                    <a:pt x="41" y="107"/>
                  </a:lnTo>
                  <a:lnTo>
                    <a:pt x="43" y="107"/>
                  </a:lnTo>
                  <a:lnTo>
                    <a:pt x="44" y="107"/>
                  </a:lnTo>
                  <a:lnTo>
                    <a:pt x="45" y="109"/>
                  </a:lnTo>
                  <a:lnTo>
                    <a:pt x="46" y="109"/>
                  </a:lnTo>
                  <a:lnTo>
                    <a:pt x="47" y="109"/>
                  </a:lnTo>
                  <a:lnTo>
                    <a:pt x="49" y="110"/>
                  </a:lnTo>
                  <a:lnTo>
                    <a:pt x="47" y="111"/>
                  </a:lnTo>
                  <a:lnTo>
                    <a:pt x="46" y="111"/>
                  </a:lnTo>
                  <a:lnTo>
                    <a:pt x="45" y="111"/>
                  </a:lnTo>
                  <a:lnTo>
                    <a:pt x="45" y="112"/>
                  </a:lnTo>
                  <a:lnTo>
                    <a:pt x="46" y="113"/>
                  </a:lnTo>
                  <a:lnTo>
                    <a:pt x="47" y="113"/>
                  </a:lnTo>
                  <a:lnTo>
                    <a:pt x="49" y="113"/>
                  </a:lnTo>
                  <a:lnTo>
                    <a:pt x="50" y="112"/>
                  </a:lnTo>
                  <a:lnTo>
                    <a:pt x="51" y="112"/>
                  </a:lnTo>
                  <a:lnTo>
                    <a:pt x="51" y="113"/>
                  </a:lnTo>
                  <a:lnTo>
                    <a:pt x="52" y="113"/>
                  </a:lnTo>
                  <a:lnTo>
                    <a:pt x="53" y="113"/>
                  </a:lnTo>
                  <a:lnTo>
                    <a:pt x="55" y="113"/>
                  </a:lnTo>
                  <a:lnTo>
                    <a:pt x="55" y="115"/>
                  </a:lnTo>
                  <a:lnTo>
                    <a:pt x="53" y="116"/>
                  </a:lnTo>
                  <a:lnTo>
                    <a:pt x="52" y="115"/>
                  </a:lnTo>
                  <a:lnTo>
                    <a:pt x="51" y="115"/>
                  </a:lnTo>
                  <a:lnTo>
                    <a:pt x="51" y="116"/>
                  </a:lnTo>
                  <a:lnTo>
                    <a:pt x="50" y="116"/>
                  </a:lnTo>
                  <a:lnTo>
                    <a:pt x="49" y="116"/>
                  </a:lnTo>
                  <a:lnTo>
                    <a:pt x="47" y="116"/>
                  </a:lnTo>
                  <a:lnTo>
                    <a:pt x="46" y="117"/>
                  </a:lnTo>
                  <a:lnTo>
                    <a:pt x="46" y="118"/>
                  </a:lnTo>
                  <a:lnTo>
                    <a:pt x="46" y="119"/>
                  </a:lnTo>
                  <a:lnTo>
                    <a:pt x="47" y="119"/>
                  </a:lnTo>
                  <a:lnTo>
                    <a:pt x="49" y="119"/>
                  </a:lnTo>
                  <a:lnTo>
                    <a:pt x="50" y="119"/>
                  </a:lnTo>
                  <a:lnTo>
                    <a:pt x="51" y="119"/>
                  </a:lnTo>
                  <a:lnTo>
                    <a:pt x="51" y="118"/>
                  </a:lnTo>
                  <a:lnTo>
                    <a:pt x="52" y="118"/>
                  </a:lnTo>
                  <a:lnTo>
                    <a:pt x="53" y="118"/>
                  </a:lnTo>
                  <a:lnTo>
                    <a:pt x="53" y="119"/>
                  </a:lnTo>
                  <a:lnTo>
                    <a:pt x="52" y="119"/>
                  </a:lnTo>
                  <a:lnTo>
                    <a:pt x="51" y="121"/>
                  </a:lnTo>
                  <a:lnTo>
                    <a:pt x="52" y="121"/>
                  </a:lnTo>
                  <a:lnTo>
                    <a:pt x="52" y="122"/>
                  </a:lnTo>
                  <a:lnTo>
                    <a:pt x="53" y="122"/>
                  </a:lnTo>
                  <a:lnTo>
                    <a:pt x="55" y="123"/>
                  </a:lnTo>
                  <a:lnTo>
                    <a:pt x="56" y="123"/>
                  </a:lnTo>
                  <a:lnTo>
                    <a:pt x="56" y="124"/>
                  </a:lnTo>
                  <a:lnTo>
                    <a:pt x="55" y="124"/>
                  </a:lnTo>
                  <a:lnTo>
                    <a:pt x="53" y="124"/>
                  </a:lnTo>
                  <a:lnTo>
                    <a:pt x="52" y="124"/>
                  </a:lnTo>
                  <a:lnTo>
                    <a:pt x="52" y="125"/>
                  </a:lnTo>
                  <a:lnTo>
                    <a:pt x="52" y="127"/>
                  </a:lnTo>
                  <a:lnTo>
                    <a:pt x="52" y="128"/>
                  </a:lnTo>
                  <a:lnTo>
                    <a:pt x="51" y="129"/>
                  </a:lnTo>
                  <a:lnTo>
                    <a:pt x="52" y="130"/>
                  </a:lnTo>
                  <a:lnTo>
                    <a:pt x="53" y="130"/>
                  </a:lnTo>
                  <a:lnTo>
                    <a:pt x="55" y="131"/>
                  </a:lnTo>
                  <a:lnTo>
                    <a:pt x="55" y="133"/>
                  </a:lnTo>
                  <a:lnTo>
                    <a:pt x="53" y="134"/>
                  </a:lnTo>
                  <a:lnTo>
                    <a:pt x="52" y="134"/>
                  </a:lnTo>
                  <a:lnTo>
                    <a:pt x="53" y="134"/>
                  </a:lnTo>
                  <a:lnTo>
                    <a:pt x="55" y="134"/>
                  </a:lnTo>
                  <a:lnTo>
                    <a:pt x="56" y="135"/>
                  </a:lnTo>
                  <a:lnTo>
                    <a:pt x="58" y="136"/>
                  </a:lnTo>
                  <a:lnTo>
                    <a:pt x="57" y="137"/>
                  </a:lnTo>
                  <a:lnTo>
                    <a:pt x="56" y="137"/>
                  </a:lnTo>
                  <a:lnTo>
                    <a:pt x="56" y="139"/>
                  </a:lnTo>
                  <a:lnTo>
                    <a:pt x="55" y="139"/>
                  </a:lnTo>
                  <a:lnTo>
                    <a:pt x="53" y="140"/>
                  </a:lnTo>
                  <a:lnTo>
                    <a:pt x="52" y="140"/>
                  </a:lnTo>
                  <a:lnTo>
                    <a:pt x="52" y="139"/>
                  </a:lnTo>
                  <a:lnTo>
                    <a:pt x="51" y="140"/>
                  </a:lnTo>
                  <a:lnTo>
                    <a:pt x="51" y="141"/>
                  </a:lnTo>
                  <a:lnTo>
                    <a:pt x="52" y="141"/>
                  </a:lnTo>
                  <a:lnTo>
                    <a:pt x="51" y="142"/>
                  </a:lnTo>
                  <a:lnTo>
                    <a:pt x="51" y="143"/>
                  </a:lnTo>
                  <a:lnTo>
                    <a:pt x="50" y="143"/>
                  </a:lnTo>
                  <a:lnTo>
                    <a:pt x="50" y="142"/>
                  </a:lnTo>
                  <a:lnTo>
                    <a:pt x="49" y="142"/>
                  </a:lnTo>
                  <a:lnTo>
                    <a:pt x="49" y="143"/>
                  </a:lnTo>
                  <a:lnTo>
                    <a:pt x="49" y="145"/>
                  </a:lnTo>
                  <a:lnTo>
                    <a:pt x="47" y="145"/>
                  </a:lnTo>
                  <a:lnTo>
                    <a:pt x="46" y="143"/>
                  </a:lnTo>
                  <a:lnTo>
                    <a:pt x="45" y="143"/>
                  </a:lnTo>
                  <a:lnTo>
                    <a:pt x="45" y="145"/>
                  </a:lnTo>
                  <a:lnTo>
                    <a:pt x="44" y="145"/>
                  </a:lnTo>
                  <a:lnTo>
                    <a:pt x="44" y="146"/>
                  </a:lnTo>
                  <a:lnTo>
                    <a:pt x="41" y="146"/>
                  </a:lnTo>
                  <a:lnTo>
                    <a:pt x="40" y="146"/>
                  </a:lnTo>
                  <a:lnTo>
                    <a:pt x="39" y="146"/>
                  </a:lnTo>
                  <a:lnTo>
                    <a:pt x="39" y="145"/>
                  </a:lnTo>
                  <a:lnTo>
                    <a:pt x="38" y="145"/>
                  </a:lnTo>
                  <a:lnTo>
                    <a:pt x="37" y="145"/>
                  </a:lnTo>
                  <a:lnTo>
                    <a:pt x="37" y="146"/>
                  </a:lnTo>
                  <a:lnTo>
                    <a:pt x="38" y="146"/>
                  </a:lnTo>
                  <a:lnTo>
                    <a:pt x="38" y="147"/>
                  </a:lnTo>
                  <a:lnTo>
                    <a:pt x="38" y="148"/>
                  </a:lnTo>
                  <a:lnTo>
                    <a:pt x="39" y="148"/>
                  </a:lnTo>
                  <a:lnTo>
                    <a:pt x="40" y="149"/>
                  </a:lnTo>
                  <a:lnTo>
                    <a:pt x="39" y="149"/>
                  </a:lnTo>
                  <a:lnTo>
                    <a:pt x="38" y="151"/>
                  </a:lnTo>
                  <a:lnTo>
                    <a:pt x="38" y="152"/>
                  </a:lnTo>
                  <a:lnTo>
                    <a:pt x="39" y="151"/>
                  </a:lnTo>
                  <a:lnTo>
                    <a:pt x="39" y="152"/>
                  </a:lnTo>
                  <a:lnTo>
                    <a:pt x="40" y="152"/>
                  </a:lnTo>
                  <a:lnTo>
                    <a:pt x="41" y="152"/>
                  </a:lnTo>
                  <a:lnTo>
                    <a:pt x="43" y="152"/>
                  </a:lnTo>
                  <a:lnTo>
                    <a:pt x="44" y="151"/>
                  </a:lnTo>
                  <a:lnTo>
                    <a:pt x="43" y="149"/>
                  </a:lnTo>
                  <a:lnTo>
                    <a:pt x="41" y="149"/>
                  </a:lnTo>
                  <a:lnTo>
                    <a:pt x="43" y="148"/>
                  </a:lnTo>
                  <a:lnTo>
                    <a:pt x="43" y="149"/>
                  </a:lnTo>
                  <a:lnTo>
                    <a:pt x="44" y="148"/>
                  </a:lnTo>
                  <a:lnTo>
                    <a:pt x="45" y="147"/>
                  </a:lnTo>
                  <a:lnTo>
                    <a:pt x="46" y="146"/>
                  </a:lnTo>
                  <a:lnTo>
                    <a:pt x="47" y="146"/>
                  </a:lnTo>
                  <a:lnTo>
                    <a:pt x="49" y="146"/>
                  </a:lnTo>
                  <a:lnTo>
                    <a:pt x="50" y="146"/>
                  </a:lnTo>
                  <a:lnTo>
                    <a:pt x="51" y="146"/>
                  </a:lnTo>
                  <a:lnTo>
                    <a:pt x="52" y="146"/>
                  </a:lnTo>
                  <a:lnTo>
                    <a:pt x="52" y="145"/>
                  </a:lnTo>
                  <a:lnTo>
                    <a:pt x="53" y="145"/>
                  </a:lnTo>
                  <a:lnTo>
                    <a:pt x="53" y="146"/>
                  </a:lnTo>
                  <a:lnTo>
                    <a:pt x="55" y="146"/>
                  </a:lnTo>
                  <a:lnTo>
                    <a:pt x="56" y="147"/>
                  </a:lnTo>
                  <a:lnTo>
                    <a:pt x="57" y="147"/>
                  </a:lnTo>
                  <a:lnTo>
                    <a:pt x="57" y="148"/>
                  </a:lnTo>
                  <a:lnTo>
                    <a:pt x="56" y="148"/>
                  </a:lnTo>
                  <a:lnTo>
                    <a:pt x="55" y="148"/>
                  </a:lnTo>
                  <a:lnTo>
                    <a:pt x="53" y="148"/>
                  </a:lnTo>
                  <a:lnTo>
                    <a:pt x="52" y="148"/>
                  </a:lnTo>
                  <a:lnTo>
                    <a:pt x="51" y="149"/>
                  </a:lnTo>
                  <a:lnTo>
                    <a:pt x="51" y="148"/>
                  </a:lnTo>
                  <a:lnTo>
                    <a:pt x="50" y="148"/>
                  </a:lnTo>
                  <a:lnTo>
                    <a:pt x="49" y="147"/>
                  </a:lnTo>
                  <a:lnTo>
                    <a:pt x="49" y="148"/>
                  </a:lnTo>
                  <a:lnTo>
                    <a:pt x="47" y="148"/>
                  </a:lnTo>
                  <a:lnTo>
                    <a:pt x="46" y="148"/>
                  </a:lnTo>
                  <a:lnTo>
                    <a:pt x="45" y="148"/>
                  </a:lnTo>
                  <a:lnTo>
                    <a:pt x="44" y="149"/>
                  </a:lnTo>
                  <a:lnTo>
                    <a:pt x="44" y="151"/>
                  </a:lnTo>
                  <a:lnTo>
                    <a:pt x="45" y="151"/>
                  </a:lnTo>
                  <a:lnTo>
                    <a:pt x="46" y="151"/>
                  </a:lnTo>
                  <a:lnTo>
                    <a:pt x="47" y="151"/>
                  </a:lnTo>
                  <a:lnTo>
                    <a:pt x="47" y="149"/>
                  </a:lnTo>
                  <a:lnTo>
                    <a:pt x="47" y="151"/>
                  </a:lnTo>
                  <a:lnTo>
                    <a:pt x="49" y="151"/>
                  </a:lnTo>
                  <a:lnTo>
                    <a:pt x="47" y="151"/>
                  </a:lnTo>
                  <a:lnTo>
                    <a:pt x="47" y="152"/>
                  </a:lnTo>
                  <a:lnTo>
                    <a:pt x="47" y="153"/>
                  </a:lnTo>
                  <a:lnTo>
                    <a:pt x="46" y="152"/>
                  </a:lnTo>
                  <a:lnTo>
                    <a:pt x="46" y="151"/>
                  </a:lnTo>
                  <a:lnTo>
                    <a:pt x="45" y="151"/>
                  </a:lnTo>
                  <a:lnTo>
                    <a:pt x="45" y="152"/>
                  </a:lnTo>
                  <a:lnTo>
                    <a:pt x="45" y="153"/>
                  </a:lnTo>
                  <a:lnTo>
                    <a:pt x="44" y="153"/>
                  </a:lnTo>
                  <a:lnTo>
                    <a:pt x="45" y="154"/>
                  </a:lnTo>
                  <a:lnTo>
                    <a:pt x="45" y="155"/>
                  </a:lnTo>
                  <a:lnTo>
                    <a:pt x="44" y="155"/>
                  </a:lnTo>
                  <a:lnTo>
                    <a:pt x="43" y="157"/>
                  </a:lnTo>
                  <a:lnTo>
                    <a:pt x="43" y="155"/>
                  </a:lnTo>
                  <a:lnTo>
                    <a:pt x="41" y="154"/>
                  </a:lnTo>
                  <a:lnTo>
                    <a:pt x="40" y="154"/>
                  </a:lnTo>
                  <a:lnTo>
                    <a:pt x="40" y="155"/>
                  </a:lnTo>
                  <a:lnTo>
                    <a:pt x="40" y="157"/>
                  </a:lnTo>
                  <a:lnTo>
                    <a:pt x="39" y="155"/>
                  </a:lnTo>
                  <a:lnTo>
                    <a:pt x="39" y="154"/>
                  </a:lnTo>
                  <a:lnTo>
                    <a:pt x="39" y="153"/>
                  </a:lnTo>
                  <a:lnTo>
                    <a:pt x="38" y="153"/>
                  </a:lnTo>
                  <a:lnTo>
                    <a:pt x="37" y="154"/>
                  </a:lnTo>
                  <a:lnTo>
                    <a:pt x="35" y="154"/>
                  </a:lnTo>
                  <a:lnTo>
                    <a:pt x="35" y="155"/>
                  </a:lnTo>
                  <a:lnTo>
                    <a:pt x="34" y="154"/>
                  </a:lnTo>
                  <a:lnTo>
                    <a:pt x="35" y="153"/>
                  </a:lnTo>
                  <a:lnTo>
                    <a:pt x="37" y="153"/>
                  </a:lnTo>
                  <a:lnTo>
                    <a:pt x="35" y="152"/>
                  </a:lnTo>
                  <a:lnTo>
                    <a:pt x="34" y="152"/>
                  </a:lnTo>
                  <a:lnTo>
                    <a:pt x="34" y="151"/>
                  </a:lnTo>
                  <a:lnTo>
                    <a:pt x="33" y="151"/>
                  </a:lnTo>
                  <a:lnTo>
                    <a:pt x="33" y="149"/>
                  </a:lnTo>
                  <a:lnTo>
                    <a:pt x="32" y="151"/>
                  </a:lnTo>
                  <a:lnTo>
                    <a:pt x="30" y="151"/>
                  </a:lnTo>
                  <a:lnTo>
                    <a:pt x="32" y="152"/>
                  </a:lnTo>
                  <a:lnTo>
                    <a:pt x="32" y="153"/>
                  </a:lnTo>
                  <a:lnTo>
                    <a:pt x="30" y="153"/>
                  </a:lnTo>
                  <a:lnTo>
                    <a:pt x="32" y="153"/>
                  </a:lnTo>
                  <a:lnTo>
                    <a:pt x="30" y="154"/>
                  </a:lnTo>
                  <a:lnTo>
                    <a:pt x="29" y="153"/>
                  </a:lnTo>
                  <a:lnTo>
                    <a:pt x="29" y="152"/>
                  </a:lnTo>
                  <a:lnTo>
                    <a:pt x="28" y="152"/>
                  </a:lnTo>
                  <a:lnTo>
                    <a:pt x="28" y="151"/>
                  </a:lnTo>
                  <a:lnTo>
                    <a:pt x="29" y="151"/>
                  </a:lnTo>
                  <a:lnTo>
                    <a:pt x="29" y="149"/>
                  </a:lnTo>
                  <a:lnTo>
                    <a:pt x="28" y="148"/>
                  </a:lnTo>
                  <a:lnTo>
                    <a:pt x="27" y="149"/>
                  </a:lnTo>
                  <a:lnTo>
                    <a:pt x="27" y="148"/>
                  </a:lnTo>
                  <a:lnTo>
                    <a:pt x="27" y="147"/>
                  </a:lnTo>
                  <a:lnTo>
                    <a:pt x="26" y="146"/>
                  </a:lnTo>
                  <a:lnTo>
                    <a:pt x="24" y="146"/>
                  </a:lnTo>
                  <a:lnTo>
                    <a:pt x="24" y="147"/>
                  </a:lnTo>
                  <a:lnTo>
                    <a:pt x="24" y="148"/>
                  </a:lnTo>
                  <a:lnTo>
                    <a:pt x="24" y="149"/>
                  </a:lnTo>
                  <a:lnTo>
                    <a:pt x="23" y="149"/>
                  </a:lnTo>
                  <a:lnTo>
                    <a:pt x="23" y="151"/>
                  </a:lnTo>
                  <a:lnTo>
                    <a:pt x="24" y="151"/>
                  </a:lnTo>
                  <a:lnTo>
                    <a:pt x="24" y="152"/>
                  </a:lnTo>
                  <a:lnTo>
                    <a:pt x="26" y="152"/>
                  </a:lnTo>
                  <a:lnTo>
                    <a:pt x="27" y="153"/>
                  </a:lnTo>
                  <a:lnTo>
                    <a:pt x="26" y="154"/>
                  </a:lnTo>
                  <a:lnTo>
                    <a:pt x="27" y="154"/>
                  </a:lnTo>
                  <a:lnTo>
                    <a:pt x="27" y="155"/>
                  </a:lnTo>
                  <a:lnTo>
                    <a:pt x="26" y="155"/>
                  </a:lnTo>
                  <a:lnTo>
                    <a:pt x="26" y="154"/>
                  </a:lnTo>
                  <a:lnTo>
                    <a:pt x="24" y="154"/>
                  </a:lnTo>
                  <a:lnTo>
                    <a:pt x="26" y="155"/>
                  </a:lnTo>
                  <a:lnTo>
                    <a:pt x="26" y="157"/>
                  </a:lnTo>
                  <a:lnTo>
                    <a:pt x="27" y="158"/>
                  </a:lnTo>
                  <a:lnTo>
                    <a:pt x="26" y="158"/>
                  </a:lnTo>
                  <a:lnTo>
                    <a:pt x="26" y="157"/>
                  </a:lnTo>
                  <a:lnTo>
                    <a:pt x="24" y="157"/>
                  </a:lnTo>
                  <a:lnTo>
                    <a:pt x="24" y="158"/>
                  </a:lnTo>
                  <a:lnTo>
                    <a:pt x="23" y="158"/>
                  </a:lnTo>
                  <a:lnTo>
                    <a:pt x="23" y="157"/>
                  </a:lnTo>
                  <a:lnTo>
                    <a:pt x="23" y="155"/>
                  </a:lnTo>
                  <a:lnTo>
                    <a:pt x="23" y="154"/>
                  </a:lnTo>
                  <a:lnTo>
                    <a:pt x="22" y="154"/>
                  </a:lnTo>
                  <a:lnTo>
                    <a:pt x="22" y="153"/>
                  </a:lnTo>
                  <a:lnTo>
                    <a:pt x="21" y="153"/>
                  </a:lnTo>
                  <a:lnTo>
                    <a:pt x="21" y="154"/>
                  </a:lnTo>
                  <a:lnTo>
                    <a:pt x="20" y="154"/>
                  </a:lnTo>
                  <a:lnTo>
                    <a:pt x="20" y="155"/>
                  </a:lnTo>
                  <a:lnTo>
                    <a:pt x="18" y="155"/>
                  </a:lnTo>
                  <a:lnTo>
                    <a:pt x="17" y="155"/>
                  </a:lnTo>
                  <a:lnTo>
                    <a:pt x="16" y="155"/>
                  </a:lnTo>
                  <a:lnTo>
                    <a:pt x="16" y="154"/>
                  </a:lnTo>
                  <a:lnTo>
                    <a:pt x="17" y="154"/>
                  </a:lnTo>
                  <a:lnTo>
                    <a:pt x="17" y="153"/>
                  </a:lnTo>
                  <a:lnTo>
                    <a:pt x="16" y="152"/>
                  </a:lnTo>
                  <a:lnTo>
                    <a:pt x="15" y="153"/>
                  </a:lnTo>
                  <a:lnTo>
                    <a:pt x="15" y="154"/>
                  </a:lnTo>
                  <a:lnTo>
                    <a:pt x="15" y="153"/>
                  </a:lnTo>
                  <a:lnTo>
                    <a:pt x="14" y="153"/>
                  </a:lnTo>
                  <a:lnTo>
                    <a:pt x="14" y="152"/>
                  </a:lnTo>
                  <a:lnTo>
                    <a:pt x="12" y="151"/>
                  </a:lnTo>
                  <a:lnTo>
                    <a:pt x="11" y="152"/>
                  </a:lnTo>
                  <a:lnTo>
                    <a:pt x="10" y="152"/>
                  </a:lnTo>
                  <a:lnTo>
                    <a:pt x="10" y="153"/>
                  </a:lnTo>
                  <a:lnTo>
                    <a:pt x="11" y="154"/>
                  </a:lnTo>
                  <a:lnTo>
                    <a:pt x="12" y="154"/>
                  </a:lnTo>
                  <a:lnTo>
                    <a:pt x="12" y="155"/>
                  </a:lnTo>
                  <a:lnTo>
                    <a:pt x="12" y="157"/>
                  </a:lnTo>
                  <a:lnTo>
                    <a:pt x="11" y="157"/>
                  </a:lnTo>
                  <a:lnTo>
                    <a:pt x="11" y="155"/>
                  </a:lnTo>
                  <a:lnTo>
                    <a:pt x="11" y="154"/>
                  </a:lnTo>
                  <a:lnTo>
                    <a:pt x="10" y="153"/>
                  </a:lnTo>
                  <a:lnTo>
                    <a:pt x="9" y="153"/>
                  </a:lnTo>
                  <a:lnTo>
                    <a:pt x="8" y="154"/>
                  </a:lnTo>
                  <a:lnTo>
                    <a:pt x="8" y="153"/>
                  </a:lnTo>
                  <a:lnTo>
                    <a:pt x="9" y="152"/>
                  </a:lnTo>
                  <a:lnTo>
                    <a:pt x="9" y="151"/>
                  </a:lnTo>
                  <a:lnTo>
                    <a:pt x="8" y="151"/>
                  </a:lnTo>
                  <a:lnTo>
                    <a:pt x="6" y="151"/>
                  </a:lnTo>
                  <a:lnTo>
                    <a:pt x="6" y="152"/>
                  </a:lnTo>
                  <a:lnTo>
                    <a:pt x="6" y="153"/>
                  </a:lnTo>
                  <a:lnTo>
                    <a:pt x="5" y="153"/>
                  </a:lnTo>
                  <a:lnTo>
                    <a:pt x="5" y="152"/>
                  </a:lnTo>
                  <a:lnTo>
                    <a:pt x="5" y="151"/>
                  </a:lnTo>
                  <a:lnTo>
                    <a:pt x="4" y="151"/>
                  </a:lnTo>
                  <a:lnTo>
                    <a:pt x="3" y="151"/>
                  </a:lnTo>
                  <a:lnTo>
                    <a:pt x="2" y="151"/>
                  </a:lnTo>
                  <a:lnTo>
                    <a:pt x="0" y="151"/>
                  </a:lnTo>
                  <a:lnTo>
                    <a:pt x="0" y="152"/>
                  </a:lnTo>
                  <a:lnTo>
                    <a:pt x="2" y="153"/>
                  </a:lnTo>
                  <a:lnTo>
                    <a:pt x="2" y="154"/>
                  </a:lnTo>
                  <a:lnTo>
                    <a:pt x="3" y="154"/>
                  </a:lnTo>
                  <a:lnTo>
                    <a:pt x="4" y="154"/>
                  </a:lnTo>
                  <a:lnTo>
                    <a:pt x="4" y="155"/>
                  </a:lnTo>
                  <a:lnTo>
                    <a:pt x="5" y="157"/>
                  </a:lnTo>
                  <a:lnTo>
                    <a:pt x="5" y="158"/>
                  </a:lnTo>
                  <a:lnTo>
                    <a:pt x="4" y="158"/>
                  </a:lnTo>
                  <a:lnTo>
                    <a:pt x="5" y="159"/>
                  </a:lnTo>
                  <a:lnTo>
                    <a:pt x="4" y="159"/>
                  </a:lnTo>
                  <a:lnTo>
                    <a:pt x="4" y="160"/>
                  </a:lnTo>
                  <a:lnTo>
                    <a:pt x="5" y="161"/>
                  </a:lnTo>
                  <a:lnTo>
                    <a:pt x="5" y="163"/>
                  </a:lnTo>
                  <a:lnTo>
                    <a:pt x="6" y="163"/>
                  </a:lnTo>
                  <a:lnTo>
                    <a:pt x="8" y="164"/>
                  </a:lnTo>
                  <a:lnTo>
                    <a:pt x="9" y="164"/>
                  </a:lnTo>
                  <a:lnTo>
                    <a:pt x="10" y="164"/>
                  </a:lnTo>
                  <a:lnTo>
                    <a:pt x="11" y="163"/>
                  </a:lnTo>
                  <a:lnTo>
                    <a:pt x="12" y="163"/>
                  </a:lnTo>
                  <a:lnTo>
                    <a:pt x="12" y="164"/>
                  </a:lnTo>
                  <a:lnTo>
                    <a:pt x="14" y="164"/>
                  </a:lnTo>
                  <a:lnTo>
                    <a:pt x="15" y="164"/>
                  </a:lnTo>
                  <a:lnTo>
                    <a:pt x="15" y="163"/>
                  </a:lnTo>
                  <a:lnTo>
                    <a:pt x="16" y="164"/>
                  </a:lnTo>
                  <a:lnTo>
                    <a:pt x="17" y="164"/>
                  </a:lnTo>
                  <a:lnTo>
                    <a:pt x="16" y="164"/>
                  </a:lnTo>
                  <a:lnTo>
                    <a:pt x="15" y="164"/>
                  </a:lnTo>
                  <a:lnTo>
                    <a:pt x="14" y="165"/>
                  </a:lnTo>
                  <a:lnTo>
                    <a:pt x="14" y="164"/>
                  </a:lnTo>
                  <a:lnTo>
                    <a:pt x="12" y="164"/>
                  </a:lnTo>
                  <a:lnTo>
                    <a:pt x="11" y="164"/>
                  </a:lnTo>
                  <a:lnTo>
                    <a:pt x="10" y="165"/>
                  </a:lnTo>
                  <a:lnTo>
                    <a:pt x="9" y="165"/>
                  </a:lnTo>
                  <a:lnTo>
                    <a:pt x="8" y="165"/>
                  </a:lnTo>
                  <a:lnTo>
                    <a:pt x="8" y="164"/>
                  </a:lnTo>
                  <a:lnTo>
                    <a:pt x="8" y="165"/>
                  </a:lnTo>
                  <a:lnTo>
                    <a:pt x="6" y="166"/>
                  </a:lnTo>
                  <a:lnTo>
                    <a:pt x="8" y="166"/>
                  </a:lnTo>
                  <a:lnTo>
                    <a:pt x="8" y="167"/>
                  </a:lnTo>
                  <a:lnTo>
                    <a:pt x="9" y="167"/>
                  </a:lnTo>
                  <a:lnTo>
                    <a:pt x="10" y="167"/>
                  </a:lnTo>
                  <a:lnTo>
                    <a:pt x="10" y="166"/>
                  </a:lnTo>
                  <a:lnTo>
                    <a:pt x="11" y="167"/>
                  </a:lnTo>
                  <a:lnTo>
                    <a:pt x="12" y="167"/>
                  </a:lnTo>
                  <a:lnTo>
                    <a:pt x="14" y="167"/>
                  </a:lnTo>
                  <a:lnTo>
                    <a:pt x="15" y="167"/>
                  </a:lnTo>
                  <a:lnTo>
                    <a:pt x="16" y="167"/>
                  </a:lnTo>
                  <a:lnTo>
                    <a:pt x="17" y="167"/>
                  </a:lnTo>
                  <a:lnTo>
                    <a:pt x="16" y="169"/>
                  </a:lnTo>
                  <a:lnTo>
                    <a:pt x="16" y="167"/>
                  </a:lnTo>
                  <a:lnTo>
                    <a:pt x="15" y="167"/>
                  </a:lnTo>
                  <a:lnTo>
                    <a:pt x="14" y="167"/>
                  </a:lnTo>
                  <a:lnTo>
                    <a:pt x="14" y="169"/>
                  </a:lnTo>
                  <a:lnTo>
                    <a:pt x="15" y="169"/>
                  </a:lnTo>
                  <a:lnTo>
                    <a:pt x="15" y="170"/>
                  </a:lnTo>
                  <a:lnTo>
                    <a:pt x="15" y="171"/>
                  </a:lnTo>
                  <a:lnTo>
                    <a:pt x="14" y="171"/>
                  </a:lnTo>
                  <a:lnTo>
                    <a:pt x="14" y="170"/>
                  </a:lnTo>
                  <a:lnTo>
                    <a:pt x="12" y="170"/>
                  </a:lnTo>
                  <a:lnTo>
                    <a:pt x="11" y="170"/>
                  </a:lnTo>
                  <a:lnTo>
                    <a:pt x="10" y="170"/>
                  </a:lnTo>
                  <a:lnTo>
                    <a:pt x="10" y="171"/>
                  </a:lnTo>
                  <a:lnTo>
                    <a:pt x="9" y="171"/>
                  </a:lnTo>
                  <a:lnTo>
                    <a:pt x="10" y="172"/>
                  </a:lnTo>
                  <a:lnTo>
                    <a:pt x="11" y="172"/>
                  </a:lnTo>
                  <a:lnTo>
                    <a:pt x="11" y="173"/>
                  </a:lnTo>
                  <a:lnTo>
                    <a:pt x="12" y="173"/>
                  </a:lnTo>
                  <a:lnTo>
                    <a:pt x="11" y="173"/>
                  </a:lnTo>
                  <a:lnTo>
                    <a:pt x="10" y="173"/>
                  </a:lnTo>
                  <a:lnTo>
                    <a:pt x="9" y="173"/>
                  </a:lnTo>
                  <a:lnTo>
                    <a:pt x="9" y="175"/>
                  </a:lnTo>
                  <a:lnTo>
                    <a:pt x="10" y="176"/>
                  </a:lnTo>
                  <a:lnTo>
                    <a:pt x="9" y="176"/>
                  </a:lnTo>
                  <a:lnTo>
                    <a:pt x="8" y="176"/>
                  </a:lnTo>
                  <a:lnTo>
                    <a:pt x="8" y="177"/>
                  </a:lnTo>
                  <a:lnTo>
                    <a:pt x="9" y="178"/>
                  </a:lnTo>
                  <a:lnTo>
                    <a:pt x="8" y="178"/>
                  </a:lnTo>
                  <a:lnTo>
                    <a:pt x="8" y="177"/>
                  </a:lnTo>
                  <a:lnTo>
                    <a:pt x="8" y="176"/>
                  </a:lnTo>
                  <a:lnTo>
                    <a:pt x="6" y="176"/>
                  </a:lnTo>
                  <a:lnTo>
                    <a:pt x="6" y="177"/>
                  </a:lnTo>
                  <a:lnTo>
                    <a:pt x="5" y="177"/>
                  </a:lnTo>
                  <a:lnTo>
                    <a:pt x="5" y="178"/>
                  </a:lnTo>
                  <a:lnTo>
                    <a:pt x="5" y="177"/>
                  </a:lnTo>
                  <a:lnTo>
                    <a:pt x="4" y="177"/>
                  </a:lnTo>
                  <a:lnTo>
                    <a:pt x="3" y="177"/>
                  </a:lnTo>
                  <a:lnTo>
                    <a:pt x="2" y="178"/>
                  </a:lnTo>
                  <a:lnTo>
                    <a:pt x="2" y="180"/>
                  </a:lnTo>
                  <a:lnTo>
                    <a:pt x="2" y="181"/>
                  </a:lnTo>
                  <a:lnTo>
                    <a:pt x="3" y="181"/>
                  </a:lnTo>
                  <a:lnTo>
                    <a:pt x="4" y="183"/>
                  </a:lnTo>
                  <a:lnTo>
                    <a:pt x="5" y="183"/>
                  </a:lnTo>
                  <a:lnTo>
                    <a:pt x="8" y="183"/>
                  </a:lnTo>
                  <a:lnTo>
                    <a:pt x="6" y="184"/>
                  </a:lnTo>
                  <a:lnTo>
                    <a:pt x="5" y="184"/>
                  </a:lnTo>
                  <a:lnTo>
                    <a:pt x="4" y="184"/>
                  </a:lnTo>
                  <a:lnTo>
                    <a:pt x="4" y="186"/>
                  </a:lnTo>
                  <a:lnTo>
                    <a:pt x="3" y="186"/>
                  </a:lnTo>
                  <a:lnTo>
                    <a:pt x="5" y="188"/>
                  </a:lnTo>
                  <a:lnTo>
                    <a:pt x="5" y="187"/>
                  </a:lnTo>
                  <a:lnTo>
                    <a:pt x="6" y="188"/>
                  </a:lnTo>
                  <a:lnTo>
                    <a:pt x="8" y="188"/>
                  </a:lnTo>
                  <a:lnTo>
                    <a:pt x="9" y="188"/>
                  </a:lnTo>
                  <a:lnTo>
                    <a:pt x="10" y="187"/>
                  </a:lnTo>
                  <a:lnTo>
                    <a:pt x="11" y="186"/>
                  </a:lnTo>
                  <a:lnTo>
                    <a:pt x="12" y="186"/>
                  </a:lnTo>
                  <a:lnTo>
                    <a:pt x="14" y="186"/>
                  </a:lnTo>
                  <a:lnTo>
                    <a:pt x="15" y="186"/>
                  </a:lnTo>
                  <a:lnTo>
                    <a:pt x="14" y="187"/>
                  </a:lnTo>
                  <a:lnTo>
                    <a:pt x="12" y="187"/>
                  </a:lnTo>
                  <a:lnTo>
                    <a:pt x="11" y="187"/>
                  </a:lnTo>
                  <a:lnTo>
                    <a:pt x="10" y="188"/>
                  </a:lnTo>
                  <a:lnTo>
                    <a:pt x="11" y="189"/>
                  </a:lnTo>
                  <a:lnTo>
                    <a:pt x="12" y="189"/>
                  </a:lnTo>
                  <a:lnTo>
                    <a:pt x="14" y="189"/>
                  </a:lnTo>
                  <a:lnTo>
                    <a:pt x="15" y="189"/>
                  </a:lnTo>
                  <a:lnTo>
                    <a:pt x="15" y="188"/>
                  </a:lnTo>
                  <a:lnTo>
                    <a:pt x="16" y="189"/>
                  </a:lnTo>
                  <a:lnTo>
                    <a:pt x="17" y="189"/>
                  </a:lnTo>
                  <a:lnTo>
                    <a:pt x="18" y="188"/>
                  </a:lnTo>
                  <a:lnTo>
                    <a:pt x="20" y="188"/>
                  </a:lnTo>
                  <a:lnTo>
                    <a:pt x="21" y="188"/>
                  </a:lnTo>
                  <a:lnTo>
                    <a:pt x="21" y="189"/>
                  </a:lnTo>
                  <a:lnTo>
                    <a:pt x="21" y="190"/>
                  </a:lnTo>
                  <a:lnTo>
                    <a:pt x="20" y="192"/>
                  </a:lnTo>
                  <a:lnTo>
                    <a:pt x="18" y="193"/>
                  </a:lnTo>
                  <a:lnTo>
                    <a:pt x="17" y="193"/>
                  </a:lnTo>
                  <a:lnTo>
                    <a:pt x="17" y="192"/>
                  </a:lnTo>
                  <a:lnTo>
                    <a:pt x="16" y="192"/>
                  </a:lnTo>
                  <a:lnTo>
                    <a:pt x="16" y="193"/>
                  </a:lnTo>
                  <a:lnTo>
                    <a:pt x="16" y="194"/>
                  </a:lnTo>
                  <a:lnTo>
                    <a:pt x="15" y="194"/>
                  </a:lnTo>
                  <a:lnTo>
                    <a:pt x="15" y="195"/>
                  </a:lnTo>
                  <a:lnTo>
                    <a:pt x="14" y="194"/>
                  </a:lnTo>
                  <a:lnTo>
                    <a:pt x="12" y="195"/>
                  </a:lnTo>
                  <a:lnTo>
                    <a:pt x="12" y="198"/>
                  </a:lnTo>
                  <a:lnTo>
                    <a:pt x="14" y="198"/>
                  </a:lnTo>
                  <a:lnTo>
                    <a:pt x="15" y="196"/>
                  </a:lnTo>
                  <a:lnTo>
                    <a:pt x="15" y="198"/>
                  </a:lnTo>
                  <a:lnTo>
                    <a:pt x="16" y="198"/>
                  </a:lnTo>
                  <a:lnTo>
                    <a:pt x="17" y="198"/>
                  </a:lnTo>
                  <a:lnTo>
                    <a:pt x="18" y="196"/>
                  </a:lnTo>
                  <a:lnTo>
                    <a:pt x="20" y="195"/>
                  </a:lnTo>
                  <a:lnTo>
                    <a:pt x="21" y="194"/>
                  </a:lnTo>
                  <a:lnTo>
                    <a:pt x="21" y="193"/>
                  </a:lnTo>
                  <a:lnTo>
                    <a:pt x="21" y="192"/>
                  </a:lnTo>
                  <a:lnTo>
                    <a:pt x="22" y="190"/>
                  </a:lnTo>
                  <a:lnTo>
                    <a:pt x="22" y="192"/>
                  </a:lnTo>
                  <a:lnTo>
                    <a:pt x="22" y="193"/>
                  </a:lnTo>
                  <a:lnTo>
                    <a:pt x="23" y="193"/>
                  </a:lnTo>
                  <a:lnTo>
                    <a:pt x="24" y="193"/>
                  </a:lnTo>
                  <a:lnTo>
                    <a:pt x="24" y="192"/>
                  </a:lnTo>
                  <a:lnTo>
                    <a:pt x="24" y="190"/>
                  </a:lnTo>
                  <a:lnTo>
                    <a:pt x="26" y="189"/>
                  </a:lnTo>
                  <a:lnTo>
                    <a:pt x="27" y="188"/>
                  </a:lnTo>
                  <a:lnTo>
                    <a:pt x="27" y="187"/>
                  </a:lnTo>
                  <a:lnTo>
                    <a:pt x="28" y="187"/>
                  </a:lnTo>
                  <a:lnTo>
                    <a:pt x="28" y="188"/>
                  </a:lnTo>
                  <a:lnTo>
                    <a:pt x="29" y="188"/>
                  </a:lnTo>
                  <a:lnTo>
                    <a:pt x="30" y="187"/>
                  </a:lnTo>
                  <a:lnTo>
                    <a:pt x="32" y="187"/>
                  </a:lnTo>
                  <a:lnTo>
                    <a:pt x="30" y="188"/>
                  </a:lnTo>
                  <a:lnTo>
                    <a:pt x="30" y="189"/>
                  </a:lnTo>
                  <a:lnTo>
                    <a:pt x="29" y="189"/>
                  </a:lnTo>
                  <a:lnTo>
                    <a:pt x="28" y="190"/>
                  </a:lnTo>
                  <a:lnTo>
                    <a:pt x="28" y="189"/>
                  </a:lnTo>
                  <a:lnTo>
                    <a:pt x="28" y="188"/>
                  </a:lnTo>
                  <a:lnTo>
                    <a:pt x="27" y="188"/>
                  </a:lnTo>
                  <a:lnTo>
                    <a:pt x="27" y="189"/>
                  </a:lnTo>
                  <a:lnTo>
                    <a:pt x="26" y="190"/>
                  </a:lnTo>
                  <a:lnTo>
                    <a:pt x="27" y="192"/>
                  </a:lnTo>
                  <a:lnTo>
                    <a:pt x="28" y="192"/>
                  </a:lnTo>
                  <a:lnTo>
                    <a:pt x="28" y="193"/>
                  </a:lnTo>
                  <a:lnTo>
                    <a:pt x="29" y="193"/>
                  </a:lnTo>
                  <a:lnTo>
                    <a:pt x="30" y="193"/>
                  </a:lnTo>
                  <a:lnTo>
                    <a:pt x="32" y="193"/>
                  </a:lnTo>
                  <a:lnTo>
                    <a:pt x="32" y="192"/>
                  </a:lnTo>
                  <a:lnTo>
                    <a:pt x="33" y="192"/>
                  </a:lnTo>
                  <a:lnTo>
                    <a:pt x="34" y="190"/>
                  </a:lnTo>
                  <a:lnTo>
                    <a:pt x="35" y="189"/>
                  </a:lnTo>
                  <a:lnTo>
                    <a:pt x="37" y="188"/>
                  </a:lnTo>
                  <a:lnTo>
                    <a:pt x="38" y="187"/>
                  </a:lnTo>
                  <a:lnTo>
                    <a:pt x="38" y="188"/>
                  </a:lnTo>
                  <a:lnTo>
                    <a:pt x="37" y="188"/>
                  </a:lnTo>
                  <a:lnTo>
                    <a:pt x="37" y="189"/>
                  </a:lnTo>
                  <a:lnTo>
                    <a:pt x="35" y="189"/>
                  </a:lnTo>
                  <a:lnTo>
                    <a:pt x="34" y="190"/>
                  </a:lnTo>
                  <a:lnTo>
                    <a:pt x="34" y="192"/>
                  </a:lnTo>
                  <a:lnTo>
                    <a:pt x="35" y="192"/>
                  </a:lnTo>
                  <a:lnTo>
                    <a:pt x="37" y="192"/>
                  </a:lnTo>
                  <a:lnTo>
                    <a:pt x="38" y="193"/>
                  </a:lnTo>
                  <a:lnTo>
                    <a:pt x="39" y="193"/>
                  </a:lnTo>
                  <a:lnTo>
                    <a:pt x="39" y="194"/>
                  </a:lnTo>
                  <a:lnTo>
                    <a:pt x="40" y="194"/>
                  </a:lnTo>
                  <a:lnTo>
                    <a:pt x="40" y="195"/>
                  </a:lnTo>
                  <a:lnTo>
                    <a:pt x="39" y="195"/>
                  </a:lnTo>
                  <a:lnTo>
                    <a:pt x="38" y="195"/>
                  </a:lnTo>
                  <a:lnTo>
                    <a:pt x="37" y="196"/>
                  </a:lnTo>
                  <a:lnTo>
                    <a:pt x="35" y="196"/>
                  </a:lnTo>
                  <a:lnTo>
                    <a:pt x="35" y="198"/>
                  </a:lnTo>
                  <a:lnTo>
                    <a:pt x="35" y="199"/>
                  </a:lnTo>
                  <a:lnTo>
                    <a:pt x="37" y="199"/>
                  </a:lnTo>
                  <a:lnTo>
                    <a:pt x="38" y="199"/>
                  </a:lnTo>
                  <a:lnTo>
                    <a:pt x="39" y="199"/>
                  </a:lnTo>
                  <a:lnTo>
                    <a:pt x="39" y="198"/>
                  </a:lnTo>
                  <a:lnTo>
                    <a:pt x="40" y="196"/>
                  </a:lnTo>
                  <a:lnTo>
                    <a:pt x="40" y="198"/>
                  </a:lnTo>
                  <a:lnTo>
                    <a:pt x="41" y="198"/>
                  </a:lnTo>
                  <a:lnTo>
                    <a:pt x="41" y="196"/>
                  </a:lnTo>
                  <a:lnTo>
                    <a:pt x="41" y="195"/>
                  </a:lnTo>
                  <a:lnTo>
                    <a:pt x="43" y="194"/>
                  </a:lnTo>
                  <a:lnTo>
                    <a:pt x="43" y="193"/>
                  </a:lnTo>
                  <a:lnTo>
                    <a:pt x="43" y="192"/>
                  </a:lnTo>
                  <a:lnTo>
                    <a:pt x="44" y="192"/>
                  </a:lnTo>
                  <a:lnTo>
                    <a:pt x="44" y="193"/>
                  </a:lnTo>
                  <a:lnTo>
                    <a:pt x="45" y="193"/>
                  </a:lnTo>
                  <a:lnTo>
                    <a:pt x="46" y="193"/>
                  </a:lnTo>
                  <a:lnTo>
                    <a:pt x="47" y="192"/>
                  </a:lnTo>
                  <a:lnTo>
                    <a:pt x="49" y="190"/>
                  </a:lnTo>
                  <a:lnTo>
                    <a:pt x="49" y="192"/>
                  </a:lnTo>
                  <a:lnTo>
                    <a:pt x="47" y="192"/>
                  </a:lnTo>
                  <a:lnTo>
                    <a:pt x="46" y="193"/>
                  </a:lnTo>
                  <a:lnTo>
                    <a:pt x="45" y="194"/>
                  </a:lnTo>
                  <a:lnTo>
                    <a:pt x="44" y="194"/>
                  </a:lnTo>
                  <a:lnTo>
                    <a:pt x="45" y="195"/>
                  </a:lnTo>
                  <a:lnTo>
                    <a:pt x="46" y="195"/>
                  </a:lnTo>
                  <a:lnTo>
                    <a:pt x="47" y="194"/>
                  </a:lnTo>
                  <a:lnTo>
                    <a:pt x="49" y="193"/>
                  </a:lnTo>
                  <a:lnTo>
                    <a:pt x="50" y="193"/>
                  </a:lnTo>
                  <a:lnTo>
                    <a:pt x="51" y="193"/>
                  </a:lnTo>
                  <a:lnTo>
                    <a:pt x="51" y="194"/>
                  </a:lnTo>
                  <a:lnTo>
                    <a:pt x="52" y="193"/>
                  </a:lnTo>
                  <a:lnTo>
                    <a:pt x="52" y="192"/>
                  </a:lnTo>
                  <a:lnTo>
                    <a:pt x="53" y="192"/>
                  </a:lnTo>
                  <a:lnTo>
                    <a:pt x="55" y="193"/>
                  </a:lnTo>
                  <a:lnTo>
                    <a:pt x="56" y="193"/>
                  </a:lnTo>
                  <a:lnTo>
                    <a:pt x="57" y="192"/>
                  </a:lnTo>
                  <a:lnTo>
                    <a:pt x="57" y="190"/>
                  </a:lnTo>
                  <a:lnTo>
                    <a:pt x="57" y="189"/>
                  </a:lnTo>
                  <a:lnTo>
                    <a:pt x="56" y="189"/>
                  </a:lnTo>
                  <a:lnTo>
                    <a:pt x="55" y="189"/>
                  </a:lnTo>
                  <a:lnTo>
                    <a:pt x="53" y="189"/>
                  </a:lnTo>
                  <a:lnTo>
                    <a:pt x="52" y="188"/>
                  </a:lnTo>
                  <a:lnTo>
                    <a:pt x="53" y="188"/>
                  </a:lnTo>
                  <a:lnTo>
                    <a:pt x="55" y="188"/>
                  </a:lnTo>
                  <a:lnTo>
                    <a:pt x="55" y="189"/>
                  </a:lnTo>
                  <a:lnTo>
                    <a:pt x="56" y="189"/>
                  </a:lnTo>
                  <a:lnTo>
                    <a:pt x="56" y="188"/>
                  </a:lnTo>
                  <a:lnTo>
                    <a:pt x="56" y="187"/>
                  </a:lnTo>
                  <a:lnTo>
                    <a:pt x="56" y="186"/>
                  </a:lnTo>
                  <a:lnTo>
                    <a:pt x="53" y="186"/>
                  </a:lnTo>
                  <a:lnTo>
                    <a:pt x="53" y="184"/>
                  </a:lnTo>
                  <a:lnTo>
                    <a:pt x="55" y="184"/>
                  </a:lnTo>
                  <a:lnTo>
                    <a:pt x="55" y="183"/>
                  </a:lnTo>
                  <a:lnTo>
                    <a:pt x="56" y="184"/>
                  </a:lnTo>
                  <a:lnTo>
                    <a:pt x="56" y="186"/>
                  </a:lnTo>
                  <a:lnTo>
                    <a:pt x="57" y="186"/>
                  </a:lnTo>
                  <a:lnTo>
                    <a:pt x="58" y="187"/>
                  </a:lnTo>
                  <a:lnTo>
                    <a:pt x="59" y="187"/>
                  </a:lnTo>
                  <a:lnTo>
                    <a:pt x="61" y="187"/>
                  </a:lnTo>
                  <a:lnTo>
                    <a:pt x="61" y="188"/>
                  </a:lnTo>
                  <a:lnTo>
                    <a:pt x="59" y="188"/>
                  </a:lnTo>
                  <a:lnTo>
                    <a:pt x="59" y="189"/>
                  </a:lnTo>
                  <a:lnTo>
                    <a:pt x="61" y="189"/>
                  </a:lnTo>
                  <a:lnTo>
                    <a:pt x="62" y="190"/>
                  </a:lnTo>
                  <a:lnTo>
                    <a:pt x="62" y="192"/>
                  </a:lnTo>
                  <a:lnTo>
                    <a:pt x="62" y="193"/>
                  </a:lnTo>
                  <a:lnTo>
                    <a:pt x="62" y="194"/>
                  </a:lnTo>
                  <a:lnTo>
                    <a:pt x="61" y="193"/>
                  </a:lnTo>
                  <a:lnTo>
                    <a:pt x="61" y="192"/>
                  </a:lnTo>
                  <a:lnTo>
                    <a:pt x="59" y="192"/>
                  </a:lnTo>
                  <a:lnTo>
                    <a:pt x="61" y="193"/>
                  </a:lnTo>
                  <a:lnTo>
                    <a:pt x="61" y="194"/>
                  </a:lnTo>
                  <a:lnTo>
                    <a:pt x="59" y="194"/>
                  </a:lnTo>
                  <a:lnTo>
                    <a:pt x="59" y="195"/>
                  </a:lnTo>
                  <a:lnTo>
                    <a:pt x="61" y="196"/>
                  </a:lnTo>
                  <a:lnTo>
                    <a:pt x="61" y="195"/>
                  </a:lnTo>
                  <a:lnTo>
                    <a:pt x="62" y="195"/>
                  </a:lnTo>
                  <a:lnTo>
                    <a:pt x="62" y="196"/>
                  </a:lnTo>
                  <a:lnTo>
                    <a:pt x="61" y="196"/>
                  </a:lnTo>
                  <a:lnTo>
                    <a:pt x="59" y="196"/>
                  </a:lnTo>
                  <a:lnTo>
                    <a:pt x="58" y="198"/>
                  </a:lnTo>
                  <a:lnTo>
                    <a:pt x="58" y="199"/>
                  </a:lnTo>
                  <a:lnTo>
                    <a:pt x="59" y="199"/>
                  </a:lnTo>
                  <a:lnTo>
                    <a:pt x="58" y="200"/>
                  </a:lnTo>
                  <a:lnTo>
                    <a:pt x="57" y="200"/>
                  </a:lnTo>
                  <a:lnTo>
                    <a:pt x="57" y="199"/>
                  </a:lnTo>
                  <a:lnTo>
                    <a:pt x="56" y="199"/>
                  </a:lnTo>
                  <a:lnTo>
                    <a:pt x="56" y="200"/>
                  </a:lnTo>
                  <a:lnTo>
                    <a:pt x="56" y="201"/>
                  </a:lnTo>
                  <a:lnTo>
                    <a:pt x="56" y="202"/>
                  </a:lnTo>
                  <a:lnTo>
                    <a:pt x="57" y="202"/>
                  </a:lnTo>
                  <a:lnTo>
                    <a:pt x="58" y="202"/>
                  </a:lnTo>
                  <a:lnTo>
                    <a:pt x="58" y="201"/>
                  </a:lnTo>
                  <a:lnTo>
                    <a:pt x="59" y="201"/>
                  </a:lnTo>
                  <a:lnTo>
                    <a:pt x="62" y="202"/>
                  </a:lnTo>
                  <a:lnTo>
                    <a:pt x="62" y="201"/>
                  </a:lnTo>
                  <a:lnTo>
                    <a:pt x="62" y="202"/>
                  </a:lnTo>
                  <a:lnTo>
                    <a:pt x="63" y="202"/>
                  </a:lnTo>
                  <a:lnTo>
                    <a:pt x="64" y="202"/>
                  </a:lnTo>
                  <a:lnTo>
                    <a:pt x="64" y="201"/>
                  </a:lnTo>
                  <a:lnTo>
                    <a:pt x="67" y="200"/>
                  </a:lnTo>
                  <a:lnTo>
                    <a:pt x="65" y="200"/>
                  </a:lnTo>
                  <a:lnTo>
                    <a:pt x="64" y="200"/>
                  </a:lnTo>
                  <a:lnTo>
                    <a:pt x="63" y="200"/>
                  </a:lnTo>
                  <a:lnTo>
                    <a:pt x="64" y="199"/>
                  </a:lnTo>
                  <a:lnTo>
                    <a:pt x="65" y="199"/>
                  </a:lnTo>
                  <a:lnTo>
                    <a:pt x="65" y="198"/>
                  </a:lnTo>
                  <a:lnTo>
                    <a:pt x="67" y="199"/>
                  </a:lnTo>
                  <a:lnTo>
                    <a:pt x="67" y="200"/>
                  </a:lnTo>
                  <a:lnTo>
                    <a:pt x="68" y="200"/>
                  </a:lnTo>
                  <a:lnTo>
                    <a:pt x="68" y="201"/>
                  </a:lnTo>
                  <a:lnTo>
                    <a:pt x="67" y="201"/>
                  </a:lnTo>
                  <a:lnTo>
                    <a:pt x="65" y="201"/>
                  </a:lnTo>
                  <a:lnTo>
                    <a:pt x="65" y="202"/>
                  </a:lnTo>
                  <a:lnTo>
                    <a:pt x="64" y="202"/>
                  </a:lnTo>
                  <a:lnTo>
                    <a:pt x="64" y="204"/>
                  </a:lnTo>
                  <a:lnTo>
                    <a:pt x="62" y="204"/>
                  </a:lnTo>
                  <a:lnTo>
                    <a:pt x="62" y="202"/>
                  </a:lnTo>
                  <a:lnTo>
                    <a:pt x="62" y="204"/>
                  </a:lnTo>
                  <a:lnTo>
                    <a:pt x="61" y="202"/>
                  </a:lnTo>
                  <a:lnTo>
                    <a:pt x="59" y="202"/>
                  </a:lnTo>
                  <a:lnTo>
                    <a:pt x="59" y="204"/>
                  </a:lnTo>
                  <a:lnTo>
                    <a:pt x="58" y="204"/>
                  </a:lnTo>
                  <a:lnTo>
                    <a:pt x="57" y="202"/>
                  </a:lnTo>
                  <a:lnTo>
                    <a:pt x="57" y="204"/>
                  </a:lnTo>
                  <a:lnTo>
                    <a:pt x="56" y="204"/>
                  </a:lnTo>
                  <a:lnTo>
                    <a:pt x="55" y="204"/>
                  </a:lnTo>
                  <a:lnTo>
                    <a:pt x="55" y="202"/>
                  </a:lnTo>
                  <a:lnTo>
                    <a:pt x="53" y="202"/>
                  </a:lnTo>
                  <a:lnTo>
                    <a:pt x="52" y="202"/>
                  </a:lnTo>
                  <a:lnTo>
                    <a:pt x="52" y="204"/>
                  </a:lnTo>
                  <a:lnTo>
                    <a:pt x="51" y="205"/>
                  </a:lnTo>
                  <a:lnTo>
                    <a:pt x="50" y="205"/>
                  </a:lnTo>
                  <a:lnTo>
                    <a:pt x="49" y="205"/>
                  </a:lnTo>
                  <a:lnTo>
                    <a:pt x="50" y="206"/>
                  </a:lnTo>
                  <a:lnTo>
                    <a:pt x="47" y="206"/>
                  </a:lnTo>
                  <a:lnTo>
                    <a:pt x="49" y="206"/>
                  </a:lnTo>
                  <a:lnTo>
                    <a:pt x="49" y="207"/>
                  </a:lnTo>
                  <a:lnTo>
                    <a:pt x="50" y="207"/>
                  </a:lnTo>
                  <a:lnTo>
                    <a:pt x="50" y="208"/>
                  </a:lnTo>
                  <a:lnTo>
                    <a:pt x="51" y="208"/>
                  </a:lnTo>
                  <a:lnTo>
                    <a:pt x="52" y="207"/>
                  </a:lnTo>
                  <a:lnTo>
                    <a:pt x="53" y="207"/>
                  </a:lnTo>
                  <a:lnTo>
                    <a:pt x="53" y="206"/>
                  </a:lnTo>
                  <a:lnTo>
                    <a:pt x="55" y="207"/>
                  </a:lnTo>
                  <a:lnTo>
                    <a:pt x="56" y="206"/>
                  </a:lnTo>
                  <a:lnTo>
                    <a:pt x="56" y="207"/>
                  </a:lnTo>
                  <a:lnTo>
                    <a:pt x="55" y="207"/>
                  </a:lnTo>
                  <a:lnTo>
                    <a:pt x="55" y="208"/>
                  </a:lnTo>
                  <a:lnTo>
                    <a:pt x="53" y="208"/>
                  </a:lnTo>
                  <a:lnTo>
                    <a:pt x="52" y="208"/>
                  </a:lnTo>
                  <a:lnTo>
                    <a:pt x="51" y="210"/>
                  </a:lnTo>
                  <a:lnTo>
                    <a:pt x="50" y="210"/>
                  </a:lnTo>
                  <a:lnTo>
                    <a:pt x="50" y="211"/>
                  </a:lnTo>
                  <a:lnTo>
                    <a:pt x="49" y="211"/>
                  </a:lnTo>
                  <a:lnTo>
                    <a:pt x="49" y="210"/>
                  </a:lnTo>
                  <a:lnTo>
                    <a:pt x="47" y="211"/>
                  </a:lnTo>
                  <a:lnTo>
                    <a:pt x="46" y="211"/>
                  </a:lnTo>
                  <a:lnTo>
                    <a:pt x="45" y="212"/>
                  </a:lnTo>
                  <a:lnTo>
                    <a:pt x="44" y="212"/>
                  </a:lnTo>
                  <a:lnTo>
                    <a:pt x="41" y="212"/>
                  </a:lnTo>
                  <a:lnTo>
                    <a:pt x="41" y="213"/>
                  </a:lnTo>
                  <a:lnTo>
                    <a:pt x="41" y="214"/>
                  </a:lnTo>
                  <a:lnTo>
                    <a:pt x="40" y="214"/>
                  </a:lnTo>
                  <a:lnTo>
                    <a:pt x="39" y="214"/>
                  </a:lnTo>
                  <a:lnTo>
                    <a:pt x="39" y="216"/>
                  </a:lnTo>
                  <a:lnTo>
                    <a:pt x="38" y="216"/>
                  </a:lnTo>
                  <a:lnTo>
                    <a:pt x="37" y="214"/>
                  </a:lnTo>
                  <a:lnTo>
                    <a:pt x="35" y="216"/>
                  </a:lnTo>
                  <a:lnTo>
                    <a:pt x="34" y="216"/>
                  </a:lnTo>
                  <a:lnTo>
                    <a:pt x="33" y="216"/>
                  </a:lnTo>
                  <a:lnTo>
                    <a:pt x="32" y="216"/>
                  </a:lnTo>
                  <a:lnTo>
                    <a:pt x="32" y="217"/>
                  </a:lnTo>
                  <a:lnTo>
                    <a:pt x="30" y="216"/>
                  </a:lnTo>
                  <a:lnTo>
                    <a:pt x="29" y="216"/>
                  </a:lnTo>
                  <a:lnTo>
                    <a:pt x="28" y="214"/>
                  </a:lnTo>
                  <a:lnTo>
                    <a:pt x="27" y="216"/>
                  </a:lnTo>
                  <a:lnTo>
                    <a:pt x="27" y="217"/>
                  </a:lnTo>
                  <a:lnTo>
                    <a:pt x="27" y="218"/>
                  </a:lnTo>
                  <a:lnTo>
                    <a:pt x="28" y="219"/>
                  </a:lnTo>
                  <a:lnTo>
                    <a:pt x="27" y="220"/>
                  </a:lnTo>
                  <a:lnTo>
                    <a:pt x="28" y="220"/>
                  </a:lnTo>
                  <a:lnTo>
                    <a:pt x="29" y="220"/>
                  </a:lnTo>
                  <a:lnTo>
                    <a:pt x="29" y="222"/>
                  </a:lnTo>
                  <a:lnTo>
                    <a:pt x="30" y="222"/>
                  </a:lnTo>
                  <a:lnTo>
                    <a:pt x="32" y="222"/>
                  </a:lnTo>
                  <a:lnTo>
                    <a:pt x="33" y="220"/>
                  </a:lnTo>
                  <a:lnTo>
                    <a:pt x="34" y="220"/>
                  </a:lnTo>
                  <a:lnTo>
                    <a:pt x="37" y="222"/>
                  </a:lnTo>
                  <a:lnTo>
                    <a:pt x="37" y="223"/>
                  </a:lnTo>
                  <a:lnTo>
                    <a:pt x="35" y="223"/>
                  </a:lnTo>
                  <a:lnTo>
                    <a:pt x="34" y="223"/>
                  </a:lnTo>
                  <a:lnTo>
                    <a:pt x="33" y="223"/>
                  </a:lnTo>
                  <a:lnTo>
                    <a:pt x="32" y="223"/>
                  </a:lnTo>
                  <a:lnTo>
                    <a:pt x="30" y="223"/>
                  </a:lnTo>
                  <a:lnTo>
                    <a:pt x="32" y="224"/>
                  </a:lnTo>
                  <a:lnTo>
                    <a:pt x="32" y="225"/>
                  </a:lnTo>
                  <a:lnTo>
                    <a:pt x="33" y="225"/>
                  </a:lnTo>
                  <a:lnTo>
                    <a:pt x="34" y="226"/>
                  </a:lnTo>
                  <a:lnTo>
                    <a:pt x="33" y="228"/>
                  </a:lnTo>
                  <a:lnTo>
                    <a:pt x="35" y="228"/>
                  </a:lnTo>
                  <a:lnTo>
                    <a:pt x="35" y="226"/>
                  </a:lnTo>
                  <a:lnTo>
                    <a:pt x="37" y="226"/>
                  </a:lnTo>
                  <a:lnTo>
                    <a:pt x="37" y="225"/>
                  </a:lnTo>
                  <a:lnTo>
                    <a:pt x="37" y="226"/>
                  </a:lnTo>
                  <a:lnTo>
                    <a:pt x="35" y="228"/>
                  </a:lnTo>
                  <a:lnTo>
                    <a:pt x="35" y="229"/>
                  </a:lnTo>
                  <a:lnTo>
                    <a:pt x="34" y="229"/>
                  </a:lnTo>
                  <a:lnTo>
                    <a:pt x="33" y="229"/>
                  </a:lnTo>
                  <a:lnTo>
                    <a:pt x="32" y="229"/>
                  </a:lnTo>
                  <a:lnTo>
                    <a:pt x="32" y="228"/>
                  </a:lnTo>
                  <a:lnTo>
                    <a:pt x="32" y="226"/>
                  </a:lnTo>
                  <a:lnTo>
                    <a:pt x="32" y="225"/>
                  </a:lnTo>
                  <a:lnTo>
                    <a:pt x="30" y="225"/>
                  </a:lnTo>
                  <a:lnTo>
                    <a:pt x="30" y="224"/>
                  </a:lnTo>
                  <a:lnTo>
                    <a:pt x="29" y="223"/>
                  </a:lnTo>
                  <a:lnTo>
                    <a:pt x="28" y="224"/>
                  </a:lnTo>
                  <a:lnTo>
                    <a:pt x="27" y="224"/>
                  </a:lnTo>
                  <a:lnTo>
                    <a:pt x="26" y="225"/>
                  </a:lnTo>
                  <a:lnTo>
                    <a:pt x="24" y="225"/>
                  </a:lnTo>
                  <a:lnTo>
                    <a:pt x="24" y="226"/>
                  </a:lnTo>
                  <a:lnTo>
                    <a:pt x="24" y="228"/>
                  </a:lnTo>
                  <a:lnTo>
                    <a:pt x="26" y="228"/>
                  </a:lnTo>
                  <a:lnTo>
                    <a:pt x="27" y="229"/>
                  </a:lnTo>
                  <a:lnTo>
                    <a:pt x="27" y="230"/>
                  </a:lnTo>
                  <a:lnTo>
                    <a:pt x="26" y="230"/>
                  </a:lnTo>
                  <a:lnTo>
                    <a:pt x="27" y="231"/>
                  </a:lnTo>
                  <a:lnTo>
                    <a:pt x="28" y="232"/>
                  </a:lnTo>
                  <a:lnTo>
                    <a:pt x="29" y="234"/>
                  </a:lnTo>
                  <a:lnTo>
                    <a:pt x="30" y="234"/>
                  </a:lnTo>
                  <a:lnTo>
                    <a:pt x="33" y="234"/>
                  </a:lnTo>
                  <a:lnTo>
                    <a:pt x="34" y="234"/>
                  </a:lnTo>
                  <a:lnTo>
                    <a:pt x="35" y="234"/>
                  </a:lnTo>
                  <a:lnTo>
                    <a:pt x="37" y="232"/>
                  </a:lnTo>
                  <a:lnTo>
                    <a:pt x="37" y="231"/>
                  </a:lnTo>
                  <a:lnTo>
                    <a:pt x="38" y="231"/>
                  </a:lnTo>
                  <a:lnTo>
                    <a:pt x="39" y="231"/>
                  </a:lnTo>
                  <a:lnTo>
                    <a:pt x="40" y="231"/>
                  </a:lnTo>
                  <a:lnTo>
                    <a:pt x="39" y="231"/>
                  </a:lnTo>
                  <a:lnTo>
                    <a:pt x="38" y="232"/>
                  </a:lnTo>
                  <a:lnTo>
                    <a:pt x="37" y="232"/>
                  </a:lnTo>
                  <a:lnTo>
                    <a:pt x="37" y="234"/>
                  </a:lnTo>
                  <a:lnTo>
                    <a:pt x="37" y="235"/>
                  </a:lnTo>
                  <a:lnTo>
                    <a:pt x="38" y="235"/>
                  </a:lnTo>
                  <a:lnTo>
                    <a:pt x="35" y="235"/>
                  </a:lnTo>
                  <a:lnTo>
                    <a:pt x="34" y="236"/>
                  </a:lnTo>
                  <a:lnTo>
                    <a:pt x="33" y="237"/>
                  </a:lnTo>
                  <a:lnTo>
                    <a:pt x="34" y="237"/>
                  </a:lnTo>
                  <a:lnTo>
                    <a:pt x="35" y="237"/>
                  </a:lnTo>
                  <a:lnTo>
                    <a:pt x="35" y="238"/>
                  </a:lnTo>
                  <a:lnTo>
                    <a:pt x="34" y="238"/>
                  </a:lnTo>
                  <a:lnTo>
                    <a:pt x="33" y="238"/>
                  </a:lnTo>
                  <a:lnTo>
                    <a:pt x="33" y="237"/>
                  </a:lnTo>
                  <a:lnTo>
                    <a:pt x="32" y="236"/>
                  </a:lnTo>
                  <a:lnTo>
                    <a:pt x="32" y="237"/>
                  </a:lnTo>
                  <a:lnTo>
                    <a:pt x="32" y="238"/>
                  </a:lnTo>
                  <a:lnTo>
                    <a:pt x="30" y="238"/>
                  </a:lnTo>
                  <a:lnTo>
                    <a:pt x="29" y="240"/>
                  </a:lnTo>
                  <a:lnTo>
                    <a:pt x="30" y="241"/>
                  </a:lnTo>
                  <a:lnTo>
                    <a:pt x="32" y="241"/>
                  </a:lnTo>
                  <a:lnTo>
                    <a:pt x="33" y="240"/>
                  </a:lnTo>
                  <a:lnTo>
                    <a:pt x="33" y="241"/>
                  </a:lnTo>
                  <a:lnTo>
                    <a:pt x="34" y="241"/>
                  </a:lnTo>
                  <a:lnTo>
                    <a:pt x="35" y="241"/>
                  </a:lnTo>
                  <a:lnTo>
                    <a:pt x="35" y="240"/>
                  </a:lnTo>
                  <a:lnTo>
                    <a:pt x="37" y="240"/>
                  </a:lnTo>
                  <a:lnTo>
                    <a:pt x="38" y="238"/>
                  </a:lnTo>
                  <a:lnTo>
                    <a:pt x="39" y="238"/>
                  </a:lnTo>
                  <a:lnTo>
                    <a:pt x="39" y="241"/>
                  </a:lnTo>
                  <a:lnTo>
                    <a:pt x="40" y="242"/>
                  </a:lnTo>
                  <a:lnTo>
                    <a:pt x="41" y="242"/>
                  </a:lnTo>
                  <a:lnTo>
                    <a:pt x="44" y="241"/>
                  </a:lnTo>
                  <a:lnTo>
                    <a:pt x="44" y="240"/>
                  </a:lnTo>
                  <a:lnTo>
                    <a:pt x="43" y="241"/>
                  </a:lnTo>
                  <a:lnTo>
                    <a:pt x="41" y="241"/>
                  </a:lnTo>
                  <a:lnTo>
                    <a:pt x="41" y="240"/>
                  </a:lnTo>
                  <a:lnTo>
                    <a:pt x="43" y="240"/>
                  </a:lnTo>
                  <a:lnTo>
                    <a:pt x="44" y="238"/>
                  </a:lnTo>
                  <a:lnTo>
                    <a:pt x="45" y="238"/>
                  </a:lnTo>
                  <a:lnTo>
                    <a:pt x="45" y="237"/>
                  </a:lnTo>
                  <a:lnTo>
                    <a:pt x="44" y="237"/>
                  </a:lnTo>
                  <a:lnTo>
                    <a:pt x="43" y="237"/>
                  </a:lnTo>
                  <a:lnTo>
                    <a:pt x="43" y="236"/>
                  </a:lnTo>
                  <a:lnTo>
                    <a:pt x="45" y="237"/>
                  </a:lnTo>
                  <a:lnTo>
                    <a:pt x="45" y="236"/>
                  </a:lnTo>
                  <a:lnTo>
                    <a:pt x="46" y="236"/>
                  </a:lnTo>
                  <a:lnTo>
                    <a:pt x="46" y="235"/>
                  </a:lnTo>
                  <a:lnTo>
                    <a:pt x="45" y="234"/>
                  </a:lnTo>
                  <a:lnTo>
                    <a:pt x="45" y="232"/>
                  </a:lnTo>
                  <a:lnTo>
                    <a:pt x="45" y="231"/>
                  </a:lnTo>
                  <a:lnTo>
                    <a:pt x="46" y="230"/>
                  </a:lnTo>
                  <a:lnTo>
                    <a:pt x="45" y="231"/>
                  </a:lnTo>
                  <a:lnTo>
                    <a:pt x="46" y="231"/>
                  </a:lnTo>
                  <a:lnTo>
                    <a:pt x="46" y="232"/>
                  </a:lnTo>
                  <a:lnTo>
                    <a:pt x="47" y="232"/>
                  </a:lnTo>
                  <a:lnTo>
                    <a:pt x="47" y="234"/>
                  </a:lnTo>
                  <a:lnTo>
                    <a:pt x="49" y="232"/>
                  </a:lnTo>
                  <a:lnTo>
                    <a:pt x="49" y="234"/>
                  </a:lnTo>
                  <a:lnTo>
                    <a:pt x="50" y="234"/>
                  </a:lnTo>
                  <a:lnTo>
                    <a:pt x="51" y="234"/>
                  </a:lnTo>
                  <a:lnTo>
                    <a:pt x="52" y="232"/>
                  </a:lnTo>
                  <a:lnTo>
                    <a:pt x="52" y="231"/>
                  </a:lnTo>
                  <a:lnTo>
                    <a:pt x="52" y="230"/>
                  </a:lnTo>
                  <a:lnTo>
                    <a:pt x="53" y="229"/>
                  </a:lnTo>
                  <a:lnTo>
                    <a:pt x="53" y="230"/>
                  </a:lnTo>
                  <a:lnTo>
                    <a:pt x="53" y="231"/>
                  </a:lnTo>
                  <a:lnTo>
                    <a:pt x="53" y="234"/>
                  </a:lnTo>
                  <a:lnTo>
                    <a:pt x="55" y="234"/>
                  </a:lnTo>
                  <a:lnTo>
                    <a:pt x="56" y="234"/>
                  </a:lnTo>
                  <a:lnTo>
                    <a:pt x="56" y="232"/>
                  </a:lnTo>
                  <a:lnTo>
                    <a:pt x="56" y="231"/>
                  </a:lnTo>
                  <a:lnTo>
                    <a:pt x="56" y="232"/>
                  </a:lnTo>
                  <a:lnTo>
                    <a:pt x="56" y="235"/>
                  </a:lnTo>
                  <a:lnTo>
                    <a:pt x="56" y="236"/>
                  </a:lnTo>
                  <a:lnTo>
                    <a:pt x="57" y="236"/>
                  </a:lnTo>
                  <a:lnTo>
                    <a:pt x="57" y="235"/>
                  </a:lnTo>
                  <a:lnTo>
                    <a:pt x="58" y="235"/>
                  </a:lnTo>
                  <a:lnTo>
                    <a:pt x="58" y="234"/>
                  </a:lnTo>
                  <a:lnTo>
                    <a:pt x="59" y="234"/>
                  </a:lnTo>
                  <a:lnTo>
                    <a:pt x="61" y="235"/>
                  </a:lnTo>
                  <a:lnTo>
                    <a:pt x="62" y="235"/>
                  </a:lnTo>
                  <a:lnTo>
                    <a:pt x="62" y="234"/>
                  </a:lnTo>
                  <a:lnTo>
                    <a:pt x="63" y="234"/>
                  </a:lnTo>
                  <a:lnTo>
                    <a:pt x="63" y="232"/>
                  </a:lnTo>
                  <a:lnTo>
                    <a:pt x="64" y="232"/>
                  </a:lnTo>
                  <a:lnTo>
                    <a:pt x="65" y="234"/>
                  </a:lnTo>
                  <a:lnTo>
                    <a:pt x="65" y="232"/>
                  </a:lnTo>
                  <a:lnTo>
                    <a:pt x="67" y="232"/>
                  </a:lnTo>
                  <a:lnTo>
                    <a:pt x="68" y="232"/>
                  </a:lnTo>
                  <a:lnTo>
                    <a:pt x="68" y="231"/>
                  </a:lnTo>
                  <a:lnTo>
                    <a:pt x="69" y="231"/>
                  </a:lnTo>
                  <a:lnTo>
                    <a:pt x="70" y="231"/>
                  </a:lnTo>
                  <a:lnTo>
                    <a:pt x="70" y="232"/>
                  </a:lnTo>
                  <a:lnTo>
                    <a:pt x="71" y="232"/>
                  </a:lnTo>
                  <a:lnTo>
                    <a:pt x="71" y="234"/>
                  </a:lnTo>
                  <a:lnTo>
                    <a:pt x="71" y="235"/>
                  </a:lnTo>
                  <a:lnTo>
                    <a:pt x="71" y="236"/>
                  </a:lnTo>
                  <a:lnTo>
                    <a:pt x="70" y="236"/>
                  </a:lnTo>
                  <a:lnTo>
                    <a:pt x="69" y="236"/>
                  </a:lnTo>
                  <a:lnTo>
                    <a:pt x="69" y="235"/>
                  </a:lnTo>
                  <a:lnTo>
                    <a:pt x="68" y="235"/>
                  </a:lnTo>
                  <a:lnTo>
                    <a:pt x="68" y="236"/>
                  </a:lnTo>
                  <a:lnTo>
                    <a:pt x="68" y="237"/>
                  </a:lnTo>
                  <a:lnTo>
                    <a:pt x="69" y="237"/>
                  </a:lnTo>
                  <a:lnTo>
                    <a:pt x="68" y="237"/>
                  </a:lnTo>
                  <a:lnTo>
                    <a:pt x="68" y="236"/>
                  </a:lnTo>
                  <a:lnTo>
                    <a:pt x="67" y="236"/>
                  </a:lnTo>
                  <a:lnTo>
                    <a:pt x="65" y="237"/>
                  </a:lnTo>
                  <a:lnTo>
                    <a:pt x="65" y="238"/>
                  </a:lnTo>
                  <a:lnTo>
                    <a:pt x="67" y="238"/>
                  </a:lnTo>
                  <a:lnTo>
                    <a:pt x="65" y="238"/>
                  </a:lnTo>
                  <a:lnTo>
                    <a:pt x="64" y="238"/>
                  </a:lnTo>
                  <a:lnTo>
                    <a:pt x="64" y="240"/>
                  </a:lnTo>
                  <a:lnTo>
                    <a:pt x="67" y="241"/>
                  </a:lnTo>
                  <a:lnTo>
                    <a:pt x="68" y="240"/>
                  </a:lnTo>
                  <a:lnTo>
                    <a:pt x="69" y="240"/>
                  </a:lnTo>
                  <a:lnTo>
                    <a:pt x="69" y="238"/>
                  </a:lnTo>
                  <a:lnTo>
                    <a:pt x="70" y="238"/>
                  </a:lnTo>
                  <a:lnTo>
                    <a:pt x="71" y="238"/>
                  </a:lnTo>
                  <a:lnTo>
                    <a:pt x="73" y="238"/>
                  </a:lnTo>
                  <a:lnTo>
                    <a:pt x="74" y="238"/>
                  </a:lnTo>
                  <a:lnTo>
                    <a:pt x="74" y="237"/>
                  </a:lnTo>
                  <a:lnTo>
                    <a:pt x="74" y="236"/>
                  </a:lnTo>
                  <a:lnTo>
                    <a:pt x="75" y="235"/>
                  </a:lnTo>
                  <a:lnTo>
                    <a:pt x="77" y="235"/>
                  </a:lnTo>
                  <a:lnTo>
                    <a:pt x="79" y="235"/>
                  </a:lnTo>
                  <a:lnTo>
                    <a:pt x="80" y="235"/>
                  </a:lnTo>
                  <a:lnTo>
                    <a:pt x="80" y="236"/>
                  </a:lnTo>
                  <a:lnTo>
                    <a:pt x="79" y="236"/>
                  </a:lnTo>
                  <a:lnTo>
                    <a:pt x="79" y="237"/>
                  </a:lnTo>
                  <a:lnTo>
                    <a:pt x="77" y="236"/>
                  </a:lnTo>
                  <a:lnTo>
                    <a:pt x="77" y="237"/>
                  </a:lnTo>
                  <a:lnTo>
                    <a:pt x="76" y="237"/>
                  </a:lnTo>
                  <a:lnTo>
                    <a:pt x="75" y="238"/>
                  </a:lnTo>
                  <a:lnTo>
                    <a:pt x="76" y="240"/>
                  </a:lnTo>
                  <a:lnTo>
                    <a:pt x="76" y="241"/>
                  </a:lnTo>
                  <a:lnTo>
                    <a:pt x="77" y="241"/>
                  </a:lnTo>
                  <a:lnTo>
                    <a:pt x="79" y="241"/>
                  </a:lnTo>
                  <a:lnTo>
                    <a:pt x="79" y="240"/>
                  </a:lnTo>
                  <a:lnTo>
                    <a:pt x="80" y="238"/>
                  </a:lnTo>
                  <a:lnTo>
                    <a:pt x="80" y="237"/>
                  </a:lnTo>
                  <a:lnTo>
                    <a:pt x="81" y="237"/>
                  </a:lnTo>
                  <a:lnTo>
                    <a:pt x="82" y="236"/>
                  </a:lnTo>
                  <a:lnTo>
                    <a:pt x="83" y="236"/>
                  </a:lnTo>
                  <a:lnTo>
                    <a:pt x="82" y="237"/>
                  </a:lnTo>
                  <a:lnTo>
                    <a:pt x="82" y="238"/>
                  </a:lnTo>
                  <a:lnTo>
                    <a:pt x="83" y="238"/>
                  </a:lnTo>
                  <a:lnTo>
                    <a:pt x="85" y="237"/>
                  </a:lnTo>
                  <a:lnTo>
                    <a:pt x="83" y="238"/>
                  </a:lnTo>
                  <a:lnTo>
                    <a:pt x="83" y="240"/>
                  </a:lnTo>
                  <a:lnTo>
                    <a:pt x="82" y="240"/>
                  </a:lnTo>
                  <a:lnTo>
                    <a:pt x="81" y="241"/>
                  </a:lnTo>
                  <a:lnTo>
                    <a:pt x="80" y="241"/>
                  </a:lnTo>
                  <a:lnTo>
                    <a:pt x="79" y="241"/>
                  </a:lnTo>
                  <a:lnTo>
                    <a:pt x="79" y="242"/>
                  </a:lnTo>
                  <a:lnTo>
                    <a:pt x="79" y="243"/>
                  </a:lnTo>
                  <a:lnTo>
                    <a:pt x="77" y="243"/>
                  </a:lnTo>
                  <a:lnTo>
                    <a:pt x="76" y="243"/>
                  </a:lnTo>
                  <a:lnTo>
                    <a:pt x="75" y="243"/>
                  </a:lnTo>
                  <a:lnTo>
                    <a:pt x="75" y="242"/>
                  </a:lnTo>
                  <a:lnTo>
                    <a:pt x="74" y="242"/>
                  </a:lnTo>
                  <a:lnTo>
                    <a:pt x="73" y="242"/>
                  </a:lnTo>
                  <a:lnTo>
                    <a:pt x="73" y="243"/>
                  </a:lnTo>
                  <a:lnTo>
                    <a:pt x="74" y="243"/>
                  </a:lnTo>
                  <a:lnTo>
                    <a:pt x="74" y="244"/>
                  </a:lnTo>
                  <a:lnTo>
                    <a:pt x="75" y="244"/>
                  </a:lnTo>
                  <a:lnTo>
                    <a:pt x="75" y="246"/>
                  </a:lnTo>
                  <a:lnTo>
                    <a:pt x="75" y="247"/>
                  </a:lnTo>
                  <a:lnTo>
                    <a:pt x="74" y="246"/>
                  </a:lnTo>
                  <a:lnTo>
                    <a:pt x="74" y="244"/>
                  </a:lnTo>
                  <a:lnTo>
                    <a:pt x="71" y="244"/>
                  </a:lnTo>
                  <a:lnTo>
                    <a:pt x="70" y="246"/>
                  </a:lnTo>
                  <a:lnTo>
                    <a:pt x="69" y="246"/>
                  </a:lnTo>
                  <a:lnTo>
                    <a:pt x="69" y="244"/>
                  </a:lnTo>
                  <a:lnTo>
                    <a:pt x="68" y="246"/>
                  </a:lnTo>
                  <a:lnTo>
                    <a:pt x="68" y="244"/>
                  </a:lnTo>
                  <a:lnTo>
                    <a:pt x="67" y="246"/>
                  </a:lnTo>
                  <a:lnTo>
                    <a:pt x="67" y="247"/>
                  </a:lnTo>
                  <a:lnTo>
                    <a:pt x="67" y="248"/>
                  </a:lnTo>
                  <a:lnTo>
                    <a:pt x="65" y="249"/>
                  </a:lnTo>
                  <a:lnTo>
                    <a:pt x="65" y="248"/>
                  </a:lnTo>
                  <a:lnTo>
                    <a:pt x="65" y="247"/>
                  </a:lnTo>
                  <a:lnTo>
                    <a:pt x="64" y="247"/>
                  </a:lnTo>
                  <a:lnTo>
                    <a:pt x="63" y="247"/>
                  </a:lnTo>
                  <a:lnTo>
                    <a:pt x="63" y="246"/>
                  </a:lnTo>
                  <a:lnTo>
                    <a:pt x="62" y="246"/>
                  </a:lnTo>
                  <a:lnTo>
                    <a:pt x="61" y="247"/>
                  </a:lnTo>
                  <a:lnTo>
                    <a:pt x="59" y="247"/>
                  </a:lnTo>
                  <a:lnTo>
                    <a:pt x="58" y="247"/>
                  </a:lnTo>
                  <a:lnTo>
                    <a:pt x="57" y="248"/>
                  </a:lnTo>
                  <a:lnTo>
                    <a:pt x="57" y="247"/>
                  </a:lnTo>
                  <a:lnTo>
                    <a:pt x="56" y="247"/>
                  </a:lnTo>
                  <a:lnTo>
                    <a:pt x="55" y="247"/>
                  </a:lnTo>
                  <a:lnTo>
                    <a:pt x="55" y="248"/>
                  </a:lnTo>
                  <a:lnTo>
                    <a:pt x="53" y="248"/>
                  </a:lnTo>
                  <a:lnTo>
                    <a:pt x="55" y="249"/>
                  </a:lnTo>
                  <a:lnTo>
                    <a:pt x="56" y="249"/>
                  </a:lnTo>
                  <a:lnTo>
                    <a:pt x="56" y="250"/>
                  </a:lnTo>
                  <a:lnTo>
                    <a:pt x="57" y="250"/>
                  </a:lnTo>
                  <a:lnTo>
                    <a:pt x="58" y="252"/>
                  </a:lnTo>
                  <a:lnTo>
                    <a:pt x="57" y="252"/>
                  </a:lnTo>
                  <a:lnTo>
                    <a:pt x="57" y="253"/>
                  </a:lnTo>
                  <a:lnTo>
                    <a:pt x="58" y="253"/>
                  </a:lnTo>
                  <a:lnTo>
                    <a:pt x="59" y="253"/>
                  </a:lnTo>
                  <a:lnTo>
                    <a:pt x="59" y="252"/>
                  </a:lnTo>
                  <a:lnTo>
                    <a:pt x="59" y="250"/>
                  </a:lnTo>
                  <a:lnTo>
                    <a:pt x="61" y="250"/>
                  </a:lnTo>
                  <a:lnTo>
                    <a:pt x="61" y="252"/>
                  </a:lnTo>
                  <a:lnTo>
                    <a:pt x="62" y="252"/>
                  </a:lnTo>
                  <a:lnTo>
                    <a:pt x="63" y="252"/>
                  </a:lnTo>
                  <a:lnTo>
                    <a:pt x="64" y="252"/>
                  </a:lnTo>
                  <a:lnTo>
                    <a:pt x="63" y="253"/>
                  </a:lnTo>
                  <a:lnTo>
                    <a:pt x="62" y="253"/>
                  </a:lnTo>
                  <a:lnTo>
                    <a:pt x="61" y="254"/>
                  </a:lnTo>
                  <a:lnTo>
                    <a:pt x="62" y="254"/>
                  </a:lnTo>
                  <a:lnTo>
                    <a:pt x="63" y="254"/>
                  </a:lnTo>
                  <a:lnTo>
                    <a:pt x="63" y="255"/>
                  </a:lnTo>
                  <a:lnTo>
                    <a:pt x="64" y="254"/>
                  </a:lnTo>
                  <a:lnTo>
                    <a:pt x="65" y="254"/>
                  </a:lnTo>
                  <a:lnTo>
                    <a:pt x="65" y="253"/>
                  </a:lnTo>
                  <a:lnTo>
                    <a:pt x="67" y="253"/>
                  </a:lnTo>
                  <a:lnTo>
                    <a:pt x="68" y="253"/>
                  </a:lnTo>
                  <a:lnTo>
                    <a:pt x="68" y="254"/>
                  </a:lnTo>
                  <a:lnTo>
                    <a:pt x="67" y="254"/>
                  </a:lnTo>
                  <a:lnTo>
                    <a:pt x="65" y="255"/>
                  </a:lnTo>
                  <a:lnTo>
                    <a:pt x="64" y="256"/>
                  </a:lnTo>
                  <a:lnTo>
                    <a:pt x="64" y="258"/>
                  </a:lnTo>
                  <a:lnTo>
                    <a:pt x="65" y="258"/>
                  </a:lnTo>
                  <a:lnTo>
                    <a:pt x="64" y="259"/>
                  </a:lnTo>
                  <a:lnTo>
                    <a:pt x="63" y="259"/>
                  </a:lnTo>
                  <a:lnTo>
                    <a:pt x="63" y="258"/>
                  </a:lnTo>
                  <a:lnTo>
                    <a:pt x="62" y="259"/>
                  </a:lnTo>
                  <a:lnTo>
                    <a:pt x="62" y="260"/>
                  </a:lnTo>
                  <a:lnTo>
                    <a:pt x="63" y="260"/>
                  </a:lnTo>
                  <a:lnTo>
                    <a:pt x="62" y="261"/>
                  </a:lnTo>
                  <a:lnTo>
                    <a:pt x="61" y="261"/>
                  </a:lnTo>
                  <a:lnTo>
                    <a:pt x="61" y="262"/>
                  </a:lnTo>
                  <a:lnTo>
                    <a:pt x="59" y="262"/>
                  </a:lnTo>
                  <a:lnTo>
                    <a:pt x="58" y="262"/>
                  </a:lnTo>
                  <a:lnTo>
                    <a:pt x="58" y="264"/>
                  </a:lnTo>
                  <a:lnTo>
                    <a:pt x="59" y="266"/>
                  </a:lnTo>
                  <a:lnTo>
                    <a:pt x="59" y="267"/>
                  </a:lnTo>
                  <a:lnTo>
                    <a:pt x="58" y="266"/>
                  </a:lnTo>
                  <a:lnTo>
                    <a:pt x="57" y="266"/>
                  </a:lnTo>
                  <a:lnTo>
                    <a:pt x="56" y="266"/>
                  </a:lnTo>
                  <a:lnTo>
                    <a:pt x="55" y="266"/>
                  </a:lnTo>
                  <a:lnTo>
                    <a:pt x="55" y="267"/>
                  </a:lnTo>
                  <a:lnTo>
                    <a:pt x="55" y="268"/>
                  </a:lnTo>
                  <a:lnTo>
                    <a:pt x="56" y="267"/>
                  </a:lnTo>
                  <a:lnTo>
                    <a:pt x="56" y="268"/>
                  </a:lnTo>
                  <a:lnTo>
                    <a:pt x="56" y="270"/>
                  </a:lnTo>
                  <a:lnTo>
                    <a:pt x="57" y="270"/>
                  </a:lnTo>
                  <a:lnTo>
                    <a:pt x="58" y="270"/>
                  </a:lnTo>
                  <a:lnTo>
                    <a:pt x="58" y="268"/>
                  </a:lnTo>
                  <a:lnTo>
                    <a:pt x="59" y="268"/>
                  </a:lnTo>
                  <a:lnTo>
                    <a:pt x="61" y="270"/>
                  </a:lnTo>
                  <a:lnTo>
                    <a:pt x="62" y="268"/>
                  </a:lnTo>
                  <a:lnTo>
                    <a:pt x="63" y="270"/>
                  </a:lnTo>
                  <a:lnTo>
                    <a:pt x="64" y="270"/>
                  </a:lnTo>
                  <a:lnTo>
                    <a:pt x="65" y="271"/>
                  </a:lnTo>
                  <a:lnTo>
                    <a:pt x="67" y="270"/>
                  </a:lnTo>
                  <a:lnTo>
                    <a:pt x="68" y="270"/>
                  </a:lnTo>
                  <a:lnTo>
                    <a:pt x="69" y="270"/>
                  </a:lnTo>
                  <a:lnTo>
                    <a:pt x="69" y="268"/>
                  </a:lnTo>
                  <a:lnTo>
                    <a:pt x="70" y="270"/>
                  </a:lnTo>
                  <a:lnTo>
                    <a:pt x="69" y="271"/>
                  </a:lnTo>
                  <a:lnTo>
                    <a:pt x="69" y="272"/>
                  </a:lnTo>
                  <a:lnTo>
                    <a:pt x="70" y="272"/>
                  </a:lnTo>
                  <a:lnTo>
                    <a:pt x="70" y="273"/>
                  </a:lnTo>
                  <a:lnTo>
                    <a:pt x="69" y="273"/>
                  </a:lnTo>
                  <a:lnTo>
                    <a:pt x="68" y="273"/>
                  </a:lnTo>
                  <a:lnTo>
                    <a:pt x="67" y="273"/>
                  </a:lnTo>
                  <a:lnTo>
                    <a:pt x="67" y="274"/>
                  </a:lnTo>
                  <a:lnTo>
                    <a:pt x="65" y="274"/>
                  </a:lnTo>
                  <a:lnTo>
                    <a:pt x="65" y="276"/>
                  </a:lnTo>
                  <a:lnTo>
                    <a:pt x="67" y="276"/>
                  </a:lnTo>
                  <a:lnTo>
                    <a:pt x="67" y="277"/>
                  </a:lnTo>
                  <a:lnTo>
                    <a:pt x="68" y="277"/>
                  </a:lnTo>
                  <a:lnTo>
                    <a:pt x="69" y="278"/>
                  </a:lnTo>
                  <a:lnTo>
                    <a:pt x="70" y="277"/>
                  </a:lnTo>
                  <a:lnTo>
                    <a:pt x="71" y="277"/>
                  </a:lnTo>
                  <a:lnTo>
                    <a:pt x="73" y="276"/>
                  </a:lnTo>
                  <a:lnTo>
                    <a:pt x="73" y="274"/>
                  </a:lnTo>
                  <a:lnTo>
                    <a:pt x="74" y="274"/>
                  </a:lnTo>
                  <a:lnTo>
                    <a:pt x="74" y="273"/>
                  </a:lnTo>
                  <a:lnTo>
                    <a:pt x="75" y="272"/>
                  </a:lnTo>
                  <a:lnTo>
                    <a:pt x="75" y="271"/>
                  </a:lnTo>
                  <a:lnTo>
                    <a:pt x="76" y="270"/>
                  </a:lnTo>
                  <a:lnTo>
                    <a:pt x="76" y="268"/>
                  </a:lnTo>
                  <a:lnTo>
                    <a:pt x="76" y="267"/>
                  </a:lnTo>
                  <a:lnTo>
                    <a:pt x="77" y="267"/>
                  </a:lnTo>
                  <a:lnTo>
                    <a:pt x="77" y="268"/>
                  </a:lnTo>
                  <a:lnTo>
                    <a:pt x="77" y="270"/>
                  </a:lnTo>
                  <a:lnTo>
                    <a:pt x="77" y="271"/>
                  </a:lnTo>
                  <a:lnTo>
                    <a:pt x="76" y="272"/>
                  </a:lnTo>
                  <a:lnTo>
                    <a:pt x="76" y="273"/>
                  </a:lnTo>
                  <a:lnTo>
                    <a:pt x="77" y="273"/>
                  </a:lnTo>
                  <a:lnTo>
                    <a:pt x="79" y="273"/>
                  </a:lnTo>
                  <a:lnTo>
                    <a:pt x="79" y="274"/>
                  </a:lnTo>
                  <a:lnTo>
                    <a:pt x="80" y="274"/>
                  </a:lnTo>
                  <a:lnTo>
                    <a:pt x="81" y="273"/>
                  </a:lnTo>
                  <a:lnTo>
                    <a:pt x="81" y="272"/>
                  </a:lnTo>
                  <a:lnTo>
                    <a:pt x="80" y="272"/>
                  </a:lnTo>
                  <a:lnTo>
                    <a:pt x="81" y="272"/>
                  </a:lnTo>
                  <a:lnTo>
                    <a:pt x="82" y="272"/>
                  </a:lnTo>
                  <a:lnTo>
                    <a:pt x="83" y="273"/>
                  </a:lnTo>
                  <a:lnTo>
                    <a:pt x="83" y="274"/>
                  </a:lnTo>
                  <a:lnTo>
                    <a:pt x="83" y="276"/>
                  </a:lnTo>
                  <a:lnTo>
                    <a:pt x="85" y="276"/>
                  </a:lnTo>
                  <a:lnTo>
                    <a:pt x="86" y="276"/>
                  </a:lnTo>
                  <a:lnTo>
                    <a:pt x="86" y="274"/>
                  </a:lnTo>
                  <a:lnTo>
                    <a:pt x="87" y="274"/>
                  </a:lnTo>
                  <a:lnTo>
                    <a:pt x="88" y="274"/>
                  </a:lnTo>
                  <a:lnTo>
                    <a:pt x="88" y="273"/>
                  </a:lnTo>
                  <a:lnTo>
                    <a:pt x="89" y="272"/>
                  </a:lnTo>
                  <a:lnTo>
                    <a:pt x="88" y="272"/>
                  </a:lnTo>
                  <a:lnTo>
                    <a:pt x="87" y="273"/>
                  </a:lnTo>
                  <a:lnTo>
                    <a:pt x="87" y="272"/>
                  </a:lnTo>
                  <a:lnTo>
                    <a:pt x="88" y="271"/>
                  </a:lnTo>
                  <a:lnTo>
                    <a:pt x="89" y="271"/>
                  </a:lnTo>
                  <a:lnTo>
                    <a:pt x="91" y="271"/>
                  </a:lnTo>
                  <a:lnTo>
                    <a:pt x="91" y="270"/>
                  </a:lnTo>
                  <a:lnTo>
                    <a:pt x="91" y="268"/>
                  </a:lnTo>
                  <a:lnTo>
                    <a:pt x="89" y="268"/>
                  </a:lnTo>
                  <a:lnTo>
                    <a:pt x="91" y="267"/>
                  </a:lnTo>
                  <a:lnTo>
                    <a:pt x="91" y="266"/>
                  </a:lnTo>
                  <a:lnTo>
                    <a:pt x="91" y="265"/>
                  </a:lnTo>
                  <a:lnTo>
                    <a:pt x="92" y="265"/>
                  </a:lnTo>
                  <a:lnTo>
                    <a:pt x="92" y="264"/>
                  </a:lnTo>
                  <a:lnTo>
                    <a:pt x="93" y="264"/>
                  </a:lnTo>
                  <a:lnTo>
                    <a:pt x="93" y="262"/>
                  </a:lnTo>
                  <a:lnTo>
                    <a:pt x="92" y="262"/>
                  </a:lnTo>
                  <a:lnTo>
                    <a:pt x="92" y="261"/>
                  </a:lnTo>
                  <a:lnTo>
                    <a:pt x="92" y="260"/>
                  </a:lnTo>
                  <a:lnTo>
                    <a:pt x="93" y="261"/>
                  </a:lnTo>
                  <a:lnTo>
                    <a:pt x="94" y="261"/>
                  </a:lnTo>
                  <a:lnTo>
                    <a:pt x="94" y="262"/>
                  </a:lnTo>
                  <a:lnTo>
                    <a:pt x="94" y="264"/>
                  </a:lnTo>
                  <a:lnTo>
                    <a:pt x="94" y="265"/>
                  </a:lnTo>
                  <a:lnTo>
                    <a:pt x="96" y="265"/>
                  </a:lnTo>
                  <a:lnTo>
                    <a:pt x="96" y="266"/>
                  </a:lnTo>
                  <a:lnTo>
                    <a:pt x="98" y="266"/>
                  </a:lnTo>
                  <a:lnTo>
                    <a:pt x="99" y="266"/>
                  </a:lnTo>
                  <a:lnTo>
                    <a:pt x="99" y="265"/>
                  </a:lnTo>
                  <a:lnTo>
                    <a:pt x="99" y="264"/>
                  </a:lnTo>
                  <a:lnTo>
                    <a:pt x="98" y="262"/>
                  </a:lnTo>
                  <a:lnTo>
                    <a:pt x="97" y="262"/>
                  </a:lnTo>
                  <a:lnTo>
                    <a:pt x="96" y="261"/>
                  </a:lnTo>
                  <a:lnTo>
                    <a:pt x="94" y="260"/>
                  </a:lnTo>
                  <a:lnTo>
                    <a:pt x="94" y="259"/>
                  </a:lnTo>
                  <a:lnTo>
                    <a:pt x="96" y="259"/>
                  </a:lnTo>
                  <a:lnTo>
                    <a:pt x="96" y="258"/>
                  </a:lnTo>
                  <a:lnTo>
                    <a:pt x="97" y="258"/>
                  </a:lnTo>
                  <a:lnTo>
                    <a:pt x="98" y="256"/>
                  </a:lnTo>
                  <a:lnTo>
                    <a:pt x="99" y="256"/>
                  </a:lnTo>
                  <a:lnTo>
                    <a:pt x="99" y="255"/>
                  </a:lnTo>
                  <a:lnTo>
                    <a:pt x="98" y="256"/>
                  </a:lnTo>
                  <a:lnTo>
                    <a:pt x="97" y="256"/>
                  </a:lnTo>
                  <a:lnTo>
                    <a:pt x="97" y="255"/>
                  </a:lnTo>
                  <a:lnTo>
                    <a:pt x="98" y="255"/>
                  </a:lnTo>
                  <a:lnTo>
                    <a:pt x="99" y="255"/>
                  </a:lnTo>
                  <a:lnTo>
                    <a:pt x="100" y="255"/>
                  </a:lnTo>
                  <a:lnTo>
                    <a:pt x="102" y="255"/>
                  </a:lnTo>
                  <a:lnTo>
                    <a:pt x="103" y="255"/>
                  </a:lnTo>
                  <a:lnTo>
                    <a:pt x="103" y="254"/>
                  </a:lnTo>
                  <a:lnTo>
                    <a:pt x="102" y="254"/>
                  </a:lnTo>
                  <a:lnTo>
                    <a:pt x="100" y="254"/>
                  </a:lnTo>
                  <a:lnTo>
                    <a:pt x="102" y="253"/>
                  </a:lnTo>
                  <a:lnTo>
                    <a:pt x="103" y="254"/>
                  </a:lnTo>
                  <a:lnTo>
                    <a:pt x="104" y="255"/>
                  </a:lnTo>
                  <a:lnTo>
                    <a:pt x="105" y="255"/>
                  </a:lnTo>
                  <a:lnTo>
                    <a:pt x="106" y="254"/>
                  </a:lnTo>
                  <a:lnTo>
                    <a:pt x="106" y="253"/>
                  </a:lnTo>
                  <a:lnTo>
                    <a:pt x="105" y="253"/>
                  </a:lnTo>
                  <a:lnTo>
                    <a:pt x="105" y="252"/>
                  </a:lnTo>
                  <a:lnTo>
                    <a:pt x="104" y="252"/>
                  </a:lnTo>
                  <a:lnTo>
                    <a:pt x="103" y="252"/>
                  </a:lnTo>
                  <a:lnTo>
                    <a:pt x="102" y="252"/>
                  </a:lnTo>
                  <a:lnTo>
                    <a:pt x="100" y="252"/>
                  </a:lnTo>
                  <a:lnTo>
                    <a:pt x="99" y="250"/>
                  </a:lnTo>
                  <a:lnTo>
                    <a:pt x="99" y="249"/>
                  </a:lnTo>
                  <a:lnTo>
                    <a:pt x="99" y="250"/>
                  </a:lnTo>
                  <a:lnTo>
                    <a:pt x="102" y="250"/>
                  </a:lnTo>
                  <a:lnTo>
                    <a:pt x="103" y="250"/>
                  </a:lnTo>
                  <a:lnTo>
                    <a:pt x="104" y="249"/>
                  </a:lnTo>
                  <a:lnTo>
                    <a:pt x="104" y="248"/>
                  </a:lnTo>
                  <a:lnTo>
                    <a:pt x="104" y="247"/>
                  </a:lnTo>
                  <a:lnTo>
                    <a:pt x="103" y="247"/>
                  </a:lnTo>
                  <a:lnTo>
                    <a:pt x="103" y="248"/>
                  </a:lnTo>
                  <a:lnTo>
                    <a:pt x="102" y="247"/>
                  </a:lnTo>
                  <a:lnTo>
                    <a:pt x="102" y="248"/>
                  </a:lnTo>
                  <a:lnTo>
                    <a:pt x="100" y="248"/>
                  </a:lnTo>
                  <a:lnTo>
                    <a:pt x="99" y="248"/>
                  </a:lnTo>
                  <a:lnTo>
                    <a:pt x="98" y="249"/>
                  </a:lnTo>
                  <a:lnTo>
                    <a:pt x="98" y="250"/>
                  </a:lnTo>
                  <a:lnTo>
                    <a:pt x="97" y="250"/>
                  </a:lnTo>
                  <a:lnTo>
                    <a:pt x="98" y="249"/>
                  </a:lnTo>
                  <a:lnTo>
                    <a:pt x="98" y="248"/>
                  </a:lnTo>
                  <a:lnTo>
                    <a:pt x="99" y="247"/>
                  </a:lnTo>
                  <a:lnTo>
                    <a:pt x="100" y="247"/>
                  </a:lnTo>
                  <a:lnTo>
                    <a:pt x="99" y="246"/>
                  </a:lnTo>
                  <a:lnTo>
                    <a:pt x="98" y="247"/>
                  </a:lnTo>
                  <a:lnTo>
                    <a:pt x="98" y="246"/>
                  </a:lnTo>
                  <a:lnTo>
                    <a:pt x="97" y="244"/>
                  </a:lnTo>
                  <a:lnTo>
                    <a:pt x="97" y="246"/>
                  </a:lnTo>
                  <a:lnTo>
                    <a:pt x="97" y="247"/>
                  </a:lnTo>
                  <a:lnTo>
                    <a:pt x="96" y="247"/>
                  </a:lnTo>
                  <a:lnTo>
                    <a:pt x="96" y="246"/>
                  </a:lnTo>
                  <a:lnTo>
                    <a:pt x="96" y="244"/>
                  </a:lnTo>
                  <a:lnTo>
                    <a:pt x="94" y="244"/>
                  </a:lnTo>
                  <a:lnTo>
                    <a:pt x="94" y="243"/>
                  </a:lnTo>
                  <a:lnTo>
                    <a:pt x="93" y="242"/>
                  </a:lnTo>
                  <a:lnTo>
                    <a:pt x="93" y="241"/>
                  </a:lnTo>
                  <a:lnTo>
                    <a:pt x="94" y="240"/>
                  </a:lnTo>
                  <a:lnTo>
                    <a:pt x="96" y="241"/>
                  </a:lnTo>
                  <a:lnTo>
                    <a:pt x="97" y="241"/>
                  </a:lnTo>
                  <a:lnTo>
                    <a:pt x="97" y="242"/>
                  </a:lnTo>
                  <a:lnTo>
                    <a:pt x="98" y="242"/>
                  </a:lnTo>
                  <a:lnTo>
                    <a:pt x="99" y="242"/>
                  </a:lnTo>
                  <a:lnTo>
                    <a:pt x="99" y="241"/>
                  </a:lnTo>
                  <a:lnTo>
                    <a:pt x="99" y="240"/>
                  </a:lnTo>
                  <a:lnTo>
                    <a:pt x="100" y="240"/>
                  </a:lnTo>
                  <a:lnTo>
                    <a:pt x="99" y="240"/>
                  </a:lnTo>
                  <a:lnTo>
                    <a:pt x="98" y="240"/>
                  </a:lnTo>
                  <a:lnTo>
                    <a:pt x="97" y="240"/>
                  </a:lnTo>
                  <a:lnTo>
                    <a:pt x="96" y="240"/>
                  </a:lnTo>
                  <a:lnTo>
                    <a:pt x="94" y="238"/>
                  </a:lnTo>
                  <a:lnTo>
                    <a:pt x="93" y="237"/>
                  </a:lnTo>
                  <a:lnTo>
                    <a:pt x="93" y="236"/>
                  </a:lnTo>
                  <a:lnTo>
                    <a:pt x="93" y="235"/>
                  </a:lnTo>
                  <a:lnTo>
                    <a:pt x="92" y="235"/>
                  </a:lnTo>
                  <a:lnTo>
                    <a:pt x="91" y="234"/>
                  </a:lnTo>
                  <a:lnTo>
                    <a:pt x="91" y="232"/>
                  </a:lnTo>
                  <a:lnTo>
                    <a:pt x="91" y="231"/>
                  </a:lnTo>
                  <a:lnTo>
                    <a:pt x="91" y="230"/>
                  </a:lnTo>
                  <a:lnTo>
                    <a:pt x="91" y="229"/>
                  </a:lnTo>
                  <a:lnTo>
                    <a:pt x="92" y="228"/>
                  </a:lnTo>
                  <a:lnTo>
                    <a:pt x="92" y="226"/>
                  </a:lnTo>
                  <a:lnTo>
                    <a:pt x="93" y="225"/>
                  </a:lnTo>
                  <a:lnTo>
                    <a:pt x="94" y="226"/>
                  </a:lnTo>
                  <a:lnTo>
                    <a:pt x="96" y="228"/>
                  </a:lnTo>
                  <a:lnTo>
                    <a:pt x="94" y="229"/>
                  </a:lnTo>
                  <a:lnTo>
                    <a:pt x="94" y="228"/>
                  </a:lnTo>
                  <a:lnTo>
                    <a:pt x="93" y="228"/>
                  </a:lnTo>
                  <a:lnTo>
                    <a:pt x="93" y="229"/>
                  </a:lnTo>
                  <a:lnTo>
                    <a:pt x="92" y="229"/>
                  </a:lnTo>
                  <a:lnTo>
                    <a:pt x="93" y="229"/>
                  </a:lnTo>
                  <a:lnTo>
                    <a:pt x="93" y="230"/>
                  </a:lnTo>
                  <a:lnTo>
                    <a:pt x="93" y="231"/>
                  </a:lnTo>
                  <a:lnTo>
                    <a:pt x="94" y="231"/>
                  </a:lnTo>
                  <a:lnTo>
                    <a:pt x="94" y="230"/>
                  </a:lnTo>
                  <a:lnTo>
                    <a:pt x="96" y="229"/>
                  </a:lnTo>
                  <a:lnTo>
                    <a:pt x="97" y="229"/>
                  </a:lnTo>
                  <a:lnTo>
                    <a:pt x="98" y="229"/>
                  </a:lnTo>
                  <a:lnTo>
                    <a:pt x="99" y="229"/>
                  </a:lnTo>
                  <a:lnTo>
                    <a:pt x="100" y="229"/>
                  </a:lnTo>
                  <a:lnTo>
                    <a:pt x="100" y="230"/>
                  </a:lnTo>
                  <a:lnTo>
                    <a:pt x="100" y="231"/>
                  </a:lnTo>
                  <a:lnTo>
                    <a:pt x="99" y="231"/>
                  </a:lnTo>
                  <a:lnTo>
                    <a:pt x="98" y="231"/>
                  </a:lnTo>
                  <a:lnTo>
                    <a:pt x="97" y="231"/>
                  </a:lnTo>
                  <a:lnTo>
                    <a:pt x="97" y="232"/>
                  </a:lnTo>
                  <a:lnTo>
                    <a:pt x="98" y="234"/>
                  </a:lnTo>
                  <a:lnTo>
                    <a:pt x="99" y="235"/>
                  </a:lnTo>
                  <a:lnTo>
                    <a:pt x="100" y="235"/>
                  </a:lnTo>
                  <a:lnTo>
                    <a:pt x="102" y="235"/>
                  </a:lnTo>
                  <a:lnTo>
                    <a:pt x="100" y="234"/>
                  </a:lnTo>
                  <a:lnTo>
                    <a:pt x="102" y="234"/>
                  </a:lnTo>
                  <a:lnTo>
                    <a:pt x="102" y="232"/>
                  </a:lnTo>
                  <a:lnTo>
                    <a:pt x="102" y="231"/>
                  </a:lnTo>
                  <a:lnTo>
                    <a:pt x="103" y="230"/>
                  </a:lnTo>
                  <a:lnTo>
                    <a:pt x="104" y="231"/>
                  </a:lnTo>
                  <a:lnTo>
                    <a:pt x="105" y="231"/>
                  </a:lnTo>
                  <a:lnTo>
                    <a:pt x="106" y="231"/>
                  </a:lnTo>
                  <a:lnTo>
                    <a:pt x="108" y="231"/>
                  </a:lnTo>
                  <a:lnTo>
                    <a:pt x="108" y="230"/>
                  </a:lnTo>
                  <a:lnTo>
                    <a:pt x="108" y="229"/>
                  </a:lnTo>
                  <a:lnTo>
                    <a:pt x="106" y="229"/>
                  </a:lnTo>
                  <a:lnTo>
                    <a:pt x="105" y="229"/>
                  </a:lnTo>
                  <a:lnTo>
                    <a:pt x="106" y="229"/>
                  </a:lnTo>
                  <a:lnTo>
                    <a:pt x="108" y="229"/>
                  </a:lnTo>
                  <a:lnTo>
                    <a:pt x="109" y="229"/>
                  </a:lnTo>
                  <a:lnTo>
                    <a:pt x="110" y="228"/>
                  </a:lnTo>
                  <a:lnTo>
                    <a:pt x="111" y="229"/>
                  </a:lnTo>
                  <a:lnTo>
                    <a:pt x="112" y="228"/>
                  </a:lnTo>
                  <a:lnTo>
                    <a:pt x="111" y="228"/>
                  </a:lnTo>
                  <a:lnTo>
                    <a:pt x="111" y="226"/>
                  </a:lnTo>
                  <a:lnTo>
                    <a:pt x="112" y="226"/>
                  </a:lnTo>
                  <a:lnTo>
                    <a:pt x="114" y="226"/>
                  </a:lnTo>
                  <a:lnTo>
                    <a:pt x="114" y="228"/>
                  </a:lnTo>
                  <a:lnTo>
                    <a:pt x="112" y="229"/>
                  </a:lnTo>
                  <a:lnTo>
                    <a:pt x="114" y="229"/>
                  </a:lnTo>
                  <a:lnTo>
                    <a:pt x="115" y="228"/>
                  </a:lnTo>
                  <a:lnTo>
                    <a:pt x="115" y="226"/>
                  </a:lnTo>
                  <a:lnTo>
                    <a:pt x="115" y="225"/>
                  </a:lnTo>
                  <a:lnTo>
                    <a:pt x="115" y="226"/>
                  </a:lnTo>
                  <a:lnTo>
                    <a:pt x="116" y="226"/>
                  </a:lnTo>
                  <a:lnTo>
                    <a:pt x="115" y="228"/>
                  </a:lnTo>
                  <a:lnTo>
                    <a:pt x="115" y="229"/>
                  </a:lnTo>
                  <a:lnTo>
                    <a:pt x="114" y="229"/>
                  </a:lnTo>
                  <a:lnTo>
                    <a:pt x="114" y="230"/>
                  </a:lnTo>
                  <a:lnTo>
                    <a:pt x="112" y="231"/>
                  </a:lnTo>
                  <a:lnTo>
                    <a:pt x="114" y="231"/>
                  </a:lnTo>
                  <a:lnTo>
                    <a:pt x="115" y="230"/>
                  </a:lnTo>
                  <a:lnTo>
                    <a:pt x="115" y="231"/>
                  </a:lnTo>
                  <a:lnTo>
                    <a:pt x="114" y="232"/>
                  </a:lnTo>
                  <a:lnTo>
                    <a:pt x="115" y="232"/>
                  </a:lnTo>
                  <a:lnTo>
                    <a:pt x="115" y="234"/>
                  </a:lnTo>
                  <a:lnTo>
                    <a:pt x="114" y="238"/>
                  </a:lnTo>
                  <a:lnTo>
                    <a:pt x="114" y="240"/>
                  </a:lnTo>
                  <a:lnTo>
                    <a:pt x="114" y="241"/>
                  </a:lnTo>
                  <a:lnTo>
                    <a:pt x="114" y="242"/>
                  </a:lnTo>
                  <a:lnTo>
                    <a:pt x="114" y="243"/>
                  </a:lnTo>
                  <a:lnTo>
                    <a:pt x="115" y="244"/>
                  </a:lnTo>
                  <a:lnTo>
                    <a:pt x="114" y="244"/>
                  </a:lnTo>
                  <a:lnTo>
                    <a:pt x="115" y="246"/>
                  </a:lnTo>
                  <a:lnTo>
                    <a:pt x="116" y="246"/>
                  </a:lnTo>
                  <a:lnTo>
                    <a:pt x="116" y="247"/>
                  </a:lnTo>
                  <a:lnTo>
                    <a:pt x="116" y="248"/>
                  </a:lnTo>
                  <a:lnTo>
                    <a:pt x="117" y="248"/>
                  </a:lnTo>
                  <a:lnTo>
                    <a:pt x="117" y="250"/>
                  </a:lnTo>
                  <a:lnTo>
                    <a:pt x="117" y="252"/>
                  </a:lnTo>
                  <a:lnTo>
                    <a:pt x="117" y="254"/>
                  </a:lnTo>
                  <a:lnTo>
                    <a:pt x="117" y="255"/>
                  </a:lnTo>
                  <a:lnTo>
                    <a:pt x="116" y="258"/>
                  </a:lnTo>
                  <a:lnTo>
                    <a:pt x="116" y="259"/>
                  </a:lnTo>
                  <a:lnTo>
                    <a:pt x="116" y="260"/>
                  </a:lnTo>
                  <a:lnTo>
                    <a:pt x="117" y="260"/>
                  </a:lnTo>
                  <a:lnTo>
                    <a:pt x="117" y="259"/>
                  </a:lnTo>
                  <a:lnTo>
                    <a:pt x="117" y="258"/>
                  </a:lnTo>
                  <a:lnTo>
                    <a:pt x="117" y="256"/>
                  </a:lnTo>
                  <a:lnTo>
                    <a:pt x="118" y="255"/>
                  </a:lnTo>
                  <a:lnTo>
                    <a:pt x="120" y="256"/>
                  </a:lnTo>
                  <a:lnTo>
                    <a:pt x="120" y="258"/>
                  </a:lnTo>
                  <a:lnTo>
                    <a:pt x="121" y="259"/>
                  </a:lnTo>
                  <a:lnTo>
                    <a:pt x="121" y="260"/>
                  </a:lnTo>
                  <a:lnTo>
                    <a:pt x="121" y="261"/>
                  </a:lnTo>
                  <a:lnTo>
                    <a:pt x="122" y="262"/>
                  </a:lnTo>
                  <a:lnTo>
                    <a:pt x="122" y="264"/>
                  </a:lnTo>
                  <a:lnTo>
                    <a:pt x="123" y="265"/>
                  </a:lnTo>
                  <a:lnTo>
                    <a:pt x="124" y="266"/>
                  </a:lnTo>
                  <a:lnTo>
                    <a:pt x="124" y="267"/>
                  </a:lnTo>
                  <a:lnTo>
                    <a:pt x="126" y="268"/>
                  </a:lnTo>
                  <a:lnTo>
                    <a:pt x="126" y="267"/>
                  </a:lnTo>
                  <a:lnTo>
                    <a:pt x="126" y="266"/>
                  </a:lnTo>
                  <a:lnTo>
                    <a:pt x="123" y="262"/>
                  </a:lnTo>
                  <a:lnTo>
                    <a:pt x="122" y="260"/>
                  </a:lnTo>
                  <a:lnTo>
                    <a:pt x="122" y="259"/>
                  </a:lnTo>
                  <a:lnTo>
                    <a:pt x="121" y="258"/>
                  </a:lnTo>
                  <a:lnTo>
                    <a:pt x="120" y="256"/>
                  </a:lnTo>
                  <a:lnTo>
                    <a:pt x="120" y="255"/>
                  </a:lnTo>
                  <a:lnTo>
                    <a:pt x="118" y="253"/>
                  </a:lnTo>
                  <a:lnTo>
                    <a:pt x="118" y="252"/>
                  </a:lnTo>
                  <a:lnTo>
                    <a:pt x="118" y="248"/>
                  </a:lnTo>
                  <a:lnTo>
                    <a:pt x="117" y="246"/>
                  </a:lnTo>
                  <a:lnTo>
                    <a:pt x="116" y="243"/>
                  </a:lnTo>
                  <a:lnTo>
                    <a:pt x="115" y="242"/>
                  </a:lnTo>
                  <a:lnTo>
                    <a:pt x="115" y="240"/>
                  </a:lnTo>
                  <a:lnTo>
                    <a:pt x="115" y="238"/>
                  </a:lnTo>
                  <a:lnTo>
                    <a:pt x="116" y="235"/>
                  </a:lnTo>
                  <a:lnTo>
                    <a:pt x="117" y="232"/>
                  </a:lnTo>
                  <a:lnTo>
                    <a:pt x="117" y="230"/>
                  </a:lnTo>
                  <a:lnTo>
                    <a:pt x="117" y="226"/>
                  </a:lnTo>
                  <a:lnTo>
                    <a:pt x="117" y="225"/>
                  </a:lnTo>
                  <a:lnTo>
                    <a:pt x="117" y="224"/>
                  </a:lnTo>
                  <a:lnTo>
                    <a:pt x="118" y="220"/>
                  </a:lnTo>
                  <a:lnTo>
                    <a:pt x="118" y="219"/>
                  </a:lnTo>
                  <a:lnTo>
                    <a:pt x="120" y="219"/>
                  </a:lnTo>
                  <a:lnTo>
                    <a:pt x="120" y="220"/>
                  </a:lnTo>
                  <a:lnTo>
                    <a:pt x="120" y="222"/>
                  </a:lnTo>
                  <a:lnTo>
                    <a:pt x="120" y="223"/>
                  </a:lnTo>
                  <a:lnTo>
                    <a:pt x="118" y="224"/>
                  </a:lnTo>
                  <a:lnTo>
                    <a:pt x="118" y="225"/>
                  </a:lnTo>
                  <a:lnTo>
                    <a:pt x="117" y="226"/>
                  </a:lnTo>
                  <a:lnTo>
                    <a:pt x="117" y="228"/>
                  </a:lnTo>
                  <a:lnTo>
                    <a:pt x="117" y="230"/>
                  </a:lnTo>
                  <a:lnTo>
                    <a:pt x="117" y="231"/>
                  </a:lnTo>
                  <a:lnTo>
                    <a:pt x="117" y="232"/>
                  </a:lnTo>
                  <a:lnTo>
                    <a:pt x="117" y="234"/>
                  </a:lnTo>
                  <a:lnTo>
                    <a:pt x="117" y="236"/>
                  </a:lnTo>
                  <a:lnTo>
                    <a:pt x="117" y="237"/>
                  </a:lnTo>
                  <a:lnTo>
                    <a:pt x="116" y="238"/>
                  </a:lnTo>
                  <a:lnTo>
                    <a:pt x="116" y="240"/>
                  </a:lnTo>
                  <a:lnTo>
                    <a:pt x="116" y="241"/>
                  </a:lnTo>
                  <a:lnTo>
                    <a:pt x="117" y="242"/>
                  </a:lnTo>
                  <a:lnTo>
                    <a:pt x="116" y="243"/>
                  </a:lnTo>
                  <a:lnTo>
                    <a:pt x="117" y="243"/>
                  </a:lnTo>
                  <a:lnTo>
                    <a:pt x="118" y="243"/>
                  </a:lnTo>
                  <a:lnTo>
                    <a:pt x="120" y="243"/>
                  </a:lnTo>
                  <a:lnTo>
                    <a:pt x="118" y="243"/>
                  </a:lnTo>
                  <a:lnTo>
                    <a:pt x="118" y="242"/>
                  </a:lnTo>
                  <a:lnTo>
                    <a:pt x="120" y="242"/>
                  </a:lnTo>
                  <a:lnTo>
                    <a:pt x="118" y="241"/>
                  </a:lnTo>
                  <a:lnTo>
                    <a:pt x="120" y="241"/>
                  </a:lnTo>
                  <a:lnTo>
                    <a:pt x="121" y="241"/>
                  </a:lnTo>
                  <a:lnTo>
                    <a:pt x="120" y="241"/>
                  </a:lnTo>
                  <a:lnTo>
                    <a:pt x="118" y="240"/>
                  </a:lnTo>
                  <a:lnTo>
                    <a:pt x="120" y="240"/>
                  </a:lnTo>
                  <a:lnTo>
                    <a:pt x="120" y="238"/>
                  </a:lnTo>
                  <a:lnTo>
                    <a:pt x="118" y="238"/>
                  </a:lnTo>
                  <a:lnTo>
                    <a:pt x="118" y="237"/>
                  </a:lnTo>
                  <a:lnTo>
                    <a:pt x="118" y="236"/>
                  </a:lnTo>
                  <a:lnTo>
                    <a:pt x="118" y="235"/>
                  </a:lnTo>
                  <a:lnTo>
                    <a:pt x="118" y="234"/>
                  </a:lnTo>
                  <a:lnTo>
                    <a:pt x="118" y="231"/>
                  </a:lnTo>
                  <a:lnTo>
                    <a:pt x="118" y="230"/>
                  </a:lnTo>
                  <a:lnTo>
                    <a:pt x="118" y="228"/>
                  </a:lnTo>
                  <a:lnTo>
                    <a:pt x="118" y="225"/>
                  </a:lnTo>
                  <a:lnTo>
                    <a:pt x="120" y="225"/>
                  </a:lnTo>
                  <a:lnTo>
                    <a:pt x="120" y="224"/>
                  </a:lnTo>
                  <a:lnTo>
                    <a:pt x="121" y="225"/>
                  </a:lnTo>
                  <a:lnTo>
                    <a:pt x="121" y="226"/>
                  </a:lnTo>
                  <a:lnTo>
                    <a:pt x="121" y="228"/>
                  </a:lnTo>
                  <a:lnTo>
                    <a:pt x="121" y="229"/>
                  </a:lnTo>
                  <a:lnTo>
                    <a:pt x="121" y="228"/>
                  </a:lnTo>
                  <a:lnTo>
                    <a:pt x="121" y="226"/>
                  </a:lnTo>
                  <a:lnTo>
                    <a:pt x="121" y="229"/>
                  </a:lnTo>
                  <a:lnTo>
                    <a:pt x="121" y="230"/>
                  </a:lnTo>
                  <a:lnTo>
                    <a:pt x="121" y="231"/>
                  </a:lnTo>
                  <a:lnTo>
                    <a:pt x="121" y="232"/>
                  </a:lnTo>
                  <a:lnTo>
                    <a:pt x="120" y="232"/>
                  </a:lnTo>
                  <a:lnTo>
                    <a:pt x="121" y="234"/>
                  </a:lnTo>
                  <a:lnTo>
                    <a:pt x="122" y="232"/>
                  </a:lnTo>
                  <a:lnTo>
                    <a:pt x="122" y="231"/>
                  </a:lnTo>
                  <a:lnTo>
                    <a:pt x="123" y="231"/>
                  </a:lnTo>
                  <a:lnTo>
                    <a:pt x="123" y="232"/>
                  </a:lnTo>
                  <a:lnTo>
                    <a:pt x="123" y="234"/>
                  </a:lnTo>
                  <a:lnTo>
                    <a:pt x="123" y="235"/>
                  </a:lnTo>
                  <a:lnTo>
                    <a:pt x="123" y="234"/>
                  </a:lnTo>
                  <a:lnTo>
                    <a:pt x="124" y="232"/>
                  </a:lnTo>
                  <a:lnTo>
                    <a:pt x="124" y="231"/>
                  </a:lnTo>
                  <a:lnTo>
                    <a:pt x="123" y="231"/>
                  </a:lnTo>
                  <a:lnTo>
                    <a:pt x="122" y="230"/>
                  </a:lnTo>
                  <a:lnTo>
                    <a:pt x="122" y="229"/>
                  </a:lnTo>
                  <a:lnTo>
                    <a:pt x="122" y="228"/>
                  </a:lnTo>
                  <a:lnTo>
                    <a:pt x="122" y="226"/>
                  </a:lnTo>
                  <a:lnTo>
                    <a:pt x="122" y="225"/>
                  </a:lnTo>
                  <a:lnTo>
                    <a:pt x="122" y="224"/>
                  </a:lnTo>
                  <a:lnTo>
                    <a:pt x="121" y="224"/>
                  </a:lnTo>
                  <a:lnTo>
                    <a:pt x="121" y="223"/>
                  </a:lnTo>
                  <a:lnTo>
                    <a:pt x="121" y="222"/>
                  </a:lnTo>
                  <a:lnTo>
                    <a:pt x="121" y="220"/>
                  </a:lnTo>
                  <a:lnTo>
                    <a:pt x="122" y="222"/>
                  </a:lnTo>
                  <a:lnTo>
                    <a:pt x="122" y="223"/>
                  </a:lnTo>
                  <a:lnTo>
                    <a:pt x="122" y="224"/>
                  </a:lnTo>
                  <a:lnTo>
                    <a:pt x="123" y="224"/>
                  </a:lnTo>
                  <a:lnTo>
                    <a:pt x="124" y="224"/>
                  </a:lnTo>
                  <a:lnTo>
                    <a:pt x="124" y="223"/>
                  </a:lnTo>
                  <a:lnTo>
                    <a:pt x="123" y="222"/>
                  </a:lnTo>
                  <a:lnTo>
                    <a:pt x="124" y="222"/>
                  </a:lnTo>
                  <a:lnTo>
                    <a:pt x="124" y="223"/>
                  </a:lnTo>
                  <a:lnTo>
                    <a:pt x="126" y="224"/>
                  </a:lnTo>
                  <a:lnTo>
                    <a:pt x="124" y="224"/>
                  </a:lnTo>
                  <a:lnTo>
                    <a:pt x="123" y="224"/>
                  </a:lnTo>
                  <a:lnTo>
                    <a:pt x="123" y="225"/>
                  </a:lnTo>
                  <a:lnTo>
                    <a:pt x="124" y="226"/>
                  </a:lnTo>
                  <a:lnTo>
                    <a:pt x="126" y="226"/>
                  </a:lnTo>
                  <a:lnTo>
                    <a:pt x="127" y="225"/>
                  </a:lnTo>
                  <a:lnTo>
                    <a:pt x="129" y="225"/>
                  </a:lnTo>
                  <a:lnTo>
                    <a:pt x="129" y="224"/>
                  </a:lnTo>
                  <a:lnTo>
                    <a:pt x="130" y="224"/>
                  </a:lnTo>
                  <a:lnTo>
                    <a:pt x="130" y="225"/>
                  </a:lnTo>
                  <a:lnTo>
                    <a:pt x="132" y="225"/>
                  </a:lnTo>
                  <a:lnTo>
                    <a:pt x="130" y="225"/>
                  </a:lnTo>
                  <a:lnTo>
                    <a:pt x="130" y="226"/>
                  </a:lnTo>
                  <a:lnTo>
                    <a:pt x="129" y="226"/>
                  </a:lnTo>
                  <a:lnTo>
                    <a:pt x="128" y="226"/>
                  </a:lnTo>
                  <a:lnTo>
                    <a:pt x="129" y="226"/>
                  </a:lnTo>
                  <a:lnTo>
                    <a:pt x="129" y="228"/>
                  </a:lnTo>
                  <a:lnTo>
                    <a:pt x="129" y="229"/>
                  </a:lnTo>
                  <a:lnTo>
                    <a:pt x="128" y="229"/>
                  </a:lnTo>
                  <a:lnTo>
                    <a:pt x="128" y="230"/>
                  </a:lnTo>
                  <a:lnTo>
                    <a:pt x="128" y="229"/>
                  </a:lnTo>
                  <a:lnTo>
                    <a:pt x="127" y="229"/>
                  </a:lnTo>
                  <a:lnTo>
                    <a:pt x="126" y="230"/>
                  </a:lnTo>
                  <a:lnTo>
                    <a:pt x="126" y="231"/>
                  </a:lnTo>
                  <a:lnTo>
                    <a:pt x="127" y="231"/>
                  </a:lnTo>
                  <a:lnTo>
                    <a:pt x="128" y="232"/>
                  </a:lnTo>
                  <a:lnTo>
                    <a:pt x="128" y="234"/>
                  </a:lnTo>
                  <a:lnTo>
                    <a:pt x="127" y="234"/>
                  </a:lnTo>
                  <a:lnTo>
                    <a:pt x="126" y="234"/>
                  </a:lnTo>
                  <a:lnTo>
                    <a:pt x="124" y="234"/>
                  </a:lnTo>
                  <a:lnTo>
                    <a:pt x="124" y="235"/>
                  </a:lnTo>
                  <a:lnTo>
                    <a:pt x="123" y="235"/>
                  </a:lnTo>
                  <a:lnTo>
                    <a:pt x="122" y="235"/>
                  </a:lnTo>
                  <a:lnTo>
                    <a:pt x="122" y="236"/>
                  </a:lnTo>
                  <a:lnTo>
                    <a:pt x="122" y="237"/>
                  </a:lnTo>
                  <a:lnTo>
                    <a:pt x="123" y="237"/>
                  </a:lnTo>
                  <a:lnTo>
                    <a:pt x="124" y="237"/>
                  </a:lnTo>
                  <a:lnTo>
                    <a:pt x="123" y="237"/>
                  </a:lnTo>
                  <a:lnTo>
                    <a:pt x="123" y="238"/>
                  </a:lnTo>
                  <a:lnTo>
                    <a:pt x="123" y="240"/>
                  </a:lnTo>
                  <a:lnTo>
                    <a:pt x="124" y="240"/>
                  </a:lnTo>
                  <a:lnTo>
                    <a:pt x="126" y="240"/>
                  </a:lnTo>
                  <a:lnTo>
                    <a:pt x="126" y="238"/>
                  </a:lnTo>
                  <a:lnTo>
                    <a:pt x="126" y="237"/>
                  </a:lnTo>
                  <a:lnTo>
                    <a:pt x="127" y="237"/>
                  </a:lnTo>
                  <a:lnTo>
                    <a:pt x="128" y="236"/>
                  </a:lnTo>
                  <a:lnTo>
                    <a:pt x="129" y="236"/>
                  </a:lnTo>
                  <a:lnTo>
                    <a:pt x="129" y="235"/>
                  </a:lnTo>
                  <a:lnTo>
                    <a:pt x="129" y="234"/>
                  </a:lnTo>
                  <a:lnTo>
                    <a:pt x="130" y="232"/>
                  </a:lnTo>
                  <a:lnTo>
                    <a:pt x="132" y="231"/>
                  </a:lnTo>
                  <a:lnTo>
                    <a:pt x="132" y="230"/>
                  </a:lnTo>
                  <a:lnTo>
                    <a:pt x="132" y="229"/>
                  </a:lnTo>
                  <a:lnTo>
                    <a:pt x="132" y="228"/>
                  </a:lnTo>
                  <a:lnTo>
                    <a:pt x="133" y="228"/>
                  </a:lnTo>
                  <a:lnTo>
                    <a:pt x="134" y="226"/>
                  </a:lnTo>
                  <a:lnTo>
                    <a:pt x="134" y="228"/>
                  </a:lnTo>
                  <a:lnTo>
                    <a:pt x="135" y="229"/>
                  </a:lnTo>
                  <a:lnTo>
                    <a:pt x="134" y="229"/>
                  </a:lnTo>
                  <a:lnTo>
                    <a:pt x="134" y="228"/>
                  </a:lnTo>
                  <a:lnTo>
                    <a:pt x="133" y="228"/>
                  </a:lnTo>
                  <a:lnTo>
                    <a:pt x="132" y="229"/>
                  </a:lnTo>
                  <a:lnTo>
                    <a:pt x="133" y="229"/>
                  </a:lnTo>
                  <a:lnTo>
                    <a:pt x="132" y="230"/>
                  </a:lnTo>
                  <a:lnTo>
                    <a:pt x="132" y="231"/>
                  </a:lnTo>
                  <a:lnTo>
                    <a:pt x="132" y="232"/>
                  </a:lnTo>
                  <a:lnTo>
                    <a:pt x="132" y="234"/>
                  </a:lnTo>
                  <a:lnTo>
                    <a:pt x="130" y="234"/>
                  </a:lnTo>
                  <a:lnTo>
                    <a:pt x="130" y="236"/>
                  </a:lnTo>
                  <a:lnTo>
                    <a:pt x="129" y="237"/>
                  </a:lnTo>
                  <a:lnTo>
                    <a:pt x="129" y="238"/>
                  </a:lnTo>
                  <a:lnTo>
                    <a:pt x="130" y="238"/>
                  </a:lnTo>
                  <a:lnTo>
                    <a:pt x="132" y="238"/>
                  </a:lnTo>
                  <a:lnTo>
                    <a:pt x="132" y="237"/>
                  </a:lnTo>
                  <a:lnTo>
                    <a:pt x="133" y="237"/>
                  </a:lnTo>
                  <a:lnTo>
                    <a:pt x="134" y="237"/>
                  </a:lnTo>
                  <a:lnTo>
                    <a:pt x="133" y="237"/>
                  </a:lnTo>
                  <a:lnTo>
                    <a:pt x="134" y="238"/>
                  </a:lnTo>
                  <a:lnTo>
                    <a:pt x="134" y="237"/>
                  </a:lnTo>
                  <a:lnTo>
                    <a:pt x="135" y="237"/>
                  </a:lnTo>
                  <a:lnTo>
                    <a:pt x="135" y="236"/>
                  </a:lnTo>
                  <a:lnTo>
                    <a:pt x="136" y="236"/>
                  </a:lnTo>
                  <a:lnTo>
                    <a:pt x="136" y="235"/>
                  </a:lnTo>
                  <a:lnTo>
                    <a:pt x="138" y="235"/>
                  </a:lnTo>
                  <a:lnTo>
                    <a:pt x="139" y="234"/>
                  </a:lnTo>
                  <a:lnTo>
                    <a:pt x="139" y="232"/>
                  </a:lnTo>
                  <a:lnTo>
                    <a:pt x="139" y="231"/>
                  </a:lnTo>
                  <a:lnTo>
                    <a:pt x="139" y="232"/>
                  </a:lnTo>
                  <a:lnTo>
                    <a:pt x="139" y="234"/>
                  </a:lnTo>
                  <a:lnTo>
                    <a:pt x="139" y="236"/>
                  </a:lnTo>
                  <a:lnTo>
                    <a:pt x="140" y="236"/>
                  </a:lnTo>
                  <a:lnTo>
                    <a:pt x="141" y="236"/>
                  </a:lnTo>
                  <a:lnTo>
                    <a:pt x="141" y="235"/>
                  </a:lnTo>
                  <a:lnTo>
                    <a:pt x="141" y="234"/>
                  </a:lnTo>
                  <a:lnTo>
                    <a:pt x="142" y="235"/>
                  </a:lnTo>
                  <a:lnTo>
                    <a:pt x="142" y="236"/>
                  </a:lnTo>
                  <a:lnTo>
                    <a:pt x="142" y="235"/>
                  </a:lnTo>
                  <a:lnTo>
                    <a:pt x="142" y="234"/>
                  </a:lnTo>
                  <a:lnTo>
                    <a:pt x="144" y="234"/>
                  </a:lnTo>
                  <a:lnTo>
                    <a:pt x="145" y="234"/>
                  </a:lnTo>
                  <a:lnTo>
                    <a:pt x="146" y="232"/>
                  </a:lnTo>
                  <a:lnTo>
                    <a:pt x="146" y="231"/>
                  </a:lnTo>
                  <a:lnTo>
                    <a:pt x="146" y="230"/>
                  </a:lnTo>
                  <a:lnTo>
                    <a:pt x="145" y="230"/>
                  </a:lnTo>
                  <a:lnTo>
                    <a:pt x="145" y="231"/>
                  </a:lnTo>
                  <a:lnTo>
                    <a:pt x="144" y="230"/>
                  </a:lnTo>
                  <a:lnTo>
                    <a:pt x="144" y="231"/>
                  </a:lnTo>
                  <a:lnTo>
                    <a:pt x="142" y="231"/>
                  </a:lnTo>
                  <a:lnTo>
                    <a:pt x="141" y="231"/>
                  </a:lnTo>
                  <a:lnTo>
                    <a:pt x="141" y="230"/>
                  </a:lnTo>
                  <a:lnTo>
                    <a:pt x="142" y="229"/>
                  </a:lnTo>
                  <a:lnTo>
                    <a:pt x="144" y="229"/>
                  </a:lnTo>
                  <a:lnTo>
                    <a:pt x="144" y="226"/>
                  </a:lnTo>
                  <a:lnTo>
                    <a:pt x="144" y="225"/>
                  </a:lnTo>
                  <a:lnTo>
                    <a:pt x="142" y="225"/>
                  </a:lnTo>
                  <a:lnTo>
                    <a:pt x="142" y="226"/>
                  </a:lnTo>
                  <a:lnTo>
                    <a:pt x="141" y="228"/>
                  </a:lnTo>
                  <a:lnTo>
                    <a:pt x="141" y="229"/>
                  </a:lnTo>
                  <a:lnTo>
                    <a:pt x="140" y="229"/>
                  </a:lnTo>
                  <a:lnTo>
                    <a:pt x="140" y="228"/>
                  </a:lnTo>
                  <a:lnTo>
                    <a:pt x="141" y="226"/>
                  </a:lnTo>
                  <a:lnTo>
                    <a:pt x="142" y="225"/>
                  </a:lnTo>
                  <a:lnTo>
                    <a:pt x="144" y="225"/>
                  </a:lnTo>
                  <a:lnTo>
                    <a:pt x="145" y="224"/>
                  </a:lnTo>
                  <a:lnTo>
                    <a:pt x="146" y="224"/>
                  </a:lnTo>
                  <a:lnTo>
                    <a:pt x="146" y="225"/>
                  </a:lnTo>
                  <a:lnTo>
                    <a:pt x="146" y="226"/>
                  </a:lnTo>
                  <a:lnTo>
                    <a:pt x="145" y="228"/>
                  </a:lnTo>
                  <a:lnTo>
                    <a:pt x="145" y="229"/>
                  </a:lnTo>
                  <a:lnTo>
                    <a:pt x="146" y="228"/>
                  </a:lnTo>
                  <a:lnTo>
                    <a:pt x="146" y="226"/>
                  </a:lnTo>
                  <a:lnTo>
                    <a:pt x="147" y="225"/>
                  </a:lnTo>
                  <a:lnTo>
                    <a:pt x="147" y="224"/>
                  </a:lnTo>
                  <a:lnTo>
                    <a:pt x="148" y="224"/>
                  </a:lnTo>
                  <a:lnTo>
                    <a:pt x="150" y="223"/>
                  </a:lnTo>
                  <a:lnTo>
                    <a:pt x="151" y="222"/>
                  </a:lnTo>
                  <a:lnTo>
                    <a:pt x="152" y="222"/>
                  </a:lnTo>
                  <a:lnTo>
                    <a:pt x="152" y="220"/>
                  </a:lnTo>
                  <a:lnTo>
                    <a:pt x="153" y="220"/>
                  </a:lnTo>
                  <a:lnTo>
                    <a:pt x="153" y="222"/>
                  </a:lnTo>
                  <a:lnTo>
                    <a:pt x="153" y="223"/>
                  </a:lnTo>
                  <a:lnTo>
                    <a:pt x="153" y="224"/>
                  </a:lnTo>
                  <a:lnTo>
                    <a:pt x="152" y="224"/>
                  </a:lnTo>
                  <a:lnTo>
                    <a:pt x="151" y="224"/>
                  </a:lnTo>
                  <a:lnTo>
                    <a:pt x="151" y="223"/>
                  </a:lnTo>
                  <a:lnTo>
                    <a:pt x="150" y="223"/>
                  </a:lnTo>
                  <a:lnTo>
                    <a:pt x="151" y="224"/>
                  </a:lnTo>
                  <a:lnTo>
                    <a:pt x="151" y="225"/>
                  </a:lnTo>
                  <a:lnTo>
                    <a:pt x="152" y="225"/>
                  </a:lnTo>
                  <a:lnTo>
                    <a:pt x="153" y="225"/>
                  </a:lnTo>
                  <a:lnTo>
                    <a:pt x="152" y="226"/>
                  </a:lnTo>
                  <a:lnTo>
                    <a:pt x="151" y="228"/>
                  </a:lnTo>
                  <a:lnTo>
                    <a:pt x="151" y="229"/>
                  </a:lnTo>
                  <a:lnTo>
                    <a:pt x="150" y="230"/>
                  </a:lnTo>
                  <a:lnTo>
                    <a:pt x="150" y="231"/>
                  </a:lnTo>
                  <a:lnTo>
                    <a:pt x="148" y="231"/>
                  </a:lnTo>
                  <a:lnTo>
                    <a:pt x="148" y="232"/>
                  </a:lnTo>
                  <a:lnTo>
                    <a:pt x="148" y="234"/>
                  </a:lnTo>
                  <a:lnTo>
                    <a:pt x="147" y="235"/>
                  </a:lnTo>
                  <a:lnTo>
                    <a:pt x="146" y="235"/>
                  </a:lnTo>
                  <a:lnTo>
                    <a:pt x="145" y="236"/>
                  </a:lnTo>
                  <a:lnTo>
                    <a:pt x="145" y="235"/>
                  </a:lnTo>
                  <a:lnTo>
                    <a:pt x="144" y="235"/>
                  </a:lnTo>
                  <a:lnTo>
                    <a:pt x="144" y="236"/>
                  </a:lnTo>
                  <a:lnTo>
                    <a:pt x="142" y="236"/>
                  </a:lnTo>
                  <a:lnTo>
                    <a:pt x="142" y="237"/>
                  </a:lnTo>
                  <a:lnTo>
                    <a:pt x="144" y="238"/>
                  </a:lnTo>
                  <a:lnTo>
                    <a:pt x="144" y="237"/>
                  </a:lnTo>
                  <a:lnTo>
                    <a:pt x="145" y="236"/>
                  </a:lnTo>
                  <a:lnTo>
                    <a:pt x="146" y="236"/>
                  </a:lnTo>
                  <a:lnTo>
                    <a:pt x="147" y="236"/>
                  </a:lnTo>
                  <a:lnTo>
                    <a:pt x="148" y="235"/>
                  </a:lnTo>
                  <a:lnTo>
                    <a:pt x="150" y="234"/>
                  </a:lnTo>
                  <a:lnTo>
                    <a:pt x="148" y="235"/>
                  </a:lnTo>
                  <a:lnTo>
                    <a:pt x="148" y="236"/>
                  </a:lnTo>
                  <a:lnTo>
                    <a:pt x="147" y="237"/>
                  </a:lnTo>
                  <a:lnTo>
                    <a:pt x="147" y="238"/>
                  </a:lnTo>
                  <a:lnTo>
                    <a:pt x="146" y="241"/>
                  </a:lnTo>
                  <a:lnTo>
                    <a:pt x="145" y="241"/>
                  </a:lnTo>
                  <a:lnTo>
                    <a:pt x="146" y="242"/>
                  </a:lnTo>
                  <a:lnTo>
                    <a:pt x="147" y="241"/>
                  </a:lnTo>
                  <a:lnTo>
                    <a:pt x="147" y="240"/>
                  </a:lnTo>
                  <a:lnTo>
                    <a:pt x="148" y="238"/>
                  </a:lnTo>
                  <a:lnTo>
                    <a:pt x="148" y="237"/>
                  </a:lnTo>
                  <a:lnTo>
                    <a:pt x="150" y="236"/>
                  </a:lnTo>
                  <a:lnTo>
                    <a:pt x="150" y="235"/>
                  </a:lnTo>
                  <a:lnTo>
                    <a:pt x="150" y="237"/>
                  </a:lnTo>
                  <a:lnTo>
                    <a:pt x="151" y="238"/>
                  </a:lnTo>
                  <a:lnTo>
                    <a:pt x="151" y="237"/>
                  </a:lnTo>
                  <a:lnTo>
                    <a:pt x="151" y="236"/>
                  </a:lnTo>
                  <a:lnTo>
                    <a:pt x="151" y="235"/>
                  </a:lnTo>
                  <a:lnTo>
                    <a:pt x="150" y="234"/>
                  </a:lnTo>
                  <a:lnTo>
                    <a:pt x="150" y="232"/>
                  </a:lnTo>
                  <a:lnTo>
                    <a:pt x="151" y="232"/>
                  </a:lnTo>
                  <a:lnTo>
                    <a:pt x="152" y="234"/>
                  </a:lnTo>
                  <a:lnTo>
                    <a:pt x="153" y="235"/>
                  </a:lnTo>
                  <a:lnTo>
                    <a:pt x="153" y="234"/>
                  </a:lnTo>
                  <a:lnTo>
                    <a:pt x="152" y="232"/>
                  </a:lnTo>
                  <a:lnTo>
                    <a:pt x="151" y="232"/>
                  </a:lnTo>
                  <a:lnTo>
                    <a:pt x="151" y="231"/>
                  </a:lnTo>
                  <a:lnTo>
                    <a:pt x="151" y="230"/>
                  </a:lnTo>
                  <a:lnTo>
                    <a:pt x="152" y="229"/>
                  </a:lnTo>
                  <a:lnTo>
                    <a:pt x="152" y="228"/>
                  </a:lnTo>
                  <a:lnTo>
                    <a:pt x="153" y="228"/>
                  </a:lnTo>
                  <a:lnTo>
                    <a:pt x="155" y="228"/>
                  </a:lnTo>
                  <a:lnTo>
                    <a:pt x="155" y="232"/>
                  </a:lnTo>
                  <a:lnTo>
                    <a:pt x="155" y="238"/>
                  </a:lnTo>
                  <a:lnTo>
                    <a:pt x="155" y="244"/>
                  </a:lnTo>
                  <a:lnTo>
                    <a:pt x="155" y="252"/>
                  </a:lnTo>
                  <a:lnTo>
                    <a:pt x="155" y="256"/>
                  </a:lnTo>
                  <a:lnTo>
                    <a:pt x="155" y="255"/>
                  </a:lnTo>
                  <a:lnTo>
                    <a:pt x="153" y="255"/>
                  </a:lnTo>
                  <a:lnTo>
                    <a:pt x="153" y="254"/>
                  </a:lnTo>
                  <a:lnTo>
                    <a:pt x="152" y="254"/>
                  </a:lnTo>
                  <a:lnTo>
                    <a:pt x="151" y="254"/>
                  </a:lnTo>
                  <a:lnTo>
                    <a:pt x="151" y="255"/>
                  </a:lnTo>
                  <a:lnTo>
                    <a:pt x="150" y="254"/>
                  </a:lnTo>
                  <a:lnTo>
                    <a:pt x="150" y="255"/>
                  </a:lnTo>
                  <a:lnTo>
                    <a:pt x="148" y="254"/>
                  </a:lnTo>
                  <a:lnTo>
                    <a:pt x="148" y="255"/>
                  </a:lnTo>
                  <a:lnTo>
                    <a:pt x="147" y="255"/>
                  </a:lnTo>
                  <a:lnTo>
                    <a:pt x="147" y="256"/>
                  </a:lnTo>
                  <a:lnTo>
                    <a:pt x="146" y="256"/>
                  </a:lnTo>
                  <a:lnTo>
                    <a:pt x="146" y="258"/>
                  </a:lnTo>
                  <a:lnTo>
                    <a:pt x="148" y="259"/>
                  </a:lnTo>
                  <a:lnTo>
                    <a:pt x="150" y="259"/>
                  </a:lnTo>
                  <a:lnTo>
                    <a:pt x="151" y="258"/>
                  </a:lnTo>
                  <a:lnTo>
                    <a:pt x="152" y="258"/>
                  </a:lnTo>
                  <a:lnTo>
                    <a:pt x="152" y="259"/>
                  </a:lnTo>
                  <a:lnTo>
                    <a:pt x="153" y="260"/>
                  </a:lnTo>
                  <a:lnTo>
                    <a:pt x="155" y="261"/>
                  </a:lnTo>
                  <a:lnTo>
                    <a:pt x="155" y="264"/>
                  </a:lnTo>
                  <a:lnTo>
                    <a:pt x="155" y="270"/>
                  </a:lnTo>
                  <a:lnTo>
                    <a:pt x="155" y="276"/>
                  </a:lnTo>
                  <a:lnTo>
                    <a:pt x="155" y="284"/>
                  </a:lnTo>
                  <a:lnTo>
                    <a:pt x="156" y="291"/>
                  </a:lnTo>
                  <a:lnTo>
                    <a:pt x="156" y="300"/>
                  </a:lnTo>
                  <a:lnTo>
                    <a:pt x="156" y="308"/>
                  </a:lnTo>
                  <a:lnTo>
                    <a:pt x="157" y="317"/>
                  </a:lnTo>
                  <a:lnTo>
                    <a:pt x="157" y="337"/>
                  </a:lnTo>
                  <a:lnTo>
                    <a:pt x="157" y="348"/>
                  </a:lnTo>
                  <a:lnTo>
                    <a:pt x="158" y="359"/>
                  </a:lnTo>
                  <a:lnTo>
                    <a:pt x="156" y="360"/>
                  </a:lnTo>
                  <a:lnTo>
                    <a:pt x="148" y="362"/>
                  </a:lnTo>
                  <a:lnTo>
                    <a:pt x="141" y="362"/>
                  </a:lnTo>
                  <a:lnTo>
                    <a:pt x="142" y="363"/>
                  </a:lnTo>
                  <a:lnTo>
                    <a:pt x="140" y="363"/>
                  </a:lnTo>
                  <a:lnTo>
                    <a:pt x="153" y="362"/>
                  </a:lnTo>
                  <a:lnTo>
                    <a:pt x="161" y="362"/>
                  </a:lnTo>
                  <a:lnTo>
                    <a:pt x="165" y="362"/>
                  </a:lnTo>
                  <a:lnTo>
                    <a:pt x="168" y="362"/>
                  </a:lnTo>
                  <a:lnTo>
                    <a:pt x="173" y="361"/>
                  </a:lnTo>
                  <a:lnTo>
                    <a:pt x="177" y="362"/>
                  </a:lnTo>
                  <a:lnTo>
                    <a:pt x="189" y="362"/>
                  </a:lnTo>
                  <a:lnTo>
                    <a:pt x="195" y="362"/>
                  </a:lnTo>
                  <a:lnTo>
                    <a:pt x="198" y="361"/>
                  </a:lnTo>
                  <a:lnTo>
                    <a:pt x="197" y="36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3" name="Freeform 66"/>
            <p:cNvSpPr>
              <a:spLocks/>
            </p:cNvSpPr>
            <p:nvPr userDrawn="1"/>
          </p:nvSpPr>
          <p:spPr bwMode="auto">
            <a:xfrm>
              <a:off x="4795838" y="6443663"/>
              <a:ext cx="60325" cy="85725"/>
            </a:xfrm>
            <a:custGeom>
              <a:avLst/>
              <a:gdLst/>
              <a:ahLst/>
              <a:cxnLst>
                <a:cxn ang="0">
                  <a:pos x="146" y="147"/>
                </a:cxn>
                <a:cxn ang="0">
                  <a:pos x="148" y="144"/>
                </a:cxn>
                <a:cxn ang="0">
                  <a:pos x="166" y="142"/>
                </a:cxn>
                <a:cxn ang="0">
                  <a:pos x="168" y="124"/>
                </a:cxn>
                <a:cxn ang="0">
                  <a:pos x="175" y="130"/>
                </a:cxn>
                <a:cxn ang="0">
                  <a:pos x="180" y="124"/>
                </a:cxn>
                <a:cxn ang="0">
                  <a:pos x="184" y="113"/>
                </a:cxn>
                <a:cxn ang="0">
                  <a:pos x="170" y="103"/>
                </a:cxn>
                <a:cxn ang="0">
                  <a:pos x="160" y="89"/>
                </a:cxn>
                <a:cxn ang="0">
                  <a:pos x="180" y="88"/>
                </a:cxn>
                <a:cxn ang="0">
                  <a:pos x="182" y="82"/>
                </a:cxn>
                <a:cxn ang="0">
                  <a:pos x="175" y="78"/>
                </a:cxn>
                <a:cxn ang="0">
                  <a:pos x="187" y="72"/>
                </a:cxn>
                <a:cxn ang="0">
                  <a:pos x="189" y="67"/>
                </a:cxn>
                <a:cxn ang="0">
                  <a:pos x="174" y="73"/>
                </a:cxn>
                <a:cxn ang="0">
                  <a:pos x="168" y="72"/>
                </a:cxn>
                <a:cxn ang="0">
                  <a:pos x="158" y="65"/>
                </a:cxn>
                <a:cxn ang="0">
                  <a:pos x="158" y="53"/>
                </a:cxn>
                <a:cxn ang="0">
                  <a:pos x="143" y="54"/>
                </a:cxn>
                <a:cxn ang="0">
                  <a:pos x="143" y="43"/>
                </a:cxn>
                <a:cxn ang="0">
                  <a:pos x="137" y="41"/>
                </a:cxn>
                <a:cxn ang="0">
                  <a:pos x="135" y="40"/>
                </a:cxn>
                <a:cxn ang="0">
                  <a:pos x="124" y="30"/>
                </a:cxn>
                <a:cxn ang="0">
                  <a:pos x="116" y="34"/>
                </a:cxn>
                <a:cxn ang="0">
                  <a:pos x="110" y="34"/>
                </a:cxn>
                <a:cxn ang="0">
                  <a:pos x="102" y="11"/>
                </a:cxn>
                <a:cxn ang="0">
                  <a:pos x="93" y="2"/>
                </a:cxn>
                <a:cxn ang="0">
                  <a:pos x="88" y="6"/>
                </a:cxn>
                <a:cxn ang="0">
                  <a:pos x="95" y="30"/>
                </a:cxn>
                <a:cxn ang="0">
                  <a:pos x="89" y="30"/>
                </a:cxn>
                <a:cxn ang="0">
                  <a:pos x="86" y="43"/>
                </a:cxn>
                <a:cxn ang="0">
                  <a:pos x="74" y="52"/>
                </a:cxn>
                <a:cxn ang="0">
                  <a:pos x="68" y="59"/>
                </a:cxn>
                <a:cxn ang="0">
                  <a:pos x="59" y="50"/>
                </a:cxn>
                <a:cxn ang="0">
                  <a:pos x="58" y="38"/>
                </a:cxn>
                <a:cxn ang="0">
                  <a:pos x="52" y="42"/>
                </a:cxn>
                <a:cxn ang="0">
                  <a:pos x="48" y="46"/>
                </a:cxn>
                <a:cxn ang="0">
                  <a:pos x="37" y="55"/>
                </a:cxn>
                <a:cxn ang="0">
                  <a:pos x="33" y="60"/>
                </a:cxn>
                <a:cxn ang="0">
                  <a:pos x="28" y="65"/>
                </a:cxn>
                <a:cxn ang="0">
                  <a:pos x="30" y="70"/>
                </a:cxn>
                <a:cxn ang="0">
                  <a:pos x="39" y="76"/>
                </a:cxn>
                <a:cxn ang="0">
                  <a:pos x="25" y="73"/>
                </a:cxn>
                <a:cxn ang="0">
                  <a:pos x="31" y="79"/>
                </a:cxn>
                <a:cxn ang="0">
                  <a:pos x="10" y="84"/>
                </a:cxn>
                <a:cxn ang="0">
                  <a:pos x="3" y="83"/>
                </a:cxn>
                <a:cxn ang="0">
                  <a:pos x="4" y="90"/>
                </a:cxn>
                <a:cxn ang="0">
                  <a:pos x="28" y="102"/>
                </a:cxn>
                <a:cxn ang="0">
                  <a:pos x="23" y="114"/>
                </a:cxn>
                <a:cxn ang="0">
                  <a:pos x="4" y="123"/>
                </a:cxn>
                <a:cxn ang="0">
                  <a:pos x="16" y="137"/>
                </a:cxn>
                <a:cxn ang="0">
                  <a:pos x="17" y="160"/>
                </a:cxn>
                <a:cxn ang="0">
                  <a:pos x="39" y="155"/>
                </a:cxn>
                <a:cxn ang="0">
                  <a:pos x="27" y="172"/>
                </a:cxn>
                <a:cxn ang="0">
                  <a:pos x="36" y="174"/>
                </a:cxn>
                <a:cxn ang="0">
                  <a:pos x="43" y="178"/>
                </a:cxn>
                <a:cxn ang="0">
                  <a:pos x="57" y="171"/>
                </a:cxn>
                <a:cxn ang="0">
                  <a:pos x="63" y="177"/>
                </a:cxn>
                <a:cxn ang="0">
                  <a:pos x="70" y="168"/>
                </a:cxn>
                <a:cxn ang="0">
                  <a:pos x="86" y="165"/>
                </a:cxn>
                <a:cxn ang="0">
                  <a:pos x="94" y="167"/>
                </a:cxn>
                <a:cxn ang="0">
                  <a:pos x="96" y="171"/>
                </a:cxn>
                <a:cxn ang="0">
                  <a:pos x="105" y="166"/>
                </a:cxn>
              </a:cxnLst>
              <a:rect l="0" t="0" r="r" b="b"/>
              <a:pathLst>
                <a:path w="193" h="268">
                  <a:moveTo>
                    <a:pt x="133" y="268"/>
                  </a:moveTo>
                  <a:lnTo>
                    <a:pt x="129" y="262"/>
                  </a:lnTo>
                  <a:lnTo>
                    <a:pt x="131" y="245"/>
                  </a:lnTo>
                  <a:lnTo>
                    <a:pt x="130" y="232"/>
                  </a:lnTo>
                  <a:lnTo>
                    <a:pt x="134" y="215"/>
                  </a:lnTo>
                  <a:lnTo>
                    <a:pt x="134" y="204"/>
                  </a:lnTo>
                  <a:lnTo>
                    <a:pt x="140" y="179"/>
                  </a:lnTo>
                  <a:lnTo>
                    <a:pt x="142" y="168"/>
                  </a:lnTo>
                  <a:lnTo>
                    <a:pt x="141" y="155"/>
                  </a:lnTo>
                  <a:lnTo>
                    <a:pt x="136" y="149"/>
                  </a:lnTo>
                  <a:lnTo>
                    <a:pt x="136" y="145"/>
                  </a:lnTo>
                  <a:lnTo>
                    <a:pt x="136" y="144"/>
                  </a:lnTo>
                  <a:lnTo>
                    <a:pt x="137" y="143"/>
                  </a:lnTo>
                  <a:lnTo>
                    <a:pt x="139" y="144"/>
                  </a:lnTo>
                  <a:lnTo>
                    <a:pt x="140" y="145"/>
                  </a:lnTo>
                  <a:lnTo>
                    <a:pt x="140" y="147"/>
                  </a:lnTo>
                  <a:lnTo>
                    <a:pt x="141" y="147"/>
                  </a:lnTo>
                  <a:lnTo>
                    <a:pt x="140" y="147"/>
                  </a:lnTo>
                  <a:lnTo>
                    <a:pt x="140" y="148"/>
                  </a:lnTo>
                  <a:lnTo>
                    <a:pt x="141" y="148"/>
                  </a:lnTo>
                  <a:lnTo>
                    <a:pt x="142" y="147"/>
                  </a:lnTo>
                  <a:lnTo>
                    <a:pt x="143" y="148"/>
                  </a:lnTo>
                  <a:lnTo>
                    <a:pt x="143" y="147"/>
                  </a:lnTo>
                  <a:lnTo>
                    <a:pt x="145" y="148"/>
                  </a:lnTo>
                  <a:lnTo>
                    <a:pt x="143" y="147"/>
                  </a:lnTo>
                  <a:lnTo>
                    <a:pt x="143" y="145"/>
                  </a:lnTo>
                  <a:lnTo>
                    <a:pt x="142" y="145"/>
                  </a:lnTo>
                  <a:lnTo>
                    <a:pt x="141" y="144"/>
                  </a:lnTo>
                  <a:lnTo>
                    <a:pt x="140" y="144"/>
                  </a:lnTo>
                  <a:lnTo>
                    <a:pt x="140" y="145"/>
                  </a:lnTo>
                  <a:lnTo>
                    <a:pt x="139" y="145"/>
                  </a:lnTo>
                  <a:lnTo>
                    <a:pt x="139" y="143"/>
                  </a:lnTo>
                  <a:lnTo>
                    <a:pt x="141" y="143"/>
                  </a:lnTo>
                  <a:lnTo>
                    <a:pt x="146" y="147"/>
                  </a:lnTo>
                  <a:lnTo>
                    <a:pt x="147" y="149"/>
                  </a:lnTo>
                  <a:lnTo>
                    <a:pt x="148" y="149"/>
                  </a:lnTo>
                  <a:lnTo>
                    <a:pt x="148" y="151"/>
                  </a:lnTo>
                  <a:lnTo>
                    <a:pt x="148" y="153"/>
                  </a:lnTo>
                  <a:lnTo>
                    <a:pt x="148" y="150"/>
                  </a:lnTo>
                  <a:lnTo>
                    <a:pt x="148" y="149"/>
                  </a:lnTo>
                  <a:lnTo>
                    <a:pt x="149" y="149"/>
                  </a:lnTo>
                  <a:lnTo>
                    <a:pt x="151" y="151"/>
                  </a:lnTo>
                  <a:lnTo>
                    <a:pt x="152" y="151"/>
                  </a:lnTo>
                  <a:lnTo>
                    <a:pt x="151" y="150"/>
                  </a:lnTo>
                  <a:lnTo>
                    <a:pt x="149" y="149"/>
                  </a:lnTo>
                  <a:lnTo>
                    <a:pt x="148" y="149"/>
                  </a:lnTo>
                  <a:lnTo>
                    <a:pt x="147" y="147"/>
                  </a:lnTo>
                  <a:lnTo>
                    <a:pt x="145" y="144"/>
                  </a:lnTo>
                  <a:lnTo>
                    <a:pt x="140" y="142"/>
                  </a:lnTo>
                  <a:lnTo>
                    <a:pt x="139" y="142"/>
                  </a:lnTo>
                  <a:lnTo>
                    <a:pt x="139" y="141"/>
                  </a:lnTo>
                  <a:lnTo>
                    <a:pt x="139" y="139"/>
                  </a:lnTo>
                  <a:lnTo>
                    <a:pt x="140" y="139"/>
                  </a:lnTo>
                  <a:lnTo>
                    <a:pt x="139" y="139"/>
                  </a:lnTo>
                  <a:lnTo>
                    <a:pt x="140" y="139"/>
                  </a:lnTo>
                  <a:lnTo>
                    <a:pt x="141" y="138"/>
                  </a:lnTo>
                  <a:lnTo>
                    <a:pt x="141" y="139"/>
                  </a:lnTo>
                  <a:lnTo>
                    <a:pt x="142" y="139"/>
                  </a:lnTo>
                  <a:lnTo>
                    <a:pt x="143" y="141"/>
                  </a:lnTo>
                  <a:lnTo>
                    <a:pt x="143" y="142"/>
                  </a:lnTo>
                  <a:lnTo>
                    <a:pt x="143" y="143"/>
                  </a:lnTo>
                  <a:lnTo>
                    <a:pt x="145" y="142"/>
                  </a:lnTo>
                  <a:lnTo>
                    <a:pt x="145" y="143"/>
                  </a:lnTo>
                  <a:lnTo>
                    <a:pt x="146" y="143"/>
                  </a:lnTo>
                  <a:lnTo>
                    <a:pt x="146" y="142"/>
                  </a:lnTo>
                  <a:lnTo>
                    <a:pt x="147" y="143"/>
                  </a:lnTo>
                  <a:lnTo>
                    <a:pt x="147" y="144"/>
                  </a:lnTo>
                  <a:lnTo>
                    <a:pt x="148" y="144"/>
                  </a:lnTo>
                  <a:lnTo>
                    <a:pt x="148" y="143"/>
                  </a:lnTo>
                  <a:lnTo>
                    <a:pt x="149" y="144"/>
                  </a:lnTo>
                  <a:lnTo>
                    <a:pt x="153" y="147"/>
                  </a:lnTo>
                  <a:lnTo>
                    <a:pt x="154" y="149"/>
                  </a:lnTo>
                  <a:lnTo>
                    <a:pt x="154" y="148"/>
                  </a:lnTo>
                  <a:lnTo>
                    <a:pt x="155" y="149"/>
                  </a:lnTo>
                  <a:lnTo>
                    <a:pt x="155" y="150"/>
                  </a:lnTo>
                  <a:lnTo>
                    <a:pt x="157" y="151"/>
                  </a:lnTo>
                  <a:lnTo>
                    <a:pt x="157" y="154"/>
                  </a:lnTo>
                  <a:lnTo>
                    <a:pt x="157" y="153"/>
                  </a:lnTo>
                  <a:lnTo>
                    <a:pt x="158" y="154"/>
                  </a:lnTo>
                  <a:lnTo>
                    <a:pt x="157" y="151"/>
                  </a:lnTo>
                  <a:lnTo>
                    <a:pt x="155" y="149"/>
                  </a:lnTo>
                  <a:lnTo>
                    <a:pt x="155" y="148"/>
                  </a:lnTo>
                  <a:lnTo>
                    <a:pt x="155" y="147"/>
                  </a:lnTo>
                  <a:lnTo>
                    <a:pt x="157" y="148"/>
                  </a:lnTo>
                  <a:lnTo>
                    <a:pt x="159" y="149"/>
                  </a:lnTo>
                  <a:lnTo>
                    <a:pt x="159" y="150"/>
                  </a:lnTo>
                  <a:lnTo>
                    <a:pt x="160" y="151"/>
                  </a:lnTo>
                  <a:lnTo>
                    <a:pt x="161" y="150"/>
                  </a:lnTo>
                  <a:lnTo>
                    <a:pt x="161" y="151"/>
                  </a:lnTo>
                  <a:lnTo>
                    <a:pt x="163" y="151"/>
                  </a:lnTo>
                  <a:lnTo>
                    <a:pt x="164" y="150"/>
                  </a:lnTo>
                  <a:lnTo>
                    <a:pt x="164" y="149"/>
                  </a:lnTo>
                  <a:lnTo>
                    <a:pt x="165" y="149"/>
                  </a:lnTo>
                  <a:lnTo>
                    <a:pt x="165" y="147"/>
                  </a:lnTo>
                  <a:lnTo>
                    <a:pt x="165" y="145"/>
                  </a:lnTo>
                  <a:lnTo>
                    <a:pt x="164" y="145"/>
                  </a:lnTo>
                  <a:lnTo>
                    <a:pt x="164" y="144"/>
                  </a:lnTo>
                  <a:lnTo>
                    <a:pt x="165" y="145"/>
                  </a:lnTo>
                  <a:lnTo>
                    <a:pt x="165" y="144"/>
                  </a:lnTo>
                  <a:lnTo>
                    <a:pt x="166" y="144"/>
                  </a:lnTo>
                  <a:lnTo>
                    <a:pt x="166" y="143"/>
                  </a:lnTo>
                  <a:lnTo>
                    <a:pt x="166" y="142"/>
                  </a:lnTo>
                  <a:lnTo>
                    <a:pt x="168" y="141"/>
                  </a:lnTo>
                  <a:lnTo>
                    <a:pt x="168" y="139"/>
                  </a:lnTo>
                  <a:lnTo>
                    <a:pt x="168" y="138"/>
                  </a:lnTo>
                  <a:lnTo>
                    <a:pt x="169" y="137"/>
                  </a:lnTo>
                  <a:lnTo>
                    <a:pt x="168" y="137"/>
                  </a:lnTo>
                  <a:lnTo>
                    <a:pt x="168" y="136"/>
                  </a:lnTo>
                  <a:lnTo>
                    <a:pt x="166" y="136"/>
                  </a:lnTo>
                  <a:lnTo>
                    <a:pt x="166" y="135"/>
                  </a:lnTo>
                  <a:lnTo>
                    <a:pt x="166" y="133"/>
                  </a:lnTo>
                  <a:lnTo>
                    <a:pt x="165" y="133"/>
                  </a:lnTo>
                  <a:lnTo>
                    <a:pt x="165" y="135"/>
                  </a:lnTo>
                  <a:lnTo>
                    <a:pt x="165" y="133"/>
                  </a:lnTo>
                  <a:lnTo>
                    <a:pt x="164" y="133"/>
                  </a:lnTo>
                  <a:lnTo>
                    <a:pt x="165" y="132"/>
                  </a:lnTo>
                  <a:lnTo>
                    <a:pt x="164" y="132"/>
                  </a:lnTo>
                  <a:lnTo>
                    <a:pt x="163" y="131"/>
                  </a:lnTo>
                  <a:lnTo>
                    <a:pt x="164" y="131"/>
                  </a:lnTo>
                  <a:lnTo>
                    <a:pt x="164" y="130"/>
                  </a:lnTo>
                  <a:lnTo>
                    <a:pt x="164" y="129"/>
                  </a:lnTo>
                  <a:lnTo>
                    <a:pt x="164" y="127"/>
                  </a:lnTo>
                  <a:lnTo>
                    <a:pt x="165" y="127"/>
                  </a:lnTo>
                  <a:lnTo>
                    <a:pt x="166" y="127"/>
                  </a:lnTo>
                  <a:lnTo>
                    <a:pt x="168" y="129"/>
                  </a:lnTo>
                  <a:lnTo>
                    <a:pt x="168" y="130"/>
                  </a:lnTo>
                  <a:lnTo>
                    <a:pt x="169" y="129"/>
                  </a:lnTo>
                  <a:lnTo>
                    <a:pt x="169" y="130"/>
                  </a:lnTo>
                  <a:lnTo>
                    <a:pt x="169" y="129"/>
                  </a:lnTo>
                  <a:lnTo>
                    <a:pt x="169" y="127"/>
                  </a:lnTo>
                  <a:lnTo>
                    <a:pt x="169" y="126"/>
                  </a:lnTo>
                  <a:lnTo>
                    <a:pt x="168" y="126"/>
                  </a:lnTo>
                  <a:lnTo>
                    <a:pt x="168" y="125"/>
                  </a:lnTo>
                  <a:lnTo>
                    <a:pt x="168" y="124"/>
                  </a:lnTo>
                  <a:lnTo>
                    <a:pt x="168" y="125"/>
                  </a:lnTo>
                  <a:lnTo>
                    <a:pt x="168" y="124"/>
                  </a:lnTo>
                  <a:lnTo>
                    <a:pt x="166" y="125"/>
                  </a:lnTo>
                  <a:lnTo>
                    <a:pt x="165" y="125"/>
                  </a:lnTo>
                  <a:lnTo>
                    <a:pt x="166" y="124"/>
                  </a:lnTo>
                  <a:lnTo>
                    <a:pt x="166" y="123"/>
                  </a:lnTo>
                  <a:lnTo>
                    <a:pt x="165" y="123"/>
                  </a:lnTo>
                  <a:lnTo>
                    <a:pt x="165" y="120"/>
                  </a:lnTo>
                  <a:lnTo>
                    <a:pt x="166" y="120"/>
                  </a:lnTo>
                  <a:lnTo>
                    <a:pt x="168" y="121"/>
                  </a:lnTo>
                  <a:lnTo>
                    <a:pt x="168" y="120"/>
                  </a:lnTo>
                  <a:lnTo>
                    <a:pt x="168" y="121"/>
                  </a:lnTo>
                  <a:lnTo>
                    <a:pt x="169" y="121"/>
                  </a:lnTo>
                  <a:lnTo>
                    <a:pt x="169" y="123"/>
                  </a:lnTo>
                  <a:lnTo>
                    <a:pt x="170" y="123"/>
                  </a:lnTo>
                  <a:lnTo>
                    <a:pt x="170" y="124"/>
                  </a:lnTo>
                  <a:lnTo>
                    <a:pt x="169" y="124"/>
                  </a:lnTo>
                  <a:lnTo>
                    <a:pt x="169" y="125"/>
                  </a:lnTo>
                  <a:lnTo>
                    <a:pt x="169" y="124"/>
                  </a:lnTo>
                  <a:lnTo>
                    <a:pt x="170" y="124"/>
                  </a:lnTo>
                  <a:lnTo>
                    <a:pt x="170" y="125"/>
                  </a:lnTo>
                  <a:lnTo>
                    <a:pt x="169" y="125"/>
                  </a:lnTo>
                  <a:lnTo>
                    <a:pt x="169" y="126"/>
                  </a:lnTo>
                  <a:lnTo>
                    <a:pt x="169" y="127"/>
                  </a:lnTo>
                  <a:lnTo>
                    <a:pt x="170" y="126"/>
                  </a:lnTo>
                  <a:lnTo>
                    <a:pt x="170" y="127"/>
                  </a:lnTo>
                  <a:lnTo>
                    <a:pt x="171" y="127"/>
                  </a:lnTo>
                  <a:lnTo>
                    <a:pt x="172" y="127"/>
                  </a:lnTo>
                  <a:lnTo>
                    <a:pt x="172" y="129"/>
                  </a:lnTo>
                  <a:lnTo>
                    <a:pt x="172" y="130"/>
                  </a:lnTo>
                  <a:lnTo>
                    <a:pt x="172" y="129"/>
                  </a:lnTo>
                  <a:lnTo>
                    <a:pt x="174" y="129"/>
                  </a:lnTo>
                  <a:lnTo>
                    <a:pt x="174" y="130"/>
                  </a:lnTo>
                  <a:lnTo>
                    <a:pt x="175" y="130"/>
                  </a:lnTo>
                  <a:lnTo>
                    <a:pt x="175" y="129"/>
                  </a:lnTo>
                  <a:lnTo>
                    <a:pt x="175" y="130"/>
                  </a:lnTo>
                  <a:lnTo>
                    <a:pt x="175" y="129"/>
                  </a:lnTo>
                  <a:lnTo>
                    <a:pt x="174" y="129"/>
                  </a:lnTo>
                  <a:lnTo>
                    <a:pt x="174" y="127"/>
                  </a:lnTo>
                  <a:lnTo>
                    <a:pt x="175" y="127"/>
                  </a:lnTo>
                  <a:lnTo>
                    <a:pt x="174" y="127"/>
                  </a:lnTo>
                  <a:lnTo>
                    <a:pt x="172" y="127"/>
                  </a:lnTo>
                  <a:lnTo>
                    <a:pt x="174" y="127"/>
                  </a:lnTo>
                  <a:lnTo>
                    <a:pt x="172" y="127"/>
                  </a:lnTo>
                  <a:lnTo>
                    <a:pt x="172" y="126"/>
                  </a:lnTo>
                  <a:lnTo>
                    <a:pt x="171" y="126"/>
                  </a:lnTo>
                  <a:lnTo>
                    <a:pt x="171" y="125"/>
                  </a:lnTo>
                  <a:lnTo>
                    <a:pt x="171" y="123"/>
                  </a:lnTo>
                  <a:lnTo>
                    <a:pt x="171" y="124"/>
                  </a:lnTo>
                  <a:lnTo>
                    <a:pt x="172" y="124"/>
                  </a:lnTo>
                  <a:lnTo>
                    <a:pt x="172" y="125"/>
                  </a:lnTo>
                  <a:lnTo>
                    <a:pt x="171" y="125"/>
                  </a:lnTo>
                  <a:lnTo>
                    <a:pt x="172" y="126"/>
                  </a:lnTo>
                  <a:lnTo>
                    <a:pt x="172" y="125"/>
                  </a:lnTo>
                  <a:lnTo>
                    <a:pt x="174" y="125"/>
                  </a:lnTo>
                  <a:lnTo>
                    <a:pt x="174" y="124"/>
                  </a:lnTo>
                  <a:lnTo>
                    <a:pt x="175" y="124"/>
                  </a:lnTo>
                  <a:lnTo>
                    <a:pt x="175" y="125"/>
                  </a:lnTo>
                  <a:lnTo>
                    <a:pt x="176" y="125"/>
                  </a:lnTo>
                  <a:lnTo>
                    <a:pt x="177" y="125"/>
                  </a:lnTo>
                  <a:lnTo>
                    <a:pt x="177" y="126"/>
                  </a:lnTo>
                  <a:lnTo>
                    <a:pt x="176" y="126"/>
                  </a:lnTo>
                  <a:lnTo>
                    <a:pt x="176" y="127"/>
                  </a:lnTo>
                  <a:lnTo>
                    <a:pt x="177" y="129"/>
                  </a:lnTo>
                  <a:lnTo>
                    <a:pt x="178" y="127"/>
                  </a:lnTo>
                  <a:lnTo>
                    <a:pt x="178" y="126"/>
                  </a:lnTo>
                  <a:lnTo>
                    <a:pt x="180" y="125"/>
                  </a:lnTo>
                  <a:lnTo>
                    <a:pt x="178" y="125"/>
                  </a:lnTo>
                  <a:lnTo>
                    <a:pt x="180" y="125"/>
                  </a:lnTo>
                  <a:lnTo>
                    <a:pt x="180" y="124"/>
                  </a:lnTo>
                  <a:lnTo>
                    <a:pt x="180" y="123"/>
                  </a:lnTo>
                  <a:lnTo>
                    <a:pt x="180" y="124"/>
                  </a:lnTo>
                  <a:lnTo>
                    <a:pt x="180" y="123"/>
                  </a:lnTo>
                  <a:lnTo>
                    <a:pt x="180" y="121"/>
                  </a:lnTo>
                  <a:lnTo>
                    <a:pt x="180" y="120"/>
                  </a:lnTo>
                  <a:lnTo>
                    <a:pt x="178" y="120"/>
                  </a:lnTo>
                  <a:lnTo>
                    <a:pt x="177" y="119"/>
                  </a:lnTo>
                  <a:lnTo>
                    <a:pt x="177" y="118"/>
                  </a:lnTo>
                  <a:lnTo>
                    <a:pt x="177" y="117"/>
                  </a:lnTo>
                  <a:lnTo>
                    <a:pt x="176" y="117"/>
                  </a:lnTo>
                  <a:lnTo>
                    <a:pt x="175" y="115"/>
                  </a:lnTo>
                  <a:lnTo>
                    <a:pt x="176" y="115"/>
                  </a:lnTo>
                  <a:lnTo>
                    <a:pt x="177" y="115"/>
                  </a:lnTo>
                  <a:lnTo>
                    <a:pt x="180" y="115"/>
                  </a:lnTo>
                  <a:lnTo>
                    <a:pt x="182" y="115"/>
                  </a:lnTo>
                  <a:lnTo>
                    <a:pt x="181" y="115"/>
                  </a:lnTo>
                  <a:lnTo>
                    <a:pt x="182" y="117"/>
                  </a:lnTo>
                  <a:lnTo>
                    <a:pt x="182" y="115"/>
                  </a:lnTo>
                  <a:lnTo>
                    <a:pt x="182" y="114"/>
                  </a:lnTo>
                  <a:lnTo>
                    <a:pt x="183" y="114"/>
                  </a:lnTo>
                  <a:lnTo>
                    <a:pt x="183" y="115"/>
                  </a:lnTo>
                  <a:lnTo>
                    <a:pt x="184" y="115"/>
                  </a:lnTo>
                  <a:lnTo>
                    <a:pt x="184" y="117"/>
                  </a:lnTo>
                  <a:lnTo>
                    <a:pt x="184" y="115"/>
                  </a:lnTo>
                  <a:lnTo>
                    <a:pt x="184" y="114"/>
                  </a:lnTo>
                  <a:lnTo>
                    <a:pt x="186" y="114"/>
                  </a:lnTo>
                  <a:lnTo>
                    <a:pt x="184" y="115"/>
                  </a:lnTo>
                  <a:lnTo>
                    <a:pt x="186" y="117"/>
                  </a:lnTo>
                  <a:lnTo>
                    <a:pt x="186" y="115"/>
                  </a:lnTo>
                  <a:lnTo>
                    <a:pt x="186" y="114"/>
                  </a:lnTo>
                  <a:lnTo>
                    <a:pt x="184" y="114"/>
                  </a:lnTo>
                  <a:lnTo>
                    <a:pt x="184" y="113"/>
                  </a:lnTo>
                  <a:lnTo>
                    <a:pt x="186" y="113"/>
                  </a:lnTo>
                  <a:lnTo>
                    <a:pt x="184" y="113"/>
                  </a:lnTo>
                  <a:lnTo>
                    <a:pt x="183" y="113"/>
                  </a:lnTo>
                  <a:lnTo>
                    <a:pt x="182" y="112"/>
                  </a:lnTo>
                  <a:lnTo>
                    <a:pt x="182" y="113"/>
                  </a:lnTo>
                  <a:lnTo>
                    <a:pt x="182" y="114"/>
                  </a:lnTo>
                  <a:lnTo>
                    <a:pt x="182" y="113"/>
                  </a:lnTo>
                  <a:lnTo>
                    <a:pt x="182" y="114"/>
                  </a:lnTo>
                  <a:lnTo>
                    <a:pt x="183" y="113"/>
                  </a:lnTo>
                  <a:lnTo>
                    <a:pt x="183" y="114"/>
                  </a:lnTo>
                  <a:lnTo>
                    <a:pt x="181" y="115"/>
                  </a:lnTo>
                  <a:lnTo>
                    <a:pt x="177" y="115"/>
                  </a:lnTo>
                  <a:lnTo>
                    <a:pt x="177" y="114"/>
                  </a:lnTo>
                  <a:lnTo>
                    <a:pt x="177" y="113"/>
                  </a:lnTo>
                  <a:lnTo>
                    <a:pt x="177" y="114"/>
                  </a:lnTo>
                  <a:lnTo>
                    <a:pt x="176" y="114"/>
                  </a:lnTo>
                  <a:lnTo>
                    <a:pt x="177" y="113"/>
                  </a:lnTo>
                  <a:lnTo>
                    <a:pt x="176" y="112"/>
                  </a:lnTo>
                  <a:lnTo>
                    <a:pt x="177" y="112"/>
                  </a:lnTo>
                  <a:lnTo>
                    <a:pt x="177" y="110"/>
                  </a:lnTo>
                  <a:lnTo>
                    <a:pt x="177" y="109"/>
                  </a:lnTo>
                  <a:lnTo>
                    <a:pt x="177" y="108"/>
                  </a:lnTo>
                  <a:lnTo>
                    <a:pt x="176" y="109"/>
                  </a:lnTo>
                  <a:lnTo>
                    <a:pt x="177" y="108"/>
                  </a:lnTo>
                  <a:lnTo>
                    <a:pt x="177" y="107"/>
                  </a:lnTo>
                  <a:lnTo>
                    <a:pt x="177" y="106"/>
                  </a:lnTo>
                  <a:lnTo>
                    <a:pt x="176" y="106"/>
                  </a:lnTo>
                  <a:lnTo>
                    <a:pt x="175" y="106"/>
                  </a:lnTo>
                  <a:lnTo>
                    <a:pt x="175" y="104"/>
                  </a:lnTo>
                  <a:lnTo>
                    <a:pt x="174" y="104"/>
                  </a:lnTo>
                  <a:lnTo>
                    <a:pt x="174" y="103"/>
                  </a:lnTo>
                  <a:lnTo>
                    <a:pt x="172" y="102"/>
                  </a:lnTo>
                  <a:lnTo>
                    <a:pt x="171" y="102"/>
                  </a:lnTo>
                  <a:lnTo>
                    <a:pt x="172" y="103"/>
                  </a:lnTo>
                  <a:lnTo>
                    <a:pt x="171" y="103"/>
                  </a:lnTo>
                  <a:lnTo>
                    <a:pt x="170" y="103"/>
                  </a:lnTo>
                  <a:lnTo>
                    <a:pt x="169" y="103"/>
                  </a:lnTo>
                  <a:lnTo>
                    <a:pt x="168" y="102"/>
                  </a:lnTo>
                  <a:lnTo>
                    <a:pt x="168" y="101"/>
                  </a:lnTo>
                  <a:lnTo>
                    <a:pt x="169" y="101"/>
                  </a:lnTo>
                  <a:lnTo>
                    <a:pt x="168" y="100"/>
                  </a:lnTo>
                  <a:lnTo>
                    <a:pt x="169" y="100"/>
                  </a:lnTo>
                  <a:lnTo>
                    <a:pt x="169" y="101"/>
                  </a:lnTo>
                  <a:lnTo>
                    <a:pt x="169" y="102"/>
                  </a:lnTo>
                  <a:lnTo>
                    <a:pt x="170" y="101"/>
                  </a:lnTo>
                  <a:lnTo>
                    <a:pt x="169" y="100"/>
                  </a:lnTo>
                  <a:lnTo>
                    <a:pt x="170" y="100"/>
                  </a:lnTo>
                  <a:lnTo>
                    <a:pt x="169" y="98"/>
                  </a:lnTo>
                  <a:lnTo>
                    <a:pt x="169" y="97"/>
                  </a:lnTo>
                  <a:lnTo>
                    <a:pt x="170" y="97"/>
                  </a:lnTo>
                  <a:lnTo>
                    <a:pt x="170" y="98"/>
                  </a:lnTo>
                  <a:lnTo>
                    <a:pt x="170" y="100"/>
                  </a:lnTo>
                  <a:lnTo>
                    <a:pt x="170" y="98"/>
                  </a:lnTo>
                  <a:lnTo>
                    <a:pt x="170" y="97"/>
                  </a:lnTo>
                  <a:lnTo>
                    <a:pt x="169" y="96"/>
                  </a:lnTo>
                  <a:lnTo>
                    <a:pt x="169" y="95"/>
                  </a:lnTo>
                  <a:lnTo>
                    <a:pt x="166" y="94"/>
                  </a:lnTo>
                  <a:lnTo>
                    <a:pt x="165" y="94"/>
                  </a:lnTo>
                  <a:lnTo>
                    <a:pt x="164" y="94"/>
                  </a:lnTo>
                  <a:lnTo>
                    <a:pt x="164" y="92"/>
                  </a:lnTo>
                  <a:lnTo>
                    <a:pt x="164" y="94"/>
                  </a:lnTo>
                  <a:lnTo>
                    <a:pt x="163" y="92"/>
                  </a:lnTo>
                  <a:lnTo>
                    <a:pt x="161" y="91"/>
                  </a:lnTo>
                  <a:lnTo>
                    <a:pt x="163" y="91"/>
                  </a:lnTo>
                  <a:lnTo>
                    <a:pt x="163" y="90"/>
                  </a:lnTo>
                  <a:lnTo>
                    <a:pt x="163" y="89"/>
                  </a:lnTo>
                  <a:lnTo>
                    <a:pt x="161" y="89"/>
                  </a:lnTo>
                  <a:lnTo>
                    <a:pt x="163" y="89"/>
                  </a:lnTo>
                  <a:lnTo>
                    <a:pt x="161" y="89"/>
                  </a:lnTo>
                  <a:lnTo>
                    <a:pt x="160" y="89"/>
                  </a:lnTo>
                  <a:lnTo>
                    <a:pt x="160" y="88"/>
                  </a:lnTo>
                  <a:lnTo>
                    <a:pt x="163" y="86"/>
                  </a:lnTo>
                  <a:lnTo>
                    <a:pt x="163" y="88"/>
                  </a:lnTo>
                  <a:lnTo>
                    <a:pt x="163" y="86"/>
                  </a:lnTo>
                  <a:lnTo>
                    <a:pt x="164" y="88"/>
                  </a:lnTo>
                  <a:lnTo>
                    <a:pt x="165" y="88"/>
                  </a:lnTo>
                  <a:lnTo>
                    <a:pt x="165" y="86"/>
                  </a:lnTo>
                  <a:lnTo>
                    <a:pt x="165" y="85"/>
                  </a:lnTo>
                  <a:lnTo>
                    <a:pt x="165" y="86"/>
                  </a:lnTo>
                  <a:lnTo>
                    <a:pt x="166" y="85"/>
                  </a:lnTo>
                  <a:lnTo>
                    <a:pt x="168" y="85"/>
                  </a:lnTo>
                  <a:lnTo>
                    <a:pt x="168" y="86"/>
                  </a:lnTo>
                  <a:lnTo>
                    <a:pt x="169" y="86"/>
                  </a:lnTo>
                  <a:lnTo>
                    <a:pt x="169" y="85"/>
                  </a:lnTo>
                  <a:lnTo>
                    <a:pt x="168" y="85"/>
                  </a:lnTo>
                  <a:lnTo>
                    <a:pt x="168" y="84"/>
                  </a:lnTo>
                  <a:lnTo>
                    <a:pt x="170" y="85"/>
                  </a:lnTo>
                  <a:lnTo>
                    <a:pt x="171" y="85"/>
                  </a:lnTo>
                  <a:lnTo>
                    <a:pt x="171" y="84"/>
                  </a:lnTo>
                  <a:lnTo>
                    <a:pt x="171" y="85"/>
                  </a:lnTo>
                  <a:lnTo>
                    <a:pt x="172" y="84"/>
                  </a:lnTo>
                  <a:lnTo>
                    <a:pt x="175" y="85"/>
                  </a:lnTo>
                  <a:lnTo>
                    <a:pt x="175" y="86"/>
                  </a:lnTo>
                  <a:lnTo>
                    <a:pt x="175" y="88"/>
                  </a:lnTo>
                  <a:lnTo>
                    <a:pt x="176" y="86"/>
                  </a:lnTo>
                  <a:lnTo>
                    <a:pt x="176" y="85"/>
                  </a:lnTo>
                  <a:lnTo>
                    <a:pt x="175" y="84"/>
                  </a:lnTo>
                  <a:lnTo>
                    <a:pt x="176" y="85"/>
                  </a:lnTo>
                  <a:lnTo>
                    <a:pt x="177" y="85"/>
                  </a:lnTo>
                  <a:lnTo>
                    <a:pt x="177" y="88"/>
                  </a:lnTo>
                  <a:lnTo>
                    <a:pt x="178" y="86"/>
                  </a:lnTo>
                  <a:lnTo>
                    <a:pt x="178" y="88"/>
                  </a:lnTo>
                  <a:lnTo>
                    <a:pt x="178" y="89"/>
                  </a:lnTo>
                  <a:lnTo>
                    <a:pt x="180" y="88"/>
                  </a:lnTo>
                  <a:lnTo>
                    <a:pt x="180" y="86"/>
                  </a:lnTo>
                  <a:lnTo>
                    <a:pt x="181" y="86"/>
                  </a:lnTo>
                  <a:lnTo>
                    <a:pt x="181" y="88"/>
                  </a:lnTo>
                  <a:lnTo>
                    <a:pt x="181" y="86"/>
                  </a:lnTo>
                  <a:lnTo>
                    <a:pt x="182" y="85"/>
                  </a:lnTo>
                  <a:lnTo>
                    <a:pt x="182" y="86"/>
                  </a:lnTo>
                  <a:lnTo>
                    <a:pt x="182" y="88"/>
                  </a:lnTo>
                  <a:lnTo>
                    <a:pt x="182" y="86"/>
                  </a:lnTo>
                  <a:lnTo>
                    <a:pt x="182" y="85"/>
                  </a:lnTo>
                  <a:lnTo>
                    <a:pt x="183" y="85"/>
                  </a:lnTo>
                  <a:lnTo>
                    <a:pt x="183" y="86"/>
                  </a:lnTo>
                  <a:lnTo>
                    <a:pt x="184" y="88"/>
                  </a:lnTo>
                  <a:lnTo>
                    <a:pt x="184" y="86"/>
                  </a:lnTo>
                  <a:lnTo>
                    <a:pt x="184" y="85"/>
                  </a:lnTo>
                  <a:lnTo>
                    <a:pt x="184" y="84"/>
                  </a:lnTo>
                  <a:lnTo>
                    <a:pt x="186" y="84"/>
                  </a:lnTo>
                  <a:lnTo>
                    <a:pt x="186" y="85"/>
                  </a:lnTo>
                  <a:lnTo>
                    <a:pt x="187" y="85"/>
                  </a:lnTo>
                  <a:lnTo>
                    <a:pt x="187" y="86"/>
                  </a:lnTo>
                  <a:lnTo>
                    <a:pt x="188" y="85"/>
                  </a:lnTo>
                  <a:lnTo>
                    <a:pt x="187" y="84"/>
                  </a:lnTo>
                  <a:lnTo>
                    <a:pt x="188" y="84"/>
                  </a:lnTo>
                  <a:lnTo>
                    <a:pt x="189" y="84"/>
                  </a:lnTo>
                  <a:lnTo>
                    <a:pt x="189" y="85"/>
                  </a:lnTo>
                  <a:lnTo>
                    <a:pt x="190" y="84"/>
                  </a:lnTo>
                  <a:lnTo>
                    <a:pt x="189" y="83"/>
                  </a:lnTo>
                  <a:lnTo>
                    <a:pt x="189" y="82"/>
                  </a:lnTo>
                  <a:lnTo>
                    <a:pt x="188" y="82"/>
                  </a:lnTo>
                  <a:lnTo>
                    <a:pt x="187" y="83"/>
                  </a:lnTo>
                  <a:lnTo>
                    <a:pt x="186" y="83"/>
                  </a:lnTo>
                  <a:lnTo>
                    <a:pt x="184" y="83"/>
                  </a:lnTo>
                  <a:lnTo>
                    <a:pt x="183" y="83"/>
                  </a:lnTo>
                  <a:lnTo>
                    <a:pt x="183" y="82"/>
                  </a:lnTo>
                  <a:lnTo>
                    <a:pt x="182" y="82"/>
                  </a:lnTo>
                  <a:lnTo>
                    <a:pt x="182" y="83"/>
                  </a:lnTo>
                  <a:lnTo>
                    <a:pt x="181" y="83"/>
                  </a:lnTo>
                  <a:lnTo>
                    <a:pt x="181" y="82"/>
                  </a:lnTo>
                  <a:lnTo>
                    <a:pt x="181" y="83"/>
                  </a:lnTo>
                  <a:lnTo>
                    <a:pt x="180" y="83"/>
                  </a:lnTo>
                  <a:lnTo>
                    <a:pt x="178" y="83"/>
                  </a:lnTo>
                  <a:lnTo>
                    <a:pt x="178" y="82"/>
                  </a:lnTo>
                  <a:lnTo>
                    <a:pt x="177" y="82"/>
                  </a:lnTo>
                  <a:lnTo>
                    <a:pt x="177" y="83"/>
                  </a:lnTo>
                  <a:lnTo>
                    <a:pt x="176" y="83"/>
                  </a:lnTo>
                  <a:lnTo>
                    <a:pt x="177" y="82"/>
                  </a:lnTo>
                  <a:lnTo>
                    <a:pt x="176" y="83"/>
                  </a:lnTo>
                  <a:lnTo>
                    <a:pt x="176" y="82"/>
                  </a:lnTo>
                  <a:lnTo>
                    <a:pt x="175" y="82"/>
                  </a:lnTo>
                  <a:lnTo>
                    <a:pt x="176" y="82"/>
                  </a:lnTo>
                  <a:lnTo>
                    <a:pt x="176" y="80"/>
                  </a:lnTo>
                  <a:lnTo>
                    <a:pt x="175" y="82"/>
                  </a:lnTo>
                  <a:lnTo>
                    <a:pt x="174" y="82"/>
                  </a:lnTo>
                  <a:lnTo>
                    <a:pt x="172" y="82"/>
                  </a:lnTo>
                  <a:lnTo>
                    <a:pt x="172" y="83"/>
                  </a:lnTo>
                  <a:lnTo>
                    <a:pt x="172" y="82"/>
                  </a:lnTo>
                  <a:lnTo>
                    <a:pt x="171" y="82"/>
                  </a:lnTo>
                  <a:lnTo>
                    <a:pt x="170" y="82"/>
                  </a:lnTo>
                  <a:lnTo>
                    <a:pt x="170" y="80"/>
                  </a:lnTo>
                  <a:lnTo>
                    <a:pt x="169" y="79"/>
                  </a:lnTo>
                  <a:lnTo>
                    <a:pt x="170" y="79"/>
                  </a:lnTo>
                  <a:lnTo>
                    <a:pt x="171" y="79"/>
                  </a:lnTo>
                  <a:lnTo>
                    <a:pt x="171" y="78"/>
                  </a:lnTo>
                  <a:lnTo>
                    <a:pt x="172" y="78"/>
                  </a:lnTo>
                  <a:lnTo>
                    <a:pt x="172" y="79"/>
                  </a:lnTo>
                  <a:lnTo>
                    <a:pt x="172" y="78"/>
                  </a:lnTo>
                  <a:lnTo>
                    <a:pt x="172" y="77"/>
                  </a:lnTo>
                  <a:lnTo>
                    <a:pt x="174" y="77"/>
                  </a:lnTo>
                  <a:lnTo>
                    <a:pt x="175" y="78"/>
                  </a:lnTo>
                  <a:lnTo>
                    <a:pt x="176" y="77"/>
                  </a:lnTo>
                  <a:lnTo>
                    <a:pt x="176" y="78"/>
                  </a:lnTo>
                  <a:lnTo>
                    <a:pt x="177" y="78"/>
                  </a:lnTo>
                  <a:lnTo>
                    <a:pt x="177" y="77"/>
                  </a:lnTo>
                  <a:lnTo>
                    <a:pt x="178" y="78"/>
                  </a:lnTo>
                  <a:lnTo>
                    <a:pt x="180" y="78"/>
                  </a:lnTo>
                  <a:lnTo>
                    <a:pt x="180" y="77"/>
                  </a:lnTo>
                  <a:lnTo>
                    <a:pt x="181" y="77"/>
                  </a:lnTo>
                  <a:lnTo>
                    <a:pt x="182" y="77"/>
                  </a:lnTo>
                  <a:lnTo>
                    <a:pt x="183" y="77"/>
                  </a:lnTo>
                  <a:lnTo>
                    <a:pt x="184" y="78"/>
                  </a:lnTo>
                  <a:lnTo>
                    <a:pt x="184" y="79"/>
                  </a:lnTo>
                  <a:lnTo>
                    <a:pt x="184" y="78"/>
                  </a:lnTo>
                  <a:lnTo>
                    <a:pt x="184" y="77"/>
                  </a:lnTo>
                  <a:lnTo>
                    <a:pt x="183" y="77"/>
                  </a:lnTo>
                  <a:lnTo>
                    <a:pt x="183" y="76"/>
                  </a:lnTo>
                  <a:lnTo>
                    <a:pt x="182" y="74"/>
                  </a:lnTo>
                  <a:lnTo>
                    <a:pt x="182" y="76"/>
                  </a:lnTo>
                  <a:lnTo>
                    <a:pt x="182" y="77"/>
                  </a:lnTo>
                  <a:lnTo>
                    <a:pt x="182" y="76"/>
                  </a:lnTo>
                  <a:lnTo>
                    <a:pt x="181" y="77"/>
                  </a:lnTo>
                  <a:lnTo>
                    <a:pt x="180" y="76"/>
                  </a:lnTo>
                  <a:lnTo>
                    <a:pt x="178" y="76"/>
                  </a:lnTo>
                  <a:lnTo>
                    <a:pt x="177" y="76"/>
                  </a:lnTo>
                  <a:lnTo>
                    <a:pt x="177" y="77"/>
                  </a:lnTo>
                  <a:lnTo>
                    <a:pt x="177" y="76"/>
                  </a:lnTo>
                  <a:lnTo>
                    <a:pt x="177" y="74"/>
                  </a:lnTo>
                  <a:lnTo>
                    <a:pt x="180" y="73"/>
                  </a:lnTo>
                  <a:lnTo>
                    <a:pt x="183" y="73"/>
                  </a:lnTo>
                  <a:lnTo>
                    <a:pt x="184" y="73"/>
                  </a:lnTo>
                  <a:lnTo>
                    <a:pt x="186" y="73"/>
                  </a:lnTo>
                  <a:lnTo>
                    <a:pt x="184" y="73"/>
                  </a:lnTo>
                  <a:lnTo>
                    <a:pt x="184" y="72"/>
                  </a:lnTo>
                  <a:lnTo>
                    <a:pt x="187" y="72"/>
                  </a:lnTo>
                  <a:lnTo>
                    <a:pt x="188" y="72"/>
                  </a:lnTo>
                  <a:lnTo>
                    <a:pt x="188" y="73"/>
                  </a:lnTo>
                  <a:lnTo>
                    <a:pt x="188" y="72"/>
                  </a:lnTo>
                  <a:lnTo>
                    <a:pt x="189" y="72"/>
                  </a:lnTo>
                  <a:lnTo>
                    <a:pt x="190" y="72"/>
                  </a:lnTo>
                  <a:lnTo>
                    <a:pt x="190" y="73"/>
                  </a:lnTo>
                  <a:lnTo>
                    <a:pt x="190" y="74"/>
                  </a:lnTo>
                  <a:lnTo>
                    <a:pt x="190" y="73"/>
                  </a:lnTo>
                  <a:lnTo>
                    <a:pt x="189" y="72"/>
                  </a:lnTo>
                  <a:lnTo>
                    <a:pt x="190" y="72"/>
                  </a:lnTo>
                  <a:lnTo>
                    <a:pt x="192" y="72"/>
                  </a:lnTo>
                  <a:lnTo>
                    <a:pt x="192" y="74"/>
                  </a:lnTo>
                  <a:lnTo>
                    <a:pt x="192" y="73"/>
                  </a:lnTo>
                  <a:lnTo>
                    <a:pt x="192" y="74"/>
                  </a:lnTo>
                  <a:lnTo>
                    <a:pt x="192" y="73"/>
                  </a:lnTo>
                  <a:lnTo>
                    <a:pt x="192" y="72"/>
                  </a:lnTo>
                  <a:lnTo>
                    <a:pt x="193" y="71"/>
                  </a:lnTo>
                  <a:lnTo>
                    <a:pt x="190" y="72"/>
                  </a:lnTo>
                  <a:lnTo>
                    <a:pt x="189" y="72"/>
                  </a:lnTo>
                  <a:lnTo>
                    <a:pt x="189" y="71"/>
                  </a:lnTo>
                  <a:lnTo>
                    <a:pt x="189" y="72"/>
                  </a:lnTo>
                  <a:lnTo>
                    <a:pt x="189" y="71"/>
                  </a:lnTo>
                  <a:lnTo>
                    <a:pt x="188" y="72"/>
                  </a:lnTo>
                  <a:lnTo>
                    <a:pt x="187" y="72"/>
                  </a:lnTo>
                  <a:lnTo>
                    <a:pt x="184" y="72"/>
                  </a:lnTo>
                  <a:lnTo>
                    <a:pt x="187" y="70"/>
                  </a:lnTo>
                  <a:lnTo>
                    <a:pt x="188" y="70"/>
                  </a:lnTo>
                  <a:lnTo>
                    <a:pt x="188" y="68"/>
                  </a:lnTo>
                  <a:lnTo>
                    <a:pt x="189" y="68"/>
                  </a:lnTo>
                  <a:lnTo>
                    <a:pt x="190" y="68"/>
                  </a:lnTo>
                  <a:lnTo>
                    <a:pt x="192" y="68"/>
                  </a:lnTo>
                  <a:lnTo>
                    <a:pt x="192" y="67"/>
                  </a:lnTo>
                  <a:lnTo>
                    <a:pt x="190" y="67"/>
                  </a:lnTo>
                  <a:lnTo>
                    <a:pt x="189" y="67"/>
                  </a:lnTo>
                  <a:lnTo>
                    <a:pt x="189" y="68"/>
                  </a:lnTo>
                  <a:lnTo>
                    <a:pt x="189" y="67"/>
                  </a:lnTo>
                  <a:lnTo>
                    <a:pt x="188" y="68"/>
                  </a:lnTo>
                  <a:lnTo>
                    <a:pt x="188" y="67"/>
                  </a:lnTo>
                  <a:lnTo>
                    <a:pt x="187" y="67"/>
                  </a:lnTo>
                  <a:lnTo>
                    <a:pt x="187" y="66"/>
                  </a:lnTo>
                  <a:lnTo>
                    <a:pt x="187" y="67"/>
                  </a:lnTo>
                  <a:lnTo>
                    <a:pt x="187" y="68"/>
                  </a:lnTo>
                  <a:lnTo>
                    <a:pt x="187" y="67"/>
                  </a:lnTo>
                  <a:lnTo>
                    <a:pt x="186" y="66"/>
                  </a:lnTo>
                  <a:lnTo>
                    <a:pt x="186" y="67"/>
                  </a:lnTo>
                  <a:lnTo>
                    <a:pt x="187" y="68"/>
                  </a:lnTo>
                  <a:lnTo>
                    <a:pt x="186" y="70"/>
                  </a:lnTo>
                  <a:lnTo>
                    <a:pt x="184" y="70"/>
                  </a:lnTo>
                  <a:lnTo>
                    <a:pt x="184" y="71"/>
                  </a:lnTo>
                  <a:lnTo>
                    <a:pt x="184" y="72"/>
                  </a:lnTo>
                  <a:lnTo>
                    <a:pt x="183" y="72"/>
                  </a:lnTo>
                  <a:lnTo>
                    <a:pt x="183" y="71"/>
                  </a:lnTo>
                  <a:lnTo>
                    <a:pt x="183" y="72"/>
                  </a:lnTo>
                  <a:lnTo>
                    <a:pt x="182" y="71"/>
                  </a:lnTo>
                  <a:lnTo>
                    <a:pt x="182" y="72"/>
                  </a:lnTo>
                  <a:lnTo>
                    <a:pt x="181" y="73"/>
                  </a:lnTo>
                  <a:lnTo>
                    <a:pt x="181" y="72"/>
                  </a:lnTo>
                  <a:lnTo>
                    <a:pt x="182" y="72"/>
                  </a:lnTo>
                  <a:lnTo>
                    <a:pt x="182" y="71"/>
                  </a:lnTo>
                  <a:lnTo>
                    <a:pt x="181" y="72"/>
                  </a:lnTo>
                  <a:lnTo>
                    <a:pt x="181" y="73"/>
                  </a:lnTo>
                  <a:lnTo>
                    <a:pt x="178" y="73"/>
                  </a:lnTo>
                  <a:lnTo>
                    <a:pt x="177" y="74"/>
                  </a:lnTo>
                  <a:lnTo>
                    <a:pt x="177" y="73"/>
                  </a:lnTo>
                  <a:lnTo>
                    <a:pt x="176" y="74"/>
                  </a:lnTo>
                  <a:lnTo>
                    <a:pt x="175" y="74"/>
                  </a:lnTo>
                  <a:lnTo>
                    <a:pt x="174" y="74"/>
                  </a:lnTo>
                  <a:lnTo>
                    <a:pt x="174" y="73"/>
                  </a:lnTo>
                  <a:lnTo>
                    <a:pt x="175" y="73"/>
                  </a:lnTo>
                  <a:lnTo>
                    <a:pt x="175" y="72"/>
                  </a:lnTo>
                  <a:lnTo>
                    <a:pt x="175" y="73"/>
                  </a:lnTo>
                  <a:lnTo>
                    <a:pt x="174" y="73"/>
                  </a:lnTo>
                  <a:lnTo>
                    <a:pt x="172" y="73"/>
                  </a:lnTo>
                  <a:lnTo>
                    <a:pt x="172" y="74"/>
                  </a:lnTo>
                  <a:lnTo>
                    <a:pt x="171" y="74"/>
                  </a:lnTo>
                  <a:lnTo>
                    <a:pt x="171" y="76"/>
                  </a:lnTo>
                  <a:lnTo>
                    <a:pt x="171" y="74"/>
                  </a:lnTo>
                  <a:lnTo>
                    <a:pt x="170" y="76"/>
                  </a:lnTo>
                  <a:lnTo>
                    <a:pt x="170" y="77"/>
                  </a:lnTo>
                  <a:lnTo>
                    <a:pt x="169" y="77"/>
                  </a:lnTo>
                  <a:lnTo>
                    <a:pt x="168" y="78"/>
                  </a:lnTo>
                  <a:lnTo>
                    <a:pt x="168" y="77"/>
                  </a:lnTo>
                  <a:lnTo>
                    <a:pt x="168" y="76"/>
                  </a:lnTo>
                  <a:lnTo>
                    <a:pt x="169" y="74"/>
                  </a:lnTo>
                  <a:lnTo>
                    <a:pt x="169" y="73"/>
                  </a:lnTo>
                  <a:lnTo>
                    <a:pt x="170" y="73"/>
                  </a:lnTo>
                  <a:lnTo>
                    <a:pt x="170" y="72"/>
                  </a:lnTo>
                  <a:lnTo>
                    <a:pt x="171" y="72"/>
                  </a:lnTo>
                  <a:lnTo>
                    <a:pt x="170" y="73"/>
                  </a:lnTo>
                  <a:lnTo>
                    <a:pt x="170" y="74"/>
                  </a:lnTo>
                  <a:lnTo>
                    <a:pt x="171" y="73"/>
                  </a:lnTo>
                  <a:lnTo>
                    <a:pt x="171" y="72"/>
                  </a:lnTo>
                  <a:lnTo>
                    <a:pt x="172" y="71"/>
                  </a:lnTo>
                  <a:lnTo>
                    <a:pt x="171" y="71"/>
                  </a:lnTo>
                  <a:lnTo>
                    <a:pt x="170" y="72"/>
                  </a:lnTo>
                  <a:lnTo>
                    <a:pt x="170" y="73"/>
                  </a:lnTo>
                  <a:lnTo>
                    <a:pt x="169" y="73"/>
                  </a:lnTo>
                  <a:lnTo>
                    <a:pt x="169" y="72"/>
                  </a:lnTo>
                  <a:lnTo>
                    <a:pt x="170" y="72"/>
                  </a:lnTo>
                  <a:lnTo>
                    <a:pt x="169" y="71"/>
                  </a:lnTo>
                  <a:lnTo>
                    <a:pt x="169" y="72"/>
                  </a:lnTo>
                  <a:lnTo>
                    <a:pt x="168" y="72"/>
                  </a:lnTo>
                  <a:lnTo>
                    <a:pt x="168" y="73"/>
                  </a:lnTo>
                  <a:lnTo>
                    <a:pt x="169" y="73"/>
                  </a:lnTo>
                  <a:lnTo>
                    <a:pt x="168" y="74"/>
                  </a:lnTo>
                  <a:lnTo>
                    <a:pt x="168" y="73"/>
                  </a:lnTo>
                  <a:lnTo>
                    <a:pt x="166" y="73"/>
                  </a:lnTo>
                  <a:lnTo>
                    <a:pt x="168" y="72"/>
                  </a:lnTo>
                  <a:lnTo>
                    <a:pt x="169" y="71"/>
                  </a:lnTo>
                  <a:lnTo>
                    <a:pt x="168" y="71"/>
                  </a:lnTo>
                  <a:lnTo>
                    <a:pt x="168" y="72"/>
                  </a:lnTo>
                  <a:lnTo>
                    <a:pt x="166" y="72"/>
                  </a:lnTo>
                  <a:lnTo>
                    <a:pt x="166" y="71"/>
                  </a:lnTo>
                  <a:lnTo>
                    <a:pt x="166" y="72"/>
                  </a:lnTo>
                  <a:lnTo>
                    <a:pt x="168" y="74"/>
                  </a:lnTo>
                  <a:lnTo>
                    <a:pt x="168" y="76"/>
                  </a:lnTo>
                  <a:lnTo>
                    <a:pt x="166" y="74"/>
                  </a:lnTo>
                  <a:lnTo>
                    <a:pt x="165" y="76"/>
                  </a:lnTo>
                  <a:lnTo>
                    <a:pt x="165" y="74"/>
                  </a:lnTo>
                  <a:lnTo>
                    <a:pt x="164" y="74"/>
                  </a:lnTo>
                  <a:lnTo>
                    <a:pt x="164" y="76"/>
                  </a:lnTo>
                  <a:lnTo>
                    <a:pt x="163" y="77"/>
                  </a:lnTo>
                  <a:lnTo>
                    <a:pt x="161" y="73"/>
                  </a:lnTo>
                  <a:lnTo>
                    <a:pt x="159" y="70"/>
                  </a:lnTo>
                  <a:lnTo>
                    <a:pt x="159" y="68"/>
                  </a:lnTo>
                  <a:lnTo>
                    <a:pt x="160" y="67"/>
                  </a:lnTo>
                  <a:lnTo>
                    <a:pt x="161" y="65"/>
                  </a:lnTo>
                  <a:lnTo>
                    <a:pt x="163" y="65"/>
                  </a:lnTo>
                  <a:lnTo>
                    <a:pt x="163" y="64"/>
                  </a:lnTo>
                  <a:lnTo>
                    <a:pt x="161" y="64"/>
                  </a:lnTo>
                  <a:lnTo>
                    <a:pt x="160" y="64"/>
                  </a:lnTo>
                  <a:lnTo>
                    <a:pt x="161" y="62"/>
                  </a:lnTo>
                  <a:lnTo>
                    <a:pt x="160" y="64"/>
                  </a:lnTo>
                  <a:lnTo>
                    <a:pt x="160" y="62"/>
                  </a:lnTo>
                  <a:lnTo>
                    <a:pt x="159" y="65"/>
                  </a:lnTo>
                  <a:lnTo>
                    <a:pt x="158" y="65"/>
                  </a:lnTo>
                  <a:lnTo>
                    <a:pt x="157" y="66"/>
                  </a:lnTo>
                  <a:lnTo>
                    <a:pt x="155" y="66"/>
                  </a:lnTo>
                  <a:lnTo>
                    <a:pt x="155" y="65"/>
                  </a:lnTo>
                  <a:lnTo>
                    <a:pt x="155" y="66"/>
                  </a:lnTo>
                  <a:lnTo>
                    <a:pt x="153" y="66"/>
                  </a:lnTo>
                  <a:lnTo>
                    <a:pt x="151" y="66"/>
                  </a:lnTo>
                  <a:lnTo>
                    <a:pt x="149" y="66"/>
                  </a:lnTo>
                  <a:lnTo>
                    <a:pt x="149" y="65"/>
                  </a:lnTo>
                  <a:lnTo>
                    <a:pt x="148" y="64"/>
                  </a:lnTo>
                  <a:lnTo>
                    <a:pt x="147" y="64"/>
                  </a:lnTo>
                  <a:lnTo>
                    <a:pt x="147" y="62"/>
                  </a:lnTo>
                  <a:lnTo>
                    <a:pt x="148" y="61"/>
                  </a:lnTo>
                  <a:lnTo>
                    <a:pt x="151" y="61"/>
                  </a:lnTo>
                  <a:lnTo>
                    <a:pt x="153" y="60"/>
                  </a:lnTo>
                  <a:lnTo>
                    <a:pt x="155" y="60"/>
                  </a:lnTo>
                  <a:lnTo>
                    <a:pt x="154" y="60"/>
                  </a:lnTo>
                  <a:lnTo>
                    <a:pt x="153" y="60"/>
                  </a:lnTo>
                  <a:lnTo>
                    <a:pt x="157" y="59"/>
                  </a:lnTo>
                  <a:lnTo>
                    <a:pt x="158" y="59"/>
                  </a:lnTo>
                  <a:lnTo>
                    <a:pt x="159" y="59"/>
                  </a:lnTo>
                  <a:lnTo>
                    <a:pt x="159" y="60"/>
                  </a:lnTo>
                  <a:lnTo>
                    <a:pt x="159" y="59"/>
                  </a:lnTo>
                  <a:lnTo>
                    <a:pt x="160" y="60"/>
                  </a:lnTo>
                  <a:lnTo>
                    <a:pt x="160" y="59"/>
                  </a:lnTo>
                  <a:lnTo>
                    <a:pt x="161" y="59"/>
                  </a:lnTo>
                  <a:lnTo>
                    <a:pt x="160" y="59"/>
                  </a:lnTo>
                  <a:lnTo>
                    <a:pt x="160" y="58"/>
                  </a:lnTo>
                  <a:lnTo>
                    <a:pt x="161" y="58"/>
                  </a:lnTo>
                  <a:lnTo>
                    <a:pt x="161" y="56"/>
                  </a:lnTo>
                  <a:lnTo>
                    <a:pt x="161" y="55"/>
                  </a:lnTo>
                  <a:lnTo>
                    <a:pt x="160" y="55"/>
                  </a:lnTo>
                  <a:lnTo>
                    <a:pt x="159" y="55"/>
                  </a:lnTo>
                  <a:lnTo>
                    <a:pt x="159" y="54"/>
                  </a:lnTo>
                  <a:lnTo>
                    <a:pt x="158" y="53"/>
                  </a:lnTo>
                  <a:lnTo>
                    <a:pt x="159" y="53"/>
                  </a:lnTo>
                  <a:lnTo>
                    <a:pt x="160" y="54"/>
                  </a:lnTo>
                  <a:lnTo>
                    <a:pt x="160" y="53"/>
                  </a:lnTo>
                  <a:lnTo>
                    <a:pt x="160" y="52"/>
                  </a:lnTo>
                  <a:lnTo>
                    <a:pt x="159" y="52"/>
                  </a:lnTo>
                  <a:lnTo>
                    <a:pt x="159" y="50"/>
                  </a:lnTo>
                  <a:lnTo>
                    <a:pt x="158" y="50"/>
                  </a:lnTo>
                  <a:lnTo>
                    <a:pt x="158" y="52"/>
                  </a:lnTo>
                  <a:lnTo>
                    <a:pt x="157" y="52"/>
                  </a:lnTo>
                  <a:lnTo>
                    <a:pt x="157" y="50"/>
                  </a:lnTo>
                  <a:lnTo>
                    <a:pt x="155" y="50"/>
                  </a:lnTo>
                  <a:lnTo>
                    <a:pt x="155" y="52"/>
                  </a:lnTo>
                  <a:lnTo>
                    <a:pt x="154" y="52"/>
                  </a:lnTo>
                  <a:lnTo>
                    <a:pt x="154" y="50"/>
                  </a:lnTo>
                  <a:lnTo>
                    <a:pt x="154" y="52"/>
                  </a:lnTo>
                  <a:lnTo>
                    <a:pt x="153" y="53"/>
                  </a:lnTo>
                  <a:lnTo>
                    <a:pt x="152" y="53"/>
                  </a:lnTo>
                  <a:lnTo>
                    <a:pt x="151" y="53"/>
                  </a:lnTo>
                  <a:lnTo>
                    <a:pt x="151" y="52"/>
                  </a:lnTo>
                  <a:lnTo>
                    <a:pt x="149" y="52"/>
                  </a:lnTo>
                  <a:lnTo>
                    <a:pt x="149" y="53"/>
                  </a:lnTo>
                  <a:lnTo>
                    <a:pt x="149" y="54"/>
                  </a:lnTo>
                  <a:lnTo>
                    <a:pt x="149" y="55"/>
                  </a:lnTo>
                  <a:lnTo>
                    <a:pt x="148" y="54"/>
                  </a:lnTo>
                  <a:lnTo>
                    <a:pt x="148" y="53"/>
                  </a:lnTo>
                  <a:lnTo>
                    <a:pt x="148" y="52"/>
                  </a:lnTo>
                  <a:lnTo>
                    <a:pt x="147" y="52"/>
                  </a:lnTo>
                  <a:lnTo>
                    <a:pt x="146" y="52"/>
                  </a:lnTo>
                  <a:lnTo>
                    <a:pt x="146" y="50"/>
                  </a:lnTo>
                  <a:lnTo>
                    <a:pt x="145" y="50"/>
                  </a:lnTo>
                  <a:lnTo>
                    <a:pt x="143" y="52"/>
                  </a:lnTo>
                  <a:lnTo>
                    <a:pt x="145" y="53"/>
                  </a:lnTo>
                  <a:lnTo>
                    <a:pt x="143" y="53"/>
                  </a:lnTo>
                  <a:lnTo>
                    <a:pt x="143" y="54"/>
                  </a:lnTo>
                  <a:lnTo>
                    <a:pt x="142" y="54"/>
                  </a:lnTo>
                  <a:lnTo>
                    <a:pt x="142" y="53"/>
                  </a:lnTo>
                  <a:lnTo>
                    <a:pt x="141" y="53"/>
                  </a:lnTo>
                  <a:lnTo>
                    <a:pt x="141" y="50"/>
                  </a:lnTo>
                  <a:lnTo>
                    <a:pt x="141" y="49"/>
                  </a:lnTo>
                  <a:lnTo>
                    <a:pt x="141" y="50"/>
                  </a:lnTo>
                  <a:lnTo>
                    <a:pt x="141" y="49"/>
                  </a:lnTo>
                  <a:lnTo>
                    <a:pt x="141" y="48"/>
                  </a:lnTo>
                  <a:lnTo>
                    <a:pt x="142" y="48"/>
                  </a:lnTo>
                  <a:lnTo>
                    <a:pt x="143" y="48"/>
                  </a:lnTo>
                  <a:lnTo>
                    <a:pt x="143" y="49"/>
                  </a:lnTo>
                  <a:lnTo>
                    <a:pt x="143" y="48"/>
                  </a:lnTo>
                  <a:lnTo>
                    <a:pt x="143" y="47"/>
                  </a:lnTo>
                  <a:lnTo>
                    <a:pt x="142" y="48"/>
                  </a:lnTo>
                  <a:lnTo>
                    <a:pt x="141" y="48"/>
                  </a:lnTo>
                  <a:lnTo>
                    <a:pt x="141" y="47"/>
                  </a:lnTo>
                  <a:lnTo>
                    <a:pt x="141" y="46"/>
                  </a:lnTo>
                  <a:lnTo>
                    <a:pt x="142" y="46"/>
                  </a:lnTo>
                  <a:lnTo>
                    <a:pt x="142" y="47"/>
                  </a:lnTo>
                  <a:lnTo>
                    <a:pt x="143" y="47"/>
                  </a:lnTo>
                  <a:lnTo>
                    <a:pt x="143" y="46"/>
                  </a:lnTo>
                  <a:lnTo>
                    <a:pt x="142" y="46"/>
                  </a:lnTo>
                  <a:lnTo>
                    <a:pt x="143" y="44"/>
                  </a:lnTo>
                  <a:lnTo>
                    <a:pt x="145" y="44"/>
                  </a:lnTo>
                  <a:lnTo>
                    <a:pt x="146" y="43"/>
                  </a:lnTo>
                  <a:lnTo>
                    <a:pt x="147" y="43"/>
                  </a:lnTo>
                  <a:lnTo>
                    <a:pt x="147" y="44"/>
                  </a:lnTo>
                  <a:lnTo>
                    <a:pt x="148" y="43"/>
                  </a:lnTo>
                  <a:lnTo>
                    <a:pt x="148" y="42"/>
                  </a:lnTo>
                  <a:lnTo>
                    <a:pt x="147" y="42"/>
                  </a:lnTo>
                  <a:lnTo>
                    <a:pt x="146" y="42"/>
                  </a:lnTo>
                  <a:lnTo>
                    <a:pt x="146" y="43"/>
                  </a:lnTo>
                  <a:lnTo>
                    <a:pt x="145" y="43"/>
                  </a:lnTo>
                  <a:lnTo>
                    <a:pt x="143" y="43"/>
                  </a:lnTo>
                  <a:lnTo>
                    <a:pt x="142" y="44"/>
                  </a:lnTo>
                  <a:lnTo>
                    <a:pt x="143" y="43"/>
                  </a:lnTo>
                  <a:lnTo>
                    <a:pt x="142" y="42"/>
                  </a:lnTo>
                  <a:lnTo>
                    <a:pt x="142" y="43"/>
                  </a:lnTo>
                  <a:lnTo>
                    <a:pt x="141" y="42"/>
                  </a:lnTo>
                  <a:lnTo>
                    <a:pt x="140" y="42"/>
                  </a:lnTo>
                  <a:lnTo>
                    <a:pt x="140" y="43"/>
                  </a:lnTo>
                  <a:lnTo>
                    <a:pt x="139" y="44"/>
                  </a:lnTo>
                  <a:lnTo>
                    <a:pt x="139" y="43"/>
                  </a:lnTo>
                  <a:lnTo>
                    <a:pt x="137" y="43"/>
                  </a:lnTo>
                  <a:lnTo>
                    <a:pt x="137" y="44"/>
                  </a:lnTo>
                  <a:lnTo>
                    <a:pt x="137" y="46"/>
                  </a:lnTo>
                  <a:lnTo>
                    <a:pt x="136" y="46"/>
                  </a:lnTo>
                  <a:lnTo>
                    <a:pt x="137" y="46"/>
                  </a:lnTo>
                  <a:lnTo>
                    <a:pt x="137" y="44"/>
                  </a:lnTo>
                  <a:lnTo>
                    <a:pt x="136" y="44"/>
                  </a:lnTo>
                  <a:lnTo>
                    <a:pt x="135" y="46"/>
                  </a:lnTo>
                  <a:lnTo>
                    <a:pt x="135" y="47"/>
                  </a:lnTo>
                  <a:lnTo>
                    <a:pt x="135" y="48"/>
                  </a:lnTo>
                  <a:lnTo>
                    <a:pt x="135" y="47"/>
                  </a:lnTo>
                  <a:lnTo>
                    <a:pt x="136" y="47"/>
                  </a:lnTo>
                  <a:lnTo>
                    <a:pt x="136" y="48"/>
                  </a:lnTo>
                  <a:lnTo>
                    <a:pt x="134" y="49"/>
                  </a:lnTo>
                  <a:lnTo>
                    <a:pt x="133" y="50"/>
                  </a:lnTo>
                  <a:lnTo>
                    <a:pt x="133" y="49"/>
                  </a:lnTo>
                  <a:lnTo>
                    <a:pt x="133" y="47"/>
                  </a:lnTo>
                  <a:lnTo>
                    <a:pt x="134" y="47"/>
                  </a:lnTo>
                  <a:lnTo>
                    <a:pt x="134" y="46"/>
                  </a:lnTo>
                  <a:lnTo>
                    <a:pt x="135" y="44"/>
                  </a:lnTo>
                  <a:lnTo>
                    <a:pt x="134" y="44"/>
                  </a:lnTo>
                  <a:lnTo>
                    <a:pt x="135" y="40"/>
                  </a:lnTo>
                  <a:lnTo>
                    <a:pt x="136" y="40"/>
                  </a:lnTo>
                  <a:lnTo>
                    <a:pt x="136" y="41"/>
                  </a:lnTo>
                  <a:lnTo>
                    <a:pt x="137" y="41"/>
                  </a:lnTo>
                  <a:lnTo>
                    <a:pt x="137" y="40"/>
                  </a:lnTo>
                  <a:lnTo>
                    <a:pt x="139" y="40"/>
                  </a:lnTo>
                  <a:lnTo>
                    <a:pt x="140" y="40"/>
                  </a:lnTo>
                  <a:lnTo>
                    <a:pt x="141" y="40"/>
                  </a:lnTo>
                  <a:lnTo>
                    <a:pt x="142" y="40"/>
                  </a:lnTo>
                  <a:lnTo>
                    <a:pt x="143" y="40"/>
                  </a:lnTo>
                  <a:lnTo>
                    <a:pt x="143" y="41"/>
                  </a:lnTo>
                  <a:lnTo>
                    <a:pt x="143" y="40"/>
                  </a:lnTo>
                  <a:lnTo>
                    <a:pt x="143" y="38"/>
                  </a:lnTo>
                  <a:lnTo>
                    <a:pt x="142" y="38"/>
                  </a:lnTo>
                  <a:lnTo>
                    <a:pt x="142" y="37"/>
                  </a:lnTo>
                  <a:lnTo>
                    <a:pt x="141" y="38"/>
                  </a:lnTo>
                  <a:lnTo>
                    <a:pt x="141" y="37"/>
                  </a:lnTo>
                  <a:lnTo>
                    <a:pt x="140" y="38"/>
                  </a:lnTo>
                  <a:lnTo>
                    <a:pt x="139" y="38"/>
                  </a:lnTo>
                  <a:lnTo>
                    <a:pt x="140" y="38"/>
                  </a:lnTo>
                  <a:lnTo>
                    <a:pt x="139" y="38"/>
                  </a:lnTo>
                  <a:lnTo>
                    <a:pt x="139" y="37"/>
                  </a:lnTo>
                  <a:lnTo>
                    <a:pt x="137" y="37"/>
                  </a:lnTo>
                  <a:lnTo>
                    <a:pt x="137" y="38"/>
                  </a:lnTo>
                  <a:lnTo>
                    <a:pt x="136" y="38"/>
                  </a:lnTo>
                  <a:lnTo>
                    <a:pt x="137" y="37"/>
                  </a:lnTo>
                  <a:lnTo>
                    <a:pt x="139" y="36"/>
                  </a:lnTo>
                  <a:lnTo>
                    <a:pt x="137" y="36"/>
                  </a:lnTo>
                  <a:lnTo>
                    <a:pt x="137" y="35"/>
                  </a:lnTo>
                  <a:lnTo>
                    <a:pt x="137" y="36"/>
                  </a:lnTo>
                  <a:lnTo>
                    <a:pt x="136" y="36"/>
                  </a:lnTo>
                  <a:lnTo>
                    <a:pt x="136" y="37"/>
                  </a:lnTo>
                  <a:lnTo>
                    <a:pt x="136" y="35"/>
                  </a:lnTo>
                  <a:lnTo>
                    <a:pt x="135" y="36"/>
                  </a:lnTo>
                  <a:lnTo>
                    <a:pt x="134" y="36"/>
                  </a:lnTo>
                  <a:lnTo>
                    <a:pt x="134" y="37"/>
                  </a:lnTo>
                  <a:lnTo>
                    <a:pt x="134" y="38"/>
                  </a:lnTo>
                  <a:lnTo>
                    <a:pt x="135" y="40"/>
                  </a:lnTo>
                  <a:lnTo>
                    <a:pt x="134" y="38"/>
                  </a:lnTo>
                  <a:lnTo>
                    <a:pt x="135" y="40"/>
                  </a:lnTo>
                  <a:lnTo>
                    <a:pt x="134" y="43"/>
                  </a:lnTo>
                  <a:lnTo>
                    <a:pt x="133" y="43"/>
                  </a:lnTo>
                  <a:lnTo>
                    <a:pt x="133" y="44"/>
                  </a:lnTo>
                  <a:lnTo>
                    <a:pt x="131" y="44"/>
                  </a:lnTo>
                  <a:lnTo>
                    <a:pt x="131" y="43"/>
                  </a:lnTo>
                  <a:lnTo>
                    <a:pt x="130" y="44"/>
                  </a:lnTo>
                  <a:lnTo>
                    <a:pt x="130" y="43"/>
                  </a:lnTo>
                  <a:lnTo>
                    <a:pt x="129" y="43"/>
                  </a:lnTo>
                  <a:lnTo>
                    <a:pt x="128" y="43"/>
                  </a:lnTo>
                  <a:lnTo>
                    <a:pt x="129" y="43"/>
                  </a:lnTo>
                  <a:lnTo>
                    <a:pt x="129" y="42"/>
                  </a:lnTo>
                  <a:lnTo>
                    <a:pt x="128" y="42"/>
                  </a:lnTo>
                  <a:lnTo>
                    <a:pt x="127" y="42"/>
                  </a:lnTo>
                  <a:lnTo>
                    <a:pt x="127" y="43"/>
                  </a:lnTo>
                  <a:lnTo>
                    <a:pt x="125" y="43"/>
                  </a:lnTo>
                  <a:lnTo>
                    <a:pt x="124" y="43"/>
                  </a:lnTo>
                  <a:lnTo>
                    <a:pt x="124" y="40"/>
                  </a:lnTo>
                  <a:lnTo>
                    <a:pt x="125" y="38"/>
                  </a:lnTo>
                  <a:lnTo>
                    <a:pt x="125" y="40"/>
                  </a:lnTo>
                  <a:lnTo>
                    <a:pt x="125" y="38"/>
                  </a:lnTo>
                  <a:lnTo>
                    <a:pt x="127" y="38"/>
                  </a:lnTo>
                  <a:lnTo>
                    <a:pt x="128" y="38"/>
                  </a:lnTo>
                  <a:lnTo>
                    <a:pt x="127" y="37"/>
                  </a:lnTo>
                  <a:lnTo>
                    <a:pt x="127" y="36"/>
                  </a:lnTo>
                  <a:lnTo>
                    <a:pt x="128" y="35"/>
                  </a:lnTo>
                  <a:lnTo>
                    <a:pt x="127" y="34"/>
                  </a:lnTo>
                  <a:lnTo>
                    <a:pt x="127" y="32"/>
                  </a:lnTo>
                  <a:lnTo>
                    <a:pt x="125" y="34"/>
                  </a:lnTo>
                  <a:lnTo>
                    <a:pt x="125" y="32"/>
                  </a:lnTo>
                  <a:lnTo>
                    <a:pt x="125" y="31"/>
                  </a:lnTo>
                  <a:lnTo>
                    <a:pt x="125" y="30"/>
                  </a:lnTo>
                  <a:lnTo>
                    <a:pt x="124" y="30"/>
                  </a:lnTo>
                  <a:lnTo>
                    <a:pt x="124" y="31"/>
                  </a:lnTo>
                  <a:lnTo>
                    <a:pt x="123" y="31"/>
                  </a:lnTo>
                  <a:lnTo>
                    <a:pt x="124" y="32"/>
                  </a:lnTo>
                  <a:lnTo>
                    <a:pt x="124" y="31"/>
                  </a:lnTo>
                  <a:lnTo>
                    <a:pt x="124" y="32"/>
                  </a:lnTo>
                  <a:lnTo>
                    <a:pt x="124" y="34"/>
                  </a:lnTo>
                  <a:lnTo>
                    <a:pt x="124" y="35"/>
                  </a:lnTo>
                  <a:lnTo>
                    <a:pt x="125" y="35"/>
                  </a:lnTo>
                  <a:lnTo>
                    <a:pt x="124" y="36"/>
                  </a:lnTo>
                  <a:lnTo>
                    <a:pt x="124" y="37"/>
                  </a:lnTo>
                  <a:lnTo>
                    <a:pt x="123" y="37"/>
                  </a:lnTo>
                  <a:lnTo>
                    <a:pt x="124" y="38"/>
                  </a:lnTo>
                  <a:lnTo>
                    <a:pt x="123" y="37"/>
                  </a:lnTo>
                  <a:lnTo>
                    <a:pt x="123" y="38"/>
                  </a:lnTo>
                  <a:lnTo>
                    <a:pt x="122" y="38"/>
                  </a:lnTo>
                  <a:lnTo>
                    <a:pt x="123" y="38"/>
                  </a:lnTo>
                  <a:lnTo>
                    <a:pt x="123" y="40"/>
                  </a:lnTo>
                  <a:lnTo>
                    <a:pt x="123" y="41"/>
                  </a:lnTo>
                  <a:lnTo>
                    <a:pt x="122" y="42"/>
                  </a:lnTo>
                  <a:lnTo>
                    <a:pt x="121" y="42"/>
                  </a:lnTo>
                  <a:lnTo>
                    <a:pt x="119" y="42"/>
                  </a:lnTo>
                  <a:lnTo>
                    <a:pt x="119" y="41"/>
                  </a:lnTo>
                  <a:lnTo>
                    <a:pt x="118" y="41"/>
                  </a:lnTo>
                  <a:lnTo>
                    <a:pt x="117" y="41"/>
                  </a:lnTo>
                  <a:lnTo>
                    <a:pt x="118" y="40"/>
                  </a:lnTo>
                  <a:lnTo>
                    <a:pt x="118" y="38"/>
                  </a:lnTo>
                  <a:lnTo>
                    <a:pt x="119" y="38"/>
                  </a:lnTo>
                  <a:lnTo>
                    <a:pt x="119" y="37"/>
                  </a:lnTo>
                  <a:lnTo>
                    <a:pt x="119" y="36"/>
                  </a:lnTo>
                  <a:lnTo>
                    <a:pt x="119" y="35"/>
                  </a:lnTo>
                  <a:lnTo>
                    <a:pt x="119" y="34"/>
                  </a:lnTo>
                  <a:lnTo>
                    <a:pt x="118" y="34"/>
                  </a:lnTo>
                  <a:lnTo>
                    <a:pt x="117" y="34"/>
                  </a:lnTo>
                  <a:lnTo>
                    <a:pt x="116" y="34"/>
                  </a:lnTo>
                  <a:lnTo>
                    <a:pt x="116" y="35"/>
                  </a:lnTo>
                  <a:lnTo>
                    <a:pt x="115" y="35"/>
                  </a:lnTo>
                  <a:lnTo>
                    <a:pt x="115" y="36"/>
                  </a:lnTo>
                  <a:lnTo>
                    <a:pt x="113" y="36"/>
                  </a:lnTo>
                  <a:lnTo>
                    <a:pt x="112" y="36"/>
                  </a:lnTo>
                  <a:lnTo>
                    <a:pt x="112" y="37"/>
                  </a:lnTo>
                  <a:lnTo>
                    <a:pt x="113" y="37"/>
                  </a:lnTo>
                  <a:lnTo>
                    <a:pt x="115" y="37"/>
                  </a:lnTo>
                  <a:lnTo>
                    <a:pt x="115" y="38"/>
                  </a:lnTo>
                  <a:lnTo>
                    <a:pt x="115" y="40"/>
                  </a:lnTo>
                  <a:lnTo>
                    <a:pt x="113" y="41"/>
                  </a:lnTo>
                  <a:lnTo>
                    <a:pt x="115" y="41"/>
                  </a:lnTo>
                  <a:lnTo>
                    <a:pt x="115" y="42"/>
                  </a:lnTo>
                  <a:lnTo>
                    <a:pt x="113" y="42"/>
                  </a:lnTo>
                  <a:lnTo>
                    <a:pt x="113" y="41"/>
                  </a:lnTo>
                  <a:lnTo>
                    <a:pt x="113" y="40"/>
                  </a:lnTo>
                  <a:lnTo>
                    <a:pt x="112" y="41"/>
                  </a:lnTo>
                  <a:lnTo>
                    <a:pt x="112" y="42"/>
                  </a:lnTo>
                  <a:lnTo>
                    <a:pt x="111" y="42"/>
                  </a:lnTo>
                  <a:lnTo>
                    <a:pt x="111" y="41"/>
                  </a:lnTo>
                  <a:lnTo>
                    <a:pt x="110" y="41"/>
                  </a:lnTo>
                  <a:lnTo>
                    <a:pt x="110" y="40"/>
                  </a:lnTo>
                  <a:lnTo>
                    <a:pt x="110" y="38"/>
                  </a:lnTo>
                  <a:lnTo>
                    <a:pt x="109" y="38"/>
                  </a:lnTo>
                  <a:lnTo>
                    <a:pt x="109" y="40"/>
                  </a:lnTo>
                  <a:lnTo>
                    <a:pt x="107" y="40"/>
                  </a:lnTo>
                  <a:lnTo>
                    <a:pt x="109" y="38"/>
                  </a:lnTo>
                  <a:lnTo>
                    <a:pt x="107" y="37"/>
                  </a:lnTo>
                  <a:lnTo>
                    <a:pt x="107" y="36"/>
                  </a:lnTo>
                  <a:lnTo>
                    <a:pt x="107" y="37"/>
                  </a:lnTo>
                  <a:lnTo>
                    <a:pt x="109" y="36"/>
                  </a:lnTo>
                  <a:lnTo>
                    <a:pt x="109" y="35"/>
                  </a:lnTo>
                  <a:lnTo>
                    <a:pt x="110" y="35"/>
                  </a:lnTo>
                  <a:lnTo>
                    <a:pt x="110" y="34"/>
                  </a:lnTo>
                  <a:lnTo>
                    <a:pt x="110" y="32"/>
                  </a:lnTo>
                  <a:lnTo>
                    <a:pt x="110" y="31"/>
                  </a:lnTo>
                  <a:lnTo>
                    <a:pt x="110" y="32"/>
                  </a:lnTo>
                  <a:lnTo>
                    <a:pt x="109" y="32"/>
                  </a:lnTo>
                  <a:lnTo>
                    <a:pt x="109" y="31"/>
                  </a:lnTo>
                  <a:lnTo>
                    <a:pt x="109" y="30"/>
                  </a:lnTo>
                  <a:lnTo>
                    <a:pt x="109" y="29"/>
                  </a:lnTo>
                  <a:lnTo>
                    <a:pt x="107" y="29"/>
                  </a:lnTo>
                  <a:lnTo>
                    <a:pt x="107" y="30"/>
                  </a:lnTo>
                  <a:lnTo>
                    <a:pt x="107" y="29"/>
                  </a:lnTo>
                  <a:lnTo>
                    <a:pt x="106" y="29"/>
                  </a:lnTo>
                  <a:lnTo>
                    <a:pt x="106" y="28"/>
                  </a:lnTo>
                  <a:lnTo>
                    <a:pt x="105" y="29"/>
                  </a:lnTo>
                  <a:lnTo>
                    <a:pt x="105" y="28"/>
                  </a:lnTo>
                  <a:lnTo>
                    <a:pt x="104" y="28"/>
                  </a:lnTo>
                  <a:lnTo>
                    <a:pt x="104" y="29"/>
                  </a:lnTo>
                  <a:lnTo>
                    <a:pt x="102" y="31"/>
                  </a:lnTo>
                  <a:lnTo>
                    <a:pt x="101" y="31"/>
                  </a:lnTo>
                  <a:lnTo>
                    <a:pt x="101" y="30"/>
                  </a:lnTo>
                  <a:lnTo>
                    <a:pt x="100" y="29"/>
                  </a:lnTo>
                  <a:lnTo>
                    <a:pt x="100" y="28"/>
                  </a:lnTo>
                  <a:lnTo>
                    <a:pt x="101" y="29"/>
                  </a:lnTo>
                  <a:lnTo>
                    <a:pt x="101" y="26"/>
                  </a:lnTo>
                  <a:lnTo>
                    <a:pt x="100" y="26"/>
                  </a:lnTo>
                  <a:lnTo>
                    <a:pt x="100" y="25"/>
                  </a:lnTo>
                  <a:lnTo>
                    <a:pt x="100" y="24"/>
                  </a:lnTo>
                  <a:lnTo>
                    <a:pt x="99" y="18"/>
                  </a:lnTo>
                  <a:lnTo>
                    <a:pt x="99" y="14"/>
                  </a:lnTo>
                  <a:lnTo>
                    <a:pt x="100" y="13"/>
                  </a:lnTo>
                  <a:lnTo>
                    <a:pt x="101" y="13"/>
                  </a:lnTo>
                  <a:lnTo>
                    <a:pt x="104" y="13"/>
                  </a:lnTo>
                  <a:lnTo>
                    <a:pt x="104" y="12"/>
                  </a:lnTo>
                  <a:lnTo>
                    <a:pt x="104" y="11"/>
                  </a:lnTo>
                  <a:lnTo>
                    <a:pt x="102" y="11"/>
                  </a:lnTo>
                  <a:lnTo>
                    <a:pt x="101" y="11"/>
                  </a:lnTo>
                  <a:lnTo>
                    <a:pt x="102" y="11"/>
                  </a:lnTo>
                  <a:lnTo>
                    <a:pt x="101" y="10"/>
                  </a:lnTo>
                  <a:lnTo>
                    <a:pt x="101" y="11"/>
                  </a:lnTo>
                  <a:lnTo>
                    <a:pt x="101" y="12"/>
                  </a:lnTo>
                  <a:lnTo>
                    <a:pt x="101" y="13"/>
                  </a:lnTo>
                  <a:lnTo>
                    <a:pt x="100" y="13"/>
                  </a:lnTo>
                  <a:lnTo>
                    <a:pt x="99" y="13"/>
                  </a:lnTo>
                  <a:lnTo>
                    <a:pt x="99" y="14"/>
                  </a:lnTo>
                  <a:lnTo>
                    <a:pt x="99" y="13"/>
                  </a:lnTo>
                  <a:lnTo>
                    <a:pt x="99" y="12"/>
                  </a:lnTo>
                  <a:lnTo>
                    <a:pt x="98" y="13"/>
                  </a:lnTo>
                  <a:lnTo>
                    <a:pt x="98" y="11"/>
                  </a:lnTo>
                  <a:lnTo>
                    <a:pt x="96" y="10"/>
                  </a:lnTo>
                  <a:lnTo>
                    <a:pt x="96" y="8"/>
                  </a:lnTo>
                  <a:lnTo>
                    <a:pt x="96" y="7"/>
                  </a:lnTo>
                  <a:lnTo>
                    <a:pt x="96" y="8"/>
                  </a:lnTo>
                  <a:lnTo>
                    <a:pt x="96" y="7"/>
                  </a:lnTo>
                  <a:lnTo>
                    <a:pt x="95" y="7"/>
                  </a:lnTo>
                  <a:lnTo>
                    <a:pt x="95" y="8"/>
                  </a:lnTo>
                  <a:lnTo>
                    <a:pt x="95" y="7"/>
                  </a:lnTo>
                  <a:lnTo>
                    <a:pt x="94" y="7"/>
                  </a:lnTo>
                  <a:lnTo>
                    <a:pt x="94" y="8"/>
                  </a:lnTo>
                  <a:lnTo>
                    <a:pt x="94" y="7"/>
                  </a:lnTo>
                  <a:lnTo>
                    <a:pt x="93" y="7"/>
                  </a:lnTo>
                  <a:lnTo>
                    <a:pt x="93" y="6"/>
                  </a:lnTo>
                  <a:lnTo>
                    <a:pt x="93" y="5"/>
                  </a:lnTo>
                  <a:lnTo>
                    <a:pt x="93" y="3"/>
                  </a:lnTo>
                  <a:lnTo>
                    <a:pt x="93" y="5"/>
                  </a:lnTo>
                  <a:lnTo>
                    <a:pt x="93" y="3"/>
                  </a:lnTo>
                  <a:lnTo>
                    <a:pt x="93" y="5"/>
                  </a:lnTo>
                  <a:lnTo>
                    <a:pt x="92" y="5"/>
                  </a:lnTo>
                  <a:lnTo>
                    <a:pt x="92" y="3"/>
                  </a:lnTo>
                  <a:lnTo>
                    <a:pt x="93" y="2"/>
                  </a:lnTo>
                  <a:lnTo>
                    <a:pt x="92" y="3"/>
                  </a:lnTo>
                  <a:lnTo>
                    <a:pt x="92" y="5"/>
                  </a:lnTo>
                  <a:lnTo>
                    <a:pt x="92" y="3"/>
                  </a:lnTo>
                  <a:lnTo>
                    <a:pt x="92" y="2"/>
                  </a:lnTo>
                  <a:lnTo>
                    <a:pt x="92" y="0"/>
                  </a:lnTo>
                  <a:lnTo>
                    <a:pt x="92" y="1"/>
                  </a:lnTo>
                  <a:lnTo>
                    <a:pt x="90" y="0"/>
                  </a:lnTo>
                  <a:lnTo>
                    <a:pt x="92" y="2"/>
                  </a:lnTo>
                  <a:lnTo>
                    <a:pt x="90" y="1"/>
                  </a:lnTo>
                  <a:lnTo>
                    <a:pt x="92" y="2"/>
                  </a:lnTo>
                  <a:lnTo>
                    <a:pt x="90" y="2"/>
                  </a:lnTo>
                  <a:lnTo>
                    <a:pt x="92" y="3"/>
                  </a:lnTo>
                  <a:lnTo>
                    <a:pt x="92" y="5"/>
                  </a:lnTo>
                  <a:lnTo>
                    <a:pt x="90" y="3"/>
                  </a:lnTo>
                  <a:lnTo>
                    <a:pt x="92" y="5"/>
                  </a:lnTo>
                  <a:lnTo>
                    <a:pt x="93" y="6"/>
                  </a:lnTo>
                  <a:lnTo>
                    <a:pt x="92" y="6"/>
                  </a:lnTo>
                  <a:lnTo>
                    <a:pt x="92" y="5"/>
                  </a:lnTo>
                  <a:lnTo>
                    <a:pt x="90" y="6"/>
                  </a:lnTo>
                  <a:lnTo>
                    <a:pt x="90" y="5"/>
                  </a:lnTo>
                  <a:lnTo>
                    <a:pt x="90" y="3"/>
                  </a:lnTo>
                  <a:lnTo>
                    <a:pt x="90" y="2"/>
                  </a:lnTo>
                  <a:lnTo>
                    <a:pt x="90" y="1"/>
                  </a:lnTo>
                  <a:lnTo>
                    <a:pt x="90" y="0"/>
                  </a:lnTo>
                  <a:lnTo>
                    <a:pt x="89" y="0"/>
                  </a:lnTo>
                  <a:lnTo>
                    <a:pt x="90" y="1"/>
                  </a:lnTo>
                  <a:lnTo>
                    <a:pt x="89" y="1"/>
                  </a:lnTo>
                  <a:lnTo>
                    <a:pt x="89" y="2"/>
                  </a:lnTo>
                  <a:lnTo>
                    <a:pt x="89" y="3"/>
                  </a:lnTo>
                  <a:lnTo>
                    <a:pt x="89" y="5"/>
                  </a:lnTo>
                  <a:lnTo>
                    <a:pt x="89" y="6"/>
                  </a:lnTo>
                  <a:lnTo>
                    <a:pt x="89" y="5"/>
                  </a:lnTo>
                  <a:lnTo>
                    <a:pt x="88" y="5"/>
                  </a:lnTo>
                  <a:lnTo>
                    <a:pt x="88" y="6"/>
                  </a:lnTo>
                  <a:lnTo>
                    <a:pt x="87" y="5"/>
                  </a:lnTo>
                  <a:lnTo>
                    <a:pt x="87" y="6"/>
                  </a:lnTo>
                  <a:lnTo>
                    <a:pt x="88" y="6"/>
                  </a:lnTo>
                  <a:lnTo>
                    <a:pt x="88" y="7"/>
                  </a:lnTo>
                  <a:lnTo>
                    <a:pt x="88" y="8"/>
                  </a:lnTo>
                  <a:lnTo>
                    <a:pt x="88" y="7"/>
                  </a:lnTo>
                  <a:lnTo>
                    <a:pt x="89" y="8"/>
                  </a:lnTo>
                  <a:lnTo>
                    <a:pt x="90" y="11"/>
                  </a:lnTo>
                  <a:lnTo>
                    <a:pt x="93" y="17"/>
                  </a:lnTo>
                  <a:lnTo>
                    <a:pt x="94" y="20"/>
                  </a:lnTo>
                  <a:lnTo>
                    <a:pt x="94" y="19"/>
                  </a:lnTo>
                  <a:lnTo>
                    <a:pt x="94" y="20"/>
                  </a:lnTo>
                  <a:lnTo>
                    <a:pt x="93" y="20"/>
                  </a:lnTo>
                  <a:lnTo>
                    <a:pt x="93" y="19"/>
                  </a:lnTo>
                  <a:lnTo>
                    <a:pt x="94" y="20"/>
                  </a:lnTo>
                  <a:lnTo>
                    <a:pt x="95" y="22"/>
                  </a:lnTo>
                  <a:lnTo>
                    <a:pt x="94" y="22"/>
                  </a:lnTo>
                  <a:lnTo>
                    <a:pt x="93" y="20"/>
                  </a:lnTo>
                  <a:lnTo>
                    <a:pt x="93" y="22"/>
                  </a:lnTo>
                  <a:lnTo>
                    <a:pt x="92" y="20"/>
                  </a:lnTo>
                  <a:lnTo>
                    <a:pt x="93" y="22"/>
                  </a:lnTo>
                  <a:lnTo>
                    <a:pt x="92" y="22"/>
                  </a:lnTo>
                  <a:lnTo>
                    <a:pt x="94" y="22"/>
                  </a:lnTo>
                  <a:lnTo>
                    <a:pt x="95" y="22"/>
                  </a:lnTo>
                  <a:lnTo>
                    <a:pt x="95" y="23"/>
                  </a:lnTo>
                  <a:lnTo>
                    <a:pt x="94" y="23"/>
                  </a:lnTo>
                  <a:lnTo>
                    <a:pt x="93" y="24"/>
                  </a:lnTo>
                  <a:lnTo>
                    <a:pt x="94" y="24"/>
                  </a:lnTo>
                  <a:lnTo>
                    <a:pt x="95" y="24"/>
                  </a:lnTo>
                  <a:lnTo>
                    <a:pt x="98" y="26"/>
                  </a:lnTo>
                  <a:lnTo>
                    <a:pt x="96" y="28"/>
                  </a:lnTo>
                  <a:lnTo>
                    <a:pt x="96" y="29"/>
                  </a:lnTo>
                  <a:lnTo>
                    <a:pt x="95" y="29"/>
                  </a:lnTo>
                  <a:lnTo>
                    <a:pt x="95" y="30"/>
                  </a:lnTo>
                  <a:lnTo>
                    <a:pt x="95" y="31"/>
                  </a:lnTo>
                  <a:lnTo>
                    <a:pt x="96" y="32"/>
                  </a:lnTo>
                  <a:lnTo>
                    <a:pt x="96" y="34"/>
                  </a:lnTo>
                  <a:lnTo>
                    <a:pt x="96" y="35"/>
                  </a:lnTo>
                  <a:lnTo>
                    <a:pt x="96" y="36"/>
                  </a:lnTo>
                  <a:lnTo>
                    <a:pt x="96" y="37"/>
                  </a:lnTo>
                  <a:lnTo>
                    <a:pt x="98" y="38"/>
                  </a:lnTo>
                  <a:lnTo>
                    <a:pt x="96" y="38"/>
                  </a:lnTo>
                  <a:lnTo>
                    <a:pt x="95" y="38"/>
                  </a:lnTo>
                  <a:lnTo>
                    <a:pt x="95" y="40"/>
                  </a:lnTo>
                  <a:lnTo>
                    <a:pt x="95" y="41"/>
                  </a:lnTo>
                  <a:lnTo>
                    <a:pt x="94" y="40"/>
                  </a:lnTo>
                  <a:lnTo>
                    <a:pt x="94" y="41"/>
                  </a:lnTo>
                  <a:lnTo>
                    <a:pt x="94" y="40"/>
                  </a:lnTo>
                  <a:lnTo>
                    <a:pt x="93" y="38"/>
                  </a:lnTo>
                  <a:lnTo>
                    <a:pt x="93" y="40"/>
                  </a:lnTo>
                  <a:lnTo>
                    <a:pt x="93" y="38"/>
                  </a:lnTo>
                  <a:lnTo>
                    <a:pt x="92" y="38"/>
                  </a:lnTo>
                  <a:lnTo>
                    <a:pt x="90" y="38"/>
                  </a:lnTo>
                  <a:lnTo>
                    <a:pt x="92" y="38"/>
                  </a:lnTo>
                  <a:lnTo>
                    <a:pt x="92" y="40"/>
                  </a:lnTo>
                  <a:lnTo>
                    <a:pt x="90" y="38"/>
                  </a:lnTo>
                  <a:lnTo>
                    <a:pt x="90" y="37"/>
                  </a:lnTo>
                  <a:lnTo>
                    <a:pt x="90" y="36"/>
                  </a:lnTo>
                  <a:lnTo>
                    <a:pt x="89" y="36"/>
                  </a:lnTo>
                  <a:lnTo>
                    <a:pt x="89" y="35"/>
                  </a:lnTo>
                  <a:lnTo>
                    <a:pt x="90" y="34"/>
                  </a:lnTo>
                  <a:lnTo>
                    <a:pt x="89" y="35"/>
                  </a:lnTo>
                  <a:lnTo>
                    <a:pt x="89" y="34"/>
                  </a:lnTo>
                  <a:lnTo>
                    <a:pt x="90" y="34"/>
                  </a:lnTo>
                  <a:lnTo>
                    <a:pt x="90" y="32"/>
                  </a:lnTo>
                  <a:lnTo>
                    <a:pt x="89" y="32"/>
                  </a:lnTo>
                  <a:lnTo>
                    <a:pt x="89" y="31"/>
                  </a:lnTo>
                  <a:lnTo>
                    <a:pt x="89" y="30"/>
                  </a:lnTo>
                  <a:lnTo>
                    <a:pt x="89" y="31"/>
                  </a:lnTo>
                  <a:lnTo>
                    <a:pt x="88" y="34"/>
                  </a:lnTo>
                  <a:lnTo>
                    <a:pt x="88" y="32"/>
                  </a:lnTo>
                  <a:lnTo>
                    <a:pt x="88" y="31"/>
                  </a:lnTo>
                  <a:lnTo>
                    <a:pt x="87" y="31"/>
                  </a:lnTo>
                  <a:lnTo>
                    <a:pt x="88" y="31"/>
                  </a:lnTo>
                  <a:lnTo>
                    <a:pt x="87" y="31"/>
                  </a:lnTo>
                  <a:lnTo>
                    <a:pt x="86" y="31"/>
                  </a:lnTo>
                  <a:lnTo>
                    <a:pt x="86" y="30"/>
                  </a:lnTo>
                  <a:lnTo>
                    <a:pt x="86" y="31"/>
                  </a:lnTo>
                  <a:lnTo>
                    <a:pt x="84" y="32"/>
                  </a:lnTo>
                  <a:lnTo>
                    <a:pt x="86" y="31"/>
                  </a:lnTo>
                  <a:lnTo>
                    <a:pt x="86" y="32"/>
                  </a:lnTo>
                  <a:lnTo>
                    <a:pt x="86" y="34"/>
                  </a:lnTo>
                  <a:lnTo>
                    <a:pt x="86" y="35"/>
                  </a:lnTo>
                  <a:lnTo>
                    <a:pt x="87" y="35"/>
                  </a:lnTo>
                  <a:lnTo>
                    <a:pt x="88" y="35"/>
                  </a:lnTo>
                  <a:lnTo>
                    <a:pt x="88" y="36"/>
                  </a:lnTo>
                  <a:lnTo>
                    <a:pt x="87" y="36"/>
                  </a:lnTo>
                  <a:lnTo>
                    <a:pt x="87" y="37"/>
                  </a:lnTo>
                  <a:lnTo>
                    <a:pt x="87" y="38"/>
                  </a:lnTo>
                  <a:lnTo>
                    <a:pt x="88" y="38"/>
                  </a:lnTo>
                  <a:lnTo>
                    <a:pt x="89" y="41"/>
                  </a:lnTo>
                  <a:lnTo>
                    <a:pt x="89" y="42"/>
                  </a:lnTo>
                  <a:lnTo>
                    <a:pt x="89" y="43"/>
                  </a:lnTo>
                  <a:lnTo>
                    <a:pt x="89" y="42"/>
                  </a:lnTo>
                  <a:lnTo>
                    <a:pt x="88" y="42"/>
                  </a:lnTo>
                  <a:lnTo>
                    <a:pt x="88" y="43"/>
                  </a:lnTo>
                  <a:lnTo>
                    <a:pt x="89" y="43"/>
                  </a:lnTo>
                  <a:lnTo>
                    <a:pt x="89" y="44"/>
                  </a:lnTo>
                  <a:lnTo>
                    <a:pt x="88" y="44"/>
                  </a:lnTo>
                  <a:lnTo>
                    <a:pt x="87" y="44"/>
                  </a:lnTo>
                  <a:lnTo>
                    <a:pt x="87" y="43"/>
                  </a:lnTo>
                  <a:lnTo>
                    <a:pt x="86" y="43"/>
                  </a:lnTo>
                  <a:lnTo>
                    <a:pt x="84" y="46"/>
                  </a:lnTo>
                  <a:lnTo>
                    <a:pt x="84" y="44"/>
                  </a:lnTo>
                  <a:lnTo>
                    <a:pt x="83" y="44"/>
                  </a:lnTo>
                  <a:lnTo>
                    <a:pt x="83" y="43"/>
                  </a:lnTo>
                  <a:lnTo>
                    <a:pt x="82" y="43"/>
                  </a:lnTo>
                  <a:lnTo>
                    <a:pt x="82" y="44"/>
                  </a:lnTo>
                  <a:lnTo>
                    <a:pt x="81" y="44"/>
                  </a:lnTo>
                  <a:lnTo>
                    <a:pt x="81" y="43"/>
                  </a:lnTo>
                  <a:lnTo>
                    <a:pt x="81" y="44"/>
                  </a:lnTo>
                  <a:lnTo>
                    <a:pt x="81" y="46"/>
                  </a:lnTo>
                  <a:lnTo>
                    <a:pt x="80" y="47"/>
                  </a:lnTo>
                  <a:lnTo>
                    <a:pt x="80" y="48"/>
                  </a:lnTo>
                  <a:lnTo>
                    <a:pt x="78" y="48"/>
                  </a:lnTo>
                  <a:lnTo>
                    <a:pt x="78" y="47"/>
                  </a:lnTo>
                  <a:lnTo>
                    <a:pt x="78" y="48"/>
                  </a:lnTo>
                  <a:lnTo>
                    <a:pt x="77" y="48"/>
                  </a:lnTo>
                  <a:lnTo>
                    <a:pt x="76" y="48"/>
                  </a:lnTo>
                  <a:lnTo>
                    <a:pt x="77" y="48"/>
                  </a:lnTo>
                  <a:lnTo>
                    <a:pt x="77" y="47"/>
                  </a:lnTo>
                  <a:lnTo>
                    <a:pt x="77" y="46"/>
                  </a:lnTo>
                  <a:lnTo>
                    <a:pt x="76" y="46"/>
                  </a:lnTo>
                  <a:lnTo>
                    <a:pt x="76" y="47"/>
                  </a:lnTo>
                  <a:lnTo>
                    <a:pt x="76" y="48"/>
                  </a:lnTo>
                  <a:lnTo>
                    <a:pt x="76" y="49"/>
                  </a:lnTo>
                  <a:lnTo>
                    <a:pt x="75" y="49"/>
                  </a:lnTo>
                  <a:lnTo>
                    <a:pt x="74" y="49"/>
                  </a:lnTo>
                  <a:lnTo>
                    <a:pt x="74" y="48"/>
                  </a:lnTo>
                  <a:lnTo>
                    <a:pt x="72" y="48"/>
                  </a:lnTo>
                  <a:lnTo>
                    <a:pt x="74" y="50"/>
                  </a:lnTo>
                  <a:lnTo>
                    <a:pt x="75" y="52"/>
                  </a:lnTo>
                  <a:lnTo>
                    <a:pt x="76" y="52"/>
                  </a:lnTo>
                  <a:lnTo>
                    <a:pt x="76" y="53"/>
                  </a:lnTo>
                  <a:lnTo>
                    <a:pt x="75" y="53"/>
                  </a:lnTo>
                  <a:lnTo>
                    <a:pt x="74" y="52"/>
                  </a:lnTo>
                  <a:lnTo>
                    <a:pt x="74" y="50"/>
                  </a:lnTo>
                  <a:lnTo>
                    <a:pt x="74" y="49"/>
                  </a:lnTo>
                  <a:lnTo>
                    <a:pt x="72" y="50"/>
                  </a:lnTo>
                  <a:lnTo>
                    <a:pt x="72" y="52"/>
                  </a:lnTo>
                  <a:lnTo>
                    <a:pt x="71" y="52"/>
                  </a:lnTo>
                  <a:lnTo>
                    <a:pt x="72" y="52"/>
                  </a:lnTo>
                  <a:lnTo>
                    <a:pt x="71" y="53"/>
                  </a:lnTo>
                  <a:lnTo>
                    <a:pt x="71" y="52"/>
                  </a:lnTo>
                  <a:lnTo>
                    <a:pt x="71" y="50"/>
                  </a:lnTo>
                  <a:lnTo>
                    <a:pt x="71" y="49"/>
                  </a:lnTo>
                  <a:lnTo>
                    <a:pt x="71" y="50"/>
                  </a:lnTo>
                  <a:lnTo>
                    <a:pt x="70" y="50"/>
                  </a:lnTo>
                  <a:lnTo>
                    <a:pt x="71" y="49"/>
                  </a:lnTo>
                  <a:lnTo>
                    <a:pt x="70" y="49"/>
                  </a:lnTo>
                  <a:lnTo>
                    <a:pt x="70" y="50"/>
                  </a:lnTo>
                  <a:lnTo>
                    <a:pt x="70" y="49"/>
                  </a:lnTo>
                  <a:lnTo>
                    <a:pt x="70" y="50"/>
                  </a:lnTo>
                  <a:lnTo>
                    <a:pt x="70" y="52"/>
                  </a:lnTo>
                  <a:lnTo>
                    <a:pt x="70" y="53"/>
                  </a:lnTo>
                  <a:lnTo>
                    <a:pt x="69" y="53"/>
                  </a:lnTo>
                  <a:lnTo>
                    <a:pt x="68" y="53"/>
                  </a:lnTo>
                  <a:lnTo>
                    <a:pt x="68" y="54"/>
                  </a:lnTo>
                  <a:lnTo>
                    <a:pt x="66" y="54"/>
                  </a:lnTo>
                  <a:lnTo>
                    <a:pt x="65" y="54"/>
                  </a:lnTo>
                  <a:lnTo>
                    <a:pt x="65" y="55"/>
                  </a:lnTo>
                  <a:lnTo>
                    <a:pt x="64" y="55"/>
                  </a:lnTo>
                  <a:lnTo>
                    <a:pt x="65" y="56"/>
                  </a:lnTo>
                  <a:lnTo>
                    <a:pt x="65" y="58"/>
                  </a:lnTo>
                  <a:lnTo>
                    <a:pt x="66" y="58"/>
                  </a:lnTo>
                  <a:lnTo>
                    <a:pt x="66" y="56"/>
                  </a:lnTo>
                  <a:lnTo>
                    <a:pt x="66" y="58"/>
                  </a:lnTo>
                  <a:lnTo>
                    <a:pt x="68" y="58"/>
                  </a:lnTo>
                  <a:lnTo>
                    <a:pt x="66" y="59"/>
                  </a:lnTo>
                  <a:lnTo>
                    <a:pt x="68" y="59"/>
                  </a:lnTo>
                  <a:lnTo>
                    <a:pt x="68" y="60"/>
                  </a:lnTo>
                  <a:lnTo>
                    <a:pt x="68" y="61"/>
                  </a:lnTo>
                  <a:lnTo>
                    <a:pt x="68" y="60"/>
                  </a:lnTo>
                  <a:lnTo>
                    <a:pt x="69" y="61"/>
                  </a:lnTo>
                  <a:lnTo>
                    <a:pt x="68" y="61"/>
                  </a:lnTo>
                  <a:lnTo>
                    <a:pt x="66" y="60"/>
                  </a:lnTo>
                  <a:lnTo>
                    <a:pt x="66" y="61"/>
                  </a:lnTo>
                  <a:lnTo>
                    <a:pt x="65" y="60"/>
                  </a:lnTo>
                  <a:lnTo>
                    <a:pt x="65" y="59"/>
                  </a:lnTo>
                  <a:lnTo>
                    <a:pt x="65" y="60"/>
                  </a:lnTo>
                  <a:lnTo>
                    <a:pt x="65" y="61"/>
                  </a:lnTo>
                  <a:lnTo>
                    <a:pt x="63" y="60"/>
                  </a:lnTo>
                  <a:lnTo>
                    <a:pt x="64" y="59"/>
                  </a:lnTo>
                  <a:lnTo>
                    <a:pt x="63" y="60"/>
                  </a:lnTo>
                  <a:lnTo>
                    <a:pt x="63" y="59"/>
                  </a:lnTo>
                  <a:lnTo>
                    <a:pt x="62" y="60"/>
                  </a:lnTo>
                  <a:lnTo>
                    <a:pt x="59" y="58"/>
                  </a:lnTo>
                  <a:lnTo>
                    <a:pt x="56" y="56"/>
                  </a:lnTo>
                  <a:lnTo>
                    <a:pt x="57" y="55"/>
                  </a:lnTo>
                  <a:lnTo>
                    <a:pt x="57" y="56"/>
                  </a:lnTo>
                  <a:lnTo>
                    <a:pt x="58" y="56"/>
                  </a:lnTo>
                  <a:lnTo>
                    <a:pt x="58" y="55"/>
                  </a:lnTo>
                  <a:lnTo>
                    <a:pt x="59" y="56"/>
                  </a:lnTo>
                  <a:lnTo>
                    <a:pt x="58" y="55"/>
                  </a:lnTo>
                  <a:lnTo>
                    <a:pt x="57" y="55"/>
                  </a:lnTo>
                  <a:lnTo>
                    <a:pt x="57" y="54"/>
                  </a:lnTo>
                  <a:lnTo>
                    <a:pt x="57" y="53"/>
                  </a:lnTo>
                  <a:lnTo>
                    <a:pt x="58" y="52"/>
                  </a:lnTo>
                  <a:lnTo>
                    <a:pt x="58" y="50"/>
                  </a:lnTo>
                  <a:lnTo>
                    <a:pt x="59" y="50"/>
                  </a:lnTo>
                  <a:lnTo>
                    <a:pt x="59" y="52"/>
                  </a:lnTo>
                  <a:lnTo>
                    <a:pt x="58" y="53"/>
                  </a:lnTo>
                  <a:lnTo>
                    <a:pt x="59" y="52"/>
                  </a:lnTo>
                  <a:lnTo>
                    <a:pt x="59" y="50"/>
                  </a:lnTo>
                  <a:lnTo>
                    <a:pt x="58" y="50"/>
                  </a:lnTo>
                  <a:lnTo>
                    <a:pt x="57" y="50"/>
                  </a:lnTo>
                  <a:lnTo>
                    <a:pt x="57" y="48"/>
                  </a:lnTo>
                  <a:lnTo>
                    <a:pt x="58" y="48"/>
                  </a:lnTo>
                  <a:lnTo>
                    <a:pt x="58" y="47"/>
                  </a:lnTo>
                  <a:lnTo>
                    <a:pt x="58" y="46"/>
                  </a:lnTo>
                  <a:lnTo>
                    <a:pt x="58" y="44"/>
                  </a:lnTo>
                  <a:lnTo>
                    <a:pt x="59" y="44"/>
                  </a:lnTo>
                  <a:lnTo>
                    <a:pt x="58" y="44"/>
                  </a:lnTo>
                  <a:lnTo>
                    <a:pt x="59" y="43"/>
                  </a:lnTo>
                  <a:lnTo>
                    <a:pt x="59" y="42"/>
                  </a:lnTo>
                  <a:lnTo>
                    <a:pt x="60" y="42"/>
                  </a:lnTo>
                  <a:lnTo>
                    <a:pt x="60" y="41"/>
                  </a:lnTo>
                  <a:lnTo>
                    <a:pt x="62" y="41"/>
                  </a:lnTo>
                  <a:lnTo>
                    <a:pt x="62" y="42"/>
                  </a:lnTo>
                  <a:lnTo>
                    <a:pt x="62" y="43"/>
                  </a:lnTo>
                  <a:lnTo>
                    <a:pt x="62" y="42"/>
                  </a:lnTo>
                  <a:lnTo>
                    <a:pt x="63" y="42"/>
                  </a:lnTo>
                  <a:lnTo>
                    <a:pt x="62" y="41"/>
                  </a:lnTo>
                  <a:lnTo>
                    <a:pt x="60" y="40"/>
                  </a:lnTo>
                  <a:lnTo>
                    <a:pt x="60" y="38"/>
                  </a:lnTo>
                  <a:lnTo>
                    <a:pt x="62" y="38"/>
                  </a:lnTo>
                  <a:lnTo>
                    <a:pt x="62" y="40"/>
                  </a:lnTo>
                  <a:lnTo>
                    <a:pt x="63" y="40"/>
                  </a:lnTo>
                  <a:lnTo>
                    <a:pt x="62" y="38"/>
                  </a:lnTo>
                  <a:lnTo>
                    <a:pt x="60" y="38"/>
                  </a:lnTo>
                  <a:lnTo>
                    <a:pt x="62" y="37"/>
                  </a:lnTo>
                  <a:lnTo>
                    <a:pt x="60" y="37"/>
                  </a:lnTo>
                  <a:lnTo>
                    <a:pt x="60" y="36"/>
                  </a:lnTo>
                  <a:lnTo>
                    <a:pt x="62" y="35"/>
                  </a:lnTo>
                  <a:lnTo>
                    <a:pt x="60" y="37"/>
                  </a:lnTo>
                  <a:lnTo>
                    <a:pt x="59" y="37"/>
                  </a:lnTo>
                  <a:lnTo>
                    <a:pt x="59" y="38"/>
                  </a:lnTo>
                  <a:lnTo>
                    <a:pt x="58" y="38"/>
                  </a:lnTo>
                  <a:lnTo>
                    <a:pt x="58" y="37"/>
                  </a:lnTo>
                  <a:lnTo>
                    <a:pt x="58" y="38"/>
                  </a:lnTo>
                  <a:lnTo>
                    <a:pt x="59" y="38"/>
                  </a:lnTo>
                  <a:lnTo>
                    <a:pt x="59" y="40"/>
                  </a:lnTo>
                  <a:lnTo>
                    <a:pt x="58" y="38"/>
                  </a:lnTo>
                  <a:lnTo>
                    <a:pt x="59" y="40"/>
                  </a:lnTo>
                  <a:lnTo>
                    <a:pt x="59" y="41"/>
                  </a:lnTo>
                  <a:lnTo>
                    <a:pt x="58" y="41"/>
                  </a:lnTo>
                  <a:lnTo>
                    <a:pt x="57" y="42"/>
                  </a:lnTo>
                  <a:lnTo>
                    <a:pt x="57" y="43"/>
                  </a:lnTo>
                  <a:lnTo>
                    <a:pt x="58" y="42"/>
                  </a:lnTo>
                  <a:lnTo>
                    <a:pt x="58" y="43"/>
                  </a:lnTo>
                  <a:lnTo>
                    <a:pt x="58" y="44"/>
                  </a:lnTo>
                  <a:lnTo>
                    <a:pt x="57" y="47"/>
                  </a:lnTo>
                  <a:lnTo>
                    <a:pt x="57" y="50"/>
                  </a:lnTo>
                  <a:lnTo>
                    <a:pt x="56" y="50"/>
                  </a:lnTo>
                  <a:lnTo>
                    <a:pt x="56" y="52"/>
                  </a:lnTo>
                  <a:lnTo>
                    <a:pt x="54" y="52"/>
                  </a:lnTo>
                  <a:lnTo>
                    <a:pt x="54" y="53"/>
                  </a:lnTo>
                  <a:lnTo>
                    <a:pt x="54" y="52"/>
                  </a:lnTo>
                  <a:lnTo>
                    <a:pt x="53" y="49"/>
                  </a:lnTo>
                  <a:lnTo>
                    <a:pt x="52" y="47"/>
                  </a:lnTo>
                  <a:lnTo>
                    <a:pt x="53" y="47"/>
                  </a:lnTo>
                  <a:lnTo>
                    <a:pt x="52" y="47"/>
                  </a:lnTo>
                  <a:lnTo>
                    <a:pt x="52" y="46"/>
                  </a:lnTo>
                  <a:lnTo>
                    <a:pt x="53" y="46"/>
                  </a:lnTo>
                  <a:lnTo>
                    <a:pt x="52" y="46"/>
                  </a:lnTo>
                  <a:lnTo>
                    <a:pt x="53" y="44"/>
                  </a:lnTo>
                  <a:lnTo>
                    <a:pt x="53" y="43"/>
                  </a:lnTo>
                  <a:lnTo>
                    <a:pt x="53" y="44"/>
                  </a:lnTo>
                  <a:lnTo>
                    <a:pt x="52" y="44"/>
                  </a:lnTo>
                  <a:lnTo>
                    <a:pt x="52" y="46"/>
                  </a:lnTo>
                  <a:lnTo>
                    <a:pt x="51" y="43"/>
                  </a:lnTo>
                  <a:lnTo>
                    <a:pt x="52" y="42"/>
                  </a:lnTo>
                  <a:lnTo>
                    <a:pt x="53" y="42"/>
                  </a:lnTo>
                  <a:lnTo>
                    <a:pt x="52" y="42"/>
                  </a:lnTo>
                  <a:lnTo>
                    <a:pt x="53" y="41"/>
                  </a:lnTo>
                  <a:lnTo>
                    <a:pt x="52" y="42"/>
                  </a:lnTo>
                  <a:lnTo>
                    <a:pt x="52" y="41"/>
                  </a:lnTo>
                  <a:lnTo>
                    <a:pt x="52" y="42"/>
                  </a:lnTo>
                  <a:lnTo>
                    <a:pt x="51" y="42"/>
                  </a:lnTo>
                  <a:lnTo>
                    <a:pt x="51" y="41"/>
                  </a:lnTo>
                  <a:lnTo>
                    <a:pt x="51" y="40"/>
                  </a:lnTo>
                  <a:lnTo>
                    <a:pt x="51" y="38"/>
                  </a:lnTo>
                  <a:lnTo>
                    <a:pt x="50" y="38"/>
                  </a:lnTo>
                  <a:lnTo>
                    <a:pt x="50" y="40"/>
                  </a:lnTo>
                  <a:lnTo>
                    <a:pt x="48" y="40"/>
                  </a:lnTo>
                  <a:lnTo>
                    <a:pt x="48" y="38"/>
                  </a:lnTo>
                  <a:lnTo>
                    <a:pt x="48" y="40"/>
                  </a:lnTo>
                  <a:lnTo>
                    <a:pt x="48" y="41"/>
                  </a:lnTo>
                  <a:lnTo>
                    <a:pt x="48" y="42"/>
                  </a:lnTo>
                  <a:lnTo>
                    <a:pt x="48" y="43"/>
                  </a:lnTo>
                  <a:lnTo>
                    <a:pt x="48" y="42"/>
                  </a:lnTo>
                  <a:lnTo>
                    <a:pt x="47" y="42"/>
                  </a:lnTo>
                  <a:lnTo>
                    <a:pt x="46" y="42"/>
                  </a:lnTo>
                  <a:lnTo>
                    <a:pt x="45" y="42"/>
                  </a:lnTo>
                  <a:lnTo>
                    <a:pt x="45" y="41"/>
                  </a:lnTo>
                  <a:lnTo>
                    <a:pt x="45" y="42"/>
                  </a:lnTo>
                  <a:lnTo>
                    <a:pt x="45" y="43"/>
                  </a:lnTo>
                  <a:lnTo>
                    <a:pt x="45" y="44"/>
                  </a:lnTo>
                  <a:lnTo>
                    <a:pt x="45" y="43"/>
                  </a:lnTo>
                  <a:lnTo>
                    <a:pt x="46" y="42"/>
                  </a:lnTo>
                  <a:lnTo>
                    <a:pt x="46" y="43"/>
                  </a:lnTo>
                  <a:lnTo>
                    <a:pt x="47" y="44"/>
                  </a:lnTo>
                  <a:lnTo>
                    <a:pt x="46" y="43"/>
                  </a:lnTo>
                  <a:lnTo>
                    <a:pt x="46" y="44"/>
                  </a:lnTo>
                  <a:lnTo>
                    <a:pt x="47" y="44"/>
                  </a:lnTo>
                  <a:lnTo>
                    <a:pt x="48" y="46"/>
                  </a:lnTo>
                  <a:lnTo>
                    <a:pt x="47" y="52"/>
                  </a:lnTo>
                  <a:lnTo>
                    <a:pt x="47" y="50"/>
                  </a:lnTo>
                  <a:lnTo>
                    <a:pt x="46" y="50"/>
                  </a:lnTo>
                  <a:lnTo>
                    <a:pt x="46" y="52"/>
                  </a:lnTo>
                  <a:lnTo>
                    <a:pt x="46" y="53"/>
                  </a:lnTo>
                  <a:lnTo>
                    <a:pt x="45" y="52"/>
                  </a:lnTo>
                  <a:lnTo>
                    <a:pt x="43" y="52"/>
                  </a:lnTo>
                  <a:lnTo>
                    <a:pt x="43" y="53"/>
                  </a:lnTo>
                  <a:lnTo>
                    <a:pt x="43" y="54"/>
                  </a:lnTo>
                  <a:lnTo>
                    <a:pt x="45" y="54"/>
                  </a:lnTo>
                  <a:lnTo>
                    <a:pt x="45" y="55"/>
                  </a:lnTo>
                  <a:lnTo>
                    <a:pt x="45" y="56"/>
                  </a:lnTo>
                  <a:lnTo>
                    <a:pt x="46" y="56"/>
                  </a:lnTo>
                  <a:lnTo>
                    <a:pt x="46" y="58"/>
                  </a:lnTo>
                  <a:lnTo>
                    <a:pt x="45" y="58"/>
                  </a:lnTo>
                  <a:lnTo>
                    <a:pt x="43" y="56"/>
                  </a:lnTo>
                  <a:lnTo>
                    <a:pt x="42" y="55"/>
                  </a:lnTo>
                  <a:lnTo>
                    <a:pt x="43" y="56"/>
                  </a:lnTo>
                  <a:lnTo>
                    <a:pt x="43" y="58"/>
                  </a:lnTo>
                  <a:lnTo>
                    <a:pt x="42" y="58"/>
                  </a:lnTo>
                  <a:lnTo>
                    <a:pt x="42" y="56"/>
                  </a:lnTo>
                  <a:lnTo>
                    <a:pt x="41" y="58"/>
                  </a:lnTo>
                  <a:lnTo>
                    <a:pt x="41" y="59"/>
                  </a:lnTo>
                  <a:lnTo>
                    <a:pt x="42" y="60"/>
                  </a:lnTo>
                  <a:lnTo>
                    <a:pt x="41" y="59"/>
                  </a:lnTo>
                  <a:lnTo>
                    <a:pt x="40" y="59"/>
                  </a:lnTo>
                  <a:lnTo>
                    <a:pt x="40" y="58"/>
                  </a:lnTo>
                  <a:lnTo>
                    <a:pt x="39" y="56"/>
                  </a:lnTo>
                  <a:lnTo>
                    <a:pt x="40" y="55"/>
                  </a:lnTo>
                  <a:lnTo>
                    <a:pt x="39" y="55"/>
                  </a:lnTo>
                  <a:lnTo>
                    <a:pt x="37" y="55"/>
                  </a:lnTo>
                  <a:lnTo>
                    <a:pt x="39" y="56"/>
                  </a:lnTo>
                  <a:lnTo>
                    <a:pt x="37" y="56"/>
                  </a:lnTo>
                  <a:lnTo>
                    <a:pt x="37" y="55"/>
                  </a:lnTo>
                  <a:lnTo>
                    <a:pt x="37" y="53"/>
                  </a:lnTo>
                  <a:lnTo>
                    <a:pt x="36" y="53"/>
                  </a:lnTo>
                  <a:lnTo>
                    <a:pt x="35" y="53"/>
                  </a:lnTo>
                  <a:lnTo>
                    <a:pt x="34" y="53"/>
                  </a:lnTo>
                  <a:lnTo>
                    <a:pt x="34" y="52"/>
                  </a:lnTo>
                  <a:lnTo>
                    <a:pt x="33" y="49"/>
                  </a:lnTo>
                  <a:lnTo>
                    <a:pt x="31" y="49"/>
                  </a:lnTo>
                  <a:lnTo>
                    <a:pt x="31" y="50"/>
                  </a:lnTo>
                  <a:lnTo>
                    <a:pt x="33" y="49"/>
                  </a:lnTo>
                  <a:lnTo>
                    <a:pt x="33" y="50"/>
                  </a:lnTo>
                  <a:lnTo>
                    <a:pt x="34" y="53"/>
                  </a:lnTo>
                  <a:lnTo>
                    <a:pt x="33" y="53"/>
                  </a:lnTo>
                  <a:lnTo>
                    <a:pt x="33" y="52"/>
                  </a:lnTo>
                  <a:lnTo>
                    <a:pt x="31" y="52"/>
                  </a:lnTo>
                  <a:lnTo>
                    <a:pt x="31" y="53"/>
                  </a:lnTo>
                  <a:lnTo>
                    <a:pt x="33" y="52"/>
                  </a:lnTo>
                  <a:lnTo>
                    <a:pt x="33" y="53"/>
                  </a:lnTo>
                  <a:lnTo>
                    <a:pt x="31" y="54"/>
                  </a:lnTo>
                  <a:lnTo>
                    <a:pt x="30" y="54"/>
                  </a:lnTo>
                  <a:lnTo>
                    <a:pt x="30" y="55"/>
                  </a:lnTo>
                  <a:lnTo>
                    <a:pt x="30" y="56"/>
                  </a:lnTo>
                  <a:lnTo>
                    <a:pt x="31" y="56"/>
                  </a:lnTo>
                  <a:lnTo>
                    <a:pt x="33" y="56"/>
                  </a:lnTo>
                  <a:lnTo>
                    <a:pt x="33" y="58"/>
                  </a:lnTo>
                  <a:lnTo>
                    <a:pt x="31" y="56"/>
                  </a:lnTo>
                  <a:lnTo>
                    <a:pt x="33" y="58"/>
                  </a:lnTo>
                  <a:lnTo>
                    <a:pt x="31" y="58"/>
                  </a:lnTo>
                  <a:lnTo>
                    <a:pt x="33" y="58"/>
                  </a:lnTo>
                  <a:lnTo>
                    <a:pt x="34" y="58"/>
                  </a:lnTo>
                  <a:lnTo>
                    <a:pt x="33" y="58"/>
                  </a:lnTo>
                  <a:lnTo>
                    <a:pt x="33" y="59"/>
                  </a:lnTo>
                  <a:lnTo>
                    <a:pt x="34" y="60"/>
                  </a:lnTo>
                  <a:lnTo>
                    <a:pt x="34" y="61"/>
                  </a:lnTo>
                  <a:lnTo>
                    <a:pt x="33" y="60"/>
                  </a:lnTo>
                  <a:lnTo>
                    <a:pt x="31" y="60"/>
                  </a:lnTo>
                  <a:lnTo>
                    <a:pt x="31" y="59"/>
                  </a:lnTo>
                  <a:lnTo>
                    <a:pt x="30" y="58"/>
                  </a:lnTo>
                  <a:lnTo>
                    <a:pt x="30" y="59"/>
                  </a:lnTo>
                  <a:lnTo>
                    <a:pt x="30" y="60"/>
                  </a:lnTo>
                  <a:lnTo>
                    <a:pt x="29" y="60"/>
                  </a:lnTo>
                  <a:lnTo>
                    <a:pt x="28" y="60"/>
                  </a:lnTo>
                  <a:lnTo>
                    <a:pt x="27" y="60"/>
                  </a:lnTo>
                  <a:lnTo>
                    <a:pt x="27" y="62"/>
                  </a:lnTo>
                  <a:lnTo>
                    <a:pt x="27" y="61"/>
                  </a:lnTo>
                  <a:lnTo>
                    <a:pt x="27" y="60"/>
                  </a:lnTo>
                  <a:lnTo>
                    <a:pt x="25" y="59"/>
                  </a:lnTo>
                  <a:lnTo>
                    <a:pt x="25" y="60"/>
                  </a:lnTo>
                  <a:lnTo>
                    <a:pt x="25" y="61"/>
                  </a:lnTo>
                  <a:lnTo>
                    <a:pt x="24" y="61"/>
                  </a:lnTo>
                  <a:lnTo>
                    <a:pt x="24" y="60"/>
                  </a:lnTo>
                  <a:lnTo>
                    <a:pt x="23" y="60"/>
                  </a:lnTo>
                  <a:lnTo>
                    <a:pt x="22" y="60"/>
                  </a:lnTo>
                  <a:lnTo>
                    <a:pt x="22" y="59"/>
                  </a:lnTo>
                  <a:lnTo>
                    <a:pt x="22" y="58"/>
                  </a:lnTo>
                  <a:lnTo>
                    <a:pt x="21" y="58"/>
                  </a:lnTo>
                  <a:lnTo>
                    <a:pt x="21" y="59"/>
                  </a:lnTo>
                  <a:lnTo>
                    <a:pt x="22" y="59"/>
                  </a:lnTo>
                  <a:lnTo>
                    <a:pt x="22" y="60"/>
                  </a:lnTo>
                  <a:lnTo>
                    <a:pt x="22" y="61"/>
                  </a:lnTo>
                  <a:lnTo>
                    <a:pt x="23" y="60"/>
                  </a:lnTo>
                  <a:lnTo>
                    <a:pt x="23" y="61"/>
                  </a:lnTo>
                  <a:lnTo>
                    <a:pt x="23" y="62"/>
                  </a:lnTo>
                  <a:lnTo>
                    <a:pt x="24" y="61"/>
                  </a:lnTo>
                  <a:lnTo>
                    <a:pt x="25" y="62"/>
                  </a:lnTo>
                  <a:lnTo>
                    <a:pt x="27" y="62"/>
                  </a:lnTo>
                  <a:lnTo>
                    <a:pt x="28" y="64"/>
                  </a:lnTo>
                  <a:lnTo>
                    <a:pt x="27" y="64"/>
                  </a:lnTo>
                  <a:lnTo>
                    <a:pt x="28" y="65"/>
                  </a:lnTo>
                  <a:lnTo>
                    <a:pt x="28" y="64"/>
                  </a:lnTo>
                  <a:lnTo>
                    <a:pt x="29" y="64"/>
                  </a:lnTo>
                  <a:lnTo>
                    <a:pt x="29" y="65"/>
                  </a:lnTo>
                  <a:lnTo>
                    <a:pt x="29" y="66"/>
                  </a:lnTo>
                  <a:lnTo>
                    <a:pt x="30" y="66"/>
                  </a:lnTo>
                  <a:lnTo>
                    <a:pt x="33" y="68"/>
                  </a:lnTo>
                  <a:lnTo>
                    <a:pt x="33" y="70"/>
                  </a:lnTo>
                  <a:lnTo>
                    <a:pt x="30" y="70"/>
                  </a:lnTo>
                  <a:lnTo>
                    <a:pt x="28" y="68"/>
                  </a:lnTo>
                  <a:lnTo>
                    <a:pt x="25" y="67"/>
                  </a:lnTo>
                  <a:lnTo>
                    <a:pt x="28" y="68"/>
                  </a:lnTo>
                  <a:lnTo>
                    <a:pt x="25" y="68"/>
                  </a:lnTo>
                  <a:lnTo>
                    <a:pt x="24" y="67"/>
                  </a:lnTo>
                  <a:lnTo>
                    <a:pt x="23" y="67"/>
                  </a:lnTo>
                  <a:lnTo>
                    <a:pt x="23" y="66"/>
                  </a:lnTo>
                  <a:lnTo>
                    <a:pt x="21" y="65"/>
                  </a:lnTo>
                  <a:lnTo>
                    <a:pt x="22" y="67"/>
                  </a:lnTo>
                  <a:lnTo>
                    <a:pt x="23" y="67"/>
                  </a:lnTo>
                  <a:lnTo>
                    <a:pt x="22" y="67"/>
                  </a:lnTo>
                  <a:lnTo>
                    <a:pt x="19" y="66"/>
                  </a:lnTo>
                  <a:lnTo>
                    <a:pt x="18" y="65"/>
                  </a:lnTo>
                  <a:lnTo>
                    <a:pt x="21" y="66"/>
                  </a:lnTo>
                  <a:lnTo>
                    <a:pt x="22" y="67"/>
                  </a:lnTo>
                  <a:lnTo>
                    <a:pt x="22" y="68"/>
                  </a:lnTo>
                  <a:lnTo>
                    <a:pt x="23" y="70"/>
                  </a:lnTo>
                  <a:lnTo>
                    <a:pt x="23" y="68"/>
                  </a:lnTo>
                  <a:lnTo>
                    <a:pt x="23" y="67"/>
                  </a:lnTo>
                  <a:lnTo>
                    <a:pt x="24" y="68"/>
                  </a:lnTo>
                  <a:lnTo>
                    <a:pt x="27" y="68"/>
                  </a:lnTo>
                  <a:lnTo>
                    <a:pt x="28" y="71"/>
                  </a:lnTo>
                  <a:lnTo>
                    <a:pt x="28" y="68"/>
                  </a:lnTo>
                  <a:lnTo>
                    <a:pt x="30" y="70"/>
                  </a:lnTo>
                  <a:lnTo>
                    <a:pt x="31" y="70"/>
                  </a:lnTo>
                  <a:lnTo>
                    <a:pt x="30" y="70"/>
                  </a:lnTo>
                  <a:lnTo>
                    <a:pt x="30" y="71"/>
                  </a:lnTo>
                  <a:lnTo>
                    <a:pt x="31" y="71"/>
                  </a:lnTo>
                  <a:lnTo>
                    <a:pt x="33" y="72"/>
                  </a:lnTo>
                  <a:lnTo>
                    <a:pt x="31" y="71"/>
                  </a:lnTo>
                  <a:lnTo>
                    <a:pt x="33" y="71"/>
                  </a:lnTo>
                  <a:lnTo>
                    <a:pt x="34" y="71"/>
                  </a:lnTo>
                  <a:lnTo>
                    <a:pt x="35" y="71"/>
                  </a:lnTo>
                  <a:lnTo>
                    <a:pt x="35" y="72"/>
                  </a:lnTo>
                  <a:lnTo>
                    <a:pt x="36" y="72"/>
                  </a:lnTo>
                  <a:lnTo>
                    <a:pt x="36" y="73"/>
                  </a:lnTo>
                  <a:lnTo>
                    <a:pt x="36" y="72"/>
                  </a:lnTo>
                  <a:lnTo>
                    <a:pt x="37" y="72"/>
                  </a:lnTo>
                  <a:lnTo>
                    <a:pt x="39" y="73"/>
                  </a:lnTo>
                  <a:lnTo>
                    <a:pt x="39" y="74"/>
                  </a:lnTo>
                  <a:lnTo>
                    <a:pt x="39" y="73"/>
                  </a:lnTo>
                  <a:lnTo>
                    <a:pt x="39" y="74"/>
                  </a:lnTo>
                  <a:lnTo>
                    <a:pt x="40" y="76"/>
                  </a:lnTo>
                  <a:lnTo>
                    <a:pt x="40" y="74"/>
                  </a:lnTo>
                  <a:lnTo>
                    <a:pt x="41" y="74"/>
                  </a:lnTo>
                  <a:lnTo>
                    <a:pt x="41" y="76"/>
                  </a:lnTo>
                  <a:lnTo>
                    <a:pt x="42" y="76"/>
                  </a:lnTo>
                  <a:lnTo>
                    <a:pt x="42" y="77"/>
                  </a:lnTo>
                  <a:lnTo>
                    <a:pt x="42" y="78"/>
                  </a:lnTo>
                  <a:lnTo>
                    <a:pt x="41" y="79"/>
                  </a:lnTo>
                  <a:lnTo>
                    <a:pt x="41" y="78"/>
                  </a:lnTo>
                  <a:lnTo>
                    <a:pt x="40" y="79"/>
                  </a:lnTo>
                  <a:lnTo>
                    <a:pt x="40" y="78"/>
                  </a:lnTo>
                  <a:lnTo>
                    <a:pt x="39" y="77"/>
                  </a:lnTo>
                  <a:lnTo>
                    <a:pt x="39" y="78"/>
                  </a:lnTo>
                  <a:lnTo>
                    <a:pt x="37" y="78"/>
                  </a:lnTo>
                  <a:lnTo>
                    <a:pt x="36" y="78"/>
                  </a:lnTo>
                  <a:lnTo>
                    <a:pt x="37" y="77"/>
                  </a:lnTo>
                  <a:lnTo>
                    <a:pt x="39" y="77"/>
                  </a:lnTo>
                  <a:lnTo>
                    <a:pt x="39" y="76"/>
                  </a:lnTo>
                  <a:lnTo>
                    <a:pt x="37" y="76"/>
                  </a:lnTo>
                  <a:lnTo>
                    <a:pt x="37" y="77"/>
                  </a:lnTo>
                  <a:lnTo>
                    <a:pt x="36" y="77"/>
                  </a:lnTo>
                  <a:lnTo>
                    <a:pt x="36" y="76"/>
                  </a:lnTo>
                  <a:lnTo>
                    <a:pt x="36" y="74"/>
                  </a:lnTo>
                  <a:lnTo>
                    <a:pt x="36" y="73"/>
                  </a:lnTo>
                  <a:lnTo>
                    <a:pt x="35" y="73"/>
                  </a:lnTo>
                  <a:lnTo>
                    <a:pt x="34" y="73"/>
                  </a:lnTo>
                  <a:lnTo>
                    <a:pt x="34" y="74"/>
                  </a:lnTo>
                  <a:lnTo>
                    <a:pt x="34" y="73"/>
                  </a:lnTo>
                  <a:lnTo>
                    <a:pt x="33" y="74"/>
                  </a:lnTo>
                  <a:lnTo>
                    <a:pt x="33" y="76"/>
                  </a:lnTo>
                  <a:lnTo>
                    <a:pt x="33" y="77"/>
                  </a:lnTo>
                  <a:lnTo>
                    <a:pt x="33" y="78"/>
                  </a:lnTo>
                  <a:lnTo>
                    <a:pt x="31" y="78"/>
                  </a:lnTo>
                  <a:lnTo>
                    <a:pt x="30" y="78"/>
                  </a:lnTo>
                  <a:lnTo>
                    <a:pt x="31" y="78"/>
                  </a:lnTo>
                  <a:lnTo>
                    <a:pt x="30" y="77"/>
                  </a:lnTo>
                  <a:lnTo>
                    <a:pt x="30" y="76"/>
                  </a:lnTo>
                  <a:lnTo>
                    <a:pt x="31" y="76"/>
                  </a:lnTo>
                  <a:lnTo>
                    <a:pt x="30" y="74"/>
                  </a:lnTo>
                  <a:lnTo>
                    <a:pt x="30" y="76"/>
                  </a:lnTo>
                  <a:lnTo>
                    <a:pt x="29" y="78"/>
                  </a:lnTo>
                  <a:lnTo>
                    <a:pt x="28" y="76"/>
                  </a:lnTo>
                  <a:lnTo>
                    <a:pt x="28" y="74"/>
                  </a:lnTo>
                  <a:lnTo>
                    <a:pt x="29" y="74"/>
                  </a:lnTo>
                  <a:lnTo>
                    <a:pt x="29" y="73"/>
                  </a:lnTo>
                  <a:lnTo>
                    <a:pt x="28" y="73"/>
                  </a:lnTo>
                  <a:lnTo>
                    <a:pt x="28" y="74"/>
                  </a:lnTo>
                  <a:lnTo>
                    <a:pt x="27" y="72"/>
                  </a:lnTo>
                  <a:lnTo>
                    <a:pt x="27" y="74"/>
                  </a:lnTo>
                  <a:lnTo>
                    <a:pt x="28" y="74"/>
                  </a:lnTo>
                  <a:lnTo>
                    <a:pt x="28" y="76"/>
                  </a:lnTo>
                  <a:lnTo>
                    <a:pt x="25" y="73"/>
                  </a:lnTo>
                  <a:lnTo>
                    <a:pt x="28" y="76"/>
                  </a:lnTo>
                  <a:lnTo>
                    <a:pt x="27" y="76"/>
                  </a:lnTo>
                  <a:lnTo>
                    <a:pt x="25" y="76"/>
                  </a:lnTo>
                  <a:lnTo>
                    <a:pt x="25" y="77"/>
                  </a:lnTo>
                  <a:lnTo>
                    <a:pt x="24" y="76"/>
                  </a:lnTo>
                  <a:lnTo>
                    <a:pt x="23" y="76"/>
                  </a:lnTo>
                  <a:lnTo>
                    <a:pt x="23" y="77"/>
                  </a:lnTo>
                  <a:lnTo>
                    <a:pt x="22" y="77"/>
                  </a:lnTo>
                  <a:lnTo>
                    <a:pt x="22" y="76"/>
                  </a:lnTo>
                  <a:lnTo>
                    <a:pt x="21" y="76"/>
                  </a:lnTo>
                  <a:lnTo>
                    <a:pt x="19" y="76"/>
                  </a:lnTo>
                  <a:lnTo>
                    <a:pt x="19" y="74"/>
                  </a:lnTo>
                  <a:lnTo>
                    <a:pt x="19" y="73"/>
                  </a:lnTo>
                  <a:lnTo>
                    <a:pt x="18" y="74"/>
                  </a:lnTo>
                  <a:lnTo>
                    <a:pt x="18" y="76"/>
                  </a:lnTo>
                  <a:lnTo>
                    <a:pt x="18" y="74"/>
                  </a:lnTo>
                  <a:lnTo>
                    <a:pt x="17" y="74"/>
                  </a:lnTo>
                  <a:lnTo>
                    <a:pt x="17" y="73"/>
                  </a:lnTo>
                  <a:lnTo>
                    <a:pt x="17" y="74"/>
                  </a:lnTo>
                  <a:lnTo>
                    <a:pt x="17" y="76"/>
                  </a:lnTo>
                  <a:lnTo>
                    <a:pt x="18" y="76"/>
                  </a:lnTo>
                  <a:lnTo>
                    <a:pt x="19" y="76"/>
                  </a:lnTo>
                  <a:lnTo>
                    <a:pt x="24" y="78"/>
                  </a:lnTo>
                  <a:lnTo>
                    <a:pt x="27" y="78"/>
                  </a:lnTo>
                  <a:lnTo>
                    <a:pt x="25" y="80"/>
                  </a:lnTo>
                  <a:lnTo>
                    <a:pt x="27" y="80"/>
                  </a:lnTo>
                  <a:lnTo>
                    <a:pt x="27" y="79"/>
                  </a:lnTo>
                  <a:lnTo>
                    <a:pt x="28" y="79"/>
                  </a:lnTo>
                  <a:lnTo>
                    <a:pt x="28" y="80"/>
                  </a:lnTo>
                  <a:lnTo>
                    <a:pt x="28" y="79"/>
                  </a:lnTo>
                  <a:lnTo>
                    <a:pt x="29" y="80"/>
                  </a:lnTo>
                  <a:lnTo>
                    <a:pt x="29" y="79"/>
                  </a:lnTo>
                  <a:lnTo>
                    <a:pt x="29" y="78"/>
                  </a:lnTo>
                  <a:lnTo>
                    <a:pt x="31" y="79"/>
                  </a:lnTo>
                  <a:lnTo>
                    <a:pt x="33" y="79"/>
                  </a:lnTo>
                  <a:lnTo>
                    <a:pt x="33" y="80"/>
                  </a:lnTo>
                  <a:lnTo>
                    <a:pt x="31" y="83"/>
                  </a:lnTo>
                  <a:lnTo>
                    <a:pt x="30" y="84"/>
                  </a:lnTo>
                  <a:lnTo>
                    <a:pt x="29" y="84"/>
                  </a:lnTo>
                  <a:lnTo>
                    <a:pt x="28" y="84"/>
                  </a:lnTo>
                  <a:lnTo>
                    <a:pt x="27" y="83"/>
                  </a:lnTo>
                  <a:lnTo>
                    <a:pt x="25" y="84"/>
                  </a:lnTo>
                  <a:lnTo>
                    <a:pt x="24" y="84"/>
                  </a:lnTo>
                  <a:lnTo>
                    <a:pt x="25" y="85"/>
                  </a:lnTo>
                  <a:lnTo>
                    <a:pt x="24" y="86"/>
                  </a:lnTo>
                  <a:lnTo>
                    <a:pt x="23" y="88"/>
                  </a:lnTo>
                  <a:lnTo>
                    <a:pt x="23" y="89"/>
                  </a:lnTo>
                  <a:lnTo>
                    <a:pt x="22" y="89"/>
                  </a:lnTo>
                  <a:lnTo>
                    <a:pt x="21" y="89"/>
                  </a:lnTo>
                  <a:lnTo>
                    <a:pt x="19" y="89"/>
                  </a:lnTo>
                  <a:lnTo>
                    <a:pt x="19" y="90"/>
                  </a:lnTo>
                  <a:lnTo>
                    <a:pt x="18" y="90"/>
                  </a:lnTo>
                  <a:lnTo>
                    <a:pt x="17" y="89"/>
                  </a:lnTo>
                  <a:lnTo>
                    <a:pt x="18" y="91"/>
                  </a:lnTo>
                  <a:lnTo>
                    <a:pt x="17" y="91"/>
                  </a:lnTo>
                  <a:lnTo>
                    <a:pt x="17" y="92"/>
                  </a:lnTo>
                  <a:lnTo>
                    <a:pt x="16" y="92"/>
                  </a:lnTo>
                  <a:lnTo>
                    <a:pt x="13" y="91"/>
                  </a:lnTo>
                  <a:lnTo>
                    <a:pt x="13" y="90"/>
                  </a:lnTo>
                  <a:lnTo>
                    <a:pt x="13" y="89"/>
                  </a:lnTo>
                  <a:lnTo>
                    <a:pt x="13" y="90"/>
                  </a:lnTo>
                  <a:lnTo>
                    <a:pt x="12" y="90"/>
                  </a:lnTo>
                  <a:lnTo>
                    <a:pt x="11" y="89"/>
                  </a:lnTo>
                  <a:lnTo>
                    <a:pt x="9" y="88"/>
                  </a:lnTo>
                  <a:lnTo>
                    <a:pt x="10" y="88"/>
                  </a:lnTo>
                  <a:lnTo>
                    <a:pt x="11" y="86"/>
                  </a:lnTo>
                  <a:lnTo>
                    <a:pt x="11" y="85"/>
                  </a:lnTo>
                  <a:lnTo>
                    <a:pt x="10" y="84"/>
                  </a:lnTo>
                  <a:lnTo>
                    <a:pt x="10" y="86"/>
                  </a:lnTo>
                  <a:lnTo>
                    <a:pt x="9" y="88"/>
                  </a:lnTo>
                  <a:lnTo>
                    <a:pt x="9" y="86"/>
                  </a:lnTo>
                  <a:lnTo>
                    <a:pt x="10" y="85"/>
                  </a:lnTo>
                  <a:lnTo>
                    <a:pt x="9" y="86"/>
                  </a:lnTo>
                  <a:lnTo>
                    <a:pt x="7" y="86"/>
                  </a:lnTo>
                  <a:lnTo>
                    <a:pt x="9" y="85"/>
                  </a:lnTo>
                  <a:lnTo>
                    <a:pt x="9" y="84"/>
                  </a:lnTo>
                  <a:lnTo>
                    <a:pt x="9" y="85"/>
                  </a:lnTo>
                  <a:lnTo>
                    <a:pt x="10" y="84"/>
                  </a:lnTo>
                  <a:lnTo>
                    <a:pt x="9" y="83"/>
                  </a:lnTo>
                  <a:lnTo>
                    <a:pt x="7" y="84"/>
                  </a:lnTo>
                  <a:lnTo>
                    <a:pt x="7" y="85"/>
                  </a:lnTo>
                  <a:lnTo>
                    <a:pt x="7" y="84"/>
                  </a:lnTo>
                  <a:lnTo>
                    <a:pt x="9" y="83"/>
                  </a:lnTo>
                  <a:lnTo>
                    <a:pt x="9" y="82"/>
                  </a:lnTo>
                  <a:lnTo>
                    <a:pt x="9" y="83"/>
                  </a:lnTo>
                  <a:lnTo>
                    <a:pt x="9" y="82"/>
                  </a:lnTo>
                  <a:lnTo>
                    <a:pt x="9" y="80"/>
                  </a:lnTo>
                  <a:lnTo>
                    <a:pt x="10" y="79"/>
                  </a:lnTo>
                  <a:lnTo>
                    <a:pt x="7" y="80"/>
                  </a:lnTo>
                  <a:lnTo>
                    <a:pt x="7" y="79"/>
                  </a:lnTo>
                  <a:lnTo>
                    <a:pt x="7" y="78"/>
                  </a:lnTo>
                  <a:lnTo>
                    <a:pt x="6" y="78"/>
                  </a:lnTo>
                  <a:lnTo>
                    <a:pt x="7" y="79"/>
                  </a:lnTo>
                  <a:lnTo>
                    <a:pt x="6" y="79"/>
                  </a:lnTo>
                  <a:lnTo>
                    <a:pt x="5" y="79"/>
                  </a:lnTo>
                  <a:lnTo>
                    <a:pt x="5" y="80"/>
                  </a:lnTo>
                  <a:lnTo>
                    <a:pt x="5" y="82"/>
                  </a:lnTo>
                  <a:lnTo>
                    <a:pt x="4" y="82"/>
                  </a:lnTo>
                  <a:lnTo>
                    <a:pt x="3" y="82"/>
                  </a:lnTo>
                  <a:lnTo>
                    <a:pt x="4" y="82"/>
                  </a:lnTo>
                  <a:lnTo>
                    <a:pt x="4" y="83"/>
                  </a:lnTo>
                  <a:lnTo>
                    <a:pt x="3" y="83"/>
                  </a:lnTo>
                  <a:lnTo>
                    <a:pt x="1" y="82"/>
                  </a:lnTo>
                  <a:lnTo>
                    <a:pt x="0" y="83"/>
                  </a:lnTo>
                  <a:lnTo>
                    <a:pt x="0" y="84"/>
                  </a:lnTo>
                  <a:lnTo>
                    <a:pt x="1" y="83"/>
                  </a:lnTo>
                  <a:lnTo>
                    <a:pt x="1" y="84"/>
                  </a:lnTo>
                  <a:lnTo>
                    <a:pt x="3" y="84"/>
                  </a:lnTo>
                  <a:lnTo>
                    <a:pt x="3" y="83"/>
                  </a:lnTo>
                  <a:lnTo>
                    <a:pt x="4" y="84"/>
                  </a:lnTo>
                  <a:lnTo>
                    <a:pt x="5" y="84"/>
                  </a:lnTo>
                  <a:lnTo>
                    <a:pt x="6" y="85"/>
                  </a:lnTo>
                  <a:lnTo>
                    <a:pt x="5" y="85"/>
                  </a:lnTo>
                  <a:lnTo>
                    <a:pt x="5" y="86"/>
                  </a:lnTo>
                  <a:lnTo>
                    <a:pt x="6" y="86"/>
                  </a:lnTo>
                  <a:lnTo>
                    <a:pt x="7" y="86"/>
                  </a:lnTo>
                  <a:lnTo>
                    <a:pt x="9" y="86"/>
                  </a:lnTo>
                  <a:lnTo>
                    <a:pt x="7" y="86"/>
                  </a:lnTo>
                  <a:lnTo>
                    <a:pt x="6" y="86"/>
                  </a:lnTo>
                  <a:lnTo>
                    <a:pt x="7" y="86"/>
                  </a:lnTo>
                  <a:lnTo>
                    <a:pt x="7" y="88"/>
                  </a:lnTo>
                  <a:lnTo>
                    <a:pt x="7" y="89"/>
                  </a:lnTo>
                  <a:lnTo>
                    <a:pt x="6" y="88"/>
                  </a:lnTo>
                  <a:lnTo>
                    <a:pt x="6" y="89"/>
                  </a:lnTo>
                  <a:lnTo>
                    <a:pt x="5" y="89"/>
                  </a:lnTo>
                  <a:lnTo>
                    <a:pt x="5" y="88"/>
                  </a:lnTo>
                  <a:lnTo>
                    <a:pt x="4" y="88"/>
                  </a:lnTo>
                  <a:lnTo>
                    <a:pt x="5" y="88"/>
                  </a:lnTo>
                  <a:lnTo>
                    <a:pt x="4" y="88"/>
                  </a:lnTo>
                  <a:lnTo>
                    <a:pt x="4" y="89"/>
                  </a:lnTo>
                  <a:lnTo>
                    <a:pt x="3" y="89"/>
                  </a:lnTo>
                  <a:lnTo>
                    <a:pt x="4" y="90"/>
                  </a:lnTo>
                  <a:lnTo>
                    <a:pt x="4" y="91"/>
                  </a:lnTo>
                  <a:lnTo>
                    <a:pt x="4" y="92"/>
                  </a:lnTo>
                  <a:lnTo>
                    <a:pt x="4" y="91"/>
                  </a:lnTo>
                  <a:lnTo>
                    <a:pt x="4" y="90"/>
                  </a:lnTo>
                  <a:lnTo>
                    <a:pt x="5" y="90"/>
                  </a:lnTo>
                  <a:lnTo>
                    <a:pt x="5" y="91"/>
                  </a:lnTo>
                  <a:lnTo>
                    <a:pt x="6" y="90"/>
                  </a:lnTo>
                  <a:lnTo>
                    <a:pt x="6" y="91"/>
                  </a:lnTo>
                  <a:lnTo>
                    <a:pt x="7" y="91"/>
                  </a:lnTo>
                  <a:lnTo>
                    <a:pt x="6" y="92"/>
                  </a:lnTo>
                  <a:lnTo>
                    <a:pt x="7" y="92"/>
                  </a:lnTo>
                  <a:lnTo>
                    <a:pt x="7" y="91"/>
                  </a:lnTo>
                  <a:lnTo>
                    <a:pt x="9" y="91"/>
                  </a:lnTo>
                  <a:lnTo>
                    <a:pt x="11" y="91"/>
                  </a:lnTo>
                  <a:lnTo>
                    <a:pt x="12" y="92"/>
                  </a:lnTo>
                  <a:lnTo>
                    <a:pt x="15" y="92"/>
                  </a:lnTo>
                  <a:lnTo>
                    <a:pt x="16" y="94"/>
                  </a:lnTo>
                  <a:lnTo>
                    <a:pt x="17" y="95"/>
                  </a:lnTo>
                  <a:lnTo>
                    <a:pt x="17" y="96"/>
                  </a:lnTo>
                  <a:lnTo>
                    <a:pt x="18" y="97"/>
                  </a:lnTo>
                  <a:lnTo>
                    <a:pt x="18" y="96"/>
                  </a:lnTo>
                  <a:lnTo>
                    <a:pt x="18" y="95"/>
                  </a:lnTo>
                  <a:lnTo>
                    <a:pt x="18" y="96"/>
                  </a:lnTo>
                  <a:lnTo>
                    <a:pt x="19" y="95"/>
                  </a:lnTo>
                  <a:lnTo>
                    <a:pt x="21" y="95"/>
                  </a:lnTo>
                  <a:lnTo>
                    <a:pt x="21" y="96"/>
                  </a:lnTo>
                  <a:lnTo>
                    <a:pt x="22" y="95"/>
                  </a:lnTo>
                  <a:lnTo>
                    <a:pt x="22" y="96"/>
                  </a:lnTo>
                  <a:lnTo>
                    <a:pt x="22" y="97"/>
                  </a:lnTo>
                  <a:lnTo>
                    <a:pt x="23" y="96"/>
                  </a:lnTo>
                  <a:lnTo>
                    <a:pt x="23" y="97"/>
                  </a:lnTo>
                  <a:lnTo>
                    <a:pt x="24" y="97"/>
                  </a:lnTo>
                  <a:lnTo>
                    <a:pt x="24" y="98"/>
                  </a:lnTo>
                  <a:lnTo>
                    <a:pt x="25" y="97"/>
                  </a:lnTo>
                  <a:lnTo>
                    <a:pt x="27" y="97"/>
                  </a:lnTo>
                  <a:lnTo>
                    <a:pt x="27" y="98"/>
                  </a:lnTo>
                  <a:lnTo>
                    <a:pt x="27" y="100"/>
                  </a:lnTo>
                  <a:lnTo>
                    <a:pt x="28" y="102"/>
                  </a:lnTo>
                  <a:lnTo>
                    <a:pt x="27" y="102"/>
                  </a:lnTo>
                  <a:lnTo>
                    <a:pt x="25" y="101"/>
                  </a:lnTo>
                  <a:lnTo>
                    <a:pt x="27" y="101"/>
                  </a:lnTo>
                  <a:lnTo>
                    <a:pt x="25" y="101"/>
                  </a:lnTo>
                  <a:lnTo>
                    <a:pt x="25" y="102"/>
                  </a:lnTo>
                  <a:lnTo>
                    <a:pt x="24" y="102"/>
                  </a:lnTo>
                  <a:lnTo>
                    <a:pt x="24" y="103"/>
                  </a:lnTo>
                  <a:lnTo>
                    <a:pt x="25" y="104"/>
                  </a:lnTo>
                  <a:lnTo>
                    <a:pt x="24" y="106"/>
                  </a:lnTo>
                  <a:lnTo>
                    <a:pt x="23" y="107"/>
                  </a:lnTo>
                  <a:lnTo>
                    <a:pt x="23" y="108"/>
                  </a:lnTo>
                  <a:lnTo>
                    <a:pt x="22" y="107"/>
                  </a:lnTo>
                  <a:lnTo>
                    <a:pt x="22" y="108"/>
                  </a:lnTo>
                  <a:lnTo>
                    <a:pt x="21" y="108"/>
                  </a:lnTo>
                  <a:lnTo>
                    <a:pt x="21" y="109"/>
                  </a:lnTo>
                  <a:lnTo>
                    <a:pt x="19" y="109"/>
                  </a:lnTo>
                  <a:lnTo>
                    <a:pt x="18" y="109"/>
                  </a:lnTo>
                  <a:lnTo>
                    <a:pt x="17" y="109"/>
                  </a:lnTo>
                  <a:lnTo>
                    <a:pt x="16" y="110"/>
                  </a:lnTo>
                  <a:lnTo>
                    <a:pt x="17" y="110"/>
                  </a:lnTo>
                  <a:lnTo>
                    <a:pt x="17" y="112"/>
                  </a:lnTo>
                  <a:lnTo>
                    <a:pt x="17" y="110"/>
                  </a:lnTo>
                  <a:lnTo>
                    <a:pt x="17" y="112"/>
                  </a:lnTo>
                  <a:lnTo>
                    <a:pt x="17" y="113"/>
                  </a:lnTo>
                  <a:lnTo>
                    <a:pt x="18" y="112"/>
                  </a:lnTo>
                  <a:lnTo>
                    <a:pt x="19" y="112"/>
                  </a:lnTo>
                  <a:lnTo>
                    <a:pt x="19" y="113"/>
                  </a:lnTo>
                  <a:lnTo>
                    <a:pt x="19" y="114"/>
                  </a:lnTo>
                  <a:lnTo>
                    <a:pt x="21" y="113"/>
                  </a:lnTo>
                  <a:lnTo>
                    <a:pt x="21" y="114"/>
                  </a:lnTo>
                  <a:lnTo>
                    <a:pt x="21" y="115"/>
                  </a:lnTo>
                  <a:lnTo>
                    <a:pt x="22" y="114"/>
                  </a:lnTo>
                  <a:lnTo>
                    <a:pt x="23" y="113"/>
                  </a:lnTo>
                  <a:lnTo>
                    <a:pt x="23" y="114"/>
                  </a:lnTo>
                  <a:lnTo>
                    <a:pt x="23" y="115"/>
                  </a:lnTo>
                  <a:lnTo>
                    <a:pt x="22" y="115"/>
                  </a:lnTo>
                  <a:lnTo>
                    <a:pt x="23" y="115"/>
                  </a:lnTo>
                  <a:lnTo>
                    <a:pt x="24" y="115"/>
                  </a:lnTo>
                  <a:lnTo>
                    <a:pt x="23" y="117"/>
                  </a:lnTo>
                  <a:lnTo>
                    <a:pt x="23" y="118"/>
                  </a:lnTo>
                  <a:lnTo>
                    <a:pt x="21" y="118"/>
                  </a:lnTo>
                  <a:lnTo>
                    <a:pt x="19" y="117"/>
                  </a:lnTo>
                  <a:lnTo>
                    <a:pt x="18" y="117"/>
                  </a:lnTo>
                  <a:lnTo>
                    <a:pt x="18" y="115"/>
                  </a:lnTo>
                  <a:lnTo>
                    <a:pt x="17" y="115"/>
                  </a:lnTo>
                  <a:lnTo>
                    <a:pt x="16" y="115"/>
                  </a:lnTo>
                  <a:lnTo>
                    <a:pt x="15" y="115"/>
                  </a:lnTo>
                  <a:lnTo>
                    <a:pt x="13" y="115"/>
                  </a:lnTo>
                  <a:lnTo>
                    <a:pt x="13" y="117"/>
                  </a:lnTo>
                  <a:lnTo>
                    <a:pt x="12" y="118"/>
                  </a:lnTo>
                  <a:lnTo>
                    <a:pt x="13" y="117"/>
                  </a:lnTo>
                  <a:lnTo>
                    <a:pt x="12" y="117"/>
                  </a:lnTo>
                  <a:lnTo>
                    <a:pt x="11" y="117"/>
                  </a:lnTo>
                  <a:lnTo>
                    <a:pt x="11" y="118"/>
                  </a:lnTo>
                  <a:lnTo>
                    <a:pt x="10" y="119"/>
                  </a:lnTo>
                  <a:lnTo>
                    <a:pt x="10" y="120"/>
                  </a:lnTo>
                  <a:lnTo>
                    <a:pt x="9" y="120"/>
                  </a:lnTo>
                  <a:lnTo>
                    <a:pt x="9" y="119"/>
                  </a:lnTo>
                  <a:lnTo>
                    <a:pt x="9" y="118"/>
                  </a:lnTo>
                  <a:lnTo>
                    <a:pt x="9" y="119"/>
                  </a:lnTo>
                  <a:lnTo>
                    <a:pt x="7" y="119"/>
                  </a:lnTo>
                  <a:lnTo>
                    <a:pt x="7" y="118"/>
                  </a:lnTo>
                  <a:lnTo>
                    <a:pt x="6" y="118"/>
                  </a:lnTo>
                  <a:lnTo>
                    <a:pt x="5" y="119"/>
                  </a:lnTo>
                  <a:lnTo>
                    <a:pt x="5" y="120"/>
                  </a:lnTo>
                  <a:lnTo>
                    <a:pt x="4" y="120"/>
                  </a:lnTo>
                  <a:lnTo>
                    <a:pt x="4" y="121"/>
                  </a:lnTo>
                  <a:lnTo>
                    <a:pt x="4" y="123"/>
                  </a:lnTo>
                  <a:lnTo>
                    <a:pt x="4" y="124"/>
                  </a:lnTo>
                  <a:lnTo>
                    <a:pt x="4" y="123"/>
                  </a:lnTo>
                  <a:lnTo>
                    <a:pt x="5" y="123"/>
                  </a:lnTo>
                  <a:lnTo>
                    <a:pt x="5" y="125"/>
                  </a:lnTo>
                  <a:lnTo>
                    <a:pt x="5" y="126"/>
                  </a:lnTo>
                  <a:lnTo>
                    <a:pt x="6" y="127"/>
                  </a:lnTo>
                  <a:lnTo>
                    <a:pt x="6" y="130"/>
                  </a:lnTo>
                  <a:lnTo>
                    <a:pt x="6" y="129"/>
                  </a:lnTo>
                  <a:lnTo>
                    <a:pt x="7" y="127"/>
                  </a:lnTo>
                  <a:lnTo>
                    <a:pt x="7" y="129"/>
                  </a:lnTo>
                  <a:lnTo>
                    <a:pt x="9" y="129"/>
                  </a:lnTo>
                  <a:lnTo>
                    <a:pt x="10" y="127"/>
                  </a:lnTo>
                  <a:lnTo>
                    <a:pt x="10" y="126"/>
                  </a:lnTo>
                  <a:lnTo>
                    <a:pt x="10" y="127"/>
                  </a:lnTo>
                  <a:lnTo>
                    <a:pt x="11" y="126"/>
                  </a:lnTo>
                  <a:lnTo>
                    <a:pt x="11" y="129"/>
                  </a:lnTo>
                  <a:lnTo>
                    <a:pt x="12" y="127"/>
                  </a:lnTo>
                  <a:lnTo>
                    <a:pt x="12" y="129"/>
                  </a:lnTo>
                  <a:lnTo>
                    <a:pt x="12" y="130"/>
                  </a:lnTo>
                  <a:lnTo>
                    <a:pt x="13" y="129"/>
                  </a:lnTo>
                  <a:lnTo>
                    <a:pt x="13" y="130"/>
                  </a:lnTo>
                  <a:lnTo>
                    <a:pt x="15" y="130"/>
                  </a:lnTo>
                  <a:lnTo>
                    <a:pt x="15" y="131"/>
                  </a:lnTo>
                  <a:lnTo>
                    <a:pt x="16" y="130"/>
                  </a:lnTo>
                  <a:lnTo>
                    <a:pt x="16" y="132"/>
                  </a:lnTo>
                  <a:lnTo>
                    <a:pt x="17" y="133"/>
                  </a:lnTo>
                  <a:lnTo>
                    <a:pt x="17" y="135"/>
                  </a:lnTo>
                  <a:lnTo>
                    <a:pt x="16" y="135"/>
                  </a:lnTo>
                  <a:lnTo>
                    <a:pt x="15" y="136"/>
                  </a:lnTo>
                  <a:lnTo>
                    <a:pt x="15" y="138"/>
                  </a:lnTo>
                  <a:lnTo>
                    <a:pt x="15" y="139"/>
                  </a:lnTo>
                  <a:lnTo>
                    <a:pt x="15" y="137"/>
                  </a:lnTo>
                  <a:lnTo>
                    <a:pt x="16" y="136"/>
                  </a:lnTo>
                  <a:lnTo>
                    <a:pt x="16" y="137"/>
                  </a:lnTo>
                  <a:lnTo>
                    <a:pt x="16" y="138"/>
                  </a:lnTo>
                  <a:lnTo>
                    <a:pt x="17" y="138"/>
                  </a:lnTo>
                  <a:lnTo>
                    <a:pt x="16" y="139"/>
                  </a:lnTo>
                  <a:lnTo>
                    <a:pt x="15" y="139"/>
                  </a:lnTo>
                  <a:lnTo>
                    <a:pt x="13" y="141"/>
                  </a:lnTo>
                  <a:lnTo>
                    <a:pt x="13" y="143"/>
                  </a:lnTo>
                  <a:lnTo>
                    <a:pt x="13" y="142"/>
                  </a:lnTo>
                  <a:lnTo>
                    <a:pt x="15" y="141"/>
                  </a:lnTo>
                  <a:lnTo>
                    <a:pt x="15" y="142"/>
                  </a:lnTo>
                  <a:lnTo>
                    <a:pt x="16" y="142"/>
                  </a:lnTo>
                  <a:lnTo>
                    <a:pt x="16" y="141"/>
                  </a:lnTo>
                  <a:lnTo>
                    <a:pt x="16" y="143"/>
                  </a:lnTo>
                  <a:lnTo>
                    <a:pt x="17" y="142"/>
                  </a:lnTo>
                  <a:lnTo>
                    <a:pt x="17" y="144"/>
                  </a:lnTo>
                  <a:lnTo>
                    <a:pt x="17" y="145"/>
                  </a:lnTo>
                  <a:lnTo>
                    <a:pt x="16" y="147"/>
                  </a:lnTo>
                  <a:lnTo>
                    <a:pt x="17" y="145"/>
                  </a:lnTo>
                  <a:lnTo>
                    <a:pt x="17" y="148"/>
                  </a:lnTo>
                  <a:lnTo>
                    <a:pt x="18" y="149"/>
                  </a:lnTo>
                  <a:lnTo>
                    <a:pt x="17" y="150"/>
                  </a:lnTo>
                  <a:lnTo>
                    <a:pt x="18" y="150"/>
                  </a:lnTo>
                  <a:lnTo>
                    <a:pt x="18" y="151"/>
                  </a:lnTo>
                  <a:lnTo>
                    <a:pt x="18" y="153"/>
                  </a:lnTo>
                  <a:lnTo>
                    <a:pt x="19" y="153"/>
                  </a:lnTo>
                  <a:lnTo>
                    <a:pt x="19" y="155"/>
                  </a:lnTo>
                  <a:lnTo>
                    <a:pt x="19" y="153"/>
                  </a:lnTo>
                  <a:lnTo>
                    <a:pt x="21" y="154"/>
                  </a:lnTo>
                  <a:lnTo>
                    <a:pt x="19" y="154"/>
                  </a:lnTo>
                  <a:lnTo>
                    <a:pt x="21" y="156"/>
                  </a:lnTo>
                  <a:lnTo>
                    <a:pt x="19" y="156"/>
                  </a:lnTo>
                  <a:lnTo>
                    <a:pt x="18" y="157"/>
                  </a:lnTo>
                  <a:lnTo>
                    <a:pt x="17" y="156"/>
                  </a:lnTo>
                  <a:lnTo>
                    <a:pt x="17" y="159"/>
                  </a:lnTo>
                  <a:lnTo>
                    <a:pt x="17" y="160"/>
                  </a:lnTo>
                  <a:lnTo>
                    <a:pt x="17" y="159"/>
                  </a:lnTo>
                  <a:lnTo>
                    <a:pt x="18" y="160"/>
                  </a:lnTo>
                  <a:lnTo>
                    <a:pt x="19" y="160"/>
                  </a:lnTo>
                  <a:lnTo>
                    <a:pt x="19" y="159"/>
                  </a:lnTo>
                  <a:lnTo>
                    <a:pt x="19" y="160"/>
                  </a:lnTo>
                  <a:lnTo>
                    <a:pt x="21" y="161"/>
                  </a:lnTo>
                  <a:lnTo>
                    <a:pt x="22" y="160"/>
                  </a:lnTo>
                  <a:lnTo>
                    <a:pt x="23" y="160"/>
                  </a:lnTo>
                  <a:lnTo>
                    <a:pt x="24" y="159"/>
                  </a:lnTo>
                  <a:lnTo>
                    <a:pt x="24" y="157"/>
                  </a:lnTo>
                  <a:lnTo>
                    <a:pt x="24" y="160"/>
                  </a:lnTo>
                  <a:lnTo>
                    <a:pt x="25" y="161"/>
                  </a:lnTo>
                  <a:lnTo>
                    <a:pt x="27" y="161"/>
                  </a:lnTo>
                  <a:lnTo>
                    <a:pt x="28" y="160"/>
                  </a:lnTo>
                  <a:lnTo>
                    <a:pt x="28" y="161"/>
                  </a:lnTo>
                  <a:lnTo>
                    <a:pt x="28" y="162"/>
                  </a:lnTo>
                  <a:lnTo>
                    <a:pt x="29" y="160"/>
                  </a:lnTo>
                  <a:lnTo>
                    <a:pt x="30" y="159"/>
                  </a:lnTo>
                  <a:lnTo>
                    <a:pt x="30" y="157"/>
                  </a:lnTo>
                  <a:lnTo>
                    <a:pt x="30" y="156"/>
                  </a:lnTo>
                  <a:lnTo>
                    <a:pt x="31" y="157"/>
                  </a:lnTo>
                  <a:lnTo>
                    <a:pt x="30" y="160"/>
                  </a:lnTo>
                  <a:lnTo>
                    <a:pt x="30" y="161"/>
                  </a:lnTo>
                  <a:lnTo>
                    <a:pt x="30" y="160"/>
                  </a:lnTo>
                  <a:lnTo>
                    <a:pt x="31" y="159"/>
                  </a:lnTo>
                  <a:lnTo>
                    <a:pt x="31" y="157"/>
                  </a:lnTo>
                  <a:lnTo>
                    <a:pt x="33" y="157"/>
                  </a:lnTo>
                  <a:lnTo>
                    <a:pt x="33" y="156"/>
                  </a:lnTo>
                  <a:lnTo>
                    <a:pt x="34" y="156"/>
                  </a:lnTo>
                  <a:lnTo>
                    <a:pt x="34" y="155"/>
                  </a:lnTo>
                  <a:lnTo>
                    <a:pt x="35" y="155"/>
                  </a:lnTo>
                  <a:lnTo>
                    <a:pt x="37" y="154"/>
                  </a:lnTo>
                  <a:lnTo>
                    <a:pt x="39" y="154"/>
                  </a:lnTo>
                  <a:lnTo>
                    <a:pt x="39" y="155"/>
                  </a:lnTo>
                  <a:lnTo>
                    <a:pt x="39" y="156"/>
                  </a:lnTo>
                  <a:lnTo>
                    <a:pt x="40" y="157"/>
                  </a:lnTo>
                  <a:lnTo>
                    <a:pt x="39" y="157"/>
                  </a:lnTo>
                  <a:lnTo>
                    <a:pt x="37" y="157"/>
                  </a:lnTo>
                  <a:lnTo>
                    <a:pt x="36" y="157"/>
                  </a:lnTo>
                  <a:lnTo>
                    <a:pt x="35" y="157"/>
                  </a:lnTo>
                  <a:lnTo>
                    <a:pt x="35" y="156"/>
                  </a:lnTo>
                  <a:lnTo>
                    <a:pt x="34" y="156"/>
                  </a:lnTo>
                  <a:lnTo>
                    <a:pt x="34" y="157"/>
                  </a:lnTo>
                  <a:lnTo>
                    <a:pt x="35" y="157"/>
                  </a:lnTo>
                  <a:lnTo>
                    <a:pt x="34" y="159"/>
                  </a:lnTo>
                  <a:lnTo>
                    <a:pt x="33" y="159"/>
                  </a:lnTo>
                  <a:lnTo>
                    <a:pt x="31" y="159"/>
                  </a:lnTo>
                  <a:lnTo>
                    <a:pt x="31" y="160"/>
                  </a:lnTo>
                  <a:lnTo>
                    <a:pt x="31" y="161"/>
                  </a:lnTo>
                  <a:lnTo>
                    <a:pt x="31" y="163"/>
                  </a:lnTo>
                  <a:lnTo>
                    <a:pt x="29" y="165"/>
                  </a:lnTo>
                  <a:lnTo>
                    <a:pt x="28" y="165"/>
                  </a:lnTo>
                  <a:lnTo>
                    <a:pt x="28" y="163"/>
                  </a:lnTo>
                  <a:lnTo>
                    <a:pt x="27" y="163"/>
                  </a:lnTo>
                  <a:lnTo>
                    <a:pt x="25" y="163"/>
                  </a:lnTo>
                  <a:lnTo>
                    <a:pt x="27" y="165"/>
                  </a:lnTo>
                  <a:lnTo>
                    <a:pt x="28" y="165"/>
                  </a:lnTo>
                  <a:lnTo>
                    <a:pt x="27" y="165"/>
                  </a:lnTo>
                  <a:lnTo>
                    <a:pt x="25" y="166"/>
                  </a:lnTo>
                  <a:lnTo>
                    <a:pt x="24" y="166"/>
                  </a:lnTo>
                  <a:lnTo>
                    <a:pt x="23" y="167"/>
                  </a:lnTo>
                  <a:lnTo>
                    <a:pt x="23" y="169"/>
                  </a:lnTo>
                  <a:lnTo>
                    <a:pt x="24" y="171"/>
                  </a:lnTo>
                  <a:lnTo>
                    <a:pt x="25" y="171"/>
                  </a:lnTo>
                  <a:lnTo>
                    <a:pt x="25" y="172"/>
                  </a:lnTo>
                  <a:lnTo>
                    <a:pt x="25" y="171"/>
                  </a:lnTo>
                  <a:lnTo>
                    <a:pt x="27" y="171"/>
                  </a:lnTo>
                  <a:lnTo>
                    <a:pt x="27" y="172"/>
                  </a:lnTo>
                  <a:lnTo>
                    <a:pt x="28" y="171"/>
                  </a:lnTo>
                  <a:lnTo>
                    <a:pt x="28" y="172"/>
                  </a:lnTo>
                  <a:lnTo>
                    <a:pt x="29" y="173"/>
                  </a:lnTo>
                  <a:lnTo>
                    <a:pt x="30" y="173"/>
                  </a:lnTo>
                  <a:lnTo>
                    <a:pt x="29" y="174"/>
                  </a:lnTo>
                  <a:lnTo>
                    <a:pt x="29" y="173"/>
                  </a:lnTo>
                  <a:lnTo>
                    <a:pt x="28" y="174"/>
                  </a:lnTo>
                  <a:lnTo>
                    <a:pt x="27" y="177"/>
                  </a:lnTo>
                  <a:lnTo>
                    <a:pt x="28" y="177"/>
                  </a:lnTo>
                  <a:lnTo>
                    <a:pt x="28" y="178"/>
                  </a:lnTo>
                  <a:lnTo>
                    <a:pt x="27" y="178"/>
                  </a:lnTo>
                  <a:lnTo>
                    <a:pt x="27" y="179"/>
                  </a:lnTo>
                  <a:lnTo>
                    <a:pt x="27" y="180"/>
                  </a:lnTo>
                  <a:lnTo>
                    <a:pt x="27" y="179"/>
                  </a:lnTo>
                  <a:lnTo>
                    <a:pt x="28" y="178"/>
                  </a:lnTo>
                  <a:lnTo>
                    <a:pt x="28" y="179"/>
                  </a:lnTo>
                  <a:lnTo>
                    <a:pt x="29" y="180"/>
                  </a:lnTo>
                  <a:lnTo>
                    <a:pt x="29" y="181"/>
                  </a:lnTo>
                  <a:lnTo>
                    <a:pt x="30" y="183"/>
                  </a:lnTo>
                  <a:lnTo>
                    <a:pt x="30" y="181"/>
                  </a:lnTo>
                  <a:lnTo>
                    <a:pt x="31" y="180"/>
                  </a:lnTo>
                  <a:lnTo>
                    <a:pt x="33" y="179"/>
                  </a:lnTo>
                  <a:lnTo>
                    <a:pt x="33" y="180"/>
                  </a:lnTo>
                  <a:lnTo>
                    <a:pt x="34" y="179"/>
                  </a:lnTo>
                  <a:lnTo>
                    <a:pt x="34" y="180"/>
                  </a:lnTo>
                  <a:lnTo>
                    <a:pt x="35" y="180"/>
                  </a:lnTo>
                  <a:lnTo>
                    <a:pt x="35" y="178"/>
                  </a:lnTo>
                  <a:lnTo>
                    <a:pt x="34" y="178"/>
                  </a:lnTo>
                  <a:lnTo>
                    <a:pt x="35" y="177"/>
                  </a:lnTo>
                  <a:lnTo>
                    <a:pt x="36" y="177"/>
                  </a:lnTo>
                  <a:lnTo>
                    <a:pt x="36" y="178"/>
                  </a:lnTo>
                  <a:lnTo>
                    <a:pt x="36" y="177"/>
                  </a:lnTo>
                  <a:lnTo>
                    <a:pt x="36" y="175"/>
                  </a:lnTo>
                  <a:lnTo>
                    <a:pt x="36" y="174"/>
                  </a:lnTo>
                  <a:lnTo>
                    <a:pt x="37" y="174"/>
                  </a:lnTo>
                  <a:lnTo>
                    <a:pt x="37" y="175"/>
                  </a:lnTo>
                  <a:lnTo>
                    <a:pt x="39" y="174"/>
                  </a:lnTo>
                  <a:lnTo>
                    <a:pt x="40" y="173"/>
                  </a:lnTo>
                  <a:lnTo>
                    <a:pt x="41" y="172"/>
                  </a:lnTo>
                  <a:lnTo>
                    <a:pt x="41" y="171"/>
                  </a:lnTo>
                  <a:lnTo>
                    <a:pt x="41" y="169"/>
                  </a:lnTo>
                  <a:lnTo>
                    <a:pt x="41" y="171"/>
                  </a:lnTo>
                  <a:lnTo>
                    <a:pt x="41" y="169"/>
                  </a:lnTo>
                  <a:lnTo>
                    <a:pt x="42" y="169"/>
                  </a:lnTo>
                  <a:lnTo>
                    <a:pt x="43" y="168"/>
                  </a:lnTo>
                  <a:lnTo>
                    <a:pt x="43" y="169"/>
                  </a:lnTo>
                  <a:lnTo>
                    <a:pt x="43" y="171"/>
                  </a:lnTo>
                  <a:lnTo>
                    <a:pt x="45" y="169"/>
                  </a:lnTo>
                  <a:lnTo>
                    <a:pt x="45" y="171"/>
                  </a:lnTo>
                  <a:lnTo>
                    <a:pt x="45" y="169"/>
                  </a:lnTo>
                  <a:lnTo>
                    <a:pt x="46" y="171"/>
                  </a:lnTo>
                  <a:lnTo>
                    <a:pt x="46" y="169"/>
                  </a:lnTo>
                  <a:lnTo>
                    <a:pt x="47" y="169"/>
                  </a:lnTo>
                  <a:lnTo>
                    <a:pt x="47" y="171"/>
                  </a:lnTo>
                  <a:lnTo>
                    <a:pt x="47" y="172"/>
                  </a:lnTo>
                  <a:lnTo>
                    <a:pt x="48" y="173"/>
                  </a:lnTo>
                  <a:lnTo>
                    <a:pt x="48" y="174"/>
                  </a:lnTo>
                  <a:lnTo>
                    <a:pt x="48" y="175"/>
                  </a:lnTo>
                  <a:lnTo>
                    <a:pt x="48" y="174"/>
                  </a:lnTo>
                  <a:lnTo>
                    <a:pt x="47" y="174"/>
                  </a:lnTo>
                  <a:lnTo>
                    <a:pt x="47" y="175"/>
                  </a:lnTo>
                  <a:lnTo>
                    <a:pt x="46" y="177"/>
                  </a:lnTo>
                  <a:lnTo>
                    <a:pt x="46" y="175"/>
                  </a:lnTo>
                  <a:lnTo>
                    <a:pt x="46" y="174"/>
                  </a:lnTo>
                  <a:lnTo>
                    <a:pt x="46" y="175"/>
                  </a:lnTo>
                  <a:lnTo>
                    <a:pt x="45" y="175"/>
                  </a:lnTo>
                  <a:lnTo>
                    <a:pt x="45" y="177"/>
                  </a:lnTo>
                  <a:lnTo>
                    <a:pt x="43" y="178"/>
                  </a:lnTo>
                  <a:lnTo>
                    <a:pt x="45" y="179"/>
                  </a:lnTo>
                  <a:lnTo>
                    <a:pt x="43" y="180"/>
                  </a:lnTo>
                  <a:lnTo>
                    <a:pt x="43" y="181"/>
                  </a:lnTo>
                  <a:lnTo>
                    <a:pt x="45" y="180"/>
                  </a:lnTo>
                  <a:lnTo>
                    <a:pt x="45" y="181"/>
                  </a:lnTo>
                  <a:lnTo>
                    <a:pt x="46" y="180"/>
                  </a:lnTo>
                  <a:lnTo>
                    <a:pt x="47" y="181"/>
                  </a:lnTo>
                  <a:lnTo>
                    <a:pt x="47" y="180"/>
                  </a:lnTo>
                  <a:lnTo>
                    <a:pt x="47" y="181"/>
                  </a:lnTo>
                  <a:lnTo>
                    <a:pt x="48" y="181"/>
                  </a:lnTo>
                  <a:lnTo>
                    <a:pt x="48" y="183"/>
                  </a:lnTo>
                  <a:lnTo>
                    <a:pt x="50" y="181"/>
                  </a:lnTo>
                  <a:lnTo>
                    <a:pt x="50" y="180"/>
                  </a:lnTo>
                  <a:lnTo>
                    <a:pt x="51" y="179"/>
                  </a:lnTo>
                  <a:lnTo>
                    <a:pt x="51" y="178"/>
                  </a:lnTo>
                  <a:lnTo>
                    <a:pt x="51" y="179"/>
                  </a:lnTo>
                  <a:lnTo>
                    <a:pt x="51" y="180"/>
                  </a:lnTo>
                  <a:lnTo>
                    <a:pt x="52" y="180"/>
                  </a:lnTo>
                  <a:lnTo>
                    <a:pt x="52" y="178"/>
                  </a:lnTo>
                  <a:lnTo>
                    <a:pt x="52" y="179"/>
                  </a:lnTo>
                  <a:lnTo>
                    <a:pt x="53" y="179"/>
                  </a:lnTo>
                  <a:lnTo>
                    <a:pt x="53" y="180"/>
                  </a:lnTo>
                  <a:lnTo>
                    <a:pt x="53" y="179"/>
                  </a:lnTo>
                  <a:lnTo>
                    <a:pt x="54" y="178"/>
                  </a:lnTo>
                  <a:lnTo>
                    <a:pt x="54" y="177"/>
                  </a:lnTo>
                  <a:lnTo>
                    <a:pt x="54" y="179"/>
                  </a:lnTo>
                  <a:lnTo>
                    <a:pt x="54" y="177"/>
                  </a:lnTo>
                  <a:lnTo>
                    <a:pt x="54" y="175"/>
                  </a:lnTo>
                  <a:lnTo>
                    <a:pt x="54" y="174"/>
                  </a:lnTo>
                  <a:lnTo>
                    <a:pt x="54" y="173"/>
                  </a:lnTo>
                  <a:lnTo>
                    <a:pt x="54" y="172"/>
                  </a:lnTo>
                  <a:lnTo>
                    <a:pt x="56" y="171"/>
                  </a:lnTo>
                  <a:lnTo>
                    <a:pt x="57" y="169"/>
                  </a:lnTo>
                  <a:lnTo>
                    <a:pt x="57" y="171"/>
                  </a:lnTo>
                  <a:lnTo>
                    <a:pt x="57" y="169"/>
                  </a:lnTo>
                  <a:lnTo>
                    <a:pt x="57" y="168"/>
                  </a:lnTo>
                  <a:lnTo>
                    <a:pt x="58" y="167"/>
                  </a:lnTo>
                  <a:lnTo>
                    <a:pt x="59" y="166"/>
                  </a:lnTo>
                  <a:lnTo>
                    <a:pt x="59" y="165"/>
                  </a:lnTo>
                  <a:lnTo>
                    <a:pt x="60" y="165"/>
                  </a:lnTo>
                  <a:lnTo>
                    <a:pt x="60" y="163"/>
                  </a:lnTo>
                  <a:lnTo>
                    <a:pt x="62" y="162"/>
                  </a:lnTo>
                  <a:lnTo>
                    <a:pt x="63" y="163"/>
                  </a:lnTo>
                  <a:lnTo>
                    <a:pt x="64" y="163"/>
                  </a:lnTo>
                  <a:lnTo>
                    <a:pt x="64" y="162"/>
                  </a:lnTo>
                  <a:lnTo>
                    <a:pt x="65" y="162"/>
                  </a:lnTo>
                  <a:lnTo>
                    <a:pt x="65" y="163"/>
                  </a:lnTo>
                  <a:lnTo>
                    <a:pt x="64" y="166"/>
                  </a:lnTo>
                  <a:lnTo>
                    <a:pt x="63" y="167"/>
                  </a:lnTo>
                  <a:lnTo>
                    <a:pt x="63" y="168"/>
                  </a:lnTo>
                  <a:lnTo>
                    <a:pt x="62" y="171"/>
                  </a:lnTo>
                  <a:lnTo>
                    <a:pt x="60" y="172"/>
                  </a:lnTo>
                  <a:lnTo>
                    <a:pt x="60" y="173"/>
                  </a:lnTo>
                  <a:lnTo>
                    <a:pt x="60" y="174"/>
                  </a:lnTo>
                  <a:lnTo>
                    <a:pt x="60" y="175"/>
                  </a:lnTo>
                  <a:lnTo>
                    <a:pt x="60" y="174"/>
                  </a:lnTo>
                  <a:lnTo>
                    <a:pt x="62" y="174"/>
                  </a:lnTo>
                  <a:lnTo>
                    <a:pt x="62" y="175"/>
                  </a:lnTo>
                  <a:lnTo>
                    <a:pt x="62" y="178"/>
                  </a:lnTo>
                  <a:lnTo>
                    <a:pt x="62" y="179"/>
                  </a:lnTo>
                  <a:lnTo>
                    <a:pt x="62" y="180"/>
                  </a:lnTo>
                  <a:lnTo>
                    <a:pt x="62" y="179"/>
                  </a:lnTo>
                  <a:lnTo>
                    <a:pt x="62" y="178"/>
                  </a:lnTo>
                  <a:lnTo>
                    <a:pt x="63" y="178"/>
                  </a:lnTo>
                  <a:lnTo>
                    <a:pt x="63" y="179"/>
                  </a:lnTo>
                  <a:lnTo>
                    <a:pt x="64" y="179"/>
                  </a:lnTo>
                  <a:lnTo>
                    <a:pt x="63" y="178"/>
                  </a:lnTo>
                  <a:lnTo>
                    <a:pt x="63" y="177"/>
                  </a:lnTo>
                  <a:lnTo>
                    <a:pt x="64" y="177"/>
                  </a:lnTo>
                  <a:lnTo>
                    <a:pt x="64" y="178"/>
                  </a:lnTo>
                  <a:lnTo>
                    <a:pt x="65" y="177"/>
                  </a:lnTo>
                  <a:lnTo>
                    <a:pt x="65" y="178"/>
                  </a:lnTo>
                  <a:lnTo>
                    <a:pt x="66" y="179"/>
                  </a:lnTo>
                  <a:lnTo>
                    <a:pt x="66" y="180"/>
                  </a:lnTo>
                  <a:lnTo>
                    <a:pt x="66" y="179"/>
                  </a:lnTo>
                  <a:lnTo>
                    <a:pt x="68" y="179"/>
                  </a:lnTo>
                  <a:lnTo>
                    <a:pt x="69" y="179"/>
                  </a:lnTo>
                  <a:lnTo>
                    <a:pt x="68" y="180"/>
                  </a:lnTo>
                  <a:lnTo>
                    <a:pt x="68" y="181"/>
                  </a:lnTo>
                  <a:lnTo>
                    <a:pt x="68" y="183"/>
                  </a:lnTo>
                  <a:lnTo>
                    <a:pt x="69" y="181"/>
                  </a:lnTo>
                  <a:lnTo>
                    <a:pt x="69" y="180"/>
                  </a:lnTo>
                  <a:lnTo>
                    <a:pt x="70" y="183"/>
                  </a:lnTo>
                  <a:lnTo>
                    <a:pt x="70" y="181"/>
                  </a:lnTo>
                  <a:lnTo>
                    <a:pt x="70" y="180"/>
                  </a:lnTo>
                  <a:lnTo>
                    <a:pt x="70" y="179"/>
                  </a:lnTo>
                  <a:lnTo>
                    <a:pt x="70" y="178"/>
                  </a:lnTo>
                  <a:lnTo>
                    <a:pt x="70" y="177"/>
                  </a:lnTo>
                  <a:lnTo>
                    <a:pt x="70" y="175"/>
                  </a:lnTo>
                  <a:lnTo>
                    <a:pt x="69" y="175"/>
                  </a:lnTo>
                  <a:lnTo>
                    <a:pt x="69" y="174"/>
                  </a:lnTo>
                  <a:lnTo>
                    <a:pt x="69" y="173"/>
                  </a:lnTo>
                  <a:lnTo>
                    <a:pt x="69" y="172"/>
                  </a:lnTo>
                  <a:lnTo>
                    <a:pt x="68" y="172"/>
                  </a:lnTo>
                  <a:lnTo>
                    <a:pt x="66" y="171"/>
                  </a:lnTo>
                  <a:lnTo>
                    <a:pt x="66" y="169"/>
                  </a:lnTo>
                  <a:lnTo>
                    <a:pt x="68" y="168"/>
                  </a:lnTo>
                  <a:lnTo>
                    <a:pt x="68" y="169"/>
                  </a:lnTo>
                  <a:lnTo>
                    <a:pt x="69" y="171"/>
                  </a:lnTo>
                  <a:lnTo>
                    <a:pt x="70" y="169"/>
                  </a:lnTo>
                  <a:lnTo>
                    <a:pt x="69" y="168"/>
                  </a:lnTo>
                  <a:lnTo>
                    <a:pt x="70" y="168"/>
                  </a:lnTo>
                  <a:lnTo>
                    <a:pt x="70" y="167"/>
                  </a:lnTo>
                  <a:lnTo>
                    <a:pt x="69" y="167"/>
                  </a:lnTo>
                  <a:lnTo>
                    <a:pt x="70" y="166"/>
                  </a:lnTo>
                  <a:lnTo>
                    <a:pt x="71" y="167"/>
                  </a:lnTo>
                  <a:lnTo>
                    <a:pt x="70" y="168"/>
                  </a:lnTo>
                  <a:lnTo>
                    <a:pt x="71" y="167"/>
                  </a:lnTo>
                  <a:lnTo>
                    <a:pt x="71" y="168"/>
                  </a:lnTo>
                  <a:lnTo>
                    <a:pt x="72" y="171"/>
                  </a:lnTo>
                  <a:lnTo>
                    <a:pt x="72" y="169"/>
                  </a:lnTo>
                  <a:lnTo>
                    <a:pt x="74" y="168"/>
                  </a:lnTo>
                  <a:lnTo>
                    <a:pt x="74" y="169"/>
                  </a:lnTo>
                  <a:lnTo>
                    <a:pt x="75" y="168"/>
                  </a:lnTo>
                  <a:lnTo>
                    <a:pt x="74" y="167"/>
                  </a:lnTo>
                  <a:lnTo>
                    <a:pt x="74" y="166"/>
                  </a:lnTo>
                  <a:lnTo>
                    <a:pt x="75" y="167"/>
                  </a:lnTo>
                  <a:lnTo>
                    <a:pt x="75" y="166"/>
                  </a:lnTo>
                  <a:lnTo>
                    <a:pt x="76" y="166"/>
                  </a:lnTo>
                  <a:lnTo>
                    <a:pt x="77" y="167"/>
                  </a:lnTo>
                  <a:lnTo>
                    <a:pt x="77" y="166"/>
                  </a:lnTo>
                  <a:lnTo>
                    <a:pt x="78" y="165"/>
                  </a:lnTo>
                  <a:lnTo>
                    <a:pt x="78" y="166"/>
                  </a:lnTo>
                  <a:lnTo>
                    <a:pt x="78" y="167"/>
                  </a:lnTo>
                  <a:lnTo>
                    <a:pt x="80" y="168"/>
                  </a:lnTo>
                  <a:lnTo>
                    <a:pt x="80" y="167"/>
                  </a:lnTo>
                  <a:lnTo>
                    <a:pt x="80" y="168"/>
                  </a:lnTo>
                  <a:lnTo>
                    <a:pt x="81" y="167"/>
                  </a:lnTo>
                  <a:lnTo>
                    <a:pt x="81" y="166"/>
                  </a:lnTo>
                  <a:lnTo>
                    <a:pt x="81" y="165"/>
                  </a:lnTo>
                  <a:lnTo>
                    <a:pt x="82" y="166"/>
                  </a:lnTo>
                  <a:lnTo>
                    <a:pt x="82" y="165"/>
                  </a:lnTo>
                  <a:lnTo>
                    <a:pt x="82" y="163"/>
                  </a:lnTo>
                  <a:lnTo>
                    <a:pt x="83" y="165"/>
                  </a:lnTo>
                  <a:lnTo>
                    <a:pt x="84" y="163"/>
                  </a:lnTo>
                  <a:lnTo>
                    <a:pt x="86" y="165"/>
                  </a:lnTo>
                  <a:lnTo>
                    <a:pt x="84" y="167"/>
                  </a:lnTo>
                  <a:lnTo>
                    <a:pt x="86" y="167"/>
                  </a:lnTo>
                  <a:lnTo>
                    <a:pt x="87" y="166"/>
                  </a:lnTo>
                  <a:lnTo>
                    <a:pt x="87" y="165"/>
                  </a:lnTo>
                  <a:lnTo>
                    <a:pt x="88" y="165"/>
                  </a:lnTo>
                  <a:lnTo>
                    <a:pt x="88" y="163"/>
                  </a:lnTo>
                  <a:lnTo>
                    <a:pt x="88" y="166"/>
                  </a:lnTo>
                  <a:lnTo>
                    <a:pt x="88" y="167"/>
                  </a:lnTo>
                  <a:lnTo>
                    <a:pt x="88" y="168"/>
                  </a:lnTo>
                  <a:lnTo>
                    <a:pt x="88" y="167"/>
                  </a:lnTo>
                  <a:lnTo>
                    <a:pt x="89" y="167"/>
                  </a:lnTo>
                  <a:lnTo>
                    <a:pt x="89" y="168"/>
                  </a:lnTo>
                  <a:lnTo>
                    <a:pt x="90" y="167"/>
                  </a:lnTo>
                  <a:lnTo>
                    <a:pt x="90" y="166"/>
                  </a:lnTo>
                  <a:lnTo>
                    <a:pt x="90" y="165"/>
                  </a:lnTo>
                  <a:lnTo>
                    <a:pt x="90" y="166"/>
                  </a:lnTo>
                  <a:lnTo>
                    <a:pt x="89" y="166"/>
                  </a:lnTo>
                  <a:lnTo>
                    <a:pt x="88" y="166"/>
                  </a:lnTo>
                  <a:lnTo>
                    <a:pt x="88" y="163"/>
                  </a:lnTo>
                  <a:lnTo>
                    <a:pt x="89" y="163"/>
                  </a:lnTo>
                  <a:lnTo>
                    <a:pt x="89" y="162"/>
                  </a:lnTo>
                  <a:lnTo>
                    <a:pt x="90" y="162"/>
                  </a:lnTo>
                  <a:lnTo>
                    <a:pt x="90" y="161"/>
                  </a:lnTo>
                  <a:lnTo>
                    <a:pt x="92" y="160"/>
                  </a:lnTo>
                  <a:lnTo>
                    <a:pt x="92" y="161"/>
                  </a:lnTo>
                  <a:lnTo>
                    <a:pt x="92" y="163"/>
                  </a:lnTo>
                  <a:lnTo>
                    <a:pt x="92" y="162"/>
                  </a:lnTo>
                  <a:lnTo>
                    <a:pt x="92" y="163"/>
                  </a:lnTo>
                  <a:lnTo>
                    <a:pt x="93" y="165"/>
                  </a:lnTo>
                  <a:lnTo>
                    <a:pt x="92" y="166"/>
                  </a:lnTo>
                  <a:lnTo>
                    <a:pt x="92" y="167"/>
                  </a:lnTo>
                  <a:lnTo>
                    <a:pt x="92" y="168"/>
                  </a:lnTo>
                  <a:lnTo>
                    <a:pt x="93" y="167"/>
                  </a:lnTo>
                  <a:lnTo>
                    <a:pt x="94" y="167"/>
                  </a:lnTo>
                  <a:lnTo>
                    <a:pt x="95" y="167"/>
                  </a:lnTo>
                  <a:lnTo>
                    <a:pt x="96" y="165"/>
                  </a:lnTo>
                  <a:lnTo>
                    <a:pt x="96" y="163"/>
                  </a:lnTo>
                  <a:lnTo>
                    <a:pt x="98" y="163"/>
                  </a:lnTo>
                  <a:lnTo>
                    <a:pt x="98" y="162"/>
                  </a:lnTo>
                  <a:lnTo>
                    <a:pt x="99" y="162"/>
                  </a:lnTo>
                  <a:lnTo>
                    <a:pt x="99" y="163"/>
                  </a:lnTo>
                  <a:lnTo>
                    <a:pt x="99" y="165"/>
                  </a:lnTo>
                  <a:lnTo>
                    <a:pt x="100" y="166"/>
                  </a:lnTo>
                  <a:lnTo>
                    <a:pt x="101" y="165"/>
                  </a:lnTo>
                  <a:lnTo>
                    <a:pt x="100" y="163"/>
                  </a:lnTo>
                  <a:lnTo>
                    <a:pt x="100" y="162"/>
                  </a:lnTo>
                  <a:lnTo>
                    <a:pt x="101" y="163"/>
                  </a:lnTo>
                  <a:lnTo>
                    <a:pt x="104" y="165"/>
                  </a:lnTo>
                  <a:lnTo>
                    <a:pt x="105" y="166"/>
                  </a:lnTo>
                  <a:lnTo>
                    <a:pt x="105" y="167"/>
                  </a:lnTo>
                  <a:lnTo>
                    <a:pt x="104" y="166"/>
                  </a:lnTo>
                  <a:lnTo>
                    <a:pt x="104" y="165"/>
                  </a:lnTo>
                  <a:lnTo>
                    <a:pt x="102" y="166"/>
                  </a:lnTo>
                  <a:lnTo>
                    <a:pt x="102" y="167"/>
                  </a:lnTo>
                  <a:lnTo>
                    <a:pt x="101" y="167"/>
                  </a:lnTo>
                  <a:lnTo>
                    <a:pt x="100" y="167"/>
                  </a:lnTo>
                  <a:lnTo>
                    <a:pt x="100" y="166"/>
                  </a:lnTo>
                  <a:lnTo>
                    <a:pt x="100" y="167"/>
                  </a:lnTo>
                  <a:lnTo>
                    <a:pt x="99" y="168"/>
                  </a:lnTo>
                  <a:lnTo>
                    <a:pt x="99" y="167"/>
                  </a:lnTo>
                  <a:lnTo>
                    <a:pt x="98" y="167"/>
                  </a:lnTo>
                  <a:lnTo>
                    <a:pt x="96" y="167"/>
                  </a:lnTo>
                  <a:lnTo>
                    <a:pt x="96" y="168"/>
                  </a:lnTo>
                  <a:lnTo>
                    <a:pt x="98" y="168"/>
                  </a:lnTo>
                  <a:lnTo>
                    <a:pt x="98" y="169"/>
                  </a:lnTo>
                  <a:lnTo>
                    <a:pt x="96" y="171"/>
                  </a:lnTo>
                  <a:lnTo>
                    <a:pt x="95" y="171"/>
                  </a:lnTo>
                  <a:lnTo>
                    <a:pt x="96" y="171"/>
                  </a:lnTo>
                  <a:lnTo>
                    <a:pt x="96" y="172"/>
                  </a:lnTo>
                  <a:lnTo>
                    <a:pt x="98" y="171"/>
                  </a:lnTo>
                  <a:lnTo>
                    <a:pt x="98" y="169"/>
                  </a:lnTo>
                  <a:lnTo>
                    <a:pt x="99" y="171"/>
                  </a:lnTo>
                  <a:lnTo>
                    <a:pt x="99" y="172"/>
                  </a:lnTo>
                  <a:lnTo>
                    <a:pt x="100" y="171"/>
                  </a:lnTo>
                  <a:lnTo>
                    <a:pt x="100" y="172"/>
                  </a:lnTo>
                  <a:lnTo>
                    <a:pt x="101" y="171"/>
                  </a:lnTo>
                  <a:lnTo>
                    <a:pt x="102" y="171"/>
                  </a:lnTo>
                  <a:lnTo>
                    <a:pt x="104" y="171"/>
                  </a:lnTo>
                  <a:lnTo>
                    <a:pt x="104" y="172"/>
                  </a:lnTo>
                  <a:lnTo>
                    <a:pt x="102" y="172"/>
                  </a:lnTo>
                  <a:lnTo>
                    <a:pt x="101" y="172"/>
                  </a:lnTo>
                  <a:lnTo>
                    <a:pt x="100" y="173"/>
                  </a:lnTo>
                  <a:lnTo>
                    <a:pt x="100" y="174"/>
                  </a:lnTo>
                  <a:lnTo>
                    <a:pt x="101" y="173"/>
                  </a:lnTo>
                  <a:lnTo>
                    <a:pt x="101" y="174"/>
                  </a:lnTo>
                  <a:lnTo>
                    <a:pt x="101" y="175"/>
                  </a:lnTo>
                  <a:lnTo>
                    <a:pt x="102" y="174"/>
                  </a:lnTo>
                  <a:lnTo>
                    <a:pt x="102" y="173"/>
                  </a:lnTo>
                  <a:lnTo>
                    <a:pt x="102" y="174"/>
                  </a:lnTo>
                  <a:lnTo>
                    <a:pt x="102" y="175"/>
                  </a:lnTo>
                  <a:lnTo>
                    <a:pt x="102" y="177"/>
                  </a:lnTo>
                  <a:lnTo>
                    <a:pt x="102" y="178"/>
                  </a:lnTo>
                  <a:lnTo>
                    <a:pt x="104" y="178"/>
                  </a:lnTo>
                  <a:lnTo>
                    <a:pt x="104" y="179"/>
                  </a:lnTo>
                  <a:lnTo>
                    <a:pt x="104" y="178"/>
                  </a:lnTo>
                  <a:lnTo>
                    <a:pt x="105" y="177"/>
                  </a:lnTo>
                  <a:lnTo>
                    <a:pt x="105" y="175"/>
                  </a:lnTo>
                  <a:lnTo>
                    <a:pt x="105" y="174"/>
                  </a:lnTo>
                  <a:lnTo>
                    <a:pt x="105" y="173"/>
                  </a:lnTo>
                  <a:lnTo>
                    <a:pt x="105" y="171"/>
                  </a:lnTo>
                  <a:lnTo>
                    <a:pt x="105" y="167"/>
                  </a:lnTo>
                  <a:lnTo>
                    <a:pt x="105" y="166"/>
                  </a:lnTo>
                  <a:lnTo>
                    <a:pt x="107" y="168"/>
                  </a:lnTo>
                  <a:lnTo>
                    <a:pt x="113" y="172"/>
                  </a:lnTo>
                  <a:lnTo>
                    <a:pt x="116" y="183"/>
                  </a:lnTo>
                  <a:lnTo>
                    <a:pt x="118" y="195"/>
                  </a:lnTo>
                  <a:lnTo>
                    <a:pt x="119" y="207"/>
                  </a:lnTo>
                  <a:lnTo>
                    <a:pt x="119" y="213"/>
                  </a:lnTo>
                  <a:lnTo>
                    <a:pt x="121" y="222"/>
                  </a:lnTo>
                  <a:lnTo>
                    <a:pt x="123" y="227"/>
                  </a:lnTo>
                  <a:lnTo>
                    <a:pt x="123" y="233"/>
                  </a:lnTo>
                  <a:lnTo>
                    <a:pt x="122" y="234"/>
                  </a:lnTo>
                  <a:lnTo>
                    <a:pt x="123" y="237"/>
                  </a:lnTo>
                  <a:lnTo>
                    <a:pt x="122" y="243"/>
                  </a:lnTo>
                  <a:lnTo>
                    <a:pt x="119" y="252"/>
                  </a:lnTo>
                  <a:lnTo>
                    <a:pt x="118" y="260"/>
                  </a:lnTo>
                  <a:lnTo>
                    <a:pt x="117" y="266"/>
                  </a:lnTo>
                  <a:lnTo>
                    <a:pt x="133" y="26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4" name="Freeform 67"/>
            <p:cNvSpPr>
              <a:spLocks/>
            </p:cNvSpPr>
            <p:nvPr userDrawn="1"/>
          </p:nvSpPr>
          <p:spPr bwMode="auto">
            <a:xfrm>
              <a:off x="6640513" y="6230938"/>
              <a:ext cx="80963" cy="246063"/>
            </a:xfrm>
            <a:custGeom>
              <a:avLst/>
              <a:gdLst/>
              <a:ahLst/>
              <a:cxnLst>
                <a:cxn ang="0">
                  <a:pos x="228" y="160"/>
                </a:cxn>
                <a:cxn ang="0">
                  <a:pos x="227" y="154"/>
                </a:cxn>
                <a:cxn ang="0">
                  <a:pos x="195" y="150"/>
                </a:cxn>
                <a:cxn ang="0">
                  <a:pos x="193" y="143"/>
                </a:cxn>
                <a:cxn ang="0">
                  <a:pos x="203" y="102"/>
                </a:cxn>
                <a:cxn ang="0">
                  <a:pos x="196" y="89"/>
                </a:cxn>
                <a:cxn ang="0">
                  <a:pos x="163" y="83"/>
                </a:cxn>
                <a:cxn ang="0">
                  <a:pos x="163" y="64"/>
                </a:cxn>
                <a:cxn ang="0">
                  <a:pos x="160" y="63"/>
                </a:cxn>
                <a:cxn ang="0">
                  <a:pos x="167" y="51"/>
                </a:cxn>
                <a:cxn ang="0">
                  <a:pos x="169" y="37"/>
                </a:cxn>
                <a:cxn ang="0">
                  <a:pos x="166" y="23"/>
                </a:cxn>
                <a:cxn ang="0">
                  <a:pos x="158" y="11"/>
                </a:cxn>
                <a:cxn ang="0">
                  <a:pos x="146" y="2"/>
                </a:cxn>
                <a:cxn ang="0">
                  <a:pos x="139" y="1"/>
                </a:cxn>
                <a:cxn ang="0">
                  <a:pos x="132" y="0"/>
                </a:cxn>
                <a:cxn ang="0">
                  <a:pos x="118" y="2"/>
                </a:cxn>
                <a:cxn ang="0">
                  <a:pos x="105" y="11"/>
                </a:cxn>
                <a:cxn ang="0">
                  <a:pos x="97" y="23"/>
                </a:cxn>
                <a:cxn ang="0">
                  <a:pos x="95" y="30"/>
                </a:cxn>
                <a:cxn ang="0">
                  <a:pos x="95" y="37"/>
                </a:cxn>
                <a:cxn ang="0">
                  <a:pos x="97" y="51"/>
                </a:cxn>
                <a:cxn ang="0">
                  <a:pos x="99" y="57"/>
                </a:cxn>
                <a:cxn ang="0">
                  <a:pos x="103" y="61"/>
                </a:cxn>
                <a:cxn ang="0">
                  <a:pos x="95" y="64"/>
                </a:cxn>
                <a:cxn ang="0">
                  <a:pos x="95" y="83"/>
                </a:cxn>
                <a:cxn ang="0">
                  <a:pos x="62" y="89"/>
                </a:cxn>
                <a:cxn ang="0">
                  <a:pos x="55" y="102"/>
                </a:cxn>
                <a:cxn ang="0">
                  <a:pos x="66" y="143"/>
                </a:cxn>
                <a:cxn ang="0">
                  <a:pos x="63" y="150"/>
                </a:cxn>
                <a:cxn ang="0">
                  <a:pos x="31" y="154"/>
                </a:cxn>
                <a:cxn ang="0">
                  <a:pos x="31" y="160"/>
                </a:cxn>
                <a:cxn ang="0">
                  <a:pos x="10" y="162"/>
                </a:cxn>
                <a:cxn ang="0">
                  <a:pos x="0" y="166"/>
                </a:cxn>
                <a:cxn ang="0">
                  <a:pos x="0" y="186"/>
                </a:cxn>
                <a:cxn ang="0">
                  <a:pos x="0" y="190"/>
                </a:cxn>
                <a:cxn ang="0">
                  <a:pos x="48" y="272"/>
                </a:cxn>
                <a:cxn ang="0">
                  <a:pos x="91" y="272"/>
                </a:cxn>
                <a:cxn ang="0">
                  <a:pos x="95" y="483"/>
                </a:cxn>
                <a:cxn ang="0">
                  <a:pos x="95" y="629"/>
                </a:cxn>
                <a:cxn ang="0">
                  <a:pos x="93" y="678"/>
                </a:cxn>
                <a:cxn ang="0">
                  <a:pos x="92" y="691"/>
                </a:cxn>
                <a:cxn ang="0">
                  <a:pos x="91" y="696"/>
                </a:cxn>
                <a:cxn ang="0">
                  <a:pos x="86" y="699"/>
                </a:cxn>
                <a:cxn ang="0">
                  <a:pos x="83" y="701"/>
                </a:cxn>
                <a:cxn ang="0">
                  <a:pos x="80" y="706"/>
                </a:cxn>
                <a:cxn ang="0">
                  <a:pos x="80" y="774"/>
                </a:cxn>
                <a:cxn ang="0">
                  <a:pos x="130" y="774"/>
                </a:cxn>
                <a:cxn ang="0">
                  <a:pos x="179" y="774"/>
                </a:cxn>
                <a:cxn ang="0">
                  <a:pos x="179" y="706"/>
                </a:cxn>
                <a:cxn ang="0">
                  <a:pos x="175" y="701"/>
                </a:cxn>
                <a:cxn ang="0">
                  <a:pos x="172" y="699"/>
                </a:cxn>
                <a:cxn ang="0">
                  <a:pos x="167" y="696"/>
                </a:cxn>
                <a:cxn ang="0">
                  <a:pos x="164" y="678"/>
                </a:cxn>
                <a:cxn ang="0">
                  <a:pos x="163" y="629"/>
                </a:cxn>
                <a:cxn ang="0">
                  <a:pos x="164" y="483"/>
                </a:cxn>
                <a:cxn ang="0">
                  <a:pos x="167" y="272"/>
                </a:cxn>
                <a:cxn ang="0">
                  <a:pos x="210" y="272"/>
                </a:cxn>
                <a:cxn ang="0">
                  <a:pos x="258" y="190"/>
                </a:cxn>
                <a:cxn ang="0">
                  <a:pos x="258" y="186"/>
                </a:cxn>
                <a:cxn ang="0">
                  <a:pos x="258" y="166"/>
                </a:cxn>
                <a:cxn ang="0">
                  <a:pos x="248" y="162"/>
                </a:cxn>
                <a:cxn ang="0">
                  <a:pos x="228" y="160"/>
                </a:cxn>
              </a:cxnLst>
              <a:rect l="0" t="0" r="r" b="b"/>
              <a:pathLst>
                <a:path w="258" h="774">
                  <a:moveTo>
                    <a:pt x="228" y="160"/>
                  </a:moveTo>
                  <a:lnTo>
                    <a:pt x="227" y="154"/>
                  </a:lnTo>
                  <a:lnTo>
                    <a:pt x="195" y="150"/>
                  </a:lnTo>
                  <a:lnTo>
                    <a:pt x="193" y="143"/>
                  </a:lnTo>
                  <a:lnTo>
                    <a:pt x="203" y="102"/>
                  </a:lnTo>
                  <a:lnTo>
                    <a:pt x="196" y="89"/>
                  </a:lnTo>
                  <a:lnTo>
                    <a:pt x="163" y="83"/>
                  </a:lnTo>
                  <a:lnTo>
                    <a:pt x="163" y="64"/>
                  </a:lnTo>
                  <a:lnTo>
                    <a:pt x="160" y="63"/>
                  </a:lnTo>
                  <a:lnTo>
                    <a:pt x="167" y="51"/>
                  </a:lnTo>
                  <a:lnTo>
                    <a:pt x="169" y="37"/>
                  </a:lnTo>
                  <a:lnTo>
                    <a:pt x="166" y="23"/>
                  </a:lnTo>
                  <a:lnTo>
                    <a:pt x="158" y="11"/>
                  </a:lnTo>
                  <a:lnTo>
                    <a:pt x="146" y="2"/>
                  </a:lnTo>
                  <a:lnTo>
                    <a:pt x="139" y="1"/>
                  </a:lnTo>
                  <a:lnTo>
                    <a:pt x="132" y="0"/>
                  </a:lnTo>
                  <a:lnTo>
                    <a:pt x="118" y="2"/>
                  </a:lnTo>
                  <a:lnTo>
                    <a:pt x="105" y="11"/>
                  </a:lnTo>
                  <a:lnTo>
                    <a:pt x="97" y="23"/>
                  </a:lnTo>
                  <a:lnTo>
                    <a:pt x="95" y="30"/>
                  </a:lnTo>
                  <a:lnTo>
                    <a:pt x="95" y="37"/>
                  </a:lnTo>
                  <a:lnTo>
                    <a:pt x="97" y="51"/>
                  </a:lnTo>
                  <a:lnTo>
                    <a:pt x="99" y="57"/>
                  </a:lnTo>
                  <a:lnTo>
                    <a:pt x="103" y="61"/>
                  </a:lnTo>
                  <a:lnTo>
                    <a:pt x="95" y="64"/>
                  </a:lnTo>
                  <a:lnTo>
                    <a:pt x="95" y="83"/>
                  </a:lnTo>
                  <a:lnTo>
                    <a:pt x="62" y="89"/>
                  </a:lnTo>
                  <a:lnTo>
                    <a:pt x="55" y="102"/>
                  </a:lnTo>
                  <a:lnTo>
                    <a:pt x="66" y="143"/>
                  </a:lnTo>
                  <a:lnTo>
                    <a:pt x="63" y="150"/>
                  </a:lnTo>
                  <a:lnTo>
                    <a:pt x="31" y="154"/>
                  </a:lnTo>
                  <a:lnTo>
                    <a:pt x="31" y="160"/>
                  </a:lnTo>
                  <a:lnTo>
                    <a:pt x="10" y="162"/>
                  </a:lnTo>
                  <a:lnTo>
                    <a:pt x="0" y="166"/>
                  </a:lnTo>
                  <a:lnTo>
                    <a:pt x="0" y="186"/>
                  </a:lnTo>
                  <a:lnTo>
                    <a:pt x="0" y="190"/>
                  </a:lnTo>
                  <a:lnTo>
                    <a:pt x="48" y="272"/>
                  </a:lnTo>
                  <a:lnTo>
                    <a:pt x="91" y="272"/>
                  </a:lnTo>
                  <a:lnTo>
                    <a:pt x="95" y="483"/>
                  </a:lnTo>
                  <a:lnTo>
                    <a:pt x="95" y="629"/>
                  </a:lnTo>
                  <a:lnTo>
                    <a:pt x="93" y="678"/>
                  </a:lnTo>
                  <a:lnTo>
                    <a:pt x="92" y="691"/>
                  </a:lnTo>
                  <a:lnTo>
                    <a:pt x="91" y="696"/>
                  </a:lnTo>
                  <a:lnTo>
                    <a:pt x="86" y="699"/>
                  </a:lnTo>
                  <a:lnTo>
                    <a:pt x="83" y="701"/>
                  </a:lnTo>
                  <a:lnTo>
                    <a:pt x="80" y="706"/>
                  </a:lnTo>
                  <a:lnTo>
                    <a:pt x="80" y="774"/>
                  </a:lnTo>
                  <a:lnTo>
                    <a:pt x="130" y="774"/>
                  </a:lnTo>
                  <a:lnTo>
                    <a:pt x="179" y="774"/>
                  </a:lnTo>
                  <a:lnTo>
                    <a:pt x="179" y="706"/>
                  </a:lnTo>
                  <a:lnTo>
                    <a:pt x="175" y="701"/>
                  </a:lnTo>
                  <a:lnTo>
                    <a:pt x="172" y="699"/>
                  </a:lnTo>
                  <a:lnTo>
                    <a:pt x="167" y="696"/>
                  </a:lnTo>
                  <a:lnTo>
                    <a:pt x="164" y="678"/>
                  </a:lnTo>
                  <a:lnTo>
                    <a:pt x="163" y="629"/>
                  </a:lnTo>
                  <a:lnTo>
                    <a:pt x="164" y="483"/>
                  </a:lnTo>
                  <a:lnTo>
                    <a:pt x="167" y="272"/>
                  </a:lnTo>
                  <a:lnTo>
                    <a:pt x="210" y="272"/>
                  </a:lnTo>
                  <a:lnTo>
                    <a:pt x="258" y="190"/>
                  </a:lnTo>
                  <a:lnTo>
                    <a:pt x="258" y="186"/>
                  </a:lnTo>
                  <a:lnTo>
                    <a:pt x="258" y="166"/>
                  </a:lnTo>
                  <a:lnTo>
                    <a:pt x="248" y="162"/>
                  </a:lnTo>
                  <a:lnTo>
                    <a:pt x="228" y="160"/>
                  </a:ln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5" name="Freeform 68"/>
            <p:cNvSpPr>
              <a:spLocks/>
            </p:cNvSpPr>
            <p:nvPr userDrawn="1"/>
          </p:nvSpPr>
          <p:spPr bwMode="auto">
            <a:xfrm>
              <a:off x="5983288" y="6507163"/>
              <a:ext cx="96838" cy="104775"/>
            </a:xfrm>
            <a:custGeom>
              <a:avLst/>
              <a:gdLst/>
              <a:ahLst/>
              <a:cxnLst>
                <a:cxn ang="0">
                  <a:pos x="274" y="146"/>
                </a:cxn>
                <a:cxn ang="0">
                  <a:pos x="258" y="129"/>
                </a:cxn>
                <a:cxn ang="0">
                  <a:pos x="228" y="113"/>
                </a:cxn>
                <a:cxn ang="0">
                  <a:pos x="221" y="109"/>
                </a:cxn>
                <a:cxn ang="0">
                  <a:pos x="241" y="107"/>
                </a:cxn>
                <a:cxn ang="0">
                  <a:pos x="248" y="92"/>
                </a:cxn>
                <a:cxn ang="0">
                  <a:pos x="244" y="77"/>
                </a:cxn>
                <a:cxn ang="0">
                  <a:pos x="228" y="61"/>
                </a:cxn>
                <a:cxn ang="0">
                  <a:pos x="215" y="50"/>
                </a:cxn>
                <a:cxn ang="0">
                  <a:pos x="195" y="55"/>
                </a:cxn>
                <a:cxn ang="0">
                  <a:pos x="182" y="58"/>
                </a:cxn>
                <a:cxn ang="0">
                  <a:pos x="162" y="71"/>
                </a:cxn>
                <a:cxn ang="0">
                  <a:pos x="150" y="83"/>
                </a:cxn>
                <a:cxn ang="0">
                  <a:pos x="164" y="65"/>
                </a:cxn>
                <a:cxn ang="0">
                  <a:pos x="179" y="59"/>
                </a:cxn>
                <a:cxn ang="0">
                  <a:pos x="200" y="45"/>
                </a:cxn>
                <a:cxn ang="0">
                  <a:pos x="192" y="23"/>
                </a:cxn>
                <a:cxn ang="0">
                  <a:pos x="181" y="14"/>
                </a:cxn>
                <a:cxn ang="0">
                  <a:pos x="165" y="10"/>
                </a:cxn>
                <a:cxn ang="0">
                  <a:pos x="147" y="16"/>
                </a:cxn>
                <a:cxn ang="0">
                  <a:pos x="134" y="9"/>
                </a:cxn>
                <a:cxn ang="0">
                  <a:pos x="122" y="18"/>
                </a:cxn>
                <a:cxn ang="0">
                  <a:pos x="109" y="23"/>
                </a:cxn>
                <a:cxn ang="0">
                  <a:pos x="97" y="29"/>
                </a:cxn>
                <a:cxn ang="0">
                  <a:pos x="93" y="40"/>
                </a:cxn>
                <a:cxn ang="0">
                  <a:pos x="80" y="57"/>
                </a:cxn>
                <a:cxn ang="0">
                  <a:pos x="62" y="71"/>
                </a:cxn>
                <a:cxn ang="0">
                  <a:pos x="52" y="83"/>
                </a:cxn>
                <a:cxn ang="0">
                  <a:pos x="32" y="97"/>
                </a:cxn>
                <a:cxn ang="0">
                  <a:pos x="23" y="127"/>
                </a:cxn>
                <a:cxn ang="0">
                  <a:pos x="56" y="130"/>
                </a:cxn>
                <a:cxn ang="0">
                  <a:pos x="25" y="159"/>
                </a:cxn>
                <a:cxn ang="0">
                  <a:pos x="34" y="170"/>
                </a:cxn>
                <a:cxn ang="0">
                  <a:pos x="63" y="158"/>
                </a:cxn>
                <a:cxn ang="0">
                  <a:pos x="56" y="168"/>
                </a:cxn>
                <a:cxn ang="0">
                  <a:pos x="23" y="194"/>
                </a:cxn>
                <a:cxn ang="0">
                  <a:pos x="6" y="232"/>
                </a:cxn>
                <a:cxn ang="0">
                  <a:pos x="31" y="230"/>
                </a:cxn>
                <a:cxn ang="0">
                  <a:pos x="46" y="249"/>
                </a:cxn>
                <a:cxn ang="0">
                  <a:pos x="52" y="251"/>
                </a:cxn>
                <a:cxn ang="0">
                  <a:pos x="57" y="238"/>
                </a:cxn>
                <a:cxn ang="0">
                  <a:pos x="103" y="238"/>
                </a:cxn>
                <a:cxn ang="0">
                  <a:pos x="63" y="257"/>
                </a:cxn>
                <a:cxn ang="0">
                  <a:pos x="71" y="271"/>
                </a:cxn>
                <a:cxn ang="0">
                  <a:pos x="87" y="258"/>
                </a:cxn>
                <a:cxn ang="0">
                  <a:pos x="118" y="267"/>
                </a:cxn>
                <a:cxn ang="0">
                  <a:pos x="129" y="288"/>
                </a:cxn>
                <a:cxn ang="0">
                  <a:pos x="199" y="270"/>
                </a:cxn>
                <a:cxn ang="0">
                  <a:pos x="233" y="272"/>
                </a:cxn>
                <a:cxn ang="0">
                  <a:pos x="198" y="269"/>
                </a:cxn>
                <a:cxn ang="0">
                  <a:pos x="173" y="251"/>
                </a:cxn>
                <a:cxn ang="0">
                  <a:pos x="189" y="247"/>
                </a:cxn>
                <a:cxn ang="0">
                  <a:pos x="216" y="253"/>
                </a:cxn>
                <a:cxn ang="0">
                  <a:pos x="238" y="252"/>
                </a:cxn>
                <a:cxn ang="0">
                  <a:pos x="263" y="231"/>
                </a:cxn>
                <a:cxn ang="0">
                  <a:pos x="232" y="219"/>
                </a:cxn>
                <a:cxn ang="0">
                  <a:pos x="209" y="204"/>
                </a:cxn>
                <a:cxn ang="0">
                  <a:pos x="226" y="204"/>
                </a:cxn>
                <a:cxn ang="0">
                  <a:pos x="211" y="181"/>
                </a:cxn>
                <a:cxn ang="0">
                  <a:pos x="242" y="198"/>
                </a:cxn>
                <a:cxn ang="0">
                  <a:pos x="277" y="212"/>
                </a:cxn>
                <a:cxn ang="0">
                  <a:pos x="257" y="182"/>
                </a:cxn>
                <a:cxn ang="0">
                  <a:pos x="283" y="172"/>
                </a:cxn>
              </a:cxnLst>
              <a:rect l="0" t="0" r="r" b="b"/>
              <a:pathLst>
                <a:path w="305" h="329">
                  <a:moveTo>
                    <a:pt x="303" y="156"/>
                  </a:moveTo>
                  <a:lnTo>
                    <a:pt x="304" y="156"/>
                  </a:lnTo>
                  <a:lnTo>
                    <a:pt x="303" y="156"/>
                  </a:lnTo>
                  <a:lnTo>
                    <a:pt x="301" y="156"/>
                  </a:lnTo>
                  <a:lnTo>
                    <a:pt x="300" y="156"/>
                  </a:lnTo>
                  <a:lnTo>
                    <a:pt x="300" y="154"/>
                  </a:lnTo>
                  <a:lnTo>
                    <a:pt x="299" y="154"/>
                  </a:lnTo>
                  <a:lnTo>
                    <a:pt x="299" y="156"/>
                  </a:lnTo>
                  <a:lnTo>
                    <a:pt x="299" y="157"/>
                  </a:lnTo>
                  <a:lnTo>
                    <a:pt x="297" y="157"/>
                  </a:lnTo>
                  <a:lnTo>
                    <a:pt x="298" y="156"/>
                  </a:lnTo>
                  <a:lnTo>
                    <a:pt x="298" y="154"/>
                  </a:lnTo>
                  <a:lnTo>
                    <a:pt x="299" y="153"/>
                  </a:lnTo>
                  <a:lnTo>
                    <a:pt x="298" y="153"/>
                  </a:lnTo>
                  <a:lnTo>
                    <a:pt x="297" y="153"/>
                  </a:lnTo>
                  <a:lnTo>
                    <a:pt x="297" y="154"/>
                  </a:lnTo>
                  <a:lnTo>
                    <a:pt x="295" y="156"/>
                  </a:lnTo>
                  <a:lnTo>
                    <a:pt x="294" y="156"/>
                  </a:lnTo>
                  <a:lnTo>
                    <a:pt x="294" y="157"/>
                  </a:lnTo>
                  <a:lnTo>
                    <a:pt x="293" y="157"/>
                  </a:lnTo>
                  <a:lnTo>
                    <a:pt x="293" y="156"/>
                  </a:lnTo>
                  <a:lnTo>
                    <a:pt x="292" y="154"/>
                  </a:lnTo>
                  <a:lnTo>
                    <a:pt x="291" y="156"/>
                  </a:lnTo>
                  <a:lnTo>
                    <a:pt x="289" y="156"/>
                  </a:lnTo>
                  <a:lnTo>
                    <a:pt x="291" y="154"/>
                  </a:lnTo>
                  <a:lnTo>
                    <a:pt x="291" y="153"/>
                  </a:lnTo>
                  <a:lnTo>
                    <a:pt x="292" y="152"/>
                  </a:lnTo>
                  <a:lnTo>
                    <a:pt x="292" y="150"/>
                  </a:lnTo>
                  <a:lnTo>
                    <a:pt x="291" y="151"/>
                  </a:lnTo>
                  <a:lnTo>
                    <a:pt x="291" y="150"/>
                  </a:lnTo>
                  <a:lnTo>
                    <a:pt x="289" y="151"/>
                  </a:lnTo>
                  <a:lnTo>
                    <a:pt x="289" y="152"/>
                  </a:lnTo>
                  <a:lnTo>
                    <a:pt x="288" y="152"/>
                  </a:lnTo>
                  <a:lnTo>
                    <a:pt x="287" y="153"/>
                  </a:lnTo>
                  <a:lnTo>
                    <a:pt x="287" y="152"/>
                  </a:lnTo>
                  <a:lnTo>
                    <a:pt x="286" y="152"/>
                  </a:lnTo>
                  <a:lnTo>
                    <a:pt x="286" y="151"/>
                  </a:lnTo>
                  <a:lnTo>
                    <a:pt x="285" y="148"/>
                  </a:lnTo>
                  <a:lnTo>
                    <a:pt x="283" y="148"/>
                  </a:lnTo>
                  <a:lnTo>
                    <a:pt x="282" y="148"/>
                  </a:lnTo>
                  <a:lnTo>
                    <a:pt x="282" y="147"/>
                  </a:lnTo>
                  <a:lnTo>
                    <a:pt x="283" y="146"/>
                  </a:lnTo>
                  <a:lnTo>
                    <a:pt x="282" y="146"/>
                  </a:lnTo>
                  <a:lnTo>
                    <a:pt x="281" y="146"/>
                  </a:lnTo>
                  <a:lnTo>
                    <a:pt x="281" y="147"/>
                  </a:lnTo>
                  <a:lnTo>
                    <a:pt x="280" y="147"/>
                  </a:lnTo>
                  <a:lnTo>
                    <a:pt x="279" y="147"/>
                  </a:lnTo>
                  <a:lnTo>
                    <a:pt x="277" y="147"/>
                  </a:lnTo>
                  <a:lnTo>
                    <a:pt x="279" y="147"/>
                  </a:lnTo>
                  <a:lnTo>
                    <a:pt x="279" y="146"/>
                  </a:lnTo>
                  <a:lnTo>
                    <a:pt x="279" y="145"/>
                  </a:lnTo>
                  <a:lnTo>
                    <a:pt x="279" y="144"/>
                  </a:lnTo>
                  <a:lnTo>
                    <a:pt x="277" y="145"/>
                  </a:lnTo>
                  <a:lnTo>
                    <a:pt x="276" y="145"/>
                  </a:lnTo>
                  <a:lnTo>
                    <a:pt x="276" y="146"/>
                  </a:lnTo>
                  <a:lnTo>
                    <a:pt x="275" y="145"/>
                  </a:lnTo>
                  <a:lnTo>
                    <a:pt x="274" y="145"/>
                  </a:lnTo>
                  <a:lnTo>
                    <a:pt x="274" y="146"/>
                  </a:lnTo>
                  <a:lnTo>
                    <a:pt x="273" y="146"/>
                  </a:lnTo>
                  <a:lnTo>
                    <a:pt x="271" y="145"/>
                  </a:lnTo>
                  <a:lnTo>
                    <a:pt x="271" y="144"/>
                  </a:lnTo>
                  <a:lnTo>
                    <a:pt x="271" y="142"/>
                  </a:lnTo>
                  <a:lnTo>
                    <a:pt x="270" y="142"/>
                  </a:lnTo>
                  <a:lnTo>
                    <a:pt x="269" y="144"/>
                  </a:lnTo>
                  <a:lnTo>
                    <a:pt x="268" y="145"/>
                  </a:lnTo>
                  <a:lnTo>
                    <a:pt x="267" y="145"/>
                  </a:lnTo>
                  <a:lnTo>
                    <a:pt x="267" y="144"/>
                  </a:lnTo>
                  <a:lnTo>
                    <a:pt x="268" y="144"/>
                  </a:lnTo>
                  <a:lnTo>
                    <a:pt x="268" y="142"/>
                  </a:lnTo>
                  <a:lnTo>
                    <a:pt x="268" y="141"/>
                  </a:lnTo>
                  <a:lnTo>
                    <a:pt x="269" y="140"/>
                  </a:lnTo>
                  <a:lnTo>
                    <a:pt x="268" y="140"/>
                  </a:lnTo>
                  <a:lnTo>
                    <a:pt x="268" y="139"/>
                  </a:lnTo>
                  <a:lnTo>
                    <a:pt x="268" y="140"/>
                  </a:lnTo>
                  <a:lnTo>
                    <a:pt x="267" y="140"/>
                  </a:lnTo>
                  <a:lnTo>
                    <a:pt x="265" y="141"/>
                  </a:lnTo>
                  <a:lnTo>
                    <a:pt x="264" y="140"/>
                  </a:lnTo>
                  <a:lnTo>
                    <a:pt x="264" y="141"/>
                  </a:lnTo>
                  <a:lnTo>
                    <a:pt x="263" y="141"/>
                  </a:lnTo>
                  <a:lnTo>
                    <a:pt x="262" y="141"/>
                  </a:lnTo>
                  <a:lnTo>
                    <a:pt x="260" y="141"/>
                  </a:lnTo>
                  <a:lnTo>
                    <a:pt x="259" y="141"/>
                  </a:lnTo>
                  <a:lnTo>
                    <a:pt x="260" y="141"/>
                  </a:lnTo>
                  <a:lnTo>
                    <a:pt x="260" y="140"/>
                  </a:lnTo>
                  <a:lnTo>
                    <a:pt x="262" y="139"/>
                  </a:lnTo>
                  <a:lnTo>
                    <a:pt x="263" y="138"/>
                  </a:lnTo>
                  <a:lnTo>
                    <a:pt x="262" y="138"/>
                  </a:lnTo>
                  <a:lnTo>
                    <a:pt x="262" y="136"/>
                  </a:lnTo>
                  <a:lnTo>
                    <a:pt x="263" y="136"/>
                  </a:lnTo>
                  <a:lnTo>
                    <a:pt x="263" y="138"/>
                  </a:lnTo>
                  <a:lnTo>
                    <a:pt x="264" y="136"/>
                  </a:lnTo>
                  <a:lnTo>
                    <a:pt x="267" y="135"/>
                  </a:lnTo>
                  <a:lnTo>
                    <a:pt x="268" y="134"/>
                  </a:lnTo>
                  <a:lnTo>
                    <a:pt x="269" y="134"/>
                  </a:lnTo>
                  <a:lnTo>
                    <a:pt x="269" y="133"/>
                  </a:lnTo>
                  <a:lnTo>
                    <a:pt x="269" y="132"/>
                  </a:lnTo>
                  <a:lnTo>
                    <a:pt x="269" y="130"/>
                  </a:lnTo>
                  <a:lnTo>
                    <a:pt x="270" y="129"/>
                  </a:lnTo>
                  <a:lnTo>
                    <a:pt x="269" y="129"/>
                  </a:lnTo>
                  <a:lnTo>
                    <a:pt x="268" y="129"/>
                  </a:lnTo>
                  <a:lnTo>
                    <a:pt x="267" y="128"/>
                  </a:lnTo>
                  <a:lnTo>
                    <a:pt x="267" y="127"/>
                  </a:lnTo>
                  <a:lnTo>
                    <a:pt x="265" y="128"/>
                  </a:lnTo>
                  <a:lnTo>
                    <a:pt x="264" y="129"/>
                  </a:lnTo>
                  <a:lnTo>
                    <a:pt x="264" y="130"/>
                  </a:lnTo>
                  <a:lnTo>
                    <a:pt x="263" y="130"/>
                  </a:lnTo>
                  <a:lnTo>
                    <a:pt x="263" y="128"/>
                  </a:lnTo>
                  <a:lnTo>
                    <a:pt x="264" y="128"/>
                  </a:lnTo>
                  <a:lnTo>
                    <a:pt x="263" y="127"/>
                  </a:lnTo>
                  <a:lnTo>
                    <a:pt x="263" y="128"/>
                  </a:lnTo>
                  <a:lnTo>
                    <a:pt x="262" y="127"/>
                  </a:lnTo>
                  <a:lnTo>
                    <a:pt x="262" y="128"/>
                  </a:lnTo>
                  <a:lnTo>
                    <a:pt x="260" y="128"/>
                  </a:lnTo>
                  <a:lnTo>
                    <a:pt x="259" y="128"/>
                  </a:lnTo>
                  <a:lnTo>
                    <a:pt x="259" y="129"/>
                  </a:lnTo>
                  <a:lnTo>
                    <a:pt x="258" y="129"/>
                  </a:lnTo>
                  <a:lnTo>
                    <a:pt x="258" y="128"/>
                  </a:lnTo>
                  <a:lnTo>
                    <a:pt x="258" y="127"/>
                  </a:lnTo>
                  <a:lnTo>
                    <a:pt x="257" y="125"/>
                  </a:lnTo>
                  <a:lnTo>
                    <a:pt x="257" y="127"/>
                  </a:lnTo>
                  <a:lnTo>
                    <a:pt x="256" y="127"/>
                  </a:lnTo>
                  <a:lnTo>
                    <a:pt x="256" y="125"/>
                  </a:lnTo>
                  <a:lnTo>
                    <a:pt x="257" y="124"/>
                  </a:lnTo>
                  <a:lnTo>
                    <a:pt x="256" y="123"/>
                  </a:lnTo>
                  <a:lnTo>
                    <a:pt x="256" y="122"/>
                  </a:lnTo>
                  <a:lnTo>
                    <a:pt x="256" y="123"/>
                  </a:lnTo>
                  <a:lnTo>
                    <a:pt x="254" y="123"/>
                  </a:lnTo>
                  <a:lnTo>
                    <a:pt x="254" y="124"/>
                  </a:lnTo>
                  <a:lnTo>
                    <a:pt x="253" y="124"/>
                  </a:lnTo>
                  <a:lnTo>
                    <a:pt x="253" y="125"/>
                  </a:lnTo>
                  <a:lnTo>
                    <a:pt x="252" y="125"/>
                  </a:lnTo>
                  <a:lnTo>
                    <a:pt x="251" y="125"/>
                  </a:lnTo>
                  <a:lnTo>
                    <a:pt x="251" y="127"/>
                  </a:lnTo>
                  <a:lnTo>
                    <a:pt x="250" y="127"/>
                  </a:lnTo>
                  <a:lnTo>
                    <a:pt x="248" y="127"/>
                  </a:lnTo>
                  <a:lnTo>
                    <a:pt x="248" y="128"/>
                  </a:lnTo>
                  <a:lnTo>
                    <a:pt x="247" y="128"/>
                  </a:lnTo>
                  <a:lnTo>
                    <a:pt x="247" y="127"/>
                  </a:lnTo>
                  <a:lnTo>
                    <a:pt x="248" y="127"/>
                  </a:lnTo>
                  <a:lnTo>
                    <a:pt x="248" y="125"/>
                  </a:lnTo>
                  <a:lnTo>
                    <a:pt x="248" y="124"/>
                  </a:lnTo>
                  <a:lnTo>
                    <a:pt x="247" y="123"/>
                  </a:lnTo>
                  <a:lnTo>
                    <a:pt x="247" y="124"/>
                  </a:lnTo>
                  <a:lnTo>
                    <a:pt x="247" y="123"/>
                  </a:lnTo>
                  <a:lnTo>
                    <a:pt x="246" y="123"/>
                  </a:lnTo>
                  <a:lnTo>
                    <a:pt x="245" y="123"/>
                  </a:lnTo>
                  <a:lnTo>
                    <a:pt x="245" y="122"/>
                  </a:lnTo>
                  <a:lnTo>
                    <a:pt x="242" y="122"/>
                  </a:lnTo>
                  <a:lnTo>
                    <a:pt x="241" y="123"/>
                  </a:lnTo>
                  <a:lnTo>
                    <a:pt x="240" y="123"/>
                  </a:lnTo>
                  <a:lnTo>
                    <a:pt x="240" y="124"/>
                  </a:lnTo>
                  <a:lnTo>
                    <a:pt x="240" y="123"/>
                  </a:lnTo>
                  <a:lnTo>
                    <a:pt x="239" y="124"/>
                  </a:lnTo>
                  <a:lnTo>
                    <a:pt x="239" y="123"/>
                  </a:lnTo>
                  <a:lnTo>
                    <a:pt x="239" y="122"/>
                  </a:lnTo>
                  <a:lnTo>
                    <a:pt x="238" y="122"/>
                  </a:lnTo>
                  <a:lnTo>
                    <a:pt x="236" y="122"/>
                  </a:lnTo>
                  <a:lnTo>
                    <a:pt x="236" y="121"/>
                  </a:lnTo>
                  <a:lnTo>
                    <a:pt x="235" y="121"/>
                  </a:lnTo>
                  <a:lnTo>
                    <a:pt x="235" y="122"/>
                  </a:lnTo>
                  <a:lnTo>
                    <a:pt x="236" y="122"/>
                  </a:lnTo>
                  <a:lnTo>
                    <a:pt x="235" y="122"/>
                  </a:lnTo>
                  <a:lnTo>
                    <a:pt x="234" y="121"/>
                  </a:lnTo>
                  <a:lnTo>
                    <a:pt x="235" y="119"/>
                  </a:lnTo>
                  <a:lnTo>
                    <a:pt x="235" y="118"/>
                  </a:lnTo>
                  <a:lnTo>
                    <a:pt x="235" y="117"/>
                  </a:lnTo>
                  <a:lnTo>
                    <a:pt x="235" y="116"/>
                  </a:lnTo>
                  <a:lnTo>
                    <a:pt x="235" y="117"/>
                  </a:lnTo>
                  <a:lnTo>
                    <a:pt x="234" y="117"/>
                  </a:lnTo>
                  <a:lnTo>
                    <a:pt x="233" y="117"/>
                  </a:lnTo>
                  <a:lnTo>
                    <a:pt x="229" y="116"/>
                  </a:lnTo>
                  <a:lnTo>
                    <a:pt x="229" y="115"/>
                  </a:lnTo>
                  <a:lnTo>
                    <a:pt x="228" y="115"/>
                  </a:lnTo>
                  <a:lnTo>
                    <a:pt x="228" y="113"/>
                  </a:lnTo>
                  <a:lnTo>
                    <a:pt x="227" y="113"/>
                  </a:lnTo>
                  <a:lnTo>
                    <a:pt x="227" y="115"/>
                  </a:lnTo>
                  <a:lnTo>
                    <a:pt x="226" y="113"/>
                  </a:lnTo>
                  <a:lnTo>
                    <a:pt x="224" y="113"/>
                  </a:lnTo>
                  <a:lnTo>
                    <a:pt x="223" y="113"/>
                  </a:lnTo>
                  <a:lnTo>
                    <a:pt x="222" y="113"/>
                  </a:lnTo>
                  <a:lnTo>
                    <a:pt x="221" y="113"/>
                  </a:lnTo>
                  <a:lnTo>
                    <a:pt x="220" y="113"/>
                  </a:lnTo>
                  <a:lnTo>
                    <a:pt x="220" y="112"/>
                  </a:lnTo>
                  <a:lnTo>
                    <a:pt x="218" y="111"/>
                  </a:lnTo>
                  <a:lnTo>
                    <a:pt x="218" y="112"/>
                  </a:lnTo>
                  <a:lnTo>
                    <a:pt x="217" y="112"/>
                  </a:lnTo>
                  <a:lnTo>
                    <a:pt x="217" y="111"/>
                  </a:lnTo>
                  <a:lnTo>
                    <a:pt x="218" y="111"/>
                  </a:lnTo>
                  <a:lnTo>
                    <a:pt x="217" y="110"/>
                  </a:lnTo>
                  <a:lnTo>
                    <a:pt x="217" y="111"/>
                  </a:lnTo>
                  <a:lnTo>
                    <a:pt x="216" y="110"/>
                  </a:lnTo>
                  <a:lnTo>
                    <a:pt x="217" y="110"/>
                  </a:lnTo>
                  <a:lnTo>
                    <a:pt x="216" y="110"/>
                  </a:lnTo>
                  <a:lnTo>
                    <a:pt x="216" y="109"/>
                  </a:lnTo>
                  <a:lnTo>
                    <a:pt x="217" y="107"/>
                  </a:lnTo>
                  <a:lnTo>
                    <a:pt x="216" y="107"/>
                  </a:lnTo>
                  <a:lnTo>
                    <a:pt x="216" y="106"/>
                  </a:lnTo>
                  <a:lnTo>
                    <a:pt x="215" y="106"/>
                  </a:lnTo>
                  <a:lnTo>
                    <a:pt x="215" y="105"/>
                  </a:lnTo>
                  <a:lnTo>
                    <a:pt x="214" y="105"/>
                  </a:lnTo>
                  <a:lnTo>
                    <a:pt x="214" y="104"/>
                  </a:lnTo>
                  <a:lnTo>
                    <a:pt x="212" y="104"/>
                  </a:lnTo>
                  <a:lnTo>
                    <a:pt x="212" y="103"/>
                  </a:lnTo>
                  <a:lnTo>
                    <a:pt x="214" y="103"/>
                  </a:lnTo>
                  <a:lnTo>
                    <a:pt x="214" y="101"/>
                  </a:lnTo>
                  <a:lnTo>
                    <a:pt x="212" y="101"/>
                  </a:lnTo>
                  <a:lnTo>
                    <a:pt x="214" y="101"/>
                  </a:lnTo>
                  <a:lnTo>
                    <a:pt x="215" y="101"/>
                  </a:lnTo>
                  <a:lnTo>
                    <a:pt x="215" y="100"/>
                  </a:lnTo>
                  <a:lnTo>
                    <a:pt x="216" y="100"/>
                  </a:lnTo>
                  <a:lnTo>
                    <a:pt x="216" y="101"/>
                  </a:lnTo>
                  <a:lnTo>
                    <a:pt x="216" y="100"/>
                  </a:lnTo>
                  <a:lnTo>
                    <a:pt x="217" y="100"/>
                  </a:lnTo>
                  <a:lnTo>
                    <a:pt x="217" y="101"/>
                  </a:lnTo>
                  <a:lnTo>
                    <a:pt x="217" y="100"/>
                  </a:lnTo>
                  <a:lnTo>
                    <a:pt x="218" y="100"/>
                  </a:lnTo>
                  <a:lnTo>
                    <a:pt x="218" y="101"/>
                  </a:lnTo>
                  <a:lnTo>
                    <a:pt x="220" y="101"/>
                  </a:lnTo>
                  <a:lnTo>
                    <a:pt x="220" y="103"/>
                  </a:lnTo>
                  <a:lnTo>
                    <a:pt x="221" y="104"/>
                  </a:lnTo>
                  <a:lnTo>
                    <a:pt x="220" y="104"/>
                  </a:lnTo>
                  <a:lnTo>
                    <a:pt x="220" y="105"/>
                  </a:lnTo>
                  <a:lnTo>
                    <a:pt x="220" y="106"/>
                  </a:lnTo>
                  <a:lnTo>
                    <a:pt x="221" y="106"/>
                  </a:lnTo>
                  <a:lnTo>
                    <a:pt x="221" y="107"/>
                  </a:lnTo>
                  <a:lnTo>
                    <a:pt x="222" y="107"/>
                  </a:lnTo>
                  <a:lnTo>
                    <a:pt x="222" y="109"/>
                  </a:lnTo>
                  <a:lnTo>
                    <a:pt x="223" y="109"/>
                  </a:lnTo>
                  <a:lnTo>
                    <a:pt x="222" y="109"/>
                  </a:lnTo>
                  <a:lnTo>
                    <a:pt x="223" y="109"/>
                  </a:lnTo>
                  <a:lnTo>
                    <a:pt x="222" y="109"/>
                  </a:lnTo>
                  <a:lnTo>
                    <a:pt x="221" y="109"/>
                  </a:lnTo>
                  <a:lnTo>
                    <a:pt x="220" y="109"/>
                  </a:lnTo>
                  <a:lnTo>
                    <a:pt x="220" y="110"/>
                  </a:lnTo>
                  <a:lnTo>
                    <a:pt x="221" y="110"/>
                  </a:lnTo>
                  <a:lnTo>
                    <a:pt x="220" y="110"/>
                  </a:lnTo>
                  <a:lnTo>
                    <a:pt x="221" y="110"/>
                  </a:lnTo>
                  <a:lnTo>
                    <a:pt x="221" y="111"/>
                  </a:lnTo>
                  <a:lnTo>
                    <a:pt x="222" y="111"/>
                  </a:lnTo>
                  <a:lnTo>
                    <a:pt x="222" y="112"/>
                  </a:lnTo>
                  <a:lnTo>
                    <a:pt x="222" y="111"/>
                  </a:lnTo>
                  <a:lnTo>
                    <a:pt x="223" y="111"/>
                  </a:lnTo>
                  <a:lnTo>
                    <a:pt x="223" y="112"/>
                  </a:lnTo>
                  <a:lnTo>
                    <a:pt x="223" y="111"/>
                  </a:lnTo>
                  <a:lnTo>
                    <a:pt x="223" y="112"/>
                  </a:lnTo>
                  <a:lnTo>
                    <a:pt x="224" y="112"/>
                  </a:lnTo>
                  <a:lnTo>
                    <a:pt x="224" y="111"/>
                  </a:lnTo>
                  <a:lnTo>
                    <a:pt x="224" y="112"/>
                  </a:lnTo>
                  <a:lnTo>
                    <a:pt x="224" y="111"/>
                  </a:lnTo>
                  <a:lnTo>
                    <a:pt x="226" y="111"/>
                  </a:lnTo>
                  <a:lnTo>
                    <a:pt x="227" y="111"/>
                  </a:lnTo>
                  <a:lnTo>
                    <a:pt x="228" y="111"/>
                  </a:lnTo>
                  <a:lnTo>
                    <a:pt x="229" y="111"/>
                  </a:lnTo>
                  <a:lnTo>
                    <a:pt x="229" y="110"/>
                  </a:lnTo>
                  <a:lnTo>
                    <a:pt x="228" y="110"/>
                  </a:lnTo>
                  <a:lnTo>
                    <a:pt x="228" y="109"/>
                  </a:lnTo>
                  <a:lnTo>
                    <a:pt x="227" y="109"/>
                  </a:lnTo>
                  <a:lnTo>
                    <a:pt x="227" y="107"/>
                  </a:lnTo>
                  <a:lnTo>
                    <a:pt x="227" y="106"/>
                  </a:lnTo>
                  <a:lnTo>
                    <a:pt x="228" y="106"/>
                  </a:lnTo>
                  <a:lnTo>
                    <a:pt x="228" y="105"/>
                  </a:lnTo>
                  <a:lnTo>
                    <a:pt x="227" y="105"/>
                  </a:lnTo>
                  <a:lnTo>
                    <a:pt x="226" y="105"/>
                  </a:lnTo>
                  <a:lnTo>
                    <a:pt x="226" y="104"/>
                  </a:lnTo>
                  <a:lnTo>
                    <a:pt x="227" y="104"/>
                  </a:lnTo>
                  <a:lnTo>
                    <a:pt x="226" y="104"/>
                  </a:lnTo>
                  <a:lnTo>
                    <a:pt x="227" y="104"/>
                  </a:lnTo>
                  <a:lnTo>
                    <a:pt x="228" y="104"/>
                  </a:lnTo>
                  <a:lnTo>
                    <a:pt x="228" y="105"/>
                  </a:lnTo>
                  <a:lnTo>
                    <a:pt x="229" y="105"/>
                  </a:lnTo>
                  <a:lnTo>
                    <a:pt x="230" y="105"/>
                  </a:lnTo>
                  <a:lnTo>
                    <a:pt x="232" y="105"/>
                  </a:lnTo>
                  <a:lnTo>
                    <a:pt x="233" y="105"/>
                  </a:lnTo>
                  <a:lnTo>
                    <a:pt x="233" y="106"/>
                  </a:lnTo>
                  <a:lnTo>
                    <a:pt x="234" y="107"/>
                  </a:lnTo>
                  <a:lnTo>
                    <a:pt x="234" y="106"/>
                  </a:lnTo>
                  <a:lnTo>
                    <a:pt x="234" y="107"/>
                  </a:lnTo>
                  <a:lnTo>
                    <a:pt x="235" y="107"/>
                  </a:lnTo>
                  <a:lnTo>
                    <a:pt x="236" y="106"/>
                  </a:lnTo>
                  <a:lnTo>
                    <a:pt x="238" y="106"/>
                  </a:lnTo>
                  <a:lnTo>
                    <a:pt x="239" y="106"/>
                  </a:lnTo>
                  <a:lnTo>
                    <a:pt x="239" y="105"/>
                  </a:lnTo>
                  <a:lnTo>
                    <a:pt x="239" y="106"/>
                  </a:lnTo>
                  <a:lnTo>
                    <a:pt x="240" y="106"/>
                  </a:lnTo>
                  <a:lnTo>
                    <a:pt x="240" y="107"/>
                  </a:lnTo>
                  <a:lnTo>
                    <a:pt x="241" y="107"/>
                  </a:lnTo>
                  <a:lnTo>
                    <a:pt x="241" y="106"/>
                  </a:lnTo>
                  <a:lnTo>
                    <a:pt x="241" y="107"/>
                  </a:lnTo>
                  <a:lnTo>
                    <a:pt x="242" y="107"/>
                  </a:lnTo>
                  <a:lnTo>
                    <a:pt x="241" y="107"/>
                  </a:lnTo>
                  <a:lnTo>
                    <a:pt x="241" y="109"/>
                  </a:lnTo>
                  <a:lnTo>
                    <a:pt x="242" y="109"/>
                  </a:lnTo>
                  <a:lnTo>
                    <a:pt x="242" y="107"/>
                  </a:lnTo>
                  <a:lnTo>
                    <a:pt x="242" y="109"/>
                  </a:lnTo>
                  <a:lnTo>
                    <a:pt x="244" y="107"/>
                  </a:lnTo>
                  <a:lnTo>
                    <a:pt x="245" y="109"/>
                  </a:lnTo>
                  <a:lnTo>
                    <a:pt x="245" y="107"/>
                  </a:lnTo>
                  <a:lnTo>
                    <a:pt x="245" y="106"/>
                  </a:lnTo>
                  <a:lnTo>
                    <a:pt x="244" y="106"/>
                  </a:lnTo>
                  <a:lnTo>
                    <a:pt x="242" y="106"/>
                  </a:lnTo>
                  <a:lnTo>
                    <a:pt x="244" y="106"/>
                  </a:lnTo>
                  <a:lnTo>
                    <a:pt x="242" y="106"/>
                  </a:lnTo>
                  <a:lnTo>
                    <a:pt x="242" y="105"/>
                  </a:lnTo>
                  <a:lnTo>
                    <a:pt x="244" y="105"/>
                  </a:lnTo>
                  <a:lnTo>
                    <a:pt x="242" y="105"/>
                  </a:lnTo>
                  <a:lnTo>
                    <a:pt x="241" y="105"/>
                  </a:lnTo>
                  <a:lnTo>
                    <a:pt x="241" y="104"/>
                  </a:lnTo>
                  <a:lnTo>
                    <a:pt x="242" y="104"/>
                  </a:lnTo>
                  <a:lnTo>
                    <a:pt x="244" y="104"/>
                  </a:lnTo>
                  <a:lnTo>
                    <a:pt x="244" y="105"/>
                  </a:lnTo>
                  <a:lnTo>
                    <a:pt x="245" y="105"/>
                  </a:lnTo>
                  <a:lnTo>
                    <a:pt x="246" y="105"/>
                  </a:lnTo>
                  <a:lnTo>
                    <a:pt x="245" y="105"/>
                  </a:lnTo>
                  <a:lnTo>
                    <a:pt x="246" y="105"/>
                  </a:lnTo>
                  <a:lnTo>
                    <a:pt x="246" y="106"/>
                  </a:lnTo>
                  <a:lnTo>
                    <a:pt x="247" y="106"/>
                  </a:lnTo>
                  <a:lnTo>
                    <a:pt x="247" y="105"/>
                  </a:lnTo>
                  <a:lnTo>
                    <a:pt x="248" y="105"/>
                  </a:lnTo>
                  <a:lnTo>
                    <a:pt x="250" y="105"/>
                  </a:lnTo>
                  <a:lnTo>
                    <a:pt x="250" y="104"/>
                  </a:lnTo>
                  <a:lnTo>
                    <a:pt x="250" y="105"/>
                  </a:lnTo>
                  <a:lnTo>
                    <a:pt x="251" y="104"/>
                  </a:lnTo>
                  <a:lnTo>
                    <a:pt x="252" y="104"/>
                  </a:lnTo>
                  <a:lnTo>
                    <a:pt x="252" y="103"/>
                  </a:lnTo>
                  <a:lnTo>
                    <a:pt x="252" y="101"/>
                  </a:lnTo>
                  <a:lnTo>
                    <a:pt x="252" y="100"/>
                  </a:lnTo>
                  <a:lnTo>
                    <a:pt x="253" y="100"/>
                  </a:lnTo>
                  <a:lnTo>
                    <a:pt x="253" y="99"/>
                  </a:lnTo>
                  <a:lnTo>
                    <a:pt x="253" y="98"/>
                  </a:lnTo>
                  <a:lnTo>
                    <a:pt x="254" y="98"/>
                  </a:lnTo>
                  <a:lnTo>
                    <a:pt x="254" y="97"/>
                  </a:lnTo>
                  <a:lnTo>
                    <a:pt x="254" y="95"/>
                  </a:lnTo>
                  <a:lnTo>
                    <a:pt x="253" y="95"/>
                  </a:lnTo>
                  <a:lnTo>
                    <a:pt x="253" y="97"/>
                  </a:lnTo>
                  <a:lnTo>
                    <a:pt x="252" y="97"/>
                  </a:lnTo>
                  <a:lnTo>
                    <a:pt x="251" y="97"/>
                  </a:lnTo>
                  <a:lnTo>
                    <a:pt x="251" y="95"/>
                  </a:lnTo>
                  <a:lnTo>
                    <a:pt x="250" y="95"/>
                  </a:lnTo>
                  <a:lnTo>
                    <a:pt x="248" y="95"/>
                  </a:lnTo>
                  <a:lnTo>
                    <a:pt x="248" y="94"/>
                  </a:lnTo>
                  <a:lnTo>
                    <a:pt x="248" y="95"/>
                  </a:lnTo>
                  <a:lnTo>
                    <a:pt x="247" y="95"/>
                  </a:lnTo>
                  <a:lnTo>
                    <a:pt x="247" y="94"/>
                  </a:lnTo>
                  <a:lnTo>
                    <a:pt x="248" y="94"/>
                  </a:lnTo>
                  <a:lnTo>
                    <a:pt x="248" y="93"/>
                  </a:lnTo>
                  <a:lnTo>
                    <a:pt x="250" y="93"/>
                  </a:lnTo>
                  <a:lnTo>
                    <a:pt x="250" y="92"/>
                  </a:lnTo>
                  <a:lnTo>
                    <a:pt x="248" y="92"/>
                  </a:lnTo>
                  <a:lnTo>
                    <a:pt x="250" y="92"/>
                  </a:lnTo>
                  <a:lnTo>
                    <a:pt x="250" y="91"/>
                  </a:lnTo>
                  <a:lnTo>
                    <a:pt x="251" y="91"/>
                  </a:lnTo>
                  <a:lnTo>
                    <a:pt x="251" y="89"/>
                  </a:lnTo>
                  <a:lnTo>
                    <a:pt x="251" y="88"/>
                  </a:lnTo>
                  <a:lnTo>
                    <a:pt x="252" y="88"/>
                  </a:lnTo>
                  <a:lnTo>
                    <a:pt x="251" y="87"/>
                  </a:lnTo>
                  <a:lnTo>
                    <a:pt x="252" y="87"/>
                  </a:lnTo>
                  <a:lnTo>
                    <a:pt x="252" y="86"/>
                  </a:lnTo>
                  <a:lnTo>
                    <a:pt x="252" y="85"/>
                  </a:lnTo>
                  <a:lnTo>
                    <a:pt x="252" y="83"/>
                  </a:lnTo>
                  <a:lnTo>
                    <a:pt x="252" y="82"/>
                  </a:lnTo>
                  <a:lnTo>
                    <a:pt x="252" y="81"/>
                  </a:lnTo>
                  <a:lnTo>
                    <a:pt x="251" y="81"/>
                  </a:lnTo>
                  <a:lnTo>
                    <a:pt x="251" y="82"/>
                  </a:lnTo>
                  <a:lnTo>
                    <a:pt x="250" y="82"/>
                  </a:lnTo>
                  <a:lnTo>
                    <a:pt x="250" y="83"/>
                  </a:lnTo>
                  <a:lnTo>
                    <a:pt x="248" y="83"/>
                  </a:lnTo>
                  <a:lnTo>
                    <a:pt x="248" y="82"/>
                  </a:lnTo>
                  <a:lnTo>
                    <a:pt x="248" y="81"/>
                  </a:lnTo>
                  <a:lnTo>
                    <a:pt x="247" y="81"/>
                  </a:lnTo>
                  <a:lnTo>
                    <a:pt x="247" y="82"/>
                  </a:lnTo>
                  <a:lnTo>
                    <a:pt x="246" y="82"/>
                  </a:lnTo>
                  <a:lnTo>
                    <a:pt x="246" y="83"/>
                  </a:lnTo>
                  <a:lnTo>
                    <a:pt x="246" y="82"/>
                  </a:lnTo>
                  <a:lnTo>
                    <a:pt x="245" y="82"/>
                  </a:lnTo>
                  <a:lnTo>
                    <a:pt x="244" y="83"/>
                  </a:lnTo>
                  <a:lnTo>
                    <a:pt x="242" y="83"/>
                  </a:lnTo>
                  <a:lnTo>
                    <a:pt x="242" y="85"/>
                  </a:lnTo>
                  <a:lnTo>
                    <a:pt x="241" y="85"/>
                  </a:lnTo>
                  <a:lnTo>
                    <a:pt x="240" y="85"/>
                  </a:lnTo>
                  <a:lnTo>
                    <a:pt x="241" y="85"/>
                  </a:lnTo>
                  <a:lnTo>
                    <a:pt x="241" y="83"/>
                  </a:lnTo>
                  <a:lnTo>
                    <a:pt x="242" y="83"/>
                  </a:lnTo>
                  <a:lnTo>
                    <a:pt x="242" y="82"/>
                  </a:lnTo>
                  <a:lnTo>
                    <a:pt x="242" y="81"/>
                  </a:lnTo>
                  <a:lnTo>
                    <a:pt x="241" y="81"/>
                  </a:lnTo>
                  <a:lnTo>
                    <a:pt x="240" y="81"/>
                  </a:lnTo>
                  <a:lnTo>
                    <a:pt x="241" y="81"/>
                  </a:lnTo>
                  <a:lnTo>
                    <a:pt x="240" y="81"/>
                  </a:lnTo>
                  <a:lnTo>
                    <a:pt x="239" y="81"/>
                  </a:lnTo>
                  <a:lnTo>
                    <a:pt x="239" y="82"/>
                  </a:lnTo>
                  <a:lnTo>
                    <a:pt x="238" y="82"/>
                  </a:lnTo>
                  <a:lnTo>
                    <a:pt x="236" y="82"/>
                  </a:lnTo>
                  <a:lnTo>
                    <a:pt x="235" y="82"/>
                  </a:lnTo>
                  <a:lnTo>
                    <a:pt x="235" y="81"/>
                  </a:lnTo>
                  <a:lnTo>
                    <a:pt x="234" y="81"/>
                  </a:lnTo>
                  <a:lnTo>
                    <a:pt x="235" y="81"/>
                  </a:lnTo>
                  <a:lnTo>
                    <a:pt x="236" y="81"/>
                  </a:lnTo>
                  <a:lnTo>
                    <a:pt x="236" y="80"/>
                  </a:lnTo>
                  <a:lnTo>
                    <a:pt x="238" y="80"/>
                  </a:lnTo>
                  <a:lnTo>
                    <a:pt x="239" y="80"/>
                  </a:lnTo>
                  <a:lnTo>
                    <a:pt x="239" y="79"/>
                  </a:lnTo>
                  <a:lnTo>
                    <a:pt x="240" y="79"/>
                  </a:lnTo>
                  <a:lnTo>
                    <a:pt x="241" y="79"/>
                  </a:lnTo>
                  <a:lnTo>
                    <a:pt x="242" y="79"/>
                  </a:lnTo>
                  <a:lnTo>
                    <a:pt x="242" y="77"/>
                  </a:lnTo>
                  <a:lnTo>
                    <a:pt x="244" y="77"/>
                  </a:lnTo>
                  <a:lnTo>
                    <a:pt x="244" y="76"/>
                  </a:lnTo>
                  <a:lnTo>
                    <a:pt x="245" y="76"/>
                  </a:lnTo>
                  <a:lnTo>
                    <a:pt x="246" y="75"/>
                  </a:lnTo>
                  <a:lnTo>
                    <a:pt x="245" y="75"/>
                  </a:lnTo>
                  <a:lnTo>
                    <a:pt x="246" y="75"/>
                  </a:lnTo>
                  <a:lnTo>
                    <a:pt x="245" y="75"/>
                  </a:lnTo>
                  <a:lnTo>
                    <a:pt x="245" y="74"/>
                  </a:lnTo>
                  <a:lnTo>
                    <a:pt x="246" y="74"/>
                  </a:lnTo>
                  <a:lnTo>
                    <a:pt x="246" y="73"/>
                  </a:lnTo>
                  <a:lnTo>
                    <a:pt x="247" y="73"/>
                  </a:lnTo>
                  <a:lnTo>
                    <a:pt x="246" y="71"/>
                  </a:lnTo>
                  <a:lnTo>
                    <a:pt x="245" y="71"/>
                  </a:lnTo>
                  <a:lnTo>
                    <a:pt x="245" y="73"/>
                  </a:lnTo>
                  <a:lnTo>
                    <a:pt x="245" y="71"/>
                  </a:lnTo>
                  <a:lnTo>
                    <a:pt x="244" y="71"/>
                  </a:lnTo>
                  <a:lnTo>
                    <a:pt x="244" y="73"/>
                  </a:lnTo>
                  <a:lnTo>
                    <a:pt x="242" y="73"/>
                  </a:lnTo>
                  <a:lnTo>
                    <a:pt x="242" y="71"/>
                  </a:lnTo>
                  <a:lnTo>
                    <a:pt x="242" y="70"/>
                  </a:lnTo>
                  <a:lnTo>
                    <a:pt x="241" y="71"/>
                  </a:lnTo>
                  <a:lnTo>
                    <a:pt x="240" y="71"/>
                  </a:lnTo>
                  <a:lnTo>
                    <a:pt x="240" y="73"/>
                  </a:lnTo>
                  <a:lnTo>
                    <a:pt x="240" y="74"/>
                  </a:lnTo>
                  <a:lnTo>
                    <a:pt x="239" y="74"/>
                  </a:lnTo>
                  <a:lnTo>
                    <a:pt x="239" y="73"/>
                  </a:lnTo>
                  <a:lnTo>
                    <a:pt x="238" y="73"/>
                  </a:lnTo>
                  <a:lnTo>
                    <a:pt x="236" y="73"/>
                  </a:lnTo>
                  <a:lnTo>
                    <a:pt x="235" y="73"/>
                  </a:lnTo>
                  <a:lnTo>
                    <a:pt x="234" y="74"/>
                  </a:lnTo>
                  <a:lnTo>
                    <a:pt x="234" y="75"/>
                  </a:lnTo>
                  <a:lnTo>
                    <a:pt x="233" y="75"/>
                  </a:lnTo>
                  <a:lnTo>
                    <a:pt x="234" y="74"/>
                  </a:lnTo>
                  <a:lnTo>
                    <a:pt x="234" y="73"/>
                  </a:lnTo>
                  <a:lnTo>
                    <a:pt x="234" y="71"/>
                  </a:lnTo>
                  <a:lnTo>
                    <a:pt x="233" y="71"/>
                  </a:lnTo>
                  <a:lnTo>
                    <a:pt x="233" y="70"/>
                  </a:lnTo>
                  <a:lnTo>
                    <a:pt x="233" y="69"/>
                  </a:lnTo>
                  <a:lnTo>
                    <a:pt x="234" y="69"/>
                  </a:lnTo>
                  <a:lnTo>
                    <a:pt x="234" y="68"/>
                  </a:lnTo>
                  <a:lnTo>
                    <a:pt x="233" y="68"/>
                  </a:lnTo>
                  <a:lnTo>
                    <a:pt x="233" y="69"/>
                  </a:lnTo>
                  <a:lnTo>
                    <a:pt x="233" y="68"/>
                  </a:lnTo>
                  <a:lnTo>
                    <a:pt x="232" y="68"/>
                  </a:lnTo>
                  <a:lnTo>
                    <a:pt x="230" y="68"/>
                  </a:lnTo>
                  <a:lnTo>
                    <a:pt x="230" y="69"/>
                  </a:lnTo>
                  <a:lnTo>
                    <a:pt x="229" y="69"/>
                  </a:lnTo>
                  <a:lnTo>
                    <a:pt x="229" y="68"/>
                  </a:lnTo>
                  <a:lnTo>
                    <a:pt x="228" y="68"/>
                  </a:lnTo>
                  <a:lnTo>
                    <a:pt x="229" y="67"/>
                  </a:lnTo>
                  <a:lnTo>
                    <a:pt x="229" y="65"/>
                  </a:lnTo>
                  <a:lnTo>
                    <a:pt x="228" y="65"/>
                  </a:lnTo>
                  <a:lnTo>
                    <a:pt x="227" y="65"/>
                  </a:lnTo>
                  <a:lnTo>
                    <a:pt x="226" y="64"/>
                  </a:lnTo>
                  <a:lnTo>
                    <a:pt x="226" y="63"/>
                  </a:lnTo>
                  <a:lnTo>
                    <a:pt x="226" y="62"/>
                  </a:lnTo>
                  <a:lnTo>
                    <a:pt x="227" y="62"/>
                  </a:lnTo>
                  <a:lnTo>
                    <a:pt x="227" y="61"/>
                  </a:lnTo>
                  <a:lnTo>
                    <a:pt x="228" y="61"/>
                  </a:lnTo>
                  <a:lnTo>
                    <a:pt x="227" y="61"/>
                  </a:lnTo>
                  <a:lnTo>
                    <a:pt x="228" y="59"/>
                  </a:lnTo>
                  <a:lnTo>
                    <a:pt x="229" y="59"/>
                  </a:lnTo>
                  <a:lnTo>
                    <a:pt x="230" y="59"/>
                  </a:lnTo>
                  <a:lnTo>
                    <a:pt x="230" y="58"/>
                  </a:lnTo>
                  <a:lnTo>
                    <a:pt x="230" y="57"/>
                  </a:lnTo>
                  <a:lnTo>
                    <a:pt x="229" y="57"/>
                  </a:lnTo>
                  <a:lnTo>
                    <a:pt x="230" y="56"/>
                  </a:lnTo>
                  <a:lnTo>
                    <a:pt x="232" y="56"/>
                  </a:lnTo>
                  <a:lnTo>
                    <a:pt x="232" y="55"/>
                  </a:lnTo>
                  <a:lnTo>
                    <a:pt x="233" y="55"/>
                  </a:lnTo>
                  <a:lnTo>
                    <a:pt x="233" y="53"/>
                  </a:lnTo>
                  <a:lnTo>
                    <a:pt x="233" y="52"/>
                  </a:lnTo>
                  <a:lnTo>
                    <a:pt x="233" y="51"/>
                  </a:lnTo>
                  <a:lnTo>
                    <a:pt x="233" y="50"/>
                  </a:lnTo>
                  <a:lnTo>
                    <a:pt x="233" y="49"/>
                  </a:lnTo>
                  <a:lnTo>
                    <a:pt x="232" y="49"/>
                  </a:lnTo>
                  <a:lnTo>
                    <a:pt x="232" y="50"/>
                  </a:lnTo>
                  <a:lnTo>
                    <a:pt x="230" y="50"/>
                  </a:lnTo>
                  <a:lnTo>
                    <a:pt x="229" y="50"/>
                  </a:lnTo>
                  <a:lnTo>
                    <a:pt x="228" y="50"/>
                  </a:lnTo>
                  <a:lnTo>
                    <a:pt x="228" y="51"/>
                  </a:lnTo>
                  <a:lnTo>
                    <a:pt x="227" y="51"/>
                  </a:lnTo>
                  <a:lnTo>
                    <a:pt x="227" y="52"/>
                  </a:lnTo>
                  <a:lnTo>
                    <a:pt x="226" y="52"/>
                  </a:lnTo>
                  <a:lnTo>
                    <a:pt x="224" y="52"/>
                  </a:lnTo>
                  <a:lnTo>
                    <a:pt x="223" y="52"/>
                  </a:lnTo>
                  <a:lnTo>
                    <a:pt x="222" y="52"/>
                  </a:lnTo>
                  <a:lnTo>
                    <a:pt x="222" y="51"/>
                  </a:lnTo>
                  <a:lnTo>
                    <a:pt x="223" y="51"/>
                  </a:lnTo>
                  <a:lnTo>
                    <a:pt x="223" y="50"/>
                  </a:lnTo>
                  <a:lnTo>
                    <a:pt x="224" y="50"/>
                  </a:lnTo>
                  <a:lnTo>
                    <a:pt x="223" y="50"/>
                  </a:lnTo>
                  <a:lnTo>
                    <a:pt x="223" y="49"/>
                  </a:lnTo>
                  <a:lnTo>
                    <a:pt x="223" y="47"/>
                  </a:lnTo>
                  <a:lnTo>
                    <a:pt x="223" y="46"/>
                  </a:lnTo>
                  <a:lnTo>
                    <a:pt x="223" y="45"/>
                  </a:lnTo>
                  <a:lnTo>
                    <a:pt x="222" y="45"/>
                  </a:lnTo>
                  <a:lnTo>
                    <a:pt x="221" y="45"/>
                  </a:lnTo>
                  <a:lnTo>
                    <a:pt x="221" y="46"/>
                  </a:lnTo>
                  <a:lnTo>
                    <a:pt x="220" y="46"/>
                  </a:lnTo>
                  <a:lnTo>
                    <a:pt x="220" y="45"/>
                  </a:lnTo>
                  <a:lnTo>
                    <a:pt x="220" y="44"/>
                  </a:lnTo>
                  <a:lnTo>
                    <a:pt x="218" y="44"/>
                  </a:lnTo>
                  <a:lnTo>
                    <a:pt x="218" y="45"/>
                  </a:lnTo>
                  <a:lnTo>
                    <a:pt x="218" y="46"/>
                  </a:lnTo>
                  <a:lnTo>
                    <a:pt x="217" y="46"/>
                  </a:lnTo>
                  <a:lnTo>
                    <a:pt x="217" y="47"/>
                  </a:lnTo>
                  <a:lnTo>
                    <a:pt x="217" y="49"/>
                  </a:lnTo>
                  <a:lnTo>
                    <a:pt x="218" y="49"/>
                  </a:lnTo>
                  <a:lnTo>
                    <a:pt x="218" y="50"/>
                  </a:lnTo>
                  <a:lnTo>
                    <a:pt x="218" y="51"/>
                  </a:lnTo>
                  <a:lnTo>
                    <a:pt x="217" y="51"/>
                  </a:lnTo>
                  <a:lnTo>
                    <a:pt x="216" y="51"/>
                  </a:lnTo>
                  <a:lnTo>
                    <a:pt x="215" y="51"/>
                  </a:lnTo>
                  <a:lnTo>
                    <a:pt x="215" y="52"/>
                  </a:lnTo>
                  <a:lnTo>
                    <a:pt x="215" y="51"/>
                  </a:lnTo>
                  <a:lnTo>
                    <a:pt x="215" y="50"/>
                  </a:lnTo>
                  <a:lnTo>
                    <a:pt x="216" y="50"/>
                  </a:lnTo>
                  <a:lnTo>
                    <a:pt x="216" y="49"/>
                  </a:lnTo>
                  <a:lnTo>
                    <a:pt x="216" y="47"/>
                  </a:lnTo>
                  <a:lnTo>
                    <a:pt x="215" y="46"/>
                  </a:lnTo>
                  <a:lnTo>
                    <a:pt x="215" y="47"/>
                  </a:lnTo>
                  <a:lnTo>
                    <a:pt x="214" y="49"/>
                  </a:lnTo>
                  <a:lnTo>
                    <a:pt x="214" y="47"/>
                  </a:lnTo>
                  <a:lnTo>
                    <a:pt x="212" y="47"/>
                  </a:lnTo>
                  <a:lnTo>
                    <a:pt x="212" y="49"/>
                  </a:lnTo>
                  <a:lnTo>
                    <a:pt x="211" y="50"/>
                  </a:lnTo>
                  <a:lnTo>
                    <a:pt x="210" y="50"/>
                  </a:lnTo>
                  <a:lnTo>
                    <a:pt x="210" y="51"/>
                  </a:lnTo>
                  <a:lnTo>
                    <a:pt x="210" y="52"/>
                  </a:lnTo>
                  <a:lnTo>
                    <a:pt x="210" y="53"/>
                  </a:lnTo>
                  <a:lnTo>
                    <a:pt x="210" y="55"/>
                  </a:lnTo>
                  <a:lnTo>
                    <a:pt x="209" y="56"/>
                  </a:lnTo>
                  <a:lnTo>
                    <a:pt x="208" y="56"/>
                  </a:lnTo>
                  <a:lnTo>
                    <a:pt x="208" y="55"/>
                  </a:lnTo>
                  <a:lnTo>
                    <a:pt x="209" y="55"/>
                  </a:lnTo>
                  <a:lnTo>
                    <a:pt x="208" y="53"/>
                  </a:lnTo>
                  <a:lnTo>
                    <a:pt x="208" y="52"/>
                  </a:lnTo>
                  <a:lnTo>
                    <a:pt x="208" y="51"/>
                  </a:lnTo>
                  <a:lnTo>
                    <a:pt x="209" y="51"/>
                  </a:lnTo>
                  <a:lnTo>
                    <a:pt x="209" y="50"/>
                  </a:lnTo>
                  <a:lnTo>
                    <a:pt x="208" y="50"/>
                  </a:lnTo>
                  <a:lnTo>
                    <a:pt x="206" y="51"/>
                  </a:lnTo>
                  <a:lnTo>
                    <a:pt x="206" y="50"/>
                  </a:lnTo>
                  <a:lnTo>
                    <a:pt x="206" y="49"/>
                  </a:lnTo>
                  <a:lnTo>
                    <a:pt x="205" y="49"/>
                  </a:lnTo>
                  <a:lnTo>
                    <a:pt x="205" y="47"/>
                  </a:lnTo>
                  <a:lnTo>
                    <a:pt x="205" y="49"/>
                  </a:lnTo>
                  <a:lnTo>
                    <a:pt x="204" y="49"/>
                  </a:lnTo>
                  <a:lnTo>
                    <a:pt x="203" y="49"/>
                  </a:lnTo>
                  <a:lnTo>
                    <a:pt x="203" y="47"/>
                  </a:lnTo>
                  <a:lnTo>
                    <a:pt x="201" y="47"/>
                  </a:lnTo>
                  <a:lnTo>
                    <a:pt x="201" y="49"/>
                  </a:lnTo>
                  <a:lnTo>
                    <a:pt x="201" y="50"/>
                  </a:lnTo>
                  <a:lnTo>
                    <a:pt x="200" y="49"/>
                  </a:lnTo>
                  <a:lnTo>
                    <a:pt x="200" y="50"/>
                  </a:lnTo>
                  <a:lnTo>
                    <a:pt x="199" y="50"/>
                  </a:lnTo>
                  <a:lnTo>
                    <a:pt x="199" y="51"/>
                  </a:lnTo>
                  <a:lnTo>
                    <a:pt x="198" y="51"/>
                  </a:lnTo>
                  <a:lnTo>
                    <a:pt x="198" y="52"/>
                  </a:lnTo>
                  <a:lnTo>
                    <a:pt x="198" y="53"/>
                  </a:lnTo>
                  <a:lnTo>
                    <a:pt x="199" y="53"/>
                  </a:lnTo>
                  <a:lnTo>
                    <a:pt x="199" y="55"/>
                  </a:lnTo>
                  <a:lnTo>
                    <a:pt x="199" y="53"/>
                  </a:lnTo>
                  <a:lnTo>
                    <a:pt x="199" y="55"/>
                  </a:lnTo>
                  <a:lnTo>
                    <a:pt x="199" y="56"/>
                  </a:lnTo>
                  <a:lnTo>
                    <a:pt x="199" y="57"/>
                  </a:lnTo>
                  <a:lnTo>
                    <a:pt x="199" y="58"/>
                  </a:lnTo>
                  <a:lnTo>
                    <a:pt x="198" y="58"/>
                  </a:lnTo>
                  <a:lnTo>
                    <a:pt x="198" y="57"/>
                  </a:lnTo>
                  <a:lnTo>
                    <a:pt x="198" y="56"/>
                  </a:lnTo>
                  <a:lnTo>
                    <a:pt x="197" y="56"/>
                  </a:lnTo>
                  <a:lnTo>
                    <a:pt x="195" y="55"/>
                  </a:lnTo>
                  <a:lnTo>
                    <a:pt x="195" y="56"/>
                  </a:lnTo>
                  <a:lnTo>
                    <a:pt x="195" y="55"/>
                  </a:lnTo>
                  <a:lnTo>
                    <a:pt x="194" y="53"/>
                  </a:lnTo>
                  <a:lnTo>
                    <a:pt x="193" y="53"/>
                  </a:lnTo>
                  <a:lnTo>
                    <a:pt x="193" y="55"/>
                  </a:lnTo>
                  <a:lnTo>
                    <a:pt x="193" y="56"/>
                  </a:lnTo>
                  <a:lnTo>
                    <a:pt x="192" y="56"/>
                  </a:lnTo>
                  <a:lnTo>
                    <a:pt x="192" y="55"/>
                  </a:lnTo>
                  <a:lnTo>
                    <a:pt x="191" y="55"/>
                  </a:lnTo>
                  <a:lnTo>
                    <a:pt x="191" y="56"/>
                  </a:lnTo>
                  <a:lnTo>
                    <a:pt x="191" y="57"/>
                  </a:lnTo>
                  <a:lnTo>
                    <a:pt x="192" y="57"/>
                  </a:lnTo>
                  <a:lnTo>
                    <a:pt x="191" y="57"/>
                  </a:lnTo>
                  <a:lnTo>
                    <a:pt x="192" y="58"/>
                  </a:lnTo>
                  <a:lnTo>
                    <a:pt x="191" y="58"/>
                  </a:lnTo>
                  <a:lnTo>
                    <a:pt x="191" y="59"/>
                  </a:lnTo>
                  <a:lnTo>
                    <a:pt x="191" y="58"/>
                  </a:lnTo>
                  <a:lnTo>
                    <a:pt x="189" y="58"/>
                  </a:lnTo>
                  <a:lnTo>
                    <a:pt x="189" y="59"/>
                  </a:lnTo>
                  <a:lnTo>
                    <a:pt x="189" y="61"/>
                  </a:lnTo>
                  <a:lnTo>
                    <a:pt x="188" y="61"/>
                  </a:lnTo>
                  <a:lnTo>
                    <a:pt x="188" y="59"/>
                  </a:lnTo>
                  <a:lnTo>
                    <a:pt x="188" y="58"/>
                  </a:lnTo>
                  <a:lnTo>
                    <a:pt x="187" y="58"/>
                  </a:lnTo>
                  <a:lnTo>
                    <a:pt x="187" y="59"/>
                  </a:lnTo>
                  <a:lnTo>
                    <a:pt x="186" y="59"/>
                  </a:lnTo>
                  <a:lnTo>
                    <a:pt x="186" y="58"/>
                  </a:lnTo>
                  <a:lnTo>
                    <a:pt x="186" y="59"/>
                  </a:lnTo>
                  <a:lnTo>
                    <a:pt x="185" y="59"/>
                  </a:lnTo>
                  <a:lnTo>
                    <a:pt x="185" y="61"/>
                  </a:lnTo>
                  <a:lnTo>
                    <a:pt x="186" y="61"/>
                  </a:lnTo>
                  <a:lnTo>
                    <a:pt x="186" y="62"/>
                  </a:lnTo>
                  <a:lnTo>
                    <a:pt x="187" y="62"/>
                  </a:lnTo>
                  <a:lnTo>
                    <a:pt x="187" y="61"/>
                  </a:lnTo>
                  <a:lnTo>
                    <a:pt x="188" y="61"/>
                  </a:lnTo>
                  <a:lnTo>
                    <a:pt x="188" y="62"/>
                  </a:lnTo>
                  <a:lnTo>
                    <a:pt x="187" y="62"/>
                  </a:lnTo>
                  <a:lnTo>
                    <a:pt x="186" y="62"/>
                  </a:lnTo>
                  <a:lnTo>
                    <a:pt x="185" y="62"/>
                  </a:lnTo>
                  <a:lnTo>
                    <a:pt x="185" y="61"/>
                  </a:lnTo>
                  <a:lnTo>
                    <a:pt x="183" y="61"/>
                  </a:lnTo>
                  <a:lnTo>
                    <a:pt x="185" y="59"/>
                  </a:lnTo>
                  <a:lnTo>
                    <a:pt x="185" y="58"/>
                  </a:lnTo>
                  <a:lnTo>
                    <a:pt x="186" y="58"/>
                  </a:lnTo>
                  <a:lnTo>
                    <a:pt x="185" y="57"/>
                  </a:lnTo>
                  <a:lnTo>
                    <a:pt x="186" y="57"/>
                  </a:lnTo>
                  <a:lnTo>
                    <a:pt x="186" y="56"/>
                  </a:lnTo>
                  <a:lnTo>
                    <a:pt x="185" y="56"/>
                  </a:lnTo>
                  <a:lnTo>
                    <a:pt x="185" y="57"/>
                  </a:lnTo>
                  <a:lnTo>
                    <a:pt x="183" y="57"/>
                  </a:lnTo>
                  <a:lnTo>
                    <a:pt x="183" y="56"/>
                  </a:lnTo>
                  <a:lnTo>
                    <a:pt x="182" y="56"/>
                  </a:lnTo>
                  <a:lnTo>
                    <a:pt x="182" y="57"/>
                  </a:lnTo>
                  <a:lnTo>
                    <a:pt x="182" y="56"/>
                  </a:lnTo>
                  <a:lnTo>
                    <a:pt x="181" y="56"/>
                  </a:lnTo>
                  <a:lnTo>
                    <a:pt x="182" y="56"/>
                  </a:lnTo>
                  <a:lnTo>
                    <a:pt x="181" y="56"/>
                  </a:lnTo>
                  <a:lnTo>
                    <a:pt x="181" y="57"/>
                  </a:lnTo>
                  <a:lnTo>
                    <a:pt x="182" y="57"/>
                  </a:lnTo>
                  <a:lnTo>
                    <a:pt x="182" y="58"/>
                  </a:lnTo>
                  <a:lnTo>
                    <a:pt x="182" y="59"/>
                  </a:lnTo>
                  <a:lnTo>
                    <a:pt x="183" y="59"/>
                  </a:lnTo>
                  <a:lnTo>
                    <a:pt x="183" y="61"/>
                  </a:lnTo>
                  <a:lnTo>
                    <a:pt x="183" y="62"/>
                  </a:lnTo>
                  <a:lnTo>
                    <a:pt x="182" y="63"/>
                  </a:lnTo>
                  <a:lnTo>
                    <a:pt x="182" y="62"/>
                  </a:lnTo>
                  <a:lnTo>
                    <a:pt x="181" y="62"/>
                  </a:lnTo>
                  <a:lnTo>
                    <a:pt x="180" y="62"/>
                  </a:lnTo>
                  <a:lnTo>
                    <a:pt x="179" y="62"/>
                  </a:lnTo>
                  <a:lnTo>
                    <a:pt x="177" y="62"/>
                  </a:lnTo>
                  <a:lnTo>
                    <a:pt x="176" y="63"/>
                  </a:lnTo>
                  <a:lnTo>
                    <a:pt x="176" y="62"/>
                  </a:lnTo>
                  <a:lnTo>
                    <a:pt x="176" y="63"/>
                  </a:lnTo>
                  <a:lnTo>
                    <a:pt x="175" y="63"/>
                  </a:lnTo>
                  <a:lnTo>
                    <a:pt x="175" y="62"/>
                  </a:lnTo>
                  <a:lnTo>
                    <a:pt x="175" y="63"/>
                  </a:lnTo>
                  <a:lnTo>
                    <a:pt x="174" y="63"/>
                  </a:lnTo>
                  <a:lnTo>
                    <a:pt x="174" y="62"/>
                  </a:lnTo>
                  <a:lnTo>
                    <a:pt x="175" y="62"/>
                  </a:lnTo>
                  <a:lnTo>
                    <a:pt x="174" y="62"/>
                  </a:lnTo>
                  <a:lnTo>
                    <a:pt x="174" y="63"/>
                  </a:lnTo>
                  <a:lnTo>
                    <a:pt x="174" y="64"/>
                  </a:lnTo>
                  <a:lnTo>
                    <a:pt x="175" y="64"/>
                  </a:lnTo>
                  <a:lnTo>
                    <a:pt x="175" y="65"/>
                  </a:lnTo>
                  <a:lnTo>
                    <a:pt x="175" y="64"/>
                  </a:lnTo>
                  <a:lnTo>
                    <a:pt x="175" y="65"/>
                  </a:lnTo>
                  <a:lnTo>
                    <a:pt x="175" y="67"/>
                  </a:lnTo>
                  <a:lnTo>
                    <a:pt x="176" y="67"/>
                  </a:lnTo>
                  <a:lnTo>
                    <a:pt x="176" y="68"/>
                  </a:lnTo>
                  <a:lnTo>
                    <a:pt x="175" y="68"/>
                  </a:lnTo>
                  <a:lnTo>
                    <a:pt x="175" y="67"/>
                  </a:lnTo>
                  <a:lnTo>
                    <a:pt x="175" y="65"/>
                  </a:lnTo>
                  <a:lnTo>
                    <a:pt x="174" y="65"/>
                  </a:lnTo>
                  <a:lnTo>
                    <a:pt x="174" y="67"/>
                  </a:lnTo>
                  <a:lnTo>
                    <a:pt x="174" y="65"/>
                  </a:lnTo>
                  <a:lnTo>
                    <a:pt x="174" y="67"/>
                  </a:lnTo>
                  <a:lnTo>
                    <a:pt x="174" y="68"/>
                  </a:lnTo>
                  <a:lnTo>
                    <a:pt x="173" y="68"/>
                  </a:lnTo>
                  <a:lnTo>
                    <a:pt x="173" y="67"/>
                  </a:lnTo>
                  <a:lnTo>
                    <a:pt x="171" y="67"/>
                  </a:lnTo>
                  <a:lnTo>
                    <a:pt x="170" y="67"/>
                  </a:lnTo>
                  <a:lnTo>
                    <a:pt x="170" y="68"/>
                  </a:lnTo>
                  <a:lnTo>
                    <a:pt x="169" y="68"/>
                  </a:lnTo>
                  <a:lnTo>
                    <a:pt x="168" y="68"/>
                  </a:lnTo>
                  <a:lnTo>
                    <a:pt x="167" y="68"/>
                  </a:lnTo>
                  <a:lnTo>
                    <a:pt x="167" y="69"/>
                  </a:lnTo>
                  <a:lnTo>
                    <a:pt x="165" y="69"/>
                  </a:lnTo>
                  <a:lnTo>
                    <a:pt x="164" y="69"/>
                  </a:lnTo>
                  <a:lnTo>
                    <a:pt x="163" y="69"/>
                  </a:lnTo>
                  <a:lnTo>
                    <a:pt x="163" y="70"/>
                  </a:lnTo>
                  <a:lnTo>
                    <a:pt x="162" y="70"/>
                  </a:lnTo>
                  <a:lnTo>
                    <a:pt x="161" y="70"/>
                  </a:lnTo>
                  <a:lnTo>
                    <a:pt x="162" y="70"/>
                  </a:lnTo>
                  <a:lnTo>
                    <a:pt x="163" y="70"/>
                  </a:lnTo>
                  <a:lnTo>
                    <a:pt x="163" y="71"/>
                  </a:lnTo>
                  <a:lnTo>
                    <a:pt x="162" y="71"/>
                  </a:lnTo>
                  <a:lnTo>
                    <a:pt x="163" y="71"/>
                  </a:lnTo>
                  <a:lnTo>
                    <a:pt x="162" y="71"/>
                  </a:lnTo>
                  <a:lnTo>
                    <a:pt x="161" y="73"/>
                  </a:lnTo>
                  <a:lnTo>
                    <a:pt x="161" y="71"/>
                  </a:lnTo>
                  <a:lnTo>
                    <a:pt x="161" y="70"/>
                  </a:lnTo>
                  <a:lnTo>
                    <a:pt x="161" y="71"/>
                  </a:lnTo>
                  <a:lnTo>
                    <a:pt x="161" y="73"/>
                  </a:lnTo>
                  <a:lnTo>
                    <a:pt x="159" y="73"/>
                  </a:lnTo>
                  <a:lnTo>
                    <a:pt x="159" y="71"/>
                  </a:lnTo>
                  <a:lnTo>
                    <a:pt x="158" y="71"/>
                  </a:lnTo>
                  <a:lnTo>
                    <a:pt x="158" y="73"/>
                  </a:lnTo>
                  <a:lnTo>
                    <a:pt x="157" y="73"/>
                  </a:lnTo>
                  <a:lnTo>
                    <a:pt x="156" y="73"/>
                  </a:lnTo>
                  <a:lnTo>
                    <a:pt x="156" y="74"/>
                  </a:lnTo>
                  <a:lnTo>
                    <a:pt x="156" y="73"/>
                  </a:lnTo>
                  <a:lnTo>
                    <a:pt x="155" y="73"/>
                  </a:lnTo>
                  <a:lnTo>
                    <a:pt x="155" y="74"/>
                  </a:lnTo>
                  <a:lnTo>
                    <a:pt x="155" y="75"/>
                  </a:lnTo>
                  <a:lnTo>
                    <a:pt x="155" y="76"/>
                  </a:lnTo>
                  <a:lnTo>
                    <a:pt x="155" y="77"/>
                  </a:lnTo>
                  <a:lnTo>
                    <a:pt x="156" y="77"/>
                  </a:lnTo>
                  <a:lnTo>
                    <a:pt x="157" y="77"/>
                  </a:lnTo>
                  <a:lnTo>
                    <a:pt x="157" y="79"/>
                  </a:lnTo>
                  <a:lnTo>
                    <a:pt x="158" y="79"/>
                  </a:lnTo>
                  <a:lnTo>
                    <a:pt x="158" y="77"/>
                  </a:lnTo>
                  <a:lnTo>
                    <a:pt x="158" y="76"/>
                  </a:lnTo>
                  <a:lnTo>
                    <a:pt x="158" y="77"/>
                  </a:lnTo>
                  <a:lnTo>
                    <a:pt x="158" y="79"/>
                  </a:lnTo>
                  <a:lnTo>
                    <a:pt x="158" y="77"/>
                  </a:lnTo>
                  <a:lnTo>
                    <a:pt x="159" y="76"/>
                  </a:lnTo>
                  <a:lnTo>
                    <a:pt x="161" y="76"/>
                  </a:lnTo>
                  <a:lnTo>
                    <a:pt x="161" y="77"/>
                  </a:lnTo>
                  <a:lnTo>
                    <a:pt x="159" y="77"/>
                  </a:lnTo>
                  <a:lnTo>
                    <a:pt x="159" y="79"/>
                  </a:lnTo>
                  <a:lnTo>
                    <a:pt x="158" y="79"/>
                  </a:lnTo>
                  <a:lnTo>
                    <a:pt x="157" y="79"/>
                  </a:lnTo>
                  <a:lnTo>
                    <a:pt x="157" y="80"/>
                  </a:lnTo>
                  <a:lnTo>
                    <a:pt x="157" y="81"/>
                  </a:lnTo>
                  <a:lnTo>
                    <a:pt x="157" y="82"/>
                  </a:lnTo>
                  <a:lnTo>
                    <a:pt x="157" y="81"/>
                  </a:lnTo>
                  <a:lnTo>
                    <a:pt x="156" y="81"/>
                  </a:lnTo>
                  <a:lnTo>
                    <a:pt x="156" y="80"/>
                  </a:lnTo>
                  <a:lnTo>
                    <a:pt x="157" y="80"/>
                  </a:lnTo>
                  <a:lnTo>
                    <a:pt x="157" y="79"/>
                  </a:lnTo>
                  <a:lnTo>
                    <a:pt x="156" y="79"/>
                  </a:lnTo>
                  <a:lnTo>
                    <a:pt x="156" y="80"/>
                  </a:lnTo>
                  <a:lnTo>
                    <a:pt x="156" y="79"/>
                  </a:lnTo>
                  <a:lnTo>
                    <a:pt x="155" y="79"/>
                  </a:lnTo>
                  <a:lnTo>
                    <a:pt x="153" y="79"/>
                  </a:lnTo>
                  <a:lnTo>
                    <a:pt x="153" y="80"/>
                  </a:lnTo>
                  <a:lnTo>
                    <a:pt x="152" y="80"/>
                  </a:lnTo>
                  <a:lnTo>
                    <a:pt x="152" y="81"/>
                  </a:lnTo>
                  <a:lnTo>
                    <a:pt x="152" y="82"/>
                  </a:lnTo>
                  <a:lnTo>
                    <a:pt x="151" y="82"/>
                  </a:lnTo>
                  <a:lnTo>
                    <a:pt x="151" y="83"/>
                  </a:lnTo>
                  <a:lnTo>
                    <a:pt x="152" y="83"/>
                  </a:lnTo>
                  <a:lnTo>
                    <a:pt x="151" y="83"/>
                  </a:lnTo>
                  <a:lnTo>
                    <a:pt x="151" y="85"/>
                  </a:lnTo>
                  <a:lnTo>
                    <a:pt x="150" y="85"/>
                  </a:lnTo>
                  <a:lnTo>
                    <a:pt x="150" y="83"/>
                  </a:lnTo>
                  <a:lnTo>
                    <a:pt x="150" y="85"/>
                  </a:lnTo>
                  <a:lnTo>
                    <a:pt x="149" y="85"/>
                  </a:lnTo>
                  <a:lnTo>
                    <a:pt x="150" y="85"/>
                  </a:lnTo>
                  <a:lnTo>
                    <a:pt x="150" y="83"/>
                  </a:lnTo>
                  <a:lnTo>
                    <a:pt x="151" y="83"/>
                  </a:lnTo>
                  <a:lnTo>
                    <a:pt x="150" y="83"/>
                  </a:lnTo>
                  <a:lnTo>
                    <a:pt x="150" y="82"/>
                  </a:lnTo>
                  <a:lnTo>
                    <a:pt x="150" y="81"/>
                  </a:lnTo>
                  <a:lnTo>
                    <a:pt x="151" y="81"/>
                  </a:lnTo>
                  <a:lnTo>
                    <a:pt x="151" y="80"/>
                  </a:lnTo>
                  <a:lnTo>
                    <a:pt x="151" y="79"/>
                  </a:lnTo>
                  <a:lnTo>
                    <a:pt x="152" y="79"/>
                  </a:lnTo>
                  <a:lnTo>
                    <a:pt x="152" y="77"/>
                  </a:lnTo>
                  <a:lnTo>
                    <a:pt x="152" y="76"/>
                  </a:lnTo>
                  <a:lnTo>
                    <a:pt x="152" y="75"/>
                  </a:lnTo>
                  <a:lnTo>
                    <a:pt x="152" y="74"/>
                  </a:lnTo>
                  <a:lnTo>
                    <a:pt x="153" y="74"/>
                  </a:lnTo>
                  <a:lnTo>
                    <a:pt x="152" y="74"/>
                  </a:lnTo>
                  <a:lnTo>
                    <a:pt x="152" y="73"/>
                  </a:lnTo>
                  <a:lnTo>
                    <a:pt x="153" y="73"/>
                  </a:lnTo>
                  <a:lnTo>
                    <a:pt x="153" y="71"/>
                  </a:lnTo>
                  <a:lnTo>
                    <a:pt x="153" y="70"/>
                  </a:lnTo>
                  <a:lnTo>
                    <a:pt x="155" y="70"/>
                  </a:lnTo>
                  <a:lnTo>
                    <a:pt x="156" y="70"/>
                  </a:lnTo>
                  <a:lnTo>
                    <a:pt x="155" y="70"/>
                  </a:lnTo>
                  <a:lnTo>
                    <a:pt x="156" y="70"/>
                  </a:lnTo>
                  <a:lnTo>
                    <a:pt x="156" y="69"/>
                  </a:lnTo>
                  <a:lnTo>
                    <a:pt x="155" y="69"/>
                  </a:lnTo>
                  <a:lnTo>
                    <a:pt x="156" y="69"/>
                  </a:lnTo>
                  <a:lnTo>
                    <a:pt x="156" y="68"/>
                  </a:lnTo>
                  <a:lnTo>
                    <a:pt x="156" y="69"/>
                  </a:lnTo>
                  <a:lnTo>
                    <a:pt x="155" y="68"/>
                  </a:lnTo>
                  <a:lnTo>
                    <a:pt x="155" y="69"/>
                  </a:lnTo>
                  <a:lnTo>
                    <a:pt x="155" y="68"/>
                  </a:lnTo>
                  <a:lnTo>
                    <a:pt x="156" y="68"/>
                  </a:lnTo>
                  <a:lnTo>
                    <a:pt x="157" y="68"/>
                  </a:lnTo>
                  <a:lnTo>
                    <a:pt x="158" y="68"/>
                  </a:lnTo>
                  <a:lnTo>
                    <a:pt x="159" y="68"/>
                  </a:lnTo>
                  <a:lnTo>
                    <a:pt x="161" y="68"/>
                  </a:lnTo>
                  <a:lnTo>
                    <a:pt x="161" y="67"/>
                  </a:lnTo>
                  <a:lnTo>
                    <a:pt x="161" y="65"/>
                  </a:lnTo>
                  <a:lnTo>
                    <a:pt x="159" y="65"/>
                  </a:lnTo>
                  <a:lnTo>
                    <a:pt x="158" y="65"/>
                  </a:lnTo>
                  <a:lnTo>
                    <a:pt x="157" y="65"/>
                  </a:lnTo>
                  <a:lnTo>
                    <a:pt x="157" y="64"/>
                  </a:lnTo>
                  <a:lnTo>
                    <a:pt x="158" y="64"/>
                  </a:lnTo>
                  <a:lnTo>
                    <a:pt x="158" y="63"/>
                  </a:lnTo>
                  <a:lnTo>
                    <a:pt x="158" y="64"/>
                  </a:lnTo>
                  <a:lnTo>
                    <a:pt x="158" y="65"/>
                  </a:lnTo>
                  <a:lnTo>
                    <a:pt x="159" y="65"/>
                  </a:lnTo>
                  <a:lnTo>
                    <a:pt x="161" y="65"/>
                  </a:lnTo>
                  <a:lnTo>
                    <a:pt x="162" y="65"/>
                  </a:lnTo>
                  <a:lnTo>
                    <a:pt x="162" y="64"/>
                  </a:lnTo>
                  <a:lnTo>
                    <a:pt x="162" y="65"/>
                  </a:lnTo>
                  <a:lnTo>
                    <a:pt x="162" y="64"/>
                  </a:lnTo>
                  <a:lnTo>
                    <a:pt x="163" y="64"/>
                  </a:lnTo>
                  <a:lnTo>
                    <a:pt x="163" y="65"/>
                  </a:lnTo>
                  <a:lnTo>
                    <a:pt x="164" y="65"/>
                  </a:lnTo>
                  <a:lnTo>
                    <a:pt x="164" y="64"/>
                  </a:lnTo>
                  <a:lnTo>
                    <a:pt x="165" y="64"/>
                  </a:lnTo>
                  <a:lnTo>
                    <a:pt x="167" y="64"/>
                  </a:lnTo>
                  <a:lnTo>
                    <a:pt x="168" y="63"/>
                  </a:lnTo>
                  <a:lnTo>
                    <a:pt x="167" y="63"/>
                  </a:lnTo>
                  <a:lnTo>
                    <a:pt x="167" y="62"/>
                  </a:lnTo>
                  <a:lnTo>
                    <a:pt x="165" y="62"/>
                  </a:lnTo>
                  <a:lnTo>
                    <a:pt x="165" y="63"/>
                  </a:lnTo>
                  <a:lnTo>
                    <a:pt x="164" y="63"/>
                  </a:lnTo>
                  <a:lnTo>
                    <a:pt x="164" y="62"/>
                  </a:lnTo>
                  <a:lnTo>
                    <a:pt x="165" y="62"/>
                  </a:lnTo>
                  <a:lnTo>
                    <a:pt x="167" y="62"/>
                  </a:lnTo>
                  <a:lnTo>
                    <a:pt x="168" y="62"/>
                  </a:lnTo>
                  <a:lnTo>
                    <a:pt x="168" y="63"/>
                  </a:lnTo>
                  <a:lnTo>
                    <a:pt x="168" y="62"/>
                  </a:lnTo>
                  <a:lnTo>
                    <a:pt x="167" y="62"/>
                  </a:lnTo>
                  <a:lnTo>
                    <a:pt x="168" y="62"/>
                  </a:lnTo>
                  <a:lnTo>
                    <a:pt x="168" y="61"/>
                  </a:lnTo>
                  <a:lnTo>
                    <a:pt x="168" y="59"/>
                  </a:lnTo>
                  <a:lnTo>
                    <a:pt x="168" y="58"/>
                  </a:lnTo>
                  <a:lnTo>
                    <a:pt x="169" y="58"/>
                  </a:lnTo>
                  <a:lnTo>
                    <a:pt x="170" y="58"/>
                  </a:lnTo>
                  <a:lnTo>
                    <a:pt x="170" y="59"/>
                  </a:lnTo>
                  <a:lnTo>
                    <a:pt x="169" y="59"/>
                  </a:lnTo>
                  <a:lnTo>
                    <a:pt x="169" y="58"/>
                  </a:lnTo>
                  <a:lnTo>
                    <a:pt x="169" y="59"/>
                  </a:lnTo>
                  <a:lnTo>
                    <a:pt x="170" y="59"/>
                  </a:lnTo>
                  <a:lnTo>
                    <a:pt x="169" y="59"/>
                  </a:lnTo>
                  <a:lnTo>
                    <a:pt x="169" y="61"/>
                  </a:lnTo>
                  <a:lnTo>
                    <a:pt x="169" y="59"/>
                  </a:lnTo>
                  <a:lnTo>
                    <a:pt x="168" y="59"/>
                  </a:lnTo>
                  <a:lnTo>
                    <a:pt x="169" y="61"/>
                  </a:lnTo>
                  <a:lnTo>
                    <a:pt x="170" y="61"/>
                  </a:lnTo>
                  <a:lnTo>
                    <a:pt x="171" y="61"/>
                  </a:lnTo>
                  <a:lnTo>
                    <a:pt x="171" y="62"/>
                  </a:lnTo>
                  <a:lnTo>
                    <a:pt x="173" y="62"/>
                  </a:lnTo>
                  <a:lnTo>
                    <a:pt x="173" y="61"/>
                  </a:lnTo>
                  <a:lnTo>
                    <a:pt x="173" y="59"/>
                  </a:lnTo>
                  <a:lnTo>
                    <a:pt x="173" y="61"/>
                  </a:lnTo>
                  <a:lnTo>
                    <a:pt x="171" y="61"/>
                  </a:lnTo>
                  <a:lnTo>
                    <a:pt x="173" y="61"/>
                  </a:lnTo>
                  <a:lnTo>
                    <a:pt x="171" y="61"/>
                  </a:lnTo>
                  <a:lnTo>
                    <a:pt x="171" y="59"/>
                  </a:lnTo>
                  <a:lnTo>
                    <a:pt x="173" y="59"/>
                  </a:lnTo>
                  <a:lnTo>
                    <a:pt x="171" y="59"/>
                  </a:lnTo>
                  <a:lnTo>
                    <a:pt x="173" y="59"/>
                  </a:lnTo>
                  <a:lnTo>
                    <a:pt x="173" y="58"/>
                  </a:lnTo>
                  <a:lnTo>
                    <a:pt x="174" y="58"/>
                  </a:lnTo>
                  <a:lnTo>
                    <a:pt x="174" y="57"/>
                  </a:lnTo>
                  <a:lnTo>
                    <a:pt x="174" y="58"/>
                  </a:lnTo>
                  <a:lnTo>
                    <a:pt x="175" y="58"/>
                  </a:lnTo>
                  <a:lnTo>
                    <a:pt x="175" y="57"/>
                  </a:lnTo>
                  <a:lnTo>
                    <a:pt x="176" y="57"/>
                  </a:lnTo>
                  <a:lnTo>
                    <a:pt x="177" y="58"/>
                  </a:lnTo>
                  <a:lnTo>
                    <a:pt x="177" y="57"/>
                  </a:lnTo>
                  <a:lnTo>
                    <a:pt x="177" y="58"/>
                  </a:lnTo>
                  <a:lnTo>
                    <a:pt x="177" y="59"/>
                  </a:lnTo>
                  <a:lnTo>
                    <a:pt x="179" y="59"/>
                  </a:lnTo>
                  <a:lnTo>
                    <a:pt x="179" y="61"/>
                  </a:lnTo>
                  <a:lnTo>
                    <a:pt x="180" y="59"/>
                  </a:lnTo>
                  <a:lnTo>
                    <a:pt x="180" y="61"/>
                  </a:lnTo>
                  <a:lnTo>
                    <a:pt x="181" y="59"/>
                  </a:lnTo>
                  <a:lnTo>
                    <a:pt x="180" y="59"/>
                  </a:lnTo>
                  <a:lnTo>
                    <a:pt x="180" y="58"/>
                  </a:lnTo>
                  <a:lnTo>
                    <a:pt x="180" y="59"/>
                  </a:lnTo>
                  <a:lnTo>
                    <a:pt x="180" y="58"/>
                  </a:lnTo>
                  <a:lnTo>
                    <a:pt x="180" y="57"/>
                  </a:lnTo>
                  <a:lnTo>
                    <a:pt x="179" y="57"/>
                  </a:lnTo>
                  <a:lnTo>
                    <a:pt x="179" y="56"/>
                  </a:lnTo>
                  <a:lnTo>
                    <a:pt x="180" y="56"/>
                  </a:lnTo>
                  <a:lnTo>
                    <a:pt x="179" y="56"/>
                  </a:lnTo>
                  <a:lnTo>
                    <a:pt x="179" y="55"/>
                  </a:lnTo>
                  <a:lnTo>
                    <a:pt x="180" y="55"/>
                  </a:lnTo>
                  <a:lnTo>
                    <a:pt x="181" y="55"/>
                  </a:lnTo>
                  <a:lnTo>
                    <a:pt x="181" y="56"/>
                  </a:lnTo>
                  <a:lnTo>
                    <a:pt x="181" y="55"/>
                  </a:lnTo>
                  <a:lnTo>
                    <a:pt x="182" y="55"/>
                  </a:lnTo>
                  <a:lnTo>
                    <a:pt x="183" y="55"/>
                  </a:lnTo>
                  <a:lnTo>
                    <a:pt x="185" y="55"/>
                  </a:lnTo>
                  <a:lnTo>
                    <a:pt x="185" y="56"/>
                  </a:lnTo>
                  <a:lnTo>
                    <a:pt x="186" y="56"/>
                  </a:lnTo>
                  <a:lnTo>
                    <a:pt x="186" y="55"/>
                  </a:lnTo>
                  <a:lnTo>
                    <a:pt x="185" y="55"/>
                  </a:lnTo>
                  <a:lnTo>
                    <a:pt x="186" y="55"/>
                  </a:lnTo>
                  <a:lnTo>
                    <a:pt x="187" y="55"/>
                  </a:lnTo>
                  <a:lnTo>
                    <a:pt x="188" y="56"/>
                  </a:lnTo>
                  <a:lnTo>
                    <a:pt x="187" y="56"/>
                  </a:lnTo>
                  <a:lnTo>
                    <a:pt x="188" y="56"/>
                  </a:lnTo>
                  <a:lnTo>
                    <a:pt x="188" y="57"/>
                  </a:lnTo>
                  <a:lnTo>
                    <a:pt x="189" y="57"/>
                  </a:lnTo>
                  <a:lnTo>
                    <a:pt x="189" y="56"/>
                  </a:lnTo>
                  <a:lnTo>
                    <a:pt x="188" y="56"/>
                  </a:lnTo>
                  <a:lnTo>
                    <a:pt x="189" y="56"/>
                  </a:lnTo>
                  <a:lnTo>
                    <a:pt x="188" y="55"/>
                  </a:lnTo>
                  <a:lnTo>
                    <a:pt x="188" y="53"/>
                  </a:lnTo>
                  <a:lnTo>
                    <a:pt x="189" y="53"/>
                  </a:lnTo>
                  <a:lnTo>
                    <a:pt x="189" y="55"/>
                  </a:lnTo>
                  <a:lnTo>
                    <a:pt x="189" y="53"/>
                  </a:lnTo>
                  <a:lnTo>
                    <a:pt x="191" y="53"/>
                  </a:lnTo>
                  <a:lnTo>
                    <a:pt x="191" y="52"/>
                  </a:lnTo>
                  <a:lnTo>
                    <a:pt x="192" y="52"/>
                  </a:lnTo>
                  <a:lnTo>
                    <a:pt x="193" y="52"/>
                  </a:lnTo>
                  <a:lnTo>
                    <a:pt x="193" y="51"/>
                  </a:lnTo>
                  <a:lnTo>
                    <a:pt x="194" y="51"/>
                  </a:lnTo>
                  <a:lnTo>
                    <a:pt x="194" y="50"/>
                  </a:lnTo>
                  <a:lnTo>
                    <a:pt x="195" y="50"/>
                  </a:lnTo>
                  <a:lnTo>
                    <a:pt x="197" y="50"/>
                  </a:lnTo>
                  <a:lnTo>
                    <a:pt x="197" y="49"/>
                  </a:lnTo>
                  <a:lnTo>
                    <a:pt x="198" y="49"/>
                  </a:lnTo>
                  <a:lnTo>
                    <a:pt x="198" y="47"/>
                  </a:lnTo>
                  <a:lnTo>
                    <a:pt x="198" y="46"/>
                  </a:lnTo>
                  <a:lnTo>
                    <a:pt x="197" y="46"/>
                  </a:lnTo>
                  <a:lnTo>
                    <a:pt x="198" y="46"/>
                  </a:lnTo>
                  <a:lnTo>
                    <a:pt x="198" y="45"/>
                  </a:lnTo>
                  <a:lnTo>
                    <a:pt x="199" y="45"/>
                  </a:lnTo>
                  <a:lnTo>
                    <a:pt x="200" y="45"/>
                  </a:lnTo>
                  <a:lnTo>
                    <a:pt x="200" y="44"/>
                  </a:lnTo>
                  <a:lnTo>
                    <a:pt x="201" y="44"/>
                  </a:lnTo>
                  <a:lnTo>
                    <a:pt x="201" y="43"/>
                  </a:lnTo>
                  <a:lnTo>
                    <a:pt x="200" y="43"/>
                  </a:lnTo>
                  <a:lnTo>
                    <a:pt x="199" y="43"/>
                  </a:lnTo>
                  <a:lnTo>
                    <a:pt x="199" y="41"/>
                  </a:lnTo>
                  <a:lnTo>
                    <a:pt x="198" y="41"/>
                  </a:lnTo>
                  <a:lnTo>
                    <a:pt x="197" y="41"/>
                  </a:lnTo>
                  <a:lnTo>
                    <a:pt x="197" y="43"/>
                  </a:lnTo>
                  <a:lnTo>
                    <a:pt x="197" y="41"/>
                  </a:lnTo>
                  <a:lnTo>
                    <a:pt x="198" y="41"/>
                  </a:lnTo>
                  <a:lnTo>
                    <a:pt x="198" y="40"/>
                  </a:lnTo>
                  <a:lnTo>
                    <a:pt x="199" y="40"/>
                  </a:lnTo>
                  <a:lnTo>
                    <a:pt x="199" y="39"/>
                  </a:lnTo>
                  <a:lnTo>
                    <a:pt x="199" y="38"/>
                  </a:lnTo>
                  <a:lnTo>
                    <a:pt x="200" y="38"/>
                  </a:lnTo>
                  <a:lnTo>
                    <a:pt x="200" y="37"/>
                  </a:lnTo>
                  <a:lnTo>
                    <a:pt x="200" y="35"/>
                  </a:lnTo>
                  <a:lnTo>
                    <a:pt x="199" y="35"/>
                  </a:lnTo>
                  <a:lnTo>
                    <a:pt x="199" y="37"/>
                  </a:lnTo>
                  <a:lnTo>
                    <a:pt x="198" y="37"/>
                  </a:lnTo>
                  <a:lnTo>
                    <a:pt x="197" y="37"/>
                  </a:lnTo>
                  <a:lnTo>
                    <a:pt x="195" y="37"/>
                  </a:lnTo>
                  <a:lnTo>
                    <a:pt x="195" y="35"/>
                  </a:lnTo>
                  <a:lnTo>
                    <a:pt x="197" y="35"/>
                  </a:lnTo>
                  <a:lnTo>
                    <a:pt x="198" y="35"/>
                  </a:lnTo>
                  <a:lnTo>
                    <a:pt x="198" y="34"/>
                  </a:lnTo>
                  <a:lnTo>
                    <a:pt x="198" y="33"/>
                  </a:lnTo>
                  <a:lnTo>
                    <a:pt x="199" y="33"/>
                  </a:lnTo>
                  <a:lnTo>
                    <a:pt x="198" y="33"/>
                  </a:lnTo>
                  <a:lnTo>
                    <a:pt x="199" y="33"/>
                  </a:lnTo>
                  <a:lnTo>
                    <a:pt x="199" y="32"/>
                  </a:lnTo>
                  <a:lnTo>
                    <a:pt x="199" y="31"/>
                  </a:lnTo>
                  <a:lnTo>
                    <a:pt x="198" y="31"/>
                  </a:lnTo>
                  <a:lnTo>
                    <a:pt x="198" y="32"/>
                  </a:lnTo>
                  <a:lnTo>
                    <a:pt x="197" y="32"/>
                  </a:lnTo>
                  <a:lnTo>
                    <a:pt x="197" y="31"/>
                  </a:lnTo>
                  <a:lnTo>
                    <a:pt x="197" y="29"/>
                  </a:lnTo>
                  <a:lnTo>
                    <a:pt x="198" y="29"/>
                  </a:lnTo>
                  <a:lnTo>
                    <a:pt x="197" y="29"/>
                  </a:lnTo>
                  <a:lnTo>
                    <a:pt x="197" y="28"/>
                  </a:lnTo>
                  <a:lnTo>
                    <a:pt x="197" y="27"/>
                  </a:lnTo>
                  <a:lnTo>
                    <a:pt x="197" y="26"/>
                  </a:lnTo>
                  <a:lnTo>
                    <a:pt x="197" y="25"/>
                  </a:lnTo>
                  <a:lnTo>
                    <a:pt x="195" y="25"/>
                  </a:lnTo>
                  <a:lnTo>
                    <a:pt x="195" y="26"/>
                  </a:lnTo>
                  <a:lnTo>
                    <a:pt x="195" y="27"/>
                  </a:lnTo>
                  <a:lnTo>
                    <a:pt x="195" y="28"/>
                  </a:lnTo>
                  <a:lnTo>
                    <a:pt x="194" y="28"/>
                  </a:lnTo>
                  <a:lnTo>
                    <a:pt x="194" y="27"/>
                  </a:lnTo>
                  <a:lnTo>
                    <a:pt x="193" y="26"/>
                  </a:lnTo>
                  <a:lnTo>
                    <a:pt x="194" y="26"/>
                  </a:lnTo>
                  <a:lnTo>
                    <a:pt x="194" y="25"/>
                  </a:lnTo>
                  <a:lnTo>
                    <a:pt x="194" y="23"/>
                  </a:lnTo>
                  <a:lnTo>
                    <a:pt x="193" y="23"/>
                  </a:lnTo>
                  <a:lnTo>
                    <a:pt x="193" y="25"/>
                  </a:lnTo>
                  <a:lnTo>
                    <a:pt x="192" y="25"/>
                  </a:lnTo>
                  <a:lnTo>
                    <a:pt x="192" y="23"/>
                  </a:lnTo>
                  <a:lnTo>
                    <a:pt x="193" y="23"/>
                  </a:lnTo>
                  <a:lnTo>
                    <a:pt x="192" y="23"/>
                  </a:lnTo>
                  <a:lnTo>
                    <a:pt x="193" y="23"/>
                  </a:lnTo>
                  <a:lnTo>
                    <a:pt x="193" y="22"/>
                  </a:lnTo>
                  <a:lnTo>
                    <a:pt x="192" y="22"/>
                  </a:lnTo>
                  <a:lnTo>
                    <a:pt x="192" y="21"/>
                  </a:lnTo>
                  <a:lnTo>
                    <a:pt x="193" y="21"/>
                  </a:lnTo>
                  <a:lnTo>
                    <a:pt x="192" y="21"/>
                  </a:lnTo>
                  <a:lnTo>
                    <a:pt x="193" y="20"/>
                  </a:lnTo>
                  <a:lnTo>
                    <a:pt x="193" y="21"/>
                  </a:lnTo>
                  <a:lnTo>
                    <a:pt x="193" y="20"/>
                  </a:lnTo>
                  <a:lnTo>
                    <a:pt x="194" y="20"/>
                  </a:lnTo>
                  <a:lnTo>
                    <a:pt x="194" y="18"/>
                  </a:lnTo>
                  <a:lnTo>
                    <a:pt x="193" y="17"/>
                  </a:lnTo>
                  <a:lnTo>
                    <a:pt x="193" y="18"/>
                  </a:lnTo>
                  <a:lnTo>
                    <a:pt x="193" y="17"/>
                  </a:lnTo>
                  <a:lnTo>
                    <a:pt x="193" y="16"/>
                  </a:lnTo>
                  <a:lnTo>
                    <a:pt x="192" y="15"/>
                  </a:lnTo>
                  <a:lnTo>
                    <a:pt x="192" y="16"/>
                  </a:lnTo>
                  <a:lnTo>
                    <a:pt x="192" y="17"/>
                  </a:lnTo>
                  <a:lnTo>
                    <a:pt x="191" y="17"/>
                  </a:lnTo>
                  <a:lnTo>
                    <a:pt x="189" y="17"/>
                  </a:lnTo>
                  <a:lnTo>
                    <a:pt x="189" y="18"/>
                  </a:lnTo>
                  <a:lnTo>
                    <a:pt x="189" y="20"/>
                  </a:lnTo>
                  <a:lnTo>
                    <a:pt x="188" y="20"/>
                  </a:lnTo>
                  <a:lnTo>
                    <a:pt x="187" y="20"/>
                  </a:lnTo>
                  <a:lnTo>
                    <a:pt x="187" y="18"/>
                  </a:lnTo>
                  <a:lnTo>
                    <a:pt x="188" y="18"/>
                  </a:lnTo>
                  <a:lnTo>
                    <a:pt x="187" y="18"/>
                  </a:lnTo>
                  <a:lnTo>
                    <a:pt x="188" y="17"/>
                  </a:lnTo>
                  <a:lnTo>
                    <a:pt x="188" y="16"/>
                  </a:lnTo>
                  <a:lnTo>
                    <a:pt x="188" y="15"/>
                  </a:lnTo>
                  <a:lnTo>
                    <a:pt x="188" y="14"/>
                  </a:lnTo>
                  <a:lnTo>
                    <a:pt x="189" y="12"/>
                  </a:lnTo>
                  <a:lnTo>
                    <a:pt x="189" y="11"/>
                  </a:lnTo>
                  <a:lnTo>
                    <a:pt x="189" y="10"/>
                  </a:lnTo>
                  <a:lnTo>
                    <a:pt x="188" y="10"/>
                  </a:lnTo>
                  <a:lnTo>
                    <a:pt x="188" y="9"/>
                  </a:lnTo>
                  <a:lnTo>
                    <a:pt x="188" y="8"/>
                  </a:lnTo>
                  <a:lnTo>
                    <a:pt x="187" y="8"/>
                  </a:lnTo>
                  <a:lnTo>
                    <a:pt x="187" y="9"/>
                  </a:lnTo>
                  <a:lnTo>
                    <a:pt x="187" y="10"/>
                  </a:lnTo>
                  <a:lnTo>
                    <a:pt x="186" y="10"/>
                  </a:lnTo>
                  <a:lnTo>
                    <a:pt x="186" y="11"/>
                  </a:lnTo>
                  <a:lnTo>
                    <a:pt x="186" y="10"/>
                  </a:lnTo>
                  <a:lnTo>
                    <a:pt x="185" y="10"/>
                  </a:lnTo>
                  <a:lnTo>
                    <a:pt x="183" y="10"/>
                  </a:lnTo>
                  <a:lnTo>
                    <a:pt x="183" y="11"/>
                  </a:lnTo>
                  <a:lnTo>
                    <a:pt x="183" y="10"/>
                  </a:lnTo>
                  <a:lnTo>
                    <a:pt x="183" y="9"/>
                  </a:lnTo>
                  <a:lnTo>
                    <a:pt x="182" y="9"/>
                  </a:lnTo>
                  <a:lnTo>
                    <a:pt x="181" y="9"/>
                  </a:lnTo>
                  <a:lnTo>
                    <a:pt x="181" y="10"/>
                  </a:lnTo>
                  <a:lnTo>
                    <a:pt x="181" y="11"/>
                  </a:lnTo>
                  <a:lnTo>
                    <a:pt x="182" y="11"/>
                  </a:lnTo>
                  <a:lnTo>
                    <a:pt x="182" y="12"/>
                  </a:lnTo>
                  <a:lnTo>
                    <a:pt x="181" y="12"/>
                  </a:lnTo>
                  <a:lnTo>
                    <a:pt x="181" y="14"/>
                  </a:lnTo>
                  <a:lnTo>
                    <a:pt x="182" y="14"/>
                  </a:lnTo>
                  <a:lnTo>
                    <a:pt x="182" y="15"/>
                  </a:lnTo>
                  <a:lnTo>
                    <a:pt x="182" y="16"/>
                  </a:lnTo>
                  <a:lnTo>
                    <a:pt x="182" y="17"/>
                  </a:lnTo>
                  <a:lnTo>
                    <a:pt x="181" y="17"/>
                  </a:lnTo>
                  <a:lnTo>
                    <a:pt x="181" y="18"/>
                  </a:lnTo>
                  <a:lnTo>
                    <a:pt x="180" y="18"/>
                  </a:lnTo>
                  <a:lnTo>
                    <a:pt x="180" y="17"/>
                  </a:lnTo>
                  <a:lnTo>
                    <a:pt x="179" y="17"/>
                  </a:lnTo>
                  <a:lnTo>
                    <a:pt x="179" y="16"/>
                  </a:lnTo>
                  <a:lnTo>
                    <a:pt x="179" y="15"/>
                  </a:lnTo>
                  <a:lnTo>
                    <a:pt x="177" y="15"/>
                  </a:lnTo>
                  <a:lnTo>
                    <a:pt x="177" y="14"/>
                  </a:lnTo>
                  <a:lnTo>
                    <a:pt x="177" y="12"/>
                  </a:lnTo>
                  <a:lnTo>
                    <a:pt x="177" y="11"/>
                  </a:lnTo>
                  <a:lnTo>
                    <a:pt x="176" y="11"/>
                  </a:lnTo>
                  <a:lnTo>
                    <a:pt x="176" y="12"/>
                  </a:lnTo>
                  <a:lnTo>
                    <a:pt x="176" y="14"/>
                  </a:lnTo>
                  <a:lnTo>
                    <a:pt x="175" y="14"/>
                  </a:lnTo>
                  <a:lnTo>
                    <a:pt x="174" y="14"/>
                  </a:lnTo>
                  <a:lnTo>
                    <a:pt x="174" y="15"/>
                  </a:lnTo>
                  <a:lnTo>
                    <a:pt x="174" y="16"/>
                  </a:lnTo>
                  <a:lnTo>
                    <a:pt x="174" y="15"/>
                  </a:lnTo>
                  <a:lnTo>
                    <a:pt x="173" y="15"/>
                  </a:lnTo>
                  <a:lnTo>
                    <a:pt x="173" y="16"/>
                  </a:lnTo>
                  <a:lnTo>
                    <a:pt x="171" y="16"/>
                  </a:lnTo>
                  <a:lnTo>
                    <a:pt x="171" y="15"/>
                  </a:lnTo>
                  <a:lnTo>
                    <a:pt x="173" y="15"/>
                  </a:lnTo>
                  <a:lnTo>
                    <a:pt x="171" y="14"/>
                  </a:lnTo>
                  <a:lnTo>
                    <a:pt x="171" y="12"/>
                  </a:lnTo>
                  <a:lnTo>
                    <a:pt x="170" y="12"/>
                  </a:lnTo>
                  <a:lnTo>
                    <a:pt x="171" y="12"/>
                  </a:lnTo>
                  <a:lnTo>
                    <a:pt x="171" y="11"/>
                  </a:lnTo>
                  <a:lnTo>
                    <a:pt x="170" y="11"/>
                  </a:lnTo>
                  <a:lnTo>
                    <a:pt x="171" y="10"/>
                  </a:lnTo>
                  <a:lnTo>
                    <a:pt x="173" y="10"/>
                  </a:lnTo>
                  <a:lnTo>
                    <a:pt x="173" y="9"/>
                  </a:lnTo>
                  <a:lnTo>
                    <a:pt x="173" y="8"/>
                  </a:lnTo>
                  <a:lnTo>
                    <a:pt x="174" y="6"/>
                  </a:lnTo>
                  <a:lnTo>
                    <a:pt x="173" y="5"/>
                  </a:lnTo>
                  <a:lnTo>
                    <a:pt x="173" y="6"/>
                  </a:lnTo>
                  <a:lnTo>
                    <a:pt x="171" y="5"/>
                  </a:lnTo>
                  <a:lnTo>
                    <a:pt x="171" y="4"/>
                  </a:lnTo>
                  <a:lnTo>
                    <a:pt x="170" y="4"/>
                  </a:lnTo>
                  <a:lnTo>
                    <a:pt x="170" y="5"/>
                  </a:lnTo>
                  <a:lnTo>
                    <a:pt x="169" y="5"/>
                  </a:lnTo>
                  <a:lnTo>
                    <a:pt x="169" y="6"/>
                  </a:lnTo>
                  <a:lnTo>
                    <a:pt x="169" y="8"/>
                  </a:lnTo>
                  <a:lnTo>
                    <a:pt x="170" y="8"/>
                  </a:lnTo>
                  <a:lnTo>
                    <a:pt x="170" y="9"/>
                  </a:lnTo>
                  <a:lnTo>
                    <a:pt x="169" y="9"/>
                  </a:lnTo>
                  <a:lnTo>
                    <a:pt x="169" y="10"/>
                  </a:lnTo>
                  <a:lnTo>
                    <a:pt x="169" y="9"/>
                  </a:lnTo>
                  <a:lnTo>
                    <a:pt x="168" y="9"/>
                  </a:lnTo>
                  <a:lnTo>
                    <a:pt x="167" y="9"/>
                  </a:lnTo>
                  <a:lnTo>
                    <a:pt x="167" y="10"/>
                  </a:lnTo>
                  <a:lnTo>
                    <a:pt x="165" y="11"/>
                  </a:lnTo>
                  <a:lnTo>
                    <a:pt x="165" y="10"/>
                  </a:lnTo>
                  <a:lnTo>
                    <a:pt x="165" y="9"/>
                  </a:lnTo>
                  <a:lnTo>
                    <a:pt x="164" y="9"/>
                  </a:lnTo>
                  <a:lnTo>
                    <a:pt x="165" y="8"/>
                  </a:lnTo>
                  <a:lnTo>
                    <a:pt x="165" y="6"/>
                  </a:lnTo>
                  <a:lnTo>
                    <a:pt x="164" y="6"/>
                  </a:lnTo>
                  <a:lnTo>
                    <a:pt x="163" y="6"/>
                  </a:lnTo>
                  <a:lnTo>
                    <a:pt x="163" y="5"/>
                  </a:lnTo>
                  <a:lnTo>
                    <a:pt x="162" y="5"/>
                  </a:lnTo>
                  <a:lnTo>
                    <a:pt x="162" y="4"/>
                  </a:lnTo>
                  <a:lnTo>
                    <a:pt x="162" y="3"/>
                  </a:lnTo>
                  <a:lnTo>
                    <a:pt x="161" y="3"/>
                  </a:lnTo>
                  <a:lnTo>
                    <a:pt x="161" y="4"/>
                  </a:lnTo>
                  <a:lnTo>
                    <a:pt x="159" y="5"/>
                  </a:lnTo>
                  <a:lnTo>
                    <a:pt x="159" y="4"/>
                  </a:lnTo>
                  <a:lnTo>
                    <a:pt x="159" y="3"/>
                  </a:lnTo>
                  <a:lnTo>
                    <a:pt x="159" y="2"/>
                  </a:lnTo>
                  <a:lnTo>
                    <a:pt x="158" y="2"/>
                  </a:lnTo>
                  <a:lnTo>
                    <a:pt x="158" y="0"/>
                  </a:lnTo>
                  <a:lnTo>
                    <a:pt x="157" y="0"/>
                  </a:lnTo>
                  <a:lnTo>
                    <a:pt x="157" y="2"/>
                  </a:lnTo>
                  <a:lnTo>
                    <a:pt x="157" y="3"/>
                  </a:lnTo>
                  <a:lnTo>
                    <a:pt x="157" y="4"/>
                  </a:lnTo>
                  <a:lnTo>
                    <a:pt x="156" y="4"/>
                  </a:lnTo>
                  <a:lnTo>
                    <a:pt x="157" y="5"/>
                  </a:lnTo>
                  <a:lnTo>
                    <a:pt x="157" y="6"/>
                  </a:lnTo>
                  <a:lnTo>
                    <a:pt x="156" y="6"/>
                  </a:lnTo>
                  <a:lnTo>
                    <a:pt x="156" y="8"/>
                  </a:lnTo>
                  <a:lnTo>
                    <a:pt x="156" y="9"/>
                  </a:lnTo>
                  <a:lnTo>
                    <a:pt x="157" y="9"/>
                  </a:lnTo>
                  <a:lnTo>
                    <a:pt x="157" y="10"/>
                  </a:lnTo>
                  <a:lnTo>
                    <a:pt x="157" y="11"/>
                  </a:lnTo>
                  <a:lnTo>
                    <a:pt x="157" y="12"/>
                  </a:lnTo>
                  <a:lnTo>
                    <a:pt x="157" y="14"/>
                  </a:lnTo>
                  <a:lnTo>
                    <a:pt x="157" y="15"/>
                  </a:lnTo>
                  <a:lnTo>
                    <a:pt x="157" y="16"/>
                  </a:lnTo>
                  <a:lnTo>
                    <a:pt x="157" y="15"/>
                  </a:lnTo>
                  <a:lnTo>
                    <a:pt x="156" y="15"/>
                  </a:lnTo>
                  <a:lnTo>
                    <a:pt x="155" y="15"/>
                  </a:lnTo>
                  <a:lnTo>
                    <a:pt x="153" y="15"/>
                  </a:lnTo>
                  <a:lnTo>
                    <a:pt x="153" y="14"/>
                  </a:lnTo>
                  <a:lnTo>
                    <a:pt x="152" y="14"/>
                  </a:lnTo>
                  <a:lnTo>
                    <a:pt x="152" y="15"/>
                  </a:lnTo>
                  <a:lnTo>
                    <a:pt x="153" y="16"/>
                  </a:lnTo>
                  <a:lnTo>
                    <a:pt x="153" y="17"/>
                  </a:lnTo>
                  <a:lnTo>
                    <a:pt x="153" y="18"/>
                  </a:lnTo>
                  <a:lnTo>
                    <a:pt x="153" y="20"/>
                  </a:lnTo>
                  <a:lnTo>
                    <a:pt x="152" y="20"/>
                  </a:lnTo>
                  <a:lnTo>
                    <a:pt x="152" y="18"/>
                  </a:lnTo>
                  <a:lnTo>
                    <a:pt x="152" y="17"/>
                  </a:lnTo>
                  <a:lnTo>
                    <a:pt x="152" y="16"/>
                  </a:lnTo>
                  <a:lnTo>
                    <a:pt x="151" y="16"/>
                  </a:lnTo>
                  <a:lnTo>
                    <a:pt x="150" y="17"/>
                  </a:lnTo>
                  <a:lnTo>
                    <a:pt x="149" y="17"/>
                  </a:lnTo>
                  <a:lnTo>
                    <a:pt x="150" y="18"/>
                  </a:lnTo>
                  <a:lnTo>
                    <a:pt x="149" y="18"/>
                  </a:lnTo>
                  <a:lnTo>
                    <a:pt x="149" y="17"/>
                  </a:lnTo>
                  <a:lnTo>
                    <a:pt x="147" y="17"/>
                  </a:lnTo>
                  <a:lnTo>
                    <a:pt x="147" y="16"/>
                  </a:lnTo>
                  <a:lnTo>
                    <a:pt x="149" y="16"/>
                  </a:lnTo>
                  <a:lnTo>
                    <a:pt x="149" y="15"/>
                  </a:lnTo>
                  <a:lnTo>
                    <a:pt x="149" y="14"/>
                  </a:lnTo>
                  <a:lnTo>
                    <a:pt x="147" y="14"/>
                  </a:lnTo>
                  <a:lnTo>
                    <a:pt x="147" y="15"/>
                  </a:lnTo>
                  <a:lnTo>
                    <a:pt x="146" y="15"/>
                  </a:lnTo>
                  <a:lnTo>
                    <a:pt x="145" y="15"/>
                  </a:lnTo>
                  <a:lnTo>
                    <a:pt x="146" y="15"/>
                  </a:lnTo>
                  <a:lnTo>
                    <a:pt x="145" y="15"/>
                  </a:lnTo>
                  <a:lnTo>
                    <a:pt x="145" y="14"/>
                  </a:lnTo>
                  <a:lnTo>
                    <a:pt x="145" y="12"/>
                  </a:lnTo>
                  <a:lnTo>
                    <a:pt x="144" y="12"/>
                  </a:lnTo>
                  <a:lnTo>
                    <a:pt x="144" y="11"/>
                  </a:lnTo>
                  <a:lnTo>
                    <a:pt x="142" y="11"/>
                  </a:lnTo>
                  <a:lnTo>
                    <a:pt x="144" y="11"/>
                  </a:lnTo>
                  <a:lnTo>
                    <a:pt x="144" y="10"/>
                  </a:lnTo>
                  <a:lnTo>
                    <a:pt x="145" y="10"/>
                  </a:lnTo>
                  <a:lnTo>
                    <a:pt x="145" y="9"/>
                  </a:lnTo>
                  <a:lnTo>
                    <a:pt x="144" y="9"/>
                  </a:lnTo>
                  <a:lnTo>
                    <a:pt x="142" y="9"/>
                  </a:lnTo>
                  <a:lnTo>
                    <a:pt x="142" y="8"/>
                  </a:lnTo>
                  <a:lnTo>
                    <a:pt x="142" y="6"/>
                  </a:lnTo>
                  <a:lnTo>
                    <a:pt x="142" y="5"/>
                  </a:lnTo>
                  <a:lnTo>
                    <a:pt x="141" y="5"/>
                  </a:lnTo>
                  <a:lnTo>
                    <a:pt x="141" y="4"/>
                  </a:lnTo>
                  <a:lnTo>
                    <a:pt x="140" y="3"/>
                  </a:lnTo>
                  <a:lnTo>
                    <a:pt x="140" y="4"/>
                  </a:lnTo>
                  <a:lnTo>
                    <a:pt x="139" y="4"/>
                  </a:lnTo>
                  <a:lnTo>
                    <a:pt x="139" y="5"/>
                  </a:lnTo>
                  <a:lnTo>
                    <a:pt x="139" y="6"/>
                  </a:lnTo>
                  <a:lnTo>
                    <a:pt x="139" y="8"/>
                  </a:lnTo>
                  <a:lnTo>
                    <a:pt x="139" y="9"/>
                  </a:lnTo>
                  <a:lnTo>
                    <a:pt x="138" y="9"/>
                  </a:lnTo>
                  <a:lnTo>
                    <a:pt x="138" y="8"/>
                  </a:lnTo>
                  <a:lnTo>
                    <a:pt x="138" y="9"/>
                  </a:lnTo>
                  <a:lnTo>
                    <a:pt x="138" y="10"/>
                  </a:lnTo>
                  <a:lnTo>
                    <a:pt x="139" y="10"/>
                  </a:lnTo>
                  <a:lnTo>
                    <a:pt x="140" y="11"/>
                  </a:lnTo>
                  <a:lnTo>
                    <a:pt x="140" y="12"/>
                  </a:lnTo>
                  <a:lnTo>
                    <a:pt x="141" y="12"/>
                  </a:lnTo>
                  <a:lnTo>
                    <a:pt x="141" y="14"/>
                  </a:lnTo>
                  <a:lnTo>
                    <a:pt x="141" y="15"/>
                  </a:lnTo>
                  <a:lnTo>
                    <a:pt x="141" y="16"/>
                  </a:lnTo>
                  <a:lnTo>
                    <a:pt x="140" y="16"/>
                  </a:lnTo>
                  <a:lnTo>
                    <a:pt x="140" y="15"/>
                  </a:lnTo>
                  <a:lnTo>
                    <a:pt x="139" y="15"/>
                  </a:lnTo>
                  <a:lnTo>
                    <a:pt x="138" y="16"/>
                  </a:lnTo>
                  <a:lnTo>
                    <a:pt x="138" y="15"/>
                  </a:lnTo>
                  <a:lnTo>
                    <a:pt x="136" y="15"/>
                  </a:lnTo>
                  <a:lnTo>
                    <a:pt x="136" y="14"/>
                  </a:lnTo>
                  <a:lnTo>
                    <a:pt x="136" y="12"/>
                  </a:lnTo>
                  <a:lnTo>
                    <a:pt x="136" y="11"/>
                  </a:lnTo>
                  <a:lnTo>
                    <a:pt x="136" y="10"/>
                  </a:lnTo>
                  <a:lnTo>
                    <a:pt x="135" y="10"/>
                  </a:lnTo>
                  <a:lnTo>
                    <a:pt x="135" y="9"/>
                  </a:lnTo>
                  <a:lnTo>
                    <a:pt x="135" y="8"/>
                  </a:lnTo>
                  <a:lnTo>
                    <a:pt x="134" y="8"/>
                  </a:lnTo>
                  <a:lnTo>
                    <a:pt x="134" y="9"/>
                  </a:lnTo>
                  <a:lnTo>
                    <a:pt x="134" y="10"/>
                  </a:lnTo>
                  <a:lnTo>
                    <a:pt x="133" y="10"/>
                  </a:lnTo>
                  <a:lnTo>
                    <a:pt x="133" y="9"/>
                  </a:lnTo>
                  <a:lnTo>
                    <a:pt x="133" y="8"/>
                  </a:lnTo>
                  <a:lnTo>
                    <a:pt x="132" y="6"/>
                  </a:lnTo>
                  <a:lnTo>
                    <a:pt x="132" y="8"/>
                  </a:lnTo>
                  <a:lnTo>
                    <a:pt x="132" y="6"/>
                  </a:lnTo>
                  <a:lnTo>
                    <a:pt x="130" y="6"/>
                  </a:lnTo>
                  <a:lnTo>
                    <a:pt x="130" y="5"/>
                  </a:lnTo>
                  <a:lnTo>
                    <a:pt x="129" y="5"/>
                  </a:lnTo>
                  <a:lnTo>
                    <a:pt x="129" y="6"/>
                  </a:lnTo>
                  <a:lnTo>
                    <a:pt x="129" y="8"/>
                  </a:lnTo>
                  <a:lnTo>
                    <a:pt x="129" y="9"/>
                  </a:lnTo>
                  <a:lnTo>
                    <a:pt x="129" y="10"/>
                  </a:lnTo>
                  <a:lnTo>
                    <a:pt x="130" y="11"/>
                  </a:lnTo>
                  <a:lnTo>
                    <a:pt x="130" y="12"/>
                  </a:lnTo>
                  <a:lnTo>
                    <a:pt x="132" y="12"/>
                  </a:lnTo>
                  <a:lnTo>
                    <a:pt x="133" y="12"/>
                  </a:lnTo>
                  <a:lnTo>
                    <a:pt x="132" y="14"/>
                  </a:lnTo>
                  <a:lnTo>
                    <a:pt x="130" y="14"/>
                  </a:lnTo>
                  <a:lnTo>
                    <a:pt x="129" y="14"/>
                  </a:lnTo>
                  <a:lnTo>
                    <a:pt x="129" y="15"/>
                  </a:lnTo>
                  <a:lnTo>
                    <a:pt x="129" y="16"/>
                  </a:lnTo>
                  <a:lnTo>
                    <a:pt x="128" y="16"/>
                  </a:lnTo>
                  <a:lnTo>
                    <a:pt x="128" y="15"/>
                  </a:lnTo>
                  <a:lnTo>
                    <a:pt x="128" y="14"/>
                  </a:lnTo>
                  <a:lnTo>
                    <a:pt x="127" y="12"/>
                  </a:lnTo>
                  <a:lnTo>
                    <a:pt x="127" y="14"/>
                  </a:lnTo>
                  <a:lnTo>
                    <a:pt x="126" y="14"/>
                  </a:lnTo>
                  <a:lnTo>
                    <a:pt x="126" y="12"/>
                  </a:lnTo>
                  <a:lnTo>
                    <a:pt x="124" y="12"/>
                  </a:lnTo>
                  <a:lnTo>
                    <a:pt x="124" y="11"/>
                  </a:lnTo>
                  <a:lnTo>
                    <a:pt x="123" y="12"/>
                  </a:lnTo>
                  <a:lnTo>
                    <a:pt x="123" y="14"/>
                  </a:lnTo>
                  <a:lnTo>
                    <a:pt x="124" y="15"/>
                  </a:lnTo>
                  <a:lnTo>
                    <a:pt x="124" y="16"/>
                  </a:lnTo>
                  <a:lnTo>
                    <a:pt x="124" y="17"/>
                  </a:lnTo>
                  <a:lnTo>
                    <a:pt x="126" y="17"/>
                  </a:lnTo>
                  <a:lnTo>
                    <a:pt x="126" y="21"/>
                  </a:lnTo>
                  <a:lnTo>
                    <a:pt x="126" y="22"/>
                  </a:lnTo>
                  <a:lnTo>
                    <a:pt x="124" y="22"/>
                  </a:lnTo>
                  <a:lnTo>
                    <a:pt x="124" y="23"/>
                  </a:lnTo>
                  <a:lnTo>
                    <a:pt x="126" y="23"/>
                  </a:lnTo>
                  <a:lnTo>
                    <a:pt x="126" y="25"/>
                  </a:lnTo>
                  <a:lnTo>
                    <a:pt x="126" y="26"/>
                  </a:lnTo>
                  <a:lnTo>
                    <a:pt x="126" y="25"/>
                  </a:lnTo>
                  <a:lnTo>
                    <a:pt x="126" y="26"/>
                  </a:lnTo>
                  <a:lnTo>
                    <a:pt x="126" y="27"/>
                  </a:lnTo>
                  <a:lnTo>
                    <a:pt x="124" y="27"/>
                  </a:lnTo>
                  <a:lnTo>
                    <a:pt x="123" y="27"/>
                  </a:lnTo>
                  <a:lnTo>
                    <a:pt x="123" y="26"/>
                  </a:lnTo>
                  <a:lnTo>
                    <a:pt x="123" y="25"/>
                  </a:lnTo>
                  <a:lnTo>
                    <a:pt x="122" y="25"/>
                  </a:lnTo>
                  <a:lnTo>
                    <a:pt x="122" y="23"/>
                  </a:lnTo>
                  <a:lnTo>
                    <a:pt x="122" y="22"/>
                  </a:lnTo>
                  <a:lnTo>
                    <a:pt x="122" y="21"/>
                  </a:lnTo>
                  <a:lnTo>
                    <a:pt x="122" y="20"/>
                  </a:lnTo>
                  <a:lnTo>
                    <a:pt x="122" y="18"/>
                  </a:lnTo>
                  <a:lnTo>
                    <a:pt x="122" y="20"/>
                  </a:lnTo>
                  <a:lnTo>
                    <a:pt x="121" y="18"/>
                  </a:lnTo>
                  <a:lnTo>
                    <a:pt x="121" y="17"/>
                  </a:lnTo>
                  <a:lnTo>
                    <a:pt x="120" y="17"/>
                  </a:lnTo>
                  <a:lnTo>
                    <a:pt x="118" y="17"/>
                  </a:lnTo>
                  <a:lnTo>
                    <a:pt x="118" y="18"/>
                  </a:lnTo>
                  <a:lnTo>
                    <a:pt x="120" y="20"/>
                  </a:lnTo>
                  <a:lnTo>
                    <a:pt x="120" y="21"/>
                  </a:lnTo>
                  <a:lnTo>
                    <a:pt x="118" y="21"/>
                  </a:lnTo>
                  <a:lnTo>
                    <a:pt x="118" y="22"/>
                  </a:lnTo>
                  <a:lnTo>
                    <a:pt x="118" y="23"/>
                  </a:lnTo>
                  <a:lnTo>
                    <a:pt x="120" y="23"/>
                  </a:lnTo>
                  <a:lnTo>
                    <a:pt x="120" y="25"/>
                  </a:lnTo>
                  <a:lnTo>
                    <a:pt x="121" y="25"/>
                  </a:lnTo>
                  <a:lnTo>
                    <a:pt x="121" y="26"/>
                  </a:lnTo>
                  <a:lnTo>
                    <a:pt x="120" y="26"/>
                  </a:lnTo>
                  <a:lnTo>
                    <a:pt x="120" y="27"/>
                  </a:lnTo>
                  <a:lnTo>
                    <a:pt x="120" y="26"/>
                  </a:lnTo>
                  <a:lnTo>
                    <a:pt x="118" y="26"/>
                  </a:lnTo>
                  <a:lnTo>
                    <a:pt x="118" y="27"/>
                  </a:lnTo>
                  <a:lnTo>
                    <a:pt x="118" y="26"/>
                  </a:lnTo>
                  <a:lnTo>
                    <a:pt x="118" y="25"/>
                  </a:lnTo>
                  <a:lnTo>
                    <a:pt x="118" y="23"/>
                  </a:lnTo>
                  <a:lnTo>
                    <a:pt x="117" y="23"/>
                  </a:lnTo>
                  <a:lnTo>
                    <a:pt x="117" y="22"/>
                  </a:lnTo>
                  <a:lnTo>
                    <a:pt x="117" y="23"/>
                  </a:lnTo>
                  <a:lnTo>
                    <a:pt x="116" y="23"/>
                  </a:lnTo>
                  <a:lnTo>
                    <a:pt x="115" y="23"/>
                  </a:lnTo>
                  <a:lnTo>
                    <a:pt x="115" y="22"/>
                  </a:lnTo>
                  <a:lnTo>
                    <a:pt x="116" y="22"/>
                  </a:lnTo>
                  <a:lnTo>
                    <a:pt x="116" y="21"/>
                  </a:lnTo>
                  <a:lnTo>
                    <a:pt x="117" y="21"/>
                  </a:lnTo>
                  <a:lnTo>
                    <a:pt x="117" y="20"/>
                  </a:lnTo>
                  <a:lnTo>
                    <a:pt x="116" y="20"/>
                  </a:lnTo>
                  <a:lnTo>
                    <a:pt x="116" y="18"/>
                  </a:lnTo>
                  <a:lnTo>
                    <a:pt x="116" y="17"/>
                  </a:lnTo>
                  <a:lnTo>
                    <a:pt x="115" y="17"/>
                  </a:lnTo>
                  <a:lnTo>
                    <a:pt x="115" y="18"/>
                  </a:lnTo>
                  <a:lnTo>
                    <a:pt x="114" y="18"/>
                  </a:lnTo>
                  <a:lnTo>
                    <a:pt x="114" y="17"/>
                  </a:lnTo>
                  <a:lnTo>
                    <a:pt x="114" y="16"/>
                  </a:lnTo>
                  <a:lnTo>
                    <a:pt x="114" y="15"/>
                  </a:lnTo>
                  <a:lnTo>
                    <a:pt x="112" y="15"/>
                  </a:lnTo>
                  <a:lnTo>
                    <a:pt x="112" y="14"/>
                  </a:lnTo>
                  <a:lnTo>
                    <a:pt x="111" y="14"/>
                  </a:lnTo>
                  <a:lnTo>
                    <a:pt x="111" y="12"/>
                  </a:lnTo>
                  <a:lnTo>
                    <a:pt x="111" y="14"/>
                  </a:lnTo>
                  <a:lnTo>
                    <a:pt x="110" y="14"/>
                  </a:lnTo>
                  <a:lnTo>
                    <a:pt x="110" y="15"/>
                  </a:lnTo>
                  <a:lnTo>
                    <a:pt x="110" y="16"/>
                  </a:lnTo>
                  <a:lnTo>
                    <a:pt x="109" y="17"/>
                  </a:lnTo>
                  <a:lnTo>
                    <a:pt x="109" y="18"/>
                  </a:lnTo>
                  <a:lnTo>
                    <a:pt x="110" y="18"/>
                  </a:lnTo>
                  <a:lnTo>
                    <a:pt x="110" y="20"/>
                  </a:lnTo>
                  <a:lnTo>
                    <a:pt x="109" y="20"/>
                  </a:lnTo>
                  <a:lnTo>
                    <a:pt x="109" y="21"/>
                  </a:lnTo>
                  <a:lnTo>
                    <a:pt x="109" y="22"/>
                  </a:lnTo>
                  <a:lnTo>
                    <a:pt x="109" y="23"/>
                  </a:lnTo>
                  <a:lnTo>
                    <a:pt x="110" y="23"/>
                  </a:lnTo>
                  <a:lnTo>
                    <a:pt x="110" y="25"/>
                  </a:lnTo>
                  <a:lnTo>
                    <a:pt x="110" y="23"/>
                  </a:lnTo>
                  <a:lnTo>
                    <a:pt x="110" y="25"/>
                  </a:lnTo>
                  <a:lnTo>
                    <a:pt x="110" y="26"/>
                  </a:lnTo>
                  <a:lnTo>
                    <a:pt x="109" y="25"/>
                  </a:lnTo>
                  <a:lnTo>
                    <a:pt x="109" y="23"/>
                  </a:lnTo>
                  <a:lnTo>
                    <a:pt x="108" y="23"/>
                  </a:lnTo>
                  <a:lnTo>
                    <a:pt x="108" y="22"/>
                  </a:lnTo>
                  <a:lnTo>
                    <a:pt x="106" y="22"/>
                  </a:lnTo>
                  <a:lnTo>
                    <a:pt x="106" y="21"/>
                  </a:lnTo>
                  <a:lnTo>
                    <a:pt x="106" y="20"/>
                  </a:lnTo>
                  <a:lnTo>
                    <a:pt x="106" y="18"/>
                  </a:lnTo>
                  <a:lnTo>
                    <a:pt x="106" y="17"/>
                  </a:lnTo>
                  <a:lnTo>
                    <a:pt x="106" y="16"/>
                  </a:lnTo>
                  <a:lnTo>
                    <a:pt x="105" y="16"/>
                  </a:lnTo>
                  <a:lnTo>
                    <a:pt x="104" y="16"/>
                  </a:lnTo>
                  <a:lnTo>
                    <a:pt x="103" y="16"/>
                  </a:lnTo>
                  <a:lnTo>
                    <a:pt x="103" y="15"/>
                  </a:lnTo>
                  <a:lnTo>
                    <a:pt x="102" y="15"/>
                  </a:lnTo>
                  <a:lnTo>
                    <a:pt x="100" y="14"/>
                  </a:lnTo>
                  <a:lnTo>
                    <a:pt x="100" y="12"/>
                  </a:lnTo>
                  <a:lnTo>
                    <a:pt x="99" y="12"/>
                  </a:lnTo>
                  <a:lnTo>
                    <a:pt x="98" y="12"/>
                  </a:lnTo>
                  <a:lnTo>
                    <a:pt x="98" y="14"/>
                  </a:lnTo>
                  <a:lnTo>
                    <a:pt x="98" y="15"/>
                  </a:lnTo>
                  <a:lnTo>
                    <a:pt x="98" y="16"/>
                  </a:lnTo>
                  <a:lnTo>
                    <a:pt x="97" y="16"/>
                  </a:lnTo>
                  <a:lnTo>
                    <a:pt x="97" y="17"/>
                  </a:lnTo>
                  <a:lnTo>
                    <a:pt x="97" y="18"/>
                  </a:lnTo>
                  <a:lnTo>
                    <a:pt x="98" y="18"/>
                  </a:lnTo>
                  <a:lnTo>
                    <a:pt x="97" y="18"/>
                  </a:lnTo>
                  <a:lnTo>
                    <a:pt x="96" y="18"/>
                  </a:lnTo>
                  <a:lnTo>
                    <a:pt x="97" y="20"/>
                  </a:lnTo>
                  <a:lnTo>
                    <a:pt x="96" y="20"/>
                  </a:lnTo>
                  <a:lnTo>
                    <a:pt x="96" y="18"/>
                  </a:lnTo>
                  <a:lnTo>
                    <a:pt x="94" y="18"/>
                  </a:lnTo>
                  <a:lnTo>
                    <a:pt x="93" y="17"/>
                  </a:lnTo>
                  <a:lnTo>
                    <a:pt x="93" y="18"/>
                  </a:lnTo>
                  <a:lnTo>
                    <a:pt x="92" y="18"/>
                  </a:lnTo>
                  <a:lnTo>
                    <a:pt x="92" y="20"/>
                  </a:lnTo>
                  <a:lnTo>
                    <a:pt x="91" y="20"/>
                  </a:lnTo>
                  <a:lnTo>
                    <a:pt x="92" y="20"/>
                  </a:lnTo>
                  <a:lnTo>
                    <a:pt x="92" y="21"/>
                  </a:lnTo>
                  <a:lnTo>
                    <a:pt x="92" y="22"/>
                  </a:lnTo>
                  <a:lnTo>
                    <a:pt x="93" y="23"/>
                  </a:lnTo>
                  <a:lnTo>
                    <a:pt x="93" y="25"/>
                  </a:lnTo>
                  <a:lnTo>
                    <a:pt x="94" y="25"/>
                  </a:lnTo>
                  <a:lnTo>
                    <a:pt x="94" y="26"/>
                  </a:lnTo>
                  <a:lnTo>
                    <a:pt x="96" y="26"/>
                  </a:lnTo>
                  <a:lnTo>
                    <a:pt x="97" y="26"/>
                  </a:lnTo>
                  <a:lnTo>
                    <a:pt x="98" y="26"/>
                  </a:lnTo>
                  <a:lnTo>
                    <a:pt x="98" y="27"/>
                  </a:lnTo>
                  <a:lnTo>
                    <a:pt x="99" y="27"/>
                  </a:lnTo>
                  <a:lnTo>
                    <a:pt x="99" y="28"/>
                  </a:lnTo>
                  <a:lnTo>
                    <a:pt x="99" y="29"/>
                  </a:lnTo>
                  <a:lnTo>
                    <a:pt x="98" y="29"/>
                  </a:lnTo>
                  <a:lnTo>
                    <a:pt x="97" y="29"/>
                  </a:lnTo>
                  <a:lnTo>
                    <a:pt x="96" y="29"/>
                  </a:lnTo>
                  <a:lnTo>
                    <a:pt x="94" y="29"/>
                  </a:lnTo>
                  <a:lnTo>
                    <a:pt x="94" y="28"/>
                  </a:lnTo>
                  <a:lnTo>
                    <a:pt x="93" y="28"/>
                  </a:lnTo>
                  <a:lnTo>
                    <a:pt x="93" y="27"/>
                  </a:lnTo>
                  <a:lnTo>
                    <a:pt x="93" y="26"/>
                  </a:lnTo>
                  <a:lnTo>
                    <a:pt x="92" y="26"/>
                  </a:lnTo>
                  <a:lnTo>
                    <a:pt x="91" y="26"/>
                  </a:lnTo>
                  <a:lnTo>
                    <a:pt x="91" y="25"/>
                  </a:lnTo>
                  <a:lnTo>
                    <a:pt x="90" y="25"/>
                  </a:lnTo>
                  <a:lnTo>
                    <a:pt x="88" y="25"/>
                  </a:lnTo>
                  <a:lnTo>
                    <a:pt x="87" y="25"/>
                  </a:lnTo>
                  <a:lnTo>
                    <a:pt x="87" y="23"/>
                  </a:lnTo>
                  <a:lnTo>
                    <a:pt x="86" y="23"/>
                  </a:lnTo>
                  <a:lnTo>
                    <a:pt x="86" y="25"/>
                  </a:lnTo>
                  <a:lnTo>
                    <a:pt x="86" y="26"/>
                  </a:lnTo>
                  <a:lnTo>
                    <a:pt x="85" y="26"/>
                  </a:lnTo>
                  <a:lnTo>
                    <a:pt x="85" y="28"/>
                  </a:lnTo>
                  <a:lnTo>
                    <a:pt x="83" y="28"/>
                  </a:lnTo>
                  <a:lnTo>
                    <a:pt x="83" y="27"/>
                  </a:lnTo>
                  <a:lnTo>
                    <a:pt x="82" y="27"/>
                  </a:lnTo>
                  <a:lnTo>
                    <a:pt x="82" y="26"/>
                  </a:lnTo>
                  <a:lnTo>
                    <a:pt x="81" y="26"/>
                  </a:lnTo>
                  <a:lnTo>
                    <a:pt x="81" y="27"/>
                  </a:lnTo>
                  <a:lnTo>
                    <a:pt x="81" y="28"/>
                  </a:lnTo>
                  <a:lnTo>
                    <a:pt x="82" y="29"/>
                  </a:lnTo>
                  <a:lnTo>
                    <a:pt x="81" y="31"/>
                  </a:lnTo>
                  <a:lnTo>
                    <a:pt x="81" y="32"/>
                  </a:lnTo>
                  <a:lnTo>
                    <a:pt x="81" y="33"/>
                  </a:lnTo>
                  <a:lnTo>
                    <a:pt x="82" y="33"/>
                  </a:lnTo>
                  <a:lnTo>
                    <a:pt x="82" y="34"/>
                  </a:lnTo>
                  <a:lnTo>
                    <a:pt x="83" y="34"/>
                  </a:lnTo>
                  <a:lnTo>
                    <a:pt x="82" y="34"/>
                  </a:lnTo>
                  <a:lnTo>
                    <a:pt x="82" y="35"/>
                  </a:lnTo>
                  <a:lnTo>
                    <a:pt x="82" y="37"/>
                  </a:lnTo>
                  <a:lnTo>
                    <a:pt x="83" y="37"/>
                  </a:lnTo>
                  <a:lnTo>
                    <a:pt x="83" y="38"/>
                  </a:lnTo>
                  <a:lnTo>
                    <a:pt x="85" y="38"/>
                  </a:lnTo>
                  <a:lnTo>
                    <a:pt x="86" y="38"/>
                  </a:lnTo>
                  <a:lnTo>
                    <a:pt x="87" y="38"/>
                  </a:lnTo>
                  <a:lnTo>
                    <a:pt x="87" y="39"/>
                  </a:lnTo>
                  <a:lnTo>
                    <a:pt x="86" y="39"/>
                  </a:lnTo>
                  <a:lnTo>
                    <a:pt x="85" y="39"/>
                  </a:lnTo>
                  <a:lnTo>
                    <a:pt x="83" y="39"/>
                  </a:lnTo>
                  <a:lnTo>
                    <a:pt x="83" y="40"/>
                  </a:lnTo>
                  <a:lnTo>
                    <a:pt x="85" y="41"/>
                  </a:lnTo>
                  <a:lnTo>
                    <a:pt x="86" y="43"/>
                  </a:lnTo>
                  <a:lnTo>
                    <a:pt x="87" y="43"/>
                  </a:lnTo>
                  <a:lnTo>
                    <a:pt x="90" y="43"/>
                  </a:lnTo>
                  <a:lnTo>
                    <a:pt x="91" y="43"/>
                  </a:lnTo>
                  <a:lnTo>
                    <a:pt x="91" y="41"/>
                  </a:lnTo>
                  <a:lnTo>
                    <a:pt x="91" y="43"/>
                  </a:lnTo>
                  <a:lnTo>
                    <a:pt x="92" y="43"/>
                  </a:lnTo>
                  <a:lnTo>
                    <a:pt x="93" y="44"/>
                  </a:lnTo>
                  <a:lnTo>
                    <a:pt x="93" y="43"/>
                  </a:lnTo>
                  <a:lnTo>
                    <a:pt x="94" y="43"/>
                  </a:lnTo>
                  <a:lnTo>
                    <a:pt x="94" y="41"/>
                  </a:lnTo>
                  <a:lnTo>
                    <a:pt x="93" y="40"/>
                  </a:lnTo>
                  <a:lnTo>
                    <a:pt x="94" y="40"/>
                  </a:lnTo>
                  <a:lnTo>
                    <a:pt x="94" y="41"/>
                  </a:lnTo>
                  <a:lnTo>
                    <a:pt x="96" y="41"/>
                  </a:lnTo>
                  <a:lnTo>
                    <a:pt x="96" y="43"/>
                  </a:lnTo>
                  <a:lnTo>
                    <a:pt x="97" y="43"/>
                  </a:lnTo>
                  <a:lnTo>
                    <a:pt x="97" y="44"/>
                  </a:lnTo>
                  <a:lnTo>
                    <a:pt x="98" y="44"/>
                  </a:lnTo>
                  <a:lnTo>
                    <a:pt x="97" y="44"/>
                  </a:lnTo>
                  <a:lnTo>
                    <a:pt x="97" y="45"/>
                  </a:lnTo>
                  <a:lnTo>
                    <a:pt x="96" y="45"/>
                  </a:lnTo>
                  <a:lnTo>
                    <a:pt x="96" y="46"/>
                  </a:lnTo>
                  <a:lnTo>
                    <a:pt x="96" y="45"/>
                  </a:lnTo>
                  <a:lnTo>
                    <a:pt x="94" y="45"/>
                  </a:lnTo>
                  <a:lnTo>
                    <a:pt x="94" y="46"/>
                  </a:lnTo>
                  <a:lnTo>
                    <a:pt x="93" y="46"/>
                  </a:lnTo>
                  <a:lnTo>
                    <a:pt x="92" y="46"/>
                  </a:lnTo>
                  <a:lnTo>
                    <a:pt x="92" y="47"/>
                  </a:lnTo>
                  <a:lnTo>
                    <a:pt x="93" y="47"/>
                  </a:lnTo>
                  <a:lnTo>
                    <a:pt x="93" y="49"/>
                  </a:lnTo>
                  <a:lnTo>
                    <a:pt x="94" y="49"/>
                  </a:lnTo>
                  <a:lnTo>
                    <a:pt x="94" y="47"/>
                  </a:lnTo>
                  <a:lnTo>
                    <a:pt x="96" y="47"/>
                  </a:lnTo>
                  <a:lnTo>
                    <a:pt x="94" y="47"/>
                  </a:lnTo>
                  <a:lnTo>
                    <a:pt x="96" y="47"/>
                  </a:lnTo>
                  <a:lnTo>
                    <a:pt x="96" y="46"/>
                  </a:lnTo>
                  <a:lnTo>
                    <a:pt x="97" y="45"/>
                  </a:lnTo>
                  <a:lnTo>
                    <a:pt x="98" y="46"/>
                  </a:lnTo>
                  <a:lnTo>
                    <a:pt x="97" y="46"/>
                  </a:lnTo>
                  <a:lnTo>
                    <a:pt x="97" y="47"/>
                  </a:lnTo>
                  <a:lnTo>
                    <a:pt x="98" y="47"/>
                  </a:lnTo>
                  <a:lnTo>
                    <a:pt x="98" y="49"/>
                  </a:lnTo>
                  <a:lnTo>
                    <a:pt x="97" y="49"/>
                  </a:lnTo>
                  <a:lnTo>
                    <a:pt x="96" y="49"/>
                  </a:lnTo>
                  <a:lnTo>
                    <a:pt x="96" y="50"/>
                  </a:lnTo>
                  <a:lnTo>
                    <a:pt x="94" y="50"/>
                  </a:lnTo>
                  <a:lnTo>
                    <a:pt x="94" y="51"/>
                  </a:lnTo>
                  <a:lnTo>
                    <a:pt x="93" y="51"/>
                  </a:lnTo>
                  <a:lnTo>
                    <a:pt x="93" y="50"/>
                  </a:lnTo>
                  <a:lnTo>
                    <a:pt x="92" y="50"/>
                  </a:lnTo>
                  <a:lnTo>
                    <a:pt x="91" y="50"/>
                  </a:lnTo>
                  <a:lnTo>
                    <a:pt x="91" y="52"/>
                  </a:lnTo>
                  <a:lnTo>
                    <a:pt x="91" y="51"/>
                  </a:lnTo>
                  <a:lnTo>
                    <a:pt x="90" y="51"/>
                  </a:lnTo>
                  <a:lnTo>
                    <a:pt x="90" y="52"/>
                  </a:lnTo>
                  <a:lnTo>
                    <a:pt x="88" y="52"/>
                  </a:lnTo>
                  <a:lnTo>
                    <a:pt x="87" y="52"/>
                  </a:lnTo>
                  <a:lnTo>
                    <a:pt x="87" y="53"/>
                  </a:lnTo>
                  <a:lnTo>
                    <a:pt x="86" y="53"/>
                  </a:lnTo>
                  <a:lnTo>
                    <a:pt x="86" y="52"/>
                  </a:lnTo>
                  <a:lnTo>
                    <a:pt x="85" y="53"/>
                  </a:lnTo>
                  <a:lnTo>
                    <a:pt x="83" y="53"/>
                  </a:lnTo>
                  <a:lnTo>
                    <a:pt x="82" y="53"/>
                  </a:lnTo>
                  <a:lnTo>
                    <a:pt x="82" y="55"/>
                  </a:lnTo>
                  <a:lnTo>
                    <a:pt x="82" y="57"/>
                  </a:lnTo>
                  <a:lnTo>
                    <a:pt x="82" y="58"/>
                  </a:lnTo>
                  <a:lnTo>
                    <a:pt x="81" y="58"/>
                  </a:lnTo>
                  <a:lnTo>
                    <a:pt x="81" y="57"/>
                  </a:lnTo>
                  <a:lnTo>
                    <a:pt x="80" y="57"/>
                  </a:lnTo>
                  <a:lnTo>
                    <a:pt x="80" y="56"/>
                  </a:lnTo>
                  <a:lnTo>
                    <a:pt x="80" y="55"/>
                  </a:lnTo>
                  <a:lnTo>
                    <a:pt x="79" y="55"/>
                  </a:lnTo>
                  <a:lnTo>
                    <a:pt x="79" y="56"/>
                  </a:lnTo>
                  <a:lnTo>
                    <a:pt x="77" y="57"/>
                  </a:lnTo>
                  <a:lnTo>
                    <a:pt x="76" y="57"/>
                  </a:lnTo>
                  <a:lnTo>
                    <a:pt x="76" y="56"/>
                  </a:lnTo>
                  <a:lnTo>
                    <a:pt x="76" y="55"/>
                  </a:lnTo>
                  <a:lnTo>
                    <a:pt x="75" y="53"/>
                  </a:lnTo>
                  <a:lnTo>
                    <a:pt x="75" y="55"/>
                  </a:lnTo>
                  <a:lnTo>
                    <a:pt x="74" y="55"/>
                  </a:lnTo>
                  <a:lnTo>
                    <a:pt x="74" y="53"/>
                  </a:lnTo>
                  <a:lnTo>
                    <a:pt x="73" y="53"/>
                  </a:lnTo>
                  <a:lnTo>
                    <a:pt x="71" y="53"/>
                  </a:lnTo>
                  <a:lnTo>
                    <a:pt x="71" y="55"/>
                  </a:lnTo>
                  <a:lnTo>
                    <a:pt x="73" y="56"/>
                  </a:lnTo>
                  <a:lnTo>
                    <a:pt x="73" y="57"/>
                  </a:lnTo>
                  <a:lnTo>
                    <a:pt x="73" y="58"/>
                  </a:lnTo>
                  <a:lnTo>
                    <a:pt x="74" y="58"/>
                  </a:lnTo>
                  <a:lnTo>
                    <a:pt x="74" y="59"/>
                  </a:lnTo>
                  <a:lnTo>
                    <a:pt x="75" y="61"/>
                  </a:lnTo>
                  <a:lnTo>
                    <a:pt x="74" y="61"/>
                  </a:lnTo>
                  <a:lnTo>
                    <a:pt x="74" y="62"/>
                  </a:lnTo>
                  <a:lnTo>
                    <a:pt x="73" y="62"/>
                  </a:lnTo>
                  <a:lnTo>
                    <a:pt x="73" y="61"/>
                  </a:lnTo>
                  <a:lnTo>
                    <a:pt x="73" y="59"/>
                  </a:lnTo>
                  <a:lnTo>
                    <a:pt x="71" y="59"/>
                  </a:lnTo>
                  <a:lnTo>
                    <a:pt x="71" y="61"/>
                  </a:lnTo>
                  <a:lnTo>
                    <a:pt x="70" y="61"/>
                  </a:lnTo>
                  <a:lnTo>
                    <a:pt x="71" y="61"/>
                  </a:lnTo>
                  <a:lnTo>
                    <a:pt x="70" y="62"/>
                  </a:lnTo>
                  <a:lnTo>
                    <a:pt x="70" y="63"/>
                  </a:lnTo>
                  <a:lnTo>
                    <a:pt x="71" y="63"/>
                  </a:lnTo>
                  <a:lnTo>
                    <a:pt x="71" y="64"/>
                  </a:lnTo>
                  <a:lnTo>
                    <a:pt x="71" y="65"/>
                  </a:lnTo>
                  <a:lnTo>
                    <a:pt x="73" y="65"/>
                  </a:lnTo>
                  <a:lnTo>
                    <a:pt x="73" y="67"/>
                  </a:lnTo>
                  <a:lnTo>
                    <a:pt x="74" y="67"/>
                  </a:lnTo>
                  <a:lnTo>
                    <a:pt x="74" y="65"/>
                  </a:lnTo>
                  <a:lnTo>
                    <a:pt x="74" y="67"/>
                  </a:lnTo>
                  <a:lnTo>
                    <a:pt x="74" y="68"/>
                  </a:lnTo>
                  <a:lnTo>
                    <a:pt x="73" y="68"/>
                  </a:lnTo>
                  <a:lnTo>
                    <a:pt x="73" y="67"/>
                  </a:lnTo>
                  <a:lnTo>
                    <a:pt x="71" y="68"/>
                  </a:lnTo>
                  <a:lnTo>
                    <a:pt x="70" y="68"/>
                  </a:lnTo>
                  <a:lnTo>
                    <a:pt x="70" y="69"/>
                  </a:lnTo>
                  <a:lnTo>
                    <a:pt x="69" y="69"/>
                  </a:lnTo>
                  <a:lnTo>
                    <a:pt x="69" y="68"/>
                  </a:lnTo>
                  <a:lnTo>
                    <a:pt x="68" y="68"/>
                  </a:lnTo>
                  <a:lnTo>
                    <a:pt x="67" y="68"/>
                  </a:lnTo>
                  <a:lnTo>
                    <a:pt x="65" y="69"/>
                  </a:lnTo>
                  <a:lnTo>
                    <a:pt x="67" y="69"/>
                  </a:lnTo>
                  <a:lnTo>
                    <a:pt x="67" y="70"/>
                  </a:lnTo>
                  <a:lnTo>
                    <a:pt x="65" y="70"/>
                  </a:lnTo>
                  <a:lnTo>
                    <a:pt x="65" y="71"/>
                  </a:lnTo>
                  <a:lnTo>
                    <a:pt x="64" y="71"/>
                  </a:lnTo>
                  <a:lnTo>
                    <a:pt x="63" y="71"/>
                  </a:lnTo>
                  <a:lnTo>
                    <a:pt x="62" y="71"/>
                  </a:lnTo>
                  <a:lnTo>
                    <a:pt x="63" y="71"/>
                  </a:lnTo>
                  <a:lnTo>
                    <a:pt x="63" y="73"/>
                  </a:lnTo>
                  <a:lnTo>
                    <a:pt x="63" y="74"/>
                  </a:lnTo>
                  <a:lnTo>
                    <a:pt x="62" y="75"/>
                  </a:lnTo>
                  <a:lnTo>
                    <a:pt x="62" y="74"/>
                  </a:lnTo>
                  <a:lnTo>
                    <a:pt x="61" y="74"/>
                  </a:lnTo>
                  <a:lnTo>
                    <a:pt x="59" y="73"/>
                  </a:lnTo>
                  <a:lnTo>
                    <a:pt x="58" y="73"/>
                  </a:lnTo>
                  <a:lnTo>
                    <a:pt x="57" y="73"/>
                  </a:lnTo>
                  <a:lnTo>
                    <a:pt x="57" y="74"/>
                  </a:lnTo>
                  <a:lnTo>
                    <a:pt x="57" y="75"/>
                  </a:lnTo>
                  <a:lnTo>
                    <a:pt x="57" y="74"/>
                  </a:lnTo>
                  <a:lnTo>
                    <a:pt x="56" y="74"/>
                  </a:lnTo>
                  <a:lnTo>
                    <a:pt x="55" y="74"/>
                  </a:lnTo>
                  <a:lnTo>
                    <a:pt x="55" y="75"/>
                  </a:lnTo>
                  <a:lnTo>
                    <a:pt x="53" y="75"/>
                  </a:lnTo>
                  <a:lnTo>
                    <a:pt x="53" y="74"/>
                  </a:lnTo>
                  <a:lnTo>
                    <a:pt x="52" y="74"/>
                  </a:lnTo>
                  <a:lnTo>
                    <a:pt x="52" y="75"/>
                  </a:lnTo>
                  <a:lnTo>
                    <a:pt x="52" y="76"/>
                  </a:lnTo>
                  <a:lnTo>
                    <a:pt x="53" y="76"/>
                  </a:lnTo>
                  <a:lnTo>
                    <a:pt x="52" y="77"/>
                  </a:lnTo>
                  <a:lnTo>
                    <a:pt x="53" y="77"/>
                  </a:lnTo>
                  <a:lnTo>
                    <a:pt x="55" y="77"/>
                  </a:lnTo>
                  <a:lnTo>
                    <a:pt x="55" y="79"/>
                  </a:lnTo>
                  <a:lnTo>
                    <a:pt x="55" y="80"/>
                  </a:lnTo>
                  <a:lnTo>
                    <a:pt x="53" y="80"/>
                  </a:lnTo>
                  <a:lnTo>
                    <a:pt x="53" y="79"/>
                  </a:lnTo>
                  <a:lnTo>
                    <a:pt x="52" y="79"/>
                  </a:lnTo>
                  <a:lnTo>
                    <a:pt x="51" y="79"/>
                  </a:lnTo>
                  <a:lnTo>
                    <a:pt x="51" y="77"/>
                  </a:lnTo>
                  <a:lnTo>
                    <a:pt x="51" y="76"/>
                  </a:lnTo>
                  <a:lnTo>
                    <a:pt x="50" y="76"/>
                  </a:lnTo>
                  <a:lnTo>
                    <a:pt x="50" y="77"/>
                  </a:lnTo>
                  <a:lnTo>
                    <a:pt x="50" y="76"/>
                  </a:lnTo>
                  <a:lnTo>
                    <a:pt x="49" y="76"/>
                  </a:lnTo>
                  <a:lnTo>
                    <a:pt x="49" y="75"/>
                  </a:lnTo>
                  <a:lnTo>
                    <a:pt x="49" y="76"/>
                  </a:lnTo>
                  <a:lnTo>
                    <a:pt x="47" y="76"/>
                  </a:lnTo>
                  <a:lnTo>
                    <a:pt x="49" y="76"/>
                  </a:lnTo>
                  <a:lnTo>
                    <a:pt x="49" y="79"/>
                  </a:lnTo>
                  <a:lnTo>
                    <a:pt x="47" y="79"/>
                  </a:lnTo>
                  <a:lnTo>
                    <a:pt x="46" y="79"/>
                  </a:lnTo>
                  <a:lnTo>
                    <a:pt x="46" y="77"/>
                  </a:lnTo>
                  <a:lnTo>
                    <a:pt x="45" y="79"/>
                  </a:lnTo>
                  <a:lnTo>
                    <a:pt x="46" y="79"/>
                  </a:lnTo>
                  <a:lnTo>
                    <a:pt x="46" y="80"/>
                  </a:lnTo>
                  <a:lnTo>
                    <a:pt x="46" y="81"/>
                  </a:lnTo>
                  <a:lnTo>
                    <a:pt x="47" y="81"/>
                  </a:lnTo>
                  <a:lnTo>
                    <a:pt x="49" y="81"/>
                  </a:lnTo>
                  <a:lnTo>
                    <a:pt x="47" y="82"/>
                  </a:lnTo>
                  <a:lnTo>
                    <a:pt x="49" y="82"/>
                  </a:lnTo>
                  <a:lnTo>
                    <a:pt x="49" y="81"/>
                  </a:lnTo>
                  <a:lnTo>
                    <a:pt x="50" y="81"/>
                  </a:lnTo>
                  <a:lnTo>
                    <a:pt x="49" y="82"/>
                  </a:lnTo>
                  <a:lnTo>
                    <a:pt x="50" y="82"/>
                  </a:lnTo>
                  <a:lnTo>
                    <a:pt x="51" y="83"/>
                  </a:lnTo>
                  <a:lnTo>
                    <a:pt x="52" y="83"/>
                  </a:lnTo>
                  <a:lnTo>
                    <a:pt x="53" y="83"/>
                  </a:lnTo>
                  <a:lnTo>
                    <a:pt x="53" y="85"/>
                  </a:lnTo>
                  <a:lnTo>
                    <a:pt x="55" y="85"/>
                  </a:lnTo>
                  <a:lnTo>
                    <a:pt x="55" y="86"/>
                  </a:lnTo>
                  <a:lnTo>
                    <a:pt x="56" y="86"/>
                  </a:lnTo>
                  <a:lnTo>
                    <a:pt x="57" y="87"/>
                  </a:lnTo>
                  <a:lnTo>
                    <a:pt x="58" y="87"/>
                  </a:lnTo>
                  <a:lnTo>
                    <a:pt x="58" y="88"/>
                  </a:lnTo>
                  <a:lnTo>
                    <a:pt x="59" y="88"/>
                  </a:lnTo>
                  <a:lnTo>
                    <a:pt x="57" y="88"/>
                  </a:lnTo>
                  <a:lnTo>
                    <a:pt x="56" y="88"/>
                  </a:lnTo>
                  <a:lnTo>
                    <a:pt x="55" y="89"/>
                  </a:lnTo>
                  <a:lnTo>
                    <a:pt x="53" y="91"/>
                  </a:lnTo>
                  <a:lnTo>
                    <a:pt x="53" y="89"/>
                  </a:lnTo>
                  <a:lnTo>
                    <a:pt x="52" y="89"/>
                  </a:lnTo>
                  <a:lnTo>
                    <a:pt x="52" y="91"/>
                  </a:lnTo>
                  <a:lnTo>
                    <a:pt x="51" y="91"/>
                  </a:lnTo>
                  <a:lnTo>
                    <a:pt x="51" y="89"/>
                  </a:lnTo>
                  <a:lnTo>
                    <a:pt x="50" y="89"/>
                  </a:lnTo>
                  <a:lnTo>
                    <a:pt x="50" y="88"/>
                  </a:lnTo>
                  <a:lnTo>
                    <a:pt x="49" y="88"/>
                  </a:lnTo>
                  <a:lnTo>
                    <a:pt x="49" y="89"/>
                  </a:lnTo>
                  <a:lnTo>
                    <a:pt x="49" y="91"/>
                  </a:lnTo>
                  <a:lnTo>
                    <a:pt x="47" y="91"/>
                  </a:lnTo>
                  <a:lnTo>
                    <a:pt x="46" y="91"/>
                  </a:lnTo>
                  <a:lnTo>
                    <a:pt x="45" y="91"/>
                  </a:lnTo>
                  <a:lnTo>
                    <a:pt x="44" y="91"/>
                  </a:lnTo>
                  <a:lnTo>
                    <a:pt x="43" y="91"/>
                  </a:lnTo>
                  <a:lnTo>
                    <a:pt x="43" y="92"/>
                  </a:lnTo>
                  <a:lnTo>
                    <a:pt x="43" y="91"/>
                  </a:lnTo>
                  <a:lnTo>
                    <a:pt x="41" y="91"/>
                  </a:lnTo>
                  <a:lnTo>
                    <a:pt x="41" y="92"/>
                  </a:lnTo>
                  <a:lnTo>
                    <a:pt x="40" y="92"/>
                  </a:lnTo>
                  <a:lnTo>
                    <a:pt x="40" y="91"/>
                  </a:lnTo>
                  <a:lnTo>
                    <a:pt x="39" y="91"/>
                  </a:lnTo>
                  <a:lnTo>
                    <a:pt x="38" y="91"/>
                  </a:lnTo>
                  <a:lnTo>
                    <a:pt x="39" y="91"/>
                  </a:lnTo>
                  <a:lnTo>
                    <a:pt x="39" y="92"/>
                  </a:lnTo>
                  <a:lnTo>
                    <a:pt x="39" y="93"/>
                  </a:lnTo>
                  <a:lnTo>
                    <a:pt x="39" y="94"/>
                  </a:lnTo>
                  <a:lnTo>
                    <a:pt x="38" y="94"/>
                  </a:lnTo>
                  <a:lnTo>
                    <a:pt x="37" y="95"/>
                  </a:lnTo>
                  <a:lnTo>
                    <a:pt x="38" y="95"/>
                  </a:lnTo>
                  <a:lnTo>
                    <a:pt x="39" y="97"/>
                  </a:lnTo>
                  <a:lnTo>
                    <a:pt x="40" y="98"/>
                  </a:lnTo>
                  <a:lnTo>
                    <a:pt x="40" y="99"/>
                  </a:lnTo>
                  <a:lnTo>
                    <a:pt x="39" y="99"/>
                  </a:lnTo>
                  <a:lnTo>
                    <a:pt x="40" y="99"/>
                  </a:lnTo>
                  <a:lnTo>
                    <a:pt x="39" y="100"/>
                  </a:lnTo>
                  <a:lnTo>
                    <a:pt x="38" y="100"/>
                  </a:lnTo>
                  <a:lnTo>
                    <a:pt x="37" y="99"/>
                  </a:lnTo>
                  <a:lnTo>
                    <a:pt x="37" y="98"/>
                  </a:lnTo>
                  <a:lnTo>
                    <a:pt x="35" y="99"/>
                  </a:lnTo>
                  <a:lnTo>
                    <a:pt x="35" y="98"/>
                  </a:lnTo>
                  <a:lnTo>
                    <a:pt x="35" y="97"/>
                  </a:lnTo>
                  <a:lnTo>
                    <a:pt x="34" y="97"/>
                  </a:lnTo>
                  <a:lnTo>
                    <a:pt x="33" y="97"/>
                  </a:lnTo>
                  <a:lnTo>
                    <a:pt x="32" y="97"/>
                  </a:lnTo>
                  <a:lnTo>
                    <a:pt x="32" y="95"/>
                  </a:lnTo>
                  <a:lnTo>
                    <a:pt x="31" y="97"/>
                  </a:lnTo>
                  <a:lnTo>
                    <a:pt x="31" y="98"/>
                  </a:lnTo>
                  <a:lnTo>
                    <a:pt x="32" y="98"/>
                  </a:lnTo>
                  <a:lnTo>
                    <a:pt x="32" y="99"/>
                  </a:lnTo>
                  <a:lnTo>
                    <a:pt x="33" y="100"/>
                  </a:lnTo>
                  <a:lnTo>
                    <a:pt x="35" y="100"/>
                  </a:lnTo>
                  <a:lnTo>
                    <a:pt x="35" y="101"/>
                  </a:lnTo>
                  <a:lnTo>
                    <a:pt x="35" y="103"/>
                  </a:lnTo>
                  <a:lnTo>
                    <a:pt x="37" y="103"/>
                  </a:lnTo>
                  <a:lnTo>
                    <a:pt x="38" y="104"/>
                  </a:lnTo>
                  <a:lnTo>
                    <a:pt x="38" y="105"/>
                  </a:lnTo>
                  <a:lnTo>
                    <a:pt x="39" y="105"/>
                  </a:lnTo>
                  <a:lnTo>
                    <a:pt x="39" y="106"/>
                  </a:lnTo>
                  <a:lnTo>
                    <a:pt x="40" y="106"/>
                  </a:lnTo>
                  <a:lnTo>
                    <a:pt x="40" y="105"/>
                  </a:lnTo>
                  <a:lnTo>
                    <a:pt x="41" y="105"/>
                  </a:lnTo>
                  <a:lnTo>
                    <a:pt x="43" y="105"/>
                  </a:lnTo>
                  <a:lnTo>
                    <a:pt x="44" y="106"/>
                  </a:lnTo>
                  <a:lnTo>
                    <a:pt x="43" y="106"/>
                  </a:lnTo>
                  <a:lnTo>
                    <a:pt x="41" y="107"/>
                  </a:lnTo>
                  <a:lnTo>
                    <a:pt x="41" y="109"/>
                  </a:lnTo>
                  <a:lnTo>
                    <a:pt x="40" y="109"/>
                  </a:lnTo>
                  <a:lnTo>
                    <a:pt x="40" y="110"/>
                  </a:lnTo>
                  <a:lnTo>
                    <a:pt x="39" y="110"/>
                  </a:lnTo>
                  <a:lnTo>
                    <a:pt x="38" y="110"/>
                  </a:lnTo>
                  <a:lnTo>
                    <a:pt x="37" y="110"/>
                  </a:lnTo>
                  <a:lnTo>
                    <a:pt x="35" y="110"/>
                  </a:lnTo>
                  <a:lnTo>
                    <a:pt x="35" y="111"/>
                  </a:lnTo>
                  <a:lnTo>
                    <a:pt x="37" y="111"/>
                  </a:lnTo>
                  <a:lnTo>
                    <a:pt x="37" y="112"/>
                  </a:lnTo>
                  <a:lnTo>
                    <a:pt x="35" y="112"/>
                  </a:lnTo>
                  <a:lnTo>
                    <a:pt x="37" y="113"/>
                  </a:lnTo>
                  <a:lnTo>
                    <a:pt x="38" y="116"/>
                  </a:lnTo>
                  <a:lnTo>
                    <a:pt x="37" y="117"/>
                  </a:lnTo>
                  <a:lnTo>
                    <a:pt x="37" y="118"/>
                  </a:lnTo>
                  <a:lnTo>
                    <a:pt x="37" y="119"/>
                  </a:lnTo>
                  <a:lnTo>
                    <a:pt x="37" y="121"/>
                  </a:lnTo>
                  <a:lnTo>
                    <a:pt x="35" y="119"/>
                  </a:lnTo>
                  <a:lnTo>
                    <a:pt x="35" y="121"/>
                  </a:lnTo>
                  <a:lnTo>
                    <a:pt x="35" y="122"/>
                  </a:lnTo>
                  <a:lnTo>
                    <a:pt x="33" y="122"/>
                  </a:lnTo>
                  <a:lnTo>
                    <a:pt x="32" y="122"/>
                  </a:lnTo>
                  <a:lnTo>
                    <a:pt x="31" y="122"/>
                  </a:lnTo>
                  <a:lnTo>
                    <a:pt x="31" y="121"/>
                  </a:lnTo>
                  <a:lnTo>
                    <a:pt x="31" y="122"/>
                  </a:lnTo>
                  <a:lnTo>
                    <a:pt x="29" y="122"/>
                  </a:lnTo>
                  <a:lnTo>
                    <a:pt x="28" y="122"/>
                  </a:lnTo>
                  <a:lnTo>
                    <a:pt x="27" y="123"/>
                  </a:lnTo>
                  <a:lnTo>
                    <a:pt x="26" y="123"/>
                  </a:lnTo>
                  <a:lnTo>
                    <a:pt x="25" y="123"/>
                  </a:lnTo>
                  <a:lnTo>
                    <a:pt x="23" y="123"/>
                  </a:lnTo>
                  <a:lnTo>
                    <a:pt x="23" y="122"/>
                  </a:lnTo>
                  <a:lnTo>
                    <a:pt x="23" y="123"/>
                  </a:lnTo>
                  <a:lnTo>
                    <a:pt x="23" y="124"/>
                  </a:lnTo>
                  <a:lnTo>
                    <a:pt x="25" y="125"/>
                  </a:lnTo>
                  <a:lnTo>
                    <a:pt x="25" y="127"/>
                  </a:lnTo>
                  <a:lnTo>
                    <a:pt x="23" y="127"/>
                  </a:lnTo>
                  <a:lnTo>
                    <a:pt x="22" y="127"/>
                  </a:lnTo>
                  <a:lnTo>
                    <a:pt x="21" y="127"/>
                  </a:lnTo>
                  <a:lnTo>
                    <a:pt x="20" y="127"/>
                  </a:lnTo>
                  <a:lnTo>
                    <a:pt x="18" y="127"/>
                  </a:lnTo>
                  <a:lnTo>
                    <a:pt x="16" y="127"/>
                  </a:lnTo>
                  <a:lnTo>
                    <a:pt x="16" y="128"/>
                  </a:lnTo>
                  <a:lnTo>
                    <a:pt x="17" y="128"/>
                  </a:lnTo>
                  <a:lnTo>
                    <a:pt x="17" y="129"/>
                  </a:lnTo>
                  <a:lnTo>
                    <a:pt x="20" y="130"/>
                  </a:lnTo>
                  <a:lnTo>
                    <a:pt x="21" y="130"/>
                  </a:lnTo>
                  <a:lnTo>
                    <a:pt x="21" y="132"/>
                  </a:lnTo>
                  <a:lnTo>
                    <a:pt x="22" y="132"/>
                  </a:lnTo>
                  <a:lnTo>
                    <a:pt x="22" y="133"/>
                  </a:lnTo>
                  <a:lnTo>
                    <a:pt x="23" y="134"/>
                  </a:lnTo>
                  <a:lnTo>
                    <a:pt x="25" y="134"/>
                  </a:lnTo>
                  <a:lnTo>
                    <a:pt x="26" y="133"/>
                  </a:lnTo>
                  <a:lnTo>
                    <a:pt x="26" y="134"/>
                  </a:lnTo>
                  <a:lnTo>
                    <a:pt x="27" y="133"/>
                  </a:lnTo>
                  <a:lnTo>
                    <a:pt x="27" y="134"/>
                  </a:lnTo>
                  <a:lnTo>
                    <a:pt x="28" y="133"/>
                  </a:lnTo>
                  <a:lnTo>
                    <a:pt x="29" y="134"/>
                  </a:lnTo>
                  <a:lnTo>
                    <a:pt x="31" y="133"/>
                  </a:lnTo>
                  <a:lnTo>
                    <a:pt x="31" y="132"/>
                  </a:lnTo>
                  <a:lnTo>
                    <a:pt x="32" y="132"/>
                  </a:lnTo>
                  <a:lnTo>
                    <a:pt x="33" y="132"/>
                  </a:lnTo>
                  <a:lnTo>
                    <a:pt x="33" y="130"/>
                  </a:lnTo>
                  <a:lnTo>
                    <a:pt x="33" y="129"/>
                  </a:lnTo>
                  <a:lnTo>
                    <a:pt x="34" y="129"/>
                  </a:lnTo>
                  <a:lnTo>
                    <a:pt x="34" y="130"/>
                  </a:lnTo>
                  <a:lnTo>
                    <a:pt x="33" y="132"/>
                  </a:lnTo>
                  <a:lnTo>
                    <a:pt x="33" y="133"/>
                  </a:lnTo>
                  <a:lnTo>
                    <a:pt x="34" y="134"/>
                  </a:lnTo>
                  <a:lnTo>
                    <a:pt x="34" y="135"/>
                  </a:lnTo>
                  <a:lnTo>
                    <a:pt x="35" y="134"/>
                  </a:lnTo>
                  <a:lnTo>
                    <a:pt x="37" y="134"/>
                  </a:lnTo>
                  <a:lnTo>
                    <a:pt x="37" y="133"/>
                  </a:lnTo>
                  <a:lnTo>
                    <a:pt x="37" y="132"/>
                  </a:lnTo>
                  <a:lnTo>
                    <a:pt x="38" y="132"/>
                  </a:lnTo>
                  <a:lnTo>
                    <a:pt x="39" y="130"/>
                  </a:lnTo>
                  <a:lnTo>
                    <a:pt x="39" y="132"/>
                  </a:lnTo>
                  <a:lnTo>
                    <a:pt x="40" y="132"/>
                  </a:lnTo>
                  <a:lnTo>
                    <a:pt x="41" y="130"/>
                  </a:lnTo>
                  <a:lnTo>
                    <a:pt x="43" y="130"/>
                  </a:lnTo>
                  <a:lnTo>
                    <a:pt x="44" y="130"/>
                  </a:lnTo>
                  <a:lnTo>
                    <a:pt x="45" y="130"/>
                  </a:lnTo>
                  <a:lnTo>
                    <a:pt x="46" y="132"/>
                  </a:lnTo>
                  <a:lnTo>
                    <a:pt x="47" y="132"/>
                  </a:lnTo>
                  <a:lnTo>
                    <a:pt x="49" y="130"/>
                  </a:lnTo>
                  <a:lnTo>
                    <a:pt x="50" y="130"/>
                  </a:lnTo>
                  <a:lnTo>
                    <a:pt x="50" y="132"/>
                  </a:lnTo>
                  <a:lnTo>
                    <a:pt x="51" y="132"/>
                  </a:lnTo>
                  <a:lnTo>
                    <a:pt x="52" y="133"/>
                  </a:lnTo>
                  <a:lnTo>
                    <a:pt x="53" y="132"/>
                  </a:lnTo>
                  <a:lnTo>
                    <a:pt x="55" y="132"/>
                  </a:lnTo>
                  <a:lnTo>
                    <a:pt x="53" y="130"/>
                  </a:lnTo>
                  <a:lnTo>
                    <a:pt x="55" y="129"/>
                  </a:lnTo>
                  <a:lnTo>
                    <a:pt x="55" y="130"/>
                  </a:lnTo>
                  <a:lnTo>
                    <a:pt x="56" y="130"/>
                  </a:lnTo>
                  <a:lnTo>
                    <a:pt x="57" y="130"/>
                  </a:lnTo>
                  <a:lnTo>
                    <a:pt x="58" y="130"/>
                  </a:lnTo>
                  <a:lnTo>
                    <a:pt x="58" y="132"/>
                  </a:lnTo>
                  <a:lnTo>
                    <a:pt x="58" y="133"/>
                  </a:lnTo>
                  <a:lnTo>
                    <a:pt x="57" y="133"/>
                  </a:lnTo>
                  <a:lnTo>
                    <a:pt x="57" y="132"/>
                  </a:lnTo>
                  <a:lnTo>
                    <a:pt x="57" y="133"/>
                  </a:lnTo>
                  <a:lnTo>
                    <a:pt x="56" y="133"/>
                  </a:lnTo>
                  <a:lnTo>
                    <a:pt x="56" y="134"/>
                  </a:lnTo>
                  <a:lnTo>
                    <a:pt x="56" y="133"/>
                  </a:lnTo>
                  <a:lnTo>
                    <a:pt x="56" y="134"/>
                  </a:lnTo>
                  <a:lnTo>
                    <a:pt x="56" y="135"/>
                  </a:lnTo>
                  <a:lnTo>
                    <a:pt x="56" y="136"/>
                  </a:lnTo>
                  <a:lnTo>
                    <a:pt x="55" y="135"/>
                  </a:lnTo>
                  <a:lnTo>
                    <a:pt x="55" y="136"/>
                  </a:lnTo>
                  <a:lnTo>
                    <a:pt x="56" y="136"/>
                  </a:lnTo>
                  <a:lnTo>
                    <a:pt x="56" y="138"/>
                  </a:lnTo>
                  <a:lnTo>
                    <a:pt x="55" y="138"/>
                  </a:lnTo>
                  <a:lnTo>
                    <a:pt x="53" y="138"/>
                  </a:lnTo>
                  <a:lnTo>
                    <a:pt x="52" y="138"/>
                  </a:lnTo>
                  <a:lnTo>
                    <a:pt x="51" y="139"/>
                  </a:lnTo>
                  <a:lnTo>
                    <a:pt x="50" y="140"/>
                  </a:lnTo>
                  <a:lnTo>
                    <a:pt x="50" y="141"/>
                  </a:lnTo>
                  <a:lnTo>
                    <a:pt x="49" y="141"/>
                  </a:lnTo>
                  <a:lnTo>
                    <a:pt x="47" y="142"/>
                  </a:lnTo>
                  <a:lnTo>
                    <a:pt x="47" y="144"/>
                  </a:lnTo>
                  <a:lnTo>
                    <a:pt x="46" y="144"/>
                  </a:lnTo>
                  <a:lnTo>
                    <a:pt x="45" y="145"/>
                  </a:lnTo>
                  <a:lnTo>
                    <a:pt x="44" y="146"/>
                  </a:lnTo>
                  <a:lnTo>
                    <a:pt x="44" y="145"/>
                  </a:lnTo>
                  <a:lnTo>
                    <a:pt x="43" y="146"/>
                  </a:lnTo>
                  <a:lnTo>
                    <a:pt x="41" y="146"/>
                  </a:lnTo>
                  <a:lnTo>
                    <a:pt x="41" y="147"/>
                  </a:lnTo>
                  <a:lnTo>
                    <a:pt x="40" y="147"/>
                  </a:lnTo>
                  <a:lnTo>
                    <a:pt x="39" y="147"/>
                  </a:lnTo>
                  <a:lnTo>
                    <a:pt x="38" y="147"/>
                  </a:lnTo>
                  <a:lnTo>
                    <a:pt x="38" y="148"/>
                  </a:lnTo>
                  <a:lnTo>
                    <a:pt x="37" y="148"/>
                  </a:lnTo>
                  <a:lnTo>
                    <a:pt x="37" y="150"/>
                  </a:lnTo>
                  <a:lnTo>
                    <a:pt x="37" y="151"/>
                  </a:lnTo>
                  <a:lnTo>
                    <a:pt x="37" y="152"/>
                  </a:lnTo>
                  <a:lnTo>
                    <a:pt x="35" y="152"/>
                  </a:lnTo>
                  <a:lnTo>
                    <a:pt x="37" y="152"/>
                  </a:lnTo>
                  <a:lnTo>
                    <a:pt x="35" y="152"/>
                  </a:lnTo>
                  <a:lnTo>
                    <a:pt x="34" y="153"/>
                  </a:lnTo>
                  <a:lnTo>
                    <a:pt x="33" y="153"/>
                  </a:lnTo>
                  <a:lnTo>
                    <a:pt x="31" y="153"/>
                  </a:lnTo>
                  <a:lnTo>
                    <a:pt x="31" y="154"/>
                  </a:lnTo>
                  <a:lnTo>
                    <a:pt x="28" y="154"/>
                  </a:lnTo>
                  <a:lnTo>
                    <a:pt x="27" y="153"/>
                  </a:lnTo>
                  <a:lnTo>
                    <a:pt x="27" y="154"/>
                  </a:lnTo>
                  <a:lnTo>
                    <a:pt x="26" y="154"/>
                  </a:lnTo>
                  <a:lnTo>
                    <a:pt x="25" y="154"/>
                  </a:lnTo>
                  <a:lnTo>
                    <a:pt x="26" y="157"/>
                  </a:lnTo>
                  <a:lnTo>
                    <a:pt x="27" y="157"/>
                  </a:lnTo>
                  <a:lnTo>
                    <a:pt x="26" y="158"/>
                  </a:lnTo>
                  <a:lnTo>
                    <a:pt x="25" y="158"/>
                  </a:lnTo>
                  <a:lnTo>
                    <a:pt x="25" y="159"/>
                  </a:lnTo>
                  <a:lnTo>
                    <a:pt x="23" y="159"/>
                  </a:lnTo>
                  <a:lnTo>
                    <a:pt x="22" y="159"/>
                  </a:lnTo>
                  <a:lnTo>
                    <a:pt x="23" y="160"/>
                  </a:lnTo>
                  <a:lnTo>
                    <a:pt x="22" y="162"/>
                  </a:lnTo>
                  <a:lnTo>
                    <a:pt x="21" y="162"/>
                  </a:lnTo>
                  <a:lnTo>
                    <a:pt x="20" y="162"/>
                  </a:lnTo>
                  <a:lnTo>
                    <a:pt x="18" y="162"/>
                  </a:lnTo>
                  <a:lnTo>
                    <a:pt x="17" y="162"/>
                  </a:lnTo>
                  <a:lnTo>
                    <a:pt x="16" y="162"/>
                  </a:lnTo>
                  <a:lnTo>
                    <a:pt x="17" y="164"/>
                  </a:lnTo>
                  <a:lnTo>
                    <a:pt x="17" y="165"/>
                  </a:lnTo>
                  <a:lnTo>
                    <a:pt x="18" y="165"/>
                  </a:lnTo>
                  <a:lnTo>
                    <a:pt x="20" y="165"/>
                  </a:lnTo>
                  <a:lnTo>
                    <a:pt x="21" y="166"/>
                  </a:lnTo>
                  <a:lnTo>
                    <a:pt x="20" y="166"/>
                  </a:lnTo>
                  <a:lnTo>
                    <a:pt x="18" y="166"/>
                  </a:lnTo>
                  <a:lnTo>
                    <a:pt x="17" y="168"/>
                  </a:lnTo>
                  <a:lnTo>
                    <a:pt x="17" y="170"/>
                  </a:lnTo>
                  <a:lnTo>
                    <a:pt x="18" y="171"/>
                  </a:lnTo>
                  <a:lnTo>
                    <a:pt x="18" y="172"/>
                  </a:lnTo>
                  <a:lnTo>
                    <a:pt x="18" y="174"/>
                  </a:lnTo>
                  <a:lnTo>
                    <a:pt x="17" y="175"/>
                  </a:lnTo>
                  <a:lnTo>
                    <a:pt x="17" y="176"/>
                  </a:lnTo>
                  <a:lnTo>
                    <a:pt x="18" y="177"/>
                  </a:lnTo>
                  <a:lnTo>
                    <a:pt x="20" y="177"/>
                  </a:lnTo>
                  <a:lnTo>
                    <a:pt x="18" y="178"/>
                  </a:lnTo>
                  <a:lnTo>
                    <a:pt x="18" y="180"/>
                  </a:lnTo>
                  <a:lnTo>
                    <a:pt x="17" y="181"/>
                  </a:lnTo>
                  <a:lnTo>
                    <a:pt x="17" y="180"/>
                  </a:lnTo>
                  <a:lnTo>
                    <a:pt x="16" y="180"/>
                  </a:lnTo>
                  <a:lnTo>
                    <a:pt x="16" y="181"/>
                  </a:lnTo>
                  <a:lnTo>
                    <a:pt x="15" y="181"/>
                  </a:lnTo>
                  <a:lnTo>
                    <a:pt x="16" y="181"/>
                  </a:lnTo>
                  <a:lnTo>
                    <a:pt x="16" y="182"/>
                  </a:lnTo>
                  <a:lnTo>
                    <a:pt x="17" y="182"/>
                  </a:lnTo>
                  <a:lnTo>
                    <a:pt x="18" y="182"/>
                  </a:lnTo>
                  <a:lnTo>
                    <a:pt x="20" y="182"/>
                  </a:lnTo>
                  <a:lnTo>
                    <a:pt x="21" y="182"/>
                  </a:lnTo>
                  <a:lnTo>
                    <a:pt x="21" y="181"/>
                  </a:lnTo>
                  <a:lnTo>
                    <a:pt x="25" y="181"/>
                  </a:lnTo>
                  <a:lnTo>
                    <a:pt x="25" y="180"/>
                  </a:lnTo>
                  <a:lnTo>
                    <a:pt x="26" y="178"/>
                  </a:lnTo>
                  <a:lnTo>
                    <a:pt x="27" y="177"/>
                  </a:lnTo>
                  <a:lnTo>
                    <a:pt x="27" y="176"/>
                  </a:lnTo>
                  <a:lnTo>
                    <a:pt x="27" y="175"/>
                  </a:lnTo>
                  <a:lnTo>
                    <a:pt x="28" y="174"/>
                  </a:lnTo>
                  <a:lnTo>
                    <a:pt x="28" y="172"/>
                  </a:lnTo>
                  <a:lnTo>
                    <a:pt x="29" y="171"/>
                  </a:lnTo>
                  <a:lnTo>
                    <a:pt x="31" y="172"/>
                  </a:lnTo>
                  <a:lnTo>
                    <a:pt x="32" y="172"/>
                  </a:lnTo>
                  <a:lnTo>
                    <a:pt x="33" y="171"/>
                  </a:lnTo>
                  <a:lnTo>
                    <a:pt x="33" y="172"/>
                  </a:lnTo>
                  <a:lnTo>
                    <a:pt x="34" y="172"/>
                  </a:lnTo>
                  <a:lnTo>
                    <a:pt x="35" y="174"/>
                  </a:lnTo>
                  <a:lnTo>
                    <a:pt x="37" y="172"/>
                  </a:lnTo>
                  <a:lnTo>
                    <a:pt x="37" y="171"/>
                  </a:lnTo>
                  <a:lnTo>
                    <a:pt x="35" y="170"/>
                  </a:lnTo>
                  <a:lnTo>
                    <a:pt x="34" y="170"/>
                  </a:lnTo>
                  <a:lnTo>
                    <a:pt x="34" y="169"/>
                  </a:lnTo>
                  <a:lnTo>
                    <a:pt x="34" y="168"/>
                  </a:lnTo>
                  <a:lnTo>
                    <a:pt x="33" y="168"/>
                  </a:lnTo>
                  <a:lnTo>
                    <a:pt x="32" y="168"/>
                  </a:lnTo>
                  <a:lnTo>
                    <a:pt x="32" y="166"/>
                  </a:lnTo>
                  <a:lnTo>
                    <a:pt x="33" y="166"/>
                  </a:lnTo>
                  <a:lnTo>
                    <a:pt x="34" y="166"/>
                  </a:lnTo>
                  <a:lnTo>
                    <a:pt x="35" y="166"/>
                  </a:lnTo>
                  <a:lnTo>
                    <a:pt x="37" y="166"/>
                  </a:lnTo>
                  <a:lnTo>
                    <a:pt x="38" y="165"/>
                  </a:lnTo>
                  <a:lnTo>
                    <a:pt x="39" y="165"/>
                  </a:lnTo>
                  <a:lnTo>
                    <a:pt x="38" y="164"/>
                  </a:lnTo>
                  <a:lnTo>
                    <a:pt x="39" y="164"/>
                  </a:lnTo>
                  <a:lnTo>
                    <a:pt x="40" y="164"/>
                  </a:lnTo>
                  <a:lnTo>
                    <a:pt x="39" y="163"/>
                  </a:lnTo>
                  <a:lnTo>
                    <a:pt x="40" y="163"/>
                  </a:lnTo>
                  <a:lnTo>
                    <a:pt x="41" y="163"/>
                  </a:lnTo>
                  <a:lnTo>
                    <a:pt x="43" y="163"/>
                  </a:lnTo>
                  <a:lnTo>
                    <a:pt x="43" y="164"/>
                  </a:lnTo>
                  <a:lnTo>
                    <a:pt x="44" y="163"/>
                  </a:lnTo>
                  <a:lnTo>
                    <a:pt x="44" y="162"/>
                  </a:lnTo>
                  <a:lnTo>
                    <a:pt x="45" y="162"/>
                  </a:lnTo>
                  <a:lnTo>
                    <a:pt x="46" y="162"/>
                  </a:lnTo>
                  <a:lnTo>
                    <a:pt x="45" y="160"/>
                  </a:lnTo>
                  <a:lnTo>
                    <a:pt x="46" y="160"/>
                  </a:lnTo>
                  <a:lnTo>
                    <a:pt x="47" y="160"/>
                  </a:lnTo>
                  <a:lnTo>
                    <a:pt x="49" y="160"/>
                  </a:lnTo>
                  <a:lnTo>
                    <a:pt x="49" y="159"/>
                  </a:lnTo>
                  <a:lnTo>
                    <a:pt x="50" y="159"/>
                  </a:lnTo>
                  <a:lnTo>
                    <a:pt x="51" y="159"/>
                  </a:lnTo>
                  <a:lnTo>
                    <a:pt x="51" y="158"/>
                  </a:lnTo>
                  <a:lnTo>
                    <a:pt x="51" y="157"/>
                  </a:lnTo>
                  <a:lnTo>
                    <a:pt x="51" y="156"/>
                  </a:lnTo>
                  <a:lnTo>
                    <a:pt x="52" y="154"/>
                  </a:lnTo>
                  <a:lnTo>
                    <a:pt x="53" y="153"/>
                  </a:lnTo>
                  <a:lnTo>
                    <a:pt x="53" y="154"/>
                  </a:lnTo>
                  <a:lnTo>
                    <a:pt x="53" y="156"/>
                  </a:lnTo>
                  <a:lnTo>
                    <a:pt x="55" y="156"/>
                  </a:lnTo>
                  <a:lnTo>
                    <a:pt x="55" y="158"/>
                  </a:lnTo>
                  <a:lnTo>
                    <a:pt x="55" y="157"/>
                  </a:lnTo>
                  <a:lnTo>
                    <a:pt x="53" y="157"/>
                  </a:lnTo>
                  <a:lnTo>
                    <a:pt x="52" y="158"/>
                  </a:lnTo>
                  <a:lnTo>
                    <a:pt x="52" y="159"/>
                  </a:lnTo>
                  <a:lnTo>
                    <a:pt x="52" y="160"/>
                  </a:lnTo>
                  <a:lnTo>
                    <a:pt x="51" y="160"/>
                  </a:lnTo>
                  <a:lnTo>
                    <a:pt x="51" y="162"/>
                  </a:lnTo>
                  <a:lnTo>
                    <a:pt x="52" y="162"/>
                  </a:lnTo>
                  <a:lnTo>
                    <a:pt x="53" y="162"/>
                  </a:lnTo>
                  <a:lnTo>
                    <a:pt x="55" y="160"/>
                  </a:lnTo>
                  <a:lnTo>
                    <a:pt x="56" y="160"/>
                  </a:lnTo>
                  <a:lnTo>
                    <a:pt x="56" y="159"/>
                  </a:lnTo>
                  <a:lnTo>
                    <a:pt x="57" y="159"/>
                  </a:lnTo>
                  <a:lnTo>
                    <a:pt x="58" y="159"/>
                  </a:lnTo>
                  <a:lnTo>
                    <a:pt x="59" y="159"/>
                  </a:lnTo>
                  <a:lnTo>
                    <a:pt x="59" y="158"/>
                  </a:lnTo>
                  <a:lnTo>
                    <a:pt x="61" y="158"/>
                  </a:lnTo>
                  <a:lnTo>
                    <a:pt x="62" y="158"/>
                  </a:lnTo>
                  <a:lnTo>
                    <a:pt x="63" y="158"/>
                  </a:lnTo>
                  <a:lnTo>
                    <a:pt x="65" y="158"/>
                  </a:lnTo>
                  <a:lnTo>
                    <a:pt x="67" y="157"/>
                  </a:lnTo>
                  <a:lnTo>
                    <a:pt x="65" y="157"/>
                  </a:lnTo>
                  <a:lnTo>
                    <a:pt x="67" y="156"/>
                  </a:lnTo>
                  <a:lnTo>
                    <a:pt x="68" y="156"/>
                  </a:lnTo>
                  <a:lnTo>
                    <a:pt x="70" y="154"/>
                  </a:lnTo>
                  <a:lnTo>
                    <a:pt x="69" y="152"/>
                  </a:lnTo>
                  <a:lnTo>
                    <a:pt x="69" y="151"/>
                  </a:lnTo>
                  <a:lnTo>
                    <a:pt x="68" y="151"/>
                  </a:lnTo>
                  <a:lnTo>
                    <a:pt x="69" y="150"/>
                  </a:lnTo>
                  <a:lnTo>
                    <a:pt x="69" y="151"/>
                  </a:lnTo>
                  <a:lnTo>
                    <a:pt x="69" y="152"/>
                  </a:lnTo>
                  <a:lnTo>
                    <a:pt x="70" y="153"/>
                  </a:lnTo>
                  <a:lnTo>
                    <a:pt x="71" y="152"/>
                  </a:lnTo>
                  <a:lnTo>
                    <a:pt x="73" y="152"/>
                  </a:lnTo>
                  <a:lnTo>
                    <a:pt x="74" y="152"/>
                  </a:lnTo>
                  <a:lnTo>
                    <a:pt x="75" y="153"/>
                  </a:lnTo>
                  <a:lnTo>
                    <a:pt x="76" y="153"/>
                  </a:lnTo>
                  <a:lnTo>
                    <a:pt x="77" y="153"/>
                  </a:lnTo>
                  <a:lnTo>
                    <a:pt x="77" y="154"/>
                  </a:lnTo>
                  <a:lnTo>
                    <a:pt x="77" y="157"/>
                  </a:lnTo>
                  <a:lnTo>
                    <a:pt x="77" y="156"/>
                  </a:lnTo>
                  <a:lnTo>
                    <a:pt x="76" y="156"/>
                  </a:lnTo>
                  <a:lnTo>
                    <a:pt x="75" y="157"/>
                  </a:lnTo>
                  <a:lnTo>
                    <a:pt x="75" y="156"/>
                  </a:lnTo>
                  <a:lnTo>
                    <a:pt x="74" y="156"/>
                  </a:lnTo>
                  <a:lnTo>
                    <a:pt x="73" y="156"/>
                  </a:lnTo>
                  <a:lnTo>
                    <a:pt x="73" y="157"/>
                  </a:lnTo>
                  <a:lnTo>
                    <a:pt x="74" y="157"/>
                  </a:lnTo>
                  <a:lnTo>
                    <a:pt x="74" y="158"/>
                  </a:lnTo>
                  <a:lnTo>
                    <a:pt x="73" y="158"/>
                  </a:lnTo>
                  <a:lnTo>
                    <a:pt x="73" y="159"/>
                  </a:lnTo>
                  <a:lnTo>
                    <a:pt x="74" y="158"/>
                  </a:lnTo>
                  <a:lnTo>
                    <a:pt x="75" y="158"/>
                  </a:lnTo>
                  <a:lnTo>
                    <a:pt x="76" y="158"/>
                  </a:lnTo>
                  <a:lnTo>
                    <a:pt x="75" y="159"/>
                  </a:lnTo>
                  <a:lnTo>
                    <a:pt x="74" y="159"/>
                  </a:lnTo>
                  <a:lnTo>
                    <a:pt x="74" y="160"/>
                  </a:lnTo>
                  <a:lnTo>
                    <a:pt x="73" y="160"/>
                  </a:lnTo>
                  <a:lnTo>
                    <a:pt x="71" y="160"/>
                  </a:lnTo>
                  <a:lnTo>
                    <a:pt x="70" y="159"/>
                  </a:lnTo>
                  <a:lnTo>
                    <a:pt x="69" y="159"/>
                  </a:lnTo>
                  <a:lnTo>
                    <a:pt x="68" y="159"/>
                  </a:lnTo>
                  <a:lnTo>
                    <a:pt x="68" y="160"/>
                  </a:lnTo>
                  <a:lnTo>
                    <a:pt x="68" y="162"/>
                  </a:lnTo>
                  <a:lnTo>
                    <a:pt x="67" y="163"/>
                  </a:lnTo>
                  <a:lnTo>
                    <a:pt x="67" y="164"/>
                  </a:lnTo>
                  <a:lnTo>
                    <a:pt x="67" y="165"/>
                  </a:lnTo>
                  <a:lnTo>
                    <a:pt x="65" y="165"/>
                  </a:lnTo>
                  <a:lnTo>
                    <a:pt x="64" y="166"/>
                  </a:lnTo>
                  <a:lnTo>
                    <a:pt x="65" y="166"/>
                  </a:lnTo>
                  <a:lnTo>
                    <a:pt x="64" y="166"/>
                  </a:lnTo>
                  <a:lnTo>
                    <a:pt x="62" y="166"/>
                  </a:lnTo>
                  <a:lnTo>
                    <a:pt x="62" y="168"/>
                  </a:lnTo>
                  <a:lnTo>
                    <a:pt x="61" y="168"/>
                  </a:lnTo>
                  <a:lnTo>
                    <a:pt x="58" y="169"/>
                  </a:lnTo>
                  <a:lnTo>
                    <a:pt x="57" y="168"/>
                  </a:lnTo>
                  <a:lnTo>
                    <a:pt x="56" y="168"/>
                  </a:lnTo>
                  <a:lnTo>
                    <a:pt x="55" y="168"/>
                  </a:lnTo>
                  <a:lnTo>
                    <a:pt x="53" y="168"/>
                  </a:lnTo>
                  <a:lnTo>
                    <a:pt x="53" y="166"/>
                  </a:lnTo>
                  <a:lnTo>
                    <a:pt x="52" y="166"/>
                  </a:lnTo>
                  <a:lnTo>
                    <a:pt x="51" y="168"/>
                  </a:lnTo>
                  <a:lnTo>
                    <a:pt x="50" y="168"/>
                  </a:lnTo>
                  <a:lnTo>
                    <a:pt x="49" y="169"/>
                  </a:lnTo>
                  <a:lnTo>
                    <a:pt x="47" y="170"/>
                  </a:lnTo>
                  <a:lnTo>
                    <a:pt x="46" y="170"/>
                  </a:lnTo>
                  <a:lnTo>
                    <a:pt x="47" y="170"/>
                  </a:lnTo>
                  <a:lnTo>
                    <a:pt x="46" y="171"/>
                  </a:lnTo>
                  <a:lnTo>
                    <a:pt x="47" y="172"/>
                  </a:lnTo>
                  <a:lnTo>
                    <a:pt x="46" y="172"/>
                  </a:lnTo>
                  <a:lnTo>
                    <a:pt x="46" y="174"/>
                  </a:lnTo>
                  <a:lnTo>
                    <a:pt x="47" y="174"/>
                  </a:lnTo>
                  <a:lnTo>
                    <a:pt x="49" y="175"/>
                  </a:lnTo>
                  <a:lnTo>
                    <a:pt x="47" y="175"/>
                  </a:lnTo>
                  <a:lnTo>
                    <a:pt x="46" y="174"/>
                  </a:lnTo>
                  <a:lnTo>
                    <a:pt x="45" y="174"/>
                  </a:lnTo>
                  <a:lnTo>
                    <a:pt x="44" y="172"/>
                  </a:lnTo>
                  <a:lnTo>
                    <a:pt x="44" y="174"/>
                  </a:lnTo>
                  <a:lnTo>
                    <a:pt x="43" y="174"/>
                  </a:lnTo>
                  <a:lnTo>
                    <a:pt x="43" y="175"/>
                  </a:lnTo>
                  <a:lnTo>
                    <a:pt x="43" y="176"/>
                  </a:lnTo>
                  <a:lnTo>
                    <a:pt x="41" y="176"/>
                  </a:lnTo>
                  <a:lnTo>
                    <a:pt x="40" y="178"/>
                  </a:lnTo>
                  <a:lnTo>
                    <a:pt x="39" y="178"/>
                  </a:lnTo>
                  <a:lnTo>
                    <a:pt x="38" y="178"/>
                  </a:lnTo>
                  <a:lnTo>
                    <a:pt x="37" y="177"/>
                  </a:lnTo>
                  <a:lnTo>
                    <a:pt x="37" y="178"/>
                  </a:lnTo>
                  <a:lnTo>
                    <a:pt x="35" y="178"/>
                  </a:lnTo>
                  <a:lnTo>
                    <a:pt x="34" y="178"/>
                  </a:lnTo>
                  <a:lnTo>
                    <a:pt x="34" y="180"/>
                  </a:lnTo>
                  <a:lnTo>
                    <a:pt x="35" y="180"/>
                  </a:lnTo>
                  <a:lnTo>
                    <a:pt x="34" y="181"/>
                  </a:lnTo>
                  <a:lnTo>
                    <a:pt x="35" y="182"/>
                  </a:lnTo>
                  <a:lnTo>
                    <a:pt x="34" y="182"/>
                  </a:lnTo>
                  <a:lnTo>
                    <a:pt x="34" y="183"/>
                  </a:lnTo>
                  <a:lnTo>
                    <a:pt x="34" y="184"/>
                  </a:lnTo>
                  <a:lnTo>
                    <a:pt x="34" y="186"/>
                  </a:lnTo>
                  <a:lnTo>
                    <a:pt x="35" y="186"/>
                  </a:lnTo>
                  <a:lnTo>
                    <a:pt x="34" y="187"/>
                  </a:lnTo>
                  <a:lnTo>
                    <a:pt x="34" y="188"/>
                  </a:lnTo>
                  <a:lnTo>
                    <a:pt x="33" y="188"/>
                  </a:lnTo>
                  <a:lnTo>
                    <a:pt x="33" y="187"/>
                  </a:lnTo>
                  <a:lnTo>
                    <a:pt x="32" y="187"/>
                  </a:lnTo>
                  <a:lnTo>
                    <a:pt x="32" y="188"/>
                  </a:lnTo>
                  <a:lnTo>
                    <a:pt x="31" y="188"/>
                  </a:lnTo>
                  <a:lnTo>
                    <a:pt x="29" y="188"/>
                  </a:lnTo>
                  <a:lnTo>
                    <a:pt x="28" y="189"/>
                  </a:lnTo>
                  <a:lnTo>
                    <a:pt x="28" y="190"/>
                  </a:lnTo>
                  <a:lnTo>
                    <a:pt x="27" y="189"/>
                  </a:lnTo>
                  <a:lnTo>
                    <a:pt x="26" y="190"/>
                  </a:lnTo>
                  <a:lnTo>
                    <a:pt x="25" y="190"/>
                  </a:lnTo>
                  <a:lnTo>
                    <a:pt x="25" y="192"/>
                  </a:lnTo>
                  <a:lnTo>
                    <a:pt x="26" y="193"/>
                  </a:lnTo>
                  <a:lnTo>
                    <a:pt x="25" y="194"/>
                  </a:lnTo>
                  <a:lnTo>
                    <a:pt x="23" y="194"/>
                  </a:lnTo>
                  <a:lnTo>
                    <a:pt x="23" y="195"/>
                  </a:lnTo>
                  <a:lnTo>
                    <a:pt x="21" y="195"/>
                  </a:lnTo>
                  <a:lnTo>
                    <a:pt x="21" y="196"/>
                  </a:lnTo>
                  <a:lnTo>
                    <a:pt x="20" y="198"/>
                  </a:lnTo>
                  <a:lnTo>
                    <a:pt x="18" y="198"/>
                  </a:lnTo>
                  <a:lnTo>
                    <a:pt x="18" y="199"/>
                  </a:lnTo>
                  <a:lnTo>
                    <a:pt x="18" y="200"/>
                  </a:lnTo>
                  <a:lnTo>
                    <a:pt x="18" y="201"/>
                  </a:lnTo>
                  <a:lnTo>
                    <a:pt x="17" y="201"/>
                  </a:lnTo>
                  <a:lnTo>
                    <a:pt x="18" y="202"/>
                  </a:lnTo>
                  <a:lnTo>
                    <a:pt x="17" y="204"/>
                  </a:lnTo>
                  <a:lnTo>
                    <a:pt x="17" y="205"/>
                  </a:lnTo>
                  <a:lnTo>
                    <a:pt x="16" y="205"/>
                  </a:lnTo>
                  <a:lnTo>
                    <a:pt x="17" y="206"/>
                  </a:lnTo>
                  <a:lnTo>
                    <a:pt x="17" y="207"/>
                  </a:lnTo>
                  <a:lnTo>
                    <a:pt x="17" y="208"/>
                  </a:lnTo>
                  <a:lnTo>
                    <a:pt x="17" y="207"/>
                  </a:lnTo>
                  <a:lnTo>
                    <a:pt x="16" y="207"/>
                  </a:lnTo>
                  <a:lnTo>
                    <a:pt x="15" y="210"/>
                  </a:lnTo>
                  <a:lnTo>
                    <a:pt x="14" y="211"/>
                  </a:lnTo>
                  <a:lnTo>
                    <a:pt x="12" y="211"/>
                  </a:lnTo>
                  <a:lnTo>
                    <a:pt x="11" y="211"/>
                  </a:lnTo>
                  <a:lnTo>
                    <a:pt x="12" y="212"/>
                  </a:lnTo>
                  <a:lnTo>
                    <a:pt x="12" y="213"/>
                  </a:lnTo>
                  <a:lnTo>
                    <a:pt x="11" y="213"/>
                  </a:lnTo>
                  <a:lnTo>
                    <a:pt x="10" y="213"/>
                  </a:lnTo>
                  <a:lnTo>
                    <a:pt x="10" y="214"/>
                  </a:lnTo>
                  <a:lnTo>
                    <a:pt x="10" y="216"/>
                  </a:lnTo>
                  <a:lnTo>
                    <a:pt x="9" y="217"/>
                  </a:lnTo>
                  <a:lnTo>
                    <a:pt x="8" y="217"/>
                  </a:lnTo>
                  <a:lnTo>
                    <a:pt x="8" y="218"/>
                  </a:lnTo>
                  <a:lnTo>
                    <a:pt x="8" y="219"/>
                  </a:lnTo>
                  <a:lnTo>
                    <a:pt x="6" y="219"/>
                  </a:lnTo>
                  <a:lnTo>
                    <a:pt x="6" y="220"/>
                  </a:lnTo>
                  <a:lnTo>
                    <a:pt x="6" y="219"/>
                  </a:lnTo>
                  <a:lnTo>
                    <a:pt x="5" y="220"/>
                  </a:lnTo>
                  <a:lnTo>
                    <a:pt x="4" y="219"/>
                  </a:lnTo>
                  <a:lnTo>
                    <a:pt x="3" y="220"/>
                  </a:lnTo>
                  <a:lnTo>
                    <a:pt x="3" y="219"/>
                  </a:lnTo>
                  <a:lnTo>
                    <a:pt x="0" y="219"/>
                  </a:lnTo>
                  <a:lnTo>
                    <a:pt x="0" y="220"/>
                  </a:lnTo>
                  <a:lnTo>
                    <a:pt x="2" y="222"/>
                  </a:lnTo>
                  <a:lnTo>
                    <a:pt x="2" y="223"/>
                  </a:lnTo>
                  <a:lnTo>
                    <a:pt x="3" y="223"/>
                  </a:lnTo>
                  <a:lnTo>
                    <a:pt x="4" y="223"/>
                  </a:lnTo>
                  <a:lnTo>
                    <a:pt x="5" y="223"/>
                  </a:lnTo>
                  <a:lnTo>
                    <a:pt x="5" y="224"/>
                  </a:lnTo>
                  <a:lnTo>
                    <a:pt x="6" y="226"/>
                  </a:lnTo>
                  <a:lnTo>
                    <a:pt x="6" y="228"/>
                  </a:lnTo>
                  <a:lnTo>
                    <a:pt x="6" y="229"/>
                  </a:lnTo>
                  <a:lnTo>
                    <a:pt x="8" y="229"/>
                  </a:lnTo>
                  <a:lnTo>
                    <a:pt x="5" y="230"/>
                  </a:lnTo>
                  <a:lnTo>
                    <a:pt x="5" y="231"/>
                  </a:lnTo>
                  <a:lnTo>
                    <a:pt x="4" y="230"/>
                  </a:lnTo>
                  <a:lnTo>
                    <a:pt x="4" y="231"/>
                  </a:lnTo>
                  <a:lnTo>
                    <a:pt x="4" y="232"/>
                  </a:lnTo>
                  <a:lnTo>
                    <a:pt x="5" y="232"/>
                  </a:lnTo>
                  <a:lnTo>
                    <a:pt x="6" y="232"/>
                  </a:lnTo>
                  <a:lnTo>
                    <a:pt x="8" y="232"/>
                  </a:lnTo>
                  <a:lnTo>
                    <a:pt x="9" y="231"/>
                  </a:lnTo>
                  <a:lnTo>
                    <a:pt x="9" y="230"/>
                  </a:lnTo>
                  <a:lnTo>
                    <a:pt x="10" y="229"/>
                  </a:lnTo>
                  <a:lnTo>
                    <a:pt x="11" y="229"/>
                  </a:lnTo>
                  <a:lnTo>
                    <a:pt x="11" y="228"/>
                  </a:lnTo>
                  <a:lnTo>
                    <a:pt x="11" y="226"/>
                  </a:lnTo>
                  <a:lnTo>
                    <a:pt x="12" y="226"/>
                  </a:lnTo>
                  <a:lnTo>
                    <a:pt x="14" y="226"/>
                  </a:lnTo>
                  <a:lnTo>
                    <a:pt x="15" y="226"/>
                  </a:lnTo>
                  <a:lnTo>
                    <a:pt x="16" y="226"/>
                  </a:lnTo>
                  <a:lnTo>
                    <a:pt x="18" y="226"/>
                  </a:lnTo>
                  <a:lnTo>
                    <a:pt x="17" y="225"/>
                  </a:lnTo>
                  <a:lnTo>
                    <a:pt x="17" y="224"/>
                  </a:lnTo>
                  <a:lnTo>
                    <a:pt x="18" y="225"/>
                  </a:lnTo>
                  <a:lnTo>
                    <a:pt x="20" y="225"/>
                  </a:lnTo>
                  <a:lnTo>
                    <a:pt x="21" y="226"/>
                  </a:lnTo>
                  <a:lnTo>
                    <a:pt x="21" y="228"/>
                  </a:lnTo>
                  <a:lnTo>
                    <a:pt x="21" y="229"/>
                  </a:lnTo>
                  <a:lnTo>
                    <a:pt x="21" y="230"/>
                  </a:lnTo>
                  <a:lnTo>
                    <a:pt x="22" y="230"/>
                  </a:lnTo>
                  <a:lnTo>
                    <a:pt x="22" y="231"/>
                  </a:lnTo>
                  <a:lnTo>
                    <a:pt x="22" y="230"/>
                  </a:lnTo>
                  <a:lnTo>
                    <a:pt x="23" y="231"/>
                  </a:lnTo>
                  <a:lnTo>
                    <a:pt x="25" y="231"/>
                  </a:lnTo>
                  <a:lnTo>
                    <a:pt x="25" y="230"/>
                  </a:lnTo>
                  <a:lnTo>
                    <a:pt x="25" y="229"/>
                  </a:lnTo>
                  <a:lnTo>
                    <a:pt x="26" y="228"/>
                  </a:lnTo>
                  <a:lnTo>
                    <a:pt x="26" y="226"/>
                  </a:lnTo>
                  <a:lnTo>
                    <a:pt x="27" y="226"/>
                  </a:lnTo>
                  <a:lnTo>
                    <a:pt x="28" y="226"/>
                  </a:lnTo>
                  <a:lnTo>
                    <a:pt x="29" y="226"/>
                  </a:lnTo>
                  <a:lnTo>
                    <a:pt x="28" y="226"/>
                  </a:lnTo>
                  <a:lnTo>
                    <a:pt x="28" y="225"/>
                  </a:lnTo>
                  <a:lnTo>
                    <a:pt x="29" y="225"/>
                  </a:lnTo>
                  <a:lnTo>
                    <a:pt x="31" y="225"/>
                  </a:lnTo>
                  <a:lnTo>
                    <a:pt x="31" y="224"/>
                  </a:lnTo>
                  <a:lnTo>
                    <a:pt x="31" y="223"/>
                  </a:lnTo>
                  <a:lnTo>
                    <a:pt x="32" y="223"/>
                  </a:lnTo>
                  <a:lnTo>
                    <a:pt x="32" y="222"/>
                  </a:lnTo>
                  <a:lnTo>
                    <a:pt x="33" y="222"/>
                  </a:lnTo>
                  <a:lnTo>
                    <a:pt x="34" y="224"/>
                  </a:lnTo>
                  <a:lnTo>
                    <a:pt x="35" y="224"/>
                  </a:lnTo>
                  <a:lnTo>
                    <a:pt x="37" y="223"/>
                  </a:lnTo>
                  <a:lnTo>
                    <a:pt x="38" y="223"/>
                  </a:lnTo>
                  <a:lnTo>
                    <a:pt x="38" y="224"/>
                  </a:lnTo>
                  <a:lnTo>
                    <a:pt x="39" y="225"/>
                  </a:lnTo>
                  <a:lnTo>
                    <a:pt x="38" y="226"/>
                  </a:lnTo>
                  <a:lnTo>
                    <a:pt x="37" y="228"/>
                  </a:lnTo>
                  <a:lnTo>
                    <a:pt x="38" y="226"/>
                  </a:lnTo>
                  <a:lnTo>
                    <a:pt x="37" y="226"/>
                  </a:lnTo>
                  <a:lnTo>
                    <a:pt x="35" y="226"/>
                  </a:lnTo>
                  <a:lnTo>
                    <a:pt x="34" y="228"/>
                  </a:lnTo>
                  <a:lnTo>
                    <a:pt x="33" y="228"/>
                  </a:lnTo>
                  <a:lnTo>
                    <a:pt x="32" y="228"/>
                  </a:lnTo>
                  <a:lnTo>
                    <a:pt x="31" y="228"/>
                  </a:lnTo>
                  <a:lnTo>
                    <a:pt x="31" y="229"/>
                  </a:lnTo>
                  <a:lnTo>
                    <a:pt x="31" y="230"/>
                  </a:lnTo>
                  <a:lnTo>
                    <a:pt x="29" y="230"/>
                  </a:lnTo>
                  <a:lnTo>
                    <a:pt x="29" y="231"/>
                  </a:lnTo>
                  <a:lnTo>
                    <a:pt x="28" y="231"/>
                  </a:lnTo>
                  <a:lnTo>
                    <a:pt x="28" y="232"/>
                  </a:lnTo>
                  <a:lnTo>
                    <a:pt x="28" y="234"/>
                  </a:lnTo>
                  <a:lnTo>
                    <a:pt x="28" y="235"/>
                  </a:lnTo>
                  <a:lnTo>
                    <a:pt x="29" y="236"/>
                  </a:lnTo>
                  <a:lnTo>
                    <a:pt x="31" y="236"/>
                  </a:lnTo>
                  <a:lnTo>
                    <a:pt x="31" y="235"/>
                  </a:lnTo>
                  <a:lnTo>
                    <a:pt x="32" y="235"/>
                  </a:lnTo>
                  <a:lnTo>
                    <a:pt x="33" y="235"/>
                  </a:lnTo>
                  <a:lnTo>
                    <a:pt x="33" y="236"/>
                  </a:lnTo>
                  <a:lnTo>
                    <a:pt x="34" y="235"/>
                  </a:lnTo>
                  <a:lnTo>
                    <a:pt x="35" y="236"/>
                  </a:lnTo>
                  <a:lnTo>
                    <a:pt x="35" y="237"/>
                  </a:lnTo>
                  <a:lnTo>
                    <a:pt x="35" y="238"/>
                  </a:lnTo>
                  <a:lnTo>
                    <a:pt x="37" y="237"/>
                  </a:lnTo>
                  <a:lnTo>
                    <a:pt x="38" y="237"/>
                  </a:lnTo>
                  <a:lnTo>
                    <a:pt x="38" y="238"/>
                  </a:lnTo>
                  <a:lnTo>
                    <a:pt x="38" y="237"/>
                  </a:lnTo>
                  <a:lnTo>
                    <a:pt x="39" y="238"/>
                  </a:lnTo>
                  <a:lnTo>
                    <a:pt x="40" y="237"/>
                  </a:lnTo>
                  <a:lnTo>
                    <a:pt x="40" y="238"/>
                  </a:lnTo>
                  <a:lnTo>
                    <a:pt x="41" y="238"/>
                  </a:lnTo>
                  <a:lnTo>
                    <a:pt x="43" y="238"/>
                  </a:lnTo>
                  <a:lnTo>
                    <a:pt x="45" y="237"/>
                  </a:lnTo>
                  <a:lnTo>
                    <a:pt x="45" y="236"/>
                  </a:lnTo>
                  <a:lnTo>
                    <a:pt x="46" y="236"/>
                  </a:lnTo>
                  <a:lnTo>
                    <a:pt x="47" y="236"/>
                  </a:lnTo>
                  <a:lnTo>
                    <a:pt x="47" y="235"/>
                  </a:lnTo>
                  <a:lnTo>
                    <a:pt x="47" y="236"/>
                  </a:lnTo>
                  <a:lnTo>
                    <a:pt x="46" y="237"/>
                  </a:lnTo>
                  <a:lnTo>
                    <a:pt x="45" y="237"/>
                  </a:lnTo>
                  <a:lnTo>
                    <a:pt x="45" y="238"/>
                  </a:lnTo>
                  <a:lnTo>
                    <a:pt x="45" y="240"/>
                  </a:lnTo>
                  <a:lnTo>
                    <a:pt x="46" y="238"/>
                  </a:lnTo>
                  <a:lnTo>
                    <a:pt x="46" y="240"/>
                  </a:lnTo>
                  <a:lnTo>
                    <a:pt x="46" y="241"/>
                  </a:lnTo>
                  <a:lnTo>
                    <a:pt x="45" y="241"/>
                  </a:lnTo>
                  <a:lnTo>
                    <a:pt x="46" y="242"/>
                  </a:lnTo>
                  <a:lnTo>
                    <a:pt x="47" y="242"/>
                  </a:lnTo>
                  <a:lnTo>
                    <a:pt x="49" y="242"/>
                  </a:lnTo>
                  <a:lnTo>
                    <a:pt x="50" y="242"/>
                  </a:lnTo>
                  <a:lnTo>
                    <a:pt x="51" y="242"/>
                  </a:lnTo>
                  <a:lnTo>
                    <a:pt x="51" y="243"/>
                  </a:lnTo>
                  <a:lnTo>
                    <a:pt x="52" y="245"/>
                  </a:lnTo>
                  <a:lnTo>
                    <a:pt x="52" y="243"/>
                  </a:lnTo>
                  <a:lnTo>
                    <a:pt x="53" y="243"/>
                  </a:lnTo>
                  <a:lnTo>
                    <a:pt x="53" y="245"/>
                  </a:lnTo>
                  <a:lnTo>
                    <a:pt x="52" y="246"/>
                  </a:lnTo>
                  <a:lnTo>
                    <a:pt x="52" y="247"/>
                  </a:lnTo>
                  <a:lnTo>
                    <a:pt x="50" y="248"/>
                  </a:lnTo>
                  <a:lnTo>
                    <a:pt x="49" y="248"/>
                  </a:lnTo>
                  <a:lnTo>
                    <a:pt x="49" y="247"/>
                  </a:lnTo>
                  <a:lnTo>
                    <a:pt x="47" y="247"/>
                  </a:lnTo>
                  <a:lnTo>
                    <a:pt x="47" y="248"/>
                  </a:lnTo>
                  <a:lnTo>
                    <a:pt x="46" y="248"/>
                  </a:lnTo>
                  <a:lnTo>
                    <a:pt x="46" y="249"/>
                  </a:lnTo>
                  <a:lnTo>
                    <a:pt x="46" y="251"/>
                  </a:lnTo>
                  <a:lnTo>
                    <a:pt x="46" y="252"/>
                  </a:lnTo>
                  <a:lnTo>
                    <a:pt x="46" y="253"/>
                  </a:lnTo>
                  <a:lnTo>
                    <a:pt x="47" y="253"/>
                  </a:lnTo>
                  <a:lnTo>
                    <a:pt x="49" y="253"/>
                  </a:lnTo>
                  <a:lnTo>
                    <a:pt x="49" y="254"/>
                  </a:lnTo>
                  <a:lnTo>
                    <a:pt x="50" y="254"/>
                  </a:lnTo>
                  <a:lnTo>
                    <a:pt x="49" y="255"/>
                  </a:lnTo>
                  <a:lnTo>
                    <a:pt x="47" y="255"/>
                  </a:lnTo>
                  <a:lnTo>
                    <a:pt x="46" y="254"/>
                  </a:lnTo>
                  <a:lnTo>
                    <a:pt x="45" y="254"/>
                  </a:lnTo>
                  <a:lnTo>
                    <a:pt x="45" y="255"/>
                  </a:lnTo>
                  <a:lnTo>
                    <a:pt x="44" y="257"/>
                  </a:lnTo>
                  <a:lnTo>
                    <a:pt x="44" y="258"/>
                  </a:lnTo>
                  <a:lnTo>
                    <a:pt x="43" y="258"/>
                  </a:lnTo>
                  <a:lnTo>
                    <a:pt x="43" y="259"/>
                  </a:lnTo>
                  <a:lnTo>
                    <a:pt x="43" y="258"/>
                  </a:lnTo>
                  <a:lnTo>
                    <a:pt x="43" y="259"/>
                  </a:lnTo>
                  <a:lnTo>
                    <a:pt x="43" y="260"/>
                  </a:lnTo>
                  <a:lnTo>
                    <a:pt x="44" y="260"/>
                  </a:lnTo>
                  <a:lnTo>
                    <a:pt x="43" y="260"/>
                  </a:lnTo>
                  <a:lnTo>
                    <a:pt x="43" y="261"/>
                  </a:lnTo>
                  <a:lnTo>
                    <a:pt x="44" y="263"/>
                  </a:lnTo>
                  <a:lnTo>
                    <a:pt x="45" y="263"/>
                  </a:lnTo>
                  <a:lnTo>
                    <a:pt x="45" y="261"/>
                  </a:lnTo>
                  <a:lnTo>
                    <a:pt x="46" y="263"/>
                  </a:lnTo>
                  <a:lnTo>
                    <a:pt x="47" y="261"/>
                  </a:lnTo>
                  <a:lnTo>
                    <a:pt x="47" y="263"/>
                  </a:lnTo>
                  <a:lnTo>
                    <a:pt x="49" y="261"/>
                  </a:lnTo>
                  <a:lnTo>
                    <a:pt x="50" y="261"/>
                  </a:lnTo>
                  <a:lnTo>
                    <a:pt x="50" y="260"/>
                  </a:lnTo>
                  <a:lnTo>
                    <a:pt x="51" y="260"/>
                  </a:lnTo>
                  <a:lnTo>
                    <a:pt x="52" y="260"/>
                  </a:lnTo>
                  <a:lnTo>
                    <a:pt x="52" y="259"/>
                  </a:lnTo>
                  <a:lnTo>
                    <a:pt x="53" y="258"/>
                  </a:lnTo>
                  <a:lnTo>
                    <a:pt x="55" y="259"/>
                  </a:lnTo>
                  <a:lnTo>
                    <a:pt x="56" y="259"/>
                  </a:lnTo>
                  <a:lnTo>
                    <a:pt x="56" y="258"/>
                  </a:lnTo>
                  <a:lnTo>
                    <a:pt x="55" y="258"/>
                  </a:lnTo>
                  <a:lnTo>
                    <a:pt x="55" y="255"/>
                  </a:lnTo>
                  <a:lnTo>
                    <a:pt x="53" y="257"/>
                  </a:lnTo>
                  <a:lnTo>
                    <a:pt x="53" y="258"/>
                  </a:lnTo>
                  <a:lnTo>
                    <a:pt x="52" y="258"/>
                  </a:lnTo>
                  <a:lnTo>
                    <a:pt x="52" y="259"/>
                  </a:lnTo>
                  <a:lnTo>
                    <a:pt x="51" y="259"/>
                  </a:lnTo>
                  <a:lnTo>
                    <a:pt x="50" y="259"/>
                  </a:lnTo>
                  <a:lnTo>
                    <a:pt x="49" y="259"/>
                  </a:lnTo>
                  <a:lnTo>
                    <a:pt x="49" y="258"/>
                  </a:lnTo>
                  <a:lnTo>
                    <a:pt x="50" y="257"/>
                  </a:lnTo>
                  <a:lnTo>
                    <a:pt x="50" y="258"/>
                  </a:lnTo>
                  <a:lnTo>
                    <a:pt x="50" y="257"/>
                  </a:lnTo>
                  <a:lnTo>
                    <a:pt x="51" y="257"/>
                  </a:lnTo>
                  <a:lnTo>
                    <a:pt x="51" y="255"/>
                  </a:lnTo>
                  <a:lnTo>
                    <a:pt x="51" y="254"/>
                  </a:lnTo>
                  <a:lnTo>
                    <a:pt x="50" y="254"/>
                  </a:lnTo>
                  <a:lnTo>
                    <a:pt x="51" y="253"/>
                  </a:lnTo>
                  <a:lnTo>
                    <a:pt x="52" y="252"/>
                  </a:lnTo>
                  <a:lnTo>
                    <a:pt x="52" y="251"/>
                  </a:lnTo>
                  <a:lnTo>
                    <a:pt x="53" y="251"/>
                  </a:lnTo>
                  <a:lnTo>
                    <a:pt x="53" y="252"/>
                  </a:lnTo>
                  <a:lnTo>
                    <a:pt x="55" y="252"/>
                  </a:lnTo>
                  <a:lnTo>
                    <a:pt x="53" y="252"/>
                  </a:lnTo>
                  <a:lnTo>
                    <a:pt x="52" y="253"/>
                  </a:lnTo>
                  <a:lnTo>
                    <a:pt x="53" y="253"/>
                  </a:lnTo>
                  <a:lnTo>
                    <a:pt x="55" y="253"/>
                  </a:lnTo>
                  <a:lnTo>
                    <a:pt x="55" y="252"/>
                  </a:lnTo>
                  <a:lnTo>
                    <a:pt x="56" y="252"/>
                  </a:lnTo>
                  <a:lnTo>
                    <a:pt x="56" y="251"/>
                  </a:lnTo>
                  <a:lnTo>
                    <a:pt x="57" y="251"/>
                  </a:lnTo>
                  <a:lnTo>
                    <a:pt x="58" y="249"/>
                  </a:lnTo>
                  <a:lnTo>
                    <a:pt x="59" y="248"/>
                  </a:lnTo>
                  <a:lnTo>
                    <a:pt x="61" y="248"/>
                  </a:lnTo>
                  <a:lnTo>
                    <a:pt x="61" y="247"/>
                  </a:lnTo>
                  <a:lnTo>
                    <a:pt x="59" y="247"/>
                  </a:lnTo>
                  <a:lnTo>
                    <a:pt x="59" y="246"/>
                  </a:lnTo>
                  <a:lnTo>
                    <a:pt x="58" y="245"/>
                  </a:lnTo>
                  <a:lnTo>
                    <a:pt x="59" y="245"/>
                  </a:lnTo>
                  <a:lnTo>
                    <a:pt x="58" y="243"/>
                  </a:lnTo>
                  <a:lnTo>
                    <a:pt x="59" y="243"/>
                  </a:lnTo>
                  <a:lnTo>
                    <a:pt x="59" y="245"/>
                  </a:lnTo>
                  <a:lnTo>
                    <a:pt x="62" y="245"/>
                  </a:lnTo>
                  <a:lnTo>
                    <a:pt x="62" y="243"/>
                  </a:lnTo>
                  <a:lnTo>
                    <a:pt x="63" y="243"/>
                  </a:lnTo>
                  <a:lnTo>
                    <a:pt x="64" y="242"/>
                  </a:lnTo>
                  <a:lnTo>
                    <a:pt x="65" y="242"/>
                  </a:lnTo>
                  <a:lnTo>
                    <a:pt x="67" y="242"/>
                  </a:lnTo>
                  <a:lnTo>
                    <a:pt x="67" y="241"/>
                  </a:lnTo>
                  <a:lnTo>
                    <a:pt x="67" y="240"/>
                  </a:lnTo>
                  <a:lnTo>
                    <a:pt x="68" y="238"/>
                  </a:lnTo>
                  <a:lnTo>
                    <a:pt x="67" y="237"/>
                  </a:lnTo>
                  <a:lnTo>
                    <a:pt x="67" y="238"/>
                  </a:lnTo>
                  <a:lnTo>
                    <a:pt x="65" y="237"/>
                  </a:lnTo>
                  <a:lnTo>
                    <a:pt x="64" y="236"/>
                  </a:lnTo>
                  <a:lnTo>
                    <a:pt x="64" y="237"/>
                  </a:lnTo>
                  <a:lnTo>
                    <a:pt x="64" y="236"/>
                  </a:lnTo>
                  <a:lnTo>
                    <a:pt x="64" y="235"/>
                  </a:lnTo>
                  <a:lnTo>
                    <a:pt x="64" y="236"/>
                  </a:lnTo>
                  <a:lnTo>
                    <a:pt x="64" y="235"/>
                  </a:lnTo>
                  <a:lnTo>
                    <a:pt x="64" y="234"/>
                  </a:lnTo>
                  <a:lnTo>
                    <a:pt x="63" y="232"/>
                  </a:lnTo>
                  <a:lnTo>
                    <a:pt x="63" y="234"/>
                  </a:lnTo>
                  <a:lnTo>
                    <a:pt x="63" y="235"/>
                  </a:lnTo>
                  <a:lnTo>
                    <a:pt x="63" y="236"/>
                  </a:lnTo>
                  <a:lnTo>
                    <a:pt x="62" y="236"/>
                  </a:lnTo>
                  <a:lnTo>
                    <a:pt x="62" y="235"/>
                  </a:lnTo>
                  <a:lnTo>
                    <a:pt x="62" y="236"/>
                  </a:lnTo>
                  <a:lnTo>
                    <a:pt x="63" y="236"/>
                  </a:lnTo>
                  <a:lnTo>
                    <a:pt x="63" y="237"/>
                  </a:lnTo>
                  <a:lnTo>
                    <a:pt x="62" y="237"/>
                  </a:lnTo>
                  <a:lnTo>
                    <a:pt x="61" y="237"/>
                  </a:lnTo>
                  <a:lnTo>
                    <a:pt x="61" y="236"/>
                  </a:lnTo>
                  <a:lnTo>
                    <a:pt x="59" y="237"/>
                  </a:lnTo>
                  <a:lnTo>
                    <a:pt x="61" y="237"/>
                  </a:lnTo>
                  <a:lnTo>
                    <a:pt x="59" y="238"/>
                  </a:lnTo>
                  <a:lnTo>
                    <a:pt x="58" y="238"/>
                  </a:lnTo>
                  <a:lnTo>
                    <a:pt x="57" y="238"/>
                  </a:lnTo>
                  <a:lnTo>
                    <a:pt x="57" y="236"/>
                  </a:lnTo>
                  <a:lnTo>
                    <a:pt x="58" y="236"/>
                  </a:lnTo>
                  <a:lnTo>
                    <a:pt x="57" y="235"/>
                  </a:lnTo>
                  <a:lnTo>
                    <a:pt x="57" y="234"/>
                  </a:lnTo>
                  <a:lnTo>
                    <a:pt x="57" y="232"/>
                  </a:lnTo>
                  <a:lnTo>
                    <a:pt x="58" y="232"/>
                  </a:lnTo>
                  <a:lnTo>
                    <a:pt x="59" y="232"/>
                  </a:lnTo>
                  <a:lnTo>
                    <a:pt x="61" y="232"/>
                  </a:lnTo>
                  <a:lnTo>
                    <a:pt x="62" y="232"/>
                  </a:lnTo>
                  <a:lnTo>
                    <a:pt x="63" y="232"/>
                  </a:lnTo>
                  <a:lnTo>
                    <a:pt x="64" y="232"/>
                  </a:lnTo>
                  <a:lnTo>
                    <a:pt x="65" y="232"/>
                  </a:lnTo>
                  <a:lnTo>
                    <a:pt x="67" y="231"/>
                  </a:lnTo>
                  <a:lnTo>
                    <a:pt x="69" y="230"/>
                  </a:lnTo>
                  <a:lnTo>
                    <a:pt x="70" y="230"/>
                  </a:lnTo>
                  <a:lnTo>
                    <a:pt x="70" y="231"/>
                  </a:lnTo>
                  <a:lnTo>
                    <a:pt x="69" y="231"/>
                  </a:lnTo>
                  <a:lnTo>
                    <a:pt x="70" y="232"/>
                  </a:lnTo>
                  <a:lnTo>
                    <a:pt x="71" y="232"/>
                  </a:lnTo>
                  <a:lnTo>
                    <a:pt x="73" y="234"/>
                  </a:lnTo>
                  <a:lnTo>
                    <a:pt x="74" y="234"/>
                  </a:lnTo>
                  <a:lnTo>
                    <a:pt x="75" y="234"/>
                  </a:lnTo>
                  <a:lnTo>
                    <a:pt x="76" y="234"/>
                  </a:lnTo>
                  <a:lnTo>
                    <a:pt x="76" y="232"/>
                  </a:lnTo>
                  <a:lnTo>
                    <a:pt x="77" y="232"/>
                  </a:lnTo>
                  <a:lnTo>
                    <a:pt x="79" y="234"/>
                  </a:lnTo>
                  <a:lnTo>
                    <a:pt x="80" y="234"/>
                  </a:lnTo>
                  <a:lnTo>
                    <a:pt x="80" y="235"/>
                  </a:lnTo>
                  <a:lnTo>
                    <a:pt x="81" y="235"/>
                  </a:lnTo>
                  <a:lnTo>
                    <a:pt x="81" y="234"/>
                  </a:lnTo>
                  <a:lnTo>
                    <a:pt x="82" y="234"/>
                  </a:lnTo>
                  <a:lnTo>
                    <a:pt x="83" y="235"/>
                  </a:lnTo>
                  <a:lnTo>
                    <a:pt x="85" y="234"/>
                  </a:lnTo>
                  <a:lnTo>
                    <a:pt x="85" y="231"/>
                  </a:lnTo>
                  <a:lnTo>
                    <a:pt x="86" y="231"/>
                  </a:lnTo>
                  <a:lnTo>
                    <a:pt x="87" y="231"/>
                  </a:lnTo>
                  <a:lnTo>
                    <a:pt x="88" y="231"/>
                  </a:lnTo>
                  <a:lnTo>
                    <a:pt x="92" y="232"/>
                  </a:lnTo>
                  <a:lnTo>
                    <a:pt x="93" y="232"/>
                  </a:lnTo>
                  <a:lnTo>
                    <a:pt x="94" y="232"/>
                  </a:lnTo>
                  <a:lnTo>
                    <a:pt x="97" y="232"/>
                  </a:lnTo>
                  <a:lnTo>
                    <a:pt x="98" y="234"/>
                  </a:lnTo>
                  <a:lnTo>
                    <a:pt x="100" y="234"/>
                  </a:lnTo>
                  <a:lnTo>
                    <a:pt x="102" y="234"/>
                  </a:lnTo>
                  <a:lnTo>
                    <a:pt x="103" y="234"/>
                  </a:lnTo>
                  <a:lnTo>
                    <a:pt x="105" y="234"/>
                  </a:lnTo>
                  <a:lnTo>
                    <a:pt x="109" y="234"/>
                  </a:lnTo>
                  <a:lnTo>
                    <a:pt x="110" y="235"/>
                  </a:lnTo>
                  <a:lnTo>
                    <a:pt x="110" y="236"/>
                  </a:lnTo>
                  <a:lnTo>
                    <a:pt x="109" y="236"/>
                  </a:lnTo>
                  <a:lnTo>
                    <a:pt x="109" y="237"/>
                  </a:lnTo>
                  <a:lnTo>
                    <a:pt x="109" y="236"/>
                  </a:lnTo>
                  <a:lnTo>
                    <a:pt x="108" y="237"/>
                  </a:lnTo>
                  <a:lnTo>
                    <a:pt x="106" y="237"/>
                  </a:lnTo>
                  <a:lnTo>
                    <a:pt x="105" y="236"/>
                  </a:lnTo>
                  <a:lnTo>
                    <a:pt x="105" y="237"/>
                  </a:lnTo>
                  <a:lnTo>
                    <a:pt x="104" y="237"/>
                  </a:lnTo>
                  <a:lnTo>
                    <a:pt x="103" y="238"/>
                  </a:lnTo>
                  <a:lnTo>
                    <a:pt x="103" y="240"/>
                  </a:lnTo>
                  <a:lnTo>
                    <a:pt x="102" y="240"/>
                  </a:lnTo>
                  <a:lnTo>
                    <a:pt x="102" y="241"/>
                  </a:lnTo>
                  <a:lnTo>
                    <a:pt x="102" y="242"/>
                  </a:lnTo>
                  <a:lnTo>
                    <a:pt x="102" y="243"/>
                  </a:lnTo>
                  <a:lnTo>
                    <a:pt x="102" y="245"/>
                  </a:lnTo>
                  <a:lnTo>
                    <a:pt x="103" y="246"/>
                  </a:lnTo>
                  <a:lnTo>
                    <a:pt x="104" y="246"/>
                  </a:lnTo>
                  <a:lnTo>
                    <a:pt x="105" y="247"/>
                  </a:lnTo>
                  <a:lnTo>
                    <a:pt x="108" y="247"/>
                  </a:lnTo>
                  <a:lnTo>
                    <a:pt x="106" y="247"/>
                  </a:lnTo>
                  <a:lnTo>
                    <a:pt x="105" y="248"/>
                  </a:lnTo>
                  <a:lnTo>
                    <a:pt x="103" y="248"/>
                  </a:lnTo>
                  <a:lnTo>
                    <a:pt x="98" y="248"/>
                  </a:lnTo>
                  <a:lnTo>
                    <a:pt x="97" y="248"/>
                  </a:lnTo>
                  <a:lnTo>
                    <a:pt x="94" y="248"/>
                  </a:lnTo>
                  <a:lnTo>
                    <a:pt x="92" y="249"/>
                  </a:lnTo>
                  <a:lnTo>
                    <a:pt x="91" y="249"/>
                  </a:lnTo>
                  <a:lnTo>
                    <a:pt x="90" y="249"/>
                  </a:lnTo>
                  <a:lnTo>
                    <a:pt x="90" y="248"/>
                  </a:lnTo>
                  <a:lnTo>
                    <a:pt x="90" y="247"/>
                  </a:lnTo>
                  <a:lnTo>
                    <a:pt x="91" y="248"/>
                  </a:lnTo>
                  <a:lnTo>
                    <a:pt x="91" y="247"/>
                  </a:lnTo>
                  <a:lnTo>
                    <a:pt x="92" y="246"/>
                  </a:lnTo>
                  <a:lnTo>
                    <a:pt x="91" y="246"/>
                  </a:lnTo>
                  <a:lnTo>
                    <a:pt x="88" y="246"/>
                  </a:lnTo>
                  <a:lnTo>
                    <a:pt x="87" y="246"/>
                  </a:lnTo>
                  <a:lnTo>
                    <a:pt x="87" y="247"/>
                  </a:lnTo>
                  <a:lnTo>
                    <a:pt x="86" y="247"/>
                  </a:lnTo>
                  <a:lnTo>
                    <a:pt x="85" y="246"/>
                  </a:lnTo>
                  <a:lnTo>
                    <a:pt x="83" y="246"/>
                  </a:lnTo>
                  <a:lnTo>
                    <a:pt x="83" y="245"/>
                  </a:lnTo>
                  <a:lnTo>
                    <a:pt x="82" y="245"/>
                  </a:lnTo>
                  <a:lnTo>
                    <a:pt x="81" y="243"/>
                  </a:lnTo>
                  <a:lnTo>
                    <a:pt x="80" y="243"/>
                  </a:lnTo>
                  <a:lnTo>
                    <a:pt x="79" y="243"/>
                  </a:lnTo>
                  <a:lnTo>
                    <a:pt x="77" y="243"/>
                  </a:lnTo>
                  <a:lnTo>
                    <a:pt x="76" y="245"/>
                  </a:lnTo>
                  <a:lnTo>
                    <a:pt x="75" y="246"/>
                  </a:lnTo>
                  <a:lnTo>
                    <a:pt x="74" y="247"/>
                  </a:lnTo>
                  <a:lnTo>
                    <a:pt x="74" y="248"/>
                  </a:lnTo>
                  <a:lnTo>
                    <a:pt x="73" y="247"/>
                  </a:lnTo>
                  <a:lnTo>
                    <a:pt x="73" y="248"/>
                  </a:lnTo>
                  <a:lnTo>
                    <a:pt x="71" y="249"/>
                  </a:lnTo>
                  <a:lnTo>
                    <a:pt x="70" y="251"/>
                  </a:lnTo>
                  <a:lnTo>
                    <a:pt x="70" y="249"/>
                  </a:lnTo>
                  <a:lnTo>
                    <a:pt x="69" y="249"/>
                  </a:lnTo>
                  <a:lnTo>
                    <a:pt x="68" y="249"/>
                  </a:lnTo>
                  <a:lnTo>
                    <a:pt x="67" y="249"/>
                  </a:lnTo>
                  <a:lnTo>
                    <a:pt x="65" y="249"/>
                  </a:lnTo>
                  <a:lnTo>
                    <a:pt x="65" y="251"/>
                  </a:lnTo>
                  <a:lnTo>
                    <a:pt x="65" y="252"/>
                  </a:lnTo>
                  <a:lnTo>
                    <a:pt x="64" y="253"/>
                  </a:lnTo>
                  <a:lnTo>
                    <a:pt x="64" y="254"/>
                  </a:lnTo>
                  <a:lnTo>
                    <a:pt x="64" y="255"/>
                  </a:lnTo>
                  <a:lnTo>
                    <a:pt x="65" y="255"/>
                  </a:lnTo>
                  <a:lnTo>
                    <a:pt x="64" y="255"/>
                  </a:lnTo>
                  <a:lnTo>
                    <a:pt x="63" y="257"/>
                  </a:lnTo>
                  <a:lnTo>
                    <a:pt x="62" y="257"/>
                  </a:lnTo>
                  <a:lnTo>
                    <a:pt x="61" y="257"/>
                  </a:lnTo>
                  <a:lnTo>
                    <a:pt x="59" y="258"/>
                  </a:lnTo>
                  <a:lnTo>
                    <a:pt x="59" y="259"/>
                  </a:lnTo>
                  <a:lnTo>
                    <a:pt x="59" y="260"/>
                  </a:lnTo>
                  <a:lnTo>
                    <a:pt x="61" y="261"/>
                  </a:lnTo>
                  <a:lnTo>
                    <a:pt x="59" y="260"/>
                  </a:lnTo>
                  <a:lnTo>
                    <a:pt x="58" y="260"/>
                  </a:lnTo>
                  <a:lnTo>
                    <a:pt x="58" y="261"/>
                  </a:lnTo>
                  <a:lnTo>
                    <a:pt x="58" y="263"/>
                  </a:lnTo>
                  <a:lnTo>
                    <a:pt x="58" y="264"/>
                  </a:lnTo>
                  <a:lnTo>
                    <a:pt x="57" y="265"/>
                  </a:lnTo>
                  <a:lnTo>
                    <a:pt x="56" y="266"/>
                  </a:lnTo>
                  <a:lnTo>
                    <a:pt x="57" y="266"/>
                  </a:lnTo>
                  <a:lnTo>
                    <a:pt x="58" y="266"/>
                  </a:lnTo>
                  <a:lnTo>
                    <a:pt x="58" y="267"/>
                  </a:lnTo>
                  <a:lnTo>
                    <a:pt x="57" y="267"/>
                  </a:lnTo>
                  <a:lnTo>
                    <a:pt x="56" y="270"/>
                  </a:lnTo>
                  <a:lnTo>
                    <a:pt x="57" y="269"/>
                  </a:lnTo>
                  <a:lnTo>
                    <a:pt x="56" y="269"/>
                  </a:lnTo>
                  <a:lnTo>
                    <a:pt x="56" y="270"/>
                  </a:lnTo>
                  <a:lnTo>
                    <a:pt x="55" y="271"/>
                  </a:lnTo>
                  <a:lnTo>
                    <a:pt x="53" y="272"/>
                  </a:lnTo>
                  <a:lnTo>
                    <a:pt x="52" y="272"/>
                  </a:lnTo>
                  <a:lnTo>
                    <a:pt x="52" y="273"/>
                  </a:lnTo>
                  <a:lnTo>
                    <a:pt x="53" y="276"/>
                  </a:lnTo>
                  <a:lnTo>
                    <a:pt x="55" y="277"/>
                  </a:lnTo>
                  <a:lnTo>
                    <a:pt x="56" y="276"/>
                  </a:lnTo>
                  <a:lnTo>
                    <a:pt x="57" y="276"/>
                  </a:lnTo>
                  <a:lnTo>
                    <a:pt x="57" y="275"/>
                  </a:lnTo>
                  <a:lnTo>
                    <a:pt x="58" y="275"/>
                  </a:lnTo>
                  <a:lnTo>
                    <a:pt x="59" y="275"/>
                  </a:lnTo>
                  <a:lnTo>
                    <a:pt x="59" y="273"/>
                  </a:lnTo>
                  <a:lnTo>
                    <a:pt x="61" y="273"/>
                  </a:lnTo>
                  <a:lnTo>
                    <a:pt x="62" y="273"/>
                  </a:lnTo>
                  <a:lnTo>
                    <a:pt x="63" y="272"/>
                  </a:lnTo>
                  <a:lnTo>
                    <a:pt x="63" y="271"/>
                  </a:lnTo>
                  <a:lnTo>
                    <a:pt x="64" y="272"/>
                  </a:lnTo>
                  <a:lnTo>
                    <a:pt x="63" y="272"/>
                  </a:lnTo>
                  <a:lnTo>
                    <a:pt x="64" y="272"/>
                  </a:lnTo>
                  <a:lnTo>
                    <a:pt x="64" y="273"/>
                  </a:lnTo>
                  <a:lnTo>
                    <a:pt x="65" y="273"/>
                  </a:lnTo>
                  <a:lnTo>
                    <a:pt x="64" y="273"/>
                  </a:lnTo>
                  <a:lnTo>
                    <a:pt x="65" y="271"/>
                  </a:lnTo>
                  <a:lnTo>
                    <a:pt x="67" y="271"/>
                  </a:lnTo>
                  <a:lnTo>
                    <a:pt x="67" y="272"/>
                  </a:lnTo>
                  <a:lnTo>
                    <a:pt x="68" y="271"/>
                  </a:lnTo>
                  <a:lnTo>
                    <a:pt x="67" y="271"/>
                  </a:lnTo>
                  <a:lnTo>
                    <a:pt x="68" y="270"/>
                  </a:lnTo>
                  <a:lnTo>
                    <a:pt x="69" y="270"/>
                  </a:lnTo>
                  <a:lnTo>
                    <a:pt x="70" y="270"/>
                  </a:lnTo>
                  <a:lnTo>
                    <a:pt x="71" y="270"/>
                  </a:lnTo>
                  <a:lnTo>
                    <a:pt x="71" y="269"/>
                  </a:lnTo>
                  <a:lnTo>
                    <a:pt x="73" y="269"/>
                  </a:lnTo>
                  <a:lnTo>
                    <a:pt x="73" y="270"/>
                  </a:lnTo>
                  <a:lnTo>
                    <a:pt x="74" y="270"/>
                  </a:lnTo>
                  <a:lnTo>
                    <a:pt x="73" y="271"/>
                  </a:lnTo>
                  <a:lnTo>
                    <a:pt x="71" y="271"/>
                  </a:lnTo>
                  <a:lnTo>
                    <a:pt x="71" y="272"/>
                  </a:lnTo>
                  <a:lnTo>
                    <a:pt x="73" y="271"/>
                  </a:lnTo>
                  <a:lnTo>
                    <a:pt x="73" y="272"/>
                  </a:lnTo>
                  <a:lnTo>
                    <a:pt x="74" y="272"/>
                  </a:lnTo>
                  <a:lnTo>
                    <a:pt x="75" y="272"/>
                  </a:lnTo>
                  <a:lnTo>
                    <a:pt x="76" y="273"/>
                  </a:lnTo>
                  <a:lnTo>
                    <a:pt x="77" y="273"/>
                  </a:lnTo>
                  <a:lnTo>
                    <a:pt x="77" y="275"/>
                  </a:lnTo>
                  <a:lnTo>
                    <a:pt x="79" y="275"/>
                  </a:lnTo>
                  <a:lnTo>
                    <a:pt x="79" y="273"/>
                  </a:lnTo>
                  <a:lnTo>
                    <a:pt x="79" y="275"/>
                  </a:lnTo>
                  <a:lnTo>
                    <a:pt x="77" y="275"/>
                  </a:lnTo>
                  <a:lnTo>
                    <a:pt x="76" y="276"/>
                  </a:lnTo>
                  <a:lnTo>
                    <a:pt x="79" y="276"/>
                  </a:lnTo>
                  <a:lnTo>
                    <a:pt x="80" y="276"/>
                  </a:lnTo>
                  <a:lnTo>
                    <a:pt x="81" y="276"/>
                  </a:lnTo>
                  <a:lnTo>
                    <a:pt x="82" y="276"/>
                  </a:lnTo>
                  <a:lnTo>
                    <a:pt x="83" y="276"/>
                  </a:lnTo>
                  <a:lnTo>
                    <a:pt x="85" y="275"/>
                  </a:lnTo>
                  <a:lnTo>
                    <a:pt x="86" y="276"/>
                  </a:lnTo>
                  <a:lnTo>
                    <a:pt x="85" y="277"/>
                  </a:lnTo>
                  <a:lnTo>
                    <a:pt x="85" y="278"/>
                  </a:lnTo>
                  <a:lnTo>
                    <a:pt x="86" y="277"/>
                  </a:lnTo>
                  <a:lnTo>
                    <a:pt x="87" y="277"/>
                  </a:lnTo>
                  <a:lnTo>
                    <a:pt x="87" y="278"/>
                  </a:lnTo>
                  <a:lnTo>
                    <a:pt x="88" y="278"/>
                  </a:lnTo>
                  <a:lnTo>
                    <a:pt x="88" y="277"/>
                  </a:lnTo>
                  <a:lnTo>
                    <a:pt x="90" y="278"/>
                  </a:lnTo>
                  <a:lnTo>
                    <a:pt x="90" y="277"/>
                  </a:lnTo>
                  <a:lnTo>
                    <a:pt x="90" y="276"/>
                  </a:lnTo>
                  <a:lnTo>
                    <a:pt x="88" y="276"/>
                  </a:lnTo>
                  <a:lnTo>
                    <a:pt x="88" y="275"/>
                  </a:lnTo>
                  <a:lnTo>
                    <a:pt x="88" y="273"/>
                  </a:lnTo>
                  <a:lnTo>
                    <a:pt x="90" y="275"/>
                  </a:lnTo>
                  <a:lnTo>
                    <a:pt x="91" y="275"/>
                  </a:lnTo>
                  <a:lnTo>
                    <a:pt x="91" y="273"/>
                  </a:lnTo>
                  <a:lnTo>
                    <a:pt x="92" y="273"/>
                  </a:lnTo>
                  <a:lnTo>
                    <a:pt x="92" y="272"/>
                  </a:lnTo>
                  <a:lnTo>
                    <a:pt x="92" y="271"/>
                  </a:lnTo>
                  <a:lnTo>
                    <a:pt x="91" y="271"/>
                  </a:lnTo>
                  <a:lnTo>
                    <a:pt x="90" y="271"/>
                  </a:lnTo>
                  <a:lnTo>
                    <a:pt x="88" y="271"/>
                  </a:lnTo>
                  <a:lnTo>
                    <a:pt x="87" y="270"/>
                  </a:lnTo>
                  <a:lnTo>
                    <a:pt x="86" y="270"/>
                  </a:lnTo>
                  <a:lnTo>
                    <a:pt x="86" y="269"/>
                  </a:lnTo>
                  <a:lnTo>
                    <a:pt x="87" y="267"/>
                  </a:lnTo>
                  <a:lnTo>
                    <a:pt x="87" y="266"/>
                  </a:lnTo>
                  <a:lnTo>
                    <a:pt x="86" y="266"/>
                  </a:lnTo>
                  <a:lnTo>
                    <a:pt x="86" y="265"/>
                  </a:lnTo>
                  <a:lnTo>
                    <a:pt x="85" y="264"/>
                  </a:lnTo>
                  <a:lnTo>
                    <a:pt x="86" y="264"/>
                  </a:lnTo>
                  <a:lnTo>
                    <a:pt x="86" y="263"/>
                  </a:lnTo>
                  <a:lnTo>
                    <a:pt x="87" y="263"/>
                  </a:lnTo>
                  <a:lnTo>
                    <a:pt x="88" y="263"/>
                  </a:lnTo>
                  <a:lnTo>
                    <a:pt x="88" y="261"/>
                  </a:lnTo>
                  <a:lnTo>
                    <a:pt x="87" y="260"/>
                  </a:lnTo>
                  <a:lnTo>
                    <a:pt x="87" y="259"/>
                  </a:lnTo>
                  <a:lnTo>
                    <a:pt x="87" y="258"/>
                  </a:lnTo>
                  <a:lnTo>
                    <a:pt x="87" y="259"/>
                  </a:lnTo>
                  <a:lnTo>
                    <a:pt x="87" y="258"/>
                  </a:lnTo>
                  <a:lnTo>
                    <a:pt x="87" y="257"/>
                  </a:lnTo>
                  <a:lnTo>
                    <a:pt x="86" y="257"/>
                  </a:lnTo>
                  <a:lnTo>
                    <a:pt x="87" y="255"/>
                  </a:lnTo>
                  <a:lnTo>
                    <a:pt x="88" y="253"/>
                  </a:lnTo>
                  <a:lnTo>
                    <a:pt x="87" y="252"/>
                  </a:lnTo>
                  <a:lnTo>
                    <a:pt x="88" y="252"/>
                  </a:lnTo>
                  <a:lnTo>
                    <a:pt x="90" y="252"/>
                  </a:lnTo>
                  <a:lnTo>
                    <a:pt x="90" y="253"/>
                  </a:lnTo>
                  <a:lnTo>
                    <a:pt x="91" y="253"/>
                  </a:lnTo>
                  <a:lnTo>
                    <a:pt x="91" y="252"/>
                  </a:lnTo>
                  <a:lnTo>
                    <a:pt x="92" y="251"/>
                  </a:lnTo>
                  <a:lnTo>
                    <a:pt x="97" y="251"/>
                  </a:lnTo>
                  <a:lnTo>
                    <a:pt x="98" y="251"/>
                  </a:lnTo>
                  <a:lnTo>
                    <a:pt x="99" y="249"/>
                  </a:lnTo>
                  <a:lnTo>
                    <a:pt x="102" y="249"/>
                  </a:lnTo>
                  <a:lnTo>
                    <a:pt x="103" y="251"/>
                  </a:lnTo>
                  <a:lnTo>
                    <a:pt x="102" y="251"/>
                  </a:lnTo>
                  <a:lnTo>
                    <a:pt x="103" y="252"/>
                  </a:lnTo>
                  <a:lnTo>
                    <a:pt x="103" y="251"/>
                  </a:lnTo>
                  <a:lnTo>
                    <a:pt x="104" y="252"/>
                  </a:lnTo>
                  <a:lnTo>
                    <a:pt x="105" y="251"/>
                  </a:lnTo>
                  <a:lnTo>
                    <a:pt x="105" y="252"/>
                  </a:lnTo>
                  <a:lnTo>
                    <a:pt x="106" y="253"/>
                  </a:lnTo>
                  <a:lnTo>
                    <a:pt x="108" y="252"/>
                  </a:lnTo>
                  <a:lnTo>
                    <a:pt x="109" y="253"/>
                  </a:lnTo>
                  <a:lnTo>
                    <a:pt x="110" y="254"/>
                  </a:lnTo>
                  <a:lnTo>
                    <a:pt x="111" y="257"/>
                  </a:lnTo>
                  <a:lnTo>
                    <a:pt x="112" y="257"/>
                  </a:lnTo>
                  <a:lnTo>
                    <a:pt x="114" y="257"/>
                  </a:lnTo>
                  <a:lnTo>
                    <a:pt x="114" y="255"/>
                  </a:lnTo>
                  <a:lnTo>
                    <a:pt x="115" y="255"/>
                  </a:lnTo>
                  <a:lnTo>
                    <a:pt x="115" y="254"/>
                  </a:lnTo>
                  <a:lnTo>
                    <a:pt x="116" y="254"/>
                  </a:lnTo>
                  <a:lnTo>
                    <a:pt x="118" y="254"/>
                  </a:lnTo>
                  <a:lnTo>
                    <a:pt x="120" y="254"/>
                  </a:lnTo>
                  <a:lnTo>
                    <a:pt x="122" y="255"/>
                  </a:lnTo>
                  <a:lnTo>
                    <a:pt x="121" y="257"/>
                  </a:lnTo>
                  <a:lnTo>
                    <a:pt x="120" y="255"/>
                  </a:lnTo>
                  <a:lnTo>
                    <a:pt x="118" y="257"/>
                  </a:lnTo>
                  <a:lnTo>
                    <a:pt x="117" y="257"/>
                  </a:lnTo>
                  <a:lnTo>
                    <a:pt x="118" y="257"/>
                  </a:lnTo>
                  <a:lnTo>
                    <a:pt x="118" y="258"/>
                  </a:lnTo>
                  <a:lnTo>
                    <a:pt x="118" y="260"/>
                  </a:lnTo>
                  <a:lnTo>
                    <a:pt x="118" y="261"/>
                  </a:lnTo>
                  <a:lnTo>
                    <a:pt x="117" y="261"/>
                  </a:lnTo>
                  <a:lnTo>
                    <a:pt x="118" y="263"/>
                  </a:lnTo>
                  <a:lnTo>
                    <a:pt x="120" y="264"/>
                  </a:lnTo>
                  <a:lnTo>
                    <a:pt x="118" y="265"/>
                  </a:lnTo>
                  <a:lnTo>
                    <a:pt x="120" y="266"/>
                  </a:lnTo>
                  <a:lnTo>
                    <a:pt x="120" y="265"/>
                  </a:lnTo>
                  <a:lnTo>
                    <a:pt x="121" y="265"/>
                  </a:lnTo>
                  <a:lnTo>
                    <a:pt x="121" y="266"/>
                  </a:lnTo>
                  <a:lnTo>
                    <a:pt x="122" y="266"/>
                  </a:lnTo>
                  <a:lnTo>
                    <a:pt x="120" y="266"/>
                  </a:lnTo>
                  <a:lnTo>
                    <a:pt x="118" y="266"/>
                  </a:lnTo>
                  <a:lnTo>
                    <a:pt x="118" y="267"/>
                  </a:lnTo>
                  <a:lnTo>
                    <a:pt x="120" y="267"/>
                  </a:lnTo>
                  <a:lnTo>
                    <a:pt x="121" y="267"/>
                  </a:lnTo>
                  <a:lnTo>
                    <a:pt x="121" y="269"/>
                  </a:lnTo>
                  <a:lnTo>
                    <a:pt x="122" y="269"/>
                  </a:lnTo>
                  <a:lnTo>
                    <a:pt x="121" y="270"/>
                  </a:lnTo>
                  <a:lnTo>
                    <a:pt x="121" y="271"/>
                  </a:lnTo>
                  <a:lnTo>
                    <a:pt x="122" y="270"/>
                  </a:lnTo>
                  <a:lnTo>
                    <a:pt x="123" y="269"/>
                  </a:lnTo>
                  <a:lnTo>
                    <a:pt x="123" y="270"/>
                  </a:lnTo>
                  <a:lnTo>
                    <a:pt x="123" y="269"/>
                  </a:lnTo>
                  <a:lnTo>
                    <a:pt x="124" y="270"/>
                  </a:lnTo>
                  <a:lnTo>
                    <a:pt x="124" y="269"/>
                  </a:lnTo>
                  <a:lnTo>
                    <a:pt x="126" y="267"/>
                  </a:lnTo>
                  <a:lnTo>
                    <a:pt x="124" y="267"/>
                  </a:lnTo>
                  <a:lnTo>
                    <a:pt x="123" y="269"/>
                  </a:lnTo>
                  <a:lnTo>
                    <a:pt x="124" y="267"/>
                  </a:lnTo>
                  <a:lnTo>
                    <a:pt x="124" y="266"/>
                  </a:lnTo>
                  <a:lnTo>
                    <a:pt x="126" y="266"/>
                  </a:lnTo>
                  <a:lnTo>
                    <a:pt x="124" y="266"/>
                  </a:lnTo>
                  <a:lnTo>
                    <a:pt x="124" y="265"/>
                  </a:lnTo>
                  <a:lnTo>
                    <a:pt x="124" y="264"/>
                  </a:lnTo>
                  <a:lnTo>
                    <a:pt x="126" y="266"/>
                  </a:lnTo>
                  <a:lnTo>
                    <a:pt x="127" y="266"/>
                  </a:lnTo>
                  <a:lnTo>
                    <a:pt x="127" y="267"/>
                  </a:lnTo>
                  <a:lnTo>
                    <a:pt x="129" y="269"/>
                  </a:lnTo>
                  <a:lnTo>
                    <a:pt x="130" y="271"/>
                  </a:lnTo>
                  <a:lnTo>
                    <a:pt x="132" y="273"/>
                  </a:lnTo>
                  <a:lnTo>
                    <a:pt x="129" y="276"/>
                  </a:lnTo>
                  <a:lnTo>
                    <a:pt x="126" y="275"/>
                  </a:lnTo>
                  <a:lnTo>
                    <a:pt x="124" y="275"/>
                  </a:lnTo>
                  <a:lnTo>
                    <a:pt x="122" y="273"/>
                  </a:lnTo>
                  <a:lnTo>
                    <a:pt x="121" y="273"/>
                  </a:lnTo>
                  <a:lnTo>
                    <a:pt x="118" y="273"/>
                  </a:lnTo>
                  <a:lnTo>
                    <a:pt x="115" y="272"/>
                  </a:lnTo>
                  <a:lnTo>
                    <a:pt x="108" y="272"/>
                  </a:lnTo>
                  <a:lnTo>
                    <a:pt x="103" y="271"/>
                  </a:lnTo>
                  <a:lnTo>
                    <a:pt x="102" y="271"/>
                  </a:lnTo>
                  <a:lnTo>
                    <a:pt x="102" y="270"/>
                  </a:lnTo>
                  <a:lnTo>
                    <a:pt x="102" y="271"/>
                  </a:lnTo>
                  <a:lnTo>
                    <a:pt x="100" y="271"/>
                  </a:lnTo>
                  <a:lnTo>
                    <a:pt x="99" y="271"/>
                  </a:lnTo>
                  <a:lnTo>
                    <a:pt x="100" y="272"/>
                  </a:lnTo>
                  <a:lnTo>
                    <a:pt x="103" y="273"/>
                  </a:lnTo>
                  <a:lnTo>
                    <a:pt x="104" y="273"/>
                  </a:lnTo>
                  <a:lnTo>
                    <a:pt x="109" y="273"/>
                  </a:lnTo>
                  <a:lnTo>
                    <a:pt x="111" y="275"/>
                  </a:lnTo>
                  <a:lnTo>
                    <a:pt x="114" y="275"/>
                  </a:lnTo>
                  <a:lnTo>
                    <a:pt x="116" y="275"/>
                  </a:lnTo>
                  <a:lnTo>
                    <a:pt x="118" y="275"/>
                  </a:lnTo>
                  <a:lnTo>
                    <a:pt x="120" y="276"/>
                  </a:lnTo>
                  <a:lnTo>
                    <a:pt x="122" y="277"/>
                  </a:lnTo>
                  <a:lnTo>
                    <a:pt x="126" y="278"/>
                  </a:lnTo>
                  <a:lnTo>
                    <a:pt x="128" y="278"/>
                  </a:lnTo>
                  <a:lnTo>
                    <a:pt x="130" y="279"/>
                  </a:lnTo>
                  <a:lnTo>
                    <a:pt x="130" y="282"/>
                  </a:lnTo>
                  <a:lnTo>
                    <a:pt x="129" y="283"/>
                  </a:lnTo>
                  <a:lnTo>
                    <a:pt x="129" y="284"/>
                  </a:lnTo>
                  <a:lnTo>
                    <a:pt x="129" y="288"/>
                  </a:lnTo>
                  <a:lnTo>
                    <a:pt x="130" y="289"/>
                  </a:lnTo>
                  <a:lnTo>
                    <a:pt x="130" y="293"/>
                  </a:lnTo>
                  <a:lnTo>
                    <a:pt x="132" y="295"/>
                  </a:lnTo>
                  <a:lnTo>
                    <a:pt x="132" y="299"/>
                  </a:lnTo>
                  <a:lnTo>
                    <a:pt x="130" y="303"/>
                  </a:lnTo>
                  <a:lnTo>
                    <a:pt x="130" y="306"/>
                  </a:lnTo>
                  <a:lnTo>
                    <a:pt x="130" y="318"/>
                  </a:lnTo>
                  <a:lnTo>
                    <a:pt x="130" y="321"/>
                  </a:lnTo>
                  <a:lnTo>
                    <a:pt x="130" y="324"/>
                  </a:lnTo>
                  <a:lnTo>
                    <a:pt x="130" y="326"/>
                  </a:lnTo>
                  <a:lnTo>
                    <a:pt x="132" y="327"/>
                  </a:lnTo>
                  <a:lnTo>
                    <a:pt x="133" y="329"/>
                  </a:lnTo>
                  <a:lnTo>
                    <a:pt x="134" y="329"/>
                  </a:lnTo>
                  <a:lnTo>
                    <a:pt x="136" y="329"/>
                  </a:lnTo>
                  <a:lnTo>
                    <a:pt x="141" y="329"/>
                  </a:lnTo>
                  <a:lnTo>
                    <a:pt x="144" y="327"/>
                  </a:lnTo>
                  <a:lnTo>
                    <a:pt x="145" y="326"/>
                  </a:lnTo>
                  <a:lnTo>
                    <a:pt x="145" y="323"/>
                  </a:lnTo>
                  <a:lnTo>
                    <a:pt x="145" y="320"/>
                  </a:lnTo>
                  <a:lnTo>
                    <a:pt x="144" y="317"/>
                  </a:lnTo>
                  <a:lnTo>
                    <a:pt x="144" y="311"/>
                  </a:lnTo>
                  <a:lnTo>
                    <a:pt x="144" y="308"/>
                  </a:lnTo>
                  <a:lnTo>
                    <a:pt x="145" y="307"/>
                  </a:lnTo>
                  <a:lnTo>
                    <a:pt x="144" y="302"/>
                  </a:lnTo>
                  <a:lnTo>
                    <a:pt x="144" y="300"/>
                  </a:lnTo>
                  <a:lnTo>
                    <a:pt x="142" y="294"/>
                  </a:lnTo>
                  <a:lnTo>
                    <a:pt x="142" y="287"/>
                  </a:lnTo>
                  <a:lnTo>
                    <a:pt x="144" y="284"/>
                  </a:lnTo>
                  <a:lnTo>
                    <a:pt x="146" y="283"/>
                  </a:lnTo>
                  <a:lnTo>
                    <a:pt x="152" y="281"/>
                  </a:lnTo>
                  <a:lnTo>
                    <a:pt x="155" y="279"/>
                  </a:lnTo>
                  <a:lnTo>
                    <a:pt x="157" y="277"/>
                  </a:lnTo>
                  <a:lnTo>
                    <a:pt x="161" y="277"/>
                  </a:lnTo>
                  <a:lnTo>
                    <a:pt x="164" y="277"/>
                  </a:lnTo>
                  <a:lnTo>
                    <a:pt x="165" y="277"/>
                  </a:lnTo>
                  <a:lnTo>
                    <a:pt x="167" y="276"/>
                  </a:lnTo>
                  <a:lnTo>
                    <a:pt x="170" y="276"/>
                  </a:lnTo>
                  <a:lnTo>
                    <a:pt x="174" y="275"/>
                  </a:lnTo>
                  <a:lnTo>
                    <a:pt x="176" y="275"/>
                  </a:lnTo>
                  <a:lnTo>
                    <a:pt x="179" y="275"/>
                  </a:lnTo>
                  <a:lnTo>
                    <a:pt x="180" y="275"/>
                  </a:lnTo>
                  <a:lnTo>
                    <a:pt x="181" y="276"/>
                  </a:lnTo>
                  <a:lnTo>
                    <a:pt x="182" y="277"/>
                  </a:lnTo>
                  <a:lnTo>
                    <a:pt x="183" y="278"/>
                  </a:lnTo>
                  <a:lnTo>
                    <a:pt x="185" y="278"/>
                  </a:lnTo>
                  <a:lnTo>
                    <a:pt x="187" y="278"/>
                  </a:lnTo>
                  <a:lnTo>
                    <a:pt x="185" y="276"/>
                  </a:lnTo>
                  <a:lnTo>
                    <a:pt x="181" y="275"/>
                  </a:lnTo>
                  <a:lnTo>
                    <a:pt x="180" y="272"/>
                  </a:lnTo>
                  <a:lnTo>
                    <a:pt x="177" y="271"/>
                  </a:lnTo>
                  <a:lnTo>
                    <a:pt x="179" y="269"/>
                  </a:lnTo>
                  <a:lnTo>
                    <a:pt x="182" y="269"/>
                  </a:lnTo>
                  <a:lnTo>
                    <a:pt x="185" y="270"/>
                  </a:lnTo>
                  <a:lnTo>
                    <a:pt x="187" y="270"/>
                  </a:lnTo>
                  <a:lnTo>
                    <a:pt x="188" y="269"/>
                  </a:lnTo>
                  <a:lnTo>
                    <a:pt x="194" y="270"/>
                  </a:lnTo>
                  <a:lnTo>
                    <a:pt x="198" y="270"/>
                  </a:lnTo>
                  <a:lnTo>
                    <a:pt x="199" y="270"/>
                  </a:lnTo>
                  <a:lnTo>
                    <a:pt x="200" y="270"/>
                  </a:lnTo>
                  <a:lnTo>
                    <a:pt x="201" y="270"/>
                  </a:lnTo>
                  <a:lnTo>
                    <a:pt x="203" y="270"/>
                  </a:lnTo>
                  <a:lnTo>
                    <a:pt x="204" y="270"/>
                  </a:lnTo>
                  <a:lnTo>
                    <a:pt x="204" y="271"/>
                  </a:lnTo>
                  <a:lnTo>
                    <a:pt x="204" y="272"/>
                  </a:lnTo>
                  <a:lnTo>
                    <a:pt x="205" y="273"/>
                  </a:lnTo>
                  <a:lnTo>
                    <a:pt x="208" y="273"/>
                  </a:lnTo>
                  <a:lnTo>
                    <a:pt x="209" y="273"/>
                  </a:lnTo>
                  <a:lnTo>
                    <a:pt x="209" y="275"/>
                  </a:lnTo>
                  <a:lnTo>
                    <a:pt x="209" y="276"/>
                  </a:lnTo>
                  <a:lnTo>
                    <a:pt x="210" y="276"/>
                  </a:lnTo>
                  <a:lnTo>
                    <a:pt x="211" y="277"/>
                  </a:lnTo>
                  <a:lnTo>
                    <a:pt x="212" y="277"/>
                  </a:lnTo>
                  <a:lnTo>
                    <a:pt x="214" y="278"/>
                  </a:lnTo>
                  <a:lnTo>
                    <a:pt x="215" y="278"/>
                  </a:lnTo>
                  <a:lnTo>
                    <a:pt x="216" y="277"/>
                  </a:lnTo>
                  <a:lnTo>
                    <a:pt x="217" y="277"/>
                  </a:lnTo>
                  <a:lnTo>
                    <a:pt x="217" y="276"/>
                  </a:lnTo>
                  <a:lnTo>
                    <a:pt x="220" y="276"/>
                  </a:lnTo>
                  <a:lnTo>
                    <a:pt x="221" y="277"/>
                  </a:lnTo>
                  <a:lnTo>
                    <a:pt x="221" y="278"/>
                  </a:lnTo>
                  <a:lnTo>
                    <a:pt x="222" y="279"/>
                  </a:lnTo>
                  <a:lnTo>
                    <a:pt x="222" y="281"/>
                  </a:lnTo>
                  <a:lnTo>
                    <a:pt x="223" y="281"/>
                  </a:lnTo>
                  <a:lnTo>
                    <a:pt x="224" y="282"/>
                  </a:lnTo>
                  <a:lnTo>
                    <a:pt x="226" y="282"/>
                  </a:lnTo>
                  <a:lnTo>
                    <a:pt x="227" y="281"/>
                  </a:lnTo>
                  <a:lnTo>
                    <a:pt x="228" y="281"/>
                  </a:lnTo>
                  <a:lnTo>
                    <a:pt x="230" y="281"/>
                  </a:lnTo>
                  <a:lnTo>
                    <a:pt x="232" y="282"/>
                  </a:lnTo>
                  <a:lnTo>
                    <a:pt x="232" y="281"/>
                  </a:lnTo>
                  <a:lnTo>
                    <a:pt x="232" y="279"/>
                  </a:lnTo>
                  <a:lnTo>
                    <a:pt x="232" y="278"/>
                  </a:lnTo>
                  <a:lnTo>
                    <a:pt x="232" y="279"/>
                  </a:lnTo>
                  <a:lnTo>
                    <a:pt x="233" y="279"/>
                  </a:lnTo>
                  <a:lnTo>
                    <a:pt x="233" y="278"/>
                  </a:lnTo>
                  <a:lnTo>
                    <a:pt x="233" y="279"/>
                  </a:lnTo>
                  <a:lnTo>
                    <a:pt x="234" y="278"/>
                  </a:lnTo>
                  <a:lnTo>
                    <a:pt x="235" y="279"/>
                  </a:lnTo>
                  <a:lnTo>
                    <a:pt x="236" y="279"/>
                  </a:lnTo>
                  <a:lnTo>
                    <a:pt x="238" y="279"/>
                  </a:lnTo>
                  <a:lnTo>
                    <a:pt x="236" y="278"/>
                  </a:lnTo>
                  <a:lnTo>
                    <a:pt x="238" y="278"/>
                  </a:lnTo>
                  <a:lnTo>
                    <a:pt x="238" y="277"/>
                  </a:lnTo>
                  <a:lnTo>
                    <a:pt x="239" y="277"/>
                  </a:lnTo>
                  <a:lnTo>
                    <a:pt x="240" y="276"/>
                  </a:lnTo>
                  <a:lnTo>
                    <a:pt x="239" y="275"/>
                  </a:lnTo>
                  <a:lnTo>
                    <a:pt x="238" y="276"/>
                  </a:lnTo>
                  <a:lnTo>
                    <a:pt x="236" y="276"/>
                  </a:lnTo>
                  <a:lnTo>
                    <a:pt x="235" y="276"/>
                  </a:lnTo>
                  <a:lnTo>
                    <a:pt x="234" y="277"/>
                  </a:lnTo>
                  <a:lnTo>
                    <a:pt x="233" y="276"/>
                  </a:lnTo>
                  <a:lnTo>
                    <a:pt x="234" y="276"/>
                  </a:lnTo>
                  <a:lnTo>
                    <a:pt x="234" y="275"/>
                  </a:lnTo>
                  <a:lnTo>
                    <a:pt x="234" y="273"/>
                  </a:lnTo>
                  <a:lnTo>
                    <a:pt x="234" y="272"/>
                  </a:lnTo>
                  <a:lnTo>
                    <a:pt x="233" y="272"/>
                  </a:lnTo>
                  <a:lnTo>
                    <a:pt x="233" y="271"/>
                  </a:lnTo>
                  <a:lnTo>
                    <a:pt x="232" y="272"/>
                  </a:lnTo>
                  <a:lnTo>
                    <a:pt x="232" y="271"/>
                  </a:lnTo>
                  <a:lnTo>
                    <a:pt x="230" y="269"/>
                  </a:lnTo>
                  <a:lnTo>
                    <a:pt x="229" y="270"/>
                  </a:lnTo>
                  <a:lnTo>
                    <a:pt x="229" y="269"/>
                  </a:lnTo>
                  <a:lnTo>
                    <a:pt x="227" y="270"/>
                  </a:lnTo>
                  <a:lnTo>
                    <a:pt x="227" y="269"/>
                  </a:lnTo>
                  <a:lnTo>
                    <a:pt x="228" y="269"/>
                  </a:lnTo>
                  <a:lnTo>
                    <a:pt x="228" y="266"/>
                  </a:lnTo>
                  <a:lnTo>
                    <a:pt x="229" y="266"/>
                  </a:lnTo>
                  <a:lnTo>
                    <a:pt x="228" y="266"/>
                  </a:lnTo>
                  <a:lnTo>
                    <a:pt x="228" y="264"/>
                  </a:lnTo>
                  <a:lnTo>
                    <a:pt x="229" y="264"/>
                  </a:lnTo>
                  <a:lnTo>
                    <a:pt x="228" y="263"/>
                  </a:lnTo>
                  <a:lnTo>
                    <a:pt x="227" y="264"/>
                  </a:lnTo>
                  <a:lnTo>
                    <a:pt x="226" y="265"/>
                  </a:lnTo>
                  <a:lnTo>
                    <a:pt x="223" y="265"/>
                  </a:lnTo>
                  <a:lnTo>
                    <a:pt x="222" y="266"/>
                  </a:lnTo>
                  <a:lnTo>
                    <a:pt x="221" y="267"/>
                  </a:lnTo>
                  <a:lnTo>
                    <a:pt x="220" y="266"/>
                  </a:lnTo>
                  <a:lnTo>
                    <a:pt x="221" y="266"/>
                  </a:lnTo>
                  <a:lnTo>
                    <a:pt x="220" y="266"/>
                  </a:lnTo>
                  <a:lnTo>
                    <a:pt x="218" y="265"/>
                  </a:lnTo>
                  <a:lnTo>
                    <a:pt x="217" y="266"/>
                  </a:lnTo>
                  <a:lnTo>
                    <a:pt x="217" y="265"/>
                  </a:lnTo>
                  <a:lnTo>
                    <a:pt x="216" y="265"/>
                  </a:lnTo>
                  <a:lnTo>
                    <a:pt x="215" y="265"/>
                  </a:lnTo>
                  <a:lnTo>
                    <a:pt x="214" y="264"/>
                  </a:lnTo>
                  <a:lnTo>
                    <a:pt x="212" y="265"/>
                  </a:lnTo>
                  <a:lnTo>
                    <a:pt x="212" y="264"/>
                  </a:lnTo>
                  <a:lnTo>
                    <a:pt x="214" y="263"/>
                  </a:lnTo>
                  <a:lnTo>
                    <a:pt x="212" y="261"/>
                  </a:lnTo>
                  <a:lnTo>
                    <a:pt x="211" y="261"/>
                  </a:lnTo>
                  <a:lnTo>
                    <a:pt x="210" y="263"/>
                  </a:lnTo>
                  <a:lnTo>
                    <a:pt x="210" y="261"/>
                  </a:lnTo>
                  <a:lnTo>
                    <a:pt x="210" y="260"/>
                  </a:lnTo>
                  <a:lnTo>
                    <a:pt x="209" y="260"/>
                  </a:lnTo>
                  <a:lnTo>
                    <a:pt x="208" y="259"/>
                  </a:lnTo>
                  <a:lnTo>
                    <a:pt x="206" y="261"/>
                  </a:lnTo>
                  <a:lnTo>
                    <a:pt x="206" y="263"/>
                  </a:lnTo>
                  <a:lnTo>
                    <a:pt x="205" y="263"/>
                  </a:lnTo>
                  <a:lnTo>
                    <a:pt x="205" y="264"/>
                  </a:lnTo>
                  <a:lnTo>
                    <a:pt x="204" y="264"/>
                  </a:lnTo>
                  <a:lnTo>
                    <a:pt x="205" y="265"/>
                  </a:lnTo>
                  <a:lnTo>
                    <a:pt x="204" y="265"/>
                  </a:lnTo>
                  <a:lnTo>
                    <a:pt x="203" y="264"/>
                  </a:lnTo>
                  <a:lnTo>
                    <a:pt x="201" y="265"/>
                  </a:lnTo>
                  <a:lnTo>
                    <a:pt x="203" y="265"/>
                  </a:lnTo>
                  <a:lnTo>
                    <a:pt x="203" y="266"/>
                  </a:lnTo>
                  <a:lnTo>
                    <a:pt x="204" y="266"/>
                  </a:lnTo>
                  <a:lnTo>
                    <a:pt x="204" y="267"/>
                  </a:lnTo>
                  <a:lnTo>
                    <a:pt x="203" y="267"/>
                  </a:lnTo>
                  <a:lnTo>
                    <a:pt x="203" y="269"/>
                  </a:lnTo>
                  <a:lnTo>
                    <a:pt x="201" y="269"/>
                  </a:lnTo>
                  <a:lnTo>
                    <a:pt x="201" y="267"/>
                  </a:lnTo>
                  <a:lnTo>
                    <a:pt x="199" y="267"/>
                  </a:lnTo>
                  <a:lnTo>
                    <a:pt x="198" y="269"/>
                  </a:lnTo>
                  <a:lnTo>
                    <a:pt x="194" y="267"/>
                  </a:lnTo>
                  <a:lnTo>
                    <a:pt x="192" y="267"/>
                  </a:lnTo>
                  <a:lnTo>
                    <a:pt x="188" y="267"/>
                  </a:lnTo>
                  <a:lnTo>
                    <a:pt x="187" y="267"/>
                  </a:lnTo>
                  <a:lnTo>
                    <a:pt x="186" y="267"/>
                  </a:lnTo>
                  <a:lnTo>
                    <a:pt x="185" y="267"/>
                  </a:lnTo>
                  <a:lnTo>
                    <a:pt x="183" y="267"/>
                  </a:lnTo>
                  <a:lnTo>
                    <a:pt x="181" y="267"/>
                  </a:lnTo>
                  <a:lnTo>
                    <a:pt x="180" y="266"/>
                  </a:lnTo>
                  <a:lnTo>
                    <a:pt x="177" y="266"/>
                  </a:lnTo>
                  <a:lnTo>
                    <a:pt x="176" y="265"/>
                  </a:lnTo>
                  <a:lnTo>
                    <a:pt x="175" y="264"/>
                  </a:lnTo>
                  <a:lnTo>
                    <a:pt x="174" y="264"/>
                  </a:lnTo>
                  <a:lnTo>
                    <a:pt x="171" y="265"/>
                  </a:lnTo>
                  <a:lnTo>
                    <a:pt x="170" y="264"/>
                  </a:lnTo>
                  <a:lnTo>
                    <a:pt x="168" y="264"/>
                  </a:lnTo>
                  <a:lnTo>
                    <a:pt x="167" y="261"/>
                  </a:lnTo>
                  <a:lnTo>
                    <a:pt x="167" y="260"/>
                  </a:lnTo>
                  <a:lnTo>
                    <a:pt x="165" y="261"/>
                  </a:lnTo>
                  <a:lnTo>
                    <a:pt x="164" y="260"/>
                  </a:lnTo>
                  <a:lnTo>
                    <a:pt x="163" y="260"/>
                  </a:lnTo>
                  <a:lnTo>
                    <a:pt x="162" y="260"/>
                  </a:lnTo>
                  <a:lnTo>
                    <a:pt x="159" y="259"/>
                  </a:lnTo>
                  <a:lnTo>
                    <a:pt x="158" y="257"/>
                  </a:lnTo>
                  <a:lnTo>
                    <a:pt x="158" y="258"/>
                  </a:lnTo>
                  <a:lnTo>
                    <a:pt x="158" y="257"/>
                  </a:lnTo>
                  <a:lnTo>
                    <a:pt x="159" y="257"/>
                  </a:lnTo>
                  <a:lnTo>
                    <a:pt x="159" y="255"/>
                  </a:lnTo>
                  <a:lnTo>
                    <a:pt x="159" y="254"/>
                  </a:lnTo>
                  <a:lnTo>
                    <a:pt x="161" y="254"/>
                  </a:lnTo>
                  <a:lnTo>
                    <a:pt x="159" y="255"/>
                  </a:lnTo>
                  <a:lnTo>
                    <a:pt x="161" y="255"/>
                  </a:lnTo>
                  <a:lnTo>
                    <a:pt x="161" y="257"/>
                  </a:lnTo>
                  <a:lnTo>
                    <a:pt x="161" y="258"/>
                  </a:lnTo>
                  <a:lnTo>
                    <a:pt x="162" y="258"/>
                  </a:lnTo>
                  <a:lnTo>
                    <a:pt x="163" y="258"/>
                  </a:lnTo>
                  <a:lnTo>
                    <a:pt x="164" y="258"/>
                  </a:lnTo>
                  <a:lnTo>
                    <a:pt x="164" y="257"/>
                  </a:lnTo>
                  <a:lnTo>
                    <a:pt x="165" y="257"/>
                  </a:lnTo>
                  <a:lnTo>
                    <a:pt x="167" y="258"/>
                  </a:lnTo>
                  <a:lnTo>
                    <a:pt x="168" y="257"/>
                  </a:lnTo>
                  <a:lnTo>
                    <a:pt x="169" y="257"/>
                  </a:lnTo>
                  <a:lnTo>
                    <a:pt x="169" y="258"/>
                  </a:lnTo>
                  <a:lnTo>
                    <a:pt x="170" y="258"/>
                  </a:lnTo>
                  <a:lnTo>
                    <a:pt x="171" y="258"/>
                  </a:lnTo>
                  <a:lnTo>
                    <a:pt x="171" y="257"/>
                  </a:lnTo>
                  <a:lnTo>
                    <a:pt x="171" y="255"/>
                  </a:lnTo>
                  <a:lnTo>
                    <a:pt x="170" y="255"/>
                  </a:lnTo>
                  <a:lnTo>
                    <a:pt x="170" y="253"/>
                  </a:lnTo>
                  <a:lnTo>
                    <a:pt x="170" y="252"/>
                  </a:lnTo>
                  <a:lnTo>
                    <a:pt x="169" y="252"/>
                  </a:lnTo>
                  <a:lnTo>
                    <a:pt x="169" y="251"/>
                  </a:lnTo>
                  <a:lnTo>
                    <a:pt x="168" y="252"/>
                  </a:lnTo>
                  <a:lnTo>
                    <a:pt x="168" y="251"/>
                  </a:lnTo>
                  <a:lnTo>
                    <a:pt x="169" y="251"/>
                  </a:lnTo>
                  <a:lnTo>
                    <a:pt x="170" y="251"/>
                  </a:lnTo>
                  <a:lnTo>
                    <a:pt x="171" y="251"/>
                  </a:lnTo>
                  <a:lnTo>
                    <a:pt x="173" y="251"/>
                  </a:lnTo>
                  <a:lnTo>
                    <a:pt x="173" y="249"/>
                  </a:lnTo>
                  <a:lnTo>
                    <a:pt x="171" y="248"/>
                  </a:lnTo>
                  <a:lnTo>
                    <a:pt x="173" y="248"/>
                  </a:lnTo>
                  <a:lnTo>
                    <a:pt x="174" y="247"/>
                  </a:lnTo>
                  <a:lnTo>
                    <a:pt x="173" y="248"/>
                  </a:lnTo>
                  <a:lnTo>
                    <a:pt x="174" y="249"/>
                  </a:lnTo>
                  <a:lnTo>
                    <a:pt x="174" y="248"/>
                  </a:lnTo>
                  <a:lnTo>
                    <a:pt x="175" y="248"/>
                  </a:lnTo>
                  <a:lnTo>
                    <a:pt x="176" y="248"/>
                  </a:lnTo>
                  <a:lnTo>
                    <a:pt x="176" y="251"/>
                  </a:lnTo>
                  <a:lnTo>
                    <a:pt x="177" y="249"/>
                  </a:lnTo>
                  <a:lnTo>
                    <a:pt x="177" y="251"/>
                  </a:lnTo>
                  <a:lnTo>
                    <a:pt x="180" y="252"/>
                  </a:lnTo>
                  <a:lnTo>
                    <a:pt x="181" y="254"/>
                  </a:lnTo>
                  <a:lnTo>
                    <a:pt x="181" y="255"/>
                  </a:lnTo>
                  <a:lnTo>
                    <a:pt x="181" y="254"/>
                  </a:lnTo>
                  <a:lnTo>
                    <a:pt x="180" y="254"/>
                  </a:lnTo>
                  <a:lnTo>
                    <a:pt x="180" y="255"/>
                  </a:lnTo>
                  <a:lnTo>
                    <a:pt x="180" y="257"/>
                  </a:lnTo>
                  <a:lnTo>
                    <a:pt x="181" y="257"/>
                  </a:lnTo>
                  <a:lnTo>
                    <a:pt x="180" y="257"/>
                  </a:lnTo>
                  <a:lnTo>
                    <a:pt x="179" y="255"/>
                  </a:lnTo>
                  <a:lnTo>
                    <a:pt x="179" y="257"/>
                  </a:lnTo>
                  <a:lnTo>
                    <a:pt x="180" y="257"/>
                  </a:lnTo>
                  <a:lnTo>
                    <a:pt x="180" y="258"/>
                  </a:lnTo>
                  <a:lnTo>
                    <a:pt x="179" y="258"/>
                  </a:lnTo>
                  <a:lnTo>
                    <a:pt x="179" y="259"/>
                  </a:lnTo>
                  <a:lnTo>
                    <a:pt x="180" y="259"/>
                  </a:lnTo>
                  <a:lnTo>
                    <a:pt x="181" y="259"/>
                  </a:lnTo>
                  <a:lnTo>
                    <a:pt x="182" y="260"/>
                  </a:lnTo>
                  <a:lnTo>
                    <a:pt x="183" y="260"/>
                  </a:lnTo>
                  <a:lnTo>
                    <a:pt x="182" y="260"/>
                  </a:lnTo>
                  <a:lnTo>
                    <a:pt x="182" y="259"/>
                  </a:lnTo>
                  <a:lnTo>
                    <a:pt x="183" y="258"/>
                  </a:lnTo>
                  <a:lnTo>
                    <a:pt x="183" y="260"/>
                  </a:lnTo>
                  <a:lnTo>
                    <a:pt x="185" y="260"/>
                  </a:lnTo>
                  <a:lnTo>
                    <a:pt x="186" y="259"/>
                  </a:lnTo>
                  <a:lnTo>
                    <a:pt x="186" y="260"/>
                  </a:lnTo>
                  <a:lnTo>
                    <a:pt x="187" y="260"/>
                  </a:lnTo>
                  <a:lnTo>
                    <a:pt x="188" y="260"/>
                  </a:lnTo>
                  <a:lnTo>
                    <a:pt x="189" y="260"/>
                  </a:lnTo>
                  <a:lnTo>
                    <a:pt x="189" y="259"/>
                  </a:lnTo>
                  <a:lnTo>
                    <a:pt x="188" y="258"/>
                  </a:lnTo>
                  <a:lnTo>
                    <a:pt x="187" y="255"/>
                  </a:lnTo>
                  <a:lnTo>
                    <a:pt x="188" y="257"/>
                  </a:lnTo>
                  <a:lnTo>
                    <a:pt x="189" y="257"/>
                  </a:lnTo>
                  <a:lnTo>
                    <a:pt x="191" y="257"/>
                  </a:lnTo>
                  <a:lnTo>
                    <a:pt x="192" y="257"/>
                  </a:lnTo>
                  <a:lnTo>
                    <a:pt x="192" y="255"/>
                  </a:lnTo>
                  <a:lnTo>
                    <a:pt x="193" y="253"/>
                  </a:lnTo>
                  <a:lnTo>
                    <a:pt x="193" y="252"/>
                  </a:lnTo>
                  <a:lnTo>
                    <a:pt x="194" y="249"/>
                  </a:lnTo>
                  <a:lnTo>
                    <a:pt x="194" y="248"/>
                  </a:lnTo>
                  <a:lnTo>
                    <a:pt x="193" y="247"/>
                  </a:lnTo>
                  <a:lnTo>
                    <a:pt x="193" y="248"/>
                  </a:lnTo>
                  <a:lnTo>
                    <a:pt x="192" y="247"/>
                  </a:lnTo>
                  <a:lnTo>
                    <a:pt x="191" y="246"/>
                  </a:lnTo>
                  <a:lnTo>
                    <a:pt x="189" y="247"/>
                  </a:lnTo>
                  <a:lnTo>
                    <a:pt x="189" y="246"/>
                  </a:lnTo>
                  <a:lnTo>
                    <a:pt x="191" y="246"/>
                  </a:lnTo>
                  <a:lnTo>
                    <a:pt x="192" y="246"/>
                  </a:lnTo>
                  <a:lnTo>
                    <a:pt x="193" y="246"/>
                  </a:lnTo>
                  <a:lnTo>
                    <a:pt x="195" y="246"/>
                  </a:lnTo>
                  <a:lnTo>
                    <a:pt x="195" y="247"/>
                  </a:lnTo>
                  <a:lnTo>
                    <a:pt x="194" y="248"/>
                  </a:lnTo>
                  <a:lnTo>
                    <a:pt x="195" y="248"/>
                  </a:lnTo>
                  <a:lnTo>
                    <a:pt x="195" y="249"/>
                  </a:lnTo>
                  <a:lnTo>
                    <a:pt x="197" y="249"/>
                  </a:lnTo>
                  <a:lnTo>
                    <a:pt x="195" y="248"/>
                  </a:lnTo>
                  <a:lnTo>
                    <a:pt x="197" y="248"/>
                  </a:lnTo>
                  <a:lnTo>
                    <a:pt x="198" y="249"/>
                  </a:lnTo>
                  <a:lnTo>
                    <a:pt x="199" y="249"/>
                  </a:lnTo>
                  <a:lnTo>
                    <a:pt x="200" y="249"/>
                  </a:lnTo>
                  <a:lnTo>
                    <a:pt x="200" y="251"/>
                  </a:lnTo>
                  <a:lnTo>
                    <a:pt x="201" y="249"/>
                  </a:lnTo>
                  <a:lnTo>
                    <a:pt x="203" y="251"/>
                  </a:lnTo>
                  <a:lnTo>
                    <a:pt x="204" y="251"/>
                  </a:lnTo>
                  <a:lnTo>
                    <a:pt x="205" y="251"/>
                  </a:lnTo>
                  <a:lnTo>
                    <a:pt x="206" y="249"/>
                  </a:lnTo>
                  <a:lnTo>
                    <a:pt x="208" y="248"/>
                  </a:lnTo>
                  <a:lnTo>
                    <a:pt x="209" y="248"/>
                  </a:lnTo>
                  <a:lnTo>
                    <a:pt x="210" y="248"/>
                  </a:lnTo>
                  <a:lnTo>
                    <a:pt x="211" y="248"/>
                  </a:lnTo>
                  <a:lnTo>
                    <a:pt x="214" y="248"/>
                  </a:lnTo>
                  <a:lnTo>
                    <a:pt x="215" y="247"/>
                  </a:lnTo>
                  <a:lnTo>
                    <a:pt x="216" y="248"/>
                  </a:lnTo>
                  <a:lnTo>
                    <a:pt x="217" y="247"/>
                  </a:lnTo>
                  <a:lnTo>
                    <a:pt x="217" y="248"/>
                  </a:lnTo>
                  <a:lnTo>
                    <a:pt x="218" y="248"/>
                  </a:lnTo>
                  <a:lnTo>
                    <a:pt x="220" y="247"/>
                  </a:lnTo>
                  <a:lnTo>
                    <a:pt x="220" y="248"/>
                  </a:lnTo>
                  <a:lnTo>
                    <a:pt x="221" y="247"/>
                  </a:lnTo>
                  <a:lnTo>
                    <a:pt x="222" y="248"/>
                  </a:lnTo>
                  <a:lnTo>
                    <a:pt x="222" y="249"/>
                  </a:lnTo>
                  <a:lnTo>
                    <a:pt x="221" y="249"/>
                  </a:lnTo>
                  <a:lnTo>
                    <a:pt x="220" y="249"/>
                  </a:lnTo>
                  <a:lnTo>
                    <a:pt x="218" y="249"/>
                  </a:lnTo>
                  <a:lnTo>
                    <a:pt x="218" y="248"/>
                  </a:lnTo>
                  <a:lnTo>
                    <a:pt x="218" y="249"/>
                  </a:lnTo>
                  <a:lnTo>
                    <a:pt x="217" y="248"/>
                  </a:lnTo>
                  <a:lnTo>
                    <a:pt x="217" y="249"/>
                  </a:lnTo>
                  <a:lnTo>
                    <a:pt x="216" y="248"/>
                  </a:lnTo>
                  <a:lnTo>
                    <a:pt x="216" y="249"/>
                  </a:lnTo>
                  <a:lnTo>
                    <a:pt x="215" y="248"/>
                  </a:lnTo>
                  <a:lnTo>
                    <a:pt x="215" y="249"/>
                  </a:lnTo>
                  <a:lnTo>
                    <a:pt x="215" y="251"/>
                  </a:lnTo>
                  <a:lnTo>
                    <a:pt x="214" y="248"/>
                  </a:lnTo>
                  <a:lnTo>
                    <a:pt x="212" y="249"/>
                  </a:lnTo>
                  <a:lnTo>
                    <a:pt x="214" y="249"/>
                  </a:lnTo>
                  <a:lnTo>
                    <a:pt x="214" y="252"/>
                  </a:lnTo>
                  <a:lnTo>
                    <a:pt x="215" y="252"/>
                  </a:lnTo>
                  <a:lnTo>
                    <a:pt x="214" y="252"/>
                  </a:lnTo>
                  <a:lnTo>
                    <a:pt x="214" y="253"/>
                  </a:lnTo>
                  <a:lnTo>
                    <a:pt x="215" y="253"/>
                  </a:lnTo>
                  <a:lnTo>
                    <a:pt x="215" y="252"/>
                  </a:lnTo>
                  <a:lnTo>
                    <a:pt x="216" y="253"/>
                  </a:lnTo>
                  <a:lnTo>
                    <a:pt x="216" y="252"/>
                  </a:lnTo>
                  <a:lnTo>
                    <a:pt x="217" y="253"/>
                  </a:lnTo>
                  <a:lnTo>
                    <a:pt x="218" y="253"/>
                  </a:lnTo>
                  <a:lnTo>
                    <a:pt x="220" y="255"/>
                  </a:lnTo>
                  <a:lnTo>
                    <a:pt x="221" y="255"/>
                  </a:lnTo>
                  <a:lnTo>
                    <a:pt x="222" y="254"/>
                  </a:lnTo>
                  <a:lnTo>
                    <a:pt x="222" y="253"/>
                  </a:lnTo>
                  <a:lnTo>
                    <a:pt x="223" y="253"/>
                  </a:lnTo>
                  <a:lnTo>
                    <a:pt x="222" y="254"/>
                  </a:lnTo>
                  <a:lnTo>
                    <a:pt x="223" y="255"/>
                  </a:lnTo>
                  <a:lnTo>
                    <a:pt x="223" y="254"/>
                  </a:lnTo>
                  <a:lnTo>
                    <a:pt x="223" y="255"/>
                  </a:lnTo>
                  <a:lnTo>
                    <a:pt x="222" y="257"/>
                  </a:lnTo>
                  <a:lnTo>
                    <a:pt x="224" y="257"/>
                  </a:lnTo>
                  <a:lnTo>
                    <a:pt x="223" y="258"/>
                  </a:lnTo>
                  <a:lnTo>
                    <a:pt x="224" y="258"/>
                  </a:lnTo>
                  <a:lnTo>
                    <a:pt x="223" y="259"/>
                  </a:lnTo>
                  <a:lnTo>
                    <a:pt x="224" y="259"/>
                  </a:lnTo>
                  <a:lnTo>
                    <a:pt x="223" y="259"/>
                  </a:lnTo>
                  <a:lnTo>
                    <a:pt x="222" y="260"/>
                  </a:lnTo>
                  <a:lnTo>
                    <a:pt x="222" y="261"/>
                  </a:lnTo>
                  <a:lnTo>
                    <a:pt x="222" y="263"/>
                  </a:lnTo>
                  <a:lnTo>
                    <a:pt x="223" y="263"/>
                  </a:lnTo>
                  <a:lnTo>
                    <a:pt x="224" y="263"/>
                  </a:lnTo>
                  <a:lnTo>
                    <a:pt x="226" y="263"/>
                  </a:lnTo>
                  <a:lnTo>
                    <a:pt x="226" y="261"/>
                  </a:lnTo>
                  <a:lnTo>
                    <a:pt x="228" y="261"/>
                  </a:lnTo>
                  <a:lnTo>
                    <a:pt x="229" y="261"/>
                  </a:lnTo>
                  <a:lnTo>
                    <a:pt x="230" y="261"/>
                  </a:lnTo>
                  <a:lnTo>
                    <a:pt x="232" y="261"/>
                  </a:lnTo>
                  <a:lnTo>
                    <a:pt x="234" y="261"/>
                  </a:lnTo>
                  <a:lnTo>
                    <a:pt x="235" y="261"/>
                  </a:lnTo>
                  <a:lnTo>
                    <a:pt x="236" y="261"/>
                  </a:lnTo>
                  <a:lnTo>
                    <a:pt x="236" y="263"/>
                  </a:lnTo>
                  <a:lnTo>
                    <a:pt x="238" y="264"/>
                  </a:lnTo>
                  <a:lnTo>
                    <a:pt x="239" y="264"/>
                  </a:lnTo>
                  <a:lnTo>
                    <a:pt x="240" y="264"/>
                  </a:lnTo>
                  <a:lnTo>
                    <a:pt x="241" y="264"/>
                  </a:lnTo>
                  <a:lnTo>
                    <a:pt x="241" y="263"/>
                  </a:lnTo>
                  <a:lnTo>
                    <a:pt x="241" y="261"/>
                  </a:lnTo>
                  <a:lnTo>
                    <a:pt x="242" y="260"/>
                  </a:lnTo>
                  <a:lnTo>
                    <a:pt x="244" y="260"/>
                  </a:lnTo>
                  <a:lnTo>
                    <a:pt x="245" y="259"/>
                  </a:lnTo>
                  <a:lnTo>
                    <a:pt x="246" y="258"/>
                  </a:lnTo>
                  <a:lnTo>
                    <a:pt x="246" y="257"/>
                  </a:lnTo>
                  <a:lnTo>
                    <a:pt x="245" y="257"/>
                  </a:lnTo>
                  <a:lnTo>
                    <a:pt x="245" y="258"/>
                  </a:lnTo>
                  <a:lnTo>
                    <a:pt x="244" y="258"/>
                  </a:lnTo>
                  <a:lnTo>
                    <a:pt x="242" y="258"/>
                  </a:lnTo>
                  <a:lnTo>
                    <a:pt x="242" y="257"/>
                  </a:lnTo>
                  <a:lnTo>
                    <a:pt x="242" y="255"/>
                  </a:lnTo>
                  <a:lnTo>
                    <a:pt x="241" y="257"/>
                  </a:lnTo>
                  <a:lnTo>
                    <a:pt x="241" y="255"/>
                  </a:lnTo>
                  <a:lnTo>
                    <a:pt x="240" y="255"/>
                  </a:lnTo>
                  <a:lnTo>
                    <a:pt x="241" y="254"/>
                  </a:lnTo>
                  <a:lnTo>
                    <a:pt x="241" y="253"/>
                  </a:lnTo>
                  <a:lnTo>
                    <a:pt x="239" y="253"/>
                  </a:lnTo>
                  <a:lnTo>
                    <a:pt x="238" y="252"/>
                  </a:lnTo>
                  <a:lnTo>
                    <a:pt x="239" y="251"/>
                  </a:lnTo>
                  <a:lnTo>
                    <a:pt x="240" y="251"/>
                  </a:lnTo>
                  <a:lnTo>
                    <a:pt x="240" y="249"/>
                  </a:lnTo>
                  <a:lnTo>
                    <a:pt x="241" y="249"/>
                  </a:lnTo>
                  <a:lnTo>
                    <a:pt x="240" y="248"/>
                  </a:lnTo>
                  <a:lnTo>
                    <a:pt x="239" y="248"/>
                  </a:lnTo>
                  <a:lnTo>
                    <a:pt x="239" y="247"/>
                  </a:lnTo>
                  <a:lnTo>
                    <a:pt x="239" y="246"/>
                  </a:lnTo>
                  <a:lnTo>
                    <a:pt x="240" y="246"/>
                  </a:lnTo>
                  <a:lnTo>
                    <a:pt x="241" y="246"/>
                  </a:lnTo>
                  <a:lnTo>
                    <a:pt x="242" y="246"/>
                  </a:lnTo>
                  <a:lnTo>
                    <a:pt x="244" y="246"/>
                  </a:lnTo>
                  <a:lnTo>
                    <a:pt x="245" y="247"/>
                  </a:lnTo>
                  <a:lnTo>
                    <a:pt x="245" y="246"/>
                  </a:lnTo>
                  <a:lnTo>
                    <a:pt x="246" y="246"/>
                  </a:lnTo>
                  <a:lnTo>
                    <a:pt x="247" y="246"/>
                  </a:lnTo>
                  <a:lnTo>
                    <a:pt x="248" y="246"/>
                  </a:lnTo>
                  <a:lnTo>
                    <a:pt x="250" y="246"/>
                  </a:lnTo>
                  <a:lnTo>
                    <a:pt x="251" y="246"/>
                  </a:lnTo>
                  <a:lnTo>
                    <a:pt x="252" y="247"/>
                  </a:lnTo>
                  <a:lnTo>
                    <a:pt x="253" y="247"/>
                  </a:lnTo>
                  <a:lnTo>
                    <a:pt x="257" y="247"/>
                  </a:lnTo>
                  <a:lnTo>
                    <a:pt x="258" y="248"/>
                  </a:lnTo>
                  <a:lnTo>
                    <a:pt x="258" y="247"/>
                  </a:lnTo>
                  <a:lnTo>
                    <a:pt x="259" y="247"/>
                  </a:lnTo>
                  <a:lnTo>
                    <a:pt x="260" y="247"/>
                  </a:lnTo>
                  <a:lnTo>
                    <a:pt x="262" y="246"/>
                  </a:lnTo>
                  <a:lnTo>
                    <a:pt x="260" y="245"/>
                  </a:lnTo>
                  <a:lnTo>
                    <a:pt x="259" y="245"/>
                  </a:lnTo>
                  <a:lnTo>
                    <a:pt x="258" y="245"/>
                  </a:lnTo>
                  <a:lnTo>
                    <a:pt x="259" y="245"/>
                  </a:lnTo>
                  <a:lnTo>
                    <a:pt x="259" y="243"/>
                  </a:lnTo>
                  <a:lnTo>
                    <a:pt x="260" y="243"/>
                  </a:lnTo>
                  <a:lnTo>
                    <a:pt x="260" y="242"/>
                  </a:lnTo>
                  <a:lnTo>
                    <a:pt x="262" y="242"/>
                  </a:lnTo>
                  <a:lnTo>
                    <a:pt x="262" y="241"/>
                  </a:lnTo>
                  <a:lnTo>
                    <a:pt x="260" y="240"/>
                  </a:lnTo>
                  <a:lnTo>
                    <a:pt x="259" y="240"/>
                  </a:lnTo>
                  <a:lnTo>
                    <a:pt x="259" y="238"/>
                  </a:lnTo>
                  <a:lnTo>
                    <a:pt x="258" y="238"/>
                  </a:lnTo>
                  <a:lnTo>
                    <a:pt x="258" y="240"/>
                  </a:lnTo>
                  <a:lnTo>
                    <a:pt x="257" y="240"/>
                  </a:lnTo>
                  <a:lnTo>
                    <a:pt x="257" y="238"/>
                  </a:lnTo>
                  <a:lnTo>
                    <a:pt x="256" y="238"/>
                  </a:lnTo>
                  <a:lnTo>
                    <a:pt x="254" y="237"/>
                  </a:lnTo>
                  <a:lnTo>
                    <a:pt x="256" y="236"/>
                  </a:lnTo>
                  <a:lnTo>
                    <a:pt x="257" y="236"/>
                  </a:lnTo>
                  <a:lnTo>
                    <a:pt x="258" y="236"/>
                  </a:lnTo>
                  <a:lnTo>
                    <a:pt x="259" y="236"/>
                  </a:lnTo>
                  <a:lnTo>
                    <a:pt x="260" y="235"/>
                  </a:lnTo>
                  <a:lnTo>
                    <a:pt x="262" y="235"/>
                  </a:lnTo>
                  <a:lnTo>
                    <a:pt x="262" y="234"/>
                  </a:lnTo>
                  <a:lnTo>
                    <a:pt x="263" y="234"/>
                  </a:lnTo>
                  <a:lnTo>
                    <a:pt x="263" y="232"/>
                  </a:lnTo>
                  <a:lnTo>
                    <a:pt x="264" y="231"/>
                  </a:lnTo>
                  <a:lnTo>
                    <a:pt x="263" y="231"/>
                  </a:lnTo>
                  <a:lnTo>
                    <a:pt x="263" y="230"/>
                  </a:lnTo>
                  <a:lnTo>
                    <a:pt x="263" y="231"/>
                  </a:lnTo>
                  <a:lnTo>
                    <a:pt x="262" y="231"/>
                  </a:lnTo>
                  <a:lnTo>
                    <a:pt x="260" y="232"/>
                  </a:lnTo>
                  <a:lnTo>
                    <a:pt x="259" y="232"/>
                  </a:lnTo>
                  <a:lnTo>
                    <a:pt x="260" y="231"/>
                  </a:lnTo>
                  <a:lnTo>
                    <a:pt x="259" y="230"/>
                  </a:lnTo>
                  <a:lnTo>
                    <a:pt x="258" y="231"/>
                  </a:lnTo>
                  <a:lnTo>
                    <a:pt x="257" y="232"/>
                  </a:lnTo>
                  <a:lnTo>
                    <a:pt x="256" y="234"/>
                  </a:lnTo>
                  <a:lnTo>
                    <a:pt x="254" y="234"/>
                  </a:lnTo>
                  <a:lnTo>
                    <a:pt x="252" y="234"/>
                  </a:lnTo>
                  <a:lnTo>
                    <a:pt x="253" y="232"/>
                  </a:lnTo>
                  <a:lnTo>
                    <a:pt x="253" y="231"/>
                  </a:lnTo>
                  <a:lnTo>
                    <a:pt x="253" y="230"/>
                  </a:lnTo>
                  <a:lnTo>
                    <a:pt x="252" y="230"/>
                  </a:lnTo>
                  <a:lnTo>
                    <a:pt x="252" y="231"/>
                  </a:lnTo>
                  <a:lnTo>
                    <a:pt x="251" y="231"/>
                  </a:lnTo>
                  <a:lnTo>
                    <a:pt x="251" y="230"/>
                  </a:lnTo>
                  <a:lnTo>
                    <a:pt x="251" y="229"/>
                  </a:lnTo>
                  <a:lnTo>
                    <a:pt x="252" y="228"/>
                  </a:lnTo>
                  <a:lnTo>
                    <a:pt x="251" y="228"/>
                  </a:lnTo>
                  <a:lnTo>
                    <a:pt x="250" y="228"/>
                  </a:lnTo>
                  <a:lnTo>
                    <a:pt x="248" y="229"/>
                  </a:lnTo>
                  <a:lnTo>
                    <a:pt x="247" y="229"/>
                  </a:lnTo>
                  <a:lnTo>
                    <a:pt x="247" y="228"/>
                  </a:lnTo>
                  <a:lnTo>
                    <a:pt x="246" y="228"/>
                  </a:lnTo>
                  <a:lnTo>
                    <a:pt x="246" y="229"/>
                  </a:lnTo>
                  <a:lnTo>
                    <a:pt x="245" y="229"/>
                  </a:lnTo>
                  <a:lnTo>
                    <a:pt x="245" y="228"/>
                  </a:lnTo>
                  <a:lnTo>
                    <a:pt x="244" y="226"/>
                  </a:lnTo>
                  <a:lnTo>
                    <a:pt x="242" y="226"/>
                  </a:lnTo>
                  <a:lnTo>
                    <a:pt x="244" y="226"/>
                  </a:lnTo>
                  <a:lnTo>
                    <a:pt x="244" y="225"/>
                  </a:lnTo>
                  <a:lnTo>
                    <a:pt x="245" y="225"/>
                  </a:lnTo>
                  <a:lnTo>
                    <a:pt x="245" y="224"/>
                  </a:lnTo>
                  <a:lnTo>
                    <a:pt x="244" y="223"/>
                  </a:lnTo>
                  <a:lnTo>
                    <a:pt x="244" y="224"/>
                  </a:lnTo>
                  <a:lnTo>
                    <a:pt x="242" y="224"/>
                  </a:lnTo>
                  <a:lnTo>
                    <a:pt x="241" y="224"/>
                  </a:lnTo>
                  <a:lnTo>
                    <a:pt x="241" y="225"/>
                  </a:lnTo>
                  <a:lnTo>
                    <a:pt x="241" y="224"/>
                  </a:lnTo>
                  <a:lnTo>
                    <a:pt x="241" y="223"/>
                  </a:lnTo>
                  <a:lnTo>
                    <a:pt x="240" y="223"/>
                  </a:lnTo>
                  <a:lnTo>
                    <a:pt x="240" y="224"/>
                  </a:lnTo>
                  <a:lnTo>
                    <a:pt x="239" y="224"/>
                  </a:lnTo>
                  <a:lnTo>
                    <a:pt x="239" y="223"/>
                  </a:lnTo>
                  <a:lnTo>
                    <a:pt x="240" y="223"/>
                  </a:lnTo>
                  <a:lnTo>
                    <a:pt x="240" y="222"/>
                  </a:lnTo>
                  <a:lnTo>
                    <a:pt x="239" y="222"/>
                  </a:lnTo>
                  <a:lnTo>
                    <a:pt x="239" y="223"/>
                  </a:lnTo>
                  <a:lnTo>
                    <a:pt x="238" y="223"/>
                  </a:lnTo>
                  <a:lnTo>
                    <a:pt x="239" y="222"/>
                  </a:lnTo>
                  <a:lnTo>
                    <a:pt x="239" y="220"/>
                  </a:lnTo>
                  <a:lnTo>
                    <a:pt x="238" y="220"/>
                  </a:lnTo>
                  <a:lnTo>
                    <a:pt x="236" y="220"/>
                  </a:lnTo>
                  <a:lnTo>
                    <a:pt x="236" y="219"/>
                  </a:lnTo>
                  <a:lnTo>
                    <a:pt x="235" y="219"/>
                  </a:lnTo>
                  <a:lnTo>
                    <a:pt x="234" y="219"/>
                  </a:lnTo>
                  <a:lnTo>
                    <a:pt x="232" y="219"/>
                  </a:lnTo>
                  <a:lnTo>
                    <a:pt x="232" y="220"/>
                  </a:lnTo>
                  <a:lnTo>
                    <a:pt x="230" y="220"/>
                  </a:lnTo>
                  <a:lnTo>
                    <a:pt x="229" y="220"/>
                  </a:lnTo>
                  <a:lnTo>
                    <a:pt x="228" y="220"/>
                  </a:lnTo>
                  <a:lnTo>
                    <a:pt x="228" y="219"/>
                  </a:lnTo>
                  <a:lnTo>
                    <a:pt x="227" y="219"/>
                  </a:lnTo>
                  <a:lnTo>
                    <a:pt x="226" y="219"/>
                  </a:lnTo>
                  <a:lnTo>
                    <a:pt x="224" y="219"/>
                  </a:lnTo>
                  <a:lnTo>
                    <a:pt x="224" y="218"/>
                  </a:lnTo>
                  <a:lnTo>
                    <a:pt x="224" y="217"/>
                  </a:lnTo>
                  <a:lnTo>
                    <a:pt x="223" y="217"/>
                  </a:lnTo>
                  <a:lnTo>
                    <a:pt x="223" y="216"/>
                  </a:lnTo>
                  <a:lnTo>
                    <a:pt x="221" y="214"/>
                  </a:lnTo>
                  <a:lnTo>
                    <a:pt x="220" y="213"/>
                  </a:lnTo>
                  <a:lnTo>
                    <a:pt x="221" y="212"/>
                  </a:lnTo>
                  <a:lnTo>
                    <a:pt x="220" y="213"/>
                  </a:lnTo>
                  <a:lnTo>
                    <a:pt x="220" y="212"/>
                  </a:lnTo>
                  <a:lnTo>
                    <a:pt x="218" y="213"/>
                  </a:lnTo>
                  <a:lnTo>
                    <a:pt x="218" y="212"/>
                  </a:lnTo>
                  <a:lnTo>
                    <a:pt x="217" y="212"/>
                  </a:lnTo>
                  <a:lnTo>
                    <a:pt x="216" y="212"/>
                  </a:lnTo>
                  <a:lnTo>
                    <a:pt x="215" y="212"/>
                  </a:lnTo>
                  <a:lnTo>
                    <a:pt x="214" y="212"/>
                  </a:lnTo>
                  <a:lnTo>
                    <a:pt x="212" y="212"/>
                  </a:lnTo>
                  <a:lnTo>
                    <a:pt x="214" y="211"/>
                  </a:lnTo>
                  <a:lnTo>
                    <a:pt x="212" y="211"/>
                  </a:lnTo>
                  <a:lnTo>
                    <a:pt x="212" y="212"/>
                  </a:lnTo>
                  <a:lnTo>
                    <a:pt x="211" y="212"/>
                  </a:lnTo>
                  <a:lnTo>
                    <a:pt x="211" y="211"/>
                  </a:lnTo>
                  <a:lnTo>
                    <a:pt x="210" y="211"/>
                  </a:lnTo>
                  <a:lnTo>
                    <a:pt x="210" y="210"/>
                  </a:lnTo>
                  <a:lnTo>
                    <a:pt x="209" y="210"/>
                  </a:lnTo>
                  <a:lnTo>
                    <a:pt x="208" y="210"/>
                  </a:lnTo>
                  <a:lnTo>
                    <a:pt x="209" y="210"/>
                  </a:lnTo>
                  <a:lnTo>
                    <a:pt x="208" y="208"/>
                  </a:lnTo>
                  <a:lnTo>
                    <a:pt x="206" y="208"/>
                  </a:lnTo>
                  <a:lnTo>
                    <a:pt x="206" y="210"/>
                  </a:lnTo>
                  <a:lnTo>
                    <a:pt x="208" y="210"/>
                  </a:lnTo>
                  <a:lnTo>
                    <a:pt x="206" y="210"/>
                  </a:lnTo>
                  <a:lnTo>
                    <a:pt x="205" y="210"/>
                  </a:lnTo>
                  <a:lnTo>
                    <a:pt x="204" y="211"/>
                  </a:lnTo>
                  <a:lnTo>
                    <a:pt x="204" y="210"/>
                  </a:lnTo>
                  <a:lnTo>
                    <a:pt x="205" y="210"/>
                  </a:lnTo>
                  <a:lnTo>
                    <a:pt x="205" y="208"/>
                  </a:lnTo>
                  <a:lnTo>
                    <a:pt x="204" y="208"/>
                  </a:lnTo>
                  <a:lnTo>
                    <a:pt x="205" y="207"/>
                  </a:lnTo>
                  <a:lnTo>
                    <a:pt x="204" y="207"/>
                  </a:lnTo>
                  <a:lnTo>
                    <a:pt x="204" y="208"/>
                  </a:lnTo>
                  <a:lnTo>
                    <a:pt x="204" y="207"/>
                  </a:lnTo>
                  <a:lnTo>
                    <a:pt x="203" y="206"/>
                  </a:lnTo>
                  <a:lnTo>
                    <a:pt x="204" y="206"/>
                  </a:lnTo>
                  <a:lnTo>
                    <a:pt x="205" y="206"/>
                  </a:lnTo>
                  <a:lnTo>
                    <a:pt x="205" y="207"/>
                  </a:lnTo>
                  <a:lnTo>
                    <a:pt x="206" y="207"/>
                  </a:lnTo>
                  <a:lnTo>
                    <a:pt x="208" y="206"/>
                  </a:lnTo>
                  <a:lnTo>
                    <a:pt x="208" y="205"/>
                  </a:lnTo>
                  <a:lnTo>
                    <a:pt x="209" y="205"/>
                  </a:lnTo>
                  <a:lnTo>
                    <a:pt x="209" y="204"/>
                  </a:lnTo>
                  <a:lnTo>
                    <a:pt x="209" y="205"/>
                  </a:lnTo>
                  <a:lnTo>
                    <a:pt x="210" y="206"/>
                  </a:lnTo>
                  <a:lnTo>
                    <a:pt x="211" y="206"/>
                  </a:lnTo>
                  <a:lnTo>
                    <a:pt x="212" y="206"/>
                  </a:lnTo>
                  <a:lnTo>
                    <a:pt x="214" y="207"/>
                  </a:lnTo>
                  <a:lnTo>
                    <a:pt x="215" y="208"/>
                  </a:lnTo>
                  <a:lnTo>
                    <a:pt x="216" y="208"/>
                  </a:lnTo>
                  <a:lnTo>
                    <a:pt x="216" y="207"/>
                  </a:lnTo>
                  <a:lnTo>
                    <a:pt x="217" y="207"/>
                  </a:lnTo>
                  <a:lnTo>
                    <a:pt x="216" y="207"/>
                  </a:lnTo>
                  <a:lnTo>
                    <a:pt x="216" y="206"/>
                  </a:lnTo>
                  <a:lnTo>
                    <a:pt x="217" y="206"/>
                  </a:lnTo>
                  <a:lnTo>
                    <a:pt x="218" y="206"/>
                  </a:lnTo>
                  <a:lnTo>
                    <a:pt x="220" y="207"/>
                  </a:lnTo>
                  <a:lnTo>
                    <a:pt x="218" y="207"/>
                  </a:lnTo>
                  <a:lnTo>
                    <a:pt x="218" y="208"/>
                  </a:lnTo>
                  <a:lnTo>
                    <a:pt x="220" y="208"/>
                  </a:lnTo>
                  <a:lnTo>
                    <a:pt x="221" y="208"/>
                  </a:lnTo>
                  <a:lnTo>
                    <a:pt x="221" y="210"/>
                  </a:lnTo>
                  <a:lnTo>
                    <a:pt x="222" y="210"/>
                  </a:lnTo>
                  <a:lnTo>
                    <a:pt x="221" y="210"/>
                  </a:lnTo>
                  <a:lnTo>
                    <a:pt x="221" y="211"/>
                  </a:lnTo>
                  <a:lnTo>
                    <a:pt x="222" y="212"/>
                  </a:lnTo>
                  <a:lnTo>
                    <a:pt x="222" y="211"/>
                  </a:lnTo>
                  <a:lnTo>
                    <a:pt x="223" y="211"/>
                  </a:lnTo>
                  <a:lnTo>
                    <a:pt x="222" y="210"/>
                  </a:lnTo>
                  <a:lnTo>
                    <a:pt x="222" y="211"/>
                  </a:lnTo>
                  <a:lnTo>
                    <a:pt x="223" y="210"/>
                  </a:lnTo>
                  <a:lnTo>
                    <a:pt x="223" y="212"/>
                  </a:lnTo>
                  <a:lnTo>
                    <a:pt x="222" y="212"/>
                  </a:lnTo>
                  <a:lnTo>
                    <a:pt x="223" y="213"/>
                  </a:lnTo>
                  <a:lnTo>
                    <a:pt x="224" y="213"/>
                  </a:lnTo>
                  <a:lnTo>
                    <a:pt x="226" y="213"/>
                  </a:lnTo>
                  <a:lnTo>
                    <a:pt x="226" y="212"/>
                  </a:lnTo>
                  <a:lnTo>
                    <a:pt x="224" y="212"/>
                  </a:lnTo>
                  <a:lnTo>
                    <a:pt x="226" y="211"/>
                  </a:lnTo>
                  <a:lnTo>
                    <a:pt x="226" y="210"/>
                  </a:lnTo>
                  <a:lnTo>
                    <a:pt x="224" y="208"/>
                  </a:lnTo>
                  <a:lnTo>
                    <a:pt x="226" y="208"/>
                  </a:lnTo>
                  <a:lnTo>
                    <a:pt x="226" y="210"/>
                  </a:lnTo>
                  <a:lnTo>
                    <a:pt x="227" y="210"/>
                  </a:lnTo>
                  <a:lnTo>
                    <a:pt x="227" y="211"/>
                  </a:lnTo>
                  <a:lnTo>
                    <a:pt x="228" y="211"/>
                  </a:lnTo>
                  <a:lnTo>
                    <a:pt x="229" y="211"/>
                  </a:lnTo>
                  <a:lnTo>
                    <a:pt x="230" y="211"/>
                  </a:lnTo>
                  <a:lnTo>
                    <a:pt x="232" y="211"/>
                  </a:lnTo>
                  <a:lnTo>
                    <a:pt x="233" y="210"/>
                  </a:lnTo>
                  <a:lnTo>
                    <a:pt x="232" y="210"/>
                  </a:lnTo>
                  <a:lnTo>
                    <a:pt x="232" y="208"/>
                  </a:lnTo>
                  <a:lnTo>
                    <a:pt x="230" y="210"/>
                  </a:lnTo>
                  <a:lnTo>
                    <a:pt x="230" y="208"/>
                  </a:lnTo>
                  <a:lnTo>
                    <a:pt x="230" y="207"/>
                  </a:lnTo>
                  <a:lnTo>
                    <a:pt x="230" y="206"/>
                  </a:lnTo>
                  <a:lnTo>
                    <a:pt x="229" y="206"/>
                  </a:lnTo>
                  <a:lnTo>
                    <a:pt x="228" y="205"/>
                  </a:lnTo>
                  <a:lnTo>
                    <a:pt x="228" y="204"/>
                  </a:lnTo>
                  <a:lnTo>
                    <a:pt x="227" y="204"/>
                  </a:lnTo>
                  <a:lnTo>
                    <a:pt x="226" y="204"/>
                  </a:lnTo>
                  <a:lnTo>
                    <a:pt x="226" y="202"/>
                  </a:lnTo>
                  <a:lnTo>
                    <a:pt x="227" y="201"/>
                  </a:lnTo>
                  <a:lnTo>
                    <a:pt x="228" y="201"/>
                  </a:lnTo>
                  <a:lnTo>
                    <a:pt x="228" y="202"/>
                  </a:lnTo>
                  <a:lnTo>
                    <a:pt x="228" y="204"/>
                  </a:lnTo>
                  <a:lnTo>
                    <a:pt x="229" y="204"/>
                  </a:lnTo>
                  <a:lnTo>
                    <a:pt x="230" y="204"/>
                  </a:lnTo>
                  <a:lnTo>
                    <a:pt x="230" y="202"/>
                  </a:lnTo>
                  <a:lnTo>
                    <a:pt x="232" y="202"/>
                  </a:lnTo>
                  <a:lnTo>
                    <a:pt x="233" y="204"/>
                  </a:lnTo>
                  <a:lnTo>
                    <a:pt x="234" y="204"/>
                  </a:lnTo>
                  <a:lnTo>
                    <a:pt x="234" y="205"/>
                  </a:lnTo>
                  <a:lnTo>
                    <a:pt x="235" y="205"/>
                  </a:lnTo>
                  <a:lnTo>
                    <a:pt x="236" y="205"/>
                  </a:lnTo>
                  <a:lnTo>
                    <a:pt x="236" y="204"/>
                  </a:lnTo>
                  <a:lnTo>
                    <a:pt x="238" y="202"/>
                  </a:lnTo>
                  <a:lnTo>
                    <a:pt x="236" y="204"/>
                  </a:lnTo>
                  <a:lnTo>
                    <a:pt x="236" y="202"/>
                  </a:lnTo>
                  <a:lnTo>
                    <a:pt x="235" y="201"/>
                  </a:lnTo>
                  <a:lnTo>
                    <a:pt x="235" y="202"/>
                  </a:lnTo>
                  <a:lnTo>
                    <a:pt x="234" y="201"/>
                  </a:lnTo>
                  <a:lnTo>
                    <a:pt x="235" y="201"/>
                  </a:lnTo>
                  <a:lnTo>
                    <a:pt x="236" y="200"/>
                  </a:lnTo>
                  <a:lnTo>
                    <a:pt x="236" y="199"/>
                  </a:lnTo>
                  <a:lnTo>
                    <a:pt x="236" y="198"/>
                  </a:lnTo>
                  <a:lnTo>
                    <a:pt x="235" y="198"/>
                  </a:lnTo>
                  <a:lnTo>
                    <a:pt x="234" y="198"/>
                  </a:lnTo>
                  <a:lnTo>
                    <a:pt x="233" y="198"/>
                  </a:lnTo>
                  <a:lnTo>
                    <a:pt x="230" y="196"/>
                  </a:lnTo>
                  <a:lnTo>
                    <a:pt x="230" y="195"/>
                  </a:lnTo>
                  <a:lnTo>
                    <a:pt x="230" y="194"/>
                  </a:lnTo>
                  <a:lnTo>
                    <a:pt x="229" y="194"/>
                  </a:lnTo>
                  <a:lnTo>
                    <a:pt x="228" y="193"/>
                  </a:lnTo>
                  <a:lnTo>
                    <a:pt x="227" y="192"/>
                  </a:lnTo>
                  <a:lnTo>
                    <a:pt x="227" y="190"/>
                  </a:lnTo>
                  <a:lnTo>
                    <a:pt x="226" y="190"/>
                  </a:lnTo>
                  <a:lnTo>
                    <a:pt x="224" y="190"/>
                  </a:lnTo>
                  <a:lnTo>
                    <a:pt x="224" y="188"/>
                  </a:lnTo>
                  <a:lnTo>
                    <a:pt x="223" y="187"/>
                  </a:lnTo>
                  <a:lnTo>
                    <a:pt x="223" y="188"/>
                  </a:lnTo>
                  <a:lnTo>
                    <a:pt x="222" y="187"/>
                  </a:lnTo>
                  <a:lnTo>
                    <a:pt x="222" y="188"/>
                  </a:lnTo>
                  <a:lnTo>
                    <a:pt x="221" y="187"/>
                  </a:lnTo>
                  <a:lnTo>
                    <a:pt x="220" y="186"/>
                  </a:lnTo>
                  <a:lnTo>
                    <a:pt x="220" y="187"/>
                  </a:lnTo>
                  <a:lnTo>
                    <a:pt x="218" y="187"/>
                  </a:lnTo>
                  <a:lnTo>
                    <a:pt x="217" y="186"/>
                  </a:lnTo>
                  <a:lnTo>
                    <a:pt x="217" y="187"/>
                  </a:lnTo>
                  <a:lnTo>
                    <a:pt x="217" y="186"/>
                  </a:lnTo>
                  <a:lnTo>
                    <a:pt x="216" y="184"/>
                  </a:lnTo>
                  <a:lnTo>
                    <a:pt x="215" y="184"/>
                  </a:lnTo>
                  <a:lnTo>
                    <a:pt x="215" y="183"/>
                  </a:lnTo>
                  <a:lnTo>
                    <a:pt x="214" y="182"/>
                  </a:lnTo>
                  <a:lnTo>
                    <a:pt x="214" y="183"/>
                  </a:lnTo>
                  <a:lnTo>
                    <a:pt x="214" y="182"/>
                  </a:lnTo>
                  <a:lnTo>
                    <a:pt x="212" y="182"/>
                  </a:lnTo>
                  <a:lnTo>
                    <a:pt x="212" y="181"/>
                  </a:lnTo>
                  <a:lnTo>
                    <a:pt x="211" y="181"/>
                  </a:lnTo>
                  <a:lnTo>
                    <a:pt x="212" y="180"/>
                  </a:lnTo>
                  <a:lnTo>
                    <a:pt x="211" y="178"/>
                  </a:lnTo>
                  <a:lnTo>
                    <a:pt x="212" y="178"/>
                  </a:lnTo>
                  <a:lnTo>
                    <a:pt x="214" y="178"/>
                  </a:lnTo>
                  <a:lnTo>
                    <a:pt x="214" y="180"/>
                  </a:lnTo>
                  <a:lnTo>
                    <a:pt x="215" y="180"/>
                  </a:lnTo>
                  <a:lnTo>
                    <a:pt x="216" y="180"/>
                  </a:lnTo>
                  <a:lnTo>
                    <a:pt x="217" y="180"/>
                  </a:lnTo>
                  <a:lnTo>
                    <a:pt x="218" y="180"/>
                  </a:lnTo>
                  <a:lnTo>
                    <a:pt x="220" y="181"/>
                  </a:lnTo>
                  <a:lnTo>
                    <a:pt x="221" y="181"/>
                  </a:lnTo>
                  <a:lnTo>
                    <a:pt x="222" y="181"/>
                  </a:lnTo>
                  <a:lnTo>
                    <a:pt x="223" y="181"/>
                  </a:lnTo>
                  <a:lnTo>
                    <a:pt x="223" y="182"/>
                  </a:lnTo>
                  <a:lnTo>
                    <a:pt x="224" y="182"/>
                  </a:lnTo>
                  <a:lnTo>
                    <a:pt x="226" y="182"/>
                  </a:lnTo>
                  <a:lnTo>
                    <a:pt x="227" y="183"/>
                  </a:lnTo>
                  <a:lnTo>
                    <a:pt x="228" y="183"/>
                  </a:lnTo>
                  <a:lnTo>
                    <a:pt x="229" y="184"/>
                  </a:lnTo>
                  <a:lnTo>
                    <a:pt x="232" y="186"/>
                  </a:lnTo>
                  <a:lnTo>
                    <a:pt x="233" y="187"/>
                  </a:lnTo>
                  <a:lnTo>
                    <a:pt x="234" y="188"/>
                  </a:lnTo>
                  <a:lnTo>
                    <a:pt x="233" y="188"/>
                  </a:lnTo>
                  <a:lnTo>
                    <a:pt x="232" y="188"/>
                  </a:lnTo>
                  <a:lnTo>
                    <a:pt x="233" y="188"/>
                  </a:lnTo>
                  <a:lnTo>
                    <a:pt x="233" y="189"/>
                  </a:lnTo>
                  <a:lnTo>
                    <a:pt x="232" y="189"/>
                  </a:lnTo>
                  <a:lnTo>
                    <a:pt x="232" y="190"/>
                  </a:lnTo>
                  <a:lnTo>
                    <a:pt x="233" y="192"/>
                  </a:lnTo>
                  <a:lnTo>
                    <a:pt x="232" y="192"/>
                  </a:lnTo>
                  <a:lnTo>
                    <a:pt x="232" y="193"/>
                  </a:lnTo>
                  <a:lnTo>
                    <a:pt x="232" y="194"/>
                  </a:lnTo>
                  <a:lnTo>
                    <a:pt x="232" y="195"/>
                  </a:lnTo>
                  <a:lnTo>
                    <a:pt x="233" y="195"/>
                  </a:lnTo>
                  <a:lnTo>
                    <a:pt x="234" y="195"/>
                  </a:lnTo>
                  <a:lnTo>
                    <a:pt x="234" y="194"/>
                  </a:lnTo>
                  <a:lnTo>
                    <a:pt x="235" y="194"/>
                  </a:lnTo>
                  <a:lnTo>
                    <a:pt x="235" y="196"/>
                  </a:lnTo>
                  <a:lnTo>
                    <a:pt x="235" y="198"/>
                  </a:lnTo>
                  <a:lnTo>
                    <a:pt x="236" y="198"/>
                  </a:lnTo>
                  <a:lnTo>
                    <a:pt x="236" y="199"/>
                  </a:lnTo>
                  <a:lnTo>
                    <a:pt x="238" y="199"/>
                  </a:lnTo>
                  <a:lnTo>
                    <a:pt x="236" y="199"/>
                  </a:lnTo>
                  <a:lnTo>
                    <a:pt x="238" y="199"/>
                  </a:lnTo>
                  <a:lnTo>
                    <a:pt x="238" y="200"/>
                  </a:lnTo>
                  <a:lnTo>
                    <a:pt x="238" y="201"/>
                  </a:lnTo>
                  <a:lnTo>
                    <a:pt x="239" y="200"/>
                  </a:lnTo>
                  <a:lnTo>
                    <a:pt x="240" y="201"/>
                  </a:lnTo>
                  <a:lnTo>
                    <a:pt x="241" y="201"/>
                  </a:lnTo>
                  <a:lnTo>
                    <a:pt x="241" y="202"/>
                  </a:lnTo>
                  <a:lnTo>
                    <a:pt x="242" y="201"/>
                  </a:lnTo>
                  <a:lnTo>
                    <a:pt x="244" y="201"/>
                  </a:lnTo>
                  <a:lnTo>
                    <a:pt x="244" y="200"/>
                  </a:lnTo>
                  <a:lnTo>
                    <a:pt x="242" y="200"/>
                  </a:lnTo>
                  <a:lnTo>
                    <a:pt x="242" y="199"/>
                  </a:lnTo>
                  <a:lnTo>
                    <a:pt x="242" y="200"/>
                  </a:lnTo>
                  <a:lnTo>
                    <a:pt x="242" y="199"/>
                  </a:lnTo>
                  <a:lnTo>
                    <a:pt x="242" y="198"/>
                  </a:lnTo>
                  <a:lnTo>
                    <a:pt x="244" y="198"/>
                  </a:lnTo>
                  <a:lnTo>
                    <a:pt x="245" y="196"/>
                  </a:lnTo>
                  <a:lnTo>
                    <a:pt x="246" y="196"/>
                  </a:lnTo>
                  <a:lnTo>
                    <a:pt x="246" y="198"/>
                  </a:lnTo>
                  <a:lnTo>
                    <a:pt x="247" y="199"/>
                  </a:lnTo>
                  <a:lnTo>
                    <a:pt x="247" y="201"/>
                  </a:lnTo>
                  <a:lnTo>
                    <a:pt x="248" y="201"/>
                  </a:lnTo>
                  <a:lnTo>
                    <a:pt x="250" y="202"/>
                  </a:lnTo>
                  <a:lnTo>
                    <a:pt x="250" y="204"/>
                  </a:lnTo>
                  <a:lnTo>
                    <a:pt x="250" y="205"/>
                  </a:lnTo>
                  <a:lnTo>
                    <a:pt x="251" y="205"/>
                  </a:lnTo>
                  <a:lnTo>
                    <a:pt x="252" y="206"/>
                  </a:lnTo>
                  <a:lnTo>
                    <a:pt x="253" y="206"/>
                  </a:lnTo>
                  <a:lnTo>
                    <a:pt x="253" y="205"/>
                  </a:lnTo>
                  <a:lnTo>
                    <a:pt x="254" y="204"/>
                  </a:lnTo>
                  <a:lnTo>
                    <a:pt x="256" y="204"/>
                  </a:lnTo>
                  <a:lnTo>
                    <a:pt x="257" y="205"/>
                  </a:lnTo>
                  <a:lnTo>
                    <a:pt x="257" y="206"/>
                  </a:lnTo>
                  <a:lnTo>
                    <a:pt x="258" y="206"/>
                  </a:lnTo>
                  <a:lnTo>
                    <a:pt x="258" y="207"/>
                  </a:lnTo>
                  <a:lnTo>
                    <a:pt x="257" y="207"/>
                  </a:lnTo>
                  <a:lnTo>
                    <a:pt x="258" y="207"/>
                  </a:lnTo>
                  <a:lnTo>
                    <a:pt x="257" y="208"/>
                  </a:lnTo>
                  <a:lnTo>
                    <a:pt x="258" y="208"/>
                  </a:lnTo>
                  <a:lnTo>
                    <a:pt x="259" y="207"/>
                  </a:lnTo>
                  <a:lnTo>
                    <a:pt x="259" y="208"/>
                  </a:lnTo>
                  <a:lnTo>
                    <a:pt x="258" y="210"/>
                  </a:lnTo>
                  <a:lnTo>
                    <a:pt x="259" y="210"/>
                  </a:lnTo>
                  <a:lnTo>
                    <a:pt x="260" y="210"/>
                  </a:lnTo>
                  <a:lnTo>
                    <a:pt x="262" y="208"/>
                  </a:lnTo>
                  <a:lnTo>
                    <a:pt x="260" y="208"/>
                  </a:lnTo>
                  <a:lnTo>
                    <a:pt x="262" y="208"/>
                  </a:lnTo>
                  <a:lnTo>
                    <a:pt x="262" y="207"/>
                  </a:lnTo>
                  <a:lnTo>
                    <a:pt x="262" y="208"/>
                  </a:lnTo>
                  <a:lnTo>
                    <a:pt x="263" y="208"/>
                  </a:lnTo>
                  <a:lnTo>
                    <a:pt x="263" y="210"/>
                  </a:lnTo>
                  <a:lnTo>
                    <a:pt x="264" y="210"/>
                  </a:lnTo>
                  <a:lnTo>
                    <a:pt x="264" y="211"/>
                  </a:lnTo>
                  <a:lnTo>
                    <a:pt x="265" y="212"/>
                  </a:lnTo>
                  <a:lnTo>
                    <a:pt x="264" y="212"/>
                  </a:lnTo>
                  <a:lnTo>
                    <a:pt x="264" y="213"/>
                  </a:lnTo>
                  <a:lnTo>
                    <a:pt x="265" y="213"/>
                  </a:lnTo>
                  <a:lnTo>
                    <a:pt x="265" y="214"/>
                  </a:lnTo>
                  <a:lnTo>
                    <a:pt x="267" y="216"/>
                  </a:lnTo>
                  <a:lnTo>
                    <a:pt x="268" y="216"/>
                  </a:lnTo>
                  <a:lnTo>
                    <a:pt x="268" y="214"/>
                  </a:lnTo>
                  <a:lnTo>
                    <a:pt x="269" y="214"/>
                  </a:lnTo>
                  <a:lnTo>
                    <a:pt x="270" y="213"/>
                  </a:lnTo>
                  <a:lnTo>
                    <a:pt x="269" y="213"/>
                  </a:lnTo>
                  <a:lnTo>
                    <a:pt x="270" y="213"/>
                  </a:lnTo>
                  <a:lnTo>
                    <a:pt x="271" y="213"/>
                  </a:lnTo>
                  <a:lnTo>
                    <a:pt x="273" y="214"/>
                  </a:lnTo>
                  <a:lnTo>
                    <a:pt x="273" y="213"/>
                  </a:lnTo>
                  <a:lnTo>
                    <a:pt x="274" y="213"/>
                  </a:lnTo>
                  <a:lnTo>
                    <a:pt x="275" y="213"/>
                  </a:lnTo>
                  <a:lnTo>
                    <a:pt x="276" y="212"/>
                  </a:lnTo>
                  <a:lnTo>
                    <a:pt x="276" y="213"/>
                  </a:lnTo>
                  <a:lnTo>
                    <a:pt x="277" y="212"/>
                  </a:lnTo>
                  <a:lnTo>
                    <a:pt x="276" y="212"/>
                  </a:lnTo>
                  <a:lnTo>
                    <a:pt x="276" y="211"/>
                  </a:lnTo>
                  <a:lnTo>
                    <a:pt x="277" y="211"/>
                  </a:lnTo>
                  <a:lnTo>
                    <a:pt x="280" y="210"/>
                  </a:lnTo>
                  <a:lnTo>
                    <a:pt x="279" y="208"/>
                  </a:lnTo>
                  <a:lnTo>
                    <a:pt x="277" y="208"/>
                  </a:lnTo>
                  <a:lnTo>
                    <a:pt x="279" y="207"/>
                  </a:lnTo>
                  <a:lnTo>
                    <a:pt x="279" y="206"/>
                  </a:lnTo>
                  <a:lnTo>
                    <a:pt x="280" y="205"/>
                  </a:lnTo>
                  <a:lnTo>
                    <a:pt x="279" y="205"/>
                  </a:lnTo>
                  <a:lnTo>
                    <a:pt x="279" y="204"/>
                  </a:lnTo>
                  <a:lnTo>
                    <a:pt x="279" y="205"/>
                  </a:lnTo>
                  <a:lnTo>
                    <a:pt x="277" y="204"/>
                  </a:lnTo>
                  <a:lnTo>
                    <a:pt x="276" y="204"/>
                  </a:lnTo>
                  <a:lnTo>
                    <a:pt x="275" y="204"/>
                  </a:lnTo>
                  <a:lnTo>
                    <a:pt x="275" y="202"/>
                  </a:lnTo>
                  <a:lnTo>
                    <a:pt x="276" y="204"/>
                  </a:lnTo>
                  <a:lnTo>
                    <a:pt x="276" y="202"/>
                  </a:lnTo>
                  <a:lnTo>
                    <a:pt x="277" y="202"/>
                  </a:lnTo>
                  <a:lnTo>
                    <a:pt x="279" y="201"/>
                  </a:lnTo>
                  <a:lnTo>
                    <a:pt x="277" y="200"/>
                  </a:lnTo>
                  <a:lnTo>
                    <a:pt x="276" y="200"/>
                  </a:lnTo>
                  <a:lnTo>
                    <a:pt x="274" y="200"/>
                  </a:lnTo>
                  <a:lnTo>
                    <a:pt x="275" y="199"/>
                  </a:lnTo>
                  <a:lnTo>
                    <a:pt x="275" y="198"/>
                  </a:lnTo>
                  <a:lnTo>
                    <a:pt x="274" y="199"/>
                  </a:lnTo>
                  <a:lnTo>
                    <a:pt x="273" y="199"/>
                  </a:lnTo>
                  <a:lnTo>
                    <a:pt x="271" y="196"/>
                  </a:lnTo>
                  <a:lnTo>
                    <a:pt x="271" y="195"/>
                  </a:lnTo>
                  <a:lnTo>
                    <a:pt x="270" y="194"/>
                  </a:lnTo>
                  <a:lnTo>
                    <a:pt x="269" y="195"/>
                  </a:lnTo>
                  <a:lnTo>
                    <a:pt x="269" y="193"/>
                  </a:lnTo>
                  <a:lnTo>
                    <a:pt x="270" y="192"/>
                  </a:lnTo>
                  <a:lnTo>
                    <a:pt x="270" y="190"/>
                  </a:lnTo>
                  <a:lnTo>
                    <a:pt x="269" y="189"/>
                  </a:lnTo>
                  <a:lnTo>
                    <a:pt x="269" y="190"/>
                  </a:lnTo>
                  <a:lnTo>
                    <a:pt x="268" y="190"/>
                  </a:lnTo>
                  <a:lnTo>
                    <a:pt x="267" y="189"/>
                  </a:lnTo>
                  <a:lnTo>
                    <a:pt x="265" y="188"/>
                  </a:lnTo>
                  <a:lnTo>
                    <a:pt x="264" y="188"/>
                  </a:lnTo>
                  <a:lnTo>
                    <a:pt x="263" y="188"/>
                  </a:lnTo>
                  <a:lnTo>
                    <a:pt x="263" y="187"/>
                  </a:lnTo>
                  <a:lnTo>
                    <a:pt x="264" y="186"/>
                  </a:lnTo>
                  <a:lnTo>
                    <a:pt x="264" y="184"/>
                  </a:lnTo>
                  <a:lnTo>
                    <a:pt x="263" y="184"/>
                  </a:lnTo>
                  <a:lnTo>
                    <a:pt x="262" y="184"/>
                  </a:lnTo>
                  <a:lnTo>
                    <a:pt x="262" y="186"/>
                  </a:lnTo>
                  <a:lnTo>
                    <a:pt x="262" y="184"/>
                  </a:lnTo>
                  <a:lnTo>
                    <a:pt x="260" y="184"/>
                  </a:lnTo>
                  <a:lnTo>
                    <a:pt x="259" y="184"/>
                  </a:lnTo>
                  <a:lnTo>
                    <a:pt x="258" y="184"/>
                  </a:lnTo>
                  <a:lnTo>
                    <a:pt x="258" y="186"/>
                  </a:lnTo>
                  <a:lnTo>
                    <a:pt x="258" y="184"/>
                  </a:lnTo>
                  <a:lnTo>
                    <a:pt x="257" y="184"/>
                  </a:lnTo>
                  <a:lnTo>
                    <a:pt x="257" y="183"/>
                  </a:lnTo>
                  <a:lnTo>
                    <a:pt x="256" y="183"/>
                  </a:lnTo>
                  <a:lnTo>
                    <a:pt x="256" y="182"/>
                  </a:lnTo>
                  <a:lnTo>
                    <a:pt x="257" y="182"/>
                  </a:lnTo>
                  <a:lnTo>
                    <a:pt x="257" y="181"/>
                  </a:lnTo>
                  <a:lnTo>
                    <a:pt x="256" y="181"/>
                  </a:lnTo>
                  <a:lnTo>
                    <a:pt x="256" y="180"/>
                  </a:lnTo>
                  <a:lnTo>
                    <a:pt x="254" y="180"/>
                  </a:lnTo>
                  <a:lnTo>
                    <a:pt x="254" y="178"/>
                  </a:lnTo>
                  <a:lnTo>
                    <a:pt x="253" y="177"/>
                  </a:lnTo>
                  <a:lnTo>
                    <a:pt x="252" y="176"/>
                  </a:lnTo>
                  <a:lnTo>
                    <a:pt x="252" y="175"/>
                  </a:lnTo>
                  <a:lnTo>
                    <a:pt x="251" y="175"/>
                  </a:lnTo>
                  <a:lnTo>
                    <a:pt x="250" y="174"/>
                  </a:lnTo>
                  <a:lnTo>
                    <a:pt x="251" y="174"/>
                  </a:lnTo>
                  <a:lnTo>
                    <a:pt x="251" y="172"/>
                  </a:lnTo>
                  <a:lnTo>
                    <a:pt x="252" y="172"/>
                  </a:lnTo>
                  <a:lnTo>
                    <a:pt x="252" y="171"/>
                  </a:lnTo>
                  <a:lnTo>
                    <a:pt x="251" y="170"/>
                  </a:lnTo>
                  <a:lnTo>
                    <a:pt x="252" y="170"/>
                  </a:lnTo>
                  <a:lnTo>
                    <a:pt x="253" y="170"/>
                  </a:lnTo>
                  <a:lnTo>
                    <a:pt x="253" y="169"/>
                  </a:lnTo>
                  <a:lnTo>
                    <a:pt x="254" y="169"/>
                  </a:lnTo>
                  <a:lnTo>
                    <a:pt x="256" y="169"/>
                  </a:lnTo>
                  <a:lnTo>
                    <a:pt x="256" y="168"/>
                  </a:lnTo>
                  <a:lnTo>
                    <a:pt x="256" y="166"/>
                  </a:lnTo>
                  <a:lnTo>
                    <a:pt x="257" y="166"/>
                  </a:lnTo>
                  <a:lnTo>
                    <a:pt x="258" y="166"/>
                  </a:lnTo>
                  <a:lnTo>
                    <a:pt x="259" y="166"/>
                  </a:lnTo>
                  <a:lnTo>
                    <a:pt x="259" y="165"/>
                  </a:lnTo>
                  <a:lnTo>
                    <a:pt x="259" y="164"/>
                  </a:lnTo>
                  <a:lnTo>
                    <a:pt x="258" y="164"/>
                  </a:lnTo>
                  <a:lnTo>
                    <a:pt x="259" y="164"/>
                  </a:lnTo>
                  <a:lnTo>
                    <a:pt x="260" y="164"/>
                  </a:lnTo>
                  <a:lnTo>
                    <a:pt x="260" y="165"/>
                  </a:lnTo>
                  <a:lnTo>
                    <a:pt x="260" y="166"/>
                  </a:lnTo>
                  <a:lnTo>
                    <a:pt x="262" y="166"/>
                  </a:lnTo>
                  <a:lnTo>
                    <a:pt x="260" y="166"/>
                  </a:lnTo>
                  <a:lnTo>
                    <a:pt x="260" y="168"/>
                  </a:lnTo>
                  <a:lnTo>
                    <a:pt x="262" y="168"/>
                  </a:lnTo>
                  <a:lnTo>
                    <a:pt x="262" y="169"/>
                  </a:lnTo>
                  <a:lnTo>
                    <a:pt x="263" y="170"/>
                  </a:lnTo>
                  <a:lnTo>
                    <a:pt x="264" y="170"/>
                  </a:lnTo>
                  <a:lnTo>
                    <a:pt x="265" y="170"/>
                  </a:lnTo>
                  <a:lnTo>
                    <a:pt x="267" y="170"/>
                  </a:lnTo>
                  <a:lnTo>
                    <a:pt x="267" y="171"/>
                  </a:lnTo>
                  <a:lnTo>
                    <a:pt x="268" y="172"/>
                  </a:lnTo>
                  <a:lnTo>
                    <a:pt x="268" y="171"/>
                  </a:lnTo>
                  <a:lnTo>
                    <a:pt x="268" y="172"/>
                  </a:lnTo>
                  <a:lnTo>
                    <a:pt x="269" y="172"/>
                  </a:lnTo>
                  <a:lnTo>
                    <a:pt x="270" y="172"/>
                  </a:lnTo>
                  <a:lnTo>
                    <a:pt x="271" y="174"/>
                  </a:lnTo>
                  <a:lnTo>
                    <a:pt x="274" y="175"/>
                  </a:lnTo>
                  <a:lnTo>
                    <a:pt x="275" y="175"/>
                  </a:lnTo>
                  <a:lnTo>
                    <a:pt x="276" y="175"/>
                  </a:lnTo>
                  <a:lnTo>
                    <a:pt x="277" y="175"/>
                  </a:lnTo>
                  <a:lnTo>
                    <a:pt x="279" y="175"/>
                  </a:lnTo>
                  <a:lnTo>
                    <a:pt x="280" y="175"/>
                  </a:lnTo>
                  <a:lnTo>
                    <a:pt x="281" y="175"/>
                  </a:lnTo>
                  <a:lnTo>
                    <a:pt x="281" y="174"/>
                  </a:lnTo>
                  <a:lnTo>
                    <a:pt x="282" y="172"/>
                  </a:lnTo>
                  <a:lnTo>
                    <a:pt x="283" y="172"/>
                  </a:lnTo>
                  <a:lnTo>
                    <a:pt x="285" y="171"/>
                  </a:lnTo>
                  <a:lnTo>
                    <a:pt x="286" y="171"/>
                  </a:lnTo>
                  <a:lnTo>
                    <a:pt x="287" y="171"/>
                  </a:lnTo>
                  <a:lnTo>
                    <a:pt x="288" y="171"/>
                  </a:lnTo>
                  <a:lnTo>
                    <a:pt x="287" y="170"/>
                  </a:lnTo>
                  <a:lnTo>
                    <a:pt x="288" y="169"/>
                  </a:lnTo>
                  <a:lnTo>
                    <a:pt x="289" y="169"/>
                  </a:lnTo>
                  <a:lnTo>
                    <a:pt x="291" y="169"/>
                  </a:lnTo>
                  <a:lnTo>
                    <a:pt x="292" y="169"/>
                  </a:lnTo>
                  <a:lnTo>
                    <a:pt x="292" y="168"/>
                  </a:lnTo>
                  <a:lnTo>
                    <a:pt x="293" y="168"/>
                  </a:lnTo>
                  <a:lnTo>
                    <a:pt x="293" y="166"/>
                  </a:lnTo>
                  <a:lnTo>
                    <a:pt x="294" y="166"/>
                  </a:lnTo>
                  <a:lnTo>
                    <a:pt x="294" y="165"/>
                  </a:lnTo>
                  <a:lnTo>
                    <a:pt x="293" y="165"/>
                  </a:lnTo>
                  <a:lnTo>
                    <a:pt x="293" y="164"/>
                  </a:lnTo>
                  <a:lnTo>
                    <a:pt x="293" y="163"/>
                  </a:lnTo>
                  <a:lnTo>
                    <a:pt x="294" y="163"/>
                  </a:lnTo>
                  <a:lnTo>
                    <a:pt x="293" y="162"/>
                  </a:lnTo>
                  <a:lnTo>
                    <a:pt x="292" y="162"/>
                  </a:lnTo>
                  <a:lnTo>
                    <a:pt x="293" y="162"/>
                  </a:lnTo>
                  <a:lnTo>
                    <a:pt x="294" y="162"/>
                  </a:lnTo>
                  <a:lnTo>
                    <a:pt x="295" y="163"/>
                  </a:lnTo>
                  <a:lnTo>
                    <a:pt x="295" y="164"/>
                  </a:lnTo>
                  <a:lnTo>
                    <a:pt x="297" y="164"/>
                  </a:lnTo>
                  <a:lnTo>
                    <a:pt x="298" y="164"/>
                  </a:lnTo>
                  <a:lnTo>
                    <a:pt x="299" y="164"/>
                  </a:lnTo>
                  <a:lnTo>
                    <a:pt x="300" y="164"/>
                  </a:lnTo>
                  <a:lnTo>
                    <a:pt x="301" y="164"/>
                  </a:lnTo>
                  <a:lnTo>
                    <a:pt x="303" y="162"/>
                  </a:lnTo>
                  <a:lnTo>
                    <a:pt x="303" y="160"/>
                  </a:lnTo>
                  <a:lnTo>
                    <a:pt x="305" y="158"/>
                  </a:lnTo>
                  <a:lnTo>
                    <a:pt x="304" y="158"/>
                  </a:lnTo>
                  <a:lnTo>
                    <a:pt x="305" y="157"/>
                  </a:lnTo>
                  <a:lnTo>
                    <a:pt x="305" y="154"/>
                  </a:lnTo>
                  <a:lnTo>
                    <a:pt x="304" y="154"/>
                  </a:lnTo>
                  <a:lnTo>
                    <a:pt x="303" y="1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6" name="Freeform 69"/>
            <p:cNvSpPr>
              <a:spLocks/>
            </p:cNvSpPr>
            <p:nvPr userDrawn="1"/>
          </p:nvSpPr>
          <p:spPr bwMode="auto">
            <a:xfrm>
              <a:off x="5962650" y="6515101"/>
              <a:ext cx="2976563" cy="144463"/>
            </a:xfrm>
            <a:custGeom>
              <a:avLst/>
              <a:gdLst/>
              <a:ahLst/>
              <a:cxnLst>
                <a:cxn ang="0">
                  <a:pos x="25" y="436"/>
                </a:cxn>
                <a:cxn ang="0">
                  <a:pos x="154" y="358"/>
                </a:cxn>
                <a:cxn ang="0">
                  <a:pos x="302" y="286"/>
                </a:cxn>
                <a:cxn ang="0">
                  <a:pos x="395" y="246"/>
                </a:cxn>
                <a:cxn ang="0">
                  <a:pos x="556" y="188"/>
                </a:cxn>
                <a:cxn ang="0">
                  <a:pos x="680" y="150"/>
                </a:cxn>
                <a:cxn ang="0">
                  <a:pos x="888" y="99"/>
                </a:cxn>
                <a:cxn ang="0">
                  <a:pos x="1042" y="71"/>
                </a:cxn>
                <a:cxn ang="0">
                  <a:pos x="1208" y="47"/>
                </a:cxn>
                <a:cxn ang="0">
                  <a:pos x="1387" y="30"/>
                </a:cxn>
                <a:cxn ang="0">
                  <a:pos x="1577" y="21"/>
                </a:cxn>
                <a:cxn ang="0">
                  <a:pos x="2005" y="19"/>
                </a:cxn>
                <a:cxn ang="0">
                  <a:pos x="2476" y="27"/>
                </a:cxn>
                <a:cxn ang="0">
                  <a:pos x="2960" y="44"/>
                </a:cxn>
                <a:cxn ang="0">
                  <a:pos x="3842" y="86"/>
                </a:cxn>
                <a:cxn ang="0">
                  <a:pos x="4485" y="126"/>
                </a:cxn>
                <a:cxn ang="0">
                  <a:pos x="4908" y="114"/>
                </a:cxn>
                <a:cxn ang="0">
                  <a:pos x="5281" y="99"/>
                </a:cxn>
                <a:cxn ang="0">
                  <a:pos x="5621" y="78"/>
                </a:cxn>
                <a:cxn ang="0">
                  <a:pos x="6421" y="17"/>
                </a:cxn>
                <a:cxn ang="0">
                  <a:pos x="6840" y="0"/>
                </a:cxn>
                <a:cxn ang="0">
                  <a:pos x="7011" y="1"/>
                </a:cxn>
                <a:cxn ang="0">
                  <a:pos x="7112" y="8"/>
                </a:cxn>
                <a:cxn ang="0">
                  <a:pos x="7541" y="77"/>
                </a:cxn>
                <a:cxn ang="0">
                  <a:pos x="8314" y="210"/>
                </a:cxn>
                <a:cxn ang="0">
                  <a:pos x="8947" y="326"/>
                </a:cxn>
                <a:cxn ang="0">
                  <a:pos x="9373" y="407"/>
                </a:cxn>
                <a:cxn ang="0">
                  <a:pos x="8201" y="412"/>
                </a:cxn>
                <a:cxn ang="0">
                  <a:pos x="7029" y="418"/>
                </a:cxn>
                <a:cxn ang="0">
                  <a:pos x="5858" y="424"/>
                </a:cxn>
                <a:cxn ang="0">
                  <a:pos x="4686" y="430"/>
                </a:cxn>
                <a:cxn ang="0">
                  <a:pos x="3515" y="435"/>
                </a:cxn>
                <a:cxn ang="0">
                  <a:pos x="2343" y="441"/>
                </a:cxn>
                <a:cxn ang="0">
                  <a:pos x="1172" y="447"/>
                </a:cxn>
                <a:cxn ang="0">
                  <a:pos x="0" y="453"/>
                </a:cxn>
              </a:cxnLst>
              <a:rect l="0" t="0" r="r" b="b"/>
              <a:pathLst>
                <a:path w="9373" h="453">
                  <a:moveTo>
                    <a:pt x="0" y="453"/>
                  </a:moveTo>
                  <a:lnTo>
                    <a:pt x="25" y="436"/>
                  </a:lnTo>
                  <a:lnTo>
                    <a:pt x="99" y="389"/>
                  </a:lnTo>
                  <a:lnTo>
                    <a:pt x="154" y="358"/>
                  </a:lnTo>
                  <a:lnTo>
                    <a:pt x="223" y="323"/>
                  </a:lnTo>
                  <a:lnTo>
                    <a:pt x="302" y="286"/>
                  </a:lnTo>
                  <a:lnTo>
                    <a:pt x="347" y="267"/>
                  </a:lnTo>
                  <a:lnTo>
                    <a:pt x="395" y="246"/>
                  </a:lnTo>
                  <a:lnTo>
                    <a:pt x="500" y="208"/>
                  </a:lnTo>
                  <a:lnTo>
                    <a:pt x="556" y="188"/>
                  </a:lnTo>
                  <a:lnTo>
                    <a:pt x="617" y="169"/>
                  </a:lnTo>
                  <a:lnTo>
                    <a:pt x="680" y="150"/>
                  </a:lnTo>
                  <a:lnTo>
                    <a:pt x="747" y="132"/>
                  </a:lnTo>
                  <a:lnTo>
                    <a:pt x="888" y="99"/>
                  </a:lnTo>
                  <a:lnTo>
                    <a:pt x="963" y="84"/>
                  </a:lnTo>
                  <a:lnTo>
                    <a:pt x="1042" y="71"/>
                  </a:lnTo>
                  <a:lnTo>
                    <a:pt x="1124" y="57"/>
                  </a:lnTo>
                  <a:lnTo>
                    <a:pt x="1208" y="47"/>
                  </a:lnTo>
                  <a:lnTo>
                    <a:pt x="1296" y="38"/>
                  </a:lnTo>
                  <a:lnTo>
                    <a:pt x="1387" y="30"/>
                  </a:lnTo>
                  <a:lnTo>
                    <a:pt x="1481" y="25"/>
                  </a:lnTo>
                  <a:lnTo>
                    <a:pt x="1577" y="21"/>
                  </a:lnTo>
                  <a:lnTo>
                    <a:pt x="1783" y="19"/>
                  </a:lnTo>
                  <a:lnTo>
                    <a:pt x="2005" y="19"/>
                  </a:lnTo>
                  <a:lnTo>
                    <a:pt x="2236" y="23"/>
                  </a:lnTo>
                  <a:lnTo>
                    <a:pt x="2476" y="27"/>
                  </a:lnTo>
                  <a:lnTo>
                    <a:pt x="2718" y="35"/>
                  </a:lnTo>
                  <a:lnTo>
                    <a:pt x="2960" y="44"/>
                  </a:lnTo>
                  <a:lnTo>
                    <a:pt x="3426" y="65"/>
                  </a:lnTo>
                  <a:lnTo>
                    <a:pt x="3842" y="86"/>
                  </a:lnTo>
                  <a:lnTo>
                    <a:pt x="4178" y="107"/>
                  </a:lnTo>
                  <a:lnTo>
                    <a:pt x="4485" y="126"/>
                  </a:lnTo>
                  <a:lnTo>
                    <a:pt x="4608" y="124"/>
                  </a:lnTo>
                  <a:lnTo>
                    <a:pt x="4908" y="114"/>
                  </a:lnTo>
                  <a:lnTo>
                    <a:pt x="5092" y="108"/>
                  </a:lnTo>
                  <a:lnTo>
                    <a:pt x="5281" y="99"/>
                  </a:lnTo>
                  <a:lnTo>
                    <a:pt x="5462" y="89"/>
                  </a:lnTo>
                  <a:lnTo>
                    <a:pt x="5621" y="78"/>
                  </a:lnTo>
                  <a:lnTo>
                    <a:pt x="5982" y="47"/>
                  </a:lnTo>
                  <a:lnTo>
                    <a:pt x="6421" y="17"/>
                  </a:lnTo>
                  <a:lnTo>
                    <a:pt x="6639" y="5"/>
                  </a:lnTo>
                  <a:lnTo>
                    <a:pt x="6840" y="0"/>
                  </a:lnTo>
                  <a:lnTo>
                    <a:pt x="6929" y="0"/>
                  </a:lnTo>
                  <a:lnTo>
                    <a:pt x="7011" y="1"/>
                  </a:lnTo>
                  <a:lnTo>
                    <a:pt x="7081" y="6"/>
                  </a:lnTo>
                  <a:lnTo>
                    <a:pt x="7112" y="8"/>
                  </a:lnTo>
                  <a:lnTo>
                    <a:pt x="7140" y="12"/>
                  </a:lnTo>
                  <a:lnTo>
                    <a:pt x="7541" y="77"/>
                  </a:lnTo>
                  <a:lnTo>
                    <a:pt x="7937" y="144"/>
                  </a:lnTo>
                  <a:lnTo>
                    <a:pt x="8314" y="210"/>
                  </a:lnTo>
                  <a:lnTo>
                    <a:pt x="8656" y="271"/>
                  </a:lnTo>
                  <a:lnTo>
                    <a:pt x="8947" y="326"/>
                  </a:lnTo>
                  <a:lnTo>
                    <a:pt x="9175" y="369"/>
                  </a:lnTo>
                  <a:lnTo>
                    <a:pt x="9373" y="407"/>
                  </a:lnTo>
                  <a:lnTo>
                    <a:pt x="8787" y="410"/>
                  </a:lnTo>
                  <a:lnTo>
                    <a:pt x="8201" y="412"/>
                  </a:lnTo>
                  <a:lnTo>
                    <a:pt x="7614" y="414"/>
                  </a:lnTo>
                  <a:lnTo>
                    <a:pt x="7029" y="418"/>
                  </a:lnTo>
                  <a:lnTo>
                    <a:pt x="6443" y="420"/>
                  </a:lnTo>
                  <a:lnTo>
                    <a:pt x="5858" y="424"/>
                  </a:lnTo>
                  <a:lnTo>
                    <a:pt x="5271" y="426"/>
                  </a:lnTo>
                  <a:lnTo>
                    <a:pt x="4686" y="430"/>
                  </a:lnTo>
                  <a:lnTo>
                    <a:pt x="4100" y="433"/>
                  </a:lnTo>
                  <a:lnTo>
                    <a:pt x="3515" y="435"/>
                  </a:lnTo>
                  <a:lnTo>
                    <a:pt x="2928" y="437"/>
                  </a:lnTo>
                  <a:lnTo>
                    <a:pt x="2343" y="441"/>
                  </a:lnTo>
                  <a:lnTo>
                    <a:pt x="1757" y="443"/>
                  </a:lnTo>
                  <a:lnTo>
                    <a:pt x="1172" y="447"/>
                  </a:lnTo>
                  <a:lnTo>
                    <a:pt x="585" y="449"/>
                  </a:lnTo>
                  <a:lnTo>
                    <a:pt x="0" y="45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7" name="Freeform 70"/>
            <p:cNvSpPr>
              <a:spLocks/>
            </p:cNvSpPr>
            <p:nvPr userDrawn="1"/>
          </p:nvSpPr>
          <p:spPr bwMode="auto">
            <a:xfrm>
              <a:off x="6608763" y="6438901"/>
              <a:ext cx="2020888" cy="225425"/>
            </a:xfrm>
            <a:custGeom>
              <a:avLst/>
              <a:gdLst/>
              <a:ahLst/>
              <a:cxnLst>
                <a:cxn ang="0">
                  <a:pos x="53" y="521"/>
                </a:cxn>
                <a:cxn ang="0">
                  <a:pos x="115" y="517"/>
                </a:cxn>
                <a:cxn ang="0">
                  <a:pos x="205" y="489"/>
                </a:cxn>
                <a:cxn ang="0">
                  <a:pos x="323" y="427"/>
                </a:cxn>
                <a:cxn ang="0">
                  <a:pos x="416" y="380"/>
                </a:cxn>
                <a:cxn ang="0">
                  <a:pos x="480" y="354"/>
                </a:cxn>
                <a:cxn ang="0">
                  <a:pos x="554" y="337"/>
                </a:cxn>
                <a:cxn ang="0">
                  <a:pos x="673" y="330"/>
                </a:cxn>
                <a:cxn ang="0">
                  <a:pos x="923" y="330"/>
                </a:cxn>
                <a:cxn ang="0">
                  <a:pos x="1322" y="341"/>
                </a:cxn>
                <a:cxn ang="0">
                  <a:pos x="1705" y="346"/>
                </a:cxn>
                <a:cxn ang="0">
                  <a:pos x="1948" y="330"/>
                </a:cxn>
                <a:cxn ang="0">
                  <a:pos x="2194" y="296"/>
                </a:cxn>
                <a:cxn ang="0">
                  <a:pos x="3062" y="160"/>
                </a:cxn>
                <a:cxn ang="0">
                  <a:pos x="3779" y="52"/>
                </a:cxn>
                <a:cxn ang="0">
                  <a:pos x="4065" y="16"/>
                </a:cxn>
                <a:cxn ang="0">
                  <a:pos x="4267" y="0"/>
                </a:cxn>
                <a:cxn ang="0">
                  <a:pos x="4399" y="9"/>
                </a:cxn>
                <a:cxn ang="0">
                  <a:pos x="4573" y="35"/>
                </a:cxn>
                <a:cxn ang="0">
                  <a:pos x="4854" y="89"/>
                </a:cxn>
                <a:cxn ang="0">
                  <a:pos x="5322" y="193"/>
                </a:cxn>
                <a:cxn ang="0">
                  <a:pos x="6010" y="349"/>
                </a:cxn>
                <a:cxn ang="0">
                  <a:pos x="6141" y="372"/>
                </a:cxn>
                <a:cxn ang="0">
                  <a:pos x="6197" y="378"/>
                </a:cxn>
                <a:cxn ang="0">
                  <a:pos x="6283" y="374"/>
                </a:cxn>
                <a:cxn ang="0">
                  <a:pos x="6327" y="379"/>
                </a:cxn>
                <a:cxn ang="0">
                  <a:pos x="6354" y="392"/>
                </a:cxn>
                <a:cxn ang="0">
                  <a:pos x="6365" y="412"/>
                </a:cxn>
                <a:cxn ang="0">
                  <a:pos x="6360" y="436"/>
                </a:cxn>
                <a:cxn ang="0">
                  <a:pos x="6344" y="463"/>
                </a:cxn>
                <a:cxn ang="0">
                  <a:pos x="6287" y="526"/>
                </a:cxn>
                <a:cxn ang="0">
                  <a:pos x="6211" y="591"/>
                </a:cxn>
                <a:cxn ang="0">
                  <a:pos x="6048" y="706"/>
                </a:cxn>
                <a:cxn ang="0">
                  <a:pos x="4390" y="691"/>
                </a:cxn>
                <a:cxn ang="0">
                  <a:pos x="2732" y="676"/>
                </a:cxn>
                <a:cxn ang="0">
                  <a:pos x="1739" y="680"/>
                </a:cxn>
                <a:cxn ang="0">
                  <a:pos x="747" y="685"/>
                </a:cxn>
                <a:cxn ang="0">
                  <a:pos x="62" y="529"/>
                </a:cxn>
                <a:cxn ang="0">
                  <a:pos x="0" y="513"/>
                </a:cxn>
              </a:cxnLst>
              <a:rect l="0" t="0" r="r" b="b"/>
              <a:pathLst>
                <a:path w="6365" h="706">
                  <a:moveTo>
                    <a:pt x="21" y="516"/>
                  </a:moveTo>
                  <a:lnTo>
                    <a:pt x="53" y="521"/>
                  </a:lnTo>
                  <a:lnTo>
                    <a:pt x="85" y="521"/>
                  </a:lnTo>
                  <a:lnTo>
                    <a:pt x="115" y="517"/>
                  </a:lnTo>
                  <a:lnTo>
                    <a:pt x="145" y="510"/>
                  </a:lnTo>
                  <a:lnTo>
                    <a:pt x="205" y="489"/>
                  </a:lnTo>
                  <a:lnTo>
                    <a:pt x="264" y="460"/>
                  </a:lnTo>
                  <a:lnTo>
                    <a:pt x="323" y="427"/>
                  </a:lnTo>
                  <a:lnTo>
                    <a:pt x="384" y="395"/>
                  </a:lnTo>
                  <a:lnTo>
                    <a:pt x="416" y="380"/>
                  </a:lnTo>
                  <a:lnTo>
                    <a:pt x="447" y="366"/>
                  </a:lnTo>
                  <a:lnTo>
                    <a:pt x="480" y="354"/>
                  </a:lnTo>
                  <a:lnTo>
                    <a:pt x="513" y="344"/>
                  </a:lnTo>
                  <a:lnTo>
                    <a:pt x="554" y="337"/>
                  </a:lnTo>
                  <a:lnTo>
                    <a:pt x="608" y="332"/>
                  </a:lnTo>
                  <a:lnTo>
                    <a:pt x="673" y="330"/>
                  </a:lnTo>
                  <a:lnTo>
                    <a:pt x="749" y="329"/>
                  </a:lnTo>
                  <a:lnTo>
                    <a:pt x="923" y="330"/>
                  </a:lnTo>
                  <a:lnTo>
                    <a:pt x="1118" y="336"/>
                  </a:lnTo>
                  <a:lnTo>
                    <a:pt x="1322" y="341"/>
                  </a:lnTo>
                  <a:lnTo>
                    <a:pt x="1522" y="346"/>
                  </a:lnTo>
                  <a:lnTo>
                    <a:pt x="1705" y="346"/>
                  </a:lnTo>
                  <a:lnTo>
                    <a:pt x="1861" y="338"/>
                  </a:lnTo>
                  <a:lnTo>
                    <a:pt x="1948" y="330"/>
                  </a:lnTo>
                  <a:lnTo>
                    <a:pt x="2060" y="315"/>
                  </a:lnTo>
                  <a:lnTo>
                    <a:pt x="2194" y="296"/>
                  </a:lnTo>
                  <a:lnTo>
                    <a:pt x="2347" y="273"/>
                  </a:lnTo>
                  <a:lnTo>
                    <a:pt x="3062" y="160"/>
                  </a:lnTo>
                  <a:lnTo>
                    <a:pt x="3434" y="103"/>
                  </a:lnTo>
                  <a:lnTo>
                    <a:pt x="3779" y="52"/>
                  </a:lnTo>
                  <a:lnTo>
                    <a:pt x="3930" y="32"/>
                  </a:lnTo>
                  <a:lnTo>
                    <a:pt x="4065" y="16"/>
                  </a:lnTo>
                  <a:lnTo>
                    <a:pt x="4180" y="5"/>
                  </a:lnTo>
                  <a:lnTo>
                    <a:pt x="4267" y="0"/>
                  </a:lnTo>
                  <a:lnTo>
                    <a:pt x="4349" y="4"/>
                  </a:lnTo>
                  <a:lnTo>
                    <a:pt x="4399" y="9"/>
                  </a:lnTo>
                  <a:lnTo>
                    <a:pt x="4452" y="16"/>
                  </a:lnTo>
                  <a:lnTo>
                    <a:pt x="4573" y="35"/>
                  </a:lnTo>
                  <a:lnTo>
                    <a:pt x="4708" y="59"/>
                  </a:lnTo>
                  <a:lnTo>
                    <a:pt x="4854" y="89"/>
                  </a:lnTo>
                  <a:lnTo>
                    <a:pt x="5007" y="122"/>
                  </a:lnTo>
                  <a:lnTo>
                    <a:pt x="5322" y="193"/>
                  </a:lnTo>
                  <a:lnTo>
                    <a:pt x="5898" y="325"/>
                  </a:lnTo>
                  <a:lnTo>
                    <a:pt x="6010" y="349"/>
                  </a:lnTo>
                  <a:lnTo>
                    <a:pt x="6102" y="366"/>
                  </a:lnTo>
                  <a:lnTo>
                    <a:pt x="6141" y="372"/>
                  </a:lnTo>
                  <a:lnTo>
                    <a:pt x="6172" y="376"/>
                  </a:lnTo>
                  <a:lnTo>
                    <a:pt x="6197" y="378"/>
                  </a:lnTo>
                  <a:lnTo>
                    <a:pt x="6217" y="378"/>
                  </a:lnTo>
                  <a:lnTo>
                    <a:pt x="6283" y="374"/>
                  </a:lnTo>
                  <a:lnTo>
                    <a:pt x="6307" y="376"/>
                  </a:lnTo>
                  <a:lnTo>
                    <a:pt x="6327" y="379"/>
                  </a:lnTo>
                  <a:lnTo>
                    <a:pt x="6343" y="385"/>
                  </a:lnTo>
                  <a:lnTo>
                    <a:pt x="6354" y="392"/>
                  </a:lnTo>
                  <a:lnTo>
                    <a:pt x="6361" y="401"/>
                  </a:lnTo>
                  <a:lnTo>
                    <a:pt x="6365" y="412"/>
                  </a:lnTo>
                  <a:lnTo>
                    <a:pt x="6364" y="422"/>
                  </a:lnTo>
                  <a:lnTo>
                    <a:pt x="6360" y="436"/>
                  </a:lnTo>
                  <a:lnTo>
                    <a:pt x="6354" y="449"/>
                  </a:lnTo>
                  <a:lnTo>
                    <a:pt x="6344" y="463"/>
                  </a:lnTo>
                  <a:lnTo>
                    <a:pt x="6319" y="493"/>
                  </a:lnTo>
                  <a:lnTo>
                    <a:pt x="6287" y="526"/>
                  </a:lnTo>
                  <a:lnTo>
                    <a:pt x="6250" y="559"/>
                  </a:lnTo>
                  <a:lnTo>
                    <a:pt x="6211" y="591"/>
                  </a:lnTo>
                  <a:lnTo>
                    <a:pt x="6132" y="648"/>
                  </a:lnTo>
                  <a:lnTo>
                    <a:pt x="6048" y="706"/>
                  </a:lnTo>
                  <a:lnTo>
                    <a:pt x="5219" y="698"/>
                  </a:lnTo>
                  <a:lnTo>
                    <a:pt x="4390" y="691"/>
                  </a:lnTo>
                  <a:lnTo>
                    <a:pt x="3561" y="683"/>
                  </a:lnTo>
                  <a:lnTo>
                    <a:pt x="2732" y="676"/>
                  </a:lnTo>
                  <a:lnTo>
                    <a:pt x="2235" y="677"/>
                  </a:lnTo>
                  <a:lnTo>
                    <a:pt x="1739" y="680"/>
                  </a:lnTo>
                  <a:lnTo>
                    <a:pt x="1243" y="682"/>
                  </a:lnTo>
                  <a:lnTo>
                    <a:pt x="747" y="685"/>
                  </a:lnTo>
                  <a:lnTo>
                    <a:pt x="319" y="588"/>
                  </a:lnTo>
                  <a:lnTo>
                    <a:pt x="62" y="529"/>
                  </a:lnTo>
                  <a:lnTo>
                    <a:pt x="3" y="515"/>
                  </a:lnTo>
                  <a:lnTo>
                    <a:pt x="0" y="513"/>
                  </a:lnTo>
                  <a:lnTo>
                    <a:pt x="21" y="5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8" name="Freeform 71"/>
            <p:cNvSpPr>
              <a:spLocks/>
            </p:cNvSpPr>
            <p:nvPr userDrawn="1"/>
          </p:nvSpPr>
          <p:spPr bwMode="auto">
            <a:xfrm>
              <a:off x="6940550" y="6437313"/>
              <a:ext cx="165100" cy="203200"/>
            </a:xfrm>
            <a:custGeom>
              <a:avLst/>
              <a:gdLst/>
              <a:ahLst/>
              <a:cxnLst>
                <a:cxn ang="0">
                  <a:pos x="243" y="410"/>
                </a:cxn>
                <a:cxn ang="0">
                  <a:pos x="230" y="392"/>
                </a:cxn>
                <a:cxn ang="0">
                  <a:pos x="227" y="366"/>
                </a:cxn>
                <a:cxn ang="0">
                  <a:pos x="248" y="352"/>
                </a:cxn>
                <a:cxn ang="0">
                  <a:pos x="206" y="384"/>
                </a:cxn>
                <a:cxn ang="0">
                  <a:pos x="225" y="430"/>
                </a:cxn>
                <a:cxn ang="0">
                  <a:pos x="215" y="404"/>
                </a:cxn>
                <a:cxn ang="0">
                  <a:pos x="186" y="412"/>
                </a:cxn>
                <a:cxn ang="0">
                  <a:pos x="157" y="408"/>
                </a:cxn>
                <a:cxn ang="0">
                  <a:pos x="132" y="397"/>
                </a:cxn>
                <a:cxn ang="0">
                  <a:pos x="118" y="409"/>
                </a:cxn>
                <a:cxn ang="0">
                  <a:pos x="100" y="421"/>
                </a:cxn>
                <a:cxn ang="0">
                  <a:pos x="77" y="404"/>
                </a:cxn>
                <a:cxn ang="0">
                  <a:pos x="13" y="419"/>
                </a:cxn>
                <a:cxn ang="0">
                  <a:pos x="43" y="376"/>
                </a:cxn>
                <a:cxn ang="0">
                  <a:pos x="19" y="354"/>
                </a:cxn>
                <a:cxn ang="0">
                  <a:pos x="9" y="329"/>
                </a:cxn>
                <a:cxn ang="0">
                  <a:pos x="6" y="291"/>
                </a:cxn>
                <a:cxn ang="0">
                  <a:pos x="53" y="285"/>
                </a:cxn>
                <a:cxn ang="0">
                  <a:pos x="63" y="261"/>
                </a:cxn>
                <a:cxn ang="0">
                  <a:pos x="96" y="225"/>
                </a:cxn>
                <a:cxn ang="0">
                  <a:pos x="56" y="217"/>
                </a:cxn>
                <a:cxn ang="0">
                  <a:pos x="35" y="208"/>
                </a:cxn>
                <a:cxn ang="0">
                  <a:pos x="27" y="193"/>
                </a:cxn>
                <a:cxn ang="0">
                  <a:pos x="32" y="160"/>
                </a:cxn>
                <a:cxn ang="0">
                  <a:pos x="73" y="124"/>
                </a:cxn>
                <a:cxn ang="0">
                  <a:pos x="97" y="91"/>
                </a:cxn>
                <a:cxn ang="0">
                  <a:pos x="120" y="87"/>
                </a:cxn>
                <a:cxn ang="0">
                  <a:pos x="141" y="100"/>
                </a:cxn>
                <a:cxn ang="0">
                  <a:pos x="191" y="97"/>
                </a:cxn>
                <a:cxn ang="0">
                  <a:pos x="189" y="57"/>
                </a:cxn>
                <a:cxn ang="0">
                  <a:pos x="212" y="69"/>
                </a:cxn>
                <a:cxn ang="0">
                  <a:pos x="232" y="93"/>
                </a:cxn>
                <a:cxn ang="0">
                  <a:pos x="267" y="73"/>
                </a:cxn>
                <a:cxn ang="0">
                  <a:pos x="303" y="89"/>
                </a:cxn>
                <a:cxn ang="0">
                  <a:pos x="320" y="112"/>
                </a:cxn>
                <a:cxn ang="0">
                  <a:pos x="304" y="75"/>
                </a:cxn>
                <a:cxn ang="0">
                  <a:pos x="280" y="49"/>
                </a:cxn>
                <a:cxn ang="0">
                  <a:pos x="292" y="2"/>
                </a:cxn>
                <a:cxn ang="0">
                  <a:pos x="316" y="34"/>
                </a:cxn>
                <a:cxn ang="0">
                  <a:pos x="370" y="39"/>
                </a:cxn>
                <a:cxn ang="0">
                  <a:pos x="362" y="88"/>
                </a:cxn>
                <a:cxn ang="0">
                  <a:pos x="395" y="101"/>
                </a:cxn>
                <a:cxn ang="0">
                  <a:pos x="423" y="87"/>
                </a:cxn>
                <a:cxn ang="0">
                  <a:pos x="467" y="70"/>
                </a:cxn>
                <a:cxn ang="0">
                  <a:pos x="473" y="104"/>
                </a:cxn>
                <a:cxn ang="0">
                  <a:pos x="443" y="136"/>
                </a:cxn>
                <a:cxn ang="0">
                  <a:pos x="425" y="153"/>
                </a:cxn>
                <a:cxn ang="0">
                  <a:pos x="466" y="160"/>
                </a:cxn>
                <a:cxn ang="0">
                  <a:pos x="487" y="186"/>
                </a:cxn>
                <a:cxn ang="0">
                  <a:pos x="522" y="220"/>
                </a:cxn>
                <a:cxn ang="0">
                  <a:pos x="513" y="246"/>
                </a:cxn>
                <a:cxn ang="0">
                  <a:pos x="481" y="264"/>
                </a:cxn>
                <a:cxn ang="0">
                  <a:pos x="451" y="282"/>
                </a:cxn>
                <a:cxn ang="0">
                  <a:pos x="482" y="336"/>
                </a:cxn>
                <a:cxn ang="0">
                  <a:pos x="440" y="331"/>
                </a:cxn>
                <a:cxn ang="0">
                  <a:pos x="434" y="365"/>
                </a:cxn>
                <a:cxn ang="0">
                  <a:pos x="466" y="418"/>
                </a:cxn>
                <a:cxn ang="0">
                  <a:pos x="425" y="442"/>
                </a:cxn>
                <a:cxn ang="0">
                  <a:pos x="380" y="467"/>
                </a:cxn>
                <a:cxn ang="0">
                  <a:pos x="349" y="450"/>
                </a:cxn>
                <a:cxn ang="0">
                  <a:pos x="299" y="438"/>
                </a:cxn>
                <a:cxn ang="0">
                  <a:pos x="279" y="457"/>
                </a:cxn>
              </a:cxnLst>
              <a:rect l="0" t="0" r="r" b="b"/>
              <a:pathLst>
                <a:path w="523" h="640">
                  <a:moveTo>
                    <a:pt x="272" y="640"/>
                  </a:moveTo>
                  <a:lnTo>
                    <a:pt x="255" y="640"/>
                  </a:lnTo>
                  <a:lnTo>
                    <a:pt x="254" y="623"/>
                  </a:lnTo>
                  <a:lnTo>
                    <a:pt x="253" y="614"/>
                  </a:lnTo>
                  <a:lnTo>
                    <a:pt x="253" y="592"/>
                  </a:lnTo>
                  <a:lnTo>
                    <a:pt x="251" y="588"/>
                  </a:lnTo>
                  <a:lnTo>
                    <a:pt x="253" y="584"/>
                  </a:lnTo>
                  <a:lnTo>
                    <a:pt x="256" y="555"/>
                  </a:lnTo>
                  <a:lnTo>
                    <a:pt x="259" y="540"/>
                  </a:lnTo>
                  <a:lnTo>
                    <a:pt x="261" y="525"/>
                  </a:lnTo>
                  <a:lnTo>
                    <a:pt x="263" y="511"/>
                  </a:lnTo>
                  <a:lnTo>
                    <a:pt x="266" y="502"/>
                  </a:lnTo>
                  <a:lnTo>
                    <a:pt x="272" y="490"/>
                  </a:lnTo>
                  <a:lnTo>
                    <a:pt x="274" y="485"/>
                  </a:lnTo>
                  <a:lnTo>
                    <a:pt x="269" y="471"/>
                  </a:lnTo>
                  <a:lnTo>
                    <a:pt x="265" y="461"/>
                  </a:lnTo>
                  <a:lnTo>
                    <a:pt x="266" y="451"/>
                  </a:lnTo>
                  <a:lnTo>
                    <a:pt x="266" y="445"/>
                  </a:lnTo>
                  <a:lnTo>
                    <a:pt x="265" y="438"/>
                  </a:lnTo>
                  <a:lnTo>
                    <a:pt x="265" y="432"/>
                  </a:lnTo>
                  <a:lnTo>
                    <a:pt x="262" y="428"/>
                  </a:lnTo>
                  <a:lnTo>
                    <a:pt x="260" y="426"/>
                  </a:lnTo>
                  <a:lnTo>
                    <a:pt x="260" y="422"/>
                  </a:lnTo>
                  <a:lnTo>
                    <a:pt x="257" y="413"/>
                  </a:lnTo>
                  <a:lnTo>
                    <a:pt x="256" y="410"/>
                  </a:lnTo>
                  <a:lnTo>
                    <a:pt x="255" y="412"/>
                  </a:lnTo>
                  <a:lnTo>
                    <a:pt x="257" y="414"/>
                  </a:lnTo>
                  <a:lnTo>
                    <a:pt x="256" y="415"/>
                  </a:lnTo>
                  <a:lnTo>
                    <a:pt x="256" y="419"/>
                  </a:lnTo>
                  <a:lnTo>
                    <a:pt x="255" y="422"/>
                  </a:lnTo>
                  <a:lnTo>
                    <a:pt x="254" y="420"/>
                  </a:lnTo>
                  <a:lnTo>
                    <a:pt x="254" y="422"/>
                  </a:lnTo>
                  <a:lnTo>
                    <a:pt x="251" y="421"/>
                  </a:lnTo>
                  <a:lnTo>
                    <a:pt x="250" y="421"/>
                  </a:lnTo>
                  <a:lnTo>
                    <a:pt x="249" y="421"/>
                  </a:lnTo>
                  <a:lnTo>
                    <a:pt x="246" y="424"/>
                  </a:lnTo>
                  <a:lnTo>
                    <a:pt x="245" y="425"/>
                  </a:lnTo>
                  <a:lnTo>
                    <a:pt x="245" y="422"/>
                  </a:lnTo>
                  <a:lnTo>
                    <a:pt x="245" y="421"/>
                  </a:lnTo>
                  <a:lnTo>
                    <a:pt x="244" y="421"/>
                  </a:lnTo>
                  <a:lnTo>
                    <a:pt x="243" y="421"/>
                  </a:lnTo>
                  <a:lnTo>
                    <a:pt x="240" y="424"/>
                  </a:lnTo>
                  <a:lnTo>
                    <a:pt x="236" y="426"/>
                  </a:lnTo>
                  <a:lnTo>
                    <a:pt x="234" y="426"/>
                  </a:lnTo>
                  <a:lnTo>
                    <a:pt x="236" y="424"/>
                  </a:lnTo>
                  <a:lnTo>
                    <a:pt x="237" y="421"/>
                  </a:lnTo>
                  <a:lnTo>
                    <a:pt x="238" y="420"/>
                  </a:lnTo>
                  <a:lnTo>
                    <a:pt x="240" y="419"/>
                  </a:lnTo>
                  <a:lnTo>
                    <a:pt x="239" y="419"/>
                  </a:lnTo>
                  <a:lnTo>
                    <a:pt x="237" y="420"/>
                  </a:lnTo>
                  <a:lnTo>
                    <a:pt x="237" y="418"/>
                  </a:lnTo>
                  <a:lnTo>
                    <a:pt x="239" y="416"/>
                  </a:lnTo>
                  <a:lnTo>
                    <a:pt x="240" y="415"/>
                  </a:lnTo>
                  <a:lnTo>
                    <a:pt x="239" y="414"/>
                  </a:lnTo>
                  <a:lnTo>
                    <a:pt x="242" y="414"/>
                  </a:lnTo>
                  <a:lnTo>
                    <a:pt x="243" y="416"/>
                  </a:lnTo>
                  <a:lnTo>
                    <a:pt x="242" y="418"/>
                  </a:lnTo>
                  <a:lnTo>
                    <a:pt x="243" y="419"/>
                  </a:lnTo>
                  <a:lnTo>
                    <a:pt x="244" y="416"/>
                  </a:lnTo>
                  <a:lnTo>
                    <a:pt x="245" y="415"/>
                  </a:lnTo>
                  <a:lnTo>
                    <a:pt x="244" y="414"/>
                  </a:lnTo>
                  <a:lnTo>
                    <a:pt x="244" y="413"/>
                  </a:lnTo>
                  <a:lnTo>
                    <a:pt x="243" y="410"/>
                  </a:lnTo>
                  <a:lnTo>
                    <a:pt x="244" y="409"/>
                  </a:lnTo>
                  <a:lnTo>
                    <a:pt x="243" y="409"/>
                  </a:lnTo>
                  <a:lnTo>
                    <a:pt x="244" y="408"/>
                  </a:lnTo>
                  <a:lnTo>
                    <a:pt x="246" y="406"/>
                  </a:lnTo>
                  <a:lnTo>
                    <a:pt x="250" y="406"/>
                  </a:lnTo>
                  <a:lnTo>
                    <a:pt x="251" y="407"/>
                  </a:lnTo>
                  <a:lnTo>
                    <a:pt x="254" y="403"/>
                  </a:lnTo>
                  <a:lnTo>
                    <a:pt x="256" y="397"/>
                  </a:lnTo>
                  <a:lnTo>
                    <a:pt x="259" y="395"/>
                  </a:lnTo>
                  <a:lnTo>
                    <a:pt x="259" y="394"/>
                  </a:lnTo>
                  <a:lnTo>
                    <a:pt x="260" y="392"/>
                  </a:lnTo>
                  <a:lnTo>
                    <a:pt x="259" y="394"/>
                  </a:lnTo>
                  <a:lnTo>
                    <a:pt x="259" y="392"/>
                  </a:lnTo>
                  <a:lnTo>
                    <a:pt x="257" y="394"/>
                  </a:lnTo>
                  <a:lnTo>
                    <a:pt x="255" y="395"/>
                  </a:lnTo>
                  <a:lnTo>
                    <a:pt x="253" y="395"/>
                  </a:lnTo>
                  <a:lnTo>
                    <a:pt x="253" y="394"/>
                  </a:lnTo>
                  <a:lnTo>
                    <a:pt x="251" y="394"/>
                  </a:lnTo>
                  <a:lnTo>
                    <a:pt x="250" y="395"/>
                  </a:lnTo>
                  <a:lnTo>
                    <a:pt x="251" y="392"/>
                  </a:lnTo>
                  <a:lnTo>
                    <a:pt x="251" y="391"/>
                  </a:lnTo>
                  <a:lnTo>
                    <a:pt x="251" y="390"/>
                  </a:lnTo>
                  <a:lnTo>
                    <a:pt x="254" y="388"/>
                  </a:lnTo>
                  <a:lnTo>
                    <a:pt x="250" y="390"/>
                  </a:lnTo>
                  <a:lnTo>
                    <a:pt x="250" y="389"/>
                  </a:lnTo>
                  <a:lnTo>
                    <a:pt x="250" y="388"/>
                  </a:lnTo>
                  <a:lnTo>
                    <a:pt x="251" y="386"/>
                  </a:lnTo>
                  <a:lnTo>
                    <a:pt x="249" y="386"/>
                  </a:lnTo>
                  <a:lnTo>
                    <a:pt x="248" y="388"/>
                  </a:lnTo>
                  <a:lnTo>
                    <a:pt x="248" y="386"/>
                  </a:lnTo>
                  <a:lnTo>
                    <a:pt x="246" y="384"/>
                  </a:lnTo>
                  <a:lnTo>
                    <a:pt x="246" y="383"/>
                  </a:lnTo>
                  <a:lnTo>
                    <a:pt x="245" y="385"/>
                  </a:lnTo>
                  <a:lnTo>
                    <a:pt x="244" y="386"/>
                  </a:lnTo>
                  <a:lnTo>
                    <a:pt x="243" y="388"/>
                  </a:lnTo>
                  <a:lnTo>
                    <a:pt x="243" y="389"/>
                  </a:lnTo>
                  <a:lnTo>
                    <a:pt x="242" y="390"/>
                  </a:lnTo>
                  <a:lnTo>
                    <a:pt x="243" y="391"/>
                  </a:lnTo>
                  <a:lnTo>
                    <a:pt x="245" y="391"/>
                  </a:lnTo>
                  <a:lnTo>
                    <a:pt x="245" y="392"/>
                  </a:lnTo>
                  <a:lnTo>
                    <a:pt x="245" y="394"/>
                  </a:lnTo>
                  <a:lnTo>
                    <a:pt x="245" y="396"/>
                  </a:lnTo>
                  <a:lnTo>
                    <a:pt x="244" y="395"/>
                  </a:lnTo>
                  <a:lnTo>
                    <a:pt x="243" y="395"/>
                  </a:lnTo>
                  <a:lnTo>
                    <a:pt x="242" y="395"/>
                  </a:lnTo>
                  <a:lnTo>
                    <a:pt x="242" y="396"/>
                  </a:lnTo>
                  <a:lnTo>
                    <a:pt x="240" y="394"/>
                  </a:lnTo>
                  <a:lnTo>
                    <a:pt x="239" y="392"/>
                  </a:lnTo>
                  <a:lnTo>
                    <a:pt x="237" y="394"/>
                  </a:lnTo>
                  <a:lnTo>
                    <a:pt x="237" y="395"/>
                  </a:lnTo>
                  <a:lnTo>
                    <a:pt x="234" y="395"/>
                  </a:lnTo>
                  <a:lnTo>
                    <a:pt x="234" y="397"/>
                  </a:lnTo>
                  <a:lnTo>
                    <a:pt x="232" y="398"/>
                  </a:lnTo>
                  <a:lnTo>
                    <a:pt x="230" y="400"/>
                  </a:lnTo>
                  <a:lnTo>
                    <a:pt x="230" y="398"/>
                  </a:lnTo>
                  <a:lnTo>
                    <a:pt x="232" y="397"/>
                  </a:lnTo>
                  <a:lnTo>
                    <a:pt x="233" y="396"/>
                  </a:lnTo>
                  <a:lnTo>
                    <a:pt x="232" y="396"/>
                  </a:lnTo>
                  <a:lnTo>
                    <a:pt x="232" y="395"/>
                  </a:lnTo>
                  <a:lnTo>
                    <a:pt x="234" y="394"/>
                  </a:lnTo>
                  <a:lnTo>
                    <a:pt x="233" y="392"/>
                  </a:lnTo>
                  <a:lnTo>
                    <a:pt x="232" y="392"/>
                  </a:lnTo>
                  <a:lnTo>
                    <a:pt x="230" y="392"/>
                  </a:lnTo>
                  <a:lnTo>
                    <a:pt x="231" y="390"/>
                  </a:lnTo>
                  <a:lnTo>
                    <a:pt x="232" y="388"/>
                  </a:lnTo>
                  <a:lnTo>
                    <a:pt x="236" y="386"/>
                  </a:lnTo>
                  <a:lnTo>
                    <a:pt x="238" y="388"/>
                  </a:lnTo>
                  <a:lnTo>
                    <a:pt x="237" y="386"/>
                  </a:lnTo>
                  <a:lnTo>
                    <a:pt x="237" y="385"/>
                  </a:lnTo>
                  <a:lnTo>
                    <a:pt x="240" y="385"/>
                  </a:lnTo>
                  <a:lnTo>
                    <a:pt x="240" y="388"/>
                  </a:lnTo>
                  <a:lnTo>
                    <a:pt x="242" y="386"/>
                  </a:lnTo>
                  <a:lnTo>
                    <a:pt x="243" y="385"/>
                  </a:lnTo>
                  <a:lnTo>
                    <a:pt x="245" y="384"/>
                  </a:lnTo>
                  <a:lnTo>
                    <a:pt x="246" y="382"/>
                  </a:lnTo>
                  <a:lnTo>
                    <a:pt x="246" y="379"/>
                  </a:lnTo>
                  <a:lnTo>
                    <a:pt x="245" y="379"/>
                  </a:lnTo>
                  <a:lnTo>
                    <a:pt x="244" y="380"/>
                  </a:lnTo>
                  <a:lnTo>
                    <a:pt x="242" y="380"/>
                  </a:lnTo>
                  <a:lnTo>
                    <a:pt x="243" y="379"/>
                  </a:lnTo>
                  <a:lnTo>
                    <a:pt x="243" y="377"/>
                  </a:lnTo>
                  <a:lnTo>
                    <a:pt x="243" y="374"/>
                  </a:lnTo>
                  <a:lnTo>
                    <a:pt x="244" y="372"/>
                  </a:lnTo>
                  <a:lnTo>
                    <a:pt x="240" y="373"/>
                  </a:lnTo>
                  <a:lnTo>
                    <a:pt x="238" y="374"/>
                  </a:lnTo>
                  <a:lnTo>
                    <a:pt x="237" y="376"/>
                  </a:lnTo>
                  <a:lnTo>
                    <a:pt x="236" y="377"/>
                  </a:lnTo>
                  <a:lnTo>
                    <a:pt x="234" y="380"/>
                  </a:lnTo>
                  <a:lnTo>
                    <a:pt x="233" y="379"/>
                  </a:lnTo>
                  <a:lnTo>
                    <a:pt x="233" y="376"/>
                  </a:lnTo>
                  <a:lnTo>
                    <a:pt x="234" y="376"/>
                  </a:lnTo>
                  <a:lnTo>
                    <a:pt x="237" y="374"/>
                  </a:lnTo>
                  <a:lnTo>
                    <a:pt x="240" y="372"/>
                  </a:lnTo>
                  <a:lnTo>
                    <a:pt x="240" y="370"/>
                  </a:lnTo>
                  <a:lnTo>
                    <a:pt x="239" y="370"/>
                  </a:lnTo>
                  <a:lnTo>
                    <a:pt x="237" y="373"/>
                  </a:lnTo>
                  <a:lnTo>
                    <a:pt x="236" y="373"/>
                  </a:lnTo>
                  <a:lnTo>
                    <a:pt x="238" y="368"/>
                  </a:lnTo>
                  <a:lnTo>
                    <a:pt x="239" y="366"/>
                  </a:lnTo>
                  <a:lnTo>
                    <a:pt x="240" y="364"/>
                  </a:lnTo>
                  <a:lnTo>
                    <a:pt x="242" y="362"/>
                  </a:lnTo>
                  <a:lnTo>
                    <a:pt x="240" y="362"/>
                  </a:lnTo>
                  <a:lnTo>
                    <a:pt x="239" y="364"/>
                  </a:lnTo>
                  <a:lnTo>
                    <a:pt x="239" y="365"/>
                  </a:lnTo>
                  <a:lnTo>
                    <a:pt x="238" y="366"/>
                  </a:lnTo>
                  <a:lnTo>
                    <a:pt x="238" y="365"/>
                  </a:lnTo>
                  <a:lnTo>
                    <a:pt x="238" y="364"/>
                  </a:lnTo>
                  <a:lnTo>
                    <a:pt x="237" y="362"/>
                  </a:lnTo>
                  <a:lnTo>
                    <a:pt x="236" y="361"/>
                  </a:lnTo>
                  <a:lnTo>
                    <a:pt x="233" y="361"/>
                  </a:lnTo>
                  <a:lnTo>
                    <a:pt x="236" y="362"/>
                  </a:lnTo>
                  <a:lnTo>
                    <a:pt x="236" y="365"/>
                  </a:lnTo>
                  <a:lnTo>
                    <a:pt x="234" y="366"/>
                  </a:lnTo>
                  <a:lnTo>
                    <a:pt x="234" y="365"/>
                  </a:lnTo>
                  <a:lnTo>
                    <a:pt x="233" y="366"/>
                  </a:lnTo>
                  <a:lnTo>
                    <a:pt x="233" y="368"/>
                  </a:lnTo>
                  <a:lnTo>
                    <a:pt x="231" y="371"/>
                  </a:lnTo>
                  <a:lnTo>
                    <a:pt x="230" y="373"/>
                  </a:lnTo>
                  <a:lnTo>
                    <a:pt x="230" y="371"/>
                  </a:lnTo>
                  <a:lnTo>
                    <a:pt x="228" y="367"/>
                  </a:lnTo>
                  <a:lnTo>
                    <a:pt x="228" y="368"/>
                  </a:lnTo>
                  <a:lnTo>
                    <a:pt x="230" y="366"/>
                  </a:lnTo>
                  <a:lnTo>
                    <a:pt x="230" y="365"/>
                  </a:lnTo>
                  <a:lnTo>
                    <a:pt x="228" y="366"/>
                  </a:lnTo>
                  <a:lnTo>
                    <a:pt x="228" y="364"/>
                  </a:lnTo>
                  <a:lnTo>
                    <a:pt x="227" y="366"/>
                  </a:lnTo>
                  <a:lnTo>
                    <a:pt x="226" y="366"/>
                  </a:lnTo>
                  <a:lnTo>
                    <a:pt x="225" y="367"/>
                  </a:lnTo>
                  <a:lnTo>
                    <a:pt x="225" y="365"/>
                  </a:lnTo>
                  <a:lnTo>
                    <a:pt x="226" y="362"/>
                  </a:lnTo>
                  <a:lnTo>
                    <a:pt x="224" y="362"/>
                  </a:lnTo>
                  <a:lnTo>
                    <a:pt x="224" y="360"/>
                  </a:lnTo>
                  <a:lnTo>
                    <a:pt x="224" y="359"/>
                  </a:lnTo>
                  <a:lnTo>
                    <a:pt x="224" y="356"/>
                  </a:lnTo>
                  <a:lnTo>
                    <a:pt x="224" y="355"/>
                  </a:lnTo>
                  <a:lnTo>
                    <a:pt x="226" y="353"/>
                  </a:lnTo>
                  <a:lnTo>
                    <a:pt x="226" y="355"/>
                  </a:lnTo>
                  <a:lnTo>
                    <a:pt x="227" y="358"/>
                  </a:lnTo>
                  <a:lnTo>
                    <a:pt x="227" y="359"/>
                  </a:lnTo>
                  <a:lnTo>
                    <a:pt x="227" y="360"/>
                  </a:lnTo>
                  <a:lnTo>
                    <a:pt x="230" y="359"/>
                  </a:lnTo>
                  <a:lnTo>
                    <a:pt x="231" y="358"/>
                  </a:lnTo>
                  <a:lnTo>
                    <a:pt x="232" y="358"/>
                  </a:lnTo>
                  <a:lnTo>
                    <a:pt x="234" y="358"/>
                  </a:lnTo>
                  <a:lnTo>
                    <a:pt x="234" y="359"/>
                  </a:lnTo>
                  <a:lnTo>
                    <a:pt x="237" y="360"/>
                  </a:lnTo>
                  <a:lnTo>
                    <a:pt x="238" y="360"/>
                  </a:lnTo>
                  <a:lnTo>
                    <a:pt x="239" y="360"/>
                  </a:lnTo>
                  <a:lnTo>
                    <a:pt x="239" y="359"/>
                  </a:lnTo>
                  <a:lnTo>
                    <a:pt x="240" y="358"/>
                  </a:lnTo>
                  <a:lnTo>
                    <a:pt x="243" y="358"/>
                  </a:lnTo>
                  <a:lnTo>
                    <a:pt x="244" y="358"/>
                  </a:lnTo>
                  <a:lnTo>
                    <a:pt x="244" y="359"/>
                  </a:lnTo>
                  <a:lnTo>
                    <a:pt x="245" y="359"/>
                  </a:lnTo>
                  <a:lnTo>
                    <a:pt x="246" y="359"/>
                  </a:lnTo>
                  <a:lnTo>
                    <a:pt x="246" y="358"/>
                  </a:lnTo>
                  <a:lnTo>
                    <a:pt x="245" y="356"/>
                  </a:lnTo>
                  <a:lnTo>
                    <a:pt x="244" y="356"/>
                  </a:lnTo>
                  <a:lnTo>
                    <a:pt x="243" y="355"/>
                  </a:lnTo>
                  <a:lnTo>
                    <a:pt x="242" y="356"/>
                  </a:lnTo>
                  <a:lnTo>
                    <a:pt x="240" y="356"/>
                  </a:lnTo>
                  <a:lnTo>
                    <a:pt x="239" y="358"/>
                  </a:lnTo>
                  <a:lnTo>
                    <a:pt x="238" y="359"/>
                  </a:lnTo>
                  <a:lnTo>
                    <a:pt x="237" y="359"/>
                  </a:lnTo>
                  <a:lnTo>
                    <a:pt x="236" y="358"/>
                  </a:lnTo>
                  <a:lnTo>
                    <a:pt x="236" y="356"/>
                  </a:lnTo>
                  <a:lnTo>
                    <a:pt x="237" y="355"/>
                  </a:lnTo>
                  <a:lnTo>
                    <a:pt x="237" y="354"/>
                  </a:lnTo>
                  <a:lnTo>
                    <a:pt x="239" y="354"/>
                  </a:lnTo>
                  <a:lnTo>
                    <a:pt x="240" y="355"/>
                  </a:lnTo>
                  <a:lnTo>
                    <a:pt x="242" y="354"/>
                  </a:lnTo>
                  <a:lnTo>
                    <a:pt x="240" y="354"/>
                  </a:lnTo>
                  <a:lnTo>
                    <a:pt x="242" y="353"/>
                  </a:lnTo>
                  <a:lnTo>
                    <a:pt x="243" y="352"/>
                  </a:lnTo>
                  <a:lnTo>
                    <a:pt x="242" y="352"/>
                  </a:lnTo>
                  <a:lnTo>
                    <a:pt x="239" y="353"/>
                  </a:lnTo>
                  <a:lnTo>
                    <a:pt x="234" y="353"/>
                  </a:lnTo>
                  <a:lnTo>
                    <a:pt x="236" y="352"/>
                  </a:lnTo>
                  <a:lnTo>
                    <a:pt x="238" y="349"/>
                  </a:lnTo>
                  <a:lnTo>
                    <a:pt x="242" y="349"/>
                  </a:lnTo>
                  <a:lnTo>
                    <a:pt x="244" y="349"/>
                  </a:lnTo>
                  <a:lnTo>
                    <a:pt x="245" y="350"/>
                  </a:lnTo>
                  <a:lnTo>
                    <a:pt x="245" y="352"/>
                  </a:lnTo>
                  <a:lnTo>
                    <a:pt x="246" y="353"/>
                  </a:lnTo>
                  <a:lnTo>
                    <a:pt x="245" y="354"/>
                  </a:lnTo>
                  <a:lnTo>
                    <a:pt x="246" y="355"/>
                  </a:lnTo>
                  <a:lnTo>
                    <a:pt x="248" y="354"/>
                  </a:lnTo>
                  <a:lnTo>
                    <a:pt x="249" y="353"/>
                  </a:lnTo>
                  <a:lnTo>
                    <a:pt x="248" y="352"/>
                  </a:lnTo>
                  <a:lnTo>
                    <a:pt x="246" y="352"/>
                  </a:lnTo>
                  <a:lnTo>
                    <a:pt x="248" y="349"/>
                  </a:lnTo>
                  <a:lnTo>
                    <a:pt x="248" y="348"/>
                  </a:lnTo>
                  <a:lnTo>
                    <a:pt x="248" y="347"/>
                  </a:lnTo>
                  <a:lnTo>
                    <a:pt x="246" y="345"/>
                  </a:lnTo>
                  <a:lnTo>
                    <a:pt x="246" y="344"/>
                  </a:lnTo>
                  <a:lnTo>
                    <a:pt x="248" y="344"/>
                  </a:lnTo>
                  <a:lnTo>
                    <a:pt x="245" y="343"/>
                  </a:lnTo>
                  <a:lnTo>
                    <a:pt x="233" y="343"/>
                  </a:lnTo>
                  <a:lnTo>
                    <a:pt x="212" y="347"/>
                  </a:lnTo>
                  <a:lnTo>
                    <a:pt x="201" y="349"/>
                  </a:lnTo>
                  <a:lnTo>
                    <a:pt x="191" y="354"/>
                  </a:lnTo>
                  <a:lnTo>
                    <a:pt x="187" y="354"/>
                  </a:lnTo>
                  <a:lnTo>
                    <a:pt x="192" y="358"/>
                  </a:lnTo>
                  <a:lnTo>
                    <a:pt x="197" y="360"/>
                  </a:lnTo>
                  <a:lnTo>
                    <a:pt x="200" y="364"/>
                  </a:lnTo>
                  <a:lnTo>
                    <a:pt x="202" y="366"/>
                  </a:lnTo>
                  <a:lnTo>
                    <a:pt x="204" y="367"/>
                  </a:lnTo>
                  <a:lnTo>
                    <a:pt x="201" y="366"/>
                  </a:lnTo>
                  <a:lnTo>
                    <a:pt x="200" y="368"/>
                  </a:lnTo>
                  <a:lnTo>
                    <a:pt x="200" y="372"/>
                  </a:lnTo>
                  <a:lnTo>
                    <a:pt x="201" y="376"/>
                  </a:lnTo>
                  <a:lnTo>
                    <a:pt x="203" y="378"/>
                  </a:lnTo>
                  <a:lnTo>
                    <a:pt x="204" y="379"/>
                  </a:lnTo>
                  <a:lnTo>
                    <a:pt x="206" y="380"/>
                  </a:lnTo>
                  <a:lnTo>
                    <a:pt x="207" y="379"/>
                  </a:lnTo>
                  <a:lnTo>
                    <a:pt x="206" y="380"/>
                  </a:lnTo>
                  <a:lnTo>
                    <a:pt x="206" y="382"/>
                  </a:lnTo>
                  <a:lnTo>
                    <a:pt x="207" y="383"/>
                  </a:lnTo>
                  <a:lnTo>
                    <a:pt x="209" y="384"/>
                  </a:lnTo>
                  <a:lnTo>
                    <a:pt x="209" y="383"/>
                  </a:lnTo>
                  <a:lnTo>
                    <a:pt x="209" y="382"/>
                  </a:lnTo>
                  <a:lnTo>
                    <a:pt x="209" y="380"/>
                  </a:lnTo>
                  <a:lnTo>
                    <a:pt x="210" y="382"/>
                  </a:lnTo>
                  <a:lnTo>
                    <a:pt x="213" y="384"/>
                  </a:lnTo>
                  <a:lnTo>
                    <a:pt x="212" y="384"/>
                  </a:lnTo>
                  <a:lnTo>
                    <a:pt x="210" y="385"/>
                  </a:lnTo>
                  <a:lnTo>
                    <a:pt x="212" y="386"/>
                  </a:lnTo>
                  <a:lnTo>
                    <a:pt x="213" y="388"/>
                  </a:lnTo>
                  <a:lnTo>
                    <a:pt x="213" y="390"/>
                  </a:lnTo>
                  <a:lnTo>
                    <a:pt x="212" y="389"/>
                  </a:lnTo>
                  <a:lnTo>
                    <a:pt x="210" y="388"/>
                  </a:lnTo>
                  <a:lnTo>
                    <a:pt x="210" y="389"/>
                  </a:lnTo>
                  <a:lnTo>
                    <a:pt x="210" y="391"/>
                  </a:lnTo>
                  <a:lnTo>
                    <a:pt x="210" y="394"/>
                  </a:lnTo>
                  <a:lnTo>
                    <a:pt x="209" y="390"/>
                  </a:lnTo>
                  <a:lnTo>
                    <a:pt x="209" y="391"/>
                  </a:lnTo>
                  <a:lnTo>
                    <a:pt x="208" y="394"/>
                  </a:lnTo>
                  <a:lnTo>
                    <a:pt x="209" y="390"/>
                  </a:lnTo>
                  <a:lnTo>
                    <a:pt x="208" y="391"/>
                  </a:lnTo>
                  <a:lnTo>
                    <a:pt x="209" y="389"/>
                  </a:lnTo>
                  <a:lnTo>
                    <a:pt x="209" y="388"/>
                  </a:lnTo>
                  <a:lnTo>
                    <a:pt x="209" y="386"/>
                  </a:lnTo>
                  <a:lnTo>
                    <a:pt x="209" y="385"/>
                  </a:lnTo>
                  <a:lnTo>
                    <a:pt x="207" y="384"/>
                  </a:lnTo>
                  <a:lnTo>
                    <a:pt x="204" y="382"/>
                  </a:lnTo>
                  <a:lnTo>
                    <a:pt x="202" y="378"/>
                  </a:lnTo>
                  <a:lnTo>
                    <a:pt x="202" y="377"/>
                  </a:lnTo>
                  <a:lnTo>
                    <a:pt x="202" y="380"/>
                  </a:lnTo>
                  <a:lnTo>
                    <a:pt x="202" y="384"/>
                  </a:lnTo>
                  <a:lnTo>
                    <a:pt x="203" y="386"/>
                  </a:lnTo>
                  <a:lnTo>
                    <a:pt x="203" y="384"/>
                  </a:lnTo>
                  <a:lnTo>
                    <a:pt x="206" y="384"/>
                  </a:lnTo>
                  <a:lnTo>
                    <a:pt x="204" y="385"/>
                  </a:lnTo>
                  <a:lnTo>
                    <a:pt x="204" y="386"/>
                  </a:lnTo>
                  <a:lnTo>
                    <a:pt x="204" y="388"/>
                  </a:lnTo>
                  <a:lnTo>
                    <a:pt x="207" y="386"/>
                  </a:lnTo>
                  <a:lnTo>
                    <a:pt x="206" y="389"/>
                  </a:lnTo>
                  <a:lnTo>
                    <a:pt x="206" y="391"/>
                  </a:lnTo>
                  <a:lnTo>
                    <a:pt x="209" y="395"/>
                  </a:lnTo>
                  <a:lnTo>
                    <a:pt x="210" y="397"/>
                  </a:lnTo>
                  <a:lnTo>
                    <a:pt x="210" y="396"/>
                  </a:lnTo>
                  <a:lnTo>
                    <a:pt x="213" y="396"/>
                  </a:lnTo>
                  <a:lnTo>
                    <a:pt x="213" y="398"/>
                  </a:lnTo>
                  <a:lnTo>
                    <a:pt x="214" y="400"/>
                  </a:lnTo>
                  <a:lnTo>
                    <a:pt x="216" y="400"/>
                  </a:lnTo>
                  <a:lnTo>
                    <a:pt x="216" y="398"/>
                  </a:lnTo>
                  <a:lnTo>
                    <a:pt x="216" y="396"/>
                  </a:lnTo>
                  <a:lnTo>
                    <a:pt x="218" y="395"/>
                  </a:lnTo>
                  <a:lnTo>
                    <a:pt x="220" y="394"/>
                  </a:lnTo>
                  <a:lnTo>
                    <a:pt x="221" y="394"/>
                  </a:lnTo>
                  <a:lnTo>
                    <a:pt x="221" y="396"/>
                  </a:lnTo>
                  <a:lnTo>
                    <a:pt x="220" y="397"/>
                  </a:lnTo>
                  <a:lnTo>
                    <a:pt x="220" y="400"/>
                  </a:lnTo>
                  <a:lnTo>
                    <a:pt x="220" y="401"/>
                  </a:lnTo>
                  <a:lnTo>
                    <a:pt x="222" y="401"/>
                  </a:lnTo>
                  <a:lnTo>
                    <a:pt x="224" y="401"/>
                  </a:lnTo>
                  <a:lnTo>
                    <a:pt x="225" y="398"/>
                  </a:lnTo>
                  <a:lnTo>
                    <a:pt x="224" y="397"/>
                  </a:lnTo>
                  <a:lnTo>
                    <a:pt x="225" y="395"/>
                  </a:lnTo>
                  <a:lnTo>
                    <a:pt x="225" y="397"/>
                  </a:lnTo>
                  <a:lnTo>
                    <a:pt x="225" y="398"/>
                  </a:lnTo>
                  <a:lnTo>
                    <a:pt x="224" y="401"/>
                  </a:lnTo>
                  <a:lnTo>
                    <a:pt x="222" y="402"/>
                  </a:lnTo>
                  <a:lnTo>
                    <a:pt x="225" y="403"/>
                  </a:lnTo>
                  <a:lnTo>
                    <a:pt x="227" y="404"/>
                  </a:lnTo>
                  <a:lnTo>
                    <a:pt x="228" y="407"/>
                  </a:lnTo>
                  <a:lnTo>
                    <a:pt x="226" y="406"/>
                  </a:lnTo>
                  <a:lnTo>
                    <a:pt x="226" y="407"/>
                  </a:lnTo>
                  <a:lnTo>
                    <a:pt x="227" y="410"/>
                  </a:lnTo>
                  <a:lnTo>
                    <a:pt x="225" y="409"/>
                  </a:lnTo>
                  <a:lnTo>
                    <a:pt x="224" y="407"/>
                  </a:lnTo>
                  <a:lnTo>
                    <a:pt x="225" y="406"/>
                  </a:lnTo>
                  <a:lnTo>
                    <a:pt x="224" y="404"/>
                  </a:lnTo>
                  <a:lnTo>
                    <a:pt x="222" y="403"/>
                  </a:lnTo>
                  <a:lnTo>
                    <a:pt x="221" y="402"/>
                  </a:lnTo>
                  <a:lnTo>
                    <a:pt x="220" y="401"/>
                  </a:lnTo>
                  <a:lnTo>
                    <a:pt x="219" y="402"/>
                  </a:lnTo>
                  <a:lnTo>
                    <a:pt x="221" y="404"/>
                  </a:lnTo>
                  <a:lnTo>
                    <a:pt x="221" y="408"/>
                  </a:lnTo>
                  <a:lnTo>
                    <a:pt x="224" y="409"/>
                  </a:lnTo>
                  <a:lnTo>
                    <a:pt x="224" y="413"/>
                  </a:lnTo>
                  <a:lnTo>
                    <a:pt x="225" y="418"/>
                  </a:lnTo>
                  <a:lnTo>
                    <a:pt x="226" y="420"/>
                  </a:lnTo>
                  <a:lnTo>
                    <a:pt x="227" y="421"/>
                  </a:lnTo>
                  <a:lnTo>
                    <a:pt x="230" y="421"/>
                  </a:lnTo>
                  <a:lnTo>
                    <a:pt x="231" y="422"/>
                  </a:lnTo>
                  <a:lnTo>
                    <a:pt x="232" y="425"/>
                  </a:lnTo>
                  <a:lnTo>
                    <a:pt x="230" y="424"/>
                  </a:lnTo>
                  <a:lnTo>
                    <a:pt x="231" y="425"/>
                  </a:lnTo>
                  <a:lnTo>
                    <a:pt x="228" y="427"/>
                  </a:lnTo>
                  <a:lnTo>
                    <a:pt x="228" y="426"/>
                  </a:lnTo>
                  <a:lnTo>
                    <a:pt x="228" y="427"/>
                  </a:lnTo>
                  <a:lnTo>
                    <a:pt x="227" y="426"/>
                  </a:lnTo>
                  <a:lnTo>
                    <a:pt x="226" y="427"/>
                  </a:lnTo>
                  <a:lnTo>
                    <a:pt x="225" y="430"/>
                  </a:lnTo>
                  <a:lnTo>
                    <a:pt x="224" y="428"/>
                  </a:lnTo>
                  <a:lnTo>
                    <a:pt x="222" y="427"/>
                  </a:lnTo>
                  <a:lnTo>
                    <a:pt x="224" y="424"/>
                  </a:lnTo>
                  <a:lnTo>
                    <a:pt x="224" y="421"/>
                  </a:lnTo>
                  <a:lnTo>
                    <a:pt x="224" y="419"/>
                  </a:lnTo>
                  <a:lnTo>
                    <a:pt x="222" y="413"/>
                  </a:lnTo>
                  <a:lnTo>
                    <a:pt x="222" y="414"/>
                  </a:lnTo>
                  <a:lnTo>
                    <a:pt x="221" y="414"/>
                  </a:lnTo>
                  <a:lnTo>
                    <a:pt x="222" y="415"/>
                  </a:lnTo>
                  <a:lnTo>
                    <a:pt x="220" y="415"/>
                  </a:lnTo>
                  <a:lnTo>
                    <a:pt x="218" y="414"/>
                  </a:lnTo>
                  <a:lnTo>
                    <a:pt x="216" y="413"/>
                  </a:lnTo>
                  <a:lnTo>
                    <a:pt x="216" y="414"/>
                  </a:lnTo>
                  <a:lnTo>
                    <a:pt x="216" y="419"/>
                  </a:lnTo>
                  <a:lnTo>
                    <a:pt x="215" y="419"/>
                  </a:lnTo>
                  <a:lnTo>
                    <a:pt x="214" y="416"/>
                  </a:lnTo>
                  <a:lnTo>
                    <a:pt x="214" y="414"/>
                  </a:lnTo>
                  <a:lnTo>
                    <a:pt x="215" y="414"/>
                  </a:lnTo>
                  <a:lnTo>
                    <a:pt x="216" y="413"/>
                  </a:lnTo>
                  <a:lnTo>
                    <a:pt x="216" y="410"/>
                  </a:lnTo>
                  <a:lnTo>
                    <a:pt x="218" y="409"/>
                  </a:lnTo>
                  <a:lnTo>
                    <a:pt x="218" y="408"/>
                  </a:lnTo>
                  <a:lnTo>
                    <a:pt x="216" y="408"/>
                  </a:lnTo>
                  <a:lnTo>
                    <a:pt x="216" y="409"/>
                  </a:lnTo>
                  <a:lnTo>
                    <a:pt x="215" y="408"/>
                  </a:lnTo>
                  <a:lnTo>
                    <a:pt x="215" y="407"/>
                  </a:lnTo>
                  <a:lnTo>
                    <a:pt x="213" y="410"/>
                  </a:lnTo>
                  <a:lnTo>
                    <a:pt x="212" y="414"/>
                  </a:lnTo>
                  <a:lnTo>
                    <a:pt x="209" y="418"/>
                  </a:lnTo>
                  <a:lnTo>
                    <a:pt x="210" y="420"/>
                  </a:lnTo>
                  <a:lnTo>
                    <a:pt x="212" y="420"/>
                  </a:lnTo>
                  <a:lnTo>
                    <a:pt x="213" y="421"/>
                  </a:lnTo>
                  <a:lnTo>
                    <a:pt x="212" y="421"/>
                  </a:lnTo>
                  <a:lnTo>
                    <a:pt x="212" y="425"/>
                  </a:lnTo>
                  <a:lnTo>
                    <a:pt x="210" y="426"/>
                  </a:lnTo>
                  <a:lnTo>
                    <a:pt x="213" y="426"/>
                  </a:lnTo>
                  <a:lnTo>
                    <a:pt x="213" y="428"/>
                  </a:lnTo>
                  <a:lnTo>
                    <a:pt x="212" y="427"/>
                  </a:lnTo>
                  <a:lnTo>
                    <a:pt x="213" y="431"/>
                  </a:lnTo>
                  <a:lnTo>
                    <a:pt x="212" y="433"/>
                  </a:lnTo>
                  <a:lnTo>
                    <a:pt x="209" y="431"/>
                  </a:lnTo>
                  <a:lnTo>
                    <a:pt x="208" y="428"/>
                  </a:lnTo>
                  <a:lnTo>
                    <a:pt x="208" y="430"/>
                  </a:lnTo>
                  <a:lnTo>
                    <a:pt x="206" y="432"/>
                  </a:lnTo>
                  <a:lnTo>
                    <a:pt x="204" y="431"/>
                  </a:lnTo>
                  <a:lnTo>
                    <a:pt x="204" y="430"/>
                  </a:lnTo>
                  <a:lnTo>
                    <a:pt x="203" y="431"/>
                  </a:lnTo>
                  <a:lnTo>
                    <a:pt x="202" y="427"/>
                  </a:lnTo>
                  <a:lnTo>
                    <a:pt x="203" y="425"/>
                  </a:lnTo>
                  <a:lnTo>
                    <a:pt x="202" y="426"/>
                  </a:lnTo>
                  <a:lnTo>
                    <a:pt x="201" y="424"/>
                  </a:lnTo>
                  <a:lnTo>
                    <a:pt x="204" y="420"/>
                  </a:lnTo>
                  <a:lnTo>
                    <a:pt x="204" y="419"/>
                  </a:lnTo>
                  <a:lnTo>
                    <a:pt x="202" y="420"/>
                  </a:lnTo>
                  <a:lnTo>
                    <a:pt x="200" y="422"/>
                  </a:lnTo>
                  <a:lnTo>
                    <a:pt x="200" y="421"/>
                  </a:lnTo>
                  <a:lnTo>
                    <a:pt x="201" y="418"/>
                  </a:lnTo>
                  <a:lnTo>
                    <a:pt x="202" y="416"/>
                  </a:lnTo>
                  <a:lnTo>
                    <a:pt x="204" y="418"/>
                  </a:lnTo>
                  <a:lnTo>
                    <a:pt x="208" y="416"/>
                  </a:lnTo>
                  <a:lnTo>
                    <a:pt x="210" y="413"/>
                  </a:lnTo>
                  <a:lnTo>
                    <a:pt x="214" y="408"/>
                  </a:lnTo>
                  <a:lnTo>
                    <a:pt x="215" y="404"/>
                  </a:lnTo>
                  <a:lnTo>
                    <a:pt x="214" y="404"/>
                  </a:lnTo>
                  <a:lnTo>
                    <a:pt x="214" y="403"/>
                  </a:lnTo>
                  <a:lnTo>
                    <a:pt x="213" y="402"/>
                  </a:lnTo>
                  <a:lnTo>
                    <a:pt x="213" y="404"/>
                  </a:lnTo>
                  <a:lnTo>
                    <a:pt x="210" y="406"/>
                  </a:lnTo>
                  <a:lnTo>
                    <a:pt x="208" y="406"/>
                  </a:lnTo>
                  <a:lnTo>
                    <a:pt x="207" y="407"/>
                  </a:lnTo>
                  <a:lnTo>
                    <a:pt x="203" y="407"/>
                  </a:lnTo>
                  <a:lnTo>
                    <a:pt x="206" y="406"/>
                  </a:lnTo>
                  <a:lnTo>
                    <a:pt x="207" y="404"/>
                  </a:lnTo>
                  <a:lnTo>
                    <a:pt x="208" y="401"/>
                  </a:lnTo>
                  <a:lnTo>
                    <a:pt x="210" y="402"/>
                  </a:lnTo>
                  <a:lnTo>
                    <a:pt x="212" y="402"/>
                  </a:lnTo>
                  <a:lnTo>
                    <a:pt x="212" y="401"/>
                  </a:lnTo>
                  <a:lnTo>
                    <a:pt x="213" y="401"/>
                  </a:lnTo>
                  <a:lnTo>
                    <a:pt x="213" y="400"/>
                  </a:lnTo>
                  <a:lnTo>
                    <a:pt x="212" y="400"/>
                  </a:lnTo>
                  <a:lnTo>
                    <a:pt x="210" y="398"/>
                  </a:lnTo>
                  <a:lnTo>
                    <a:pt x="209" y="397"/>
                  </a:lnTo>
                  <a:lnTo>
                    <a:pt x="209" y="398"/>
                  </a:lnTo>
                  <a:lnTo>
                    <a:pt x="208" y="398"/>
                  </a:lnTo>
                  <a:lnTo>
                    <a:pt x="206" y="397"/>
                  </a:lnTo>
                  <a:lnTo>
                    <a:pt x="204" y="397"/>
                  </a:lnTo>
                  <a:lnTo>
                    <a:pt x="202" y="397"/>
                  </a:lnTo>
                  <a:lnTo>
                    <a:pt x="201" y="395"/>
                  </a:lnTo>
                  <a:lnTo>
                    <a:pt x="200" y="395"/>
                  </a:lnTo>
                  <a:lnTo>
                    <a:pt x="202" y="398"/>
                  </a:lnTo>
                  <a:lnTo>
                    <a:pt x="203" y="400"/>
                  </a:lnTo>
                  <a:lnTo>
                    <a:pt x="202" y="400"/>
                  </a:lnTo>
                  <a:lnTo>
                    <a:pt x="201" y="403"/>
                  </a:lnTo>
                  <a:lnTo>
                    <a:pt x="202" y="404"/>
                  </a:lnTo>
                  <a:lnTo>
                    <a:pt x="200" y="403"/>
                  </a:lnTo>
                  <a:lnTo>
                    <a:pt x="201" y="406"/>
                  </a:lnTo>
                  <a:lnTo>
                    <a:pt x="200" y="408"/>
                  </a:lnTo>
                  <a:lnTo>
                    <a:pt x="198" y="404"/>
                  </a:lnTo>
                  <a:lnTo>
                    <a:pt x="197" y="404"/>
                  </a:lnTo>
                  <a:lnTo>
                    <a:pt x="197" y="406"/>
                  </a:lnTo>
                  <a:lnTo>
                    <a:pt x="196" y="404"/>
                  </a:lnTo>
                  <a:lnTo>
                    <a:pt x="196" y="406"/>
                  </a:lnTo>
                  <a:lnTo>
                    <a:pt x="196" y="409"/>
                  </a:lnTo>
                  <a:lnTo>
                    <a:pt x="195" y="407"/>
                  </a:lnTo>
                  <a:lnTo>
                    <a:pt x="194" y="407"/>
                  </a:lnTo>
                  <a:lnTo>
                    <a:pt x="192" y="408"/>
                  </a:lnTo>
                  <a:lnTo>
                    <a:pt x="192" y="404"/>
                  </a:lnTo>
                  <a:lnTo>
                    <a:pt x="192" y="402"/>
                  </a:lnTo>
                  <a:lnTo>
                    <a:pt x="194" y="400"/>
                  </a:lnTo>
                  <a:lnTo>
                    <a:pt x="192" y="398"/>
                  </a:lnTo>
                  <a:lnTo>
                    <a:pt x="191" y="397"/>
                  </a:lnTo>
                  <a:lnTo>
                    <a:pt x="190" y="397"/>
                  </a:lnTo>
                  <a:lnTo>
                    <a:pt x="187" y="397"/>
                  </a:lnTo>
                  <a:lnTo>
                    <a:pt x="187" y="398"/>
                  </a:lnTo>
                  <a:lnTo>
                    <a:pt x="190" y="400"/>
                  </a:lnTo>
                  <a:lnTo>
                    <a:pt x="190" y="402"/>
                  </a:lnTo>
                  <a:lnTo>
                    <a:pt x="189" y="402"/>
                  </a:lnTo>
                  <a:lnTo>
                    <a:pt x="187" y="404"/>
                  </a:lnTo>
                  <a:lnTo>
                    <a:pt x="186" y="403"/>
                  </a:lnTo>
                  <a:lnTo>
                    <a:pt x="185" y="401"/>
                  </a:lnTo>
                  <a:lnTo>
                    <a:pt x="185" y="400"/>
                  </a:lnTo>
                  <a:lnTo>
                    <a:pt x="184" y="400"/>
                  </a:lnTo>
                  <a:lnTo>
                    <a:pt x="183" y="402"/>
                  </a:lnTo>
                  <a:lnTo>
                    <a:pt x="184" y="403"/>
                  </a:lnTo>
                  <a:lnTo>
                    <a:pt x="186" y="407"/>
                  </a:lnTo>
                  <a:lnTo>
                    <a:pt x="186" y="412"/>
                  </a:lnTo>
                  <a:lnTo>
                    <a:pt x="184" y="408"/>
                  </a:lnTo>
                  <a:lnTo>
                    <a:pt x="183" y="404"/>
                  </a:lnTo>
                  <a:lnTo>
                    <a:pt x="181" y="404"/>
                  </a:lnTo>
                  <a:lnTo>
                    <a:pt x="181" y="407"/>
                  </a:lnTo>
                  <a:lnTo>
                    <a:pt x="180" y="406"/>
                  </a:lnTo>
                  <a:lnTo>
                    <a:pt x="179" y="407"/>
                  </a:lnTo>
                  <a:lnTo>
                    <a:pt x="178" y="409"/>
                  </a:lnTo>
                  <a:lnTo>
                    <a:pt x="179" y="410"/>
                  </a:lnTo>
                  <a:lnTo>
                    <a:pt x="180" y="412"/>
                  </a:lnTo>
                  <a:lnTo>
                    <a:pt x="183" y="412"/>
                  </a:lnTo>
                  <a:lnTo>
                    <a:pt x="184" y="412"/>
                  </a:lnTo>
                  <a:lnTo>
                    <a:pt x="181" y="413"/>
                  </a:lnTo>
                  <a:lnTo>
                    <a:pt x="180" y="413"/>
                  </a:lnTo>
                  <a:lnTo>
                    <a:pt x="179" y="412"/>
                  </a:lnTo>
                  <a:lnTo>
                    <a:pt x="179" y="413"/>
                  </a:lnTo>
                  <a:lnTo>
                    <a:pt x="179" y="415"/>
                  </a:lnTo>
                  <a:lnTo>
                    <a:pt x="179" y="414"/>
                  </a:lnTo>
                  <a:lnTo>
                    <a:pt x="179" y="415"/>
                  </a:lnTo>
                  <a:lnTo>
                    <a:pt x="178" y="416"/>
                  </a:lnTo>
                  <a:lnTo>
                    <a:pt x="177" y="415"/>
                  </a:lnTo>
                  <a:lnTo>
                    <a:pt x="178" y="412"/>
                  </a:lnTo>
                  <a:lnTo>
                    <a:pt x="178" y="410"/>
                  </a:lnTo>
                  <a:lnTo>
                    <a:pt x="177" y="413"/>
                  </a:lnTo>
                  <a:lnTo>
                    <a:pt x="177" y="414"/>
                  </a:lnTo>
                  <a:lnTo>
                    <a:pt x="175" y="413"/>
                  </a:lnTo>
                  <a:lnTo>
                    <a:pt x="175" y="414"/>
                  </a:lnTo>
                  <a:lnTo>
                    <a:pt x="174" y="414"/>
                  </a:lnTo>
                  <a:lnTo>
                    <a:pt x="173" y="412"/>
                  </a:lnTo>
                  <a:lnTo>
                    <a:pt x="174" y="410"/>
                  </a:lnTo>
                  <a:lnTo>
                    <a:pt x="173" y="409"/>
                  </a:lnTo>
                  <a:lnTo>
                    <a:pt x="173" y="410"/>
                  </a:lnTo>
                  <a:lnTo>
                    <a:pt x="172" y="410"/>
                  </a:lnTo>
                  <a:lnTo>
                    <a:pt x="172" y="413"/>
                  </a:lnTo>
                  <a:lnTo>
                    <a:pt x="172" y="415"/>
                  </a:lnTo>
                  <a:lnTo>
                    <a:pt x="169" y="418"/>
                  </a:lnTo>
                  <a:lnTo>
                    <a:pt x="169" y="415"/>
                  </a:lnTo>
                  <a:lnTo>
                    <a:pt x="172" y="413"/>
                  </a:lnTo>
                  <a:lnTo>
                    <a:pt x="171" y="412"/>
                  </a:lnTo>
                  <a:lnTo>
                    <a:pt x="169" y="412"/>
                  </a:lnTo>
                  <a:lnTo>
                    <a:pt x="168" y="412"/>
                  </a:lnTo>
                  <a:lnTo>
                    <a:pt x="167" y="413"/>
                  </a:lnTo>
                  <a:lnTo>
                    <a:pt x="165" y="413"/>
                  </a:lnTo>
                  <a:lnTo>
                    <a:pt x="165" y="414"/>
                  </a:lnTo>
                  <a:lnTo>
                    <a:pt x="167" y="415"/>
                  </a:lnTo>
                  <a:lnTo>
                    <a:pt x="167" y="418"/>
                  </a:lnTo>
                  <a:lnTo>
                    <a:pt x="166" y="419"/>
                  </a:lnTo>
                  <a:lnTo>
                    <a:pt x="163" y="418"/>
                  </a:lnTo>
                  <a:lnTo>
                    <a:pt x="163" y="420"/>
                  </a:lnTo>
                  <a:lnTo>
                    <a:pt x="162" y="421"/>
                  </a:lnTo>
                  <a:lnTo>
                    <a:pt x="161" y="422"/>
                  </a:lnTo>
                  <a:lnTo>
                    <a:pt x="160" y="421"/>
                  </a:lnTo>
                  <a:lnTo>
                    <a:pt x="160" y="420"/>
                  </a:lnTo>
                  <a:lnTo>
                    <a:pt x="159" y="419"/>
                  </a:lnTo>
                  <a:lnTo>
                    <a:pt x="156" y="419"/>
                  </a:lnTo>
                  <a:lnTo>
                    <a:pt x="157" y="416"/>
                  </a:lnTo>
                  <a:lnTo>
                    <a:pt x="159" y="414"/>
                  </a:lnTo>
                  <a:lnTo>
                    <a:pt x="159" y="413"/>
                  </a:lnTo>
                  <a:lnTo>
                    <a:pt x="157" y="413"/>
                  </a:lnTo>
                  <a:lnTo>
                    <a:pt x="156" y="412"/>
                  </a:lnTo>
                  <a:lnTo>
                    <a:pt x="157" y="410"/>
                  </a:lnTo>
                  <a:lnTo>
                    <a:pt x="159" y="409"/>
                  </a:lnTo>
                  <a:lnTo>
                    <a:pt x="159" y="408"/>
                  </a:lnTo>
                  <a:lnTo>
                    <a:pt x="157" y="408"/>
                  </a:lnTo>
                  <a:lnTo>
                    <a:pt x="157" y="409"/>
                  </a:lnTo>
                  <a:lnTo>
                    <a:pt x="156" y="410"/>
                  </a:lnTo>
                  <a:lnTo>
                    <a:pt x="155" y="412"/>
                  </a:lnTo>
                  <a:lnTo>
                    <a:pt x="154" y="410"/>
                  </a:lnTo>
                  <a:lnTo>
                    <a:pt x="153" y="409"/>
                  </a:lnTo>
                  <a:lnTo>
                    <a:pt x="154" y="407"/>
                  </a:lnTo>
                  <a:lnTo>
                    <a:pt x="154" y="404"/>
                  </a:lnTo>
                  <a:lnTo>
                    <a:pt x="153" y="406"/>
                  </a:lnTo>
                  <a:lnTo>
                    <a:pt x="151" y="406"/>
                  </a:lnTo>
                  <a:lnTo>
                    <a:pt x="151" y="403"/>
                  </a:lnTo>
                  <a:lnTo>
                    <a:pt x="150" y="404"/>
                  </a:lnTo>
                  <a:lnTo>
                    <a:pt x="149" y="404"/>
                  </a:lnTo>
                  <a:lnTo>
                    <a:pt x="149" y="406"/>
                  </a:lnTo>
                  <a:lnTo>
                    <a:pt x="151" y="406"/>
                  </a:lnTo>
                  <a:lnTo>
                    <a:pt x="151" y="408"/>
                  </a:lnTo>
                  <a:lnTo>
                    <a:pt x="151" y="407"/>
                  </a:lnTo>
                  <a:lnTo>
                    <a:pt x="150" y="409"/>
                  </a:lnTo>
                  <a:lnTo>
                    <a:pt x="150" y="410"/>
                  </a:lnTo>
                  <a:lnTo>
                    <a:pt x="149" y="408"/>
                  </a:lnTo>
                  <a:lnTo>
                    <a:pt x="147" y="408"/>
                  </a:lnTo>
                  <a:lnTo>
                    <a:pt x="148" y="407"/>
                  </a:lnTo>
                  <a:lnTo>
                    <a:pt x="147" y="407"/>
                  </a:lnTo>
                  <a:lnTo>
                    <a:pt x="145" y="408"/>
                  </a:lnTo>
                  <a:lnTo>
                    <a:pt x="145" y="407"/>
                  </a:lnTo>
                  <a:lnTo>
                    <a:pt x="145" y="406"/>
                  </a:lnTo>
                  <a:lnTo>
                    <a:pt x="145" y="404"/>
                  </a:lnTo>
                  <a:lnTo>
                    <a:pt x="148" y="404"/>
                  </a:lnTo>
                  <a:lnTo>
                    <a:pt x="148" y="403"/>
                  </a:lnTo>
                  <a:lnTo>
                    <a:pt x="147" y="403"/>
                  </a:lnTo>
                  <a:lnTo>
                    <a:pt x="148" y="403"/>
                  </a:lnTo>
                  <a:lnTo>
                    <a:pt x="149" y="402"/>
                  </a:lnTo>
                  <a:lnTo>
                    <a:pt x="150" y="402"/>
                  </a:lnTo>
                  <a:lnTo>
                    <a:pt x="153" y="401"/>
                  </a:lnTo>
                  <a:lnTo>
                    <a:pt x="154" y="398"/>
                  </a:lnTo>
                  <a:lnTo>
                    <a:pt x="153" y="400"/>
                  </a:lnTo>
                  <a:lnTo>
                    <a:pt x="151" y="400"/>
                  </a:lnTo>
                  <a:lnTo>
                    <a:pt x="149" y="398"/>
                  </a:lnTo>
                  <a:lnTo>
                    <a:pt x="151" y="397"/>
                  </a:lnTo>
                  <a:lnTo>
                    <a:pt x="151" y="396"/>
                  </a:lnTo>
                  <a:lnTo>
                    <a:pt x="150" y="396"/>
                  </a:lnTo>
                  <a:lnTo>
                    <a:pt x="148" y="398"/>
                  </a:lnTo>
                  <a:lnTo>
                    <a:pt x="148" y="397"/>
                  </a:lnTo>
                  <a:lnTo>
                    <a:pt x="149" y="395"/>
                  </a:lnTo>
                  <a:lnTo>
                    <a:pt x="150" y="394"/>
                  </a:lnTo>
                  <a:lnTo>
                    <a:pt x="148" y="395"/>
                  </a:lnTo>
                  <a:lnTo>
                    <a:pt x="147" y="396"/>
                  </a:lnTo>
                  <a:lnTo>
                    <a:pt x="144" y="397"/>
                  </a:lnTo>
                  <a:lnTo>
                    <a:pt x="144" y="395"/>
                  </a:lnTo>
                  <a:lnTo>
                    <a:pt x="143" y="396"/>
                  </a:lnTo>
                  <a:lnTo>
                    <a:pt x="143" y="398"/>
                  </a:lnTo>
                  <a:lnTo>
                    <a:pt x="141" y="396"/>
                  </a:lnTo>
                  <a:lnTo>
                    <a:pt x="139" y="395"/>
                  </a:lnTo>
                  <a:lnTo>
                    <a:pt x="138" y="396"/>
                  </a:lnTo>
                  <a:lnTo>
                    <a:pt x="138" y="397"/>
                  </a:lnTo>
                  <a:lnTo>
                    <a:pt x="137" y="396"/>
                  </a:lnTo>
                  <a:lnTo>
                    <a:pt x="136" y="395"/>
                  </a:lnTo>
                  <a:lnTo>
                    <a:pt x="136" y="392"/>
                  </a:lnTo>
                  <a:lnTo>
                    <a:pt x="136" y="391"/>
                  </a:lnTo>
                  <a:lnTo>
                    <a:pt x="137" y="391"/>
                  </a:lnTo>
                  <a:lnTo>
                    <a:pt x="135" y="391"/>
                  </a:lnTo>
                  <a:lnTo>
                    <a:pt x="133" y="392"/>
                  </a:lnTo>
                  <a:lnTo>
                    <a:pt x="133" y="395"/>
                  </a:lnTo>
                  <a:lnTo>
                    <a:pt x="132" y="397"/>
                  </a:lnTo>
                  <a:lnTo>
                    <a:pt x="133" y="398"/>
                  </a:lnTo>
                  <a:lnTo>
                    <a:pt x="136" y="400"/>
                  </a:lnTo>
                  <a:lnTo>
                    <a:pt x="137" y="401"/>
                  </a:lnTo>
                  <a:lnTo>
                    <a:pt x="138" y="401"/>
                  </a:lnTo>
                  <a:lnTo>
                    <a:pt x="138" y="402"/>
                  </a:lnTo>
                  <a:lnTo>
                    <a:pt x="137" y="402"/>
                  </a:lnTo>
                  <a:lnTo>
                    <a:pt x="136" y="403"/>
                  </a:lnTo>
                  <a:lnTo>
                    <a:pt x="139" y="403"/>
                  </a:lnTo>
                  <a:lnTo>
                    <a:pt x="141" y="407"/>
                  </a:lnTo>
                  <a:lnTo>
                    <a:pt x="138" y="407"/>
                  </a:lnTo>
                  <a:lnTo>
                    <a:pt x="136" y="406"/>
                  </a:lnTo>
                  <a:lnTo>
                    <a:pt x="135" y="407"/>
                  </a:lnTo>
                  <a:lnTo>
                    <a:pt x="132" y="404"/>
                  </a:lnTo>
                  <a:lnTo>
                    <a:pt x="131" y="406"/>
                  </a:lnTo>
                  <a:lnTo>
                    <a:pt x="130" y="406"/>
                  </a:lnTo>
                  <a:lnTo>
                    <a:pt x="128" y="409"/>
                  </a:lnTo>
                  <a:lnTo>
                    <a:pt x="128" y="408"/>
                  </a:lnTo>
                  <a:lnTo>
                    <a:pt x="127" y="406"/>
                  </a:lnTo>
                  <a:lnTo>
                    <a:pt x="127" y="403"/>
                  </a:lnTo>
                  <a:lnTo>
                    <a:pt x="126" y="406"/>
                  </a:lnTo>
                  <a:lnTo>
                    <a:pt x="126" y="407"/>
                  </a:lnTo>
                  <a:lnTo>
                    <a:pt x="126" y="408"/>
                  </a:lnTo>
                  <a:lnTo>
                    <a:pt x="125" y="407"/>
                  </a:lnTo>
                  <a:lnTo>
                    <a:pt x="122" y="406"/>
                  </a:lnTo>
                  <a:lnTo>
                    <a:pt x="124" y="408"/>
                  </a:lnTo>
                  <a:lnTo>
                    <a:pt x="124" y="410"/>
                  </a:lnTo>
                  <a:lnTo>
                    <a:pt x="124" y="412"/>
                  </a:lnTo>
                  <a:lnTo>
                    <a:pt x="125" y="413"/>
                  </a:lnTo>
                  <a:lnTo>
                    <a:pt x="126" y="413"/>
                  </a:lnTo>
                  <a:lnTo>
                    <a:pt x="127" y="414"/>
                  </a:lnTo>
                  <a:lnTo>
                    <a:pt x="127" y="416"/>
                  </a:lnTo>
                  <a:lnTo>
                    <a:pt x="128" y="415"/>
                  </a:lnTo>
                  <a:lnTo>
                    <a:pt x="128" y="413"/>
                  </a:lnTo>
                  <a:lnTo>
                    <a:pt x="130" y="412"/>
                  </a:lnTo>
                  <a:lnTo>
                    <a:pt x="130" y="414"/>
                  </a:lnTo>
                  <a:lnTo>
                    <a:pt x="131" y="418"/>
                  </a:lnTo>
                  <a:lnTo>
                    <a:pt x="130" y="420"/>
                  </a:lnTo>
                  <a:lnTo>
                    <a:pt x="128" y="418"/>
                  </a:lnTo>
                  <a:lnTo>
                    <a:pt x="127" y="416"/>
                  </a:lnTo>
                  <a:lnTo>
                    <a:pt x="128" y="420"/>
                  </a:lnTo>
                  <a:lnTo>
                    <a:pt x="127" y="420"/>
                  </a:lnTo>
                  <a:lnTo>
                    <a:pt x="126" y="419"/>
                  </a:lnTo>
                  <a:lnTo>
                    <a:pt x="124" y="419"/>
                  </a:lnTo>
                  <a:lnTo>
                    <a:pt x="125" y="418"/>
                  </a:lnTo>
                  <a:lnTo>
                    <a:pt x="126" y="416"/>
                  </a:lnTo>
                  <a:lnTo>
                    <a:pt x="126" y="415"/>
                  </a:lnTo>
                  <a:lnTo>
                    <a:pt x="125" y="416"/>
                  </a:lnTo>
                  <a:lnTo>
                    <a:pt x="124" y="416"/>
                  </a:lnTo>
                  <a:lnTo>
                    <a:pt x="124" y="415"/>
                  </a:lnTo>
                  <a:lnTo>
                    <a:pt x="121" y="414"/>
                  </a:lnTo>
                  <a:lnTo>
                    <a:pt x="119" y="415"/>
                  </a:lnTo>
                  <a:lnTo>
                    <a:pt x="119" y="413"/>
                  </a:lnTo>
                  <a:lnTo>
                    <a:pt x="121" y="412"/>
                  </a:lnTo>
                  <a:lnTo>
                    <a:pt x="122" y="412"/>
                  </a:lnTo>
                  <a:lnTo>
                    <a:pt x="122" y="410"/>
                  </a:lnTo>
                  <a:lnTo>
                    <a:pt x="121" y="410"/>
                  </a:lnTo>
                  <a:lnTo>
                    <a:pt x="121" y="409"/>
                  </a:lnTo>
                  <a:lnTo>
                    <a:pt x="121" y="408"/>
                  </a:lnTo>
                  <a:lnTo>
                    <a:pt x="121" y="407"/>
                  </a:lnTo>
                  <a:lnTo>
                    <a:pt x="120" y="406"/>
                  </a:lnTo>
                  <a:lnTo>
                    <a:pt x="119" y="407"/>
                  </a:lnTo>
                  <a:lnTo>
                    <a:pt x="119" y="408"/>
                  </a:lnTo>
                  <a:lnTo>
                    <a:pt x="118" y="409"/>
                  </a:lnTo>
                  <a:lnTo>
                    <a:pt x="118" y="410"/>
                  </a:lnTo>
                  <a:lnTo>
                    <a:pt x="116" y="409"/>
                  </a:lnTo>
                  <a:lnTo>
                    <a:pt x="115" y="407"/>
                  </a:lnTo>
                  <a:lnTo>
                    <a:pt x="115" y="406"/>
                  </a:lnTo>
                  <a:lnTo>
                    <a:pt x="114" y="404"/>
                  </a:lnTo>
                  <a:lnTo>
                    <a:pt x="115" y="402"/>
                  </a:lnTo>
                  <a:lnTo>
                    <a:pt x="115" y="401"/>
                  </a:lnTo>
                  <a:lnTo>
                    <a:pt x="114" y="402"/>
                  </a:lnTo>
                  <a:lnTo>
                    <a:pt x="114" y="401"/>
                  </a:lnTo>
                  <a:lnTo>
                    <a:pt x="113" y="401"/>
                  </a:lnTo>
                  <a:lnTo>
                    <a:pt x="112" y="400"/>
                  </a:lnTo>
                  <a:lnTo>
                    <a:pt x="110" y="400"/>
                  </a:lnTo>
                  <a:lnTo>
                    <a:pt x="110" y="398"/>
                  </a:lnTo>
                  <a:lnTo>
                    <a:pt x="110" y="397"/>
                  </a:lnTo>
                  <a:lnTo>
                    <a:pt x="109" y="400"/>
                  </a:lnTo>
                  <a:lnTo>
                    <a:pt x="110" y="401"/>
                  </a:lnTo>
                  <a:lnTo>
                    <a:pt x="112" y="401"/>
                  </a:lnTo>
                  <a:lnTo>
                    <a:pt x="112" y="402"/>
                  </a:lnTo>
                  <a:lnTo>
                    <a:pt x="112" y="403"/>
                  </a:lnTo>
                  <a:lnTo>
                    <a:pt x="110" y="404"/>
                  </a:lnTo>
                  <a:lnTo>
                    <a:pt x="109" y="406"/>
                  </a:lnTo>
                  <a:lnTo>
                    <a:pt x="112" y="406"/>
                  </a:lnTo>
                  <a:lnTo>
                    <a:pt x="113" y="406"/>
                  </a:lnTo>
                  <a:lnTo>
                    <a:pt x="114" y="408"/>
                  </a:lnTo>
                  <a:lnTo>
                    <a:pt x="113" y="409"/>
                  </a:lnTo>
                  <a:lnTo>
                    <a:pt x="112" y="409"/>
                  </a:lnTo>
                  <a:lnTo>
                    <a:pt x="110" y="410"/>
                  </a:lnTo>
                  <a:lnTo>
                    <a:pt x="109" y="412"/>
                  </a:lnTo>
                  <a:lnTo>
                    <a:pt x="108" y="410"/>
                  </a:lnTo>
                  <a:lnTo>
                    <a:pt x="109" y="408"/>
                  </a:lnTo>
                  <a:lnTo>
                    <a:pt x="108" y="407"/>
                  </a:lnTo>
                  <a:lnTo>
                    <a:pt x="108" y="409"/>
                  </a:lnTo>
                  <a:lnTo>
                    <a:pt x="107" y="412"/>
                  </a:lnTo>
                  <a:lnTo>
                    <a:pt x="107" y="410"/>
                  </a:lnTo>
                  <a:lnTo>
                    <a:pt x="106" y="410"/>
                  </a:lnTo>
                  <a:lnTo>
                    <a:pt x="104" y="412"/>
                  </a:lnTo>
                  <a:lnTo>
                    <a:pt x="104" y="409"/>
                  </a:lnTo>
                  <a:lnTo>
                    <a:pt x="103" y="408"/>
                  </a:lnTo>
                  <a:lnTo>
                    <a:pt x="102" y="409"/>
                  </a:lnTo>
                  <a:lnTo>
                    <a:pt x="103" y="410"/>
                  </a:lnTo>
                  <a:lnTo>
                    <a:pt x="102" y="413"/>
                  </a:lnTo>
                  <a:lnTo>
                    <a:pt x="101" y="414"/>
                  </a:lnTo>
                  <a:lnTo>
                    <a:pt x="100" y="413"/>
                  </a:lnTo>
                  <a:lnTo>
                    <a:pt x="98" y="412"/>
                  </a:lnTo>
                  <a:lnTo>
                    <a:pt x="97" y="414"/>
                  </a:lnTo>
                  <a:lnTo>
                    <a:pt x="98" y="415"/>
                  </a:lnTo>
                  <a:lnTo>
                    <a:pt x="100" y="416"/>
                  </a:lnTo>
                  <a:lnTo>
                    <a:pt x="101" y="415"/>
                  </a:lnTo>
                  <a:lnTo>
                    <a:pt x="102" y="418"/>
                  </a:lnTo>
                  <a:lnTo>
                    <a:pt x="103" y="418"/>
                  </a:lnTo>
                  <a:lnTo>
                    <a:pt x="103" y="414"/>
                  </a:lnTo>
                  <a:lnTo>
                    <a:pt x="104" y="413"/>
                  </a:lnTo>
                  <a:lnTo>
                    <a:pt x="104" y="414"/>
                  </a:lnTo>
                  <a:lnTo>
                    <a:pt x="107" y="414"/>
                  </a:lnTo>
                  <a:lnTo>
                    <a:pt x="107" y="416"/>
                  </a:lnTo>
                  <a:lnTo>
                    <a:pt x="104" y="418"/>
                  </a:lnTo>
                  <a:lnTo>
                    <a:pt x="106" y="419"/>
                  </a:lnTo>
                  <a:lnTo>
                    <a:pt x="104" y="419"/>
                  </a:lnTo>
                  <a:lnTo>
                    <a:pt x="103" y="419"/>
                  </a:lnTo>
                  <a:lnTo>
                    <a:pt x="101" y="418"/>
                  </a:lnTo>
                  <a:lnTo>
                    <a:pt x="101" y="419"/>
                  </a:lnTo>
                  <a:lnTo>
                    <a:pt x="101" y="420"/>
                  </a:lnTo>
                  <a:lnTo>
                    <a:pt x="100" y="421"/>
                  </a:lnTo>
                  <a:lnTo>
                    <a:pt x="100" y="422"/>
                  </a:lnTo>
                  <a:lnTo>
                    <a:pt x="98" y="421"/>
                  </a:lnTo>
                  <a:lnTo>
                    <a:pt x="97" y="418"/>
                  </a:lnTo>
                  <a:lnTo>
                    <a:pt x="95" y="418"/>
                  </a:lnTo>
                  <a:lnTo>
                    <a:pt x="95" y="419"/>
                  </a:lnTo>
                  <a:lnTo>
                    <a:pt x="95" y="416"/>
                  </a:lnTo>
                  <a:lnTo>
                    <a:pt x="94" y="419"/>
                  </a:lnTo>
                  <a:lnTo>
                    <a:pt x="92" y="421"/>
                  </a:lnTo>
                  <a:lnTo>
                    <a:pt x="92" y="420"/>
                  </a:lnTo>
                  <a:lnTo>
                    <a:pt x="89" y="422"/>
                  </a:lnTo>
                  <a:lnTo>
                    <a:pt x="89" y="424"/>
                  </a:lnTo>
                  <a:lnTo>
                    <a:pt x="88" y="421"/>
                  </a:lnTo>
                  <a:lnTo>
                    <a:pt x="86" y="421"/>
                  </a:lnTo>
                  <a:lnTo>
                    <a:pt x="84" y="424"/>
                  </a:lnTo>
                  <a:lnTo>
                    <a:pt x="83" y="425"/>
                  </a:lnTo>
                  <a:lnTo>
                    <a:pt x="82" y="422"/>
                  </a:lnTo>
                  <a:lnTo>
                    <a:pt x="80" y="420"/>
                  </a:lnTo>
                  <a:lnTo>
                    <a:pt x="80" y="419"/>
                  </a:lnTo>
                  <a:lnTo>
                    <a:pt x="79" y="420"/>
                  </a:lnTo>
                  <a:lnTo>
                    <a:pt x="79" y="418"/>
                  </a:lnTo>
                  <a:lnTo>
                    <a:pt x="82" y="415"/>
                  </a:lnTo>
                  <a:lnTo>
                    <a:pt x="84" y="414"/>
                  </a:lnTo>
                  <a:lnTo>
                    <a:pt x="85" y="415"/>
                  </a:lnTo>
                  <a:lnTo>
                    <a:pt x="86" y="415"/>
                  </a:lnTo>
                  <a:lnTo>
                    <a:pt x="85" y="414"/>
                  </a:lnTo>
                  <a:lnTo>
                    <a:pt x="85" y="413"/>
                  </a:lnTo>
                  <a:lnTo>
                    <a:pt x="84" y="414"/>
                  </a:lnTo>
                  <a:lnTo>
                    <a:pt x="82" y="413"/>
                  </a:lnTo>
                  <a:lnTo>
                    <a:pt x="79" y="413"/>
                  </a:lnTo>
                  <a:lnTo>
                    <a:pt x="78" y="413"/>
                  </a:lnTo>
                  <a:lnTo>
                    <a:pt x="76" y="414"/>
                  </a:lnTo>
                  <a:lnTo>
                    <a:pt x="73" y="418"/>
                  </a:lnTo>
                  <a:lnTo>
                    <a:pt x="73" y="415"/>
                  </a:lnTo>
                  <a:lnTo>
                    <a:pt x="73" y="413"/>
                  </a:lnTo>
                  <a:lnTo>
                    <a:pt x="74" y="410"/>
                  </a:lnTo>
                  <a:lnTo>
                    <a:pt x="77" y="410"/>
                  </a:lnTo>
                  <a:lnTo>
                    <a:pt x="78" y="410"/>
                  </a:lnTo>
                  <a:lnTo>
                    <a:pt x="82" y="409"/>
                  </a:lnTo>
                  <a:lnTo>
                    <a:pt x="78" y="408"/>
                  </a:lnTo>
                  <a:lnTo>
                    <a:pt x="74" y="409"/>
                  </a:lnTo>
                  <a:lnTo>
                    <a:pt x="73" y="409"/>
                  </a:lnTo>
                  <a:lnTo>
                    <a:pt x="72" y="410"/>
                  </a:lnTo>
                  <a:lnTo>
                    <a:pt x="71" y="410"/>
                  </a:lnTo>
                  <a:lnTo>
                    <a:pt x="72" y="409"/>
                  </a:lnTo>
                  <a:lnTo>
                    <a:pt x="69" y="410"/>
                  </a:lnTo>
                  <a:lnTo>
                    <a:pt x="69" y="409"/>
                  </a:lnTo>
                  <a:lnTo>
                    <a:pt x="72" y="407"/>
                  </a:lnTo>
                  <a:lnTo>
                    <a:pt x="76" y="407"/>
                  </a:lnTo>
                  <a:lnTo>
                    <a:pt x="78" y="408"/>
                  </a:lnTo>
                  <a:lnTo>
                    <a:pt x="80" y="409"/>
                  </a:lnTo>
                  <a:lnTo>
                    <a:pt x="82" y="409"/>
                  </a:lnTo>
                  <a:lnTo>
                    <a:pt x="84" y="408"/>
                  </a:lnTo>
                  <a:lnTo>
                    <a:pt x="88" y="407"/>
                  </a:lnTo>
                  <a:lnTo>
                    <a:pt x="89" y="406"/>
                  </a:lnTo>
                  <a:lnTo>
                    <a:pt x="88" y="407"/>
                  </a:lnTo>
                  <a:lnTo>
                    <a:pt x="85" y="406"/>
                  </a:lnTo>
                  <a:lnTo>
                    <a:pt x="84" y="407"/>
                  </a:lnTo>
                  <a:lnTo>
                    <a:pt x="82" y="407"/>
                  </a:lnTo>
                  <a:lnTo>
                    <a:pt x="79" y="407"/>
                  </a:lnTo>
                  <a:lnTo>
                    <a:pt x="79" y="406"/>
                  </a:lnTo>
                  <a:lnTo>
                    <a:pt x="78" y="404"/>
                  </a:lnTo>
                  <a:lnTo>
                    <a:pt x="79" y="403"/>
                  </a:lnTo>
                  <a:lnTo>
                    <a:pt x="77" y="404"/>
                  </a:lnTo>
                  <a:lnTo>
                    <a:pt x="74" y="404"/>
                  </a:lnTo>
                  <a:lnTo>
                    <a:pt x="73" y="404"/>
                  </a:lnTo>
                  <a:lnTo>
                    <a:pt x="69" y="404"/>
                  </a:lnTo>
                  <a:lnTo>
                    <a:pt x="69" y="403"/>
                  </a:lnTo>
                  <a:lnTo>
                    <a:pt x="71" y="402"/>
                  </a:lnTo>
                  <a:lnTo>
                    <a:pt x="69" y="401"/>
                  </a:lnTo>
                  <a:lnTo>
                    <a:pt x="67" y="401"/>
                  </a:lnTo>
                  <a:lnTo>
                    <a:pt x="68" y="398"/>
                  </a:lnTo>
                  <a:lnTo>
                    <a:pt x="66" y="398"/>
                  </a:lnTo>
                  <a:lnTo>
                    <a:pt x="66" y="397"/>
                  </a:lnTo>
                  <a:lnTo>
                    <a:pt x="65" y="398"/>
                  </a:lnTo>
                  <a:lnTo>
                    <a:pt x="63" y="400"/>
                  </a:lnTo>
                  <a:lnTo>
                    <a:pt x="63" y="398"/>
                  </a:lnTo>
                  <a:lnTo>
                    <a:pt x="61" y="400"/>
                  </a:lnTo>
                  <a:lnTo>
                    <a:pt x="60" y="403"/>
                  </a:lnTo>
                  <a:lnTo>
                    <a:pt x="57" y="407"/>
                  </a:lnTo>
                  <a:lnTo>
                    <a:pt x="56" y="409"/>
                  </a:lnTo>
                  <a:lnTo>
                    <a:pt x="55" y="404"/>
                  </a:lnTo>
                  <a:lnTo>
                    <a:pt x="54" y="406"/>
                  </a:lnTo>
                  <a:lnTo>
                    <a:pt x="53" y="406"/>
                  </a:lnTo>
                  <a:lnTo>
                    <a:pt x="53" y="407"/>
                  </a:lnTo>
                  <a:lnTo>
                    <a:pt x="53" y="408"/>
                  </a:lnTo>
                  <a:lnTo>
                    <a:pt x="53" y="409"/>
                  </a:lnTo>
                  <a:lnTo>
                    <a:pt x="51" y="410"/>
                  </a:lnTo>
                  <a:lnTo>
                    <a:pt x="53" y="409"/>
                  </a:lnTo>
                  <a:lnTo>
                    <a:pt x="55" y="412"/>
                  </a:lnTo>
                  <a:lnTo>
                    <a:pt x="54" y="415"/>
                  </a:lnTo>
                  <a:lnTo>
                    <a:pt x="53" y="414"/>
                  </a:lnTo>
                  <a:lnTo>
                    <a:pt x="50" y="413"/>
                  </a:lnTo>
                  <a:lnTo>
                    <a:pt x="49" y="412"/>
                  </a:lnTo>
                  <a:lnTo>
                    <a:pt x="49" y="413"/>
                  </a:lnTo>
                  <a:lnTo>
                    <a:pt x="49" y="414"/>
                  </a:lnTo>
                  <a:lnTo>
                    <a:pt x="47" y="413"/>
                  </a:lnTo>
                  <a:lnTo>
                    <a:pt x="47" y="412"/>
                  </a:lnTo>
                  <a:lnTo>
                    <a:pt x="45" y="413"/>
                  </a:lnTo>
                  <a:lnTo>
                    <a:pt x="45" y="414"/>
                  </a:lnTo>
                  <a:lnTo>
                    <a:pt x="43" y="415"/>
                  </a:lnTo>
                  <a:lnTo>
                    <a:pt x="42" y="415"/>
                  </a:lnTo>
                  <a:lnTo>
                    <a:pt x="41" y="415"/>
                  </a:lnTo>
                  <a:lnTo>
                    <a:pt x="39" y="418"/>
                  </a:lnTo>
                  <a:lnTo>
                    <a:pt x="38" y="419"/>
                  </a:lnTo>
                  <a:lnTo>
                    <a:pt x="37" y="418"/>
                  </a:lnTo>
                  <a:lnTo>
                    <a:pt x="35" y="418"/>
                  </a:lnTo>
                  <a:lnTo>
                    <a:pt x="33" y="416"/>
                  </a:lnTo>
                  <a:lnTo>
                    <a:pt x="30" y="418"/>
                  </a:lnTo>
                  <a:lnTo>
                    <a:pt x="27" y="419"/>
                  </a:lnTo>
                  <a:lnTo>
                    <a:pt x="26" y="421"/>
                  </a:lnTo>
                  <a:lnTo>
                    <a:pt x="26" y="422"/>
                  </a:lnTo>
                  <a:lnTo>
                    <a:pt x="25" y="424"/>
                  </a:lnTo>
                  <a:lnTo>
                    <a:pt x="24" y="422"/>
                  </a:lnTo>
                  <a:lnTo>
                    <a:pt x="24" y="421"/>
                  </a:lnTo>
                  <a:lnTo>
                    <a:pt x="21" y="421"/>
                  </a:lnTo>
                  <a:lnTo>
                    <a:pt x="23" y="420"/>
                  </a:lnTo>
                  <a:lnTo>
                    <a:pt x="21" y="420"/>
                  </a:lnTo>
                  <a:lnTo>
                    <a:pt x="21" y="419"/>
                  </a:lnTo>
                  <a:lnTo>
                    <a:pt x="20" y="420"/>
                  </a:lnTo>
                  <a:lnTo>
                    <a:pt x="20" y="419"/>
                  </a:lnTo>
                  <a:lnTo>
                    <a:pt x="18" y="419"/>
                  </a:lnTo>
                  <a:lnTo>
                    <a:pt x="15" y="421"/>
                  </a:lnTo>
                  <a:lnTo>
                    <a:pt x="15" y="420"/>
                  </a:lnTo>
                  <a:lnTo>
                    <a:pt x="13" y="421"/>
                  </a:lnTo>
                  <a:lnTo>
                    <a:pt x="10" y="422"/>
                  </a:lnTo>
                  <a:lnTo>
                    <a:pt x="13" y="419"/>
                  </a:lnTo>
                  <a:lnTo>
                    <a:pt x="12" y="419"/>
                  </a:lnTo>
                  <a:lnTo>
                    <a:pt x="14" y="415"/>
                  </a:lnTo>
                  <a:lnTo>
                    <a:pt x="15" y="412"/>
                  </a:lnTo>
                  <a:lnTo>
                    <a:pt x="18" y="412"/>
                  </a:lnTo>
                  <a:lnTo>
                    <a:pt x="17" y="410"/>
                  </a:lnTo>
                  <a:lnTo>
                    <a:pt x="13" y="413"/>
                  </a:lnTo>
                  <a:lnTo>
                    <a:pt x="10" y="416"/>
                  </a:lnTo>
                  <a:lnTo>
                    <a:pt x="13" y="412"/>
                  </a:lnTo>
                  <a:lnTo>
                    <a:pt x="13" y="409"/>
                  </a:lnTo>
                  <a:lnTo>
                    <a:pt x="12" y="407"/>
                  </a:lnTo>
                  <a:lnTo>
                    <a:pt x="14" y="404"/>
                  </a:lnTo>
                  <a:lnTo>
                    <a:pt x="13" y="404"/>
                  </a:lnTo>
                  <a:lnTo>
                    <a:pt x="12" y="406"/>
                  </a:lnTo>
                  <a:lnTo>
                    <a:pt x="8" y="408"/>
                  </a:lnTo>
                  <a:lnTo>
                    <a:pt x="8" y="406"/>
                  </a:lnTo>
                  <a:lnTo>
                    <a:pt x="8" y="402"/>
                  </a:lnTo>
                  <a:lnTo>
                    <a:pt x="10" y="400"/>
                  </a:lnTo>
                  <a:lnTo>
                    <a:pt x="12" y="400"/>
                  </a:lnTo>
                  <a:lnTo>
                    <a:pt x="14" y="400"/>
                  </a:lnTo>
                  <a:lnTo>
                    <a:pt x="18" y="398"/>
                  </a:lnTo>
                  <a:lnTo>
                    <a:pt x="18" y="397"/>
                  </a:lnTo>
                  <a:lnTo>
                    <a:pt x="20" y="396"/>
                  </a:lnTo>
                  <a:lnTo>
                    <a:pt x="21" y="398"/>
                  </a:lnTo>
                  <a:lnTo>
                    <a:pt x="23" y="397"/>
                  </a:lnTo>
                  <a:lnTo>
                    <a:pt x="24" y="397"/>
                  </a:lnTo>
                  <a:lnTo>
                    <a:pt x="26" y="397"/>
                  </a:lnTo>
                  <a:lnTo>
                    <a:pt x="30" y="395"/>
                  </a:lnTo>
                  <a:lnTo>
                    <a:pt x="32" y="396"/>
                  </a:lnTo>
                  <a:lnTo>
                    <a:pt x="31" y="396"/>
                  </a:lnTo>
                  <a:lnTo>
                    <a:pt x="30" y="397"/>
                  </a:lnTo>
                  <a:lnTo>
                    <a:pt x="27" y="398"/>
                  </a:lnTo>
                  <a:lnTo>
                    <a:pt x="27" y="400"/>
                  </a:lnTo>
                  <a:lnTo>
                    <a:pt x="26" y="401"/>
                  </a:lnTo>
                  <a:lnTo>
                    <a:pt x="27" y="401"/>
                  </a:lnTo>
                  <a:lnTo>
                    <a:pt x="30" y="400"/>
                  </a:lnTo>
                  <a:lnTo>
                    <a:pt x="31" y="398"/>
                  </a:lnTo>
                  <a:lnTo>
                    <a:pt x="31" y="397"/>
                  </a:lnTo>
                  <a:lnTo>
                    <a:pt x="33" y="397"/>
                  </a:lnTo>
                  <a:lnTo>
                    <a:pt x="35" y="397"/>
                  </a:lnTo>
                  <a:lnTo>
                    <a:pt x="37" y="396"/>
                  </a:lnTo>
                  <a:lnTo>
                    <a:pt x="36" y="396"/>
                  </a:lnTo>
                  <a:lnTo>
                    <a:pt x="35" y="396"/>
                  </a:lnTo>
                  <a:lnTo>
                    <a:pt x="35" y="395"/>
                  </a:lnTo>
                  <a:lnTo>
                    <a:pt x="36" y="391"/>
                  </a:lnTo>
                  <a:lnTo>
                    <a:pt x="38" y="390"/>
                  </a:lnTo>
                  <a:lnTo>
                    <a:pt x="38" y="389"/>
                  </a:lnTo>
                  <a:lnTo>
                    <a:pt x="39" y="388"/>
                  </a:lnTo>
                  <a:lnTo>
                    <a:pt x="37" y="389"/>
                  </a:lnTo>
                  <a:lnTo>
                    <a:pt x="36" y="390"/>
                  </a:lnTo>
                  <a:lnTo>
                    <a:pt x="37" y="388"/>
                  </a:lnTo>
                  <a:lnTo>
                    <a:pt x="35" y="388"/>
                  </a:lnTo>
                  <a:lnTo>
                    <a:pt x="32" y="391"/>
                  </a:lnTo>
                  <a:lnTo>
                    <a:pt x="35" y="386"/>
                  </a:lnTo>
                  <a:lnTo>
                    <a:pt x="36" y="384"/>
                  </a:lnTo>
                  <a:lnTo>
                    <a:pt x="38" y="382"/>
                  </a:lnTo>
                  <a:lnTo>
                    <a:pt x="38" y="380"/>
                  </a:lnTo>
                  <a:lnTo>
                    <a:pt x="39" y="379"/>
                  </a:lnTo>
                  <a:lnTo>
                    <a:pt x="37" y="378"/>
                  </a:lnTo>
                  <a:lnTo>
                    <a:pt x="33" y="379"/>
                  </a:lnTo>
                  <a:lnTo>
                    <a:pt x="36" y="376"/>
                  </a:lnTo>
                  <a:lnTo>
                    <a:pt x="38" y="374"/>
                  </a:lnTo>
                  <a:lnTo>
                    <a:pt x="42" y="374"/>
                  </a:lnTo>
                  <a:lnTo>
                    <a:pt x="43" y="376"/>
                  </a:lnTo>
                  <a:lnTo>
                    <a:pt x="45" y="377"/>
                  </a:lnTo>
                  <a:lnTo>
                    <a:pt x="45" y="376"/>
                  </a:lnTo>
                  <a:lnTo>
                    <a:pt x="48" y="377"/>
                  </a:lnTo>
                  <a:lnTo>
                    <a:pt x="49" y="377"/>
                  </a:lnTo>
                  <a:lnTo>
                    <a:pt x="48" y="376"/>
                  </a:lnTo>
                  <a:lnTo>
                    <a:pt x="44" y="374"/>
                  </a:lnTo>
                  <a:lnTo>
                    <a:pt x="44" y="373"/>
                  </a:lnTo>
                  <a:lnTo>
                    <a:pt x="45" y="372"/>
                  </a:lnTo>
                  <a:lnTo>
                    <a:pt x="47" y="371"/>
                  </a:lnTo>
                  <a:lnTo>
                    <a:pt x="45" y="370"/>
                  </a:lnTo>
                  <a:lnTo>
                    <a:pt x="44" y="370"/>
                  </a:lnTo>
                  <a:lnTo>
                    <a:pt x="44" y="372"/>
                  </a:lnTo>
                  <a:lnTo>
                    <a:pt x="43" y="371"/>
                  </a:lnTo>
                  <a:lnTo>
                    <a:pt x="43" y="368"/>
                  </a:lnTo>
                  <a:lnTo>
                    <a:pt x="44" y="367"/>
                  </a:lnTo>
                  <a:lnTo>
                    <a:pt x="43" y="367"/>
                  </a:lnTo>
                  <a:lnTo>
                    <a:pt x="43" y="366"/>
                  </a:lnTo>
                  <a:lnTo>
                    <a:pt x="42" y="367"/>
                  </a:lnTo>
                  <a:lnTo>
                    <a:pt x="39" y="368"/>
                  </a:lnTo>
                  <a:lnTo>
                    <a:pt x="39" y="370"/>
                  </a:lnTo>
                  <a:lnTo>
                    <a:pt x="39" y="367"/>
                  </a:lnTo>
                  <a:lnTo>
                    <a:pt x="39" y="366"/>
                  </a:lnTo>
                  <a:lnTo>
                    <a:pt x="38" y="367"/>
                  </a:lnTo>
                  <a:lnTo>
                    <a:pt x="39" y="364"/>
                  </a:lnTo>
                  <a:lnTo>
                    <a:pt x="41" y="362"/>
                  </a:lnTo>
                  <a:lnTo>
                    <a:pt x="43" y="361"/>
                  </a:lnTo>
                  <a:lnTo>
                    <a:pt x="45" y="359"/>
                  </a:lnTo>
                  <a:lnTo>
                    <a:pt x="47" y="356"/>
                  </a:lnTo>
                  <a:lnTo>
                    <a:pt x="45" y="356"/>
                  </a:lnTo>
                  <a:lnTo>
                    <a:pt x="44" y="358"/>
                  </a:lnTo>
                  <a:lnTo>
                    <a:pt x="44" y="356"/>
                  </a:lnTo>
                  <a:lnTo>
                    <a:pt x="43" y="358"/>
                  </a:lnTo>
                  <a:lnTo>
                    <a:pt x="43" y="359"/>
                  </a:lnTo>
                  <a:lnTo>
                    <a:pt x="43" y="358"/>
                  </a:lnTo>
                  <a:lnTo>
                    <a:pt x="42" y="359"/>
                  </a:lnTo>
                  <a:lnTo>
                    <a:pt x="41" y="359"/>
                  </a:lnTo>
                  <a:lnTo>
                    <a:pt x="39" y="359"/>
                  </a:lnTo>
                  <a:lnTo>
                    <a:pt x="38" y="361"/>
                  </a:lnTo>
                  <a:lnTo>
                    <a:pt x="38" y="359"/>
                  </a:lnTo>
                  <a:lnTo>
                    <a:pt x="39" y="356"/>
                  </a:lnTo>
                  <a:lnTo>
                    <a:pt x="38" y="356"/>
                  </a:lnTo>
                  <a:lnTo>
                    <a:pt x="36" y="355"/>
                  </a:lnTo>
                  <a:lnTo>
                    <a:pt x="36" y="353"/>
                  </a:lnTo>
                  <a:lnTo>
                    <a:pt x="37" y="352"/>
                  </a:lnTo>
                  <a:lnTo>
                    <a:pt x="36" y="350"/>
                  </a:lnTo>
                  <a:lnTo>
                    <a:pt x="35" y="349"/>
                  </a:lnTo>
                  <a:lnTo>
                    <a:pt x="30" y="353"/>
                  </a:lnTo>
                  <a:lnTo>
                    <a:pt x="29" y="358"/>
                  </a:lnTo>
                  <a:lnTo>
                    <a:pt x="24" y="364"/>
                  </a:lnTo>
                  <a:lnTo>
                    <a:pt x="27" y="359"/>
                  </a:lnTo>
                  <a:lnTo>
                    <a:pt x="27" y="355"/>
                  </a:lnTo>
                  <a:lnTo>
                    <a:pt x="25" y="356"/>
                  </a:lnTo>
                  <a:lnTo>
                    <a:pt x="23" y="358"/>
                  </a:lnTo>
                  <a:lnTo>
                    <a:pt x="26" y="356"/>
                  </a:lnTo>
                  <a:lnTo>
                    <a:pt x="29" y="354"/>
                  </a:lnTo>
                  <a:lnTo>
                    <a:pt x="29" y="353"/>
                  </a:lnTo>
                  <a:lnTo>
                    <a:pt x="23" y="355"/>
                  </a:lnTo>
                  <a:lnTo>
                    <a:pt x="19" y="359"/>
                  </a:lnTo>
                  <a:lnTo>
                    <a:pt x="21" y="355"/>
                  </a:lnTo>
                  <a:lnTo>
                    <a:pt x="19" y="356"/>
                  </a:lnTo>
                  <a:lnTo>
                    <a:pt x="18" y="355"/>
                  </a:lnTo>
                  <a:lnTo>
                    <a:pt x="20" y="355"/>
                  </a:lnTo>
                  <a:lnTo>
                    <a:pt x="19" y="354"/>
                  </a:lnTo>
                  <a:lnTo>
                    <a:pt x="18" y="354"/>
                  </a:lnTo>
                  <a:lnTo>
                    <a:pt x="15" y="355"/>
                  </a:lnTo>
                  <a:lnTo>
                    <a:pt x="14" y="355"/>
                  </a:lnTo>
                  <a:lnTo>
                    <a:pt x="14" y="354"/>
                  </a:lnTo>
                  <a:lnTo>
                    <a:pt x="13" y="354"/>
                  </a:lnTo>
                  <a:lnTo>
                    <a:pt x="10" y="354"/>
                  </a:lnTo>
                  <a:lnTo>
                    <a:pt x="12" y="352"/>
                  </a:lnTo>
                  <a:lnTo>
                    <a:pt x="13" y="350"/>
                  </a:lnTo>
                  <a:lnTo>
                    <a:pt x="12" y="350"/>
                  </a:lnTo>
                  <a:lnTo>
                    <a:pt x="13" y="349"/>
                  </a:lnTo>
                  <a:lnTo>
                    <a:pt x="12" y="349"/>
                  </a:lnTo>
                  <a:lnTo>
                    <a:pt x="13" y="348"/>
                  </a:lnTo>
                  <a:lnTo>
                    <a:pt x="13" y="347"/>
                  </a:lnTo>
                  <a:lnTo>
                    <a:pt x="17" y="345"/>
                  </a:lnTo>
                  <a:lnTo>
                    <a:pt x="19" y="344"/>
                  </a:lnTo>
                  <a:lnTo>
                    <a:pt x="18" y="344"/>
                  </a:lnTo>
                  <a:lnTo>
                    <a:pt x="19" y="343"/>
                  </a:lnTo>
                  <a:lnTo>
                    <a:pt x="18" y="343"/>
                  </a:lnTo>
                  <a:lnTo>
                    <a:pt x="19" y="342"/>
                  </a:lnTo>
                  <a:lnTo>
                    <a:pt x="20" y="341"/>
                  </a:lnTo>
                  <a:lnTo>
                    <a:pt x="17" y="341"/>
                  </a:lnTo>
                  <a:lnTo>
                    <a:pt x="15" y="341"/>
                  </a:lnTo>
                  <a:lnTo>
                    <a:pt x="13" y="339"/>
                  </a:lnTo>
                  <a:lnTo>
                    <a:pt x="14" y="338"/>
                  </a:lnTo>
                  <a:lnTo>
                    <a:pt x="17" y="337"/>
                  </a:lnTo>
                  <a:lnTo>
                    <a:pt x="19" y="337"/>
                  </a:lnTo>
                  <a:lnTo>
                    <a:pt x="21" y="337"/>
                  </a:lnTo>
                  <a:lnTo>
                    <a:pt x="23" y="339"/>
                  </a:lnTo>
                  <a:lnTo>
                    <a:pt x="25" y="341"/>
                  </a:lnTo>
                  <a:lnTo>
                    <a:pt x="26" y="341"/>
                  </a:lnTo>
                  <a:lnTo>
                    <a:pt x="27" y="339"/>
                  </a:lnTo>
                  <a:lnTo>
                    <a:pt x="29" y="339"/>
                  </a:lnTo>
                  <a:lnTo>
                    <a:pt x="31" y="339"/>
                  </a:lnTo>
                  <a:lnTo>
                    <a:pt x="32" y="338"/>
                  </a:lnTo>
                  <a:lnTo>
                    <a:pt x="33" y="338"/>
                  </a:lnTo>
                  <a:lnTo>
                    <a:pt x="35" y="337"/>
                  </a:lnTo>
                  <a:lnTo>
                    <a:pt x="36" y="337"/>
                  </a:lnTo>
                  <a:lnTo>
                    <a:pt x="36" y="335"/>
                  </a:lnTo>
                  <a:lnTo>
                    <a:pt x="37" y="335"/>
                  </a:lnTo>
                  <a:lnTo>
                    <a:pt x="37" y="332"/>
                  </a:lnTo>
                  <a:lnTo>
                    <a:pt x="38" y="331"/>
                  </a:lnTo>
                  <a:lnTo>
                    <a:pt x="36" y="332"/>
                  </a:lnTo>
                  <a:lnTo>
                    <a:pt x="32" y="335"/>
                  </a:lnTo>
                  <a:lnTo>
                    <a:pt x="31" y="336"/>
                  </a:lnTo>
                  <a:lnTo>
                    <a:pt x="31" y="332"/>
                  </a:lnTo>
                  <a:lnTo>
                    <a:pt x="30" y="330"/>
                  </a:lnTo>
                  <a:lnTo>
                    <a:pt x="30" y="327"/>
                  </a:lnTo>
                  <a:lnTo>
                    <a:pt x="27" y="327"/>
                  </a:lnTo>
                  <a:lnTo>
                    <a:pt x="25" y="329"/>
                  </a:lnTo>
                  <a:lnTo>
                    <a:pt x="24" y="331"/>
                  </a:lnTo>
                  <a:lnTo>
                    <a:pt x="24" y="329"/>
                  </a:lnTo>
                  <a:lnTo>
                    <a:pt x="21" y="329"/>
                  </a:lnTo>
                  <a:lnTo>
                    <a:pt x="20" y="327"/>
                  </a:lnTo>
                  <a:lnTo>
                    <a:pt x="19" y="327"/>
                  </a:lnTo>
                  <a:lnTo>
                    <a:pt x="18" y="326"/>
                  </a:lnTo>
                  <a:lnTo>
                    <a:pt x="18" y="321"/>
                  </a:lnTo>
                  <a:lnTo>
                    <a:pt x="15" y="324"/>
                  </a:lnTo>
                  <a:lnTo>
                    <a:pt x="17" y="327"/>
                  </a:lnTo>
                  <a:lnTo>
                    <a:pt x="17" y="332"/>
                  </a:lnTo>
                  <a:lnTo>
                    <a:pt x="15" y="335"/>
                  </a:lnTo>
                  <a:lnTo>
                    <a:pt x="12" y="329"/>
                  </a:lnTo>
                  <a:lnTo>
                    <a:pt x="10" y="329"/>
                  </a:lnTo>
                  <a:lnTo>
                    <a:pt x="9" y="329"/>
                  </a:lnTo>
                  <a:lnTo>
                    <a:pt x="8" y="331"/>
                  </a:lnTo>
                  <a:lnTo>
                    <a:pt x="8" y="327"/>
                  </a:lnTo>
                  <a:lnTo>
                    <a:pt x="7" y="326"/>
                  </a:lnTo>
                  <a:lnTo>
                    <a:pt x="6" y="326"/>
                  </a:lnTo>
                  <a:lnTo>
                    <a:pt x="4" y="326"/>
                  </a:lnTo>
                  <a:lnTo>
                    <a:pt x="4" y="325"/>
                  </a:lnTo>
                  <a:lnTo>
                    <a:pt x="6" y="323"/>
                  </a:lnTo>
                  <a:lnTo>
                    <a:pt x="8" y="320"/>
                  </a:lnTo>
                  <a:lnTo>
                    <a:pt x="7" y="319"/>
                  </a:lnTo>
                  <a:lnTo>
                    <a:pt x="8" y="317"/>
                  </a:lnTo>
                  <a:lnTo>
                    <a:pt x="8" y="314"/>
                  </a:lnTo>
                  <a:lnTo>
                    <a:pt x="9" y="313"/>
                  </a:lnTo>
                  <a:lnTo>
                    <a:pt x="10" y="314"/>
                  </a:lnTo>
                  <a:lnTo>
                    <a:pt x="10" y="313"/>
                  </a:lnTo>
                  <a:lnTo>
                    <a:pt x="12" y="313"/>
                  </a:lnTo>
                  <a:lnTo>
                    <a:pt x="14" y="311"/>
                  </a:lnTo>
                  <a:lnTo>
                    <a:pt x="15" y="307"/>
                  </a:lnTo>
                  <a:lnTo>
                    <a:pt x="15" y="308"/>
                  </a:lnTo>
                  <a:lnTo>
                    <a:pt x="17" y="308"/>
                  </a:lnTo>
                  <a:lnTo>
                    <a:pt x="18" y="307"/>
                  </a:lnTo>
                  <a:lnTo>
                    <a:pt x="19" y="307"/>
                  </a:lnTo>
                  <a:lnTo>
                    <a:pt x="20" y="306"/>
                  </a:lnTo>
                  <a:lnTo>
                    <a:pt x="23" y="305"/>
                  </a:lnTo>
                  <a:lnTo>
                    <a:pt x="17" y="302"/>
                  </a:lnTo>
                  <a:lnTo>
                    <a:pt x="12" y="300"/>
                  </a:lnTo>
                  <a:lnTo>
                    <a:pt x="10" y="302"/>
                  </a:lnTo>
                  <a:lnTo>
                    <a:pt x="10" y="305"/>
                  </a:lnTo>
                  <a:lnTo>
                    <a:pt x="9" y="305"/>
                  </a:lnTo>
                  <a:lnTo>
                    <a:pt x="8" y="306"/>
                  </a:lnTo>
                  <a:lnTo>
                    <a:pt x="6" y="308"/>
                  </a:lnTo>
                  <a:lnTo>
                    <a:pt x="6" y="306"/>
                  </a:lnTo>
                  <a:lnTo>
                    <a:pt x="6" y="305"/>
                  </a:lnTo>
                  <a:lnTo>
                    <a:pt x="7" y="303"/>
                  </a:lnTo>
                  <a:lnTo>
                    <a:pt x="7" y="301"/>
                  </a:lnTo>
                  <a:lnTo>
                    <a:pt x="8" y="300"/>
                  </a:lnTo>
                  <a:lnTo>
                    <a:pt x="9" y="300"/>
                  </a:lnTo>
                  <a:lnTo>
                    <a:pt x="10" y="300"/>
                  </a:lnTo>
                  <a:lnTo>
                    <a:pt x="8" y="299"/>
                  </a:lnTo>
                  <a:lnTo>
                    <a:pt x="6" y="297"/>
                  </a:lnTo>
                  <a:lnTo>
                    <a:pt x="6" y="296"/>
                  </a:lnTo>
                  <a:lnTo>
                    <a:pt x="7" y="296"/>
                  </a:lnTo>
                  <a:lnTo>
                    <a:pt x="9" y="299"/>
                  </a:lnTo>
                  <a:lnTo>
                    <a:pt x="15" y="301"/>
                  </a:lnTo>
                  <a:lnTo>
                    <a:pt x="24" y="305"/>
                  </a:lnTo>
                  <a:lnTo>
                    <a:pt x="19" y="300"/>
                  </a:lnTo>
                  <a:lnTo>
                    <a:pt x="18" y="300"/>
                  </a:lnTo>
                  <a:lnTo>
                    <a:pt x="18" y="301"/>
                  </a:lnTo>
                  <a:lnTo>
                    <a:pt x="17" y="300"/>
                  </a:lnTo>
                  <a:lnTo>
                    <a:pt x="15" y="297"/>
                  </a:lnTo>
                  <a:lnTo>
                    <a:pt x="12" y="294"/>
                  </a:lnTo>
                  <a:lnTo>
                    <a:pt x="9" y="291"/>
                  </a:lnTo>
                  <a:lnTo>
                    <a:pt x="9" y="294"/>
                  </a:lnTo>
                  <a:lnTo>
                    <a:pt x="9" y="296"/>
                  </a:lnTo>
                  <a:lnTo>
                    <a:pt x="8" y="295"/>
                  </a:lnTo>
                  <a:lnTo>
                    <a:pt x="7" y="295"/>
                  </a:lnTo>
                  <a:lnTo>
                    <a:pt x="7" y="293"/>
                  </a:lnTo>
                  <a:lnTo>
                    <a:pt x="6" y="293"/>
                  </a:lnTo>
                  <a:lnTo>
                    <a:pt x="6" y="294"/>
                  </a:lnTo>
                  <a:lnTo>
                    <a:pt x="2" y="295"/>
                  </a:lnTo>
                  <a:lnTo>
                    <a:pt x="0" y="295"/>
                  </a:lnTo>
                  <a:lnTo>
                    <a:pt x="2" y="293"/>
                  </a:lnTo>
                  <a:lnTo>
                    <a:pt x="2" y="291"/>
                  </a:lnTo>
                  <a:lnTo>
                    <a:pt x="6" y="291"/>
                  </a:lnTo>
                  <a:lnTo>
                    <a:pt x="7" y="291"/>
                  </a:lnTo>
                  <a:lnTo>
                    <a:pt x="8" y="291"/>
                  </a:lnTo>
                  <a:lnTo>
                    <a:pt x="4" y="287"/>
                  </a:lnTo>
                  <a:lnTo>
                    <a:pt x="3" y="285"/>
                  </a:lnTo>
                  <a:lnTo>
                    <a:pt x="0" y="284"/>
                  </a:lnTo>
                  <a:lnTo>
                    <a:pt x="0" y="283"/>
                  </a:lnTo>
                  <a:lnTo>
                    <a:pt x="1" y="283"/>
                  </a:lnTo>
                  <a:lnTo>
                    <a:pt x="3" y="284"/>
                  </a:lnTo>
                  <a:lnTo>
                    <a:pt x="4" y="284"/>
                  </a:lnTo>
                  <a:lnTo>
                    <a:pt x="6" y="284"/>
                  </a:lnTo>
                  <a:lnTo>
                    <a:pt x="9" y="287"/>
                  </a:lnTo>
                  <a:lnTo>
                    <a:pt x="9" y="289"/>
                  </a:lnTo>
                  <a:lnTo>
                    <a:pt x="8" y="288"/>
                  </a:lnTo>
                  <a:lnTo>
                    <a:pt x="8" y="289"/>
                  </a:lnTo>
                  <a:lnTo>
                    <a:pt x="7" y="287"/>
                  </a:lnTo>
                  <a:lnTo>
                    <a:pt x="4" y="287"/>
                  </a:lnTo>
                  <a:lnTo>
                    <a:pt x="8" y="290"/>
                  </a:lnTo>
                  <a:lnTo>
                    <a:pt x="15" y="296"/>
                  </a:lnTo>
                  <a:lnTo>
                    <a:pt x="17" y="296"/>
                  </a:lnTo>
                  <a:lnTo>
                    <a:pt x="19" y="295"/>
                  </a:lnTo>
                  <a:lnTo>
                    <a:pt x="20" y="296"/>
                  </a:lnTo>
                  <a:lnTo>
                    <a:pt x="19" y="297"/>
                  </a:lnTo>
                  <a:lnTo>
                    <a:pt x="19" y="299"/>
                  </a:lnTo>
                  <a:lnTo>
                    <a:pt x="24" y="303"/>
                  </a:lnTo>
                  <a:lnTo>
                    <a:pt x="26" y="303"/>
                  </a:lnTo>
                  <a:lnTo>
                    <a:pt x="27" y="301"/>
                  </a:lnTo>
                  <a:lnTo>
                    <a:pt x="29" y="300"/>
                  </a:lnTo>
                  <a:lnTo>
                    <a:pt x="27" y="297"/>
                  </a:lnTo>
                  <a:lnTo>
                    <a:pt x="30" y="297"/>
                  </a:lnTo>
                  <a:lnTo>
                    <a:pt x="32" y="300"/>
                  </a:lnTo>
                  <a:lnTo>
                    <a:pt x="33" y="301"/>
                  </a:lnTo>
                  <a:lnTo>
                    <a:pt x="36" y="302"/>
                  </a:lnTo>
                  <a:lnTo>
                    <a:pt x="36" y="299"/>
                  </a:lnTo>
                  <a:lnTo>
                    <a:pt x="37" y="295"/>
                  </a:lnTo>
                  <a:lnTo>
                    <a:pt x="41" y="293"/>
                  </a:lnTo>
                  <a:lnTo>
                    <a:pt x="42" y="291"/>
                  </a:lnTo>
                  <a:lnTo>
                    <a:pt x="45" y="291"/>
                  </a:lnTo>
                  <a:lnTo>
                    <a:pt x="47" y="293"/>
                  </a:lnTo>
                  <a:lnTo>
                    <a:pt x="49" y="293"/>
                  </a:lnTo>
                  <a:lnTo>
                    <a:pt x="50" y="294"/>
                  </a:lnTo>
                  <a:lnTo>
                    <a:pt x="49" y="294"/>
                  </a:lnTo>
                  <a:lnTo>
                    <a:pt x="49" y="296"/>
                  </a:lnTo>
                  <a:lnTo>
                    <a:pt x="50" y="296"/>
                  </a:lnTo>
                  <a:lnTo>
                    <a:pt x="53" y="296"/>
                  </a:lnTo>
                  <a:lnTo>
                    <a:pt x="54" y="297"/>
                  </a:lnTo>
                  <a:lnTo>
                    <a:pt x="54" y="296"/>
                  </a:lnTo>
                  <a:lnTo>
                    <a:pt x="54" y="294"/>
                  </a:lnTo>
                  <a:lnTo>
                    <a:pt x="53" y="295"/>
                  </a:lnTo>
                  <a:lnTo>
                    <a:pt x="51" y="295"/>
                  </a:lnTo>
                  <a:lnTo>
                    <a:pt x="53" y="294"/>
                  </a:lnTo>
                  <a:lnTo>
                    <a:pt x="53" y="293"/>
                  </a:lnTo>
                  <a:lnTo>
                    <a:pt x="51" y="293"/>
                  </a:lnTo>
                  <a:lnTo>
                    <a:pt x="50" y="291"/>
                  </a:lnTo>
                  <a:lnTo>
                    <a:pt x="53" y="290"/>
                  </a:lnTo>
                  <a:lnTo>
                    <a:pt x="53" y="289"/>
                  </a:lnTo>
                  <a:lnTo>
                    <a:pt x="54" y="288"/>
                  </a:lnTo>
                  <a:lnTo>
                    <a:pt x="51" y="289"/>
                  </a:lnTo>
                  <a:lnTo>
                    <a:pt x="49" y="288"/>
                  </a:lnTo>
                  <a:lnTo>
                    <a:pt x="51" y="287"/>
                  </a:lnTo>
                  <a:lnTo>
                    <a:pt x="51" y="285"/>
                  </a:lnTo>
                  <a:lnTo>
                    <a:pt x="53" y="287"/>
                  </a:lnTo>
                  <a:lnTo>
                    <a:pt x="55" y="287"/>
                  </a:lnTo>
                  <a:lnTo>
                    <a:pt x="53" y="285"/>
                  </a:lnTo>
                  <a:lnTo>
                    <a:pt x="56" y="285"/>
                  </a:lnTo>
                  <a:lnTo>
                    <a:pt x="59" y="287"/>
                  </a:lnTo>
                  <a:lnTo>
                    <a:pt x="61" y="285"/>
                  </a:lnTo>
                  <a:lnTo>
                    <a:pt x="61" y="283"/>
                  </a:lnTo>
                  <a:lnTo>
                    <a:pt x="62" y="284"/>
                  </a:lnTo>
                  <a:lnTo>
                    <a:pt x="63" y="285"/>
                  </a:lnTo>
                  <a:lnTo>
                    <a:pt x="63" y="288"/>
                  </a:lnTo>
                  <a:lnTo>
                    <a:pt x="65" y="288"/>
                  </a:lnTo>
                  <a:lnTo>
                    <a:pt x="66" y="285"/>
                  </a:lnTo>
                  <a:lnTo>
                    <a:pt x="67" y="282"/>
                  </a:lnTo>
                  <a:lnTo>
                    <a:pt x="66" y="282"/>
                  </a:lnTo>
                  <a:lnTo>
                    <a:pt x="68" y="282"/>
                  </a:lnTo>
                  <a:lnTo>
                    <a:pt x="67" y="281"/>
                  </a:lnTo>
                  <a:lnTo>
                    <a:pt x="69" y="281"/>
                  </a:lnTo>
                  <a:lnTo>
                    <a:pt x="72" y="279"/>
                  </a:lnTo>
                  <a:lnTo>
                    <a:pt x="71" y="281"/>
                  </a:lnTo>
                  <a:lnTo>
                    <a:pt x="71" y="282"/>
                  </a:lnTo>
                  <a:lnTo>
                    <a:pt x="73" y="282"/>
                  </a:lnTo>
                  <a:lnTo>
                    <a:pt x="74" y="279"/>
                  </a:lnTo>
                  <a:lnTo>
                    <a:pt x="77" y="278"/>
                  </a:lnTo>
                  <a:lnTo>
                    <a:pt x="77" y="276"/>
                  </a:lnTo>
                  <a:lnTo>
                    <a:pt x="76" y="275"/>
                  </a:lnTo>
                  <a:lnTo>
                    <a:pt x="74" y="275"/>
                  </a:lnTo>
                  <a:lnTo>
                    <a:pt x="72" y="276"/>
                  </a:lnTo>
                  <a:lnTo>
                    <a:pt x="69" y="276"/>
                  </a:lnTo>
                  <a:lnTo>
                    <a:pt x="69" y="273"/>
                  </a:lnTo>
                  <a:lnTo>
                    <a:pt x="72" y="272"/>
                  </a:lnTo>
                  <a:lnTo>
                    <a:pt x="72" y="271"/>
                  </a:lnTo>
                  <a:lnTo>
                    <a:pt x="72" y="270"/>
                  </a:lnTo>
                  <a:lnTo>
                    <a:pt x="67" y="266"/>
                  </a:lnTo>
                  <a:lnTo>
                    <a:pt x="66" y="267"/>
                  </a:lnTo>
                  <a:lnTo>
                    <a:pt x="65" y="269"/>
                  </a:lnTo>
                  <a:lnTo>
                    <a:pt x="65" y="266"/>
                  </a:lnTo>
                  <a:lnTo>
                    <a:pt x="66" y="266"/>
                  </a:lnTo>
                  <a:lnTo>
                    <a:pt x="65" y="264"/>
                  </a:lnTo>
                  <a:lnTo>
                    <a:pt x="63" y="265"/>
                  </a:lnTo>
                  <a:lnTo>
                    <a:pt x="62" y="266"/>
                  </a:lnTo>
                  <a:lnTo>
                    <a:pt x="60" y="266"/>
                  </a:lnTo>
                  <a:lnTo>
                    <a:pt x="61" y="265"/>
                  </a:lnTo>
                  <a:lnTo>
                    <a:pt x="62" y="264"/>
                  </a:lnTo>
                  <a:lnTo>
                    <a:pt x="61" y="264"/>
                  </a:lnTo>
                  <a:lnTo>
                    <a:pt x="62" y="263"/>
                  </a:lnTo>
                  <a:lnTo>
                    <a:pt x="60" y="264"/>
                  </a:lnTo>
                  <a:lnTo>
                    <a:pt x="57" y="266"/>
                  </a:lnTo>
                  <a:lnTo>
                    <a:pt x="57" y="265"/>
                  </a:lnTo>
                  <a:lnTo>
                    <a:pt x="56" y="265"/>
                  </a:lnTo>
                  <a:lnTo>
                    <a:pt x="53" y="265"/>
                  </a:lnTo>
                  <a:lnTo>
                    <a:pt x="56" y="264"/>
                  </a:lnTo>
                  <a:lnTo>
                    <a:pt x="57" y="263"/>
                  </a:lnTo>
                  <a:lnTo>
                    <a:pt x="60" y="263"/>
                  </a:lnTo>
                  <a:lnTo>
                    <a:pt x="61" y="261"/>
                  </a:lnTo>
                  <a:lnTo>
                    <a:pt x="59" y="258"/>
                  </a:lnTo>
                  <a:lnTo>
                    <a:pt x="59" y="257"/>
                  </a:lnTo>
                  <a:lnTo>
                    <a:pt x="61" y="257"/>
                  </a:lnTo>
                  <a:lnTo>
                    <a:pt x="62" y="255"/>
                  </a:lnTo>
                  <a:lnTo>
                    <a:pt x="65" y="255"/>
                  </a:lnTo>
                  <a:lnTo>
                    <a:pt x="62" y="258"/>
                  </a:lnTo>
                  <a:lnTo>
                    <a:pt x="61" y="260"/>
                  </a:lnTo>
                  <a:lnTo>
                    <a:pt x="61" y="259"/>
                  </a:lnTo>
                  <a:lnTo>
                    <a:pt x="60" y="258"/>
                  </a:lnTo>
                  <a:lnTo>
                    <a:pt x="61" y="261"/>
                  </a:lnTo>
                  <a:lnTo>
                    <a:pt x="62" y="261"/>
                  </a:lnTo>
                  <a:lnTo>
                    <a:pt x="63" y="261"/>
                  </a:lnTo>
                  <a:lnTo>
                    <a:pt x="66" y="261"/>
                  </a:lnTo>
                  <a:lnTo>
                    <a:pt x="65" y="264"/>
                  </a:lnTo>
                  <a:lnTo>
                    <a:pt x="68" y="266"/>
                  </a:lnTo>
                  <a:lnTo>
                    <a:pt x="72" y="269"/>
                  </a:lnTo>
                  <a:lnTo>
                    <a:pt x="73" y="270"/>
                  </a:lnTo>
                  <a:lnTo>
                    <a:pt x="74" y="269"/>
                  </a:lnTo>
                  <a:lnTo>
                    <a:pt x="73" y="267"/>
                  </a:lnTo>
                  <a:lnTo>
                    <a:pt x="73" y="266"/>
                  </a:lnTo>
                  <a:lnTo>
                    <a:pt x="73" y="265"/>
                  </a:lnTo>
                  <a:lnTo>
                    <a:pt x="72" y="264"/>
                  </a:lnTo>
                  <a:lnTo>
                    <a:pt x="73" y="261"/>
                  </a:lnTo>
                  <a:lnTo>
                    <a:pt x="77" y="263"/>
                  </a:lnTo>
                  <a:lnTo>
                    <a:pt x="74" y="260"/>
                  </a:lnTo>
                  <a:lnTo>
                    <a:pt x="71" y="263"/>
                  </a:lnTo>
                  <a:lnTo>
                    <a:pt x="69" y="265"/>
                  </a:lnTo>
                  <a:lnTo>
                    <a:pt x="69" y="263"/>
                  </a:lnTo>
                  <a:lnTo>
                    <a:pt x="69" y="261"/>
                  </a:lnTo>
                  <a:lnTo>
                    <a:pt x="69" y="259"/>
                  </a:lnTo>
                  <a:lnTo>
                    <a:pt x="71" y="258"/>
                  </a:lnTo>
                  <a:lnTo>
                    <a:pt x="72" y="255"/>
                  </a:lnTo>
                  <a:lnTo>
                    <a:pt x="73" y="254"/>
                  </a:lnTo>
                  <a:lnTo>
                    <a:pt x="72" y="253"/>
                  </a:lnTo>
                  <a:lnTo>
                    <a:pt x="74" y="252"/>
                  </a:lnTo>
                  <a:lnTo>
                    <a:pt x="76" y="251"/>
                  </a:lnTo>
                  <a:lnTo>
                    <a:pt x="76" y="249"/>
                  </a:lnTo>
                  <a:lnTo>
                    <a:pt x="74" y="249"/>
                  </a:lnTo>
                  <a:lnTo>
                    <a:pt x="74" y="248"/>
                  </a:lnTo>
                  <a:lnTo>
                    <a:pt x="73" y="248"/>
                  </a:lnTo>
                  <a:lnTo>
                    <a:pt x="74" y="246"/>
                  </a:lnTo>
                  <a:lnTo>
                    <a:pt x="76" y="245"/>
                  </a:lnTo>
                  <a:lnTo>
                    <a:pt x="77" y="243"/>
                  </a:lnTo>
                  <a:lnTo>
                    <a:pt x="76" y="241"/>
                  </a:lnTo>
                  <a:lnTo>
                    <a:pt x="74" y="243"/>
                  </a:lnTo>
                  <a:lnTo>
                    <a:pt x="72" y="245"/>
                  </a:lnTo>
                  <a:lnTo>
                    <a:pt x="72" y="241"/>
                  </a:lnTo>
                  <a:lnTo>
                    <a:pt x="73" y="240"/>
                  </a:lnTo>
                  <a:lnTo>
                    <a:pt x="74" y="238"/>
                  </a:lnTo>
                  <a:lnTo>
                    <a:pt x="73" y="237"/>
                  </a:lnTo>
                  <a:lnTo>
                    <a:pt x="74" y="237"/>
                  </a:lnTo>
                  <a:lnTo>
                    <a:pt x="77" y="236"/>
                  </a:lnTo>
                  <a:lnTo>
                    <a:pt x="76" y="236"/>
                  </a:lnTo>
                  <a:lnTo>
                    <a:pt x="76" y="235"/>
                  </a:lnTo>
                  <a:lnTo>
                    <a:pt x="72" y="236"/>
                  </a:lnTo>
                  <a:lnTo>
                    <a:pt x="73" y="234"/>
                  </a:lnTo>
                  <a:lnTo>
                    <a:pt x="76" y="231"/>
                  </a:lnTo>
                  <a:lnTo>
                    <a:pt x="78" y="231"/>
                  </a:lnTo>
                  <a:lnTo>
                    <a:pt x="79" y="231"/>
                  </a:lnTo>
                  <a:lnTo>
                    <a:pt x="82" y="229"/>
                  </a:lnTo>
                  <a:lnTo>
                    <a:pt x="84" y="230"/>
                  </a:lnTo>
                  <a:lnTo>
                    <a:pt x="86" y="228"/>
                  </a:lnTo>
                  <a:lnTo>
                    <a:pt x="85" y="230"/>
                  </a:lnTo>
                  <a:lnTo>
                    <a:pt x="88" y="231"/>
                  </a:lnTo>
                  <a:lnTo>
                    <a:pt x="89" y="229"/>
                  </a:lnTo>
                  <a:lnTo>
                    <a:pt x="90" y="230"/>
                  </a:lnTo>
                  <a:lnTo>
                    <a:pt x="91" y="229"/>
                  </a:lnTo>
                  <a:lnTo>
                    <a:pt x="90" y="228"/>
                  </a:lnTo>
                  <a:lnTo>
                    <a:pt x="91" y="224"/>
                  </a:lnTo>
                  <a:lnTo>
                    <a:pt x="92" y="223"/>
                  </a:lnTo>
                  <a:lnTo>
                    <a:pt x="94" y="224"/>
                  </a:lnTo>
                  <a:lnTo>
                    <a:pt x="92" y="225"/>
                  </a:lnTo>
                  <a:lnTo>
                    <a:pt x="95" y="226"/>
                  </a:lnTo>
                  <a:lnTo>
                    <a:pt x="96" y="224"/>
                  </a:lnTo>
                  <a:lnTo>
                    <a:pt x="96" y="225"/>
                  </a:lnTo>
                  <a:lnTo>
                    <a:pt x="96" y="224"/>
                  </a:lnTo>
                  <a:lnTo>
                    <a:pt x="95" y="222"/>
                  </a:lnTo>
                  <a:lnTo>
                    <a:pt x="91" y="222"/>
                  </a:lnTo>
                  <a:lnTo>
                    <a:pt x="89" y="224"/>
                  </a:lnTo>
                  <a:lnTo>
                    <a:pt x="89" y="223"/>
                  </a:lnTo>
                  <a:lnTo>
                    <a:pt x="89" y="222"/>
                  </a:lnTo>
                  <a:lnTo>
                    <a:pt x="90" y="220"/>
                  </a:lnTo>
                  <a:lnTo>
                    <a:pt x="89" y="219"/>
                  </a:lnTo>
                  <a:lnTo>
                    <a:pt x="88" y="220"/>
                  </a:lnTo>
                  <a:lnTo>
                    <a:pt x="86" y="220"/>
                  </a:lnTo>
                  <a:lnTo>
                    <a:pt x="86" y="223"/>
                  </a:lnTo>
                  <a:lnTo>
                    <a:pt x="83" y="224"/>
                  </a:lnTo>
                  <a:lnTo>
                    <a:pt x="83" y="225"/>
                  </a:lnTo>
                  <a:lnTo>
                    <a:pt x="82" y="223"/>
                  </a:lnTo>
                  <a:lnTo>
                    <a:pt x="80" y="220"/>
                  </a:lnTo>
                  <a:lnTo>
                    <a:pt x="82" y="220"/>
                  </a:lnTo>
                  <a:lnTo>
                    <a:pt x="82" y="219"/>
                  </a:lnTo>
                  <a:lnTo>
                    <a:pt x="82" y="217"/>
                  </a:lnTo>
                  <a:lnTo>
                    <a:pt x="82" y="218"/>
                  </a:lnTo>
                  <a:lnTo>
                    <a:pt x="80" y="216"/>
                  </a:lnTo>
                  <a:lnTo>
                    <a:pt x="78" y="214"/>
                  </a:lnTo>
                  <a:lnTo>
                    <a:pt x="74" y="218"/>
                  </a:lnTo>
                  <a:lnTo>
                    <a:pt x="73" y="220"/>
                  </a:lnTo>
                  <a:lnTo>
                    <a:pt x="74" y="217"/>
                  </a:lnTo>
                  <a:lnTo>
                    <a:pt x="73" y="213"/>
                  </a:lnTo>
                  <a:lnTo>
                    <a:pt x="72" y="217"/>
                  </a:lnTo>
                  <a:lnTo>
                    <a:pt x="71" y="216"/>
                  </a:lnTo>
                  <a:lnTo>
                    <a:pt x="68" y="217"/>
                  </a:lnTo>
                  <a:lnTo>
                    <a:pt x="68" y="216"/>
                  </a:lnTo>
                  <a:lnTo>
                    <a:pt x="67" y="217"/>
                  </a:lnTo>
                  <a:lnTo>
                    <a:pt x="66" y="219"/>
                  </a:lnTo>
                  <a:lnTo>
                    <a:pt x="66" y="220"/>
                  </a:lnTo>
                  <a:lnTo>
                    <a:pt x="66" y="222"/>
                  </a:lnTo>
                  <a:lnTo>
                    <a:pt x="63" y="224"/>
                  </a:lnTo>
                  <a:lnTo>
                    <a:pt x="62" y="223"/>
                  </a:lnTo>
                  <a:lnTo>
                    <a:pt x="61" y="222"/>
                  </a:lnTo>
                  <a:lnTo>
                    <a:pt x="60" y="224"/>
                  </a:lnTo>
                  <a:lnTo>
                    <a:pt x="60" y="228"/>
                  </a:lnTo>
                  <a:lnTo>
                    <a:pt x="59" y="226"/>
                  </a:lnTo>
                  <a:lnTo>
                    <a:pt x="59" y="223"/>
                  </a:lnTo>
                  <a:lnTo>
                    <a:pt x="57" y="225"/>
                  </a:lnTo>
                  <a:lnTo>
                    <a:pt x="57" y="226"/>
                  </a:lnTo>
                  <a:lnTo>
                    <a:pt x="56" y="226"/>
                  </a:lnTo>
                  <a:lnTo>
                    <a:pt x="54" y="226"/>
                  </a:lnTo>
                  <a:lnTo>
                    <a:pt x="54" y="229"/>
                  </a:lnTo>
                  <a:lnTo>
                    <a:pt x="51" y="230"/>
                  </a:lnTo>
                  <a:lnTo>
                    <a:pt x="51" y="231"/>
                  </a:lnTo>
                  <a:lnTo>
                    <a:pt x="51" y="228"/>
                  </a:lnTo>
                  <a:lnTo>
                    <a:pt x="53" y="225"/>
                  </a:lnTo>
                  <a:lnTo>
                    <a:pt x="50" y="225"/>
                  </a:lnTo>
                  <a:lnTo>
                    <a:pt x="49" y="225"/>
                  </a:lnTo>
                  <a:lnTo>
                    <a:pt x="51" y="224"/>
                  </a:lnTo>
                  <a:lnTo>
                    <a:pt x="53" y="222"/>
                  </a:lnTo>
                  <a:lnTo>
                    <a:pt x="54" y="220"/>
                  </a:lnTo>
                  <a:lnTo>
                    <a:pt x="56" y="219"/>
                  </a:lnTo>
                  <a:lnTo>
                    <a:pt x="59" y="219"/>
                  </a:lnTo>
                  <a:lnTo>
                    <a:pt x="61" y="220"/>
                  </a:lnTo>
                  <a:lnTo>
                    <a:pt x="61" y="218"/>
                  </a:lnTo>
                  <a:lnTo>
                    <a:pt x="59" y="217"/>
                  </a:lnTo>
                  <a:lnTo>
                    <a:pt x="57" y="217"/>
                  </a:lnTo>
                  <a:lnTo>
                    <a:pt x="55" y="219"/>
                  </a:lnTo>
                  <a:lnTo>
                    <a:pt x="55" y="218"/>
                  </a:lnTo>
                  <a:lnTo>
                    <a:pt x="56" y="217"/>
                  </a:lnTo>
                  <a:lnTo>
                    <a:pt x="57" y="214"/>
                  </a:lnTo>
                  <a:lnTo>
                    <a:pt x="55" y="213"/>
                  </a:lnTo>
                  <a:lnTo>
                    <a:pt x="54" y="214"/>
                  </a:lnTo>
                  <a:lnTo>
                    <a:pt x="53" y="213"/>
                  </a:lnTo>
                  <a:lnTo>
                    <a:pt x="53" y="214"/>
                  </a:lnTo>
                  <a:lnTo>
                    <a:pt x="51" y="216"/>
                  </a:lnTo>
                  <a:lnTo>
                    <a:pt x="51" y="217"/>
                  </a:lnTo>
                  <a:lnTo>
                    <a:pt x="53" y="217"/>
                  </a:lnTo>
                  <a:lnTo>
                    <a:pt x="54" y="219"/>
                  </a:lnTo>
                  <a:lnTo>
                    <a:pt x="51" y="220"/>
                  </a:lnTo>
                  <a:lnTo>
                    <a:pt x="51" y="222"/>
                  </a:lnTo>
                  <a:lnTo>
                    <a:pt x="50" y="220"/>
                  </a:lnTo>
                  <a:lnTo>
                    <a:pt x="49" y="222"/>
                  </a:lnTo>
                  <a:lnTo>
                    <a:pt x="45" y="224"/>
                  </a:lnTo>
                  <a:lnTo>
                    <a:pt x="47" y="220"/>
                  </a:lnTo>
                  <a:lnTo>
                    <a:pt x="47" y="218"/>
                  </a:lnTo>
                  <a:lnTo>
                    <a:pt x="45" y="217"/>
                  </a:lnTo>
                  <a:lnTo>
                    <a:pt x="48" y="216"/>
                  </a:lnTo>
                  <a:lnTo>
                    <a:pt x="45" y="214"/>
                  </a:lnTo>
                  <a:lnTo>
                    <a:pt x="47" y="213"/>
                  </a:lnTo>
                  <a:lnTo>
                    <a:pt x="48" y="212"/>
                  </a:lnTo>
                  <a:lnTo>
                    <a:pt x="50" y="213"/>
                  </a:lnTo>
                  <a:lnTo>
                    <a:pt x="50" y="211"/>
                  </a:lnTo>
                  <a:lnTo>
                    <a:pt x="48" y="211"/>
                  </a:lnTo>
                  <a:lnTo>
                    <a:pt x="45" y="211"/>
                  </a:lnTo>
                  <a:lnTo>
                    <a:pt x="42" y="211"/>
                  </a:lnTo>
                  <a:lnTo>
                    <a:pt x="44" y="211"/>
                  </a:lnTo>
                  <a:lnTo>
                    <a:pt x="47" y="208"/>
                  </a:lnTo>
                  <a:lnTo>
                    <a:pt x="48" y="210"/>
                  </a:lnTo>
                  <a:lnTo>
                    <a:pt x="49" y="210"/>
                  </a:lnTo>
                  <a:lnTo>
                    <a:pt x="53" y="211"/>
                  </a:lnTo>
                  <a:lnTo>
                    <a:pt x="54" y="211"/>
                  </a:lnTo>
                  <a:lnTo>
                    <a:pt x="56" y="210"/>
                  </a:lnTo>
                  <a:lnTo>
                    <a:pt x="57" y="207"/>
                  </a:lnTo>
                  <a:lnTo>
                    <a:pt x="55" y="206"/>
                  </a:lnTo>
                  <a:lnTo>
                    <a:pt x="51" y="207"/>
                  </a:lnTo>
                  <a:lnTo>
                    <a:pt x="50" y="208"/>
                  </a:lnTo>
                  <a:lnTo>
                    <a:pt x="49" y="208"/>
                  </a:lnTo>
                  <a:lnTo>
                    <a:pt x="49" y="207"/>
                  </a:lnTo>
                  <a:lnTo>
                    <a:pt x="51" y="205"/>
                  </a:lnTo>
                  <a:lnTo>
                    <a:pt x="51" y="202"/>
                  </a:lnTo>
                  <a:lnTo>
                    <a:pt x="49" y="201"/>
                  </a:lnTo>
                  <a:lnTo>
                    <a:pt x="48" y="200"/>
                  </a:lnTo>
                  <a:lnTo>
                    <a:pt x="49" y="199"/>
                  </a:lnTo>
                  <a:lnTo>
                    <a:pt x="47" y="196"/>
                  </a:lnTo>
                  <a:lnTo>
                    <a:pt x="44" y="195"/>
                  </a:lnTo>
                  <a:lnTo>
                    <a:pt x="45" y="199"/>
                  </a:lnTo>
                  <a:lnTo>
                    <a:pt x="44" y="200"/>
                  </a:lnTo>
                  <a:lnTo>
                    <a:pt x="43" y="198"/>
                  </a:lnTo>
                  <a:lnTo>
                    <a:pt x="42" y="198"/>
                  </a:lnTo>
                  <a:lnTo>
                    <a:pt x="43" y="199"/>
                  </a:lnTo>
                  <a:lnTo>
                    <a:pt x="42" y="199"/>
                  </a:lnTo>
                  <a:lnTo>
                    <a:pt x="42" y="201"/>
                  </a:lnTo>
                  <a:lnTo>
                    <a:pt x="43" y="202"/>
                  </a:lnTo>
                  <a:lnTo>
                    <a:pt x="42" y="206"/>
                  </a:lnTo>
                  <a:lnTo>
                    <a:pt x="43" y="208"/>
                  </a:lnTo>
                  <a:lnTo>
                    <a:pt x="42" y="207"/>
                  </a:lnTo>
                  <a:lnTo>
                    <a:pt x="41" y="208"/>
                  </a:lnTo>
                  <a:lnTo>
                    <a:pt x="39" y="206"/>
                  </a:lnTo>
                  <a:lnTo>
                    <a:pt x="38" y="204"/>
                  </a:lnTo>
                  <a:lnTo>
                    <a:pt x="36" y="204"/>
                  </a:lnTo>
                  <a:lnTo>
                    <a:pt x="37" y="208"/>
                  </a:lnTo>
                  <a:lnTo>
                    <a:pt x="35" y="208"/>
                  </a:lnTo>
                  <a:lnTo>
                    <a:pt x="32" y="210"/>
                  </a:lnTo>
                  <a:lnTo>
                    <a:pt x="33" y="212"/>
                  </a:lnTo>
                  <a:lnTo>
                    <a:pt x="32" y="214"/>
                  </a:lnTo>
                  <a:lnTo>
                    <a:pt x="30" y="217"/>
                  </a:lnTo>
                  <a:lnTo>
                    <a:pt x="30" y="214"/>
                  </a:lnTo>
                  <a:lnTo>
                    <a:pt x="31" y="212"/>
                  </a:lnTo>
                  <a:lnTo>
                    <a:pt x="32" y="211"/>
                  </a:lnTo>
                  <a:lnTo>
                    <a:pt x="31" y="210"/>
                  </a:lnTo>
                  <a:lnTo>
                    <a:pt x="30" y="210"/>
                  </a:lnTo>
                  <a:lnTo>
                    <a:pt x="29" y="208"/>
                  </a:lnTo>
                  <a:lnTo>
                    <a:pt x="27" y="207"/>
                  </a:lnTo>
                  <a:lnTo>
                    <a:pt x="25" y="210"/>
                  </a:lnTo>
                  <a:lnTo>
                    <a:pt x="25" y="207"/>
                  </a:lnTo>
                  <a:lnTo>
                    <a:pt x="24" y="210"/>
                  </a:lnTo>
                  <a:lnTo>
                    <a:pt x="23" y="210"/>
                  </a:lnTo>
                  <a:lnTo>
                    <a:pt x="23" y="208"/>
                  </a:lnTo>
                  <a:lnTo>
                    <a:pt x="21" y="207"/>
                  </a:lnTo>
                  <a:lnTo>
                    <a:pt x="23" y="207"/>
                  </a:lnTo>
                  <a:lnTo>
                    <a:pt x="20" y="206"/>
                  </a:lnTo>
                  <a:lnTo>
                    <a:pt x="23" y="205"/>
                  </a:lnTo>
                  <a:lnTo>
                    <a:pt x="25" y="205"/>
                  </a:lnTo>
                  <a:lnTo>
                    <a:pt x="26" y="204"/>
                  </a:lnTo>
                  <a:lnTo>
                    <a:pt x="27" y="202"/>
                  </a:lnTo>
                  <a:lnTo>
                    <a:pt x="29" y="200"/>
                  </a:lnTo>
                  <a:lnTo>
                    <a:pt x="25" y="200"/>
                  </a:lnTo>
                  <a:lnTo>
                    <a:pt x="24" y="199"/>
                  </a:lnTo>
                  <a:lnTo>
                    <a:pt x="23" y="201"/>
                  </a:lnTo>
                  <a:lnTo>
                    <a:pt x="20" y="199"/>
                  </a:lnTo>
                  <a:lnTo>
                    <a:pt x="19" y="200"/>
                  </a:lnTo>
                  <a:lnTo>
                    <a:pt x="20" y="202"/>
                  </a:lnTo>
                  <a:lnTo>
                    <a:pt x="18" y="205"/>
                  </a:lnTo>
                  <a:lnTo>
                    <a:pt x="15" y="206"/>
                  </a:lnTo>
                  <a:lnTo>
                    <a:pt x="14" y="204"/>
                  </a:lnTo>
                  <a:lnTo>
                    <a:pt x="14" y="200"/>
                  </a:lnTo>
                  <a:lnTo>
                    <a:pt x="15" y="200"/>
                  </a:lnTo>
                  <a:lnTo>
                    <a:pt x="18" y="200"/>
                  </a:lnTo>
                  <a:lnTo>
                    <a:pt x="20" y="199"/>
                  </a:lnTo>
                  <a:lnTo>
                    <a:pt x="21" y="198"/>
                  </a:lnTo>
                  <a:lnTo>
                    <a:pt x="19" y="198"/>
                  </a:lnTo>
                  <a:lnTo>
                    <a:pt x="18" y="196"/>
                  </a:lnTo>
                  <a:lnTo>
                    <a:pt x="17" y="196"/>
                  </a:lnTo>
                  <a:lnTo>
                    <a:pt x="15" y="196"/>
                  </a:lnTo>
                  <a:lnTo>
                    <a:pt x="12" y="198"/>
                  </a:lnTo>
                  <a:lnTo>
                    <a:pt x="13" y="196"/>
                  </a:lnTo>
                  <a:lnTo>
                    <a:pt x="14" y="194"/>
                  </a:lnTo>
                  <a:lnTo>
                    <a:pt x="13" y="194"/>
                  </a:lnTo>
                  <a:lnTo>
                    <a:pt x="12" y="193"/>
                  </a:lnTo>
                  <a:lnTo>
                    <a:pt x="15" y="192"/>
                  </a:lnTo>
                  <a:lnTo>
                    <a:pt x="15" y="194"/>
                  </a:lnTo>
                  <a:lnTo>
                    <a:pt x="18" y="195"/>
                  </a:lnTo>
                  <a:lnTo>
                    <a:pt x="19" y="195"/>
                  </a:lnTo>
                  <a:lnTo>
                    <a:pt x="19" y="193"/>
                  </a:lnTo>
                  <a:lnTo>
                    <a:pt x="18" y="192"/>
                  </a:lnTo>
                  <a:lnTo>
                    <a:pt x="18" y="189"/>
                  </a:lnTo>
                  <a:lnTo>
                    <a:pt x="19" y="190"/>
                  </a:lnTo>
                  <a:lnTo>
                    <a:pt x="19" y="194"/>
                  </a:lnTo>
                  <a:lnTo>
                    <a:pt x="20" y="195"/>
                  </a:lnTo>
                  <a:lnTo>
                    <a:pt x="20" y="194"/>
                  </a:lnTo>
                  <a:lnTo>
                    <a:pt x="20" y="193"/>
                  </a:lnTo>
                  <a:lnTo>
                    <a:pt x="21" y="192"/>
                  </a:lnTo>
                  <a:lnTo>
                    <a:pt x="24" y="193"/>
                  </a:lnTo>
                  <a:lnTo>
                    <a:pt x="27" y="192"/>
                  </a:lnTo>
                  <a:lnTo>
                    <a:pt x="27" y="193"/>
                  </a:lnTo>
                  <a:lnTo>
                    <a:pt x="30" y="194"/>
                  </a:lnTo>
                  <a:lnTo>
                    <a:pt x="33" y="196"/>
                  </a:lnTo>
                  <a:lnTo>
                    <a:pt x="33" y="194"/>
                  </a:lnTo>
                  <a:lnTo>
                    <a:pt x="31" y="194"/>
                  </a:lnTo>
                  <a:lnTo>
                    <a:pt x="33" y="192"/>
                  </a:lnTo>
                  <a:lnTo>
                    <a:pt x="36" y="190"/>
                  </a:lnTo>
                  <a:lnTo>
                    <a:pt x="37" y="188"/>
                  </a:lnTo>
                  <a:lnTo>
                    <a:pt x="37" y="187"/>
                  </a:lnTo>
                  <a:lnTo>
                    <a:pt x="35" y="189"/>
                  </a:lnTo>
                  <a:lnTo>
                    <a:pt x="33" y="192"/>
                  </a:lnTo>
                  <a:lnTo>
                    <a:pt x="30" y="192"/>
                  </a:lnTo>
                  <a:lnTo>
                    <a:pt x="30" y="190"/>
                  </a:lnTo>
                  <a:lnTo>
                    <a:pt x="32" y="187"/>
                  </a:lnTo>
                  <a:lnTo>
                    <a:pt x="33" y="186"/>
                  </a:lnTo>
                  <a:lnTo>
                    <a:pt x="35" y="184"/>
                  </a:lnTo>
                  <a:lnTo>
                    <a:pt x="35" y="186"/>
                  </a:lnTo>
                  <a:lnTo>
                    <a:pt x="36" y="186"/>
                  </a:lnTo>
                  <a:lnTo>
                    <a:pt x="38" y="184"/>
                  </a:lnTo>
                  <a:lnTo>
                    <a:pt x="36" y="182"/>
                  </a:lnTo>
                  <a:lnTo>
                    <a:pt x="32" y="183"/>
                  </a:lnTo>
                  <a:lnTo>
                    <a:pt x="30" y="184"/>
                  </a:lnTo>
                  <a:lnTo>
                    <a:pt x="30" y="182"/>
                  </a:lnTo>
                  <a:lnTo>
                    <a:pt x="26" y="180"/>
                  </a:lnTo>
                  <a:lnTo>
                    <a:pt x="30" y="178"/>
                  </a:lnTo>
                  <a:lnTo>
                    <a:pt x="31" y="175"/>
                  </a:lnTo>
                  <a:lnTo>
                    <a:pt x="29" y="176"/>
                  </a:lnTo>
                  <a:lnTo>
                    <a:pt x="29" y="174"/>
                  </a:lnTo>
                  <a:lnTo>
                    <a:pt x="32" y="171"/>
                  </a:lnTo>
                  <a:lnTo>
                    <a:pt x="35" y="169"/>
                  </a:lnTo>
                  <a:lnTo>
                    <a:pt x="31" y="169"/>
                  </a:lnTo>
                  <a:lnTo>
                    <a:pt x="25" y="170"/>
                  </a:lnTo>
                  <a:lnTo>
                    <a:pt x="20" y="176"/>
                  </a:lnTo>
                  <a:lnTo>
                    <a:pt x="17" y="180"/>
                  </a:lnTo>
                  <a:lnTo>
                    <a:pt x="17" y="178"/>
                  </a:lnTo>
                  <a:lnTo>
                    <a:pt x="18" y="176"/>
                  </a:lnTo>
                  <a:lnTo>
                    <a:pt x="18" y="174"/>
                  </a:lnTo>
                  <a:lnTo>
                    <a:pt x="17" y="175"/>
                  </a:lnTo>
                  <a:lnTo>
                    <a:pt x="18" y="170"/>
                  </a:lnTo>
                  <a:lnTo>
                    <a:pt x="19" y="168"/>
                  </a:lnTo>
                  <a:lnTo>
                    <a:pt x="20" y="166"/>
                  </a:lnTo>
                  <a:lnTo>
                    <a:pt x="23" y="168"/>
                  </a:lnTo>
                  <a:lnTo>
                    <a:pt x="21" y="165"/>
                  </a:lnTo>
                  <a:lnTo>
                    <a:pt x="23" y="165"/>
                  </a:lnTo>
                  <a:lnTo>
                    <a:pt x="25" y="163"/>
                  </a:lnTo>
                  <a:lnTo>
                    <a:pt x="25" y="162"/>
                  </a:lnTo>
                  <a:lnTo>
                    <a:pt x="19" y="162"/>
                  </a:lnTo>
                  <a:lnTo>
                    <a:pt x="13" y="159"/>
                  </a:lnTo>
                  <a:lnTo>
                    <a:pt x="17" y="159"/>
                  </a:lnTo>
                  <a:lnTo>
                    <a:pt x="19" y="159"/>
                  </a:lnTo>
                  <a:lnTo>
                    <a:pt x="19" y="158"/>
                  </a:lnTo>
                  <a:lnTo>
                    <a:pt x="20" y="158"/>
                  </a:lnTo>
                  <a:lnTo>
                    <a:pt x="20" y="157"/>
                  </a:lnTo>
                  <a:lnTo>
                    <a:pt x="21" y="158"/>
                  </a:lnTo>
                  <a:lnTo>
                    <a:pt x="21" y="157"/>
                  </a:lnTo>
                  <a:lnTo>
                    <a:pt x="24" y="157"/>
                  </a:lnTo>
                  <a:lnTo>
                    <a:pt x="26" y="158"/>
                  </a:lnTo>
                  <a:lnTo>
                    <a:pt x="27" y="159"/>
                  </a:lnTo>
                  <a:lnTo>
                    <a:pt x="29" y="162"/>
                  </a:lnTo>
                  <a:lnTo>
                    <a:pt x="29" y="163"/>
                  </a:lnTo>
                  <a:lnTo>
                    <a:pt x="31" y="163"/>
                  </a:lnTo>
                  <a:lnTo>
                    <a:pt x="31" y="162"/>
                  </a:lnTo>
                  <a:lnTo>
                    <a:pt x="31" y="160"/>
                  </a:lnTo>
                  <a:lnTo>
                    <a:pt x="32" y="160"/>
                  </a:lnTo>
                  <a:lnTo>
                    <a:pt x="36" y="159"/>
                  </a:lnTo>
                  <a:lnTo>
                    <a:pt x="39" y="160"/>
                  </a:lnTo>
                  <a:lnTo>
                    <a:pt x="41" y="160"/>
                  </a:lnTo>
                  <a:lnTo>
                    <a:pt x="43" y="160"/>
                  </a:lnTo>
                  <a:lnTo>
                    <a:pt x="45" y="160"/>
                  </a:lnTo>
                  <a:lnTo>
                    <a:pt x="48" y="160"/>
                  </a:lnTo>
                  <a:lnTo>
                    <a:pt x="50" y="160"/>
                  </a:lnTo>
                  <a:lnTo>
                    <a:pt x="50" y="158"/>
                  </a:lnTo>
                  <a:lnTo>
                    <a:pt x="51" y="158"/>
                  </a:lnTo>
                  <a:lnTo>
                    <a:pt x="53" y="160"/>
                  </a:lnTo>
                  <a:lnTo>
                    <a:pt x="54" y="159"/>
                  </a:lnTo>
                  <a:lnTo>
                    <a:pt x="57" y="160"/>
                  </a:lnTo>
                  <a:lnTo>
                    <a:pt x="60" y="160"/>
                  </a:lnTo>
                  <a:lnTo>
                    <a:pt x="62" y="163"/>
                  </a:lnTo>
                  <a:lnTo>
                    <a:pt x="65" y="163"/>
                  </a:lnTo>
                  <a:lnTo>
                    <a:pt x="66" y="163"/>
                  </a:lnTo>
                  <a:lnTo>
                    <a:pt x="67" y="160"/>
                  </a:lnTo>
                  <a:lnTo>
                    <a:pt x="67" y="157"/>
                  </a:lnTo>
                  <a:lnTo>
                    <a:pt x="66" y="158"/>
                  </a:lnTo>
                  <a:lnTo>
                    <a:pt x="65" y="157"/>
                  </a:lnTo>
                  <a:lnTo>
                    <a:pt x="63" y="158"/>
                  </a:lnTo>
                  <a:lnTo>
                    <a:pt x="63" y="157"/>
                  </a:lnTo>
                  <a:lnTo>
                    <a:pt x="61" y="156"/>
                  </a:lnTo>
                  <a:lnTo>
                    <a:pt x="60" y="154"/>
                  </a:lnTo>
                  <a:lnTo>
                    <a:pt x="59" y="156"/>
                  </a:lnTo>
                  <a:lnTo>
                    <a:pt x="57" y="157"/>
                  </a:lnTo>
                  <a:lnTo>
                    <a:pt x="57" y="153"/>
                  </a:lnTo>
                  <a:lnTo>
                    <a:pt x="57" y="151"/>
                  </a:lnTo>
                  <a:lnTo>
                    <a:pt x="55" y="152"/>
                  </a:lnTo>
                  <a:lnTo>
                    <a:pt x="54" y="153"/>
                  </a:lnTo>
                  <a:lnTo>
                    <a:pt x="53" y="152"/>
                  </a:lnTo>
                  <a:lnTo>
                    <a:pt x="50" y="151"/>
                  </a:lnTo>
                  <a:lnTo>
                    <a:pt x="49" y="153"/>
                  </a:lnTo>
                  <a:lnTo>
                    <a:pt x="49" y="151"/>
                  </a:lnTo>
                  <a:lnTo>
                    <a:pt x="50" y="150"/>
                  </a:lnTo>
                  <a:lnTo>
                    <a:pt x="49" y="148"/>
                  </a:lnTo>
                  <a:lnTo>
                    <a:pt x="51" y="147"/>
                  </a:lnTo>
                  <a:lnTo>
                    <a:pt x="54" y="147"/>
                  </a:lnTo>
                  <a:lnTo>
                    <a:pt x="55" y="148"/>
                  </a:lnTo>
                  <a:lnTo>
                    <a:pt x="55" y="147"/>
                  </a:lnTo>
                  <a:lnTo>
                    <a:pt x="55" y="145"/>
                  </a:lnTo>
                  <a:lnTo>
                    <a:pt x="53" y="144"/>
                  </a:lnTo>
                  <a:lnTo>
                    <a:pt x="53" y="142"/>
                  </a:lnTo>
                  <a:lnTo>
                    <a:pt x="51" y="144"/>
                  </a:lnTo>
                  <a:lnTo>
                    <a:pt x="51" y="142"/>
                  </a:lnTo>
                  <a:lnTo>
                    <a:pt x="54" y="140"/>
                  </a:lnTo>
                  <a:lnTo>
                    <a:pt x="57" y="140"/>
                  </a:lnTo>
                  <a:lnTo>
                    <a:pt x="59" y="141"/>
                  </a:lnTo>
                  <a:lnTo>
                    <a:pt x="60" y="140"/>
                  </a:lnTo>
                  <a:lnTo>
                    <a:pt x="61" y="139"/>
                  </a:lnTo>
                  <a:lnTo>
                    <a:pt x="62" y="136"/>
                  </a:lnTo>
                  <a:lnTo>
                    <a:pt x="66" y="136"/>
                  </a:lnTo>
                  <a:lnTo>
                    <a:pt x="65" y="134"/>
                  </a:lnTo>
                  <a:lnTo>
                    <a:pt x="62" y="133"/>
                  </a:lnTo>
                  <a:lnTo>
                    <a:pt x="62" y="131"/>
                  </a:lnTo>
                  <a:lnTo>
                    <a:pt x="65" y="133"/>
                  </a:lnTo>
                  <a:lnTo>
                    <a:pt x="66" y="131"/>
                  </a:lnTo>
                  <a:lnTo>
                    <a:pt x="67" y="130"/>
                  </a:lnTo>
                  <a:lnTo>
                    <a:pt x="69" y="130"/>
                  </a:lnTo>
                  <a:lnTo>
                    <a:pt x="72" y="129"/>
                  </a:lnTo>
                  <a:lnTo>
                    <a:pt x="73" y="128"/>
                  </a:lnTo>
                  <a:lnTo>
                    <a:pt x="74" y="127"/>
                  </a:lnTo>
                  <a:lnTo>
                    <a:pt x="73" y="124"/>
                  </a:lnTo>
                  <a:lnTo>
                    <a:pt x="73" y="122"/>
                  </a:lnTo>
                  <a:lnTo>
                    <a:pt x="71" y="125"/>
                  </a:lnTo>
                  <a:lnTo>
                    <a:pt x="67" y="128"/>
                  </a:lnTo>
                  <a:lnTo>
                    <a:pt x="68" y="125"/>
                  </a:lnTo>
                  <a:lnTo>
                    <a:pt x="72" y="122"/>
                  </a:lnTo>
                  <a:lnTo>
                    <a:pt x="73" y="121"/>
                  </a:lnTo>
                  <a:lnTo>
                    <a:pt x="72" y="121"/>
                  </a:lnTo>
                  <a:lnTo>
                    <a:pt x="72" y="118"/>
                  </a:lnTo>
                  <a:lnTo>
                    <a:pt x="72" y="117"/>
                  </a:lnTo>
                  <a:lnTo>
                    <a:pt x="69" y="118"/>
                  </a:lnTo>
                  <a:lnTo>
                    <a:pt x="66" y="119"/>
                  </a:lnTo>
                  <a:lnTo>
                    <a:pt x="62" y="121"/>
                  </a:lnTo>
                  <a:lnTo>
                    <a:pt x="63" y="118"/>
                  </a:lnTo>
                  <a:lnTo>
                    <a:pt x="65" y="116"/>
                  </a:lnTo>
                  <a:lnTo>
                    <a:pt x="66" y="115"/>
                  </a:lnTo>
                  <a:lnTo>
                    <a:pt x="68" y="113"/>
                  </a:lnTo>
                  <a:lnTo>
                    <a:pt x="72" y="115"/>
                  </a:lnTo>
                  <a:lnTo>
                    <a:pt x="72" y="112"/>
                  </a:lnTo>
                  <a:lnTo>
                    <a:pt x="63" y="112"/>
                  </a:lnTo>
                  <a:lnTo>
                    <a:pt x="62" y="111"/>
                  </a:lnTo>
                  <a:lnTo>
                    <a:pt x="65" y="110"/>
                  </a:lnTo>
                  <a:lnTo>
                    <a:pt x="67" y="109"/>
                  </a:lnTo>
                  <a:lnTo>
                    <a:pt x="68" y="109"/>
                  </a:lnTo>
                  <a:lnTo>
                    <a:pt x="69" y="109"/>
                  </a:lnTo>
                  <a:lnTo>
                    <a:pt x="72" y="109"/>
                  </a:lnTo>
                  <a:lnTo>
                    <a:pt x="74" y="111"/>
                  </a:lnTo>
                  <a:lnTo>
                    <a:pt x="74" y="109"/>
                  </a:lnTo>
                  <a:lnTo>
                    <a:pt x="77" y="109"/>
                  </a:lnTo>
                  <a:lnTo>
                    <a:pt x="77" y="106"/>
                  </a:lnTo>
                  <a:lnTo>
                    <a:pt x="74" y="105"/>
                  </a:lnTo>
                  <a:lnTo>
                    <a:pt x="73" y="104"/>
                  </a:lnTo>
                  <a:lnTo>
                    <a:pt x="72" y="101"/>
                  </a:lnTo>
                  <a:lnTo>
                    <a:pt x="72" y="99"/>
                  </a:lnTo>
                  <a:lnTo>
                    <a:pt x="73" y="97"/>
                  </a:lnTo>
                  <a:lnTo>
                    <a:pt x="74" y="98"/>
                  </a:lnTo>
                  <a:lnTo>
                    <a:pt x="76" y="100"/>
                  </a:lnTo>
                  <a:lnTo>
                    <a:pt x="77" y="99"/>
                  </a:lnTo>
                  <a:lnTo>
                    <a:pt x="78" y="103"/>
                  </a:lnTo>
                  <a:lnTo>
                    <a:pt x="78" y="106"/>
                  </a:lnTo>
                  <a:lnTo>
                    <a:pt x="79" y="109"/>
                  </a:lnTo>
                  <a:lnTo>
                    <a:pt x="80" y="110"/>
                  </a:lnTo>
                  <a:lnTo>
                    <a:pt x="83" y="111"/>
                  </a:lnTo>
                  <a:lnTo>
                    <a:pt x="85" y="111"/>
                  </a:lnTo>
                  <a:lnTo>
                    <a:pt x="88" y="110"/>
                  </a:lnTo>
                  <a:lnTo>
                    <a:pt x="90" y="109"/>
                  </a:lnTo>
                  <a:lnTo>
                    <a:pt x="91" y="109"/>
                  </a:lnTo>
                  <a:lnTo>
                    <a:pt x="92" y="107"/>
                  </a:lnTo>
                  <a:lnTo>
                    <a:pt x="94" y="107"/>
                  </a:lnTo>
                  <a:lnTo>
                    <a:pt x="95" y="106"/>
                  </a:lnTo>
                  <a:lnTo>
                    <a:pt x="95" y="105"/>
                  </a:lnTo>
                  <a:lnTo>
                    <a:pt x="96" y="104"/>
                  </a:lnTo>
                  <a:lnTo>
                    <a:pt x="96" y="101"/>
                  </a:lnTo>
                  <a:lnTo>
                    <a:pt x="95" y="100"/>
                  </a:lnTo>
                  <a:lnTo>
                    <a:pt x="95" y="99"/>
                  </a:lnTo>
                  <a:lnTo>
                    <a:pt x="95" y="98"/>
                  </a:lnTo>
                  <a:lnTo>
                    <a:pt x="96" y="98"/>
                  </a:lnTo>
                  <a:lnTo>
                    <a:pt x="97" y="99"/>
                  </a:lnTo>
                  <a:lnTo>
                    <a:pt x="98" y="98"/>
                  </a:lnTo>
                  <a:lnTo>
                    <a:pt x="97" y="97"/>
                  </a:lnTo>
                  <a:lnTo>
                    <a:pt x="100" y="97"/>
                  </a:lnTo>
                  <a:lnTo>
                    <a:pt x="100" y="95"/>
                  </a:lnTo>
                  <a:lnTo>
                    <a:pt x="98" y="91"/>
                  </a:lnTo>
                  <a:lnTo>
                    <a:pt x="97" y="91"/>
                  </a:lnTo>
                  <a:lnTo>
                    <a:pt x="96" y="92"/>
                  </a:lnTo>
                  <a:lnTo>
                    <a:pt x="95" y="91"/>
                  </a:lnTo>
                  <a:lnTo>
                    <a:pt x="95" y="89"/>
                  </a:lnTo>
                  <a:lnTo>
                    <a:pt x="95" y="88"/>
                  </a:lnTo>
                  <a:lnTo>
                    <a:pt x="96" y="88"/>
                  </a:lnTo>
                  <a:lnTo>
                    <a:pt x="98" y="89"/>
                  </a:lnTo>
                  <a:lnTo>
                    <a:pt x="97" y="87"/>
                  </a:lnTo>
                  <a:lnTo>
                    <a:pt x="97" y="86"/>
                  </a:lnTo>
                  <a:lnTo>
                    <a:pt x="98" y="86"/>
                  </a:lnTo>
                  <a:lnTo>
                    <a:pt x="98" y="85"/>
                  </a:lnTo>
                  <a:lnTo>
                    <a:pt x="98" y="83"/>
                  </a:lnTo>
                  <a:lnTo>
                    <a:pt x="100" y="83"/>
                  </a:lnTo>
                  <a:lnTo>
                    <a:pt x="101" y="83"/>
                  </a:lnTo>
                  <a:lnTo>
                    <a:pt x="101" y="86"/>
                  </a:lnTo>
                  <a:lnTo>
                    <a:pt x="102" y="86"/>
                  </a:lnTo>
                  <a:lnTo>
                    <a:pt x="102" y="87"/>
                  </a:lnTo>
                  <a:lnTo>
                    <a:pt x="100" y="88"/>
                  </a:lnTo>
                  <a:lnTo>
                    <a:pt x="100" y="89"/>
                  </a:lnTo>
                  <a:lnTo>
                    <a:pt x="100" y="92"/>
                  </a:lnTo>
                  <a:lnTo>
                    <a:pt x="100" y="94"/>
                  </a:lnTo>
                  <a:lnTo>
                    <a:pt x="102" y="93"/>
                  </a:lnTo>
                  <a:lnTo>
                    <a:pt x="101" y="92"/>
                  </a:lnTo>
                  <a:lnTo>
                    <a:pt x="101" y="91"/>
                  </a:lnTo>
                  <a:lnTo>
                    <a:pt x="101" y="89"/>
                  </a:lnTo>
                  <a:lnTo>
                    <a:pt x="102" y="89"/>
                  </a:lnTo>
                  <a:lnTo>
                    <a:pt x="104" y="89"/>
                  </a:lnTo>
                  <a:lnTo>
                    <a:pt x="103" y="93"/>
                  </a:lnTo>
                  <a:lnTo>
                    <a:pt x="104" y="94"/>
                  </a:lnTo>
                  <a:lnTo>
                    <a:pt x="106" y="95"/>
                  </a:lnTo>
                  <a:lnTo>
                    <a:pt x="103" y="98"/>
                  </a:lnTo>
                  <a:lnTo>
                    <a:pt x="104" y="98"/>
                  </a:lnTo>
                  <a:lnTo>
                    <a:pt x="106" y="97"/>
                  </a:lnTo>
                  <a:lnTo>
                    <a:pt x="107" y="97"/>
                  </a:lnTo>
                  <a:lnTo>
                    <a:pt x="108" y="95"/>
                  </a:lnTo>
                  <a:lnTo>
                    <a:pt x="109" y="94"/>
                  </a:lnTo>
                  <a:lnTo>
                    <a:pt x="108" y="93"/>
                  </a:lnTo>
                  <a:lnTo>
                    <a:pt x="106" y="93"/>
                  </a:lnTo>
                  <a:lnTo>
                    <a:pt x="106" y="91"/>
                  </a:lnTo>
                  <a:lnTo>
                    <a:pt x="104" y="87"/>
                  </a:lnTo>
                  <a:lnTo>
                    <a:pt x="106" y="88"/>
                  </a:lnTo>
                  <a:lnTo>
                    <a:pt x="106" y="87"/>
                  </a:lnTo>
                  <a:lnTo>
                    <a:pt x="107" y="87"/>
                  </a:lnTo>
                  <a:lnTo>
                    <a:pt x="108" y="87"/>
                  </a:lnTo>
                  <a:lnTo>
                    <a:pt x="109" y="88"/>
                  </a:lnTo>
                  <a:lnTo>
                    <a:pt x="110" y="87"/>
                  </a:lnTo>
                  <a:lnTo>
                    <a:pt x="112" y="88"/>
                  </a:lnTo>
                  <a:lnTo>
                    <a:pt x="113" y="88"/>
                  </a:lnTo>
                  <a:lnTo>
                    <a:pt x="113" y="89"/>
                  </a:lnTo>
                  <a:lnTo>
                    <a:pt x="113" y="92"/>
                  </a:lnTo>
                  <a:lnTo>
                    <a:pt x="114" y="92"/>
                  </a:lnTo>
                  <a:lnTo>
                    <a:pt x="115" y="91"/>
                  </a:lnTo>
                  <a:lnTo>
                    <a:pt x="115" y="93"/>
                  </a:lnTo>
                  <a:lnTo>
                    <a:pt x="115" y="94"/>
                  </a:lnTo>
                  <a:lnTo>
                    <a:pt x="116" y="92"/>
                  </a:lnTo>
                  <a:lnTo>
                    <a:pt x="116" y="93"/>
                  </a:lnTo>
                  <a:lnTo>
                    <a:pt x="119" y="93"/>
                  </a:lnTo>
                  <a:lnTo>
                    <a:pt x="120" y="91"/>
                  </a:lnTo>
                  <a:lnTo>
                    <a:pt x="118" y="92"/>
                  </a:lnTo>
                  <a:lnTo>
                    <a:pt x="118" y="91"/>
                  </a:lnTo>
                  <a:lnTo>
                    <a:pt x="118" y="89"/>
                  </a:lnTo>
                  <a:lnTo>
                    <a:pt x="119" y="89"/>
                  </a:lnTo>
                  <a:lnTo>
                    <a:pt x="119" y="87"/>
                  </a:lnTo>
                  <a:lnTo>
                    <a:pt x="120" y="87"/>
                  </a:lnTo>
                  <a:lnTo>
                    <a:pt x="121" y="87"/>
                  </a:lnTo>
                  <a:lnTo>
                    <a:pt x="121" y="88"/>
                  </a:lnTo>
                  <a:lnTo>
                    <a:pt x="122" y="87"/>
                  </a:lnTo>
                  <a:lnTo>
                    <a:pt x="124" y="86"/>
                  </a:lnTo>
                  <a:lnTo>
                    <a:pt x="124" y="81"/>
                  </a:lnTo>
                  <a:lnTo>
                    <a:pt x="125" y="83"/>
                  </a:lnTo>
                  <a:lnTo>
                    <a:pt x="125" y="85"/>
                  </a:lnTo>
                  <a:lnTo>
                    <a:pt x="126" y="85"/>
                  </a:lnTo>
                  <a:lnTo>
                    <a:pt x="126" y="87"/>
                  </a:lnTo>
                  <a:lnTo>
                    <a:pt x="125" y="88"/>
                  </a:lnTo>
                  <a:lnTo>
                    <a:pt x="125" y="91"/>
                  </a:lnTo>
                  <a:lnTo>
                    <a:pt x="127" y="92"/>
                  </a:lnTo>
                  <a:lnTo>
                    <a:pt x="127" y="91"/>
                  </a:lnTo>
                  <a:lnTo>
                    <a:pt x="130" y="92"/>
                  </a:lnTo>
                  <a:lnTo>
                    <a:pt x="130" y="95"/>
                  </a:lnTo>
                  <a:lnTo>
                    <a:pt x="132" y="93"/>
                  </a:lnTo>
                  <a:lnTo>
                    <a:pt x="133" y="94"/>
                  </a:lnTo>
                  <a:lnTo>
                    <a:pt x="135" y="94"/>
                  </a:lnTo>
                  <a:lnTo>
                    <a:pt x="135" y="95"/>
                  </a:lnTo>
                  <a:lnTo>
                    <a:pt x="136" y="97"/>
                  </a:lnTo>
                  <a:lnTo>
                    <a:pt x="137" y="98"/>
                  </a:lnTo>
                  <a:lnTo>
                    <a:pt x="138" y="100"/>
                  </a:lnTo>
                  <a:lnTo>
                    <a:pt x="138" y="101"/>
                  </a:lnTo>
                  <a:lnTo>
                    <a:pt x="135" y="98"/>
                  </a:lnTo>
                  <a:lnTo>
                    <a:pt x="130" y="97"/>
                  </a:lnTo>
                  <a:lnTo>
                    <a:pt x="128" y="94"/>
                  </a:lnTo>
                  <a:lnTo>
                    <a:pt x="128" y="97"/>
                  </a:lnTo>
                  <a:lnTo>
                    <a:pt x="130" y="98"/>
                  </a:lnTo>
                  <a:lnTo>
                    <a:pt x="131" y="101"/>
                  </a:lnTo>
                  <a:lnTo>
                    <a:pt x="132" y="101"/>
                  </a:lnTo>
                  <a:lnTo>
                    <a:pt x="135" y="103"/>
                  </a:lnTo>
                  <a:lnTo>
                    <a:pt x="132" y="104"/>
                  </a:lnTo>
                  <a:lnTo>
                    <a:pt x="133" y="109"/>
                  </a:lnTo>
                  <a:lnTo>
                    <a:pt x="135" y="111"/>
                  </a:lnTo>
                  <a:lnTo>
                    <a:pt x="137" y="111"/>
                  </a:lnTo>
                  <a:lnTo>
                    <a:pt x="137" y="113"/>
                  </a:lnTo>
                  <a:lnTo>
                    <a:pt x="138" y="113"/>
                  </a:lnTo>
                  <a:lnTo>
                    <a:pt x="139" y="113"/>
                  </a:lnTo>
                  <a:lnTo>
                    <a:pt x="139" y="117"/>
                  </a:lnTo>
                  <a:lnTo>
                    <a:pt x="141" y="118"/>
                  </a:lnTo>
                  <a:lnTo>
                    <a:pt x="142" y="118"/>
                  </a:lnTo>
                  <a:lnTo>
                    <a:pt x="143" y="116"/>
                  </a:lnTo>
                  <a:lnTo>
                    <a:pt x="144" y="115"/>
                  </a:lnTo>
                  <a:lnTo>
                    <a:pt x="145" y="115"/>
                  </a:lnTo>
                  <a:lnTo>
                    <a:pt x="148" y="113"/>
                  </a:lnTo>
                  <a:lnTo>
                    <a:pt x="145" y="112"/>
                  </a:lnTo>
                  <a:lnTo>
                    <a:pt x="143" y="113"/>
                  </a:lnTo>
                  <a:lnTo>
                    <a:pt x="141" y="112"/>
                  </a:lnTo>
                  <a:lnTo>
                    <a:pt x="141" y="111"/>
                  </a:lnTo>
                  <a:lnTo>
                    <a:pt x="142" y="111"/>
                  </a:lnTo>
                  <a:lnTo>
                    <a:pt x="143" y="109"/>
                  </a:lnTo>
                  <a:lnTo>
                    <a:pt x="144" y="109"/>
                  </a:lnTo>
                  <a:lnTo>
                    <a:pt x="145" y="107"/>
                  </a:lnTo>
                  <a:lnTo>
                    <a:pt x="147" y="107"/>
                  </a:lnTo>
                  <a:lnTo>
                    <a:pt x="148" y="106"/>
                  </a:lnTo>
                  <a:lnTo>
                    <a:pt x="148" y="105"/>
                  </a:lnTo>
                  <a:lnTo>
                    <a:pt x="147" y="103"/>
                  </a:lnTo>
                  <a:lnTo>
                    <a:pt x="143" y="105"/>
                  </a:lnTo>
                  <a:lnTo>
                    <a:pt x="142" y="106"/>
                  </a:lnTo>
                  <a:lnTo>
                    <a:pt x="142" y="105"/>
                  </a:lnTo>
                  <a:lnTo>
                    <a:pt x="141" y="104"/>
                  </a:lnTo>
                  <a:lnTo>
                    <a:pt x="141" y="103"/>
                  </a:lnTo>
                  <a:lnTo>
                    <a:pt x="141" y="100"/>
                  </a:lnTo>
                  <a:lnTo>
                    <a:pt x="141" y="99"/>
                  </a:lnTo>
                  <a:lnTo>
                    <a:pt x="138" y="94"/>
                  </a:lnTo>
                  <a:lnTo>
                    <a:pt x="141" y="97"/>
                  </a:lnTo>
                  <a:lnTo>
                    <a:pt x="143" y="95"/>
                  </a:lnTo>
                  <a:lnTo>
                    <a:pt x="144" y="95"/>
                  </a:lnTo>
                  <a:lnTo>
                    <a:pt x="147" y="97"/>
                  </a:lnTo>
                  <a:lnTo>
                    <a:pt x="148" y="93"/>
                  </a:lnTo>
                  <a:lnTo>
                    <a:pt x="147" y="92"/>
                  </a:lnTo>
                  <a:lnTo>
                    <a:pt x="145" y="93"/>
                  </a:lnTo>
                  <a:lnTo>
                    <a:pt x="143" y="93"/>
                  </a:lnTo>
                  <a:lnTo>
                    <a:pt x="143" y="91"/>
                  </a:lnTo>
                  <a:lnTo>
                    <a:pt x="142" y="89"/>
                  </a:lnTo>
                  <a:lnTo>
                    <a:pt x="145" y="89"/>
                  </a:lnTo>
                  <a:lnTo>
                    <a:pt x="148" y="89"/>
                  </a:lnTo>
                  <a:lnTo>
                    <a:pt x="149" y="89"/>
                  </a:lnTo>
                  <a:lnTo>
                    <a:pt x="149" y="88"/>
                  </a:lnTo>
                  <a:lnTo>
                    <a:pt x="150" y="88"/>
                  </a:lnTo>
                  <a:lnTo>
                    <a:pt x="150" y="87"/>
                  </a:lnTo>
                  <a:lnTo>
                    <a:pt x="153" y="89"/>
                  </a:lnTo>
                  <a:lnTo>
                    <a:pt x="153" y="91"/>
                  </a:lnTo>
                  <a:lnTo>
                    <a:pt x="154" y="91"/>
                  </a:lnTo>
                  <a:lnTo>
                    <a:pt x="154" y="92"/>
                  </a:lnTo>
                  <a:lnTo>
                    <a:pt x="156" y="94"/>
                  </a:lnTo>
                  <a:lnTo>
                    <a:pt x="157" y="95"/>
                  </a:lnTo>
                  <a:lnTo>
                    <a:pt x="159" y="97"/>
                  </a:lnTo>
                  <a:lnTo>
                    <a:pt x="159" y="99"/>
                  </a:lnTo>
                  <a:lnTo>
                    <a:pt x="160" y="101"/>
                  </a:lnTo>
                  <a:lnTo>
                    <a:pt x="160" y="103"/>
                  </a:lnTo>
                  <a:lnTo>
                    <a:pt x="161" y="101"/>
                  </a:lnTo>
                  <a:lnTo>
                    <a:pt x="162" y="103"/>
                  </a:lnTo>
                  <a:lnTo>
                    <a:pt x="163" y="101"/>
                  </a:lnTo>
                  <a:lnTo>
                    <a:pt x="165" y="101"/>
                  </a:lnTo>
                  <a:lnTo>
                    <a:pt x="166" y="99"/>
                  </a:lnTo>
                  <a:lnTo>
                    <a:pt x="167" y="100"/>
                  </a:lnTo>
                  <a:lnTo>
                    <a:pt x="169" y="103"/>
                  </a:lnTo>
                  <a:lnTo>
                    <a:pt x="171" y="104"/>
                  </a:lnTo>
                  <a:lnTo>
                    <a:pt x="173" y="105"/>
                  </a:lnTo>
                  <a:lnTo>
                    <a:pt x="173" y="107"/>
                  </a:lnTo>
                  <a:lnTo>
                    <a:pt x="175" y="107"/>
                  </a:lnTo>
                  <a:lnTo>
                    <a:pt x="177" y="106"/>
                  </a:lnTo>
                  <a:lnTo>
                    <a:pt x="175" y="106"/>
                  </a:lnTo>
                  <a:lnTo>
                    <a:pt x="175" y="104"/>
                  </a:lnTo>
                  <a:lnTo>
                    <a:pt x="177" y="103"/>
                  </a:lnTo>
                  <a:lnTo>
                    <a:pt x="178" y="103"/>
                  </a:lnTo>
                  <a:lnTo>
                    <a:pt x="178" y="101"/>
                  </a:lnTo>
                  <a:lnTo>
                    <a:pt x="179" y="100"/>
                  </a:lnTo>
                  <a:lnTo>
                    <a:pt x="181" y="100"/>
                  </a:lnTo>
                  <a:lnTo>
                    <a:pt x="183" y="101"/>
                  </a:lnTo>
                  <a:lnTo>
                    <a:pt x="184" y="101"/>
                  </a:lnTo>
                  <a:lnTo>
                    <a:pt x="185" y="101"/>
                  </a:lnTo>
                  <a:lnTo>
                    <a:pt x="185" y="103"/>
                  </a:lnTo>
                  <a:lnTo>
                    <a:pt x="185" y="105"/>
                  </a:lnTo>
                  <a:lnTo>
                    <a:pt x="186" y="104"/>
                  </a:lnTo>
                  <a:lnTo>
                    <a:pt x="187" y="103"/>
                  </a:lnTo>
                  <a:lnTo>
                    <a:pt x="189" y="101"/>
                  </a:lnTo>
                  <a:lnTo>
                    <a:pt x="191" y="104"/>
                  </a:lnTo>
                  <a:lnTo>
                    <a:pt x="191" y="101"/>
                  </a:lnTo>
                  <a:lnTo>
                    <a:pt x="189" y="101"/>
                  </a:lnTo>
                  <a:lnTo>
                    <a:pt x="187" y="100"/>
                  </a:lnTo>
                  <a:lnTo>
                    <a:pt x="187" y="97"/>
                  </a:lnTo>
                  <a:lnTo>
                    <a:pt x="189" y="98"/>
                  </a:lnTo>
                  <a:lnTo>
                    <a:pt x="190" y="98"/>
                  </a:lnTo>
                  <a:lnTo>
                    <a:pt x="191" y="97"/>
                  </a:lnTo>
                  <a:lnTo>
                    <a:pt x="192" y="95"/>
                  </a:lnTo>
                  <a:lnTo>
                    <a:pt x="194" y="95"/>
                  </a:lnTo>
                  <a:lnTo>
                    <a:pt x="195" y="97"/>
                  </a:lnTo>
                  <a:lnTo>
                    <a:pt x="196" y="98"/>
                  </a:lnTo>
                  <a:lnTo>
                    <a:pt x="197" y="97"/>
                  </a:lnTo>
                  <a:lnTo>
                    <a:pt x="198" y="97"/>
                  </a:lnTo>
                  <a:lnTo>
                    <a:pt x="197" y="95"/>
                  </a:lnTo>
                  <a:lnTo>
                    <a:pt x="197" y="94"/>
                  </a:lnTo>
                  <a:lnTo>
                    <a:pt x="198" y="93"/>
                  </a:lnTo>
                  <a:lnTo>
                    <a:pt x="200" y="92"/>
                  </a:lnTo>
                  <a:lnTo>
                    <a:pt x="201" y="91"/>
                  </a:lnTo>
                  <a:lnTo>
                    <a:pt x="202" y="89"/>
                  </a:lnTo>
                  <a:lnTo>
                    <a:pt x="198" y="91"/>
                  </a:lnTo>
                  <a:lnTo>
                    <a:pt x="196" y="92"/>
                  </a:lnTo>
                  <a:lnTo>
                    <a:pt x="196" y="91"/>
                  </a:lnTo>
                  <a:lnTo>
                    <a:pt x="197" y="88"/>
                  </a:lnTo>
                  <a:lnTo>
                    <a:pt x="198" y="86"/>
                  </a:lnTo>
                  <a:lnTo>
                    <a:pt x="200" y="86"/>
                  </a:lnTo>
                  <a:lnTo>
                    <a:pt x="201" y="85"/>
                  </a:lnTo>
                  <a:lnTo>
                    <a:pt x="201" y="83"/>
                  </a:lnTo>
                  <a:lnTo>
                    <a:pt x="202" y="82"/>
                  </a:lnTo>
                  <a:lnTo>
                    <a:pt x="207" y="83"/>
                  </a:lnTo>
                  <a:lnTo>
                    <a:pt x="208" y="82"/>
                  </a:lnTo>
                  <a:lnTo>
                    <a:pt x="210" y="82"/>
                  </a:lnTo>
                  <a:lnTo>
                    <a:pt x="208" y="77"/>
                  </a:lnTo>
                  <a:lnTo>
                    <a:pt x="208" y="79"/>
                  </a:lnTo>
                  <a:lnTo>
                    <a:pt x="207" y="80"/>
                  </a:lnTo>
                  <a:lnTo>
                    <a:pt x="207" y="77"/>
                  </a:lnTo>
                  <a:lnTo>
                    <a:pt x="204" y="76"/>
                  </a:lnTo>
                  <a:lnTo>
                    <a:pt x="201" y="77"/>
                  </a:lnTo>
                  <a:lnTo>
                    <a:pt x="197" y="77"/>
                  </a:lnTo>
                  <a:lnTo>
                    <a:pt x="197" y="76"/>
                  </a:lnTo>
                  <a:lnTo>
                    <a:pt x="198" y="75"/>
                  </a:lnTo>
                  <a:lnTo>
                    <a:pt x="201" y="75"/>
                  </a:lnTo>
                  <a:lnTo>
                    <a:pt x="203" y="74"/>
                  </a:lnTo>
                  <a:lnTo>
                    <a:pt x="204" y="75"/>
                  </a:lnTo>
                  <a:lnTo>
                    <a:pt x="207" y="76"/>
                  </a:lnTo>
                  <a:lnTo>
                    <a:pt x="208" y="76"/>
                  </a:lnTo>
                  <a:lnTo>
                    <a:pt x="206" y="69"/>
                  </a:lnTo>
                  <a:lnTo>
                    <a:pt x="203" y="65"/>
                  </a:lnTo>
                  <a:lnTo>
                    <a:pt x="203" y="67"/>
                  </a:lnTo>
                  <a:lnTo>
                    <a:pt x="201" y="67"/>
                  </a:lnTo>
                  <a:lnTo>
                    <a:pt x="200" y="68"/>
                  </a:lnTo>
                  <a:lnTo>
                    <a:pt x="200" y="65"/>
                  </a:lnTo>
                  <a:lnTo>
                    <a:pt x="201" y="63"/>
                  </a:lnTo>
                  <a:lnTo>
                    <a:pt x="201" y="64"/>
                  </a:lnTo>
                  <a:lnTo>
                    <a:pt x="202" y="62"/>
                  </a:lnTo>
                  <a:lnTo>
                    <a:pt x="200" y="62"/>
                  </a:lnTo>
                  <a:lnTo>
                    <a:pt x="197" y="63"/>
                  </a:lnTo>
                  <a:lnTo>
                    <a:pt x="195" y="65"/>
                  </a:lnTo>
                  <a:lnTo>
                    <a:pt x="196" y="62"/>
                  </a:lnTo>
                  <a:lnTo>
                    <a:pt x="196" y="61"/>
                  </a:lnTo>
                  <a:lnTo>
                    <a:pt x="197" y="59"/>
                  </a:lnTo>
                  <a:lnTo>
                    <a:pt x="200" y="61"/>
                  </a:lnTo>
                  <a:lnTo>
                    <a:pt x="201" y="62"/>
                  </a:lnTo>
                  <a:lnTo>
                    <a:pt x="198" y="57"/>
                  </a:lnTo>
                  <a:lnTo>
                    <a:pt x="195" y="57"/>
                  </a:lnTo>
                  <a:lnTo>
                    <a:pt x="192" y="59"/>
                  </a:lnTo>
                  <a:lnTo>
                    <a:pt x="192" y="62"/>
                  </a:lnTo>
                  <a:lnTo>
                    <a:pt x="190" y="62"/>
                  </a:lnTo>
                  <a:lnTo>
                    <a:pt x="190" y="61"/>
                  </a:lnTo>
                  <a:lnTo>
                    <a:pt x="189" y="59"/>
                  </a:lnTo>
                  <a:lnTo>
                    <a:pt x="189" y="57"/>
                  </a:lnTo>
                  <a:lnTo>
                    <a:pt x="190" y="56"/>
                  </a:lnTo>
                  <a:lnTo>
                    <a:pt x="192" y="57"/>
                  </a:lnTo>
                  <a:lnTo>
                    <a:pt x="196" y="56"/>
                  </a:lnTo>
                  <a:lnTo>
                    <a:pt x="197" y="56"/>
                  </a:lnTo>
                  <a:lnTo>
                    <a:pt x="195" y="56"/>
                  </a:lnTo>
                  <a:lnTo>
                    <a:pt x="192" y="56"/>
                  </a:lnTo>
                  <a:lnTo>
                    <a:pt x="194" y="55"/>
                  </a:lnTo>
                  <a:lnTo>
                    <a:pt x="195" y="53"/>
                  </a:lnTo>
                  <a:lnTo>
                    <a:pt x="194" y="53"/>
                  </a:lnTo>
                  <a:lnTo>
                    <a:pt x="192" y="53"/>
                  </a:lnTo>
                  <a:lnTo>
                    <a:pt x="191" y="55"/>
                  </a:lnTo>
                  <a:lnTo>
                    <a:pt x="190" y="53"/>
                  </a:lnTo>
                  <a:lnTo>
                    <a:pt x="192" y="52"/>
                  </a:lnTo>
                  <a:lnTo>
                    <a:pt x="195" y="52"/>
                  </a:lnTo>
                  <a:lnTo>
                    <a:pt x="194" y="51"/>
                  </a:lnTo>
                  <a:lnTo>
                    <a:pt x="191" y="51"/>
                  </a:lnTo>
                  <a:lnTo>
                    <a:pt x="189" y="52"/>
                  </a:lnTo>
                  <a:lnTo>
                    <a:pt x="187" y="50"/>
                  </a:lnTo>
                  <a:lnTo>
                    <a:pt x="190" y="49"/>
                  </a:lnTo>
                  <a:lnTo>
                    <a:pt x="191" y="51"/>
                  </a:lnTo>
                  <a:lnTo>
                    <a:pt x="194" y="50"/>
                  </a:lnTo>
                  <a:lnTo>
                    <a:pt x="191" y="49"/>
                  </a:lnTo>
                  <a:lnTo>
                    <a:pt x="189" y="47"/>
                  </a:lnTo>
                  <a:lnTo>
                    <a:pt x="187" y="47"/>
                  </a:lnTo>
                  <a:lnTo>
                    <a:pt x="184" y="46"/>
                  </a:lnTo>
                  <a:lnTo>
                    <a:pt x="186" y="45"/>
                  </a:lnTo>
                  <a:lnTo>
                    <a:pt x="189" y="46"/>
                  </a:lnTo>
                  <a:lnTo>
                    <a:pt x="191" y="47"/>
                  </a:lnTo>
                  <a:lnTo>
                    <a:pt x="194" y="50"/>
                  </a:lnTo>
                  <a:lnTo>
                    <a:pt x="195" y="50"/>
                  </a:lnTo>
                  <a:lnTo>
                    <a:pt x="196" y="49"/>
                  </a:lnTo>
                  <a:lnTo>
                    <a:pt x="195" y="46"/>
                  </a:lnTo>
                  <a:lnTo>
                    <a:pt x="192" y="45"/>
                  </a:lnTo>
                  <a:lnTo>
                    <a:pt x="190" y="45"/>
                  </a:lnTo>
                  <a:lnTo>
                    <a:pt x="187" y="44"/>
                  </a:lnTo>
                  <a:lnTo>
                    <a:pt x="194" y="44"/>
                  </a:lnTo>
                  <a:lnTo>
                    <a:pt x="195" y="45"/>
                  </a:lnTo>
                  <a:lnTo>
                    <a:pt x="196" y="46"/>
                  </a:lnTo>
                  <a:lnTo>
                    <a:pt x="197" y="45"/>
                  </a:lnTo>
                  <a:lnTo>
                    <a:pt x="198" y="45"/>
                  </a:lnTo>
                  <a:lnTo>
                    <a:pt x="198" y="43"/>
                  </a:lnTo>
                  <a:lnTo>
                    <a:pt x="201" y="41"/>
                  </a:lnTo>
                  <a:lnTo>
                    <a:pt x="202" y="41"/>
                  </a:lnTo>
                  <a:lnTo>
                    <a:pt x="204" y="41"/>
                  </a:lnTo>
                  <a:lnTo>
                    <a:pt x="206" y="40"/>
                  </a:lnTo>
                  <a:lnTo>
                    <a:pt x="204" y="44"/>
                  </a:lnTo>
                  <a:lnTo>
                    <a:pt x="201" y="45"/>
                  </a:lnTo>
                  <a:lnTo>
                    <a:pt x="198" y="46"/>
                  </a:lnTo>
                  <a:lnTo>
                    <a:pt x="198" y="47"/>
                  </a:lnTo>
                  <a:lnTo>
                    <a:pt x="198" y="49"/>
                  </a:lnTo>
                  <a:lnTo>
                    <a:pt x="200" y="50"/>
                  </a:lnTo>
                  <a:lnTo>
                    <a:pt x="200" y="51"/>
                  </a:lnTo>
                  <a:lnTo>
                    <a:pt x="198" y="55"/>
                  </a:lnTo>
                  <a:lnTo>
                    <a:pt x="200" y="53"/>
                  </a:lnTo>
                  <a:lnTo>
                    <a:pt x="201" y="55"/>
                  </a:lnTo>
                  <a:lnTo>
                    <a:pt x="201" y="57"/>
                  </a:lnTo>
                  <a:lnTo>
                    <a:pt x="203" y="64"/>
                  </a:lnTo>
                  <a:lnTo>
                    <a:pt x="208" y="75"/>
                  </a:lnTo>
                  <a:lnTo>
                    <a:pt x="210" y="74"/>
                  </a:lnTo>
                  <a:lnTo>
                    <a:pt x="212" y="74"/>
                  </a:lnTo>
                  <a:lnTo>
                    <a:pt x="212" y="71"/>
                  </a:lnTo>
                  <a:lnTo>
                    <a:pt x="212" y="70"/>
                  </a:lnTo>
                  <a:lnTo>
                    <a:pt x="212" y="69"/>
                  </a:lnTo>
                  <a:lnTo>
                    <a:pt x="213" y="69"/>
                  </a:lnTo>
                  <a:lnTo>
                    <a:pt x="214" y="70"/>
                  </a:lnTo>
                  <a:lnTo>
                    <a:pt x="215" y="70"/>
                  </a:lnTo>
                  <a:lnTo>
                    <a:pt x="214" y="68"/>
                  </a:lnTo>
                  <a:lnTo>
                    <a:pt x="216" y="68"/>
                  </a:lnTo>
                  <a:lnTo>
                    <a:pt x="218" y="68"/>
                  </a:lnTo>
                  <a:lnTo>
                    <a:pt x="219" y="67"/>
                  </a:lnTo>
                  <a:lnTo>
                    <a:pt x="221" y="65"/>
                  </a:lnTo>
                  <a:lnTo>
                    <a:pt x="222" y="67"/>
                  </a:lnTo>
                  <a:lnTo>
                    <a:pt x="224" y="68"/>
                  </a:lnTo>
                  <a:lnTo>
                    <a:pt x="222" y="68"/>
                  </a:lnTo>
                  <a:lnTo>
                    <a:pt x="224" y="69"/>
                  </a:lnTo>
                  <a:lnTo>
                    <a:pt x="225" y="69"/>
                  </a:lnTo>
                  <a:lnTo>
                    <a:pt x="225" y="70"/>
                  </a:lnTo>
                  <a:lnTo>
                    <a:pt x="226" y="71"/>
                  </a:lnTo>
                  <a:lnTo>
                    <a:pt x="226" y="73"/>
                  </a:lnTo>
                  <a:lnTo>
                    <a:pt x="227" y="73"/>
                  </a:lnTo>
                  <a:lnTo>
                    <a:pt x="227" y="74"/>
                  </a:lnTo>
                  <a:lnTo>
                    <a:pt x="222" y="73"/>
                  </a:lnTo>
                  <a:lnTo>
                    <a:pt x="219" y="71"/>
                  </a:lnTo>
                  <a:lnTo>
                    <a:pt x="218" y="73"/>
                  </a:lnTo>
                  <a:lnTo>
                    <a:pt x="219" y="74"/>
                  </a:lnTo>
                  <a:lnTo>
                    <a:pt x="218" y="75"/>
                  </a:lnTo>
                  <a:lnTo>
                    <a:pt x="219" y="77"/>
                  </a:lnTo>
                  <a:lnTo>
                    <a:pt x="219" y="79"/>
                  </a:lnTo>
                  <a:lnTo>
                    <a:pt x="220" y="77"/>
                  </a:lnTo>
                  <a:lnTo>
                    <a:pt x="221" y="77"/>
                  </a:lnTo>
                  <a:lnTo>
                    <a:pt x="222" y="77"/>
                  </a:lnTo>
                  <a:lnTo>
                    <a:pt x="222" y="79"/>
                  </a:lnTo>
                  <a:lnTo>
                    <a:pt x="224" y="79"/>
                  </a:lnTo>
                  <a:lnTo>
                    <a:pt x="226" y="79"/>
                  </a:lnTo>
                  <a:lnTo>
                    <a:pt x="227" y="79"/>
                  </a:lnTo>
                  <a:lnTo>
                    <a:pt x="227" y="80"/>
                  </a:lnTo>
                  <a:lnTo>
                    <a:pt x="231" y="81"/>
                  </a:lnTo>
                  <a:lnTo>
                    <a:pt x="227" y="81"/>
                  </a:lnTo>
                  <a:lnTo>
                    <a:pt x="227" y="82"/>
                  </a:lnTo>
                  <a:lnTo>
                    <a:pt x="226" y="83"/>
                  </a:lnTo>
                  <a:lnTo>
                    <a:pt x="227" y="87"/>
                  </a:lnTo>
                  <a:lnTo>
                    <a:pt x="227" y="88"/>
                  </a:lnTo>
                  <a:lnTo>
                    <a:pt x="226" y="89"/>
                  </a:lnTo>
                  <a:lnTo>
                    <a:pt x="225" y="88"/>
                  </a:lnTo>
                  <a:lnTo>
                    <a:pt x="225" y="87"/>
                  </a:lnTo>
                  <a:lnTo>
                    <a:pt x="225" y="86"/>
                  </a:lnTo>
                  <a:lnTo>
                    <a:pt x="222" y="86"/>
                  </a:lnTo>
                  <a:lnTo>
                    <a:pt x="220" y="86"/>
                  </a:lnTo>
                  <a:lnTo>
                    <a:pt x="218" y="85"/>
                  </a:lnTo>
                  <a:lnTo>
                    <a:pt x="216" y="85"/>
                  </a:lnTo>
                  <a:lnTo>
                    <a:pt x="213" y="86"/>
                  </a:lnTo>
                  <a:lnTo>
                    <a:pt x="214" y="91"/>
                  </a:lnTo>
                  <a:lnTo>
                    <a:pt x="215" y="91"/>
                  </a:lnTo>
                  <a:lnTo>
                    <a:pt x="216" y="89"/>
                  </a:lnTo>
                  <a:lnTo>
                    <a:pt x="219" y="88"/>
                  </a:lnTo>
                  <a:lnTo>
                    <a:pt x="221" y="89"/>
                  </a:lnTo>
                  <a:lnTo>
                    <a:pt x="221" y="91"/>
                  </a:lnTo>
                  <a:lnTo>
                    <a:pt x="222" y="91"/>
                  </a:lnTo>
                  <a:lnTo>
                    <a:pt x="224" y="91"/>
                  </a:lnTo>
                  <a:lnTo>
                    <a:pt x="225" y="91"/>
                  </a:lnTo>
                  <a:lnTo>
                    <a:pt x="226" y="92"/>
                  </a:lnTo>
                  <a:lnTo>
                    <a:pt x="228" y="92"/>
                  </a:lnTo>
                  <a:lnTo>
                    <a:pt x="230" y="94"/>
                  </a:lnTo>
                  <a:lnTo>
                    <a:pt x="228" y="94"/>
                  </a:lnTo>
                  <a:lnTo>
                    <a:pt x="231" y="94"/>
                  </a:lnTo>
                  <a:lnTo>
                    <a:pt x="232" y="93"/>
                  </a:lnTo>
                  <a:lnTo>
                    <a:pt x="233" y="92"/>
                  </a:lnTo>
                  <a:lnTo>
                    <a:pt x="233" y="93"/>
                  </a:lnTo>
                  <a:lnTo>
                    <a:pt x="234" y="93"/>
                  </a:lnTo>
                  <a:lnTo>
                    <a:pt x="236" y="93"/>
                  </a:lnTo>
                  <a:lnTo>
                    <a:pt x="236" y="94"/>
                  </a:lnTo>
                  <a:lnTo>
                    <a:pt x="238" y="94"/>
                  </a:lnTo>
                  <a:lnTo>
                    <a:pt x="238" y="93"/>
                  </a:lnTo>
                  <a:lnTo>
                    <a:pt x="239" y="93"/>
                  </a:lnTo>
                  <a:lnTo>
                    <a:pt x="239" y="91"/>
                  </a:lnTo>
                  <a:lnTo>
                    <a:pt x="243" y="88"/>
                  </a:lnTo>
                  <a:lnTo>
                    <a:pt x="243" y="87"/>
                  </a:lnTo>
                  <a:lnTo>
                    <a:pt x="244" y="87"/>
                  </a:lnTo>
                  <a:lnTo>
                    <a:pt x="245" y="86"/>
                  </a:lnTo>
                  <a:lnTo>
                    <a:pt x="246" y="83"/>
                  </a:lnTo>
                  <a:lnTo>
                    <a:pt x="244" y="81"/>
                  </a:lnTo>
                  <a:lnTo>
                    <a:pt x="242" y="76"/>
                  </a:lnTo>
                  <a:lnTo>
                    <a:pt x="243" y="76"/>
                  </a:lnTo>
                  <a:lnTo>
                    <a:pt x="244" y="79"/>
                  </a:lnTo>
                  <a:lnTo>
                    <a:pt x="244" y="77"/>
                  </a:lnTo>
                  <a:lnTo>
                    <a:pt x="245" y="76"/>
                  </a:lnTo>
                  <a:lnTo>
                    <a:pt x="246" y="76"/>
                  </a:lnTo>
                  <a:lnTo>
                    <a:pt x="248" y="76"/>
                  </a:lnTo>
                  <a:lnTo>
                    <a:pt x="248" y="77"/>
                  </a:lnTo>
                  <a:lnTo>
                    <a:pt x="246" y="79"/>
                  </a:lnTo>
                  <a:lnTo>
                    <a:pt x="245" y="80"/>
                  </a:lnTo>
                  <a:lnTo>
                    <a:pt x="245" y="81"/>
                  </a:lnTo>
                  <a:lnTo>
                    <a:pt x="248" y="80"/>
                  </a:lnTo>
                  <a:lnTo>
                    <a:pt x="249" y="79"/>
                  </a:lnTo>
                  <a:lnTo>
                    <a:pt x="249" y="81"/>
                  </a:lnTo>
                  <a:lnTo>
                    <a:pt x="246" y="82"/>
                  </a:lnTo>
                  <a:lnTo>
                    <a:pt x="248" y="85"/>
                  </a:lnTo>
                  <a:lnTo>
                    <a:pt x="250" y="85"/>
                  </a:lnTo>
                  <a:lnTo>
                    <a:pt x="253" y="85"/>
                  </a:lnTo>
                  <a:lnTo>
                    <a:pt x="250" y="83"/>
                  </a:lnTo>
                  <a:lnTo>
                    <a:pt x="251" y="82"/>
                  </a:lnTo>
                  <a:lnTo>
                    <a:pt x="254" y="82"/>
                  </a:lnTo>
                  <a:lnTo>
                    <a:pt x="254" y="85"/>
                  </a:lnTo>
                  <a:lnTo>
                    <a:pt x="255" y="86"/>
                  </a:lnTo>
                  <a:lnTo>
                    <a:pt x="256" y="85"/>
                  </a:lnTo>
                  <a:lnTo>
                    <a:pt x="256" y="82"/>
                  </a:lnTo>
                  <a:lnTo>
                    <a:pt x="255" y="81"/>
                  </a:lnTo>
                  <a:lnTo>
                    <a:pt x="254" y="80"/>
                  </a:lnTo>
                  <a:lnTo>
                    <a:pt x="255" y="81"/>
                  </a:lnTo>
                  <a:lnTo>
                    <a:pt x="255" y="80"/>
                  </a:lnTo>
                  <a:lnTo>
                    <a:pt x="255" y="79"/>
                  </a:lnTo>
                  <a:lnTo>
                    <a:pt x="256" y="77"/>
                  </a:lnTo>
                  <a:lnTo>
                    <a:pt x="257" y="76"/>
                  </a:lnTo>
                  <a:lnTo>
                    <a:pt x="257" y="75"/>
                  </a:lnTo>
                  <a:lnTo>
                    <a:pt x="257" y="74"/>
                  </a:lnTo>
                  <a:lnTo>
                    <a:pt x="260" y="74"/>
                  </a:lnTo>
                  <a:lnTo>
                    <a:pt x="261" y="76"/>
                  </a:lnTo>
                  <a:lnTo>
                    <a:pt x="262" y="76"/>
                  </a:lnTo>
                  <a:lnTo>
                    <a:pt x="263" y="76"/>
                  </a:lnTo>
                  <a:lnTo>
                    <a:pt x="262" y="74"/>
                  </a:lnTo>
                  <a:lnTo>
                    <a:pt x="263" y="73"/>
                  </a:lnTo>
                  <a:lnTo>
                    <a:pt x="263" y="77"/>
                  </a:lnTo>
                  <a:lnTo>
                    <a:pt x="265" y="77"/>
                  </a:lnTo>
                  <a:lnTo>
                    <a:pt x="267" y="79"/>
                  </a:lnTo>
                  <a:lnTo>
                    <a:pt x="268" y="79"/>
                  </a:lnTo>
                  <a:lnTo>
                    <a:pt x="267" y="76"/>
                  </a:lnTo>
                  <a:lnTo>
                    <a:pt x="266" y="75"/>
                  </a:lnTo>
                  <a:lnTo>
                    <a:pt x="267" y="74"/>
                  </a:lnTo>
                  <a:lnTo>
                    <a:pt x="267" y="73"/>
                  </a:lnTo>
                  <a:lnTo>
                    <a:pt x="267" y="71"/>
                  </a:lnTo>
                  <a:lnTo>
                    <a:pt x="267" y="70"/>
                  </a:lnTo>
                  <a:lnTo>
                    <a:pt x="268" y="69"/>
                  </a:lnTo>
                  <a:lnTo>
                    <a:pt x="268" y="68"/>
                  </a:lnTo>
                  <a:lnTo>
                    <a:pt x="269" y="68"/>
                  </a:lnTo>
                  <a:lnTo>
                    <a:pt x="271" y="67"/>
                  </a:lnTo>
                  <a:lnTo>
                    <a:pt x="272" y="68"/>
                  </a:lnTo>
                  <a:lnTo>
                    <a:pt x="272" y="70"/>
                  </a:lnTo>
                  <a:lnTo>
                    <a:pt x="273" y="73"/>
                  </a:lnTo>
                  <a:lnTo>
                    <a:pt x="272" y="74"/>
                  </a:lnTo>
                  <a:lnTo>
                    <a:pt x="273" y="77"/>
                  </a:lnTo>
                  <a:lnTo>
                    <a:pt x="273" y="79"/>
                  </a:lnTo>
                  <a:lnTo>
                    <a:pt x="272" y="79"/>
                  </a:lnTo>
                  <a:lnTo>
                    <a:pt x="271" y="79"/>
                  </a:lnTo>
                  <a:lnTo>
                    <a:pt x="271" y="80"/>
                  </a:lnTo>
                  <a:lnTo>
                    <a:pt x="272" y="80"/>
                  </a:lnTo>
                  <a:lnTo>
                    <a:pt x="273" y="81"/>
                  </a:lnTo>
                  <a:lnTo>
                    <a:pt x="274" y="82"/>
                  </a:lnTo>
                  <a:lnTo>
                    <a:pt x="274" y="83"/>
                  </a:lnTo>
                  <a:lnTo>
                    <a:pt x="275" y="83"/>
                  </a:lnTo>
                  <a:lnTo>
                    <a:pt x="277" y="82"/>
                  </a:lnTo>
                  <a:lnTo>
                    <a:pt x="278" y="83"/>
                  </a:lnTo>
                  <a:lnTo>
                    <a:pt x="279" y="83"/>
                  </a:lnTo>
                  <a:lnTo>
                    <a:pt x="279" y="86"/>
                  </a:lnTo>
                  <a:lnTo>
                    <a:pt x="280" y="86"/>
                  </a:lnTo>
                  <a:lnTo>
                    <a:pt x="281" y="87"/>
                  </a:lnTo>
                  <a:lnTo>
                    <a:pt x="283" y="88"/>
                  </a:lnTo>
                  <a:lnTo>
                    <a:pt x="283" y="89"/>
                  </a:lnTo>
                  <a:lnTo>
                    <a:pt x="284" y="91"/>
                  </a:lnTo>
                  <a:lnTo>
                    <a:pt x="285" y="91"/>
                  </a:lnTo>
                  <a:lnTo>
                    <a:pt x="286" y="92"/>
                  </a:lnTo>
                  <a:lnTo>
                    <a:pt x="287" y="91"/>
                  </a:lnTo>
                  <a:lnTo>
                    <a:pt x="287" y="87"/>
                  </a:lnTo>
                  <a:lnTo>
                    <a:pt x="287" y="85"/>
                  </a:lnTo>
                  <a:lnTo>
                    <a:pt x="287" y="83"/>
                  </a:lnTo>
                  <a:lnTo>
                    <a:pt x="287" y="82"/>
                  </a:lnTo>
                  <a:lnTo>
                    <a:pt x="289" y="82"/>
                  </a:lnTo>
                  <a:lnTo>
                    <a:pt x="289" y="81"/>
                  </a:lnTo>
                  <a:lnTo>
                    <a:pt x="287" y="81"/>
                  </a:lnTo>
                  <a:lnTo>
                    <a:pt x="287" y="79"/>
                  </a:lnTo>
                  <a:lnTo>
                    <a:pt x="287" y="76"/>
                  </a:lnTo>
                  <a:lnTo>
                    <a:pt x="289" y="77"/>
                  </a:lnTo>
                  <a:lnTo>
                    <a:pt x="290" y="77"/>
                  </a:lnTo>
                  <a:lnTo>
                    <a:pt x="290" y="79"/>
                  </a:lnTo>
                  <a:lnTo>
                    <a:pt x="290" y="82"/>
                  </a:lnTo>
                  <a:lnTo>
                    <a:pt x="289" y="82"/>
                  </a:lnTo>
                  <a:lnTo>
                    <a:pt x="291" y="82"/>
                  </a:lnTo>
                  <a:lnTo>
                    <a:pt x="290" y="83"/>
                  </a:lnTo>
                  <a:lnTo>
                    <a:pt x="289" y="87"/>
                  </a:lnTo>
                  <a:lnTo>
                    <a:pt x="287" y="92"/>
                  </a:lnTo>
                  <a:lnTo>
                    <a:pt x="287" y="93"/>
                  </a:lnTo>
                  <a:lnTo>
                    <a:pt x="289" y="92"/>
                  </a:lnTo>
                  <a:lnTo>
                    <a:pt x="291" y="91"/>
                  </a:lnTo>
                  <a:lnTo>
                    <a:pt x="291" y="92"/>
                  </a:lnTo>
                  <a:lnTo>
                    <a:pt x="292" y="92"/>
                  </a:lnTo>
                  <a:lnTo>
                    <a:pt x="293" y="92"/>
                  </a:lnTo>
                  <a:lnTo>
                    <a:pt x="295" y="89"/>
                  </a:lnTo>
                  <a:lnTo>
                    <a:pt x="296" y="88"/>
                  </a:lnTo>
                  <a:lnTo>
                    <a:pt x="297" y="89"/>
                  </a:lnTo>
                  <a:lnTo>
                    <a:pt x="298" y="89"/>
                  </a:lnTo>
                  <a:lnTo>
                    <a:pt x="299" y="89"/>
                  </a:lnTo>
                  <a:lnTo>
                    <a:pt x="302" y="89"/>
                  </a:lnTo>
                  <a:lnTo>
                    <a:pt x="303" y="89"/>
                  </a:lnTo>
                  <a:lnTo>
                    <a:pt x="299" y="92"/>
                  </a:lnTo>
                  <a:lnTo>
                    <a:pt x="296" y="92"/>
                  </a:lnTo>
                  <a:lnTo>
                    <a:pt x="293" y="94"/>
                  </a:lnTo>
                  <a:lnTo>
                    <a:pt x="291" y="97"/>
                  </a:lnTo>
                  <a:lnTo>
                    <a:pt x="287" y="98"/>
                  </a:lnTo>
                  <a:lnTo>
                    <a:pt x="286" y="100"/>
                  </a:lnTo>
                  <a:lnTo>
                    <a:pt x="285" y="101"/>
                  </a:lnTo>
                  <a:lnTo>
                    <a:pt x="286" y="100"/>
                  </a:lnTo>
                  <a:lnTo>
                    <a:pt x="289" y="99"/>
                  </a:lnTo>
                  <a:lnTo>
                    <a:pt x="292" y="97"/>
                  </a:lnTo>
                  <a:lnTo>
                    <a:pt x="290" y="101"/>
                  </a:lnTo>
                  <a:lnTo>
                    <a:pt x="289" y="103"/>
                  </a:lnTo>
                  <a:lnTo>
                    <a:pt x="291" y="104"/>
                  </a:lnTo>
                  <a:lnTo>
                    <a:pt x="293" y="105"/>
                  </a:lnTo>
                  <a:lnTo>
                    <a:pt x="295" y="104"/>
                  </a:lnTo>
                  <a:lnTo>
                    <a:pt x="298" y="104"/>
                  </a:lnTo>
                  <a:lnTo>
                    <a:pt x="299" y="105"/>
                  </a:lnTo>
                  <a:lnTo>
                    <a:pt x="299" y="106"/>
                  </a:lnTo>
                  <a:lnTo>
                    <a:pt x="301" y="107"/>
                  </a:lnTo>
                  <a:lnTo>
                    <a:pt x="301" y="110"/>
                  </a:lnTo>
                  <a:lnTo>
                    <a:pt x="301" y="111"/>
                  </a:lnTo>
                  <a:lnTo>
                    <a:pt x="301" y="112"/>
                  </a:lnTo>
                  <a:lnTo>
                    <a:pt x="301" y="113"/>
                  </a:lnTo>
                  <a:lnTo>
                    <a:pt x="302" y="115"/>
                  </a:lnTo>
                  <a:lnTo>
                    <a:pt x="303" y="112"/>
                  </a:lnTo>
                  <a:lnTo>
                    <a:pt x="303" y="111"/>
                  </a:lnTo>
                  <a:lnTo>
                    <a:pt x="305" y="109"/>
                  </a:lnTo>
                  <a:lnTo>
                    <a:pt x="305" y="112"/>
                  </a:lnTo>
                  <a:lnTo>
                    <a:pt x="307" y="115"/>
                  </a:lnTo>
                  <a:lnTo>
                    <a:pt x="308" y="112"/>
                  </a:lnTo>
                  <a:lnTo>
                    <a:pt x="308" y="115"/>
                  </a:lnTo>
                  <a:lnTo>
                    <a:pt x="309" y="116"/>
                  </a:lnTo>
                  <a:lnTo>
                    <a:pt x="311" y="115"/>
                  </a:lnTo>
                  <a:lnTo>
                    <a:pt x="311" y="117"/>
                  </a:lnTo>
                  <a:lnTo>
                    <a:pt x="313" y="116"/>
                  </a:lnTo>
                  <a:lnTo>
                    <a:pt x="314" y="116"/>
                  </a:lnTo>
                  <a:lnTo>
                    <a:pt x="316" y="117"/>
                  </a:lnTo>
                  <a:lnTo>
                    <a:pt x="313" y="118"/>
                  </a:lnTo>
                  <a:lnTo>
                    <a:pt x="308" y="118"/>
                  </a:lnTo>
                  <a:lnTo>
                    <a:pt x="309" y="119"/>
                  </a:lnTo>
                  <a:lnTo>
                    <a:pt x="310" y="119"/>
                  </a:lnTo>
                  <a:lnTo>
                    <a:pt x="311" y="121"/>
                  </a:lnTo>
                  <a:lnTo>
                    <a:pt x="313" y="119"/>
                  </a:lnTo>
                  <a:lnTo>
                    <a:pt x="314" y="119"/>
                  </a:lnTo>
                  <a:lnTo>
                    <a:pt x="316" y="121"/>
                  </a:lnTo>
                  <a:lnTo>
                    <a:pt x="319" y="121"/>
                  </a:lnTo>
                  <a:lnTo>
                    <a:pt x="319" y="122"/>
                  </a:lnTo>
                  <a:lnTo>
                    <a:pt x="321" y="122"/>
                  </a:lnTo>
                  <a:lnTo>
                    <a:pt x="321" y="121"/>
                  </a:lnTo>
                  <a:lnTo>
                    <a:pt x="322" y="119"/>
                  </a:lnTo>
                  <a:lnTo>
                    <a:pt x="322" y="117"/>
                  </a:lnTo>
                  <a:lnTo>
                    <a:pt x="325" y="116"/>
                  </a:lnTo>
                  <a:lnTo>
                    <a:pt x="324" y="118"/>
                  </a:lnTo>
                  <a:lnTo>
                    <a:pt x="325" y="118"/>
                  </a:lnTo>
                  <a:lnTo>
                    <a:pt x="326" y="118"/>
                  </a:lnTo>
                  <a:lnTo>
                    <a:pt x="327" y="117"/>
                  </a:lnTo>
                  <a:lnTo>
                    <a:pt x="326" y="117"/>
                  </a:lnTo>
                  <a:lnTo>
                    <a:pt x="326" y="116"/>
                  </a:lnTo>
                  <a:lnTo>
                    <a:pt x="326" y="115"/>
                  </a:lnTo>
                  <a:lnTo>
                    <a:pt x="325" y="112"/>
                  </a:lnTo>
                  <a:lnTo>
                    <a:pt x="322" y="113"/>
                  </a:lnTo>
                  <a:lnTo>
                    <a:pt x="320" y="115"/>
                  </a:lnTo>
                  <a:lnTo>
                    <a:pt x="320" y="112"/>
                  </a:lnTo>
                  <a:lnTo>
                    <a:pt x="322" y="110"/>
                  </a:lnTo>
                  <a:lnTo>
                    <a:pt x="324" y="110"/>
                  </a:lnTo>
                  <a:lnTo>
                    <a:pt x="326" y="111"/>
                  </a:lnTo>
                  <a:lnTo>
                    <a:pt x="326" y="112"/>
                  </a:lnTo>
                  <a:lnTo>
                    <a:pt x="328" y="111"/>
                  </a:lnTo>
                  <a:lnTo>
                    <a:pt x="330" y="111"/>
                  </a:lnTo>
                  <a:lnTo>
                    <a:pt x="331" y="111"/>
                  </a:lnTo>
                  <a:lnTo>
                    <a:pt x="332" y="109"/>
                  </a:lnTo>
                  <a:lnTo>
                    <a:pt x="333" y="107"/>
                  </a:lnTo>
                  <a:lnTo>
                    <a:pt x="334" y="107"/>
                  </a:lnTo>
                  <a:lnTo>
                    <a:pt x="336" y="107"/>
                  </a:lnTo>
                  <a:lnTo>
                    <a:pt x="336" y="106"/>
                  </a:lnTo>
                  <a:lnTo>
                    <a:pt x="334" y="105"/>
                  </a:lnTo>
                  <a:lnTo>
                    <a:pt x="333" y="107"/>
                  </a:lnTo>
                  <a:lnTo>
                    <a:pt x="333" y="105"/>
                  </a:lnTo>
                  <a:lnTo>
                    <a:pt x="333" y="104"/>
                  </a:lnTo>
                  <a:lnTo>
                    <a:pt x="332" y="106"/>
                  </a:lnTo>
                  <a:lnTo>
                    <a:pt x="331" y="109"/>
                  </a:lnTo>
                  <a:lnTo>
                    <a:pt x="330" y="109"/>
                  </a:lnTo>
                  <a:lnTo>
                    <a:pt x="328" y="109"/>
                  </a:lnTo>
                  <a:lnTo>
                    <a:pt x="328" y="106"/>
                  </a:lnTo>
                  <a:lnTo>
                    <a:pt x="328" y="105"/>
                  </a:lnTo>
                  <a:lnTo>
                    <a:pt x="331" y="103"/>
                  </a:lnTo>
                  <a:lnTo>
                    <a:pt x="332" y="101"/>
                  </a:lnTo>
                  <a:lnTo>
                    <a:pt x="332" y="100"/>
                  </a:lnTo>
                  <a:lnTo>
                    <a:pt x="333" y="99"/>
                  </a:lnTo>
                  <a:lnTo>
                    <a:pt x="332" y="97"/>
                  </a:lnTo>
                  <a:lnTo>
                    <a:pt x="324" y="89"/>
                  </a:lnTo>
                  <a:lnTo>
                    <a:pt x="318" y="76"/>
                  </a:lnTo>
                  <a:lnTo>
                    <a:pt x="318" y="77"/>
                  </a:lnTo>
                  <a:lnTo>
                    <a:pt x="319" y="81"/>
                  </a:lnTo>
                  <a:lnTo>
                    <a:pt x="319" y="85"/>
                  </a:lnTo>
                  <a:lnTo>
                    <a:pt x="318" y="83"/>
                  </a:lnTo>
                  <a:lnTo>
                    <a:pt x="318" y="82"/>
                  </a:lnTo>
                  <a:lnTo>
                    <a:pt x="318" y="81"/>
                  </a:lnTo>
                  <a:lnTo>
                    <a:pt x="318" y="82"/>
                  </a:lnTo>
                  <a:lnTo>
                    <a:pt x="316" y="85"/>
                  </a:lnTo>
                  <a:lnTo>
                    <a:pt x="318" y="85"/>
                  </a:lnTo>
                  <a:lnTo>
                    <a:pt x="318" y="87"/>
                  </a:lnTo>
                  <a:lnTo>
                    <a:pt x="316" y="89"/>
                  </a:lnTo>
                  <a:lnTo>
                    <a:pt x="316" y="92"/>
                  </a:lnTo>
                  <a:lnTo>
                    <a:pt x="316" y="88"/>
                  </a:lnTo>
                  <a:lnTo>
                    <a:pt x="315" y="86"/>
                  </a:lnTo>
                  <a:lnTo>
                    <a:pt x="314" y="86"/>
                  </a:lnTo>
                  <a:lnTo>
                    <a:pt x="314" y="87"/>
                  </a:lnTo>
                  <a:lnTo>
                    <a:pt x="313" y="86"/>
                  </a:lnTo>
                  <a:lnTo>
                    <a:pt x="313" y="85"/>
                  </a:lnTo>
                  <a:lnTo>
                    <a:pt x="311" y="82"/>
                  </a:lnTo>
                  <a:lnTo>
                    <a:pt x="309" y="83"/>
                  </a:lnTo>
                  <a:lnTo>
                    <a:pt x="308" y="85"/>
                  </a:lnTo>
                  <a:lnTo>
                    <a:pt x="307" y="86"/>
                  </a:lnTo>
                  <a:lnTo>
                    <a:pt x="305" y="87"/>
                  </a:lnTo>
                  <a:lnTo>
                    <a:pt x="305" y="83"/>
                  </a:lnTo>
                  <a:lnTo>
                    <a:pt x="308" y="81"/>
                  </a:lnTo>
                  <a:lnTo>
                    <a:pt x="307" y="81"/>
                  </a:lnTo>
                  <a:lnTo>
                    <a:pt x="303" y="83"/>
                  </a:lnTo>
                  <a:lnTo>
                    <a:pt x="303" y="85"/>
                  </a:lnTo>
                  <a:lnTo>
                    <a:pt x="303" y="81"/>
                  </a:lnTo>
                  <a:lnTo>
                    <a:pt x="302" y="80"/>
                  </a:lnTo>
                  <a:lnTo>
                    <a:pt x="303" y="80"/>
                  </a:lnTo>
                  <a:lnTo>
                    <a:pt x="303" y="77"/>
                  </a:lnTo>
                  <a:lnTo>
                    <a:pt x="303" y="76"/>
                  </a:lnTo>
                  <a:lnTo>
                    <a:pt x="304" y="75"/>
                  </a:lnTo>
                  <a:lnTo>
                    <a:pt x="308" y="75"/>
                  </a:lnTo>
                  <a:lnTo>
                    <a:pt x="308" y="74"/>
                  </a:lnTo>
                  <a:lnTo>
                    <a:pt x="308" y="73"/>
                  </a:lnTo>
                  <a:lnTo>
                    <a:pt x="309" y="70"/>
                  </a:lnTo>
                  <a:lnTo>
                    <a:pt x="310" y="70"/>
                  </a:lnTo>
                  <a:lnTo>
                    <a:pt x="308" y="70"/>
                  </a:lnTo>
                  <a:lnTo>
                    <a:pt x="307" y="71"/>
                  </a:lnTo>
                  <a:lnTo>
                    <a:pt x="307" y="70"/>
                  </a:lnTo>
                  <a:lnTo>
                    <a:pt x="305" y="70"/>
                  </a:lnTo>
                  <a:lnTo>
                    <a:pt x="304" y="69"/>
                  </a:lnTo>
                  <a:lnTo>
                    <a:pt x="303" y="70"/>
                  </a:lnTo>
                  <a:lnTo>
                    <a:pt x="302" y="69"/>
                  </a:lnTo>
                  <a:lnTo>
                    <a:pt x="301" y="69"/>
                  </a:lnTo>
                  <a:lnTo>
                    <a:pt x="301" y="68"/>
                  </a:lnTo>
                  <a:lnTo>
                    <a:pt x="297" y="67"/>
                  </a:lnTo>
                  <a:lnTo>
                    <a:pt x="297" y="65"/>
                  </a:lnTo>
                  <a:lnTo>
                    <a:pt x="299" y="65"/>
                  </a:lnTo>
                  <a:lnTo>
                    <a:pt x="299" y="64"/>
                  </a:lnTo>
                  <a:lnTo>
                    <a:pt x="299" y="63"/>
                  </a:lnTo>
                  <a:lnTo>
                    <a:pt x="301" y="62"/>
                  </a:lnTo>
                  <a:lnTo>
                    <a:pt x="303" y="62"/>
                  </a:lnTo>
                  <a:lnTo>
                    <a:pt x="304" y="62"/>
                  </a:lnTo>
                  <a:lnTo>
                    <a:pt x="303" y="61"/>
                  </a:lnTo>
                  <a:lnTo>
                    <a:pt x="303" y="59"/>
                  </a:lnTo>
                  <a:lnTo>
                    <a:pt x="302" y="58"/>
                  </a:lnTo>
                  <a:lnTo>
                    <a:pt x="302" y="61"/>
                  </a:lnTo>
                  <a:lnTo>
                    <a:pt x="301" y="58"/>
                  </a:lnTo>
                  <a:lnTo>
                    <a:pt x="299" y="56"/>
                  </a:lnTo>
                  <a:lnTo>
                    <a:pt x="298" y="56"/>
                  </a:lnTo>
                  <a:lnTo>
                    <a:pt x="297" y="56"/>
                  </a:lnTo>
                  <a:lnTo>
                    <a:pt x="297" y="52"/>
                  </a:lnTo>
                  <a:lnTo>
                    <a:pt x="298" y="50"/>
                  </a:lnTo>
                  <a:lnTo>
                    <a:pt x="298" y="47"/>
                  </a:lnTo>
                  <a:lnTo>
                    <a:pt x="298" y="46"/>
                  </a:lnTo>
                  <a:lnTo>
                    <a:pt x="297" y="49"/>
                  </a:lnTo>
                  <a:lnTo>
                    <a:pt x="296" y="50"/>
                  </a:lnTo>
                  <a:lnTo>
                    <a:pt x="295" y="53"/>
                  </a:lnTo>
                  <a:lnTo>
                    <a:pt x="295" y="52"/>
                  </a:lnTo>
                  <a:lnTo>
                    <a:pt x="293" y="50"/>
                  </a:lnTo>
                  <a:lnTo>
                    <a:pt x="293" y="47"/>
                  </a:lnTo>
                  <a:lnTo>
                    <a:pt x="293" y="46"/>
                  </a:lnTo>
                  <a:lnTo>
                    <a:pt x="292" y="46"/>
                  </a:lnTo>
                  <a:lnTo>
                    <a:pt x="292" y="50"/>
                  </a:lnTo>
                  <a:lnTo>
                    <a:pt x="291" y="52"/>
                  </a:lnTo>
                  <a:lnTo>
                    <a:pt x="290" y="52"/>
                  </a:lnTo>
                  <a:lnTo>
                    <a:pt x="290" y="53"/>
                  </a:lnTo>
                  <a:lnTo>
                    <a:pt x="290" y="55"/>
                  </a:lnTo>
                  <a:lnTo>
                    <a:pt x="289" y="56"/>
                  </a:lnTo>
                  <a:lnTo>
                    <a:pt x="289" y="55"/>
                  </a:lnTo>
                  <a:lnTo>
                    <a:pt x="289" y="57"/>
                  </a:lnTo>
                  <a:lnTo>
                    <a:pt x="287" y="57"/>
                  </a:lnTo>
                  <a:lnTo>
                    <a:pt x="287" y="56"/>
                  </a:lnTo>
                  <a:lnTo>
                    <a:pt x="286" y="53"/>
                  </a:lnTo>
                  <a:lnTo>
                    <a:pt x="286" y="52"/>
                  </a:lnTo>
                  <a:lnTo>
                    <a:pt x="285" y="53"/>
                  </a:lnTo>
                  <a:lnTo>
                    <a:pt x="284" y="53"/>
                  </a:lnTo>
                  <a:lnTo>
                    <a:pt x="283" y="55"/>
                  </a:lnTo>
                  <a:lnTo>
                    <a:pt x="281" y="56"/>
                  </a:lnTo>
                  <a:lnTo>
                    <a:pt x="280" y="57"/>
                  </a:lnTo>
                  <a:lnTo>
                    <a:pt x="280" y="53"/>
                  </a:lnTo>
                  <a:lnTo>
                    <a:pt x="281" y="51"/>
                  </a:lnTo>
                  <a:lnTo>
                    <a:pt x="281" y="49"/>
                  </a:lnTo>
                  <a:lnTo>
                    <a:pt x="280" y="49"/>
                  </a:lnTo>
                  <a:lnTo>
                    <a:pt x="280" y="46"/>
                  </a:lnTo>
                  <a:lnTo>
                    <a:pt x="281" y="44"/>
                  </a:lnTo>
                  <a:lnTo>
                    <a:pt x="283" y="43"/>
                  </a:lnTo>
                  <a:lnTo>
                    <a:pt x="283" y="41"/>
                  </a:lnTo>
                  <a:lnTo>
                    <a:pt x="284" y="39"/>
                  </a:lnTo>
                  <a:lnTo>
                    <a:pt x="285" y="38"/>
                  </a:lnTo>
                  <a:lnTo>
                    <a:pt x="285" y="37"/>
                  </a:lnTo>
                  <a:lnTo>
                    <a:pt x="284" y="38"/>
                  </a:lnTo>
                  <a:lnTo>
                    <a:pt x="283" y="39"/>
                  </a:lnTo>
                  <a:lnTo>
                    <a:pt x="283" y="38"/>
                  </a:lnTo>
                  <a:lnTo>
                    <a:pt x="280" y="39"/>
                  </a:lnTo>
                  <a:lnTo>
                    <a:pt x="279" y="39"/>
                  </a:lnTo>
                  <a:lnTo>
                    <a:pt x="278" y="38"/>
                  </a:lnTo>
                  <a:lnTo>
                    <a:pt x="275" y="39"/>
                  </a:lnTo>
                  <a:lnTo>
                    <a:pt x="274" y="40"/>
                  </a:lnTo>
                  <a:lnTo>
                    <a:pt x="271" y="45"/>
                  </a:lnTo>
                  <a:lnTo>
                    <a:pt x="269" y="46"/>
                  </a:lnTo>
                  <a:lnTo>
                    <a:pt x="268" y="49"/>
                  </a:lnTo>
                  <a:lnTo>
                    <a:pt x="267" y="46"/>
                  </a:lnTo>
                  <a:lnTo>
                    <a:pt x="267" y="43"/>
                  </a:lnTo>
                  <a:lnTo>
                    <a:pt x="268" y="40"/>
                  </a:lnTo>
                  <a:lnTo>
                    <a:pt x="268" y="38"/>
                  </a:lnTo>
                  <a:lnTo>
                    <a:pt x="269" y="37"/>
                  </a:lnTo>
                  <a:lnTo>
                    <a:pt x="271" y="35"/>
                  </a:lnTo>
                  <a:lnTo>
                    <a:pt x="273" y="37"/>
                  </a:lnTo>
                  <a:lnTo>
                    <a:pt x="277" y="37"/>
                  </a:lnTo>
                  <a:lnTo>
                    <a:pt x="279" y="34"/>
                  </a:lnTo>
                  <a:lnTo>
                    <a:pt x="281" y="33"/>
                  </a:lnTo>
                  <a:lnTo>
                    <a:pt x="281" y="32"/>
                  </a:lnTo>
                  <a:lnTo>
                    <a:pt x="280" y="31"/>
                  </a:lnTo>
                  <a:lnTo>
                    <a:pt x="280" y="28"/>
                  </a:lnTo>
                  <a:lnTo>
                    <a:pt x="279" y="27"/>
                  </a:lnTo>
                  <a:lnTo>
                    <a:pt x="280" y="24"/>
                  </a:lnTo>
                  <a:lnTo>
                    <a:pt x="278" y="24"/>
                  </a:lnTo>
                  <a:lnTo>
                    <a:pt x="277" y="28"/>
                  </a:lnTo>
                  <a:lnTo>
                    <a:pt x="274" y="29"/>
                  </a:lnTo>
                  <a:lnTo>
                    <a:pt x="274" y="27"/>
                  </a:lnTo>
                  <a:lnTo>
                    <a:pt x="274" y="22"/>
                  </a:lnTo>
                  <a:lnTo>
                    <a:pt x="274" y="21"/>
                  </a:lnTo>
                  <a:lnTo>
                    <a:pt x="273" y="21"/>
                  </a:lnTo>
                  <a:lnTo>
                    <a:pt x="274" y="17"/>
                  </a:lnTo>
                  <a:lnTo>
                    <a:pt x="278" y="16"/>
                  </a:lnTo>
                  <a:lnTo>
                    <a:pt x="279" y="14"/>
                  </a:lnTo>
                  <a:lnTo>
                    <a:pt x="280" y="12"/>
                  </a:lnTo>
                  <a:lnTo>
                    <a:pt x="283" y="11"/>
                  </a:lnTo>
                  <a:lnTo>
                    <a:pt x="283" y="9"/>
                  </a:lnTo>
                  <a:lnTo>
                    <a:pt x="279" y="8"/>
                  </a:lnTo>
                  <a:lnTo>
                    <a:pt x="277" y="6"/>
                  </a:lnTo>
                  <a:lnTo>
                    <a:pt x="279" y="6"/>
                  </a:lnTo>
                  <a:lnTo>
                    <a:pt x="281" y="6"/>
                  </a:lnTo>
                  <a:lnTo>
                    <a:pt x="283" y="5"/>
                  </a:lnTo>
                  <a:lnTo>
                    <a:pt x="283" y="4"/>
                  </a:lnTo>
                  <a:lnTo>
                    <a:pt x="283" y="3"/>
                  </a:lnTo>
                  <a:lnTo>
                    <a:pt x="284" y="2"/>
                  </a:lnTo>
                  <a:lnTo>
                    <a:pt x="285" y="0"/>
                  </a:lnTo>
                  <a:lnTo>
                    <a:pt x="286" y="0"/>
                  </a:lnTo>
                  <a:lnTo>
                    <a:pt x="287" y="0"/>
                  </a:lnTo>
                  <a:lnTo>
                    <a:pt x="289" y="0"/>
                  </a:lnTo>
                  <a:lnTo>
                    <a:pt x="289" y="2"/>
                  </a:lnTo>
                  <a:lnTo>
                    <a:pt x="290" y="2"/>
                  </a:lnTo>
                  <a:lnTo>
                    <a:pt x="290" y="3"/>
                  </a:lnTo>
                  <a:lnTo>
                    <a:pt x="291" y="3"/>
                  </a:lnTo>
                  <a:lnTo>
                    <a:pt x="292" y="2"/>
                  </a:lnTo>
                  <a:lnTo>
                    <a:pt x="293" y="2"/>
                  </a:lnTo>
                  <a:lnTo>
                    <a:pt x="295" y="2"/>
                  </a:lnTo>
                  <a:lnTo>
                    <a:pt x="296" y="0"/>
                  </a:lnTo>
                  <a:lnTo>
                    <a:pt x="295" y="4"/>
                  </a:lnTo>
                  <a:lnTo>
                    <a:pt x="292" y="10"/>
                  </a:lnTo>
                  <a:lnTo>
                    <a:pt x="293" y="11"/>
                  </a:lnTo>
                  <a:lnTo>
                    <a:pt x="295" y="9"/>
                  </a:lnTo>
                  <a:lnTo>
                    <a:pt x="296" y="12"/>
                  </a:lnTo>
                  <a:lnTo>
                    <a:pt x="296" y="16"/>
                  </a:lnTo>
                  <a:lnTo>
                    <a:pt x="297" y="18"/>
                  </a:lnTo>
                  <a:lnTo>
                    <a:pt x="297" y="17"/>
                  </a:lnTo>
                  <a:lnTo>
                    <a:pt x="298" y="18"/>
                  </a:lnTo>
                  <a:lnTo>
                    <a:pt x="299" y="17"/>
                  </a:lnTo>
                  <a:lnTo>
                    <a:pt x="298" y="14"/>
                  </a:lnTo>
                  <a:lnTo>
                    <a:pt x="301" y="14"/>
                  </a:lnTo>
                  <a:lnTo>
                    <a:pt x="304" y="15"/>
                  </a:lnTo>
                  <a:lnTo>
                    <a:pt x="305" y="17"/>
                  </a:lnTo>
                  <a:lnTo>
                    <a:pt x="307" y="20"/>
                  </a:lnTo>
                  <a:lnTo>
                    <a:pt x="305" y="20"/>
                  </a:lnTo>
                  <a:lnTo>
                    <a:pt x="304" y="21"/>
                  </a:lnTo>
                  <a:lnTo>
                    <a:pt x="304" y="20"/>
                  </a:lnTo>
                  <a:lnTo>
                    <a:pt x="303" y="21"/>
                  </a:lnTo>
                  <a:lnTo>
                    <a:pt x="302" y="20"/>
                  </a:lnTo>
                  <a:lnTo>
                    <a:pt x="301" y="18"/>
                  </a:lnTo>
                  <a:lnTo>
                    <a:pt x="301" y="21"/>
                  </a:lnTo>
                  <a:lnTo>
                    <a:pt x="302" y="22"/>
                  </a:lnTo>
                  <a:lnTo>
                    <a:pt x="303" y="24"/>
                  </a:lnTo>
                  <a:lnTo>
                    <a:pt x="304" y="26"/>
                  </a:lnTo>
                  <a:lnTo>
                    <a:pt x="305" y="27"/>
                  </a:lnTo>
                  <a:lnTo>
                    <a:pt x="307" y="29"/>
                  </a:lnTo>
                  <a:lnTo>
                    <a:pt x="308" y="31"/>
                  </a:lnTo>
                  <a:lnTo>
                    <a:pt x="309" y="29"/>
                  </a:lnTo>
                  <a:lnTo>
                    <a:pt x="309" y="31"/>
                  </a:lnTo>
                  <a:lnTo>
                    <a:pt x="310" y="31"/>
                  </a:lnTo>
                  <a:lnTo>
                    <a:pt x="311" y="29"/>
                  </a:lnTo>
                  <a:lnTo>
                    <a:pt x="314" y="29"/>
                  </a:lnTo>
                  <a:lnTo>
                    <a:pt x="315" y="31"/>
                  </a:lnTo>
                  <a:lnTo>
                    <a:pt x="315" y="29"/>
                  </a:lnTo>
                  <a:lnTo>
                    <a:pt x="314" y="28"/>
                  </a:lnTo>
                  <a:lnTo>
                    <a:pt x="314" y="24"/>
                  </a:lnTo>
                  <a:lnTo>
                    <a:pt x="315" y="22"/>
                  </a:lnTo>
                  <a:lnTo>
                    <a:pt x="316" y="22"/>
                  </a:lnTo>
                  <a:lnTo>
                    <a:pt x="318" y="21"/>
                  </a:lnTo>
                  <a:lnTo>
                    <a:pt x="319" y="22"/>
                  </a:lnTo>
                  <a:lnTo>
                    <a:pt x="321" y="23"/>
                  </a:lnTo>
                  <a:lnTo>
                    <a:pt x="322" y="24"/>
                  </a:lnTo>
                  <a:lnTo>
                    <a:pt x="325" y="24"/>
                  </a:lnTo>
                  <a:lnTo>
                    <a:pt x="327" y="23"/>
                  </a:lnTo>
                  <a:lnTo>
                    <a:pt x="325" y="24"/>
                  </a:lnTo>
                  <a:lnTo>
                    <a:pt x="324" y="27"/>
                  </a:lnTo>
                  <a:lnTo>
                    <a:pt x="322" y="26"/>
                  </a:lnTo>
                  <a:lnTo>
                    <a:pt x="321" y="26"/>
                  </a:lnTo>
                  <a:lnTo>
                    <a:pt x="319" y="29"/>
                  </a:lnTo>
                  <a:lnTo>
                    <a:pt x="321" y="31"/>
                  </a:lnTo>
                  <a:lnTo>
                    <a:pt x="324" y="32"/>
                  </a:lnTo>
                  <a:lnTo>
                    <a:pt x="326" y="33"/>
                  </a:lnTo>
                  <a:lnTo>
                    <a:pt x="325" y="34"/>
                  </a:lnTo>
                  <a:lnTo>
                    <a:pt x="325" y="37"/>
                  </a:lnTo>
                  <a:lnTo>
                    <a:pt x="324" y="37"/>
                  </a:lnTo>
                  <a:lnTo>
                    <a:pt x="322" y="32"/>
                  </a:lnTo>
                  <a:lnTo>
                    <a:pt x="320" y="31"/>
                  </a:lnTo>
                  <a:lnTo>
                    <a:pt x="318" y="32"/>
                  </a:lnTo>
                  <a:lnTo>
                    <a:pt x="316" y="34"/>
                  </a:lnTo>
                  <a:lnTo>
                    <a:pt x="316" y="37"/>
                  </a:lnTo>
                  <a:lnTo>
                    <a:pt x="318" y="40"/>
                  </a:lnTo>
                  <a:lnTo>
                    <a:pt x="319" y="39"/>
                  </a:lnTo>
                  <a:lnTo>
                    <a:pt x="321" y="41"/>
                  </a:lnTo>
                  <a:lnTo>
                    <a:pt x="322" y="44"/>
                  </a:lnTo>
                  <a:lnTo>
                    <a:pt x="322" y="45"/>
                  </a:lnTo>
                  <a:lnTo>
                    <a:pt x="324" y="46"/>
                  </a:lnTo>
                  <a:lnTo>
                    <a:pt x="324" y="50"/>
                  </a:lnTo>
                  <a:lnTo>
                    <a:pt x="324" y="51"/>
                  </a:lnTo>
                  <a:lnTo>
                    <a:pt x="325" y="53"/>
                  </a:lnTo>
                  <a:lnTo>
                    <a:pt x="325" y="56"/>
                  </a:lnTo>
                  <a:lnTo>
                    <a:pt x="324" y="57"/>
                  </a:lnTo>
                  <a:lnTo>
                    <a:pt x="325" y="59"/>
                  </a:lnTo>
                  <a:lnTo>
                    <a:pt x="326" y="58"/>
                  </a:lnTo>
                  <a:lnTo>
                    <a:pt x="328" y="57"/>
                  </a:lnTo>
                  <a:lnTo>
                    <a:pt x="331" y="57"/>
                  </a:lnTo>
                  <a:lnTo>
                    <a:pt x="332" y="56"/>
                  </a:lnTo>
                  <a:lnTo>
                    <a:pt x="333" y="55"/>
                  </a:lnTo>
                  <a:lnTo>
                    <a:pt x="333" y="53"/>
                  </a:lnTo>
                  <a:lnTo>
                    <a:pt x="336" y="55"/>
                  </a:lnTo>
                  <a:lnTo>
                    <a:pt x="336" y="53"/>
                  </a:lnTo>
                  <a:lnTo>
                    <a:pt x="337" y="55"/>
                  </a:lnTo>
                  <a:lnTo>
                    <a:pt x="338" y="55"/>
                  </a:lnTo>
                  <a:lnTo>
                    <a:pt x="337" y="56"/>
                  </a:lnTo>
                  <a:lnTo>
                    <a:pt x="338" y="55"/>
                  </a:lnTo>
                  <a:lnTo>
                    <a:pt x="339" y="55"/>
                  </a:lnTo>
                  <a:lnTo>
                    <a:pt x="340" y="56"/>
                  </a:lnTo>
                  <a:lnTo>
                    <a:pt x="342" y="56"/>
                  </a:lnTo>
                  <a:lnTo>
                    <a:pt x="344" y="55"/>
                  </a:lnTo>
                  <a:lnTo>
                    <a:pt x="345" y="53"/>
                  </a:lnTo>
                  <a:lnTo>
                    <a:pt x="346" y="53"/>
                  </a:lnTo>
                  <a:lnTo>
                    <a:pt x="346" y="55"/>
                  </a:lnTo>
                  <a:lnTo>
                    <a:pt x="349" y="56"/>
                  </a:lnTo>
                  <a:lnTo>
                    <a:pt x="350" y="55"/>
                  </a:lnTo>
                  <a:lnTo>
                    <a:pt x="350" y="56"/>
                  </a:lnTo>
                  <a:lnTo>
                    <a:pt x="352" y="57"/>
                  </a:lnTo>
                  <a:lnTo>
                    <a:pt x="354" y="58"/>
                  </a:lnTo>
                  <a:lnTo>
                    <a:pt x="355" y="57"/>
                  </a:lnTo>
                  <a:lnTo>
                    <a:pt x="356" y="57"/>
                  </a:lnTo>
                  <a:lnTo>
                    <a:pt x="356" y="56"/>
                  </a:lnTo>
                  <a:lnTo>
                    <a:pt x="357" y="56"/>
                  </a:lnTo>
                  <a:lnTo>
                    <a:pt x="358" y="56"/>
                  </a:lnTo>
                  <a:lnTo>
                    <a:pt x="358" y="55"/>
                  </a:lnTo>
                  <a:lnTo>
                    <a:pt x="360" y="56"/>
                  </a:lnTo>
                  <a:lnTo>
                    <a:pt x="361" y="56"/>
                  </a:lnTo>
                  <a:lnTo>
                    <a:pt x="362" y="57"/>
                  </a:lnTo>
                  <a:lnTo>
                    <a:pt x="363" y="56"/>
                  </a:lnTo>
                  <a:lnTo>
                    <a:pt x="363" y="55"/>
                  </a:lnTo>
                  <a:lnTo>
                    <a:pt x="363" y="52"/>
                  </a:lnTo>
                  <a:lnTo>
                    <a:pt x="364" y="51"/>
                  </a:lnTo>
                  <a:lnTo>
                    <a:pt x="366" y="50"/>
                  </a:lnTo>
                  <a:lnTo>
                    <a:pt x="367" y="49"/>
                  </a:lnTo>
                  <a:lnTo>
                    <a:pt x="369" y="50"/>
                  </a:lnTo>
                  <a:lnTo>
                    <a:pt x="370" y="50"/>
                  </a:lnTo>
                  <a:lnTo>
                    <a:pt x="372" y="50"/>
                  </a:lnTo>
                  <a:lnTo>
                    <a:pt x="372" y="51"/>
                  </a:lnTo>
                  <a:lnTo>
                    <a:pt x="373" y="51"/>
                  </a:lnTo>
                  <a:lnTo>
                    <a:pt x="372" y="46"/>
                  </a:lnTo>
                  <a:lnTo>
                    <a:pt x="370" y="44"/>
                  </a:lnTo>
                  <a:lnTo>
                    <a:pt x="369" y="43"/>
                  </a:lnTo>
                  <a:lnTo>
                    <a:pt x="369" y="41"/>
                  </a:lnTo>
                  <a:lnTo>
                    <a:pt x="369" y="40"/>
                  </a:lnTo>
                  <a:lnTo>
                    <a:pt x="370" y="39"/>
                  </a:lnTo>
                  <a:lnTo>
                    <a:pt x="370" y="40"/>
                  </a:lnTo>
                  <a:lnTo>
                    <a:pt x="372" y="39"/>
                  </a:lnTo>
                  <a:lnTo>
                    <a:pt x="373" y="39"/>
                  </a:lnTo>
                  <a:lnTo>
                    <a:pt x="374" y="39"/>
                  </a:lnTo>
                  <a:lnTo>
                    <a:pt x="377" y="39"/>
                  </a:lnTo>
                  <a:lnTo>
                    <a:pt x="375" y="41"/>
                  </a:lnTo>
                  <a:lnTo>
                    <a:pt x="377" y="41"/>
                  </a:lnTo>
                  <a:lnTo>
                    <a:pt x="378" y="41"/>
                  </a:lnTo>
                  <a:lnTo>
                    <a:pt x="381" y="41"/>
                  </a:lnTo>
                  <a:lnTo>
                    <a:pt x="379" y="44"/>
                  </a:lnTo>
                  <a:lnTo>
                    <a:pt x="378" y="45"/>
                  </a:lnTo>
                  <a:lnTo>
                    <a:pt x="377" y="46"/>
                  </a:lnTo>
                  <a:lnTo>
                    <a:pt x="375" y="47"/>
                  </a:lnTo>
                  <a:lnTo>
                    <a:pt x="377" y="46"/>
                  </a:lnTo>
                  <a:lnTo>
                    <a:pt x="379" y="46"/>
                  </a:lnTo>
                  <a:lnTo>
                    <a:pt x="378" y="46"/>
                  </a:lnTo>
                  <a:lnTo>
                    <a:pt x="379" y="49"/>
                  </a:lnTo>
                  <a:lnTo>
                    <a:pt x="377" y="49"/>
                  </a:lnTo>
                  <a:lnTo>
                    <a:pt x="375" y="50"/>
                  </a:lnTo>
                  <a:lnTo>
                    <a:pt x="377" y="51"/>
                  </a:lnTo>
                  <a:lnTo>
                    <a:pt x="380" y="50"/>
                  </a:lnTo>
                  <a:lnTo>
                    <a:pt x="383" y="50"/>
                  </a:lnTo>
                  <a:lnTo>
                    <a:pt x="385" y="50"/>
                  </a:lnTo>
                  <a:lnTo>
                    <a:pt x="383" y="52"/>
                  </a:lnTo>
                  <a:lnTo>
                    <a:pt x="379" y="55"/>
                  </a:lnTo>
                  <a:lnTo>
                    <a:pt x="377" y="56"/>
                  </a:lnTo>
                  <a:lnTo>
                    <a:pt x="377" y="58"/>
                  </a:lnTo>
                  <a:lnTo>
                    <a:pt x="378" y="58"/>
                  </a:lnTo>
                  <a:lnTo>
                    <a:pt x="380" y="58"/>
                  </a:lnTo>
                  <a:lnTo>
                    <a:pt x="381" y="57"/>
                  </a:lnTo>
                  <a:lnTo>
                    <a:pt x="384" y="56"/>
                  </a:lnTo>
                  <a:lnTo>
                    <a:pt x="385" y="57"/>
                  </a:lnTo>
                  <a:lnTo>
                    <a:pt x="384" y="58"/>
                  </a:lnTo>
                  <a:lnTo>
                    <a:pt x="384" y="61"/>
                  </a:lnTo>
                  <a:lnTo>
                    <a:pt x="385" y="62"/>
                  </a:lnTo>
                  <a:lnTo>
                    <a:pt x="386" y="64"/>
                  </a:lnTo>
                  <a:lnTo>
                    <a:pt x="384" y="64"/>
                  </a:lnTo>
                  <a:lnTo>
                    <a:pt x="385" y="67"/>
                  </a:lnTo>
                  <a:lnTo>
                    <a:pt x="385" y="69"/>
                  </a:lnTo>
                  <a:lnTo>
                    <a:pt x="384" y="70"/>
                  </a:lnTo>
                  <a:lnTo>
                    <a:pt x="384" y="69"/>
                  </a:lnTo>
                  <a:lnTo>
                    <a:pt x="383" y="70"/>
                  </a:lnTo>
                  <a:lnTo>
                    <a:pt x="383" y="73"/>
                  </a:lnTo>
                  <a:lnTo>
                    <a:pt x="381" y="74"/>
                  </a:lnTo>
                  <a:lnTo>
                    <a:pt x="381" y="77"/>
                  </a:lnTo>
                  <a:lnTo>
                    <a:pt x="380" y="77"/>
                  </a:lnTo>
                  <a:lnTo>
                    <a:pt x="378" y="80"/>
                  </a:lnTo>
                  <a:lnTo>
                    <a:pt x="377" y="80"/>
                  </a:lnTo>
                  <a:lnTo>
                    <a:pt x="377" y="82"/>
                  </a:lnTo>
                  <a:lnTo>
                    <a:pt x="374" y="83"/>
                  </a:lnTo>
                  <a:lnTo>
                    <a:pt x="374" y="82"/>
                  </a:lnTo>
                  <a:lnTo>
                    <a:pt x="373" y="81"/>
                  </a:lnTo>
                  <a:lnTo>
                    <a:pt x="372" y="80"/>
                  </a:lnTo>
                  <a:lnTo>
                    <a:pt x="372" y="82"/>
                  </a:lnTo>
                  <a:lnTo>
                    <a:pt x="370" y="85"/>
                  </a:lnTo>
                  <a:lnTo>
                    <a:pt x="370" y="81"/>
                  </a:lnTo>
                  <a:lnTo>
                    <a:pt x="369" y="83"/>
                  </a:lnTo>
                  <a:lnTo>
                    <a:pt x="368" y="81"/>
                  </a:lnTo>
                  <a:lnTo>
                    <a:pt x="367" y="82"/>
                  </a:lnTo>
                  <a:lnTo>
                    <a:pt x="368" y="85"/>
                  </a:lnTo>
                  <a:lnTo>
                    <a:pt x="366" y="86"/>
                  </a:lnTo>
                  <a:lnTo>
                    <a:pt x="363" y="87"/>
                  </a:lnTo>
                  <a:lnTo>
                    <a:pt x="362" y="88"/>
                  </a:lnTo>
                  <a:lnTo>
                    <a:pt x="362" y="89"/>
                  </a:lnTo>
                  <a:lnTo>
                    <a:pt x="364" y="89"/>
                  </a:lnTo>
                  <a:lnTo>
                    <a:pt x="366" y="91"/>
                  </a:lnTo>
                  <a:lnTo>
                    <a:pt x="367" y="92"/>
                  </a:lnTo>
                  <a:lnTo>
                    <a:pt x="366" y="93"/>
                  </a:lnTo>
                  <a:lnTo>
                    <a:pt x="363" y="92"/>
                  </a:lnTo>
                  <a:lnTo>
                    <a:pt x="363" y="91"/>
                  </a:lnTo>
                  <a:lnTo>
                    <a:pt x="362" y="91"/>
                  </a:lnTo>
                  <a:lnTo>
                    <a:pt x="362" y="93"/>
                  </a:lnTo>
                  <a:lnTo>
                    <a:pt x="366" y="94"/>
                  </a:lnTo>
                  <a:lnTo>
                    <a:pt x="366" y="97"/>
                  </a:lnTo>
                  <a:lnTo>
                    <a:pt x="366" y="98"/>
                  </a:lnTo>
                  <a:lnTo>
                    <a:pt x="369" y="97"/>
                  </a:lnTo>
                  <a:lnTo>
                    <a:pt x="373" y="94"/>
                  </a:lnTo>
                  <a:lnTo>
                    <a:pt x="372" y="92"/>
                  </a:lnTo>
                  <a:lnTo>
                    <a:pt x="372" y="89"/>
                  </a:lnTo>
                  <a:lnTo>
                    <a:pt x="374" y="88"/>
                  </a:lnTo>
                  <a:lnTo>
                    <a:pt x="375" y="86"/>
                  </a:lnTo>
                  <a:lnTo>
                    <a:pt x="375" y="88"/>
                  </a:lnTo>
                  <a:lnTo>
                    <a:pt x="377" y="87"/>
                  </a:lnTo>
                  <a:lnTo>
                    <a:pt x="378" y="87"/>
                  </a:lnTo>
                  <a:lnTo>
                    <a:pt x="379" y="86"/>
                  </a:lnTo>
                  <a:lnTo>
                    <a:pt x="380" y="86"/>
                  </a:lnTo>
                  <a:lnTo>
                    <a:pt x="381" y="86"/>
                  </a:lnTo>
                  <a:lnTo>
                    <a:pt x="381" y="88"/>
                  </a:lnTo>
                  <a:lnTo>
                    <a:pt x="380" y="89"/>
                  </a:lnTo>
                  <a:lnTo>
                    <a:pt x="381" y="89"/>
                  </a:lnTo>
                  <a:lnTo>
                    <a:pt x="380" y="91"/>
                  </a:lnTo>
                  <a:lnTo>
                    <a:pt x="381" y="89"/>
                  </a:lnTo>
                  <a:lnTo>
                    <a:pt x="381" y="92"/>
                  </a:lnTo>
                  <a:lnTo>
                    <a:pt x="383" y="92"/>
                  </a:lnTo>
                  <a:lnTo>
                    <a:pt x="384" y="91"/>
                  </a:lnTo>
                  <a:lnTo>
                    <a:pt x="383" y="89"/>
                  </a:lnTo>
                  <a:lnTo>
                    <a:pt x="383" y="87"/>
                  </a:lnTo>
                  <a:lnTo>
                    <a:pt x="385" y="87"/>
                  </a:lnTo>
                  <a:lnTo>
                    <a:pt x="386" y="86"/>
                  </a:lnTo>
                  <a:lnTo>
                    <a:pt x="387" y="87"/>
                  </a:lnTo>
                  <a:lnTo>
                    <a:pt x="389" y="87"/>
                  </a:lnTo>
                  <a:lnTo>
                    <a:pt x="390" y="88"/>
                  </a:lnTo>
                  <a:lnTo>
                    <a:pt x="390" y="91"/>
                  </a:lnTo>
                  <a:lnTo>
                    <a:pt x="387" y="92"/>
                  </a:lnTo>
                  <a:lnTo>
                    <a:pt x="387" y="91"/>
                  </a:lnTo>
                  <a:lnTo>
                    <a:pt x="385" y="91"/>
                  </a:lnTo>
                  <a:lnTo>
                    <a:pt x="380" y="95"/>
                  </a:lnTo>
                  <a:lnTo>
                    <a:pt x="381" y="97"/>
                  </a:lnTo>
                  <a:lnTo>
                    <a:pt x="384" y="95"/>
                  </a:lnTo>
                  <a:lnTo>
                    <a:pt x="384" y="98"/>
                  </a:lnTo>
                  <a:lnTo>
                    <a:pt x="386" y="99"/>
                  </a:lnTo>
                  <a:lnTo>
                    <a:pt x="387" y="100"/>
                  </a:lnTo>
                  <a:lnTo>
                    <a:pt x="387" y="101"/>
                  </a:lnTo>
                  <a:lnTo>
                    <a:pt x="389" y="100"/>
                  </a:lnTo>
                  <a:lnTo>
                    <a:pt x="390" y="101"/>
                  </a:lnTo>
                  <a:lnTo>
                    <a:pt x="391" y="99"/>
                  </a:lnTo>
                  <a:lnTo>
                    <a:pt x="390" y="103"/>
                  </a:lnTo>
                  <a:lnTo>
                    <a:pt x="389" y="105"/>
                  </a:lnTo>
                  <a:lnTo>
                    <a:pt x="389" y="106"/>
                  </a:lnTo>
                  <a:lnTo>
                    <a:pt x="390" y="107"/>
                  </a:lnTo>
                  <a:lnTo>
                    <a:pt x="391" y="107"/>
                  </a:lnTo>
                  <a:lnTo>
                    <a:pt x="392" y="107"/>
                  </a:lnTo>
                  <a:lnTo>
                    <a:pt x="393" y="106"/>
                  </a:lnTo>
                  <a:lnTo>
                    <a:pt x="395" y="104"/>
                  </a:lnTo>
                  <a:lnTo>
                    <a:pt x="395" y="103"/>
                  </a:lnTo>
                  <a:lnTo>
                    <a:pt x="395" y="101"/>
                  </a:lnTo>
                  <a:lnTo>
                    <a:pt x="395" y="99"/>
                  </a:lnTo>
                  <a:lnTo>
                    <a:pt x="396" y="98"/>
                  </a:lnTo>
                  <a:lnTo>
                    <a:pt x="397" y="97"/>
                  </a:lnTo>
                  <a:lnTo>
                    <a:pt x="397" y="95"/>
                  </a:lnTo>
                  <a:lnTo>
                    <a:pt x="398" y="95"/>
                  </a:lnTo>
                  <a:lnTo>
                    <a:pt x="401" y="95"/>
                  </a:lnTo>
                  <a:lnTo>
                    <a:pt x="401" y="97"/>
                  </a:lnTo>
                  <a:lnTo>
                    <a:pt x="402" y="97"/>
                  </a:lnTo>
                  <a:lnTo>
                    <a:pt x="403" y="98"/>
                  </a:lnTo>
                  <a:lnTo>
                    <a:pt x="403" y="99"/>
                  </a:lnTo>
                  <a:lnTo>
                    <a:pt x="402" y="101"/>
                  </a:lnTo>
                  <a:lnTo>
                    <a:pt x="401" y="101"/>
                  </a:lnTo>
                  <a:lnTo>
                    <a:pt x="402" y="103"/>
                  </a:lnTo>
                  <a:lnTo>
                    <a:pt x="401" y="104"/>
                  </a:lnTo>
                  <a:lnTo>
                    <a:pt x="401" y="105"/>
                  </a:lnTo>
                  <a:lnTo>
                    <a:pt x="401" y="106"/>
                  </a:lnTo>
                  <a:lnTo>
                    <a:pt x="402" y="106"/>
                  </a:lnTo>
                  <a:lnTo>
                    <a:pt x="403" y="105"/>
                  </a:lnTo>
                  <a:lnTo>
                    <a:pt x="404" y="105"/>
                  </a:lnTo>
                  <a:lnTo>
                    <a:pt x="404" y="106"/>
                  </a:lnTo>
                  <a:lnTo>
                    <a:pt x="405" y="105"/>
                  </a:lnTo>
                  <a:lnTo>
                    <a:pt x="407" y="105"/>
                  </a:lnTo>
                  <a:lnTo>
                    <a:pt x="409" y="104"/>
                  </a:lnTo>
                  <a:lnTo>
                    <a:pt x="410" y="103"/>
                  </a:lnTo>
                  <a:lnTo>
                    <a:pt x="410" y="101"/>
                  </a:lnTo>
                  <a:lnTo>
                    <a:pt x="409" y="100"/>
                  </a:lnTo>
                  <a:lnTo>
                    <a:pt x="411" y="99"/>
                  </a:lnTo>
                  <a:lnTo>
                    <a:pt x="413" y="99"/>
                  </a:lnTo>
                  <a:lnTo>
                    <a:pt x="411" y="100"/>
                  </a:lnTo>
                  <a:lnTo>
                    <a:pt x="414" y="100"/>
                  </a:lnTo>
                  <a:lnTo>
                    <a:pt x="413" y="99"/>
                  </a:lnTo>
                  <a:lnTo>
                    <a:pt x="409" y="95"/>
                  </a:lnTo>
                  <a:lnTo>
                    <a:pt x="407" y="97"/>
                  </a:lnTo>
                  <a:lnTo>
                    <a:pt x="404" y="95"/>
                  </a:lnTo>
                  <a:lnTo>
                    <a:pt x="405" y="94"/>
                  </a:lnTo>
                  <a:lnTo>
                    <a:pt x="407" y="94"/>
                  </a:lnTo>
                  <a:lnTo>
                    <a:pt x="408" y="94"/>
                  </a:lnTo>
                  <a:lnTo>
                    <a:pt x="408" y="93"/>
                  </a:lnTo>
                  <a:lnTo>
                    <a:pt x="409" y="93"/>
                  </a:lnTo>
                  <a:lnTo>
                    <a:pt x="410" y="94"/>
                  </a:lnTo>
                  <a:lnTo>
                    <a:pt x="411" y="97"/>
                  </a:lnTo>
                  <a:lnTo>
                    <a:pt x="414" y="99"/>
                  </a:lnTo>
                  <a:lnTo>
                    <a:pt x="415" y="99"/>
                  </a:lnTo>
                  <a:lnTo>
                    <a:pt x="416" y="98"/>
                  </a:lnTo>
                  <a:lnTo>
                    <a:pt x="417" y="95"/>
                  </a:lnTo>
                  <a:lnTo>
                    <a:pt x="419" y="97"/>
                  </a:lnTo>
                  <a:lnTo>
                    <a:pt x="420" y="97"/>
                  </a:lnTo>
                  <a:lnTo>
                    <a:pt x="420" y="98"/>
                  </a:lnTo>
                  <a:lnTo>
                    <a:pt x="421" y="100"/>
                  </a:lnTo>
                  <a:lnTo>
                    <a:pt x="421" y="99"/>
                  </a:lnTo>
                  <a:lnTo>
                    <a:pt x="422" y="98"/>
                  </a:lnTo>
                  <a:lnTo>
                    <a:pt x="422" y="97"/>
                  </a:lnTo>
                  <a:lnTo>
                    <a:pt x="425" y="98"/>
                  </a:lnTo>
                  <a:lnTo>
                    <a:pt x="426" y="98"/>
                  </a:lnTo>
                  <a:lnTo>
                    <a:pt x="425" y="94"/>
                  </a:lnTo>
                  <a:lnTo>
                    <a:pt x="420" y="93"/>
                  </a:lnTo>
                  <a:lnTo>
                    <a:pt x="416" y="92"/>
                  </a:lnTo>
                  <a:lnTo>
                    <a:pt x="417" y="91"/>
                  </a:lnTo>
                  <a:lnTo>
                    <a:pt x="419" y="89"/>
                  </a:lnTo>
                  <a:lnTo>
                    <a:pt x="420" y="89"/>
                  </a:lnTo>
                  <a:lnTo>
                    <a:pt x="421" y="88"/>
                  </a:lnTo>
                  <a:lnTo>
                    <a:pt x="422" y="88"/>
                  </a:lnTo>
                  <a:lnTo>
                    <a:pt x="423" y="87"/>
                  </a:lnTo>
                  <a:lnTo>
                    <a:pt x="423" y="88"/>
                  </a:lnTo>
                  <a:lnTo>
                    <a:pt x="425" y="88"/>
                  </a:lnTo>
                  <a:lnTo>
                    <a:pt x="425" y="91"/>
                  </a:lnTo>
                  <a:lnTo>
                    <a:pt x="426" y="94"/>
                  </a:lnTo>
                  <a:lnTo>
                    <a:pt x="427" y="95"/>
                  </a:lnTo>
                  <a:lnTo>
                    <a:pt x="429" y="94"/>
                  </a:lnTo>
                  <a:lnTo>
                    <a:pt x="431" y="93"/>
                  </a:lnTo>
                  <a:lnTo>
                    <a:pt x="432" y="91"/>
                  </a:lnTo>
                  <a:lnTo>
                    <a:pt x="432" y="89"/>
                  </a:lnTo>
                  <a:lnTo>
                    <a:pt x="434" y="88"/>
                  </a:lnTo>
                  <a:lnTo>
                    <a:pt x="434" y="89"/>
                  </a:lnTo>
                  <a:lnTo>
                    <a:pt x="436" y="91"/>
                  </a:lnTo>
                  <a:lnTo>
                    <a:pt x="437" y="92"/>
                  </a:lnTo>
                  <a:lnTo>
                    <a:pt x="438" y="89"/>
                  </a:lnTo>
                  <a:lnTo>
                    <a:pt x="439" y="91"/>
                  </a:lnTo>
                  <a:lnTo>
                    <a:pt x="440" y="92"/>
                  </a:lnTo>
                  <a:lnTo>
                    <a:pt x="442" y="94"/>
                  </a:lnTo>
                  <a:lnTo>
                    <a:pt x="440" y="94"/>
                  </a:lnTo>
                  <a:lnTo>
                    <a:pt x="438" y="94"/>
                  </a:lnTo>
                  <a:lnTo>
                    <a:pt x="437" y="95"/>
                  </a:lnTo>
                  <a:lnTo>
                    <a:pt x="434" y="95"/>
                  </a:lnTo>
                  <a:lnTo>
                    <a:pt x="436" y="95"/>
                  </a:lnTo>
                  <a:lnTo>
                    <a:pt x="433" y="95"/>
                  </a:lnTo>
                  <a:lnTo>
                    <a:pt x="436" y="98"/>
                  </a:lnTo>
                  <a:lnTo>
                    <a:pt x="437" y="100"/>
                  </a:lnTo>
                  <a:lnTo>
                    <a:pt x="438" y="99"/>
                  </a:lnTo>
                  <a:lnTo>
                    <a:pt x="439" y="100"/>
                  </a:lnTo>
                  <a:lnTo>
                    <a:pt x="439" y="99"/>
                  </a:lnTo>
                  <a:lnTo>
                    <a:pt x="442" y="99"/>
                  </a:lnTo>
                  <a:lnTo>
                    <a:pt x="440" y="98"/>
                  </a:lnTo>
                  <a:lnTo>
                    <a:pt x="439" y="95"/>
                  </a:lnTo>
                  <a:lnTo>
                    <a:pt x="440" y="97"/>
                  </a:lnTo>
                  <a:lnTo>
                    <a:pt x="443" y="93"/>
                  </a:lnTo>
                  <a:lnTo>
                    <a:pt x="444" y="92"/>
                  </a:lnTo>
                  <a:lnTo>
                    <a:pt x="445" y="89"/>
                  </a:lnTo>
                  <a:lnTo>
                    <a:pt x="448" y="89"/>
                  </a:lnTo>
                  <a:lnTo>
                    <a:pt x="448" y="88"/>
                  </a:lnTo>
                  <a:lnTo>
                    <a:pt x="448" y="86"/>
                  </a:lnTo>
                  <a:lnTo>
                    <a:pt x="448" y="85"/>
                  </a:lnTo>
                  <a:lnTo>
                    <a:pt x="449" y="83"/>
                  </a:lnTo>
                  <a:lnTo>
                    <a:pt x="448" y="83"/>
                  </a:lnTo>
                  <a:lnTo>
                    <a:pt x="449" y="82"/>
                  </a:lnTo>
                  <a:lnTo>
                    <a:pt x="450" y="82"/>
                  </a:lnTo>
                  <a:lnTo>
                    <a:pt x="450" y="81"/>
                  </a:lnTo>
                  <a:lnTo>
                    <a:pt x="450" y="79"/>
                  </a:lnTo>
                  <a:lnTo>
                    <a:pt x="451" y="77"/>
                  </a:lnTo>
                  <a:lnTo>
                    <a:pt x="452" y="79"/>
                  </a:lnTo>
                  <a:lnTo>
                    <a:pt x="456" y="79"/>
                  </a:lnTo>
                  <a:lnTo>
                    <a:pt x="455" y="76"/>
                  </a:lnTo>
                  <a:lnTo>
                    <a:pt x="454" y="75"/>
                  </a:lnTo>
                  <a:lnTo>
                    <a:pt x="451" y="76"/>
                  </a:lnTo>
                  <a:lnTo>
                    <a:pt x="452" y="75"/>
                  </a:lnTo>
                  <a:lnTo>
                    <a:pt x="454" y="74"/>
                  </a:lnTo>
                  <a:lnTo>
                    <a:pt x="456" y="75"/>
                  </a:lnTo>
                  <a:lnTo>
                    <a:pt x="457" y="74"/>
                  </a:lnTo>
                  <a:lnTo>
                    <a:pt x="458" y="76"/>
                  </a:lnTo>
                  <a:lnTo>
                    <a:pt x="460" y="76"/>
                  </a:lnTo>
                  <a:lnTo>
                    <a:pt x="461" y="77"/>
                  </a:lnTo>
                  <a:lnTo>
                    <a:pt x="464" y="75"/>
                  </a:lnTo>
                  <a:lnTo>
                    <a:pt x="463" y="73"/>
                  </a:lnTo>
                  <a:lnTo>
                    <a:pt x="464" y="71"/>
                  </a:lnTo>
                  <a:lnTo>
                    <a:pt x="466" y="70"/>
                  </a:lnTo>
                  <a:lnTo>
                    <a:pt x="467" y="70"/>
                  </a:lnTo>
                  <a:lnTo>
                    <a:pt x="466" y="73"/>
                  </a:lnTo>
                  <a:lnTo>
                    <a:pt x="467" y="73"/>
                  </a:lnTo>
                  <a:lnTo>
                    <a:pt x="469" y="70"/>
                  </a:lnTo>
                  <a:lnTo>
                    <a:pt x="470" y="71"/>
                  </a:lnTo>
                  <a:lnTo>
                    <a:pt x="472" y="73"/>
                  </a:lnTo>
                  <a:lnTo>
                    <a:pt x="473" y="73"/>
                  </a:lnTo>
                  <a:lnTo>
                    <a:pt x="474" y="73"/>
                  </a:lnTo>
                  <a:lnTo>
                    <a:pt x="472" y="74"/>
                  </a:lnTo>
                  <a:lnTo>
                    <a:pt x="468" y="75"/>
                  </a:lnTo>
                  <a:lnTo>
                    <a:pt x="469" y="77"/>
                  </a:lnTo>
                  <a:lnTo>
                    <a:pt x="470" y="76"/>
                  </a:lnTo>
                  <a:lnTo>
                    <a:pt x="474" y="74"/>
                  </a:lnTo>
                  <a:lnTo>
                    <a:pt x="472" y="77"/>
                  </a:lnTo>
                  <a:lnTo>
                    <a:pt x="473" y="79"/>
                  </a:lnTo>
                  <a:lnTo>
                    <a:pt x="472" y="79"/>
                  </a:lnTo>
                  <a:lnTo>
                    <a:pt x="470" y="80"/>
                  </a:lnTo>
                  <a:lnTo>
                    <a:pt x="472" y="81"/>
                  </a:lnTo>
                  <a:lnTo>
                    <a:pt x="473" y="81"/>
                  </a:lnTo>
                  <a:lnTo>
                    <a:pt x="475" y="82"/>
                  </a:lnTo>
                  <a:lnTo>
                    <a:pt x="476" y="82"/>
                  </a:lnTo>
                  <a:lnTo>
                    <a:pt x="476" y="83"/>
                  </a:lnTo>
                  <a:lnTo>
                    <a:pt x="479" y="83"/>
                  </a:lnTo>
                  <a:lnTo>
                    <a:pt x="480" y="85"/>
                  </a:lnTo>
                  <a:lnTo>
                    <a:pt x="479" y="85"/>
                  </a:lnTo>
                  <a:lnTo>
                    <a:pt x="480" y="86"/>
                  </a:lnTo>
                  <a:lnTo>
                    <a:pt x="480" y="87"/>
                  </a:lnTo>
                  <a:lnTo>
                    <a:pt x="478" y="87"/>
                  </a:lnTo>
                  <a:lnTo>
                    <a:pt x="479" y="88"/>
                  </a:lnTo>
                  <a:lnTo>
                    <a:pt x="480" y="91"/>
                  </a:lnTo>
                  <a:lnTo>
                    <a:pt x="482" y="89"/>
                  </a:lnTo>
                  <a:lnTo>
                    <a:pt x="482" y="91"/>
                  </a:lnTo>
                  <a:lnTo>
                    <a:pt x="482" y="94"/>
                  </a:lnTo>
                  <a:lnTo>
                    <a:pt x="484" y="94"/>
                  </a:lnTo>
                  <a:lnTo>
                    <a:pt x="482" y="97"/>
                  </a:lnTo>
                  <a:lnTo>
                    <a:pt x="484" y="98"/>
                  </a:lnTo>
                  <a:lnTo>
                    <a:pt x="481" y="101"/>
                  </a:lnTo>
                  <a:lnTo>
                    <a:pt x="481" y="97"/>
                  </a:lnTo>
                  <a:lnTo>
                    <a:pt x="480" y="92"/>
                  </a:lnTo>
                  <a:lnTo>
                    <a:pt x="478" y="92"/>
                  </a:lnTo>
                  <a:lnTo>
                    <a:pt x="474" y="89"/>
                  </a:lnTo>
                  <a:lnTo>
                    <a:pt x="474" y="91"/>
                  </a:lnTo>
                  <a:lnTo>
                    <a:pt x="474" y="94"/>
                  </a:lnTo>
                  <a:lnTo>
                    <a:pt x="474" y="95"/>
                  </a:lnTo>
                  <a:lnTo>
                    <a:pt x="473" y="98"/>
                  </a:lnTo>
                  <a:lnTo>
                    <a:pt x="472" y="99"/>
                  </a:lnTo>
                  <a:lnTo>
                    <a:pt x="469" y="99"/>
                  </a:lnTo>
                  <a:lnTo>
                    <a:pt x="468" y="98"/>
                  </a:lnTo>
                  <a:lnTo>
                    <a:pt x="467" y="99"/>
                  </a:lnTo>
                  <a:lnTo>
                    <a:pt x="460" y="100"/>
                  </a:lnTo>
                  <a:lnTo>
                    <a:pt x="457" y="100"/>
                  </a:lnTo>
                  <a:lnTo>
                    <a:pt x="457" y="101"/>
                  </a:lnTo>
                  <a:lnTo>
                    <a:pt x="457" y="103"/>
                  </a:lnTo>
                  <a:lnTo>
                    <a:pt x="460" y="101"/>
                  </a:lnTo>
                  <a:lnTo>
                    <a:pt x="460" y="103"/>
                  </a:lnTo>
                  <a:lnTo>
                    <a:pt x="461" y="103"/>
                  </a:lnTo>
                  <a:lnTo>
                    <a:pt x="464" y="100"/>
                  </a:lnTo>
                  <a:lnTo>
                    <a:pt x="469" y="100"/>
                  </a:lnTo>
                  <a:lnTo>
                    <a:pt x="472" y="100"/>
                  </a:lnTo>
                  <a:lnTo>
                    <a:pt x="474" y="101"/>
                  </a:lnTo>
                  <a:lnTo>
                    <a:pt x="475" y="103"/>
                  </a:lnTo>
                  <a:lnTo>
                    <a:pt x="474" y="103"/>
                  </a:lnTo>
                  <a:lnTo>
                    <a:pt x="472" y="104"/>
                  </a:lnTo>
                  <a:lnTo>
                    <a:pt x="473" y="104"/>
                  </a:lnTo>
                  <a:lnTo>
                    <a:pt x="470" y="105"/>
                  </a:lnTo>
                  <a:lnTo>
                    <a:pt x="469" y="106"/>
                  </a:lnTo>
                  <a:lnTo>
                    <a:pt x="470" y="107"/>
                  </a:lnTo>
                  <a:lnTo>
                    <a:pt x="468" y="107"/>
                  </a:lnTo>
                  <a:lnTo>
                    <a:pt x="469" y="109"/>
                  </a:lnTo>
                  <a:lnTo>
                    <a:pt x="472" y="111"/>
                  </a:lnTo>
                  <a:lnTo>
                    <a:pt x="470" y="111"/>
                  </a:lnTo>
                  <a:lnTo>
                    <a:pt x="470" y="113"/>
                  </a:lnTo>
                  <a:lnTo>
                    <a:pt x="470" y="115"/>
                  </a:lnTo>
                  <a:lnTo>
                    <a:pt x="469" y="112"/>
                  </a:lnTo>
                  <a:lnTo>
                    <a:pt x="469" y="113"/>
                  </a:lnTo>
                  <a:lnTo>
                    <a:pt x="468" y="112"/>
                  </a:lnTo>
                  <a:lnTo>
                    <a:pt x="467" y="113"/>
                  </a:lnTo>
                  <a:lnTo>
                    <a:pt x="466" y="111"/>
                  </a:lnTo>
                  <a:lnTo>
                    <a:pt x="466" y="107"/>
                  </a:lnTo>
                  <a:lnTo>
                    <a:pt x="466" y="106"/>
                  </a:lnTo>
                  <a:lnTo>
                    <a:pt x="463" y="105"/>
                  </a:lnTo>
                  <a:lnTo>
                    <a:pt x="462" y="104"/>
                  </a:lnTo>
                  <a:lnTo>
                    <a:pt x="461" y="106"/>
                  </a:lnTo>
                  <a:lnTo>
                    <a:pt x="460" y="109"/>
                  </a:lnTo>
                  <a:lnTo>
                    <a:pt x="458" y="110"/>
                  </a:lnTo>
                  <a:lnTo>
                    <a:pt x="455" y="115"/>
                  </a:lnTo>
                  <a:lnTo>
                    <a:pt x="455" y="112"/>
                  </a:lnTo>
                  <a:lnTo>
                    <a:pt x="456" y="110"/>
                  </a:lnTo>
                  <a:lnTo>
                    <a:pt x="454" y="112"/>
                  </a:lnTo>
                  <a:lnTo>
                    <a:pt x="450" y="116"/>
                  </a:lnTo>
                  <a:lnTo>
                    <a:pt x="450" y="113"/>
                  </a:lnTo>
                  <a:lnTo>
                    <a:pt x="451" y="112"/>
                  </a:lnTo>
                  <a:lnTo>
                    <a:pt x="451" y="111"/>
                  </a:lnTo>
                  <a:lnTo>
                    <a:pt x="449" y="111"/>
                  </a:lnTo>
                  <a:lnTo>
                    <a:pt x="448" y="113"/>
                  </a:lnTo>
                  <a:lnTo>
                    <a:pt x="446" y="115"/>
                  </a:lnTo>
                  <a:lnTo>
                    <a:pt x="446" y="116"/>
                  </a:lnTo>
                  <a:lnTo>
                    <a:pt x="445" y="118"/>
                  </a:lnTo>
                  <a:lnTo>
                    <a:pt x="444" y="119"/>
                  </a:lnTo>
                  <a:lnTo>
                    <a:pt x="443" y="121"/>
                  </a:lnTo>
                  <a:lnTo>
                    <a:pt x="444" y="122"/>
                  </a:lnTo>
                  <a:lnTo>
                    <a:pt x="445" y="121"/>
                  </a:lnTo>
                  <a:lnTo>
                    <a:pt x="446" y="119"/>
                  </a:lnTo>
                  <a:lnTo>
                    <a:pt x="446" y="122"/>
                  </a:lnTo>
                  <a:lnTo>
                    <a:pt x="445" y="125"/>
                  </a:lnTo>
                  <a:lnTo>
                    <a:pt x="444" y="128"/>
                  </a:lnTo>
                  <a:lnTo>
                    <a:pt x="445" y="128"/>
                  </a:lnTo>
                  <a:lnTo>
                    <a:pt x="444" y="129"/>
                  </a:lnTo>
                  <a:lnTo>
                    <a:pt x="444" y="131"/>
                  </a:lnTo>
                  <a:lnTo>
                    <a:pt x="445" y="130"/>
                  </a:lnTo>
                  <a:lnTo>
                    <a:pt x="448" y="130"/>
                  </a:lnTo>
                  <a:lnTo>
                    <a:pt x="450" y="129"/>
                  </a:lnTo>
                  <a:lnTo>
                    <a:pt x="452" y="130"/>
                  </a:lnTo>
                  <a:lnTo>
                    <a:pt x="454" y="131"/>
                  </a:lnTo>
                  <a:lnTo>
                    <a:pt x="454" y="133"/>
                  </a:lnTo>
                  <a:lnTo>
                    <a:pt x="452" y="133"/>
                  </a:lnTo>
                  <a:lnTo>
                    <a:pt x="452" y="135"/>
                  </a:lnTo>
                  <a:lnTo>
                    <a:pt x="451" y="135"/>
                  </a:lnTo>
                  <a:lnTo>
                    <a:pt x="451" y="138"/>
                  </a:lnTo>
                  <a:lnTo>
                    <a:pt x="449" y="136"/>
                  </a:lnTo>
                  <a:lnTo>
                    <a:pt x="448" y="135"/>
                  </a:lnTo>
                  <a:lnTo>
                    <a:pt x="446" y="134"/>
                  </a:lnTo>
                  <a:lnTo>
                    <a:pt x="445" y="133"/>
                  </a:lnTo>
                  <a:lnTo>
                    <a:pt x="444" y="134"/>
                  </a:lnTo>
                  <a:lnTo>
                    <a:pt x="443" y="135"/>
                  </a:lnTo>
                  <a:lnTo>
                    <a:pt x="445" y="135"/>
                  </a:lnTo>
                  <a:lnTo>
                    <a:pt x="443" y="136"/>
                  </a:lnTo>
                  <a:lnTo>
                    <a:pt x="443" y="138"/>
                  </a:lnTo>
                  <a:lnTo>
                    <a:pt x="445" y="138"/>
                  </a:lnTo>
                  <a:lnTo>
                    <a:pt x="448" y="138"/>
                  </a:lnTo>
                  <a:lnTo>
                    <a:pt x="450" y="138"/>
                  </a:lnTo>
                  <a:lnTo>
                    <a:pt x="450" y="139"/>
                  </a:lnTo>
                  <a:lnTo>
                    <a:pt x="451" y="139"/>
                  </a:lnTo>
                  <a:lnTo>
                    <a:pt x="450" y="139"/>
                  </a:lnTo>
                  <a:lnTo>
                    <a:pt x="451" y="140"/>
                  </a:lnTo>
                  <a:lnTo>
                    <a:pt x="451" y="141"/>
                  </a:lnTo>
                  <a:lnTo>
                    <a:pt x="450" y="141"/>
                  </a:lnTo>
                  <a:lnTo>
                    <a:pt x="451" y="144"/>
                  </a:lnTo>
                  <a:lnTo>
                    <a:pt x="451" y="145"/>
                  </a:lnTo>
                  <a:lnTo>
                    <a:pt x="449" y="141"/>
                  </a:lnTo>
                  <a:lnTo>
                    <a:pt x="446" y="139"/>
                  </a:lnTo>
                  <a:lnTo>
                    <a:pt x="446" y="140"/>
                  </a:lnTo>
                  <a:lnTo>
                    <a:pt x="446" y="141"/>
                  </a:lnTo>
                  <a:lnTo>
                    <a:pt x="445" y="144"/>
                  </a:lnTo>
                  <a:lnTo>
                    <a:pt x="445" y="147"/>
                  </a:lnTo>
                  <a:lnTo>
                    <a:pt x="445" y="145"/>
                  </a:lnTo>
                  <a:lnTo>
                    <a:pt x="444" y="146"/>
                  </a:lnTo>
                  <a:lnTo>
                    <a:pt x="443" y="144"/>
                  </a:lnTo>
                  <a:lnTo>
                    <a:pt x="444" y="140"/>
                  </a:lnTo>
                  <a:lnTo>
                    <a:pt x="443" y="140"/>
                  </a:lnTo>
                  <a:lnTo>
                    <a:pt x="440" y="140"/>
                  </a:lnTo>
                  <a:lnTo>
                    <a:pt x="442" y="141"/>
                  </a:lnTo>
                  <a:lnTo>
                    <a:pt x="440" y="146"/>
                  </a:lnTo>
                  <a:lnTo>
                    <a:pt x="438" y="144"/>
                  </a:lnTo>
                  <a:lnTo>
                    <a:pt x="438" y="141"/>
                  </a:lnTo>
                  <a:lnTo>
                    <a:pt x="438" y="142"/>
                  </a:lnTo>
                  <a:lnTo>
                    <a:pt x="438" y="147"/>
                  </a:lnTo>
                  <a:lnTo>
                    <a:pt x="440" y="150"/>
                  </a:lnTo>
                  <a:lnTo>
                    <a:pt x="440" y="152"/>
                  </a:lnTo>
                  <a:lnTo>
                    <a:pt x="439" y="153"/>
                  </a:lnTo>
                  <a:lnTo>
                    <a:pt x="439" y="154"/>
                  </a:lnTo>
                  <a:lnTo>
                    <a:pt x="438" y="154"/>
                  </a:lnTo>
                  <a:lnTo>
                    <a:pt x="438" y="156"/>
                  </a:lnTo>
                  <a:lnTo>
                    <a:pt x="437" y="156"/>
                  </a:lnTo>
                  <a:lnTo>
                    <a:pt x="437" y="159"/>
                  </a:lnTo>
                  <a:lnTo>
                    <a:pt x="436" y="157"/>
                  </a:lnTo>
                  <a:lnTo>
                    <a:pt x="436" y="156"/>
                  </a:lnTo>
                  <a:lnTo>
                    <a:pt x="434" y="156"/>
                  </a:lnTo>
                  <a:lnTo>
                    <a:pt x="434" y="154"/>
                  </a:lnTo>
                  <a:lnTo>
                    <a:pt x="434" y="152"/>
                  </a:lnTo>
                  <a:lnTo>
                    <a:pt x="433" y="152"/>
                  </a:lnTo>
                  <a:lnTo>
                    <a:pt x="433" y="151"/>
                  </a:lnTo>
                  <a:lnTo>
                    <a:pt x="434" y="148"/>
                  </a:lnTo>
                  <a:lnTo>
                    <a:pt x="437" y="147"/>
                  </a:lnTo>
                  <a:lnTo>
                    <a:pt x="437" y="145"/>
                  </a:lnTo>
                  <a:lnTo>
                    <a:pt x="436" y="145"/>
                  </a:lnTo>
                  <a:lnTo>
                    <a:pt x="434" y="146"/>
                  </a:lnTo>
                  <a:lnTo>
                    <a:pt x="436" y="144"/>
                  </a:lnTo>
                  <a:lnTo>
                    <a:pt x="433" y="145"/>
                  </a:lnTo>
                  <a:lnTo>
                    <a:pt x="432" y="145"/>
                  </a:lnTo>
                  <a:lnTo>
                    <a:pt x="431" y="147"/>
                  </a:lnTo>
                  <a:lnTo>
                    <a:pt x="431" y="145"/>
                  </a:lnTo>
                  <a:lnTo>
                    <a:pt x="429" y="145"/>
                  </a:lnTo>
                  <a:lnTo>
                    <a:pt x="427" y="145"/>
                  </a:lnTo>
                  <a:lnTo>
                    <a:pt x="425" y="145"/>
                  </a:lnTo>
                  <a:lnTo>
                    <a:pt x="427" y="146"/>
                  </a:lnTo>
                  <a:lnTo>
                    <a:pt x="426" y="148"/>
                  </a:lnTo>
                  <a:lnTo>
                    <a:pt x="423" y="151"/>
                  </a:lnTo>
                  <a:lnTo>
                    <a:pt x="422" y="153"/>
                  </a:lnTo>
                  <a:lnTo>
                    <a:pt x="425" y="153"/>
                  </a:lnTo>
                  <a:lnTo>
                    <a:pt x="426" y="154"/>
                  </a:lnTo>
                  <a:lnTo>
                    <a:pt x="425" y="157"/>
                  </a:lnTo>
                  <a:lnTo>
                    <a:pt x="426" y="157"/>
                  </a:lnTo>
                  <a:lnTo>
                    <a:pt x="427" y="158"/>
                  </a:lnTo>
                  <a:lnTo>
                    <a:pt x="427" y="159"/>
                  </a:lnTo>
                  <a:lnTo>
                    <a:pt x="429" y="160"/>
                  </a:lnTo>
                  <a:lnTo>
                    <a:pt x="431" y="160"/>
                  </a:lnTo>
                  <a:lnTo>
                    <a:pt x="429" y="159"/>
                  </a:lnTo>
                  <a:lnTo>
                    <a:pt x="428" y="158"/>
                  </a:lnTo>
                  <a:lnTo>
                    <a:pt x="431" y="157"/>
                  </a:lnTo>
                  <a:lnTo>
                    <a:pt x="433" y="158"/>
                  </a:lnTo>
                  <a:lnTo>
                    <a:pt x="433" y="159"/>
                  </a:lnTo>
                  <a:lnTo>
                    <a:pt x="436" y="159"/>
                  </a:lnTo>
                  <a:lnTo>
                    <a:pt x="437" y="160"/>
                  </a:lnTo>
                  <a:lnTo>
                    <a:pt x="438" y="159"/>
                  </a:lnTo>
                  <a:lnTo>
                    <a:pt x="440" y="158"/>
                  </a:lnTo>
                  <a:lnTo>
                    <a:pt x="443" y="157"/>
                  </a:lnTo>
                  <a:lnTo>
                    <a:pt x="444" y="158"/>
                  </a:lnTo>
                  <a:lnTo>
                    <a:pt x="444" y="160"/>
                  </a:lnTo>
                  <a:lnTo>
                    <a:pt x="445" y="160"/>
                  </a:lnTo>
                  <a:lnTo>
                    <a:pt x="445" y="159"/>
                  </a:lnTo>
                  <a:lnTo>
                    <a:pt x="445" y="158"/>
                  </a:lnTo>
                  <a:lnTo>
                    <a:pt x="446" y="158"/>
                  </a:lnTo>
                  <a:lnTo>
                    <a:pt x="448" y="158"/>
                  </a:lnTo>
                  <a:lnTo>
                    <a:pt x="449" y="158"/>
                  </a:lnTo>
                  <a:lnTo>
                    <a:pt x="450" y="158"/>
                  </a:lnTo>
                  <a:lnTo>
                    <a:pt x="450" y="159"/>
                  </a:lnTo>
                  <a:lnTo>
                    <a:pt x="451" y="158"/>
                  </a:lnTo>
                  <a:lnTo>
                    <a:pt x="449" y="154"/>
                  </a:lnTo>
                  <a:lnTo>
                    <a:pt x="446" y="154"/>
                  </a:lnTo>
                  <a:lnTo>
                    <a:pt x="444" y="156"/>
                  </a:lnTo>
                  <a:lnTo>
                    <a:pt x="444" y="154"/>
                  </a:lnTo>
                  <a:lnTo>
                    <a:pt x="443" y="154"/>
                  </a:lnTo>
                  <a:lnTo>
                    <a:pt x="443" y="153"/>
                  </a:lnTo>
                  <a:lnTo>
                    <a:pt x="445" y="152"/>
                  </a:lnTo>
                  <a:lnTo>
                    <a:pt x="449" y="153"/>
                  </a:lnTo>
                  <a:lnTo>
                    <a:pt x="451" y="152"/>
                  </a:lnTo>
                  <a:lnTo>
                    <a:pt x="450" y="154"/>
                  </a:lnTo>
                  <a:lnTo>
                    <a:pt x="451" y="157"/>
                  </a:lnTo>
                  <a:lnTo>
                    <a:pt x="452" y="157"/>
                  </a:lnTo>
                  <a:lnTo>
                    <a:pt x="454" y="157"/>
                  </a:lnTo>
                  <a:lnTo>
                    <a:pt x="454" y="156"/>
                  </a:lnTo>
                  <a:lnTo>
                    <a:pt x="455" y="154"/>
                  </a:lnTo>
                  <a:lnTo>
                    <a:pt x="456" y="154"/>
                  </a:lnTo>
                  <a:lnTo>
                    <a:pt x="456" y="153"/>
                  </a:lnTo>
                  <a:lnTo>
                    <a:pt x="457" y="153"/>
                  </a:lnTo>
                  <a:lnTo>
                    <a:pt x="457" y="154"/>
                  </a:lnTo>
                  <a:lnTo>
                    <a:pt x="458" y="156"/>
                  </a:lnTo>
                  <a:lnTo>
                    <a:pt x="457" y="157"/>
                  </a:lnTo>
                  <a:lnTo>
                    <a:pt x="457" y="159"/>
                  </a:lnTo>
                  <a:lnTo>
                    <a:pt x="458" y="159"/>
                  </a:lnTo>
                  <a:lnTo>
                    <a:pt x="460" y="158"/>
                  </a:lnTo>
                  <a:lnTo>
                    <a:pt x="462" y="157"/>
                  </a:lnTo>
                  <a:lnTo>
                    <a:pt x="463" y="156"/>
                  </a:lnTo>
                  <a:lnTo>
                    <a:pt x="466" y="154"/>
                  </a:lnTo>
                  <a:lnTo>
                    <a:pt x="462" y="159"/>
                  </a:lnTo>
                  <a:lnTo>
                    <a:pt x="460" y="162"/>
                  </a:lnTo>
                  <a:lnTo>
                    <a:pt x="460" y="168"/>
                  </a:lnTo>
                  <a:lnTo>
                    <a:pt x="461" y="164"/>
                  </a:lnTo>
                  <a:lnTo>
                    <a:pt x="463" y="163"/>
                  </a:lnTo>
                  <a:lnTo>
                    <a:pt x="463" y="162"/>
                  </a:lnTo>
                  <a:lnTo>
                    <a:pt x="464" y="159"/>
                  </a:lnTo>
                  <a:lnTo>
                    <a:pt x="466" y="160"/>
                  </a:lnTo>
                  <a:lnTo>
                    <a:pt x="467" y="162"/>
                  </a:lnTo>
                  <a:lnTo>
                    <a:pt x="468" y="163"/>
                  </a:lnTo>
                  <a:lnTo>
                    <a:pt x="468" y="164"/>
                  </a:lnTo>
                  <a:lnTo>
                    <a:pt x="468" y="165"/>
                  </a:lnTo>
                  <a:lnTo>
                    <a:pt x="466" y="166"/>
                  </a:lnTo>
                  <a:lnTo>
                    <a:pt x="466" y="169"/>
                  </a:lnTo>
                  <a:lnTo>
                    <a:pt x="468" y="168"/>
                  </a:lnTo>
                  <a:lnTo>
                    <a:pt x="469" y="166"/>
                  </a:lnTo>
                  <a:lnTo>
                    <a:pt x="473" y="168"/>
                  </a:lnTo>
                  <a:lnTo>
                    <a:pt x="474" y="168"/>
                  </a:lnTo>
                  <a:lnTo>
                    <a:pt x="476" y="166"/>
                  </a:lnTo>
                  <a:lnTo>
                    <a:pt x="476" y="168"/>
                  </a:lnTo>
                  <a:lnTo>
                    <a:pt x="478" y="168"/>
                  </a:lnTo>
                  <a:lnTo>
                    <a:pt x="475" y="170"/>
                  </a:lnTo>
                  <a:lnTo>
                    <a:pt x="472" y="170"/>
                  </a:lnTo>
                  <a:lnTo>
                    <a:pt x="469" y="170"/>
                  </a:lnTo>
                  <a:lnTo>
                    <a:pt x="467" y="170"/>
                  </a:lnTo>
                  <a:lnTo>
                    <a:pt x="467" y="172"/>
                  </a:lnTo>
                  <a:lnTo>
                    <a:pt x="468" y="171"/>
                  </a:lnTo>
                  <a:lnTo>
                    <a:pt x="470" y="171"/>
                  </a:lnTo>
                  <a:lnTo>
                    <a:pt x="472" y="172"/>
                  </a:lnTo>
                  <a:lnTo>
                    <a:pt x="473" y="171"/>
                  </a:lnTo>
                  <a:lnTo>
                    <a:pt x="474" y="171"/>
                  </a:lnTo>
                  <a:lnTo>
                    <a:pt x="475" y="172"/>
                  </a:lnTo>
                  <a:lnTo>
                    <a:pt x="476" y="172"/>
                  </a:lnTo>
                  <a:lnTo>
                    <a:pt x="478" y="174"/>
                  </a:lnTo>
                  <a:lnTo>
                    <a:pt x="478" y="171"/>
                  </a:lnTo>
                  <a:lnTo>
                    <a:pt x="478" y="169"/>
                  </a:lnTo>
                  <a:lnTo>
                    <a:pt x="480" y="166"/>
                  </a:lnTo>
                  <a:lnTo>
                    <a:pt x="481" y="165"/>
                  </a:lnTo>
                  <a:lnTo>
                    <a:pt x="479" y="165"/>
                  </a:lnTo>
                  <a:lnTo>
                    <a:pt x="479" y="164"/>
                  </a:lnTo>
                  <a:lnTo>
                    <a:pt x="480" y="160"/>
                  </a:lnTo>
                  <a:lnTo>
                    <a:pt x="482" y="160"/>
                  </a:lnTo>
                  <a:lnTo>
                    <a:pt x="484" y="158"/>
                  </a:lnTo>
                  <a:lnTo>
                    <a:pt x="484" y="160"/>
                  </a:lnTo>
                  <a:lnTo>
                    <a:pt x="484" y="162"/>
                  </a:lnTo>
                  <a:lnTo>
                    <a:pt x="485" y="163"/>
                  </a:lnTo>
                  <a:lnTo>
                    <a:pt x="485" y="165"/>
                  </a:lnTo>
                  <a:lnTo>
                    <a:pt x="486" y="168"/>
                  </a:lnTo>
                  <a:lnTo>
                    <a:pt x="487" y="169"/>
                  </a:lnTo>
                  <a:lnTo>
                    <a:pt x="488" y="169"/>
                  </a:lnTo>
                  <a:lnTo>
                    <a:pt x="487" y="170"/>
                  </a:lnTo>
                  <a:lnTo>
                    <a:pt x="488" y="171"/>
                  </a:lnTo>
                  <a:lnTo>
                    <a:pt x="491" y="171"/>
                  </a:lnTo>
                  <a:lnTo>
                    <a:pt x="492" y="171"/>
                  </a:lnTo>
                  <a:lnTo>
                    <a:pt x="493" y="170"/>
                  </a:lnTo>
                  <a:lnTo>
                    <a:pt x="497" y="170"/>
                  </a:lnTo>
                  <a:lnTo>
                    <a:pt x="495" y="171"/>
                  </a:lnTo>
                  <a:lnTo>
                    <a:pt x="493" y="172"/>
                  </a:lnTo>
                  <a:lnTo>
                    <a:pt x="495" y="172"/>
                  </a:lnTo>
                  <a:lnTo>
                    <a:pt x="496" y="174"/>
                  </a:lnTo>
                  <a:lnTo>
                    <a:pt x="498" y="175"/>
                  </a:lnTo>
                  <a:lnTo>
                    <a:pt x="497" y="176"/>
                  </a:lnTo>
                  <a:lnTo>
                    <a:pt x="496" y="178"/>
                  </a:lnTo>
                  <a:lnTo>
                    <a:pt x="496" y="180"/>
                  </a:lnTo>
                  <a:lnTo>
                    <a:pt x="493" y="177"/>
                  </a:lnTo>
                  <a:lnTo>
                    <a:pt x="491" y="178"/>
                  </a:lnTo>
                  <a:lnTo>
                    <a:pt x="490" y="181"/>
                  </a:lnTo>
                  <a:lnTo>
                    <a:pt x="491" y="181"/>
                  </a:lnTo>
                  <a:lnTo>
                    <a:pt x="491" y="182"/>
                  </a:lnTo>
                  <a:lnTo>
                    <a:pt x="488" y="184"/>
                  </a:lnTo>
                  <a:lnTo>
                    <a:pt x="487" y="186"/>
                  </a:lnTo>
                  <a:lnTo>
                    <a:pt x="487" y="188"/>
                  </a:lnTo>
                  <a:lnTo>
                    <a:pt x="488" y="190"/>
                  </a:lnTo>
                  <a:lnTo>
                    <a:pt x="491" y="190"/>
                  </a:lnTo>
                  <a:lnTo>
                    <a:pt x="493" y="189"/>
                  </a:lnTo>
                  <a:lnTo>
                    <a:pt x="496" y="188"/>
                  </a:lnTo>
                  <a:lnTo>
                    <a:pt x="498" y="187"/>
                  </a:lnTo>
                  <a:lnTo>
                    <a:pt x="495" y="189"/>
                  </a:lnTo>
                  <a:lnTo>
                    <a:pt x="492" y="192"/>
                  </a:lnTo>
                  <a:lnTo>
                    <a:pt x="493" y="192"/>
                  </a:lnTo>
                  <a:lnTo>
                    <a:pt x="495" y="193"/>
                  </a:lnTo>
                  <a:lnTo>
                    <a:pt x="498" y="193"/>
                  </a:lnTo>
                  <a:lnTo>
                    <a:pt x="502" y="193"/>
                  </a:lnTo>
                  <a:lnTo>
                    <a:pt x="502" y="192"/>
                  </a:lnTo>
                  <a:lnTo>
                    <a:pt x="503" y="190"/>
                  </a:lnTo>
                  <a:lnTo>
                    <a:pt x="504" y="189"/>
                  </a:lnTo>
                  <a:lnTo>
                    <a:pt x="507" y="187"/>
                  </a:lnTo>
                  <a:lnTo>
                    <a:pt x="509" y="187"/>
                  </a:lnTo>
                  <a:lnTo>
                    <a:pt x="511" y="187"/>
                  </a:lnTo>
                  <a:lnTo>
                    <a:pt x="510" y="188"/>
                  </a:lnTo>
                  <a:lnTo>
                    <a:pt x="507" y="190"/>
                  </a:lnTo>
                  <a:lnTo>
                    <a:pt x="508" y="193"/>
                  </a:lnTo>
                  <a:lnTo>
                    <a:pt x="509" y="194"/>
                  </a:lnTo>
                  <a:lnTo>
                    <a:pt x="510" y="196"/>
                  </a:lnTo>
                  <a:lnTo>
                    <a:pt x="509" y="198"/>
                  </a:lnTo>
                  <a:lnTo>
                    <a:pt x="511" y="199"/>
                  </a:lnTo>
                  <a:lnTo>
                    <a:pt x="511" y="201"/>
                  </a:lnTo>
                  <a:lnTo>
                    <a:pt x="510" y="201"/>
                  </a:lnTo>
                  <a:lnTo>
                    <a:pt x="509" y="205"/>
                  </a:lnTo>
                  <a:lnTo>
                    <a:pt x="509" y="206"/>
                  </a:lnTo>
                  <a:lnTo>
                    <a:pt x="511" y="206"/>
                  </a:lnTo>
                  <a:lnTo>
                    <a:pt x="513" y="205"/>
                  </a:lnTo>
                  <a:lnTo>
                    <a:pt x="515" y="204"/>
                  </a:lnTo>
                  <a:lnTo>
                    <a:pt x="513" y="204"/>
                  </a:lnTo>
                  <a:lnTo>
                    <a:pt x="513" y="201"/>
                  </a:lnTo>
                  <a:lnTo>
                    <a:pt x="516" y="200"/>
                  </a:lnTo>
                  <a:lnTo>
                    <a:pt x="517" y="200"/>
                  </a:lnTo>
                  <a:lnTo>
                    <a:pt x="519" y="199"/>
                  </a:lnTo>
                  <a:lnTo>
                    <a:pt x="519" y="195"/>
                  </a:lnTo>
                  <a:lnTo>
                    <a:pt x="521" y="193"/>
                  </a:lnTo>
                  <a:lnTo>
                    <a:pt x="520" y="198"/>
                  </a:lnTo>
                  <a:lnTo>
                    <a:pt x="521" y="199"/>
                  </a:lnTo>
                  <a:lnTo>
                    <a:pt x="522" y="199"/>
                  </a:lnTo>
                  <a:lnTo>
                    <a:pt x="521" y="200"/>
                  </a:lnTo>
                  <a:lnTo>
                    <a:pt x="520" y="204"/>
                  </a:lnTo>
                  <a:lnTo>
                    <a:pt x="521" y="205"/>
                  </a:lnTo>
                  <a:lnTo>
                    <a:pt x="520" y="207"/>
                  </a:lnTo>
                  <a:lnTo>
                    <a:pt x="522" y="210"/>
                  </a:lnTo>
                  <a:lnTo>
                    <a:pt x="520" y="212"/>
                  </a:lnTo>
                  <a:lnTo>
                    <a:pt x="517" y="212"/>
                  </a:lnTo>
                  <a:lnTo>
                    <a:pt x="514" y="212"/>
                  </a:lnTo>
                  <a:lnTo>
                    <a:pt x="511" y="211"/>
                  </a:lnTo>
                  <a:lnTo>
                    <a:pt x="508" y="213"/>
                  </a:lnTo>
                  <a:lnTo>
                    <a:pt x="507" y="214"/>
                  </a:lnTo>
                  <a:lnTo>
                    <a:pt x="508" y="214"/>
                  </a:lnTo>
                  <a:lnTo>
                    <a:pt x="511" y="214"/>
                  </a:lnTo>
                  <a:lnTo>
                    <a:pt x="511" y="217"/>
                  </a:lnTo>
                  <a:lnTo>
                    <a:pt x="514" y="217"/>
                  </a:lnTo>
                  <a:lnTo>
                    <a:pt x="514" y="218"/>
                  </a:lnTo>
                  <a:lnTo>
                    <a:pt x="516" y="218"/>
                  </a:lnTo>
                  <a:lnTo>
                    <a:pt x="519" y="219"/>
                  </a:lnTo>
                  <a:lnTo>
                    <a:pt x="521" y="219"/>
                  </a:lnTo>
                  <a:lnTo>
                    <a:pt x="522" y="218"/>
                  </a:lnTo>
                  <a:lnTo>
                    <a:pt x="522" y="220"/>
                  </a:lnTo>
                  <a:lnTo>
                    <a:pt x="523" y="222"/>
                  </a:lnTo>
                  <a:lnTo>
                    <a:pt x="521" y="222"/>
                  </a:lnTo>
                  <a:lnTo>
                    <a:pt x="520" y="223"/>
                  </a:lnTo>
                  <a:lnTo>
                    <a:pt x="522" y="225"/>
                  </a:lnTo>
                  <a:lnTo>
                    <a:pt x="521" y="225"/>
                  </a:lnTo>
                  <a:lnTo>
                    <a:pt x="520" y="228"/>
                  </a:lnTo>
                  <a:lnTo>
                    <a:pt x="519" y="228"/>
                  </a:lnTo>
                  <a:lnTo>
                    <a:pt x="517" y="228"/>
                  </a:lnTo>
                  <a:lnTo>
                    <a:pt x="519" y="230"/>
                  </a:lnTo>
                  <a:lnTo>
                    <a:pt x="517" y="229"/>
                  </a:lnTo>
                  <a:lnTo>
                    <a:pt x="516" y="231"/>
                  </a:lnTo>
                  <a:lnTo>
                    <a:pt x="515" y="231"/>
                  </a:lnTo>
                  <a:lnTo>
                    <a:pt x="514" y="231"/>
                  </a:lnTo>
                  <a:lnTo>
                    <a:pt x="514" y="232"/>
                  </a:lnTo>
                  <a:lnTo>
                    <a:pt x="511" y="232"/>
                  </a:lnTo>
                  <a:lnTo>
                    <a:pt x="510" y="231"/>
                  </a:lnTo>
                  <a:lnTo>
                    <a:pt x="510" y="232"/>
                  </a:lnTo>
                  <a:lnTo>
                    <a:pt x="509" y="230"/>
                  </a:lnTo>
                  <a:lnTo>
                    <a:pt x="508" y="231"/>
                  </a:lnTo>
                  <a:lnTo>
                    <a:pt x="509" y="232"/>
                  </a:lnTo>
                  <a:lnTo>
                    <a:pt x="510" y="234"/>
                  </a:lnTo>
                  <a:lnTo>
                    <a:pt x="513" y="235"/>
                  </a:lnTo>
                  <a:lnTo>
                    <a:pt x="514" y="238"/>
                  </a:lnTo>
                  <a:lnTo>
                    <a:pt x="514" y="241"/>
                  </a:lnTo>
                  <a:lnTo>
                    <a:pt x="513" y="237"/>
                  </a:lnTo>
                  <a:lnTo>
                    <a:pt x="510" y="236"/>
                  </a:lnTo>
                  <a:lnTo>
                    <a:pt x="509" y="237"/>
                  </a:lnTo>
                  <a:lnTo>
                    <a:pt x="508" y="236"/>
                  </a:lnTo>
                  <a:lnTo>
                    <a:pt x="507" y="237"/>
                  </a:lnTo>
                  <a:lnTo>
                    <a:pt x="508" y="235"/>
                  </a:lnTo>
                  <a:lnTo>
                    <a:pt x="507" y="234"/>
                  </a:lnTo>
                  <a:lnTo>
                    <a:pt x="505" y="235"/>
                  </a:lnTo>
                  <a:lnTo>
                    <a:pt x="504" y="237"/>
                  </a:lnTo>
                  <a:lnTo>
                    <a:pt x="503" y="236"/>
                  </a:lnTo>
                  <a:lnTo>
                    <a:pt x="502" y="237"/>
                  </a:lnTo>
                  <a:lnTo>
                    <a:pt x="501" y="238"/>
                  </a:lnTo>
                  <a:lnTo>
                    <a:pt x="499" y="235"/>
                  </a:lnTo>
                  <a:lnTo>
                    <a:pt x="499" y="232"/>
                  </a:lnTo>
                  <a:lnTo>
                    <a:pt x="498" y="232"/>
                  </a:lnTo>
                  <a:lnTo>
                    <a:pt x="497" y="231"/>
                  </a:lnTo>
                  <a:lnTo>
                    <a:pt x="498" y="228"/>
                  </a:lnTo>
                  <a:lnTo>
                    <a:pt x="498" y="225"/>
                  </a:lnTo>
                  <a:lnTo>
                    <a:pt x="496" y="226"/>
                  </a:lnTo>
                  <a:lnTo>
                    <a:pt x="492" y="229"/>
                  </a:lnTo>
                  <a:lnTo>
                    <a:pt x="488" y="232"/>
                  </a:lnTo>
                  <a:lnTo>
                    <a:pt x="488" y="234"/>
                  </a:lnTo>
                  <a:lnTo>
                    <a:pt x="490" y="234"/>
                  </a:lnTo>
                  <a:lnTo>
                    <a:pt x="490" y="235"/>
                  </a:lnTo>
                  <a:lnTo>
                    <a:pt x="488" y="236"/>
                  </a:lnTo>
                  <a:lnTo>
                    <a:pt x="491" y="240"/>
                  </a:lnTo>
                  <a:lnTo>
                    <a:pt x="492" y="241"/>
                  </a:lnTo>
                  <a:lnTo>
                    <a:pt x="498" y="246"/>
                  </a:lnTo>
                  <a:lnTo>
                    <a:pt x="499" y="243"/>
                  </a:lnTo>
                  <a:lnTo>
                    <a:pt x="501" y="241"/>
                  </a:lnTo>
                  <a:lnTo>
                    <a:pt x="503" y="242"/>
                  </a:lnTo>
                  <a:lnTo>
                    <a:pt x="502" y="243"/>
                  </a:lnTo>
                  <a:lnTo>
                    <a:pt x="507" y="245"/>
                  </a:lnTo>
                  <a:lnTo>
                    <a:pt x="505" y="248"/>
                  </a:lnTo>
                  <a:lnTo>
                    <a:pt x="507" y="252"/>
                  </a:lnTo>
                  <a:lnTo>
                    <a:pt x="511" y="251"/>
                  </a:lnTo>
                  <a:lnTo>
                    <a:pt x="511" y="249"/>
                  </a:lnTo>
                  <a:lnTo>
                    <a:pt x="510" y="249"/>
                  </a:lnTo>
                  <a:lnTo>
                    <a:pt x="513" y="246"/>
                  </a:lnTo>
                  <a:lnTo>
                    <a:pt x="515" y="246"/>
                  </a:lnTo>
                  <a:lnTo>
                    <a:pt x="517" y="243"/>
                  </a:lnTo>
                  <a:lnTo>
                    <a:pt x="519" y="245"/>
                  </a:lnTo>
                  <a:lnTo>
                    <a:pt x="517" y="247"/>
                  </a:lnTo>
                  <a:lnTo>
                    <a:pt x="515" y="249"/>
                  </a:lnTo>
                  <a:lnTo>
                    <a:pt x="513" y="251"/>
                  </a:lnTo>
                  <a:lnTo>
                    <a:pt x="513" y="252"/>
                  </a:lnTo>
                  <a:lnTo>
                    <a:pt x="507" y="252"/>
                  </a:lnTo>
                  <a:lnTo>
                    <a:pt x="507" y="254"/>
                  </a:lnTo>
                  <a:lnTo>
                    <a:pt x="505" y="254"/>
                  </a:lnTo>
                  <a:lnTo>
                    <a:pt x="504" y="255"/>
                  </a:lnTo>
                  <a:lnTo>
                    <a:pt x="507" y="257"/>
                  </a:lnTo>
                  <a:lnTo>
                    <a:pt x="505" y="259"/>
                  </a:lnTo>
                  <a:lnTo>
                    <a:pt x="504" y="260"/>
                  </a:lnTo>
                  <a:lnTo>
                    <a:pt x="503" y="258"/>
                  </a:lnTo>
                  <a:lnTo>
                    <a:pt x="503" y="255"/>
                  </a:lnTo>
                  <a:lnTo>
                    <a:pt x="503" y="253"/>
                  </a:lnTo>
                  <a:lnTo>
                    <a:pt x="502" y="254"/>
                  </a:lnTo>
                  <a:lnTo>
                    <a:pt x="501" y="257"/>
                  </a:lnTo>
                  <a:lnTo>
                    <a:pt x="498" y="258"/>
                  </a:lnTo>
                  <a:lnTo>
                    <a:pt x="497" y="257"/>
                  </a:lnTo>
                  <a:lnTo>
                    <a:pt x="497" y="253"/>
                  </a:lnTo>
                  <a:lnTo>
                    <a:pt x="496" y="255"/>
                  </a:lnTo>
                  <a:lnTo>
                    <a:pt x="495" y="258"/>
                  </a:lnTo>
                  <a:lnTo>
                    <a:pt x="492" y="259"/>
                  </a:lnTo>
                  <a:lnTo>
                    <a:pt x="492" y="258"/>
                  </a:lnTo>
                  <a:lnTo>
                    <a:pt x="491" y="255"/>
                  </a:lnTo>
                  <a:lnTo>
                    <a:pt x="492" y="253"/>
                  </a:lnTo>
                  <a:lnTo>
                    <a:pt x="491" y="252"/>
                  </a:lnTo>
                  <a:lnTo>
                    <a:pt x="490" y="253"/>
                  </a:lnTo>
                  <a:lnTo>
                    <a:pt x="487" y="253"/>
                  </a:lnTo>
                  <a:lnTo>
                    <a:pt x="487" y="251"/>
                  </a:lnTo>
                  <a:lnTo>
                    <a:pt x="487" y="248"/>
                  </a:lnTo>
                  <a:lnTo>
                    <a:pt x="486" y="248"/>
                  </a:lnTo>
                  <a:lnTo>
                    <a:pt x="487" y="246"/>
                  </a:lnTo>
                  <a:lnTo>
                    <a:pt x="486" y="243"/>
                  </a:lnTo>
                  <a:lnTo>
                    <a:pt x="485" y="243"/>
                  </a:lnTo>
                  <a:lnTo>
                    <a:pt x="484" y="246"/>
                  </a:lnTo>
                  <a:lnTo>
                    <a:pt x="482" y="245"/>
                  </a:lnTo>
                  <a:lnTo>
                    <a:pt x="484" y="242"/>
                  </a:lnTo>
                  <a:lnTo>
                    <a:pt x="481" y="242"/>
                  </a:lnTo>
                  <a:lnTo>
                    <a:pt x="481" y="245"/>
                  </a:lnTo>
                  <a:lnTo>
                    <a:pt x="481" y="247"/>
                  </a:lnTo>
                  <a:lnTo>
                    <a:pt x="481" y="248"/>
                  </a:lnTo>
                  <a:lnTo>
                    <a:pt x="481" y="251"/>
                  </a:lnTo>
                  <a:lnTo>
                    <a:pt x="481" y="252"/>
                  </a:lnTo>
                  <a:lnTo>
                    <a:pt x="482" y="252"/>
                  </a:lnTo>
                  <a:lnTo>
                    <a:pt x="482" y="255"/>
                  </a:lnTo>
                  <a:lnTo>
                    <a:pt x="481" y="258"/>
                  </a:lnTo>
                  <a:lnTo>
                    <a:pt x="484" y="259"/>
                  </a:lnTo>
                  <a:lnTo>
                    <a:pt x="482" y="260"/>
                  </a:lnTo>
                  <a:lnTo>
                    <a:pt x="485" y="261"/>
                  </a:lnTo>
                  <a:lnTo>
                    <a:pt x="486" y="261"/>
                  </a:lnTo>
                  <a:lnTo>
                    <a:pt x="487" y="259"/>
                  </a:lnTo>
                  <a:lnTo>
                    <a:pt x="490" y="259"/>
                  </a:lnTo>
                  <a:lnTo>
                    <a:pt x="491" y="261"/>
                  </a:lnTo>
                  <a:lnTo>
                    <a:pt x="493" y="263"/>
                  </a:lnTo>
                  <a:lnTo>
                    <a:pt x="492" y="264"/>
                  </a:lnTo>
                  <a:lnTo>
                    <a:pt x="495" y="265"/>
                  </a:lnTo>
                  <a:lnTo>
                    <a:pt x="492" y="266"/>
                  </a:lnTo>
                  <a:lnTo>
                    <a:pt x="487" y="265"/>
                  </a:lnTo>
                  <a:lnTo>
                    <a:pt x="485" y="265"/>
                  </a:lnTo>
                  <a:lnTo>
                    <a:pt x="481" y="264"/>
                  </a:lnTo>
                  <a:lnTo>
                    <a:pt x="479" y="265"/>
                  </a:lnTo>
                  <a:lnTo>
                    <a:pt x="475" y="267"/>
                  </a:lnTo>
                  <a:lnTo>
                    <a:pt x="475" y="265"/>
                  </a:lnTo>
                  <a:lnTo>
                    <a:pt x="473" y="267"/>
                  </a:lnTo>
                  <a:lnTo>
                    <a:pt x="473" y="264"/>
                  </a:lnTo>
                  <a:lnTo>
                    <a:pt x="469" y="263"/>
                  </a:lnTo>
                  <a:lnTo>
                    <a:pt x="469" y="265"/>
                  </a:lnTo>
                  <a:lnTo>
                    <a:pt x="470" y="266"/>
                  </a:lnTo>
                  <a:lnTo>
                    <a:pt x="469" y="266"/>
                  </a:lnTo>
                  <a:lnTo>
                    <a:pt x="468" y="269"/>
                  </a:lnTo>
                  <a:lnTo>
                    <a:pt x="469" y="270"/>
                  </a:lnTo>
                  <a:lnTo>
                    <a:pt x="468" y="270"/>
                  </a:lnTo>
                  <a:lnTo>
                    <a:pt x="468" y="272"/>
                  </a:lnTo>
                  <a:lnTo>
                    <a:pt x="467" y="270"/>
                  </a:lnTo>
                  <a:lnTo>
                    <a:pt x="466" y="267"/>
                  </a:lnTo>
                  <a:lnTo>
                    <a:pt x="466" y="269"/>
                  </a:lnTo>
                  <a:lnTo>
                    <a:pt x="466" y="266"/>
                  </a:lnTo>
                  <a:lnTo>
                    <a:pt x="464" y="267"/>
                  </a:lnTo>
                  <a:lnTo>
                    <a:pt x="463" y="269"/>
                  </a:lnTo>
                  <a:lnTo>
                    <a:pt x="463" y="267"/>
                  </a:lnTo>
                  <a:lnTo>
                    <a:pt x="462" y="267"/>
                  </a:lnTo>
                  <a:lnTo>
                    <a:pt x="461" y="266"/>
                  </a:lnTo>
                  <a:lnTo>
                    <a:pt x="460" y="266"/>
                  </a:lnTo>
                  <a:lnTo>
                    <a:pt x="460" y="265"/>
                  </a:lnTo>
                  <a:lnTo>
                    <a:pt x="457" y="265"/>
                  </a:lnTo>
                  <a:lnTo>
                    <a:pt x="456" y="266"/>
                  </a:lnTo>
                  <a:lnTo>
                    <a:pt x="455" y="269"/>
                  </a:lnTo>
                  <a:lnTo>
                    <a:pt x="454" y="270"/>
                  </a:lnTo>
                  <a:lnTo>
                    <a:pt x="452" y="272"/>
                  </a:lnTo>
                  <a:lnTo>
                    <a:pt x="452" y="269"/>
                  </a:lnTo>
                  <a:lnTo>
                    <a:pt x="450" y="269"/>
                  </a:lnTo>
                  <a:lnTo>
                    <a:pt x="448" y="269"/>
                  </a:lnTo>
                  <a:lnTo>
                    <a:pt x="448" y="270"/>
                  </a:lnTo>
                  <a:lnTo>
                    <a:pt x="446" y="269"/>
                  </a:lnTo>
                  <a:lnTo>
                    <a:pt x="444" y="269"/>
                  </a:lnTo>
                  <a:lnTo>
                    <a:pt x="442" y="270"/>
                  </a:lnTo>
                  <a:lnTo>
                    <a:pt x="442" y="273"/>
                  </a:lnTo>
                  <a:lnTo>
                    <a:pt x="440" y="272"/>
                  </a:lnTo>
                  <a:lnTo>
                    <a:pt x="439" y="271"/>
                  </a:lnTo>
                  <a:lnTo>
                    <a:pt x="439" y="272"/>
                  </a:lnTo>
                  <a:lnTo>
                    <a:pt x="438" y="273"/>
                  </a:lnTo>
                  <a:lnTo>
                    <a:pt x="439" y="275"/>
                  </a:lnTo>
                  <a:lnTo>
                    <a:pt x="440" y="275"/>
                  </a:lnTo>
                  <a:lnTo>
                    <a:pt x="439" y="277"/>
                  </a:lnTo>
                  <a:lnTo>
                    <a:pt x="439" y="278"/>
                  </a:lnTo>
                  <a:lnTo>
                    <a:pt x="440" y="278"/>
                  </a:lnTo>
                  <a:lnTo>
                    <a:pt x="443" y="278"/>
                  </a:lnTo>
                  <a:lnTo>
                    <a:pt x="443" y="277"/>
                  </a:lnTo>
                  <a:lnTo>
                    <a:pt x="444" y="278"/>
                  </a:lnTo>
                  <a:lnTo>
                    <a:pt x="445" y="277"/>
                  </a:lnTo>
                  <a:lnTo>
                    <a:pt x="445" y="273"/>
                  </a:lnTo>
                  <a:lnTo>
                    <a:pt x="448" y="276"/>
                  </a:lnTo>
                  <a:lnTo>
                    <a:pt x="448" y="277"/>
                  </a:lnTo>
                  <a:lnTo>
                    <a:pt x="450" y="277"/>
                  </a:lnTo>
                  <a:lnTo>
                    <a:pt x="451" y="279"/>
                  </a:lnTo>
                  <a:lnTo>
                    <a:pt x="450" y="279"/>
                  </a:lnTo>
                  <a:lnTo>
                    <a:pt x="449" y="281"/>
                  </a:lnTo>
                  <a:lnTo>
                    <a:pt x="450" y="282"/>
                  </a:lnTo>
                  <a:lnTo>
                    <a:pt x="449" y="282"/>
                  </a:lnTo>
                  <a:lnTo>
                    <a:pt x="448" y="283"/>
                  </a:lnTo>
                  <a:lnTo>
                    <a:pt x="450" y="284"/>
                  </a:lnTo>
                  <a:lnTo>
                    <a:pt x="451" y="283"/>
                  </a:lnTo>
                  <a:lnTo>
                    <a:pt x="451" y="282"/>
                  </a:lnTo>
                  <a:lnTo>
                    <a:pt x="452" y="284"/>
                  </a:lnTo>
                  <a:lnTo>
                    <a:pt x="451" y="287"/>
                  </a:lnTo>
                  <a:lnTo>
                    <a:pt x="450" y="287"/>
                  </a:lnTo>
                  <a:lnTo>
                    <a:pt x="450" y="288"/>
                  </a:lnTo>
                  <a:lnTo>
                    <a:pt x="452" y="288"/>
                  </a:lnTo>
                  <a:lnTo>
                    <a:pt x="454" y="289"/>
                  </a:lnTo>
                  <a:lnTo>
                    <a:pt x="455" y="289"/>
                  </a:lnTo>
                  <a:lnTo>
                    <a:pt x="456" y="290"/>
                  </a:lnTo>
                  <a:lnTo>
                    <a:pt x="456" y="294"/>
                  </a:lnTo>
                  <a:lnTo>
                    <a:pt x="457" y="295"/>
                  </a:lnTo>
                  <a:lnTo>
                    <a:pt x="458" y="295"/>
                  </a:lnTo>
                  <a:lnTo>
                    <a:pt x="461" y="295"/>
                  </a:lnTo>
                  <a:lnTo>
                    <a:pt x="462" y="295"/>
                  </a:lnTo>
                  <a:lnTo>
                    <a:pt x="462" y="293"/>
                  </a:lnTo>
                  <a:lnTo>
                    <a:pt x="463" y="291"/>
                  </a:lnTo>
                  <a:lnTo>
                    <a:pt x="464" y="290"/>
                  </a:lnTo>
                  <a:lnTo>
                    <a:pt x="467" y="290"/>
                  </a:lnTo>
                  <a:lnTo>
                    <a:pt x="466" y="293"/>
                  </a:lnTo>
                  <a:lnTo>
                    <a:pt x="466" y="294"/>
                  </a:lnTo>
                  <a:lnTo>
                    <a:pt x="467" y="294"/>
                  </a:lnTo>
                  <a:lnTo>
                    <a:pt x="466" y="296"/>
                  </a:lnTo>
                  <a:lnTo>
                    <a:pt x="467" y="299"/>
                  </a:lnTo>
                  <a:lnTo>
                    <a:pt x="468" y="300"/>
                  </a:lnTo>
                  <a:lnTo>
                    <a:pt x="468" y="301"/>
                  </a:lnTo>
                  <a:lnTo>
                    <a:pt x="468" y="300"/>
                  </a:lnTo>
                  <a:lnTo>
                    <a:pt x="469" y="301"/>
                  </a:lnTo>
                  <a:lnTo>
                    <a:pt x="469" y="305"/>
                  </a:lnTo>
                  <a:lnTo>
                    <a:pt x="469" y="307"/>
                  </a:lnTo>
                  <a:lnTo>
                    <a:pt x="472" y="307"/>
                  </a:lnTo>
                  <a:lnTo>
                    <a:pt x="473" y="306"/>
                  </a:lnTo>
                  <a:lnTo>
                    <a:pt x="474" y="306"/>
                  </a:lnTo>
                  <a:lnTo>
                    <a:pt x="475" y="307"/>
                  </a:lnTo>
                  <a:lnTo>
                    <a:pt x="478" y="307"/>
                  </a:lnTo>
                  <a:lnTo>
                    <a:pt x="476" y="307"/>
                  </a:lnTo>
                  <a:lnTo>
                    <a:pt x="478" y="306"/>
                  </a:lnTo>
                  <a:lnTo>
                    <a:pt x="479" y="305"/>
                  </a:lnTo>
                  <a:lnTo>
                    <a:pt x="480" y="305"/>
                  </a:lnTo>
                  <a:lnTo>
                    <a:pt x="481" y="307"/>
                  </a:lnTo>
                  <a:lnTo>
                    <a:pt x="480" y="308"/>
                  </a:lnTo>
                  <a:lnTo>
                    <a:pt x="482" y="309"/>
                  </a:lnTo>
                  <a:lnTo>
                    <a:pt x="486" y="312"/>
                  </a:lnTo>
                  <a:lnTo>
                    <a:pt x="485" y="312"/>
                  </a:lnTo>
                  <a:lnTo>
                    <a:pt x="484" y="313"/>
                  </a:lnTo>
                  <a:lnTo>
                    <a:pt x="485" y="314"/>
                  </a:lnTo>
                  <a:lnTo>
                    <a:pt x="486" y="314"/>
                  </a:lnTo>
                  <a:lnTo>
                    <a:pt x="486" y="319"/>
                  </a:lnTo>
                  <a:lnTo>
                    <a:pt x="484" y="321"/>
                  </a:lnTo>
                  <a:lnTo>
                    <a:pt x="482" y="321"/>
                  </a:lnTo>
                  <a:lnTo>
                    <a:pt x="482" y="323"/>
                  </a:lnTo>
                  <a:lnTo>
                    <a:pt x="479" y="326"/>
                  </a:lnTo>
                  <a:lnTo>
                    <a:pt x="476" y="327"/>
                  </a:lnTo>
                  <a:lnTo>
                    <a:pt x="475" y="329"/>
                  </a:lnTo>
                  <a:lnTo>
                    <a:pt x="474" y="329"/>
                  </a:lnTo>
                  <a:lnTo>
                    <a:pt x="473" y="330"/>
                  </a:lnTo>
                  <a:lnTo>
                    <a:pt x="475" y="331"/>
                  </a:lnTo>
                  <a:lnTo>
                    <a:pt x="481" y="333"/>
                  </a:lnTo>
                  <a:lnTo>
                    <a:pt x="485" y="333"/>
                  </a:lnTo>
                  <a:lnTo>
                    <a:pt x="486" y="335"/>
                  </a:lnTo>
                  <a:lnTo>
                    <a:pt x="488" y="337"/>
                  </a:lnTo>
                  <a:lnTo>
                    <a:pt x="488" y="339"/>
                  </a:lnTo>
                  <a:lnTo>
                    <a:pt x="487" y="338"/>
                  </a:lnTo>
                  <a:lnTo>
                    <a:pt x="485" y="337"/>
                  </a:lnTo>
                  <a:lnTo>
                    <a:pt x="482" y="336"/>
                  </a:lnTo>
                  <a:lnTo>
                    <a:pt x="481" y="336"/>
                  </a:lnTo>
                  <a:lnTo>
                    <a:pt x="481" y="335"/>
                  </a:lnTo>
                  <a:lnTo>
                    <a:pt x="479" y="333"/>
                  </a:lnTo>
                  <a:lnTo>
                    <a:pt x="474" y="332"/>
                  </a:lnTo>
                  <a:lnTo>
                    <a:pt x="474" y="333"/>
                  </a:lnTo>
                  <a:lnTo>
                    <a:pt x="473" y="335"/>
                  </a:lnTo>
                  <a:lnTo>
                    <a:pt x="472" y="336"/>
                  </a:lnTo>
                  <a:lnTo>
                    <a:pt x="472" y="337"/>
                  </a:lnTo>
                  <a:lnTo>
                    <a:pt x="470" y="339"/>
                  </a:lnTo>
                  <a:lnTo>
                    <a:pt x="469" y="339"/>
                  </a:lnTo>
                  <a:lnTo>
                    <a:pt x="468" y="341"/>
                  </a:lnTo>
                  <a:lnTo>
                    <a:pt x="467" y="341"/>
                  </a:lnTo>
                  <a:lnTo>
                    <a:pt x="468" y="337"/>
                  </a:lnTo>
                  <a:lnTo>
                    <a:pt x="468" y="335"/>
                  </a:lnTo>
                  <a:lnTo>
                    <a:pt x="468" y="332"/>
                  </a:lnTo>
                  <a:lnTo>
                    <a:pt x="470" y="331"/>
                  </a:lnTo>
                  <a:lnTo>
                    <a:pt x="472" y="330"/>
                  </a:lnTo>
                  <a:lnTo>
                    <a:pt x="469" y="330"/>
                  </a:lnTo>
                  <a:lnTo>
                    <a:pt x="468" y="330"/>
                  </a:lnTo>
                  <a:lnTo>
                    <a:pt x="467" y="332"/>
                  </a:lnTo>
                  <a:lnTo>
                    <a:pt x="467" y="333"/>
                  </a:lnTo>
                  <a:lnTo>
                    <a:pt x="466" y="335"/>
                  </a:lnTo>
                  <a:lnTo>
                    <a:pt x="466" y="332"/>
                  </a:lnTo>
                  <a:lnTo>
                    <a:pt x="467" y="329"/>
                  </a:lnTo>
                  <a:lnTo>
                    <a:pt x="464" y="330"/>
                  </a:lnTo>
                  <a:lnTo>
                    <a:pt x="464" y="331"/>
                  </a:lnTo>
                  <a:lnTo>
                    <a:pt x="463" y="332"/>
                  </a:lnTo>
                  <a:lnTo>
                    <a:pt x="462" y="330"/>
                  </a:lnTo>
                  <a:lnTo>
                    <a:pt x="461" y="329"/>
                  </a:lnTo>
                  <a:lnTo>
                    <a:pt x="460" y="327"/>
                  </a:lnTo>
                  <a:lnTo>
                    <a:pt x="458" y="327"/>
                  </a:lnTo>
                  <a:lnTo>
                    <a:pt x="457" y="326"/>
                  </a:lnTo>
                  <a:lnTo>
                    <a:pt x="457" y="324"/>
                  </a:lnTo>
                  <a:lnTo>
                    <a:pt x="455" y="325"/>
                  </a:lnTo>
                  <a:lnTo>
                    <a:pt x="454" y="326"/>
                  </a:lnTo>
                  <a:lnTo>
                    <a:pt x="454" y="325"/>
                  </a:lnTo>
                  <a:lnTo>
                    <a:pt x="455" y="323"/>
                  </a:lnTo>
                  <a:lnTo>
                    <a:pt x="454" y="321"/>
                  </a:lnTo>
                  <a:lnTo>
                    <a:pt x="450" y="321"/>
                  </a:lnTo>
                  <a:lnTo>
                    <a:pt x="450" y="319"/>
                  </a:lnTo>
                  <a:lnTo>
                    <a:pt x="449" y="319"/>
                  </a:lnTo>
                  <a:lnTo>
                    <a:pt x="448" y="320"/>
                  </a:lnTo>
                  <a:lnTo>
                    <a:pt x="446" y="319"/>
                  </a:lnTo>
                  <a:lnTo>
                    <a:pt x="450" y="318"/>
                  </a:lnTo>
                  <a:lnTo>
                    <a:pt x="450" y="317"/>
                  </a:lnTo>
                  <a:lnTo>
                    <a:pt x="448" y="315"/>
                  </a:lnTo>
                  <a:lnTo>
                    <a:pt x="449" y="314"/>
                  </a:lnTo>
                  <a:lnTo>
                    <a:pt x="448" y="315"/>
                  </a:lnTo>
                  <a:lnTo>
                    <a:pt x="446" y="314"/>
                  </a:lnTo>
                  <a:lnTo>
                    <a:pt x="445" y="312"/>
                  </a:lnTo>
                  <a:lnTo>
                    <a:pt x="443" y="312"/>
                  </a:lnTo>
                  <a:lnTo>
                    <a:pt x="444" y="317"/>
                  </a:lnTo>
                  <a:lnTo>
                    <a:pt x="444" y="324"/>
                  </a:lnTo>
                  <a:lnTo>
                    <a:pt x="444" y="325"/>
                  </a:lnTo>
                  <a:lnTo>
                    <a:pt x="445" y="327"/>
                  </a:lnTo>
                  <a:lnTo>
                    <a:pt x="445" y="330"/>
                  </a:lnTo>
                  <a:lnTo>
                    <a:pt x="444" y="329"/>
                  </a:lnTo>
                  <a:lnTo>
                    <a:pt x="443" y="325"/>
                  </a:lnTo>
                  <a:lnTo>
                    <a:pt x="443" y="321"/>
                  </a:lnTo>
                  <a:lnTo>
                    <a:pt x="442" y="323"/>
                  </a:lnTo>
                  <a:lnTo>
                    <a:pt x="439" y="326"/>
                  </a:lnTo>
                  <a:lnTo>
                    <a:pt x="439" y="327"/>
                  </a:lnTo>
                  <a:lnTo>
                    <a:pt x="440" y="331"/>
                  </a:lnTo>
                  <a:lnTo>
                    <a:pt x="438" y="333"/>
                  </a:lnTo>
                  <a:lnTo>
                    <a:pt x="434" y="337"/>
                  </a:lnTo>
                  <a:lnTo>
                    <a:pt x="433" y="338"/>
                  </a:lnTo>
                  <a:lnTo>
                    <a:pt x="438" y="343"/>
                  </a:lnTo>
                  <a:lnTo>
                    <a:pt x="440" y="344"/>
                  </a:lnTo>
                  <a:lnTo>
                    <a:pt x="440" y="343"/>
                  </a:lnTo>
                  <a:lnTo>
                    <a:pt x="444" y="344"/>
                  </a:lnTo>
                  <a:lnTo>
                    <a:pt x="445" y="345"/>
                  </a:lnTo>
                  <a:lnTo>
                    <a:pt x="444" y="347"/>
                  </a:lnTo>
                  <a:lnTo>
                    <a:pt x="445" y="347"/>
                  </a:lnTo>
                  <a:lnTo>
                    <a:pt x="446" y="347"/>
                  </a:lnTo>
                  <a:lnTo>
                    <a:pt x="448" y="347"/>
                  </a:lnTo>
                  <a:lnTo>
                    <a:pt x="449" y="344"/>
                  </a:lnTo>
                  <a:lnTo>
                    <a:pt x="449" y="342"/>
                  </a:lnTo>
                  <a:lnTo>
                    <a:pt x="450" y="341"/>
                  </a:lnTo>
                  <a:lnTo>
                    <a:pt x="452" y="343"/>
                  </a:lnTo>
                  <a:lnTo>
                    <a:pt x="451" y="347"/>
                  </a:lnTo>
                  <a:lnTo>
                    <a:pt x="451" y="349"/>
                  </a:lnTo>
                  <a:lnTo>
                    <a:pt x="452" y="347"/>
                  </a:lnTo>
                  <a:lnTo>
                    <a:pt x="454" y="347"/>
                  </a:lnTo>
                  <a:lnTo>
                    <a:pt x="454" y="349"/>
                  </a:lnTo>
                  <a:lnTo>
                    <a:pt x="455" y="348"/>
                  </a:lnTo>
                  <a:lnTo>
                    <a:pt x="456" y="348"/>
                  </a:lnTo>
                  <a:lnTo>
                    <a:pt x="456" y="350"/>
                  </a:lnTo>
                  <a:lnTo>
                    <a:pt x="452" y="350"/>
                  </a:lnTo>
                  <a:lnTo>
                    <a:pt x="452" y="352"/>
                  </a:lnTo>
                  <a:lnTo>
                    <a:pt x="454" y="353"/>
                  </a:lnTo>
                  <a:lnTo>
                    <a:pt x="455" y="354"/>
                  </a:lnTo>
                  <a:lnTo>
                    <a:pt x="456" y="356"/>
                  </a:lnTo>
                  <a:lnTo>
                    <a:pt x="455" y="359"/>
                  </a:lnTo>
                  <a:lnTo>
                    <a:pt x="454" y="358"/>
                  </a:lnTo>
                  <a:lnTo>
                    <a:pt x="454" y="359"/>
                  </a:lnTo>
                  <a:lnTo>
                    <a:pt x="452" y="362"/>
                  </a:lnTo>
                  <a:lnTo>
                    <a:pt x="451" y="361"/>
                  </a:lnTo>
                  <a:lnTo>
                    <a:pt x="449" y="359"/>
                  </a:lnTo>
                  <a:lnTo>
                    <a:pt x="450" y="356"/>
                  </a:lnTo>
                  <a:lnTo>
                    <a:pt x="450" y="353"/>
                  </a:lnTo>
                  <a:lnTo>
                    <a:pt x="449" y="354"/>
                  </a:lnTo>
                  <a:lnTo>
                    <a:pt x="448" y="355"/>
                  </a:lnTo>
                  <a:lnTo>
                    <a:pt x="446" y="355"/>
                  </a:lnTo>
                  <a:lnTo>
                    <a:pt x="446" y="352"/>
                  </a:lnTo>
                  <a:lnTo>
                    <a:pt x="445" y="352"/>
                  </a:lnTo>
                  <a:lnTo>
                    <a:pt x="444" y="352"/>
                  </a:lnTo>
                  <a:lnTo>
                    <a:pt x="443" y="348"/>
                  </a:lnTo>
                  <a:lnTo>
                    <a:pt x="443" y="347"/>
                  </a:lnTo>
                  <a:lnTo>
                    <a:pt x="443" y="349"/>
                  </a:lnTo>
                  <a:lnTo>
                    <a:pt x="439" y="349"/>
                  </a:lnTo>
                  <a:lnTo>
                    <a:pt x="439" y="348"/>
                  </a:lnTo>
                  <a:lnTo>
                    <a:pt x="440" y="347"/>
                  </a:lnTo>
                  <a:lnTo>
                    <a:pt x="440" y="345"/>
                  </a:lnTo>
                  <a:lnTo>
                    <a:pt x="437" y="343"/>
                  </a:lnTo>
                  <a:lnTo>
                    <a:pt x="434" y="341"/>
                  </a:lnTo>
                  <a:lnTo>
                    <a:pt x="433" y="343"/>
                  </a:lnTo>
                  <a:lnTo>
                    <a:pt x="434" y="344"/>
                  </a:lnTo>
                  <a:lnTo>
                    <a:pt x="436" y="348"/>
                  </a:lnTo>
                  <a:lnTo>
                    <a:pt x="437" y="350"/>
                  </a:lnTo>
                  <a:lnTo>
                    <a:pt x="434" y="355"/>
                  </a:lnTo>
                  <a:lnTo>
                    <a:pt x="433" y="356"/>
                  </a:lnTo>
                  <a:lnTo>
                    <a:pt x="433" y="359"/>
                  </a:lnTo>
                  <a:lnTo>
                    <a:pt x="432" y="361"/>
                  </a:lnTo>
                  <a:lnTo>
                    <a:pt x="432" y="362"/>
                  </a:lnTo>
                  <a:lnTo>
                    <a:pt x="433" y="365"/>
                  </a:lnTo>
                  <a:lnTo>
                    <a:pt x="434" y="365"/>
                  </a:lnTo>
                  <a:lnTo>
                    <a:pt x="436" y="362"/>
                  </a:lnTo>
                  <a:lnTo>
                    <a:pt x="437" y="361"/>
                  </a:lnTo>
                  <a:lnTo>
                    <a:pt x="439" y="362"/>
                  </a:lnTo>
                  <a:lnTo>
                    <a:pt x="439" y="365"/>
                  </a:lnTo>
                  <a:lnTo>
                    <a:pt x="442" y="365"/>
                  </a:lnTo>
                  <a:lnTo>
                    <a:pt x="444" y="366"/>
                  </a:lnTo>
                  <a:lnTo>
                    <a:pt x="445" y="367"/>
                  </a:lnTo>
                  <a:lnTo>
                    <a:pt x="446" y="366"/>
                  </a:lnTo>
                  <a:lnTo>
                    <a:pt x="448" y="365"/>
                  </a:lnTo>
                  <a:lnTo>
                    <a:pt x="450" y="364"/>
                  </a:lnTo>
                  <a:lnTo>
                    <a:pt x="452" y="365"/>
                  </a:lnTo>
                  <a:lnTo>
                    <a:pt x="449" y="365"/>
                  </a:lnTo>
                  <a:lnTo>
                    <a:pt x="448" y="367"/>
                  </a:lnTo>
                  <a:lnTo>
                    <a:pt x="448" y="368"/>
                  </a:lnTo>
                  <a:lnTo>
                    <a:pt x="449" y="368"/>
                  </a:lnTo>
                  <a:lnTo>
                    <a:pt x="452" y="368"/>
                  </a:lnTo>
                  <a:lnTo>
                    <a:pt x="454" y="368"/>
                  </a:lnTo>
                  <a:lnTo>
                    <a:pt x="455" y="367"/>
                  </a:lnTo>
                  <a:lnTo>
                    <a:pt x="456" y="367"/>
                  </a:lnTo>
                  <a:lnTo>
                    <a:pt x="458" y="367"/>
                  </a:lnTo>
                  <a:lnTo>
                    <a:pt x="458" y="366"/>
                  </a:lnTo>
                  <a:lnTo>
                    <a:pt x="460" y="367"/>
                  </a:lnTo>
                  <a:lnTo>
                    <a:pt x="460" y="370"/>
                  </a:lnTo>
                  <a:lnTo>
                    <a:pt x="457" y="373"/>
                  </a:lnTo>
                  <a:lnTo>
                    <a:pt x="458" y="374"/>
                  </a:lnTo>
                  <a:lnTo>
                    <a:pt x="460" y="376"/>
                  </a:lnTo>
                  <a:lnTo>
                    <a:pt x="458" y="380"/>
                  </a:lnTo>
                  <a:lnTo>
                    <a:pt x="457" y="384"/>
                  </a:lnTo>
                  <a:lnTo>
                    <a:pt x="456" y="385"/>
                  </a:lnTo>
                  <a:lnTo>
                    <a:pt x="456" y="388"/>
                  </a:lnTo>
                  <a:lnTo>
                    <a:pt x="455" y="389"/>
                  </a:lnTo>
                  <a:lnTo>
                    <a:pt x="457" y="390"/>
                  </a:lnTo>
                  <a:lnTo>
                    <a:pt x="456" y="395"/>
                  </a:lnTo>
                  <a:lnTo>
                    <a:pt x="456" y="396"/>
                  </a:lnTo>
                  <a:lnTo>
                    <a:pt x="454" y="396"/>
                  </a:lnTo>
                  <a:lnTo>
                    <a:pt x="454" y="397"/>
                  </a:lnTo>
                  <a:lnTo>
                    <a:pt x="454" y="400"/>
                  </a:lnTo>
                  <a:lnTo>
                    <a:pt x="452" y="400"/>
                  </a:lnTo>
                  <a:lnTo>
                    <a:pt x="452" y="398"/>
                  </a:lnTo>
                  <a:lnTo>
                    <a:pt x="452" y="401"/>
                  </a:lnTo>
                  <a:lnTo>
                    <a:pt x="454" y="402"/>
                  </a:lnTo>
                  <a:lnTo>
                    <a:pt x="455" y="402"/>
                  </a:lnTo>
                  <a:lnTo>
                    <a:pt x="455" y="400"/>
                  </a:lnTo>
                  <a:lnTo>
                    <a:pt x="455" y="398"/>
                  </a:lnTo>
                  <a:lnTo>
                    <a:pt x="456" y="398"/>
                  </a:lnTo>
                  <a:lnTo>
                    <a:pt x="457" y="402"/>
                  </a:lnTo>
                  <a:lnTo>
                    <a:pt x="457" y="404"/>
                  </a:lnTo>
                  <a:lnTo>
                    <a:pt x="458" y="406"/>
                  </a:lnTo>
                  <a:lnTo>
                    <a:pt x="460" y="407"/>
                  </a:lnTo>
                  <a:lnTo>
                    <a:pt x="461" y="408"/>
                  </a:lnTo>
                  <a:lnTo>
                    <a:pt x="461" y="409"/>
                  </a:lnTo>
                  <a:lnTo>
                    <a:pt x="461" y="410"/>
                  </a:lnTo>
                  <a:lnTo>
                    <a:pt x="462" y="410"/>
                  </a:lnTo>
                  <a:lnTo>
                    <a:pt x="462" y="412"/>
                  </a:lnTo>
                  <a:lnTo>
                    <a:pt x="463" y="412"/>
                  </a:lnTo>
                  <a:lnTo>
                    <a:pt x="464" y="412"/>
                  </a:lnTo>
                  <a:lnTo>
                    <a:pt x="466" y="413"/>
                  </a:lnTo>
                  <a:lnTo>
                    <a:pt x="468" y="415"/>
                  </a:lnTo>
                  <a:lnTo>
                    <a:pt x="466" y="415"/>
                  </a:lnTo>
                  <a:lnTo>
                    <a:pt x="464" y="415"/>
                  </a:lnTo>
                  <a:lnTo>
                    <a:pt x="463" y="414"/>
                  </a:lnTo>
                  <a:lnTo>
                    <a:pt x="463" y="415"/>
                  </a:lnTo>
                  <a:lnTo>
                    <a:pt x="466" y="418"/>
                  </a:lnTo>
                  <a:lnTo>
                    <a:pt x="468" y="419"/>
                  </a:lnTo>
                  <a:lnTo>
                    <a:pt x="468" y="421"/>
                  </a:lnTo>
                  <a:lnTo>
                    <a:pt x="466" y="420"/>
                  </a:lnTo>
                  <a:lnTo>
                    <a:pt x="463" y="418"/>
                  </a:lnTo>
                  <a:lnTo>
                    <a:pt x="463" y="419"/>
                  </a:lnTo>
                  <a:lnTo>
                    <a:pt x="461" y="419"/>
                  </a:lnTo>
                  <a:lnTo>
                    <a:pt x="461" y="420"/>
                  </a:lnTo>
                  <a:lnTo>
                    <a:pt x="458" y="422"/>
                  </a:lnTo>
                  <a:lnTo>
                    <a:pt x="456" y="424"/>
                  </a:lnTo>
                  <a:lnTo>
                    <a:pt x="455" y="425"/>
                  </a:lnTo>
                  <a:lnTo>
                    <a:pt x="455" y="421"/>
                  </a:lnTo>
                  <a:lnTo>
                    <a:pt x="455" y="420"/>
                  </a:lnTo>
                  <a:lnTo>
                    <a:pt x="456" y="418"/>
                  </a:lnTo>
                  <a:lnTo>
                    <a:pt x="457" y="415"/>
                  </a:lnTo>
                  <a:lnTo>
                    <a:pt x="456" y="414"/>
                  </a:lnTo>
                  <a:lnTo>
                    <a:pt x="455" y="416"/>
                  </a:lnTo>
                  <a:lnTo>
                    <a:pt x="454" y="416"/>
                  </a:lnTo>
                  <a:lnTo>
                    <a:pt x="452" y="413"/>
                  </a:lnTo>
                  <a:lnTo>
                    <a:pt x="451" y="412"/>
                  </a:lnTo>
                  <a:lnTo>
                    <a:pt x="451" y="415"/>
                  </a:lnTo>
                  <a:lnTo>
                    <a:pt x="449" y="415"/>
                  </a:lnTo>
                  <a:lnTo>
                    <a:pt x="449" y="418"/>
                  </a:lnTo>
                  <a:lnTo>
                    <a:pt x="450" y="420"/>
                  </a:lnTo>
                  <a:lnTo>
                    <a:pt x="448" y="418"/>
                  </a:lnTo>
                  <a:lnTo>
                    <a:pt x="449" y="420"/>
                  </a:lnTo>
                  <a:lnTo>
                    <a:pt x="450" y="421"/>
                  </a:lnTo>
                  <a:lnTo>
                    <a:pt x="448" y="420"/>
                  </a:lnTo>
                  <a:lnTo>
                    <a:pt x="448" y="421"/>
                  </a:lnTo>
                  <a:lnTo>
                    <a:pt x="446" y="422"/>
                  </a:lnTo>
                  <a:lnTo>
                    <a:pt x="445" y="425"/>
                  </a:lnTo>
                  <a:lnTo>
                    <a:pt x="444" y="426"/>
                  </a:lnTo>
                  <a:lnTo>
                    <a:pt x="443" y="428"/>
                  </a:lnTo>
                  <a:lnTo>
                    <a:pt x="442" y="427"/>
                  </a:lnTo>
                  <a:lnTo>
                    <a:pt x="442" y="425"/>
                  </a:lnTo>
                  <a:lnTo>
                    <a:pt x="440" y="427"/>
                  </a:lnTo>
                  <a:lnTo>
                    <a:pt x="440" y="428"/>
                  </a:lnTo>
                  <a:lnTo>
                    <a:pt x="439" y="426"/>
                  </a:lnTo>
                  <a:lnTo>
                    <a:pt x="438" y="426"/>
                  </a:lnTo>
                  <a:lnTo>
                    <a:pt x="438" y="428"/>
                  </a:lnTo>
                  <a:lnTo>
                    <a:pt x="438" y="431"/>
                  </a:lnTo>
                  <a:lnTo>
                    <a:pt x="437" y="430"/>
                  </a:lnTo>
                  <a:lnTo>
                    <a:pt x="436" y="431"/>
                  </a:lnTo>
                  <a:lnTo>
                    <a:pt x="434" y="432"/>
                  </a:lnTo>
                  <a:lnTo>
                    <a:pt x="433" y="432"/>
                  </a:lnTo>
                  <a:lnTo>
                    <a:pt x="432" y="433"/>
                  </a:lnTo>
                  <a:lnTo>
                    <a:pt x="431" y="432"/>
                  </a:lnTo>
                  <a:lnTo>
                    <a:pt x="431" y="433"/>
                  </a:lnTo>
                  <a:lnTo>
                    <a:pt x="429" y="433"/>
                  </a:lnTo>
                  <a:lnTo>
                    <a:pt x="429" y="431"/>
                  </a:lnTo>
                  <a:lnTo>
                    <a:pt x="428" y="428"/>
                  </a:lnTo>
                  <a:lnTo>
                    <a:pt x="428" y="426"/>
                  </a:lnTo>
                  <a:lnTo>
                    <a:pt x="427" y="426"/>
                  </a:lnTo>
                  <a:lnTo>
                    <a:pt x="427" y="428"/>
                  </a:lnTo>
                  <a:lnTo>
                    <a:pt x="426" y="431"/>
                  </a:lnTo>
                  <a:lnTo>
                    <a:pt x="426" y="433"/>
                  </a:lnTo>
                  <a:lnTo>
                    <a:pt x="428" y="436"/>
                  </a:lnTo>
                  <a:lnTo>
                    <a:pt x="428" y="439"/>
                  </a:lnTo>
                  <a:lnTo>
                    <a:pt x="429" y="440"/>
                  </a:lnTo>
                  <a:lnTo>
                    <a:pt x="428" y="440"/>
                  </a:lnTo>
                  <a:lnTo>
                    <a:pt x="426" y="438"/>
                  </a:lnTo>
                  <a:lnTo>
                    <a:pt x="425" y="438"/>
                  </a:lnTo>
                  <a:lnTo>
                    <a:pt x="423" y="439"/>
                  </a:lnTo>
                  <a:lnTo>
                    <a:pt x="425" y="442"/>
                  </a:lnTo>
                  <a:lnTo>
                    <a:pt x="423" y="444"/>
                  </a:lnTo>
                  <a:lnTo>
                    <a:pt x="423" y="445"/>
                  </a:lnTo>
                  <a:lnTo>
                    <a:pt x="422" y="444"/>
                  </a:lnTo>
                  <a:lnTo>
                    <a:pt x="421" y="445"/>
                  </a:lnTo>
                  <a:lnTo>
                    <a:pt x="419" y="448"/>
                  </a:lnTo>
                  <a:lnTo>
                    <a:pt x="419" y="451"/>
                  </a:lnTo>
                  <a:lnTo>
                    <a:pt x="420" y="455"/>
                  </a:lnTo>
                  <a:lnTo>
                    <a:pt x="422" y="458"/>
                  </a:lnTo>
                  <a:lnTo>
                    <a:pt x="421" y="460"/>
                  </a:lnTo>
                  <a:lnTo>
                    <a:pt x="420" y="461"/>
                  </a:lnTo>
                  <a:lnTo>
                    <a:pt x="419" y="463"/>
                  </a:lnTo>
                  <a:lnTo>
                    <a:pt x="417" y="467"/>
                  </a:lnTo>
                  <a:lnTo>
                    <a:pt x="415" y="469"/>
                  </a:lnTo>
                  <a:lnTo>
                    <a:pt x="414" y="472"/>
                  </a:lnTo>
                  <a:lnTo>
                    <a:pt x="414" y="468"/>
                  </a:lnTo>
                  <a:lnTo>
                    <a:pt x="413" y="466"/>
                  </a:lnTo>
                  <a:lnTo>
                    <a:pt x="411" y="463"/>
                  </a:lnTo>
                  <a:lnTo>
                    <a:pt x="410" y="463"/>
                  </a:lnTo>
                  <a:lnTo>
                    <a:pt x="408" y="465"/>
                  </a:lnTo>
                  <a:lnTo>
                    <a:pt x="409" y="462"/>
                  </a:lnTo>
                  <a:lnTo>
                    <a:pt x="408" y="462"/>
                  </a:lnTo>
                  <a:lnTo>
                    <a:pt x="407" y="465"/>
                  </a:lnTo>
                  <a:lnTo>
                    <a:pt x="405" y="467"/>
                  </a:lnTo>
                  <a:lnTo>
                    <a:pt x="405" y="463"/>
                  </a:lnTo>
                  <a:lnTo>
                    <a:pt x="404" y="461"/>
                  </a:lnTo>
                  <a:lnTo>
                    <a:pt x="405" y="458"/>
                  </a:lnTo>
                  <a:lnTo>
                    <a:pt x="407" y="458"/>
                  </a:lnTo>
                  <a:lnTo>
                    <a:pt x="408" y="460"/>
                  </a:lnTo>
                  <a:lnTo>
                    <a:pt x="409" y="458"/>
                  </a:lnTo>
                  <a:lnTo>
                    <a:pt x="410" y="455"/>
                  </a:lnTo>
                  <a:lnTo>
                    <a:pt x="410" y="451"/>
                  </a:lnTo>
                  <a:lnTo>
                    <a:pt x="411" y="449"/>
                  </a:lnTo>
                  <a:lnTo>
                    <a:pt x="409" y="449"/>
                  </a:lnTo>
                  <a:lnTo>
                    <a:pt x="407" y="448"/>
                  </a:lnTo>
                  <a:lnTo>
                    <a:pt x="405" y="450"/>
                  </a:lnTo>
                  <a:lnTo>
                    <a:pt x="405" y="448"/>
                  </a:lnTo>
                  <a:lnTo>
                    <a:pt x="407" y="446"/>
                  </a:lnTo>
                  <a:lnTo>
                    <a:pt x="404" y="449"/>
                  </a:lnTo>
                  <a:lnTo>
                    <a:pt x="402" y="450"/>
                  </a:lnTo>
                  <a:lnTo>
                    <a:pt x="401" y="454"/>
                  </a:lnTo>
                  <a:lnTo>
                    <a:pt x="398" y="455"/>
                  </a:lnTo>
                  <a:lnTo>
                    <a:pt x="396" y="455"/>
                  </a:lnTo>
                  <a:lnTo>
                    <a:pt x="396" y="454"/>
                  </a:lnTo>
                  <a:lnTo>
                    <a:pt x="396" y="452"/>
                  </a:lnTo>
                  <a:lnTo>
                    <a:pt x="393" y="455"/>
                  </a:lnTo>
                  <a:lnTo>
                    <a:pt x="393" y="456"/>
                  </a:lnTo>
                  <a:lnTo>
                    <a:pt x="393" y="458"/>
                  </a:lnTo>
                  <a:lnTo>
                    <a:pt x="393" y="460"/>
                  </a:lnTo>
                  <a:lnTo>
                    <a:pt x="392" y="462"/>
                  </a:lnTo>
                  <a:lnTo>
                    <a:pt x="391" y="463"/>
                  </a:lnTo>
                  <a:lnTo>
                    <a:pt x="390" y="466"/>
                  </a:lnTo>
                  <a:lnTo>
                    <a:pt x="389" y="467"/>
                  </a:lnTo>
                  <a:lnTo>
                    <a:pt x="387" y="469"/>
                  </a:lnTo>
                  <a:lnTo>
                    <a:pt x="386" y="471"/>
                  </a:lnTo>
                  <a:lnTo>
                    <a:pt x="385" y="473"/>
                  </a:lnTo>
                  <a:lnTo>
                    <a:pt x="385" y="474"/>
                  </a:lnTo>
                  <a:lnTo>
                    <a:pt x="384" y="472"/>
                  </a:lnTo>
                  <a:lnTo>
                    <a:pt x="384" y="473"/>
                  </a:lnTo>
                  <a:lnTo>
                    <a:pt x="381" y="473"/>
                  </a:lnTo>
                  <a:lnTo>
                    <a:pt x="379" y="473"/>
                  </a:lnTo>
                  <a:lnTo>
                    <a:pt x="379" y="472"/>
                  </a:lnTo>
                  <a:lnTo>
                    <a:pt x="381" y="469"/>
                  </a:lnTo>
                  <a:lnTo>
                    <a:pt x="380" y="467"/>
                  </a:lnTo>
                  <a:lnTo>
                    <a:pt x="379" y="467"/>
                  </a:lnTo>
                  <a:lnTo>
                    <a:pt x="381" y="466"/>
                  </a:lnTo>
                  <a:lnTo>
                    <a:pt x="380" y="466"/>
                  </a:lnTo>
                  <a:lnTo>
                    <a:pt x="381" y="465"/>
                  </a:lnTo>
                  <a:lnTo>
                    <a:pt x="383" y="462"/>
                  </a:lnTo>
                  <a:lnTo>
                    <a:pt x="381" y="463"/>
                  </a:lnTo>
                  <a:lnTo>
                    <a:pt x="381" y="461"/>
                  </a:lnTo>
                  <a:lnTo>
                    <a:pt x="383" y="458"/>
                  </a:lnTo>
                  <a:lnTo>
                    <a:pt x="381" y="456"/>
                  </a:lnTo>
                  <a:lnTo>
                    <a:pt x="381" y="449"/>
                  </a:lnTo>
                  <a:lnTo>
                    <a:pt x="383" y="438"/>
                  </a:lnTo>
                  <a:lnTo>
                    <a:pt x="381" y="428"/>
                  </a:lnTo>
                  <a:lnTo>
                    <a:pt x="379" y="432"/>
                  </a:lnTo>
                  <a:lnTo>
                    <a:pt x="378" y="438"/>
                  </a:lnTo>
                  <a:lnTo>
                    <a:pt x="379" y="439"/>
                  </a:lnTo>
                  <a:lnTo>
                    <a:pt x="377" y="438"/>
                  </a:lnTo>
                  <a:lnTo>
                    <a:pt x="370" y="439"/>
                  </a:lnTo>
                  <a:lnTo>
                    <a:pt x="377" y="438"/>
                  </a:lnTo>
                  <a:lnTo>
                    <a:pt x="380" y="430"/>
                  </a:lnTo>
                  <a:lnTo>
                    <a:pt x="378" y="430"/>
                  </a:lnTo>
                  <a:lnTo>
                    <a:pt x="374" y="430"/>
                  </a:lnTo>
                  <a:lnTo>
                    <a:pt x="373" y="430"/>
                  </a:lnTo>
                  <a:lnTo>
                    <a:pt x="370" y="431"/>
                  </a:lnTo>
                  <a:lnTo>
                    <a:pt x="369" y="431"/>
                  </a:lnTo>
                  <a:lnTo>
                    <a:pt x="367" y="430"/>
                  </a:lnTo>
                  <a:lnTo>
                    <a:pt x="366" y="427"/>
                  </a:lnTo>
                  <a:lnTo>
                    <a:pt x="367" y="425"/>
                  </a:lnTo>
                  <a:lnTo>
                    <a:pt x="364" y="426"/>
                  </a:lnTo>
                  <a:lnTo>
                    <a:pt x="362" y="427"/>
                  </a:lnTo>
                  <a:lnTo>
                    <a:pt x="361" y="426"/>
                  </a:lnTo>
                  <a:lnTo>
                    <a:pt x="357" y="427"/>
                  </a:lnTo>
                  <a:lnTo>
                    <a:pt x="358" y="431"/>
                  </a:lnTo>
                  <a:lnTo>
                    <a:pt x="358" y="433"/>
                  </a:lnTo>
                  <a:lnTo>
                    <a:pt x="360" y="434"/>
                  </a:lnTo>
                  <a:lnTo>
                    <a:pt x="360" y="436"/>
                  </a:lnTo>
                  <a:lnTo>
                    <a:pt x="358" y="437"/>
                  </a:lnTo>
                  <a:lnTo>
                    <a:pt x="358" y="439"/>
                  </a:lnTo>
                  <a:lnTo>
                    <a:pt x="360" y="442"/>
                  </a:lnTo>
                  <a:lnTo>
                    <a:pt x="361" y="445"/>
                  </a:lnTo>
                  <a:lnTo>
                    <a:pt x="358" y="440"/>
                  </a:lnTo>
                  <a:lnTo>
                    <a:pt x="357" y="442"/>
                  </a:lnTo>
                  <a:lnTo>
                    <a:pt x="356" y="443"/>
                  </a:lnTo>
                  <a:lnTo>
                    <a:pt x="357" y="448"/>
                  </a:lnTo>
                  <a:lnTo>
                    <a:pt x="355" y="451"/>
                  </a:lnTo>
                  <a:lnTo>
                    <a:pt x="352" y="454"/>
                  </a:lnTo>
                  <a:lnTo>
                    <a:pt x="355" y="449"/>
                  </a:lnTo>
                  <a:lnTo>
                    <a:pt x="355" y="446"/>
                  </a:lnTo>
                  <a:lnTo>
                    <a:pt x="355" y="444"/>
                  </a:lnTo>
                  <a:lnTo>
                    <a:pt x="352" y="444"/>
                  </a:lnTo>
                  <a:lnTo>
                    <a:pt x="352" y="446"/>
                  </a:lnTo>
                  <a:lnTo>
                    <a:pt x="352" y="448"/>
                  </a:lnTo>
                  <a:lnTo>
                    <a:pt x="351" y="450"/>
                  </a:lnTo>
                  <a:lnTo>
                    <a:pt x="351" y="448"/>
                  </a:lnTo>
                  <a:lnTo>
                    <a:pt x="350" y="448"/>
                  </a:lnTo>
                  <a:lnTo>
                    <a:pt x="350" y="450"/>
                  </a:lnTo>
                  <a:lnTo>
                    <a:pt x="350" y="454"/>
                  </a:lnTo>
                  <a:lnTo>
                    <a:pt x="351" y="455"/>
                  </a:lnTo>
                  <a:lnTo>
                    <a:pt x="349" y="460"/>
                  </a:lnTo>
                  <a:lnTo>
                    <a:pt x="346" y="461"/>
                  </a:lnTo>
                  <a:lnTo>
                    <a:pt x="349" y="456"/>
                  </a:lnTo>
                  <a:lnTo>
                    <a:pt x="349" y="454"/>
                  </a:lnTo>
                  <a:lnTo>
                    <a:pt x="349" y="448"/>
                  </a:lnTo>
                  <a:lnTo>
                    <a:pt x="349" y="450"/>
                  </a:lnTo>
                  <a:lnTo>
                    <a:pt x="348" y="452"/>
                  </a:lnTo>
                  <a:lnTo>
                    <a:pt x="346" y="456"/>
                  </a:lnTo>
                  <a:lnTo>
                    <a:pt x="345" y="457"/>
                  </a:lnTo>
                  <a:lnTo>
                    <a:pt x="344" y="458"/>
                  </a:lnTo>
                  <a:lnTo>
                    <a:pt x="343" y="460"/>
                  </a:lnTo>
                  <a:lnTo>
                    <a:pt x="342" y="458"/>
                  </a:lnTo>
                  <a:lnTo>
                    <a:pt x="340" y="457"/>
                  </a:lnTo>
                  <a:lnTo>
                    <a:pt x="340" y="458"/>
                  </a:lnTo>
                  <a:lnTo>
                    <a:pt x="338" y="460"/>
                  </a:lnTo>
                  <a:lnTo>
                    <a:pt x="336" y="462"/>
                  </a:lnTo>
                  <a:lnTo>
                    <a:pt x="334" y="461"/>
                  </a:lnTo>
                  <a:lnTo>
                    <a:pt x="333" y="457"/>
                  </a:lnTo>
                  <a:lnTo>
                    <a:pt x="333" y="455"/>
                  </a:lnTo>
                  <a:lnTo>
                    <a:pt x="336" y="454"/>
                  </a:lnTo>
                  <a:lnTo>
                    <a:pt x="337" y="454"/>
                  </a:lnTo>
                  <a:lnTo>
                    <a:pt x="337" y="451"/>
                  </a:lnTo>
                  <a:lnTo>
                    <a:pt x="336" y="450"/>
                  </a:lnTo>
                  <a:lnTo>
                    <a:pt x="337" y="449"/>
                  </a:lnTo>
                  <a:lnTo>
                    <a:pt x="338" y="446"/>
                  </a:lnTo>
                  <a:lnTo>
                    <a:pt x="337" y="446"/>
                  </a:lnTo>
                  <a:lnTo>
                    <a:pt x="334" y="449"/>
                  </a:lnTo>
                  <a:lnTo>
                    <a:pt x="333" y="452"/>
                  </a:lnTo>
                  <a:lnTo>
                    <a:pt x="332" y="455"/>
                  </a:lnTo>
                  <a:lnTo>
                    <a:pt x="332" y="458"/>
                  </a:lnTo>
                  <a:lnTo>
                    <a:pt x="332" y="457"/>
                  </a:lnTo>
                  <a:lnTo>
                    <a:pt x="330" y="460"/>
                  </a:lnTo>
                  <a:lnTo>
                    <a:pt x="328" y="460"/>
                  </a:lnTo>
                  <a:lnTo>
                    <a:pt x="328" y="457"/>
                  </a:lnTo>
                  <a:lnTo>
                    <a:pt x="327" y="454"/>
                  </a:lnTo>
                  <a:lnTo>
                    <a:pt x="326" y="451"/>
                  </a:lnTo>
                  <a:lnTo>
                    <a:pt x="324" y="452"/>
                  </a:lnTo>
                  <a:lnTo>
                    <a:pt x="322" y="452"/>
                  </a:lnTo>
                  <a:lnTo>
                    <a:pt x="320" y="456"/>
                  </a:lnTo>
                  <a:lnTo>
                    <a:pt x="318" y="456"/>
                  </a:lnTo>
                  <a:lnTo>
                    <a:pt x="319" y="454"/>
                  </a:lnTo>
                  <a:lnTo>
                    <a:pt x="319" y="451"/>
                  </a:lnTo>
                  <a:lnTo>
                    <a:pt x="316" y="451"/>
                  </a:lnTo>
                  <a:lnTo>
                    <a:pt x="318" y="452"/>
                  </a:lnTo>
                  <a:lnTo>
                    <a:pt x="315" y="456"/>
                  </a:lnTo>
                  <a:lnTo>
                    <a:pt x="313" y="457"/>
                  </a:lnTo>
                  <a:lnTo>
                    <a:pt x="310" y="458"/>
                  </a:lnTo>
                  <a:lnTo>
                    <a:pt x="313" y="455"/>
                  </a:lnTo>
                  <a:lnTo>
                    <a:pt x="314" y="452"/>
                  </a:lnTo>
                  <a:lnTo>
                    <a:pt x="314" y="450"/>
                  </a:lnTo>
                  <a:lnTo>
                    <a:pt x="316" y="448"/>
                  </a:lnTo>
                  <a:lnTo>
                    <a:pt x="315" y="446"/>
                  </a:lnTo>
                  <a:lnTo>
                    <a:pt x="314" y="448"/>
                  </a:lnTo>
                  <a:lnTo>
                    <a:pt x="314" y="446"/>
                  </a:lnTo>
                  <a:lnTo>
                    <a:pt x="311" y="446"/>
                  </a:lnTo>
                  <a:lnTo>
                    <a:pt x="311" y="444"/>
                  </a:lnTo>
                  <a:lnTo>
                    <a:pt x="309" y="444"/>
                  </a:lnTo>
                  <a:lnTo>
                    <a:pt x="308" y="445"/>
                  </a:lnTo>
                  <a:lnTo>
                    <a:pt x="309" y="443"/>
                  </a:lnTo>
                  <a:lnTo>
                    <a:pt x="307" y="443"/>
                  </a:lnTo>
                  <a:lnTo>
                    <a:pt x="305" y="444"/>
                  </a:lnTo>
                  <a:lnTo>
                    <a:pt x="305" y="442"/>
                  </a:lnTo>
                  <a:lnTo>
                    <a:pt x="304" y="442"/>
                  </a:lnTo>
                  <a:lnTo>
                    <a:pt x="303" y="439"/>
                  </a:lnTo>
                  <a:lnTo>
                    <a:pt x="303" y="438"/>
                  </a:lnTo>
                  <a:lnTo>
                    <a:pt x="304" y="437"/>
                  </a:lnTo>
                  <a:lnTo>
                    <a:pt x="301" y="439"/>
                  </a:lnTo>
                  <a:lnTo>
                    <a:pt x="298" y="440"/>
                  </a:lnTo>
                  <a:lnTo>
                    <a:pt x="299" y="438"/>
                  </a:lnTo>
                  <a:lnTo>
                    <a:pt x="302" y="437"/>
                  </a:lnTo>
                  <a:lnTo>
                    <a:pt x="304" y="436"/>
                  </a:lnTo>
                  <a:lnTo>
                    <a:pt x="305" y="434"/>
                  </a:lnTo>
                  <a:lnTo>
                    <a:pt x="304" y="434"/>
                  </a:lnTo>
                  <a:lnTo>
                    <a:pt x="302" y="434"/>
                  </a:lnTo>
                  <a:lnTo>
                    <a:pt x="301" y="433"/>
                  </a:lnTo>
                  <a:lnTo>
                    <a:pt x="301" y="434"/>
                  </a:lnTo>
                  <a:lnTo>
                    <a:pt x="299" y="434"/>
                  </a:lnTo>
                  <a:lnTo>
                    <a:pt x="297" y="434"/>
                  </a:lnTo>
                  <a:lnTo>
                    <a:pt x="297" y="436"/>
                  </a:lnTo>
                  <a:lnTo>
                    <a:pt x="295" y="434"/>
                  </a:lnTo>
                  <a:lnTo>
                    <a:pt x="293" y="431"/>
                  </a:lnTo>
                  <a:lnTo>
                    <a:pt x="293" y="428"/>
                  </a:lnTo>
                  <a:lnTo>
                    <a:pt x="293" y="426"/>
                  </a:lnTo>
                  <a:lnTo>
                    <a:pt x="296" y="425"/>
                  </a:lnTo>
                  <a:lnTo>
                    <a:pt x="297" y="425"/>
                  </a:lnTo>
                  <a:lnTo>
                    <a:pt x="298" y="424"/>
                  </a:lnTo>
                  <a:lnTo>
                    <a:pt x="297" y="421"/>
                  </a:lnTo>
                  <a:lnTo>
                    <a:pt x="297" y="419"/>
                  </a:lnTo>
                  <a:lnTo>
                    <a:pt x="295" y="420"/>
                  </a:lnTo>
                  <a:lnTo>
                    <a:pt x="293" y="421"/>
                  </a:lnTo>
                  <a:lnTo>
                    <a:pt x="293" y="419"/>
                  </a:lnTo>
                  <a:lnTo>
                    <a:pt x="292" y="421"/>
                  </a:lnTo>
                  <a:lnTo>
                    <a:pt x="291" y="424"/>
                  </a:lnTo>
                  <a:lnTo>
                    <a:pt x="290" y="422"/>
                  </a:lnTo>
                  <a:lnTo>
                    <a:pt x="290" y="425"/>
                  </a:lnTo>
                  <a:lnTo>
                    <a:pt x="287" y="426"/>
                  </a:lnTo>
                  <a:lnTo>
                    <a:pt x="285" y="428"/>
                  </a:lnTo>
                  <a:lnTo>
                    <a:pt x="285" y="426"/>
                  </a:lnTo>
                  <a:lnTo>
                    <a:pt x="286" y="425"/>
                  </a:lnTo>
                  <a:lnTo>
                    <a:pt x="284" y="426"/>
                  </a:lnTo>
                  <a:lnTo>
                    <a:pt x="284" y="425"/>
                  </a:lnTo>
                  <a:lnTo>
                    <a:pt x="283" y="425"/>
                  </a:lnTo>
                  <a:lnTo>
                    <a:pt x="281" y="424"/>
                  </a:lnTo>
                  <a:lnTo>
                    <a:pt x="280" y="424"/>
                  </a:lnTo>
                  <a:lnTo>
                    <a:pt x="278" y="425"/>
                  </a:lnTo>
                  <a:lnTo>
                    <a:pt x="277" y="424"/>
                  </a:lnTo>
                  <a:lnTo>
                    <a:pt x="279" y="422"/>
                  </a:lnTo>
                  <a:lnTo>
                    <a:pt x="278" y="422"/>
                  </a:lnTo>
                  <a:lnTo>
                    <a:pt x="279" y="421"/>
                  </a:lnTo>
                  <a:lnTo>
                    <a:pt x="280" y="421"/>
                  </a:lnTo>
                  <a:lnTo>
                    <a:pt x="281" y="422"/>
                  </a:lnTo>
                  <a:lnTo>
                    <a:pt x="283" y="420"/>
                  </a:lnTo>
                  <a:lnTo>
                    <a:pt x="281" y="419"/>
                  </a:lnTo>
                  <a:lnTo>
                    <a:pt x="279" y="419"/>
                  </a:lnTo>
                  <a:lnTo>
                    <a:pt x="278" y="418"/>
                  </a:lnTo>
                  <a:lnTo>
                    <a:pt x="277" y="419"/>
                  </a:lnTo>
                  <a:lnTo>
                    <a:pt x="275" y="419"/>
                  </a:lnTo>
                  <a:lnTo>
                    <a:pt x="274" y="419"/>
                  </a:lnTo>
                  <a:lnTo>
                    <a:pt x="274" y="418"/>
                  </a:lnTo>
                  <a:lnTo>
                    <a:pt x="274" y="416"/>
                  </a:lnTo>
                  <a:lnTo>
                    <a:pt x="275" y="415"/>
                  </a:lnTo>
                  <a:lnTo>
                    <a:pt x="278" y="414"/>
                  </a:lnTo>
                  <a:lnTo>
                    <a:pt x="280" y="413"/>
                  </a:lnTo>
                  <a:lnTo>
                    <a:pt x="279" y="413"/>
                  </a:lnTo>
                  <a:lnTo>
                    <a:pt x="278" y="413"/>
                  </a:lnTo>
                  <a:lnTo>
                    <a:pt x="277" y="413"/>
                  </a:lnTo>
                  <a:lnTo>
                    <a:pt x="274" y="415"/>
                  </a:lnTo>
                  <a:lnTo>
                    <a:pt x="272" y="416"/>
                  </a:lnTo>
                  <a:lnTo>
                    <a:pt x="274" y="426"/>
                  </a:lnTo>
                  <a:lnTo>
                    <a:pt x="279" y="439"/>
                  </a:lnTo>
                  <a:lnTo>
                    <a:pt x="278" y="448"/>
                  </a:lnTo>
                  <a:lnTo>
                    <a:pt x="279" y="457"/>
                  </a:lnTo>
                  <a:lnTo>
                    <a:pt x="286" y="473"/>
                  </a:lnTo>
                  <a:lnTo>
                    <a:pt x="291" y="483"/>
                  </a:lnTo>
                  <a:lnTo>
                    <a:pt x="291" y="490"/>
                  </a:lnTo>
                  <a:lnTo>
                    <a:pt x="286" y="498"/>
                  </a:lnTo>
                  <a:lnTo>
                    <a:pt x="280" y="511"/>
                  </a:lnTo>
                  <a:lnTo>
                    <a:pt x="275" y="533"/>
                  </a:lnTo>
                  <a:lnTo>
                    <a:pt x="273" y="553"/>
                  </a:lnTo>
                  <a:lnTo>
                    <a:pt x="271" y="574"/>
                  </a:lnTo>
                  <a:lnTo>
                    <a:pt x="269" y="603"/>
                  </a:lnTo>
                  <a:lnTo>
                    <a:pt x="271" y="630"/>
                  </a:lnTo>
                  <a:lnTo>
                    <a:pt x="272" y="64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9" name="Freeform 72"/>
            <p:cNvSpPr>
              <a:spLocks/>
            </p:cNvSpPr>
            <p:nvPr userDrawn="1"/>
          </p:nvSpPr>
          <p:spPr bwMode="auto">
            <a:xfrm>
              <a:off x="8397875" y="6397626"/>
              <a:ext cx="176213" cy="188913"/>
            </a:xfrm>
            <a:custGeom>
              <a:avLst/>
              <a:gdLst/>
              <a:ahLst/>
              <a:cxnLst>
                <a:cxn ang="0">
                  <a:pos x="71" y="263"/>
                </a:cxn>
                <a:cxn ang="0">
                  <a:pos x="95" y="226"/>
                </a:cxn>
                <a:cxn ang="0">
                  <a:pos x="156" y="203"/>
                </a:cxn>
                <a:cxn ang="0">
                  <a:pos x="154" y="199"/>
                </a:cxn>
                <a:cxn ang="0">
                  <a:pos x="116" y="196"/>
                </a:cxn>
                <a:cxn ang="0">
                  <a:pos x="102" y="173"/>
                </a:cxn>
                <a:cxn ang="0">
                  <a:pos x="120" y="145"/>
                </a:cxn>
                <a:cxn ang="0">
                  <a:pos x="129" y="131"/>
                </a:cxn>
                <a:cxn ang="0">
                  <a:pos x="132" y="88"/>
                </a:cxn>
                <a:cxn ang="0">
                  <a:pos x="167" y="86"/>
                </a:cxn>
                <a:cxn ang="0">
                  <a:pos x="200" y="98"/>
                </a:cxn>
                <a:cxn ang="0">
                  <a:pos x="222" y="101"/>
                </a:cxn>
                <a:cxn ang="0">
                  <a:pos x="248" y="121"/>
                </a:cxn>
                <a:cxn ang="0">
                  <a:pos x="266" y="139"/>
                </a:cxn>
                <a:cxn ang="0">
                  <a:pos x="273" y="125"/>
                </a:cxn>
                <a:cxn ang="0">
                  <a:pos x="252" y="108"/>
                </a:cxn>
                <a:cxn ang="0">
                  <a:pos x="230" y="98"/>
                </a:cxn>
                <a:cxn ang="0">
                  <a:pos x="199" y="74"/>
                </a:cxn>
                <a:cxn ang="0">
                  <a:pos x="206" y="43"/>
                </a:cxn>
                <a:cxn ang="0">
                  <a:pos x="217" y="19"/>
                </a:cxn>
                <a:cxn ang="0">
                  <a:pos x="241" y="13"/>
                </a:cxn>
                <a:cxn ang="0">
                  <a:pos x="271" y="17"/>
                </a:cxn>
                <a:cxn ang="0">
                  <a:pos x="300" y="7"/>
                </a:cxn>
                <a:cxn ang="0">
                  <a:pos x="320" y="8"/>
                </a:cxn>
                <a:cxn ang="0">
                  <a:pos x="336" y="32"/>
                </a:cxn>
                <a:cxn ang="0">
                  <a:pos x="355" y="35"/>
                </a:cxn>
                <a:cxn ang="0">
                  <a:pos x="386" y="43"/>
                </a:cxn>
                <a:cxn ang="0">
                  <a:pos x="402" y="66"/>
                </a:cxn>
                <a:cxn ang="0">
                  <a:pos x="380" y="83"/>
                </a:cxn>
                <a:cxn ang="0">
                  <a:pos x="426" y="108"/>
                </a:cxn>
                <a:cxn ang="0">
                  <a:pos x="459" y="143"/>
                </a:cxn>
                <a:cxn ang="0">
                  <a:pos x="467" y="160"/>
                </a:cxn>
                <a:cxn ang="0">
                  <a:pos x="477" y="193"/>
                </a:cxn>
                <a:cxn ang="0">
                  <a:pos x="495" y="235"/>
                </a:cxn>
                <a:cxn ang="0">
                  <a:pos x="488" y="268"/>
                </a:cxn>
                <a:cxn ang="0">
                  <a:pos x="504" y="312"/>
                </a:cxn>
                <a:cxn ang="0">
                  <a:pos x="456" y="291"/>
                </a:cxn>
                <a:cxn ang="0">
                  <a:pos x="445" y="304"/>
                </a:cxn>
                <a:cxn ang="0">
                  <a:pos x="520" y="358"/>
                </a:cxn>
                <a:cxn ang="0">
                  <a:pos x="536" y="416"/>
                </a:cxn>
                <a:cxn ang="0">
                  <a:pos x="503" y="428"/>
                </a:cxn>
                <a:cxn ang="0">
                  <a:pos x="473" y="461"/>
                </a:cxn>
                <a:cxn ang="0">
                  <a:pos x="439" y="440"/>
                </a:cxn>
                <a:cxn ang="0">
                  <a:pos x="396" y="419"/>
                </a:cxn>
                <a:cxn ang="0">
                  <a:pos x="427" y="454"/>
                </a:cxn>
                <a:cxn ang="0">
                  <a:pos x="426" y="487"/>
                </a:cxn>
                <a:cxn ang="0">
                  <a:pos x="400" y="465"/>
                </a:cxn>
                <a:cxn ang="0">
                  <a:pos x="329" y="484"/>
                </a:cxn>
                <a:cxn ang="0">
                  <a:pos x="225" y="502"/>
                </a:cxn>
                <a:cxn ang="0">
                  <a:pos x="128" y="501"/>
                </a:cxn>
                <a:cxn ang="0">
                  <a:pos x="187" y="487"/>
                </a:cxn>
                <a:cxn ang="0">
                  <a:pos x="237" y="451"/>
                </a:cxn>
                <a:cxn ang="0">
                  <a:pos x="176" y="449"/>
                </a:cxn>
                <a:cxn ang="0">
                  <a:pos x="137" y="473"/>
                </a:cxn>
                <a:cxn ang="0">
                  <a:pos x="82" y="440"/>
                </a:cxn>
                <a:cxn ang="0">
                  <a:pos x="118" y="407"/>
                </a:cxn>
                <a:cxn ang="0">
                  <a:pos x="184" y="376"/>
                </a:cxn>
                <a:cxn ang="0">
                  <a:pos x="138" y="373"/>
                </a:cxn>
                <a:cxn ang="0">
                  <a:pos x="167" y="332"/>
                </a:cxn>
                <a:cxn ang="0">
                  <a:pos x="113" y="363"/>
                </a:cxn>
                <a:cxn ang="0">
                  <a:pos x="48" y="379"/>
                </a:cxn>
                <a:cxn ang="0">
                  <a:pos x="101" y="315"/>
                </a:cxn>
                <a:cxn ang="0">
                  <a:pos x="22" y="300"/>
                </a:cxn>
              </a:cxnLst>
              <a:rect l="0" t="0" r="r" b="b"/>
              <a:pathLst>
                <a:path w="556" h="597">
                  <a:moveTo>
                    <a:pt x="5" y="282"/>
                  </a:moveTo>
                  <a:lnTo>
                    <a:pt x="4" y="281"/>
                  </a:lnTo>
                  <a:lnTo>
                    <a:pt x="6" y="281"/>
                  </a:lnTo>
                  <a:lnTo>
                    <a:pt x="8" y="281"/>
                  </a:lnTo>
                  <a:lnTo>
                    <a:pt x="8" y="282"/>
                  </a:lnTo>
                  <a:lnTo>
                    <a:pt x="10" y="282"/>
                  </a:lnTo>
                  <a:lnTo>
                    <a:pt x="10" y="280"/>
                  </a:lnTo>
                  <a:lnTo>
                    <a:pt x="12" y="280"/>
                  </a:lnTo>
                  <a:lnTo>
                    <a:pt x="12" y="282"/>
                  </a:lnTo>
                  <a:lnTo>
                    <a:pt x="13" y="282"/>
                  </a:lnTo>
                  <a:lnTo>
                    <a:pt x="16" y="284"/>
                  </a:lnTo>
                  <a:lnTo>
                    <a:pt x="13" y="282"/>
                  </a:lnTo>
                  <a:lnTo>
                    <a:pt x="13" y="281"/>
                  </a:lnTo>
                  <a:lnTo>
                    <a:pt x="12" y="278"/>
                  </a:lnTo>
                  <a:lnTo>
                    <a:pt x="13" y="278"/>
                  </a:lnTo>
                  <a:lnTo>
                    <a:pt x="16" y="278"/>
                  </a:lnTo>
                  <a:lnTo>
                    <a:pt x="17" y="279"/>
                  </a:lnTo>
                  <a:lnTo>
                    <a:pt x="17" y="280"/>
                  </a:lnTo>
                  <a:lnTo>
                    <a:pt x="18" y="281"/>
                  </a:lnTo>
                  <a:lnTo>
                    <a:pt x="20" y="282"/>
                  </a:lnTo>
                  <a:lnTo>
                    <a:pt x="20" y="284"/>
                  </a:lnTo>
                  <a:lnTo>
                    <a:pt x="23" y="284"/>
                  </a:lnTo>
                  <a:lnTo>
                    <a:pt x="23" y="281"/>
                  </a:lnTo>
                  <a:lnTo>
                    <a:pt x="24" y="279"/>
                  </a:lnTo>
                  <a:lnTo>
                    <a:pt x="25" y="280"/>
                  </a:lnTo>
                  <a:lnTo>
                    <a:pt x="26" y="281"/>
                  </a:lnTo>
                  <a:lnTo>
                    <a:pt x="29" y="281"/>
                  </a:lnTo>
                  <a:lnTo>
                    <a:pt x="26" y="279"/>
                  </a:lnTo>
                  <a:lnTo>
                    <a:pt x="26" y="276"/>
                  </a:lnTo>
                  <a:lnTo>
                    <a:pt x="25" y="275"/>
                  </a:lnTo>
                  <a:lnTo>
                    <a:pt x="24" y="273"/>
                  </a:lnTo>
                  <a:lnTo>
                    <a:pt x="25" y="270"/>
                  </a:lnTo>
                  <a:lnTo>
                    <a:pt x="26" y="272"/>
                  </a:lnTo>
                  <a:lnTo>
                    <a:pt x="28" y="272"/>
                  </a:lnTo>
                  <a:lnTo>
                    <a:pt x="29" y="273"/>
                  </a:lnTo>
                  <a:lnTo>
                    <a:pt x="30" y="274"/>
                  </a:lnTo>
                  <a:lnTo>
                    <a:pt x="31" y="275"/>
                  </a:lnTo>
                  <a:lnTo>
                    <a:pt x="32" y="275"/>
                  </a:lnTo>
                  <a:lnTo>
                    <a:pt x="34" y="278"/>
                  </a:lnTo>
                  <a:lnTo>
                    <a:pt x="32" y="276"/>
                  </a:lnTo>
                  <a:lnTo>
                    <a:pt x="32" y="274"/>
                  </a:lnTo>
                  <a:lnTo>
                    <a:pt x="35" y="274"/>
                  </a:lnTo>
                  <a:lnTo>
                    <a:pt x="37" y="274"/>
                  </a:lnTo>
                  <a:lnTo>
                    <a:pt x="36" y="273"/>
                  </a:lnTo>
                  <a:lnTo>
                    <a:pt x="37" y="270"/>
                  </a:lnTo>
                  <a:lnTo>
                    <a:pt x="38" y="268"/>
                  </a:lnTo>
                  <a:lnTo>
                    <a:pt x="41" y="269"/>
                  </a:lnTo>
                  <a:lnTo>
                    <a:pt x="43" y="268"/>
                  </a:lnTo>
                  <a:lnTo>
                    <a:pt x="42" y="267"/>
                  </a:lnTo>
                  <a:lnTo>
                    <a:pt x="41" y="264"/>
                  </a:lnTo>
                  <a:lnTo>
                    <a:pt x="42" y="264"/>
                  </a:lnTo>
                  <a:lnTo>
                    <a:pt x="43" y="264"/>
                  </a:lnTo>
                  <a:lnTo>
                    <a:pt x="45" y="264"/>
                  </a:lnTo>
                  <a:lnTo>
                    <a:pt x="46" y="264"/>
                  </a:lnTo>
                  <a:lnTo>
                    <a:pt x="46" y="266"/>
                  </a:lnTo>
                  <a:lnTo>
                    <a:pt x="47" y="267"/>
                  </a:lnTo>
                  <a:lnTo>
                    <a:pt x="48" y="267"/>
                  </a:lnTo>
                  <a:lnTo>
                    <a:pt x="49" y="266"/>
                  </a:lnTo>
                  <a:lnTo>
                    <a:pt x="51" y="267"/>
                  </a:lnTo>
                  <a:lnTo>
                    <a:pt x="49" y="266"/>
                  </a:lnTo>
                  <a:lnTo>
                    <a:pt x="49" y="263"/>
                  </a:lnTo>
                  <a:lnTo>
                    <a:pt x="48" y="262"/>
                  </a:lnTo>
                  <a:lnTo>
                    <a:pt x="48" y="261"/>
                  </a:lnTo>
                  <a:lnTo>
                    <a:pt x="49" y="261"/>
                  </a:lnTo>
                  <a:lnTo>
                    <a:pt x="51" y="262"/>
                  </a:lnTo>
                  <a:lnTo>
                    <a:pt x="52" y="263"/>
                  </a:lnTo>
                  <a:lnTo>
                    <a:pt x="53" y="263"/>
                  </a:lnTo>
                  <a:lnTo>
                    <a:pt x="55" y="263"/>
                  </a:lnTo>
                  <a:lnTo>
                    <a:pt x="55" y="262"/>
                  </a:lnTo>
                  <a:lnTo>
                    <a:pt x="57" y="262"/>
                  </a:lnTo>
                  <a:lnTo>
                    <a:pt x="58" y="263"/>
                  </a:lnTo>
                  <a:lnTo>
                    <a:pt x="59" y="263"/>
                  </a:lnTo>
                  <a:lnTo>
                    <a:pt x="59" y="264"/>
                  </a:lnTo>
                  <a:lnTo>
                    <a:pt x="60" y="264"/>
                  </a:lnTo>
                  <a:lnTo>
                    <a:pt x="61" y="263"/>
                  </a:lnTo>
                  <a:lnTo>
                    <a:pt x="64" y="262"/>
                  </a:lnTo>
                  <a:lnTo>
                    <a:pt x="63" y="261"/>
                  </a:lnTo>
                  <a:lnTo>
                    <a:pt x="63" y="259"/>
                  </a:lnTo>
                  <a:lnTo>
                    <a:pt x="63" y="258"/>
                  </a:lnTo>
                  <a:lnTo>
                    <a:pt x="64" y="258"/>
                  </a:lnTo>
                  <a:lnTo>
                    <a:pt x="65" y="258"/>
                  </a:lnTo>
                  <a:lnTo>
                    <a:pt x="66" y="259"/>
                  </a:lnTo>
                  <a:lnTo>
                    <a:pt x="67" y="261"/>
                  </a:lnTo>
                  <a:lnTo>
                    <a:pt x="69" y="263"/>
                  </a:lnTo>
                  <a:lnTo>
                    <a:pt x="71" y="263"/>
                  </a:lnTo>
                  <a:lnTo>
                    <a:pt x="70" y="261"/>
                  </a:lnTo>
                  <a:lnTo>
                    <a:pt x="70" y="259"/>
                  </a:lnTo>
                  <a:lnTo>
                    <a:pt x="69" y="258"/>
                  </a:lnTo>
                  <a:lnTo>
                    <a:pt x="69" y="256"/>
                  </a:lnTo>
                  <a:lnTo>
                    <a:pt x="69" y="255"/>
                  </a:lnTo>
                  <a:lnTo>
                    <a:pt x="67" y="255"/>
                  </a:lnTo>
                  <a:lnTo>
                    <a:pt x="67" y="253"/>
                  </a:lnTo>
                  <a:lnTo>
                    <a:pt x="69" y="252"/>
                  </a:lnTo>
                  <a:lnTo>
                    <a:pt x="70" y="252"/>
                  </a:lnTo>
                  <a:lnTo>
                    <a:pt x="71" y="253"/>
                  </a:lnTo>
                  <a:lnTo>
                    <a:pt x="72" y="253"/>
                  </a:lnTo>
                  <a:lnTo>
                    <a:pt x="72" y="255"/>
                  </a:lnTo>
                  <a:lnTo>
                    <a:pt x="73" y="256"/>
                  </a:lnTo>
                  <a:lnTo>
                    <a:pt x="75" y="255"/>
                  </a:lnTo>
                  <a:lnTo>
                    <a:pt x="76" y="256"/>
                  </a:lnTo>
                  <a:lnTo>
                    <a:pt x="77" y="255"/>
                  </a:lnTo>
                  <a:lnTo>
                    <a:pt x="78" y="255"/>
                  </a:lnTo>
                  <a:lnTo>
                    <a:pt x="79" y="256"/>
                  </a:lnTo>
                  <a:lnTo>
                    <a:pt x="82" y="256"/>
                  </a:lnTo>
                  <a:lnTo>
                    <a:pt x="84" y="256"/>
                  </a:lnTo>
                  <a:lnTo>
                    <a:pt x="83" y="255"/>
                  </a:lnTo>
                  <a:lnTo>
                    <a:pt x="82" y="253"/>
                  </a:lnTo>
                  <a:lnTo>
                    <a:pt x="81" y="251"/>
                  </a:lnTo>
                  <a:lnTo>
                    <a:pt x="78" y="250"/>
                  </a:lnTo>
                  <a:lnTo>
                    <a:pt x="78" y="249"/>
                  </a:lnTo>
                  <a:lnTo>
                    <a:pt x="79" y="246"/>
                  </a:lnTo>
                  <a:lnTo>
                    <a:pt x="78" y="247"/>
                  </a:lnTo>
                  <a:lnTo>
                    <a:pt x="77" y="247"/>
                  </a:lnTo>
                  <a:lnTo>
                    <a:pt x="76" y="246"/>
                  </a:lnTo>
                  <a:lnTo>
                    <a:pt x="75" y="246"/>
                  </a:lnTo>
                  <a:lnTo>
                    <a:pt x="72" y="245"/>
                  </a:lnTo>
                  <a:lnTo>
                    <a:pt x="71" y="245"/>
                  </a:lnTo>
                  <a:lnTo>
                    <a:pt x="71" y="244"/>
                  </a:lnTo>
                  <a:lnTo>
                    <a:pt x="70" y="244"/>
                  </a:lnTo>
                  <a:lnTo>
                    <a:pt x="69" y="243"/>
                  </a:lnTo>
                  <a:lnTo>
                    <a:pt x="69" y="241"/>
                  </a:lnTo>
                  <a:lnTo>
                    <a:pt x="67" y="241"/>
                  </a:lnTo>
                  <a:lnTo>
                    <a:pt x="66" y="240"/>
                  </a:lnTo>
                  <a:lnTo>
                    <a:pt x="67" y="239"/>
                  </a:lnTo>
                  <a:lnTo>
                    <a:pt x="67" y="238"/>
                  </a:lnTo>
                  <a:lnTo>
                    <a:pt x="66" y="235"/>
                  </a:lnTo>
                  <a:lnTo>
                    <a:pt x="65" y="233"/>
                  </a:lnTo>
                  <a:lnTo>
                    <a:pt x="66" y="233"/>
                  </a:lnTo>
                  <a:lnTo>
                    <a:pt x="67" y="233"/>
                  </a:lnTo>
                  <a:lnTo>
                    <a:pt x="69" y="233"/>
                  </a:lnTo>
                  <a:lnTo>
                    <a:pt x="69" y="234"/>
                  </a:lnTo>
                  <a:lnTo>
                    <a:pt x="70" y="234"/>
                  </a:lnTo>
                  <a:lnTo>
                    <a:pt x="70" y="232"/>
                  </a:lnTo>
                  <a:lnTo>
                    <a:pt x="70" y="231"/>
                  </a:lnTo>
                  <a:lnTo>
                    <a:pt x="72" y="231"/>
                  </a:lnTo>
                  <a:lnTo>
                    <a:pt x="73" y="232"/>
                  </a:lnTo>
                  <a:lnTo>
                    <a:pt x="75" y="233"/>
                  </a:lnTo>
                  <a:lnTo>
                    <a:pt x="75" y="234"/>
                  </a:lnTo>
                  <a:lnTo>
                    <a:pt x="76" y="235"/>
                  </a:lnTo>
                  <a:lnTo>
                    <a:pt x="78" y="234"/>
                  </a:lnTo>
                  <a:lnTo>
                    <a:pt x="77" y="232"/>
                  </a:lnTo>
                  <a:lnTo>
                    <a:pt x="77" y="231"/>
                  </a:lnTo>
                  <a:lnTo>
                    <a:pt x="76" y="231"/>
                  </a:lnTo>
                  <a:lnTo>
                    <a:pt x="78" y="229"/>
                  </a:lnTo>
                  <a:lnTo>
                    <a:pt x="78" y="231"/>
                  </a:lnTo>
                  <a:lnTo>
                    <a:pt x="79" y="229"/>
                  </a:lnTo>
                  <a:lnTo>
                    <a:pt x="79" y="231"/>
                  </a:lnTo>
                  <a:lnTo>
                    <a:pt x="82" y="231"/>
                  </a:lnTo>
                  <a:lnTo>
                    <a:pt x="83" y="232"/>
                  </a:lnTo>
                  <a:lnTo>
                    <a:pt x="84" y="233"/>
                  </a:lnTo>
                  <a:lnTo>
                    <a:pt x="85" y="233"/>
                  </a:lnTo>
                  <a:lnTo>
                    <a:pt x="85" y="232"/>
                  </a:lnTo>
                  <a:lnTo>
                    <a:pt x="85" y="231"/>
                  </a:lnTo>
                  <a:lnTo>
                    <a:pt x="87" y="228"/>
                  </a:lnTo>
                  <a:lnTo>
                    <a:pt x="87" y="227"/>
                  </a:lnTo>
                  <a:lnTo>
                    <a:pt x="89" y="227"/>
                  </a:lnTo>
                  <a:lnTo>
                    <a:pt x="89" y="229"/>
                  </a:lnTo>
                  <a:lnTo>
                    <a:pt x="89" y="231"/>
                  </a:lnTo>
                  <a:lnTo>
                    <a:pt x="90" y="231"/>
                  </a:lnTo>
                  <a:lnTo>
                    <a:pt x="90" y="227"/>
                  </a:lnTo>
                  <a:lnTo>
                    <a:pt x="89" y="225"/>
                  </a:lnTo>
                  <a:lnTo>
                    <a:pt x="90" y="222"/>
                  </a:lnTo>
                  <a:lnTo>
                    <a:pt x="90" y="221"/>
                  </a:lnTo>
                  <a:lnTo>
                    <a:pt x="91" y="222"/>
                  </a:lnTo>
                  <a:lnTo>
                    <a:pt x="93" y="222"/>
                  </a:lnTo>
                  <a:lnTo>
                    <a:pt x="93" y="223"/>
                  </a:lnTo>
                  <a:lnTo>
                    <a:pt x="94" y="222"/>
                  </a:lnTo>
                  <a:lnTo>
                    <a:pt x="94" y="223"/>
                  </a:lnTo>
                  <a:lnTo>
                    <a:pt x="94" y="226"/>
                  </a:lnTo>
                  <a:lnTo>
                    <a:pt x="95" y="226"/>
                  </a:lnTo>
                  <a:lnTo>
                    <a:pt x="96" y="227"/>
                  </a:lnTo>
                  <a:lnTo>
                    <a:pt x="95" y="227"/>
                  </a:lnTo>
                  <a:lnTo>
                    <a:pt x="96" y="227"/>
                  </a:lnTo>
                  <a:lnTo>
                    <a:pt x="97" y="227"/>
                  </a:lnTo>
                  <a:lnTo>
                    <a:pt x="99" y="228"/>
                  </a:lnTo>
                  <a:lnTo>
                    <a:pt x="100" y="228"/>
                  </a:lnTo>
                  <a:lnTo>
                    <a:pt x="101" y="229"/>
                  </a:lnTo>
                  <a:lnTo>
                    <a:pt x="104" y="229"/>
                  </a:lnTo>
                  <a:lnTo>
                    <a:pt x="104" y="231"/>
                  </a:lnTo>
                  <a:lnTo>
                    <a:pt x="105" y="232"/>
                  </a:lnTo>
                  <a:lnTo>
                    <a:pt x="106" y="231"/>
                  </a:lnTo>
                  <a:lnTo>
                    <a:pt x="106" y="229"/>
                  </a:lnTo>
                  <a:lnTo>
                    <a:pt x="105" y="228"/>
                  </a:lnTo>
                  <a:lnTo>
                    <a:pt x="104" y="227"/>
                  </a:lnTo>
                  <a:lnTo>
                    <a:pt x="104" y="225"/>
                  </a:lnTo>
                  <a:lnTo>
                    <a:pt x="105" y="223"/>
                  </a:lnTo>
                  <a:lnTo>
                    <a:pt x="106" y="223"/>
                  </a:lnTo>
                  <a:lnTo>
                    <a:pt x="107" y="225"/>
                  </a:lnTo>
                  <a:lnTo>
                    <a:pt x="107" y="223"/>
                  </a:lnTo>
                  <a:lnTo>
                    <a:pt x="108" y="222"/>
                  </a:lnTo>
                  <a:lnTo>
                    <a:pt x="108" y="223"/>
                  </a:lnTo>
                  <a:lnTo>
                    <a:pt x="110" y="223"/>
                  </a:lnTo>
                  <a:lnTo>
                    <a:pt x="110" y="222"/>
                  </a:lnTo>
                  <a:lnTo>
                    <a:pt x="111" y="222"/>
                  </a:lnTo>
                  <a:lnTo>
                    <a:pt x="111" y="221"/>
                  </a:lnTo>
                  <a:lnTo>
                    <a:pt x="114" y="221"/>
                  </a:lnTo>
                  <a:lnTo>
                    <a:pt x="116" y="221"/>
                  </a:lnTo>
                  <a:lnTo>
                    <a:pt x="117" y="222"/>
                  </a:lnTo>
                  <a:lnTo>
                    <a:pt x="118" y="222"/>
                  </a:lnTo>
                  <a:lnTo>
                    <a:pt x="118" y="223"/>
                  </a:lnTo>
                  <a:lnTo>
                    <a:pt x="119" y="223"/>
                  </a:lnTo>
                  <a:lnTo>
                    <a:pt x="120" y="223"/>
                  </a:lnTo>
                  <a:lnTo>
                    <a:pt x="120" y="222"/>
                  </a:lnTo>
                  <a:lnTo>
                    <a:pt x="122" y="221"/>
                  </a:lnTo>
                  <a:lnTo>
                    <a:pt x="124" y="221"/>
                  </a:lnTo>
                  <a:lnTo>
                    <a:pt x="125" y="220"/>
                  </a:lnTo>
                  <a:lnTo>
                    <a:pt x="126" y="219"/>
                  </a:lnTo>
                  <a:lnTo>
                    <a:pt x="128" y="219"/>
                  </a:lnTo>
                  <a:lnTo>
                    <a:pt x="126" y="220"/>
                  </a:lnTo>
                  <a:lnTo>
                    <a:pt x="126" y="221"/>
                  </a:lnTo>
                  <a:lnTo>
                    <a:pt x="126" y="220"/>
                  </a:lnTo>
                  <a:lnTo>
                    <a:pt x="128" y="220"/>
                  </a:lnTo>
                  <a:lnTo>
                    <a:pt x="129" y="220"/>
                  </a:lnTo>
                  <a:lnTo>
                    <a:pt x="130" y="219"/>
                  </a:lnTo>
                  <a:lnTo>
                    <a:pt x="130" y="217"/>
                  </a:lnTo>
                  <a:lnTo>
                    <a:pt x="129" y="217"/>
                  </a:lnTo>
                  <a:lnTo>
                    <a:pt x="128" y="219"/>
                  </a:lnTo>
                  <a:lnTo>
                    <a:pt x="128" y="217"/>
                  </a:lnTo>
                  <a:lnTo>
                    <a:pt x="128" y="215"/>
                  </a:lnTo>
                  <a:lnTo>
                    <a:pt x="128" y="214"/>
                  </a:lnTo>
                  <a:lnTo>
                    <a:pt x="128" y="213"/>
                  </a:lnTo>
                  <a:lnTo>
                    <a:pt x="128" y="211"/>
                  </a:lnTo>
                  <a:lnTo>
                    <a:pt x="129" y="210"/>
                  </a:lnTo>
                  <a:lnTo>
                    <a:pt x="129" y="211"/>
                  </a:lnTo>
                  <a:lnTo>
                    <a:pt x="131" y="211"/>
                  </a:lnTo>
                  <a:lnTo>
                    <a:pt x="132" y="213"/>
                  </a:lnTo>
                  <a:lnTo>
                    <a:pt x="134" y="211"/>
                  </a:lnTo>
                  <a:lnTo>
                    <a:pt x="136" y="210"/>
                  </a:lnTo>
                  <a:lnTo>
                    <a:pt x="138" y="209"/>
                  </a:lnTo>
                  <a:lnTo>
                    <a:pt x="138" y="208"/>
                  </a:lnTo>
                  <a:lnTo>
                    <a:pt x="138" y="207"/>
                  </a:lnTo>
                  <a:lnTo>
                    <a:pt x="140" y="207"/>
                  </a:lnTo>
                  <a:lnTo>
                    <a:pt x="141" y="207"/>
                  </a:lnTo>
                  <a:lnTo>
                    <a:pt x="141" y="205"/>
                  </a:lnTo>
                  <a:lnTo>
                    <a:pt x="141" y="204"/>
                  </a:lnTo>
                  <a:lnTo>
                    <a:pt x="142" y="205"/>
                  </a:lnTo>
                  <a:lnTo>
                    <a:pt x="143" y="205"/>
                  </a:lnTo>
                  <a:lnTo>
                    <a:pt x="144" y="207"/>
                  </a:lnTo>
                  <a:lnTo>
                    <a:pt x="144" y="205"/>
                  </a:lnTo>
                  <a:lnTo>
                    <a:pt x="146" y="205"/>
                  </a:lnTo>
                  <a:lnTo>
                    <a:pt x="147" y="205"/>
                  </a:lnTo>
                  <a:lnTo>
                    <a:pt x="148" y="205"/>
                  </a:lnTo>
                  <a:lnTo>
                    <a:pt x="149" y="205"/>
                  </a:lnTo>
                  <a:lnTo>
                    <a:pt x="149" y="207"/>
                  </a:lnTo>
                  <a:lnTo>
                    <a:pt x="150" y="205"/>
                  </a:lnTo>
                  <a:lnTo>
                    <a:pt x="152" y="205"/>
                  </a:lnTo>
                  <a:lnTo>
                    <a:pt x="153" y="205"/>
                  </a:lnTo>
                  <a:lnTo>
                    <a:pt x="153" y="204"/>
                  </a:lnTo>
                  <a:lnTo>
                    <a:pt x="155" y="204"/>
                  </a:lnTo>
                  <a:lnTo>
                    <a:pt x="154" y="204"/>
                  </a:lnTo>
                  <a:lnTo>
                    <a:pt x="155" y="204"/>
                  </a:lnTo>
                  <a:lnTo>
                    <a:pt x="155" y="205"/>
                  </a:lnTo>
                  <a:lnTo>
                    <a:pt x="155" y="204"/>
                  </a:lnTo>
                  <a:lnTo>
                    <a:pt x="155" y="203"/>
                  </a:lnTo>
                  <a:lnTo>
                    <a:pt x="156" y="203"/>
                  </a:lnTo>
                  <a:lnTo>
                    <a:pt x="155" y="203"/>
                  </a:lnTo>
                  <a:lnTo>
                    <a:pt x="156" y="202"/>
                  </a:lnTo>
                  <a:lnTo>
                    <a:pt x="158" y="202"/>
                  </a:lnTo>
                  <a:lnTo>
                    <a:pt x="159" y="202"/>
                  </a:lnTo>
                  <a:lnTo>
                    <a:pt x="160" y="202"/>
                  </a:lnTo>
                  <a:lnTo>
                    <a:pt x="160" y="203"/>
                  </a:lnTo>
                  <a:lnTo>
                    <a:pt x="160" y="202"/>
                  </a:lnTo>
                  <a:lnTo>
                    <a:pt x="159" y="201"/>
                  </a:lnTo>
                  <a:lnTo>
                    <a:pt x="160" y="201"/>
                  </a:lnTo>
                  <a:lnTo>
                    <a:pt x="159" y="199"/>
                  </a:lnTo>
                  <a:lnTo>
                    <a:pt x="160" y="199"/>
                  </a:lnTo>
                  <a:lnTo>
                    <a:pt x="161" y="199"/>
                  </a:lnTo>
                  <a:lnTo>
                    <a:pt x="161" y="201"/>
                  </a:lnTo>
                  <a:lnTo>
                    <a:pt x="161" y="199"/>
                  </a:lnTo>
                  <a:lnTo>
                    <a:pt x="163" y="199"/>
                  </a:lnTo>
                  <a:lnTo>
                    <a:pt x="161" y="199"/>
                  </a:lnTo>
                  <a:lnTo>
                    <a:pt x="163" y="198"/>
                  </a:lnTo>
                  <a:lnTo>
                    <a:pt x="163" y="197"/>
                  </a:lnTo>
                  <a:lnTo>
                    <a:pt x="163" y="196"/>
                  </a:lnTo>
                  <a:lnTo>
                    <a:pt x="161" y="196"/>
                  </a:lnTo>
                  <a:lnTo>
                    <a:pt x="163" y="195"/>
                  </a:lnTo>
                  <a:lnTo>
                    <a:pt x="163" y="193"/>
                  </a:lnTo>
                  <a:lnTo>
                    <a:pt x="164" y="195"/>
                  </a:lnTo>
                  <a:lnTo>
                    <a:pt x="164" y="193"/>
                  </a:lnTo>
                  <a:lnTo>
                    <a:pt x="163" y="193"/>
                  </a:lnTo>
                  <a:lnTo>
                    <a:pt x="165" y="192"/>
                  </a:lnTo>
                  <a:lnTo>
                    <a:pt x="166" y="191"/>
                  </a:lnTo>
                  <a:lnTo>
                    <a:pt x="166" y="190"/>
                  </a:lnTo>
                  <a:lnTo>
                    <a:pt x="167" y="190"/>
                  </a:lnTo>
                  <a:lnTo>
                    <a:pt x="167" y="189"/>
                  </a:lnTo>
                  <a:lnTo>
                    <a:pt x="167" y="187"/>
                  </a:lnTo>
                  <a:lnTo>
                    <a:pt x="169" y="187"/>
                  </a:lnTo>
                  <a:lnTo>
                    <a:pt x="169" y="186"/>
                  </a:lnTo>
                  <a:lnTo>
                    <a:pt x="170" y="186"/>
                  </a:lnTo>
                  <a:lnTo>
                    <a:pt x="169" y="186"/>
                  </a:lnTo>
                  <a:lnTo>
                    <a:pt x="169" y="185"/>
                  </a:lnTo>
                  <a:lnTo>
                    <a:pt x="169" y="184"/>
                  </a:lnTo>
                  <a:lnTo>
                    <a:pt x="169" y="183"/>
                  </a:lnTo>
                  <a:lnTo>
                    <a:pt x="167" y="183"/>
                  </a:lnTo>
                  <a:lnTo>
                    <a:pt x="166" y="183"/>
                  </a:lnTo>
                  <a:lnTo>
                    <a:pt x="166" y="184"/>
                  </a:lnTo>
                  <a:lnTo>
                    <a:pt x="166" y="183"/>
                  </a:lnTo>
                  <a:lnTo>
                    <a:pt x="166" y="184"/>
                  </a:lnTo>
                  <a:lnTo>
                    <a:pt x="165" y="183"/>
                  </a:lnTo>
                  <a:lnTo>
                    <a:pt x="164" y="181"/>
                  </a:lnTo>
                  <a:lnTo>
                    <a:pt x="164" y="183"/>
                  </a:lnTo>
                  <a:lnTo>
                    <a:pt x="163" y="183"/>
                  </a:lnTo>
                  <a:lnTo>
                    <a:pt x="161" y="183"/>
                  </a:lnTo>
                  <a:lnTo>
                    <a:pt x="160" y="183"/>
                  </a:lnTo>
                  <a:lnTo>
                    <a:pt x="160" y="181"/>
                  </a:lnTo>
                  <a:lnTo>
                    <a:pt x="159" y="183"/>
                  </a:lnTo>
                  <a:lnTo>
                    <a:pt x="158" y="183"/>
                  </a:lnTo>
                  <a:lnTo>
                    <a:pt x="158" y="184"/>
                  </a:lnTo>
                  <a:lnTo>
                    <a:pt x="156" y="184"/>
                  </a:lnTo>
                  <a:lnTo>
                    <a:pt x="156" y="185"/>
                  </a:lnTo>
                  <a:lnTo>
                    <a:pt x="155" y="185"/>
                  </a:lnTo>
                  <a:lnTo>
                    <a:pt x="155" y="186"/>
                  </a:lnTo>
                  <a:lnTo>
                    <a:pt x="155" y="187"/>
                  </a:lnTo>
                  <a:lnTo>
                    <a:pt x="155" y="189"/>
                  </a:lnTo>
                  <a:lnTo>
                    <a:pt x="156" y="189"/>
                  </a:lnTo>
                  <a:lnTo>
                    <a:pt x="156" y="190"/>
                  </a:lnTo>
                  <a:lnTo>
                    <a:pt x="155" y="191"/>
                  </a:lnTo>
                  <a:lnTo>
                    <a:pt x="155" y="192"/>
                  </a:lnTo>
                  <a:lnTo>
                    <a:pt x="154" y="192"/>
                  </a:lnTo>
                  <a:lnTo>
                    <a:pt x="154" y="193"/>
                  </a:lnTo>
                  <a:lnTo>
                    <a:pt x="153" y="193"/>
                  </a:lnTo>
                  <a:lnTo>
                    <a:pt x="153" y="195"/>
                  </a:lnTo>
                  <a:lnTo>
                    <a:pt x="152" y="195"/>
                  </a:lnTo>
                  <a:lnTo>
                    <a:pt x="152" y="196"/>
                  </a:lnTo>
                  <a:lnTo>
                    <a:pt x="150" y="196"/>
                  </a:lnTo>
                  <a:lnTo>
                    <a:pt x="152" y="196"/>
                  </a:lnTo>
                  <a:lnTo>
                    <a:pt x="150" y="196"/>
                  </a:lnTo>
                  <a:lnTo>
                    <a:pt x="152" y="197"/>
                  </a:lnTo>
                  <a:lnTo>
                    <a:pt x="152" y="196"/>
                  </a:lnTo>
                  <a:lnTo>
                    <a:pt x="153" y="196"/>
                  </a:lnTo>
                  <a:lnTo>
                    <a:pt x="154" y="196"/>
                  </a:lnTo>
                  <a:lnTo>
                    <a:pt x="155" y="197"/>
                  </a:lnTo>
                  <a:lnTo>
                    <a:pt x="156" y="197"/>
                  </a:lnTo>
                  <a:lnTo>
                    <a:pt x="156" y="198"/>
                  </a:lnTo>
                  <a:lnTo>
                    <a:pt x="155" y="198"/>
                  </a:lnTo>
                  <a:lnTo>
                    <a:pt x="156" y="198"/>
                  </a:lnTo>
                  <a:lnTo>
                    <a:pt x="155" y="198"/>
                  </a:lnTo>
                  <a:lnTo>
                    <a:pt x="154" y="199"/>
                  </a:lnTo>
                  <a:lnTo>
                    <a:pt x="154" y="201"/>
                  </a:lnTo>
                  <a:lnTo>
                    <a:pt x="154" y="199"/>
                  </a:lnTo>
                  <a:lnTo>
                    <a:pt x="154" y="201"/>
                  </a:lnTo>
                  <a:lnTo>
                    <a:pt x="153" y="202"/>
                  </a:lnTo>
                  <a:lnTo>
                    <a:pt x="152" y="202"/>
                  </a:lnTo>
                  <a:lnTo>
                    <a:pt x="150" y="201"/>
                  </a:lnTo>
                  <a:lnTo>
                    <a:pt x="150" y="202"/>
                  </a:lnTo>
                  <a:lnTo>
                    <a:pt x="149" y="202"/>
                  </a:lnTo>
                  <a:lnTo>
                    <a:pt x="148" y="202"/>
                  </a:lnTo>
                  <a:lnTo>
                    <a:pt x="147" y="202"/>
                  </a:lnTo>
                  <a:lnTo>
                    <a:pt x="147" y="201"/>
                  </a:lnTo>
                  <a:lnTo>
                    <a:pt x="146" y="201"/>
                  </a:lnTo>
                  <a:lnTo>
                    <a:pt x="144" y="201"/>
                  </a:lnTo>
                  <a:lnTo>
                    <a:pt x="143" y="201"/>
                  </a:lnTo>
                  <a:lnTo>
                    <a:pt x="142" y="201"/>
                  </a:lnTo>
                  <a:lnTo>
                    <a:pt x="142" y="202"/>
                  </a:lnTo>
                  <a:lnTo>
                    <a:pt x="141" y="201"/>
                  </a:lnTo>
                  <a:lnTo>
                    <a:pt x="140" y="201"/>
                  </a:lnTo>
                  <a:lnTo>
                    <a:pt x="140" y="199"/>
                  </a:lnTo>
                  <a:lnTo>
                    <a:pt x="140" y="198"/>
                  </a:lnTo>
                  <a:lnTo>
                    <a:pt x="142" y="198"/>
                  </a:lnTo>
                  <a:lnTo>
                    <a:pt x="142" y="197"/>
                  </a:lnTo>
                  <a:lnTo>
                    <a:pt x="141" y="196"/>
                  </a:lnTo>
                  <a:lnTo>
                    <a:pt x="142" y="196"/>
                  </a:lnTo>
                  <a:lnTo>
                    <a:pt x="143" y="195"/>
                  </a:lnTo>
                  <a:lnTo>
                    <a:pt x="143" y="193"/>
                  </a:lnTo>
                  <a:lnTo>
                    <a:pt x="142" y="193"/>
                  </a:lnTo>
                  <a:lnTo>
                    <a:pt x="142" y="192"/>
                  </a:lnTo>
                  <a:lnTo>
                    <a:pt x="142" y="191"/>
                  </a:lnTo>
                  <a:lnTo>
                    <a:pt x="143" y="190"/>
                  </a:lnTo>
                  <a:lnTo>
                    <a:pt x="142" y="190"/>
                  </a:lnTo>
                  <a:lnTo>
                    <a:pt x="143" y="190"/>
                  </a:lnTo>
                  <a:lnTo>
                    <a:pt x="144" y="190"/>
                  </a:lnTo>
                  <a:lnTo>
                    <a:pt x="146" y="190"/>
                  </a:lnTo>
                  <a:lnTo>
                    <a:pt x="146" y="187"/>
                  </a:lnTo>
                  <a:lnTo>
                    <a:pt x="144" y="187"/>
                  </a:lnTo>
                  <a:lnTo>
                    <a:pt x="143" y="187"/>
                  </a:lnTo>
                  <a:lnTo>
                    <a:pt x="144" y="187"/>
                  </a:lnTo>
                  <a:lnTo>
                    <a:pt x="143" y="187"/>
                  </a:lnTo>
                  <a:lnTo>
                    <a:pt x="142" y="187"/>
                  </a:lnTo>
                  <a:lnTo>
                    <a:pt x="141" y="189"/>
                  </a:lnTo>
                  <a:lnTo>
                    <a:pt x="140" y="189"/>
                  </a:lnTo>
                  <a:lnTo>
                    <a:pt x="140" y="190"/>
                  </a:lnTo>
                  <a:lnTo>
                    <a:pt x="138" y="190"/>
                  </a:lnTo>
                  <a:lnTo>
                    <a:pt x="137" y="190"/>
                  </a:lnTo>
                  <a:lnTo>
                    <a:pt x="137" y="191"/>
                  </a:lnTo>
                  <a:lnTo>
                    <a:pt x="137" y="190"/>
                  </a:lnTo>
                  <a:lnTo>
                    <a:pt x="136" y="190"/>
                  </a:lnTo>
                  <a:lnTo>
                    <a:pt x="135" y="191"/>
                  </a:lnTo>
                  <a:lnTo>
                    <a:pt x="135" y="190"/>
                  </a:lnTo>
                  <a:lnTo>
                    <a:pt x="134" y="190"/>
                  </a:lnTo>
                  <a:lnTo>
                    <a:pt x="134" y="191"/>
                  </a:lnTo>
                  <a:lnTo>
                    <a:pt x="132" y="191"/>
                  </a:lnTo>
                  <a:lnTo>
                    <a:pt x="134" y="191"/>
                  </a:lnTo>
                  <a:lnTo>
                    <a:pt x="134" y="192"/>
                  </a:lnTo>
                  <a:lnTo>
                    <a:pt x="132" y="192"/>
                  </a:lnTo>
                  <a:lnTo>
                    <a:pt x="132" y="191"/>
                  </a:lnTo>
                  <a:lnTo>
                    <a:pt x="131" y="192"/>
                  </a:lnTo>
                  <a:lnTo>
                    <a:pt x="131" y="193"/>
                  </a:lnTo>
                  <a:lnTo>
                    <a:pt x="132" y="193"/>
                  </a:lnTo>
                  <a:lnTo>
                    <a:pt x="131" y="193"/>
                  </a:lnTo>
                  <a:lnTo>
                    <a:pt x="130" y="193"/>
                  </a:lnTo>
                  <a:lnTo>
                    <a:pt x="129" y="193"/>
                  </a:lnTo>
                  <a:lnTo>
                    <a:pt x="128" y="193"/>
                  </a:lnTo>
                  <a:lnTo>
                    <a:pt x="126" y="193"/>
                  </a:lnTo>
                  <a:lnTo>
                    <a:pt x="125" y="193"/>
                  </a:lnTo>
                  <a:lnTo>
                    <a:pt x="125" y="192"/>
                  </a:lnTo>
                  <a:lnTo>
                    <a:pt x="124" y="192"/>
                  </a:lnTo>
                  <a:lnTo>
                    <a:pt x="123" y="192"/>
                  </a:lnTo>
                  <a:lnTo>
                    <a:pt x="123" y="191"/>
                  </a:lnTo>
                  <a:lnTo>
                    <a:pt x="122" y="190"/>
                  </a:lnTo>
                  <a:lnTo>
                    <a:pt x="122" y="191"/>
                  </a:lnTo>
                  <a:lnTo>
                    <a:pt x="122" y="192"/>
                  </a:lnTo>
                  <a:lnTo>
                    <a:pt x="120" y="191"/>
                  </a:lnTo>
                  <a:lnTo>
                    <a:pt x="120" y="192"/>
                  </a:lnTo>
                  <a:lnTo>
                    <a:pt x="120" y="193"/>
                  </a:lnTo>
                  <a:lnTo>
                    <a:pt x="119" y="193"/>
                  </a:lnTo>
                  <a:lnTo>
                    <a:pt x="119" y="195"/>
                  </a:lnTo>
                  <a:lnTo>
                    <a:pt x="118" y="195"/>
                  </a:lnTo>
                  <a:lnTo>
                    <a:pt x="117" y="193"/>
                  </a:lnTo>
                  <a:lnTo>
                    <a:pt x="117" y="192"/>
                  </a:lnTo>
                  <a:lnTo>
                    <a:pt x="117" y="193"/>
                  </a:lnTo>
                  <a:lnTo>
                    <a:pt x="116" y="193"/>
                  </a:lnTo>
                  <a:lnTo>
                    <a:pt x="116" y="195"/>
                  </a:lnTo>
                  <a:lnTo>
                    <a:pt x="116" y="196"/>
                  </a:lnTo>
                  <a:lnTo>
                    <a:pt x="116" y="195"/>
                  </a:lnTo>
                  <a:lnTo>
                    <a:pt x="116" y="196"/>
                  </a:lnTo>
                  <a:lnTo>
                    <a:pt x="114" y="197"/>
                  </a:lnTo>
                  <a:lnTo>
                    <a:pt x="114" y="196"/>
                  </a:lnTo>
                  <a:lnTo>
                    <a:pt x="113" y="196"/>
                  </a:lnTo>
                  <a:lnTo>
                    <a:pt x="113" y="195"/>
                  </a:lnTo>
                  <a:lnTo>
                    <a:pt x="112" y="195"/>
                  </a:lnTo>
                  <a:lnTo>
                    <a:pt x="112" y="196"/>
                  </a:lnTo>
                  <a:lnTo>
                    <a:pt x="111" y="196"/>
                  </a:lnTo>
                  <a:lnTo>
                    <a:pt x="111" y="195"/>
                  </a:lnTo>
                  <a:lnTo>
                    <a:pt x="111" y="193"/>
                  </a:lnTo>
                  <a:lnTo>
                    <a:pt x="111" y="192"/>
                  </a:lnTo>
                  <a:lnTo>
                    <a:pt x="112" y="192"/>
                  </a:lnTo>
                  <a:lnTo>
                    <a:pt x="113" y="192"/>
                  </a:lnTo>
                  <a:lnTo>
                    <a:pt x="114" y="192"/>
                  </a:lnTo>
                  <a:lnTo>
                    <a:pt x="113" y="191"/>
                  </a:lnTo>
                  <a:lnTo>
                    <a:pt x="114" y="191"/>
                  </a:lnTo>
                  <a:lnTo>
                    <a:pt x="113" y="191"/>
                  </a:lnTo>
                  <a:lnTo>
                    <a:pt x="113" y="190"/>
                  </a:lnTo>
                  <a:lnTo>
                    <a:pt x="116" y="190"/>
                  </a:lnTo>
                  <a:lnTo>
                    <a:pt x="114" y="190"/>
                  </a:lnTo>
                  <a:lnTo>
                    <a:pt x="116" y="190"/>
                  </a:lnTo>
                  <a:lnTo>
                    <a:pt x="117" y="190"/>
                  </a:lnTo>
                  <a:lnTo>
                    <a:pt x="117" y="189"/>
                  </a:lnTo>
                  <a:lnTo>
                    <a:pt x="116" y="189"/>
                  </a:lnTo>
                  <a:lnTo>
                    <a:pt x="116" y="187"/>
                  </a:lnTo>
                  <a:lnTo>
                    <a:pt x="114" y="187"/>
                  </a:lnTo>
                  <a:lnTo>
                    <a:pt x="113" y="187"/>
                  </a:lnTo>
                  <a:lnTo>
                    <a:pt x="113" y="189"/>
                  </a:lnTo>
                  <a:lnTo>
                    <a:pt x="111" y="189"/>
                  </a:lnTo>
                  <a:lnTo>
                    <a:pt x="110" y="190"/>
                  </a:lnTo>
                  <a:lnTo>
                    <a:pt x="110" y="191"/>
                  </a:lnTo>
                  <a:lnTo>
                    <a:pt x="110" y="190"/>
                  </a:lnTo>
                  <a:lnTo>
                    <a:pt x="110" y="189"/>
                  </a:lnTo>
                  <a:lnTo>
                    <a:pt x="108" y="190"/>
                  </a:lnTo>
                  <a:lnTo>
                    <a:pt x="107" y="191"/>
                  </a:lnTo>
                  <a:lnTo>
                    <a:pt x="107" y="192"/>
                  </a:lnTo>
                  <a:lnTo>
                    <a:pt x="107" y="191"/>
                  </a:lnTo>
                  <a:lnTo>
                    <a:pt x="106" y="191"/>
                  </a:lnTo>
                  <a:lnTo>
                    <a:pt x="106" y="190"/>
                  </a:lnTo>
                  <a:lnTo>
                    <a:pt x="105" y="190"/>
                  </a:lnTo>
                  <a:lnTo>
                    <a:pt x="104" y="190"/>
                  </a:lnTo>
                  <a:lnTo>
                    <a:pt x="102" y="190"/>
                  </a:lnTo>
                  <a:lnTo>
                    <a:pt x="102" y="189"/>
                  </a:lnTo>
                  <a:lnTo>
                    <a:pt x="101" y="189"/>
                  </a:lnTo>
                  <a:lnTo>
                    <a:pt x="100" y="189"/>
                  </a:lnTo>
                  <a:lnTo>
                    <a:pt x="100" y="187"/>
                  </a:lnTo>
                  <a:lnTo>
                    <a:pt x="99" y="187"/>
                  </a:lnTo>
                  <a:lnTo>
                    <a:pt x="99" y="186"/>
                  </a:lnTo>
                  <a:lnTo>
                    <a:pt x="97" y="186"/>
                  </a:lnTo>
                  <a:lnTo>
                    <a:pt x="96" y="186"/>
                  </a:lnTo>
                  <a:lnTo>
                    <a:pt x="97" y="186"/>
                  </a:lnTo>
                  <a:lnTo>
                    <a:pt x="97" y="185"/>
                  </a:lnTo>
                  <a:lnTo>
                    <a:pt x="96" y="184"/>
                  </a:lnTo>
                  <a:lnTo>
                    <a:pt x="97" y="184"/>
                  </a:lnTo>
                  <a:lnTo>
                    <a:pt x="97" y="183"/>
                  </a:lnTo>
                  <a:lnTo>
                    <a:pt x="96" y="183"/>
                  </a:lnTo>
                  <a:lnTo>
                    <a:pt x="97" y="183"/>
                  </a:lnTo>
                  <a:lnTo>
                    <a:pt x="97" y="181"/>
                  </a:lnTo>
                  <a:lnTo>
                    <a:pt x="97" y="183"/>
                  </a:lnTo>
                  <a:lnTo>
                    <a:pt x="96" y="183"/>
                  </a:lnTo>
                  <a:lnTo>
                    <a:pt x="96" y="181"/>
                  </a:lnTo>
                  <a:lnTo>
                    <a:pt x="95" y="181"/>
                  </a:lnTo>
                  <a:lnTo>
                    <a:pt x="95" y="180"/>
                  </a:lnTo>
                  <a:lnTo>
                    <a:pt x="95" y="179"/>
                  </a:lnTo>
                  <a:lnTo>
                    <a:pt x="94" y="179"/>
                  </a:lnTo>
                  <a:lnTo>
                    <a:pt x="94" y="178"/>
                  </a:lnTo>
                  <a:lnTo>
                    <a:pt x="94" y="177"/>
                  </a:lnTo>
                  <a:lnTo>
                    <a:pt x="94" y="175"/>
                  </a:lnTo>
                  <a:lnTo>
                    <a:pt x="93" y="174"/>
                  </a:lnTo>
                  <a:lnTo>
                    <a:pt x="94" y="174"/>
                  </a:lnTo>
                  <a:lnTo>
                    <a:pt x="94" y="173"/>
                  </a:lnTo>
                  <a:lnTo>
                    <a:pt x="95" y="173"/>
                  </a:lnTo>
                  <a:lnTo>
                    <a:pt x="95" y="174"/>
                  </a:lnTo>
                  <a:lnTo>
                    <a:pt x="96" y="174"/>
                  </a:lnTo>
                  <a:lnTo>
                    <a:pt x="96" y="175"/>
                  </a:lnTo>
                  <a:lnTo>
                    <a:pt x="96" y="174"/>
                  </a:lnTo>
                  <a:lnTo>
                    <a:pt x="97" y="174"/>
                  </a:lnTo>
                  <a:lnTo>
                    <a:pt x="96" y="174"/>
                  </a:lnTo>
                  <a:lnTo>
                    <a:pt x="97" y="174"/>
                  </a:lnTo>
                  <a:lnTo>
                    <a:pt x="99" y="174"/>
                  </a:lnTo>
                  <a:lnTo>
                    <a:pt x="99" y="173"/>
                  </a:lnTo>
                  <a:lnTo>
                    <a:pt x="100" y="173"/>
                  </a:lnTo>
                  <a:lnTo>
                    <a:pt x="100" y="172"/>
                  </a:lnTo>
                  <a:lnTo>
                    <a:pt x="101" y="172"/>
                  </a:lnTo>
                  <a:lnTo>
                    <a:pt x="101" y="173"/>
                  </a:lnTo>
                  <a:lnTo>
                    <a:pt x="102" y="173"/>
                  </a:lnTo>
                  <a:lnTo>
                    <a:pt x="104" y="173"/>
                  </a:lnTo>
                  <a:lnTo>
                    <a:pt x="104" y="172"/>
                  </a:lnTo>
                  <a:lnTo>
                    <a:pt x="104" y="171"/>
                  </a:lnTo>
                  <a:lnTo>
                    <a:pt x="104" y="172"/>
                  </a:lnTo>
                  <a:lnTo>
                    <a:pt x="105" y="172"/>
                  </a:lnTo>
                  <a:lnTo>
                    <a:pt x="106" y="172"/>
                  </a:lnTo>
                  <a:lnTo>
                    <a:pt x="105" y="172"/>
                  </a:lnTo>
                  <a:lnTo>
                    <a:pt x="105" y="171"/>
                  </a:lnTo>
                  <a:lnTo>
                    <a:pt x="105" y="169"/>
                  </a:lnTo>
                  <a:lnTo>
                    <a:pt x="104" y="169"/>
                  </a:lnTo>
                  <a:lnTo>
                    <a:pt x="104" y="168"/>
                  </a:lnTo>
                  <a:lnTo>
                    <a:pt x="102" y="168"/>
                  </a:lnTo>
                  <a:lnTo>
                    <a:pt x="102" y="167"/>
                  </a:lnTo>
                  <a:lnTo>
                    <a:pt x="102" y="166"/>
                  </a:lnTo>
                  <a:lnTo>
                    <a:pt x="104" y="166"/>
                  </a:lnTo>
                  <a:lnTo>
                    <a:pt x="102" y="166"/>
                  </a:lnTo>
                  <a:lnTo>
                    <a:pt x="102" y="165"/>
                  </a:lnTo>
                  <a:lnTo>
                    <a:pt x="101" y="165"/>
                  </a:lnTo>
                  <a:lnTo>
                    <a:pt x="100" y="163"/>
                  </a:lnTo>
                  <a:lnTo>
                    <a:pt x="100" y="162"/>
                  </a:lnTo>
                  <a:lnTo>
                    <a:pt x="100" y="161"/>
                  </a:lnTo>
                  <a:lnTo>
                    <a:pt x="100" y="160"/>
                  </a:lnTo>
                  <a:lnTo>
                    <a:pt x="99" y="160"/>
                  </a:lnTo>
                  <a:lnTo>
                    <a:pt x="99" y="159"/>
                  </a:lnTo>
                  <a:lnTo>
                    <a:pt x="99" y="157"/>
                  </a:lnTo>
                  <a:lnTo>
                    <a:pt x="97" y="157"/>
                  </a:lnTo>
                  <a:lnTo>
                    <a:pt x="97" y="156"/>
                  </a:lnTo>
                  <a:lnTo>
                    <a:pt x="97" y="155"/>
                  </a:lnTo>
                  <a:lnTo>
                    <a:pt x="97" y="154"/>
                  </a:lnTo>
                  <a:lnTo>
                    <a:pt x="97" y="152"/>
                  </a:lnTo>
                  <a:lnTo>
                    <a:pt x="97" y="151"/>
                  </a:lnTo>
                  <a:lnTo>
                    <a:pt x="97" y="150"/>
                  </a:lnTo>
                  <a:lnTo>
                    <a:pt x="97" y="149"/>
                  </a:lnTo>
                  <a:lnTo>
                    <a:pt x="96" y="148"/>
                  </a:lnTo>
                  <a:lnTo>
                    <a:pt x="96" y="146"/>
                  </a:lnTo>
                  <a:lnTo>
                    <a:pt x="97" y="145"/>
                  </a:lnTo>
                  <a:lnTo>
                    <a:pt x="99" y="145"/>
                  </a:lnTo>
                  <a:lnTo>
                    <a:pt x="99" y="146"/>
                  </a:lnTo>
                  <a:lnTo>
                    <a:pt x="99" y="148"/>
                  </a:lnTo>
                  <a:lnTo>
                    <a:pt x="100" y="148"/>
                  </a:lnTo>
                  <a:lnTo>
                    <a:pt x="100" y="149"/>
                  </a:lnTo>
                  <a:lnTo>
                    <a:pt x="101" y="149"/>
                  </a:lnTo>
                  <a:lnTo>
                    <a:pt x="102" y="149"/>
                  </a:lnTo>
                  <a:lnTo>
                    <a:pt x="102" y="150"/>
                  </a:lnTo>
                  <a:lnTo>
                    <a:pt x="104" y="150"/>
                  </a:lnTo>
                  <a:lnTo>
                    <a:pt x="104" y="151"/>
                  </a:lnTo>
                  <a:lnTo>
                    <a:pt x="105" y="151"/>
                  </a:lnTo>
                  <a:lnTo>
                    <a:pt x="105" y="150"/>
                  </a:lnTo>
                  <a:lnTo>
                    <a:pt x="105" y="149"/>
                  </a:lnTo>
                  <a:lnTo>
                    <a:pt x="105" y="148"/>
                  </a:lnTo>
                  <a:lnTo>
                    <a:pt x="105" y="146"/>
                  </a:lnTo>
                  <a:lnTo>
                    <a:pt x="106" y="146"/>
                  </a:lnTo>
                  <a:lnTo>
                    <a:pt x="107" y="146"/>
                  </a:lnTo>
                  <a:lnTo>
                    <a:pt x="107" y="148"/>
                  </a:lnTo>
                  <a:lnTo>
                    <a:pt x="107" y="149"/>
                  </a:lnTo>
                  <a:lnTo>
                    <a:pt x="108" y="149"/>
                  </a:lnTo>
                  <a:lnTo>
                    <a:pt x="108" y="150"/>
                  </a:lnTo>
                  <a:lnTo>
                    <a:pt x="108" y="149"/>
                  </a:lnTo>
                  <a:lnTo>
                    <a:pt x="110" y="148"/>
                  </a:lnTo>
                  <a:lnTo>
                    <a:pt x="111" y="148"/>
                  </a:lnTo>
                  <a:lnTo>
                    <a:pt x="111" y="149"/>
                  </a:lnTo>
                  <a:lnTo>
                    <a:pt x="112" y="149"/>
                  </a:lnTo>
                  <a:lnTo>
                    <a:pt x="112" y="150"/>
                  </a:lnTo>
                  <a:lnTo>
                    <a:pt x="113" y="150"/>
                  </a:lnTo>
                  <a:lnTo>
                    <a:pt x="113" y="151"/>
                  </a:lnTo>
                  <a:lnTo>
                    <a:pt x="114" y="151"/>
                  </a:lnTo>
                  <a:lnTo>
                    <a:pt x="114" y="152"/>
                  </a:lnTo>
                  <a:lnTo>
                    <a:pt x="116" y="152"/>
                  </a:lnTo>
                  <a:lnTo>
                    <a:pt x="116" y="154"/>
                  </a:lnTo>
                  <a:lnTo>
                    <a:pt x="117" y="154"/>
                  </a:lnTo>
                  <a:lnTo>
                    <a:pt x="118" y="154"/>
                  </a:lnTo>
                  <a:lnTo>
                    <a:pt x="118" y="152"/>
                  </a:lnTo>
                  <a:lnTo>
                    <a:pt x="117" y="151"/>
                  </a:lnTo>
                  <a:lnTo>
                    <a:pt x="116" y="151"/>
                  </a:lnTo>
                  <a:lnTo>
                    <a:pt x="116" y="150"/>
                  </a:lnTo>
                  <a:lnTo>
                    <a:pt x="114" y="149"/>
                  </a:lnTo>
                  <a:lnTo>
                    <a:pt x="114" y="148"/>
                  </a:lnTo>
                  <a:lnTo>
                    <a:pt x="114" y="146"/>
                  </a:lnTo>
                  <a:lnTo>
                    <a:pt x="116" y="146"/>
                  </a:lnTo>
                  <a:lnTo>
                    <a:pt x="116" y="145"/>
                  </a:lnTo>
                  <a:lnTo>
                    <a:pt x="117" y="145"/>
                  </a:lnTo>
                  <a:lnTo>
                    <a:pt x="117" y="146"/>
                  </a:lnTo>
                  <a:lnTo>
                    <a:pt x="118" y="146"/>
                  </a:lnTo>
                  <a:lnTo>
                    <a:pt x="119" y="146"/>
                  </a:lnTo>
                  <a:lnTo>
                    <a:pt x="120" y="145"/>
                  </a:lnTo>
                  <a:lnTo>
                    <a:pt x="120" y="146"/>
                  </a:lnTo>
                  <a:lnTo>
                    <a:pt x="122" y="146"/>
                  </a:lnTo>
                  <a:lnTo>
                    <a:pt x="122" y="148"/>
                  </a:lnTo>
                  <a:lnTo>
                    <a:pt x="123" y="148"/>
                  </a:lnTo>
                  <a:lnTo>
                    <a:pt x="125" y="148"/>
                  </a:lnTo>
                  <a:lnTo>
                    <a:pt x="125" y="149"/>
                  </a:lnTo>
                  <a:lnTo>
                    <a:pt x="126" y="149"/>
                  </a:lnTo>
                  <a:lnTo>
                    <a:pt x="128" y="149"/>
                  </a:lnTo>
                  <a:lnTo>
                    <a:pt x="128" y="148"/>
                  </a:lnTo>
                  <a:lnTo>
                    <a:pt x="129" y="146"/>
                  </a:lnTo>
                  <a:lnTo>
                    <a:pt x="129" y="145"/>
                  </a:lnTo>
                  <a:lnTo>
                    <a:pt x="129" y="146"/>
                  </a:lnTo>
                  <a:lnTo>
                    <a:pt x="128" y="145"/>
                  </a:lnTo>
                  <a:lnTo>
                    <a:pt x="128" y="146"/>
                  </a:lnTo>
                  <a:lnTo>
                    <a:pt x="126" y="146"/>
                  </a:lnTo>
                  <a:lnTo>
                    <a:pt x="126" y="145"/>
                  </a:lnTo>
                  <a:lnTo>
                    <a:pt x="125" y="144"/>
                  </a:lnTo>
                  <a:lnTo>
                    <a:pt x="124" y="144"/>
                  </a:lnTo>
                  <a:lnTo>
                    <a:pt x="123" y="144"/>
                  </a:lnTo>
                  <a:lnTo>
                    <a:pt x="123" y="143"/>
                  </a:lnTo>
                  <a:lnTo>
                    <a:pt x="122" y="143"/>
                  </a:lnTo>
                  <a:lnTo>
                    <a:pt x="122" y="140"/>
                  </a:lnTo>
                  <a:lnTo>
                    <a:pt x="120" y="140"/>
                  </a:lnTo>
                  <a:lnTo>
                    <a:pt x="120" y="142"/>
                  </a:lnTo>
                  <a:lnTo>
                    <a:pt x="119" y="142"/>
                  </a:lnTo>
                  <a:lnTo>
                    <a:pt x="118" y="142"/>
                  </a:lnTo>
                  <a:lnTo>
                    <a:pt x="117" y="142"/>
                  </a:lnTo>
                  <a:lnTo>
                    <a:pt x="116" y="142"/>
                  </a:lnTo>
                  <a:lnTo>
                    <a:pt x="116" y="140"/>
                  </a:lnTo>
                  <a:lnTo>
                    <a:pt x="114" y="142"/>
                  </a:lnTo>
                  <a:lnTo>
                    <a:pt x="114" y="140"/>
                  </a:lnTo>
                  <a:lnTo>
                    <a:pt x="114" y="139"/>
                  </a:lnTo>
                  <a:lnTo>
                    <a:pt x="113" y="138"/>
                  </a:lnTo>
                  <a:lnTo>
                    <a:pt x="113" y="137"/>
                  </a:lnTo>
                  <a:lnTo>
                    <a:pt x="112" y="137"/>
                  </a:lnTo>
                  <a:lnTo>
                    <a:pt x="111" y="137"/>
                  </a:lnTo>
                  <a:lnTo>
                    <a:pt x="110" y="137"/>
                  </a:lnTo>
                  <a:lnTo>
                    <a:pt x="110" y="136"/>
                  </a:lnTo>
                  <a:lnTo>
                    <a:pt x="110" y="134"/>
                  </a:lnTo>
                  <a:lnTo>
                    <a:pt x="110" y="133"/>
                  </a:lnTo>
                  <a:lnTo>
                    <a:pt x="110" y="132"/>
                  </a:lnTo>
                  <a:lnTo>
                    <a:pt x="108" y="132"/>
                  </a:lnTo>
                  <a:lnTo>
                    <a:pt x="108" y="131"/>
                  </a:lnTo>
                  <a:lnTo>
                    <a:pt x="107" y="131"/>
                  </a:lnTo>
                  <a:lnTo>
                    <a:pt x="107" y="130"/>
                  </a:lnTo>
                  <a:lnTo>
                    <a:pt x="108" y="130"/>
                  </a:lnTo>
                  <a:lnTo>
                    <a:pt x="108" y="128"/>
                  </a:lnTo>
                  <a:lnTo>
                    <a:pt x="110" y="128"/>
                  </a:lnTo>
                  <a:lnTo>
                    <a:pt x="110" y="130"/>
                  </a:lnTo>
                  <a:lnTo>
                    <a:pt x="111" y="130"/>
                  </a:lnTo>
                  <a:lnTo>
                    <a:pt x="112" y="130"/>
                  </a:lnTo>
                  <a:lnTo>
                    <a:pt x="113" y="130"/>
                  </a:lnTo>
                  <a:lnTo>
                    <a:pt x="113" y="131"/>
                  </a:lnTo>
                  <a:lnTo>
                    <a:pt x="114" y="131"/>
                  </a:lnTo>
                  <a:lnTo>
                    <a:pt x="116" y="131"/>
                  </a:lnTo>
                  <a:lnTo>
                    <a:pt x="116" y="130"/>
                  </a:lnTo>
                  <a:lnTo>
                    <a:pt x="114" y="130"/>
                  </a:lnTo>
                  <a:lnTo>
                    <a:pt x="114" y="128"/>
                  </a:lnTo>
                  <a:lnTo>
                    <a:pt x="114" y="127"/>
                  </a:lnTo>
                  <a:lnTo>
                    <a:pt x="114" y="126"/>
                  </a:lnTo>
                  <a:lnTo>
                    <a:pt x="116" y="126"/>
                  </a:lnTo>
                  <a:lnTo>
                    <a:pt x="116" y="127"/>
                  </a:lnTo>
                  <a:lnTo>
                    <a:pt x="117" y="128"/>
                  </a:lnTo>
                  <a:lnTo>
                    <a:pt x="118" y="128"/>
                  </a:lnTo>
                  <a:lnTo>
                    <a:pt x="119" y="128"/>
                  </a:lnTo>
                  <a:lnTo>
                    <a:pt x="119" y="131"/>
                  </a:lnTo>
                  <a:lnTo>
                    <a:pt x="119" y="132"/>
                  </a:lnTo>
                  <a:lnTo>
                    <a:pt x="120" y="132"/>
                  </a:lnTo>
                  <a:lnTo>
                    <a:pt x="120" y="133"/>
                  </a:lnTo>
                  <a:lnTo>
                    <a:pt x="120" y="132"/>
                  </a:lnTo>
                  <a:lnTo>
                    <a:pt x="122" y="132"/>
                  </a:lnTo>
                  <a:lnTo>
                    <a:pt x="123" y="132"/>
                  </a:lnTo>
                  <a:lnTo>
                    <a:pt x="123" y="131"/>
                  </a:lnTo>
                  <a:lnTo>
                    <a:pt x="124" y="131"/>
                  </a:lnTo>
                  <a:lnTo>
                    <a:pt x="126" y="131"/>
                  </a:lnTo>
                  <a:lnTo>
                    <a:pt x="129" y="131"/>
                  </a:lnTo>
                  <a:lnTo>
                    <a:pt x="129" y="132"/>
                  </a:lnTo>
                  <a:lnTo>
                    <a:pt x="129" y="133"/>
                  </a:lnTo>
                  <a:lnTo>
                    <a:pt x="130" y="133"/>
                  </a:lnTo>
                  <a:lnTo>
                    <a:pt x="130" y="134"/>
                  </a:lnTo>
                  <a:lnTo>
                    <a:pt x="131" y="134"/>
                  </a:lnTo>
                  <a:lnTo>
                    <a:pt x="131" y="133"/>
                  </a:lnTo>
                  <a:lnTo>
                    <a:pt x="130" y="132"/>
                  </a:lnTo>
                  <a:lnTo>
                    <a:pt x="130" y="131"/>
                  </a:lnTo>
                  <a:lnTo>
                    <a:pt x="129" y="131"/>
                  </a:lnTo>
                  <a:lnTo>
                    <a:pt x="129" y="130"/>
                  </a:lnTo>
                  <a:lnTo>
                    <a:pt x="129" y="128"/>
                  </a:lnTo>
                  <a:lnTo>
                    <a:pt x="130" y="127"/>
                  </a:lnTo>
                  <a:lnTo>
                    <a:pt x="130" y="128"/>
                  </a:lnTo>
                  <a:lnTo>
                    <a:pt x="131" y="128"/>
                  </a:lnTo>
                  <a:lnTo>
                    <a:pt x="132" y="130"/>
                  </a:lnTo>
                  <a:lnTo>
                    <a:pt x="132" y="128"/>
                  </a:lnTo>
                  <a:lnTo>
                    <a:pt x="132" y="126"/>
                  </a:lnTo>
                  <a:lnTo>
                    <a:pt x="131" y="125"/>
                  </a:lnTo>
                  <a:lnTo>
                    <a:pt x="131" y="124"/>
                  </a:lnTo>
                  <a:lnTo>
                    <a:pt x="131" y="122"/>
                  </a:lnTo>
                  <a:lnTo>
                    <a:pt x="132" y="122"/>
                  </a:lnTo>
                  <a:lnTo>
                    <a:pt x="132" y="124"/>
                  </a:lnTo>
                  <a:lnTo>
                    <a:pt x="134" y="122"/>
                  </a:lnTo>
                  <a:lnTo>
                    <a:pt x="135" y="122"/>
                  </a:lnTo>
                  <a:lnTo>
                    <a:pt x="136" y="124"/>
                  </a:lnTo>
                  <a:lnTo>
                    <a:pt x="136" y="125"/>
                  </a:lnTo>
                  <a:lnTo>
                    <a:pt x="136" y="124"/>
                  </a:lnTo>
                  <a:lnTo>
                    <a:pt x="137" y="125"/>
                  </a:lnTo>
                  <a:lnTo>
                    <a:pt x="138" y="125"/>
                  </a:lnTo>
                  <a:lnTo>
                    <a:pt x="138" y="124"/>
                  </a:lnTo>
                  <a:lnTo>
                    <a:pt x="140" y="124"/>
                  </a:lnTo>
                  <a:lnTo>
                    <a:pt x="140" y="122"/>
                  </a:lnTo>
                  <a:lnTo>
                    <a:pt x="138" y="122"/>
                  </a:lnTo>
                  <a:lnTo>
                    <a:pt x="140" y="121"/>
                  </a:lnTo>
                  <a:lnTo>
                    <a:pt x="140" y="120"/>
                  </a:lnTo>
                  <a:lnTo>
                    <a:pt x="138" y="120"/>
                  </a:lnTo>
                  <a:lnTo>
                    <a:pt x="138" y="119"/>
                  </a:lnTo>
                  <a:lnTo>
                    <a:pt x="138" y="118"/>
                  </a:lnTo>
                  <a:lnTo>
                    <a:pt x="140" y="118"/>
                  </a:lnTo>
                  <a:lnTo>
                    <a:pt x="140" y="116"/>
                  </a:lnTo>
                  <a:lnTo>
                    <a:pt x="141" y="116"/>
                  </a:lnTo>
                  <a:lnTo>
                    <a:pt x="141" y="118"/>
                  </a:lnTo>
                  <a:lnTo>
                    <a:pt x="142" y="118"/>
                  </a:lnTo>
                  <a:lnTo>
                    <a:pt x="142" y="119"/>
                  </a:lnTo>
                  <a:lnTo>
                    <a:pt x="143" y="119"/>
                  </a:lnTo>
                  <a:lnTo>
                    <a:pt x="143" y="118"/>
                  </a:lnTo>
                  <a:lnTo>
                    <a:pt x="144" y="116"/>
                  </a:lnTo>
                  <a:lnTo>
                    <a:pt x="144" y="115"/>
                  </a:lnTo>
                  <a:lnTo>
                    <a:pt x="146" y="116"/>
                  </a:lnTo>
                  <a:lnTo>
                    <a:pt x="146" y="115"/>
                  </a:lnTo>
                  <a:lnTo>
                    <a:pt x="146" y="114"/>
                  </a:lnTo>
                  <a:lnTo>
                    <a:pt x="144" y="114"/>
                  </a:lnTo>
                  <a:lnTo>
                    <a:pt x="144" y="113"/>
                  </a:lnTo>
                  <a:lnTo>
                    <a:pt x="144" y="112"/>
                  </a:lnTo>
                  <a:lnTo>
                    <a:pt x="143" y="110"/>
                  </a:lnTo>
                  <a:lnTo>
                    <a:pt x="143" y="112"/>
                  </a:lnTo>
                  <a:lnTo>
                    <a:pt x="143" y="110"/>
                  </a:lnTo>
                  <a:lnTo>
                    <a:pt x="142" y="110"/>
                  </a:lnTo>
                  <a:lnTo>
                    <a:pt x="143" y="109"/>
                  </a:lnTo>
                  <a:lnTo>
                    <a:pt x="142" y="109"/>
                  </a:lnTo>
                  <a:lnTo>
                    <a:pt x="142" y="108"/>
                  </a:lnTo>
                  <a:lnTo>
                    <a:pt x="141" y="107"/>
                  </a:lnTo>
                  <a:lnTo>
                    <a:pt x="141" y="108"/>
                  </a:lnTo>
                  <a:lnTo>
                    <a:pt x="141" y="107"/>
                  </a:lnTo>
                  <a:lnTo>
                    <a:pt x="141" y="108"/>
                  </a:lnTo>
                  <a:lnTo>
                    <a:pt x="140" y="108"/>
                  </a:lnTo>
                  <a:lnTo>
                    <a:pt x="138" y="107"/>
                  </a:lnTo>
                  <a:lnTo>
                    <a:pt x="138" y="106"/>
                  </a:lnTo>
                  <a:lnTo>
                    <a:pt x="137" y="106"/>
                  </a:lnTo>
                  <a:lnTo>
                    <a:pt x="136" y="106"/>
                  </a:lnTo>
                  <a:lnTo>
                    <a:pt x="136" y="104"/>
                  </a:lnTo>
                  <a:lnTo>
                    <a:pt x="136" y="103"/>
                  </a:lnTo>
                  <a:lnTo>
                    <a:pt x="136" y="102"/>
                  </a:lnTo>
                  <a:lnTo>
                    <a:pt x="137" y="102"/>
                  </a:lnTo>
                  <a:lnTo>
                    <a:pt x="137" y="103"/>
                  </a:lnTo>
                  <a:lnTo>
                    <a:pt x="138" y="102"/>
                  </a:lnTo>
                  <a:lnTo>
                    <a:pt x="140" y="102"/>
                  </a:lnTo>
                  <a:lnTo>
                    <a:pt x="138" y="101"/>
                  </a:lnTo>
                  <a:lnTo>
                    <a:pt x="137" y="101"/>
                  </a:lnTo>
                  <a:lnTo>
                    <a:pt x="136" y="101"/>
                  </a:lnTo>
                  <a:lnTo>
                    <a:pt x="135" y="101"/>
                  </a:lnTo>
                  <a:lnTo>
                    <a:pt x="135" y="100"/>
                  </a:lnTo>
                  <a:lnTo>
                    <a:pt x="135" y="98"/>
                  </a:lnTo>
                  <a:lnTo>
                    <a:pt x="134" y="98"/>
                  </a:lnTo>
                  <a:lnTo>
                    <a:pt x="132" y="98"/>
                  </a:lnTo>
                  <a:lnTo>
                    <a:pt x="132" y="97"/>
                  </a:lnTo>
                  <a:lnTo>
                    <a:pt x="131" y="97"/>
                  </a:lnTo>
                  <a:lnTo>
                    <a:pt x="132" y="96"/>
                  </a:lnTo>
                  <a:lnTo>
                    <a:pt x="132" y="94"/>
                  </a:lnTo>
                  <a:lnTo>
                    <a:pt x="134" y="92"/>
                  </a:lnTo>
                  <a:lnTo>
                    <a:pt x="132" y="91"/>
                  </a:lnTo>
                  <a:lnTo>
                    <a:pt x="132" y="90"/>
                  </a:lnTo>
                  <a:lnTo>
                    <a:pt x="132" y="89"/>
                  </a:lnTo>
                  <a:lnTo>
                    <a:pt x="132" y="88"/>
                  </a:lnTo>
                  <a:lnTo>
                    <a:pt x="134" y="88"/>
                  </a:lnTo>
                  <a:lnTo>
                    <a:pt x="135" y="88"/>
                  </a:lnTo>
                  <a:lnTo>
                    <a:pt x="135" y="89"/>
                  </a:lnTo>
                  <a:lnTo>
                    <a:pt x="136" y="90"/>
                  </a:lnTo>
                  <a:lnTo>
                    <a:pt x="136" y="89"/>
                  </a:lnTo>
                  <a:lnTo>
                    <a:pt x="137" y="89"/>
                  </a:lnTo>
                  <a:lnTo>
                    <a:pt x="140" y="89"/>
                  </a:lnTo>
                  <a:lnTo>
                    <a:pt x="140" y="88"/>
                  </a:lnTo>
                  <a:lnTo>
                    <a:pt x="141" y="88"/>
                  </a:lnTo>
                  <a:lnTo>
                    <a:pt x="140" y="89"/>
                  </a:lnTo>
                  <a:lnTo>
                    <a:pt x="141" y="89"/>
                  </a:lnTo>
                  <a:lnTo>
                    <a:pt x="141" y="90"/>
                  </a:lnTo>
                  <a:lnTo>
                    <a:pt x="142" y="91"/>
                  </a:lnTo>
                  <a:lnTo>
                    <a:pt x="143" y="92"/>
                  </a:lnTo>
                  <a:lnTo>
                    <a:pt x="143" y="94"/>
                  </a:lnTo>
                  <a:lnTo>
                    <a:pt x="144" y="94"/>
                  </a:lnTo>
                  <a:lnTo>
                    <a:pt x="146" y="94"/>
                  </a:lnTo>
                  <a:lnTo>
                    <a:pt x="147" y="94"/>
                  </a:lnTo>
                  <a:lnTo>
                    <a:pt x="146" y="94"/>
                  </a:lnTo>
                  <a:lnTo>
                    <a:pt x="147" y="92"/>
                  </a:lnTo>
                  <a:lnTo>
                    <a:pt x="148" y="92"/>
                  </a:lnTo>
                  <a:lnTo>
                    <a:pt x="148" y="94"/>
                  </a:lnTo>
                  <a:lnTo>
                    <a:pt x="148" y="95"/>
                  </a:lnTo>
                  <a:lnTo>
                    <a:pt x="149" y="94"/>
                  </a:lnTo>
                  <a:lnTo>
                    <a:pt x="150" y="94"/>
                  </a:lnTo>
                  <a:lnTo>
                    <a:pt x="152" y="94"/>
                  </a:lnTo>
                  <a:lnTo>
                    <a:pt x="152" y="92"/>
                  </a:lnTo>
                  <a:lnTo>
                    <a:pt x="153" y="92"/>
                  </a:lnTo>
                  <a:lnTo>
                    <a:pt x="152" y="92"/>
                  </a:lnTo>
                  <a:lnTo>
                    <a:pt x="150" y="91"/>
                  </a:lnTo>
                  <a:lnTo>
                    <a:pt x="150" y="90"/>
                  </a:lnTo>
                  <a:lnTo>
                    <a:pt x="149" y="90"/>
                  </a:lnTo>
                  <a:lnTo>
                    <a:pt x="149" y="89"/>
                  </a:lnTo>
                  <a:lnTo>
                    <a:pt x="148" y="89"/>
                  </a:lnTo>
                  <a:lnTo>
                    <a:pt x="149" y="89"/>
                  </a:lnTo>
                  <a:lnTo>
                    <a:pt x="149" y="86"/>
                  </a:lnTo>
                  <a:lnTo>
                    <a:pt x="149" y="85"/>
                  </a:lnTo>
                  <a:lnTo>
                    <a:pt x="149" y="84"/>
                  </a:lnTo>
                  <a:lnTo>
                    <a:pt x="150" y="84"/>
                  </a:lnTo>
                  <a:lnTo>
                    <a:pt x="150" y="83"/>
                  </a:lnTo>
                  <a:lnTo>
                    <a:pt x="150" y="82"/>
                  </a:lnTo>
                  <a:lnTo>
                    <a:pt x="150" y="80"/>
                  </a:lnTo>
                  <a:lnTo>
                    <a:pt x="152" y="80"/>
                  </a:lnTo>
                  <a:lnTo>
                    <a:pt x="153" y="80"/>
                  </a:lnTo>
                  <a:lnTo>
                    <a:pt x="154" y="80"/>
                  </a:lnTo>
                  <a:lnTo>
                    <a:pt x="154" y="82"/>
                  </a:lnTo>
                  <a:lnTo>
                    <a:pt x="155" y="83"/>
                  </a:lnTo>
                  <a:lnTo>
                    <a:pt x="155" y="82"/>
                  </a:lnTo>
                  <a:lnTo>
                    <a:pt x="155" y="79"/>
                  </a:lnTo>
                  <a:lnTo>
                    <a:pt x="158" y="79"/>
                  </a:lnTo>
                  <a:lnTo>
                    <a:pt x="158" y="82"/>
                  </a:lnTo>
                  <a:lnTo>
                    <a:pt x="159" y="82"/>
                  </a:lnTo>
                  <a:lnTo>
                    <a:pt x="159" y="83"/>
                  </a:lnTo>
                  <a:lnTo>
                    <a:pt x="160" y="83"/>
                  </a:lnTo>
                  <a:lnTo>
                    <a:pt x="160" y="84"/>
                  </a:lnTo>
                  <a:lnTo>
                    <a:pt x="160" y="85"/>
                  </a:lnTo>
                  <a:lnTo>
                    <a:pt x="160" y="88"/>
                  </a:lnTo>
                  <a:lnTo>
                    <a:pt x="159" y="88"/>
                  </a:lnTo>
                  <a:lnTo>
                    <a:pt x="159" y="89"/>
                  </a:lnTo>
                  <a:lnTo>
                    <a:pt x="159" y="90"/>
                  </a:lnTo>
                  <a:lnTo>
                    <a:pt x="159" y="91"/>
                  </a:lnTo>
                  <a:lnTo>
                    <a:pt x="159" y="92"/>
                  </a:lnTo>
                  <a:lnTo>
                    <a:pt x="160" y="92"/>
                  </a:lnTo>
                  <a:lnTo>
                    <a:pt x="161" y="92"/>
                  </a:lnTo>
                  <a:lnTo>
                    <a:pt x="161" y="91"/>
                  </a:lnTo>
                  <a:lnTo>
                    <a:pt x="163" y="91"/>
                  </a:lnTo>
                  <a:lnTo>
                    <a:pt x="163" y="92"/>
                  </a:lnTo>
                  <a:lnTo>
                    <a:pt x="164" y="92"/>
                  </a:lnTo>
                  <a:lnTo>
                    <a:pt x="164" y="91"/>
                  </a:lnTo>
                  <a:lnTo>
                    <a:pt x="164" y="92"/>
                  </a:lnTo>
                  <a:lnTo>
                    <a:pt x="165" y="92"/>
                  </a:lnTo>
                  <a:lnTo>
                    <a:pt x="166" y="92"/>
                  </a:lnTo>
                  <a:lnTo>
                    <a:pt x="165" y="92"/>
                  </a:lnTo>
                  <a:lnTo>
                    <a:pt x="165" y="91"/>
                  </a:lnTo>
                  <a:lnTo>
                    <a:pt x="164" y="90"/>
                  </a:lnTo>
                  <a:lnTo>
                    <a:pt x="165" y="90"/>
                  </a:lnTo>
                  <a:lnTo>
                    <a:pt x="165" y="89"/>
                  </a:lnTo>
                  <a:lnTo>
                    <a:pt x="164" y="88"/>
                  </a:lnTo>
                  <a:lnTo>
                    <a:pt x="164" y="86"/>
                  </a:lnTo>
                  <a:lnTo>
                    <a:pt x="164" y="85"/>
                  </a:lnTo>
                  <a:lnTo>
                    <a:pt x="164" y="84"/>
                  </a:lnTo>
                  <a:lnTo>
                    <a:pt x="165" y="84"/>
                  </a:lnTo>
                  <a:lnTo>
                    <a:pt x="166" y="83"/>
                  </a:lnTo>
                  <a:lnTo>
                    <a:pt x="166" y="84"/>
                  </a:lnTo>
                  <a:lnTo>
                    <a:pt x="167" y="86"/>
                  </a:lnTo>
                  <a:lnTo>
                    <a:pt x="167" y="85"/>
                  </a:lnTo>
                  <a:lnTo>
                    <a:pt x="169" y="86"/>
                  </a:lnTo>
                  <a:lnTo>
                    <a:pt x="169" y="85"/>
                  </a:lnTo>
                  <a:lnTo>
                    <a:pt x="170" y="85"/>
                  </a:lnTo>
                  <a:lnTo>
                    <a:pt x="170" y="86"/>
                  </a:lnTo>
                  <a:lnTo>
                    <a:pt x="170" y="88"/>
                  </a:lnTo>
                  <a:lnTo>
                    <a:pt x="171" y="89"/>
                  </a:lnTo>
                  <a:lnTo>
                    <a:pt x="172" y="89"/>
                  </a:lnTo>
                  <a:lnTo>
                    <a:pt x="173" y="89"/>
                  </a:lnTo>
                  <a:lnTo>
                    <a:pt x="175" y="89"/>
                  </a:lnTo>
                  <a:lnTo>
                    <a:pt x="175" y="90"/>
                  </a:lnTo>
                  <a:lnTo>
                    <a:pt x="175" y="91"/>
                  </a:lnTo>
                  <a:lnTo>
                    <a:pt x="175" y="92"/>
                  </a:lnTo>
                  <a:lnTo>
                    <a:pt x="173" y="92"/>
                  </a:lnTo>
                  <a:lnTo>
                    <a:pt x="173" y="94"/>
                  </a:lnTo>
                  <a:lnTo>
                    <a:pt x="173" y="95"/>
                  </a:lnTo>
                  <a:lnTo>
                    <a:pt x="173" y="97"/>
                  </a:lnTo>
                  <a:lnTo>
                    <a:pt x="175" y="97"/>
                  </a:lnTo>
                  <a:lnTo>
                    <a:pt x="175" y="98"/>
                  </a:lnTo>
                  <a:lnTo>
                    <a:pt x="175" y="100"/>
                  </a:lnTo>
                  <a:lnTo>
                    <a:pt x="176" y="100"/>
                  </a:lnTo>
                  <a:lnTo>
                    <a:pt x="177" y="100"/>
                  </a:lnTo>
                  <a:lnTo>
                    <a:pt x="178" y="100"/>
                  </a:lnTo>
                  <a:lnTo>
                    <a:pt x="178" y="98"/>
                  </a:lnTo>
                  <a:lnTo>
                    <a:pt x="177" y="98"/>
                  </a:lnTo>
                  <a:lnTo>
                    <a:pt x="177" y="97"/>
                  </a:lnTo>
                  <a:lnTo>
                    <a:pt x="177" y="96"/>
                  </a:lnTo>
                  <a:lnTo>
                    <a:pt x="178" y="96"/>
                  </a:lnTo>
                  <a:lnTo>
                    <a:pt x="178" y="95"/>
                  </a:lnTo>
                  <a:lnTo>
                    <a:pt x="178" y="94"/>
                  </a:lnTo>
                  <a:lnTo>
                    <a:pt x="177" y="92"/>
                  </a:lnTo>
                  <a:lnTo>
                    <a:pt x="177" y="91"/>
                  </a:lnTo>
                  <a:lnTo>
                    <a:pt x="176" y="91"/>
                  </a:lnTo>
                  <a:lnTo>
                    <a:pt x="177" y="90"/>
                  </a:lnTo>
                  <a:lnTo>
                    <a:pt x="177" y="89"/>
                  </a:lnTo>
                  <a:lnTo>
                    <a:pt x="178" y="89"/>
                  </a:lnTo>
                  <a:lnTo>
                    <a:pt x="178" y="90"/>
                  </a:lnTo>
                  <a:lnTo>
                    <a:pt x="179" y="90"/>
                  </a:lnTo>
                  <a:lnTo>
                    <a:pt x="181" y="90"/>
                  </a:lnTo>
                  <a:lnTo>
                    <a:pt x="181" y="89"/>
                  </a:lnTo>
                  <a:lnTo>
                    <a:pt x="182" y="89"/>
                  </a:lnTo>
                  <a:lnTo>
                    <a:pt x="182" y="88"/>
                  </a:lnTo>
                  <a:lnTo>
                    <a:pt x="182" y="86"/>
                  </a:lnTo>
                  <a:lnTo>
                    <a:pt x="182" y="85"/>
                  </a:lnTo>
                  <a:lnTo>
                    <a:pt x="183" y="85"/>
                  </a:lnTo>
                  <a:lnTo>
                    <a:pt x="183" y="86"/>
                  </a:lnTo>
                  <a:lnTo>
                    <a:pt x="184" y="86"/>
                  </a:lnTo>
                  <a:lnTo>
                    <a:pt x="185" y="86"/>
                  </a:lnTo>
                  <a:lnTo>
                    <a:pt x="187" y="86"/>
                  </a:lnTo>
                  <a:lnTo>
                    <a:pt x="187" y="85"/>
                  </a:lnTo>
                  <a:lnTo>
                    <a:pt x="188" y="85"/>
                  </a:lnTo>
                  <a:lnTo>
                    <a:pt x="189" y="85"/>
                  </a:lnTo>
                  <a:lnTo>
                    <a:pt x="189" y="86"/>
                  </a:lnTo>
                  <a:lnTo>
                    <a:pt x="189" y="89"/>
                  </a:lnTo>
                  <a:lnTo>
                    <a:pt x="189" y="90"/>
                  </a:lnTo>
                  <a:lnTo>
                    <a:pt x="190" y="89"/>
                  </a:lnTo>
                  <a:lnTo>
                    <a:pt x="191" y="88"/>
                  </a:lnTo>
                  <a:lnTo>
                    <a:pt x="191" y="89"/>
                  </a:lnTo>
                  <a:lnTo>
                    <a:pt x="191" y="90"/>
                  </a:lnTo>
                  <a:lnTo>
                    <a:pt x="193" y="90"/>
                  </a:lnTo>
                  <a:lnTo>
                    <a:pt x="193" y="91"/>
                  </a:lnTo>
                  <a:lnTo>
                    <a:pt x="194" y="91"/>
                  </a:lnTo>
                  <a:lnTo>
                    <a:pt x="194" y="92"/>
                  </a:lnTo>
                  <a:lnTo>
                    <a:pt x="195" y="92"/>
                  </a:lnTo>
                  <a:lnTo>
                    <a:pt x="195" y="94"/>
                  </a:lnTo>
                  <a:lnTo>
                    <a:pt x="196" y="94"/>
                  </a:lnTo>
                  <a:lnTo>
                    <a:pt x="196" y="95"/>
                  </a:lnTo>
                  <a:lnTo>
                    <a:pt x="195" y="96"/>
                  </a:lnTo>
                  <a:lnTo>
                    <a:pt x="194" y="97"/>
                  </a:lnTo>
                  <a:lnTo>
                    <a:pt x="194" y="98"/>
                  </a:lnTo>
                  <a:lnTo>
                    <a:pt x="194" y="100"/>
                  </a:lnTo>
                  <a:lnTo>
                    <a:pt x="194" y="101"/>
                  </a:lnTo>
                  <a:lnTo>
                    <a:pt x="194" y="102"/>
                  </a:lnTo>
                  <a:lnTo>
                    <a:pt x="194" y="103"/>
                  </a:lnTo>
                  <a:lnTo>
                    <a:pt x="195" y="103"/>
                  </a:lnTo>
                  <a:lnTo>
                    <a:pt x="196" y="104"/>
                  </a:lnTo>
                  <a:lnTo>
                    <a:pt x="196" y="103"/>
                  </a:lnTo>
                  <a:lnTo>
                    <a:pt x="195" y="103"/>
                  </a:lnTo>
                  <a:lnTo>
                    <a:pt x="195" y="102"/>
                  </a:lnTo>
                  <a:lnTo>
                    <a:pt x="196" y="101"/>
                  </a:lnTo>
                  <a:lnTo>
                    <a:pt x="197" y="101"/>
                  </a:lnTo>
                  <a:lnTo>
                    <a:pt x="199" y="100"/>
                  </a:lnTo>
                  <a:lnTo>
                    <a:pt x="200" y="100"/>
                  </a:lnTo>
                  <a:lnTo>
                    <a:pt x="201" y="100"/>
                  </a:lnTo>
                  <a:lnTo>
                    <a:pt x="200" y="98"/>
                  </a:lnTo>
                  <a:lnTo>
                    <a:pt x="201" y="98"/>
                  </a:lnTo>
                  <a:lnTo>
                    <a:pt x="201" y="97"/>
                  </a:lnTo>
                  <a:lnTo>
                    <a:pt x="201" y="96"/>
                  </a:lnTo>
                  <a:lnTo>
                    <a:pt x="202" y="96"/>
                  </a:lnTo>
                  <a:lnTo>
                    <a:pt x="203" y="96"/>
                  </a:lnTo>
                  <a:lnTo>
                    <a:pt x="205" y="96"/>
                  </a:lnTo>
                  <a:lnTo>
                    <a:pt x="205" y="97"/>
                  </a:lnTo>
                  <a:lnTo>
                    <a:pt x="206" y="98"/>
                  </a:lnTo>
                  <a:lnTo>
                    <a:pt x="206" y="100"/>
                  </a:lnTo>
                  <a:lnTo>
                    <a:pt x="205" y="100"/>
                  </a:lnTo>
                  <a:lnTo>
                    <a:pt x="206" y="100"/>
                  </a:lnTo>
                  <a:lnTo>
                    <a:pt x="206" y="98"/>
                  </a:lnTo>
                  <a:lnTo>
                    <a:pt x="207" y="98"/>
                  </a:lnTo>
                  <a:lnTo>
                    <a:pt x="207" y="97"/>
                  </a:lnTo>
                  <a:lnTo>
                    <a:pt x="208" y="97"/>
                  </a:lnTo>
                  <a:lnTo>
                    <a:pt x="208" y="98"/>
                  </a:lnTo>
                  <a:lnTo>
                    <a:pt x="208" y="100"/>
                  </a:lnTo>
                  <a:lnTo>
                    <a:pt x="209" y="100"/>
                  </a:lnTo>
                  <a:lnTo>
                    <a:pt x="209" y="101"/>
                  </a:lnTo>
                  <a:lnTo>
                    <a:pt x="208" y="101"/>
                  </a:lnTo>
                  <a:lnTo>
                    <a:pt x="208" y="102"/>
                  </a:lnTo>
                  <a:lnTo>
                    <a:pt x="207" y="102"/>
                  </a:lnTo>
                  <a:lnTo>
                    <a:pt x="208" y="102"/>
                  </a:lnTo>
                  <a:lnTo>
                    <a:pt x="208" y="103"/>
                  </a:lnTo>
                  <a:lnTo>
                    <a:pt x="208" y="104"/>
                  </a:lnTo>
                  <a:lnTo>
                    <a:pt x="208" y="106"/>
                  </a:lnTo>
                  <a:lnTo>
                    <a:pt x="208" y="107"/>
                  </a:lnTo>
                  <a:lnTo>
                    <a:pt x="208" y="108"/>
                  </a:lnTo>
                  <a:lnTo>
                    <a:pt x="209" y="107"/>
                  </a:lnTo>
                  <a:lnTo>
                    <a:pt x="208" y="106"/>
                  </a:lnTo>
                  <a:lnTo>
                    <a:pt x="208" y="104"/>
                  </a:lnTo>
                  <a:lnTo>
                    <a:pt x="209" y="104"/>
                  </a:lnTo>
                  <a:lnTo>
                    <a:pt x="211" y="104"/>
                  </a:lnTo>
                  <a:lnTo>
                    <a:pt x="211" y="107"/>
                  </a:lnTo>
                  <a:lnTo>
                    <a:pt x="212" y="108"/>
                  </a:lnTo>
                  <a:lnTo>
                    <a:pt x="213" y="108"/>
                  </a:lnTo>
                  <a:lnTo>
                    <a:pt x="213" y="109"/>
                  </a:lnTo>
                  <a:lnTo>
                    <a:pt x="213" y="108"/>
                  </a:lnTo>
                  <a:lnTo>
                    <a:pt x="213" y="107"/>
                  </a:lnTo>
                  <a:lnTo>
                    <a:pt x="213" y="106"/>
                  </a:lnTo>
                  <a:lnTo>
                    <a:pt x="213" y="104"/>
                  </a:lnTo>
                  <a:lnTo>
                    <a:pt x="213" y="103"/>
                  </a:lnTo>
                  <a:lnTo>
                    <a:pt x="214" y="103"/>
                  </a:lnTo>
                  <a:lnTo>
                    <a:pt x="214" y="104"/>
                  </a:lnTo>
                  <a:lnTo>
                    <a:pt x="215" y="104"/>
                  </a:lnTo>
                  <a:lnTo>
                    <a:pt x="215" y="106"/>
                  </a:lnTo>
                  <a:lnTo>
                    <a:pt x="215" y="107"/>
                  </a:lnTo>
                  <a:lnTo>
                    <a:pt x="217" y="108"/>
                  </a:lnTo>
                  <a:lnTo>
                    <a:pt x="217" y="107"/>
                  </a:lnTo>
                  <a:lnTo>
                    <a:pt x="217" y="106"/>
                  </a:lnTo>
                  <a:lnTo>
                    <a:pt x="218" y="106"/>
                  </a:lnTo>
                  <a:lnTo>
                    <a:pt x="218" y="107"/>
                  </a:lnTo>
                  <a:lnTo>
                    <a:pt x="219" y="107"/>
                  </a:lnTo>
                  <a:lnTo>
                    <a:pt x="219" y="108"/>
                  </a:lnTo>
                  <a:lnTo>
                    <a:pt x="219" y="109"/>
                  </a:lnTo>
                  <a:lnTo>
                    <a:pt x="218" y="109"/>
                  </a:lnTo>
                  <a:lnTo>
                    <a:pt x="217" y="110"/>
                  </a:lnTo>
                  <a:lnTo>
                    <a:pt x="215" y="110"/>
                  </a:lnTo>
                  <a:lnTo>
                    <a:pt x="215" y="109"/>
                  </a:lnTo>
                  <a:lnTo>
                    <a:pt x="214" y="109"/>
                  </a:lnTo>
                  <a:lnTo>
                    <a:pt x="214" y="110"/>
                  </a:lnTo>
                  <a:lnTo>
                    <a:pt x="214" y="112"/>
                  </a:lnTo>
                  <a:lnTo>
                    <a:pt x="214" y="110"/>
                  </a:lnTo>
                  <a:lnTo>
                    <a:pt x="215" y="110"/>
                  </a:lnTo>
                  <a:lnTo>
                    <a:pt x="217" y="112"/>
                  </a:lnTo>
                  <a:lnTo>
                    <a:pt x="218" y="112"/>
                  </a:lnTo>
                  <a:lnTo>
                    <a:pt x="219" y="112"/>
                  </a:lnTo>
                  <a:lnTo>
                    <a:pt x="220" y="112"/>
                  </a:lnTo>
                  <a:lnTo>
                    <a:pt x="220" y="110"/>
                  </a:lnTo>
                  <a:lnTo>
                    <a:pt x="220" y="109"/>
                  </a:lnTo>
                  <a:lnTo>
                    <a:pt x="222" y="109"/>
                  </a:lnTo>
                  <a:lnTo>
                    <a:pt x="222" y="108"/>
                  </a:lnTo>
                  <a:lnTo>
                    <a:pt x="220" y="108"/>
                  </a:lnTo>
                  <a:lnTo>
                    <a:pt x="220" y="107"/>
                  </a:lnTo>
                  <a:lnTo>
                    <a:pt x="220" y="106"/>
                  </a:lnTo>
                  <a:lnTo>
                    <a:pt x="219" y="106"/>
                  </a:lnTo>
                  <a:lnTo>
                    <a:pt x="219" y="104"/>
                  </a:lnTo>
                  <a:lnTo>
                    <a:pt x="219" y="103"/>
                  </a:lnTo>
                  <a:lnTo>
                    <a:pt x="219" y="102"/>
                  </a:lnTo>
                  <a:lnTo>
                    <a:pt x="218" y="102"/>
                  </a:lnTo>
                  <a:lnTo>
                    <a:pt x="218" y="101"/>
                  </a:lnTo>
                  <a:lnTo>
                    <a:pt x="219" y="101"/>
                  </a:lnTo>
                  <a:lnTo>
                    <a:pt x="220" y="101"/>
                  </a:lnTo>
                  <a:lnTo>
                    <a:pt x="220" y="102"/>
                  </a:lnTo>
                  <a:lnTo>
                    <a:pt x="222" y="101"/>
                  </a:lnTo>
                  <a:lnTo>
                    <a:pt x="223" y="101"/>
                  </a:lnTo>
                  <a:lnTo>
                    <a:pt x="224" y="101"/>
                  </a:lnTo>
                  <a:lnTo>
                    <a:pt x="224" y="102"/>
                  </a:lnTo>
                  <a:lnTo>
                    <a:pt x="224" y="101"/>
                  </a:lnTo>
                  <a:lnTo>
                    <a:pt x="225" y="101"/>
                  </a:lnTo>
                  <a:lnTo>
                    <a:pt x="224" y="101"/>
                  </a:lnTo>
                  <a:lnTo>
                    <a:pt x="224" y="100"/>
                  </a:lnTo>
                  <a:lnTo>
                    <a:pt x="225" y="100"/>
                  </a:lnTo>
                  <a:lnTo>
                    <a:pt x="225" y="101"/>
                  </a:lnTo>
                  <a:lnTo>
                    <a:pt x="226" y="101"/>
                  </a:lnTo>
                  <a:lnTo>
                    <a:pt x="226" y="102"/>
                  </a:lnTo>
                  <a:lnTo>
                    <a:pt x="225" y="102"/>
                  </a:lnTo>
                  <a:lnTo>
                    <a:pt x="225" y="103"/>
                  </a:lnTo>
                  <a:lnTo>
                    <a:pt x="225" y="104"/>
                  </a:lnTo>
                  <a:lnTo>
                    <a:pt x="224" y="104"/>
                  </a:lnTo>
                  <a:lnTo>
                    <a:pt x="224" y="106"/>
                  </a:lnTo>
                  <a:lnTo>
                    <a:pt x="224" y="107"/>
                  </a:lnTo>
                  <a:lnTo>
                    <a:pt x="223" y="107"/>
                  </a:lnTo>
                  <a:lnTo>
                    <a:pt x="222" y="107"/>
                  </a:lnTo>
                  <a:lnTo>
                    <a:pt x="222" y="108"/>
                  </a:lnTo>
                  <a:lnTo>
                    <a:pt x="223" y="108"/>
                  </a:lnTo>
                  <a:lnTo>
                    <a:pt x="223" y="110"/>
                  </a:lnTo>
                  <a:lnTo>
                    <a:pt x="222" y="110"/>
                  </a:lnTo>
                  <a:lnTo>
                    <a:pt x="223" y="112"/>
                  </a:lnTo>
                  <a:lnTo>
                    <a:pt x="223" y="113"/>
                  </a:lnTo>
                  <a:lnTo>
                    <a:pt x="224" y="113"/>
                  </a:lnTo>
                  <a:lnTo>
                    <a:pt x="224" y="112"/>
                  </a:lnTo>
                  <a:lnTo>
                    <a:pt x="225" y="112"/>
                  </a:lnTo>
                  <a:lnTo>
                    <a:pt x="228" y="112"/>
                  </a:lnTo>
                  <a:lnTo>
                    <a:pt x="229" y="110"/>
                  </a:lnTo>
                  <a:lnTo>
                    <a:pt x="229" y="112"/>
                  </a:lnTo>
                  <a:lnTo>
                    <a:pt x="230" y="112"/>
                  </a:lnTo>
                  <a:lnTo>
                    <a:pt x="231" y="112"/>
                  </a:lnTo>
                  <a:lnTo>
                    <a:pt x="231" y="110"/>
                  </a:lnTo>
                  <a:lnTo>
                    <a:pt x="232" y="110"/>
                  </a:lnTo>
                  <a:lnTo>
                    <a:pt x="232" y="112"/>
                  </a:lnTo>
                  <a:lnTo>
                    <a:pt x="234" y="112"/>
                  </a:lnTo>
                  <a:lnTo>
                    <a:pt x="235" y="113"/>
                  </a:lnTo>
                  <a:lnTo>
                    <a:pt x="235" y="112"/>
                  </a:lnTo>
                  <a:lnTo>
                    <a:pt x="235" y="113"/>
                  </a:lnTo>
                  <a:lnTo>
                    <a:pt x="236" y="113"/>
                  </a:lnTo>
                  <a:lnTo>
                    <a:pt x="237" y="112"/>
                  </a:lnTo>
                  <a:lnTo>
                    <a:pt x="238" y="112"/>
                  </a:lnTo>
                  <a:lnTo>
                    <a:pt x="238" y="113"/>
                  </a:lnTo>
                  <a:lnTo>
                    <a:pt x="240" y="113"/>
                  </a:lnTo>
                  <a:lnTo>
                    <a:pt x="238" y="112"/>
                  </a:lnTo>
                  <a:lnTo>
                    <a:pt x="240" y="110"/>
                  </a:lnTo>
                  <a:lnTo>
                    <a:pt x="238" y="110"/>
                  </a:lnTo>
                  <a:lnTo>
                    <a:pt x="240" y="110"/>
                  </a:lnTo>
                  <a:lnTo>
                    <a:pt x="240" y="112"/>
                  </a:lnTo>
                  <a:lnTo>
                    <a:pt x="240" y="113"/>
                  </a:lnTo>
                  <a:lnTo>
                    <a:pt x="240" y="114"/>
                  </a:lnTo>
                  <a:lnTo>
                    <a:pt x="238" y="115"/>
                  </a:lnTo>
                  <a:lnTo>
                    <a:pt x="238" y="116"/>
                  </a:lnTo>
                  <a:lnTo>
                    <a:pt x="237" y="116"/>
                  </a:lnTo>
                  <a:lnTo>
                    <a:pt x="236" y="116"/>
                  </a:lnTo>
                  <a:lnTo>
                    <a:pt x="237" y="116"/>
                  </a:lnTo>
                  <a:lnTo>
                    <a:pt x="237" y="119"/>
                  </a:lnTo>
                  <a:lnTo>
                    <a:pt x="237" y="120"/>
                  </a:lnTo>
                  <a:lnTo>
                    <a:pt x="236" y="121"/>
                  </a:lnTo>
                  <a:lnTo>
                    <a:pt x="236" y="120"/>
                  </a:lnTo>
                  <a:lnTo>
                    <a:pt x="236" y="121"/>
                  </a:lnTo>
                  <a:lnTo>
                    <a:pt x="236" y="122"/>
                  </a:lnTo>
                  <a:lnTo>
                    <a:pt x="237" y="122"/>
                  </a:lnTo>
                  <a:lnTo>
                    <a:pt x="237" y="121"/>
                  </a:lnTo>
                  <a:lnTo>
                    <a:pt x="237" y="120"/>
                  </a:lnTo>
                  <a:lnTo>
                    <a:pt x="238" y="119"/>
                  </a:lnTo>
                  <a:lnTo>
                    <a:pt x="238" y="120"/>
                  </a:lnTo>
                  <a:lnTo>
                    <a:pt x="240" y="120"/>
                  </a:lnTo>
                  <a:lnTo>
                    <a:pt x="240" y="119"/>
                  </a:lnTo>
                  <a:lnTo>
                    <a:pt x="241" y="119"/>
                  </a:lnTo>
                  <a:lnTo>
                    <a:pt x="241" y="120"/>
                  </a:lnTo>
                  <a:lnTo>
                    <a:pt x="240" y="120"/>
                  </a:lnTo>
                  <a:lnTo>
                    <a:pt x="240" y="121"/>
                  </a:lnTo>
                  <a:lnTo>
                    <a:pt x="240" y="122"/>
                  </a:lnTo>
                  <a:lnTo>
                    <a:pt x="241" y="122"/>
                  </a:lnTo>
                  <a:lnTo>
                    <a:pt x="242" y="122"/>
                  </a:lnTo>
                  <a:lnTo>
                    <a:pt x="242" y="121"/>
                  </a:lnTo>
                  <a:lnTo>
                    <a:pt x="243" y="121"/>
                  </a:lnTo>
                  <a:lnTo>
                    <a:pt x="243" y="120"/>
                  </a:lnTo>
                  <a:lnTo>
                    <a:pt x="244" y="120"/>
                  </a:lnTo>
                  <a:lnTo>
                    <a:pt x="246" y="120"/>
                  </a:lnTo>
                  <a:lnTo>
                    <a:pt x="246" y="121"/>
                  </a:lnTo>
                  <a:lnTo>
                    <a:pt x="247" y="121"/>
                  </a:lnTo>
                  <a:lnTo>
                    <a:pt x="248" y="121"/>
                  </a:lnTo>
                  <a:lnTo>
                    <a:pt x="248" y="122"/>
                  </a:lnTo>
                  <a:lnTo>
                    <a:pt x="249" y="122"/>
                  </a:lnTo>
                  <a:lnTo>
                    <a:pt x="250" y="122"/>
                  </a:lnTo>
                  <a:lnTo>
                    <a:pt x="250" y="121"/>
                  </a:lnTo>
                  <a:lnTo>
                    <a:pt x="252" y="121"/>
                  </a:lnTo>
                  <a:lnTo>
                    <a:pt x="253" y="122"/>
                  </a:lnTo>
                  <a:lnTo>
                    <a:pt x="253" y="124"/>
                  </a:lnTo>
                  <a:lnTo>
                    <a:pt x="254" y="124"/>
                  </a:lnTo>
                  <a:lnTo>
                    <a:pt x="254" y="125"/>
                  </a:lnTo>
                  <a:lnTo>
                    <a:pt x="255" y="125"/>
                  </a:lnTo>
                  <a:lnTo>
                    <a:pt x="256" y="125"/>
                  </a:lnTo>
                  <a:lnTo>
                    <a:pt x="256" y="124"/>
                  </a:lnTo>
                  <a:lnTo>
                    <a:pt x="258" y="124"/>
                  </a:lnTo>
                  <a:lnTo>
                    <a:pt x="258" y="125"/>
                  </a:lnTo>
                  <a:lnTo>
                    <a:pt x="259" y="125"/>
                  </a:lnTo>
                  <a:lnTo>
                    <a:pt x="259" y="126"/>
                  </a:lnTo>
                  <a:lnTo>
                    <a:pt x="259" y="127"/>
                  </a:lnTo>
                  <a:lnTo>
                    <a:pt x="260" y="127"/>
                  </a:lnTo>
                  <a:lnTo>
                    <a:pt x="260" y="126"/>
                  </a:lnTo>
                  <a:lnTo>
                    <a:pt x="261" y="126"/>
                  </a:lnTo>
                  <a:lnTo>
                    <a:pt x="262" y="126"/>
                  </a:lnTo>
                  <a:lnTo>
                    <a:pt x="262" y="127"/>
                  </a:lnTo>
                  <a:lnTo>
                    <a:pt x="261" y="127"/>
                  </a:lnTo>
                  <a:lnTo>
                    <a:pt x="260" y="127"/>
                  </a:lnTo>
                  <a:lnTo>
                    <a:pt x="260" y="128"/>
                  </a:lnTo>
                  <a:lnTo>
                    <a:pt x="260" y="127"/>
                  </a:lnTo>
                  <a:lnTo>
                    <a:pt x="260" y="128"/>
                  </a:lnTo>
                  <a:lnTo>
                    <a:pt x="261" y="128"/>
                  </a:lnTo>
                  <a:lnTo>
                    <a:pt x="260" y="128"/>
                  </a:lnTo>
                  <a:lnTo>
                    <a:pt x="260" y="130"/>
                  </a:lnTo>
                  <a:lnTo>
                    <a:pt x="261" y="130"/>
                  </a:lnTo>
                  <a:lnTo>
                    <a:pt x="262" y="130"/>
                  </a:lnTo>
                  <a:lnTo>
                    <a:pt x="262" y="128"/>
                  </a:lnTo>
                  <a:lnTo>
                    <a:pt x="262" y="130"/>
                  </a:lnTo>
                  <a:lnTo>
                    <a:pt x="264" y="128"/>
                  </a:lnTo>
                  <a:lnTo>
                    <a:pt x="264" y="127"/>
                  </a:lnTo>
                  <a:lnTo>
                    <a:pt x="264" y="126"/>
                  </a:lnTo>
                  <a:lnTo>
                    <a:pt x="264" y="127"/>
                  </a:lnTo>
                  <a:lnTo>
                    <a:pt x="265" y="127"/>
                  </a:lnTo>
                  <a:lnTo>
                    <a:pt x="265" y="128"/>
                  </a:lnTo>
                  <a:lnTo>
                    <a:pt x="264" y="128"/>
                  </a:lnTo>
                  <a:lnTo>
                    <a:pt x="265" y="128"/>
                  </a:lnTo>
                  <a:lnTo>
                    <a:pt x="265" y="130"/>
                  </a:lnTo>
                  <a:lnTo>
                    <a:pt x="265" y="131"/>
                  </a:lnTo>
                  <a:lnTo>
                    <a:pt x="265" y="130"/>
                  </a:lnTo>
                  <a:lnTo>
                    <a:pt x="267" y="130"/>
                  </a:lnTo>
                  <a:lnTo>
                    <a:pt x="268" y="130"/>
                  </a:lnTo>
                  <a:lnTo>
                    <a:pt x="270" y="130"/>
                  </a:lnTo>
                  <a:lnTo>
                    <a:pt x="271" y="130"/>
                  </a:lnTo>
                  <a:lnTo>
                    <a:pt x="271" y="131"/>
                  </a:lnTo>
                  <a:lnTo>
                    <a:pt x="272" y="131"/>
                  </a:lnTo>
                  <a:lnTo>
                    <a:pt x="272" y="132"/>
                  </a:lnTo>
                  <a:lnTo>
                    <a:pt x="272" y="131"/>
                  </a:lnTo>
                  <a:lnTo>
                    <a:pt x="273" y="131"/>
                  </a:lnTo>
                  <a:lnTo>
                    <a:pt x="273" y="132"/>
                  </a:lnTo>
                  <a:lnTo>
                    <a:pt x="274" y="132"/>
                  </a:lnTo>
                  <a:lnTo>
                    <a:pt x="273" y="133"/>
                  </a:lnTo>
                  <a:lnTo>
                    <a:pt x="274" y="133"/>
                  </a:lnTo>
                  <a:lnTo>
                    <a:pt x="274" y="134"/>
                  </a:lnTo>
                  <a:lnTo>
                    <a:pt x="273" y="134"/>
                  </a:lnTo>
                  <a:lnTo>
                    <a:pt x="274" y="134"/>
                  </a:lnTo>
                  <a:lnTo>
                    <a:pt x="274" y="136"/>
                  </a:lnTo>
                  <a:lnTo>
                    <a:pt x="274" y="137"/>
                  </a:lnTo>
                  <a:lnTo>
                    <a:pt x="273" y="138"/>
                  </a:lnTo>
                  <a:lnTo>
                    <a:pt x="274" y="138"/>
                  </a:lnTo>
                  <a:lnTo>
                    <a:pt x="273" y="138"/>
                  </a:lnTo>
                  <a:lnTo>
                    <a:pt x="273" y="139"/>
                  </a:lnTo>
                  <a:lnTo>
                    <a:pt x="272" y="139"/>
                  </a:lnTo>
                  <a:lnTo>
                    <a:pt x="272" y="140"/>
                  </a:lnTo>
                  <a:lnTo>
                    <a:pt x="271" y="140"/>
                  </a:lnTo>
                  <a:lnTo>
                    <a:pt x="270" y="140"/>
                  </a:lnTo>
                  <a:lnTo>
                    <a:pt x="268" y="140"/>
                  </a:lnTo>
                  <a:lnTo>
                    <a:pt x="268" y="139"/>
                  </a:lnTo>
                  <a:lnTo>
                    <a:pt x="268" y="138"/>
                  </a:lnTo>
                  <a:lnTo>
                    <a:pt x="268" y="139"/>
                  </a:lnTo>
                  <a:lnTo>
                    <a:pt x="267" y="140"/>
                  </a:lnTo>
                  <a:lnTo>
                    <a:pt x="267" y="139"/>
                  </a:lnTo>
                  <a:lnTo>
                    <a:pt x="267" y="138"/>
                  </a:lnTo>
                  <a:lnTo>
                    <a:pt x="266" y="138"/>
                  </a:lnTo>
                  <a:lnTo>
                    <a:pt x="265" y="137"/>
                  </a:lnTo>
                  <a:lnTo>
                    <a:pt x="264" y="137"/>
                  </a:lnTo>
                  <a:lnTo>
                    <a:pt x="265" y="138"/>
                  </a:lnTo>
                  <a:lnTo>
                    <a:pt x="265" y="140"/>
                  </a:lnTo>
                  <a:lnTo>
                    <a:pt x="265" y="139"/>
                  </a:lnTo>
                  <a:lnTo>
                    <a:pt x="266" y="139"/>
                  </a:lnTo>
                  <a:lnTo>
                    <a:pt x="266" y="138"/>
                  </a:lnTo>
                  <a:lnTo>
                    <a:pt x="266" y="139"/>
                  </a:lnTo>
                  <a:lnTo>
                    <a:pt x="266" y="140"/>
                  </a:lnTo>
                  <a:lnTo>
                    <a:pt x="265" y="140"/>
                  </a:lnTo>
                  <a:lnTo>
                    <a:pt x="266" y="140"/>
                  </a:lnTo>
                  <a:lnTo>
                    <a:pt x="268" y="140"/>
                  </a:lnTo>
                  <a:lnTo>
                    <a:pt x="270" y="140"/>
                  </a:lnTo>
                  <a:lnTo>
                    <a:pt x="270" y="142"/>
                  </a:lnTo>
                  <a:lnTo>
                    <a:pt x="271" y="143"/>
                  </a:lnTo>
                  <a:lnTo>
                    <a:pt x="271" y="144"/>
                  </a:lnTo>
                  <a:lnTo>
                    <a:pt x="270" y="145"/>
                  </a:lnTo>
                  <a:lnTo>
                    <a:pt x="270" y="146"/>
                  </a:lnTo>
                  <a:lnTo>
                    <a:pt x="271" y="146"/>
                  </a:lnTo>
                  <a:lnTo>
                    <a:pt x="271" y="148"/>
                  </a:lnTo>
                  <a:lnTo>
                    <a:pt x="270" y="148"/>
                  </a:lnTo>
                  <a:lnTo>
                    <a:pt x="271" y="148"/>
                  </a:lnTo>
                  <a:lnTo>
                    <a:pt x="271" y="146"/>
                  </a:lnTo>
                  <a:lnTo>
                    <a:pt x="272" y="146"/>
                  </a:lnTo>
                  <a:lnTo>
                    <a:pt x="272" y="145"/>
                  </a:lnTo>
                  <a:lnTo>
                    <a:pt x="273" y="145"/>
                  </a:lnTo>
                  <a:lnTo>
                    <a:pt x="272" y="144"/>
                  </a:lnTo>
                  <a:lnTo>
                    <a:pt x="271" y="144"/>
                  </a:lnTo>
                  <a:lnTo>
                    <a:pt x="271" y="143"/>
                  </a:lnTo>
                  <a:lnTo>
                    <a:pt x="271" y="142"/>
                  </a:lnTo>
                  <a:lnTo>
                    <a:pt x="272" y="142"/>
                  </a:lnTo>
                  <a:lnTo>
                    <a:pt x="273" y="143"/>
                  </a:lnTo>
                  <a:lnTo>
                    <a:pt x="273" y="142"/>
                  </a:lnTo>
                  <a:lnTo>
                    <a:pt x="274" y="142"/>
                  </a:lnTo>
                  <a:lnTo>
                    <a:pt x="276" y="142"/>
                  </a:lnTo>
                  <a:lnTo>
                    <a:pt x="277" y="143"/>
                  </a:lnTo>
                  <a:lnTo>
                    <a:pt x="278" y="143"/>
                  </a:lnTo>
                  <a:lnTo>
                    <a:pt x="278" y="144"/>
                  </a:lnTo>
                  <a:lnTo>
                    <a:pt x="279" y="144"/>
                  </a:lnTo>
                  <a:lnTo>
                    <a:pt x="279" y="145"/>
                  </a:lnTo>
                  <a:lnTo>
                    <a:pt x="279" y="146"/>
                  </a:lnTo>
                  <a:lnTo>
                    <a:pt x="281" y="148"/>
                  </a:lnTo>
                  <a:lnTo>
                    <a:pt x="282" y="148"/>
                  </a:lnTo>
                  <a:lnTo>
                    <a:pt x="282" y="149"/>
                  </a:lnTo>
                  <a:lnTo>
                    <a:pt x="281" y="149"/>
                  </a:lnTo>
                  <a:lnTo>
                    <a:pt x="282" y="149"/>
                  </a:lnTo>
                  <a:lnTo>
                    <a:pt x="281" y="149"/>
                  </a:lnTo>
                  <a:lnTo>
                    <a:pt x="279" y="150"/>
                  </a:lnTo>
                  <a:lnTo>
                    <a:pt x="279" y="151"/>
                  </a:lnTo>
                  <a:lnTo>
                    <a:pt x="281" y="151"/>
                  </a:lnTo>
                  <a:lnTo>
                    <a:pt x="282" y="151"/>
                  </a:lnTo>
                  <a:lnTo>
                    <a:pt x="283" y="152"/>
                  </a:lnTo>
                  <a:lnTo>
                    <a:pt x="283" y="151"/>
                  </a:lnTo>
                  <a:lnTo>
                    <a:pt x="283" y="152"/>
                  </a:lnTo>
                  <a:lnTo>
                    <a:pt x="284" y="152"/>
                  </a:lnTo>
                  <a:lnTo>
                    <a:pt x="284" y="154"/>
                  </a:lnTo>
                  <a:lnTo>
                    <a:pt x="284" y="152"/>
                  </a:lnTo>
                  <a:lnTo>
                    <a:pt x="284" y="151"/>
                  </a:lnTo>
                  <a:lnTo>
                    <a:pt x="283" y="151"/>
                  </a:lnTo>
                  <a:lnTo>
                    <a:pt x="283" y="150"/>
                  </a:lnTo>
                  <a:lnTo>
                    <a:pt x="282" y="150"/>
                  </a:lnTo>
                  <a:lnTo>
                    <a:pt x="283" y="150"/>
                  </a:lnTo>
                  <a:lnTo>
                    <a:pt x="284" y="149"/>
                  </a:lnTo>
                  <a:lnTo>
                    <a:pt x="283" y="148"/>
                  </a:lnTo>
                  <a:lnTo>
                    <a:pt x="283" y="146"/>
                  </a:lnTo>
                  <a:lnTo>
                    <a:pt x="282" y="146"/>
                  </a:lnTo>
                  <a:lnTo>
                    <a:pt x="282" y="145"/>
                  </a:lnTo>
                  <a:lnTo>
                    <a:pt x="281" y="145"/>
                  </a:lnTo>
                  <a:lnTo>
                    <a:pt x="281" y="144"/>
                  </a:lnTo>
                  <a:lnTo>
                    <a:pt x="282" y="144"/>
                  </a:lnTo>
                  <a:lnTo>
                    <a:pt x="281" y="143"/>
                  </a:lnTo>
                  <a:lnTo>
                    <a:pt x="281" y="142"/>
                  </a:lnTo>
                  <a:lnTo>
                    <a:pt x="279" y="142"/>
                  </a:lnTo>
                  <a:lnTo>
                    <a:pt x="279" y="140"/>
                  </a:lnTo>
                  <a:lnTo>
                    <a:pt x="279" y="139"/>
                  </a:lnTo>
                  <a:lnTo>
                    <a:pt x="279" y="137"/>
                  </a:lnTo>
                  <a:lnTo>
                    <a:pt x="279" y="136"/>
                  </a:lnTo>
                  <a:lnTo>
                    <a:pt x="279" y="134"/>
                  </a:lnTo>
                  <a:lnTo>
                    <a:pt x="278" y="134"/>
                  </a:lnTo>
                  <a:lnTo>
                    <a:pt x="278" y="133"/>
                  </a:lnTo>
                  <a:lnTo>
                    <a:pt x="278" y="132"/>
                  </a:lnTo>
                  <a:lnTo>
                    <a:pt x="278" y="131"/>
                  </a:lnTo>
                  <a:lnTo>
                    <a:pt x="277" y="131"/>
                  </a:lnTo>
                  <a:lnTo>
                    <a:pt x="277" y="130"/>
                  </a:lnTo>
                  <a:lnTo>
                    <a:pt x="277" y="128"/>
                  </a:lnTo>
                  <a:lnTo>
                    <a:pt x="277" y="127"/>
                  </a:lnTo>
                  <a:lnTo>
                    <a:pt x="277" y="126"/>
                  </a:lnTo>
                  <a:lnTo>
                    <a:pt x="276" y="126"/>
                  </a:lnTo>
                  <a:lnTo>
                    <a:pt x="274" y="126"/>
                  </a:lnTo>
                  <a:lnTo>
                    <a:pt x="273" y="126"/>
                  </a:lnTo>
                  <a:lnTo>
                    <a:pt x="273" y="125"/>
                  </a:lnTo>
                  <a:lnTo>
                    <a:pt x="274" y="125"/>
                  </a:lnTo>
                  <a:lnTo>
                    <a:pt x="273" y="125"/>
                  </a:lnTo>
                  <a:lnTo>
                    <a:pt x="273" y="124"/>
                  </a:lnTo>
                  <a:lnTo>
                    <a:pt x="273" y="122"/>
                  </a:lnTo>
                  <a:lnTo>
                    <a:pt x="273" y="124"/>
                  </a:lnTo>
                  <a:lnTo>
                    <a:pt x="274" y="124"/>
                  </a:lnTo>
                  <a:lnTo>
                    <a:pt x="274" y="122"/>
                  </a:lnTo>
                  <a:lnTo>
                    <a:pt x="273" y="122"/>
                  </a:lnTo>
                  <a:lnTo>
                    <a:pt x="273" y="121"/>
                  </a:lnTo>
                  <a:lnTo>
                    <a:pt x="272" y="121"/>
                  </a:lnTo>
                  <a:lnTo>
                    <a:pt x="272" y="122"/>
                  </a:lnTo>
                  <a:lnTo>
                    <a:pt x="272" y="121"/>
                  </a:lnTo>
                  <a:lnTo>
                    <a:pt x="271" y="121"/>
                  </a:lnTo>
                  <a:lnTo>
                    <a:pt x="271" y="122"/>
                  </a:lnTo>
                  <a:lnTo>
                    <a:pt x="270" y="122"/>
                  </a:lnTo>
                  <a:lnTo>
                    <a:pt x="268" y="122"/>
                  </a:lnTo>
                  <a:lnTo>
                    <a:pt x="267" y="122"/>
                  </a:lnTo>
                  <a:lnTo>
                    <a:pt x="267" y="121"/>
                  </a:lnTo>
                  <a:lnTo>
                    <a:pt x="266" y="121"/>
                  </a:lnTo>
                  <a:lnTo>
                    <a:pt x="265" y="121"/>
                  </a:lnTo>
                  <a:lnTo>
                    <a:pt x="265" y="120"/>
                  </a:lnTo>
                  <a:lnTo>
                    <a:pt x="265" y="119"/>
                  </a:lnTo>
                  <a:lnTo>
                    <a:pt x="266" y="118"/>
                  </a:lnTo>
                  <a:lnTo>
                    <a:pt x="266" y="119"/>
                  </a:lnTo>
                  <a:lnTo>
                    <a:pt x="266" y="118"/>
                  </a:lnTo>
                  <a:lnTo>
                    <a:pt x="267" y="119"/>
                  </a:lnTo>
                  <a:lnTo>
                    <a:pt x="267" y="118"/>
                  </a:lnTo>
                  <a:lnTo>
                    <a:pt x="268" y="118"/>
                  </a:lnTo>
                  <a:lnTo>
                    <a:pt x="268" y="116"/>
                  </a:lnTo>
                  <a:lnTo>
                    <a:pt x="270" y="116"/>
                  </a:lnTo>
                  <a:lnTo>
                    <a:pt x="270" y="118"/>
                  </a:lnTo>
                  <a:lnTo>
                    <a:pt x="271" y="118"/>
                  </a:lnTo>
                  <a:lnTo>
                    <a:pt x="271" y="116"/>
                  </a:lnTo>
                  <a:lnTo>
                    <a:pt x="270" y="116"/>
                  </a:lnTo>
                  <a:lnTo>
                    <a:pt x="270" y="115"/>
                  </a:lnTo>
                  <a:lnTo>
                    <a:pt x="268" y="115"/>
                  </a:lnTo>
                  <a:lnTo>
                    <a:pt x="268" y="114"/>
                  </a:lnTo>
                  <a:lnTo>
                    <a:pt x="267" y="114"/>
                  </a:lnTo>
                  <a:lnTo>
                    <a:pt x="267" y="115"/>
                  </a:lnTo>
                  <a:lnTo>
                    <a:pt x="267" y="116"/>
                  </a:lnTo>
                  <a:lnTo>
                    <a:pt x="267" y="118"/>
                  </a:lnTo>
                  <a:lnTo>
                    <a:pt x="267" y="116"/>
                  </a:lnTo>
                  <a:lnTo>
                    <a:pt x="266" y="116"/>
                  </a:lnTo>
                  <a:lnTo>
                    <a:pt x="265" y="118"/>
                  </a:lnTo>
                  <a:lnTo>
                    <a:pt x="264" y="118"/>
                  </a:lnTo>
                  <a:lnTo>
                    <a:pt x="262" y="118"/>
                  </a:lnTo>
                  <a:lnTo>
                    <a:pt x="261" y="116"/>
                  </a:lnTo>
                  <a:lnTo>
                    <a:pt x="261" y="115"/>
                  </a:lnTo>
                  <a:lnTo>
                    <a:pt x="261" y="116"/>
                  </a:lnTo>
                  <a:lnTo>
                    <a:pt x="260" y="116"/>
                  </a:lnTo>
                  <a:lnTo>
                    <a:pt x="259" y="116"/>
                  </a:lnTo>
                  <a:lnTo>
                    <a:pt x="258" y="116"/>
                  </a:lnTo>
                  <a:lnTo>
                    <a:pt x="258" y="115"/>
                  </a:lnTo>
                  <a:lnTo>
                    <a:pt x="256" y="115"/>
                  </a:lnTo>
                  <a:lnTo>
                    <a:pt x="255" y="115"/>
                  </a:lnTo>
                  <a:lnTo>
                    <a:pt x="254" y="115"/>
                  </a:lnTo>
                  <a:lnTo>
                    <a:pt x="253" y="115"/>
                  </a:lnTo>
                  <a:lnTo>
                    <a:pt x="252" y="114"/>
                  </a:lnTo>
                  <a:lnTo>
                    <a:pt x="253" y="114"/>
                  </a:lnTo>
                  <a:lnTo>
                    <a:pt x="253" y="113"/>
                  </a:lnTo>
                  <a:lnTo>
                    <a:pt x="253" y="112"/>
                  </a:lnTo>
                  <a:lnTo>
                    <a:pt x="254" y="112"/>
                  </a:lnTo>
                  <a:lnTo>
                    <a:pt x="255" y="112"/>
                  </a:lnTo>
                  <a:lnTo>
                    <a:pt x="255" y="113"/>
                  </a:lnTo>
                  <a:lnTo>
                    <a:pt x="256" y="113"/>
                  </a:lnTo>
                  <a:lnTo>
                    <a:pt x="256" y="112"/>
                  </a:lnTo>
                  <a:lnTo>
                    <a:pt x="255" y="110"/>
                  </a:lnTo>
                  <a:lnTo>
                    <a:pt x="254" y="110"/>
                  </a:lnTo>
                  <a:lnTo>
                    <a:pt x="253" y="110"/>
                  </a:lnTo>
                  <a:lnTo>
                    <a:pt x="253" y="112"/>
                  </a:lnTo>
                  <a:lnTo>
                    <a:pt x="253" y="110"/>
                  </a:lnTo>
                  <a:lnTo>
                    <a:pt x="252" y="112"/>
                  </a:lnTo>
                  <a:lnTo>
                    <a:pt x="250" y="112"/>
                  </a:lnTo>
                  <a:lnTo>
                    <a:pt x="250" y="113"/>
                  </a:lnTo>
                  <a:lnTo>
                    <a:pt x="249" y="113"/>
                  </a:lnTo>
                  <a:lnTo>
                    <a:pt x="249" y="112"/>
                  </a:lnTo>
                  <a:lnTo>
                    <a:pt x="250" y="112"/>
                  </a:lnTo>
                  <a:lnTo>
                    <a:pt x="250" y="110"/>
                  </a:lnTo>
                  <a:lnTo>
                    <a:pt x="252" y="110"/>
                  </a:lnTo>
                  <a:lnTo>
                    <a:pt x="250" y="110"/>
                  </a:lnTo>
                  <a:lnTo>
                    <a:pt x="250" y="109"/>
                  </a:lnTo>
                  <a:lnTo>
                    <a:pt x="252" y="109"/>
                  </a:lnTo>
                  <a:lnTo>
                    <a:pt x="252" y="108"/>
                  </a:lnTo>
                  <a:lnTo>
                    <a:pt x="250" y="108"/>
                  </a:lnTo>
                  <a:lnTo>
                    <a:pt x="252" y="108"/>
                  </a:lnTo>
                  <a:lnTo>
                    <a:pt x="252" y="107"/>
                  </a:lnTo>
                  <a:lnTo>
                    <a:pt x="250" y="106"/>
                  </a:lnTo>
                  <a:lnTo>
                    <a:pt x="250" y="104"/>
                  </a:lnTo>
                  <a:lnTo>
                    <a:pt x="249" y="104"/>
                  </a:lnTo>
                  <a:lnTo>
                    <a:pt x="248" y="104"/>
                  </a:lnTo>
                  <a:lnTo>
                    <a:pt x="247" y="104"/>
                  </a:lnTo>
                  <a:lnTo>
                    <a:pt x="247" y="106"/>
                  </a:lnTo>
                  <a:lnTo>
                    <a:pt x="248" y="106"/>
                  </a:lnTo>
                  <a:lnTo>
                    <a:pt x="247" y="107"/>
                  </a:lnTo>
                  <a:lnTo>
                    <a:pt x="248" y="107"/>
                  </a:lnTo>
                  <a:lnTo>
                    <a:pt x="249" y="107"/>
                  </a:lnTo>
                  <a:lnTo>
                    <a:pt x="248" y="107"/>
                  </a:lnTo>
                  <a:lnTo>
                    <a:pt x="248" y="108"/>
                  </a:lnTo>
                  <a:lnTo>
                    <a:pt x="249" y="108"/>
                  </a:lnTo>
                  <a:lnTo>
                    <a:pt x="249" y="109"/>
                  </a:lnTo>
                  <a:lnTo>
                    <a:pt x="249" y="108"/>
                  </a:lnTo>
                  <a:lnTo>
                    <a:pt x="248" y="108"/>
                  </a:lnTo>
                  <a:lnTo>
                    <a:pt x="248" y="109"/>
                  </a:lnTo>
                  <a:lnTo>
                    <a:pt x="247" y="109"/>
                  </a:lnTo>
                  <a:lnTo>
                    <a:pt x="246" y="109"/>
                  </a:lnTo>
                  <a:lnTo>
                    <a:pt x="244" y="109"/>
                  </a:lnTo>
                  <a:lnTo>
                    <a:pt x="244" y="110"/>
                  </a:lnTo>
                  <a:lnTo>
                    <a:pt x="243" y="110"/>
                  </a:lnTo>
                  <a:lnTo>
                    <a:pt x="243" y="112"/>
                  </a:lnTo>
                  <a:lnTo>
                    <a:pt x="242" y="112"/>
                  </a:lnTo>
                  <a:lnTo>
                    <a:pt x="241" y="110"/>
                  </a:lnTo>
                  <a:lnTo>
                    <a:pt x="242" y="110"/>
                  </a:lnTo>
                  <a:lnTo>
                    <a:pt x="242" y="109"/>
                  </a:lnTo>
                  <a:lnTo>
                    <a:pt x="241" y="108"/>
                  </a:lnTo>
                  <a:lnTo>
                    <a:pt x="241" y="107"/>
                  </a:lnTo>
                  <a:lnTo>
                    <a:pt x="242" y="107"/>
                  </a:lnTo>
                  <a:lnTo>
                    <a:pt x="242" y="108"/>
                  </a:lnTo>
                  <a:lnTo>
                    <a:pt x="243" y="108"/>
                  </a:lnTo>
                  <a:lnTo>
                    <a:pt x="243" y="109"/>
                  </a:lnTo>
                  <a:lnTo>
                    <a:pt x="244" y="109"/>
                  </a:lnTo>
                  <a:lnTo>
                    <a:pt x="244" y="108"/>
                  </a:lnTo>
                  <a:lnTo>
                    <a:pt x="243" y="109"/>
                  </a:lnTo>
                  <a:lnTo>
                    <a:pt x="243" y="108"/>
                  </a:lnTo>
                  <a:lnTo>
                    <a:pt x="243" y="107"/>
                  </a:lnTo>
                  <a:lnTo>
                    <a:pt x="243" y="106"/>
                  </a:lnTo>
                  <a:lnTo>
                    <a:pt x="243" y="107"/>
                  </a:lnTo>
                  <a:lnTo>
                    <a:pt x="242" y="107"/>
                  </a:lnTo>
                  <a:lnTo>
                    <a:pt x="242" y="106"/>
                  </a:lnTo>
                  <a:lnTo>
                    <a:pt x="242" y="104"/>
                  </a:lnTo>
                  <a:lnTo>
                    <a:pt x="241" y="103"/>
                  </a:lnTo>
                  <a:lnTo>
                    <a:pt x="240" y="103"/>
                  </a:lnTo>
                  <a:lnTo>
                    <a:pt x="241" y="102"/>
                  </a:lnTo>
                  <a:lnTo>
                    <a:pt x="240" y="103"/>
                  </a:lnTo>
                  <a:lnTo>
                    <a:pt x="241" y="104"/>
                  </a:lnTo>
                  <a:lnTo>
                    <a:pt x="240" y="104"/>
                  </a:lnTo>
                  <a:lnTo>
                    <a:pt x="240" y="106"/>
                  </a:lnTo>
                  <a:lnTo>
                    <a:pt x="240" y="104"/>
                  </a:lnTo>
                  <a:lnTo>
                    <a:pt x="240" y="103"/>
                  </a:lnTo>
                  <a:lnTo>
                    <a:pt x="238" y="103"/>
                  </a:lnTo>
                  <a:lnTo>
                    <a:pt x="237" y="103"/>
                  </a:lnTo>
                  <a:lnTo>
                    <a:pt x="237" y="104"/>
                  </a:lnTo>
                  <a:lnTo>
                    <a:pt x="237" y="103"/>
                  </a:lnTo>
                  <a:lnTo>
                    <a:pt x="236" y="103"/>
                  </a:lnTo>
                  <a:lnTo>
                    <a:pt x="236" y="102"/>
                  </a:lnTo>
                  <a:lnTo>
                    <a:pt x="235" y="102"/>
                  </a:lnTo>
                  <a:lnTo>
                    <a:pt x="235" y="103"/>
                  </a:lnTo>
                  <a:lnTo>
                    <a:pt x="234" y="104"/>
                  </a:lnTo>
                  <a:lnTo>
                    <a:pt x="234" y="103"/>
                  </a:lnTo>
                  <a:lnTo>
                    <a:pt x="232" y="104"/>
                  </a:lnTo>
                  <a:lnTo>
                    <a:pt x="234" y="104"/>
                  </a:lnTo>
                  <a:lnTo>
                    <a:pt x="234" y="106"/>
                  </a:lnTo>
                  <a:lnTo>
                    <a:pt x="232" y="106"/>
                  </a:lnTo>
                  <a:lnTo>
                    <a:pt x="232" y="107"/>
                  </a:lnTo>
                  <a:lnTo>
                    <a:pt x="231" y="108"/>
                  </a:lnTo>
                  <a:lnTo>
                    <a:pt x="230" y="108"/>
                  </a:lnTo>
                  <a:lnTo>
                    <a:pt x="228" y="108"/>
                  </a:lnTo>
                  <a:lnTo>
                    <a:pt x="228" y="107"/>
                  </a:lnTo>
                  <a:lnTo>
                    <a:pt x="228" y="106"/>
                  </a:lnTo>
                  <a:lnTo>
                    <a:pt x="229" y="106"/>
                  </a:lnTo>
                  <a:lnTo>
                    <a:pt x="229" y="104"/>
                  </a:lnTo>
                  <a:lnTo>
                    <a:pt x="229" y="106"/>
                  </a:lnTo>
                  <a:lnTo>
                    <a:pt x="228" y="106"/>
                  </a:lnTo>
                  <a:lnTo>
                    <a:pt x="228" y="104"/>
                  </a:lnTo>
                  <a:lnTo>
                    <a:pt x="229" y="104"/>
                  </a:lnTo>
                  <a:lnTo>
                    <a:pt x="229" y="103"/>
                  </a:lnTo>
                  <a:lnTo>
                    <a:pt x="229" y="102"/>
                  </a:lnTo>
                  <a:lnTo>
                    <a:pt x="230" y="102"/>
                  </a:lnTo>
                  <a:lnTo>
                    <a:pt x="230" y="101"/>
                  </a:lnTo>
                  <a:lnTo>
                    <a:pt x="230" y="100"/>
                  </a:lnTo>
                  <a:lnTo>
                    <a:pt x="230" y="98"/>
                  </a:lnTo>
                  <a:lnTo>
                    <a:pt x="229" y="98"/>
                  </a:lnTo>
                  <a:lnTo>
                    <a:pt x="228" y="98"/>
                  </a:lnTo>
                  <a:lnTo>
                    <a:pt x="228" y="100"/>
                  </a:lnTo>
                  <a:lnTo>
                    <a:pt x="226" y="100"/>
                  </a:lnTo>
                  <a:lnTo>
                    <a:pt x="226" y="98"/>
                  </a:lnTo>
                  <a:lnTo>
                    <a:pt x="225" y="98"/>
                  </a:lnTo>
                  <a:lnTo>
                    <a:pt x="224" y="98"/>
                  </a:lnTo>
                  <a:lnTo>
                    <a:pt x="224" y="97"/>
                  </a:lnTo>
                  <a:lnTo>
                    <a:pt x="223" y="97"/>
                  </a:lnTo>
                  <a:lnTo>
                    <a:pt x="222" y="97"/>
                  </a:lnTo>
                  <a:lnTo>
                    <a:pt x="219" y="97"/>
                  </a:lnTo>
                  <a:lnTo>
                    <a:pt x="219" y="98"/>
                  </a:lnTo>
                  <a:lnTo>
                    <a:pt x="220" y="98"/>
                  </a:lnTo>
                  <a:lnTo>
                    <a:pt x="220" y="100"/>
                  </a:lnTo>
                  <a:lnTo>
                    <a:pt x="219" y="100"/>
                  </a:lnTo>
                  <a:lnTo>
                    <a:pt x="219" y="98"/>
                  </a:lnTo>
                  <a:lnTo>
                    <a:pt x="218" y="98"/>
                  </a:lnTo>
                  <a:lnTo>
                    <a:pt x="219" y="97"/>
                  </a:lnTo>
                  <a:lnTo>
                    <a:pt x="218" y="97"/>
                  </a:lnTo>
                  <a:lnTo>
                    <a:pt x="217" y="98"/>
                  </a:lnTo>
                  <a:lnTo>
                    <a:pt x="215" y="98"/>
                  </a:lnTo>
                  <a:lnTo>
                    <a:pt x="214" y="98"/>
                  </a:lnTo>
                  <a:lnTo>
                    <a:pt x="214" y="100"/>
                  </a:lnTo>
                  <a:lnTo>
                    <a:pt x="215" y="100"/>
                  </a:lnTo>
                  <a:lnTo>
                    <a:pt x="215" y="101"/>
                  </a:lnTo>
                  <a:lnTo>
                    <a:pt x="214" y="101"/>
                  </a:lnTo>
                  <a:lnTo>
                    <a:pt x="213" y="102"/>
                  </a:lnTo>
                  <a:lnTo>
                    <a:pt x="213" y="103"/>
                  </a:lnTo>
                  <a:lnTo>
                    <a:pt x="212" y="102"/>
                  </a:lnTo>
                  <a:lnTo>
                    <a:pt x="211" y="101"/>
                  </a:lnTo>
                  <a:lnTo>
                    <a:pt x="211" y="100"/>
                  </a:lnTo>
                  <a:lnTo>
                    <a:pt x="211" y="101"/>
                  </a:lnTo>
                  <a:lnTo>
                    <a:pt x="212" y="100"/>
                  </a:lnTo>
                  <a:lnTo>
                    <a:pt x="213" y="100"/>
                  </a:lnTo>
                  <a:lnTo>
                    <a:pt x="212" y="100"/>
                  </a:lnTo>
                  <a:lnTo>
                    <a:pt x="213" y="98"/>
                  </a:lnTo>
                  <a:lnTo>
                    <a:pt x="213" y="97"/>
                  </a:lnTo>
                  <a:lnTo>
                    <a:pt x="213" y="96"/>
                  </a:lnTo>
                  <a:lnTo>
                    <a:pt x="212" y="96"/>
                  </a:lnTo>
                  <a:lnTo>
                    <a:pt x="212" y="97"/>
                  </a:lnTo>
                  <a:lnTo>
                    <a:pt x="211" y="97"/>
                  </a:lnTo>
                  <a:lnTo>
                    <a:pt x="211" y="96"/>
                  </a:lnTo>
                  <a:lnTo>
                    <a:pt x="209" y="96"/>
                  </a:lnTo>
                  <a:lnTo>
                    <a:pt x="209" y="95"/>
                  </a:lnTo>
                  <a:lnTo>
                    <a:pt x="208" y="95"/>
                  </a:lnTo>
                  <a:lnTo>
                    <a:pt x="208" y="94"/>
                  </a:lnTo>
                  <a:lnTo>
                    <a:pt x="207" y="94"/>
                  </a:lnTo>
                  <a:lnTo>
                    <a:pt x="206" y="92"/>
                  </a:lnTo>
                  <a:lnTo>
                    <a:pt x="205" y="92"/>
                  </a:lnTo>
                  <a:lnTo>
                    <a:pt x="203" y="91"/>
                  </a:lnTo>
                  <a:lnTo>
                    <a:pt x="202" y="91"/>
                  </a:lnTo>
                  <a:lnTo>
                    <a:pt x="202" y="90"/>
                  </a:lnTo>
                  <a:lnTo>
                    <a:pt x="202" y="89"/>
                  </a:lnTo>
                  <a:lnTo>
                    <a:pt x="201" y="89"/>
                  </a:lnTo>
                  <a:lnTo>
                    <a:pt x="200" y="89"/>
                  </a:lnTo>
                  <a:lnTo>
                    <a:pt x="199" y="89"/>
                  </a:lnTo>
                  <a:lnTo>
                    <a:pt x="199" y="88"/>
                  </a:lnTo>
                  <a:lnTo>
                    <a:pt x="197" y="86"/>
                  </a:lnTo>
                  <a:lnTo>
                    <a:pt x="196" y="86"/>
                  </a:lnTo>
                  <a:lnTo>
                    <a:pt x="196" y="85"/>
                  </a:lnTo>
                  <a:lnTo>
                    <a:pt x="196" y="84"/>
                  </a:lnTo>
                  <a:lnTo>
                    <a:pt x="196" y="83"/>
                  </a:lnTo>
                  <a:lnTo>
                    <a:pt x="197" y="82"/>
                  </a:lnTo>
                  <a:lnTo>
                    <a:pt x="196" y="82"/>
                  </a:lnTo>
                  <a:lnTo>
                    <a:pt x="195" y="82"/>
                  </a:lnTo>
                  <a:lnTo>
                    <a:pt x="195" y="80"/>
                  </a:lnTo>
                  <a:lnTo>
                    <a:pt x="194" y="80"/>
                  </a:lnTo>
                  <a:lnTo>
                    <a:pt x="193" y="80"/>
                  </a:lnTo>
                  <a:lnTo>
                    <a:pt x="191" y="80"/>
                  </a:lnTo>
                  <a:lnTo>
                    <a:pt x="191" y="79"/>
                  </a:lnTo>
                  <a:lnTo>
                    <a:pt x="190" y="78"/>
                  </a:lnTo>
                  <a:lnTo>
                    <a:pt x="189" y="78"/>
                  </a:lnTo>
                  <a:lnTo>
                    <a:pt x="190" y="77"/>
                  </a:lnTo>
                  <a:lnTo>
                    <a:pt x="190" y="76"/>
                  </a:lnTo>
                  <a:lnTo>
                    <a:pt x="191" y="76"/>
                  </a:lnTo>
                  <a:lnTo>
                    <a:pt x="193" y="76"/>
                  </a:lnTo>
                  <a:lnTo>
                    <a:pt x="194" y="74"/>
                  </a:lnTo>
                  <a:lnTo>
                    <a:pt x="194" y="73"/>
                  </a:lnTo>
                  <a:lnTo>
                    <a:pt x="195" y="73"/>
                  </a:lnTo>
                  <a:lnTo>
                    <a:pt x="196" y="73"/>
                  </a:lnTo>
                  <a:lnTo>
                    <a:pt x="196" y="74"/>
                  </a:lnTo>
                  <a:lnTo>
                    <a:pt x="197" y="74"/>
                  </a:lnTo>
                  <a:lnTo>
                    <a:pt x="199" y="74"/>
                  </a:lnTo>
                  <a:lnTo>
                    <a:pt x="199" y="76"/>
                  </a:lnTo>
                  <a:lnTo>
                    <a:pt x="199" y="74"/>
                  </a:lnTo>
                  <a:lnTo>
                    <a:pt x="197" y="73"/>
                  </a:lnTo>
                  <a:lnTo>
                    <a:pt x="196" y="73"/>
                  </a:lnTo>
                  <a:lnTo>
                    <a:pt x="196" y="72"/>
                  </a:lnTo>
                  <a:lnTo>
                    <a:pt x="195" y="72"/>
                  </a:lnTo>
                  <a:lnTo>
                    <a:pt x="194" y="72"/>
                  </a:lnTo>
                  <a:lnTo>
                    <a:pt x="194" y="71"/>
                  </a:lnTo>
                  <a:lnTo>
                    <a:pt x="194" y="70"/>
                  </a:lnTo>
                  <a:lnTo>
                    <a:pt x="193" y="70"/>
                  </a:lnTo>
                  <a:lnTo>
                    <a:pt x="193" y="68"/>
                  </a:lnTo>
                  <a:lnTo>
                    <a:pt x="193" y="67"/>
                  </a:lnTo>
                  <a:lnTo>
                    <a:pt x="191" y="67"/>
                  </a:lnTo>
                  <a:lnTo>
                    <a:pt x="191" y="66"/>
                  </a:lnTo>
                  <a:lnTo>
                    <a:pt x="191" y="65"/>
                  </a:lnTo>
                  <a:lnTo>
                    <a:pt x="191" y="64"/>
                  </a:lnTo>
                  <a:lnTo>
                    <a:pt x="193" y="64"/>
                  </a:lnTo>
                  <a:lnTo>
                    <a:pt x="194" y="65"/>
                  </a:lnTo>
                  <a:lnTo>
                    <a:pt x="196" y="65"/>
                  </a:lnTo>
                  <a:lnTo>
                    <a:pt x="197" y="65"/>
                  </a:lnTo>
                  <a:lnTo>
                    <a:pt x="199" y="66"/>
                  </a:lnTo>
                  <a:lnTo>
                    <a:pt x="200" y="66"/>
                  </a:lnTo>
                  <a:lnTo>
                    <a:pt x="201" y="66"/>
                  </a:lnTo>
                  <a:lnTo>
                    <a:pt x="201" y="65"/>
                  </a:lnTo>
                  <a:lnTo>
                    <a:pt x="201" y="64"/>
                  </a:lnTo>
                  <a:lnTo>
                    <a:pt x="200" y="64"/>
                  </a:lnTo>
                  <a:lnTo>
                    <a:pt x="201" y="64"/>
                  </a:lnTo>
                  <a:lnTo>
                    <a:pt x="201" y="62"/>
                  </a:lnTo>
                  <a:lnTo>
                    <a:pt x="200" y="62"/>
                  </a:lnTo>
                  <a:lnTo>
                    <a:pt x="199" y="62"/>
                  </a:lnTo>
                  <a:lnTo>
                    <a:pt x="197" y="62"/>
                  </a:lnTo>
                  <a:lnTo>
                    <a:pt x="196" y="62"/>
                  </a:lnTo>
                  <a:lnTo>
                    <a:pt x="196" y="61"/>
                  </a:lnTo>
                  <a:lnTo>
                    <a:pt x="195" y="61"/>
                  </a:lnTo>
                  <a:lnTo>
                    <a:pt x="196" y="61"/>
                  </a:lnTo>
                  <a:lnTo>
                    <a:pt x="195" y="60"/>
                  </a:lnTo>
                  <a:lnTo>
                    <a:pt x="195" y="59"/>
                  </a:lnTo>
                  <a:lnTo>
                    <a:pt x="195" y="58"/>
                  </a:lnTo>
                  <a:lnTo>
                    <a:pt x="194" y="58"/>
                  </a:lnTo>
                  <a:lnTo>
                    <a:pt x="194" y="56"/>
                  </a:lnTo>
                  <a:lnTo>
                    <a:pt x="194" y="55"/>
                  </a:lnTo>
                  <a:lnTo>
                    <a:pt x="195" y="55"/>
                  </a:lnTo>
                  <a:lnTo>
                    <a:pt x="196" y="55"/>
                  </a:lnTo>
                  <a:lnTo>
                    <a:pt x="196" y="56"/>
                  </a:lnTo>
                  <a:lnTo>
                    <a:pt x="197" y="56"/>
                  </a:lnTo>
                  <a:lnTo>
                    <a:pt x="197" y="58"/>
                  </a:lnTo>
                  <a:lnTo>
                    <a:pt x="199" y="56"/>
                  </a:lnTo>
                  <a:lnTo>
                    <a:pt x="199" y="55"/>
                  </a:lnTo>
                  <a:lnTo>
                    <a:pt x="197" y="55"/>
                  </a:lnTo>
                  <a:lnTo>
                    <a:pt x="197" y="54"/>
                  </a:lnTo>
                  <a:lnTo>
                    <a:pt x="199" y="54"/>
                  </a:lnTo>
                  <a:lnTo>
                    <a:pt x="199" y="53"/>
                  </a:lnTo>
                  <a:lnTo>
                    <a:pt x="197" y="53"/>
                  </a:lnTo>
                  <a:lnTo>
                    <a:pt x="197" y="52"/>
                  </a:lnTo>
                  <a:lnTo>
                    <a:pt x="196" y="52"/>
                  </a:lnTo>
                  <a:lnTo>
                    <a:pt x="197" y="52"/>
                  </a:lnTo>
                  <a:lnTo>
                    <a:pt x="197" y="50"/>
                  </a:lnTo>
                  <a:lnTo>
                    <a:pt x="197" y="49"/>
                  </a:lnTo>
                  <a:lnTo>
                    <a:pt x="199" y="49"/>
                  </a:lnTo>
                  <a:lnTo>
                    <a:pt x="199" y="48"/>
                  </a:lnTo>
                  <a:lnTo>
                    <a:pt x="199" y="47"/>
                  </a:lnTo>
                  <a:lnTo>
                    <a:pt x="197" y="47"/>
                  </a:lnTo>
                  <a:lnTo>
                    <a:pt x="197" y="45"/>
                  </a:lnTo>
                  <a:lnTo>
                    <a:pt x="197" y="44"/>
                  </a:lnTo>
                  <a:lnTo>
                    <a:pt x="199" y="44"/>
                  </a:lnTo>
                  <a:lnTo>
                    <a:pt x="200" y="43"/>
                  </a:lnTo>
                  <a:lnTo>
                    <a:pt x="200" y="44"/>
                  </a:lnTo>
                  <a:lnTo>
                    <a:pt x="201" y="44"/>
                  </a:lnTo>
                  <a:lnTo>
                    <a:pt x="201" y="45"/>
                  </a:lnTo>
                  <a:lnTo>
                    <a:pt x="201" y="47"/>
                  </a:lnTo>
                  <a:lnTo>
                    <a:pt x="201" y="48"/>
                  </a:lnTo>
                  <a:lnTo>
                    <a:pt x="201" y="49"/>
                  </a:lnTo>
                  <a:lnTo>
                    <a:pt x="201" y="50"/>
                  </a:lnTo>
                  <a:lnTo>
                    <a:pt x="202" y="49"/>
                  </a:lnTo>
                  <a:lnTo>
                    <a:pt x="202" y="48"/>
                  </a:lnTo>
                  <a:lnTo>
                    <a:pt x="203" y="48"/>
                  </a:lnTo>
                  <a:lnTo>
                    <a:pt x="203" y="47"/>
                  </a:lnTo>
                  <a:lnTo>
                    <a:pt x="203" y="45"/>
                  </a:lnTo>
                  <a:lnTo>
                    <a:pt x="202" y="45"/>
                  </a:lnTo>
                  <a:lnTo>
                    <a:pt x="202" y="44"/>
                  </a:lnTo>
                  <a:lnTo>
                    <a:pt x="201" y="44"/>
                  </a:lnTo>
                  <a:lnTo>
                    <a:pt x="202" y="43"/>
                  </a:lnTo>
                  <a:lnTo>
                    <a:pt x="202" y="42"/>
                  </a:lnTo>
                  <a:lnTo>
                    <a:pt x="203" y="42"/>
                  </a:lnTo>
                  <a:lnTo>
                    <a:pt x="205" y="42"/>
                  </a:lnTo>
                  <a:lnTo>
                    <a:pt x="205" y="43"/>
                  </a:lnTo>
                  <a:lnTo>
                    <a:pt x="206" y="43"/>
                  </a:lnTo>
                  <a:lnTo>
                    <a:pt x="207" y="43"/>
                  </a:lnTo>
                  <a:lnTo>
                    <a:pt x="207" y="42"/>
                  </a:lnTo>
                  <a:lnTo>
                    <a:pt x="205" y="42"/>
                  </a:lnTo>
                  <a:lnTo>
                    <a:pt x="206" y="42"/>
                  </a:lnTo>
                  <a:lnTo>
                    <a:pt x="205" y="41"/>
                  </a:lnTo>
                  <a:lnTo>
                    <a:pt x="205" y="39"/>
                  </a:lnTo>
                  <a:lnTo>
                    <a:pt x="206" y="38"/>
                  </a:lnTo>
                  <a:lnTo>
                    <a:pt x="207" y="38"/>
                  </a:lnTo>
                  <a:lnTo>
                    <a:pt x="206" y="38"/>
                  </a:lnTo>
                  <a:lnTo>
                    <a:pt x="207" y="37"/>
                  </a:lnTo>
                  <a:lnTo>
                    <a:pt x="206" y="37"/>
                  </a:lnTo>
                  <a:lnTo>
                    <a:pt x="206" y="36"/>
                  </a:lnTo>
                  <a:lnTo>
                    <a:pt x="205" y="36"/>
                  </a:lnTo>
                  <a:lnTo>
                    <a:pt x="203" y="35"/>
                  </a:lnTo>
                  <a:lnTo>
                    <a:pt x="202" y="35"/>
                  </a:lnTo>
                  <a:lnTo>
                    <a:pt x="202" y="33"/>
                  </a:lnTo>
                  <a:lnTo>
                    <a:pt x="203" y="33"/>
                  </a:lnTo>
                  <a:lnTo>
                    <a:pt x="203" y="32"/>
                  </a:lnTo>
                  <a:lnTo>
                    <a:pt x="203" y="31"/>
                  </a:lnTo>
                  <a:lnTo>
                    <a:pt x="205" y="32"/>
                  </a:lnTo>
                  <a:lnTo>
                    <a:pt x="205" y="31"/>
                  </a:lnTo>
                  <a:lnTo>
                    <a:pt x="205" y="30"/>
                  </a:lnTo>
                  <a:lnTo>
                    <a:pt x="205" y="29"/>
                  </a:lnTo>
                  <a:lnTo>
                    <a:pt x="203" y="29"/>
                  </a:lnTo>
                  <a:lnTo>
                    <a:pt x="203" y="27"/>
                  </a:lnTo>
                  <a:lnTo>
                    <a:pt x="205" y="27"/>
                  </a:lnTo>
                  <a:lnTo>
                    <a:pt x="206" y="27"/>
                  </a:lnTo>
                  <a:lnTo>
                    <a:pt x="206" y="26"/>
                  </a:lnTo>
                  <a:lnTo>
                    <a:pt x="207" y="27"/>
                  </a:lnTo>
                  <a:lnTo>
                    <a:pt x="207" y="29"/>
                  </a:lnTo>
                  <a:lnTo>
                    <a:pt x="207" y="30"/>
                  </a:lnTo>
                  <a:lnTo>
                    <a:pt x="208" y="30"/>
                  </a:lnTo>
                  <a:lnTo>
                    <a:pt x="208" y="31"/>
                  </a:lnTo>
                  <a:lnTo>
                    <a:pt x="209" y="31"/>
                  </a:lnTo>
                  <a:lnTo>
                    <a:pt x="209" y="30"/>
                  </a:lnTo>
                  <a:lnTo>
                    <a:pt x="211" y="30"/>
                  </a:lnTo>
                  <a:lnTo>
                    <a:pt x="211" y="31"/>
                  </a:lnTo>
                  <a:lnTo>
                    <a:pt x="211" y="32"/>
                  </a:lnTo>
                  <a:lnTo>
                    <a:pt x="211" y="35"/>
                  </a:lnTo>
                  <a:lnTo>
                    <a:pt x="212" y="35"/>
                  </a:lnTo>
                  <a:lnTo>
                    <a:pt x="213" y="35"/>
                  </a:lnTo>
                  <a:lnTo>
                    <a:pt x="214" y="35"/>
                  </a:lnTo>
                  <a:lnTo>
                    <a:pt x="215" y="35"/>
                  </a:lnTo>
                  <a:lnTo>
                    <a:pt x="215" y="33"/>
                  </a:lnTo>
                  <a:lnTo>
                    <a:pt x="217" y="33"/>
                  </a:lnTo>
                  <a:lnTo>
                    <a:pt x="215" y="33"/>
                  </a:lnTo>
                  <a:lnTo>
                    <a:pt x="214" y="32"/>
                  </a:lnTo>
                  <a:lnTo>
                    <a:pt x="215" y="32"/>
                  </a:lnTo>
                  <a:lnTo>
                    <a:pt x="214" y="32"/>
                  </a:lnTo>
                  <a:lnTo>
                    <a:pt x="214" y="31"/>
                  </a:lnTo>
                  <a:lnTo>
                    <a:pt x="214" y="30"/>
                  </a:lnTo>
                  <a:lnTo>
                    <a:pt x="213" y="30"/>
                  </a:lnTo>
                  <a:lnTo>
                    <a:pt x="214" y="29"/>
                  </a:lnTo>
                  <a:lnTo>
                    <a:pt x="213" y="29"/>
                  </a:lnTo>
                  <a:lnTo>
                    <a:pt x="213" y="27"/>
                  </a:lnTo>
                  <a:lnTo>
                    <a:pt x="213" y="26"/>
                  </a:lnTo>
                  <a:lnTo>
                    <a:pt x="213" y="25"/>
                  </a:lnTo>
                  <a:lnTo>
                    <a:pt x="213" y="24"/>
                  </a:lnTo>
                  <a:lnTo>
                    <a:pt x="212" y="24"/>
                  </a:lnTo>
                  <a:lnTo>
                    <a:pt x="212" y="23"/>
                  </a:lnTo>
                  <a:lnTo>
                    <a:pt x="212" y="21"/>
                  </a:lnTo>
                  <a:lnTo>
                    <a:pt x="211" y="21"/>
                  </a:lnTo>
                  <a:lnTo>
                    <a:pt x="212" y="20"/>
                  </a:lnTo>
                  <a:lnTo>
                    <a:pt x="211" y="20"/>
                  </a:lnTo>
                  <a:lnTo>
                    <a:pt x="211" y="19"/>
                  </a:lnTo>
                  <a:lnTo>
                    <a:pt x="211" y="18"/>
                  </a:lnTo>
                  <a:lnTo>
                    <a:pt x="212" y="18"/>
                  </a:lnTo>
                  <a:lnTo>
                    <a:pt x="212" y="17"/>
                  </a:lnTo>
                  <a:lnTo>
                    <a:pt x="213" y="17"/>
                  </a:lnTo>
                  <a:lnTo>
                    <a:pt x="212" y="18"/>
                  </a:lnTo>
                  <a:lnTo>
                    <a:pt x="213" y="18"/>
                  </a:lnTo>
                  <a:lnTo>
                    <a:pt x="213" y="17"/>
                  </a:lnTo>
                  <a:lnTo>
                    <a:pt x="213" y="15"/>
                  </a:lnTo>
                  <a:lnTo>
                    <a:pt x="213" y="14"/>
                  </a:lnTo>
                  <a:lnTo>
                    <a:pt x="213" y="13"/>
                  </a:lnTo>
                  <a:lnTo>
                    <a:pt x="214" y="12"/>
                  </a:lnTo>
                  <a:lnTo>
                    <a:pt x="214" y="13"/>
                  </a:lnTo>
                  <a:lnTo>
                    <a:pt x="217" y="13"/>
                  </a:lnTo>
                  <a:lnTo>
                    <a:pt x="215" y="13"/>
                  </a:lnTo>
                  <a:lnTo>
                    <a:pt x="215" y="14"/>
                  </a:lnTo>
                  <a:lnTo>
                    <a:pt x="217" y="14"/>
                  </a:lnTo>
                  <a:lnTo>
                    <a:pt x="215" y="15"/>
                  </a:lnTo>
                  <a:lnTo>
                    <a:pt x="217" y="17"/>
                  </a:lnTo>
                  <a:lnTo>
                    <a:pt x="217" y="18"/>
                  </a:lnTo>
                  <a:lnTo>
                    <a:pt x="217" y="19"/>
                  </a:lnTo>
                  <a:lnTo>
                    <a:pt x="218" y="19"/>
                  </a:lnTo>
                  <a:lnTo>
                    <a:pt x="218" y="18"/>
                  </a:lnTo>
                  <a:lnTo>
                    <a:pt x="219" y="18"/>
                  </a:lnTo>
                  <a:lnTo>
                    <a:pt x="220" y="18"/>
                  </a:lnTo>
                  <a:lnTo>
                    <a:pt x="222" y="18"/>
                  </a:lnTo>
                  <a:lnTo>
                    <a:pt x="222" y="19"/>
                  </a:lnTo>
                  <a:lnTo>
                    <a:pt x="223" y="19"/>
                  </a:lnTo>
                  <a:lnTo>
                    <a:pt x="223" y="18"/>
                  </a:lnTo>
                  <a:lnTo>
                    <a:pt x="223" y="17"/>
                  </a:lnTo>
                  <a:lnTo>
                    <a:pt x="223" y="15"/>
                  </a:lnTo>
                  <a:lnTo>
                    <a:pt x="224" y="14"/>
                  </a:lnTo>
                  <a:lnTo>
                    <a:pt x="224" y="15"/>
                  </a:lnTo>
                  <a:lnTo>
                    <a:pt x="225" y="15"/>
                  </a:lnTo>
                  <a:lnTo>
                    <a:pt x="226" y="15"/>
                  </a:lnTo>
                  <a:lnTo>
                    <a:pt x="226" y="17"/>
                  </a:lnTo>
                  <a:lnTo>
                    <a:pt x="226" y="18"/>
                  </a:lnTo>
                  <a:lnTo>
                    <a:pt x="225" y="18"/>
                  </a:lnTo>
                  <a:lnTo>
                    <a:pt x="225" y="19"/>
                  </a:lnTo>
                  <a:lnTo>
                    <a:pt x="225" y="21"/>
                  </a:lnTo>
                  <a:lnTo>
                    <a:pt x="226" y="21"/>
                  </a:lnTo>
                  <a:lnTo>
                    <a:pt x="226" y="23"/>
                  </a:lnTo>
                  <a:lnTo>
                    <a:pt x="228" y="23"/>
                  </a:lnTo>
                  <a:lnTo>
                    <a:pt x="226" y="23"/>
                  </a:lnTo>
                  <a:lnTo>
                    <a:pt x="226" y="24"/>
                  </a:lnTo>
                  <a:lnTo>
                    <a:pt x="225" y="24"/>
                  </a:lnTo>
                  <a:lnTo>
                    <a:pt x="225" y="25"/>
                  </a:lnTo>
                  <a:lnTo>
                    <a:pt x="224" y="26"/>
                  </a:lnTo>
                  <a:lnTo>
                    <a:pt x="224" y="27"/>
                  </a:lnTo>
                  <a:lnTo>
                    <a:pt x="224" y="29"/>
                  </a:lnTo>
                  <a:lnTo>
                    <a:pt x="225" y="29"/>
                  </a:lnTo>
                  <a:lnTo>
                    <a:pt x="225" y="30"/>
                  </a:lnTo>
                  <a:lnTo>
                    <a:pt x="225" y="31"/>
                  </a:lnTo>
                  <a:lnTo>
                    <a:pt x="226" y="30"/>
                  </a:lnTo>
                  <a:lnTo>
                    <a:pt x="226" y="31"/>
                  </a:lnTo>
                  <a:lnTo>
                    <a:pt x="228" y="31"/>
                  </a:lnTo>
                  <a:lnTo>
                    <a:pt x="229" y="32"/>
                  </a:lnTo>
                  <a:lnTo>
                    <a:pt x="229" y="31"/>
                  </a:lnTo>
                  <a:lnTo>
                    <a:pt x="230" y="31"/>
                  </a:lnTo>
                  <a:lnTo>
                    <a:pt x="230" y="30"/>
                  </a:lnTo>
                  <a:lnTo>
                    <a:pt x="230" y="29"/>
                  </a:lnTo>
                  <a:lnTo>
                    <a:pt x="231" y="29"/>
                  </a:lnTo>
                  <a:lnTo>
                    <a:pt x="231" y="27"/>
                  </a:lnTo>
                  <a:lnTo>
                    <a:pt x="231" y="26"/>
                  </a:lnTo>
                  <a:lnTo>
                    <a:pt x="232" y="25"/>
                  </a:lnTo>
                  <a:lnTo>
                    <a:pt x="232" y="23"/>
                  </a:lnTo>
                  <a:lnTo>
                    <a:pt x="232" y="21"/>
                  </a:lnTo>
                  <a:lnTo>
                    <a:pt x="232" y="20"/>
                  </a:lnTo>
                  <a:lnTo>
                    <a:pt x="234" y="20"/>
                  </a:lnTo>
                  <a:lnTo>
                    <a:pt x="235" y="19"/>
                  </a:lnTo>
                  <a:lnTo>
                    <a:pt x="235" y="20"/>
                  </a:lnTo>
                  <a:lnTo>
                    <a:pt x="236" y="20"/>
                  </a:lnTo>
                  <a:lnTo>
                    <a:pt x="236" y="21"/>
                  </a:lnTo>
                  <a:lnTo>
                    <a:pt x="236" y="23"/>
                  </a:lnTo>
                  <a:lnTo>
                    <a:pt x="236" y="24"/>
                  </a:lnTo>
                  <a:lnTo>
                    <a:pt x="237" y="24"/>
                  </a:lnTo>
                  <a:lnTo>
                    <a:pt x="238" y="24"/>
                  </a:lnTo>
                  <a:lnTo>
                    <a:pt x="238" y="25"/>
                  </a:lnTo>
                  <a:lnTo>
                    <a:pt x="238" y="26"/>
                  </a:lnTo>
                  <a:lnTo>
                    <a:pt x="240" y="27"/>
                  </a:lnTo>
                  <a:lnTo>
                    <a:pt x="240" y="26"/>
                  </a:lnTo>
                  <a:lnTo>
                    <a:pt x="241" y="26"/>
                  </a:lnTo>
                  <a:lnTo>
                    <a:pt x="241" y="25"/>
                  </a:lnTo>
                  <a:lnTo>
                    <a:pt x="242" y="26"/>
                  </a:lnTo>
                  <a:lnTo>
                    <a:pt x="243" y="27"/>
                  </a:lnTo>
                  <a:lnTo>
                    <a:pt x="243" y="26"/>
                  </a:lnTo>
                  <a:lnTo>
                    <a:pt x="242" y="26"/>
                  </a:lnTo>
                  <a:lnTo>
                    <a:pt x="242" y="25"/>
                  </a:lnTo>
                  <a:lnTo>
                    <a:pt x="243" y="25"/>
                  </a:lnTo>
                  <a:lnTo>
                    <a:pt x="243" y="24"/>
                  </a:lnTo>
                  <a:lnTo>
                    <a:pt x="243" y="23"/>
                  </a:lnTo>
                  <a:lnTo>
                    <a:pt x="244" y="23"/>
                  </a:lnTo>
                  <a:lnTo>
                    <a:pt x="246" y="21"/>
                  </a:lnTo>
                  <a:lnTo>
                    <a:pt x="244" y="21"/>
                  </a:lnTo>
                  <a:lnTo>
                    <a:pt x="244" y="20"/>
                  </a:lnTo>
                  <a:lnTo>
                    <a:pt x="244" y="19"/>
                  </a:lnTo>
                  <a:lnTo>
                    <a:pt x="244" y="18"/>
                  </a:lnTo>
                  <a:lnTo>
                    <a:pt x="244" y="19"/>
                  </a:lnTo>
                  <a:lnTo>
                    <a:pt x="246" y="19"/>
                  </a:lnTo>
                  <a:lnTo>
                    <a:pt x="244" y="18"/>
                  </a:lnTo>
                  <a:lnTo>
                    <a:pt x="244" y="17"/>
                  </a:lnTo>
                  <a:lnTo>
                    <a:pt x="243" y="17"/>
                  </a:lnTo>
                  <a:lnTo>
                    <a:pt x="242" y="17"/>
                  </a:lnTo>
                  <a:lnTo>
                    <a:pt x="242" y="15"/>
                  </a:lnTo>
                  <a:lnTo>
                    <a:pt x="242" y="14"/>
                  </a:lnTo>
                  <a:lnTo>
                    <a:pt x="241" y="13"/>
                  </a:lnTo>
                  <a:lnTo>
                    <a:pt x="241" y="12"/>
                  </a:lnTo>
                  <a:lnTo>
                    <a:pt x="240" y="11"/>
                  </a:lnTo>
                  <a:lnTo>
                    <a:pt x="241" y="9"/>
                  </a:lnTo>
                  <a:lnTo>
                    <a:pt x="242" y="9"/>
                  </a:lnTo>
                  <a:lnTo>
                    <a:pt x="242" y="11"/>
                  </a:lnTo>
                  <a:lnTo>
                    <a:pt x="243" y="11"/>
                  </a:lnTo>
                  <a:lnTo>
                    <a:pt x="243" y="8"/>
                  </a:lnTo>
                  <a:lnTo>
                    <a:pt x="243" y="7"/>
                  </a:lnTo>
                  <a:lnTo>
                    <a:pt x="244" y="6"/>
                  </a:lnTo>
                  <a:lnTo>
                    <a:pt x="246" y="5"/>
                  </a:lnTo>
                  <a:lnTo>
                    <a:pt x="246" y="6"/>
                  </a:lnTo>
                  <a:lnTo>
                    <a:pt x="247" y="5"/>
                  </a:lnTo>
                  <a:lnTo>
                    <a:pt x="247" y="6"/>
                  </a:lnTo>
                  <a:lnTo>
                    <a:pt x="247" y="7"/>
                  </a:lnTo>
                  <a:lnTo>
                    <a:pt x="247" y="8"/>
                  </a:lnTo>
                  <a:lnTo>
                    <a:pt x="248" y="8"/>
                  </a:lnTo>
                  <a:lnTo>
                    <a:pt x="248" y="9"/>
                  </a:lnTo>
                  <a:lnTo>
                    <a:pt x="249" y="9"/>
                  </a:lnTo>
                  <a:lnTo>
                    <a:pt x="249" y="11"/>
                  </a:lnTo>
                  <a:lnTo>
                    <a:pt x="249" y="12"/>
                  </a:lnTo>
                  <a:lnTo>
                    <a:pt x="248" y="12"/>
                  </a:lnTo>
                  <a:lnTo>
                    <a:pt x="248" y="13"/>
                  </a:lnTo>
                  <a:lnTo>
                    <a:pt x="247" y="13"/>
                  </a:lnTo>
                  <a:lnTo>
                    <a:pt x="247" y="14"/>
                  </a:lnTo>
                  <a:lnTo>
                    <a:pt x="247" y="15"/>
                  </a:lnTo>
                  <a:lnTo>
                    <a:pt x="248" y="15"/>
                  </a:lnTo>
                  <a:lnTo>
                    <a:pt x="248" y="17"/>
                  </a:lnTo>
                  <a:lnTo>
                    <a:pt x="248" y="15"/>
                  </a:lnTo>
                  <a:lnTo>
                    <a:pt x="249" y="15"/>
                  </a:lnTo>
                  <a:lnTo>
                    <a:pt x="250" y="14"/>
                  </a:lnTo>
                  <a:lnTo>
                    <a:pt x="252" y="14"/>
                  </a:lnTo>
                  <a:lnTo>
                    <a:pt x="253" y="14"/>
                  </a:lnTo>
                  <a:lnTo>
                    <a:pt x="253" y="15"/>
                  </a:lnTo>
                  <a:lnTo>
                    <a:pt x="253" y="18"/>
                  </a:lnTo>
                  <a:lnTo>
                    <a:pt x="254" y="18"/>
                  </a:lnTo>
                  <a:lnTo>
                    <a:pt x="254" y="19"/>
                  </a:lnTo>
                  <a:lnTo>
                    <a:pt x="255" y="20"/>
                  </a:lnTo>
                  <a:lnTo>
                    <a:pt x="255" y="18"/>
                  </a:lnTo>
                  <a:lnTo>
                    <a:pt x="256" y="18"/>
                  </a:lnTo>
                  <a:lnTo>
                    <a:pt x="256" y="17"/>
                  </a:lnTo>
                  <a:lnTo>
                    <a:pt x="255" y="17"/>
                  </a:lnTo>
                  <a:lnTo>
                    <a:pt x="255" y="15"/>
                  </a:lnTo>
                  <a:lnTo>
                    <a:pt x="256" y="15"/>
                  </a:lnTo>
                  <a:lnTo>
                    <a:pt x="255" y="13"/>
                  </a:lnTo>
                  <a:lnTo>
                    <a:pt x="255" y="12"/>
                  </a:lnTo>
                  <a:lnTo>
                    <a:pt x="256" y="12"/>
                  </a:lnTo>
                  <a:lnTo>
                    <a:pt x="256" y="11"/>
                  </a:lnTo>
                  <a:lnTo>
                    <a:pt x="258" y="9"/>
                  </a:lnTo>
                  <a:lnTo>
                    <a:pt x="259" y="9"/>
                  </a:lnTo>
                  <a:lnTo>
                    <a:pt x="260" y="11"/>
                  </a:lnTo>
                  <a:lnTo>
                    <a:pt x="260" y="9"/>
                  </a:lnTo>
                  <a:lnTo>
                    <a:pt x="260" y="8"/>
                  </a:lnTo>
                  <a:lnTo>
                    <a:pt x="260" y="7"/>
                  </a:lnTo>
                  <a:lnTo>
                    <a:pt x="261" y="7"/>
                  </a:lnTo>
                  <a:lnTo>
                    <a:pt x="261" y="6"/>
                  </a:lnTo>
                  <a:lnTo>
                    <a:pt x="261" y="3"/>
                  </a:lnTo>
                  <a:lnTo>
                    <a:pt x="264" y="3"/>
                  </a:lnTo>
                  <a:lnTo>
                    <a:pt x="264" y="5"/>
                  </a:lnTo>
                  <a:lnTo>
                    <a:pt x="264" y="6"/>
                  </a:lnTo>
                  <a:lnTo>
                    <a:pt x="265" y="7"/>
                  </a:lnTo>
                  <a:lnTo>
                    <a:pt x="265" y="6"/>
                  </a:lnTo>
                  <a:lnTo>
                    <a:pt x="266" y="5"/>
                  </a:lnTo>
                  <a:lnTo>
                    <a:pt x="266" y="3"/>
                  </a:lnTo>
                  <a:lnTo>
                    <a:pt x="267" y="2"/>
                  </a:lnTo>
                  <a:lnTo>
                    <a:pt x="267" y="0"/>
                  </a:lnTo>
                  <a:lnTo>
                    <a:pt x="268" y="0"/>
                  </a:lnTo>
                  <a:lnTo>
                    <a:pt x="271" y="0"/>
                  </a:lnTo>
                  <a:lnTo>
                    <a:pt x="271" y="1"/>
                  </a:lnTo>
                  <a:lnTo>
                    <a:pt x="271" y="2"/>
                  </a:lnTo>
                  <a:lnTo>
                    <a:pt x="270" y="3"/>
                  </a:lnTo>
                  <a:lnTo>
                    <a:pt x="270" y="5"/>
                  </a:lnTo>
                  <a:lnTo>
                    <a:pt x="271" y="6"/>
                  </a:lnTo>
                  <a:lnTo>
                    <a:pt x="272" y="6"/>
                  </a:lnTo>
                  <a:lnTo>
                    <a:pt x="272" y="7"/>
                  </a:lnTo>
                  <a:lnTo>
                    <a:pt x="271" y="8"/>
                  </a:lnTo>
                  <a:lnTo>
                    <a:pt x="271" y="9"/>
                  </a:lnTo>
                  <a:lnTo>
                    <a:pt x="270" y="11"/>
                  </a:lnTo>
                  <a:lnTo>
                    <a:pt x="271" y="11"/>
                  </a:lnTo>
                  <a:lnTo>
                    <a:pt x="272" y="11"/>
                  </a:lnTo>
                  <a:lnTo>
                    <a:pt x="272" y="12"/>
                  </a:lnTo>
                  <a:lnTo>
                    <a:pt x="272" y="13"/>
                  </a:lnTo>
                  <a:lnTo>
                    <a:pt x="272" y="14"/>
                  </a:lnTo>
                  <a:lnTo>
                    <a:pt x="272" y="15"/>
                  </a:lnTo>
                  <a:lnTo>
                    <a:pt x="271" y="15"/>
                  </a:lnTo>
                  <a:lnTo>
                    <a:pt x="271" y="17"/>
                  </a:lnTo>
                  <a:lnTo>
                    <a:pt x="271" y="18"/>
                  </a:lnTo>
                  <a:lnTo>
                    <a:pt x="270" y="18"/>
                  </a:lnTo>
                  <a:lnTo>
                    <a:pt x="271" y="18"/>
                  </a:lnTo>
                  <a:lnTo>
                    <a:pt x="271" y="19"/>
                  </a:lnTo>
                  <a:lnTo>
                    <a:pt x="271" y="20"/>
                  </a:lnTo>
                  <a:lnTo>
                    <a:pt x="271" y="21"/>
                  </a:lnTo>
                  <a:lnTo>
                    <a:pt x="270" y="23"/>
                  </a:lnTo>
                  <a:lnTo>
                    <a:pt x="270" y="24"/>
                  </a:lnTo>
                  <a:lnTo>
                    <a:pt x="270" y="25"/>
                  </a:lnTo>
                  <a:lnTo>
                    <a:pt x="270" y="26"/>
                  </a:lnTo>
                  <a:lnTo>
                    <a:pt x="270" y="27"/>
                  </a:lnTo>
                  <a:lnTo>
                    <a:pt x="270" y="26"/>
                  </a:lnTo>
                  <a:lnTo>
                    <a:pt x="271" y="25"/>
                  </a:lnTo>
                  <a:lnTo>
                    <a:pt x="272" y="25"/>
                  </a:lnTo>
                  <a:lnTo>
                    <a:pt x="272" y="26"/>
                  </a:lnTo>
                  <a:lnTo>
                    <a:pt x="273" y="26"/>
                  </a:lnTo>
                  <a:lnTo>
                    <a:pt x="274" y="25"/>
                  </a:lnTo>
                  <a:lnTo>
                    <a:pt x="276" y="25"/>
                  </a:lnTo>
                  <a:lnTo>
                    <a:pt x="276" y="24"/>
                  </a:lnTo>
                  <a:lnTo>
                    <a:pt x="277" y="24"/>
                  </a:lnTo>
                  <a:lnTo>
                    <a:pt x="278" y="24"/>
                  </a:lnTo>
                  <a:lnTo>
                    <a:pt x="278" y="25"/>
                  </a:lnTo>
                  <a:lnTo>
                    <a:pt x="278" y="26"/>
                  </a:lnTo>
                  <a:lnTo>
                    <a:pt x="278" y="27"/>
                  </a:lnTo>
                  <a:lnTo>
                    <a:pt x="277" y="29"/>
                  </a:lnTo>
                  <a:lnTo>
                    <a:pt x="277" y="30"/>
                  </a:lnTo>
                  <a:lnTo>
                    <a:pt x="277" y="31"/>
                  </a:lnTo>
                  <a:lnTo>
                    <a:pt x="277" y="32"/>
                  </a:lnTo>
                  <a:lnTo>
                    <a:pt x="277" y="33"/>
                  </a:lnTo>
                  <a:lnTo>
                    <a:pt x="277" y="35"/>
                  </a:lnTo>
                  <a:lnTo>
                    <a:pt x="278" y="35"/>
                  </a:lnTo>
                  <a:lnTo>
                    <a:pt x="278" y="33"/>
                  </a:lnTo>
                  <a:lnTo>
                    <a:pt x="279" y="33"/>
                  </a:lnTo>
                  <a:lnTo>
                    <a:pt x="279" y="32"/>
                  </a:lnTo>
                  <a:lnTo>
                    <a:pt x="279" y="31"/>
                  </a:lnTo>
                  <a:lnTo>
                    <a:pt x="279" y="30"/>
                  </a:lnTo>
                  <a:lnTo>
                    <a:pt x="281" y="29"/>
                  </a:lnTo>
                  <a:lnTo>
                    <a:pt x="283" y="30"/>
                  </a:lnTo>
                  <a:lnTo>
                    <a:pt x="284" y="30"/>
                  </a:lnTo>
                  <a:lnTo>
                    <a:pt x="285" y="30"/>
                  </a:lnTo>
                  <a:lnTo>
                    <a:pt x="284" y="31"/>
                  </a:lnTo>
                  <a:lnTo>
                    <a:pt x="284" y="32"/>
                  </a:lnTo>
                  <a:lnTo>
                    <a:pt x="285" y="31"/>
                  </a:lnTo>
                  <a:lnTo>
                    <a:pt x="288" y="31"/>
                  </a:lnTo>
                  <a:lnTo>
                    <a:pt x="288" y="30"/>
                  </a:lnTo>
                  <a:lnTo>
                    <a:pt x="287" y="30"/>
                  </a:lnTo>
                  <a:lnTo>
                    <a:pt x="287" y="29"/>
                  </a:lnTo>
                  <a:lnTo>
                    <a:pt x="288" y="29"/>
                  </a:lnTo>
                  <a:lnTo>
                    <a:pt x="288" y="27"/>
                  </a:lnTo>
                  <a:lnTo>
                    <a:pt x="287" y="27"/>
                  </a:lnTo>
                  <a:lnTo>
                    <a:pt x="287" y="26"/>
                  </a:lnTo>
                  <a:lnTo>
                    <a:pt x="287" y="24"/>
                  </a:lnTo>
                  <a:lnTo>
                    <a:pt x="287" y="23"/>
                  </a:lnTo>
                  <a:lnTo>
                    <a:pt x="288" y="23"/>
                  </a:lnTo>
                  <a:lnTo>
                    <a:pt x="288" y="24"/>
                  </a:lnTo>
                  <a:lnTo>
                    <a:pt x="289" y="25"/>
                  </a:lnTo>
                  <a:lnTo>
                    <a:pt x="290" y="25"/>
                  </a:lnTo>
                  <a:lnTo>
                    <a:pt x="290" y="26"/>
                  </a:lnTo>
                  <a:lnTo>
                    <a:pt x="291" y="26"/>
                  </a:lnTo>
                  <a:lnTo>
                    <a:pt x="291" y="25"/>
                  </a:lnTo>
                  <a:lnTo>
                    <a:pt x="291" y="24"/>
                  </a:lnTo>
                  <a:lnTo>
                    <a:pt x="293" y="24"/>
                  </a:lnTo>
                  <a:lnTo>
                    <a:pt x="293" y="23"/>
                  </a:lnTo>
                  <a:lnTo>
                    <a:pt x="293" y="21"/>
                  </a:lnTo>
                  <a:lnTo>
                    <a:pt x="294" y="20"/>
                  </a:lnTo>
                  <a:lnTo>
                    <a:pt x="295" y="20"/>
                  </a:lnTo>
                  <a:lnTo>
                    <a:pt x="296" y="19"/>
                  </a:lnTo>
                  <a:lnTo>
                    <a:pt x="295" y="18"/>
                  </a:lnTo>
                  <a:lnTo>
                    <a:pt x="294" y="18"/>
                  </a:lnTo>
                  <a:lnTo>
                    <a:pt x="293" y="17"/>
                  </a:lnTo>
                  <a:lnTo>
                    <a:pt x="293" y="15"/>
                  </a:lnTo>
                  <a:lnTo>
                    <a:pt x="294" y="15"/>
                  </a:lnTo>
                  <a:lnTo>
                    <a:pt x="294" y="14"/>
                  </a:lnTo>
                  <a:lnTo>
                    <a:pt x="295" y="14"/>
                  </a:lnTo>
                  <a:lnTo>
                    <a:pt x="296" y="15"/>
                  </a:lnTo>
                  <a:lnTo>
                    <a:pt x="296" y="14"/>
                  </a:lnTo>
                  <a:lnTo>
                    <a:pt x="296" y="13"/>
                  </a:lnTo>
                  <a:lnTo>
                    <a:pt x="296" y="12"/>
                  </a:lnTo>
                  <a:lnTo>
                    <a:pt x="296" y="11"/>
                  </a:lnTo>
                  <a:lnTo>
                    <a:pt x="296" y="9"/>
                  </a:lnTo>
                  <a:lnTo>
                    <a:pt x="296" y="8"/>
                  </a:lnTo>
                  <a:lnTo>
                    <a:pt x="297" y="8"/>
                  </a:lnTo>
                  <a:lnTo>
                    <a:pt x="299" y="8"/>
                  </a:lnTo>
                  <a:lnTo>
                    <a:pt x="299" y="7"/>
                  </a:lnTo>
                  <a:lnTo>
                    <a:pt x="300" y="7"/>
                  </a:lnTo>
                  <a:lnTo>
                    <a:pt x="300" y="6"/>
                  </a:lnTo>
                  <a:lnTo>
                    <a:pt x="300" y="5"/>
                  </a:lnTo>
                  <a:lnTo>
                    <a:pt x="301" y="5"/>
                  </a:lnTo>
                  <a:lnTo>
                    <a:pt x="301" y="6"/>
                  </a:lnTo>
                  <a:lnTo>
                    <a:pt x="302" y="6"/>
                  </a:lnTo>
                  <a:lnTo>
                    <a:pt x="303" y="6"/>
                  </a:lnTo>
                  <a:lnTo>
                    <a:pt x="303" y="7"/>
                  </a:lnTo>
                  <a:lnTo>
                    <a:pt x="302" y="7"/>
                  </a:lnTo>
                  <a:lnTo>
                    <a:pt x="302" y="8"/>
                  </a:lnTo>
                  <a:lnTo>
                    <a:pt x="302" y="9"/>
                  </a:lnTo>
                  <a:lnTo>
                    <a:pt x="302" y="11"/>
                  </a:lnTo>
                  <a:lnTo>
                    <a:pt x="302" y="12"/>
                  </a:lnTo>
                  <a:lnTo>
                    <a:pt x="302" y="13"/>
                  </a:lnTo>
                  <a:lnTo>
                    <a:pt x="302" y="14"/>
                  </a:lnTo>
                  <a:lnTo>
                    <a:pt x="302" y="15"/>
                  </a:lnTo>
                  <a:lnTo>
                    <a:pt x="302" y="14"/>
                  </a:lnTo>
                  <a:lnTo>
                    <a:pt x="303" y="14"/>
                  </a:lnTo>
                  <a:lnTo>
                    <a:pt x="305" y="14"/>
                  </a:lnTo>
                  <a:lnTo>
                    <a:pt x="305" y="13"/>
                  </a:lnTo>
                  <a:lnTo>
                    <a:pt x="305" y="14"/>
                  </a:lnTo>
                  <a:lnTo>
                    <a:pt x="306" y="14"/>
                  </a:lnTo>
                  <a:lnTo>
                    <a:pt x="306" y="15"/>
                  </a:lnTo>
                  <a:lnTo>
                    <a:pt x="306" y="17"/>
                  </a:lnTo>
                  <a:lnTo>
                    <a:pt x="305" y="17"/>
                  </a:lnTo>
                  <a:lnTo>
                    <a:pt x="303" y="18"/>
                  </a:lnTo>
                  <a:lnTo>
                    <a:pt x="302" y="18"/>
                  </a:lnTo>
                  <a:lnTo>
                    <a:pt x="302" y="19"/>
                  </a:lnTo>
                  <a:lnTo>
                    <a:pt x="301" y="19"/>
                  </a:lnTo>
                  <a:lnTo>
                    <a:pt x="301" y="20"/>
                  </a:lnTo>
                  <a:lnTo>
                    <a:pt x="300" y="21"/>
                  </a:lnTo>
                  <a:lnTo>
                    <a:pt x="299" y="21"/>
                  </a:lnTo>
                  <a:lnTo>
                    <a:pt x="299" y="23"/>
                  </a:lnTo>
                  <a:lnTo>
                    <a:pt x="300" y="23"/>
                  </a:lnTo>
                  <a:lnTo>
                    <a:pt x="300" y="24"/>
                  </a:lnTo>
                  <a:lnTo>
                    <a:pt x="300" y="25"/>
                  </a:lnTo>
                  <a:lnTo>
                    <a:pt x="299" y="25"/>
                  </a:lnTo>
                  <a:lnTo>
                    <a:pt x="299" y="26"/>
                  </a:lnTo>
                  <a:lnTo>
                    <a:pt x="299" y="27"/>
                  </a:lnTo>
                  <a:lnTo>
                    <a:pt x="300" y="27"/>
                  </a:lnTo>
                  <a:lnTo>
                    <a:pt x="300" y="29"/>
                  </a:lnTo>
                  <a:lnTo>
                    <a:pt x="300" y="27"/>
                  </a:lnTo>
                  <a:lnTo>
                    <a:pt x="301" y="26"/>
                  </a:lnTo>
                  <a:lnTo>
                    <a:pt x="300" y="26"/>
                  </a:lnTo>
                  <a:lnTo>
                    <a:pt x="301" y="26"/>
                  </a:lnTo>
                  <a:lnTo>
                    <a:pt x="302" y="26"/>
                  </a:lnTo>
                  <a:lnTo>
                    <a:pt x="302" y="25"/>
                  </a:lnTo>
                  <a:lnTo>
                    <a:pt x="302" y="26"/>
                  </a:lnTo>
                  <a:lnTo>
                    <a:pt x="303" y="26"/>
                  </a:lnTo>
                  <a:lnTo>
                    <a:pt x="305" y="27"/>
                  </a:lnTo>
                  <a:lnTo>
                    <a:pt x="306" y="27"/>
                  </a:lnTo>
                  <a:lnTo>
                    <a:pt x="306" y="26"/>
                  </a:lnTo>
                  <a:lnTo>
                    <a:pt x="306" y="25"/>
                  </a:lnTo>
                  <a:lnTo>
                    <a:pt x="307" y="25"/>
                  </a:lnTo>
                  <a:lnTo>
                    <a:pt x="308" y="25"/>
                  </a:lnTo>
                  <a:lnTo>
                    <a:pt x="308" y="24"/>
                  </a:lnTo>
                  <a:lnTo>
                    <a:pt x="308" y="21"/>
                  </a:lnTo>
                  <a:lnTo>
                    <a:pt x="308" y="20"/>
                  </a:lnTo>
                  <a:lnTo>
                    <a:pt x="308" y="19"/>
                  </a:lnTo>
                  <a:lnTo>
                    <a:pt x="307" y="18"/>
                  </a:lnTo>
                  <a:lnTo>
                    <a:pt x="308" y="18"/>
                  </a:lnTo>
                  <a:lnTo>
                    <a:pt x="308" y="17"/>
                  </a:lnTo>
                  <a:lnTo>
                    <a:pt x="309" y="17"/>
                  </a:lnTo>
                  <a:lnTo>
                    <a:pt x="309" y="15"/>
                  </a:lnTo>
                  <a:lnTo>
                    <a:pt x="311" y="14"/>
                  </a:lnTo>
                  <a:lnTo>
                    <a:pt x="311" y="13"/>
                  </a:lnTo>
                  <a:lnTo>
                    <a:pt x="312" y="13"/>
                  </a:lnTo>
                  <a:lnTo>
                    <a:pt x="312" y="14"/>
                  </a:lnTo>
                  <a:lnTo>
                    <a:pt x="312" y="15"/>
                  </a:lnTo>
                  <a:lnTo>
                    <a:pt x="313" y="18"/>
                  </a:lnTo>
                  <a:lnTo>
                    <a:pt x="313" y="17"/>
                  </a:lnTo>
                  <a:lnTo>
                    <a:pt x="314" y="15"/>
                  </a:lnTo>
                  <a:lnTo>
                    <a:pt x="314" y="14"/>
                  </a:lnTo>
                  <a:lnTo>
                    <a:pt x="314" y="13"/>
                  </a:lnTo>
                  <a:lnTo>
                    <a:pt x="315" y="12"/>
                  </a:lnTo>
                  <a:lnTo>
                    <a:pt x="315" y="11"/>
                  </a:lnTo>
                  <a:lnTo>
                    <a:pt x="317" y="11"/>
                  </a:lnTo>
                  <a:lnTo>
                    <a:pt x="317" y="12"/>
                  </a:lnTo>
                  <a:lnTo>
                    <a:pt x="318" y="12"/>
                  </a:lnTo>
                  <a:lnTo>
                    <a:pt x="318" y="11"/>
                  </a:lnTo>
                  <a:lnTo>
                    <a:pt x="318" y="9"/>
                  </a:lnTo>
                  <a:lnTo>
                    <a:pt x="318" y="8"/>
                  </a:lnTo>
                  <a:lnTo>
                    <a:pt x="319" y="8"/>
                  </a:lnTo>
                  <a:lnTo>
                    <a:pt x="319" y="7"/>
                  </a:lnTo>
                  <a:lnTo>
                    <a:pt x="319" y="8"/>
                  </a:lnTo>
                  <a:lnTo>
                    <a:pt x="320" y="8"/>
                  </a:lnTo>
                  <a:lnTo>
                    <a:pt x="321" y="8"/>
                  </a:lnTo>
                  <a:lnTo>
                    <a:pt x="321" y="9"/>
                  </a:lnTo>
                  <a:lnTo>
                    <a:pt x="320" y="11"/>
                  </a:lnTo>
                  <a:lnTo>
                    <a:pt x="320" y="12"/>
                  </a:lnTo>
                  <a:lnTo>
                    <a:pt x="320" y="13"/>
                  </a:lnTo>
                  <a:lnTo>
                    <a:pt x="321" y="14"/>
                  </a:lnTo>
                  <a:lnTo>
                    <a:pt x="321" y="15"/>
                  </a:lnTo>
                  <a:lnTo>
                    <a:pt x="321" y="17"/>
                  </a:lnTo>
                  <a:lnTo>
                    <a:pt x="320" y="17"/>
                  </a:lnTo>
                  <a:lnTo>
                    <a:pt x="320" y="18"/>
                  </a:lnTo>
                  <a:lnTo>
                    <a:pt x="319" y="18"/>
                  </a:lnTo>
                  <a:lnTo>
                    <a:pt x="319" y="19"/>
                  </a:lnTo>
                  <a:lnTo>
                    <a:pt x="319" y="20"/>
                  </a:lnTo>
                  <a:lnTo>
                    <a:pt x="318" y="20"/>
                  </a:lnTo>
                  <a:lnTo>
                    <a:pt x="317" y="20"/>
                  </a:lnTo>
                  <a:lnTo>
                    <a:pt x="317" y="21"/>
                  </a:lnTo>
                  <a:lnTo>
                    <a:pt x="315" y="21"/>
                  </a:lnTo>
                  <a:lnTo>
                    <a:pt x="314" y="23"/>
                  </a:lnTo>
                  <a:lnTo>
                    <a:pt x="315" y="23"/>
                  </a:lnTo>
                  <a:lnTo>
                    <a:pt x="317" y="23"/>
                  </a:lnTo>
                  <a:lnTo>
                    <a:pt x="317" y="24"/>
                  </a:lnTo>
                  <a:lnTo>
                    <a:pt x="318" y="23"/>
                  </a:lnTo>
                  <a:lnTo>
                    <a:pt x="319" y="23"/>
                  </a:lnTo>
                  <a:lnTo>
                    <a:pt x="320" y="23"/>
                  </a:lnTo>
                  <a:lnTo>
                    <a:pt x="320" y="24"/>
                  </a:lnTo>
                  <a:lnTo>
                    <a:pt x="320" y="25"/>
                  </a:lnTo>
                  <a:lnTo>
                    <a:pt x="321" y="26"/>
                  </a:lnTo>
                  <a:lnTo>
                    <a:pt x="321" y="27"/>
                  </a:lnTo>
                  <a:lnTo>
                    <a:pt x="323" y="27"/>
                  </a:lnTo>
                  <a:lnTo>
                    <a:pt x="323" y="26"/>
                  </a:lnTo>
                  <a:lnTo>
                    <a:pt x="324" y="26"/>
                  </a:lnTo>
                  <a:lnTo>
                    <a:pt x="323" y="25"/>
                  </a:lnTo>
                  <a:lnTo>
                    <a:pt x="324" y="23"/>
                  </a:lnTo>
                  <a:lnTo>
                    <a:pt x="325" y="23"/>
                  </a:lnTo>
                  <a:lnTo>
                    <a:pt x="326" y="24"/>
                  </a:lnTo>
                  <a:lnTo>
                    <a:pt x="326" y="23"/>
                  </a:lnTo>
                  <a:lnTo>
                    <a:pt x="327" y="23"/>
                  </a:lnTo>
                  <a:lnTo>
                    <a:pt x="329" y="21"/>
                  </a:lnTo>
                  <a:lnTo>
                    <a:pt x="330" y="20"/>
                  </a:lnTo>
                  <a:lnTo>
                    <a:pt x="331" y="19"/>
                  </a:lnTo>
                  <a:lnTo>
                    <a:pt x="332" y="21"/>
                  </a:lnTo>
                  <a:lnTo>
                    <a:pt x="332" y="23"/>
                  </a:lnTo>
                  <a:lnTo>
                    <a:pt x="331" y="24"/>
                  </a:lnTo>
                  <a:lnTo>
                    <a:pt x="330" y="25"/>
                  </a:lnTo>
                  <a:lnTo>
                    <a:pt x="330" y="26"/>
                  </a:lnTo>
                  <a:lnTo>
                    <a:pt x="329" y="27"/>
                  </a:lnTo>
                  <a:lnTo>
                    <a:pt x="329" y="30"/>
                  </a:lnTo>
                  <a:lnTo>
                    <a:pt x="327" y="30"/>
                  </a:lnTo>
                  <a:lnTo>
                    <a:pt x="327" y="31"/>
                  </a:lnTo>
                  <a:lnTo>
                    <a:pt x="326" y="37"/>
                  </a:lnTo>
                  <a:lnTo>
                    <a:pt x="326" y="38"/>
                  </a:lnTo>
                  <a:lnTo>
                    <a:pt x="327" y="38"/>
                  </a:lnTo>
                  <a:lnTo>
                    <a:pt x="327" y="39"/>
                  </a:lnTo>
                  <a:lnTo>
                    <a:pt x="327" y="38"/>
                  </a:lnTo>
                  <a:lnTo>
                    <a:pt x="329" y="38"/>
                  </a:lnTo>
                  <a:lnTo>
                    <a:pt x="330" y="38"/>
                  </a:lnTo>
                  <a:lnTo>
                    <a:pt x="329" y="39"/>
                  </a:lnTo>
                  <a:lnTo>
                    <a:pt x="329" y="41"/>
                  </a:lnTo>
                  <a:lnTo>
                    <a:pt x="327" y="41"/>
                  </a:lnTo>
                  <a:lnTo>
                    <a:pt x="327" y="42"/>
                  </a:lnTo>
                  <a:lnTo>
                    <a:pt x="326" y="43"/>
                  </a:lnTo>
                  <a:lnTo>
                    <a:pt x="327" y="43"/>
                  </a:lnTo>
                  <a:lnTo>
                    <a:pt x="327" y="44"/>
                  </a:lnTo>
                  <a:lnTo>
                    <a:pt x="327" y="45"/>
                  </a:lnTo>
                  <a:lnTo>
                    <a:pt x="327" y="47"/>
                  </a:lnTo>
                  <a:lnTo>
                    <a:pt x="329" y="48"/>
                  </a:lnTo>
                  <a:lnTo>
                    <a:pt x="330" y="48"/>
                  </a:lnTo>
                  <a:lnTo>
                    <a:pt x="330" y="47"/>
                  </a:lnTo>
                  <a:lnTo>
                    <a:pt x="331" y="47"/>
                  </a:lnTo>
                  <a:lnTo>
                    <a:pt x="331" y="45"/>
                  </a:lnTo>
                  <a:lnTo>
                    <a:pt x="332" y="45"/>
                  </a:lnTo>
                  <a:lnTo>
                    <a:pt x="332" y="43"/>
                  </a:lnTo>
                  <a:lnTo>
                    <a:pt x="333" y="43"/>
                  </a:lnTo>
                  <a:lnTo>
                    <a:pt x="333" y="42"/>
                  </a:lnTo>
                  <a:lnTo>
                    <a:pt x="333" y="41"/>
                  </a:lnTo>
                  <a:lnTo>
                    <a:pt x="332" y="38"/>
                  </a:lnTo>
                  <a:lnTo>
                    <a:pt x="332" y="37"/>
                  </a:lnTo>
                  <a:lnTo>
                    <a:pt x="333" y="37"/>
                  </a:lnTo>
                  <a:lnTo>
                    <a:pt x="333" y="36"/>
                  </a:lnTo>
                  <a:lnTo>
                    <a:pt x="333" y="35"/>
                  </a:lnTo>
                  <a:lnTo>
                    <a:pt x="332" y="35"/>
                  </a:lnTo>
                  <a:lnTo>
                    <a:pt x="333" y="33"/>
                  </a:lnTo>
                  <a:lnTo>
                    <a:pt x="335" y="33"/>
                  </a:lnTo>
                  <a:lnTo>
                    <a:pt x="336" y="33"/>
                  </a:lnTo>
                  <a:lnTo>
                    <a:pt x="336" y="32"/>
                  </a:lnTo>
                  <a:lnTo>
                    <a:pt x="336" y="31"/>
                  </a:lnTo>
                  <a:lnTo>
                    <a:pt x="336" y="30"/>
                  </a:lnTo>
                  <a:lnTo>
                    <a:pt x="337" y="30"/>
                  </a:lnTo>
                  <a:lnTo>
                    <a:pt x="338" y="30"/>
                  </a:lnTo>
                  <a:lnTo>
                    <a:pt x="340" y="30"/>
                  </a:lnTo>
                  <a:lnTo>
                    <a:pt x="340" y="31"/>
                  </a:lnTo>
                  <a:lnTo>
                    <a:pt x="340" y="32"/>
                  </a:lnTo>
                  <a:lnTo>
                    <a:pt x="340" y="35"/>
                  </a:lnTo>
                  <a:lnTo>
                    <a:pt x="338" y="35"/>
                  </a:lnTo>
                  <a:lnTo>
                    <a:pt x="338" y="36"/>
                  </a:lnTo>
                  <a:lnTo>
                    <a:pt x="338" y="37"/>
                  </a:lnTo>
                  <a:lnTo>
                    <a:pt x="340" y="38"/>
                  </a:lnTo>
                  <a:lnTo>
                    <a:pt x="340" y="37"/>
                  </a:lnTo>
                  <a:lnTo>
                    <a:pt x="341" y="37"/>
                  </a:lnTo>
                  <a:lnTo>
                    <a:pt x="341" y="38"/>
                  </a:lnTo>
                  <a:lnTo>
                    <a:pt x="342" y="38"/>
                  </a:lnTo>
                  <a:lnTo>
                    <a:pt x="341" y="38"/>
                  </a:lnTo>
                  <a:lnTo>
                    <a:pt x="341" y="39"/>
                  </a:lnTo>
                  <a:lnTo>
                    <a:pt x="340" y="39"/>
                  </a:lnTo>
                  <a:lnTo>
                    <a:pt x="340" y="41"/>
                  </a:lnTo>
                  <a:lnTo>
                    <a:pt x="338" y="41"/>
                  </a:lnTo>
                  <a:lnTo>
                    <a:pt x="338" y="42"/>
                  </a:lnTo>
                  <a:lnTo>
                    <a:pt x="337" y="42"/>
                  </a:lnTo>
                  <a:lnTo>
                    <a:pt x="337" y="43"/>
                  </a:lnTo>
                  <a:lnTo>
                    <a:pt x="336" y="43"/>
                  </a:lnTo>
                  <a:lnTo>
                    <a:pt x="336" y="44"/>
                  </a:lnTo>
                  <a:lnTo>
                    <a:pt x="337" y="44"/>
                  </a:lnTo>
                  <a:lnTo>
                    <a:pt x="336" y="44"/>
                  </a:lnTo>
                  <a:lnTo>
                    <a:pt x="337" y="45"/>
                  </a:lnTo>
                  <a:lnTo>
                    <a:pt x="338" y="47"/>
                  </a:lnTo>
                  <a:lnTo>
                    <a:pt x="340" y="47"/>
                  </a:lnTo>
                  <a:lnTo>
                    <a:pt x="341" y="47"/>
                  </a:lnTo>
                  <a:lnTo>
                    <a:pt x="341" y="45"/>
                  </a:lnTo>
                  <a:lnTo>
                    <a:pt x="341" y="44"/>
                  </a:lnTo>
                  <a:lnTo>
                    <a:pt x="342" y="41"/>
                  </a:lnTo>
                  <a:lnTo>
                    <a:pt x="343" y="39"/>
                  </a:lnTo>
                  <a:lnTo>
                    <a:pt x="343" y="41"/>
                  </a:lnTo>
                  <a:lnTo>
                    <a:pt x="344" y="41"/>
                  </a:lnTo>
                  <a:lnTo>
                    <a:pt x="346" y="41"/>
                  </a:lnTo>
                  <a:lnTo>
                    <a:pt x="347" y="41"/>
                  </a:lnTo>
                  <a:lnTo>
                    <a:pt x="348" y="41"/>
                  </a:lnTo>
                  <a:lnTo>
                    <a:pt x="347" y="41"/>
                  </a:lnTo>
                  <a:lnTo>
                    <a:pt x="348" y="39"/>
                  </a:lnTo>
                  <a:lnTo>
                    <a:pt x="347" y="39"/>
                  </a:lnTo>
                  <a:lnTo>
                    <a:pt x="344" y="39"/>
                  </a:lnTo>
                  <a:lnTo>
                    <a:pt x="346" y="39"/>
                  </a:lnTo>
                  <a:lnTo>
                    <a:pt x="344" y="39"/>
                  </a:lnTo>
                  <a:lnTo>
                    <a:pt x="344" y="38"/>
                  </a:lnTo>
                  <a:lnTo>
                    <a:pt x="344" y="37"/>
                  </a:lnTo>
                  <a:lnTo>
                    <a:pt x="343" y="37"/>
                  </a:lnTo>
                  <a:lnTo>
                    <a:pt x="343" y="36"/>
                  </a:lnTo>
                  <a:lnTo>
                    <a:pt x="344" y="35"/>
                  </a:lnTo>
                  <a:lnTo>
                    <a:pt x="344" y="33"/>
                  </a:lnTo>
                  <a:lnTo>
                    <a:pt x="344" y="32"/>
                  </a:lnTo>
                  <a:lnTo>
                    <a:pt x="344" y="31"/>
                  </a:lnTo>
                  <a:lnTo>
                    <a:pt x="346" y="31"/>
                  </a:lnTo>
                  <a:lnTo>
                    <a:pt x="347" y="31"/>
                  </a:lnTo>
                  <a:lnTo>
                    <a:pt x="347" y="32"/>
                  </a:lnTo>
                  <a:lnTo>
                    <a:pt x="348" y="32"/>
                  </a:lnTo>
                  <a:lnTo>
                    <a:pt x="348" y="31"/>
                  </a:lnTo>
                  <a:lnTo>
                    <a:pt x="349" y="31"/>
                  </a:lnTo>
                  <a:lnTo>
                    <a:pt x="349" y="30"/>
                  </a:lnTo>
                  <a:lnTo>
                    <a:pt x="349" y="29"/>
                  </a:lnTo>
                  <a:lnTo>
                    <a:pt x="349" y="27"/>
                  </a:lnTo>
                  <a:lnTo>
                    <a:pt x="350" y="26"/>
                  </a:lnTo>
                  <a:lnTo>
                    <a:pt x="352" y="26"/>
                  </a:lnTo>
                  <a:lnTo>
                    <a:pt x="352" y="25"/>
                  </a:lnTo>
                  <a:lnTo>
                    <a:pt x="352" y="24"/>
                  </a:lnTo>
                  <a:lnTo>
                    <a:pt x="353" y="24"/>
                  </a:lnTo>
                  <a:lnTo>
                    <a:pt x="353" y="23"/>
                  </a:lnTo>
                  <a:lnTo>
                    <a:pt x="354" y="23"/>
                  </a:lnTo>
                  <a:lnTo>
                    <a:pt x="354" y="24"/>
                  </a:lnTo>
                  <a:lnTo>
                    <a:pt x="355" y="24"/>
                  </a:lnTo>
                  <a:lnTo>
                    <a:pt x="356" y="24"/>
                  </a:lnTo>
                  <a:lnTo>
                    <a:pt x="356" y="25"/>
                  </a:lnTo>
                  <a:lnTo>
                    <a:pt x="356" y="26"/>
                  </a:lnTo>
                  <a:lnTo>
                    <a:pt x="356" y="27"/>
                  </a:lnTo>
                  <a:lnTo>
                    <a:pt x="356" y="29"/>
                  </a:lnTo>
                  <a:lnTo>
                    <a:pt x="356" y="30"/>
                  </a:lnTo>
                  <a:lnTo>
                    <a:pt x="358" y="30"/>
                  </a:lnTo>
                  <a:lnTo>
                    <a:pt x="358" y="31"/>
                  </a:lnTo>
                  <a:lnTo>
                    <a:pt x="358" y="32"/>
                  </a:lnTo>
                  <a:lnTo>
                    <a:pt x="356" y="33"/>
                  </a:lnTo>
                  <a:lnTo>
                    <a:pt x="355" y="33"/>
                  </a:lnTo>
                  <a:lnTo>
                    <a:pt x="355" y="35"/>
                  </a:lnTo>
                  <a:lnTo>
                    <a:pt x="356" y="35"/>
                  </a:lnTo>
                  <a:lnTo>
                    <a:pt x="356" y="36"/>
                  </a:lnTo>
                  <a:lnTo>
                    <a:pt x="358" y="36"/>
                  </a:lnTo>
                  <a:lnTo>
                    <a:pt x="358" y="37"/>
                  </a:lnTo>
                  <a:lnTo>
                    <a:pt x="359" y="37"/>
                  </a:lnTo>
                  <a:lnTo>
                    <a:pt x="359" y="38"/>
                  </a:lnTo>
                  <a:lnTo>
                    <a:pt x="358" y="39"/>
                  </a:lnTo>
                  <a:lnTo>
                    <a:pt x="358" y="41"/>
                  </a:lnTo>
                  <a:lnTo>
                    <a:pt x="358" y="42"/>
                  </a:lnTo>
                  <a:lnTo>
                    <a:pt x="356" y="42"/>
                  </a:lnTo>
                  <a:lnTo>
                    <a:pt x="356" y="43"/>
                  </a:lnTo>
                  <a:lnTo>
                    <a:pt x="355" y="43"/>
                  </a:lnTo>
                  <a:lnTo>
                    <a:pt x="355" y="42"/>
                  </a:lnTo>
                  <a:lnTo>
                    <a:pt x="355" y="43"/>
                  </a:lnTo>
                  <a:lnTo>
                    <a:pt x="355" y="44"/>
                  </a:lnTo>
                  <a:lnTo>
                    <a:pt x="356" y="44"/>
                  </a:lnTo>
                  <a:lnTo>
                    <a:pt x="358" y="43"/>
                  </a:lnTo>
                  <a:lnTo>
                    <a:pt x="359" y="42"/>
                  </a:lnTo>
                  <a:lnTo>
                    <a:pt x="359" y="41"/>
                  </a:lnTo>
                  <a:lnTo>
                    <a:pt x="360" y="39"/>
                  </a:lnTo>
                  <a:lnTo>
                    <a:pt x="359" y="39"/>
                  </a:lnTo>
                  <a:lnTo>
                    <a:pt x="360" y="38"/>
                  </a:lnTo>
                  <a:lnTo>
                    <a:pt x="361" y="38"/>
                  </a:lnTo>
                  <a:lnTo>
                    <a:pt x="362" y="38"/>
                  </a:lnTo>
                  <a:lnTo>
                    <a:pt x="362" y="37"/>
                  </a:lnTo>
                  <a:lnTo>
                    <a:pt x="364" y="37"/>
                  </a:lnTo>
                  <a:lnTo>
                    <a:pt x="362" y="36"/>
                  </a:lnTo>
                  <a:lnTo>
                    <a:pt x="362" y="35"/>
                  </a:lnTo>
                  <a:lnTo>
                    <a:pt x="361" y="35"/>
                  </a:lnTo>
                  <a:lnTo>
                    <a:pt x="362" y="33"/>
                  </a:lnTo>
                  <a:lnTo>
                    <a:pt x="361" y="33"/>
                  </a:lnTo>
                  <a:lnTo>
                    <a:pt x="362" y="32"/>
                  </a:lnTo>
                  <a:lnTo>
                    <a:pt x="362" y="31"/>
                  </a:lnTo>
                  <a:lnTo>
                    <a:pt x="362" y="30"/>
                  </a:lnTo>
                  <a:lnTo>
                    <a:pt x="364" y="29"/>
                  </a:lnTo>
                  <a:lnTo>
                    <a:pt x="365" y="29"/>
                  </a:lnTo>
                  <a:lnTo>
                    <a:pt x="365" y="27"/>
                  </a:lnTo>
                  <a:lnTo>
                    <a:pt x="366" y="27"/>
                  </a:lnTo>
                  <a:lnTo>
                    <a:pt x="368" y="27"/>
                  </a:lnTo>
                  <a:lnTo>
                    <a:pt x="370" y="26"/>
                  </a:lnTo>
                  <a:lnTo>
                    <a:pt x="371" y="25"/>
                  </a:lnTo>
                  <a:lnTo>
                    <a:pt x="372" y="25"/>
                  </a:lnTo>
                  <a:lnTo>
                    <a:pt x="372" y="24"/>
                  </a:lnTo>
                  <a:lnTo>
                    <a:pt x="373" y="23"/>
                  </a:lnTo>
                  <a:lnTo>
                    <a:pt x="373" y="21"/>
                  </a:lnTo>
                  <a:lnTo>
                    <a:pt x="374" y="21"/>
                  </a:lnTo>
                  <a:lnTo>
                    <a:pt x="374" y="20"/>
                  </a:lnTo>
                  <a:lnTo>
                    <a:pt x="376" y="21"/>
                  </a:lnTo>
                  <a:lnTo>
                    <a:pt x="377" y="21"/>
                  </a:lnTo>
                  <a:lnTo>
                    <a:pt x="377" y="24"/>
                  </a:lnTo>
                  <a:lnTo>
                    <a:pt x="377" y="25"/>
                  </a:lnTo>
                  <a:lnTo>
                    <a:pt x="377" y="26"/>
                  </a:lnTo>
                  <a:lnTo>
                    <a:pt x="378" y="27"/>
                  </a:lnTo>
                  <a:lnTo>
                    <a:pt x="379" y="27"/>
                  </a:lnTo>
                  <a:lnTo>
                    <a:pt x="379" y="29"/>
                  </a:lnTo>
                  <a:lnTo>
                    <a:pt x="380" y="29"/>
                  </a:lnTo>
                  <a:lnTo>
                    <a:pt x="380" y="30"/>
                  </a:lnTo>
                  <a:lnTo>
                    <a:pt x="379" y="31"/>
                  </a:lnTo>
                  <a:lnTo>
                    <a:pt x="379" y="32"/>
                  </a:lnTo>
                  <a:lnTo>
                    <a:pt x="382" y="32"/>
                  </a:lnTo>
                  <a:lnTo>
                    <a:pt x="382" y="33"/>
                  </a:lnTo>
                  <a:lnTo>
                    <a:pt x="380" y="33"/>
                  </a:lnTo>
                  <a:lnTo>
                    <a:pt x="382" y="33"/>
                  </a:lnTo>
                  <a:lnTo>
                    <a:pt x="382" y="32"/>
                  </a:lnTo>
                  <a:lnTo>
                    <a:pt x="383" y="32"/>
                  </a:lnTo>
                  <a:lnTo>
                    <a:pt x="384" y="32"/>
                  </a:lnTo>
                  <a:lnTo>
                    <a:pt x="385" y="32"/>
                  </a:lnTo>
                  <a:lnTo>
                    <a:pt x="385" y="31"/>
                  </a:lnTo>
                  <a:lnTo>
                    <a:pt x="386" y="31"/>
                  </a:lnTo>
                  <a:lnTo>
                    <a:pt x="386" y="32"/>
                  </a:lnTo>
                  <a:lnTo>
                    <a:pt x="388" y="32"/>
                  </a:lnTo>
                  <a:lnTo>
                    <a:pt x="388" y="33"/>
                  </a:lnTo>
                  <a:lnTo>
                    <a:pt x="389" y="35"/>
                  </a:lnTo>
                  <a:lnTo>
                    <a:pt x="390" y="33"/>
                  </a:lnTo>
                  <a:lnTo>
                    <a:pt x="390" y="35"/>
                  </a:lnTo>
                  <a:lnTo>
                    <a:pt x="390" y="36"/>
                  </a:lnTo>
                  <a:lnTo>
                    <a:pt x="389" y="36"/>
                  </a:lnTo>
                  <a:lnTo>
                    <a:pt x="389" y="37"/>
                  </a:lnTo>
                  <a:lnTo>
                    <a:pt x="389" y="38"/>
                  </a:lnTo>
                  <a:lnTo>
                    <a:pt x="388" y="38"/>
                  </a:lnTo>
                  <a:lnTo>
                    <a:pt x="388" y="39"/>
                  </a:lnTo>
                  <a:lnTo>
                    <a:pt x="388" y="41"/>
                  </a:lnTo>
                  <a:lnTo>
                    <a:pt x="386" y="41"/>
                  </a:lnTo>
                  <a:lnTo>
                    <a:pt x="386" y="42"/>
                  </a:lnTo>
                  <a:lnTo>
                    <a:pt x="386" y="43"/>
                  </a:lnTo>
                  <a:lnTo>
                    <a:pt x="385" y="43"/>
                  </a:lnTo>
                  <a:lnTo>
                    <a:pt x="385" y="44"/>
                  </a:lnTo>
                  <a:lnTo>
                    <a:pt x="384" y="44"/>
                  </a:lnTo>
                  <a:lnTo>
                    <a:pt x="383" y="44"/>
                  </a:lnTo>
                  <a:lnTo>
                    <a:pt x="382" y="45"/>
                  </a:lnTo>
                  <a:lnTo>
                    <a:pt x="380" y="45"/>
                  </a:lnTo>
                  <a:lnTo>
                    <a:pt x="380" y="47"/>
                  </a:lnTo>
                  <a:lnTo>
                    <a:pt x="379" y="45"/>
                  </a:lnTo>
                  <a:lnTo>
                    <a:pt x="378" y="45"/>
                  </a:lnTo>
                  <a:lnTo>
                    <a:pt x="377" y="47"/>
                  </a:lnTo>
                  <a:lnTo>
                    <a:pt x="377" y="48"/>
                  </a:lnTo>
                  <a:lnTo>
                    <a:pt x="376" y="48"/>
                  </a:lnTo>
                  <a:lnTo>
                    <a:pt x="376" y="49"/>
                  </a:lnTo>
                  <a:lnTo>
                    <a:pt x="374" y="50"/>
                  </a:lnTo>
                  <a:lnTo>
                    <a:pt x="374" y="52"/>
                  </a:lnTo>
                  <a:lnTo>
                    <a:pt x="376" y="53"/>
                  </a:lnTo>
                  <a:lnTo>
                    <a:pt x="377" y="53"/>
                  </a:lnTo>
                  <a:lnTo>
                    <a:pt x="378" y="52"/>
                  </a:lnTo>
                  <a:lnTo>
                    <a:pt x="379" y="52"/>
                  </a:lnTo>
                  <a:lnTo>
                    <a:pt x="380" y="52"/>
                  </a:lnTo>
                  <a:lnTo>
                    <a:pt x="382" y="52"/>
                  </a:lnTo>
                  <a:lnTo>
                    <a:pt x="383" y="52"/>
                  </a:lnTo>
                  <a:lnTo>
                    <a:pt x="383" y="50"/>
                  </a:lnTo>
                  <a:lnTo>
                    <a:pt x="384" y="50"/>
                  </a:lnTo>
                  <a:lnTo>
                    <a:pt x="385" y="50"/>
                  </a:lnTo>
                  <a:lnTo>
                    <a:pt x="385" y="49"/>
                  </a:lnTo>
                  <a:lnTo>
                    <a:pt x="385" y="48"/>
                  </a:lnTo>
                  <a:lnTo>
                    <a:pt x="386" y="48"/>
                  </a:lnTo>
                  <a:lnTo>
                    <a:pt x="386" y="47"/>
                  </a:lnTo>
                  <a:lnTo>
                    <a:pt x="389" y="47"/>
                  </a:lnTo>
                  <a:lnTo>
                    <a:pt x="389" y="45"/>
                  </a:lnTo>
                  <a:lnTo>
                    <a:pt x="390" y="45"/>
                  </a:lnTo>
                  <a:lnTo>
                    <a:pt x="390" y="44"/>
                  </a:lnTo>
                  <a:lnTo>
                    <a:pt x="391" y="43"/>
                  </a:lnTo>
                  <a:lnTo>
                    <a:pt x="392" y="43"/>
                  </a:lnTo>
                  <a:lnTo>
                    <a:pt x="392" y="42"/>
                  </a:lnTo>
                  <a:lnTo>
                    <a:pt x="394" y="43"/>
                  </a:lnTo>
                  <a:lnTo>
                    <a:pt x="395" y="43"/>
                  </a:lnTo>
                  <a:lnTo>
                    <a:pt x="396" y="43"/>
                  </a:lnTo>
                  <a:lnTo>
                    <a:pt x="397" y="43"/>
                  </a:lnTo>
                  <a:lnTo>
                    <a:pt x="397" y="42"/>
                  </a:lnTo>
                  <a:lnTo>
                    <a:pt x="398" y="42"/>
                  </a:lnTo>
                  <a:lnTo>
                    <a:pt x="398" y="43"/>
                  </a:lnTo>
                  <a:lnTo>
                    <a:pt x="400" y="43"/>
                  </a:lnTo>
                  <a:lnTo>
                    <a:pt x="401" y="44"/>
                  </a:lnTo>
                  <a:lnTo>
                    <a:pt x="401" y="45"/>
                  </a:lnTo>
                  <a:lnTo>
                    <a:pt x="401" y="47"/>
                  </a:lnTo>
                  <a:lnTo>
                    <a:pt x="401" y="49"/>
                  </a:lnTo>
                  <a:lnTo>
                    <a:pt x="402" y="49"/>
                  </a:lnTo>
                  <a:lnTo>
                    <a:pt x="403" y="49"/>
                  </a:lnTo>
                  <a:lnTo>
                    <a:pt x="403" y="48"/>
                  </a:lnTo>
                  <a:lnTo>
                    <a:pt x="405" y="48"/>
                  </a:lnTo>
                  <a:lnTo>
                    <a:pt x="405" y="47"/>
                  </a:lnTo>
                  <a:lnTo>
                    <a:pt x="406" y="47"/>
                  </a:lnTo>
                  <a:lnTo>
                    <a:pt x="406" y="45"/>
                  </a:lnTo>
                  <a:lnTo>
                    <a:pt x="406" y="44"/>
                  </a:lnTo>
                  <a:lnTo>
                    <a:pt x="407" y="44"/>
                  </a:lnTo>
                  <a:lnTo>
                    <a:pt x="408" y="44"/>
                  </a:lnTo>
                  <a:lnTo>
                    <a:pt x="408" y="45"/>
                  </a:lnTo>
                  <a:lnTo>
                    <a:pt x="408" y="47"/>
                  </a:lnTo>
                  <a:lnTo>
                    <a:pt x="408" y="48"/>
                  </a:lnTo>
                  <a:lnTo>
                    <a:pt x="408" y="49"/>
                  </a:lnTo>
                  <a:lnTo>
                    <a:pt x="408" y="50"/>
                  </a:lnTo>
                  <a:lnTo>
                    <a:pt x="407" y="50"/>
                  </a:lnTo>
                  <a:lnTo>
                    <a:pt x="407" y="52"/>
                  </a:lnTo>
                  <a:lnTo>
                    <a:pt x="407" y="53"/>
                  </a:lnTo>
                  <a:lnTo>
                    <a:pt x="408" y="54"/>
                  </a:lnTo>
                  <a:lnTo>
                    <a:pt x="409" y="54"/>
                  </a:lnTo>
                  <a:lnTo>
                    <a:pt x="409" y="56"/>
                  </a:lnTo>
                  <a:lnTo>
                    <a:pt x="408" y="56"/>
                  </a:lnTo>
                  <a:lnTo>
                    <a:pt x="408" y="58"/>
                  </a:lnTo>
                  <a:lnTo>
                    <a:pt x="407" y="59"/>
                  </a:lnTo>
                  <a:lnTo>
                    <a:pt x="406" y="59"/>
                  </a:lnTo>
                  <a:lnTo>
                    <a:pt x="406" y="60"/>
                  </a:lnTo>
                  <a:lnTo>
                    <a:pt x="405" y="61"/>
                  </a:lnTo>
                  <a:lnTo>
                    <a:pt x="405" y="62"/>
                  </a:lnTo>
                  <a:lnTo>
                    <a:pt x="405" y="61"/>
                  </a:lnTo>
                  <a:lnTo>
                    <a:pt x="406" y="61"/>
                  </a:lnTo>
                  <a:lnTo>
                    <a:pt x="406" y="64"/>
                  </a:lnTo>
                  <a:lnTo>
                    <a:pt x="406" y="65"/>
                  </a:lnTo>
                  <a:lnTo>
                    <a:pt x="405" y="66"/>
                  </a:lnTo>
                  <a:lnTo>
                    <a:pt x="403" y="66"/>
                  </a:lnTo>
                  <a:lnTo>
                    <a:pt x="403" y="67"/>
                  </a:lnTo>
                  <a:lnTo>
                    <a:pt x="402" y="67"/>
                  </a:lnTo>
                  <a:lnTo>
                    <a:pt x="402" y="66"/>
                  </a:lnTo>
                  <a:lnTo>
                    <a:pt x="401" y="67"/>
                  </a:lnTo>
                  <a:lnTo>
                    <a:pt x="401" y="68"/>
                  </a:lnTo>
                  <a:lnTo>
                    <a:pt x="400" y="68"/>
                  </a:lnTo>
                  <a:lnTo>
                    <a:pt x="398" y="68"/>
                  </a:lnTo>
                  <a:lnTo>
                    <a:pt x="397" y="68"/>
                  </a:lnTo>
                  <a:lnTo>
                    <a:pt x="397" y="71"/>
                  </a:lnTo>
                  <a:lnTo>
                    <a:pt x="398" y="71"/>
                  </a:lnTo>
                  <a:lnTo>
                    <a:pt x="398" y="70"/>
                  </a:lnTo>
                  <a:lnTo>
                    <a:pt x="400" y="70"/>
                  </a:lnTo>
                  <a:lnTo>
                    <a:pt x="400" y="68"/>
                  </a:lnTo>
                  <a:lnTo>
                    <a:pt x="401" y="68"/>
                  </a:lnTo>
                  <a:lnTo>
                    <a:pt x="402" y="70"/>
                  </a:lnTo>
                  <a:lnTo>
                    <a:pt x="403" y="70"/>
                  </a:lnTo>
                  <a:lnTo>
                    <a:pt x="403" y="68"/>
                  </a:lnTo>
                  <a:lnTo>
                    <a:pt x="403" y="70"/>
                  </a:lnTo>
                  <a:lnTo>
                    <a:pt x="405" y="70"/>
                  </a:lnTo>
                  <a:lnTo>
                    <a:pt x="405" y="72"/>
                  </a:lnTo>
                  <a:lnTo>
                    <a:pt x="403" y="72"/>
                  </a:lnTo>
                  <a:lnTo>
                    <a:pt x="403" y="73"/>
                  </a:lnTo>
                  <a:lnTo>
                    <a:pt x="402" y="73"/>
                  </a:lnTo>
                  <a:lnTo>
                    <a:pt x="401" y="74"/>
                  </a:lnTo>
                  <a:lnTo>
                    <a:pt x="401" y="76"/>
                  </a:lnTo>
                  <a:lnTo>
                    <a:pt x="400" y="76"/>
                  </a:lnTo>
                  <a:lnTo>
                    <a:pt x="398" y="76"/>
                  </a:lnTo>
                  <a:lnTo>
                    <a:pt x="397" y="76"/>
                  </a:lnTo>
                  <a:lnTo>
                    <a:pt x="396" y="77"/>
                  </a:lnTo>
                  <a:lnTo>
                    <a:pt x="394" y="77"/>
                  </a:lnTo>
                  <a:lnTo>
                    <a:pt x="392" y="76"/>
                  </a:lnTo>
                  <a:lnTo>
                    <a:pt x="391" y="76"/>
                  </a:lnTo>
                  <a:lnTo>
                    <a:pt x="391" y="74"/>
                  </a:lnTo>
                  <a:lnTo>
                    <a:pt x="391" y="73"/>
                  </a:lnTo>
                  <a:lnTo>
                    <a:pt x="391" y="74"/>
                  </a:lnTo>
                  <a:lnTo>
                    <a:pt x="390" y="73"/>
                  </a:lnTo>
                  <a:lnTo>
                    <a:pt x="390" y="74"/>
                  </a:lnTo>
                  <a:lnTo>
                    <a:pt x="391" y="74"/>
                  </a:lnTo>
                  <a:lnTo>
                    <a:pt x="391" y="76"/>
                  </a:lnTo>
                  <a:lnTo>
                    <a:pt x="390" y="76"/>
                  </a:lnTo>
                  <a:lnTo>
                    <a:pt x="390" y="77"/>
                  </a:lnTo>
                  <a:lnTo>
                    <a:pt x="389" y="77"/>
                  </a:lnTo>
                  <a:lnTo>
                    <a:pt x="388" y="78"/>
                  </a:lnTo>
                  <a:lnTo>
                    <a:pt x="386" y="77"/>
                  </a:lnTo>
                  <a:lnTo>
                    <a:pt x="385" y="77"/>
                  </a:lnTo>
                  <a:lnTo>
                    <a:pt x="385" y="76"/>
                  </a:lnTo>
                  <a:lnTo>
                    <a:pt x="385" y="74"/>
                  </a:lnTo>
                  <a:lnTo>
                    <a:pt x="385" y="73"/>
                  </a:lnTo>
                  <a:lnTo>
                    <a:pt x="384" y="72"/>
                  </a:lnTo>
                  <a:lnTo>
                    <a:pt x="384" y="73"/>
                  </a:lnTo>
                  <a:lnTo>
                    <a:pt x="383" y="73"/>
                  </a:lnTo>
                  <a:lnTo>
                    <a:pt x="382" y="74"/>
                  </a:lnTo>
                  <a:lnTo>
                    <a:pt x="380" y="76"/>
                  </a:lnTo>
                  <a:lnTo>
                    <a:pt x="379" y="77"/>
                  </a:lnTo>
                  <a:lnTo>
                    <a:pt x="379" y="78"/>
                  </a:lnTo>
                  <a:lnTo>
                    <a:pt x="380" y="78"/>
                  </a:lnTo>
                  <a:lnTo>
                    <a:pt x="380" y="79"/>
                  </a:lnTo>
                  <a:lnTo>
                    <a:pt x="378" y="78"/>
                  </a:lnTo>
                  <a:lnTo>
                    <a:pt x="379" y="79"/>
                  </a:lnTo>
                  <a:lnTo>
                    <a:pt x="380" y="79"/>
                  </a:lnTo>
                  <a:lnTo>
                    <a:pt x="380" y="80"/>
                  </a:lnTo>
                  <a:lnTo>
                    <a:pt x="382" y="80"/>
                  </a:lnTo>
                  <a:lnTo>
                    <a:pt x="382" y="82"/>
                  </a:lnTo>
                  <a:lnTo>
                    <a:pt x="383" y="82"/>
                  </a:lnTo>
                  <a:lnTo>
                    <a:pt x="383" y="80"/>
                  </a:lnTo>
                  <a:lnTo>
                    <a:pt x="384" y="82"/>
                  </a:lnTo>
                  <a:lnTo>
                    <a:pt x="384" y="83"/>
                  </a:lnTo>
                  <a:lnTo>
                    <a:pt x="386" y="83"/>
                  </a:lnTo>
                  <a:lnTo>
                    <a:pt x="388" y="82"/>
                  </a:lnTo>
                  <a:lnTo>
                    <a:pt x="388" y="83"/>
                  </a:lnTo>
                  <a:lnTo>
                    <a:pt x="389" y="83"/>
                  </a:lnTo>
                  <a:lnTo>
                    <a:pt x="389" y="84"/>
                  </a:lnTo>
                  <a:lnTo>
                    <a:pt x="389" y="85"/>
                  </a:lnTo>
                  <a:lnTo>
                    <a:pt x="388" y="85"/>
                  </a:lnTo>
                  <a:lnTo>
                    <a:pt x="386" y="86"/>
                  </a:lnTo>
                  <a:lnTo>
                    <a:pt x="385" y="86"/>
                  </a:lnTo>
                  <a:lnTo>
                    <a:pt x="385" y="88"/>
                  </a:lnTo>
                  <a:lnTo>
                    <a:pt x="384" y="86"/>
                  </a:lnTo>
                  <a:lnTo>
                    <a:pt x="383" y="86"/>
                  </a:lnTo>
                  <a:lnTo>
                    <a:pt x="383" y="85"/>
                  </a:lnTo>
                  <a:lnTo>
                    <a:pt x="383" y="84"/>
                  </a:lnTo>
                  <a:lnTo>
                    <a:pt x="382" y="83"/>
                  </a:lnTo>
                  <a:lnTo>
                    <a:pt x="382" y="82"/>
                  </a:lnTo>
                  <a:lnTo>
                    <a:pt x="380" y="82"/>
                  </a:lnTo>
                  <a:lnTo>
                    <a:pt x="379" y="80"/>
                  </a:lnTo>
                  <a:lnTo>
                    <a:pt x="378" y="82"/>
                  </a:lnTo>
                  <a:lnTo>
                    <a:pt x="380" y="82"/>
                  </a:lnTo>
                  <a:lnTo>
                    <a:pt x="380" y="83"/>
                  </a:lnTo>
                  <a:lnTo>
                    <a:pt x="379" y="84"/>
                  </a:lnTo>
                  <a:lnTo>
                    <a:pt x="378" y="84"/>
                  </a:lnTo>
                  <a:lnTo>
                    <a:pt x="378" y="85"/>
                  </a:lnTo>
                  <a:lnTo>
                    <a:pt x="378" y="86"/>
                  </a:lnTo>
                  <a:lnTo>
                    <a:pt x="379" y="88"/>
                  </a:lnTo>
                  <a:lnTo>
                    <a:pt x="380" y="88"/>
                  </a:lnTo>
                  <a:lnTo>
                    <a:pt x="382" y="86"/>
                  </a:lnTo>
                  <a:lnTo>
                    <a:pt x="383" y="86"/>
                  </a:lnTo>
                  <a:lnTo>
                    <a:pt x="383" y="88"/>
                  </a:lnTo>
                  <a:lnTo>
                    <a:pt x="383" y="89"/>
                  </a:lnTo>
                  <a:lnTo>
                    <a:pt x="383" y="90"/>
                  </a:lnTo>
                  <a:lnTo>
                    <a:pt x="383" y="91"/>
                  </a:lnTo>
                  <a:lnTo>
                    <a:pt x="384" y="91"/>
                  </a:lnTo>
                  <a:lnTo>
                    <a:pt x="385" y="91"/>
                  </a:lnTo>
                  <a:lnTo>
                    <a:pt x="386" y="91"/>
                  </a:lnTo>
                  <a:lnTo>
                    <a:pt x="386" y="90"/>
                  </a:lnTo>
                  <a:lnTo>
                    <a:pt x="388" y="90"/>
                  </a:lnTo>
                  <a:lnTo>
                    <a:pt x="388" y="89"/>
                  </a:lnTo>
                  <a:lnTo>
                    <a:pt x="389" y="89"/>
                  </a:lnTo>
                  <a:lnTo>
                    <a:pt x="390" y="90"/>
                  </a:lnTo>
                  <a:lnTo>
                    <a:pt x="391" y="92"/>
                  </a:lnTo>
                  <a:lnTo>
                    <a:pt x="392" y="92"/>
                  </a:lnTo>
                  <a:lnTo>
                    <a:pt x="394" y="92"/>
                  </a:lnTo>
                  <a:lnTo>
                    <a:pt x="394" y="94"/>
                  </a:lnTo>
                  <a:lnTo>
                    <a:pt x="395" y="95"/>
                  </a:lnTo>
                  <a:lnTo>
                    <a:pt x="396" y="95"/>
                  </a:lnTo>
                  <a:lnTo>
                    <a:pt x="397" y="95"/>
                  </a:lnTo>
                  <a:lnTo>
                    <a:pt x="398" y="95"/>
                  </a:lnTo>
                  <a:lnTo>
                    <a:pt x="401" y="95"/>
                  </a:lnTo>
                  <a:lnTo>
                    <a:pt x="402" y="96"/>
                  </a:lnTo>
                  <a:lnTo>
                    <a:pt x="403" y="96"/>
                  </a:lnTo>
                  <a:lnTo>
                    <a:pt x="405" y="96"/>
                  </a:lnTo>
                  <a:lnTo>
                    <a:pt x="406" y="96"/>
                  </a:lnTo>
                  <a:lnTo>
                    <a:pt x="406" y="97"/>
                  </a:lnTo>
                  <a:lnTo>
                    <a:pt x="406" y="98"/>
                  </a:lnTo>
                  <a:lnTo>
                    <a:pt x="406" y="102"/>
                  </a:lnTo>
                  <a:lnTo>
                    <a:pt x="406" y="104"/>
                  </a:lnTo>
                  <a:lnTo>
                    <a:pt x="407" y="106"/>
                  </a:lnTo>
                  <a:lnTo>
                    <a:pt x="408" y="106"/>
                  </a:lnTo>
                  <a:lnTo>
                    <a:pt x="408" y="104"/>
                  </a:lnTo>
                  <a:lnTo>
                    <a:pt x="409" y="104"/>
                  </a:lnTo>
                  <a:lnTo>
                    <a:pt x="409" y="103"/>
                  </a:lnTo>
                  <a:lnTo>
                    <a:pt x="408" y="103"/>
                  </a:lnTo>
                  <a:lnTo>
                    <a:pt x="409" y="102"/>
                  </a:lnTo>
                  <a:lnTo>
                    <a:pt x="409" y="100"/>
                  </a:lnTo>
                  <a:lnTo>
                    <a:pt x="411" y="100"/>
                  </a:lnTo>
                  <a:lnTo>
                    <a:pt x="411" y="98"/>
                  </a:lnTo>
                  <a:lnTo>
                    <a:pt x="412" y="98"/>
                  </a:lnTo>
                  <a:lnTo>
                    <a:pt x="413" y="98"/>
                  </a:lnTo>
                  <a:lnTo>
                    <a:pt x="413" y="100"/>
                  </a:lnTo>
                  <a:lnTo>
                    <a:pt x="413" y="101"/>
                  </a:lnTo>
                  <a:lnTo>
                    <a:pt x="414" y="102"/>
                  </a:lnTo>
                  <a:lnTo>
                    <a:pt x="415" y="102"/>
                  </a:lnTo>
                  <a:lnTo>
                    <a:pt x="417" y="101"/>
                  </a:lnTo>
                  <a:lnTo>
                    <a:pt x="417" y="100"/>
                  </a:lnTo>
                  <a:lnTo>
                    <a:pt x="417" y="98"/>
                  </a:lnTo>
                  <a:lnTo>
                    <a:pt x="417" y="97"/>
                  </a:lnTo>
                  <a:lnTo>
                    <a:pt x="418" y="97"/>
                  </a:lnTo>
                  <a:lnTo>
                    <a:pt x="419" y="97"/>
                  </a:lnTo>
                  <a:lnTo>
                    <a:pt x="420" y="97"/>
                  </a:lnTo>
                  <a:lnTo>
                    <a:pt x="421" y="97"/>
                  </a:lnTo>
                  <a:lnTo>
                    <a:pt x="423" y="96"/>
                  </a:lnTo>
                  <a:lnTo>
                    <a:pt x="423" y="95"/>
                  </a:lnTo>
                  <a:lnTo>
                    <a:pt x="424" y="96"/>
                  </a:lnTo>
                  <a:lnTo>
                    <a:pt x="425" y="96"/>
                  </a:lnTo>
                  <a:lnTo>
                    <a:pt x="425" y="97"/>
                  </a:lnTo>
                  <a:lnTo>
                    <a:pt x="425" y="98"/>
                  </a:lnTo>
                  <a:lnTo>
                    <a:pt x="425" y="100"/>
                  </a:lnTo>
                  <a:lnTo>
                    <a:pt x="424" y="100"/>
                  </a:lnTo>
                  <a:lnTo>
                    <a:pt x="424" y="101"/>
                  </a:lnTo>
                  <a:lnTo>
                    <a:pt x="424" y="102"/>
                  </a:lnTo>
                  <a:lnTo>
                    <a:pt x="424" y="103"/>
                  </a:lnTo>
                  <a:lnTo>
                    <a:pt x="423" y="104"/>
                  </a:lnTo>
                  <a:lnTo>
                    <a:pt x="423" y="106"/>
                  </a:lnTo>
                  <a:lnTo>
                    <a:pt x="421" y="106"/>
                  </a:lnTo>
                  <a:lnTo>
                    <a:pt x="420" y="107"/>
                  </a:lnTo>
                  <a:lnTo>
                    <a:pt x="420" y="109"/>
                  </a:lnTo>
                  <a:lnTo>
                    <a:pt x="420" y="110"/>
                  </a:lnTo>
                  <a:lnTo>
                    <a:pt x="421" y="112"/>
                  </a:lnTo>
                  <a:lnTo>
                    <a:pt x="423" y="112"/>
                  </a:lnTo>
                  <a:lnTo>
                    <a:pt x="424" y="110"/>
                  </a:lnTo>
                  <a:lnTo>
                    <a:pt x="424" y="109"/>
                  </a:lnTo>
                  <a:lnTo>
                    <a:pt x="424" y="108"/>
                  </a:lnTo>
                  <a:lnTo>
                    <a:pt x="425" y="108"/>
                  </a:lnTo>
                  <a:lnTo>
                    <a:pt x="426" y="108"/>
                  </a:lnTo>
                  <a:lnTo>
                    <a:pt x="427" y="108"/>
                  </a:lnTo>
                  <a:lnTo>
                    <a:pt x="427" y="109"/>
                  </a:lnTo>
                  <a:lnTo>
                    <a:pt x="427" y="110"/>
                  </a:lnTo>
                  <a:lnTo>
                    <a:pt x="427" y="112"/>
                  </a:lnTo>
                  <a:lnTo>
                    <a:pt x="427" y="113"/>
                  </a:lnTo>
                  <a:lnTo>
                    <a:pt x="426" y="114"/>
                  </a:lnTo>
                  <a:lnTo>
                    <a:pt x="425" y="115"/>
                  </a:lnTo>
                  <a:lnTo>
                    <a:pt x="425" y="116"/>
                  </a:lnTo>
                  <a:lnTo>
                    <a:pt x="425" y="118"/>
                  </a:lnTo>
                  <a:lnTo>
                    <a:pt x="424" y="119"/>
                  </a:lnTo>
                  <a:lnTo>
                    <a:pt x="423" y="119"/>
                  </a:lnTo>
                  <a:lnTo>
                    <a:pt x="421" y="119"/>
                  </a:lnTo>
                  <a:lnTo>
                    <a:pt x="420" y="120"/>
                  </a:lnTo>
                  <a:lnTo>
                    <a:pt x="421" y="120"/>
                  </a:lnTo>
                  <a:lnTo>
                    <a:pt x="421" y="121"/>
                  </a:lnTo>
                  <a:lnTo>
                    <a:pt x="423" y="121"/>
                  </a:lnTo>
                  <a:lnTo>
                    <a:pt x="424" y="121"/>
                  </a:lnTo>
                  <a:lnTo>
                    <a:pt x="425" y="121"/>
                  </a:lnTo>
                  <a:lnTo>
                    <a:pt x="427" y="121"/>
                  </a:lnTo>
                  <a:lnTo>
                    <a:pt x="429" y="121"/>
                  </a:lnTo>
                  <a:lnTo>
                    <a:pt x="429" y="122"/>
                  </a:lnTo>
                  <a:lnTo>
                    <a:pt x="427" y="124"/>
                  </a:lnTo>
                  <a:lnTo>
                    <a:pt x="429" y="124"/>
                  </a:lnTo>
                  <a:lnTo>
                    <a:pt x="430" y="125"/>
                  </a:lnTo>
                  <a:lnTo>
                    <a:pt x="430" y="124"/>
                  </a:lnTo>
                  <a:lnTo>
                    <a:pt x="431" y="124"/>
                  </a:lnTo>
                  <a:lnTo>
                    <a:pt x="431" y="122"/>
                  </a:lnTo>
                  <a:lnTo>
                    <a:pt x="432" y="122"/>
                  </a:lnTo>
                  <a:lnTo>
                    <a:pt x="433" y="122"/>
                  </a:lnTo>
                  <a:lnTo>
                    <a:pt x="435" y="122"/>
                  </a:lnTo>
                  <a:lnTo>
                    <a:pt x="436" y="122"/>
                  </a:lnTo>
                  <a:lnTo>
                    <a:pt x="436" y="124"/>
                  </a:lnTo>
                  <a:lnTo>
                    <a:pt x="435" y="126"/>
                  </a:lnTo>
                  <a:lnTo>
                    <a:pt x="436" y="126"/>
                  </a:lnTo>
                  <a:lnTo>
                    <a:pt x="437" y="126"/>
                  </a:lnTo>
                  <a:lnTo>
                    <a:pt x="437" y="128"/>
                  </a:lnTo>
                  <a:lnTo>
                    <a:pt x="438" y="128"/>
                  </a:lnTo>
                  <a:lnTo>
                    <a:pt x="439" y="128"/>
                  </a:lnTo>
                  <a:lnTo>
                    <a:pt x="442" y="127"/>
                  </a:lnTo>
                  <a:lnTo>
                    <a:pt x="443" y="127"/>
                  </a:lnTo>
                  <a:lnTo>
                    <a:pt x="443" y="128"/>
                  </a:lnTo>
                  <a:lnTo>
                    <a:pt x="443" y="130"/>
                  </a:lnTo>
                  <a:lnTo>
                    <a:pt x="442" y="130"/>
                  </a:lnTo>
                  <a:lnTo>
                    <a:pt x="442" y="131"/>
                  </a:lnTo>
                  <a:lnTo>
                    <a:pt x="441" y="133"/>
                  </a:lnTo>
                  <a:lnTo>
                    <a:pt x="442" y="133"/>
                  </a:lnTo>
                  <a:lnTo>
                    <a:pt x="442" y="134"/>
                  </a:lnTo>
                  <a:lnTo>
                    <a:pt x="443" y="134"/>
                  </a:lnTo>
                  <a:lnTo>
                    <a:pt x="443" y="133"/>
                  </a:lnTo>
                  <a:lnTo>
                    <a:pt x="444" y="133"/>
                  </a:lnTo>
                  <a:lnTo>
                    <a:pt x="444" y="132"/>
                  </a:lnTo>
                  <a:lnTo>
                    <a:pt x="445" y="132"/>
                  </a:lnTo>
                  <a:lnTo>
                    <a:pt x="447" y="132"/>
                  </a:lnTo>
                  <a:lnTo>
                    <a:pt x="448" y="132"/>
                  </a:lnTo>
                  <a:lnTo>
                    <a:pt x="449" y="132"/>
                  </a:lnTo>
                  <a:lnTo>
                    <a:pt x="449" y="131"/>
                  </a:lnTo>
                  <a:lnTo>
                    <a:pt x="450" y="131"/>
                  </a:lnTo>
                  <a:lnTo>
                    <a:pt x="451" y="131"/>
                  </a:lnTo>
                  <a:lnTo>
                    <a:pt x="451" y="132"/>
                  </a:lnTo>
                  <a:lnTo>
                    <a:pt x="451" y="133"/>
                  </a:lnTo>
                  <a:lnTo>
                    <a:pt x="451" y="134"/>
                  </a:lnTo>
                  <a:lnTo>
                    <a:pt x="453" y="133"/>
                  </a:lnTo>
                  <a:lnTo>
                    <a:pt x="454" y="133"/>
                  </a:lnTo>
                  <a:lnTo>
                    <a:pt x="455" y="134"/>
                  </a:lnTo>
                  <a:lnTo>
                    <a:pt x="455" y="133"/>
                  </a:lnTo>
                  <a:lnTo>
                    <a:pt x="455" y="134"/>
                  </a:lnTo>
                  <a:lnTo>
                    <a:pt x="456" y="134"/>
                  </a:lnTo>
                  <a:lnTo>
                    <a:pt x="457" y="134"/>
                  </a:lnTo>
                  <a:lnTo>
                    <a:pt x="459" y="134"/>
                  </a:lnTo>
                  <a:lnTo>
                    <a:pt x="459" y="133"/>
                  </a:lnTo>
                  <a:lnTo>
                    <a:pt x="460" y="133"/>
                  </a:lnTo>
                  <a:lnTo>
                    <a:pt x="461" y="134"/>
                  </a:lnTo>
                  <a:lnTo>
                    <a:pt x="461" y="136"/>
                  </a:lnTo>
                  <a:lnTo>
                    <a:pt x="460" y="136"/>
                  </a:lnTo>
                  <a:lnTo>
                    <a:pt x="460" y="137"/>
                  </a:lnTo>
                  <a:lnTo>
                    <a:pt x="460" y="138"/>
                  </a:lnTo>
                  <a:lnTo>
                    <a:pt x="460" y="139"/>
                  </a:lnTo>
                  <a:lnTo>
                    <a:pt x="459" y="139"/>
                  </a:lnTo>
                  <a:lnTo>
                    <a:pt x="457" y="139"/>
                  </a:lnTo>
                  <a:lnTo>
                    <a:pt x="457" y="140"/>
                  </a:lnTo>
                  <a:lnTo>
                    <a:pt x="456" y="140"/>
                  </a:lnTo>
                  <a:lnTo>
                    <a:pt x="456" y="142"/>
                  </a:lnTo>
                  <a:lnTo>
                    <a:pt x="456" y="143"/>
                  </a:lnTo>
                  <a:lnTo>
                    <a:pt x="457" y="143"/>
                  </a:lnTo>
                  <a:lnTo>
                    <a:pt x="459" y="143"/>
                  </a:lnTo>
                  <a:lnTo>
                    <a:pt x="459" y="142"/>
                  </a:lnTo>
                  <a:lnTo>
                    <a:pt x="461" y="142"/>
                  </a:lnTo>
                  <a:lnTo>
                    <a:pt x="462" y="142"/>
                  </a:lnTo>
                  <a:lnTo>
                    <a:pt x="462" y="140"/>
                  </a:lnTo>
                  <a:lnTo>
                    <a:pt x="462" y="139"/>
                  </a:lnTo>
                  <a:lnTo>
                    <a:pt x="464" y="139"/>
                  </a:lnTo>
                  <a:lnTo>
                    <a:pt x="464" y="138"/>
                  </a:lnTo>
                  <a:lnTo>
                    <a:pt x="465" y="138"/>
                  </a:lnTo>
                  <a:lnTo>
                    <a:pt x="465" y="139"/>
                  </a:lnTo>
                  <a:lnTo>
                    <a:pt x="465" y="138"/>
                  </a:lnTo>
                  <a:lnTo>
                    <a:pt x="466" y="138"/>
                  </a:lnTo>
                  <a:lnTo>
                    <a:pt x="467" y="138"/>
                  </a:lnTo>
                  <a:lnTo>
                    <a:pt x="467" y="137"/>
                  </a:lnTo>
                  <a:lnTo>
                    <a:pt x="468" y="136"/>
                  </a:lnTo>
                  <a:lnTo>
                    <a:pt x="468" y="137"/>
                  </a:lnTo>
                  <a:lnTo>
                    <a:pt x="470" y="137"/>
                  </a:lnTo>
                  <a:lnTo>
                    <a:pt x="468" y="138"/>
                  </a:lnTo>
                  <a:lnTo>
                    <a:pt x="468" y="142"/>
                  </a:lnTo>
                  <a:lnTo>
                    <a:pt x="470" y="140"/>
                  </a:lnTo>
                  <a:lnTo>
                    <a:pt x="471" y="142"/>
                  </a:lnTo>
                  <a:lnTo>
                    <a:pt x="471" y="140"/>
                  </a:lnTo>
                  <a:lnTo>
                    <a:pt x="472" y="139"/>
                  </a:lnTo>
                  <a:lnTo>
                    <a:pt x="473" y="139"/>
                  </a:lnTo>
                  <a:lnTo>
                    <a:pt x="473" y="140"/>
                  </a:lnTo>
                  <a:lnTo>
                    <a:pt x="473" y="142"/>
                  </a:lnTo>
                  <a:lnTo>
                    <a:pt x="472" y="143"/>
                  </a:lnTo>
                  <a:lnTo>
                    <a:pt x="471" y="143"/>
                  </a:lnTo>
                  <a:lnTo>
                    <a:pt x="471" y="144"/>
                  </a:lnTo>
                  <a:lnTo>
                    <a:pt x="471" y="145"/>
                  </a:lnTo>
                  <a:lnTo>
                    <a:pt x="471" y="146"/>
                  </a:lnTo>
                  <a:lnTo>
                    <a:pt x="470" y="146"/>
                  </a:lnTo>
                  <a:lnTo>
                    <a:pt x="467" y="146"/>
                  </a:lnTo>
                  <a:lnTo>
                    <a:pt x="468" y="148"/>
                  </a:lnTo>
                  <a:lnTo>
                    <a:pt x="467" y="146"/>
                  </a:lnTo>
                  <a:lnTo>
                    <a:pt x="466" y="146"/>
                  </a:lnTo>
                  <a:lnTo>
                    <a:pt x="467" y="148"/>
                  </a:lnTo>
                  <a:lnTo>
                    <a:pt x="468" y="148"/>
                  </a:lnTo>
                  <a:lnTo>
                    <a:pt x="467" y="149"/>
                  </a:lnTo>
                  <a:lnTo>
                    <a:pt x="466" y="149"/>
                  </a:lnTo>
                  <a:lnTo>
                    <a:pt x="465" y="149"/>
                  </a:lnTo>
                  <a:lnTo>
                    <a:pt x="464" y="150"/>
                  </a:lnTo>
                  <a:lnTo>
                    <a:pt x="462" y="150"/>
                  </a:lnTo>
                  <a:lnTo>
                    <a:pt x="461" y="150"/>
                  </a:lnTo>
                  <a:lnTo>
                    <a:pt x="460" y="150"/>
                  </a:lnTo>
                  <a:lnTo>
                    <a:pt x="460" y="149"/>
                  </a:lnTo>
                  <a:lnTo>
                    <a:pt x="457" y="150"/>
                  </a:lnTo>
                  <a:lnTo>
                    <a:pt x="459" y="151"/>
                  </a:lnTo>
                  <a:lnTo>
                    <a:pt x="459" y="152"/>
                  </a:lnTo>
                  <a:lnTo>
                    <a:pt x="457" y="152"/>
                  </a:lnTo>
                  <a:lnTo>
                    <a:pt x="456" y="154"/>
                  </a:lnTo>
                  <a:lnTo>
                    <a:pt x="455" y="154"/>
                  </a:lnTo>
                  <a:lnTo>
                    <a:pt x="455" y="155"/>
                  </a:lnTo>
                  <a:lnTo>
                    <a:pt x="454" y="155"/>
                  </a:lnTo>
                  <a:lnTo>
                    <a:pt x="454" y="156"/>
                  </a:lnTo>
                  <a:lnTo>
                    <a:pt x="453" y="156"/>
                  </a:lnTo>
                  <a:lnTo>
                    <a:pt x="453" y="157"/>
                  </a:lnTo>
                  <a:lnTo>
                    <a:pt x="451" y="157"/>
                  </a:lnTo>
                  <a:lnTo>
                    <a:pt x="450" y="159"/>
                  </a:lnTo>
                  <a:lnTo>
                    <a:pt x="449" y="160"/>
                  </a:lnTo>
                  <a:lnTo>
                    <a:pt x="448" y="160"/>
                  </a:lnTo>
                  <a:lnTo>
                    <a:pt x="449" y="160"/>
                  </a:lnTo>
                  <a:lnTo>
                    <a:pt x="451" y="160"/>
                  </a:lnTo>
                  <a:lnTo>
                    <a:pt x="453" y="160"/>
                  </a:lnTo>
                  <a:lnTo>
                    <a:pt x="454" y="160"/>
                  </a:lnTo>
                  <a:lnTo>
                    <a:pt x="455" y="160"/>
                  </a:lnTo>
                  <a:lnTo>
                    <a:pt x="455" y="161"/>
                  </a:lnTo>
                  <a:lnTo>
                    <a:pt x="456" y="161"/>
                  </a:lnTo>
                  <a:lnTo>
                    <a:pt x="456" y="162"/>
                  </a:lnTo>
                  <a:lnTo>
                    <a:pt x="457" y="163"/>
                  </a:lnTo>
                  <a:lnTo>
                    <a:pt x="457" y="162"/>
                  </a:lnTo>
                  <a:lnTo>
                    <a:pt x="459" y="162"/>
                  </a:lnTo>
                  <a:lnTo>
                    <a:pt x="460" y="161"/>
                  </a:lnTo>
                  <a:lnTo>
                    <a:pt x="460" y="162"/>
                  </a:lnTo>
                  <a:lnTo>
                    <a:pt x="461" y="162"/>
                  </a:lnTo>
                  <a:lnTo>
                    <a:pt x="460" y="162"/>
                  </a:lnTo>
                  <a:lnTo>
                    <a:pt x="460" y="163"/>
                  </a:lnTo>
                  <a:lnTo>
                    <a:pt x="461" y="163"/>
                  </a:lnTo>
                  <a:lnTo>
                    <a:pt x="461" y="165"/>
                  </a:lnTo>
                  <a:lnTo>
                    <a:pt x="461" y="163"/>
                  </a:lnTo>
                  <a:lnTo>
                    <a:pt x="462" y="163"/>
                  </a:lnTo>
                  <a:lnTo>
                    <a:pt x="462" y="162"/>
                  </a:lnTo>
                  <a:lnTo>
                    <a:pt x="464" y="162"/>
                  </a:lnTo>
                  <a:lnTo>
                    <a:pt x="464" y="161"/>
                  </a:lnTo>
                  <a:lnTo>
                    <a:pt x="466" y="160"/>
                  </a:lnTo>
                  <a:lnTo>
                    <a:pt x="467" y="160"/>
                  </a:lnTo>
                  <a:lnTo>
                    <a:pt x="468" y="161"/>
                  </a:lnTo>
                  <a:lnTo>
                    <a:pt x="468" y="162"/>
                  </a:lnTo>
                  <a:lnTo>
                    <a:pt x="467" y="162"/>
                  </a:lnTo>
                  <a:lnTo>
                    <a:pt x="467" y="163"/>
                  </a:lnTo>
                  <a:lnTo>
                    <a:pt x="468" y="165"/>
                  </a:lnTo>
                  <a:lnTo>
                    <a:pt x="470" y="165"/>
                  </a:lnTo>
                  <a:lnTo>
                    <a:pt x="471" y="165"/>
                  </a:lnTo>
                  <a:lnTo>
                    <a:pt x="472" y="165"/>
                  </a:lnTo>
                  <a:lnTo>
                    <a:pt x="473" y="165"/>
                  </a:lnTo>
                  <a:lnTo>
                    <a:pt x="473" y="163"/>
                  </a:lnTo>
                  <a:lnTo>
                    <a:pt x="474" y="163"/>
                  </a:lnTo>
                  <a:lnTo>
                    <a:pt x="476" y="163"/>
                  </a:lnTo>
                  <a:lnTo>
                    <a:pt x="477" y="165"/>
                  </a:lnTo>
                  <a:lnTo>
                    <a:pt x="478" y="165"/>
                  </a:lnTo>
                  <a:lnTo>
                    <a:pt x="479" y="165"/>
                  </a:lnTo>
                  <a:lnTo>
                    <a:pt x="480" y="163"/>
                  </a:lnTo>
                  <a:lnTo>
                    <a:pt x="480" y="165"/>
                  </a:lnTo>
                  <a:lnTo>
                    <a:pt x="482" y="165"/>
                  </a:lnTo>
                  <a:lnTo>
                    <a:pt x="483" y="166"/>
                  </a:lnTo>
                  <a:lnTo>
                    <a:pt x="483" y="165"/>
                  </a:lnTo>
                  <a:lnTo>
                    <a:pt x="483" y="163"/>
                  </a:lnTo>
                  <a:lnTo>
                    <a:pt x="484" y="163"/>
                  </a:lnTo>
                  <a:lnTo>
                    <a:pt x="484" y="162"/>
                  </a:lnTo>
                  <a:lnTo>
                    <a:pt x="484" y="165"/>
                  </a:lnTo>
                  <a:lnTo>
                    <a:pt x="485" y="165"/>
                  </a:lnTo>
                  <a:lnTo>
                    <a:pt x="485" y="163"/>
                  </a:lnTo>
                  <a:lnTo>
                    <a:pt x="486" y="163"/>
                  </a:lnTo>
                  <a:lnTo>
                    <a:pt x="485" y="165"/>
                  </a:lnTo>
                  <a:lnTo>
                    <a:pt x="485" y="166"/>
                  </a:lnTo>
                  <a:lnTo>
                    <a:pt x="484" y="166"/>
                  </a:lnTo>
                  <a:lnTo>
                    <a:pt x="484" y="167"/>
                  </a:lnTo>
                  <a:lnTo>
                    <a:pt x="484" y="168"/>
                  </a:lnTo>
                  <a:lnTo>
                    <a:pt x="485" y="168"/>
                  </a:lnTo>
                  <a:lnTo>
                    <a:pt x="485" y="169"/>
                  </a:lnTo>
                  <a:lnTo>
                    <a:pt x="486" y="169"/>
                  </a:lnTo>
                  <a:lnTo>
                    <a:pt x="486" y="171"/>
                  </a:lnTo>
                  <a:lnTo>
                    <a:pt x="488" y="171"/>
                  </a:lnTo>
                  <a:lnTo>
                    <a:pt x="488" y="172"/>
                  </a:lnTo>
                  <a:lnTo>
                    <a:pt x="488" y="173"/>
                  </a:lnTo>
                  <a:lnTo>
                    <a:pt x="484" y="173"/>
                  </a:lnTo>
                  <a:lnTo>
                    <a:pt x="484" y="175"/>
                  </a:lnTo>
                  <a:lnTo>
                    <a:pt x="482" y="177"/>
                  </a:lnTo>
                  <a:lnTo>
                    <a:pt x="483" y="178"/>
                  </a:lnTo>
                  <a:lnTo>
                    <a:pt x="484" y="178"/>
                  </a:lnTo>
                  <a:lnTo>
                    <a:pt x="483" y="180"/>
                  </a:lnTo>
                  <a:lnTo>
                    <a:pt x="485" y="181"/>
                  </a:lnTo>
                  <a:lnTo>
                    <a:pt x="485" y="180"/>
                  </a:lnTo>
                  <a:lnTo>
                    <a:pt x="486" y="180"/>
                  </a:lnTo>
                  <a:lnTo>
                    <a:pt x="489" y="180"/>
                  </a:lnTo>
                  <a:lnTo>
                    <a:pt x="490" y="179"/>
                  </a:lnTo>
                  <a:lnTo>
                    <a:pt x="490" y="178"/>
                  </a:lnTo>
                  <a:lnTo>
                    <a:pt x="491" y="177"/>
                  </a:lnTo>
                  <a:lnTo>
                    <a:pt x="492" y="175"/>
                  </a:lnTo>
                  <a:lnTo>
                    <a:pt x="494" y="175"/>
                  </a:lnTo>
                  <a:lnTo>
                    <a:pt x="494" y="174"/>
                  </a:lnTo>
                  <a:lnTo>
                    <a:pt x="495" y="174"/>
                  </a:lnTo>
                  <a:lnTo>
                    <a:pt x="496" y="174"/>
                  </a:lnTo>
                  <a:lnTo>
                    <a:pt x="497" y="173"/>
                  </a:lnTo>
                  <a:lnTo>
                    <a:pt x="498" y="173"/>
                  </a:lnTo>
                  <a:lnTo>
                    <a:pt x="500" y="174"/>
                  </a:lnTo>
                  <a:lnTo>
                    <a:pt x="500" y="175"/>
                  </a:lnTo>
                  <a:lnTo>
                    <a:pt x="500" y="177"/>
                  </a:lnTo>
                  <a:lnTo>
                    <a:pt x="498" y="178"/>
                  </a:lnTo>
                  <a:lnTo>
                    <a:pt x="498" y="179"/>
                  </a:lnTo>
                  <a:lnTo>
                    <a:pt x="496" y="180"/>
                  </a:lnTo>
                  <a:lnTo>
                    <a:pt x="495" y="180"/>
                  </a:lnTo>
                  <a:lnTo>
                    <a:pt x="492" y="181"/>
                  </a:lnTo>
                  <a:lnTo>
                    <a:pt x="491" y="183"/>
                  </a:lnTo>
                  <a:lnTo>
                    <a:pt x="492" y="185"/>
                  </a:lnTo>
                  <a:lnTo>
                    <a:pt x="491" y="185"/>
                  </a:lnTo>
                  <a:lnTo>
                    <a:pt x="491" y="186"/>
                  </a:lnTo>
                  <a:lnTo>
                    <a:pt x="489" y="186"/>
                  </a:lnTo>
                  <a:lnTo>
                    <a:pt x="488" y="187"/>
                  </a:lnTo>
                  <a:lnTo>
                    <a:pt x="486" y="189"/>
                  </a:lnTo>
                  <a:lnTo>
                    <a:pt x="486" y="190"/>
                  </a:lnTo>
                  <a:lnTo>
                    <a:pt x="485" y="190"/>
                  </a:lnTo>
                  <a:lnTo>
                    <a:pt x="485" y="191"/>
                  </a:lnTo>
                  <a:lnTo>
                    <a:pt x="484" y="191"/>
                  </a:lnTo>
                  <a:lnTo>
                    <a:pt x="483" y="190"/>
                  </a:lnTo>
                  <a:lnTo>
                    <a:pt x="482" y="191"/>
                  </a:lnTo>
                  <a:lnTo>
                    <a:pt x="480" y="190"/>
                  </a:lnTo>
                  <a:lnTo>
                    <a:pt x="478" y="191"/>
                  </a:lnTo>
                  <a:lnTo>
                    <a:pt x="477" y="192"/>
                  </a:lnTo>
                  <a:lnTo>
                    <a:pt x="476" y="192"/>
                  </a:lnTo>
                  <a:lnTo>
                    <a:pt x="477" y="193"/>
                  </a:lnTo>
                  <a:lnTo>
                    <a:pt x="479" y="193"/>
                  </a:lnTo>
                  <a:lnTo>
                    <a:pt x="479" y="196"/>
                  </a:lnTo>
                  <a:lnTo>
                    <a:pt x="480" y="196"/>
                  </a:lnTo>
                  <a:lnTo>
                    <a:pt x="482" y="196"/>
                  </a:lnTo>
                  <a:lnTo>
                    <a:pt x="482" y="197"/>
                  </a:lnTo>
                  <a:lnTo>
                    <a:pt x="482" y="198"/>
                  </a:lnTo>
                  <a:lnTo>
                    <a:pt x="484" y="199"/>
                  </a:lnTo>
                  <a:lnTo>
                    <a:pt x="485" y="198"/>
                  </a:lnTo>
                  <a:lnTo>
                    <a:pt x="488" y="198"/>
                  </a:lnTo>
                  <a:lnTo>
                    <a:pt x="489" y="199"/>
                  </a:lnTo>
                  <a:lnTo>
                    <a:pt x="490" y="198"/>
                  </a:lnTo>
                  <a:lnTo>
                    <a:pt x="491" y="198"/>
                  </a:lnTo>
                  <a:lnTo>
                    <a:pt x="491" y="199"/>
                  </a:lnTo>
                  <a:lnTo>
                    <a:pt x="490" y="201"/>
                  </a:lnTo>
                  <a:lnTo>
                    <a:pt x="489" y="202"/>
                  </a:lnTo>
                  <a:lnTo>
                    <a:pt x="489" y="203"/>
                  </a:lnTo>
                  <a:lnTo>
                    <a:pt x="490" y="202"/>
                  </a:lnTo>
                  <a:lnTo>
                    <a:pt x="491" y="202"/>
                  </a:lnTo>
                  <a:lnTo>
                    <a:pt x="491" y="203"/>
                  </a:lnTo>
                  <a:lnTo>
                    <a:pt x="491" y="204"/>
                  </a:lnTo>
                  <a:lnTo>
                    <a:pt x="490" y="207"/>
                  </a:lnTo>
                  <a:lnTo>
                    <a:pt x="486" y="209"/>
                  </a:lnTo>
                  <a:lnTo>
                    <a:pt x="489" y="210"/>
                  </a:lnTo>
                  <a:lnTo>
                    <a:pt x="489" y="213"/>
                  </a:lnTo>
                  <a:lnTo>
                    <a:pt x="489" y="214"/>
                  </a:lnTo>
                  <a:lnTo>
                    <a:pt x="490" y="214"/>
                  </a:lnTo>
                  <a:lnTo>
                    <a:pt x="490" y="216"/>
                  </a:lnTo>
                  <a:lnTo>
                    <a:pt x="489" y="217"/>
                  </a:lnTo>
                  <a:lnTo>
                    <a:pt x="491" y="217"/>
                  </a:lnTo>
                  <a:lnTo>
                    <a:pt x="491" y="219"/>
                  </a:lnTo>
                  <a:lnTo>
                    <a:pt x="492" y="220"/>
                  </a:lnTo>
                  <a:lnTo>
                    <a:pt x="495" y="220"/>
                  </a:lnTo>
                  <a:lnTo>
                    <a:pt x="496" y="220"/>
                  </a:lnTo>
                  <a:lnTo>
                    <a:pt x="497" y="220"/>
                  </a:lnTo>
                  <a:lnTo>
                    <a:pt x="498" y="220"/>
                  </a:lnTo>
                  <a:lnTo>
                    <a:pt x="500" y="220"/>
                  </a:lnTo>
                  <a:lnTo>
                    <a:pt x="501" y="220"/>
                  </a:lnTo>
                  <a:lnTo>
                    <a:pt x="502" y="220"/>
                  </a:lnTo>
                  <a:lnTo>
                    <a:pt x="506" y="221"/>
                  </a:lnTo>
                  <a:lnTo>
                    <a:pt x="506" y="222"/>
                  </a:lnTo>
                  <a:lnTo>
                    <a:pt x="508" y="222"/>
                  </a:lnTo>
                  <a:lnTo>
                    <a:pt x="509" y="222"/>
                  </a:lnTo>
                  <a:lnTo>
                    <a:pt x="510" y="222"/>
                  </a:lnTo>
                  <a:lnTo>
                    <a:pt x="513" y="221"/>
                  </a:lnTo>
                  <a:lnTo>
                    <a:pt x="514" y="221"/>
                  </a:lnTo>
                  <a:lnTo>
                    <a:pt x="514" y="222"/>
                  </a:lnTo>
                  <a:lnTo>
                    <a:pt x="513" y="223"/>
                  </a:lnTo>
                  <a:lnTo>
                    <a:pt x="512" y="227"/>
                  </a:lnTo>
                  <a:lnTo>
                    <a:pt x="512" y="228"/>
                  </a:lnTo>
                  <a:lnTo>
                    <a:pt x="513" y="228"/>
                  </a:lnTo>
                  <a:lnTo>
                    <a:pt x="515" y="228"/>
                  </a:lnTo>
                  <a:lnTo>
                    <a:pt x="518" y="228"/>
                  </a:lnTo>
                  <a:lnTo>
                    <a:pt x="519" y="229"/>
                  </a:lnTo>
                  <a:lnTo>
                    <a:pt x="521" y="229"/>
                  </a:lnTo>
                  <a:lnTo>
                    <a:pt x="523" y="229"/>
                  </a:lnTo>
                  <a:lnTo>
                    <a:pt x="523" y="228"/>
                  </a:lnTo>
                  <a:lnTo>
                    <a:pt x="525" y="228"/>
                  </a:lnTo>
                  <a:lnTo>
                    <a:pt x="526" y="229"/>
                  </a:lnTo>
                  <a:lnTo>
                    <a:pt x="526" y="231"/>
                  </a:lnTo>
                  <a:lnTo>
                    <a:pt x="525" y="232"/>
                  </a:lnTo>
                  <a:lnTo>
                    <a:pt x="524" y="233"/>
                  </a:lnTo>
                  <a:lnTo>
                    <a:pt x="521" y="235"/>
                  </a:lnTo>
                  <a:lnTo>
                    <a:pt x="519" y="235"/>
                  </a:lnTo>
                  <a:lnTo>
                    <a:pt x="519" y="237"/>
                  </a:lnTo>
                  <a:lnTo>
                    <a:pt x="518" y="237"/>
                  </a:lnTo>
                  <a:lnTo>
                    <a:pt x="516" y="238"/>
                  </a:lnTo>
                  <a:lnTo>
                    <a:pt x="514" y="240"/>
                  </a:lnTo>
                  <a:lnTo>
                    <a:pt x="513" y="241"/>
                  </a:lnTo>
                  <a:lnTo>
                    <a:pt x="512" y="241"/>
                  </a:lnTo>
                  <a:lnTo>
                    <a:pt x="510" y="241"/>
                  </a:lnTo>
                  <a:lnTo>
                    <a:pt x="509" y="240"/>
                  </a:lnTo>
                  <a:lnTo>
                    <a:pt x="508" y="241"/>
                  </a:lnTo>
                  <a:lnTo>
                    <a:pt x="507" y="241"/>
                  </a:lnTo>
                  <a:lnTo>
                    <a:pt x="504" y="241"/>
                  </a:lnTo>
                  <a:lnTo>
                    <a:pt x="502" y="241"/>
                  </a:lnTo>
                  <a:lnTo>
                    <a:pt x="501" y="240"/>
                  </a:lnTo>
                  <a:lnTo>
                    <a:pt x="501" y="239"/>
                  </a:lnTo>
                  <a:lnTo>
                    <a:pt x="500" y="239"/>
                  </a:lnTo>
                  <a:lnTo>
                    <a:pt x="498" y="239"/>
                  </a:lnTo>
                  <a:lnTo>
                    <a:pt x="497" y="238"/>
                  </a:lnTo>
                  <a:lnTo>
                    <a:pt x="496" y="237"/>
                  </a:lnTo>
                  <a:lnTo>
                    <a:pt x="496" y="235"/>
                  </a:lnTo>
                  <a:lnTo>
                    <a:pt x="496" y="234"/>
                  </a:lnTo>
                  <a:lnTo>
                    <a:pt x="494" y="234"/>
                  </a:lnTo>
                  <a:lnTo>
                    <a:pt x="495" y="235"/>
                  </a:lnTo>
                  <a:lnTo>
                    <a:pt x="495" y="238"/>
                  </a:lnTo>
                  <a:lnTo>
                    <a:pt x="496" y="238"/>
                  </a:lnTo>
                  <a:lnTo>
                    <a:pt x="496" y="240"/>
                  </a:lnTo>
                  <a:lnTo>
                    <a:pt x="496" y="241"/>
                  </a:lnTo>
                  <a:lnTo>
                    <a:pt x="495" y="243"/>
                  </a:lnTo>
                  <a:lnTo>
                    <a:pt x="494" y="244"/>
                  </a:lnTo>
                  <a:lnTo>
                    <a:pt x="491" y="243"/>
                  </a:lnTo>
                  <a:lnTo>
                    <a:pt x="490" y="241"/>
                  </a:lnTo>
                  <a:lnTo>
                    <a:pt x="490" y="240"/>
                  </a:lnTo>
                  <a:lnTo>
                    <a:pt x="489" y="240"/>
                  </a:lnTo>
                  <a:lnTo>
                    <a:pt x="489" y="238"/>
                  </a:lnTo>
                  <a:lnTo>
                    <a:pt x="486" y="238"/>
                  </a:lnTo>
                  <a:lnTo>
                    <a:pt x="486" y="237"/>
                  </a:lnTo>
                  <a:lnTo>
                    <a:pt x="485" y="237"/>
                  </a:lnTo>
                  <a:lnTo>
                    <a:pt x="484" y="238"/>
                  </a:lnTo>
                  <a:lnTo>
                    <a:pt x="483" y="238"/>
                  </a:lnTo>
                  <a:lnTo>
                    <a:pt x="483" y="237"/>
                  </a:lnTo>
                  <a:lnTo>
                    <a:pt x="482" y="237"/>
                  </a:lnTo>
                  <a:lnTo>
                    <a:pt x="479" y="234"/>
                  </a:lnTo>
                  <a:lnTo>
                    <a:pt x="477" y="235"/>
                  </a:lnTo>
                  <a:lnTo>
                    <a:pt x="476" y="237"/>
                  </a:lnTo>
                  <a:lnTo>
                    <a:pt x="474" y="235"/>
                  </a:lnTo>
                  <a:lnTo>
                    <a:pt x="472" y="237"/>
                  </a:lnTo>
                  <a:lnTo>
                    <a:pt x="468" y="237"/>
                  </a:lnTo>
                  <a:lnTo>
                    <a:pt x="468" y="235"/>
                  </a:lnTo>
                  <a:lnTo>
                    <a:pt x="467" y="237"/>
                  </a:lnTo>
                  <a:lnTo>
                    <a:pt x="466" y="237"/>
                  </a:lnTo>
                  <a:lnTo>
                    <a:pt x="465" y="238"/>
                  </a:lnTo>
                  <a:lnTo>
                    <a:pt x="462" y="238"/>
                  </a:lnTo>
                  <a:lnTo>
                    <a:pt x="461" y="240"/>
                  </a:lnTo>
                  <a:lnTo>
                    <a:pt x="457" y="238"/>
                  </a:lnTo>
                  <a:lnTo>
                    <a:pt x="457" y="235"/>
                  </a:lnTo>
                  <a:lnTo>
                    <a:pt x="457" y="234"/>
                  </a:lnTo>
                  <a:lnTo>
                    <a:pt x="456" y="234"/>
                  </a:lnTo>
                  <a:lnTo>
                    <a:pt x="454" y="235"/>
                  </a:lnTo>
                  <a:lnTo>
                    <a:pt x="453" y="235"/>
                  </a:lnTo>
                  <a:lnTo>
                    <a:pt x="451" y="235"/>
                  </a:lnTo>
                  <a:lnTo>
                    <a:pt x="450" y="237"/>
                  </a:lnTo>
                  <a:lnTo>
                    <a:pt x="450" y="238"/>
                  </a:lnTo>
                  <a:lnTo>
                    <a:pt x="450" y="240"/>
                  </a:lnTo>
                  <a:lnTo>
                    <a:pt x="451" y="239"/>
                  </a:lnTo>
                  <a:lnTo>
                    <a:pt x="453" y="238"/>
                  </a:lnTo>
                  <a:lnTo>
                    <a:pt x="453" y="239"/>
                  </a:lnTo>
                  <a:lnTo>
                    <a:pt x="453" y="240"/>
                  </a:lnTo>
                  <a:lnTo>
                    <a:pt x="453" y="243"/>
                  </a:lnTo>
                  <a:lnTo>
                    <a:pt x="454" y="240"/>
                  </a:lnTo>
                  <a:lnTo>
                    <a:pt x="454" y="243"/>
                  </a:lnTo>
                  <a:lnTo>
                    <a:pt x="454" y="244"/>
                  </a:lnTo>
                  <a:lnTo>
                    <a:pt x="454" y="245"/>
                  </a:lnTo>
                  <a:lnTo>
                    <a:pt x="455" y="245"/>
                  </a:lnTo>
                  <a:lnTo>
                    <a:pt x="455" y="246"/>
                  </a:lnTo>
                  <a:lnTo>
                    <a:pt x="456" y="245"/>
                  </a:lnTo>
                  <a:lnTo>
                    <a:pt x="456" y="246"/>
                  </a:lnTo>
                  <a:lnTo>
                    <a:pt x="454" y="246"/>
                  </a:lnTo>
                  <a:lnTo>
                    <a:pt x="455" y="249"/>
                  </a:lnTo>
                  <a:lnTo>
                    <a:pt x="456" y="247"/>
                  </a:lnTo>
                  <a:lnTo>
                    <a:pt x="457" y="249"/>
                  </a:lnTo>
                  <a:lnTo>
                    <a:pt x="459" y="249"/>
                  </a:lnTo>
                  <a:lnTo>
                    <a:pt x="460" y="249"/>
                  </a:lnTo>
                  <a:lnTo>
                    <a:pt x="462" y="250"/>
                  </a:lnTo>
                  <a:lnTo>
                    <a:pt x="464" y="250"/>
                  </a:lnTo>
                  <a:lnTo>
                    <a:pt x="464" y="251"/>
                  </a:lnTo>
                  <a:lnTo>
                    <a:pt x="465" y="252"/>
                  </a:lnTo>
                  <a:lnTo>
                    <a:pt x="465" y="253"/>
                  </a:lnTo>
                  <a:lnTo>
                    <a:pt x="465" y="255"/>
                  </a:lnTo>
                  <a:lnTo>
                    <a:pt x="466" y="255"/>
                  </a:lnTo>
                  <a:lnTo>
                    <a:pt x="467" y="256"/>
                  </a:lnTo>
                  <a:lnTo>
                    <a:pt x="470" y="257"/>
                  </a:lnTo>
                  <a:lnTo>
                    <a:pt x="471" y="259"/>
                  </a:lnTo>
                  <a:lnTo>
                    <a:pt x="472" y="259"/>
                  </a:lnTo>
                  <a:lnTo>
                    <a:pt x="473" y="261"/>
                  </a:lnTo>
                  <a:lnTo>
                    <a:pt x="473" y="262"/>
                  </a:lnTo>
                  <a:lnTo>
                    <a:pt x="474" y="262"/>
                  </a:lnTo>
                  <a:lnTo>
                    <a:pt x="474" y="263"/>
                  </a:lnTo>
                  <a:lnTo>
                    <a:pt x="476" y="263"/>
                  </a:lnTo>
                  <a:lnTo>
                    <a:pt x="476" y="262"/>
                  </a:lnTo>
                  <a:lnTo>
                    <a:pt x="479" y="263"/>
                  </a:lnTo>
                  <a:lnTo>
                    <a:pt x="480" y="263"/>
                  </a:lnTo>
                  <a:lnTo>
                    <a:pt x="480" y="264"/>
                  </a:lnTo>
                  <a:lnTo>
                    <a:pt x="482" y="266"/>
                  </a:lnTo>
                  <a:lnTo>
                    <a:pt x="484" y="266"/>
                  </a:lnTo>
                  <a:lnTo>
                    <a:pt x="484" y="267"/>
                  </a:lnTo>
                  <a:lnTo>
                    <a:pt x="486" y="267"/>
                  </a:lnTo>
                  <a:lnTo>
                    <a:pt x="486" y="268"/>
                  </a:lnTo>
                  <a:lnTo>
                    <a:pt x="488" y="268"/>
                  </a:lnTo>
                  <a:lnTo>
                    <a:pt x="489" y="269"/>
                  </a:lnTo>
                  <a:lnTo>
                    <a:pt x="490" y="269"/>
                  </a:lnTo>
                  <a:lnTo>
                    <a:pt x="490" y="270"/>
                  </a:lnTo>
                  <a:lnTo>
                    <a:pt x="489" y="272"/>
                  </a:lnTo>
                  <a:lnTo>
                    <a:pt x="490" y="273"/>
                  </a:lnTo>
                  <a:lnTo>
                    <a:pt x="490" y="274"/>
                  </a:lnTo>
                  <a:lnTo>
                    <a:pt x="491" y="275"/>
                  </a:lnTo>
                  <a:lnTo>
                    <a:pt x="490" y="276"/>
                  </a:lnTo>
                  <a:lnTo>
                    <a:pt x="492" y="276"/>
                  </a:lnTo>
                  <a:lnTo>
                    <a:pt x="496" y="276"/>
                  </a:lnTo>
                  <a:lnTo>
                    <a:pt x="500" y="276"/>
                  </a:lnTo>
                  <a:lnTo>
                    <a:pt x="500" y="279"/>
                  </a:lnTo>
                  <a:lnTo>
                    <a:pt x="501" y="279"/>
                  </a:lnTo>
                  <a:lnTo>
                    <a:pt x="503" y="279"/>
                  </a:lnTo>
                  <a:lnTo>
                    <a:pt x="506" y="279"/>
                  </a:lnTo>
                  <a:lnTo>
                    <a:pt x="507" y="278"/>
                  </a:lnTo>
                  <a:lnTo>
                    <a:pt x="508" y="280"/>
                  </a:lnTo>
                  <a:lnTo>
                    <a:pt x="509" y="280"/>
                  </a:lnTo>
                  <a:lnTo>
                    <a:pt x="510" y="280"/>
                  </a:lnTo>
                  <a:lnTo>
                    <a:pt x="510" y="281"/>
                  </a:lnTo>
                  <a:lnTo>
                    <a:pt x="509" y="284"/>
                  </a:lnTo>
                  <a:lnTo>
                    <a:pt x="508" y="285"/>
                  </a:lnTo>
                  <a:lnTo>
                    <a:pt x="507" y="285"/>
                  </a:lnTo>
                  <a:lnTo>
                    <a:pt x="508" y="286"/>
                  </a:lnTo>
                  <a:lnTo>
                    <a:pt x="510" y="287"/>
                  </a:lnTo>
                  <a:lnTo>
                    <a:pt x="512" y="288"/>
                  </a:lnTo>
                  <a:lnTo>
                    <a:pt x="514" y="288"/>
                  </a:lnTo>
                  <a:lnTo>
                    <a:pt x="515" y="288"/>
                  </a:lnTo>
                  <a:lnTo>
                    <a:pt x="514" y="291"/>
                  </a:lnTo>
                  <a:lnTo>
                    <a:pt x="516" y="292"/>
                  </a:lnTo>
                  <a:lnTo>
                    <a:pt x="519" y="293"/>
                  </a:lnTo>
                  <a:lnTo>
                    <a:pt x="520" y="293"/>
                  </a:lnTo>
                  <a:lnTo>
                    <a:pt x="521" y="293"/>
                  </a:lnTo>
                  <a:lnTo>
                    <a:pt x="523" y="293"/>
                  </a:lnTo>
                  <a:lnTo>
                    <a:pt x="525" y="293"/>
                  </a:lnTo>
                  <a:lnTo>
                    <a:pt x="526" y="293"/>
                  </a:lnTo>
                  <a:lnTo>
                    <a:pt x="525" y="297"/>
                  </a:lnTo>
                  <a:lnTo>
                    <a:pt x="524" y="298"/>
                  </a:lnTo>
                  <a:lnTo>
                    <a:pt x="523" y="299"/>
                  </a:lnTo>
                  <a:lnTo>
                    <a:pt x="521" y="300"/>
                  </a:lnTo>
                  <a:lnTo>
                    <a:pt x="520" y="300"/>
                  </a:lnTo>
                  <a:lnTo>
                    <a:pt x="518" y="302"/>
                  </a:lnTo>
                  <a:lnTo>
                    <a:pt x="520" y="302"/>
                  </a:lnTo>
                  <a:lnTo>
                    <a:pt x="523" y="302"/>
                  </a:lnTo>
                  <a:lnTo>
                    <a:pt x="524" y="304"/>
                  </a:lnTo>
                  <a:lnTo>
                    <a:pt x="526" y="305"/>
                  </a:lnTo>
                  <a:lnTo>
                    <a:pt x="525" y="308"/>
                  </a:lnTo>
                  <a:lnTo>
                    <a:pt x="524" y="309"/>
                  </a:lnTo>
                  <a:lnTo>
                    <a:pt x="523" y="310"/>
                  </a:lnTo>
                  <a:lnTo>
                    <a:pt x="523" y="311"/>
                  </a:lnTo>
                  <a:lnTo>
                    <a:pt x="523" y="312"/>
                  </a:lnTo>
                  <a:lnTo>
                    <a:pt x="523" y="314"/>
                  </a:lnTo>
                  <a:lnTo>
                    <a:pt x="523" y="315"/>
                  </a:lnTo>
                  <a:lnTo>
                    <a:pt x="525" y="316"/>
                  </a:lnTo>
                  <a:lnTo>
                    <a:pt x="525" y="317"/>
                  </a:lnTo>
                  <a:lnTo>
                    <a:pt x="525" y="320"/>
                  </a:lnTo>
                  <a:lnTo>
                    <a:pt x="524" y="320"/>
                  </a:lnTo>
                  <a:lnTo>
                    <a:pt x="524" y="321"/>
                  </a:lnTo>
                  <a:lnTo>
                    <a:pt x="521" y="321"/>
                  </a:lnTo>
                  <a:lnTo>
                    <a:pt x="519" y="321"/>
                  </a:lnTo>
                  <a:lnTo>
                    <a:pt x="521" y="324"/>
                  </a:lnTo>
                  <a:lnTo>
                    <a:pt x="523" y="326"/>
                  </a:lnTo>
                  <a:lnTo>
                    <a:pt x="524" y="327"/>
                  </a:lnTo>
                  <a:lnTo>
                    <a:pt x="524" y="326"/>
                  </a:lnTo>
                  <a:lnTo>
                    <a:pt x="525" y="326"/>
                  </a:lnTo>
                  <a:lnTo>
                    <a:pt x="526" y="326"/>
                  </a:lnTo>
                  <a:lnTo>
                    <a:pt x="526" y="327"/>
                  </a:lnTo>
                  <a:lnTo>
                    <a:pt x="527" y="327"/>
                  </a:lnTo>
                  <a:lnTo>
                    <a:pt x="527" y="328"/>
                  </a:lnTo>
                  <a:lnTo>
                    <a:pt x="526" y="329"/>
                  </a:lnTo>
                  <a:lnTo>
                    <a:pt x="525" y="330"/>
                  </a:lnTo>
                  <a:lnTo>
                    <a:pt x="523" y="330"/>
                  </a:lnTo>
                  <a:lnTo>
                    <a:pt x="520" y="330"/>
                  </a:lnTo>
                  <a:lnTo>
                    <a:pt x="520" y="329"/>
                  </a:lnTo>
                  <a:lnTo>
                    <a:pt x="518" y="329"/>
                  </a:lnTo>
                  <a:lnTo>
                    <a:pt x="516" y="328"/>
                  </a:lnTo>
                  <a:lnTo>
                    <a:pt x="512" y="327"/>
                  </a:lnTo>
                  <a:lnTo>
                    <a:pt x="510" y="324"/>
                  </a:lnTo>
                  <a:lnTo>
                    <a:pt x="509" y="323"/>
                  </a:lnTo>
                  <a:lnTo>
                    <a:pt x="508" y="321"/>
                  </a:lnTo>
                  <a:lnTo>
                    <a:pt x="507" y="318"/>
                  </a:lnTo>
                  <a:lnTo>
                    <a:pt x="506" y="317"/>
                  </a:lnTo>
                  <a:lnTo>
                    <a:pt x="506" y="315"/>
                  </a:lnTo>
                  <a:lnTo>
                    <a:pt x="504" y="315"/>
                  </a:lnTo>
                  <a:lnTo>
                    <a:pt x="504" y="312"/>
                  </a:lnTo>
                  <a:lnTo>
                    <a:pt x="502" y="311"/>
                  </a:lnTo>
                  <a:lnTo>
                    <a:pt x="501" y="311"/>
                  </a:lnTo>
                  <a:lnTo>
                    <a:pt x="500" y="312"/>
                  </a:lnTo>
                  <a:lnTo>
                    <a:pt x="498" y="312"/>
                  </a:lnTo>
                  <a:lnTo>
                    <a:pt x="497" y="311"/>
                  </a:lnTo>
                  <a:lnTo>
                    <a:pt x="496" y="311"/>
                  </a:lnTo>
                  <a:lnTo>
                    <a:pt x="495" y="311"/>
                  </a:lnTo>
                  <a:lnTo>
                    <a:pt x="494" y="312"/>
                  </a:lnTo>
                  <a:lnTo>
                    <a:pt x="492" y="314"/>
                  </a:lnTo>
                  <a:lnTo>
                    <a:pt x="490" y="312"/>
                  </a:lnTo>
                  <a:lnTo>
                    <a:pt x="490" y="310"/>
                  </a:lnTo>
                  <a:lnTo>
                    <a:pt x="490" y="309"/>
                  </a:lnTo>
                  <a:lnTo>
                    <a:pt x="491" y="308"/>
                  </a:lnTo>
                  <a:lnTo>
                    <a:pt x="492" y="308"/>
                  </a:lnTo>
                  <a:lnTo>
                    <a:pt x="494" y="308"/>
                  </a:lnTo>
                  <a:lnTo>
                    <a:pt x="494" y="306"/>
                  </a:lnTo>
                  <a:lnTo>
                    <a:pt x="492" y="305"/>
                  </a:lnTo>
                  <a:lnTo>
                    <a:pt x="494" y="304"/>
                  </a:lnTo>
                  <a:lnTo>
                    <a:pt x="495" y="304"/>
                  </a:lnTo>
                  <a:lnTo>
                    <a:pt x="496" y="304"/>
                  </a:lnTo>
                  <a:lnTo>
                    <a:pt x="497" y="304"/>
                  </a:lnTo>
                  <a:lnTo>
                    <a:pt x="497" y="302"/>
                  </a:lnTo>
                  <a:lnTo>
                    <a:pt x="495" y="303"/>
                  </a:lnTo>
                  <a:lnTo>
                    <a:pt x="495" y="302"/>
                  </a:lnTo>
                  <a:lnTo>
                    <a:pt x="494" y="302"/>
                  </a:lnTo>
                  <a:lnTo>
                    <a:pt x="491" y="302"/>
                  </a:lnTo>
                  <a:lnTo>
                    <a:pt x="490" y="302"/>
                  </a:lnTo>
                  <a:lnTo>
                    <a:pt x="488" y="300"/>
                  </a:lnTo>
                  <a:lnTo>
                    <a:pt x="486" y="299"/>
                  </a:lnTo>
                  <a:lnTo>
                    <a:pt x="484" y="299"/>
                  </a:lnTo>
                  <a:lnTo>
                    <a:pt x="486" y="298"/>
                  </a:lnTo>
                  <a:lnTo>
                    <a:pt x="484" y="298"/>
                  </a:lnTo>
                  <a:lnTo>
                    <a:pt x="484" y="296"/>
                  </a:lnTo>
                  <a:lnTo>
                    <a:pt x="484" y="294"/>
                  </a:lnTo>
                  <a:lnTo>
                    <a:pt x="483" y="294"/>
                  </a:lnTo>
                  <a:lnTo>
                    <a:pt x="483" y="296"/>
                  </a:lnTo>
                  <a:lnTo>
                    <a:pt x="480" y="296"/>
                  </a:lnTo>
                  <a:lnTo>
                    <a:pt x="479" y="296"/>
                  </a:lnTo>
                  <a:lnTo>
                    <a:pt x="478" y="297"/>
                  </a:lnTo>
                  <a:lnTo>
                    <a:pt x="477" y="296"/>
                  </a:lnTo>
                  <a:lnTo>
                    <a:pt x="476" y="294"/>
                  </a:lnTo>
                  <a:lnTo>
                    <a:pt x="476" y="293"/>
                  </a:lnTo>
                  <a:lnTo>
                    <a:pt x="473" y="293"/>
                  </a:lnTo>
                  <a:lnTo>
                    <a:pt x="472" y="292"/>
                  </a:lnTo>
                  <a:lnTo>
                    <a:pt x="473" y="291"/>
                  </a:lnTo>
                  <a:lnTo>
                    <a:pt x="472" y="291"/>
                  </a:lnTo>
                  <a:lnTo>
                    <a:pt x="471" y="291"/>
                  </a:lnTo>
                  <a:lnTo>
                    <a:pt x="470" y="290"/>
                  </a:lnTo>
                  <a:lnTo>
                    <a:pt x="468" y="290"/>
                  </a:lnTo>
                  <a:lnTo>
                    <a:pt x="467" y="290"/>
                  </a:lnTo>
                  <a:lnTo>
                    <a:pt x="466" y="288"/>
                  </a:lnTo>
                  <a:lnTo>
                    <a:pt x="465" y="290"/>
                  </a:lnTo>
                  <a:lnTo>
                    <a:pt x="464" y="287"/>
                  </a:lnTo>
                  <a:lnTo>
                    <a:pt x="464" y="286"/>
                  </a:lnTo>
                  <a:lnTo>
                    <a:pt x="462" y="286"/>
                  </a:lnTo>
                  <a:lnTo>
                    <a:pt x="462" y="285"/>
                  </a:lnTo>
                  <a:lnTo>
                    <a:pt x="462" y="282"/>
                  </a:lnTo>
                  <a:lnTo>
                    <a:pt x="464" y="282"/>
                  </a:lnTo>
                  <a:lnTo>
                    <a:pt x="462" y="282"/>
                  </a:lnTo>
                  <a:lnTo>
                    <a:pt x="462" y="281"/>
                  </a:lnTo>
                  <a:lnTo>
                    <a:pt x="461" y="280"/>
                  </a:lnTo>
                  <a:lnTo>
                    <a:pt x="460" y="279"/>
                  </a:lnTo>
                  <a:lnTo>
                    <a:pt x="459" y="278"/>
                  </a:lnTo>
                  <a:lnTo>
                    <a:pt x="459" y="279"/>
                  </a:lnTo>
                  <a:lnTo>
                    <a:pt x="459" y="280"/>
                  </a:lnTo>
                  <a:lnTo>
                    <a:pt x="459" y="281"/>
                  </a:lnTo>
                  <a:lnTo>
                    <a:pt x="457" y="282"/>
                  </a:lnTo>
                  <a:lnTo>
                    <a:pt x="455" y="282"/>
                  </a:lnTo>
                  <a:lnTo>
                    <a:pt x="455" y="284"/>
                  </a:lnTo>
                  <a:lnTo>
                    <a:pt x="456" y="285"/>
                  </a:lnTo>
                  <a:lnTo>
                    <a:pt x="457" y="285"/>
                  </a:lnTo>
                  <a:lnTo>
                    <a:pt x="459" y="285"/>
                  </a:lnTo>
                  <a:lnTo>
                    <a:pt x="460" y="285"/>
                  </a:lnTo>
                  <a:lnTo>
                    <a:pt x="460" y="287"/>
                  </a:lnTo>
                  <a:lnTo>
                    <a:pt x="461" y="287"/>
                  </a:lnTo>
                  <a:lnTo>
                    <a:pt x="461" y="288"/>
                  </a:lnTo>
                  <a:lnTo>
                    <a:pt x="461" y="290"/>
                  </a:lnTo>
                  <a:lnTo>
                    <a:pt x="461" y="291"/>
                  </a:lnTo>
                  <a:lnTo>
                    <a:pt x="462" y="292"/>
                  </a:lnTo>
                  <a:lnTo>
                    <a:pt x="462" y="293"/>
                  </a:lnTo>
                  <a:lnTo>
                    <a:pt x="460" y="292"/>
                  </a:lnTo>
                  <a:lnTo>
                    <a:pt x="460" y="293"/>
                  </a:lnTo>
                  <a:lnTo>
                    <a:pt x="459" y="292"/>
                  </a:lnTo>
                  <a:lnTo>
                    <a:pt x="457" y="291"/>
                  </a:lnTo>
                  <a:lnTo>
                    <a:pt x="456" y="291"/>
                  </a:lnTo>
                  <a:lnTo>
                    <a:pt x="456" y="290"/>
                  </a:lnTo>
                  <a:lnTo>
                    <a:pt x="455" y="290"/>
                  </a:lnTo>
                  <a:lnTo>
                    <a:pt x="455" y="288"/>
                  </a:lnTo>
                  <a:lnTo>
                    <a:pt x="451" y="288"/>
                  </a:lnTo>
                  <a:lnTo>
                    <a:pt x="450" y="287"/>
                  </a:lnTo>
                  <a:lnTo>
                    <a:pt x="449" y="287"/>
                  </a:lnTo>
                  <a:lnTo>
                    <a:pt x="447" y="287"/>
                  </a:lnTo>
                  <a:lnTo>
                    <a:pt x="445" y="287"/>
                  </a:lnTo>
                  <a:lnTo>
                    <a:pt x="444" y="286"/>
                  </a:lnTo>
                  <a:lnTo>
                    <a:pt x="441" y="286"/>
                  </a:lnTo>
                  <a:lnTo>
                    <a:pt x="438" y="285"/>
                  </a:lnTo>
                  <a:lnTo>
                    <a:pt x="437" y="285"/>
                  </a:lnTo>
                  <a:lnTo>
                    <a:pt x="435" y="285"/>
                  </a:lnTo>
                  <a:lnTo>
                    <a:pt x="436" y="284"/>
                  </a:lnTo>
                  <a:lnTo>
                    <a:pt x="433" y="282"/>
                  </a:lnTo>
                  <a:lnTo>
                    <a:pt x="432" y="282"/>
                  </a:lnTo>
                  <a:lnTo>
                    <a:pt x="429" y="279"/>
                  </a:lnTo>
                  <a:lnTo>
                    <a:pt x="430" y="276"/>
                  </a:lnTo>
                  <a:lnTo>
                    <a:pt x="431" y="274"/>
                  </a:lnTo>
                  <a:lnTo>
                    <a:pt x="431" y="272"/>
                  </a:lnTo>
                  <a:lnTo>
                    <a:pt x="431" y="273"/>
                  </a:lnTo>
                  <a:lnTo>
                    <a:pt x="430" y="273"/>
                  </a:lnTo>
                  <a:lnTo>
                    <a:pt x="430" y="274"/>
                  </a:lnTo>
                  <a:lnTo>
                    <a:pt x="430" y="275"/>
                  </a:lnTo>
                  <a:lnTo>
                    <a:pt x="429" y="276"/>
                  </a:lnTo>
                  <a:lnTo>
                    <a:pt x="426" y="275"/>
                  </a:lnTo>
                  <a:lnTo>
                    <a:pt x="425" y="275"/>
                  </a:lnTo>
                  <a:lnTo>
                    <a:pt x="424" y="274"/>
                  </a:lnTo>
                  <a:lnTo>
                    <a:pt x="421" y="275"/>
                  </a:lnTo>
                  <a:lnTo>
                    <a:pt x="420" y="278"/>
                  </a:lnTo>
                  <a:lnTo>
                    <a:pt x="418" y="279"/>
                  </a:lnTo>
                  <a:lnTo>
                    <a:pt x="418" y="278"/>
                  </a:lnTo>
                  <a:lnTo>
                    <a:pt x="417" y="278"/>
                  </a:lnTo>
                  <a:lnTo>
                    <a:pt x="415" y="278"/>
                  </a:lnTo>
                  <a:lnTo>
                    <a:pt x="414" y="279"/>
                  </a:lnTo>
                  <a:lnTo>
                    <a:pt x="414" y="282"/>
                  </a:lnTo>
                  <a:lnTo>
                    <a:pt x="415" y="281"/>
                  </a:lnTo>
                  <a:lnTo>
                    <a:pt x="417" y="281"/>
                  </a:lnTo>
                  <a:lnTo>
                    <a:pt x="418" y="282"/>
                  </a:lnTo>
                  <a:lnTo>
                    <a:pt x="419" y="284"/>
                  </a:lnTo>
                  <a:lnTo>
                    <a:pt x="419" y="281"/>
                  </a:lnTo>
                  <a:lnTo>
                    <a:pt x="420" y="281"/>
                  </a:lnTo>
                  <a:lnTo>
                    <a:pt x="423" y="281"/>
                  </a:lnTo>
                  <a:lnTo>
                    <a:pt x="424" y="281"/>
                  </a:lnTo>
                  <a:lnTo>
                    <a:pt x="423" y="282"/>
                  </a:lnTo>
                  <a:lnTo>
                    <a:pt x="423" y="284"/>
                  </a:lnTo>
                  <a:lnTo>
                    <a:pt x="423" y="285"/>
                  </a:lnTo>
                  <a:lnTo>
                    <a:pt x="423" y="287"/>
                  </a:lnTo>
                  <a:lnTo>
                    <a:pt x="424" y="287"/>
                  </a:lnTo>
                  <a:lnTo>
                    <a:pt x="421" y="287"/>
                  </a:lnTo>
                  <a:lnTo>
                    <a:pt x="420" y="287"/>
                  </a:lnTo>
                  <a:lnTo>
                    <a:pt x="419" y="286"/>
                  </a:lnTo>
                  <a:lnTo>
                    <a:pt x="419" y="285"/>
                  </a:lnTo>
                  <a:lnTo>
                    <a:pt x="418" y="285"/>
                  </a:lnTo>
                  <a:lnTo>
                    <a:pt x="418" y="287"/>
                  </a:lnTo>
                  <a:lnTo>
                    <a:pt x="419" y="287"/>
                  </a:lnTo>
                  <a:lnTo>
                    <a:pt x="421" y="288"/>
                  </a:lnTo>
                  <a:lnTo>
                    <a:pt x="421" y="290"/>
                  </a:lnTo>
                  <a:lnTo>
                    <a:pt x="425" y="291"/>
                  </a:lnTo>
                  <a:lnTo>
                    <a:pt x="425" y="290"/>
                  </a:lnTo>
                  <a:lnTo>
                    <a:pt x="426" y="290"/>
                  </a:lnTo>
                  <a:lnTo>
                    <a:pt x="429" y="288"/>
                  </a:lnTo>
                  <a:lnTo>
                    <a:pt x="429" y="287"/>
                  </a:lnTo>
                  <a:lnTo>
                    <a:pt x="430" y="287"/>
                  </a:lnTo>
                  <a:lnTo>
                    <a:pt x="431" y="288"/>
                  </a:lnTo>
                  <a:lnTo>
                    <a:pt x="432" y="290"/>
                  </a:lnTo>
                  <a:lnTo>
                    <a:pt x="431" y="290"/>
                  </a:lnTo>
                  <a:lnTo>
                    <a:pt x="432" y="291"/>
                  </a:lnTo>
                  <a:lnTo>
                    <a:pt x="431" y="292"/>
                  </a:lnTo>
                  <a:lnTo>
                    <a:pt x="433" y="293"/>
                  </a:lnTo>
                  <a:lnTo>
                    <a:pt x="435" y="294"/>
                  </a:lnTo>
                  <a:lnTo>
                    <a:pt x="435" y="296"/>
                  </a:lnTo>
                  <a:lnTo>
                    <a:pt x="433" y="296"/>
                  </a:lnTo>
                  <a:lnTo>
                    <a:pt x="435" y="296"/>
                  </a:lnTo>
                  <a:lnTo>
                    <a:pt x="433" y="298"/>
                  </a:lnTo>
                  <a:lnTo>
                    <a:pt x="435" y="299"/>
                  </a:lnTo>
                  <a:lnTo>
                    <a:pt x="436" y="298"/>
                  </a:lnTo>
                  <a:lnTo>
                    <a:pt x="437" y="299"/>
                  </a:lnTo>
                  <a:lnTo>
                    <a:pt x="438" y="300"/>
                  </a:lnTo>
                  <a:lnTo>
                    <a:pt x="437" y="302"/>
                  </a:lnTo>
                  <a:lnTo>
                    <a:pt x="439" y="302"/>
                  </a:lnTo>
                  <a:lnTo>
                    <a:pt x="443" y="302"/>
                  </a:lnTo>
                  <a:lnTo>
                    <a:pt x="444" y="303"/>
                  </a:lnTo>
                  <a:lnTo>
                    <a:pt x="444" y="304"/>
                  </a:lnTo>
                  <a:lnTo>
                    <a:pt x="445" y="304"/>
                  </a:lnTo>
                  <a:lnTo>
                    <a:pt x="449" y="305"/>
                  </a:lnTo>
                  <a:lnTo>
                    <a:pt x="451" y="304"/>
                  </a:lnTo>
                  <a:lnTo>
                    <a:pt x="453" y="303"/>
                  </a:lnTo>
                  <a:lnTo>
                    <a:pt x="454" y="303"/>
                  </a:lnTo>
                  <a:lnTo>
                    <a:pt x="455" y="304"/>
                  </a:lnTo>
                  <a:lnTo>
                    <a:pt x="456" y="304"/>
                  </a:lnTo>
                  <a:lnTo>
                    <a:pt x="457" y="304"/>
                  </a:lnTo>
                  <a:lnTo>
                    <a:pt x="460" y="304"/>
                  </a:lnTo>
                  <a:lnTo>
                    <a:pt x="459" y="303"/>
                  </a:lnTo>
                  <a:lnTo>
                    <a:pt x="460" y="302"/>
                  </a:lnTo>
                  <a:lnTo>
                    <a:pt x="460" y="303"/>
                  </a:lnTo>
                  <a:lnTo>
                    <a:pt x="464" y="303"/>
                  </a:lnTo>
                  <a:lnTo>
                    <a:pt x="462" y="303"/>
                  </a:lnTo>
                  <a:lnTo>
                    <a:pt x="465" y="304"/>
                  </a:lnTo>
                  <a:lnTo>
                    <a:pt x="467" y="305"/>
                  </a:lnTo>
                  <a:lnTo>
                    <a:pt x="468" y="305"/>
                  </a:lnTo>
                  <a:lnTo>
                    <a:pt x="468" y="306"/>
                  </a:lnTo>
                  <a:lnTo>
                    <a:pt x="470" y="306"/>
                  </a:lnTo>
                  <a:lnTo>
                    <a:pt x="472" y="308"/>
                  </a:lnTo>
                  <a:lnTo>
                    <a:pt x="472" y="309"/>
                  </a:lnTo>
                  <a:lnTo>
                    <a:pt x="471" y="309"/>
                  </a:lnTo>
                  <a:lnTo>
                    <a:pt x="471" y="310"/>
                  </a:lnTo>
                  <a:lnTo>
                    <a:pt x="471" y="311"/>
                  </a:lnTo>
                  <a:lnTo>
                    <a:pt x="471" y="315"/>
                  </a:lnTo>
                  <a:lnTo>
                    <a:pt x="468" y="315"/>
                  </a:lnTo>
                  <a:lnTo>
                    <a:pt x="467" y="316"/>
                  </a:lnTo>
                  <a:lnTo>
                    <a:pt x="467" y="317"/>
                  </a:lnTo>
                  <a:lnTo>
                    <a:pt x="470" y="317"/>
                  </a:lnTo>
                  <a:lnTo>
                    <a:pt x="470" y="316"/>
                  </a:lnTo>
                  <a:lnTo>
                    <a:pt x="471" y="315"/>
                  </a:lnTo>
                  <a:lnTo>
                    <a:pt x="472" y="314"/>
                  </a:lnTo>
                  <a:lnTo>
                    <a:pt x="473" y="314"/>
                  </a:lnTo>
                  <a:lnTo>
                    <a:pt x="474" y="314"/>
                  </a:lnTo>
                  <a:lnTo>
                    <a:pt x="476" y="314"/>
                  </a:lnTo>
                  <a:lnTo>
                    <a:pt x="476" y="312"/>
                  </a:lnTo>
                  <a:lnTo>
                    <a:pt x="477" y="315"/>
                  </a:lnTo>
                  <a:lnTo>
                    <a:pt x="477" y="314"/>
                  </a:lnTo>
                  <a:lnTo>
                    <a:pt x="477" y="315"/>
                  </a:lnTo>
                  <a:lnTo>
                    <a:pt x="478" y="315"/>
                  </a:lnTo>
                  <a:lnTo>
                    <a:pt x="478" y="316"/>
                  </a:lnTo>
                  <a:lnTo>
                    <a:pt x="479" y="317"/>
                  </a:lnTo>
                  <a:lnTo>
                    <a:pt x="479" y="318"/>
                  </a:lnTo>
                  <a:lnTo>
                    <a:pt x="480" y="320"/>
                  </a:lnTo>
                  <a:lnTo>
                    <a:pt x="482" y="320"/>
                  </a:lnTo>
                  <a:lnTo>
                    <a:pt x="484" y="322"/>
                  </a:lnTo>
                  <a:lnTo>
                    <a:pt x="484" y="323"/>
                  </a:lnTo>
                  <a:lnTo>
                    <a:pt x="485" y="323"/>
                  </a:lnTo>
                  <a:lnTo>
                    <a:pt x="486" y="323"/>
                  </a:lnTo>
                  <a:lnTo>
                    <a:pt x="488" y="322"/>
                  </a:lnTo>
                  <a:lnTo>
                    <a:pt x="490" y="322"/>
                  </a:lnTo>
                  <a:lnTo>
                    <a:pt x="489" y="323"/>
                  </a:lnTo>
                  <a:lnTo>
                    <a:pt x="490" y="323"/>
                  </a:lnTo>
                  <a:lnTo>
                    <a:pt x="491" y="323"/>
                  </a:lnTo>
                  <a:lnTo>
                    <a:pt x="492" y="323"/>
                  </a:lnTo>
                  <a:lnTo>
                    <a:pt x="492" y="324"/>
                  </a:lnTo>
                  <a:lnTo>
                    <a:pt x="492" y="328"/>
                  </a:lnTo>
                  <a:lnTo>
                    <a:pt x="492" y="330"/>
                  </a:lnTo>
                  <a:lnTo>
                    <a:pt x="494" y="330"/>
                  </a:lnTo>
                  <a:lnTo>
                    <a:pt x="494" y="333"/>
                  </a:lnTo>
                  <a:lnTo>
                    <a:pt x="494" y="335"/>
                  </a:lnTo>
                  <a:lnTo>
                    <a:pt x="492" y="336"/>
                  </a:lnTo>
                  <a:lnTo>
                    <a:pt x="492" y="339"/>
                  </a:lnTo>
                  <a:lnTo>
                    <a:pt x="494" y="339"/>
                  </a:lnTo>
                  <a:lnTo>
                    <a:pt x="495" y="340"/>
                  </a:lnTo>
                  <a:lnTo>
                    <a:pt x="496" y="340"/>
                  </a:lnTo>
                  <a:lnTo>
                    <a:pt x="497" y="340"/>
                  </a:lnTo>
                  <a:lnTo>
                    <a:pt x="498" y="339"/>
                  </a:lnTo>
                  <a:lnTo>
                    <a:pt x="498" y="340"/>
                  </a:lnTo>
                  <a:lnTo>
                    <a:pt x="500" y="340"/>
                  </a:lnTo>
                  <a:lnTo>
                    <a:pt x="503" y="341"/>
                  </a:lnTo>
                  <a:lnTo>
                    <a:pt x="503" y="342"/>
                  </a:lnTo>
                  <a:lnTo>
                    <a:pt x="504" y="344"/>
                  </a:lnTo>
                  <a:lnTo>
                    <a:pt x="508" y="344"/>
                  </a:lnTo>
                  <a:lnTo>
                    <a:pt x="509" y="344"/>
                  </a:lnTo>
                  <a:lnTo>
                    <a:pt x="510" y="345"/>
                  </a:lnTo>
                  <a:lnTo>
                    <a:pt x="510" y="348"/>
                  </a:lnTo>
                  <a:lnTo>
                    <a:pt x="509" y="350"/>
                  </a:lnTo>
                  <a:lnTo>
                    <a:pt x="512" y="351"/>
                  </a:lnTo>
                  <a:lnTo>
                    <a:pt x="512" y="352"/>
                  </a:lnTo>
                  <a:lnTo>
                    <a:pt x="513" y="352"/>
                  </a:lnTo>
                  <a:lnTo>
                    <a:pt x="514" y="354"/>
                  </a:lnTo>
                  <a:lnTo>
                    <a:pt x="518" y="354"/>
                  </a:lnTo>
                  <a:lnTo>
                    <a:pt x="519" y="357"/>
                  </a:lnTo>
                  <a:lnTo>
                    <a:pt x="519" y="358"/>
                  </a:lnTo>
                  <a:lnTo>
                    <a:pt x="520" y="358"/>
                  </a:lnTo>
                  <a:lnTo>
                    <a:pt x="521" y="358"/>
                  </a:lnTo>
                  <a:lnTo>
                    <a:pt x="523" y="358"/>
                  </a:lnTo>
                  <a:lnTo>
                    <a:pt x="521" y="359"/>
                  </a:lnTo>
                  <a:lnTo>
                    <a:pt x="521" y="360"/>
                  </a:lnTo>
                  <a:lnTo>
                    <a:pt x="521" y="362"/>
                  </a:lnTo>
                  <a:lnTo>
                    <a:pt x="521" y="364"/>
                  </a:lnTo>
                  <a:lnTo>
                    <a:pt x="523" y="365"/>
                  </a:lnTo>
                  <a:lnTo>
                    <a:pt x="524" y="365"/>
                  </a:lnTo>
                  <a:lnTo>
                    <a:pt x="521" y="366"/>
                  </a:lnTo>
                  <a:lnTo>
                    <a:pt x="523" y="368"/>
                  </a:lnTo>
                  <a:lnTo>
                    <a:pt x="524" y="369"/>
                  </a:lnTo>
                  <a:lnTo>
                    <a:pt x="525" y="370"/>
                  </a:lnTo>
                  <a:lnTo>
                    <a:pt x="526" y="371"/>
                  </a:lnTo>
                  <a:lnTo>
                    <a:pt x="525" y="373"/>
                  </a:lnTo>
                  <a:lnTo>
                    <a:pt x="524" y="375"/>
                  </a:lnTo>
                  <a:lnTo>
                    <a:pt x="525" y="377"/>
                  </a:lnTo>
                  <a:lnTo>
                    <a:pt x="525" y="376"/>
                  </a:lnTo>
                  <a:lnTo>
                    <a:pt x="527" y="376"/>
                  </a:lnTo>
                  <a:lnTo>
                    <a:pt x="530" y="380"/>
                  </a:lnTo>
                  <a:lnTo>
                    <a:pt x="530" y="381"/>
                  </a:lnTo>
                  <a:lnTo>
                    <a:pt x="532" y="381"/>
                  </a:lnTo>
                  <a:lnTo>
                    <a:pt x="533" y="381"/>
                  </a:lnTo>
                  <a:lnTo>
                    <a:pt x="533" y="382"/>
                  </a:lnTo>
                  <a:lnTo>
                    <a:pt x="536" y="382"/>
                  </a:lnTo>
                  <a:lnTo>
                    <a:pt x="535" y="385"/>
                  </a:lnTo>
                  <a:lnTo>
                    <a:pt x="533" y="386"/>
                  </a:lnTo>
                  <a:lnTo>
                    <a:pt x="532" y="387"/>
                  </a:lnTo>
                  <a:lnTo>
                    <a:pt x="535" y="388"/>
                  </a:lnTo>
                  <a:lnTo>
                    <a:pt x="535" y="387"/>
                  </a:lnTo>
                  <a:lnTo>
                    <a:pt x="536" y="387"/>
                  </a:lnTo>
                  <a:lnTo>
                    <a:pt x="536" y="388"/>
                  </a:lnTo>
                  <a:lnTo>
                    <a:pt x="537" y="388"/>
                  </a:lnTo>
                  <a:lnTo>
                    <a:pt x="537" y="389"/>
                  </a:lnTo>
                  <a:lnTo>
                    <a:pt x="537" y="391"/>
                  </a:lnTo>
                  <a:lnTo>
                    <a:pt x="538" y="391"/>
                  </a:lnTo>
                  <a:lnTo>
                    <a:pt x="539" y="393"/>
                  </a:lnTo>
                  <a:lnTo>
                    <a:pt x="539" y="392"/>
                  </a:lnTo>
                  <a:lnTo>
                    <a:pt x="542" y="394"/>
                  </a:lnTo>
                  <a:lnTo>
                    <a:pt x="542" y="395"/>
                  </a:lnTo>
                  <a:lnTo>
                    <a:pt x="541" y="397"/>
                  </a:lnTo>
                  <a:lnTo>
                    <a:pt x="543" y="398"/>
                  </a:lnTo>
                  <a:lnTo>
                    <a:pt x="544" y="399"/>
                  </a:lnTo>
                  <a:lnTo>
                    <a:pt x="545" y="400"/>
                  </a:lnTo>
                  <a:lnTo>
                    <a:pt x="547" y="399"/>
                  </a:lnTo>
                  <a:lnTo>
                    <a:pt x="548" y="398"/>
                  </a:lnTo>
                  <a:lnTo>
                    <a:pt x="549" y="398"/>
                  </a:lnTo>
                  <a:lnTo>
                    <a:pt x="550" y="399"/>
                  </a:lnTo>
                  <a:lnTo>
                    <a:pt x="550" y="400"/>
                  </a:lnTo>
                  <a:lnTo>
                    <a:pt x="551" y="399"/>
                  </a:lnTo>
                  <a:lnTo>
                    <a:pt x="554" y="398"/>
                  </a:lnTo>
                  <a:lnTo>
                    <a:pt x="556" y="399"/>
                  </a:lnTo>
                  <a:lnTo>
                    <a:pt x="555" y="400"/>
                  </a:lnTo>
                  <a:lnTo>
                    <a:pt x="555" y="401"/>
                  </a:lnTo>
                  <a:lnTo>
                    <a:pt x="554" y="403"/>
                  </a:lnTo>
                  <a:lnTo>
                    <a:pt x="553" y="401"/>
                  </a:lnTo>
                  <a:lnTo>
                    <a:pt x="553" y="403"/>
                  </a:lnTo>
                  <a:lnTo>
                    <a:pt x="550" y="404"/>
                  </a:lnTo>
                  <a:lnTo>
                    <a:pt x="549" y="404"/>
                  </a:lnTo>
                  <a:lnTo>
                    <a:pt x="548" y="405"/>
                  </a:lnTo>
                  <a:lnTo>
                    <a:pt x="547" y="404"/>
                  </a:lnTo>
                  <a:lnTo>
                    <a:pt x="547" y="405"/>
                  </a:lnTo>
                  <a:lnTo>
                    <a:pt x="545" y="406"/>
                  </a:lnTo>
                  <a:lnTo>
                    <a:pt x="547" y="407"/>
                  </a:lnTo>
                  <a:lnTo>
                    <a:pt x="544" y="410"/>
                  </a:lnTo>
                  <a:lnTo>
                    <a:pt x="544" y="411"/>
                  </a:lnTo>
                  <a:lnTo>
                    <a:pt x="543" y="412"/>
                  </a:lnTo>
                  <a:lnTo>
                    <a:pt x="544" y="413"/>
                  </a:lnTo>
                  <a:lnTo>
                    <a:pt x="544" y="415"/>
                  </a:lnTo>
                  <a:lnTo>
                    <a:pt x="543" y="416"/>
                  </a:lnTo>
                  <a:lnTo>
                    <a:pt x="545" y="417"/>
                  </a:lnTo>
                  <a:lnTo>
                    <a:pt x="547" y="418"/>
                  </a:lnTo>
                  <a:lnTo>
                    <a:pt x="548" y="418"/>
                  </a:lnTo>
                  <a:lnTo>
                    <a:pt x="549" y="419"/>
                  </a:lnTo>
                  <a:lnTo>
                    <a:pt x="549" y="421"/>
                  </a:lnTo>
                  <a:lnTo>
                    <a:pt x="547" y="421"/>
                  </a:lnTo>
                  <a:lnTo>
                    <a:pt x="547" y="422"/>
                  </a:lnTo>
                  <a:lnTo>
                    <a:pt x="545" y="422"/>
                  </a:lnTo>
                  <a:lnTo>
                    <a:pt x="544" y="422"/>
                  </a:lnTo>
                  <a:lnTo>
                    <a:pt x="544" y="421"/>
                  </a:lnTo>
                  <a:lnTo>
                    <a:pt x="542" y="421"/>
                  </a:lnTo>
                  <a:lnTo>
                    <a:pt x="541" y="419"/>
                  </a:lnTo>
                  <a:lnTo>
                    <a:pt x="541" y="418"/>
                  </a:lnTo>
                  <a:lnTo>
                    <a:pt x="539" y="418"/>
                  </a:lnTo>
                  <a:lnTo>
                    <a:pt x="538" y="416"/>
                  </a:lnTo>
                  <a:lnTo>
                    <a:pt x="536" y="416"/>
                  </a:lnTo>
                  <a:lnTo>
                    <a:pt x="535" y="413"/>
                  </a:lnTo>
                  <a:lnTo>
                    <a:pt x="535" y="412"/>
                  </a:lnTo>
                  <a:lnTo>
                    <a:pt x="535" y="411"/>
                  </a:lnTo>
                  <a:lnTo>
                    <a:pt x="533" y="411"/>
                  </a:lnTo>
                  <a:lnTo>
                    <a:pt x="532" y="411"/>
                  </a:lnTo>
                  <a:lnTo>
                    <a:pt x="530" y="411"/>
                  </a:lnTo>
                  <a:lnTo>
                    <a:pt x="527" y="411"/>
                  </a:lnTo>
                  <a:lnTo>
                    <a:pt x="523" y="411"/>
                  </a:lnTo>
                  <a:lnTo>
                    <a:pt x="524" y="410"/>
                  </a:lnTo>
                  <a:lnTo>
                    <a:pt x="524" y="407"/>
                  </a:lnTo>
                  <a:lnTo>
                    <a:pt x="524" y="405"/>
                  </a:lnTo>
                  <a:lnTo>
                    <a:pt x="523" y="407"/>
                  </a:lnTo>
                  <a:lnTo>
                    <a:pt x="523" y="409"/>
                  </a:lnTo>
                  <a:lnTo>
                    <a:pt x="520" y="410"/>
                  </a:lnTo>
                  <a:lnTo>
                    <a:pt x="518" y="411"/>
                  </a:lnTo>
                  <a:lnTo>
                    <a:pt x="516" y="411"/>
                  </a:lnTo>
                  <a:lnTo>
                    <a:pt x="516" y="413"/>
                  </a:lnTo>
                  <a:lnTo>
                    <a:pt x="518" y="413"/>
                  </a:lnTo>
                  <a:lnTo>
                    <a:pt x="518" y="416"/>
                  </a:lnTo>
                  <a:lnTo>
                    <a:pt x="518" y="417"/>
                  </a:lnTo>
                  <a:lnTo>
                    <a:pt x="516" y="418"/>
                  </a:lnTo>
                  <a:lnTo>
                    <a:pt x="516" y="417"/>
                  </a:lnTo>
                  <a:lnTo>
                    <a:pt x="515" y="418"/>
                  </a:lnTo>
                  <a:lnTo>
                    <a:pt x="514" y="418"/>
                  </a:lnTo>
                  <a:lnTo>
                    <a:pt x="513" y="418"/>
                  </a:lnTo>
                  <a:lnTo>
                    <a:pt x="512" y="419"/>
                  </a:lnTo>
                  <a:lnTo>
                    <a:pt x="510" y="419"/>
                  </a:lnTo>
                  <a:lnTo>
                    <a:pt x="512" y="418"/>
                  </a:lnTo>
                  <a:lnTo>
                    <a:pt x="512" y="416"/>
                  </a:lnTo>
                  <a:lnTo>
                    <a:pt x="510" y="416"/>
                  </a:lnTo>
                  <a:lnTo>
                    <a:pt x="510" y="415"/>
                  </a:lnTo>
                  <a:lnTo>
                    <a:pt x="509" y="413"/>
                  </a:lnTo>
                  <a:lnTo>
                    <a:pt x="509" y="412"/>
                  </a:lnTo>
                  <a:lnTo>
                    <a:pt x="508" y="411"/>
                  </a:lnTo>
                  <a:lnTo>
                    <a:pt x="507" y="411"/>
                  </a:lnTo>
                  <a:lnTo>
                    <a:pt x="506" y="411"/>
                  </a:lnTo>
                  <a:lnTo>
                    <a:pt x="504" y="411"/>
                  </a:lnTo>
                  <a:lnTo>
                    <a:pt x="503" y="410"/>
                  </a:lnTo>
                  <a:lnTo>
                    <a:pt x="504" y="409"/>
                  </a:lnTo>
                  <a:lnTo>
                    <a:pt x="503" y="409"/>
                  </a:lnTo>
                  <a:lnTo>
                    <a:pt x="501" y="407"/>
                  </a:lnTo>
                  <a:lnTo>
                    <a:pt x="500" y="406"/>
                  </a:lnTo>
                  <a:lnTo>
                    <a:pt x="500" y="405"/>
                  </a:lnTo>
                  <a:lnTo>
                    <a:pt x="498" y="404"/>
                  </a:lnTo>
                  <a:lnTo>
                    <a:pt x="497" y="403"/>
                  </a:lnTo>
                  <a:lnTo>
                    <a:pt x="496" y="403"/>
                  </a:lnTo>
                  <a:lnTo>
                    <a:pt x="495" y="405"/>
                  </a:lnTo>
                  <a:lnTo>
                    <a:pt x="494" y="405"/>
                  </a:lnTo>
                  <a:lnTo>
                    <a:pt x="494" y="406"/>
                  </a:lnTo>
                  <a:lnTo>
                    <a:pt x="491" y="406"/>
                  </a:lnTo>
                  <a:lnTo>
                    <a:pt x="490" y="404"/>
                  </a:lnTo>
                  <a:lnTo>
                    <a:pt x="488" y="405"/>
                  </a:lnTo>
                  <a:lnTo>
                    <a:pt x="488" y="406"/>
                  </a:lnTo>
                  <a:lnTo>
                    <a:pt x="486" y="406"/>
                  </a:lnTo>
                  <a:lnTo>
                    <a:pt x="485" y="407"/>
                  </a:lnTo>
                  <a:lnTo>
                    <a:pt x="484" y="410"/>
                  </a:lnTo>
                  <a:lnTo>
                    <a:pt x="486" y="410"/>
                  </a:lnTo>
                  <a:lnTo>
                    <a:pt x="488" y="411"/>
                  </a:lnTo>
                  <a:lnTo>
                    <a:pt x="489" y="412"/>
                  </a:lnTo>
                  <a:lnTo>
                    <a:pt x="488" y="411"/>
                  </a:lnTo>
                  <a:lnTo>
                    <a:pt x="490" y="411"/>
                  </a:lnTo>
                  <a:lnTo>
                    <a:pt x="491" y="411"/>
                  </a:lnTo>
                  <a:lnTo>
                    <a:pt x="492" y="411"/>
                  </a:lnTo>
                  <a:lnTo>
                    <a:pt x="494" y="413"/>
                  </a:lnTo>
                  <a:lnTo>
                    <a:pt x="494" y="412"/>
                  </a:lnTo>
                  <a:lnTo>
                    <a:pt x="495" y="412"/>
                  </a:lnTo>
                  <a:lnTo>
                    <a:pt x="497" y="412"/>
                  </a:lnTo>
                  <a:lnTo>
                    <a:pt x="498" y="412"/>
                  </a:lnTo>
                  <a:lnTo>
                    <a:pt x="498" y="413"/>
                  </a:lnTo>
                  <a:lnTo>
                    <a:pt x="500" y="413"/>
                  </a:lnTo>
                  <a:lnTo>
                    <a:pt x="500" y="415"/>
                  </a:lnTo>
                  <a:lnTo>
                    <a:pt x="501" y="415"/>
                  </a:lnTo>
                  <a:lnTo>
                    <a:pt x="501" y="416"/>
                  </a:lnTo>
                  <a:lnTo>
                    <a:pt x="501" y="417"/>
                  </a:lnTo>
                  <a:lnTo>
                    <a:pt x="502" y="417"/>
                  </a:lnTo>
                  <a:lnTo>
                    <a:pt x="502" y="418"/>
                  </a:lnTo>
                  <a:lnTo>
                    <a:pt x="504" y="419"/>
                  </a:lnTo>
                  <a:lnTo>
                    <a:pt x="506" y="419"/>
                  </a:lnTo>
                  <a:lnTo>
                    <a:pt x="506" y="421"/>
                  </a:lnTo>
                  <a:lnTo>
                    <a:pt x="504" y="421"/>
                  </a:lnTo>
                  <a:lnTo>
                    <a:pt x="504" y="422"/>
                  </a:lnTo>
                  <a:lnTo>
                    <a:pt x="504" y="423"/>
                  </a:lnTo>
                  <a:lnTo>
                    <a:pt x="504" y="425"/>
                  </a:lnTo>
                  <a:lnTo>
                    <a:pt x="504" y="427"/>
                  </a:lnTo>
                  <a:lnTo>
                    <a:pt x="503" y="428"/>
                  </a:lnTo>
                  <a:lnTo>
                    <a:pt x="502" y="427"/>
                  </a:lnTo>
                  <a:lnTo>
                    <a:pt x="500" y="428"/>
                  </a:lnTo>
                  <a:lnTo>
                    <a:pt x="500" y="427"/>
                  </a:lnTo>
                  <a:lnTo>
                    <a:pt x="497" y="427"/>
                  </a:lnTo>
                  <a:lnTo>
                    <a:pt x="496" y="427"/>
                  </a:lnTo>
                  <a:lnTo>
                    <a:pt x="495" y="427"/>
                  </a:lnTo>
                  <a:lnTo>
                    <a:pt x="495" y="428"/>
                  </a:lnTo>
                  <a:lnTo>
                    <a:pt x="492" y="427"/>
                  </a:lnTo>
                  <a:lnTo>
                    <a:pt x="491" y="428"/>
                  </a:lnTo>
                  <a:lnTo>
                    <a:pt x="491" y="429"/>
                  </a:lnTo>
                  <a:lnTo>
                    <a:pt x="490" y="430"/>
                  </a:lnTo>
                  <a:lnTo>
                    <a:pt x="491" y="431"/>
                  </a:lnTo>
                  <a:lnTo>
                    <a:pt x="490" y="431"/>
                  </a:lnTo>
                  <a:lnTo>
                    <a:pt x="489" y="431"/>
                  </a:lnTo>
                  <a:lnTo>
                    <a:pt x="488" y="430"/>
                  </a:lnTo>
                  <a:lnTo>
                    <a:pt x="488" y="433"/>
                  </a:lnTo>
                  <a:lnTo>
                    <a:pt x="486" y="430"/>
                  </a:lnTo>
                  <a:lnTo>
                    <a:pt x="488" y="431"/>
                  </a:lnTo>
                  <a:lnTo>
                    <a:pt x="486" y="433"/>
                  </a:lnTo>
                  <a:lnTo>
                    <a:pt x="485" y="431"/>
                  </a:lnTo>
                  <a:lnTo>
                    <a:pt x="484" y="431"/>
                  </a:lnTo>
                  <a:lnTo>
                    <a:pt x="483" y="431"/>
                  </a:lnTo>
                  <a:lnTo>
                    <a:pt x="482" y="433"/>
                  </a:lnTo>
                  <a:lnTo>
                    <a:pt x="480" y="431"/>
                  </a:lnTo>
                  <a:lnTo>
                    <a:pt x="478" y="431"/>
                  </a:lnTo>
                  <a:lnTo>
                    <a:pt x="474" y="430"/>
                  </a:lnTo>
                  <a:lnTo>
                    <a:pt x="473" y="429"/>
                  </a:lnTo>
                  <a:lnTo>
                    <a:pt x="472" y="429"/>
                  </a:lnTo>
                  <a:lnTo>
                    <a:pt x="471" y="429"/>
                  </a:lnTo>
                  <a:lnTo>
                    <a:pt x="471" y="428"/>
                  </a:lnTo>
                  <a:lnTo>
                    <a:pt x="470" y="427"/>
                  </a:lnTo>
                  <a:lnTo>
                    <a:pt x="468" y="428"/>
                  </a:lnTo>
                  <a:lnTo>
                    <a:pt x="470" y="429"/>
                  </a:lnTo>
                  <a:lnTo>
                    <a:pt x="472" y="429"/>
                  </a:lnTo>
                  <a:lnTo>
                    <a:pt x="473" y="430"/>
                  </a:lnTo>
                  <a:lnTo>
                    <a:pt x="474" y="431"/>
                  </a:lnTo>
                  <a:lnTo>
                    <a:pt x="473" y="433"/>
                  </a:lnTo>
                  <a:lnTo>
                    <a:pt x="473" y="435"/>
                  </a:lnTo>
                  <a:lnTo>
                    <a:pt x="473" y="433"/>
                  </a:lnTo>
                  <a:lnTo>
                    <a:pt x="472" y="435"/>
                  </a:lnTo>
                  <a:lnTo>
                    <a:pt x="471" y="436"/>
                  </a:lnTo>
                  <a:lnTo>
                    <a:pt x="473" y="437"/>
                  </a:lnTo>
                  <a:lnTo>
                    <a:pt x="471" y="439"/>
                  </a:lnTo>
                  <a:lnTo>
                    <a:pt x="470" y="439"/>
                  </a:lnTo>
                  <a:lnTo>
                    <a:pt x="468" y="440"/>
                  </a:lnTo>
                  <a:lnTo>
                    <a:pt x="467" y="440"/>
                  </a:lnTo>
                  <a:lnTo>
                    <a:pt x="466" y="439"/>
                  </a:lnTo>
                  <a:lnTo>
                    <a:pt x="465" y="440"/>
                  </a:lnTo>
                  <a:lnTo>
                    <a:pt x="464" y="440"/>
                  </a:lnTo>
                  <a:lnTo>
                    <a:pt x="462" y="441"/>
                  </a:lnTo>
                  <a:lnTo>
                    <a:pt x="464" y="442"/>
                  </a:lnTo>
                  <a:lnTo>
                    <a:pt x="462" y="443"/>
                  </a:lnTo>
                  <a:lnTo>
                    <a:pt x="460" y="441"/>
                  </a:lnTo>
                  <a:lnTo>
                    <a:pt x="459" y="441"/>
                  </a:lnTo>
                  <a:lnTo>
                    <a:pt x="460" y="443"/>
                  </a:lnTo>
                  <a:lnTo>
                    <a:pt x="460" y="445"/>
                  </a:lnTo>
                  <a:lnTo>
                    <a:pt x="461" y="446"/>
                  </a:lnTo>
                  <a:lnTo>
                    <a:pt x="460" y="447"/>
                  </a:lnTo>
                  <a:lnTo>
                    <a:pt x="461" y="448"/>
                  </a:lnTo>
                  <a:lnTo>
                    <a:pt x="462" y="449"/>
                  </a:lnTo>
                  <a:lnTo>
                    <a:pt x="465" y="449"/>
                  </a:lnTo>
                  <a:lnTo>
                    <a:pt x="466" y="449"/>
                  </a:lnTo>
                  <a:lnTo>
                    <a:pt x="468" y="449"/>
                  </a:lnTo>
                  <a:lnTo>
                    <a:pt x="467" y="448"/>
                  </a:lnTo>
                  <a:lnTo>
                    <a:pt x="468" y="448"/>
                  </a:lnTo>
                  <a:lnTo>
                    <a:pt x="470" y="447"/>
                  </a:lnTo>
                  <a:lnTo>
                    <a:pt x="471" y="447"/>
                  </a:lnTo>
                  <a:lnTo>
                    <a:pt x="470" y="449"/>
                  </a:lnTo>
                  <a:lnTo>
                    <a:pt x="471" y="449"/>
                  </a:lnTo>
                  <a:lnTo>
                    <a:pt x="472" y="451"/>
                  </a:lnTo>
                  <a:lnTo>
                    <a:pt x="472" y="452"/>
                  </a:lnTo>
                  <a:lnTo>
                    <a:pt x="471" y="453"/>
                  </a:lnTo>
                  <a:lnTo>
                    <a:pt x="471" y="455"/>
                  </a:lnTo>
                  <a:lnTo>
                    <a:pt x="473" y="457"/>
                  </a:lnTo>
                  <a:lnTo>
                    <a:pt x="471" y="459"/>
                  </a:lnTo>
                  <a:lnTo>
                    <a:pt x="470" y="459"/>
                  </a:lnTo>
                  <a:lnTo>
                    <a:pt x="470" y="458"/>
                  </a:lnTo>
                  <a:lnTo>
                    <a:pt x="468" y="458"/>
                  </a:lnTo>
                  <a:lnTo>
                    <a:pt x="468" y="459"/>
                  </a:lnTo>
                  <a:lnTo>
                    <a:pt x="468" y="461"/>
                  </a:lnTo>
                  <a:lnTo>
                    <a:pt x="466" y="461"/>
                  </a:lnTo>
                  <a:lnTo>
                    <a:pt x="467" y="463"/>
                  </a:lnTo>
                  <a:lnTo>
                    <a:pt x="470" y="463"/>
                  </a:lnTo>
                  <a:lnTo>
                    <a:pt x="472" y="461"/>
                  </a:lnTo>
                  <a:lnTo>
                    <a:pt x="473" y="461"/>
                  </a:lnTo>
                  <a:lnTo>
                    <a:pt x="473" y="463"/>
                  </a:lnTo>
                  <a:lnTo>
                    <a:pt x="473" y="464"/>
                  </a:lnTo>
                  <a:lnTo>
                    <a:pt x="476" y="466"/>
                  </a:lnTo>
                  <a:lnTo>
                    <a:pt x="476" y="467"/>
                  </a:lnTo>
                  <a:lnTo>
                    <a:pt x="477" y="467"/>
                  </a:lnTo>
                  <a:lnTo>
                    <a:pt x="478" y="467"/>
                  </a:lnTo>
                  <a:lnTo>
                    <a:pt x="478" y="469"/>
                  </a:lnTo>
                  <a:lnTo>
                    <a:pt x="479" y="470"/>
                  </a:lnTo>
                  <a:lnTo>
                    <a:pt x="479" y="471"/>
                  </a:lnTo>
                  <a:lnTo>
                    <a:pt x="478" y="471"/>
                  </a:lnTo>
                  <a:lnTo>
                    <a:pt x="476" y="472"/>
                  </a:lnTo>
                  <a:lnTo>
                    <a:pt x="478" y="472"/>
                  </a:lnTo>
                  <a:lnTo>
                    <a:pt x="477" y="473"/>
                  </a:lnTo>
                  <a:lnTo>
                    <a:pt x="477" y="475"/>
                  </a:lnTo>
                  <a:lnTo>
                    <a:pt x="476" y="476"/>
                  </a:lnTo>
                  <a:lnTo>
                    <a:pt x="473" y="475"/>
                  </a:lnTo>
                  <a:lnTo>
                    <a:pt x="472" y="476"/>
                  </a:lnTo>
                  <a:lnTo>
                    <a:pt x="471" y="473"/>
                  </a:lnTo>
                  <a:lnTo>
                    <a:pt x="470" y="475"/>
                  </a:lnTo>
                  <a:lnTo>
                    <a:pt x="467" y="475"/>
                  </a:lnTo>
                  <a:lnTo>
                    <a:pt x="466" y="475"/>
                  </a:lnTo>
                  <a:lnTo>
                    <a:pt x="466" y="473"/>
                  </a:lnTo>
                  <a:lnTo>
                    <a:pt x="465" y="472"/>
                  </a:lnTo>
                  <a:lnTo>
                    <a:pt x="464" y="472"/>
                  </a:lnTo>
                  <a:lnTo>
                    <a:pt x="461" y="472"/>
                  </a:lnTo>
                  <a:lnTo>
                    <a:pt x="460" y="470"/>
                  </a:lnTo>
                  <a:lnTo>
                    <a:pt x="459" y="469"/>
                  </a:lnTo>
                  <a:lnTo>
                    <a:pt x="456" y="469"/>
                  </a:lnTo>
                  <a:lnTo>
                    <a:pt x="454" y="469"/>
                  </a:lnTo>
                  <a:lnTo>
                    <a:pt x="454" y="467"/>
                  </a:lnTo>
                  <a:lnTo>
                    <a:pt x="457" y="467"/>
                  </a:lnTo>
                  <a:lnTo>
                    <a:pt x="456" y="465"/>
                  </a:lnTo>
                  <a:lnTo>
                    <a:pt x="457" y="464"/>
                  </a:lnTo>
                  <a:lnTo>
                    <a:pt x="459" y="465"/>
                  </a:lnTo>
                  <a:lnTo>
                    <a:pt x="460" y="466"/>
                  </a:lnTo>
                  <a:lnTo>
                    <a:pt x="461" y="469"/>
                  </a:lnTo>
                  <a:lnTo>
                    <a:pt x="464" y="470"/>
                  </a:lnTo>
                  <a:lnTo>
                    <a:pt x="465" y="470"/>
                  </a:lnTo>
                  <a:lnTo>
                    <a:pt x="465" y="469"/>
                  </a:lnTo>
                  <a:lnTo>
                    <a:pt x="466" y="469"/>
                  </a:lnTo>
                  <a:lnTo>
                    <a:pt x="467" y="469"/>
                  </a:lnTo>
                  <a:lnTo>
                    <a:pt x="465" y="466"/>
                  </a:lnTo>
                  <a:lnTo>
                    <a:pt x="465" y="467"/>
                  </a:lnTo>
                  <a:lnTo>
                    <a:pt x="465" y="466"/>
                  </a:lnTo>
                  <a:lnTo>
                    <a:pt x="464" y="465"/>
                  </a:lnTo>
                  <a:lnTo>
                    <a:pt x="464" y="463"/>
                  </a:lnTo>
                  <a:lnTo>
                    <a:pt x="462" y="461"/>
                  </a:lnTo>
                  <a:lnTo>
                    <a:pt x="465" y="460"/>
                  </a:lnTo>
                  <a:lnTo>
                    <a:pt x="462" y="460"/>
                  </a:lnTo>
                  <a:lnTo>
                    <a:pt x="462" y="458"/>
                  </a:lnTo>
                  <a:lnTo>
                    <a:pt x="461" y="458"/>
                  </a:lnTo>
                  <a:lnTo>
                    <a:pt x="460" y="457"/>
                  </a:lnTo>
                  <a:lnTo>
                    <a:pt x="461" y="455"/>
                  </a:lnTo>
                  <a:lnTo>
                    <a:pt x="457" y="455"/>
                  </a:lnTo>
                  <a:lnTo>
                    <a:pt x="457" y="457"/>
                  </a:lnTo>
                  <a:lnTo>
                    <a:pt x="459" y="457"/>
                  </a:lnTo>
                  <a:lnTo>
                    <a:pt x="459" y="458"/>
                  </a:lnTo>
                  <a:lnTo>
                    <a:pt x="460" y="458"/>
                  </a:lnTo>
                  <a:lnTo>
                    <a:pt x="461" y="458"/>
                  </a:lnTo>
                  <a:lnTo>
                    <a:pt x="459" y="460"/>
                  </a:lnTo>
                  <a:lnTo>
                    <a:pt x="456" y="458"/>
                  </a:lnTo>
                  <a:lnTo>
                    <a:pt x="455" y="457"/>
                  </a:lnTo>
                  <a:lnTo>
                    <a:pt x="454" y="457"/>
                  </a:lnTo>
                  <a:lnTo>
                    <a:pt x="454" y="455"/>
                  </a:lnTo>
                  <a:lnTo>
                    <a:pt x="451" y="454"/>
                  </a:lnTo>
                  <a:lnTo>
                    <a:pt x="450" y="453"/>
                  </a:lnTo>
                  <a:lnTo>
                    <a:pt x="449" y="452"/>
                  </a:lnTo>
                  <a:lnTo>
                    <a:pt x="448" y="451"/>
                  </a:lnTo>
                  <a:lnTo>
                    <a:pt x="445" y="449"/>
                  </a:lnTo>
                  <a:lnTo>
                    <a:pt x="445" y="447"/>
                  </a:lnTo>
                  <a:lnTo>
                    <a:pt x="447" y="447"/>
                  </a:lnTo>
                  <a:lnTo>
                    <a:pt x="448" y="447"/>
                  </a:lnTo>
                  <a:lnTo>
                    <a:pt x="448" y="446"/>
                  </a:lnTo>
                  <a:lnTo>
                    <a:pt x="449" y="446"/>
                  </a:lnTo>
                  <a:lnTo>
                    <a:pt x="449" y="445"/>
                  </a:lnTo>
                  <a:lnTo>
                    <a:pt x="448" y="443"/>
                  </a:lnTo>
                  <a:lnTo>
                    <a:pt x="449" y="442"/>
                  </a:lnTo>
                  <a:lnTo>
                    <a:pt x="448" y="440"/>
                  </a:lnTo>
                  <a:lnTo>
                    <a:pt x="448" y="442"/>
                  </a:lnTo>
                  <a:lnTo>
                    <a:pt x="448" y="443"/>
                  </a:lnTo>
                  <a:lnTo>
                    <a:pt x="444" y="443"/>
                  </a:lnTo>
                  <a:lnTo>
                    <a:pt x="443" y="442"/>
                  </a:lnTo>
                  <a:lnTo>
                    <a:pt x="442" y="441"/>
                  </a:lnTo>
                  <a:lnTo>
                    <a:pt x="441" y="441"/>
                  </a:lnTo>
                  <a:lnTo>
                    <a:pt x="439" y="440"/>
                  </a:lnTo>
                  <a:lnTo>
                    <a:pt x="438" y="440"/>
                  </a:lnTo>
                  <a:lnTo>
                    <a:pt x="437" y="440"/>
                  </a:lnTo>
                  <a:lnTo>
                    <a:pt x="436" y="440"/>
                  </a:lnTo>
                  <a:lnTo>
                    <a:pt x="435" y="439"/>
                  </a:lnTo>
                  <a:lnTo>
                    <a:pt x="435" y="437"/>
                  </a:lnTo>
                  <a:lnTo>
                    <a:pt x="435" y="435"/>
                  </a:lnTo>
                  <a:lnTo>
                    <a:pt x="433" y="433"/>
                  </a:lnTo>
                  <a:lnTo>
                    <a:pt x="435" y="430"/>
                  </a:lnTo>
                  <a:lnTo>
                    <a:pt x="436" y="431"/>
                  </a:lnTo>
                  <a:lnTo>
                    <a:pt x="435" y="430"/>
                  </a:lnTo>
                  <a:lnTo>
                    <a:pt x="436" y="431"/>
                  </a:lnTo>
                  <a:lnTo>
                    <a:pt x="437" y="430"/>
                  </a:lnTo>
                  <a:lnTo>
                    <a:pt x="438" y="429"/>
                  </a:lnTo>
                  <a:lnTo>
                    <a:pt x="439" y="429"/>
                  </a:lnTo>
                  <a:lnTo>
                    <a:pt x="438" y="429"/>
                  </a:lnTo>
                  <a:lnTo>
                    <a:pt x="438" y="428"/>
                  </a:lnTo>
                  <a:lnTo>
                    <a:pt x="438" y="427"/>
                  </a:lnTo>
                  <a:lnTo>
                    <a:pt x="439" y="428"/>
                  </a:lnTo>
                  <a:lnTo>
                    <a:pt x="438" y="425"/>
                  </a:lnTo>
                  <a:lnTo>
                    <a:pt x="438" y="424"/>
                  </a:lnTo>
                  <a:lnTo>
                    <a:pt x="441" y="421"/>
                  </a:lnTo>
                  <a:lnTo>
                    <a:pt x="441" y="423"/>
                  </a:lnTo>
                  <a:lnTo>
                    <a:pt x="442" y="423"/>
                  </a:lnTo>
                  <a:lnTo>
                    <a:pt x="442" y="424"/>
                  </a:lnTo>
                  <a:lnTo>
                    <a:pt x="442" y="425"/>
                  </a:lnTo>
                  <a:lnTo>
                    <a:pt x="442" y="427"/>
                  </a:lnTo>
                  <a:lnTo>
                    <a:pt x="443" y="428"/>
                  </a:lnTo>
                  <a:lnTo>
                    <a:pt x="443" y="427"/>
                  </a:lnTo>
                  <a:lnTo>
                    <a:pt x="444" y="429"/>
                  </a:lnTo>
                  <a:lnTo>
                    <a:pt x="442" y="429"/>
                  </a:lnTo>
                  <a:lnTo>
                    <a:pt x="441" y="429"/>
                  </a:lnTo>
                  <a:lnTo>
                    <a:pt x="442" y="430"/>
                  </a:lnTo>
                  <a:lnTo>
                    <a:pt x="442" y="431"/>
                  </a:lnTo>
                  <a:lnTo>
                    <a:pt x="444" y="431"/>
                  </a:lnTo>
                  <a:lnTo>
                    <a:pt x="444" y="430"/>
                  </a:lnTo>
                  <a:lnTo>
                    <a:pt x="445" y="429"/>
                  </a:lnTo>
                  <a:lnTo>
                    <a:pt x="447" y="429"/>
                  </a:lnTo>
                  <a:lnTo>
                    <a:pt x="447" y="431"/>
                  </a:lnTo>
                  <a:lnTo>
                    <a:pt x="448" y="433"/>
                  </a:lnTo>
                  <a:lnTo>
                    <a:pt x="450" y="434"/>
                  </a:lnTo>
                  <a:lnTo>
                    <a:pt x="451" y="431"/>
                  </a:lnTo>
                  <a:lnTo>
                    <a:pt x="451" y="429"/>
                  </a:lnTo>
                  <a:lnTo>
                    <a:pt x="451" y="428"/>
                  </a:lnTo>
                  <a:lnTo>
                    <a:pt x="450" y="428"/>
                  </a:lnTo>
                  <a:lnTo>
                    <a:pt x="451" y="425"/>
                  </a:lnTo>
                  <a:lnTo>
                    <a:pt x="453" y="424"/>
                  </a:lnTo>
                  <a:lnTo>
                    <a:pt x="451" y="422"/>
                  </a:lnTo>
                  <a:lnTo>
                    <a:pt x="450" y="421"/>
                  </a:lnTo>
                  <a:lnTo>
                    <a:pt x="448" y="421"/>
                  </a:lnTo>
                  <a:lnTo>
                    <a:pt x="445" y="421"/>
                  </a:lnTo>
                  <a:lnTo>
                    <a:pt x="442" y="421"/>
                  </a:lnTo>
                  <a:lnTo>
                    <a:pt x="441" y="421"/>
                  </a:lnTo>
                  <a:lnTo>
                    <a:pt x="438" y="422"/>
                  </a:lnTo>
                  <a:lnTo>
                    <a:pt x="436" y="422"/>
                  </a:lnTo>
                  <a:lnTo>
                    <a:pt x="435" y="421"/>
                  </a:lnTo>
                  <a:lnTo>
                    <a:pt x="431" y="418"/>
                  </a:lnTo>
                  <a:lnTo>
                    <a:pt x="429" y="418"/>
                  </a:lnTo>
                  <a:lnTo>
                    <a:pt x="427" y="418"/>
                  </a:lnTo>
                  <a:lnTo>
                    <a:pt x="427" y="419"/>
                  </a:lnTo>
                  <a:lnTo>
                    <a:pt x="429" y="421"/>
                  </a:lnTo>
                  <a:lnTo>
                    <a:pt x="430" y="419"/>
                  </a:lnTo>
                  <a:lnTo>
                    <a:pt x="429" y="421"/>
                  </a:lnTo>
                  <a:lnTo>
                    <a:pt x="429" y="422"/>
                  </a:lnTo>
                  <a:lnTo>
                    <a:pt x="427" y="421"/>
                  </a:lnTo>
                  <a:lnTo>
                    <a:pt x="425" y="422"/>
                  </a:lnTo>
                  <a:lnTo>
                    <a:pt x="424" y="424"/>
                  </a:lnTo>
                  <a:lnTo>
                    <a:pt x="421" y="424"/>
                  </a:lnTo>
                  <a:lnTo>
                    <a:pt x="419" y="424"/>
                  </a:lnTo>
                  <a:lnTo>
                    <a:pt x="418" y="423"/>
                  </a:lnTo>
                  <a:lnTo>
                    <a:pt x="417" y="422"/>
                  </a:lnTo>
                  <a:lnTo>
                    <a:pt x="415" y="422"/>
                  </a:lnTo>
                  <a:lnTo>
                    <a:pt x="414" y="422"/>
                  </a:lnTo>
                  <a:lnTo>
                    <a:pt x="413" y="423"/>
                  </a:lnTo>
                  <a:lnTo>
                    <a:pt x="412" y="423"/>
                  </a:lnTo>
                  <a:lnTo>
                    <a:pt x="411" y="424"/>
                  </a:lnTo>
                  <a:lnTo>
                    <a:pt x="411" y="425"/>
                  </a:lnTo>
                  <a:lnTo>
                    <a:pt x="408" y="425"/>
                  </a:lnTo>
                  <a:lnTo>
                    <a:pt x="407" y="424"/>
                  </a:lnTo>
                  <a:lnTo>
                    <a:pt x="406" y="423"/>
                  </a:lnTo>
                  <a:lnTo>
                    <a:pt x="403" y="425"/>
                  </a:lnTo>
                  <a:lnTo>
                    <a:pt x="402" y="424"/>
                  </a:lnTo>
                  <a:lnTo>
                    <a:pt x="401" y="419"/>
                  </a:lnTo>
                  <a:lnTo>
                    <a:pt x="400" y="418"/>
                  </a:lnTo>
                  <a:lnTo>
                    <a:pt x="397" y="419"/>
                  </a:lnTo>
                  <a:lnTo>
                    <a:pt x="396" y="419"/>
                  </a:lnTo>
                  <a:lnTo>
                    <a:pt x="389" y="421"/>
                  </a:lnTo>
                  <a:lnTo>
                    <a:pt x="386" y="421"/>
                  </a:lnTo>
                  <a:lnTo>
                    <a:pt x="385" y="421"/>
                  </a:lnTo>
                  <a:lnTo>
                    <a:pt x="384" y="422"/>
                  </a:lnTo>
                  <a:lnTo>
                    <a:pt x="380" y="423"/>
                  </a:lnTo>
                  <a:lnTo>
                    <a:pt x="377" y="423"/>
                  </a:lnTo>
                  <a:lnTo>
                    <a:pt x="374" y="423"/>
                  </a:lnTo>
                  <a:lnTo>
                    <a:pt x="374" y="424"/>
                  </a:lnTo>
                  <a:lnTo>
                    <a:pt x="370" y="424"/>
                  </a:lnTo>
                  <a:lnTo>
                    <a:pt x="368" y="423"/>
                  </a:lnTo>
                  <a:lnTo>
                    <a:pt x="364" y="424"/>
                  </a:lnTo>
                  <a:lnTo>
                    <a:pt x="358" y="424"/>
                  </a:lnTo>
                  <a:lnTo>
                    <a:pt x="355" y="425"/>
                  </a:lnTo>
                  <a:lnTo>
                    <a:pt x="355" y="428"/>
                  </a:lnTo>
                  <a:lnTo>
                    <a:pt x="358" y="428"/>
                  </a:lnTo>
                  <a:lnTo>
                    <a:pt x="358" y="430"/>
                  </a:lnTo>
                  <a:lnTo>
                    <a:pt x="359" y="430"/>
                  </a:lnTo>
                  <a:lnTo>
                    <a:pt x="361" y="430"/>
                  </a:lnTo>
                  <a:lnTo>
                    <a:pt x="362" y="430"/>
                  </a:lnTo>
                  <a:lnTo>
                    <a:pt x="364" y="429"/>
                  </a:lnTo>
                  <a:lnTo>
                    <a:pt x="364" y="430"/>
                  </a:lnTo>
                  <a:lnTo>
                    <a:pt x="365" y="429"/>
                  </a:lnTo>
                  <a:lnTo>
                    <a:pt x="366" y="431"/>
                  </a:lnTo>
                  <a:lnTo>
                    <a:pt x="366" y="430"/>
                  </a:lnTo>
                  <a:lnTo>
                    <a:pt x="367" y="431"/>
                  </a:lnTo>
                  <a:lnTo>
                    <a:pt x="367" y="433"/>
                  </a:lnTo>
                  <a:lnTo>
                    <a:pt x="370" y="434"/>
                  </a:lnTo>
                  <a:lnTo>
                    <a:pt x="372" y="435"/>
                  </a:lnTo>
                  <a:lnTo>
                    <a:pt x="372" y="436"/>
                  </a:lnTo>
                  <a:lnTo>
                    <a:pt x="371" y="436"/>
                  </a:lnTo>
                  <a:lnTo>
                    <a:pt x="371" y="439"/>
                  </a:lnTo>
                  <a:lnTo>
                    <a:pt x="371" y="440"/>
                  </a:lnTo>
                  <a:lnTo>
                    <a:pt x="371" y="442"/>
                  </a:lnTo>
                  <a:lnTo>
                    <a:pt x="371" y="443"/>
                  </a:lnTo>
                  <a:lnTo>
                    <a:pt x="370" y="445"/>
                  </a:lnTo>
                  <a:lnTo>
                    <a:pt x="367" y="446"/>
                  </a:lnTo>
                  <a:lnTo>
                    <a:pt x="367" y="447"/>
                  </a:lnTo>
                  <a:lnTo>
                    <a:pt x="366" y="447"/>
                  </a:lnTo>
                  <a:lnTo>
                    <a:pt x="365" y="447"/>
                  </a:lnTo>
                  <a:lnTo>
                    <a:pt x="364" y="447"/>
                  </a:lnTo>
                  <a:lnTo>
                    <a:pt x="361" y="447"/>
                  </a:lnTo>
                  <a:lnTo>
                    <a:pt x="362" y="448"/>
                  </a:lnTo>
                  <a:lnTo>
                    <a:pt x="365" y="449"/>
                  </a:lnTo>
                  <a:lnTo>
                    <a:pt x="368" y="449"/>
                  </a:lnTo>
                  <a:lnTo>
                    <a:pt x="378" y="449"/>
                  </a:lnTo>
                  <a:lnTo>
                    <a:pt x="379" y="449"/>
                  </a:lnTo>
                  <a:lnTo>
                    <a:pt x="379" y="451"/>
                  </a:lnTo>
                  <a:lnTo>
                    <a:pt x="383" y="451"/>
                  </a:lnTo>
                  <a:lnTo>
                    <a:pt x="388" y="452"/>
                  </a:lnTo>
                  <a:lnTo>
                    <a:pt x="389" y="452"/>
                  </a:lnTo>
                  <a:lnTo>
                    <a:pt x="391" y="452"/>
                  </a:lnTo>
                  <a:lnTo>
                    <a:pt x="392" y="452"/>
                  </a:lnTo>
                  <a:lnTo>
                    <a:pt x="392" y="449"/>
                  </a:lnTo>
                  <a:lnTo>
                    <a:pt x="392" y="448"/>
                  </a:lnTo>
                  <a:lnTo>
                    <a:pt x="391" y="449"/>
                  </a:lnTo>
                  <a:lnTo>
                    <a:pt x="390" y="449"/>
                  </a:lnTo>
                  <a:lnTo>
                    <a:pt x="390" y="448"/>
                  </a:lnTo>
                  <a:lnTo>
                    <a:pt x="390" y="447"/>
                  </a:lnTo>
                  <a:lnTo>
                    <a:pt x="391" y="446"/>
                  </a:lnTo>
                  <a:lnTo>
                    <a:pt x="396" y="447"/>
                  </a:lnTo>
                  <a:lnTo>
                    <a:pt x="396" y="446"/>
                  </a:lnTo>
                  <a:lnTo>
                    <a:pt x="398" y="446"/>
                  </a:lnTo>
                  <a:lnTo>
                    <a:pt x="397" y="447"/>
                  </a:lnTo>
                  <a:lnTo>
                    <a:pt x="400" y="448"/>
                  </a:lnTo>
                  <a:lnTo>
                    <a:pt x="401" y="446"/>
                  </a:lnTo>
                  <a:lnTo>
                    <a:pt x="405" y="445"/>
                  </a:lnTo>
                  <a:lnTo>
                    <a:pt x="403" y="443"/>
                  </a:lnTo>
                  <a:lnTo>
                    <a:pt x="405" y="443"/>
                  </a:lnTo>
                  <a:lnTo>
                    <a:pt x="407" y="442"/>
                  </a:lnTo>
                  <a:lnTo>
                    <a:pt x="408" y="442"/>
                  </a:lnTo>
                  <a:lnTo>
                    <a:pt x="409" y="441"/>
                  </a:lnTo>
                  <a:lnTo>
                    <a:pt x="413" y="441"/>
                  </a:lnTo>
                  <a:lnTo>
                    <a:pt x="414" y="442"/>
                  </a:lnTo>
                  <a:lnTo>
                    <a:pt x="415" y="442"/>
                  </a:lnTo>
                  <a:lnTo>
                    <a:pt x="417" y="443"/>
                  </a:lnTo>
                  <a:lnTo>
                    <a:pt x="418" y="445"/>
                  </a:lnTo>
                  <a:lnTo>
                    <a:pt x="419" y="445"/>
                  </a:lnTo>
                  <a:lnTo>
                    <a:pt x="419" y="447"/>
                  </a:lnTo>
                  <a:lnTo>
                    <a:pt x="421" y="448"/>
                  </a:lnTo>
                  <a:lnTo>
                    <a:pt x="421" y="449"/>
                  </a:lnTo>
                  <a:lnTo>
                    <a:pt x="423" y="448"/>
                  </a:lnTo>
                  <a:lnTo>
                    <a:pt x="423" y="451"/>
                  </a:lnTo>
                  <a:lnTo>
                    <a:pt x="424" y="451"/>
                  </a:lnTo>
                  <a:lnTo>
                    <a:pt x="426" y="452"/>
                  </a:lnTo>
                  <a:lnTo>
                    <a:pt x="427" y="454"/>
                  </a:lnTo>
                  <a:lnTo>
                    <a:pt x="429" y="453"/>
                  </a:lnTo>
                  <a:lnTo>
                    <a:pt x="430" y="452"/>
                  </a:lnTo>
                  <a:lnTo>
                    <a:pt x="432" y="452"/>
                  </a:lnTo>
                  <a:lnTo>
                    <a:pt x="432" y="453"/>
                  </a:lnTo>
                  <a:lnTo>
                    <a:pt x="433" y="453"/>
                  </a:lnTo>
                  <a:lnTo>
                    <a:pt x="436" y="453"/>
                  </a:lnTo>
                  <a:lnTo>
                    <a:pt x="437" y="454"/>
                  </a:lnTo>
                  <a:lnTo>
                    <a:pt x="437" y="455"/>
                  </a:lnTo>
                  <a:lnTo>
                    <a:pt x="437" y="458"/>
                  </a:lnTo>
                  <a:lnTo>
                    <a:pt x="439" y="458"/>
                  </a:lnTo>
                  <a:lnTo>
                    <a:pt x="439" y="459"/>
                  </a:lnTo>
                  <a:lnTo>
                    <a:pt x="438" y="461"/>
                  </a:lnTo>
                  <a:lnTo>
                    <a:pt x="438" y="463"/>
                  </a:lnTo>
                  <a:lnTo>
                    <a:pt x="437" y="463"/>
                  </a:lnTo>
                  <a:lnTo>
                    <a:pt x="439" y="464"/>
                  </a:lnTo>
                  <a:lnTo>
                    <a:pt x="442" y="466"/>
                  </a:lnTo>
                  <a:lnTo>
                    <a:pt x="443" y="466"/>
                  </a:lnTo>
                  <a:lnTo>
                    <a:pt x="444" y="466"/>
                  </a:lnTo>
                  <a:lnTo>
                    <a:pt x="445" y="465"/>
                  </a:lnTo>
                  <a:lnTo>
                    <a:pt x="447" y="466"/>
                  </a:lnTo>
                  <a:lnTo>
                    <a:pt x="447" y="467"/>
                  </a:lnTo>
                  <a:lnTo>
                    <a:pt x="449" y="470"/>
                  </a:lnTo>
                  <a:lnTo>
                    <a:pt x="447" y="471"/>
                  </a:lnTo>
                  <a:lnTo>
                    <a:pt x="447" y="472"/>
                  </a:lnTo>
                  <a:lnTo>
                    <a:pt x="447" y="473"/>
                  </a:lnTo>
                  <a:lnTo>
                    <a:pt x="448" y="472"/>
                  </a:lnTo>
                  <a:lnTo>
                    <a:pt x="449" y="472"/>
                  </a:lnTo>
                  <a:lnTo>
                    <a:pt x="450" y="475"/>
                  </a:lnTo>
                  <a:lnTo>
                    <a:pt x="450" y="476"/>
                  </a:lnTo>
                  <a:lnTo>
                    <a:pt x="450" y="478"/>
                  </a:lnTo>
                  <a:lnTo>
                    <a:pt x="451" y="480"/>
                  </a:lnTo>
                  <a:lnTo>
                    <a:pt x="453" y="481"/>
                  </a:lnTo>
                  <a:lnTo>
                    <a:pt x="453" y="482"/>
                  </a:lnTo>
                  <a:lnTo>
                    <a:pt x="455" y="483"/>
                  </a:lnTo>
                  <a:lnTo>
                    <a:pt x="453" y="482"/>
                  </a:lnTo>
                  <a:lnTo>
                    <a:pt x="453" y="483"/>
                  </a:lnTo>
                  <a:lnTo>
                    <a:pt x="453" y="484"/>
                  </a:lnTo>
                  <a:lnTo>
                    <a:pt x="450" y="482"/>
                  </a:lnTo>
                  <a:lnTo>
                    <a:pt x="450" y="484"/>
                  </a:lnTo>
                  <a:lnTo>
                    <a:pt x="451" y="486"/>
                  </a:lnTo>
                  <a:lnTo>
                    <a:pt x="453" y="488"/>
                  </a:lnTo>
                  <a:lnTo>
                    <a:pt x="454" y="488"/>
                  </a:lnTo>
                  <a:lnTo>
                    <a:pt x="455" y="489"/>
                  </a:lnTo>
                  <a:lnTo>
                    <a:pt x="456" y="492"/>
                  </a:lnTo>
                  <a:lnTo>
                    <a:pt x="459" y="494"/>
                  </a:lnTo>
                  <a:lnTo>
                    <a:pt x="460" y="494"/>
                  </a:lnTo>
                  <a:lnTo>
                    <a:pt x="460" y="496"/>
                  </a:lnTo>
                  <a:lnTo>
                    <a:pt x="459" y="498"/>
                  </a:lnTo>
                  <a:lnTo>
                    <a:pt x="459" y="501"/>
                  </a:lnTo>
                  <a:lnTo>
                    <a:pt x="456" y="501"/>
                  </a:lnTo>
                  <a:lnTo>
                    <a:pt x="454" y="501"/>
                  </a:lnTo>
                  <a:lnTo>
                    <a:pt x="453" y="501"/>
                  </a:lnTo>
                  <a:lnTo>
                    <a:pt x="451" y="500"/>
                  </a:lnTo>
                  <a:lnTo>
                    <a:pt x="451" y="499"/>
                  </a:lnTo>
                  <a:lnTo>
                    <a:pt x="450" y="499"/>
                  </a:lnTo>
                  <a:lnTo>
                    <a:pt x="449" y="499"/>
                  </a:lnTo>
                  <a:lnTo>
                    <a:pt x="447" y="496"/>
                  </a:lnTo>
                  <a:lnTo>
                    <a:pt x="445" y="496"/>
                  </a:lnTo>
                  <a:lnTo>
                    <a:pt x="444" y="496"/>
                  </a:lnTo>
                  <a:lnTo>
                    <a:pt x="443" y="496"/>
                  </a:lnTo>
                  <a:lnTo>
                    <a:pt x="443" y="495"/>
                  </a:lnTo>
                  <a:lnTo>
                    <a:pt x="442" y="494"/>
                  </a:lnTo>
                  <a:lnTo>
                    <a:pt x="442" y="492"/>
                  </a:lnTo>
                  <a:lnTo>
                    <a:pt x="441" y="492"/>
                  </a:lnTo>
                  <a:lnTo>
                    <a:pt x="439" y="493"/>
                  </a:lnTo>
                  <a:lnTo>
                    <a:pt x="442" y="494"/>
                  </a:lnTo>
                  <a:lnTo>
                    <a:pt x="442" y="495"/>
                  </a:lnTo>
                  <a:lnTo>
                    <a:pt x="438" y="494"/>
                  </a:lnTo>
                  <a:lnTo>
                    <a:pt x="439" y="495"/>
                  </a:lnTo>
                  <a:lnTo>
                    <a:pt x="436" y="496"/>
                  </a:lnTo>
                  <a:lnTo>
                    <a:pt x="438" y="495"/>
                  </a:lnTo>
                  <a:lnTo>
                    <a:pt x="436" y="492"/>
                  </a:lnTo>
                  <a:lnTo>
                    <a:pt x="436" y="493"/>
                  </a:lnTo>
                  <a:lnTo>
                    <a:pt x="435" y="492"/>
                  </a:lnTo>
                  <a:lnTo>
                    <a:pt x="435" y="493"/>
                  </a:lnTo>
                  <a:lnTo>
                    <a:pt x="432" y="492"/>
                  </a:lnTo>
                  <a:lnTo>
                    <a:pt x="433" y="492"/>
                  </a:lnTo>
                  <a:lnTo>
                    <a:pt x="432" y="490"/>
                  </a:lnTo>
                  <a:lnTo>
                    <a:pt x="431" y="490"/>
                  </a:lnTo>
                  <a:lnTo>
                    <a:pt x="429" y="489"/>
                  </a:lnTo>
                  <a:lnTo>
                    <a:pt x="429" y="490"/>
                  </a:lnTo>
                  <a:lnTo>
                    <a:pt x="426" y="489"/>
                  </a:lnTo>
                  <a:lnTo>
                    <a:pt x="425" y="489"/>
                  </a:lnTo>
                  <a:lnTo>
                    <a:pt x="426" y="489"/>
                  </a:lnTo>
                  <a:lnTo>
                    <a:pt x="426" y="487"/>
                  </a:lnTo>
                  <a:lnTo>
                    <a:pt x="425" y="488"/>
                  </a:lnTo>
                  <a:lnTo>
                    <a:pt x="424" y="489"/>
                  </a:lnTo>
                  <a:lnTo>
                    <a:pt x="423" y="489"/>
                  </a:lnTo>
                  <a:lnTo>
                    <a:pt x="424" y="490"/>
                  </a:lnTo>
                  <a:lnTo>
                    <a:pt x="425" y="493"/>
                  </a:lnTo>
                  <a:lnTo>
                    <a:pt x="426" y="494"/>
                  </a:lnTo>
                  <a:lnTo>
                    <a:pt x="424" y="493"/>
                  </a:lnTo>
                  <a:lnTo>
                    <a:pt x="423" y="494"/>
                  </a:lnTo>
                  <a:lnTo>
                    <a:pt x="421" y="493"/>
                  </a:lnTo>
                  <a:lnTo>
                    <a:pt x="419" y="494"/>
                  </a:lnTo>
                  <a:lnTo>
                    <a:pt x="418" y="496"/>
                  </a:lnTo>
                  <a:lnTo>
                    <a:pt x="415" y="496"/>
                  </a:lnTo>
                  <a:lnTo>
                    <a:pt x="414" y="498"/>
                  </a:lnTo>
                  <a:lnTo>
                    <a:pt x="413" y="498"/>
                  </a:lnTo>
                  <a:lnTo>
                    <a:pt x="413" y="496"/>
                  </a:lnTo>
                  <a:lnTo>
                    <a:pt x="413" y="498"/>
                  </a:lnTo>
                  <a:lnTo>
                    <a:pt x="413" y="499"/>
                  </a:lnTo>
                  <a:lnTo>
                    <a:pt x="414" y="499"/>
                  </a:lnTo>
                  <a:lnTo>
                    <a:pt x="417" y="500"/>
                  </a:lnTo>
                  <a:lnTo>
                    <a:pt x="415" y="501"/>
                  </a:lnTo>
                  <a:lnTo>
                    <a:pt x="413" y="500"/>
                  </a:lnTo>
                  <a:lnTo>
                    <a:pt x="412" y="501"/>
                  </a:lnTo>
                  <a:lnTo>
                    <a:pt x="411" y="501"/>
                  </a:lnTo>
                  <a:lnTo>
                    <a:pt x="409" y="501"/>
                  </a:lnTo>
                  <a:lnTo>
                    <a:pt x="408" y="500"/>
                  </a:lnTo>
                  <a:lnTo>
                    <a:pt x="406" y="501"/>
                  </a:lnTo>
                  <a:lnTo>
                    <a:pt x="405" y="500"/>
                  </a:lnTo>
                  <a:lnTo>
                    <a:pt x="402" y="499"/>
                  </a:lnTo>
                  <a:lnTo>
                    <a:pt x="400" y="500"/>
                  </a:lnTo>
                  <a:lnTo>
                    <a:pt x="401" y="502"/>
                  </a:lnTo>
                  <a:lnTo>
                    <a:pt x="401" y="504"/>
                  </a:lnTo>
                  <a:lnTo>
                    <a:pt x="398" y="504"/>
                  </a:lnTo>
                  <a:lnTo>
                    <a:pt x="397" y="502"/>
                  </a:lnTo>
                  <a:lnTo>
                    <a:pt x="396" y="505"/>
                  </a:lnTo>
                  <a:lnTo>
                    <a:pt x="396" y="504"/>
                  </a:lnTo>
                  <a:lnTo>
                    <a:pt x="395" y="504"/>
                  </a:lnTo>
                  <a:lnTo>
                    <a:pt x="394" y="504"/>
                  </a:lnTo>
                  <a:lnTo>
                    <a:pt x="394" y="505"/>
                  </a:lnTo>
                  <a:lnTo>
                    <a:pt x="392" y="502"/>
                  </a:lnTo>
                  <a:lnTo>
                    <a:pt x="392" y="501"/>
                  </a:lnTo>
                  <a:lnTo>
                    <a:pt x="392" y="499"/>
                  </a:lnTo>
                  <a:lnTo>
                    <a:pt x="395" y="500"/>
                  </a:lnTo>
                  <a:lnTo>
                    <a:pt x="395" y="498"/>
                  </a:lnTo>
                  <a:lnTo>
                    <a:pt x="395" y="496"/>
                  </a:lnTo>
                  <a:lnTo>
                    <a:pt x="394" y="498"/>
                  </a:lnTo>
                  <a:lnTo>
                    <a:pt x="394" y="499"/>
                  </a:lnTo>
                  <a:lnTo>
                    <a:pt x="391" y="498"/>
                  </a:lnTo>
                  <a:lnTo>
                    <a:pt x="390" y="495"/>
                  </a:lnTo>
                  <a:lnTo>
                    <a:pt x="389" y="495"/>
                  </a:lnTo>
                  <a:lnTo>
                    <a:pt x="388" y="493"/>
                  </a:lnTo>
                  <a:lnTo>
                    <a:pt x="389" y="492"/>
                  </a:lnTo>
                  <a:lnTo>
                    <a:pt x="390" y="493"/>
                  </a:lnTo>
                  <a:lnTo>
                    <a:pt x="390" y="492"/>
                  </a:lnTo>
                  <a:lnTo>
                    <a:pt x="391" y="492"/>
                  </a:lnTo>
                  <a:lnTo>
                    <a:pt x="392" y="492"/>
                  </a:lnTo>
                  <a:lnTo>
                    <a:pt x="396" y="493"/>
                  </a:lnTo>
                  <a:lnTo>
                    <a:pt x="395" y="490"/>
                  </a:lnTo>
                  <a:lnTo>
                    <a:pt x="396" y="490"/>
                  </a:lnTo>
                  <a:lnTo>
                    <a:pt x="396" y="489"/>
                  </a:lnTo>
                  <a:lnTo>
                    <a:pt x="397" y="488"/>
                  </a:lnTo>
                  <a:lnTo>
                    <a:pt x="398" y="489"/>
                  </a:lnTo>
                  <a:lnTo>
                    <a:pt x="398" y="487"/>
                  </a:lnTo>
                  <a:lnTo>
                    <a:pt x="397" y="486"/>
                  </a:lnTo>
                  <a:lnTo>
                    <a:pt x="398" y="484"/>
                  </a:lnTo>
                  <a:lnTo>
                    <a:pt x="398" y="483"/>
                  </a:lnTo>
                  <a:lnTo>
                    <a:pt x="398" y="482"/>
                  </a:lnTo>
                  <a:lnTo>
                    <a:pt x="400" y="480"/>
                  </a:lnTo>
                  <a:lnTo>
                    <a:pt x="402" y="477"/>
                  </a:lnTo>
                  <a:lnTo>
                    <a:pt x="401" y="477"/>
                  </a:lnTo>
                  <a:lnTo>
                    <a:pt x="400" y="478"/>
                  </a:lnTo>
                  <a:lnTo>
                    <a:pt x="398" y="476"/>
                  </a:lnTo>
                  <a:lnTo>
                    <a:pt x="397" y="476"/>
                  </a:lnTo>
                  <a:lnTo>
                    <a:pt x="394" y="475"/>
                  </a:lnTo>
                  <a:lnTo>
                    <a:pt x="395" y="473"/>
                  </a:lnTo>
                  <a:lnTo>
                    <a:pt x="395" y="472"/>
                  </a:lnTo>
                  <a:lnTo>
                    <a:pt x="396" y="473"/>
                  </a:lnTo>
                  <a:lnTo>
                    <a:pt x="397" y="471"/>
                  </a:lnTo>
                  <a:lnTo>
                    <a:pt x="397" y="472"/>
                  </a:lnTo>
                  <a:lnTo>
                    <a:pt x="396" y="470"/>
                  </a:lnTo>
                  <a:lnTo>
                    <a:pt x="396" y="469"/>
                  </a:lnTo>
                  <a:lnTo>
                    <a:pt x="397" y="469"/>
                  </a:lnTo>
                  <a:lnTo>
                    <a:pt x="397" y="467"/>
                  </a:lnTo>
                  <a:lnTo>
                    <a:pt x="397" y="466"/>
                  </a:lnTo>
                  <a:lnTo>
                    <a:pt x="398" y="465"/>
                  </a:lnTo>
                  <a:lnTo>
                    <a:pt x="400" y="465"/>
                  </a:lnTo>
                  <a:lnTo>
                    <a:pt x="398" y="465"/>
                  </a:lnTo>
                  <a:lnTo>
                    <a:pt x="397" y="464"/>
                  </a:lnTo>
                  <a:lnTo>
                    <a:pt x="397" y="463"/>
                  </a:lnTo>
                  <a:lnTo>
                    <a:pt x="395" y="459"/>
                  </a:lnTo>
                  <a:lnTo>
                    <a:pt x="397" y="458"/>
                  </a:lnTo>
                  <a:lnTo>
                    <a:pt x="395" y="457"/>
                  </a:lnTo>
                  <a:lnTo>
                    <a:pt x="394" y="458"/>
                  </a:lnTo>
                  <a:lnTo>
                    <a:pt x="392" y="459"/>
                  </a:lnTo>
                  <a:lnTo>
                    <a:pt x="392" y="458"/>
                  </a:lnTo>
                  <a:lnTo>
                    <a:pt x="391" y="458"/>
                  </a:lnTo>
                  <a:lnTo>
                    <a:pt x="391" y="455"/>
                  </a:lnTo>
                  <a:lnTo>
                    <a:pt x="389" y="455"/>
                  </a:lnTo>
                  <a:lnTo>
                    <a:pt x="379" y="453"/>
                  </a:lnTo>
                  <a:lnTo>
                    <a:pt x="377" y="453"/>
                  </a:lnTo>
                  <a:lnTo>
                    <a:pt x="376" y="453"/>
                  </a:lnTo>
                  <a:lnTo>
                    <a:pt x="372" y="453"/>
                  </a:lnTo>
                  <a:lnTo>
                    <a:pt x="370" y="454"/>
                  </a:lnTo>
                  <a:lnTo>
                    <a:pt x="371" y="455"/>
                  </a:lnTo>
                  <a:lnTo>
                    <a:pt x="370" y="455"/>
                  </a:lnTo>
                  <a:lnTo>
                    <a:pt x="368" y="455"/>
                  </a:lnTo>
                  <a:lnTo>
                    <a:pt x="366" y="455"/>
                  </a:lnTo>
                  <a:lnTo>
                    <a:pt x="365" y="455"/>
                  </a:lnTo>
                  <a:lnTo>
                    <a:pt x="364" y="455"/>
                  </a:lnTo>
                  <a:lnTo>
                    <a:pt x="365" y="457"/>
                  </a:lnTo>
                  <a:lnTo>
                    <a:pt x="362" y="458"/>
                  </a:lnTo>
                  <a:lnTo>
                    <a:pt x="360" y="458"/>
                  </a:lnTo>
                  <a:lnTo>
                    <a:pt x="358" y="458"/>
                  </a:lnTo>
                  <a:lnTo>
                    <a:pt x="356" y="460"/>
                  </a:lnTo>
                  <a:lnTo>
                    <a:pt x="355" y="460"/>
                  </a:lnTo>
                  <a:lnTo>
                    <a:pt x="354" y="464"/>
                  </a:lnTo>
                  <a:lnTo>
                    <a:pt x="350" y="464"/>
                  </a:lnTo>
                  <a:lnTo>
                    <a:pt x="349" y="465"/>
                  </a:lnTo>
                  <a:lnTo>
                    <a:pt x="349" y="464"/>
                  </a:lnTo>
                  <a:lnTo>
                    <a:pt x="348" y="463"/>
                  </a:lnTo>
                  <a:lnTo>
                    <a:pt x="347" y="461"/>
                  </a:lnTo>
                  <a:lnTo>
                    <a:pt x="344" y="460"/>
                  </a:lnTo>
                  <a:lnTo>
                    <a:pt x="341" y="460"/>
                  </a:lnTo>
                  <a:lnTo>
                    <a:pt x="338" y="461"/>
                  </a:lnTo>
                  <a:lnTo>
                    <a:pt x="336" y="463"/>
                  </a:lnTo>
                  <a:lnTo>
                    <a:pt x="333" y="464"/>
                  </a:lnTo>
                  <a:lnTo>
                    <a:pt x="337" y="465"/>
                  </a:lnTo>
                  <a:lnTo>
                    <a:pt x="338" y="463"/>
                  </a:lnTo>
                  <a:lnTo>
                    <a:pt x="341" y="464"/>
                  </a:lnTo>
                  <a:lnTo>
                    <a:pt x="342" y="465"/>
                  </a:lnTo>
                  <a:lnTo>
                    <a:pt x="341" y="466"/>
                  </a:lnTo>
                  <a:lnTo>
                    <a:pt x="340" y="467"/>
                  </a:lnTo>
                  <a:lnTo>
                    <a:pt x="341" y="469"/>
                  </a:lnTo>
                  <a:lnTo>
                    <a:pt x="341" y="471"/>
                  </a:lnTo>
                  <a:lnTo>
                    <a:pt x="341" y="472"/>
                  </a:lnTo>
                  <a:lnTo>
                    <a:pt x="340" y="473"/>
                  </a:lnTo>
                  <a:lnTo>
                    <a:pt x="341" y="473"/>
                  </a:lnTo>
                  <a:lnTo>
                    <a:pt x="342" y="473"/>
                  </a:lnTo>
                  <a:lnTo>
                    <a:pt x="342" y="476"/>
                  </a:lnTo>
                  <a:lnTo>
                    <a:pt x="342" y="477"/>
                  </a:lnTo>
                  <a:lnTo>
                    <a:pt x="340" y="477"/>
                  </a:lnTo>
                  <a:lnTo>
                    <a:pt x="338" y="478"/>
                  </a:lnTo>
                  <a:lnTo>
                    <a:pt x="341" y="481"/>
                  </a:lnTo>
                  <a:lnTo>
                    <a:pt x="338" y="482"/>
                  </a:lnTo>
                  <a:lnTo>
                    <a:pt x="337" y="482"/>
                  </a:lnTo>
                  <a:lnTo>
                    <a:pt x="336" y="481"/>
                  </a:lnTo>
                  <a:lnTo>
                    <a:pt x="336" y="482"/>
                  </a:lnTo>
                  <a:lnTo>
                    <a:pt x="335" y="483"/>
                  </a:lnTo>
                  <a:lnTo>
                    <a:pt x="337" y="483"/>
                  </a:lnTo>
                  <a:lnTo>
                    <a:pt x="340" y="483"/>
                  </a:lnTo>
                  <a:lnTo>
                    <a:pt x="340" y="484"/>
                  </a:lnTo>
                  <a:lnTo>
                    <a:pt x="338" y="484"/>
                  </a:lnTo>
                  <a:lnTo>
                    <a:pt x="336" y="486"/>
                  </a:lnTo>
                  <a:lnTo>
                    <a:pt x="336" y="487"/>
                  </a:lnTo>
                  <a:lnTo>
                    <a:pt x="335" y="488"/>
                  </a:lnTo>
                  <a:lnTo>
                    <a:pt x="336" y="488"/>
                  </a:lnTo>
                  <a:lnTo>
                    <a:pt x="336" y="489"/>
                  </a:lnTo>
                  <a:lnTo>
                    <a:pt x="336" y="490"/>
                  </a:lnTo>
                  <a:lnTo>
                    <a:pt x="335" y="490"/>
                  </a:lnTo>
                  <a:lnTo>
                    <a:pt x="332" y="490"/>
                  </a:lnTo>
                  <a:lnTo>
                    <a:pt x="332" y="487"/>
                  </a:lnTo>
                  <a:lnTo>
                    <a:pt x="331" y="488"/>
                  </a:lnTo>
                  <a:lnTo>
                    <a:pt x="329" y="489"/>
                  </a:lnTo>
                  <a:lnTo>
                    <a:pt x="329" y="488"/>
                  </a:lnTo>
                  <a:lnTo>
                    <a:pt x="329" y="487"/>
                  </a:lnTo>
                  <a:lnTo>
                    <a:pt x="326" y="486"/>
                  </a:lnTo>
                  <a:lnTo>
                    <a:pt x="329" y="486"/>
                  </a:lnTo>
                  <a:lnTo>
                    <a:pt x="331" y="487"/>
                  </a:lnTo>
                  <a:lnTo>
                    <a:pt x="330" y="486"/>
                  </a:lnTo>
                  <a:lnTo>
                    <a:pt x="330" y="483"/>
                  </a:lnTo>
                  <a:lnTo>
                    <a:pt x="329" y="484"/>
                  </a:lnTo>
                  <a:lnTo>
                    <a:pt x="329" y="482"/>
                  </a:lnTo>
                  <a:lnTo>
                    <a:pt x="329" y="481"/>
                  </a:lnTo>
                  <a:lnTo>
                    <a:pt x="330" y="480"/>
                  </a:lnTo>
                  <a:lnTo>
                    <a:pt x="327" y="482"/>
                  </a:lnTo>
                  <a:lnTo>
                    <a:pt x="325" y="483"/>
                  </a:lnTo>
                  <a:lnTo>
                    <a:pt x="324" y="484"/>
                  </a:lnTo>
                  <a:lnTo>
                    <a:pt x="321" y="487"/>
                  </a:lnTo>
                  <a:lnTo>
                    <a:pt x="318" y="492"/>
                  </a:lnTo>
                  <a:lnTo>
                    <a:pt x="317" y="496"/>
                  </a:lnTo>
                  <a:lnTo>
                    <a:pt x="320" y="500"/>
                  </a:lnTo>
                  <a:lnTo>
                    <a:pt x="326" y="499"/>
                  </a:lnTo>
                  <a:lnTo>
                    <a:pt x="330" y="498"/>
                  </a:lnTo>
                  <a:lnTo>
                    <a:pt x="332" y="496"/>
                  </a:lnTo>
                  <a:lnTo>
                    <a:pt x="336" y="496"/>
                  </a:lnTo>
                  <a:lnTo>
                    <a:pt x="340" y="496"/>
                  </a:lnTo>
                  <a:lnTo>
                    <a:pt x="346" y="494"/>
                  </a:lnTo>
                  <a:lnTo>
                    <a:pt x="360" y="494"/>
                  </a:lnTo>
                  <a:lnTo>
                    <a:pt x="368" y="493"/>
                  </a:lnTo>
                  <a:lnTo>
                    <a:pt x="370" y="492"/>
                  </a:lnTo>
                  <a:lnTo>
                    <a:pt x="371" y="489"/>
                  </a:lnTo>
                  <a:lnTo>
                    <a:pt x="372" y="489"/>
                  </a:lnTo>
                  <a:lnTo>
                    <a:pt x="372" y="492"/>
                  </a:lnTo>
                  <a:lnTo>
                    <a:pt x="374" y="492"/>
                  </a:lnTo>
                  <a:lnTo>
                    <a:pt x="376" y="493"/>
                  </a:lnTo>
                  <a:lnTo>
                    <a:pt x="373" y="494"/>
                  </a:lnTo>
                  <a:lnTo>
                    <a:pt x="370" y="495"/>
                  </a:lnTo>
                  <a:lnTo>
                    <a:pt x="366" y="496"/>
                  </a:lnTo>
                  <a:lnTo>
                    <a:pt x="358" y="496"/>
                  </a:lnTo>
                  <a:lnTo>
                    <a:pt x="353" y="498"/>
                  </a:lnTo>
                  <a:lnTo>
                    <a:pt x="348" y="498"/>
                  </a:lnTo>
                  <a:lnTo>
                    <a:pt x="344" y="499"/>
                  </a:lnTo>
                  <a:lnTo>
                    <a:pt x="341" y="499"/>
                  </a:lnTo>
                  <a:lnTo>
                    <a:pt x="338" y="501"/>
                  </a:lnTo>
                  <a:lnTo>
                    <a:pt x="333" y="502"/>
                  </a:lnTo>
                  <a:lnTo>
                    <a:pt x="329" y="504"/>
                  </a:lnTo>
                  <a:lnTo>
                    <a:pt x="324" y="506"/>
                  </a:lnTo>
                  <a:lnTo>
                    <a:pt x="318" y="508"/>
                  </a:lnTo>
                  <a:lnTo>
                    <a:pt x="319" y="512"/>
                  </a:lnTo>
                  <a:lnTo>
                    <a:pt x="319" y="514"/>
                  </a:lnTo>
                  <a:lnTo>
                    <a:pt x="320" y="517"/>
                  </a:lnTo>
                  <a:lnTo>
                    <a:pt x="320" y="522"/>
                  </a:lnTo>
                  <a:lnTo>
                    <a:pt x="319" y="524"/>
                  </a:lnTo>
                  <a:lnTo>
                    <a:pt x="318" y="531"/>
                  </a:lnTo>
                  <a:lnTo>
                    <a:pt x="317" y="536"/>
                  </a:lnTo>
                  <a:lnTo>
                    <a:pt x="317" y="541"/>
                  </a:lnTo>
                  <a:lnTo>
                    <a:pt x="318" y="550"/>
                  </a:lnTo>
                  <a:lnTo>
                    <a:pt x="318" y="554"/>
                  </a:lnTo>
                  <a:lnTo>
                    <a:pt x="318" y="576"/>
                  </a:lnTo>
                  <a:lnTo>
                    <a:pt x="318" y="583"/>
                  </a:lnTo>
                  <a:lnTo>
                    <a:pt x="318" y="589"/>
                  </a:lnTo>
                  <a:lnTo>
                    <a:pt x="318" y="591"/>
                  </a:lnTo>
                  <a:lnTo>
                    <a:pt x="317" y="594"/>
                  </a:lnTo>
                  <a:lnTo>
                    <a:pt x="314" y="596"/>
                  </a:lnTo>
                  <a:lnTo>
                    <a:pt x="312" y="596"/>
                  </a:lnTo>
                  <a:lnTo>
                    <a:pt x="307" y="597"/>
                  </a:lnTo>
                  <a:lnTo>
                    <a:pt x="300" y="597"/>
                  </a:lnTo>
                  <a:lnTo>
                    <a:pt x="294" y="595"/>
                  </a:lnTo>
                  <a:lnTo>
                    <a:pt x="291" y="593"/>
                  </a:lnTo>
                  <a:lnTo>
                    <a:pt x="293" y="586"/>
                  </a:lnTo>
                  <a:lnTo>
                    <a:pt x="294" y="580"/>
                  </a:lnTo>
                  <a:lnTo>
                    <a:pt x="294" y="574"/>
                  </a:lnTo>
                  <a:lnTo>
                    <a:pt x="294" y="564"/>
                  </a:lnTo>
                  <a:lnTo>
                    <a:pt x="294" y="560"/>
                  </a:lnTo>
                  <a:lnTo>
                    <a:pt x="294" y="558"/>
                  </a:lnTo>
                  <a:lnTo>
                    <a:pt x="295" y="548"/>
                  </a:lnTo>
                  <a:lnTo>
                    <a:pt x="295" y="543"/>
                  </a:lnTo>
                  <a:lnTo>
                    <a:pt x="296" y="532"/>
                  </a:lnTo>
                  <a:lnTo>
                    <a:pt x="296" y="520"/>
                  </a:lnTo>
                  <a:lnTo>
                    <a:pt x="295" y="516"/>
                  </a:lnTo>
                  <a:lnTo>
                    <a:pt x="289" y="513"/>
                  </a:lnTo>
                  <a:lnTo>
                    <a:pt x="279" y="508"/>
                  </a:lnTo>
                  <a:lnTo>
                    <a:pt x="273" y="506"/>
                  </a:lnTo>
                  <a:lnTo>
                    <a:pt x="270" y="504"/>
                  </a:lnTo>
                  <a:lnTo>
                    <a:pt x="265" y="501"/>
                  </a:lnTo>
                  <a:lnTo>
                    <a:pt x="258" y="501"/>
                  </a:lnTo>
                  <a:lnTo>
                    <a:pt x="255" y="501"/>
                  </a:lnTo>
                  <a:lnTo>
                    <a:pt x="252" y="501"/>
                  </a:lnTo>
                  <a:lnTo>
                    <a:pt x="246" y="500"/>
                  </a:lnTo>
                  <a:lnTo>
                    <a:pt x="240" y="499"/>
                  </a:lnTo>
                  <a:lnTo>
                    <a:pt x="235" y="499"/>
                  </a:lnTo>
                  <a:lnTo>
                    <a:pt x="231" y="499"/>
                  </a:lnTo>
                  <a:lnTo>
                    <a:pt x="230" y="499"/>
                  </a:lnTo>
                  <a:lnTo>
                    <a:pt x="229" y="499"/>
                  </a:lnTo>
                  <a:lnTo>
                    <a:pt x="226" y="500"/>
                  </a:lnTo>
                  <a:lnTo>
                    <a:pt x="225" y="502"/>
                  </a:lnTo>
                  <a:lnTo>
                    <a:pt x="222" y="504"/>
                  </a:lnTo>
                  <a:lnTo>
                    <a:pt x="219" y="506"/>
                  </a:lnTo>
                  <a:lnTo>
                    <a:pt x="217" y="506"/>
                  </a:lnTo>
                  <a:lnTo>
                    <a:pt x="215" y="504"/>
                  </a:lnTo>
                  <a:lnTo>
                    <a:pt x="220" y="501"/>
                  </a:lnTo>
                  <a:lnTo>
                    <a:pt x="225" y="498"/>
                  </a:lnTo>
                  <a:lnTo>
                    <a:pt x="229" y="494"/>
                  </a:lnTo>
                  <a:lnTo>
                    <a:pt x="231" y="493"/>
                  </a:lnTo>
                  <a:lnTo>
                    <a:pt x="232" y="490"/>
                  </a:lnTo>
                  <a:lnTo>
                    <a:pt x="232" y="488"/>
                  </a:lnTo>
                  <a:lnTo>
                    <a:pt x="230" y="487"/>
                  </a:lnTo>
                  <a:lnTo>
                    <a:pt x="225" y="488"/>
                  </a:lnTo>
                  <a:lnTo>
                    <a:pt x="219" y="488"/>
                  </a:lnTo>
                  <a:lnTo>
                    <a:pt x="217" y="488"/>
                  </a:lnTo>
                  <a:lnTo>
                    <a:pt x="213" y="488"/>
                  </a:lnTo>
                  <a:lnTo>
                    <a:pt x="203" y="489"/>
                  </a:lnTo>
                  <a:lnTo>
                    <a:pt x="196" y="489"/>
                  </a:lnTo>
                  <a:lnTo>
                    <a:pt x="194" y="489"/>
                  </a:lnTo>
                  <a:lnTo>
                    <a:pt x="191" y="490"/>
                  </a:lnTo>
                  <a:lnTo>
                    <a:pt x="188" y="490"/>
                  </a:lnTo>
                  <a:lnTo>
                    <a:pt x="187" y="490"/>
                  </a:lnTo>
                  <a:lnTo>
                    <a:pt x="185" y="489"/>
                  </a:lnTo>
                  <a:lnTo>
                    <a:pt x="184" y="492"/>
                  </a:lnTo>
                  <a:lnTo>
                    <a:pt x="184" y="495"/>
                  </a:lnTo>
                  <a:lnTo>
                    <a:pt x="182" y="496"/>
                  </a:lnTo>
                  <a:lnTo>
                    <a:pt x="179" y="496"/>
                  </a:lnTo>
                  <a:lnTo>
                    <a:pt x="177" y="496"/>
                  </a:lnTo>
                  <a:lnTo>
                    <a:pt x="176" y="495"/>
                  </a:lnTo>
                  <a:lnTo>
                    <a:pt x="176" y="496"/>
                  </a:lnTo>
                  <a:lnTo>
                    <a:pt x="176" y="499"/>
                  </a:lnTo>
                  <a:lnTo>
                    <a:pt x="176" y="500"/>
                  </a:lnTo>
                  <a:lnTo>
                    <a:pt x="173" y="501"/>
                  </a:lnTo>
                  <a:lnTo>
                    <a:pt x="171" y="502"/>
                  </a:lnTo>
                  <a:lnTo>
                    <a:pt x="169" y="504"/>
                  </a:lnTo>
                  <a:lnTo>
                    <a:pt x="167" y="505"/>
                  </a:lnTo>
                  <a:lnTo>
                    <a:pt x="166" y="504"/>
                  </a:lnTo>
                  <a:lnTo>
                    <a:pt x="164" y="505"/>
                  </a:lnTo>
                  <a:lnTo>
                    <a:pt x="164" y="502"/>
                  </a:lnTo>
                  <a:lnTo>
                    <a:pt x="161" y="502"/>
                  </a:lnTo>
                  <a:lnTo>
                    <a:pt x="160" y="501"/>
                  </a:lnTo>
                  <a:lnTo>
                    <a:pt x="158" y="501"/>
                  </a:lnTo>
                  <a:lnTo>
                    <a:pt x="156" y="500"/>
                  </a:lnTo>
                  <a:lnTo>
                    <a:pt x="156" y="501"/>
                  </a:lnTo>
                  <a:lnTo>
                    <a:pt x="154" y="502"/>
                  </a:lnTo>
                  <a:lnTo>
                    <a:pt x="153" y="506"/>
                  </a:lnTo>
                  <a:lnTo>
                    <a:pt x="152" y="507"/>
                  </a:lnTo>
                  <a:lnTo>
                    <a:pt x="152" y="508"/>
                  </a:lnTo>
                  <a:lnTo>
                    <a:pt x="152" y="510"/>
                  </a:lnTo>
                  <a:lnTo>
                    <a:pt x="149" y="510"/>
                  </a:lnTo>
                  <a:lnTo>
                    <a:pt x="148" y="512"/>
                  </a:lnTo>
                  <a:lnTo>
                    <a:pt x="147" y="512"/>
                  </a:lnTo>
                  <a:lnTo>
                    <a:pt x="146" y="511"/>
                  </a:lnTo>
                  <a:lnTo>
                    <a:pt x="146" y="510"/>
                  </a:lnTo>
                  <a:lnTo>
                    <a:pt x="143" y="508"/>
                  </a:lnTo>
                  <a:lnTo>
                    <a:pt x="142" y="510"/>
                  </a:lnTo>
                  <a:lnTo>
                    <a:pt x="142" y="508"/>
                  </a:lnTo>
                  <a:lnTo>
                    <a:pt x="141" y="508"/>
                  </a:lnTo>
                  <a:lnTo>
                    <a:pt x="137" y="508"/>
                  </a:lnTo>
                  <a:lnTo>
                    <a:pt x="136" y="510"/>
                  </a:lnTo>
                  <a:lnTo>
                    <a:pt x="135" y="511"/>
                  </a:lnTo>
                  <a:lnTo>
                    <a:pt x="135" y="510"/>
                  </a:lnTo>
                  <a:lnTo>
                    <a:pt x="135" y="507"/>
                  </a:lnTo>
                  <a:lnTo>
                    <a:pt x="136" y="506"/>
                  </a:lnTo>
                  <a:lnTo>
                    <a:pt x="135" y="507"/>
                  </a:lnTo>
                  <a:lnTo>
                    <a:pt x="132" y="506"/>
                  </a:lnTo>
                  <a:lnTo>
                    <a:pt x="134" y="505"/>
                  </a:lnTo>
                  <a:lnTo>
                    <a:pt x="131" y="506"/>
                  </a:lnTo>
                  <a:lnTo>
                    <a:pt x="130" y="505"/>
                  </a:lnTo>
                  <a:lnTo>
                    <a:pt x="129" y="507"/>
                  </a:lnTo>
                  <a:lnTo>
                    <a:pt x="125" y="508"/>
                  </a:lnTo>
                  <a:lnTo>
                    <a:pt x="123" y="507"/>
                  </a:lnTo>
                  <a:lnTo>
                    <a:pt x="126" y="506"/>
                  </a:lnTo>
                  <a:lnTo>
                    <a:pt x="124" y="504"/>
                  </a:lnTo>
                  <a:lnTo>
                    <a:pt x="123" y="502"/>
                  </a:lnTo>
                  <a:lnTo>
                    <a:pt x="122" y="501"/>
                  </a:lnTo>
                  <a:lnTo>
                    <a:pt x="120" y="501"/>
                  </a:lnTo>
                  <a:lnTo>
                    <a:pt x="120" y="500"/>
                  </a:lnTo>
                  <a:lnTo>
                    <a:pt x="120" y="499"/>
                  </a:lnTo>
                  <a:lnTo>
                    <a:pt x="122" y="498"/>
                  </a:lnTo>
                  <a:lnTo>
                    <a:pt x="122" y="499"/>
                  </a:lnTo>
                  <a:lnTo>
                    <a:pt x="124" y="500"/>
                  </a:lnTo>
                  <a:lnTo>
                    <a:pt x="125" y="500"/>
                  </a:lnTo>
                  <a:lnTo>
                    <a:pt x="126" y="501"/>
                  </a:lnTo>
                  <a:lnTo>
                    <a:pt x="126" y="500"/>
                  </a:lnTo>
                  <a:lnTo>
                    <a:pt x="128" y="501"/>
                  </a:lnTo>
                  <a:lnTo>
                    <a:pt x="128" y="500"/>
                  </a:lnTo>
                  <a:lnTo>
                    <a:pt x="128" y="501"/>
                  </a:lnTo>
                  <a:lnTo>
                    <a:pt x="129" y="501"/>
                  </a:lnTo>
                  <a:lnTo>
                    <a:pt x="131" y="502"/>
                  </a:lnTo>
                  <a:lnTo>
                    <a:pt x="131" y="501"/>
                  </a:lnTo>
                  <a:lnTo>
                    <a:pt x="130" y="500"/>
                  </a:lnTo>
                  <a:lnTo>
                    <a:pt x="130" y="499"/>
                  </a:lnTo>
                  <a:lnTo>
                    <a:pt x="130" y="498"/>
                  </a:lnTo>
                  <a:lnTo>
                    <a:pt x="131" y="495"/>
                  </a:lnTo>
                  <a:lnTo>
                    <a:pt x="131" y="494"/>
                  </a:lnTo>
                  <a:lnTo>
                    <a:pt x="132" y="493"/>
                  </a:lnTo>
                  <a:lnTo>
                    <a:pt x="134" y="493"/>
                  </a:lnTo>
                  <a:lnTo>
                    <a:pt x="135" y="492"/>
                  </a:lnTo>
                  <a:lnTo>
                    <a:pt x="136" y="489"/>
                  </a:lnTo>
                  <a:lnTo>
                    <a:pt x="137" y="488"/>
                  </a:lnTo>
                  <a:lnTo>
                    <a:pt x="138" y="489"/>
                  </a:lnTo>
                  <a:lnTo>
                    <a:pt x="140" y="488"/>
                  </a:lnTo>
                  <a:lnTo>
                    <a:pt x="142" y="490"/>
                  </a:lnTo>
                  <a:lnTo>
                    <a:pt x="143" y="488"/>
                  </a:lnTo>
                  <a:lnTo>
                    <a:pt x="141" y="488"/>
                  </a:lnTo>
                  <a:lnTo>
                    <a:pt x="142" y="487"/>
                  </a:lnTo>
                  <a:lnTo>
                    <a:pt x="140" y="486"/>
                  </a:lnTo>
                  <a:lnTo>
                    <a:pt x="141" y="483"/>
                  </a:lnTo>
                  <a:lnTo>
                    <a:pt x="140" y="483"/>
                  </a:lnTo>
                  <a:lnTo>
                    <a:pt x="141" y="482"/>
                  </a:lnTo>
                  <a:lnTo>
                    <a:pt x="141" y="480"/>
                  </a:lnTo>
                  <a:lnTo>
                    <a:pt x="138" y="478"/>
                  </a:lnTo>
                  <a:lnTo>
                    <a:pt x="140" y="477"/>
                  </a:lnTo>
                  <a:lnTo>
                    <a:pt x="141" y="477"/>
                  </a:lnTo>
                  <a:lnTo>
                    <a:pt x="141" y="476"/>
                  </a:lnTo>
                  <a:lnTo>
                    <a:pt x="143" y="478"/>
                  </a:lnTo>
                  <a:lnTo>
                    <a:pt x="144" y="480"/>
                  </a:lnTo>
                  <a:lnTo>
                    <a:pt x="146" y="481"/>
                  </a:lnTo>
                  <a:lnTo>
                    <a:pt x="147" y="480"/>
                  </a:lnTo>
                  <a:lnTo>
                    <a:pt x="149" y="482"/>
                  </a:lnTo>
                  <a:lnTo>
                    <a:pt x="152" y="482"/>
                  </a:lnTo>
                  <a:lnTo>
                    <a:pt x="152" y="483"/>
                  </a:lnTo>
                  <a:lnTo>
                    <a:pt x="154" y="484"/>
                  </a:lnTo>
                  <a:lnTo>
                    <a:pt x="155" y="483"/>
                  </a:lnTo>
                  <a:lnTo>
                    <a:pt x="155" y="482"/>
                  </a:lnTo>
                  <a:lnTo>
                    <a:pt x="156" y="483"/>
                  </a:lnTo>
                  <a:lnTo>
                    <a:pt x="159" y="482"/>
                  </a:lnTo>
                  <a:lnTo>
                    <a:pt x="160" y="484"/>
                  </a:lnTo>
                  <a:lnTo>
                    <a:pt x="160" y="482"/>
                  </a:lnTo>
                  <a:lnTo>
                    <a:pt x="160" y="481"/>
                  </a:lnTo>
                  <a:lnTo>
                    <a:pt x="161" y="481"/>
                  </a:lnTo>
                  <a:lnTo>
                    <a:pt x="161" y="480"/>
                  </a:lnTo>
                  <a:lnTo>
                    <a:pt x="163" y="480"/>
                  </a:lnTo>
                  <a:lnTo>
                    <a:pt x="164" y="481"/>
                  </a:lnTo>
                  <a:lnTo>
                    <a:pt x="164" y="480"/>
                  </a:lnTo>
                  <a:lnTo>
                    <a:pt x="166" y="481"/>
                  </a:lnTo>
                  <a:lnTo>
                    <a:pt x="167" y="480"/>
                  </a:lnTo>
                  <a:lnTo>
                    <a:pt x="170" y="482"/>
                  </a:lnTo>
                  <a:lnTo>
                    <a:pt x="170" y="478"/>
                  </a:lnTo>
                  <a:lnTo>
                    <a:pt x="169" y="478"/>
                  </a:lnTo>
                  <a:lnTo>
                    <a:pt x="169" y="477"/>
                  </a:lnTo>
                  <a:lnTo>
                    <a:pt x="167" y="476"/>
                  </a:lnTo>
                  <a:lnTo>
                    <a:pt x="169" y="475"/>
                  </a:lnTo>
                  <a:lnTo>
                    <a:pt x="171" y="473"/>
                  </a:lnTo>
                  <a:lnTo>
                    <a:pt x="172" y="475"/>
                  </a:lnTo>
                  <a:lnTo>
                    <a:pt x="173" y="476"/>
                  </a:lnTo>
                  <a:lnTo>
                    <a:pt x="175" y="476"/>
                  </a:lnTo>
                  <a:lnTo>
                    <a:pt x="175" y="475"/>
                  </a:lnTo>
                  <a:lnTo>
                    <a:pt x="175" y="473"/>
                  </a:lnTo>
                  <a:lnTo>
                    <a:pt x="175" y="471"/>
                  </a:lnTo>
                  <a:lnTo>
                    <a:pt x="176" y="471"/>
                  </a:lnTo>
                  <a:lnTo>
                    <a:pt x="178" y="470"/>
                  </a:lnTo>
                  <a:lnTo>
                    <a:pt x="179" y="473"/>
                  </a:lnTo>
                  <a:lnTo>
                    <a:pt x="179" y="476"/>
                  </a:lnTo>
                  <a:lnTo>
                    <a:pt x="181" y="476"/>
                  </a:lnTo>
                  <a:lnTo>
                    <a:pt x="183" y="477"/>
                  </a:lnTo>
                  <a:lnTo>
                    <a:pt x="183" y="478"/>
                  </a:lnTo>
                  <a:lnTo>
                    <a:pt x="184" y="478"/>
                  </a:lnTo>
                  <a:lnTo>
                    <a:pt x="184" y="480"/>
                  </a:lnTo>
                  <a:lnTo>
                    <a:pt x="185" y="480"/>
                  </a:lnTo>
                  <a:lnTo>
                    <a:pt x="187" y="480"/>
                  </a:lnTo>
                  <a:lnTo>
                    <a:pt x="189" y="480"/>
                  </a:lnTo>
                  <a:lnTo>
                    <a:pt x="188" y="481"/>
                  </a:lnTo>
                  <a:lnTo>
                    <a:pt x="187" y="482"/>
                  </a:lnTo>
                  <a:lnTo>
                    <a:pt x="187" y="483"/>
                  </a:lnTo>
                  <a:lnTo>
                    <a:pt x="185" y="483"/>
                  </a:lnTo>
                  <a:lnTo>
                    <a:pt x="185" y="484"/>
                  </a:lnTo>
                  <a:lnTo>
                    <a:pt x="185" y="486"/>
                  </a:lnTo>
                  <a:lnTo>
                    <a:pt x="188" y="486"/>
                  </a:lnTo>
                  <a:lnTo>
                    <a:pt x="187" y="487"/>
                  </a:lnTo>
                  <a:lnTo>
                    <a:pt x="187" y="488"/>
                  </a:lnTo>
                  <a:lnTo>
                    <a:pt x="188" y="487"/>
                  </a:lnTo>
                  <a:lnTo>
                    <a:pt x="189" y="487"/>
                  </a:lnTo>
                  <a:lnTo>
                    <a:pt x="190" y="486"/>
                  </a:lnTo>
                  <a:lnTo>
                    <a:pt x="193" y="484"/>
                  </a:lnTo>
                  <a:lnTo>
                    <a:pt x="194" y="484"/>
                  </a:lnTo>
                  <a:lnTo>
                    <a:pt x="195" y="486"/>
                  </a:lnTo>
                  <a:lnTo>
                    <a:pt x="196" y="487"/>
                  </a:lnTo>
                  <a:lnTo>
                    <a:pt x="201" y="486"/>
                  </a:lnTo>
                  <a:lnTo>
                    <a:pt x="207" y="486"/>
                  </a:lnTo>
                  <a:lnTo>
                    <a:pt x="213" y="486"/>
                  </a:lnTo>
                  <a:lnTo>
                    <a:pt x="215" y="486"/>
                  </a:lnTo>
                  <a:lnTo>
                    <a:pt x="218" y="484"/>
                  </a:lnTo>
                  <a:lnTo>
                    <a:pt x="219" y="484"/>
                  </a:lnTo>
                  <a:lnTo>
                    <a:pt x="220" y="484"/>
                  </a:lnTo>
                  <a:lnTo>
                    <a:pt x="223" y="484"/>
                  </a:lnTo>
                  <a:lnTo>
                    <a:pt x="226" y="484"/>
                  </a:lnTo>
                  <a:lnTo>
                    <a:pt x="228" y="484"/>
                  </a:lnTo>
                  <a:lnTo>
                    <a:pt x="234" y="482"/>
                  </a:lnTo>
                  <a:lnTo>
                    <a:pt x="236" y="481"/>
                  </a:lnTo>
                  <a:lnTo>
                    <a:pt x="236" y="478"/>
                  </a:lnTo>
                  <a:lnTo>
                    <a:pt x="238" y="478"/>
                  </a:lnTo>
                  <a:lnTo>
                    <a:pt x="241" y="480"/>
                  </a:lnTo>
                  <a:lnTo>
                    <a:pt x="243" y="481"/>
                  </a:lnTo>
                  <a:lnTo>
                    <a:pt x="247" y="480"/>
                  </a:lnTo>
                  <a:lnTo>
                    <a:pt x="250" y="478"/>
                  </a:lnTo>
                  <a:lnTo>
                    <a:pt x="252" y="477"/>
                  </a:lnTo>
                  <a:lnTo>
                    <a:pt x="252" y="475"/>
                  </a:lnTo>
                  <a:lnTo>
                    <a:pt x="252" y="473"/>
                  </a:lnTo>
                  <a:lnTo>
                    <a:pt x="254" y="473"/>
                  </a:lnTo>
                  <a:lnTo>
                    <a:pt x="258" y="472"/>
                  </a:lnTo>
                  <a:lnTo>
                    <a:pt x="259" y="471"/>
                  </a:lnTo>
                  <a:lnTo>
                    <a:pt x="262" y="471"/>
                  </a:lnTo>
                  <a:lnTo>
                    <a:pt x="265" y="470"/>
                  </a:lnTo>
                  <a:lnTo>
                    <a:pt x="267" y="469"/>
                  </a:lnTo>
                  <a:lnTo>
                    <a:pt x="270" y="466"/>
                  </a:lnTo>
                  <a:lnTo>
                    <a:pt x="268" y="467"/>
                  </a:lnTo>
                  <a:lnTo>
                    <a:pt x="267" y="466"/>
                  </a:lnTo>
                  <a:lnTo>
                    <a:pt x="266" y="466"/>
                  </a:lnTo>
                  <a:lnTo>
                    <a:pt x="266" y="463"/>
                  </a:lnTo>
                  <a:lnTo>
                    <a:pt x="267" y="461"/>
                  </a:lnTo>
                  <a:lnTo>
                    <a:pt x="266" y="461"/>
                  </a:lnTo>
                  <a:lnTo>
                    <a:pt x="266" y="460"/>
                  </a:lnTo>
                  <a:lnTo>
                    <a:pt x="264" y="460"/>
                  </a:lnTo>
                  <a:lnTo>
                    <a:pt x="264" y="461"/>
                  </a:lnTo>
                  <a:lnTo>
                    <a:pt x="265" y="463"/>
                  </a:lnTo>
                  <a:lnTo>
                    <a:pt x="264" y="464"/>
                  </a:lnTo>
                  <a:lnTo>
                    <a:pt x="264" y="465"/>
                  </a:lnTo>
                  <a:lnTo>
                    <a:pt x="264" y="467"/>
                  </a:lnTo>
                  <a:lnTo>
                    <a:pt x="262" y="467"/>
                  </a:lnTo>
                  <a:lnTo>
                    <a:pt x="260" y="469"/>
                  </a:lnTo>
                  <a:lnTo>
                    <a:pt x="258" y="466"/>
                  </a:lnTo>
                  <a:lnTo>
                    <a:pt x="258" y="465"/>
                  </a:lnTo>
                  <a:lnTo>
                    <a:pt x="255" y="466"/>
                  </a:lnTo>
                  <a:lnTo>
                    <a:pt x="253" y="466"/>
                  </a:lnTo>
                  <a:lnTo>
                    <a:pt x="249" y="465"/>
                  </a:lnTo>
                  <a:lnTo>
                    <a:pt x="248" y="466"/>
                  </a:lnTo>
                  <a:lnTo>
                    <a:pt x="248" y="467"/>
                  </a:lnTo>
                  <a:lnTo>
                    <a:pt x="246" y="469"/>
                  </a:lnTo>
                  <a:lnTo>
                    <a:pt x="244" y="469"/>
                  </a:lnTo>
                  <a:lnTo>
                    <a:pt x="244" y="467"/>
                  </a:lnTo>
                  <a:lnTo>
                    <a:pt x="244" y="465"/>
                  </a:lnTo>
                  <a:lnTo>
                    <a:pt x="246" y="464"/>
                  </a:lnTo>
                  <a:lnTo>
                    <a:pt x="247" y="464"/>
                  </a:lnTo>
                  <a:lnTo>
                    <a:pt x="247" y="463"/>
                  </a:lnTo>
                  <a:lnTo>
                    <a:pt x="247" y="459"/>
                  </a:lnTo>
                  <a:lnTo>
                    <a:pt x="247" y="458"/>
                  </a:lnTo>
                  <a:lnTo>
                    <a:pt x="248" y="455"/>
                  </a:lnTo>
                  <a:lnTo>
                    <a:pt x="249" y="455"/>
                  </a:lnTo>
                  <a:lnTo>
                    <a:pt x="250" y="457"/>
                  </a:lnTo>
                  <a:lnTo>
                    <a:pt x="250" y="454"/>
                  </a:lnTo>
                  <a:lnTo>
                    <a:pt x="249" y="453"/>
                  </a:lnTo>
                  <a:lnTo>
                    <a:pt x="248" y="454"/>
                  </a:lnTo>
                  <a:lnTo>
                    <a:pt x="247" y="454"/>
                  </a:lnTo>
                  <a:lnTo>
                    <a:pt x="246" y="454"/>
                  </a:lnTo>
                  <a:lnTo>
                    <a:pt x="244" y="453"/>
                  </a:lnTo>
                  <a:lnTo>
                    <a:pt x="242" y="453"/>
                  </a:lnTo>
                  <a:lnTo>
                    <a:pt x="242" y="452"/>
                  </a:lnTo>
                  <a:lnTo>
                    <a:pt x="243" y="451"/>
                  </a:lnTo>
                  <a:lnTo>
                    <a:pt x="242" y="449"/>
                  </a:lnTo>
                  <a:lnTo>
                    <a:pt x="240" y="448"/>
                  </a:lnTo>
                  <a:lnTo>
                    <a:pt x="241" y="451"/>
                  </a:lnTo>
                  <a:lnTo>
                    <a:pt x="240" y="452"/>
                  </a:lnTo>
                  <a:lnTo>
                    <a:pt x="238" y="451"/>
                  </a:lnTo>
                  <a:lnTo>
                    <a:pt x="237" y="451"/>
                  </a:lnTo>
                  <a:lnTo>
                    <a:pt x="235" y="451"/>
                  </a:lnTo>
                  <a:lnTo>
                    <a:pt x="235" y="454"/>
                  </a:lnTo>
                  <a:lnTo>
                    <a:pt x="234" y="453"/>
                  </a:lnTo>
                  <a:lnTo>
                    <a:pt x="232" y="454"/>
                  </a:lnTo>
                  <a:lnTo>
                    <a:pt x="231" y="457"/>
                  </a:lnTo>
                  <a:lnTo>
                    <a:pt x="229" y="458"/>
                  </a:lnTo>
                  <a:lnTo>
                    <a:pt x="228" y="460"/>
                  </a:lnTo>
                  <a:lnTo>
                    <a:pt x="226" y="463"/>
                  </a:lnTo>
                  <a:lnTo>
                    <a:pt x="228" y="461"/>
                  </a:lnTo>
                  <a:lnTo>
                    <a:pt x="229" y="461"/>
                  </a:lnTo>
                  <a:lnTo>
                    <a:pt x="229" y="463"/>
                  </a:lnTo>
                  <a:lnTo>
                    <a:pt x="229" y="464"/>
                  </a:lnTo>
                  <a:lnTo>
                    <a:pt x="228" y="465"/>
                  </a:lnTo>
                  <a:lnTo>
                    <a:pt x="229" y="465"/>
                  </a:lnTo>
                  <a:lnTo>
                    <a:pt x="230" y="464"/>
                  </a:lnTo>
                  <a:lnTo>
                    <a:pt x="230" y="465"/>
                  </a:lnTo>
                  <a:lnTo>
                    <a:pt x="230" y="466"/>
                  </a:lnTo>
                  <a:lnTo>
                    <a:pt x="229" y="469"/>
                  </a:lnTo>
                  <a:lnTo>
                    <a:pt x="230" y="467"/>
                  </a:lnTo>
                  <a:lnTo>
                    <a:pt x="231" y="469"/>
                  </a:lnTo>
                  <a:lnTo>
                    <a:pt x="229" y="470"/>
                  </a:lnTo>
                  <a:lnTo>
                    <a:pt x="228" y="471"/>
                  </a:lnTo>
                  <a:lnTo>
                    <a:pt x="226" y="472"/>
                  </a:lnTo>
                  <a:lnTo>
                    <a:pt x="224" y="472"/>
                  </a:lnTo>
                  <a:lnTo>
                    <a:pt x="223" y="472"/>
                  </a:lnTo>
                  <a:lnTo>
                    <a:pt x="224" y="471"/>
                  </a:lnTo>
                  <a:lnTo>
                    <a:pt x="224" y="469"/>
                  </a:lnTo>
                  <a:lnTo>
                    <a:pt x="223" y="469"/>
                  </a:lnTo>
                  <a:lnTo>
                    <a:pt x="222" y="472"/>
                  </a:lnTo>
                  <a:lnTo>
                    <a:pt x="219" y="472"/>
                  </a:lnTo>
                  <a:lnTo>
                    <a:pt x="219" y="470"/>
                  </a:lnTo>
                  <a:lnTo>
                    <a:pt x="218" y="471"/>
                  </a:lnTo>
                  <a:lnTo>
                    <a:pt x="217" y="471"/>
                  </a:lnTo>
                  <a:lnTo>
                    <a:pt x="214" y="471"/>
                  </a:lnTo>
                  <a:lnTo>
                    <a:pt x="214" y="472"/>
                  </a:lnTo>
                  <a:lnTo>
                    <a:pt x="213" y="471"/>
                  </a:lnTo>
                  <a:lnTo>
                    <a:pt x="211" y="471"/>
                  </a:lnTo>
                  <a:lnTo>
                    <a:pt x="211" y="470"/>
                  </a:lnTo>
                  <a:lnTo>
                    <a:pt x="213" y="466"/>
                  </a:lnTo>
                  <a:lnTo>
                    <a:pt x="214" y="464"/>
                  </a:lnTo>
                  <a:lnTo>
                    <a:pt x="212" y="466"/>
                  </a:lnTo>
                  <a:lnTo>
                    <a:pt x="211" y="466"/>
                  </a:lnTo>
                  <a:lnTo>
                    <a:pt x="209" y="465"/>
                  </a:lnTo>
                  <a:lnTo>
                    <a:pt x="208" y="465"/>
                  </a:lnTo>
                  <a:lnTo>
                    <a:pt x="207" y="464"/>
                  </a:lnTo>
                  <a:lnTo>
                    <a:pt x="207" y="463"/>
                  </a:lnTo>
                  <a:lnTo>
                    <a:pt x="206" y="463"/>
                  </a:lnTo>
                  <a:lnTo>
                    <a:pt x="206" y="458"/>
                  </a:lnTo>
                  <a:lnTo>
                    <a:pt x="206" y="455"/>
                  </a:lnTo>
                  <a:lnTo>
                    <a:pt x="203" y="453"/>
                  </a:lnTo>
                  <a:lnTo>
                    <a:pt x="203" y="449"/>
                  </a:lnTo>
                  <a:lnTo>
                    <a:pt x="205" y="451"/>
                  </a:lnTo>
                  <a:lnTo>
                    <a:pt x="206" y="448"/>
                  </a:lnTo>
                  <a:lnTo>
                    <a:pt x="208" y="447"/>
                  </a:lnTo>
                  <a:lnTo>
                    <a:pt x="211" y="447"/>
                  </a:lnTo>
                  <a:lnTo>
                    <a:pt x="211" y="445"/>
                  </a:lnTo>
                  <a:lnTo>
                    <a:pt x="208" y="445"/>
                  </a:lnTo>
                  <a:lnTo>
                    <a:pt x="207" y="446"/>
                  </a:lnTo>
                  <a:lnTo>
                    <a:pt x="205" y="446"/>
                  </a:lnTo>
                  <a:lnTo>
                    <a:pt x="203" y="445"/>
                  </a:lnTo>
                  <a:lnTo>
                    <a:pt x="201" y="446"/>
                  </a:lnTo>
                  <a:lnTo>
                    <a:pt x="201" y="448"/>
                  </a:lnTo>
                  <a:lnTo>
                    <a:pt x="202" y="449"/>
                  </a:lnTo>
                  <a:lnTo>
                    <a:pt x="201" y="451"/>
                  </a:lnTo>
                  <a:lnTo>
                    <a:pt x="200" y="452"/>
                  </a:lnTo>
                  <a:lnTo>
                    <a:pt x="200" y="453"/>
                  </a:lnTo>
                  <a:lnTo>
                    <a:pt x="199" y="453"/>
                  </a:lnTo>
                  <a:lnTo>
                    <a:pt x="200" y="449"/>
                  </a:lnTo>
                  <a:lnTo>
                    <a:pt x="197" y="449"/>
                  </a:lnTo>
                  <a:lnTo>
                    <a:pt x="196" y="452"/>
                  </a:lnTo>
                  <a:lnTo>
                    <a:pt x="194" y="452"/>
                  </a:lnTo>
                  <a:lnTo>
                    <a:pt x="191" y="452"/>
                  </a:lnTo>
                  <a:lnTo>
                    <a:pt x="190" y="452"/>
                  </a:lnTo>
                  <a:lnTo>
                    <a:pt x="190" y="453"/>
                  </a:lnTo>
                  <a:lnTo>
                    <a:pt x="189" y="453"/>
                  </a:lnTo>
                  <a:lnTo>
                    <a:pt x="188" y="454"/>
                  </a:lnTo>
                  <a:lnTo>
                    <a:pt x="185" y="455"/>
                  </a:lnTo>
                  <a:lnTo>
                    <a:pt x="185" y="454"/>
                  </a:lnTo>
                  <a:lnTo>
                    <a:pt x="184" y="455"/>
                  </a:lnTo>
                  <a:lnTo>
                    <a:pt x="183" y="454"/>
                  </a:lnTo>
                  <a:lnTo>
                    <a:pt x="182" y="453"/>
                  </a:lnTo>
                  <a:lnTo>
                    <a:pt x="181" y="453"/>
                  </a:lnTo>
                  <a:lnTo>
                    <a:pt x="178" y="452"/>
                  </a:lnTo>
                  <a:lnTo>
                    <a:pt x="178" y="449"/>
                  </a:lnTo>
                  <a:lnTo>
                    <a:pt x="176" y="449"/>
                  </a:lnTo>
                  <a:lnTo>
                    <a:pt x="175" y="449"/>
                  </a:lnTo>
                  <a:lnTo>
                    <a:pt x="172" y="451"/>
                  </a:lnTo>
                  <a:lnTo>
                    <a:pt x="171" y="451"/>
                  </a:lnTo>
                  <a:lnTo>
                    <a:pt x="167" y="449"/>
                  </a:lnTo>
                  <a:lnTo>
                    <a:pt x="167" y="448"/>
                  </a:lnTo>
                  <a:lnTo>
                    <a:pt x="166" y="448"/>
                  </a:lnTo>
                  <a:lnTo>
                    <a:pt x="164" y="449"/>
                  </a:lnTo>
                  <a:lnTo>
                    <a:pt x="161" y="448"/>
                  </a:lnTo>
                  <a:lnTo>
                    <a:pt x="161" y="449"/>
                  </a:lnTo>
                  <a:lnTo>
                    <a:pt x="159" y="449"/>
                  </a:lnTo>
                  <a:lnTo>
                    <a:pt x="158" y="448"/>
                  </a:lnTo>
                  <a:lnTo>
                    <a:pt x="156" y="448"/>
                  </a:lnTo>
                  <a:lnTo>
                    <a:pt x="155" y="449"/>
                  </a:lnTo>
                  <a:lnTo>
                    <a:pt x="154" y="448"/>
                  </a:lnTo>
                  <a:lnTo>
                    <a:pt x="152" y="449"/>
                  </a:lnTo>
                  <a:lnTo>
                    <a:pt x="152" y="451"/>
                  </a:lnTo>
                  <a:lnTo>
                    <a:pt x="152" y="452"/>
                  </a:lnTo>
                  <a:lnTo>
                    <a:pt x="152" y="453"/>
                  </a:lnTo>
                  <a:lnTo>
                    <a:pt x="152" y="452"/>
                  </a:lnTo>
                  <a:lnTo>
                    <a:pt x="154" y="452"/>
                  </a:lnTo>
                  <a:lnTo>
                    <a:pt x="155" y="452"/>
                  </a:lnTo>
                  <a:lnTo>
                    <a:pt x="156" y="452"/>
                  </a:lnTo>
                  <a:lnTo>
                    <a:pt x="158" y="452"/>
                  </a:lnTo>
                  <a:lnTo>
                    <a:pt x="159" y="452"/>
                  </a:lnTo>
                  <a:lnTo>
                    <a:pt x="158" y="452"/>
                  </a:lnTo>
                  <a:lnTo>
                    <a:pt x="159" y="449"/>
                  </a:lnTo>
                  <a:lnTo>
                    <a:pt x="159" y="451"/>
                  </a:lnTo>
                  <a:lnTo>
                    <a:pt x="159" y="452"/>
                  </a:lnTo>
                  <a:lnTo>
                    <a:pt x="160" y="451"/>
                  </a:lnTo>
                  <a:lnTo>
                    <a:pt x="161" y="451"/>
                  </a:lnTo>
                  <a:lnTo>
                    <a:pt x="161" y="452"/>
                  </a:lnTo>
                  <a:lnTo>
                    <a:pt x="163" y="451"/>
                  </a:lnTo>
                  <a:lnTo>
                    <a:pt x="164" y="452"/>
                  </a:lnTo>
                  <a:lnTo>
                    <a:pt x="164" y="451"/>
                  </a:lnTo>
                  <a:lnTo>
                    <a:pt x="164" y="452"/>
                  </a:lnTo>
                  <a:lnTo>
                    <a:pt x="165" y="452"/>
                  </a:lnTo>
                  <a:lnTo>
                    <a:pt x="166" y="453"/>
                  </a:lnTo>
                  <a:lnTo>
                    <a:pt x="166" y="454"/>
                  </a:lnTo>
                  <a:lnTo>
                    <a:pt x="166" y="452"/>
                  </a:lnTo>
                  <a:lnTo>
                    <a:pt x="167" y="451"/>
                  </a:lnTo>
                  <a:lnTo>
                    <a:pt x="169" y="451"/>
                  </a:lnTo>
                  <a:lnTo>
                    <a:pt x="169" y="453"/>
                  </a:lnTo>
                  <a:lnTo>
                    <a:pt x="167" y="457"/>
                  </a:lnTo>
                  <a:lnTo>
                    <a:pt x="166" y="457"/>
                  </a:lnTo>
                  <a:lnTo>
                    <a:pt x="165" y="457"/>
                  </a:lnTo>
                  <a:lnTo>
                    <a:pt x="166" y="457"/>
                  </a:lnTo>
                  <a:lnTo>
                    <a:pt x="166" y="459"/>
                  </a:lnTo>
                  <a:lnTo>
                    <a:pt x="166" y="458"/>
                  </a:lnTo>
                  <a:lnTo>
                    <a:pt x="165" y="458"/>
                  </a:lnTo>
                  <a:lnTo>
                    <a:pt x="164" y="458"/>
                  </a:lnTo>
                  <a:lnTo>
                    <a:pt x="163" y="458"/>
                  </a:lnTo>
                  <a:lnTo>
                    <a:pt x="161" y="458"/>
                  </a:lnTo>
                  <a:lnTo>
                    <a:pt x="159" y="459"/>
                  </a:lnTo>
                  <a:lnTo>
                    <a:pt x="156" y="464"/>
                  </a:lnTo>
                  <a:lnTo>
                    <a:pt x="154" y="464"/>
                  </a:lnTo>
                  <a:lnTo>
                    <a:pt x="154" y="463"/>
                  </a:lnTo>
                  <a:lnTo>
                    <a:pt x="153" y="460"/>
                  </a:lnTo>
                  <a:lnTo>
                    <a:pt x="152" y="458"/>
                  </a:lnTo>
                  <a:lnTo>
                    <a:pt x="150" y="458"/>
                  </a:lnTo>
                  <a:lnTo>
                    <a:pt x="152" y="461"/>
                  </a:lnTo>
                  <a:lnTo>
                    <a:pt x="152" y="463"/>
                  </a:lnTo>
                  <a:lnTo>
                    <a:pt x="150" y="463"/>
                  </a:lnTo>
                  <a:lnTo>
                    <a:pt x="150" y="461"/>
                  </a:lnTo>
                  <a:lnTo>
                    <a:pt x="149" y="464"/>
                  </a:lnTo>
                  <a:lnTo>
                    <a:pt x="150" y="465"/>
                  </a:lnTo>
                  <a:lnTo>
                    <a:pt x="148" y="464"/>
                  </a:lnTo>
                  <a:lnTo>
                    <a:pt x="149" y="466"/>
                  </a:lnTo>
                  <a:lnTo>
                    <a:pt x="148" y="466"/>
                  </a:lnTo>
                  <a:lnTo>
                    <a:pt x="149" y="469"/>
                  </a:lnTo>
                  <a:lnTo>
                    <a:pt x="147" y="470"/>
                  </a:lnTo>
                  <a:lnTo>
                    <a:pt x="149" y="471"/>
                  </a:lnTo>
                  <a:lnTo>
                    <a:pt x="150" y="470"/>
                  </a:lnTo>
                  <a:lnTo>
                    <a:pt x="150" y="471"/>
                  </a:lnTo>
                  <a:lnTo>
                    <a:pt x="152" y="471"/>
                  </a:lnTo>
                  <a:lnTo>
                    <a:pt x="152" y="473"/>
                  </a:lnTo>
                  <a:lnTo>
                    <a:pt x="152" y="476"/>
                  </a:lnTo>
                  <a:lnTo>
                    <a:pt x="150" y="477"/>
                  </a:lnTo>
                  <a:lnTo>
                    <a:pt x="150" y="476"/>
                  </a:lnTo>
                  <a:lnTo>
                    <a:pt x="148" y="477"/>
                  </a:lnTo>
                  <a:lnTo>
                    <a:pt x="147" y="477"/>
                  </a:lnTo>
                  <a:lnTo>
                    <a:pt x="147" y="476"/>
                  </a:lnTo>
                  <a:lnTo>
                    <a:pt x="144" y="475"/>
                  </a:lnTo>
                  <a:lnTo>
                    <a:pt x="141" y="473"/>
                  </a:lnTo>
                  <a:lnTo>
                    <a:pt x="138" y="473"/>
                  </a:lnTo>
                  <a:lnTo>
                    <a:pt x="137" y="473"/>
                  </a:lnTo>
                  <a:lnTo>
                    <a:pt x="136" y="475"/>
                  </a:lnTo>
                  <a:lnTo>
                    <a:pt x="130" y="475"/>
                  </a:lnTo>
                  <a:lnTo>
                    <a:pt x="129" y="473"/>
                  </a:lnTo>
                  <a:lnTo>
                    <a:pt x="126" y="475"/>
                  </a:lnTo>
                  <a:lnTo>
                    <a:pt x="125" y="476"/>
                  </a:lnTo>
                  <a:lnTo>
                    <a:pt x="124" y="478"/>
                  </a:lnTo>
                  <a:lnTo>
                    <a:pt x="122" y="478"/>
                  </a:lnTo>
                  <a:lnTo>
                    <a:pt x="119" y="480"/>
                  </a:lnTo>
                  <a:lnTo>
                    <a:pt x="118" y="478"/>
                  </a:lnTo>
                  <a:lnTo>
                    <a:pt x="117" y="476"/>
                  </a:lnTo>
                  <a:lnTo>
                    <a:pt x="117" y="475"/>
                  </a:lnTo>
                  <a:lnTo>
                    <a:pt x="114" y="472"/>
                  </a:lnTo>
                  <a:lnTo>
                    <a:pt x="112" y="472"/>
                  </a:lnTo>
                  <a:lnTo>
                    <a:pt x="112" y="470"/>
                  </a:lnTo>
                  <a:lnTo>
                    <a:pt x="110" y="469"/>
                  </a:lnTo>
                  <a:lnTo>
                    <a:pt x="108" y="466"/>
                  </a:lnTo>
                  <a:lnTo>
                    <a:pt x="108" y="465"/>
                  </a:lnTo>
                  <a:lnTo>
                    <a:pt x="110" y="466"/>
                  </a:lnTo>
                  <a:lnTo>
                    <a:pt x="111" y="466"/>
                  </a:lnTo>
                  <a:lnTo>
                    <a:pt x="111" y="467"/>
                  </a:lnTo>
                  <a:lnTo>
                    <a:pt x="112" y="466"/>
                  </a:lnTo>
                  <a:lnTo>
                    <a:pt x="113" y="466"/>
                  </a:lnTo>
                  <a:lnTo>
                    <a:pt x="113" y="467"/>
                  </a:lnTo>
                  <a:lnTo>
                    <a:pt x="114" y="466"/>
                  </a:lnTo>
                  <a:lnTo>
                    <a:pt x="114" y="465"/>
                  </a:lnTo>
                  <a:lnTo>
                    <a:pt x="116" y="464"/>
                  </a:lnTo>
                  <a:lnTo>
                    <a:pt x="117" y="465"/>
                  </a:lnTo>
                  <a:lnTo>
                    <a:pt x="117" y="464"/>
                  </a:lnTo>
                  <a:lnTo>
                    <a:pt x="118" y="464"/>
                  </a:lnTo>
                  <a:lnTo>
                    <a:pt x="119" y="463"/>
                  </a:lnTo>
                  <a:lnTo>
                    <a:pt x="117" y="460"/>
                  </a:lnTo>
                  <a:lnTo>
                    <a:pt x="117" y="459"/>
                  </a:lnTo>
                  <a:lnTo>
                    <a:pt x="118" y="459"/>
                  </a:lnTo>
                  <a:lnTo>
                    <a:pt x="122" y="459"/>
                  </a:lnTo>
                  <a:lnTo>
                    <a:pt x="123" y="458"/>
                  </a:lnTo>
                  <a:lnTo>
                    <a:pt x="123" y="457"/>
                  </a:lnTo>
                  <a:lnTo>
                    <a:pt x="120" y="455"/>
                  </a:lnTo>
                  <a:lnTo>
                    <a:pt x="120" y="454"/>
                  </a:lnTo>
                  <a:lnTo>
                    <a:pt x="119" y="454"/>
                  </a:lnTo>
                  <a:lnTo>
                    <a:pt x="119" y="453"/>
                  </a:lnTo>
                  <a:lnTo>
                    <a:pt x="117" y="452"/>
                  </a:lnTo>
                  <a:lnTo>
                    <a:pt x="118" y="452"/>
                  </a:lnTo>
                  <a:lnTo>
                    <a:pt x="118" y="451"/>
                  </a:lnTo>
                  <a:lnTo>
                    <a:pt x="119" y="449"/>
                  </a:lnTo>
                  <a:lnTo>
                    <a:pt x="122" y="451"/>
                  </a:lnTo>
                  <a:lnTo>
                    <a:pt x="123" y="451"/>
                  </a:lnTo>
                  <a:lnTo>
                    <a:pt x="122" y="449"/>
                  </a:lnTo>
                  <a:lnTo>
                    <a:pt x="122" y="447"/>
                  </a:lnTo>
                  <a:lnTo>
                    <a:pt x="122" y="445"/>
                  </a:lnTo>
                  <a:lnTo>
                    <a:pt x="120" y="446"/>
                  </a:lnTo>
                  <a:lnTo>
                    <a:pt x="118" y="446"/>
                  </a:lnTo>
                  <a:lnTo>
                    <a:pt x="117" y="446"/>
                  </a:lnTo>
                  <a:lnTo>
                    <a:pt x="116" y="446"/>
                  </a:lnTo>
                  <a:lnTo>
                    <a:pt x="114" y="445"/>
                  </a:lnTo>
                  <a:lnTo>
                    <a:pt x="113" y="445"/>
                  </a:lnTo>
                  <a:lnTo>
                    <a:pt x="112" y="446"/>
                  </a:lnTo>
                  <a:lnTo>
                    <a:pt x="112" y="447"/>
                  </a:lnTo>
                  <a:lnTo>
                    <a:pt x="110" y="447"/>
                  </a:lnTo>
                  <a:lnTo>
                    <a:pt x="110" y="446"/>
                  </a:lnTo>
                  <a:lnTo>
                    <a:pt x="108" y="447"/>
                  </a:lnTo>
                  <a:lnTo>
                    <a:pt x="107" y="446"/>
                  </a:lnTo>
                  <a:lnTo>
                    <a:pt x="106" y="446"/>
                  </a:lnTo>
                  <a:lnTo>
                    <a:pt x="105" y="446"/>
                  </a:lnTo>
                  <a:lnTo>
                    <a:pt x="102" y="445"/>
                  </a:lnTo>
                  <a:lnTo>
                    <a:pt x="101" y="446"/>
                  </a:lnTo>
                  <a:lnTo>
                    <a:pt x="100" y="446"/>
                  </a:lnTo>
                  <a:lnTo>
                    <a:pt x="97" y="447"/>
                  </a:lnTo>
                  <a:lnTo>
                    <a:pt x="97" y="448"/>
                  </a:lnTo>
                  <a:lnTo>
                    <a:pt x="96" y="448"/>
                  </a:lnTo>
                  <a:lnTo>
                    <a:pt x="89" y="447"/>
                  </a:lnTo>
                  <a:lnTo>
                    <a:pt x="87" y="449"/>
                  </a:lnTo>
                  <a:lnTo>
                    <a:pt x="85" y="449"/>
                  </a:lnTo>
                  <a:lnTo>
                    <a:pt x="84" y="447"/>
                  </a:lnTo>
                  <a:lnTo>
                    <a:pt x="83" y="447"/>
                  </a:lnTo>
                  <a:lnTo>
                    <a:pt x="81" y="446"/>
                  </a:lnTo>
                  <a:lnTo>
                    <a:pt x="79" y="445"/>
                  </a:lnTo>
                  <a:lnTo>
                    <a:pt x="81" y="443"/>
                  </a:lnTo>
                  <a:lnTo>
                    <a:pt x="82" y="443"/>
                  </a:lnTo>
                  <a:lnTo>
                    <a:pt x="82" y="445"/>
                  </a:lnTo>
                  <a:lnTo>
                    <a:pt x="84" y="445"/>
                  </a:lnTo>
                  <a:lnTo>
                    <a:pt x="85" y="443"/>
                  </a:lnTo>
                  <a:lnTo>
                    <a:pt x="84" y="443"/>
                  </a:lnTo>
                  <a:lnTo>
                    <a:pt x="84" y="442"/>
                  </a:lnTo>
                  <a:lnTo>
                    <a:pt x="82" y="441"/>
                  </a:lnTo>
                  <a:lnTo>
                    <a:pt x="82" y="440"/>
                  </a:lnTo>
                  <a:lnTo>
                    <a:pt x="81" y="440"/>
                  </a:lnTo>
                  <a:lnTo>
                    <a:pt x="79" y="440"/>
                  </a:lnTo>
                  <a:lnTo>
                    <a:pt x="81" y="436"/>
                  </a:lnTo>
                  <a:lnTo>
                    <a:pt x="82" y="434"/>
                  </a:lnTo>
                  <a:lnTo>
                    <a:pt x="83" y="434"/>
                  </a:lnTo>
                  <a:lnTo>
                    <a:pt x="84" y="434"/>
                  </a:lnTo>
                  <a:lnTo>
                    <a:pt x="85" y="433"/>
                  </a:lnTo>
                  <a:lnTo>
                    <a:pt x="87" y="434"/>
                  </a:lnTo>
                  <a:lnTo>
                    <a:pt x="89" y="435"/>
                  </a:lnTo>
                  <a:lnTo>
                    <a:pt x="89" y="433"/>
                  </a:lnTo>
                  <a:lnTo>
                    <a:pt x="89" y="431"/>
                  </a:lnTo>
                  <a:lnTo>
                    <a:pt x="90" y="431"/>
                  </a:lnTo>
                  <a:lnTo>
                    <a:pt x="93" y="430"/>
                  </a:lnTo>
                  <a:lnTo>
                    <a:pt x="90" y="428"/>
                  </a:lnTo>
                  <a:lnTo>
                    <a:pt x="89" y="429"/>
                  </a:lnTo>
                  <a:lnTo>
                    <a:pt x="85" y="428"/>
                  </a:lnTo>
                  <a:lnTo>
                    <a:pt x="84" y="428"/>
                  </a:lnTo>
                  <a:lnTo>
                    <a:pt x="83" y="427"/>
                  </a:lnTo>
                  <a:lnTo>
                    <a:pt x="79" y="425"/>
                  </a:lnTo>
                  <a:lnTo>
                    <a:pt x="79" y="424"/>
                  </a:lnTo>
                  <a:lnTo>
                    <a:pt x="78" y="423"/>
                  </a:lnTo>
                  <a:lnTo>
                    <a:pt x="78" y="422"/>
                  </a:lnTo>
                  <a:lnTo>
                    <a:pt x="76" y="419"/>
                  </a:lnTo>
                  <a:lnTo>
                    <a:pt x="77" y="419"/>
                  </a:lnTo>
                  <a:lnTo>
                    <a:pt x="77" y="418"/>
                  </a:lnTo>
                  <a:lnTo>
                    <a:pt x="78" y="418"/>
                  </a:lnTo>
                  <a:lnTo>
                    <a:pt x="78" y="419"/>
                  </a:lnTo>
                  <a:lnTo>
                    <a:pt x="81" y="419"/>
                  </a:lnTo>
                  <a:lnTo>
                    <a:pt x="81" y="421"/>
                  </a:lnTo>
                  <a:lnTo>
                    <a:pt x="82" y="421"/>
                  </a:lnTo>
                  <a:lnTo>
                    <a:pt x="83" y="422"/>
                  </a:lnTo>
                  <a:lnTo>
                    <a:pt x="83" y="419"/>
                  </a:lnTo>
                  <a:lnTo>
                    <a:pt x="83" y="418"/>
                  </a:lnTo>
                  <a:lnTo>
                    <a:pt x="85" y="417"/>
                  </a:lnTo>
                  <a:lnTo>
                    <a:pt x="85" y="418"/>
                  </a:lnTo>
                  <a:lnTo>
                    <a:pt x="87" y="419"/>
                  </a:lnTo>
                  <a:lnTo>
                    <a:pt x="88" y="422"/>
                  </a:lnTo>
                  <a:lnTo>
                    <a:pt x="89" y="422"/>
                  </a:lnTo>
                  <a:lnTo>
                    <a:pt x="90" y="423"/>
                  </a:lnTo>
                  <a:lnTo>
                    <a:pt x="90" y="424"/>
                  </a:lnTo>
                  <a:lnTo>
                    <a:pt x="93" y="424"/>
                  </a:lnTo>
                  <a:lnTo>
                    <a:pt x="97" y="424"/>
                  </a:lnTo>
                  <a:lnTo>
                    <a:pt x="96" y="422"/>
                  </a:lnTo>
                  <a:lnTo>
                    <a:pt x="95" y="421"/>
                  </a:lnTo>
                  <a:lnTo>
                    <a:pt x="94" y="419"/>
                  </a:lnTo>
                  <a:lnTo>
                    <a:pt x="95" y="418"/>
                  </a:lnTo>
                  <a:lnTo>
                    <a:pt x="95" y="417"/>
                  </a:lnTo>
                  <a:lnTo>
                    <a:pt x="96" y="418"/>
                  </a:lnTo>
                  <a:lnTo>
                    <a:pt x="97" y="418"/>
                  </a:lnTo>
                  <a:lnTo>
                    <a:pt x="99" y="418"/>
                  </a:lnTo>
                  <a:lnTo>
                    <a:pt x="99" y="421"/>
                  </a:lnTo>
                  <a:lnTo>
                    <a:pt x="100" y="421"/>
                  </a:lnTo>
                  <a:lnTo>
                    <a:pt x="100" y="419"/>
                  </a:lnTo>
                  <a:lnTo>
                    <a:pt x="100" y="418"/>
                  </a:lnTo>
                  <a:lnTo>
                    <a:pt x="99" y="417"/>
                  </a:lnTo>
                  <a:lnTo>
                    <a:pt x="100" y="416"/>
                  </a:lnTo>
                  <a:lnTo>
                    <a:pt x="99" y="416"/>
                  </a:lnTo>
                  <a:lnTo>
                    <a:pt x="97" y="413"/>
                  </a:lnTo>
                  <a:lnTo>
                    <a:pt x="100" y="413"/>
                  </a:lnTo>
                  <a:lnTo>
                    <a:pt x="101" y="413"/>
                  </a:lnTo>
                  <a:lnTo>
                    <a:pt x="104" y="415"/>
                  </a:lnTo>
                  <a:lnTo>
                    <a:pt x="104" y="416"/>
                  </a:lnTo>
                  <a:lnTo>
                    <a:pt x="106" y="416"/>
                  </a:lnTo>
                  <a:lnTo>
                    <a:pt x="106" y="415"/>
                  </a:lnTo>
                  <a:lnTo>
                    <a:pt x="106" y="413"/>
                  </a:lnTo>
                  <a:lnTo>
                    <a:pt x="107" y="412"/>
                  </a:lnTo>
                  <a:lnTo>
                    <a:pt x="108" y="413"/>
                  </a:lnTo>
                  <a:lnTo>
                    <a:pt x="110" y="413"/>
                  </a:lnTo>
                  <a:lnTo>
                    <a:pt x="110" y="415"/>
                  </a:lnTo>
                  <a:lnTo>
                    <a:pt x="111" y="413"/>
                  </a:lnTo>
                  <a:lnTo>
                    <a:pt x="111" y="412"/>
                  </a:lnTo>
                  <a:lnTo>
                    <a:pt x="112" y="411"/>
                  </a:lnTo>
                  <a:lnTo>
                    <a:pt x="114" y="411"/>
                  </a:lnTo>
                  <a:lnTo>
                    <a:pt x="113" y="410"/>
                  </a:lnTo>
                  <a:lnTo>
                    <a:pt x="113" y="409"/>
                  </a:lnTo>
                  <a:lnTo>
                    <a:pt x="112" y="409"/>
                  </a:lnTo>
                  <a:lnTo>
                    <a:pt x="111" y="407"/>
                  </a:lnTo>
                  <a:lnTo>
                    <a:pt x="112" y="405"/>
                  </a:lnTo>
                  <a:lnTo>
                    <a:pt x="113" y="405"/>
                  </a:lnTo>
                  <a:lnTo>
                    <a:pt x="113" y="404"/>
                  </a:lnTo>
                  <a:lnTo>
                    <a:pt x="113" y="405"/>
                  </a:lnTo>
                  <a:lnTo>
                    <a:pt x="114" y="406"/>
                  </a:lnTo>
                  <a:lnTo>
                    <a:pt x="116" y="406"/>
                  </a:lnTo>
                  <a:lnTo>
                    <a:pt x="117" y="407"/>
                  </a:lnTo>
                  <a:lnTo>
                    <a:pt x="118" y="407"/>
                  </a:lnTo>
                  <a:lnTo>
                    <a:pt x="118" y="405"/>
                  </a:lnTo>
                  <a:lnTo>
                    <a:pt x="117" y="405"/>
                  </a:lnTo>
                  <a:lnTo>
                    <a:pt x="118" y="405"/>
                  </a:lnTo>
                  <a:lnTo>
                    <a:pt x="119" y="404"/>
                  </a:lnTo>
                  <a:lnTo>
                    <a:pt x="120" y="406"/>
                  </a:lnTo>
                  <a:lnTo>
                    <a:pt x="120" y="405"/>
                  </a:lnTo>
                  <a:lnTo>
                    <a:pt x="120" y="404"/>
                  </a:lnTo>
                  <a:lnTo>
                    <a:pt x="120" y="403"/>
                  </a:lnTo>
                  <a:lnTo>
                    <a:pt x="122" y="403"/>
                  </a:lnTo>
                  <a:lnTo>
                    <a:pt x="123" y="404"/>
                  </a:lnTo>
                  <a:lnTo>
                    <a:pt x="124" y="404"/>
                  </a:lnTo>
                  <a:lnTo>
                    <a:pt x="122" y="403"/>
                  </a:lnTo>
                  <a:lnTo>
                    <a:pt x="122" y="400"/>
                  </a:lnTo>
                  <a:lnTo>
                    <a:pt x="123" y="399"/>
                  </a:lnTo>
                  <a:lnTo>
                    <a:pt x="124" y="400"/>
                  </a:lnTo>
                  <a:lnTo>
                    <a:pt x="125" y="399"/>
                  </a:lnTo>
                  <a:lnTo>
                    <a:pt x="126" y="399"/>
                  </a:lnTo>
                  <a:lnTo>
                    <a:pt x="128" y="398"/>
                  </a:lnTo>
                  <a:lnTo>
                    <a:pt x="129" y="398"/>
                  </a:lnTo>
                  <a:lnTo>
                    <a:pt x="130" y="398"/>
                  </a:lnTo>
                  <a:lnTo>
                    <a:pt x="131" y="398"/>
                  </a:lnTo>
                  <a:lnTo>
                    <a:pt x="135" y="399"/>
                  </a:lnTo>
                  <a:lnTo>
                    <a:pt x="135" y="400"/>
                  </a:lnTo>
                  <a:lnTo>
                    <a:pt x="137" y="400"/>
                  </a:lnTo>
                  <a:lnTo>
                    <a:pt x="140" y="400"/>
                  </a:lnTo>
                  <a:lnTo>
                    <a:pt x="141" y="400"/>
                  </a:lnTo>
                  <a:lnTo>
                    <a:pt x="142" y="399"/>
                  </a:lnTo>
                  <a:lnTo>
                    <a:pt x="141" y="398"/>
                  </a:lnTo>
                  <a:lnTo>
                    <a:pt x="141" y="397"/>
                  </a:lnTo>
                  <a:lnTo>
                    <a:pt x="142" y="397"/>
                  </a:lnTo>
                  <a:lnTo>
                    <a:pt x="146" y="398"/>
                  </a:lnTo>
                  <a:lnTo>
                    <a:pt x="147" y="397"/>
                  </a:lnTo>
                  <a:lnTo>
                    <a:pt x="148" y="394"/>
                  </a:lnTo>
                  <a:lnTo>
                    <a:pt x="148" y="393"/>
                  </a:lnTo>
                  <a:lnTo>
                    <a:pt x="149" y="393"/>
                  </a:lnTo>
                  <a:lnTo>
                    <a:pt x="150" y="391"/>
                  </a:lnTo>
                  <a:lnTo>
                    <a:pt x="154" y="389"/>
                  </a:lnTo>
                  <a:lnTo>
                    <a:pt x="154" y="388"/>
                  </a:lnTo>
                  <a:lnTo>
                    <a:pt x="155" y="387"/>
                  </a:lnTo>
                  <a:lnTo>
                    <a:pt x="155" y="385"/>
                  </a:lnTo>
                  <a:lnTo>
                    <a:pt x="156" y="386"/>
                  </a:lnTo>
                  <a:lnTo>
                    <a:pt x="158" y="386"/>
                  </a:lnTo>
                  <a:lnTo>
                    <a:pt x="159" y="386"/>
                  </a:lnTo>
                  <a:lnTo>
                    <a:pt x="160" y="385"/>
                  </a:lnTo>
                  <a:lnTo>
                    <a:pt x="161" y="385"/>
                  </a:lnTo>
                  <a:lnTo>
                    <a:pt x="163" y="385"/>
                  </a:lnTo>
                  <a:lnTo>
                    <a:pt x="164" y="385"/>
                  </a:lnTo>
                  <a:lnTo>
                    <a:pt x="165" y="385"/>
                  </a:lnTo>
                  <a:lnTo>
                    <a:pt x="166" y="385"/>
                  </a:lnTo>
                  <a:lnTo>
                    <a:pt x="167" y="385"/>
                  </a:lnTo>
                  <a:lnTo>
                    <a:pt x="169" y="385"/>
                  </a:lnTo>
                  <a:lnTo>
                    <a:pt x="169" y="383"/>
                  </a:lnTo>
                  <a:lnTo>
                    <a:pt x="169" y="382"/>
                  </a:lnTo>
                  <a:lnTo>
                    <a:pt x="170" y="382"/>
                  </a:lnTo>
                  <a:lnTo>
                    <a:pt x="170" y="383"/>
                  </a:lnTo>
                  <a:lnTo>
                    <a:pt x="170" y="385"/>
                  </a:lnTo>
                  <a:lnTo>
                    <a:pt x="172" y="383"/>
                  </a:lnTo>
                  <a:lnTo>
                    <a:pt x="171" y="382"/>
                  </a:lnTo>
                  <a:lnTo>
                    <a:pt x="172" y="382"/>
                  </a:lnTo>
                  <a:lnTo>
                    <a:pt x="173" y="381"/>
                  </a:lnTo>
                  <a:lnTo>
                    <a:pt x="175" y="380"/>
                  </a:lnTo>
                  <a:lnTo>
                    <a:pt x="175" y="381"/>
                  </a:lnTo>
                  <a:lnTo>
                    <a:pt x="177" y="381"/>
                  </a:lnTo>
                  <a:lnTo>
                    <a:pt x="177" y="380"/>
                  </a:lnTo>
                  <a:lnTo>
                    <a:pt x="176" y="380"/>
                  </a:lnTo>
                  <a:lnTo>
                    <a:pt x="177" y="380"/>
                  </a:lnTo>
                  <a:lnTo>
                    <a:pt x="177" y="379"/>
                  </a:lnTo>
                  <a:lnTo>
                    <a:pt x="178" y="379"/>
                  </a:lnTo>
                  <a:lnTo>
                    <a:pt x="179" y="379"/>
                  </a:lnTo>
                  <a:lnTo>
                    <a:pt x="179" y="381"/>
                  </a:lnTo>
                  <a:lnTo>
                    <a:pt x="181" y="381"/>
                  </a:lnTo>
                  <a:lnTo>
                    <a:pt x="181" y="380"/>
                  </a:lnTo>
                  <a:lnTo>
                    <a:pt x="183" y="381"/>
                  </a:lnTo>
                  <a:lnTo>
                    <a:pt x="184" y="381"/>
                  </a:lnTo>
                  <a:lnTo>
                    <a:pt x="184" y="380"/>
                  </a:lnTo>
                  <a:lnTo>
                    <a:pt x="183" y="380"/>
                  </a:lnTo>
                  <a:lnTo>
                    <a:pt x="182" y="380"/>
                  </a:lnTo>
                  <a:lnTo>
                    <a:pt x="182" y="379"/>
                  </a:lnTo>
                  <a:lnTo>
                    <a:pt x="183" y="379"/>
                  </a:lnTo>
                  <a:lnTo>
                    <a:pt x="183" y="377"/>
                  </a:lnTo>
                  <a:lnTo>
                    <a:pt x="184" y="377"/>
                  </a:lnTo>
                  <a:lnTo>
                    <a:pt x="184" y="376"/>
                  </a:lnTo>
                  <a:lnTo>
                    <a:pt x="185" y="377"/>
                  </a:lnTo>
                  <a:lnTo>
                    <a:pt x="185" y="376"/>
                  </a:lnTo>
                  <a:lnTo>
                    <a:pt x="184" y="376"/>
                  </a:lnTo>
                  <a:lnTo>
                    <a:pt x="187" y="374"/>
                  </a:lnTo>
                  <a:lnTo>
                    <a:pt x="185" y="374"/>
                  </a:lnTo>
                  <a:lnTo>
                    <a:pt x="185" y="373"/>
                  </a:lnTo>
                  <a:lnTo>
                    <a:pt x="184" y="374"/>
                  </a:lnTo>
                  <a:lnTo>
                    <a:pt x="184" y="375"/>
                  </a:lnTo>
                  <a:lnTo>
                    <a:pt x="183" y="375"/>
                  </a:lnTo>
                  <a:lnTo>
                    <a:pt x="183" y="376"/>
                  </a:lnTo>
                  <a:lnTo>
                    <a:pt x="182" y="376"/>
                  </a:lnTo>
                  <a:lnTo>
                    <a:pt x="179" y="376"/>
                  </a:lnTo>
                  <a:lnTo>
                    <a:pt x="179" y="374"/>
                  </a:lnTo>
                  <a:lnTo>
                    <a:pt x="179" y="373"/>
                  </a:lnTo>
                  <a:lnTo>
                    <a:pt x="177" y="371"/>
                  </a:lnTo>
                  <a:lnTo>
                    <a:pt x="176" y="371"/>
                  </a:lnTo>
                  <a:lnTo>
                    <a:pt x="176" y="370"/>
                  </a:lnTo>
                  <a:lnTo>
                    <a:pt x="176" y="373"/>
                  </a:lnTo>
                  <a:lnTo>
                    <a:pt x="175" y="374"/>
                  </a:lnTo>
                  <a:lnTo>
                    <a:pt x="172" y="374"/>
                  </a:lnTo>
                  <a:lnTo>
                    <a:pt x="171" y="374"/>
                  </a:lnTo>
                  <a:lnTo>
                    <a:pt x="169" y="374"/>
                  </a:lnTo>
                  <a:lnTo>
                    <a:pt x="169" y="376"/>
                  </a:lnTo>
                  <a:lnTo>
                    <a:pt x="166" y="376"/>
                  </a:lnTo>
                  <a:lnTo>
                    <a:pt x="165" y="377"/>
                  </a:lnTo>
                  <a:lnTo>
                    <a:pt x="164" y="377"/>
                  </a:lnTo>
                  <a:lnTo>
                    <a:pt x="163" y="377"/>
                  </a:lnTo>
                  <a:lnTo>
                    <a:pt x="163" y="376"/>
                  </a:lnTo>
                  <a:lnTo>
                    <a:pt x="161" y="375"/>
                  </a:lnTo>
                  <a:lnTo>
                    <a:pt x="163" y="375"/>
                  </a:lnTo>
                  <a:lnTo>
                    <a:pt x="163" y="374"/>
                  </a:lnTo>
                  <a:lnTo>
                    <a:pt x="160" y="374"/>
                  </a:lnTo>
                  <a:lnTo>
                    <a:pt x="159" y="375"/>
                  </a:lnTo>
                  <a:lnTo>
                    <a:pt x="158" y="376"/>
                  </a:lnTo>
                  <a:lnTo>
                    <a:pt x="158" y="377"/>
                  </a:lnTo>
                  <a:lnTo>
                    <a:pt x="158" y="376"/>
                  </a:lnTo>
                  <a:lnTo>
                    <a:pt x="159" y="376"/>
                  </a:lnTo>
                  <a:lnTo>
                    <a:pt x="158" y="377"/>
                  </a:lnTo>
                  <a:lnTo>
                    <a:pt x="155" y="379"/>
                  </a:lnTo>
                  <a:lnTo>
                    <a:pt x="154" y="379"/>
                  </a:lnTo>
                  <a:lnTo>
                    <a:pt x="154" y="380"/>
                  </a:lnTo>
                  <a:lnTo>
                    <a:pt x="153" y="380"/>
                  </a:lnTo>
                  <a:lnTo>
                    <a:pt x="153" y="381"/>
                  </a:lnTo>
                  <a:lnTo>
                    <a:pt x="154" y="382"/>
                  </a:lnTo>
                  <a:lnTo>
                    <a:pt x="154" y="383"/>
                  </a:lnTo>
                  <a:lnTo>
                    <a:pt x="152" y="383"/>
                  </a:lnTo>
                  <a:lnTo>
                    <a:pt x="153" y="382"/>
                  </a:lnTo>
                  <a:lnTo>
                    <a:pt x="150" y="383"/>
                  </a:lnTo>
                  <a:lnTo>
                    <a:pt x="152" y="381"/>
                  </a:lnTo>
                  <a:lnTo>
                    <a:pt x="150" y="381"/>
                  </a:lnTo>
                  <a:lnTo>
                    <a:pt x="150" y="383"/>
                  </a:lnTo>
                  <a:lnTo>
                    <a:pt x="152" y="385"/>
                  </a:lnTo>
                  <a:lnTo>
                    <a:pt x="150" y="386"/>
                  </a:lnTo>
                  <a:lnTo>
                    <a:pt x="149" y="386"/>
                  </a:lnTo>
                  <a:lnTo>
                    <a:pt x="148" y="387"/>
                  </a:lnTo>
                  <a:lnTo>
                    <a:pt x="147" y="387"/>
                  </a:lnTo>
                  <a:lnTo>
                    <a:pt x="146" y="385"/>
                  </a:lnTo>
                  <a:lnTo>
                    <a:pt x="147" y="383"/>
                  </a:lnTo>
                  <a:lnTo>
                    <a:pt x="144" y="382"/>
                  </a:lnTo>
                  <a:lnTo>
                    <a:pt x="146" y="381"/>
                  </a:lnTo>
                  <a:lnTo>
                    <a:pt x="146" y="380"/>
                  </a:lnTo>
                  <a:lnTo>
                    <a:pt x="147" y="379"/>
                  </a:lnTo>
                  <a:lnTo>
                    <a:pt x="146" y="377"/>
                  </a:lnTo>
                  <a:lnTo>
                    <a:pt x="146" y="380"/>
                  </a:lnTo>
                  <a:lnTo>
                    <a:pt x="144" y="380"/>
                  </a:lnTo>
                  <a:lnTo>
                    <a:pt x="143" y="380"/>
                  </a:lnTo>
                  <a:lnTo>
                    <a:pt x="143" y="382"/>
                  </a:lnTo>
                  <a:lnTo>
                    <a:pt x="142" y="383"/>
                  </a:lnTo>
                  <a:lnTo>
                    <a:pt x="141" y="383"/>
                  </a:lnTo>
                  <a:lnTo>
                    <a:pt x="141" y="382"/>
                  </a:lnTo>
                  <a:lnTo>
                    <a:pt x="141" y="383"/>
                  </a:lnTo>
                  <a:lnTo>
                    <a:pt x="138" y="382"/>
                  </a:lnTo>
                  <a:lnTo>
                    <a:pt x="137" y="383"/>
                  </a:lnTo>
                  <a:lnTo>
                    <a:pt x="137" y="382"/>
                  </a:lnTo>
                  <a:lnTo>
                    <a:pt x="136" y="383"/>
                  </a:lnTo>
                  <a:lnTo>
                    <a:pt x="135" y="383"/>
                  </a:lnTo>
                  <a:lnTo>
                    <a:pt x="135" y="382"/>
                  </a:lnTo>
                  <a:lnTo>
                    <a:pt x="134" y="382"/>
                  </a:lnTo>
                  <a:lnTo>
                    <a:pt x="132" y="381"/>
                  </a:lnTo>
                  <a:lnTo>
                    <a:pt x="134" y="380"/>
                  </a:lnTo>
                  <a:lnTo>
                    <a:pt x="134" y="379"/>
                  </a:lnTo>
                  <a:lnTo>
                    <a:pt x="135" y="379"/>
                  </a:lnTo>
                  <a:lnTo>
                    <a:pt x="136" y="379"/>
                  </a:lnTo>
                  <a:lnTo>
                    <a:pt x="136" y="377"/>
                  </a:lnTo>
                  <a:lnTo>
                    <a:pt x="136" y="376"/>
                  </a:lnTo>
                  <a:lnTo>
                    <a:pt x="136" y="375"/>
                  </a:lnTo>
                  <a:lnTo>
                    <a:pt x="137" y="374"/>
                  </a:lnTo>
                  <a:lnTo>
                    <a:pt x="138" y="373"/>
                  </a:lnTo>
                  <a:lnTo>
                    <a:pt x="138" y="374"/>
                  </a:lnTo>
                  <a:lnTo>
                    <a:pt x="140" y="373"/>
                  </a:lnTo>
                  <a:lnTo>
                    <a:pt x="141" y="373"/>
                  </a:lnTo>
                  <a:lnTo>
                    <a:pt x="142" y="371"/>
                  </a:lnTo>
                  <a:lnTo>
                    <a:pt x="142" y="370"/>
                  </a:lnTo>
                  <a:lnTo>
                    <a:pt x="142" y="369"/>
                  </a:lnTo>
                  <a:lnTo>
                    <a:pt x="143" y="369"/>
                  </a:lnTo>
                  <a:lnTo>
                    <a:pt x="144" y="369"/>
                  </a:lnTo>
                  <a:lnTo>
                    <a:pt x="146" y="369"/>
                  </a:lnTo>
                  <a:lnTo>
                    <a:pt x="144" y="368"/>
                  </a:lnTo>
                  <a:lnTo>
                    <a:pt x="144" y="366"/>
                  </a:lnTo>
                  <a:lnTo>
                    <a:pt x="143" y="365"/>
                  </a:lnTo>
                  <a:lnTo>
                    <a:pt x="142" y="365"/>
                  </a:lnTo>
                  <a:lnTo>
                    <a:pt x="142" y="366"/>
                  </a:lnTo>
                  <a:lnTo>
                    <a:pt x="141" y="368"/>
                  </a:lnTo>
                  <a:lnTo>
                    <a:pt x="140" y="369"/>
                  </a:lnTo>
                  <a:lnTo>
                    <a:pt x="138" y="369"/>
                  </a:lnTo>
                  <a:lnTo>
                    <a:pt x="136" y="369"/>
                  </a:lnTo>
                  <a:lnTo>
                    <a:pt x="136" y="368"/>
                  </a:lnTo>
                  <a:lnTo>
                    <a:pt x="135" y="368"/>
                  </a:lnTo>
                  <a:lnTo>
                    <a:pt x="134" y="368"/>
                  </a:lnTo>
                  <a:lnTo>
                    <a:pt x="132" y="369"/>
                  </a:lnTo>
                  <a:lnTo>
                    <a:pt x="131" y="369"/>
                  </a:lnTo>
                  <a:lnTo>
                    <a:pt x="130" y="369"/>
                  </a:lnTo>
                  <a:lnTo>
                    <a:pt x="129" y="370"/>
                  </a:lnTo>
                  <a:lnTo>
                    <a:pt x="128" y="370"/>
                  </a:lnTo>
                  <a:lnTo>
                    <a:pt x="126" y="371"/>
                  </a:lnTo>
                  <a:lnTo>
                    <a:pt x="125" y="370"/>
                  </a:lnTo>
                  <a:lnTo>
                    <a:pt x="124" y="370"/>
                  </a:lnTo>
                  <a:lnTo>
                    <a:pt x="125" y="369"/>
                  </a:lnTo>
                  <a:lnTo>
                    <a:pt x="124" y="368"/>
                  </a:lnTo>
                  <a:lnTo>
                    <a:pt x="126" y="368"/>
                  </a:lnTo>
                  <a:lnTo>
                    <a:pt x="126" y="366"/>
                  </a:lnTo>
                  <a:lnTo>
                    <a:pt x="128" y="365"/>
                  </a:lnTo>
                  <a:lnTo>
                    <a:pt x="128" y="366"/>
                  </a:lnTo>
                  <a:lnTo>
                    <a:pt x="129" y="366"/>
                  </a:lnTo>
                  <a:lnTo>
                    <a:pt x="129" y="365"/>
                  </a:lnTo>
                  <a:lnTo>
                    <a:pt x="128" y="364"/>
                  </a:lnTo>
                  <a:lnTo>
                    <a:pt x="126" y="363"/>
                  </a:lnTo>
                  <a:lnTo>
                    <a:pt x="126" y="362"/>
                  </a:lnTo>
                  <a:lnTo>
                    <a:pt x="126" y="360"/>
                  </a:lnTo>
                  <a:lnTo>
                    <a:pt x="126" y="359"/>
                  </a:lnTo>
                  <a:lnTo>
                    <a:pt x="128" y="358"/>
                  </a:lnTo>
                  <a:lnTo>
                    <a:pt x="129" y="358"/>
                  </a:lnTo>
                  <a:lnTo>
                    <a:pt x="130" y="358"/>
                  </a:lnTo>
                  <a:lnTo>
                    <a:pt x="132" y="358"/>
                  </a:lnTo>
                  <a:lnTo>
                    <a:pt x="136" y="357"/>
                  </a:lnTo>
                  <a:lnTo>
                    <a:pt x="136" y="354"/>
                  </a:lnTo>
                  <a:lnTo>
                    <a:pt x="136" y="352"/>
                  </a:lnTo>
                  <a:lnTo>
                    <a:pt x="137" y="351"/>
                  </a:lnTo>
                  <a:lnTo>
                    <a:pt x="138" y="351"/>
                  </a:lnTo>
                  <a:lnTo>
                    <a:pt x="140" y="351"/>
                  </a:lnTo>
                  <a:lnTo>
                    <a:pt x="141" y="350"/>
                  </a:lnTo>
                  <a:lnTo>
                    <a:pt x="142" y="348"/>
                  </a:lnTo>
                  <a:lnTo>
                    <a:pt x="142" y="347"/>
                  </a:lnTo>
                  <a:lnTo>
                    <a:pt x="142" y="345"/>
                  </a:lnTo>
                  <a:lnTo>
                    <a:pt x="144" y="345"/>
                  </a:lnTo>
                  <a:lnTo>
                    <a:pt x="144" y="346"/>
                  </a:lnTo>
                  <a:lnTo>
                    <a:pt x="144" y="345"/>
                  </a:lnTo>
                  <a:lnTo>
                    <a:pt x="146" y="345"/>
                  </a:lnTo>
                  <a:lnTo>
                    <a:pt x="147" y="345"/>
                  </a:lnTo>
                  <a:lnTo>
                    <a:pt x="148" y="341"/>
                  </a:lnTo>
                  <a:lnTo>
                    <a:pt x="148" y="340"/>
                  </a:lnTo>
                  <a:lnTo>
                    <a:pt x="149" y="339"/>
                  </a:lnTo>
                  <a:lnTo>
                    <a:pt x="150" y="340"/>
                  </a:lnTo>
                  <a:lnTo>
                    <a:pt x="150" y="339"/>
                  </a:lnTo>
                  <a:lnTo>
                    <a:pt x="152" y="338"/>
                  </a:lnTo>
                  <a:lnTo>
                    <a:pt x="153" y="339"/>
                  </a:lnTo>
                  <a:lnTo>
                    <a:pt x="153" y="340"/>
                  </a:lnTo>
                  <a:lnTo>
                    <a:pt x="154" y="339"/>
                  </a:lnTo>
                  <a:lnTo>
                    <a:pt x="155" y="338"/>
                  </a:lnTo>
                  <a:lnTo>
                    <a:pt x="156" y="336"/>
                  </a:lnTo>
                  <a:lnTo>
                    <a:pt x="156" y="338"/>
                  </a:lnTo>
                  <a:lnTo>
                    <a:pt x="158" y="338"/>
                  </a:lnTo>
                  <a:lnTo>
                    <a:pt x="160" y="336"/>
                  </a:lnTo>
                  <a:lnTo>
                    <a:pt x="160" y="339"/>
                  </a:lnTo>
                  <a:lnTo>
                    <a:pt x="161" y="336"/>
                  </a:lnTo>
                  <a:lnTo>
                    <a:pt x="161" y="335"/>
                  </a:lnTo>
                  <a:lnTo>
                    <a:pt x="163" y="334"/>
                  </a:lnTo>
                  <a:lnTo>
                    <a:pt x="165" y="334"/>
                  </a:lnTo>
                  <a:lnTo>
                    <a:pt x="166" y="334"/>
                  </a:lnTo>
                  <a:lnTo>
                    <a:pt x="165" y="333"/>
                  </a:lnTo>
                  <a:lnTo>
                    <a:pt x="166" y="332"/>
                  </a:lnTo>
                  <a:lnTo>
                    <a:pt x="167" y="330"/>
                  </a:lnTo>
                  <a:lnTo>
                    <a:pt x="167" y="332"/>
                  </a:lnTo>
                  <a:lnTo>
                    <a:pt x="167" y="329"/>
                  </a:lnTo>
                  <a:lnTo>
                    <a:pt x="170" y="329"/>
                  </a:lnTo>
                  <a:lnTo>
                    <a:pt x="169" y="328"/>
                  </a:lnTo>
                  <a:lnTo>
                    <a:pt x="169" y="327"/>
                  </a:lnTo>
                  <a:lnTo>
                    <a:pt x="170" y="328"/>
                  </a:lnTo>
                  <a:lnTo>
                    <a:pt x="170" y="327"/>
                  </a:lnTo>
                  <a:lnTo>
                    <a:pt x="172" y="327"/>
                  </a:lnTo>
                  <a:lnTo>
                    <a:pt x="170" y="324"/>
                  </a:lnTo>
                  <a:lnTo>
                    <a:pt x="171" y="323"/>
                  </a:lnTo>
                  <a:lnTo>
                    <a:pt x="171" y="324"/>
                  </a:lnTo>
                  <a:lnTo>
                    <a:pt x="172" y="323"/>
                  </a:lnTo>
                  <a:lnTo>
                    <a:pt x="170" y="323"/>
                  </a:lnTo>
                  <a:lnTo>
                    <a:pt x="169" y="323"/>
                  </a:lnTo>
                  <a:lnTo>
                    <a:pt x="167" y="324"/>
                  </a:lnTo>
                  <a:lnTo>
                    <a:pt x="166" y="324"/>
                  </a:lnTo>
                  <a:lnTo>
                    <a:pt x="165" y="324"/>
                  </a:lnTo>
                  <a:lnTo>
                    <a:pt x="164" y="324"/>
                  </a:lnTo>
                  <a:lnTo>
                    <a:pt x="161" y="326"/>
                  </a:lnTo>
                  <a:lnTo>
                    <a:pt x="160" y="326"/>
                  </a:lnTo>
                  <a:lnTo>
                    <a:pt x="158" y="326"/>
                  </a:lnTo>
                  <a:lnTo>
                    <a:pt x="156" y="327"/>
                  </a:lnTo>
                  <a:lnTo>
                    <a:pt x="154" y="328"/>
                  </a:lnTo>
                  <a:lnTo>
                    <a:pt x="155" y="328"/>
                  </a:lnTo>
                  <a:lnTo>
                    <a:pt x="154" y="328"/>
                  </a:lnTo>
                  <a:lnTo>
                    <a:pt x="153" y="328"/>
                  </a:lnTo>
                  <a:lnTo>
                    <a:pt x="150" y="328"/>
                  </a:lnTo>
                  <a:lnTo>
                    <a:pt x="149" y="329"/>
                  </a:lnTo>
                  <a:lnTo>
                    <a:pt x="148" y="329"/>
                  </a:lnTo>
                  <a:lnTo>
                    <a:pt x="147" y="329"/>
                  </a:lnTo>
                  <a:lnTo>
                    <a:pt x="147" y="330"/>
                  </a:lnTo>
                  <a:lnTo>
                    <a:pt x="146" y="330"/>
                  </a:lnTo>
                  <a:lnTo>
                    <a:pt x="143" y="332"/>
                  </a:lnTo>
                  <a:lnTo>
                    <a:pt x="141" y="333"/>
                  </a:lnTo>
                  <a:lnTo>
                    <a:pt x="140" y="333"/>
                  </a:lnTo>
                  <a:lnTo>
                    <a:pt x="138" y="334"/>
                  </a:lnTo>
                  <a:lnTo>
                    <a:pt x="135" y="335"/>
                  </a:lnTo>
                  <a:lnTo>
                    <a:pt x="134" y="336"/>
                  </a:lnTo>
                  <a:lnTo>
                    <a:pt x="132" y="338"/>
                  </a:lnTo>
                  <a:lnTo>
                    <a:pt x="130" y="340"/>
                  </a:lnTo>
                  <a:lnTo>
                    <a:pt x="130" y="341"/>
                  </a:lnTo>
                  <a:lnTo>
                    <a:pt x="130" y="340"/>
                  </a:lnTo>
                  <a:lnTo>
                    <a:pt x="131" y="340"/>
                  </a:lnTo>
                  <a:lnTo>
                    <a:pt x="132" y="340"/>
                  </a:lnTo>
                  <a:lnTo>
                    <a:pt x="134" y="341"/>
                  </a:lnTo>
                  <a:lnTo>
                    <a:pt x="132" y="341"/>
                  </a:lnTo>
                  <a:lnTo>
                    <a:pt x="134" y="342"/>
                  </a:lnTo>
                  <a:lnTo>
                    <a:pt x="135" y="342"/>
                  </a:lnTo>
                  <a:lnTo>
                    <a:pt x="134" y="342"/>
                  </a:lnTo>
                  <a:lnTo>
                    <a:pt x="135" y="344"/>
                  </a:lnTo>
                  <a:lnTo>
                    <a:pt x="135" y="345"/>
                  </a:lnTo>
                  <a:lnTo>
                    <a:pt x="134" y="345"/>
                  </a:lnTo>
                  <a:lnTo>
                    <a:pt x="132" y="347"/>
                  </a:lnTo>
                  <a:lnTo>
                    <a:pt x="135" y="347"/>
                  </a:lnTo>
                  <a:lnTo>
                    <a:pt x="136" y="348"/>
                  </a:lnTo>
                  <a:lnTo>
                    <a:pt x="135" y="348"/>
                  </a:lnTo>
                  <a:lnTo>
                    <a:pt x="135" y="350"/>
                  </a:lnTo>
                  <a:lnTo>
                    <a:pt x="135" y="351"/>
                  </a:lnTo>
                  <a:lnTo>
                    <a:pt x="135" y="352"/>
                  </a:lnTo>
                  <a:lnTo>
                    <a:pt x="135" y="353"/>
                  </a:lnTo>
                  <a:lnTo>
                    <a:pt x="134" y="353"/>
                  </a:lnTo>
                  <a:lnTo>
                    <a:pt x="132" y="354"/>
                  </a:lnTo>
                  <a:lnTo>
                    <a:pt x="130" y="354"/>
                  </a:lnTo>
                  <a:lnTo>
                    <a:pt x="131" y="353"/>
                  </a:lnTo>
                  <a:lnTo>
                    <a:pt x="128" y="352"/>
                  </a:lnTo>
                  <a:lnTo>
                    <a:pt x="128" y="356"/>
                  </a:lnTo>
                  <a:lnTo>
                    <a:pt x="126" y="358"/>
                  </a:lnTo>
                  <a:lnTo>
                    <a:pt x="126" y="359"/>
                  </a:lnTo>
                  <a:lnTo>
                    <a:pt x="125" y="359"/>
                  </a:lnTo>
                  <a:lnTo>
                    <a:pt x="124" y="360"/>
                  </a:lnTo>
                  <a:lnTo>
                    <a:pt x="125" y="362"/>
                  </a:lnTo>
                  <a:lnTo>
                    <a:pt x="123" y="360"/>
                  </a:lnTo>
                  <a:lnTo>
                    <a:pt x="124" y="362"/>
                  </a:lnTo>
                  <a:lnTo>
                    <a:pt x="124" y="363"/>
                  </a:lnTo>
                  <a:lnTo>
                    <a:pt x="123" y="364"/>
                  </a:lnTo>
                  <a:lnTo>
                    <a:pt x="122" y="364"/>
                  </a:lnTo>
                  <a:lnTo>
                    <a:pt x="120" y="363"/>
                  </a:lnTo>
                  <a:lnTo>
                    <a:pt x="119" y="364"/>
                  </a:lnTo>
                  <a:lnTo>
                    <a:pt x="119" y="365"/>
                  </a:lnTo>
                  <a:lnTo>
                    <a:pt x="118" y="365"/>
                  </a:lnTo>
                  <a:lnTo>
                    <a:pt x="117" y="365"/>
                  </a:lnTo>
                  <a:lnTo>
                    <a:pt x="117" y="366"/>
                  </a:lnTo>
                  <a:lnTo>
                    <a:pt x="114" y="365"/>
                  </a:lnTo>
                  <a:lnTo>
                    <a:pt x="113" y="365"/>
                  </a:lnTo>
                  <a:lnTo>
                    <a:pt x="113" y="364"/>
                  </a:lnTo>
                  <a:lnTo>
                    <a:pt x="113" y="363"/>
                  </a:lnTo>
                  <a:lnTo>
                    <a:pt x="114" y="362"/>
                  </a:lnTo>
                  <a:lnTo>
                    <a:pt x="114" y="360"/>
                  </a:lnTo>
                  <a:lnTo>
                    <a:pt x="116" y="359"/>
                  </a:lnTo>
                  <a:lnTo>
                    <a:pt x="114" y="358"/>
                  </a:lnTo>
                  <a:lnTo>
                    <a:pt x="113" y="357"/>
                  </a:lnTo>
                  <a:lnTo>
                    <a:pt x="111" y="356"/>
                  </a:lnTo>
                  <a:lnTo>
                    <a:pt x="110" y="357"/>
                  </a:lnTo>
                  <a:lnTo>
                    <a:pt x="108" y="358"/>
                  </a:lnTo>
                  <a:lnTo>
                    <a:pt x="106" y="360"/>
                  </a:lnTo>
                  <a:lnTo>
                    <a:pt x="105" y="364"/>
                  </a:lnTo>
                  <a:lnTo>
                    <a:pt x="104" y="365"/>
                  </a:lnTo>
                  <a:lnTo>
                    <a:pt x="102" y="366"/>
                  </a:lnTo>
                  <a:lnTo>
                    <a:pt x="102" y="368"/>
                  </a:lnTo>
                  <a:lnTo>
                    <a:pt x="102" y="370"/>
                  </a:lnTo>
                  <a:lnTo>
                    <a:pt x="101" y="370"/>
                  </a:lnTo>
                  <a:lnTo>
                    <a:pt x="100" y="371"/>
                  </a:lnTo>
                  <a:lnTo>
                    <a:pt x="99" y="371"/>
                  </a:lnTo>
                  <a:lnTo>
                    <a:pt x="99" y="373"/>
                  </a:lnTo>
                  <a:lnTo>
                    <a:pt x="96" y="373"/>
                  </a:lnTo>
                  <a:lnTo>
                    <a:pt x="95" y="373"/>
                  </a:lnTo>
                  <a:lnTo>
                    <a:pt x="95" y="371"/>
                  </a:lnTo>
                  <a:lnTo>
                    <a:pt x="95" y="370"/>
                  </a:lnTo>
                  <a:lnTo>
                    <a:pt x="94" y="370"/>
                  </a:lnTo>
                  <a:lnTo>
                    <a:pt x="93" y="370"/>
                  </a:lnTo>
                  <a:lnTo>
                    <a:pt x="93" y="369"/>
                  </a:lnTo>
                  <a:lnTo>
                    <a:pt x="91" y="369"/>
                  </a:lnTo>
                  <a:lnTo>
                    <a:pt x="91" y="370"/>
                  </a:lnTo>
                  <a:lnTo>
                    <a:pt x="89" y="370"/>
                  </a:lnTo>
                  <a:lnTo>
                    <a:pt x="89" y="371"/>
                  </a:lnTo>
                  <a:lnTo>
                    <a:pt x="88" y="373"/>
                  </a:lnTo>
                  <a:lnTo>
                    <a:pt x="88" y="374"/>
                  </a:lnTo>
                  <a:lnTo>
                    <a:pt x="88" y="375"/>
                  </a:lnTo>
                  <a:lnTo>
                    <a:pt x="87" y="376"/>
                  </a:lnTo>
                  <a:lnTo>
                    <a:pt x="88" y="376"/>
                  </a:lnTo>
                  <a:lnTo>
                    <a:pt x="87" y="376"/>
                  </a:lnTo>
                  <a:lnTo>
                    <a:pt x="89" y="377"/>
                  </a:lnTo>
                  <a:lnTo>
                    <a:pt x="87" y="379"/>
                  </a:lnTo>
                  <a:lnTo>
                    <a:pt x="87" y="377"/>
                  </a:lnTo>
                  <a:lnTo>
                    <a:pt x="85" y="376"/>
                  </a:lnTo>
                  <a:lnTo>
                    <a:pt x="84" y="377"/>
                  </a:lnTo>
                  <a:lnTo>
                    <a:pt x="85" y="380"/>
                  </a:lnTo>
                  <a:lnTo>
                    <a:pt x="84" y="380"/>
                  </a:lnTo>
                  <a:lnTo>
                    <a:pt x="83" y="380"/>
                  </a:lnTo>
                  <a:lnTo>
                    <a:pt x="81" y="380"/>
                  </a:lnTo>
                  <a:lnTo>
                    <a:pt x="79" y="379"/>
                  </a:lnTo>
                  <a:lnTo>
                    <a:pt x="83" y="377"/>
                  </a:lnTo>
                  <a:lnTo>
                    <a:pt x="81" y="377"/>
                  </a:lnTo>
                  <a:lnTo>
                    <a:pt x="79" y="376"/>
                  </a:lnTo>
                  <a:lnTo>
                    <a:pt x="79" y="379"/>
                  </a:lnTo>
                  <a:lnTo>
                    <a:pt x="78" y="379"/>
                  </a:lnTo>
                  <a:lnTo>
                    <a:pt x="76" y="381"/>
                  </a:lnTo>
                  <a:lnTo>
                    <a:pt x="75" y="381"/>
                  </a:lnTo>
                  <a:lnTo>
                    <a:pt x="75" y="382"/>
                  </a:lnTo>
                  <a:lnTo>
                    <a:pt x="75" y="383"/>
                  </a:lnTo>
                  <a:lnTo>
                    <a:pt x="73" y="383"/>
                  </a:lnTo>
                  <a:lnTo>
                    <a:pt x="75" y="385"/>
                  </a:lnTo>
                  <a:lnTo>
                    <a:pt x="76" y="385"/>
                  </a:lnTo>
                  <a:lnTo>
                    <a:pt x="76" y="386"/>
                  </a:lnTo>
                  <a:lnTo>
                    <a:pt x="73" y="387"/>
                  </a:lnTo>
                  <a:lnTo>
                    <a:pt x="73" y="388"/>
                  </a:lnTo>
                  <a:lnTo>
                    <a:pt x="72" y="389"/>
                  </a:lnTo>
                  <a:lnTo>
                    <a:pt x="71" y="391"/>
                  </a:lnTo>
                  <a:lnTo>
                    <a:pt x="70" y="391"/>
                  </a:lnTo>
                  <a:lnTo>
                    <a:pt x="69" y="391"/>
                  </a:lnTo>
                  <a:lnTo>
                    <a:pt x="67" y="389"/>
                  </a:lnTo>
                  <a:lnTo>
                    <a:pt x="66" y="388"/>
                  </a:lnTo>
                  <a:lnTo>
                    <a:pt x="65" y="387"/>
                  </a:lnTo>
                  <a:lnTo>
                    <a:pt x="67" y="387"/>
                  </a:lnTo>
                  <a:lnTo>
                    <a:pt x="64" y="386"/>
                  </a:lnTo>
                  <a:lnTo>
                    <a:pt x="61" y="387"/>
                  </a:lnTo>
                  <a:lnTo>
                    <a:pt x="60" y="388"/>
                  </a:lnTo>
                  <a:lnTo>
                    <a:pt x="59" y="387"/>
                  </a:lnTo>
                  <a:lnTo>
                    <a:pt x="58" y="387"/>
                  </a:lnTo>
                  <a:lnTo>
                    <a:pt x="57" y="387"/>
                  </a:lnTo>
                  <a:lnTo>
                    <a:pt x="54" y="387"/>
                  </a:lnTo>
                  <a:lnTo>
                    <a:pt x="54" y="386"/>
                  </a:lnTo>
                  <a:lnTo>
                    <a:pt x="52" y="385"/>
                  </a:lnTo>
                  <a:lnTo>
                    <a:pt x="53" y="385"/>
                  </a:lnTo>
                  <a:lnTo>
                    <a:pt x="53" y="383"/>
                  </a:lnTo>
                  <a:lnTo>
                    <a:pt x="53" y="382"/>
                  </a:lnTo>
                  <a:lnTo>
                    <a:pt x="52" y="382"/>
                  </a:lnTo>
                  <a:lnTo>
                    <a:pt x="51" y="382"/>
                  </a:lnTo>
                  <a:lnTo>
                    <a:pt x="51" y="381"/>
                  </a:lnTo>
                  <a:lnTo>
                    <a:pt x="47" y="380"/>
                  </a:lnTo>
                  <a:lnTo>
                    <a:pt x="48" y="379"/>
                  </a:lnTo>
                  <a:lnTo>
                    <a:pt x="53" y="379"/>
                  </a:lnTo>
                  <a:lnTo>
                    <a:pt x="52" y="377"/>
                  </a:lnTo>
                  <a:lnTo>
                    <a:pt x="49" y="376"/>
                  </a:lnTo>
                  <a:lnTo>
                    <a:pt x="48" y="374"/>
                  </a:lnTo>
                  <a:lnTo>
                    <a:pt x="47" y="373"/>
                  </a:lnTo>
                  <a:lnTo>
                    <a:pt x="47" y="371"/>
                  </a:lnTo>
                  <a:lnTo>
                    <a:pt x="48" y="370"/>
                  </a:lnTo>
                  <a:lnTo>
                    <a:pt x="49" y="370"/>
                  </a:lnTo>
                  <a:lnTo>
                    <a:pt x="49" y="371"/>
                  </a:lnTo>
                  <a:lnTo>
                    <a:pt x="52" y="370"/>
                  </a:lnTo>
                  <a:lnTo>
                    <a:pt x="52" y="369"/>
                  </a:lnTo>
                  <a:lnTo>
                    <a:pt x="54" y="369"/>
                  </a:lnTo>
                  <a:lnTo>
                    <a:pt x="55" y="369"/>
                  </a:lnTo>
                  <a:lnTo>
                    <a:pt x="57" y="368"/>
                  </a:lnTo>
                  <a:lnTo>
                    <a:pt x="54" y="369"/>
                  </a:lnTo>
                  <a:lnTo>
                    <a:pt x="54" y="368"/>
                  </a:lnTo>
                  <a:lnTo>
                    <a:pt x="53" y="368"/>
                  </a:lnTo>
                  <a:lnTo>
                    <a:pt x="52" y="366"/>
                  </a:lnTo>
                  <a:lnTo>
                    <a:pt x="51" y="364"/>
                  </a:lnTo>
                  <a:lnTo>
                    <a:pt x="49" y="364"/>
                  </a:lnTo>
                  <a:lnTo>
                    <a:pt x="51" y="363"/>
                  </a:lnTo>
                  <a:lnTo>
                    <a:pt x="52" y="363"/>
                  </a:lnTo>
                  <a:lnTo>
                    <a:pt x="53" y="363"/>
                  </a:lnTo>
                  <a:lnTo>
                    <a:pt x="54" y="363"/>
                  </a:lnTo>
                  <a:lnTo>
                    <a:pt x="57" y="363"/>
                  </a:lnTo>
                  <a:lnTo>
                    <a:pt x="55" y="362"/>
                  </a:lnTo>
                  <a:lnTo>
                    <a:pt x="57" y="359"/>
                  </a:lnTo>
                  <a:lnTo>
                    <a:pt x="59" y="359"/>
                  </a:lnTo>
                  <a:lnTo>
                    <a:pt x="60" y="360"/>
                  </a:lnTo>
                  <a:lnTo>
                    <a:pt x="61" y="359"/>
                  </a:lnTo>
                  <a:lnTo>
                    <a:pt x="61" y="357"/>
                  </a:lnTo>
                  <a:lnTo>
                    <a:pt x="61" y="356"/>
                  </a:lnTo>
                  <a:lnTo>
                    <a:pt x="61" y="354"/>
                  </a:lnTo>
                  <a:lnTo>
                    <a:pt x="63" y="354"/>
                  </a:lnTo>
                  <a:lnTo>
                    <a:pt x="65" y="352"/>
                  </a:lnTo>
                  <a:lnTo>
                    <a:pt x="67" y="353"/>
                  </a:lnTo>
                  <a:lnTo>
                    <a:pt x="67" y="351"/>
                  </a:lnTo>
                  <a:lnTo>
                    <a:pt x="65" y="347"/>
                  </a:lnTo>
                  <a:lnTo>
                    <a:pt x="64" y="346"/>
                  </a:lnTo>
                  <a:lnTo>
                    <a:pt x="65" y="345"/>
                  </a:lnTo>
                  <a:lnTo>
                    <a:pt x="66" y="344"/>
                  </a:lnTo>
                  <a:lnTo>
                    <a:pt x="67" y="345"/>
                  </a:lnTo>
                  <a:lnTo>
                    <a:pt x="69" y="345"/>
                  </a:lnTo>
                  <a:lnTo>
                    <a:pt x="70" y="344"/>
                  </a:lnTo>
                  <a:lnTo>
                    <a:pt x="71" y="344"/>
                  </a:lnTo>
                  <a:lnTo>
                    <a:pt x="72" y="342"/>
                  </a:lnTo>
                  <a:lnTo>
                    <a:pt x="73" y="341"/>
                  </a:lnTo>
                  <a:lnTo>
                    <a:pt x="76" y="341"/>
                  </a:lnTo>
                  <a:lnTo>
                    <a:pt x="76" y="340"/>
                  </a:lnTo>
                  <a:lnTo>
                    <a:pt x="77" y="340"/>
                  </a:lnTo>
                  <a:lnTo>
                    <a:pt x="78" y="340"/>
                  </a:lnTo>
                  <a:lnTo>
                    <a:pt x="77" y="339"/>
                  </a:lnTo>
                  <a:lnTo>
                    <a:pt x="76" y="336"/>
                  </a:lnTo>
                  <a:lnTo>
                    <a:pt x="76" y="334"/>
                  </a:lnTo>
                  <a:lnTo>
                    <a:pt x="77" y="335"/>
                  </a:lnTo>
                  <a:lnTo>
                    <a:pt x="77" y="334"/>
                  </a:lnTo>
                  <a:lnTo>
                    <a:pt x="78" y="334"/>
                  </a:lnTo>
                  <a:lnTo>
                    <a:pt x="79" y="334"/>
                  </a:lnTo>
                  <a:lnTo>
                    <a:pt x="81" y="335"/>
                  </a:lnTo>
                  <a:lnTo>
                    <a:pt x="81" y="334"/>
                  </a:lnTo>
                  <a:lnTo>
                    <a:pt x="83" y="333"/>
                  </a:lnTo>
                  <a:lnTo>
                    <a:pt x="85" y="334"/>
                  </a:lnTo>
                  <a:lnTo>
                    <a:pt x="87" y="334"/>
                  </a:lnTo>
                  <a:lnTo>
                    <a:pt x="87" y="336"/>
                  </a:lnTo>
                  <a:lnTo>
                    <a:pt x="87" y="335"/>
                  </a:lnTo>
                  <a:lnTo>
                    <a:pt x="88" y="334"/>
                  </a:lnTo>
                  <a:lnTo>
                    <a:pt x="88" y="333"/>
                  </a:lnTo>
                  <a:lnTo>
                    <a:pt x="89" y="333"/>
                  </a:lnTo>
                  <a:lnTo>
                    <a:pt x="90" y="332"/>
                  </a:lnTo>
                  <a:lnTo>
                    <a:pt x="90" y="330"/>
                  </a:lnTo>
                  <a:lnTo>
                    <a:pt x="89" y="329"/>
                  </a:lnTo>
                  <a:lnTo>
                    <a:pt x="89" y="328"/>
                  </a:lnTo>
                  <a:lnTo>
                    <a:pt x="90" y="328"/>
                  </a:lnTo>
                  <a:lnTo>
                    <a:pt x="90" y="327"/>
                  </a:lnTo>
                  <a:lnTo>
                    <a:pt x="91" y="326"/>
                  </a:lnTo>
                  <a:lnTo>
                    <a:pt x="93" y="324"/>
                  </a:lnTo>
                  <a:lnTo>
                    <a:pt x="93" y="323"/>
                  </a:lnTo>
                  <a:lnTo>
                    <a:pt x="94" y="322"/>
                  </a:lnTo>
                  <a:lnTo>
                    <a:pt x="96" y="321"/>
                  </a:lnTo>
                  <a:lnTo>
                    <a:pt x="96" y="320"/>
                  </a:lnTo>
                  <a:lnTo>
                    <a:pt x="97" y="318"/>
                  </a:lnTo>
                  <a:lnTo>
                    <a:pt x="97" y="317"/>
                  </a:lnTo>
                  <a:lnTo>
                    <a:pt x="99" y="316"/>
                  </a:lnTo>
                  <a:lnTo>
                    <a:pt x="100" y="316"/>
                  </a:lnTo>
                  <a:lnTo>
                    <a:pt x="101" y="315"/>
                  </a:lnTo>
                  <a:lnTo>
                    <a:pt x="99" y="314"/>
                  </a:lnTo>
                  <a:lnTo>
                    <a:pt x="99" y="312"/>
                  </a:lnTo>
                  <a:lnTo>
                    <a:pt x="100" y="312"/>
                  </a:lnTo>
                  <a:lnTo>
                    <a:pt x="99" y="312"/>
                  </a:lnTo>
                  <a:lnTo>
                    <a:pt x="97" y="311"/>
                  </a:lnTo>
                  <a:lnTo>
                    <a:pt x="97" y="310"/>
                  </a:lnTo>
                  <a:lnTo>
                    <a:pt x="99" y="309"/>
                  </a:lnTo>
                  <a:lnTo>
                    <a:pt x="97" y="308"/>
                  </a:lnTo>
                  <a:lnTo>
                    <a:pt x="96" y="308"/>
                  </a:lnTo>
                  <a:lnTo>
                    <a:pt x="96" y="306"/>
                  </a:lnTo>
                  <a:lnTo>
                    <a:pt x="95" y="306"/>
                  </a:lnTo>
                  <a:lnTo>
                    <a:pt x="94" y="306"/>
                  </a:lnTo>
                  <a:lnTo>
                    <a:pt x="90" y="305"/>
                  </a:lnTo>
                  <a:lnTo>
                    <a:pt x="91" y="304"/>
                  </a:lnTo>
                  <a:lnTo>
                    <a:pt x="90" y="302"/>
                  </a:lnTo>
                  <a:lnTo>
                    <a:pt x="89" y="302"/>
                  </a:lnTo>
                  <a:lnTo>
                    <a:pt x="88" y="302"/>
                  </a:lnTo>
                  <a:lnTo>
                    <a:pt x="87" y="302"/>
                  </a:lnTo>
                  <a:lnTo>
                    <a:pt x="84" y="300"/>
                  </a:lnTo>
                  <a:lnTo>
                    <a:pt x="84" y="299"/>
                  </a:lnTo>
                  <a:lnTo>
                    <a:pt x="85" y="298"/>
                  </a:lnTo>
                  <a:lnTo>
                    <a:pt x="85" y="297"/>
                  </a:lnTo>
                  <a:lnTo>
                    <a:pt x="84" y="298"/>
                  </a:lnTo>
                  <a:lnTo>
                    <a:pt x="82" y="297"/>
                  </a:lnTo>
                  <a:lnTo>
                    <a:pt x="82" y="298"/>
                  </a:lnTo>
                  <a:lnTo>
                    <a:pt x="82" y="299"/>
                  </a:lnTo>
                  <a:lnTo>
                    <a:pt x="83" y="300"/>
                  </a:lnTo>
                  <a:lnTo>
                    <a:pt x="82" y="302"/>
                  </a:lnTo>
                  <a:lnTo>
                    <a:pt x="81" y="302"/>
                  </a:lnTo>
                  <a:lnTo>
                    <a:pt x="82" y="302"/>
                  </a:lnTo>
                  <a:lnTo>
                    <a:pt x="82" y="303"/>
                  </a:lnTo>
                  <a:lnTo>
                    <a:pt x="81" y="303"/>
                  </a:lnTo>
                  <a:lnTo>
                    <a:pt x="81" y="304"/>
                  </a:lnTo>
                  <a:lnTo>
                    <a:pt x="79" y="305"/>
                  </a:lnTo>
                  <a:lnTo>
                    <a:pt x="78" y="308"/>
                  </a:lnTo>
                  <a:lnTo>
                    <a:pt x="77" y="309"/>
                  </a:lnTo>
                  <a:lnTo>
                    <a:pt x="76" y="308"/>
                  </a:lnTo>
                  <a:lnTo>
                    <a:pt x="75" y="308"/>
                  </a:lnTo>
                  <a:lnTo>
                    <a:pt x="72" y="308"/>
                  </a:lnTo>
                  <a:lnTo>
                    <a:pt x="71" y="308"/>
                  </a:lnTo>
                  <a:lnTo>
                    <a:pt x="71" y="310"/>
                  </a:lnTo>
                  <a:lnTo>
                    <a:pt x="70" y="311"/>
                  </a:lnTo>
                  <a:lnTo>
                    <a:pt x="69" y="311"/>
                  </a:lnTo>
                  <a:lnTo>
                    <a:pt x="66" y="311"/>
                  </a:lnTo>
                  <a:lnTo>
                    <a:pt x="64" y="312"/>
                  </a:lnTo>
                  <a:lnTo>
                    <a:pt x="63" y="315"/>
                  </a:lnTo>
                  <a:lnTo>
                    <a:pt x="61" y="314"/>
                  </a:lnTo>
                  <a:lnTo>
                    <a:pt x="60" y="315"/>
                  </a:lnTo>
                  <a:lnTo>
                    <a:pt x="58" y="316"/>
                  </a:lnTo>
                  <a:lnTo>
                    <a:pt x="57" y="316"/>
                  </a:lnTo>
                  <a:lnTo>
                    <a:pt x="55" y="316"/>
                  </a:lnTo>
                  <a:lnTo>
                    <a:pt x="53" y="316"/>
                  </a:lnTo>
                  <a:lnTo>
                    <a:pt x="52" y="316"/>
                  </a:lnTo>
                  <a:lnTo>
                    <a:pt x="51" y="316"/>
                  </a:lnTo>
                  <a:lnTo>
                    <a:pt x="49" y="317"/>
                  </a:lnTo>
                  <a:lnTo>
                    <a:pt x="47" y="316"/>
                  </a:lnTo>
                  <a:lnTo>
                    <a:pt x="45" y="317"/>
                  </a:lnTo>
                  <a:lnTo>
                    <a:pt x="45" y="316"/>
                  </a:lnTo>
                  <a:lnTo>
                    <a:pt x="45" y="315"/>
                  </a:lnTo>
                  <a:lnTo>
                    <a:pt x="43" y="315"/>
                  </a:lnTo>
                  <a:lnTo>
                    <a:pt x="43" y="314"/>
                  </a:lnTo>
                  <a:lnTo>
                    <a:pt x="42" y="312"/>
                  </a:lnTo>
                  <a:lnTo>
                    <a:pt x="41" y="311"/>
                  </a:lnTo>
                  <a:lnTo>
                    <a:pt x="40" y="310"/>
                  </a:lnTo>
                  <a:lnTo>
                    <a:pt x="38" y="310"/>
                  </a:lnTo>
                  <a:lnTo>
                    <a:pt x="37" y="311"/>
                  </a:lnTo>
                  <a:lnTo>
                    <a:pt x="37" y="310"/>
                  </a:lnTo>
                  <a:lnTo>
                    <a:pt x="36" y="310"/>
                  </a:lnTo>
                  <a:lnTo>
                    <a:pt x="34" y="310"/>
                  </a:lnTo>
                  <a:lnTo>
                    <a:pt x="35" y="309"/>
                  </a:lnTo>
                  <a:lnTo>
                    <a:pt x="32" y="309"/>
                  </a:lnTo>
                  <a:lnTo>
                    <a:pt x="32" y="308"/>
                  </a:lnTo>
                  <a:lnTo>
                    <a:pt x="31" y="306"/>
                  </a:lnTo>
                  <a:lnTo>
                    <a:pt x="31" y="305"/>
                  </a:lnTo>
                  <a:lnTo>
                    <a:pt x="30" y="305"/>
                  </a:lnTo>
                  <a:lnTo>
                    <a:pt x="29" y="305"/>
                  </a:lnTo>
                  <a:lnTo>
                    <a:pt x="29" y="306"/>
                  </a:lnTo>
                  <a:lnTo>
                    <a:pt x="28" y="305"/>
                  </a:lnTo>
                  <a:lnTo>
                    <a:pt x="25" y="305"/>
                  </a:lnTo>
                  <a:lnTo>
                    <a:pt x="25" y="304"/>
                  </a:lnTo>
                  <a:lnTo>
                    <a:pt x="24" y="304"/>
                  </a:lnTo>
                  <a:lnTo>
                    <a:pt x="23" y="302"/>
                  </a:lnTo>
                  <a:lnTo>
                    <a:pt x="22" y="302"/>
                  </a:lnTo>
                  <a:lnTo>
                    <a:pt x="20" y="302"/>
                  </a:lnTo>
                  <a:lnTo>
                    <a:pt x="22" y="300"/>
                  </a:lnTo>
                  <a:lnTo>
                    <a:pt x="22" y="299"/>
                  </a:lnTo>
                  <a:lnTo>
                    <a:pt x="23" y="299"/>
                  </a:lnTo>
                  <a:lnTo>
                    <a:pt x="23" y="298"/>
                  </a:lnTo>
                  <a:lnTo>
                    <a:pt x="24" y="297"/>
                  </a:lnTo>
                  <a:lnTo>
                    <a:pt x="23" y="296"/>
                  </a:lnTo>
                  <a:lnTo>
                    <a:pt x="20" y="294"/>
                  </a:lnTo>
                  <a:lnTo>
                    <a:pt x="23" y="293"/>
                  </a:lnTo>
                  <a:lnTo>
                    <a:pt x="24" y="292"/>
                  </a:lnTo>
                  <a:lnTo>
                    <a:pt x="25" y="292"/>
                  </a:lnTo>
                  <a:lnTo>
                    <a:pt x="23" y="292"/>
                  </a:lnTo>
                  <a:lnTo>
                    <a:pt x="19" y="293"/>
                  </a:lnTo>
                  <a:lnTo>
                    <a:pt x="19" y="296"/>
                  </a:lnTo>
                  <a:lnTo>
                    <a:pt x="18" y="296"/>
                  </a:lnTo>
                  <a:lnTo>
                    <a:pt x="18" y="297"/>
                  </a:lnTo>
                  <a:lnTo>
                    <a:pt x="17" y="297"/>
                  </a:lnTo>
                  <a:lnTo>
                    <a:pt x="14" y="298"/>
                  </a:lnTo>
                  <a:lnTo>
                    <a:pt x="12" y="297"/>
                  </a:lnTo>
                  <a:lnTo>
                    <a:pt x="11" y="298"/>
                  </a:lnTo>
                  <a:lnTo>
                    <a:pt x="10" y="297"/>
                  </a:lnTo>
                  <a:lnTo>
                    <a:pt x="10" y="298"/>
                  </a:lnTo>
                  <a:lnTo>
                    <a:pt x="8" y="297"/>
                  </a:lnTo>
                  <a:lnTo>
                    <a:pt x="7" y="296"/>
                  </a:lnTo>
                  <a:lnTo>
                    <a:pt x="6" y="293"/>
                  </a:lnTo>
                  <a:lnTo>
                    <a:pt x="5" y="293"/>
                  </a:lnTo>
                  <a:lnTo>
                    <a:pt x="5" y="292"/>
                  </a:lnTo>
                  <a:lnTo>
                    <a:pt x="5" y="290"/>
                  </a:lnTo>
                  <a:lnTo>
                    <a:pt x="1" y="287"/>
                  </a:lnTo>
                  <a:lnTo>
                    <a:pt x="2" y="285"/>
                  </a:lnTo>
                  <a:lnTo>
                    <a:pt x="1" y="284"/>
                  </a:lnTo>
                  <a:lnTo>
                    <a:pt x="0" y="280"/>
                  </a:lnTo>
                  <a:lnTo>
                    <a:pt x="2" y="279"/>
                  </a:lnTo>
                  <a:lnTo>
                    <a:pt x="2" y="280"/>
                  </a:lnTo>
                  <a:lnTo>
                    <a:pt x="5" y="281"/>
                  </a:lnTo>
                  <a:lnTo>
                    <a:pt x="5" y="28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0" name="Freeform 73"/>
            <p:cNvSpPr>
              <a:spLocks/>
            </p:cNvSpPr>
            <p:nvPr userDrawn="1"/>
          </p:nvSpPr>
          <p:spPr bwMode="auto">
            <a:xfrm>
              <a:off x="7435850" y="6467476"/>
              <a:ext cx="103188" cy="111125"/>
            </a:xfrm>
            <a:custGeom>
              <a:avLst/>
              <a:gdLst/>
              <a:ahLst/>
              <a:cxnLst>
                <a:cxn ang="0">
                  <a:pos x="37" y="151"/>
                </a:cxn>
                <a:cxn ang="0">
                  <a:pos x="52" y="131"/>
                </a:cxn>
                <a:cxn ang="0">
                  <a:pos x="90" y="120"/>
                </a:cxn>
                <a:cxn ang="0">
                  <a:pos x="82" y="116"/>
                </a:cxn>
                <a:cxn ang="0">
                  <a:pos x="61" y="112"/>
                </a:cxn>
                <a:cxn ang="0">
                  <a:pos x="64" y="87"/>
                </a:cxn>
                <a:cxn ang="0">
                  <a:pos x="75" y="77"/>
                </a:cxn>
                <a:cxn ang="0">
                  <a:pos x="78" y="52"/>
                </a:cxn>
                <a:cxn ang="0">
                  <a:pos x="103" y="58"/>
                </a:cxn>
                <a:cxn ang="0">
                  <a:pos x="122" y="62"/>
                </a:cxn>
                <a:cxn ang="0">
                  <a:pos x="139" y="65"/>
                </a:cxn>
                <a:cxn ang="0">
                  <a:pos x="158" y="77"/>
                </a:cxn>
                <a:cxn ang="0">
                  <a:pos x="165" y="88"/>
                </a:cxn>
                <a:cxn ang="0">
                  <a:pos x="150" y="66"/>
                </a:cxn>
                <a:cxn ang="0">
                  <a:pos x="133" y="60"/>
                </a:cxn>
                <a:cxn ang="0">
                  <a:pos x="116" y="44"/>
                </a:cxn>
                <a:cxn ang="0">
                  <a:pos x="120" y="23"/>
                </a:cxn>
                <a:cxn ang="0">
                  <a:pos x="133" y="13"/>
                </a:cxn>
                <a:cxn ang="0">
                  <a:pos x="146" y="9"/>
                </a:cxn>
                <a:cxn ang="0">
                  <a:pos x="162" y="18"/>
                </a:cxn>
                <a:cxn ang="0">
                  <a:pos x="174" y="15"/>
                </a:cxn>
                <a:cxn ang="0">
                  <a:pos x="192" y="13"/>
                </a:cxn>
                <a:cxn ang="0">
                  <a:pos x="200" y="22"/>
                </a:cxn>
                <a:cxn ang="0">
                  <a:pos x="220" y="15"/>
                </a:cxn>
                <a:cxn ang="0">
                  <a:pos x="238" y="31"/>
                </a:cxn>
                <a:cxn ang="0">
                  <a:pos x="223" y="50"/>
                </a:cxn>
                <a:cxn ang="0">
                  <a:pos x="245" y="64"/>
                </a:cxn>
                <a:cxn ang="0">
                  <a:pos x="268" y="83"/>
                </a:cxn>
                <a:cxn ang="0">
                  <a:pos x="276" y="96"/>
                </a:cxn>
                <a:cxn ang="0">
                  <a:pos x="282" y="117"/>
                </a:cxn>
                <a:cxn ang="0">
                  <a:pos x="289" y="140"/>
                </a:cxn>
                <a:cxn ang="0">
                  <a:pos x="275" y="153"/>
                </a:cxn>
                <a:cxn ang="0">
                  <a:pos x="305" y="187"/>
                </a:cxn>
                <a:cxn ang="0">
                  <a:pos x="274" y="170"/>
                </a:cxn>
                <a:cxn ang="0">
                  <a:pos x="246" y="164"/>
                </a:cxn>
                <a:cxn ang="0">
                  <a:pos x="275" y="183"/>
                </a:cxn>
                <a:cxn ang="0">
                  <a:pos x="311" y="223"/>
                </a:cxn>
                <a:cxn ang="0">
                  <a:pos x="301" y="239"/>
                </a:cxn>
                <a:cxn ang="0">
                  <a:pos x="283" y="253"/>
                </a:cxn>
                <a:cxn ang="0">
                  <a:pos x="279" y="274"/>
                </a:cxn>
                <a:cxn ang="0">
                  <a:pos x="255" y="256"/>
                </a:cxn>
                <a:cxn ang="0">
                  <a:pos x="234" y="245"/>
                </a:cxn>
                <a:cxn ang="0">
                  <a:pos x="241" y="259"/>
                </a:cxn>
                <a:cxn ang="0">
                  <a:pos x="257" y="289"/>
                </a:cxn>
                <a:cxn ang="0">
                  <a:pos x="232" y="285"/>
                </a:cxn>
                <a:cxn ang="0">
                  <a:pos x="199" y="278"/>
                </a:cxn>
                <a:cxn ang="0">
                  <a:pos x="186" y="296"/>
                </a:cxn>
                <a:cxn ang="0">
                  <a:pos x="118" y="285"/>
                </a:cxn>
                <a:cxn ang="0">
                  <a:pos x="76" y="289"/>
                </a:cxn>
                <a:cxn ang="0">
                  <a:pos x="121" y="283"/>
                </a:cxn>
                <a:cxn ang="0">
                  <a:pos x="139" y="262"/>
                </a:cxn>
                <a:cxn ang="0">
                  <a:pos x="106" y="265"/>
                </a:cxn>
                <a:cxn ang="0">
                  <a:pos x="79" y="277"/>
                </a:cxn>
                <a:cxn ang="0">
                  <a:pos x="50" y="258"/>
                </a:cxn>
                <a:cxn ang="0">
                  <a:pos x="65" y="236"/>
                </a:cxn>
                <a:cxn ang="0">
                  <a:pos x="105" y="220"/>
                </a:cxn>
                <a:cxn ang="0">
                  <a:pos x="84" y="224"/>
                </a:cxn>
                <a:cxn ang="0">
                  <a:pos x="84" y="202"/>
                </a:cxn>
                <a:cxn ang="0">
                  <a:pos x="79" y="202"/>
                </a:cxn>
                <a:cxn ang="0">
                  <a:pos x="44" y="223"/>
                </a:cxn>
                <a:cxn ang="0">
                  <a:pos x="46" y="199"/>
                </a:cxn>
                <a:cxn ang="0">
                  <a:pos x="43" y="179"/>
                </a:cxn>
                <a:cxn ang="0">
                  <a:pos x="2" y="167"/>
                </a:cxn>
              </a:cxnLst>
              <a:rect l="0" t="0" r="r" b="b"/>
              <a:pathLst>
                <a:path w="324" h="349">
                  <a:moveTo>
                    <a:pt x="3" y="165"/>
                  </a:moveTo>
                  <a:lnTo>
                    <a:pt x="3" y="164"/>
                  </a:lnTo>
                  <a:lnTo>
                    <a:pt x="4" y="165"/>
                  </a:lnTo>
                  <a:lnTo>
                    <a:pt x="5" y="164"/>
                  </a:lnTo>
                  <a:lnTo>
                    <a:pt x="5" y="165"/>
                  </a:lnTo>
                  <a:lnTo>
                    <a:pt x="5" y="164"/>
                  </a:lnTo>
                  <a:lnTo>
                    <a:pt x="8" y="164"/>
                  </a:lnTo>
                  <a:lnTo>
                    <a:pt x="8" y="165"/>
                  </a:lnTo>
                  <a:lnTo>
                    <a:pt x="9" y="165"/>
                  </a:lnTo>
                  <a:lnTo>
                    <a:pt x="8" y="165"/>
                  </a:lnTo>
                  <a:lnTo>
                    <a:pt x="8" y="164"/>
                  </a:lnTo>
                  <a:lnTo>
                    <a:pt x="8" y="163"/>
                  </a:lnTo>
                  <a:lnTo>
                    <a:pt x="9" y="163"/>
                  </a:lnTo>
                  <a:lnTo>
                    <a:pt x="10" y="163"/>
                  </a:lnTo>
                  <a:lnTo>
                    <a:pt x="10" y="164"/>
                  </a:lnTo>
                  <a:lnTo>
                    <a:pt x="10" y="165"/>
                  </a:lnTo>
                  <a:lnTo>
                    <a:pt x="13" y="165"/>
                  </a:lnTo>
                  <a:lnTo>
                    <a:pt x="13" y="166"/>
                  </a:lnTo>
                  <a:lnTo>
                    <a:pt x="14" y="166"/>
                  </a:lnTo>
                  <a:lnTo>
                    <a:pt x="14" y="164"/>
                  </a:lnTo>
                  <a:lnTo>
                    <a:pt x="15" y="164"/>
                  </a:lnTo>
                  <a:lnTo>
                    <a:pt x="16" y="164"/>
                  </a:lnTo>
                  <a:lnTo>
                    <a:pt x="17" y="165"/>
                  </a:lnTo>
                  <a:lnTo>
                    <a:pt x="16" y="163"/>
                  </a:lnTo>
                  <a:lnTo>
                    <a:pt x="16" y="161"/>
                  </a:lnTo>
                  <a:lnTo>
                    <a:pt x="15" y="160"/>
                  </a:lnTo>
                  <a:lnTo>
                    <a:pt x="15" y="158"/>
                  </a:lnTo>
                  <a:lnTo>
                    <a:pt x="16" y="159"/>
                  </a:lnTo>
                  <a:lnTo>
                    <a:pt x="17" y="159"/>
                  </a:lnTo>
                  <a:lnTo>
                    <a:pt x="17" y="160"/>
                  </a:lnTo>
                  <a:lnTo>
                    <a:pt x="19" y="161"/>
                  </a:lnTo>
                  <a:lnTo>
                    <a:pt x="20" y="163"/>
                  </a:lnTo>
                  <a:lnTo>
                    <a:pt x="20" y="161"/>
                  </a:lnTo>
                  <a:lnTo>
                    <a:pt x="20" y="160"/>
                  </a:lnTo>
                  <a:lnTo>
                    <a:pt x="21" y="160"/>
                  </a:lnTo>
                  <a:lnTo>
                    <a:pt x="22" y="160"/>
                  </a:lnTo>
                  <a:lnTo>
                    <a:pt x="21" y="159"/>
                  </a:lnTo>
                  <a:lnTo>
                    <a:pt x="23" y="157"/>
                  </a:lnTo>
                  <a:lnTo>
                    <a:pt x="23" y="158"/>
                  </a:lnTo>
                  <a:lnTo>
                    <a:pt x="26" y="157"/>
                  </a:lnTo>
                  <a:lnTo>
                    <a:pt x="25" y="155"/>
                  </a:lnTo>
                  <a:lnTo>
                    <a:pt x="25" y="154"/>
                  </a:lnTo>
                  <a:lnTo>
                    <a:pt x="26" y="154"/>
                  </a:lnTo>
                  <a:lnTo>
                    <a:pt x="27" y="154"/>
                  </a:lnTo>
                  <a:lnTo>
                    <a:pt x="27" y="155"/>
                  </a:lnTo>
                  <a:lnTo>
                    <a:pt x="28" y="155"/>
                  </a:lnTo>
                  <a:lnTo>
                    <a:pt x="29" y="157"/>
                  </a:lnTo>
                  <a:lnTo>
                    <a:pt x="29" y="155"/>
                  </a:lnTo>
                  <a:lnTo>
                    <a:pt x="28" y="154"/>
                  </a:lnTo>
                  <a:lnTo>
                    <a:pt x="28" y="153"/>
                  </a:lnTo>
                  <a:lnTo>
                    <a:pt x="28" y="152"/>
                  </a:lnTo>
                  <a:lnTo>
                    <a:pt x="29" y="153"/>
                  </a:lnTo>
                  <a:lnTo>
                    <a:pt x="31" y="154"/>
                  </a:lnTo>
                  <a:lnTo>
                    <a:pt x="32" y="154"/>
                  </a:lnTo>
                  <a:lnTo>
                    <a:pt x="33" y="153"/>
                  </a:lnTo>
                  <a:lnTo>
                    <a:pt x="34" y="154"/>
                  </a:lnTo>
                  <a:lnTo>
                    <a:pt x="35" y="154"/>
                  </a:lnTo>
                  <a:lnTo>
                    <a:pt x="37" y="154"/>
                  </a:lnTo>
                  <a:lnTo>
                    <a:pt x="37" y="153"/>
                  </a:lnTo>
                  <a:lnTo>
                    <a:pt x="37" y="152"/>
                  </a:lnTo>
                  <a:lnTo>
                    <a:pt x="37" y="151"/>
                  </a:lnTo>
                  <a:lnTo>
                    <a:pt x="38" y="151"/>
                  </a:lnTo>
                  <a:lnTo>
                    <a:pt x="39" y="152"/>
                  </a:lnTo>
                  <a:lnTo>
                    <a:pt x="39" y="153"/>
                  </a:lnTo>
                  <a:lnTo>
                    <a:pt x="40" y="154"/>
                  </a:lnTo>
                  <a:lnTo>
                    <a:pt x="41" y="154"/>
                  </a:lnTo>
                  <a:lnTo>
                    <a:pt x="41" y="153"/>
                  </a:lnTo>
                  <a:lnTo>
                    <a:pt x="40" y="152"/>
                  </a:lnTo>
                  <a:lnTo>
                    <a:pt x="40" y="149"/>
                  </a:lnTo>
                  <a:lnTo>
                    <a:pt x="39" y="148"/>
                  </a:lnTo>
                  <a:lnTo>
                    <a:pt x="40" y="148"/>
                  </a:lnTo>
                  <a:lnTo>
                    <a:pt x="40" y="147"/>
                  </a:lnTo>
                  <a:lnTo>
                    <a:pt x="41" y="148"/>
                  </a:lnTo>
                  <a:lnTo>
                    <a:pt x="43" y="148"/>
                  </a:lnTo>
                  <a:lnTo>
                    <a:pt x="44" y="149"/>
                  </a:lnTo>
                  <a:lnTo>
                    <a:pt x="44" y="148"/>
                  </a:lnTo>
                  <a:lnTo>
                    <a:pt x="45" y="149"/>
                  </a:lnTo>
                  <a:lnTo>
                    <a:pt x="46" y="149"/>
                  </a:lnTo>
                  <a:lnTo>
                    <a:pt x="47" y="149"/>
                  </a:lnTo>
                  <a:lnTo>
                    <a:pt x="49" y="149"/>
                  </a:lnTo>
                  <a:lnTo>
                    <a:pt x="47" y="148"/>
                  </a:lnTo>
                  <a:lnTo>
                    <a:pt x="47" y="147"/>
                  </a:lnTo>
                  <a:lnTo>
                    <a:pt x="45" y="146"/>
                  </a:lnTo>
                  <a:lnTo>
                    <a:pt x="46" y="146"/>
                  </a:lnTo>
                  <a:lnTo>
                    <a:pt x="46" y="144"/>
                  </a:lnTo>
                  <a:lnTo>
                    <a:pt x="45" y="144"/>
                  </a:lnTo>
                  <a:lnTo>
                    <a:pt x="45" y="146"/>
                  </a:lnTo>
                  <a:lnTo>
                    <a:pt x="45" y="144"/>
                  </a:lnTo>
                  <a:lnTo>
                    <a:pt x="44" y="143"/>
                  </a:lnTo>
                  <a:lnTo>
                    <a:pt x="43" y="143"/>
                  </a:lnTo>
                  <a:lnTo>
                    <a:pt x="41" y="143"/>
                  </a:lnTo>
                  <a:lnTo>
                    <a:pt x="40" y="142"/>
                  </a:lnTo>
                  <a:lnTo>
                    <a:pt x="39" y="141"/>
                  </a:lnTo>
                  <a:lnTo>
                    <a:pt x="40" y="141"/>
                  </a:lnTo>
                  <a:lnTo>
                    <a:pt x="39" y="141"/>
                  </a:lnTo>
                  <a:lnTo>
                    <a:pt x="39" y="140"/>
                  </a:lnTo>
                  <a:lnTo>
                    <a:pt x="39" y="138"/>
                  </a:lnTo>
                  <a:lnTo>
                    <a:pt x="38" y="136"/>
                  </a:lnTo>
                  <a:lnTo>
                    <a:pt x="39" y="136"/>
                  </a:lnTo>
                  <a:lnTo>
                    <a:pt x="40" y="136"/>
                  </a:lnTo>
                  <a:lnTo>
                    <a:pt x="40" y="137"/>
                  </a:lnTo>
                  <a:lnTo>
                    <a:pt x="41" y="136"/>
                  </a:lnTo>
                  <a:lnTo>
                    <a:pt x="41" y="135"/>
                  </a:lnTo>
                  <a:lnTo>
                    <a:pt x="43" y="135"/>
                  </a:lnTo>
                  <a:lnTo>
                    <a:pt x="43" y="136"/>
                  </a:lnTo>
                  <a:lnTo>
                    <a:pt x="44" y="136"/>
                  </a:lnTo>
                  <a:lnTo>
                    <a:pt x="44" y="137"/>
                  </a:lnTo>
                  <a:lnTo>
                    <a:pt x="46" y="137"/>
                  </a:lnTo>
                  <a:lnTo>
                    <a:pt x="45" y="136"/>
                  </a:lnTo>
                  <a:lnTo>
                    <a:pt x="45" y="135"/>
                  </a:lnTo>
                  <a:lnTo>
                    <a:pt x="46" y="134"/>
                  </a:lnTo>
                  <a:lnTo>
                    <a:pt x="46" y="135"/>
                  </a:lnTo>
                  <a:lnTo>
                    <a:pt x="49" y="135"/>
                  </a:lnTo>
                  <a:lnTo>
                    <a:pt x="49" y="136"/>
                  </a:lnTo>
                  <a:lnTo>
                    <a:pt x="50" y="136"/>
                  </a:lnTo>
                  <a:lnTo>
                    <a:pt x="50" y="135"/>
                  </a:lnTo>
                  <a:lnTo>
                    <a:pt x="51" y="134"/>
                  </a:lnTo>
                  <a:lnTo>
                    <a:pt x="52" y="134"/>
                  </a:lnTo>
                  <a:lnTo>
                    <a:pt x="52" y="135"/>
                  </a:lnTo>
                  <a:lnTo>
                    <a:pt x="53" y="135"/>
                  </a:lnTo>
                  <a:lnTo>
                    <a:pt x="52" y="132"/>
                  </a:lnTo>
                  <a:lnTo>
                    <a:pt x="52" y="131"/>
                  </a:lnTo>
                  <a:lnTo>
                    <a:pt x="52" y="130"/>
                  </a:lnTo>
                  <a:lnTo>
                    <a:pt x="53" y="130"/>
                  </a:lnTo>
                  <a:lnTo>
                    <a:pt x="55" y="130"/>
                  </a:lnTo>
                  <a:lnTo>
                    <a:pt x="55" y="131"/>
                  </a:lnTo>
                  <a:lnTo>
                    <a:pt x="55" y="130"/>
                  </a:lnTo>
                  <a:lnTo>
                    <a:pt x="55" y="131"/>
                  </a:lnTo>
                  <a:lnTo>
                    <a:pt x="55" y="132"/>
                  </a:lnTo>
                  <a:lnTo>
                    <a:pt x="56" y="131"/>
                  </a:lnTo>
                  <a:lnTo>
                    <a:pt x="56" y="132"/>
                  </a:lnTo>
                  <a:lnTo>
                    <a:pt x="56" y="134"/>
                  </a:lnTo>
                  <a:lnTo>
                    <a:pt x="56" y="132"/>
                  </a:lnTo>
                  <a:lnTo>
                    <a:pt x="57" y="132"/>
                  </a:lnTo>
                  <a:lnTo>
                    <a:pt x="58" y="134"/>
                  </a:lnTo>
                  <a:lnTo>
                    <a:pt x="59" y="134"/>
                  </a:lnTo>
                  <a:lnTo>
                    <a:pt x="61" y="135"/>
                  </a:lnTo>
                  <a:lnTo>
                    <a:pt x="61" y="136"/>
                  </a:lnTo>
                  <a:lnTo>
                    <a:pt x="62" y="135"/>
                  </a:lnTo>
                  <a:lnTo>
                    <a:pt x="62" y="134"/>
                  </a:lnTo>
                  <a:lnTo>
                    <a:pt x="61" y="134"/>
                  </a:lnTo>
                  <a:lnTo>
                    <a:pt x="61" y="131"/>
                  </a:lnTo>
                  <a:lnTo>
                    <a:pt x="62" y="130"/>
                  </a:lnTo>
                  <a:lnTo>
                    <a:pt x="62" y="131"/>
                  </a:lnTo>
                  <a:lnTo>
                    <a:pt x="63" y="131"/>
                  </a:lnTo>
                  <a:lnTo>
                    <a:pt x="62" y="131"/>
                  </a:lnTo>
                  <a:lnTo>
                    <a:pt x="63" y="130"/>
                  </a:lnTo>
                  <a:lnTo>
                    <a:pt x="64" y="130"/>
                  </a:lnTo>
                  <a:lnTo>
                    <a:pt x="65" y="130"/>
                  </a:lnTo>
                  <a:lnTo>
                    <a:pt x="67" y="129"/>
                  </a:lnTo>
                  <a:lnTo>
                    <a:pt x="68" y="129"/>
                  </a:lnTo>
                  <a:lnTo>
                    <a:pt x="68" y="130"/>
                  </a:lnTo>
                  <a:lnTo>
                    <a:pt x="69" y="130"/>
                  </a:lnTo>
                  <a:lnTo>
                    <a:pt x="69" y="131"/>
                  </a:lnTo>
                  <a:lnTo>
                    <a:pt x="70" y="131"/>
                  </a:lnTo>
                  <a:lnTo>
                    <a:pt x="70" y="130"/>
                  </a:lnTo>
                  <a:lnTo>
                    <a:pt x="72" y="129"/>
                  </a:lnTo>
                  <a:lnTo>
                    <a:pt x="73" y="129"/>
                  </a:lnTo>
                  <a:lnTo>
                    <a:pt x="74" y="129"/>
                  </a:lnTo>
                  <a:lnTo>
                    <a:pt x="74" y="128"/>
                  </a:lnTo>
                  <a:lnTo>
                    <a:pt x="74" y="129"/>
                  </a:lnTo>
                  <a:lnTo>
                    <a:pt x="75" y="129"/>
                  </a:lnTo>
                  <a:lnTo>
                    <a:pt x="75" y="128"/>
                  </a:lnTo>
                  <a:lnTo>
                    <a:pt x="75" y="126"/>
                  </a:lnTo>
                  <a:lnTo>
                    <a:pt x="74" y="125"/>
                  </a:lnTo>
                  <a:lnTo>
                    <a:pt x="75" y="124"/>
                  </a:lnTo>
                  <a:lnTo>
                    <a:pt x="75" y="123"/>
                  </a:lnTo>
                  <a:lnTo>
                    <a:pt x="75" y="124"/>
                  </a:lnTo>
                  <a:lnTo>
                    <a:pt x="76" y="124"/>
                  </a:lnTo>
                  <a:lnTo>
                    <a:pt x="78" y="124"/>
                  </a:lnTo>
                  <a:lnTo>
                    <a:pt x="81" y="123"/>
                  </a:lnTo>
                  <a:lnTo>
                    <a:pt x="80" y="122"/>
                  </a:lnTo>
                  <a:lnTo>
                    <a:pt x="81" y="122"/>
                  </a:lnTo>
                  <a:lnTo>
                    <a:pt x="82" y="122"/>
                  </a:lnTo>
                  <a:lnTo>
                    <a:pt x="82" y="120"/>
                  </a:lnTo>
                  <a:lnTo>
                    <a:pt x="82" y="119"/>
                  </a:lnTo>
                  <a:lnTo>
                    <a:pt x="84" y="120"/>
                  </a:lnTo>
                  <a:lnTo>
                    <a:pt x="84" y="122"/>
                  </a:lnTo>
                  <a:lnTo>
                    <a:pt x="85" y="120"/>
                  </a:lnTo>
                  <a:lnTo>
                    <a:pt x="86" y="120"/>
                  </a:lnTo>
                  <a:lnTo>
                    <a:pt x="87" y="120"/>
                  </a:lnTo>
                  <a:lnTo>
                    <a:pt x="88" y="120"/>
                  </a:lnTo>
                  <a:lnTo>
                    <a:pt x="90" y="120"/>
                  </a:lnTo>
                  <a:lnTo>
                    <a:pt x="90" y="119"/>
                  </a:lnTo>
                  <a:lnTo>
                    <a:pt x="91" y="119"/>
                  </a:lnTo>
                  <a:lnTo>
                    <a:pt x="91" y="120"/>
                  </a:lnTo>
                  <a:lnTo>
                    <a:pt x="91" y="119"/>
                  </a:lnTo>
                  <a:lnTo>
                    <a:pt x="91" y="118"/>
                  </a:lnTo>
                  <a:lnTo>
                    <a:pt x="92" y="118"/>
                  </a:lnTo>
                  <a:lnTo>
                    <a:pt x="93" y="118"/>
                  </a:lnTo>
                  <a:lnTo>
                    <a:pt x="93" y="117"/>
                  </a:lnTo>
                  <a:lnTo>
                    <a:pt x="94" y="117"/>
                  </a:lnTo>
                  <a:lnTo>
                    <a:pt x="94" y="116"/>
                  </a:lnTo>
                  <a:lnTo>
                    <a:pt x="96" y="116"/>
                  </a:lnTo>
                  <a:lnTo>
                    <a:pt x="94" y="116"/>
                  </a:lnTo>
                  <a:lnTo>
                    <a:pt x="94" y="114"/>
                  </a:lnTo>
                  <a:lnTo>
                    <a:pt x="94" y="113"/>
                  </a:lnTo>
                  <a:lnTo>
                    <a:pt x="96" y="113"/>
                  </a:lnTo>
                  <a:lnTo>
                    <a:pt x="94" y="113"/>
                  </a:lnTo>
                  <a:lnTo>
                    <a:pt x="96" y="113"/>
                  </a:lnTo>
                  <a:lnTo>
                    <a:pt x="97" y="113"/>
                  </a:lnTo>
                  <a:lnTo>
                    <a:pt x="96" y="112"/>
                  </a:lnTo>
                  <a:lnTo>
                    <a:pt x="97" y="112"/>
                  </a:lnTo>
                  <a:lnTo>
                    <a:pt x="97" y="111"/>
                  </a:lnTo>
                  <a:lnTo>
                    <a:pt x="98" y="110"/>
                  </a:lnTo>
                  <a:lnTo>
                    <a:pt x="99" y="108"/>
                  </a:lnTo>
                  <a:lnTo>
                    <a:pt x="98" y="108"/>
                  </a:lnTo>
                  <a:lnTo>
                    <a:pt x="98" y="107"/>
                  </a:lnTo>
                  <a:lnTo>
                    <a:pt x="97" y="107"/>
                  </a:lnTo>
                  <a:lnTo>
                    <a:pt x="96" y="107"/>
                  </a:lnTo>
                  <a:lnTo>
                    <a:pt x="96" y="106"/>
                  </a:lnTo>
                  <a:lnTo>
                    <a:pt x="96" y="107"/>
                  </a:lnTo>
                  <a:lnTo>
                    <a:pt x="94" y="107"/>
                  </a:lnTo>
                  <a:lnTo>
                    <a:pt x="93" y="107"/>
                  </a:lnTo>
                  <a:lnTo>
                    <a:pt x="92" y="107"/>
                  </a:lnTo>
                  <a:lnTo>
                    <a:pt x="91" y="107"/>
                  </a:lnTo>
                  <a:lnTo>
                    <a:pt x="91" y="108"/>
                  </a:lnTo>
                  <a:lnTo>
                    <a:pt x="91" y="110"/>
                  </a:lnTo>
                  <a:lnTo>
                    <a:pt x="91" y="111"/>
                  </a:lnTo>
                  <a:lnTo>
                    <a:pt x="92" y="111"/>
                  </a:lnTo>
                  <a:lnTo>
                    <a:pt x="91" y="112"/>
                  </a:lnTo>
                  <a:lnTo>
                    <a:pt x="91" y="113"/>
                  </a:lnTo>
                  <a:lnTo>
                    <a:pt x="90" y="113"/>
                  </a:lnTo>
                  <a:lnTo>
                    <a:pt x="88" y="114"/>
                  </a:lnTo>
                  <a:lnTo>
                    <a:pt x="88" y="116"/>
                  </a:lnTo>
                  <a:lnTo>
                    <a:pt x="88" y="114"/>
                  </a:lnTo>
                  <a:lnTo>
                    <a:pt x="90" y="114"/>
                  </a:lnTo>
                  <a:lnTo>
                    <a:pt x="91" y="116"/>
                  </a:lnTo>
                  <a:lnTo>
                    <a:pt x="92" y="116"/>
                  </a:lnTo>
                  <a:lnTo>
                    <a:pt x="91" y="116"/>
                  </a:lnTo>
                  <a:lnTo>
                    <a:pt x="91" y="117"/>
                  </a:lnTo>
                  <a:lnTo>
                    <a:pt x="90" y="117"/>
                  </a:lnTo>
                  <a:lnTo>
                    <a:pt x="90" y="118"/>
                  </a:lnTo>
                  <a:lnTo>
                    <a:pt x="88" y="118"/>
                  </a:lnTo>
                  <a:lnTo>
                    <a:pt x="87" y="118"/>
                  </a:lnTo>
                  <a:lnTo>
                    <a:pt x="86" y="118"/>
                  </a:lnTo>
                  <a:lnTo>
                    <a:pt x="85" y="118"/>
                  </a:lnTo>
                  <a:lnTo>
                    <a:pt x="84" y="118"/>
                  </a:lnTo>
                  <a:lnTo>
                    <a:pt x="84" y="117"/>
                  </a:lnTo>
                  <a:lnTo>
                    <a:pt x="82" y="117"/>
                  </a:lnTo>
                  <a:lnTo>
                    <a:pt x="82" y="118"/>
                  </a:lnTo>
                  <a:lnTo>
                    <a:pt x="82" y="117"/>
                  </a:lnTo>
                  <a:lnTo>
                    <a:pt x="81" y="117"/>
                  </a:lnTo>
                  <a:lnTo>
                    <a:pt x="82" y="116"/>
                  </a:lnTo>
                  <a:lnTo>
                    <a:pt x="82" y="114"/>
                  </a:lnTo>
                  <a:lnTo>
                    <a:pt x="84" y="114"/>
                  </a:lnTo>
                  <a:lnTo>
                    <a:pt x="84" y="113"/>
                  </a:lnTo>
                  <a:lnTo>
                    <a:pt x="82" y="112"/>
                  </a:lnTo>
                  <a:lnTo>
                    <a:pt x="84" y="112"/>
                  </a:lnTo>
                  <a:lnTo>
                    <a:pt x="84" y="111"/>
                  </a:lnTo>
                  <a:lnTo>
                    <a:pt x="85" y="111"/>
                  </a:lnTo>
                  <a:lnTo>
                    <a:pt x="85" y="110"/>
                  </a:lnTo>
                  <a:lnTo>
                    <a:pt x="84" y="110"/>
                  </a:lnTo>
                  <a:lnTo>
                    <a:pt x="82" y="110"/>
                  </a:lnTo>
                  <a:lnTo>
                    <a:pt x="82" y="111"/>
                  </a:lnTo>
                  <a:lnTo>
                    <a:pt x="81" y="111"/>
                  </a:lnTo>
                  <a:lnTo>
                    <a:pt x="80" y="111"/>
                  </a:lnTo>
                  <a:lnTo>
                    <a:pt x="80" y="112"/>
                  </a:lnTo>
                  <a:lnTo>
                    <a:pt x="80" y="111"/>
                  </a:lnTo>
                  <a:lnTo>
                    <a:pt x="79" y="111"/>
                  </a:lnTo>
                  <a:lnTo>
                    <a:pt x="79" y="112"/>
                  </a:lnTo>
                  <a:lnTo>
                    <a:pt x="79" y="111"/>
                  </a:lnTo>
                  <a:lnTo>
                    <a:pt x="78" y="111"/>
                  </a:lnTo>
                  <a:lnTo>
                    <a:pt x="78" y="112"/>
                  </a:lnTo>
                  <a:lnTo>
                    <a:pt x="76" y="112"/>
                  </a:lnTo>
                  <a:lnTo>
                    <a:pt x="76" y="113"/>
                  </a:lnTo>
                  <a:lnTo>
                    <a:pt x="78" y="113"/>
                  </a:lnTo>
                  <a:lnTo>
                    <a:pt x="76" y="113"/>
                  </a:lnTo>
                  <a:lnTo>
                    <a:pt x="75" y="113"/>
                  </a:lnTo>
                  <a:lnTo>
                    <a:pt x="74" y="113"/>
                  </a:lnTo>
                  <a:lnTo>
                    <a:pt x="73" y="113"/>
                  </a:lnTo>
                  <a:lnTo>
                    <a:pt x="73" y="112"/>
                  </a:lnTo>
                  <a:lnTo>
                    <a:pt x="72" y="112"/>
                  </a:lnTo>
                  <a:lnTo>
                    <a:pt x="70" y="112"/>
                  </a:lnTo>
                  <a:lnTo>
                    <a:pt x="70" y="113"/>
                  </a:lnTo>
                  <a:lnTo>
                    <a:pt x="69" y="113"/>
                  </a:lnTo>
                  <a:lnTo>
                    <a:pt x="69" y="114"/>
                  </a:lnTo>
                  <a:lnTo>
                    <a:pt x="69" y="113"/>
                  </a:lnTo>
                  <a:lnTo>
                    <a:pt x="68" y="113"/>
                  </a:lnTo>
                  <a:lnTo>
                    <a:pt x="68" y="114"/>
                  </a:lnTo>
                  <a:lnTo>
                    <a:pt x="67" y="114"/>
                  </a:lnTo>
                  <a:lnTo>
                    <a:pt x="67" y="116"/>
                  </a:lnTo>
                  <a:lnTo>
                    <a:pt x="67" y="114"/>
                  </a:lnTo>
                  <a:lnTo>
                    <a:pt x="65" y="114"/>
                  </a:lnTo>
                  <a:lnTo>
                    <a:pt x="64" y="114"/>
                  </a:lnTo>
                  <a:lnTo>
                    <a:pt x="64" y="113"/>
                  </a:lnTo>
                  <a:lnTo>
                    <a:pt x="64" y="112"/>
                  </a:lnTo>
                  <a:lnTo>
                    <a:pt x="65" y="112"/>
                  </a:lnTo>
                  <a:lnTo>
                    <a:pt x="65" y="113"/>
                  </a:lnTo>
                  <a:lnTo>
                    <a:pt x="67" y="113"/>
                  </a:lnTo>
                  <a:lnTo>
                    <a:pt x="67" y="112"/>
                  </a:lnTo>
                  <a:lnTo>
                    <a:pt x="67" y="111"/>
                  </a:lnTo>
                  <a:lnTo>
                    <a:pt x="68" y="111"/>
                  </a:lnTo>
                  <a:lnTo>
                    <a:pt x="67" y="110"/>
                  </a:lnTo>
                  <a:lnTo>
                    <a:pt x="67" y="111"/>
                  </a:lnTo>
                  <a:lnTo>
                    <a:pt x="65" y="111"/>
                  </a:lnTo>
                  <a:lnTo>
                    <a:pt x="64" y="111"/>
                  </a:lnTo>
                  <a:lnTo>
                    <a:pt x="64" y="112"/>
                  </a:lnTo>
                  <a:lnTo>
                    <a:pt x="64" y="111"/>
                  </a:lnTo>
                  <a:lnTo>
                    <a:pt x="63" y="111"/>
                  </a:lnTo>
                  <a:lnTo>
                    <a:pt x="63" y="112"/>
                  </a:lnTo>
                  <a:lnTo>
                    <a:pt x="63" y="113"/>
                  </a:lnTo>
                  <a:lnTo>
                    <a:pt x="63" y="112"/>
                  </a:lnTo>
                  <a:lnTo>
                    <a:pt x="62" y="112"/>
                  </a:lnTo>
                  <a:lnTo>
                    <a:pt x="61" y="112"/>
                  </a:lnTo>
                  <a:lnTo>
                    <a:pt x="61" y="111"/>
                  </a:lnTo>
                  <a:lnTo>
                    <a:pt x="59" y="111"/>
                  </a:lnTo>
                  <a:lnTo>
                    <a:pt x="58" y="111"/>
                  </a:lnTo>
                  <a:lnTo>
                    <a:pt x="58" y="110"/>
                  </a:lnTo>
                  <a:lnTo>
                    <a:pt x="57" y="110"/>
                  </a:lnTo>
                  <a:lnTo>
                    <a:pt x="57" y="108"/>
                  </a:lnTo>
                  <a:lnTo>
                    <a:pt x="56" y="107"/>
                  </a:lnTo>
                  <a:lnTo>
                    <a:pt x="57" y="107"/>
                  </a:lnTo>
                  <a:lnTo>
                    <a:pt x="57" y="106"/>
                  </a:lnTo>
                  <a:lnTo>
                    <a:pt x="57" y="107"/>
                  </a:lnTo>
                  <a:lnTo>
                    <a:pt x="56" y="106"/>
                  </a:lnTo>
                  <a:lnTo>
                    <a:pt x="56" y="105"/>
                  </a:lnTo>
                  <a:lnTo>
                    <a:pt x="55" y="105"/>
                  </a:lnTo>
                  <a:lnTo>
                    <a:pt x="55" y="104"/>
                  </a:lnTo>
                  <a:lnTo>
                    <a:pt x="55" y="102"/>
                  </a:lnTo>
                  <a:lnTo>
                    <a:pt x="55" y="101"/>
                  </a:lnTo>
                  <a:lnTo>
                    <a:pt x="56" y="101"/>
                  </a:lnTo>
                  <a:lnTo>
                    <a:pt x="56" y="102"/>
                  </a:lnTo>
                  <a:lnTo>
                    <a:pt x="57" y="102"/>
                  </a:lnTo>
                  <a:lnTo>
                    <a:pt x="58" y="102"/>
                  </a:lnTo>
                  <a:lnTo>
                    <a:pt x="58" y="101"/>
                  </a:lnTo>
                  <a:lnTo>
                    <a:pt x="59" y="101"/>
                  </a:lnTo>
                  <a:lnTo>
                    <a:pt x="61" y="101"/>
                  </a:lnTo>
                  <a:lnTo>
                    <a:pt x="61" y="100"/>
                  </a:lnTo>
                  <a:lnTo>
                    <a:pt x="61" y="101"/>
                  </a:lnTo>
                  <a:lnTo>
                    <a:pt x="62" y="101"/>
                  </a:lnTo>
                  <a:lnTo>
                    <a:pt x="62" y="100"/>
                  </a:lnTo>
                  <a:lnTo>
                    <a:pt x="61" y="100"/>
                  </a:lnTo>
                  <a:lnTo>
                    <a:pt x="61" y="99"/>
                  </a:lnTo>
                  <a:lnTo>
                    <a:pt x="59" y="99"/>
                  </a:lnTo>
                  <a:lnTo>
                    <a:pt x="59" y="98"/>
                  </a:lnTo>
                  <a:lnTo>
                    <a:pt x="61" y="98"/>
                  </a:lnTo>
                  <a:lnTo>
                    <a:pt x="59" y="98"/>
                  </a:lnTo>
                  <a:lnTo>
                    <a:pt x="59" y="96"/>
                  </a:lnTo>
                  <a:lnTo>
                    <a:pt x="58" y="96"/>
                  </a:lnTo>
                  <a:lnTo>
                    <a:pt x="58" y="95"/>
                  </a:lnTo>
                  <a:lnTo>
                    <a:pt x="58" y="94"/>
                  </a:lnTo>
                  <a:lnTo>
                    <a:pt x="58" y="93"/>
                  </a:lnTo>
                  <a:lnTo>
                    <a:pt x="57" y="93"/>
                  </a:lnTo>
                  <a:lnTo>
                    <a:pt x="57" y="92"/>
                  </a:lnTo>
                  <a:lnTo>
                    <a:pt x="57" y="90"/>
                  </a:lnTo>
                  <a:lnTo>
                    <a:pt x="57" y="89"/>
                  </a:lnTo>
                  <a:lnTo>
                    <a:pt x="57" y="88"/>
                  </a:lnTo>
                  <a:lnTo>
                    <a:pt x="57" y="87"/>
                  </a:lnTo>
                  <a:lnTo>
                    <a:pt x="56" y="87"/>
                  </a:lnTo>
                  <a:lnTo>
                    <a:pt x="57" y="87"/>
                  </a:lnTo>
                  <a:lnTo>
                    <a:pt x="57" y="86"/>
                  </a:lnTo>
                  <a:lnTo>
                    <a:pt x="58" y="86"/>
                  </a:lnTo>
                  <a:lnTo>
                    <a:pt x="58" y="87"/>
                  </a:lnTo>
                  <a:lnTo>
                    <a:pt x="59" y="87"/>
                  </a:lnTo>
                  <a:lnTo>
                    <a:pt x="59" y="88"/>
                  </a:lnTo>
                  <a:lnTo>
                    <a:pt x="61" y="88"/>
                  </a:lnTo>
                  <a:lnTo>
                    <a:pt x="61" y="89"/>
                  </a:lnTo>
                  <a:lnTo>
                    <a:pt x="61" y="88"/>
                  </a:lnTo>
                  <a:lnTo>
                    <a:pt x="61" y="87"/>
                  </a:lnTo>
                  <a:lnTo>
                    <a:pt x="62" y="87"/>
                  </a:lnTo>
                  <a:lnTo>
                    <a:pt x="62" y="86"/>
                  </a:lnTo>
                  <a:lnTo>
                    <a:pt x="63" y="87"/>
                  </a:lnTo>
                  <a:lnTo>
                    <a:pt x="63" y="88"/>
                  </a:lnTo>
                  <a:lnTo>
                    <a:pt x="63" y="87"/>
                  </a:lnTo>
                  <a:lnTo>
                    <a:pt x="64" y="87"/>
                  </a:lnTo>
                  <a:lnTo>
                    <a:pt x="65" y="87"/>
                  </a:lnTo>
                  <a:lnTo>
                    <a:pt x="65" y="88"/>
                  </a:lnTo>
                  <a:lnTo>
                    <a:pt x="67" y="88"/>
                  </a:lnTo>
                  <a:lnTo>
                    <a:pt x="67" y="89"/>
                  </a:lnTo>
                  <a:lnTo>
                    <a:pt x="68" y="90"/>
                  </a:lnTo>
                  <a:lnTo>
                    <a:pt x="69" y="90"/>
                  </a:lnTo>
                  <a:lnTo>
                    <a:pt x="69" y="89"/>
                  </a:lnTo>
                  <a:lnTo>
                    <a:pt x="68" y="89"/>
                  </a:lnTo>
                  <a:lnTo>
                    <a:pt x="68" y="88"/>
                  </a:lnTo>
                  <a:lnTo>
                    <a:pt x="67" y="88"/>
                  </a:lnTo>
                  <a:lnTo>
                    <a:pt x="67" y="87"/>
                  </a:lnTo>
                  <a:lnTo>
                    <a:pt x="67" y="86"/>
                  </a:lnTo>
                  <a:lnTo>
                    <a:pt x="68" y="86"/>
                  </a:lnTo>
                  <a:lnTo>
                    <a:pt x="69" y="86"/>
                  </a:lnTo>
                  <a:lnTo>
                    <a:pt x="70" y="86"/>
                  </a:lnTo>
                  <a:lnTo>
                    <a:pt x="70" y="87"/>
                  </a:lnTo>
                  <a:lnTo>
                    <a:pt x="72" y="87"/>
                  </a:lnTo>
                  <a:lnTo>
                    <a:pt x="73" y="87"/>
                  </a:lnTo>
                  <a:lnTo>
                    <a:pt x="74" y="87"/>
                  </a:lnTo>
                  <a:lnTo>
                    <a:pt x="75" y="87"/>
                  </a:lnTo>
                  <a:lnTo>
                    <a:pt x="75" y="86"/>
                  </a:lnTo>
                  <a:lnTo>
                    <a:pt x="74" y="86"/>
                  </a:lnTo>
                  <a:lnTo>
                    <a:pt x="74" y="84"/>
                  </a:lnTo>
                  <a:lnTo>
                    <a:pt x="73" y="84"/>
                  </a:lnTo>
                  <a:lnTo>
                    <a:pt x="72" y="84"/>
                  </a:lnTo>
                  <a:lnTo>
                    <a:pt x="72" y="83"/>
                  </a:lnTo>
                  <a:lnTo>
                    <a:pt x="70" y="83"/>
                  </a:lnTo>
                  <a:lnTo>
                    <a:pt x="69" y="83"/>
                  </a:lnTo>
                  <a:lnTo>
                    <a:pt x="68" y="83"/>
                  </a:lnTo>
                  <a:lnTo>
                    <a:pt x="67" y="83"/>
                  </a:lnTo>
                  <a:lnTo>
                    <a:pt x="67" y="82"/>
                  </a:lnTo>
                  <a:lnTo>
                    <a:pt x="67" y="81"/>
                  </a:lnTo>
                  <a:lnTo>
                    <a:pt x="65" y="81"/>
                  </a:lnTo>
                  <a:lnTo>
                    <a:pt x="64" y="81"/>
                  </a:lnTo>
                  <a:lnTo>
                    <a:pt x="64" y="80"/>
                  </a:lnTo>
                  <a:lnTo>
                    <a:pt x="64" y="78"/>
                  </a:lnTo>
                  <a:lnTo>
                    <a:pt x="64" y="77"/>
                  </a:lnTo>
                  <a:lnTo>
                    <a:pt x="63" y="77"/>
                  </a:lnTo>
                  <a:lnTo>
                    <a:pt x="62" y="77"/>
                  </a:lnTo>
                  <a:lnTo>
                    <a:pt x="63" y="76"/>
                  </a:lnTo>
                  <a:lnTo>
                    <a:pt x="64" y="76"/>
                  </a:lnTo>
                  <a:lnTo>
                    <a:pt x="65" y="76"/>
                  </a:lnTo>
                  <a:lnTo>
                    <a:pt x="67" y="76"/>
                  </a:lnTo>
                  <a:lnTo>
                    <a:pt x="67" y="77"/>
                  </a:lnTo>
                  <a:lnTo>
                    <a:pt x="67" y="76"/>
                  </a:lnTo>
                  <a:lnTo>
                    <a:pt x="67" y="75"/>
                  </a:lnTo>
                  <a:lnTo>
                    <a:pt x="67" y="74"/>
                  </a:lnTo>
                  <a:lnTo>
                    <a:pt x="68" y="74"/>
                  </a:lnTo>
                  <a:lnTo>
                    <a:pt x="68" y="75"/>
                  </a:lnTo>
                  <a:lnTo>
                    <a:pt x="68" y="76"/>
                  </a:lnTo>
                  <a:lnTo>
                    <a:pt x="69" y="76"/>
                  </a:lnTo>
                  <a:lnTo>
                    <a:pt x="69" y="75"/>
                  </a:lnTo>
                  <a:lnTo>
                    <a:pt x="70" y="76"/>
                  </a:lnTo>
                  <a:lnTo>
                    <a:pt x="69" y="76"/>
                  </a:lnTo>
                  <a:lnTo>
                    <a:pt x="69" y="77"/>
                  </a:lnTo>
                  <a:lnTo>
                    <a:pt x="70" y="77"/>
                  </a:lnTo>
                  <a:lnTo>
                    <a:pt x="70" y="78"/>
                  </a:lnTo>
                  <a:lnTo>
                    <a:pt x="72" y="77"/>
                  </a:lnTo>
                  <a:lnTo>
                    <a:pt x="73" y="77"/>
                  </a:lnTo>
                  <a:lnTo>
                    <a:pt x="74" y="77"/>
                  </a:lnTo>
                  <a:lnTo>
                    <a:pt x="75" y="77"/>
                  </a:lnTo>
                  <a:lnTo>
                    <a:pt x="75" y="78"/>
                  </a:lnTo>
                  <a:lnTo>
                    <a:pt x="76" y="78"/>
                  </a:lnTo>
                  <a:lnTo>
                    <a:pt x="76" y="80"/>
                  </a:lnTo>
                  <a:lnTo>
                    <a:pt x="76" y="78"/>
                  </a:lnTo>
                  <a:lnTo>
                    <a:pt x="76" y="77"/>
                  </a:lnTo>
                  <a:lnTo>
                    <a:pt x="75" y="77"/>
                  </a:lnTo>
                  <a:lnTo>
                    <a:pt x="75" y="76"/>
                  </a:lnTo>
                  <a:lnTo>
                    <a:pt x="75" y="75"/>
                  </a:lnTo>
                  <a:lnTo>
                    <a:pt x="76" y="75"/>
                  </a:lnTo>
                  <a:lnTo>
                    <a:pt x="76" y="76"/>
                  </a:lnTo>
                  <a:lnTo>
                    <a:pt x="78" y="76"/>
                  </a:lnTo>
                  <a:lnTo>
                    <a:pt x="78" y="75"/>
                  </a:lnTo>
                  <a:lnTo>
                    <a:pt x="78" y="74"/>
                  </a:lnTo>
                  <a:lnTo>
                    <a:pt x="76" y="74"/>
                  </a:lnTo>
                  <a:lnTo>
                    <a:pt x="76" y="72"/>
                  </a:lnTo>
                  <a:lnTo>
                    <a:pt x="78" y="72"/>
                  </a:lnTo>
                  <a:lnTo>
                    <a:pt x="79" y="72"/>
                  </a:lnTo>
                  <a:lnTo>
                    <a:pt x="80" y="72"/>
                  </a:lnTo>
                  <a:lnTo>
                    <a:pt x="80" y="74"/>
                  </a:lnTo>
                  <a:lnTo>
                    <a:pt x="81" y="74"/>
                  </a:lnTo>
                  <a:lnTo>
                    <a:pt x="81" y="72"/>
                  </a:lnTo>
                  <a:lnTo>
                    <a:pt x="81" y="71"/>
                  </a:lnTo>
                  <a:lnTo>
                    <a:pt x="82" y="71"/>
                  </a:lnTo>
                  <a:lnTo>
                    <a:pt x="81" y="71"/>
                  </a:lnTo>
                  <a:lnTo>
                    <a:pt x="81" y="70"/>
                  </a:lnTo>
                  <a:lnTo>
                    <a:pt x="81" y="69"/>
                  </a:lnTo>
                  <a:lnTo>
                    <a:pt x="82" y="69"/>
                  </a:lnTo>
                  <a:lnTo>
                    <a:pt x="82" y="70"/>
                  </a:lnTo>
                  <a:lnTo>
                    <a:pt x="84" y="70"/>
                  </a:lnTo>
                  <a:lnTo>
                    <a:pt x="84" y="69"/>
                  </a:lnTo>
                  <a:lnTo>
                    <a:pt x="85" y="69"/>
                  </a:lnTo>
                  <a:lnTo>
                    <a:pt x="85" y="68"/>
                  </a:lnTo>
                  <a:lnTo>
                    <a:pt x="85" y="69"/>
                  </a:lnTo>
                  <a:lnTo>
                    <a:pt x="85" y="68"/>
                  </a:lnTo>
                  <a:lnTo>
                    <a:pt x="85" y="66"/>
                  </a:lnTo>
                  <a:lnTo>
                    <a:pt x="84" y="65"/>
                  </a:lnTo>
                  <a:lnTo>
                    <a:pt x="84" y="64"/>
                  </a:lnTo>
                  <a:lnTo>
                    <a:pt x="82" y="64"/>
                  </a:lnTo>
                  <a:lnTo>
                    <a:pt x="84" y="64"/>
                  </a:lnTo>
                  <a:lnTo>
                    <a:pt x="82" y="63"/>
                  </a:lnTo>
                  <a:lnTo>
                    <a:pt x="82" y="64"/>
                  </a:lnTo>
                  <a:lnTo>
                    <a:pt x="81" y="64"/>
                  </a:lnTo>
                  <a:lnTo>
                    <a:pt x="81" y="63"/>
                  </a:lnTo>
                  <a:lnTo>
                    <a:pt x="80" y="63"/>
                  </a:lnTo>
                  <a:lnTo>
                    <a:pt x="80" y="62"/>
                  </a:lnTo>
                  <a:lnTo>
                    <a:pt x="79" y="62"/>
                  </a:lnTo>
                  <a:lnTo>
                    <a:pt x="80" y="62"/>
                  </a:lnTo>
                  <a:lnTo>
                    <a:pt x="80" y="60"/>
                  </a:lnTo>
                  <a:lnTo>
                    <a:pt x="81" y="60"/>
                  </a:lnTo>
                  <a:lnTo>
                    <a:pt x="81" y="59"/>
                  </a:lnTo>
                  <a:lnTo>
                    <a:pt x="80" y="59"/>
                  </a:lnTo>
                  <a:lnTo>
                    <a:pt x="79" y="59"/>
                  </a:lnTo>
                  <a:lnTo>
                    <a:pt x="79" y="58"/>
                  </a:lnTo>
                  <a:lnTo>
                    <a:pt x="78" y="58"/>
                  </a:lnTo>
                  <a:lnTo>
                    <a:pt x="78" y="57"/>
                  </a:lnTo>
                  <a:lnTo>
                    <a:pt x="76" y="57"/>
                  </a:lnTo>
                  <a:lnTo>
                    <a:pt x="78" y="57"/>
                  </a:lnTo>
                  <a:lnTo>
                    <a:pt x="78" y="56"/>
                  </a:lnTo>
                  <a:lnTo>
                    <a:pt x="78" y="54"/>
                  </a:lnTo>
                  <a:lnTo>
                    <a:pt x="78" y="53"/>
                  </a:lnTo>
                  <a:lnTo>
                    <a:pt x="78" y="52"/>
                  </a:lnTo>
                  <a:lnTo>
                    <a:pt x="79" y="52"/>
                  </a:lnTo>
                  <a:lnTo>
                    <a:pt x="79" y="53"/>
                  </a:lnTo>
                  <a:lnTo>
                    <a:pt x="80" y="53"/>
                  </a:lnTo>
                  <a:lnTo>
                    <a:pt x="80" y="52"/>
                  </a:lnTo>
                  <a:lnTo>
                    <a:pt x="81" y="52"/>
                  </a:lnTo>
                  <a:lnTo>
                    <a:pt x="82" y="52"/>
                  </a:lnTo>
                  <a:lnTo>
                    <a:pt x="82" y="53"/>
                  </a:lnTo>
                  <a:lnTo>
                    <a:pt x="84" y="54"/>
                  </a:lnTo>
                  <a:lnTo>
                    <a:pt x="84" y="56"/>
                  </a:lnTo>
                  <a:lnTo>
                    <a:pt x="85" y="56"/>
                  </a:lnTo>
                  <a:lnTo>
                    <a:pt x="86" y="56"/>
                  </a:lnTo>
                  <a:lnTo>
                    <a:pt x="85" y="54"/>
                  </a:lnTo>
                  <a:lnTo>
                    <a:pt x="86" y="54"/>
                  </a:lnTo>
                  <a:lnTo>
                    <a:pt x="86" y="56"/>
                  </a:lnTo>
                  <a:lnTo>
                    <a:pt x="87" y="56"/>
                  </a:lnTo>
                  <a:lnTo>
                    <a:pt x="88" y="56"/>
                  </a:lnTo>
                  <a:lnTo>
                    <a:pt x="88" y="54"/>
                  </a:lnTo>
                  <a:lnTo>
                    <a:pt x="87" y="53"/>
                  </a:lnTo>
                  <a:lnTo>
                    <a:pt x="87" y="52"/>
                  </a:lnTo>
                  <a:lnTo>
                    <a:pt x="87" y="51"/>
                  </a:lnTo>
                  <a:lnTo>
                    <a:pt x="87" y="50"/>
                  </a:lnTo>
                  <a:lnTo>
                    <a:pt x="88" y="50"/>
                  </a:lnTo>
                  <a:lnTo>
                    <a:pt x="88" y="48"/>
                  </a:lnTo>
                  <a:lnTo>
                    <a:pt x="88" y="47"/>
                  </a:lnTo>
                  <a:lnTo>
                    <a:pt x="90" y="47"/>
                  </a:lnTo>
                  <a:lnTo>
                    <a:pt x="90" y="48"/>
                  </a:lnTo>
                  <a:lnTo>
                    <a:pt x="91" y="48"/>
                  </a:lnTo>
                  <a:lnTo>
                    <a:pt x="91" y="50"/>
                  </a:lnTo>
                  <a:lnTo>
                    <a:pt x="91" y="48"/>
                  </a:lnTo>
                  <a:lnTo>
                    <a:pt x="91" y="47"/>
                  </a:lnTo>
                  <a:lnTo>
                    <a:pt x="92" y="47"/>
                  </a:lnTo>
                  <a:lnTo>
                    <a:pt x="92" y="48"/>
                  </a:lnTo>
                  <a:lnTo>
                    <a:pt x="93" y="48"/>
                  </a:lnTo>
                  <a:lnTo>
                    <a:pt x="93" y="50"/>
                  </a:lnTo>
                  <a:lnTo>
                    <a:pt x="93" y="51"/>
                  </a:lnTo>
                  <a:lnTo>
                    <a:pt x="93" y="52"/>
                  </a:lnTo>
                  <a:lnTo>
                    <a:pt x="93" y="53"/>
                  </a:lnTo>
                  <a:lnTo>
                    <a:pt x="93" y="54"/>
                  </a:lnTo>
                  <a:lnTo>
                    <a:pt x="94" y="54"/>
                  </a:lnTo>
                  <a:lnTo>
                    <a:pt x="96" y="54"/>
                  </a:lnTo>
                  <a:lnTo>
                    <a:pt x="97" y="54"/>
                  </a:lnTo>
                  <a:lnTo>
                    <a:pt x="96" y="53"/>
                  </a:lnTo>
                  <a:lnTo>
                    <a:pt x="96" y="52"/>
                  </a:lnTo>
                  <a:lnTo>
                    <a:pt x="96" y="51"/>
                  </a:lnTo>
                  <a:lnTo>
                    <a:pt x="96" y="50"/>
                  </a:lnTo>
                  <a:lnTo>
                    <a:pt x="97" y="50"/>
                  </a:lnTo>
                  <a:lnTo>
                    <a:pt x="97" y="51"/>
                  </a:lnTo>
                  <a:lnTo>
                    <a:pt x="98" y="51"/>
                  </a:lnTo>
                  <a:lnTo>
                    <a:pt x="99" y="51"/>
                  </a:lnTo>
                  <a:lnTo>
                    <a:pt x="99" y="52"/>
                  </a:lnTo>
                  <a:lnTo>
                    <a:pt x="100" y="52"/>
                  </a:lnTo>
                  <a:lnTo>
                    <a:pt x="102" y="52"/>
                  </a:lnTo>
                  <a:lnTo>
                    <a:pt x="102" y="53"/>
                  </a:lnTo>
                  <a:lnTo>
                    <a:pt x="102" y="54"/>
                  </a:lnTo>
                  <a:lnTo>
                    <a:pt x="102" y="56"/>
                  </a:lnTo>
                  <a:lnTo>
                    <a:pt x="102" y="57"/>
                  </a:lnTo>
                  <a:lnTo>
                    <a:pt x="102" y="58"/>
                  </a:lnTo>
                  <a:lnTo>
                    <a:pt x="103" y="59"/>
                  </a:lnTo>
                  <a:lnTo>
                    <a:pt x="104" y="59"/>
                  </a:lnTo>
                  <a:lnTo>
                    <a:pt x="104" y="58"/>
                  </a:lnTo>
                  <a:lnTo>
                    <a:pt x="103" y="58"/>
                  </a:lnTo>
                  <a:lnTo>
                    <a:pt x="103" y="57"/>
                  </a:lnTo>
                  <a:lnTo>
                    <a:pt x="104" y="57"/>
                  </a:lnTo>
                  <a:lnTo>
                    <a:pt x="104" y="56"/>
                  </a:lnTo>
                  <a:lnTo>
                    <a:pt x="104" y="54"/>
                  </a:lnTo>
                  <a:lnTo>
                    <a:pt x="103" y="54"/>
                  </a:lnTo>
                  <a:lnTo>
                    <a:pt x="103" y="53"/>
                  </a:lnTo>
                  <a:lnTo>
                    <a:pt x="104" y="53"/>
                  </a:lnTo>
                  <a:lnTo>
                    <a:pt x="105" y="53"/>
                  </a:lnTo>
                  <a:lnTo>
                    <a:pt x="105" y="52"/>
                  </a:lnTo>
                  <a:lnTo>
                    <a:pt x="106" y="52"/>
                  </a:lnTo>
                  <a:lnTo>
                    <a:pt x="105" y="51"/>
                  </a:lnTo>
                  <a:lnTo>
                    <a:pt x="106" y="51"/>
                  </a:lnTo>
                  <a:lnTo>
                    <a:pt x="108" y="51"/>
                  </a:lnTo>
                  <a:lnTo>
                    <a:pt x="109" y="51"/>
                  </a:lnTo>
                  <a:lnTo>
                    <a:pt x="110" y="51"/>
                  </a:lnTo>
                  <a:lnTo>
                    <a:pt x="110" y="52"/>
                  </a:lnTo>
                  <a:lnTo>
                    <a:pt x="110" y="53"/>
                  </a:lnTo>
                  <a:lnTo>
                    <a:pt x="110" y="52"/>
                  </a:lnTo>
                  <a:lnTo>
                    <a:pt x="111" y="52"/>
                  </a:lnTo>
                  <a:lnTo>
                    <a:pt x="111" y="53"/>
                  </a:lnTo>
                  <a:lnTo>
                    <a:pt x="112" y="53"/>
                  </a:lnTo>
                  <a:lnTo>
                    <a:pt x="112" y="54"/>
                  </a:lnTo>
                  <a:lnTo>
                    <a:pt x="114" y="54"/>
                  </a:lnTo>
                  <a:lnTo>
                    <a:pt x="114" y="56"/>
                  </a:lnTo>
                  <a:lnTo>
                    <a:pt x="115" y="56"/>
                  </a:lnTo>
                  <a:lnTo>
                    <a:pt x="114" y="57"/>
                  </a:lnTo>
                  <a:lnTo>
                    <a:pt x="112" y="57"/>
                  </a:lnTo>
                  <a:lnTo>
                    <a:pt x="112" y="58"/>
                  </a:lnTo>
                  <a:lnTo>
                    <a:pt x="112" y="59"/>
                  </a:lnTo>
                  <a:lnTo>
                    <a:pt x="112" y="60"/>
                  </a:lnTo>
                  <a:lnTo>
                    <a:pt x="114" y="60"/>
                  </a:lnTo>
                  <a:lnTo>
                    <a:pt x="114" y="62"/>
                  </a:lnTo>
                  <a:lnTo>
                    <a:pt x="115" y="62"/>
                  </a:lnTo>
                  <a:lnTo>
                    <a:pt x="114" y="62"/>
                  </a:lnTo>
                  <a:lnTo>
                    <a:pt x="114" y="60"/>
                  </a:lnTo>
                  <a:lnTo>
                    <a:pt x="115" y="60"/>
                  </a:lnTo>
                  <a:lnTo>
                    <a:pt x="115" y="59"/>
                  </a:lnTo>
                  <a:lnTo>
                    <a:pt x="116" y="59"/>
                  </a:lnTo>
                  <a:lnTo>
                    <a:pt x="116" y="58"/>
                  </a:lnTo>
                  <a:lnTo>
                    <a:pt x="117" y="58"/>
                  </a:lnTo>
                  <a:lnTo>
                    <a:pt x="117" y="57"/>
                  </a:lnTo>
                  <a:lnTo>
                    <a:pt x="118" y="57"/>
                  </a:lnTo>
                  <a:lnTo>
                    <a:pt x="120" y="57"/>
                  </a:lnTo>
                  <a:lnTo>
                    <a:pt x="120" y="58"/>
                  </a:lnTo>
                  <a:lnTo>
                    <a:pt x="120" y="59"/>
                  </a:lnTo>
                  <a:lnTo>
                    <a:pt x="121" y="59"/>
                  </a:lnTo>
                  <a:lnTo>
                    <a:pt x="121" y="58"/>
                  </a:lnTo>
                  <a:lnTo>
                    <a:pt x="120" y="58"/>
                  </a:lnTo>
                  <a:lnTo>
                    <a:pt x="121" y="58"/>
                  </a:lnTo>
                  <a:lnTo>
                    <a:pt x="122" y="58"/>
                  </a:lnTo>
                  <a:lnTo>
                    <a:pt x="122" y="59"/>
                  </a:lnTo>
                  <a:lnTo>
                    <a:pt x="122" y="60"/>
                  </a:lnTo>
                  <a:lnTo>
                    <a:pt x="121" y="60"/>
                  </a:lnTo>
                  <a:lnTo>
                    <a:pt x="122" y="60"/>
                  </a:lnTo>
                  <a:lnTo>
                    <a:pt x="121" y="60"/>
                  </a:lnTo>
                  <a:lnTo>
                    <a:pt x="121" y="62"/>
                  </a:lnTo>
                  <a:lnTo>
                    <a:pt x="121" y="63"/>
                  </a:lnTo>
                  <a:lnTo>
                    <a:pt x="122" y="63"/>
                  </a:lnTo>
                  <a:lnTo>
                    <a:pt x="122" y="64"/>
                  </a:lnTo>
                  <a:lnTo>
                    <a:pt x="122" y="63"/>
                  </a:lnTo>
                  <a:lnTo>
                    <a:pt x="122" y="62"/>
                  </a:lnTo>
                  <a:lnTo>
                    <a:pt x="123" y="62"/>
                  </a:lnTo>
                  <a:lnTo>
                    <a:pt x="123" y="63"/>
                  </a:lnTo>
                  <a:lnTo>
                    <a:pt x="123" y="64"/>
                  </a:lnTo>
                  <a:lnTo>
                    <a:pt x="124" y="64"/>
                  </a:lnTo>
                  <a:lnTo>
                    <a:pt x="124" y="63"/>
                  </a:lnTo>
                  <a:lnTo>
                    <a:pt x="124" y="62"/>
                  </a:lnTo>
                  <a:lnTo>
                    <a:pt x="126" y="62"/>
                  </a:lnTo>
                  <a:lnTo>
                    <a:pt x="126" y="63"/>
                  </a:lnTo>
                  <a:lnTo>
                    <a:pt x="126" y="64"/>
                  </a:lnTo>
                  <a:lnTo>
                    <a:pt x="127" y="63"/>
                  </a:lnTo>
                  <a:lnTo>
                    <a:pt x="127" y="62"/>
                  </a:lnTo>
                  <a:lnTo>
                    <a:pt x="127" y="63"/>
                  </a:lnTo>
                  <a:lnTo>
                    <a:pt x="128" y="63"/>
                  </a:lnTo>
                  <a:lnTo>
                    <a:pt x="128" y="64"/>
                  </a:lnTo>
                  <a:lnTo>
                    <a:pt x="127" y="64"/>
                  </a:lnTo>
                  <a:lnTo>
                    <a:pt x="127" y="65"/>
                  </a:lnTo>
                  <a:lnTo>
                    <a:pt x="126" y="65"/>
                  </a:lnTo>
                  <a:lnTo>
                    <a:pt x="126" y="64"/>
                  </a:lnTo>
                  <a:lnTo>
                    <a:pt x="124" y="64"/>
                  </a:lnTo>
                  <a:lnTo>
                    <a:pt x="124" y="65"/>
                  </a:lnTo>
                  <a:lnTo>
                    <a:pt x="126" y="65"/>
                  </a:lnTo>
                  <a:lnTo>
                    <a:pt x="127" y="65"/>
                  </a:lnTo>
                  <a:lnTo>
                    <a:pt x="127" y="66"/>
                  </a:lnTo>
                  <a:lnTo>
                    <a:pt x="128" y="66"/>
                  </a:lnTo>
                  <a:lnTo>
                    <a:pt x="128" y="65"/>
                  </a:lnTo>
                  <a:lnTo>
                    <a:pt x="129" y="65"/>
                  </a:lnTo>
                  <a:lnTo>
                    <a:pt x="129" y="64"/>
                  </a:lnTo>
                  <a:lnTo>
                    <a:pt x="129" y="63"/>
                  </a:lnTo>
                  <a:lnTo>
                    <a:pt x="128" y="63"/>
                  </a:lnTo>
                  <a:lnTo>
                    <a:pt x="128" y="62"/>
                  </a:lnTo>
                  <a:lnTo>
                    <a:pt x="128" y="60"/>
                  </a:lnTo>
                  <a:lnTo>
                    <a:pt x="127" y="60"/>
                  </a:lnTo>
                  <a:lnTo>
                    <a:pt x="127" y="59"/>
                  </a:lnTo>
                  <a:lnTo>
                    <a:pt x="128" y="59"/>
                  </a:lnTo>
                  <a:lnTo>
                    <a:pt x="128" y="60"/>
                  </a:lnTo>
                  <a:lnTo>
                    <a:pt x="129" y="59"/>
                  </a:lnTo>
                  <a:lnTo>
                    <a:pt x="131" y="59"/>
                  </a:lnTo>
                  <a:lnTo>
                    <a:pt x="131" y="60"/>
                  </a:lnTo>
                  <a:lnTo>
                    <a:pt x="131" y="59"/>
                  </a:lnTo>
                  <a:lnTo>
                    <a:pt x="132" y="59"/>
                  </a:lnTo>
                  <a:lnTo>
                    <a:pt x="132" y="60"/>
                  </a:lnTo>
                  <a:lnTo>
                    <a:pt x="131" y="60"/>
                  </a:lnTo>
                  <a:lnTo>
                    <a:pt x="131" y="62"/>
                  </a:lnTo>
                  <a:lnTo>
                    <a:pt x="131" y="63"/>
                  </a:lnTo>
                  <a:lnTo>
                    <a:pt x="129" y="63"/>
                  </a:lnTo>
                  <a:lnTo>
                    <a:pt x="129" y="64"/>
                  </a:lnTo>
                  <a:lnTo>
                    <a:pt x="129" y="65"/>
                  </a:lnTo>
                  <a:lnTo>
                    <a:pt x="129" y="66"/>
                  </a:lnTo>
                  <a:lnTo>
                    <a:pt x="131" y="66"/>
                  </a:lnTo>
                  <a:lnTo>
                    <a:pt x="131" y="65"/>
                  </a:lnTo>
                  <a:lnTo>
                    <a:pt x="132" y="65"/>
                  </a:lnTo>
                  <a:lnTo>
                    <a:pt x="133" y="65"/>
                  </a:lnTo>
                  <a:lnTo>
                    <a:pt x="134" y="65"/>
                  </a:lnTo>
                  <a:lnTo>
                    <a:pt x="135" y="65"/>
                  </a:lnTo>
                  <a:lnTo>
                    <a:pt x="137" y="66"/>
                  </a:lnTo>
                  <a:lnTo>
                    <a:pt x="137" y="65"/>
                  </a:lnTo>
                  <a:lnTo>
                    <a:pt x="138" y="66"/>
                  </a:lnTo>
                  <a:lnTo>
                    <a:pt x="138" y="65"/>
                  </a:lnTo>
                  <a:lnTo>
                    <a:pt x="139" y="65"/>
                  </a:lnTo>
                  <a:lnTo>
                    <a:pt x="139" y="66"/>
                  </a:lnTo>
                  <a:lnTo>
                    <a:pt x="139" y="65"/>
                  </a:lnTo>
                  <a:lnTo>
                    <a:pt x="139" y="66"/>
                  </a:lnTo>
                  <a:lnTo>
                    <a:pt x="139" y="65"/>
                  </a:lnTo>
                  <a:lnTo>
                    <a:pt x="140" y="65"/>
                  </a:lnTo>
                  <a:lnTo>
                    <a:pt x="140" y="66"/>
                  </a:lnTo>
                  <a:lnTo>
                    <a:pt x="140" y="68"/>
                  </a:lnTo>
                  <a:lnTo>
                    <a:pt x="139" y="68"/>
                  </a:lnTo>
                  <a:lnTo>
                    <a:pt x="139" y="69"/>
                  </a:lnTo>
                  <a:lnTo>
                    <a:pt x="138" y="69"/>
                  </a:lnTo>
                  <a:lnTo>
                    <a:pt x="138" y="70"/>
                  </a:lnTo>
                  <a:lnTo>
                    <a:pt x="139" y="70"/>
                  </a:lnTo>
                  <a:lnTo>
                    <a:pt x="138" y="71"/>
                  </a:lnTo>
                  <a:lnTo>
                    <a:pt x="138" y="72"/>
                  </a:lnTo>
                  <a:lnTo>
                    <a:pt x="138" y="71"/>
                  </a:lnTo>
                  <a:lnTo>
                    <a:pt x="139" y="70"/>
                  </a:lnTo>
                  <a:lnTo>
                    <a:pt x="139" y="71"/>
                  </a:lnTo>
                  <a:lnTo>
                    <a:pt x="140" y="70"/>
                  </a:lnTo>
                  <a:lnTo>
                    <a:pt x="139" y="70"/>
                  </a:lnTo>
                  <a:lnTo>
                    <a:pt x="140" y="70"/>
                  </a:lnTo>
                  <a:lnTo>
                    <a:pt x="140" y="71"/>
                  </a:lnTo>
                  <a:lnTo>
                    <a:pt x="140" y="72"/>
                  </a:lnTo>
                  <a:lnTo>
                    <a:pt x="141" y="72"/>
                  </a:lnTo>
                  <a:lnTo>
                    <a:pt x="141" y="71"/>
                  </a:lnTo>
                  <a:lnTo>
                    <a:pt x="143" y="70"/>
                  </a:lnTo>
                  <a:lnTo>
                    <a:pt x="143" y="71"/>
                  </a:lnTo>
                  <a:lnTo>
                    <a:pt x="144" y="71"/>
                  </a:lnTo>
                  <a:lnTo>
                    <a:pt x="145" y="71"/>
                  </a:lnTo>
                  <a:lnTo>
                    <a:pt x="145" y="72"/>
                  </a:lnTo>
                  <a:lnTo>
                    <a:pt x="146" y="71"/>
                  </a:lnTo>
                  <a:lnTo>
                    <a:pt x="147" y="71"/>
                  </a:lnTo>
                  <a:lnTo>
                    <a:pt x="147" y="72"/>
                  </a:lnTo>
                  <a:lnTo>
                    <a:pt x="147" y="74"/>
                  </a:lnTo>
                  <a:lnTo>
                    <a:pt x="149" y="74"/>
                  </a:lnTo>
                  <a:lnTo>
                    <a:pt x="150" y="74"/>
                  </a:lnTo>
                  <a:lnTo>
                    <a:pt x="151" y="74"/>
                  </a:lnTo>
                  <a:lnTo>
                    <a:pt x="151" y="75"/>
                  </a:lnTo>
                  <a:lnTo>
                    <a:pt x="152" y="75"/>
                  </a:lnTo>
                  <a:lnTo>
                    <a:pt x="151" y="75"/>
                  </a:lnTo>
                  <a:lnTo>
                    <a:pt x="151" y="74"/>
                  </a:lnTo>
                  <a:lnTo>
                    <a:pt x="152" y="74"/>
                  </a:lnTo>
                  <a:lnTo>
                    <a:pt x="152" y="75"/>
                  </a:lnTo>
                  <a:lnTo>
                    <a:pt x="152" y="74"/>
                  </a:lnTo>
                  <a:lnTo>
                    <a:pt x="153" y="75"/>
                  </a:lnTo>
                  <a:lnTo>
                    <a:pt x="152" y="75"/>
                  </a:lnTo>
                  <a:lnTo>
                    <a:pt x="151" y="75"/>
                  </a:lnTo>
                  <a:lnTo>
                    <a:pt x="152" y="75"/>
                  </a:lnTo>
                  <a:lnTo>
                    <a:pt x="152" y="76"/>
                  </a:lnTo>
                  <a:lnTo>
                    <a:pt x="153" y="76"/>
                  </a:lnTo>
                  <a:lnTo>
                    <a:pt x="153" y="75"/>
                  </a:lnTo>
                  <a:lnTo>
                    <a:pt x="153" y="74"/>
                  </a:lnTo>
                  <a:lnTo>
                    <a:pt x="153" y="75"/>
                  </a:lnTo>
                  <a:lnTo>
                    <a:pt x="155" y="75"/>
                  </a:lnTo>
                  <a:lnTo>
                    <a:pt x="153" y="76"/>
                  </a:lnTo>
                  <a:lnTo>
                    <a:pt x="155" y="76"/>
                  </a:lnTo>
                  <a:lnTo>
                    <a:pt x="155" y="77"/>
                  </a:lnTo>
                  <a:lnTo>
                    <a:pt x="155" y="76"/>
                  </a:lnTo>
                  <a:lnTo>
                    <a:pt x="156" y="76"/>
                  </a:lnTo>
                  <a:lnTo>
                    <a:pt x="157" y="76"/>
                  </a:lnTo>
                  <a:lnTo>
                    <a:pt x="158" y="76"/>
                  </a:lnTo>
                  <a:lnTo>
                    <a:pt x="158" y="77"/>
                  </a:lnTo>
                  <a:lnTo>
                    <a:pt x="158" y="78"/>
                  </a:lnTo>
                  <a:lnTo>
                    <a:pt x="158" y="77"/>
                  </a:lnTo>
                  <a:lnTo>
                    <a:pt x="159" y="77"/>
                  </a:lnTo>
                  <a:lnTo>
                    <a:pt x="159" y="78"/>
                  </a:lnTo>
                  <a:lnTo>
                    <a:pt x="159" y="80"/>
                  </a:lnTo>
                  <a:lnTo>
                    <a:pt x="161" y="80"/>
                  </a:lnTo>
                  <a:lnTo>
                    <a:pt x="159" y="80"/>
                  </a:lnTo>
                  <a:lnTo>
                    <a:pt x="161" y="80"/>
                  </a:lnTo>
                  <a:lnTo>
                    <a:pt x="159" y="81"/>
                  </a:lnTo>
                  <a:lnTo>
                    <a:pt x="159" y="82"/>
                  </a:lnTo>
                  <a:lnTo>
                    <a:pt x="158" y="82"/>
                  </a:lnTo>
                  <a:lnTo>
                    <a:pt x="157" y="82"/>
                  </a:lnTo>
                  <a:lnTo>
                    <a:pt x="157" y="83"/>
                  </a:lnTo>
                  <a:lnTo>
                    <a:pt x="156" y="83"/>
                  </a:lnTo>
                  <a:lnTo>
                    <a:pt x="156" y="82"/>
                  </a:lnTo>
                  <a:lnTo>
                    <a:pt x="157" y="82"/>
                  </a:lnTo>
                  <a:lnTo>
                    <a:pt x="157" y="81"/>
                  </a:lnTo>
                  <a:lnTo>
                    <a:pt x="157" y="82"/>
                  </a:lnTo>
                  <a:lnTo>
                    <a:pt x="156" y="82"/>
                  </a:lnTo>
                  <a:lnTo>
                    <a:pt x="156" y="83"/>
                  </a:lnTo>
                  <a:lnTo>
                    <a:pt x="156" y="82"/>
                  </a:lnTo>
                  <a:lnTo>
                    <a:pt x="156" y="81"/>
                  </a:lnTo>
                  <a:lnTo>
                    <a:pt x="155" y="81"/>
                  </a:lnTo>
                  <a:lnTo>
                    <a:pt x="153" y="81"/>
                  </a:lnTo>
                  <a:lnTo>
                    <a:pt x="155" y="82"/>
                  </a:lnTo>
                  <a:lnTo>
                    <a:pt x="155" y="81"/>
                  </a:lnTo>
                  <a:lnTo>
                    <a:pt x="155" y="82"/>
                  </a:lnTo>
                  <a:lnTo>
                    <a:pt x="156" y="82"/>
                  </a:lnTo>
                  <a:lnTo>
                    <a:pt x="155" y="82"/>
                  </a:lnTo>
                  <a:lnTo>
                    <a:pt x="156" y="82"/>
                  </a:lnTo>
                  <a:lnTo>
                    <a:pt x="155" y="83"/>
                  </a:lnTo>
                  <a:lnTo>
                    <a:pt x="157" y="83"/>
                  </a:lnTo>
                  <a:lnTo>
                    <a:pt x="158" y="83"/>
                  </a:lnTo>
                  <a:lnTo>
                    <a:pt x="158" y="84"/>
                  </a:lnTo>
                  <a:lnTo>
                    <a:pt x="157" y="86"/>
                  </a:lnTo>
                  <a:lnTo>
                    <a:pt x="158" y="86"/>
                  </a:lnTo>
                  <a:lnTo>
                    <a:pt x="158" y="87"/>
                  </a:lnTo>
                  <a:lnTo>
                    <a:pt x="157" y="87"/>
                  </a:lnTo>
                  <a:lnTo>
                    <a:pt x="158" y="87"/>
                  </a:lnTo>
                  <a:lnTo>
                    <a:pt x="158" y="86"/>
                  </a:lnTo>
                  <a:lnTo>
                    <a:pt x="159" y="86"/>
                  </a:lnTo>
                  <a:lnTo>
                    <a:pt x="159" y="84"/>
                  </a:lnTo>
                  <a:lnTo>
                    <a:pt x="158" y="84"/>
                  </a:lnTo>
                  <a:lnTo>
                    <a:pt x="158" y="83"/>
                  </a:lnTo>
                  <a:lnTo>
                    <a:pt x="159" y="83"/>
                  </a:lnTo>
                  <a:lnTo>
                    <a:pt x="159" y="84"/>
                  </a:lnTo>
                  <a:lnTo>
                    <a:pt x="159" y="83"/>
                  </a:lnTo>
                  <a:lnTo>
                    <a:pt x="161" y="83"/>
                  </a:lnTo>
                  <a:lnTo>
                    <a:pt x="161" y="84"/>
                  </a:lnTo>
                  <a:lnTo>
                    <a:pt x="162" y="84"/>
                  </a:lnTo>
                  <a:lnTo>
                    <a:pt x="163" y="84"/>
                  </a:lnTo>
                  <a:lnTo>
                    <a:pt x="163" y="86"/>
                  </a:lnTo>
                  <a:lnTo>
                    <a:pt x="163" y="87"/>
                  </a:lnTo>
                  <a:lnTo>
                    <a:pt x="164" y="87"/>
                  </a:lnTo>
                  <a:lnTo>
                    <a:pt x="164" y="88"/>
                  </a:lnTo>
                  <a:lnTo>
                    <a:pt x="163" y="87"/>
                  </a:lnTo>
                  <a:lnTo>
                    <a:pt x="163" y="88"/>
                  </a:lnTo>
                  <a:lnTo>
                    <a:pt x="163" y="89"/>
                  </a:lnTo>
                  <a:lnTo>
                    <a:pt x="164" y="89"/>
                  </a:lnTo>
                  <a:lnTo>
                    <a:pt x="165" y="89"/>
                  </a:lnTo>
                  <a:lnTo>
                    <a:pt x="165" y="90"/>
                  </a:lnTo>
                  <a:lnTo>
                    <a:pt x="165" y="89"/>
                  </a:lnTo>
                  <a:lnTo>
                    <a:pt x="165" y="88"/>
                  </a:lnTo>
                  <a:lnTo>
                    <a:pt x="164" y="88"/>
                  </a:lnTo>
                  <a:lnTo>
                    <a:pt x="165" y="88"/>
                  </a:lnTo>
                  <a:lnTo>
                    <a:pt x="165" y="87"/>
                  </a:lnTo>
                  <a:lnTo>
                    <a:pt x="164" y="87"/>
                  </a:lnTo>
                  <a:lnTo>
                    <a:pt x="164" y="86"/>
                  </a:lnTo>
                  <a:lnTo>
                    <a:pt x="163" y="86"/>
                  </a:lnTo>
                  <a:lnTo>
                    <a:pt x="163" y="84"/>
                  </a:lnTo>
                  <a:lnTo>
                    <a:pt x="164" y="84"/>
                  </a:lnTo>
                  <a:lnTo>
                    <a:pt x="164" y="83"/>
                  </a:lnTo>
                  <a:lnTo>
                    <a:pt x="163" y="83"/>
                  </a:lnTo>
                  <a:lnTo>
                    <a:pt x="163" y="82"/>
                  </a:lnTo>
                  <a:lnTo>
                    <a:pt x="163" y="81"/>
                  </a:lnTo>
                  <a:lnTo>
                    <a:pt x="163" y="80"/>
                  </a:lnTo>
                  <a:lnTo>
                    <a:pt x="162" y="80"/>
                  </a:lnTo>
                  <a:lnTo>
                    <a:pt x="162" y="78"/>
                  </a:lnTo>
                  <a:lnTo>
                    <a:pt x="162" y="77"/>
                  </a:lnTo>
                  <a:lnTo>
                    <a:pt x="162" y="76"/>
                  </a:lnTo>
                  <a:lnTo>
                    <a:pt x="162" y="75"/>
                  </a:lnTo>
                  <a:lnTo>
                    <a:pt x="161" y="75"/>
                  </a:lnTo>
                  <a:lnTo>
                    <a:pt x="162" y="75"/>
                  </a:lnTo>
                  <a:lnTo>
                    <a:pt x="161" y="75"/>
                  </a:lnTo>
                  <a:lnTo>
                    <a:pt x="161" y="74"/>
                  </a:lnTo>
                  <a:lnTo>
                    <a:pt x="161" y="75"/>
                  </a:lnTo>
                  <a:lnTo>
                    <a:pt x="159" y="75"/>
                  </a:lnTo>
                  <a:lnTo>
                    <a:pt x="159" y="74"/>
                  </a:lnTo>
                  <a:lnTo>
                    <a:pt x="159" y="72"/>
                  </a:lnTo>
                  <a:lnTo>
                    <a:pt x="161" y="72"/>
                  </a:lnTo>
                  <a:lnTo>
                    <a:pt x="159" y="72"/>
                  </a:lnTo>
                  <a:lnTo>
                    <a:pt x="159" y="71"/>
                  </a:lnTo>
                  <a:lnTo>
                    <a:pt x="159" y="72"/>
                  </a:lnTo>
                  <a:lnTo>
                    <a:pt x="158" y="71"/>
                  </a:lnTo>
                  <a:lnTo>
                    <a:pt x="157" y="72"/>
                  </a:lnTo>
                  <a:lnTo>
                    <a:pt x="156" y="72"/>
                  </a:lnTo>
                  <a:lnTo>
                    <a:pt x="156" y="71"/>
                  </a:lnTo>
                  <a:lnTo>
                    <a:pt x="155" y="71"/>
                  </a:lnTo>
                  <a:lnTo>
                    <a:pt x="155" y="70"/>
                  </a:lnTo>
                  <a:lnTo>
                    <a:pt x="156" y="70"/>
                  </a:lnTo>
                  <a:lnTo>
                    <a:pt x="156" y="69"/>
                  </a:lnTo>
                  <a:lnTo>
                    <a:pt x="157" y="69"/>
                  </a:lnTo>
                  <a:lnTo>
                    <a:pt x="158" y="69"/>
                  </a:lnTo>
                  <a:lnTo>
                    <a:pt x="157" y="69"/>
                  </a:lnTo>
                  <a:lnTo>
                    <a:pt x="157" y="68"/>
                  </a:lnTo>
                  <a:lnTo>
                    <a:pt x="156" y="68"/>
                  </a:lnTo>
                  <a:lnTo>
                    <a:pt x="156" y="69"/>
                  </a:lnTo>
                  <a:lnTo>
                    <a:pt x="155" y="69"/>
                  </a:lnTo>
                  <a:lnTo>
                    <a:pt x="153" y="69"/>
                  </a:lnTo>
                  <a:lnTo>
                    <a:pt x="152" y="69"/>
                  </a:lnTo>
                  <a:lnTo>
                    <a:pt x="152" y="68"/>
                  </a:lnTo>
                  <a:lnTo>
                    <a:pt x="152" y="69"/>
                  </a:lnTo>
                  <a:lnTo>
                    <a:pt x="151" y="69"/>
                  </a:lnTo>
                  <a:lnTo>
                    <a:pt x="150" y="69"/>
                  </a:lnTo>
                  <a:lnTo>
                    <a:pt x="150" y="68"/>
                  </a:lnTo>
                  <a:lnTo>
                    <a:pt x="149" y="68"/>
                  </a:lnTo>
                  <a:lnTo>
                    <a:pt x="147" y="68"/>
                  </a:lnTo>
                  <a:lnTo>
                    <a:pt x="146" y="68"/>
                  </a:lnTo>
                  <a:lnTo>
                    <a:pt x="147" y="68"/>
                  </a:lnTo>
                  <a:lnTo>
                    <a:pt x="147" y="66"/>
                  </a:lnTo>
                  <a:lnTo>
                    <a:pt x="147" y="65"/>
                  </a:lnTo>
                  <a:lnTo>
                    <a:pt x="149" y="65"/>
                  </a:lnTo>
                  <a:lnTo>
                    <a:pt x="149" y="66"/>
                  </a:lnTo>
                  <a:lnTo>
                    <a:pt x="150" y="66"/>
                  </a:lnTo>
                  <a:lnTo>
                    <a:pt x="150" y="65"/>
                  </a:lnTo>
                  <a:lnTo>
                    <a:pt x="149" y="65"/>
                  </a:lnTo>
                  <a:lnTo>
                    <a:pt x="147" y="65"/>
                  </a:lnTo>
                  <a:lnTo>
                    <a:pt x="146" y="65"/>
                  </a:lnTo>
                  <a:lnTo>
                    <a:pt x="146" y="66"/>
                  </a:lnTo>
                  <a:lnTo>
                    <a:pt x="145" y="66"/>
                  </a:lnTo>
                  <a:lnTo>
                    <a:pt x="146" y="65"/>
                  </a:lnTo>
                  <a:lnTo>
                    <a:pt x="147" y="65"/>
                  </a:lnTo>
                  <a:lnTo>
                    <a:pt x="146" y="65"/>
                  </a:lnTo>
                  <a:lnTo>
                    <a:pt x="146" y="64"/>
                  </a:lnTo>
                  <a:lnTo>
                    <a:pt x="146" y="63"/>
                  </a:lnTo>
                  <a:lnTo>
                    <a:pt x="146" y="62"/>
                  </a:lnTo>
                  <a:lnTo>
                    <a:pt x="145" y="62"/>
                  </a:lnTo>
                  <a:lnTo>
                    <a:pt x="144" y="62"/>
                  </a:lnTo>
                  <a:lnTo>
                    <a:pt x="144" y="63"/>
                  </a:lnTo>
                  <a:lnTo>
                    <a:pt x="145" y="63"/>
                  </a:lnTo>
                  <a:lnTo>
                    <a:pt x="144" y="63"/>
                  </a:lnTo>
                  <a:lnTo>
                    <a:pt x="145" y="63"/>
                  </a:lnTo>
                  <a:lnTo>
                    <a:pt x="145" y="64"/>
                  </a:lnTo>
                  <a:lnTo>
                    <a:pt x="144" y="64"/>
                  </a:lnTo>
                  <a:lnTo>
                    <a:pt x="143" y="64"/>
                  </a:lnTo>
                  <a:lnTo>
                    <a:pt x="143" y="65"/>
                  </a:lnTo>
                  <a:lnTo>
                    <a:pt x="141" y="65"/>
                  </a:lnTo>
                  <a:lnTo>
                    <a:pt x="141" y="66"/>
                  </a:lnTo>
                  <a:lnTo>
                    <a:pt x="141" y="65"/>
                  </a:lnTo>
                  <a:lnTo>
                    <a:pt x="140" y="65"/>
                  </a:lnTo>
                  <a:lnTo>
                    <a:pt x="141" y="65"/>
                  </a:lnTo>
                  <a:lnTo>
                    <a:pt x="141" y="64"/>
                  </a:lnTo>
                  <a:lnTo>
                    <a:pt x="140" y="64"/>
                  </a:lnTo>
                  <a:lnTo>
                    <a:pt x="140" y="63"/>
                  </a:lnTo>
                  <a:lnTo>
                    <a:pt x="141" y="63"/>
                  </a:lnTo>
                  <a:lnTo>
                    <a:pt x="141" y="64"/>
                  </a:lnTo>
                  <a:lnTo>
                    <a:pt x="143" y="64"/>
                  </a:lnTo>
                  <a:lnTo>
                    <a:pt x="141" y="64"/>
                  </a:lnTo>
                  <a:lnTo>
                    <a:pt x="141" y="63"/>
                  </a:lnTo>
                  <a:lnTo>
                    <a:pt x="141" y="62"/>
                  </a:lnTo>
                  <a:lnTo>
                    <a:pt x="140" y="62"/>
                  </a:lnTo>
                  <a:lnTo>
                    <a:pt x="140" y="60"/>
                  </a:lnTo>
                  <a:lnTo>
                    <a:pt x="140" y="62"/>
                  </a:lnTo>
                  <a:lnTo>
                    <a:pt x="139" y="62"/>
                  </a:lnTo>
                  <a:lnTo>
                    <a:pt x="138" y="62"/>
                  </a:lnTo>
                  <a:lnTo>
                    <a:pt x="138" y="60"/>
                  </a:lnTo>
                  <a:lnTo>
                    <a:pt x="137" y="60"/>
                  </a:lnTo>
                  <a:lnTo>
                    <a:pt x="137" y="62"/>
                  </a:lnTo>
                  <a:lnTo>
                    <a:pt x="135" y="62"/>
                  </a:lnTo>
                  <a:lnTo>
                    <a:pt x="137" y="60"/>
                  </a:lnTo>
                  <a:lnTo>
                    <a:pt x="135" y="62"/>
                  </a:lnTo>
                  <a:lnTo>
                    <a:pt x="137" y="62"/>
                  </a:lnTo>
                  <a:lnTo>
                    <a:pt x="135" y="62"/>
                  </a:lnTo>
                  <a:lnTo>
                    <a:pt x="135" y="63"/>
                  </a:lnTo>
                  <a:lnTo>
                    <a:pt x="135" y="64"/>
                  </a:lnTo>
                  <a:lnTo>
                    <a:pt x="135" y="63"/>
                  </a:lnTo>
                  <a:lnTo>
                    <a:pt x="134" y="64"/>
                  </a:lnTo>
                  <a:lnTo>
                    <a:pt x="133" y="64"/>
                  </a:lnTo>
                  <a:lnTo>
                    <a:pt x="133" y="63"/>
                  </a:lnTo>
                  <a:lnTo>
                    <a:pt x="134" y="62"/>
                  </a:lnTo>
                  <a:lnTo>
                    <a:pt x="133" y="62"/>
                  </a:lnTo>
                  <a:lnTo>
                    <a:pt x="133" y="63"/>
                  </a:lnTo>
                  <a:lnTo>
                    <a:pt x="133" y="62"/>
                  </a:lnTo>
                  <a:lnTo>
                    <a:pt x="134" y="60"/>
                  </a:lnTo>
                  <a:lnTo>
                    <a:pt x="133" y="60"/>
                  </a:lnTo>
                  <a:lnTo>
                    <a:pt x="134" y="60"/>
                  </a:lnTo>
                  <a:lnTo>
                    <a:pt x="134" y="59"/>
                  </a:lnTo>
                  <a:lnTo>
                    <a:pt x="134" y="58"/>
                  </a:lnTo>
                  <a:lnTo>
                    <a:pt x="133" y="58"/>
                  </a:lnTo>
                  <a:lnTo>
                    <a:pt x="133" y="59"/>
                  </a:lnTo>
                  <a:lnTo>
                    <a:pt x="132" y="59"/>
                  </a:lnTo>
                  <a:lnTo>
                    <a:pt x="132" y="58"/>
                  </a:lnTo>
                  <a:lnTo>
                    <a:pt x="131" y="58"/>
                  </a:lnTo>
                  <a:lnTo>
                    <a:pt x="129" y="58"/>
                  </a:lnTo>
                  <a:lnTo>
                    <a:pt x="128" y="58"/>
                  </a:lnTo>
                  <a:lnTo>
                    <a:pt x="128" y="59"/>
                  </a:lnTo>
                  <a:lnTo>
                    <a:pt x="127" y="58"/>
                  </a:lnTo>
                  <a:lnTo>
                    <a:pt x="128" y="58"/>
                  </a:lnTo>
                  <a:lnTo>
                    <a:pt x="127" y="58"/>
                  </a:lnTo>
                  <a:lnTo>
                    <a:pt x="126" y="58"/>
                  </a:lnTo>
                  <a:lnTo>
                    <a:pt x="124" y="58"/>
                  </a:lnTo>
                  <a:lnTo>
                    <a:pt x="124" y="59"/>
                  </a:lnTo>
                  <a:lnTo>
                    <a:pt x="126" y="59"/>
                  </a:lnTo>
                  <a:lnTo>
                    <a:pt x="124" y="59"/>
                  </a:lnTo>
                  <a:lnTo>
                    <a:pt x="124" y="60"/>
                  </a:lnTo>
                  <a:lnTo>
                    <a:pt x="123" y="60"/>
                  </a:lnTo>
                  <a:lnTo>
                    <a:pt x="123" y="59"/>
                  </a:lnTo>
                  <a:lnTo>
                    <a:pt x="124" y="59"/>
                  </a:lnTo>
                  <a:lnTo>
                    <a:pt x="123" y="59"/>
                  </a:lnTo>
                  <a:lnTo>
                    <a:pt x="124" y="58"/>
                  </a:lnTo>
                  <a:lnTo>
                    <a:pt x="124" y="57"/>
                  </a:lnTo>
                  <a:lnTo>
                    <a:pt x="123" y="57"/>
                  </a:lnTo>
                  <a:lnTo>
                    <a:pt x="123" y="58"/>
                  </a:lnTo>
                  <a:lnTo>
                    <a:pt x="123" y="57"/>
                  </a:lnTo>
                  <a:lnTo>
                    <a:pt x="122" y="57"/>
                  </a:lnTo>
                  <a:lnTo>
                    <a:pt x="122" y="56"/>
                  </a:lnTo>
                  <a:lnTo>
                    <a:pt x="121" y="56"/>
                  </a:lnTo>
                  <a:lnTo>
                    <a:pt x="120" y="54"/>
                  </a:lnTo>
                  <a:lnTo>
                    <a:pt x="118" y="54"/>
                  </a:lnTo>
                  <a:lnTo>
                    <a:pt x="118" y="53"/>
                  </a:lnTo>
                  <a:lnTo>
                    <a:pt x="117" y="53"/>
                  </a:lnTo>
                  <a:lnTo>
                    <a:pt x="118" y="53"/>
                  </a:lnTo>
                  <a:lnTo>
                    <a:pt x="117" y="53"/>
                  </a:lnTo>
                  <a:lnTo>
                    <a:pt x="116" y="52"/>
                  </a:lnTo>
                  <a:lnTo>
                    <a:pt x="115" y="51"/>
                  </a:lnTo>
                  <a:lnTo>
                    <a:pt x="114" y="51"/>
                  </a:lnTo>
                  <a:lnTo>
                    <a:pt x="115" y="50"/>
                  </a:lnTo>
                  <a:lnTo>
                    <a:pt x="115" y="48"/>
                  </a:lnTo>
                  <a:lnTo>
                    <a:pt x="114" y="48"/>
                  </a:lnTo>
                  <a:lnTo>
                    <a:pt x="114" y="47"/>
                  </a:lnTo>
                  <a:lnTo>
                    <a:pt x="114" y="48"/>
                  </a:lnTo>
                  <a:lnTo>
                    <a:pt x="114" y="47"/>
                  </a:lnTo>
                  <a:lnTo>
                    <a:pt x="112" y="47"/>
                  </a:lnTo>
                  <a:lnTo>
                    <a:pt x="112" y="48"/>
                  </a:lnTo>
                  <a:lnTo>
                    <a:pt x="112" y="47"/>
                  </a:lnTo>
                  <a:lnTo>
                    <a:pt x="111" y="47"/>
                  </a:lnTo>
                  <a:lnTo>
                    <a:pt x="111" y="46"/>
                  </a:lnTo>
                  <a:lnTo>
                    <a:pt x="110" y="46"/>
                  </a:lnTo>
                  <a:lnTo>
                    <a:pt x="111" y="46"/>
                  </a:lnTo>
                  <a:lnTo>
                    <a:pt x="111" y="45"/>
                  </a:lnTo>
                  <a:lnTo>
                    <a:pt x="112" y="45"/>
                  </a:lnTo>
                  <a:lnTo>
                    <a:pt x="112" y="44"/>
                  </a:lnTo>
                  <a:lnTo>
                    <a:pt x="114" y="44"/>
                  </a:lnTo>
                  <a:lnTo>
                    <a:pt x="115" y="44"/>
                  </a:lnTo>
                  <a:lnTo>
                    <a:pt x="116" y="45"/>
                  </a:lnTo>
                  <a:lnTo>
                    <a:pt x="116" y="44"/>
                  </a:lnTo>
                  <a:lnTo>
                    <a:pt x="115" y="44"/>
                  </a:lnTo>
                  <a:lnTo>
                    <a:pt x="114" y="42"/>
                  </a:lnTo>
                  <a:lnTo>
                    <a:pt x="114" y="44"/>
                  </a:lnTo>
                  <a:lnTo>
                    <a:pt x="114" y="42"/>
                  </a:lnTo>
                  <a:lnTo>
                    <a:pt x="112" y="42"/>
                  </a:lnTo>
                  <a:lnTo>
                    <a:pt x="112" y="41"/>
                  </a:lnTo>
                  <a:lnTo>
                    <a:pt x="112" y="40"/>
                  </a:lnTo>
                  <a:lnTo>
                    <a:pt x="111" y="40"/>
                  </a:lnTo>
                  <a:lnTo>
                    <a:pt x="111" y="39"/>
                  </a:lnTo>
                  <a:lnTo>
                    <a:pt x="111" y="37"/>
                  </a:lnTo>
                  <a:lnTo>
                    <a:pt x="112" y="37"/>
                  </a:lnTo>
                  <a:lnTo>
                    <a:pt x="112" y="39"/>
                  </a:lnTo>
                  <a:lnTo>
                    <a:pt x="114" y="39"/>
                  </a:lnTo>
                  <a:lnTo>
                    <a:pt x="115" y="39"/>
                  </a:lnTo>
                  <a:lnTo>
                    <a:pt x="116" y="39"/>
                  </a:lnTo>
                  <a:lnTo>
                    <a:pt x="117" y="39"/>
                  </a:lnTo>
                  <a:lnTo>
                    <a:pt x="117" y="37"/>
                  </a:lnTo>
                  <a:lnTo>
                    <a:pt x="116" y="37"/>
                  </a:lnTo>
                  <a:lnTo>
                    <a:pt x="115" y="37"/>
                  </a:lnTo>
                  <a:lnTo>
                    <a:pt x="115" y="36"/>
                  </a:lnTo>
                  <a:lnTo>
                    <a:pt x="115" y="37"/>
                  </a:lnTo>
                  <a:lnTo>
                    <a:pt x="115" y="36"/>
                  </a:lnTo>
                  <a:lnTo>
                    <a:pt x="114" y="36"/>
                  </a:lnTo>
                  <a:lnTo>
                    <a:pt x="114" y="35"/>
                  </a:lnTo>
                  <a:lnTo>
                    <a:pt x="114" y="34"/>
                  </a:lnTo>
                  <a:lnTo>
                    <a:pt x="112" y="34"/>
                  </a:lnTo>
                  <a:lnTo>
                    <a:pt x="112" y="33"/>
                  </a:lnTo>
                  <a:lnTo>
                    <a:pt x="114" y="33"/>
                  </a:lnTo>
                  <a:lnTo>
                    <a:pt x="115" y="33"/>
                  </a:lnTo>
                  <a:lnTo>
                    <a:pt x="115" y="34"/>
                  </a:lnTo>
                  <a:lnTo>
                    <a:pt x="116" y="34"/>
                  </a:lnTo>
                  <a:lnTo>
                    <a:pt x="116" y="33"/>
                  </a:lnTo>
                  <a:lnTo>
                    <a:pt x="115" y="33"/>
                  </a:lnTo>
                  <a:lnTo>
                    <a:pt x="116" y="33"/>
                  </a:lnTo>
                  <a:lnTo>
                    <a:pt x="116" y="31"/>
                  </a:lnTo>
                  <a:lnTo>
                    <a:pt x="115" y="31"/>
                  </a:lnTo>
                  <a:lnTo>
                    <a:pt x="115" y="30"/>
                  </a:lnTo>
                  <a:lnTo>
                    <a:pt x="115" y="29"/>
                  </a:lnTo>
                  <a:lnTo>
                    <a:pt x="116" y="29"/>
                  </a:lnTo>
                  <a:lnTo>
                    <a:pt x="116" y="28"/>
                  </a:lnTo>
                  <a:lnTo>
                    <a:pt x="115" y="28"/>
                  </a:lnTo>
                  <a:lnTo>
                    <a:pt x="115" y="27"/>
                  </a:lnTo>
                  <a:lnTo>
                    <a:pt x="116" y="27"/>
                  </a:lnTo>
                  <a:lnTo>
                    <a:pt x="117" y="27"/>
                  </a:lnTo>
                  <a:lnTo>
                    <a:pt x="117" y="28"/>
                  </a:lnTo>
                  <a:lnTo>
                    <a:pt x="117" y="29"/>
                  </a:lnTo>
                  <a:lnTo>
                    <a:pt x="117" y="30"/>
                  </a:lnTo>
                  <a:lnTo>
                    <a:pt x="117" y="29"/>
                  </a:lnTo>
                  <a:lnTo>
                    <a:pt x="118" y="29"/>
                  </a:lnTo>
                  <a:lnTo>
                    <a:pt x="118" y="28"/>
                  </a:lnTo>
                  <a:lnTo>
                    <a:pt x="118" y="27"/>
                  </a:lnTo>
                  <a:lnTo>
                    <a:pt x="117" y="27"/>
                  </a:lnTo>
                  <a:lnTo>
                    <a:pt x="117" y="25"/>
                  </a:lnTo>
                  <a:lnTo>
                    <a:pt x="118" y="25"/>
                  </a:lnTo>
                  <a:lnTo>
                    <a:pt x="118" y="24"/>
                  </a:lnTo>
                  <a:lnTo>
                    <a:pt x="118" y="25"/>
                  </a:lnTo>
                  <a:lnTo>
                    <a:pt x="120" y="25"/>
                  </a:lnTo>
                  <a:lnTo>
                    <a:pt x="121" y="25"/>
                  </a:lnTo>
                  <a:lnTo>
                    <a:pt x="120" y="25"/>
                  </a:lnTo>
                  <a:lnTo>
                    <a:pt x="120" y="24"/>
                  </a:lnTo>
                  <a:lnTo>
                    <a:pt x="120" y="23"/>
                  </a:lnTo>
                  <a:lnTo>
                    <a:pt x="121" y="23"/>
                  </a:lnTo>
                  <a:lnTo>
                    <a:pt x="120" y="22"/>
                  </a:lnTo>
                  <a:lnTo>
                    <a:pt x="121" y="22"/>
                  </a:lnTo>
                  <a:lnTo>
                    <a:pt x="120" y="22"/>
                  </a:lnTo>
                  <a:lnTo>
                    <a:pt x="118" y="21"/>
                  </a:lnTo>
                  <a:lnTo>
                    <a:pt x="118" y="19"/>
                  </a:lnTo>
                  <a:lnTo>
                    <a:pt x="120" y="19"/>
                  </a:lnTo>
                  <a:lnTo>
                    <a:pt x="120" y="18"/>
                  </a:lnTo>
                  <a:lnTo>
                    <a:pt x="120" y="17"/>
                  </a:lnTo>
                  <a:lnTo>
                    <a:pt x="118" y="17"/>
                  </a:lnTo>
                  <a:lnTo>
                    <a:pt x="120" y="17"/>
                  </a:lnTo>
                  <a:lnTo>
                    <a:pt x="120" y="16"/>
                  </a:lnTo>
                  <a:lnTo>
                    <a:pt x="120" y="17"/>
                  </a:lnTo>
                  <a:lnTo>
                    <a:pt x="120" y="16"/>
                  </a:lnTo>
                  <a:lnTo>
                    <a:pt x="121" y="16"/>
                  </a:lnTo>
                  <a:lnTo>
                    <a:pt x="121" y="17"/>
                  </a:lnTo>
                  <a:lnTo>
                    <a:pt x="121" y="18"/>
                  </a:lnTo>
                  <a:lnTo>
                    <a:pt x="122" y="18"/>
                  </a:lnTo>
                  <a:lnTo>
                    <a:pt x="123" y="18"/>
                  </a:lnTo>
                  <a:lnTo>
                    <a:pt x="123" y="19"/>
                  </a:lnTo>
                  <a:lnTo>
                    <a:pt x="123" y="21"/>
                  </a:lnTo>
                  <a:lnTo>
                    <a:pt x="124" y="21"/>
                  </a:lnTo>
                  <a:lnTo>
                    <a:pt x="126" y="21"/>
                  </a:lnTo>
                  <a:lnTo>
                    <a:pt x="126" y="19"/>
                  </a:lnTo>
                  <a:lnTo>
                    <a:pt x="126" y="21"/>
                  </a:lnTo>
                  <a:lnTo>
                    <a:pt x="126" y="19"/>
                  </a:lnTo>
                  <a:lnTo>
                    <a:pt x="124" y="19"/>
                  </a:lnTo>
                  <a:lnTo>
                    <a:pt x="126" y="19"/>
                  </a:lnTo>
                  <a:lnTo>
                    <a:pt x="124" y="19"/>
                  </a:lnTo>
                  <a:lnTo>
                    <a:pt x="124" y="18"/>
                  </a:lnTo>
                  <a:lnTo>
                    <a:pt x="124" y="17"/>
                  </a:lnTo>
                  <a:lnTo>
                    <a:pt x="124" y="16"/>
                  </a:lnTo>
                  <a:lnTo>
                    <a:pt x="124" y="15"/>
                  </a:lnTo>
                  <a:lnTo>
                    <a:pt x="123" y="15"/>
                  </a:lnTo>
                  <a:lnTo>
                    <a:pt x="123" y="13"/>
                  </a:lnTo>
                  <a:lnTo>
                    <a:pt x="123" y="12"/>
                  </a:lnTo>
                  <a:lnTo>
                    <a:pt x="123" y="11"/>
                  </a:lnTo>
                  <a:lnTo>
                    <a:pt x="124" y="11"/>
                  </a:lnTo>
                  <a:lnTo>
                    <a:pt x="123" y="11"/>
                  </a:lnTo>
                  <a:lnTo>
                    <a:pt x="124" y="11"/>
                  </a:lnTo>
                  <a:lnTo>
                    <a:pt x="124" y="10"/>
                  </a:lnTo>
                  <a:lnTo>
                    <a:pt x="124" y="9"/>
                  </a:lnTo>
                  <a:lnTo>
                    <a:pt x="124" y="7"/>
                  </a:lnTo>
                  <a:lnTo>
                    <a:pt x="124" y="9"/>
                  </a:lnTo>
                  <a:lnTo>
                    <a:pt x="126" y="9"/>
                  </a:lnTo>
                  <a:lnTo>
                    <a:pt x="126" y="10"/>
                  </a:lnTo>
                  <a:lnTo>
                    <a:pt x="127" y="10"/>
                  </a:lnTo>
                  <a:lnTo>
                    <a:pt x="127" y="11"/>
                  </a:lnTo>
                  <a:lnTo>
                    <a:pt x="127" y="12"/>
                  </a:lnTo>
                  <a:lnTo>
                    <a:pt x="127" y="11"/>
                  </a:lnTo>
                  <a:lnTo>
                    <a:pt x="128" y="11"/>
                  </a:lnTo>
                  <a:lnTo>
                    <a:pt x="129" y="11"/>
                  </a:lnTo>
                  <a:lnTo>
                    <a:pt x="129" y="12"/>
                  </a:lnTo>
                  <a:lnTo>
                    <a:pt x="129" y="11"/>
                  </a:lnTo>
                  <a:lnTo>
                    <a:pt x="131" y="11"/>
                  </a:lnTo>
                  <a:lnTo>
                    <a:pt x="131" y="10"/>
                  </a:lnTo>
                  <a:lnTo>
                    <a:pt x="132" y="10"/>
                  </a:lnTo>
                  <a:lnTo>
                    <a:pt x="132" y="11"/>
                  </a:lnTo>
                  <a:lnTo>
                    <a:pt x="132" y="12"/>
                  </a:lnTo>
                  <a:lnTo>
                    <a:pt x="132" y="13"/>
                  </a:lnTo>
                  <a:lnTo>
                    <a:pt x="133" y="13"/>
                  </a:lnTo>
                  <a:lnTo>
                    <a:pt x="132" y="15"/>
                  </a:lnTo>
                  <a:lnTo>
                    <a:pt x="131" y="16"/>
                  </a:lnTo>
                  <a:lnTo>
                    <a:pt x="131" y="17"/>
                  </a:lnTo>
                  <a:lnTo>
                    <a:pt x="131" y="18"/>
                  </a:lnTo>
                  <a:lnTo>
                    <a:pt x="132" y="18"/>
                  </a:lnTo>
                  <a:lnTo>
                    <a:pt x="133" y="18"/>
                  </a:lnTo>
                  <a:lnTo>
                    <a:pt x="133" y="19"/>
                  </a:lnTo>
                  <a:lnTo>
                    <a:pt x="134" y="19"/>
                  </a:lnTo>
                  <a:lnTo>
                    <a:pt x="133" y="19"/>
                  </a:lnTo>
                  <a:lnTo>
                    <a:pt x="134" y="19"/>
                  </a:lnTo>
                  <a:lnTo>
                    <a:pt x="134" y="18"/>
                  </a:lnTo>
                  <a:lnTo>
                    <a:pt x="134" y="17"/>
                  </a:lnTo>
                  <a:lnTo>
                    <a:pt x="134" y="16"/>
                  </a:lnTo>
                  <a:lnTo>
                    <a:pt x="135" y="16"/>
                  </a:lnTo>
                  <a:lnTo>
                    <a:pt x="135" y="15"/>
                  </a:lnTo>
                  <a:lnTo>
                    <a:pt x="135" y="13"/>
                  </a:lnTo>
                  <a:lnTo>
                    <a:pt x="135" y="12"/>
                  </a:lnTo>
                  <a:lnTo>
                    <a:pt x="137" y="12"/>
                  </a:lnTo>
                  <a:lnTo>
                    <a:pt x="138" y="12"/>
                  </a:lnTo>
                  <a:lnTo>
                    <a:pt x="138" y="13"/>
                  </a:lnTo>
                  <a:lnTo>
                    <a:pt x="138" y="15"/>
                  </a:lnTo>
                  <a:lnTo>
                    <a:pt x="139" y="15"/>
                  </a:lnTo>
                  <a:lnTo>
                    <a:pt x="139" y="16"/>
                  </a:lnTo>
                  <a:lnTo>
                    <a:pt x="140" y="17"/>
                  </a:lnTo>
                  <a:lnTo>
                    <a:pt x="140" y="16"/>
                  </a:lnTo>
                  <a:lnTo>
                    <a:pt x="141" y="16"/>
                  </a:lnTo>
                  <a:lnTo>
                    <a:pt x="141" y="17"/>
                  </a:lnTo>
                  <a:lnTo>
                    <a:pt x="143" y="17"/>
                  </a:lnTo>
                  <a:lnTo>
                    <a:pt x="141" y="16"/>
                  </a:lnTo>
                  <a:lnTo>
                    <a:pt x="141" y="15"/>
                  </a:lnTo>
                  <a:lnTo>
                    <a:pt x="143" y="15"/>
                  </a:lnTo>
                  <a:lnTo>
                    <a:pt x="143" y="13"/>
                  </a:lnTo>
                  <a:lnTo>
                    <a:pt x="143" y="12"/>
                  </a:lnTo>
                  <a:lnTo>
                    <a:pt x="143" y="11"/>
                  </a:lnTo>
                  <a:lnTo>
                    <a:pt x="143" y="12"/>
                  </a:lnTo>
                  <a:lnTo>
                    <a:pt x="144" y="11"/>
                  </a:lnTo>
                  <a:lnTo>
                    <a:pt x="143" y="11"/>
                  </a:lnTo>
                  <a:lnTo>
                    <a:pt x="141" y="10"/>
                  </a:lnTo>
                  <a:lnTo>
                    <a:pt x="141" y="11"/>
                  </a:lnTo>
                  <a:lnTo>
                    <a:pt x="141" y="10"/>
                  </a:lnTo>
                  <a:lnTo>
                    <a:pt x="141" y="9"/>
                  </a:lnTo>
                  <a:lnTo>
                    <a:pt x="140" y="9"/>
                  </a:lnTo>
                  <a:lnTo>
                    <a:pt x="140" y="7"/>
                  </a:lnTo>
                  <a:lnTo>
                    <a:pt x="139" y="7"/>
                  </a:lnTo>
                  <a:lnTo>
                    <a:pt x="140" y="6"/>
                  </a:lnTo>
                  <a:lnTo>
                    <a:pt x="141" y="6"/>
                  </a:lnTo>
                  <a:lnTo>
                    <a:pt x="141" y="7"/>
                  </a:lnTo>
                  <a:lnTo>
                    <a:pt x="141" y="6"/>
                  </a:lnTo>
                  <a:lnTo>
                    <a:pt x="141" y="5"/>
                  </a:lnTo>
                  <a:lnTo>
                    <a:pt x="143" y="4"/>
                  </a:lnTo>
                  <a:lnTo>
                    <a:pt x="144" y="4"/>
                  </a:lnTo>
                  <a:lnTo>
                    <a:pt x="144" y="5"/>
                  </a:lnTo>
                  <a:lnTo>
                    <a:pt x="145" y="5"/>
                  </a:lnTo>
                  <a:lnTo>
                    <a:pt x="145" y="6"/>
                  </a:lnTo>
                  <a:lnTo>
                    <a:pt x="145" y="7"/>
                  </a:lnTo>
                  <a:lnTo>
                    <a:pt x="145" y="9"/>
                  </a:lnTo>
                  <a:lnTo>
                    <a:pt x="144" y="9"/>
                  </a:lnTo>
                  <a:lnTo>
                    <a:pt x="144" y="10"/>
                  </a:lnTo>
                  <a:lnTo>
                    <a:pt x="145" y="10"/>
                  </a:lnTo>
                  <a:lnTo>
                    <a:pt x="146" y="10"/>
                  </a:lnTo>
                  <a:lnTo>
                    <a:pt x="146" y="9"/>
                  </a:lnTo>
                  <a:lnTo>
                    <a:pt x="147" y="9"/>
                  </a:lnTo>
                  <a:lnTo>
                    <a:pt x="147" y="10"/>
                  </a:lnTo>
                  <a:lnTo>
                    <a:pt x="147" y="11"/>
                  </a:lnTo>
                  <a:lnTo>
                    <a:pt x="149" y="11"/>
                  </a:lnTo>
                  <a:lnTo>
                    <a:pt x="149" y="12"/>
                  </a:lnTo>
                  <a:lnTo>
                    <a:pt x="149" y="11"/>
                  </a:lnTo>
                  <a:lnTo>
                    <a:pt x="150" y="11"/>
                  </a:lnTo>
                  <a:lnTo>
                    <a:pt x="149" y="10"/>
                  </a:lnTo>
                  <a:lnTo>
                    <a:pt x="150" y="10"/>
                  </a:lnTo>
                  <a:lnTo>
                    <a:pt x="149" y="9"/>
                  </a:lnTo>
                  <a:lnTo>
                    <a:pt x="149" y="7"/>
                  </a:lnTo>
                  <a:lnTo>
                    <a:pt x="150" y="7"/>
                  </a:lnTo>
                  <a:lnTo>
                    <a:pt x="150" y="6"/>
                  </a:lnTo>
                  <a:lnTo>
                    <a:pt x="151" y="6"/>
                  </a:lnTo>
                  <a:lnTo>
                    <a:pt x="151" y="7"/>
                  </a:lnTo>
                  <a:lnTo>
                    <a:pt x="151" y="6"/>
                  </a:lnTo>
                  <a:lnTo>
                    <a:pt x="152" y="6"/>
                  </a:lnTo>
                  <a:lnTo>
                    <a:pt x="152" y="5"/>
                  </a:lnTo>
                  <a:lnTo>
                    <a:pt x="152" y="4"/>
                  </a:lnTo>
                  <a:lnTo>
                    <a:pt x="152" y="3"/>
                  </a:lnTo>
                  <a:lnTo>
                    <a:pt x="153" y="3"/>
                  </a:lnTo>
                  <a:lnTo>
                    <a:pt x="153" y="4"/>
                  </a:lnTo>
                  <a:lnTo>
                    <a:pt x="155" y="5"/>
                  </a:lnTo>
                  <a:lnTo>
                    <a:pt x="155" y="4"/>
                  </a:lnTo>
                  <a:lnTo>
                    <a:pt x="155" y="3"/>
                  </a:lnTo>
                  <a:lnTo>
                    <a:pt x="156" y="3"/>
                  </a:lnTo>
                  <a:lnTo>
                    <a:pt x="156" y="1"/>
                  </a:lnTo>
                  <a:lnTo>
                    <a:pt x="156" y="0"/>
                  </a:lnTo>
                  <a:lnTo>
                    <a:pt x="157" y="0"/>
                  </a:lnTo>
                  <a:lnTo>
                    <a:pt x="158" y="0"/>
                  </a:lnTo>
                  <a:lnTo>
                    <a:pt x="158" y="1"/>
                  </a:lnTo>
                  <a:lnTo>
                    <a:pt x="158" y="3"/>
                  </a:lnTo>
                  <a:lnTo>
                    <a:pt x="157" y="3"/>
                  </a:lnTo>
                  <a:lnTo>
                    <a:pt x="157" y="4"/>
                  </a:lnTo>
                  <a:lnTo>
                    <a:pt x="158" y="4"/>
                  </a:lnTo>
                  <a:lnTo>
                    <a:pt x="158" y="5"/>
                  </a:lnTo>
                  <a:lnTo>
                    <a:pt x="158" y="6"/>
                  </a:lnTo>
                  <a:lnTo>
                    <a:pt x="157" y="6"/>
                  </a:lnTo>
                  <a:lnTo>
                    <a:pt x="158" y="7"/>
                  </a:lnTo>
                  <a:lnTo>
                    <a:pt x="159" y="7"/>
                  </a:lnTo>
                  <a:lnTo>
                    <a:pt x="159" y="9"/>
                  </a:lnTo>
                  <a:lnTo>
                    <a:pt x="158" y="9"/>
                  </a:lnTo>
                  <a:lnTo>
                    <a:pt x="158" y="10"/>
                  </a:lnTo>
                  <a:lnTo>
                    <a:pt x="158" y="11"/>
                  </a:lnTo>
                  <a:lnTo>
                    <a:pt x="157" y="11"/>
                  </a:lnTo>
                  <a:lnTo>
                    <a:pt x="158" y="11"/>
                  </a:lnTo>
                  <a:lnTo>
                    <a:pt x="158" y="12"/>
                  </a:lnTo>
                  <a:lnTo>
                    <a:pt x="158" y="13"/>
                  </a:lnTo>
                  <a:lnTo>
                    <a:pt x="157" y="13"/>
                  </a:lnTo>
                  <a:lnTo>
                    <a:pt x="157" y="15"/>
                  </a:lnTo>
                  <a:lnTo>
                    <a:pt x="157" y="16"/>
                  </a:lnTo>
                  <a:lnTo>
                    <a:pt x="157" y="17"/>
                  </a:lnTo>
                  <a:lnTo>
                    <a:pt x="157" y="16"/>
                  </a:lnTo>
                  <a:lnTo>
                    <a:pt x="158" y="16"/>
                  </a:lnTo>
                  <a:lnTo>
                    <a:pt x="159" y="16"/>
                  </a:lnTo>
                  <a:lnTo>
                    <a:pt x="161" y="16"/>
                  </a:lnTo>
                  <a:lnTo>
                    <a:pt x="161" y="15"/>
                  </a:lnTo>
                  <a:lnTo>
                    <a:pt x="162" y="15"/>
                  </a:lnTo>
                  <a:lnTo>
                    <a:pt x="162" y="16"/>
                  </a:lnTo>
                  <a:lnTo>
                    <a:pt x="162" y="17"/>
                  </a:lnTo>
                  <a:lnTo>
                    <a:pt x="162" y="18"/>
                  </a:lnTo>
                  <a:lnTo>
                    <a:pt x="162" y="19"/>
                  </a:lnTo>
                  <a:lnTo>
                    <a:pt x="162" y="21"/>
                  </a:lnTo>
                  <a:lnTo>
                    <a:pt x="163" y="21"/>
                  </a:lnTo>
                  <a:lnTo>
                    <a:pt x="163" y="19"/>
                  </a:lnTo>
                  <a:lnTo>
                    <a:pt x="163" y="18"/>
                  </a:lnTo>
                  <a:lnTo>
                    <a:pt x="163" y="17"/>
                  </a:lnTo>
                  <a:lnTo>
                    <a:pt x="164" y="17"/>
                  </a:lnTo>
                  <a:lnTo>
                    <a:pt x="164" y="18"/>
                  </a:lnTo>
                  <a:lnTo>
                    <a:pt x="165" y="18"/>
                  </a:lnTo>
                  <a:lnTo>
                    <a:pt x="165" y="19"/>
                  </a:lnTo>
                  <a:lnTo>
                    <a:pt x="167" y="19"/>
                  </a:lnTo>
                  <a:lnTo>
                    <a:pt x="167" y="18"/>
                  </a:lnTo>
                  <a:lnTo>
                    <a:pt x="168" y="18"/>
                  </a:lnTo>
                  <a:lnTo>
                    <a:pt x="168" y="17"/>
                  </a:lnTo>
                  <a:lnTo>
                    <a:pt x="167" y="17"/>
                  </a:lnTo>
                  <a:lnTo>
                    <a:pt x="167" y="16"/>
                  </a:lnTo>
                  <a:lnTo>
                    <a:pt x="167" y="15"/>
                  </a:lnTo>
                  <a:lnTo>
                    <a:pt x="168" y="15"/>
                  </a:lnTo>
                  <a:lnTo>
                    <a:pt x="168" y="16"/>
                  </a:lnTo>
                  <a:lnTo>
                    <a:pt x="169" y="16"/>
                  </a:lnTo>
                  <a:lnTo>
                    <a:pt x="170" y="16"/>
                  </a:lnTo>
                  <a:lnTo>
                    <a:pt x="170" y="15"/>
                  </a:lnTo>
                  <a:lnTo>
                    <a:pt x="170" y="13"/>
                  </a:lnTo>
                  <a:lnTo>
                    <a:pt x="171" y="12"/>
                  </a:lnTo>
                  <a:lnTo>
                    <a:pt x="173" y="12"/>
                  </a:lnTo>
                  <a:lnTo>
                    <a:pt x="173" y="11"/>
                  </a:lnTo>
                  <a:lnTo>
                    <a:pt x="171" y="11"/>
                  </a:lnTo>
                  <a:lnTo>
                    <a:pt x="173" y="11"/>
                  </a:lnTo>
                  <a:lnTo>
                    <a:pt x="171" y="11"/>
                  </a:lnTo>
                  <a:lnTo>
                    <a:pt x="170" y="10"/>
                  </a:lnTo>
                  <a:lnTo>
                    <a:pt x="171" y="10"/>
                  </a:lnTo>
                  <a:lnTo>
                    <a:pt x="171" y="9"/>
                  </a:lnTo>
                  <a:lnTo>
                    <a:pt x="171" y="10"/>
                  </a:lnTo>
                  <a:lnTo>
                    <a:pt x="173" y="10"/>
                  </a:lnTo>
                  <a:lnTo>
                    <a:pt x="173" y="9"/>
                  </a:lnTo>
                  <a:lnTo>
                    <a:pt x="173" y="7"/>
                  </a:lnTo>
                  <a:lnTo>
                    <a:pt x="173" y="6"/>
                  </a:lnTo>
                  <a:lnTo>
                    <a:pt x="173" y="5"/>
                  </a:lnTo>
                  <a:lnTo>
                    <a:pt x="174" y="5"/>
                  </a:lnTo>
                  <a:lnTo>
                    <a:pt x="175" y="5"/>
                  </a:lnTo>
                  <a:lnTo>
                    <a:pt x="175" y="4"/>
                  </a:lnTo>
                  <a:lnTo>
                    <a:pt x="176" y="4"/>
                  </a:lnTo>
                  <a:lnTo>
                    <a:pt x="176" y="5"/>
                  </a:lnTo>
                  <a:lnTo>
                    <a:pt x="176" y="6"/>
                  </a:lnTo>
                  <a:lnTo>
                    <a:pt x="176" y="7"/>
                  </a:lnTo>
                  <a:lnTo>
                    <a:pt x="176" y="9"/>
                  </a:lnTo>
                  <a:lnTo>
                    <a:pt x="176" y="10"/>
                  </a:lnTo>
                  <a:lnTo>
                    <a:pt x="176" y="9"/>
                  </a:lnTo>
                  <a:lnTo>
                    <a:pt x="177" y="10"/>
                  </a:lnTo>
                  <a:lnTo>
                    <a:pt x="177" y="9"/>
                  </a:lnTo>
                  <a:lnTo>
                    <a:pt x="179" y="10"/>
                  </a:lnTo>
                  <a:lnTo>
                    <a:pt x="177" y="10"/>
                  </a:lnTo>
                  <a:lnTo>
                    <a:pt x="177" y="11"/>
                  </a:lnTo>
                  <a:lnTo>
                    <a:pt x="176" y="11"/>
                  </a:lnTo>
                  <a:lnTo>
                    <a:pt x="176" y="12"/>
                  </a:lnTo>
                  <a:lnTo>
                    <a:pt x="175" y="12"/>
                  </a:lnTo>
                  <a:lnTo>
                    <a:pt x="175" y="13"/>
                  </a:lnTo>
                  <a:lnTo>
                    <a:pt x="174" y="13"/>
                  </a:lnTo>
                  <a:lnTo>
                    <a:pt x="175" y="13"/>
                  </a:lnTo>
                  <a:lnTo>
                    <a:pt x="175" y="15"/>
                  </a:lnTo>
                  <a:lnTo>
                    <a:pt x="174" y="15"/>
                  </a:lnTo>
                  <a:lnTo>
                    <a:pt x="175" y="15"/>
                  </a:lnTo>
                  <a:lnTo>
                    <a:pt x="175" y="16"/>
                  </a:lnTo>
                  <a:lnTo>
                    <a:pt x="174" y="16"/>
                  </a:lnTo>
                  <a:lnTo>
                    <a:pt x="174" y="17"/>
                  </a:lnTo>
                  <a:lnTo>
                    <a:pt x="175" y="17"/>
                  </a:lnTo>
                  <a:lnTo>
                    <a:pt x="175" y="16"/>
                  </a:lnTo>
                  <a:lnTo>
                    <a:pt x="176" y="16"/>
                  </a:lnTo>
                  <a:lnTo>
                    <a:pt x="177" y="16"/>
                  </a:lnTo>
                  <a:lnTo>
                    <a:pt x="177" y="17"/>
                  </a:lnTo>
                  <a:lnTo>
                    <a:pt x="179" y="17"/>
                  </a:lnTo>
                  <a:lnTo>
                    <a:pt x="179" y="16"/>
                  </a:lnTo>
                  <a:lnTo>
                    <a:pt x="179" y="15"/>
                  </a:lnTo>
                  <a:lnTo>
                    <a:pt x="180" y="15"/>
                  </a:lnTo>
                  <a:lnTo>
                    <a:pt x="180" y="13"/>
                  </a:lnTo>
                  <a:lnTo>
                    <a:pt x="180" y="12"/>
                  </a:lnTo>
                  <a:lnTo>
                    <a:pt x="179" y="11"/>
                  </a:lnTo>
                  <a:lnTo>
                    <a:pt x="180" y="11"/>
                  </a:lnTo>
                  <a:lnTo>
                    <a:pt x="180" y="10"/>
                  </a:lnTo>
                  <a:lnTo>
                    <a:pt x="181" y="9"/>
                  </a:lnTo>
                  <a:lnTo>
                    <a:pt x="182" y="9"/>
                  </a:lnTo>
                  <a:lnTo>
                    <a:pt x="182" y="10"/>
                  </a:lnTo>
                  <a:lnTo>
                    <a:pt x="181" y="10"/>
                  </a:lnTo>
                  <a:lnTo>
                    <a:pt x="182" y="10"/>
                  </a:lnTo>
                  <a:lnTo>
                    <a:pt x="182" y="11"/>
                  </a:lnTo>
                  <a:lnTo>
                    <a:pt x="182" y="10"/>
                  </a:lnTo>
                  <a:lnTo>
                    <a:pt x="183" y="10"/>
                  </a:lnTo>
                  <a:lnTo>
                    <a:pt x="183" y="9"/>
                  </a:lnTo>
                  <a:lnTo>
                    <a:pt x="183" y="7"/>
                  </a:lnTo>
                  <a:lnTo>
                    <a:pt x="185" y="6"/>
                  </a:lnTo>
                  <a:lnTo>
                    <a:pt x="185" y="7"/>
                  </a:lnTo>
                  <a:lnTo>
                    <a:pt x="185" y="6"/>
                  </a:lnTo>
                  <a:lnTo>
                    <a:pt x="186" y="6"/>
                  </a:lnTo>
                  <a:lnTo>
                    <a:pt x="186" y="5"/>
                  </a:lnTo>
                  <a:lnTo>
                    <a:pt x="187" y="6"/>
                  </a:lnTo>
                  <a:lnTo>
                    <a:pt x="187" y="7"/>
                  </a:lnTo>
                  <a:lnTo>
                    <a:pt x="187" y="9"/>
                  </a:lnTo>
                  <a:lnTo>
                    <a:pt x="187" y="10"/>
                  </a:lnTo>
                  <a:lnTo>
                    <a:pt x="187" y="11"/>
                  </a:lnTo>
                  <a:lnTo>
                    <a:pt x="187" y="10"/>
                  </a:lnTo>
                  <a:lnTo>
                    <a:pt x="187" y="11"/>
                  </a:lnTo>
                  <a:lnTo>
                    <a:pt x="186" y="11"/>
                  </a:lnTo>
                  <a:lnTo>
                    <a:pt x="186" y="12"/>
                  </a:lnTo>
                  <a:lnTo>
                    <a:pt x="185" y="12"/>
                  </a:lnTo>
                  <a:lnTo>
                    <a:pt x="185" y="13"/>
                  </a:lnTo>
                  <a:lnTo>
                    <a:pt x="183" y="13"/>
                  </a:lnTo>
                  <a:lnTo>
                    <a:pt x="183" y="15"/>
                  </a:lnTo>
                  <a:lnTo>
                    <a:pt x="185" y="15"/>
                  </a:lnTo>
                  <a:lnTo>
                    <a:pt x="186" y="15"/>
                  </a:lnTo>
                  <a:lnTo>
                    <a:pt x="186" y="13"/>
                  </a:lnTo>
                  <a:lnTo>
                    <a:pt x="186" y="15"/>
                  </a:lnTo>
                  <a:lnTo>
                    <a:pt x="187" y="15"/>
                  </a:lnTo>
                  <a:lnTo>
                    <a:pt x="187" y="16"/>
                  </a:lnTo>
                  <a:lnTo>
                    <a:pt x="187" y="17"/>
                  </a:lnTo>
                  <a:lnTo>
                    <a:pt x="188" y="16"/>
                  </a:lnTo>
                  <a:lnTo>
                    <a:pt x="188" y="15"/>
                  </a:lnTo>
                  <a:lnTo>
                    <a:pt x="188" y="13"/>
                  </a:lnTo>
                  <a:lnTo>
                    <a:pt x="189" y="13"/>
                  </a:lnTo>
                  <a:lnTo>
                    <a:pt x="189" y="15"/>
                  </a:lnTo>
                  <a:lnTo>
                    <a:pt x="191" y="15"/>
                  </a:lnTo>
                  <a:lnTo>
                    <a:pt x="191" y="13"/>
                  </a:lnTo>
                  <a:lnTo>
                    <a:pt x="192" y="13"/>
                  </a:lnTo>
                  <a:lnTo>
                    <a:pt x="192" y="12"/>
                  </a:lnTo>
                  <a:lnTo>
                    <a:pt x="193" y="12"/>
                  </a:lnTo>
                  <a:lnTo>
                    <a:pt x="193" y="13"/>
                  </a:lnTo>
                  <a:lnTo>
                    <a:pt x="193" y="15"/>
                  </a:lnTo>
                  <a:lnTo>
                    <a:pt x="192" y="16"/>
                  </a:lnTo>
                  <a:lnTo>
                    <a:pt x="192" y="17"/>
                  </a:lnTo>
                  <a:lnTo>
                    <a:pt x="192" y="18"/>
                  </a:lnTo>
                  <a:lnTo>
                    <a:pt x="191" y="18"/>
                  </a:lnTo>
                  <a:lnTo>
                    <a:pt x="191" y="22"/>
                  </a:lnTo>
                  <a:lnTo>
                    <a:pt x="191" y="23"/>
                  </a:lnTo>
                  <a:lnTo>
                    <a:pt x="191" y="24"/>
                  </a:lnTo>
                  <a:lnTo>
                    <a:pt x="191" y="23"/>
                  </a:lnTo>
                  <a:lnTo>
                    <a:pt x="192" y="23"/>
                  </a:lnTo>
                  <a:lnTo>
                    <a:pt x="192" y="24"/>
                  </a:lnTo>
                  <a:lnTo>
                    <a:pt x="191" y="24"/>
                  </a:lnTo>
                  <a:lnTo>
                    <a:pt x="191" y="25"/>
                  </a:lnTo>
                  <a:lnTo>
                    <a:pt x="191" y="27"/>
                  </a:lnTo>
                  <a:lnTo>
                    <a:pt x="191" y="28"/>
                  </a:lnTo>
                  <a:lnTo>
                    <a:pt x="192" y="28"/>
                  </a:lnTo>
                  <a:lnTo>
                    <a:pt x="193" y="28"/>
                  </a:lnTo>
                  <a:lnTo>
                    <a:pt x="193" y="27"/>
                  </a:lnTo>
                  <a:lnTo>
                    <a:pt x="193" y="25"/>
                  </a:lnTo>
                  <a:lnTo>
                    <a:pt x="194" y="25"/>
                  </a:lnTo>
                  <a:lnTo>
                    <a:pt x="194" y="24"/>
                  </a:lnTo>
                  <a:lnTo>
                    <a:pt x="194" y="23"/>
                  </a:lnTo>
                  <a:lnTo>
                    <a:pt x="194" y="22"/>
                  </a:lnTo>
                  <a:lnTo>
                    <a:pt x="194" y="21"/>
                  </a:lnTo>
                  <a:lnTo>
                    <a:pt x="196" y="21"/>
                  </a:lnTo>
                  <a:lnTo>
                    <a:pt x="196" y="19"/>
                  </a:lnTo>
                  <a:lnTo>
                    <a:pt x="196" y="18"/>
                  </a:lnTo>
                  <a:lnTo>
                    <a:pt x="197" y="18"/>
                  </a:lnTo>
                  <a:lnTo>
                    <a:pt x="198" y="18"/>
                  </a:lnTo>
                  <a:lnTo>
                    <a:pt x="198" y="19"/>
                  </a:lnTo>
                  <a:lnTo>
                    <a:pt x="198" y="21"/>
                  </a:lnTo>
                  <a:lnTo>
                    <a:pt x="197" y="21"/>
                  </a:lnTo>
                  <a:lnTo>
                    <a:pt x="197" y="22"/>
                  </a:lnTo>
                  <a:lnTo>
                    <a:pt x="197" y="23"/>
                  </a:lnTo>
                  <a:lnTo>
                    <a:pt x="198" y="23"/>
                  </a:lnTo>
                  <a:lnTo>
                    <a:pt x="198" y="22"/>
                  </a:lnTo>
                  <a:lnTo>
                    <a:pt x="199" y="22"/>
                  </a:lnTo>
                  <a:lnTo>
                    <a:pt x="199" y="23"/>
                  </a:lnTo>
                  <a:lnTo>
                    <a:pt x="198" y="24"/>
                  </a:lnTo>
                  <a:lnTo>
                    <a:pt x="197" y="24"/>
                  </a:lnTo>
                  <a:lnTo>
                    <a:pt x="197" y="25"/>
                  </a:lnTo>
                  <a:lnTo>
                    <a:pt x="196" y="25"/>
                  </a:lnTo>
                  <a:lnTo>
                    <a:pt x="196" y="27"/>
                  </a:lnTo>
                  <a:lnTo>
                    <a:pt x="197" y="27"/>
                  </a:lnTo>
                  <a:lnTo>
                    <a:pt x="196" y="27"/>
                  </a:lnTo>
                  <a:lnTo>
                    <a:pt x="197" y="27"/>
                  </a:lnTo>
                  <a:lnTo>
                    <a:pt x="197" y="28"/>
                  </a:lnTo>
                  <a:lnTo>
                    <a:pt x="198" y="28"/>
                  </a:lnTo>
                  <a:lnTo>
                    <a:pt x="199" y="27"/>
                  </a:lnTo>
                  <a:lnTo>
                    <a:pt x="199" y="24"/>
                  </a:lnTo>
                  <a:lnTo>
                    <a:pt x="200" y="24"/>
                  </a:lnTo>
                  <a:lnTo>
                    <a:pt x="202" y="24"/>
                  </a:lnTo>
                  <a:lnTo>
                    <a:pt x="203" y="24"/>
                  </a:lnTo>
                  <a:lnTo>
                    <a:pt x="202" y="24"/>
                  </a:lnTo>
                  <a:lnTo>
                    <a:pt x="200" y="24"/>
                  </a:lnTo>
                  <a:lnTo>
                    <a:pt x="202" y="23"/>
                  </a:lnTo>
                  <a:lnTo>
                    <a:pt x="200" y="23"/>
                  </a:lnTo>
                  <a:lnTo>
                    <a:pt x="200" y="22"/>
                  </a:lnTo>
                  <a:lnTo>
                    <a:pt x="200" y="21"/>
                  </a:lnTo>
                  <a:lnTo>
                    <a:pt x="200" y="19"/>
                  </a:lnTo>
                  <a:lnTo>
                    <a:pt x="202" y="18"/>
                  </a:lnTo>
                  <a:lnTo>
                    <a:pt x="203" y="18"/>
                  </a:lnTo>
                  <a:lnTo>
                    <a:pt x="203" y="19"/>
                  </a:lnTo>
                  <a:lnTo>
                    <a:pt x="203" y="18"/>
                  </a:lnTo>
                  <a:lnTo>
                    <a:pt x="204" y="18"/>
                  </a:lnTo>
                  <a:lnTo>
                    <a:pt x="204" y="17"/>
                  </a:lnTo>
                  <a:lnTo>
                    <a:pt x="203" y="17"/>
                  </a:lnTo>
                  <a:lnTo>
                    <a:pt x="204" y="17"/>
                  </a:lnTo>
                  <a:lnTo>
                    <a:pt x="204" y="16"/>
                  </a:lnTo>
                  <a:lnTo>
                    <a:pt x="205" y="16"/>
                  </a:lnTo>
                  <a:lnTo>
                    <a:pt x="205" y="15"/>
                  </a:lnTo>
                  <a:lnTo>
                    <a:pt x="205" y="13"/>
                  </a:lnTo>
                  <a:lnTo>
                    <a:pt x="206" y="13"/>
                  </a:lnTo>
                  <a:lnTo>
                    <a:pt x="206" y="15"/>
                  </a:lnTo>
                  <a:lnTo>
                    <a:pt x="208" y="15"/>
                  </a:lnTo>
                  <a:lnTo>
                    <a:pt x="208" y="16"/>
                  </a:lnTo>
                  <a:lnTo>
                    <a:pt x="208" y="17"/>
                  </a:lnTo>
                  <a:lnTo>
                    <a:pt x="208" y="18"/>
                  </a:lnTo>
                  <a:lnTo>
                    <a:pt x="208" y="19"/>
                  </a:lnTo>
                  <a:lnTo>
                    <a:pt x="208" y="21"/>
                  </a:lnTo>
                  <a:lnTo>
                    <a:pt x="206" y="21"/>
                  </a:lnTo>
                  <a:lnTo>
                    <a:pt x="208" y="21"/>
                  </a:lnTo>
                  <a:lnTo>
                    <a:pt x="208" y="22"/>
                  </a:lnTo>
                  <a:lnTo>
                    <a:pt x="209" y="22"/>
                  </a:lnTo>
                  <a:lnTo>
                    <a:pt x="209" y="23"/>
                  </a:lnTo>
                  <a:lnTo>
                    <a:pt x="209" y="24"/>
                  </a:lnTo>
                  <a:lnTo>
                    <a:pt x="209" y="25"/>
                  </a:lnTo>
                  <a:lnTo>
                    <a:pt x="208" y="25"/>
                  </a:lnTo>
                  <a:lnTo>
                    <a:pt x="206" y="25"/>
                  </a:lnTo>
                  <a:lnTo>
                    <a:pt x="208" y="27"/>
                  </a:lnTo>
                  <a:lnTo>
                    <a:pt x="209" y="27"/>
                  </a:lnTo>
                  <a:lnTo>
                    <a:pt x="209" y="25"/>
                  </a:lnTo>
                  <a:lnTo>
                    <a:pt x="209" y="24"/>
                  </a:lnTo>
                  <a:lnTo>
                    <a:pt x="210" y="24"/>
                  </a:lnTo>
                  <a:lnTo>
                    <a:pt x="209" y="24"/>
                  </a:lnTo>
                  <a:lnTo>
                    <a:pt x="210" y="23"/>
                  </a:lnTo>
                  <a:lnTo>
                    <a:pt x="211" y="23"/>
                  </a:lnTo>
                  <a:lnTo>
                    <a:pt x="211" y="22"/>
                  </a:lnTo>
                  <a:lnTo>
                    <a:pt x="211" y="23"/>
                  </a:lnTo>
                  <a:lnTo>
                    <a:pt x="211" y="22"/>
                  </a:lnTo>
                  <a:lnTo>
                    <a:pt x="211" y="21"/>
                  </a:lnTo>
                  <a:lnTo>
                    <a:pt x="211" y="19"/>
                  </a:lnTo>
                  <a:lnTo>
                    <a:pt x="210" y="19"/>
                  </a:lnTo>
                  <a:lnTo>
                    <a:pt x="211" y="19"/>
                  </a:lnTo>
                  <a:lnTo>
                    <a:pt x="211" y="18"/>
                  </a:lnTo>
                  <a:lnTo>
                    <a:pt x="211" y="17"/>
                  </a:lnTo>
                  <a:lnTo>
                    <a:pt x="212" y="17"/>
                  </a:lnTo>
                  <a:lnTo>
                    <a:pt x="214" y="17"/>
                  </a:lnTo>
                  <a:lnTo>
                    <a:pt x="215" y="17"/>
                  </a:lnTo>
                  <a:lnTo>
                    <a:pt x="215" y="16"/>
                  </a:lnTo>
                  <a:lnTo>
                    <a:pt x="216" y="16"/>
                  </a:lnTo>
                  <a:lnTo>
                    <a:pt x="216" y="15"/>
                  </a:lnTo>
                  <a:lnTo>
                    <a:pt x="217" y="15"/>
                  </a:lnTo>
                  <a:lnTo>
                    <a:pt x="217" y="13"/>
                  </a:lnTo>
                  <a:lnTo>
                    <a:pt x="218" y="13"/>
                  </a:lnTo>
                  <a:lnTo>
                    <a:pt x="218" y="12"/>
                  </a:lnTo>
                  <a:lnTo>
                    <a:pt x="218" y="13"/>
                  </a:lnTo>
                  <a:lnTo>
                    <a:pt x="220" y="13"/>
                  </a:lnTo>
                  <a:lnTo>
                    <a:pt x="220" y="15"/>
                  </a:lnTo>
                  <a:lnTo>
                    <a:pt x="220" y="16"/>
                  </a:lnTo>
                  <a:lnTo>
                    <a:pt x="220" y="17"/>
                  </a:lnTo>
                  <a:lnTo>
                    <a:pt x="221" y="17"/>
                  </a:lnTo>
                  <a:lnTo>
                    <a:pt x="222" y="18"/>
                  </a:lnTo>
                  <a:lnTo>
                    <a:pt x="221" y="18"/>
                  </a:lnTo>
                  <a:lnTo>
                    <a:pt x="221" y="19"/>
                  </a:lnTo>
                  <a:lnTo>
                    <a:pt x="222" y="19"/>
                  </a:lnTo>
                  <a:lnTo>
                    <a:pt x="222" y="21"/>
                  </a:lnTo>
                  <a:lnTo>
                    <a:pt x="222" y="19"/>
                  </a:lnTo>
                  <a:lnTo>
                    <a:pt x="223" y="19"/>
                  </a:lnTo>
                  <a:lnTo>
                    <a:pt x="224" y="19"/>
                  </a:lnTo>
                  <a:lnTo>
                    <a:pt x="224" y="18"/>
                  </a:lnTo>
                  <a:lnTo>
                    <a:pt x="226" y="18"/>
                  </a:lnTo>
                  <a:lnTo>
                    <a:pt x="226" y="19"/>
                  </a:lnTo>
                  <a:lnTo>
                    <a:pt x="226" y="21"/>
                  </a:lnTo>
                  <a:lnTo>
                    <a:pt x="227" y="21"/>
                  </a:lnTo>
                  <a:lnTo>
                    <a:pt x="227" y="22"/>
                  </a:lnTo>
                  <a:lnTo>
                    <a:pt x="227" y="23"/>
                  </a:lnTo>
                  <a:lnTo>
                    <a:pt x="226" y="23"/>
                  </a:lnTo>
                  <a:lnTo>
                    <a:pt x="226" y="24"/>
                  </a:lnTo>
                  <a:lnTo>
                    <a:pt x="224" y="25"/>
                  </a:lnTo>
                  <a:lnTo>
                    <a:pt x="224" y="27"/>
                  </a:lnTo>
                  <a:lnTo>
                    <a:pt x="223" y="27"/>
                  </a:lnTo>
                  <a:lnTo>
                    <a:pt x="222" y="27"/>
                  </a:lnTo>
                  <a:lnTo>
                    <a:pt x="222" y="28"/>
                  </a:lnTo>
                  <a:lnTo>
                    <a:pt x="221" y="28"/>
                  </a:lnTo>
                  <a:lnTo>
                    <a:pt x="220" y="27"/>
                  </a:lnTo>
                  <a:lnTo>
                    <a:pt x="220" y="28"/>
                  </a:lnTo>
                  <a:lnTo>
                    <a:pt x="220" y="29"/>
                  </a:lnTo>
                  <a:lnTo>
                    <a:pt x="218" y="29"/>
                  </a:lnTo>
                  <a:lnTo>
                    <a:pt x="218" y="30"/>
                  </a:lnTo>
                  <a:lnTo>
                    <a:pt x="220" y="31"/>
                  </a:lnTo>
                  <a:lnTo>
                    <a:pt x="220" y="30"/>
                  </a:lnTo>
                  <a:lnTo>
                    <a:pt x="221" y="30"/>
                  </a:lnTo>
                  <a:lnTo>
                    <a:pt x="222" y="30"/>
                  </a:lnTo>
                  <a:lnTo>
                    <a:pt x="223" y="30"/>
                  </a:lnTo>
                  <a:lnTo>
                    <a:pt x="224" y="30"/>
                  </a:lnTo>
                  <a:lnTo>
                    <a:pt x="224" y="29"/>
                  </a:lnTo>
                  <a:lnTo>
                    <a:pt x="224" y="28"/>
                  </a:lnTo>
                  <a:lnTo>
                    <a:pt x="226" y="28"/>
                  </a:lnTo>
                  <a:lnTo>
                    <a:pt x="227" y="28"/>
                  </a:lnTo>
                  <a:lnTo>
                    <a:pt x="227" y="27"/>
                  </a:lnTo>
                  <a:lnTo>
                    <a:pt x="228" y="27"/>
                  </a:lnTo>
                  <a:lnTo>
                    <a:pt x="228" y="25"/>
                  </a:lnTo>
                  <a:lnTo>
                    <a:pt x="229" y="25"/>
                  </a:lnTo>
                  <a:lnTo>
                    <a:pt x="230" y="25"/>
                  </a:lnTo>
                  <a:lnTo>
                    <a:pt x="232" y="25"/>
                  </a:lnTo>
                  <a:lnTo>
                    <a:pt x="233" y="25"/>
                  </a:lnTo>
                  <a:lnTo>
                    <a:pt x="233" y="27"/>
                  </a:lnTo>
                  <a:lnTo>
                    <a:pt x="234" y="28"/>
                  </a:lnTo>
                  <a:lnTo>
                    <a:pt x="234" y="29"/>
                  </a:lnTo>
                  <a:lnTo>
                    <a:pt x="235" y="29"/>
                  </a:lnTo>
                  <a:lnTo>
                    <a:pt x="235" y="28"/>
                  </a:lnTo>
                  <a:lnTo>
                    <a:pt x="236" y="28"/>
                  </a:lnTo>
                  <a:lnTo>
                    <a:pt x="236" y="27"/>
                  </a:lnTo>
                  <a:lnTo>
                    <a:pt x="238" y="27"/>
                  </a:lnTo>
                  <a:lnTo>
                    <a:pt x="238" y="28"/>
                  </a:lnTo>
                  <a:lnTo>
                    <a:pt x="238" y="29"/>
                  </a:lnTo>
                  <a:lnTo>
                    <a:pt x="238" y="30"/>
                  </a:lnTo>
                  <a:lnTo>
                    <a:pt x="236" y="31"/>
                  </a:lnTo>
                  <a:lnTo>
                    <a:pt x="238" y="31"/>
                  </a:lnTo>
                  <a:lnTo>
                    <a:pt x="238" y="33"/>
                  </a:lnTo>
                  <a:lnTo>
                    <a:pt x="239" y="33"/>
                  </a:lnTo>
                  <a:lnTo>
                    <a:pt x="239" y="34"/>
                  </a:lnTo>
                  <a:lnTo>
                    <a:pt x="238" y="34"/>
                  </a:lnTo>
                  <a:lnTo>
                    <a:pt x="238" y="35"/>
                  </a:lnTo>
                  <a:lnTo>
                    <a:pt x="236" y="35"/>
                  </a:lnTo>
                  <a:lnTo>
                    <a:pt x="236" y="36"/>
                  </a:lnTo>
                  <a:lnTo>
                    <a:pt x="235" y="36"/>
                  </a:lnTo>
                  <a:lnTo>
                    <a:pt x="236" y="36"/>
                  </a:lnTo>
                  <a:lnTo>
                    <a:pt x="236" y="37"/>
                  </a:lnTo>
                  <a:lnTo>
                    <a:pt x="236" y="39"/>
                  </a:lnTo>
                  <a:lnTo>
                    <a:pt x="235" y="39"/>
                  </a:lnTo>
                  <a:lnTo>
                    <a:pt x="235" y="40"/>
                  </a:lnTo>
                  <a:lnTo>
                    <a:pt x="234" y="40"/>
                  </a:lnTo>
                  <a:lnTo>
                    <a:pt x="233" y="40"/>
                  </a:lnTo>
                  <a:lnTo>
                    <a:pt x="233" y="41"/>
                  </a:lnTo>
                  <a:lnTo>
                    <a:pt x="232" y="40"/>
                  </a:lnTo>
                  <a:lnTo>
                    <a:pt x="232" y="41"/>
                  </a:lnTo>
                  <a:lnTo>
                    <a:pt x="232" y="42"/>
                  </a:lnTo>
                  <a:lnTo>
                    <a:pt x="232" y="41"/>
                  </a:lnTo>
                  <a:lnTo>
                    <a:pt x="233" y="41"/>
                  </a:lnTo>
                  <a:lnTo>
                    <a:pt x="234" y="41"/>
                  </a:lnTo>
                  <a:lnTo>
                    <a:pt x="235" y="41"/>
                  </a:lnTo>
                  <a:lnTo>
                    <a:pt x="235" y="42"/>
                  </a:lnTo>
                  <a:lnTo>
                    <a:pt x="235" y="44"/>
                  </a:lnTo>
                  <a:lnTo>
                    <a:pt x="234" y="44"/>
                  </a:lnTo>
                  <a:lnTo>
                    <a:pt x="234" y="45"/>
                  </a:lnTo>
                  <a:lnTo>
                    <a:pt x="233" y="45"/>
                  </a:lnTo>
                  <a:lnTo>
                    <a:pt x="232" y="45"/>
                  </a:lnTo>
                  <a:lnTo>
                    <a:pt x="230" y="45"/>
                  </a:lnTo>
                  <a:lnTo>
                    <a:pt x="229" y="45"/>
                  </a:lnTo>
                  <a:lnTo>
                    <a:pt x="228" y="45"/>
                  </a:lnTo>
                  <a:lnTo>
                    <a:pt x="228" y="44"/>
                  </a:lnTo>
                  <a:lnTo>
                    <a:pt x="227" y="44"/>
                  </a:lnTo>
                  <a:lnTo>
                    <a:pt x="228" y="44"/>
                  </a:lnTo>
                  <a:lnTo>
                    <a:pt x="228" y="45"/>
                  </a:lnTo>
                  <a:lnTo>
                    <a:pt x="227" y="46"/>
                  </a:lnTo>
                  <a:lnTo>
                    <a:pt x="226" y="46"/>
                  </a:lnTo>
                  <a:lnTo>
                    <a:pt x="224" y="46"/>
                  </a:lnTo>
                  <a:lnTo>
                    <a:pt x="224" y="45"/>
                  </a:lnTo>
                  <a:lnTo>
                    <a:pt x="224" y="44"/>
                  </a:lnTo>
                  <a:lnTo>
                    <a:pt x="223" y="42"/>
                  </a:lnTo>
                  <a:lnTo>
                    <a:pt x="223" y="44"/>
                  </a:lnTo>
                  <a:lnTo>
                    <a:pt x="222" y="45"/>
                  </a:lnTo>
                  <a:lnTo>
                    <a:pt x="221" y="45"/>
                  </a:lnTo>
                  <a:lnTo>
                    <a:pt x="221" y="46"/>
                  </a:lnTo>
                  <a:lnTo>
                    <a:pt x="222" y="47"/>
                  </a:lnTo>
                  <a:lnTo>
                    <a:pt x="221" y="46"/>
                  </a:lnTo>
                  <a:lnTo>
                    <a:pt x="221" y="47"/>
                  </a:lnTo>
                  <a:lnTo>
                    <a:pt x="222" y="47"/>
                  </a:lnTo>
                  <a:lnTo>
                    <a:pt x="222" y="48"/>
                  </a:lnTo>
                  <a:lnTo>
                    <a:pt x="223" y="48"/>
                  </a:lnTo>
                  <a:lnTo>
                    <a:pt x="224" y="48"/>
                  </a:lnTo>
                  <a:lnTo>
                    <a:pt x="226" y="48"/>
                  </a:lnTo>
                  <a:lnTo>
                    <a:pt x="227" y="50"/>
                  </a:lnTo>
                  <a:lnTo>
                    <a:pt x="226" y="51"/>
                  </a:lnTo>
                  <a:lnTo>
                    <a:pt x="224" y="51"/>
                  </a:lnTo>
                  <a:lnTo>
                    <a:pt x="224" y="52"/>
                  </a:lnTo>
                  <a:lnTo>
                    <a:pt x="224" y="51"/>
                  </a:lnTo>
                  <a:lnTo>
                    <a:pt x="223" y="51"/>
                  </a:lnTo>
                  <a:lnTo>
                    <a:pt x="223" y="50"/>
                  </a:lnTo>
                  <a:lnTo>
                    <a:pt x="222" y="50"/>
                  </a:lnTo>
                  <a:lnTo>
                    <a:pt x="222" y="48"/>
                  </a:lnTo>
                  <a:lnTo>
                    <a:pt x="221" y="48"/>
                  </a:lnTo>
                  <a:lnTo>
                    <a:pt x="221" y="47"/>
                  </a:lnTo>
                  <a:lnTo>
                    <a:pt x="221" y="48"/>
                  </a:lnTo>
                  <a:lnTo>
                    <a:pt x="222" y="48"/>
                  </a:lnTo>
                  <a:lnTo>
                    <a:pt x="222" y="50"/>
                  </a:lnTo>
                  <a:lnTo>
                    <a:pt x="221" y="50"/>
                  </a:lnTo>
                  <a:lnTo>
                    <a:pt x="221" y="51"/>
                  </a:lnTo>
                  <a:lnTo>
                    <a:pt x="220" y="51"/>
                  </a:lnTo>
                  <a:lnTo>
                    <a:pt x="221" y="52"/>
                  </a:lnTo>
                  <a:lnTo>
                    <a:pt x="222" y="52"/>
                  </a:lnTo>
                  <a:lnTo>
                    <a:pt x="222" y="51"/>
                  </a:lnTo>
                  <a:lnTo>
                    <a:pt x="223" y="51"/>
                  </a:lnTo>
                  <a:lnTo>
                    <a:pt x="223" y="52"/>
                  </a:lnTo>
                  <a:lnTo>
                    <a:pt x="223" y="53"/>
                  </a:lnTo>
                  <a:lnTo>
                    <a:pt x="223" y="54"/>
                  </a:lnTo>
                  <a:lnTo>
                    <a:pt x="224" y="54"/>
                  </a:lnTo>
                  <a:lnTo>
                    <a:pt x="226" y="54"/>
                  </a:lnTo>
                  <a:lnTo>
                    <a:pt x="226" y="53"/>
                  </a:lnTo>
                  <a:lnTo>
                    <a:pt x="227" y="53"/>
                  </a:lnTo>
                  <a:lnTo>
                    <a:pt x="228" y="54"/>
                  </a:lnTo>
                  <a:lnTo>
                    <a:pt x="229" y="54"/>
                  </a:lnTo>
                  <a:lnTo>
                    <a:pt x="229" y="56"/>
                  </a:lnTo>
                  <a:lnTo>
                    <a:pt x="230" y="56"/>
                  </a:lnTo>
                  <a:lnTo>
                    <a:pt x="232" y="56"/>
                  </a:lnTo>
                  <a:lnTo>
                    <a:pt x="233" y="56"/>
                  </a:lnTo>
                  <a:lnTo>
                    <a:pt x="234" y="56"/>
                  </a:lnTo>
                  <a:lnTo>
                    <a:pt x="234" y="57"/>
                  </a:lnTo>
                  <a:lnTo>
                    <a:pt x="235" y="57"/>
                  </a:lnTo>
                  <a:lnTo>
                    <a:pt x="236" y="57"/>
                  </a:lnTo>
                  <a:lnTo>
                    <a:pt x="236" y="58"/>
                  </a:lnTo>
                  <a:lnTo>
                    <a:pt x="236" y="60"/>
                  </a:lnTo>
                  <a:lnTo>
                    <a:pt x="236" y="62"/>
                  </a:lnTo>
                  <a:lnTo>
                    <a:pt x="238" y="62"/>
                  </a:lnTo>
                  <a:lnTo>
                    <a:pt x="239" y="62"/>
                  </a:lnTo>
                  <a:lnTo>
                    <a:pt x="238" y="60"/>
                  </a:lnTo>
                  <a:lnTo>
                    <a:pt x="239" y="60"/>
                  </a:lnTo>
                  <a:lnTo>
                    <a:pt x="239" y="59"/>
                  </a:lnTo>
                  <a:lnTo>
                    <a:pt x="239" y="58"/>
                  </a:lnTo>
                  <a:lnTo>
                    <a:pt x="240" y="58"/>
                  </a:lnTo>
                  <a:lnTo>
                    <a:pt x="240" y="59"/>
                  </a:lnTo>
                  <a:lnTo>
                    <a:pt x="241" y="59"/>
                  </a:lnTo>
                  <a:lnTo>
                    <a:pt x="241" y="60"/>
                  </a:lnTo>
                  <a:lnTo>
                    <a:pt x="242" y="60"/>
                  </a:lnTo>
                  <a:lnTo>
                    <a:pt x="242" y="59"/>
                  </a:lnTo>
                  <a:lnTo>
                    <a:pt x="242" y="58"/>
                  </a:lnTo>
                  <a:lnTo>
                    <a:pt x="244" y="57"/>
                  </a:lnTo>
                  <a:lnTo>
                    <a:pt x="244" y="58"/>
                  </a:lnTo>
                  <a:lnTo>
                    <a:pt x="245" y="58"/>
                  </a:lnTo>
                  <a:lnTo>
                    <a:pt x="246" y="58"/>
                  </a:lnTo>
                  <a:lnTo>
                    <a:pt x="246" y="57"/>
                  </a:lnTo>
                  <a:lnTo>
                    <a:pt x="247" y="57"/>
                  </a:lnTo>
                  <a:lnTo>
                    <a:pt x="247" y="58"/>
                  </a:lnTo>
                  <a:lnTo>
                    <a:pt x="247" y="59"/>
                  </a:lnTo>
                  <a:lnTo>
                    <a:pt x="247" y="60"/>
                  </a:lnTo>
                  <a:lnTo>
                    <a:pt x="247" y="62"/>
                  </a:lnTo>
                  <a:lnTo>
                    <a:pt x="246" y="62"/>
                  </a:lnTo>
                  <a:lnTo>
                    <a:pt x="246" y="63"/>
                  </a:lnTo>
                  <a:lnTo>
                    <a:pt x="245" y="63"/>
                  </a:lnTo>
                  <a:lnTo>
                    <a:pt x="245" y="64"/>
                  </a:lnTo>
                  <a:lnTo>
                    <a:pt x="245" y="65"/>
                  </a:lnTo>
                  <a:lnTo>
                    <a:pt x="246" y="65"/>
                  </a:lnTo>
                  <a:lnTo>
                    <a:pt x="246" y="66"/>
                  </a:lnTo>
                  <a:lnTo>
                    <a:pt x="246" y="65"/>
                  </a:lnTo>
                  <a:lnTo>
                    <a:pt x="247" y="64"/>
                  </a:lnTo>
                  <a:lnTo>
                    <a:pt x="247" y="63"/>
                  </a:lnTo>
                  <a:lnTo>
                    <a:pt x="248" y="63"/>
                  </a:lnTo>
                  <a:lnTo>
                    <a:pt x="248" y="64"/>
                  </a:lnTo>
                  <a:lnTo>
                    <a:pt x="248" y="65"/>
                  </a:lnTo>
                  <a:lnTo>
                    <a:pt x="248" y="66"/>
                  </a:lnTo>
                  <a:lnTo>
                    <a:pt x="248" y="68"/>
                  </a:lnTo>
                  <a:lnTo>
                    <a:pt x="247" y="68"/>
                  </a:lnTo>
                  <a:lnTo>
                    <a:pt x="247" y="69"/>
                  </a:lnTo>
                  <a:lnTo>
                    <a:pt x="247" y="70"/>
                  </a:lnTo>
                  <a:lnTo>
                    <a:pt x="246" y="70"/>
                  </a:lnTo>
                  <a:lnTo>
                    <a:pt x="245" y="70"/>
                  </a:lnTo>
                  <a:lnTo>
                    <a:pt x="245" y="71"/>
                  </a:lnTo>
                  <a:lnTo>
                    <a:pt x="245" y="70"/>
                  </a:lnTo>
                  <a:lnTo>
                    <a:pt x="246" y="71"/>
                  </a:lnTo>
                  <a:lnTo>
                    <a:pt x="247" y="71"/>
                  </a:lnTo>
                  <a:lnTo>
                    <a:pt x="248" y="71"/>
                  </a:lnTo>
                  <a:lnTo>
                    <a:pt x="250" y="71"/>
                  </a:lnTo>
                  <a:lnTo>
                    <a:pt x="250" y="72"/>
                  </a:lnTo>
                  <a:lnTo>
                    <a:pt x="250" y="74"/>
                  </a:lnTo>
                  <a:lnTo>
                    <a:pt x="251" y="72"/>
                  </a:lnTo>
                  <a:lnTo>
                    <a:pt x="252" y="72"/>
                  </a:lnTo>
                  <a:lnTo>
                    <a:pt x="253" y="72"/>
                  </a:lnTo>
                  <a:lnTo>
                    <a:pt x="253" y="74"/>
                  </a:lnTo>
                  <a:lnTo>
                    <a:pt x="255" y="74"/>
                  </a:lnTo>
                  <a:lnTo>
                    <a:pt x="255" y="75"/>
                  </a:lnTo>
                  <a:lnTo>
                    <a:pt x="255" y="76"/>
                  </a:lnTo>
                  <a:lnTo>
                    <a:pt x="255" y="75"/>
                  </a:lnTo>
                  <a:lnTo>
                    <a:pt x="256" y="75"/>
                  </a:lnTo>
                  <a:lnTo>
                    <a:pt x="257" y="75"/>
                  </a:lnTo>
                  <a:lnTo>
                    <a:pt x="258" y="75"/>
                  </a:lnTo>
                  <a:lnTo>
                    <a:pt x="258" y="76"/>
                  </a:lnTo>
                  <a:lnTo>
                    <a:pt x="257" y="77"/>
                  </a:lnTo>
                  <a:lnTo>
                    <a:pt x="257" y="78"/>
                  </a:lnTo>
                  <a:lnTo>
                    <a:pt x="258" y="78"/>
                  </a:lnTo>
                  <a:lnTo>
                    <a:pt x="259" y="78"/>
                  </a:lnTo>
                  <a:lnTo>
                    <a:pt x="259" y="77"/>
                  </a:lnTo>
                  <a:lnTo>
                    <a:pt x="261" y="77"/>
                  </a:lnTo>
                  <a:lnTo>
                    <a:pt x="262" y="77"/>
                  </a:lnTo>
                  <a:lnTo>
                    <a:pt x="263" y="77"/>
                  </a:lnTo>
                  <a:lnTo>
                    <a:pt x="263" y="78"/>
                  </a:lnTo>
                  <a:lnTo>
                    <a:pt x="264" y="78"/>
                  </a:lnTo>
                  <a:lnTo>
                    <a:pt x="265" y="78"/>
                  </a:lnTo>
                  <a:lnTo>
                    <a:pt x="267" y="78"/>
                  </a:lnTo>
                  <a:lnTo>
                    <a:pt x="267" y="80"/>
                  </a:lnTo>
                  <a:lnTo>
                    <a:pt x="267" y="78"/>
                  </a:lnTo>
                  <a:lnTo>
                    <a:pt x="268" y="78"/>
                  </a:lnTo>
                  <a:lnTo>
                    <a:pt x="269" y="78"/>
                  </a:lnTo>
                  <a:lnTo>
                    <a:pt x="269" y="80"/>
                  </a:lnTo>
                  <a:lnTo>
                    <a:pt x="268" y="80"/>
                  </a:lnTo>
                  <a:lnTo>
                    <a:pt x="268" y="81"/>
                  </a:lnTo>
                  <a:lnTo>
                    <a:pt x="268" y="82"/>
                  </a:lnTo>
                  <a:lnTo>
                    <a:pt x="267" y="82"/>
                  </a:lnTo>
                  <a:lnTo>
                    <a:pt x="265" y="83"/>
                  </a:lnTo>
                  <a:lnTo>
                    <a:pt x="267" y="84"/>
                  </a:lnTo>
                  <a:lnTo>
                    <a:pt x="267" y="83"/>
                  </a:lnTo>
                  <a:lnTo>
                    <a:pt x="268" y="83"/>
                  </a:lnTo>
                  <a:lnTo>
                    <a:pt x="269" y="83"/>
                  </a:lnTo>
                  <a:lnTo>
                    <a:pt x="269" y="82"/>
                  </a:lnTo>
                  <a:lnTo>
                    <a:pt x="270" y="82"/>
                  </a:lnTo>
                  <a:lnTo>
                    <a:pt x="270" y="81"/>
                  </a:lnTo>
                  <a:lnTo>
                    <a:pt x="270" y="82"/>
                  </a:lnTo>
                  <a:lnTo>
                    <a:pt x="271" y="82"/>
                  </a:lnTo>
                  <a:lnTo>
                    <a:pt x="271" y="81"/>
                  </a:lnTo>
                  <a:lnTo>
                    <a:pt x="273" y="81"/>
                  </a:lnTo>
                  <a:lnTo>
                    <a:pt x="273" y="80"/>
                  </a:lnTo>
                  <a:lnTo>
                    <a:pt x="273" y="81"/>
                  </a:lnTo>
                  <a:lnTo>
                    <a:pt x="274" y="81"/>
                  </a:lnTo>
                  <a:lnTo>
                    <a:pt x="273" y="81"/>
                  </a:lnTo>
                  <a:lnTo>
                    <a:pt x="273" y="83"/>
                  </a:lnTo>
                  <a:lnTo>
                    <a:pt x="274" y="83"/>
                  </a:lnTo>
                  <a:lnTo>
                    <a:pt x="275" y="83"/>
                  </a:lnTo>
                  <a:lnTo>
                    <a:pt x="275" y="82"/>
                  </a:lnTo>
                  <a:lnTo>
                    <a:pt x="275" y="83"/>
                  </a:lnTo>
                  <a:lnTo>
                    <a:pt x="275" y="84"/>
                  </a:lnTo>
                  <a:lnTo>
                    <a:pt x="275" y="86"/>
                  </a:lnTo>
                  <a:lnTo>
                    <a:pt x="274" y="86"/>
                  </a:lnTo>
                  <a:lnTo>
                    <a:pt x="273" y="86"/>
                  </a:lnTo>
                  <a:lnTo>
                    <a:pt x="273" y="87"/>
                  </a:lnTo>
                  <a:lnTo>
                    <a:pt x="271" y="86"/>
                  </a:lnTo>
                  <a:lnTo>
                    <a:pt x="271" y="87"/>
                  </a:lnTo>
                  <a:lnTo>
                    <a:pt x="273" y="87"/>
                  </a:lnTo>
                  <a:lnTo>
                    <a:pt x="271" y="87"/>
                  </a:lnTo>
                  <a:lnTo>
                    <a:pt x="271" y="88"/>
                  </a:lnTo>
                  <a:lnTo>
                    <a:pt x="270" y="88"/>
                  </a:lnTo>
                  <a:lnTo>
                    <a:pt x="269" y="88"/>
                  </a:lnTo>
                  <a:lnTo>
                    <a:pt x="268" y="88"/>
                  </a:lnTo>
                  <a:lnTo>
                    <a:pt x="267" y="88"/>
                  </a:lnTo>
                  <a:lnTo>
                    <a:pt x="267" y="89"/>
                  </a:lnTo>
                  <a:lnTo>
                    <a:pt x="267" y="90"/>
                  </a:lnTo>
                  <a:lnTo>
                    <a:pt x="265" y="90"/>
                  </a:lnTo>
                  <a:lnTo>
                    <a:pt x="264" y="90"/>
                  </a:lnTo>
                  <a:lnTo>
                    <a:pt x="264" y="92"/>
                  </a:lnTo>
                  <a:lnTo>
                    <a:pt x="263" y="92"/>
                  </a:lnTo>
                  <a:lnTo>
                    <a:pt x="263" y="93"/>
                  </a:lnTo>
                  <a:lnTo>
                    <a:pt x="262" y="93"/>
                  </a:lnTo>
                  <a:lnTo>
                    <a:pt x="262" y="94"/>
                  </a:lnTo>
                  <a:lnTo>
                    <a:pt x="261" y="94"/>
                  </a:lnTo>
                  <a:lnTo>
                    <a:pt x="262" y="94"/>
                  </a:lnTo>
                  <a:lnTo>
                    <a:pt x="263" y="94"/>
                  </a:lnTo>
                  <a:lnTo>
                    <a:pt x="264" y="94"/>
                  </a:lnTo>
                  <a:lnTo>
                    <a:pt x="265" y="94"/>
                  </a:lnTo>
                  <a:lnTo>
                    <a:pt x="265" y="95"/>
                  </a:lnTo>
                  <a:lnTo>
                    <a:pt x="267" y="95"/>
                  </a:lnTo>
                  <a:lnTo>
                    <a:pt x="268" y="95"/>
                  </a:lnTo>
                  <a:lnTo>
                    <a:pt x="268" y="94"/>
                  </a:lnTo>
                  <a:lnTo>
                    <a:pt x="268" y="95"/>
                  </a:lnTo>
                  <a:lnTo>
                    <a:pt x="268" y="96"/>
                  </a:lnTo>
                  <a:lnTo>
                    <a:pt x="269" y="95"/>
                  </a:lnTo>
                  <a:lnTo>
                    <a:pt x="270" y="95"/>
                  </a:lnTo>
                  <a:lnTo>
                    <a:pt x="270" y="94"/>
                  </a:lnTo>
                  <a:lnTo>
                    <a:pt x="271" y="94"/>
                  </a:lnTo>
                  <a:lnTo>
                    <a:pt x="273" y="94"/>
                  </a:lnTo>
                  <a:lnTo>
                    <a:pt x="273" y="95"/>
                  </a:lnTo>
                  <a:lnTo>
                    <a:pt x="273" y="96"/>
                  </a:lnTo>
                  <a:lnTo>
                    <a:pt x="274" y="96"/>
                  </a:lnTo>
                  <a:lnTo>
                    <a:pt x="275" y="96"/>
                  </a:lnTo>
                  <a:lnTo>
                    <a:pt x="276" y="96"/>
                  </a:lnTo>
                  <a:lnTo>
                    <a:pt x="277" y="96"/>
                  </a:lnTo>
                  <a:lnTo>
                    <a:pt x="279" y="96"/>
                  </a:lnTo>
                  <a:lnTo>
                    <a:pt x="280" y="95"/>
                  </a:lnTo>
                  <a:lnTo>
                    <a:pt x="280" y="96"/>
                  </a:lnTo>
                  <a:lnTo>
                    <a:pt x="281" y="96"/>
                  </a:lnTo>
                  <a:lnTo>
                    <a:pt x="281" y="98"/>
                  </a:lnTo>
                  <a:lnTo>
                    <a:pt x="281" y="96"/>
                  </a:lnTo>
                  <a:lnTo>
                    <a:pt x="281" y="95"/>
                  </a:lnTo>
                  <a:lnTo>
                    <a:pt x="282" y="95"/>
                  </a:lnTo>
                  <a:lnTo>
                    <a:pt x="282" y="96"/>
                  </a:lnTo>
                  <a:lnTo>
                    <a:pt x="282" y="95"/>
                  </a:lnTo>
                  <a:lnTo>
                    <a:pt x="283" y="96"/>
                  </a:lnTo>
                  <a:lnTo>
                    <a:pt x="282" y="96"/>
                  </a:lnTo>
                  <a:lnTo>
                    <a:pt x="282" y="98"/>
                  </a:lnTo>
                  <a:lnTo>
                    <a:pt x="282" y="99"/>
                  </a:lnTo>
                  <a:lnTo>
                    <a:pt x="283" y="99"/>
                  </a:lnTo>
                  <a:lnTo>
                    <a:pt x="283" y="100"/>
                  </a:lnTo>
                  <a:lnTo>
                    <a:pt x="285" y="100"/>
                  </a:lnTo>
                  <a:lnTo>
                    <a:pt x="285" y="101"/>
                  </a:lnTo>
                  <a:lnTo>
                    <a:pt x="283" y="101"/>
                  </a:lnTo>
                  <a:lnTo>
                    <a:pt x="282" y="101"/>
                  </a:lnTo>
                  <a:lnTo>
                    <a:pt x="282" y="102"/>
                  </a:lnTo>
                  <a:lnTo>
                    <a:pt x="281" y="104"/>
                  </a:lnTo>
                  <a:lnTo>
                    <a:pt x="281" y="105"/>
                  </a:lnTo>
                  <a:lnTo>
                    <a:pt x="282" y="105"/>
                  </a:lnTo>
                  <a:lnTo>
                    <a:pt x="281" y="105"/>
                  </a:lnTo>
                  <a:lnTo>
                    <a:pt x="282" y="106"/>
                  </a:lnTo>
                  <a:lnTo>
                    <a:pt x="283" y="106"/>
                  </a:lnTo>
                  <a:lnTo>
                    <a:pt x="285" y="105"/>
                  </a:lnTo>
                  <a:lnTo>
                    <a:pt x="286" y="105"/>
                  </a:lnTo>
                  <a:lnTo>
                    <a:pt x="286" y="104"/>
                  </a:lnTo>
                  <a:lnTo>
                    <a:pt x="286" y="105"/>
                  </a:lnTo>
                  <a:lnTo>
                    <a:pt x="286" y="104"/>
                  </a:lnTo>
                  <a:lnTo>
                    <a:pt x="287" y="104"/>
                  </a:lnTo>
                  <a:lnTo>
                    <a:pt x="287" y="102"/>
                  </a:lnTo>
                  <a:lnTo>
                    <a:pt x="288" y="102"/>
                  </a:lnTo>
                  <a:lnTo>
                    <a:pt x="289" y="102"/>
                  </a:lnTo>
                  <a:lnTo>
                    <a:pt x="289" y="101"/>
                  </a:lnTo>
                  <a:lnTo>
                    <a:pt x="291" y="101"/>
                  </a:lnTo>
                  <a:lnTo>
                    <a:pt x="291" y="102"/>
                  </a:lnTo>
                  <a:lnTo>
                    <a:pt x="291" y="104"/>
                  </a:lnTo>
                  <a:lnTo>
                    <a:pt x="291" y="105"/>
                  </a:lnTo>
                  <a:lnTo>
                    <a:pt x="289" y="106"/>
                  </a:lnTo>
                  <a:lnTo>
                    <a:pt x="288" y="106"/>
                  </a:lnTo>
                  <a:lnTo>
                    <a:pt x="287" y="106"/>
                  </a:lnTo>
                  <a:lnTo>
                    <a:pt x="286" y="107"/>
                  </a:lnTo>
                  <a:lnTo>
                    <a:pt x="287" y="108"/>
                  </a:lnTo>
                  <a:lnTo>
                    <a:pt x="286" y="108"/>
                  </a:lnTo>
                  <a:lnTo>
                    <a:pt x="285" y="108"/>
                  </a:lnTo>
                  <a:lnTo>
                    <a:pt x="283" y="110"/>
                  </a:lnTo>
                  <a:lnTo>
                    <a:pt x="283" y="111"/>
                  </a:lnTo>
                  <a:lnTo>
                    <a:pt x="282" y="112"/>
                  </a:lnTo>
                  <a:lnTo>
                    <a:pt x="281" y="112"/>
                  </a:lnTo>
                  <a:lnTo>
                    <a:pt x="280" y="111"/>
                  </a:lnTo>
                  <a:lnTo>
                    <a:pt x="279" y="112"/>
                  </a:lnTo>
                  <a:lnTo>
                    <a:pt x="277" y="112"/>
                  </a:lnTo>
                  <a:lnTo>
                    <a:pt x="279" y="113"/>
                  </a:lnTo>
                  <a:lnTo>
                    <a:pt x="280" y="113"/>
                  </a:lnTo>
                  <a:lnTo>
                    <a:pt x="280" y="114"/>
                  </a:lnTo>
                  <a:lnTo>
                    <a:pt x="281" y="116"/>
                  </a:lnTo>
                  <a:lnTo>
                    <a:pt x="282" y="117"/>
                  </a:lnTo>
                  <a:lnTo>
                    <a:pt x="283" y="117"/>
                  </a:lnTo>
                  <a:lnTo>
                    <a:pt x="285" y="117"/>
                  </a:lnTo>
                  <a:lnTo>
                    <a:pt x="286" y="117"/>
                  </a:lnTo>
                  <a:lnTo>
                    <a:pt x="286" y="118"/>
                  </a:lnTo>
                  <a:lnTo>
                    <a:pt x="285" y="118"/>
                  </a:lnTo>
                  <a:lnTo>
                    <a:pt x="285" y="119"/>
                  </a:lnTo>
                  <a:lnTo>
                    <a:pt x="286" y="118"/>
                  </a:lnTo>
                  <a:lnTo>
                    <a:pt x="286" y="119"/>
                  </a:lnTo>
                  <a:lnTo>
                    <a:pt x="286" y="120"/>
                  </a:lnTo>
                  <a:lnTo>
                    <a:pt x="283" y="123"/>
                  </a:lnTo>
                  <a:lnTo>
                    <a:pt x="285" y="123"/>
                  </a:lnTo>
                  <a:lnTo>
                    <a:pt x="285" y="125"/>
                  </a:lnTo>
                  <a:lnTo>
                    <a:pt x="285" y="126"/>
                  </a:lnTo>
                  <a:lnTo>
                    <a:pt x="285" y="128"/>
                  </a:lnTo>
                  <a:lnTo>
                    <a:pt x="286" y="126"/>
                  </a:lnTo>
                  <a:lnTo>
                    <a:pt x="287" y="128"/>
                  </a:lnTo>
                  <a:lnTo>
                    <a:pt x="287" y="129"/>
                  </a:lnTo>
                  <a:lnTo>
                    <a:pt x="288" y="129"/>
                  </a:lnTo>
                  <a:lnTo>
                    <a:pt x="289" y="129"/>
                  </a:lnTo>
                  <a:lnTo>
                    <a:pt x="291" y="129"/>
                  </a:lnTo>
                  <a:lnTo>
                    <a:pt x="292" y="129"/>
                  </a:lnTo>
                  <a:lnTo>
                    <a:pt x="293" y="129"/>
                  </a:lnTo>
                  <a:lnTo>
                    <a:pt x="294" y="129"/>
                  </a:lnTo>
                  <a:lnTo>
                    <a:pt x="294" y="130"/>
                  </a:lnTo>
                  <a:lnTo>
                    <a:pt x="295" y="130"/>
                  </a:lnTo>
                  <a:lnTo>
                    <a:pt x="297" y="130"/>
                  </a:lnTo>
                  <a:lnTo>
                    <a:pt x="299" y="130"/>
                  </a:lnTo>
                  <a:lnTo>
                    <a:pt x="299" y="129"/>
                  </a:lnTo>
                  <a:lnTo>
                    <a:pt x="299" y="130"/>
                  </a:lnTo>
                  <a:lnTo>
                    <a:pt x="299" y="131"/>
                  </a:lnTo>
                  <a:lnTo>
                    <a:pt x="298" y="132"/>
                  </a:lnTo>
                  <a:lnTo>
                    <a:pt x="298" y="134"/>
                  </a:lnTo>
                  <a:lnTo>
                    <a:pt x="299" y="134"/>
                  </a:lnTo>
                  <a:lnTo>
                    <a:pt x="300" y="134"/>
                  </a:lnTo>
                  <a:lnTo>
                    <a:pt x="301" y="134"/>
                  </a:lnTo>
                  <a:lnTo>
                    <a:pt x="301" y="135"/>
                  </a:lnTo>
                  <a:lnTo>
                    <a:pt x="303" y="134"/>
                  </a:lnTo>
                  <a:lnTo>
                    <a:pt x="304" y="135"/>
                  </a:lnTo>
                  <a:lnTo>
                    <a:pt x="304" y="134"/>
                  </a:lnTo>
                  <a:lnTo>
                    <a:pt x="306" y="135"/>
                  </a:lnTo>
                  <a:lnTo>
                    <a:pt x="306" y="136"/>
                  </a:lnTo>
                  <a:lnTo>
                    <a:pt x="305" y="136"/>
                  </a:lnTo>
                  <a:lnTo>
                    <a:pt x="304" y="138"/>
                  </a:lnTo>
                  <a:lnTo>
                    <a:pt x="303" y="138"/>
                  </a:lnTo>
                  <a:lnTo>
                    <a:pt x="301" y="138"/>
                  </a:lnTo>
                  <a:lnTo>
                    <a:pt x="300" y="140"/>
                  </a:lnTo>
                  <a:lnTo>
                    <a:pt x="299" y="141"/>
                  </a:lnTo>
                  <a:lnTo>
                    <a:pt x="298" y="141"/>
                  </a:lnTo>
                  <a:lnTo>
                    <a:pt x="297" y="141"/>
                  </a:lnTo>
                  <a:lnTo>
                    <a:pt x="295" y="141"/>
                  </a:lnTo>
                  <a:lnTo>
                    <a:pt x="294" y="141"/>
                  </a:lnTo>
                  <a:lnTo>
                    <a:pt x="293" y="141"/>
                  </a:lnTo>
                  <a:lnTo>
                    <a:pt x="292" y="141"/>
                  </a:lnTo>
                  <a:lnTo>
                    <a:pt x="292" y="140"/>
                  </a:lnTo>
                  <a:lnTo>
                    <a:pt x="291" y="140"/>
                  </a:lnTo>
                  <a:lnTo>
                    <a:pt x="289" y="140"/>
                  </a:lnTo>
                  <a:lnTo>
                    <a:pt x="289" y="138"/>
                  </a:lnTo>
                  <a:lnTo>
                    <a:pt x="289" y="137"/>
                  </a:lnTo>
                  <a:lnTo>
                    <a:pt x="287" y="137"/>
                  </a:lnTo>
                  <a:lnTo>
                    <a:pt x="288" y="138"/>
                  </a:lnTo>
                  <a:lnTo>
                    <a:pt x="289" y="140"/>
                  </a:lnTo>
                  <a:lnTo>
                    <a:pt x="289" y="141"/>
                  </a:lnTo>
                  <a:lnTo>
                    <a:pt x="288" y="141"/>
                  </a:lnTo>
                  <a:lnTo>
                    <a:pt x="288" y="142"/>
                  </a:lnTo>
                  <a:lnTo>
                    <a:pt x="287" y="142"/>
                  </a:lnTo>
                  <a:lnTo>
                    <a:pt x="286" y="142"/>
                  </a:lnTo>
                  <a:lnTo>
                    <a:pt x="286" y="141"/>
                  </a:lnTo>
                  <a:lnTo>
                    <a:pt x="285" y="141"/>
                  </a:lnTo>
                  <a:lnTo>
                    <a:pt x="285" y="140"/>
                  </a:lnTo>
                  <a:lnTo>
                    <a:pt x="283" y="140"/>
                  </a:lnTo>
                  <a:lnTo>
                    <a:pt x="283" y="138"/>
                  </a:lnTo>
                  <a:lnTo>
                    <a:pt x="282" y="138"/>
                  </a:lnTo>
                  <a:lnTo>
                    <a:pt x="282" y="140"/>
                  </a:lnTo>
                  <a:lnTo>
                    <a:pt x="281" y="138"/>
                  </a:lnTo>
                  <a:lnTo>
                    <a:pt x="279" y="137"/>
                  </a:lnTo>
                  <a:lnTo>
                    <a:pt x="277" y="137"/>
                  </a:lnTo>
                  <a:lnTo>
                    <a:pt x="277" y="138"/>
                  </a:lnTo>
                  <a:lnTo>
                    <a:pt x="276" y="138"/>
                  </a:lnTo>
                  <a:lnTo>
                    <a:pt x="275" y="138"/>
                  </a:lnTo>
                  <a:lnTo>
                    <a:pt x="273" y="138"/>
                  </a:lnTo>
                  <a:lnTo>
                    <a:pt x="273" y="137"/>
                  </a:lnTo>
                  <a:lnTo>
                    <a:pt x="273" y="138"/>
                  </a:lnTo>
                  <a:lnTo>
                    <a:pt x="271" y="138"/>
                  </a:lnTo>
                  <a:lnTo>
                    <a:pt x="270" y="138"/>
                  </a:lnTo>
                  <a:lnTo>
                    <a:pt x="269" y="140"/>
                  </a:lnTo>
                  <a:lnTo>
                    <a:pt x="268" y="141"/>
                  </a:lnTo>
                  <a:lnTo>
                    <a:pt x="267" y="140"/>
                  </a:lnTo>
                  <a:lnTo>
                    <a:pt x="267" y="138"/>
                  </a:lnTo>
                  <a:lnTo>
                    <a:pt x="267" y="137"/>
                  </a:lnTo>
                  <a:lnTo>
                    <a:pt x="265" y="137"/>
                  </a:lnTo>
                  <a:lnTo>
                    <a:pt x="264" y="137"/>
                  </a:lnTo>
                  <a:lnTo>
                    <a:pt x="264" y="138"/>
                  </a:lnTo>
                  <a:lnTo>
                    <a:pt x="263" y="137"/>
                  </a:lnTo>
                  <a:lnTo>
                    <a:pt x="263" y="138"/>
                  </a:lnTo>
                  <a:lnTo>
                    <a:pt x="263" y="140"/>
                  </a:lnTo>
                  <a:lnTo>
                    <a:pt x="263" y="141"/>
                  </a:lnTo>
                  <a:lnTo>
                    <a:pt x="263" y="140"/>
                  </a:lnTo>
                  <a:lnTo>
                    <a:pt x="264" y="140"/>
                  </a:lnTo>
                  <a:lnTo>
                    <a:pt x="264" y="141"/>
                  </a:lnTo>
                  <a:lnTo>
                    <a:pt x="264" y="142"/>
                  </a:lnTo>
                  <a:lnTo>
                    <a:pt x="264" y="141"/>
                  </a:lnTo>
                  <a:lnTo>
                    <a:pt x="264" y="142"/>
                  </a:lnTo>
                  <a:lnTo>
                    <a:pt x="264" y="143"/>
                  </a:lnTo>
                  <a:lnTo>
                    <a:pt x="265" y="143"/>
                  </a:lnTo>
                  <a:lnTo>
                    <a:pt x="264" y="144"/>
                  </a:lnTo>
                  <a:lnTo>
                    <a:pt x="265" y="144"/>
                  </a:lnTo>
                  <a:lnTo>
                    <a:pt x="265" y="143"/>
                  </a:lnTo>
                  <a:lnTo>
                    <a:pt x="267" y="144"/>
                  </a:lnTo>
                  <a:lnTo>
                    <a:pt x="264" y="144"/>
                  </a:lnTo>
                  <a:lnTo>
                    <a:pt x="265" y="146"/>
                  </a:lnTo>
                  <a:lnTo>
                    <a:pt x="265" y="144"/>
                  </a:lnTo>
                  <a:lnTo>
                    <a:pt x="267" y="146"/>
                  </a:lnTo>
                  <a:lnTo>
                    <a:pt x="268" y="146"/>
                  </a:lnTo>
                  <a:lnTo>
                    <a:pt x="269" y="146"/>
                  </a:lnTo>
                  <a:lnTo>
                    <a:pt x="270" y="147"/>
                  </a:lnTo>
                  <a:lnTo>
                    <a:pt x="270" y="148"/>
                  </a:lnTo>
                  <a:lnTo>
                    <a:pt x="271" y="148"/>
                  </a:lnTo>
                  <a:lnTo>
                    <a:pt x="271" y="149"/>
                  </a:lnTo>
                  <a:lnTo>
                    <a:pt x="273" y="151"/>
                  </a:lnTo>
                  <a:lnTo>
                    <a:pt x="274" y="152"/>
                  </a:lnTo>
                  <a:lnTo>
                    <a:pt x="275" y="152"/>
                  </a:lnTo>
                  <a:lnTo>
                    <a:pt x="275" y="153"/>
                  </a:lnTo>
                  <a:lnTo>
                    <a:pt x="276" y="153"/>
                  </a:lnTo>
                  <a:lnTo>
                    <a:pt x="276" y="154"/>
                  </a:lnTo>
                  <a:lnTo>
                    <a:pt x="277" y="154"/>
                  </a:lnTo>
                  <a:lnTo>
                    <a:pt x="277" y="153"/>
                  </a:lnTo>
                  <a:lnTo>
                    <a:pt x="279" y="154"/>
                  </a:lnTo>
                  <a:lnTo>
                    <a:pt x="280" y="154"/>
                  </a:lnTo>
                  <a:lnTo>
                    <a:pt x="280" y="155"/>
                  </a:lnTo>
                  <a:lnTo>
                    <a:pt x="281" y="155"/>
                  </a:lnTo>
                  <a:lnTo>
                    <a:pt x="282" y="155"/>
                  </a:lnTo>
                  <a:lnTo>
                    <a:pt x="283" y="155"/>
                  </a:lnTo>
                  <a:lnTo>
                    <a:pt x="283" y="157"/>
                  </a:lnTo>
                  <a:lnTo>
                    <a:pt x="285" y="158"/>
                  </a:lnTo>
                  <a:lnTo>
                    <a:pt x="286" y="158"/>
                  </a:lnTo>
                  <a:lnTo>
                    <a:pt x="285" y="159"/>
                  </a:lnTo>
                  <a:lnTo>
                    <a:pt x="285" y="160"/>
                  </a:lnTo>
                  <a:lnTo>
                    <a:pt x="286" y="160"/>
                  </a:lnTo>
                  <a:lnTo>
                    <a:pt x="286" y="161"/>
                  </a:lnTo>
                  <a:lnTo>
                    <a:pt x="287" y="161"/>
                  </a:lnTo>
                  <a:lnTo>
                    <a:pt x="289" y="161"/>
                  </a:lnTo>
                  <a:lnTo>
                    <a:pt x="291" y="161"/>
                  </a:lnTo>
                  <a:lnTo>
                    <a:pt x="291" y="163"/>
                  </a:lnTo>
                  <a:lnTo>
                    <a:pt x="292" y="163"/>
                  </a:lnTo>
                  <a:lnTo>
                    <a:pt x="293" y="163"/>
                  </a:lnTo>
                  <a:lnTo>
                    <a:pt x="294" y="163"/>
                  </a:lnTo>
                  <a:lnTo>
                    <a:pt x="295" y="163"/>
                  </a:lnTo>
                  <a:lnTo>
                    <a:pt x="295" y="164"/>
                  </a:lnTo>
                  <a:lnTo>
                    <a:pt x="297" y="164"/>
                  </a:lnTo>
                  <a:lnTo>
                    <a:pt x="298" y="164"/>
                  </a:lnTo>
                  <a:lnTo>
                    <a:pt x="297" y="166"/>
                  </a:lnTo>
                  <a:lnTo>
                    <a:pt x="295" y="166"/>
                  </a:lnTo>
                  <a:lnTo>
                    <a:pt x="297" y="167"/>
                  </a:lnTo>
                  <a:lnTo>
                    <a:pt x="298" y="167"/>
                  </a:lnTo>
                  <a:lnTo>
                    <a:pt x="298" y="169"/>
                  </a:lnTo>
                  <a:lnTo>
                    <a:pt x="299" y="169"/>
                  </a:lnTo>
                  <a:lnTo>
                    <a:pt x="300" y="169"/>
                  </a:lnTo>
                  <a:lnTo>
                    <a:pt x="299" y="170"/>
                  </a:lnTo>
                  <a:lnTo>
                    <a:pt x="300" y="171"/>
                  </a:lnTo>
                  <a:lnTo>
                    <a:pt x="301" y="171"/>
                  </a:lnTo>
                  <a:lnTo>
                    <a:pt x="303" y="171"/>
                  </a:lnTo>
                  <a:lnTo>
                    <a:pt x="304" y="171"/>
                  </a:lnTo>
                  <a:lnTo>
                    <a:pt x="305" y="171"/>
                  </a:lnTo>
                  <a:lnTo>
                    <a:pt x="306" y="171"/>
                  </a:lnTo>
                  <a:lnTo>
                    <a:pt x="305" y="173"/>
                  </a:lnTo>
                  <a:lnTo>
                    <a:pt x="305" y="175"/>
                  </a:lnTo>
                  <a:lnTo>
                    <a:pt x="304" y="176"/>
                  </a:lnTo>
                  <a:lnTo>
                    <a:pt x="303" y="176"/>
                  </a:lnTo>
                  <a:lnTo>
                    <a:pt x="301" y="176"/>
                  </a:lnTo>
                  <a:lnTo>
                    <a:pt x="303" y="177"/>
                  </a:lnTo>
                  <a:lnTo>
                    <a:pt x="304" y="176"/>
                  </a:lnTo>
                  <a:lnTo>
                    <a:pt x="305" y="177"/>
                  </a:lnTo>
                  <a:lnTo>
                    <a:pt x="306" y="179"/>
                  </a:lnTo>
                  <a:lnTo>
                    <a:pt x="305" y="179"/>
                  </a:lnTo>
                  <a:lnTo>
                    <a:pt x="305" y="181"/>
                  </a:lnTo>
                  <a:lnTo>
                    <a:pt x="304" y="182"/>
                  </a:lnTo>
                  <a:lnTo>
                    <a:pt x="304" y="183"/>
                  </a:lnTo>
                  <a:lnTo>
                    <a:pt x="305" y="183"/>
                  </a:lnTo>
                  <a:lnTo>
                    <a:pt x="305" y="184"/>
                  </a:lnTo>
                  <a:lnTo>
                    <a:pt x="305" y="185"/>
                  </a:lnTo>
                  <a:lnTo>
                    <a:pt x="306" y="185"/>
                  </a:lnTo>
                  <a:lnTo>
                    <a:pt x="306" y="187"/>
                  </a:lnTo>
                  <a:lnTo>
                    <a:pt x="305" y="187"/>
                  </a:lnTo>
                  <a:lnTo>
                    <a:pt x="304" y="187"/>
                  </a:lnTo>
                  <a:lnTo>
                    <a:pt x="303" y="188"/>
                  </a:lnTo>
                  <a:lnTo>
                    <a:pt x="304" y="189"/>
                  </a:lnTo>
                  <a:lnTo>
                    <a:pt x="305" y="190"/>
                  </a:lnTo>
                  <a:lnTo>
                    <a:pt x="305" y="191"/>
                  </a:lnTo>
                  <a:lnTo>
                    <a:pt x="305" y="190"/>
                  </a:lnTo>
                  <a:lnTo>
                    <a:pt x="306" y="190"/>
                  </a:lnTo>
                  <a:lnTo>
                    <a:pt x="306" y="191"/>
                  </a:lnTo>
                  <a:lnTo>
                    <a:pt x="307" y="191"/>
                  </a:lnTo>
                  <a:lnTo>
                    <a:pt x="306" y="193"/>
                  </a:lnTo>
                  <a:lnTo>
                    <a:pt x="305" y="193"/>
                  </a:lnTo>
                  <a:lnTo>
                    <a:pt x="304" y="193"/>
                  </a:lnTo>
                  <a:lnTo>
                    <a:pt x="303" y="193"/>
                  </a:lnTo>
                  <a:lnTo>
                    <a:pt x="301" y="193"/>
                  </a:lnTo>
                  <a:lnTo>
                    <a:pt x="301" y="191"/>
                  </a:lnTo>
                  <a:lnTo>
                    <a:pt x="298" y="191"/>
                  </a:lnTo>
                  <a:lnTo>
                    <a:pt x="298" y="190"/>
                  </a:lnTo>
                  <a:lnTo>
                    <a:pt x="297" y="189"/>
                  </a:lnTo>
                  <a:lnTo>
                    <a:pt x="295" y="188"/>
                  </a:lnTo>
                  <a:lnTo>
                    <a:pt x="295" y="187"/>
                  </a:lnTo>
                  <a:lnTo>
                    <a:pt x="294" y="185"/>
                  </a:lnTo>
                  <a:lnTo>
                    <a:pt x="294" y="184"/>
                  </a:lnTo>
                  <a:lnTo>
                    <a:pt x="293" y="183"/>
                  </a:lnTo>
                  <a:lnTo>
                    <a:pt x="293" y="182"/>
                  </a:lnTo>
                  <a:lnTo>
                    <a:pt x="292" y="182"/>
                  </a:lnTo>
                  <a:lnTo>
                    <a:pt x="292" y="183"/>
                  </a:lnTo>
                  <a:lnTo>
                    <a:pt x="291" y="183"/>
                  </a:lnTo>
                  <a:lnTo>
                    <a:pt x="289" y="182"/>
                  </a:lnTo>
                  <a:lnTo>
                    <a:pt x="288" y="182"/>
                  </a:lnTo>
                  <a:lnTo>
                    <a:pt x="288" y="183"/>
                  </a:lnTo>
                  <a:lnTo>
                    <a:pt x="287" y="183"/>
                  </a:lnTo>
                  <a:lnTo>
                    <a:pt x="285" y="182"/>
                  </a:lnTo>
                  <a:lnTo>
                    <a:pt x="285" y="181"/>
                  </a:lnTo>
                  <a:lnTo>
                    <a:pt x="286" y="181"/>
                  </a:lnTo>
                  <a:lnTo>
                    <a:pt x="286" y="179"/>
                  </a:lnTo>
                  <a:lnTo>
                    <a:pt x="287" y="179"/>
                  </a:lnTo>
                  <a:lnTo>
                    <a:pt x="288" y="179"/>
                  </a:lnTo>
                  <a:lnTo>
                    <a:pt x="287" y="178"/>
                  </a:lnTo>
                  <a:lnTo>
                    <a:pt x="288" y="178"/>
                  </a:lnTo>
                  <a:lnTo>
                    <a:pt x="289" y="178"/>
                  </a:lnTo>
                  <a:lnTo>
                    <a:pt x="289" y="177"/>
                  </a:lnTo>
                  <a:lnTo>
                    <a:pt x="288" y="177"/>
                  </a:lnTo>
                  <a:lnTo>
                    <a:pt x="288" y="176"/>
                  </a:lnTo>
                  <a:lnTo>
                    <a:pt x="287" y="176"/>
                  </a:lnTo>
                  <a:lnTo>
                    <a:pt x="286" y="176"/>
                  </a:lnTo>
                  <a:lnTo>
                    <a:pt x="285" y="176"/>
                  </a:lnTo>
                  <a:lnTo>
                    <a:pt x="283" y="175"/>
                  </a:lnTo>
                  <a:lnTo>
                    <a:pt x="282" y="175"/>
                  </a:lnTo>
                  <a:lnTo>
                    <a:pt x="283" y="175"/>
                  </a:lnTo>
                  <a:lnTo>
                    <a:pt x="282" y="173"/>
                  </a:lnTo>
                  <a:lnTo>
                    <a:pt x="281" y="173"/>
                  </a:lnTo>
                  <a:lnTo>
                    <a:pt x="282" y="172"/>
                  </a:lnTo>
                  <a:lnTo>
                    <a:pt x="281" y="172"/>
                  </a:lnTo>
                  <a:lnTo>
                    <a:pt x="280" y="173"/>
                  </a:lnTo>
                  <a:lnTo>
                    <a:pt x="279" y="173"/>
                  </a:lnTo>
                  <a:lnTo>
                    <a:pt x="277" y="172"/>
                  </a:lnTo>
                  <a:lnTo>
                    <a:pt x="277" y="171"/>
                  </a:lnTo>
                  <a:lnTo>
                    <a:pt x="276" y="171"/>
                  </a:lnTo>
                  <a:lnTo>
                    <a:pt x="275" y="171"/>
                  </a:lnTo>
                  <a:lnTo>
                    <a:pt x="275" y="170"/>
                  </a:lnTo>
                  <a:lnTo>
                    <a:pt x="274" y="170"/>
                  </a:lnTo>
                  <a:lnTo>
                    <a:pt x="273" y="170"/>
                  </a:lnTo>
                  <a:lnTo>
                    <a:pt x="271" y="169"/>
                  </a:lnTo>
                  <a:lnTo>
                    <a:pt x="270" y="169"/>
                  </a:lnTo>
                  <a:lnTo>
                    <a:pt x="270" y="167"/>
                  </a:lnTo>
                  <a:lnTo>
                    <a:pt x="269" y="167"/>
                  </a:lnTo>
                  <a:lnTo>
                    <a:pt x="270" y="166"/>
                  </a:lnTo>
                  <a:lnTo>
                    <a:pt x="270" y="165"/>
                  </a:lnTo>
                  <a:lnTo>
                    <a:pt x="269" y="165"/>
                  </a:lnTo>
                  <a:lnTo>
                    <a:pt x="269" y="164"/>
                  </a:lnTo>
                  <a:lnTo>
                    <a:pt x="268" y="163"/>
                  </a:lnTo>
                  <a:lnTo>
                    <a:pt x="267" y="163"/>
                  </a:lnTo>
                  <a:lnTo>
                    <a:pt x="267" y="164"/>
                  </a:lnTo>
                  <a:lnTo>
                    <a:pt x="267" y="165"/>
                  </a:lnTo>
                  <a:lnTo>
                    <a:pt x="265" y="165"/>
                  </a:lnTo>
                  <a:lnTo>
                    <a:pt x="265" y="166"/>
                  </a:lnTo>
                  <a:lnTo>
                    <a:pt x="267" y="166"/>
                  </a:lnTo>
                  <a:lnTo>
                    <a:pt x="268" y="166"/>
                  </a:lnTo>
                  <a:lnTo>
                    <a:pt x="268" y="167"/>
                  </a:lnTo>
                  <a:lnTo>
                    <a:pt x="269" y="167"/>
                  </a:lnTo>
                  <a:lnTo>
                    <a:pt x="269" y="169"/>
                  </a:lnTo>
                  <a:lnTo>
                    <a:pt x="269" y="170"/>
                  </a:lnTo>
                  <a:lnTo>
                    <a:pt x="270" y="171"/>
                  </a:lnTo>
                  <a:lnTo>
                    <a:pt x="269" y="171"/>
                  </a:lnTo>
                  <a:lnTo>
                    <a:pt x="268" y="171"/>
                  </a:lnTo>
                  <a:lnTo>
                    <a:pt x="267" y="170"/>
                  </a:lnTo>
                  <a:lnTo>
                    <a:pt x="265" y="170"/>
                  </a:lnTo>
                  <a:lnTo>
                    <a:pt x="265" y="169"/>
                  </a:lnTo>
                  <a:lnTo>
                    <a:pt x="263" y="169"/>
                  </a:lnTo>
                  <a:lnTo>
                    <a:pt x="262" y="169"/>
                  </a:lnTo>
                  <a:lnTo>
                    <a:pt x="261" y="169"/>
                  </a:lnTo>
                  <a:lnTo>
                    <a:pt x="261" y="167"/>
                  </a:lnTo>
                  <a:lnTo>
                    <a:pt x="259" y="167"/>
                  </a:lnTo>
                  <a:lnTo>
                    <a:pt x="258" y="167"/>
                  </a:lnTo>
                  <a:lnTo>
                    <a:pt x="257" y="167"/>
                  </a:lnTo>
                  <a:lnTo>
                    <a:pt x="255" y="167"/>
                  </a:lnTo>
                  <a:lnTo>
                    <a:pt x="255" y="166"/>
                  </a:lnTo>
                  <a:lnTo>
                    <a:pt x="253" y="166"/>
                  </a:lnTo>
                  <a:lnTo>
                    <a:pt x="255" y="166"/>
                  </a:lnTo>
                  <a:lnTo>
                    <a:pt x="252" y="165"/>
                  </a:lnTo>
                  <a:lnTo>
                    <a:pt x="250" y="163"/>
                  </a:lnTo>
                  <a:lnTo>
                    <a:pt x="250" y="161"/>
                  </a:lnTo>
                  <a:lnTo>
                    <a:pt x="251" y="160"/>
                  </a:lnTo>
                  <a:lnTo>
                    <a:pt x="251" y="159"/>
                  </a:lnTo>
                  <a:lnTo>
                    <a:pt x="251" y="160"/>
                  </a:lnTo>
                  <a:lnTo>
                    <a:pt x="250" y="160"/>
                  </a:lnTo>
                  <a:lnTo>
                    <a:pt x="250" y="161"/>
                  </a:lnTo>
                  <a:lnTo>
                    <a:pt x="248" y="161"/>
                  </a:lnTo>
                  <a:lnTo>
                    <a:pt x="247" y="161"/>
                  </a:lnTo>
                  <a:lnTo>
                    <a:pt x="247" y="160"/>
                  </a:lnTo>
                  <a:lnTo>
                    <a:pt x="246" y="161"/>
                  </a:lnTo>
                  <a:lnTo>
                    <a:pt x="245" y="163"/>
                  </a:lnTo>
                  <a:lnTo>
                    <a:pt x="244" y="163"/>
                  </a:lnTo>
                  <a:lnTo>
                    <a:pt x="242" y="163"/>
                  </a:lnTo>
                  <a:lnTo>
                    <a:pt x="241" y="163"/>
                  </a:lnTo>
                  <a:lnTo>
                    <a:pt x="241" y="164"/>
                  </a:lnTo>
                  <a:lnTo>
                    <a:pt x="241" y="165"/>
                  </a:lnTo>
                  <a:lnTo>
                    <a:pt x="242" y="165"/>
                  </a:lnTo>
                  <a:lnTo>
                    <a:pt x="244" y="165"/>
                  </a:lnTo>
                  <a:lnTo>
                    <a:pt x="245" y="165"/>
                  </a:lnTo>
                  <a:lnTo>
                    <a:pt x="245" y="164"/>
                  </a:lnTo>
                  <a:lnTo>
                    <a:pt x="246" y="164"/>
                  </a:lnTo>
                  <a:lnTo>
                    <a:pt x="247" y="164"/>
                  </a:lnTo>
                  <a:lnTo>
                    <a:pt x="247" y="165"/>
                  </a:lnTo>
                  <a:lnTo>
                    <a:pt x="246" y="165"/>
                  </a:lnTo>
                  <a:lnTo>
                    <a:pt x="246" y="166"/>
                  </a:lnTo>
                  <a:lnTo>
                    <a:pt x="246" y="167"/>
                  </a:lnTo>
                  <a:lnTo>
                    <a:pt x="246" y="169"/>
                  </a:lnTo>
                  <a:lnTo>
                    <a:pt x="246" y="167"/>
                  </a:lnTo>
                  <a:lnTo>
                    <a:pt x="245" y="167"/>
                  </a:lnTo>
                  <a:lnTo>
                    <a:pt x="244" y="167"/>
                  </a:lnTo>
                  <a:lnTo>
                    <a:pt x="244" y="166"/>
                  </a:lnTo>
                  <a:lnTo>
                    <a:pt x="244" y="167"/>
                  </a:lnTo>
                  <a:lnTo>
                    <a:pt x="244" y="169"/>
                  </a:lnTo>
                  <a:lnTo>
                    <a:pt x="245" y="169"/>
                  </a:lnTo>
                  <a:lnTo>
                    <a:pt x="246" y="169"/>
                  </a:lnTo>
                  <a:lnTo>
                    <a:pt x="246" y="170"/>
                  </a:lnTo>
                  <a:lnTo>
                    <a:pt x="247" y="170"/>
                  </a:lnTo>
                  <a:lnTo>
                    <a:pt x="248" y="170"/>
                  </a:lnTo>
                  <a:lnTo>
                    <a:pt x="250" y="169"/>
                  </a:lnTo>
                  <a:lnTo>
                    <a:pt x="251" y="169"/>
                  </a:lnTo>
                  <a:lnTo>
                    <a:pt x="252" y="169"/>
                  </a:lnTo>
                  <a:lnTo>
                    <a:pt x="251" y="170"/>
                  </a:lnTo>
                  <a:lnTo>
                    <a:pt x="252" y="170"/>
                  </a:lnTo>
                  <a:lnTo>
                    <a:pt x="251" y="171"/>
                  </a:lnTo>
                  <a:lnTo>
                    <a:pt x="252" y="172"/>
                  </a:lnTo>
                  <a:lnTo>
                    <a:pt x="253" y="172"/>
                  </a:lnTo>
                  <a:lnTo>
                    <a:pt x="253" y="173"/>
                  </a:lnTo>
                  <a:lnTo>
                    <a:pt x="252" y="173"/>
                  </a:lnTo>
                  <a:lnTo>
                    <a:pt x="252" y="175"/>
                  </a:lnTo>
                  <a:lnTo>
                    <a:pt x="253" y="175"/>
                  </a:lnTo>
                  <a:lnTo>
                    <a:pt x="255" y="175"/>
                  </a:lnTo>
                  <a:lnTo>
                    <a:pt x="255" y="176"/>
                  </a:lnTo>
                  <a:lnTo>
                    <a:pt x="256" y="176"/>
                  </a:lnTo>
                  <a:lnTo>
                    <a:pt x="258" y="176"/>
                  </a:lnTo>
                  <a:lnTo>
                    <a:pt x="258" y="177"/>
                  </a:lnTo>
                  <a:lnTo>
                    <a:pt x="259" y="177"/>
                  </a:lnTo>
                  <a:lnTo>
                    <a:pt x="262" y="178"/>
                  </a:lnTo>
                  <a:lnTo>
                    <a:pt x="263" y="177"/>
                  </a:lnTo>
                  <a:lnTo>
                    <a:pt x="264" y="177"/>
                  </a:lnTo>
                  <a:lnTo>
                    <a:pt x="265" y="177"/>
                  </a:lnTo>
                  <a:lnTo>
                    <a:pt x="267" y="178"/>
                  </a:lnTo>
                  <a:lnTo>
                    <a:pt x="268" y="178"/>
                  </a:lnTo>
                  <a:lnTo>
                    <a:pt x="268" y="177"/>
                  </a:lnTo>
                  <a:lnTo>
                    <a:pt x="267" y="177"/>
                  </a:lnTo>
                  <a:lnTo>
                    <a:pt x="268" y="176"/>
                  </a:lnTo>
                  <a:lnTo>
                    <a:pt x="268" y="177"/>
                  </a:lnTo>
                  <a:lnTo>
                    <a:pt x="270" y="177"/>
                  </a:lnTo>
                  <a:lnTo>
                    <a:pt x="269" y="177"/>
                  </a:lnTo>
                  <a:lnTo>
                    <a:pt x="270" y="178"/>
                  </a:lnTo>
                  <a:lnTo>
                    <a:pt x="273" y="178"/>
                  </a:lnTo>
                  <a:lnTo>
                    <a:pt x="273" y="179"/>
                  </a:lnTo>
                  <a:lnTo>
                    <a:pt x="274" y="179"/>
                  </a:lnTo>
                  <a:lnTo>
                    <a:pt x="275" y="179"/>
                  </a:lnTo>
                  <a:lnTo>
                    <a:pt x="275" y="181"/>
                  </a:lnTo>
                  <a:lnTo>
                    <a:pt x="274" y="181"/>
                  </a:lnTo>
                  <a:lnTo>
                    <a:pt x="274" y="182"/>
                  </a:lnTo>
                  <a:lnTo>
                    <a:pt x="274" y="184"/>
                  </a:lnTo>
                  <a:lnTo>
                    <a:pt x="273" y="184"/>
                  </a:lnTo>
                  <a:lnTo>
                    <a:pt x="274" y="185"/>
                  </a:lnTo>
                  <a:lnTo>
                    <a:pt x="274" y="184"/>
                  </a:lnTo>
                  <a:lnTo>
                    <a:pt x="275" y="184"/>
                  </a:lnTo>
                  <a:lnTo>
                    <a:pt x="275" y="183"/>
                  </a:lnTo>
                  <a:lnTo>
                    <a:pt x="276" y="183"/>
                  </a:lnTo>
                  <a:lnTo>
                    <a:pt x="277" y="183"/>
                  </a:lnTo>
                  <a:lnTo>
                    <a:pt x="277" y="184"/>
                  </a:lnTo>
                  <a:lnTo>
                    <a:pt x="277" y="183"/>
                  </a:lnTo>
                  <a:lnTo>
                    <a:pt x="277" y="184"/>
                  </a:lnTo>
                  <a:lnTo>
                    <a:pt x="279" y="184"/>
                  </a:lnTo>
                  <a:lnTo>
                    <a:pt x="280" y="185"/>
                  </a:lnTo>
                  <a:lnTo>
                    <a:pt x="279" y="187"/>
                  </a:lnTo>
                  <a:lnTo>
                    <a:pt x="280" y="187"/>
                  </a:lnTo>
                  <a:lnTo>
                    <a:pt x="281" y="187"/>
                  </a:lnTo>
                  <a:lnTo>
                    <a:pt x="282" y="188"/>
                  </a:lnTo>
                  <a:lnTo>
                    <a:pt x="282" y="189"/>
                  </a:lnTo>
                  <a:lnTo>
                    <a:pt x="283" y="189"/>
                  </a:lnTo>
                  <a:lnTo>
                    <a:pt x="285" y="188"/>
                  </a:lnTo>
                  <a:lnTo>
                    <a:pt x="285" y="189"/>
                  </a:lnTo>
                  <a:lnTo>
                    <a:pt x="286" y="189"/>
                  </a:lnTo>
                  <a:lnTo>
                    <a:pt x="287" y="189"/>
                  </a:lnTo>
                  <a:lnTo>
                    <a:pt x="287" y="190"/>
                  </a:lnTo>
                  <a:lnTo>
                    <a:pt x="287" y="191"/>
                  </a:lnTo>
                  <a:lnTo>
                    <a:pt x="287" y="193"/>
                  </a:lnTo>
                  <a:lnTo>
                    <a:pt x="287" y="194"/>
                  </a:lnTo>
                  <a:lnTo>
                    <a:pt x="287" y="195"/>
                  </a:lnTo>
                  <a:lnTo>
                    <a:pt x="287" y="196"/>
                  </a:lnTo>
                  <a:lnTo>
                    <a:pt x="287" y="197"/>
                  </a:lnTo>
                  <a:lnTo>
                    <a:pt x="287" y="199"/>
                  </a:lnTo>
                  <a:lnTo>
                    <a:pt x="288" y="199"/>
                  </a:lnTo>
                  <a:lnTo>
                    <a:pt x="289" y="199"/>
                  </a:lnTo>
                  <a:lnTo>
                    <a:pt x="291" y="199"/>
                  </a:lnTo>
                  <a:lnTo>
                    <a:pt x="293" y="199"/>
                  </a:lnTo>
                  <a:lnTo>
                    <a:pt x="293" y="200"/>
                  </a:lnTo>
                  <a:lnTo>
                    <a:pt x="294" y="201"/>
                  </a:lnTo>
                  <a:lnTo>
                    <a:pt x="295" y="201"/>
                  </a:lnTo>
                  <a:lnTo>
                    <a:pt x="297" y="201"/>
                  </a:lnTo>
                  <a:lnTo>
                    <a:pt x="298" y="202"/>
                  </a:lnTo>
                  <a:lnTo>
                    <a:pt x="298" y="203"/>
                  </a:lnTo>
                  <a:lnTo>
                    <a:pt x="297" y="205"/>
                  </a:lnTo>
                  <a:lnTo>
                    <a:pt x="298" y="205"/>
                  </a:lnTo>
                  <a:lnTo>
                    <a:pt x="298" y="206"/>
                  </a:lnTo>
                  <a:lnTo>
                    <a:pt x="299" y="206"/>
                  </a:lnTo>
                  <a:lnTo>
                    <a:pt x="299" y="207"/>
                  </a:lnTo>
                  <a:lnTo>
                    <a:pt x="301" y="207"/>
                  </a:lnTo>
                  <a:lnTo>
                    <a:pt x="301" y="208"/>
                  </a:lnTo>
                  <a:lnTo>
                    <a:pt x="303" y="209"/>
                  </a:lnTo>
                  <a:lnTo>
                    <a:pt x="304" y="209"/>
                  </a:lnTo>
                  <a:lnTo>
                    <a:pt x="304" y="211"/>
                  </a:lnTo>
                  <a:lnTo>
                    <a:pt x="304" y="212"/>
                  </a:lnTo>
                  <a:lnTo>
                    <a:pt x="304" y="213"/>
                  </a:lnTo>
                  <a:lnTo>
                    <a:pt x="305" y="213"/>
                  </a:lnTo>
                  <a:lnTo>
                    <a:pt x="304" y="214"/>
                  </a:lnTo>
                  <a:lnTo>
                    <a:pt x="305" y="214"/>
                  </a:lnTo>
                  <a:lnTo>
                    <a:pt x="305" y="215"/>
                  </a:lnTo>
                  <a:lnTo>
                    <a:pt x="306" y="217"/>
                  </a:lnTo>
                  <a:lnTo>
                    <a:pt x="306" y="218"/>
                  </a:lnTo>
                  <a:lnTo>
                    <a:pt x="305" y="219"/>
                  </a:lnTo>
                  <a:lnTo>
                    <a:pt x="305" y="220"/>
                  </a:lnTo>
                  <a:lnTo>
                    <a:pt x="306" y="220"/>
                  </a:lnTo>
                  <a:lnTo>
                    <a:pt x="307" y="220"/>
                  </a:lnTo>
                  <a:lnTo>
                    <a:pt x="309" y="221"/>
                  </a:lnTo>
                  <a:lnTo>
                    <a:pt x="309" y="223"/>
                  </a:lnTo>
                  <a:lnTo>
                    <a:pt x="310" y="223"/>
                  </a:lnTo>
                  <a:lnTo>
                    <a:pt x="311" y="223"/>
                  </a:lnTo>
                  <a:lnTo>
                    <a:pt x="312" y="224"/>
                  </a:lnTo>
                  <a:lnTo>
                    <a:pt x="311" y="224"/>
                  </a:lnTo>
                  <a:lnTo>
                    <a:pt x="311" y="225"/>
                  </a:lnTo>
                  <a:lnTo>
                    <a:pt x="310" y="226"/>
                  </a:lnTo>
                  <a:lnTo>
                    <a:pt x="311" y="226"/>
                  </a:lnTo>
                  <a:lnTo>
                    <a:pt x="312" y="226"/>
                  </a:lnTo>
                  <a:lnTo>
                    <a:pt x="312" y="227"/>
                  </a:lnTo>
                  <a:lnTo>
                    <a:pt x="314" y="229"/>
                  </a:lnTo>
                  <a:lnTo>
                    <a:pt x="315" y="229"/>
                  </a:lnTo>
                  <a:lnTo>
                    <a:pt x="316" y="230"/>
                  </a:lnTo>
                  <a:lnTo>
                    <a:pt x="315" y="231"/>
                  </a:lnTo>
                  <a:lnTo>
                    <a:pt x="316" y="232"/>
                  </a:lnTo>
                  <a:lnTo>
                    <a:pt x="317" y="232"/>
                  </a:lnTo>
                  <a:lnTo>
                    <a:pt x="317" y="233"/>
                  </a:lnTo>
                  <a:lnTo>
                    <a:pt x="317" y="232"/>
                  </a:lnTo>
                  <a:lnTo>
                    <a:pt x="317" y="233"/>
                  </a:lnTo>
                  <a:lnTo>
                    <a:pt x="318" y="233"/>
                  </a:lnTo>
                  <a:lnTo>
                    <a:pt x="320" y="232"/>
                  </a:lnTo>
                  <a:lnTo>
                    <a:pt x="321" y="233"/>
                  </a:lnTo>
                  <a:lnTo>
                    <a:pt x="321" y="232"/>
                  </a:lnTo>
                  <a:lnTo>
                    <a:pt x="323" y="232"/>
                  </a:lnTo>
                  <a:lnTo>
                    <a:pt x="324" y="232"/>
                  </a:lnTo>
                  <a:lnTo>
                    <a:pt x="323" y="233"/>
                  </a:lnTo>
                  <a:lnTo>
                    <a:pt x="322" y="235"/>
                  </a:lnTo>
                  <a:lnTo>
                    <a:pt x="322" y="236"/>
                  </a:lnTo>
                  <a:lnTo>
                    <a:pt x="321" y="236"/>
                  </a:lnTo>
                  <a:lnTo>
                    <a:pt x="320" y="236"/>
                  </a:lnTo>
                  <a:lnTo>
                    <a:pt x="318" y="236"/>
                  </a:lnTo>
                  <a:lnTo>
                    <a:pt x="317" y="237"/>
                  </a:lnTo>
                  <a:lnTo>
                    <a:pt x="318" y="238"/>
                  </a:lnTo>
                  <a:lnTo>
                    <a:pt x="317" y="239"/>
                  </a:lnTo>
                  <a:lnTo>
                    <a:pt x="317" y="241"/>
                  </a:lnTo>
                  <a:lnTo>
                    <a:pt x="316" y="241"/>
                  </a:lnTo>
                  <a:lnTo>
                    <a:pt x="317" y="241"/>
                  </a:lnTo>
                  <a:lnTo>
                    <a:pt x="317" y="242"/>
                  </a:lnTo>
                  <a:lnTo>
                    <a:pt x="316" y="243"/>
                  </a:lnTo>
                  <a:lnTo>
                    <a:pt x="318" y="243"/>
                  </a:lnTo>
                  <a:lnTo>
                    <a:pt x="318" y="244"/>
                  </a:lnTo>
                  <a:lnTo>
                    <a:pt x="320" y="244"/>
                  </a:lnTo>
                  <a:lnTo>
                    <a:pt x="320" y="245"/>
                  </a:lnTo>
                  <a:lnTo>
                    <a:pt x="318" y="245"/>
                  </a:lnTo>
                  <a:lnTo>
                    <a:pt x="317" y="247"/>
                  </a:lnTo>
                  <a:lnTo>
                    <a:pt x="317" y="245"/>
                  </a:lnTo>
                  <a:lnTo>
                    <a:pt x="316" y="245"/>
                  </a:lnTo>
                  <a:lnTo>
                    <a:pt x="315" y="244"/>
                  </a:lnTo>
                  <a:lnTo>
                    <a:pt x="314" y="243"/>
                  </a:lnTo>
                  <a:lnTo>
                    <a:pt x="312" y="243"/>
                  </a:lnTo>
                  <a:lnTo>
                    <a:pt x="312" y="242"/>
                  </a:lnTo>
                  <a:lnTo>
                    <a:pt x="311" y="242"/>
                  </a:lnTo>
                  <a:lnTo>
                    <a:pt x="311" y="241"/>
                  </a:lnTo>
                  <a:lnTo>
                    <a:pt x="311" y="239"/>
                  </a:lnTo>
                  <a:lnTo>
                    <a:pt x="310" y="241"/>
                  </a:lnTo>
                  <a:lnTo>
                    <a:pt x="309" y="241"/>
                  </a:lnTo>
                  <a:lnTo>
                    <a:pt x="307" y="239"/>
                  </a:lnTo>
                  <a:lnTo>
                    <a:pt x="305" y="239"/>
                  </a:lnTo>
                  <a:lnTo>
                    <a:pt x="305" y="238"/>
                  </a:lnTo>
                  <a:lnTo>
                    <a:pt x="305" y="237"/>
                  </a:lnTo>
                  <a:lnTo>
                    <a:pt x="305" y="238"/>
                  </a:lnTo>
                  <a:lnTo>
                    <a:pt x="304" y="238"/>
                  </a:lnTo>
                  <a:lnTo>
                    <a:pt x="303" y="239"/>
                  </a:lnTo>
                  <a:lnTo>
                    <a:pt x="301" y="239"/>
                  </a:lnTo>
                  <a:lnTo>
                    <a:pt x="301" y="241"/>
                  </a:lnTo>
                  <a:lnTo>
                    <a:pt x="301" y="242"/>
                  </a:lnTo>
                  <a:lnTo>
                    <a:pt x="301" y="241"/>
                  </a:lnTo>
                  <a:lnTo>
                    <a:pt x="301" y="243"/>
                  </a:lnTo>
                  <a:lnTo>
                    <a:pt x="301" y="244"/>
                  </a:lnTo>
                  <a:lnTo>
                    <a:pt x="300" y="244"/>
                  </a:lnTo>
                  <a:lnTo>
                    <a:pt x="299" y="244"/>
                  </a:lnTo>
                  <a:lnTo>
                    <a:pt x="298" y="244"/>
                  </a:lnTo>
                  <a:lnTo>
                    <a:pt x="298" y="245"/>
                  </a:lnTo>
                  <a:lnTo>
                    <a:pt x="298" y="244"/>
                  </a:lnTo>
                  <a:lnTo>
                    <a:pt x="298" y="243"/>
                  </a:lnTo>
                  <a:lnTo>
                    <a:pt x="297" y="242"/>
                  </a:lnTo>
                  <a:lnTo>
                    <a:pt x="297" y="241"/>
                  </a:lnTo>
                  <a:lnTo>
                    <a:pt x="295" y="239"/>
                  </a:lnTo>
                  <a:lnTo>
                    <a:pt x="295" y="241"/>
                  </a:lnTo>
                  <a:lnTo>
                    <a:pt x="294" y="239"/>
                  </a:lnTo>
                  <a:lnTo>
                    <a:pt x="294" y="241"/>
                  </a:lnTo>
                  <a:lnTo>
                    <a:pt x="293" y="239"/>
                  </a:lnTo>
                  <a:lnTo>
                    <a:pt x="293" y="238"/>
                  </a:lnTo>
                  <a:lnTo>
                    <a:pt x="292" y="238"/>
                  </a:lnTo>
                  <a:lnTo>
                    <a:pt x="291" y="237"/>
                  </a:lnTo>
                  <a:lnTo>
                    <a:pt x="291" y="236"/>
                  </a:lnTo>
                  <a:lnTo>
                    <a:pt x="289" y="235"/>
                  </a:lnTo>
                  <a:lnTo>
                    <a:pt x="288" y="235"/>
                  </a:lnTo>
                  <a:lnTo>
                    <a:pt x="288" y="237"/>
                  </a:lnTo>
                  <a:lnTo>
                    <a:pt x="287" y="237"/>
                  </a:lnTo>
                  <a:lnTo>
                    <a:pt x="286" y="237"/>
                  </a:lnTo>
                  <a:lnTo>
                    <a:pt x="285" y="236"/>
                  </a:lnTo>
                  <a:lnTo>
                    <a:pt x="283" y="237"/>
                  </a:lnTo>
                  <a:lnTo>
                    <a:pt x="282" y="238"/>
                  </a:lnTo>
                  <a:lnTo>
                    <a:pt x="283" y="239"/>
                  </a:lnTo>
                  <a:lnTo>
                    <a:pt x="285" y="241"/>
                  </a:lnTo>
                  <a:lnTo>
                    <a:pt x="285" y="239"/>
                  </a:lnTo>
                  <a:lnTo>
                    <a:pt x="286" y="241"/>
                  </a:lnTo>
                  <a:lnTo>
                    <a:pt x="286" y="239"/>
                  </a:lnTo>
                  <a:lnTo>
                    <a:pt x="287" y="239"/>
                  </a:lnTo>
                  <a:lnTo>
                    <a:pt x="287" y="241"/>
                  </a:lnTo>
                  <a:lnTo>
                    <a:pt x="288" y="241"/>
                  </a:lnTo>
                  <a:lnTo>
                    <a:pt x="289" y="241"/>
                  </a:lnTo>
                  <a:lnTo>
                    <a:pt x="291" y="242"/>
                  </a:lnTo>
                  <a:lnTo>
                    <a:pt x="292" y="242"/>
                  </a:lnTo>
                  <a:lnTo>
                    <a:pt x="292" y="243"/>
                  </a:lnTo>
                  <a:lnTo>
                    <a:pt x="293" y="243"/>
                  </a:lnTo>
                  <a:lnTo>
                    <a:pt x="293" y="244"/>
                  </a:lnTo>
                  <a:lnTo>
                    <a:pt x="294" y="244"/>
                  </a:lnTo>
                  <a:lnTo>
                    <a:pt x="294" y="245"/>
                  </a:lnTo>
                  <a:lnTo>
                    <a:pt x="293" y="247"/>
                  </a:lnTo>
                  <a:lnTo>
                    <a:pt x="294" y="247"/>
                  </a:lnTo>
                  <a:lnTo>
                    <a:pt x="293" y="247"/>
                  </a:lnTo>
                  <a:lnTo>
                    <a:pt x="294" y="247"/>
                  </a:lnTo>
                  <a:lnTo>
                    <a:pt x="294" y="248"/>
                  </a:lnTo>
                  <a:lnTo>
                    <a:pt x="293" y="249"/>
                  </a:lnTo>
                  <a:lnTo>
                    <a:pt x="292" y="249"/>
                  </a:lnTo>
                  <a:lnTo>
                    <a:pt x="291" y="249"/>
                  </a:lnTo>
                  <a:lnTo>
                    <a:pt x="289" y="249"/>
                  </a:lnTo>
                  <a:lnTo>
                    <a:pt x="288" y="249"/>
                  </a:lnTo>
                  <a:lnTo>
                    <a:pt x="287" y="249"/>
                  </a:lnTo>
                  <a:lnTo>
                    <a:pt x="286" y="250"/>
                  </a:lnTo>
                  <a:lnTo>
                    <a:pt x="286" y="251"/>
                  </a:lnTo>
                  <a:lnTo>
                    <a:pt x="285" y="251"/>
                  </a:lnTo>
                  <a:lnTo>
                    <a:pt x="283" y="253"/>
                  </a:lnTo>
                  <a:lnTo>
                    <a:pt x="283" y="251"/>
                  </a:lnTo>
                  <a:lnTo>
                    <a:pt x="283" y="253"/>
                  </a:lnTo>
                  <a:lnTo>
                    <a:pt x="282" y="251"/>
                  </a:lnTo>
                  <a:lnTo>
                    <a:pt x="281" y="251"/>
                  </a:lnTo>
                  <a:lnTo>
                    <a:pt x="280" y="253"/>
                  </a:lnTo>
                  <a:lnTo>
                    <a:pt x="280" y="251"/>
                  </a:lnTo>
                  <a:lnTo>
                    <a:pt x="279" y="253"/>
                  </a:lnTo>
                  <a:lnTo>
                    <a:pt x="276" y="251"/>
                  </a:lnTo>
                  <a:lnTo>
                    <a:pt x="276" y="250"/>
                  </a:lnTo>
                  <a:lnTo>
                    <a:pt x="275" y="250"/>
                  </a:lnTo>
                  <a:lnTo>
                    <a:pt x="274" y="250"/>
                  </a:lnTo>
                  <a:lnTo>
                    <a:pt x="274" y="249"/>
                  </a:lnTo>
                  <a:lnTo>
                    <a:pt x="273" y="250"/>
                  </a:lnTo>
                  <a:lnTo>
                    <a:pt x="274" y="250"/>
                  </a:lnTo>
                  <a:lnTo>
                    <a:pt x="275" y="250"/>
                  </a:lnTo>
                  <a:lnTo>
                    <a:pt x="276" y="251"/>
                  </a:lnTo>
                  <a:lnTo>
                    <a:pt x="276" y="253"/>
                  </a:lnTo>
                  <a:lnTo>
                    <a:pt x="275" y="254"/>
                  </a:lnTo>
                  <a:lnTo>
                    <a:pt x="275" y="253"/>
                  </a:lnTo>
                  <a:lnTo>
                    <a:pt x="275" y="254"/>
                  </a:lnTo>
                  <a:lnTo>
                    <a:pt x="274" y="255"/>
                  </a:lnTo>
                  <a:lnTo>
                    <a:pt x="275" y="255"/>
                  </a:lnTo>
                  <a:lnTo>
                    <a:pt x="274" y="256"/>
                  </a:lnTo>
                  <a:lnTo>
                    <a:pt x="273" y="256"/>
                  </a:lnTo>
                  <a:lnTo>
                    <a:pt x="271" y="256"/>
                  </a:lnTo>
                  <a:lnTo>
                    <a:pt x="270" y="256"/>
                  </a:lnTo>
                  <a:lnTo>
                    <a:pt x="269" y="258"/>
                  </a:lnTo>
                  <a:lnTo>
                    <a:pt x="269" y="259"/>
                  </a:lnTo>
                  <a:lnTo>
                    <a:pt x="268" y="258"/>
                  </a:lnTo>
                  <a:lnTo>
                    <a:pt x="268" y="259"/>
                  </a:lnTo>
                  <a:lnTo>
                    <a:pt x="268" y="260"/>
                  </a:lnTo>
                  <a:lnTo>
                    <a:pt x="269" y="260"/>
                  </a:lnTo>
                  <a:lnTo>
                    <a:pt x="268" y="261"/>
                  </a:lnTo>
                  <a:lnTo>
                    <a:pt x="269" y="261"/>
                  </a:lnTo>
                  <a:lnTo>
                    <a:pt x="269" y="262"/>
                  </a:lnTo>
                  <a:lnTo>
                    <a:pt x="270" y="262"/>
                  </a:lnTo>
                  <a:lnTo>
                    <a:pt x="271" y="262"/>
                  </a:lnTo>
                  <a:lnTo>
                    <a:pt x="273" y="262"/>
                  </a:lnTo>
                  <a:lnTo>
                    <a:pt x="273" y="261"/>
                  </a:lnTo>
                  <a:lnTo>
                    <a:pt x="274" y="261"/>
                  </a:lnTo>
                  <a:lnTo>
                    <a:pt x="274" y="262"/>
                  </a:lnTo>
                  <a:lnTo>
                    <a:pt x="275" y="262"/>
                  </a:lnTo>
                  <a:lnTo>
                    <a:pt x="275" y="264"/>
                  </a:lnTo>
                  <a:lnTo>
                    <a:pt x="274" y="265"/>
                  </a:lnTo>
                  <a:lnTo>
                    <a:pt x="274" y="266"/>
                  </a:lnTo>
                  <a:lnTo>
                    <a:pt x="275" y="267"/>
                  </a:lnTo>
                  <a:lnTo>
                    <a:pt x="274" y="268"/>
                  </a:lnTo>
                  <a:lnTo>
                    <a:pt x="274" y="267"/>
                  </a:lnTo>
                  <a:lnTo>
                    <a:pt x="273" y="267"/>
                  </a:lnTo>
                  <a:lnTo>
                    <a:pt x="273" y="268"/>
                  </a:lnTo>
                  <a:lnTo>
                    <a:pt x="273" y="270"/>
                  </a:lnTo>
                  <a:lnTo>
                    <a:pt x="271" y="270"/>
                  </a:lnTo>
                  <a:lnTo>
                    <a:pt x="273" y="271"/>
                  </a:lnTo>
                  <a:lnTo>
                    <a:pt x="274" y="270"/>
                  </a:lnTo>
                  <a:lnTo>
                    <a:pt x="275" y="270"/>
                  </a:lnTo>
                  <a:lnTo>
                    <a:pt x="276" y="270"/>
                  </a:lnTo>
                  <a:lnTo>
                    <a:pt x="275" y="271"/>
                  </a:lnTo>
                  <a:lnTo>
                    <a:pt x="276" y="272"/>
                  </a:lnTo>
                  <a:lnTo>
                    <a:pt x="277" y="273"/>
                  </a:lnTo>
                  <a:lnTo>
                    <a:pt x="279" y="273"/>
                  </a:lnTo>
                  <a:lnTo>
                    <a:pt x="279" y="274"/>
                  </a:lnTo>
                  <a:lnTo>
                    <a:pt x="277" y="276"/>
                  </a:lnTo>
                  <a:lnTo>
                    <a:pt x="279" y="276"/>
                  </a:lnTo>
                  <a:lnTo>
                    <a:pt x="277" y="277"/>
                  </a:lnTo>
                  <a:lnTo>
                    <a:pt x="276" y="278"/>
                  </a:lnTo>
                  <a:lnTo>
                    <a:pt x="276" y="277"/>
                  </a:lnTo>
                  <a:lnTo>
                    <a:pt x="275" y="278"/>
                  </a:lnTo>
                  <a:lnTo>
                    <a:pt x="274" y="277"/>
                  </a:lnTo>
                  <a:lnTo>
                    <a:pt x="273" y="277"/>
                  </a:lnTo>
                  <a:lnTo>
                    <a:pt x="271" y="277"/>
                  </a:lnTo>
                  <a:lnTo>
                    <a:pt x="270" y="276"/>
                  </a:lnTo>
                  <a:lnTo>
                    <a:pt x="269" y="276"/>
                  </a:lnTo>
                  <a:lnTo>
                    <a:pt x="268" y="274"/>
                  </a:lnTo>
                  <a:lnTo>
                    <a:pt x="267" y="273"/>
                  </a:lnTo>
                  <a:lnTo>
                    <a:pt x="267" y="274"/>
                  </a:lnTo>
                  <a:lnTo>
                    <a:pt x="264" y="273"/>
                  </a:lnTo>
                  <a:lnTo>
                    <a:pt x="267" y="273"/>
                  </a:lnTo>
                  <a:lnTo>
                    <a:pt x="267" y="271"/>
                  </a:lnTo>
                  <a:lnTo>
                    <a:pt x="268" y="271"/>
                  </a:lnTo>
                  <a:lnTo>
                    <a:pt x="268" y="272"/>
                  </a:lnTo>
                  <a:lnTo>
                    <a:pt x="268" y="273"/>
                  </a:lnTo>
                  <a:lnTo>
                    <a:pt x="269" y="273"/>
                  </a:lnTo>
                  <a:lnTo>
                    <a:pt x="270" y="274"/>
                  </a:lnTo>
                  <a:lnTo>
                    <a:pt x="271" y="273"/>
                  </a:lnTo>
                  <a:lnTo>
                    <a:pt x="273" y="273"/>
                  </a:lnTo>
                  <a:lnTo>
                    <a:pt x="271" y="272"/>
                  </a:lnTo>
                  <a:lnTo>
                    <a:pt x="270" y="273"/>
                  </a:lnTo>
                  <a:lnTo>
                    <a:pt x="270" y="272"/>
                  </a:lnTo>
                  <a:lnTo>
                    <a:pt x="270" y="271"/>
                  </a:lnTo>
                  <a:lnTo>
                    <a:pt x="270" y="270"/>
                  </a:lnTo>
                  <a:lnTo>
                    <a:pt x="269" y="270"/>
                  </a:lnTo>
                  <a:lnTo>
                    <a:pt x="270" y="268"/>
                  </a:lnTo>
                  <a:lnTo>
                    <a:pt x="269" y="268"/>
                  </a:lnTo>
                  <a:lnTo>
                    <a:pt x="269" y="267"/>
                  </a:lnTo>
                  <a:lnTo>
                    <a:pt x="268" y="266"/>
                  </a:lnTo>
                  <a:lnTo>
                    <a:pt x="269" y="266"/>
                  </a:lnTo>
                  <a:lnTo>
                    <a:pt x="267" y="266"/>
                  </a:lnTo>
                  <a:lnTo>
                    <a:pt x="267" y="267"/>
                  </a:lnTo>
                  <a:lnTo>
                    <a:pt x="268" y="267"/>
                  </a:lnTo>
                  <a:lnTo>
                    <a:pt x="269" y="267"/>
                  </a:lnTo>
                  <a:lnTo>
                    <a:pt x="267" y="268"/>
                  </a:lnTo>
                  <a:lnTo>
                    <a:pt x="267" y="267"/>
                  </a:lnTo>
                  <a:lnTo>
                    <a:pt x="265" y="267"/>
                  </a:lnTo>
                  <a:lnTo>
                    <a:pt x="264" y="266"/>
                  </a:lnTo>
                  <a:lnTo>
                    <a:pt x="263" y="265"/>
                  </a:lnTo>
                  <a:lnTo>
                    <a:pt x="262" y="264"/>
                  </a:lnTo>
                  <a:lnTo>
                    <a:pt x="261" y="264"/>
                  </a:lnTo>
                  <a:lnTo>
                    <a:pt x="261" y="262"/>
                  </a:lnTo>
                  <a:lnTo>
                    <a:pt x="259" y="262"/>
                  </a:lnTo>
                  <a:lnTo>
                    <a:pt x="259" y="261"/>
                  </a:lnTo>
                  <a:lnTo>
                    <a:pt x="261" y="261"/>
                  </a:lnTo>
                  <a:lnTo>
                    <a:pt x="262" y="261"/>
                  </a:lnTo>
                  <a:lnTo>
                    <a:pt x="262" y="260"/>
                  </a:lnTo>
                  <a:lnTo>
                    <a:pt x="261" y="259"/>
                  </a:lnTo>
                  <a:lnTo>
                    <a:pt x="262" y="258"/>
                  </a:lnTo>
                  <a:lnTo>
                    <a:pt x="261" y="258"/>
                  </a:lnTo>
                  <a:lnTo>
                    <a:pt x="261" y="259"/>
                  </a:lnTo>
                  <a:lnTo>
                    <a:pt x="258" y="259"/>
                  </a:lnTo>
                  <a:lnTo>
                    <a:pt x="258" y="258"/>
                  </a:lnTo>
                  <a:lnTo>
                    <a:pt x="257" y="258"/>
                  </a:lnTo>
                  <a:lnTo>
                    <a:pt x="256" y="256"/>
                  </a:lnTo>
                  <a:lnTo>
                    <a:pt x="255" y="256"/>
                  </a:lnTo>
                  <a:lnTo>
                    <a:pt x="253" y="256"/>
                  </a:lnTo>
                  <a:lnTo>
                    <a:pt x="253" y="255"/>
                  </a:lnTo>
                  <a:lnTo>
                    <a:pt x="253" y="254"/>
                  </a:lnTo>
                  <a:lnTo>
                    <a:pt x="252" y="253"/>
                  </a:lnTo>
                  <a:lnTo>
                    <a:pt x="253" y="251"/>
                  </a:lnTo>
                  <a:lnTo>
                    <a:pt x="255" y="251"/>
                  </a:lnTo>
                  <a:lnTo>
                    <a:pt x="255" y="250"/>
                  </a:lnTo>
                  <a:lnTo>
                    <a:pt x="256" y="250"/>
                  </a:lnTo>
                  <a:lnTo>
                    <a:pt x="255" y="249"/>
                  </a:lnTo>
                  <a:lnTo>
                    <a:pt x="256" y="249"/>
                  </a:lnTo>
                  <a:lnTo>
                    <a:pt x="256" y="248"/>
                  </a:lnTo>
                  <a:lnTo>
                    <a:pt x="257" y="245"/>
                  </a:lnTo>
                  <a:lnTo>
                    <a:pt x="257" y="247"/>
                  </a:lnTo>
                  <a:lnTo>
                    <a:pt x="257" y="248"/>
                  </a:lnTo>
                  <a:lnTo>
                    <a:pt x="257" y="249"/>
                  </a:lnTo>
                  <a:lnTo>
                    <a:pt x="258" y="249"/>
                  </a:lnTo>
                  <a:lnTo>
                    <a:pt x="258" y="250"/>
                  </a:lnTo>
                  <a:lnTo>
                    <a:pt x="257" y="250"/>
                  </a:lnTo>
                  <a:lnTo>
                    <a:pt x="257" y="251"/>
                  </a:lnTo>
                  <a:lnTo>
                    <a:pt x="258" y="251"/>
                  </a:lnTo>
                  <a:lnTo>
                    <a:pt x="259" y="251"/>
                  </a:lnTo>
                  <a:lnTo>
                    <a:pt x="259" y="250"/>
                  </a:lnTo>
                  <a:lnTo>
                    <a:pt x="261" y="250"/>
                  </a:lnTo>
                  <a:lnTo>
                    <a:pt x="261" y="251"/>
                  </a:lnTo>
                  <a:lnTo>
                    <a:pt x="261" y="253"/>
                  </a:lnTo>
                  <a:lnTo>
                    <a:pt x="262" y="253"/>
                  </a:lnTo>
                  <a:lnTo>
                    <a:pt x="263" y="253"/>
                  </a:lnTo>
                  <a:lnTo>
                    <a:pt x="263" y="250"/>
                  </a:lnTo>
                  <a:lnTo>
                    <a:pt x="263" y="249"/>
                  </a:lnTo>
                  <a:lnTo>
                    <a:pt x="263" y="248"/>
                  </a:lnTo>
                  <a:lnTo>
                    <a:pt x="263" y="247"/>
                  </a:lnTo>
                  <a:lnTo>
                    <a:pt x="262" y="245"/>
                  </a:lnTo>
                  <a:lnTo>
                    <a:pt x="261" y="245"/>
                  </a:lnTo>
                  <a:lnTo>
                    <a:pt x="259" y="245"/>
                  </a:lnTo>
                  <a:lnTo>
                    <a:pt x="258" y="245"/>
                  </a:lnTo>
                  <a:lnTo>
                    <a:pt x="257" y="245"/>
                  </a:lnTo>
                  <a:lnTo>
                    <a:pt x="256" y="245"/>
                  </a:lnTo>
                  <a:lnTo>
                    <a:pt x="255" y="247"/>
                  </a:lnTo>
                  <a:lnTo>
                    <a:pt x="253" y="245"/>
                  </a:lnTo>
                  <a:lnTo>
                    <a:pt x="251" y="244"/>
                  </a:lnTo>
                  <a:lnTo>
                    <a:pt x="250" y="244"/>
                  </a:lnTo>
                  <a:lnTo>
                    <a:pt x="250" y="245"/>
                  </a:lnTo>
                  <a:lnTo>
                    <a:pt x="251" y="244"/>
                  </a:lnTo>
                  <a:lnTo>
                    <a:pt x="250" y="245"/>
                  </a:lnTo>
                  <a:lnTo>
                    <a:pt x="248" y="245"/>
                  </a:lnTo>
                  <a:lnTo>
                    <a:pt x="247" y="247"/>
                  </a:lnTo>
                  <a:lnTo>
                    <a:pt x="247" y="248"/>
                  </a:lnTo>
                  <a:lnTo>
                    <a:pt x="245" y="247"/>
                  </a:lnTo>
                  <a:lnTo>
                    <a:pt x="244" y="248"/>
                  </a:lnTo>
                  <a:lnTo>
                    <a:pt x="244" y="247"/>
                  </a:lnTo>
                  <a:lnTo>
                    <a:pt x="242" y="247"/>
                  </a:lnTo>
                  <a:lnTo>
                    <a:pt x="241" y="247"/>
                  </a:lnTo>
                  <a:lnTo>
                    <a:pt x="240" y="247"/>
                  </a:lnTo>
                  <a:lnTo>
                    <a:pt x="239" y="248"/>
                  </a:lnTo>
                  <a:lnTo>
                    <a:pt x="239" y="249"/>
                  </a:lnTo>
                  <a:lnTo>
                    <a:pt x="238" y="249"/>
                  </a:lnTo>
                  <a:lnTo>
                    <a:pt x="238" y="248"/>
                  </a:lnTo>
                  <a:lnTo>
                    <a:pt x="236" y="247"/>
                  </a:lnTo>
                  <a:lnTo>
                    <a:pt x="235" y="248"/>
                  </a:lnTo>
                  <a:lnTo>
                    <a:pt x="234" y="248"/>
                  </a:lnTo>
                  <a:lnTo>
                    <a:pt x="234" y="245"/>
                  </a:lnTo>
                  <a:lnTo>
                    <a:pt x="233" y="244"/>
                  </a:lnTo>
                  <a:lnTo>
                    <a:pt x="232" y="244"/>
                  </a:lnTo>
                  <a:lnTo>
                    <a:pt x="230" y="244"/>
                  </a:lnTo>
                  <a:lnTo>
                    <a:pt x="227" y="245"/>
                  </a:lnTo>
                  <a:lnTo>
                    <a:pt x="224" y="245"/>
                  </a:lnTo>
                  <a:lnTo>
                    <a:pt x="223" y="247"/>
                  </a:lnTo>
                  <a:lnTo>
                    <a:pt x="222" y="247"/>
                  </a:lnTo>
                  <a:lnTo>
                    <a:pt x="220" y="247"/>
                  </a:lnTo>
                  <a:lnTo>
                    <a:pt x="218" y="247"/>
                  </a:lnTo>
                  <a:lnTo>
                    <a:pt x="218" y="248"/>
                  </a:lnTo>
                  <a:lnTo>
                    <a:pt x="216" y="248"/>
                  </a:lnTo>
                  <a:lnTo>
                    <a:pt x="215" y="247"/>
                  </a:lnTo>
                  <a:lnTo>
                    <a:pt x="212" y="248"/>
                  </a:lnTo>
                  <a:lnTo>
                    <a:pt x="208" y="248"/>
                  </a:lnTo>
                  <a:lnTo>
                    <a:pt x="208" y="250"/>
                  </a:lnTo>
                  <a:lnTo>
                    <a:pt x="209" y="251"/>
                  </a:lnTo>
                  <a:lnTo>
                    <a:pt x="210" y="250"/>
                  </a:lnTo>
                  <a:lnTo>
                    <a:pt x="211" y="250"/>
                  </a:lnTo>
                  <a:lnTo>
                    <a:pt x="212" y="250"/>
                  </a:lnTo>
                  <a:lnTo>
                    <a:pt x="212" y="251"/>
                  </a:lnTo>
                  <a:lnTo>
                    <a:pt x="212" y="250"/>
                  </a:lnTo>
                  <a:lnTo>
                    <a:pt x="214" y="251"/>
                  </a:lnTo>
                  <a:lnTo>
                    <a:pt x="215" y="253"/>
                  </a:lnTo>
                  <a:lnTo>
                    <a:pt x="215" y="254"/>
                  </a:lnTo>
                  <a:lnTo>
                    <a:pt x="216" y="254"/>
                  </a:lnTo>
                  <a:lnTo>
                    <a:pt x="216" y="255"/>
                  </a:lnTo>
                  <a:lnTo>
                    <a:pt x="216" y="256"/>
                  </a:lnTo>
                  <a:lnTo>
                    <a:pt x="216" y="258"/>
                  </a:lnTo>
                  <a:lnTo>
                    <a:pt x="216" y="259"/>
                  </a:lnTo>
                  <a:lnTo>
                    <a:pt x="216" y="260"/>
                  </a:lnTo>
                  <a:lnTo>
                    <a:pt x="215" y="260"/>
                  </a:lnTo>
                  <a:lnTo>
                    <a:pt x="214" y="261"/>
                  </a:lnTo>
                  <a:lnTo>
                    <a:pt x="212" y="261"/>
                  </a:lnTo>
                  <a:lnTo>
                    <a:pt x="210" y="261"/>
                  </a:lnTo>
                  <a:lnTo>
                    <a:pt x="211" y="262"/>
                  </a:lnTo>
                  <a:lnTo>
                    <a:pt x="212" y="262"/>
                  </a:lnTo>
                  <a:lnTo>
                    <a:pt x="215" y="262"/>
                  </a:lnTo>
                  <a:lnTo>
                    <a:pt x="220" y="262"/>
                  </a:lnTo>
                  <a:lnTo>
                    <a:pt x="221" y="262"/>
                  </a:lnTo>
                  <a:lnTo>
                    <a:pt x="223" y="264"/>
                  </a:lnTo>
                  <a:lnTo>
                    <a:pt x="226" y="264"/>
                  </a:lnTo>
                  <a:lnTo>
                    <a:pt x="227" y="264"/>
                  </a:lnTo>
                  <a:lnTo>
                    <a:pt x="228" y="264"/>
                  </a:lnTo>
                  <a:lnTo>
                    <a:pt x="229" y="264"/>
                  </a:lnTo>
                  <a:lnTo>
                    <a:pt x="228" y="262"/>
                  </a:lnTo>
                  <a:lnTo>
                    <a:pt x="227" y="262"/>
                  </a:lnTo>
                  <a:lnTo>
                    <a:pt x="227" y="261"/>
                  </a:lnTo>
                  <a:lnTo>
                    <a:pt x="228" y="260"/>
                  </a:lnTo>
                  <a:lnTo>
                    <a:pt x="230" y="261"/>
                  </a:lnTo>
                  <a:lnTo>
                    <a:pt x="230" y="260"/>
                  </a:lnTo>
                  <a:lnTo>
                    <a:pt x="232" y="260"/>
                  </a:lnTo>
                  <a:lnTo>
                    <a:pt x="232" y="261"/>
                  </a:lnTo>
                  <a:lnTo>
                    <a:pt x="233" y="261"/>
                  </a:lnTo>
                  <a:lnTo>
                    <a:pt x="233" y="260"/>
                  </a:lnTo>
                  <a:lnTo>
                    <a:pt x="235" y="260"/>
                  </a:lnTo>
                  <a:lnTo>
                    <a:pt x="235" y="259"/>
                  </a:lnTo>
                  <a:lnTo>
                    <a:pt x="236" y="259"/>
                  </a:lnTo>
                  <a:lnTo>
                    <a:pt x="238" y="258"/>
                  </a:lnTo>
                  <a:lnTo>
                    <a:pt x="239" y="258"/>
                  </a:lnTo>
                  <a:lnTo>
                    <a:pt x="240" y="258"/>
                  </a:lnTo>
                  <a:lnTo>
                    <a:pt x="241" y="259"/>
                  </a:lnTo>
                  <a:lnTo>
                    <a:pt x="242" y="259"/>
                  </a:lnTo>
                  <a:lnTo>
                    <a:pt x="244" y="259"/>
                  </a:lnTo>
                  <a:lnTo>
                    <a:pt x="244" y="260"/>
                  </a:lnTo>
                  <a:lnTo>
                    <a:pt x="245" y="261"/>
                  </a:lnTo>
                  <a:lnTo>
                    <a:pt x="246" y="262"/>
                  </a:lnTo>
                  <a:lnTo>
                    <a:pt x="246" y="264"/>
                  </a:lnTo>
                  <a:lnTo>
                    <a:pt x="247" y="264"/>
                  </a:lnTo>
                  <a:lnTo>
                    <a:pt x="248" y="264"/>
                  </a:lnTo>
                  <a:lnTo>
                    <a:pt x="248" y="265"/>
                  </a:lnTo>
                  <a:lnTo>
                    <a:pt x="250" y="265"/>
                  </a:lnTo>
                  <a:lnTo>
                    <a:pt x="251" y="264"/>
                  </a:lnTo>
                  <a:lnTo>
                    <a:pt x="252" y="264"/>
                  </a:lnTo>
                  <a:lnTo>
                    <a:pt x="252" y="265"/>
                  </a:lnTo>
                  <a:lnTo>
                    <a:pt x="255" y="265"/>
                  </a:lnTo>
                  <a:lnTo>
                    <a:pt x="255" y="266"/>
                  </a:lnTo>
                  <a:lnTo>
                    <a:pt x="256" y="267"/>
                  </a:lnTo>
                  <a:lnTo>
                    <a:pt x="256" y="268"/>
                  </a:lnTo>
                  <a:lnTo>
                    <a:pt x="256" y="270"/>
                  </a:lnTo>
                  <a:lnTo>
                    <a:pt x="255" y="270"/>
                  </a:lnTo>
                  <a:lnTo>
                    <a:pt x="256" y="271"/>
                  </a:lnTo>
                  <a:lnTo>
                    <a:pt x="257" y="272"/>
                  </a:lnTo>
                  <a:lnTo>
                    <a:pt x="258" y="272"/>
                  </a:lnTo>
                  <a:lnTo>
                    <a:pt x="259" y="272"/>
                  </a:lnTo>
                  <a:lnTo>
                    <a:pt x="261" y="273"/>
                  </a:lnTo>
                  <a:lnTo>
                    <a:pt x="262" y="274"/>
                  </a:lnTo>
                  <a:lnTo>
                    <a:pt x="261" y="276"/>
                  </a:lnTo>
                  <a:lnTo>
                    <a:pt x="259" y="277"/>
                  </a:lnTo>
                  <a:lnTo>
                    <a:pt x="261" y="276"/>
                  </a:lnTo>
                  <a:lnTo>
                    <a:pt x="262" y="276"/>
                  </a:lnTo>
                  <a:lnTo>
                    <a:pt x="262" y="277"/>
                  </a:lnTo>
                  <a:lnTo>
                    <a:pt x="263" y="278"/>
                  </a:lnTo>
                  <a:lnTo>
                    <a:pt x="263" y="279"/>
                  </a:lnTo>
                  <a:lnTo>
                    <a:pt x="263" y="280"/>
                  </a:lnTo>
                  <a:lnTo>
                    <a:pt x="264" y="280"/>
                  </a:lnTo>
                  <a:lnTo>
                    <a:pt x="265" y="282"/>
                  </a:lnTo>
                  <a:lnTo>
                    <a:pt x="264" y="282"/>
                  </a:lnTo>
                  <a:lnTo>
                    <a:pt x="263" y="283"/>
                  </a:lnTo>
                  <a:lnTo>
                    <a:pt x="262" y="282"/>
                  </a:lnTo>
                  <a:lnTo>
                    <a:pt x="262" y="283"/>
                  </a:lnTo>
                  <a:lnTo>
                    <a:pt x="263" y="283"/>
                  </a:lnTo>
                  <a:lnTo>
                    <a:pt x="264" y="285"/>
                  </a:lnTo>
                  <a:lnTo>
                    <a:pt x="264" y="284"/>
                  </a:lnTo>
                  <a:lnTo>
                    <a:pt x="264" y="285"/>
                  </a:lnTo>
                  <a:lnTo>
                    <a:pt x="265" y="285"/>
                  </a:lnTo>
                  <a:lnTo>
                    <a:pt x="265" y="286"/>
                  </a:lnTo>
                  <a:lnTo>
                    <a:pt x="267" y="288"/>
                  </a:lnTo>
                  <a:lnTo>
                    <a:pt x="268" y="289"/>
                  </a:lnTo>
                  <a:lnTo>
                    <a:pt x="268" y="290"/>
                  </a:lnTo>
                  <a:lnTo>
                    <a:pt x="268" y="292"/>
                  </a:lnTo>
                  <a:lnTo>
                    <a:pt x="265" y="292"/>
                  </a:lnTo>
                  <a:lnTo>
                    <a:pt x="264" y="292"/>
                  </a:lnTo>
                  <a:lnTo>
                    <a:pt x="263" y="292"/>
                  </a:lnTo>
                  <a:lnTo>
                    <a:pt x="263" y="291"/>
                  </a:lnTo>
                  <a:lnTo>
                    <a:pt x="262" y="291"/>
                  </a:lnTo>
                  <a:lnTo>
                    <a:pt x="261" y="290"/>
                  </a:lnTo>
                  <a:lnTo>
                    <a:pt x="259" y="290"/>
                  </a:lnTo>
                  <a:lnTo>
                    <a:pt x="258" y="289"/>
                  </a:lnTo>
                  <a:lnTo>
                    <a:pt x="257" y="288"/>
                  </a:lnTo>
                  <a:lnTo>
                    <a:pt x="257" y="286"/>
                  </a:lnTo>
                  <a:lnTo>
                    <a:pt x="256" y="288"/>
                  </a:lnTo>
                  <a:lnTo>
                    <a:pt x="257" y="289"/>
                  </a:lnTo>
                  <a:lnTo>
                    <a:pt x="256" y="288"/>
                  </a:lnTo>
                  <a:lnTo>
                    <a:pt x="256" y="289"/>
                  </a:lnTo>
                  <a:lnTo>
                    <a:pt x="255" y="290"/>
                  </a:lnTo>
                  <a:lnTo>
                    <a:pt x="256" y="289"/>
                  </a:lnTo>
                  <a:lnTo>
                    <a:pt x="255" y="288"/>
                  </a:lnTo>
                  <a:lnTo>
                    <a:pt x="253" y="286"/>
                  </a:lnTo>
                  <a:lnTo>
                    <a:pt x="253" y="288"/>
                  </a:lnTo>
                  <a:lnTo>
                    <a:pt x="252" y="288"/>
                  </a:lnTo>
                  <a:lnTo>
                    <a:pt x="251" y="286"/>
                  </a:lnTo>
                  <a:lnTo>
                    <a:pt x="250" y="285"/>
                  </a:lnTo>
                  <a:lnTo>
                    <a:pt x="250" y="286"/>
                  </a:lnTo>
                  <a:lnTo>
                    <a:pt x="248" y="285"/>
                  </a:lnTo>
                  <a:lnTo>
                    <a:pt x="247" y="285"/>
                  </a:lnTo>
                  <a:lnTo>
                    <a:pt x="248" y="285"/>
                  </a:lnTo>
                  <a:lnTo>
                    <a:pt x="248" y="284"/>
                  </a:lnTo>
                  <a:lnTo>
                    <a:pt x="247" y="285"/>
                  </a:lnTo>
                  <a:lnTo>
                    <a:pt x="246" y="285"/>
                  </a:lnTo>
                  <a:lnTo>
                    <a:pt x="246" y="286"/>
                  </a:lnTo>
                  <a:lnTo>
                    <a:pt x="247" y="288"/>
                  </a:lnTo>
                  <a:lnTo>
                    <a:pt x="248" y="289"/>
                  </a:lnTo>
                  <a:lnTo>
                    <a:pt x="247" y="288"/>
                  </a:lnTo>
                  <a:lnTo>
                    <a:pt x="246" y="288"/>
                  </a:lnTo>
                  <a:lnTo>
                    <a:pt x="245" y="289"/>
                  </a:lnTo>
                  <a:lnTo>
                    <a:pt x="244" y="290"/>
                  </a:lnTo>
                  <a:lnTo>
                    <a:pt x="242" y="290"/>
                  </a:lnTo>
                  <a:lnTo>
                    <a:pt x="241" y="290"/>
                  </a:lnTo>
                  <a:lnTo>
                    <a:pt x="240" y="290"/>
                  </a:lnTo>
                  <a:lnTo>
                    <a:pt x="241" y="291"/>
                  </a:lnTo>
                  <a:lnTo>
                    <a:pt x="242" y="291"/>
                  </a:lnTo>
                  <a:lnTo>
                    <a:pt x="240" y="292"/>
                  </a:lnTo>
                  <a:lnTo>
                    <a:pt x="239" y="292"/>
                  </a:lnTo>
                  <a:lnTo>
                    <a:pt x="238" y="291"/>
                  </a:lnTo>
                  <a:lnTo>
                    <a:pt x="236" y="292"/>
                  </a:lnTo>
                  <a:lnTo>
                    <a:pt x="235" y="291"/>
                  </a:lnTo>
                  <a:lnTo>
                    <a:pt x="234" y="291"/>
                  </a:lnTo>
                  <a:lnTo>
                    <a:pt x="233" y="291"/>
                  </a:lnTo>
                  <a:lnTo>
                    <a:pt x="233" y="292"/>
                  </a:lnTo>
                  <a:lnTo>
                    <a:pt x="234" y="294"/>
                  </a:lnTo>
                  <a:lnTo>
                    <a:pt x="233" y="294"/>
                  </a:lnTo>
                  <a:lnTo>
                    <a:pt x="232" y="294"/>
                  </a:lnTo>
                  <a:lnTo>
                    <a:pt x="230" y="295"/>
                  </a:lnTo>
                  <a:lnTo>
                    <a:pt x="230" y="294"/>
                  </a:lnTo>
                  <a:lnTo>
                    <a:pt x="229" y="294"/>
                  </a:lnTo>
                  <a:lnTo>
                    <a:pt x="229" y="295"/>
                  </a:lnTo>
                  <a:lnTo>
                    <a:pt x="228" y="294"/>
                  </a:lnTo>
                  <a:lnTo>
                    <a:pt x="228" y="292"/>
                  </a:lnTo>
                  <a:lnTo>
                    <a:pt x="229" y="291"/>
                  </a:lnTo>
                  <a:lnTo>
                    <a:pt x="230" y="291"/>
                  </a:lnTo>
                  <a:lnTo>
                    <a:pt x="230" y="290"/>
                  </a:lnTo>
                  <a:lnTo>
                    <a:pt x="229" y="291"/>
                  </a:lnTo>
                  <a:lnTo>
                    <a:pt x="228" y="290"/>
                  </a:lnTo>
                  <a:lnTo>
                    <a:pt x="227" y="289"/>
                  </a:lnTo>
                  <a:lnTo>
                    <a:pt x="226" y="288"/>
                  </a:lnTo>
                  <a:lnTo>
                    <a:pt x="227" y="288"/>
                  </a:lnTo>
                  <a:lnTo>
                    <a:pt x="227" y="286"/>
                  </a:lnTo>
                  <a:lnTo>
                    <a:pt x="228" y="286"/>
                  </a:lnTo>
                  <a:lnTo>
                    <a:pt x="228" y="288"/>
                  </a:lnTo>
                  <a:lnTo>
                    <a:pt x="230" y="288"/>
                  </a:lnTo>
                  <a:lnTo>
                    <a:pt x="230" y="286"/>
                  </a:lnTo>
                  <a:lnTo>
                    <a:pt x="230" y="285"/>
                  </a:lnTo>
                  <a:lnTo>
                    <a:pt x="232" y="285"/>
                  </a:lnTo>
                  <a:lnTo>
                    <a:pt x="233" y="285"/>
                  </a:lnTo>
                  <a:lnTo>
                    <a:pt x="232" y="284"/>
                  </a:lnTo>
                  <a:lnTo>
                    <a:pt x="232" y="283"/>
                  </a:lnTo>
                  <a:lnTo>
                    <a:pt x="232" y="282"/>
                  </a:lnTo>
                  <a:lnTo>
                    <a:pt x="233" y="282"/>
                  </a:lnTo>
                  <a:lnTo>
                    <a:pt x="233" y="280"/>
                  </a:lnTo>
                  <a:lnTo>
                    <a:pt x="234" y="279"/>
                  </a:lnTo>
                  <a:lnTo>
                    <a:pt x="233" y="279"/>
                  </a:lnTo>
                  <a:lnTo>
                    <a:pt x="233" y="278"/>
                  </a:lnTo>
                  <a:lnTo>
                    <a:pt x="232" y="278"/>
                  </a:lnTo>
                  <a:lnTo>
                    <a:pt x="229" y="277"/>
                  </a:lnTo>
                  <a:lnTo>
                    <a:pt x="230" y="276"/>
                  </a:lnTo>
                  <a:lnTo>
                    <a:pt x="232" y="276"/>
                  </a:lnTo>
                  <a:lnTo>
                    <a:pt x="232" y="274"/>
                  </a:lnTo>
                  <a:lnTo>
                    <a:pt x="232" y="273"/>
                  </a:lnTo>
                  <a:lnTo>
                    <a:pt x="232" y="272"/>
                  </a:lnTo>
                  <a:lnTo>
                    <a:pt x="233" y="272"/>
                  </a:lnTo>
                  <a:lnTo>
                    <a:pt x="232" y="271"/>
                  </a:lnTo>
                  <a:lnTo>
                    <a:pt x="232" y="270"/>
                  </a:lnTo>
                  <a:lnTo>
                    <a:pt x="230" y="268"/>
                  </a:lnTo>
                  <a:lnTo>
                    <a:pt x="232" y="267"/>
                  </a:lnTo>
                  <a:lnTo>
                    <a:pt x="229" y="267"/>
                  </a:lnTo>
                  <a:lnTo>
                    <a:pt x="229" y="268"/>
                  </a:lnTo>
                  <a:lnTo>
                    <a:pt x="228" y="267"/>
                  </a:lnTo>
                  <a:lnTo>
                    <a:pt x="228" y="266"/>
                  </a:lnTo>
                  <a:lnTo>
                    <a:pt x="227" y="266"/>
                  </a:lnTo>
                  <a:lnTo>
                    <a:pt x="221" y="265"/>
                  </a:lnTo>
                  <a:lnTo>
                    <a:pt x="220" y="265"/>
                  </a:lnTo>
                  <a:lnTo>
                    <a:pt x="218" y="265"/>
                  </a:lnTo>
                  <a:lnTo>
                    <a:pt x="217" y="265"/>
                  </a:lnTo>
                  <a:lnTo>
                    <a:pt x="215" y="265"/>
                  </a:lnTo>
                  <a:lnTo>
                    <a:pt x="216" y="266"/>
                  </a:lnTo>
                  <a:lnTo>
                    <a:pt x="215" y="266"/>
                  </a:lnTo>
                  <a:lnTo>
                    <a:pt x="214" y="266"/>
                  </a:lnTo>
                  <a:lnTo>
                    <a:pt x="212" y="266"/>
                  </a:lnTo>
                  <a:lnTo>
                    <a:pt x="212" y="267"/>
                  </a:lnTo>
                  <a:lnTo>
                    <a:pt x="211" y="267"/>
                  </a:lnTo>
                  <a:lnTo>
                    <a:pt x="210" y="267"/>
                  </a:lnTo>
                  <a:lnTo>
                    <a:pt x="208" y="267"/>
                  </a:lnTo>
                  <a:lnTo>
                    <a:pt x="208" y="268"/>
                  </a:lnTo>
                  <a:lnTo>
                    <a:pt x="206" y="268"/>
                  </a:lnTo>
                  <a:lnTo>
                    <a:pt x="206" y="271"/>
                  </a:lnTo>
                  <a:lnTo>
                    <a:pt x="204" y="271"/>
                  </a:lnTo>
                  <a:lnTo>
                    <a:pt x="204" y="272"/>
                  </a:lnTo>
                  <a:lnTo>
                    <a:pt x="204" y="271"/>
                  </a:lnTo>
                  <a:lnTo>
                    <a:pt x="203" y="271"/>
                  </a:lnTo>
                  <a:lnTo>
                    <a:pt x="202" y="270"/>
                  </a:lnTo>
                  <a:lnTo>
                    <a:pt x="200" y="268"/>
                  </a:lnTo>
                  <a:lnTo>
                    <a:pt x="199" y="268"/>
                  </a:lnTo>
                  <a:lnTo>
                    <a:pt x="197" y="270"/>
                  </a:lnTo>
                  <a:lnTo>
                    <a:pt x="194" y="271"/>
                  </a:lnTo>
                  <a:lnTo>
                    <a:pt x="197" y="270"/>
                  </a:lnTo>
                  <a:lnTo>
                    <a:pt x="199" y="271"/>
                  </a:lnTo>
                  <a:lnTo>
                    <a:pt x="199" y="272"/>
                  </a:lnTo>
                  <a:lnTo>
                    <a:pt x="198" y="272"/>
                  </a:lnTo>
                  <a:lnTo>
                    <a:pt x="198" y="273"/>
                  </a:lnTo>
                  <a:lnTo>
                    <a:pt x="199" y="276"/>
                  </a:lnTo>
                  <a:lnTo>
                    <a:pt x="198" y="276"/>
                  </a:lnTo>
                  <a:lnTo>
                    <a:pt x="198" y="277"/>
                  </a:lnTo>
                  <a:lnTo>
                    <a:pt x="199" y="277"/>
                  </a:lnTo>
                  <a:lnTo>
                    <a:pt x="199" y="278"/>
                  </a:lnTo>
                  <a:lnTo>
                    <a:pt x="198" y="279"/>
                  </a:lnTo>
                  <a:lnTo>
                    <a:pt x="199" y="280"/>
                  </a:lnTo>
                  <a:lnTo>
                    <a:pt x="198" y="282"/>
                  </a:lnTo>
                  <a:lnTo>
                    <a:pt x="197" y="280"/>
                  </a:lnTo>
                  <a:lnTo>
                    <a:pt x="196" y="280"/>
                  </a:lnTo>
                  <a:lnTo>
                    <a:pt x="196" y="282"/>
                  </a:lnTo>
                  <a:lnTo>
                    <a:pt x="198" y="282"/>
                  </a:lnTo>
                  <a:lnTo>
                    <a:pt x="198" y="283"/>
                  </a:lnTo>
                  <a:lnTo>
                    <a:pt x="197" y="283"/>
                  </a:lnTo>
                  <a:lnTo>
                    <a:pt x="196" y="284"/>
                  </a:lnTo>
                  <a:lnTo>
                    <a:pt x="196" y="283"/>
                  </a:lnTo>
                  <a:lnTo>
                    <a:pt x="196" y="284"/>
                  </a:lnTo>
                  <a:lnTo>
                    <a:pt x="194" y="284"/>
                  </a:lnTo>
                  <a:lnTo>
                    <a:pt x="196" y="285"/>
                  </a:lnTo>
                  <a:lnTo>
                    <a:pt x="196" y="286"/>
                  </a:lnTo>
                  <a:lnTo>
                    <a:pt x="194" y="286"/>
                  </a:lnTo>
                  <a:lnTo>
                    <a:pt x="193" y="284"/>
                  </a:lnTo>
                  <a:lnTo>
                    <a:pt x="193" y="285"/>
                  </a:lnTo>
                  <a:lnTo>
                    <a:pt x="192" y="285"/>
                  </a:lnTo>
                  <a:lnTo>
                    <a:pt x="192" y="284"/>
                  </a:lnTo>
                  <a:lnTo>
                    <a:pt x="191" y="283"/>
                  </a:lnTo>
                  <a:lnTo>
                    <a:pt x="192" y="283"/>
                  </a:lnTo>
                  <a:lnTo>
                    <a:pt x="193" y="284"/>
                  </a:lnTo>
                  <a:lnTo>
                    <a:pt x="192" y="283"/>
                  </a:lnTo>
                  <a:lnTo>
                    <a:pt x="192" y="282"/>
                  </a:lnTo>
                  <a:lnTo>
                    <a:pt x="191" y="283"/>
                  </a:lnTo>
                  <a:lnTo>
                    <a:pt x="192" y="282"/>
                  </a:lnTo>
                  <a:lnTo>
                    <a:pt x="192" y="280"/>
                  </a:lnTo>
                  <a:lnTo>
                    <a:pt x="191" y="282"/>
                  </a:lnTo>
                  <a:lnTo>
                    <a:pt x="189" y="282"/>
                  </a:lnTo>
                  <a:lnTo>
                    <a:pt x="188" y="283"/>
                  </a:lnTo>
                  <a:lnTo>
                    <a:pt x="187" y="284"/>
                  </a:lnTo>
                  <a:lnTo>
                    <a:pt x="186" y="288"/>
                  </a:lnTo>
                  <a:lnTo>
                    <a:pt x="185" y="290"/>
                  </a:lnTo>
                  <a:lnTo>
                    <a:pt x="187" y="291"/>
                  </a:lnTo>
                  <a:lnTo>
                    <a:pt x="191" y="291"/>
                  </a:lnTo>
                  <a:lnTo>
                    <a:pt x="192" y="290"/>
                  </a:lnTo>
                  <a:lnTo>
                    <a:pt x="194" y="290"/>
                  </a:lnTo>
                  <a:lnTo>
                    <a:pt x="196" y="290"/>
                  </a:lnTo>
                  <a:lnTo>
                    <a:pt x="198" y="289"/>
                  </a:lnTo>
                  <a:lnTo>
                    <a:pt x="202" y="289"/>
                  </a:lnTo>
                  <a:lnTo>
                    <a:pt x="210" y="288"/>
                  </a:lnTo>
                  <a:lnTo>
                    <a:pt x="215" y="288"/>
                  </a:lnTo>
                  <a:lnTo>
                    <a:pt x="216" y="286"/>
                  </a:lnTo>
                  <a:lnTo>
                    <a:pt x="216" y="285"/>
                  </a:lnTo>
                  <a:lnTo>
                    <a:pt x="216" y="286"/>
                  </a:lnTo>
                  <a:lnTo>
                    <a:pt x="218" y="286"/>
                  </a:lnTo>
                  <a:lnTo>
                    <a:pt x="218" y="288"/>
                  </a:lnTo>
                  <a:lnTo>
                    <a:pt x="217" y="289"/>
                  </a:lnTo>
                  <a:lnTo>
                    <a:pt x="215" y="289"/>
                  </a:lnTo>
                  <a:lnTo>
                    <a:pt x="214" y="290"/>
                  </a:lnTo>
                  <a:lnTo>
                    <a:pt x="209" y="290"/>
                  </a:lnTo>
                  <a:lnTo>
                    <a:pt x="205" y="290"/>
                  </a:lnTo>
                  <a:lnTo>
                    <a:pt x="203" y="290"/>
                  </a:lnTo>
                  <a:lnTo>
                    <a:pt x="200" y="291"/>
                  </a:lnTo>
                  <a:lnTo>
                    <a:pt x="199" y="291"/>
                  </a:lnTo>
                  <a:lnTo>
                    <a:pt x="197" y="292"/>
                  </a:lnTo>
                  <a:lnTo>
                    <a:pt x="194" y="294"/>
                  </a:lnTo>
                  <a:lnTo>
                    <a:pt x="191" y="294"/>
                  </a:lnTo>
                  <a:lnTo>
                    <a:pt x="188" y="295"/>
                  </a:lnTo>
                  <a:lnTo>
                    <a:pt x="186" y="296"/>
                  </a:lnTo>
                  <a:lnTo>
                    <a:pt x="186" y="298"/>
                  </a:lnTo>
                  <a:lnTo>
                    <a:pt x="186" y="300"/>
                  </a:lnTo>
                  <a:lnTo>
                    <a:pt x="187" y="301"/>
                  </a:lnTo>
                  <a:lnTo>
                    <a:pt x="187" y="304"/>
                  </a:lnTo>
                  <a:lnTo>
                    <a:pt x="186" y="306"/>
                  </a:lnTo>
                  <a:lnTo>
                    <a:pt x="185" y="309"/>
                  </a:lnTo>
                  <a:lnTo>
                    <a:pt x="185" y="313"/>
                  </a:lnTo>
                  <a:lnTo>
                    <a:pt x="185" y="315"/>
                  </a:lnTo>
                  <a:lnTo>
                    <a:pt x="185" y="321"/>
                  </a:lnTo>
                  <a:lnTo>
                    <a:pt x="185" y="324"/>
                  </a:lnTo>
                  <a:lnTo>
                    <a:pt x="186" y="336"/>
                  </a:lnTo>
                  <a:lnTo>
                    <a:pt x="186" y="340"/>
                  </a:lnTo>
                  <a:lnTo>
                    <a:pt x="185" y="343"/>
                  </a:lnTo>
                  <a:lnTo>
                    <a:pt x="185" y="345"/>
                  </a:lnTo>
                  <a:lnTo>
                    <a:pt x="185" y="346"/>
                  </a:lnTo>
                  <a:lnTo>
                    <a:pt x="183" y="348"/>
                  </a:lnTo>
                  <a:lnTo>
                    <a:pt x="182" y="348"/>
                  </a:lnTo>
                  <a:lnTo>
                    <a:pt x="179" y="349"/>
                  </a:lnTo>
                  <a:lnTo>
                    <a:pt x="175" y="348"/>
                  </a:lnTo>
                  <a:lnTo>
                    <a:pt x="171" y="348"/>
                  </a:lnTo>
                  <a:lnTo>
                    <a:pt x="170" y="345"/>
                  </a:lnTo>
                  <a:lnTo>
                    <a:pt x="170" y="342"/>
                  </a:lnTo>
                  <a:lnTo>
                    <a:pt x="171" y="338"/>
                  </a:lnTo>
                  <a:lnTo>
                    <a:pt x="171" y="336"/>
                  </a:lnTo>
                  <a:lnTo>
                    <a:pt x="171" y="328"/>
                  </a:lnTo>
                  <a:lnTo>
                    <a:pt x="171" y="327"/>
                  </a:lnTo>
                  <a:lnTo>
                    <a:pt x="171" y="325"/>
                  </a:lnTo>
                  <a:lnTo>
                    <a:pt x="171" y="320"/>
                  </a:lnTo>
                  <a:lnTo>
                    <a:pt x="173" y="318"/>
                  </a:lnTo>
                  <a:lnTo>
                    <a:pt x="173" y="310"/>
                  </a:lnTo>
                  <a:lnTo>
                    <a:pt x="173" y="304"/>
                  </a:lnTo>
                  <a:lnTo>
                    <a:pt x="171" y="301"/>
                  </a:lnTo>
                  <a:lnTo>
                    <a:pt x="168" y="300"/>
                  </a:lnTo>
                  <a:lnTo>
                    <a:pt x="163" y="297"/>
                  </a:lnTo>
                  <a:lnTo>
                    <a:pt x="159" y="295"/>
                  </a:lnTo>
                  <a:lnTo>
                    <a:pt x="157" y="294"/>
                  </a:lnTo>
                  <a:lnTo>
                    <a:pt x="155" y="292"/>
                  </a:lnTo>
                  <a:lnTo>
                    <a:pt x="151" y="292"/>
                  </a:lnTo>
                  <a:lnTo>
                    <a:pt x="149" y="292"/>
                  </a:lnTo>
                  <a:lnTo>
                    <a:pt x="147" y="292"/>
                  </a:lnTo>
                  <a:lnTo>
                    <a:pt x="144" y="291"/>
                  </a:lnTo>
                  <a:lnTo>
                    <a:pt x="140" y="291"/>
                  </a:lnTo>
                  <a:lnTo>
                    <a:pt x="137" y="291"/>
                  </a:lnTo>
                  <a:lnTo>
                    <a:pt x="135" y="291"/>
                  </a:lnTo>
                  <a:lnTo>
                    <a:pt x="134" y="291"/>
                  </a:lnTo>
                  <a:lnTo>
                    <a:pt x="133" y="291"/>
                  </a:lnTo>
                  <a:lnTo>
                    <a:pt x="132" y="292"/>
                  </a:lnTo>
                  <a:lnTo>
                    <a:pt x="131" y="292"/>
                  </a:lnTo>
                  <a:lnTo>
                    <a:pt x="129" y="294"/>
                  </a:lnTo>
                  <a:lnTo>
                    <a:pt x="128" y="295"/>
                  </a:lnTo>
                  <a:lnTo>
                    <a:pt x="126" y="294"/>
                  </a:lnTo>
                  <a:lnTo>
                    <a:pt x="128" y="292"/>
                  </a:lnTo>
                  <a:lnTo>
                    <a:pt x="132" y="290"/>
                  </a:lnTo>
                  <a:lnTo>
                    <a:pt x="133" y="288"/>
                  </a:lnTo>
                  <a:lnTo>
                    <a:pt x="135" y="286"/>
                  </a:lnTo>
                  <a:lnTo>
                    <a:pt x="134" y="284"/>
                  </a:lnTo>
                  <a:lnTo>
                    <a:pt x="132" y="285"/>
                  </a:lnTo>
                  <a:lnTo>
                    <a:pt x="128" y="285"/>
                  </a:lnTo>
                  <a:lnTo>
                    <a:pt x="126" y="285"/>
                  </a:lnTo>
                  <a:lnTo>
                    <a:pt x="124" y="285"/>
                  </a:lnTo>
                  <a:lnTo>
                    <a:pt x="118" y="285"/>
                  </a:lnTo>
                  <a:lnTo>
                    <a:pt x="115" y="285"/>
                  </a:lnTo>
                  <a:lnTo>
                    <a:pt x="112" y="285"/>
                  </a:lnTo>
                  <a:lnTo>
                    <a:pt x="111" y="286"/>
                  </a:lnTo>
                  <a:lnTo>
                    <a:pt x="110" y="286"/>
                  </a:lnTo>
                  <a:lnTo>
                    <a:pt x="109" y="286"/>
                  </a:lnTo>
                  <a:lnTo>
                    <a:pt x="108" y="285"/>
                  </a:lnTo>
                  <a:lnTo>
                    <a:pt x="108" y="288"/>
                  </a:lnTo>
                  <a:lnTo>
                    <a:pt x="108" y="289"/>
                  </a:lnTo>
                  <a:lnTo>
                    <a:pt x="106" y="289"/>
                  </a:lnTo>
                  <a:lnTo>
                    <a:pt x="104" y="290"/>
                  </a:lnTo>
                  <a:lnTo>
                    <a:pt x="103" y="289"/>
                  </a:lnTo>
                  <a:lnTo>
                    <a:pt x="103" y="291"/>
                  </a:lnTo>
                  <a:lnTo>
                    <a:pt x="103" y="292"/>
                  </a:lnTo>
                  <a:lnTo>
                    <a:pt x="102" y="292"/>
                  </a:lnTo>
                  <a:lnTo>
                    <a:pt x="100" y="294"/>
                  </a:lnTo>
                  <a:lnTo>
                    <a:pt x="98" y="294"/>
                  </a:lnTo>
                  <a:lnTo>
                    <a:pt x="98" y="295"/>
                  </a:lnTo>
                  <a:lnTo>
                    <a:pt x="97" y="294"/>
                  </a:lnTo>
                  <a:lnTo>
                    <a:pt x="96" y="295"/>
                  </a:lnTo>
                  <a:lnTo>
                    <a:pt x="96" y="292"/>
                  </a:lnTo>
                  <a:lnTo>
                    <a:pt x="94" y="294"/>
                  </a:lnTo>
                  <a:lnTo>
                    <a:pt x="93" y="292"/>
                  </a:lnTo>
                  <a:lnTo>
                    <a:pt x="92" y="292"/>
                  </a:lnTo>
                  <a:lnTo>
                    <a:pt x="91" y="292"/>
                  </a:lnTo>
                  <a:lnTo>
                    <a:pt x="90" y="294"/>
                  </a:lnTo>
                  <a:lnTo>
                    <a:pt x="90" y="295"/>
                  </a:lnTo>
                  <a:lnTo>
                    <a:pt x="88" y="296"/>
                  </a:lnTo>
                  <a:lnTo>
                    <a:pt x="88" y="297"/>
                  </a:lnTo>
                  <a:lnTo>
                    <a:pt x="87" y="297"/>
                  </a:lnTo>
                  <a:lnTo>
                    <a:pt x="86" y="298"/>
                  </a:lnTo>
                  <a:lnTo>
                    <a:pt x="85" y="298"/>
                  </a:lnTo>
                  <a:lnTo>
                    <a:pt x="84" y="297"/>
                  </a:lnTo>
                  <a:lnTo>
                    <a:pt x="82" y="297"/>
                  </a:lnTo>
                  <a:lnTo>
                    <a:pt x="82" y="296"/>
                  </a:lnTo>
                  <a:lnTo>
                    <a:pt x="82" y="297"/>
                  </a:lnTo>
                  <a:lnTo>
                    <a:pt x="80" y="297"/>
                  </a:lnTo>
                  <a:lnTo>
                    <a:pt x="79" y="297"/>
                  </a:lnTo>
                  <a:lnTo>
                    <a:pt x="79" y="296"/>
                  </a:lnTo>
                  <a:lnTo>
                    <a:pt x="79" y="295"/>
                  </a:lnTo>
                  <a:lnTo>
                    <a:pt x="79" y="296"/>
                  </a:lnTo>
                  <a:lnTo>
                    <a:pt x="78" y="295"/>
                  </a:lnTo>
                  <a:lnTo>
                    <a:pt x="76" y="295"/>
                  </a:lnTo>
                  <a:lnTo>
                    <a:pt x="75" y="296"/>
                  </a:lnTo>
                  <a:lnTo>
                    <a:pt x="74" y="296"/>
                  </a:lnTo>
                  <a:lnTo>
                    <a:pt x="72" y="296"/>
                  </a:lnTo>
                  <a:lnTo>
                    <a:pt x="74" y="295"/>
                  </a:lnTo>
                  <a:lnTo>
                    <a:pt x="73" y="294"/>
                  </a:lnTo>
                  <a:lnTo>
                    <a:pt x="72" y="294"/>
                  </a:lnTo>
                  <a:lnTo>
                    <a:pt x="72" y="292"/>
                  </a:lnTo>
                  <a:lnTo>
                    <a:pt x="70" y="291"/>
                  </a:lnTo>
                  <a:lnTo>
                    <a:pt x="72" y="290"/>
                  </a:lnTo>
                  <a:lnTo>
                    <a:pt x="72" y="291"/>
                  </a:lnTo>
                  <a:lnTo>
                    <a:pt x="73" y="292"/>
                  </a:lnTo>
                  <a:lnTo>
                    <a:pt x="74" y="292"/>
                  </a:lnTo>
                  <a:lnTo>
                    <a:pt x="75" y="292"/>
                  </a:lnTo>
                  <a:lnTo>
                    <a:pt x="76" y="294"/>
                  </a:lnTo>
                  <a:lnTo>
                    <a:pt x="78" y="292"/>
                  </a:lnTo>
                  <a:lnTo>
                    <a:pt x="76" y="292"/>
                  </a:lnTo>
                  <a:lnTo>
                    <a:pt x="76" y="291"/>
                  </a:lnTo>
                  <a:lnTo>
                    <a:pt x="76" y="290"/>
                  </a:lnTo>
                  <a:lnTo>
                    <a:pt x="76" y="289"/>
                  </a:lnTo>
                  <a:lnTo>
                    <a:pt x="76" y="288"/>
                  </a:lnTo>
                  <a:lnTo>
                    <a:pt x="76" y="289"/>
                  </a:lnTo>
                  <a:lnTo>
                    <a:pt x="78" y="288"/>
                  </a:lnTo>
                  <a:lnTo>
                    <a:pt x="79" y="288"/>
                  </a:lnTo>
                  <a:lnTo>
                    <a:pt x="80" y="285"/>
                  </a:lnTo>
                  <a:lnTo>
                    <a:pt x="81" y="285"/>
                  </a:lnTo>
                  <a:lnTo>
                    <a:pt x="84" y="286"/>
                  </a:lnTo>
                  <a:lnTo>
                    <a:pt x="84" y="285"/>
                  </a:lnTo>
                  <a:lnTo>
                    <a:pt x="82" y="284"/>
                  </a:lnTo>
                  <a:lnTo>
                    <a:pt x="82" y="282"/>
                  </a:lnTo>
                  <a:lnTo>
                    <a:pt x="81" y="282"/>
                  </a:lnTo>
                  <a:lnTo>
                    <a:pt x="82" y="282"/>
                  </a:lnTo>
                  <a:lnTo>
                    <a:pt x="82" y="280"/>
                  </a:lnTo>
                  <a:lnTo>
                    <a:pt x="81" y="279"/>
                  </a:lnTo>
                  <a:lnTo>
                    <a:pt x="82" y="278"/>
                  </a:lnTo>
                  <a:lnTo>
                    <a:pt x="84" y="279"/>
                  </a:lnTo>
                  <a:lnTo>
                    <a:pt x="85" y="279"/>
                  </a:lnTo>
                  <a:lnTo>
                    <a:pt x="85" y="280"/>
                  </a:lnTo>
                  <a:lnTo>
                    <a:pt x="86" y="280"/>
                  </a:lnTo>
                  <a:lnTo>
                    <a:pt x="87" y="280"/>
                  </a:lnTo>
                  <a:lnTo>
                    <a:pt x="88" y="282"/>
                  </a:lnTo>
                  <a:lnTo>
                    <a:pt x="90" y="283"/>
                  </a:lnTo>
                  <a:lnTo>
                    <a:pt x="91" y="282"/>
                  </a:lnTo>
                  <a:lnTo>
                    <a:pt x="92" y="282"/>
                  </a:lnTo>
                  <a:lnTo>
                    <a:pt x="93" y="283"/>
                  </a:lnTo>
                  <a:lnTo>
                    <a:pt x="93" y="282"/>
                  </a:lnTo>
                  <a:lnTo>
                    <a:pt x="93" y="280"/>
                  </a:lnTo>
                  <a:lnTo>
                    <a:pt x="94" y="280"/>
                  </a:lnTo>
                  <a:lnTo>
                    <a:pt x="96" y="280"/>
                  </a:lnTo>
                  <a:lnTo>
                    <a:pt x="97" y="280"/>
                  </a:lnTo>
                  <a:lnTo>
                    <a:pt x="98" y="279"/>
                  </a:lnTo>
                  <a:lnTo>
                    <a:pt x="99" y="280"/>
                  </a:lnTo>
                  <a:lnTo>
                    <a:pt x="99" y="279"/>
                  </a:lnTo>
                  <a:lnTo>
                    <a:pt x="98" y="279"/>
                  </a:lnTo>
                  <a:lnTo>
                    <a:pt x="98" y="278"/>
                  </a:lnTo>
                  <a:lnTo>
                    <a:pt x="98" y="277"/>
                  </a:lnTo>
                  <a:lnTo>
                    <a:pt x="99" y="277"/>
                  </a:lnTo>
                  <a:lnTo>
                    <a:pt x="100" y="277"/>
                  </a:lnTo>
                  <a:lnTo>
                    <a:pt x="102" y="278"/>
                  </a:lnTo>
                  <a:lnTo>
                    <a:pt x="102" y="277"/>
                  </a:lnTo>
                  <a:lnTo>
                    <a:pt x="102" y="276"/>
                  </a:lnTo>
                  <a:lnTo>
                    <a:pt x="103" y="276"/>
                  </a:lnTo>
                  <a:lnTo>
                    <a:pt x="104" y="274"/>
                  </a:lnTo>
                  <a:lnTo>
                    <a:pt x="105" y="277"/>
                  </a:lnTo>
                  <a:lnTo>
                    <a:pt x="105" y="278"/>
                  </a:lnTo>
                  <a:lnTo>
                    <a:pt x="106" y="278"/>
                  </a:lnTo>
                  <a:lnTo>
                    <a:pt x="106" y="279"/>
                  </a:lnTo>
                  <a:lnTo>
                    <a:pt x="108" y="279"/>
                  </a:lnTo>
                  <a:lnTo>
                    <a:pt x="108" y="280"/>
                  </a:lnTo>
                  <a:lnTo>
                    <a:pt x="109" y="279"/>
                  </a:lnTo>
                  <a:lnTo>
                    <a:pt x="110" y="280"/>
                  </a:lnTo>
                  <a:lnTo>
                    <a:pt x="109" y="282"/>
                  </a:lnTo>
                  <a:lnTo>
                    <a:pt x="109" y="283"/>
                  </a:lnTo>
                  <a:lnTo>
                    <a:pt x="109" y="284"/>
                  </a:lnTo>
                  <a:lnTo>
                    <a:pt x="110" y="284"/>
                  </a:lnTo>
                  <a:lnTo>
                    <a:pt x="111" y="284"/>
                  </a:lnTo>
                  <a:lnTo>
                    <a:pt x="112" y="283"/>
                  </a:lnTo>
                  <a:lnTo>
                    <a:pt x="114" y="283"/>
                  </a:lnTo>
                  <a:lnTo>
                    <a:pt x="115" y="284"/>
                  </a:lnTo>
                  <a:lnTo>
                    <a:pt x="117" y="283"/>
                  </a:lnTo>
                  <a:lnTo>
                    <a:pt x="121" y="283"/>
                  </a:lnTo>
                  <a:lnTo>
                    <a:pt x="124" y="283"/>
                  </a:lnTo>
                  <a:lnTo>
                    <a:pt x="126" y="283"/>
                  </a:lnTo>
                  <a:lnTo>
                    <a:pt x="127" y="283"/>
                  </a:lnTo>
                  <a:lnTo>
                    <a:pt x="128" y="283"/>
                  </a:lnTo>
                  <a:lnTo>
                    <a:pt x="129" y="283"/>
                  </a:lnTo>
                  <a:lnTo>
                    <a:pt x="132" y="283"/>
                  </a:lnTo>
                  <a:lnTo>
                    <a:pt x="133" y="283"/>
                  </a:lnTo>
                  <a:lnTo>
                    <a:pt x="137" y="282"/>
                  </a:lnTo>
                  <a:lnTo>
                    <a:pt x="138" y="280"/>
                  </a:lnTo>
                  <a:lnTo>
                    <a:pt x="138" y="279"/>
                  </a:lnTo>
                  <a:lnTo>
                    <a:pt x="140" y="279"/>
                  </a:lnTo>
                  <a:lnTo>
                    <a:pt x="143" y="280"/>
                  </a:lnTo>
                  <a:lnTo>
                    <a:pt x="144" y="279"/>
                  </a:lnTo>
                  <a:lnTo>
                    <a:pt x="147" y="277"/>
                  </a:lnTo>
                  <a:lnTo>
                    <a:pt x="147" y="276"/>
                  </a:lnTo>
                  <a:lnTo>
                    <a:pt x="149" y="277"/>
                  </a:lnTo>
                  <a:lnTo>
                    <a:pt x="150" y="276"/>
                  </a:lnTo>
                  <a:lnTo>
                    <a:pt x="151" y="276"/>
                  </a:lnTo>
                  <a:lnTo>
                    <a:pt x="152" y="274"/>
                  </a:lnTo>
                  <a:lnTo>
                    <a:pt x="155" y="274"/>
                  </a:lnTo>
                  <a:lnTo>
                    <a:pt x="156" y="273"/>
                  </a:lnTo>
                  <a:lnTo>
                    <a:pt x="157" y="272"/>
                  </a:lnTo>
                  <a:lnTo>
                    <a:pt x="156" y="273"/>
                  </a:lnTo>
                  <a:lnTo>
                    <a:pt x="156" y="272"/>
                  </a:lnTo>
                  <a:lnTo>
                    <a:pt x="155" y="272"/>
                  </a:lnTo>
                  <a:lnTo>
                    <a:pt x="156" y="271"/>
                  </a:lnTo>
                  <a:lnTo>
                    <a:pt x="156" y="270"/>
                  </a:lnTo>
                  <a:lnTo>
                    <a:pt x="155" y="270"/>
                  </a:lnTo>
                  <a:lnTo>
                    <a:pt x="155" y="268"/>
                  </a:lnTo>
                  <a:lnTo>
                    <a:pt x="153" y="268"/>
                  </a:lnTo>
                  <a:lnTo>
                    <a:pt x="153" y="270"/>
                  </a:lnTo>
                  <a:lnTo>
                    <a:pt x="155" y="271"/>
                  </a:lnTo>
                  <a:lnTo>
                    <a:pt x="153" y="271"/>
                  </a:lnTo>
                  <a:lnTo>
                    <a:pt x="153" y="273"/>
                  </a:lnTo>
                  <a:lnTo>
                    <a:pt x="151" y="273"/>
                  </a:lnTo>
                  <a:lnTo>
                    <a:pt x="150" y="272"/>
                  </a:lnTo>
                  <a:lnTo>
                    <a:pt x="150" y="271"/>
                  </a:lnTo>
                  <a:lnTo>
                    <a:pt x="149" y="272"/>
                  </a:lnTo>
                  <a:lnTo>
                    <a:pt x="147" y="272"/>
                  </a:lnTo>
                  <a:lnTo>
                    <a:pt x="146" y="272"/>
                  </a:lnTo>
                  <a:lnTo>
                    <a:pt x="145" y="272"/>
                  </a:lnTo>
                  <a:lnTo>
                    <a:pt x="144" y="273"/>
                  </a:lnTo>
                  <a:lnTo>
                    <a:pt x="143" y="273"/>
                  </a:lnTo>
                  <a:lnTo>
                    <a:pt x="143" y="272"/>
                  </a:lnTo>
                  <a:lnTo>
                    <a:pt x="143" y="271"/>
                  </a:lnTo>
                  <a:lnTo>
                    <a:pt x="144" y="271"/>
                  </a:lnTo>
                  <a:lnTo>
                    <a:pt x="144" y="270"/>
                  </a:lnTo>
                  <a:lnTo>
                    <a:pt x="144" y="268"/>
                  </a:lnTo>
                  <a:lnTo>
                    <a:pt x="144" y="267"/>
                  </a:lnTo>
                  <a:lnTo>
                    <a:pt x="145" y="266"/>
                  </a:lnTo>
                  <a:lnTo>
                    <a:pt x="146" y="266"/>
                  </a:lnTo>
                  <a:lnTo>
                    <a:pt x="146" y="265"/>
                  </a:lnTo>
                  <a:lnTo>
                    <a:pt x="145" y="265"/>
                  </a:lnTo>
                  <a:lnTo>
                    <a:pt x="144" y="265"/>
                  </a:lnTo>
                  <a:lnTo>
                    <a:pt x="143" y="265"/>
                  </a:lnTo>
                  <a:lnTo>
                    <a:pt x="141" y="265"/>
                  </a:lnTo>
                  <a:lnTo>
                    <a:pt x="141" y="264"/>
                  </a:lnTo>
                  <a:lnTo>
                    <a:pt x="141" y="262"/>
                  </a:lnTo>
                  <a:lnTo>
                    <a:pt x="140" y="262"/>
                  </a:lnTo>
                  <a:lnTo>
                    <a:pt x="140" y="264"/>
                  </a:lnTo>
                  <a:lnTo>
                    <a:pt x="139" y="262"/>
                  </a:lnTo>
                  <a:lnTo>
                    <a:pt x="138" y="264"/>
                  </a:lnTo>
                  <a:lnTo>
                    <a:pt x="137" y="264"/>
                  </a:lnTo>
                  <a:lnTo>
                    <a:pt x="137" y="265"/>
                  </a:lnTo>
                  <a:lnTo>
                    <a:pt x="135" y="265"/>
                  </a:lnTo>
                  <a:lnTo>
                    <a:pt x="133" y="267"/>
                  </a:lnTo>
                  <a:lnTo>
                    <a:pt x="133" y="268"/>
                  </a:lnTo>
                  <a:lnTo>
                    <a:pt x="132" y="270"/>
                  </a:lnTo>
                  <a:lnTo>
                    <a:pt x="133" y="270"/>
                  </a:lnTo>
                  <a:lnTo>
                    <a:pt x="133" y="271"/>
                  </a:lnTo>
                  <a:lnTo>
                    <a:pt x="134" y="271"/>
                  </a:lnTo>
                  <a:lnTo>
                    <a:pt x="134" y="272"/>
                  </a:lnTo>
                  <a:lnTo>
                    <a:pt x="133" y="273"/>
                  </a:lnTo>
                  <a:lnTo>
                    <a:pt x="134" y="273"/>
                  </a:lnTo>
                  <a:lnTo>
                    <a:pt x="134" y="274"/>
                  </a:lnTo>
                  <a:lnTo>
                    <a:pt x="133" y="274"/>
                  </a:lnTo>
                  <a:lnTo>
                    <a:pt x="131" y="276"/>
                  </a:lnTo>
                  <a:lnTo>
                    <a:pt x="129" y="276"/>
                  </a:lnTo>
                  <a:lnTo>
                    <a:pt x="131" y="274"/>
                  </a:lnTo>
                  <a:lnTo>
                    <a:pt x="131" y="273"/>
                  </a:lnTo>
                  <a:lnTo>
                    <a:pt x="129" y="273"/>
                  </a:lnTo>
                  <a:lnTo>
                    <a:pt x="129" y="276"/>
                  </a:lnTo>
                  <a:lnTo>
                    <a:pt x="128" y="276"/>
                  </a:lnTo>
                  <a:lnTo>
                    <a:pt x="127" y="274"/>
                  </a:lnTo>
                  <a:lnTo>
                    <a:pt x="127" y="276"/>
                  </a:lnTo>
                  <a:lnTo>
                    <a:pt x="126" y="276"/>
                  </a:lnTo>
                  <a:lnTo>
                    <a:pt x="124" y="276"/>
                  </a:lnTo>
                  <a:lnTo>
                    <a:pt x="123" y="274"/>
                  </a:lnTo>
                  <a:lnTo>
                    <a:pt x="124" y="272"/>
                  </a:lnTo>
                  <a:lnTo>
                    <a:pt x="126" y="271"/>
                  </a:lnTo>
                  <a:lnTo>
                    <a:pt x="123" y="272"/>
                  </a:lnTo>
                  <a:lnTo>
                    <a:pt x="122" y="272"/>
                  </a:lnTo>
                  <a:lnTo>
                    <a:pt x="121" y="272"/>
                  </a:lnTo>
                  <a:lnTo>
                    <a:pt x="121" y="271"/>
                  </a:lnTo>
                  <a:lnTo>
                    <a:pt x="120" y="270"/>
                  </a:lnTo>
                  <a:lnTo>
                    <a:pt x="120" y="267"/>
                  </a:lnTo>
                  <a:lnTo>
                    <a:pt x="120" y="266"/>
                  </a:lnTo>
                  <a:lnTo>
                    <a:pt x="118" y="265"/>
                  </a:lnTo>
                  <a:lnTo>
                    <a:pt x="118" y="262"/>
                  </a:lnTo>
                  <a:lnTo>
                    <a:pt x="120" y="262"/>
                  </a:lnTo>
                  <a:lnTo>
                    <a:pt x="120" y="261"/>
                  </a:lnTo>
                  <a:lnTo>
                    <a:pt x="121" y="261"/>
                  </a:lnTo>
                  <a:lnTo>
                    <a:pt x="123" y="261"/>
                  </a:lnTo>
                  <a:lnTo>
                    <a:pt x="122" y="260"/>
                  </a:lnTo>
                  <a:lnTo>
                    <a:pt x="121" y="260"/>
                  </a:lnTo>
                  <a:lnTo>
                    <a:pt x="118" y="260"/>
                  </a:lnTo>
                  <a:lnTo>
                    <a:pt x="117" y="261"/>
                  </a:lnTo>
                  <a:lnTo>
                    <a:pt x="118" y="262"/>
                  </a:lnTo>
                  <a:lnTo>
                    <a:pt x="117" y="264"/>
                  </a:lnTo>
                  <a:lnTo>
                    <a:pt x="116" y="264"/>
                  </a:lnTo>
                  <a:lnTo>
                    <a:pt x="116" y="265"/>
                  </a:lnTo>
                  <a:lnTo>
                    <a:pt x="116" y="262"/>
                  </a:lnTo>
                  <a:lnTo>
                    <a:pt x="115" y="262"/>
                  </a:lnTo>
                  <a:lnTo>
                    <a:pt x="115" y="264"/>
                  </a:lnTo>
                  <a:lnTo>
                    <a:pt x="112" y="264"/>
                  </a:lnTo>
                  <a:lnTo>
                    <a:pt x="111" y="264"/>
                  </a:lnTo>
                  <a:lnTo>
                    <a:pt x="110" y="265"/>
                  </a:lnTo>
                  <a:lnTo>
                    <a:pt x="109" y="265"/>
                  </a:lnTo>
                  <a:lnTo>
                    <a:pt x="109" y="266"/>
                  </a:lnTo>
                  <a:lnTo>
                    <a:pt x="109" y="265"/>
                  </a:lnTo>
                  <a:lnTo>
                    <a:pt x="108" y="266"/>
                  </a:lnTo>
                  <a:lnTo>
                    <a:pt x="106" y="265"/>
                  </a:lnTo>
                  <a:lnTo>
                    <a:pt x="105" y="265"/>
                  </a:lnTo>
                  <a:lnTo>
                    <a:pt x="104" y="262"/>
                  </a:lnTo>
                  <a:lnTo>
                    <a:pt x="103" y="262"/>
                  </a:lnTo>
                  <a:lnTo>
                    <a:pt x="102" y="262"/>
                  </a:lnTo>
                  <a:lnTo>
                    <a:pt x="100" y="262"/>
                  </a:lnTo>
                  <a:lnTo>
                    <a:pt x="99" y="264"/>
                  </a:lnTo>
                  <a:lnTo>
                    <a:pt x="98" y="262"/>
                  </a:lnTo>
                  <a:lnTo>
                    <a:pt x="97" y="261"/>
                  </a:lnTo>
                  <a:lnTo>
                    <a:pt x="96" y="262"/>
                  </a:lnTo>
                  <a:lnTo>
                    <a:pt x="94" y="262"/>
                  </a:lnTo>
                  <a:lnTo>
                    <a:pt x="93" y="262"/>
                  </a:lnTo>
                  <a:lnTo>
                    <a:pt x="92" y="262"/>
                  </a:lnTo>
                  <a:lnTo>
                    <a:pt x="91" y="262"/>
                  </a:lnTo>
                  <a:lnTo>
                    <a:pt x="90" y="262"/>
                  </a:lnTo>
                  <a:lnTo>
                    <a:pt x="88" y="262"/>
                  </a:lnTo>
                  <a:lnTo>
                    <a:pt x="88" y="264"/>
                  </a:lnTo>
                  <a:lnTo>
                    <a:pt x="90" y="264"/>
                  </a:lnTo>
                  <a:lnTo>
                    <a:pt x="91" y="264"/>
                  </a:lnTo>
                  <a:lnTo>
                    <a:pt x="92" y="264"/>
                  </a:lnTo>
                  <a:lnTo>
                    <a:pt x="92" y="262"/>
                  </a:lnTo>
                  <a:lnTo>
                    <a:pt x="93" y="262"/>
                  </a:lnTo>
                  <a:lnTo>
                    <a:pt x="93" y="264"/>
                  </a:lnTo>
                  <a:lnTo>
                    <a:pt x="94" y="264"/>
                  </a:lnTo>
                  <a:lnTo>
                    <a:pt x="96" y="264"/>
                  </a:lnTo>
                  <a:lnTo>
                    <a:pt x="97" y="265"/>
                  </a:lnTo>
                  <a:lnTo>
                    <a:pt x="98" y="264"/>
                  </a:lnTo>
                  <a:lnTo>
                    <a:pt x="99" y="264"/>
                  </a:lnTo>
                  <a:lnTo>
                    <a:pt x="98" y="265"/>
                  </a:lnTo>
                  <a:lnTo>
                    <a:pt x="98" y="266"/>
                  </a:lnTo>
                  <a:lnTo>
                    <a:pt x="97" y="266"/>
                  </a:lnTo>
                  <a:lnTo>
                    <a:pt x="97" y="267"/>
                  </a:lnTo>
                  <a:lnTo>
                    <a:pt x="96" y="267"/>
                  </a:lnTo>
                  <a:lnTo>
                    <a:pt x="94" y="267"/>
                  </a:lnTo>
                  <a:lnTo>
                    <a:pt x="93" y="268"/>
                  </a:lnTo>
                  <a:lnTo>
                    <a:pt x="92" y="271"/>
                  </a:lnTo>
                  <a:lnTo>
                    <a:pt x="90" y="271"/>
                  </a:lnTo>
                  <a:lnTo>
                    <a:pt x="90" y="270"/>
                  </a:lnTo>
                  <a:lnTo>
                    <a:pt x="88" y="268"/>
                  </a:lnTo>
                  <a:lnTo>
                    <a:pt x="88" y="267"/>
                  </a:lnTo>
                  <a:lnTo>
                    <a:pt x="87" y="267"/>
                  </a:lnTo>
                  <a:lnTo>
                    <a:pt x="88" y="270"/>
                  </a:lnTo>
                  <a:lnTo>
                    <a:pt x="87" y="270"/>
                  </a:lnTo>
                  <a:lnTo>
                    <a:pt x="88" y="270"/>
                  </a:lnTo>
                  <a:lnTo>
                    <a:pt x="87" y="271"/>
                  </a:lnTo>
                  <a:lnTo>
                    <a:pt x="88" y="271"/>
                  </a:lnTo>
                  <a:lnTo>
                    <a:pt x="87" y="271"/>
                  </a:lnTo>
                  <a:lnTo>
                    <a:pt x="87" y="272"/>
                  </a:lnTo>
                  <a:lnTo>
                    <a:pt x="86" y="272"/>
                  </a:lnTo>
                  <a:lnTo>
                    <a:pt x="87" y="273"/>
                  </a:lnTo>
                  <a:lnTo>
                    <a:pt x="86" y="274"/>
                  </a:lnTo>
                  <a:lnTo>
                    <a:pt x="87" y="274"/>
                  </a:lnTo>
                  <a:lnTo>
                    <a:pt x="88" y="274"/>
                  </a:lnTo>
                  <a:lnTo>
                    <a:pt x="88" y="277"/>
                  </a:lnTo>
                  <a:lnTo>
                    <a:pt x="88" y="278"/>
                  </a:lnTo>
                  <a:lnTo>
                    <a:pt x="87" y="278"/>
                  </a:lnTo>
                  <a:lnTo>
                    <a:pt x="86" y="278"/>
                  </a:lnTo>
                  <a:lnTo>
                    <a:pt x="85" y="277"/>
                  </a:lnTo>
                  <a:lnTo>
                    <a:pt x="82" y="277"/>
                  </a:lnTo>
                  <a:lnTo>
                    <a:pt x="81" y="277"/>
                  </a:lnTo>
                  <a:lnTo>
                    <a:pt x="80" y="277"/>
                  </a:lnTo>
                  <a:lnTo>
                    <a:pt x="79" y="277"/>
                  </a:lnTo>
                  <a:lnTo>
                    <a:pt x="76" y="277"/>
                  </a:lnTo>
                  <a:lnTo>
                    <a:pt x="75" y="277"/>
                  </a:lnTo>
                  <a:lnTo>
                    <a:pt x="74" y="277"/>
                  </a:lnTo>
                  <a:lnTo>
                    <a:pt x="73" y="278"/>
                  </a:lnTo>
                  <a:lnTo>
                    <a:pt x="72" y="279"/>
                  </a:lnTo>
                  <a:lnTo>
                    <a:pt x="70" y="279"/>
                  </a:lnTo>
                  <a:lnTo>
                    <a:pt x="69" y="279"/>
                  </a:lnTo>
                  <a:lnTo>
                    <a:pt x="68" y="278"/>
                  </a:lnTo>
                  <a:lnTo>
                    <a:pt x="68" y="277"/>
                  </a:lnTo>
                  <a:lnTo>
                    <a:pt x="67" y="276"/>
                  </a:lnTo>
                  <a:lnTo>
                    <a:pt x="65" y="276"/>
                  </a:lnTo>
                  <a:lnTo>
                    <a:pt x="65" y="274"/>
                  </a:lnTo>
                  <a:lnTo>
                    <a:pt x="64" y="273"/>
                  </a:lnTo>
                  <a:lnTo>
                    <a:pt x="63" y="272"/>
                  </a:lnTo>
                  <a:lnTo>
                    <a:pt x="64" y="272"/>
                  </a:lnTo>
                  <a:lnTo>
                    <a:pt x="65" y="272"/>
                  </a:lnTo>
                  <a:lnTo>
                    <a:pt x="67" y="273"/>
                  </a:lnTo>
                  <a:lnTo>
                    <a:pt x="67" y="272"/>
                  </a:lnTo>
                  <a:lnTo>
                    <a:pt x="68" y="271"/>
                  </a:lnTo>
                  <a:lnTo>
                    <a:pt x="69" y="271"/>
                  </a:lnTo>
                  <a:lnTo>
                    <a:pt x="68" y="268"/>
                  </a:lnTo>
                  <a:lnTo>
                    <a:pt x="69" y="268"/>
                  </a:lnTo>
                  <a:lnTo>
                    <a:pt x="70" y="268"/>
                  </a:lnTo>
                  <a:lnTo>
                    <a:pt x="72" y="267"/>
                  </a:lnTo>
                  <a:lnTo>
                    <a:pt x="70" y="266"/>
                  </a:lnTo>
                  <a:lnTo>
                    <a:pt x="70" y="265"/>
                  </a:lnTo>
                  <a:lnTo>
                    <a:pt x="69" y="265"/>
                  </a:lnTo>
                  <a:lnTo>
                    <a:pt x="68" y="264"/>
                  </a:lnTo>
                  <a:lnTo>
                    <a:pt x="69" y="264"/>
                  </a:lnTo>
                  <a:lnTo>
                    <a:pt x="70" y="262"/>
                  </a:lnTo>
                  <a:lnTo>
                    <a:pt x="72" y="264"/>
                  </a:lnTo>
                  <a:lnTo>
                    <a:pt x="72" y="262"/>
                  </a:lnTo>
                  <a:lnTo>
                    <a:pt x="70" y="262"/>
                  </a:lnTo>
                  <a:lnTo>
                    <a:pt x="72" y="261"/>
                  </a:lnTo>
                  <a:lnTo>
                    <a:pt x="70" y="260"/>
                  </a:lnTo>
                  <a:lnTo>
                    <a:pt x="69" y="260"/>
                  </a:lnTo>
                  <a:lnTo>
                    <a:pt x="68" y="260"/>
                  </a:lnTo>
                  <a:lnTo>
                    <a:pt x="67" y="260"/>
                  </a:lnTo>
                  <a:lnTo>
                    <a:pt x="65" y="260"/>
                  </a:lnTo>
                  <a:lnTo>
                    <a:pt x="65" y="261"/>
                  </a:lnTo>
                  <a:lnTo>
                    <a:pt x="64" y="261"/>
                  </a:lnTo>
                  <a:lnTo>
                    <a:pt x="64" y="260"/>
                  </a:lnTo>
                  <a:lnTo>
                    <a:pt x="63" y="261"/>
                  </a:lnTo>
                  <a:lnTo>
                    <a:pt x="63" y="260"/>
                  </a:lnTo>
                  <a:lnTo>
                    <a:pt x="62" y="261"/>
                  </a:lnTo>
                  <a:lnTo>
                    <a:pt x="61" y="260"/>
                  </a:lnTo>
                  <a:lnTo>
                    <a:pt x="59" y="260"/>
                  </a:lnTo>
                  <a:lnTo>
                    <a:pt x="58" y="260"/>
                  </a:lnTo>
                  <a:lnTo>
                    <a:pt x="57" y="261"/>
                  </a:lnTo>
                  <a:lnTo>
                    <a:pt x="57" y="262"/>
                  </a:lnTo>
                  <a:lnTo>
                    <a:pt x="56" y="261"/>
                  </a:lnTo>
                  <a:lnTo>
                    <a:pt x="52" y="261"/>
                  </a:lnTo>
                  <a:lnTo>
                    <a:pt x="51" y="262"/>
                  </a:lnTo>
                  <a:lnTo>
                    <a:pt x="50" y="262"/>
                  </a:lnTo>
                  <a:lnTo>
                    <a:pt x="50" y="261"/>
                  </a:lnTo>
                  <a:lnTo>
                    <a:pt x="49" y="261"/>
                  </a:lnTo>
                  <a:lnTo>
                    <a:pt x="47" y="260"/>
                  </a:lnTo>
                  <a:lnTo>
                    <a:pt x="46" y="260"/>
                  </a:lnTo>
                  <a:lnTo>
                    <a:pt x="47" y="259"/>
                  </a:lnTo>
                  <a:lnTo>
                    <a:pt x="50" y="259"/>
                  </a:lnTo>
                  <a:lnTo>
                    <a:pt x="50" y="258"/>
                  </a:lnTo>
                  <a:lnTo>
                    <a:pt x="49" y="258"/>
                  </a:lnTo>
                  <a:lnTo>
                    <a:pt x="47" y="258"/>
                  </a:lnTo>
                  <a:lnTo>
                    <a:pt x="47" y="256"/>
                  </a:lnTo>
                  <a:lnTo>
                    <a:pt x="46" y="256"/>
                  </a:lnTo>
                  <a:lnTo>
                    <a:pt x="47" y="255"/>
                  </a:lnTo>
                  <a:lnTo>
                    <a:pt x="49" y="253"/>
                  </a:lnTo>
                  <a:lnTo>
                    <a:pt x="49" y="254"/>
                  </a:lnTo>
                  <a:lnTo>
                    <a:pt x="50" y="253"/>
                  </a:lnTo>
                  <a:lnTo>
                    <a:pt x="51" y="254"/>
                  </a:lnTo>
                  <a:lnTo>
                    <a:pt x="52" y="254"/>
                  </a:lnTo>
                  <a:lnTo>
                    <a:pt x="52" y="253"/>
                  </a:lnTo>
                  <a:lnTo>
                    <a:pt x="52" y="251"/>
                  </a:lnTo>
                  <a:lnTo>
                    <a:pt x="55" y="251"/>
                  </a:lnTo>
                  <a:lnTo>
                    <a:pt x="53" y="250"/>
                  </a:lnTo>
                  <a:lnTo>
                    <a:pt x="52" y="250"/>
                  </a:lnTo>
                  <a:lnTo>
                    <a:pt x="50" y="250"/>
                  </a:lnTo>
                  <a:lnTo>
                    <a:pt x="50" y="249"/>
                  </a:lnTo>
                  <a:lnTo>
                    <a:pt x="49" y="249"/>
                  </a:lnTo>
                  <a:lnTo>
                    <a:pt x="46" y="248"/>
                  </a:lnTo>
                  <a:lnTo>
                    <a:pt x="46" y="247"/>
                  </a:lnTo>
                  <a:lnTo>
                    <a:pt x="45" y="244"/>
                  </a:lnTo>
                  <a:lnTo>
                    <a:pt x="46" y="244"/>
                  </a:lnTo>
                  <a:lnTo>
                    <a:pt x="47" y="245"/>
                  </a:lnTo>
                  <a:lnTo>
                    <a:pt x="49" y="245"/>
                  </a:lnTo>
                  <a:lnTo>
                    <a:pt x="49" y="244"/>
                  </a:lnTo>
                  <a:lnTo>
                    <a:pt x="50" y="243"/>
                  </a:lnTo>
                  <a:lnTo>
                    <a:pt x="50" y="244"/>
                  </a:lnTo>
                  <a:lnTo>
                    <a:pt x="51" y="245"/>
                  </a:lnTo>
                  <a:lnTo>
                    <a:pt x="52" y="245"/>
                  </a:lnTo>
                  <a:lnTo>
                    <a:pt x="52" y="247"/>
                  </a:lnTo>
                  <a:lnTo>
                    <a:pt x="53" y="248"/>
                  </a:lnTo>
                  <a:lnTo>
                    <a:pt x="57" y="248"/>
                  </a:lnTo>
                  <a:lnTo>
                    <a:pt x="56" y="247"/>
                  </a:lnTo>
                  <a:lnTo>
                    <a:pt x="56" y="245"/>
                  </a:lnTo>
                  <a:lnTo>
                    <a:pt x="56" y="244"/>
                  </a:lnTo>
                  <a:lnTo>
                    <a:pt x="56" y="243"/>
                  </a:lnTo>
                  <a:lnTo>
                    <a:pt x="56" y="244"/>
                  </a:lnTo>
                  <a:lnTo>
                    <a:pt x="57" y="244"/>
                  </a:lnTo>
                  <a:lnTo>
                    <a:pt x="58" y="245"/>
                  </a:lnTo>
                  <a:lnTo>
                    <a:pt x="58" y="244"/>
                  </a:lnTo>
                  <a:lnTo>
                    <a:pt x="58" y="243"/>
                  </a:lnTo>
                  <a:lnTo>
                    <a:pt x="58" y="242"/>
                  </a:lnTo>
                  <a:lnTo>
                    <a:pt x="57" y="241"/>
                  </a:lnTo>
                  <a:lnTo>
                    <a:pt x="58" y="241"/>
                  </a:lnTo>
                  <a:lnTo>
                    <a:pt x="59" y="241"/>
                  </a:lnTo>
                  <a:lnTo>
                    <a:pt x="61" y="242"/>
                  </a:lnTo>
                  <a:lnTo>
                    <a:pt x="61" y="243"/>
                  </a:lnTo>
                  <a:lnTo>
                    <a:pt x="62" y="243"/>
                  </a:lnTo>
                  <a:lnTo>
                    <a:pt x="62" y="242"/>
                  </a:lnTo>
                  <a:lnTo>
                    <a:pt x="62" y="241"/>
                  </a:lnTo>
                  <a:lnTo>
                    <a:pt x="63" y="241"/>
                  </a:lnTo>
                  <a:lnTo>
                    <a:pt x="64" y="242"/>
                  </a:lnTo>
                  <a:lnTo>
                    <a:pt x="65" y="242"/>
                  </a:lnTo>
                  <a:lnTo>
                    <a:pt x="64" y="241"/>
                  </a:lnTo>
                  <a:lnTo>
                    <a:pt x="65" y="241"/>
                  </a:lnTo>
                  <a:lnTo>
                    <a:pt x="67" y="241"/>
                  </a:lnTo>
                  <a:lnTo>
                    <a:pt x="67" y="239"/>
                  </a:lnTo>
                  <a:lnTo>
                    <a:pt x="65" y="239"/>
                  </a:lnTo>
                  <a:lnTo>
                    <a:pt x="65" y="238"/>
                  </a:lnTo>
                  <a:lnTo>
                    <a:pt x="65" y="237"/>
                  </a:lnTo>
                  <a:lnTo>
                    <a:pt x="65" y="236"/>
                  </a:lnTo>
                  <a:lnTo>
                    <a:pt x="67" y="236"/>
                  </a:lnTo>
                  <a:lnTo>
                    <a:pt x="65" y="237"/>
                  </a:lnTo>
                  <a:lnTo>
                    <a:pt x="67" y="237"/>
                  </a:lnTo>
                  <a:lnTo>
                    <a:pt x="68" y="237"/>
                  </a:lnTo>
                  <a:lnTo>
                    <a:pt x="68" y="238"/>
                  </a:lnTo>
                  <a:lnTo>
                    <a:pt x="69" y="237"/>
                  </a:lnTo>
                  <a:lnTo>
                    <a:pt x="68" y="236"/>
                  </a:lnTo>
                  <a:lnTo>
                    <a:pt x="69" y="236"/>
                  </a:lnTo>
                  <a:lnTo>
                    <a:pt x="70" y="237"/>
                  </a:lnTo>
                  <a:lnTo>
                    <a:pt x="70" y="236"/>
                  </a:lnTo>
                  <a:lnTo>
                    <a:pt x="70" y="235"/>
                  </a:lnTo>
                  <a:lnTo>
                    <a:pt x="72" y="236"/>
                  </a:lnTo>
                  <a:lnTo>
                    <a:pt x="73" y="236"/>
                  </a:lnTo>
                  <a:lnTo>
                    <a:pt x="72" y="235"/>
                  </a:lnTo>
                  <a:lnTo>
                    <a:pt x="70" y="233"/>
                  </a:lnTo>
                  <a:lnTo>
                    <a:pt x="72" y="232"/>
                  </a:lnTo>
                  <a:lnTo>
                    <a:pt x="73" y="233"/>
                  </a:lnTo>
                  <a:lnTo>
                    <a:pt x="73" y="232"/>
                  </a:lnTo>
                  <a:lnTo>
                    <a:pt x="74" y="232"/>
                  </a:lnTo>
                  <a:lnTo>
                    <a:pt x="75" y="232"/>
                  </a:lnTo>
                  <a:lnTo>
                    <a:pt x="76" y="232"/>
                  </a:lnTo>
                  <a:lnTo>
                    <a:pt x="79" y="232"/>
                  </a:lnTo>
                  <a:lnTo>
                    <a:pt x="79" y="233"/>
                  </a:lnTo>
                  <a:lnTo>
                    <a:pt x="80" y="233"/>
                  </a:lnTo>
                  <a:lnTo>
                    <a:pt x="81" y="233"/>
                  </a:lnTo>
                  <a:lnTo>
                    <a:pt x="82" y="233"/>
                  </a:lnTo>
                  <a:lnTo>
                    <a:pt x="82" y="232"/>
                  </a:lnTo>
                  <a:lnTo>
                    <a:pt x="82" y="231"/>
                  </a:lnTo>
                  <a:lnTo>
                    <a:pt x="84" y="232"/>
                  </a:lnTo>
                  <a:lnTo>
                    <a:pt x="85" y="232"/>
                  </a:lnTo>
                  <a:lnTo>
                    <a:pt x="86" y="231"/>
                  </a:lnTo>
                  <a:lnTo>
                    <a:pt x="86" y="230"/>
                  </a:lnTo>
                  <a:lnTo>
                    <a:pt x="87" y="229"/>
                  </a:lnTo>
                  <a:lnTo>
                    <a:pt x="88" y="229"/>
                  </a:lnTo>
                  <a:lnTo>
                    <a:pt x="90" y="227"/>
                  </a:lnTo>
                  <a:lnTo>
                    <a:pt x="90" y="226"/>
                  </a:lnTo>
                  <a:lnTo>
                    <a:pt x="91" y="226"/>
                  </a:lnTo>
                  <a:lnTo>
                    <a:pt x="91" y="225"/>
                  </a:lnTo>
                  <a:lnTo>
                    <a:pt x="92" y="225"/>
                  </a:lnTo>
                  <a:lnTo>
                    <a:pt x="93" y="225"/>
                  </a:lnTo>
                  <a:lnTo>
                    <a:pt x="93" y="224"/>
                  </a:lnTo>
                  <a:lnTo>
                    <a:pt x="94" y="225"/>
                  </a:lnTo>
                  <a:lnTo>
                    <a:pt x="96" y="225"/>
                  </a:lnTo>
                  <a:lnTo>
                    <a:pt x="96" y="224"/>
                  </a:lnTo>
                  <a:lnTo>
                    <a:pt x="96" y="225"/>
                  </a:lnTo>
                  <a:lnTo>
                    <a:pt x="97" y="224"/>
                  </a:lnTo>
                  <a:lnTo>
                    <a:pt x="97" y="225"/>
                  </a:lnTo>
                  <a:lnTo>
                    <a:pt x="98" y="225"/>
                  </a:lnTo>
                  <a:lnTo>
                    <a:pt x="98" y="224"/>
                  </a:lnTo>
                  <a:lnTo>
                    <a:pt x="99" y="223"/>
                  </a:lnTo>
                  <a:lnTo>
                    <a:pt x="99" y="224"/>
                  </a:lnTo>
                  <a:lnTo>
                    <a:pt x="100" y="224"/>
                  </a:lnTo>
                  <a:lnTo>
                    <a:pt x="100" y="223"/>
                  </a:lnTo>
                  <a:lnTo>
                    <a:pt x="102" y="223"/>
                  </a:lnTo>
                  <a:lnTo>
                    <a:pt x="102" y="221"/>
                  </a:lnTo>
                  <a:lnTo>
                    <a:pt x="102" y="223"/>
                  </a:lnTo>
                  <a:lnTo>
                    <a:pt x="103" y="223"/>
                  </a:lnTo>
                  <a:lnTo>
                    <a:pt x="104" y="221"/>
                  </a:lnTo>
                  <a:lnTo>
                    <a:pt x="103" y="221"/>
                  </a:lnTo>
                  <a:lnTo>
                    <a:pt x="104" y="221"/>
                  </a:lnTo>
                  <a:lnTo>
                    <a:pt x="105" y="220"/>
                  </a:lnTo>
                  <a:lnTo>
                    <a:pt x="105" y="221"/>
                  </a:lnTo>
                  <a:lnTo>
                    <a:pt x="104" y="223"/>
                  </a:lnTo>
                  <a:lnTo>
                    <a:pt x="105" y="223"/>
                  </a:lnTo>
                  <a:lnTo>
                    <a:pt x="105" y="221"/>
                  </a:lnTo>
                  <a:lnTo>
                    <a:pt x="105" y="223"/>
                  </a:lnTo>
                  <a:lnTo>
                    <a:pt x="106" y="223"/>
                  </a:lnTo>
                  <a:lnTo>
                    <a:pt x="108" y="223"/>
                  </a:lnTo>
                  <a:lnTo>
                    <a:pt x="108" y="221"/>
                  </a:lnTo>
                  <a:lnTo>
                    <a:pt x="106" y="221"/>
                  </a:lnTo>
                  <a:lnTo>
                    <a:pt x="106" y="220"/>
                  </a:lnTo>
                  <a:lnTo>
                    <a:pt x="108" y="220"/>
                  </a:lnTo>
                  <a:lnTo>
                    <a:pt x="108" y="219"/>
                  </a:lnTo>
                  <a:lnTo>
                    <a:pt x="109" y="219"/>
                  </a:lnTo>
                  <a:lnTo>
                    <a:pt x="109" y="218"/>
                  </a:lnTo>
                  <a:lnTo>
                    <a:pt x="108" y="218"/>
                  </a:lnTo>
                  <a:lnTo>
                    <a:pt x="108" y="219"/>
                  </a:lnTo>
                  <a:lnTo>
                    <a:pt x="106" y="219"/>
                  </a:lnTo>
                  <a:lnTo>
                    <a:pt x="105" y="219"/>
                  </a:lnTo>
                  <a:lnTo>
                    <a:pt x="105" y="220"/>
                  </a:lnTo>
                  <a:lnTo>
                    <a:pt x="104" y="218"/>
                  </a:lnTo>
                  <a:lnTo>
                    <a:pt x="103" y="217"/>
                  </a:lnTo>
                  <a:lnTo>
                    <a:pt x="103" y="218"/>
                  </a:lnTo>
                  <a:lnTo>
                    <a:pt x="102" y="218"/>
                  </a:lnTo>
                  <a:lnTo>
                    <a:pt x="100" y="218"/>
                  </a:lnTo>
                  <a:lnTo>
                    <a:pt x="98" y="219"/>
                  </a:lnTo>
                  <a:lnTo>
                    <a:pt x="99" y="219"/>
                  </a:lnTo>
                  <a:lnTo>
                    <a:pt x="98" y="220"/>
                  </a:lnTo>
                  <a:lnTo>
                    <a:pt x="98" y="219"/>
                  </a:lnTo>
                  <a:lnTo>
                    <a:pt x="97" y="219"/>
                  </a:lnTo>
                  <a:lnTo>
                    <a:pt x="96" y="220"/>
                  </a:lnTo>
                  <a:lnTo>
                    <a:pt x="97" y="220"/>
                  </a:lnTo>
                  <a:lnTo>
                    <a:pt x="96" y="220"/>
                  </a:lnTo>
                  <a:lnTo>
                    <a:pt x="94" y="220"/>
                  </a:lnTo>
                  <a:lnTo>
                    <a:pt x="94" y="219"/>
                  </a:lnTo>
                  <a:lnTo>
                    <a:pt x="93" y="219"/>
                  </a:lnTo>
                  <a:lnTo>
                    <a:pt x="92" y="219"/>
                  </a:lnTo>
                  <a:lnTo>
                    <a:pt x="92" y="220"/>
                  </a:lnTo>
                  <a:lnTo>
                    <a:pt x="91" y="220"/>
                  </a:lnTo>
                  <a:lnTo>
                    <a:pt x="91" y="221"/>
                  </a:lnTo>
                  <a:lnTo>
                    <a:pt x="90" y="221"/>
                  </a:lnTo>
                  <a:lnTo>
                    <a:pt x="90" y="223"/>
                  </a:lnTo>
                  <a:lnTo>
                    <a:pt x="90" y="224"/>
                  </a:lnTo>
                  <a:lnTo>
                    <a:pt x="88" y="224"/>
                  </a:lnTo>
                  <a:lnTo>
                    <a:pt x="90" y="224"/>
                  </a:lnTo>
                  <a:lnTo>
                    <a:pt x="88" y="224"/>
                  </a:lnTo>
                  <a:lnTo>
                    <a:pt x="88" y="223"/>
                  </a:lnTo>
                  <a:lnTo>
                    <a:pt x="88" y="224"/>
                  </a:lnTo>
                  <a:lnTo>
                    <a:pt x="88" y="225"/>
                  </a:lnTo>
                  <a:lnTo>
                    <a:pt x="87" y="225"/>
                  </a:lnTo>
                  <a:lnTo>
                    <a:pt x="87" y="226"/>
                  </a:lnTo>
                  <a:lnTo>
                    <a:pt x="86" y="225"/>
                  </a:lnTo>
                  <a:lnTo>
                    <a:pt x="85" y="225"/>
                  </a:lnTo>
                  <a:lnTo>
                    <a:pt x="86" y="224"/>
                  </a:lnTo>
                  <a:lnTo>
                    <a:pt x="85" y="223"/>
                  </a:lnTo>
                  <a:lnTo>
                    <a:pt x="85" y="221"/>
                  </a:lnTo>
                  <a:lnTo>
                    <a:pt x="86" y="221"/>
                  </a:lnTo>
                  <a:lnTo>
                    <a:pt x="85" y="220"/>
                  </a:lnTo>
                  <a:lnTo>
                    <a:pt x="85" y="221"/>
                  </a:lnTo>
                  <a:lnTo>
                    <a:pt x="84" y="221"/>
                  </a:lnTo>
                  <a:lnTo>
                    <a:pt x="84" y="223"/>
                  </a:lnTo>
                  <a:lnTo>
                    <a:pt x="84" y="224"/>
                  </a:lnTo>
                  <a:lnTo>
                    <a:pt x="82" y="224"/>
                  </a:lnTo>
                  <a:lnTo>
                    <a:pt x="81" y="224"/>
                  </a:lnTo>
                  <a:lnTo>
                    <a:pt x="80" y="224"/>
                  </a:lnTo>
                  <a:lnTo>
                    <a:pt x="80" y="223"/>
                  </a:lnTo>
                  <a:lnTo>
                    <a:pt x="80" y="224"/>
                  </a:lnTo>
                  <a:lnTo>
                    <a:pt x="79" y="224"/>
                  </a:lnTo>
                  <a:lnTo>
                    <a:pt x="79" y="223"/>
                  </a:lnTo>
                  <a:lnTo>
                    <a:pt x="78" y="223"/>
                  </a:lnTo>
                  <a:lnTo>
                    <a:pt x="78" y="221"/>
                  </a:lnTo>
                  <a:lnTo>
                    <a:pt x="79" y="221"/>
                  </a:lnTo>
                  <a:lnTo>
                    <a:pt x="80" y="221"/>
                  </a:lnTo>
                  <a:lnTo>
                    <a:pt x="80" y="220"/>
                  </a:lnTo>
                  <a:lnTo>
                    <a:pt x="79" y="220"/>
                  </a:lnTo>
                  <a:lnTo>
                    <a:pt x="80" y="220"/>
                  </a:lnTo>
                  <a:lnTo>
                    <a:pt x="80" y="219"/>
                  </a:lnTo>
                  <a:lnTo>
                    <a:pt x="80" y="218"/>
                  </a:lnTo>
                  <a:lnTo>
                    <a:pt x="81" y="218"/>
                  </a:lnTo>
                  <a:lnTo>
                    <a:pt x="82" y="218"/>
                  </a:lnTo>
                  <a:lnTo>
                    <a:pt x="82" y="217"/>
                  </a:lnTo>
                  <a:lnTo>
                    <a:pt x="82" y="215"/>
                  </a:lnTo>
                  <a:lnTo>
                    <a:pt x="84" y="215"/>
                  </a:lnTo>
                  <a:lnTo>
                    <a:pt x="85" y="215"/>
                  </a:lnTo>
                  <a:lnTo>
                    <a:pt x="85" y="214"/>
                  </a:lnTo>
                  <a:lnTo>
                    <a:pt x="84" y="213"/>
                  </a:lnTo>
                  <a:lnTo>
                    <a:pt x="82" y="213"/>
                  </a:lnTo>
                  <a:lnTo>
                    <a:pt x="82" y="214"/>
                  </a:lnTo>
                  <a:lnTo>
                    <a:pt x="82" y="215"/>
                  </a:lnTo>
                  <a:lnTo>
                    <a:pt x="81" y="215"/>
                  </a:lnTo>
                  <a:lnTo>
                    <a:pt x="80" y="215"/>
                  </a:lnTo>
                  <a:lnTo>
                    <a:pt x="79" y="214"/>
                  </a:lnTo>
                  <a:lnTo>
                    <a:pt x="79" y="215"/>
                  </a:lnTo>
                  <a:lnTo>
                    <a:pt x="78" y="214"/>
                  </a:lnTo>
                  <a:lnTo>
                    <a:pt x="78" y="215"/>
                  </a:lnTo>
                  <a:lnTo>
                    <a:pt x="76" y="215"/>
                  </a:lnTo>
                  <a:lnTo>
                    <a:pt x="75" y="215"/>
                  </a:lnTo>
                  <a:lnTo>
                    <a:pt x="75" y="217"/>
                  </a:lnTo>
                  <a:lnTo>
                    <a:pt x="74" y="217"/>
                  </a:lnTo>
                  <a:lnTo>
                    <a:pt x="73" y="217"/>
                  </a:lnTo>
                  <a:lnTo>
                    <a:pt x="73" y="215"/>
                  </a:lnTo>
                  <a:lnTo>
                    <a:pt x="74" y="215"/>
                  </a:lnTo>
                  <a:lnTo>
                    <a:pt x="74" y="214"/>
                  </a:lnTo>
                  <a:lnTo>
                    <a:pt x="74" y="213"/>
                  </a:lnTo>
                  <a:lnTo>
                    <a:pt x="74" y="214"/>
                  </a:lnTo>
                  <a:lnTo>
                    <a:pt x="75" y="214"/>
                  </a:lnTo>
                  <a:lnTo>
                    <a:pt x="75" y="213"/>
                  </a:lnTo>
                  <a:lnTo>
                    <a:pt x="74" y="212"/>
                  </a:lnTo>
                  <a:lnTo>
                    <a:pt x="74" y="211"/>
                  </a:lnTo>
                  <a:lnTo>
                    <a:pt x="74" y="209"/>
                  </a:lnTo>
                  <a:lnTo>
                    <a:pt x="75" y="209"/>
                  </a:lnTo>
                  <a:lnTo>
                    <a:pt x="76" y="209"/>
                  </a:lnTo>
                  <a:lnTo>
                    <a:pt x="78" y="209"/>
                  </a:lnTo>
                  <a:lnTo>
                    <a:pt x="80" y="208"/>
                  </a:lnTo>
                  <a:lnTo>
                    <a:pt x="79" y="207"/>
                  </a:lnTo>
                  <a:lnTo>
                    <a:pt x="79" y="206"/>
                  </a:lnTo>
                  <a:lnTo>
                    <a:pt x="80" y="206"/>
                  </a:lnTo>
                  <a:lnTo>
                    <a:pt x="81" y="206"/>
                  </a:lnTo>
                  <a:lnTo>
                    <a:pt x="81" y="205"/>
                  </a:lnTo>
                  <a:lnTo>
                    <a:pt x="82" y="205"/>
                  </a:lnTo>
                  <a:lnTo>
                    <a:pt x="82" y="203"/>
                  </a:lnTo>
                  <a:lnTo>
                    <a:pt x="84" y="203"/>
                  </a:lnTo>
                  <a:lnTo>
                    <a:pt x="84" y="202"/>
                  </a:lnTo>
                  <a:lnTo>
                    <a:pt x="84" y="201"/>
                  </a:lnTo>
                  <a:lnTo>
                    <a:pt x="85" y="202"/>
                  </a:lnTo>
                  <a:lnTo>
                    <a:pt x="85" y="201"/>
                  </a:lnTo>
                  <a:lnTo>
                    <a:pt x="86" y="201"/>
                  </a:lnTo>
                  <a:lnTo>
                    <a:pt x="87" y="200"/>
                  </a:lnTo>
                  <a:lnTo>
                    <a:pt x="86" y="199"/>
                  </a:lnTo>
                  <a:lnTo>
                    <a:pt x="87" y="197"/>
                  </a:lnTo>
                  <a:lnTo>
                    <a:pt x="87" y="199"/>
                  </a:lnTo>
                  <a:lnTo>
                    <a:pt x="88" y="197"/>
                  </a:lnTo>
                  <a:lnTo>
                    <a:pt x="90" y="199"/>
                  </a:lnTo>
                  <a:lnTo>
                    <a:pt x="91" y="197"/>
                  </a:lnTo>
                  <a:lnTo>
                    <a:pt x="91" y="196"/>
                  </a:lnTo>
                  <a:lnTo>
                    <a:pt x="92" y="197"/>
                  </a:lnTo>
                  <a:lnTo>
                    <a:pt x="93" y="196"/>
                  </a:lnTo>
                  <a:lnTo>
                    <a:pt x="93" y="197"/>
                  </a:lnTo>
                  <a:lnTo>
                    <a:pt x="94" y="197"/>
                  </a:lnTo>
                  <a:lnTo>
                    <a:pt x="94" y="196"/>
                  </a:lnTo>
                  <a:lnTo>
                    <a:pt x="94" y="195"/>
                  </a:lnTo>
                  <a:lnTo>
                    <a:pt x="96" y="195"/>
                  </a:lnTo>
                  <a:lnTo>
                    <a:pt x="97" y="195"/>
                  </a:lnTo>
                  <a:lnTo>
                    <a:pt x="97" y="194"/>
                  </a:lnTo>
                  <a:lnTo>
                    <a:pt x="97" y="193"/>
                  </a:lnTo>
                  <a:lnTo>
                    <a:pt x="97" y="194"/>
                  </a:lnTo>
                  <a:lnTo>
                    <a:pt x="98" y="194"/>
                  </a:lnTo>
                  <a:lnTo>
                    <a:pt x="98" y="193"/>
                  </a:lnTo>
                  <a:lnTo>
                    <a:pt x="99" y="193"/>
                  </a:lnTo>
                  <a:lnTo>
                    <a:pt x="98" y="191"/>
                  </a:lnTo>
                  <a:lnTo>
                    <a:pt x="99" y="191"/>
                  </a:lnTo>
                  <a:lnTo>
                    <a:pt x="100" y="191"/>
                  </a:lnTo>
                  <a:lnTo>
                    <a:pt x="99" y="190"/>
                  </a:lnTo>
                  <a:lnTo>
                    <a:pt x="99" y="189"/>
                  </a:lnTo>
                  <a:lnTo>
                    <a:pt x="100" y="189"/>
                  </a:lnTo>
                  <a:lnTo>
                    <a:pt x="99" y="189"/>
                  </a:lnTo>
                  <a:lnTo>
                    <a:pt x="98" y="189"/>
                  </a:lnTo>
                  <a:lnTo>
                    <a:pt x="97" y="190"/>
                  </a:lnTo>
                  <a:lnTo>
                    <a:pt x="96" y="190"/>
                  </a:lnTo>
                  <a:lnTo>
                    <a:pt x="94" y="190"/>
                  </a:lnTo>
                  <a:lnTo>
                    <a:pt x="93" y="190"/>
                  </a:lnTo>
                  <a:lnTo>
                    <a:pt x="92" y="190"/>
                  </a:lnTo>
                  <a:lnTo>
                    <a:pt x="91" y="191"/>
                  </a:lnTo>
                  <a:lnTo>
                    <a:pt x="90" y="191"/>
                  </a:lnTo>
                  <a:lnTo>
                    <a:pt x="88" y="191"/>
                  </a:lnTo>
                  <a:lnTo>
                    <a:pt x="87" y="193"/>
                  </a:lnTo>
                  <a:lnTo>
                    <a:pt x="86" y="193"/>
                  </a:lnTo>
                  <a:lnTo>
                    <a:pt x="85" y="193"/>
                  </a:lnTo>
                  <a:lnTo>
                    <a:pt x="84" y="194"/>
                  </a:lnTo>
                  <a:lnTo>
                    <a:pt x="82" y="194"/>
                  </a:lnTo>
                  <a:lnTo>
                    <a:pt x="81" y="195"/>
                  </a:lnTo>
                  <a:lnTo>
                    <a:pt x="80" y="195"/>
                  </a:lnTo>
                  <a:lnTo>
                    <a:pt x="79" y="196"/>
                  </a:lnTo>
                  <a:lnTo>
                    <a:pt x="78" y="197"/>
                  </a:lnTo>
                  <a:lnTo>
                    <a:pt x="75" y="199"/>
                  </a:lnTo>
                  <a:lnTo>
                    <a:pt x="76" y="199"/>
                  </a:lnTo>
                  <a:lnTo>
                    <a:pt x="78" y="199"/>
                  </a:lnTo>
                  <a:lnTo>
                    <a:pt x="78" y="200"/>
                  </a:lnTo>
                  <a:lnTo>
                    <a:pt x="79" y="200"/>
                  </a:lnTo>
                  <a:lnTo>
                    <a:pt x="79" y="201"/>
                  </a:lnTo>
                  <a:lnTo>
                    <a:pt x="78" y="201"/>
                  </a:lnTo>
                  <a:lnTo>
                    <a:pt x="79" y="201"/>
                  </a:lnTo>
                  <a:lnTo>
                    <a:pt x="78" y="202"/>
                  </a:lnTo>
                  <a:lnTo>
                    <a:pt x="79" y="202"/>
                  </a:lnTo>
                  <a:lnTo>
                    <a:pt x="79" y="203"/>
                  </a:lnTo>
                  <a:lnTo>
                    <a:pt x="79" y="205"/>
                  </a:lnTo>
                  <a:lnTo>
                    <a:pt x="79" y="206"/>
                  </a:lnTo>
                  <a:lnTo>
                    <a:pt x="78" y="207"/>
                  </a:lnTo>
                  <a:lnTo>
                    <a:pt x="76" y="207"/>
                  </a:lnTo>
                  <a:lnTo>
                    <a:pt x="76" y="206"/>
                  </a:lnTo>
                  <a:lnTo>
                    <a:pt x="75" y="206"/>
                  </a:lnTo>
                  <a:lnTo>
                    <a:pt x="74" y="208"/>
                  </a:lnTo>
                  <a:lnTo>
                    <a:pt x="74" y="209"/>
                  </a:lnTo>
                  <a:lnTo>
                    <a:pt x="73" y="211"/>
                  </a:lnTo>
                  <a:lnTo>
                    <a:pt x="72" y="211"/>
                  </a:lnTo>
                  <a:lnTo>
                    <a:pt x="73" y="211"/>
                  </a:lnTo>
                  <a:lnTo>
                    <a:pt x="72" y="212"/>
                  </a:lnTo>
                  <a:lnTo>
                    <a:pt x="72" y="213"/>
                  </a:lnTo>
                  <a:lnTo>
                    <a:pt x="70" y="212"/>
                  </a:lnTo>
                  <a:lnTo>
                    <a:pt x="69" y="213"/>
                  </a:lnTo>
                  <a:lnTo>
                    <a:pt x="68" y="213"/>
                  </a:lnTo>
                  <a:lnTo>
                    <a:pt x="68" y="214"/>
                  </a:lnTo>
                  <a:lnTo>
                    <a:pt x="67" y="213"/>
                  </a:lnTo>
                  <a:lnTo>
                    <a:pt x="65" y="212"/>
                  </a:lnTo>
                  <a:lnTo>
                    <a:pt x="67" y="212"/>
                  </a:lnTo>
                  <a:lnTo>
                    <a:pt x="67" y="211"/>
                  </a:lnTo>
                  <a:lnTo>
                    <a:pt x="67" y="212"/>
                  </a:lnTo>
                  <a:lnTo>
                    <a:pt x="67" y="211"/>
                  </a:lnTo>
                  <a:lnTo>
                    <a:pt x="67" y="209"/>
                  </a:lnTo>
                  <a:lnTo>
                    <a:pt x="65" y="208"/>
                  </a:lnTo>
                  <a:lnTo>
                    <a:pt x="64" y="208"/>
                  </a:lnTo>
                  <a:lnTo>
                    <a:pt x="63" y="209"/>
                  </a:lnTo>
                  <a:lnTo>
                    <a:pt x="62" y="211"/>
                  </a:lnTo>
                  <a:lnTo>
                    <a:pt x="62" y="213"/>
                  </a:lnTo>
                  <a:lnTo>
                    <a:pt x="61" y="213"/>
                  </a:lnTo>
                  <a:lnTo>
                    <a:pt x="59" y="214"/>
                  </a:lnTo>
                  <a:lnTo>
                    <a:pt x="59" y="215"/>
                  </a:lnTo>
                  <a:lnTo>
                    <a:pt x="59" y="217"/>
                  </a:lnTo>
                  <a:lnTo>
                    <a:pt x="58" y="217"/>
                  </a:lnTo>
                  <a:lnTo>
                    <a:pt x="57" y="218"/>
                  </a:lnTo>
                  <a:lnTo>
                    <a:pt x="56" y="218"/>
                  </a:lnTo>
                  <a:lnTo>
                    <a:pt x="56" y="217"/>
                  </a:lnTo>
                  <a:lnTo>
                    <a:pt x="55" y="217"/>
                  </a:lnTo>
                  <a:lnTo>
                    <a:pt x="55" y="215"/>
                  </a:lnTo>
                  <a:lnTo>
                    <a:pt x="53" y="215"/>
                  </a:lnTo>
                  <a:lnTo>
                    <a:pt x="53" y="217"/>
                  </a:lnTo>
                  <a:lnTo>
                    <a:pt x="52" y="217"/>
                  </a:lnTo>
                  <a:lnTo>
                    <a:pt x="51" y="218"/>
                  </a:lnTo>
                  <a:lnTo>
                    <a:pt x="51" y="219"/>
                  </a:lnTo>
                  <a:lnTo>
                    <a:pt x="52" y="220"/>
                  </a:lnTo>
                  <a:lnTo>
                    <a:pt x="51" y="220"/>
                  </a:lnTo>
                  <a:lnTo>
                    <a:pt x="52" y="220"/>
                  </a:lnTo>
                  <a:lnTo>
                    <a:pt x="51" y="220"/>
                  </a:lnTo>
                  <a:lnTo>
                    <a:pt x="50" y="220"/>
                  </a:lnTo>
                  <a:lnTo>
                    <a:pt x="50" y="221"/>
                  </a:lnTo>
                  <a:lnTo>
                    <a:pt x="49" y="221"/>
                  </a:lnTo>
                  <a:lnTo>
                    <a:pt x="47" y="221"/>
                  </a:lnTo>
                  <a:lnTo>
                    <a:pt x="46" y="221"/>
                  </a:lnTo>
                  <a:lnTo>
                    <a:pt x="49" y="220"/>
                  </a:lnTo>
                  <a:lnTo>
                    <a:pt x="47" y="220"/>
                  </a:lnTo>
                  <a:lnTo>
                    <a:pt x="46" y="220"/>
                  </a:lnTo>
                  <a:lnTo>
                    <a:pt x="46" y="221"/>
                  </a:lnTo>
                  <a:lnTo>
                    <a:pt x="45" y="221"/>
                  </a:lnTo>
                  <a:lnTo>
                    <a:pt x="45" y="223"/>
                  </a:lnTo>
                  <a:lnTo>
                    <a:pt x="44" y="223"/>
                  </a:lnTo>
                  <a:lnTo>
                    <a:pt x="44" y="224"/>
                  </a:lnTo>
                  <a:lnTo>
                    <a:pt x="43" y="224"/>
                  </a:lnTo>
                  <a:lnTo>
                    <a:pt x="44" y="224"/>
                  </a:lnTo>
                  <a:lnTo>
                    <a:pt x="45" y="225"/>
                  </a:lnTo>
                  <a:lnTo>
                    <a:pt x="43" y="226"/>
                  </a:lnTo>
                  <a:lnTo>
                    <a:pt x="43" y="227"/>
                  </a:lnTo>
                  <a:lnTo>
                    <a:pt x="41" y="229"/>
                  </a:lnTo>
                  <a:lnTo>
                    <a:pt x="41" y="227"/>
                  </a:lnTo>
                  <a:lnTo>
                    <a:pt x="40" y="227"/>
                  </a:lnTo>
                  <a:lnTo>
                    <a:pt x="39" y="227"/>
                  </a:lnTo>
                  <a:lnTo>
                    <a:pt x="38" y="226"/>
                  </a:lnTo>
                  <a:lnTo>
                    <a:pt x="39" y="226"/>
                  </a:lnTo>
                  <a:lnTo>
                    <a:pt x="38" y="225"/>
                  </a:lnTo>
                  <a:lnTo>
                    <a:pt x="35" y="226"/>
                  </a:lnTo>
                  <a:lnTo>
                    <a:pt x="35" y="227"/>
                  </a:lnTo>
                  <a:lnTo>
                    <a:pt x="35" y="226"/>
                  </a:lnTo>
                  <a:lnTo>
                    <a:pt x="34" y="226"/>
                  </a:lnTo>
                  <a:lnTo>
                    <a:pt x="33" y="226"/>
                  </a:lnTo>
                  <a:lnTo>
                    <a:pt x="32" y="225"/>
                  </a:lnTo>
                  <a:lnTo>
                    <a:pt x="31" y="225"/>
                  </a:lnTo>
                  <a:lnTo>
                    <a:pt x="31" y="224"/>
                  </a:lnTo>
                  <a:lnTo>
                    <a:pt x="29" y="223"/>
                  </a:lnTo>
                  <a:lnTo>
                    <a:pt x="28" y="221"/>
                  </a:lnTo>
                  <a:lnTo>
                    <a:pt x="31" y="221"/>
                  </a:lnTo>
                  <a:lnTo>
                    <a:pt x="31" y="220"/>
                  </a:lnTo>
                  <a:lnTo>
                    <a:pt x="29" y="219"/>
                  </a:lnTo>
                  <a:lnTo>
                    <a:pt x="27" y="217"/>
                  </a:lnTo>
                  <a:lnTo>
                    <a:pt x="28" y="217"/>
                  </a:lnTo>
                  <a:lnTo>
                    <a:pt x="29" y="217"/>
                  </a:lnTo>
                  <a:lnTo>
                    <a:pt x="31" y="217"/>
                  </a:lnTo>
                  <a:lnTo>
                    <a:pt x="31" y="215"/>
                  </a:lnTo>
                  <a:lnTo>
                    <a:pt x="32" y="215"/>
                  </a:lnTo>
                  <a:lnTo>
                    <a:pt x="33" y="215"/>
                  </a:lnTo>
                  <a:lnTo>
                    <a:pt x="33" y="214"/>
                  </a:lnTo>
                  <a:lnTo>
                    <a:pt x="32" y="215"/>
                  </a:lnTo>
                  <a:lnTo>
                    <a:pt x="32" y="214"/>
                  </a:lnTo>
                  <a:lnTo>
                    <a:pt x="31" y="214"/>
                  </a:lnTo>
                  <a:lnTo>
                    <a:pt x="29" y="213"/>
                  </a:lnTo>
                  <a:lnTo>
                    <a:pt x="29" y="212"/>
                  </a:lnTo>
                  <a:lnTo>
                    <a:pt x="31" y="212"/>
                  </a:lnTo>
                  <a:lnTo>
                    <a:pt x="32" y="212"/>
                  </a:lnTo>
                  <a:lnTo>
                    <a:pt x="33" y="212"/>
                  </a:lnTo>
                  <a:lnTo>
                    <a:pt x="33" y="211"/>
                  </a:lnTo>
                  <a:lnTo>
                    <a:pt x="33" y="209"/>
                  </a:lnTo>
                  <a:lnTo>
                    <a:pt x="34" y="211"/>
                  </a:lnTo>
                  <a:lnTo>
                    <a:pt x="35" y="211"/>
                  </a:lnTo>
                  <a:lnTo>
                    <a:pt x="35" y="208"/>
                  </a:lnTo>
                  <a:lnTo>
                    <a:pt x="37" y="207"/>
                  </a:lnTo>
                  <a:lnTo>
                    <a:pt x="38" y="206"/>
                  </a:lnTo>
                  <a:lnTo>
                    <a:pt x="39" y="207"/>
                  </a:lnTo>
                  <a:lnTo>
                    <a:pt x="39" y="205"/>
                  </a:lnTo>
                  <a:lnTo>
                    <a:pt x="38" y="203"/>
                  </a:lnTo>
                  <a:lnTo>
                    <a:pt x="38" y="202"/>
                  </a:lnTo>
                  <a:lnTo>
                    <a:pt x="38" y="201"/>
                  </a:lnTo>
                  <a:lnTo>
                    <a:pt x="39" y="201"/>
                  </a:lnTo>
                  <a:lnTo>
                    <a:pt x="40" y="201"/>
                  </a:lnTo>
                  <a:lnTo>
                    <a:pt x="41" y="201"/>
                  </a:lnTo>
                  <a:lnTo>
                    <a:pt x="43" y="200"/>
                  </a:lnTo>
                  <a:lnTo>
                    <a:pt x="44" y="200"/>
                  </a:lnTo>
                  <a:lnTo>
                    <a:pt x="45" y="199"/>
                  </a:lnTo>
                  <a:lnTo>
                    <a:pt x="46" y="199"/>
                  </a:lnTo>
                  <a:lnTo>
                    <a:pt x="45" y="199"/>
                  </a:lnTo>
                  <a:lnTo>
                    <a:pt x="45" y="197"/>
                  </a:lnTo>
                  <a:lnTo>
                    <a:pt x="44" y="196"/>
                  </a:lnTo>
                  <a:lnTo>
                    <a:pt x="44" y="195"/>
                  </a:lnTo>
                  <a:lnTo>
                    <a:pt x="45" y="195"/>
                  </a:lnTo>
                  <a:lnTo>
                    <a:pt x="46" y="195"/>
                  </a:lnTo>
                  <a:lnTo>
                    <a:pt x="47" y="196"/>
                  </a:lnTo>
                  <a:lnTo>
                    <a:pt x="47" y="195"/>
                  </a:lnTo>
                  <a:lnTo>
                    <a:pt x="49" y="195"/>
                  </a:lnTo>
                  <a:lnTo>
                    <a:pt x="50" y="195"/>
                  </a:lnTo>
                  <a:lnTo>
                    <a:pt x="51" y="196"/>
                  </a:lnTo>
                  <a:lnTo>
                    <a:pt x="51" y="195"/>
                  </a:lnTo>
                  <a:lnTo>
                    <a:pt x="52" y="194"/>
                  </a:lnTo>
                  <a:lnTo>
                    <a:pt x="52" y="193"/>
                  </a:lnTo>
                  <a:lnTo>
                    <a:pt x="52" y="191"/>
                  </a:lnTo>
                  <a:lnTo>
                    <a:pt x="53" y="191"/>
                  </a:lnTo>
                  <a:lnTo>
                    <a:pt x="53" y="190"/>
                  </a:lnTo>
                  <a:lnTo>
                    <a:pt x="55" y="190"/>
                  </a:lnTo>
                  <a:lnTo>
                    <a:pt x="55" y="189"/>
                  </a:lnTo>
                  <a:lnTo>
                    <a:pt x="55" y="188"/>
                  </a:lnTo>
                  <a:lnTo>
                    <a:pt x="56" y="188"/>
                  </a:lnTo>
                  <a:lnTo>
                    <a:pt x="56" y="187"/>
                  </a:lnTo>
                  <a:lnTo>
                    <a:pt x="57" y="185"/>
                  </a:lnTo>
                  <a:lnTo>
                    <a:pt x="57" y="184"/>
                  </a:lnTo>
                  <a:lnTo>
                    <a:pt x="58" y="184"/>
                  </a:lnTo>
                  <a:lnTo>
                    <a:pt x="59" y="184"/>
                  </a:lnTo>
                  <a:lnTo>
                    <a:pt x="58" y="184"/>
                  </a:lnTo>
                  <a:lnTo>
                    <a:pt x="58" y="183"/>
                  </a:lnTo>
                  <a:lnTo>
                    <a:pt x="58" y="182"/>
                  </a:lnTo>
                  <a:lnTo>
                    <a:pt x="57" y="183"/>
                  </a:lnTo>
                  <a:lnTo>
                    <a:pt x="57" y="182"/>
                  </a:lnTo>
                  <a:lnTo>
                    <a:pt x="57" y="181"/>
                  </a:lnTo>
                  <a:lnTo>
                    <a:pt x="58" y="181"/>
                  </a:lnTo>
                  <a:lnTo>
                    <a:pt x="57" y="181"/>
                  </a:lnTo>
                  <a:lnTo>
                    <a:pt x="56" y="179"/>
                  </a:lnTo>
                  <a:lnTo>
                    <a:pt x="55" y="178"/>
                  </a:lnTo>
                  <a:lnTo>
                    <a:pt x="55" y="179"/>
                  </a:lnTo>
                  <a:lnTo>
                    <a:pt x="53" y="178"/>
                  </a:lnTo>
                  <a:lnTo>
                    <a:pt x="52" y="177"/>
                  </a:lnTo>
                  <a:lnTo>
                    <a:pt x="52" y="176"/>
                  </a:lnTo>
                  <a:lnTo>
                    <a:pt x="51" y="176"/>
                  </a:lnTo>
                  <a:lnTo>
                    <a:pt x="50" y="176"/>
                  </a:lnTo>
                  <a:lnTo>
                    <a:pt x="50" y="175"/>
                  </a:lnTo>
                  <a:lnTo>
                    <a:pt x="49" y="175"/>
                  </a:lnTo>
                  <a:lnTo>
                    <a:pt x="50" y="175"/>
                  </a:lnTo>
                  <a:lnTo>
                    <a:pt x="50" y="173"/>
                  </a:lnTo>
                  <a:lnTo>
                    <a:pt x="49" y="175"/>
                  </a:lnTo>
                  <a:lnTo>
                    <a:pt x="47" y="173"/>
                  </a:lnTo>
                  <a:lnTo>
                    <a:pt x="47" y="175"/>
                  </a:lnTo>
                  <a:lnTo>
                    <a:pt x="49" y="176"/>
                  </a:lnTo>
                  <a:lnTo>
                    <a:pt x="47" y="176"/>
                  </a:lnTo>
                  <a:lnTo>
                    <a:pt x="47" y="177"/>
                  </a:lnTo>
                  <a:lnTo>
                    <a:pt x="47" y="176"/>
                  </a:lnTo>
                  <a:lnTo>
                    <a:pt x="47" y="177"/>
                  </a:lnTo>
                  <a:lnTo>
                    <a:pt x="47" y="178"/>
                  </a:lnTo>
                  <a:lnTo>
                    <a:pt x="46" y="178"/>
                  </a:lnTo>
                  <a:lnTo>
                    <a:pt x="46" y="179"/>
                  </a:lnTo>
                  <a:lnTo>
                    <a:pt x="45" y="181"/>
                  </a:lnTo>
                  <a:lnTo>
                    <a:pt x="45" y="179"/>
                  </a:lnTo>
                  <a:lnTo>
                    <a:pt x="44" y="179"/>
                  </a:lnTo>
                  <a:lnTo>
                    <a:pt x="43" y="179"/>
                  </a:lnTo>
                  <a:lnTo>
                    <a:pt x="41" y="181"/>
                  </a:lnTo>
                  <a:lnTo>
                    <a:pt x="40" y="182"/>
                  </a:lnTo>
                  <a:lnTo>
                    <a:pt x="39" y="182"/>
                  </a:lnTo>
                  <a:lnTo>
                    <a:pt x="38" y="183"/>
                  </a:lnTo>
                  <a:lnTo>
                    <a:pt x="37" y="184"/>
                  </a:lnTo>
                  <a:lnTo>
                    <a:pt x="37" y="183"/>
                  </a:lnTo>
                  <a:lnTo>
                    <a:pt x="34" y="184"/>
                  </a:lnTo>
                  <a:lnTo>
                    <a:pt x="33" y="185"/>
                  </a:lnTo>
                  <a:lnTo>
                    <a:pt x="32" y="184"/>
                  </a:lnTo>
                  <a:lnTo>
                    <a:pt x="32" y="185"/>
                  </a:lnTo>
                  <a:lnTo>
                    <a:pt x="31" y="185"/>
                  </a:lnTo>
                  <a:lnTo>
                    <a:pt x="29" y="184"/>
                  </a:lnTo>
                  <a:lnTo>
                    <a:pt x="29" y="185"/>
                  </a:lnTo>
                  <a:lnTo>
                    <a:pt x="28" y="185"/>
                  </a:lnTo>
                  <a:lnTo>
                    <a:pt x="27" y="185"/>
                  </a:lnTo>
                  <a:lnTo>
                    <a:pt x="27" y="184"/>
                  </a:lnTo>
                  <a:lnTo>
                    <a:pt x="26" y="184"/>
                  </a:lnTo>
                  <a:lnTo>
                    <a:pt x="26" y="183"/>
                  </a:lnTo>
                  <a:lnTo>
                    <a:pt x="25" y="183"/>
                  </a:lnTo>
                  <a:lnTo>
                    <a:pt x="23" y="182"/>
                  </a:lnTo>
                  <a:lnTo>
                    <a:pt x="23" y="181"/>
                  </a:lnTo>
                  <a:lnTo>
                    <a:pt x="22" y="181"/>
                  </a:lnTo>
                  <a:lnTo>
                    <a:pt x="22" y="182"/>
                  </a:lnTo>
                  <a:lnTo>
                    <a:pt x="22" y="181"/>
                  </a:lnTo>
                  <a:lnTo>
                    <a:pt x="21" y="181"/>
                  </a:lnTo>
                  <a:lnTo>
                    <a:pt x="20" y="181"/>
                  </a:lnTo>
                  <a:lnTo>
                    <a:pt x="21" y="181"/>
                  </a:lnTo>
                  <a:lnTo>
                    <a:pt x="20" y="181"/>
                  </a:lnTo>
                  <a:lnTo>
                    <a:pt x="20" y="179"/>
                  </a:lnTo>
                  <a:lnTo>
                    <a:pt x="19" y="178"/>
                  </a:lnTo>
                  <a:lnTo>
                    <a:pt x="17" y="178"/>
                  </a:lnTo>
                  <a:lnTo>
                    <a:pt x="17" y="179"/>
                  </a:lnTo>
                  <a:lnTo>
                    <a:pt x="16" y="178"/>
                  </a:lnTo>
                  <a:lnTo>
                    <a:pt x="15" y="178"/>
                  </a:lnTo>
                  <a:lnTo>
                    <a:pt x="14" y="177"/>
                  </a:lnTo>
                  <a:lnTo>
                    <a:pt x="13" y="176"/>
                  </a:lnTo>
                  <a:lnTo>
                    <a:pt x="11" y="176"/>
                  </a:lnTo>
                  <a:lnTo>
                    <a:pt x="13" y="176"/>
                  </a:lnTo>
                  <a:lnTo>
                    <a:pt x="13" y="175"/>
                  </a:lnTo>
                  <a:lnTo>
                    <a:pt x="14" y="175"/>
                  </a:lnTo>
                  <a:lnTo>
                    <a:pt x="14" y="173"/>
                  </a:lnTo>
                  <a:lnTo>
                    <a:pt x="14" y="172"/>
                  </a:lnTo>
                  <a:lnTo>
                    <a:pt x="13" y="172"/>
                  </a:lnTo>
                  <a:lnTo>
                    <a:pt x="14" y="171"/>
                  </a:lnTo>
                  <a:lnTo>
                    <a:pt x="15" y="171"/>
                  </a:lnTo>
                  <a:lnTo>
                    <a:pt x="14" y="171"/>
                  </a:lnTo>
                  <a:lnTo>
                    <a:pt x="11" y="171"/>
                  </a:lnTo>
                  <a:lnTo>
                    <a:pt x="11" y="172"/>
                  </a:lnTo>
                  <a:lnTo>
                    <a:pt x="11" y="173"/>
                  </a:lnTo>
                  <a:lnTo>
                    <a:pt x="10" y="173"/>
                  </a:lnTo>
                  <a:lnTo>
                    <a:pt x="9" y="173"/>
                  </a:lnTo>
                  <a:lnTo>
                    <a:pt x="8" y="173"/>
                  </a:lnTo>
                  <a:lnTo>
                    <a:pt x="6" y="175"/>
                  </a:lnTo>
                  <a:lnTo>
                    <a:pt x="6" y="173"/>
                  </a:lnTo>
                  <a:lnTo>
                    <a:pt x="5" y="175"/>
                  </a:lnTo>
                  <a:lnTo>
                    <a:pt x="5" y="173"/>
                  </a:lnTo>
                  <a:lnTo>
                    <a:pt x="4" y="173"/>
                  </a:lnTo>
                  <a:lnTo>
                    <a:pt x="4" y="171"/>
                  </a:lnTo>
                  <a:lnTo>
                    <a:pt x="3" y="171"/>
                  </a:lnTo>
                  <a:lnTo>
                    <a:pt x="3" y="170"/>
                  </a:lnTo>
                  <a:lnTo>
                    <a:pt x="2" y="167"/>
                  </a:lnTo>
                  <a:lnTo>
                    <a:pt x="2" y="166"/>
                  </a:lnTo>
                  <a:lnTo>
                    <a:pt x="0" y="165"/>
                  </a:lnTo>
                  <a:lnTo>
                    <a:pt x="0" y="164"/>
                  </a:lnTo>
                  <a:lnTo>
                    <a:pt x="2" y="164"/>
                  </a:lnTo>
                  <a:lnTo>
                    <a:pt x="3" y="165"/>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1" name="Freeform 74"/>
            <p:cNvSpPr>
              <a:spLocks/>
            </p:cNvSpPr>
            <p:nvPr userDrawn="1"/>
          </p:nvSpPr>
          <p:spPr bwMode="auto">
            <a:xfrm>
              <a:off x="6119813" y="6311901"/>
              <a:ext cx="219075" cy="266700"/>
            </a:xfrm>
            <a:custGeom>
              <a:avLst/>
              <a:gdLst/>
              <a:ahLst/>
              <a:cxnLst>
                <a:cxn ang="0">
                  <a:pos x="392" y="612"/>
                </a:cxn>
                <a:cxn ang="0">
                  <a:pos x="399" y="597"/>
                </a:cxn>
                <a:cxn ang="0">
                  <a:pos x="395" y="664"/>
                </a:cxn>
                <a:cxn ang="0">
                  <a:pos x="436" y="642"/>
                </a:cxn>
                <a:cxn ang="0">
                  <a:pos x="423" y="662"/>
                </a:cxn>
                <a:cxn ang="0">
                  <a:pos x="452" y="694"/>
                </a:cxn>
                <a:cxn ang="0">
                  <a:pos x="500" y="722"/>
                </a:cxn>
                <a:cxn ang="0">
                  <a:pos x="590" y="685"/>
                </a:cxn>
                <a:cxn ang="0">
                  <a:pos x="581" y="640"/>
                </a:cxn>
                <a:cxn ang="0">
                  <a:pos x="509" y="626"/>
                </a:cxn>
                <a:cxn ang="0">
                  <a:pos x="559" y="599"/>
                </a:cxn>
                <a:cxn ang="0">
                  <a:pos x="546" y="566"/>
                </a:cxn>
                <a:cxn ang="0">
                  <a:pos x="513" y="518"/>
                </a:cxn>
                <a:cxn ang="0">
                  <a:pos x="472" y="457"/>
                </a:cxn>
                <a:cxn ang="0">
                  <a:pos x="534" y="450"/>
                </a:cxn>
                <a:cxn ang="0">
                  <a:pos x="619" y="395"/>
                </a:cxn>
                <a:cxn ang="0">
                  <a:pos x="670" y="329"/>
                </a:cxn>
                <a:cxn ang="0">
                  <a:pos x="605" y="261"/>
                </a:cxn>
                <a:cxn ang="0">
                  <a:pos x="619" y="228"/>
                </a:cxn>
                <a:cxn ang="0">
                  <a:pos x="599" y="156"/>
                </a:cxn>
                <a:cxn ang="0">
                  <a:pos x="572" y="114"/>
                </a:cxn>
                <a:cxn ang="0">
                  <a:pos x="513" y="30"/>
                </a:cxn>
                <a:cxn ang="0">
                  <a:pos x="457" y="46"/>
                </a:cxn>
                <a:cxn ang="0">
                  <a:pos x="431" y="73"/>
                </a:cxn>
                <a:cxn ang="0">
                  <a:pos x="424" y="103"/>
                </a:cxn>
                <a:cxn ang="0">
                  <a:pos x="403" y="114"/>
                </a:cxn>
                <a:cxn ang="0">
                  <a:pos x="415" y="77"/>
                </a:cxn>
                <a:cxn ang="0">
                  <a:pos x="327" y="54"/>
                </a:cxn>
                <a:cxn ang="0">
                  <a:pos x="310" y="17"/>
                </a:cxn>
                <a:cxn ang="0">
                  <a:pos x="293" y="67"/>
                </a:cxn>
                <a:cxn ang="0">
                  <a:pos x="255" y="76"/>
                </a:cxn>
                <a:cxn ang="0">
                  <a:pos x="210" y="62"/>
                </a:cxn>
                <a:cxn ang="0">
                  <a:pos x="208" y="107"/>
                </a:cxn>
                <a:cxn ang="0">
                  <a:pos x="176" y="121"/>
                </a:cxn>
                <a:cxn ang="0">
                  <a:pos x="180" y="167"/>
                </a:cxn>
                <a:cxn ang="0">
                  <a:pos x="239" y="183"/>
                </a:cxn>
                <a:cxn ang="0">
                  <a:pos x="262" y="180"/>
                </a:cxn>
                <a:cxn ang="0">
                  <a:pos x="259" y="219"/>
                </a:cxn>
                <a:cxn ang="0">
                  <a:pos x="194" y="255"/>
                </a:cxn>
                <a:cxn ang="0">
                  <a:pos x="140" y="219"/>
                </a:cxn>
                <a:cxn ang="0">
                  <a:pos x="91" y="233"/>
                </a:cxn>
                <a:cxn ang="0">
                  <a:pos x="124" y="305"/>
                </a:cxn>
                <a:cxn ang="0">
                  <a:pos x="117" y="344"/>
                </a:cxn>
                <a:cxn ang="0">
                  <a:pos x="52" y="345"/>
                </a:cxn>
                <a:cxn ang="0">
                  <a:pos x="12" y="355"/>
                </a:cxn>
                <a:cxn ang="0">
                  <a:pos x="25" y="393"/>
                </a:cxn>
                <a:cxn ang="0">
                  <a:pos x="40" y="445"/>
                </a:cxn>
                <a:cxn ang="0">
                  <a:pos x="80" y="440"/>
                </a:cxn>
                <a:cxn ang="0">
                  <a:pos x="126" y="424"/>
                </a:cxn>
                <a:cxn ang="0">
                  <a:pos x="124" y="469"/>
                </a:cxn>
                <a:cxn ang="0">
                  <a:pos x="76" y="514"/>
                </a:cxn>
                <a:cxn ang="0">
                  <a:pos x="82" y="555"/>
                </a:cxn>
                <a:cxn ang="0">
                  <a:pos x="165" y="543"/>
                </a:cxn>
                <a:cxn ang="0">
                  <a:pos x="173" y="566"/>
                </a:cxn>
                <a:cxn ang="0">
                  <a:pos x="134" y="608"/>
                </a:cxn>
                <a:cxn ang="0">
                  <a:pos x="199" y="637"/>
                </a:cxn>
                <a:cxn ang="0">
                  <a:pos x="229" y="578"/>
                </a:cxn>
                <a:cxn ang="0">
                  <a:pos x="227" y="530"/>
                </a:cxn>
                <a:cxn ang="0">
                  <a:pos x="273" y="591"/>
                </a:cxn>
                <a:cxn ang="0">
                  <a:pos x="279" y="520"/>
                </a:cxn>
                <a:cxn ang="0">
                  <a:pos x="288" y="543"/>
                </a:cxn>
                <a:cxn ang="0">
                  <a:pos x="328" y="531"/>
                </a:cxn>
                <a:cxn ang="0">
                  <a:pos x="350" y="551"/>
                </a:cxn>
              </a:cxnLst>
              <a:rect l="0" t="0" r="r" b="b"/>
              <a:pathLst>
                <a:path w="688" h="840">
                  <a:moveTo>
                    <a:pt x="457" y="834"/>
                  </a:moveTo>
                  <a:lnTo>
                    <a:pt x="452" y="834"/>
                  </a:lnTo>
                  <a:lnTo>
                    <a:pt x="423" y="835"/>
                  </a:lnTo>
                  <a:lnTo>
                    <a:pt x="406" y="833"/>
                  </a:lnTo>
                  <a:lnTo>
                    <a:pt x="404" y="821"/>
                  </a:lnTo>
                  <a:lnTo>
                    <a:pt x="403" y="811"/>
                  </a:lnTo>
                  <a:lnTo>
                    <a:pt x="401" y="807"/>
                  </a:lnTo>
                  <a:lnTo>
                    <a:pt x="400" y="786"/>
                  </a:lnTo>
                  <a:lnTo>
                    <a:pt x="394" y="725"/>
                  </a:lnTo>
                  <a:lnTo>
                    <a:pt x="393" y="715"/>
                  </a:lnTo>
                  <a:lnTo>
                    <a:pt x="392" y="696"/>
                  </a:lnTo>
                  <a:lnTo>
                    <a:pt x="391" y="683"/>
                  </a:lnTo>
                  <a:lnTo>
                    <a:pt x="389" y="672"/>
                  </a:lnTo>
                  <a:lnTo>
                    <a:pt x="388" y="661"/>
                  </a:lnTo>
                  <a:lnTo>
                    <a:pt x="387" y="649"/>
                  </a:lnTo>
                  <a:lnTo>
                    <a:pt x="387" y="644"/>
                  </a:lnTo>
                  <a:lnTo>
                    <a:pt x="388" y="644"/>
                  </a:lnTo>
                  <a:lnTo>
                    <a:pt x="391" y="646"/>
                  </a:lnTo>
                  <a:lnTo>
                    <a:pt x="392" y="647"/>
                  </a:lnTo>
                  <a:lnTo>
                    <a:pt x="393" y="646"/>
                  </a:lnTo>
                  <a:lnTo>
                    <a:pt x="393" y="644"/>
                  </a:lnTo>
                  <a:lnTo>
                    <a:pt x="393" y="642"/>
                  </a:lnTo>
                  <a:lnTo>
                    <a:pt x="392" y="641"/>
                  </a:lnTo>
                  <a:lnTo>
                    <a:pt x="391" y="640"/>
                  </a:lnTo>
                  <a:lnTo>
                    <a:pt x="388" y="640"/>
                  </a:lnTo>
                  <a:lnTo>
                    <a:pt x="388" y="637"/>
                  </a:lnTo>
                  <a:lnTo>
                    <a:pt x="389" y="636"/>
                  </a:lnTo>
                  <a:lnTo>
                    <a:pt x="391" y="636"/>
                  </a:lnTo>
                  <a:lnTo>
                    <a:pt x="392" y="636"/>
                  </a:lnTo>
                  <a:lnTo>
                    <a:pt x="393" y="636"/>
                  </a:lnTo>
                  <a:lnTo>
                    <a:pt x="393" y="635"/>
                  </a:lnTo>
                  <a:lnTo>
                    <a:pt x="394" y="632"/>
                  </a:lnTo>
                  <a:lnTo>
                    <a:pt x="397" y="630"/>
                  </a:lnTo>
                  <a:lnTo>
                    <a:pt x="397" y="626"/>
                  </a:lnTo>
                  <a:lnTo>
                    <a:pt x="395" y="627"/>
                  </a:lnTo>
                  <a:lnTo>
                    <a:pt x="394" y="629"/>
                  </a:lnTo>
                  <a:lnTo>
                    <a:pt x="392" y="631"/>
                  </a:lnTo>
                  <a:lnTo>
                    <a:pt x="391" y="632"/>
                  </a:lnTo>
                  <a:lnTo>
                    <a:pt x="388" y="632"/>
                  </a:lnTo>
                  <a:lnTo>
                    <a:pt x="387" y="633"/>
                  </a:lnTo>
                  <a:lnTo>
                    <a:pt x="387" y="632"/>
                  </a:lnTo>
                  <a:lnTo>
                    <a:pt x="386" y="627"/>
                  </a:lnTo>
                  <a:lnTo>
                    <a:pt x="385" y="611"/>
                  </a:lnTo>
                  <a:lnTo>
                    <a:pt x="386" y="606"/>
                  </a:lnTo>
                  <a:lnTo>
                    <a:pt x="387" y="605"/>
                  </a:lnTo>
                  <a:lnTo>
                    <a:pt x="389" y="603"/>
                  </a:lnTo>
                  <a:lnTo>
                    <a:pt x="389" y="601"/>
                  </a:lnTo>
                  <a:lnTo>
                    <a:pt x="387" y="599"/>
                  </a:lnTo>
                  <a:lnTo>
                    <a:pt x="386" y="597"/>
                  </a:lnTo>
                  <a:lnTo>
                    <a:pt x="386" y="590"/>
                  </a:lnTo>
                  <a:lnTo>
                    <a:pt x="385" y="585"/>
                  </a:lnTo>
                  <a:lnTo>
                    <a:pt x="385" y="583"/>
                  </a:lnTo>
                  <a:lnTo>
                    <a:pt x="387" y="582"/>
                  </a:lnTo>
                  <a:lnTo>
                    <a:pt x="386" y="579"/>
                  </a:lnTo>
                  <a:lnTo>
                    <a:pt x="385" y="578"/>
                  </a:lnTo>
                  <a:lnTo>
                    <a:pt x="385" y="576"/>
                  </a:lnTo>
                  <a:lnTo>
                    <a:pt x="385" y="572"/>
                  </a:lnTo>
                  <a:lnTo>
                    <a:pt x="385" y="570"/>
                  </a:lnTo>
                  <a:lnTo>
                    <a:pt x="383" y="567"/>
                  </a:lnTo>
                  <a:lnTo>
                    <a:pt x="386" y="563"/>
                  </a:lnTo>
                  <a:lnTo>
                    <a:pt x="387" y="565"/>
                  </a:lnTo>
                  <a:lnTo>
                    <a:pt x="387" y="567"/>
                  </a:lnTo>
                  <a:lnTo>
                    <a:pt x="388" y="567"/>
                  </a:lnTo>
                  <a:lnTo>
                    <a:pt x="388" y="565"/>
                  </a:lnTo>
                  <a:lnTo>
                    <a:pt x="389" y="563"/>
                  </a:lnTo>
                  <a:lnTo>
                    <a:pt x="388" y="561"/>
                  </a:lnTo>
                  <a:lnTo>
                    <a:pt x="386" y="560"/>
                  </a:lnTo>
                  <a:lnTo>
                    <a:pt x="386" y="559"/>
                  </a:lnTo>
                  <a:lnTo>
                    <a:pt x="386" y="551"/>
                  </a:lnTo>
                  <a:lnTo>
                    <a:pt x="385" y="547"/>
                  </a:lnTo>
                  <a:lnTo>
                    <a:pt x="386" y="543"/>
                  </a:lnTo>
                  <a:lnTo>
                    <a:pt x="387" y="540"/>
                  </a:lnTo>
                  <a:lnTo>
                    <a:pt x="388" y="537"/>
                  </a:lnTo>
                  <a:lnTo>
                    <a:pt x="391" y="535"/>
                  </a:lnTo>
                  <a:lnTo>
                    <a:pt x="393" y="534"/>
                  </a:lnTo>
                  <a:lnTo>
                    <a:pt x="394" y="536"/>
                  </a:lnTo>
                  <a:lnTo>
                    <a:pt x="395" y="539"/>
                  </a:lnTo>
                  <a:lnTo>
                    <a:pt x="394" y="542"/>
                  </a:lnTo>
                  <a:lnTo>
                    <a:pt x="393" y="543"/>
                  </a:lnTo>
                  <a:lnTo>
                    <a:pt x="392" y="546"/>
                  </a:lnTo>
                  <a:lnTo>
                    <a:pt x="392" y="549"/>
                  </a:lnTo>
                  <a:lnTo>
                    <a:pt x="392" y="557"/>
                  </a:lnTo>
                  <a:lnTo>
                    <a:pt x="392" y="567"/>
                  </a:lnTo>
                  <a:lnTo>
                    <a:pt x="391" y="572"/>
                  </a:lnTo>
                  <a:lnTo>
                    <a:pt x="391" y="577"/>
                  </a:lnTo>
                  <a:lnTo>
                    <a:pt x="391" y="581"/>
                  </a:lnTo>
                  <a:lnTo>
                    <a:pt x="389" y="584"/>
                  </a:lnTo>
                  <a:lnTo>
                    <a:pt x="391" y="585"/>
                  </a:lnTo>
                  <a:lnTo>
                    <a:pt x="391" y="587"/>
                  </a:lnTo>
                  <a:lnTo>
                    <a:pt x="389" y="587"/>
                  </a:lnTo>
                  <a:lnTo>
                    <a:pt x="391" y="589"/>
                  </a:lnTo>
                  <a:lnTo>
                    <a:pt x="392" y="590"/>
                  </a:lnTo>
                  <a:lnTo>
                    <a:pt x="391" y="594"/>
                  </a:lnTo>
                  <a:lnTo>
                    <a:pt x="391" y="596"/>
                  </a:lnTo>
                  <a:lnTo>
                    <a:pt x="391" y="599"/>
                  </a:lnTo>
                  <a:lnTo>
                    <a:pt x="392" y="601"/>
                  </a:lnTo>
                  <a:lnTo>
                    <a:pt x="392" y="603"/>
                  </a:lnTo>
                  <a:lnTo>
                    <a:pt x="392" y="605"/>
                  </a:lnTo>
                  <a:lnTo>
                    <a:pt x="391" y="607"/>
                  </a:lnTo>
                  <a:lnTo>
                    <a:pt x="391" y="608"/>
                  </a:lnTo>
                  <a:lnTo>
                    <a:pt x="392" y="612"/>
                  </a:lnTo>
                  <a:lnTo>
                    <a:pt x="392" y="614"/>
                  </a:lnTo>
                  <a:lnTo>
                    <a:pt x="391" y="615"/>
                  </a:lnTo>
                  <a:lnTo>
                    <a:pt x="389" y="618"/>
                  </a:lnTo>
                  <a:lnTo>
                    <a:pt x="388" y="619"/>
                  </a:lnTo>
                  <a:lnTo>
                    <a:pt x="388" y="623"/>
                  </a:lnTo>
                  <a:lnTo>
                    <a:pt x="391" y="625"/>
                  </a:lnTo>
                  <a:lnTo>
                    <a:pt x="392" y="629"/>
                  </a:lnTo>
                  <a:lnTo>
                    <a:pt x="393" y="629"/>
                  </a:lnTo>
                  <a:lnTo>
                    <a:pt x="393" y="626"/>
                  </a:lnTo>
                  <a:lnTo>
                    <a:pt x="393" y="624"/>
                  </a:lnTo>
                  <a:lnTo>
                    <a:pt x="393" y="621"/>
                  </a:lnTo>
                  <a:lnTo>
                    <a:pt x="393" y="620"/>
                  </a:lnTo>
                  <a:lnTo>
                    <a:pt x="394" y="620"/>
                  </a:lnTo>
                  <a:lnTo>
                    <a:pt x="395" y="624"/>
                  </a:lnTo>
                  <a:lnTo>
                    <a:pt x="397" y="623"/>
                  </a:lnTo>
                  <a:lnTo>
                    <a:pt x="397" y="619"/>
                  </a:lnTo>
                  <a:lnTo>
                    <a:pt x="397" y="618"/>
                  </a:lnTo>
                  <a:lnTo>
                    <a:pt x="397" y="615"/>
                  </a:lnTo>
                  <a:lnTo>
                    <a:pt x="397" y="613"/>
                  </a:lnTo>
                  <a:lnTo>
                    <a:pt x="397" y="611"/>
                  </a:lnTo>
                  <a:lnTo>
                    <a:pt x="395" y="609"/>
                  </a:lnTo>
                  <a:lnTo>
                    <a:pt x="394" y="608"/>
                  </a:lnTo>
                  <a:lnTo>
                    <a:pt x="395" y="609"/>
                  </a:lnTo>
                  <a:lnTo>
                    <a:pt x="399" y="612"/>
                  </a:lnTo>
                  <a:lnTo>
                    <a:pt x="400" y="612"/>
                  </a:lnTo>
                  <a:lnTo>
                    <a:pt x="401" y="613"/>
                  </a:lnTo>
                  <a:lnTo>
                    <a:pt x="400" y="615"/>
                  </a:lnTo>
                  <a:lnTo>
                    <a:pt x="399" y="618"/>
                  </a:lnTo>
                  <a:lnTo>
                    <a:pt x="400" y="618"/>
                  </a:lnTo>
                  <a:lnTo>
                    <a:pt x="401" y="617"/>
                  </a:lnTo>
                  <a:lnTo>
                    <a:pt x="404" y="618"/>
                  </a:lnTo>
                  <a:lnTo>
                    <a:pt x="406" y="620"/>
                  </a:lnTo>
                  <a:lnTo>
                    <a:pt x="409" y="620"/>
                  </a:lnTo>
                  <a:lnTo>
                    <a:pt x="410" y="619"/>
                  </a:lnTo>
                  <a:lnTo>
                    <a:pt x="407" y="617"/>
                  </a:lnTo>
                  <a:lnTo>
                    <a:pt x="406" y="617"/>
                  </a:lnTo>
                  <a:lnTo>
                    <a:pt x="406" y="614"/>
                  </a:lnTo>
                  <a:lnTo>
                    <a:pt x="409" y="615"/>
                  </a:lnTo>
                  <a:lnTo>
                    <a:pt x="410" y="615"/>
                  </a:lnTo>
                  <a:lnTo>
                    <a:pt x="411" y="614"/>
                  </a:lnTo>
                  <a:lnTo>
                    <a:pt x="412" y="613"/>
                  </a:lnTo>
                  <a:lnTo>
                    <a:pt x="412" y="609"/>
                  </a:lnTo>
                  <a:lnTo>
                    <a:pt x="411" y="608"/>
                  </a:lnTo>
                  <a:lnTo>
                    <a:pt x="410" y="612"/>
                  </a:lnTo>
                  <a:lnTo>
                    <a:pt x="409" y="612"/>
                  </a:lnTo>
                  <a:lnTo>
                    <a:pt x="409" y="611"/>
                  </a:lnTo>
                  <a:lnTo>
                    <a:pt x="407" y="609"/>
                  </a:lnTo>
                  <a:lnTo>
                    <a:pt x="405" y="611"/>
                  </a:lnTo>
                  <a:lnTo>
                    <a:pt x="404" y="611"/>
                  </a:lnTo>
                  <a:lnTo>
                    <a:pt x="403" y="609"/>
                  </a:lnTo>
                  <a:lnTo>
                    <a:pt x="404" y="608"/>
                  </a:lnTo>
                  <a:lnTo>
                    <a:pt x="405" y="607"/>
                  </a:lnTo>
                  <a:lnTo>
                    <a:pt x="404" y="606"/>
                  </a:lnTo>
                  <a:lnTo>
                    <a:pt x="401" y="605"/>
                  </a:lnTo>
                  <a:lnTo>
                    <a:pt x="399" y="607"/>
                  </a:lnTo>
                  <a:lnTo>
                    <a:pt x="398" y="607"/>
                  </a:lnTo>
                  <a:lnTo>
                    <a:pt x="398" y="606"/>
                  </a:lnTo>
                  <a:lnTo>
                    <a:pt x="398" y="605"/>
                  </a:lnTo>
                  <a:lnTo>
                    <a:pt x="397" y="603"/>
                  </a:lnTo>
                  <a:lnTo>
                    <a:pt x="397" y="601"/>
                  </a:lnTo>
                  <a:lnTo>
                    <a:pt x="395" y="600"/>
                  </a:lnTo>
                  <a:lnTo>
                    <a:pt x="395" y="597"/>
                  </a:lnTo>
                  <a:lnTo>
                    <a:pt x="395" y="594"/>
                  </a:lnTo>
                  <a:lnTo>
                    <a:pt x="395" y="593"/>
                  </a:lnTo>
                  <a:lnTo>
                    <a:pt x="397" y="597"/>
                  </a:lnTo>
                  <a:lnTo>
                    <a:pt x="397" y="599"/>
                  </a:lnTo>
                  <a:lnTo>
                    <a:pt x="398" y="599"/>
                  </a:lnTo>
                  <a:lnTo>
                    <a:pt x="398" y="595"/>
                  </a:lnTo>
                  <a:lnTo>
                    <a:pt x="398" y="593"/>
                  </a:lnTo>
                  <a:lnTo>
                    <a:pt x="398" y="590"/>
                  </a:lnTo>
                  <a:lnTo>
                    <a:pt x="397" y="588"/>
                  </a:lnTo>
                  <a:lnTo>
                    <a:pt x="394" y="588"/>
                  </a:lnTo>
                  <a:lnTo>
                    <a:pt x="394" y="587"/>
                  </a:lnTo>
                  <a:lnTo>
                    <a:pt x="394" y="585"/>
                  </a:lnTo>
                  <a:lnTo>
                    <a:pt x="395" y="583"/>
                  </a:lnTo>
                  <a:lnTo>
                    <a:pt x="393" y="579"/>
                  </a:lnTo>
                  <a:lnTo>
                    <a:pt x="393" y="576"/>
                  </a:lnTo>
                  <a:lnTo>
                    <a:pt x="393" y="573"/>
                  </a:lnTo>
                  <a:lnTo>
                    <a:pt x="394" y="573"/>
                  </a:lnTo>
                  <a:lnTo>
                    <a:pt x="397" y="575"/>
                  </a:lnTo>
                  <a:lnTo>
                    <a:pt x="398" y="577"/>
                  </a:lnTo>
                  <a:lnTo>
                    <a:pt x="400" y="579"/>
                  </a:lnTo>
                  <a:lnTo>
                    <a:pt x="401" y="582"/>
                  </a:lnTo>
                  <a:lnTo>
                    <a:pt x="403" y="583"/>
                  </a:lnTo>
                  <a:lnTo>
                    <a:pt x="405" y="585"/>
                  </a:lnTo>
                  <a:lnTo>
                    <a:pt x="404" y="587"/>
                  </a:lnTo>
                  <a:lnTo>
                    <a:pt x="401" y="585"/>
                  </a:lnTo>
                  <a:lnTo>
                    <a:pt x="400" y="585"/>
                  </a:lnTo>
                  <a:lnTo>
                    <a:pt x="400" y="587"/>
                  </a:lnTo>
                  <a:lnTo>
                    <a:pt x="400" y="589"/>
                  </a:lnTo>
                  <a:lnTo>
                    <a:pt x="401" y="591"/>
                  </a:lnTo>
                  <a:lnTo>
                    <a:pt x="400" y="593"/>
                  </a:lnTo>
                  <a:lnTo>
                    <a:pt x="401" y="595"/>
                  </a:lnTo>
                  <a:lnTo>
                    <a:pt x="404" y="593"/>
                  </a:lnTo>
                  <a:lnTo>
                    <a:pt x="405" y="591"/>
                  </a:lnTo>
                  <a:lnTo>
                    <a:pt x="406" y="590"/>
                  </a:lnTo>
                  <a:lnTo>
                    <a:pt x="409" y="591"/>
                  </a:lnTo>
                  <a:lnTo>
                    <a:pt x="407" y="593"/>
                  </a:lnTo>
                  <a:lnTo>
                    <a:pt x="406" y="594"/>
                  </a:lnTo>
                  <a:lnTo>
                    <a:pt x="404" y="595"/>
                  </a:lnTo>
                  <a:lnTo>
                    <a:pt x="399" y="597"/>
                  </a:lnTo>
                  <a:lnTo>
                    <a:pt x="399" y="600"/>
                  </a:lnTo>
                  <a:lnTo>
                    <a:pt x="403" y="600"/>
                  </a:lnTo>
                  <a:lnTo>
                    <a:pt x="404" y="597"/>
                  </a:lnTo>
                  <a:lnTo>
                    <a:pt x="406" y="597"/>
                  </a:lnTo>
                  <a:lnTo>
                    <a:pt x="409" y="596"/>
                  </a:lnTo>
                  <a:lnTo>
                    <a:pt x="411" y="596"/>
                  </a:lnTo>
                  <a:lnTo>
                    <a:pt x="413" y="595"/>
                  </a:lnTo>
                  <a:lnTo>
                    <a:pt x="416" y="594"/>
                  </a:lnTo>
                  <a:lnTo>
                    <a:pt x="418" y="596"/>
                  </a:lnTo>
                  <a:lnTo>
                    <a:pt x="417" y="597"/>
                  </a:lnTo>
                  <a:lnTo>
                    <a:pt x="415" y="599"/>
                  </a:lnTo>
                  <a:lnTo>
                    <a:pt x="413" y="599"/>
                  </a:lnTo>
                  <a:lnTo>
                    <a:pt x="410" y="599"/>
                  </a:lnTo>
                  <a:lnTo>
                    <a:pt x="410" y="600"/>
                  </a:lnTo>
                  <a:lnTo>
                    <a:pt x="411" y="601"/>
                  </a:lnTo>
                  <a:lnTo>
                    <a:pt x="413" y="602"/>
                  </a:lnTo>
                  <a:lnTo>
                    <a:pt x="416" y="601"/>
                  </a:lnTo>
                  <a:lnTo>
                    <a:pt x="417" y="602"/>
                  </a:lnTo>
                  <a:lnTo>
                    <a:pt x="415" y="605"/>
                  </a:lnTo>
                  <a:lnTo>
                    <a:pt x="412" y="605"/>
                  </a:lnTo>
                  <a:lnTo>
                    <a:pt x="411" y="603"/>
                  </a:lnTo>
                  <a:lnTo>
                    <a:pt x="411" y="602"/>
                  </a:lnTo>
                  <a:lnTo>
                    <a:pt x="410" y="601"/>
                  </a:lnTo>
                  <a:lnTo>
                    <a:pt x="409" y="602"/>
                  </a:lnTo>
                  <a:lnTo>
                    <a:pt x="406" y="602"/>
                  </a:lnTo>
                  <a:lnTo>
                    <a:pt x="405" y="602"/>
                  </a:lnTo>
                  <a:lnTo>
                    <a:pt x="404" y="602"/>
                  </a:lnTo>
                  <a:lnTo>
                    <a:pt x="403" y="601"/>
                  </a:lnTo>
                  <a:lnTo>
                    <a:pt x="401" y="602"/>
                  </a:lnTo>
                  <a:lnTo>
                    <a:pt x="401" y="603"/>
                  </a:lnTo>
                  <a:lnTo>
                    <a:pt x="404" y="603"/>
                  </a:lnTo>
                  <a:lnTo>
                    <a:pt x="406" y="605"/>
                  </a:lnTo>
                  <a:lnTo>
                    <a:pt x="407" y="606"/>
                  </a:lnTo>
                  <a:lnTo>
                    <a:pt x="406" y="607"/>
                  </a:lnTo>
                  <a:lnTo>
                    <a:pt x="409" y="607"/>
                  </a:lnTo>
                  <a:lnTo>
                    <a:pt x="409" y="606"/>
                  </a:lnTo>
                  <a:lnTo>
                    <a:pt x="410" y="607"/>
                  </a:lnTo>
                  <a:lnTo>
                    <a:pt x="411" y="607"/>
                  </a:lnTo>
                  <a:lnTo>
                    <a:pt x="413" y="608"/>
                  </a:lnTo>
                  <a:lnTo>
                    <a:pt x="415" y="609"/>
                  </a:lnTo>
                  <a:lnTo>
                    <a:pt x="415" y="611"/>
                  </a:lnTo>
                  <a:lnTo>
                    <a:pt x="413" y="612"/>
                  </a:lnTo>
                  <a:lnTo>
                    <a:pt x="413" y="613"/>
                  </a:lnTo>
                  <a:lnTo>
                    <a:pt x="413" y="615"/>
                  </a:lnTo>
                  <a:lnTo>
                    <a:pt x="415" y="615"/>
                  </a:lnTo>
                  <a:lnTo>
                    <a:pt x="416" y="614"/>
                  </a:lnTo>
                  <a:lnTo>
                    <a:pt x="416" y="613"/>
                  </a:lnTo>
                  <a:lnTo>
                    <a:pt x="416" y="612"/>
                  </a:lnTo>
                  <a:lnTo>
                    <a:pt x="417" y="611"/>
                  </a:lnTo>
                  <a:lnTo>
                    <a:pt x="419" y="608"/>
                  </a:lnTo>
                  <a:lnTo>
                    <a:pt x="419" y="607"/>
                  </a:lnTo>
                  <a:lnTo>
                    <a:pt x="421" y="607"/>
                  </a:lnTo>
                  <a:lnTo>
                    <a:pt x="423" y="607"/>
                  </a:lnTo>
                  <a:lnTo>
                    <a:pt x="424" y="606"/>
                  </a:lnTo>
                  <a:lnTo>
                    <a:pt x="424" y="608"/>
                  </a:lnTo>
                  <a:lnTo>
                    <a:pt x="423" y="609"/>
                  </a:lnTo>
                  <a:lnTo>
                    <a:pt x="421" y="611"/>
                  </a:lnTo>
                  <a:lnTo>
                    <a:pt x="421" y="612"/>
                  </a:lnTo>
                  <a:lnTo>
                    <a:pt x="421" y="613"/>
                  </a:lnTo>
                  <a:lnTo>
                    <a:pt x="422" y="614"/>
                  </a:lnTo>
                  <a:lnTo>
                    <a:pt x="419" y="614"/>
                  </a:lnTo>
                  <a:lnTo>
                    <a:pt x="418" y="612"/>
                  </a:lnTo>
                  <a:lnTo>
                    <a:pt x="417" y="614"/>
                  </a:lnTo>
                  <a:lnTo>
                    <a:pt x="417" y="617"/>
                  </a:lnTo>
                  <a:lnTo>
                    <a:pt x="417" y="619"/>
                  </a:lnTo>
                  <a:lnTo>
                    <a:pt x="416" y="621"/>
                  </a:lnTo>
                  <a:lnTo>
                    <a:pt x="413" y="624"/>
                  </a:lnTo>
                  <a:lnTo>
                    <a:pt x="410" y="626"/>
                  </a:lnTo>
                  <a:lnTo>
                    <a:pt x="405" y="631"/>
                  </a:lnTo>
                  <a:lnTo>
                    <a:pt x="405" y="635"/>
                  </a:lnTo>
                  <a:lnTo>
                    <a:pt x="405" y="637"/>
                  </a:lnTo>
                  <a:lnTo>
                    <a:pt x="404" y="640"/>
                  </a:lnTo>
                  <a:lnTo>
                    <a:pt x="403" y="643"/>
                  </a:lnTo>
                  <a:lnTo>
                    <a:pt x="400" y="646"/>
                  </a:lnTo>
                  <a:lnTo>
                    <a:pt x="398" y="646"/>
                  </a:lnTo>
                  <a:lnTo>
                    <a:pt x="397" y="646"/>
                  </a:lnTo>
                  <a:lnTo>
                    <a:pt x="394" y="647"/>
                  </a:lnTo>
                  <a:lnTo>
                    <a:pt x="394" y="648"/>
                  </a:lnTo>
                  <a:lnTo>
                    <a:pt x="393" y="650"/>
                  </a:lnTo>
                  <a:lnTo>
                    <a:pt x="394" y="653"/>
                  </a:lnTo>
                  <a:lnTo>
                    <a:pt x="395" y="654"/>
                  </a:lnTo>
                  <a:lnTo>
                    <a:pt x="393" y="658"/>
                  </a:lnTo>
                  <a:lnTo>
                    <a:pt x="392" y="660"/>
                  </a:lnTo>
                  <a:lnTo>
                    <a:pt x="391" y="661"/>
                  </a:lnTo>
                  <a:lnTo>
                    <a:pt x="389" y="664"/>
                  </a:lnTo>
                  <a:lnTo>
                    <a:pt x="391" y="664"/>
                  </a:lnTo>
                  <a:lnTo>
                    <a:pt x="392" y="662"/>
                  </a:lnTo>
                  <a:lnTo>
                    <a:pt x="393" y="661"/>
                  </a:lnTo>
                  <a:lnTo>
                    <a:pt x="392" y="666"/>
                  </a:lnTo>
                  <a:lnTo>
                    <a:pt x="392" y="668"/>
                  </a:lnTo>
                  <a:lnTo>
                    <a:pt x="392" y="671"/>
                  </a:lnTo>
                  <a:lnTo>
                    <a:pt x="392" y="674"/>
                  </a:lnTo>
                  <a:lnTo>
                    <a:pt x="392" y="677"/>
                  </a:lnTo>
                  <a:lnTo>
                    <a:pt x="392" y="678"/>
                  </a:lnTo>
                  <a:lnTo>
                    <a:pt x="393" y="677"/>
                  </a:lnTo>
                  <a:lnTo>
                    <a:pt x="393" y="673"/>
                  </a:lnTo>
                  <a:lnTo>
                    <a:pt x="393" y="671"/>
                  </a:lnTo>
                  <a:lnTo>
                    <a:pt x="394" y="670"/>
                  </a:lnTo>
                  <a:lnTo>
                    <a:pt x="394" y="668"/>
                  </a:lnTo>
                  <a:lnTo>
                    <a:pt x="394" y="665"/>
                  </a:lnTo>
                  <a:lnTo>
                    <a:pt x="395" y="664"/>
                  </a:lnTo>
                  <a:lnTo>
                    <a:pt x="397" y="664"/>
                  </a:lnTo>
                  <a:lnTo>
                    <a:pt x="398" y="661"/>
                  </a:lnTo>
                  <a:lnTo>
                    <a:pt x="398" y="660"/>
                  </a:lnTo>
                  <a:lnTo>
                    <a:pt x="398" y="658"/>
                  </a:lnTo>
                  <a:lnTo>
                    <a:pt x="399" y="653"/>
                  </a:lnTo>
                  <a:lnTo>
                    <a:pt x="399" y="652"/>
                  </a:lnTo>
                  <a:lnTo>
                    <a:pt x="400" y="652"/>
                  </a:lnTo>
                  <a:lnTo>
                    <a:pt x="400" y="655"/>
                  </a:lnTo>
                  <a:lnTo>
                    <a:pt x="399" y="658"/>
                  </a:lnTo>
                  <a:lnTo>
                    <a:pt x="400" y="660"/>
                  </a:lnTo>
                  <a:lnTo>
                    <a:pt x="403" y="662"/>
                  </a:lnTo>
                  <a:lnTo>
                    <a:pt x="404" y="662"/>
                  </a:lnTo>
                  <a:lnTo>
                    <a:pt x="405" y="661"/>
                  </a:lnTo>
                  <a:lnTo>
                    <a:pt x="406" y="659"/>
                  </a:lnTo>
                  <a:lnTo>
                    <a:pt x="406" y="656"/>
                  </a:lnTo>
                  <a:lnTo>
                    <a:pt x="405" y="655"/>
                  </a:lnTo>
                  <a:lnTo>
                    <a:pt x="405" y="653"/>
                  </a:lnTo>
                  <a:lnTo>
                    <a:pt x="405" y="649"/>
                  </a:lnTo>
                  <a:lnTo>
                    <a:pt x="405" y="647"/>
                  </a:lnTo>
                  <a:lnTo>
                    <a:pt x="404" y="646"/>
                  </a:lnTo>
                  <a:lnTo>
                    <a:pt x="404" y="643"/>
                  </a:lnTo>
                  <a:lnTo>
                    <a:pt x="406" y="641"/>
                  </a:lnTo>
                  <a:lnTo>
                    <a:pt x="407" y="638"/>
                  </a:lnTo>
                  <a:lnTo>
                    <a:pt x="409" y="637"/>
                  </a:lnTo>
                  <a:lnTo>
                    <a:pt x="411" y="633"/>
                  </a:lnTo>
                  <a:lnTo>
                    <a:pt x="412" y="632"/>
                  </a:lnTo>
                  <a:lnTo>
                    <a:pt x="415" y="629"/>
                  </a:lnTo>
                  <a:lnTo>
                    <a:pt x="413" y="632"/>
                  </a:lnTo>
                  <a:lnTo>
                    <a:pt x="412" y="635"/>
                  </a:lnTo>
                  <a:lnTo>
                    <a:pt x="410" y="636"/>
                  </a:lnTo>
                  <a:lnTo>
                    <a:pt x="410" y="638"/>
                  </a:lnTo>
                  <a:lnTo>
                    <a:pt x="410" y="641"/>
                  </a:lnTo>
                  <a:lnTo>
                    <a:pt x="409" y="641"/>
                  </a:lnTo>
                  <a:lnTo>
                    <a:pt x="407" y="641"/>
                  </a:lnTo>
                  <a:lnTo>
                    <a:pt x="407" y="642"/>
                  </a:lnTo>
                  <a:lnTo>
                    <a:pt x="406" y="647"/>
                  </a:lnTo>
                  <a:lnTo>
                    <a:pt x="406" y="652"/>
                  </a:lnTo>
                  <a:lnTo>
                    <a:pt x="406" y="654"/>
                  </a:lnTo>
                  <a:lnTo>
                    <a:pt x="407" y="655"/>
                  </a:lnTo>
                  <a:lnTo>
                    <a:pt x="409" y="654"/>
                  </a:lnTo>
                  <a:lnTo>
                    <a:pt x="409" y="650"/>
                  </a:lnTo>
                  <a:lnTo>
                    <a:pt x="410" y="650"/>
                  </a:lnTo>
                  <a:lnTo>
                    <a:pt x="411" y="654"/>
                  </a:lnTo>
                  <a:lnTo>
                    <a:pt x="412" y="653"/>
                  </a:lnTo>
                  <a:lnTo>
                    <a:pt x="412" y="649"/>
                  </a:lnTo>
                  <a:lnTo>
                    <a:pt x="412" y="648"/>
                  </a:lnTo>
                  <a:lnTo>
                    <a:pt x="411" y="647"/>
                  </a:lnTo>
                  <a:lnTo>
                    <a:pt x="409" y="646"/>
                  </a:lnTo>
                  <a:lnTo>
                    <a:pt x="409" y="643"/>
                  </a:lnTo>
                  <a:lnTo>
                    <a:pt x="409" y="642"/>
                  </a:lnTo>
                  <a:lnTo>
                    <a:pt x="411" y="640"/>
                  </a:lnTo>
                  <a:lnTo>
                    <a:pt x="412" y="638"/>
                  </a:lnTo>
                  <a:lnTo>
                    <a:pt x="412" y="636"/>
                  </a:lnTo>
                  <a:lnTo>
                    <a:pt x="413" y="635"/>
                  </a:lnTo>
                  <a:lnTo>
                    <a:pt x="415" y="632"/>
                  </a:lnTo>
                  <a:lnTo>
                    <a:pt x="416" y="630"/>
                  </a:lnTo>
                  <a:lnTo>
                    <a:pt x="417" y="629"/>
                  </a:lnTo>
                  <a:lnTo>
                    <a:pt x="418" y="627"/>
                  </a:lnTo>
                  <a:lnTo>
                    <a:pt x="419" y="626"/>
                  </a:lnTo>
                  <a:lnTo>
                    <a:pt x="419" y="629"/>
                  </a:lnTo>
                  <a:lnTo>
                    <a:pt x="421" y="630"/>
                  </a:lnTo>
                  <a:lnTo>
                    <a:pt x="419" y="631"/>
                  </a:lnTo>
                  <a:lnTo>
                    <a:pt x="417" y="631"/>
                  </a:lnTo>
                  <a:lnTo>
                    <a:pt x="417" y="632"/>
                  </a:lnTo>
                  <a:lnTo>
                    <a:pt x="418" y="633"/>
                  </a:lnTo>
                  <a:lnTo>
                    <a:pt x="419" y="633"/>
                  </a:lnTo>
                  <a:lnTo>
                    <a:pt x="419" y="635"/>
                  </a:lnTo>
                  <a:lnTo>
                    <a:pt x="419" y="636"/>
                  </a:lnTo>
                  <a:lnTo>
                    <a:pt x="417" y="637"/>
                  </a:lnTo>
                  <a:lnTo>
                    <a:pt x="417" y="641"/>
                  </a:lnTo>
                  <a:lnTo>
                    <a:pt x="417" y="646"/>
                  </a:lnTo>
                  <a:lnTo>
                    <a:pt x="417" y="649"/>
                  </a:lnTo>
                  <a:lnTo>
                    <a:pt x="418" y="647"/>
                  </a:lnTo>
                  <a:lnTo>
                    <a:pt x="419" y="642"/>
                  </a:lnTo>
                  <a:lnTo>
                    <a:pt x="419" y="640"/>
                  </a:lnTo>
                  <a:lnTo>
                    <a:pt x="421" y="638"/>
                  </a:lnTo>
                  <a:lnTo>
                    <a:pt x="422" y="638"/>
                  </a:lnTo>
                  <a:lnTo>
                    <a:pt x="423" y="635"/>
                  </a:lnTo>
                  <a:lnTo>
                    <a:pt x="423" y="631"/>
                  </a:lnTo>
                  <a:lnTo>
                    <a:pt x="422" y="629"/>
                  </a:lnTo>
                  <a:lnTo>
                    <a:pt x="422" y="627"/>
                  </a:lnTo>
                  <a:lnTo>
                    <a:pt x="422" y="623"/>
                  </a:lnTo>
                  <a:lnTo>
                    <a:pt x="423" y="625"/>
                  </a:lnTo>
                  <a:lnTo>
                    <a:pt x="423" y="626"/>
                  </a:lnTo>
                  <a:lnTo>
                    <a:pt x="424" y="627"/>
                  </a:lnTo>
                  <a:lnTo>
                    <a:pt x="424" y="629"/>
                  </a:lnTo>
                  <a:lnTo>
                    <a:pt x="424" y="632"/>
                  </a:lnTo>
                  <a:lnTo>
                    <a:pt x="425" y="631"/>
                  </a:lnTo>
                  <a:lnTo>
                    <a:pt x="427" y="630"/>
                  </a:lnTo>
                  <a:lnTo>
                    <a:pt x="425" y="633"/>
                  </a:lnTo>
                  <a:lnTo>
                    <a:pt x="425" y="636"/>
                  </a:lnTo>
                  <a:lnTo>
                    <a:pt x="424" y="637"/>
                  </a:lnTo>
                  <a:lnTo>
                    <a:pt x="424" y="640"/>
                  </a:lnTo>
                  <a:lnTo>
                    <a:pt x="425" y="640"/>
                  </a:lnTo>
                  <a:lnTo>
                    <a:pt x="428" y="640"/>
                  </a:lnTo>
                  <a:lnTo>
                    <a:pt x="430" y="638"/>
                  </a:lnTo>
                  <a:lnTo>
                    <a:pt x="431" y="637"/>
                  </a:lnTo>
                  <a:lnTo>
                    <a:pt x="431" y="636"/>
                  </a:lnTo>
                  <a:lnTo>
                    <a:pt x="431" y="637"/>
                  </a:lnTo>
                  <a:lnTo>
                    <a:pt x="433" y="640"/>
                  </a:lnTo>
                  <a:lnTo>
                    <a:pt x="436" y="642"/>
                  </a:lnTo>
                  <a:lnTo>
                    <a:pt x="439" y="643"/>
                  </a:lnTo>
                  <a:lnTo>
                    <a:pt x="440" y="642"/>
                  </a:lnTo>
                  <a:lnTo>
                    <a:pt x="438" y="640"/>
                  </a:lnTo>
                  <a:lnTo>
                    <a:pt x="436" y="637"/>
                  </a:lnTo>
                  <a:lnTo>
                    <a:pt x="438" y="637"/>
                  </a:lnTo>
                  <a:lnTo>
                    <a:pt x="440" y="640"/>
                  </a:lnTo>
                  <a:lnTo>
                    <a:pt x="442" y="640"/>
                  </a:lnTo>
                  <a:lnTo>
                    <a:pt x="444" y="640"/>
                  </a:lnTo>
                  <a:lnTo>
                    <a:pt x="447" y="637"/>
                  </a:lnTo>
                  <a:lnTo>
                    <a:pt x="447" y="636"/>
                  </a:lnTo>
                  <a:lnTo>
                    <a:pt x="445" y="636"/>
                  </a:lnTo>
                  <a:lnTo>
                    <a:pt x="442" y="636"/>
                  </a:lnTo>
                  <a:lnTo>
                    <a:pt x="439" y="635"/>
                  </a:lnTo>
                  <a:lnTo>
                    <a:pt x="438" y="633"/>
                  </a:lnTo>
                  <a:lnTo>
                    <a:pt x="435" y="632"/>
                  </a:lnTo>
                  <a:lnTo>
                    <a:pt x="434" y="630"/>
                  </a:lnTo>
                  <a:lnTo>
                    <a:pt x="433" y="630"/>
                  </a:lnTo>
                  <a:lnTo>
                    <a:pt x="430" y="627"/>
                  </a:lnTo>
                  <a:lnTo>
                    <a:pt x="429" y="625"/>
                  </a:lnTo>
                  <a:lnTo>
                    <a:pt x="427" y="624"/>
                  </a:lnTo>
                  <a:lnTo>
                    <a:pt x="424" y="623"/>
                  </a:lnTo>
                  <a:lnTo>
                    <a:pt x="425" y="619"/>
                  </a:lnTo>
                  <a:lnTo>
                    <a:pt x="428" y="617"/>
                  </a:lnTo>
                  <a:lnTo>
                    <a:pt x="431" y="614"/>
                  </a:lnTo>
                  <a:lnTo>
                    <a:pt x="434" y="613"/>
                  </a:lnTo>
                  <a:lnTo>
                    <a:pt x="438" y="611"/>
                  </a:lnTo>
                  <a:lnTo>
                    <a:pt x="440" y="608"/>
                  </a:lnTo>
                  <a:lnTo>
                    <a:pt x="444" y="606"/>
                  </a:lnTo>
                  <a:lnTo>
                    <a:pt x="446" y="606"/>
                  </a:lnTo>
                  <a:lnTo>
                    <a:pt x="448" y="609"/>
                  </a:lnTo>
                  <a:lnTo>
                    <a:pt x="448" y="614"/>
                  </a:lnTo>
                  <a:lnTo>
                    <a:pt x="446" y="618"/>
                  </a:lnTo>
                  <a:lnTo>
                    <a:pt x="442" y="621"/>
                  </a:lnTo>
                  <a:lnTo>
                    <a:pt x="440" y="624"/>
                  </a:lnTo>
                  <a:lnTo>
                    <a:pt x="438" y="626"/>
                  </a:lnTo>
                  <a:lnTo>
                    <a:pt x="434" y="626"/>
                  </a:lnTo>
                  <a:lnTo>
                    <a:pt x="433" y="627"/>
                  </a:lnTo>
                  <a:lnTo>
                    <a:pt x="435" y="629"/>
                  </a:lnTo>
                  <a:lnTo>
                    <a:pt x="438" y="627"/>
                  </a:lnTo>
                  <a:lnTo>
                    <a:pt x="441" y="625"/>
                  </a:lnTo>
                  <a:lnTo>
                    <a:pt x="444" y="623"/>
                  </a:lnTo>
                  <a:lnTo>
                    <a:pt x="446" y="620"/>
                  </a:lnTo>
                  <a:lnTo>
                    <a:pt x="448" y="619"/>
                  </a:lnTo>
                  <a:lnTo>
                    <a:pt x="446" y="623"/>
                  </a:lnTo>
                  <a:lnTo>
                    <a:pt x="446" y="625"/>
                  </a:lnTo>
                  <a:lnTo>
                    <a:pt x="446" y="627"/>
                  </a:lnTo>
                  <a:lnTo>
                    <a:pt x="447" y="632"/>
                  </a:lnTo>
                  <a:lnTo>
                    <a:pt x="448" y="632"/>
                  </a:lnTo>
                  <a:lnTo>
                    <a:pt x="448" y="629"/>
                  </a:lnTo>
                  <a:lnTo>
                    <a:pt x="448" y="626"/>
                  </a:lnTo>
                  <a:lnTo>
                    <a:pt x="448" y="624"/>
                  </a:lnTo>
                  <a:lnTo>
                    <a:pt x="448" y="623"/>
                  </a:lnTo>
                  <a:lnTo>
                    <a:pt x="450" y="621"/>
                  </a:lnTo>
                  <a:lnTo>
                    <a:pt x="450" y="619"/>
                  </a:lnTo>
                  <a:lnTo>
                    <a:pt x="451" y="618"/>
                  </a:lnTo>
                  <a:lnTo>
                    <a:pt x="452" y="619"/>
                  </a:lnTo>
                  <a:lnTo>
                    <a:pt x="453" y="617"/>
                  </a:lnTo>
                  <a:lnTo>
                    <a:pt x="453" y="615"/>
                  </a:lnTo>
                  <a:lnTo>
                    <a:pt x="452" y="613"/>
                  </a:lnTo>
                  <a:lnTo>
                    <a:pt x="451" y="611"/>
                  </a:lnTo>
                  <a:lnTo>
                    <a:pt x="453" y="612"/>
                  </a:lnTo>
                  <a:lnTo>
                    <a:pt x="456" y="615"/>
                  </a:lnTo>
                  <a:lnTo>
                    <a:pt x="458" y="617"/>
                  </a:lnTo>
                  <a:lnTo>
                    <a:pt x="459" y="619"/>
                  </a:lnTo>
                  <a:lnTo>
                    <a:pt x="458" y="624"/>
                  </a:lnTo>
                  <a:lnTo>
                    <a:pt x="456" y="629"/>
                  </a:lnTo>
                  <a:lnTo>
                    <a:pt x="451" y="638"/>
                  </a:lnTo>
                  <a:lnTo>
                    <a:pt x="444" y="644"/>
                  </a:lnTo>
                  <a:lnTo>
                    <a:pt x="441" y="648"/>
                  </a:lnTo>
                  <a:lnTo>
                    <a:pt x="440" y="650"/>
                  </a:lnTo>
                  <a:lnTo>
                    <a:pt x="438" y="653"/>
                  </a:lnTo>
                  <a:lnTo>
                    <a:pt x="436" y="653"/>
                  </a:lnTo>
                  <a:lnTo>
                    <a:pt x="434" y="653"/>
                  </a:lnTo>
                  <a:lnTo>
                    <a:pt x="431" y="653"/>
                  </a:lnTo>
                  <a:lnTo>
                    <a:pt x="428" y="652"/>
                  </a:lnTo>
                  <a:lnTo>
                    <a:pt x="425" y="649"/>
                  </a:lnTo>
                  <a:lnTo>
                    <a:pt x="424" y="648"/>
                  </a:lnTo>
                  <a:lnTo>
                    <a:pt x="423" y="644"/>
                  </a:lnTo>
                  <a:lnTo>
                    <a:pt x="423" y="642"/>
                  </a:lnTo>
                  <a:lnTo>
                    <a:pt x="422" y="642"/>
                  </a:lnTo>
                  <a:lnTo>
                    <a:pt x="421" y="644"/>
                  </a:lnTo>
                  <a:lnTo>
                    <a:pt x="421" y="647"/>
                  </a:lnTo>
                  <a:lnTo>
                    <a:pt x="422" y="648"/>
                  </a:lnTo>
                  <a:lnTo>
                    <a:pt x="424" y="650"/>
                  </a:lnTo>
                  <a:lnTo>
                    <a:pt x="427" y="653"/>
                  </a:lnTo>
                  <a:lnTo>
                    <a:pt x="428" y="654"/>
                  </a:lnTo>
                  <a:lnTo>
                    <a:pt x="430" y="655"/>
                  </a:lnTo>
                  <a:lnTo>
                    <a:pt x="433" y="658"/>
                  </a:lnTo>
                  <a:lnTo>
                    <a:pt x="433" y="660"/>
                  </a:lnTo>
                  <a:lnTo>
                    <a:pt x="430" y="658"/>
                  </a:lnTo>
                  <a:lnTo>
                    <a:pt x="428" y="655"/>
                  </a:lnTo>
                  <a:lnTo>
                    <a:pt x="425" y="655"/>
                  </a:lnTo>
                  <a:lnTo>
                    <a:pt x="423" y="655"/>
                  </a:lnTo>
                  <a:lnTo>
                    <a:pt x="423" y="658"/>
                  </a:lnTo>
                  <a:lnTo>
                    <a:pt x="425" y="659"/>
                  </a:lnTo>
                  <a:lnTo>
                    <a:pt x="424" y="660"/>
                  </a:lnTo>
                  <a:lnTo>
                    <a:pt x="423" y="659"/>
                  </a:lnTo>
                  <a:lnTo>
                    <a:pt x="421" y="658"/>
                  </a:lnTo>
                  <a:lnTo>
                    <a:pt x="419" y="658"/>
                  </a:lnTo>
                  <a:lnTo>
                    <a:pt x="422" y="660"/>
                  </a:lnTo>
                  <a:lnTo>
                    <a:pt x="423" y="662"/>
                  </a:lnTo>
                  <a:lnTo>
                    <a:pt x="422" y="664"/>
                  </a:lnTo>
                  <a:lnTo>
                    <a:pt x="421" y="666"/>
                  </a:lnTo>
                  <a:lnTo>
                    <a:pt x="419" y="666"/>
                  </a:lnTo>
                  <a:lnTo>
                    <a:pt x="418" y="666"/>
                  </a:lnTo>
                  <a:lnTo>
                    <a:pt x="416" y="665"/>
                  </a:lnTo>
                  <a:lnTo>
                    <a:pt x="416" y="666"/>
                  </a:lnTo>
                  <a:lnTo>
                    <a:pt x="417" y="667"/>
                  </a:lnTo>
                  <a:lnTo>
                    <a:pt x="412" y="673"/>
                  </a:lnTo>
                  <a:lnTo>
                    <a:pt x="409" y="674"/>
                  </a:lnTo>
                  <a:lnTo>
                    <a:pt x="406" y="678"/>
                  </a:lnTo>
                  <a:lnTo>
                    <a:pt x="404" y="680"/>
                  </a:lnTo>
                  <a:lnTo>
                    <a:pt x="403" y="684"/>
                  </a:lnTo>
                  <a:lnTo>
                    <a:pt x="403" y="688"/>
                  </a:lnTo>
                  <a:lnTo>
                    <a:pt x="404" y="688"/>
                  </a:lnTo>
                  <a:lnTo>
                    <a:pt x="405" y="685"/>
                  </a:lnTo>
                  <a:lnTo>
                    <a:pt x="405" y="683"/>
                  </a:lnTo>
                  <a:lnTo>
                    <a:pt x="407" y="680"/>
                  </a:lnTo>
                  <a:lnTo>
                    <a:pt x="410" y="679"/>
                  </a:lnTo>
                  <a:lnTo>
                    <a:pt x="412" y="676"/>
                  </a:lnTo>
                  <a:lnTo>
                    <a:pt x="415" y="673"/>
                  </a:lnTo>
                  <a:lnTo>
                    <a:pt x="417" y="671"/>
                  </a:lnTo>
                  <a:lnTo>
                    <a:pt x="419" y="670"/>
                  </a:lnTo>
                  <a:lnTo>
                    <a:pt x="422" y="667"/>
                  </a:lnTo>
                  <a:lnTo>
                    <a:pt x="424" y="665"/>
                  </a:lnTo>
                  <a:lnTo>
                    <a:pt x="427" y="666"/>
                  </a:lnTo>
                  <a:lnTo>
                    <a:pt x="428" y="667"/>
                  </a:lnTo>
                  <a:lnTo>
                    <a:pt x="425" y="671"/>
                  </a:lnTo>
                  <a:lnTo>
                    <a:pt x="424" y="673"/>
                  </a:lnTo>
                  <a:lnTo>
                    <a:pt x="423" y="674"/>
                  </a:lnTo>
                  <a:lnTo>
                    <a:pt x="425" y="674"/>
                  </a:lnTo>
                  <a:lnTo>
                    <a:pt x="428" y="671"/>
                  </a:lnTo>
                  <a:lnTo>
                    <a:pt x="429" y="670"/>
                  </a:lnTo>
                  <a:lnTo>
                    <a:pt x="430" y="670"/>
                  </a:lnTo>
                  <a:lnTo>
                    <a:pt x="433" y="667"/>
                  </a:lnTo>
                  <a:lnTo>
                    <a:pt x="431" y="665"/>
                  </a:lnTo>
                  <a:lnTo>
                    <a:pt x="431" y="662"/>
                  </a:lnTo>
                  <a:lnTo>
                    <a:pt x="434" y="662"/>
                  </a:lnTo>
                  <a:lnTo>
                    <a:pt x="438" y="664"/>
                  </a:lnTo>
                  <a:lnTo>
                    <a:pt x="439" y="666"/>
                  </a:lnTo>
                  <a:lnTo>
                    <a:pt x="439" y="668"/>
                  </a:lnTo>
                  <a:lnTo>
                    <a:pt x="438" y="670"/>
                  </a:lnTo>
                  <a:lnTo>
                    <a:pt x="436" y="668"/>
                  </a:lnTo>
                  <a:lnTo>
                    <a:pt x="434" y="668"/>
                  </a:lnTo>
                  <a:lnTo>
                    <a:pt x="433" y="670"/>
                  </a:lnTo>
                  <a:lnTo>
                    <a:pt x="431" y="671"/>
                  </a:lnTo>
                  <a:lnTo>
                    <a:pt x="429" y="672"/>
                  </a:lnTo>
                  <a:lnTo>
                    <a:pt x="427" y="674"/>
                  </a:lnTo>
                  <a:lnTo>
                    <a:pt x="427" y="678"/>
                  </a:lnTo>
                  <a:lnTo>
                    <a:pt x="425" y="679"/>
                  </a:lnTo>
                  <a:lnTo>
                    <a:pt x="423" y="678"/>
                  </a:lnTo>
                  <a:lnTo>
                    <a:pt x="422" y="680"/>
                  </a:lnTo>
                  <a:lnTo>
                    <a:pt x="423" y="682"/>
                  </a:lnTo>
                  <a:lnTo>
                    <a:pt x="428" y="682"/>
                  </a:lnTo>
                  <a:lnTo>
                    <a:pt x="430" y="679"/>
                  </a:lnTo>
                  <a:lnTo>
                    <a:pt x="431" y="677"/>
                  </a:lnTo>
                  <a:lnTo>
                    <a:pt x="434" y="677"/>
                  </a:lnTo>
                  <a:lnTo>
                    <a:pt x="436" y="676"/>
                  </a:lnTo>
                  <a:lnTo>
                    <a:pt x="438" y="674"/>
                  </a:lnTo>
                  <a:lnTo>
                    <a:pt x="439" y="674"/>
                  </a:lnTo>
                  <a:lnTo>
                    <a:pt x="439" y="676"/>
                  </a:lnTo>
                  <a:lnTo>
                    <a:pt x="435" y="679"/>
                  </a:lnTo>
                  <a:lnTo>
                    <a:pt x="434" y="680"/>
                  </a:lnTo>
                  <a:lnTo>
                    <a:pt x="431" y="682"/>
                  </a:lnTo>
                  <a:lnTo>
                    <a:pt x="429" y="684"/>
                  </a:lnTo>
                  <a:lnTo>
                    <a:pt x="427" y="685"/>
                  </a:lnTo>
                  <a:lnTo>
                    <a:pt x="428" y="686"/>
                  </a:lnTo>
                  <a:lnTo>
                    <a:pt x="429" y="688"/>
                  </a:lnTo>
                  <a:lnTo>
                    <a:pt x="431" y="688"/>
                  </a:lnTo>
                  <a:lnTo>
                    <a:pt x="434" y="691"/>
                  </a:lnTo>
                  <a:lnTo>
                    <a:pt x="436" y="694"/>
                  </a:lnTo>
                  <a:lnTo>
                    <a:pt x="439" y="696"/>
                  </a:lnTo>
                  <a:lnTo>
                    <a:pt x="438" y="698"/>
                  </a:lnTo>
                  <a:lnTo>
                    <a:pt x="436" y="700"/>
                  </a:lnTo>
                  <a:lnTo>
                    <a:pt x="435" y="696"/>
                  </a:lnTo>
                  <a:lnTo>
                    <a:pt x="434" y="694"/>
                  </a:lnTo>
                  <a:lnTo>
                    <a:pt x="431" y="694"/>
                  </a:lnTo>
                  <a:lnTo>
                    <a:pt x="429" y="692"/>
                  </a:lnTo>
                  <a:lnTo>
                    <a:pt x="429" y="694"/>
                  </a:lnTo>
                  <a:lnTo>
                    <a:pt x="431" y="697"/>
                  </a:lnTo>
                  <a:lnTo>
                    <a:pt x="431" y="698"/>
                  </a:lnTo>
                  <a:lnTo>
                    <a:pt x="428" y="700"/>
                  </a:lnTo>
                  <a:lnTo>
                    <a:pt x="427" y="701"/>
                  </a:lnTo>
                  <a:lnTo>
                    <a:pt x="429" y="704"/>
                  </a:lnTo>
                  <a:lnTo>
                    <a:pt x="431" y="704"/>
                  </a:lnTo>
                  <a:lnTo>
                    <a:pt x="431" y="707"/>
                  </a:lnTo>
                  <a:lnTo>
                    <a:pt x="434" y="708"/>
                  </a:lnTo>
                  <a:lnTo>
                    <a:pt x="436" y="707"/>
                  </a:lnTo>
                  <a:lnTo>
                    <a:pt x="438" y="704"/>
                  </a:lnTo>
                  <a:lnTo>
                    <a:pt x="440" y="706"/>
                  </a:lnTo>
                  <a:lnTo>
                    <a:pt x="442" y="706"/>
                  </a:lnTo>
                  <a:lnTo>
                    <a:pt x="442" y="704"/>
                  </a:lnTo>
                  <a:lnTo>
                    <a:pt x="442" y="702"/>
                  </a:lnTo>
                  <a:lnTo>
                    <a:pt x="441" y="701"/>
                  </a:lnTo>
                  <a:lnTo>
                    <a:pt x="440" y="700"/>
                  </a:lnTo>
                  <a:lnTo>
                    <a:pt x="441" y="700"/>
                  </a:lnTo>
                  <a:lnTo>
                    <a:pt x="442" y="701"/>
                  </a:lnTo>
                  <a:lnTo>
                    <a:pt x="445" y="700"/>
                  </a:lnTo>
                  <a:lnTo>
                    <a:pt x="446" y="696"/>
                  </a:lnTo>
                  <a:lnTo>
                    <a:pt x="447" y="695"/>
                  </a:lnTo>
                  <a:lnTo>
                    <a:pt x="450" y="694"/>
                  </a:lnTo>
                  <a:lnTo>
                    <a:pt x="452" y="694"/>
                  </a:lnTo>
                  <a:lnTo>
                    <a:pt x="453" y="692"/>
                  </a:lnTo>
                  <a:lnTo>
                    <a:pt x="456" y="691"/>
                  </a:lnTo>
                  <a:lnTo>
                    <a:pt x="458" y="691"/>
                  </a:lnTo>
                  <a:lnTo>
                    <a:pt x="458" y="694"/>
                  </a:lnTo>
                  <a:lnTo>
                    <a:pt x="457" y="695"/>
                  </a:lnTo>
                  <a:lnTo>
                    <a:pt x="456" y="696"/>
                  </a:lnTo>
                  <a:lnTo>
                    <a:pt x="454" y="698"/>
                  </a:lnTo>
                  <a:lnTo>
                    <a:pt x="453" y="697"/>
                  </a:lnTo>
                  <a:lnTo>
                    <a:pt x="452" y="696"/>
                  </a:lnTo>
                  <a:lnTo>
                    <a:pt x="450" y="696"/>
                  </a:lnTo>
                  <a:lnTo>
                    <a:pt x="448" y="698"/>
                  </a:lnTo>
                  <a:lnTo>
                    <a:pt x="447" y="701"/>
                  </a:lnTo>
                  <a:lnTo>
                    <a:pt x="448" y="703"/>
                  </a:lnTo>
                  <a:lnTo>
                    <a:pt x="450" y="706"/>
                  </a:lnTo>
                  <a:lnTo>
                    <a:pt x="451" y="706"/>
                  </a:lnTo>
                  <a:lnTo>
                    <a:pt x="453" y="704"/>
                  </a:lnTo>
                  <a:lnTo>
                    <a:pt x="454" y="702"/>
                  </a:lnTo>
                  <a:lnTo>
                    <a:pt x="458" y="703"/>
                  </a:lnTo>
                  <a:lnTo>
                    <a:pt x="459" y="702"/>
                  </a:lnTo>
                  <a:lnTo>
                    <a:pt x="459" y="703"/>
                  </a:lnTo>
                  <a:lnTo>
                    <a:pt x="457" y="706"/>
                  </a:lnTo>
                  <a:lnTo>
                    <a:pt x="454" y="707"/>
                  </a:lnTo>
                  <a:lnTo>
                    <a:pt x="453" y="708"/>
                  </a:lnTo>
                  <a:lnTo>
                    <a:pt x="452" y="708"/>
                  </a:lnTo>
                  <a:lnTo>
                    <a:pt x="453" y="710"/>
                  </a:lnTo>
                  <a:lnTo>
                    <a:pt x="453" y="713"/>
                  </a:lnTo>
                  <a:lnTo>
                    <a:pt x="453" y="714"/>
                  </a:lnTo>
                  <a:lnTo>
                    <a:pt x="451" y="713"/>
                  </a:lnTo>
                  <a:lnTo>
                    <a:pt x="450" y="713"/>
                  </a:lnTo>
                  <a:lnTo>
                    <a:pt x="447" y="713"/>
                  </a:lnTo>
                  <a:lnTo>
                    <a:pt x="447" y="709"/>
                  </a:lnTo>
                  <a:lnTo>
                    <a:pt x="447" y="707"/>
                  </a:lnTo>
                  <a:lnTo>
                    <a:pt x="444" y="708"/>
                  </a:lnTo>
                  <a:lnTo>
                    <a:pt x="446" y="710"/>
                  </a:lnTo>
                  <a:lnTo>
                    <a:pt x="445" y="714"/>
                  </a:lnTo>
                  <a:lnTo>
                    <a:pt x="445" y="713"/>
                  </a:lnTo>
                  <a:lnTo>
                    <a:pt x="444" y="714"/>
                  </a:lnTo>
                  <a:lnTo>
                    <a:pt x="442" y="715"/>
                  </a:lnTo>
                  <a:lnTo>
                    <a:pt x="441" y="718"/>
                  </a:lnTo>
                  <a:lnTo>
                    <a:pt x="442" y="719"/>
                  </a:lnTo>
                  <a:lnTo>
                    <a:pt x="444" y="721"/>
                  </a:lnTo>
                  <a:lnTo>
                    <a:pt x="444" y="724"/>
                  </a:lnTo>
                  <a:lnTo>
                    <a:pt x="445" y="724"/>
                  </a:lnTo>
                  <a:lnTo>
                    <a:pt x="447" y="720"/>
                  </a:lnTo>
                  <a:lnTo>
                    <a:pt x="450" y="719"/>
                  </a:lnTo>
                  <a:lnTo>
                    <a:pt x="453" y="718"/>
                  </a:lnTo>
                  <a:lnTo>
                    <a:pt x="456" y="716"/>
                  </a:lnTo>
                  <a:lnTo>
                    <a:pt x="456" y="719"/>
                  </a:lnTo>
                  <a:lnTo>
                    <a:pt x="459" y="719"/>
                  </a:lnTo>
                  <a:lnTo>
                    <a:pt x="459" y="718"/>
                  </a:lnTo>
                  <a:lnTo>
                    <a:pt x="458" y="715"/>
                  </a:lnTo>
                  <a:lnTo>
                    <a:pt x="457" y="714"/>
                  </a:lnTo>
                  <a:lnTo>
                    <a:pt x="457" y="713"/>
                  </a:lnTo>
                  <a:lnTo>
                    <a:pt x="459" y="712"/>
                  </a:lnTo>
                  <a:lnTo>
                    <a:pt x="460" y="714"/>
                  </a:lnTo>
                  <a:lnTo>
                    <a:pt x="460" y="718"/>
                  </a:lnTo>
                  <a:lnTo>
                    <a:pt x="463" y="719"/>
                  </a:lnTo>
                  <a:lnTo>
                    <a:pt x="464" y="718"/>
                  </a:lnTo>
                  <a:lnTo>
                    <a:pt x="464" y="715"/>
                  </a:lnTo>
                  <a:lnTo>
                    <a:pt x="462" y="712"/>
                  </a:lnTo>
                  <a:lnTo>
                    <a:pt x="464" y="712"/>
                  </a:lnTo>
                  <a:lnTo>
                    <a:pt x="466" y="712"/>
                  </a:lnTo>
                  <a:lnTo>
                    <a:pt x="470" y="712"/>
                  </a:lnTo>
                  <a:lnTo>
                    <a:pt x="471" y="712"/>
                  </a:lnTo>
                  <a:lnTo>
                    <a:pt x="474" y="712"/>
                  </a:lnTo>
                  <a:lnTo>
                    <a:pt x="475" y="713"/>
                  </a:lnTo>
                  <a:lnTo>
                    <a:pt x="474" y="716"/>
                  </a:lnTo>
                  <a:lnTo>
                    <a:pt x="471" y="719"/>
                  </a:lnTo>
                  <a:lnTo>
                    <a:pt x="470" y="720"/>
                  </a:lnTo>
                  <a:lnTo>
                    <a:pt x="468" y="720"/>
                  </a:lnTo>
                  <a:lnTo>
                    <a:pt x="466" y="721"/>
                  </a:lnTo>
                  <a:lnTo>
                    <a:pt x="469" y="724"/>
                  </a:lnTo>
                  <a:lnTo>
                    <a:pt x="471" y="722"/>
                  </a:lnTo>
                  <a:lnTo>
                    <a:pt x="474" y="721"/>
                  </a:lnTo>
                  <a:lnTo>
                    <a:pt x="476" y="722"/>
                  </a:lnTo>
                  <a:lnTo>
                    <a:pt x="476" y="725"/>
                  </a:lnTo>
                  <a:lnTo>
                    <a:pt x="475" y="727"/>
                  </a:lnTo>
                  <a:lnTo>
                    <a:pt x="474" y="728"/>
                  </a:lnTo>
                  <a:lnTo>
                    <a:pt x="471" y="728"/>
                  </a:lnTo>
                  <a:lnTo>
                    <a:pt x="469" y="727"/>
                  </a:lnTo>
                  <a:lnTo>
                    <a:pt x="469" y="730"/>
                  </a:lnTo>
                  <a:lnTo>
                    <a:pt x="472" y="733"/>
                  </a:lnTo>
                  <a:lnTo>
                    <a:pt x="474" y="733"/>
                  </a:lnTo>
                  <a:lnTo>
                    <a:pt x="476" y="734"/>
                  </a:lnTo>
                  <a:lnTo>
                    <a:pt x="477" y="734"/>
                  </a:lnTo>
                  <a:lnTo>
                    <a:pt x="480" y="736"/>
                  </a:lnTo>
                  <a:lnTo>
                    <a:pt x="480" y="733"/>
                  </a:lnTo>
                  <a:lnTo>
                    <a:pt x="481" y="731"/>
                  </a:lnTo>
                  <a:lnTo>
                    <a:pt x="481" y="730"/>
                  </a:lnTo>
                  <a:lnTo>
                    <a:pt x="482" y="724"/>
                  </a:lnTo>
                  <a:lnTo>
                    <a:pt x="482" y="722"/>
                  </a:lnTo>
                  <a:lnTo>
                    <a:pt x="484" y="724"/>
                  </a:lnTo>
                  <a:lnTo>
                    <a:pt x="486" y="721"/>
                  </a:lnTo>
                  <a:lnTo>
                    <a:pt x="488" y="720"/>
                  </a:lnTo>
                  <a:lnTo>
                    <a:pt x="490" y="720"/>
                  </a:lnTo>
                  <a:lnTo>
                    <a:pt x="492" y="719"/>
                  </a:lnTo>
                  <a:lnTo>
                    <a:pt x="495" y="718"/>
                  </a:lnTo>
                  <a:lnTo>
                    <a:pt x="498" y="715"/>
                  </a:lnTo>
                  <a:lnTo>
                    <a:pt x="499" y="714"/>
                  </a:lnTo>
                  <a:lnTo>
                    <a:pt x="500" y="718"/>
                  </a:lnTo>
                  <a:lnTo>
                    <a:pt x="500" y="722"/>
                  </a:lnTo>
                  <a:lnTo>
                    <a:pt x="503" y="726"/>
                  </a:lnTo>
                  <a:lnTo>
                    <a:pt x="507" y="726"/>
                  </a:lnTo>
                  <a:lnTo>
                    <a:pt x="510" y="724"/>
                  </a:lnTo>
                  <a:lnTo>
                    <a:pt x="512" y="721"/>
                  </a:lnTo>
                  <a:lnTo>
                    <a:pt x="512" y="719"/>
                  </a:lnTo>
                  <a:lnTo>
                    <a:pt x="512" y="716"/>
                  </a:lnTo>
                  <a:lnTo>
                    <a:pt x="513" y="715"/>
                  </a:lnTo>
                  <a:lnTo>
                    <a:pt x="513" y="714"/>
                  </a:lnTo>
                  <a:lnTo>
                    <a:pt x="516" y="715"/>
                  </a:lnTo>
                  <a:lnTo>
                    <a:pt x="515" y="718"/>
                  </a:lnTo>
                  <a:lnTo>
                    <a:pt x="515" y="724"/>
                  </a:lnTo>
                  <a:lnTo>
                    <a:pt x="518" y="722"/>
                  </a:lnTo>
                  <a:lnTo>
                    <a:pt x="519" y="721"/>
                  </a:lnTo>
                  <a:lnTo>
                    <a:pt x="519" y="724"/>
                  </a:lnTo>
                  <a:lnTo>
                    <a:pt x="519" y="732"/>
                  </a:lnTo>
                  <a:lnTo>
                    <a:pt x="522" y="734"/>
                  </a:lnTo>
                  <a:lnTo>
                    <a:pt x="525" y="736"/>
                  </a:lnTo>
                  <a:lnTo>
                    <a:pt x="527" y="736"/>
                  </a:lnTo>
                  <a:lnTo>
                    <a:pt x="528" y="733"/>
                  </a:lnTo>
                  <a:lnTo>
                    <a:pt x="529" y="731"/>
                  </a:lnTo>
                  <a:lnTo>
                    <a:pt x="528" y="731"/>
                  </a:lnTo>
                  <a:lnTo>
                    <a:pt x="525" y="730"/>
                  </a:lnTo>
                  <a:lnTo>
                    <a:pt x="523" y="730"/>
                  </a:lnTo>
                  <a:lnTo>
                    <a:pt x="522" y="728"/>
                  </a:lnTo>
                  <a:lnTo>
                    <a:pt x="522" y="726"/>
                  </a:lnTo>
                  <a:lnTo>
                    <a:pt x="522" y="724"/>
                  </a:lnTo>
                  <a:lnTo>
                    <a:pt x="523" y="724"/>
                  </a:lnTo>
                  <a:lnTo>
                    <a:pt x="527" y="726"/>
                  </a:lnTo>
                  <a:lnTo>
                    <a:pt x="529" y="727"/>
                  </a:lnTo>
                  <a:lnTo>
                    <a:pt x="531" y="727"/>
                  </a:lnTo>
                  <a:lnTo>
                    <a:pt x="534" y="728"/>
                  </a:lnTo>
                  <a:lnTo>
                    <a:pt x="535" y="728"/>
                  </a:lnTo>
                  <a:lnTo>
                    <a:pt x="537" y="726"/>
                  </a:lnTo>
                  <a:lnTo>
                    <a:pt x="535" y="724"/>
                  </a:lnTo>
                  <a:lnTo>
                    <a:pt x="536" y="724"/>
                  </a:lnTo>
                  <a:lnTo>
                    <a:pt x="537" y="724"/>
                  </a:lnTo>
                  <a:lnTo>
                    <a:pt x="540" y="725"/>
                  </a:lnTo>
                  <a:lnTo>
                    <a:pt x="541" y="724"/>
                  </a:lnTo>
                  <a:lnTo>
                    <a:pt x="537" y="720"/>
                  </a:lnTo>
                  <a:lnTo>
                    <a:pt x="537" y="719"/>
                  </a:lnTo>
                  <a:lnTo>
                    <a:pt x="540" y="719"/>
                  </a:lnTo>
                  <a:lnTo>
                    <a:pt x="545" y="720"/>
                  </a:lnTo>
                  <a:lnTo>
                    <a:pt x="547" y="720"/>
                  </a:lnTo>
                  <a:lnTo>
                    <a:pt x="548" y="719"/>
                  </a:lnTo>
                  <a:lnTo>
                    <a:pt x="548" y="718"/>
                  </a:lnTo>
                  <a:lnTo>
                    <a:pt x="551" y="715"/>
                  </a:lnTo>
                  <a:lnTo>
                    <a:pt x="551" y="713"/>
                  </a:lnTo>
                  <a:lnTo>
                    <a:pt x="553" y="713"/>
                  </a:lnTo>
                  <a:lnTo>
                    <a:pt x="554" y="713"/>
                  </a:lnTo>
                  <a:lnTo>
                    <a:pt x="557" y="710"/>
                  </a:lnTo>
                  <a:lnTo>
                    <a:pt x="557" y="708"/>
                  </a:lnTo>
                  <a:lnTo>
                    <a:pt x="558" y="706"/>
                  </a:lnTo>
                  <a:lnTo>
                    <a:pt x="563" y="707"/>
                  </a:lnTo>
                  <a:lnTo>
                    <a:pt x="565" y="706"/>
                  </a:lnTo>
                  <a:lnTo>
                    <a:pt x="566" y="703"/>
                  </a:lnTo>
                  <a:lnTo>
                    <a:pt x="566" y="707"/>
                  </a:lnTo>
                  <a:lnTo>
                    <a:pt x="566" y="710"/>
                  </a:lnTo>
                  <a:lnTo>
                    <a:pt x="568" y="713"/>
                  </a:lnTo>
                  <a:lnTo>
                    <a:pt x="570" y="716"/>
                  </a:lnTo>
                  <a:lnTo>
                    <a:pt x="572" y="715"/>
                  </a:lnTo>
                  <a:lnTo>
                    <a:pt x="576" y="713"/>
                  </a:lnTo>
                  <a:lnTo>
                    <a:pt x="574" y="716"/>
                  </a:lnTo>
                  <a:lnTo>
                    <a:pt x="572" y="719"/>
                  </a:lnTo>
                  <a:lnTo>
                    <a:pt x="574" y="721"/>
                  </a:lnTo>
                  <a:lnTo>
                    <a:pt x="576" y="721"/>
                  </a:lnTo>
                  <a:lnTo>
                    <a:pt x="578" y="721"/>
                  </a:lnTo>
                  <a:lnTo>
                    <a:pt x="580" y="720"/>
                  </a:lnTo>
                  <a:lnTo>
                    <a:pt x="583" y="719"/>
                  </a:lnTo>
                  <a:lnTo>
                    <a:pt x="583" y="718"/>
                  </a:lnTo>
                  <a:lnTo>
                    <a:pt x="586" y="715"/>
                  </a:lnTo>
                  <a:lnTo>
                    <a:pt x="590" y="713"/>
                  </a:lnTo>
                  <a:lnTo>
                    <a:pt x="593" y="710"/>
                  </a:lnTo>
                  <a:lnTo>
                    <a:pt x="595" y="709"/>
                  </a:lnTo>
                  <a:lnTo>
                    <a:pt x="595" y="708"/>
                  </a:lnTo>
                  <a:lnTo>
                    <a:pt x="593" y="707"/>
                  </a:lnTo>
                  <a:lnTo>
                    <a:pt x="595" y="706"/>
                  </a:lnTo>
                  <a:lnTo>
                    <a:pt x="598" y="706"/>
                  </a:lnTo>
                  <a:lnTo>
                    <a:pt x="601" y="704"/>
                  </a:lnTo>
                  <a:lnTo>
                    <a:pt x="601" y="703"/>
                  </a:lnTo>
                  <a:lnTo>
                    <a:pt x="601" y="701"/>
                  </a:lnTo>
                  <a:lnTo>
                    <a:pt x="600" y="700"/>
                  </a:lnTo>
                  <a:lnTo>
                    <a:pt x="601" y="697"/>
                  </a:lnTo>
                  <a:lnTo>
                    <a:pt x="601" y="695"/>
                  </a:lnTo>
                  <a:lnTo>
                    <a:pt x="600" y="694"/>
                  </a:lnTo>
                  <a:lnTo>
                    <a:pt x="601" y="692"/>
                  </a:lnTo>
                  <a:lnTo>
                    <a:pt x="604" y="691"/>
                  </a:lnTo>
                  <a:lnTo>
                    <a:pt x="605" y="689"/>
                  </a:lnTo>
                  <a:lnTo>
                    <a:pt x="606" y="686"/>
                  </a:lnTo>
                  <a:lnTo>
                    <a:pt x="604" y="685"/>
                  </a:lnTo>
                  <a:lnTo>
                    <a:pt x="602" y="683"/>
                  </a:lnTo>
                  <a:lnTo>
                    <a:pt x="601" y="683"/>
                  </a:lnTo>
                  <a:lnTo>
                    <a:pt x="600" y="684"/>
                  </a:lnTo>
                  <a:lnTo>
                    <a:pt x="598" y="686"/>
                  </a:lnTo>
                  <a:lnTo>
                    <a:pt x="595" y="688"/>
                  </a:lnTo>
                  <a:lnTo>
                    <a:pt x="596" y="685"/>
                  </a:lnTo>
                  <a:lnTo>
                    <a:pt x="596" y="683"/>
                  </a:lnTo>
                  <a:lnTo>
                    <a:pt x="594" y="683"/>
                  </a:lnTo>
                  <a:lnTo>
                    <a:pt x="593" y="682"/>
                  </a:lnTo>
                  <a:lnTo>
                    <a:pt x="592" y="680"/>
                  </a:lnTo>
                  <a:lnTo>
                    <a:pt x="590" y="682"/>
                  </a:lnTo>
                  <a:lnTo>
                    <a:pt x="590" y="685"/>
                  </a:lnTo>
                  <a:lnTo>
                    <a:pt x="588" y="685"/>
                  </a:lnTo>
                  <a:lnTo>
                    <a:pt x="587" y="690"/>
                  </a:lnTo>
                  <a:lnTo>
                    <a:pt x="587" y="689"/>
                  </a:lnTo>
                  <a:lnTo>
                    <a:pt x="586" y="685"/>
                  </a:lnTo>
                  <a:lnTo>
                    <a:pt x="583" y="688"/>
                  </a:lnTo>
                  <a:lnTo>
                    <a:pt x="582" y="690"/>
                  </a:lnTo>
                  <a:lnTo>
                    <a:pt x="581" y="691"/>
                  </a:lnTo>
                  <a:lnTo>
                    <a:pt x="580" y="691"/>
                  </a:lnTo>
                  <a:lnTo>
                    <a:pt x="581" y="688"/>
                  </a:lnTo>
                  <a:lnTo>
                    <a:pt x="581" y="685"/>
                  </a:lnTo>
                  <a:lnTo>
                    <a:pt x="578" y="686"/>
                  </a:lnTo>
                  <a:lnTo>
                    <a:pt x="578" y="684"/>
                  </a:lnTo>
                  <a:lnTo>
                    <a:pt x="576" y="684"/>
                  </a:lnTo>
                  <a:lnTo>
                    <a:pt x="575" y="686"/>
                  </a:lnTo>
                  <a:lnTo>
                    <a:pt x="574" y="688"/>
                  </a:lnTo>
                  <a:lnTo>
                    <a:pt x="571" y="688"/>
                  </a:lnTo>
                  <a:lnTo>
                    <a:pt x="569" y="689"/>
                  </a:lnTo>
                  <a:lnTo>
                    <a:pt x="568" y="688"/>
                  </a:lnTo>
                  <a:lnTo>
                    <a:pt x="570" y="685"/>
                  </a:lnTo>
                  <a:lnTo>
                    <a:pt x="572" y="684"/>
                  </a:lnTo>
                  <a:lnTo>
                    <a:pt x="572" y="683"/>
                  </a:lnTo>
                  <a:lnTo>
                    <a:pt x="571" y="679"/>
                  </a:lnTo>
                  <a:lnTo>
                    <a:pt x="569" y="677"/>
                  </a:lnTo>
                  <a:lnTo>
                    <a:pt x="568" y="677"/>
                  </a:lnTo>
                  <a:lnTo>
                    <a:pt x="566" y="678"/>
                  </a:lnTo>
                  <a:lnTo>
                    <a:pt x="566" y="677"/>
                  </a:lnTo>
                  <a:lnTo>
                    <a:pt x="566" y="674"/>
                  </a:lnTo>
                  <a:lnTo>
                    <a:pt x="565" y="673"/>
                  </a:lnTo>
                  <a:lnTo>
                    <a:pt x="564" y="672"/>
                  </a:lnTo>
                  <a:lnTo>
                    <a:pt x="564" y="671"/>
                  </a:lnTo>
                  <a:lnTo>
                    <a:pt x="563" y="668"/>
                  </a:lnTo>
                  <a:lnTo>
                    <a:pt x="562" y="667"/>
                  </a:lnTo>
                  <a:lnTo>
                    <a:pt x="558" y="667"/>
                  </a:lnTo>
                  <a:lnTo>
                    <a:pt x="556" y="667"/>
                  </a:lnTo>
                  <a:lnTo>
                    <a:pt x="549" y="667"/>
                  </a:lnTo>
                  <a:lnTo>
                    <a:pt x="551" y="666"/>
                  </a:lnTo>
                  <a:lnTo>
                    <a:pt x="548" y="662"/>
                  </a:lnTo>
                  <a:lnTo>
                    <a:pt x="548" y="661"/>
                  </a:lnTo>
                  <a:lnTo>
                    <a:pt x="548" y="660"/>
                  </a:lnTo>
                  <a:lnTo>
                    <a:pt x="546" y="659"/>
                  </a:lnTo>
                  <a:lnTo>
                    <a:pt x="543" y="658"/>
                  </a:lnTo>
                  <a:lnTo>
                    <a:pt x="543" y="656"/>
                  </a:lnTo>
                  <a:lnTo>
                    <a:pt x="543" y="653"/>
                  </a:lnTo>
                  <a:lnTo>
                    <a:pt x="545" y="653"/>
                  </a:lnTo>
                  <a:lnTo>
                    <a:pt x="546" y="654"/>
                  </a:lnTo>
                  <a:lnTo>
                    <a:pt x="547" y="655"/>
                  </a:lnTo>
                  <a:lnTo>
                    <a:pt x="548" y="656"/>
                  </a:lnTo>
                  <a:lnTo>
                    <a:pt x="551" y="660"/>
                  </a:lnTo>
                  <a:lnTo>
                    <a:pt x="551" y="662"/>
                  </a:lnTo>
                  <a:lnTo>
                    <a:pt x="553" y="665"/>
                  </a:lnTo>
                  <a:lnTo>
                    <a:pt x="556" y="665"/>
                  </a:lnTo>
                  <a:lnTo>
                    <a:pt x="557" y="664"/>
                  </a:lnTo>
                  <a:lnTo>
                    <a:pt x="557" y="661"/>
                  </a:lnTo>
                  <a:lnTo>
                    <a:pt x="556" y="659"/>
                  </a:lnTo>
                  <a:lnTo>
                    <a:pt x="553" y="656"/>
                  </a:lnTo>
                  <a:lnTo>
                    <a:pt x="552" y="655"/>
                  </a:lnTo>
                  <a:lnTo>
                    <a:pt x="548" y="653"/>
                  </a:lnTo>
                  <a:lnTo>
                    <a:pt x="547" y="650"/>
                  </a:lnTo>
                  <a:lnTo>
                    <a:pt x="546" y="649"/>
                  </a:lnTo>
                  <a:lnTo>
                    <a:pt x="545" y="649"/>
                  </a:lnTo>
                  <a:lnTo>
                    <a:pt x="543" y="648"/>
                  </a:lnTo>
                  <a:lnTo>
                    <a:pt x="543" y="647"/>
                  </a:lnTo>
                  <a:lnTo>
                    <a:pt x="545" y="646"/>
                  </a:lnTo>
                  <a:lnTo>
                    <a:pt x="546" y="644"/>
                  </a:lnTo>
                  <a:lnTo>
                    <a:pt x="547" y="646"/>
                  </a:lnTo>
                  <a:lnTo>
                    <a:pt x="549" y="647"/>
                  </a:lnTo>
                  <a:lnTo>
                    <a:pt x="552" y="649"/>
                  </a:lnTo>
                  <a:lnTo>
                    <a:pt x="556" y="652"/>
                  </a:lnTo>
                  <a:lnTo>
                    <a:pt x="558" y="653"/>
                  </a:lnTo>
                  <a:lnTo>
                    <a:pt x="559" y="654"/>
                  </a:lnTo>
                  <a:lnTo>
                    <a:pt x="558" y="656"/>
                  </a:lnTo>
                  <a:lnTo>
                    <a:pt x="557" y="658"/>
                  </a:lnTo>
                  <a:lnTo>
                    <a:pt x="558" y="659"/>
                  </a:lnTo>
                  <a:lnTo>
                    <a:pt x="559" y="658"/>
                  </a:lnTo>
                  <a:lnTo>
                    <a:pt x="562" y="656"/>
                  </a:lnTo>
                  <a:lnTo>
                    <a:pt x="562" y="655"/>
                  </a:lnTo>
                  <a:lnTo>
                    <a:pt x="564" y="655"/>
                  </a:lnTo>
                  <a:lnTo>
                    <a:pt x="564" y="656"/>
                  </a:lnTo>
                  <a:lnTo>
                    <a:pt x="564" y="658"/>
                  </a:lnTo>
                  <a:lnTo>
                    <a:pt x="568" y="655"/>
                  </a:lnTo>
                  <a:lnTo>
                    <a:pt x="569" y="654"/>
                  </a:lnTo>
                  <a:lnTo>
                    <a:pt x="571" y="654"/>
                  </a:lnTo>
                  <a:lnTo>
                    <a:pt x="572" y="656"/>
                  </a:lnTo>
                  <a:lnTo>
                    <a:pt x="575" y="658"/>
                  </a:lnTo>
                  <a:lnTo>
                    <a:pt x="578" y="659"/>
                  </a:lnTo>
                  <a:lnTo>
                    <a:pt x="580" y="658"/>
                  </a:lnTo>
                  <a:lnTo>
                    <a:pt x="581" y="655"/>
                  </a:lnTo>
                  <a:lnTo>
                    <a:pt x="580" y="654"/>
                  </a:lnTo>
                  <a:lnTo>
                    <a:pt x="578" y="653"/>
                  </a:lnTo>
                  <a:lnTo>
                    <a:pt x="580" y="650"/>
                  </a:lnTo>
                  <a:lnTo>
                    <a:pt x="581" y="650"/>
                  </a:lnTo>
                  <a:lnTo>
                    <a:pt x="578" y="650"/>
                  </a:lnTo>
                  <a:lnTo>
                    <a:pt x="575" y="650"/>
                  </a:lnTo>
                  <a:lnTo>
                    <a:pt x="576" y="647"/>
                  </a:lnTo>
                  <a:lnTo>
                    <a:pt x="576" y="644"/>
                  </a:lnTo>
                  <a:lnTo>
                    <a:pt x="578" y="646"/>
                  </a:lnTo>
                  <a:lnTo>
                    <a:pt x="581" y="647"/>
                  </a:lnTo>
                  <a:lnTo>
                    <a:pt x="581" y="646"/>
                  </a:lnTo>
                  <a:lnTo>
                    <a:pt x="582" y="643"/>
                  </a:lnTo>
                  <a:lnTo>
                    <a:pt x="582" y="642"/>
                  </a:lnTo>
                  <a:lnTo>
                    <a:pt x="581" y="640"/>
                  </a:lnTo>
                  <a:lnTo>
                    <a:pt x="581" y="638"/>
                  </a:lnTo>
                  <a:lnTo>
                    <a:pt x="582" y="638"/>
                  </a:lnTo>
                  <a:lnTo>
                    <a:pt x="582" y="637"/>
                  </a:lnTo>
                  <a:lnTo>
                    <a:pt x="582" y="635"/>
                  </a:lnTo>
                  <a:lnTo>
                    <a:pt x="580" y="635"/>
                  </a:lnTo>
                  <a:lnTo>
                    <a:pt x="578" y="636"/>
                  </a:lnTo>
                  <a:lnTo>
                    <a:pt x="576" y="635"/>
                  </a:lnTo>
                  <a:lnTo>
                    <a:pt x="576" y="637"/>
                  </a:lnTo>
                  <a:lnTo>
                    <a:pt x="575" y="638"/>
                  </a:lnTo>
                  <a:lnTo>
                    <a:pt x="572" y="638"/>
                  </a:lnTo>
                  <a:lnTo>
                    <a:pt x="571" y="638"/>
                  </a:lnTo>
                  <a:lnTo>
                    <a:pt x="570" y="641"/>
                  </a:lnTo>
                  <a:lnTo>
                    <a:pt x="569" y="640"/>
                  </a:lnTo>
                  <a:lnTo>
                    <a:pt x="568" y="641"/>
                  </a:lnTo>
                  <a:lnTo>
                    <a:pt x="565" y="641"/>
                  </a:lnTo>
                  <a:lnTo>
                    <a:pt x="563" y="641"/>
                  </a:lnTo>
                  <a:lnTo>
                    <a:pt x="562" y="640"/>
                  </a:lnTo>
                  <a:lnTo>
                    <a:pt x="563" y="638"/>
                  </a:lnTo>
                  <a:lnTo>
                    <a:pt x="565" y="636"/>
                  </a:lnTo>
                  <a:lnTo>
                    <a:pt x="569" y="636"/>
                  </a:lnTo>
                  <a:lnTo>
                    <a:pt x="571" y="636"/>
                  </a:lnTo>
                  <a:lnTo>
                    <a:pt x="572" y="635"/>
                  </a:lnTo>
                  <a:lnTo>
                    <a:pt x="571" y="633"/>
                  </a:lnTo>
                  <a:lnTo>
                    <a:pt x="572" y="632"/>
                  </a:lnTo>
                  <a:lnTo>
                    <a:pt x="574" y="632"/>
                  </a:lnTo>
                  <a:lnTo>
                    <a:pt x="576" y="631"/>
                  </a:lnTo>
                  <a:lnTo>
                    <a:pt x="578" y="630"/>
                  </a:lnTo>
                  <a:lnTo>
                    <a:pt x="581" y="629"/>
                  </a:lnTo>
                  <a:lnTo>
                    <a:pt x="583" y="629"/>
                  </a:lnTo>
                  <a:lnTo>
                    <a:pt x="588" y="629"/>
                  </a:lnTo>
                  <a:lnTo>
                    <a:pt x="589" y="626"/>
                  </a:lnTo>
                  <a:lnTo>
                    <a:pt x="589" y="624"/>
                  </a:lnTo>
                  <a:lnTo>
                    <a:pt x="588" y="623"/>
                  </a:lnTo>
                  <a:lnTo>
                    <a:pt x="587" y="620"/>
                  </a:lnTo>
                  <a:lnTo>
                    <a:pt x="586" y="618"/>
                  </a:lnTo>
                  <a:lnTo>
                    <a:pt x="583" y="619"/>
                  </a:lnTo>
                  <a:lnTo>
                    <a:pt x="581" y="619"/>
                  </a:lnTo>
                  <a:lnTo>
                    <a:pt x="578" y="619"/>
                  </a:lnTo>
                  <a:lnTo>
                    <a:pt x="577" y="621"/>
                  </a:lnTo>
                  <a:lnTo>
                    <a:pt x="576" y="624"/>
                  </a:lnTo>
                  <a:lnTo>
                    <a:pt x="576" y="625"/>
                  </a:lnTo>
                  <a:lnTo>
                    <a:pt x="574" y="627"/>
                  </a:lnTo>
                  <a:lnTo>
                    <a:pt x="571" y="630"/>
                  </a:lnTo>
                  <a:lnTo>
                    <a:pt x="570" y="631"/>
                  </a:lnTo>
                  <a:lnTo>
                    <a:pt x="568" y="632"/>
                  </a:lnTo>
                  <a:lnTo>
                    <a:pt x="564" y="633"/>
                  </a:lnTo>
                  <a:lnTo>
                    <a:pt x="558" y="637"/>
                  </a:lnTo>
                  <a:lnTo>
                    <a:pt x="556" y="637"/>
                  </a:lnTo>
                  <a:lnTo>
                    <a:pt x="552" y="638"/>
                  </a:lnTo>
                  <a:lnTo>
                    <a:pt x="551" y="637"/>
                  </a:lnTo>
                  <a:lnTo>
                    <a:pt x="549" y="637"/>
                  </a:lnTo>
                  <a:lnTo>
                    <a:pt x="552" y="635"/>
                  </a:lnTo>
                  <a:lnTo>
                    <a:pt x="553" y="633"/>
                  </a:lnTo>
                  <a:lnTo>
                    <a:pt x="556" y="632"/>
                  </a:lnTo>
                  <a:lnTo>
                    <a:pt x="556" y="630"/>
                  </a:lnTo>
                  <a:lnTo>
                    <a:pt x="554" y="629"/>
                  </a:lnTo>
                  <a:lnTo>
                    <a:pt x="553" y="629"/>
                  </a:lnTo>
                  <a:lnTo>
                    <a:pt x="551" y="627"/>
                  </a:lnTo>
                  <a:lnTo>
                    <a:pt x="549" y="630"/>
                  </a:lnTo>
                  <a:lnTo>
                    <a:pt x="546" y="631"/>
                  </a:lnTo>
                  <a:lnTo>
                    <a:pt x="542" y="633"/>
                  </a:lnTo>
                  <a:lnTo>
                    <a:pt x="543" y="631"/>
                  </a:lnTo>
                  <a:lnTo>
                    <a:pt x="546" y="629"/>
                  </a:lnTo>
                  <a:lnTo>
                    <a:pt x="547" y="626"/>
                  </a:lnTo>
                  <a:lnTo>
                    <a:pt x="546" y="625"/>
                  </a:lnTo>
                  <a:lnTo>
                    <a:pt x="543" y="626"/>
                  </a:lnTo>
                  <a:lnTo>
                    <a:pt x="542" y="627"/>
                  </a:lnTo>
                  <a:lnTo>
                    <a:pt x="542" y="630"/>
                  </a:lnTo>
                  <a:lnTo>
                    <a:pt x="541" y="632"/>
                  </a:lnTo>
                  <a:lnTo>
                    <a:pt x="540" y="632"/>
                  </a:lnTo>
                  <a:lnTo>
                    <a:pt x="540" y="629"/>
                  </a:lnTo>
                  <a:lnTo>
                    <a:pt x="537" y="629"/>
                  </a:lnTo>
                  <a:lnTo>
                    <a:pt x="536" y="630"/>
                  </a:lnTo>
                  <a:lnTo>
                    <a:pt x="534" y="630"/>
                  </a:lnTo>
                  <a:lnTo>
                    <a:pt x="534" y="631"/>
                  </a:lnTo>
                  <a:lnTo>
                    <a:pt x="533" y="635"/>
                  </a:lnTo>
                  <a:lnTo>
                    <a:pt x="533" y="636"/>
                  </a:lnTo>
                  <a:lnTo>
                    <a:pt x="530" y="637"/>
                  </a:lnTo>
                  <a:lnTo>
                    <a:pt x="530" y="635"/>
                  </a:lnTo>
                  <a:lnTo>
                    <a:pt x="528" y="633"/>
                  </a:lnTo>
                  <a:lnTo>
                    <a:pt x="528" y="635"/>
                  </a:lnTo>
                  <a:lnTo>
                    <a:pt x="527" y="633"/>
                  </a:lnTo>
                  <a:lnTo>
                    <a:pt x="524" y="632"/>
                  </a:lnTo>
                  <a:lnTo>
                    <a:pt x="523" y="631"/>
                  </a:lnTo>
                  <a:lnTo>
                    <a:pt x="525" y="629"/>
                  </a:lnTo>
                  <a:lnTo>
                    <a:pt x="527" y="627"/>
                  </a:lnTo>
                  <a:lnTo>
                    <a:pt x="530" y="625"/>
                  </a:lnTo>
                  <a:lnTo>
                    <a:pt x="529" y="623"/>
                  </a:lnTo>
                  <a:lnTo>
                    <a:pt x="528" y="621"/>
                  </a:lnTo>
                  <a:lnTo>
                    <a:pt x="525" y="621"/>
                  </a:lnTo>
                  <a:lnTo>
                    <a:pt x="522" y="621"/>
                  </a:lnTo>
                  <a:lnTo>
                    <a:pt x="522" y="624"/>
                  </a:lnTo>
                  <a:lnTo>
                    <a:pt x="522" y="626"/>
                  </a:lnTo>
                  <a:lnTo>
                    <a:pt x="521" y="624"/>
                  </a:lnTo>
                  <a:lnTo>
                    <a:pt x="518" y="624"/>
                  </a:lnTo>
                  <a:lnTo>
                    <a:pt x="517" y="624"/>
                  </a:lnTo>
                  <a:lnTo>
                    <a:pt x="516" y="624"/>
                  </a:lnTo>
                  <a:lnTo>
                    <a:pt x="513" y="624"/>
                  </a:lnTo>
                  <a:lnTo>
                    <a:pt x="513" y="621"/>
                  </a:lnTo>
                  <a:lnTo>
                    <a:pt x="512" y="623"/>
                  </a:lnTo>
                  <a:lnTo>
                    <a:pt x="509" y="626"/>
                  </a:lnTo>
                  <a:lnTo>
                    <a:pt x="509" y="627"/>
                  </a:lnTo>
                  <a:lnTo>
                    <a:pt x="506" y="625"/>
                  </a:lnTo>
                  <a:lnTo>
                    <a:pt x="504" y="625"/>
                  </a:lnTo>
                  <a:lnTo>
                    <a:pt x="504" y="623"/>
                  </a:lnTo>
                  <a:lnTo>
                    <a:pt x="505" y="623"/>
                  </a:lnTo>
                  <a:lnTo>
                    <a:pt x="507" y="623"/>
                  </a:lnTo>
                  <a:lnTo>
                    <a:pt x="510" y="621"/>
                  </a:lnTo>
                  <a:lnTo>
                    <a:pt x="511" y="619"/>
                  </a:lnTo>
                  <a:lnTo>
                    <a:pt x="513" y="617"/>
                  </a:lnTo>
                  <a:lnTo>
                    <a:pt x="512" y="615"/>
                  </a:lnTo>
                  <a:lnTo>
                    <a:pt x="511" y="614"/>
                  </a:lnTo>
                  <a:lnTo>
                    <a:pt x="511" y="613"/>
                  </a:lnTo>
                  <a:lnTo>
                    <a:pt x="513" y="612"/>
                  </a:lnTo>
                  <a:lnTo>
                    <a:pt x="516" y="611"/>
                  </a:lnTo>
                  <a:lnTo>
                    <a:pt x="516" y="609"/>
                  </a:lnTo>
                  <a:lnTo>
                    <a:pt x="516" y="608"/>
                  </a:lnTo>
                  <a:lnTo>
                    <a:pt x="515" y="608"/>
                  </a:lnTo>
                  <a:lnTo>
                    <a:pt x="511" y="608"/>
                  </a:lnTo>
                  <a:lnTo>
                    <a:pt x="509" y="607"/>
                  </a:lnTo>
                  <a:lnTo>
                    <a:pt x="509" y="606"/>
                  </a:lnTo>
                  <a:lnTo>
                    <a:pt x="511" y="606"/>
                  </a:lnTo>
                  <a:lnTo>
                    <a:pt x="513" y="606"/>
                  </a:lnTo>
                  <a:lnTo>
                    <a:pt x="516" y="606"/>
                  </a:lnTo>
                  <a:lnTo>
                    <a:pt x="517" y="607"/>
                  </a:lnTo>
                  <a:lnTo>
                    <a:pt x="518" y="605"/>
                  </a:lnTo>
                  <a:lnTo>
                    <a:pt x="519" y="605"/>
                  </a:lnTo>
                  <a:lnTo>
                    <a:pt x="524" y="607"/>
                  </a:lnTo>
                  <a:lnTo>
                    <a:pt x="525" y="608"/>
                  </a:lnTo>
                  <a:lnTo>
                    <a:pt x="528" y="612"/>
                  </a:lnTo>
                  <a:lnTo>
                    <a:pt x="528" y="615"/>
                  </a:lnTo>
                  <a:lnTo>
                    <a:pt x="529" y="618"/>
                  </a:lnTo>
                  <a:lnTo>
                    <a:pt x="533" y="618"/>
                  </a:lnTo>
                  <a:lnTo>
                    <a:pt x="534" y="617"/>
                  </a:lnTo>
                  <a:lnTo>
                    <a:pt x="535" y="617"/>
                  </a:lnTo>
                  <a:lnTo>
                    <a:pt x="537" y="615"/>
                  </a:lnTo>
                  <a:lnTo>
                    <a:pt x="539" y="617"/>
                  </a:lnTo>
                  <a:lnTo>
                    <a:pt x="541" y="617"/>
                  </a:lnTo>
                  <a:lnTo>
                    <a:pt x="542" y="617"/>
                  </a:lnTo>
                  <a:lnTo>
                    <a:pt x="547" y="617"/>
                  </a:lnTo>
                  <a:lnTo>
                    <a:pt x="549" y="615"/>
                  </a:lnTo>
                  <a:lnTo>
                    <a:pt x="551" y="613"/>
                  </a:lnTo>
                  <a:lnTo>
                    <a:pt x="551" y="612"/>
                  </a:lnTo>
                  <a:lnTo>
                    <a:pt x="549" y="611"/>
                  </a:lnTo>
                  <a:lnTo>
                    <a:pt x="546" y="613"/>
                  </a:lnTo>
                  <a:lnTo>
                    <a:pt x="543" y="612"/>
                  </a:lnTo>
                  <a:lnTo>
                    <a:pt x="541" y="612"/>
                  </a:lnTo>
                  <a:lnTo>
                    <a:pt x="540" y="612"/>
                  </a:lnTo>
                  <a:lnTo>
                    <a:pt x="539" y="611"/>
                  </a:lnTo>
                  <a:lnTo>
                    <a:pt x="535" y="611"/>
                  </a:lnTo>
                  <a:lnTo>
                    <a:pt x="535" y="608"/>
                  </a:lnTo>
                  <a:lnTo>
                    <a:pt x="533" y="608"/>
                  </a:lnTo>
                  <a:lnTo>
                    <a:pt x="531" y="607"/>
                  </a:lnTo>
                  <a:lnTo>
                    <a:pt x="528" y="606"/>
                  </a:lnTo>
                  <a:lnTo>
                    <a:pt x="524" y="603"/>
                  </a:lnTo>
                  <a:lnTo>
                    <a:pt x="528" y="603"/>
                  </a:lnTo>
                  <a:lnTo>
                    <a:pt x="531" y="603"/>
                  </a:lnTo>
                  <a:lnTo>
                    <a:pt x="531" y="601"/>
                  </a:lnTo>
                  <a:lnTo>
                    <a:pt x="528" y="600"/>
                  </a:lnTo>
                  <a:lnTo>
                    <a:pt x="527" y="597"/>
                  </a:lnTo>
                  <a:lnTo>
                    <a:pt x="527" y="596"/>
                  </a:lnTo>
                  <a:lnTo>
                    <a:pt x="525" y="595"/>
                  </a:lnTo>
                  <a:lnTo>
                    <a:pt x="523" y="595"/>
                  </a:lnTo>
                  <a:lnTo>
                    <a:pt x="521" y="595"/>
                  </a:lnTo>
                  <a:lnTo>
                    <a:pt x="517" y="594"/>
                  </a:lnTo>
                  <a:lnTo>
                    <a:pt x="516" y="591"/>
                  </a:lnTo>
                  <a:lnTo>
                    <a:pt x="515" y="589"/>
                  </a:lnTo>
                  <a:lnTo>
                    <a:pt x="513" y="585"/>
                  </a:lnTo>
                  <a:lnTo>
                    <a:pt x="515" y="588"/>
                  </a:lnTo>
                  <a:lnTo>
                    <a:pt x="518" y="591"/>
                  </a:lnTo>
                  <a:lnTo>
                    <a:pt x="521" y="594"/>
                  </a:lnTo>
                  <a:lnTo>
                    <a:pt x="522" y="591"/>
                  </a:lnTo>
                  <a:lnTo>
                    <a:pt x="521" y="590"/>
                  </a:lnTo>
                  <a:lnTo>
                    <a:pt x="521" y="589"/>
                  </a:lnTo>
                  <a:lnTo>
                    <a:pt x="524" y="590"/>
                  </a:lnTo>
                  <a:lnTo>
                    <a:pt x="525" y="591"/>
                  </a:lnTo>
                  <a:lnTo>
                    <a:pt x="528" y="594"/>
                  </a:lnTo>
                  <a:lnTo>
                    <a:pt x="531" y="595"/>
                  </a:lnTo>
                  <a:lnTo>
                    <a:pt x="533" y="597"/>
                  </a:lnTo>
                  <a:lnTo>
                    <a:pt x="535" y="600"/>
                  </a:lnTo>
                  <a:lnTo>
                    <a:pt x="537" y="602"/>
                  </a:lnTo>
                  <a:lnTo>
                    <a:pt x="537" y="603"/>
                  </a:lnTo>
                  <a:lnTo>
                    <a:pt x="535" y="603"/>
                  </a:lnTo>
                  <a:lnTo>
                    <a:pt x="534" y="602"/>
                  </a:lnTo>
                  <a:lnTo>
                    <a:pt x="534" y="605"/>
                  </a:lnTo>
                  <a:lnTo>
                    <a:pt x="535" y="606"/>
                  </a:lnTo>
                  <a:lnTo>
                    <a:pt x="537" y="608"/>
                  </a:lnTo>
                  <a:lnTo>
                    <a:pt x="541" y="608"/>
                  </a:lnTo>
                  <a:lnTo>
                    <a:pt x="543" y="609"/>
                  </a:lnTo>
                  <a:lnTo>
                    <a:pt x="547" y="608"/>
                  </a:lnTo>
                  <a:lnTo>
                    <a:pt x="549" y="608"/>
                  </a:lnTo>
                  <a:lnTo>
                    <a:pt x="552" y="607"/>
                  </a:lnTo>
                  <a:lnTo>
                    <a:pt x="549" y="606"/>
                  </a:lnTo>
                  <a:lnTo>
                    <a:pt x="547" y="605"/>
                  </a:lnTo>
                  <a:lnTo>
                    <a:pt x="547" y="603"/>
                  </a:lnTo>
                  <a:lnTo>
                    <a:pt x="549" y="603"/>
                  </a:lnTo>
                  <a:lnTo>
                    <a:pt x="553" y="605"/>
                  </a:lnTo>
                  <a:lnTo>
                    <a:pt x="559" y="605"/>
                  </a:lnTo>
                  <a:lnTo>
                    <a:pt x="560" y="603"/>
                  </a:lnTo>
                  <a:lnTo>
                    <a:pt x="562" y="600"/>
                  </a:lnTo>
                  <a:lnTo>
                    <a:pt x="562" y="599"/>
                  </a:lnTo>
                  <a:lnTo>
                    <a:pt x="559" y="599"/>
                  </a:lnTo>
                  <a:lnTo>
                    <a:pt x="557" y="599"/>
                  </a:lnTo>
                  <a:lnTo>
                    <a:pt x="553" y="597"/>
                  </a:lnTo>
                  <a:lnTo>
                    <a:pt x="551" y="597"/>
                  </a:lnTo>
                  <a:lnTo>
                    <a:pt x="547" y="595"/>
                  </a:lnTo>
                  <a:lnTo>
                    <a:pt x="545" y="595"/>
                  </a:lnTo>
                  <a:lnTo>
                    <a:pt x="540" y="593"/>
                  </a:lnTo>
                  <a:lnTo>
                    <a:pt x="537" y="593"/>
                  </a:lnTo>
                  <a:lnTo>
                    <a:pt x="534" y="590"/>
                  </a:lnTo>
                  <a:lnTo>
                    <a:pt x="531" y="590"/>
                  </a:lnTo>
                  <a:lnTo>
                    <a:pt x="530" y="588"/>
                  </a:lnTo>
                  <a:lnTo>
                    <a:pt x="527" y="585"/>
                  </a:lnTo>
                  <a:lnTo>
                    <a:pt x="525" y="584"/>
                  </a:lnTo>
                  <a:lnTo>
                    <a:pt x="524" y="582"/>
                  </a:lnTo>
                  <a:lnTo>
                    <a:pt x="523" y="579"/>
                  </a:lnTo>
                  <a:lnTo>
                    <a:pt x="523" y="578"/>
                  </a:lnTo>
                  <a:lnTo>
                    <a:pt x="521" y="577"/>
                  </a:lnTo>
                  <a:lnTo>
                    <a:pt x="519" y="576"/>
                  </a:lnTo>
                  <a:lnTo>
                    <a:pt x="518" y="576"/>
                  </a:lnTo>
                  <a:lnTo>
                    <a:pt x="515" y="576"/>
                  </a:lnTo>
                  <a:lnTo>
                    <a:pt x="513" y="576"/>
                  </a:lnTo>
                  <a:lnTo>
                    <a:pt x="513" y="573"/>
                  </a:lnTo>
                  <a:lnTo>
                    <a:pt x="513" y="572"/>
                  </a:lnTo>
                  <a:lnTo>
                    <a:pt x="513" y="570"/>
                  </a:lnTo>
                  <a:lnTo>
                    <a:pt x="515" y="570"/>
                  </a:lnTo>
                  <a:lnTo>
                    <a:pt x="518" y="572"/>
                  </a:lnTo>
                  <a:lnTo>
                    <a:pt x="521" y="572"/>
                  </a:lnTo>
                  <a:lnTo>
                    <a:pt x="522" y="572"/>
                  </a:lnTo>
                  <a:lnTo>
                    <a:pt x="524" y="572"/>
                  </a:lnTo>
                  <a:lnTo>
                    <a:pt x="525" y="577"/>
                  </a:lnTo>
                  <a:lnTo>
                    <a:pt x="525" y="579"/>
                  </a:lnTo>
                  <a:lnTo>
                    <a:pt x="527" y="581"/>
                  </a:lnTo>
                  <a:lnTo>
                    <a:pt x="528" y="581"/>
                  </a:lnTo>
                  <a:lnTo>
                    <a:pt x="529" y="583"/>
                  </a:lnTo>
                  <a:lnTo>
                    <a:pt x="530" y="585"/>
                  </a:lnTo>
                  <a:lnTo>
                    <a:pt x="533" y="585"/>
                  </a:lnTo>
                  <a:lnTo>
                    <a:pt x="534" y="587"/>
                  </a:lnTo>
                  <a:lnTo>
                    <a:pt x="535" y="589"/>
                  </a:lnTo>
                  <a:lnTo>
                    <a:pt x="539" y="589"/>
                  </a:lnTo>
                  <a:lnTo>
                    <a:pt x="542" y="590"/>
                  </a:lnTo>
                  <a:lnTo>
                    <a:pt x="543" y="591"/>
                  </a:lnTo>
                  <a:lnTo>
                    <a:pt x="546" y="593"/>
                  </a:lnTo>
                  <a:lnTo>
                    <a:pt x="548" y="593"/>
                  </a:lnTo>
                  <a:lnTo>
                    <a:pt x="551" y="591"/>
                  </a:lnTo>
                  <a:lnTo>
                    <a:pt x="553" y="594"/>
                  </a:lnTo>
                  <a:lnTo>
                    <a:pt x="556" y="596"/>
                  </a:lnTo>
                  <a:lnTo>
                    <a:pt x="558" y="596"/>
                  </a:lnTo>
                  <a:lnTo>
                    <a:pt x="563" y="595"/>
                  </a:lnTo>
                  <a:lnTo>
                    <a:pt x="563" y="594"/>
                  </a:lnTo>
                  <a:lnTo>
                    <a:pt x="560" y="593"/>
                  </a:lnTo>
                  <a:lnTo>
                    <a:pt x="558" y="593"/>
                  </a:lnTo>
                  <a:lnTo>
                    <a:pt x="554" y="590"/>
                  </a:lnTo>
                  <a:lnTo>
                    <a:pt x="552" y="590"/>
                  </a:lnTo>
                  <a:lnTo>
                    <a:pt x="556" y="589"/>
                  </a:lnTo>
                  <a:lnTo>
                    <a:pt x="558" y="589"/>
                  </a:lnTo>
                  <a:lnTo>
                    <a:pt x="560" y="589"/>
                  </a:lnTo>
                  <a:lnTo>
                    <a:pt x="563" y="587"/>
                  </a:lnTo>
                  <a:lnTo>
                    <a:pt x="565" y="583"/>
                  </a:lnTo>
                  <a:lnTo>
                    <a:pt x="565" y="582"/>
                  </a:lnTo>
                  <a:lnTo>
                    <a:pt x="565" y="578"/>
                  </a:lnTo>
                  <a:lnTo>
                    <a:pt x="563" y="579"/>
                  </a:lnTo>
                  <a:lnTo>
                    <a:pt x="563" y="577"/>
                  </a:lnTo>
                  <a:lnTo>
                    <a:pt x="562" y="577"/>
                  </a:lnTo>
                  <a:lnTo>
                    <a:pt x="560" y="579"/>
                  </a:lnTo>
                  <a:lnTo>
                    <a:pt x="562" y="579"/>
                  </a:lnTo>
                  <a:lnTo>
                    <a:pt x="560" y="579"/>
                  </a:lnTo>
                  <a:lnTo>
                    <a:pt x="559" y="582"/>
                  </a:lnTo>
                  <a:lnTo>
                    <a:pt x="554" y="582"/>
                  </a:lnTo>
                  <a:lnTo>
                    <a:pt x="554" y="583"/>
                  </a:lnTo>
                  <a:lnTo>
                    <a:pt x="554" y="582"/>
                  </a:lnTo>
                  <a:lnTo>
                    <a:pt x="553" y="579"/>
                  </a:lnTo>
                  <a:lnTo>
                    <a:pt x="552" y="579"/>
                  </a:lnTo>
                  <a:lnTo>
                    <a:pt x="551" y="581"/>
                  </a:lnTo>
                  <a:lnTo>
                    <a:pt x="551" y="584"/>
                  </a:lnTo>
                  <a:lnTo>
                    <a:pt x="551" y="585"/>
                  </a:lnTo>
                  <a:lnTo>
                    <a:pt x="549" y="587"/>
                  </a:lnTo>
                  <a:lnTo>
                    <a:pt x="548" y="584"/>
                  </a:lnTo>
                  <a:lnTo>
                    <a:pt x="547" y="582"/>
                  </a:lnTo>
                  <a:lnTo>
                    <a:pt x="545" y="582"/>
                  </a:lnTo>
                  <a:lnTo>
                    <a:pt x="542" y="579"/>
                  </a:lnTo>
                  <a:lnTo>
                    <a:pt x="542" y="577"/>
                  </a:lnTo>
                  <a:lnTo>
                    <a:pt x="541" y="577"/>
                  </a:lnTo>
                  <a:lnTo>
                    <a:pt x="540" y="575"/>
                  </a:lnTo>
                  <a:lnTo>
                    <a:pt x="540" y="573"/>
                  </a:lnTo>
                  <a:lnTo>
                    <a:pt x="536" y="572"/>
                  </a:lnTo>
                  <a:lnTo>
                    <a:pt x="534" y="571"/>
                  </a:lnTo>
                  <a:lnTo>
                    <a:pt x="534" y="570"/>
                  </a:lnTo>
                  <a:lnTo>
                    <a:pt x="535" y="567"/>
                  </a:lnTo>
                  <a:lnTo>
                    <a:pt x="537" y="567"/>
                  </a:lnTo>
                  <a:lnTo>
                    <a:pt x="540" y="569"/>
                  </a:lnTo>
                  <a:lnTo>
                    <a:pt x="543" y="570"/>
                  </a:lnTo>
                  <a:lnTo>
                    <a:pt x="546" y="571"/>
                  </a:lnTo>
                  <a:lnTo>
                    <a:pt x="549" y="572"/>
                  </a:lnTo>
                  <a:lnTo>
                    <a:pt x="552" y="573"/>
                  </a:lnTo>
                  <a:lnTo>
                    <a:pt x="556" y="573"/>
                  </a:lnTo>
                  <a:lnTo>
                    <a:pt x="557" y="572"/>
                  </a:lnTo>
                  <a:lnTo>
                    <a:pt x="557" y="569"/>
                  </a:lnTo>
                  <a:lnTo>
                    <a:pt x="554" y="569"/>
                  </a:lnTo>
                  <a:lnTo>
                    <a:pt x="552" y="569"/>
                  </a:lnTo>
                  <a:lnTo>
                    <a:pt x="549" y="569"/>
                  </a:lnTo>
                  <a:lnTo>
                    <a:pt x="546" y="567"/>
                  </a:lnTo>
                  <a:lnTo>
                    <a:pt x="546" y="566"/>
                  </a:lnTo>
                  <a:lnTo>
                    <a:pt x="547" y="566"/>
                  </a:lnTo>
                  <a:lnTo>
                    <a:pt x="551" y="567"/>
                  </a:lnTo>
                  <a:lnTo>
                    <a:pt x="552" y="566"/>
                  </a:lnTo>
                  <a:lnTo>
                    <a:pt x="553" y="565"/>
                  </a:lnTo>
                  <a:lnTo>
                    <a:pt x="553" y="564"/>
                  </a:lnTo>
                  <a:lnTo>
                    <a:pt x="554" y="564"/>
                  </a:lnTo>
                  <a:lnTo>
                    <a:pt x="556" y="565"/>
                  </a:lnTo>
                  <a:lnTo>
                    <a:pt x="558" y="567"/>
                  </a:lnTo>
                  <a:lnTo>
                    <a:pt x="560" y="570"/>
                  </a:lnTo>
                  <a:lnTo>
                    <a:pt x="562" y="569"/>
                  </a:lnTo>
                  <a:lnTo>
                    <a:pt x="563" y="566"/>
                  </a:lnTo>
                  <a:lnTo>
                    <a:pt x="563" y="563"/>
                  </a:lnTo>
                  <a:lnTo>
                    <a:pt x="562" y="560"/>
                  </a:lnTo>
                  <a:lnTo>
                    <a:pt x="558" y="560"/>
                  </a:lnTo>
                  <a:lnTo>
                    <a:pt x="557" y="559"/>
                  </a:lnTo>
                  <a:lnTo>
                    <a:pt x="556" y="560"/>
                  </a:lnTo>
                  <a:lnTo>
                    <a:pt x="554" y="560"/>
                  </a:lnTo>
                  <a:lnTo>
                    <a:pt x="552" y="559"/>
                  </a:lnTo>
                  <a:lnTo>
                    <a:pt x="551" y="560"/>
                  </a:lnTo>
                  <a:lnTo>
                    <a:pt x="547" y="560"/>
                  </a:lnTo>
                  <a:lnTo>
                    <a:pt x="547" y="559"/>
                  </a:lnTo>
                  <a:lnTo>
                    <a:pt x="549" y="558"/>
                  </a:lnTo>
                  <a:lnTo>
                    <a:pt x="549" y="555"/>
                  </a:lnTo>
                  <a:lnTo>
                    <a:pt x="548" y="555"/>
                  </a:lnTo>
                  <a:lnTo>
                    <a:pt x="542" y="555"/>
                  </a:lnTo>
                  <a:lnTo>
                    <a:pt x="540" y="557"/>
                  </a:lnTo>
                  <a:lnTo>
                    <a:pt x="539" y="558"/>
                  </a:lnTo>
                  <a:lnTo>
                    <a:pt x="537" y="557"/>
                  </a:lnTo>
                  <a:lnTo>
                    <a:pt x="540" y="553"/>
                  </a:lnTo>
                  <a:lnTo>
                    <a:pt x="542" y="552"/>
                  </a:lnTo>
                  <a:lnTo>
                    <a:pt x="545" y="551"/>
                  </a:lnTo>
                  <a:lnTo>
                    <a:pt x="547" y="549"/>
                  </a:lnTo>
                  <a:lnTo>
                    <a:pt x="547" y="547"/>
                  </a:lnTo>
                  <a:lnTo>
                    <a:pt x="549" y="547"/>
                  </a:lnTo>
                  <a:lnTo>
                    <a:pt x="552" y="546"/>
                  </a:lnTo>
                  <a:lnTo>
                    <a:pt x="554" y="546"/>
                  </a:lnTo>
                  <a:lnTo>
                    <a:pt x="557" y="543"/>
                  </a:lnTo>
                  <a:lnTo>
                    <a:pt x="558" y="542"/>
                  </a:lnTo>
                  <a:lnTo>
                    <a:pt x="559" y="541"/>
                  </a:lnTo>
                  <a:lnTo>
                    <a:pt x="559" y="539"/>
                  </a:lnTo>
                  <a:lnTo>
                    <a:pt x="557" y="536"/>
                  </a:lnTo>
                  <a:lnTo>
                    <a:pt x="556" y="536"/>
                  </a:lnTo>
                  <a:lnTo>
                    <a:pt x="552" y="537"/>
                  </a:lnTo>
                  <a:lnTo>
                    <a:pt x="551" y="539"/>
                  </a:lnTo>
                  <a:lnTo>
                    <a:pt x="549" y="537"/>
                  </a:lnTo>
                  <a:lnTo>
                    <a:pt x="549" y="536"/>
                  </a:lnTo>
                  <a:lnTo>
                    <a:pt x="551" y="535"/>
                  </a:lnTo>
                  <a:lnTo>
                    <a:pt x="548" y="534"/>
                  </a:lnTo>
                  <a:lnTo>
                    <a:pt x="547" y="534"/>
                  </a:lnTo>
                  <a:lnTo>
                    <a:pt x="546" y="537"/>
                  </a:lnTo>
                  <a:lnTo>
                    <a:pt x="545" y="540"/>
                  </a:lnTo>
                  <a:lnTo>
                    <a:pt x="545" y="537"/>
                  </a:lnTo>
                  <a:lnTo>
                    <a:pt x="545" y="535"/>
                  </a:lnTo>
                  <a:lnTo>
                    <a:pt x="543" y="534"/>
                  </a:lnTo>
                  <a:lnTo>
                    <a:pt x="542" y="536"/>
                  </a:lnTo>
                  <a:lnTo>
                    <a:pt x="541" y="537"/>
                  </a:lnTo>
                  <a:lnTo>
                    <a:pt x="537" y="540"/>
                  </a:lnTo>
                  <a:lnTo>
                    <a:pt x="535" y="540"/>
                  </a:lnTo>
                  <a:lnTo>
                    <a:pt x="535" y="539"/>
                  </a:lnTo>
                  <a:lnTo>
                    <a:pt x="537" y="537"/>
                  </a:lnTo>
                  <a:lnTo>
                    <a:pt x="539" y="536"/>
                  </a:lnTo>
                  <a:lnTo>
                    <a:pt x="540" y="534"/>
                  </a:lnTo>
                  <a:lnTo>
                    <a:pt x="537" y="533"/>
                  </a:lnTo>
                  <a:lnTo>
                    <a:pt x="536" y="533"/>
                  </a:lnTo>
                  <a:lnTo>
                    <a:pt x="535" y="530"/>
                  </a:lnTo>
                  <a:lnTo>
                    <a:pt x="534" y="528"/>
                  </a:lnTo>
                  <a:lnTo>
                    <a:pt x="535" y="525"/>
                  </a:lnTo>
                  <a:lnTo>
                    <a:pt x="537" y="529"/>
                  </a:lnTo>
                  <a:lnTo>
                    <a:pt x="540" y="529"/>
                  </a:lnTo>
                  <a:lnTo>
                    <a:pt x="541" y="529"/>
                  </a:lnTo>
                  <a:lnTo>
                    <a:pt x="543" y="528"/>
                  </a:lnTo>
                  <a:lnTo>
                    <a:pt x="545" y="526"/>
                  </a:lnTo>
                  <a:lnTo>
                    <a:pt x="545" y="523"/>
                  </a:lnTo>
                  <a:lnTo>
                    <a:pt x="542" y="522"/>
                  </a:lnTo>
                  <a:lnTo>
                    <a:pt x="539" y="519"/>
                  </a:lnTo>
                  <a:lnTo>
                    <a:pt x="537" y="518"/>
                  </a:lnTo>
                  <a:lnTo>
                    <a:pt x="536" y="520"/>
                  </a:lnTo>
                  <a:lnTo>
                    <a:pt x="535" y="522"/>
                  </a:lnTo>
                  <a:lnTo>
                    <a:pt x="531" y="520"/>
                  </a:lnTo>
                  <a:lnTo>
                    <a:pt x="529" y="520"/>
                  </a:lnTo>
                  <a:lnTo>
                    <a:pt x="529" y="522"/>
                  </a:lnTo>
                  <a:lnTo>
                    <a:pt x="527" y="522"/>
                  </a:lnTo>
                  <a:lnTo>
                    <a:pt x="525" y="523"/>
                  </a:lnTo>
                  <a:lnTo>
                    <a:pt x="524" y="523"/>
                  </a:lnTo>
                  <a:lnTo>
                    <a:pt x="527" y="526"/>
                  </a:lnTo>
                  <a:lnTo>
                    <a:pt x="529" y="528"/>
                  </a:lnTo>
                  <a:lnTo>
                    <a:pt x="529" y="530"/>
                  </a:lnTo>
                  <a:lnTo>
                    <a:pt x="528" y="531"/>
                  </a:lnTo>
                  <a:lnTo>
                    <a:pt x="527" y="529"/>
                  </a:lnTo>
                  <a:lnTo>
                    <a:pt x="524" y="529"/>
                  </a:lnTo>
                  <a:lnTo>
                    <a:pt x="523" y="526"/>
                  </a:lnTo>
                  <a:lnTo>
                    <a:pt x="522" y="526"/>
                  </a:lnTo>
                  <a:lnTo>
                    <a:pt x="521" y="524"/>
                  </a:lnTo>
                  <a:lnTo>
                    <a:pt x="523" y="522"/>
                  </a:lnTo>
                  <a:lnTo>
                    <a:pt x="524" y="519"/>
                  </a:lnTo>
                  <a:lnTo>
                    <a:pt x="524" y="518"/>
                  </a:lnTo>
                  <a:lnTo>
                    <a:pt x="522" y="516"/>
                  </a:lnTo>
                  <a:lnTo>
                    <a:pt x="521" y="514"/>
                  </a:lnTo>
                  <a:lnTo>
                    <a:pt x="518" y="516"/>
                  </a:lnTo>
                  <a:lnTo>
                    <a:pt x="516" y="517"/>
                  </a:lnTo>
                  <a:lnTo>
                    <a:pt x="513" y="518"/>
                  </a:lnTo>
                  <a:lnTo>
                    <a:pt x="513" y="520"/>
                  </a:lnTo>
                  <a:lnTo>
                    <a:pt x="513" y="523"/>
                  </a:lnTo>
                  <a:lnTo>
                    <a:pt x="511" y="522"/>
                  </a:lnTo>
                  <a:lnTo>
                    <a:pt x="510" y="520"/>
                  </a:lnTo>
                  <a:lnTo>
                    <a:pt x="511" y="517"/>
                  </a:lnTo>
                  <a:lnTo>
                    <a:pt x="512" y="516"/>
                  </a:lnTo>
                  <a:lnTo>
                    <a:pt x="515" y="514"/>
                  </a:lnTo>
                  <a:lnTo>
                    <a:pt x="519" y="513"/>
                  </a:lnTo>
                  <a:lnTo>
                    <a:pt x="521" y="511"/>
                  </a:lnTo>
                  <a:lnTo>
                    <a:pt x="519" y="510"/>
                  </a:lnTo>
                  <a:lnTo>
                    <a:pt x="518" y="510"/>
                  </a:lnTo>
                  <a:lnTo>
                    <a:pt x="518" y="508"/>
                  </a:lnTo>
                  <a:lnTo>
                    <a:pt x="519" y="507"/>
                  </a:lnTo>
                  <a:lnTo>
                    <a:pt x="523" y="507"/>
                  </a:lnTo>
                  <a:lnTo>
                    <a:pt x="525" y="506"/>
                  </a:lnTo>
                  <a:lnTo>
                    <a:pt x="527" y="504"/>
                  </a:lnTo>
                  <a:lnTo>
                    <a:pt x="528" y="501"/>
                  </a:lnTo>
                  <a:lnTo>
                    <a:pt x="529" y="499"/>
                  </a:lnTo>
                  <a:lnTo>
                    <a:pt x="531" y="498"/>
                  </a:lnTo>
                  <a:lnTo>
                    <a:pt x="533" y="496"/>
                  </a:lnTo>
                  <a:lnTo>
                    <a:pt x="533" y="495"/>
                  </a:lnTo>
                  <a:lnTo>
                    <a:pt x="531" y="494"/>
                  </a:lnTo>
                  <a:lnTo>
                    <a:pt x="530" y="493"/>
                  </a:lnTo>
                  <a:lnTo>
                    <a:pt x="529" y="492"/>
                  </a:lnTo>
                  <a:lnTo>
                    <a:pt x="528" y="494"/>
                  </a:lnTo>
                  <a:lnTo>
                    <a:pt x="527" y="495"/>
                  </a:lnTo>
                  <a:lnTo>
                    <a:pt x="525" y="494"/>
                  </a:lnTo>
                  <a:lnTo>
                    <a:pt x="523" y="493"/>
                  </a:lnTo>
                  <a:lnTo>
                    <a:pt x="522" y="494"/>
                  </a:lnTo>
                  <a:lnTo>
                    <a:pt x="522" y="495"/>
                  </a:lnTo>
                  <a:lnTo>
                    <a:pt x="521" y="496"/>
                  </a:lnTo>
                  <a:lnTo>
                    <a:pt x="519" y="496"/>
                  </a:lnTo>
                  <a:lnTo>
                    <a:pt x="517" y="498"/>
                  </a:lnTo>
                  <a:lnTo>
                    <a:pt x="516" y="496"/>
                  </a:lnTo>
                  <a:lnTo>
                    <a:pt x="516" y="495"/>
                  </a:lnTo>
                  <a:lnTo>
                    <a:pt x="518" y="493"/>
                  </a:lnTo>
                  <a:lnTo>
                    <a:pt x="521" y="492"/>
                  </a:lnTo>
                  <a:lnTo>
                    <a:pt x="522" y="489"/>
                  </a:lnTo>
                  <a:lnTo>
                    <a:pt x="521" y="487"/>
                  </a:lnTo>
                  <a:lnTo>
                    <a:pt x="518" y="487"/>
                  </a:lnTo>
                  <a:lnTo>
                    <a:pt x="517" y="489"/>
                  </a:lnTo>
                  <a:lnTo>
                    <a:pt x="516" y="487"/>
                  </a:lnTo>
                  <a:lnTo>
                    <a:pt x="515" y="483"/>
                  </a:lnTo>
                  <a:lnTo>
                    <a:pt x="513" y="483"/>
                  </a:lnTo>
                  <a:lnTo>
                    <a:pt x="512" y="486"/>
                  </a:lnTo>
                  <a:lnTo>
                    <a:pt x="511" y="487"/>
                  </a:lnTo>
                  <a:lnTo>
                    <a:pt x="509" y="486"/>
                  </a:lnTo>
                  <a:lnTo>
                    <a:pt x="505" y="483"/>
                  </a:lnTo>
                  <a:lnTo>
                    <a:pt x="504" y="483"/>
                  </a:lnTo>
                  <a:lnTo>
                    <a:pt x="503" y="483"/>
                  </a:lnTo>
                  <a:lnTo>
                    <a:pt x="501" y="481"/>
                  </a:lnTo>
                  <a:lnTo>
                    <a:pt x="499" y="481"/>
                  </a:lnTo>
                  <a:lnTo>
                    <a:pt x="498" y="481"/>
                  </a:lnTo>
                  <a:lnTo>
                    <a:pt x="498" y="478"/>
                  </a:lnTo>
                  <a:lnTo>
                    <a:pt x="498" y="477"/>
                  </a:lnTo>
                  <a:lnTo>
                    <a:pt x="495" y="476"/>
                  </a:lnTo>
                  <a:lnTo>
                    <a:pt x="498" y="476"/>
                  </a:lnTo>
                  <a:lnTo>
                    <a:pt x="499" y="478"/>
                  </a:lnTo>
                  <a:lnTo>
                    <a:pt x="500" y="480"/>
                  </a:lnTo>
                  <a:lnTo>
                    <a:pt x="503" y="480"/>
                  </a:lnTo>
                  <a:lnTo>
                    <a:pt x="504" y="480"/>
                  </a:lnTo>
                  <a:lnTo>
                    <a:pt x="505" y="480"/>
                  </a:lnTo>
                  <a:lnTo>
                    <a:pt x="506" y="481"/>
                  </a:lnTo>
                  <a:lnTo>
                    <a:pt x="510" y="481"/>
                  </a:lnTo>
                  <a:lnTo>
                    <a:pt x="511" y="477"/>
                  </a:lnTo>
                  <a:lnTo>
                    <a:pt x="512" y="478"/>
                  </a:lnTo>
                  <a:lnTo>
                    <a:pt x="515" y="480"/>
                  </a:lnTo>
                  <a:lnTo>
                    <a:pt x="516" y="478"/>
                  </a:lnTo>
                  <a:lnTo>
                    <a:pt x="518" y="476"/>
                  </a:lnTo>
                  <a:lnTo>
                    <a:pt x="521" y="476"/>
                  </a:lnTo>
                  <a:lnTo>
                    <a:pt x="523" y="475"/>
                  </a:lnTo>
                  <a:lnTo>
                    <a:pt x="525" y="475"/>
                  </a:lnTo>
                  <a:lnTo>
                    <a:pt x="528" y="474"/>
                  </a:lnTo>
                  <a:lnTo>
                    <a:pt x="529" y="471"/>
                  </a:lnTo>
                  <a:lnTo>
                    <a:pt x="527" y="469"/>
                  </a:lnTo>
                  <a:lnTo>
                    <a:pt x="525" y="468"/>
                  </a:lnTo>
                  <a:lnTo>
                    <a:pt x="525" y="466"/>
                  </a:lnTo>
                  <a:lnTo>
                    <a:pt x="523" y="469"/>
                  </a:lnTo>
                  <a:lnTo>
                    <a:pt x="521" y="466"/>
                  </a:lnTo>
                  <a:lnTo>
                    <a:pt x="519" y="469"/>
                  </a:lnTo>
                  <a:lnTo>
                    <a:pt x="518" y="469"/>
                  </a:lnTo>
                  <a:lnTo>
                    <a:pt x="516" y="468"/>
                  </a:lnTo>
                  <a:lnTo>
                    <a:pt x="515" y="469"/>
                  </a:lnTo>
                  <a:lnTo>
                    <a:pt x="513" y="468"/>
                  </a:lnTo>
                  <a:lnTo>
                    <a:pt x="510" y="469"/>
                  </a:lnTo>
                  <a:lnTo>
                    <a:pt x="507" y="469"/>
                  </a:lnTo>
                  <a:lnTo>
                    <a:pt x="507" y="465"/>
                  </a:lnTo>
                  <a:lnTo>
                    <a:pt x="504" y="465"/>
                  </a:lnTo>
                  <a:lnTo>
                    <a:pt x="500" y="464"/>
                  </a:lnTo>
                  <a:lnTo>
                    <a:pt x="499" y="462"/>
                  </a:lnTo>
                  <a:lnTo>
                    <a:pt x="498" y="462"/>
                  </a:lnTo>
                  <a:lnTo>
                    <a:pt x="495" y="463"/>
                  </a:lnTo>
                  <a:lnTo>
                    <a:pt x="494" y="460"/>
                  </a:lnTo>
                  <a:lnTo>
                    <a:pt x="493" y="460"/>
                  </a:lnTo>
                  <a:lnTo>
                    <a:pt x="489" y="460"/>
                  </a:lnTo>
                  <a:lnTo>
                    <a:pt x="487" y="459"/>
                  </a:lnTo>
                  <a:lnTo>
                    <a:pt x="486" y="457"/>
                  </a:lnTo>
                  <a:lnTo>
                    <a:pt x="482" y="454"/>
                  </a:lnTo>
                  <a:lnTo>
                    <a:pt x="481" y="456"/>
                  </a:lnTo>
                  <a:lnTo>
                    <a:pt x="477" y="456"/>
                  </a:lnTo>
                  <a:lnTo>
                    <a:pt x="472" y="457"/>
                  </a:lnTo>
                  <a:lnTo>
                    <a:pt x="471" y="456"/>
                  </a:lnTo>
                  <a:lnTo>
                    <a:pt x="475" y="454"/>
                  </a:lnTo>
                  <a:lnTo>
                    <a:pt x="477" y="454"/>
                  </a:lnTo>
                  <a:lnTo>
                    <a:pt x="480" y="453"/>
                  </a:lnTo>
                  <a:lnTo>
                    <a:pt x="483" y="453"/>
                  </a:lnTo>
                  <a:lnTo>
                    <a:pt x="484" y="453"/>
                  </a:lnTo>
                  <a:lnTo>
                    <a:pt x="486" y="453"/>
                  </a:lnTo>
                  <a:lnTo>
                    <a:pt x="484" y="451"/>
                  </a:lnTo>
                  <a:lnTo>
                    <a:pt x="482" y="450"/>
                  </a:lnTo>
                  <a:lnTo>
                    <a:pt x="482" y="448"/>
                  </a:lnTo>
                  <a:lnTo>
                    <a:pt x="480" y="446"/>
                  </a:lnTo>
                  <a:lnTo>
                    <a:pt x="477" y="447"/>
                  </a:lnTo>
                  <a:lnTo>
                    <a:pt x="477" y="450"/>
                  </a:lnTo>
                  <a:lnTo>
                    <a:pt x="476" y="450"/>
                  </a:lnTo>
                  <a:lnTo>
                    <a:pt x="475" y="448"/>
                  </a:lnTo>
                  <a:lnTo>
                    <a:pt x="474" y="446"/>
                  </a:lnTo>
                  <a:lnTo>
                    <a:pt x="474" y="445"/>
                  </a:lnTo>
                  <a:lnTo>
                    <a:pt x="475" y="442"/>
                  </a:lnTo>
                  <a:lnTo>
                    <a:pt x="474" y="440"/>
                  </a:lnTo>
                  <a:lnTo>
                    <a:pt x="476" y="440"/>
                  </a:lnTo>
                  <a:lnTo>
                    <a:pt x="478" y="441"/>
                  </a:lnTo>
                  <a:lnTo>
                    <a:pt x="480" y="442"/>
                  </a:lnTo>
                  <a:lnTo>
                    <a:pt x="482" y="444"/>
                  </a:lnTo>
                  <a:lnTo>
                    <a:pt x="482" y="441"/>
                  </a:lnTo>
                  <a:lnTo>
                    <a:pt x="482" y="440"/>
                  </a:lnTo>
                  <a:lnTo>
                    <a:pt x="481" y="439"/>
                  </a:lnTo>
                  <a:lnTo>
                    <a:pt x="478" y="438"/>
                  </a:lnTo>
                  <a:lnTo>
                    <a:pt x="477" y="436"/>
                  </a:lnTo>
                  <a:lnTo>
                    <a:pt x="476" y="435"/>
                  </a:lnTo>
                  <a:lnTo>
                    <a:pt x="474" y="435"/>
                  </a:lnTo>
                  <a:lnTo>
                    <a:pt x="475" y="433"/>
                  </a:lnTo>
                  <a:lnTo>
                    <a:pt x="478" y="432"/>
                  </a:lnTo>
                  <a:lnTo>
                    <a:pt x="481" y="430"/>
                  </a:lnTo>
                  <a:lnTo>
                    <a:pt x="482" y="429"/>
                  </a:lnTo>
                  <a:lnTo>
                    <a:pt x="482" y="428"/>
                  </a:lnTo>
                  <a:lnTo>
                    <a:pt x="478" y="429"/>
                  </a:lnTo>
                  <a:lnTo>
                    <a:pt x="477" y="430"/>
                  </a:lnTo>
                  <a:lnTo>
                    <a:pt x="476" y="430"/>
                  </a:lnTo>
                  <a:lnTo>
                    <a:pt x="475" y="429"/>
                  </a:lnTo>
                  <a:lnTo>
                    <a:pt x="472" y="429"/>
                  </a:lnTo>
                  <a:lnTo>
                    <a:pt x="472" y="430"/>
                  </a:lnTo>
                  <a:lnTo>
                    <a:pt x="470" y="432"/>
                  </a:lnTo>
                  <a:lnTo>
                    <a:pt x="468" y="429"/>
                  </a:lnTo>
                  <a:lnTo>
                    <a:pt x="465" y="426"/>
                  </a:lnTo>
                  <a:lnTo>
                    <a:pt x="465" y="424"/>
                  </a:lnTo>
                  <a:lnTo>
                    <a:pt x="468" y="423"/>
                  </a:lnTo>
                  <a:lnTo>
                    <a:pt x="470" y="422"/>
                  </a:lnTo>
                  <a:lnTo>
                    <a:pt x="471" y="421"/>
                  </a:lnTo>
                  <a:lnTo>
                    <a:pt x="474" y="421"/>
                  </a:lnTo>
                  <a:lnTo>
                    <a:pt x="475" y="419"/>
                  </a:lnTo>
                  <a:lnTo>
                    <a:pt x="476" y="419"/>
                  </a:lnTo>
                  <a:lnTo>
                    <a:pt x="477" y="422"/>
                  </a:lnTo>
                  <a:lnTo>
                    <a:pt x="478" y="423"/>
                  </a:lnTo>
                  <a:lnTo>
                    <a:pt x="483" y="423"/>
                  </a:lnTo>
                  <a:lnTo>
                    <a:pt x="484" y="421"/>
                  </a:lnTo>
                  <a:lnTo>
                    <a:pt x="487" y="422"/>
                  </a:lnTo>
                  <a:lnTo>
                    <a:pt x="489" y="423"/>
                  </a:lnTo>
                  <a:lnTo>
                    <a:pt x="492" y="422"/>
                  </a:lnTo>
                  <a:lnTo>
                    <a:pt x="495" y="422"/>
                  </a:lnTo>
                  <a:lnTo>
                    <a:pt x="493" y="424"/>
                  </a:lnTo>
                  <a:lnTo>
                    <a:pt x="493" y="427"/>
                  </a:lnTo>
                  <a:lnTo>
                    <a:pt x="490" y="428"/>
                  </a:lnTo>
                  <a:lnTo>
                    <a:pt x="492" y="430"/>
                  </a:lnTo>
                  <a:lnTo>
                    <a:pt x="492" y="432"/>
                  </a:lnTo>
                  <a:lnTo>
                    <a:pt x="490" y="432"/>
                  </a:lnTo>
                  <a:lnTo>
                    <a:pt x="488" y="429"/>
                  </a:lnTo>
                  <a:lnTo>
                    <a:pt x="484" y="430"/>
                  </a:lnTo>
                  <a:lnTo>
                    <a:pt x="484" y="433"/>
                  </a:lnTo>
                  <a:lnTo>
                    <a:pt x="483" y="434"/>
                  </a:lnTo>
                  <a:lnTo>
                    <a:pt x="487" y="434"/>
                  </a:lnTo>
                  <a:lnTo>
                    <a:pt x="492" y="433"/>
                  </a:lnTo>
                  <a:lnTo>
                    <a:pt x="494" y="432"/>
                  </a:lnTo>
                  <a:lnTo>
                    <a:pt x="489" y="434"/>
                  </a:lnTo>
                  <a:lnTo>
                    <a:pt x="489" y="435"/>
                  </a:lnTo>
                  <a:lnTo>
                    <a:pt x="489" y="436"/>
                  </a:lnTo>
                  <a:lnTo>
                    <a:pt x="494" y="435"/>
                  </a:lnTo>
                  <a:lnTo>
                    <a:pt x="498" y="435"/>
                  </a:lnTo>
                  <a:lnTo>
                    <a:pt x="494" y="438"/>
                  </a:lnTo>
                  <a:lnTo>
                    <a:pt x="492" y="440"/>
                  </a:lnTo>
                  <a:lnTo>
                    <a:pt x="492" y="442"/>
                  </a:lnTo>
                  <a:lnTo>
                    <a:pt x="495" y="442"/>
                  </a:lnTo>
                  <a:lnTo>
                    <a:pt x="497" y="440"/>
                  </a:lnTo>
                  <a:lnTo>
                    <a:pt x="499" y="440"/>
                  </a:lnTo>
                  <a:lnTo>
                    <a:pt x="500" y="442"/>
                  </a:lnTo>
                  <a:lnTo>
                    <a:pt x="503" y="444"/>
                  </a:lnTo>
                  <a:lnTo>
                    <a:pt x="504" y="446"/>
                  </a:lnTo>
                  <a:lnTo>
                    <a:pt x="506" y="446"/>
                  </a:lnTo>
                  <a:lnTo>
                    <a:pt x="509" y="444"/>
                  </a:lnTo>
                  <a:lnTo>
                    <a:pt x="512" y="446"/>
                  </a:lnTo>
                  <a:lnTo>
                    <a:pt x="515" y="446"/>
                  </a:lnTo>
                  <a:lnTo>
                    <a:pt x="518" y="446"/>
                  </a:lnTo>
                  <a:lnTo>
                    <a:pt x="521" y="444"/>
                  </a:lnTo>
                  <a:lnTo>
                    <a:pt x="522" y="442"/>
                  </a:lnTo>
                  <a:lnTo>
                    <a:pt x="521" y="441"/>
                  </a:lnTo>
                  <a:lnTo>
                    <a:pt x="522" y="442"/>
                  </a:lnTo>
                  <a:lnTo>
                    <a:pt x="525" y="446"/>
                  </a:lnTo>
                  <a:lnTo>
                    <a:pt x="527" y="450"/>
                  </a:lnTo>
                  <a:lnTo>
                    <a:pt x="529" y="452"/>
                  </a:lnTo>
                  <a:lnTo>
                    <a:pt x="533" y="456"/>
                  </a:lnTo>
                  <a:lnTo>
                    <a:pt x="534" y="454"/>
                  </a:lnTo>
                  <a:lnTo>
                    <a:pt x="534" y="450"/>
                  </a:lnTo>
                  <a:lnTo>
                    <a:pt x="531" y="447"/>
                  </a:lnTo>
                  <a:lnTo>
                    <a:pt x="533" y="446"/>
                  </a:lnTo>
                  <a:lnTo>
                    <a:pt x="534" y="445"/>
                  </a:lnTo>
                  <a:lnTo>
                    <a:pt x="536" y="446"/>
                  </a:lnTo>
                  <a:lnTo>
                    <a:pt x="541" y="448"/>
                  </a:lnTo>
                  <a:lnTo>
                    <a:pt x="542" y="448"/>
                  </a:lnTo>
                  <a:lnTo>
                    <a:pt x="545" y="454"/>
                  </a:lnTo>
                  <a:lnTo>
                    <a:pt x="547" y="458"/>
                  </a:lnTo>
                  <a:lnTo>
                    <a:pt x="546" y="464"/>
                  </a:lnTo>
                  <a:lnTo>
                    <a:pt x="549" y="465"/>
                  </a:lnTo>
                  <a:lnTo>
                    <a:pt x="553" y="466"/>
                  </a:lnTo>
                  <a:lnTo>
                    <a:pt x="553" y="468"/>
                  </a:lnTo>
                  <a:lnTo>
                    <a:pt x="557" y="469"/>
                  </a:lnTo>
                  <a:lnTo>
                    <a:pt x="562" y="470"/>
                  </a:lnTo>
                  <a:lnTo>
                    <a:pt x="563" y="470"/>
                  </a:lnTo>
                  <a:lnTo>
                    <a:pt x="565" y="468"/>
                  </a:lnTo>
                  <a:lnTo>
                    <a:pt x="565" y="465"/>
                  </a:lnTo>
                  <a:lnTo>
                    <a:pt x="564" y="465"/>
                  </a:lnTo>
                  <a:lnTo>
                    <a:pt x="562" y="465"/>
                  </a:lnTo>
                  <a:lnTo>
                    <a:pt x="562" y="462"/>
                  </a:lnTo>
                  <a:lnTo>
                    <a:pt x="560" y="460"/>
                  </a:lnTo>
                  <a:lnTo>
                    <a:pt x="557" y="459"/>
                  </a:lnTo>
                  <a:lnTo>
                    <a:pt x="556" y="458"/>
                  </a:lnTo>
                  <a:lnTo>
                    <a:pt x="553" y="456"/>
                  </a:lnTo>
                  <a:lnTo>
                    <a:pt x="556" y="453"/>
                  </a:lnTo>
                  <a:lnTo>
                    <a:pt x="559" y="452"/>
                  </a:lnTo>
                  <a:lnTo>
                    <a:pt x="560" y="450"/>
                  </a:lnTo>
                  <a:lnTo>
                    <a:pt x="558" y="447"/>
                  </a:lnTo>
                  <a:lnTo>
                    <a:pt x="554" y="447"/>
                  </a:lnTo>
                  <a:lnTo>
                    <a:pt x="552" y="446"/>
                  </a:lnTo>
                  <a:lnTo>
                    <a:pt x="551" y="442"/>
                  </a:lnTo>
                  <a:lnTo>
                    <a:pt x="549" y="439"/>
                  </a:lnTo>
                  <a:lnTo>
                    <a:pt x="545" y="436"/>
                  </a:lnTo>
                  <a:lnTo>
                    <a:pt x="545" y="434"/>
                  </a:lnTo>
                  <a:lnTo>
                    <a:pt x="547" y="436"/>
                  </a:lnTo>
                  <a:lnTo>
                    <a:pt x="552" y="441"/>
                  </a:lnTo>
                  <a:lnTo>
                    <a:pt x="556" y="444"/>
                  </a:lnTo>
                  <a:lnTo>
                    <a:pt x="560" y="446"/>
                  </a:lnTo>
                  <a:lnTo>
                    <a:pt x="562" y="446"/>
                  </a:lnTo>
                  <a:lnTo>
                    <a:pt x="564" y="441"/>
                  </a:lnTo>
                  <a:lnTo>
                    <a:pt x="564" y="445"/>
                  </a:lnTo>
                  <a:lnTo>
                    <a:pt x="566" y="448"/>
                  </a:lnTo>
                  <a:lnTo>
                    <a:pt x="569" y="448"/>
                  </a:lnTo>
                  <a:lnTo>
                    <a:pt x="571" y="447"/>
                  </a:lnTo>
                  <a:lnTo>
                    <a:pt x="571" y="445"/>
                  </a:lnTo>
                  <a:lnTo>
                    <a:pt x="572" y="445"/>
                  </a:lnTo>
                  <a:lnTo>
                    <a:pt x="576" y="447"/>
                  </a:lnTo>
                  <a:lnTo>
                    <a:pt x="582" y="447"/>
                  </a:lnTo>
                  <a:lnTo>
                    <a:pt x="586" y="447"/>
                  </a:lnTo>
                  <a:lnTo>
                    <a:pt x="587" y="445"/>
                  </a:lnTo>
                  <a:lnTo>
                    <a:pt x="589" y="445"/>
                  </a:lnTo>
                  <a:lnTo>
                    <a:pt x="589" y="442"/>
                  </a:lnTo>
                  <a:lnTo>
                    <a:pt x="592" y="440"/>
                  </a:lnTo>
                  <a:lnTo>
                    <a:pt x="598" y="441"/>
                  </a:lnTo>
                  <a:lnTo>
                    <a:pt x="598" y="438"/>
                  </a:lnTo>
                  <a:lnTo>
                    <a:pt x="599" y="436"/>
                  </a:lnTo>
                  <a:lnTo>
                    <a:pt x="600" y="436"/>
                  </a:lnTo>
                  <a:lnTo>
                    <a:pt x="602" y="438"/>
                  </a:lnTo>
                  <a:lnTo>
                    <a:pt x="604" y="435"/>
                  </a:lnTo>
                  <a:lnTo>
                    <a:pt x="610" y="435"/>
                  </a:lnTo>
                  <a:lnTo>
                    <a:pt x="612" y="434"/>
                  </a:lnTo>
                  <a:lnTo>
                    <a:pt x="613" y="434"/>
                  </a:lnTo>
                  <a:lnTo>
                    <a:pt x="615" y="432"/>
                  </a:lnTo>
                  <a:lnTo>
                    <a:pt x="615" y="429"/>
                  </a:lnTo>
                  <a:lnTo>
                    <a:pt x="617" y="429"/>
                  </a:lnTo>
                  <a:lnTo>
                    <a:pt x="621" y="432"/>
                  </a:lnTo>
                  <a:lnTo>
                    <a:pt x="623" y="432"/>
                  </a:lnTo>
                  <a:lnTo>
                    <a:pt x="622" y="428"/>
                  </a:lnTo>
                  <a:lnTo>
                    <a:pt x="622" y="426"/>
                  </a:lnTo>
                  <a:lnTo>
                    <a:pt x="622" y="423"/>
                  </a:lnTo>
                  <a:lnTo>
                    <a:pt x="623" y="421"/>
                  </a:lnTo>
                  <a:lnTo>
                    <a:pt x="629" y="423"/>
                  </a:lnTo>
                  <a:lnTo>
                    <a:pt x="633" y="419"/>
                  </a:lnTo>
                  <a:lnTo>
                    <a:pt x="634" y="419"/>
                  </a:lnTo>
                  <a:lnTo>
                    <a:pt x="637" y="419"/>
                  </a:lnTo>
                  <a:lnTo>
                    <a:pt x="640" y="418"/>
                  </a:lnTo>
                  <a:lnTo>
                    <a:pt x="643" y="417"/>
                  </a:lnTo>
                  <a:lnTo>
                    <a:pt x="643" y="415"/>
                  </a:lnTo>
                  <a:lnTo>
                    <a:pt x="642" y="412"/>
                  </a:lnTo>
                  <a:lnTo>
                    <a:pt x="642" y="410"/>
                  </a:lnTo>
                  <a:lnTo>
                    <a:pt x="643" y="407"/>
                  </a:lnTo>
                  <a:lnTo>
                    <a:pt x="642" y="405"/>
                  </a:lnTo>
                  <a:lnTo>
                    <a:pt x="637" y="405"/>
                  </a:lnTo>
                  <a:lnTo>
                    <a:pt x="636" y="406"/>
                  </a:lnTo>
                  <a:lnTo>
                    <a:pt x="630" y="406"/>
                  </a:lnTo>
                  <a:lnTo>
                    <a:pt x="631" y="406"/>
                  </a:lnTo>
                  <a:lnTo>
                    <a:pt x="629" y="406"/>
                  </a:lnTo>
                  <a:lnTo>
                    <a:pt x="623" y="409"/>
                  </a:lnTo>
                  <a:lnTo>
                    <a:pt x="623" y="407"/>
                  </a:lnTo>
                  <a:lnTo>
                    <a:pt x="621" y="410"/>
                  </a:lnTo>
                  <a:lnTo>
                    <a:pt x="618" y="410"/>
                  </a:lnTo>
                  <a:lnTo>
                    <a:pt x="619" y="407"/>
                  </a:lnTo>
                  <a:lnTo>
                    <a:pt x="622" y="404"/>
                  </a:lnTo>
                  <a:lnTo>
                    <a:pt x="623" y="400"/>
                  </a:lnTo>
                  <a:lnTo>
                    <a:pt x="622" y="399"/>
                  </a:lnTo>
                  <a:lnTo>
                    <a:pt x="621" y="398"/>
                  </a:lnTo>
                  <a:lnTo>
                    <a:pt x="619" y="399"/>
                  </a:lnTo>
                  <a:lnTo>
                    <a:pt x="617" y="401"/>
                  </a:lnTo>
                  <a:lnTo>
                    <a:pt x="613" y="399"/>
                  </a:lnTo>
                  <a:lnTo>
                    <a:pt x="615" y="397"/>
                  </a:lnTo>
                  <a:lnTo>
                    <a:pt x="619" y="395"/>
                  </a:lnTo>
                  <a:lnTo>
                    <a:pt x="621" y="394"/>
                  </a:lnTo>
                  <a:lnTo>
                    <a:pt x="624" y="393"/>
                  </a:lnTo>
                  <a:lnTo>
                    <a:pt x="625" y="391"/>
                  </a:lnTo>
                  <a:lnTo>
                    <a:pt x="625" y="388"/>
                  </a:lnTo>
                  <a:lnTo>
                    <a:pt x="628" y="386"/>
                  </a:lnTo>
                  <a:lnTo>
                    <a:pt x="629" y="386"/>
                  </a:lnTo>
                  <a:lnTo>
                    <a:pt x="630" y="389"/>
                  </a:lnTo>
                  <a:lnTo>
                    <a:pt x="634" y="389"/>
                  </a:lnTo>
                  <a:lnTo>
                    <a:pt x="637" y="389"/>
                  </a:lnTo>
                  <a:lnTo>
                    <a:pt x="639" y="387"/>
                  </a:lnTo>
                  <a:lnTo>
                    <a:pt x="640" y="383"/>
                  </a:lnTo>
                  <a:lnTo>
                    <a:pt x="637" y="383"/>
                  </a:lnTo>
                  <a:lnTo>
                    <a:pt x="634" y="383"/>
                  </a:lnTo>
                  <a:lnTo>
                    <a:pt x="633" y="383"/>
                  </a:lnTo>
                  <a:lnTo>
                    <a:pt x="630" y="382"/>
                  </a:lnTo>
                  <a:lnTo>
                    <a:pt x="631" y="380"/>
                  </a:lnTo>
                  <a:lnTo>
                    <a:pt x="634" y="379"/>
                  </a:lnTo>
                  <a:lnTo>
                    <a:pt x="634" y="376"/>
                  </a:lnTo>
                  <a:lnTo>
                    <a:pt x="634" y="373"/>
                  </a:lnTo>
                  <a:lnTo>
                    <a:pt x="636" y="376"/>
                  </a:lnTo>
                  <a:lnTo>
                    <a:pt x="637" y="377"/>
                  </a:lnTo>
                  <a:lnTo>
                    <a:pt x="640" y="379"/>
                  </a:lnTo>
                  <a:lnTo>
                    <a:pt x="643" y="381"/>
                  </a:lnTo>
                  <a:lnTo>
                    <a:pt x="648" y="381"/>
                  </a:lnTo>
                  <a:lnTo>
                    <a:pt x="653" y="381"/>
                  </a:lnTo>
                  <a:lnTo>
                    <a:pt x="654" y="379"/>
                  </a:lnTo>
                  <a:lnTo>
                    <a:pt x="655" y="375"/>
                  </a:lnTo>
                  <a:lnTo>
                    <a:pt x="654" y="373"/>
                  </a:lnTo>
                  <a:lnTo>
                    <a:pt x="649" y="375"/>
                  </a:lnTo>
                  <a:lnTo>
                    <a:pt x="646" y="374"/>
                  </a:lnTo>
                  <a:lnTo>
                    <a:pt x="645" y="374"/>
                  </a:lnTo>
                  <a:lnTo>
                    <a:pt x="643" y="373"/>
                  </a:lnTo>
                  <a:lnTo>
                    <a:pt x="642" y="370"/>
                  </a:lnTo>
                  <a:lnTo>
                    <a:pt x="641" y="370"/>
                  </a:lnTo>
                  <a:lnTo>
                    <a:pt x="640" y="374"/>
                  </a:lnTo>
                  <a:lnTo>
                    <a:pt x="639" y="371"/>
                  </a:lnTo>
                  <a:lnTo>
                    <a:pt x="637" y="370"/>
                  </a:lnTo>
                  <a:lnTo>
                    <a:pt x="636" y="368"/>
                  </a:lnTo>
                  <a:lnTo>
                    <a:pt x="635" y="364"/>
                  </a:lnTo>
                  <a:lnTo>
                    <a:pt x="637" y="362"/>
                  </a:lnTo>
                  <a:lnTo>
                    <a:pt x="640" y="361"/>
                  </a:lnTo>
                  <a:lnTo>
                    <a:pt x="642" y="364"/>
                  </a:lnTo>
                  <a:lnTo>
                    <a:pt x="643" y="367"/>
                  </a:lnTo>
                  <a:lnTo>
                    <a:pt x="646" y="370"/>
                  </a:lnTo>
                  <a:lnTo>
                    <a:pt x="649" y="371"/>
                  </a:lnTo>
                  <a:lnTo>
                    <a:pt x="652" y="369"/>
                  </a:lnTo>
                  <a:lnTo>
                    <a:pt x="651" y="368"/>
                  </a:lnTo>
                  <a:lnTo>
                    <a:pt x="651" y="367"/>
                  </a:lnTo>
                  <a:lnTo>
                    <a:pt x="653" y="368"/>
                  </a:lnTo>
                  <a:lnTo>
                    <a:pt x="655" y="369"/>
                  </a:lnTo>
                  <a:lnTo>
                    <a:pt x="660" y="369"/>
                  </a:lnTo>
                  <a:lnTo>
                    <a:pt x="660" y="367"/>
                  </a:lnTo>
                  <a:lnTo>
                    <a:pt x="658" y="365"/>
                  </a:lnTo>
                  <a:lnTo>
                    <a:pt x="655" y="364"/>
                  </a:lnTo>
                  <a:lnTo>
                    <a:pt x="653" y="364"/>
                  </a:lnTo>
                  <a:lnTo>
                    <a:pt x="648" y="363"/>
                  </a:lnTo>
                  <a:lnTo>
                    <a:pt x="648" y="362"/>
                  </a:lnTo>
                  <a:lnTo>
                    <a:pt x="651" y="359"/>
                  </a:lnTo>
                  <a:lnTo>
                    <a:pt x="654" y="359"/>
                  </a:lnTo>
                  <a:lnTo>
                    <a:pt x="658" y="362"/>
                  </a:lnTo>
                  <a:lnTo>
                    <a:pt x="659" y="364"/>
                  </a:lnTo>
                  <a:lnTo>
                    <a:pt x="661" y="369"/>
                  </a:lnTo>
                  <a:lnTo>
                    <a:pt x="664" y="369"/>
                  </a:lnTo>
                  <a:lnTo>
                    <a:pt x="667" y="367"/>
                  </a:lnTo>
                  <a:lnTo>
                    <a:pt x="670" y="367"/>
                  </a:lnTo>
                  <a:lnTo>
                    <a:pt x="671" y="367"/>
                  </a:lnTo>
                  <a:lnTo>
                    <a:pt x="672" y="363"/>
                  </a:lnTo>
                  <a:lnTo>
                    <a:pt x="671" y="363"/>
                  </a:lnTo>
                  <a:lnTo>
                    <a:pt x="670" y="362"/>
                  </a:lnTo>
                  <a:lnTo>
                    <a:pt x="666" y="362"/>
                  </a:lnTo>
                  <a:lnTo>
                    <a:pt x="664" y="362"/>
                  </a:lnTo>
                  <a:lnTo>
                    <a:pt x="661" y="364"/>
                  </a:lnTo>
                  <a:lnTo>
                    <a:pt x="660" y="364"/>
                  </a:lnTo>
                  <a:lnTo>
                    <a:pt x="660" y="362"/>
                  </a:lnTo>
                  <a:lnTo>
                    <a:pt x="661" y="361"/>
                  </a:lnTo>
                  <a:lnTo>
                    <a:pt x="664" y="358"/>
                  </a:lnTo>
                  <a:lnTo>
                    <a:pt x="667" y="357"/>
                  </a:lnTo>
                  <a:lnTo>
                    <a:pt x="667" y="356"/>
                  </a:lnTo>
                  <a:lnTo>
                    <a:pt x="669" y="353"/>
                  </a:lnTo>
                  <a:lnTo>
                    <a:pt x="671" y="352"/>
                  </a:lnTo>
                  <a:lnTo>
                    <a:pt x="675" y="353"/>
                  </a:lnTo>
                  <a:lnTo>
                    <a:pt x="677" y="352"/>
                  </a:lnTo>
                  <a:lnTo>
                    <a:pt x="678" y="350"/>
                  </a:lnTo>
                  <a:lnTo>
                    <a:pt x="678" y="345"/>
                  </a:lnTo>
                  <a:lnTo>
                    <a:pt x="678" y="343"/>
                  </a:lnTo>
                  <a:lnTo>
                    <a:pt x="681" y="343"/>
                  </a:lnTo>
                  <a:lnTo>
                    <a:pt x="684" y="340"/>
                  </a:lnTo>
                  <a:lnTo>
                    <a:pt x="686" y="337"/>
                  </a:lnTo>
                  <a:lnTo>
                    <a:pt x="688" y="334"/>
                  </a:lnTo>
                  <a:lnTo>
                    <a:pt x="687" y="332"/>
                  </a:lnTo>
                  <a:lnTo>
                    <a:pt x="684" y="329"/>
                  </a:lnTo>
                  <a:lnTo>
                    <a:pt x="682" y="331"/>
                  </a:lnTo>
                  <a:lnTo>
                    <a:pt x="680" y="334"/>
                  </a:lnTo>
                  <a:lnTo>
                    <a:pt x="678" y="335"/>
                  </a:lnTo>
                  <a:lnTo>
                    <a:pt x="676" y="338"/>
                  </a:lnTo>
                  <a:lnTo>
                    <a:pt x="676" y="337"/>
                  </a:lnTo>
                  <a:lnTo>
                    <a:pt x="676" y="334"/>
                  </a:lnTo>
                  <a:lnTo>
                    <a:pt x="677" y="333"/>
                  </a:lnTo>
                  <a:lnTo>
                    <a:pt x="676" y="331"/>
                  </a:lnTo>
                  <a:lnTo>
                    <a:pt x="672" y="331"/>
                  </a:lnTo>
                  <a:lnTo>
                    <a:pt x="670" y="329"/>
                  </a:lnTo>
                  <a:lnTo>
                    <a:pt x="670" y="328"/>
                  </a:lnTo>
                  <a:lnTo>
                    <a:pt x="667" y="327"/>
                  </a:lnTo>
                  <a:lnTo>
                    <a:pt x="667" y="325"/>
                  </a:lnTo>
                  <a:lnTo>
                    <a:pt x="665" y="323"/>
                  </a:lnTo>
                  <a:lnTo>
                    <a:pt x="661" y="325"/>
                  </a:lnTo>
                  <a:lnTo>
                    <a:pt x="659" y="327"/>
                  </a:lnTo>
                  <a:lnTo>
                    <a:pt x="655" y="328"/>
                  </a:lnTo>
                  <a:lnTo>
                    <a:pt x="652" y="328"/>
                  </a:lnTo>
                  <a:lnTo>
                    <a:pt x="651" y="326"/>
                  </a:lnTo>
                  <a:lnTo>
                    <a:pt x="649" y="328"/>
                  </a:lnTo>
                  <a:lnTo>
                    <a:pt x="646" y="328"/>
                  </a:lnTo>
                  <a:lnTo>
                    <a:pt x="643" y="327"/>
                  </a:lnTo>
                  <a:lnTo>
                    <a:pt x="641" y="326"/>
                  </a:lnTo>
                  <a:lnTo>
                    <a:pt x="640" y="323"/>
                  </a:lnTo>
                  <a:lnTo>
                    <a:pt x="637" y="323"/>
                  </a:lnTo>
                  <a:lnTo>
                    <a:pt x="637" y="328"/>
                  </a:lnTo>
                  <a:lnTo>
                    <a:pt x="635" y="327"/>
                  </a:lnTo>
                  <a:lnTo>
                    <a:pt x="633" y="327"/>
                  </a:lnTo>
                  <a:lnTo>
                    <a:pt x="631" y="328"/>
                  </a:lnTo>
                  <a:lnTo>
                    <a:pt x="628" y="328"/>
                  </a:lnTo>
                  <a:lnTo>
                    <a:pt x="624" y="326"/>
                  </a:lnTo>
                  <a:lnTo>
                    <a:pt x="622" y="326"/>
                  </a:lnTo>
                  <a:lnTo>
                    <a:pt x="622" y="323"/>
                  </a:lnTo>
                  <a:lnTo>
                    <a:pt x="623" y="321"/>
                  </a:lnTo>
                  <a:lnTo>
                    <a:pt x="621" y="320"/>
                  </a:lnTo>
                  <a:lnTo>
                    <a:pt x="618" y="321"/>
                  </a:lnTo>
                  <a:lnTo>
                    <a:pt x="615" y="321"/>
                  </a:lnTo>
                  <a:lnTo>
                    <a:pt x="611" y="319"/>
                  </a:lnTo>
                  <a:lnTo>
                    <a:pt x="608" y="321"/>
                  </a:lnTo>
                  <a:lnTo>
                    <a:pt x="607" y="321"/>
                  </a:lnTo>
                  <a:lnTo>
                    <a:pt x="605" y="319"/>
                  </a:lnTo>
                  <a:lnTo>
                    <a:pt x="604" y="314"/>
                  </a:lnTo>
                  <a:lnTo>
                    <a:pt x="601" y="315"/>
                  </a:lnTo>
                  <a:lnTo>
                    <a:pt x="601" y="317"/>
                  </a:lnTo>
                  <a:lnTo>
                    <a:pt x="599" y="319"/>
                  </a:lnTo>
                  <a:lnTo>
                    <a:pt x="596" y="317"/>
                  </a:lnTo>
                  <a:lnTo>
                    <a:pt x="594" y="320"/>
                  </a:lnTo>
                  <a:lnTo>
                    <a:pt x="593" y="319"/>
                  </a:lnTo>
                  <a:lnTo>
                    <a:pt x="593" y="315"/>
                  </a:lnTo>
                  <a:lnTo>
                    <a:pt x="594" y="314"/>
                  </a:lnTo>
                  <a:lnTo>
                    <a:pt x="594" y="311"/>
                  </a:lnTo>
                  <a:lnTo>
                    <a:pt x="593" y="311"/>
                  </a:lnTo>
                  <a:lnTo>
                    <a:pt x="588" y="312"/>
                  </a:lnTo>
                  <a:lnTo>
                    <a:pt x="587" y="312"/>
                  </a:lnTo>
                  <a:lnTo>
                    <a:pt x="588" y="309"/>
                  </a:lnTo>
                  <a:lnTo>
                    <a:pt x="592" y="306"/>
                  </a:lnTo>
                  <a:lnTo>
                    <a:pt x="593" y="308"/>
                  </a:lnTo>
                  <a:lnTo>
                    <a:pt x="595" y="309"/>
                  </a:lnTo>
                  <a:lnTo>
                    <a:pt x="596" y="310"/>
                  </a:lnTo>
                  <a:lnTo>
                    <a:pt x="600" y="309"/>
                  </a:lnTo>
                  <a:lnTo>
                    <a:pt x="600" y="306"/>
                  </a:lnTo>
                  <a:lnTo>
                    <a:pt x="600" y="305"/>
                  </a:lnTo>
                  <a:lnTo>
                    <a:pt x="598" y="304"/>
                  </a:lnTo>
                  <a:lnTo>
                    <a:pt x="596" y="303"/>
                  </a:lnTo>
                  <a:lnTo>
                    <a:pt x="598" y="302"/>
                  </a:lnTo>
                  <a:lnTo>
                    <a:pt x="600" y="302"/>
                  </a:lnTo>
                  <a:lnTo>
                    <a:pt x="602" y="300"/>
                  </a:lnTo>
                  <a:lnTo>
                    <a:pt x="605" y="300"/>
                  </a:lnTo>
                  <a:lnTo>
                    <a:pt x="606" y="303"/>
                  </a:lnTo>
                  <a:lnTo>
                    <a:pt x="608" y="304"/>
                  </a:lnTo>
                  <a:lnTo>
                    <a:pt x="610" y="304"/>
                  </a:lnTo>
                  <a:lnTo>
                    <a:pt x="615" y="303"/>
                  </a:lnTo>
                  <a:lnTo>
                    <a:pt x="615" y="300"/>
                  </a:lnTo>
                  <a:lnTo>
                    <a:pt x="616" y="298"/>
                  </a:lnTo>
                  <a:lnTo>
                    <a:pt x="617" y="298"/>
                  </a:lnTo>
                  <a:lnTo>
                    <a:pt x="619" y="297"/>
                  </a:lnTo>
                  <a:lnTo>
                    <a:pt x="622" y="298"/>
                  </a:lnTo>
                  <a:lnTo>
                    <a:pt x="624" y="296"/>
                  </a:lnTo>
                  <a:lnTo>
                    <a:pt x="627" y="293"/>
                  </a:lnTo>
                  <a:lnTo>
                    <a:pt x="627" y="292"/>
                  </a:lnTo>
                  <a:lnTo>
                    <a:pt x="625" y="290"/>
                  </a:lnTo>
                  <a:lnTo>
                    <a:pt x="624" y="288"/>
                  </a:lnTo>
                  <a:lnTo>
                    <a:pt x="622" y="287"/>
                  </a:lnTo>
                  <a:lnTo>
                    <a:pt x="621" y="290"/>
                  </a:lnTo>
                  <a:lnTo>
                    <a:pt x="618" y="291"/>
                  </a:lnTo>
                  <a:lnTo>
                    <a:pt x="616" y="292"/>
                  </a:lnTo>
                  <a:lnTo>
                    <a:pt x="613" y="291"/>
                  </a:lnTo>
                  <a:lnTo>
                    <a:pt x="611" y="288"/>
                  </a:lnTo>
                  <a:lnTo>
                    <a:pt x="610" y="288"/>
                  </a:lnTo>
                  <a:lnTo>
                    <a:pt x="607" y="291"/>
                  </a:lnTo>
                  <a:lnTo>
                    <a:pt x="605" y="290"/>
                  </a:lnTo>
                  <a:lnTo>
                    <a:pt x="604" y="287"/>
                  </a:lnTo>
                  <a:lnTo>
                    <a:pt x="601" y="287"/>
                  </a:lnTo>
                  <a:lnTo>
                    <a:pt x="599" y="290"/>
                  </a:lnTo>
                  <a:lnTo>
                    <a:pt x="598" y="290"/>
                  </a:lnTo>
                  <a:lnTo>
                    <a:pt x="596" y="287"/>
                  </a:lnTo>
                  <a:lnTo>
                    <a:pt x="600" y="286"/>
                  </a:lnTo>
                  <a:lnTo>
                    <a:pt x="600" y="284"/>
                  </a:lnTo>
                  <a:lnTo>
                    <a:pt x="598" y="281"/>
                  </a:lnTo>
                  <a:lnTo>
                    <a:pt x="595" y="280"/>
                  </a:lnTo>
                  <a:lnTo>
                    <a:pt x="595" y="279"/>
                  </a:lnTo>
                  <a:lnTo>
                    <a:pt x="596" y="278"/>
                  </a:lnTo>
                  <a:lnTo>
                    <a:pt x="600" y="275"/>
                  </a:lnTo>
                  <a:lnTo>
                    <a:pt x="605" y="274"/>
                  </a:lnTo>
                  <a:lnTo>
                    <a:pt x="605" y="272"/>
                  </a:lnTo>
                  <a:lnTo>
                    <a:pt x="605" y="267"/>
                  </a:lnTo>
                  <a:lnTo>
                    <a:pt x="602" y="267"/>
                  </a:lnTo>
                  <a:lnTo>
                    <a:pt x="600" y="266"/>
                  </a:lnTo>
                  <a:lnTo>
                    <a:pt x="601" y="263"/>
                  </a:lnTo>
                  <a:lnTo>
                    <a:pt x="602" y="261"/>
                  </a:lnTo>
                  <a:lnTo>
                    <a:pt x="605" y="261"/>
                  </a:lnTo>
                  <a:lnTo>
                    <a:pt x="610" y="260"/>
                  </a:lnTo>
                  <a:lnTo>
                    <a:pt x="612" y="258"/>
                  </a:lnTo>
                  <a:lnTo>
                    <a:pt x="615" y="256"/>
                  </a:lnTo>
                  <a:lnTo>
                    <a:pt x="617" y="256"/>
                  </a:lnTo>
                  <a:lnTo>
                    <a:pt x="618" y="255"/>
                  </a:lnTo>
                  <a:lnTo>
                    <a:pt x="617" y="252"/>
                  </a:lnTo>
                  <a:lnTo>
                    <a:pt x="616" y="250"/>
                  </a:lnTo>
                  <a:lnTo>
                    <a:pt x="616" y="248"/>
                  </a:lnTo>
                  <a:lnTo>
                    <a:pt x="615" y="246"/>
                  </a:lnTo>
                  <a:lnTo>
                    <a:pt x="612" y="245"/>
                  </a:lnTo>
                  <a:lnTo>
                    <a:pt x="611" y="246"/>
                  </a:lnTo>
                  <a:lnTo>
                    <a:pt x="610" y="248"/>
                  </a:lnTo>
                  <a:lnTo>
                    <a:pt x="608" y="249"/>
                  </a:lnTo>
                  <a:lnTo>
                    <a:pt x="607" y="250"/>
                  </a:lnTo>
                  <a:lnTo>
                    <a:pt x="605" y="250"/>
                  </a:lnTo>
                  <a:lnTo>
                    <a:pt x="601" y="249"/>
                  </a:lnTo>
                  <a:lnTo>
                    <a:pt x="601" y="246"/>
                  </a:lnTo>
                  <a:lnTo>
                    <a:pt x="602" y="245"/>
                  </a:lnTo>
                  <a:lnTo>
                    <a:pt x="601" y="243"/>
                  </a:lnTo>
                  <a:lnTo>
                    <a:pt x="600" y="244"/>
                  </a:lnTo>
                  <a:lnTo>
                    <a:pt x="598" y="245"/>
                  </a:lnTo>
                  <a:lnTo>
                    <a:pt x="596" y="246"/>
                  </a:lnTo>
                  <a:lnTo>
                    <a:pt x="593" y="245"/>
                  </a:lnTo>
                  <a:lnTo>
                    <a:pt x="590" y="244"/>
                  </a:lnTo>
                  <a:lnTo>
                    <a:pt x="590" y="242"/>
                  </a:lnTo>
                  <a:lnTo>
                    <a:pt x="588" y="240"/>
                  </a:lnTo>
                  <a:lnTo>
                    <a:pt x="587" y="240"/>
                  </a:lnTo>
                  <a:lnTo>
                    <a:pt x="586" y="239"/>
                  </a:lnTo>
                  <a:lnTo>
                    <a:pt x="584" y="240"/>
                  </a:lnTo>
                  <a:lnTo>
                    <a:pt x="583" y="243"/>
                  </a:lnTo>
                  <a:lnTo>
                    <a:pt x="582" y="243"/>
                  </a:lnTo>
                  <a:lnTo>
                    <a:pt x="582" y="239"/>
                  </a:lnTo>
                  <a:lnTo>
                    <a:pt x="582" y="238"/>
                  </a:lnTo>
                  <a:lnTo>
                    <a:pt x="580" y="240"/>
                  </a:lnTo>
                  <a:lnTo>
                    <a:pt x="577" y="242"/>
                  </a:lnTo>
                  <a:lnTo>
                    <a:pt x="576" y="239"/>
                  </a:lnTo>
                  <a:lnTo>
                    <a:pt x="577" y="237"/>
                  </a:lnTo>
                  <a:lnTo>
                    <a:pt x="576" y="236"/>
                  </a:lnTo>
                  <a:lnTo>
                    <a:pt x="574" y="236"/>
                  </a:lnTo>
                  <a:lnTo>
                    <a:pt x="572" y="237"/>
                  </a:lnTo>
                  <a:lnTo>
                    <a:pt x="570" y="236"/>
                  </a:lnTo>
                  <a:lnTo>
                    <a:pt x="568" y="234"/>
                  </a:lnTo>
                  <a:lnTo>
                    <a:pt x="571" y="234"/>
                  </a:lnTo>
                  <a:lnTo>
                    <a:pt x="572" y="233"/>
                  </a:lnTo>
                  <a:lnTo>
                    <a:pt x="571" y="231"/>
                  </a:lnTo>
                  <a:lnTo>
                    <a:pt x="571" y="230"/>
                  </a:lnTo>
                  <a:lnTo>
                    <a:pt x="571" y="226"/>
                  </a:lnTo>
                  <a:lnTo>
                    <a:pt x="574" y="225"/>
                  </a:lnTo>
                  <a:lnTo>
                    <a:pt x="572" y="230"/>
                  </a:lnTo>
                  <a:lnTo>
                    <a:pt x="574" y="231"/>
                  </a:lnTo>
                  <a:lnTo>
                    <a:pt x="575" y="231"/>
                  </a:lnTo>
                  <a:lnTo>
                    <a:pt x="576" y="234"/>
                  </a:lnTo>
                  <a:lnTo>
                    <a:pt x="577" y="234"/>
                  </a:lnTo>
                  <a:lnTo>
                    <a:pt x="580" y="232"/>
                  </a:lnTo>
                  <a:lnTo>
                    <a:pt x="581" y="231"/>
                  </a:lnTo>
                  <a:lnTo>
                    <a:pt x="580" y="228"/>
                  </a:lnTo>
                  <a:lnTo>
                    <a:pt x="577" y="225"/>
                  </a:lnTo>
                  <a:lnTo>
                    <a:pt x="580" y="225"/>
                  </a:lnTo>
                  <a:lnTo>
                    <a:pt x="582" y="231"/>
                  </a:lnTo>
                  <a:lnTo>
                    <a:pt x="583" y="230"/>
                  </a:lnTo>
                  <a:lnTo>
                    <a:pt x="584" y="232"/>
                  </a:lnTo>
                  <a:lnTo>
                    <a:pt x="584" y="234"/>
                  </a:lnTo>
                  <a:lnTo>
                    <a:pt x="586" y="236"/>
                  </a:lnTo>
                  <a:lnTo>
                    <a:pt x="589" y="237"/>
                  </a:lnTo>
                  <a:lnTo>
                    <a:pt x="590" y="237"/>
                  </a:lnTo>
                  <a:lnTo>
                    <a:pt x="593" y="236"/>
                  </a:lnTo>
                  <a:lnTo>
                    <a:pt x="593" y="234"/>
                  </a:lnTo>
                  <a:lnTo>
                    <a:pt x="593" y="233"/>
                  </a:lnTo>
                  <a:lnTo>
                    <a:pt x="590" y="232"/>
                  </a:lnTo>
                  <a:lnTo>
                    <a:pt x="590" y="231"/>
                  </a:lnTo>
                  <a:lnTo>
                    <a:pt x="590" y="227"/>
                  </a:lnTo>
                  <a:lnTo>
                    <a:pt x="587" y="227"/>
                  </a:lnTo>
                  <a:lnTo>
                    <a:pt x="587" y="226"/>
                  </a:lnTo>
                  <a:lnTo>
                    <a:pt x="586" y="225"/>
                  </a:lnTo>
                  <a:lnTo>
                    <a:pt x="584" y="224"/>
                  </a:lnTo>
                  <a:lnTo>
                    <a:pt x="583" y="224"/>
                  </a:lnTo>
                  <a:lnTo>
                    <a:pt x="581" y="221"/>
                  </a:lnTo>
                  <a:lnTo>
                    <a:pt x="582" y="219"/>
                  </a:lnTo>
                  <a:lnTo>
                    <a:pt x="583" y="216"/>
                  </a:lnTo>
                  <a:lnTo>
                    <a:pt x="584" y="218"/>
                  </a:lnTo>
                  <a:lnTo>
                    <a:pt x="584" y="221"/>
                  </a:lnTo>
                  <a:lnTo>
                    <a:pt x="584" y="222"/>
                  </a:lnTo>
                  <a:lnTo>
                    <a:pt x="587" y="224"/>
                  </a:lnTo>
                  <a:lnTo>
                    <a:pt x="593" y="221"/>
                  </a:lnTo>
                  <a:lnTo>
                    <a:pt x="590" y="221"/>
                  </a:lnTo>
                  <a:lnTo>
                    <a:pt x="589" y="220"/>
                  </a:lnTo>
                  <a:lnTo>
                    <a:pt x="593" y="219"/>
                  </a:lnTo>
                  <a:lnTo>
                    <a:pt x="594" y="221"/>
                  </a:lnTo>
                  <a:lnTo>
                    <a:pt x="593" y="224"/>
                  </a:lnTo>
                  <a:lnTo>
                    <a:pt x="596" y="225"/>
                  </a:lnTo>
                  <a:lnTo>
                    <a:pt x="598" y="224"/>
                  </a:lnTo>
                  <a:lnTo>
                    <a:pt x="599" y="224"/>
                  </a:lnTo>
                  <a:lnTo>
                    <a:pt x="600" y="221"/>
                  </a:lnTo>
                  <a:lnTo>
                    <a:pt x="601" y="222"/>
                  </a:lnTo>
                  <a:lnTo>
                    <a:pt x="605" y="222"/>
                  </a:lnTo>
                  <a:lnTo>
                    <a:pt x="607" y="222"/>
                  </a:lnTo>
                  <a:lnTo>
                    <a:pt x="610" y="221"/>
                  </a:lnTo>
                  <a:lnTo>
                    <a:pt x="612" y="221"/>
                  </a:lnTo>
                  <a:lnTo>
                    <a:pt x="613" y="225"/>
                  </a:lnTo>
                  <a:lnTo>
                    <a:pt x="618" y="227"/>
                  </a:lnTo>
                  <a:lnTo>
                    <a:pt x="619" y="228"/>
                  </a:lnTo>
                  <a:lnTo>
                    <a:pt x="622" y="226"/>
                  </a:lnTo>
                  <a:lnTo>
                    <a:pt x="627" y="222"/>
                  </a:lnTo>
                  <a:lnTo>
                    <a:pt x="628" y="220"/>
                  </a:lnTo>
                  <a:lnTo>
                    <a:pt x="629" y="218"/>
                  </a:lnTo>
                  <a:lnTo>
                    <a:pt x="625" y="216"/>
                  </a:lnTo>
                  <a:lnTo>
                    <a:pt x="628" y="214"/>
                  </a:lnTo>
                  <a:lnTo>
                    <a:pt x="630" y="213"/>
                  </a:lnTo>
                  <a:lnTo>
                    <a:pt x="631" y="210"/>
                  </a:lnTo>
                  <a:lnTo>
                    <a:pt x="634" y="209"/>
                  </a:lnTo>
                  <a:lnTo>
                    <a:pt x="635" y="208"/>
                  </a:lnTo>
                  <a:lnTo>
                    <a:pt x="640" y="207"/>
                  </a:lnTo>
                  <a:lnTo>
                    <a:pt x="642" y="205"/>
                  </a:lnTo>
                  <a:lnTo>
                    <a:pt x="643" y="203"/>
                  </a:lnTo>
                  <a:lnTo>
                    <a:pt x="647" y="201"/>
                  </a:lnTo>
                  <a:lnTo>
                    <a:pt x="649" y="196"/>
                  </a:lnTo>
                  <a:lnTo>
                    <a:pt x="651" y="195"/>
                  </a:lnTo>
                  <a:lnTo>
                    <a:pt x="651" y="193"/>
                  </a:lnTo>
                  <a:lnTo>
                    <a:pt x="649" y="192"/>
                  </a:lnTo>
                  <a:lnTo>
                    <a:pt x="643" y="192"/>
                  </a:lnTo>
                  <a:lnTo>
                    <a:pt x="641" y="193"/>
                  </a:lnTo>
                  <a:lnTo>
                    <a:pt x="637" y="192"/>
                  </a:lnTo>
                  <a:lnTo>
                    <a:pt x="634" y="195"/>
                  </a:lnTo>
                  <a:lnTo>
                    <a:pt x="629" y="193"/>
                  </a:lnTo>
                  <a:lnTo>
                    <a:pt x="634" y="192"/>
                  </a:lnTo>
                  <a:lnTo>
                    <a:pt x="635" y="190"/>
                  </a:lnTo>
                  <a:lnTo>
                    <a:pt x="634" y="189"/>
                  </a:lnTo>
                  <a:lnTo>
                    <a:pt x="631" y="187"/>
                  </a:lnTo>
                  <a:lnTo>
                    <a:pt x="634" y="184"/>
                  </a:lnTo>
                  <a:lnTo>
                    <a:pt x="637" y="183"/>
                  </a:lnTo>
                  <a:lnTo>
                    <a:pt x="637" y="178"/>
                  </a:lnTo>
                  <a:lnTo>
                    <a:pt x="635" y="177"/>
                  </a:lnTo>
                  <a:lnTo>
                    <a:pt x="634" y="177"/>
                  </a:lnTo>
                  <a:lnTo>
                    <a:pt x="631" y="180"/>
                  </a:lnTo>
                  <a:lnTo>
                    <a:pt x="629" y="181"/>
                  </a:lnTo>
                  <a:lnTo>
                    <a:pt x="628" y="179"/>
                  </a:lnTo>
                  <a:lnTo>
                    <a:pt x="625" y="181"/>
                  </a:lnTo>
                  <a:lnTo>
                    <a:pt x="623" y="183"/>
                  </a:lnTo>
                  <a:lnTo>
                    <a:pt x="624" y="180"/>
                  </a:lnTo>
                  <a:lnTo>
                    <a:pt x="625" y="177"/>
                  </a:lnTo>
                  <a:lnTo>
                    <a:pt x="628" y="178"/>
                  </a:lnTo>
                  <a:lnTo>
                    <a:pt x="629" y="177"/>
                  </a:lnTo>
                  <a:lnTo>
                    <a:pt x="630" y="175"/>
                  </a:lnTo>
                  <a:lnTo>
                    <a:pt x="631" y="177"/>
                  </a:lnTo>
                  <a:lnTo>
                    <a:pt x="634" y="175"/>
                  </a:lnTo>
                  <a:lnTo>
                    <a:pt x="634" y="172"/>
                  </a:lnTo>
                  <a:lnTo>
                    <a:pt x="631" y="171"/>
                  </a:lnTo>
                  <a:lnTo>
                    <a:pt x="629" y="169"/>
                  </a:lnTo>
                  <a:lnTo>
                    <a:pt x="627" y="171"/>
                  </a:lnTo>
                  <a:lnTo>
                    <a:pt x="624" y="172"/>
                  </a:lnTo>
                  <a:lnTo>
                    <a:pt x="623" y="172"/>
                  </a:lnTo>
                  <a:lnTo>
                    <a:pt x="624" y="171"/>
                  </a:lnTo>
                  <a:lnTo>
                    <a:pt x="631" y="167"/>
                  </a:lnTo>
                  <a:lnTo>
                    <a:pt x="633" y="167"/>
                  </a:lnTo>
                  <a:lnTo>
                    <a:pt x="635" y="165"/>
                  </a:lnTo>
                  <a:lnTo>
                    <a:pt x="636" y="162"/>
                  </a:lnTo>
                  <a:lnTo>
                    <a:pt x="637" y="160"/>
                  </a:lnTo>
                  <a:lnTo>
                    <a:pt x="639" y="157"/>
                  </a:lnTo>
                  <a:lnTo>
                    <a:pt x="636" y="155"/>
                  </a:lnTo>
                  <a:lnTo>
                    <a:pt x="634" y="155"/>
                  </a:lnTo>
                  <a:lnTo>
                    <a:pt x="634" y="157"/>
                  </a:lnTo>
                  <a:lnTo>
                    <a:pt x="631" y="157"/>
                  </a:lnTo>
                  <a:lnTo>
                    <a:pt x="630" y="157"/>
                  </a:lnTo>
                  <a:lnTo>
                    <a:pt x="628" y="159"/>
                  </a:lnTo>
                  <a:lnTo>
                    <a:pt x="625" y="161"/>
                  </a:lnTo>
                  <a:lnTo>
                    <a:pt x="624" y="160"/>
                  </a:lnTo>
                  <a:lnTo>
                    <a:pt x="619" y="161"/>
                  </a:lnTo>
                  <a:lnTo>
                    <a:pt x="618" y="165"/>
                  </a:lnTo>
                  <a:lnTo>
                    <a:pt x="616" y="163"/>
                  </a:lnTo>
                  <a:lnTo>
                    <a:pt x="616" y="162"/>
                  </a:lnTo>
                  <a:lnTo>
                    <a:pt x="617" y="160"/>
                  </a:lnTo>
                  <a:lnTo>
                    <a:pt x="618" y="159"/>
                  </a:lnTo>
                  <a:lnTo>
                    <a:pt x="623" y="159"/>
                  </a:lnTo>
                  <a:lnTo>
                    <a:pt x="628" y="157"/>
                  </a:lnTo>
                  <a:lnTo>
                    <a:pt x="629" y="155"/>
                  </a:lnTo>
                  <a:lnTo>
                    <a:pt x="630" y="150"/>
                  </a:lnTo>
                  <a:lnTo>
                    <a:pt x="633" y="148"/>
                  </a:lnTo>
                  <a:lnTo>
                    <a:pt x="631" y="143"/>
                  </a:lnTo>
                  <a:lnTo>
                    <a:pt x="631" y="141"/>
                  </a:lnTo>
                  <a:lnTo>
                    <a:pt x="629" y="138"/>
                  </a:lnTo>
                  <a:lnTo>
                    <a:pt x="628" y="138"/>
                  </a:lnTo>
                  <a:lnTo>
                    <a:pt x="627" y="138"/>
                  </a:lnTo>
                  <a:lnTo>
                    <a:pt x="624" y="138"/>
                  </a:lnTo>
                  <a:lnTo>
                    <a:pt x="624" y="141"/>
                  </a:lnTo>
                  <a:lnTo>
                    <a:pt x="625" y="144"/>
                  </a:lnTo>
                  <a:lnTo>
                    <a:pt x="623" y="147"/>
                  </a:lnTo>
                  <a:lnTo>
                    <a:pt x="622" y="149"/>
                  </a:lnTo>
                  <a:lnTo>
                    <a:pt x="621" y="150"/>
                  </a:lnTo>
                  <a:lnTo>
                    <a:pt x="618" y="149"/>
                  </a:lnTo>
                  <a:lnTo>
                    <a:pt x="615" y="148"/>
                  </a:lnTo>
                  <a:lnTo>
                    <a:pt x="612" y="148"/>
                  </a:lnTo>
                  <a:lnTo>
                    <a:pt x="608" y="149"/>
                  </a:lnTo>
                  <a:lnTo>
                    <a:pt x="610" y="153"/>
                  </a:lnTo>
                  <a:lnTo>
                    <a:pt x="610" y="156"/>
                  </a:lnTo>
                  <a:lnTo>
                    <a:pt x="612" y="162"/>
                  </a:lnTo>
                  <a:lnTo>
                    <a:pt x="610" y="161"/>
                  </a:lnTo>
                  <a:lnTo>
                    <a:pt x="608" y="159"/>
                  </a:lnTo>
                  <a:lnTo>
                    <a:pt x="607" y="154"/>
                  </a:lnTo>
                  <a:lnTo>
                    <a:pt x="604" y="151"/>
                  </a:lnTo>
                  <a:lnTo>
                    <a:pt x="600" y="151"/>
                  </a:lnTo>
                  <a:lnTo>
                    <a:pt x="598" y="154"/>
                  </a:lnTo>
                  <a:lnTo>
                    <a:pt x="599" y="156"/>
                  </a:lnTo>
                  <a:lnTo>
                    <a:pt x="596" y="157"/>
                  </a:lnTo>
                  <a:lnTo>
                    <a:pt x="594" y="160"/>
                  </a:lnTo>
                  <a:lnTo>
                    <a:pt x="594" y="162"/>
                  </a:lnTo>
                  <a:lnTo>
                    <a:pt x="594" y="165"/>
                  </a:lnTo>
                  <a:lnTo>
                    <a:pt x="594" y="166"/>
                  </a:lnTo>
                  <a:lnTo>
                    <a:pt x="593" y="165"/>
                  </a:lnTo>
                  <a:lnTo>
                    <a:pt x="592" y="161"/>
                  </a:lnTo>
                  <a:lnTo>
                    <a:pt x="589" y="163"/>
                  </a:lnTo>
                  <a:lnTo>
                    <a:pt x="586" y="163"/>
                  </a:lnTo>
                  <a:lnTo>
                    <a:pt x="583" y="167"/>
                  </a:lnTo>
                  <a:lnTo>
                    <a:pt x="582" y="169"/>
                  </a:lnTo>
                  <a:lnTo>
                    <a:pt x="580" y="169"/>
                  </a:lnTo>
                  <a:lnTo>
                    <a:pt x="577" y="168"/>
                  </a:lnTo>
                  <a:lnTo>
                    <a:pt x="576" y="168"/>
                  </a:lnTo>
                  <a:lnTo>
                    <a:pt x="575" y="165"/>
                  </a:lnTo>
                  <a:lnTo>
                    <a:pt x="574" y="162"/>
                  </a:lnTo>
                  <a:lnTo>
                    <a:pt x="570" y="161"/>
                  </a:lnTo>
                  <a:lnTo>
                    <a:pt x="565" y="160"/>
                  </a:lnTo>
                  <a:lnTo>
                    <a:pt x="566" y="159"/>
                  </a:lnTo>
                  <a:lnTo>
                    <a:pt x="570" y="161"/>
                  </a:lnTo>
                  <a:lnTo>
                    <a:pt x="571" y="159"/>
                  </a:lnTo>
                  <a:lnTo>
                    <a:pt x="572" y="156"/>
                  </a:lnTo>
                  <a:lnTo>
                    <a:pt x="576" y="154"/>
                  </a:lnTo>
                  <a:lnTo>
                    <a:pt x="577" y="153"/>
                  </a:lnTo>
                  <a:lnTo>
                    <a:pt x="576" y="149"/>
                  </a:lnTo>
                  <a:lnTo>
                    <a:pt x="575" y="147"/>
                  </a:lnTo>
                  <a:lnTo>
                    <a:pt x="576" y="148"/>
                  </a:lnTo>
                  <a:lnTo>
                    <a:pt x="577" y="147"/>
                  </a:lnTo>
                  <a:lnTo>
                    <a:pt x="577" y="142"/>
                  </a:lnTo>
                  <a:lnTo>
                    <a:pt x="578" y="139"/>
                  </a:lnTo>
                  <a:lnTo>
                    <a:pt x="582" y="136"/>
                  </a:lnTo>
                  <a:lnTo>
                    <a:pt x="587" y="135"/>
                  </a:lnTo>
                  <a:lnTo>
                    <a:pt x="589" y="137"/>
                  </a:lnTo>
                  <a:lnTo>
                    <a:pt x="588" y="139"/>
                  </a:lnTo>
                  <a:lnTo>
                    <a:pt x="588" y="138"/>
                  </a:lnTo>
                  <a:lnTo>
                    <a:pt x="586" y="138"/>
                  </a:lnTo>
                  <a:lnTo>
                    <a:pt x="581" y="141"/>
                  </a:lnTo>
                  <a:lnTo>
                    <a:pt x="578" y="144"/>
                  </a:lnTo>
                  <a:lnTo>
                    <a:pt x="580" y="148"/>
                  </a:lnTo>
                  <a:lnTo>
                    <a:pt x="583" y="150"/>
                  </a:lnTo>
                  <a:lnTo>
                    <a:pt x="587" y="151"/>
                  </a:lnTo>
                  <a:lnTo>
                    <a:pt x="588" y="149"/>
                  </a:lnTo>
                  <a:lnTo>
                    <a:pt x="590" y="150"/>
                  </a:lnTo>
                  <a:lnTo>
                    <a:pt x="593" y="149"/>
                  </a:lnTo>
                  <a:lnTo>
                    <a:pt x="593" y="148"/>
                  </a:lnTo>
                  <a:lnTo>
                    <a:pt x="596" y="149"/>
                  </a:lnTo>
                  <a:lnTo>
                    <a:pt x="598" y="147"/>
                  </a:lnTo>
                  <a:lnTo>
                    <a:pt x="600" y="145"/>
                  </a:lnTo>
                  <a:lnTo>
                    <a:pt x="601" y="143"/>
                  </a:lnTo>
                  <a:lnTo>
                    <a:pt x="599" y="142"/>
                  </a:lnTo>
                  <a:lnTo>
                    <a:pt x="598" y="139"/>
                  </a:lnTo>
                  <a:lnTo>
                    <a:pt x="599" y="138"/>
                  </a:lnTo>
                  <a:lnTo>
                    <a:pt x="602" y="135"/>
                  </a:lnTo>
                  <a:lnTo>
                    <a:pt x="602" y="139"/>
                  </a:lnTo>
                  <a:lnTo>
                    <a:pt x="606" y="138"/>
                  </a:lnTo>
                  <a:lnTo>
                    <a:pt x="606" y="136"/>
                  </a:lnTo>
                  <a:lnTo>
                    <a:pt x="608" y="135"/>
                  </a:lnTo>
                  <a:lnTo>
                    <a:pt x="612" y="133"/>
                  </a:lnTo>
                  <a:lnTo>
                    <a:pt x="615" y="132"/>
                  </a:lnTo>
                  <a:lnTo>
                    <a:pt x="612" y="131"/>
                  </a:lnTo>
                  <a:lnTo>
                    <a:pt x="611" y="130"/>
                  </a:lnTo>
                  <a:lnTo>
                    <a:pt x="611" y="127"/>
                  </a:lnTo>
                  <a:lnTo>
                    <a:pt x="612" y="126"/>
                  </a:lnTo>
                  <a:lnTo>
                    <a:pt x="613" y="125"/>
                  </a:lnTo>
                  <a:lnTo>
                    <a:pt x="613" y="123"/>
                  </a:lnTo>
                  <a:lnTo>
                    <a:pt x="611" y="121"/>
                  </a:lnTo>
                  <a:lnTo>
                    <a:pt x="610" y="121"/>
                  </a:lnTo>
                  <a:lnTo>
                    <a:pt x="610" y="118"/>
                  </a:lnTo>
                  <a:lnTo>
                    <a:pt x="607" y="118"/>
                  </a:lnTo>
                  <a:lnTo>
                    <a:pt x="607" y="120"/>
                  </a:lnTo>
                  <a:lnTo>
                    <a:pt x="607" y="124"/>
                  </a:lnTo>
                  <a:lnTo>
                    <a:pt x="605" y="123"/>
                  </a:lnTo>
                  <a:lnTo>
                    <a:pt x="602" y="120"/>
                  </a:lnTo>
                  <a:lnTo>
                    <a:pt x="601" y="120"/>
                  </a:lnTo>
                  <a:lnTo>
                    <a:pt x="602" y="127"/>
                  </a:lnTo>
                  <a:lnTo>
                    <a:pt x="605" y="130"/>
                  </a:lnTo>
                  <a:lnTo>
                    <a:pt x="602" y="131"/>
                  </a:lnTo>
                  <a:lnTo>
                    <a:pt x="601" y="130"/>
                  </a:lnTo>
                  <a:lnTo>
                    <a:pt x="601" y="126"/>
                  </a:lnTo>
                  <a:lnTo>
                    <a:pt x="599" y="124"/>
                  </a:lnTo>
                  <a:lnTo>
                    <a:pt x="598" y="125"/>
                  </a:lnTo>
                  <a:lnTo>
                    <a:pt x="595" y="126"/>
                  </a:lnTo>
                  <a:lnTo>
                    <a:pt x="593" y="125"/>
                  </a:lnTo>
                  <a:lnTo>
                    <a:pt x="593" y="124"/>
                  </a:lnTo>
                  <a:lnTo>
                    <a:pt x="592" y="125"/>
                  </a:lnTo>
                  <a:lnTo>
                    <a:pt x="589" y="126"/>
                  </a:lnTo>
                  <a:lnTo>
                    <a:pt x="587" y="126"/>
                  </a:lnTo>
                  <a:lnTo>
                    <a:pt x="587" y="127"/>
                  </a:lnTo>
                  <a:lnTo>
                    <a:pt x="586" y="129"/>
                  </a:lnTo>
                  <a:lnTo>
                    <a:pt x="584" y="131"/>
                  </a:lnTo>
                  <a:lnTo>
                    <a:pt x="584" y="130"/>
                  </a:lnTo>
                  <a:lnTo>
                    <a:pt x="584" y="125"/>
                  </a:lnTo>
                  <a:lnTo>
                    <a:pt x="581" y="121"/>
                  </a:lnTo>
                  <a:lnTo>
                    <a:pt x="580" y="120"/>
                  </a:lnTo>
                  <a:lnTo>
                    <a:pt x="578" y="125"/>
                  </a:lnTo>
                  <a:lnTo>
                    <a:pt x="576" y="124"/>
                  </a:lnTo>
                  <a:lnTo>
                    <a:pt x="575" y="123"/>
                  </a:lnTo>
                  <a:lnTo>
                    <a:pt x="575" y="121"/>
                  </a:lnTo>
                  <a:lnTo>
                    <a:pt x="576" y="119"/>
                  </a:lnTo>
                  <a:lnTo>
                    <a:pt x="575" y="117"/>
                  </a:lnTo>
                  <a:lnTo>
                    <a:pt x="572" y="114"/>
                  </a:lnTo>
                  <a:lnTo>
                    <a:pt x="571" y="115"/>
                  </a:lnTo>
                  <a:lnTo>
                    <a:pt x="570" y="117"/>
                  </a:lnTo>
                  <a:lnTo>
                    <a:pt x="568" y="114"/>
                  </a:lnTo>
                  <a:lnTo>
                    <a:pt x="563" y="111"/>
                  </a:lnTo>
                  <a:lnTo>
                    <a:pt x="563" y="109"/>
                  </a:lnTo>
                  <a:lnTo>
                    <a:pt x="562" y="107"/>
                  </a:lnTo>
                  <a:lnTo>
                    <a:pt x="562" y="105"/>
                  </a:lnTo>
                  <a:lnTo>
                    <a:pt x="562" y="102"/>
                  </a:lnTo>
                  <a:lnTo>
                    <a:pt x="559" y="101"/>
                  </a:lnTo>
                  <a:lnTo>
                    <a:pt x="558" y="101"/>
                  </a:lnTo>
                  <a:lnTo>
                    <a:pt x="556" y="100"/>
                  </a:lnTo>
                  <a:lnTo>
                    <a:pt x="557" y="97"/>
                  </a:lnTo>
                  <a:lnTo>
                    <a:pt x="559" y="100"/>
                  </a:lnTo>
                  <a:lnTo>
                    <a:pt x="562" y="98"/>
                  </a:lnTo>
                  <a:lnTo>
                    <a:pt x="564" y="96"/>
                  </a:lnTo>
                  <a:lnTo>
                    <a:pt x="565" y="95"/>
                  </a:lnTo>
                  <a:lnTo>
                    <a:pt x="566" y="91"/>
                  </a:lnTo>
                  <a:lnTo>
                    <a:pt x="568" y="88"/>
                  </a:lnTo>
                  <a:lnTo>
                    <a:pt x="566" y="86"/>
                  </a:lnTo>
                  <a:lnTo>
                    <a:pt x="565" y="85"/>
                  </a:lnTo>
                  <a:lnTo>
                    <a:pt x="562" y="85"/>
                  </a:lnTo>
                  <a:lnTo>
                    <a:pt x="562" y="89"/>
                  </a:lnTo>
                  <a:lnTo>
                    <a:pt x="560" y="90"/>
                  </a:lnTo>
                  <a:lnTo>
                    <a:pt x="558" y="89"/>
                  </a:lnTo>
                  <a:lnTo>
                    <a:pt x="554" y="90"/>
                  </a:lnTo>
                  <a:lnTo>
                    <a:pt x="554" y="94"/>
                  </a:lnTo>
                  <a:lnTo>
                    <a:pt x="552" y="96"/>
                  </a:lnTo>
                  <a:lnTo>
                    <a:pt x="551" y="95"/>
                  </a:lnTo>
                  <a:lnTo>
                    <a:pt x="552" y="90"/>
                  </a:lnTo>
                  <a:lnTo>
                    <a:pt x="551" y="90"/>
                  </a:lnTo>
                  <a:lnTo>
                    <a:pt x="554" y="86"/>
                  </a:lnTo>
                  <a:lnTo>
                    <a:pt x="553" y="85"/>
                  </a:lnTo>
                  <a:lnTo>
                    <a:pt x="552" y="83"/>
                  </a:lnTo>
                  <a:lnTo>
                    <a:pt x="547" y="84"/>
                  </a:lnTo>
                  <a:lnTo>
                    <a:pt x="547" y="88"/>
                  </a:lnTo>
                  <a:lnTo>
                    <a:pt x="543" y="90"/>
                  </a:lnTo>
                  <a:lnTo>
                    <a:pt x="541" y="90"/>
                  </a:lnTo>
                  <a:lnTo>
                    <a:pt x="543" y="85"/>
                  </a:lnTo>
                  <a:lnTo>
                    <a:pt x="545" y="83"/>
                  </a:lnTo>
                  <a:lnTo>
                    <a:pt x="547" y="79"/>
                  </a:lnTo>
                  <a:lnTo>
                    <a:pt x="546" y="78"/>
                  </a:lnTo>
                  <a:lnTo>
                    <a:pt x="543" y="78"/>
                  </a:lnTo>
                  <a:lnTo>
                    <a:pt x="543" y="77"/>
                  </a:lnTo>
                  <a:lnTo>
                    <a:pt x="542" y="78"/>
                  </a:lnTo>
                  <a:lnTo>
                    <a:pt x="541" y="80"/>
                  </a:lnTo>
                  <a:lnTo>
                    <a:pt x="540" y="82"/>
                  </a:lnTo>
                  <a:lnTo>
                    <a:pt x="537" y="80"/>
                  </a:lnTo>
                  <a:lnTo>
                    <a:pt x="536" y="83"/>
                  </a:lnTo>
                  <a:lnTo>
                    <a:pt x="534" y="85"/>
                  </a:lnTo>
                  <a:lnTo>
                    <a:pt x="530" y="86"/>
                  </a:lnTo>
                  <a:lnTo>
                    <a:pt x="529" y="86"/>
                  </a:lnTo>
                  <a:lnTo>
                    <a:pt x="530" y="82"/>
                  </a:lnTo>
                  <a:lnTo>
                    <a:pt x="528" y="82"/>
                  </a:lnTo>
                  <a:lnTo>
                    <a:pt x="527" y="82"/>
                  </a:lnTo>
                  <a:lnTo>
                    <a:pt x="525" y="79"/>
                  </a:lnTo>
                  <a:lnTo>
                    <a:pt x="522" y="79"/>
                  </a:lnTo>
                  <a:lnTo>
                    <a:pt x="522" y="77"/>
                  </a:lnTo>
                  <a:lnTo>
                    <a:pt x="524" y="76"/>
                  </a:lnTo>
                  <a:lnTo>
                    <a:pt x="528" y="74"/>
                  </a:lnTo>
                  <a:lnTo>
                    <a:pt x="529" y="73"/>
                  </a:lnTo>
                  <a:lnTo>
                    <a:pt x="528" y="71"/>
                  </a:lnTo>
                  <a:lnTo>
                    <a:pt x="523" y="71"/>
                  </a:lnTo>
                  <a:lnTo>
                    <a:pt x="521" y="71"/>
                  </a:lnTo>
                  <a:lnTo>
                    <a:pt x="522" y="68"/>
                  </a:lnTo>
                  <a:lnTo>
                    <a:pt x="525" y="67"/>
                  </a:lnTo>
                  <a:lnTo>
                    <a:pt x="528" y="64"/>
                  </a:lnTo>
                  <a:lnTo>
                    <a:pt x="528" y="61"/>
                  </a:lnTo>
                  <a:lnTo>
                    <a:pt x="529" y="59"/>
                  </a:lnTo>
                  <a:lnTo>
                    <a:pt x="527" y="58"/>
                  </a:lnTo>
                  <a:lnTo>
                    <a:pt x="523" y="61"/>
                  </a:lnTo>
                  <a:lnTo>
                    <a:pt x="522" y="64"/>
                  </a:lnTo>
                  <a:lnTo>
                    <a:pt x="519" y="62"/>
                  </a:lnTo>
                  <a:lnTo>
                    <a:pt x="518" y="59"/>
                  </a:lnTo>
                  <a:lnTo>
                    <a:pt x="521" y="56"/>
                  </a:lnTo>
                  <a:lnTo>
                    <a:pt x="522" y="55"/>
                  </a:lnTo>
                  <a:lnTo>
                    <a:pt x="522" y="54"/>
                  </a:lnTo>
                  <a:lnTo>
                    <a:pt x="521" y="52"/>
                  </a:lnTo>
                  <a:lnTo>
                    <a:pt x="519" y="50"/>
                  </a:lnTo>
                  <a:lnTo>
                    <a:pt x="519" y="49"/>
                  </a:lnTo>
                  <a:lnTo>
                    <a:pt x="515" y="50"/>
                  </a:lnTo>
                  <a:lnTo>
                    <a:pt x="513" y="49"/>
                  </a:lnTo>
                  <a:lnTo>
                    <a:pt x="516" y="47"/>
                  </a:lnTo>
                  <a:lnTo>
                    <a:pt x="519" y="46"/>
                  </a:lnTo>
                  <a:lnTo>
                    <a:pt x="521" y="43"/>
                  </a:lnTo>
                  <a:lnTo>
                    <a:pt x="519" y="41"/>
                  </a:lnTo>
                  <a:lnTo>
                    <a:pt x="518" y="40"/>
                  </a:lnTo>
                  <a:lnTo>
                    <a:pt x="513" y="41"/>
                  </a:lnTo>
                  <a:lnTo>
                    <a:pt x="512" y="43"/>
                  </a:lnTo>
                  <a:lnTo>
                    <a:pt x="510" y="42"/>
                  </a:lnTo>
                  <a:lnTo>
                    <a:pt x="509" y="40"/>
                  </a:lnTo>
                  <a:lnTo>
                    <a:pt x="506" y="38"/>
                  </a:lnTo>
                  <a:lnTo>
                    <a:pt x="503" y="41"/>
                  </a:lnTo>
                  <a:lnTo>
                    <a:pt x="498" y="42"/>
                  </a:lnTo>
                  <a:lnTo>
                    <a:pt x="495" y="41"/>
                  </a:lnTo>
                  <a:lnTo>
                    <a:pt x="495" y="40"/>
                  </a:lnTo>
                  <a:lnTo>
                    <a:pt x="501" y="37"/>
                  </a:lnTo>
                  <a:lnTo>
                    <a:pt x="501" y="35"/>
                  </a:lnTo>
                  <a:lnTo>
                    <a:pt x="506" y="35"/>
                  </a:lnTo>
                  <a:lnTo>
                    <a:pt x="510" y="32"/>
                  </a:lnTo>
                  <a:lnTo>
                    <a:pt x="511" y="32"/>
                  </a:lnTo>
                  <a:lnTo>
                    <a:pt x="513" y="30"/>
                  </a:lnTo>
                  <a:lnTo>
                    <a:pt x="511" y="26"/>
                  </a:lnTo>
                  <a:lnTo>
                    <a:pt x="506" y="26"/>
                  </a:lnTo>
                  <a:lnTo>
                    <a:pt x="506" y="24"/>
                  </a:lnTo>
                  <a:lnTo>
                    <a:pt x="505" y="23"/>
                  </a:lnTo>
                  <a:lnTo>
                    <a:pt x="501" y="22"/>
                  </a:lnTo>
                  <a:lnTo>
                    <a:pt x="499" y="25"/>
                  </a:lnTo>
                  <a:lnTo>
                    <a:pt x="497" y="26"/>
                  </a:lnTo>
                  <a:lnTo>
                    <a:pt x="497" y="23"/>
                  </a:lnTo>
                  <a:lnTo>
                    <a:pt x="497" y="22"/>
                  </a:lnTo>
                  <a:lnTo>
                    <a:pt x="495" y="22"/>
                  </a:lnTo>
                  <a:lnTo>
                    <a:pt x="490" y="22"/>
                  </a:lnTo>
                  <a:lnTo>
                    <a:pt x="489" y="26"/>
                  </a:lnTo>
                  <a:lnTo>
                    <a:pt x="488" y="26"/>
                  </a:lnTo>
                  <a:lnTo>
                    <a:pt x="488" y="22"/>
                  </a:lnTo>
                  <a:lnTo>
                    <a:pt x="487" y="18"/>
                  </a:lnTo>
                  <a:lnTo>
                    <a:pt x="486" y="14"/>
                  </a:lnTo>
                  <a:lnTo>
                    <a:pt x="486" y="12"/>
                  </a:lnTo>
                  <a:lnTo>
                    <a:pt x="483" y="12"/>
                  </a:lnTo>
                  <a:lnTo>
                    <a:pt x="482" y="12"/>
                  </a:lnTo>
                  <a:lnTo>
                    <a:pt x="480" y="13"/>
                  </a:lnTo>
                  <a:lnTo>
                    <a:pt x="478" y="14"/>
                  </a:lnTo>
                  <a:lnTo>
                    <a:pt x="476" y="13"/>
                  </a:lnTo>
                  <a:lnTo>
                    <a:pt x="475" y="13"/>
                  </a:lnTo>
                  <a:lnTo>
                    <a:pt x="475" y="11"/>
                  </a:lnTo>
                  <a:lnTo>
                    <a:pt x="476" y="10"/>
                  </a:lnTo>
                  <a:lnTo>
                    <a:pt x="477" y="7"/>
                  </a:lnTo>
                  <a:lnTo>
                    <a:pt x="477" y="6"/>
                  </a:lnTo>
                  <a:lnTo>
                    <a:pt x="477" y="4"/>
                  </a:lnTo>
                  <a:lnTo>
                    <a:pt x="478" y="2"/>
                  </a:lnTo>
                  <a:lnTo>
                    <a:pt x="477" y="1"/>
                  </a:lnTo>
                  <a:lnTo>
                    <a:pt x="477" y="0"/>
                  </a:lnTo>
                  <a:lnTo>
                    <a:pt x="476" y="0"/>
                  </a:lnTo>
                  <a:lnTo>
                    <a:pt x="474" y="1"/>
                  </a:lnTo>
                  <a:lnTo>
                    <a:pt x="474" y="2"/>
                  </a:lnTo>
                  <a:lnTo>
                    <a:pt x="474" y="5"/>
                  </a:lnTo>
                  <a:lnTo>
                    <a:pt x="471" y="6"/>
                  </a:lnTo>
                  <a:lnTo>
                    <a:pt x="471" y="5"/>
                  </a:lnTo>
                  <a:lnTo>
                    <a:pt x="471" y="2"/>
                  </a:lnTo>
                  <a:lnTo>
                    <a:pt x="471" y="1"/>
                  </a:lnTo>
                  <a:lnTo>
                    <a:pt x="469" y="0"/>
                  </a:lnTo>
                  <a:lnTo>
                    <a:pt x="466" y="0"/>
                  </a:lnTo>
                  <a:lnTo>
                    <a:pt x="466" y="2"/>
                  </a:lnTo>
                  <a:lnTo>
                    <a:pt x="465" y="4"/>
                  </a:lnTo>
                  <a:lnTo>
                    <a:pt x="464" y="5"/>
                  </a:lnTo>
                  <a:lnTo>
                    <a:pt x="462" y="6"/>
                  </a:lnTo>
                  <a:lnTo>
                    <a:pt x="462" y="8"/>
                  </a:lnTo>
                  <a:lnTo>
                    <a:pt x="462" y="11"/>
                  </a:lnTo>
                  <a:lnTo>
                    <a:pt x="463" y="12"/>
                  </a:lnTo>
                  <a:lnTo>
                    <a:pt x="463" y="13"/>
                  </a:lnTo>
                  <a:lnTo>
                    <a:pt x="462" y="13"/>
                  </a:lnTo>
                  <a:lnTo>
                    <a:pt x="460" y="13"/>
                  </a:lnTo>
                  <a:lnTo>
                    <a:pt x="460" y="16"/>
                  </a:lnTo>
                  <a:lnTo>
                    <a:pt x="460" y="18"/>
                  </a:lnTo>
                  <a:lnTo>
                    <a:pt x="459" y="19"/>
                  </a:lnTo>
                  <a:lnTo>
                    <a:pt x="458" y="22"/>
                  </a:lnTo>
                  <a:lnTo>
                    <a:pt x="457" y="20"/>
                  </a:lnTo>
                  <a:lnTo>
                    <a:pt x="456" y="19"/>
                  </a:lnTo>
                  <a:lnTo>
                    <a:pt x="454" y="19"/>
                  </a:lnTo>
                  <a:lnTo>
                    <a:pt x="453" y="19"/>
                  </a:lnTo>
                  <a:lnTo>
                    <a:pt x="451" y="20"/>
                  </a:lnTo>
                  <a:lnTo>
                    <a:pt x="451" y="22"/>
                  </a:lnTo>
                  <a:lnTo>
                    <a:pt x="452" y="23"/>
                  </a:lnTo>
                  <a:lnTo>
                    <a:pt x="452" y="25"/>
                  </a:lnTo>
                  <a:lnTo>
                    <a:pt x="453" y="26"/>
                  </a:lnTo>
                  <a:lnTo>
                    <a:pt x="456" y="28"/>
                  </a:lnTo>
                  <a:lnTo>
                    <a:pt x="458" y="28"/>
                  </a:lnTo>
                  <a:lnTo>
                    <a:pt x="459" y="28"/>
                  </a:lnTo>
                  <a:lnTo>
                    <a:pt x="460" y="30"/>
                  </a:lnTo>
                  <a:lnTo>
                    <a:pt x="460" y="32"/>
                  </a:lnTo>
                  <a:lnTo>
                    <a:pt x="459" y="32"/>
                  </a:lnTo>
                  <a:lnTo>
                    <a:pt x="457" y="32"/>
                  </a:lnTo>
                  <a:lnTo>
                    <a:pt x="456" y="31"/>
                  </a:lnTo>
                  <a:lnTo>
                    <a:pt x="453" y="29"/>
                  </a:lnTo>
                  <a:lnTo>
                    <a:pt x="452" y="28"/>
                  </a:lnTo>
                  <a:lnTo>
                    <a:pt x="451" y="25"/>
                  </a:lnTo>
                  <a:lnTo>
                    <a:pt x="450" y="23"/>
                  </a:lnTo>
                  <a:lnTo>
                    <a:pt x="448" y="22"/>
                  </a:lnTo>
                  <a:lnTo>
                    <a:pt x="446" y="20"/>
                  </a:lnTo>
                  <a:lnTo>
                    <a:pt x="445" y="20"/>
                  </a:lnTo>
                  <a:lnTo>
                    <a:pt x="444" y="22"/>
                  </a:lnTo>
                  <a:lnTo>
                    <a:pt x="442" y="24"/>
                  </a:lnTo>
                  <a:lnTo>
                    <a:pt x="444" y="26"/>
                  </a:lnTo>
                  <a:lnTo>
                    <a:pt x="445" y="29"/>
                  </a:lnTo>
                  <a:lnTo>
                    <a:pt x="447" y="34"/>
                  </a:lnTo>
                  <a:lnTo>
                    <a:pt x="450" y="35"/>
                  </a:lnTo>
                  <a:lnTo>
                    <a:pt x="451" y="36"/>
                  </a:lnTo>
                  <a:lnTo>
                    <a:pt x="450" y="37"/>
                  </a:lnTo>
                  <a:lnTo>
                    <a:pt x="448" y="37"/>
                  </a:lnTo>
                  <a:lnTo>
                    <a:pt x="448" y="38"/>
                  </a:lnTo>
                  <a:lnTo>
                    <a:pt x="448" y="40"/>
                  </a:lnTo>
                  <a:lnTo>
                    <a:pt x="450" y="40"/>
                  </a:lnTo>
                  <a:lnTo>
                    <a:pt x="451" y="41"/>
                  </a:lnTo>
                  <a:lnTo>
                    <a:pt x="453" y="41"/>
                  </a:lnTo>
                  <a:lnTo>
                    <a:pt x="454" y="40"/>
                  </a:lnTo>
                  <a:lnTo>
                    <a:pt x="456" y="40"/>
                  </a:lnTo>
                  <a:lnTo>
                    <a:pt x="456" y="41"/>
                  </a:lnTo>
                  <a:lnTo>
                    <a:pt x="454" y="41"/>
                  </a:lnTo>
                  <a:lnTo>
                    <a:pt x="453" y="42"/>
                  </a:lnTo>
                  <a:lnTo>
                    <a:pt x="456" y="43"/>
                  </a:lnTo>
                  <a:lnTo>
                    <a:pt x="457" y="43"/>
                  </a:lnTo>
                  <a:lnTo>
                    <a:pt x="457" y="46"/>
                  </a:lnTo>
                  <a:lnTo>
                    <a:pt x="454" y="46"/>
                  </a:lnTo>
                  <a:lnTo>
                    <a:pt x="452" y="46"/>
                  </a:lnTo>
                  <a:lnTo>
                    <a:pt x="450" y="46"/>
                  </a:lnTo>
                  <a:lnTo>
                    <a:pt x="448" y="44"/>
                  </a:lnTo>
                  <a:lnTo>
                    <a:pt x="448" y="43"/>
                  </a:lnTo>
                  <a:lnTo>
                    <a:pt x="447" y="43"/>
                  </a:lnTo>
                  <a:lnTo>
                    <a:pt x="446" y="43"/>
                  </a:lnTo>
                  <a:lnTo>
                    <a:pt x="445" y="44"/>
                  </a:lnTo>
                  <a:lnTo>
                    <a:pt x="444" y="46"/>
                  </a:lnTo>
                  <a:lnTo>
                    <a:pt x="446" y="50"/>
                  </a:lnTo>
                  <a:lnTo>
                    <a:pt x="448" y="52"/>
                  </a:lnTo>
                  <a:lnTo>
                    <a:pt x="450" y="53"/>
                  </a:lnTo>
                  <a:lnTo>
                    <a:pt x="452" y="54"/>
                  </a:lnTo>
                  <a:lnTo>
                    <a:pt x="453" y="53"/>
                  </a:lnTo>
                  <a:lnTo>
                    <a:pt x="456" y="52"/>
                  </a:lnTo>
                  <a:lnTo>
                    <a:pt x="457" y="49"/>
                  </a:lnTo>
                  <a:lnTo>
                    <a:pt x="459" y="49"/>
                  </a:lnTo>
                  <a:lnTo>
                    <a:pt x="462" y="49"/>
                  </a:lnTo>
                  <a:lnTo>
                    <a:pt x="464" y="49"/>
                  </a:lnTo>
                  <a:lnTo>
                    <a:pt x="464" y="50"/>
                  </a:lnTo>
                  <a:lnTo>
                    <a:pt x="463" y="52"/>
                  </a:lnTo>
                  <a:lnTo>
                    <a:pt x="462" y="52"/>
                  </a:lnTo>
                  <a:lnTo>
                    <a:pt x="459" y="52"/>
                  </a:lnTo>
                  <a:lnTo>
                    <a:pt x="458" y="52"/>
                  </a:lnTo>
                  <a:lnTo>
                    <a:pt x="457" y="52"/>
                  </a:lnTo>
                  <a:lnTo>
                    <a:pt x="457" y="53"/>
                  </a:lnTo>
                  <a:lnTo>
                    <a:pt x="458" y="54"/>
                  </a:lnTo>
                  <a:lnTo>
                    <a:pt x="459" y="54"/>
                  </a:lnTo>
                  <a:lnTo>
                    <a:pt x="462" y="54"/>
                  </a:lnTo>
                  <a:lnTo>
                    <a:pt x="460" y="55"/>
                  </a:lnTo>
                  <a:lnTo>
                    <a:pt x="460" y="56"/>
                  </a:lnTo>
                  <a:lnTo>
                    <a:pt x="460" y="59"/>
                  </a:lnTo>
                  <a:lnTo>
                    <a:pt x="463" y="59"/>
                  </a:lnTo>
                  <a:lnTo>
                    <a:pt x="464" y="59"/>
                  </a:lnTo>
                  <a:lnTo>
                    <a:pt x="465" y="58"/>
                  </a:lnTo>
                  <a:lnTo>
                    <a:pt x="465" y="56"/>
                  </a:lnTo>
                  <a:lnTo>
                    <a:pt x="465" y="55"/>
                  </a:lnTo>
                  <a:lnTo>
                    <a:pt x="465" y="54"/>
                  </a:lnTo>
                  <a:lnTo>
                    <a:pt x="465" y="53"/>
                  </a:lnTo>
                  <a:lnTo>
                    <a:pt x="466" y="53"/>
                  </a:lnTo>
                  <a:lnTo>
                    <a:pt x="469" y="53"/>
                  </a:lnTo>
                  <a:lnTo>
                    <a:pt x="470" y="53"/>
                  </a:lnTo>
                  <a:lnTo>
                    <a:pt x="470" y="54"/>
                  </a:lnTo>
                  <a:lnTo>
                    <a:pt x="470" y="55"/>
                  </a:lnTo>
                  <a:lnTo>
                    <a:pt x="469" y="55"/>
                  </a:lnTo>
                  <a:lnTo>
                    <a:pt x="468" y="54"/>
                  </a:lnTo>
                  <a:lnTo>
                    <a:pt x="466" y="55"/>
                  </a:lnTo>
                  <a:lnTo>
                    <a:pt x="468" y="56"/>
                  </a:lnTo>
                  <a:lnTo>
                    <a:pt x="466" y="58"/>
                  </a:lnTo>
                  <a:lnTo>
                    <a:pt x="466" y="59"/>
                  </a:lnTo>
                  <a:lnTo>
                    <a:pt x="465" y="59"/>
                  </a:lnTo>
                  <a:lnTo>
                    <a:pt x="464" y="60"/>
                  </a:lnTo>
                  <a:lnTo>
                    <a:pt x="463" y="60"/>
                  </a:lnTo>
                  <a:lnTo>
                    <a:pt x="462" y="60"/>
                  </a:lnTo>
                  <a:lnTo>
                    <a:pt x="460" y="60"/>
                  </a:lnTo>
                  <a:lnTo>
                    <a:pt x="460" y="61"/>
                  </a:lnTo>
                  <a:lnTo>
                    <a:pt x="462" y="61"/>
                  </a:lnTo>
                  <a:lnTo>
                    <a:pt x="464" y="64"/>
                  </a:lnTo>
                  <a:lnTo>
                    <a:pt x="465" y="65"/>
                  </a:lnTo>
                  <a:lnTo>
                    <a:pt x="464" y="66"/>
                  </a:lnTo>
                  <a:lnTo>
                    <a:pt x="462" y="66"/>
                  </a:lnTo>
                  <a:lnTo>
                    <a:pt x="460" y="65"/>
                  </a:lnTo>
                  <a:lnTo>
                    <a:pt x="459" y="65"/>
                  </a:lnTo>
                  <a:lnTo>
                    <a:pt x="459" y="66"/>
                  </a:lnTo>
                  <a:lnTo>
                    <a:pt x="459" y="67"/>
                  </a:lnTo>
                  <a:lnTo>
                    <a:pt x="458" y="67"/>
                  </a:lnTo>
                  <a:lnTo>
                    <a:pt x="457" y="67"/>
                  </a:lnTo>
                  <a:lnTo>
                    <a:pt x="456" y="67"/>
                  </a:lnTo>
                  <a:lnTo>
                    <a:pt x="454" y="67"/>
                  </a:lnTo>
                  <a:lnTo>
                    <a:pt x="453" y="68"/>
                  </a:lnTo>
                  <a:lnTo>
                    <a:pt x="453" y="67"/>
                  </a:lnTo>
                  <a:lnTo>
                    <a:pt x="453" y="66"/>
                  </a:lnTo>
                  <a:lnTo>
                    <a:pt x="452" y="66"/>
                  </a:lnTo>
                  <a:lnTo>
                    <a:pt x="452" y="65"/>
                  </a:lnTo>
                  <a:lnTo>
                    <a:pt x="451" y="65"/>
                  </a:lnTo>
                  <a:lnTo>
                    <a:pt x="450" y="65"/>
                  </a:lnTo>
                  <a:lnTo>
                    <a:pt x="448" y="65"/>
                  </a:lnTo>
                  <a:lnTo>
                    <a:pt x="447" y="65"/>
                  </a:lnTo>
                  <a:lnTo>
                    <a:pt x="446" y="66"/>
                  </a:lnTo>
                  <a:lnTo>
                    <a:pt x="445" y="66"/>
                  </a:lnTo>
                  <a:lnTo>
                    <a:pt x="441" y="66"/>
                  </a:lnTo>
                  <a:lnTo>
                    <a:pt x="441" y="65"/>
                  </a:lnTo>
                  <a:lnTo>
                    <a:pt x="440" y="64"/>
                  </a:lnTo>
                  <a:lnTo>
                    <a:pt x="440" y="62"/>
                  </a:lnTo>
                  <a:lnTo>
                    <a:pt x="439" y="61"/>
                  </a:lnTo>
                  <a:lnTo>
                    <a:pt x="436" y="61"/>
                  </a:lnTo>
                  <a:lnTo>
                    <a:pt x="435" y="62"/>
                  </a:lnTo>
                  <a:lnTo>
                    <a:pt x="434" y="64"/>
                  </a:lnTo>
                  <a:lnTo>
                    <a:pt x="434" y="65"/>
                  </a:lnTo>
                  <a:lnTo>
                    <a:pt x="434" y="66"/>
                  </a:lnTo>
                  <a:lnTo>
                    <a:pt x="433" y="65"/>
                  </a:lnTo>
                  <a:lnTo>
                    <a:pt x="431" y="64"/>
                  </a:lnTo>
                  <a:lnTo>
                    <a:pt x="429" y="65"/>
                  </a:lnTo>
                  <a:lnTo>
                    <a:pt x="428" y="65"/>
                  </a:lnTo>
                  <a:lnTo>
                    <a:pt x="427" y="66"/>
                  </a:lnTo>
                  <a:lnTo>
                    <a:pt x="427" y="67"/>
                  </a:lnTo>
                  <a:lnTo>
                    <a:pt x="428" y="68"/>
                  </a:lnTo>
                  <a:lnTo>
                    <a:pt x="429" y="70"/>
                  </a:lnTo>
                  <a:lnTo>
                    <a:pt x="430" y="71"/>
                  </a:lnTo>
                  <a:lnTo>
                    <a:pt x="430" y="72"/>
                  </a:lnTo>
                  <a:lnTo>
                    <a:pt x="431" y="73"/>
                  </a:lnTo>
                  <a:lnTo>
                    <a:pt x="433" y="73"/>
                  </a:lnTo>
                  <a:lnTo>
                    <a:pt x="434" y="72"/>
                  </a:lnTo>
                  <a:lnTo>
                    <a:pt x="436" y="73"/>
                  </a:lnTo>
                  <a:lnTo>
                    <a:pt x="438" y="74"/>
                  </a:lnTo>
                  <a:lnTo>
                    <a:pt x="439" y="77"/>
                  </a:lnTo>
                  <a:lnTo>
                    <a:pt x="440" y="77"/>
                  </a:lnTo>
                  <a:lnTo>
                    <a:pt x="441" y="79"/>
                  </a:lnTo>
                  <a:lnTo>
                    <a:pt x="442" y="79"/>
                  </a:lnTo>
                  <a:lnTo>
                    <a:pt x="445" y="80"/>
                  </a:lnTo>
                  <a:lnTo>
                    <a:pt x="447" y="79"/>
                  </a:lnTo>
                  <a:lnTo>
                    <a:pt x="448" y="79"/>
                  </a:lnTo>
                  <a:lnTo>
                    <a:pt x="450" y="80"/>
                  </a:lnTo>
                  <a:lnTo>
                    <a:pt x="450" y="82"/>
                  </a:lnTo>
                  <a:lnTo>
                    <a:pt x="450" y="83"/>
                  </a:lnTo>
                  <a:lnTo>
                    <a:pt x="450" y="84"/>
                  </a:lnTo>
                  <a:lnTo>
                    <a:pt x="452" y="85"/>
                  </a:lnTo>
                  <a:lnTo>
                    <a:pt x="453" y="84"/>
                  </a:lnTo>
                  <a:lnTo>
                    <a:pt x="454" y="84"/>
                  </a:lnTo>
                  <a:lnTo>
                    <a:pt x="456" y="82"/>
                  </a:lnTo>
                  <a:lnTo>
                    <a:pt x="454" y="80"/>
                  </a:lnTo>
                  <a:lnTo>
                    <a:pt x="457" y="80"/>
                  </a:lnTo>
                  <a:lnTo>
                    <a:pt x="459" y="80"/>
                  </a:lnTo>
                  <a:lnTo>
                    <a:pt x="460" y="82"/>
                  </a:lnTo>
                  <a:lnTo>
                    <a:pt x="460" y="83"/>
                  </a:lnTo>
                  <a:lnTo>
                    <a:pt x="462" y="85"/>
                  </a:lnTo>
                  <a:lnTo>
                    <a:pt x="460" y="86"/>
                  </a:lnTo>
                  <a:lnTo>
                    <a:pt x="458" y="85"/>
                  </a:lnTo>
                  <a:lnTo>
                    <a:pt x="458" y="84"/>
                  </a:lnTo>
                  <a:lnTo>
                    <a:pt x="457" y="84"/>
                  </a:lnTo>
                  <a:lnTo>
                    <a:pt x="454" y="85"/>
                  </a:lnTo>
                  <a:lnTo>
                    <a:pt x="453" y="85"/>
                  </a:lnTo>
                  <a:lnTo>
                    <a:pt x="452" y="88"/>
                  </a:lnTo>
                  <a:lnTo>
                    <a:pt x="453" y="89"/>
                  </a:lnTo>
                  <a:lnTo>
                    <a:pt x="453" y="91"/>
                  </a:lnTo>
                  <a:lnTo>
                    <a:pt x="454" y="92"/>
                  </a:lnTo>
                  <a:lnTo>
                    <a:pt x="456" y="94"/>
                  </a:lnTo>
                  <a:lnTo>
                    <a:pt x="456" y="96"/>
                  </a:lnTo>
                  <a:lnTo>
                    <a:pt x="456" y="97"/>
                  </a:lnTo>
                  <a:lnTo>
                    <a:pt x="453" y="96"/>
                  </a:lnTo>
                  <a:lnTo>
                    <a:pt x="453" y="94"/>
                  </a:lnTo>
                  <a:lnTo>
                    <a:pt x="452" y="94"/>
                  </a:lnTo>
                  <a:lnTo>
                    <a:pt x="451" y="96"/>
                  </a:lnTo>
                  <a:lnTo>
                    <a:pt x="451" y="97"/>
                  </a:lnTo>
                  <a:lnTo>
                    <a:pt x="448" y="97"/>
                  </a:lnTo>
                  <a:lnTo>
                    <a:pt x="448" y="96"/>
                  </a:lnTo>
                  <a:lnTo>
                    <a:pt x="448" y="94"/>
                  </a:lnTo>
                  <a:lnTo>
                    <a:pt x="447" y="94"/>
                  </a:lnTo>
                  <a:lnTo>
                    <a:pt x="446" y="96"/>
                  </a:lnTo>
                  <a:lnTo>
                    <a:pt x="445" y="96"/>
                  </a:lnTo>
                  <a:lnTo>
                    <a:pt x="445" y="94"/>
                  </a:lnTo>
                  <a:lnTo>
                    <a:pt x="444" y="92"/>
                  </a:lnTo>
                  <a:lnTo>
                    <a:pt x="442" y="92"/>
                  </a:lnTo>
                  <a:lnTo>
                    <a:pt x="441" y="92"/>
                  </a:lnTo>
                  <a:lnTo>
                    <a:pt x="440" y="92"/>
                  </a:lnTo>
                  <a:lnTo>
                    <a:pt x="440" y="94"/>
                  </a:lnTo>
                  <a:lnTo>
                    <a:pt x="439" y="92"/>
                  </a:lnTo>
                  <a:lnTo>
                    <a:pt x="440" y="90"/>
                  </a:lnTo>
                  <a:lnTo>
                    <a:pt x="440" y="89"/>
                  </a:lnTo>
                  <a:lnTo>
                    <a:pt x="441" y="86"/>
                  </a:lnTo>
                  <a:lnTo>
                    <a:pt x="441" y="84"/>
                  </a:lnTo>
                  <a:lnTo>
                    <a:pt x="441" y="83"/>
                  </a:lnTo>
                  <a:lnTo>
                    <a:pt x="441" y="82"/>
                  </a:lnTo>
                  <a:lnTo>
                    <a:pt x="439" y="83"/>
                  </a:lnTo>
                  <a:lnTo>
                    <a:pt x="438" y="82"/>
                  </a:lnTo>
                  <a:lnTo>
                    <a:pt x="436" y="82"/>
                  </a:lnTo>
                  <a:lnTo>
                    <a:pt x="435" y="83"/>
                  </a:lnTo>
                  <a:lnTo>
                    <a:pt x="435" y="85"/>
                  </a:lnTo>
                  <a:lnTo>
                    <a:pt x="434" y="88"/>
                  </a:lnTo>
                  <a:lnTo>
                    <a:pt x="434" y="91"/>
                  </a:lnTo>
                  <a:lnTo>
                    <a:pt x="434" y="92"/>
                  </a:lnTo>
                  <a:lnTo>
                    <a:pt x="433" y="94"/>
                  </a:lnTo>
                  <a:lnTo>
                    <a:pt x="433" y="91"/>
                  </a:lnTo>
                  <a:lnTo>
                    <a:pt x="433" y="89"/>
                  </a:lnTo>
                  <a:lnTo>
                    <a:pt x="433" y="85"/>
                  </a:lnTo>
                  <a:lnTo>
                    <a:pt x="433" y="83"/>
                  </a:lnTo>
                  <a:lnTo>
                    <a:pt x="433" y="80"/>
                  </a:lnTo>
                  <a:lnTo>
                    <a:pt x="431" y="79"/>
                  </a:lnTo>
                  <a:lnTo>
                    <a:pt x="429" y="80"/>
                  </a:lnTo>
                  <a:lnTo>
                    <a:pt x="429" y="82"/>
                  </a:lnTo>
                  <a:lnTo>
                    <a:pt x="428" y="83"/>
                  </a:lnTo>
                  <a:lnTo>
                    <a:pt x="427" y="82"/>
                  </a:lnTo>
                  <a:lnTo>
                    <a:pt x="425" y="82"/>
                  </a:lnTo>
                  <a:lnTo>
                    <a:pt x="424" y="82"/>
                  </a:lnTo>
                  <a:lnTo>
                    <a:pt x="424" y="83"/>
                  </a:lnTo>
                  <a:lnTo>
                    <a:pt x="423" y="84"/>
                  </a:lnTo>
                  <a:lnTo>
                    <a:pt x="423" y="83"/>
                  </a:lnTo>
                  <a:lnTo>
                    <a:pt x="422" y="82"/>
                  </a:lnTo>
                  <a:lnTo>
                    <a:pt x="421" y="82"/>
                  </a:lnTo>
                  <a:lnTo>
                    <a:pt x="422" y="84"/>
                  </a:lnTo>
                  <a:lnTo>
                    <a:pt x="422" y="88"/>
                  </a:lnTo>
                  <a:lnTo>
                    <a:pt x="422" y="89"/>
                  </a:lnTo>
                  <a:lnTo>
                    <a:pt x="423" y="91"/>
                  </a:lnTo>
                  <a:lnTo>
                    <a:pt x="424" y="92"/>
                  </a:lnTo>
                  <a:lnTo>
                    <a:pt x="424" y="95"/>
                  </a:lnTo>
                  <a:lnTo>
                    <a:pt x="424" y="97"/>
                  </a:lnTo>
                  <a:lnTo>
                    <a:pt x="425" y="98"/>
                  </a:lnTo>
                  <a:lnTo>
                    <a:pt x="427" y="100"/>
                  </a:lnTo>
                  <a:lnTo>
                    <a:pt x="427" y="101"/>
                  </a:lnTo>
                  <a:lnTo>
                    <a:pt x="425" y="101"/>
                  </a:lnTo>
                  <a:lnTo>
                    <a:pt x="424" y="101"/>
                  </a:lnTo>
                  <a:lnTo>
                    <a:pt x="424" y="103"/>
                  </a:lnTo>
                  <a:lnTo>
                    <a:pt x="424" y="105"/>
                  </a:lnTo>
                  <a:lnTo>
                    <a:pt x="424" y="107"/>
                  </a:lnTo>
                  <a:lnTo>
                    <a:pt x="424" y="109"/>
                  </a:lnTo>
                  <a:lnTo>
                    <a:pt x="425" y="112"/>
                  </a:lnTo>
                  <a:lnTo>
                    <a:pt x="425" y="113"/>
                  </a:lnTo>
                  <a:lnTo>
                    <a:pt x="424" y="114"/>
                  </a:lnTo>
                  <a:lnTo>
                    <a:pt x="423" y="113"/>
                  </a:lnTo>
                  <a:lnTo>
                    <a:pt x="422" y="112"/>
                  </a:lnTo>
                  <a:lnTo>
                    <a:pt x="422" y="111"/>
                  </a:lnTo>
                  <a:lnTo>
                    <a:pt x="422" y="109"/>
                  </a:lnTo>
                  <a:lnTo>
                    <a:pt x="422" y="108"/>
                  </a:lnTo>
                  <a:lnTo>
                    <a:pt x="422" y="106"/>
                  </a:lnTo>
                  <a:lnTo>
                    <a:pt x="422" y="105"/>
                  </a:lnTo>
                  <a:lnTo>
                    <a:pt x="422" y="103"/>
                  </a:lnTo>
                  <a:lnTo>
                    <a:pt x="421" y="103"/>
                  </a:lnTo>
                  <a:lnTo>
                    <a:pt x="419" y="103"/>
                  </a:lnTo>
                  <a:lnTo>
                    <a:pt x="419" y="106"/>
                  </a:lnTo>
                  <a:lnTo>
                    <a:pt x="418" y="107"/>
                  </a:lnTo>
                  <a:lnTo>
                    <a:pt x="417" y="108"/>
                  </a:lnTo>
                  <a:lnTo>
                    <a:pt x="416" y="107"/>
                  </a:lnTo>
                  <a:lnTo>
                    <a:pt x="417" y="106"/>
                  </a:lnTo>
                  <a:lnTo>
                    <a:pt x="418" y="105"/>
                  </a:lnTo>
                  <a:lnTo>
                    <a:pt x="418" y="103"/>
                  </a:lnTo>
                  <a:lnTo>
                    <a:pt x="418" y="102"/>
                  </a:lnTo>
                  <a:lnTo>
                    <a:pt x="417" y="102"/>
                  </a:lnTo>
                  <a:lnTo>
                    <a:pt x="416" y="101"/>
                  </a:lnTo>
                  <a:lnTo>
                    <a:pt x="416" y="100"/>
                  </a:lnTo>
                  <a:lnTo>
                    <a:pt x="415" y="100"/>
                  </a:lnTo>
                  <a:lnTo>
                    <a:pt x="413" y="101"/>
                  </a:lnTo>
                  <a:lnTo>
                    <a:pt x="413" y="102"/>
                  </a:lnTo>
                  <a:lnTo>
                    <a:pt x="411" y="102"/>
                  </a:lnTo>
                  <a:lnTo>
                    <a:pt x="411" y="101"/>
                  </a:lnTo>
                  <a:lnTo>
                    <a:pt x="411" y="100"/>
                  </a:lnTo>
                  <a:lnTo>
                    <a:pt x="410" y="98"/>
                  </a:lnTo>
                  <a:lnTo>
                    <a:pt x="410" y="97"/>
                  </a:lnTo>
                  <a:lnTo>
                    <a:pt x="409" y="96"/>
                  </a:lnTo>
                  <a:lnTo>
                    <a:pt x="407" y="96"/>
                  </a:lnTo>
                  <a:lnTo>
                    <a:pt x="405" y="96"/>
                  </a:lnTo>
                  <a:lnTo>
                    <a:pt x="405" y="97"/>
                  </a:lnTo>
                  <a:lnTo>
                    <a:pt x="404" y="100"/>
                  </a:lnTo>
                  <a:lnTo>
                    <a:pt x="404" y="101"/>
                  </a:lnTo>
                  <a:lnTo>
                    <a:pt x="404" y="102"/>
                  </a:lnTo>
                  <a:lnTo>
                    <a:pt x="405" y="103"/>
                  </a:lnTo>
                  <a:lnTo>
                    <a:pt x="406" y="106"/>
                  </a:lnTo>
                  <a:lnTo>
                    <a:pt x="404" y="106"/>
                  </a:lnTo>
                  <a:lnTo>
                    <a:pt x="403" y="107"/>
                  </a:lnTo>
                  <a:lnTo>
                    <a:pt x="403" y="109"/>
                  </a:lnTo>
                  <a:lnTo>
                    <a:pt x="404" y="109"/>
                  </a:lnTo>
                  <a:lnTo>
                    <a:pt x="405" y="111"/>
                  </a:lnTo>
                  <a:lnTo>
                    <a:pt x="406" y="111"/>
                  </a:lnTo>
                  <a:lnTo>
                    <a:pt x="406" y="112"/>
                  </a:lnTo>
                  <a:lnTo>
                    <a:pt x="406" y="113"/>
                  </a:lnTo>
                  <a:lnTo>
                    <a:pt x="407" y="113"/>
                  </a:lnTo>
                  <a:lnTo>
                    <a:pt x="409" y="112"/>
                  </a:lnTo>
                  <a:lnTo>
                    <a:pt x="410" y="113"/>
                  </a:lnTo>
                  <a:lnTo>
                    <a:pt x="410" y="115"/>
                  </a:lnTo>
                  <a:lnTo>
                    <a:pt x="412" y="115"/>
                  </a:lnTo>
                  <a:lnTo>
                    <a:pt x="411" y="118"/>
                  </a:lnTo>
                  <a:lnTo>
                    <a:pt x="411" y="119"/>
                  </a:lnTo>
                  <a:lnTo>
                    <a:pt x="412" y="119"/>
                  </a:lnTo>
                  <a:lnTo>
                    <a:pt x="413" y="120"/>
                  </a:lnTo>
                  <a:lnTo>
                    <a:pt x="415" y="120"/>
                  </a:lnTo>
                  <a:lnTo>
                    <a:pt x="413" y="123"/>
                  </a:lnTo>
                  <a:lnTo>
                    <a:pt x="415" y="124"/>
                  </a:lnTo>
                  <a:lnTo>
                    <a:pt x="416" y="124"/>
                  </a:lnTo>
                  <a:lnTo>
                    <a:pt x="417" y="123"/>
                  </a:lnTo>
                  <a:lnTo>
                    <a:pt x="419" y="123"/>
                  </a:lnTo>
                  <a:lnTo>
                    <a:pt x="418" y="124"/>
                  </a:lnTo>
                  <a:lnTo>
                    <a:pt x="418" y="126"/>
                  </a:lnTo>
                  <a:lnTo>
                    <a:pt x="418" y="127"/>
                  </a:lnTo>
                  <a:lnTo>
                    <a:pt x="417" y="126"/>
                  </a:lnTo>
                  <a:lnTo>
                    <a:pt x="416" y="126"/>
                  </a:lnTo>
                  <a:lnTo>
                    <a:pt x="415" y="126"/>
                  </a:lnTo>
                  <a:lnTo>
                    <a:pt x="413" y="126"/>
                  </a:lnTo>
                  <a:lnTo>
                    <a:pt x="412" y="125"/>
                  </a:lnTo>
                  <a:lnTo>
                    <a:pt x="412" y="123"/>
                  </a:lnTo>
                  <a:lnTo>
                    <a:pt x="411" y="121"/>
                  </a:lnTo>
                  <a:lnTo>
                    <a:pt x="410" y="120"/>
                  </a:lnTo>
                  <a:lnTo>
                    <a:pt x="409" y="119"/>
                  </a:lnTo>
                  <a:lnTo>
                    <a:pt x="409" y="118"/>
                  </a:lnTo>
                  <a:lnTo>
                    <a:pt x="409" y="117"/>
                  </a:lnTo>
                  <a:lnTo>
                    <a:pt x="407" y="115"/>
                  </a:lnTo>
                  <a:lnTo>
                    <a:pt x="407" y="114"/>
                  </a:lnTo>
                  <a:lnTo>
                    <a:pt x="406" y="114"/>
                  </a:lnTo>
                  <a:lnTo>
                    <a:pt x="405" y="115"/>
                  </a:lnTo>
                  <a:lnTo>
                    <a:pt x="405" y="117"/>
                  </a:lnTo>
                  <a:lnTo>
                    <a:pt x="404" y="117"/>
                  </a:lnTo>
                  <a:lnTo>
                    <a:pt x="404" y="118"/>
                  </a:lnTo>
                  <a:lnTo>
                    <a:pt x="406" y="120"/>
                  </a:lnTo>
                  <a:lnTo>
                    <a:pt x="406" y="121"/>
                  </a:lnTo>
                  <a:lnTo>
                    <a:pt x="406" y="123"/>
                  </a:lnTo>
                  <a:lnTo>
                    <a:pt x="409" y="124"/>
                  </a:lnTo>
                  <a:lnTo>
                    <a:pt x="407" y="125"/>
                  </a:lnTo>
                  <a:lnTo>
                    <a:pt x="406" y="125"/>
                  </a:lnTo>
                  <a:lnTo>
                    <a:pt x="405" y="125"/>
                  </a:lnTo>
                  <a:lnTo>
                    <a:pt x="404" y="124"/>
                  </a:lnTo>
                  <a:lnTo>
                    <a:pt x="404" y="123"/>
                  </a:lnTo>
                  <a:lnTo>
                    <a:pt x="404" y="120"/>
                  </a:lnTo>
                  <a:lnTo>
                    <a:pt x="404" y="119"/>
                  </a:lnTo>
                  <a:lnTo>
                    <a:pt x="403" y="117"/>
                  </a:lnTo>
                  <a:lnTo>
                    <a:pt x="403" y="114"/>
                  </a:lnTo>
                  <a:lnTo>
                    <a:pt x="404" y="113"/>
                  </a:lnTo>
                  <a:lnTo>
                    <a:pt x="403" y="112"/>
                  </a:lnTo>
                  <a:lnTo>
                    <a:pt x="401" y="111"/>
                  </a:lnTo>
                  <a:lnTo>
                    <a:pt x="400" y="109"/>
                  </a:lnTo>
                  <a:lnTo>
                    <a:pt x="399" y="111"/>
                  </a:lnTo>
                  <a:lnTo>
                    <a:pt x="399" y="112"/>
                  </a:lnTo>
                  <a:lnTo>
                    <a:pt x="398" y="112"/>
                  </a:lnTo>
                  <a:lnTo>
                    <a:pt x="398" y="113"/>
                  </a:lnTo>
                  <a:lnTo>
                    <a:pt x="399" y="115"/>
                  </a:lnTo>
                  <a:lnTo>
                    <a:pt x="400" y="117"/>
                  </a:lnTo>
                  <a:lnTo>
                    <a:pt x="400" y="118"/>
                  </a:lnTo>
                  <a:lnTo>
                    <a:pt x="399" y="120"/>
                  </a:lnTo>
                  <a:lnTo>
                    <a:pt x="399" y="123"/>
                  </a:lnTo>
                  <a:lnTo>
                    <a:pt x="399" y="125"/>
                  </a:lnTo>
                  <a:lnTo>
                    <a:pt x="398" y="125"/>
                  </a:lnTo>
                  <a:lnTo>
                    <a:pt x="397" y="124"/>
                  </a:lnTo>
                  <a:lnTo>
                    <a:pt x="397" y="123"/>
                  </a:lnTo>
                  <a:lnTo>
                    <a:pt x="395" y="121"/>
                  </a:lnTo>
                  <a:lnTo>
                    <a:pt x="395" y="120"/>
                  </a:lnTo>
                  <a:lnTo>
                    <a:pt x="397" y="118"/>
                  </a:lnTo>
                  <a:lnTo>
                    <a:pt x="395" y="118"/>
                  </a:lnTo>
                  <a:lnTo>
                    <a:pt x="393" y="117"/>
                  </a:lnTo>
                  <a:lnTo>
                    <a:pt x="392" y="117"/>
                  </a:lnTo>
                  <a:lnTo>
                    <a:pt x="391" y="118"/>
                  </a:lnTo>
                  <a:lnTo>
                    <a:pt x="391" y="119"/>
                  </a:lnTo>
                  <a:lnTo>
                    <a:pt x="391" y="120"/>
                  </a:lnTo>
                  <a:lnTo>
                    <a:pt x="392" y="123"/>
                  </a:lnTo>
                  <a:lnTo>
                    <a:pt x="393" y="124"/>
                  </a:lnTo>
                  <a:lnTo>
                    <a:pt x="392" y="124"/>
                  </a:lnTo>
                  <a:lnTo>
                    <a:pt x="391" y="121"/>
                  </a:lnTo>
                  <a:lnTo>
                    <a:pt x="391" y="120"/>
                  </a:lnTo>
                  <a:lnTo>
                    <a:pt x="391" y="119"/>
                  </a:lnTo>
                  <a:lnTo>
                    <a:pt x="389" y="118"/>
                  </a:lnTo>
                  <a:lnTo>
                    <a:pt x="388" y="118"/>
                  </a:lnTo>
                  <a:lnTo>
                    <a:pt x="386" y="119"/>
                  </a:lnTo>
                  <a:lnTo>
                    <a:pt x="385" y="119"/>
                  </a:lnTo>
                  <a:lnTo>
                    <a:pt x="385" y="117"/>
                  </a:lnTo>
                  <a:lnTo>
                    <a:pt x="385" y="115"/>
                  </a:lnTo>
                  <a:lnTo>
                    <a:pt x="386" y="114"/>
                  </a:lnTo>
                  <a:lnTo>
                    <a:pt x="387" y="113"/>
                  </a:lnTo>
                  <a:lnTo>
                    <a:pt x="387" y="112"/>
                  </a:lnTo>
                  <a:lnTo>
                    <a:pt x="388" y="112"/>
                  </a:lnTo>
                  <a:lnTo>
                    <a:pt x="388" y="111"/>
                  </a:lnTo>
                  <a:lnTo>
                    <a:pt x="389" y="109"/>
                  </a:lnTo>
                  <a:lnTo>
                    <a:pt x="389" y="108"/>
                  </a:lnTo>
                  <a:lnTo>
                    <a:pt x="388" y="107"/>
                  </a:lnTo>
                  <a:lnTo>
                    <a:pt x="387" y="106"/>
                  </a:lnTo>
                  <a:lnTo>
                    <a:pt x="385" y="107"/>
                  </a:lnTo>
                  <a:lnTo>
                    <a:pt x="383" y="107"/>
                  </a:lnTo>
                  <a:lnTo>
                    <a:pt x="382" y="107"/>
                  </a:lnTo>
                  <a:lnTo>
                    <a:pt x="383" y="106"/>
                  </a:lnTo>
                  <a:lnTo>
                    <a:pt x="385" y="105"/>
                  </a:lnTo>
                  <a:lnTo>
                    <a:pt x="387" y="105"/>
                  </a:lnTo>
                  <a:lnTo>
                    <a:pt x="388" y="103"/>
                  </a:lnTo>
                  <a:lnTo>
                    <a:pt x="389" y="103"/>
                  </a:lnTo>
                  <a:lnTo>
                    <a:pt x="389" y="105"/>
                  </a:lnTo>
                  <a:lnTo>
                    <a:pt x="389" y="106"/>
                  </a:lnTo>
                  <a:lnTo>
                    <a:pt x="391" y="106"/>
                  </a:lnTo>
                  <a:lnTo>
                    <a:pt x="392" y="105"/>
                  </a:lnTo>
                  <a:lnTo>
                    <a:pt x="393" y="103"/>
                  </a:lnTo>
                  <a:lnTo>
                    <a:pt x="394" y="103"/>
                  </a:lnTo>
                  <a:lnTo>
                    <a:pt x="397" y="102"/>
                  </a:lnTo>
                  <a:lnTo>
                    <a:pt x="397" y="100"/>
                  </a:lnTo>
                  <a:lnTo>
                    <a:pt x="395" y="100"/>
                  </a:lnTo>
                  <a:lnTo>
                    <a:pt x="394" y="98"/>
                  </a:lnTo>
                  <a:lnTo>
                    <a:pt x="393" y="98"/>
                  </a:lnTo>
                  <a:lnTo>
                    <a:pt x="393" y="100"/>
                  </a:lnTo>
                  <a:lnTo>
                    <a:pt x="391" y="100"/>
                  </a:lnTo>
                  <a:lnTo>
                    <a:pt x="389" y="97"/>
                  </a:lnTo>
                  <a:lnTo>
                    <a:pt x="389" y="96"/>
                  </a:lnTo>
                  <a:lnTo>
                    <a:pt x="388" y="96"/>
                  </a:lnTo>
                  <a:lnTo>
                    <a:pt x="387" y="97"/>
                  </a:lnTo>
                  <a:lnTo>
                    <a:pt x="386" y="97"/>
                  </a:lnTo>
                  <a:lnTo>
                    <a:pt x="386" y="96"/>
                  </a:lnTo>
                  <a:lnTo>
                    <a:pt x="388" y="94"/>
                  </a:lnTo>
                  <a:lnTo>
                    <a:pt x="389" y="92"/>
                  </a:lnTo>
                  <a:lnTo>
                    <a:pt x="392" y="92"/>
                  </a:lnTo>
                  <a:lnTo>
                    <a:pt x="393" y="90"/>
                  </a:lnTo>
                  <a:lnTo>
                    <a:pt x="395" y="89"/>
                  </a:lnTo>
                  <a:lnTo>
                    <a:pt x="398" y="89"/>
                  </a:lnTo>
                  <a:lnTo>
                    <a:pt x="399" y="89"/>
                  </a:lnTo>
                  <a:lnTo>
                    <a:pt x="400" y="89"/>
                  </a:lnTo>
                  <a:lnTo>
                    <a:pt x="401" y="88"/>
                  </a:lnTo>
                  <a:lnTo>
                    <a:pt x="401" y="86"/>
                  </a:lnTo>
                  <a:lnTo>
                    <a:pt x="403" y="88"/>
                  </a:lnTo>
                  <a:lnTo>
                    <a:pt x="404" y="89"/>
                  </a:lnTo>
                  <a:lnTo>
                    <a:pt x="405" y="89"/>
                  </a:lnTo>
                  <a:lnTo>
                    <a:pt x="406" y="88"/>
                  </a:lnTo>
                  <a:lnTo>
                    <a:pt x="406" y="85"/>
                  </a:lnTo>
                  <a:lnTo>
                    <a:pt x="407" y="88"/>
                  </a:lnTo>
                  <a:lnTo>
                    <a:pt x="410" y="88"/>
                  </a:lnTo>
                  <a:lnTo>
                    <a:pt x="412" y="88"/>
                  </a:lnTo>
                  <a:lnTo>
                    <a:pt x="413" y="86"/>
                  </a:lnTo>
                  <a:lnTo>
                    <a:pt x="415" y="85"/>
                  </a:lnTo>
                  <a:lnTo>
                    <a:pt x="416" y="84"/>
                  </a:lnTo>
                  <a:lnTo>
                    <a:pt x="416" y="83"/>
                  </a:lnTo>
                  <a:lnTo>
                    <a:pt x="416" y="82"/>
                  </a:lnTo>
                  <a:lnTo>
                    <a:pt x="416" y="80"/>
                  </a:lnTo>
                  <a:lnTo>
                    <a:pt x="416" y="79"/>
                  </a:lnTo>
                  <a:lnTo>
                    <a:pt x="416" y="77"/>
                  </a:lnTo>
                  <a:lnTo>
                    <a:pt x="415" y="77"/>
                  </a:lnTo>
                  <a:lnTo>
                    <a:pt x="412" y="77"/>
                  </a:lnTo>
                  <a:lnTo>
                    <a:pt x="410" y="78"/>
                  </a:lnTo>
                  <a:lnTo>
                    <a:pt x="410" y="80"/>
                  </a:lnTo>
                  <a:lnTo>
                    <a:pt x="409" y="82"/>
                  </a:lnTo>
                  <a:lnTo>
                    <a:pt x="407" y="83"/>
                  </a:lnTo>
                  <a:lnTo>
                    <a:pt x="406" y="82"/>
                  </a:lnTo>
                  <a:lnTo>
                    <a:pt x="407" y="80"/>
                  </a:lnTo>
                  <a:lnTo>
                    <a:pt x="409" y="79"/>
                  </a:lnTo>
                  <a:lnTo>
                    <a:pt x="409" y="78"/>
                  </a:lnTo>
                  <a:lnTo>
                    <a:pt x="407" y="77"/>
                  </a:lnTo>
                  <a:lnTo>
                    <a:pt x="406" y="78"/>
                  </a:lnTo>
                  <a:lnTo>
                    <a:pt x="405" y="76"/>
                  </a:lnTo>
                  <a:lnTo>
                    <a:pt x="404" y="77"/>
                  </a:lnTo>
                  <a:lnTo>
                    <a:pt x="404" y="79"/>
                  </a:lnTo>
                  <a:lnTo>
                    <a:pt x="401" y="80"/>
                  </a:lnTo>
                  <a:lnTo>
                    <a:pt x="400" y="80"/>
                  </a:lnTo>
                  <a:lnTo>
                    <a:pt x="398" y="80"/>
                  </a:lnTo>
                  <a:lnTo>
                    <a:pt x="397" y="80"/>
                  </a:lnTo>
                  <a:lnTo>
                    <a:pt x="400" y="78"/>
                  </a:lnTo>
                  <a:lnTo>
                    <a:pt x="401" y="77"/>
                  </a:lnTo>
                  <a:lnTo>
                    <a:pt x="401" y="76"/>
                  </a:lnTo>
                  <a:lnTo>
                    <a:pt x="401" y="74"/>
                  </a:lnTo>
                  <a:lnTo>
                    <a:pt x="403" y="72"/>
                  </a:lnTo>
                  <a:lnTo>
                    <a:pt x="403" y="71"/>
                  </a:lnTo>
                  <a:lnTo>
                    <a:pt x="401" y="68"/>
                  </a:lnTo>
                  <a:lnTo>
                    <a:pt x="400" y="70"/>
                  </a:lnTo>
                  <a:lnTo>
                    <a:pt x="399" y="68"/>
                  </a:lnTo>
                  <a:lnTo>
                    <a:pt x="398" y="70"/>
                  </a:lnTo>
                  <a:lnTo>
                    <a:pt x="398" y="71"/>
                  </a:lnTo>
                  <a:lnTo>
                    <a:pt x="397" y="72"/>
                  </a:lnTo>
                  <a:lnTo>
                    <a:pt x="397" y="73"/>
                  </a:lnTo>
                  <a:lnTo>
                    <a:pt x="395" y="73"/>
                  </a:lnTo>
                  <a:lnTo>
                    <a:pt x="395" y="74"/>
                  </a:lnTo>
                  <a:lnTo>
                    <a:pt x="395" y="77"/>
                  </a:lnTo>
                  <a:lnTo>
                    <a:pt x="394" y="77"/>
                  </a:lnTo>
                  <a:lnTo>
                    <a:pt x="393" y="78"/>
                  </a:lnTo>
                  <a:lnTo>
                    <a:pt x="393" y="79"/>
                  </a:lnTo>
                  <a:lnTo>
                    <a:pt x="391" y="80"/>
                  </a:lnTo>
                  <a:lnTo>
                    <a:pt x="391" y="78"/>
                  </a:lnTo>
                  <a:lnTo>
                    <a:pt x="392" y="76"/>
                  </a:lnTo>
                  <a:lnTo>
                    <a:pt x="393" y="74"/>
                  </a:lnTo>
                  <a:lnTo>
                    <a:pt x="394" y="71"/>
                  </a:lnTo>
                  <a:lnTo>
                    <a:pt x="394" y="68"/>
                  </a:lnTo>
                  <a:lnTo>
                    <a:pt x="393" y="68"/>
                  </a:lnTo>
                  <a:lnTo>
                    <a:pt x="391" y="68"/>
                  </a:lnTo>
                  <a:lnTo>
                    <a:pt x="391" y="70"/>
                  </a:lnTo>
                  <a:lnTo>
                    <a:pt x="389" y="71"/>
                  </a:lnTo>
                  <a:lnTo>
                    <a:pt x="388" y="71"/>
                  </a:lnTo>
                  <a:lnTo>
                    <a:pt x="386" y="71"/>
                  </a:lnTo>
                  <a:lnTo>
                    <a:pt x="385" y="71"/>
                  </a:lnTo>
                  <a:lnTo>
                    <a:pt x="382" y="73"/>
                  </a:lnTo>
                  <a:lnTo>
                    <a:pt x="380" y="74"/>
                  </a:lnTo>
                  <a:lnTo>
                    <a:pt x="379" y="74"/>
                  </a:lnTo>
                  <a:lnTo>
                    <a:pt x="379" y="72"/>
                  </a:lnTo>
                  <a:lnTo>
                    <a:pt x="377" y="71"/>
                  </a:lnTo>
                  <a:lnTo>
                    <a:pt x="375" y="71"/>
                  </a:lnTo>
                  <a:lnTo>
                    <a:pt x="377" y="68"/>
                  </a:lnTo>
                  <a:lnTo>
                    <a:pt x="379" y="67"/>
                  </a:lnTo>
                  <a:lnTo>
                    <a:pt x="376" y="65"/>
                  </a:lnTo>
                  <a:lnTo>
                    <a:pt x="374" y="64"/>
                  </a:lnTo>
                  <a:lnTo>
                    <a:pt x="372" y="65"/>
                  </a:lnTo>
                  <a:lnTo>
                    <a:pt x="371" y="67"/>
                  </a:lnTo>
                  <a:lnTo>
                    <a:pt x="370" y="70"/>
                  </a:lnTo>
                  <a:lnTo>
                    <a:pt x="368" y="71"/>
                  </a:lnTo>
                  <a:lnTo>
                    <a:pt x="364" y="72"/>
                  </a:lnTo>
                  <a:lnTo>
                    <a:pt x="362" y="71"/>
                  </a:lnTo>
                  <a:lnTo>
                    <a:pt x="362" y="70"/>
                  </a:lnTo>
                  <a:lnTo>
                    <a:pt x="362" y="67"/>
                  </a:lnTo>
                  <a:lnTo>
                    <a:pt x="363" y="66"/>
                  </a:lnTo>
                  <a:lnTo>
                    <a:pt x="364" y="64"/>
                  </a:lnTo>
                  <a:lnTo>
                    <a:pt x="364" y="61"/>
                  </a:lnTo>
                  <a:lnTo>
                    <a:pt x="362" y="59"/>
                  </a:lnTo>
                  <a:lnTo>
                    <a:pt x="362" y="58"/>
                  </a:lnTo>
                  <a:lnTo>
                    <a:pt x="360" y="55"/>
                  </a:lnTo>
                  <a:lnTo>
                    <a:pt x="359" y="55"/>
                  </a:lnTo>
                  <a:lnTo>
                    <a:pt x="358" y="55"/>
                  </a:lnTo>
                  <a:lnTo>
                    <a:pt x="357" y="56"/>
                  </a:lnTo>
                  <a:lnTo>
                    <a:pt x="354" y="58"/>
                  </a:lnTo>
                  <a:lnTo>
                    <a:pt x="353" y="58"/>
                  </a:lnTo>
                  <a:lnTo>
                    <a:pt x="351" y="58"/>
                  </a:lnTo>
                  <a:lnTo>
                    <a:pt x="351" y="59"/>
                  </a:lnTo>
                  <a:lnTo>
                    <a:pt x="347" y="60"/>
                  </a:lnTo>
                  <a:lnTo>
                    <a:pt x="347" y="58"/>
                  </a:lnTo>
                  <a:lnTo>
                    <a:pt x="348" y="56"/>
                  </a:lnTo>
                  <a:lnTo>
                    <a:pt x="347" y="54"/>
                  </a:lnTo>
                  <a:lnTo>
                    <a:pt x="345" y="54"/>
                  </a:lnTo>
                  <a:lnTo>
                    <a:pt x="344" y="55"/>
                  </a:lnTo>
                  <a:lnTo>
                    <a:pt x="342" y="56"/>
                  </a:lnTo>
                  <a:lnTo>
                    <a:pt x="342" y="59"/>
                  </a:lnTo>
                  <a:lnTo>
                    <a:pt x="340" y="58"/>
                  </a:lnTo>
                  <a:lnTo>
                    <a:pt x="339" y="56"/>
                  </a:lnTo>
                  <a:lnTo>
                    <a:pt x="338" y="55"/>
                  </a:lnTo>
                  <a:lnTo>
                    <a:pt x="336" y="55"/>
                  </a:lnTo>
                  <a:lnTo>
                    <a:pt x="334" y="54"/>
                  </a:lnTo>
                  <a:lnTo>
                    <a:pt x="334" y="56"/>
                  </a:lnTo>
                  <a:lnTo>
                    <a:pt x="333" y="58"/>
                  </a:lnTo>
                  <a:lnTo>
                    <a:pt x="333" y="56"/>
                  </a:lnTo>
                  <a:lnTo>
                    <a:pt x="330" y="55"/>
                  </a:lnTo>
                  <a:lnTo>
                    <a:pt x="329" y="55"/>
                  </a:lnTo>
                  <a:lnTo>
                    <a:pt x="327" y="55"/>
                  </a:lnTo>
                  <a:lnTo>
                    <a:pt x="327" y="54"/>
                  </a:lnTo>
                  <a:lnTo>
                    <a:pt x="327" y="53"/>
                  </a:lnTo>
                  <a:lnTo>
                    <a:pt x="329" y="53"/>
                  </a:lnTo>
                  <a:lnTo>
                    <a:pt x="330" y="53"/>
                  </a:lnTo>
                  <a:lnTo>
                    <a:pt x="332" y="53"/>
                  </a:lnTo>
                  <a:lnTo>
                    <a:pt x="333" y="53"/>
                  </a:lnTo>
                  <a:lnTo>
                    <a:pt x="335" y="52"/>
                  </a:lnTo>
                  <a:lnTo>
                    <a:pt x="336" y="52"/>
                  </a:lnTo>
                  <a:lnTo>
                    <a:pt x="338" y="52"/>
                  </a:lnTo>
                  <a:lnTo>
                    <a:pt x="339" y="52"/>
                  </a:lnTo>
                  <a:lnTo>
                    <a:pt x="341" y="52"/>
                  </a:lnTo>
                  <a:lnTo>
                    <a:pt x="342" y="52"/>
                  </a:lnTo>
                  <a:lnTo>
                    <a:pt x="346" y="52"/>
                  </a:lnTo>
                  <a:lnTo>
                    <a:pt x="347" y="52"/>
                  </a:lnTo>
                  <a:lnTo>
                    <a:pt x="348" y="50"/>
                  </a:lnTo>
                  <a:lnTo>
                    <a:pt x="350" y="49"/>
                  </a:lnTo>
                  <a:lnTo>
                    <a:pt x="351" y="48"/>
                  </a:lnTo>
                  <a:lnTo>
                    <a:pt x="350" y="46"/>
                  </a:lnTo>
                  <a:lnTo>
                    <a:pt x="348" y="46"/>
                  </a:lnTo>
                  <a:lnTo>
                    <a:pt x="347" y="44"/>
                  </a:lnTo>
                  <a:lnTo>
                    <a:pt x="346" y="46"/>
                  </a:lnTo>
                  <a:lnTo>
                    <a:pt x="345" y="47"/>
                  </a:lnTo>
                  <a:lnTo>
                    <a:pt x="344" y="48"/>
                  </a:lnTo>
                  <a:lnTo>
                    <a:pt x="342" y="48"/>
                  </a:lnTo>
                  <a:lnTo>
                    <a:pt x="341" y="47"/>
                  </a:lnTo>
                  <a:lnTo>
                    <a:pt x="344" y="46"/>
                  </a:lnTo>
                  <a:lnTo>
                    <a:pt x="342" y="44"/>
                  </a:lnTo>
                  <a:lnTo>
                    <a:pt x="342" y="43"/>
                  </a:lnTo>
                  <a:lnTo>
                    <a:pt x="342" y="41"/>
                  </a:lnTo>
                  <a:lnTo>
                    <a:pt x="344" y="42"/>
                  </a:lnTo>
                  <a:lnTo>
                    <a:pt x="345" y="43"/>
                  </a:lnTo>
                  <a:lnTo>
                    <a:pt x="347" y="43"/>
                  </a:lnTo>
                  <a:lnTo>
                    <a:pt x="348" y="42"/>
                  </a:lnTo>
                  <a:lnTo>
                    <a:pt x="350" y="40"/>
                  </a:lnTo>
                  <a:lnTo>
                    <a:pt x="351" y="41"/>
                  </a:lnTo>
                  <a:lnTo>
                    <a:pt x="352" y="42"/>
                  </a:lnTo>
                  <a:lnTo>
                    <a:pt x="353" y="42"/>
                  </a:lnTo>
                  <a:lnTo>
                    <a:pt x="354" y="41"/>
                  </a:lnTo>
                  <a:lnTo>
                    <a:pt x="357" y="40"/>
                  </a:lnTo>
                  <a:lnTo>
                    <a:pt x="357" y="38"/>
                  </a:lnTo>
                  <a:lnTo>
                    <a:pt x="359" y="36"/>
                  </a:lnTo>
                  <a:lnTo>
                    <a:pt x="359" y="34"/>
                  </a:lnTo>
                  <a:lnTo>
                    <a:pt x="359" y="32"/>
                  </a:lnTo>
                  <a:lnTo>
                    <a:pt x="357" y="31"/>
                  </a:lnTo>
                  <a:lnTo>
                    <a:pt x="354" y="31"/>
                  </a:lnTo>
                  <a:lnTo>
                    <a:pt x="354" y="34"/>
                  </a:lnTo>
                  <a:lnTo>
                    <a:pt x="353" y="35"/>
                  </a:lnTo>
                  <a:lnTo>
                    <a:pt x="352" y="35"/>
                  </a:lnTo>
                  <a:lnTo>
                    <a:pt x="352" y="32"/>
                  </a:lnTo>
                  <a:lnTo>
                    <a:pt x="352" y="30"/>
                  </a:lnTo>
                  <a:lnTo>
                    <a:pt x="353" y="28"/>
                  </a:lnTo>
                  <a:lnTo>
                    <a:pt x="356" y="25"/>
                  </a:lnTo>
                  <a:lnTo>
                    <a:pt x="356" y="23"/>
                  </a:lnTo>
                  <a:lnTo>
                    <a:pt x="354" y="20"/>
                  </a:lnTo>
                  <a:lnTo>
                    <a:pt x="352" y="20"/>
                  </a:lnTo>
                  <a:lnTo>
                    <a:pt x="351" y="20"/>
                  </a:lnTo>
                  <a:lnTo>
                    <a:pt x="347" y="23"/>
                  </a:lnTo>
                  <a:lnTo>
                    <a:pt x="347" y="24"/>
                  </a:lnTo>
                  <a:lnTo>
                    <a:pt x="347" y="26"/>
                  </a:lnTo>
                  <a:lnTo>
                    <a:pt x="347" y="29"/>
                  </a:lnTo>
                  <a:lnTo>
                    <a:pt x="346" y="29"/>
                  </a:lnTo>
                  <a:lnTo>
                    <a:pt x="345" y="28"/>
                  </a:lnTo>
                  <a:lnTo>
                    <a:pt x="345" y="26"/>
                  </a:lnTo>
                  <a:lnTo>
                    <a:pt x="345" y="24"/>
                  </a:lnTo>
                  <a:lnTo>
                    <a:pt x="345" y="23"/>
                  </a:lnTo>
                  <a:lnTo>
                    <a:pt x="344" y="20"/>
                  </a:lnTo>
                  <a:lnTo>
                    <a:pt x="342" y="20"/>
                  </a:lnTo>
                  <a:lnTo>
                    <a:pt x="341" y="22"/>
                  </a:lnTo>
                  <a:lnTo>
                    <a:pt x="340" y="24"/>
                  </a:lnTo>
                  <a:lnTo>
                    <a:pt x="339" y="25"/>
                  </a:lnTo>
                  <a:lnTo>
                    <a:pt x="338" y="26"/>
                  </a:lnTo>
                  <a:lnTo>
                    <a:pt x="336" y="26"/>
                  </a:lnTo>
                  <a:lnTo>
                    <a:pt x="334" y="28"/>
                  </a:lnTo>
                  <a:lnTo>
                    <a:pt x="332" y="29"/>
                  </a:lnTo>
                  <a:lnTo>
                    <a:pt x="330" y="29"/>
                  </a:lnTo>
                  <a:lnTo>
                    <a:pt x="330" y="30"/>
                  </a:lnTo>
                  <a:lnTo>
                    <a:pt x="330" y="31"/>
                  </a:lnTo>
                  <a:lnTo>
                    <a:pt x="332" y="32"/>
                  </a:lnTo>
                  <a:lnTo>
                    <a:pt x="330" y="34"/>
                  </a:lnTo>
                  <a:lnTo>
                    <a:pt x="329" y="35"/>
                  </a:lnTo>
                  <a:lnTo>
                    <a:pt x="328" y="34"/>
                  </a:lnTo>
                  <a:lnTo>
                    <a:pt x="327" y="32"/>
                  </a:lnTo>
                  <a:lnTo>
                    <a:pt x="326" y="30"/>
                  </a:lnTo>
                  <a:lnTo>
                    <a:pt x="326" y="29"/>
                  </a:lnTo>
                  <a:lnTo>
                    <a:pt x="324" y="26"/>
                  </a:lnTo>
                  <a:lnTo>
                    <a:pt x="323" y="24"/>
                  </a:lnTo>
                  <a:lnTo>
                    <a:pt x="322" y="24"/>
                  </a:lnTo>
                  <a:lnTo>
                    <a:pt x="321" y="24"/>
                  </a:lnTo>
                  <a:lnTo>
                    <a:pt x="320" y="24"/>
                  </a:lnTo>
                  <a:lnTo>
                    <a:pt x="318" y="25"/>
                  </a:lnTo>
                  <a:lnTo>
                    <a:pt x="317" y="28"/>
                  </a:lnTo>
                  <a:lnTo>
                    <a:pt x="316" y="28"/>
                  </a:lnTo>
                  <a:lnTo>
                    <a:pt x="316" y="25"/>
                  </a:lnTo>
                  <a:lnTo>
                    <a:pt x="316" y="23"/>
                  </a:lnTo>
                  <a:lnTo>
                    <a:pt x="316" y="20"/>
                  </a:lnTo>
                  <a:lnTo>
                    <a:pt x="317" y="19"/>
                  </a:lnTo>
                  <a:lnTo>
                    <a:pt x="316" y="17"/>
                  </a:lnTo>
                  <a:lnTo>
                    <a:pt x="315" y="14"/>
                  </a:lnTo>
                  <a:lnTo>
                    <a:pt x="314" y="13"/>
                  </a:lnTo>
                  <a:lnTo>
                    <a:pt x="311" y="13"/>
                  </a:lnTo>
                  <a:lnTo>
                    <a:pt x="310" y="14"/>
                  </a:lnTo>
                  <a:lnTo>
                    <a:pt x="310" y="17"/>
                  </a:lnTo>
                  <a:lnTo>
                    <a:pt x="309" y="19"/>
                  </a:lnTo>
                  <a:lnTo>
                    <a:pt x="309" y="22"/>
                  </a:lnTo>
                  <a:lnTo>
                    <a:pt x="307" y="23"/>
                  </a:lnTo>
                  <a:lnTo>
                    <a:pt x="306" y="22"/>
                  </a:lnTo>
                  <a:lnTo>
                    <a:pt x="306" y="20"/>
                  </a:lnTo>
                  <a:lnTo>
                    <a:pt x="305" y="18"/>
                  </a:lnTo>
                  <a:lnTo>
                    <a:pt x="305" y="17"/>
                  </a:lnTo>
                  <a:lnTo>
                    <a:pt x="304" y="16"/>
                  </a:lnTo>
                  <a:lnTo>
                    <a:pt x="303" y="14"/>
                  </a:lnTo>
                  <a:lnTo>
                    <a:pt x="304" y="13"/>
                  </a:lnTo>
                  <a:lnTo>
                    <a:pt x="305" y="11"/>
                  </a:lnTo>
                  <a:lnTo>
                    <a:pt x="304" y="10"/>
                  </a:lnTo>
                  <a:lnTo>
                    <a:pt x="300" y="8"/>
                  </a:lnTo>
                  <a:lnTo>
                    <a:pt x="299" y="8"/>
                  </a:lnTo>
                  <a:lnTo>
                    <a:pt x="298" y="10"/>
                  </a:lnTo>
                  <a:lnTo>
                    <a:pt x="297" y="12"/>
                  </a:lnTo>
                  <a:lnTo>
                    <a:pt x="295" y="14"/>
                  </a:lnTo>
                  <a:lnTo>
                    <a:pt x="293" y="16"/>
                  </a:lnTo>
                  <a:lnTo>
                    <a:pt x="293" y="17"/>
                  </a:lnTo>
                  <a:lnTo>
                    <a:pt x="292" y="19"/>
                  </a:lnTo>
                  <a:lnTo>
                    <a:pt x="293" y="20"/>
                  </a:lnTo>
                  <a:lnTo>
                    <a:pt x="295" y="22"/>
                  </a:lnTo>
                  <a:lnTo>
                    <a:pt x="297" y="23"/>
                  </a:lnTo>
                  <a:lnTo>
                    <a:pt x="299" y="24"/>
                  </a:lnTo>
                  <a:lnTo>
                    <a:pt x="299" y="25"/>
                  </a:lnTo>
                  <a:lnTo>
                    <a:pt x="298" y="26"/>
                  </a:lnTo>
                  <a:lnTo>
                    <a:pt x="297" y="26"/>
                  </a:lnTo>
                  <a:lnTo>
                    <a:pt x="295" y="28"/>
                  </a:lnTo>
                  <a:lnTo>
                    <a:pt x="297" y="29"/>
                  </a:lnTo>
                  <a:lnTo>
                    <a:pt x="297" y="30"/>
                  </a:lnTo>
                  <a:lnTo>
                    <a:pt x="295" y="30"/>
                  </a:lnTo>
                  <a:lnTo>
                    <a:pt x="295" y="29"/>
                  </a:lnTo>
                  <a:lnTo>
                    <a:pt x="294" y="28"/>
                  </a:lnTo>
                  <a:lnTo>
                    <a:pt x="293" y="25"/>
                  </a:lnTo>
                  <a:lnTo>
                    <a:pt x="292" y="24"/>
                  </a:lnTo>
                  <a:lnTo>
                    <a:pt x="291" y="24"/>
                  </a:lnTo>
                  <a:lnTo>
                    <a:pt x="289" y="23"/>
                  </a:lnTo>
                  <a:lnTo>
                    <a:pt x="288" y="20"/>
                  </a:lnTo>
                  <a:lnTo>
                    <a:pt x="287" y="20"/>
                  </a:lnTo>
                  <a:lnTo>
                    <a:pt x="286" y="22"/>
                  </a:lnTo>
                  <a:lnTo>
                    <a:pt x="285" y="22"/>
                  </a:lnTo>
                  <a:lnTo>
                    <a:pt x="282" y="22"/>
                  </a:lnTo>
                  <a:lnTo>
                    <a:pt x="282" y="24"/>
                  </a:lnTo>
                  <a:lnTo>
                    <a:pt x="283" y="25"/>
                  </a:lnTo>
                  <a:lnTo>
                    <a:pt x="283" y="28"/>
                  </a:lnTo>
                  <a:lnTo>
                    <a:pt x="282" y="29"/>
                  </a:lnTo>
                  <a:lnTo>
                    <a:pt x="282" y="30"/>
                  </a:lnTo>
                  <a:lnTo>
                    <a:pt x="285" y="32"/>
                  </a:lnTo>
                  <a:lnTo>
                    <a:pt x="287" y="32"/>
                  </a:lnTo>
                  <a:lnTo>
                    <a:pt x="288" y="31"/>
                  </a:lnTo>
                  <a:lnTo>
                    <a:pt x="289" y="32"/>
                  </a:lnTo>
                  <a:lnTo>
                    <a:pt x="289" y="34"/>
                  </a:lnTo>
                  <a:lnTo>
                    <a:pt x="288" y="36"/>
                  </a:lnTo>
                  <a:lnTo>
                    <a:pt x="291" y="36"/>
                  </a:lnTo>
                  <a:lnTo>
                    <a:pt x="292" y="36"/>
                  </a:lnTo>
                  <a:lnTo>
                    <a:pt x="293" y="37"/>
                  </a:lnTo>
                  <a:lnTo>
                    <a:pt x="294" y="38"/>
                  </a:lnTo>
                  <a:lnTo>
                    <a:pt x="295" y="38"/>
                  </a:lnTo>
                  <a:lnTo>
                    <a:pt x="298" y="40"/>
                  </a:lnTo>
                  <a:lnTo>
                    <a:pt x="298" y="42"/>
                  </a:lnTo>
                  <a:lnTo>
                    <a:pt x="297" y="43"/>
                  </a:lnTo>
                  <a:lnTo>
                    <a:pt x="294" y="43"/>
                  </a:lnTo>
                  <a:lnTo>
                    <a:pt x="293" y="41"/>
                  </a:lnTo>
                  <a:lnTo>
                    <a:pt x="293" y="40"/>
                  </a:lnTo>
                  <a:lnTo>
                    <a:pt x="291" y="38"/>
                  </a:lnTo>
                  <a:lnTo>
                    <a:pt x="289" y="38"/>
                  </a:lnTo>
                  <a:lnTo>
                    <a:pt x="288" y="40"/>
                  </a:lnTo>
                  <a:lnTo>
                    <a:pt x="287" y="42"/>
                  </a:lnTo>
                  <a:lnTo>
                    <a:pt x="286" y="42"/>
                  </a:lnTo>
                  <a:lnTo>
                    <a:pt x="283" y="41"/>
                  </a:lnTo>
                  <a:lnTo>
                    <a:pt x="281" y="41"/>
                  </a:lnTo>
                  <a:lnTo>
                    <a:pt x="281" y="40"/>
                  </a:lnTo>
                  <a:lnTo>
                    <a:pt x="279" y="38"/>
                  </a:lnTo>
                  <a:lnTo>
                    <a:pt x="277" y="38"/>
                  </a:lnTo>
                  <a:lnTo>
                    <a:pt x="276" y="41"/>
                  </a:lnTo>
                  <a:lnTo>
                    <a:pt x="277" y="44"/>
                  </a:lnTo>
                  <a:lnTo>
                    <a:pt x="279" y="47"/>
                  </a:lnTo>
                  <a:lnTo>
                    <a:pt x="280" y="49"/>
                  </a:lnTo>
                  <a:lnTo>
                    <a:pt x="281" y="49"/>
                  </a:lnTo>
                  <a:lnTo>
                    <a:pt x="285" y="49"/>
                  </a:lnTo>
                  <a:lnTo>
                    <a:pt x="286" y="49"/>
                  </a:lnTo>
                  <a:lnTo>
                    <a:pt x="288" y="50"/>
                  </a:lnTo>
                  <a:lnTo>
                    <a:pt x="289" y="50"/>
                  </a:lnTo>
                  <a:lnTo>
                    <a:pt x="292" y="50"/>
                  </a:lnTo>
                  <a:lnTo>
                    <a:pt x="293" y="52"/>
                  </a:lnTo>
                  <a:lnTo>
                    <a:pt x="292" y="53"/>
                  </a:lnTo>
                  <a:lnTo>
                    <a:pt x="289" y="53"/>
                  </a:lnTo>
                  <a:lnTo>
                    <a:pt x="287" y="53"/>
                  </a:lnTo>
                  <a:lnTo>
                    <a:pt x="287" y="54"/>
                  </a:lnTo>
                  <a:lnTo>
                    <a:pt x="288" y="55"/>
                  </a:lnTo>
                  <a:lnTo>
                    <a:pt x="288" y="56"/>
                  </a:lnTo>
                  <a:lnTo>
                    <a:pt x="287" y="58"/>
                  </a:lnTo>
                  <a:lnTo>
                    <a:pt x="286" y="58"/>
                  </a:lnTo>
                  <a:lnTo>
                    <a:pt x="283" y="58"/>
                  </a:lnTo>
                  <a:lnTo>
                    <a:pt x="283" y="59"/>
                  </a:lnTo>
                  <a:lnTo>
                    <a:pt x="285" y="62"/>
                  </a:lnTo>
                  <a:lnTo>
                    <a:pt x="287" y="65"/>
                  </a:lnTo>
                  <a:lnTo>
                    <a:pt x="289" y="66"/>
                  </a:lnTo>
                  <a:lnTo>
                    <a:pt x="292" y="65"/>
                  </a:lnTo>
                  <a:lnTo>
                    <a:pt x="293" y="65"/>
                  </a:lnTo>
                  <a:lnTo>
                    <a:pt x="293" y="67"/>
                  </a:lnTo>
                  <a:lnTo>
                    <a:pt x="294" y="68"/>
                  </a:lnTo>
                  <a:lnTo>
                    <a:pt x="297" y="68"/>
                  </a:lnTo>
                  <a:lnTo>
                    <a:pt x="298" y="67"/>
                  </a:lnTo>
                  <a:lnTo>
                    <a:pt x="299" y="66"/>
                  </a:lnTo>
                  <a:lnTo>
                    <a:pt x="299" y="65"/>
                  </a:lnTo>
                  <a:lnTo>
                    <a:pt x="299" y="62"/>
                  </a:lnTo>
                  <a:lnTo>
                    <a:pt x="299" y="61"/>
                  </a:lnTo>
                  <a:lnTo>
                    <a:pt x="301" y="62"/>
                  </a:lnTo>
                  <a:lnTo>
                    <a:pt x="301" y="64"/>
                  </a:lnTo>
                  <a:lnTo>
                    <a:pt x="303" y="64"/>
                  </a:lnTo>
                  <a:lnTo>
                    <a:pt x="304" y="64"/>
                  </a:lnTo>
                  <a:lnTo>
                    <a:pt x="305" y="62"/>
                  </a:lnTo>
                  <a:lnTo>
                    <a:pt x="305" y="61"/>
                  </a:lnTo>
                  <a:lnTo>
                    <a:pt x="307" y="62"/>
                  </a:lnTo>
                  <a:lnTo>
                    <a:pt x="307" y="64"/>
                  </a:lnTo>
                  <a:lnTo>
                    <a:pt x="309" y="65"/>
                  </a:lnTo>
                  <a:lnTo>
                    <a:pt x="307" y="65"/>
                  </a:lnTo>
                  <a:lnTo>
                    <a:pt x="305" y="65"/>
                  </a:lnTo>
                  <a:lnTo>
                    <a:pt x="303" y="66"/>
                  </a:lnTo>
                  <a:lnTo>
                    <a:pt x="301" y="66"/>
                  </a:lnTo>
                  <a:lnTo>
                    <a:pt x="300" y="68"/>
                  </a:lnTo>
                  <a:lnTo>
                    <a:pt x="299" y="71"/>
                  </a:lnTo>
                  <a:lnTo>
                    <a:pt x="299" y="72"/>
                  </a:lnTo>
                  <a:lnTo>
                    <a:pt x="301" y="74"/>
                  </a:lnTo>
                  <a:lnTo>
                    <a:pt x="304" y="76"/>
                  </a:lnTo>
                  <a:lnTo>
                    <a:pt x="306" y="76"/>
                  </a:lnTo>
                  <a:lnTo>
                    <a:pt x="309" y="76"/>
                  </a:lnTo>
                  <a:lnTo>
                    <a:pt x="309" y="74"/>
                  </a:lnTo>
                  <a:lnTo>
                    <a:pt x="310" y="73"/>
                  </a:lnTo>
                  <a:lnTo>
                    <a:pt x="311" y="71"/>
                  </a:lnTo>
                  <a:lnTo>
                    <a:pt x="311" y="70"/>
                  </a:lnTo>
                  <a:lnTo>
                    <a:pt x="314" y="71"/>
                  </a:lnTo>
                  <a:lnTo>
                    <a:pt x="315" y="72"/>
                  </a:lnTo>
                  <a:lnTo>
                    <a:pt x="316" y="73"/>
                  </a:lnTo>
                  <a:lnTo>
                    <a:pt x="312" y="76"/>
                  </a:lnTo>
                  <a:lnTo>
                    <a:pt x="311" y="77"/>
                  </a:lnTo>
                  <a:lnTo>
                    <a:pt x="310" y="79"/>
                  </a:lnTo>
                  <a:lnTo>
                    <a:pt x="311" y="83"/>
                  </a:lnTo>
                  <a:lnTo>
                    <a:pt x="312" y="85"/>
                  </a:lnTo>
                  <a:lnTo>
                    <a:pt x="314" y="89"/>
                  </a:lnTo>
                  <a:lnTo>
                    <a:pt x="316" y="92"/>
                  </a:lnTo>
                  <a:lnTo>
                    <a:pt x="315" y="94"/>
                  </a:lnTo>
                  <a:lnTo>
                    <a:pt x="315" y="92"/>
                  </a:lnTo>
                  <a:lnTo>
                    <a:pt x="314" y="91"/>
                  </a:lnTo>
                  <a:lnTo>
                    <a:pt x="312" y="89"/>
                  </a:lnTo>
                  <a:lnTo>
                    <a:pt x="311" y="88"/>
                  </a:lnTo>
                  <a:lnTo>
                    <a:pt x="309" y="85"/>
                  </a:lnTo>
                  <a:lnTo>
                    <a:pt x="307" y="84"/>
                  </a:lnTo>
                  <a:lnTo>
                    <a:pt x="306" y="83"/>
                  </a:lnTo>
                  <a:lnTo>
                    <a:pt x="306" y="85"/>
                  </a:lnTo>
                  <a:lnTo>
                    <a:pt x="305" y="86"/>
                  </a:lnTo>
                  <a:lnTo>
                    <a:pt x="304" y="88"/>
                  </a:lnTo>
                  <a:lnTo>
                    <a:pt x="303" y="89"/>
                  </a:lnTo>
                  <a:lnTo>
                    <a:pt x="301" y="90"/>
                  </a:lnTo>
                  <a:lnTo>
                    <a:pt x="301" y="91"/>
                  </a:lnTo>
                  <a:lnTo>
                    <a:pt x="300" y="91"/>
                  </a:lnTo>
                  <a:lnTo>
                    <a:pt x="300" y="89"/>
                  </a:lnTo>
                  <a:lnTo>
                    <a:pt x="300" y="86"/>
                  </a:lnTo>
                  <a:lnTo>
                    <a:pt x="299" y="86"/>
                  </a:lnTo>
                  <a:lnTo>
                    <a:pt x="298" y="86"/>
                  </a:lnTo>
                  <a:lnTo>
                    <a:pt x="298" y="88"/>
                  </a:lnTo>
                  <a:lnTo>
                    <a:pt x="297" y="90"/>
                  </a:lnTo>
                  <a:lnTo>
                    <a:pt x="297" y="91"/>
                  </a:lnTo>
                  <a:lnTo>
                    <a:pt x="295" y="91"/>
                  </a:lnTo>
                  <a:lnTo>
                    <a:pt x="294" y="90"/>
                  </a:lnTo>
                  <a:lnTo>
                    <a:pt x="294" y="89"/>
                  </a:lnTo>
                  <a:lnTo>
                    <a:pt x="294" y="86"/>
                  </a:lnTo>
                  <a:lnTo>
                    <a:pt x="293" y="85"/>
                  </a:lnTo>
                  <a:lnTo>
                    <a:pt x="293" y="83"/>
                  </a:lnTo>
                  <a:lnTo>
                    <a:pt x="292" y="82"/>
                  </a:lnTo>
                  <a:lnTo>
                    <a:pt x="291" y="80"/>
                  </a:lnTo>
                  <a:lnTo>
                    <a:pt x="287" y="82"/>
                  </a:lnTo>
                  <a:lnTo>
                    <a:pt x="286" y="83"/>
                  </a:lnTo>
                  <a:lnTo>
                    <a:pt x="286" y="85"/>
                  </a:lnTo>
                  <a:lnTo>
                    <a:pt x="286" y="89"/>
                  </a:lnTo>
                  <a:lnTo>
                    <a:pt x="286" y="91"/>
                  </a:lnTo>
                  <a:lnTo>
                    <a:pt x="283" y="92"/>
                  </a:lnTo>
                  <a:lnTo>
                    <a:pt x="283" y="91"/>
                  </a:lnTo>
                  <a:lnTo>
                    <a:pt x="283" y="89"/>
                  </a:lnTo>
                  <a:lnTo>
                    <a:pt x="281" y="89"/>
                  </a:lnTo>
                  <a:lnTo>
                    <a:pt x="280" y="91"/>
                  </a:lnTo>
                  <a:lnTo>
                    <a:pt x="280" y="92"/>
                  </a:lnTo>
                  <a:lnTo>
                    <a:pt x="277" y="92"/>
                  </a:lnTo>
                  <a:lnTo>
                    <a:pt x="277" y="91"/>
                  </a:lnTo>
                  <a:lnTo>
                    <a:pt x="275" y="90"/>
                  </a:lnTo>
                  <a:lnTo>
                    <a:pt x="273" y="86"/>
                  </a:lnTo>
                  <a:lnTo>
                    <a:pt x="273" y="84"/>
                  </a:lnTo>
                  <a:lnTo>
                    <a:pt x="271" y="83"/>
                  </a:lnTo>
                  <a:lnTo>
                    <a:pt x="270" y="79"/>
                  </a:lnTo>
                  <a:lnTo>
                    <a:pt x="270" y="78"/>
                  </a:lnTo>
                  <a:lnTo>
                    <a:pt x="268" y="76"/>
                  </a:lnTo>
                  <a:lnTo>
                    <a:pt x="265" y="77"/>
                  </a:lnTo>
                  <a:lnTo>
                    <a:pt x="265" y="78"/>
                  </a:lnTo>
                  <a:lnTo>
                    <a:pt x="263" y="80"/>
                  </a:lnTo>
                  <a:lnTo>
                    <a:pt x="261" y="83"/>
                  </a:lnTo>
                  <a:lnTo>
                    <a:pt x="258" y="82"/>
                  </a:lnTo>
                  <a:lnTo>
                    <a:pt x="258" y="79"/>
                  </a:lnTo>
                  <a:lnTo>
                    <a:pt x="259" y="76"/>
                  </a:lnTo>
                  <a:lnTo>
                    <a:pt x="257" y="74"/>
                  </a:lnTo>
                  <a:lnTo>
                    <a:pt x="256" y="76"/>
                  </a:lnTo>
                  <a:lnTo>
                    <a:pt x="255" y="76"/>
                  </a:lnTo>
                  <a:lnTo>
                    <a:pt x="253" y="79"/>
                  </a:lnTo>
                  <a:lnTo>
                    <a:pt x="251" y="82"/>
                  </a:lnTo>
                  <a:lnTo>
                    <a:pt x="247" y="82"/>
                  </a:lnTo>
                  <a:lnTo>
                    <a:pt x="247" y="79"/>
                  </a:lnTo>
                  <a:lnTo>
                    <a:pt x="250" y="77"/>
                  </a:lnTo>
                  <a:lnTo>
                    <a:pt x="251" y="76"/>
                  </a:lnTo>
                  <a:lnTo>
                    <a:pt x="252" y="73"/>
                  </a:lnTo>
                  <a:lnTo>
                    <a:pt x="251" y="73"/>
                  </a:lnTo>
                  <a:lnTo>
                    <a:pt x="250" y="72"/>
                  </a:lnTo>
                  <a:lnTo>
                    <a:pt x="251" y="71"/>
                  </a:lnTo>
                  <a:lnTo>
                    <a:pt x="251" y="70"/>
                  </a:lnTo>
                  <a:lnTo>
                    <a:pt x="250" y="67"/>
                  </a:lnTo>
                  <a:lnTo>
                    <a:pt x="247" y="66"/>
                  </a:lnTo>
                  <a:lnTo>
                    <a:pt x="244" y="65"/>
                  </a:lnTo>
                  <a:lnTo>
                    <a:pt x="244" y="64"/>
                  </a:lnTo>
                  <a:lnTo>
                    <a:pt x="244" y="61"/>
                  </a:lnTo>
                  <a:lnTo>
                    <a:pt x="244" y="59"/>
                  </a:lnTo>
                  <a:lnTo>
                    <a:pt x="241" y="58"/>
                  </a:lnTo>
                  <a:lnTo>
                    <a:pt x="240" y="56"/>
                  </a:lnTo>
                  <a:lnTo>
                    <a:pt x="238" y="55"/>
                  </a:lnTo>
                  <a:lnTo>
                    <a:pt x="236" y="56"/>
                  </a:lnTo>
                  <a:lnTo>
                    <a:pt x="236" y="58"/>
                  </a:lnTo>
                  <a:lnTo>
                    <a:pt x="234" y="60"/>
                  </a:lnTo>
                  <a:lnTo>
                    <a:pt x="233" y="62"/>
                  </a:lnTo>
                  <a:lnTo>
                    <a:pt x="230" y="66"/>
                  </a:lnTo>
                  <a:lnTo>
                    <a:pt x="228" y="65"/>
                  </a:lnTo>
                  <a:lnTo>
                    <a:pt x="229" y="64"/>
                  </a:lnTo>
                  <a:lnTo>
                    <a:pt x="230" y="62"/>
                  </a:lnTo>
                  <a:lnTo>
                    <a:pt x="230" y="61"/>
                  </a:lnTo>
                  <a:lnTo>
                    <a:pt x="229" y="61"/>
                  </a:lnTo>
                  <a:lnTo>
                    <a:pt x="230" y="60"/>
                  </a:lnTo>
                  <a:lnTo>
                    <a:pt x="232" y="59"/>
                  </a:lnTo>
                  <a:lnTo>
                    <a:pt x="230" y="58"/>
                  </a:lnTo>
                  <a:lnTo>
                    <a:pt x="232" y="56"/>
                  </a:lnTo>
                  <a:lnTo>
                    <a:pt x="233" y="56"/>
                  </a:lnTo>
                  <a:lnTo>
                    <a:pt x="232" y="54"/>
                  </a:lnTo>
                  <a:lnTo>
                    <a:pt x="234" y="54"/>
                  </a:lnTo>
                  <a:lnTo>
                    <a:pt x="235" y="52"/>
                  </a:lnTo>
                  <a:lnTo>
                    <a:pt x="234" y="52"/>
                  </a:lnTo>
                  <a:lnTo>
                    <a:pt x="235" y="50"/>
                  </a:lnTo>
                  <a:lnTo>
                    <a:pt x="236" y="49"/>
                  </a:lnTo>
                  <a:lnTo>
                    <a:pt x="238" y="48"/>
                  </a:lnTo>
                  <a:lnTo>
                    <a:pt x="236" y="46"/>
                  </a:lnTo>
                  <a:lnTo>
                    <a:pt x="234" y="44"/>
                  </a:lnTo>
                  <a:lnTo>
                    <a:pt x="233" y="43"/>
                  </a:lnTo>
                  <a:lnTo>
                    <a:pt x="232" y="43"/>
                  </a:lnTo>
                  <a:lnTo>
                    <a:pt x="230" y="44"/>
                  </a:lnTo>
                  <a:lnTo>
                    <a:pt x="230" y="48"/>
                  </a:lnTo>
                  <a:lnTo>
                    <a:pt x="228" y="47"/>
                  </a:lnTo>
                  <a:lnTo>
                    <a:pt x="228" y="48"/>
                  </a:lnTo>
                  <a:lnTo>
                    <a:pt x="228" y="50"/>
                  </a:lnTo>
                  <a:lnTo>
                    <a:pt x="227" y="53"/>
                  </a:lnTo>
                  <a:lnTo>
                    <a:pt x="226" y="53"/>
                  </a:lnTo>
                  <a:lnTo>
                    <a:pt x="226" y="54"/>
                  </a:lnTo>
                  <a:lnTo>
                    <a:pt x="226" y="56"/>
                  </a:lnTo>
                  <a:lnTo>
                    <a:pt x="224" y="56"/>
                  </a:lnTo>
                  <a:lnTo>
                    <a:pt x="223" y="54"/>
                  </a:lnTo>
                  <a:lnTo>
                    <a:pt x="224" y="52"/>
                  </a:lnTo>
                  <a:lnTo>
                    <a:pt x="224" y="49"/>
                  </a:lnTo>
                  <a:lnTo>
                    <a:pt x="224" y="48"/>
                  </a:lnTo>
                  <a:lnTo>
                    <a:pt x="223" y="47"/>
                  </a:lnTo>
                  <a:lnTo>
                    <a:pt x="224" y="46"/>
                  </a:lnTo>
                  <a:lnTo>
                    <a:pt x="226" y="43"/>
                  </a:lnTo>
                  <a:lnTo>
                    <a:pt x="224" y="41"/>
                  </a:lnTo>
                  <a:lnTo>
                    <a:pt x="223" y="40"/>
                  </a:lnTo>
                  <a:lnTo>
                    <a:pt x="221" y="40"/>
                  </a:lnTo>
                  <a:lnTo>
                    <a:pt x="220" y="41"/>
                  </a:lnTo>
                  <a:lnTo>
                    <a:pt x="220" y="43"/>
                  </a:lnTo>
                  <a:lnTo>
                    <a:pt x="218" y="43"/>
                  </a:lnTo>
                  <a:lnTo>
                    <a:pt x="217" y="41"/>
                  </a:lnTo>
                  <a:lnTo>
                    <a:pt x="217" y="40"/>
                  </a:lnTo>
                  <a:lnTo>
                    <a:pt x="216" y="41"/>
                  </a:lnTo>
                  <a:lnTo>
                    <a:pt x="215" y="40"/>
                  </a:lnTo>
                  <a:lnTo>
                    <a:pt x="215" y="37"/>
                  </a:lnTo>
                  <a:lnTo>
                    <a:pt x="214" y="37"/>
                  </a:lnTo>
                  <a:lnTo>
                    <a:pt x="214" y="35"/>
                  </a:lnTo>
                  <a:lnTo>
                    <a:pt x="212" y="34"/>
                  </a:lnTo>
                  <a:lnTo>
                    <a:pt x="210" y="32"/>
                  </a:lnTo>
                  <a:lnTo>
                    <a:pt x="209" y="31"/>
                  </a:lnTo>
                  <a:lnTo>
                    <a:pt x="206" y="32"/>
                  </a:lnTo>
                  <a:lnTo>
                    <a:pt x="206" y="36"/>
                  </a:lnTo>
                  <a:lnTo>
                    <a:pt x="206" y="37"/>
                  </a:lnTo>
                  <a:lnTo>
                    <a:pt x="209" y="40"/>
                  </a:lnTo>
                  <a:lnTo>
                    <a:pt x="206" y="41"/>
                  </a:lnTo>
                  <a:lnTo>
                    <a:pt x="205" y="41"/>
                  </a:lnTo>
                  <a:lnTo>
                    <a:pt x="205" y="43"/>
                  </a:lnTo>
                  <a:lnTo>
                    <a:pt x="208" y="44"/>
                  </a:lnTo>
                  <a:lnTo>
                    <a:pt x="210" y="47"/>
                  </a:lnTo>
                  <a:lnTo>
                    <a:pt x="211" y="48"/>
                  </a:lnTo>
                  <a:lnTo>
                    <a:pt x="214" y="50"/>
                  </a:lnTo>
                  <a:lnTo>
                    <a:pt x="214" y="52"/>
                  </a:lnTo>
                  <a:lnTo>
                    <a:pt x="212" y="52"/>
                  </a:lnTo>
                  <a:lnTo>
                    <a:pt x="209" y="50"/>
                  </a:lnTo>
                  <a:lnTo>
                    <a:pt x="206" y="50"/>
                  </a:lnTo>
                  <a:lnTo>
                    <a:pt x="205" y="52"/>
                  </a:lnTo>
                  <a:lnTo>
                    <a:pt x="206" y="53"/>
                  </a:lnTo>
                  <a:lnTo>
                    <a:pt x="208" y="55"/>
                  </a:lnTo>
                  <a:lnTo>
                    <a:pt x="209" y="56"/>
                  </a:lnTo>
                  <a:lnTo>
                    <a:pt x="210" y="60"/>
                  </a:lnTo>
                  <a:lnTo>
                    <a:pt x="211" y="61"/>
                  </a:lnTo>
                  <a:lnTo>
                    <a:pt x="210" y="62"/>
                  </a:lnTo>
                  <a:lnTo>
                    <a:pt x="208" y="62"/>
                  </a:lnTo>
                  <a:lnTo>
                    <a:pt x="205" y="62"/>
                  </a:lnTo>
                  <a:lnTo>
                    <a:pt x="204" y="61"/>
                  </a:lnTo>
                  <a:lnTo>
                    <a:pt x="204" y="60"/>
                  </a:lnTo>
                  <a:lnTo>
                    <a:pt x="203" y="60"/>
                  </a:lnTo>
                  <a:lnTo>
                    <a:pt x="199" y="61"/>
                  </a:lnTo>
                  <a:lnTo>
                    <a:pt x="197" y="64"/>
                  </a:lnTo>
                  <a:lnTo>
                    <a:pt x="196" y="66"/>
                  </a:lnTo>
                  <a:lnTo>
                    <a:pt x="197" y="66"/>
                  </a:lnTo>
                  <a:lnTo>
                    <a:pt x="198" y="68"/>
                  </a:lnTo>
                  <a:lnTo>
                    <a:pt x="199" y="71"/>
                  </a:lnTo>
                  <a:lnTo>
                    <a:pt x="200" y="72"/>
                  </a:lnTo>
                  <a:lnTo>
                    <a:pt x="203" y="73"/>
                  </a:lnTo>
                  <a:lnTo>
                    <a:pt x="204" y="76"/>
                  </a:lnTo>
                  <a:lnTo>
                    <a:pt x="205" y="77"/>
                  </a:lnTo>
                  <a:lnTo>
                    <a:pt x="208" y="78"/>
                  </a:lnTo>
                  <a:lnTo>
                    <a:pt x="209" y="79"/>
                  </a:lnTo>
                  <a:lnTo>
                    <a:pt x="210" y="78"/>
                  </a:lnTo>
                  <a:lnTo>
                    <a:pt x="211" y="77"/>
                  </a:lnTo>
                  <a:lnTo>
                    <a:pt x="212" y="77"/>
                  </a:lnTo>
                  <a:lnTo>
                    <a:pt x="215" y="77"/>
                  </a:lnTo>
                  <a:lnTo>
                    <a:pt x="217" y="78"/>
                  </a:lnTo>
                  <a:lnTo>
                    <a:pt x="217" y="79"/>
                  </a:lnTo>
                  <a:lnTo>
                    <a:pt x="216" y="82"/>
                  </a:lnTo>
                  <a:lnTo>
                    <a:pt x="215" y="80"/>
                  </a:lnTo>
                  <a:lnTo>
                    <a:pt x="214" y="79"/>
                  </a:lnTo>
                  <a:lnTo>
                    <a:pt x="211" y="79"/>
                  </a:lnTo>
                  <a:lnTo>
                    <a:pt x="209" y="79"/>
                  </a:lnTo>
                  <a:lnTo>
                    <a:pt x="206" y="80"/>
                  </a:lnTo>
                  <a:lnTo>
                    <a:pt x="205" y="79"/>
                  </a:lnTo>
                  <a:lnTo>
                    <a:pt x="204" y="78"/>
                  </a:lnTo>
                  <a:lnTo>
                    <a:pt x="200" y="77"/>
                  </a:lnTo>
                  <a:lnTo>
                    <a:pt x="200" y="79"/>
                  </a:lnTo>
                  <a:lnTo>
                    <a:pt x="199" y="80"/>
                  </a:lnTo>
                  <a:lnTo>
                    <a:pt x="200" y="82"/>
                  </a:lnTo>
                  <a:lnTo>
                    <a:pt x="203" y="84"/>
                  </a:lnTo>
                  <a:lnTo>
                    <a:pt x="205" y="85"/>
                  </a:lnTo>
                  <a:lnTo>
                    <a:pt x="205" y="88"/>
                  </a:lnTo>
                  <a:lnTo>
                    <a:pt x="203" y="89"/>
                  </a:lnTo>
                  <a:lnTo>
                    <a:pt x="203" y="90"/>
                  </a:lnTo>
                  <a:lnTo>
                    <a:pt x="204" y="90"/>
                  </a:lnTo>
                  <a:lnTo>
                    <a:pt x="205" y="91"/>
                  </a:lnTo>
                  <a:lnTo>
                    <a:pt x="208" y="94"/>
                  </a:lnTo>
                  <a:lnTo>
                    <a:pt x="206" y="95"/>
                  </a:lnTo>
                  <a:lnTo>
                    <a:pt x="205" y="95"/>
                  </a:lnTo>
                  <a:lnTo>
                    <a:pt x="205" y="94"/>
                  </a:lnTo>
                  <a:lnTo>
                    <a:pt x="204" y="91"/>
                  </a:lnTo>
                  <a:lnTo>
                    <a:pt x="203" y="91"/>
                  </a:lnTo>
                  <a:lnTo>
                    <a:pt x="202" y="94"/>
                  </a:lnTo>
                  <a:lnTo>
                    <a:pt x="200" y="95"/>
                  </a:lnTo>
                  <a:lnTo>
                    <a:pt x="199" y="96"/>
                  </a:lnTo>
                  <a:lnTo>
                    <a:pt x="199" y="97"/>
                  </a:lnTo>
                  <a:lnTo>
                    <a:pt x="202" y="98"/>
                  </a:lnTo>
                  <a:lnTo>
                    <a:pt x="203" y="98"/>
                  </a:lnTo>
                  <a:lnTo>
                    <a:pt x="204" y="98"/>
                  </a:lnTo>
                  <a:lnTo>
                    <a:pt x="205" y="101"/>
                  </a:lnTo>
                  <a:lnTo>
                    <a:pt x="208" y="101"/>
                  </a:lnTo>
                  <a:lnTo>
                    <a:pt x="209" y="100"/>
                  </a:lnTo>
                  <a:lnTo>
                    <a:pt x="210" y="98"/>
                  </a:lnTo>
                  <a:lnTo>
                    <a:pt x="211" y="98"/>
                  </a:lnTo>
                  <a:lnTo>
                    <a:pt x="215" y="98"/>
                  </a:lnTo>
                  <a:lnTo>
                    <a:pt x="216" y="98"/>
                  </a:lnTo>
                  <a:lnTo>
                    <a:pt x="218" y="98"/>
                  </a:lnTo>
                  <a:lnTo>
                    <a:pt x="220" y="98"/>
                  </a:lnTo>
                  <a:lnTo>
                    <a:pt x="222" y="101"/>
                  </a:lnTo>
                  <a:lnTo>
                    <a:pt x="222" y="102"/>
                  </a:lnTo>
                  <a:lnTo>
                    <a:pt x="223" y="103"/>
                  </a:lnTo>
                  <a:lnTo>
                    <a:pt x="224" y="103"/>
                  </a:lnTo>
                  <a:lnTo>
                    <a:pt x="226" y="103"/>
                  </a:lnTo>
                  <a:lnTo>
                    <a:pt x="227" y="102"/>
                  </a:lnTo>
                  <a:lnTo>
                    <a:pt x="228" y="101"/>
                  </a:lnTo>
                  <a:lnTo>
                    <a:pt x="230" y="102"/>
                  </a:lnTo>
                  <a:lnTo>
                    <a:pt x="232" y="102"/>
                  </a:lnTo>
                  <a:lnTo>
                    <a:pt x="234" y="103"/>
                  </a:lnTo>
                  <a:lnTo>
                    <a:pt x="235" y="106"/>
                  </a:lnTo>
                  <a:lnTo>
                    <a:pt x="233" y="107"/>
                  </a:lnTo>
                  <a:lnTo>
                    <a:pt x="232" y="106"/>
                  </a:lnTo>
                  <a:lnTo>
                    <a:pt x="229" y="106"/>
                  </a:lnTo>
                  <a:lnTo>
                    <a:pt x="228" y="105"/>
                  </a:lnTo>
                  <a:lnTo>
                    <a:pt x="228" y="103"/>
                  </a:lnTo>
                  <a:lnTo>
                    <a:pt x="227" y="105"/>
                  </a:lnTo>
                  <a:lnTo>
                    <a:pt x="226" y="106"/>
                  </a:lnTo>
                  <a:lnTo>
                    <a:pt x="224" y="107"/>
                  </a:lnTo>
                  <a:lnTo>
                    <a:pt x="222" y="107"/>
                  </a:lnTo>
                  <a:lnTo>
                    <a:pt x="220" y="108"/>
                  </a:lnTo>
                  <a:lnTo>
                    <a:pt x="217" y="107"/>
                  </a:lnTo>
                  <a:lnTo>
                    <a:pt x="217" y="106"/>
                  </a:lnTo>
                  <a:lnTo>
                    <a:pt x="217" y="105"/>
                  </a:lnTo>
                  <a:lnTo>
                    <a:pt x="216" y="103"/>
                  </a:lnTo>
                  <a:lnTo>
                    <a:pt x="215" y="103"/>
                  </a:lnTo>
                  <a:lnTo>
                    <a:pt x="215" y="105"/>
                  </a:lnTo>
                  <a:lnTo>
                    <a:pt x="214" y="105"/>
                  </a:lnTo>
                  <a:lnTo>
                    <a:pt x="212" y="106"/>
                  </a:lnTo>
                  <a:lnTo>
                    <a:pt x="214" y="107"/>
                  </a:lnTo>
                  <a:lnTo>
                    <a:pt x="214" y="109"/>
                  </a:lnTo>
                  <a:lnTo>
                    <a:pt x="212" y="109"/>
                  </a:lnTo>
                  <a:lnTo>
                    <a:pt x="211" y="109"/>
                  </a:lnTo>
                  <a:lnTo>
                    <a:pt x="211" y="108"/>
                  </a:lnTo>
                  <a:lnTo>
                    <a:pt x="211" y="106"/>
                  </a:lnTo>
                  <a:lnTo>
                    <a:pt x="209" y="107"/>
                  </a:lnTo>
                  <a:lnTo>
                    <a:pt x="208" y="107"/>
                  </a:lnTo>
                  <a:lnTo>
                    <a:pt x="208" y="105"/>
                  </a:lnTo>
                  <a:lnTo>
                    <a:pt x="208" y="103"/>
                  </a:lnTo>
                  <a:lnTo>
                    <a:pt x="206" y="102"/>
                  </a:lnTo>
                  <a:lnTo>
                    <a:pt x="204" y="102"/>
                  </a:lnTo>
                  <a:lnTo>
                    <a:pt x="202" y="103"/>
                  </a:lnTo>
                  <a:lnTo>
                    <a:pt x="199" y="103"/>
                  </a:lnTo>
                  <a:lnTo>
                    <a:pt x="198" y="105"/>
                  </a:lnTo>
                  <a:lnTo>
                    <a:pt x="197" y="105"/>
                  </a:lnTo>
                  <a:lnTo>
                    <a:pt x="198" y="107"/>
                  </a:lnTo>
                  <a:lnTo>
                    <a:pt x="199" y="109"/>
                  </a:lnTo>
                  <a:lnTo>
                    <a:pt x="200" y="111"/>
                  </a:lnTo>
                  <a:lnTo>
                    <a:pt x="202" y="112"/>
                  </a:lnTo>
                  <a:lnTo>
                    <a:pt x="203" y="113"/>
                  </a:lnTo>
                  <a:lnTo>
                    <a:pt x="203" y="114"/>
                  </a:lnTo>
                  <a:lnTo>
                    <a:pt x="204" y="115"/>
                  </a:lnTo>
                  <a:lnTo>
                    <a:pt x="206" y="117"/>
                  </a:lnTo>
                  <a:lnTo>
                    <a:pt x="208" y="118"/>
                  </a:lnTo>
                  <a:lnTo>
                    <a:pt x="205" y="119"/>
                  </a:lnTo>
                  <a:lnTo>
                    <a:pt x="204" y="120"/>
                  </a:lnTo>
                  <a:lnTo>
                    <a:pt x="203" y="118"/>
                  </a:lnTo>
                  <a:lnTo>
                    <a:pt x="200" y="118"/>
                  </a:lnTo>
                  <a:lnTo>
                    <a:pt x="200" y="119"/>
                  </a:lnTo>
                  <a:lnTo>
                    <a:pt x="199" y="120"/>
                  </a:lnTo>
                  <a:lnTo>
                    <a:pt x="198" y="120"/>
                  </a:lnTo>
                  <a:lnTo>
                    <a:pt x="197" y="119"/>
                  </a:lnTo>
                  <a:lnTo>
                    <a:pt x="197" y="117"/>
                  </a:lnTo>
                  <a:lnTo>
                    <a:pt x="196" y="117"/>
                  </a:lnTo>
                  <a:lnTo>
                    <a:pt x="194" y="117"/>
                  </a:lnTo>
                  <a:lnTo>
                    <a:pt x="193" y="117"/>
                  </a:lnTo>
                  <a:lnTo>
                    <a:pt x="192" y="118"/>
                  </a:lnTo>
                  <a:lnTo>
                    <a:pt x="191" y="118"/>
                  </a:lnTo>
                  <a:lnTo>
                    <a:pt x="191" y="119"/>
                  </a:lnTo>
                  <a:lnTo>
                    <a:pt x="191" y="121"/>
                  </a:lnTo>
                  <a:lnTo>
                    <a:pt x="192" y="121"/>
                  </a:lnTo>
                  <a:lnTo>
                    <a:pt x="194" y="124"/>
                  </a:lnTo>
                  <a:lnTo>
                    <a:pt x="196" y="126"/>
                  </a:lnTo>
                  <a:lnTo>
                    <a:pt x="198" y="125"/>
                  </a:lnTo>
                  <a:lnTo>
                    <a:pt x="199" y="125"/>
                  </a:lnTo>
                  <a:lnTo>
                    <a:pt x="202" y="125"/>
                  </a:lnTo>
                  <a:lnTo>
                    <a:pt x="203" y="125"/>
                  </a:lnTo>
                  <a:lnTo>
                    <a:pt x="204" y="125"/>
                  </a:lnTo>
                  <a:lnTo>
                    <a:pt x="206" y="125"/>
                  </a:lnTo>
                  <a:lnTo>
                    <a:pt x="208" y="125"/>
                  </a:lnTo>
                  <a:lnTo>
                    <a:pt x="209" y="124"/>
                  </a:lnTo>
                  <a:lnTo>
                    <a:pt x="209" y="123"/>
                  </a:lnTo>
                  <a:lnTo>
                    <a:pt x="210" y="120"/>
                  </a:lnTo>
                  <a:lnTo>
                    <a:pt x="211" y="119"/>
                  </a:lnTo>
                  <a:lnTo>
                    <a:pt x="212" y="119"/>
                  </a:lnTo>
                  <a:lnTo>
                    <a:pt x="216" y="118"/>
                  </a:lnTo>
                  <a:lnTo>
                    <a:pt x="218" y="117"/>
                  </a:lnTo>
                  <a:lnTo>
                    <a:pt x="220" y="115"/>
                  </a:lnTo>
                  <a:lnTo>
                    <a:pt x="221" y="114"/>
                  </a:lnTo>
                  <a:lnTo>
                    <a:pt x="222" y="113"/>
                  </a:lnTo>
                  <a:lnTo>
                    <a:pt x="224" y="114"/>
                  </a:lnTo>
                  <a:lnTo>
                    <a:pt x="226" y="115"/>
                  </a:lnTo>
                  <a:lnTo>
                    <a:pt x="226" y="118"/>
                  </a:lnTo>
                  <a:lnTo>
                    <a:pt x="224" y="118"/>
                  </a:lnTo>
                  <a:lnTo>
                    <a:pt x="223" y="117"/>
                  </a:lnTo>
                  <a:lnTo>
                    <a:pt x="221" y="118"/>
                  </a:lnTo>
                  <a:lnTo>
                    <a:pt x="218" y="119"/>
                  </a:lnTo>
                  <a:lnTo>
                    <a:pt x="218" y="121"/>
                  </a:lnTo>
                  <a:lnTo>
                    <a:pt x="217" y="123"/>
                  </a:lnTo>
                  <a:lnTo>
                    <a:pt x="217" y="124"/>
                  </a:lnTo>
                  <a:lnTo>
                    <a:pt x="215" y="124"/>
                  </a:lnTo>
                  <a:lnTo>
                    <a:pt x="215" y="121"/>
                  </a:lnTo>
                  <a:lnTo>
                    <a:pt x="214" y="123"/>
                  </a:lnTo>
                  <a:lnTo>
                    <a:pt x="212" y="124"/>
                  </a:lnTo>
                  <a:lnTo>
                    <a:pt x="212" y="126"/>
                  </a:lnTo>
                  <a:lnTo>
                    <a:pt x="211" y="127"/>
                  </a:lnTo>
                  <a:lnTo>
                    <a:pt x="209" y="130"/>
                  </a:lnTo>
                  <a:lnTo>
                    <a:pt x="208" y="129"/>
                  </a:lnTo>
                  <a:lnTo>
                    <a:pt x="208" y="127"/>
                  </a:lnTo>
                  <a:lnTo>
                    <a:pt x="206" y="127"/>
                  </a:lnTo>
                  <a:lnTo>
                    <a:pt x="204" y="129"/>
                  </a:lnTo>
                  <a:lnTo>
                    <a:pt x="204" y="130"/>
                  </a:lnTo>
                  <a:lnTo>
                    <a:pt x="202" y="130"/>
                  </a:lnTo>
                  <a:lnTo>
                    <a:pt x="200" y="129"/>
                  </a:lnTo>
                  <a:lnTo>
                    <a:pt x="198" y="129"/>
                  </a:lnTo>
                  <a:lnTo>
                    <a:pt x="197" y="127"/>
                  </a:lnTo>
                  <a:lnTo>
                    <a:pt x="194" y="127"/>
                  </a:lnTo>
                  <a:lnTo>
                    <a:pt x="194" y="126"/>
                  </a:lnTo>
                  <a:lnTo>
                    <a:pt x="193" y="126"/>
                  </a:lnTo>
                  <a:lnTo>
                    <a:pt x="193" y="125"/>
                  </a:lnTo>
                  <a:lnTo>
                    <a:pt x="191" y="124"/>
                  </a:lnTo>
                  <a:lnTo>
                    <a:pt x="189" y="125"/>
                  </a:lnTo>
                  <a:lnTo>
                    <a:pt x="188" y="126"/>
                  </a:lnTo>
                  <a:lnTo>
                    <a:pt x="187" y="124"/>
                  </a:lnTo>
                  <a:lnTo>
                    <a:pt x="186" y="123"/>
                  </a:lnTo>
                  <a:lnTo>
                    <a:pt x="185" y="120"/>
                  </a:lnTo>
                  <a:lnTo>
                    <a:pt x="183" y="119"/>
                  </a:lnTo>
                  <a:lnTo>
                    <a:pt x="182" y="118"/>
                  </a:lnTo>
                  <a:lnTo>
                    <a:pt x="180" y="117"/>
                  </a:lnTo>
                  <a:lnTo>
                    <a:pt x="180" y="114"/>
                  </a:lnTo>
                  <a:lnTo>
                    <a:pt x="180" y="113"/>
                  </a:lnTo>
                  <a:lnTo>
                    <a:pt x="177" y="112"/>
                  </a:lnTo>
                  <a:lnTo>
                    <a:pt x="175" y="113"/>
                  </a:lnTo>
                  <a:lnTo>
                    <a:pt x="175" y="114"/>
                  </a:lnTo>
                  <a:lnTo>
                    <a:pt x="175" y="115"/>
                  </a:lnTo>
                  <a:lnTo>
                    <a:pt x="175" y="117"/>
                  </a:lnTo>
                  <a:lnTo>
                    <a:pt x="176" y="120"/>
                  </a:lnTo>
                  <a:lnTo>
                    <a:pt x="176" y="121"/>
                  </a:lnTo>
                  <a:lnTo>
                    <a:pt x="175" y="123"/>
                  </a:lnTo>
                  <a:lnTo>
                    <a:pt x="173" y="121"/>
                  </a:lnTo>
                  <a:lnTo>
                    <a:pt x="171" y="120"/>
                  </a:lnTo>
                  <a:lnTo>
                    <a:pt x="170" y="119"/>
                  </a:lnTo>
                  <a:lnTo>
                    <a:pt x="169" y="119"/>
                  </a:lnTo>
                  <a:lnTo>
                    <a:pt x="168" y="119"/>
                  </a:lnTo>
                  <a:lnTo>
                    <a:pt x="165" y="119"/>
                  </a:lnTo>
                  <a:lnTo>
                    <a:pt x="163" y="118"/>
                  </a:lnTo>
                  <a:lnTo>
                    <a:pt x="162" y="118"/>
                  </a:lnTo>
                  <a:lnTo>
                    <a:pt x="161" y="117"/>
                  </a:lnTo>
                  <a:lnTo>
                    <a:pt x="157" y="118"/>
                  </a:lnTo>
                  <a:lnTo>
                    <a:pt x="157" y="117"/>
                  </a:lnTo>
                  <a:lnTo>
                    <a:pt x="156" y="115"/>
                  </a:lnTo>
                  <a:lnTo>
                    <a:pt x="155" y="114"/>
                  </a:lnTo>
                  <a:lnTo>
                    <a:pt x="155" y="113"/>
                  </a:lnTo>
                  <a:lnTo>
                    <a:pt x="152" y="112"/>
                  </a:lnTo>
                  <a:lnTo>
                    <a:pt x="151" y="111"/>
                  </a:lnTo>
                  <a:lnTo>
                    <a:pt x="151" y="112"/>
                  </a:lnTo>
                  <a:lnTo>
                    <a:pt x="149" y="112"/>
                  </a:lnTo>
                  <a:lnTo>
                    <a:pt x="147" y="113"/>
                  </a:lnTo>
                  <a:lnTo>
                    <a:pt x="147" y="115"/>
                  </a:lnTo>
                  <a:lnTo>
                    <a:pt x="150" y="117"/>
                  </a:lnTo>
                  <a:lnTo>
                    <a:pt x="150" y="118"/>
                  </a:lnTo>
                  <a:lnTo>
                    <a:pt x="147" y="119"/>
                  </a:lnTo>
                  <a:lnTo>
                    <a:pt x="146" y="118"/>
                  </a:lnTo>
                  <a:lnTo>
                    <a:pt x="145" y="117"/>
                  </a:lnTo>
                  <a:lnTo>
                    <a:pt x="145" y="114"/>
                  </a:lnTo>
                  <a:lnTo>
                    <a:pt x="144" y="113"/>
                  </a:lnTo>
                  <a:lnTo>
                    <a:pt x="143" y="114"/>
                  </a:lnTo>
                  <a:lnTo>
                    <a:pt x="140" y="115"/>
                  </a:lnTo>
                  <a:lnTo>
                    <a:pt x="139" y="115"/>
                  </a:lnTo>
                  <a:lnTo>
                    <a:pt x="138" y="117"/>
                  </a:lnTo>
                  <a:lnTo>
                    <a:pt x="139" y="119"/>
                  </a:lnTo>
                  <a:lnTo>
                    <a:pt x="140" y="120"/>
                  </a:lnTo>
                  <a:lnTo>
                    <a:pt x="143" y="120"/>
                  </a:lnTo>
                  <a:lnTo>
                    <a:pt x="143" y="123"/>
                  </a:lnTo>
                  <a:lnTo>
                    <a:pt x="143" y="125"/>
                  </a:lnTo>
                  <a:lnTo>
                    <a:pt x="144" y="126"/>
                  </a:lnTo>
                  <a:lnTo>
                    <a:pt x="145" y="125"/>
                  </a:lnTo>
                  <a:lnTo>
                    <a:pt x="146" y="125"/>
                  </a:lnTo>
                  <a:lnTo>
                    <a:pt x="149" y="125"/>
                  </a:lnTo>
                  <a:lnTo>
                    <a:pt x="147" y="126"/>
                  </a:lnTo>
                  <a:lnTo>
                    <a:pt x="145" y="127"/>
                  </a:lnTo>
                  <a:lnTo>
                    <a:pt x="143" y="129"/>
                  </a:lnTo>
                  <a:lnTo>
                    <a:pt x="141" y="129"/>
                  </a:lnTo>
                  <a:lnTo>
                    <a:pt x="143" y="131"/>
                  </a:lnTo>
                  <a:lnTo>
                    <a:pt x="145" y="131"/>
                  </a:lnTo>
                  <a:lnTo>
                    <a:pt x="147" y="132"/>
                  </a:lnTo>
                  <a:lnTo>
                    <a:pt x="149" y="133"/>
                  </a:lnTo>
                  <a:lnTo>
                    <a:pt x="150" y="135"/>
                  </a:lnTo>
                  <a:lnTo>
                    <a:pt x="151" y="133"/>
                  </a:lnTo>
                  <a:lnTo>
                    <a:pt x="152" y="132"/>
                  </a:lnTo>
                  <a:lnTo>
                    <a:pt x="155" y="132"/>
                  </a:lnTo>
                  <a:lnTo>
                    <a:pt x="156" y="132"/>
                  </a:lnTo>
                  <a:lnTo>
                    <a:pt x="157" y="132"/>
                  </a:lnTo>
                  <a:lnTo>
                    <a:pt x="158" y="133"/>
                  </a:lnTo>
                  <a:lnTo>
                    <a:pt x="158" y="136"/>
                  </a:lnTo>
                  <a:lnTo>
                    <a:pt x="159" y="138"/>
                  </a:lnTo>
                  <a:lnTo>
                    <a:pt x="162" y="138"/>
                  </a:lnTo>
                  <a:lnTo>
                    <a:pt x="164" y="138"/>
                  </a:lnTo>
                  <a:lnTo>
                    <a:pt x="165" y="137"/>
                  </a:lnTo>
                  <a:lnTo>
                    <a:pt x="167" y="137"/>
                  </a:lnTo>
                  <a:lnTo>
                    <a:pt x="168" y="137"/>
                  </a:lnTo>
                  <a:lnTo>
                    <a:pt x="170" y="138"/>
                  </a:lnTo>
                  <a:lnTo>
                    <a:pt x="171" y="138"/>
                  </a:lnTo>
                  <a:lnTo>
                    <a:pt x="174" y="138"/>
                  </a:lnTo>
                  <a:lnTo>
                    <a:pt x="175" y="136"/>
                  </a:lnTo>
                  <a:lnTo>
                    <a:pt x="175" y="133"/>
                  </a:lnTo>
                  <a:lnTo>
                    <a:pt x="175" y="135"/>
                  </a:lnTo>
                  <a:lnTo>
                    <a:pt x="176" y="135"/>
                  </a:lnTo>
                  <a:lnTo>
                    <a:pt x="177" y="136"/>
                  </a:lnTo>
                  <a:lnTo>
                    <a:pt x="179" y="137"/>
                  </a:lnTo>
                  <a:lnTo>
                    <a:pt x="181" y="138"/>
                  </a:lnTo>
                  <a:lnTo>
                    <a:pt x="180" y="139"/>
                  </a:lnTo>
                  <a:lnTo>
                    <a:pt x="179" y="141"/>
                  </a:lnTo>
                  <a:lnTo>
                    <a:pt x="181" y="142"/>
                  </a:lnTo>
                  <a:lnTo>
                    <a:pt x="180" y="143"/>
                  </a:lnTo>
                  <a:lnTo>
                    <a:pt x="179" y="143"/>
                  </a:lnTo>
                  <a:lnTo>
                    <a:pt x="176" y="144"/>
                  </a:lnTo>
                  <a:lnTo>
                    <a:pt x="174" y="147"/>
                  </a:lnTo>
                  <a:lnTo>
                    <a:pt x="175" y="149"/>
                  </a:lnTo>
                  <a:lnTo>
                    <a:pt x="176" y="150"/>
                  </a:lnTo>
                  <a:lnTo>
                    <a:pt x="179" y="151"/>
                  </a:lnTo>
                  <a:lnTo>
                    <a:pt x="180" y="151"/>
                  </a:lnTo>
                  <a:lnTo>
                    <a:pt x="181" y="153"/>
                  </a:lnTo>
                  <a:lnTo>
                    <a:pt x="181" y="155"/>
                  </a:lnTo>
                  <a:lnTo>
                    <a:pt x="180" y="156"/>
                  </a:lnTo>
                  <a:lnTo>
                    <a:pt x="182" y="157"/>
                  </a:lnTo>
                  <a:lnTo>
                    <a:pt x="183" y="157"/>
                  </a:lnTo>
                  <a:lnTo>
                    <a:pt x="185" y="157"/>
                  </a:lnTo>
                  <a:lnTo>
                    <a:pt x="186" y="159"/>
                  </a:lnTo>
                  <a:lnTo>
                    <a:pt x="185" y="160"/>
                  </a:lnTo>
                  <a:lnTo>
                    <a:pt x="185" y="162"/>
                  </a:lnTo>
                  <a:lnTo>
                    <a:pt x="186" y="163"/>
                  </a:lnTo>
                  <a:lnTo>
                    <a:pt x="185" y="163"/>
                  </a:lnTo>
                  <a:lnTo>
                    <a:pt x="182" y="163"/>
                  </a:lnTo>
                  <a:lnTo>
                    <a:pt x="181" y="163"/>
                  </a:lnTo>
                  <a:lnTo>
                    <a:pt x="181" y="165"/>
                  </a:lnTo>
                  <a:lnTo>
                    <a:pt x="180" y="165"/>
                  </a:lnTo>
                  <a:lnTo>
                    <a:pt x="179" y="166"/>
                  </a:lnTo>
                  <a:lnTo>
                    <a:pt x="180" y="167"/>
                  </a:lnTo>
                  <a:lnTo>
                    <a:pt x="181" y="168"/>
                  </a:lnTo>
                  <a:lnTo>
                    <a:pt x="182" y="169"/>
                  </a:lnTo>
                  <a:lnTo>
                    <a:pt x="183" y="171"/>
                  </a:lnTo>
                  <a:lnTo>
                    <a:pt x="185" y="171"/>
                  </a:lnTo>
                  <a:lnTo>
                    <a:pt x="187" y="171"/>
                  </a:lnTo>
                  <a:lnTo>
                    <a:pt x="188" y="171"/>
                  </a:lnTo>
                  <a:lnTo>
                    <a:pt x="188" y="172"/>
                  </a:lnTo>
                  <a:lnTo>
                    <a:pt x="189" y="174"/>
                  </a:lnTo>
                  <a:lnTo>
                    <a:pt x="192" y="174"/>
                  </a:lnTo>
                  <a:lnTo>
                    <a:pt x="194" y="175"/>
                  </a:lnTo>
                  <a:lnTo>
                    <a:pt x="194" y="174"/>
                  </a:lnTo>
                  <a:lnTo>
                    <a:pt x="196" y="174"/>
                  </a:lnTo>
                  <a:lnTo>
                    <a:pt x="197" y="173"/>
                  </a:lnTo>
                  <a:lnTo>
                    <a:pt x="199" y="172"/>
                  </a:lnTo>
                  <a:lnTo>
                    <a:pt x="200" y="171"/>
                  </a:lnTo>
                  <a:lnTo>
                    <a:pt x="203" y="168"/>
                  </a:lnTo>
                  <a:lnTo>
                    <a:pt x="205" y="168"/>
                  </a:lnTo>
                  <a:lnTo>
                    <a:pt x="206" y="169"/>
                  </a:lnTo>
                  <a:lnTo>
                    <a:pt x="208" y="168"/>
                  </a:lnTo>
                  <a:lnTo>
                    <a:pt x="209" y="168"/>
                  </a:lnTo>
                  <a:lnTo>
                    <a:pt x="210" y="169"/>
                  </a:lnTo>
                  <a:lnTo>
                    <a:pt x="211" y="171"/>
                  </a:lnTo>
                  <a:lnTo>
                    <a:pt x="214" y="171"/>
                  </a:lnTo>
                  <a:lnTo>
                    <a:pt x="216" y="171"/>
                  </a:lnTo>
                  <a:lnTo>
                    <a:pt x="217" y="171"/>
                  </a:lnTo>
                  <a:lnTo>
                    <a:pt x="217" y="168"/>
                  </a:lnTo>
                  <a:lnTo>
                    <a:pt x="218" y="167"/>
                  </a:lnTo>
                  <a:lnTo>
                    <a:pt x="220" y="169"/>
                  </a:lnTo>
                  <a:lnTo>
                    <a:pt x="222" y="168"/>
                  </a:lnTo>
                  <a:lnTo>
                    <a:pt x="223" y="168"/>
                  </a:lnTo>
                  <a:lnTo>
                    <a:pt x="224" y="166"/>
                  </a:lnTo>
                  <a:lnTo>
                    <a:pt x="227" y="165"/>
                  </a:lnTo>
                  <a:lnTo>
                    <a:pt x="227" y="163"/>
                  </a:lnTo>
                  <a:lnTo>
                    <a:pt x="228" y="161"/>
                  </a:lnTo>
                  <a:lnTo>
                    <a:pt x="229" y="161"/>
                  </a:lnTo>
                  <a:lnTo>
                    <a:pt x="232" y="162"/>
                  </a:lnTo>
                  <a:lnTo>
                    <a:pt x="233" y="163"/>
                  </a:lnTo>
                  <a:lnTo>
                    <a:pt x="235" y="163"/>
                  </a:lnTo>
                  <a:lnTo>
                    <a:pt x="238" y="163"/>
                  </a:lnTo>
                  <a:lnTo>
                    <a:pt x="240" y="163"/>
                  </a:lnTo>
                  <a:lnTo>
                    <a:pt x="241" y="163"/>
                  </a:lnTo>
                  <a:lnTo>
                    <a:pt x="242" y="163"/>
                  </a:lnTo>
                  <a:lnTo>
                    <a:pt x="242" y="165"/>
                  </a:lnTo>
                  <a:lnTo>
                    <a:pt x="242" y="166"/>
                  </a:lnTo>
                  <a:lnTo>
                    <a:pt x="241" y="167"/>
                  </a:lnTo>
                  <a:lnTo>
                    <a:pt x="240" y="167"/>
                  </a:lnTo>
                  <a:lnTo>
                    <a:pt x="239" y="167"/>
                  </a:lnTo>
                  <a:lnTo>
                    <a:pt x="239" y="168"/>
                  </a:lnTo>
                  <a:lnTo>
                    <a:pt x="238" y="168"/>
                  </a:lnTo>
                  <a:lnTo>
                    <a:pt x="238" y="171"/>
                  </a:lnTo>
                  <a:lnTo>
                    <a:pt x="236" y="171"/>
                  </a:lnTo>
                  <a:lnTo>
                    <a:pt x="235" y="172"/>
                  </a:lnTo>
                  <a:lnTo>
                    <a:pt x="234" y="172"/>
                  </a:lnTo>
                  <a:lnTo>
                    <a:pt x="232" y="172"/>
                  </a:lnTo>
                  <a:lnTo>
                    <a:pt x="230" y="173"/>
                  </a:lnTo>
                  <a:lnTo>
                    <a:pt x="230" y="174"/>
                  </a:lnTo>
                  <a:lnTo>
                    <a:pt x="229" y="174"/>
                  </a:lnTo>
                  <a:lnTo>
                    <a:pt x="228" y="175"/>
                  </a:lnTo>
                  <a:lnTo>
                    <a:pt x="227" y="175"/>
                  </a:lnTo>
                  <a:lnTo>
                    <a:pt x="227" y="177"/>
                  </a:lnTo>
                  <a:lnTo>
                    <a:pt x="226" y="178"/>
                  </a:lnTo>
                  <a:lnTo>
                    <a:pt x="226" y="180"/>
                  </a:lnTo>
                  <a:lnTo>
                    <a:pt x="228" y="180"/>
                  </a:lnTo>
                  <a:lnTo>
                    <a:pt x="230" y="180"/>
                  </a:lnTo>
                  <a:lnTo>
                    <a:pt x="230" y="179"/>
                  </a:lnTo>
                  <a:lnTo>
                    <a:pt x="232" y="178"/>
                  </a:lnTo>
                  <a:lnTo>
                    <a:pt x="233" y="177"/>
                  </a:lnTo>
                  <a:lnTo>
                    <a:pt x="234" y="177"/>
                  </a:lnTo>
                  <a:lnTo>
                    <a:pt x="235" y="175"/>
                  </a:lnTo>
                  <a:lnTo>
                    <a:pt x="236" y="174"/>
                  </a:lnTo>
                  <a:lnTo>
                    <a:pt x="239" y="173"/>
                  </a:lnTo>
                  <a:lnTo>
                    <a:pt x="241" y="172"/>
                  </a:lnTo>
                  <a:lnTo>
                    <a:pt x="244" y="171"/>
                  </a:lnTo>
                  <a:lnTo>
                    <a:pt x="246" y="171"/>
                  </a:lnTo>
                  <a:lnTo>
                    <a:pt x="245" y="172"/>
                  </a:lnTo>
                  <a:lnTo>
                    <a:pt x="244" y="173"/>
                  </a:lnTo>
                  <a:lnTo>
                    <a:pt x="241" y="174"/>
                  </a:lnTo>
                  <a:lnTo>
                    <a:pt x="240" y="174"/>
                  </a:lnTo>
                  <a:lnTo>
                    <a:pt x="241" y="177"/>
                  </a:lnTo>
                  <a:lnTo>
                    <a:pt x="242" y="175"/>
                  </a:lnTo>
                  <a:lnTo>
                    <a:pt x="244" y="174"/>
                  </a:lnTo>
                  <a:lnTo>
                    <a:pt x="245" y="174"/>
                  </a:lnTo>
                  <a:lnTo>
                    <a:pt x="246" y="173"/>
                  </a:lnTo>
                  <a:lnTo>
                    <a:pt x="247" y="172"/>
                  </a:lnTo>
                  <a:lnTo>
                    <a:pt x="250" y="171"/>
                  </a:lnTo>
                  <a:lnTo>
                    <a:pt x="251" y="171"/>
                  </a:lnTo>
                  <a:lnTo>
                    <a:pt x="251" y="173"/>
                  </a:lnTo>
                  <a:lnTo>
                    <a:pt x="248" y="174"/>
                  </a:lnTo>
                  <a:lnTo>
                    <a:pt x="247" y="175"/>
                  </a:lnTo>
                  <a:lnTo>
                    <a:pt x="247" y="177"/>
                  </a:lnTo>
                  <a:lnTo>
                    <a:pt x="248" y="178"/>
                  </a:lnTo>
                  <a:lnTo>
                    <a:pt x="247" y="179"/>
                  </a:lnTo>
                  <a:lnTo>
                    <a:pt x="246" y="179"/>
                  </a:lnTo>
                  <a:lnTo>
                    <a:pt x="244" y="179"/>
                  </a:lnTo>
                  <a:lnTo>
                    <a:pt x="242" y="181"/>
                  </a:lnTo>
                  <a:lnTo>
                    <a:pt x="241" y="183"/>
                  </a:lnTo>
                  <a:lnTo>
                    <a:pt x="240" y="181"/>
                  </a:lnTo>
                  <a:lnTo>
                    <a:pt x="239" y="180"/>
                  </a:lnTo>
                  <a:lnTo>
                    <a:pt x="236" y="180"/>
                  </a:lnTo>
                  <a:lnTo>
                    <a:pt x="238" y="181"/>
                  </a:lnTo>
                  <a:lnTo>
                    <a:pt x="239" y="183"/>
                  </a:lnTo>
                  <a:lnTo>
                    <a:pt x="239" y="185"/>
                  </a:lnTo>
                  <a:lnTo>
                    <a:pt x="239" y="186"/>
                  </a:lnTo>
                  <a:lnTo>
                    <a:pt x="238" y="189"/>
                  </a:lnTo>
                  <a:lnTo>
                    <a:pt x="238" y="190"/>
                  </a:lnTo>
                  <a:lnTo>
                    <a:pt x="236" y="191"/>
                  </a:lnTo>
                  <a:lnTo>
                    <a:pt x="235" y="192"/>
                  </a:lnTo>
                  <a:lnTo>
                    <a:pt x="234" y="193"/>
                  </a:lnTo>
                  <a:lnTo>
                    <a:pt x="235" y="193"/>
                  </a:lnTo>
                  <a:lnTo>
                    <a:pt x="238" y="195"/>
                  </a:lnTo>
                  <a:lnTo>
                    <a:pt x="240" y="195"/>
                  </a:lnTo>
                  <a:lnTo>
                    <a:pt x="242" y="195"/>
                  </a:lnTo>
                  <a:lnTo>
                    <a:pt x="244" y="193"/>
                  </a:lnTo>
                  <a:lnTo>
                    <a:pt x="246" y="193"/>
                  </a:lnTo>
                  <a:lnTo>
                    <a:pt x="248" y="193"/>
                  </a:lnTo>
                  <a:lnTo>
                    <a:pt x="250" y="192"/>
                  </a:lnTo>
                  <a:lnTo>
                    <a:pt x="251" y="192"/>
                  </a:lnTo>
                  <a:lnTo>
                    <a:pt x="252" y="191"/>
                  </a:lnTo>
                  <a:lnTo>
                    <a:pt x="252" y="190"/>
                  </a:lnTo>
                  <a:lnTo>
                    <a:pt x="251" y="187"/>
                  </a:lnTo>
                  <a:lnTo>
                    <a:pt x="250" y="187"/>
                  </a:lnTo>
                  <a:lnTo>
                    <a:pt x="250" y="185"/>
                  </a:lnTo>
                  <a:lnTo>
                    <a:pt x="250" y="184"/>
                  </a:lnTo>
                  <a:lnTo>
                    <a:pt x="251" y="183"/>
                  </a:lnTo>
                  <a:lnTo>
                    <a:pt x="252" y="183"/>
                  </a:lnTo>
                  <a:lnTo>
                    <a:pt x="252" y="181"/>
                  </a:lnTo>
                  <a:lnTo>
                    <a:pt x="252" y="180"/>
                  </a:lnTo>
                  <a:lnTo>
                    <a:pt x="252" y="179"/>
                  </a:lnTo>
                  <a:lnTo>
                    <a:pt x="251" y="178"/>
                  </a:lnTo>
                  <a:lnTo>
                    <a:pt x="253" y="178"/>
                  </a:lnTo>
                  <a:lnTo>
                    <a:pt x="253" y="177"/>
                  </a:lnTo>
                  <a:lnTo>
                    <a:pt x="253" y="175"/>
                  </a:lnTo>
                  <a:lnTo>
                    <a:pt x="253" y="174"/>
                  </a:lnTo>
                  <a:lnTo>
                    <a:pt x="253" y="173"/>
                  </a:lnTo>
                  <a:lnTo>
                    <a:pt x="255" y="169"/>
                  </a:lnTo>
                  <a:lnTo>
                    <a:pt x="256" y="169"/>
                  </a:lnTo>
                  <a:lnTo>
                    <a:pt x="258" y="168"/>
                  </a:lnTo>
                  <a:lnTo>
                    <a:pt x="257" y="167"/>
                  </a:lnTo>
                  <a:lnTo>
                    <a:pt x="257" y="166"/>
                  </a:lnTo>
                  <a:lnTo>
                    <a:pt x="256" y="165"/>
                  </a:lnTo>
                  <a:lnTo>
                    <a:pt x="255" y="163"/>
                  </a:lnTo>
                  <a:lnTo>
                    <a:pt x="256" y="161"/>
                  </a:lnTo>
                  <a:lnTo>
                    <a:pt x="257" y="161"/>
                  </a:lnTo>
                  <a:lnTo>
                    <a:pt x="258" y="161"/>
                  </a:lnTo>
                  <a:lnTo>
                    <a:pt x="258" y="162"/>
                  </a:lnTo>
                  <a:lnTo>
                    <a:pt x="259" y="162"/>
                  </a:lnTo>
                  <a:lnTo>
                    <a:pt x="261" y="161"/>
                  </a:lnTo>
                  <a:lnTo>
                    <a:pt x="263" y="160"/>
                  </a:lnTo>
                  <a:lnTo>
                    <a:pt x="264" y="160"/>
                  </a:lnTo>
                  <a:lnTo>
                    <a:pt x="267" y="159"/>
                  </a:lnTo>
                  <a:lnTo>
                    <a:pt x="269" y="159"/>
                  </a:lnTo>
                  <a:lnTo>
                    <a:pt x="274" y="159"/>
                  </a:lnTo>
                  <a:lnTo>
                    <a:pt x="276" y="160"/>
                  </a:lnTo>
                  <a:lnTo>
                    <a:pt x="277" y="161"/>
                  </a:lnTo>
                  <a:lnTo>
                    <a:pt x="279" y="162"/>
                  </a:lnTo>
                  <a:lnTo>
                    <a:pt x="280" y="162"/>
                  </a:lnTo>
                  <a:lnTo>
                    <a:pt x="282" y="162"/>
                  </a:lnTo>
                  <a:lnTo>
                    <a:pt x="283" y="161"/>
                  </a:lnTo>
                  <a:lnTo>
                    <a:pt x="285" y="162"/>
                  </a:lnTo>
                  <a:lnTo>
                    <a:pt x="282" y="163"/>
                  </a:lnTo>
                  <a:lnTo>
                    <a:pt x="281" y="163"/>
                  </a:lnTo>
                  <a:lnTo>
                    <a:pt x="280" y="165"/>
                  </a:lnTo>
                  <a:lnTo>
                    <a:pt x="280" y="166"/>
                  </a:lnTo>
                  <a:lnTo>
                    <a:pt x="281" y="167"/>
                  </a:lnTo>
                  <a:lnTo>
                    <a:pt x="282" y="167"/>
                  </a:lnTo>
                  <a:lnTo>
                    <a:pt x="283" y="166"/>
                  </a:lnTo>
                  <a:lnTo>
                    <a:pt x="285" y="166"/>
                  </a:lnTo>
                  <a:lnTo>
                    <a:pt x="287" y="165"/>
                  </a:lnTo>
                  <a:lnTo>
                    <a:pt x="287" y="167"/>
                  </a:lnTo>
                  <a:lnTo>
                    <a:pt x="286" y="168"/>
                  </a:lnTo>
                  <a:lnTo>
                    <a:pt x="285" y="168"/>
                  </a:lnTo>
                  <a:lnTo>
                    <a:pt x="283" y="171"/>
                  </a:lnTo>
                  <a:lnTo>
                    <a:pt x="281" y="172"/>
                  </a:lnTo>
                  <a:lnTo>
                    <a:pt x="280" y="171"/>
                  </a:lnTo>
                  <a:lnTo>
                    <a:pt x="279" y="172"/>
                  </a:lnTo>
                  <a:lnTo>
                    <a:pt x="277" y="173"/>
                  </a:lnTo>
                  <a:lnTo>
                    <a:pt x="277" y="174"/>
                  </a:lnTo>
                  <a:lnTo>
                    <a:pt x="276" y="178"/>
                  </a:lnTo>
                  <a:lnTo>
                    <a:pt x="275" y="177"/>
                  </a:lnTo>
                  <a:lnTo>
                    <a:pt x="275" y="174"/>
                  </a:lnTo>
                  <a:lnTo>
                    <a:pt x="274" y="174"/>
                  </a:lnTo>
                  <a:lnTo>
                    <a:pt x="274" y="175"/>
                  </a:lnTo>
                  <a:lnTo>
                    <a:pt x="273" y="178"/>
                  </a:lnTo>
                  <a:lnTo>
                    <a:pt x="271" y="178"/>
                  </a:lnTo>
                  <a:lnTo>
                    <a:pt x="270" y="177"/>
                  </a:lnTo>
                  <a:lnTo>
                    <a:pt x="270" y="174"/>
                  </a:lnTo>
                  <a:lnTo>
                    <a:pt x="269" y="172"/>
                  </a:lnTo>
                  <a:lnTo>
                    <a:pt x="268" y="172"/>
                  </a:lnTo>
                  <a:lnTo>
                    <a:pt x="267" y="174"/>
                  </a:lnTo>
                  <a:lnTo>
                    <a:pt x="265" y="175"/>
                  </a:lnTo>
                  <a:lnTo>
                    <a:pt x="264" y="174"/>
                  </a:lnTo>
                  <a:lnTo>
                    <a:pt x="262" y="172"/>
                  </a:lnTo>
                  <a:lnTo>
                    <a:pt x="261" y="173"/>
                  </a:lnTo>
                  <a:lnTo>
                    <a:pt x="261" y="174"/>
                  </a:lnTo>
                  <a:lnTo>
                    <a:pt x="262" y="175"/>
                  </a:lnTo>
                  <a:lnTo>
                    <a:pt x="263" y="177"/>
                  </a:lnTo>
                  <a:lnTo>
                    <a:pt x="264" y="177"/>
                  </a:lnTo>
                  <a:lnTo>
                    <a:pt x="267" y="178"/>
                  </a:lnTo>
                  <a:lnTo>
                    <a:pt x="268" y="179"/>
                  </a:lnTo>
                  <a:lnTo>
                    <a:pt x="267" y="180"/>
                  </a:lnTo>
                  <a:lnTo>
                    <a:pt x="263" y="180"/>
                  </a:lnTo>
                  <a:lnTo>
                    <a:pt x="262" y="180"/>
                  </a:lnTo>
                  <a:lnTo>
                    <a:pt x="261" y="181"/>
                  </a:lnTo>
                  <a:lnTo>
                    <a:pt x="261" y="183"/>
                  </a:lnTo>
                  <a:lnTo>
                    <a:pt x="262" y="184"/>
                  </a:lnTo>
                  <a:lnTo>
                    <a:pt x="264" y="184"/>
                  </a:lnTo>
                  <a:lnTo>
                    <a:pt x="267" y="184"/>
                  </a:lnTo>
                  <a:lnTo>
                    <a:pt x="268" y="184"/>
                  </a:lnTo>
                  <a:lnTo>
                    <a:pt x="269" y="183"/>
                  </a:lnTo>
                  <a:lnTo>
                    <a:pt x="270" y="181"/>
                  </a:lnTo>
                  <a:lnTo>
                    <a:pt x="271" y="180"/>
                  </a:lnTo>
                  <a:lnTo>
                    <a:pt x="274" y="179"/>
                  </a:lnTo>
                  <a:lnTo>
                    <a:pt x="275" y="179"/>
                  </a:lnTo>
                  <a:lnTo>
                    <a:pt x="275" y="181"/>
                  </a:lnTo>
                  <a:lnTo>
                    <a:pt x="274" y="183"/>
                  </a:lnTo>
                  <a:lnTo>
                    <a:pt x="275" y="183"/>
                  </a:lnTo>
                  <a:lnTo>
                    <a:pt x="276" y="183"/>
                  </a:lnTo>
                  <a:lnTo>
                    <a:pt x="277" y="181"/>
                  </a:lnTo>
                  <a:lnTo>
                    <a:pt x="279" y="180"/>
                  </a:lnTo>
                  <a:lnTo>
                    <a:pt x="282" y="180"/>
                  </a:lnTo>
                  <a:lnTo>
                    <a:pt x="283" y="179"/>
                  </a:lnTo>
                  <a:lnTo>
                    <a:pt x="283" y="177"/>
                  </a:lnTo>
                  <a:lnTo>
                    <a:pt x="283" y="175"/>
                  </a:lnTo>
                  <a:lnTo>
                    <a:pt x="283" y="174"/>
                  </a:lnTo>
                  <a:lnTo>
                    <a:pt x="283" y="173"/>
                  </a:lnTo>
                  <a:lnTo>
                    <a:pt x="285" y="172"/>
                  </a:lnTo>
                  <a:lnTo>
                    <a:pt x="286" y="171"/>
                  </a:lnTo>
                  <a:lnTo>
                    <a:pt x="287" y="169"/>
                  </a:lnTo>
                  <a:lnTo>
                    <a:pt x="289" y="167"/>
                  </a:lnTo>
                  <a:lnTo>
                    <a:pt x="291" y="166"/>
                  </a:lnTo>
                  <a:lnTo>
                    <a:pt x="292" y="166"/>
                  </a:lnTo>
                  <a:lnTo>
                    <a:pt x="293" y="167"/>
                  </a:lnTo>
                  <a:lnTo>
                    <a:pt x="292" y="168"/>
                  </a:lnTo>
                  <a:lnTo>
                    <a:pt x="292" y="169"/>
                  </a:lnTo>
                  <a:lnTo>
                    <a:pt x="291" y="172"/>
                  </a:lnTo>
                  <a:lnTo>
                    <a:pt x="291" y="174"/>
                  </a:lnTo>
                  <a:lnTo>
                    <a:pt x="292" y="177"/>
                  </a:lnTo>
                  <a:lnTo>
                    <a:pt x="293" y="178"/>
                  </a:lnTo>
                  <a:lnTo>
                    <a:pt x="297" y="180"/>
                  </a:lnTo>
                  <a:lnTo>
                    <a:pt x="301" y="181"/>
                  </a:lnTo>
                  <a:lnTo>
                    <a:pt x="300" y="183"/>
                  </a:lnTo>
                  <a:lnTo>
                    <a:pt x="299" y="183"/>
                  </a:lnTo>
                  <a:lnTo>
                    <a:pt x="297" y="183"/>
                  </a:lnTo>
                  <a:lnTo>
                    <a:pt x="294" y="184"/>
                  </a:lnTo>
                  <a:lnTo>
                    <a:pt x="293" y="184"/>
                  </a:lnTo>
                  <a:lnTo>
                    <a:pt x="289" y="185"/>
                  </a:lnTo>
                  <a:lnTo>
                    <a:pt x="289" y="187"/>
                  </a:lnTo>
                  <a:lnTo>
                    <a:pt x="291" y="189"/>
                  </a:lnTo>
                  <a:lnTo>
                    <a:pt x="293" y="187"/>
                  </a:lnTo>
                  <a:lnTo>
                    <a:pt x="295" y="186"/>
                  </a:lnTo>
                  <a:lnTo>
                    <a:pt x="294" y="189"/>
                  </a:lnTo>
                  <a:lnTo>
                    <a:pt x="292" y="190"/>
                  </a:lnTo>
                  <a:lnTo>
                    <a:pt x="289" y="190"/>
                  </a:lnTo>
                  <a:lnTo>
                    <a:pt x="286" y="191"/>
                  </a:lnTo>
                  <a:lnTo>
                    <a:pt x="283" y="193"/>
                  </a:lnTo>
                  <a:lnTo>
                    <a:pt x="282" y="195"/>
                  </a:lnTo>
                  <a:lnTo>
                    <a:pt x="280" y="197"/>
                  </a:lnTo>
                  <a:lnTo>
                    <a:pt x="279" y="199"/>
                  </a:lnTo>
                  <a:lnTo>
                    <a:pt x="277" y="202"/>
                  </a:lnTo>
                  <a:lnTo>
                    <a:pt x="276" y="203"/>
                  </a:lnTo>
                  <a:lnTo>
                    <a:pt x="275" y="204"/>
                  </a:lnTo>
                  <a:lnTo>
                    <a:pt x="273" y="203"/>
                  </a:lnTo>
                  <a:lnTo>
                    <a:pt x="273" y="201"/>
                  </a:lnTo>
                  <a:lnTo>
                    <a:pt x="271" y="201"/>
                  </a:lnTo>
                  <a:lnTo>
                    <a:pt x="270" y="201"/>
                  </a:lnTo>
                  <a:lnTo>
                    <a:pt x="269" y="202"/>
                  </a:lnTo>
                  <a:lnTo>
                    <a:pt x="268" y="202"/>
                  </a:lnTo>
                  <a:lnTo>
                    <a:pt x="268" y="203"/>
                  </a:lnTo>
                  <a:lnTo>
                    <a:pt x="269" y="204"/>
                  </a:lnTo>
                  <a:lnTo>
                    <a:pt x="270" y="207"/>
                  </a:lnTo>
                  <a:lnTo>
                    <a:pt x="269" y="207"/>
                  </a:lnTo>
                  <a:lnTo>
                    <a:pt x="268" y="208"/>
                  </a:lnTo>
                  <a:lnTo>
                    <a:pt x="267" y="209"/>
                  </a:lnTo>
                  <a:lnTo>
                    <a:pt x="265" y="209"/>
                  </a:lnTo>
                  <a:lnTo>
                    <a:pt x="264" y="208"/>
                  </a:lnTo>
                  <a:lnTo>
                    <a:pt x="262" y="207"/>
                  </a:lnTo>
                  <a:lnTo>
                    <a:pt x="261" y="207"/>
                  </a:lnTo>
                  <a:lnTo>
                    <a:pt x="259" y="205"/>
                  </a:lnTo>
                  <a:lnTo>
                    <a:pt x="259" y="203"/>
                  </a:lnTo>
                  <a:lnTo>
                    <a:pt x="257" y="203"/>
                  </a:lnTo>
                  <a:lnTo>
                    <a:pt x="257" y="204"/>
                  </a:lnTo>
                  <a:lnTo>
                    <a:pt x="257" y="205"/>
                  </a:lnTo>
                  <a:lnTo>
                    <a:pt x="255" y="205"/>
                  </a:lnTo>
                  <a:lnTo>
                    <a:pt x="252" y="205"/>
                  </a:lnTo>
                  <a:lnTo>
                    <a:pt x="252" y="208"/>
                  </a:lnTo>
                  <a:lnTo>
                    <a:pt x="253" y="210"/>
                  </a:lnTo>
                  <a:lnTo>
                    <a:pt x="256" y="210"/>
                  </a:lnTo>
                  <a:lnTo>
                    <a:pt x="258" y="210"/>
                  </a:lnTo>
                  <a:lnTo>
                    <a:pt x="263" y="210"/>
                  </a:lnTo>
                  <a:lnTo>
                    <a:pt x="264" y="210"/>
                  </a:lnTo>
                  <a:lnTo>
                    <a:pt x="261" y="212"/>
                  </a:lnTo>
                  <a:lnTo>
                    <a:pt x="257" y="213"/>
                  </a:lnTo>
                  <a:lnTo>
                    <a:pt x="256" y="213"/>
                  </a:lnTo>
                  <a:lnTo>
                    <a:pt x="253" y="215"/>
                  </a:lnTo>
                  <a:lnTo>
                    <a:pt x="253" y="216"/>
                  </a:lnTo>
                  <a:lnTo>
                    <a:pt x="255" y="218"/>
                  </a:lnTo>
                  <a:lnTo>
                    <a:pt x="256" y="218"/>
                  </a:lnTo>
                  <a:lnTo>
                    <a:pt x="258" y="218"/>
                  </a:lnTo>
                  <a:lnTo>
                    <a:pt x="261" y="216"/>
                  </a:lnTo>
                  <a:lnTo>
                    <a:pt x="262" y="216"/>
                  </a:lnTo>
                  <a:lnTo>
                    <a:pt x="263" y="219"/>
                  </a:lnTo>
                  <a:lnTo>
                    <a:pt x="261" y="219"/>
                  </a:lnTo>
                  <a:lnTo>
                    <a:pt x="259" y="219"/>
                  </a:lnTo>
                  <a:lnTo>
                    <a:pt x="256" y="219"/>
                  </a:lnTo>
                  <a:lnTo>
                    <a:pt x="253" y="219"/>
                  </a:lnTo>
                  <a:lnTo>
                    <a:pt x="252" y="219"/>
                  </a:lnTo>
                  <a:lnTo>
                    <a:pt x="251" y="220"/>
                  </a:lnTo>
                  <a:lnTo>
                    <a:pt x="251" y="222"/>
                  </a:lnTo>
                  <a:lnTo>
                    <a:pt x="253" y="222"/>
                  </a:lnTo>
                  <a:lnTo>
                    <a:pt x="255" y="224"/>
                  </a:lnTo>
                  <a:lnTo>
                    <a:pt x="253" y="225"/>
                  </a:lnTo>
                  <a:lnTo>
                    <a:pt x="256" y="226"/>
                  </a:lnTo>
                  <a:lnTo>
                    <a:pt x="256" y="225"/>
                  </a:lnTo>
                  <a:lnTo>
                    <a:pt x="253" y="227"/>
                  </a:lnTo>
                  <a:lnTo>
                    <a:pt x="253" y="228"/>
                  </a:lnTo>
                  <a:lnTo>
                    <a:pt x="255" y="228"/>
                  </a:lnTo>
                  <a:lnTo>
                    <a:pt x="256" y="231"/>
                  </a:lnTo>
                  <a:lnTo>
                    <a:pt x="255" y="231"/>
                  </a:lnTo>
                  <a:lnTo>
                    <a:pt x="253" y="231"/>
                  </a:lnTo>
                  <a:lnTo>
                    <a:pt x="252" y="232"/>
                  </a:lnTo>
                  <a:lnTo>
                    <a:pt x="252" y="234"/>
                  </a:lnTo>
                  <a:lnTo>
                    <a:pt x="251" y="233"/>
                  </a:lnTo>
                  <a:lnTo>
                    <a:pt x="250" y="233"/>
                  </a:lnTo>
                  <a:lnTo>
                    <a:pt x="250" y="236"/>
                  </a:lnTo>
                  <a:lnTo>
                    <a:pt x="248" y="237"/>
                  </a:lnTo>
                  <a:lnTo>
                    <a:pt x="247" y="237"/>
                  </a:lnTo>
                  <a:lnTo>
                    <a:pt x="245" y="236"/>
                  </a:lnTo>
                  <a:lnTo>
                    <a:pt x="245" y="234"/>
                  </a:lnTo>
                  <a:lnTo>
                    <a:pt x="244" y="233"/>
                  </a:lnTo>
                  <a:lnTo>
                    <a:pt x="242" y="233"/>
                  </a:lnTo>
                  <a:lnTo>
                    <a:pt x="241" y="233"/>
                  </a:lnTo>
                  <a:lnTo>
                    <a:pt x="241" y="234"/>
                  </a:lnTo>
                  <a:lnTo>
                    <a:pt x="240" y="237"/>
                  </a:lnTo>
                  <a:lnTo>
                    <a:pt x="239" y="237"/>
                  </a:lnTo>
                  <a:lnTo>
                    <a:pt x="239" y="236"/>
                  </a:lnTo>
                  <a:lnTo>
                    <a:pt x="238" y="234"/>
                  </a:lnTo>
                  <a:lnTo>
                    <a:pt x="236" y="236"/>
                  </a:lnTo>
                  <a:lnTo>
                    <a:pt x="235" y="237"/>
                  </a:lnTo>
                  <a:lnTo>
                    <a:pt x="236" y="238"/>
                  </a:lnTo>
                  <a:lnTo>
                    <a:pt x="235" y="238"/>
                  </a:lnTo>
                  <a:lnTo>
                    <a:pt x="234" y="237"/>
                  </a:lnTo>
                  <a:lnTo>
                    <a:pt x="233" y="236"/>
                  </a:lnTo>
                  <a:lnTo>
                    <a:pt x="230" y="236"/>
                  </a:lnTo>
                  <a:lnTo>
                    <a:pt x="230" y="239"/>
                  </a:lnTo>
                  <a:lnTo>
                    <a:pt x="230" y="240"/>
                  </a:lnTo>
                  <a:lnTo>
                    <a:pt x="228" y="239"/>
                  </a:lnTo>
                  <a:lnTo>
                    <a:pt x="227" y="238"/>
                  </a:lnTo>
                  <a:lnTo>
                    <a:pt x="224" y="239"/>
                  </a:lnTo>
                  <a:lnTo>
                    <a:pt x="224" y="240"/>
                  </a:lnTo>
                  <a:lnTo>
                    <a:pt x="224" y="242"/>
                  </a:lnTo>
                  <a:lnTo>
                    <a:pt x="223" y="240"/>
                  </a:lnTo>
                  <a:lnTo>
                    <a:pt x="221" y="240"/>
                  </a:lnTo>
                  <a:lnTo>
                    <a:pt x="220" y="240"/>
                  </a:lnTo>
                  <a:lnTo>
                    <a:pt x="217" y="239"/>
                  </a:lnTo>
                  <a:lnTo>
                    <a:pt x="217" y="240"/>
                  </a:lnTo>
                  <a:lnTo>
                    <a:pt x="215" y="240"/>
                  </a:lnTo>
                  <a:lnTo>
                    <a:pt x="214" y="240"/>
                  </a:lnTo>
                  <a:lnTo>
                    <a:pt x="210" y="239"/>
                  </a:lnTo>
                  <a:lnTo>
                    <a:pt x="210" y="240"/>
                  </a:lnTo>
                  <a:lnTo>
                    <a:pt x="209" y="243"/>
                  </a:lnTo>
                  <a:lnTo>
                    <a:pt x="210" y="243"/>
                  </a:lnTo>
                  <a:lnTo>
                    <a:pt x="212" y="245"/>
                  </a:lnTo>
                  <a:lnTo>
                    <a:pt x="212" y="246"/>
                  </a:lnTo>
                  <a:lnTo>
                    <a:pt x="211" y="248"/>
                  </a:lnTo>
                  <a:lnTo>
                    <a:pt x="212" y="249"/>
                  </a:lnTo>
                  <a:lnTo>
                    <a:pt x="214" y="250"/>
                  </a:lnTo>
                  <a:lnTo>
                    <a:pt x="215" y="252"/>
                  </a:lnTo>
                  <a:lnTo>
                    <a:pt x="217" y="254"/>
                  </a:lnTo>
                  <a:lnTo>
                    <a:pt x="217" y="255"/>
                  </a:lnTo>
                  <a:lnTo>
                    <a:pt x="215" y="255"/>
                  </a:lnTo>
                  <a:lnTo>
                    <a:pt x="212" y="255"/>
                  </a:lnTo>
                  <a:lnTo>
                    <a:pt x="210" y="255"/>
                  </a:lnTo>
                  <a:lnTo>
                    <a:pt x="209" y="254"/>
                  </a:lnTo>
                  <a:lnTo>
                    <a:pt x="211" y="254"/>
                  </a:lnTo>
                  <a:lnTo>
                    <a:pt x="211" y="251"/>
                  </a:lnTo>
                  <a:lnTo>
                    <a:pt x="212" y="250"/>
                  </a:lnTo>
                  <a:lnTo>
                    <a:pt x="211" y="250"/>
                  </a:lnTo>
                  <a:lnTo>
                    <a:pt x="210" y="250"/>
                  </a:lnTo>
                  <a:lnTo>
                    <a:pt x="209" y="251"/>
                  </a:lnTo>
                  <a:lnTo>
                    <a:pt x="208" y="251"/>
                  </a:lnTo>
                  <a:lnTo>
                    <a:pt x="209" y="250"/>
                  </a:lnTo>
                  <a:lnTo>
                    <a:pt x="209" y="249"/>
                  </a:lnTo>
                  <a:lnTo>
                    <a:pt x="209" y="246"/>
                  </a:lnTo>
                  <a:lnTo>
                    <a:pt x="209" y="245"/>
                  </a:lnTo>
                  <a:lnTo>
                    <a:pt x="208" y="244"/>
                  </a:lnTo>
                  <a:lnTo>
                    <a:pt x="206" y="244"/>
                  </a:lnTo>
                  <a:lnTo>
                    <a:pt x="206" y="246"/>
                  </a:lnTo>
                  <a:lnTo>
                    <a:pt x="206" y="249"/>
                  </a:lnTo>
                  <a:lnTo>
                    <a:pt x="204" y="249"/>
                  </a:lnTo>
                  <a:lnTo>
                    <a:pt x="204" y="248"/>
                  </a:lnTo>
                  <a:lnTo>
                    <a:pt x="203" y="246"/>
                  </a:lnTo>
                  <a:lnTo>
                    <a:pt x="202" y="248"/>
                  </a:lnTo>
                  <a:lnTo>
                    <a:pt x="202" y="249"/>
                  </a:lnTo>
                  <a:lnTo>
                    <a:pt x="199" y="250"/>
                  </a:lnTo>
                  <a:lnTo>
                    <a:pt x="198" y="249"/>
                  </a:lnTo>
                  <a:lnTo>
                    <a:pt x="198" y="248"/>
                  </a:lnTo>
                  <a:lnTo>
                    <a:pt x="197" y="246"/>
                  </a:lnTo>
                  <a:lnTo>
                    <a:pt x="196" y="246"/>
                  </a:lnTo>
                  <a:lnTo>
                    <a:pt x="194" y="248"/>
                  </a:lnTo>
                  <a:lnTo>
                    <a:pt x="193" y="250"/>
                  </a:lnTo>
                  <a:lnTo>
                    <a:pt x="192" y="251"/>
                  </a:lnTo>
                  <a:lnTo>
                    <a:pt x="192" y="254"/>
                  </a:lnTo>
                  <a:lnTo>
                    <a:pt x="193" y="255"/>
                  </a:lnTo>
                  <a:lnTo>
                    <a:pt x="194" y="255"/>
                  </a:lnTo>
                  <a:lnTo>
                    <a:pt x="197" y="257"/>
                  </a:lnTo>
                  <a:lnTo>
                    <a:pt x="198" y="260"/>
                  </a:lnTo>
                  <a:lnTo>
                    <a:pt x="196" y="260"/>
                  </a:lnTo>
                  <a:lnTo>
                    <a:pt x="194" y="258"/>
                  </a:lnTo>
                  <a:lnTo>
                    <a:pt x="193" y="256"/>
                  </a:lnTo>
                  <a:lnTo>
                    <a:pt x="192" y="255"/>
                  </a:lnTo>
                  <a:lnTo>
                    <a:pt x="189" y="256"/>
                  </a:lnTo>
                  <a:lnTo>
                    <a:pt x="189" y="255"/>
                  </a:lnTo>
                  <a:lnTo>
                    <a:pt x="188" y="254"/>
                  </a:lnTo>
                  <a:lnTo>
                    <a:pt x="189" y="251"/>
                  </a:lnTo>
                  <a:lnTo>
                    <a:pt x="189" y="250"/>
                  </a:lnTo>
                  <a:lnTo>
                    <a:pt x="191" y="250"/>
                  </a:lnTo>
                  <a:lnTo>
                    <a:pt x="192" y="248"/>
                  </a:lnTo>
                  <a:lnTo>
                    <a:pt x="192" y="245"/>
                  </a:lnTo>
                  <a:lnTo>
                    <a:pt x="192" y="244"/>
                  </a:lnTo>
                  <a:lnTo>
                    <a:pt x="192" y="243"/>
                  </a:lnTo>
                  <a:lnTo>
                    <a:pt x="189" y="242"/>
                  </a:lnTo>
                  <a:lnTo>
                    <a:pt x="189" y="240"/>
                  </a:lnTo>
                  <a:lnTo>
                    <a:pt x="191" y="238"/>
                  </a:lnTo>
                  <a:lnTo>
                    <a:pt x="189" y="236"/>
                  </a:lnTo>
                  <a:lnTo>
                    <a:pt x="189" y="234"/>
                  </a:lnTo>
                  <a:lnTo>
                    <a:pt x="185" y="238"/>
                  </a:lnTo>
                  <a:lnTo>
                    <a:pt x="183" y="239"/>
                  </a:lnTo>
                  <a:lnTo>
                    <a:pt x="182" y="239"/>
                  </a:lnTo>
                  <a:lnTo>
                    <a:pt x="181" y="239"/>
                  </a:lnTo>
                  <a:lnTo>
                    <a:pt x="181" y="237"/>
                  </a:lnTo>
                  <a:lnTo>
                    <a:pt x="180" y="237"/>
                  </a:lnTo>
                  <a:lnTo>
                    <a:pt x="179" y="233"/>
                  </a:lnTo>
                  <a:lnTo>
                    <a:pt x="177" y="233"/>
                  </a:lnTo>
                  <a:lnTo>
                    <a:pt x="176" y="234"/>
                  </a:lnTo>
                  <a:lnTo>
                    <a:pt x="175" y="234"/>
                  </a:lnTo>
                  <a:lnTo>
                    <a:pt x="174" y="233"/>
                  </a:lnTo>
                  <a:lnTo>
                    <a:pt x="174" y="232"/>
                  </a:lnTo>
                  <a:lnTo>
                    <a:pt x="175" y="230"/>
                  </a:lnTo>
                  <a:lnTo>
                    <a:pt x="176" y="227"/>
                  </a:lnTo>
                  <a:lnTo>
                    <a:pt x="176" y="225"/>
                  </a:lnTo>
                  <a:lnTo>
                    <a:pt x="174" y="222"/>
                  </a:lnTo>
                  <a:lnTo>
                    <a:pt x="174" y="221"/>
                  </a:lnTo>
                  <a:lnTo>
                    <a:pt x="171" y="222"/>
                  </a:lnTo>
                  <a:lnTo>
                    <a:pt x="170" y="222"/>
                  </a:lnTo>
                  <a:lnTo>
                    <a:pt x="168" y="222"/>
                  </a:lnTo>
                  <a:lnTo>
                    <a:pt x="167" y="222"/>
                  </a:lnTo>
                  <a:lnTo>
                    <a:pt x="167" y="225"/>
                  </a:lnTo>
                  <a:lnTo>
                    <a:pt x="165" y="226"/>
                  </a:lnTo>
                  <a:lnTo>
                    <a:pt x="167" y="227"/>
                  </a:lnTo>
                  <a:lnTo>
                    <a:pt x="168" y="228"/>
                  </a:lnTo>
                  <a:lnTo>
                    <a:pt x="165" y="230"/>
                  </a:lnTo>
                  <a:lnTo>
                    <a:pt x="165" y="231"/>
                  </a:lnTo>
                  <a:lnTo>
                    <a:pt x="167" y="233"/>
                  </a:lnTo>
                  <a:lnTo>
                    <a:pt x="168" y="233"/>
                  </a:lnTo>
                  <a:lnTo>
                    <a:pt x="168" y="236"/>
                  </a:lnTo>
                  <a:lnTo>
                    <a:pt x="168" y="237"/>
                  </a:lnTo>
                  <a:lnTo>
                    <a:pt x="168" y="239"/>
                  </a:lnTo>
                  <a:lnTo>
                    <a:pt x="168" y="242"/>
                  </a:lnTo>
                  <a:lnTo>
                    <a:pt x="171" y="242"/>
                  </a:lnTo>
                  <a:lnTo>
                    <a:pt x="170" y="243"/>
                  </a:lnTo>
                  <a:lnTo>
                    <a:pt x="169" y="244"/>
                  </a:lnTo>
                  <a:lnTo>
                    <a:pt x="170" y="246"/>
                  </a:lnTo>
                  <a:lnTo>
                    <a:pt x="170" y="249"/>
                  </a:lnTo>
                  <a:lnTo>
                    <a:pt x="169" y="248"/>
                  </a:lnTo>
                  <a:lnTo>
                    <a:pt x="168" y="245"/>
                  </a:lnTo>
                  <a:lnTo>
                    <a:pt x="168" y="243"/>
                  </a:lnTo>
                  <a:lnTo>
                    <a:pt x="165" y="242"/>
                  </a:lnTo>
                  <a:lnTo>
                    <a:pt x="165" y="239"/>
                  </a:lnTo>
                  <a:lnTo>
                    <a:pt x="163" y="238"/>
                  </a:lnTo>
                  <a:lnTo>
                    <a:pt x="163" y="236"/>
                  </a:lnTo>
                  <a:lnTo>
                    <a:pt x="162" y="234"/>
                  </a:lnTo>
                  <a:lnTo>
                    <a:pt x="161" y="232"/>
                  </a:lnTo>
                  <a:lnTo>
                    <a:pt x="159" y="233"/>
                  </a:lnTo>
                  <a:lnTo>
                    <a:pt x="158" y="233"/>
                  </a:lnTo>
                  <a:lnTo>
                    <a:pt x="158" y="234"/>
                  </a:lnTo>
                  <a:lnTo>
                    <a:pt x="158" y="236"/>
                  </a:lnTo>
                  <a:lnTo>
                    <a:pt x="158" y="239"/>
                  </a:lnTo>
                  <a:lnTo>
                    <a:pt x="159" y="240"/>
                  </a:lnTo>
                  <a:lnTo>
                    <a:pt x="162" y="242"/>
                  </a:lnTo>
                  <a:lnTo>
                    <a:pt x="163" y="243"/>
                  </a:lnTo>
                  <a:lnTo>
                    <a:pt x="162" y="244"/>
                  </a:lnTo>
                  <a:lnTo>
                    <a:pt x="161" y="244"/>
                  </a:lnTo>
                  <a:lnTo>
                    <a:pt x="158" y="243"/>
                  </a:lnTo>
                  <a:lnTo>
                    <a:pt x="157" y="242"/>
                  </a:lnTo>
                  <a:lnTo>
                    <a:pt x="157" y="240"/>
                  </a:lnTo>
                  <a:lnTo>
                    <a:pt x="156" y="239"/>
                  </a:lnTo>
                  <a:lnTo>
                    <a:pt x="155" y="238"/>
                  </a:lnTo>
                  <a:lnTo>
                    <a:pt x="155" y="237"/>
                  </a:lnTo>
                  <a:lnTo>
                    <a:pt x="153" y="236"/>
                  </a:lnTo>
                  <a:lnTo>
                    <a:pt x="152" y="234"/>
                  </a:lnTo>
                  <a:lnTo>
                    <a:pt x="152" y="233"/>
                  </a:lnTo>
                  <a:lnTo>
                    <a:pt x="153" y="232"/>
                  </a:lnTo>
                  <a:lnTo>
                    <a:pt x="155" y="231"/>
                  </a:lnTo>
                  <a:lnTo>
                    <a:pt x="155" y="228"/>
                  </a:lnTo>
                  <a:lnTo>
                    <a:pt x="153" y="227"/>
                  </a:lnTo>
                  <a:lnTo>
                    <a:pt x="151" y="227"/>
                  </a:lnTo>
                  <a:lnTo>
                    <a:pt x="150" y="227"/>
                  </a:lnTo>
                  <a:lnTo>
                    <a:pt x="149" y="228"/>
                  </a:lnTo>
                  <a:lnTo>
                    <a:pt x="147" y="228"/>
                  </a:lnTo>
                  <a:lnTo>
                    <a:pt x="145" y="227"/>
                  </a:lnTo>
                  <a:lnTo>
                    <a:pt x="145" y="225"/>
                  </a:lnTo>
                  <a:lnTo>
                    <a:pt x="144" y="224"/>
                  </a:lnTo>
                  <a:lnTo>
                    <a:pt x="141" y="222"/>
                  </a:lnTo>
                  <a:lnTo>
                    <a:pt x="141" y="221"/>
                  </a:lnTo>
                  <a:lnTo>
                    <a:pt x="140" y="219"/>
                  </a:lnTo>
                  <a:lnTo>
                    <a:pt x="139" y="218"/>
                  </a:lnTo>
                  <a:lnTo>
                    <a:pt x="137" y="216"/>
                  </a:lnTo>
                  <a:lnTo>
                    <a:pt x="134" y="216"/>
                  </a:lnTo>
                  <a:lnTo>
                    <a:pt x="134" y="219"/>
                  </a:lnTo>
                  <a:lnTo>
                    <a:pt x="134" y="220"/>
                  </a:lnTo>
                  <a:lnTo>
                    <a:pt x="133" y="221"/>
                  </a:lnTo>
                  <a:lnTo>
                    <a:pt x="133" y="224"/>
                  </a:lnTo>
                  <a:lnTo>
                    <a:pt x="135" y="225"/>
                  </a:lnTo>
                  <a:lnTo>
                    <a:pt x="137" y="227"/>
                  </a:lnTo>
                  <a:lnTo>
                    <a:pt x="139" y="228"/>
                  </a:lnTo>
                  <a:lnTo>
                    <a:pt x="140" y="230"/>
                  </a:lnTo>
                  <a:lnTo>
                    <a:pt x="141" y="230"/>
                  </a:lnTo>
                  <a:lnTo>
                    <a:pt x="144" y="231"/>
                  </a:lnTo>
                  <a:lnTo>
                    <a:pt x="144" y="232"/>
                  </a:lnTo>
                  <a:lnTo>
                    <a:pt x="143" y="233"/>
                  </a:lnTo>
                  <a:lnTo>
                    <a:pt x="141" y="233"/>
                  </a:lnTo>
                  <a:lnTo>
                    <a:pt x="139" y="231"/>
                  </a:lnTo>
                  <a:lnTo>
                    <a:pt x="138" y="228"/>
                  </a:lnTo>
                  <a:lnTo>
                    <a:pt x="137" y="231"/>
                  </a:lnTo>
                  <a:lnTo>
                    <a:pt x="135" y="232"/>
                  </a:lnTo>
                  <a:lnTo>
                    <a:pt x="134" y="228"/>
                  </a:lnTo>
                  <a:lnTo>
                    <a:pt x="133" y="226"/>
                  </a:lnTo>
                  <a:lnTo>
                    <a:pt x="130" y="227"/>
                  </a:lnTo>
                  <a:lnTo>
                    <a:pt x="130" y="228"/>
                  </a:lnTo>
                  <a:lnTo>
                    <a:pt x="129" y="227"/>
                  </a:lnTo>
                  <a:lnTo>
                    <a:pt x="127" y="225"/>
                  </a:lnTo>
                  <a:lnTo>
                    <a:pt x="127" y="222"/>
                  </a:lnTo>
                  <a:lnTo>
                    <a:pt x="124" y="222"/>
                  </a:lnTo>
                  <a:lnTo>
                    <a:pt x="123" y="225"/>
                  </a:lnTo>
                  <a:lnTo>
                    <a:pt x="122" y="224"/>
                  </a:lnTo>
                  <a:lnTo>
                    <a:pt x="121" y="222"/>
                  </a:lnTo>
                  <a:lnTo>
                    <a:pt x="122" y="219"/>
                  </a:lnTo>
                  <a:lnTo>
                    <a:pt x="122" y="218"/>
                  </a:lnTo>
                  <a:lnTo>
                    <a:pt x="120" y="215"/>
                  </a:lnTo>
                  <a:lnTo>
                    <a:pt x="117" y="216"/>
                  </a:lnTo>
                  <a:lnTo>
                    <a:pt x="115" y="218"/>
                  </a:lnTo>
                  <a:lnTo>
                    <a:pt x="111" y="218"/>
                  </a:lnTo>
                  <a:lnTo>
                    <a:pt x="110" y="216"/>
                  </a:lnTo>
                  <a:lnTo>
                    <a:pt x="109" y="215"/>
                  </a:lnTo>
                  <a:lnTo>
                    <a:pt x="108" y="214"/>
                  </a:lnTo>
                  <a:lnTo>
                    <a:pt x="105" y="213"/>
                  </a:lnTo>
                  <a:lnTo>
                    <a:pt x="103" y="213"/>
                  </a:lnTo>
                  <a:lnTo>
                    <a:pt x="102" y="214"/>
                  </a:lnTo>
                  <a:lnTo>
                    <a:pt x="103" y="215"/>
                  </a:lnTo>
                  <a:lnTo>
                    <a:pt x="102" y="216"/>
                  </a:lnTo>
                  <a:lnTo>
                    <a:pt x="99" y="216"/>
                  </a:lnTo>
                  <a:lnTo>
                    <a:pt x="98" y="215"/>
                  </a:lnTo>
                  <a:lnTo>
                    <a:pt x="98" y="214"/>
                  </a:lnTo>
                  <a:lnTo>
                    <a:pt x="98" y="213"/>
                  </a:lnTo>
                  <a:lnTo>
                    <a:pt x="98" y="212"/>
                  </a:lnTo>
                  <a:lnTo>
                    <a:pt x="97" y="209"/>
                  </a:lnTo>
                  <a:lnTo>
                    <a:pt x="94" y="209"/>
                  </a:lnTo>
                  <a:lnTo>
                    <a:pt x="92" y="207"/>
                  </a:lnTo>
                  <a:lnTo>
                    <a:pt x="92" y="205"/>
                  </a:lnTo>
                  <a:lnTo>
                    <a:pt x="92" y="204"/>
                  </a:lnTo>
                  <a:lnTo>
                    <a:pt x="91" y="202"/>
                  </a:lnTo>
                  <a:lnTo>
                    <a:pt x="88" y="202"/>
                  </a:lnTo>
                  <a:lnTo>
                    <a:pt x="88" y="203"/>
                  </a:lnTo>
                  <a:lnTo>
                    <a:pt x="88" y="205"/>
                  </a:lnTo>
                  <a:lnTo>
                    <a:pt x="87" y="204"/>
                  </a:lnTo>
                  <a:lnTo>
                    <a:pt x="86" y="203"/>
                  </a:lnTo>
                  <a:lnTo>
                    <a:pt x="85" y="202"/>
                  </a:lnTo>
                  <a:lnTo>
                    <a:pt x="84" y="202"/>
                  </a:lnTo>
                  <a:lnTo>
                    <a:pt x="81" y="201"/>
                  </a:lnTo>
                  <a:lnTo>
                    <a:pt x="80" y="201"/>
                  </a:lnTo>
                  <a:lnTo>
                    <a:pt x="79" y="201"/>
                  </a:lnTo>
                  <a:lnTo>
                    <a:pt x="78" y="201"/>
                  </a:lnTo>
                  <a:lnTo>
                    <a:pt x="76" y="201"/>
                  </a:lnTo>
                  <a:lnTo>
                    <a:pt x="75" y="201"/>
                  </a:lnTo>
                  <a:lnTo>
                    <a:pt x="75" y="204"/>
                  </a:lnTo>
                  <a:lnTo>
                    <a:pt x="78" y="207"/>
                  </a:lnTo>
                  <a:lnTo>
                    <a:pt x="80" y="209"/>
                  </a:lnTo>
                  <a:lnTo>
                    <a:pt x="80" y="212"/>
                  </a:lnTo>
                  <a:lnTo>
                    <a:pt x="79" y="212"/>
                  </a:lnTo>
                  <a:lnTo>
                    <a:pt x="79" y="213"/>
                  </a:lnTo>
                  <a:lnTo>
                    <a:pt x="79" y="215"/>
                  </a:lnTo>
                  <a:lnTo>
                    <a:pt x="80" y="216"/>
                  </a:lnTo>
                  <a:lnTo>
                    <a:pt x="81" y="216"/>
                  </a:lnTo>
                  <a:lnTo>
                    <a:pt x="82" y="219"/>
                  </a:lnTo>
                  <a:lnTo>
                    <a:pt x="84" y="219"/>
                  </a:lnTo>
                  <a:lnTo>
                    <a:pt x="87" y="219"/>
                  </a:lnTo>
                  <a:lnTo>
                    <a:pt x="88" y="220"/>
                  </a:lnTo>
                  <a:lnTo>
                    <a:pt x="88" y="221"/>
                  </a:lnTo>
                  <a:lnTo>
                    <a:pt x="87" y="221"/>
                  </a:lnTo>
                  <a:lnTo>
                    <a:pt x="86" y="221"/>
                  </a:lnTo>
                  <a:lnTo>
                    <a:pt x="84" y="222"/>
                  </a:lnTo>
                  <a:lnTo>
                    <a:pt x="82" y="224"/>
                  </a:lnTo>
                  <a:lnTo>
                    <a:pt x="84" y="226"/>
                  </a:lnTo>
                  <a:lnTo>
                    <a:pt x="86" y="226"/>
                  </a:lnTo>
                  <a:lnTo>
                    <a:pt x="87" y="227"/>
                  </a:lnTo>
                  <a:lnTo>
                    <a:pt x="86" y="228"/>
                  </a:lnTo>
                  <a:lnTo>
                    <a:pt x="88" y="230"/>
                  </a:lnTo>
                  <a:lnTo>
                    <a:pt x="90" y="230"/>
                  </a:lnTo>
                  <a:lnTo>
                    <a:pt x="91" y="231"/>
                  </a:lnTo>
                  <a:lnTo>
                    <a:pt x="93" y="231"/>
                  </a:lnTo>
                  <a:lnTo>
                    <a:pt x="94" y="232"/>
                  </a:lnTo>
                  <a:lnTo>
                    <a:pt x="96" y="232"/>
                  </a:lnTo>
                  <a:lnTo>
                    <a:pt x="96" y="233"/>
                  </a:lnTo>
                  <a:lnTo>
                    <a:pt x="94" y="234"/>
                  </a:lnTo>
                  <a:lnTo>
                    <a:pt x="93" y="234"/>
                  </a:lnTo>
                  <a:lnTo>
                    <a:pt x="91" y="233"/>
                  </a:lnTo>
                  <a:lnTo>
                    <a:pt x="90" y="232"/>
                  </a:lnTo>
                  <a:lnTo>
                    <a:pt x="87" y="232"/>
                  </a:lnTo>
                  <a:lnTo>
                    <a:pt x="86" y="231"/>
                  </a:lnTo>
                  <a:lnTo>
                    <a:pt x="86" y="230"/>
                  </a:lnTo>
                  <a:lnTo>
                    <a:pt x="84" y="230"/>
                  </a:lnTo>
                  <a:lnTo>
                    <a:pt x="84" y="231"/>
                  </a:lnTo>
                  <a:lnTo>
                    <a:pt x="82" y="230"/>
                  </a:lnTo>
                  <a:lnTo>
                    <a:pt x="80" y="228"/>
                  </a:lnTo>
                  <a:lnTo>
                    <a:pt x="80" y="230"/>
                  </a:lnTo>
                  <a:lnTo>
                    <a:pt x="79" y="230"/>
                  </a:lnTo>
                  <a:lnTo>
                    <a:pt x="76" y="230"/>
                  </a:lnTo>
                  <a:lnTo>
                    <a:pt x="76" y="231"/>
                  </a:lnTo>
                  <a:lnTo>
                    <a:pt x="74" y="233"/>
                  </a:lnTo>
                  <a:lnTo>
                    <a:pt x="73" y="234"/>
                  </a:lnTo>
                  <a:lnTo>
                    <a:pt x="75" y="237"/>
                  </a:lnTo>
                  <a:lnTo>
                    <a:pt x="78" y="237"/>
                  </a:lnTo>
                  <a:lnTo>
                    <a:pt x="78" y="239"/>
                  </a:lnTo>
                  <a:lnTo>
                    <a:pt x="81" y="240"/>
                  </a:lnTo>
                  <a:lnTo>
                    <a:pt x="84" y="240"/>
                  </a:lnTo>
                  <a:lnTo>
                    <a:pt x="87" y="240"/>
                  </a:lnTo>
                  <a:lnTo>
                    <a:pt x="90" y="242"/>
                  </a:lnTo>
                  <a:lnTo>
                    <a:pt x="91" y="243"/>
                  </a:lnTo>
                  <a:lnTo>
                    <a:pt x="91" y="245"/>
                  </a:lnTo>
                  <a:lnTo>
                    <a:pt x="92" y="248"/>
                  </a:lnTo>
                  <a:lnTo>
                    <a:pt x="94" y="249"/>
                  </a:lnTo>
                  <a:lnTo>
                    <a:pt x="97" y="249"/>
                  </a:lnTo>
                  <a:lnTo>
                    <a:pt x="98" y="248"/>
                  </a:lnTo>
                  <a:lnTo>
                    <a:pt x="100" y="248"/>
                  </a:lnTo>
                  <a:lnTo>
                    <a:pt x="102" y="248"/>
                  </a:lnTo>
                  <a:lnTo>
                    <a:pt x="104" y="250"/>
                  </a:lnTo>
                  <a:lnTo>
                    <a:pt x="106" y="251"/>
                  </a:lnTo>
                  <a:lnTo>
                    <a:pt x="108" y="251"/>
                  </a:lnTo>
                  <a:lnTo>
                    <a:pt x="109" y="250"/>
                  </a:lnTo>
                  <a:lnTo>
                    <a:pt x="110" y="250"/>
                  </a:lnTo>
                  <a:lnTo>
                    <a:pt x="111" y="251"/>
                  </a:lnTo>
                  <a:lnTo>
                    <a:pt x="111" y="255"/>
                  </a:lnTo>
                  <a:lnTo>
                    <a:pt x="109" y="256"/>
                  </a:lnTo>
                  <a:lnTo>
                    <a:pt x="106" y="256"/>
                  </a:lnTo>
                  <a:lnTo>
                    <a:pt x="104" y="256"/>
                  </a:lnTo>
                  <a:lnTo>
                    <a:pt x="103" y="258"/>
                  </a:lnTo>
                  <a:lnTo>
                    <a:pt x="103" y="260"/>
                  </a:lnTo>
                  <a:lnTo>
                    <a:pt x="105" y="261"/>
                  </a:lnTo>
                  <a:lnTo>
                    <a:pt x="108" y="261"/>
                  </a:lnTo>
                  <a:lnTo>
                    <a:pt x="110" y="263"/>
                  </a:lnTo>
                  <a:lnTo>
                    <a:pt x="111" y="262"/>
                  </a:lnTo>
                  <a:lnTo>
                    <a:pt x="112" y="261"/>
                  </a:lnTo>
                  <a:lnTo>
                    <a:pt x="114" y="260"/>
                  </a:lnTo>
                  <a:lnTo>
                    <a:pt x="115" y="260"/>
                  </a:lnTo>
                  <a:lnTo>
                    <a:pt x="116" y="260"/>
                  </a:lnTo>
                  <a:lnTo>
                    <a:pt x="118" y="260"/>
                  </a:lnTo>
                  <a:lnTo>
                    <a:pt x="122" y="260"/>
                  </a:lnTo>
                  <a:lnTo>
                    <a:pt x="124" y="262"/>
                  </a:lnTo>
                  <a:lnTo>
                    <a:pt x="124" y="263"/>
                  </a:lnTo>
                  <a:lnTo>
                    <a:pt x="124" y="266"/>
                  </a:lnTo>
                  <a:lnTo>
                    <a:pt x="122" y="266"/>
                  </a:lnTo>
                  <a:lnTo>
                    <a:pt x="121" y="264"/>
                  </a:lnTo>
                  <a:lnTo>
                    <a:pt x="120" y="264"/>
                  </a:lnTo>
                  <a:lnTo>
                    <a:pt x="118" y="264"/>
                  </a:lnTo>
                  <a:lnTo>
                    <a:pt x="117" y="264"/>
                  </a:lnTo>
                  <a:lnTo>
                    <a:pt x="116" y="266"/>
                  </a:lnTo>
                  <a:lnTo>
                    <a:pt x="115" y="267"/>
                  </a:lnTo>
                  <a:lnTo>
                    <a:pt x="112" y="267"/>
                  </a:lnTo>
                  <a:lnTo>
                    <a:pt x="111" y="267"/>
                  </a:lnTo>
                  <a:lnTo>
                    <a:pt x="109" y="267"/>
                  </a:lnTo>
                  <a:lnTo>
                    <a:pt x="106" y="269"/>
                  </a:lnTo>
                  <a:lnTo>
                    <a:pt x="106" y="274"/>
                  </a:lnTo>
                  <a:lnTo>
                    <a:pt x="108" y="274"/>
                  </a:lnTo>
                  <a:lnTo>
                    <a:pt x="109" y="274"/>
                  </a:lnTo>
                  <a:lnTo>
                    <a:pt x="111" y="275"/>
                  </a:lnTo>
                  <a:lnTo>
                    <a:pt x="114" y="275"/>
                  </a:lnTo>
                  <a:lnTo>
                    <a:pt x="116" y="275"/>
                  </a:lnTo>
                  <a:lnTo>
                    <a:pt x="117" y="275"/>
                  </a:lnTo>
                  <a:lnTo>
                    <a:pt x="118" y="274"/>
                  </a:lnTo>
                  <a:lnTo>
                    <a:pt x="120" y="272"/>
                  </a:lnTo>
                  <a:lnTo>
                    <a:pt x="122" y="272"/>
                  </a:lnTo>
                  <a:lnTo>
                    <a:pt x="123" y="273"/>
                  </a:lnTo>
                  <a:lnTo>
                    <a:pt x="122" y="275"/>
                  </a:lnTo>
                  <a:lnTo>
                    <a:pt x="121" y="275"/>
                  </a:lnTo>
                  <a:lnTo>
                    <a:pt x="120" y="275"/>
                  </a:lnTo>
                  <a:lnTo>
                    <a:pt x="118" y="278"/>
                  </a:lnTo>
                  <a:lnTo>
                    <a:pt x="118" y="279"/>
                  </a:lnTo>
                  <a:lnTo>
                    <a:pt x="121" y="280"/>
                  </a:lnTo>
                  <a:lnTo>
                    <a:pt x="123" y="280"/>
                  </a:lnTo>
                  <a:lnTo>
                    <a:pt x="124" y="282"/>
                  </a:lnTo>
                  <a:lnTo>
                    <a:pt x="126" y="284"/>
                  </a:lnTo>
                  <a:lnTo>
                    <a:pt x="127" y="284"/>
                  </a:lnTo>
                  <a:lnTo>
                    <a:pt x="128" y="285"/>
                  </a:lnTo>
                  <a:lnTo>
                    <a:pt x="128" y="287"/>
                  </a:lnTo>
                  <a:lnTo>
                    <a:pt x="126" y="287"/>
                  </a:lnTo>
                  <a:lnTo>
                    <a:pt x="123" y="286"/>
                  </a:lnTo>
                  <a:lnTo>
                    <a:pt x="120" y="287"/>
                  </a:lnTo>
                  <a:lnTo>
                    <a:pt x="121" y="291"/>
                  </a:lnTo>
                  <a:lnTo>
                    <a:pt x="121" y="292"/>
                  </a:lnTo>
                  <a:lnTo>
                    <a:pt x="122" y="294"/>
                  </a:lnTo>
                  <a:lnTo>
                    <a:pt x="120" y="296"/>
                  </a:lnTo>
                  <a:lnTo>
                    <a:pt x="118" y="297"/>
                  </a:lnTo>
                  <a:lnTo>
                    <a:pt x="120" y="299"/>
                  </a:lnTo>
                  <a:lnTo>
                    <a:pt x="122" y="299"/>
                  </a:lnTo>
                  <a:lnTo>
                    <a:pt x="124" y="300"/>
                  </a:lnTo>
                  <a:lnTo>
                    <a:pt x="126" y="303"/>
                  </a:lnTo>
                  <a:lnTo>
                    <a:pt x="124" y="305"/>
                  </a:lnTo>
                  <a:lnTo>
                    <a:pt x="122" y="308"/>
                  </a:lnTo>
                  <a:lnTo>
                    <a:pt x="121" y="309"/>
                  </a:lnTo>
                  <a:lnTo>
                    <a:pt x="122" y="310"/>
                  </a:lnTo>
                  <a:lnTo>
                    <a:pt x="124" y="310"/>
                  </a:lnTo>
                  <a:lnTo>
                    <a:pt x="126" y="309"/>
                  </a:lnTo>
                  <a:lnTo>
                    <a:pt x="128" y="311"/>
                  </a:lnTo>
                  <a:lnTo>
                    <a:pt x="129" y="312"/>
                  </a:lnTo>
                  <a:lnTo>
                    <a:pt x="133" y="315"/>
                  </a:lnTo>
                  <a:lnTo>
                    <a:pt x="132" y="317"/>
                  </a:lnTo>
                  <a:lnTo>
                    <a:pt x="129" y="317"/>
                  </a:lnTo>
                  <a:lnTo>
                    <a:pt x="128" y="319"/>
                  </a:lnTo>
                  <a:lnTo>
                    <a:pt x="126" y="320"/>
                  </a:lnTo>
                  <a:lnTo>
                    <a:pt x="123" y="322"/>
                  </a:lnTo>
                  <a:lnTo>
                    <a:pt x="122" y="323"/>
                  </a:lnTo>
                  <a:lnTo>
                    <a:pt x="121" y="322"/>
                  </a:lnTo>
                  <a:lnTo>
                    <a:pt x="120" y="321"/>
                  </a:lnTo>
                  <a:lnTo>
                    <a:pt x="118" y="321"/>
                  </a:lnTo>
                  <a:lnTo>
                    <a:pt x="118" y="323"/>
                  </a:lnTo>
                  <a:lnTo>
                    <a:pt x="118" y="326"/>
                  </a:lnTo>
                  <a:lnTo>
                    <a:pt x="121" y="327"/>
                  </a:lnTo>
                  <a:lnTo>
                    <a:pt x="118" y="328"/>
                  </a:lnTo>
                  <a:lnTo>
                    <a:pt x="117" y="329"/>
                  </a:lnTo>
                  <a:lnTo>
                    <a:pt x="115" y="331"/>
                  </a:lnTo>
                  <a:lnTo>
                    <a:pt x="115" y="328"/>
                  </a:lnTo>
                  <a:lnTo>
                    <a:pt x="112" y="328"/>
                  </a:lnTo>
                  <a:lnTo>
                    <a:pt x="111" y="328"/>
                  </a:lnTo>
                  <a:lnTo>
                    <a:pt x="111" y="331"/>
                  </a:lnTo>
                  <a:lnTo>
                    <a:pt x="111" y="333"/>
                  </a:lnTo>
                  <a:lnTo>
                    <a:pt x="109" y="333"/>
                  </a:lnTo>
                  <a:lnTo>
                    <a:pt x="108" y="331"/>
                  </a:lnTo>
                  <a:lnTo>
                    <a:pt x="106" y="331"/>
                  </a:lnTo>
                  <a:lnTo>
                    <a:pt x="104" y="331"/>
                  </a:lnTo>
                  <a:lnTo>
                    <a:pt x="103" y="332"/>
                  </a:lnTo>
                  <a:lnTo>
                    <a:pt x="103" y="334"/>
                  </a:lnTo>
                  <a:lnTo>
                    <a:pt x="100" y="334"/>
                  </a:lnTo>
                  <a:lnTo>
                    <a:pt x="100" y="335"/>
                  </a:lnTo>
                  <a:lnTo>
                    <a:pt x="99" y="338"/>
                  </a:lnTo>
                  <a:lnTo>
                    <a:pt x="96" y="338"/>
                  </a:lnTo>
                  <a:lnTo>
                    <a:pt x="94" y="337"/>
                  </a:lnTo>
                  <a:lnTo>
                    <a:pt x="93" y="337"/>
                  </a:lnTo>
                  <a:lnTo>
                    <a:pt x="90" y="337"/>
                  </a:lnTo>
                  <a:lnTo>
                    <a:pt x="88" y="334"/>
                  </a:lnTo>
                  <a:lnTo>
                    <a:pt x="87" y="334"/>
                  </a:lnTo>
                  <a:lnTo>
                    <a:pt x="86" y="333"/>
                  </a:lnTo>
                  <a:lnTo>
                    <a:pt x="84" y="333"/>
                  </a:lnTo>
                  <a:lnTo>
                    <a:pt x="84" y="334"/>
                  </a:lnTo>
                  <a:lnTo>
                    <a:pt x="82" y="335"/>
                  </a:lnTo>
                  <a:lnTo>
                    <a:pt x="86" y="338"/>
                  </a:lnTo>
                  <a:lnTo>
                    <a:pt x="86" y="340"/>
                  </a:lnTo>
                  <a:lnTo>
                    <a:pt x="86" y="343"/>
                  </a:lnTo>
                  <a:lnTo>
                    <a:pt x="88" y="344"/>
                  </a:lnTo>
                  <a:lnTo>
                    <a:pt x="90" y="344"/>
                  </a:lnTo>
                  <a:lnTo>
                    <a:pt x="91" y="344"/>
                  </a:lnTo>
                  <a:lnTo>
                    <a:pt x="91" y="346"/>
                  </a:lnTo>
                  <a:lnTo>
                    <a:pt x="88" y="346"/>
                  </a:lnTo>
                  <a:lnTo>
                    <a:pt x="87" y="347"/>
                  </a:lnTo>
                  <a:lnTo>
                    <a:pt x="87" y="349"/>
                  </a:lnTo>
                  <a:lnTo>
                    <a:pt x="87" y="350"/>
                  </a:lnTo>
                  <a:lnTo>
                    <a:pt x="90" y="349"/>
                  </a:lnTo>
                  <a:lnTo>
                    <a:pt x="91" y="350"/>
                  </a:lnTo>
                  <a:lnTo>
                    <a:pt x="92" y="351"/>
                  </a:lnTo>
                  <a:lnTo>
                    <a:pt x="93" y="351"/>
                  </a:lnTo>
                  <a:lnTo>
                    <a:pt x="96" y="351"/>
                  </a:lnTo>
                  <a:lnTo>
                    <a:pt x="97" y="350"/>
                  </a:lnTo>
                  <a:lnTo>
                    <a:pt x="98" y="350"/>
                  </a:lnTo>
                  <a:lnTo>
                    <a:pt x="99" y="349"/>
                  </a:lnTo>
                  <a:lnTo>
                    <a:pt x="99" y="347"/>
                  </a:lnTo>
                  <a:lnTo>
                    <a:pt x="99" y="346"/>
                  </a:lnTo>
                  <a:lnTo>
                    <a:pt x="97" y="345"/>
                  </a:lnTo>
                  <a:lnTo>
                    <a:pt x="94" y="345"/>
                  </a:lnTo>
                  <a:lnTo>
                    <a:pt x="94" y="344"/>
                  </a:lnTo>
                  <a:lnTo>
                    <a:pt x="97" y="343"/>
                  </a:lnTo>
                  <a:lnTo>
                    <a:pt x="98" y="343"/>
                  </a:lnTo>
                  <a:lnTo>
                    <a:pt x="99" y="344"/>
                  </a:lnTo>
                  <a:lnTo>
                    <a:pt x="100" y="343"/>
                  </a:lnTo>
                  <a:lnTo>
                    <a:pt x="102" y="341"/>
                  </a:lnTo>
                  <a:lnTo>
                    <a:pt x="102" y="340"/>
                  </a:lnTo>
                  <a:lnTo>
                    <a:pt x="104" y="339"/>
                  </a:lnTo>
                  <a:lnTo>
                    <a:pt x="105" y="337"/>
                  </a:lnTo>
                  <a:lnTo>
                    <a:pt x="108" y="338"/>
                  </a:lnTo>
                  <a:lnTo>
                    <a:pt x="110" y="338"/>
                  </a:lnTo>
                  <a:lnTo>
                    <a:pt x="111" y="338"/>
                  </a:lnTo>
                  <a:lnTo>
                    <a:pt x="112" y="338"/>
                  </a:lnTo>
                  <a:lnTo>
                    <a:pt x="115" y="338"/>
                  </a:lnTo>
                  <a:lnTo>
                    <a:pt x="116" y="338"/>
                  </a:lnTo>
                  <a:lnTo>
                    <a:pt x="117" y="338"/>
                  </a:lnTo>
                  <a:lnTo>
                    <a:pt x="118" y="337"/>
                  </a:lnTo>
                  <a:lnTo>
                    <a:pt x="120" y="335"/>
                  </a:lnTo>
                  <a:lnTo>
                    <a:pt x="122" y="335"/>
                  </a:lnTo>
                  <a:lnTo>
                    <a:pt x="122" y="337"/>
                  </a:lnTo>
                  <a:lnTo>
                    <a:pt x="126" y="338"/>
                  </a:lnTo>
                  <a:lnTo>
                    <a:pt x="127" y="340"/>
                  </a:lnTo>
                  <a:lnTo>
                    <a:pt x="130" y="340"/>
                  </a:lnTo>
                  <a:lnTo>
                    <a:pt x="132" y="341"/>
                  </a:lnTo>
                  <a:lnTo>
                    <a:pt x="129" y="341"/>
                  </a:lnTo>
                  <a:lnTo>
                    <a:pt x="126" y="341"/>
                  </a:lnTo>
                  <a:lnTo>
                    <a:pt x="124" y="343"/>
                  </a:lnTo>
                  <a:lnTo>
                    <a:pt x="123" y="344"/>
                  </a:lnTo>
                  <a:lnTo>
                    <a:pt x="122" y="344"/>
                  </a:lnTo>
                  <a:lnTo>
                    <a:pt x="120" y="344"/>
                  </a:lnTo>
                  <a:lnTo>
                    <a:pt x="117" y="344"/>
                  </a:lnTo>
                  <a:lnTo>
                    <a:pt x="116" y="344"/>
                  </a:lnTo>
                  <a:lnTo>
                    <a:pt x="115" y="341"/>
                  </a:lnTo>
                  <a:lnTo>
                    <a:pt x="112" y="341"/>
                  </a:lnTo>
                  <a:lnTo>
                    <a:pt x="111" y="341"/>
                  </a:lnTo>
                  <a:lnTo>
                    <a:pt x="109" y="341"/>
                  </a:lnTo>
                  <a:lnTo>
                    <a:pt x="106" y="341"/>
                  </a:lnTo>
                  <a:lnTo>
                    <a:pt x="105" y="341"/>
                  </a:lnTo>
                  <a:lnTo>
                    <a:pt x="103" y="344"/>
                  </a:lnTo>
                  <a:lnTo>
                    <a:pt x="102" y="345"/>
                  </a:lnTo>
                  <a:lnTo>
                    <a:pt x="102" y="346"/>
                  </a:lnTo>
                  <a:lnTo>
                    <a:pt x="102" y="347"/>
                  </a:lnTo>
                  <a:lnTo>
                    <a:pt x="104" y="347"/>
                  </a:lnTo>
                  <a:lnTo>
                    <a:pt x="105" y="347"/>
                  </a:lnTo>
                  <a:lnTo>
                    <a:pt x="106" y="347"/>
                  </a:lnTo>
                  <a:lnTo>
                    <a:pt x="108" y="347"/>
                  </a:lnTo>
                  <a:lnTo>
                    <a:pt x="109" y="345"/>
                  </a:lnTo>
                  <a:lnTo>
                    <a:pt x="110" y="345"/>
                  </a:lnTo>
                  <a:lnTo>
                    <a:pt x="110" y="347"/>
                  </a:lnTo>
                  <a:lnTo>
                    <a:pt x="112" y="347"/>
                  </a:lnTo>
                  <a:lnTo>
                    <a:pt x="111" y="349"/>
                  </a:lnTo>
                  <a:lnTo>
                    <a:pt x="110" y="349"/>
                  </a:lnTo>
                  <a:lnTo>
                    <a:pt x="109" y="349"/>
                  </a:lnTo>
                  <a:lnTo>
                    <a:pt x="109" y="352"/>
                  </a:lnTo>
                  <a:lnTo>
                    <a:pt x="108" y="352"/>
                  </a:lnTo>
                  <a:lnTo>
                    <a:pt x="108" y="351"/>
                  </a:lnTo>
                  <a:lnTo>
                    <a:pt x="106" y="350"/>
                  </a:lnTo>
                  <a:lnTo>
                    <a:pt x="104" y="349"/>
                  </a:lnTo>
                  <a:lnTo>
                    <a:pt x="104" y="350"/>
                  </a:lnTo>
                  <a:lnTo>
                    <a:pt x="103" y="351"/>
                  </a:lnTo>
                  <a:lnTo>
                    <a:pt x="104" y="352"/>
                  </a:lnTo>
                  <a:lnTo>
                    <a:pt x="104" y="353"/>
                  </a:lnTo>
                  <a:lnTo>
                    <a:pt x="102" y="355"/>
                  </a:lnTo>
                  <a:lnTo>
                    <a:pt x="103" y="356"/>
                  </a:lnTo>
                  <a:lnTo>
                    <a:pt x="104" y="356"/>
                  </a:lnTo>
                  <a:lnTo>
                    <a:pt x="104" y="357"/>
                  </a:lnTo>
                  <a:lnTo>
                    <a:pt x="102" y="358"/>
                  </a:lnTo>
                  <a:lnTo>
                    <a:pt x="99" y="362"/>
                  </a:lnTo>
                  <a:lnTo>
                    <a:pt x="98" y="361"/>
                  </a:lnTo>
                  <a:lnTo>
                    <a:pt x="97" y="359"/>
                  </a:lnTo>
                  <a:lnTo>
                    <a:pt x="96" y="357"/>
                  </a:lnTo>
                  <a:lnTo>
                    <a:pt x="96" y="356"/>
                  </a:lnTo>
                  <a:lnTo>
                    <a:pt x="93" y="356"/>
                  </a:lnTo>
                  <a:lnTo>
                    <a:pt x="93" y="359"/>
                  </a:lnTo>
                  <a:lnTo>
                    <a:pt x="92" y="361"/>
                  </a:lnTo>
                  <a:lnTo>
                    <a:pt x="91" y="359"/>
                  </a:lnTo>
                  <a:lnTo>
                    <a:pt x="91" y="358"/>
                  </a:lnTo>
                  <a:lnTo>
                    <a:pt x="90" y="356"/>
                  </a:lnTo>
                  <a:lnTo>
                    <a:pt x="88" y="355"/>
                  </a:lnTo>
                  <a:lnTo>
                    <a:pt x="87" y="355"/>
                  </a:lnTo>
                  <a:lnTo>
                    <a:pt x="86" y="355"/>
                  </a:lnTo>
                  <a:lnTo>
                    <a:pt x="84" y="356"/>
                  </a:lnTo>
                  <a:lnTo>
                    <a:pt x="82" y="357"/>
                  </a:lnTo>
                  <a:lnTo>
                    <a:pt x="81" y="357"/>
                  </a:lnTo>
                  <a:lnTo>
                    <a:pt x="80" y="358"/>
                  </a:lnTo>
                  <a:lnTo>
                    <a:pt x="79" y="358"/>
                  </a:lnTo>
                  <a:lnTo>
                    <a:pt x="78" y="357"/>
                  </a:lnTo>
                  <a:lnTo>
                    <a:pt x="78" y="356"/>
                  </a:lnTo>
                  <a:lnTo>
                    <a:pt x="79" y="356"/>
                  </a:lnTo>
                  <a:lnTo>
                    <a:pt x="80" y="355"/>
                  </a:lnTo>
                  <a:lnTo>
                    <a:pt x="81" y="355"/>
                  </a:lnTo>
                  <a:lnTo>
                    <a:pt x="82" y="355"/>
                  </a:lnTo>
                  <a:lnTo>
                    <a:pt x="84" y="353"/>
                  </a:lnTo>
                  <a:lnTo>
                    <a:pt x="84" y="352"/>
                  </a:lnTo>
                  <a:lnTo>
                    <a:pt x="82" y="351"/>
                  </a:lnTo>
                  <a:lnTo>
                    <a:pt x="80" y="351"/>
                  </a:lnTo>
                  <a:lnTo>
                    <a:pt x="79" y="350"/>
                  </a:lnTo>
                  <a:lnTo>
                    <a:pt x="76" y="349"/>
                  </a:lnTo>
                  <a:lnTo>
                    <a:pt x="75" y="347"/>
                  </a:lnTo>
                  <a:lnTo>
                    <a:pt x="75" y="346"/>
                  </a:lnTo>
                  <a:lnTo>
                    <a:pt x="74" y="346"/>
                  </a:lnTo>
                  <a:lnTo>
                    <a:pt x="74" y="347"/>
                  </a:lnTo>
                  <a:lnTo>
                    <a:pt x="71" y="347"/>
                  </a:lnTo>
                  <a:lnTo>
                    <a:pt x="71" y="349"/>
                  </a:lnTo>
                  <a:lnTo>
                    <a:pt x="71" y="351"/>
                  </a:lnTo>
                  <a:lnTo>
                    <a:pt x="73" y="352"/>
                  </a:lnTo>
                  <a:lnTo>
                    <a:pt x="71" y="353"/>
                  </a:lnTo>
                  <a:lnTo>
                    <a:pt x="70" y="355"/>
                  </a:lnTo>
                  <a:lnTo>
                    <a:pt x="68" y="356"/>
                  </a:lnTo>
                  <a:lnTo>
                    <a:pt x="68" y="355"/>
                  </a:lnTo>
                  <a:lnTo>
                    <a:pt x="68" y="353"/>
                  </a:lnTo>
                  <a:lnTo>
                    <a:pt x="68" y="352"/>
                  </a:lnTo>
                  <a:lnTo>
                    <a:pt x="65" y="352"/>
                  </a:lnTo>
                  <a:lnTo>
                    <a:pt x="65" y="351"/>
                  </a:lnTo>
                  <a:lnTo>
                    <a:pt x="65" y="350"/>
                  </a:lnTo>
                  <a:lnTo>
                    <a:pt x="67" y="347"/>
                  </a:lnTo>
                  <a:lnTo>
                    <a:pt x="67" y="346"/>
                  </a:lnTo>
                  <a:lnTo>
                    <a:pt x="65" y="344"/>
                  </a:lnTo>
                  <a:lnTo>
                    <a:pt x="64" y="344"/>
                  </a:lnTo>
                  <a:lnTo>
                    <a:pt x="62" y="344"/>
                  </a:lnTo>
                  <a:lnTo>
                    <a:pt x="61" y="341"/>
                  </a:lnTo>
                  <a:lnTo>
                    <a:pt x="61" y="340"/>
                  </a:lnTo>
                  <a:lnTo>
                    <a:pt x="61" y="339"/>
                  </a:lnTo>
                  <a:lnTo>
                    <a:pt x="59" y="338"/>
                  </a:lnTo>
                  <a:lnTo>
                    <a:pt x="57" y="338"/>
                  </a:lnTo>
                  <a:lnTo>
                    <a:pt x="56" y="338"/>
                  </a:lnTo>
                  <a:lnTo>
                    <a:pt x="56" y="339"/>
                  </a:lnTo>
                  <a:lnTo>
                    <a:pt x="56" y="341"/>
                  </a:lnTo>
                  <a:lnTo>
                    <a:pt x="56" y="343"/>
                  </a:lnTo>
                  <a:lnTo>
                    <a:pt x="55" y="344"/>
                  </a:lnTo>
                  <a:lnTo>
                    <a:pt x="55" y="345"/>
                  </a:lnTo>
                  <a:lnTo>
                    <a:pt x="52" y="345"/>
                  </a:lnTo>
                  <a:lnTo>
                    <a:pt x="52" y="346"/>
                  </a:lnTo>
                  <a:lnTo>
                    <a:pt x="53" y="346"/>
                  </a:lnTo>
                  <a:lnTo>
                    <a:pt x="55" y="347"/>
                  </a:lnTo>
                  <a:lnTo>
                    <a:pt x="56" y="349"/>
                  </a:lnTo>
                  <a:lnTo>
                    <a:pt x="56" y="350"/>
                  </a:lnTo>
                  <a:lnTo>
                    <a:pt x="56" y="351"/>
                  </a:lnTo>
                  <a:lnTo>
                    <a:pt x="59" y="352"/>
                  </a:lnTo>
                  <a:lnTo>
                    <a:pt x="61" y="352"/>
                  </a:lnTo>
                  <a:lnTo>
                    <a:pt x="61" y="355"/>
                  </a:lnTo>
                  <a:lnTo>
                    <a:pt x="59" y="355"/>
                  </a:lnTo>
                  <a:lnTo>
                    <a:pt x="59" y="356"/>
                  </a:lnTo>
                  <a:lnTo>
                    <a:pt x="61" y="357"/>
                  </a:lnTo>
                  <a:lnTo>
                    <a:pt x="63" y="358"/>
                  </a:lnTo>
                  <a:lnTo>
                    <a:pt x="62" y="359"/>
                  </a:lnTo>
                  <a:lnTo>
                    <a:pt x="61" y="359"/>
                  </a:lnTo>
                  <a:lnTo>
                    <a:pt x="59" y="358"/>
                  </a:lnTo>
                  <a:lnTo>
                    <a:pt x="58" y="356"/>
                  </a:lnTo>
                  <a:lnTo>
                    <a:pt x="57" y="356"/>
                  </a:lnTo>
                  <a:lnTo>
                    <a:pt x="57" y="357"/>
                  </a:lnTo>
                  <a:lnTo>
                    <a:pt x="57" y="358"/>
                  </a:lnTo>
                  <a:lnTo>
                    <a:pt x="58" y="361"/>
                  </a:lnTo>
                  <a:lnTo>
                    <a:pt x="59" y="362"/>
                  </a:lnTo>
                  <a:lnTo>
                    <a:pt x="61" y="364"/>
                  </a:lnTo>
                  <a:lnTo>
                    <a:pt x="61" y="365"/>
                  </a:lnTo>
                  <a:lnTo>
                    <a:pt x="59" y="365"/>
                  </a:lnTo>
                  <a:lnTo>
                    <a:pt x="58" y="365"/>
                  </a:lnTo>
                  <a:lnTo>
                    <a:pt x="57" y="363"/>
                  </a:lnTo>
                  <a:lnTo>
                    <a:pt x="56" y="361"/>
                  </a:lnTo>
                  <a:lnTo>
                    <a:pt x="55" y="362"/>
                  </a:lnTo>
                  <a:lnTo>
                    <a:pt x="55" y="363"/>
                  </a:lnTo>
                  <a:lnTo>
                    <a:pt x="53" y="364"/>
                  </a:lnTo>
                  <a:lnTo>
                    <a:pt x="52" y="364"/>
                  </a:lnTo>
                  <a:lnTo>
                    <a:pt x="52" y="361"/>
                  </a:lnTo>
                  <a:lnTo>
                    <a:pt x="55" y="359"/>
                  </a:lnTo>
                  <a:lnTo>
                    <a:pt x="55" y="358"/>
                  </a:lnTo>
                  <a:lnTo>
                    <a:pt x="52" y="357"/>
                  </a:lnTo>
                  <a:lnTo>
                    <a:pt x="51" y="356"/>
                  </a:lnTo>
                  <a:lnTo>
                    <a:pt x="50" y="355"/>
                  </a:lnTo>
                  <a:lnTo>
                    <a:pt x="50" y="353"/>
                  </a:lnTo>
                  <a:lnTo>
                    <a:pt x="47" y="353"/>
                  </a:lnTo>
                  <a:lnTo>
                    <a:pt x="47" y="355"/>
                  </a:lnTo>
                  <a:lnTo>
                    <a:pt x="47" y="357"/>
                  </a:lnTo>
                  <a:lnTo>
                    <a:pt x="45" y="357"/>
                  </a:lnTo>
                  <a:lnTo>
                    <a:pt x="45" y="356"/>
                  </a:lnTo>
                  <a:lnTo>
                    <a:pt x="44" y="357"/>
                  </a:lnTo>
                  <a:lnTo>
                    <a:pt x="44" y="358"/>
                  </a:lnTo>
                  <a:lnTo>
                    <a:pt x="46" y="359"/>
                  </a:lnTo>
                  <a:lnTo>
                    <a:pt x="45" y="361"/>
                  </a:lnTo>
                  <a:lnTo>
                    <a:pt x="44" y="359"/>
                  </a:lnTo>
                  <a:lnTo>
                    <a:pt x="43" y="359"/>
                  </a:lnTo>
                  <a:lnTo>
                    <a:pt x="41" y="358"/>
                  </a:lnTo>
                  <a:lnTo>
                    <a:pt x="39" y="358"/>
                  </a:lnTo>
                  <a:lnTo>
                    <a:pt x="38" y="358"/>
                  </a:lnTo>
                  <a:lnTo>
                    <a:pt x="38" y="357"/>
                  </a:lnTo>
                  <a:lnTo>
                    <a:pt x="38" y="356"/>
                  </a:lnTo>
                  <a:lnTo>
                    <a:pt x="39" y="355"/>
                  </a:lnTo>
                  <a:lnTo>
                    <a:pt x="38" y="355"/>
                  </a:lnTo>
                  <a:lnTo>
                    <a:pt x="38" y="352"/>
                  </a:lnTo>
                  <a:lnTo>
                    <a:pt x="35" y="351"/>
                  </a:lnTo>
                  <a:lnTo>
                    <a:pt x="34" y="352"/>
                  </a:lnTo>
                  <a:lnTo>
                    <a:pt x="34" y="355"/>
                  </a:lnTo>
                  <a:lnTo>
                    <a:pt x="34" y="357"/>
                  </a:lnTo>
                  <a:lnTo>
                    <a:pt x="33" y="356"/>
                  </a:lnTo>
                  <a:lnTo>
                    <a:pt x="32" y="353"/>
                  </a:lnTo>
                  <a:lnTo>
                    <a:pt x="32" y="352"/>
                  </a:lnTo>
                  <a:lnTo>
                    <a:pt x="31" y="352"/>
                  </a:lnTo>
                  <a:lnTo>
                    <a:pt x="29" y="351"/>
                  </a:lnTo>
                  <a:lnTo>
                    <a:pt x="27" y="349"/>
                  </a:lnTo>
                  <a:lnTo>
                    <a:pt x="26" y="350"/>
                  </a:lnTo>
                  <a:lnTo>
                    <a:pt x="25" y="352"/>
                  </a:lnTo>
                  <a:lnTo>
                    <a:pt x="23" y="351"/>
                  </a:lnTo>
                  <a:lnTo>
                    <a:pt x="23" y="353"/>
                  </a:lnTo>
                  <a:lnTo>
                    <a:pt x="25" y="355"/>
                  </a:lnTo>
                  <a:lnTo>
                    <a:pt x="27" y="356"/>
                  </a:lnTo>
                  <a:lnTo>
                    <a:pt x="28" y="358"/>
                  </a:lnTo>
                  <a:lnTo>
                    <a:pt x="28" y="359"/>
                  </a:lnTo>
                  <a:lnTo>
                    <a:pt x="28" y="362"/>
                  </a:lnTo>
                  <a:lnTo>
                    <a:pt x="27" y="362"/>
                  </a:lnTo>
                  <a:lnTo>
                    <a:pt x="26" y="362"/>
                  </a:lnTo>
                  <a:lnTo>
                    <a:pt x="26" y="359"/>
                  </a:lnTo>
                  <a:lnTo>
                    <a:pt x="26" y="357"/>
                  </a:lnTo>
                  <a:lnTo>
                    <a:pt x="25" y="356"/>
                  </a:lnTo>
                  <a:lnTo>
                    <a:pt x="23" y="355"/>
                  </a:lnTo>
                  <a:lnTo>
                    <a:pt x="22" y="355"/>
                  </a:lnTo>
                  <a:lnTo>
                    <a:pt x="21" y="353"/>
                  </a:lnTo>
                  <a:lnTo>
                    <a:pt x="21" y="352"/>
                  </a:lnTo>
                  <a:lnTo>
                    <a:pt x="20" y="352"/>
                  </a:lnTo>
                  <a:lnTo>
                    <a:pt x="19" y="355"/>
                  </a:lnTo>
                  <a:lnTo>
                    <a:pt x="19" y="356"/>
                  </a:lnTo>
                  <a:lnTo>
                    <a:pt x="17" y="355"/>
                  </a:lnTo>
                  <a:lnTo>
                    <a:pt x="19" y="352"/>
                  </a:lnTo>
                  <a:lnTo>
                    <a:pt x="20" y="351"/>
                  </a:lnTo>
                  <a:lnTo>
                    <a:pt x="20" y="350"/>
                  </a:lnTo>
                  <a:lnTo>
                    <a:pt x="19" y="349"/>
                  </a:lnTo>
                  <a:lnTo>
                    <a:pt x="19" y="347"/>
                  </a:lnTo>
                  <a:lnTo>
                    <a:pt x="15" y="347"/>
                  </a:lnTo>
                  <a:lnTo>
                    <a:pt x="14" y="347"/>
                  </a:lnTo>
                  <a:lnTo>
                    <a:pt x="14" y="349"/>
                  </a:lnTo>
                  <a:lnTo>
                    <a:pt x="14" y="351"/>
                  </a:lnTo>
                  <a:lnTo>
                    <a:pt x="14" y="352"/>
                  </a:lnTo>
                  <a:lnTo>
                    <a:pt x="12" y="355"/>
                  </a:lnTo>
                  <a:lnTo>
                    <a:pt x="12" y="352"/>
                  </a:lnTo>
                  <a:lnTo>
                    <a:pt x="12" y="351"/>
                  </a:lnTo>
                  <a:lnTo>
                    <a:pt x="12" y="350"/>
                  </a:lnTo>
                  <a:lnTo>
                    <a:pt x="10" y="349"/>
                  </a:lnTo>
                  <a:lnTo>
                    <a:pt x="8" y="349"/>
                  </a:lnTo>
                  <a:lnTo>
                    <a:pt x="8" y="347"/>
                  </a:lnTo>
                  <a:lnTo>
                    <a:pt x="6" y="347"/>
                  </a:lnTo>
                  <a:lnTo>
                    <a:pt x="5" y="346"/>
                  </a:lnTo>
                  <a:lnTo>
                    <a:pt x="5" y="347"/>
                  </a:lnTo>
                  <a:lnTo>
                    <a:pt x="2" y="349"/>
                  </a:lnTo>
                  <a:lnTo>
                    <a:pt x="0" y="349"/>
                  </a:lnTo>
                  <a:lnTo>
                    <a:pt x="0" y="350"/>
                  </a:lnTo>
                  <a:lnTo>
                    <a:pt x="0" y="351"/>
                  </a:lnTo>
                  <a:lnTo>
                    <a:pt x="3" y="353"/>
                  </a:lnTo>
                  <a:lnTo>
                    <a:pt x="4" y="353"/>
                  </a:lnTo>
                  <a:lnTo>
                    <a:pt x="3" y="355"/>
                  </a:lnTo>
                  <a:lnTo>
                    <a:pt x="3" y="356"/>
                  </a:lnTo>
                  <a:lnTo>
                    <a:pt x="5" y="358"/>
                  </a:lnTo>
                  <a:lnTo>
                    <a:pt x="6" y="358"/>
                  </a:lnTo>
                  <a:lnTo>
                    <a:pt x="8" y="357"/>
                  </a:lnTo>
                  <a:lnTo>
                    <a:pt x="8" y="359"/>
                  </a:lnTo>
                  <a:lnTo>
                    <a:pt x="9" y="361"/>
                  </a:lnTo>
                  <a:lnTo>
                    <a:pt x="10" y="361"/>
                  </a:lnTo>
                  <a:lnTo>
                    <a:pt x="12" y="362"/>
                  </a:lnTo>
                  <a:lnTo>
                    <a:pt x="11" y="363"/>
                  </a:lnTo>
                  <a:lnTo>
                    <a:pt x="10" y="364"/>
                  </a:lnTo>
                  <a:lnTo>
                    <a:pt x="11" y="367"/>
                  </a:lnTo>
                  <a:lnTo>
                    <a:pt x="10" y="368"/>
                  </a:lnTo>
                  <a:lnTo>
                    <a:pt x="9" y="369"/>
                  </a:lnTo>
                  <a:lnTo>
                    <a:pt x="11" y="371"/>
                  </a:lnTo>
                  <a:lnTo>
                    <a:pt x="11" y="374"/>
                  </a:lnTo>
                  <a:lnTo>
                    <a:pt x="12" y="375"/>
                  </a:lnTo>
                  <a:lnTo>
                    <a:pt x="14" y="376"/>
                  </a:lnTo>
                  <a:lnTo>
                    <a:pt x="16" y="377"/>
                  </a:lnTo>
                  <a:lnTo>
                    <a:pt x="17" y="377"/>
                  </a:lnTo>
                  <a:lnTo>
                    <a:pt x="20" y="377"/>
                  </a:lnTo>
                  <a:lnTo>
                    <a:pt x="21" y="377"/>
                  </a:lnTo>
                  <a:lnTo>
                    <a:pt x="22" y="377"/>
                  </a:lnTo>
                  <a:lnTo>
                    <a:pt x="25" y="377"/>
                  </a:lnTo>
                  <a:lnTo>
                    <a:pt x="26" y="376"/>
                  </a:lnTo>
                  <a:lnTo>
                    <a:pt x="28" y="375"/>
                  </a:lnTo>
                  <a:lnTo>
                    <a:pt x="29" y="376"/>
                  </a:lnTo>
                  <a:lnTo>
                    <a:pt x="28" y="377"/>
                  </a:lnTo>
                  <a:lnTo>
                    <a:pt x="29" y="379"/>
                  </a:lnTo>
                  <a:lnTo>
                    <a:pt x="32" y="379"/>
                  </a:lnTo>
                  <a:lnTo>
                    <a:pt x="34" y="377"/>
                  </a:lnTo>
                  <a:lnTo>
                    <a:pt x="35" y="379"/>
                  </a:lnTo>
                  <a:lnTo>
                    <a:pt x="37" y="379"/>
                  </a:lnTo>
                  <a:lnTo>
                    <a:pt x="38" y="377"/>
                  </a:lnTo>
                  <a:lnTo>
                    <a:pt x="39" y="377"/>
                  </a:lnTo>
                  <a:lnTo>
                    <a:pt x="37" y="380"/>
                  </a:lnTo>
                  <a:lnTo>
                    <a:pt x="34" y="380"/>
                  </a:lnTo>
                  <a:lnTo>
                    <a:pt x="33" y="380"/>
                  </a:lnTo>
                  <a:lnTo>
                    <a:pt x="32" y="381"/>
                  </a:lnTo>
                  <a:lnTo>
                    <a:pt x="31" y="381"/>
                  </a:lnTo>
                  <a:lnTo>
                    <a:pt x="29" y="380"/>
                  </a:lnTo>
                  <a:lnTo>
                    <a:pt x="28" y="379"/>
                  </a:lnTo>
                  <a:lnTo>
                    <a:pt x="27" y="379"/>
                  </a:lnTo>
                  <a:lnTo>
                    <a:pt x="26" y="379"/>
                  </a:lnTo>
                  <a:lnTo>
                    <a:pt x="25" y="380"/>
                  </a:lnTo>
                  <a:lnTo>
                    <a:pt x="23" y="380"/>
                  </a:lnTo>
                  <a:lnTo>
                    <a:pt x="21" y="380"/>
                  </a:lnTo>
                  <a:lnTo>
                    <a:pt x="17" y="380"/>
                  </a:lnTo>
                  <a:lnTo>
                    <a:pt x="16" y="380"/>
                  </a:lnTo>
                  <a:lnTo>
                    <a:pt x="15" y="381"/>
                  </a:lnTo>
                  <a:lnTo>
                    <a:pt x="14" y="383"/>
                  </a:lnTo>
                  <a:lnTo>
                    <a:pt x="15" y="385"/>
                  </a:lnTo>
                  <a:lnTo>
                    <a:pt x="16" y="385"/>
                  </a:lnTo>
                  <a:lnTo>
                    <a:pt x="17" y="386"/>
                  </a:lnTo>
                  <a:lnTo>
                    <a:pt x="19" y="386"/>
                  </a:lnTo>
                  <a:lnTo>
                    <a:pt x="20" y="388"/>
                  </a:lnTo>
                  <a:lnTo>
                    <a:pt x="21" y="386"/>
                  </a:lnTo>
                  <a:lnTo>
                    <a:pt x="22" y="385"/>
                  </a:lnTo>
                  <a:lnTo>
                    <a:pt x="23" y="386"/>
                  </a:lnTo>
                  <a:lnTo>
                    <a:pt x="25" y="387"/>
                  </a:lnTo>
                  <a:lnTo>
                    <a:pt x="26" y="387"/>
                  </a:lnTo>
                  <a:lnTo>
                    <a:pt x="27" y="387"/>
                  </a:lnTo>
                  <a:lnTo>
                    <a:pt x="28" y="387"/>
                  </a:lnTo>
                  <a:lnTo>
                    <a:pt x="31" y="387"/>
                  </a:lnTo>
                  <a:lnTo>
                    <a:pt x="32" y="387"/>
                  </a:lnTo>
                  <a:lnTo>
                    <a:pt x="33" y="387"/>
                  </a:lnTo>
                  <a:lnTo>
                    <a:pt x="34" y="386"/>
                  </a:lnTo>
                  <a:lnTo>
                    <a:pt x="35" y="386"/>
                  </a:lnTo>
                  <a:lnTo>
                    <a:pt x="38" y="387"/>
                  </a:lnTo>
                  <a:lnTo>
                    <a:pt x="38" y="389"/>
                  </a:lnTo>
                  <a:lnTo>
                    <a:pt x="37" y="388"/>
                  </a:lnTo>
                  <a:lnTo>
                    <a:pt x="34" y="387"/>
                  </a:lnTo>
                  <a:lnTo>
                    <a:pt x="32" y="388"/>
                  </a:lnTo>
                  <a:lnTo>
                    <a:pt x="31" y="388"/>
                  </a:lnTo>
                  <a:lnTo>
                    <a:pt x="31" y="389"/>
                  </a:lnTo>
                  <a:lnTo>
                    <a:pt x="33" y="391"/>
                  </a:lnTo>
                  <a:lnTo>
                    <a:pt x="34" y="392"/>
                  </a:lnTo>
                  <a:lnTo>
                    <a:pt x="34" y="393"/>
                  </a:lnTo>
                  <a:lnTo>
                    <a:pt x="33" y="394"/>
                  </a:lnTo>
                  <a:lnTo>
                    <a:pt x="32" y="394"/>
                  </a:lnTo>
                  <a:lnTo>
                    <a:pt x="29" y="393"/>
                  </a:lnTo>
                  <a:lnTo>
                    <a:pt x="29" y="392"/>
                  </a:lnTo>
                  <a:lnTo>
                    <a:pt x="27" y="391"/>
                  </a:lnTo>
                  <a:lnTo>
                    <a:pt x="27" y="392"/>
                  </a:lnTo>
                  <a:lnTo>
                    <a:pt x="26" y="394"/>
                  </a:lnTo>
                  <a:lnTo>
                    <a:pt x="25" y="393"/>
                  </a:lnTo>
                  <a:lnTo>
                    <a:pt x="23" y="392"/>
                  </a:lnTo>
                  <a:lnTo>
                    <a:pt x="22" y="393"/>
                  </a:lnTo>
                  <a:lnTo>
                    <a:pt x="22" y="394"/>
                  </a:lnTo>
                  <a:lnTo>
                    <a:pt x="20" y="394"/>
                  </a:lnTo>
                  <a:lnTo>
                    <a:pt x="20" y="395"/>
                  </a:lnTo>
                  <a:lnTo>
                    <a:pt x="22" y="398"/>
                  </a:lnTo>
                  <a:lnTo>
                    <a:pt x="25" y="399"/>
                  </a:lnTo>
                  <a:lnTo>
                    <a:pt x="26" y="401"/>
                  </a:lnTo>
                  <a:lnTo>
                    <a:pt x="27" y="401"/>
                  </a:lnTo>
                  <a:lnTo>
                    <a:pt x="26" y="403"/>
                  </a:lnTo>
                  <a:lnTo>
                    <a:pt x="23" y="401"/>
                  </a:lnTo>
                  <a:lnTo>
                    <a:pt x="22" y="401"/>
                  </a:lnTo>
                  <a:lnTo>
                    <a:pt x="21" y="401"/>
                  </a:lnTo>
                  <a:lnTo>
                    <a:pt x="20" y="401"/>
                  </a:lnTo>
                  <a:lnTo>
                    <a:pt x="20" y="404"/>
                  </a:lnTo>
                  <a:lnTo>
                    <a:pt x="21" y="406"/>
                  </a:lnTo>
                  <a:lnTo>
                    <a:pt x="22" y="407"/>
                  </a:lnTo>
                  <a:lnTo>
                    <a:pt x="20" y="407"/>
                  </a:lnTo>
                  <a:lnTo>
                    <a:pt x="17" y="406"/>
                  </a:lnTo>
                  <a:lnTo>
                    <a:pt x="19" y="410"/>
                  </a:lnTo>
                  <a:lnTo>
                    <a:pt x="19" y="411"/>
                  </a:lnTo>
                  <a:lnTo>
                    <a:pt x="20" y="412"/>
                  </a:lnTo>
                  <a:lnTo>
                    <a:pt x="19" y="412"/>
                  </a:lnTo>
                  <a:lnTo>
                    <a:pt x="17" y="411"/>
                  </a:lnTo>
                  <a:lnTo>
                    <a:pt x="17" y="410"/>
                  </a:lnTo>
                  <a:lnTo>
                    <a:pt x="16" y="407"/>
                  </a:lnTo>
                  <a:lnTo>
                    <a:pt x="15" y="407"/>
                  </a:lnTo>
                  <a:lnTo>
                    <a:pt x="14" y="407"/>
                  </a:lnTo>
                  <a:lnTo>
                    <a:pt x="12" y="409"/>
                  </a:lnTo>
                  <a:lnTo>
                    <a:pt x="12" y="411"/>
                  </a:lnTo>
                  <a:lnTo>
                    <a:pt x="11" y="412"/>
                  </a:lnTo>
                  <a:lnTo>
                    <a:pt x="10" y="411"/>
                  </a:lnTo>
                  <a:lnTo>
                    <a:pt x="10" y="410"/>
                  </a:lnTo>
                  <a:lnTo>
                    <a:pt x="10" y="409"/>
                  </a:lnTo>
                  <a:lnTo>
                    <a:pt x="9" y="409"/>
                  </a:lnTo>
                  <a:lnTo>
                    <a:pt x="6" y="409"/>
                  </a:lnTo>
                  <a:lnTo>
                    <a:pt x="5" y="410"/>
                  </a:lnTo>
                  <a:lnTo>
                    <a:pt x="4" y="411"/>
                  </a:lnTo>
                  <a:lnTo>
                    <a:pt x="2" y="412"/>
                  </a:lnTo>
                  <a:lnTo>
                    <a:pt x="2" y="413"/>
                  </a:lnTo>
                  <a:lnTo>
                    <a:pt x="3" y="416"/>
                  </a:lnTo>
                  <a:lnTo>
                    <a:pt x="3" y="417"/>
                  </a:lnTo>
                  <a:lnTo>
                    <a:pt x="5" y="418"/>
                  </a:lnTo>
                  <a:lnTo>
                    <a:pt x="9" y="422"/>
                  </a:lnTo>
                  <a:lnTo>
                    <a:pt x="10" y="422"/>
                  </a:lnTo>
                  <a:lnTo>
                    <a:pt x="11" y="423"/>
                  </a:lnTo>
                  <a:lnTo>
                    <a:pt x="12" y="424"/>
                  </a:lnTo>
                  <a:lnTo>
                    <a:pt x="16" y="424"/>
                  </a:lnTo>
                  <a:lnTo>
                    <a:pt x="15" y="426"/>
                  </a:lnTo>
                  <a:lnTo>
                    <a:pt x="12" y="426"/>
                  </a:lnTo>
                  <a:lnTo>
                    <a:pt x="11" y="426"/>
                  </a:lnTo>
                  <a:lnTo>
                    <a:pt x="9" y="426"/>
                  </a:lnTo>
                  <a:lnTo>
                    <a:pt x="9" y="428"/>
                  </a:lnTo>
                  <a:lnTo>
                    <a:pt x="10" y="429"/>
                  </a:lnTo>
                  <a:lnTo>
                    <a:pt x="8" y="430"/>
                  </a:lnTo>
                  <a:lnTo>
                    <a:pt x="6" y="430"/>
                  </a:lnTo>
                  <a:lnTo>
                    <a:pt x="10" y="434"/>
                  </a:lnTo>
                  <a:lnTo>
                    <a:pt x="11" y="434"/>
                  </a:lnTo>
                  <a:lnTo>
                    <a:pt x="12" y="433"/>
                  </a:lnTo>
                  <a:lnTo>
                    <a:pt x="14" y="434"/>
                  </a:lnTo>
                  <a:lnTo>
                    <a:pt x="14" y="435"/>
                  </a:lnTo>
                  <a:lnTo>
                    <a:pt x="15" y="435"/>
                  </a:lnTo>
                  <a:lnTo>
                    <a:pt x="17" y="435"/>
                  </a:lnTo>
                  <a:lnTo>
                    <a:pt x="19" y="434"/>
                  </a:lnTo>
                  <a:lnTo>
                    <a:pt x="21" y="434"/>
                  </a:lnTo>
                  <a:lnTo>
                    <a:pt x="22" y="433"/>
                  </a:lnTo>
                  <a:lnTo>
                    <a:pt x="23" y="432"/>
                  </a:lnTo>
                  <a:lnTo>
                    <a:pt x="26" y="429"/>
                  </a:lnTo>
                  <a:lnTo>
                    <a:pt x="28" y="429"/>
                  </a:lnTo>
                  <a:lnTo>
                    <a:pt x="31" y="429"/>
                  </a:lnTo>
                  <a:lnTo>
                    <a:pt x="32" y="429"/>
                  </a:lnTo>
                  <a:lnTo>
                    <a:pt x="32" y="430"/>
                  </a:lnTo>
                  <a:lnTo>
                    <a:pt x="32" y="432"/>
                  </a:lnTo>
                  <a:lnTo>
                    <a:pt x="31" y="432"/>
                  </a:lnTo>
                  <a:lnTo>
                    <a:pt x="28" y="433"/>
                  </a:lnTo>
                  <a:lnTo>
                    <a:pt x="27" y="432"/>
                  </a:lnTo>
                  <a:lnTo>
                    <a:pt x="26" y="432"/>
                  </a:lnTo>
                  <a:lnTo>
                    <a:pt x="25" y="433"/>
                  </a:lnTo>
                  <a:lnTo>
                    <a:pt x="23" y="435"/>
                  </a:lnTo>
                  <a:lnTo>
                    <a:pt x="25" y="436"/>
                  </a:lnTo>
                  <a:lnTo>
                    <a:pt x="27" y="439"/>
                  </a:lnTo>
                  <a:lnTo>
                    <a:pt x="31" y="439"/>
                  </a:lnTo>
                  <a:lnTo>
                    <a:pt x="32" y="438"/>
                  </a:lnTo>
                  <a:lnTo>
                    <a:pt x="32" y="436"/>
                  </a:lnTo>
                  <a:lnTo>
                    <a:pt x="33" y="436"/>
                  </a:lnTo>
                  <a:lnTo>
                    <a:pt x="34" y="435"/>
                  </a:lnTo>
                  <a:lnTo>
                    <a:pt x="35" y="438"/>
                  </a:lnTo>
                  <a:lnTo>
                    <a:pt x="37" y="438"/>
                  </a:lnTo>
                  <a:lnTo>
                    <a:pt x="39" y="438"/>
                  </a:lnTo>
                  <a:lnTo>
                    <a:pt x="39" y="436"/>
                  </a:lnTo>
                  <a:lnTo>
                    <a:pt x="41" y="435"/>
                  </a:lnTo>
                  <a:lnTo>
                    <a:pt x="43" y="435"/>
                  </a:lnTo>
                  <a:lnTo>
                    <a:pt x="44" y="433"/>
                  </a:lnTo>
                  <a:lnTo>
                    <a:pt x="45" y="434"/>
                  </a:lnTo>
                  <a:lnTo>
                    <a:pt x="47" y="435"/>
                  </a:lnTo>
                  <a:lnTo>
                    <a:pt x="49" y="438"/>
                  </a:lnTo>
                  <a:lnTo>
                    <a:pt x="47" y="440"/>
                  </a:lnTo>
                  <a:lnTo>
                    <a:pt x="45" y="442"/>
                  </a:lnTo>
                  <a:lnTo>
                    <a:pt x="44" y="444"/>
                  </a:lnTo>
                  <a:lnTo>
                    <a:pt x="41" y="445"/>
                  </a:lnTo>
                  <a:lnTo>
                    <a:pt x="40" y="445"/>
                  </a:lnTo>
                  <a:lnTo>
                    <a:pt x="39" y="445"/>
                  </a:lnTo>
                  <a:lnTo>
                    <a:pt x="38" y="445"/>
                  </a:lnTo>
                  <a:lnTo>
                    <a:pt x="37" y="444"/>
                  </a:lnTo>
                  <a:lnTo>
                    <a:pt x="37" y="446"/>
                  </a:lnTo>
                  <a:lnTo>
                    <a:pt x="37" y="447"/>
                  </a:lnTo>
                  <a:lnTo>
                    <a:pt x="35" y="448"/>
                  </a:lnTo>
                  <a:lnTo>
                    <a:pt x="34" y="450"/>
                  </a:lnTo>
                  <a:lnTo>
                    <a:pt x="33" y="451"/>
                  </a:lnTo>
                  <a:lnTo>
                    <a:pt x="33" y="450"/>
                  </a:lnTo>
                  <a:lnTo>
                    <a:pt x="32" y="450"/>
                  </a:lnTo>
                  <a:lnTo>
                    <a:pt x="31" y="450"/>
                  </a:lnTo>
                  <a:lnTo>
                    <a:pt x="29" y="450"/>
                  </a:lnTo>
                  <a:lnTo>
                    <a:pt x="28" y="452"/>
                  </a:lnTo>
                  <a:lnTo>
                    <a:pt x="27" y="452"/>
                  </a:lnTo>
                  <a:lnTo>
                    <a:pt x="27" y="456"/>
                  </a:lnTo>
                  <a:lnTo>
                    <a:pt x="29" y="456"/>
                  </a:lnTo>
                  <a:lnTo>
                    <a:pt x="31" y="456"/>
                  </a:lnTo>
                  <a:lnTo>
                    <a:pt x="32" y="456"/>
                  </a:lnTo>
                  <a:lnTo>
                    <a:pt x="33" y="456"/>
                  </a:lnTo>
                  <a:lnTo>
                    <a:pt x="34" y="457"/>
                  </a:lnTo>
                  <a:lnTo>
                    <a:pt x="35" y="457"/>
                  </a:lnTo>
                  <a:lnTo>
                    <a:pt x="39" y="457"/>
                  </a:lnTo>
                  <a:lnTo>
                    <a:pt x="39" y="456"/>
                  </a:lnTo>
                  <a:lnTo>
                    <a:pt x="40" y="454"/>
                  </a:lnTo>
                  <a:lnTo>
                    <a:pt x="41" y="453"/>
                  </a:lnTo>
                  <a:lnTo>
                    <a:pt x="43" y="453"/>
                  </a:lnTo>
                  <a:lnTo>
                    <a:pt x="44" y="453"/>
                  </a:lnTo>
                  <a:lnTo>
                    <a:pt x="45" y="451"/>
                  </a:lnTo>
                  <a:lnTo>
                    <a:pt x="46" y="450"/>
                  </a:lnTo>
                  <a:lnTo>
                    <a:pt x="47" y="448"/>
                  </a:lnTo>
                  <a:lnTo>
                    <a:pt x="47" y="446"/>
                  </a:lnTo>
                  <a:lnTo>
                    <a:pt x="47" y="445"/>
                  </a:lnTo>
                  <a:lnTo>
                    <a:pt x="49" y="444"/>
                  </a:lnTo>
                  <a:lnTo>
                    <a:pt x="50" y="441"/>
                  </a:lnTo>
                  <a:lnTo>
                    <a:pt x="50" y="440"/>
                  </a:lnTo>
                  <a:lnTo>
                    <a:pt x="51" y="441"/>
                  </a:lnTo>
                  <a:lnTo>
                    <a:pt x="51" y="442"/>
                  </a:lnTo>
                  <a:lnTo>
                    <a:pt x="50" y="445"/>
                  </a:lnTo>
                  <a:lnTo>
                    <a:pt x="50" y="446"/>
                  </a:lnTo>
                  <a:lnTo>
                    <a:pt x="51" y="446"/>
                  </a:lnTo>
                  <a:lnTo>
                    <a:pt x="53" y="446"/>
                  </a:lnTo>
                  <a:lnTo>
                    <a:pt x="55" y="446"/>
                  </a:lnTo>
                  <a:lnTo>
                    <a:pt x="56" y="445"/>
                  </a:lnTo>
                  <a:lnTo>
                    <a:pt x="56" y="442"/>
                  </a:lnTo>
                  <a:lnTo>
                    <a:pt x="55" y="442"/>
                  </a:lnTo>
                  <a:lnTo>
                    <a:pt x="55" y="441"/>
                  </a:lnTo>
                  <a:lnTo>
                    <a:pt x="56" y="440"/>
                  </a:lnTo>
                  <a:lnTo>
                    <a:pt x="57" y="440"/>
                  </a:lnTo>
                  <a:lnTo>
                    <a:pt x="58" y="439"/>
                  </a:lnTo>
                  <a:lnTo>
                    <a:pt x="59" y="438"/>
                  </a:lnTo>
                  <a:lnTo>
                    <a:pt x="59" y="436"/>
                  </a:lnTo>
                  <a:lnTo>
                    <a:pt x="61" y="435"/>
                  </a:lnTo>
                  <a:lnTo>
                    <a:pt x="61" y="434"/>
                  </a:lnTo>
                  <a:lnTo>
                    <a:pt x="62" y="432"/>
                  </a:lnTo>
                  <a:lnTo>
                    <a:pt x="63" y="432"/>
                  </a:lnTo>
                  <a:lnTo>
                    <a:pt x="64" y="433"/>
                  </a:lnTo>
                  <a:lnTo>
                    <a:pt x="65" y="433"/>
                  </a:lnTo>
                  <a:lnTo>
                    <a:pt x="65" y="434"/>
                  </a:lnTo>
                  <a:lnTo>
                    <a:pt x="67" y="434"/>
                  </a:lnTo>
                  <a:lnTo>
                    <a:pt x="68" y="433"/>
                  </a:lnTo>
                  <a:lnTo>
                    <a:pt x="69" y="433"/>
                  </a:lnTo>
                  <a:lnTo>
                    <a:pt x="70" y="433"/>
                  </a:lnTo>
                  <a:lnTo>
                    <a:pt x="71" y="433"/>
                  </a:lnTo>
                  <a:lnTo>
                    <a:pt x="71" y="434"/>
                  </a:lnTo>
                  <a:lnTo>
                    <a:pt x="69" y="435"/>
                  </a:lnTo>
                  <a:lnTo>
                    <a:pt x="69" y="436"/>
                  </a:lnTo>
                  <a:lnTo>
                    <a:pt x="68" y="436"/>
                  </a:lnTo>
                  <a:lnTo>
                    <a:pt x="65" y="439"/>
                  </a:lnTo>
                  <a:lnTo>
                    <a:pt x="64" y="439"/>
                  </a:lnTo>
                  <a:lnTo>
                    <a:pt x="64" y="438"/>
                  </a:lnTo>
                  <a:lnTo>
                    <a:pt x="64" y="436"/>
                  </a:lnTo>
                  <a:lnTo>
                    <a:pt x="63" y="435"/>
                  </a:lnTo>
                  <a:lnTo>
                    <a:pt x="61" y="438"/>
                  </a:lnTo>
                  <a:lnTo>
                    <a:pt x="58" y="440"/>
                  </a:lnTo>
                  <a:lnTo>
                    <a:pt x="61" y="442"/>
                  </a:lnTo>
                  <a:lnTo>
                    <a:pt x="63" y="442"/>
                  </a:lnTo>
                  <a:lnTo>
                    <a:pt x="64" y="444"/>
                  </a:lnTo>
                  <a:lnTo>
                    <a:pt x="65" y="445"/>
                  </a:lnTo>
                  <a:lnTo>
                    <a:pt x="68" y="446"/>
                  </a:lnTo>
                  <a:lnTo>
                    <a:pt x="70" y="446"/>
                  </a:lnTo>
                  <a:lnTo>
                    <a:pt x="71" y="446"/>
                  </a:lnTo>
                  <a:lnTo>
                    <a:pt x="74" y="444"/>
                  </a:lnTo>
                  <a:lnTo>
                    <a:pt x="75" y="442"/>
                  </a:lnTo>
                  <a:lnTo>
                    <a:pt x="76" y="441"/>
                  </a:lnTo>
                  <a:lnTo>
                    <a:pt x="78" y="440"/>
                  </a:lnTo>
                  <a:lnTo>
                    <a:pt x="79" y="439"/>
                  </a:lnTo>
                  <a:lnTo>
                    <a:pt x="81" y="438"/>
                  </a:lnTo>
                  <a:lnTo>
                    <a:pt x="82" y="436"/>
                  </a:lnTo>
                  <a:lnTo>
                    <a:pt x="82" y="434"/>
                  </a:lnTo>
                  <a:lnTo>
                    <a:pt x="84" y="433"/>
                  </a:lnTo>
                  <a:lnTo>
                    <a:pt x="85" y="434"/>
                  </a:lnTo>
                  <a:lnTo>
                    <a:pt x="86" y="433"/>
                  </a:lnTo>
                  <a:lnTo>
                    <a:pt x="87" y="433"/>
                  </a:lnTo>
                  <a:lnTo>
                    <a:pt x="87" y="434"/>
                  </a:lnTo>
                  <a:lnTo>
                    <a:pt x="85" y="435"/>
                  </a:lnTo>
                  <a:lnTo>
                    <a:pt x="84" y="436"/>
                  </a:lnTo>
                  <a:lnTo>
                    <a:pt x="85" y="438"/>
                  </a:lnTo>
                  <a:lnTo>
                    <a:pt x="84" y="438"/>
                  </a:lnTo>
                  <a:lnTo>
                    <a:pt x="82" y="439"/>
                  </a:lnTo>
                  <a:lnTo>
                    <a:pt x="81" y="439"/>
                  </a:lnTo>
                  <a:lnTo>
                    <a:pt x="80" y="440"/>
                  </a:lnTo>
                  <a:lnTo>
                    <a:pt x="79" y="441"/>
                  </a:lnTo>
                  <a:lnTo>
                    <a:pt x="79" y="442"/>
                  </a:lnTo>
                  <a:lnTo>
                    <a:pt x="82" y="444"/>
                  </a:lnTo>
                  <a:lnTo>
                    <a:pt x="86" y="445"/>
                  </a:lnTo>
                  <a:lnTo>
                    <a:pt x="88" y="445"/>
                  </a:lnTo>
                  <a:lnTo>
                    <a:pt x="88" y="446"/>
                  </a:lnTo>
                  <a:lnTo>
                    <a:pt x="91" y="447"/>
                  </a:lnTo>
                  <a:lnTo>
                    <a:pt x="92" y="448"/>
                  </a:lnTo>
                  <a:lnTo>
                    <a:pt x="93" y="450"/>
                  </a:lnTo>
                  <a:lnTo>
                    <a:pt x="92" y="450"/>
                  </a:lnTo>
                  <a:lnTo>
                    <a:pt x="88" y="452"/>
                  </a:lnTo>
                  <a:lnTo>
                    <a:pt x="87" y="452"/>
                  </a:lnTo>
                  <a:lnTo>
                    <a:pt x="85" y="453"/>
                  </a:lnTo>
                  <a:lnTo>
                    <a:pt x="82" y="453"/>
                  </a:lnTo>
                  <a:lnTo>
                    <a:pt x="80" y="454"/>
                  </a:lnTo>
                  <a:lnTo>
                    <a:pt x="81" y="457"/>
                  </a:lnTo>
                  <a:lnTo>
                    <a:pt x="82" y="458"/>
                  </a:lnTo>
                  <a:lnTo>
                    <a:pt x="81" y="459"/>
                  </a:lnTo>
                  <a:lnTo>
                    <a:pt x="80" y="459"/>
                  </a:lnTo>
                  <a:lnTo>
                    <a:pt x="81" y="460"/>
                  </a:lnTo>
                  <a:lnTo>
                    <a:pt x="82" y="460"/>
                  </a:lnTo>
                  <a:lnTo>
                    <a:pt x="84" y="460"/>
                  </a:lnTo>
                  <a:lnTo>
                    <a:pt x="86" y="460"/>
                  </a:lnTo>
                  <a:lnTo>
                    <a:pt x="88" y="460"/>
                  </a:lnTo>
                  <a:lnTo>
                    <a:pt x="90" y="459"/>
                  </a:lnTo>
                  <a:lnTo>
                    <a:pt x="91" y="458"/>
                  </a:lnTo>
                  <a:lnTo>
                    <a:pt x="91" y="457"/>
                  </a:lnTo>
                  <a:lnTo>
                    <a:pt x="92" y="456"/>
                  </a:lnTo>
                  <a:lnTo>
                    <a:pt x="93" y="457"/>
                  </a:lnTo>
                  <a:lnTo>
                    <a:pt x="94" y="457"/>
                  </a:lnTo>
                  <a:lnTo>
                    <a:pt x="94" y="454"/>
                  </a:lnTo>
                  <a:lnTo>
                    <a:pt x="94" y="453"/>
                  </a:lnTo>
                  <a:lnTo>
                    <a:pt x="94" y="452"/>
                  </a:lnTo>
                  <a:lnTo>
                    <a:pt x="97" y="450"/>
                  </a:lnTo>
                  <a:lnTo>
                    <a:pt x="98" y="447"/>
                  </a:lnTo>
                  <a:lnTo>
                    <a:pt x="98" y="445"/>
                  </a:lnTo>
                  <a:lnTo>
                    <a:pt x="99" y="444"/>
                  </a:lnTo>
                  <a:lnTo>
                    <a:pt x="99" y="442"/>
                  </a:lnTo>
                  <a:lnTo>
                    <a:pt x="102" y="442"/>
                  </a:lnTo>
                  <a:lnTo>
                    <a:pt x="102" y="444"/>
                  </a:lnTo>
                  <a:lnTo>
                    <a:pt x="102" y="446"/>
                  </a:lnTo>
                  <a:lnTo>
                    <a:pt x="105" y="446"/>
                  </a:lnTo>
                  <a:lnTo>
                    <a:pt x="106" y="445"/>
                  </a:lnTo>
                  <a:lnTo>
                    <a:pt x="108" y="444"/>
                  </a:lnTo>
                  <a:lnTo>
                    <a:pt x="109" y="442"/>
                  </a:lnTo>
                  <a:lnTo>
                    <a:pt x="111" y="441"/>
                  </a:lnTo>
                  <a:lnTo>
                    <a:pt x="112" y="440"/>
                  </a:lnTo>
                  <a:lnTo>
                    <a:pt x="112" y="441"/>
                  </a:lnTo>
                  <a:lnTo>
                    <a:pt x="111" y="442"/>
                  </a:lnTo>
                  <a:lnTo>
                    <a:pt x="109" y="444"/>
                  </a:lnTo>
                  <a:lnTo>
                    <a:pt x="106" y="446"/>
                  </a:lnTo>
                  <a:lnTo>
                    <a:pt x="105" y="447"/>
                  </a:lnTo>
                  <a:lnTo>
                    <a:pt x="103" y="448"/>
                  </a:lnTo>
                  <a:lnTo>
                    <a:pt x="102" y="450"/>
                  </a:lnTo>
                  <a:lnTo>
                    <a:pt x="103" y="452"/>
                  </a:lnTo>
                  <a:lnTo>
                    <a:pt x="105" y="451"/>
                  </a:lnTo>
                  <a:lnTo>
                    <a:pt x="109" y="448"/>
                  </a:lnTo>
                  <a:lnTo>
                    <a:pt x="110" y="447"/>
                  </a:lnTo>
                  <a:lnTo>
                    <a:pt x="112" y="446"/>
                  </a:lnTo>
                  <a:lnTo>
                    <a:pt x="115" y="445"/>
                  </a:lnTo>
                  <a:lnTo>
                    <a:pt x="116" y="446"/>
                  </a:lnTo>
                  <a:lnTo>
                    <a:pt x="116" y="448"/>
                  </a:lnTo>
                  <a:lnTo>
                    <a:pt x="117" y="450"/>
                  </a:lnTo>
                  <a:lnTo>
                    <a:pt x="118" y="448"/>
                  </a:lnTo>
                  <a:lnTo>
                    <a:pt x="120" y="447"/>
                  </a:lnTo>
                  <a:lnTo>
                    <a:pt x="120" y="445"/>
                  </a:lnTo>
                  <a:lnTo>
                    <a:pt x="120" y="444"/>
                  </a:lnTo>
                  <a:lnTo>
                    <a:pt x="120" y="442"/>
                  </a:lnTo>
                  <a:lnTo>
                    <a:pt x="121" y="442"/>
                  </a:lnTo>
                  <a:lnTo>
                    <a:pt x="122" y="442"/>
                  </a:lnTo>
                  <a:lnTo>
                    <a:pt x="124" y="444"/>
                  </a:lnTo>
                  <a:lnTo>
                    <a:pt x="126" y="445"/>
                  </a:lnTo>
                  <a:lnTo>
                    <a:pt x="128" y="445"/>
                  </a:lnTo>
                  <a:lnTo>
                    <a:pt x="129" y="445"/>
                  </a:lnTo>
                  <a:lnTo>
                    <a:pt x="132" y="444"/>
                  </a:lnTo>
                  <a:lnTo>
                    <a:pt x="133" y="442"/>
                  </a:lnTo>
                  <a:lnTo>
                    <a:pt x="133" y="440"/>
                  </a:lnTo>
                  <a:lnTo>
                    <a:pt x="132" y="439"/>
                  </a:lnTo>
                  <a:lnTo>
                    <a:pt x="132" y="438"/>
                  </a:lnTo>
                  <a:lnTo>
                    <a:pt x="130" y="438"/>
                  </a:lnTo>
                  <a:lnTo>
                    <a:pt x="128" y="439"/>
                  </a:lnTo>
                  <a:lnTo>
                    <a:pt x="126" y="439"/>
                  </a:lnTo>
                  <a:lnTo>
                    <a:pt x="124" y="438"/>
                  </a:lnTo>
                  <a:lnTo>
                    <a:pt x="124" y="436"/>
                  </a:lnTo>
                  <a:lnTo>
                    <a:pt x="123" y="436"/>
                  </a:lnTo>
                  <a:lnTo>
                    <a:pt x="121" y="435"/>
                  </a:lnTo>
                  <a:lnTo>
                    <a:pt x="120" y="435"/>
                  </a:lnTo>
                  <a:lnTo>
                    <a:pt x="122" y="434"/>
                  </a:lnTo>
                  <a:lnTo>
                    <a:pt x="124" y="434"/>
                  </a:lnTo>
                  <a:lnTo>
                    <a:pt x="124" y="435"/>
                  </a:lnTo>
                  <a:lnTo>
                    <a:pt x="126" y="436"/>
                  </a:lnTo>
                  <a:lnTo>
                    <a:pt x="128" y="436"/>
                  </a:lnTo>
                  <a:lnTo>
                    <a:pt x="129" y="434"/>
                  </a:lnTo>
                  <a:lnTo>
                    <a:pt x="129" y="433"/>
                  </a:lnTo>
                  <a:lnTo>
                    <a:pt x="129" y="432"/>
                  </a:lnTo>
                  <a:lnTo>
                    <a:pt x="128" y="430"/>
                  </a:lnTo>
                  <a:lnTo>
                    <a:pt x="124" y="429"/>
                  </a:lnTo>
                  <a:lnTo>
                    <a:pt x="123" y="429"/>
                  </a:lnTo>
                  <a:lnTo>
                    <a:pt x="123" y="427"/>
                  </a:lnTo>
                  <a:lnTo>
                    <a:pt x="124" y="426"/>
                  </a:lnTo>
                  <a:lnTo>
                    <a:pt x="126" y="424"/>
                  </a:lnTo>
                  <a:lnTo>
                    <a:pt x="127" y="424"/>
                  </a:lnTo>
                  <a:lnTo>
                    <a:pt x="128" y="426"/>
                  </a:lnTo>
                  <a:lnTo>
                    <a:pt x="128" y="428"/>
                  </a:lnTo>
                  <a:lnTo>
                    <a:pt x="129" y="429"/>
                  </a:lnTo>
                  <a:lnTo>
                    <a:pt x="132" y="430"/>
                  </a:lnTo>
                  <a:lnTo>
                    <a:pt x="133" y="432"/>
                  </a:lnTo>
                  <a:lnTo>
                    <a:pt x="135" y="433"/>
                  </a:lnTo>
                  <a:lnTo>
                    <a:pt x="138" y="433"/>
                  </a:lnTo>
                  <a:lnTo>
                    <a:pt x="139" y="433"/>
                  </a:lnTo>
                  <a:lnTo>
                    <a:pt x="140" y="435"/>
                  </a:lnTo>
                  <a:lnTo>
                    <a:pt x="139" y="435"/>
                  </a:lnTo>
                  <a:lnTo>
                    <a:pt x="137" y="434"/>
                  </a:lnTo>
                  <a:lnTo>
                    <a:pt x="137" y="436"/>
                  </a:lnTo>
                  <a:lnTo>
                    <a:pt x="137" y="438"/>
                  </a:lnTo>
                  <a:lnTo>
                    <a:pt x="139" y="438"/>
                  </a:lnTo>
                  <a:lnTo>
                    <a:pt x="141" y="440"/>
                  </a:lnTo>
                  <a:lnTo>
                    <a:pt x="143" y="444"/>
                  </a:lnTo>
                  <a:lnTo>
                    <a:pt x="144" y="446"/>
                  </a:lnTo>
                  <a:lnTo>
                    <a:pt x="144" y="448"/>
                  </a:lnTo>
                  <a:lnTo>
                    <a:pt x="141" y="448"/>
                  </a:lnTo>
                  <a:lnTo>
                    <a:pt x="141" y="446"/>
                  </a:lnTo>
                  <a:lnTo>
                    <a:pt x="139" y="442"/>
                  </a:lnTo>
                  <a:lnTo>
                    <a:pt x="138" y="442"/>
                  </a:lnTo>
                  <a:lnTo>
                    <a:pt x="139" y="445"/>
                  </a:lnTo>
                  <a:lnTo>
                    <a:pt x="139" y="446"/>
                  </a:lnTo>
                  <a:lnTo>
                    <a:pt x="139" y="448"/>
                  </a:lnTo>
                  <a:lnTo>
                    <a:pt x="138" y="448"/>
                  </a:lnTo>
                  <a:lnTo>
                    <a:pt x="137" y="451"/>
                  </a:lnTo>
                  <a:lnTo>
                    <a:pt x="137" y="452"/>
                  </a:lnTo>
                  <a:lnTo>
                    <a:pt x="139" y="453"/>
                  </a:lnTo>
                  <a:lnTo>
                    <a:pt x="140" y="452"/>
                  </a:lnTo>
                  <a:lnTo>
                    <a:pt x="143" y="452"/>
                  </a:lnTo>
                  <a:lnTo>
                    <a:pt x="141" y="453"/>
                  </a:lnTo>
                  <a:lnTo>
                    <a:pt x="140" y="454"/>
                  </a:lnTo>
                  <a:lnTo>
                    <a:pt x="139" y="454"/>
                  </a:lnTo>
                  <a:lnTo>
                    <a:pt x="138" y="456"/>
                  </a:lnTo>
                  <a:lnTo>
                    <a:pt x="137" y="456"/>
                  </a:lnTo>
                  <a:lnTo>
                    <a:pt x="135" y="458"/>
                  </a:lnTo>
                  <a:lnTo>
                    <a:pt x="135" y="460"/>
                  </a:lnTo>
                  <a:lnTo>
                    <a:pt x="137" y="460"/>
                  </a:lnTo>
                  <a:lnTo>
                    <a:pt x="134" y="462"/>
                  </a:lnTo>
                  <a:lnTo>
                    <a:pt x="133" y="462"/>
                  </a:lnTo>
                  <a:lnTo>
                    <a:pt x="132" y="459"/>
                  </a:lnTo>
                  <a:lnTo>
                    <a:pt x="129" y="459"/>
                  </a:lnTo>
                  <a:lnTo>
                    <a:pt x="128" y="460"/>
                  </a:lnTo>
                  <a:lnTo>
                    <a:pt x="128" y="463"/>
                  </a:lnTo>
                  <a:lnTo>
                    <a:pt x="128" y="464"/>
                  </a:lnTo>
                  <a:lnTo>
                    <a:pt x="128" y="466"/>
                  </a:lnTo>
                  <a:lnTo>
                    <a:pt x="129" y="466"/>
                  </a:lnTo>
                  <a:lnTo>
                    <a:pt x="132" y="466"/>
                  </a:lnTo>
                  <a:lnTo>
                    <a:pt x="133" y="466"/>
                  </a:lnTo>
                  <a:lnTo>
                    <a:pt x="134" y="466"/>
                  </a:lnTo>
                  <a:lnTo>
                    <a:pt x="135" y="465"/>
                  </a:lnTo>
                  <a:lnTo>
                    <a:pt x="135" y="464"/>
                  </a:lnTo>
                  <a:lnTo>
                    <a:pt x="137" y="465"/>
                  </a:lnTo>
                  <a:lnTo>
                    <a:pt x="138" y="466"/>
                  </a:lnTo>
                  <a:lnTo>
                    <a:pt x="141" y="466"/>
                  </a:lnTo>
                  <a:lnTo>
                    <a:pt x="143" y="465"/>
                  </a:lnTo>
                  <a:lnTo>
                    <a:pt x="144" y="466"/>
                  </a:lnTo>
                  <a:lnTo>
                    <a:pt x="144" y="468"/>
                  </a:lnTo>
                  <a:lnTo>
                    <a:pt x="145" y="469"/>
                  </a:lnTo>
                  <a:lnTo>
                    <a:pt x="147" y="468"/>
                  </a:lnTo>
                  <a:lnTo>
                    <a:pt x="147" y="466"/>
                  </a:lnTo>
                  <a:lnTo>
                    <a:pt x="150" y="465"/>
                  </a:lnTo>
                  <a:lnTo>
                    <a:pt x="152" y="464"/>
                  </a:lnTo>
                  <a:lnTo>
                    <a:pt x="152" y="463"/>
                  </a:lnTo>
                  <a:lnTo>
                    <a:pt x="151" y="463"/>
                  </a:lnTo>
                  <a:lnTo>
                    <a:pt x="149" y="463"/>
                  </a:lnTo>
                  <a:lnTo>
                    <a:pt x="146" y="463"/>
                  </a:lnTo>
                  <a:lnTo>
                    <a:pt x="149" y="460"/>
                  </a:lnTo>
                  <a:lnTo>
                    <a:pt x="150" y="459"/>
                  </a:lnTo>
                  <a:lnTo>
                    <a:pt x="151" y="458"/>
                  </a:lnTo>
                  <a:lnTo>
                    <a:pt x="152" y="458"/>
                  </a:lnTo>
                  <a:lnTo>
                    <a:pt x="153" y="458"/>
                  </a:lnTo>
                  <a:lnTo>
                    <a:pt x="155" y="460"/>
                  </a:lnTo>
                  <a:lnTo>
                    <a:pt x="155" y="462"/>
                  </a:lnTo>
                  <a:lnTo>
                    <a:pt x="155" y="463"/>
                  </a:lnTo>
                  <a:lnTo>
                    <a:pt x="156" y="462"/>
                  </a:lnTo>
                  <a:lnTo>
                    <a:pt x="157" y="464"/>
                  </a:lnTo>
                  <a:lnTo>
                    <a:pt x="158" y="465"/>
                  </a:lnTo>
                  <a:lnTo>
                    <a:pt x="156" y="465"/>
                  </a:lnTo>
                  <a:lnTo>
                    <a:pt x="153" y="465"/>
                  </a:lnTo>
                  <a:lnTo>
                    <a:pt x="151" y="466"/>
                  </a:lnTo>
                  <a:lnTo>
                    <a:pt x="150" y="468"/>
                  </a:lnTo>
                  <a:lnTo>
                    <a:pt x="149" y="469"/>
                  </a:lnTo>
                  <a:lnTo>
                    <a:pt x="147" y="470"/>
                  </a:lnTo>
                  <a:lnTo>
                    <a:pt x="144" y="472"/>
                  </a:lnTo>
                  <a:lnTo>
                    <a:pt x="143" y="470"/>
                  </a:lnTo>
                  <a:lnTo>
                    <a:pt x="141" y="469"/>
                  </a:lnTo>
                  <a:lnTo>
                    <a:pt x="140" y="469"/>
                  </a:lnTo>
                  <a:lnTo>
                    <a:pt x="138" y="468"/>
                  </a:lnTo>
                  <a:lnTo>
                    <a:pt x="137" y="468"/>
                  </a:lnTo>
                  <a:lnTo>
                    <a:pt x="137" y="470"/>
                  </a:lnTo>
                  <a:lnTo>
                    <a:pt x="135" y="470"/>
                  </a:lnTo>
                  <a:lnTo>
                    <a:pt x="133" y="470"/>
                  </a:lnTo>
                  <a:lnTo>
                    <a:pt x="133" y="469"/>
                  </a:lnTo>
                  <a:lnTo>
                    <a:pt x="132" y="469"/>
                  </a:lnTo>
                  <a:lnTo>
                    <a:pt x="130" y="470"/>
                  </a:lnTo>
                  <a:lnTo>
                    <a:pt x="128" y="471"/>
                  </a:lnTo>
                  <a:lnTo>
                    <a:pt x="126" y="471"/>
                  </a:lnTo>
                  <a:lnTo>
                    <a:pt x="124" y="469"/>
                  </a:lnTo>
                  <a:lnTo>
                    <a:pt x="122" y="468"/>
                  </a:lnTo>
                  <a:lnTo>
                    <a:pt x="121" y="469"/>
                  </a:lnTo>
                  <a:lnTo>
                    <a:pt x="121" y="471"/>
                  </a:lnTo>
                  <a:lnTo>
                    <a:pt x="120" y="471"/>
                  </a:lnTo>
                  <a:lnTo>
                    <a:pt x="118" y="472"/>
                  </a:lnTo>
                  <a:lnTo>
                    <a:pt x="117" y="475"/>
                  </a:lnTo>
                  <a:lnTo>
                    <a:pt x="115" y="472"/>
                  </a:lnTo>
                  <a:lnTo>
                    <a:pt x="114" y="472"/>
                  </a:lnTo>
                  <a:lnTo>
                    <a:pt x="112" y="474"/>
                  </a:lnTo>
                  <a:lnTo>
                    <a:pt x="114" y="476"/>
                  </a:lnTo>
                  <a:lnTo>
                    <a:pt x="110" y="476"/>
                  </a:lnTo>
                  <a:lnTo>
                    <a:pt x="110" y="477"/>
                  </a:lnTo>
                  <a:lnTo>
                    <a:pt x="112" y="478"/>
                  </a:lnTo>
                  <a:lnTo>
                    <a:pt x="114" y="480"/>
                  </a:lnTo>
                  <a:lnTo>
                    <a:pt x="115" y="480"/>
                  </a:lnTo>
                  <a:lnTo>
                    <a:pt x="115" y="481"/>
                  </a:lnTo>
                  <a:lnTo>
                    <a:pt x="117" y="481"/>
                  </a:lnTo>
                  <a:lnTo>
                    <a:pt x="118" y="481"/>
                  </a:lnTo>
                  <a:lnTo>
                    <a:pt x="121" y="480"/>
                  </a:lnTo>
                  <a:lnTo>
                    <a:pt x="123" y="480"/>
                  </a:lnTo>
                  <a:lnTo>
                    <a:pt x="123" y="478"/>
                  </a:lnTo>
                  <a:lnTo>
                    <a:pt x="124" y="477"/>
                  </a:lnTo>
                  <a:lnTo>
                    <a:pt x="126" y="478"/>
                  </a:lnTo>
                  <a:lnTo>
                    <a:pt x="127" y="478"/>
                  </a:lnTo>
                  <a:lnTo>
                    <a:pt x="128" y="477"/>
                  </a:lnTo>
                  <a:lnTo>
                    <a:pt x="128" y="476"/>
                  </a:lnTo>
                  <a:lnTo>
                    <a:pt x="128" y="478"/>
                  </a:lnTo>
                  <a:lnTo>
                    <a:pt x="127" y="480"/>
                  </a:lnTo>
                  <a:lnTo>
                    <a:pt x="124" y="482"/>
                  </a:lnTo>
                  <a:lnTo>
                    <a:pt x="123" y="483"/>
                  </a:lnTo>
                  <a:lnTo>
                    <a:pt x="122" y="483"/>
                  </a:lnTo>
                  <a:lnTo>
                    <a:pt x="120" y="483"/>
                  </a:lnTo>
                  <a:lnTo>
                    <a:pt x="118" y="484"/>
                  </a:lnTo>
                  <a:lnTo>
                    <a:pt x="116" y="486"/>
                  </a:lnTo>
                  <a:lnTo>
                    <a:pt x="115" y="487"/>
                  </a:lnTo>
                  <a:lnTo>
                    <a:pt x="114" y="488"/>
                  </a:lnTo>
                  <a:lnTo>
                    <a:pt x="112" y="486"/>
                  </a:lnTo>
                  <a:lnTo>
                    <a:pt x="112" y="484"/>
                  </a:lnTo>
                  <a:lnTo>
                    <a:pt x="111" y="486"/>
                  </a:lnTo>
                  <a:lnTo>
                    <a:pt x="109" y="486"/>
                  </a:lnTo>
                  <a:lnTo>
                    <a:pt x="106" y="488"/>
                  </a:lnTo>
                  <a:lnTo>
                    <a:pt x="105" y="488"/>
                  </a:lnTo>
                  <a:lnTo>
                    <a:pt x="103" y="489"/>
                  </a:lnTo>
                  <a:lnTo>
                    <a:pt x="102" y="489"/>
                  </a:lnTo>
                  <a:lnTo>
                    <a:pt x="100" y="489"/>
                  </a:lnTo>
                  <a:lnTo>
                    <a:pt x="96" y="492"/>
                  </a:lnTo>
                  <a:lnTo>
                    <a:pt x="96" y="493"/>
                  </a:lnTo>
                  <a:lnTo>
                    <a:pt x="94" y="494"/>
                  </a:lnTo>
                  <a:lnTo>
                    <a:pt x="94" y="495"/>
                  </a:lnTo>
                  <a:lnTo>
                    <a:pt x="93" y="496"/>
                  </a:lnTo>
                  <a:lnTo>
                    <a:pt x="91" y="496"/>
                  </a:lnTo>
                  <a:lnTo>
                    <a:pt x="88" y="498"/>
                  </a:lnTo>
                  <a:lnTo>
                    <a:pt x="87" y="498"/>
                  </a:lnTo>
                  <a:lnTo>
                    <a:pt x="85" y="498"/>
                  </a:lnTo>
                  <a:lnTo>
                    <a:pt x="81" y="498"/>
                  </a:lnTo>
                  <a:lnTo>
                    <a:pt x="81" y="499"/>
                  </a:lnTo>
                  <a:lnTo>
                    <a:pt x="80" y="500"/>
                  </a:lnTo>
                  <a:lnTo>
                    <a:pt x="79" y="498"/>
                  </a:lnTo>
                  <a:lnTo>
                    <a:pt x="76" y="499"/>
                  </a:lnTo>
                  <a:lnTo>
                    <a:pt x="76" y="500"/>
                  </a:lnTo>
                  <a:lnTo>
                    <a:pt x="73" y="500"/>
                  </a:lnTo>
                  <a:lnTo>
                    <a:pt x="73" y="502"/>
                  </a:lnTo>
                  <a:lnTo>
                    <a:pt x="71" y="502"/>
                  </a:lnTo>
                  <a:lnTo>
                    <a:pt x="71" y="501"/>
                  </a:lnTo>
                  <a:lnTo>
                    <a:pt x="70" y="499"/>
                  </a:lnTo>
                  <a:lnTo>
                    <a:pt x="67" y="499"/>
                  </a:lnTo>
                  <a:lnTo>
                    <a:pt x="67" y="498"/>
                  </a:lnTo>
                  <a:lnTo>
                    <a:pt x="65" y="495"/>
                  </a:lnTo>
                  <a:lnTo>
                    <a:pt x="64" y="495"/>
                  </a:lnTo>
                  <a:lnTo>
                    <a:pt x="63" y="496"/>
                  </a:lnTo>
                  <a:lnTo>
                    <a:pt x="62" y="498"/>
                  </a:lnTo>
                  <a:lnTo>
                    <a:pt x="61" y="498"/>
                  </a:lnTo>
                  <a:lnTo>
                    <a:pt x="61" y="499"/>
                  </a:lnTo>
                  <a:lnTo>
                    <a:pt x="61" y="501"/>
                  </a:lnTo>
                  <a:lnTo>
                    <a:pt x="62" y="502"/>
                  </a:lnTo>
                  <a:lnTo>
                    <a:pt x="62" y="504"/>
                  </a:lnTo>
                  <a:lnTo>
                    <a:pt x="62" y="505"/>
                  </a:lnTo>
                  <a:lnTo>
                    <a:pt x="63" y="506"/>
                  </a:lnTo>
                  <a:lnTo>
                    <a:pt x="64" y="506"/>
                  </a:lnTo>
                  <a:lnTo>
                    <a:pt x="63" y="508"/>
                  </a:lnTo>
                  <a:lnTo>
                    <a:pt x="62" y="510"/>
                  </a:lnTo>
                  <a:lnTo>
                    <a:pt x="62" y="511"/>
                  </a:lnTo>
                  <a:lnTo>
                    <a:pt x="64" y="511"/>
                  </a:lnTo>
                  <a:lnTo>
                    <a:pt x="67" y="511"/>
                  </a:lnTo>
                  <a:lnTo>
                    <a:pt x="68" y="512"/>
                  </a:lnTo>
                  <a:lnTo>
                    <a:pt x="69" y="513"/>
                  </a:lnTo>
                  <a:lnTo>
                    <a:pt x="70" y="512"/>
                  </a:lnTo>
                  <a:lnTo>
                    <a:pt x="73" y="512"/>
                  </a:lnTo>
                  <a:lnTo>
                    <a:pt x="75" y="511"/>
                  </a:lnTo>
                  <a:lnTo>
                    <a:pt x="76" y="511"/>
                  </a:lnTo>
                  <a:lnTo>
                    <a:pt x="79" y="511"/>
                  </a:lnTo>
                  <a:lnTo>
                    <a:pt x="80" y="511"/>
                  </a:lnTo>
                  <a:lnTo>
                    <a:pt x="82" y="513"/>
                  </a:lnTo>
                  <a:lnTo>
                    <a:pt x="85" y="517"/>
                  </a:lnTo>
                  <a:lnTo>
                    <a:pt x="84" y="517"/>
                  </a:lnTo>
                  <a:lnTo>
                    <a:pt x="82" y="516"/>
                  </a:lnTo>
                  <a:lnTo>
                    <a:pt x="81" y="516"/>
                  </a:lnTo>
                  <a:lnTo>
                    <a:pt x="80" y="517"/>
                  </a:lnTo>
                  <a:lnTo>
                    <a:pt x="79" y="517"/>
                  </a:lnTo>
                  <a:lnTo>
                    <a:pt x="78" y="516"/>
                  </a:lnTo>
                  <a:lnTo>
                    <a:pt x="76" y="514"/>
                  </a:lnTo>
                  <a:lnTo>
                    <a:pt x="74" y="514"/>
                  </a:lnTo>
                  <a:lnTo>
                    <a:pt x="71" y="514"/>
                  </a:lnTo>
                  <a:lnTo>
                    <a:pt x="70" y="514"/>
                  </a:lnTo>
                  <a:lnTo>
                    <a:pt x="69" y="516"/>
                  </a:lnTo>
                  <a:lnTo>
                    <a:pt x="71" y="517"/>
                  </a:lnTo>
                  <a:lnTo>
                    <a:pt x="73" y="518"/>
                  </a:lnTo>
                  <a:lnTo>
                    <a:pt x="71" y="520"/>
                  </a:lnTo>
                  <a:lnTo>
                    <a:pt x="74" y="522"/>
                  </a:lnTo>
                  <a:lnTo>
                    <a:pt x="75" y="522"/>
                  </a:lnTo>
                  <a:lnTo>
                    <a:pt x="78" y="523"/>
                  </a:lnTo>
                  <a:lnTo>
                    <a:pt x="78" y="525"/>
                  </a:lnTo>
                  <a:lnTo>
                    <a:pt x="76" y="525"/>
                  </a:lnTo>
                  <a:lnTo>
                    <a:pt x="75" y="526"/>
                  </a:lnTo>
                  <a:lnTo>
                    <a:pt x="76" y="526"/>
                  </a:lnTo>
                  <a:lnTo>
                    <a:pt x="80" y="526"/>
                  </a:lnTo>
                  <a:lnTo>
                    <a:pt x="81" y="525"/>
                  </a:lnTo>
                  <a:lnTo>
                    <a:pt x="81" y="524"/>
                  </a:lnTo>
                  <a:lnTo>
                    <a:pt x="84" y="523"/>
                  </a:lnTo>
                  <a:lnTo>
                    <a:pt x="84" y="524"/>
                  </a:lnTo>
                  <a:lnTo>
                    <a:pt x="82" y="526"/>
                  </a:lnTo>
                  <a:lnTo>
                    <a:pt x="81" y="529"/>
                  </a:lnTo>
                  <a:lnTo>
                    <a:pt x="79" y="530"/>
                  </a:lnTo>
                  <a:lnTo>
                    <a:pt x="76" y="530"/>
                  </a:lnTo>
                  <a:lnTo>
                    <a:pt x="75" y="530"/>
                  </a:lnTo>
                  <a:lnTo>
                    <a:pt x="73" y="529"/>
                  </a:lnTo>
                  <a:lnTo>
                    <a:pt x="73" y="526"/>
                  </a:lnTo>
                  <a:lnTo>
                    <a:pt x="74" y="524"/>
                  </a:lnTo>
                  <a:lnTo>
                    <a:pt x="73" y="523"/>
                  </a:lnTo>
                  <a:lnTo>
                    <a:pt x="70" y="522"/>
                  </a:lnTo>
                  <a:lnTo>
                    <a:pt x="70" y="520"/>
                  </a:lnTo>
                  <a:lnTo>
                    <a:pt x="70" y="519"/>
                  </a:lnTo>
                  <a:lnTo>
                    <a:pt x="69" y="518"/>
                  </a:lnTo>
                  <a:lnTo>
                    <a:pt x="67" y="517"/>
                  </a:lnTo>
                  <a:lnTo>
                    <a:pt x="65" y="517"/>
                  </a:lnTo>
                  <a:lnTo>
                    <a:pt x="64" y="518"/>
                  </a:lnTo>
                  <a:lnTo>
                    <a:pt x="63" y="518"/>
                  </a:lnTo>
                  <a:lnTo>
                    <a:pt x="62" y="519"/>
                  </a:lnTo>
                  <a:lnTo>
                    <a:pt x="59" y="520"/>
                  </a:lnTo>
                  <a:lnTo>
                    <a:pt x="57" y="522"/>
                  </a:lnTo>
                  <a:lnTo>
                    <a:pt x="56" y="522"/>
                  </a:lnTo>
                  <a:lnTo>
                    <a:pt x="55" y="524"/>
                  </a:lnTo>
                  <a:lnTo>
                    <a:pt x="55" y="526"/>
                  </a:lnTo>
                  <a:lnTo>
                    <a:pt x="57" y="526"/>
                  </a:lnTo>
                  <a:lnTo>
                    <a:pt x="59" y="528"/>
                  </a:lnTo>
                  <a:lnTo>
                    <a:pt x="61" y="529"/>
                  </a:lnTo>
                  <a:lnTo>
                    <a:pt x="62" y="530"/>
                  </a:lnTo>
                  <a:lnTo>
                    <a:pt x="61" y="531"/>
                  </a:lnTo>
                  <a:lnTo>
                    <a:pt x="59" y="534"/>
                  </a:lnTo>
                  <a:lnTo>
                    <a:pt x="61" y="534"/>
                  </a:lnTo>
                  <a:lnTo>
                    <a:pt x="62" y="536"/>
                  </a:lnTo>
                  <a:lnTo>
                    <a:pt x="63" y="537"/>
                  </a:lnTo>
                  <a:lnTo>
                    <a:pt x="67" y="541"/>
                  </a:lnTo>
                  <a:lnTo>
                    <a:pt x="68" y="541"/>
                  </a:lnTo>
                  <a:lnTo>
                    <a:pt x="70" y="542"/>
                  </a:lnTo>
                  <a:lnTo>
                    <a:pt x="71" y="542"/>
                  </a:lnTo>
                  <a:lnTo>
                    <a:pt x="75" y="541"/>
                  </a:lnTo>
                  <a:lnTo>
                    <a:pt x="76" y="541"/>
                  </a:lnTo>
                  <a:lnTo>
                    <a:pt x="79" y="540"/>
                  </a:lnTo>
                  <a:lnTo>
                    <a:pt x="81" y="540"/>
                  </a:lnTo>
                  <a:lnTo>
                    <a:pt x="82" y="539"/>
                  </a:lnTo>
                  <a:lnTo>
                    <a:pt x="84" y="536"/>
                  </a:lnTo>
                  <a:lnTo>
                    <a:pt x="86" y="535"/>
                  </a:lnTo>
                  <a:lnTo>
                    <a:pt x="87" y="535"/>
                  </a:lnTo>
                  <a:lnTo>
                    <a:pt x="88" y="534"/>
                  </a:lnTo>
                  <a:lnTo>
                    <a:pt x="91" y="535"/>
                  </a:lnTo>
                  <a:lnTo>
                    <a:pt x="92" y="536"/>
                  </a:lnTo>
                  <a:lnTo>
                    <a:pt x="90" y="536"/>
                  </a:lnTo>
                  <a:lnTo>
                    <a:pt x="87" y="537"/>
                  </a:lnTo>
                  <a:lnTo>
                    <a:pt x="85" y="539"/>
                  </a:lnTo>
                  <a:lnTo>
                    <a:pt x="84" y="540"/>
                  </a:lnTo>
                  <a:lnTo>
                    <a:pt x="84" y="541"/>
                  </a:lnTo>
                  <a:lnTo>
                    <a:pt x="85" y="543"/>
                  </a:lnTo>
                  <a:lnTo>
                    <a:pt x="86" y="545"/>
                  </a:lnTo>
                  <a:lnTo>
                    <a:pt x="81" y="545"/>
                  </a:lnTo>
                  <a:lnTo>
                    <a:pt x="80" y="545"/>
                  </a:lnTo>
                  <a:lnTo>
                    <a:pt x="79" y="546"/>
                  </a:lnTo>
                  <a:lnTo>
                    <a:pt x="78" y="546"/>
                  </a:lnTo>
                  <a:lnTo>
                    <a:pt x="76" y="548"/>
                  </a:lnTo>
                  <a:lnTo>
                    <a:pt x="78" y="549"/>
                  </a:lnTo>
                  <a:lnTo>
                    <a:pt x="80" y="549"/>
                  </a:lnTo>
                  <a:lnTo>
                    <a:pt x="81" y="551"/>
                  </a:lnTo>
                  <a:lnTo>
                    <a:pt x="79" y="551"/>
                  </a:lnTo>
                  <a:lnTo>
                    <a:pt x="76" y="552"/>
                  </a:lnTo>
                  <a:lnTo>
                    <a:pt x="75" y="551"/>
                  </a:lnTo>
                  <a:lnTo>
                    <a:pt x="74" y="548"/>
                  </a:lnTo>
                  <a:lnTo>
                    <a:pt x="74" y="547"/>
                  </a:lnTo>
                  <a:lnTo>
                    <a:pt x="73" y="548"/>
                  </a:lnTo>
                  <a:lnTo>
                    <a:pt x="71" y="551"/>
                  </a:lnTo>
                  <a:lnTo>
                    <a:pt x="69" y="553"/>
                  </a:lnTo>
                  <a:lnTo>
                    <a:pt x="67" y="554"/>
                  </a:lnTo>
                  <a:lnTo>
                    <a:pt x="68" y="555"/>
                  </a:lnTo>
                  <a:lnTo>
                    <a:pt x="69" y="558"/>
                  </a:lnTo>
                  <a:lnTo>
                    <a:pt x="70" y="557"/>
                  </a:lnTo>
                  <a:lnTo>
                    <a:pt x="73" y="558"/>
                  </a:lnTo>
                  <a:lnTo>
                    <a:pt x="74" y="557"/>
                  </a:lnTo>
                  <a:lnTo>
                    <a:pt x="75" y="555"/>
                  </a:lnTo>
                  <a:lnTo>
                    <a:pt x="75" y="557"/>
                  </a:lnTo>
                  <a:lnTo>
                    <a:pt x="78" y="558"/>
                  </a:lnTo>
                  <a:lnTo>
                    <a:pt x="79" y="558"/>
                  </a:lnTo>
                  <a:lnTo>
                    <a:pt x="81" y="557"/>
                  </a:lnTo>
                  <a:lnTo>
                    <a:pt x="82" y="555"/>
                  </a:lnTo>
                  <a:lnTo>
                    <a:pt x="84" y="554"/>
                  </a:lnTo>
                  <a:lnTo>
                    <a:pt x="85" y="553"/>
                  </a:lnTo>
                  <a:lnTo>
                    <a:pt x="87" y="553"/>
                  </a:lnTo>
                  <a:lnTo>
                    <a:pt x="88" y="552"/>
                  </a:lnTo>
                  <a:lnTo>
                    <a:pt x="90" y="551"/>
                  </a:lnTo>
                  <a:lnTo>
                    <a:pt x="90" y="552"/>
                  </a:lnTo>
                  <a:lnTo>
                    <a:pt x="91" y="557"/>
                  </a:lnTo>
                  <a:lnTo>
                    <a:pt x="91" y="559"/>
                  </a:lnTo>
                  <a:lnTo>
                    <a:pt x="94" y="560"/>
                  </a:lnTo>
                  <a:lnTo>
                    <a:pt x="96" y="559"/>
                  </a:lnTo>
                  <a:lnTo>
                    <a:pt x="99" y="558"/>
                  </a:lnTo>
                  <a:lnTo>
                    <a:pt x="100" y="557"/>
                  </a:lnTo>
                  <a:lnTo>
                    <a:pt x="100" y="554"/>
                  </a:lnTo>
                  <a:lnTo>
                    <a:pt x="102" y="554"/>
                  </a:lnTo>
                  <a:lnTo>
                    <a:pt x="100" y="554"/>
                  </a:lnTo>
                  <a:lnTo>
                    <a:pt x="98" y="557"/>
                  </a:lnTo>
                  <a:lnTo>
                    <a:pt x="96" y="557"/>
                  </a:lnTo>
                  <a:lnTo>
                    <a:pt x="97" y="554"/>
                  </a:lnTo>
                  <a:lnTo>
                    <a:pt x="98" y="553"/>
                  </a:lnTo>
                  <a:lnTo>
                    <a:pt x="99" y="553"/>
                  </a:lnTo>
                  <a:lnTo>
                    <a:pt x="102" y="552"/>
                  </a:lnTo>
                  <a:lnTo>
                    <a:pt x="103" y="551"/>
                  </a:lnTo>
                  <a:lnTo>
                    <a:pt x="103" y="549"/>
                  </a:lnTo>
                  <a:lnTo>
                    <a:pt x="99" y="548"/>
                  </a:lnTo>
                  <a:lnTo>
                    <a:pt x="98" y="548"/>
                  </a:lnTo>
                  <a:lnTo>
                    <a:pt x="99" y="547"/>
                  </a:lnTo>
                  <a:lnTo>
                    <a:pt x="103" y="548"/>
                  </a:lnTo>
                  <a:lnTo>
                    <a:pt x="104" y="547"/>
                  </a:lnTo>
                  <a:lnTo>
                    <a:pt x="105" y="546"/>
                  </a:lnTo>
                  <a:lnTo>
                    <a:pt x="105" y="543"/>
                  </a:lnTo>
                  <a:lnTo>
                    <a:pt x="105" y="542"/>
                  </a:lnTo>
                  <a:lnTo>
                    <a:pt x="104" y="541"/>
                  </a:lnTo>
                  <a:lnTo>
                    <a:pt x="103" y="540"/>
                  </a:lnTo>
                  <a:lnTo>
                    <a:pt x="104" y="539"/>
                  </a:lnTo>
                  <a:lnTo>
                    <a:pt x="103" y="536"/>
                  </a:lnTo>
                  <a:lnTo>
                    <a:pt x="102" y="535"/>
                  </a:lnTo>
                  <a:lnTo>
                    <a:pt x="104" y="534"/>
                  </a:lnTo>
                  <a:lnTo>
                    <a:pt x="105" y="533"/>
                  </a:lnTo>
                  <a:lnTo>
                    <a:pt x="105" y="534"/>
                  </a:lnTo>
                  <a:lnTo>
                    <a:pt x="105" y="535"/>
                  </a:lnTo>
                  <a:lnTo>
                    <a:pt x="105" y="536"/>
                  </a:lnTo>
                  <a:lnTo>
                    <a:pt x="106" y="537"/>
                  </a:lnTo>
                  <a:lnTo>
                    <a:pt x="108" y="537"/>
                  </a:lnTo>
                  <a:lnTo>
                    <a:pt x="109" y="539"/>
                  </a:lnTo>
                  <a:lnTo>
                    <a:pt x="110" y="540"/>
                  </a:lnTo>
                  <a:lnTo>
                    <a:pt x="112" y="539"/>
                  </a:lnTo>
                  <a:lnTo>
                    <a:pt x="112" y="540"/>
                  </a:lnTo>
                  <a:lnTo>
                    <a:pt x="114" y="542"/>
                  </a:lnTo>
                  <a:lnTo>
                    <a:pt x="116" y="542"/>
                  </a:lnTo>
                  <a:lnTo>
                    <a:pt x="117" y="541"/>
                  </a:lnTo>
                  <a:lnTo>
                    <a:pt x="118" y="540"/>
                  </a:lnTo>
                  <a:lnTo>
                    <a:pt x="120" y="539"/>
                  </a:lnTo>
                  <a:lnTo>
                    <a:pt x="121" y="535"/>
                  </a:lnTo>
                  <a:lnTo>
                    <a:pt x="121" y="534"/>
                  </a:lnTo>
                  <a:lnTo>
                    <a:pt x="120" y="533"/>
                  </a:lnTo>
                  <a:lnTo>
                    <a:pt x="121" y="531"/>
                  </a:lnTo>
                  <a:lnTo>
                    <a:pt x="122" y="528"/>
                  </a:lnTo>
                  <a:lnTo>
                    <a:pt x="123" y="529"/>
                  </a:lnTo>
                  <a:lnTo>
                    <a:pt x="122" y="531"/>
                  </a:lnTo>
                  <a:lnTo>
                    <a:pt x="122" y="533"/>
                  </a:lnTo>
                  <a:lnTo>
                    <a:pt x="122" y="534"/>
                  </a:lnTo>
                  <a:lnTo>
                    <a:pt x="123" y="535"/>
                  </a:lnTo>
                  <a:lnTo>
                    <a:pt x="124" y="536"/>
                  </a:lnTo>
                  <a:lnTo>
                    <a:pt x="124" y="540"/>
                  </a:lnTo>
                  <a:lnTo>
                    <a:pt x="126" y="542"/>
                  </a:lnTo>
                  <a:lnTo>
                    <a:pt x="127" y="542"/>
                  </a:lnTo>
                  <a:lnTo>
                    <a:pt x="128" y="537"/>
                  </a:lnTo>
                  <a:lnTo>
                    <a:pt x="129" y="536"/>
                  </a:lnTo>
                  <a:lnTo>
                    <a:pt x="129" y="539"/>
                  </a:lnTo>
                  <a:lnTo>
                    <a:pt x="129" y="542"/>
                  </a:lnTo>
                  <a:lnTo>
                    <a:pt x="129" y="546"/>
                  </a:lnTo>
                  <a:lnTo>
                    <a:pt x="130" y="546"/>
                  </a:lnTo>
                  <a:lnTo>
                    <a:pt x="133" y="545"/>
                  </a:lnTo>
                  <a:lnTo>
                    <a:pt x="134" y="542"/>
                  </a:lnTo>
                  <a:lnTo>
                    <a:pt x="135" y="541"/>
                  </a:lnTo>
                  <a:lnTo>
                    <a:pt x="137" y="540"/>
                  </a:lnTo>
                  <a:lnTo>
                    <a:pt x="138" y="541"/>
                  </a:lnTo>
                  <a:lnTo>
                    <a:pt x="138" y="542"/>
                  </a:lnTo>
                  <a:lnTo>
                    <a:pt x="140" y="542"/>
                  </a:lnTo>
                  <a:lnTo>
                    <a:pt x="144" y="542"/>
                  </a:lnTo>
                  <a:lnTo>
                    <a:pt x="144" y="541"/>
                  </a:lnTo>
                  <a:lnTo>
                    <a:pt x="145" y="540"/>
                  </a:lnTo>
                  <a:lnTo>
                    <a:pt x="145" y="539"/>
                  </a:lnTo>
                  <a:lnTo>
                    <a:pt x="146" y="539"/>
                  </a:lnTo>
                  <a:lnTo>
                    <a:pt x="149" y="539"/>
                  </a:lnTo>
                  <a:lnTo>
                    <a:pt x="151" y="540"/>
                  </a:lnTo>
                  <a:lnTo>
                    <a:pt x="152" y="539"/>
                  </a:lnTo>
                  <a:lnTo>
                    <a:pt x="152" y="537"/>
                  </a:lnTo>
                  <a:lnTo>
                    <a:pt x="155" y="539"/>
                  </a:lnTo>
                  <a:lnTo>
                    <a:pt x="156" y="539"/>
                  </a:lnTo>
                  <a:lnTo>
                    <a:pt x="157" y="537"/>
                  </a:lnTo>
                  <a:lnTo>
                    <a:pt x="157" y="536"/>
                  </a:lnTo>
                  <a:lnTo>
                    <a:pt x="157" y="535"/>
                  </a:lnTo>
                  <a:lnTo>
                    <a:pt x="157" y="534"/>
                  </a:lnTo>
                  <a:lnTo>
                    <a:pt x="159" y="534"/>
                  </a:lnTo>
                  <a:lnTo>
                    <a:pt x="159" y="536"/>
                  </a:lnTo>
                  <a:lnTo>
                    <a:pt x="162" y="536"/>
                  </a:lnTo>
                  <a:lnTo>
                    <a:pt x="163" y="537"/>
                  </a:lnTo>
                  <a:lnTo>
                    <a:pt x="164" y="539"/>
                  </a:lnTo>
                  <a:lnTo>
                    <a:pt x="164" y="541"/>
                  </a:lnTo>
                  <a:lnTo>
                    <a:pt x="165" y="543"/>
                  </a:lnTo>
                  <a:lnTo>
                    <a:pt x="164" y="546"/>
                  </a:lnTo>
                  <a:lnTo>
                    <a:pt x="163" y="547"/>
                  </a:lnTo>
                  <a:lnTo>
                    <a:pt x="162" y="546"/>
                  </a:lnTo>
                  <a:lnTo>
                    <a:pt x="161" y="545"/>
                  </a:lnTo>
                  <a:lnTo>
                    <a:pt x="159" y="543"/>
                  </a:lnTo>
                  <a:lnTo>
                    <a:pt x="157" y="543"/>
                  </a:lnTo>
                  <a:lnTo>
                    <a:pt x="156" y="545"/>
                  </a:lnTo>
                  <a:lnTo>
                    <a:pt x="157" y="546"/>
                  </a:lnTo>
                  <a:lnTo>
                    <a:pt x="157" y="548"/>
                  </a:lnTo>
                  <a:lnTo>
                    <a:pt x="158" y="549"/>
                  </a:lnTo>
                  <a:lnTo>
                    <a:pt x="157" y="549"/>
                  </a:lnTo>
                  <a:lnTo>
                    <a:pt x="156" y="548"/>
                  </a:lnTo>
                  <a:lnTo>
                    <a:pt x="156" y="547"/>
                  </a:lnTo>
                  <a:lnTo>
                    <a:pt x="155" y="546"/>
                  </a:lnTo>
                  <a:lnTo>
                    <a:pt x="153" y="546"/>
                  </a:lnTo>
                  <a:lnTo>
                    <a:pt x="152" y="546"/>
                  </a:lnTo>
                  <a:lnTo>
                    <a:pt x="152" y="547"/>
                  </a:lnTo>
                  <a:lnTo>
                    <a:pt x="152" y="548"/>
                  </a:lnTo>
                  <a:lnTo>
                    <a:pt x="152" y="549"/>
                  </a:lnTo>
                  <a:lnTo>
                    <a:pt x="152" y="551"/>
                  </a:lnTo>
                  <a:lnTo>
                    <a:pt x="152" y="553"/>
                  </a:lnTo>
                  <a:lnTo>
                    <a:pt x="151" y="553"/>
                  </a:lnTo>
                  <a:lnTo>
                    <a:pt x="150" y="552"/>
                  </a:lnTo>
                  <a:lnTo>
                    <a:pt x="149" y="551"/>
                  </a:lnTo>
                  <a:lnTo>
                    <a:pt x="149" y="553"/>
                  </a:lnTo>
                  <a:lnTo>
                    <a:pt x="150" y="555"/>
                  </a:lnTo>
                  <a:lnTo>
                    <a:pt x="153" y="557"/>
                  </a:lnTo>
                  <a:lnTo>
                    <a:pt x="155" y="557"/>
                  </a:lnTo>
                  <a:lnTo>
                    <a:pt x="157" y="554"/>
                  </a:lnTo>
                  <a:lnTo>
                    <a:pt x="158" y="553"/>
                  </a:lnTo>
                  <a:lnTo>
                    <a:pt x="159" y="553"/>
                  </a:lnTo>
                  <a:lnTo>
                    <a:pt x="162" y="552"/>
                  </a:lnTo>
                  <a:lnTo>
                    <a:pt x="162" y="553"/>
                  </a:lnTo>
                  <a:lnTo>
                    <a:pt x="165" y="553"/>
                  </a:lnTo>
                  <a:lnTo>
                    <a:pt x="168" y="553"/>
                  </a:lnTo>
                  <a:lnTo>
                    <a:pt x="169" y="552"/>
                  </a:lnTo>
                  <a:lnTo>
                    <a:pt x="170" y="551"/>
                  </a:lnTo>
                  <a:lnTo>
                    <a:pt x="171" y="549"/>
                  </a:lnTo>
                  <a:lnTo>
                    <a:pt x="170" y="548"/>
                  </a:lnTo>
                  <a:lnTo>
                    <a:pt x="170" y="547"/>
                  </a:lnTo>
                  <a:lnTo>
                    <a:pt x="171" y="545"/>
                  </a:lnTo>
                  <a:lnTo>
                    <a:pt x="174" y="543"/>
                  </a:lnTo>
                  <a:lnTo>
                    <a:pt x="177" y="543"/>
                  </a:lnTo>
                  <a:lnTo>
                    <a:pt x="180" y="543"/>
                  </a:lnTo>
                  <a:lnTo>
                    <a:pt x="182" y="545"/>
                  </a:lnTo>
                  <a:lnTo>
                    <a:pt x="183" y="545"/>
                  </a:lnTo>
                  <a:lnTo>
                    <a:pt x="186" y="545"/>
                  </a:lnTo>
                  <a:lnTo>
                    <a:pt x="185" y="547"/>
                  </a:lnTo>
                  <a:lnTo>
                    <a:pt x="183" y="547"/>
                  </a:lnTo>
                  <a:lnTo>
                    <a:pt x="181" y="548"/>
                  </a:lnTo>
                  <a:lnTo>
                    <a:pt x="180" y="547"/>
                  </a:lnTo>
                  <a:lnTo>
                    <a:pt x="179" y="548"/>
                  </a:lnTo>
                  <a:lnTo>
                    <a:pt x="177" y="549"/>
                  </a:lnTo>
                  <a:lnTo>
                    <a:pt x="177" y="551"/>
                  </a:lnTo>
                  <a:lnTo>
                    <a:pt x="176" y="551"/>
                  </a:lnTo>
                  <a:lnTo>
                    <a:pt x="174" y="551"/>
                  </a:lnTo>
                  <a:lnTo>
                    <a:pt x="174" y="552"/>
                  </a:lnTo>
                  <a:lnTo>
                    <a:pt x="175" y="555"/>
                  </a:lnTo>
                  <a:lnTo>
                    <a:pt x="177" y="557"/>
                  </a:lnTo>
                  <a:lnTo>
                    <a:pt x="179" y="557"/>
                  </a:lnTo>
                  <a:lnTo>
                    <a:pt x="181" y="557"/>
                  </a:lnTo>
                  <a:lnTo>
                    <a:pt x="182" y="554"/>
                  </a:lnTo>
                  <a:lnTo>
                    <a:pt x="183" y="553"/>
                  </a:lnTo>
                  <a:lnTo>
                    <a:pt x="183" y="552"/>
                  </a:lnTo>
                  <a:lnTo>
                    <a:pt x="183" y="551"/>
                  </a:lnTo>
                  <a:lnTo>
                    <a:pt x="186" y="549"/>
                  </a:lnTo>
                  <a:lnTo>
                    <a:pt x="187" y="548"/>
                  </a:lnTo>
                  <a:lnTo>
                    <a:pt x="189" y="546"/>
                  </a:lnTo>
                  <a:lnTo>
                    <a:pt x="191" y="546"/>
                  </a:lnTo>
                  <a:lnTo>
                    <a:pt x="193" y="546"/>
                  </a:lnTo>
                  <a:lnTo>
                    <a:pt x="193" y="547"/>
                  </a:lnTo>
                  <a:lnTo>
                    <a:pt x="189" y="549"/>
                  </a:lnTo>
                  <a:lnTo>
                    <a:pt x="189" y="551"/>
                  </a:lnTo>
                  <a:lnTo>
                    <a:pt x="189" y="552"/>
                  </a:lnTo>
                  <a:lnTo>
                    <a:pt x="191" y="553"/>
                  </a:lnTo>
                  <a:lnTo>
                    <a:pt x="193" y="551"/>
                  </a:lnTo>
                  <a:lnTo>
                    <a:pt x="196" y="549"/>
                  </a:lnTo>
                  <a:lnTo>
                    <a:pt x="193" y="553"/>
                  </a:lnTo>
                  <a:lnTo>
                    <a:pt x="192" y="553"/>
                  </a:lnTo>
                  <a:lnTo>
                    <a:pt x="189" y="555"/>
                  </a:lnTo>
                  <a:lnTo>
                    <a:pt x="188" y="557"/>
                  </a:lnTo>
                  <a:lnTo>
                    <a:pt x="186" y="558"/>
                  </a:lnTo>
                  <a:lnTo>
                    <a:pt x="185" y="558"/>
                  </a:lnTo>
                  <a:lnTo>
                    <a:pt x="182" y="558"/>
                  </a:lnTo>
                  <a:lnTo>
                    <a:pt x="182" y="559"/>
                  </a:lnTo>
                  <a:lnTo>
                    <a:pt x="182" y="560"/>
                  </a:lnTo>
                  <a:lnTo>
                    <a:pt x="181" y="561"/>
                  </a:lnTo>
                  <a:lnTo>
                    <a:pt x="180" y="563"/>
                  </a:lnTo>
                  <a:lnTo>
                    <a:pt x="177" y="564"/>
                  </a:lnTo>
                  <a:lnTo>
                    <a:pt x="176" y="564"/>
                  </a:lnTo>
                  <a:lnTo>
                    <a:pt x="175" y="563"/>
                  </a:lnTo>
                  <a:lnTo>
                    <a:pt x="174" y="563"/>
                  </a:lnTo>
                  <a:lnTo>
                    <a:pt x="173" y="561"/>
                  </a:lnTo>
                  <a:lnTo>
                    <a:pt x="170" y="560"/>
                  </a:lnTo>
                  <a:lnTo>
                    <a:pt x="170" y="559"/>
                  </a:lnTo>
                  <a:lnTo>
                    <a:pt x="168" y="559"/>
                  </a:lnTo>
                  <a:lnTo>
                    <a:pt x="168" y="561"/>
                  </a:lnTo>
                  <a:lnTo>
                    <a:pt x="169" y="563"/>
                  </a:lnTo>
                  <a:lnTo>
                    <a:pt x="170" y="564"/>
                  </a:lnTo>
                  <a:lnTo>
                    <a:pt x="170" y="565"/>
                  </a:lnTo>
                  <a:lnTo>
                    <a:pt x="173" y="566"/>
                  </a:lnTo>
                  <a:lnTo>
                    <a:pt x="174" y="567"/>
                  </a:lnTo>
                  <a:lnTo>
                    <a:pt x="173" y="570"/>
                  </a:lnTo>
                  <a:lnTo>
                    <a:pt x="171" y="569"/>
                  </a:lnTo>
                  <a:lnTo>
                    <a:pt x="171" y="566"/>
                  </a:lnTo>
                  <a:lnTo>
                    <a:pt x="170" y="565"/>
                  </a:lnTo>
                  <a:lnTo>
                    <a:pt x="165" y="565"/>
                  </a:lnTo>
                  <a:lnTo>
                    <a:pt x="164" y="566"/>
                  </a:lnTo>
                  <a:lnTo>
                    <a:pt x="162" y="569"/>
                  </a:lnTo>
                  <a:lnTo>
                    <a:pt x="161" y="569"/>
                  </a:lnTo>
                  <a:lnTo>
                    <a:pt x="159" y="567"/>
                  </a:lnTo>
                  <a:lnTo>
                    <a:pt x="159" y="566"/>
                  </a:lnTo>
                  <a:lnTo>
                    <a:pt x="158" y="566"/>
                  </a:lnTo>
                  <a:lnTo>
                    <a:pt x="158" y="567"/>
                  </a:lnTo>
                  <a:lnTo>
                    <a:pt x="157" y="567"/>
                  </a:lnTo>
                  <a:lnTo>
                    <a:pt x="156" y="566"/>
                  </a:lnTo>
                  <a:lnTo>
                    <a:pt x="155" y="567"/>
                  </a:lnTo>
                  <a:lnTo>
                    <a:pt x="155" y="570"/>
                  </a:lnTo>
                  <a:lnTo>
                    <a:pt x="155" y="572"/>
                  </a:lnTo>
                  <a:lnTo>
                    <a:pt x="152" y="575"/>
                  </a:lnTo>
                  <a:lnTo>
                    <a:pt x="151" y="576"/>
                  </a:lnTo>
                  <a:lnTo>
                    <a:pt x="151" y="573"/>
                  </a:lnTo>
                  <a:lnTo>
                    <a:pt x="152" y="572"/>
                  </a:lnTo>
                  <a:lnTo>
                    <a:pt x="151" y="571"/>
                  </a:lnTo>
                  <a:lnTo>
                    <a:pt x="149" y="571"/>
                  </a:lnTo>
                  <a:lnTo>
                    <a:pt x="147" y="572"/>
                  </a:lnTo>
                  <a:lnTo>
                    <a:pt x="146" y="570"/>
                  </a:lnTo>
                  <a:lnTo>
                    <a:pt x="145" y="570"/>
                  </a:lnTo>
                  <a:lnTo>
                    <a:pt x="144" y="569"/>
                  </a:lnTo>
                  <a:lnTo>
                    <a:pt x="141" y="570"/>
                  </a:lnTo>
                  <a:lnTo>
                    <a:pt x="140" y="571"/>
                  </a:lnTo>
                  <a:lnTo>
                    <a:pt x="138" y="572"/>
                  </a:lnTo>
                  <a:lnTo>
                    <a:pt x="134" y="572"/>
                  </a:lnTo>
                  <a:lnTo>
                    <a:pt x="132" y="573"/>
                  </a:lnTo>
                  <a:lnTo>
                    <a:pt x="130" y="572"/>
                  </a:lnTo>
                  <a:lnTo>
                    <a:pt x="129" y="571"/>
                  </a:lnTo>
                  <a:lnTo>
                    <a:pt x="128" y="572"/>
                  </a:lnTo>
                  <a:lnTo>
                    <a:pt x="127" y="571"/>
                  </a:lnTo>
                  <a:lnTo>
                    <a:pt x="126" y="572"/>
                  </a:lnTo>
                  <a:lnTo>
                    <a:pt x="124" y="575"/>
                  </a:lnTo>
                  <a:lnTo>
                    <a:pt x="123" y="575"/>
                  </a:lnTo>
                  <a:lnTo>
                    <a:pt x="124" y="578"/>
                  </a:lnTo>
                  <a:lnTo>
                    <a:pt x="127" y="578"/>
                  </a:lnTo>
                  <a:lnTo>
                    <a:pt x="128" y="578"/>
                  </a:lnTo>
                  <a:lnTo>
                    <a:pt x="128" y="579"/>
                  </a:lnTo>
                  <a:lnTo>
                    <a:pt x="130" y="579"/>
                  </a:lnTo>
                  <a:lnTo>
                    <a:pt x="130" y="578"/>
                  </a:lnTo>
                  <a:lnTo>
                    <a:pt x="132" y="581"/>
                  </a:lnTo>
                  <a:lnTo>
                    <a:pt x="133" y="582"/>
                  </a:lnTo>
                  <a:lnTo>
                    <a:pt x="133" y="583"/>
                  </a:lnTo>
                  <a:lnTo>
                    <a:pt x="132" y="584"/>
                  </a:lnTo>
                  <a:lnTo>
                    <a:pt x="134" y="585"/>
                  </a:lnTo>
                  <a:lnTo>
                    <a:pt x="137" y="585"/>
                  </a:lnTo>
                  <a:lnTo>
                    <a:pt x="137" y="587"/>
                  </a:lnTo>
                  <a:lnTo>
                    <a:pt x="138" y="585"/>
                  </a:lnTo>
                  <a:lnTo>
                    <a:pt x="138" y="584"/>
                  </a:lnTo>
                  <a:lnTo>
                    <a:pt x="137" y="583"/>
                  </a:lnTo>
                  <a:lnTo>
                    <a:pt x="137" y="581"/>
                  </a:lnTo>
                  <a:lnTo>
                    <a:pt x="138" y="579"/>
                  </a:lnTo>
                  <a:lnTo>
                    <a:pt x="139" y="581"/>
                  </a:lnTo>
                  <a:lnTo>
                    <a:pt x="140" y="583"/>
                  </a:lnTo>
                  <a:lnTo>
                    <a:pt x="141" y="583"/>
                  </a:lnTo>
                  <a:lnTo>
                    <a:pt x="144" y="583"/>
                  </a:lnTo>
                  <a:lnTo>
                    <a:pt x="146" y="582"/>
                  </a:lnTo>
                  <a:lnTo>
                    <a:pt x="149" y="582"/>
                  </a:lnTo>
                  <a:lnTo>
                    <a:pt x="146" y="584"/>
                  </a:lnTo>
                  <a:lnTo>
                    <a:pt x="145" y="585"/>
                  </a:lnTo>
                  <a:lnTo>
                    <a:pt x="143" y="585"/>
                  </a:lnTo>
                  <a:lnTo>
                    <a:pt x="141" y="587"/>
                  </a:lnTo>
                  <a:lnTo>
                    <a:pt x="141" y="588"/>
                  </a:lnTo>
                  <a:lnTo>
                    <a:pt x="144" y="589"/>
                  </a:lnTo>
                  <a:lnTo>
                    <a:pt x="145" y="589"/>
                  </a:lnTo>
                  <a:lnTo>
                    <a:pt x="146" y="589"/>
                  </a:lnTo>
                  <a:lnTo>
                    <a:pt x="149" y="589"/>
                  </a:lnTo>
                  <a:lnTo>
                    <a:pt x="150" y="587"/>
                  </a:lnTo>
                  <a:lnTo>
                    <a:pt x="152" y="585"/>
                  </a:lnTo>
                  <a:lnTo>
                    <a:pt x="153" y="584"/>
                  </a:lnTo>
                  <a:lnTo>
                    <a:pt x="155" y="584"/>
                  </a:lnTo>
                  <a:lnTo>
                    <a:pt x="157" y="584"/>
                  </a:lnTo>
                  <a:lnTo>
                    <a:pt x="156" y="585"/>
                  </a:lnTo>
                  <a:lnTo>
                    <a:pt x="156" y="588"/>
                  </a:lnTo>
                  <a:lnTo>
                    <a:pt x="153" y="589"/>
                  </a:lnTo>
                  <a:lnTo>
                    <a:pt x="152" y="591"/>
                  </a:lnTo>
                  <a:lnTo>
                    <a:pt x="151" y="591"/>
                  </a:lnTo>
                  <a:lnTo>
                    <a:pt x="149" y="593"/>
                  </a:lnTo>
                  <a:lnTo>
                    <a:pt x="149" y="595"/>
                  </a:lnTo>
                  <a:lnTo>
                    <a:pt x="150" y="596"/>
                  </a:lnTo>
                  <a:lnTo>
                    <a:pt x="149" y="600"/>
                  </a:lnTo>
                  <a:lnTo>
                    <a:pt x="147" y="599"/>
                  </a:lnTo>
                  <a:lnTo>
                    <a:pt x="146" y="597"/>
                  </a:lnTo>
                  <a:lnTo>
                    <a:pt x="144" y="597"/>
                  </a:lnTo>
                  <a:lnTo>
                    <a:pt x="144" y="599"/>
                  </a:lnTo>
                  <a:lnTo>
                    <a:pt x="143" y="601"/>
                  </a:lnTo>
                  <a:lnTo>
                    <a:pt x="145" y="603"/>
                  </a:lnTo>
                  <a:lnTo>
                    <a:pt x="143" y="603"/>
                  </a:lnTo>
                  <a:lnTo>
                    <a:pt x="140" y="603"/>
                  </a:lnTo>
                  <a:lnTo>
                    <a:pt x="140" y="606"/>
                  </a:lnTo>
                  <a:lnTo>
                    <a:pt x="139" y="607"/>
                  </a:lnTo>
                  <a:lnTo>
                    <a:pt x="138" y="608"/>
                  </a:lnTo>
                  <a:lnTo>
                    <a:pt x="137" y="608"/>
                  </a:lnTo>
                  <a:lnTo>
                    <a:pt x="134" y="607"/>
                  </a:lnTo>
                  <a:lnTo>
                    <a:pt x="134" y="608"/>
                  </a:lnTo>
                  <a:lnTo>
                    <a:pt x="134" y="609"/>
                  </a:lnTo>
                  <a:lnTo>
                    <a:pt x="133" y="612"/>
                  </a:lnTo>
                  <a:lnTo>
                    <a:pt x="135" y="615"/>
                  </a:lnTo>
                  <a:lnTo>
                    <a:pt x="138" y="617"/>
                  </a:lnTo>
                  <a:lnTo>
                    <a:pt x="138" y="618"/>
                  </a:lnTo>
                  <a:lnTo>
                    <a:pt x="134" y="618"/>
                  </a:lnTo>
                  <a:lnTo>
                    <a:pt x="133" y="615"/>
                  </a:lnTo>
                  <a:lnTo>
                    <a:pt x="132" y="615"/>
                  </a:lnTo>
                  <a:lnTo>
                    <a:pt x="130" y="615"/>
                  </a:lnTo>
                  <a:lnTo>
                    <a:pt x="129" y="615"/>
                  </a:lnTo>
                  <a:lnTo>
                    <a:pt x="127" y="614"/>
                  </a:lnTo>
                  <a:lnTo>
                    <a:pt x="126" y="614"/>
                  </a:lnTo>
                  <a:lnTo>
                    <a:pt x="126" y="617"/>
                  </a:lnTo>
                  <a:lnTo>
                    <a:pt x="124" y="618"/>
                  </a:lnTo>
                  <a:lnTo>
                    <a:pt x="124" y="620"/>
                  </a:lnTo>
                  <a:lnTo>
                    <a:pt x="127" y="620"/>
                  </a:lnTo>
                  <a:lnTo>
                    <a:pt x="128" y="620"/>
                  </a:lnTo>
                  <a:lnTo>
                    <a:pt x="129" y="621"/>
                  </a:lnTo>
                  <a:lnTo>
                    <a:pt x="129" y="623"/>
                  </a:lnTo>
                  <a:lnTo>
                    <a:pt x="132" y="624"/>
                  </a:lnTo>
                  <a:lnTo>
                    <a:pt x="133" y="624"/>
                  </a:lnTo>
                  <a:lnTo>
                    <a:pt x="134" y="623"/>
                  </a:lnTo>
                  <a:lnTo>
                    <a:pt x="135" y="623"/>
                  </a:lnTo>
                  <a:lnTo>
                    <a:pt x="139" y="623"/>
                  </a:lnTo>
                  <a:lnTo>
                    <a:pt x="140" y="623"/>
                  </a:lnTo>
                  <a:lnTo>
                    <a:pt x="143" y="623"/>
                  </a:lnTo>
                  <a:lnTo>
                    <a:pt x="146" y="623"/>
                  </a:lnTo>
                  <a:lnTo>
                    <a:pt x="147" y="624"/>
                  </a:lnTo>
                  <a:lnTo>
                    <a:pt x="149" y="625"/>
                  </a:lnTo>
                  <a:lnTo>
                    <a:pt x="152" y="626"/>
                  </a:lnTo>
                  <a:lnTo>
                    <a:pt x="153" y="625"/>
                  </a:lnTo>
                  <a:lnTo>
                    <a:pt x="155" y="625"/>
                  </a:lnTo>
                  <a:lnTo>
                    <a:pt x="156" y="625"/>
                  </a:lnTo>
                  <a:lnTo>
                    <a:pt x="157" y="625"/>
                  </a:lnTo>
                  <a:lnTo>
                    <a:pt x="158" y="624"/>
                  </a:lnTo>
                  <a:lnTo>
                    <a:pt x="158" y="623"/>
                  </a:lnTo>
                  <a:lnTo>
                    <a:pt x="159" y="623"/>
                  </a:lnTo>
                  <a:lnTo>
                    <a:pt x="162" y="623"/>
                  </a:lnTo>
                  <a:lnTo>
                    <a:pt x="162" y="625"/>
                  </a:lnTo>
                  <a:lnTo>
                    <a:pt x="159" y="626"/>
                  </a:lnTo>
                  <a:lnTo>
                    <a:pt x="158" y="627"/>
                  </a:lnTo>
                  <a:lnTo>
                    <a:pt x="158" y="629"/>
                  </a:lnTo>
                  <a:lnTo>
                    <a:pt x="159" y="630"/>
                  </a:lnTo>
                  <a:lnTo>
                    <a:pt x="163" y="630"/>
                  </a:lnTo>
                  <a:lnTo>
                    <a:pt x="163" y="631"/>
                  </a:lnTo>
                  <a:lnTo>
                    <a:pt x="162" y="632"/>
                  </a:lnTo>
                  <a:lnTo>
                    <a:pt x="159" y="633"/>
                  </a:lnTo>
                  <a:lnTo>
                    <a:pt x="158" y="633"/>
                  </a:lnTo>
                  <a:lnTo>
                    <a:pt x="157" y="633"/>
                  </a:lnTo>
                  <a:lnTo>
                    <a:pt x="156" y="632"/>
                  </a:lnTo>
                  <a:lnTo>
                    <a:pt x="155" y="631"/>
                  </a:lnTo>
                  <a:lnTo>
                    <a:pt x="153" y="632"/>
                  </a:lnTo>
                  <a:lnTo>
                    <a:pt x="153" y="635"/>
                  </a:lnTo>
                  <a:lnTo>
                    <a:pt x="151" y="636"/>
                  </a:lnTo>
                  <a:lnTo>
                    <a:pt x="151" y="637"/>
                  </a:lnTo>
                  <a:lnTo>
                    <a:pt x="152" y="638"/>
                  </a:lnTo>
                  <a:lnTo>
                    <a:pt x="155" y="640"/>
                  </a:lnTo>
                  <a:lnTo>
                    <a:pt x="155" y="641"/>
                  </a:lnTo>
                  <a:lnTo>
                    <a:pt x="157" y="642"/>
                  </a:lnTo>
                  <a:lnTo>
                    <a:pt x="158" y="642"/>
                  </a:lnTo>
                  <a:lnTo>
                    <a:pt x="159" y="643"/>
                  </a:lnTo>
                  <a:lnTo>
                    <a:pt x="162" y="642"/>
                  </a:lnTo>
                  <a:lnTo>
                    <a:pt x="163" y="642"/>
                  </a:lnTo>
                  <a:lnTo>
                    <a:pt x="165" y="641"/>
                  </a:lnTo>
                  <a:lnTo>
                    <a:pt x="168" y="638"/>
                  </a:lnTo>
                  <a:lnTo>
                    <a:pt x="168" y="637"/>
                  </a:lnTo>
                  <a:lnTo>
                    <a:pt x="169" y="635"/>
                  </a:lnTo>
                  <a:lnTo>
                    <a:pt x="171" y="632"/>
                  </a:lnTo>
                  <a:lnTo>
                    <a:pt x="173" y="630"/>
                  </a:lnTo>
                  <a:lnTo>
                    <a:pt x="174" y="627"/>
                  </a:lnTo>
                  <a:lnTo>
                    <a:pt x="175" y="624"/>
                  </a:lnTo>
                  <a:lnTo>
                    <a:pt x="176" y="621"/>
                  </a:lnTo>
                  <a:lnTo>
                    <a:pt x="177" y="620"/>
                  </a:lnTo>
                  <a:lnTo>
                    <a:pt x="180" y="623"/>
                  </a:lnTo>
                  <a:lnTo>
                    <a:pt x="179" y="625"/>
                  </a:lnTo>
                  <a:lnTo>
                    <a:pt x="177" y="626"/>
                  </a:lnTo>
                  <a:lnTo>
                    <a:pt x="177" y="629"/>
                  </a:lnTo>
                  <a:lnTo>
                    <a:pt x="176" y="630"/>
                  </a:lnTo>
                  <a:lnTo>
                    <a:pt x="176" y="631"/>
                  </a:lnTo>
                  <a:lnTo>
                    <a:pt x="177" y="633"/>
                  </a:lnTo>
                  <a:lnTo>
                    <a:pt x="180" y="633"/>
                  </a:lnTo>
                  <a:lnTo>
                    <a:pt x="181" y="633"/>
                  </a:lnTo>
                  <a:lnTo>
                    <a:pt x="181" y="635"/>
                  </a:lnTo>
                  <a:lnTo>
                    <a:pt x="183" y="635"/>
                  </a:lnTo>
                  <a:lnTo>
                    <a:pt x="185" y="635"/>
                  </a:lnTo>
                  <a:lnTo>
                    <a:pt x="186" y="633"/>
                  </a:lnTo>
                  <a:lnTo>
                    <a:pt x="187" y="632"/>
                  </a:lnTo>
                  <a:lnTo>
                    <a:pt x="187" y="631"/>
                  </a:lnTo>
                  <a:lnTo>
                    <a:pt x="186" y="629"/>
                  </a:lnTo>
                  <a:lnTo>
                    <a:pt x="187" y="629"/>
                  </a:lnTo>
                  <a:lnTo>
                    <a:pt x="188" y="630"/>
                  </a:lnTo>
                  <a:lnTo>
                    <a:pt x="189" y="631"/>
                  </a:lnTo>
                  <a:lnTo>
                    <a:pt x="192" y="631"/>
                  </a:lnTo>
                  <a:lnTo>
                    <a:pt x="193" y="632"/>
                  </a:lnTo>
                  <a:lnTo>
                    <a:pt x="193" y="635"/>
                  </a:lnTo>
                  <a:lnTo>
                    <a:pt x="193" y="637"/>
                  </a:lnTo>
                  <a:lnTo>
                    <a:pt x="193" y="640"/>
                  </a:lnTo>
                  <a:lnTo>
                    <a:pt x="196" y="640"/>
                  </a:lnTo>
                  <a:lnTo>
                    <a:pt x="197" y="638"/>
                  </a:lnTo>
                  <a:lnTo>
                    <a:pt x="198" y="638"/>
                  </a:lnTo>
                  <a:lnTo>
                    <a:pt x="199" y="637"/>
                  </a:lnTo>
                  <a:lnTo>
                    <a:pt x="200" y="636"/>
                  </a:lnTo>
                  <a:lnTo>
                    <a:pt x="203" y="636"/>
                  </a:lnTo>
                  <a:lnTo>
                    <a:pt x="204" y="635"/>
                  </a:lnTo>
                  <a:lnTo>
                    <a:pt x="205" y="632"/>
                  </a:lnTo>
                  <a:lnTo>
                    <a:pt x="206" y="631"/>
                  </a:lnTo>
                  <a:lnTo>
                    <a:pt x="206" y="629"/>
                  </a:lnTo>
                  <a:lnTo>
                    <a:pt x="205" y="629"/>
                  </a:lnTo>
                  <a:lnTo>
                    <a:pt x="204" y="630"/>
                  </a:lnTo>
                  <a:lnTo>
                    <a:pt x="200" y="631"/>
                  </a:lnTo>
                  <a:lnTo>
                    <a:pt x="202" y="629"/>
                  </a:lnTo>
                  <a:lnTo>
                    <a:pt x="203" y="627"/>
                  </a:lnTo>
                  <a:lnTo>
                    <a:pt x="205" y="626"/>
                  </a:lnTo>
                  <a:lnTo>
                    <a:pt x="208" y="626"/>
                  </a:lnTo>
                  <a:lnTo>
                    <a:pt x="209" y="626"/>
                  </a:lnTo>
                  <a:lnTo>
                    <a:pt x="209" y="624"/>
                  </a:lnTo>
                  <a:lnTo>
                    <a:pt x="209" y="621"/>
                  </a:lnTo>
                  <a:lnTo>
                    <a:pt x="208" y="620"/>
                  </a:lnTo>
                  <a:lnTo>
                    <a:pt x="209" y="619"/>
                  </a:lnTo>
                  <a:lnTo>
                    <a:pt x="210" y="618"/>
                  </a:lnTo>
                  <a:lnTo>
                    <a:pt x="210" y="617"/>
                  </a:lnTo>
                  <a:lnTo>
                    <a:pt x="210" y="615"/>
                  </a:lnTo>
                  <a:lnTo>
                    <a:pt x="210" y="613"/>
                  </a:lnTo>
                  <a:lnTo>
                    <a:pt x="210" y="612"/>
                  </a:lnTo>
                  <a:lnTo>
                    <a:pt x="211" y="613"/>
                  </a:lnTo>
                  <a:lnTo>
                    <a:pt x="212" y="613"/>
                  </a:lnTo>
                  <a:lnTo>
                    <a:pt x="214" y="611"/>
                  </a:lnTo>
                  <a:lnTo>
                    <a:pt x="215" y="609"/>
                  </a:lnTo>
                  <a:lnTo>
                    <a:pt x="215" y="608"/>
                  </a:lnTo>
                  <a:lnTo>
                    <a:pt x="215" y="607"/>
                  </a:lnTo>
                  <a:lnTo>
                    <a:pt x="214" y="606"/>
                  </a:lnTo>
                  <a:lnTo>
                    <a:pt x="212" y="606"/>
                  </a:lnTo>
                  <a:lnTo>
                    <a:pt x="212" y="605"/>
                  </a:lnTo>
                  <a:lnTo>
                    <a:pt x="214" y="603"/>
                  </a:lnTo>
                  <a:lnTo>
                    <a:pt x="215" y="603"/>
                  </a:lnTo>
                  <a:lnTo>
                    <a:pt x="216" y="605"/>
                  </a:lnTo>
                  <a:lnTo>
                    <a:pt x="217" y="606"/>
                  </a:lnTo>
                  <a:lnTo>
                    <a:pt x="217" y="607"/>
                  </a:lnTo>
                  <a:lnTo>
                    <a:pt x="217" y="609"/>
                  </a:lnTo>
                  <a:lnTo>
                    <a:pt x="218" y="612"/>
                  </a:lnTo>
                  <a:lnTo>
                    <a:pt x="221" y="614"/>
                  </a:lnTo>
                  <a:lnTo>
                    <a:pt x="222" y="615"/>
                  </a:lnTo>
                  <a:lnTo>
                    <a:pt x="226" y="617"/>
                  </a:lnTo>
                  <a:lnTo>
                    <a:pt x="227" y="617"/>
                  </a:lnTo>
                  <a:lnTo>
                    <a:pt x="229" y="615"/>
                  </a:lnTo>
                  <a:lnTo>
                    <a:pt x="230" y="614"/>
                  </a:lnTo>
                  <a:lnTo>
                    <a:pt x="230" y="612"/>
                  </a:lnTo>
                  <a:lnTo>
                    <a:pt x="229" y="611"/>
                  </a:lnTo>
                  <a:lnTo>
                    <a:pt x="228" y="611"/>
                  </a:lnTo>
                  <a:lnTo>
                    <a:pt x="226" y="608"/>
                  </a:lnTo>
                  <a:lnTo>
                    <a:pt x="223" y="607"/>
                  </a:lnTo>
                  <a:lnTo>
                    <a:pt x="221" y="605"/>
                  </a:lnTo>
                  <a:lnTo>
                    <a:pt x="220" y="603"/>
                  </a:lnTo>
                  <a:lnTo>
                    <a:pt x="218" y="602"/>
                  </a:lnTo>
                  <a:lnTo>
                    <a:pt x="217" y="600"/>
                  </a:lnTo>
                  <a:lnTo>
                    <a:pt x="218" y="600"/>
                  </a:lnTo>
                  <a:lnTo>
                    <a:pt x="220" y="599"/>
                  </a:lnTo>
                  <a:lnTo>
                    <a:pt x="222" y="597"/>
                  </a:lnTo>
                  <a:lnTo>
                    <a:pt x="224" y="595"/>
                  </a:lnTo>
                  <a:lnTo>
                    <a:pt x="226" y="595"/>
                  </a:lnTo>
                  <a:lnTo>
                    <a:pt x="228" y="594"/>
                  </a:lnTo>
                  <a:lnTo>
                    <a:pt x="229" y="593"/>
                  </a:lnTo>
                  <a:lnTo>
                    <a:pt x="229" y="591"/>
                  </a:lnTo>
                  <a:lnTo>
                    <a:pt x="227" y="593"/>
                  </a:lnTo>
                  <a:lnTo>
                    <a:pt x="226" y="593"/>
                  </a:lnTo>
                  <a:lnTo>
                    <a:pt x="223" y="594"/>
                  </a:lnTo>
                  <a:lnTo>
                    <a:pt x="223" y="593"/>
                  </a:lnTo>
                  <a:lnTo>
                    <a:pt x="223" y="591"/>
                  </a:lnTo>
                  <a:lnTo>
                    <a:pt x="226" y="591"/>
                  </a:lnTo>
                  <a:lnTo>
                    <a:pt x="228" y="590"/>
                  </a:lnTo>
                  <a:lnTo>
                    <a:pt x="230" y="590"/>
                  </a:lnTo>
                  <a:lnTo>
                    <a:pt x="232" y="590"/>
                  </a:lnTo>
                  <a:lnTo>
                    <a:pt x="233" y="591"/>
                  </a:lnTo>
                  <a:lnTo>
                    <a:pt x="234" y="593"/>
                  </a:lnTo>
                  <a:lnTo>
                    <a:pt x="235" y="593"/>
                  </a:lnTo>
                  <a:lnTo>
                    <a:pt x="236" y="591"/>
                  </a:lnTo>
                  <a:lnTo>
                    <a:pt x="236" y="590"/>
                  </a:lnTo>
                  <a:lnTo>
                    <a:pt x="236" y="589"/>
                  </a:lnTo>
                  <a:lnTo>
                    <a:pt x="234" y="589"/>
                  </a:lnTo>
                  <a:lnTo>
                    <a:pt x="233" y="589"/>
                  </a:lnTo>
                  <a:lnTo>
                    <a:pt x="233" y="588"/>
                  </a:lnTo>
                  <a:lnTo>
                    <a:pt x="234" y="587"/>
                  </a:lnTo>
                  <a:lnTo>
                    <a:pt x="235" y="587"/>
                  </a:lnTo>
                  <a:lnTo>
                    <a:pt x="236" y="587"/>
                  </a:lnTo>
                  <a:lnTo>
                    <a:pt x="238" y="589"/>
                  </a:lnTo>
                  <a:lnTo>
                    <a:pt x="240" y="590"/>
                  </a:lnTo>
                  <a:lnTo>
                    <a:pt x="242" y="590"/>
                  </a:lnTo>
                  <a:lnTo>
                    <a:pt x="245" y="589"/>
                  </a:lnTo>
                  <a:lnTo>
                    <a:pt x="246" y="587"/>
                  </a:lnTo>
                  <a:lnTo>
                    <a:pt x="245" y="585"/>
                  </a:lnTo>
                  <a:lnTo>
                    <a:pt x="244" y="584"/>
                  </a:lnTo>
                  <a:lnTo>
                    <a:pt x="242" y="583"/>
                  </a:lnTo>
                  <a:lnTo>
                    <a:pt x="240" y="582"/>
                  </a:lnTo>
                  <a:lnTo>
                    <a:pt x="239" y="583"/>
                  </a:lnTo>
                  <a:lnTo>
                    <a:pt x="238" y="583"/>
                  </a:lnTo>
                  <a:lnTo>
                    <a:pt x="236" y="582"/>
                  </a:lnTo>
                  <a:lnTo>
                    <a:pt x="235" y="581"/>
                  </a:lnTo>
                  <a:lnTo>
                    <a:pt x="234" y="581"/>
                  </a:lnTo>
                  <a:lnTo>
                    <a:pt x="232" y="582"/>
                  </a:lnTo>
                  <a:lnTo>
                    <a:pt x="229" y="581"/>
                  </a:lnTo>
                  <a:lnTo>
                    <a:pt x="229" y="579"/>
                  </a:lnTo>
                  <a:lnTo>
                    <a:pt x="229" y="578"/>
                  </a:lnTo>
                  <a:lnTo>
                    <a:pt x="230" y="578"/>
                  </a:lnTo>
                  <a:lnTo>
                    <a:pt x="234" y="581"/>
                  </a:lnTo>
                  <a:lnTo>
                    <a:pt x="235" y="579"/>
                  </a:lnTo>
                  <a:lnTo>
                    <a:pt x="238" y="578"/>
                  </a:lnTo>
                  <a:lnTo>
                    <a:pt x="240" y="578"/>
                  </a:lnTo>
                  <a:lnTo>
                    <a:pt x="240" y="577"/>
                  </a:lnTo>
                  <a:lnTo>
                    <a:pt x="240" y="575"/>
                  </a:lnTo>
                  <a:lnTo>
                    <a:pt x="240" y="572"/>
                  </a:lnTo>
                  <a:lnTo>
                    <a:pt x="240" y="571"/>
                  </a:lnTo>
                  <a:lnTo>
                    <a:pt x="239" y="572"/>
                  </a:lnTo>
                  <a:lnTo>
                    <a:pt x="238" y="573"/>
                  </a:lnTo>
                  <a:lnTo>
                    <a:pt x="236" y="572"/>
                  </a:lnTo>
                  <a:lnTo>
                    <a:pt x="235" y="572"/>
                  </a:lnTo>
                  <a:lnTo>
                    <a:pt x="234" y="573"/>
                  </a:lnTo>
                  <a:lnTo>
                    <a:pt x="233" y="573"/>
                  </a:lnTo>
                  <a:lnTo>
                    <a:pt x="230" y="575"/>
                  </a:lnTo>
                  <a:lnTo>
                    <a:pt x="228" y="576"/>
                  </a:lnTo>
                  <a:lnTo>
                    <a:pt x="227" y="577"/>
                  </a:lnTo>
                  <a:lnTo>
                    <a:pt x="227" y="578"/>
                  </a:lnTo>
                  <a:lnTo>
                    <a:pt x="226" y="581"/>
                  </a:lnTo>
                  <a:lnTo>
                    <a:pt x="224" y="579"/>
                  </a:lnTo>
                  <a:lnTo>
                    <a:pt x="226" y="577"/>
                  </a:lnTo>
                  <a:lnTo>
                    <a:pt x="227" y="576"/>
                  </a:lnTo>
                  <a:lnTo>
                    <a:pt x="228" y="573"/>
                  </a:lnTo>
                  <a:lnTo>
                    <a:pt x="230" y="572"/>
                  </a:lnTo>
                  <a:lnTo>
                    <a:pt x="232" y="572"/>
                  </a:lnTo>
                  <a:lnTo>
                    <a:pt x="232" y="570"/>
                  </a:lnTo>
                  <a:lnTo>
                    <a:pt x="230" y="569"/>
                  </a:lnTo>
                  <a:lnTo>
                    <a:pt x="229" y="567"/>
                  </a:lnTo>
                  <a:lnTo>
                    <a:pt x="227" y="571"/>
                  </a:lnTo>
                  <a:lnTo>
                    <a:pt x="227" y="572"/>
                  </a:lnTo>
                  <a:lnTo>
                    <a:pt x="226" y="570"/>
                  </a:lnTo>
                  <a:lnTo>
                    <a:pt x="227" y="569"/>
                  </a:lnTo>
                  <a:lnTo>
                    <a:pt x="227" y="567"/>
                  </a:lnTo>
                  <a:lnTo>
                    <a:pt x="226" y="567"/>
                  </a:lnTo>
                  <a:lnTo>
                    <a:pt x="224" y="566"/>
                  </a:lnTo>
                  <a:lnTo>
                    <a:pt x="223" y="567"/>
                  </a:lnTo>
                  <a:lnTo>
                    <a:pt x="223" y="569"/>
                  </a:lnTo>
                  <a:lnTo>
                    <a:pt x="223" y="570"/>
                  </a:lnTo>
                  <a:lnTo>
                    <a:pt x="222" y="570"/>
                  </a:lnTo>
                  <a:lnTo>
                    <a:pt x="221" y="566"/>
                  </a:lnTo>
                  <a:lnTo>
                    <a:pt x="218" y="565"/>
                  </a:lnTo>
                  <a:lnTo>
                    <a:pt x="218" y="564"/>
                  </a:lnTo>
                  <a:lnTo>
                    <a:pt x="217" y="563"/>
                  </a:lnTo>
                  <a:lnTo>
                    <a:pt x="216" y="561"/>
                  </a:lnTo>
                  <a:lnTo>
                    <a:pt x="215" y="560"/>
                  </a:lnTo>
                  <a:lnTo>
                    <a:pt x="215" y="559"/>
                  </a:lnTo>
                  <a:lnTo>
                    <a:pt x="216" y="557"/>
                  </a:lnTo>
                  <a:lnTo>
                    <a:pt x="217" y="555"/>
                  </a:lnTo>
                  <a:lnTo>
                    <a:pt x="218" y="555"/>
                  </a:lnTo>
                  <a:lnTo>
                    <a:pt x="220" y="557"/>
                  </a:lnTo>
                  <a:lnTo>
                    <a:pt x="221" y="557"/>
                  </a:lnTo>
                  <a:lnTo>
                    <a:pt x="223" y="558"/>
                  </a:lnTo>
                  <a:lnTo>
                    <a:pt x="224" y="559"/>
                  </a:lnTo>
                  <a:lnTo>
                    <a:pt x="228" y="560"/>
                  </a:lnTo>
                  <a:lnTo>
                    <a:pt x="229" y="559"/>
                  </a:lnTo>
                  <a:lnTo>
                    <a:pt x="229" y="558"/>
                  </a:lnTo>
                  <a:lnTo>
                    <a:pt x="230" y="557"/>
                  </a:lnTo>
                  <a:lnTo>
                    <a:pt x="230" y="554"/>
                  </a:lnTo>
                  <a:lnTo>
                    <a:pt x="229" y="553"/>
                  </a:lnTo>
                  <a:lnTo>
                    <a:pt x="227" y="554"/>
                  </a:lnTo>
                  <a:lnTo>
                    <a:pt x="223" y="554"/>
                  </a:lnTo>
                  <a:lnTo>
                    <a:pt x="221" y="553"/>
                  </a:lnTo>
                  <a:lnTo>
                    <a:pt x="218" y="552"/>
                  </a:lnTo>
                  <a:lnTo>
                    <a:pt x="217" y="551"/>
                  </a:lnTo>
                  <a:lnTo>
                    <a:pt x="216" y="551"/>
                  </a:lnTo>
                  <a:lnTo>
                    <a:pt x="216" y="548"/>
                  </a:lnTo>
                  <a:lnTo>
                    <a:pt x="216" y="547"/>
                  </a:lnTo>
                  <a:lnTo>
                    <a:pt x="216" y="545"/>
                  </a:lnTo>
                  <a:lnTo>
                    <a:pt x="212" y="543"/>
                  </a:lnTo>
                  <a:lnTo>
                    <a:pt x="211" y="543"/>
                  </a:lnTo>
                  <a:lnTo>
                    <a:pt x="210" y="541"/>
                  </a:lnTo>
                  <a:lnTo>
                    <a:pt x="209" y="541"/>
                  </a:lnTo>
                  <a:lnTo>
                    <a:pt x="209" y="539"/>
                  </a:lnTo>
                  <a:lnTo>
                    <a:pt x="209" y="536"/>
                  </a:lnTo>
                  <a:lnTo>
                    <a:pt x="210" y="534"/>
                  </a:lnTo>
                  <a:lnTo>
                    <a:pt x="210" y="533"/>
                  </a:lnTo>
                  <a:lnTo>
                    <a:pt x="210" y="529"/>
                  </a:lnTo>
                  <a:lnTo>
                    <a:pt x="211" y="526"/>
                  </a:lnTo>
                  <a:lnTo>
                    <a:pt x="212" y="525"/>
                  </a:lnTo>
                  <a:lnTo>
                    <a:pt x="214" y="523"/>
                  </a:lnTo>
                  <a:lnTo>
                    <a:pt x="215" y="522"/>
                  </a:lnTo>
                  <a:lnTo>
                    <a:pt x="217" y="524"/>
                  </a:lnTo>
                  <a:lnTo>
                    <a:pt x="220" y="525"/>
                  </a:lnTo>
                  <a:lnTo>
                    <a:pt x="222" y="526"/>
                  </a:lnTo>
                  <a:lnTo>
                    <a:pt x="220" y="528"/>
                  </a:lnTo>
                  <a:lnTo>
                    <a:pt x="218" y="528"/>
                  </a:lnTo>
                  <a:lnTo>
                    <a:pt x="217" y="526"/>
                  </a:lnTo>
                  <a:lnTo>
                    <a:pt x="216" y="526"/>
                  </a:lnTo>
                  <a:lnTo>
                    <a:pt x="216" y="529"/>
                  </a:lnTo>
                  <a:lnTo>
                    <a:pt x="214" y="529"/>
                  </a:lnTo>
                  <a:lnTo>
                    <a:pt x="214" y="530"/>
                  </a:lnTo>
                  <a:lnTo>
                    <a:pt x="215" y="530"/>
                  </a:lnTo>
                  <a:lnTo>
                    <a:pt x="214" y="534"/>
                  </a:lnTo>
                  <a:lnTo>
                    <a:pt x="215" y="535"/>
                  </a:lnTo>
                  <a:lnTo>
                    <a:pt x="216" y="535"/>
                  </a:lnTo>
                  <a:lnTo>
                    <a:pt x="218" y="534"/>
                  </a:lnTo>
                  <a:lnTo>
                    <a:pt x="220" y="533"/>
                  </a:lnTo>
                  <a:lnTo>
                    <a:pt x="221" y="530"/>
                  </a:lnTo>
                  <a:lnTo>
                    <a:pt x="222" y="530"/>
                  </a:lnTo>
                  <a:lnTo>
                    <a:pt x="227" y="530"/>
                  </a:lnTo>
                  <a:lnTo>
                    <a:pt x="229" y="530"/>
                  </a:lnTo>
                  <a:lnTo>
                    <a:pt x="232" y="530"/>
                  </a:lnTo>
                  <a:lnTo>
                    <a:pt x="233" y="531"/>
                  </a:lnTo>
                  <a:lnTo>
                    <a:pt x="233" y="534"/>
                  </a:lnTo>
                  <a:lnTo>
                    <a:pt x="232" y="536"/>
                  </a:lnTo>
                  <a:lnTo>
                    <a:pt x="229" y="536"/>
                  </a:lnTo>
                  <a:lnTo>
                    <a:pt x="228" y="535"/>
                  </a:lnTo>
                  <a:lnTo>
                    <a:pt x="226" y="535"/>
                  </a:lnTo>
                  <a:lnTo>
                    <a:pt x="224" y="535"/>
                  </a:lnTo>
                  <a:lnTo>
                    <a:pt x="224" y="537"/>
                  </a:lnTo>
                  <a:lnTo>
                    <a:pt x="226" y="540"/>
                  </a:lnTo>
                  <a:lnTo>
                    <a:pt x="227" y="541"/>
                  </a:lnTo>
                  <a:lnTo>
                    <a:pt x="230" y="543"/>
                  </a:lnTo>
                  <a:lnTo>
                    <a:pt x="232" y="543"/>
                  </a:lnTo>
                  <a:lnTo>
                    <a:pt x="234" y="543"/>
                  </a:lnTo>
                  <a:lnTo>
                    <a:pt x="233" y="541"/>
                  </a:lnTo>
                  <a:lnTo>
                    <a:pt x="234" y="540"/>
                  </a:lnTo>
                  <a:lnTo>
                    <a:pt x="235" y="537"/>
                  </a:lnTo>
                  <a:lnTo>
                    <a:pt x="235" y="534"/>
                  </a:lnTo>
                  <a:lnTo>
                    <a:pt x="238" y="533"/>
                  </a:lnTo>
                  <a:lnTo>
                    <a:pt x="239" y="534"/>
                  </a:lnTo>
                  <a:lnTo>
                    <a:pt x="240" y="536"/>
                  </a:lnTo>
                  <a:lnTo>
                    <a:pt x="244" y="536"/>
                  </a:lnTo>
                  <a:lnTo>
                    <a:pt x="247" y="535"/>
                  </a:lnTo>
                  <a:lnTo>
                    <a:pt x="248" y="534"/>
                  </a:lnTo>
                  <a:lnTo>
                    <a:pt x="250" y="533"/>
                  </a:lnTo>
                  <a:lnTo>
                    <a:pt x="250" y="531"/>
                  </a:lnTo>
                  <a:lnTo>
                    <a:pt x="248" y="530"/>
                  </a:lnTo>
                  <a:lnTo>
                    <a:pt x="246" y="530"/>
                  </a:lnTo>
                  <a:lnTo>
                    <a:pt x="244" y="529"/>
                  </a:lnTo>
                  <a:lnTo>
                    <a:pt x="247" y="529"/>
                  </a:lnTo>
                  <a:lnTo>
                    <a:pt x="250" y="529"/>
                  </a:lnTo>
                  <a:lnTo>
                    <a:pt x="252" y="528"/>
                  </a:lnTo>
                  <a:lnTo>
                    <a:pt x="253" y="528"/>
                  </a:lnTo>
                  <a:lnTo>
                    <a:pt x="257" y="528"/>
                  </a:lnTo>
                  <a:lnTo>
                    <a:pt x="258" y="528"/>
                  </a:lnTo>
                  <a:lnTo>
                    <a:pt x="259" y="528"/>
                  </a:lnTo>
                  <a:lnTo>
                    <a:pt x="259" y="526"/>
                  </a:lnTo>
                  <a:lnTo>
                    <a:pt x="257" y="525"/>
                  </a:lnTo>
                  <a:lnTo>
                    <a:pt x="258" y="524"/>
                  </a:lnTo>
                  <a:lnTo>
                    <a:pt x="261" y="524"/>
                  </a:lnTo>
                  <a:lnTo>
                    <a:pt x="262" y="524"/>
                  </a:lnTo>
                  <a:lnTo>
                    <a:pt x="264" y="524"/>
                  </a:lnTo>
                  <a:lnTo>
                    <a:pt x="262" y="526"/>
                  </a:lnTo>
                  <a:lnTo>
                    <a:pt x="261" y="528"/>
                  </a:lnTo>
                  <a:lnTo>
                    <a:pt x="263" y="529"/>
                  </a:lnTo>
                  <a:lnTo>
                    <a:pt x="264" y="528"/>
                  </a:lnTo>
                  <a:lnTo>
                    <a:pt x="265" y="525"/>
                  </a:lnTo>
                  <a:lnTo>
                    <a:pt x="265" y="524"/>
                  </a:lnTo>
                  <a:lnTo>
                    <a:pt x="264" y="522"/>
                  </a:lnTo>
                  <a:lnTo>
                    <a:pt x="264" y="520"/>
                  </a:lnTo>
                  <a:lnTo>
                    <a:pt x="265" y="520"/>
                  </a:lnTo>
                  <a:lnTo>
                    <a:pt x="267" y="522"/>
                  </a:lnTo>
                  <a:lnTo>
                    <a:pt x="267" y="523"/>
                  </a:lnTo>
                  <a:lnTo>
                    <a:pt x="268" y="524"/>
                  </a:lnTo>
                  <a:lnTo>
                    <a:pt x="267" y="526"/>
                  </a:lnTo>
                  <a:lnTo>
                    <a:pt x="265" y="530"/>
                  </a:lnTo>
                  <a:lnTo>
                    <a:pt x="264" y="530"/>
                  </a:lnTo>
                  <a:lnTo>
                    <a:pt x="262" y="533"/>
                  </a:lnTo>
                  <a:lnTo>
                    <a:pt x="261" y="534"/>
                  </a:lnTo>
                  <a:lnTo>
                    <a:pt x="264" y="534"/>
                  </a:lnTo>
                  <a:lnTo>
                    <a:pt x="265" y="533"/>
                  </a:lnTo>
                  <a:lnTo>
                    <a:pt x="265" y="534"/>
                  </a:lnTo>
                  <a:lnTo>
                    <a:pt x="264" y="535"/>
                  </a:lnTo>
                  <a:lnTo>
                    <a:pt x="263" y="536"/>
                  </a:lnTo>
                  <a:lnTo>
                    <a:pt x="264" y="537"/>
                  </a:lnTo>
                  <a:lnTo>
                    <a:pt x="267" y="536"/>
                  </a:lnTo>
                  <a:lnTo>
                    <a:pt x="267" y="540"/>
                  </a:lnTo>
                  <a:lnTo>
                    <a:pt x="265" y="541"/>
                  </a:lnTo>
                  <a:lnTo>
                    <a:pt x="263" y="552"/>
                  </a:lnTo>
                  <a:lnTo>
                    <a:pt x="263" y="554"/>
                  </a:lnTo>
                  <a:lnTo>
                    <a:pt x="263" y="555"/>
                  </a:lnTo>
                  <a:lnTo>
                    <a:pt x="263" y="557"/>
                  </a:lnTo>
                  <a:lnTo>
                    <a:pt x="263" y="559"/>
                  </a:lnTo>
                  <a:lnTo>
                    <a:pt x="262" y="563"/>
                  </a:lnTo>
                  <a:lnTo>
                    <a:pt x="264" y="564"/>
                  </a:lnTo>
                  <a:lnTo>
                    <a:pt x="264" y="566"/>
                  </a:lnTo>
                  <a:lnTo>
                    <a:pt x="263" y="566"/>
                  </a:lnTo>
                  <a:lnTo>
                    <a:pt x="265" y="569"/>
                  </a:lnTo>
                  <a:lnTo>
                    <a:pt x="267" y="569"/>
                  </a:lnTo>
                  <a:lnTo>
                    <a:pt x="268" y="571"/>
                  </a:lnTo>
                  <a:lnTo>
                    <a:pt x="270" y="573"/>
                  </a:lnTo>
                  <a:lnTo>
                    <a:pt x="271" y="576"/>
                  </a:lnTo>
                  <a:lnTo>
                    <a:pt x="271" y="579"/>
                  </a:lnTo>
                  <a:lnTo>
                    <a:pt x="273" y="582"/>
                  </a:lnTo>
                  <a:lnTo>
                    <a:pt x="273" y="583"/>
                  </a:lnTo>
                  <a:lnTo>
                    <a:pt x="271" y="588"/>
                  </a:lnTo>
                  <a:lnTo>
                    <a:pt x="271" y="593"/>
                  </a:lnTo>
                  <a:lnTo>
                    <a:pt x="269" y="595"/>
                  </a:lnTo>
                  <a:lnTo>
                    <a:pt x="269" y="596"/>
                  </a:lnTo>
                  <a:lnTo>
                    <a:pt x="269" y="600"/>
                  </a:lnTo>
                  <a:lnTo>
                    <a:pt x="269" y="602"/>
                  </a:lnTo>
                  <a:lnTo>
                    <a:pt x="271" y="602"/>
                  </a:lnTo>
                  <a:lnTo>
                    <a:pt x="273" y="601"/>
                  </a:lnTo>
                  <a:lnTo>
                    <a:pt x="273" y="600"/>
                  </a:lnTo>
                  <a:lnTo>
                    <a:pt x="270" y="600"/>
                  </a:lnTo>
                  <a:lnTo>
                    <a:pt x="270" y="599"/>
                  </a:lnTo>
                  <a:lnTo>
                    <a:pt x="270" y="596"/>
                  </a:lnTo>
                  <a:lnTo>
                    <a:pt x="271" y="595"/>
                  </a:lnTo>
                  <a:lnTo>
                    <a:pt x="273" y="594"/>
                  </a:lnTo>
                  <a:lnTo>
                    <a:pt x="273" y="591"/>
                  </a:lnTo>
                  <a:lnTo>
                    <a:pt x="274" y="591"/>
                  </a:lnTo>
                  <a:lnTo>
                    <a:pt x="275" y="593"/>
                  </a:lnTo>
                  <a:lnTo>
                    <a:pt x="276" y="595"/>
                  </a:lnTo>
                  <a:lnTo>
                    <a:pt x="277" y="597"/>
                  </a:lnTo>
                  <a:lnTo>
                    <a:pt x="279" y="600"/>
                  </a:lnTo>
                  <a:lnTo>
                    <a:pt x="279" y="601"/>
                  </a:lnTo>
                  <a:lnTo>
                    <a:pt x="281" y="603"/>
                  </a:lnTo>
                  <a:lnTo>
                    <a:pt x="281" y="606"/>
                  </a:lnTo>
                  <a:lnTo>
                    <a:pt x="282" y="608"/>
                  </a:lnTo>
                  <a:lnTo>
                    <a:pt x="283" y="611"/>
                  </a:lnTo>
                  <a:lnTo>
                    <a:pt x="285" y="612"/>
                  </a:lnTo>
                  <a:lnTo>
                    <a:pt x="286" y="614"/>
                  </a:lnTo>
                  <a:lnTo>
                    <a:pt x="287" y="617"/>
                  </a:lnTo>
                  <a:lnTo>
                    <a:pt x="288" y="618"/>
                  </a:lnTo>
                  <a:lnTo>
                    <a:pt x="289" y="621"/>
                  </a:lnTo>
                  <a:lnTo>
                    <a:pt x="291" y="621"/>
                  </a:lnTo>
                  <a:lnTo>
                    <a:pt x="291" y="620"/>
                  </a:lnTo>
                  <a:lnTo>
                    <a:pt x="291" y="617"/>
                  </a:lnTo>
                  <a:lnTo>
                    <a:pt x="289" y="614"/>
                  </a:lnTo>
                  <a:lnTo>
                    <a:pt x="285" y="607"/>
                  </a:lnTo>
                  <a:lnTo>
                    <a:pt x="282" y="603"/>
                  </a:lnTo>
                  <a:lnTo>
                    <a:pt x="281" y="600"/>
                  </a:lnTo>
                  <a:lnTo>
                    <a:pt x="279" y="596"/>
                  </a:lnTo>
                  <a:lnTo>
                    <a:pt x="277" y="593"/>
                  </a:lnTo>
                  <a:lnTo>
                    <a:pt x="276" y="590"/>
                  </a:lnTo>
                  <a:lnTo>
                    <a:pt x="275" y="585"/>
                  </a:lnTo>
                  <a:lnTo>
                    <a:pt x="275" y="583"/>
                  </a:lnTo>
                  <a:lnTo>
                    <a:pt x="274" y="576"/>
                  </a:lnTo>
                  <a:lnTo>
                    <a:pt x="270" y="569"/>
                  </a:lnTo>
                  <a:lnTo>
                    <a:pt x="268" y="564"/>
                  </a:lnTo>
                  <a:lnTo>
                    <a:pt x="265" y="559"/>
                  </a:lnTo>
                  <a:lnTo>
                    <a:pt x="265" y="555"/>
                  </a:lnTo>
                  <a:lnTo>
                    <a:pt x="267" y="551"/>
                  </a:lnTo>
                  <a:lnTo>
                    <a:pt x="268" y="545"/>
                  </a:lnTo>
                  <a:lnTo>
                    <a:pt x="270" y="539"/>
                  </a:lnTo>
                  <a:lnTo>
                    <a:pt x="270" y="533"/>
                  </a:lnTo>
                  <a:lnTo>
                    <a:pt x="270" y="524"/>
                  </a:lnTo>
                  <a:lnTo>
                    <a:pt x="271" y="522"/>
                  </a:lnTo>
                  <a:lnTo>
                    <a:pt x="273" y="519"/>
                  </a:lnTo>
                  <a:lnTo>
                    <a:pt x="274" y="510"/>
                  </a:lnTo>
                  <a:lnTo>
                    <a:pt x="275" y="508"/>
                  </a:lnTo>
                  <a:lnTo>
                    <a:pt x="277" y="507"/>
                  </a:lnTo>
                  <a:lnTo>
                    <a:pt x="277" y="511"/>
                  </a:lnTo>
                  <a:lnTo>
                    <a:pt x="277" y="512"/>
                  </a:lnTo>
                  <a:lnTo>
                    <a:pt x="277" y="513"/>
                  </a:lnTo>
                  <a:lnTo>
                    <a:pt x="276" y="514"/>
                  </a:lnTo>
                  <a:lnTo>
                    <a:pt x="276" y="516"/>
                  </a:lnTo>
                  <a:lnTo>
                    <a:pt x="275" y="517"/>
                  </a:lnTo>
                  <a:lnTo>
                    <a:pt x="275" y="518"/>
                  </a:lnTo>
                  <a:lnTo>
                    <a:pt x="274" y="520"/>
                  </a:lnTo>
                  <a:lnTo>
                    <a:pt x="273" y="524"/>
                  </a:lnTo>
                  <a:lnTo>
                    <a:pt x="273" y="525"/>
                  </a:lnTo>
                  <a:lnTo>
                    <a:pt x="271" y="528"/>
                  </a:lnTo>
                  <a:lnTo>
                    <a:pt x="271" y="531"/>
                  </a:lnTo>
                  <a:lnTo>
                    <a:pt x="271" y="534"/>
                  </a:lnTo>
                  <a:lnTo>
                    <a:pt x="271" y="536"/>
                  </a:lnTo>
                  <a:lnTo>
                    <a:pt x="271" y="539"/>
                  </a:lnTo>
                  <a:lnTo>
                    <a:pt x="271" y="541"/>
                  </a:lnTo>
                  <a:lnTo>
                    <a:pt x="270" y="545"/>
                  </a:lnTo>
                  <a:lnTo>
                    <a:pt x="271" y="547"/>
                  </a:lnTo>
                  <a:lnTo>
                    <a:pt x="270" y="548"/>
                  </a:lnTo>
                  <a:lnTo>
                    <a:pt x="269" y="551"/>
                  </a:lnTo>
                  <a:lnTo>
                    <a:pt x="269" y="552"/>
                  </a:lnTo>
                  <a:lnTo>
                    <a:pt x="270" y="555"/>
                  </a:lnTo>
                  <a:lnTo>
                    <a:pt x="269" y="557"/>
                  </a:lnTo>
                  <a:lnTo>
                    <a:pt x="268" y="558"/>
                  </a:lnTo>
                  <a:lnTo>
                    <a:pt x="270" y="559"/>
                  </a:lnTo>
                  <a:lnTo>
                    <a:pt x="270" y="560"/>
                  </a:lnTo>
                  <a:lnTo>
                    <a:pt x="269" y="561"/>
                  </a:lnTo>
                  <a:lnTo>
                    <a:pt x="269" y="563"/>
                  </a:lnTo>
                  <a:lnTo>
                    <a:pt x="271" y="564"/>
                  </a:lnTo>
                  <a:lnTo>
                    <a:pt x="273" y="564"/>
                  </a:lnTo>
                  <a:lnTo>
                    <a:pt x="274" y="564"/>
                  </a:lnTo>
                  <a:lnTo>
                    <a:pt x="275" y="563"/>
                  </a:lnTo>
                  <a:lnTo>
                    <a:pt x="274" y="561"/>
                  </a:lnTo>
                  <a:lnTo>
                    <a:pt x="273" y="561"/>
                  </a:lnTo>
                  <a:lnTo>
                    <a:pt x="274" y="559"/>
                  </a:lnTo>
                  <a:lnTo>
                    <a:pt x="275" y="559"/>
                  </a:lnTo>
                  <a:lnTo>
                    <a:pt x="276" y="559"/>
                  </a:lnTo>
                  <a:lnTo>
                    <a:pt x="280" y="558"/>
                  </a:lnTo>
                  <a:lnTo>
                    <a:pt x="279" y="557"/>
                  </a:lnTo>
                  <a:lnTo>
                    <a:pt x="276" y="557"/>
                  </a:lnTo>
                  <a:lnTo>
                    <a:pt x="275" y="555"/>
                  </a:lnTo>
                  <a:lnTo>
                    <a:pt x="276" y="555"/>
                  </a:lnTo>
                  <a:lnTo>
                    <a:pt x="277" y="554"/>
                  </a:lnTo>
                  <a:lnTo>
                    <a:pt x="277" y="553"/>
                  </a:lnTo>
                  <a:lnTo>
                    <a:pt x="276" y="552"/>
                  </a:lnTo>
                  <a:lnTo>
                    <a:pt x="275" y="551"/>
                  </a:lnTo>
                  <a:lnTo>
                    <a:pt x="275" y="549"/>
                  </a:lnTo>
                  <a:lnTo>
                    <a:pt x="274" y="547"/>
                  </a:lnTo>
                  <a:lnTo>
                    <a:pt x="274" y="546"/>
                  </a:lnTo>
                  <a:lnTo>
                    <a:pt x="273" y="543"/>
                  </a:lnTo>
                  <a:lnTo>
                    <a:pt x="273" y="540"/>
                  </a:lnTo>
                  <a:lnTo>
                    <a:pt x="273" y="536"/>
                  </a:lnTo>
                  <a:lnTo>
                    <a:pt x="273" y="531"/>
                  </a:lnTo>
                  <a:lnTo>
                    <a:pt x="274" y="526"/>
                  </a:lnTo>
                  <a:lnTo>
                    <a:pt x="275" y="522"/>
                  </a:lnTo>
                  <a:lnTo>
                    <a:pt x="276" y="519"/>
                  </a:lnTo>
                  <a:lnTo>
                    <a:pt x="277" y="518"/>
                  </a:lnTo>
                  <a:lnTo>
                    <a:pt x="277" y="519"/>
                  </a:lnTo>
                  <a:lnTo>
                    <a:pt x="279" y="520"/>
                  </a:lnTo>
                  <a:lnTo>
                    <a:pt x="280" y="522"/>
                  </a:lnTo>
                  <a:lnTo>
                    <a:pt x="280" y="523"/>
                  </a:lnTo>
                  <a:lnTo>
                    <a:pt x="279" y="525"/>
                  </a:lnTo>
                  <a:lnTo>
                    <a:pt x="279" y="529"/>
                  </a:lnTo>
                  <a:lnTo>
                    <a:pt x="279" y="530"/>
                  </a:lnTo>
                  <a:lnTo>
                    <a:pt x="280" y="528"/>
                  </a:lnTo>
                  <a:lnTo>
                    <a:pt x="280" y="525"/>
                  </a:lnTo>
                  <a:lnTo>
                    <a:pt x="280" y="524"/>
                  </a:lnTo>
                  <a:lnTo>
                    <a:pt x="281" y="524"/>
                  </a:lnTo>
                  <a:lnTo>
                    <a:pt x="281" y="528"/>
                  </a:lnTo>
                  <a:lnTo>
                    <a:pt x="281" y="531"/>
                  </a:lnTo>
                  <a:lnTo>
                    <a:pt x="281" y="534"/>
                  </a:lnTo>
                  <a:lnTo>
                    <a:pt x="280" y="537"/>
                  </a:lnTo>
                  <a:lnTo>
                    <a:pt x="279" y="539"/>
                  </a:lnTo>
                  <a:lnTo>
                    <a:pt x="277" y="539"/>
                  </a:lnTo>
                  <a:lnTo>
                    <a:pt x="281" y="540"/>
                  </a:lnTo>
                  <a:lnTo>
                    <a:pt x="282" y="539"/>
                  </a:lnTo>
                  <a:lnTo>
                    <a:pt x="282" y="537"/>
                  </a:lnTo>
                  <a:lnTo>
                    <a:pt x="283" y="535"/>
                  </a:lnTo>
                  <a:lnTo>
                    <a:pt x="285" y="536"/>
                  </a:lnTo>
                  <a:lnTo>
                    <a:pt x="285" y="539"/>
                  </a:lnTo>
                  <a:lnTo>
                    <a:pt x="285" y="541"/>
                  </a:lnTo>
                  <a:lnTo>
                    <a:pt x="286" y="542"/>
                  </a:lnTo>
                  <a:lnTo>
                    <a:pt x="287" y="542"/>
                  </a:lnTo>
                  <a:lnTo>
                    <a:pt x="287" y="539"/>
                  </a:lnTo>
                  <a:lnTo>
                    <a:pt x="288" y="537"/>
                  </a:lnTo>
                  <a:lnTo>
                    <a:pt x="287" y="536"/>
                  </a:lnTo>
                  <a:lnTo>
                    <a:pt x="286" y="534"/>
                  </a:lnTo>
                  <a:lnTo>
                    <a:pt x="283" y="533"/>
                  </a:lnTo>
                  <a:lnTo>
                    <a:pt x="282" y="530"/>
                  </a:lnTo>
                  <a:lnTo>
                    <a:pt x="282" y="528"/>
                  </a:lnTo>
                  <a:lnTo>
                    <a:pt x="282" y="524"/>
                  </a:lnTo>
                  <a:lnTo>
                    <a:pt x="282" y="522"/>
                  </a:lnTo>
                  <a:lnTo>
                    <a:pt x="282" y="519"/>
                  </a:lnTo>
                  <a:lnTo>
                    <a:pt x="280" y="518"/>
                  </a:lnTo>
                  <a:lnTo>
                    <a:pt x="279" y="517"/>
                  </a:lnTo>
                  <a:lnTo>
                    <a:pt x="279" y="516"/>
                  </a:lnTo>
                  <a:lnTo>
                    <a:pt x="279" y="513"/>
                  </a:lnTo>
                  <a:lnTo>
                    <a:pt x="279" y="511"/>
                  </a:lnTo>
                  <a:lnTo>
                    <a:pt x="279" y="508"/>
                  </a:lnTo>
                  <a:lnTo>
                    <a:pt x="281" y="511"/>
                  </a:lnTo>
                  <a:lnTo>
                    <a:pt x="282" y="513"/>
                  </a:lnTo>
                  <a:lnTo>
                    <a:pt x="283" y="513"/>
                  </a:lnTo>
                  <a:lnTo>
                    <a:pt x="283" y="514"/>
                  </a:lnTo>
                  <a:lnTo>
                    <a:pt x="282" y="514"/>
                  </a:lnTo>
                  <a:lnTo>
                    <a:pt x="281" y="516"/>
                  </a:lnTo>
                  <a:lnTo>
                    <a:pt x="281" y="517"/>
                  </a:lnTo>
                  <a:lnTo>
                    <a:pt x="283" y="518"/>
                  </a:lnTo>
                  <a:lnTo>
                    <a:pt x="286" y="518"/>
                  </a:lnTo>
                  <a:lnTo>
                    <a:pt x="287" y="517"/>
                  </a:lnTo>
                  <a:lnTo>
                    <a:pt x="287" y="516"/>
                  </a:lnTo>
                  <a:lnTo>
                    <a:pt x="286" y="514"/>
                  </a:lnTo>
                  <a:lnTo>
                    <a:pt x="287" y="513"/>
                  </a:lnTo>
                  <a:lnTo>
                    <a:pt x="288" y="514"/>
                  </a:lnTo>
                  <a:lnTo>
                    <a:pt x="289" y="517"/>
                  </a:lnTo>
                  <a:lnTo>
                    <a:pt x="289" y="519"/>
                  </a:lnTo>
                  <a:lnTo>
                    <a:pt x="287" y="518"/>
                  </a:lnTo>
                  <a:lnTo>
                    <a:pt x="287" y="519"/>
                  </a:lnTo>
                  <a:lnTo>
                    <a:pt x="286" y="520"/>
                  </a:lnTo>
                  <a:lnTo>
                    <a:pt x="287" y="523"/>
                  </a:lnTo>
                  <a:lnTo>
                    <a:pt x="289" y="523"/>
                  </a:lnTo>
                  <a:lnTo>
                    <a:pt x="292" y="523"/>
                  </a:lnTo>
                  <a:lnTo>
                    <a:pt x="293" y="522"/>
                  </a:lnTo>
                  <a:lnTo>
                    <a:pt x="298" y="520"/>
                  </a:lnTo>
                  <a:lnTo>
                    <a:pt x="298" y="522"/>
                  </a:lnTo>
                  <a:lnTo>
                    <a:pt x="299" y="519"/>
                  </a:lnTo>
                  <a:lnTo>
                    <a:pt x="300" y="518"/>
                  </a:lnTo>
                  <a:lnTo>
                    <a:pt x="300" y="517"/>
                  </a:lnTo>
                  <a:lnTo>
                    <a:pt x="301" y="520"/>
                  </a:lnTo>
                  <a:lnTo>
                    <a:pt x="304" y="520"/>
                  </a:lnTo>
                  <a:lnTo>
                    <a:pt x="305" y="522"/>
                  </a:lnTo>
                  <a:lnTo>
                    <a:pt x="303" y="522"/>
                  </a:lnTo>
                  <a:lnTo>
                    <a:pt x="301" y="523"/>
                  </a:lnTo>
                  <a:lnTo>
                    <a:pt x="299" y="523"/>
                  </a:lnTo>
                  <a:lnTo>
                    <a:pt x="298" y="523"/>
                  </a:lnTo>
                  <a:lnTo>
                    <a:pt x="298" y="524"/>
                  </a:lnTo>
                  <a:lnTo>
                    <a:pt x="300" y="525"/>
                  </a:lnTo>
                  <a:lnTo>
                    <a:pt x="299" y="528"/>
                  </a:lnTo>
                  <a:lnTo>
                    <a:pt x="298" y="528"/>
                  </a:lnTo>
                  <a:lnTo>
                    <a:pt x="298" y="530"/>
                  </a:lnTo>
                  <a:lnTo>
                    <a:pt x="297" y="533"/>
                  </a:lnTo>
                  <a:lnTo>
                    <a:pt x="295" y="531"/>
                  </a:lnTo>
                  <a:lnTo>
                    <a:pt x="295" y="529"/>
                  </a:lnTo>
                  <a:lnTo>
                    <a:pt x="293" y="530"/>
                  </a:lnTo>
                  <a:lnTo>
                    <a:pt x="292" y="531"/>
                  </a:lnTo>
                  <a:lnTo>
                    <a:pt x="292" y="534"/>
                  </a:lnTo>
                  <a:lnTo>
                    <a:pt x="291" y="535"/>
                  </a:lnTo>
                  <a:lnTo>
                    <a:pt x="291" y="536"/>
                  </a:lnTo>
                  <a:lnTo>
                    <a:pt x="293" y="536"/>
                  </a:lnTo>
                  <a:lnTo>
                    <a:pt x="294" y="536"/>
                  </a:lnTo>
                  <a:lnTo>
                    <a:pt x="295" y="539"/>
                  </a:lnTo>
                  <a:lnTo>
                    <a:pt x="298" y="539"/>
                  </a:lnTo>
                  <a:lnTo>
                    <a:pt x="297" y="540"/>
                  </a:lnTo>
                  <a:lnTo>
                    <a:pt x="295" y="540"/>
                  </a:lnTo>
                  <a:lnTo>
                    <a:pt x="294" y="540"/>
                  </a:lnTo>
                  <a:lnTo>
                    <a:pt x="293" y="540"/>
                  </a:lnTo>
                  <a:lnTo>
                    <a:pt x="292" y="540"/>
                  </a:lnTo>
                  <a:lnTo>
                    <a:pt x="291" y="540"/>
                  </a:lnTo>
                  <a:lnTo>
                    <a:pt x="289" y="541"/>
                  </a:lnTo>
                  <a:lnTo>
                    <a:pt x="288" y="542"/>
                  </a:lnTo>
                  <a:lnTo>
                    <a:pt x="288" y="543"/>
                  </a:lnTo>
                  <a:lnTo>
                    <a:pt x="287" y="545"/>
                  </a:lnTo>
                  <a:lnTo>
                    <a:pt x="286" y="545"/>
                  </a:lnTo>
                  <a:lnTo>
                    <a:pt x="285" y="543"/>
                  </a:lnTo>
                  <a:lnTo>
                    <a:pt x="282" y="543"/>
                  </a:lnTo>
                  <a:lnTo>
                    <a:pt x="282" y="545"/>
                  </a:lnTo>
                  <a:lnTo>
                    <a:pt x="282" y="547"/>
                  </a:lnTo>
                  <a:lnTo>
                    <a:pt x="283" y="548"/>
                  </a:lnTo>
                  <a:lnTo>
                    <a:pt x="285" y="548"/>
                  </a:lnTo>
                  <a:lnTo>
                    <a:pt x="287" y="548"/>
                  </a:lnTo>
                  <a:lnTo>
                    <a:pt x="286" y="549"/>
                  </a:lnTo>
                  <a:lnTo>
                    <a:pt x="286" y="552"/>
                  </a:lnTo>
                  <a:lnTo>
                    <a:pt x="287" y="554"/>
                  </a:lnTo>
                  <a:lnTo>
                    <a:pt x="288" y="554"/>
                  </a:lnTo>
                  <a:lnTo>
                    <a:pt x="289" y="553"/>
                  </a:lnTo>
                  <a:lnTo>
                    <a:pt x="289" y="551"/>
                  </a:lnTo>
                  <a:lnTo>
                    <a:pt x="291" y="549"/>
                  </a:lnTo>
                  <a:lnTo>
                    <a:pt x="292" y="548"/>
                  </a:lnTo>
                  <a:lnTo>
                    <a:pt x="294" y="548"/>
                  </a:lnTo>
                  <a:lnTo>
                    <a:pt x="295" y="546"/>
                  </a:lnTo>
                  <a:lnTo>
                    <a:pt x="297" y="545"/>
                  </a:lnTo>
                  <a:lnTo>
                    <a:pt x="299" y="545"/>
                  </a:lnTo>
                  <a:lnTo>
                    <a:pt x="300" y="545"/>
                  </a:lnTo>
                  <a:lnTo>
                    <a:pt x="300" y="542"/>
                  </a:lnTo>
                  <a:lnTo>
                    <a:pt x="300" y="541"/>
                  </a:lnTo>
                  <a:lnTo>
                    <a:pt x="300" y="540"/>
                  </a:lnTo>
                  <a:lnTo>
                    <a:pt x="303" y="537"/>
                  </a:lnTo>
                  <a:lnTo>
                    <a:pt x="304" y="534"/>
                  </a:lnTo>
                  <a:lnTo>
                    <a:pt x="305" y="533"/>
                  </a:lnTo>
                  <a:lnTo>
                    <a:pt x="304" y="530"/>
                  </a:lnTo>
                  <a:lnTo>
                    <a:pt x="304" y="529"/>
                  </a:lnTo>
                  <a:lnTo>
                    <a:pt x="304" y="526"/>
                  </a:lnTo>
                  <a:lnTo>
                    <a:pt x="305" y="525"/>
                  </a:lnTo>
                  <a:lnTo>
                    <a:pt x="307" y="525"/>
                  </a:lnTo>
                  <a:lnTo>
                    <a:pt x="310" y="525"/>
                  </a:lnTo>
                  <a:lnTo>
                    <a:pt x="311" y="525"/>
                  </a:lnTo>
                  <a:lnTo>
                    <a:pt x="312" y="528"/>
                  </a:lnTo>
                  <a:lnTo>
                    <a:pt x="310" y="529"/>
                  </a:lnTo>
                  <a:lnTo>
                    <a:pt x="309" y="528"/>
                  </a:lnTo>
                  <a:lnTo>
                    <a:pt x="306" y="528"/>
                  </a:lnTo>
                  <a:lnTo>
                    <a:pt x="305" y="529"/>
                  </a:lnTo>
                  <a:lnTo>
                    <a:pt x="306" y="530"/>
                  </a:lnTo>
                  <a:lnTo>
                    <a:pt x="305" y="533"/>
                  </a:lnTo>
                  <a:lnTo>
                    <a:pt x="305" y="535"/>
                  </a:lnTo>
                  <a:lnTo>
                    <a:pt x="304" y="537"/>
                  </a:lnTo>
                  <a:lnTo>
                    <a:pt x="304" y="540"/>
                  </a:lnTo>
                  <a:lnTo>
                    <a:pt x="303" y="540"/>
                  </a:lnTo>
                  <a:lnTo>
                    <a:pt x="301" y="542"/>
                  </a:lnTo>
                  <a:lnTo>
                    <a:pt x="300" y="546"/>
                  </a:lnTo>
                  <a:lnTo>
                    <a:pt x="300" y="548"/>
                  </a:lnTo>
                  <a:lnTo>
                    <a:pt x="299" y="551"/>
                  </a:lnTo>
                  <a:lnTo>
                    <a:pt x="301" y="552"/>
                  </a:lnTo>
                  <a:lnTo>
                    <a:pt x="304" y="551"/>
                  </a:lnTo>
                  <a:lnTo>
                    <a:pt x="305" y="551"/>
                  </a:lnTo>
                  <a:lnTo>
                    <a:pt x="306" y="549"/>
                  </a:lnTo>
                  <a:lnTo>
                    <a:pt x="307" y="548"/>
                  </a:lnTo>
                  <a:lnTo>
                    <a:pt x="310" y="548"/>
                  </a:lnTo>
                  <a:lnTo>
                    <a:pt x="310" y="549"/>
                  </a:lnTo>
                  <a:lnTo>
                    <a:pt x="309" y="551"/>
                  </a:lnTo>
                  <a:lnTo>
                    <a:pt x="310" y="551"/>
                  </a:lnTo>
                  <a:lnTo>
                    <a:pt x="311" y="549"/>
                  </a:lnTo>
                  <a:lnTo>
                    <a:pt x="312" y="549"/>
                  </a:lnTo>
                  <a:lnTo>
                    <a:pt x="314" y="547"/>
                  </a:lnTo>
                  <a:lnTo>
                    <a:pt x="315" y="547"/>
                  </a:lnTo>
                  <a:lnTo>
                    <a:pt x="315" y="546"/>
                  </a:lnTo>
                  <a:lnTo>
                    <a:pt x="316" y="543"/>
                  </a:lnTo>
                  <a:lnTo>
                    <a:pt x="317" y="542"/>
                  </a:lnTo>
                  <a:lnTo>
                    <a:pt x="320" y="543"/>
                  </a:lnTo>
                  <a:lnTo>
                    <a:pt x="321" y="541"/>
                  </a:lnTo>
                  <a:lnTo>
                    <a:pt x="321" y="540"/>
                  </a:lnTo>
                  <a:lnTo>
                    <a:pt x="321" y="537"/>
                  </a:lnTo>
                  <a:lnTo>
                    <a:pt x="322" y="536"/>
                  </a:lnTo>
                  <a:lnTo>
                    <a:pt x="323" y="537"/>
                  </a:lnTo>
                  <a:lnTo>
                    <a:pt x="322" y="540"/>
                  </a:lnTo>
                  <a:lnTo>
                    <a:pt x="322" y="541"/>
                  </a:lnTo>
                  <a:lnTo>
                    <a:pt x="321" y="546"/>
                  </a:lnTo>
                  <a:lnTo>
                    <a:pt x="323" y="546"/>
                  </a:lnTo>
                  <a:lnTo>
                    <a:pt x="326" y="546"/>
                  </a:lnTo>
                  <a:lnTo>
                    <a:pt x="328" y="546"/>
                  </a:lnTo>
                  <a:lnTo>
                    <a:pt x="328" y="543"/>
                  </a:lnTo>
                  <a:lnTo>
                    <a:pt x="326" y="541"/>
                  </a:lnTo>
                  <a:lnTo>
                    <a:pt x="326" y="540"/>
                  </a:lnTo>
                  <a:lnTo>
                    <a:pt x="328" y="540"/>
                  </a:lnTo>
                  <a:lnTo>
                    <a:pt x="329" y="542"/>
                  </a:lnTo>
                  <a:lnTo>
                    <a:pt x="329" y="545"/>
                  </a:lnTo>
                  <a:lnTo>
                    <a:pt x="330" y="543"/>
                  </a:lnTo>
                  <a:lnTo>
                    <a:pt x="330" y="541"/>
                  </a:lnTo>
                  <a:lnTo>
                    <a:pt x="332" y="540"/>
                  </a:lnTo>
                  <a:lnTo>
                    <a:pt x="335" y="540"/>
                  </a:lnTo>
                  <a:lnTo>
                    <a:pt x="338" y="537"/>
                  </a:lnTo>
                  <a:lnTo>
                    <a:pt x="339" y="535"/>
                  </a:lnTo>
                  <a:lnTo>
                    <a:pt x="339" y="534"/>
                  </a:lnTo>
                  <a:lnTo>
                    <a:pt x="338" y="533"/>
                  </a:lnTo>
                  <a:lnTo>
                    <a:pt x="336" y="533"/>
                  </a:lnTo>
                  <a:lnTo>
                    <a:pt x="334" y="534"/>
                  </a:lnTo>
                  <a:lnTo>
                    <a:pt x="333" y="533"/>
                  </a:lnTo>
                  <a:lnTo>
                    <a:pt x="333" y="531"/>
                  </a:lnTo>
                  <a:lnTo>
                    <a:pt x="333" y="533"/>
                  </a:lnTo>
                  <a:lnTo>
                    <a:pt x="332" y="535"/>
                  </a:lnTo>
                  <a:lnTo>
                    <a:pt x="330" y="535"/>
                  </a:lnTo>
                  <a:lnTo>
                    <a:pt x="327" y="534"/>
                  </a:lnTo>
                  <a:lnTo>
                    <a:pt x="328" y="531"/>
                  </a:lnTo>
                  <a:lnTo>
                    <a:pt x="329" y="529"/>
                  </a:lnTo>
                  <a:lnTo>
                    <a:pt x="330" y="530"/>
                  </a:lnTo>
                  <a:lnTo>
                    <a:pt x="332" y="530"/>
                  </a:lnTo>
                  <a:lnTo>
                    <a:pt x="334" y="530"/>
                  </a:lnTo>
                  <a:lnTo>
                    <a:pt x="334" y="528"/>
                  </a:lnTo>
                  <a:lnTo>
                    <a:pt x="334" y="525"/>
                  </a:lnTo>
                  <a:lnTo>
                    <a:pt x="334" y="522"/>
                  </a:lnTo>
                  <a:lnTo>
                    <a:pt x="333" y="522"/>
                  </a:lnTo>
                  <a:lnTo>
                    <a:pt x="330" y="522"/>
                  </a:lnTo>
                  <a:lnTo>
                    <a:pt x="330" y="524"/>
                  </a:lnTo>
                  <a:lnTo>
                    <a:pt x="329" y="525"/>
                  </a:lnTo>
                  <a:lnTo>
                    <a:pt x="328" y="525"/>
                  </a:lnTo>
                  <a:lnTo>
                    <a:pt x="327" y="526"/>
                  </a:lnTo>
                  <a:lnTo>
                    <a:pt x="327" y="529"/>
                  </a:lnTo>
                  <a:lnTo>
                    <a:pt x="324" y="529"/>
                  </a:lnTo>
                  <a:lnTo>
                    <a:pt x="324" y="528"/>
                  </a:lnTo>
                  <a:lnTo>
                    <a:pt x="327" y="525"/>
                  </a:lnTo>
                  <a:lnTo>
                    <a:pt x="327" y="524"/>
                  </a:lnTo>
                  <a:lnTo>
                    <a:pt x="329" y="522"/>
                  </a:lnTo>
                  <a:lnTo>
                    <a:pt x="332" y="520"/>
                  </a:lnTo>
                  <a:lnTo>
                    <a:pt x="333" y="520"/>
                  </a:lnTo>
                  <a:lnTo>
                    <a:pt x="335" y="518"/>
                  </a:lnTo>
                  <a:lnTo>
                    <a:pt x="336" y="517"/>
                  </a:lnTo>
                  <a:lnTo>
                    <a:pt x="338" y="517"/>
                  </a:lnTo>
                  <a:lnTo>
                    <a:pt x="339" y="518"/>
                  </a:lnTo>
                  <a:lnTo>
                    <a:pt x="339" y="522"/>
                  </a:lnTo>
                  <a:lnTo>
                    <a:pt x="336" y="523"/>
                  </a:lnTo>
                  <a:lnTo>
                    <a:pt x="336" y="525"/>
                  </a:lnTo>
                  <a:lnTo>
                    <a:pt x="335" y="528"/>
                  </a:lnTo>
                  <a:lnTo>
                    <a:pt x="335" y="529"/>
                  </a:lnTo>
                  <a:lnTo>
                    <a:pt x="338" y="526"/>
                  </a:lnTo>
                  <a:lnTo>
                    <a:pt x="339" y="524"/>
                  </a:lnTo>
                  <a:lnTo>
                    <a:pt x="341" y="520"/>
                  </a:lnTo>
                  <a:lnTo>
                    <a:pt x="341" y="518"/>
                  </a:lnTo>
                  <a:lnTo>
                    <a:pt x="342" y="517"/>
                  </a:lnTo>
                  <a:lnTo>
                    <a:pt x="345" y="517"/>
                  </a:lnTo>
                  <a:lnTo>
                    <a:pt x="346" y="516"/>
                  </a:lnTo>
                  <a:lnTo>
                    <a:pt x="347" y="514"/>
                  </a:lnTo>
                  <a:lnTo>
                    <a:pt x="350" y="513"/>
                  </a:lnTo>
                  <a:lnTo>
                    <a:pt x="351" y="513"/>
                  </a:lnTo>
                  <a:lnTo>
                    <a:pt x="353" y="511"/>
                  </a:lnTo>
                  <a:lnTo>
                    <a:pt x="353" y="510"/>
                  </a:lnTo>
                  <a:lnTo>
                    <a:pt x="354" y="510"/>
                  </a:lnTo>
                  <a:lnTo>
                    <a:pt x="356" y="514"/>
                  </a:lnTo>
                  <a:lnTo>
                    <a:pt x="356" y="516"/>
                  </a:lnTo>
                  <a:lnTo>
                    <a:pt x="356" y="517"/>
                  </a:lnTo>
                  <a:lnTo>
                    <a:pt x="354" y="518"/>
                  </a:lnTo>
                  <a:lnTo>
                    <a:pt x="352" y="519"/>
                  </a:lnTo>
                  <a:lnTo>
                    <a:pt x="351" y="517"/>
                  </a:lnTo>
                  <a:lnTo>
                    <a:pt x="351" y="516"/>
                  </a:lnTo>
                  <a:lnTo>
                    <a:pt x="348" y="516"/>
                  </a:lnTo>
                  <a:lnTo>
                    <a:pt x="348" y="517"/>
                  </a:lnTo>
                  <a:lnTo>
                    <a:pt x="348" y="519"/>
                  </a:lnTo>
                  <a:lnTo>
                    <a:pt x="351" y="520"/>
                  </a:lnTo>
                  <a:lnTo>
                    <a:pt x="352" y="522"/>
                  </a:lnTo>
                  <a:lnTo>
                    <a:pt x="354" y="523"/>
                  </a:lnTo>
                  <a:lnTo>
                    <a:pt x="354" y="522"/>
                  </a:lnTo>
                  <a:lnTo>
                    <a:pt x="354" y="523"/>
                  </a:lnTo>
                  <a:lnTo>
                    <a:pt x="353" y="525"/>
                  </a:lnTo>
                  <a:lnTo>
                    <a:pt x="350" y="528"/>
                  </a:lnTo>
                  <a:lnTo>
                    <a:pt x="348" y="529"/>
                  </a:lnTo>
                  <a:lnTo>
                    <a:pt x="347" y="531"/>
                  </a:lnTo>
                  <a:lnTo>
                    <a:pt x="346" y="534"/>
                  </a:lnTo>
                  <a:lnTo>
                    <a:pt x="345" y="536"/>
                  </a:lnTo>
                  <a:lnTo>
                    <a:pt x="344" y="537"/>
                  </a:lnTo>
                  <a:lnTo>
                    <a:pt x="342" y="541"/>
                  </a:lnTo>
                  <a:lnTo>
                    <a:pt x="340" y="545"/>
                  </a:lnTo>
                  <a:lnTo>
                    <a:pt x="339" y="545"/>
                  </a:lnTo>
                  <a:lnTo>
                    <a:pt x="336" y="546"/>
                  </a:lnTo>
                  <a:lnTo>
                    <a:pt x="335" y="546"/>
                  </a:lnTo>
                  <a:lnTo>
                    <a:pt x="334" y="545"/>
                  </a:lnTo>
                  <a:lnTo>
                    <a:pt x="333" y="545"/>
                  </a:lnTo>
                  <a:lnTo>
                    <a:pt x="333" y="546"/>
                  </a:lnTo>
                  <a:lnTo>
                    <a:pt x="330" y="547"/>
                  </a:lnTo>
                  <a:lnTo>
                    <a:pt x="330" y="549"/>
                  </a:lnTo>
                  <a:lnTo>
                    <a:pt x="333" y="551"/>
                  </a:lnTo>
                  <a:lnTo>
                    <a:pt x="334" y="551"/>
                  </a:lnTo>
                  <a:lnTo>
                    <a:pt x="334" y="548"/>
                  </a:lnTo>
                  <a:lnTo>
                    <a:pt x="335" y="547"/>
                  </a:lnTo>
                  <a:lnTo>
                    <a:pt x="339" y="547"/>
                  </a:lnTo>
                  <a:lnTo>
                    <a:pt x="341" y="546"/>
                  </a:lnTo>
                  <a:lnTo>
                    <a:pt x="345" y="543"/>
                  </a:lnTo>
                  <a:lnTo>
                    <a:pt x="345" y="541"/>
                  </a:lnTo>
                  <a:lnTo>
                    <a:pt x="345" y="545"/>
                  </a:lnTo>
                  <a:lnTo>
                    <a:pt x="344" y="547"/>
                  </a:lnTo>
                  <a:lnTo>
                    <a:pt x="342" y="549"/>
                  </a:lnTo>
                  <a:lnTo>
                    <a:pt x="340" y="553"/>
                  </a:lnTo>
                  <a:lnTo>
                    <a:pt x="339" y="557"/>
                  </a:lnTo>
                  <a:lnTo>
                    <a:pt x="336" y="558"/>
                  </a:lnTo>
                  <a:lnTo>
                    <a:pt x="338" y="560"/>
                  </a:lnTo>
                  <a:lnTo>
                    <a:pt x="340" y="557"/>
                  </a:lnTo>
                  <a:lnTo>
                    <a:pt x="341" y="554"/>
                  </a:lnTo>
                  <a:lnTo>
                    <a:pt x="344" y="552"/>
                  </a:lnTo>
                  <a:lnTo>
                    <a:pt x="345" y="549"/>
                  </a:lnTo>
                  <a:lnTo>
                    <a:pt x="346" y="547"/>
                  </a:lnTo>
                  <a:lnTo>
                    <a:pt x="347" y="545"/>
                  </a:lnTo>
                  <a:lnTo>
                    <a:pt x="347" y="551"/>
                  </a:lnTo>
                  <a:lnTo>
                    <a:pt x="348" y="552"/>
                  </a:lnTo>
                  <a:lnTo>
                    <a:pt x="350" y="553"/>
                  </a:lnTo>
                  <a:lnTo>
                    <a:pt x="351" y="553"/>
                  </a:lnTo>
                  <a:lnTo>
                    <a:pt x="350" y="551"/>
                  </a:lnTo>
                  <a:lnTo>
                    <a:pt x="350" y="549"/>
                  </a:lnTo>
                  <a:lnTo>
                    <a:pt x="350" y="548"/>
                  </a:lnTo>
                  <a:lnTo>
                    <a:pt x="348" y="546"/>
                  </a:lnTo>
                  <a:lnTo>
                    <a:pt x="348" y="543"/>
                  </a:lnTo>
                  <a:lnTo>
                    <a:pt x="348" y="541"/>
                  </a:lnTo>
                  <a:lnTo>
                    <a:pt x="347" y="539"/>
                  </a:lnTo>
                  <a:lnTo>
                    <a:pt x="347" y="537"/>
                  </a:lnTo>
                  <a:lnTo>
                    <a:pt x="351" y="539"/>
                  </a:lnTo>
                  <a:lnTo>
                    <a:pt x="352" y="542"/>
                  </a:lnTo>
                  <a:lnTo>
                    <a:pt x="354" y="545"/>
                  </a:lnTo>
                  <a:lnTo>
                    <a:pt x="354" y="542"/>
                  </a:lnTo>
                  <a:lnTo>
                    <a:pt x="353" y="541"/>
                  </a:lnTo>
                  <a:lnTo>
                    <a:pt x="352" y="539"/>
                  </a:lnTo>
                  <a:lnTo>
                    <a:pt x="351" y="537"/>
                  </a:lnTo>
                  <a:lnTo>
                    <a:pt x="348" y="536"/>
                  </a:lnTo>
                  <a:lnTo>
                    <a:pt x="348" y="534"/>
                  </a:lnTo>
                  <a:lnTo>
                    <a:pt x="350" y="531"/>
                  </a:lnTo>
                  <a:lnTo>
                    <a:pt x="351" y="529"/>
                  </a:lnTo>
                  <a:lnTo>
                    <a:pt x="352" y="528"/>
                  </a:lnTo>
                  <a:lnTo>
                    <a:pt x="353" y="526"/>
                  </a:lnTo>
                  <a:lnTo>
                    <a:pt x="356" y="525"/>
                  </a:lnTo>
                  <a:lnTo>
                    <a:pt x="357" y="528"/>
                  </a:lnTo>
                  <a:lnTo>
                    <a:pt x="357" y="536"/>
                  </a:lnTo>
                  <a:lnTo>
                    <a:pt x="357" y="552"/>
                  </a:lnTo>
                  <a:lnTo>
                    <a:pt x="358" y="566"/>
                  </a:lnTo>
                  <a:lnTo>
                    <a:pt x="358" y="583"/>
                  </a:lnTo>
                  <a:lnTo>
                    <a:pt x="359" y="593"/>
                  </a:lnTo>
                  <a:lnTo>
                    <a:pt x="357" y="593"/>
                  </a:lnTo>
                  <a:lnTo>
                    <a:pt x="356" y="591"/>
                  </a:lnTo>
                  <a:lnTo>
                    <a:pt x="354" y="590"/>
                  </a:lnTo>
                  <a:lnTo>
                    <a:pt x="353" y="588"/>
                  </a:lnTo>
                  <a:lnTo>
                    <a:pt x="353" y="587"/>
                  </a:lnTo>
                  <a:lnTo>
                    <a:pt x="352" y="587"/>
                  </a:lnTo>
                  <a:lnTo>
                    <a:pt x="351" y="587"/>
                  </a:lnTo>
                  <a:lnTo>
                    <a:pt x="351" y="588"/>
                  </a:lnTo>
                  <a:lnTo>
                    <a:pt x="350" y="591"/>
                  </a:lnTo>
                  <a:lnTo>
                    <a:pt x="348" y="590"/>
                  </a:lnTo>
                  <a:lnTo>
                    <a:pt x="348" y="588"/>
                  </a:lnTo>
                  <a:lnTo>
                    <a:pt x="347" y="588"/>
                  </a:lnTo>
                  <a:lnTo>
                    <a:pt x="347" y="589"/>
                  </a:lnTo>
                  <a:lnTo>
                    <a:pt x="346" y="590"/>
                  </a:lnTo>
                  <a:lnTo>
                    <a:pt x="345" y="589"/>
                  </a:lnTo>
                  <a:lnTo>
                    <a:pt x="344" y="589"/>
                  </a:lnTo>
                  <a:lnTo>
                    <a:pt x="344" y="590"/>
                  </a:lnTo>
                  <a:lnTo>
                    <a:pt x="342" y="590"/>
                  </a:lnTo>
                  <a:lnTo>
                    <a:pt x="341" y="591"/>
                  </a:lnTo>
                  <a:lnTo>
                    <a:pt x="341" y="594"/>
                  </a:lnTo>
                  <a:lnTo>
                    <a:pt x="339" y="595"/>
                  </a:lnTo>
                  <a:lnTo>
                    <a:pt x="339" y="596"/>
                  </a:lnTo>
                  <a:lnTo>
                    <a:pt x="340" y="597"/>
                  </a:lnTo>
                  <a:lnTo>
                    <a:pt x="342" y="597"/>
                  </a:lnTo>
                  <a:lnTo>
                    <a:pt x="345" y="599"/>
                  </a:lnTo>
                  <a:lnTo>
                    <a:pt x="346" y="600"/>
                  </a:lnTo>
                  <a:lnTo>
                    <a:pt x="347" y="600"/>
                  </a:lnTo>
                  <a:lnTo>
                    <a:pt x="350" y="597"/>
                  </a:lnTo>
                  <a:lnTo>
                    <a:pt x="352" y="596"/>
                  </a:lnTo>
                  <a:lnTo>
                    <a:pt x="353" y="599"/>
                  </a:lnTo>
                  <a:lnTo>
                    <a:pt x="356" y="602"/>
                  </a:lnTo>
                  <a:lnTo>
                    <a:pt x="358" y="605"/>
                  </a:lnTo>
                  <a:lnTo>
                    <a:pt x="358" y="612"/>
                  </a:lnTo>
                  <a:lnTo>
                    <a:pt x="358" y="624"/>
                  </a:lnTo>
                  <a:lnTo>
                    <a:pt x="358" y="640"/>
                  </a:lnTo>
                  <a:lnTo>
                    <a:pt x="358" y="656"/>
                  </a:lnTo>
                  <a:lnTo>
                    <a:pt x="359" y="674"/>
                  </a:lnTo>
                  <a:lnTo>
                    <a:pt x="360" y="694"/>
                  </a:lnTo>
                  <a:lnTo>
                    <a:pt x="362" y="713"/>
                  </a:lnTo>
                  <a:lnTo>
                    <a:pt x="362" y="734"/>
                  </a:lnTo>
                  <a:lnTo>
                    <a:pt x="363" y="781"/>
                  </a:lnTo>
                  <a:lnTo>
                    <a:pt x="364" y="805"/>
                  </a:lnTo>
                  <a:lnTo>
                    <a:pt x="365" y="831"/>
                  </a:lnTo>
                  <a:lnTo>
                    <a:pt x="360" y="834"/>
                  </a:lnTo>
                  <a:lnTo>
                    <a:pt x="353" y="838"/>
                  </a:lnTo>
                  <a:lnTo>
                    <a:pt x="345" y="839"/>
                  </a:lnTo>
                  <a:lnTo>
                    <a:pt x="328" y="840"/>
                  </a:lnTo>
                  <a:lnTo>
                    <a:pt x="326" y="840"/>
                  </a:lnTo>
                  <a:lnTo>
                    <a:pt x="354" y="840"/>
                  </a:lnTo>
                  <a:lnTo>
                    <a:pt x="374" y="838"/>
                  </a:lnTo>
                  <a:lnTo>
                    <a:pt x="383" y="839"/>
                  </a:lnTo>
                  <a:lnTo>
                    <a:pt x="388" y="839"/>
                  </a:lnTo>
                  <a:lnTo>
                    <a:pt x="401" y="837"/>
                  </a:lnTo>
                  <a:lnTo>
                    <a:pt x="412" y="839"/>
                  </a:lnTo>
                  <a:lnTo>
                    <a:pt x="425" y="840"/>
                  </a:lnTo>
                  <a:lnTo>
                    <a:pt x="439" y="839"/>
                  </a:lnTo>
                  <a:lnTo>
                    <a:pt x="453" y="838"/>
                  </a:lnTo>
                  <a:lnTo>
                    <a:pt x="458" y="837"/>
                  </a:lnTo>
                  <a:lnTo>
                    <a:pt x="457" y="834"/>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2" name="Freeform 75"/>
            <p:cNvSpPr>
              <a:spLocks/>
            </p:cNvSpPr>
            <p:nvPr userDrawn="1"/>
          </p:nvSpPr>
          <p:spPr bwMode="auto">
            <a:xfrm>
              <a:off x="6286500" y="6189663"/>
              <a:ext cx="244475" cy="395288"/>
            </a:xfrm>
            <a:custGeom>
              <a:avLst/>
              <a:gdLst/>
              <a:ahLst/>
              <a:cxnLst>
                <a:cxn ang="0">
                  <a:pos x="365" y="103"/>
                </a:cxn>
                <a:cxn ang="0">
                  <a:pos x="307" y="192"/>
                </a:cxn>
                <a:cxn ang="0">
                  <a:pos x="259" y="239"/>
                </a:cxn>
                <a:cxn ang="0">
                  <a:pos x="283" y="292"/>
                </a:cxn>
                <a:cxn ang="0">
                  <a:pos x="239" y="317"/>
                </a:cxn>
                <a:cxn ang="0">
                  <a:pos x="204" y="418"/>
                </a:cxn>
                <a:cxn ang="0">
                  <a:pos x="211" y="442"/>
                </a:cxn>
                <a:cxn ang="0">
                  <a:pos x="147" y="505"/>
                </a:cxn>
                <a:cxn ang="0">
                  <a:pos x="174" y="535"/>
                </a:cxn>
                <a:cxn ang="0">
                  <a:pos x="126" y="561"/>
                </a:cxn>
                <a:cxn ang="0">
                  <a:pos x="156" y="571"/>
                </a:cxn>
                <a:cxn ang="0">
                  <a:pos x="194" y="583"/>
                </a:cxn>
                <a:cxn ang="0">
                  <a:pos x="117" y="610"/>
                </a:cxn>
                <a:cxn ang="0">
                  <a:pos x="88" y="635"/>
                </a:cxn>
                <a:cxn ang="0">
                  <a:pos x="88" y="670"/>
                </a:cxn>
                <a:cxn ang="0">
                  <a:pos x="77" y="697"/>
                </a:cxn>
                <a:cxn ang="0">
                  <a:pos x="111" y="730"/>
                </a:cxn>
                <a:cxn ang="0">
                  <a:pos x="146" y="754"/>
                </a:cxn>
                <a:cxn ang="0">
                  <a:pos x="183" y="760"/>
                </a:cxn>
                <a:cxn ang="0">
                  <a:pos x="216" y="753"/>
                </a:cxn>
                <a:cxn ang="0">
                  <a:pos x="159" y="804"/>
                </a:cxn>
                <a:cxn ang="0">
                  <a:pos x="100" y="826"/>
                </a:cxn>
                <a:cxn ang="0">
                  <a:pos x="99" y="869"/>
                </a:cxn>
                <a:cxn ang="0">
                  <a:pos x="45" y="902"/>
                </a:cxn>
                <a:cxn ang="0">
                  <a:pos x="82" y="920"/>
                </a:cxn>
                <a:cxn ang="0">
                  <a:pos x="15" y="931"/>
                </a:cxn>
                <a:cxn ang="0">
                  <a:pos x="49" y="983"/>
                </a:cxn>
                <a:cxn ang="0">
                  <a:pos x="81" y="1003"/>
                </a:cxn>
                <a:cxn ang="0">
                  <a:pos x="90" y="1066"/>
                </a:cxn>
                <a:cxn ang="0">
                  <a:pos x="163" y="1129"/>
                </a:cxn>
                <a:cxn ang="0">
                  <a:pos x="264" y="1119"/>
                </a:cxn>
                <a:cxn ang="0">
                  <a:pos x="357" y="1247"/>
                </a:cxn>
                <a:cxn ang="0">
                  <a:pos x="493" y="1140"/>
                </a:cxn>
                <a:cxn ang="0">
                  <a:pos x="586" y="1184"/>
                </a:cxn>
                <a:cxn ang="0">
                  <a:pos x="669" y="1155"/>
                </a:cxn>
                <a:cxn ang="0">
                  <a:pos x="753" y="1066"/>
                </a:cxn>
                <a:cxn ang="0">
                  <a:pos x="689" y="1009"/>
                </a:cxn>
                <a:cxn ang="0">
                  <a:pos x="673" y="963"/>
                </a:cxn>
                <a:cxn ang="0">
                  <a:pos x="654" y="949"/>
                </a:cxn>
                <a:cxn ang="0">
                  <a:pos x="673" y="908"/>
                </a:cxn>
                <a:cxn ang="0">
                  <a:pos x="699" y="857"/>
                </a:cxn>
                <a:cxn ang="0">
                  <a:pos x="700" y="805"/>
                </a:cxn>
                <a:cxn ang="0">
                  <a:pos x="553" y="761"/>
                </a:cxn>
                <a:cxn ang="0">
                  <a:pos x="618" y="761"/>
                </a:cxn>
                <a:cxn ang="0">
                  <a:pos x="666" y="724"/>
                </a:cxn>
                <a:cxn ang="0">
                  <a:pos x="694" y="686"/>
                </a:cxn>
                <a:cxn ang="0">
                  <a:pos x="671" y="638"/>
                </a:cxn>
                <a:cxn ang="0">
                  <a:pos x="652" y="581"/>
                </a:cxn>
                <a:cxn ang="0">
                  <a:pos x="569" y="510"/>
                </a:cxn>
                <a:cxn ang="0">
                  <a:pos x="620" y="494"/>
                </a:cxn>
                <a:cxn ang="0">
                  <a:pos x="547" y="423"/>
                </a:cxn>
                <a:cxn ang="0">
                  <a:pos x="589" y="424"/>
                </a:cxn>
                <a:cxn ang="0">
                  <a:pos x="427" y="353"/>
                </a:cxn>
                <a:cxn ang="0">
                  <a:pos x="506" y="311"/>
                </a:cxn>
                <a:cxn ang="0">
                  <a:pos x="523" y="254"/>
                </a:cxn>
                <a:cxn ang="0">
                  <a:pos x="472" y="224"/>
                </a:cxn>
                <a:cxn ang="0">
                  <a:pos x="498" y="192"/>
                </a:cxn>
                <a:cxn ang="0">
                  <a:pos x="446" y="145"/>
                </a:cxn>
                <a:cxn ang="0">
                  <a:pos x="451" y="126"/>
                </a:cxn>
                <a:cxn ang="0">
                  <a:pos x="441" y="107"/>
                </a:cxn>
                <a:cxn ang="0">
                  <a:pos x="425" y="101"/>
                </a:cxn>
                <a:cxn ang="0">
                  <a:pos x="425" y="38"/>
                </a:cxn>
                <a:cxn ang="0">
                  <a:pos x="399" y="28"/>
                </a:cxn>
              </a:cxnLst>
              <a:rect l="0" t="0" r="r" b="b"/>
              <a:pathLst>
                <a:path w="766" h="1247">
                  <a:moveTo>
                    <a:pt x="384" y="20"/>
                  </a:moveTo>
                  <a:lnTo>
                    <a:pt x="381" y="13"/>
                  </a:lnTo>
                  <a:lnTo>
                    <a:pt x="377" y="0"/>
                  </a:lnTo>
                  <a:lnTo>
                    <a:pt x="376" y="0"/>
                  </a:lnTo>
                  <a:lnTo>
                    <a:pt x="377" y="6"/>
                  </a:lnTo>
                  <a:lnTo>
                    <a:pt x="380" y="14"/>
                  </a:lnTo>
                  <a:lnTo>
                    <a:pt x="383" y="20"/>
                  </a:lnTo>
                  <a:lnTo>
                    <a:pt x="383" y="24"/>
                  </a:lnTo>
                  <a:lnTo>
                    <a:pt x="380" y="17"/>
                  </a:lnTo>
                  <a:lnTo>
                    <a:pt x="378" y="17"/>
                  </a:lnTo>
                  <a:lnTo>
                    <a:pt x="382" y="24"/>
                  </a:lnTo>
                  <a:lnTo>
                    <a:pt x="381" y="25"/>
                  </a:lnTo>
                  <a:lnTo>
                    <a:pt x="371" y="19"/>
                  </a:lnTo>
                  <a:lnTo>
                    <a:pt x="370" y="20"/>
                  </a:lnTo>
                  <a:lnTo>
                    <a:pt x="383" y="29"/>
                  </a:lnTo>
                  <a:lnTo>
                    <a:pt x="383" y="31"/>
                  </a:lnTo>
                  <a:lnTo>
                    <a:pt x="382" y="31"/>
                  </a:lnTo>
                  <a:lnTo>
                    <a:pt x="378" y="28"/>
                  </a:lnTo>
                  <a:lnTo>
                    <a:pt x="377" y="29"/>
                  </a:lnTo>
                  <a:lnTo>
                    <a:pt x="381" y="34"/>
                  </a:lnTo>
                  <a:lnTo>
                    <a:pt x="381" y="35"/>
                  </a:lnTo>
                  <a:lnTo>
                    <a:pt x="374" y="35"/>
                  </a:lnTo>
                  <a:lnTo>
                    <a:pt x="381" y="36"/>
                  </a:lnTo>
                  <a:lnTo>
                    <a:pt x="382" y="37"/>
                  </a:lnTo>
                  <a:lnTo>
                    <a:pt x="382" y="41"/>
                  </a:lnTo>
                  <a:lnTo>
                    <a:pt x="376" y="41"/>
                  </a:lnTo>
                  <a:lnTo>
                    <a:pt x="376" y="42"/>
                  </a:lnTo>
                  <a:lnTo>
                    <a:pt x="382" y="43"/>
                  </a:lnTo>
                  <a:lnTo>
                    <a:pt x="378" y="44"/>
                  </a:lnTo>
                  <a:lnTo>
                    <a:pt x="382" y="44"/>
                  </a:lnTo>
                  <a:lnTo>
                    <a:pt x="382" y="47"/>
                  </a:lnTo>
                  <a:lnTo>
                    <a:pt x="380" y="47"/>
                  </a:lnTo>
                  <a:lnTo>
                    <a:pt x="380" y="44"/>
                  </a:lnTo>
                  <a:lnTo>
                    <a:pt x="378" y="47"/>
                  </a:lnTo>
                  <a:lnTo>
                    <a:pt x="377" y="46"/>
                  </a:lnTo>
                  <a:lnTo>
                    <a:pt x="374" y="40"/>
                  </a:lnTo>
                  <a:lnTo>
                    <a:pt x="376" y="47"/>
                  </a:lnTo>
                  <a:lnTo>
                    <a:pt x="374" y="47"/>
                  </a:lnTo>
                  <a:lnTo>
                    <a:pt x="371" y="46"/>
                  </a:lnTo>
                  <a:lnTo>
                    <a:pt x="370" y="46"/>
                  </a:lnTo>
                  <a:lnTo>
                    <a:pt x="372" y="47"/>
                  </a:lnTo>
                  <a:lnTo>
                    <a:pt x="375" y="48"/>
                  </a:lnTo>
                  <a:lnTo>
                    <a:pt x="375" y="49"/>
                  </a:lnTo>
                  <a:lnTo>
                    <a:pt x="371" y="48"/>
                  </a:lnTo>
                  <a:lnTo>
                    <a:pt x="371" y="49"/>
                  </a:lnTo>
                  <a:lnTo>
                    <a:pt x="376" y="50"/>
                  </a:lnTo>
                  <a:lnTo>
                    <a:pt x="376" y="52"/>
                  </a:lnTo>
                  <a:lnTo>
                    <a:pt x="375" y="54"/>
                  </a:lnTo>
                  <a:lnTo>
                    <a:pt x="374" y="54"/>
                  </a:lnTo>
                  <a:lnTo>
                    <a:pt x="371" y="52"/>
                  </a:lnTo>
                  <a:lnTo>
                    <a:pt x="364" y="47"/>
                  </a:lnTo>
                  <a:lnTo>
                    <a:pt x="366" y="50"/>
                  </a:lnTo>
                  <a:lnTo>
                    <a:pt x="363" y="50"/>
                  </a:lnTo>
                  <a:lnTo>
                    <a:pt x="359" y="50"/>
                  </a:lnTo>
                  <a:lnTo>
                    <a:pt x="362" y="52"/>
                  </a:lnTo>
                  <a:lnTo>
                    <a:pt x="369" y="53"/>
                  </a:lnTo>
                  <a:lnTo>
                    <a:pt x="369" y="54"/>
                  </a:lnTo>
                  <a:lnTo>
                    <a:pt x="363" y="59"/>
                  </a:lnTo>
                  <a:lnTo>
                    <a:pt x="370" y="54"/>
                  </a:lnTo>
                  <a:lnTo>
                    <a:pt x="371" y="55"/>
                  </a:lnTo>
                  <a:lnTo>
                    <a:pt x="369" y="57"/>
                  </a:lnTo>
                  <a:lnTo>
                    <a:pt x="372" y="55"/>
                  </a:lnTo>
                  <a:lnTo>
                    <a:pt x="374" y="57"/>
                  </a:lnTo>
                  <a:lnTo>
                    <a:pt x="375" y="58"/>
                  </a:lnTo>
                  <a:lnTo>
                    <a:pt x="374" y="60"/>
                  </a:lnTo>
                  <a:lnTo>
                    <a:pt x="377" y="57"/>
                  </a:lnTo>
                  <a:lnTo>
                    <a:pt x="384" y="61"/>
                  </a:lnTo>
                  <a:lnTo>
                    <a:pt x="384" y="66"/>
                  </a:lnTo>
                  <a:lnTo>
                    <a:pt x="382" y="67"/>
                  </a:lnTo>
                  <a:lnTo>
                    <a:pt x="380" y="66"/>
                  </a:lnTo>
                  <a:lnTo>
                    <a:pt x="377" y="64"/>
                  </a:lnTo>
                  <a:lnTo>
                    <a:pt x="377" y="66"/>
                  </a:lnTo>
                  <a:lnTo>
                    <a:pt x="374" y="66"/>
                  </a:lnTo>
                  <a:lnTo>
                    <a:pt x="372" y="65"/>
                  </a:lnTo>
                  <a:lnTo>
                    <a:pt x="370" y="63"/>
                  </a:lnTo>
                  <a:lnTo>
                    <a:pt x="372" y="67"/>
                  </a:lnTo>
                  <a:lnTo>
                    <a:pt x="366" y="67"/>
                  </a:lnTo>
                  <a:lnTo>
                    <a:pt x="368" y="69"/>
                  </a:lnTo>
                  <a:lnTo>
                    <a:pt x="372" y="69"/>
                  </a:lnTo>
                  <a:lnTo>
                    <a:pt x="372" y="70"/>
                  </a:lnTo>
                  <a:lnTo>
                    <a:pt x="370" y="73"/>
                  </a:lnTo>
                  <a:lnTo>
                    <a:pt x="375" y="70"/>
                  </a:lnTo>
                  <a:lnTo>
                    <a:pt x="377" y="70"/>
                  </a:lnTo>
                  <a:lnTo>
                    <a:pt x="378" y="69"/>
                  </a:lnTo>
                  <a:lnTo>
                    <a:pt x="381" y="69"/>
                  </a:lnTo>
                  <a:lnTo>
                    <a:pt x="380" y="71"/>
                  </a:lnTo>
                  <a:lnTo>
                    <a:pt x="375" y="71"/>
                  </a:lnTo>
                  <a:lnTo>
                    <a:pt x="376" y="71"/>
                  </a:lnTo>
                  <a:lnTo>
                    <a:pt x="378" y="72"/>
                  </a:lnTo>
                  <a:lnTo>
                    <a:pt x="377" y="73"/>
                  </a:lnTo>
                  <a:lnTo>
                    <a:pt x="372" y="76"/>
                  </a:lnTo>
                  <a:lnTo>
                    <a:pt x="374" y="76"/>
                  </a:lnTo>
                  <a:lnTo>
                    <a:pt x="378" y="77"/>
                  </a:lnTo>
                  <a:lnTo>
                    <a:pt x="377" y="78"/>
                  </a:lnTo>
                  <a:lnTo>
                    <a:pt x="372" y="83"/>
                  </a:lnTo>
                  <a:lnTo>
                    <a:pt x="372" y="84"/>
                  </a:lnTo>
                  <a:lnTo>
                    <a:pt x="375" y="85"/>
                  </a:lnTo>
                  <a:lnTo>
                    <a:pt x="376" y="87"/>
                  </a:lnTo>
                  <a:lnTo>
                    <a:pt x="375" y="87"/>
                  </a:lnTo>
                  <a:lnTo>
                    <a:pt x="375" y="88"/>
                  </a:lnTo>
                  <a:lnTo>
                    <a:pt x="376" y="89"/>
                  </a:lnTo>
                  <a:lnTo>
                    <a:pt x="377" y="89"/>
                  </a:lnTo>
                  <a:lnTo>
                    <a:pt x="377" y="90"/>
                  </a:lnTo>
                  <a:lnTo>
                    <a:pt x="374" y="90"/>
                  </a:lnTo>
                  <a:lnTo>
                    <a:pt x="371" y="89"/>
                  </a:lnTo>
                  <a:lnTo>
                    <a:pt x="372" y="91"/>
                  </a:lnTo>
                  <a:lnTo>
                    <a:pt x="370" y="96"/>
                  </a:lnTo>
                  <a:lnTo>
                    <a:pt x="371" y="96"/>
                  </a:lnTo>
                  <a:lnTo>
                    <a:pt x="374" y="91"/>
                  </a:lnTo>
                  <a:lnTo>
                    <a:pt x="377" y="93"/>
                  </a:lnTo>
                  <a:lnTo>
                    <a:pt x="375" y="95"/>
                  </a:lnTo>
                  <a:lnTo>
                    <a:pt x="371" y="99"/>
                  </a:lnTo>
                  <a:lnTo>
                    <a:pt x="365" y="103"/>
                  </a:lnTo>
                  <a:lnTo>
                    <a:pt x="356" y="108"/>
                  </a:lnTo>
                  <a:lnTo>
                    <a:pt x="352" y="108"/>
                  </a:lnTo>
                  <a:lnTo>
                    <a:pt x="354" y="109"/>
                  </a:lnTo>
                  <a:lnTo>
                    <a:pt x="353" y="111"/>
                  </a:lnTo>
                  <a:lnTo>
                    <a:pt x="348" y="108"/>
                  </a:lnTo>
                  <a:lnTo>
                    <a:pt x="352" y="111"/>
                  </a:lnTo>
                  <a:lnTo>
                    <a:pt x="346" y="113"/>
                  </a:lnTo>
                  <a:lnTo>
                    <a:pt x="346" y="114"/>
                  </a:lnTo>
                  <a:lnTo>
                    <a:pt x="353" y="113"/>
                  </a:lnTo>
                  <a:lnTo>
                    <a:pt x="352" y="115"/>
                  </a:lnTo>
                  <a:lnTo>
                    <a:pt x="353" y="119"/>
                  </a:lnTo>
                  <a:lnTo>
                    <a:pt x="354" y="119"/>
                  </a:lnTo>
                  <a:lnTo>
                    <a:pt x="354" y="115"/>
                  </a:lnTo>
                  <a:lnTo>
                    <a:pt x="356" y="114"/>
                  </a:lnTo>
                  <a:lnTo>
                    <a:pt x="356" y="112"/>
                  </a:lnTo>
                  <a:lnTo>
                    <a:pt x="357" y="112"/>
                  </a:lnTo>
                  <a:lnTo>
                    <a:pt x="358" y="115"/>
                  </a:lnTo>
                  <a:lnTo>
                    <a:pt x="358" y="111"/>
                  </a:lnTo>
                  <a:lnTo>
                    <a:pt x="363" y="108"/>
                  </a:lnTo>
                  <a:lnTo>
                    <a:pt x="363" y="111"/>
                  </a:lnTo>
                  <a:lnTo>
                    <a:pt x="360" y="114"/>
                  </a:lnTo>
                  <a:lnTo>
                    <a:pt x="360" y="115"/>
                  </a:lnTo>
                  <a:lnTo>
                    <a:pt x="362" y="118"/>
                  </a:lnTo>
                  <a:lnTo>
                    <a:pt x="363" y="120"/>
                  </a:lnTo>
                  <a:lnTo>
                    <a:pt x="364" y="121"/>
                  </a:lnTo>
                  <a:lnTo>
                    <a:pt x="360" y="124"/>
                  </a:lnTo>
                  <a:lnTo>
                    <a:pt x="358" y="123"/>
                  </a:lnTo>
                  <a:lnTo>
                    <a:pt x="357" y="123"/>
                  </a:lnTo>
                  <a:lnTo>
                    <a:pt x="358" y="124"/>
                  </a:lnTo>
                  <a:lnTo>
                    <a:pt x="356" y="124"/>
                  </a:lnTo>
                  <a:lnTo>
                    <a:pt x="353" y="125"/>
                  </a:lnTo>
                  <a:lnTo>
                    <a:pt x="357" y="126"/>
                  </a:lnTo>
                  <a:lnTo>
                    <a:pt x="358" y="125"/>
                  </a:lnTo>
                  <a:lnTo>
                    <a:pt x="359" y="126"/>
                  </a:lnTo>
                  <a:lnTo>
                    <a:pt x="357" y="127"/>
                  </a:lnTo>
                  <a:lnTo>
                    <a:pt x="353" y="130"/>
                  </a:lnTo>
                  <a:lnTo>
                    <a:pt x="352" y="132"/>
                  </a:lnTo>
                  <a:lnTo>
                    <a:pt x="353" y="132"/>
                  </a:lnTo>
                  <a:lnTo>
                    <a:pt x="354" y="132"/>
                  </a:lnTo>
                  <a:lnTo>
                    <a:pt x="356" y="132"/>
                  </a:lnTo>
                  <a:lnTo>
                    <a:pt x="356" y="133"/>
                  </a:lnTo>
                  <a:lnTo>
                    <a:pt x="356" y="135"/>
                  </a:lnTo>
                  <a:lnTo>
                    <a:pt x="353" y="135"/>
                  </a:lnTo>
                  <a:lnTo>
                    <a:pt x="352" y="133"/>
                  </a:lnTo>
                  <a:lnTo>
                    <a:pt x="347" y="133"/>
                  </a:lnTo>
                  <a:lnTo>
                    <a:pt x="346" y="135"/>
                  </a:lnTo>
                  <a:lnTo>
                    <a:pt x="345" y="137"/>
                  </a:lnTo>
                  <a:lnTo>
                    <a:pt x="344" y="139"/>
                  </a:lnTo>
                  <a:lnTo>
                    <a:pt x="339" y="139"/>
                  </a:lnTo>
                  <a:lnTo>
                    <a:pt x="333" y="142"/>
                  </a:lnTo>
                  <a:lnTo>
                    <a:pt x="329" y="144"/>
                  </a:lnTo>
                  <a:lnTo>
                    <a:pt x="329" y="147"/>
                  </a:lnTo>
                  <a:lnTo>
                    <a:pt x="325" y="147"/>
                  </a:lnTo>
                  <a:lnTo>
                    <a:pt x="327" y="145"/>
                  </a:lnTo>
                  <a:lnTo>
                    <a:pt x="324" y="145"/>
                  </a:lnTo>
                  <a:lnTo>
                    <a:pt x="321" y="147"/>
                  </a:lnTo>
                  <a:lnTo>
                    <a:pt x="319" y="149"/>
                  </a:lnTo>
                  <a:lnTo>
                    <a:pt x="311" y="155"/>
                  </a:lnTo>
                  <a:lnTo>
                    <a:pt x="307" y="156"/>
                  </a:lnTo>
                  <a:lnTo>
                    <a:pt x="305" y="156"/>
                  </a:lnTo>
                  <a:lnTo>
                    <a:pt x="306" y="157"/>
                  </a:lnTo>
                  <a:lnTo>
                    <a:pt x="305" y="159"/>
                  </a:lnTo>
                  <a:lnTo>
                    <a:pt x="303" y="160"/>
                  </a:lnTo>
                  <a:lnTo>
                    <a:pt x="301" y="160"/>
                  </a:lnTo>
                  <a:lnTo>
                    <a:pt x="300" y="162"/>
                  </a:lnTo>
                  <a:lnTo>
                    <a:pt x="298" y="164"/>
                  </a:lnTo>
                  <a:lnTo>
                    <a:pt x="299" y="164"/>
                  </a:lnTo>
                  <a:lnTo>
                    <a:pt x="298" y="165"/>
                  </a:lnTo>
                  <a:lnTo>
                    <a:pt x="295" y="165"/>
                  </a:lnTo>
                  <a:lnTo>
                    <a:pt x="295" y="166"/>
                  </a:lnTo>
                  <a:lnTo>
                    <a:pt x="297" y="166"/>
                  </a:lnTo>
                  <a:lnTo>
                    <a:pt x="293" y="170"/>
                  </a:lnTo>
                  <a:lnTo>
                    <a:pt x="298" y="167"/>
                  </a:lnTo>
                  <a:lnTo>
                    <a:pt x="299" y="171"/>
                  </a:lnTo>
                  <a:lnTo>
                    <a:pt x="299" y="166"/>
                  </a:lnTo>
                  <a:lnTo>
                    <a:pt x="300" y="166"/>
                  </a:lnTo>
                  <a:lnTo>
                    <a:pt x="301" y="167"/>
                  </a:lnTo>
                  <a:lnTo>
                    <a:pt x="301" y="166"/>
                  </a:lnTo>
                  <a:lnTo>
                    <a:pt x="303" y="164"/>
                  </a:lnTo>
                  <a:lnTo>
                    <a:pt x="307" y="159"/>
                  </a:lnTo>
                  <a:lnTo>
                    <a:pt x="307" y="165"/>
                  </a:lnTo>
                  <a:lnTo>
                    <a:pt x="309" y="166"/>
                  </a:lnTo>
                  <a:lnTo>
                    <a:pt x="309" y="168"/>
                  </a:lnTo>
                  <a:lnTo>
                    <a:pt x="310" y="170"/>
                  </a:lnTo>
                  <a:lnTo>
                    <a:pt x="311" y="166"/>
                  </a:lnTo>
                  <a:lnTo>
                    <a:pt x="310" y="159"/>
                  </a:lnTo>
                  <a:lnTo>
                    <a:pt x="310" y="157"/>
                  </a:lnTo>
                  <a:lnTo>
                    <a:pt x="311" y="161"/>
                  </a:lnTo>
                  <a:lnTo>
                    <a:pt x="311" y="168"/>
                  </a:lnTo>
                  <a:lnTo>
                    <a:pt x="312" y="168"/>
                  </a:lnTo>
                  <a:lnTo>
                    <a:pt x="312" y="170"/>
                  </a:lnTo>
                  <a:lnTo>
                    <a:pt x="313" y="171"/>
                  </a:lnTo>
                  <a:lnTo>
                    <a:pt x="315" y="171"/>
                  </a:lnTo>
                  <a:lnTo>
                    <a:pt x="313" y="172"/>
                  </a:lnTo>
                  <a:lnTo>
                    <a:pt x="310" y="173"/>
                  </a:lnTo>
                  <a:lnTo>
                    <a:pt x="311" y="174"/>
                  </a:lnTo>
                  <a:lnTo>
                    <a:pt x="311" y="176"/>
                  </a:lnTo>
                  <a:lnTo>
                    <a:pt x="309" y="176"/>
                  </a:lnTo>
                  <a:lnTo>
                    <a:pt x="309" y="178"/>
                  </a:lnTo>
                  <a:lnTo>
                    <a:pt x="311" y="178"/>
                  </a:lnTo>
                  <a:lnTo>
                    <a:pt x="310" y="179"/>
                  </a:lnTo>
                  <a:lnTo>
                    <a:pt x="309" y="180"/>
                  </a:lnTo>
                  <a:lnTo>
                    <a:pt x="309" y="182"/>
                  </a:lnTo>
                  <a:lnTo>
                    <a:pt x="309" y="183"/>
                  </a:lnTo>
                  <a:lnTo>
                    <a:pt x="309" y="186"/>
                  </a:lnTo>
                  <a:lnTo>
                    <a:pt x="309" y="188"/>
                  </a:lnTo>
                  <a:lnTo>
                    <a:pt x="309" y="189"/>
                  </a:lnTo>
                  <a:lnTo>
                    <a:pt x="310" y="190"/>
                  </a:lnTo>
                  <a:lnTo>
                    <a:pt x="313" y="190"/>
                  </a:lnTo>
                  <a:lnTo>
                    <a:pt x="313" y="191"/>
                  </a:lnTo>
                  <a:lnTo>
                    <a:pt x="312" y="191"/>
                  </a:lnTo>
                  <a:lnTo>
                    <a:pt x="309" y="192"/>
                  </a:lnTo>
                  <a:lnTo>
                    <a:pt x="307" y="192"/>
                  </a:lnTo>
                  <a:lnTo>
                    <a:pt x="307" y="194"/>
                  </a:lnTo>
                  <a:lnTo>
                    <a:pt x="307" y="195"/>
                  </a:lnTo>
                  <a:lnTo>
                    <a:pt x="305" y="195"/>
                  </a:lnTo>
                  <a:lnTo>
                    <a:pt x="303" y="194"/>
                  </a:lnTo>
                  <a:lnTo>
                    <a:pt x="301" y="194"/>
                  </a:lnTo>
                  <a:lnTo>
                    <a:pt x="301" y="195"/>
                  </a:lnTo>
                  <a:lnTo>
                    <a:pt x="304" y="196"/>
                  </a:lnTo>
                  <a:lnTo>
                    <a:pt x="301" y="197"/>
                  </a:lnTo>
                  <a:lnTo>
                    <a:pt x="300" y="197"/>
                  </a:lnTo>
                  <a:lnTo>
                    <a:pt x="300" y="196"/>
                  </a:lnTo>
                  <a:lnTo>
                    <a:pt x="298" y="196"/>
                  </a:lnTo>
                  <a:lnTo>
                    <a:pt x="298" y="197"/>
                  </a:lnTo>
                  <a:lnTo>
                    <a:pt x="294" y="197"/>
                  </a:lnTo>
                  <a:lnTo>
                    <a:pt x="294" y="198"/>
                  </a:lnTo>
                  <a:lnTo>
                    <a:pt x="289" y="201"/>
                  </a:lnTo>
                  <a:lnTo>
                    <a:pt x="291" y="201"/>
                  </a:lnTo>
                  <a:lnTo>
                    <a:pt x="294" y="200"/>
                  </a:lnTo>
                  <a:lnTo>
                    <a:pt x="295" y="201"/>
                  </a:lnTo>
                  <a:lnTo>
                    <a:pt x="294" y="207"/>
                  </a:lnTo>
                  <a:lnTo>
                    <a:pt x="297" y="201"/>
                  </a:lnTo>
                  <a:lnTo>
                    <a:pt x="298" y="200"/>
                  </a:lnTo>
                  <a:lnTo>
                    <a:pt x="298" y="201"/>
                  </a:lnTo>
                  <a:lnTo>
                    <a:pt x="298" y="204"/>
                  </a:lnTo>
                  <a:lnTo>
                    <a:pt x="299" y="204"/>
                  </a:lnTo>
                  <a:lnTo>
                    <a:pt x="301" y="202"/>
                  </a:lnTo>
                  <a:lnTo>
                    <a:pt x="303" y="198"/>
                  </a:lnTo>
                  <a:lnTo>
                    <a:pt x="304" y="198"/>
                  </a:lnTo>
                  <a:lnTo>
                    <a:pt x="304" y="201"/>
                  </a:lnTo>
                  <a:lnTo>
                    <a:pt x="304" y="202"/>
                  </a:lnTo>
                  <a:lnTo>
                    <a:pt x="305" y="203"/>
                  </a:lnTo>
                  <a:lnTo>
                    <a:pt x="307" y="210"/>
                  </a:lnTo>
                  <a:lnTo>
                    <a:pt x="309" y="212"/>
                  </a:lnTo>
                  <a:lnTo>
                    <a:pt x="310" y="209"/>
                  </a:lnTo>
                  <a:lnTo>
                    <a:pt x="310" y="210"/>
                  </a:lnTo>
                  <a:lnTo>
                    <a:pt x="311" y="212"/>
                  </a:lnTo>
                  <a:lnTo>
                    <a:pt x="312" y="213"/>
                  </a:lnTo>
                  <a:lnTo>
                    <a:pt x="311" y="209"/>
                  </a:lnTo>
                  <a:lnTo>
                    <a:pt x="312" y="209"/>
                  </a:lnTo>
                  <a:lnTo>
                    <a:pt x="313" y="210"/>
                  </a:lnTo>
                  <a:lnTo>
                    <a:pt x="315" y="208"/>
                  </a:lnTo>
                  <a:lnTo>
                    <a:pt x="316" y="208"/>
                  </a:lnTo>
                  <a:lnTo>
                    <a:pt x="316" y="212"/>
                  </a:lnTo>
                  <a:lnTo>
                    <a:pt x="317" y="212"/>
                  </a:lnTo>
                  <a:lnTo>
                    <a:pt x="317" y="213"/>
                  </a:lnTo>
                  <a:lnTo>
                    <a:pt x="317" y="208"/>
                  </a:lnTo>
                  <a:lnTo>
                    <a:pt x="317" y="207"/>
                  </a:lnTo>
                  <a:lnTo>
                    <a:pt x="318" y="206"/>
                  </a:lnTo>
                  <a:lnTo>
                    <a:pt x="318" y="208"/>
                  </a:lnTo>
                  <a:lnTo>
                    <a:pt x="319" y="208"/>
                  </a:lnTo>
                  <a:lnTo>
                    <a:pt x="319" y="209"/>
                  </a:lnTo>
                  <a:lnTo>
                    <a:pt x="321" y="209"/>
                  </a:lnTo>
                  <a:lnTo>
                    <a:pt x="321" y="204"/>
                  </a:lnTo>
                  <a:lnTo>
                    <a:pt x="322" y="206"/>
                  </a:lnTo>
                  <a:lnTo>
                    <a:pt x="322" y="207"/>
                  </a:lnTo>
                  <a:lnTo>
                    <a:pt x="323" y="209"/>
                  </a:lnTo>
                  <a:lnTo>
                    <a:pt x="324" y="210"/>
                  </a:lnTo>
                  <a:lnTo>
                    <a:pt x="324" y="214"/>
                  </a:lnTo>
                  <a:lnTo>
                    <a:pt x="323" y="216"/>
                  </a:lnTo>
                  <a:lnTo>
                    <a:pt x="321" y="216"/>
                  </a:lnTo>
                  <a:lnTo>
                    <a:pt x="317" y="219"/>
                  </a:lnTo>
                  <a:lnTo>
                    <a:pt x="315" y="222"/>
                  </a:lnTo>
                  <a:lnTo>
                    <a:pt x="309" y="222"/>
                  </a:lnTo>
                  <a:lnTo>
                    <a:pt x="306" y="224"/>
                  </a:lnTo>
                  <a:lnTo>
                    <a:pt x="299" y="225"/>
                  </a:lnTo>
                  <a:lnTo>
                    <a:pt x="298" y="226"/>
                  </a:lnTo>
                  <a:lnTo>
                    <a:pt x="294" y="226"/>
                  </a:lnTo>
                  <a:lnTo>
                    <a:pt x="292" y="225"/>
                  </a:lnTo>
                  <a:lnTo>
                    <a:pt x="292" y="226"/>
                  </a:lnTo>
                  <a:lnTo>
                    <a:pt x="289" y="226"/>
                  </a:lnTo>
                  <a:lnTo>
                    <a:pt x="286" y="222"/>
                  </a:lnTo>
                  <a:lnTo>
                    <a:pt x="286" y="224"/>
                  </a:lnTo>
                  <a:lnTo>
                    <a:pt x="288" y="225"/>
                  </a:lnTo>
                  <a:lnTo>
                    <a:pt x="288" y="226"/>
                  </a:lnTo>
                  <a:lnTo>
                    <a:pt x="286" y="226"/>
                  </a:lnTo>
                  <a:lnTo>
                    <a:pt x="286" y="225"/>
                  </a:lnTo>
                  <a:lnTo>
                    <a:pt x="283" y="225"/>
                  </a:lnTo>
                  <a:lnTo>
                    <a:pt x="277" y="221"/>
                  </a:lnTo>
                  <a:lnTo>
                    <a:pt x="276" y="221"/>
                  </a:lnTo>
                  <a:lnTo>
                    <a:pt x="281" y="226"/>
                  </a:lnTo>
                  <a:lnTo>
                    <a:pt x="270" y="226"/>
                  </a:lnTo>
                  <a:lnTo>
                    <a:pt x="270" y="227"/>
                  </a:lnTo>
                  <a:lnTo>
                    <a:pt x="280" y="228"/>
                  </a:lnTo>
                  <a:lnTo>
                    <a:pt x="281" y="227"/>
                  </a:lnTo>
                  <a:lnTo>
                    <a:pt x="280" y="230"/>
                  </a:lnTo>
                  <a:lnTo>
                    <a:pt x="286" y="227"/>
                  </a:lnTo>
                  <a:lnTo>
                    <a:pt x="287" y="227"/>
                  </a:lnTo>
                  <a:lnTo>
                    <a:pt x="288" y="228"/>
                  </a:lnTo>
                  <a:lnTo>
                    <a:pt x="287" y="231"/>
                  </a:lnTo>
                  <a:lnTo>
                    <a:pt x="287" y="232"/>
                  </a:lnTo>
                  <a:lnTo>
                    <a:pt x="287" y="234"/>
                  </a:lnTo>
                  <a:lnTo>
                    <a:pt x="289" y="238"/>
                  </a:lnTo>
                  <a:lnTo>
                    <a:pt x="291" y="239"/>
                  </a:lnTo>
                  <a:lnTo>
                    <a:pt x="287" y="240"/>
                  </a:lnTo>
                  <a:lnTo>
                    <a:pt x="287" y="242"/>
                  </a:lnTo>
                  <a:lnTo>
                    <a:pt x="288" y="242"/>
                  </a:lnTo>
                  <a:lnTo>
                    <a:pt x="288" y="243"/>
                  </a:lnTo>
                  <a:lnTo>
                    <a:pt x="286" y="244"/>
                  </a:lnTo>
                  <a:lnTo>
                    <a:pt x="285" y="246"/>
                  </a:lnTo>
                  <a:lnTo>
                    <a:pt x="285" y="249"/>
                  </a:lnTo>
                  <a:lnTo>
                    <a:pt x="283" y="249"/>
                  </a:lnTo>
                  <a:lnTo>
                    <a:pt x="282" y="246"/>
                  </a:lnTo>
                  <a:lnTo>
                    <a:pt x="282" y="245"/>
                  </a:lnTo>
                  <a:lnTo>
                    <a:pt x="281" y="243"/>
                  </a:lnTo>
                  <a:lnTo>
                    <a:pt x="280" y="243"/>
                  </a:lnTo>
                  <a:lnTo>
                    <a:pt x="280" y="245"/>
                  </a:lnTo>
                  <a:lnTo>
                    <a:pt x="279" y="248"/>
                  </a:lnTo>
                  <a:lnTo>
                    <a:pt x="271" y="242"/>
                  </a:lnTo>
                  <a:lnTo>
                    <a:pt x="269" y="240"/>
                  </a:lnTo>
                  <a:lnTo>
                    <a:pt x="262" y="236"/>
                  </a:lnTo>
                  <a:lnTo>
                    <a:pt x="260" y="236"/>
                  </a:lnTo>
                  <a:lnTo>
                    <a:pt x="265" y="240"/>
                  </a:lnTo>
                  <a:lnTo>
                    <a:pt x="264" y="240"/>
                  </a:lnTo>
                  <a:lnTo>
                    <a:pt x="259" y="239"/>
                  </a:lnTo>
                  <a:lnTo>
                    <a:pt x="262" y="240"/>
                  </a:lnTo>
                  <a:lnTo>
                    <a:pt x="262" y="242"/>
                  </a:lnTo>
                  <a:lnTo>
                    <a:pt x="264" y="243"/>
                  </a:lnTo>
                  <a:lnTo>
                    <a:pt x="265" y="244"/>
                  </a:lnTo>
                  <a:lnTo>
                    <a:pt x="264" y="245"/>
                  </a:lnTo>
                  <a:lnTo>
                    <a:pt x="264" y="246"/>
                  </a:lnTo>
                  <a:lnTo>
                    <a:pt x="266" y="245"/>
                  </a:lnTo>
                  <a:lnTo>
                    <a:pt x="268" y="245"/>
                  </a:lnTo>
                  <a:lnTo>
                    <a:pt x="269" y="244"/>
                  </a:lnTo>
                  <a:lnTo>
                    <a:pt x="269" y="245"/>
                  </a:lnTo>
                  <a:lnTo>
                    <a:pt x="266" y="248"/>
                  </a:lnTo>
                  <a:lnTo>
                    <a:pt x="269" y="248"/>
                  </a:lnTo>
                  <a:lnTo>
                    <a:pt x="271" y="245"/>
                  </a:lnTo>
                  <a:lnTo>
                    <a:pt x="275" y="248"/>
                  </a:lnTo>
                  <a:lnTo>
                    <a:pt x="271" y="248"/>
                  </a:lnTo>
                  <a:lnTo>
                    <a:pt x="269" y="249"/>
                  </a:lnTo>
                  <a:lnTo>
                    <a:pt x="268" y="251"/>
                  </a:lnTo>
                  <a:lnTo>
                    <a:pt x="268" y="252"/>
                  </a:lnTo>
                  <a:lnTo>
                    <a:pt x="269" y="251"/>
                  </a:lnTo>
                  <a:lnTo>
                    <a:pt x="270" y="250"/>
                  </a:lnTo>
                  <a:lnTo>
                    <a:pt x="271" y="250"/>
                  </a:lnTo>
                  <a:lnTo>
                    <a:pt x="274" y="250"/>
                  </a:lnTo>
                  <a:lnTo>
                    <a:pt x="275" y="250"/>
                  </a:lnTo>
                  <a:lnTo>
                    <a:pt x="275" y="254"/>
                  </a:lnTo>
                  <a:lnTo>
                    <a:pt x="277" y="252"/>
                  </a:lnTo>
                  <a:lnTo>
                    <a:pt x="280" y="252"/>
                  </a:lnTo>
                  <a:lnTo>
                    <a:pt x="281" y="254"/>
                  </a:lnTo>
                  <a:lnTo>
                    <a:pt x="280" y="254"/>
                  </a:lnTo>
                  <a:lnTo>
                    <a:pt x="277" y="255"/>
                  </a:lnTo>
                  <a:lnTo>
                    <a:pt x="273" y="258"/>
                  </a:lnTo>
                  <a:lnTo>
                    <a:pt x="268" y="261"/>
                  </a:lnTo>
                  <a:lnTo>
                    <a:pt x="262" y="261"/>
                  </a:lnTo>
                  <a:lnTo>
                    <a:pt x="262" y="262"/>
                  </a:lnTo>
                  <a:lnTo>
                    <a:pt x="266" y="263"/>
                  </a:lnTo>
                  <a:lnTo>
                    <a:pt x="266" y="264"/>
                  </a:lnTo>
                  <a:lnTo>
                    <a:pt x="259" y="268"/>
                  </a:lnTo>
                  <a:lnTo>
                    <a:pt x="260" y="268"/>
                  </a:lnTo>
                  <a:lnTo>
                    <a:pt x="268" y="266"/>
                  </a:lnTo>
                  <a:lnTo>
                    <a:pt x="269" y="266"/>
                  </a:lnTo>
                  <a:lnTo>
                    <a:pt x="268" y="267"/>
                  </a:lnTo>
                  <a:lnTo>
                    <a:pt x="268" y="269"/>
                  </a:lnTo>
                  <a:lnTo>
                    <a:pt x="269" y="269"/>
                  </a:lnTo>
                  <a:lnTo>
                    <a:pt x="269" y="268"/>
                  </a:lnTo>
                  <a:lnTo>
                    <a:pt x="270" y="264"/>
                  </a:lnTo>
                  <a:lnTo>
                    <a:pt x="271" y="264"/>
                  </a:lnTo>
                  <a:lnTo>
                    <a:pt x="276" y="271"/>
                  </a:lnTo>
                  <a:lnTo>
                    <a:pt x="276" y="268"/>
                  </a:lnTo>
                  <a:lnTo>
                    <a:pt x="277" y="268"/>
                  </a:lnTo>
                  <a:lnTo>
                    <a:pt x="279" y="269"/>
                  </a:lnTo>
                  <a:lnTo>
                    <a:pt x="279" y="271"/>
                  </a:lnTo>
                  <a:lnTo>
                    <a:pt x="277" y="272"/>
                  </a:lnTo>
                  <a:lnTo>
                    <a:pt x="277" y="273"/>
                  </a:lnTo>
                  <a:lnTo>
                    <a:pt x="275" y="273"/>
                  </a:lnTo>
                  <a:lnTo>
                    <a:pt x="273" y="274"/>
                  </a:lnTo>
                  <a:lnTo>
                    <a:pt x="271" y="278"/>
                  </a:lnTo>
                  <a:lnTo>
                    <a:pt x="273" y="279"/>
                  </a:lnTo>
                  <a:lnTo>
                    <a:pt x="269" y="281"/>
                  </a:lnTo>
                  <a:lnTo>
                    <a:pt x="269" y="284"/>
                  </a:lnTo>
                  <a:lnTo>
                    <a:pt x="266" y="285"/>
                  </a:lnTo>
                  <a:lnTo>
                    <a:pt x="265" y="285"/>
                  </a:lnTo>
                  <a:lnTo>
                    <a:pt x="264" y="284"/>
                  </a:lnTo>
                  <a:lnTo>
                    <a:pt x="264" y="285"/>
                  </a:lnTo>
                  <a:lnTo>
                    <a:pt x="264" y="286"/>
                  </a:lnTo>
                  <a:lnTo>
                    <a:pt x="264" y="287"/>
                  </a:lnTo>
                  <a:lnTo>
                    <a:pt x="260" y="289"/>
                  </a:lnTo>
                  <a:lnTo>
                    <a:pt x="259" y="287"/>
                  </a:lnTo>
                  <a:lnTo>
                    <a:pt x="258" y="289"/>
                  </a:lnTo>
                  <a:lnTo>
                    <a:pt x="256" y="289"/>
                  </a:lnTo>
                  <a:lnTo>
                    <a:pt x="254" y="290"/>
                  </a:lnTo>
                  <a:lnTo>
                    <a:pt x="252" y="290"/>
                  </a:lnTo>
                  <a:lnTo>
                    <a:pt x="252" y="291"/>
                  </a:lnTo>
                  <a:lnTo>
                    <a:pt x="256" y="291"/>
                  </a:lnTo>
                  <a:lnTo>
                    <a:pt x="256" y="292"/>
                  </a:lnTo>
                  <a:lnTo>
                    <a:pt x="253" y="293"/>
                  </a:lnTo>
                  <a:lnTo>
                    <a:pt x="253" y="296"/>
                  </a:lnTo>
                  <a:lnTo>
                    <a:pt x="254" y="297"/>
                  </a:lnTo>
                  <a:lnTo>
                    <a:pt x="256" y="297"/>
                  </a:lnTo>
                  <a:lnTo>
                    <a:pt x="257" y="295"/>
                  </a:lnTo>
                  <a:lnTo>
                    <a:pt x="257" y="297"/>
                  </a:lnTo>
                  <a:lnTo>
                    <a:pt x="258" y="292"/>
                  </a:lnTo>
                  <a:lnTo>
                    <a:pt x="260" y="291"/>
                  </a:lnTo>
                  <a:lnTo>
                    <a:pt x="259" y="293"/>
                  </a:lnTo>
                  <a:lnTo>
                    <a:pt x="260" y="293"/>
                  </a:lnTo>
                  <a:lnTo>
                    <a:pt x="260" y="291"/>
                  </a:lnTo>
                  <a:lnTo>
                    <a:pt x="263" y="291"/>
                  </a:lnTo>
                  <a:lnTo>
                    <a:pt x="264" y="290"/>
                  </a:lnTo>
                  <a:lnTo>
                    <a:pt x="264" y="291"/>
                  </a:lnTo>
                  <a:lnTo>
                    <a:pt x="264" y="292"/>
                  </a:lnTo>
                  <a:lnTo>
                    <a:pt x="264" y="293"/>
                  </a:lnTo>
                  <a:lnTo>
                    <a:pt x="264" y="296"/>
                  </a:lnTo>
                  <a:lnTo>
                    <a:pt x="264" y="298"/>
                  </a:lnTo>
                  <a:lnTo>
                    <a:pt x="265" y="301"/>
                  </a:lnTo>
                  <a:lnTo>
                    <a:pt x="266" y="302"/>
                  </a:lnTo>
                  <a:lnTo>
                    <a:pt x="268" y="298"/>
                  </a:lnTo>
                  <a:lnTo>
                    <a:pt x="266" y="295"/>
                  </a:lnTo>
                  <a:lnTo>
                    <a:pt x="268" y="295"/>
                  </a:lnTo>
                  <a:lnTo>
                    <a:pt x="269" y="295"/>
                  </a:lnTo>
                  <a:lnTo>
                    <a:pt x="269" y="301"/>
                  </a:lnTo>
                  <a:lnTo>
                    <a:pt x="270" y="301"/>
                  </a:lnTo>
                  <a:lnTo>
                    <a:pt x="273" y="297"/>
                  </a:lnTo>
                  <a:lnTo>
                    <a:pt x="273" y="295"/>
                  </a:lnTo>
                  <a:lnTo>
                    <a:pt x="275" y="293"/>
                  </a:lnTo>
                  <a:lnTo>
                    <a:pt x="275" y="295"/>
                  </a:lnTo>
                  <a:lnTo>
                    <a:pt x="276" y="295"/>
                  </a:lnTo>
                  <a:lnTo>
                    <a:pt x="277" y="293"/>
                  </a:lnTo>
                  <a:lnTo>
                    <a:pt x="279" y="295"/>
                  </a:lnTo>
                  <a:lnTo>
                    <a:pt x="280" y="293"/>
                  </a:lnTo>
                  <a:lnTo>
                    <a:pt x="279" y="292"/>
                  </a:lnTo>
                  <a:lnTo>
                    <a:pt x="279" y="289"/>
                  </a:lnTo>
                  <a:lnTo>
                    <a:pt x="279" y="287"/>
                  </a:lnTo>
                  <a:lnTo>
                    <a:pt x="280" y="287"/>
                  </a:lnTo>
                  <a:lnTo>
                    <a:pt x="282" y="291"/>
                  </a:lnTo>
                  <a:lnTo>
                    <a:pt x="283" y="292"/>
                  </a:lnTo>
                  <a:lnTo>
                    <a:pt x="285" y="292"/>
                  </a:lnTo>
                  <a:lnTo>
                    <a:pt x="285" y="290"/>
                  </a:lnTo>
                  <a:lnTo>
                    <a:pt x="285" y="289"/>
                  </a:lnTo>
                  <a:lnTo>
                    <a:pt x="285" y="285"/>
                  </a:lnTo>
                  <a:lnTo>
                    <a:pt x="285" y="284"/>
                  </a:lnTo>
                  <a:lnTo>
                    <a:pt x="286" y="284"/>
                  </a:lnTo>
                  <a:lnTo>
                    <a:pt x="287" y="285"/>
                  </a:lnTo>
                  <a:lnTo>
                    <a:pt x="287" y="286"/>
                  </a:lnTo>
                  <a:lnTo>
                    <a:pt x="287" y="287"/>
                  </a:lnTo>
                  <a:lnTo>
                    <a:pt x="287" y="289"/>
                  </a:lnTo>
                  <a:lnTo>
                    <a:pt x="288" y="291"/>
                  </a:lnTo>
                  <a:lnTo>
                    <a:pt x="289" y="289"/>
                  </a:lnTo>
                  <a:lnTo>
                    <a:pt x="289" y="285"/>
                  </a:lnTo>
                  <a:lnTo>
                    <a:pt x="289" y="284"/>
                  </a:lnTo>
                  <a:lnTo>
                    <a:pt x="289" y="283"/>
                  </a:lnTo>
                  <a:lnTo>
                    <a:pt x="289" y="281"/>
                  </a:lnTo>
                  <a:lnTo>
                    <a:pt x="288" y="280"/>
                  </a:lnTo>
                  <a:lnTo>
                    <a:pt x="288" y="279"/>
                  </a:lnTo>
                  <a:lnTo>
                    <a:pt x="291" y="279"/>
                  </a:lnTo>
                  <a:lnTo>
                    <a:pt x="292" y="279"/>
                  </a:lnTo>
                  <a:lnTo>
                    <a:pt x="292" y="280"/>
                  </a:lnTo>
                  <a:lnTo>
                    <a:pt x="291" y="283"/>
                  </a:lnTo>
                  <a:lnTo>
                    <a:pt x="291" y="285"/>
                  </a:lnTo>
                  <a:lnTo>
                    <a:pt x="292" y="286"/>
                  </a:lnTo>
                  <a:lnTo>
                    <a:pt x="292" y="287"/>
                  </a:lnTo>
                  <a:lnTo>
                    <a:pt x="292" y="289"/>
                  </a:lnTo>
                  <a:lnTo>
                    <a:pt x="289" y="290"/>
                  </a:lnTo>
                  <a:lnTo>
                    <a:pt x="288" y="291"/>
                  </a:lnTo>
                  <a:lnTo>
                    <a:pt x="286" y="293"/>
                  </a:lnTo>
                  <a:lnTo>
                    <a:pt x="283" y="296"/>
                  </a:lnTo>
                  <a:lnTo>
                    <a:pt x="281" y="297"/>
                  </a:lnTo>
                  <a:lnTo>
                    <a:pt x="280" y="299"/>
                  </a:lnTo>
                  <a:lnTo>
                    <a:pt x="279" y="299"/>
                  </a:lnTo>
                  <a:lnTo>
                    <a:pt x="277" y="297"/>
                  </a:lnTo>
                  <a:lnTo>
                    <a:pt x="276" y="299"/>
                  </a:lnTo>
                  <a:lnTo>
                    <a:pt x="277" y="299"/>
                  </a:lnTo>
                  <a:lnTo>
                    <a:pt x="274" y="302"/>
                  </a:lnTo>
                  <a:lnTo>
                    <a:pt x="271" y="304"/>
                  </a:lnTo>
                  <a:lnTo>
                    <a:pt x="269" y="304"/>
                  </a:lnTo>
                  <a:lnTo>
                    <a:pt x="266" y="303"/>
                  </a:lnTo>
                  <a:lnTo>
                    <a:pt x="265" y="303"/>
                  </a:lnTo>
                  <a:lnTo>
                    <a:pt x="263" y="302"/>
                  </a:lnTo>
                  <a:lnTo>
                    <a:pt x="262" y="303"/>
                  </a:lnTo>
                  <a:lnTo>
                    <a:pt x="260" y="303"/>
                  </a:lnTo>
                  <a:lnTo>
                    <a:pt x="256" y="301"/>
                  </a:lnTo>
                  <a:lnTo>
                    <a:pt x="254" y="299"/>
                  </a:lnTo>
                  <a:lnTo>
                    <a:pt x="252" y="297"/>
                  </a:lnTo>
                  <a:lnTo>
                    <a:pt x="251" y="296"/>
                  </a:lnTo>
                  <a:lnTo>
                    <a:pt x="247" y="293"/>
                  </a:lnTo>
                  <a:lnTo>
                    <a:pt x="246" y="290"/>
                  </a:lnTo>
                  <a:lnTo>
                    <a:pt x="247" y="289"/>
                  </a:lnTo>
                  <a:lnTo>
                    <a:pt x="247" y="287"/>
                  </a:lnTo>
                  <a:lnTo>
                    <a:pt x="245" y="290"/>
                  </a:lnTo>
                  <a:lnTo>
                    <a:pt x="244" y="289"/>
                  </a:lnTo>
                  <a:lnTo>
                    <a:pt x="248" y="284"/>
                  </a:lnTo>
                  <a:lnTo>
                    <a:pt x="247" y="283"/>
                  </a:lnTo>
                  <a:lnTo>
                    <a:pt x="245" y="284"/>
                  </a:lnTo>
                  <a:lnTo>
                    <a:pt x="242" y="283"/>
                  </a:lnTo>
                  <a:lnTo>
                    <a:pt x="244" y="285"/>
                  </a:lnTo>
                  <a:lnTo>
                    <a:pt x="242" y="286"/>
                  </a:lnTo>
                  <a:lnTo>
                    <a:pt x="233" y="277"/>
                  </a:lnTo>
                  <a:lnTo>
                    <a:pt x="232" y="277"/>
                  </a:lnTo>
                  <a:lnTo>
                    <a:pt x="234" y="280"/>
                  </a:lnTo>
                  <a:lnTo>
                    <a:pt x="233" y="280"/>
                  </a:lnTo>
                  <a:lnTo>
                    <a:pt x="227" y="279"/>
                  </a:lnTo>
                  <a:lnTo>
                    <a:pt x="227" y="280"/>
                  </a:lnTo>
                  <a:lnTo>
                    <a:pt x="232" y="283"/>
                  </a:lnTo>
                  <a:lnTo>
                    <a:pt x="230" y="283"/>
                  </a:lnTo>
                  <a:lnTo>
                    <a:pt x="234" y="284"/>
                  </a:lnTo>
                  <a:lnTo>
                    <a:pt x="232" y="286"/>
                  </a:lnTo>
                  <a:lnTo>
                    <a:pt x="234" y="285"/>
                  </a:lnTo>
                  <a:lnTo>
                    <a:pt x="235" y="285"/>
                  </a:lnTo>
                  <a:lnTo>
                    <a:pt x="239" y="286"/>
                  </a:lnTo>
                  <a:lnTo>
                    <a:pt x="239" y="287"/>
                  </a:lnTo>
                  <a:lnTo>
                    <a:pt x="233" y="291"/>
                  </a:lnTo>
                  <a:lnTo>
                    <a:pt x="234" y="291"/>
                  </a:lnTo>
                  <a:lnTo>
                    <a:pt x="239" y="290"/>
                  </a:lnTo>
                  <a:lnTo>
                    <a:pt x="239" y="291"/>
                  </a:lnTo>
                  <a:lnTo>
                    <a:pt x="239" y="292"/>
                  </a:lnTo>
                  <a:lnTo>
                    <a:pt x="241" y="292"/>
                  </a:lnTo>
                  <a:lnTo>
                    <a:pt x="244" y="292"/>
                  </a:lnTo>
                  <a:lnTo>
                    <a:pt x="242" y="295"/>
                  </a:lnTo>
                  <a:lnTo>
                    <a:pt x="245" y="295"/>
                  </a:lnTo>
                  <a:lnTo>
                    <a:pt x="239" y="301"/>
                  </a:lnTo>
                  <a:lnTo>
                    <a:pt x="245" y="297"/>
                  </a:lnTo>
                  <a:lnTo>
                    <a:pt x="247" y="296"/>
                  </a:lnTo>
                  <a:lnTo>
                    <a:pt x="247" y="297"/>
                  </a:lnTo>
                  <a:lnTo>
                    <a:pt x="244" y="299"/>
                  </a:lnTo>
                  <a:lnTo>
                    <a:pt x="241" y="301"/>
                  </a:lnTo>
                  <a:lnTo>
                    <a:pt x="239" y="302"/>
                  </a:lnTo>
                  <a:lnTo>
                    <a:pt x="242" y="305"/>
                  </a:lnTo>
                  <a:lnTo>
                    <a:pt x="239" y="307"/>
                  </a:lnTo>
                  <a:lnTo>
                    <a:pt x="239" y="309"/>
                  </a:lnTo>
                  <a:lnTo>
                    <a:pt x="241" y="310"/>
                  </a:lnTo>
                  <a:lnTo>
                    <a:pt x="239" y="314"/>
                  </a:lnTo>
                  <a:lnTo>
                    <a:pt x="242" y="316"/>
                  </a:lnTo>
                  <a:lnTo>
                    <a:pt x="245" y="315"/>
                  </a:lnTo>
                  <a:lnTo>
                    <a:pt x="245" y="314"/>
                  </a:lnTo>
                  <a:lnTo>
                    <a:pt x="246" y="311"/>
                  </a:lnTo>
                  <a:lnTo>
                    <a:pt x="246" y="309"/>
                  </a:lnTo>
                  <a:lnTo>
                    <a:pt x="246" y="308"/>
                  </a:lnTo>
                  <a:lnTo>
                    <a:pt x="247" y="308"/>
                  </a:lnTo>
                  <a:lnTo>
                    <a:pt x="247" y="309"/>
                  </a:lnTo>
                  <a:lnTo>
                    <a:pt x="247" y="311"/>
                  </a:lnTo>
                  <a:lnTo>
                    <a:pt x="248" y="314"/>
                  </a:lnTo>
                  <a:lnTo>
                    <a:pt x="251" y="315"/>
                  </a:lnTo>
                  <a:lnTo>
                    <a:pt x="250" y="317"/>
                  </a:lnTo>
                  <a:lnTo>
                    <a:pt x="248" y="317"/>
                  </a:lnTo>
                  <a:lnTo>
                    <a:pt x="247" y="315"/>
                  </a:lnTo>
                  <a:lnTo>
                    <a:pt x="246" y="317"/>
                  </a:lnTo>
                  <a:lnTo>
                    <a:pt x="245" y="320"/>
                  </a:lnTo>
                  <a:lnTo>
                    <a:pt x="244" y="320"/>
                  </a:lnTo>
                  <a:lnTo>
                    <a:pt x="239" y="317"/>
                  </a:lnTo>
                  <a:lnTo>
                    <a:pt x="239" y="319"/>
                  </a:lnTo>
                  <a:lnTo>
                    <a:pt x="234" y="322"/>
                  </a:lnTo>
                  <a:lnTo>
                    <a:pt x="236" y="322"/>
                  </a:lnTo>
                  <a:lnTo>
                    <a:pt x="239" y="322"/>
                  </a:lnTo>
                  <a:lnTo>
                    <a:pt x="242" y="321"/>
                  </a:lnTo>
                  <a:lnTo>
                    <a:pt x="242" y="323"/>
                  </a:lnTo>
                  <a:lnTo>
                    <a:pt x="239" y="325"/>
                  </a:lnTo>
                  <a:lnTo>
                    <a:pt x="239" y="326"/>
                  </a:lnTo>
                  <a:lnTo>
                    <a:pt x="242" y="326"/>
                  </a:lnTo>
                  <a:lnTo>
                    <a:pt x="244" y="327"/>
                  </a:lnTo>
                  <a:lnTo>
                    <a:pt x="245" y="325"/>
                  </a:lnTo>
                  <a:lnTo>
                    <a:pt x="247" y="325"/>
                  </a:lnTo>
                  <a:lnTo>
                    <a:pt x="245" y="329"/>
                  </a:lnTo>
                  <a:lnTo>
                    <a:pt x="246" y="331"/>
                  </a:lnTo>
                  <a:lnTo>
                    <a:pt x="248" y="328"/>
                  </a:lnTo>
                  <a:lnTo>
                    <a:pt x="250" y="328"/>
                  </a:lnTo>
                  <a:lnTo>
                    <a:pt x="251" y="327"/>
                  </a:lnTo>
                  <a:lnTo>
                    <a:pt x="252" y="327"/>
                  </a:lnTo>
                  <a:lnTo>
                    <a:pt x="252" y="329"/>
                  </a:lnTo>
                  <a:lnTo>
                    <a:pt x="253" y="329"/>
                  </a:lnTo>
                  <a:lnTo>
                    <a:pt x="253" y="326"/>
                  </a:lnTo>
                  <a:lnTo>
                    <a:pt x="254" y="326"/>
                  </a:lnTo>
                  <a:lnTo>
                    <a:pt x="254" y="329"/>
                  </a:lnTo>
                  <a:lnTo>
                    <a:pt x="256" y="329"/>
                  </a:lnTo>
                  <a:lnTo>
                    <a:pt x="257" y="332"/>
                  </a:lnTo>
                  <a:lnTo>
                    <a:pt x="257" y="334"/>
                  </a:lnTo>
                  <a:lnTo>
                    <a:pt x="253" y="334"/>
                  </a:lnTo>
                  <a:lnTo>
                    <a:pt x="253" y="337"/>
                  </a:lnTo>
                  <a:lnTo>
                    <a:pt x="256" y="337"/>
                  </a:lnTo>
                  <a:lnTo>
                    <a:pt x="256" y="338"/>
                  </a:lnTo>
                  <a:lnTo>
                    <a:pt x="248" y="338"/>
                  </a:lnTo>
                  <a:lnTo>
                    <a:pt x="250" y="340"/>
                  </a:lnTo>
                  <a:lnTo>
                    <a:pt x="248" y="341"/>
                  </a:lnTo>
                  <a:lnTo>
                    <a:pt x="247" y="341"/>
                  </a:lnTo>
                  <a:lnTo>
                    <a:pt x="246" y="340"/>
                  </a:lnTo>
                  <a:lnTo>
                    <a:pt x="245" y="340"/>
                  </a:lnTo>
                  <a:lnTo>
                    <a:pt x="245" y="345"/>
                  </a:lnTo>
                  <a:lnTo>
                    <a:pt x="239" y="350"/>
                  </a:lnTo>
                  <a:lnTo>
                    <a:pt x="239" y="347"/>
                  </a:lnTo>
                  <a:lnTo>
                    <a:pt x="235" y="347"/>
                  </a:lnTo>
                  <a:lnTo>
                    <a:pt x="236" y="350"/>
                  </a:lnTo>
                  <a:lnTo>
                    <a:pt x="234" y="349"/>
                  </a:lnTo>
                  <a:lnTo>
                    <a:pt x="232" y="347"/>
                  </a:lnTo>
                  <a:lnTo>
                    <a:pt x="230" y="347"/>
                  </a:lnTo>
                  <a:lnTo>
                    <a:pt x="228" y="350"/>
                  </a:lnTo>
                  <a:lnTo>
                    <a:pt x="232" y="350"/>
                  </a:lnTo>
                  <a:lnTo>
                    <a:pt x="232" y="353"/>
                  </a:lnTo>
                  <a:lnTo>
                    <a:pt x="230" y="355"/>
                  </a:lnTo>
                  <a:lnTo>
                    <a:pt x="232" y="355"/>
                  </a:lnTo>
                  <a:lnTo>
                    <a:pt x="233" y="352"/>
                  </a:lnTo>
                  <a:lnTo>
                    <a:pt x="234" y="351"/>
                  </a:lnTo>
                  <a:lnTo>
                    <a:pt x="235" y="351"/>
                  </a:lnTo>
                  <a:lnTo>
                    <a:pt x="233" y="355"/>
                  </a:lnTo>
                  <a:lnTo>
                    <a:pt x="234" y="355"/>
                  </a:lnTo>
                  <a:lnTo>
                    <a:pt x="235" y="353"/>
                  </a:lnTo>
                  <a:lnTo>
                    <a:pt x="239" y="355"/>
                  </a:lnTo>
                  <a:lnTo>
                    <a:pt x="235" y="356"/>
                  </a:lnTo>
                  <a:lnTo>
                    <a:pt x="234" y="358"/>
                  </a:lnTo>
                  <a:lnTo>
                    <a:pt x="235" y="359"/>
                  </a:lnTo>
                  <a:lnTo>
                    <a:pt x="235" y="362"/>
                  </a:lnTo>
                  <a:lnTo>
                    <a:pt x="235" y="364"/>
                  </a:lnTo>
                  <a:lnTo>
                    <a:pt x="233" y="367"/>
                  </a:lnTo>
                  <a:lnTo>
                    <a:pt x="233" y="368"/>
                  </a:lnTo>
                  <a:lnTo>
                    <a:pt x="232" y="368"/>
                  </a:lnTo>
                  <a:lnTo>
                    <a:pt x="229" y="368"/>
                  </a:lnTo>
                  <a:lnTo>
                    <a:pt x="228" y="370"/>
                  </a:lnTo>
                  <a:lnTo>
                    <a:pt x="226" y="373"/>
                  </a:lnTo>
                  <a:lnTo>
                    <a:pt x="222" y="370"/>
                  </a:lnTo>
                  <a:lnTo>
                    <a:pt x="224" y="374"/>
                  </a:lnTo>
                  <a:lnTo>
                    <a:pt x="217" y="381"/>
                  </a:lnTo>
                  <a:lnTo>
                    <a:pt x="217" y="384"/>
                  </a:lnTo>
                  <a:lnTo>
                    <a:pt x="216" y="384"/>
                  </a:lnTo>
                  <a:lnTo>
                    <a:pt x="211" y="388"/>
                  </a:lnTo>
                  <a:lnTo>
                    <a:pt x="209" y="390"/>
                  </a:lnTo>
                  <a:lnTo>
                    <a:pt x="205" y="391"/>
                  </a:lnTo>
                  <a:lnTo>
                    <a:pt x="206" y="392"/>
                  </a:lnTo>
                  <a:lnTo>
                    <a:pt x="205" y="393"/>
                  </a:lnTo>
                  <a:lnTo>
                    <a:pt x="206" y="393"/>
                  </a:lnTo>
                  <a:lnTo>
                    <a:pt x="200" y="397"/>
                  </a:lnTo>
                  <a:lnTo>
                    <a:pt x="201" y="398"/>
                  </a:lnTo>
                  <a:lnTo>
                    <a:pt x="209" y="396"/>
                  </a:lnTo>
                  <a:lnTo>
                    <a:pt x="210" y="396"/>
                  </a:lnTo>
                  <a:lnTo>
                    <a:pt x="201" y="403"/>
                  </a:lnTo>
                  <a:lnTo>
                    <a:pt x="199" y="402"/>
                  </a:lnTo>
                  <a:lnTo>
                    <a:pt x="199" y="405"/>
                  </a:lnTo>
                  <a:lnTo>
                    <a:pt x="194" y="406"/>
                  </a:lnTo>
                  <a:lnTo>
                    <a:pt x="198" y="408"/>
                  </a:lnTo>
                  <a:lnTo>
                    <a:pt x="197" y="409"/>
                  </a:lnTo>
                  <a:lnTo>
                    <a:pt x="191" y="409"/>
                  </a:lnTo>
                  <a:lnTo>
                    <a:pt x="187" y="414"/>
                  </a:lnTo>
                  <a:lnTo>
                    <a:pt x="185" y="415"/>
                  </a:lnTo>
                  <a:lnTo>
                    <a:pt x="187" y="415"/>
                  </a:lnTo>
                  <a:lnTo>
                    <a:pt x="182" y="421"/>
                  </a:lnTo>
                  <a:lnTo>
                    <a:pt x="182" y="422"/>
                  </a:lnTo>
                  <a:lnTo>
                    <a:pt x="187" y="417"/>
                  </a:lnTo>
                  <a:lnTo>
                    <a:pt x="188" y="418"/>
                  </a:lnTo>
                  <a:lnTo>
                    <a:pt x="191" y="420"/>
                  </a:lnTo>
                  <a:lnTo>
                    <a:pt x="191" y="418"/>
                  </a:lnTo>
                  <a:lnTo>
                    <a:pt x="191" y="421"/>
                  </a:lnTo>
                  <a:lnTo>
                    <a:pt x="193" y="421"/>
                  </a:lnTo>
                  <a:lnTo>
                    <a:pt x="193" y="417"/>
                  </a:lnTo>
                  <a:lnTo>
                    <a:pt x="192" y="416"/>
                  </a:lnTo>
                  <a:lnTo>
                    <a:pt x="193" y="416"/>
                  </a:lnTo>
                  <a:lnTo>
                    <a:pt x="194" y="415"/>
                  </a:lnTo>
                  <a:lnTo>
                    <a:pt x="194" y="412"/>
                  </a:lnTo>
                  <a:lnTo>
                    <a:pt x="197" y="412"/>
                  </a:lnTo>
                  <a:lnTo>
                    <a:pt x="197" y="415"/>
                  </a:lnTo>
                  <a:lnTo>
                    <a:pt x="198" y="410"/>
                  </a:lnTo>
                  <a:lnTo>
                    <a:pt x="199" y="410"/>
                  </a:lnTo>
                  <a:lnTo>
                    <a:pt x="199" y="421"/>
                  </a:lnTo>
                  <a:lnTo>
                    <a:pt x="200" y="422"/>
                  </a:lnTo>
                  <a:lnTo>
                    <a:pt x="201" y="418"/>
                  </a:lnTo>
                  <a:lnTo>
                    <a:pt x="204" y="418"/>
                  </a:lnTo>
                  <a:lnTo>
                    <a:pt x="204" y="422"/>
                  </a:lnTo>
                  <a:lnTo>
                    <a:pt x="205" y="421"/>
                  </a:lnTo>
                  <a:lnTo>
                    <a:pt x="207" y="421"/>
                  </a:lnTo>
                  <a:lnTo>
                    <a:pt x="207" y="417"/>
                  </a:lnTo>
                  <a:lnTo>
                    <a:pt x="207" y="415"/>
                  </a:lnTo>
                  <a:lnTo>
                    <a:pt x="207" y="412"/>
                  </a:lnTo>
                  <a:lnTo>
                    <a:pt x="209" y="412"/>
                  </a:lnTo>
                  <a:lnTo>
                    <a:pt x="210" y="412"/>
                  </a:lnTo>
                  <a:lnTo>
                    <a:pt x="211" y="406"/>
                  </a:lnTo>
                  <a:lnTo>
                    <a:pt x="214" y="406"/>
                  </a:lnTo>
                  <a:lnTo>
                    <a:pt x="215" y="406"/>
                  </a:lnTo>
                  <a:lnTo>
                    <a:pt x="216" y="409"/>
                  </a:lnTo>
                  <a:lnTo>
                    <a:pt x="217" y="411"/>
                  </a:lnTo>
                  <a:lnTo>
                    <a:pt x="218" y="410"/>
                  </a:lnTo>
                  <a:lnTo>
                    <a:pt x="218" y="408"/>
                  </a:lnTo>
                  <a:lnTo>
                    <a:pt x="218" y="404"/>
                  </a:lnTo>
                  <a:lnTo>
                    <a:pt x="220" y="403"/>
                  </a:lnTo>
                  <a:lnTo>
                    <a:pt x="221" y="405"/>
                  </a:lnTo>
                  <a:lnTo>
                    <a:pt x="222" y="405"/>
                  </a:lnTo>
                  <a:lnTo>
                    <a:pt x="222" y="404"/>
                  </a:lnTo>
                  <a:lnTo>
                    <a:pt x="224" y="404"/>
                  </a:lnTo>
                  <a:lnTo>
                    <a:pt x="224" y="405"/>
                  </a:lnTo>
                  <a:lnTo>
                    <a:pt x="223" y="409"/>
                  </a:lnTo>
                  <a:lnTo>
                    <a:pt x="220" y="412"/>
                  </a:lnTo>
                  <a:lnTo>
                    <a:pt x="215" y="414"/>
                  </a:lnTo>
                  <a:lnTo>
                    <a:pt x="218" y="415"/>
                  </a:lnTo>
                  <a:lnTo>
                    <a:pt x="215" y="420"/>
                  </a:lnTo>
                  <a:lnTo>
                    <a:pt x="212" y="421"/>
                  </a:lnTo>
                  <a:lnTo>
                    <a:pt x="210" y="426"/>
                  </a:lnTo>
                  <a:lnTo>
                    <a:pt x="204" y="429"/>
                  </a:lnTo>
                  <a:lnTo>
                    <a:pt x="204" y="430"/>
                  </a:lnTo>
                  <a:lnTo>
                    <a:pt x="199" y="435"/>
                  </a:lnTo>
                  <a:lnTo>
                    <a:pt x="199" y="436"/>
                  </a:lnTo>
                  <a:lnTo>
                    <a:pt x="203" y="434"/>
                  </a:lnTo>
                  <a:lnTo>
                    <a:pt x="203" y="435"/>
                  </a:lnTo>
                  <a:lnTo>
                    <a:pt x="198" y="440"/>
                  </a:lnTo>
                  <a:lnTo>
                    <a:pt x="204" y="436"/>
                  </a:lnTo>
                  <a:lnTo>
                    <a:pt x="205" y="436"/>
                  </a:lnTo>
                  <a:lnTo>
                    <a:pt x="206" y="440"/>
                  </a:lnTo>
                  <a:lnTo>
                    <a:pt x="205" y="434"/>
                  </a:lnTo>
                  <a:lnTo>
                    <a:pt x="206" y="433"/>
                  </a:lnTo>
                  <a:lnTo>
                    <a:pt x="210" y="436"/>
                  </a:lnTo>
                  <a:lnTo>
                    <a:pt x="209" y="432"/>
                  </a:lnTo>
                  <a:lnTo>
                    <a:pt x="210" y="430"/>
                  </a:lnTo>
                  <a:lnTo>
                    <a:pt x="211" y="433"/>
                  </a:lnTo>
                  <a:lnTo>
                    <a:pt x="212" y="436"/>
                  </a:lnTo>
                  <a:lnTo>
                    <a:pt x="214" y="427"/>
                  </a:lnTo>
                  <a:lnTo>
                    <a:pt x="215" y="436"/>
                  </a:lnTo>
                  <a:lnTo>
                    <a:pt x="215" y="439"/>
                  </a:lnTo>
                  <a:lnTo>
                    <a:pt x="216" y="439"/>
                  </a:lnTo>
                  <a:lnTo>
                    <a:pt x="217" y="436"/>
                  </a:lnTo>
                  <a:lnTo>
                    <a:pt x="216" y="429"/>
                  </a:lnTo>
                  <a:lnTo>
                    <a:pt x="218" y="432"/>
                  </a:lnTo>
                  <a:lnTo>
                    <a:pt x="220" y="430"/>
                  </a:lnTo>
                  <a:lnTo>
                    <a:pt x="217" y="421"/>
                  </a:lnTo>
                  <a:lnTo>
                    <a:pt x="218" y="418"/>
                  </a:lnTo>
                  <a:lnTo>
                    <a:pt x="218" y="423"/>
                  </a:lnTo>
                  <a:lnTo>
                    <a:pt x="220" y="428"/>
                  </a:lnTo>
                  <a:lnTo>
                    <a:pt x="222" y="428"/>
                  </a:lnTo>
                  <a:lnTo>
                    <a:pt x="220" y="418"/>
                  </a:lnTo>
                  <a:lnTo>
                    <a:pt x="221" y="417"/>
                  </a:lnTo>
                  <a:lnTo>
                    <a:pt x="222" y="422"/>
                  </a:lnTo>
                  <a:lnTo>
                    <a:pt x="222" y="424"/>
                  </a:lnTo>
                  <a:lnTo>
                    <a:pt x="223" y="424"/>
                  </a:lnTo>
                  <a:lnTo>
                    <a:pt x="222" y="414"/>
                  </a:lnTo>
                  <a:lnTo>
                    <a:pt x="223" y="412"/>
                  </a:lnTo>
                  <a:lnTo>
                    <a:pt x="223" y="422"/>
                  </a:lnTo>
                  <a:lnTo>
                    <a:pt x="223" y="424"/>
                  </a:lnTo>
                  <a:lnTo>
                    <a:pt x="224" y="426"/>
                  </a:lnTo>
                  <a:lnTo>
                    <a:pt x="227" y="427"/>
                  </a:lnTo>
                  <a:lnTo>
                    <a:pt x="229" y="426"/>
                  </a:lnTo>
                  <a:lnTo>
                    <a:pt x="229" y="418"/>
                  </a:lnTo>
                  <a:lnTo>
                    <a:pt x="229" y="417"/>
                  </a:lnTo>
                  <a:lnTo>
                    <a:pt x="232" y="416"/>
                  </a:lnTo>
                  <a:lnTo>
                    <a:pt x="234" y="417"/>
                  </a:lnTo>
                  <a:lnTo>
                    <a:pt x="234" y="414"/>
                  </a:lnTo>
                  <a:lnTo>
                    <a:pt x="233" y="410"/>
                  </a:lnTo>
                  <a:lnTo>
                    <a:pt x="234" y="409"/>
                  </a:lnTo>
                  <a:lnTo>
                    <a:pt x="234" y="410"/>
                  </a:lnTo>
                  <a:lnTo>
                    <a:pt x="235" y="412"/>
                  </a:lnTo>
                  <a:lnTo>
                    <a:pt x="236" y="416"/>
                  </a:lnTo>
                  <a:lnTo>
                    <a:pt x="239" y="416"/>
                  </a:lnTo>
                  <a:lnTo>
                    <a:pt x="239" y="412"/>
                  </a:lnTo>
                  <a:lnTo>
                    <a:pt x="242" y="412"/>
                  </a:lnTo>
                  <a:lnTo>
                    <a:pt x="244" y="414"/>
                  </a:lnTo>
                  <a:lnTo>
                    <a:pt x="244" y="416"/>
                  </a:lnTo>
                  <a:lnTo>
                    <a:pt x="241" y="418"/>
                  </a:lnTo>
                  <a:lnTo>
                    <a:pt x="239" y="422"/>
                  </a:lnTo>
                  <a:lnTo>
                    <a:pt x="241" y="421"/>
                  </a:lnTo>
                  <a:lnTo>
                    <a:pt x="239" y="423"/>
                  </a:lnTo>
                  <a:lnTo>
                    <a:pt x="239" y="426"/>
                  </a:lnTo>
                  <a:lnTo>
                    <a:pt x="234" y="430"/>
                  </a:lnTo>
                  <a:lnTo>
                    <a:pt x="232" y="433"/>
                  </a:lnTo>
                  <a:lnTo>
                    <a:pt x="228" y="433"/>
                  </a:lnTo>
                  <a:lnTo>
                    <a:pt x="230" y="434"/>
                  </a:lnTo>
                  <a:lnTo>
                    <a:pt x="230" y="435"/>
                  </a:lnTo>
                  <a:lnTo>
                    <a:pt x="224" y="436"/>
                  </a:lnTo>
                  <a:lnTo>
                    <a:pt x="223" y="438"/>
                  </a:lnTo>
                  <a:lnTo>
                    <a:pt x="224" y="438"/>
                  </a:lnTo>
                  <a:lnTo>
                    <a:pt x="226" y="438"/>
                  </a:lnTo>
                  <a:lnTo>
                    <a:pt x="226" y="439"/>
                  </a:lnTo>
                  <a:lnTo>
                    <a:pt x="224" y="439"/>
                  </a:lnTo>
                  <a:lnTo>
                    <a:pt x="224" y="440"/>
                  </a:lnTo>
                  <a:lnTo>
                    <a:pt x="222" y="442"/>
                  </a:lnTo>
                  <a:lnTo>
                    <a:pt x="222" y="444"/>
                  </a:lnTo>
                  <a:lnTo>
                    <a:pt x="221" y="444"/>
                  </a:lnTo>
                  <a:lnTo>
                    <a:pt x="220" y="444"/>
                  </a:lnTo>
                  <a:lnTo>
                    <a:pt x="218" y="441"/>
                  </a:lnTo>
                  <a:lnTo>
                    <a:pt x="217" y="440"/>
                  </a:lnTo>
                  <a:lnTo>
                    <a:pt x="217" y="441"/>
                  </a:lnTo>
                  <a:lnTo>
                    <a:pt x="217" y="444"/>
                  </a:lnTo>
                  <a:lnTo>
                    <a:pt x="212" y="442"/>
                  </a:lnTo>
                  <a:lnTo>
                    <a:pt x="211" y="442"/>
                  </a:lnTo>
                  <a:lnTo>
                    <a:pt x="211" y="444"/>
                  </a:lnTo>
                  <a:lnTo>
                    <a:pt x="215" y="445"/>
                  </a:lnTo>
                  <a:lnTo>
                    <a:pt x="216" y="445"/>
                  </a:lnTo>
                  <a:lnTo>
                    <a:pt x="215" y="446"/>
                  </a:lnTo>
                  <a:lnTo>
                    <a:pt x="211" y="448"/>
                  </a:lnTo>
                  <a:lnTo>
                    <a:pt x="215" y="450"/>
                  </a:lnTo>
                  <a:lnTo>
                    <a:pt x="214" y="451"/>
                  </a:lnTo>
                  <a:lnTo>
                    <a:pt x="212" y="452"/>
                  </a:lnTo>
                  <a:lnTo>
                    <a:pt x="211" y="452"/>
                  </a:lnTo>
                  <a:lnTo>
                    <a:pt x="210" y="452"/>
                  </a:lnTo>
                  <a:lnTo>
                    <a:pt x="209" y="451"/>
                  </a:lnTo>
                  <a:lnTo>
                    <a:pt x="209" y="452"/>
                  </a:lnTo>
                  <a:lnTo>
                    <a:pt x="209" y="453"/>
                  </a:lnTo>
                  <a:lnTo>
                    <a:pt x="210" y="453"/>
                  </a:lnTo>
                  <a:lnTo>
                    <a:pt x="209" y="454"/>
                  </a:lnTo>
                  <a:lnTo>
                    <a:pt x="207" y="454"/>
                  </a:lnTo>
                  <a:lnTo>
                    <a:pt x="204" y="453"/>
                  </a:lnTo>
                  <a:lnTo>
                    <a:pt x="203" y="453"/>
                  </a:lnTo>
                  <a:lnTo>
                    <a:pt x="203" y="454"/>
                  </a:lnTo>
                  <a:lnTo>
                    <a:pt x="206" y="456"/>
                  </a:lnTo>
                  <a:lnTo>
                    <a:pt x="207" y="456"/>
                  </a:lnTo>
                  <a:lnTo>
                    <a:pt x="206" y="457"/>
                  </a:lnTo>
                  <a:lnTo>
                    <a:pt x="203" y="460"/>
                  </a:lnTo>
                  <a:lnTo>
                    <a:pt x="209" y="457"/>
                  </a:lnTo>
                  <a:lnTo>
                    <a:pt x="210" y="457"/>
                  </a:lnTo>
                  <a:lnTo>
                    <a:pt x="210" y="458"/>
                  </a:lnTo>
                  <a:lnTo>
                    <a:pt x="210" y="462"/>
                  </a:lnTo>
                  <a:lnTo>
                    <a:pt x="209" y="463"/>
                  </a:lnTo>
                  <a:lnTo>
                    <a:pt x="205" y="463"/>
                  </a:lnTo>
                  <a:lnTo>
                    <a:pt x="203" y="463"/>
                  </a:lnTo>
                  <a:lnTo>
                    <a:pt x="199" y="464"/>
                  </a:lnTo>
                  <a:lnTo>
                    <a:pt x="197" y="464"/>
                  </a:lnTo>
                  <a:lnTo>
                    <a:pt x="194" y="464"/>
                  </a:lnTo>
                  <a:lnTo>
                    <a:pt x="193" y="465"/>
                  </a:lnTo>
                  <a:lnTo>
                    <a:pt x="199" y="465"/>
                  </a:lnTo>
                  <a:lnTo>
                    <a:pt x="199" y="466"/>
                  </a:lnTo>
                  <a:lnTo>
                    <a:pt x="195" y="468"/>
                  </a:lnTo>
                  <a:lnTo>
                    <a:pt x="194" y="468"/>
                  </a:lnTo>
                  <a:lnTo>
                    <a:pt x="199" y="469"/>
                  </a:lnTo>
                  <a:lnTo>
                    <a:pt x="200" y="469"/>
                  </a:lnTo>
                  <a:lnTo>
                    <a:pt x="201" y="470"/>
                  </a:lnTo>
                  <a:lnTo>
                    <a:pt x="201" y="472"/>
                  </a:lnTo>
                  <a:lnTo>
                    <a:pt x="201" y="474"/>
                  </a:lnTo>
                  <a:lnTo>
                    <a:pt x="203" y="474"/>
                  </a:lnTo>
                  <a:lnTo>
                    <a:pt x="203" y="472"/>
                  </a:lnTo>
                  <a:lnTo>
                    <a:pt x="203" y="468"/>
                  </a:lnTo>
                  <a:lnTo>
                    <a:pt x="201" y="468"/>
                  </a:lnTo>
                  <a:lnTo>
                    <a:pt x="203" y="466"/>
                  </a:lnTo>
                  <a:lnTo>
                    <a:pt x="204" y="466"/>
                  </a:lnTo>
                  <a:lnTo>
                    <a:pt x="204" y="471"/>
                  </a:lnTo>
                  <a:lnTo>
                    <a:pt x="205" y="469"/>
                  </a:lnTo>
                  <a:lnTo>
                    <a:pt x="206" y="468"/>
                  </a:lnTo>
                  <a:lnTo>
                    <a:pt x="206" y="466"/>
                  </a:lnTo>
                  <a:lnTo>
                    <a:pt x="207" y="465"/>
                  </a:lnTo>
                  <a:lnTo>
                    <a:pt x="207" y="470"/>
                  </a:lnTo>
                  <a:lnTo>
                    <a:pt x="209" y="470"/>
                  </a:lnTo>
                  <a:lnTo>
                    <a:pt x="209" y="471"/>
                  </a:lnTo>
                  <a:lnTo>
                    <a:pt x="206" y="471"/>
                  </a:lnTo>
                  <a:lnTo>
                    <a:pt x="205" y="474"/>
                  </a:lnTo>
                  <a:lnTo>
                    <a:pt x="205" y="475"/>
                  </a:lnTo>
                  <a:lnTo>
                    <a:pt x="206" y="476"/>
                  </a:lnTo>
                  <a:lnTo>
                    <a:pt x="203" y="476"/>
                  </a:lnTo>
                  <a:lnTo>
                    <a:pt x="201" y="476"/>
                  </a:lnTo>
                  <a:lnTo>
                    <a:pt x="199" y="475"/>
                  </a:lnTo>
                  <a:lnTo>
                    <a:pt x="198" y="475"/>
                  </a:lnTo>
                  <a:lnTo>
                    <a:pt x="197" y="476"/>
                  </a:lnTo>
                  <a:lnTo>
                    <a:pt x="193" y="471"/>
                  </a:lnTo>
                  <a:lnTo>
                    <a:pt x="192" y="472"/>
                  </a:lnTo>
                  <a:lnTo>
                    <a:pt x="194" y="476"/>
                  </a:lnTo>
                  <a:lnTo>
                    <a:pt x="192" y="476"/>
                  </a:lnTo>
                  <a:lnTo>
                    <a:pt x="191" y="474"/>
                  </a:lnTo>
                  <a:lnTo>
                    <a:pt x="189" y="474"/>
                  </a:lnTo>
                  <a:lnTo>
                    <a:pt x="188" y="475"/>
                  </a:lnTo>
                  <a:lnTo>
                    <a:pt x="188" y="476"/>
                  </a:lnTo>
                  <a:lnTo>
                    <a:pt x="187" y="478"/>
                  </a:lnTo>
                  <a:lnTo>
                    <a:pt x="186" y="478"/>
                  </a:lnTo>
                  <a:lnTo>
                    <a:pt x="188" y="480"/>
                  </a:lnTo>
                  <a:lnTo>
                    <a:pt x="189" y="478"/>
                  </a:lnTo>
                  <a:lnTo>
                    <a:pt x="191" y="478"/>
                  </a:lnTo>
                  <a:lnTo>
                    <a:pt x="192" y="477"/>
                  </a:lnTo>
                  <a:lnTo>
                    <a:pt x="193" y="478"/>
                  </a:lnTo>
                  <a:lnTo>
                    <a:pt x="193" y="480"/>
                  </a:lnTo>
                  <a:lnTo>
                    <a:pt x="191" y="483"/>
                  </a:lnTo>
                  <a:lnTo>
                    <a:pt x="186" y="484"/>
                  </a:lnTo>
                  <a:lnTo>
                    <a:pt x="182" y="482"/>
                  </a:lnTo>
                  <a:lnTo>
                    <a:pt x="176" y="482"/>
                  </a:lnTo>
                  <a:lnTo>
                    <a:pt x="173" y="486"/>
                  </a:lnTo>
                  <a:lnTo>
                    <a:pt x="171" y="487"/>
                  </a:lnTo>
                  <a:lnTo>
                    <a:pt x="169" y="487"/>
                  </a:lnTo>
                  <a:lnTo>
                    <a:pt x="168" y="488"/>
                  </a:lnTo>
                  <a:lnTo>
                    <a:pt x="167" y="487"/>
                  </a:lnTo>
                  <a:lnTo>
                    <a:pt x="165" y="489"/>
                  </a:lnTo>
                  <a:lnTo>
                    <a:pt x="163" y="492"/>
                  </a:lnTo>
                  <a:lnTo>
                    <a:pt x="163" y="493"/>
                  </a:lnTo>
                  <a:lnTo>
                    <a:pt x="161" y="493"/>
                  </a:lnTo>
                  <a:lnTo>
                    <a:pt x="158" y="493"/>
                  </a:lnTo>
                  <a:lnTo>
                    <a:pt x="158" y="492"/>
                  </a:lnTo>
                  <a:lnTo>
                    <a:pt x="158" y="489"/>
                  </a:lnTo>
                  <a:lnTo>
                    <a:pt x="156" y="488"/>
                  </a:lnTo>
                  <a:lnTo>
                    <a:pt x="156" y="489"/>
                  </a:lnTo>
                  <a:lnTo>
                    <a:pt x="156" y="491"/>
                  </a:lnTo>
                  <a:lnTo>
                    <a:pt x="157" y="493"/>
                  </a:lnTo>
                  <a:lnTo>
                    <a:pt x="158" y="495"/>
                  </a:lnTo>
                  <a:lnTo>
                    <a:pt x="157" y="497"/>
                  </a:lnTo>
                  <a:lnTo>
                    <a:pt x="156" y="498"/>
                  </a:lnTo>
                  <a:lnTo>
                    <a:pt x="153" y="498"/>
                  </a:lnTo>
                  <a:lnTo>
                    <a:pt x="152" y="497"/>
                  </a:lnTo>
                  <a:lnTo>
                    <a:pt x="150" y="497"/>
                  </a:lnTo>
                  <a:lnTo>
                    <a:pt x="147" y="499"/>
                  </a:lnTo>
                  <a:lnTo>
                    <a:pt x="150" y="499"/>
                  </a:lnTo>
                  <a:lnTo>
                    <a:pt x="153" y="499"/>
                  </a:lnTo>
                  <a:lnTo>
                    <a:pt x="152" y="500"/>
                  </a:lnTo>
                  <a:lnTo>
                    <a:pt x="147" y="505"/>
                  </a:lnTo>
                  <a:lnTo>
                    <a:pt x="146" y="504"/>
                  </a:lnTo>
                  <a:lnTo>
                    <a:pt x="145" y="505"/>
                  </a:lnTo>
                  <a:lnTo>
                    <a:pt x="144" y="506"/>
                  </a:lnTo>
                  <a:lnTo>
                    <a:pt x="138" y="506"/>
                  </a:lnTo>
                  <a:lnTo>
                    <a:pt x="134" y="506"/>
                  </a:lnTo>
                  <a:lnTo>
                    <a:pt x="133" y="506"/>
                  </a:lnTo>
                  <a:lnTo>
                    <a:pt x="130" y="506"/>
                  </a:lnTo>
                  <a:lnTo>
                    <a:pt x="130" y="507"/>
                  </a:lnTo>
                  <a:lnTo>
                    <a:pt x="133" y="507"/>
                  </a:lnTo>
                  <a:lnTo>
                    <a:pt x="135" y="509"/>
                  </a:lnTo>
                  <a:lnTo>
                    <a:pt x="132" y="512"/>
                  </a:lnTo>
                  <a:lnTo>
                    <a:pt x="132" y="513"/>
                  </a:lnTo>
                  <a:lnTo>
                    <a:pt x="133" y="513"/>
                  </a:lnTo>
                  <a:lnTo>
                    <a:pt x="136" y="510"/>
                  </a:lnTo>
                  <a:lnTo>
                    <a:pt x="138" y="510"/>
                  </a:lnTo>
                  <a:lnTo>
                    <a:pt x="139" y="510"/>
                  </a:lnTo>
                  <a:lnTo>
                    <a:pt x="139" y="511"/>
                  </a:lnTo>
                  <a:lnTo>
                    <a:pt x="138" y="512"/>
                  </a:lnTo>
                  <a:lnTo>
                    <a:pt x="138" y="513"/>
                  </a:lnTo>
                  <a:lnTo>
                    <a:pt x="139" y="513"/>
                  </a:lnTo>
                  <a:lnTo>
                    <a:pt x="140" y="511"/>
                  </a:lnTo>
                  <a:lnTo>
                    <a:pt x="140" y="510"/>
                  </a:lnTo>
                  <a:lnTo>
                    <a:pt x="142" y="507"/>
                  </a:lnTo>
                  <a:lnTo>
                    <a:pt x="146" y="507"/>
                  </a:lnTo>
                  <a:lnTo>
                    <a:pt x="146" y="510"/>
                  </a:lnTo>
                  <a:lnTo>
                    <a:pt x="141" y="513"/>
                  </a:lnTo>
                  <a:lnTo>
                    <a:pt x="140" y="516"/>
                  </a:lnTo>
                  <a:lnTo>
                    <a:pt x="133" y="521"/>
                  </a:lnTo>
                  <a:lnTo>
                    <a:pt x="133" y="522"/>
                  </a:lnTo>
                  <a:lnTo>
                    <a:pt x="138" y="519"/>
                  </a:lnTo>
                  <a:lnTo>
                    <a:pt x="139" y="519"/>
                  </a:lnTo>
                  <a:lnTo>
                    <a:pt x="139" y="522"/>
                  </a:lnTo>
                  <a:lnTo>
                    <a:pt x="140" y="522"/>
                  </a:lnTo>
                  <a:lnTo>
                    <a:pt x="140" y="518"/>
                  </a:lnTo>
                  <a:lnTo>
                    <a:pt x="141" y="517"/>
                  </a:lnTo>
                  <a:lnTo>
                    <a:pt x="142" y="517"/>
                  </a:lnTo>
                  <a:lnTo>
                    <a:pt x="144" y="522"/>
                  </a:lnTo>
                  <a:lnTo>
                    <a:pt x="145" y="525"/>
                  </a:lnTo>
                  <a:lnTo>
                    <a:pt x="146" y="527"/>
                  </a:lnTo>
                  <a:lnTo>
                    <a:pt x="147" y="527"/>
                  </a:lnTo>
                  <a:lnTo>
                    <a:pt x="149" y="528"/>
                  </a:lnTo>
                  <a:lnTo>
                    <a:pt x="149" y="523"/>
                  </a:lnTo>
                  <a:lnTo>
                    <a:pt x="152" y="522"/>
                  </a:lnTo>
                  <a:lnTo>
                    <a:pt x="153" y="521"/>
                  </a:lnTo>
                  <a:lnTo>
                    <a:pt x="153" y="518"/>
                  </a:lnTo>
                  <a:lnTo>
                    <a:pt x="155" y="517"/>
                  </a:lnTo>
                  <a:lnTo>
                    <a:pt x="155" y="518"/>
                  </a:lnTo>
                  <a:lnTo>
                    <a:pt x="157" y="519"/>
                  </a:lnTo>
                  <a:lnTo>
                    <a:pt x="158" y="522"/>
                  </a:lnTo>
                  <a:lnTo>
                    <a:pt x="159" y="523"/>
                  </a:lnTo>
                  <a:lnTo>
                    <a:pt x="159" y="528"/>
                  </a:lnTo>
                  <a:lnTo>
                    <a:pt x="161" y="528"/>
                  </a:lnTo>
                  <a:lnTo>
                    <a:pt x="162" y="528"/>
                  </a:lnTo>
                  <a:lnTo>
                    <a:pt x="162" y="527"/>
                  </a:lnTo>
                  <a:lnTo>
                    <a:pt x="162" y="519"/>
                  </a:lnTo>
                  <a:lnTo>
                    <a:pt x="163" y="518"/>
                  </a:lnTo>
                  <a:lnTo>
                    <a:pt x="163" y="524"/>
                  </a:lnTo>
                  <a:lnTo>
                    <a:pt x="164" y="524"/>
                  </a:lnTo>
                  <a:lnTo>
                    <a:pt x="164" y="523"/>
                  </a:lnTo>
                  <a:lnTo>
                    <a:pt x="165" y="521"/>
                  </a:lnTo>
                  <a:lnTo>
                    <a:pt x="165" y="519"/>
                  </a:lnTo>
                  <a:lnTo>
                    <a:pt x="167" y="519"/>
                  </a:lnTo>
                  <a:lnTo>
                    <a:pt x="168" y="521"/>
                  </a:lnTo>
                  <a:lnTo>
                    <a:pt x="168" y="522"/>
                  </a:lnTo>
                  <a:lnTo>
                    <a:pt x="169" y="521"/>
                  </a:lnTo>
                  <a:lnTo>
                    <a:pt x="170" y="519"/>
                  </a:lnTo>
                  <a:lnTo>
                    <a:pt x="169" y="518"/>
                  </a:lnTo>
                  <a:lnTo>
                    <a:pt x="168" y="516"/>
                  </a:lnTo>
                  <a:lnTo>
                    <a:pt x="169" y="515"/>
                  </a:lnTo>
                  <a:lnTo>
                    <a:pt x="169" y="512"/>
                  </a:lnTo>
                  <a:lnTo>
                    <a:pt x="169" y="511"/>
                  </a:lnTo>
                  <a:lnTo>
                    <a:pt x="170" y="511"/>
                  </a:lnTo>
                  <a:lnTo>
                    <a:pt x="171" y="511"/>
                  </a:lnTo>
                  <a:lnTo>
                    <a:pt x="170" y="512"/>
                  </a:lnTo>
                  <a:lnTo>
                    <a:pt x="170" y="513"/>
                  </a:lnTo>
                  <a:lnTo>
                    <a:pt x="170" y="515"/>
                  </a:lnTo>
                  <a:lnTo>
                    <a:pt x="169" y="516"/>
                  </a:lnTo>
                  <a:lnTo>
                    <a:pt x="170" y="518"/>
                  </a:lnTo>
                  <a:lnTo>
                    <a:pt x="170" y="519"/>
                  </a:lnTo>
                  <a:lnTo>
                    <a:pt x="171" y="519"/>
                  </a:lnTo>
                  <a:lnTo>
                    <a:pt x="171" y="521"/>
                  </a:lnTo>
                  <a:lnTo>
                    <a:pt x="170" y="524"/>
                  </a:lnTo>
                  <a:lnTo>
                    <a:pt x="170" y="528"/>
                  </a:lnTo>
                  <a:lnTo>
                    <a:pt x="171" y="528"/>
                  </a:lnTo>
                  <a:lnTo>
                    <a:pt x="173" y="525"/>
                  </a:lnTo>
                  <a:lnTo>
                    <a:pt x="173" y="524"/>
                  </a:lnTo>
                  <a:lnTo>
                    <a:pt x="174" y="523"/>
                  </a:lnTo>
                  <a:lnTo>
                    <a:pt x="175" y="522"/>
                  </a:lnTo>
                  <a:lnTo>
                    <a:pt x="175" y="517"/>
                  </a:lnTo>
                  <a:lnTo>
                    <a:pt x="175" y="516"/>
                  </a:lnTo>
                  <a:lnTo>
                    <a:pt x="176" y="516"/>
                  </a:lnTo>
                  <a:lnTo>
                    <a:pt x="176" y="517"/>
                  </a:lnTo>
                  <a:lnTo>
                    <a:pt x="179" y="519"/>
                  </a:lnTo>
                  <a:lnTo>
                    <a:pt x="179" y="521"/>
                  </a:lnTo>
                  <a:lnTo>
                    <a:pt x="180" y="522"/>
                  </a:lnTo>
                  <a:lnTo>
                    <a:pt x="181" y="523"/>
                  </a:lnTo>
                  <a:lnTo>
                    <a:pt x="181" y="524"/>
                  </a:lnTo>
                  <a:lnTo>
                    <a:pt x="180" y="527"/>
                  </a:lnTo>
                  <a:lnTo>
                    <a:pt x="179" y="527"/>
                  </a:lnTo>
                  <a:lnTo>
                    <a:pt x="176" y="528"/>
                  </a:lnTo>
                  <a:lnTo>
                    <a:pt x="175" y="528"/>
                  </a:lnTo>
                  <a:lnTo>
                    <a:pt x="173" y="530"/>
                  </a:lnTo>
                  <a:lnTo>
                    <a:pt x="171" y="531"/>
                  </a:lnTo>
                  <a:lnTo>
                    <a:pt x="173" y="531"/>
                  </a:lnTo>
                  <a:lnTo>
                    <a:pt x="174" y="531"/>
                  </a:lnTo>
                  <a:lnTo>
                    <a:pt x="176" y="531"/>
                  </a:lnTo>
                  <a:lnTo>
                    <a:pt x="176" y="530"/>
                  </a:lnTo>
                  <a:lnTo>
                    <a:pt x="177" y="530"/>
                  </a:lnTo>
                  <a:lnTo>
                    <a:pt x="177" y="531"/>
                  </a:lnTo>
                  <a:lnTo>
                    <a:pt x="177" y="533"/>
                  </a:lnTo>
                  <a:lnTo>
                    <a:pt x="176" y="534"/>
                  </a:lnTo>
                  <a:lnTo>
                    <a:pt x="175" y="535"/>
                  </a:lnTo>
                  <a:lnTo>
                    <a:pt x="174" y="535"/>
                  </a:lnTo>
                  <a:lnTo>
                    <a:pt x="173" y="535"/>
                  </a:lnTo>
                  <a:lnTo>
                    <a:pt x="171" y="533"/>
                  </a:lnTo>
                  <a:lnTo>
                    <a:pt x="170" y="533"/>
                  </a:lnTo>
                  <a:lnTo>
                    <a:pt x="170" y="534"/>
                  </a:lnTo>
                  <a:lnTo>
                    <a:pt x="170" y="535"/>
                  </a:lnTo>
                  <a:lnTo>
                    <a:pt x="165" y="535"/>
                  </a:lnTo>
                  <a:lnTo>
                    <a:pt x="164" y="534"/>
                  </a:lnTo>
                  <a:lnTo>
                    <a:pt x="162" y="534"/>
                  </a:lnTo>
                  <a:lnTo>
                    <a:pt x="162" y="533"/>
                  </a:lnTo>
                  <a:lnTo>
                    <a:pt x="161" y="533"/>
                  </a:lnTo>
                  <a:lnTo>
                    <a:pt x="159" y="534"/>
                  </a:lnTo>
                  <a:lnTo>
                    <a:pt x="151" y="535"/>
                  </a:lnTo>
                  <a:lnTo>
                    <a:pt x="150" y="534"/>
                  </a:lnTo>
                  <a:lnTo>
                    <a:pt x="149" y="534"/>
                  </a:lnTo>
                  <a:lnTo>
                    <a:pt x="146" y="535"/>
                  </a:lnTo>
                  <a:lnTo>
                    <a:pt x="145" y="535"/>
                  </a:lnTo>
                  <a:lnTo>
                    <a:pt x="144" y="534"/>
                  </a:lnTo>
                  <a:lnTo>
                    <a:pt x="142" y="534"/>
                  </a:lnTo>
                  <a:lnTo>
                    <a:pt x="141" y="534"/>
                  </a:lnTo>
                  <a:lnTo>
                    <a:pt x="138" y="534"/>
                  </a:lnTo>
                  <a:lnTo>
                    <a:pt x="136" y="535"/>
                  </a:lnTo>
                  <a:lnTo>
                    <a:pt x="133" y="536"/>
                  </a:lnTo>
                  <a:lnTo>
                    <a:pt x="132" y="535"/>
                  </a:lnTo>
                  <a:lnTo>
                    <a:pt x="129" y="535"/>
                  </a:lnTo>
                  <a:lnTo>
                    <a:pt x="127" y="536"/>
                  </a:lnTo>
                  <a:lnTo>
                    <a:pt x="124" y="537"/>
                  </a:lnTo>
                  <a:lnTo>
                    <a:pt x="123" y="537"/>
                  </a:lnTo>
                  <a:lnTo>
                    <a:pt x="122" y="539"/>
                  </a:lnTo>
                  <a:lnTo>
                    <a:pt x="118" y="539"/>
                  </a:lnTo>
                  <a:lnTo>
                    <a:pt x="117" y="540"/>
                  </a:lnTo>
                  <a:lnTo>
                    <a:pt x="116" y="541"/>
                  </a:lnTo>
                  <a:lnTo>
                    <a:pt x="112" y="541"/>
                  </a:lnTo>
                  <a:lnTo>
                    <a:pt x="111" y="542"/>
                  </a:lnTo>
                  <a:lnTo>
                    <a:pt x="110" y="542"/>
                  </a:lnTo>
                  <a:lnTo>
                    <a:pt x="109" y="543"/>
                  </a:lnTo>
                  <a:lnTo>
                    <a:pt x="108" y="545"/>
                  </a:lnTo>
                  <a:lnTo>
                    <a:pt x="106" y="546"/>
                  </a:lnTo>
                  <a:lnTo>
                    <a:pt x="105" y="547"/>
                  </a:lnTo>
                  <a:lnTo>
                    <a:pt x="103" y="547"/>
                  </a:lnTo>
                  <a:lnTo>
                    <a:pt x="100" y="546"/>
                  </a:lnTo>
                  <a:lnTo>
                    <a:pt x="99" y="546"/>
                  </a:lnTo>
                  <a:lnTo>
                    <a:pt x="98" y="547"/>
                  </a:lnTo>
                  <a:lnTo>
                    <a:pt x="97" y="547"/>
                  </a:lnTo>
                  <a:lnTo>
                    <a:pt x="94" y="546"/>
                  </a:lnTo>
                  <a:lnTo>
                    <a:pt x="93" y="546"/>
                  </a:lnTo>
                  <a:lnTo>
                    <a:pt x="97" y="548"/>
                  </a:lnTo>
                  <a:lnTo>
                    <a:pt x="96" y="549"/>
                  </a:lnTo>
                  <a:lnTo>
                    <a:pt x="90" y="553"/>
                  </a:lnTo>
                  <a:lnTo>
                    <a:pt x="96" y="552"/>
                  </a:lnTo>
                  <a:lnTo>
                    <a:pt x="97" y="552"/>
                  </a:lnTo>
                  <a:lnTo>
                    <a:pt x="98" y="553"/>
                  </a:lnTo>
                  <a:lnTo>
                    <a:pt x="97" y="555"/>
                  </a:lnTo>
                  <a:lnTo>
                    <a:pt x="99" y="554"/>
                  </a:lnTo>
                  <a:lnTo>
                    <a:pt x="99" y="553"/>
                  </a:lnTo>
                  <a:lnTo>
                    <a:pt x="99" y="551"/>
                  </a:lnTo>
                  <a:lnTo>
                    <a:pt x="100" y="551"/>
                  </a:lnTo>
                  <a:lnTo>
                    <a:pt x="100" y="552"/>
                  </a:lnTo>
                  <a:lnTo>
                    <a:pt x="102" y="553"/>
                  </a:lnTo>
                  <a:lnTo>
                    <a:pt x="103" y="549"/>
                  </a:lnTo>
                  <a:lnTo>
                    <a:pt x="104" y="549"/>
                  </a:lnTo>
                  <a:lnTo>
                    <a:pt x="104" y="553"/>
                  </a:lnTo>
                  <a:lnTo>
                    <a:pt x="105" y="554"/>
                  </a:lnTo>
                  <a:lnTo>
                    <a:pt x="106" y="555"/>
                  </a:lnTo>
                  <a:lnTo>
                    <a:pt x="106" y="558"/>
                  </a:lnTo>
                  <a:lnTo>
                    <a:pt x="108" y="558"/>
                  </a:lnTo>
                  <a:lnTo>
                    <a:pt x="109" y="559"/>
                  </a:lnTo>
                  <a:lnTo>
                    <a:pt x="110" y="560"/>
                  </a:lnTo>
                  <a:lnTo>
                    <a:pt x="110" y="563"/>
                  </a:lnTo>
                  <a:lnTo>
                    <a:pt x="111" y="564"/>
                  </a:lnTo>
                  <a:lnTo>
                    <a:pt x="112" y="563"/>
                  </a:lnTo>
                  <a:lnTo>
                    <a:pt x="114" y="561"/>
                  </a:lnTo>
                  <a:lnTo>
                    <a:pt x="114" y="559"/>
                  </a:lnTo>
                  <a:lnTo>
                    <a:pt x="111" y="558"/>
                  </a:lnTo>
                  <a:lnTo>
                    <a:pt x="114" y="557"/>
                  </a:lnTo>
                  <a:lnTo>
                    <a:pt x="114" y="555"/>
                  </a:lnTo>
                  <a:lnTo>
                    <a:pt x="112" y="553"/>
                  </a:lnTo>
                  <a:lnTo>
                    <a:pt x="112" y="551"/>
                  </a:lnTo>
                  <a:lnTo>
                    <a:pt x="114" y="549"/>
                  </a:lnTo>
                  <a:lnTo>
                    <a:pt x="112" y="547"/>
                  </a:lnTo>
                  <a:lnTo>
                    <a:pt x="114" y="546"/>
                  </a:lnTo>
                  <a:lnTo>
                    <a:pt x="115" y="545"/>
                  </a:lnTo>
                  <a:lnTo>
                    <a:pt x="116" y="545"/>
                  </a:lnTo>
                  <a:lnTo>
                    <a:pt x="116" y="546"/>
                  </a:lnTo>
                  <a:lnTo>
                    <a:pt x="115" y="547"/>
                  </a:lnTo>
                  <a:lnTo>
                    <a:pt x="115" y="549"/>
                  </a:lnTo>
                  <a:lnTo>
                    <a:pt x="116" y="549"/>
                  </a:lnTo>
                  <a:lnTo>
                    <a:pt x="117" y="549"/>
                  </a:lnTo>
                  <a:lnTo>
                    <a:pt x="117" y="551"/>
                  </a:lnTo>
                  <a:lnTo>
                    <a:pt x="117" y="552"/>
                  </a:lnTo>
                  <a:lnTo>
                    <a:pt x="116" y="553"/>
                  </a:lnTo>
                  <a:lnTo>
                    <a:pt x="116" y="555"/>
                  </a:lnTo>
                  <a:lnTo>
                    <a:pt x="116" y="558"/>
                  </a:lnTo>
                  <a:lnTo>
                    <a:pt x="117" y="558"/>
                  </a:lnTo>
                  <a:lnTo>
                    <a:pt x="117" y="555"/>
                  </a:lnTo>
                  <a:lnTo>
                    <a:pt x="118" y="553"/>
                  </a:lnTo>
                  <a:lnTo>
                    <a:pt x="120" y="553"/>
                  </a:lnTo>
                  <a:lnTo>
                    <a:pt x="120" y="555"/>
                  </a:lnTo>
                  <a:lnTo>
                    <a:pt x="121" y="557"/>
                  </a:lnTo>
                  <a:lnTo>
                    <a:pt x="122" y="555"/>
                  </a:lnTo>
                  <a:lnTo>
                    <a:pt x="121" y="554"/>
                  </a:lnTo>
                  <a:lnTo>
                    <a:pt x="122" y="553"/>
                  </a:lnTo>
                  <a:lnTo>
                    <a:pt x="122" y="552"/>
                  </a:lnTo>
                  <a:lnTo>
                    <a:pt x="123" y="551"/>
                  </a:lnTo>
                  <a:lnTo>
                    <a:pt x="124" y="552"/>
                  </a:lnTo>
                  <a:lnTo>
                    <a:pt x="124" y="553"/>
                  </a:lnTo>
                  <a:lnTo>
                    <a:pt x="124" y="554"/>
                  </a:lnTo>
                  <a:lnTo>
                    <a:pt x="124" y="557"/>
                  </a:lnTo>
                  <a:lnTo>
                    <a:pt x="123" y="558"/>
                  </a:lnTo>
                  <a:lnTo>
                    <a:pt x="123" y="563"/>
                  </a:lnTo>
                  <a:lnTo>
                    <a:pt x="123" y="565"/>
                  </a:lnTo>
                  <a:lnTo>
                    <a:pt x="124" y="564"/>
                  </a:lnTo>
                  <a:lnTo>
                    <a:pt x="126" y="564"/>
                  </a:lnTo>
                  <a:lnTo>
                    <a:pt x="126" y="561"/>
                  </a:lnTo>
                  <a:lnTo>
                    <a:pt x="126" y="560"/>
                  </a:lnTo>
                  <a:lnTo>
                    <a:pt x="127" y="559"/>
                  </a:lnTo>
                  <a:lnTo>
                    <a:pt x="127" y="558"/>
                  </a:lnTo>
                  <a:lnTo>
                    <a:pt x="128" y="557"/>
                  </a:lnTo>
                  <a:lnTo>
                    <a:pt x="128" y="552"/>
                  </a:lnTo>
                  <a:lnTo>
                    <a:pt x="129" y="553"/>
                  </a:lnTo>
                  <a:lnTo>
                    <a:pt x="130" y="553"/>
                  </a:lnTo>
                  <a:lnTo>
                    <a:pt x="130" y="552"/>
                  </a:lnTo>
                  <a:lnTo>
                    <a:pt x="132" y="552"/>
                  </a:lnTo>
                  <a:lnTo>
                    <a:pt x="132" y="549"/>
                  </a:lnTo>
                  <a:lnTo>
                    <a:pt x="132" y="547"/>
                  </a:lnTo>
                  <a:lnTo>
                    <a:pt x="133" y="549"/>
                  </a:lnTo>
                  <a:lnTo>
                    <a:pt x="133" y="552"/>
                  </a:lnTo>
                  <a:lnTo>
                    <a:pt x="133" y="554"/>
                  </a:lnTo>
                  <a:lnTo>
                    <a:pt x="132" y="554"/>
                  </a:lnTo>
                  <a:lnTo>
                    <a:pt x="132" y="557"/>
                  </a:lnTo>
                  <a:lnTo>
                    <a:pt x="132" y="558"/>
                  </a:lnTo>
                  <a:lnTo>
                    <a:pt x="133" y="557"/>
                  </a:lnTo>
                  <a:lnTo>
                    <a:pt x="134" y="557"/>
                  </a:lnTo>
                  <a:lnTo>
                    <a:pt x="135" y="557"/>
                  </a:lnTo>
                  <a:lnTo>
                    <a:pt x="135" y="555"/>
                  </a:lnTo>
                  <a:lnTo>
                    <a:pt x="136" y="560"/>
                  </a:lnTo>
                  <a:lnTo>
                    <a:pt x="136" y="561"/>
                  </a:lnTo>
                  <a:lnTo>
                    <a:pt x="138" y="561"/>
                  </a:lnTo>
                  <a:lnTo>
                    <a:pt x="138" y="555"/>
                  </a:lnTo>
                  <a:lnTo>
                    <a:pt x="139" y="555"/>
                  </a:lnTo>
                  <a:lnTo>
                    <a:pt x="139" y="558"/>
                  </a:lnTo>
                  <a:lnTo>
                    <a:pt x="139" y="559"/>
                  </a:lnTo>
                  <a:lnTo>
                    <a:pt x="140" y="559"/>
                  </a:lnTo>
                  <a:lnTo>
                    <a:pt x="140" y="560"/>
                  </a:lnTo>
                  <a:lnTo>
                    <a:pt x="141" y="561"/>
                  </a:lnTo>
                  <a:lnTo>
                    <a:pt x="141" y="563"/>
                  </a:lnTo>
                  <a:lnTo>
                    <a:pt x="141" y="565"/>
                  </a:lnTo>
                  <a:lnTo>
                    <a:pt x="142" y="565"/>
                  </a:lnTo>
                  <a:lnTo>
                    <a:pt x="142" y="566"/>
                  </a:lnTo>
                  <a:lnTo>
                    <a:pt x="144" y="567"/>
                  </a:lnTo>
                  <a:lnTo>
                    <a:pt x="145" y="567"/>
                  </a:lnTo>
                  <a:lnTo>
                    <a:pt x="145" y="566"/>
                  </a:lnTo>
                  <a:lnTo>
                    <a:pt x="146" y="566"/>
                  </a:lnTo>
                  <a:lnTo>
                    <a:pt x="146" y="565"/>
                  </a:lnTo>
                  <a:lnTo>
                    <a:pt x="146" y="564"/>
                  </a:lnTo>
                  <a:lnTo>
                    <a:pt x="146" y="563"/>
                  </a:lnTo>
                  <a:lnTo>
                    <a:pt x="147" y="561"/>
                  </a:lnTo>
                  <a:lnTo>
                    <a:pt x="147" y="560"/>
                  </a:lnTo>
                  <a:lnTo>
                    <a:pt x="149" y="561"/>
                  </a:lnTo>
                  <a:lnTo>
                    <a:pt x="149" y="560"/>
                  </a:lnTo>
                  <a:lnTo>
                    <a:pt x="149" y="559"/>
                  </a:lnTo>
                  <a:lnTo>
                    <a:pt x="149" y="558"/>
                  </a:lnTo>
                  <a:lnTo>
                    <a:pt x="149" y="557"/>
                  </a:lnTo>
                  <a:lnTo>
                    <a:pt x="150" y="557"/>
                  </a:lnTo>
                  <a:lnTo>
                    <a:pt x="151" y="557"/>
                  </a:lnTo>
                  <a:lnTo>
                    <a:pt x="151" y="558"/>
                  </a:lnTo>
                  <a:lnTo>
                    <a:pt x="152" y="559"/>
                  </a:lnTo>
                  <a:lnTo>
                    <a:pt x="152" y="558"/>
                  </a:lnTo>
                  <a:lnTo>
                    <a:pt x="153" y="559"/>
                  </a:lnTo>
                  <a:lnTo>
                    <a:pt x="153" y="560"/>
                  </a:lnTo>
                  <a:lnTo>
                    <a:pt x="153" y="561"/>
                  </a:lnTo>
                  <a:lnTo>
                    <a:pt x="152" y="563"/>
                  </a:lnTo>
                  <a:lnTo>
                    <a:pt x="153" y="564"/>
                  </a:lnTo>
                  <a:lnTo>
                    <a:pt x="152" y="565"/>
                  </a:lnTo>
                  <a:lnTo>
                    <a:pt x="152" y="566"/>
                  </a:lnTo>
                  <a:lnTo>
                    <a:pt x="152" y="567"/>
                  </a:lnTo>
                  <a:lnTo>
                    <a:pt x="153" y="567"/>
                  </a:lnTo>
                  <a:lnTo>
                    <a:pt x="153" y="566"/>
                  </a:lnTo>
                  <a:lnTo>
                    <a:pt x="155" y="566"/>
                  </a:lnTo>
                  <a:lnTo>
                    <a:pt x="156" y="565"/>
                  </a:lnTo>
                  <a:lnTo>
                    <a:pt x="157" y="565"/>
                  </a:lnTo>
                  <a:lnTo>
                    <a:pt x="158" y="565"/>
                  </a:lnTo>
                  <a:lnTo>
                    <a:pt x="159" y="565"/>
                  </a:lnTo>
                  <a:lnTo>
                    <a:pt x="159" y="566"/>
                  </a:lnTo>
                  <a:lnTo>
                    <a:pt x="161" y="566"/>
                  </a:lnTo>
                  <a:lnTo>
                    <a:pt x="162" y="565"/>
                  </a:lnTo>
                  <a:lnTo>
                    <a:pt x="162" y="563"/>
                  </a:lnTo>
                  <a:lnTo>
                    <a:pt x="162" y="561"/>
                  </a:lnTo>
                  <a:lnTo>
                    <a:pt x="163" y="563"/>
                  </a:lnTo>
                  <a:lnTo>
                    <a:pt x="164" y="563"/>
                  </a:lnTo>
                  <a:lnTo>
                    <a:pt x="163" y="564"/>
                  </a:lnTo>
                  <a:lnTo>
                    <a:pt x="163" y="565"/>
                  </a:lnTo>
                  <a:lnTo>
                    <a:pt x="163" y="566"/>
                  </a:lnTo>
                  <a:lnTo>
                    <a:pt x="164" y="566"/>
                  </a:lnTo>
                  <a:lnTo>
                    <a:pt x="165" y="566"/>
                  </a:lnTo>
                  <a:lnTo>
                    <a:pt x="167" y="566"/>
                  </a:lnTo>
                  <a:lnTo>
                    <a:pt x="168" y="565"/>
                  </a:lnTo>
                  <a:lnTo>
                    <a:pt x="168" y="564"/>
                  </a:lnTo>
                  <a:lnTo>
                    <a:pt x="169" y="564"/>
                  </a:lnTo>
                  <a:lnTo>
                    <a:pt x="170" y="563"/>
                  </a:lnTo>
                  <a:lnTo>
                    <a:pt x="171" y="564"/>
                  </a:lnTo>
                  <a:lnTo>
                    <a:pt x="171" y="565"/>
                  </a:lnTo>
                  <a:lnTo>
                    <a:pt x="173" y="565"/>
                  </a:lnTo>
                  <a:lnTo>
                    <a:pt x="173" y="566"/>
                  </a:lnTo>
                  <a:lnTo>
                    <a:pt x="174" y="567"/>
                  </a:lnTo>
                  <a:lnTo>
                    <a:pt x="173" y="567"/>
                  </a:lnTo>
                  <a:lnTo>
                    <a:pt x="170" y="567"/>
                  </a:lnTo>
                  <a:lnTo>
                    <a:pt x="170" y="569"/>
                  </a:lnTo>
                  <a:lnTo>
                    <a:pt x="169" y="569"/>
                  </a:lnTo>
                  <a:lnTo>
                    <a:pt x="168" y="569"/>
                  </a:lnTo>
                  <a:lnTo>
                    <a:pt x="167" y="569"/>
                  </a:lnTo>
                  <a:lnTo>
                    <a:pt x="167" y="566"/>
                  </a:lnTo>
                  <a:lnTo>
                    <a:pt x="165" y="567"/>
                  </a:lnTo>
                  <a:lnTo>
                    <a:pt x="164" y="567"/>
                  </a:lnTo>
                  <a:lnTo>
                    <a:pt x="163" y="567"/>
                  </a:lnTo>
                  <a:lnTo>
                    <a:pt x="162" y="567"/>
                  </a:lnTo>
                  <a:lnTo>
                    <a:pt x="161" y="569"/>
                  </a:lnTo>
                  <a:lnTo>
                    <a:pt x="159" y="569"/>
                  </a:lnTo>
                  <a:lnTo>
                    <a:pt x="158" y="569"/>
                  </a:lnTo>
                  <a:lnTo>
                    <a:pt x="157" y="569"/>
                  </a:lnTo>
                  <a:lnTo>
                    <a:pt x="151" y="569"/>
                  </a:lnTo>
                  <a:lnTo>
                    <a:pt x="150" y="570"/>
                  </a:lnTo>
                  <a:lnTo>
                    <a:pt x="151" y="570"/>
                  </a:lnTo>
                  <a:lnTo>
                    <a:pt x="153" y="570"/>
                  </a:lnTo>
                  <a:lnTo>
                    <a:pt x="153" y="571"/>
                  </a:lnTo>
                  <a:lnTo>
                    <a:pt x="155" y="571"/>
                  </a:lnTo>
                  <a:lnTo>
                    <a:pt x="156" y="571"/>
                  </a:lnTo>
                  <a:lnTo>
                    <a:pt x="156" y="572"/>
                  </a:lnTo>
                  <a:lnTo>
                    <a:pt x="155" y="573"/>
                  </a:lnTo>
                  <a:lnTo>
                    <a:pt x="153" y="575"/>
                  </a:lnTo>
                  <a:lnTo>
                    <a:pt x="153" y="576"/>
                  </a:lnTo>
                  <a:lnTo>
                    <a:pt x="155" y="576"/>
                  </a:lnTo>
                  <a:lnTo>
                    <a:pt x="156" y="575"/>
                  </a:lnTo>
                  <a:lnTo>
                    <a:pt x="157" y="573"/>
                  </a:lnTo>
                  <a:lnTo>
                    <a:pt x="157" y="572"/>
                  </a:lnTo>
                  <a:lnTo>
                    <a:pt x="158" y="571"/>
                  </a:lnTo>
                  <a:lnTo>
                    <a:pt x="159" y="571"/>
                  </a:lnTo>
                  <a:lnTo>
                    <a:pt x="159" y="572"/>
                  </a:lnTo>
                  <a:lnTo>
                    <a:pt x="159" y="573"/>
                  </a:lnTo>
                  <a:lnTo>
                    <a:pt x="158" y="575"/>
                  </a:lnTo>
                  <a:lnTo>
                    <a:pt x="159" y="575"/>
                  </a:lnTo>
                  <a:lnTo>
                    <a:pt x="161" y="575"/>
                  </a:lnTo>
                  <a:lnTo>
                    <a:pt x="161" y="572"/>
                  </a:lnTo>
                  <a:lnTo>
                    <a:pt x="162" y="571"/>
                  </a:lnTo>
                  <a:lnTo>
                    <a:pt x="162" y="572"/>
                  </a:lnTo>
                  <a:lnTo>
                    <a:pt x="163" y="572"/>
                  </a:lnTo>
                  <a:lnTo>
                    <a:pt x="163" y="571"/>
                  </a:lnTo>
                  <a:lnTo>
                    <a:pt x="164" y="571"/>
                  </a:lnTo>
                  <a:lnTo>
                    <a:pt x="164" y="570"/>
                  </a:lnTo>
                  <a:lnTo>
                    <a:pt x="165" y="570"/>
                  </a:lnTo>
                  <a:lnTo>
                    <a:pt x="165" y="571"/>
                  </a:lnTo>
                  <a:lnTo>
                    <a:pt x="164" y="572"/>
                  </a:lnTo>
                  <a:lnTo>
                    <a:pt x="164" y="573"/>
                  </a:lnTo>
                  <a:lnTo>
                    <a:pt x="164" y="575"/>
                  </a:lnTo>
                  <a:lnTo>
                    <a:pt x="164" y="576"/>
                  </a:lnTo>
                  <a:lnTo>
                    <a:pt x="163" y="577"/>
                  </a:lnTo>
                  <a:lnTo>
                    <a:pt x="163" y="578"/>
                  </a:lnTo>
                  <a:lnTo>
                    <a:pt x="163" y="579"/>
                  </a:lnTo>
                  <a:lnTo>
                    <a:pt x="164" y="579"/>
                  </a:lnTo>
                  <a:lnTo>
                    <a:pt x="165" y="578"/>
                  </a:lnTo>
                  <a:lnTo>
                    <a:pt x="167" y="577"/>
                  </a:lnTo>
                  <a:lnTo>
                    <a:pt x="167" y="576"/>
                  </a:lnTo>
                  <a:lnTo>
                    <a:pt x="167" y="575"/>
                  </a:lnTo>
                  <a:lnTo>
                    <a:pt x="168" y="573"/>
                  </a:lnTo>
                  <a:lnTo>
                    <a:pt x="168" y="572"/>
                  </a:lnTo>
                  <a:lnTo>
                    <a:pt x="169" y="572"/>
                  </a:lnTo>
                  <a:lnTo>
                    <a:pt x="169" y="571"/>
                  </a:lnTo>
                  <a:lnTo>
                    <a:pt x="170" y="571"/>
                  </a:lnTo>
                  <a:lnTo>
                    <a:pt x="171" y="572"/>
                  </a:lnTo>
                  <a:lnTo>
                    <a:pt x="170" y="575"/>
                  </a:lnTo>
                  <a:lnTo>
                    <a:pt x="170" y="576"/>
                  </a:lnTo>
                  <a:lnTo>
                    <a:pt x="170" y="577"/>
                  </a:lnTo>
                  <a:lnTo>
                    <a:pt x="171" y="576"/>
                  </a:lnTo>
                  <a:lnTo>
                    <a:pt x="171" y="575"/>
                  </a:lnTo>
                  <a:lnTo>
                    <a:pt x="173" y="573"/>
                  </a:lnTo>
                  <a:lnTo>
                    <a:pt x="174" y="572"/>
                  </a:lnTo>
                  <a:lnTo>
                    <a:pt x="175" y="572"/>
                  </a:lnTo>
                  <a:lnTo>
                    <a:pt x="175" y="573"/>
                  </a:lnTo>
                  <a:lnTo>
                    <a:pt x="174" y="575"/>
                  </a:lnTo>
                  <a:lnTo>
                    <a:pt x="174" y="576"/>
                  </a:lnTo>
                  <a:lnTo>
                    <a:pt x="174" y="577"/>
                  </a:lnTo>
                  <a:lnTo>
                    <a:pt x="174" y="578"/>
                  </a:lnTo>
                  <a:lnTo>
                    <a:pt x="175" y="578"/>
                  </a:lnTo>
                  <a:lnTo>
                    <a:pt x="175" y="579"/>
                  </a:lnTo>
                  <a:lnTo>
                    <a:pt x="174" y="581"/>
                  </a:lnTo>
                  <a:lnTo>
                    <a:pt x="175" y="582"/>
                  </a:lnTo>
                  <a:lnTo>
                    <a:pt x="176" y="581"/>
                  </a:lnTo>
                  <a:lnTo>
                    <a:pt x="176" y="579"/>
                  </a:lnTo>
                  <a:lnTo>
                    <a:pt x="177" y="578"/>
                  </a:lnTo>
                  <a:lnTo>
                    <a:pt x="177" y="577"/>
                  </a:lnTo>
                  <a:lnTo>
                    <a:pt x="177" y="576"/>
                  </a:lnTo>
                  <a:lnTo>
                    <a:pt x="179" y="577"/>
                  </a:lnTo>
                  <a:lnTo>
                    <a:pt x="179" y="578"/>
                  </a:lnTo>
                  <a:lnTo>
                    <a:pt x="180" y="578"/>
                  </a:lnTo>
                  <a:lnTo>
                    <a:pt x="180" y="577"/>
                  </a:lnTo>
                  <a:lnTo>
                    <a:pt x="180" y="576"/>
                  </a:lnTo>
                  <a:lnTo>
                    <a:pt x="180" y="575"/>
                  </a:lnTo>
                  <a:lnTo>
                    <a:pt x="180" y="573"/>
                  </a:lnTo>
                  <a:lnTo>
                    <a:pt x="181" y="572"/>
                  </a:lnTo>
                  <a:lnTo>
                    <a:pt x="181" y="570"/>
                  </a:lnTo>
                  <a:lnTo>
                    <a:pt x="181" y="569"/>
                  </a:lnTo>
                  <a:lnTo>
                    <a:pt x="181" y="565"/>
                  </a:lnTo>
                  <a:lnTo>
                    <a:pt x="180" y="564"/>
                  </a:lnTo>
                  <a:lnTo>
                    <a:pt x="179" y="561"/>
                  </a:lnTo>
                  <a:lnTo>
                    <a:pt x="180" y="561"/>
                  </a:lnTo>
                  <a:lnTo>
                    <a:pt x="180" y="563"/>
                  </a:lnTo>
                  <a:lnTo>
                    <a:pt x="181" y="565"/>
                  </a:lnTo>
                  <a:lnTo>
                    <a:pt x="181" y="566"/>
                  </a:lnTo>
                  <a:lnTo>
                    <a:pt x="182" y="567"/>
                  </a:lnTo>
                  <a:lnTo>
                    <a:pt x="182" y="569"/>
                  </a:lnTo>
                  <a:lnTo>
                    <a:pt x="183" y="570"/>
                  </a:lnTo>
                  <a:lnTo>
                    <a:pt x="182" y="572"/>
                  </a:lnTo>
                  <a:lnTo>
                    <a:pt x="182" y="573"/>
                  </a:lnTo>
                  <a:lnTo>
                    <a:pt x="182" y="576"/>
                  </a:lnTo>
                  <a:lnTo>
                    <a:pt x="182" y="577"/>
                  </a:lnTo>
                  <a:lnTo>
                    <a:pt x="181" y="578"/>
                  </a:lnTo>
                  <a:lnTo>
                    <a:pt x="181" y="579"/>
                  </a:lnTo>
                  <a:lnTo>
                    <a:pt x="181" y="581"/>
                  </a:lnTo>
                  <a:lnTo>
                    <a:pt x="181" y="582"/>
                  </a:lnTo>
                  <a:lnTo>
                    <a:pt x="182" y="583"/>
                  </a:lnTo>
                  <a:lnTo>
                    <a:pt x="183" y="583"/>
                  </a:lnTo>
                  <a:lnTo>
                    <a:pt x="185" y="582"/>
                  </a:lnTo>
                  <a:lnTo>
                    <a:pt x="185" y="581"/>
                  </a:lnTo>
                  <a:lnTo>
                    <a:pt x="185" y="579"/>
                  </a:lnTo>
                  <a:lnTo>
                    <a:pt x="185" y="578"/>
                  </a:lnTo>
                  <a:lnTo>
                    <a:pt x="186" y="578"/>
                  </a:lnTo>
                  <a:lnTo>
                    <a:pt x="186" y="579"/>
                  </a:lnTo>
                  <a:lnTo>
                    <a:pt x="186" y="581"/>
                  </a:lnTo>
                  <a:lnTo>
                    <a:pt x="186" y="582"/>
                  </a:lnTo>
                  <a:lnTo>
                    <a:pt x="187" y="582"/>
                  </a:lnTo>
                  <a:lnTo>
                    <a:pt x="188" y="582"/>
                  </a:lnTo>
                  <a:lnTo>
                    <a:pt x="188" y="581"/>
                  </a:lnTo>
                  <a:lnTo>
                    <a:pt x="189" y="581"/>
                  </a:lnTo>
                  <a:lnTo>
                    <a:pt x="189" y="579"/>
                  </a:lnTo>
                  <a:lnTo>
                    <a:pt x="191" y="581"/>
                  </a:lnTo>
                  <a:lnTo>
                    <a:pt x="192" y="581"/>
                  </a:lnTo>
                  <a:lnTo>
                    <a:pt x="192" y="582"/>
                  </a:lnTo>
                  <a:lnTo>
                    <a:pt x="192" y="583"/>
                  </a:lnTo>
                  <a:lnTo>
                    <a:pt x="193" y="583"/>
                  </a:lnTo>
                  <a:lnTo>
                    <a:pt x="194" y="583"/>
                  </a:lnTo>
                  <a:lnTo>
                    <a:pt x="194" y="584"/>
                  </a:lnTo>
                  <a:lnTo>
                    <a:pt x="193" y="585"/>
                  </a:lnTo>
                  <a:lnTo>
                    <a:pt x="193" y="587"/>
                  </a:lnTo>
                  <a:lnTo>
                    <a:pt x="191" y="588"/>
                  </a:lnTo>
                  <a:lnTo>
                    <a:pt x="191" y="589"/>
                  </a:lnTo>
                  <a:lnTo>
                    <a:pt x="191" y="590"/>
                  </a:lnTo>
                  <a:lnTo>
                    <a:pt x="192" y="590"/>
                  </a:lnTo>
                  <a:lnTo>
                    <a:pt x="193" y="590"/>
                  </a:lnTo>
                  <a:lnTo>
                    <a:pt x="194" y="589"/>
                  </a:lnTo>
                  <a:lnTo>
                    <a:pt x="195" y="588"/>
                  </a:lnTo>
                  <a:lnTo>
                    <a:pt x="197" y="588"/>
                  </a:lnTo>
                  <a:lnTo>
                    <a:pt x="197" y="587"/>
                  </a:lnTo>
                  <a:lnTo>
                    <a:pt x="198" y="585"/>
                  </a:lnTo>
                  <a:lnTo>
                    <a:pt x="199" y="585"/>
                  </a:lnTo>
                  <a:lnTo>
                    <a:pt x="199" y="587"/>
                  </a:lnTo>
                  <a:lnTo>
                    <a:pt x="200" y="588"/>
                  </a:lnTo>
                  <a:lnTo>
                    <a:pt x="200" y="589"/>
                  </a:lnTo>
                  <a:lnTo>
                    <a:pt x="200" y="590"/>
                  </a:lnTo>
                  <a:lnTo>
                    <a:pt x="199" y="591"/>
                  </a:lnTo>
                  <a:lnTo>
                    <a:pt x="199" y="593"/>
                  </a:lnTo>
                  <a:lnTo>
                    <a:pt x="199" y="594"/>
                  </a:lnTo>
                  <a:lnTo>
                    <a:pt x="197" y="594"/>
                  </a:lnTo>
                  <a:lnTo>
                    <a:pt x="195" y="594"/>
                  </a:lnTo>
                  <a:lnTo>
                    <a:pt x="193" y="594"/>
                  </a:lnTo>
                  <a:lnTo>
                    <a:pt x="192" y="594"/>
                  </a:lnTo>
                  <a:lnTo>
                    <a:pt x="191" y="594"/>
                  </a:lnTo>
                  <a:lnTo>
                    <a:pt x="191" y="595"/>
                  </a:lnTo>
                  <a:lnTo>
                    <a:pt x="189" y="595"/>
                  </a:lnTo>
                  <a:lnTo>
                    <a:pt x="188" y="595"/>
                  </a:lnTo>
                  <a:lnTo>
                    <a:pt x="186" y="595"/>
                  </a:lnTo>
                  <a:lnTo>
                    <a:pt x="183" y="595"/>
                  </a:lnTo>
                  <a:lnTo>
                    <a:pt x="182" y="595"/>
                  </a:lnTo>
                  <a:lnTo>
                    <a:pt x="182" y="596"/>
                  </a:lnTo>
                  <a:lnTo>
                    <a:pt x="181" y="596"/>
                  </a:lnTo>
                  <a:lnTo>
                    <a:pt x="180" y="598"/>
                  </a:lnTo>
                  <a:lnTo>
                    <a:pt x="179" y="598"/>
                  </a:lnTo>
                  <a:lnTo>
                    <a:pt x="177" y="598"/>
                  </a:lnTo>
                  <a:lnTo>
                    <a:pt x="176" y="598"/>
                  </a:lnTo>
                  <a:lnTo>
                    <a:pt x="175" y="598"/>
                  </a:lnTo>
                  <a:lnTo>
                    <a:pt x="174" y="598"/>
                  </a:lnTo>
                  <a:lnTo>
                    <a:pt x="173" y="599"/>
                  </a:lnTo>
                  <a:lnTo>
                    <a:pt x="171" y="599"/>
                  </a:lnTo>
                  <a:lnTo>
                    <a:pt x="171" y="600"/>
                  </a:lnTo>
                  <a:lnTo>
                    <a:pt x="170" y="599"/>
                  </a:lnTo>
                  <a:lnTo>
                    <a:pt x="169" y="599"/>
                  </a:lnTo>
                  <a:lnTo>
                    <a:pt x="168" y="599"/>
                  </a:lnTo>
                  <a:lnTo>
                    <a:pt x="161" y="600"/>
                  </a:lnTo>
                  <a:lnTo>
                    <a:pt x="159" y="599"/>
                  </a:lnTo>
                  <a:lnTo>
                    <a:pt x="158" y="599"/>
                  </a:lnTo>
                  <a:lnTo>
                    <a:pt x="157" y="600"/>
                  </a:lnTo>
                  <a:lnTo>
                    <a:pt x="155" y="600"/>
                  </a:lnTo>
                  <a:lnTo>
                    <a:pt x="153" y="600"/>
                  </a:lnTo>
                  <a:lnTo>
                    <a:pt x="151" y="600"/>
                  </a:lnTo>
                  <a:lnTo>
                    <a:pt x="150" y="600"/>
                  </a:lnTo>
                  <a:lnTo>
                    <a:pt x="149" y="600"/>
                  </a:lnTo>
                  <a:lnTo>
                    <a:pt x="147" y="600"/>
                  </a:lnTo>
                  <a:lnTo>
                    <a:pt x="145" y="600"/>
                  </a:lnTo>
                  <a:lnTo>
                    <a:pt x="145" y="601"/>
                  </a:lnTo>
                  <a:lnTo>
                    <a:pt x="142" y="600"/>
                  </a:lnTo>
                  <a:lnTo>
                    <a:pt x="141" y="600"/>
                  </a:lnTo>
                  <a:lnTo>
                    <a:pt x="141" y="599"/>
                  </a:lnTo>
                  <a:lnTo>
                    <a:pt x="142" y="599"/>
                  </a:lnTo>
                  <a:lnTo>
                    <a:pt x="142" y="598"/>
                  </a:lnTo>
                  <a:lnTo>
                    <a:pt x="141" y="598"/>
                  </a:lnTo>
                  <a:lnTo>
                    <a:pt x="140" y="598"/>
                  </a:lnTo>
                  <a:lnTo>
                    <a:pt x="140" y="599"/>
                  </a:lnTo>
                  <a:lnTo>
                    <a:pt x="139" y="600"/>
                  </a:lnTo>
                  <a:lnTo>
                    <a:pt x="136" y="600"/>
                  </a:lnTo>
                  <a:lnTo>
                    <a:pt x="138" y="600"/>
                  </a:lnTo>
                  <a:lnTo>
                    <a:pt x="138" y="601"/>
                  </a:lnTo>
                  <a:lnTo>
                    <a:pt x="136" y="602"/>
                  </a:lnTo>
                  <a:lnTo>
                    <a:pt x="135" y="602"/>
                  </a:lnTo>
                  <a:lnTo>
                    <a:pt x="134" y="604"/>
                  </a:lnTo>
                  <a:lnTo>
                    <a:pt x="133" y="604"/>
                  </a:lnTo>
                  <a:lnTo>
                    <a:pt x="133" y="602"/>
                  </a:lnTo>
                  <a:lnTo>
                    <a:pt x="130" y="602"/>
                  </a:lnTo>
                  <a:lnTo>
                    <a:pt x="129" y="604"/>
                  </a:lnTo>
                  <a:lnTo>
                    <a:pt x="129" y="602"/>
                  </a:lnTo>
                  <a:lnTo>
                    <a:pt x="128" y="601"/>
                  </a:lnTo>
                  <a:lnTo>
                    <a:pt x="127" y="601"/>
                  </a:lnTo>
                  <a:lnTo>
                    <a:pt x="127" y="602"/>
                  </a:lnTo>
                  <a:lnTo>
                    <a:pt x="128" y="602"/>
                  </a:lnTo>
                  <a:lnTo>
                    <a:pt x="128" y="604"/>
                  </a:lnTo>
                  <a:lnTo>
                    <a:pt x="127" y="605"/>
                  </a:lnTo>
                  <a:lnTo>
                    <a:pt x="126" y="605"/>
                  </a:lnTo>
                  <a:lnTo>
                    <a:pt x="126" y="606"/>
                  </a:lnTo>
                  <a:lnTo>
                    <a:pt x="124" y="606"/>
                  </a:lnTo>
                  <a:lnTo>
                    <a:pt x="123" y="606"/>
                  </a:lnTo>
                  <a:lnTo>
                    <a:pt x="123" y="605"/>
                  </a:lnTo>
                  <a:lnTo>
                    <a:pt x="122" y="605"/>
                  </a:lnTo>
                  <a:lnTo>
                    <a:pt x="121" y="606"/>
                  </a:lnTo>
                  <a:lnTo>
                    <a:pt x="120" y="606"/>
                  </a:lnTo>
                  <a:lnTo>
                    <a:pt x="117" y="605"/>
                  </a:lnTo>
                  <a:lnTo>
                    <a:pt x="115" y="606"/>
                  </a:lnTo>
                  <a:lnTo>
                    <a:pt x="112" y="606"/>
                  </a:lnTo>
                  <a:lnTo>
                    <a:pt x="111" y="606"/>
                  </a:lnTo>
                  <a:lnTo>
                    <a:pt x="106" y="605"/>
                  </a:lnTo>
                  <a:lnTo>
                    <a:pt x="105" y="606"/>
                  </a:lnTo>
                  <a:lnTo>
                    <a:pt x="106" y="606"/>
                  </a:lnTo>
                  <a:lnTo>
                    <a:pt x="106" y="607"/>
                  </a:lnTo>
                  <a:lnTo>
                    <a:pt x="108" y="607"/>
                  </a:lnTo>
                  <a:lnTo>
                    <a:pt x="111" y="607"/>
                  </a:lnTo>
                  <a:lnTo>
                    <a:pt x="114" y="607"/>
                  </a:lnTo>
                  <a:lnTo>
                    <a:pt x="115" y="607"/>
                  </a:lnTo>
                  <a:lnTo>
                    <a:pt x="116" y="607"/>
                  </a:lnTo>
                  <a:lnTo>
                    <a:pt x="116" y="608"/>
                  </a:lnTo>
                  <a:lnTo>
                    <a:pt x="115" y="610"/>
                  </a:lnTo>
                  <a:lnTo>
                    <a:pt x="115" y="611"/>
                  </a:lnTo>
                  <a:lnTo>
                    <a:pt x="115" y="613"/>
                  </a:lnTo>
                  <a:lnTo>
                    <a:pt x="116" y="612"/>
                  </a:lnTo>
                  <a:lnTo>
                    <a:pt x="116" y="611"/>
                  </a:lnTo>
                  <a:lnTo>
                    <a:pt x="117" y="611"/>
                  </a:lnTo>
                  <a:lnTo>
                    <a:pt x="117" y="610"/>
                  </a:lnTo>
                  <a:lnTo>
                    <a:pt x="118" y="608"/>
                  </a:lnTo>
                  <a:lnTo>
                    <a:pt x="120" y="607"/>
                  </a:lnTo>
                  <a:lnTo>
                    <a:pt x="121" y="608"/>
                  </a:lnTo>
                  <a:lnTo>
                    <a:pt x="122" y="608"/>
                  </a:lnTo>
                  <a:lnTo>
                    <a:pt x="121" y="610"/>
                  </a:lnTo>
                  <a:lnTo>
                    <a:pt x="121" y="611"/>
                  </a:lnTo>
                  <a:lnTo>
                    <a:pt x="121" y="612"/>
                  </a:lnTo>
                  <a:lnTo>
                    <a:pt x="122" y="613"/>
                  </a:lnTo>
                  <a:lnTo>
                    <a:pt x="122" y="612"/>
                  </a:lnTo>
                  <a:lnTo>
                    <a:pt x="123" y="611"/>
                  </a:lnTo>
                  <a:lnTo>
                    <a:pt x="123" y="610"/>
                  </a:lnTo>
                  <a:lnTo>
                    <a:pt x="124" y="608"/>
                  </a:lnTo>
                  <a:lnTo>
                    <a:pt x="126" y="607"/>
                  </a:lnTo>
                  <a:lnTo>
                    <a:pt x="127" y="607"/>
                  </a:lnTo>
                  <a:lnTo>
                    <a:pt x="127" y="608"/>
                  </a:lnTo>
                  <a:lnTo>
                    <a:pt x="127" y="610"/>
                  </a:lnTo>
                  <a:lnTo>
                    <a:pt x="127" y="612"/>
                  </a:lnTo>
                  <a:lnTo>
                    <a:pt x="127" y="613"/>
                  </a:lnTo>
                  <a:lnTo>
                    <a:pt x="126" y="614"/>
                  </a:lnTo>
                  <a:lnTo>
                    <a:pt x="127" y="616"/>
                  </a:lnTo>
                  <a:lnTo>
                    <a:pt x="127" y="617"/>
                  </a:lnTo>
                  <a:lnTo>
                    <a:pt x="127" y="618"/>
                  </a:lnTo>
                  <a:lnTo>
                    <a:pt x="127" y="619"/>
                  </a:lnTo>
                  <a:lnTo>
                    <a:pt x="127" y="620"/>
                  </a:lnTo>
                  <a:lnTo>
                    <a:pt x="126" y="622"/>
                  </a:lnTo>
                  <a:lnTo>
                    <a:pt x="127" y="622"/>
                  </a:lnTo>
                  <a:lnTo>
                    <a:pt x="128" y="622"/>
                  </a:lnTo>
                  <a:lnTo>
                    <a:pt x="127" y="623"/>
                  </a:lnTo>
                  <a:lnTo>
                    <a:pt x="127" y="624"/>
                  </a:lnTo>
                  <a:lnTo>
                    <a:pt x="126" y="624"/>
                  </a:lnTo>
                  <a:lnTo>
                    <a:pt x="124" y="623"/>
                  </a:lnTo>
                  <a:lnTo>
                    <a:pt x="123" y="623"/>
                  </a:lnTo>
                  <a:lnTo>
                    <a:pt x="122" y="624"/>
                  </a:lnTo>
                  <a:lnTo>
                    <a:pt x="121" y="624"/>
                  </a:lnTo>
                  <a:lnTo>
                    <a:pt x="120" y="623"/>
                  </a:lnTo>
                  <a:lnTo>
                    <a:pt x="117" y="623"/>
                  </a:lnTo>
                  <a:lnTo>
                    <a:pt x="116" y="623"/>
                  </a:lnTo>
                  <a:lnTo>
                    <a:pt x="115" y="622"/>
                  </a:lnTo>
                  <a:lnTo>
                    <a:pt x="114" y="622"/>
                  </a:lnTo>
                  <a:lnTo>
                    <a:pt x="112" y="620"/>
                  </a:lnTo>
                  <a:lnTo>
                    <a:pt x="111" y="620"/>
                  </a:lnTo>
                  <a:lnTo>
                    <a:pt x="110" y="620"/>
                  </a:lnTo>
                  <a:lnTo>
                    <a:pt x="108" y="620"/>
                  </a:lnTo>
                  <a:lnTo>
                    <a:pt x="106" y="620"/>
                  </a:lnTo>
                  <a:lnTo>
                    <a:pt x="105" y="620"/>
                  </a:lnTo>
                  <a:lnTo>
                    <a:pt x="104" y="619"/>
                  </a:lnTo>
                  <a:lnTo>
                    <a:pt x="103" y="619"/>
                  </a:lnTo>
                  <a:lnTo>
                    <a:pt x="102" y="619"/>
                  </a:lnTo>
                  <a:lnTo>
                    <a:pt x="102" y="620"/>
                  </a:lnTo>
                  <a:lnTo>
                    <a:pt x="99" y="620"/>
                  </a:lnTo>
                  <a:lnTo>
                    <a:pt x="97" y="620"/>
                  </a:lnTo>
                  <a:lnTo>
                    <a:pt x="96" y="620"/>
                  </a:lnTo>
                  <a:lnTo>
                    <a:pt x="94" y="620"/>
                  </a:lnTo>
                  <a:lnTo>
                    <a:pt x="93" y="619"/>
                  </a:lnTo>
                  <a:lnTo>
                    <a:pt x="92" y="618"/>
                  </a:lnTo>
                  <a:lnTo>
                    <a:pt x="90" y="617"/>
                  </a:lnTo>
                  <a:lnTo>
                    <a:pt x="88" y="617"/>
                  </a:lnTo>
                  <a:lnTo>
                    <a:pt x="87" y="617"/>
                  </a:lnTo>
                  <a:lnTo>
                    <a:pt x="88" y="618"/>
                  </a:lnTo>
                  <a:lnTo>
                    <a:pt x="90" y="619"/>
                  </a:lnTo>
                  <a:lnTo>
                    <a:pt x="91" y="619"/>
                  </a:lnTo>
                  <a:lnTo>
                    <a:pt x="92" y="620"/>
                  </a:lnTo>
                  <a:lnTo>
                    <a:pt x="93" y="620"/>
                  </a:lnTo>
                  <a:lnTo>
                    <a:pt x="93" y="622"/>
                  </a:lnTo>
                  <a:lnTo>
                    <a:pt x="92" y="623"/>
                  </a:lnTo>
                  <a:lnTo>
                    <a:pt x="91" y="623"/>
                  </a:lnTo>
                  <a:lnTo>
                    <a:pt x="90" y="623"/>
                  </a:lnTo>
                  <a:lnTo>
                    <a:pt x="87" y="623"/>
                  </a:lnTo>
                  <a:lnTo>
                    <a:pt x="86" y="623"/>
                  </a:lnTo>
                  <a:lnTo>
                    <a:pt x="85" y="624"/>
                  </a:lnTo>
                  <a:lnTo>
                    <a:pt x="83" y="624"/>
                  </a:lnTo>
                  <a:lnTo>
                    <a:pt x="83" y="625"/>
                  </a:lnTo>
                  <a:lnTo>
                    <a:pt x="86" y="625"/>
                  </a:lnTo>
                  <a:lnTo>
                    <a:pt x="88" y="625"/>
                  </a:lnTo>
                  <a:lnTo>
                    <a:pt x="87" y="626"/>
                  </a:lnTo>
                  <a:lnTo>
                    <a:pt x="86" y="626"/>
                  </a:lnTo>
                  <a:lnTo>
                    <a:pt x="85" y="628"/>
                  </a:lnTo>
                  <a:lnTo>
                    <a:pt x="83" y="628"/>
                  </a:lnTo>
                  <a:lnTo>
                    <a:pt x="82" y="629"/>
                  </a:lnTo>
                  <a:lnTo>
                    <a:pt x="81" y="629"/>
                  </a:lnTo>
                  <a:lnTo>
                    <a:pt x="80" y="628"/>
                  </a:lnTo>
                  <a:lnTo>
                    <a:pt x="79" y="628"/>
                  </a:lnTo>
                  <a:lnTo>
                    <a:pt x="77" y="628"/>
                  </a:lnTo>
                  <a:lnTo>
                    <a:pt x="76" y="628"/>
                  </a:lnTo>
                  <a:lnTo>
                    <a:pt x="76" y="629"/>
                  </a:lnTo>
                  <a:lnTo>
                    <a:pt x="77" y="629"/>
                  </a:lnTo>
                  <a:lnTo>
                    <a:pt x="79" y="629"/>
                  </a:lnTo>
                  <a:lnTo>
                    <a:pt x="79" y="630"/>
                  </a:lnTo>
                  <a:lnTo>
                    <a:pt x="73" y="630"/>
                  </a:lnTo>
                  <a:lnTo>
                    <a:pt x="73" y="631"/>
                  </a:lnTo>
                  <a:lnTo>
                    <a:pt x="74" y="631"/>
                  </a:lnTo>
                  <a:lnTo>
                    <a:pt x="76" y="631"/>
                  </a:lnTo>
                  <a:lnTo>
                    <a:pt x="77" y="631"/>
                  </a:lnTo>
                  <a:lnTo>
                    <a:pt x="79" y="631"/>
                  </a:lnTo>
                  <a:lnTo>
                    <a:pt x="79" y="632"/>
                  </a:lnTo>
                  <a:lnTo>
                    <a:pt x="80" y="632"/>
                  </a:lnTo>
                  <a:lnTo>
                    <a:pt x="81" y="631"/>
                  </a:lnTo>
                  <a:lnTo>
                    <a:pt x="82" y="631"/>
                  </a:lnTo>
                  <a:lnTo>
                    <a:pt x="82" y="630"/>
                  </a:lnTo>
                  <a:lnTo>
                    <a:pt x="83" y="631"/>
                  </a:lnTo>
                  <a:lnTo>
                    <a:pt x="83" y="632"/>
                  </a:lnTo>
                  <a:lnTo>
                    <a:pt x="82" y="636"/>
                  </a:lnTo>
                  <a:lnTo>
                    <a:pt x="82" y="640"/>
                  </a:lnTo>
                  <a:lnTo>
                    <a:pt x="83" y="641"/>
                  </a:lnTo>
                  <a:lnTo>
                    <a:pt x="85" y="641"/>
                  </a:lnTo>
                  <a:lnTo>
                    <a:pt x="86" y="640"/>
                  </a:lnTo>
                  <a:lnTo>
                    <a:pt x="86" y="637"/>
                  </a:lnTo>
                  <a:lnTo>
                    <a:pt x="87" y="640"/>
                  </a:lnTo>
                  <a:lnTo>
                    <a:pt x="86" y="641"/>
                  </a:lnTo>
                  <a:lnTo>
                    <a:pt x="87" y="642"/>
                  </a:lnTo>
                  <a:lnTo>
                    <a:pt x="88" y="641"/>
                  </a:lnTo>
                  <a:lnTo>
                    <a:pt x="88" y="638"/>
                  </a:lnTo>
                  <a:lnTo>
                    <a:pt x="88" y="635"/>
                  </a:lnTo>
                  <a:lnTo>
                    <a:pt x="88" y="632"/>
                  </a:lnTo>
                  <a:lnTo>
                    <a:pt x="88" y="630"/>
                  </a:lnTo>
                  <a:lnTo>
                    <a:pt x="90" y="629"/>
                  </a:lnTo>
                  <a:lnTo>
                    <a:pt x="91" y="628"/>
                  </a:lnTo>
                  <a:lnTo>
                    <a:pt x="92" y="628"/>
                  </a:lnTo>
                  <a:lnTo>
                    <a:pt x="93" y="628"/>
                  </a:lnTo>
                  <a:lnTo>
                    <a:pt x="92" y="629"/>
                  </a:lnTo>
                  <a:lnTo>
                    <a:pt x="92" y="630"/>
                  </a:lnTo>
                  <a:lnTo>
                    <a:pt x="91" y="631"/>
                  </a:lnTo>
                  <a:lnTo>
                    <a:pt x="90" y="632"/>
                  </a:lnTo>
                  <a:lnTo>
                    <a:pt x="90" y="634"/>
                  </a:lnTo>
                  <a:lnTo>
                    <a:pt x="90" y="636"/>
                  </a:lnTo>
                  <a:lnTo>
                    <a:pt x="90" y="637"/>
                  </a:lnTo>
                  <a:lnTo>
                    <a:pt x="90" y="640"/>
                  </a:lnTo>
                  <a:lnTo>
                    <a:pt x="90" y="641"/>
                  </a:lnTo>
                  <a:lnTo>
                    <a:pt x="90" y="642"/>
                  </a:lnTo>
                  <a:lnTo>
                    <a:pt x="91" y="647"/>
                  </a:lnTo>
                  <a:lnTo>
                    <a:pt x="91" y="648"/>
                  </a:lnTo>
                  <a:lnTo>
                    <a:pt x="92" y="647"/>
                  </a:lnTo>
                  <a:lnTo>
                    <a:pt x="92" y="646"/>
                  </a:lnTo>
                  <a:lnTo>
                    <a:pt x="92" y="635"/>
                  </a:lnTo>
                  <a:lnTo>
                    <a:pt x="93" y="635"/>
                  </a:lnTo>
                  <a:lnTo>
                    <a:pt x="93" y="636"/>
                  </a:lnTo>
                  <a:lnTo>
                    <a:pt x="93" y="637"/>
                  </a:lnTo>
                  <a:lnTo>
                    <a:pt x="93" y="638"/>
                  </a:lnTo>
                  <a:lnTo>
                    <a:pt x="94" y="638"/>
                  </a:lnTo>
                  <a:lnTo>
                    <a:pt x="94" y="640"/>
                  </a:lnTo>
                  <a:lnTo>
                    <a:pt x="93" y="640"/>
                  </a:lnTo>
                  <a:lnTo>
                    <a:pt x="93" y="641"/>
                  </a:lnTo>
                  <a:lnTo>
                    <a:pt x="93" y="642"/>
                  </a:lnTo>
                  <a:lnTo>
                    <a:pt x="94" y="642"/>
                  </a:lnTo>
                  <a:lnTo>
                    <a:pt x="93" y="643"/>
                  </a:lnTo>
                  <a:lnTo>
                    <a:pt x="93" y="644"/>
                  </a:lnTo>
                  <a:lnTo>
                    <a:pt x="94" y="646"/>
                  </a:lnTo>
                  <a:lnTo>
                    <a:pt x="94" y="650"/>
                  </a:lnTo>
                  <a:lnTo>
                    <a:pt x="94" y="652"/>
                  </a:lnTo>
                  <a:lnTo>
                    <a:pt x="96" y="652"/>
                  </a:lnTo>
                  <a:lnTo>
                    <a:pt x="96" y="653"/>
                  </a:lnTo>
                  <a:lnTo>
                    <a:pt x="96" y="652"/>
                  </a:lnTo>
                  <a:lnTo>
                    <a:pt x="96" y="650"/>
                  </a:lnTo>
                  <a:lnTo>
                    <a:pt x="96" y="640"/>
                  </a:lnTo>
                  <a:lnTo>
                    <a:pt x="97" y="640"/>
                  </a:lnTo>
                  <a:lnTo>
                    <a:pt x="97" y="638"/>
                  </a:lnTo>
                  <a:lnTo>
                    <a:pt x="98" y="638"/>
                  </a:lnTo>
                  <a:lnTo>
                    <a:pt x="98" y="641"/>
                  </a:lnTo>
                  <a:lnTo>
                    <a:pt x="98" y="642"/>
                  </a:lnTo>
                  <a:lnTo>
                    <a:pt x="99" y="642"/>
                  </a:lnTo>
                  <a:lnTo>
                    <a:pt x="100" y="642"/>
                  </a:lnTo>
                  <a:lnTo>
                    <a:pt x="100" y="641"/>
                  </a:lnTo>
                  <a:lnTo>
                    <a:pt x="100" y="640"/>
                  </a:lnTo>
                  <a:lnTo>
                    <a:pt x="102" y="638"/>
                  </a:lnTo>
                  <a:lnTo>
                    <a:pt x="103" y="638"/>
                  </a:lnTo>
                  <a:lnTo>
                    <a:pt x="104" y="638"/>
                  </a:lnTo>
                  <a:lnTo>
                    <a:pt x="104" y="640"/>
                  </a:lnTo>
                  <a:lnTo>
                    <a:pt x="106" y="640"/>
                  </a:lnTo>
                  <a:lnTo>
                    <a:pt x="105" y="638"/>
                  </a:lnTo>
                  <a:lnTo>
                    <a:pt x="105" y="637"/>
                  </a:lnTo>
                  <a:lnTo>
                    <a:pt x="105" y="636"/>
                  </a:lnTo>
                  <a:lnTo>
                    <a:pt x="105" y="635"/>
                  </a:lnTo>
                  <a:lnTo>
                    <a:pt x="105" y="634"/>
                  </a:lnTo>
                  <a:lnTo>
                    <a:pt x="105" y="632"/>
                  </a:lnTo>
                  <a:lnTo>
                    <a:pt x="106" y="632"/>
                  </a:lnTo>
                  <a:lnTo>
                    <a:pt x="106" y="634"/>
                  </a:lnTo>
                  <a:lnTo>
                    <a:pt x="108" y="634"/>
                  </a:lnTo>
                  <a:lnTo>
                    <a:pt x="109" y="634"/>
                  </a:lnTo>
                  <a:lnTo>
                    <a:pt x="109" y="635"/>
                  </a:lnTo>
                  <a:lnTo>
                    <a:pt x="109" y="636"/>
                  </a:lnTo>
                  <a:lnTo>
                    <a:pt x="108" y="637"/>
                  </a:lnTo>
                  <a:lnTo>
                    <a:pt x="108" y="638"/>
                  </a:lnTo>
                  <a:lnTo>
                    <a:pt x="108" y="640"/>
                  </a:lnTo>
                  <a:lnTo>
                    <a:pt x="108" y="641"/>
                  </a:lnTo>
                  <a:lnTo>
                    <a:pt x="105" y="642"/>
                  </a:lnTo>
                  <a:lnTo>
                    <a:pt x="105" y="643"/>
                  </a:lnTo>
                  <a:lnTo>
                    <a:pt x="106" y="643"/>
                  </a:lnTo>
                  <a:lnTo>
                    <a:pt x="108" y="642"/>
                  </a:lnTo>
                  <a:lnTo>
                    <a:pt x="108" y="643"/>
                  </a:lnTo>
                  <a:lnTo>
                    <a:pt x="108" y="644"/>
                  </a:lnTo>
                  <a:lnTo>
                    <a:pt x="109" y="646"/>
                  </a:lnTo>
                  <a:lnTo>
                    <a:pt x="108" y="647"/>
                  </a:lnTo>
                  <a:lnTo>
                    <a:pt x="108" y="648"/>
                  </a:lnTo>
                  <a:lnTo>
                    <a:pt x="109" y="648"/>
                  </a:lnTo>
                  <a:lnTo>
                    <a:pt x="110" y="647"/>
                  </a:lnTo>
                  <a:lnTo>
                    <a:pt x="110" y="646"/>
                  </a:lnTo>
                  <a:lnTo>
                    <a:pt x="110" y="644"/>
                  </a:lnTo>
                  <a:lnTo>
                    <a:pt x="111" y="644"/>
                  </a:lnTo>
                  <a:lnTo>
                    <a:pt x="112" y="644"/>
                  </a:lnTo>
                  <a:lnTo>
                    <a:pt x="112" y="647"/>
                  </a:lnTo>
                  <a:lnTo>
                    <a:pt x="112" y="648"/>
                  </a:lnTo>
                  <a:lnTo>
                    <a:pt x="111" y="649"/>
                  </a:lnTo>
                  <a:lnTo>
                    <a:pt x="110" y="650"/>
                  </a:lnTo>
                  <a:lnTo>
                    <a:pt x="110" y="652"/>
                  </a:lnTo>
                  <a:lnTo>
                    <a:pt x="110" y="653"/>
                  </a:lnTo>
                  <a:lnTo>
                    <a:pt x="109" y="654"/>
                  </a:lnTo>
                  <a:lnTo>
                    <a:pt x="110" y="656"/>
                  </a:lnTo>
                  <a:lnTo>
                    <a:pt x="111" y="658"/>
                  </a:lnTo>
                  <a:lnTo>
                    <a:pt x="110" y="658"/>
                  </a:lnTo>
                  <a:lnTo>
                    <a:pt x="109" y="658"/>
                  </a:lnTo>
                  <a:lnTo>
                    <a:pt x="108" y="659"/>
                  </a:lnTo>
                  <a:lnTo>
                    <a:pt x="106" y="660"/>
                  </a:lnTo>
                  <a:lnTo>
                    <a:pt x="105" y="661"/>
                  </a:lnTo>
                  <a:lnTo>
                    <a:pt x="104" y="662"/>
                  </a:lnTo>
                  <a:lnTo>
                    <a:pt x="103" y="664"/>
                  </a:lnTo>
                  <a:lnTo>
                    <a:pt x="102" y="664"/>
                  </a:lnTo>
                  <a:lnTo>
                    <a:pt x="102" y="665"/>
                  </a:lnTo>
                  <a:lnTo>
                    <a:pt x="100" y="666"/>
                  </a:lnTo>
                  <a:lnTo>
                    <a:pt x="100" y="667"/>
                  </a:lnTo>
                  <a:lnTo>
                    <a:pt x="99" y="667"/>
                  </a:lnTo>
                  <a:lnTo>
                    <a:pt x="96" y="667"/>
                  </a:lnTo>
                  <a:lnTo>
                    <a:pt x="94" y="667"/>
                  </a:lnTo>
                  <a:lnTo>
                    <a:pt x="93" y="668"/>
                  </a:lnTo>
                  <a:lnTo>
                    <a:pt x="92" y="670"/>
                  </a:lnTo>
                  <a:lnTo>
                    <a:pt x="90" y="671"/>
                  </a:lnTo>
                  <a:lnTo>
                    <a:pt x="88" y="670"/>
                  </a:lnTo>
                  <a:lnTo>
                    <a:pt x="87" y="670"/>
                  </a:lnTo>
                  <a:lnTo>
                    <a:pt x="86" y="668"/>
                  </a:lnTo>
                  <a:lnTo>
                    <a:pt x="85" y="668"/>
                  </a:lnTo>
                  <a:lnTo>
                    <a:pt x="82" y="668"/>
                  </a:lnTo>
                  <a:lnTo>
                    <a:pt x="83" y="668"/>
                  </a:lnTo>
                  <a:lnTo>
                    <a:pt x="85" y="670"/>
                  </a:lnTo>
                  <a:lnTo>
                    <a:pt x="85" y="671"/>
                  </a:lnTo>
                  <a:lnTo>
                    <a:pt x="83" y="671"/>
                  </a:lnTo>
                  <a:lnTo>
                    <a:pt x="82" y="671"/>
                  </a:lnTo>
                  <a:lnTo>
                    <a:pt x="81" y="672"/>
                  </a:lnTo>
                  <a:lnTo>
                    <a:pt x="80" y="672"/>
                  </a:lnTo>
                  <a:lnTo>
                    <a:pt x="81" y="673"/>
                  </a:lnTo>
                  <a:lnTo>
                    <a:pt x="82" y="673"/>
                  </a:lnTo>
                  <a:lnTo>
                    <a:pt x="83" y="672"/>
                  </a:lnTo>
                  <a:lnTo>
                    <a:pt x="85" y="672"/>
                  </a:lnTo>
                  <a:lnTo>
                    <a:pt x="86" y="672"/>
                  </a:lnTo>
                  <a:lnTo>
                    <a:pt x="86" y="673"/>
                  </a:lnTo>
                  <a:lnTo>
                    <a:pt x="86" y="674"/>
                  </a:lnTo>
                  <a:lnTo>
                    <a:pt x="85" y="676"/>
                  </a:lnTo>
                  <a:lnTo>
                    <a:pt x="85" y="677"/>
                  </a:lnTo>
                  <a:lnTo>
                    <a:pt x="86" y="676"/>
                  </a:lnTo>
                  <a:lnTo>
                    <a:pt x="87" y="674"/>
                  </a:lnTo>
                  <a:lnTo>
                    <a:pt x="87" y="673"/>
                  </a:lnTo>
                  <a:lnTo>
                    <a:pt x="88" y="673"/>
                  </a:lnTo>
                  <a:lnTo>
                    <a:pt x="90" y="673"/>
                  </a:lnTo>
                  <a:lnTo>
                    <a:pt x="90" y="676"/>
                  </a:lnTo>
                  <a:lnTo>
                    <a:pt x="90" y="677"/>
                  </a:lnTo>
                  <a:lnTo>
                    <a:pt x="91" y="676"/>
                  </a:lnTo>
                  <a:lnTo>
                    <a:pt x="91" y="674"/>
                  </a:lnTo>
                  <a:lnTo>
                    <a:pt x="91" y="673"/>
                  </a:lnTo>
                  <a:lnTo>
                    <a:pt x="91" y="671"/>
                  </a:lnTo>
                  <a:lnTo>
                    <a:pt x="92" y="671"/>
                  </a:lnTo>
                  <a:lnTo>
                    <a:pt x="92" y="672"/>
                  </a:lnTo>
                  <a:lnTo>
                    <a:pt x="92" y="673"/>
                  </a:lnTo>
                  <a:lnTo>
                    <a:pt x="92" y="676"/>
                  </a:lnTo>
                  <a:lnTo>
                    <a:pt x="92" y="677"/>
                  </a:lnTo>
                  <a:lnTo>
                    <a:pt x="93" y="678"/>
                  </a:lnTo>
                  <a:lnTo>
                    <a:pt x="92" y="680"/>
                  </a:lnTo>
                  <a:lnTo>
                    <a:pt x="91" y="682"/>
                  </a:lnTo>
                  <a:lnTo>
                    <a:pt x="88" y="682"/>
                  </a:lnTo>
                  <a:lnTo>
                    <a:pt x="85" y="682"/>
                  </a:lnTo>
                  <a:lnTo>
                    <a:pt x="83" y="680"/>
                  </a:lnTo>
                  <a:lnTo>
                    <a:pt x="82" y="679"/>
                  </a:lnTo>
                  <a:lnTo>
                    <a:pt x="81" y="679"/>
                  </a:lnTo>
                  <a:lnTo>
                    <a:pt x="81" y="680"/>
                  </a:lnTo>
                  <a:lnTo>
                    <a:pt x="80" y="680"/>
                  </a:lnTo>
                  <a:lnTo>
                    <a:pt x="79" y="679"/>
                  </a:lnTo>
                  <a:lnTo>
                    <a:pt x="79" y="678"/>
                  </a:lnTo>
                  <a:lnTo>
                    <a:pt x="79" y="679"/>
                  </a:lnTo>
                  <a:lnTo>
                    <a:pt x="79" y="680"/>
                  </a:lnTo>
                  <a:lnTo>
                    <a:pt x="77" y="679"/>
                  </a:lnTo>
                  <a:lnTo>
                    <a:pt x="76" y="678"/>
                  </a:lnTo>
                  <a:lnTo>
                    <a:pt x="76" y="677"/>
                  </a:lnTo>
                  <a:lnTo>
                    <a:pt x="75" y="678"/>
                  </a:lnTo>
                  <a:lnTo>
                    <a:pt x="75" y="679"/>
                  </a:lnTo>
                  <a:lnTo>
                    <a:pt x="73" y="679"/>
                  </a:lnTo>
                  <a:lnTo>
                    <a:pt x="70" y="678"/>
                  </a:lnTo>
                  <a:lnTo>
                    <a:pt x="69" y="678"/>
                  </a:lnTo>
                  <a:lnTo>
                    <a:pt x="69" y="679"/>
                  </a:lnTo>
                  <a:lnTo>
                    <a:pt x="70" y="679"/>
                  </a:lnTo>
                  <a:lnTo>
                    <a:pt x="71" y="679"/>
                  </a:lnTo>
                  <a:lnTo>
                    <a:pt x="73" y="680"/>
                  </a:lnTo>
                  <a:lnTo>
                    <a:pt x="73" y="682"/>
                  </a:lnTo>
                  <a:lnTo>
                    <a:pt x="73" y="683"/>
                  </a:lnTo>
                  <a:lnTo>
                    <a:pt x="74" y="683"/>
                  </a:lnTo>
                  <a:lnTo>
                    <a:pt x="75" y="683"/>
                  </a:lnTo>
                  <a:lnTo>
                    <a:pt x="76" y="684"/>
                  </a:lnTo>
                  <a:lnTo>
                    <a:pt x="76" y="683"/>
                  </a:lnTo>
                  <a:lnTo>
                    <a:pt x="77" y="682"/>
                  </a:lnTo>
                  <a:lnTo>
                    <a:pt x="79" y="682"/>
                  </a:lnTo>
                  <a:lnTo>
                    <a:pt x="79" y="683"/>
                  </a:lnTo>
                  <a:lnTo>
                    <a:pt x="77" y="683"/>
                  </a:lnTo>
                  <a:lnTo>
                    <a:pt x="77" y="684"/>
                  </a:lnTo>
                  <a:lnTo>
                    <a:pt x="77" y="685"/>
                  </a:lnTo>
                  <a:lnTo>
                    <a:pt x="79" y="684"/>
                  </a:lnTo>
                  <a:lnTo>
                    <a:pt x="80" y="685"/>
                  </a:lnTo>
                  <a:lnTo>
                    <a:pt x="79" y="685"/>
                  </a:lnTo>
                  <a:lnTo>
                    <a:pt x="79" y="688"/>
                  </a:lnTo>
                  <a:lnTo>
                    <a:pt x="80" y="688"/>
                  </a:lnTo>
                  <a:lnTo>
                    <a:pt x="80" y="686"/>
                  </a:lnTo>
                  <a:lnTo>
                    <a:pt x="80" y="685"/>
                  </a:lnTo>
                  <a:lnTo>
                    <a:pt x="80" y="684"/>
                  </a:lnTo>
                  <a:lnTo>
                    <a:pt x="80" y="683"/>
                  </a:lnTo>
                  <a:lnTo>
                    <a:pt x="82" y="683"/>
                  </a:lnTo>
                  <a:lnTo>
                    <a:pt x="83" y="683"/>
                  </a:lnTo>
                  <a:lnTo>
                    <a:pt x="82" y="685"/>
                  </a:lnTo>
                  <a:lnTo>
                    <a:pt x="81" y="685"/>
                  </a:lnTo>
                  <a:lnTo>
                    <a:pt x="81" y="686"/>
                  </a:lnTo>
                  <a:lnTo>
                    <a:pt x="81" y="688"/>
                  </a:lnTo>
                  <a:lnTo>
                    <a:pt x="82" y="688"/>
                  </a:lnTo>
                  <a:lnTo>
                    <a:pt x="82" y="686"/>
                  </a:lnTo>
                  <a:lnTo>
                    <a:pt x="83" y="686"/>
                  </a:lnTo>
                  <a:lnTo>
                    <a:pt x="83" y="685"/>
                  </a:lnTo>
                  <a:lnTo>
                    <a:pt x="85" y="684"/>
                  </a:lnTo>
                  <a:lnTo>
                    <a:pt x="87" y="684"/>
                  </a:lnTo>
                  <a:lnTo>
                    <a:pt x="87" y="685"/>
                  </a:lnTo>
                  <a:lnTo>
                    <a:pt x="86" y="685"/>
                  </a:lnTo>
                  <a:lnTo>
                    <a:pt x="86" y="688"/>
                  </a:lnTo>
                  <a:lnTo>
                    <a:pt x="85" y="689"/>
                  </a:lnTo>
                  <a:lnTo>
                    <a:pt x="85" y="690"/>
                  </a:lnTo>
                  <a:lnTo>
                    <a:pt x="85" y="691"/>
                  </a:lnTo>
                  <a:lnTo>
                    <a:pt x="85" y="692"/>
                  </a:lnTo>
                  <a:lnTo>
                    <a:pt x="85" y="694"/>
                  </a:lnTo>
                  <a:lnTo>
                    <a:pt x="83" y="694"/>
                  </a:lnTo>
                  <a:lnTo>
                    <a:pt x="81" y="692"/>
                  </a:lnTo>
                  <a:lnTo>
                    <a:pt x="80" y="691"/>
                  </a:lnTo>
                  <a:lnTo>
                    <a:pt x="80" y="692"/>
                  </a:lnTo>
                  <a:lnTo>
                    <a:pt x="81" y="692"/>
                  </a:lnTo>
                  <a:lnTo>
                    <a:pt x="81" y="694"/>
                  </a:lnTo>
                  <a:lnTo>
                    <a:pt x="82" y="695"/>
                  </a:lnTo>
                  <a:lnTo>
                    <a:pt x="81" y="695"/>
                  </a:lnTo>
                  <a:lnTo>
                    <a:pt x="80" y="696"/>
                  </a:lnTo>
                  <a:lnTo>
                    <a:pt x="77" y="697"/>
                  </a:lnTo>
                  <a:lnTo>
                    <a:pt x="75" y="697"/>
                  </a:lnTo>
                  <a:lnTo>
                    <a:pt x="74" y="698"/>
                  </a:lnTo>
                  <a:lnTo>
                    <a:pt x="75" y="698"/>
                  </a:lnTo>
                  <a:lnTo>
                    <a:pt x="76" y="698"/>
                  </a:lnTo>
                  <a:lnTo>
                    <a:pt x="77" y="698"/>
                  </a:lnTo>
                  <a:lnTo>
                    <a:pt x="79" y="698"/>
                  </a:lnTo>
                  <a:lnTo>
                    <a:pt x="80" y="698"/>
                  </a:lnTo>
                  <a:lnTo>
                    <a:pt x="80" y="697"/>
                  </a:lnTo>
                  <a:lnTo>
                    <a:pt x="81" y="697"/>
                  </a:lnTo>
                  <a:lnTo>
                    <a:pt x="82" y="698"/>
                  </a:lnTo>
                  <a:lnTo>
                    <a:pt x="81" y="698"/>
                  </a:lnTo>
                  <a:lnTo>
                    <a:pt x="80" y="700"/>
                  </a:lnTo>
                  <a:lnTo>
                    <a:pt x="79" y="701"/>
                  </a:lnTo>
                  <a:lnTo>
                    <a:pt x="79" y="702"/>
                  </a:lnTo>
                  <a:lnTo>
                    <a:pt x="77" y="702"/>
                  </a:lnTo>
                  <a:lnTo>
                    <a:pt x="77" y="703"/>
                  </a:lnTo>
                  <a:lnTo>
                    <a:pt x="79" y="703"/>
                  </a:lnTo>
                  <a:lnTo>
                    <a:pt x="80" y="702"/>
                  </a:lnTo>
                  <a:lnTo>
                    <a:pt x="81" y="702"/>
                  </a:lnTo>
                  <a:lnTo>
                    <a:pt x="81" y="705"/>
                  </a:lnTo>
                  <a:lnTo>
                    <a:pt x="81" y="706"/>
                  </a:lnTo>
                  <a:lnTo>
                    <a:pt x="81" y="707"/>
                  </a:lnTo>
                  <a:lnTo>
                    <a:pt x="82" y="706"/>
                  </a:lnTo>
                  <a:lnTo>
                    <a:pt x="82" y="703"/>
                  </a:lnTo>
                  <a:lnTo>
                    <a:pt x="83" y="702"/>
                  </a:lnTo>
                  <a:lnTo>
                    <a:pt x="83" y="701"/>
                  </a:lnTo>
                  <a:lnTo>
                    <a:pt x="85" y="700"/>
                  </a:lnTo>
                  <a:lnTo>
                    <a:pt x="86" y="701"/>
                  </a:lnTo>
                  <a:lnTo>
                    <a:pt x="86" y="702"/>
                  </a:lnTo>
                  <a:lnTo>
                    <a:pt x="85" y="703"/>
                  </a:lnTo>
                  <a:lnTo>
                    <a:pt x="85" y="705"/>
                  </a:lnTo>
                  <a:lnTo>
                    <a:pt x="86" y="705"/>
                  </a:lnTo>
                  <a:lnTo>
                    <a:pt x="87" y="705"/>
                  </a:lnTo>
                  <a:lnTo>
                    <a:pt x="87" y="714"/>
                  </a:lnTo>
                  <a:lnTo>
                    <a:pt x="87" y="715"/>
                  </a:lnTo>
                  <a:lnTo>
                    <a:pt x="88" y="717"/>
                  </a:lnTo>
                  <a:lnTo>
                    <a:pt x="90" y="717"/>
                  </a:lnTo>
                  <a:lnTo>
                    <a:pt x="90" y="715"/>
                  </a:lnTo>
                  <a:lnTo>
                    <a:pt x="90" y="714"/>
                  </a:lnTo>
                  <a:lnTo>
                    <a:pt x="91" y="711"/>
                  </a:lnTo>
                  <a:lnTo>
                    <a:pt x="91" y="713"/>
                  </a:lnTo>
                  <a:lnTo>
                    <a:pt x="92" y="714"/>
                  </a:lnTo>
                  <a:lnTo>
                    <a:pt x="92" y="712"/>
                  </a:lnTo>
                  <a:lnTo>
                    <a:pt x="93" y="711"/>
                  </a:lnTo>
                  <a:lnTo>
                    <a:pt x="93" y="709"/>
                  </a:lnTo>
                  <a:lnTo>
                    <a:pt x="94" y="708"/>
                  </a:lnTo>
                  <a:lnTo>
                    <a:pt x="96" y="707"/>
                  </a:lnTo>
                  <a:lnTo>
                    <a:pt x="97" y="708"/>
                  </a:lnTo>
                  <a:lnTo>
                    <a:pt x="98" y="709"/>
                  </a:lnTo>
                  <a:lnTo>
                    <a:pt x="99" y="708"/>
                  </a:lnTo>
                  <a:lnTo>
                    <a:pt x="100" y="708"/>
                  </a:lnTo>
                  <a:lnTo>
                    <a:pt x="100" y="711"/>
                  </a:lnTo>
                  <a:lnTo>
                    <a:pt x="102" y="712"/>
                  </a:lnTo>
                  <a:lnTo>
                    <a:pt x="103" y="713"/>
                  </a:lnTo>
                  <a:lnTo>
                    <a:pt x="102" y="714"/>
                  </a:lnTo>
                  <a:lnTo>
                    <a:pt x="100" y="715"/>
                  </a:lnTo>
                  <a:lnTo>
                    <a:pt x="100" y="717"/>
                  </a:lnTo>
                  <a:lnTo>
                    <a:pt x="100" y="718"/>
                  </a:lnTo>
                  <a:lnTo>
                    <a:pt x="99" y="718"/>
                  </a:lnTo>
                  <a:lnTo>
                    <a:pt x="99" y="719"/>
                  </a:lnTo>
                  <a:lnTo>
                    <a:pt x="99" y="720"/>
                  </a:lnTo>
                  <a:lnTo>
                    <a:pt x="100" y="720"/>
                  </a:lnTo>
                  <a:lnTo>
                    <a:pt x="100" y="719"/>
                  </a:lnTo>
                  <a:lnTo>
                    <a:pt x="102" y="719"/>
                  </a:lnTo>
                  <a:lnTo>
                    <a:pt x="102" y="718"/>
                  </a:lnTo>
                  <a:lnTo>
                    <a:pt x="102" y="717"/>
                  </a:lnTo>
                  <a:lnTo>
                    <a:pt x="103" y="717"/>
                  </a:lnTo>
                  <a:lnTo>
                    <a:pt x="103" y="719"/>
                  </a:lnTo>
                  <a:lnTo>
                    <a:pt x="103" y="720"/>
                  </a:lnTo>
                  <a:lnTo>
                    <a:pt x="104" y="720"/>
                  </a:lnTo>
                  <a:lnTo>
                    <a:pt x="105" y="718"/>
                  </a:lnTo>
                  <a:lnTo>
                    <a:pt x="105" y="717"/>
                  </a:lnTo>
                  <a:lnTo>
                    <a:pt x="106" y="715"/>
                  </a:lnTo>
                  <a:lnTo>
                    <a:pt x="106" y="717"/>
                  </a:lnTo>
                  <a:lnTo>
                    <a:pt x="108" y="715"/>
                  </a:lnTo>
                  <a:lnTo>
                    <a:pt x="108" y="713"/>
                  </a:lnTo>
                  <a:lnTo>
                    <a:pt x="109" y="713"/>
                  </a:lnTo>
                  <a:lnTo>
                    <a:pt x="109" y="714"/>
                  </a:lnTo>
                  <a:lnTo>
                    <a:pt x="110" y="714"/>
                  </a:lnTo>
                  <a:lnTo>
                    <a:pt x="111" y="714"/>
                  </a:lnTo>
                  <a:lnTo>
                    <a:pt x="111" y="715"/>
                  </a:lnTo>
                  <a:lnTo>
                    <a:pt x="112" y="717"/>
                  </a:lnTo>
                  <a:lnTo>
                    <a:pt x="114" y="717"/>
                  </a:lnTo>
                  <a:lnTo>
                    <a:pt x="114" y="718"/>
                  </a:lnTo>
                  <a:lnTo>
                    <a:pt x="114" y="719"/>
                  </a:lnTo>
                  <a:lnTo>
                    <a:pt x="116" y="719"/>
                  </a:lnTo>
                  <a:lnTo>
                    <a:pt x="115" y="718"/>
                  </a:lnTo>
                  <a:lnTo>
                    <a:pt x="116" y="714"/>
                  </a:lnTo>
                  <a:lnTo>
                    <a:pt x="117" y="715"/>
                  </a:lnTo>
                  <a:lnTo>
                    <a:pt x="118" y="717"/>
                  </a:lnTo>
                  <a:lnTo>
                    <a:pt x="120" y="717"/>
                  </a:lnTo>
                  <a:lnTo>
                    <a:pt x="118" y="718"/>
                  </a:lnTo>
                  <a:lnTo>
                    <a:pt x="118" y="720"/>
                  </a:lnTo>
                  <a:lnTo>
                    <a:pt x="117" y="721"/>
                  </a:lnTo>
                  <a:lnTo>
                    <a:pt x="117" y="723"/>
                  </a:lnTo>
                  <a:lnTo>
                    <a:pt x="118" y="723"/>
                  </a:lnTo>
                  <a:lnTo>
                    <a:pt x="120" y="721"/>
                  </a:lnTo>
                  <a:lnTo>
                    <a:pt x="121" y="721"/>
                  </a:lnTo>
                  <a:lnTo>
                    <a:pt x="122" y="723"/>
                  </a:lnTo>
                  <a:lnTo>
                    <a:pt x="124" y="725"/>
                  </a:lnTo>
                  <a:lnTo>
                    <a:pt x="124" y="726"/>
                  </a:lnTo>
                  <a:lnTo>
                    <a:pt x="126" y="727"/>
                  </a:lnTo>
                  <a:lnTo>
                    <a:pt x="126" y="730"/>
                  </a:lnTo>
                  <a:lnTo>
                    <a:pt x="124" y="731"/>
                  </a:lnTo>
                  <a:lnTo>
                    <a:pt x="123" y="731"/>
                  </a:lnTo>
                  <a:lnTo>
                    <a:pt x="121" y="732"/>
                  </a:lnTo>
                  <a:lnTo>
                    <a:pt x="120" y="731"/>
                  </a:lnTo>
                  <a:lnTo>
                    <a:pt x="118" y="731"/>
                  </a:lnTo>
                  <a:lnTo>
                    <a:pt x="117" y="732"/>
                  </a:lnTo>
                  <a:lnTo>
                    <a:pt x="116" y="732"/>
                  </a:lnTo>
                  <a:lnTo>
                    <a:pt x="114" y="732"/>
                  </a:lnTo>
                  <a:lnTo>
                    <a:pt x="112" y="731"/>
                  </a:lnTo>
                  <a:lnTo>
                    <a:pt x="111" y="730"/>
                  </a:lnTo>
                  <a:lnTo>
                    <a:pt x="109" y="730"/>
                  </a:lnTo>
                  <a:lnTo>
                    <a:pt x="108" y="730"/>
                  </a:lnTo>
                  <a:lnTo>
                    <a:pt x="104" y="730"/>
                  </a:lnTo>
                  <a:lnTo>
                    <a:pt x="103" y="729"/>
                  </a:lnTo>
                  <a:lnTo>
                    <a:pt x="100" y="729"/>
                  </a:lnTo>
                  <a:lnTo>
                    <a:pt x="100" y="730"/>
                  </a:lnTo>
                  <a:lnTo>
                    <a:pt x="102" y="730"/>
                  </a:lnTo>
                  <a:lnTo>
                    <a:pt x="103" y="730"/>
                  </a:lnTo>
                  <a:lnTo>
                    <a:pt x="104" y="731"/>
                  </a:lnTo>
                  <a:lnTo>
                    <a:pt x="105" y="732"/>
                  </a:lnTo>
                  <a:lnTo>
                    <a:pt x="104" y="733"/>
                  </a:lnTo>
                  <a:lnTo>
                    <a:pt x="104" y="735"/>
                  </a:lnTo>
                  <a:lnTo>
                    <a:pt x="105" y="735"/>
                  </a:lnTo>
                  <a:lnTo>
                    <a:pt x="106" y="735"/>
                  </a:lnTo>
                  <a:lnTo>
                    <a:pt x="108" y="733"/>
                  </a:lnTo>
                  <a:lnTo>
                    <a:pt x="109" y="732"/>
                  </a:lnTo>
                  <a:lnTo>
                    <a:pt x="110" y="732"/>
                  </a:lnTo>
                  <a:lnTo>
                    <a:pt x="112" y="733"/>
                  </a:lnTo>
                  <a:lnTo>
                    <a:pt x="111" y="735"/>
                  </a:lnTo>
                  <a:lnTo>
                    <a:pt x="111" y="736"/>
                  </a:lnTo>
                  <a:lnTo>
                    <a:pt x="110" y="738"/>
                  </a:lnTo>
                  <a:lnTo>
                    <a:pt x="111" y="738"/>
                  </a:lnTo>
                  <a:lnTo>
                    <a:pt x="112" y="738"/>
                  </a:lnTo>
                  <a:lnTo>
                    <a:pt x="114" y="736"/>
                  </a:lnTo>
                  <a:lnTo>
                    <a:pt x="114" y="735"/>
                  </a:lnTo>
                  <a:lnTo>
                    <a:pt x="114" y="733"/>
                  </a:lnTo>
                  <a:lnTo>
                    <a:pt x="115" y="733"/>
                  </a:lnTo>
                  <a:lnTo>
                    <a:pt x="117" y="733"/>
                  </a:lnTo>
                  <a:lnTo>
                    <a:pt x="118" y="733"/>
                  </a:lnTo>
                  <a:lnTo>
                    <a:pt x="117" y="736"/>
                  </a:lnTo>
                  <a:lnTo>
                    <a:pt x="116" y="737"/>
                  </a:lnTo>
                  <a:lnTo>
                    <a:pt x="116" y="739"/>
                  </a:lnTo>
                  <a:lnTo>
                    <a:pt x="116" y="742"/>
                  </a:lnTo>
                  <a:lnTo>
                    <a:pt x="116" y="743"/>
                  </a:lnTo>
                  <a:lnTo>
                    <a:pt x="116" y="744"/>
                  </a:lnTo>
                  <a:lnTo>
                    <a:pt x="116" y="747"/>
                  </a:lnTo>
                  <a:lnTo>
                    <a:pt x="116" y="749"/>
                  </a:lnTo>
                  <a:lnTo>
                    <a:pt x="117" y="750"/>
                  </a:lnTo>
                  <a:lnTo>
                    <a:pt x="118" y="750"/>
                  </a:lnTo>
                  <a:lnTo>
                    <a:pt x="120" y="750"/>
                  </a:lnTo>
                  <a:lnTo>
                    <a:pt x="120" y="749"/>
                  </a:lnTo>
                  <a:lnTo>
                    <a:pt x="120" y="745"/>
                  </a:lnTo>
                  <a:lnTo>
                    <a:pt x="120" y="743"/>
                  </a:lnTo>
                  <a:lnTo>
                    <a:pt x="120" y="741"/>
                  </a:lnTo>
                  <a:lnTo>
                    <a:pt x="120" y="738"/>
                  </a:lnTo>
                  <a:lnTo>
                    <a:pt x="121" y="737"/>
                  </a:lnTo>
                  <a:lnTo>
                    <a:pt x="122" y="736"/>
                  </a:lnTo>
                  <a:lnTo>
                    <a:pt x="122" y="735"/>
                  </a:lnTo>
                  <a:lnTo>
                    <a:pt x="123" y="732"/>
                  </a:lnTo>
                  <a:lnTo>
                    <a:pt x="123" y="735"/>
                  </a:lnTo>
                  <a:lnTo>
                    <a:pt x="122" y="737"/>
                  </a:lnTo>
                  <a:lnTo>
                    <a:pt x="123" y="736"/>
                  </a:lnTo>
                  <a:lnTo>
                    <a:pt x="124" y="735"/>
                  </a:lnTo>
                  <a:lnTo>
                    <a:pt x="124" y="736"/>
                  </a:lnTo>
                  <a:lnTo>
                    <a:pt x="124" y="739"/>
                  </a:lnTo>
                  <a:lnTo>
                    <a:pt x="124" y="742"/>
                  </a:lnTo>
                  <a:lnTo>
                    <a:pt x="123" y="743"/>
                  </a:lnTo>
                  <a:lnTo>
                    <a:pt x="123" y="744"/>
                  </a:lnTo>
                  <a:lnTo>
                    <a:pt x="123" y="747"/>
                  </a:lnTo>
                  <a:lnTo>
                    <a:pt x="124" y="748"/>
                  </a:lnTo>
                  <a:lnTo>
                    <a:pt x="124" y="749"/>
                  </a:lnTo>
                  <a:lnTo>
                    <a:pt x="126" y="749"/>
                  </a:lnTo>
                  <a:lnTo>
                    <a:pt x="126" y="748"/>
                  </a:lnTo>
                  <a:lnTo>
                    <a:pt x="127" y="744"/>
                  </a:lnTo>
                  <a:lnTo>
                    <a:pt x="127" y="741"/>
                  </a:lnTo>
                  <a:lnTo>
                    <a:pt x="127" y="738"/>
                  </a:lnTo>
                  <a:lnTo>
                    <a:pt x="127" y="736"/>
                  </a:lnTo>
                  <a:lnTo>
                    <a:pt x="127" y="733"/>
                  </a:lnTo>
                  <a:lnTo>
                    <a:pt x="128" y="732"/>
                  </a:lnTo>
                  <a:lnTo>
                    <a:pt x="129" y="732"/>
                  </a:lnTo>
                  <a:lnTo>
                    <a:pt x="128" y="735"/>
                  </a:lnTo>
                  <a:lnTo>
                    <a:pt x="127" y="738"/>
                  </a:lnTo>
                  <a:lnTo>
                    <a:pt x="127" y="739"/>
                  </a:lnTo>
                  <a:lnTo>
                    <a:pt x="127" y="742"/>
                  </a:lnTo>
                  <a:lnTo>
                    <a:pt x="128" y="744"/>
                  </a:lnTo>
                  <a:lnTo>
                    <a:pt x="129" y="743"/>
                  </a:lnTo>
                  <a:lnTo>
                    <a:pt x="130" y="743"/>
                  </a:lnTo>
                  <a:lnTo>
                    <a:pt x="129" y="745"/>
                  </a:lnTo>
                  <a:lnTo>
                    <a:pt x="129" y="748"/>
                  </a:lnTo>
                  <a:lnTo>
                    <a:pt x="129" y="750"/>
                  </a:lnTo>
                  <a:lnTo>
                    <a:pt x="129" y="751"/>
                  </a:lnTo>
                  <a:lnTo>
                    <a:pt x="129" y="753"/>
                  </a:lnTo>
                  <a:lnTo>
                    <a:pt x="130" y="753"/>
                  </a:lnTo>
                  <a:lnTo>
                    <a:pt x="130" y="751"/>
                  </a:lnTo>
                  <a:lnTo>
                    <a:pt x="132" y="749"/>
                  </a:lnTo>
                  <a:lnTo>
                    <a:pt x="132" y="748"/>
                  </a:lnTo>
                  <a:lnTo>
                    <a:pt x="133" y="748"/>
                  </a:lnTo>
                  <a:lnTo>
                    <a:pt x="133" y="747"/>
                  </a:lnTo>
                  <a:lnTo>
                    <a:pt x="134" y="747"/>
                  </a:lnTo>
                  <a:lnTo>
                    <a:pt x="134" y="748"/>
                  </a:lnTo>
                  <a:lnTo>
                    <a:pt x="134" y="749"/>
                  </a:lnTo>
                  <a:lnTo>
                    <a:pt x="134" y="750"/>
                  </a:lnTo>
                  <a:lnTo>
                    <a:pt x="134" y="751"/>
                  </a:lnTo>
                  <a:lnTo>
                    <a:pt x="134" y="753"/>
                  </a:lnTo>
                  <a:lnTo>
                    <a:pt x="135" y="754"/>
                  </a:lnTo>
                  <a:lnTo>
                    <a:pt x="135" y="753"/>
                  </a:lnTo>
                  <a:lnTo>
                    <a:pt x="136" y="750"/>
                  </a:lnTo>
                  <a:lnTo>
                    <a:pt x="136" y="748"/>
                  </a:lnTo>
                  <a:lnTo>
                    <a:pt x="136" y="747"/>
                  </a:lnTo>
                  <a:lnTo>
                    <a:pt x="138" y="747"/>
                  </a:lnTo>
                  <a:lnTo>
                    <a:pt x="139" y="745"/>
                  </a:lnTo>
                  <a:lnTo>
                    <a:pt x="140" y="745"/>
                  </a:lnTo>
                  <a:lnTo>
                    <a:pt x="140" y="749"/>
                  </a:lnTo>
                  <a:lnTo>
                    <a:pt x="140" y="751"/>
                  </a:lnTo>
                  <a:lnTo>
                    <a:pt x="141" y="753"/>
                  </a:lnTo>
                  <a:lnTo>
                    <a:pt x="142" y="751"/>
                  </a:lnTo>
                  <a:lnTo>
                    <a:pt x="142" y="749"/>
                  </a:lnTo>
                  <a:lnTo>
                    <a:pt x="144" y="748"/>
                  </a:lnTo>
                  <a:lnTo>
                    <a:pt x="144" y="749"/>
                  </a:lnTo>
                  <a:lnTo>
                    <a:pt x="145" y="751"/>
                  </a:lnTo>
                  <a:lnTo>
                    <a:pt x="146" y="751"/>
                  </a:lnTo>
                  <a:lnTo>
                    <a:pt x="146" y="753"/>
                  </a:lnTo>
                  <a:lnTo>
                    <a:pt x="146" y="754"/>
                  </a:lnTo>
                  <a:lnTo>
                    <a:pt x="146" y="755"/>
                  </a:lnTo>
                  <a:lnTo>
                    <a:pt x="145" y="756"/>
                  </a:lnTo>
                  <a:lnTo>
                    <a:pt x="144" y="757"/>
                  </a:lnTo>
                  <a:lnTo>
                    <a:pt x="144" y="760"/>
                  </a:lnTo>
                  <a:lnTo>
                    <a:pt x="144" y="761"/>
                  </a:lnTo>
                  <a:lnTo>
                    <a:pt x="144" y="762"/>
                  </a:lnTo>
                  <a:lnTo>
                    <a:pt x="145" y="763"/>
                  </a:lnTo>
                  <a:lnTo>
                    <a:pt x="145" y="765"/>
                  </a:lnTo>
                  <a:lnTo>
                    <a:pt x="146" y="765"/>
                  </a:lnTo>
                  <a:lnTo>
                    <a:pt x="146" y="763"/>
                  </a:lnTo>
                  <a:lnTo>
                    <a:pt x="146" y="761"/>
                  </a:lnTo>
                  <a:lnTo>
                    <a:pt x="147" y="759"/>
                  </a:lnTo>
                  <a:lnTo>
                    <a:pt x="149" y="756"/>
                  </a:lnTo>
                  <a:lnTo>
                    <a:pt x="149" y="755"/>
                  </a:lnTo>
                  <a:lnTo>
                    <a:pt x="151" y="755"/>
                  </a:lnTo>
                  <a:lnTo>
                    <a:pt x="152" y="756"/>
                  </a:lnTo>
                  <a:lnTo>
                    <a:pt x="152" y="757"/>
                  </a:lnTo>
                  <a:lnTo>
                    <a:pt x="151" y="760"/>
                  </a:lnTo>
                  <a:lnTo>
                    <a:pt x="151" y="762"/>
                  </a:lnTo>
                  <a:lnTo>
                    <a:pt x="152" y="763"/>
                  </a:lnTo>
                  <a:lnTo>
                    <a:pt x="153" y="765"/>
                  </a:lnTo>
                  <a:lnTo>
                    <a:pt x="155" y="763"/>
                  </a:lnTo>
                  <a:lnTo>
                    <a:pt x="153" y="762"/>
                  </a:lnTo>
                  <a:lnTo>
                    <a:pt x="153" y="760"/>
                  </a:lnTo>
                  <a:lnTo>
                    <a:pt x="155" y="759"/>
                  </a:lnTo>
                  <a:lnTo>
                    <a:pt x="156" y="760"/>
                  </a:lnTo>
                  <a:lnTo>
                    <a:pt x="157" y="760"/>
                  </a:lnTo>
                  <a:lnTo>
                    <a:pt x="157" y="759"/>
                  </a:lnTo>
                  <a:lnTo>
                    <a:pt x="157" y="757"/>
                  </a:lnTo>
                  <a:lnTo>
                    <a:pt x="157" y="756"/>
                  </a:lnTo>
                  <a:lnTo>
                    <a:pt x="158" y="756"/>
                  </a:lnTo>
                  <a:lnTo>
                    <a:pt x="158" y="755"/>
                  </a:lnTo>
                  <a:lnTo>
                    <a:pt x="159" y="753"/>
                  </a:lnTo>
                  <a:lnTo>
                    <a:pt x="159" y="751"/>
                  </a:lnTo>
                  <a:lnTo>
                    <a:pt x="161" y="748"/>
                  </a:lnTo>
                  <a:lnTo>
                    <a:pt x="161" y="747"/>
                  </a:lnTo>
                  <a:lnTo>
                    <a:pt x="161" y="748"/>
                  </a:lnTo>
                  <a:lnTo>
                    <a:pt x="161" y="750"/>
                  </a:lnTo>
                  <a:lnTo>
                    <a:pt x="159" y="754"/>
                  </a:lnTo>
                  <a:lnTo>
                    <a:pt x="159" y="756"/>
                  </a:lnTo>
                  <a:lnTo>
                    <a:pt x="159" y="757"/>
                  </a:lnTo>
                  <a:lnTo>
                    <a:pt x="161" y="755"/>
                  </a:lnTo>
                  <a:lnTo>
                    <a:pt x="161" y="754"/>
                  </a:lnTo>
                  <a:lnTo>
                    <a:pt x="161" y="757"/>
                  </a:lnTo>
                  <a:lnTo>
                    <a:pt x="161" y="759"/>
                  </a:lnTo>
                  <a:lnTo>
                    <a:pt x="161" y="761"/>
                  </a:lnTo>
                  <a:lnTo>
                    <a:pt x="161" y="762"/>
                  </a:lnTo>
                  <a:lnTo>
                    <a:pt x="159" y="765"/>
                  </a:lnTo>
                  <a:lnTo>
                    <a:pt x="159" y="766"/>
                  </a:lnTo>
                  <a:lnTo>
                    <a:pt x="159" y="767"/>
                  </a:lnTo>
                  <a:lnTo>
                    <a:pt x="159" y="768"/>
                  </a:lnTo>
                  <a:lnTo>
                    <a:pt x="161" y="769"/>
                  </a:lnTo>
                  <a:lnTo>
                    <a:pt x="162" y="767"/>
                  </a:lnTo>
                  <a:lnTo>
                    <a:pt x="162" y="766"/>
                  </a:lnTo>
                  <a:lnTo>
                    <a:pt x="162" y="765"/>
                  </a:lnTo>
                  <a:lnTo>
                    <a:pt x="163" y="765"/>
                  </a:lnTo>
                  <a:lnTo>
                    <a:pt x="163" y="766"/>
                  </a:lnTo>
                  <a:lnTo>
                    <a:pt x="164" y="767"/>
                  </a:lnTo>
                  <a:lnTo>
                    <a:pt x="165" y="768"/>
                  </a:lnTo>
                  <a:lnTo>
                    <a:pt x="165" y="769"/>
                  </a:lnTo>
                  <a:lnTo>
                    <a:pt x="167" y="769"/>
                  </a:lnTo>
                  <a:lnTo>
                    <a:pt x="167" y="768"/>
                  </a:lnTo>
                  <a:lnTo>
                    <a:pt x="168" y="767"/>
                  </a:lnTo>
                  <a:lnTo>
                    <a:pt x="168" y="766"/>
                  </a:lnTo>
                  <a:lnTo>
                    <a:pt x="168" y="765"/>
                  </a:lnTo>
                  <a:lnTo>
                    <a:pt x="169" y="763"/>
                  </a:lnTo>
                  <a:lnTo>
                    <a:pt x="170" y="765"/>
                  </a:lnTo>
                  <a:lnTo>
                    <a:pt x="170" y="767"/>
                  </a:lnTo>
                  <a:lnTo>
                    <a:pt x="170" y="772"/>
                  </a:lnTo>
                  <a:lnTo>
                    <a:pt x="171" y="771"/>
                  </a:lnTo>
                  <a:lnTo>
                    <a:pt x="171" y="769"/>
                  </a:lnTo>
                  <a:lnTo>
                    <a:pt x="171" y="766"/>
                  </a:lnTo>
                  <a:lnTo>
                    <a:pt x="173" y="766"/>
                  </a:lnTo>
                  <a:lnTo>
                    <a:pt x="173" y="763"/>
                  </a:lnTo>
                  <a:lnTo>
                    <a:pt x="173" y="762"/>
                  </a:lnTo>
                  <a:lnTo>
                    <a:pt x="174" y="763"/>
                  </a:lnTo>
                  <a:lnTo>
                    <a:pt x="175" y="763"/>
                  </a:lnTo>
                  <a:lnTo>
                    <a:pt x="175" y="762"/>
                  </a:lnTo>
                  <a:lnTo>
                    <a:pt x="175" y="761"/>
                  </a:lnTo>
                  <a:lnTo>
                    <a:pt x="175" y="759"/>
                  </a:lnTo>
                  <a:lnTo>
                    <a:pt x="176" y="757"/>
                  </a:lnTo>
                  <a:lnTo>
                    <a:pt x="176" y="760"/>
                  </a:lnTo>
                  <a:lnTo>
                    <a:pt x="177" y="760"/>
                  </a:lnTo>
                  <a:lnTo>
                    <a:pt x="179" y="761"/>
                  </a:lnTo>
                  <a:lnTo>
                    <a:pt x="179" y="762"/>
                  </a:lnTo>
                  <a:lnTo>
                    <a:pt x="177" y="763"/>
                  </a:lnTo>
                  <a:lnTo>
                    <a:pt x="176" y="765"/>
                  </a:lnTo>
                  <a:lnTo>
                    <a:pt x="177" y="765"/>
                  </a:lnTo>
                  <a:lnTo>
                    <a:pt x="179" y="763"/>
                  </a:lnTo>
                  <a:lnTo>
                    <a:pt x="179" y="766"/>
                  </a:lnTo>
                  <a:lnTo>
                    <a:pt x="179" y="767"/>
                  </a:lnTo>
                  <a:lnTo>
                    <a:pt x="180" y="767"/>
                  </a:lnTo>
                  <a:lnTo>
                    <a:pt x="180" y="765"/>
                  </a:lnTo>
                  <a:lnTo>
                    <a:pt x="180" y="762"/>
                  </a:lnTo>
                  <a:lnTo>
                    <a:pt x="181" y="762"/>
                  </a:lnTo>
                  <a:lnTo>
                    <a:pt x="181" y="761"/>
                  </a:lnTo>
                  <a:lnTo>
                    <a:pt x="181" y="759"/>
                  </a:lnTo>
                  <a:lnTo>
                    <a:pt x="181" y="757"/>
                  </a:lnTo>
                  <a:lnTo>
                    <a:pt x="181" y="756"/>
                  </a:lnTo>
                  <a:lnTo>
                    <a:pt x="182" y="755"/>
                  </a:lnTo>
                  <a:lnTo>
                    <a:pt x="181" y="757"/>
                  </a:lnTo>
                  <a:lnTo>
                    <a:pt x="181" y="759"/>
                  </a:lnTo>
                  <a:lnTo>
                    <a:pt x="182" y="760"/>
                  </a:lnTo>
                  <a:lnTo>
                    <a:pt x="182" y="759"/>
                  </a:lnTo>
                  <a:lnTo>
                    <a:pt x="182" y="760"/>
                  </a:lnTo>
                  <a:lnTo>
                    <a:pt x="182" y="762"/>
                  </a:lnTo>
                  <a:lnTo>
                    <a:pt x="182" y="763"/>
                  </a:lnTo>
                  <a:lnTo>
                    <a:pt x="182" y="765"/>
                  </a:lnTo>
                  <a:lnTo>
                    <a:pt x="183" y="765"/>
                  </a:lnTo>
                  <a:lnTo>
                    <a:pt x="185" y="763"/>
                  </a:lnTo>
                  <a:lnTo>
                    <a:pt x="183" y="762"/>
                  </a:lnTo>
                  <a:lnTo>
                    <a:pt x="183" y="761"/>
                  </a:lnTo>
                  <a:lnTo>
                    <a:pt x="183" y="760"/>
                  </a:lnTo>
                  <a:lnTo>
                    <a:pt x="183" y="759"/>
                  </a:lnTo>
                  <a:lnTo>
                    <a:pt x="185" y="757"/>
                  </a:lnTo>
                  <a:lnTo>
                    <a:pt x="186" y="756"/>
                  </a:lnTo>
                  <a:lnTo>
                    <a:pt x="186" y="755"/>
                  </a:lnTo>
                  <a:lnTo>
                    <a:pt x="186" y="753"/>
                  </a:lnTo>
                  <a:lnTo>
                    <a:pt x="185" y="753"/>
                  </a:lnTo>
                  <a:lnTo>
                    <a:pt x="186" y="751"/>
                  </a:lnTo>
                  <a:lnTo>
                    <a:pt x="187" y="750"/>
                  </a:lnTo>
                  <a:lnTo>
                    <a:pt x="187" y="749"/>
                  </a:lnTo>
                  <a:lnTo>
                    <a:pt x="188" y="748"/>
                  </a:lnTo>
                  <a:lnTo>
                    <a:pt x="188" y="747"/>
                  </a:lnTo>
                  <a:lnTo>
                    <a:pt x="189" y="747"/>
                  </a:lnTo>
                  <a:lnTo>
                    <a:pt x="188" y="748"/>
                  </a:lnTo>
                  <a:lnTo>
                    <a:pt x="188" y="750"/>
                  </a:lnTo>
                  <a:lnTo>
                    <a:pt x="187" y="751"/>
                  </a:lnTo>
                  <a:lnTo>
                    <a:pt x="187" y="753"/>
                  </a:lnTo>
                  <a:lnTo>
                    <a:pt x="188" y="753"/>
                  </a:lnTo>
                  <a:lnTo>
                    <a:pt x="187" y="754"/>
                  </a:lnTo>
                  <a:lnTo>
                    <a:pt x="186" y="755"/>
                  </a:lnTo>
                  <a:lnTo>
                    <a:pt x="187" y="755"/>
                  </a:lnTo>
                  <a:lnTo>
                    <a:pt x="188" y="755"/>
                  </a:lnTo>
                  <a:lnTo>
                    <a:pt x="188" y="756"/>
                  </a:lnTo>
                  <a:lnTo>
                    <a:pt x="187" y="756"/>
                  </a:lnTo>
                  <a:lnTo>
                    <a:pt x="186" y="757"/>
                  </a:lnTo>
                  <a:lnTo>
                    <a:pt x="185" y="759"/>
                  </a:lnTo>
                  <a:lnTo>
                    <a:pt x="186" y="760"/>
                  </a:lnTo>
                  <a:lnTo>
                    <a:pt x="185" y="760"/>
                  </a:lnTo>
                  <a:lnTo>
                    <a:pt x="183" y="760"/>
                  </a:lnTo>
                  <a:lnTo>
                    <a:pt x="185" y="761"/>
                  </a:lnTo>
                  <a:lnTo>
                    <a:pt x="185" y="762"/>
                  </a:lnTo>
                  <a:lnTo>
                    <a:pt x="186" y="762"/>
                  </a:lnTo>
                  <a:lnTo>
                    <a:pt x="187" y="761"/>
                  </a:lnTo>
                  <a:lnTo>
                    <a:pt x="186" y="760"/>
                  </a:lnTo>
                  <a:lnTo>
                    <a:pt x="187" y="759"/>
                  </a:lnTo>
                  <a:lnTo>
                    <a:pt x="188" y="757"/>
                  </a:lnTo>
                  <a:lnTo>
                    <a:pt x="189" y="759"/>
                  </a:lnTo>
                  <a:lnTo>
                    <a:pt x="189" y="760"/>
                  </a:lnTo>
                  <a:lnTo>
                    <a:pt x="189" y="761"/>
                  </a:lnTo>
                  <a:lnTo>
                    <a:pt x="188" y="761"/>
                  </a:lnTo>
                  <a:lnTo>
                    <a:pt x="188" y="762"/>
                  </a:lnTo>
                  <a:lnTo>
                    <a:pt x="188" y="763"/>
                  </a:lnTo>
                  <a:lnTo>
                    <a:pt x="189" y="762"/>
                  </a:lnTo>
                  <a:lnTo>
                    <a:pt x="191" y="762"/>
                  </a:lnTo>
                  <a:lnTo>
                    <a:pt x="191" y="763"/>
                  </a:lnTo>
                  <a:lnTo>
                    <a:pt x="189" y="767"/>
                  </a:lnTo>
                  <a:lnTo>
                    <a:pt x="188" y="768"/>
                  </a:lnTo>
                  <a:lnTo>
                    <a:pt x="189" y="768"/>
                  </a:lnTo>
                  <a:lnTo>
                    <a:pt x="191" y="767"/>
                  </a:lnTo>
                  <a:lnTo>
                    <a:pt x="192" y="768"/>
                  </a:lnTo>
                  <a:lnTo>
                    <a:pt x="191" y="771"/>
                  </a:lnTo>
                  <a:lnTo>
                    <a:pt x="191" y="772"/>
                  </a:lnTo>
                  <a:lnTo>
                    <a:pt x="189" y="775"/>
                  </a:lnTo>
                  <a:lnTo>
                    <a:pt x="191" y="779"/>
                  </a:lnTo>
                  <a:lnTo>
                    <a:pt x="191" y="778"/>
                  </a:lnTo>
                  <a:lnTo>
                    <a:pt x="191" y="777"/>
                  </a:lnTo>
                  <a:lnTo>
                    <a:pt x="192" y="773"/>
                  </a:lnTo>
                  <a:lnTo>
                    <a:pt x="193" y="771"/>
                  </a:lnTo>
                  <a:lnTo>
                    <a:pt x="193" y="772"/>
                  </a:lnTo>
                  <a:lnTo>
                    <a:pt x="194" y="773"/>
                  </a:lnTo>
                  <a:lnTo>
                    <a:pt x="195" y="773"/>
                  </a:lnTo>
                  <a:lnTo>
                    <a:pt x="194" y="774"/>
                  </a:lnTo>
                  <a:lnTo>
                    <a:pt x="193" y="777"/>
                  </a:lnTo>
                  <a:lnTo>
                    <a:pt x="194" y="775"/>
                  </a:lnTo>
                  <a:lnTo>
                    <a:pt x="195" y="775"/>
                  </a:lnTo>
                  <a:lnTo>
                    <a:pt x="195" y="778"/>
                  </a:lnTo>
                  <a:lnTo>
                    <a:pt x="195" y="780"/>
                  </a:lnTo>
                  <a:lnTo>
                    <a:pt x="197" y="780"/>
                  </a:lnTo>
                  <a:lnTo>
                    <a:pt x="197" y="777"/>
                  </a:lnTo>
                  <a:lnTo>
                    <a:pt x="197" y="774"/>
                  </a:lnTo>
                  <a:lnTo>
                    <a:pt x="198" y="773"/>
                  </a:lnTo>
                  <a:lnTo>
                    <a:pt x="199" y="771"/>
                  </a:lnTo>
                  <a:lnTo>
                    <a:pt x="199" y="768"/>
                  </a:lnTo>
                  <a:lnTo>
                    <a:pt x="199" y="765"/>
                  </a:lnTo>
                  <a:lnTo>
                    <a:pt x="199" y="762"/>
                  </a:lnTo>
                  <a:lnTo>
                    <a:pt x="200" y="759"/>
                  </a:lnTo>
                  <a:lnTo>
                    <a:pt x="201" y="759"/>
                  </a:lnTo>
                  <a:lnTo>
                    <a:pt x="203" y="760"/>
                  </a:lnTo>
                  <a:lnTo>
                    <a:pt x="204" y="762"/>
                  </a:lnTo>
                  <a:lnTo>
                    <a:pt x="204" y="767"/>
                  </a:lnTo>
                  <a:lnTo>
                    <a:pt x="204" y="771"/>
                  </a:lnTo>
                  <a:lnTo>
                    <a:pt x="204" y="773"/>
                  </a:lnTo>
                  <a:lnTo>
                    <a:pt x="203" y="777"/>
                  </a:lnTo>
                  <a:lnTo>
                    <a:pt x="201" y="778"/>
                  </a:lnTo>
                  <a:lnTo>
                    <a:pt x="203" y="780"/>
                  </a:lnTo>
                  <a:lnTo>
                    <a:pt x="204" y="778"/>
                  </a:lnTo>
                  <a:lnTo>
                    <a:pt x="205" y="775"/>
                  </a:lnTo>
                  <a:lnTo>
                    <a:pt x="205" y="773"/>
                  </a:lnTo>
                  <a:lnTo>
                    <a:pt x="206" y="769"/>
                  </a:lnTo>
                  <a:lnTo>
                    <a:pt x="206" y="767"/>
                  </a:lnTo>
                  <a:lnTo>
                    <a:pt x="207" y="766"/>
                  </a:lnTo>
                  <a:lnTo>
                    <a:pt x="207" y="769"/>
                  </a:lnTo>
                  <a:lnTo>
                    <a:pt x="209" y="768"/>
                  </a:lnTo>
                  <a:lnTo>
                    <a:pt x="210" y="768"/>
                  </a:lnTo>
                  <a:lnTo>
                    <a:pt x="210" y="772"/>
                  </a:lnTo>
                  <a:lnTo>
                    <a:pt x="210" y="773"/>
                  </a:lnTo>
                  <a:lnTo>
                    <a:pt x="207" y="779"/>
                  </a:lnTo>
                  <a:lnTo>
                    <a:pt x="207" y="781"/>
                  </a:lnTo>
                  <a:lnTo>
                    <a:pt x="209" y="784"/>
                  </a:lnTo>
                  <a:lnTo>
                    <a:pt x="210" y="784"/>
                  </a:lnTo>
                  <a:lnTo>
                    <a:pt x="210" y="781"/>
                  </a:lnTo>
                  <a:lnTo>
                    <a:pt x="211" y="780"/>
                  </a:lnTo>
                  <a:lnTo>
                    <a:pt x="211" y="783"/>
                  </a:lnTo>
                  <a:lnTo>
                    <a:pt x="212" y="784"/>
                  </a:lnTo>
                  <a:lnTo>
                    <a:pt x="214" y="780"/>
                  </a:lnTo>
                  <a:lnTo>
                    <a:pt x="214" y="778"/>
                  </a:lnTo>
                  <a:lnTo>
                    <a:pt x="214" y="775"/>
                  </a:lnTo>
                  <a:lnTo>
                    <a:pt x="212" y="769"/>
                  </a:lnTo>
                  <a:lnTo>
                    <a:pt x="211" y="767"/>
                  </a:lnTo>
                  <a:lnTo>
                    <a:pt x="212" y="765"/>
                  </a:lnTo>
                  <a:lnTo>
                    <a:pt x="212" y="762"/>
                  </a:lnTo>
                  <a:lnTo>
                    <a:pt x="212" y="759"/>
                  </a:lnTo>
                  <a:lnTo>
                    <a:pt x="214" y="755"/>
                  </a:lnTo>
                  <a:lnTo>
                    <a:pt x="216" y="753"/>
                  </a:lnTo>
                  <a:lnTo>
                    <a:pt x="217" y="749"/>
                  </a:lnTo>
                  <a:lnTo>
                    <a:pt x="217" y="753"/>
                  </a:lnTo>
                  <a:lnTo>
                    <a:pt x="218" y="756"/>
                  </a:lnTo>
                  <a:lnTo>
                    <a:pt x="220" y="755"/>
                  </a:lnTo>
                  <a:lnTo>
                    <a:pt x="221" y="755"/>
                  </a:lnTo>
                  <a:lnTo>
                    <a:pt x="222" y="759"/>
                  </a:lnTo>
                  <a:lnTo>
                    <a:pt x="223" y="762"/>
                  </a:lnTo>
                  <a:lnTo>
                    <a:pt x="223" y="761"/>
                  </a:lnTo>
                  <a:lnTo>
                    <a:pt x="223" y="756"/>
                  </a:lnTo>
                  <a:lnTo>
                    <a:pt x="224" y="750"/>
                  </a:lnTo>
                  <a:lnTo>
                    <a:pt x="224" y="744"/>
                  </a:lnTo>
                  <a:lnTo>
                    <a:pt x="226" y="743"/>
                  </a:lnTo>
                  <a:lnTo>
                    <a:pt x="226" y="751"/>
                  </a:lnTo>
                  <a:lnTo>
                    <a:pt x="227" y="753"/>
                  </a:lnTo>
                  <a:lnTo>
                    <a:pt x="228" y="749"/>
                  </a:lnTo>
                  <a:lnTo>
                    <a:pt x="229" y="748"/>
                  </a:lnTo>
                  <a:lnTo>
                    <a:pt x="229" y="744"/>
                  </a:lnTo>
                  <a:lnTo>
                    <a:pt x="229" y="741"/>
                  </a:lnTo>
                  <a:lnTo>
                    <a:pt x="230" y="741"/>
                  </a:lnTo>
                  <a:lnTo>
                    <a:pt x="232" y="744"/>
                  </a:lnTo>
                  <a:lnTo>
                    <a:pt x="232" y="748"/>
                  </a:lnTo>
                  <a:lnTo>
                    <a:pt x="232" y="743"/>
                  </a:lnTo>
                  <a:lnTo>
                    <a:pt x="234" y="739"/>
                  </a:lnTo>
                  <a:lnTo>
                    <a:pt x="234" y="736"/>
                  </a:lnTo>
                  <a:lnTo>
                    <a:pt x="234" y="733"/>
                  </a:lnTo>
                  <a:lnTo>
                    <a:pt x="235" y="730"/>
                  </a:lnTo>
                  <a:lnTo>
                    <a:pt x="239" y="731"/>
                  </a:lnTo>
                  <a:lnTo>
                    <a:pt x="240" y="732"/>
                  </a:lnTo>
                  <a:lnTo>
                    <a:pt x="239" y="735"/>
                  </a:lnTo>
                  <a:lnTo>
                    <a:pt x="235" y="738"/>
                  </a:lnTo>
                  <a:lnTo>
                    <a:pt x="234" y="741"/>
                  </a:lnTo>
                  <a:lnTo>
                    <a:pt x="234" y="743"/>
                  </a:lnTo>
                  <a:lnTo>
                    <a:pt x="234" y="745"/>
                  </a:lnTo>
                  <a:lnTo>
                    <a:pt x="234" y="748"/>
                  </a:lnTo>
                  <a:lnTo>
                    <a:pt x="235" y="749"/>
                  </a:lnTo>
                  <a:lnTo>
                    <a:pt x="239" y="749"/>
                  </a:lnTo>
                  <a:lnTo>
                    <a:pt x="239" y="750"/>
                  </a:lnTo>
                  <a:lnTo>
                    <a:pt x="239" y="754"/>
                  </a:lnTo>
                  <a:lnTo>
                    <a:pt x="239" y="755"/>
                  </a:lnTo>
                  <a:lnTo>
                    <a:pt x="235" y="755"/>
                  </a:lnTo>
                  <a:lnTo>
                    <a:pt x="234" y="756"/>
                  </a:lnTo>
                  <a:lnTo>
                    <a:pt x="233" y="753"/>
                  </a:lnTo>
                  <a:lnTo>
                    <a:pt x="232" y="754"/>
                  </a:lnTo>
                  <a:lnTo>
                    <a:pt x="232" y="756"/>
                  </a:lnTo>
                  <a:lnTo>
                    <a:pt x="229" y="756"/>
                  </a:lnTo>
                  <a:lnTo>
                    <a:pt x="227" y="757"/>
                  </a:lnTo>
                  <a:lnTo>
                    <a:pt x="226" y="761"/>
                  </a:lnTo>
                  <a:lnTo>
                    <a:pt x="228" y="761"/>
                  </a:lnTo>
                  <a:lnTo>
                    <a:pt x="230" y="760"/>
                  </a:lnTo>
                  <a:lnTo>
                    <a:pt x="230" y="761"/>
                  </a:lnTo>
                  <a:lnTo>
                    <a:pt x="233" y="761"/>
                  </a:lnTo>
                  <a:lnTo>
                    <a:pt x="233" y="762"/>
                  </a:lnTo>
                  <a:lnTo>
                    <a:pt x="233" y="767"/>
                  </a:lnTo>
                  <a:lnTo>
                    <a:pt x="232" y="771"/>
                  </a:lnTo>
                  <a:lnTo>
                    <a:pt x="232" y="774"/>
                  </a:lnTo>
                  <a:lnTo>
                    <a:pt x="230" y="777"/>
                  </a:lnTo>
                  <a:lnTo>
                    <a:pt x="229" y="779"/>
                  </a:lnTo>
                  <a:lnTo>
                    <a:pt x="226" y="781"/>
                  </a:lnTo>
                  <a:lnTo>
                    <a:pt x="224" y="784"/>
                  </a:lnTo>
                  <a:lnTo>
                    <a:pt x="221" y="783"/>
                  </a:lnTo>
                  <a:lnTo>
                    <a:pt x="218" y="784"/>
                  </a:lnTo>
                  <a:lnTo>
                    <a:pt x="217" y="785"/>
                  </a:lnTo>
                  <a:lnTo>
                    <a:pt x="214" y="785"/>
                  </a:lnTo>
                  <a:lnTo>
                    <a:pt x="207" y="786"/>
                  </a:lnTo>
                  <a:lnTo>
                    <a:pt x="201" y="787"/>
                  </a:lnTo>
                  <a:lnTo>
                    <a:pt x="199" y="789"/>
                  </a:lnTo>
                  <a:lnTo>
                    <a:pt x="194" y="789"/>
                  </a:lnTo>
                  <a:lnTo>
                    <a:pt x="187" y="792"/>
                  </a:lnTo>
                  <a:lnTo>
                    <a:pt x="183" y="792"/>
                  </a:lnTo>
                  <a:lnTo>
                    <a:pt x="182" y="793"/>
                  </a:lnTo>
                  <a:lnTo>
                    <a:pt x="182" y="795"/>
                  </a:lnTo>
                  <a:lnTo>
                    <a:pt x="186" y="793"/>
                  </a:lnTo>
                  <a:lnTo>
                    <a:pt x="189" y="792"/>
                  </a:lnTo>
                  <a:lnTo>
                    <a:pt x="188" y="795"/>
                  </a:lnTo>
                  <a:lnTo>
                    <a:pt x="188" y="796"/>
                  </a:lnTo>
                  <a:lnTo>
                    <a:pt x="188" y="797"/>
                  </a:lnTo>
                  <a:lnTo>
                    <a:pt x="189" y="796"/>
                  </a:lnTo>
                  <a:lnTo>
                    <a:pt x="192" y="793"/>
                  </a:lnTo>
                  <a:lnTo>
                    <a:pt x="193" y="792"/>
                  </a:lnTo>
                  <a:lnTo>
                    <a:pt x="194" y="792"/>
                  </a:lnTo>
                  <a:lnTo>
                    <a:pt x="193" y="796"/>
                  </a:lnTo>
                  <a:lnTo>
                    <a:pt x="191" y="797"/>
                  </a:lnTo>
                  <a:lnTo>
                    <a:pt x="193" y="797"/>
                  </a:lnTo>
                  <a:lnTo>
                    <a:pt x="195" y="797"/>
                  </a:lnTo>
                  <a:lnTo>
                    <a:pt x="197" y="796"/>
                  </a:lnTo>
                  <a:lnTo>
                    <a:pt x="198" y="795"/>
                  </a:lnTo>
                  <a:lnTo>
                    <a:pt x="198" y="797"/>
                  </a:lnTo>
                  <a:lnTo>
                    <a:pt x="199" y="797"/>
                  </a:lnTo>
                  <a:lnTo>
                    <a:pt x="201" y="797"/>
                  </a:lnTo>
                  <a:lnTo>
                    <a:pt x="203" y="797"/>
                  </a:lnTo>
                  <a:lnTo>
                    <a:pt x="205" y="797"/>
                  </a:lnTo>
                  <a:lnTo>
                    <a:pt x="204" y="798"/>
                  </a:lnTo>
                  <a:lnTo>
                    <a:pt x="201" y="798"/>
                  </a:lnTo>
                  <a:lnTo>
                    <a:pt x="199" y="798"/>
                  </a:lnTo>
                  <a:lnTo>
                    <a:pt x="194" y="798"/>
                  </a:lnTo>
                  <a:lnTo>
                    <a:pt x="192" y="799"/>
                  </a:lnTo>
                  <a:lnTo>
                    <a:pt x="188" y="801"/>
                  </a:lnTo>
                  <a:lnTo>
                    <a:pt x="187" y="803"/>
                  </a:lnTo>
                  <a:lnTo>
                    <a:pt x="185" y="803"/>
                  </a:lnTo>
                  <a:lnTo>
                    <a:pt x="180" y="801"/>
                  </a:lnTo>
                  <a:lnTo>
                    <a:pt x="179" y="801"/>
                  </a:lnTo>
                  <a:lnTo>
                    <a:pt x="179" y="802"/>
                  </a:lnTo>
                  <a:lnTo>
                    <a:pt x="177" y="802"/>
                  </a:lnTo>
                  <a:lnTo>
                    <a:pt x="177" y="804"/>
                  </a:lnTo>
                  <a:lnTo>
                    <a:pt x="181" y="804"/>
                  </a:lnTo>
                  <a:lnTo>
                    <a:pt x="179" y="805"/>
                  </a:lnTo>
                  <a:lnTo>
                    <a:pt x="176" y="807"/>
                  </a:lnTo>
                  <a:lnTo>
                    <a:pt x="174" y="807"/>
                  </a:lnTo>
                  <a:lnTo>
                    <a:pt x="170" y="805"/>
                  </a:lnTo>
                  <a:lnTo>
                    <a:pt x="167" y="803"/>
                  </a:lnTo>
                  <a:lnTo>
                    <a:pt x="163" y="803"/>
                  </a:lnTo>
                  <a:lnTo>
                    <a:pt x="159" y="803"/>
                  </a:lnTo>
                  <a:lnTo>
                    <a:pt x="159" y="804"/>
                  </a:lnTo>
                  <a:lnTo>
                    <a:pt x="158" y="804"/>
                  </a:lnTo>
                  <a:lnTo>
                    <a:pt x="156" y="803"/>
                  </a:lnTo>
                  <a:lnTo>
                    <a:pt x="152" y="801"/>
                  </a:lnTo>
                  <a:lnTo>
                    <a:pt x="147" y="799"/>
                  </a:lnTo>
                  <a:lnTo>
                    <a:pt x="146" y="798"/>
                  </a:lnTo>
                  <a:lnTo>
                    <a:pt x="145" y="797"/>
                  </a:lnTo>
                  <a:lnTo>
                    <a:pt x="146" y="798"/>
                  </a:lnTo>
                  <a:lnTo>
                    <a:pt x="146" y="799"/>
                  </a:lnTo>
                  <a:lnTo>
                    <a:pt x="144" y="799"/>
                  </a:lnTo>
                  <a:lnTo>
                    <a:pt x="142" y="798"/>
                  </a:lnTo>
                  <a:lnTo>
                    <a:pt x="142" y="797"/>
                  </a:lnTo>
                  <a:lnTo>
                    <a:pt x="140" y="797"/>
                  </a:lnTo>
                  <a:lnTo>
                    <a:pt x="138" y="797"/>
                  </a:lnTo>
                  <a:lnTo>
                    <a:pt x="136" y="797"/>
                  </a:lnTo>
                  <a:lnTo>
                    <a:pt x="135" y="796"/>
                  </a:lnTo>
                  <a:lnTo>
                    <a:pt x="132" y="795"/>
                  </a:lnTo>
                  <a:lnTo>
                    <a:pt x="130" y="796"/>
                  </a:lnTo>
                  <a:lnTo>
                    <a:pt x="129" y="795"/>
                  </a:lnTo>
                  <a:lnTo>
                    <a:pt x="130" y="792"/>
                  </a:lnTo>
                  <a:lnTo>
                    <a:pt x="128" y="792"/>
                  </a:lnTo>
                  <a:lnTo>
                    <a:pt x="127" y="793"/>
                  </a:lnTo>
                  <a:lnTo>
                    <a:pt x="126" y="793"/>
                  </a:lnTo>
                  <a:lnTo>
                    <a:pt x="124" y="793"/>
                  </a:lnTo>
                  <a:lnTo>
                    <a:pt x="124" y="791"/>
                  </a:lnTo>
                  <a:lnTo>
                    <a:pt x="123" y="789"/>
                  </a:lnTo>
                  <a:lnTo>
                    <a:pt x="122" y="791"/>
                  </a:lnTo>
                  <a:lnTo>
                    <a:pt x="121" y="792"/>
                  </a:lnTo>
                  <a:lnTo>
                    <a:pt x="118" y="792"/>
                  </a:lnTo>
                  <a:lnTo>
                    <a:pt x="117" y="791"/>
                  </a:lnTo>
                  <a:lnTo>
                    <a:pt x="116" y="791"/>
                  </a:lnTo>
                  <a:lnTo>
                    <a:pt x="114" y="791"/>
                  </a:lnTo>
                  <a:lnTo>
                    <a:pt x="112" y="791"/>
                  </a:lnTo>
                  <a:lnTo>
                    <a:pt x="112" y="790"/>
                  </a:lnTo>
                  <a:lnTo>
                    <a:pt x="110" y="789"/>
                  </a:lnTo>
                  <a:lnTo>
                    <a:pt x="108" y="789"/>
                  </a:lnTo>
                  <a:lnTo>
                    <a:pt x="103" y="785"/>
                  </a:lnTo>
                  <a:lnTo>
                    <a:pt x="104" y="787"/>
                  </a:lnTo>
                  <a:lnTo>
                    <a:pt x="104" y="790"/>
                  </a:lnTo>
                  <a:lnTo>
                    <a:pt x="102" y="789"/>
                  </a:lnTo>
                  <a:lnTo>
                    <a:pt x="100" y="787"/>
                  </a:lnTo>
                  <a:lnTo>
                    <a:pt x="102" y="790"/>
                  </a:lnTo>
                  <a:lnTo>
                    <a:pt x="103" y="790"/>
                  </a:lnTo>
                  <a:lnTo>
                    <a:pt x="99" y="791"/>
                  </a:lnTo>
                  <a:lnTo>
                    <a:pt x="97" y="792"/>
                  </a:lnTo>
                  <a:lnTo>
                    <a:pt x="100" y="792"/>
                  </a:lnTo>
                  <a:lnTo>
                    <a:pt x="103" y="792"/>
                  </a:lnTo>
                  <a:lnTo>
                    <a:pt x="106" y="791"/>
                  </a:lnTo>
                  <a:lnTo>
                    <a:pt x="105" y="796"/>
                  </a:lnTo>
                  <a:lnTo>
                    <a:pt x="105" y="797"/>
                  </a:lnTo>
                  <a:lnTo>
                    <a:pt x="106" y="796"/>
                  </a:lnTo>
                  <a:lnTo>
                    <a:pt x="109" y="793"/>
                  </a:lnTo>
                  <a:lnTo>
                    <a:pt x="109" y="792"/>
                  </a:lnTo>
                  <a:lnTo>
                    <a:pt x="111" y="792"/>
                  </a:lnTo>
                  <a:lnTo>
                    <a:pt x="111" y="795"/>
                  </a:lnTo>
                  <a:lnTo>
                    <a:pt x="111" y="793"/>
                  </a:lnTo>
                  <a:lnTo>
                    <a:pt x="112" y="793"/>
                  </a:lnTo>
                  <a:lnTo>
                    <a:pt x="115" y="793"/>
                  </a:lnTo>
                  <a:lnTo>
                    <a:pt x="115" y="795"/>
                  </a:lnTo>
                  <a:lnTo>
                    <a:pt x="112" y="797"/>
                  </a:lnTo>
                  <a:lnTo>
                    <a:pt x="111" y="799"/>
                  </a:lnTo>
                  <a:lnTo>
                    <a:pt x="111" y="803"/>
                  </a:lnTo>
                  <a:lnTo>
                    <a:pt x="111" y="807"/>
                  </a:lnTo>
                  <a:lnTo>
                    <a:pt x="114" y="810"/>
                  </a:lnTo>
                  <a:lnTo>
                    <a:pt x="115" y="812"/>
                  </a:lnTo>
                  <a:lnTo>
                    <a:pt x="115" y="809"/>
                  </a:lnTo>
                  <a:lnTo>
                    <a:pt x="115" y="805"/>
                  </a:lnTo>
                  <a:lnTo>
                    <a:pt x="116" y="804"/>
                  </a:lnTo>
                  <a:lnTo>
                    <a:pt x="116" y="807"/>
                  </a:lnTo>
                  <a:lnTo>
                    <a:pt x="117" y="808"/>
                  </a:lnTo>
                  <a:lnTo>
                    <a:pt x="117" y="810"/>
                  </a:lnTo>
                  <a:lnTo>
                    <a:pt x="116" y="813"/>
                  </a:lnTo>
                  <a:lnTo>
                    <a:pt x="117" y="813"/>
                  </a:lnTo>
                  <a:lnTo>
                    <a:pt x="118" y="813"/>
                  </a:lnTo>
                  <a:lnTo>
                    <a:pt x="121" y="814"/>
                  </a:lnTo>
                  <a:lnTo>
                    <a:pt x="121" y="818"/>
                  </a:lnTo>
                  <a:lnTo>
                    <a:pt x="123" y="820"/>
                  </a:lnTo>
                  <a:lnTo>
                    <a:pt x="123" y="821"/>
                  </a:lnTo>
                  <a:lnTo>
                    <a:pt x="122" y="821"/>
                  </a:lnTo>
                  <a:lnTo>
                    <a:pt x="120" y="819"/>
                  </a:lnTo>
                  <a:lnTo>
                    <a:pt x="117" y="819"/>
                  </a:lnTo>
                  <a:lnTo>
                    <a:pt x="115" y="819"/>
                  </a:lnTo>
                  <a:lnTo>
                    <a:pt x="114" y="820"/>
                  </a:lnTo>
                  <a:lnTo>
                    <a:pt x="111" y="819"/>
                  </a:lnTo>
                  <a:lnTo>
                    <a:pt x="109" y="819"/>
                  </a:lnTo>
                  <a:lnTo>
                    <a:pt x="106" y="819"/>
                  </a:lnTo>
                  <a:lnTo>
                    <a:pt x="104" y="821"/>
                  </a:lnTo>
                  <a:lnTo>
                    <a:pt x="105" y="821"/>
                  </a:lnTo>
                  <a:lnTo>
                    <a:pt x="108" y="821"/>
                  </a:lnTo>
                  <a:lnTo>
                    <a:pt x="109" y="822"/>
                  </a:lnTo>
                  <a:lnTo>
                    <a:pt x="110" y="821"/>
                  </a:lnTo>
                  <a:lnTo>
                    <a:pt x="111" y="821"/>
                  </a:lnTo>
                  <a:lnTo>
                    <a:pt x="112" y="821"/>
                  </a:lnTo>
                  <a:lnTo>
                    <a:pt x="115" y="820"/>
                  </a:lnTo>
                  <a:lnTo>
                    <a:pt x="115" y="822"/>
                  </a:lnTo>
                  <a:lnTo>
                    <a:pt x="114" y="824"/>
                  </a:lnTo>
                  <a:lnTo>
                    <a:pt x="112" y="825"/>
                  </a:lnTo>
                  <a:lnTo>
                    <a:pt x="114" y="825"/>
                  </a:lnTo>
                  <a:lnTo>
                    <a:pt x="116" y="825"/>
                  </a:lnTo>
                  <a:lnTo>
                    <a:pt x="116" y="824"/>
                  </a:lnTo>
                  <a:lnTo>
                    <a:pt x="117" y="824"/>
                  </a:lnTo>
                  <a:lnTo>
                    <a:pt x="118" y="822"/>
                  </a:lnTo>
                  <a:lnTo>
                    <a:pt x="120" y="824"/>
                  </a:lnTo>
                  <a:lnTo>
                    <a:pt x="118" y="825"/>
                  </a:lnTo>
                  <a:lnTo>
                    <a:pt x="117" y="826"/>
                  </a:lnTo>
                  <a:lnTo>
                    <a:pt x="118" y="827"/>
                  </a:lnTo>
                  <a:lnTo>
                    <a:pt x="117" y="828"/>
                  </a:lnTo>
                  <a:lnTo>
                    <a:pt x="116" y="827"/>
                  </a:lnTo>
                  <a:lnTo>
                    <a:pt x="114" y="826"/>
                  </a:lnTo>
                  <a:lnTo>
                    <a:pt x="112" y="826"/>
                  </a:lnTo>
                  <a:lnTo>
                    <a:pt x="109" y="826"/>
                  </a:lnTo>
                  <a:lnTo>
                    <a:pt x="106" y="826"/>
                  </a:lnTo>
                  <a:lnTo>
                    <a:pt x="102" y="825"/>
                  </a:lnTo>
                  <a:lnTo>
                    <a:pt x="100" y="826"/>
                  </a:lnTo>
                  <a:lnTo>
                    <a:pt x="102" y="826"/>
                  </a:lnTo>
                  <a:lnTo>
                    <a:pt x="103" y="827"/>
                  </a:lnTo>
                  <a:lnTo>
                    <a:pt x="103" y="828"/>
                  </a:lnTo>
                  <a:lnTo>
                    <a:pt x="99" y="827"/>
                  </a:lnTo>
                  <a:lnTo>
                    <a:pt x="99" y="830"/>
                  </a:lnTo>
                  <a:lnTo>
                    <a:pt x="100" y="830"/>
                  </a:lnTo>
                  <a:lnTo>
                    <a:pt x="103" y="828"/>
                  </a:lnTo>
                  <a:lnTo>
                    <a:pt x="104" y="828"/>
                  </a:lnTo>
                  <a:lnTo>
                    <a:pt x="105" y="831"/>
                  </a:lnTo>
                  <a:lnTo>
                    <a:pt x="104" y="832"/>
                  </a:lnTo>
                  <a:lnTo>
                    <a:pt x="102" y="832"/>
                  </a:lnTo>
                  <a:lnTo>
                    <a:pt x="98" y="832"/>
                  </a:lnTo>
                  <a:lnTo>
                    <a:pt x="96" y="831"/>
                  </a:lnTo>
                  <a:lnTo>
                    <a:pt x="90" y="827"/>
                  </a:lnTo>
                  <a:lnTo>
                    <a:pt x="88" y="826"/>
                  </a:lnTo>
                  <a:lnTo>
                    <a:pt x="88" y="827"/>
                  </a:lnTo>
                  <a:lnTo>
                    <a:pt x="88" y="830"/>
                  </a:lnTo>
                  <a:lnTo>
                    <a:pt x="87" y="828"/>
                  </a:lnTo>
                  <a:lnTo>
                    <a:pt x="85" y="828"/>
                  </a:lnTo>
                  <a:lnTo>
                    <a:pt x="83" y="827"/>
                  </a:lnTo>
                  <a:lnTo>
                    <a:pt x="81" y="826"/>
                  </a:lnTo>
                  <a:lnTo>
                    <a:pt x="79" y="824"/>
                  </a:lnTo>
                  <a:lnTo>
                    <a:pt x="77" y="825"/>
                  </a:lnTo>
                  <a:lnTo>
                    <a:pt x="76" y="826"/>
                  </a:lnTo>
                  <a:lnTo>
                    <a:pt x="74" y="824"/>
                  </a:lnTo>
                  <a:lnTo>
                    <a:pt x="71" y="824"/>
                  </a:lnTo>
                  <a:lnTo>
                    <a:pt x="70" y="824"/>
                  </a:lnTo>
                  <a:lnTo>
                    <a:pt x="73" y="826"/>
                  </a:lnTo>
                  <a:lnTo>
                    <a:pt x="75" y="827"/>
                  </a:lnTo>
                  <a:lnTo>
                    <a:pt x="75" y="828"/>
                  </a:lnTo>
                  <a:lnTo>
                    <a:pt x="73" y="830"/>
                  </a:lnTo>
                  <a:lnTo>
                    <a:pt x="71" y="831"/>
                  </a:lnTo>
                  <a:lnTo>
                    <a:pt x="71" y="832"/>
                  </a:lnTo>
                  <a:lnTo>
                    <a:pt x="74" y="831"/>
                  </a:lnTo>
                  <a:lnTo>
                    <a:pt x="75" y="830"/>
                  </a:lnTo>
                  <a:lnTo>
                    <a:pt x="77" y="828"/>
                  </a:lnTo>
                  <a:lnTo>
                    <a:pt x="81" y="828"/>
                  </a:lnTo>
                  <a:lnTo>
                    <a:pt x="79" y="832"/>
                  </a:lnTo>
                  <a:lnTo>
                    <a:pt x="77" y="834"/>
                  </a:lnTo>
                  <a:lnTo>
                    <a:pt x="79" y="833"/>
                  </a:lnTo>
                  <a:lnTo>
                    <a:pt x="80" y="832"/>
                  </a:lnTo>
                  <a:lnTo>
                    <a:pt x="81" y="831"/>
                  </a:lnTo>
                  <a:lnTo>
                    <a:pt x="82" y="830"/>
                  </a:lnTo>
                  <a:lnTo>
                    <a:pt x="83" y="830"/>
                  </a:lnTo>
                  <a:lnTo>
                    <a:pt x="85" y="831"/>
                  </a:lnTo>
                  <a:lnTo>
                    <a:pt x="83" y="834"/>
                  </a:lnTo>
                  <a:lnTo>
                    <a:pt x="82" y="837"/>
                  </a:lnTo>
                  <a:lnTo>
                    <a:pt x="81" y="838"/>
                  </a:lnTo>
                  <a:lnTo>
                    <a:pt x="82" y="839"/>
                  </a:lnTo>
                  <a:lnTo>
                    <a:pt x="83" y="839"/>
                  </a:lnTo>
                  <a:lnTo>
                    <a:pt x="82" y="840"/>
                  </a:lnTo>
                  <a:lnTo>
                    <a:pt x="81" y="842"/>
                  </a:lnTo>
                  <a:lnTo>
                    <a:pt x="79" y="842"/>
                  </a:lnTo>
                  <a:lnTo>
                    <a:pt x="76" y="840"/>
                  </a:lnTo>
                  <a:lnTo>
                    <a:pt x="74" y="838"/>
                  </a:lnTo>
                  <a:lnTo>
                    <a:pt x="73" y="838"/>
                  </a:lnTo>
                  <a:lnTo>
                    <a:pt x="73" y="839"/>
                  </a:lnTo>
                  <a:lnTo>
                    <a:pt x="69" y="839"/>
                  </a:lnTo>
                  <a:lnTo>
                    <a:pt x="68" y="838"/>
                  </a:lnTo>
                  <a:lnTo>
                    <a:pt x="65" y="839"/>
                  </a:lnTo>
                  <a:lnTo>
                    <a:pt x="70" y="840"/>
                  </a:lnTo>
                  <a:lnTo>
                    <a:pt x="73" y="840"/>
                  </a:lnTo>
                  <a:lnTo>
                    <a:pt x="71" y="843"/>
                  </a:lnTo>
                  <a:lnTo>
                    <a:pt x="71" y="844"/>
                  </a:lnTo>
                  <a:lnTo>
                    <a:pt x="73" y="845"/>
                  </a:lnTo>
                  <a:lnTo>
                    <a:pt x="74" y="844"/>
                  </a:lnTo>
                  <a:lnTo>
                    <a:pt x="75" y="843"/>
                  </a:lnTo>
                  <a:lnTo>
                    <a:pt x="77" y="842"/>
                  </a:lnTo>
                  <a:lnTo>
                    <a:pt x="77" y="843"/>
                  </a:lnTo>
                  <a:lnTo>
                    <a:pt x="77" y="845"/>
                  </a:lnTo>
                  <a:lnTo>
                    <a:pt x="77" y="846"/>
                  </a:lnTo>
                  <a:lnTo>
                    <a:pt x="79" y="845"/>
                  </a:lnTo>
                  <a:lnTo>
                    <a:pt x="80" y="844"/>
                  </a:lnTo>
                  <a:lnTo>
                    <a:pt x="81" y="844"/>
                  </a:lnTo>
                  <a:lnTo>
                    <a:pt x="81" y="845"/>
                  </a:lnTo>
                  <a:lnTo>
                    <a:pt x="80" y="848"/>
                  </a:lnTo>
                  <a:lnTo>
                    <a:pt x="81" y="848"/>
                  </a:lnTo>
                  <a:lnTo>
                    <a:pt x="81" y="845"/>
                  </a:lnTo>
                  <a:lnTo>
                    <a:pt x="83" y="844"/>
                  </a:lnTo>
                  <a:lnTo>
                    <a:pt x="85" y="844"/>
                  </a:lnTo>
                  <a:lnTo>
                    <a:pt x="86" y="845"/>
                  </a:lnTo>
                  <a:lnTo>
                    <a:pt x="82" y="849"/>
                  </a:lnTo>
                  <a:lnTo>
                    <a:pt x="83" y="850"/>
                  </a:lnTo>
                  <a:lnTo>
                    <a:pt x="86" y="848"/>
                  </a:lnTo>
                  <a:lnTo>
                    <a:pt x="87" y="846"/>
                  </a:lnTo>
                  <a:lnTo>
                    <a:pt x="88" y="846"/>
                  </a:lnTo>
                  <a:lnTo>
                    <a:pt x="88" y="849"/>
                  </a:lnTo>
                  <a:lnTo>
                    <a:pt x="88" y="850"/>
                  </a:lnTo>
                  <a:lnTo>
                    <a:pt x="88" y="854"/>
                  </a:lnTo>
                  <a:lnTo>
                    <a:pt x="90" y="852"/>
                  </a:lnTo>
                  <a:lnTo>
                    <a:pt x="91" y="852"/>
                  </a:lnTo>
                  <a:lnTo>
                    <a:pt x="91" y="854"/>
                  </a:lnTo>
                  <a:lnTo>
                    <a:pt x="92" y="857"/>
                  </a:lnTo>
                  <a:lnTo>
                    <a:pt x="91" y="861"/>
                  </a:lnTo>
                  <a:lnTo>
                    <a:pt x="91" y="860"/>
                  </a:lnTo>
                  <a:lnTo>
                    <a:pt x="94" y="860"/>
                  </a:lnTo>
                  <a:lnTo>
                    <a:pt x="96" y="858"/>
                  </a:lnTo>
                  <a:lnTo>
                    <a:pt x="96" y="861"/>
                  </a:lnTo>
                  <a:lnTo>
                    <a:pt x="93" y="862"/>
                  </a:lnTo>
                  <a:lnTo>
                    <a:pt x="90" y="862"/>
                  </a:lnTo>
                  <a:lnTo>
                    <a:pt x="91" y="863"/>
                  </a:lnTo>
                  <a:lnTo>
                    <a:pt x="93" y="864"/>
                  </a:lnTo>
                  <a:lnTo>
                    <a:pt x="94" y="866"/>
                  </a:lnTo>
                  <a:lnTo>
                    <a:pt x="91" y="868"/>
                  </a:lnTo>
                  <a:lnTo>
                    <a:pt x="88" y="869"/>
                  </a:lnTo>
                  <a:lnTo>
                    <a:pt x="90" y="872"/>
                  </a:lnTo>
                  <a:lnTo>
                    <a:pt x="91" y="870"/>
                  </a:lnTo>
                  <a:lnTo>
                    <a:pt x="93" y="869"/>
                  </a:lnTo>
                  <a:lnTo>
                    <a:pt x="94" y="868"/>
                  </a:lnTo>
                  <a:lnTo>
                    <a:pt x="96" y="869"/>
                  </a:lnTo>
                  <a:lnTo>
                    <a:pt x="98" y="868"/>
                  </a:lnTo>
                  <a:lnTo>
                    <a:pt x="99" y="867"/>
                  </a:lnTo>
                  <a:lnTo>
                    <a:pt x="99" y="869"/>
                  </a:lnTo>
                  <a:lnTo>
                    <a:pt x="99" y="870"/>
                  </a:lnTo>
                  <a:lnTo>
                    <a:pt x="99" y="872"/>
                  </a:lnTo>
                  <a:lnTo>
                    <a:pt x="97" y="872"/>
                  </a:lnTo>
                  <a:lnTo>
                    <a:pt x="93" y="872"/>
                  </a:lnTo>
                  <a:lnTo>
                    <a:pt x="91" y="872"/>
                  </a:lnTo>
                  <a:lnTo>
                    <a:pt x="87" y="872"/>
                  </a:lnTo>
                  <a:lnTo>
                    <a:pt x="83" y="872"/>
                  </a:lnTo>
                  <a:lnTo>
                    <a:pt x="82" y="872"/>
                  </a:lnTo>
                  <a:lnTo>
                    <a:pt x="79" y="870"/>
                  </a:lnTo>
                  <a:lnTo>
                    <a:pt x="76" y="870"/>
                  </a:lnTo>
                  <a:lnTo>
                    <a:pt x="74" y="872"/>
                  </a:lnTo>
                  <a:lnTo>
                    <a:pt x="71" y="870"/>
                  </a:lnTo>
                  <a:lnTo>
                    <a:pt x="71" y="873"/>
                  </a:lnTo>
                  <a:lnTo>
                    <a:pt x="74" y="875"/>
                  </a:lnTo>
                  <a:lnTo>
                    <a:pt x="75" y="876"/>
                  </a:lnTo>
                  <a:lnTo>
                    <a:pt x="76" y="875"/>
                  </a:lnTo>
                  <a:lnTo>
                    <a:pt x="77" y="875"/>
                  </a:lnTo>
                  <a:lnTo>
                    <a:pt x="77" y="879"/>
                  </a:lnTo>
                  <a:lnTo>
                    <a:pt x="79" y="881"/>
                  </a:lnTo>
                  <a:lnTo>
                    <a:pt x="79" y="879"/>
                  </a:lnTo>
                  <a:lnTo>
                    <a:pt x="80" y="878"/>
                  </a:lnTo>
                  <a:lnTo>
                    <a:pt x="80" y="875"/>
                  </a:lnTo>
                  <a:lnTo>
                    <a:pt x="81" y="875"/>
                  </a:lnTo>
                  <a:lnTo>
                    <a:pt x="81" y="879"/>
                  </a:lnTo>
                  <a:lnTo>
                    <a:pt x="80" y="881"/>
                  </a:lnTo>
                  <a:lnTo>
                    <a:pt x="80" y="885"/>
                  </a:lnTo>
                  <a:lnTo>
                    <a:pt x="80" y="890"/>
                  </a:lnTo>
                  <a:lnTo>
                    <a:pt x="81" y="891"/>
                  </a:lnTo>
                  <a:lnTo>
                    <a:pt x="82" y="888"/>
                  </a:lnTo>
                  <a:lnTo>
                    <a:pt x="82" y="887"/>
                  </a:lnTo>
                  <a:lnTo>
                    <a:pt x="83" y="882"/>
                  </a:lnTo>
                  <a:lnTo>
                    <a:pt x="83" y="881"/>
                  </a:lnTo>
                  <a:lnTo>
                    <a:pt x="85" y="879"/>
                  </a:lnTo>
                  <a:lnTo>
                    <a:pt x="86" y="879"/>
                  </a:lnTo>
                  <a:lnTo>
                    <a:pt x="86" y="880"/>
                  </a:lnTo>
                  <a:lnTo>
                    <a:pt x="86" y="881"/>
                  </a:lnTo>
                  <a:lnTo>
                    <a:pt x="86" y="884"/>
                  </a:lnTo>
                  <a:lnTo>
                    <a:pt x="86" y="886"/>
                  </a:lnTo>
                  <a:lnTo>
                    <a:pt x="87" y="886"/>
                  </a:lnTo>
                  <a:lnTo>
                    <a:pt x="88" y="884"/>
                  </a:lnTo>
                  <a:lnTo>
                    <a:pt x="90" y="882"/>
                  </a:lnTo>
                  <a:lnTo>
                    <a:pt x="91" y="881"/>
                  </a:lnTo>
                  <a:lnTo>
                    <a:pt x="92" y="880"/>
                  </a:lnTo>
                  <a:lnTo>
                    <a:pt x="92" y="882"/>
                  </a:lnTo>
                  <a:lnTo>
                    <a:pt x="92" y="884"/>
                  </a:lnTo>
                  <a:lnTo>
                    <a:pt x="91" y="886"/>
                  </a:lnTo>
                  <a:lnTo>
                    <a:pt x="91" y="887"/>
                  </a:lnTo>
                  <a:lnTo>
                    <a:pt x="90" y="888"/>
                  </a:lnTo>
                  <a:lnTo>
                    <a:pt x="88" y="891"/>
                  </a:lnTo>
                  <a:lnTo>
                    <a:pt x="87" y="893"/>
                  </a:lnTo>
                  <a:lnTo>
                    <a:pt x="87" y="894"/>
                  </a:lnTo>
                  <a:lnTo>
                    <a:pt x="88" y="893"/>
                  </a:lnTo>
                  <a:lnTo>
                    <a:pt x="90" y="893"/>
                  </a:lnTo>
                  <a:lnTo>
                    <a:pt x="92" y="893"/>
                  </a:lnTo>
                  <a:lnTo>
                    <a:pt x="93" y="893"/>
                  </a:lnTo>
                  <a:lnTo>
                    <a:pt x="92" y="894"/>
                  </a:lnTo>
                  <a:lnTo>
                    <a:pt x="91" y="896"/>
                  </a:lnTo>
                  <a:lnTo>
                    <a:pt x="90" y="896"/>
                  </a:lnTo>
                  <a:lnTo>
                    <a:pt x="87" y="894"/>
                  </a:lnTo>
                  <a:lnTo>
                    <a:pt x="86" y="894"/>
                  </a:lnTo>
                  <a:lnTo>
                    <a:pt x="83" y="894"/>
                  </a:lnTo>
                  <a:lnTo>
                    <a:pt x="81" y="893"/>
                  </a:lnTo>
                  <a:lnTo>
                    <a:pt x="79" y="892"/>
                  </a:lnTo>
                  <a:lnTo>
                    <a:pt x="76" y="891"/>
                  </a:lnTo>
                  <a:lnTo>
                    <a:pt x="74" y="891"/>
                  </a:lnTo>
                  <a:lnTo>
                    <a:pt x="70" y="891"/>
                  </a:lnTo>
                  <a:lnTo>
                    <a:pt x="65" y="888"/>
                  </a:lnTo>
                  <a:lnTo>
                    <a:pt x="63" y="888"/>
                  </a:lnTo>
                  <a:lnTo>
                    <a:pt x="62" y="890"/>
                  </a:lnTo>
                  <a:lnTo>
                    <a:pt x="59" y="888"/>
                  </a:lnTo>
                  <a:lnTo>
                    <a:pt x="57" y="887"/>
                  </a:lnTo>
                  <a:lnTo>
                    <a:pt x="55" y="886"/>
                  </a:lnTo>
                  <a:lnTo>
                    <a:pt x="51" y="886"/>
                  </a:lnTo>
                  <a:lnTo>
                    <a:pt x="50" y="886"/>
                  </a:lnTo>
                  <a:lnTo>
                    <a:pt x="47" y="885"/>
                  </a:lnTo>
                  <a:lnTo>
                    <a:pt x="46" y="885"/>
                  </a:lnTo>
                  <a:lnTo>
                    <a:pt x="46" y="886"/>
                  </a:lnTo>
                  <a:lnTo>
                    <a:pt x="47" y="887"/>
                  </a:lnTo>
                  <a:lnTo>
                    <a:pt x="45" y="887"/>
                  </a:lnTo>
                  <a:lnTo>
                    <a:pt x="44" y="886"/>
                  </a:lnTo>
                  <a:lnTo>
                    <a:pt x="43" y="885"/>
                  </a:lnTo>
                  <a:lnTo>
                    <a:pt x="43" y="886"/>
                  </a:lnTo>
                  <a:lnTo>
                    <a:pt x="41" y="885"/>
                  </a:lnTo>
                  <a:lnTo>
                    <a:pt x="40" y="884"/>
                  </a:lnTo>
                  <a:lnTo>
                    <a:pt x="37" y="881"/>
                  </a:lnTo>
                  <a:lnTo>
                    <a:pt x="35" y="884"/>
                  </a:lnTo>
                  <a:lnTo>
                    <a:pt x="37" y="885"/>
                  </a:lnTo>
                  <a:lnTo>
                    <a:pt x="31" y="884"/>
                  </a:lnTo>
                  <a:lnTo>
                    <a:pt x="32" y="885"/>
                  </a:lnTo>
                  <a:lnTo>
                    <a:pt x="34" y="886"/>
                  </a:lnTo>
                  <a:lnTo>
                    <a:pt x="37" y="886"/>
                  </a:lnTo>
                  <a:lnTo>
                    <a:pt x="37" y="887"/>
                  </a:lnTo>
                  <a:lnTo>
                    <a:pt x="34" y="890"/>
                  </a:lnTo>
                  <a:lnTo>
                    <a:pt x="32" y="891"/>
                  </a:lnTo>
                  <a:lnTo>
                    <a:pt x="33" y="891"/>
                  </a:lnTo>
                  <a:lnTo>
                    <a:pt x="34" y="891"/>
                  </a:lnTo>
                  <a:lnTo>
                    <a:pt x="38" y="888"/>
                  </a:lnTo>
                  <a:lnTo>
                    <a:pt x="40" y="888"/>
                  </a:lnTo>
                  <a:lnTo>
                    <a:pt x="41" y="888"/>
                  </a:lnTo>
                  <a:lnTo>
                    <a:pt x="41" y="890"/>
                  </a:lnTo>
                  <a:lnTo>
                    <a:pt x="40" y="892"/>
                  </a:lnTo>
                  <a:lnTo>
                    <a:pt x="40" y="893"/>
                  </a:lnTo>
                  <a:lnTo>
                    <a:pt x="41" y="893"/>
                  </a:lnTo>
                  <a:lnTo>
                    <a:pt x="43" y="892"/>
                  </a:lnTo>
                  <a:lnTo>
                    <a:pt x="43" y="890"/>
                  </a:lnTo>
                  <a:lnTo>
                    <a:pt x="44" y="888"/>
                  </a:lnTo>
                  <a:lnTo>
                    <a:pt x="47" y="888"/>
                  </a:lnTo>
                  <a:lnTo>
                    <a:pt x="49" y="890"/>
                  </a:lnTo>
                  <a:lnTo>
                    <a:pt x="47" y="892"/>
                  </a:lnTo>
                  <a:lnTo>
                    <a:pt x="46" y="893"/>
                  </a:lnTo>
                  <a:lnTo>
                    <a:pt x="45" y="894"/>
                  </a:lnTo>
                  <a:lnTo>
                    <a:pt x="44" y="897"/>
                  </a:lnTo>
                  <a:lnTo>
                    <a:pt x="45" y="902"/>
                  </a:lnTo>
                  <a:lnTo>
                    <a:pt x="45" y="904"/>
                  </a:lnTo>
                  <a:lnTo>
                    <a:pt x="46" y="906"/>
                  </a:lnTo>
                  <a:lnTo>
                    <a:pt x="46" y="909"/>
                  </a:lnTo>
                  <a:lnTo>
                    <a:pt x="47" y="909"/>
                  </a:lnTo>
                  <a:lnTo>
                    <a:pt x="47" y="906"/>
                  </a:lnTo>
                  <a:lnTo>
                    <a:pt x="49" y="905"/>
                  </a:lnTo>
                  <a:lnTo>
                    <a:pt x="50" y="903"/>
                  </a:lnTo>
                  <a:lnTo>
                    <a:pt x="50" y="902"/>
                  </a:lnTo>
                  <a:lnTo>
                    <a:pt x="50" y="898"/>
                  </a:lnTo>
                  <a:lnTo>
                    <a:pt x="51" y="900"/>
                  </a:lnTo>
                  <a:lnTo>
                    <a:pt x="51" y="902"/>
                  </a:lnTo>
                  <a:lnTo>
                    <a:pt x="51" y="900"/>
                  </a:lnTo>
                  <a:lnTo>
                    <a:pt x="52" y="898"/>
                  </a:lnTo>
                  <a:lnTo>
                    <a:pt x="52" y="896"/>
                  </a:lnTo>
                  <a:lnTo>
                    <a:pt x="55" y="893"/>
                  </a:lnTo>
                  <a:lnTo>
                    <a:pt x="55" y="892"/>
                  </a:lnTo>
                  <a:lnTo>
                    <a:pt x="55" y="894"/>
                  </a:lnTo>
                  <a:lnTo>
                    <a:pt x="53" y="896"/>
                  </a:lnTo>
                  <a:lnTo>
                    <a:pt x="55" y="896"/>
                  </a:lnTo>
                  <a:lnTo>
                    <a:pt x="56" y="896"/>
                  </a:lnTo>
                  <a:lnTo>
                    <a:pt x="57" y="894"/>
                  </a:lnTo>
                  <a:lnTo>
                    <a:pt x="58" y="893"/>
                  </a:lnTo>
                  <a:lnTo>
                    <a:pt x="58" y="892"/>
                  </a:lnTo>
                  <a:lnTo>
                    <a:pt x="58" y="894"/>
                  </a:lnTo>
                  <a:lnTo>
                    <a:pt x="57" y="897"/>
                  </a:lnTo>
                  <a:lnTo>
                    <a:pt x="56" y="899"/>
                  </a:lnTo>
                  <a:lnTo>
                    <a:pt x="57" y="900"/>
                  </a:lnTo>
                  <a:lnTo>
                    <a:pt x="58" y="900"/>
                  </a:lnTo>
                  <a:lnTo>
                    <a:pt x="59" y="898"/>
                  </a:lnTo>
                  <a:lnTo>
                    <a:pt x="61" y="897"/>
                  </a:lnTo>
                  <a:lnTo>
                    <a:pt x="62" y="899"/>
                  </a:lnTo>
                  <a:lnTo>
                    <a:pt x="59" y="902"/>
                  </a:lnTo>
                  <a:lnTo>
                    <a:pt x="59" y="903"/>
                  </a:lnTo>
                  <a:lnTo>
                    <a:pt x="57" y="905"/>
                  </a:lnTo>
                  <a:lnTo>
                    <a:pt x="58" y="909"/>
                  </a:lnTo>
                  <a:lnTo>
                    <a:pt x="58" y="910"/>
                  </a:lnTo>
                  <a:lnTo>
                    <a:pt x="59" y="908"/>
                  </a:lnTo>
                  <a:lnTo>
                    <a:pt x="61" y="905"/>
                  </a:lnTo>
                  <a:lnTo>
                    <a:pt x="62" y="903"/>
                  </a:lnTo>
                  <a:lnTo>
                    <a:pt x="63" y="900"/>
                  </a:lnTo>
                  <a:lnTo>
                    <a:pt x="64" y="900"/>
                  </a:lnTo>
                  <a:lnTo>
                    <a:pt x="64" y="903"/>
                  </a:lnTo>
                  <a:lnTo>
                    <a:pt x="65" y="903"/>
                  </a:lnTo>
                  <a:lnTo>
                    <a:pt x="65" y="904"/>
                  </a:lnTo>
                  <a:lnTo>
                    <a:pt x="65" y="906"/>
                  </a:lnTo>
                  <a:lnTo>
                    <a:pt x="65" y="908"/>
                  </a:lnTo>
                  <a:lnTo>
                    <a:pt x="67" y="908"/>
                  </a:lnTo>
                  <a:lnTo>
                    <a:pt x="68" y="904"/>
                  </a:lnTo>
                  <a:lnTo>
                    <a:pt x="68" y="903"/>
                  </a:lnTo>
                  <a:lnTo>
                    <a:pt x="69" y="902"/>
                  </a:lnTo>
                  <a:lnTo>
                    <a:pt x="70" y="902"/>
                  </a:lnTo>
                  <a:lnTo>
                    <a:pt x="71" y="903"/>
                  </a:lnTo>
                  <a:lnTo>
                    <a:pt x="70" y="904"/>
                  </a:lnTo>
                  <a:lnTo>
                    <a:pt x="69" y="905"/>
                  </a:lnTo>
                  <a:lnTo>
                    <a:pt x="68" y="908"/>
                  </a:lnTo>
                  <a:lnTo>
                    <a:pt x="67" y="910"/>
                  </a:lnTo>
                  <a:lnTo>
                    <a:pt x="68" y="910"/>
                  </a:lnTo>
                  <a:lnTo>
                    <a:pt x="70" y="908"/>
                  </a:lnTo>
                  <a:lnTo>
                    <a:pt x="69" y="911"/>
                  </a:lnTo>
                  <a:lnTo>
                    <a:pt x="68" y="914"/>
                  </a:lnTo>
                  <a:lnTo>
                    <a:pt x="67" y="915"/>
                  </a:lnTo>
                  <a:lnTo>
                    <a:pt x="65" y="916"/>
                  </a:lnTo>
                  <a:lnTo>
                    <a:pt x="58" y="920"/>
                  </a:lnTo>
                  <a:lnTo>
                    <a:pt x="58" y="921"/>
                  </a:lnTo>
                  <a:lnTo>
                    <a:pt x="61" y="921"/>
                  </a:lnTo>
                  <a:lnTo>
                    <a:pt x="62" y="920"/>
                  </a:lnTo>
                  <a:lnTo>
                    <a:pt x="62" y="922"/>
                  </a:lnTo>
                  <a:lnTo>
                    <a:pt x="62" y="923"/>
                  </a:lnTo>
                  <a:lnTo>
                    <a:pt x="63" y="923"/>
                  </a:lnTo>
                  <a:lnTo>
                    <a:pt x="63" y="922"/>
                  </a:lnTo>
                  <a:lnTo>
                    <a:pt x="64" y="921"/>
                  </a:lnTo>
                  <a:lnTo>
                    <a:pt x="65" y="919"/>
                  </a:lnTo>
                  <a:lnTo>
                    <a:pt x="67" y="919"/>
                  </a:lnTo>
                  <a:lnTo>
                    <a:pt x="67" y="920"/>
                  </a:lnTo>
                  <a:lnTo>
                    <a:pt x="67" y="922"/>
                  </a:lnTo>
                  <a:lnTo>
                    <a:pt x="67" y="925"/>
                  </a:lnTo>
                  <a:lnTo>
                    <a:pt x="68" y="926"/>
                  </a:lnTo>
                  <a:lnTo>
                    <a:pt x="68" y="925"/>
                  </a:lnTo>
                  <a:lnTo>
                    <a:pt x="69" y="925"/>
                  </a:lnTo>
                  <a:lnTo>
                    <a:pt x="69" y="923"/>
                  </a:lnTo>
                  <a:lnTo>
                    <a:pt x="70" y="923"/>
                  </a:lnTo>
                  <a:lnTo>
                    <a:pt x="71" y="925"/>
                  </a:lnTo>
                  <a:lnTo>
                    <a:pt x="74" y="923"/>
                  </a:lnTo>
                  <a:lnTo>
                    <a:pt x="73" y="921"/>
                  </a:lnTo>
                  <a:lnTo>
                    <a:pt x="71" y="920"/>
                  </a:lnTo>
                  <a:lnTo>
                    <a:pt x="71" y="917"/>
                  </a:lnTo>
                  <a:lnTo>
                    <a:pt x="73" y="915"/>
                  </a:lnTo>
                  <a:lnTo>
                    <a:pt x="74" y="916"/>
                  </a:lnTo>
                  <a:lnTo>
                    <a:pt x="74" y="917"/>
                  </a:lnTo>
                  <a:lnTo>
                    <a:pt x="75" y="916"/>
                  </a:lnTo>
                  <a:lnTo>
                    <a:pt x="76" y="916"/>
                  </a:lnTo>
                  <a:lnTo>
                    <a:pt x="76" y="920"/>
                  </a:lnTo>
                  <a:lnTo>
                    <a:pt x="77" y="920"/>
                  </a:lnTo>
                  <a:lnTo>
                    <a:pt x="79" y="921"/>
                  </a:lnTo>
                  <a:lnTo>
                    <a:pt x="79" y="920"/>
                  </a:lnTo>
                  <a:lnTo>
                    <a:pt x="79" y="916"/>
                  </a:lnTo>
                  <a:lnTo>
                    <a:pt x="79" y="914"/>
                  </a:lnTo>
                  <a:lnTo>
                    <a:pt x="80" y="911"/>
                  </a:lnTo>
                  <a:lnTo>
                    <a:pt x="80" y="909"/>
                  </a:lnTo>
                  <a:lnTo>
                    <a:pt x="80" y="908"/>
                  </a:lnTo>
                  <a:lnTo>
                    <a:pt x="81" y="910"/>
                  </a:lnTo>
                  <a:lnTo>
                    <a:pt x="81" y="911"/>
                  </a:lnTo>
                  <a:lnTo>
                    <a:pt x="82" y="910"/>
                  </a:lnTo>
                  <a:lnTo>
                    <a:pt x="82" y="909"/>
                  </a:lnTo>
                  <a:lnTo>
                    <a:pt x="82" y="910"/>
                  </a:lnTo>
                  <a:lnTo>
                    <a:pt x="82" y="911"/>
                  </a:lnTo>
                  <a:lnTo>
                    <a:pt x="82" y="914"/>
                  </a:lnTo>
                  <a:lnTo>
                    <a:pt x="83" y="914"/>
                  </a:lnTo>
                  <a:lnTo>
                    <a:pt x="83" y="915"/>
                  </a:lnTo>
                  <a:lnTo>
                    <a:pt x="83" y="917"/>
                  </a:lnTo>
                  <a:lnTo>
                    <a:pt x="85" y="919"/>
                  </a:lnTo>
                  <a:lnTo>
                    <a:pt x="83" y="920"/>
                  </a:lnTo>
                  <a:lnTo>
                    <a:pt x="82" y="920"/>
                  </a:lnTo>
                  <a:lnTo>
                    <a:pt x="80" y="921"/>
                  </a:lnTo>
                  <a:lnTo>
                    <a:pt x="80" y="922"/>
                  </a:lnTo>
                  <a:lnTo>
                    <a:pt x="81" y="922"/>
                  </a:lnTo>
                  <a:lnTo>
                    <a:pt x="79" y="923"/>
                  </a:lnTo>
                  <a:lnTo>
                    <a:pt x="79" y="926"/>
                  </a:lnTo>
                  <a:lnTo>
                    <a:pt x="76" y="926"/>
                  </a:lnTo>
                  <a:lnTo>
                    <a:pt x="73" y="928"/>
                  </a:lnTo>
                  <a:lnTo>
                    <a:pt x="71" y="928"/>
                  </a:lnTo>
                  <a:lnTo>
                    <a:pt x="69" y="928"/>
                  </a:lnTo>
                  <a:lnTo>
                    <a:pt x="67" y="928"/>
                  </a:lnTo>
                  <a:lnTo>
                    <a:pt x="64" y="928"/>
                  </a:lnTo>
                  <a:lnTo>
                    <a:pt x="62" y="928"/>
                  </a:lnTo>
                  <a:lnTo>
                    <a:pt x="62" y="929"/>
                  </a:lnTo>
                  <a:lnTo>
                    <a:pt x="62" y="931"/>
                  </a:lnTo>
                  <a:lnTo>
                    <a:pt x="61" y="931"/>
                  </a:lnTo>
                  <a:lnTo>
                    <a:pt x="59" y="932"/>
                  </a:lnTo>
                  <a:lnTo>
                    <a:pt x="62" y="932"/>
                  </a:lnTo>
                  <a:lnTo>
                    <a:pt x="64" y="932"/>
                  </a:lnTo>
                  <a:lnTo>
                    <a:pt x="65" y="933"/>
                  </a:lnTo>
                  <a:lnTo>
                    <a:pt x="65" y="935"/>
                  </a:lnTo>
                  <a:lnTo>
                    <a:pt x="65" y="934"/>
                  </a:lnTo>
                  <a:lnTo>
                    <a:pt x="67" y="933"/>
                  </a:lnTo>
                  <a:lnTo>
                    <a:pt x="67" y="931"/>
                  </a:lnTo>
                  <a:lnTo>
                    <a:pt x="69" y="931"/>
                  </a:lnTo>
                  <a:lnTo>
                    <a:pt x="70" y="931"/>
                  </a:lnTo>
                  <a:lnTo>
                    <a:pt x="69" y="933"/>
                  </a:lnTo>
                  <a:lnTo>
                    <a:pt x="68" y="934"/>
                  </a:lnTo>
                  <a:lnTo>
                    <a:pt x="67" y="938"/>
                  </a:lnTo>
                  <a:lnTo>
                    <a:pt x="68" y="939"/>
                  </a:lnTo>
                  <a:lnTo>
                    <a:pt x="69" y="938"/>
                  </a:lnTo>
                  <a:lnTo>
                    <a:pt x="70" y="937"/>
                  </a:lnTo>
                  <a:lnTo>
                    <a:pt x="73" y="934"/>
                  </a:lnTo>
                  <a:lnTo>
                    <a:pt x="73" y="933"/>
                  </a:lnTo>
                  <a:lnTo>
                    <a:pt x="75" y="931"/>
                  </a:lnTo>
                  <a:lnTo>
                    <a:pt x="75" y="929"/>
                  </a:lnTo>
                  <a:lnTo>
                    <a:pt x="77" y="929"/>
                  </a:lnTo>
                  <a:lnTo>
                    <a:pt x="77" y="931"/>
                  </a:lnTo>
                  <a:lnTo>
                    <a:pt x="77" y="933"/>
                  </a:lnTo>
                  <a:lnTo>
                    <a:pt x="76" y="934"/>
                  </a:lnTo>
                  <a:lnTo>
                    <a:pt x="76" y="937"/>
                  </a:lnTo>
                  <a:lnTo>
                    <a:pt x="76" y="939"/>
                  </a:lnTo>
                  <a:lnTo>
                    <a:pt x="76" y="941"/>
                  </a:lnTo>
                  <a:lnTo>
                    <a:pt x="77" y="941"/>
                  </a:lnTo>
                  <a:lnTo>
                    <a:pt x="77" y="940"/>
                  </a:lnTo>
                  <a:lnTo>
                    <a:pt x="79" y="938"/>
                  </a:lnTo>
                  <a:lnTo>
                    <a:pt x="79" y="935"/>
                  </a:lnTo>
                  <a:lnTo>
                    <a:pt x="80" y="934"/>
                  </a:lnTo>
                  <a:lnTo>
                    <a:pt x="80" y="937"/>
                  </a:lnTo>
                  <a:lnTo>
                    <a:pt x="80" y="938"/>
                  </a:lnTo>
                  <a:lnTo>
                    <a:pt x="80" y="937"/>
                  </a:lnTo>
                  <a:lnTo>
                    <a:pt x="81" y="935"/>
                  </a:lnTo>
                  <a:lnTo>
                    <a:pt x="81" y="934"/>
                  </a:lnTo>
                  <a:lnTo>
                    <a:pt x="82" y="932"/>
                  </a:lnTo>
                  <a:lnTo>
                    <a:pt x="83" y="931"/>
                  </a:lnTo>
                  <a:lnTo>
                    <a:pt x="83" y="932"/>
                  </a:lnTo>
                  <a:lnTo>
                    <a:pt x="83" y="935"/>
                  </a:lnTo>
                  <a:lnTo>
                    <a:pt x="83" y="937"/>
                  </a:lnTo>
                  <a:lnTo>
                    <a:pt x="85" y="935"/>
                  </a:lnTo>
                  <a:lnTo>
                    <a:pt x="86" y="933"/>
                  </a:lnTo>
                  <a:lnTo>
                    <a:pt x="87" y="931"/>
                  </a:lnTo>
                  <a:lnTo>
                    <a:pt x="87" y="932"/>
                  </a:lnTo>
                  <a:lnTo>
                    <a:pt x="86" y="935"/>
                  </a:lnTo>
                  <a:lnTo>
                    <a:pt x="86" y="938"/>
                  </a:lnTo>
                  <a:lnTo>
                    <a:pt x="86" y="939"/>
                  </a:lnTo>
                  <a:lnTo>
                    <a:pt x="87" y="941"/>
                  </a:lnTo>
                  <a:lnTo>
                    <a:pt x="86" y="944"/>
                  </a:lnTo>
                  <a:lnTo>
                    <a:pt x="85" y="947"/>
                  </a:lnTo>
                  <a:lnTo>
                    <a:pt x="85" y="950"/>
                  </a:lnTo>
                  <a:lnTo>
                    <a:pt x="83" y="953"/>
                  </a:lnTo>
                  <a:lnTo>
                    <a:pt x="86" y="952"/>
                  </a:lnTo>
                  <a:lnTo>
                    <a:pt x="86" y="953"/>
                  </a:lnTo>
                  <a:lnTo>
                    <a:pt x="85" y="955"/>
                  </a:lnTo>
                  <a:lnTo>
                    <a:pt x="82" y="955"/>
                  </a:lnTo>
                  <a:lnTo>
                    <a:pt x="81" y="955"/>
                  </a:lnTo>
                  <a:lnTo>
                    <a:pt x="79" y="955"/>
                  </a:lnTo>
                  <a:lnTo>
                    <a:pt x="77" y="953"/>
                  </a:lnTo>
                  <a:lnTo>
                    <a:pt x="74" y="953"/>
                  </a:lnTo>
                  <a:lnTo>
                    <a:pt x="71" y="953"/>
                  </a:lnTo>
                  <a:lnTo>
                    <a:pt x="69" y="950"/>
                  </a:lnTo>
                  <a:lnTo>
                    <a:pt x="67" y="949"/>
                  </a:lnTo>
                  <a:lnTo>
                    <a:pt x="64" y="946"/>
                  </a:lnTo>
                  <a:lnTo>
                    <a:pt x="63" y="945"/>
                  </a:lnTo>
                  <a:lnTo>
                    <a:pt x="62" y="945"/>
                  </a:lnTo>
                  <a:lnTo>
                    <a:pt x="62" y="943"/>
                  </a:lnTo>
                  <a:lnTo>
                    <a:pt x="59" y="944"/>
                  </a:lnTo>
                  <a:lnTo>
                    <a:pt x="58" y="943"/>
                  </a:lnTo>
                  <a:lnTo>
                    <a:pt x="58" y="940"/>
                  </a:lnTo>
                  <a:lnTo>
                    <a:pt x="57" y="941"/>
                  </a:lnTo>
                  <a:lnTo>
                    <a:pt x="56" y="940"/>
                  </a:lnTo>
                  <a:lnTo>
                    <a:pt x="55" y="943"/>
                  </a:lnTo>
                  <a:lnTo>
                    <a:pt x="53" y="944"/>
                  </a:lnTo>
                  <a:lnTo>
                    <a:pt x="51" y="945"/>
                  </a:lnTo>
                  <a:lnTo>
                    <a:pt x="52" y="946"/>
                  </a:lnTo>
                  <a:lnTo>
                    <a:pt x="55" y="947"/>
                  </a:lnTo>
                  <a:lnTo>
                    <a:pt x="56" y="949"/>
                  </a:lnTo>
                  <a:lnTo>
                    <a:pt x="59" y="951"/>
                  </a:lnTo>
                  <a:lnTo>
                    <a:pt x="61" y="950"/>
                  </a:lnTo>
                  <a:lnTo>
                    <a:pt x="59" y="952"/>
                  </a:lnTo>
                  <a:lnTo>
                    <a:pt x="58" y="953"/>
                  </a:lnTo>
                  <a:lnTo>
                    <a:pt x="56" y="953"/>
                  </a:lnTo>
                  <a:lnTo>
                    <a:pt x="53" y="952"/>
                  </a:lnTo>
                  <a:lnTo>
                    <a:pt x="51" y="951"/>
                  </a:lnTo>
                  <a:lnTo>
                    <a:pt x="47" y="951"/>
                  </a:lnTo>
                  <a:lnTo>
                    <a:pt x="45" y="949"/>
                  </a:lnTo>
                  <a:lnTo>
                    <a:pt x="41" y="947"/>
                  </a:lnTo>
                  <a:lnTo>
                    <a:pt x="38" y="945"/>
                  </a:lnTo>
                  <a:lnTo>
                    <a:pt x="34" y="941"/>
                  </a:lnTo>
                  <a:lnTo>
                    <a:pt x="27" y="937"/>
                  </a:lnTo>
                  <a:lnTo>
                    <a:pt x="21" y="934"/>
                  </a:lnTo>
                  <a:lnTo>
                    <a:pt x="18" y="932"/>
                  </a:lnTo>
                  <a:lnTo>
                    <a:pt x="17" y="932"/>
                  </a:lnTo>
                  <a:lnTo>
                    <a:pt x="16" y="932"/>
                  </a:lnTo>
                  <a:lnTo>
                    <a:pt x="15" y="931"/>
                  </a:lnTo>
                  <a:lnTo>
                    <a:pt x="12" y="928"/>
                  </a:lnTo>
                  <a:lnTo>
                    <a:pt x="10" y="928"/>
                  </a:lnTo>
                  <a:lnTo>
                    <a:pt x="8" y="927"/>
                  </a:lnTo>
                  <a:lnTo>
                    <a:pt x="0" y="925"/>
                  </a:lnTo>
                  <a:lnTo>
                    <a:pt x="0" y="927"/>
                  </a:lnTo>
                  <a:lnTo>
                    <a:pt x="2" y="927"/>
                  </a:lnTo>
                  <a:lnTo>
                    <a:pt x="5" y="929"/>
                  </a:lnTo>
                  <a:lnTo>
                    <a:pt x="5" y="931"/>
                  </a:lnTo>
                  <a:lnTo>
                    <a:pt x="5" y="932"/>
                  </a:lnTo>
                  <a:lnTo>
                    <a:pt x="6" y="933"/>
                  </a:lnTo>
                  <a:lnTo>
                    <a:pt x="9" y="931"/>
                  </a:lnTo>
                  <a:lnTo>
                    <a:pt x="11" y="932"/>
                  </a:lnTo>
                  <a:lnTo>
                    <a:pt x="9" y="933"/>
                  </a:lnTo>
                  <a:lnTo>
                    <a:pt x="8" y="934"/>
                  </a:lnTo>
                  <a:lnTo>
                    <a:pt x="10" y="935"/>
                  </a:lnTo>
                  <a:lnTo>
                    <a:pt x="12" y="935"/>
                  </a:lnTo>
                  <a:lnTo>
                    <a:pt x="15" y="935"/>
                  </a:lnTo>
                  <a:lnTo>
                    <a:pt x="12" y="938"/>
                  </a:lnTo>
                  <a:lnTo>
                    <a:pt x="14" y="940"/>
                  </a:lnTo>
                  <a:lnTo>
                    <a:pt x="15" y="938"/>
                  </a:lnTo>
                  <a:lnTo>
                    <a:pt x="17" y="937"/>
                  </a:lnTo>
                  <a:lnTo>
                    <a:pt x="17" y="938"/>
                  </a:lnTo>
                  <a:lnTo>
                    <a:pt x="15" y="941"/>
                  </a:lnTo>
                  <a:lnTo>
                    <a:pt x="16" y="943"/>
                  </a:lnTo>
                  <a:lnTo>
                    <a:pt x="17" y="941"/>
                  </a:lnTo>
                  <a:lnTo>
                    <a:pt x="20" y="939"/>
                  </a:lnTo>
                  <a:lnTo>
                    <a:pt x="21" y="938"/>
                  </a:lnTo>
                  <a:lnTo>
                    <a:pt x="22" y="939"/>
                  </a:lnTo>
                  <a:lnTo>
                    <a:pt x="21" y="943"/>
                  </a:lnTo>
                  <a:lnTo>
                    <a:pt x="20" y="943"/>
                  </a:lnTo>
                  <a:lnTo>
                    <a:pt x="18" y="944"/>
                  </a:lnTo>
                  <a:lnTo>
                    <a:pt x="20" y="944"/>
                  </a:lnTo>
                  <a:lnTo>
                    <a:pt x="18" y="946"/>
                  </a:lnTo>
                  <a:lnTo>
                    <a:pt x="17" y="946"/>
                  </a:lnTo>
                  <a:lnTo>
                    <a:pt x="17" y="949"/>
                  </a:lnTo>
                  <a:lnTo>
                    <a:pt x="22" y="947"/>
                  </a:lnTo>
                  <a:lnTo>
                    <a:pt x="23" y="945"/>
                  </a:lnTo>
                  <a:lnTo>
                    <a:pt x="26" y="944"/>
                  </a:lnTo>
                  <a:lnTo>
                    <a:pt x="24" y="946"/>
                  </a:lnTo>
                  <a:lnTo>
                    <a:pt x="24" y="950"/>
                  </a:lnTo>
                  <a:lnTo>
                    <a:pt x="26" y="949"/>
                  </a:lnTo>
                  <a:lnTo>
                    <a:pt x="28" y="945"/>
                  </a:lnTo>
                  <a:lnTo>
                    <a:pt x="28" y="946"/>
                  </a:lnTo>
                  <a:lnTo>
                    <a:pt x="27" y="950"/>
                  </a:lnTo>
                  <a:lnTo>
                    <a:pt x="24" y="953"/>
                  </a:lnTo>
                  <a:lnTo>
                    <a:pt x="23" y="958"/>
                  </a:lnTo>
                  <a:lnTo>
                    <a:pt x="23" y="961"/>
                  </a:lnTo>
                  <a:lnTo>
                    <a:pt x="23" y="964"/>
                  </a:lnTo>
                  <a:lnTo>
                    <a:pt x="26" y="962"/>
                  </a:lnTo>
                  <a:lnTo>
                    <a:pt x="27" y="961"/>
                  </a:lnTo>
                  <a:lnTo>
                    <a:pt x="28" y="959"/>
                  </a:lnTo>
                  <a:lnTo>
                    <a:pt x="28" y="957"/>
                  </a:lnTo>
                  <a:lnTo>
                    <a:pt x="29" y="956"/>
                  </a:lnTo>
                  <a:lnTo>
                    <a:pt x="31" y="956"/>
                  </a:lnTo>
                  <a:lnTo>
                    <a:pt x="32" y="956"/>
                  </a:lnTo>
                  <a:lnTo>
                    <a:pt x="31" y="958"/>
                  </a:lnTo>
                  <a:lnTo>
                    <a:pt x="29" y="961"/>
                  </a:lnTo>
                  <a:lnTo>
                    <a:pt x="28" y="962"/>
                  </a:lnTo>
                  <a:lnTo>
                    <a:pt x="28" y="963"/>
                  </a:lnTo>
                  <a:lnTo>
                    <a:pt x="29" y="963"/>
                  </a:lnTo>
                  <a:lnTo>
                    <a:pt x="29" y="964"/>
                  </a:lnTo>
                  <a:lnTo>
                    <a:pt x="29" y="965"/>
                  </a:lnTo>
                  <a:lnTo>
                    <a:pt x="29" y="967"/>
                  </a:lnTo>
                  <a:lnTo>
                    <a:pt x="29" y="968"/>
                  </a:lnTo>
                  <a:lnTo>
                    <a:pt x="31" y="968"/>
                  </a:lnTo>
                  <a:lnTo>
                    <a:pt x="31" y="967"/>
                  </a:lnTo>
                  <a:lnTo>
                    <a:pt x="32" y="965"/>
                  </a:lnTo>
                  <a:lnTo>
                    <a:pt x="33" y="964"/>
                  </a:lnTo>
                  <a:lnTo>
                    <a:pt x="34" y="964"/>
                  </a:lnTo>
                  <a:lnTo>
                    <a:pt x="33" y="968"/>
                  </a:lnTo>
                  <a:lnTo>
                    <a:pt x="33" y="971"/>
                  </a:lnTo>
                  <a:lnTo>
                    <a:pt x="35" y="971"/>
                  </a:lnTo>
                  <a:lnTo>
                    <a:pt x="37" y="971"/>
                  </a:lnTo>
                  <a:lnTo>
                    <a:pt x="37" y="969"/>
                  </a:lnTo>
                  <a:lnTo>
                    <a:pt x="37" y="967"/>
                  </a:lnTo>
                  <a:lnTo>
                    <a:pt x="37" y="964"/>
                  </a:lnTo>
                  <a:lnTo>
                    <a:pt x="38" y="963"/>
                  </a:lnTo>
                  <a:lnTo>
                    <a:pt x="38" y="965"/>
                  </a:lnTo>
                  <a:lnTo>
                    <a:pt x="39" y="969"/>
                  </a:lnTo>
                  <a:lnTo>
                    <a:pt x="40" y="969"/>
                  </a:lnTo>
                  <a:lnTo>
                    <a:pt x="40" y="965"/>
                  </a:lnTo>
                  <a:lnTo>
                    <a:pt x="41" y="964"/>
                  </a:lnTo>
                  <a:lnTo>
                    <a:pt x="41" y="963"/>
                  </a:lnTo>
                  <a:lnTo>
                    <a:pt x="43" y="964"/>
                  </a:lnTo>
                  <a:lnTo>
                    <a:pt x="43" y="967"/>
                  </a:lnTo>
                  <a:lnTo>
                    <a:pt x="43" y="968"/>
                  </a:lnTo>
                  <a:lnTo>
                    <a:pt x="44" y="969"/>
                  </a:lnTo>
                  <a:lnTo>
                    <a:pt x="44" y="971"/>
                  </a:lnTo>
                  <a:lnTo>
                    <a:pt x="43" y="974"/>
                  </a:lnTo>
                  <a:lnTo>
                    <a:pt x="43" y="976"/>
                  </a:lnTo>
                  <a:lnTo>
                    <a:pt x="44" y="977"/>
                  </a:lnTo>
                  <a:lnTo>
                    <a:pt x="44" y="980"/>
                  </a:lnTo>
                  <a:lnTo>
                    <a:pt x="43" y="982"/>
                  </a:lnTo>
                  <a:lnTo>
                    <a:pt x="44" y="983"/>
                  </a:lnTo>
                  <a:lnTo>
                    <a:pt x="45" y="982"/>
                  </a:lnTo>
                  <a:lnTo>
                    <a:pt x="46" y="981"/>
                  </a:lnTo>
                  <a:lnTo>
                    <a:pt x="46" y="979"/>
                  </a:lnTo>
                  <a:lnTo>
                    <a:pt x="46" y="977"/>
                  </a:lnTo>
                  <a:lnTo>
                    <a:pt x="46" y="975"/>
                  </a:lnTo>
                  <a:lnTo>
                    <a:pt x="49" y="976"/>
                  </a:lnTo>
                  <a:lnTo>
                    <a:pt x="49" y="975"/>
                  </a:lnTo>
                  <a:lnTo>
                    <a:pt x="50" y="975"/>
                  </a:lnTo>
                  <a:lnTo>
                    <a:pt x="51" y="975"/>
                  </a:lnTo>
                  <a:lnTo>
                    <a:pt x="51" y="976"/>
                  </a:lnTo>
                  <a:lnTo>
                    <a:pt x="50" y="979"/>
                  </a:lnTo>
                  <a:lnTo>
                    <a:pt x="51" y="977"/>
                  </a:lnTo>
                  <a:lnTo>
                    <a:pt x="53" y="976"/>
                  </a:lnTo>
                  <a:lnTo>
                    <a:pt x="53" y="975"/>
                  </a:lnTo>
                  <a:lnTo>
                    <a:pt x="55" y="974"/>
                  </a:lnTo>
                  <a:lnTo>
                    <a:pt x="53" y="977"/>
                  </a:lnTo>
                  <a:lnTo>
                    <a:pt x="53" y="979"/>
                  </a:lnTo>
                  <a:lnTo>
                    <a:pt x="51" y="981"/>
                  </a:lnTo>
                  <a:lnTo>
                    <a:pt x="49" y="983"/>
                  </a:lnTo>
                  <a:lnTo>
                    <a:pt x="44" y="985"/>
                  </a:lnTo>
                  <a:lnTo>
                    <a:pt x="43" y="986"/>
                  </a:lnTo>
                  <a:lnTo>
                    <a:pt x="40" y="988"/>
                  </a:lnTo>
                  <a:lnTo>
                    <a:pt x="38" y="988"/>
                  </a:lnTo>
                  <a:lnTo>
                    <a:pt x="31" y="985"/>
                  </a:lnTo>
                  <a:lnTo>
                    <a:pt x="29" y="986"/>
                  </a:lnTo>
                  <a:lnTo>
                    <a:pt x="35" y="988"/>
                  </a:lnTo>
                  <a:lnTo>
                    <a:pt x="37" y="989"/>
                  </a:lnTo>
                  <a:lnTo>
                    <a:pt x="32" y="993"/>
                  </a:lnTo>
                  <a:lnTo>
                    <a:pt x="32" y="994"/>
                  </a:lnTo>
                  <a:lnTo>
                    <a:pt x="32" y="995"/>
                  </a:lnTo>
                  <a:lnTo>
                    <a:pt x="34" y="993"/>
                  </a:lnTo>
                  <a:lnTo>
                    <a:pt x="35" y="993"/>
                  </a:lnTo>
                  <a:lnTo>
                    <a:pt x="35" y="998"/>
                  </a:lnTo>
                  <a:lnTo>
                    <a:pt x="37" y="997"/>
                  </a:lnTo>
                  <a:lnTo>
                    <a:pt x="37" y="994"/>
                  </a:lnTo>
                  <a:lnTo>
                    <a:pt x="38" y="993"/>
                  </a:lnTo>
                  <a:lnTo>
                    <a:pt x="39" y="991"/>
                  </a:lnTo>
                  <a:lnTo>
                    <a:pt x="40" y="991"/>
                  </a:lnTo>
                  <a:lnTo>
                    <a:pt x="40" y="993"/>
                  </a:lnTo>
                  <a:lnTo>
                    <a:pt x="40" y="997"/>
                  </a:lnTo>
                  <a:lnTo>
                    <a:pt x="41" y="997"/>
                  </a:lnTo>
                  <a:lnTo>
                    <a:pt x="43" y="997"/>
                  </a:lnTo>
                  <a:lnTo>
                    <a:pt x="43" y="994"/>
                  </a:lnTo>
                  <a:lnTo>
                    <a:pt x="41" y="994"/>
                  </a:lnTo>
                  <a:lnTo>
                    <a:pt x="43" y="992"/>
                  </a:lnTo>
                  <a:lnTo>
                    <a:pt x="44" y="992"/>
                  </a:lnTo>
                  <a:lnTo>
                    <a:pt x="45" y="992"/>
                  </a:lnTo>
                  <a:lnTo>
                    <a:pt x="47" y="992"/>
                  </a:lnTo>
                  <a:lnTo>
                    <a:pt x="45" y="994"/>
                  </a:lnTo>
                  <a:lnTo>
                    <a:pt x="43" y="997"/>
                  </a:lnTo>
                  <a:lnTo>
                    <a:pt x="41" y="999"/>
                  </a:lnTo>
                  <a:lnTo>
                    <a:pt x="43" y="1000"/>
                  </a:lnTo>
                  <a:lnTo>
                    <a:pt x="45" y="998"/>
                  </a:lnTo>
                  <a:lnTo>
                    <a:pt x="45" y="999"/>
                  </a:lnTo>
                  <a:lnTo>
                    <a:pt x="43" y="1003"/>
                  </a:lnTo>
                  <a:lnTo>
                    <a:pt x="44" y="1005"/>
                  </a:lnTo>
                  <a:lnTo>
                    <a:pt x="45" y="1004"/>
                  </a:lnTo>
                  <a:lnTo>
                    <a:pt x="46" y="1001"/>
                  </a:lnTo>
                  <a:lnTo>
                    <a:pt x="49" y="999"/>
                  </a:lnTo>
                  <a:lnTo>
                    <a:pt x="50" y="997"/>
                  </a:lnTo>
                  <a:lnTo>
                    <a:pt x="53" y="993"/>
                  </a:lnTo>
                  <a:lnTo>
                    <a:pt x="56" y="994"/>
                  </a:lnTo>
                  <a:lnTo>
                    <a:pt x="59" y="994"/>
                  </a:lnTo>
                  <a:lnTo>
                    <a:pt x="58" y="998"/>
                  </a:lnTo>
                  <a:lnTo>
                    <a:pt x="55" y="1001"/>
                  </a:lnTo>
                  <a:lnTo>
                    <a:pt x="55" y="1004"/>
                  </a:lnTo>
                  <a:lnTo>
                    <a:pt x="52" y="1005"/>
                  </a:lnTo>
                  <a:lnTo>
                    <a:pt x="49" y="1006"/>
                  </a:lnTo>
                  <a:lnTo>
                    <a:pt x="45" y="1010"/>
                  </a:lnTo>
                  <a:lnTo>
                    <a:pt x="44" y="1012"/>
                  </a:lnTo>
                  <a:lnTo>
                    <a:pt x="45" y="1012"/>
                  </a:lnTo>
                  <a:lnTo>
                    <a:pt x="47" y="1012"/>
                  </a:lnTo>
                  <a:lnTo>
                    <a:pt x="49" y="1012"/>
                  </a:lnTo>
                  <a:lnTo>
                    <a:pt x="50" y="1011"/>
                  </a:lnTo>
                  <a:lnTo>
                    <a:pt x="51" y="1009"/>
                  </a:lnTo>
                  <a:lnTo>
                    <a:pt x="53" y="1006"/>
                  </a:lnTo>
                  <a:lnTo>
                    <a:pt x="56" y="1005"/>
                  </a:lnTo>
                  <a:lnTo>
                    <a:pt x="55" y="1007"/>
                  </a:lnTo>
                  <a:lnTo>
                    <a:pt x="53" y="1012"/>
                  </a:lnTo>
                  <a:lnTo>
                    <a:pt x="56" y="1012"/>
                  </a:lnTo>
                  <a:lnTo>
                    <a:pt x="58" y="1011"/>
                  </a:lnTo>
                  <a:lnTo>
                    <a:pt x="57" y="1013"/>
                  </a:lnTo>
                  <a:lnTo>
                    <a:pt x="58" y="1015"/>
                  </a:lnTo>
                  <a:lnTo>
                    <a:pt x="59" y="1012"/>
                  </a:lnTo>
                  <a:lnTo>
                    <a:pt x="61" y="1011"/>
                  </a:lnTo>
                  <a:lnTo>
                    <a:pt x="61" y="1009"/>
                  </a:lnTo>
                  <a:lnTo>
                    <a:pt x="62" y="1005"/>
                  </a:lnTo>
                  <a:lnTo>
                    <a:pt x="63" y="1003"/>
                  </a:lnTo>
                  <a:lnTo>
                    <a:pt x="63" y="1005"/>
                  </a:lnTo>
                  <a:lnTo>
                    <a:pt x="63" y="1006"/>
                  </a:lnTo>
                  <a:lnTo>
                    <a:pt x="63" y="1005"/>
                  </a:lnTo>
                  <a:lnTo>
                    <a:pt x="63" y="1000"/>
                  </a:lnTo>
                  <a:lnTo>
                    <a:pt x="64" y="999"/>
                  </a:lnTo>
                  <a:lnTo>
                    <a:pt x="65" y="998"/>
                  </a:lnTo>
                  <a:lnTo>
                    <a:pt x="65" y="1000"/>
                  </a:lnTo>
                  <a:lnTo>
                    <a:pt x="67" y="997"/>
                  </a:lnTo>
                  <a:lnTo>
                    <a:pt x="67" y="995"/>
                  </a:lnTo>
                  <a:lnTo>
                    <a:pt x="69" y="995"/>
                  </a:lnTo>
                  <a:lnTo>
                    <a:pt x="68" y="998"/>
                  </a:lnTo>
                  <a:lnTo>
                    <a:pt x="68" y="1000"/>
                  </a:lnTo>
                  <a:lnTo>
                    <a:pt x="67" y="1004"/>
                  </a:lnTo>
                  <a:lnTo>
                    <a:pt x="67" y="1007"/>
                  </a:lnTo>
                  <a:lnTo>
                    <a:pt x="67" y="1009"/>
                  </a:lnTo>
                  <a:lnTo>
                    <a:pt x="65" y="1011"/>
                  </a:lnTo>
                  <a:lnTo>
                    <a:pt x="65" y="1013"/>
                  </a:lnTo>
                  <a:lnTo>
                    <a:pt x="65" y="1015"/>
                  </a:lnTo>
                  <a:lnTo>
                    <a:pt x="67" y="1019"/>
                  </a:lnTo>
                  <a:lnTo>
                    <a:pt x="67" y="1018"/>
                  </a:lnTo>
                  <a:lnTo>
                    <a:pt x="69" y="1017"/>
                  </a:lnTo>
                  <a:lnTo>
                    <a:pt x="70" y="1016"/>
                  </a:lnTo>
                  <a:lnTo>
                    <a:pt x="71" y="1015"/>
                  </a:lnTo>
                  <a:lnTo>
                    <a:pt x="71" y="1010"/>
                  </a:lnTo>
                  <a:lnTo>
                    <a:pt x="71" y="1009"/>
                  </a:lnTo>
                  <a:lnTo>
                    <a:pt x="73" y="1009"/>
                  </a:lnTo>
                  <a:lnTo>
                    <a:pt x="73" y="1011"/>
                  </a:lnTo>
                  <a:lnTo>
                    <a:pt x="73" y="1013"/>
                  </a:lnTo>
                  <a:lnTo>
                    <a:pt x="73" y="1016"/>
                  </a:lnTo>
                  <a:lnTo>
                    <a:pt x="73" y="1019"/>
                  </a:lnTo>
                  <a:lnTo>
                    <a:pt x="74" y="1022"/>
                  </a:lnTo>
                  <a:lnTo>
                    <a:pt x="74" y="1021"/>
                  </a:lnTo>
                  <a:lnTo>
                    <a:pt x="75" y="1022"/>
                  </a:lnTo>
                  <a:lnTo>
                    <a:pt x="76" y="1024"/>
                  </a:lnTo>
                  <a:lnTo>
                    <a:pt x="77" y="1024"/>
                  </a:lnTo>
                  <a:lnTo>
                    <a:pt x="77" y="1019"/>
                  </a:lnTo>
                  <a:lnTo>
                    <a:pt x="76" y="1015"/>
                  </a:lnTo>
                  <a:lnTo>
                    <a:pt x="77" y="1011"/>
                  </a:lnTo>
                  <a:lnTo>
                    <a:pt x="77" y="1006"/>
                  </a:lnTo>
                  <a:lnTo>
                    <a:pt x="79" y="1013"/>
                  </a:lnTo>
                  <a:lnTo>
                    <a:pt x="80" y="1013"/>
                  </a:lnTo>
                  <a:lnTo>
                    <a:pt x="80" y="1010"/>
                  </a:lnTo>
                  <a:lnTo>
                    <a:pt x="80" y="1005"/>
                  </a:lnTo>
                  <a:lnTo>
                    <a:pt x="81" y="1003"/>
                  </a:lnTo>
                  <a:lnTo>
                    <a:pt x="81" y="998"/>
                  </a:lnTo>
                  <a:lnTo>
                    <a:pt x="83" y="997"/>
                  </a:lnTo>
                  <a:lnTo>
                    <a:pt x="83" y="1000"/>
                  </a:lnTo>
                  <a:lnTo>
                    <a:pt x="83" y="1006"/>
                  </a:lnTo>
                  <a:lnTo>
                    <a:pt x="81" y="1010"/>
                  </a:lnTo>
                  <a:lnTo>
                    <a:pt x="81" y="1013"/>
                  </a:lnTo>
                  <a:lnTo>
                    <a:pt x="80" y="1017"/>
                  </a:lnTo>
                  <a:lnTo>
                    <a:pt x="79" y="1019"/>
                  </a:lnTo>
                  <a:lnTo>
                    <a:pt x="80" y="1021"/>
                  </a:lnTo>
                  <a:lnTo>
                    <a:pt x="81" y="1022"/>
                  </a:lnTo>
                  <a:lnTo>
                    <a:pt x="82" y="1021"/>
                  </a:lnTo>
                  <a:lnTo>
                    <a:pt x="82" y="1019"/>
                  </a:lnTo>
                  <a:lnTo>
                    <a:pt x="83" y="1017"/>
                  </a:lnTo>
                  <a:lnTo>
                    <a:pt x="83" y="1015"/>
                  </a:lnTo>
                  <a:lnTo>
                    <a:pt x="85" y="1013"/>
                  </a:lnTo>
                  <a:lnTo>
                    <a:pt x="83" y="1012"/>
                  </a:lnTo>
                  <a:lnTo>
                    <a:pt x="85" y="1009"/>
                  </a:lnTo>
                  <a:lnTo>
                    <a:pt x="86" y="1009"/>
                  </a:lnTo>
                  <a:lnTo>
                    <a:pt x="86" y="1013"/>
                  </a:lnTo>
                  <a:lnTo>
                    <a:pt x="86" y="1015"/>
                  </a:lnTo>
                  <a:lnTo>
                    <a:pt x="87" y="1016"/>
                  </a:lnTo>
                  <a:lnTo>
                    <a:pt x="88" y="1012"/>
                  </a:lnTo>
                  <a:lnTo>
                    <a:pt x="90" y="1010"/>
                  </a:lnTo>
                  <a:lnTo>
                    <a:pt x="90" y="1009"/>
                  </a:lnTo>
                  <a:lnTo>
                    <a:pt x="92" y="1004"/>
                  </a:lnTo>
                  <a:lnTo>
                    <a:pt x="92" y="1006"/>
                  </a:lnTo>
                  <a:lnTo>
                    <a:pt x="92" y="1009"/>
                  </a:lnTo>
                  <a:lnTo>
                    <a:pt x="91" y="1012"/>
                  </a:lnTo>
                  <a:lnTo>
                    <a:pt x="91" y="1016"/>
                  </a:lnTo>
                  <a:lnTo>
                    <a:pt x="92" y="1016"/>
                  </a:lnTo>
                  <a:lnTo>
                    <a:pt x="91" y="1018"/>
                  </a:lnTo>
                  <a:lnTo>
                    <a:pt x="93" y="1019"/>
                  </a:lnTo>
                  <a:lnTo>
                    <a:pt x="93" y="1018"/>
                  </a:lnTo>
                  <a:lnTo>
                    <a:pt x="93" y="1021"/>
                  </a:lnTo>
                  <a:lnTo>
                    <a:pt x="92" y="1023"/>
                  </a:lnTo>
                  <a:lnTo>
                    <a:pt x="91" y="1024"/>
                  </a:lnTo>
                  <a:lnTo>
                    <a:pt x="88" y="1027"/>
                  </a:lnTo>
                  <a:lnTo>
                    <a:pt x="90" y="1027"/>
                  </a:lnTo>
                  <a:lnTo>
                    <a:pt x="92" y="1026"/>
                  </a:lnTo>
                  <a:lnTo>
                    <a:pt x="91" y="1028"/>
                  </a:lnTo>
                  <a:lnTo>
                    <a:pt x="91" y="1029"/>
                  </a:lnTo>
                  <a:lnTo>
                    <a:pt x="91" y="1030"/>
                  </a:lnTo>
                  <a:lnTo>
                    <a:pt x="92" y="1032"/>
                  </a:lnTo>
                  <a:lnTo>
                    <a:pt x="94" y="1032"/>
                  </a:lnTo>
                  <a:lnTo>
                    <a:pt x="98" y="1024"/>
                  </a:lnTo>
                  <a:lnTo>
                    <a:pt x="98" y="1022"/>
                  </a:lnTo>
                  <a:lnTo>
                    <a:pt x="99" y="1021"/>
                  </a:lnTo>
                  <a:lnTo>
                    <a:pt x="99" y="1013"/>
                  </a:lnTo>
                  <a:lnTo>
                    <a:pt x="99" y="1010"/>
                  </a:lnTo>
                  <a:lnTo>
                    <a:pt x="99" y="1005"/>
                  </a:lnTo>
                  <a:lnTo>
                    <a:pt x="99" y="1004"/>
                  </a:lnTo>
                  <a:lnTo>
                    <a:pt x="100" y="1005"/>
                  </a:lnTo>
                  <a:lnTo>
                    <a:pt x="100" y="1006"/>
                  </a:lnTo>
                  <a:lnTo>
                    <a:pt x="100" y="1009"/>
                  </a:lnTo>
                  <a:lnTo>
                    <a:pt x="103" y="1010"/>
                  </a:lnTo>
                  <a:lnTo>
                    <a:pt x="103" y="1012"/>
                  </a:lnTo>
                  <a:lnTo>
                    <a:pt x="102" y="1016"/>
                  </a:lnTo>
                  <a:lnTo>
                    <a:pt x="102" y="1019"/>
                  </a:lnTo>
                  <a:lnTo>
                    <a:pt x="102" y="1021"/>
                  </a:lnTo>
                  <a:lnTo>
                    <a:pt x="102" y="1022"/>
                  </a:lnTo>
                  <a:lnTo>
                    <a:pt x="100" y="1024"/>
                  </a:lnTo>
                  <a:lnTo>
                    <a:pt x="99" y="1026"/>
                  </a:lnTo>
                  <a:lnTo>
                    <a:pt x="98" y="1028"/>
                  </a:lnTo>
                  <a:lnTo>
                    <a:pt x="97" y="1030"/>
                  </a:lnTo>
                  <a:lnTo>
                    <a:pt x="97" y="1034"/>
                  </a:lnTo>
                  <a:lnTo>
                    <a:pt x="98" y="1035"/>
                  </a:lnTo>
                  <a:lnTo>
                    <a:pt x="98" y="1038"/>
                  </a:lnTo>
                  <a:lnTo>
                    <a:pt x="98" y="1040"/>
                  </a:lnTo>
                  <a:lnTo>
                    <a:pt x="97" y="1042"/>
                  </a:lnTo>
                  <a:lnTo>
                    <a:pt x="97" y="1045"/>
                  </a:lnTo>
                  <a:lnTo>
                    <a:pt x="96" y="1047"/>
                  </a:lnTo>
                  <a:lnTo>
                    <a:pt x="92" y="1047"/>
                  </a:lnTo>
                  <a:lnTo>
                    <a:pt x="88" y="1046"/>
                  </a:lnTo>
                  <a:lnTo>
                    <a:pt x="85" y="1044"/>
                  </a:lnTo>
                  <a:lnTo>
                    <a:pt x="80" y="1042"/>
                  </a:lnTo>
                  <a:lnTo>
                    <a:pt x="79" y="1041"/>
                  </a:lnTo>
                  <a:lnTo>
                    <a:pt x="77" y="1041"/>
                  </a:lnTo>
                  <a:lnTo>
                    <a:pt x="74" y="1040"/>
                  </a:lnTo>
                  <a:lnTo>
                    <a:pt x="71" y="1040"/>
                  </a:lnTo>
                  <a:lnTo>
                    <a:pt x="69" y="1039"/>
                  </a:lnTo>
                  <a:lnTo>
                    <a:pt x="68" y="1041"/>
                  </a:lnTo>
                  <a:lnTo>
                    <a:pt x="70" y="1042"/>
                  </a:lnTo>
                  <a:lnTo>
                    <a:pt x="70" y="1045"/>
                  </a:lnTo>
                  <a:lnTo>
                    <a:pt x="73" y="1044"/>
                  </a:lnTo>
                  <a:lnTo>
                    <a:pt x="71" y="1046"/>
                  </a:lnTo>
                  <a:lnTo>
                    <a:pt x="73" y="1047"/>
                  </a:lnTo>
                  <a:lnTo>
                    <a:pt x="74" y="1046"/>
                  </a:lnTo>
                  <a:lnTo>
                    <a:pt x="75" y="1046"/>
                  </a:lnTo>
                  <a:lnTo>
                    <a:pt x="76" y="1045"/>
                  </a:lnTo>
                  <a:lnTo>
                    <a:pt x="77" y="1046"/>
                  </a:lnTo>
                  <a:lnTo>
                    <a:pt x="74" y="1048"/>
                  </a:lnTo>
                  <a:lnTo>
                    <a:pt x="74" y="1050"/>
                  </a:lnTo>
                  <a:lnTo>
                    <a:pt x="75" y="1051"/>
                  </a:lnTo>
                  <a:lnTo>
                    <a:pt x="76" y="1052"/>
                  </a:lnTo>
                  <a:lnTo>
                    <a:pt x="79" y="1051"/>
                  </a:lnTo>
                  <a:lnTo>
                    <a:pt x="80" y="1050"/>
                  </a:lnTo>
                  <a:lnTo>
                    <a:pt x="79" y="1052"/>
                  </a:lnTo>
                  <a:lnTo>
                    <a:pt x="79" y="1054"/>
                  </a:lnTo>
                  <a:lnTo>
                    <a:pt x="79" y="1056"/>
                  </a:lnTo>
                  <a:lnTo>
                    <a:pt x="80" y="1056"/>
                  </a:lnTo>
                  <a:lnTo>
                    <a:pt x="80" y="1057"/>
                  </a:lnTo>
                  <a:lnTo>
                    <a:pt x="80" y="1058"/>
                  </a:lnTo>
                  <a:lnTo>
                    <a:pt x="81" y="1060"/>
                  </a:lnTo>
                  <a:lnTo>
                    <a:pt x="82" y="1060"/>
                  </a:lnTo>
                  <a:lnTo>
                    <a:pt x="85" y="1060"/>
                  </a:lnTo>
                  <a:lnTo>
                    <a:pt x="85" y="1062"/>
                  </a:lnTo>
                  <a:lnTo>
                    <a:pt x="87" y="1064"/>
                  </a:lnTo>
                  <a:lnTo>
                    <a:pt x="85" y="1065"/>
                  </a:lnTo>
                  <a:lnTo>
                    <a:pt x="85" y="1066"/>
                  </a:lnTo>
                  <a:lnTo>
                    <a:pt x="86" y="1066"/>
                  </a:lnTo>
                  <a:lnTo>
                    <a:pt x="87" y="1069"/>
                  </a:lnTo>
                  <a:lnTo>
                    <a:pt x="88" y="1068"/>
                  </a:lnTo>
                  <a:lnTo>
                    <a:pt x="90" y="1066"/>
                  </a:lnTo>
                  <a:lnTo>
                    <a:pt x="91" y="1068"/>
                  </a:lnTo>
                  <a:lnTo>
                    <a:pt x="92" y="1066"/>
                  </a:lnTo>
                  <a:lnTo>
                    <a:pt x="93" y="1064"/>
                  </a:lnTo>
                  <a:lnTo>
                    <a:pt x="93" y="1062"/>
                  </a:lnTo>
                  <a:lnTo>
                    <a:pt x="94" y="1063"/>
                  </a:lnTo>
                  <a:lnTo>
                    <a:pt x="93" y="1066"/>
                  </a:lnTo>
                  <a:lnTo>
                    <a:pt x="92" y="1068"/>
                  </a:lnTo>
                  <a:lnTo>
                    <a:pt x="92" y="1070"/>
                  </a:lnTo>
                  <a:lnTo>
                    <a:pt x="93" y="1070"/>
                  </a:lnTo>
                  <a:lnTo>
                    <a:pt x="93" y="1071"/>
                  </a:lnTo>
                  <a:lnTo>
                    <a:pt x="93" y="1074"/>
                  </a:lnTo>
                  <a:lnTo>
                    <a:pt x="96" y="1074"/>
                  </a:lnTo>
                  <a:lnTo>
                    <a:pt x="98" y="1074"/>
                  </a:lnTo>
                  <a:lnTo>
                    <a:pt x="100" y="1074"/>
                  </a:lnTo>
                  <a:lnTo>
                    <a:pt x="102" y="1075"/>
                  </a:lnTo>
                  <a:lnTo>
                    <a:pt x="104" y="1074"/>
                  </a:lnTo>
                  <a:lnTo>
                    <a:pt x="105" y="1072"/>
                  </a:lnTo>
                  <a:lnTo>
                    <a:pt x="106" y="1075"/>
                  </a:lnTo>
                  <a:lnTo>
                    <a:pt x="108" y="1075"/>
                  </a:lnTo>
                  <a:lnTo>
                    <a:pt x="109" y="1074"/>
                  </a:lnTo>
                  <a:lnTo>
                    <a:pt x="110" y="1072"/>
                  </a:lnTo>
                  <a:lnTo>
                    <a:pt x="112" y="1072"/>
                  </a:lnTo>
                  <a:lnTo>
                    <a:pt x="114" y="1071"/>
                  </a:lnTo>
                  <a:lnTo>
                    <a:pt x="115" y="1071"/>
                  </a:lnTo>
                  <a:lnTo>
                    <a:pt x="116" y="1074"/>
                  </a:lnTo>
                  <a:lnTo>
                    <a:pt x="117" y="1074"/>
                  </a:lnTo>
                  <a:lnTo>
                    <a:pt x="120" y="1072"/>
                  </a:lnTo>
                  <a:lnTo>
                    <a:pt x="121" y="1072"/>
                  </a:lnTo>
                  <a:lnTo>
                    <a:pt x="122" y="1072"/>
                  </a:lnTo>
                  <a:lnTo>
                    <a:pt x="122" y="1074"/>
                  </a:lnTo>
                  <a:lnTo>
                    <a:pt x="124" y="1074"/>
                  </a:lnTo>
                  <a:lnTo>
                    <a:pt x="126" y="1074"/>
                  </a:lnTo>
                  <a:lnTo>
                    <a:pt x="128" y="1074"/>
                  </a:lnTo>
                  <a:lnTo>
                    <a:pt x="128" y="1075"/>
                  </a:lnTo>
                  <a:lnTo>
                    <a:pt x="129" y="1074"/>
                  </a:lnTo>
                  <a:lnTo>
                    <a:pt x="130" y="1072"/>
                  </a:lnTo>
                  <a:lnTo>
                    <a:pt x="132" y="1072"/>
                  </a:lnTo>
                  <a:lnTo>
                    <a:pt x="133" y="1075"/>
                  </a:lnTo>
                  <a:lnTo>
                    <a:pt x="134" y="1075"/>
                  </a:lnTo>
                  <a:lnTo>
                    <a:pt x="135" y="1075"/>
                  </a:lnTo>
                  <a:lnTo>
                    <a:pt x="136" y="1074"/>
                  </a:lnTo>
                  <a:lnTo>
                    <a:pt x="136" y="1075"/>
                  </a:lnTo>
                  <a:lnTo>
                    <a:pt x="138" y="1075"/>
                  </a:lnTo>
                  <a:lnTo>
                    <a:pt x="140" y="1076"/>
                  </a:lnTo>
                  <a:lnTo>
                    <a:pt x="141" y="1077"/>
                  </a:lnTo>
                  <a:lnTo>
                    <a:pt x="142" y="1080"/>
                  </a:lnTo>
                  <a:lnTo>
                    <a:pt x="142" y="1081"/>
                  </a:lnTo>
                  <a:lnTo>
                    <a:pt x="144" y="1082"/>
                  </a:lnTo>
                  <a:lnTo>
                    <a:pt x="146" y="1083"/>
                  </a:lnTo>
                  <a:lnTo>
                    <a:pt x="149" y="1083"/>
                  </a:lnTo>
                  <a:lnTo>
                    <a:pt x="150" y="1082"/>
                  </a:lnTo>
                  <a:lnTo>
                    <a:pt x="147" y="1084"/>
                  </a:lnTo>
                  <a:lnTo>
                    <a:pt x="146" y="1086"/>
                  </a:lnTo>
                  <a:lnTo>
                    <a:pt x="146" y="1087"/>
                  </a:lnTo>
                  <a:lnTo>
                    <a:pt x="147" y="1086"/>
                  </a:lnTo>
                  <a:lnTo>
                    <a:pt x="150" y="1086"/>
                  </a:lnTo>
                  <a:lnTo>
                    <a:pt x="151" y="1086"/>
                  </a:lnTo>
                  <a:lnTo>
                    <a:pt x="151" y="1087"/>
                  </a:lnTo>
                  <a:lnTo>
                    <a:pt x="149" y="1087"/>
                  </a:lnTo>
                  <a:lnTo>
                    <a:pt x="149" y="1089"/>
                  </a:lnTo>
                  <a:lnTo>
                    <a:pt x="150" y="1089"/>
                  </a:lnTo>
                  <a:lnTo>
                    <a:pt x="149" y="1092"/>
                  </a:lnTo>
                  <a:lnTo>
                    <a:pt x="150" y="1092"/>
                  </a:lnTo>
                  <a:lnTo>
                    <a:pt x="151" y="1090"/>
                  </a:lnTo>
                  <a:lnTo>
                    <a:pt x="152" y="1090"/>
                  </a:lnTo>
                  <a:lnTo>
                    <a:pt x="152" y="1092"/>
                  </a:lnTo>
                  <a:lnTo>
                    <a:pt x="152" y="1093"/>
                  </a:lnTo>
                  <a:lnTo>
                    <a:pt x="153" y="1094"/>
                  </a:lnTo>
                  <a:lnTo>
                    <a:pt x="153" y="1093"/>
                  </a:lnTo>
                  <a:lnTo>
                    <a:pt x="155" y="1093"/>
                  </a:lnTo>
                  <a:lnTo>
                    <a:pt x="155" y="1095"/>
                  </a:lnTo>
                  <a:lnTo>
                    <a:pt x="156" y="1096"/>
                  </a:lnTo>
                  <a:lnTo>
                    <a:pt x="157" y="1094"/>
                  </a:lnTo>
                  <a:lnTo>
                    <a:pt x="158" y="1094"/>
                  </a:lnTo>
                  <a:lnTo>
                    <a:pt x="157" y="1096"/>
                  </a:lnTo>
                  <a:lnTo>
                    <a:pt x="156" y="1098"/>
                  </a:lnTo>
                  <a:lnTo>
                    <a:pt x="155" y="1100"/>
                  </a:lnTo>
                  <a:lnTo>
                    <a:pt x="156" y="1101"/>
                  </a:lnTo>
                  <a:lnTo>
                    <a:pt x="157" y="1100"/>
                  </a:lnTo>
                  <a:lnTo>
                    <a:pt x="158" y="1098"/>
                  </a:lnTo>
                  <a:lnTo>
                    <a:pt x="159" y="1095"/>
                  </a:lnTo>
                  <a:lnTo>
                    <a:pt x="159" y="1096"/>
                  </a:lnTo>
                  <a:lnTo>
                    <a:pt x="159" y="1100"/>
                  </a:lnTo>
                  <a:lnTo>
                    <a:pt x="159" y="1101"/>
                  </a:lnTo>
                  <a:lnTo>
                    <a:pt x="159" y="1102"/>
                  </a:lnTo>
                  <a:lnTo>
                    <a:pt x="158" y="1105"/>
                  </a:lnTo>
                  <a:lnTo>
                    <a:pt x="158" y="1108"/>
                  </a:lnTo>
                  <a:lnTo>
                    <a:pt x="157" y="1110"/>
                  </a:lnTo>
                  <a:lnTo>
                    <a:pt x="156" y="1112"/>
                  </a:lnTo>
                  <a:lnTo>
                    <a:pt x="155" y="1114"/>
                  </a:lnTo>
                  <a:lnTo>
                    <a:pt x="153" y="1118"/>
                  </a:lnTo>
                  <a:lnTo>
                    <a:pt x="151" y="1122"/>
                  </a:lnTo>
                  <a:lnTo>
                    <a:pt x="149" y="1124"/>
                  </a:lnTo>
                  <a:lnTo>
                    <a:pt x="147" y="1125"/>
                  </a:lnTo>
                  <a:lnTo>
                    <a:pt x="149" y="1128"/>
                  </a:lnTo>
                  <a:lnTo>
                    <a:pt x="150" y="1129"/>
                  </a:lnTo>
                  <a:lnTo>
                    <a:pt x="150" y="1130"/>
                  </a:lnTo>
                  <a:lnTo>
                    <a:pt x="150" y="1133"/>
                  </a:lnTo>
                  <a:lnTo>
                    <a:pt x="151" y="1134"/>
                  </a:lnTo>
                  <a:lnTo>
                    <a:pt x="152" y="1133"/>
                  </a:lnTo>
                  <a:lnTo>
                    <a:pt x="153" y="1134"/>
                  </a:lnTo>
                  <a:lnTo>
                    <a:pt x="153" y="1135"/>
                  </a:lnTo>
                  <a:lnTo>
                    <a:pt x="156" y="1135"/>
                  </a:lnTo>
                  <a:lnTo>
                    <a:pt x="153" y="1137"/>
                  </a:lnTo>
                  <a:lnTo>
                    <a:pt x="152" y="1140"/>
                  </a:lnTo>
                  <a:lnTo>
                    <a:pt x="153" y="1139"/>
                  </a:lnTo>
                  <a:lnTo>
                    <a:pt x="155" y="1137"/>
                  </a:lnTo>
                  <a:lnTo>
                    <a:pt x="156" y="1135"/>
                  </a:lnTo>
                  <a:lnTo>
                    <a:pt x="158" y="1133"/>
                  </a:lnTo>
                  <a:lnTo>
                    <a:pt x="159" y="1131"/>
                  </a:lnTo>
                  <a:lnTo>
                    <a:pt x="161" y="1130"/>
                  </a:lnTo>
                  <a:lnTo>
                    <a:pt x="163" y="1128"/>
                  </a:lnTo>
                  <a:lnTo>
                    <a:pt x="163" y="1129"/>
                  </a:lnTo>
                  <a:lnTo>
                    <a:pt x="164" y="1130"/>
                  </a:lnTo>
                  <a:lnTo>
                    <a:pt x="165" y="1131"/>
                  </a:lnTo>
                  <a:lnTo>
                    <a:pt x="168" y="1133"/>
                  </a:lnTo>
                  <a:lnTo>
                    <a:pt x="170" y="1133"/>
                  </a:lnTo>
                  <a:lnTo>
                    <a:pt x="170" y="1135"/>
                  </a:lnTo>
                  <a:lnTo>
                    <a:pt x="171" y="1136"/>
                  </a:lnTo>
                  <a:lnTo>
                    <a:pt x="171" y="1137"/>
                  </a:lnTo>
                  <a:lnTo>
                    <a:pt x="173" y="1136"/>
                  </a:lnTo>
                  <a:lnTo>
                    <a:pt x="174" y="1136"/>
                  </a:lnTo>
                  <a:lnTo>
                    <a:pt x="175" y="1139"/>
                  </a:lnTo>
                  <a:lnTo>
                    <a:pt x="174" y="1140"/>
                  </a:lnTo>
                  <a:lnTo>
                    <a:pt x="175" y="1141"/>
                  </a:lnTo>
                  <a:lnTo>
                    <a:pt x="176" y="1141"/>
                  </a:lnTo>
                  <a:lnTo>
                    <a:pt x="177" y="1141"/>
                  </a:lnTo>
                  <a:lnTo>
                    <a:pt x="177" y="1142"/>
                  </a:lnTo>
                  <a:lnTo>
                    <a:pt x="177" y="1145"/>
                  </a:lnTo>
                  <a:lnTo>
                    <a:pt x="179" y="1143"/>
                  </a:lnTo>
                  <a:lnTo>
                    <a:pt x="180" y="1143"/>
                  </a:lnTo>
                  <a:lnTo>
                    <a:pt x="181" y="1145"/>
                  </a:lnTo>
                  <a:lnTo>
                    <a:pt x="182" y="1145"/>
                  </a:lnTo>
                  <a:lnTo>
                    <a:pt x="183" y="1145"/>
                  </a:lnTo>
                  <a:lnTo>
                    <a:pt x="186" y="1145"/>
                  </a:lnTo>
                  <a:lnTo>
                    <a:pt x="186" y="1143"/>
                  </a:lnTo>
                  <a:lnTo>
                    <a:pt x="186" y="1140"/>
                  </a:lnTo>
                  <a:lnTo>
                    <a:pt x="187" y="1137"/>
                  </a:lnTo>
                  <a:lnTo>
                    <a:pt x="187" y="1135"/>
                  </a:lnTo>
                  <a:lnTo>
                    <a:pt x="187" y="1134"/>
                  </a:lnTo>
                  <a:lnTo>
                    <a:pt x="187" y="1131"/>
                  </a:lnTo>
                  <a:lnTo>
                    <a:pt x="187" y="1129"/>
                  </a:lnTo>
                  <a:lnTo>
                    <a:pt x="186" y="1126"/>
                  </a:lnTo>
                  <a:lnTo>
                    <a:pt x="185" y="1125"/>
                  </a:lnTo>
                  <a:lnTo>
                    <a:pt x="183" y="1125"/>
                  </a:lnTo>
                  <a:lnTo>
                    <a:pt x="182" y="1124"/>
                  </a:lnTo>
                  <a:lnTo>
                    <a:pt x="183" y="1122"/>
                  </a:lnTo>
                  <a:lnTo>
                    <a:pt x="186" y="1118"/>
                  </a:lnTo>
                  <a:lnTo>
                    <a:pt x="187" y="1117"/>
                  </a:lnTo>
                  <a:lnTo>
                    <a:pt x="191" y="1117"/>
                  </a:lnTo>
                  <a:lnTo>
                    <a:pt x="192" y="1116"/>
                  </a:lnTo>
                  <a:lnTo>
                    <a:pt x="193" y="1113"/>
                  </a:lnTo>
                  <a:lnTo>
                    <a:pt x="194" y="1114"/>
                  </a:lnTo>
                  <a:lnTo>
                    <a:pt x="197" y="1114"/>
                  </a:lnTo>
                  <a:lnTo>
                    <a:pt x="199" y="1114"/>
                  </a:lnTo>
                  <a:lnTo>
                    <a:pt x="200" y="1114"/>
                  </a:lnTo>
                  <a:lnTo>
                    <a:pt x="201" y="1116"/>
                  </a:lnTo>
                  <a:lnTo>
                    <a:pt x="203" y="1116"/>
                  </a:lnTo>
                  <a:lnTo>
                    <a:pt x="205" y="1117"/>
                  </a:lnTo>
                  <a:lnTo>
                    <a:pt x="206" y="1116"/>
                  </a:lnTo>
                  <a:lnTo>
                    <a:pt x="207" y="1114"/>
                  </a:lnTo>
                  <a:lnTo>
                    <a:pt x="207" y="1116"/>
                  </a:lnTo>
                  <a:lnTo>
                    <a:pt x="209" y="1114"/>
                  </a:lnTo>
                  <a:lnTo>
                    <a:pt x="209" y="1113"/>
                  </a:lnTo>
                  <a:lnTo>
                    <a:pt x="210" y="1112"/>
                  </a:lnTo>
                  <a:lnTo>
                    <a:pt x="211" y="1112"/>
                  </a:lnTo>
                  <a:lnTo>
                    <a:pt x="214" y="1111"/>
                  </a:lnTo>
                  <a:lnTo>
                    <a:pt x="214" y="1110"/>
                  </a:lnTo>
                  <a:lnTo>
                    <a:pt x="215" y="1107"/>
                  </a:lnTo>
                  <a:lnTo>
                    <a:pt x="218" y="1107"/>
                  </a:lnTo>
                  <a:lnTo>
                    <a:pt x="220" y="1106"/>
                  </a:lnTo>
                  <a:lnTo>
                    <a:pt x="220" y="1108"/>
                  </a:lnTo>
                  <a:lnTo>
                    <a:pt x="221" y="1111"/>
                  </a:lnTo>
                  <a:lnTo>
                    <a:pt x="223" y="1110"/>
                  </a:lnTo>
                  <a:lnTo>
                    <a:pt x="223" y="1108"/>
                  </a:lnTo>
                  <a:lnTo>
                    <a:pt x="223" y="1107"/>
                  </a:lnTo>
                  <a:lnTo>
                    <a:pt x="223" y="1105"/>
                  </a:lnTo>
                  <a:lnTo>
                    <a:pt x="223" y="1102"/>
                  </a:lnTo>
                  <a:lnTo>
                    <a:pt x="224" y="1105"/>
                  </a:lnTo>
                  <a:lnTo>
                    <a:pt x="224" y="1107"/>
                  </a:lnTo>
                  <a:lnTo>
                    <a:pt x="224" y="1108"/>
                  </a:lnTo>
                  <a:lnTo>
                    <a:pt x="226" y="1108"/>
                  </a:lnTo>
                  <a:lnTo>
                    <a:pt x="226" y="1111"/>
                  </a:lnTo>
                  <a:lnTo>
                    <a:pt x="224" y="1112"/>
                  </a:lnTo>
                  <a:lnTo>
                    <a:pt x="226" y="1113"/>
                  </a:lnTo>
                  <a:lnTo>
                    <a:pt x="227" y="1112"/>
                  </a:lnTo>
                  <a:lnTo>
                    <a:pt x="228" y="1112"/>
                  </a:lnTo>
                  <a:lnTo>
                    <a:pt x="229" y="1112"/>
                  </a:lnTo>
                  <a:lnTo>
                    <a:pt x="229" y="1113"/>
                  </a:lnTo>
                  <a:lnTo>
                    <a:pt x="230" y="1113"/>
                  </a:lnTo>
                  <a:lnTo>
                    <a:pt x="230" y="1112"/>
                  </a:lnTo>
                  <a:lnTo>
                    <a:pt x="230" y="1110"/>
                  </a:lnTo>
                  <a:lnTo>
                    <a:pt x="232" y="1110"/>
                  </a:lnTo>
                  <a:lnTo>
                    <a:pt x="233" y="1112"/>
                  </a:lnTo>
                  <a:lnTo>
                    <a:pt x="233" y="1114"/>
                  </a:lnTo>
                  <a:lnTo>
                    <a:pt x="233" y="1116"/>
                  </a:lnTo>
                  <a:lnTo>
                    <a:pt x="234" y="1116"/>
                  </a:lnTo>
                  <a:lnTo>
                    <a:pt x="235" y="1117"/>
                  </a:lnTo>
                  <a:lnTo>
                    <a:pt x="239" y="1114"/>
                  </a:lnTo>
                  <a:lnTo>
                    <a:pt x="239" y="1119"/>
                  </a:lnTo>
                  <a:lnTo>
                    <a:pt x="240" y="1116"/>
                  </a:lnTo>
                  <a:lnTo>
                    <a:pt x="239" y="1113"/>
                  </a:lnTo>
                  <a:lnTo>
                    <a:pt x="242" y="1116"/>
                  </a:lnTo>
                  <a:lnTo>
                    <a:pt x="242" y="1117"/>
                  </a:lnTo>
                  <a:lnTo>
                    <a:pt x="242" y="1118"/>
                  </a:lnTo>
                  <a:lnTo>
                    <a:pt x="242" y="1119"/>
                  </a:lnTo>
                  <a:lnTo>
                    <a:pt x="242" y="1122"/>
                  </a:lnTo>
                  <a:lnTo>
                    <a:pt x="244" y="1120"/>
                  </a:lnTo>
                  <a:lnTo>
                    <a:pt x="245" y="1119"/>
                  </a:lnTo>
                  <a:lnTo>
                    <a:pt x="247" y="1118"/>
                  </a:lnTo>
                  <a:lnTo>
                    <a:pt x="248" y="1117"/>
                  </a:lnTo>
                  <a:lnTo>
                    <a:pt x="248" y="1119"/>
                  </a:lnTo>
                  <a:lnTo>
                    <a:pt x="250" y="1120"/>
                  </a:lnTo>
                  <a:lnTo>
                    <a:pt x="251" y="1122"/>
                  </a:lnTo>
                  <a:lnTo>
                    <a:pt x="252" y="1122"/>
                  </a:lnTo>
                  <a:lnTo>
                    <a:pt x="253" y="1120"/>
                  </a:lnTo>
                  <a:lnTo>
                    <a:pt x="256" y="1119"/>
                  </a:lnTo>
                  <a:lnTo>
                    <a:pt x="257" y="1118"/>
                  </a:lnTo>
                  <a:lnTo>
                    <a:pt x="259" y="1117"/>
                  </a:lnTo>
                  <a:lnTo>
                    <a:pt x="260" y="1116"/>
                  </a:lnTo>
                  <a:lnTo>
                    <a:pt x="260" y="1114"/>
                  </a:lnTo>
                  <a:lnTo>
                    <a:pt x="262" y="1113"/>
                  </a:lnTo>
                  <a:lnTo>
                    <a:pt x="262" y="1116"/>
                  </a:lnTo>
                  <a:lnTo>
                    <a:pt x="262" y="1118"/>
                  </a:lnTo>
                  <a:lnTo>
                    <a:pt x="263" y="1118"/>
                  </a:lnTo>
                  <a:lnTo>
                    <a:pt x="264" y="1119"/>
                  </a:lnTo>
                  <a:lnTo>
                    <a:pt x="266" y="1120"/>
                  </a:lnTo>
                  <a:lnTo>
                    <a:pt x="268" y="1122"/>
                  </a:lnTo>
                  <a:lnTo>
                    <a:pt x="269" y="1123"/>
                  </a:lnTo>
                  <a:lnTo>
                    <a:pt x="269" y="1124"/>
                  </a:lnTo>
                  <a:lnTo>
                    <a:pt x="270" y="1125"/>
                  </a:lnTo>
                  <a:lnTo>
                    <a:pt x="273" y="1125"/>
                  </a:lnTo>
                  <a:lnTo>
                    <a:pt x="271" y="1128"/>
                  </a:lnTo>
                  <a:lnTo>
                    <a:pt x="271" y="1129"/>
                  </a:lnTo>
                  <a:lnTo>
                    <a:pt x="273" y="1128"/>
                  </a:lnTo>
                  <a:lnTo>
                    <a:pt x="274" y="1128"/>
                  </a:lnTo>
                  <a:lnTo>
                    <a:pt x="274" y="1130"/>
                  </a:lnTo>
                  <a:lnTo>
                    <a:pt x="274" y="1133"/>
                  </a:lnTo>
                  <a:lnTo>
                    <a:pt x="275" y="1133"/>
                  </a:lnTo>
                  <a:lnTo>
                    <a:pt x="276" y="1133"/>
                  </a:lnTo>
                  <a:lnTo>
                    <a:pt x="279" y="1131"/>
                  </a:lnTo>
                  <a:lnTo>
                    <a:pt x="279" y="1133"/>
                  </a:lnTo>
                  <a:lnTo>
                    <a:pt x="276" y="1134"/>
                  </a:lnTo>
                  <a:lnTo>
                    <a:pt x="275" y="1136"/>
                  </a:lnTo>
                  <a:lnTo>
                    <a:pt x="276" y="1136"/>
                  </a:lnTo>
                  <a:lnTo>
                    <a:pt x="277" y="1136"/>
                  </a:lnTo>
                  <a:lnTo>
                    <a:pt x="280" y="1135"/>
                  </a:lnTo>
                  <a:lnTo>
                    <a:pt x="282" y="1133"/>
                  </a:lnTo>
                  <a:lnTo>
                    <a:pt x="285" y="1131"/>
                  </a:lnTo>
                  <a:lnTo>
                    <a:pt x="286" y="1131"/>
                  </a:lnTo>
                  <a:lnTo>
                    <a:pt x="287" y="1130"/>
                  </a:lnTo>
                  <a:lnTo>
                    <a:pt x="289" y="1130"/>
                  </a:lnTo>
                  <a:lnTo>
                    <a:pt x="291" y="1130"/>
                  </a:lnTo>
                  <a:lnTo>
                    <a:pt x="292" y="1129"/>
                  </a:lnTo>
                  <a:lnTo>
                    <a:pt x="293" y="1128"/>
                  </a:lnTo>
                  <a:lnTo>
                    <a:pt x="294" y="1129"/>
                  </a:lnTo>
                  <a:lnTo>
                    <a:pt x="295" y="1129"/>
                  </a:lnTo>
                  <a:lnTo>
                    <a:pt x="297" y="1128"/>
                  </a:lnTo>
                  <a:lnTo>
                    <a:pt x="298" y="1128"/>
                  </a:lnTo>
                  <a:lnTo>
                    <a:pt x="300" y="1128"/>
                  </a:lnTo>
                  <a:lnTo>
                    <a:pt x="301" y="1128"/>
                  </a:lnTo>
                  <a:lnTo>
                    <a:pt x="303" y="1129"/>
                  </a:lnTo>
                  <a:lnTo>
                    <a:pt x="303" y="1130"/>
                  </a:lnTo>
                  <a:lnTo>
                    <a:pt x="304" y="1130"/>
                  </a:lnTo>
                  <a:lnTo>
                    <a:pt x="305" y="1130"/>
                  </a:lnTo>
                  <a:lnTo>
                    <a:pt x="305" y="1129"/>
                  </a:lnTo>
                  <a:lnTo>
                    <a:pt x="306" y="1129"/>
                  </a:lnTo>
                  <a:lnTo>
                    <a:pt x="307" y="1126"/>
                  </a:lnTo>
                  <a:lnTo>
                    <a:pt x="307" y="1124"/>
                  </a:lnTo>
                  <a:lnTo>
                    <a:pt x="307" y="1122"/>
                  </a:lnTo>
                  <a:lnTo>
                    <a:pt x="309" y="1123"/>
                  </a:lnTo>
                  <a:lnTo>
                    <a:pt x="309" y="1125"/>
                  </a:lnTo>
                  <a:lnTo>
                    <a:pt x="309" y="1126"/>
                  </a:lnTo>
                  <a:lnTo>
                    <a:pt x="309" y="1130"/>
                  </a:lnTo>
                  <a:lnTo>
                    <a:pt x="310" y="1130"/>
                  </a:lnTo>
                  <a:lnTo>
                    <a:pt x="310" y="1131"/>
                  </a:lnTo>
                  <a:lnTo>
                    <a:pt x="310" y="1133"/>
                  </a:lnTo>
                  <a:lnTo>
                    <a:pt x="311" y="1135"/>
                  </a:lnTo>
                  <a:lnTo>
                    <a:pt x="311" y="1136"/>
                  </a:lnTo>
                  <a:lnTo>
                    <a:pt x="311" y="1139"/>
                  </a:lnTo>
                  <a:lnTo>
                    <a:pt x="312" y="1140"/>
                  </a:lnTo>
                  <a:lnTo>
                    <a:pt x="313" y="1141"/>
                  </a:lnTo>
                  <a:lnTo>
                    <a:pt x="312" y="1145"/>
                  </a:lnTo>
                  <a:lnTo>
                    <a:pt x="313" y="1146"/>
                  </a:lnTo>
                  <a:lnTo>
                    <a:pt x="313" y="1147"/>
                  </a:lnTo>
                  <a:lnTo>
                    <a:pt x="313" y="1149"/>
                  </a:lnTo>
                  <a:lnTo>
                    <a:pt x="315" y="1151"/>
                  </a:lnTo>
                  <a:lnTo>
                    <a:pt x="316" y="1152"/>
                  </a:lnTo>
                  <a:lnTo>
                    <a:pt x="317" y="1155"/>
                  </a:lnTo>
                  <a:lnTo>
                    <a:pt x="317" y="1157"/>
                  </a:lnTo>
                  <a:lnTo>
                    <a:pt x="318" y="1159"/>
                  </a:lnTo>
                  <a:lnTo>
                    <a:pt x="319" y="1161"/>
                  </a:lnTo>
                  <a:lnTo>
                    <a:pt x="322" y="1163"/>
                  </a:lnTo>
                  <a:lnTo>
                    <a:pt x="325" y="1164"/>
                  </a:lnTo>
                  <a:lnTo>
                    <a:pt x="327" y="1163"/>
                  </a:lnTo>
                  <a:lnTo>
                    <a:pt x="328" y="1163"/>
                  </a:lnTo>
                  <a:lnTo>
                    <a:pt x="329" y="1163"/>
                  </a:lnTo>
                  <a:lnTo>
                    <a:pt x="330" y="1161"/>
                  </a:lnTo>
                  <a:lnTo>
                    <a:pt x="333" y="1161"/>
                  </a:lnTo>
                  <a:lnTo>
                    <a:pt x="333" y="1159"/>
                  </a:lnTo>
                  <a:lnTo>
                    <a:pt x="334" y="1159"/>
                  </a:lnTo>
                  <a:lnTo>
                    <a:pt x="336" y="1159"/>
                  </a:lnTo>
                  <a:lnTo>
                    <a:pt x="338" y="1158"/>
                  </a:lnTo>
                  <a:lnTo>
                    <a:pt x="338" y="1157"/>
                  </a:lnTo>
                  <a:lnTo>
                    <a:pt x="339" y="1157"/>
                  </a:lnTo>
                  <a:lnTo>
                    <a:pt x="340" y="1157"/>
                  </a:lnTo>
                  <a:lnTo>
                    <a:pt x="341" y="1157"/>
                  </a:lnTo>
                  <a:lnTo>
                    <a:pt x="342" y="1158"/>
                  </a:lnTo>
                  <a:lnTo>
                    <a:pt x="342" y="1160"/>
                  </a:lnTo>
                  <a:lnTo>
                    <a:pt x="342" y="1161"/>
                  </a:lnTo>
                  <a:lnTo>
                    <a:pt x="344" y="1160"/>
                  </a:lnTo>
                  <a:lnTo>
                    <a:pt x="344" y="1161"/>
                  </a:lnTo>
                  <a:lnTo>
                    <a:pt x="344" y="1163"/>
                  </a:lnTo>
                  <a:lnTo>
                    <a:pt x="345" y="1164"/>
                  </a:lnTo>
                  <a:lnTo>
                    <a:pt x="345" y="1163"/>
                  </a:lnTo>
                  <a:lnTo>
                    <a:pt x="346" y="1163"/>
                  </a:lnTo>
                  <a:lnTo>
                    <a:pt x="346" y="1164"/>
                  </a:lnTo>
                  <a:lnTo>
                    <a:pt x="346" y="1166"/>
                  </a:lnTo>
                  <a:lnTo>
                    <a:pt x="347" y="1165"/>
                  </a:lnTo>
                  <a:lnTo>
                    <a:pt x="347" y="1166"/>
                  </a:lnTo>
                  <a:lnTo>
                    <a:pt x="347" y="1169"/>
                  </a:lnTo>
                  <a:lnTo>
                    <a:pt x="347" y="1170"/>
                  </a:lnTo>
                  <a:lnTo>
                    <a:pt x="347" y="1171"/>
                  </a:lnTo>
                  <a:lnTo>
                    <a:pt x="348" y="1172"/>
                  </a:lnTo>
                  <a:lnTo>
                    <a:pt x="350" y="1172"/>
                  </a:lnTo>
                  <a:lnTo>
                    <a:pt x="348" y="1173"/>
                  </a:lnTo>
                  <a:lnTo>
                    <a:pt x="350" y="1176"/>
                  </a:lnTo>
                  <a:lnTo>
                    <a:pt x="350" y="1177"/>
                  </a:lnTo>
                  <a:lnTo>
                    <a:pt x="350" y="1179"/>
                  </a:lnTo>
                  <a:lnTo>
                    <a:pt x="350" y="1181"/>
                  </a:lnTo>
                  <a:lnTo>
                    <a:pt x="351" y="1182"/>
                  </a:lnTo>
                  <a:lnTo>
                    <a:pt x="351" y="1194"/>
                  </a:lnTo>
                  <a:lnTo>
                    <a:pt x="351" y="1207"/>
                  </a:lnTo>
                  <a:lnTo>
                    <a:pt x="351" y="1220"/>
                  </a:lnTo>
                  <a:lnTo>
                    <a:pt x="351" y="1237"/>
                  </a:lnTo>
                  <a:lnTo>
                    <a:pt x="351" y="1241"/>
                  </a:lnTo>
                  <a:lnTo>
                    <a:pt x="351" y="1244"/>
                  </a:lnTo>
                  <a:lnTo>
                    <a:pt x="353" y="1247"/>
                  </a:lnTo>
                  <a:lnTo>
                    <a:pt x="357" y="1247"/>
                  </a:lnTo>
                  <a:lnTo>
                    <a:pt x="386" y="1247"/>
                  </a:lnTo>
                  <a:lnTo>
                    <a:pt x="387" y="1221"/>
                  </a:lnTo>
                  <a:lnTo>
                    <a:pt x="387" y="1199"/>
                  </a:lnTo>
                  <a:lnTo>
                    <a:pt x="388" y="1175"/>
                  </a:lnTo>
                  <a:lnTo>
                    <a:pt x="388" y="1169"/>
                  </a:lnTo>
                  <a:lnTo>
                    <a:pt x="391" y="1167"/>
                  </a:lnTo>
                  <a:lnTo>
                    <a:pt x="392" y="1166"/>
                  </a:lnTo>
                  <a:lnTo>
                    <a:pt x="394" y="1166"/>
                  </a:lnTo>
                  <a:lnTo>
                    <a:pt x="395" y="1165"/>
                  </a:lnTo>
                  <a:lnTo>
                    <a:pt x="397" y="1164"/>
                  </a:lnTo>
                  <a:lnTo>
                    <a:pt x="398" y="1163"/>
                  </a:lnTo>
                  <a:lnTo>
                    <a:pt x="399" y="1161"/>
                  </a:lnTo>
                  <a:lnTo>
                    <a:pt x="400" y="1160"/>
                  </a:lnTo>
                  <a:lnTo>
                    <a:pt x="401" y="1159"/>
                  </a:lnTo>
                  <a:lnTo>
                    <a:pt x="403" y="1158"/>
                  </a:lnTo>
                  <a:lnTo>
                    <a:pt x="401" y="1158"/>
                  </a:lnTo>
                  <a:lnTo>
                    <a:pt x="401" y="1157"/>
                  </a:lnTo>
                  <a:lnTo>
                    <a:pt x="400" y="1154"/>
                  </a:lnTo>
                  <a:lnTo>
                    <a:pt x="400" y="1153"/>
                  </a:lnTo>
                  <a:lnTo>
                    <a:pt x="400" y="1152"/>
                  </a:lnTo>
                  <a:lnTo>
                    <a:pt x="400" y="1151"/>
                  </a:lnTo>
                  <a:lnTo>
                    <a:pt x="399" y="1148"/>
                  </a:lnTo>
                  <a:lnTo>
                    <a:pt x="398" y="1149"/>
                  </a:lnTo>
                  <a:lnTo>
                    <a:pt x="398" y="1148"/>
                  </a:lnTo>
                  <a:lnTo>
                    <a:pt x="397" y="1147"/>
                  </a:lnTo>
                  <a:lnTo>
                    <a:pt x="398" y="1146"/>
                  </a:lnTo>
                  <a:lnTo>
                    <a:pt x="398" y="1145"/>
                  </a:lnTo>
                  <a:lnTo>
                    <a:pt x="398" y="1142"/>
                  </a:lnTo>
                  <a:lnTo>
                    <a:pt x="399" y="1141"/>
                  </a:lnTo>
                  <a:lnTo>
                    <a:pt x="400" y="1139"/>
                  </a:lnTo>
                  <a:lnTo>
                    <a:pt x="401" y="1137"/>
                  </a:lnTo>
                  <a:lnTo>
                    <a:pt x="404" y="1137"/>
                  </a:lnTo>
                  <a:lnTo>
                    <a:pt x="405" y="1137"/>
                  </a:lnTo>
                  <a:lnTo>
                    <a:pt x="406" y="1137"/>
                  </a:lnTo>
                  <a:lnTo>
                    <a:pt x="410" y="1140"/>
                  </a:lnTo>
                  <a:lnTo>
                    <a:pt x="412" y="1140"/>
                  </a:lnTo>
                  <a:lnTo>
                    <a:pt x="415" y="1141"/>
                  </a:lnTo>
                  <a:lnTo>
                    <a:pt x="417" y="1141"/>
                  </a:lnTo>
                  <a:lnTo>
                    <a:pt x="417" y="1140"/>
                  </a:lnTo>
                  <a:lnTo>
                    <a:pt x="418" y="1140"/>
                  </a:lnTo>
                  <a:lnTo>
                    <a:pt x="418" y="1141"/>
                  </a:lnTo>
                  <a:lnTo>
                    <a:pt x="419" y="1142"/>
                  </a:lnTo>
                  <a:lnTo>
                    <a:pt x="421" y="1141"/>
                  </a:lnTo>
                  <a:lnTo>
                    <a:pt x="422" y="1142"/>
                  </a:lnTo>
                  <a:lnTo>
                    <a:pt x="423" y="1145"/>
                  </a:lnTo>
                  <a:lnTo>
                    <a:pt x="425" y="1146"/>
                  </a:lnTo>
                  <a:lnTo>
                    <a:pt x="427" y="1148"/>
                  </a:lnTo>
                  <a:lnTo>
                    <a:pt x="429" y="1149"/>
                  </a:lnTo>
                  <a:lnTo>
                    <a:pt x="430" y="1149"/>
                  </a:lnTo>
                  <a:lnTo>
                    <a:pt x="430" y="1152"/>
                  </a:lnTo>
                  <a:lnTo>
                    <a:pt x="430" y="1153"/>
                  </a:lnTo>
                  <a:lnTo>
                    <a:pt x="430" y="1154"/>
                  </a:lnTo>
                  <a:lnTo>
                    <a:pt x="431" y="1153"/>
                  </a:lnTo>
                  <a:lnTo>
                    <a:pt x="433" y="1154"/>
                  </a:lnTo>
                  <a:lnTo>
                    <a:pt x="434" y="1154"/>
                  </a:lnTo>
                  <a:lnTo>
                    <a:pt x="434" y="1155"/>
                  </a:lnTo>
                  <a:lnTo>
                    <a:pt x="435" y="1158"/>
                  </a:lnTo>
                  <a:lnTo>
                    <a:pt x="436" y="1155"/>
                  </a:lnTo>
                  <a:lnTo>
                    <a:pt x="436" y="1158"/>
                  </a:lnTo>
                  <a:lnTo>
                    <a:pt x="436" y="1159"/>
                  </a:lnTo>
                  <a:lnTo>
                    <a:pt x="436" y="1160"/>
                  </a:lnTo>
                  <a:lnTo>
                    <a:pt x="439" y="1160"/>
                  </a:lnTo>
                  <a:lnTo>
                    <a:pt x="439" y="1159"/>
                  </a:lnTo>
                  <a:lnTo>
                    <a:pt x="440" y="1159"/>
                  </a:lnTo>
                  <a:lnTo>
                    <a:pt x="441" y="1160"/>
                  </a:lnTo>
                  <a:lnTo>
                    <a:pt x="442" y="1160"/>
                  </a:lnTo>
                  <a:lnTo>
                    <a:pt x="442" y="1159"/>
                  </a:lnTo>
                  <a:lnTo>
                    <a:pt x="443" y="1159"/>
                  </a:lnTo>
                  <a:lnTo>
                    <a:pt x="443" y="1160"/>
                  </a:lnTo>
                  <a:lnTo>
                    <a:pt x="446" y="1160"/>
                  </a:lnTo>
                  <a:lnTo>
                    <a:pt x="450" y="1159"/>
                  </a:lnTo>
                  <a:lnTo>
                    <a:pt x="452" y="1157"/>
                  </a:lnTo>
                  <a:lnTo>
                    <a:pt x="454" y="1155"/>
                  </a:lnTo>
                  <a:lnTo>
                    <a:pt x="456" y="1152"/>
                  </a:lnTo>
                  <a:lnTo>
                    <a:pt x="457" y="1153"/>
                  </a:lnTo>
                  <a:lnTo>
                    <a:pt x="457" y="1155"/>
                  </a:lnTo>
                  <a:lnTo>
                    <a:pt x="457" y="1157"/>
                  </a:lnTo>
                  <a:lnTo>
                    <a:pt x="459" y="1155"/>
                  </a:lnTo>
                  <a:lnTo>
                    <a:pt x="459" y="1154"/>
                  </a:lnTo>
                  <a:lnTo>
                    <a:pt x="460" y="1155"/>
                  </a:lnTo>
                  <a:lnTo>
                    <a:pt x="462" y="1157"/>
                  </a:lnTo>
                  <a:lnTo>
                    <a:pt x="463" y="1157"/>
                  </a:lnTo>
                  <a:lnTo>
                    <a:pt x="463" y="1154"/>
                  </a:lnTo>
                  <a:lnTo>
                    <a:pt x="464" y="1154"/>
                  </a:lnTo>
                  <a:lnTo>
                    <a:pt x="465" y="1155"/>
                  </a:lnTo>
                  <a:lnTo>
                    <a:pt x="466" y="1155"/>
                  </a:lnTo>
                  <a:lnTo>
                    <a:pt x="466" y="1154"/>
                  </a:lnTo>
                  <a:lnTo>
                    <a:pt x="468" y="1153"/>
                  </a:lnTo>
                  <a:lnTo>
                    <a:pt x="469" y="1153"/>
                  </a:lnTo>
                  <a:lnTo>
                    <a:pt x="470" y="1151"/>
                  </a:lnTo>
                  <a:lnTo>
                    <a:pt x="471" y="1149"/>
                  </a:lnTo>
                  <a:lnTo>
                    <a:pt x="472" y="1148"/>
                  </a:lnTo>
                  <a:lnTo>
                    <a:pt x="472" y="1146"/>
                  </a:lnTo>
                  <a:lnTo>
                    <a:pt x="474" y="1145"/>
                  </a:lnTo>
                  <a:lnTo>
                    <a:pt x="474" y="1143"/>
                  </a:lnTo>
                  <a:lnTo>
                    <a:pt x="475" y="1141"/>
                  </a:lnTo>
                  <a:lnTo>
                    <a:pt x="477" y="1141"/>
                  </a:lnTo>
                  <a:lnTo>
                    <a:pt x="480" y="1140"/>
                  </a:lnTo>
                  <a:lnTo>
                    <a:pt x="481" y="1139"/>
                  </a:lnTo>
                  <a:lnTo>
                    <a:pt x="481" y="1136"/>
                  </a:lnTo>
                  <a:lnTo>
                    <a:pt x="482" y="1135"/>
                  </a:lnTo>
                  <a:lnTo>
                    <a:pt x="482" y="1137"/>
                  </a:lnTo>
                  <a:lnTo>
                    <a:pt x="483" y="1139"/>
                  </a:lnTo>
                  <a:lnTo>
                    <a:pt x="484" y="1137"/>
                  </a:lnTo>
                  <a:lnTo>
                    <a:pt x="486" y="1137"/>
                  </a:lnTo>
                  <a:lnTo>
                    <a:pt x="487" y="1137"/>
                  </a:lnTo>
                  <a:lnTo>
                    <a:pt x="488" y="1137"/>
                  </a:lnTo>
                  <a:lnTo>
                    <a:pt x="488" y="1136"/>
                  </a:lnTo>
                  <a:lnTo>
                    <a:pt x="489" y="1137"/>
                  </a:lnTo>
                  <a:lnTo>
                    <a:pt x="490" y="1137"/>
                  </a:lnTo>
                  <a:lnTo>
                    <a:pt x="492" y="1139"/>
                  </a:lnTo>
                  <a:lnTo>
                    <a:pt x="492" y="1140"/>
                  </a:lnTo>
                  <a:lnTo>
                    <a:pt x="493" y="1140"/>
                  </a:lnTo>
                  <a:lnTo>
                    <a:pt x="494" y="1139"/>
                  </a:lnTo>
                  <a:lnTo>
                    <a:pt x="495" y="1137"/>
                  </a:lnTo>
                  <a:lnTo>
                    <a:pt x="496" y="1139"/>
                  </a:lnTo>
                  <a:lnTo>
                    <a:pt x="496" y="1137"/>
                  </a:lnTo>
                  <a:lnTo>
                    <a:pt x="498" y="1137"/>
                  </a:lnTo>
                  <a:lnTo>
                    <a:pt x="499" y="1137"/>
                  </a:lnTo>
                  <a:lnTo>
                    <a:pt x="501" y="1137"/>
                  </a:lnTo>
                  <a:lnTo>
                    <a:pt x="502" y="1139"/>
                  </a:lnTo>
                  <a:lnTo>
                    <a:pt x="507" y="1142"/>
                  </a:lnTo>
                  <a:lnTo>
                    <a:pt x="509" y="1146"/>
                  </a:lnTo>
                  <a:lnTo>
                    <a:pt x="510" y="1147"/>
                  </a:lnTo>
                  <a:lnTo>
                    <a:pt x="511" y="1149"/>
                  </a:lnTo>
                  <a:lnTo>
                    <a:pt x="512" y="1151"/>
                  </a:lnTo>
                  <a:lnTo>
                    <a:pt x="516" y="1152"/>
                  </a:lnTo>
                  <a:lnTo>
                    <a:pt x="518" y="1153"/>
                  </a:lnTo>
                  <a:lnTo>
                    <a:pt x="521" y="1152"/>
                  </a:lnTo>
                  <a:lnTo>
                    <a:pt x="523" y="1151"/>
                  </a:lnTo>
                  <a:lnTo>
                    <a:pt x="523" y="1149"/>
                  </a:lnTo>
                  <a:lnTo>
                    <a:pt x="524" y="1147"/>
                  </a:lnTo>
                  <a:lnTo>
                    <a:pt x="524" y="1146"/>
                  </a:lnTo>
                  <a:lnTo>
                    <a:pt x="523" y="1141"/>
                  </a:lnTo>
                  <a:lnTo>
                    <a:pt x="523" y="1139"/>
                  </a:lnTo>
                  <a:lnTo>
                    <a:pt x="524" y="1139"/>
                  </a:lnTo>
                  <a:lnTo>
                    <a:pt x="524" y="1140"/>
                  </a:lnTo>
                  <a:lnTo>
                    <a:pt x="524" y="1145"/>
                  </a:lnTo>
                  <a:lnTo>
                    <a:pt x="524" y="1147"/>
                  </a:lnTo>
                  <a:lnTo>
                    <a:pt x="525" y="1148"/>
                  </a:lnTo>
                  <a:lnTo>
                    <a:pt x="527" y="1148"/>
                  </a:lnTo>
                  <a:lnTo>
                    <a:pt x="528" y="1148"/>
                  </a:lnTo>
                  <a:lnTo>
                    <a:pt x="529" y="1147"/>
                  </a:lnTo>
                  <a:lnTo>
                    <a:pt x="529" y="1146"/>
                  </a:lnTo>
                  <a:lnTo>
                    <a:pt x="529" y="1142"/>
                  </a:lnTo>
                  <a:lnTo>
                    <a:pt x="529" y="1139"/>
                  </a:lnTo>
                  <a:lnTo>
                    <a:pt x="530" y="1141"/>
                  </a:lnTo>
                  <a:lnTo>
                    <a:pt x="530" y="1142"/>
                  </a:lnTo>
                  <a:lnTo>
                    <a:pt x="530" y="1145"/>
                  </a:lnTo>
                  <a:lnTo>
                    <a:pt x="530" y="1147"/>
                  </a:lnTo>
                  <a:lnTo>
                    <a:pt x="531" y="1148"/>
                  </a:lnTo>
                  <a:lnTo>
                    <a:pt x="533" y="1149"/>
                  </a:lnTo>
                  <a:lnTo>
                    <a:pt x="533" y="1147"/>
                  </a:lnTo>
                  <a:lnTo>
                    <a:pt x="533" y="1146"/>
                  </a:lnTo>
                  <a:lnTo>
                    <a:pt x="534" y="1145"/>
                  </a:lnTo>
                  <a:lnTo>
                    <a:pt x="535" y="1145"/>
                  </a:lnTo>
                  <a:lnTo>
                    <a:pt x="535" y="1148"/>
                  </a:lnTo>
                  <a:lnTo>
                    <a:pt x="535" y="1149"/>
                  </a:lnTo>
                  <a:lnTo>
                    <a:pt x="536" y="1149"/>
                  </a:lnTo>
                  <a:lnTo>
                    <a:pt x="537" y="1149"/>
                  </a:lnTo>
                  <a:lnTo>
                    <a:pt x="537" y="1148"/>
                  </a:lnTo>
                  <a:lnTo>
                    <a:pt x="537" y="1147"/>
                  </a:lnTo>
                  <a:lnTo>
                    <a:pt x="539" y="1146"/>
                  </a:lnTo>
                  <a:lnTo>
                    <a:pt x="539" y="1143"/>
                  </a:lnTo>
                  <a:lnTo>
                    <a:pt x="539" y="1142"/>
                  </a:lnTo>
                  <a:lnTo>
                    <a:pt x="540" y="1142"/>
                  </a:lnTo>
                  <a:lnTo>
                    <a:pt x="540" y="1143"/>
                  </a:lnTo>
                  <a:lnTo>
                    <a:pt x="542" y="1147"/>
                  </a:lnTo>
                  <a:lnTo>
                    <a:pt x="545" y="1148"/>
                  </a:lnTo>
                  <a:lnTo>
                    <a:pt x="547" y="1147"/>
                  </a:lnTo>
                  <a:lnTo>
                    <a:pt x="547" y="1145"/>
                  </a:lnTo>
                  <a:lnTo>
                    <a:pt x="548" y="1146"/>
                  </a:lnTo>
                  <a:lnTo>
                    <a:pt x="548" y="1147"/>
                  </a:lnTo>
                  <a:lnTo>
                    <a:pt x="548" y="1148"/>
                  </a:lnTo>
                  <a:lnTo>
                    <a:pt x="549" y="1151"/>
                  </a:lnTo>
                  <a:lnTo>
                    <a:pt x="549" y="1149"/>
                  </a:lnTo>
                  <a:lnTo>
                    <a:pt x="551" y="1148"/>
                  </a:lnTo>
                  <a:lnTo>
                    <a:pt x="552" y="1148"/>
                  </a:lnTo>
                  <a:lnTo>
                    <a:pt x="551" y="1151"/>
                  </a:lnTo>
                  <a:lnTo>
                    <a:pt x="552" y="1151"/>
                  </a:lnTo>
                  <a:lnTo>
                    <a:pt x="552" y="1152"/>
                  </a:lnTo>
                  <a:lnTo>
                    <a:pt x="552" y="1154"/>
                  </a:lnTo>
                  <a:lnTo>
                    <a:pt x="552" y="1155"/>
                  </a:lnTo>
                  <a:lnTo>
                    <a:pt x="553" y="1154"/>
                  </a:lnTo>
                  <a:lnTo>
                    <a:pt x="554" y="1155"/>
                  </a:lnTo>
                  <a:lnTo>
                    <a:pt x="553" y="1157"/>
                  </a:lnTo>
                  <a:lnTo>
                    <a:pt x="554" y="1159"/>
                  </a:lnTo>
                  <a:lnTo>
                    <a:pt x="555" y="1159"/>
                  </a:lnTo>
                  <a:lnTo>
                    <a:pt x="557" y="1160"/>
                  </a:lnTo>
                  <a:lnTo>
                    <a:pt x="558" y="1160"/>
                  </a:lnTo>
                  <a:lnTo>
                    <a:pt x="559" y="1161"/>
                  </a:lnTo>
                  <a:lnTo>
                    <a:pt x="559" y="1163"/>
                  </a:lnTo>
                  <a:lnTo>
                    <a:pt x="560" y="1164"/>
                  </a:lnTo>
                  <a:lnTo>
                    <a:pt x="560" y="1166"/>
                  </a:lnTo>
                  <a:lnTo>
                    <a:pt x="561" y="1166"/>
                  </a:lnTo>
                  <a:lnTo>
                    <a:pt x="561" y="1169"/>
                  </a:lnTo>
                  <a:lnTo>
                    <a:pt x="564" y="1171"/>
                  </a:lnTo>
                  <a:lnTo>
                    <a:pt x="564" y="1172"/>
                  </a:lnTo>
                  <a:lnTo>
                    <a:pt x="564" y="1173"/>
                  </a:lnTo>
                  <a:lnTo>
                    <a:pt x="564" y="1175"/>
                  </a:lnTo>
                  <a:lnTo>
                    <a:pt x="566" y="1177"/>
                  </a:lnTo>
                  <a:lnTo>
                    <a:pt x="567" y="1178"/>
                  </a:lnTo>
                  <a:lnTo>
                    <a:pt x="570" y="1181"/>
                  </a:lnTo>
                  <a:lnTo>
                    <a:pt x="572" y="1182"/>
                  </a:lnTo>
                  <a:lnTo>
                    <a:pt x="574" y="1182"/>
                  </a:lnTo>
                  <a:lnTo>
                    <a:pt x="575" y="1181"/>
                  </a:lnTo>
                  <a:lnTo>
                    <a:pt x="575" y="1179"/>
                  </a:lnTo>
                  <a:lnTo>
                    <a:pt x="575" y="1177"/>
                  </a:lnTo>
                  <a:lnTo>
                    <a:pt x="575" y="1175"/>
                  </a:lnTo>
                  <a:lnTo>
                    <a:pt x="575" y="1173"/>
                  </a:lnTo>
                  <a:lnTo>
                    <a:pt x="575" y="1172"/>
                  </a:lnTo>
                  <a:lnTo>
                    <a:pt x="575" y="1175"/>
                  </a:lnTo>
                  <a:lnTo>
                    <a:pt x="576" y="1177"/>
                  </a:lnTo>
                  <a:lnTo>
                    <a:pt x="576" y="1178"/>
                  </a:lnTo>
                  <a:lnTo>
                    <a:pt x="576" y="1179"/>
                  </a:lnTo>
                  <a:lnTo>
                    <a:pt x="576" y="1183"/>
                  </a:lnTo>
                  <a:lnTo>
                    <a:pt x="576" y="1184"/>
                  </a:lnTo>
                  <a:lnTo>
                    <a:pt x="577" y="1185"/>
                  </a:lnTo>
                  <a:lnTo>
                    <a:pt x="577" y="1187"/>
                  </a:lnTo>
                  <a:lnTo>
                    <a:pt x="580" y="1187"/>
                  </a:lnTo>
                  <a:lnTo>
                    <a:pt x="581" y="1187"/>
                  </a:lnTo>
                  <a:lnTo>
                    <a:pt x="582" y="1188"/>
                  </a:lnTo>
                  <a:lnTo>
                    <a:pt x="583" y="1188"/>
                  </a:lnTo>
                  <a:lnTo>
                    <a:pt x="584" y="1187"/>
                  </a:lnTo>
                  <a:lnTo>
                    <a:pt x="584" y="1185"/>
                  </a:lnTo>
                  <a:lnTo>
                    <a:pt x="586" y="1184"/>
                  </a:lnTo>
                  <a:lnTo>
                    <a:pt x="587" y="1185"/>
                  </a:lnTo>
                  <a:lnTo>
                    <a:pt x="587" y="1184"/>
                  </a:lnTo>
                  <a:lnTo>
                    <a:pt x="587" y="1183"/>
                  </a:lnTo>
                  <a:lnTo>
                    <a:pt x="588" y="1183"/>
                  </a:lnTo>
                  <a:lnTo>
                    <a:pt x="588" y="1182"/>
                  </a:lnTo>
                  <a:lnTo>
                    <a:pt x="589" y="1181"/>
                  </a:lnTo>
                  <a:lnTo>
                    <a:pt x="590" y="1178"/>
                  </a:lnTo>
                  <a:lnTo>
                    <a:pt x="592" y="1177"/>
                  </a:lnTo>
                  <a:lnTo>
                    <a:pt x="593" y="1178"/>
                  </a:lnTo>
                  <a:lnTo>
                    <a:pt x="592" y="1179"/>
                  </a:lnTo>
                  <a:lnTo>
                    <a:pt x="593" y="1181"/>
                  </a:lnTo>
                  <a:lnTo>
                    <a:pt x="594" y="1181"/>
                  </a:lnTo>
                  <a:lnTo>
                    <a:pt x="594" y="1182"/>
                  </a:lnTo>
                  <a:lnTo>
                    <a:pt x="594" y="1183"/>
                  </a:lnTo>
                  <a:lnTo>
                    <a:pt x="593" y="1183"/>
                  </a:lnTo>
                  <a:lnTo>
                    <a:pt x="592" y="1185"/>
                  </a:lnTo>
                  <a:lnTo>
                    <a:pt x="593" y="1185"/>
                  </a:lnTo>
                  <a:lnTo>
                    <a:pt x="594" y="1185"/>
                  </a:lnTo>
                  <a:lnTo>
                    <a:pt x="593" y="1187"/>
                  </a:lnTo>
                  <a:lnTo>
                    <a:pt x="592" y="1187"/>
                  </a:lnTo>
                  <a:lnTo>
                    <a:pt x="592" y="1189"/>
                  </a:lnTo>
                  <a:lnTo>
                    <a:pt x="593" y="1190"/>
                  </a:lnTo>
                  <a:lnTo>
                    <a:pt x="593" y="1193"/>
                  </a:lnTo>
                  <a:lnTo>
                    <a:pt x="593" y="1195"/>
                  </a:lnTo>
                  <a:lnTo>
                    <a:pt x="594" y="1195"/>
                  </a:lnTo>
                  <a:lnTo>
                    <a:pt x="594" y="1196"/>
                  </a:lnTo>
                  <a:lnTo>
                    <a:pt x="593" y="1197"/>
                  </a:lnTo>
                  <a:lnTo>
                    <a:pt x="593" y="1199"/>
                  </a:lnTo>
                  <a:lnTo>
                    <a:pt x="595" y="1199"/>
                  </a:lnTo>
                  <a:lnTo>
                    <a:pt x="595" y="1197"/>
                  </a:lnTo>
                  <a:lnTo>
                    <a:pt x="595" y="1199"/>
                  </a:lnTo>
                  <a:lnTo>
                    <a:pt x="595" y="1200"/>
                  </a:lnTo>
                  <a:lnTo>
                    <a:pt x="598" y="1201"/>
                  </a:lnTo>
                  <a:lnTo>
                    <a:pt x="599" y="1201"/>
                  </a:lnTo>
                  <a:lnTo>
                    <a:pt x="599" y="1202"/>
                  </a:lnTo>
                  <a:lnTo>
                    <a:pt x="601" y="1203"/>
                  </a:lnTo>
                  <a:lnTo>
                    <a:pt x="601" y="1202"/>
                  </a:lnTo>
                  <a:lnTo>
                    <a:pt x="601" y="1205"/>
                  </a:lnTo>
                  <a:lnTo>
                    <a:pt x="604" y="1205"/>
                  </a:lnTo>
                  <a:lnTo>
                    <a:pt x="604" y="1206"/>
                  </a:lnTo>
                  <a:lnTo>
                    <a:pt x="605" y="1207"/>
                  </a:lnTo>
                  <a:lnTo>
                    <a:pt x="606" y="1207"/>
                  </a:lnTo>
                  <a:lnTo>
                    <a:pt x="608" y="1207"/>
                  </a:lnTo>
                  <a:lnTo>
                    <a:pt x="608" y="1205"/>
                  </a:lnTo>
                  <a:lnTo>
                    <a:pt x="607" y="1202"/>
                  </a:lnTo>
                  <a:lnTo>
                    <a:pt x="607" y="1201"/>
                  </a:lnTo>
                  <a:lnTo>
                    <a:pt x="608" y="1201"/>
                  </a:lnTo>
                  <a:lnTo>
                    <a:pt x="610" y="1200"/>
                  </a:lnTo>
                  <a:lnTo>
                    <a:pt x="611" y="1199"/>
                  </a:lnTo>
                  <a:lnTo>
                    <a:pt x="612" y="1197"/>
                  </a:lnTo>
                  <a:lnTo>
                    <a:pt x="614" y="1196"/>
                  </a:lnTo>
                  <a:lnTo>
                    <a:pt x="616" y="1197"/>
                  </a:lnTo>
                  <a:lnTo>
                    <a:pt x="616" y="1195"/>
                  </a:lnTo>
                  <a:lnTo>
                    <a:pt x="617" y="1194"/>
                  </a:lnTo>
                  <a:lnTo>
                    <a:pt x="617" y="1193"/>
                  </a:lnTo>
                  <a:lnTo>
                    <a:pt x="618" y="1191"/>
                  </a:lnTo>
                  <a:lnTo>
                    <a:pt x="619" y="1190"/>
                  </a:lnTo>
                  <a:lnTo>
                    <a:pt x="620" y="1190"/>
                  </a:lnTo>
                  <a:lnTo>
                    <a:pt x="622" y="1189"/>
                  </a:lnTo>
                  <a:lnTo>
                    <a:pt x="623" y="1190"/>
                  </a:lnTo>
                  <a:lnTo>
                    <a:pt x="623" y="1189"/>
                  </a:lnTo>
                  <a:lnTo>
                    <a:pt x="624" y="1189"/>
                  </a:lnTo>
                  <a:lnTo>
                    <a:pt x="625" y="1189"/>
                  </a:lnTo>
                  <a:lnTo>
                    <a:pt x="631" y="1189"/>
                  </a:lnTo>
                  <a:lnTo>
                    <a:pt x="634" y="1187"/>
                  </a:lnTo>
                  <a:lnTo>
                    <a:pt x="634" y="1185"/>
                  </a:lnTo>
                  <a:lnTo>
                    <a:pt x="635" y="1185"/>
                  </a:lnTo>
                  <a:lnTo>
                    <a:pt x="635" y="1187"/>
                  </a:lnTo>
                  <a:lnTo>
                    <a:pt x="637" y="1187"/>
                  </a:lnTo>
                  <a:lnTo>
                    <a:pt x="637" y="1188"/>
                  </a:lnTo>
                  <a:lnTo>
                    <a:pt x="639" y="1188"/>
                  </a:lnTo>
                  <a:lnTo>
                    <a:pt x="640" y="1188"/>
                  </a:lnTo>
                  <a:lnTo>
                    <a:pt x="641" y="1188"/>
                  </a:lnTo>
                  <a:lnTo>
                    <a:pt x="643" y="1188"/>
                  </a:lnTo>
                  <a:lnTo>
                    <a:pt x="645" y="1188"/>
                  </a:lnTo>
                  <a:lnTo>
                    <a:pt x="645" y="1185"/>
                  </a:lnTo>
                  <a:lnTo>
                    <a:pt x="645" y="1184"/>
                  </a:lnTo>
                  <a:lnTo>
                    <a:pt x="646" y="1184"/>
                  </a:lnTo>
                  <a:lnTo>
                    <a:pt x="648" y="1184"/>
                  </a:lnTo>
                  <a:lnTo>
                    <a:pt x="649" y="1183"/>
                  </a:lnTo>
                  <a:lnTo>
                    <a:pt x="651" y="1183"/>
                  </a:lnTo>
                  <a:lnTo>
                    <a:pt x="651" y="1181"/>
                  </a:lnTo>
                  <a:lnTo>
                    <a:pt x="652" y="1178"/>
                  </a:lnTo>
                  <a:lnTo>
                    <a:pt x="652" y="1181"/>
                  </a:lnTo>
                  <a:lnTo>
                    <a:pt x="653" y="1181"/>
                  </a:lnTo>
                  <a:lnTo>
                    <a:pt x="653" y="1179"/>
                  </a:lnTo>
                  <a:lnTo>
                    <a:pt x="657" y="1177"/>
                  </a:lnTo>
                  <a:lnTo>
                    <a:pt x="657" y="1175"/>
                  </a:lnTo>
                  <a:lnTo>
                    <a:pt x="658" y="1173"/>
                  </a:lnTo>
                  <a:lnTo>
                    <a:pt x="659" y="1171"/>
                  </a:lnTo>
                  <a:lnTo>
                    <a:pt x="659" y="1170"/>
                  </a:lnTo>
                  <a:lnTo>
                    <a:pt x="659" y="1167"/>
                  </a:lnTo>
                  <a:lnTo>
                    <a:pt x="658" y="1169"/>
                  </a:lnTo>
                  <a:lnTo>
                    <a:pt x="658" y="1166"/>
                  </a:lnTo>
                  <a:lnTo>
                    <a:pt x="658" y="1164"/>
                  </a:lnTo>
                  <a:lnTo>
                    <a:pt x="658" y="1163"/>
                  </a:lnTo>
                  <a:lnTo>
                    <a:pt x="658" y="1165"/>
                  </a:lnTo>
                  <a:lnTo>
                    <a:pt x="659" y="1165"/>
                  </a:lnTo>
                  <a:lnTo>
                    <a:pt x="660" y="1166"/>
                  </a:lnTo>
                  <a:lnTo>
                    <a:pt x="661" y="1167"/>
                  </a:lnTo>
                  <a:lnTo>
                    <a:pt x="661" y="1166"/>
                  </a:lnTo>
                  <a:lnTo>
                    <a:pt x="663" y="1165"/>
                  </a:lnTo>
                  <a:lnTo>
                    <a:pt x="663" y="1164"/>
                  </a:lnTo>
                  <a:lnTo>
                    <a:pt x="663" y="1161"/>
                  </a:lnTo>
                  <a:lnTo>
                    <a:pt x="664" y="1161"/>
                  </a:lnTo>
                  <a:lnTo>
                    <a:pt x="665" y="1161"/>
                  </a:lnTo>
                  <a:lnTo>
                    <a:pt x="666" y="1161"/>
                  </a:lnTo>
                  <a:lnTo>
                    <a:pt x="667" y="1161"/>
                  </a:lnTo>
                  <a:lnTo>
                    <a:pt x="667" y="1160"/>
                  </a:lnTo>
                  <a:lnTo>
                    <a:pt x="669" y="1159"/>
                  </a:lnTo>
                  <a:lnTo>
                    <a:pt x="669" y="1158"/>
                  </a:lnTo>
                  <a:lnTo>
                    <a:pt x="669" y="1157"/>
                  </a:lnTo>
                  <a:lnTo>
                    <a:pt x="669" y="1155"/>
                  </a:lnTo>
                  <a:lnTo>
                    <a:pt x="669" y="1154"/>
                  </a:lnTo>
                  <a:lnTo>
                    <a:pt x="670" y="1154"/>
                  </a:lnTo>
                  <a:lnTo>
                    <a:pt x="671" y="1153"/>
                  </a:lnTo>
                  <a:lnTo>
                    <a:pt x="673" y="1153"/>
                  </a:lnTo>
                  <a:lnTo>
                    <a:pt x="673" y="1152"/>
                  </a:lnTo>
                  <a:lnTo>
                    <a:pt x="673" y="1151"/>
                  </a:lnTo>
                  <a:lnTo>
                    <a:pt x="675" y="1148"/>
                  </a:lnTo>
                  <a:lnTo>
                    <a:pt x="675" y="1146"/>
                  </a:lnTo>
                  <a:lnTo>
                    <a:pt x="673" y="1146"/>
                  </a:lnTo>
                  <a:lnTo>
                    <a:pt x="672" y="1145"/>
                  </a:lnTo>
                  <a:lnTo>
                    <a:pt x="672" y="1143"/>
                  </a:lnTo>
                  <a:lnTo>
                    <a:pt x="673" y="1142"/>
                  </a:lnTo>
                  <a:lnTo>
                    <a:pt x="673" y="1141"/>
                  </a:lnTo>
                  <a:lnTo>
                    <a:pt x="675" y="1141"/>
                  </a:lnTo>
                  <a:lnTo>
                    <a:pt x="676" y="1140"/>
                  </a:lnTo>
                  <a:lnTo>
                    <a:pt x="677" y="1141"/>
                  </a:lnTo>
                  <a:lnTo>
                    <a:pt x="678" y="1141"/>
                  </a:lnTo>
                  <a:lnTo>
                    <a:pt x="681" y="1137"/>
                  </a:lnTo>
                  <a:lnTo>
                    <a:pt x="682" y="1136"/>
                  </a:lnTo>
                  <a:lnTo>
                    <a:pt x="682" y="1135"/>
                  </a:lnTo>
                  <a:lnTo>
                    <a:pt x="683" y="1135"/>
                  </a:lnTo>
                  <a:lnTo>
                    <a:pt x="683" y="1136"/>
                  </a:lnTo>
                  <a:lnTo>
                    <a:pt x="684" y="1136"/>
                  </a:lnTo>
                  <a:lnTo>
                    <a:pt x="685" y="1136"/>
                  </a:lnTo>
                  <a:lnTo>
                    <a:pt x="685" y="1137"/>
                  </a:lnTo>
                  <a:lnTo>
                    <a:pt x="687" y="1137"/>
                  </a:lnTo>
                  <a:lnTo>
                    <a:pt x="688" y="1136"/>
                  </a:lnTo>
                  <a:lnTo>
                    <a:pt x="689" y="1136"/>
                  </a:lnTo>
                  <a:lnTo>
                    <a:pt x="690" y="1135"/>
                  </a:lnTo>
                  <a:lnTo>
                    <a:pt x="692" y="1135"/>
                  </a:lnTo>
                  <a:lnTo>
                    <a:pt x="694" y="1134"/>
                  </a:lnTo>
                  <a:lnTo>
                    <a:pt x="695" y="1135"/>
                  </a:lnTo>
                  <a:lnTo>
                    <a:pt x="696" y="1135"/>
                  </a:lnTo>
                  <a:lnTo>
                    <a:pt x="698" y="1135"/>
                  </a:lnTo>
                  <a:lnTo>
                    <a:pt x="699" y="1134"/>
                  </a:lnTo>
                  <a:lnTo>
                    <a:pt x="700" y="1134"/>
                  </a:lnTo>
                  <a:lnTo>
                    <a:pt x="701" y="1134"/>
                  </a:lnTo>
                  <a:lnTo>
                    <a:pt x="702" y="1134"/>
                  </a:lnTo>
                  <a:lnTo>
                    <a:pt x="702" y="1133"/>
                  </a:lnTo>
                  <a:lnTo>
                    <a:pt x="702" y="1130"/>
                  </a:lnTo>
                  <a:lnTo>
                    <a:pt x="701" y="1129"/>
                  </a:lnTo>
                  <a:lnTo>
                    <a:pt x="702" y="1129"/>
                  </a:lnTo>
                  <a:lnTo>
                    <a:pt x="702" y="1126"/>
                  </a:lnTo>
                  <a:lnTo>
                    <a:pt x="702" y="1125"/>
                  </a:lnTo>
                  <a:lnTo>
                    <a:pt x="704" y="1124"/>
                  </a:lnTo>
                  <a:lnTo>
                    <a:pt x="705" y="1123"/>
                  </a:lnTo>
                  <a:lnTo>
                    <a:pt x="705" y="1122"/>
                  </a:lnTo>
                  <a:lnTo>
                    <a:pt x="706" y="1119"/>
                  </a:lnTo>
                  <a:lnTo>
                    <a:pt x="707" y="1120"/>
                  </a:lnTo>
                  <a:lnTo>
                    <a:pt x="707" y="1122"/>
                  </a:lnTo>
                  <a:lnTo>
                    <a:pt x="708" y="1119"/>
                  </a:lnTo>
                  <a:lnTo>
                    <a:pt x="708" y="1118"/>
                  </a:lnTo>
                  <a:lnTo>
                    <a:pt x="710" y="1118"/>
                  </a:lnTo>
                  <a:lnTo>
                    <a:pt x="710" y="1119"/>
                  </a:lnTo>
                  <a:lnTo>
                    <a:pt x="711" y="1119"/>
                  </a:lnTo>
                  <a:lnTo>
                    <a:pt x="712" y="1119"/>
                  </a:lnTo>
                  <a:lnTo>
                    <a:pt x="713" y="1119"/>
                  </a:lnTo>
                  <a:lnTo>
                    <a:pt x="714" y="1119"/>
                  </a:lnTo>
                  <a:lnTo>
                    <a:pt x="716" y="1119"/>
                  </a:lnTo>
                  <a:lnTo>
                    <a:pt x="717" y="1119"/>
                  </a:lnTo>
                  <a:lnTo>
                    <a:pt x="718" y="1119"/>
                  </a:lnTo>
                  <a:lnTo>
                    <a:pt x="719" y="1120"/>
                  </a:lnTo>
                  <a:lnTo>
                    <a:pt x="719" y="1119"/>
                  </a:lnTo>
                  <a:lnTo>
                    <a:pt x="720" y="1120"/>
                  </a:lnTo>
                  <a:lnTo>
                    <a:pt x="722" y="1120"/>
                  </a:lnTo>
                  <a:lnTo>
                    <a:pt x="723" y="1119"/>
                  </a:lnTo>
                  <a:lnTo>
                    <a:pt x="724" y="1118"/>
                  </a:lnTo>
                  <a:lnTo>
                    <a:pt x="725" y="1118"/>
                  </a:lnTo>
                  <a:lnTo>
                    <a:pt x="725" y="1117"/>
                  </a:lnTo>
                  <a:lnTo>
                    <a:pt x="726" y="1116"/>
                  </a:lnTo>
                  <a:lnTo>
                    <a:pt x="726" y="1114"/>
                  </a:lnTo>
                  <a:lnTo>
                    <a:pt x="726" y="1113"/>
                  </a:lnTo>
                  <a:lnTo>
                    <a:pt x="726" y="1112"/>
                  </a:lnTo>
                  <a:lnTo>
                    <a:pt x="728" y="1111"/>
                  </a:lnTo>
                  <a:lnTo>
                    <a:pt x="728" y="1113"/>
                  </a:lnTo>
                  <a:lnTo>
                    <a:pt x="729" y="1113"/>
                  </a:lnTo>
                  <a:lnTo>
                    <a:pt x="729" y="1111"/>
                  </a:lnTo>
                  <a:lnTo>
                    <a:pt x="729" y="1110"/>
                  </a:lnTo>
                  <a:lnTo>
                    <a:pt x="730" y="1108"/>
                  </a:lnTo>
                  <a:lnTo>
                    <a:pt x="731" y="1108"/>
                  </a:lnTo>
                  <a:lnTo>
                    <a:pt x="732" y="1107"/>
                  </a:lnTo>
                  <a:lnTo>
                    <a:pt x="734" y="1106"/>
                  </a:lnTo>
                  <a:lnTo>
                    <a:pt x="735" y="1106"/>
                  </a:lnTo>
                  <a:lnTo>
                    <a:pt x="736" y="1105"/>
                  </a:lnTo>
                  <a:lnTo>
                    <a:pt x="738" y="1105"/>
                  </a:lnTo>
                  <a:lnTo>
                    <a:pt x="740" y="1104"/>
                  </a:lnTo>
                  <a:lnTo>
                    <a:pt x="743" y="1104"/>
                  </a:lnTo>
                  <a:lnTo>
                    <a:pt x="746" y="1102"/>
                  </a:lnTo>
                  <a:lnTo>
                    <a:pt x="748" y="1101"/>
                  </a:lnTo>
                  <a:lnTo>
                    <a:pt x="751" y="1100"/>
                  </a:lnTo>
                  <a:lnTo>
                    <a:pt x="749" y="1099"/>
                  </a:lnTo>
                  <a:lnTo>
                    <a:pt x="748" y="1098"/>
                  </a:lnTo>
                  <a:lnTo>
                    <a:pt x="747" y="1096"/>
                  </a:lnTo>
                  <a:lnTo>
                    <a:pt x="749" y="1098"/>
                  </a:lnTo>
                  <a:lnTo>
                    <a:pt x="751" y="1098"/>
                  </a:lnTo>
                  <a:lnTo>
                    <a:pt x="751" y="1095"/>
                  </a:lnTo>
                  <a:lnTo>
                    <a:pt x="752" y="1094"/>
                  </a:lnTo>
                  <a:lnTo>
                    <a:pt x="752" y="1093"/>
                  </a:lnTo>
                  <a:lnTo>
                    <a:pt x="751" y="1089"/>
                  </a:lnTo>
                  <a:lnTo>
                    <a:pt x="751" y="1088"/>
                  </a:lnTo>
                  <a:lnTo>
                    <a:pt x="749" y="1087"/>
                  </a:lnTo>
                  <a:lnTo>
                    <a:pt x="751" y="1087"/>
                  </a:lnTo>
                  <a:lnTo>
                    <a:pt x="751" y="1086"/>
                  </a:lnTo>
                  <a:lnTo>
                    <a:pt x="751" y="1084"/>
                  </a:lnTo>
                  <a:lnTo>
                    <a:pt x="751" y="1082"/>
                  </a:lnTo>
                  <a:lnTo>
                    <a:pt x="752" y="1081"/>
                  </a:lnTo>
                  <a:lnTo>
                    <a:pt x="753" y="1080"/>
                  </a:lnTo>
                  <a:lnTo>
                    <a:pt x="753" y="1078"/>
                  </a:lnTo>
                  <a:lnTo>
                    <a:pt x="752" y="1077"/>
                  </a:lnTo>
                  <a:lnTo>
                    <a:pt x="753" y="1070"/>
                  </a:lnTo>
                  <a:lnTo>
                    <a:pt x="753" y="1068"/>
                  </a:lnTo>
                  <a:lnTo>
                    <a:pt x="754" y="1068"/>
                  </a:lnTo>
                  <a:lnTo>
                    <a:pt x="753" y="1066"/>
                  </a:lnTo>
                  <a:lnTo>
                    <a:pt x="754" y="1066"/>
                  </a:lnTo>
                  <a:lnTo>
                    <a:pt x="754" y="1065"/>
                  </a:lnTo>
                  <a:lnTo>
                    <a:pt x="755" y="1066"/>
                  </a:lnTo>
                  <a:lnTo>
                    <a:pt x="755" y="1065"/>
                  </a:lnTo>
                  <a:lnTo>
                    <a:pt x="757" y="1065"/>
                  </a:lnTo>
                  <a:lnTo>
                    <a:pt x="758" y="1064"/>
                  </a:lnTo>
                  <a:lnTo>
                    <a:pt x="759" y="1064"/>
                  </a:lnTo>
                  <a:lnTo>
                    <a:pt x="760" y="1063"/>
                  </a:lnTo>
                  <a:lnTo>
                    <a:pt x="760" y="1062"/>
                  </a:lnTo>
                  <a:lnTo>
                    <a:pt x="761" y="1062"/>
                  </a:lnTo>
                  <a:lnTo>
                    <a:pt x="764" y="1059"/>
                  </a:lnTo>
                  <a:lnTo>
                    <a:pt x="765" y="1058"/>
                  </a:lnTo>
                  <a:lnTo>
                    <a:pt x="766" y="1058"/>
                  </a:lnTo>
                  <a:lnTo>
                    <a:pt x="766" y="1056"/>
                  </a:lnTo>
                  <a:lnTo>
                    <a:pt x="765" y="1054"/>
                  </a:lnTo>
                  <a:lnTo>
                    <a:pt x="763" y="1056"/>
                  </a:lnTo>
                  <a:lnTo>
                    <a:pt x="760" y="1056"/>
                  </a:lnTo>
                  <a:lnTo>
                    <a:pt x="757" y="1057"/>
                  </a:lnTo>
                  <a:lnTo>
                    <a:pt x="752" y="1058"/>
                  </a:lnTo>
                  <a:lnTo>
                    <a:pt x="748" y="1060"/>
                  </a:lnTo>
                  <a:lnTo>
                    <a:pt x="743" y="1062"/>
                  </a:lnTo>
                  <a:lnTo>
                    <a:pt x="741" y="1064"/>
                  </a:lnTo>
                  <a:lnTo>
                    <a:pt x="735" y="1065"/>
                  </a:lnTo>
                  <a:lnTo>
                    <a:pt x="730" y="1066"/>
                  </a:lnTo>
                  <a:lnTo>
                    <a:pt x="726" y="1068"/>
                  </a:lnTo>
                  <a:lnTo>
                    <a:pt x="722" y="1069"/>
                  </a:lnTo>
                  <a:lnTo>
                    <a:pt x="719" y="1069"/>
                  </a:lnTo>
                  <a:lnTo>
                    <a:pt x="712" y="1070"/>
                  </a:lnTo>
                  <a:lnTo>
                    <a:pt x="706" y="1069"/>
                  </a:lnTo>
                  <a:lnTo>
                    <a:pt x="701" y="1069"/>
                  </a:lnTo>
                  <a:lnTo>
                    <a:pt x="695" y="1068"/>
                  </a:lnTo>
                  <a:lnTo>
                    <a:pt x="692" y="1068"/>
                  </a:lnTo>
                  <a:lnTo>
                    <a:pt x="688" y="1066"/>
                  </a:lnTo>
                  <a:lnTo>
                    <a:pt x="677" y="1066"/>
                  </a:lnTo>
                  <a:lnTo>
                    <a:pt x="676" y="1065"/>
                  </a:lnTo>
                  <a:lnTo>
                    <a:pt x="672" y="1064"/>
                  </a:lnTo>
                  <a:lnTo>
                    <a:pt x="670" y="1062"/>
                  </a:lnTo>
                  <a:lnTo>
                    <a:pt x="670" y="1059"/>
                  </a:lnTo>
                  <a:lnTo>
                    <a:pt x="669" y="1057"/>
                  </a:lnTo>
                  <a:lnTo>
                    <a:pt x="669" y="1056"/>
                  </a:lnTo>
                  <a:lnTo>
                    <a:pt x="667" y="1054"/>
                  </a:lnTo>
                  <a:lnTo>
                    <a:pt x="667" y="1052"/>
                  </a:lnTo>
                  <a:lnTo>
                    <a:pt x="669" y="1052"/>
                  </a:lnTo>
                  <a:lnTo>
                    <a:pt x="670" y="1054"/>
                  </a:lnTo>
                  <a:lnTo>
                    <a:pt x="671" y="1053"/>
                  </a:lnTo>
                  <a:lnTo>
                    <a:pt x="672" y="1053"/>
                  </a:lnTo>
                  <a:lnTo>
                    <a:pt x="673" y="1052"/>
                  </a:lnTo>
                  <a:lnTo>
                    <a:pt x="675" y="1052"/>
                  </a:lnTo>
                  <a:lnTo>
                    <a:pt x="676" y="1051"/>
                  </a:lnTo>
                  <a:lnTo>
                    <a:pt x="676" y="1050"/>
                  </a:lnTo>
                  <a:lnTo>
                    <a:pt x="677" y="1048"/>
                  </a:lnTo>
                  <a:lnTo>
                    <a:pt x="678" y="1048"/>
                  </a:lnTo>
                  <a:lnTo>
                    <a:pt x="679" y="1048"/>
                  </a:lnTo>
                  <a:lnTo>
                    <a:pt x="681" y="1047"/>
                  </a:lnTo>
                  <a:lnTo>
                    <a:pt x="681" y="1048"/>
                  </a:lnTo>
                  <a:lnTo>
                    <a:pt x="682" y="1048"/>
                  </a:lnTo>
                  <a:lnTo>
                    <a:pt x="684" y="1048"/>
                  </a:lnTo>
                  <a:lnTo>
                    <a:pt x="685" y="1048"/>
                  </a:lnTo>
                  <a:lnTo>
                    <a:pt x="688" y="1047"/>
                  </a:lnTo>
                  <a:lnTo>
                    <a:pt x="689" y="1047"/>
                  </a:lnTo>
                  <a:lnTo>
                    <a:pt x="690" y="1046"/>
                  </a:lnTo>
                  <a:lnTo>
                    <a:pt x="690" y="1044"/>
                  </a:lnTo>
                  <a:lnTo>
                    <a:pt x="692" y="1042"/>
                  </a:lnTo>
                  <a:lnTo>
                    <a:pt x="692" y="1044"/>
                  </a:lnTo>
                  <a:lnTo>
                    <a:pt x="692" y="1045"/>
                  </a:lnTo>
                  <a:lnTo>
                    <a:pt x="692" y="1046"/>
                  </a:lnTo>
                  <a:lnTo>
                    <a:pt x="693" y="1045"/>
                  </a:lnTo>
                  <a:lnTo>
                    <a:pt x="694" y="1044"/>
                  </a:lnTo>
                  <a:lnTo>
                    <a:pt x="694" y="1042"/>
                  </a:lnTo>
                  <a:lnTo>
                    <a:pt x="695" y="1041"/>
                  </a:lnTo>
                  <a:lnTo>
                    <a:pt x="695" y="1044"/>
                  </a:lnTo>
                  <a:lnTo>
                    <a:pt x="696" y="1044"/>
                  </a:lnTo>
                  <a:lnTo>
                    <a:pt x="696" y="1042"/>
                  </a:lnTo>
                  <a:lnTo>
                    <a:pt x="698" y="1042"/>
                  </a:lnTo>
                  <a:lnTo>
                    <a:pt x="700" y="1041"/>
                  </a:lnTo>
                  <a:lnTo>
                    <a:pt x="701" y="1040"/>
                  </a:lnTo>
                  <a:lnTo>
                    <a:pt x="701" y="1038"/>
                  </a:lnTo>
                  <a:lnTo>
                    <a:pt x="702" y="1038"/>
                  </a:lnTo>
                  <a:lnTo>
                    <a:pt x="702" y="1035"/>
                  </a:lnTo>
                  <a:lnTo>
                    <a:pt x="704" y="1034"/>
                  </a:lnTo>
                  <a:lnTo>
                    <a:pt x="705" y="1034"/>
                  </a:lnTo>
                  <a:lnTo>
                    <a:pt x="706" y="1033"/>
                  </a:lnTo>
                  <a:lnTo>
                    <a:pt x="706" y="1030"/>
                  </a:lnTo>
                  <a:lnTo>
                    <a:pt x="707" y="1029"/>
                  </a:lnTo>
                  <a:lnTo>
                    <a:pt x="708" y="1029"/>
                  </a:lnTo>
                  <a:lnTo>
                    <a:pt x="710" y="1028"/>
                  </a:lnTo>
                  <a:lnTo>
                    <a:pt x="710" y="1027"/>
                  </a:lnTo>
                  <a:lnTo>
                    <a:pt x="710" y="1026"/>
                  </a:lnTo>
                  <a:lnTo>
                    <a:pt x="710" y="1027"/>
                  </a:lnTo>
                  <a:lnTo>
                    <a:pt x="711" y="1026"/>
                  </a:lnTo>
                  <a:lnTo>
                    <a:pt x="711" y="1024"/>
                  </a:lnTo>
                  <a:lnTo>
                    <a:pt x="711" y="1023"/>
                  </a:lnTo>
                  <a:lnTo>
                    <a:pt x="712" y="1022"/>
                  </a:lnTo>
                  <a:lnTo>
                    <a:pt x="712" y="1021"/>
                  </a:lnTo>
                  <a:lnTo>
                    <a:pt x="711" y="1019"/>
                  </a:lnTo>
                  <a:lnTo>
                    <a:pt x="708" y="1021"/>
                  </a:lnTo>
                  <a:lnTo>
                    <a:pt x="706" y="1021"/>
                  </a:lnTo>
                  <a:lnTo>
                    <a:pt x="699" y="1021"/>
                  </a:lnTo>
                  <a:lnTo>
                    <a:pt x="693" y="1022"/>
                  </a:lnTo>
                  <a:lnTo>
                    <a:pt x="690" y="1022"/>
                  </a:lnTo>
                  <a:lnTo>
                    <a:pt x="687" y="1022"/>
                  </a:lnTo>
                  <a:lnTo>
                    <a:pt x="684" y="1022"/>
                  </a:lnTo>
                  <a:lnTo>
                    <a:pt x="682" y="1019"/>
                  </a:lnTo>
                  <a:lnTo>
                    <a:pt x="682" y="1018"/>
                  </a:lnTo>
                  <a:lnTo>
                    <a:pt x="681" y="1017"/>
                  </a:lnTo>
                  <a:lnTo>
                    <a:pt x="682" y="1016"/>
                  </a:lnTo>
                  <a:lnTo>
                    <a:pt x="682" y="1013"/>
                  </a:lnTo>
                  <a:lnTo>
                    <a:pt x="683" y="1012"/>
                  </a:lnTo>
                  <a:lnTo>
                    <a:pt x="684" y="1011"/>
                  </a:lnTo>
                  <a:lnTo>
                    <a:pt x="685" y="1010"/>
                  </a:lnTo>
                  <a:lnTo>
                    <a:pt x="687" y="1009"/>
                  </a:lnTo>
                  <a:lnTo>
                    <a:pt x="688" y="1010"/>
                  </a:lnTo>
                  <a:lnTo>
                    <a:pt x="689" y="1009"/>
                  </a:lnTo>
                  <a:lnTo>
                    <a:pt x="689" y="1007"/>
                  </a:lnTo>
                  <a:lnTo>
                    <a:pt x="690" y="1007"/>
                  </a:lnTo>
                  <a:lnTo>
                    <a:pt x="690" y="1006"/>
                  </a:lnTo>
                  <a:lnTo>
                    <a:pt x="692" y="1006"/>
                  </a:lnTo>
                  <a:lnTo>
                    <a:pt x="693" y="1006"/>
                  </a:lnTo>
                  <a:lnTo>
                    <a:pt x="694" y="1006"/>
                  </a:lnTo>
                  <a:lnTo>
                    <a:pt x="695" y="1006"/>
                  </a:lnTo>
                  <a:lnTo>
                    <a:pt x="695" y="1005"/>
                  </a:lnTo>
                  <a:lnTo>
                    <a:pt x="696" y="1005"/>
                  </a:lnTo>
                  <a:lnTo>
                    <a:pt x="699" y="1004"/>
                  </a:lnTo>
                  <a:lnTo>
                    <a:pt x="699" y="1003"/>
                  </a:lnTo>
                  <a:lnTo>
                    <a:pt x="700" y="1003"/>
                  </a:lnTo>
                  <a:lnTo>
                    <a:pt x="701" y="1001"/>
                  </a:lnTo>
                  <a:lnTo>
                    <a:pt x="701" y="1000"/>
                  </a:lnTo>
                  <a:lnTo>
                    <a:pt x="704" y="1000"/>
                  </a:lnTo>
                  <a:lnTo>
                    <a:pt x="704" y="999"/>
                  </a:lnTo>
                  <a:lnTo>
                    <a:pt x="706" y="998"/>
                  </a:lnTo>
                  <a:lnTo>
                    <a:pt x="707" y="997"/>
                  </a:lnTo>
                  <a:lnTo>
                    <a:pt x="708" y="997"/>
                  </a:lnTo>
                  <a:lnTo>
                    <a:pt x="711" y="995"/>
                  </a:lnTo>
                  <a:lnTo>
                    <a:pt x="711" y="994"/>
                  </a:lnTo>
                  <a:lnTo>
                    <a:pt x="711" y="993"/>
                  </a:lnTo>
                  <a:lnTo>
                    <a:pt x="713" y="991"/>
                  </a:lnTo>
                  <a:lnTo>
                    <a:pt x="714" y="989"/>
                  </a:lnTo>
                  <a:lnTo>
                    <a:pt x="716" y="988"/>
                  </a:lnTo>
                  <a:lnTo>
                    <a:pt x="716" y="987"/>
                  </a:lnTo>
                  <a:lnTo>
                    <a:pt x="716" y="985"/>
                  </a:lnTo>
                  <a:lnTo>
                    <a:pt x="716" y="982"/>
                  </a:lnTo>
                  <a:lnTo>
                    <a:pt x="717" y="981"/>
                  </a:lnTo>
                  <a:lnTo>
                    <a:pt x="718" y="979"/>
                  </a:lnTo>
                  <a:lnTo>
                    <a:pt x="719" y="977"/>
                  </a:lnTo>
                  <a:lnTo>
                    <a:pt x="719" y="976"/>
                  </a:lnTo>
                  <a:lnTo>
                    <a:pt x="719" y="975"/>
                  </a:lnTo>
                  <a:lnTo>
                    <a:pt x="719" y="974"/>
                  </a:lnTo>
                  <a:lnTo>
                    <a:pt x="718" y="974"/>
                  </a:lnTo>
                  <a:lnTo>
                    <a:pt x="716" y="976"/>
                  </a:lnTo>
                  <a:lnTo>
                    <a:pt x="713" y="977"/>
                  </a:lnTo>
                  <a:lnTo>
                    <a:pt x="712" y="977"/>
                  </a:lnTo>
                  <a:lnTo>
                    <a:pt x="711" y="977"/>
                  </a:lnTo>
                  <a:lnTo>
                    <a:pt x="712" y="976"/>
                  </a:lnTo>
                  <a:lnTo>
                    <a:pt x="713" y="976"/>
                  </a:lnTo>
                  <a:lnTo>
                    <a:pt x="714" y="975"/>
                  </a:lnTo>
                  <a:lnTo>
                    <a:pt x="716" y="975"/>
                  </a:lnTo>
                  <a:lnTo>
                    <a:pt x="717" y="974"/>
                  </a:lnTo>
                  <a:lnTo>
                    <a:pt x="718" y="973"/>
                  </a:lnTo>
                  <a:lnTo>
                    <a:pt x="717" y="973"/>
                  </a:lnTo>
                  <a:lnTo>
                    <a:pt x="714" y="971"/>
                  </a:lnTo>
                  <a:lnTo>
                    <a:pt x="714" y="970"/>
                  </a:lnTo>
                  <a:lnTo>
                    <a:pt x="713" y="970"/>
                  </a:lnTo>
                  <a:lnTo>
                    <a:pt x="711" y="969"/>
                  </a:lnTo>
                  <a:lnTo>
                    <a:pt x="710" y="968"/>
                  </a:lnTo>
                  <a:lnTo>
                    <a:pt x="710" y="967"/>
                  </a:lnTo>
                  <a:lnTo>
                    <a:pt x="711" y="968"/>
                  </a:lnTo>
                  <a:lnTo>
                    <a:pt x="713" y="968"/>
                  </a:lnTo>
                  <a:lnTo>
                    <a:pt x="714" y="967"/>
                  </a:lnTo>
                  <a:lnTo>
                    <a:pt x="716" y="965"/>
                  </a:lnTo>
                  <a:lnTo>
                    <a:pt x="717" y="964"/>
                  </a:lnTo>
                  <a:lnTo>
                    <a:pt x="714" y="965"/>
                  </a:lnTo>
                  <a:lnTo>
                    <a:pt x="713" y="965"/>
                  </a:lnTo>
                  <a:lnTo>
                    <a:pt x="713" y="964"/>
                  </a:lnTo>
                  <a:lnTo>
                    <a:pt x="714" y="963"/>
                  </a:lnTo>
                  <a:lnTo>
                    <a:pt x="716" y="963"/>
                  </a:lnTo>
                  <a:lnTo>
                    <a:pt x="717" y="962"/>
                  </a:lnTo>
                  <a:lnTo>
                    <a:pt x="714" y="962"/>
                  </a:lnTo>
                  <a:lnTo>
                    <a:pt x="714" y="961"/>
                  </a:lnTo>
                  <a:lnTo>
                    <a:pt x="714" y="959"/>
                  </a:lnTo>
                  <a:lnTo>
                    <a:pt x="713" y="958"/>
                  </a:lnTo>
                  <a:lnTo>
                    <a:pt x="712" y="959"/>
                  </a:lnTo>
                  <a:lnTo>
                    <a:pt x="711" y="959"/>
                  </a:lnTo>
                  <a:lnTo>
                    <a:pt x="710" y="958"/>
                  </a:lnTo>
                  <a:lnTo>
                    <a:pt x="708" y="958"/>
                  </a:lnTo>
                  <a:lnTo>
                    <a:pt x="708" y="961"/>
                  </a:lnTo>
                  <a:lnTo>
                    <a:pt x="708" y="964"/>
                  </a:lnTo>
                  <a:lnTo>
                    <a:pt x="707" y="965"/>
                  </a:lnTo>
                  <a:lnTo>
                    <a:pt x="705" y="967"/>
                  </a:lnTo>
                  <a:lnTo>
                    <a:pt x="704" y="969"/>
                  </a:lnTo>
                  <a:lnTo>
                    <a:pt x="704" y="970"/>
                  </a:lnTo>
                  <a:lnTo>
                    <a:pt x="701" y="971"/>
                  </a:lnTo>
                  <a:lnTo>
                    <a:pt x="699" y="971"/>
                  </a:lnTo>
                  <a:lnTo>
                    <a:pt x="698" y="973"/>
                  </a:lnTo>
                  <a:lnTo>
                    <a:pt x="696" y="974"/>
                  </a:lnTo>
                  <a:lnTo>
                    <a:pt x="695" y="974"/>
                  </a:lnTo>
                  <a:lnTo>
                    <a:pt x="693" y="975"/>
                  </a:lnTo>
                  <a:lnTo>
                    <a:pt x="690" y="976"/>
                  </a:lnTo>
                  <a:lnTo>
                    <a:pt x="689" y="976"/>
                  </a:lnTo>
                  <a:lnTo>
                    <a:pt x="685" y="977"/>
                  </a:lnTo>
                  <a:lnTo>
                    <a:pt x="684" y="977"/>
                  </a:lnTo>
                  <a:lnTo>
                    <a:pt x="682" y="979"/>
                  </a:lnTo>
                  <a:lnTo>
                    <a:pt x="681" y="977"/>
                  </a:lnTo>
                  <a:lnTo>
                    <a:pt x="682" y="977"/>
                  </a:lnTo>
                  <a:lnTo>
                    <a:pt x="683" y="975"/>
                  </a:lnTo>
                  <a:lnTo>
                    <a:pt x="683" y="974"/>
                  </a:lnTo>
                  <a:lnTo>
                    <a:pt x="682" y="973"/>
                  </a:lnTo>
                  <a:lnTo>
                    <a:pt x="682" y="971"/>
                  </a:lnTo>
                  <a:lnTo>
                    <a:pt x="681" y="970"/>
                  </a:lnTo>
                  <a:lnTo>
                    <a:pt x="679" y="969"/>
                  </a:lnTo>
                  <a:lnTo>
                    <a:pt x="681" y="969"/>
                  </a:lnTo>
                  <a:lnTo>
                    <a:pt x="682" y="969"/>
                  </a:lnTo>
                  <a:lnTo>
                    <a:pt x="682" y="968"/>
                  </a:lnTo>
                  <a:lnTo>
                    <a:pt x="683" y="968"/>
                  </a:lnTo>
                  <a:lnTo>
                    <a:pt x="684" y="968"/>
                  </a:lnTo>
                  <a:lnTo>
                    <a:pt x="684" y="967"/>
                  </a:lnTo>
                  <a:lnTo>
                    <a:pt x="682" y="965"/>
                  </a:lnTo>
                  <a:lnTo>
                    <a:pt x="683" y="964"/>
                  </a:lnTo>
                  <a:lnTo>
                    <a:pt x="683" y="962"/>
                  </a:lnTo>
                  <a:lnTo>
                    <a:pt x="683" y="961"/>
                  </a:lnTo>
                  <a:lnTo>
                    <a:pt x="682" y="962"/>
                  </a:lnTo>
                  <a:lnTo>
                    <a:pt x="681" y="962"/>
                  </a:lnTo>
                  <a:lnTo>
                    <a:pt x="679" y="962"/>
                  </a:lnTo>
                  <a:lnTo>
                    <a:pt x="678" y="962"/>
                  </a:lnTo>
                  <a:lnTo>
                    <a:pt x="677" y="962"/>
                  </a:lnTo>
                  <a:lnTo>
                    <a:pt x="675" y="963"/>
                  </a:lnTo>
                  <a:lnTo>
                    <a:pt x="673" y="963"/>
                  </a:lnTo>
                  <a:lnTo>
                    <a:pt x="672" y="963"/>
                  </a:lnTo>
                  <a:lnTo>
                    <a:pt x="673" y="962"/>
                  </a:lnTo>
                  <a:lnTo>
                    <a:pt x="675" y="962"/>
                  </a:lnTo>
                  <a:lnTo>
                    <a:pt x="675" y="961"/>
                  </a:lnTo>
                  <a:lnTo>
                    <a:pt x="675" y="959"/>
                  </a:lnTo>
                  <a:lnTo>
                    <a:pt x="673" y="958"/>
                  </a:lnTo>
                  <a:lnTo>
                    <a:pt x="673" y="956"/>
                  </a:lnTo>
                  <a:lnTo>
                    <a:pt x="672" y="953"/>
                  </a:lnTo>
                  <a:lnTo>
                    <a:pt x="671" y="952"/>
                  </a:lnTo>
                  <a:lnTo>
                    <a:pt x="670" y="952"/>
                  </a:lnTo>
                  <a:lnTo>
                    <a:pt x="670" y="951"/>
                  </a:lnTo>
                  <a:lnTo>
                    <a:pt x="669" y="952"/>
                  </a:lnTo>
                  <a:lnTo>
                    <a:pt x="669" y="953"/>
                  </a:lnTo>
                  <a:lnTo>
                    <a:pt x="669" y="955"/>
                  </a:lnTo>
                  <a:lnTo>
                    <a:pt x="667" y="956"/>
                  </a:lnTo>
                  <a:lnTo>
                    <a:pt x="667" y="957"/>
                  </a:lnTo>
                  <a:lnTo>
                    <a:pt x="666" y="958"/>
                  </a:lnTo>
                  <a:lnTo>
                    <a:pt x="665" y="958"/>
                  </a:lnTo>
                  <a:lnTo>
                    <a:pt x="665" y="957"/>
                  </a:lnTo>
                  <a:lnTo>
                    <a:pt x="664" y="959"/>
                  </a:lnTo>
                  <a:lnTo>
                    <a:pt x="663" y="959"/>
                  </a:lnTo>
                  <a:lnTo>
                    <a:pt x="661" y="962"/>
                  </a:lnTo>
                  <a:lnTo>
                    <a:pt x="663" y="962"/>
                  </a:lnTo>
                  <a:lnTo>
                    <a:pt x="665" y="961"/>
                  </a:lnTo>
                  <a:lnTo>
                    <a:pt x="665" y="962"/>
                  </a:lnTo>
                  <a:lnTo>
                    <a:pt x="664" y="962"/>
                  </a:lnTo>
                  <a:lnTo>
                    <a:pt x="663" y="963"/>
                  </a:lnTo>
                  <a:lnTo>
                    <a:pt x="663" y="965"/>
                  </a:lnTo>
                  <a:lnTo>
                    <a:pt x="664" y="965"/>
                  </a:lnTo>
                  <a:lnTo>
                    <a:pt x="664" y="967"/>
                  </a:lnTo>
                  <a:lnTo>
                    <a:pt x="663" y="967"/>
                  </a:lnTo>
                  <a:lnTo>
                    <a:pt x="663" y="969"/>
                  </a:lnTo>
                  <a:lnTo>
                    <a:pt x="661" y="970"/>
                  </a:lnTo>
                  <a:lnTo>
                    <a:pt x="659" y="970"/>
                  </a:lnTo>
                  <a:lnTo>
                    <a:pt x="659" y="971"/>
                  </a:lnTo>
                  <a:lnTo>
                    <a:pt x="660" y="971"/>
                  </a:lnTo>
                  <a:lnTo>
                    <a:pt x="661" y="973"/>
                  </a:lnTo>
                  <a:lnTo>
                    <a:pt x="663" y="973"/>
                  </a:lnTo>
                  <a:lnTo>
                    <a:pt x="663" y="974"/>
                  </a:lnTo>
                  <a:lnTo>
                    <a:pt x="663" y="975"/>
                  </a:lnTo>
                  <a:lnTo>
                    <a:pt x="661" y="975"/>
                  </a:lnTo>
                  <a:lnTo>
                    <a:pt x="660" y="974"/>
                  </a:lnTo>
                  <a:lnTo>
                    <a:pt x="660" y="976"/>
                  </a:lnTo>
                  <a:lnTo>
                    <a:pt x="659" y="976"/>
                  </a:lnTo>
                  <a:lnTo>
                    <a:pt x="655" y="977"/>
                  </a:lnTo>
                  <a:lnTo>
                    <a:pt x="654" y="979"/>
                  </a:lnTo>
                  <a:lnTo>
                    <a:pt x="651" y="979"/>
                  </a:lnTo>
                  <a:lnTo>
                    <a:pt x="649" y="979"/>
                  </a:lnTo>
                  <a:lnTo>
                    <a:pt x="646" y="980"/>
                  </a:lnTo>
                  <a:lnTo>
                    <a:pt x="642" y="980"/>
                  </a:lnTo>
                  <a:lnTo>
                    <a:pt x="639" y="979"/>
                  </a:lnTo>
                  <a:lnTo>
                    <a:pt x="636" y="979"/>
                  </a:lnTo>
                  <a:lnTo>
                    <a:pt x="634" y="977"/>
                  </a:lnTo>
                  <a:lnTo>
                    <a:pt x="631" y="977"/>
                  </a:lnTo>
                  <a:lnTo>
                    <a:pt x="628" y="976"/>
                  </a:lnTo>
                  <a:lnTo>
                    <a:pt x="626" y="975"/>
                  </a:lnTo>
                  <a:lnTo>
                    <a:pt x="625" y="973"/>
                  </a:lnTo>
                  <a:lnTo>
                    <a:pt x="625" y="971"/>
                  </a:lnTo>
                  <a:lnTo>
                    <a:pt x="628" y="973"/>
                  </a:lnTo>
                  <a:lnTo>
                    <a:pt x="628" y="971"/>
                  </a:lnTo>
                  <a:lnTo>
                    <a:pt x="629" y="969"/>
                  </a:lnTo>
                  <a:lnTo>
                    <a:pt x="630" y="971"/>
                  </a:lnTo>
                  <a:lnTo>
                    <a:pt x="631" y="973"/>
                  </a:lnTo>
                  <a:lnTo>
                    <a:pt x="633" y="975"/>
                  </a:lnTo>
                  <a:lnTo>
                    <a:pt x="634" y="976"/>
                  </a:lnTo>
                  <a:lnTo>
                    <a:pt x="635" y="976"/>
                  </a:lnTo>
                  <a:lnTo>
                    <a:pt x="635" y="975"/>
                  </a:lnTo>
                  <a:lnTo>
                    <a:pt x="633" y="971"/>
                  </a:lnTo>
                  <a:lnTo>
                    <a:pt x="631" y="969"/>
                  </a:lnTo>
                  <a:lnTo>
                    <a:pt x="630" y="968"/>
                  </a:lnTo>
                  <a:lnTo>
                    <a:pt x="630" y="965"/>
                  </a:lnTo>
                  <a:lnTo>
                    <a:pt x="630" y="964"/>
                  </a:lnTo>
                  <a:lnTo>
                    <a:pt x="631" y="967"/>
                  </a:lnTo>
                  <a:lnTo>
                    <a:pt x="631" y="968"/>
                  </a:lnTo>
                  <a:lnTo>
                    <a:pt x="633" y="968"/>
                  </a:lnTo>
                  <a:lnTo>
                    <a:pt x="633" y="965"/>
                  </a:lnTo>
                  <a:lnTo>
                    <a:pt x="634" y="965"/>
                  </a:lnTo>
                  <a:lnTo>
                    <a:pt x="635" y="965"/>
                  </a:lnTo>
                  <a:lnTo>
                    <a:pt x="636" y="968"/>
                  </a:lnTo>
                  <a:lnTo>
                    <a:pt x="636" y="967"/>
                  </a:lnTo>
                  <a:lnTo>
                    <a:pt x="637" y="965"/>
                  </a:lnTo>
                  <a:lnTo>
                    <a:pt x="637" y="964"/>
                  </a:lnTo>
                  <a:lnTo>
                    <a:pt x="636" y="962"/>
                  </a:lnTo>
                  <a:lnTo>
                    <a:pt x="634" y="959"/>
                  </a:lnTo>
                  <a:lnTo>
                    <a:pt x="633" y="958"/>
                  </a:lnTo>
                  <a:lnTo>
                    <a:pt x="634" y="956"/>
                  </a:lnTo>
                  <a:lnTo>
                    <a:pt x="635" y="957"/>
                  </a:lnTo>
                  <a:lnTo>
                    <a:pt x="635" y="958"/>
                  </a:lnTo>
                  <a:lnTo>
                    <a:pt x="636" y="959"/>
                  </a:lnTo>
                  <a:lnTo>
                    <a:pt x="637" y="959"/>
                  </a:lnTo>
                  <a:lnTo>
                    <a:pt x="639" y="959"/>
                  </a:lnTo>
                  <a:lnTo>
                    <a:pt x="639" y="958"/>
                  </a:lnTo>
                  <a:lnTo>
                    <a:pt x="640" y="958"/>
                  </a:lnTo>
                  <a:lnTo>
                    <a:pt x="641" y="959"/>
                  </a:lnTo>
                  <a:lnTo>
                    <a:pt x="642" y="961"/>
                  </a:lnTo>
                  <a:lnTo>
                    <a:pt x="643" y="959"/>
                  </a:lnTo>
                  <a:lnTo>
                    <a:pt x="643" y="958"/>
                  </a:lnTo>
                  <a:lnTo>
                    <a:pt x="645" y="957"/>
                  </a:lnTo>
                  <a:lnTo>
                    <a:pt x="645" y="956"/>
                  </a:lnTo>
                  <a:lnTo>
                    <a:pt x="645" y="955"/>
                  </a:lnTo>
                  <a:lnTo>
                    <a:pt x="643" y="952"/>
                  </a:lnTo>
                  <a:lnTo>
                    <a:pt x="642" y="951"/>
                  </a:lnTo>
                  <a:lnTo>
                    <a:pt x="642" y="950"/>
                  </a:lnTo>
                  <a:lnTo>
                    <a:pt x="642" y="949"/>
                  </a:lnTo>
                  <a:lnTo>
                    <a:pt x="643" y="949"/>
                  </a:lnTo>
                  <a:lnTo>
                    <a:pt x="645" y="950"/>
                  </a:lnTo>
                  <a:lnTo>
                    <a:pt x="647" y="949"/>
                  </a:lnTo>
                  <a:lnTo>
                    <a:pt x="649" y="950"/>
                  </a:lnTo>
                  <a:lnTo>
                    <a:pt x="651" y="951"/>
                  </a:lnTo>
                  <a:lnTo>
                    <a:pt x="652" y="951"/>
                  </a:lnTo>
                  <a:lnTo>
                    <a:pt x="652" y="950"/>
                  </a:lnTo>
                  <a:lnTo>
                    <a:pt x="653" y="949"/>
                  </a:lnTo>
                  <a:lnTo>
                    <a:pt x="654" y="949"/>
                  </a:lnTo>
                  <a:lnTo>
                    <a:pt x="654" y="947"/>
                  </a:lnTo>
                  <a:lnTo>
                    <a:pt x="652" y="946"/>
                  </a:lnTo>
                  <a:lnTo>
                    <a:pt x="649" y="946"/>
                  </a:lnTo>
                  <a:lnTo>
                    <a:pt x="648" y="946"/>
                  </a:lnTo>
                  <a:lnTo>
                    <a:pt x="646" y="944"/>
                  </a:lnTo>
                  <a:lnTo>
                    <a:pt x="645" y="941"/>
                  </a:lnTo>
                  <a:lnTo>
                    <a:pt x="643" y="940"/>
                  </a:lnTo>
                  <a:lnTo>
                    <a:pt x="643" y="939"/>
                  </a:lnTo>
                  <a:lnTo>
                    <a:pt x="645" y="939"/>
                  </a:lnTo>
                  <a:lnTo>
                    <a:pt x="646" y="940"/>
                  </a:lnTo>
                  <a:lnTo>
                    <a:pt x="647" y="941"/>
                  </a:lnTo>
                  <a:lnTo>
                    <a:pt x="649" y="943"/>
                  </a:lnTo>
                  <a:lnTo>
                    <a:pt x="651" y="944"/>
                  </a:lnTo>
                  <a:lnTo>
                    <a:pt x="652" y="944"/>
                  </a:lnTo>
                  <a:lnTo>
                    <a:pt x="653" y="943"/>
                  </a:lnTo>
                  <a:lnTo>
                    <a:pt x="652" y="941"/>
                  </a:lnTo>
                  <a:lnTo>
                    <a:pt x="649" y="940"/>
                  </a:lnTo>
                  <a:lnTo>
                    <a:pt x="647" y="939"/>
                  </a:lnTo>
                  <a:lnTo>
                    <a:pt x="646" y="938"/>
                  </a:lnTo>
                  <a:lnTo>
                    <a:pt x="643" y="937"/>
                  </a:lnTo>
                  <a:lnTo>
                    <a:pt x="642" y="935"/>
                  </a:lnTo>
                  <a:lnTo>
                    <a:pt x="641" y="934"/>
                  </a:lnTo>
                  <a:lnTo>
                    <a:pt x="641" y="933"/>
                  </a:lnTo>
                  <a:lnTo>
                    <a:pt x="642" y="934"/>
                  </a:lnTo>
                  <a:lnTo>
                    <a:pt x="643" y="935"/>
                  </a:lnTo>
                  <a:lnTo>
                    <a:pt x="645" y="937"/>
                  </a:lnTo>
                  <a:lnTo>
                    <a:pt x="646" y="937"/>
                  </a:lnTo>
                  <a:lnTo>
                    <a:pt x="647" y="937"/>
                  </a:lnTo>
                  <a:lnTo>
                    <a:pt x="649" y="935"/>
                  </a:lnTo>
                  <a:lnTo>
                    <a:pt x="651" y="935"/>
                  </a:lnTo>
                  <a:lnTo>
                    <a:pt x="652" y="935"/>
                  </a:lnTo>
                  <a:lnTo>
                    <a:pt x="651" y="934"/>
                  </a:lnTo>
                  <a:lnTo>
                    <a:pt x="649" y="933"/>
                  </a:lnTo>
                  <a:lnTo>
                    <a:pt x="651" y="931"/>
                  </a:lnTo>
                  <a:lnTo>
                    <a:pt x="653" y="932"/>
                  </a:lnTo>
                  <a:lnTo>
                    <a:pt x="651" y="929"/>
                  </a:lnTo>
                  <a:lnTo>
                    <a:pt x="651" y="928"/>
                  </a:lnTo>
                  <a:lnTo>
                    <a:pt x="653" y="927"/>
                  </a:lnTo>
                  <a:lnTo>
                    <a:pt x="654" y="926"/>
                  </a:lnTo>
                  <a:lnTo>
                    <a:pt x="653" y="923"/>
                  </a:lnTo>
                  <a:lnTo>
                    <a:pt x="651" y="925"/>
                  </a:lnTo>
                  <a:lnTo>
                    <a:pt x="649" y="925"/>
                  </a:lnTo>
                  <a:lnTo>
                    <a:pt x="646" y="923"/>
                  </a:lnTo>
                  <a:lnTo>
                    <a:pt x="642" y="919"/>
                  </a:lnTo>
                  <a:lnTo>
                    <a:pt x="639" y="916"/>
                  </a:lnTo>
                  <a:lnTo>
                    <a:pt x="637" y="915"/>
                  </a:lnTo>
                  <a:lnTo>
                    <a:pt x="639" y="909"/>
                  </a:lnTo>
                  <a:lnTo>
                    <a:pt x="639" y="905"/>
                  </a:lnTo>
                  <a:lnTo>
                    <a:pt x="640" y="906"/>
                  </a:lnTo>
                  <a:lnTo>
                    <a:pt x="641" y="910"/>
                  </a:lnTo>
                  <a:lnTo>
                    <a:pt x="641" y="915"/>
                  </a:lnTo>
                  <a:lnTo>
                    <a:pt x="642" y="914"/>
                  </a:lnTo>
                  <a:lnTo>
                    <a:pt x="642" y="912"/>
                  </a:lnTo>
                  <a:lnTo>
                    <a:pt x="643" y="914"/>
                  </a:lnTo>
                  <a:lnTo>
                    <a:pt x="645" y="911"/>
                  </a:lnTo>
                  <a:lnTo>
                    <a:pt x="643" y="908"/>
                  </a:lnTo>
                  <a:lnTo>
                    <a:pt x="645" y="908"/>
                  </a:lnTo>
                  <a:lnTo>
                    <a:pt x="646" y="908"/>
                  </a:lnTo>
                  <a:lnTo>
                    <a:pt x="646" y="914"/>
                  </a:lnTo>
                  <a:lnTo>
                    <a:pt x="646" y="915"/>
                  </a:lnTo>
                  <a:lnTo>
                    <a:pt x="648" y="917"/>
                  </a:lnTo>
                  <a:lnTo>
                    <a:pt x="651" y="919"/>
                  </a:lnTo>
                  <a:lnTo>
                    <a:pt x="651" y="916"/>
                  </a:lnTo>
                  <a:lnTo>
                    <a:pt x="649" y="912"/>
                  </a:lnTo>
                  <a:lnTo>
                    <a:pt x="648" y="911"/>
                  </a:lnTo>
                  <a:lnTo>
                    <a:pt x="648" y="910"/>
                  </a:lnTo>
                  <a:lnTo>
                    <a:pt x="647" y="908"/>
                  </a:lnTo>
                  <a:lnTo>
                    <a:pt x="645" y="905"/>
                  </a:lnTo>
                  <a:lnTo>
                    <a:pt x="643" y="903"/>
                  </a:lnTo>
                  <a:lnTo>
                    <a:pt x="643" y="900"/>
                  </a:lnTo>
                  <a:lnTo>
                    <a:pt x="645" y="903"/>
                  </a:lnTo>
                  <a:lnTo>
                    <a:pt x="646" y="903"/>
                  </a:lnTo>
                  <a:lnTo>
                    <a:pt x="646" y="900"/>
                  </a:lnTo>
                  <a:lnTo>
                    <a:pt x="646" y="899"/>
                  </a:lnTo>
                  <a:lnTo>
                    <a:pt x="647" y="899"/>
                  </a:lnTo>
                  <a:lnTo>
                    <a:pt x="647" y="902"/>
                  </a:lnTo>
                  <a:lnTo>
                    <a:pt x="648" y="904"/>
                  </a:lnTo>
                  <a:lnTo>
                    <a:pt x="648" y="906"/>
                  </a:lnTo>
                  <a:lnTo>
                    <a:pt x="649" y="908"/>
                  </a:lnTo>
                  <a:lnTo>
                    <a:pt x="651" y="909"/>
                  </a:lnTo>
                  <a:lnTo>
                    <a:pt x="652" y="910"/>
                  </a:lnTo>
                  <a:lnTo>
                    <a:pt x="652" y="906"/>
                  </a:lnTo>
                  <a:lnTo>
                    <a:pt x="652" y="904"/>
                  </a:lnTo>
                  <a:lnTo>
                    <a:pt x="654" y="903"/>
                  </a:lnTo>
                  <a:lnTo>
                    <a:pt x="653" y="900"/>
                  </a:lnTo>
                  <a:lnTo>
                    <a:pt x="652" y="899"/>
                  </a:lnTo>
                  <a:lnTo>
                    <a:pt x="651" y="898"/>
                  </a:lnTo>
                  <a:lnTo>
                    <a:pt x="651" y="896"/>
                  </a:lnTo>
                  <a:lnTo>
                    <a:pt x="652" y="896"/>
                  </a:lnTo>
                  <a:lnTo>
                    <a:pt x="653" y="899"/>
                  </a:lnTo>
                  <a:lnTo>
                    <a:pt x="654" y="900"/>
                  </a:lnTo>
                  <a:lnTo>
                    <a:pt x="655" y="900"/>
                  </a:lnTo>
                  <a:lnTo>
                    <a:pt x="657" y="902"/>
                  </a:lnTo>
                  <a:lnTo>
                    <a:pt x="658" y="905"/>
                  </a:lnTo>
                  <a:lnTo>
                    <a:pt x="659" y="905"/>
                  </a:lnTo>
                  <a:lnTo>
                    <a:pt x="660" y="905"/>
                  </a:lnTo>
                  <a:lnTo>
                    <a:pt x="661" y="905"/>
                  </a:lnTo>
                  <a:lnTo>
                    <a:pt x="661" y="908"/>
                  </a:lnTo>
                  <a:lnTo>
                    <a:pt x="663" y="908"/>
                  </a:lnTo>
                  <a:lnTo>
                    <a:pt x="664" y="906"/>
                  </a:lnTo>
                  <a:lnTo>
                    <a:pt x="664" y="905"/>
                  </a:lnTo>
                  <a:lnTo>
                    <a:pt x="664" y="902"/>
                  </a:lnTo>
                  <a:lnTo>
                    <a:pt x="665" y="902"/>
                  </a:lnTo>
                  <a:lnTo>
                    <a:pt x="666" y="909"/>
                  </a:lnTo>
                  <a:lnTo>
                    <a:pt x="666" y="911"/>
                  </a:lnTo>
                  <a:lnTo>
                    <a:pt x="667" y="912"/>
                  </a:lnTo>
                  <a:lnTo>
                    <a:pt x="669" y="911"/>
                  </a:lnTo>
                  <a:lnTo>
                    <a:pt x="669" y="908"/>
                  </a:lnTo>
                  <a:lnTo>
                    <a:pt x="669" y="905"/>
                  </a:lnTo>
                  <a:lnTo>
                    <a:pt x="670" y="902"/>
                  </a:lnTo>
                  <a:lnTo>
                    <a:pt x="671" y="903"/>
                  </a:lnTo>
                  <a:lnTo>
                    <a:pt x="672" y="908"/>
                  </a:lnTo>
                  <a:lnTo>
                    <a:pt x="673" y="908"/>
                  </a:lnTo>
                  <a:lnTo>
                    <a:pt x="675" y="905"/>
                  </a:lnTo>
                  <a:lnTo>
                    <a:pt x="675" y="909"/>
                  </a:lnTo>
                  <a:lnTo>
                    <a:pt x="676" y="910"/>
                  </a:lnTo>
                  <a:lnTo>
                    <a:pt x="677" y="910"/>
                  </a:lnTo>
                  <a:lnTo>
                    <a:pt x="677" y="908"/>
                  </a:lnTo>
                  <a:lnTo>
                    <a:pt x="677" y="903"/>
                  </a:lnTo>
                  <a:lnTo>
                    <a:pt x="678" y="902"/>
                  </a:lnTo>
                  <a:lnTo>
                    <a:pt x="679" y="900"/>
                  </a:lnTo>
                  <a:lnTo>
                    <a:pt x="679" y="899"/>
                  </a:lnTo>
                  <a:lnTo>
                    <a:pt x="678" y="897"/>
                  </a:lnTo>
                  <a:lnTo>
                    <a:pt x="676" y="894"/>
                  </a:lnTo>
                  <a:lnTo>
                    <a:pt x="677" y="893"/>
                  </a:lnTo>
                  <a:lnTo>
                    <a:pt x="681" y="893"/>
                  </a:lnTo>
                  <a:lnTo>
                    <a:pt x="681" y="892"/>
                  </a:lnTo>
                  <a:lnTo>
                    <a:pt x="683" y="892"/>
                  </a:lnTo>
                  <a:lnTo>
                    <a:pt x="683" y="896"/>
                  </a:lnTo>
                  <a:lnTo>
                    <a:pt x="685" y="898"/>
                  </a:lnTo>
                  <a:lnTo>
                    <a:pt x="685" y="896"/>
                  </a:lnTo>
                  <a:lnTo>
                    <a:pt x="687" y="894"/>
                  </a:lnTo>
                  <a:lnTo>
                    <a:pt x="689" y="896"/>
                  </a:lnTo>
                  <a:lnTo>
                    <a:pt x="694" y="899"/>
                  </a:lnTo>
                  <a:lnTo>
                    <a:pt x="696" y="899"/>
                  </a:lnTo>
                  <a:lnTo>
                    <a:pt x="694" y="897"/>
                  </a:lnTo>
                  <a:lnTo>
                    <a:pt x="693" y="894"/>
                  </a:lnTo>
                  <a:lnTo>
                    <a:pt x="690" y="893"/>
                  </a:lnTo>
                  <a:lnTo>
                    <a:pt x="684" y="891"/>
                  </a:lnTo>
                  <a:lnTo>
                    <a:pt x="683" y="888"/>
                  </a:lnTo>
                  <a:lnTo>
                    <a:pt x="681" y="886"/>
                  </a:lnTo>
                  <a:lnTo>
                    <a:pt x="678" y="884"/>
                  </a:lnTo>
                  <a:lnTo>
                    <a:pt x="678" y="881"/>
                  </a:lnTo>
                  <a:lnTo>
                    <a:pt x="678" y="880"/>
                  </a:lnTo>
                  <a:lnTo>
                    <a:pt x="679" y="880"/>
                  </a:lnTo>
                  <a:lnTo>
                    <a:pt x="681" y="884"/>
                  </a:lnTo>
                  <a:lnTo>
                    <a:pt x="682" y="885"/>
                  </a:lnTo>
                  <a:lnTo>
                    <a:pt x="683" y="886"/>
                  </a:lnTo>
                  <a:lnTo>
                    <a:pt x="685" y="886"/>
                  </a:lnTo>
                  <a:lnTo>
                    <a:pt x="687" y="886"/>
                  </a:lnTo>
                  <a:lnTo>
                    <a:pt x="687" y="887"/>
                  </a:lnTo>
                  <a:lnTo>
                    <a:pt x="688" y="885"/>
                  </a:lnTo>
                  <a:lnTo>
                    <a:pt x="688" y="881"/>
                  </a:lnTo>
                  <a:lnTo>
                    <a:pt x="688" y="879"/>
                  </a:lnTo>
                  <a:lnTo>
                    <a:pt x="689" y="881"/>
                  </a:lnTo>
                  <a:lnTo>
                    <a:pt x="689" y="884"/>
                  </a:lnTo>
                  <a:lnTo>
                    <a:pt x="689" y="887"/>
                  </a:lnTo>
                  <a:lnTo>
                    <a:pt x="690" y="887"/>
                  </a:lnTo>
                  <a:lnTo>
                    <a:pt x="690" y="890"/>
                  </a:lnTo>
                  <a:lnTo>
                    <a:pt x="690" y="891"/>
                  </a:lnTo>
                  <a:lnTo>
                    <a:pt x="692" y="892"/>
                  </a:lnTo>
                  <a:lnTo>
                    <a:pt x="692" y="891"/>
                  </a:lnTo>
                  <a:lnTo>
                    <a:pt x="693" y="890"/>
                  </a:lnTo>
                  <a:lnTo>
                    <a:pt x="693" y="888"/>
                  </a:lnTo>
                  <a:lnTo>
                    <a:pt x="692" y="886"/>
                  </a:lnTo>
                  <a:lnTo>
                    <a:pt x="693" y="884"/>
                  </a:lnTo>
                  <a:lnTo>
                    <a:pt x="694" y="882"/>
                  </a:lnTo>
                  <a:lnTo>
                    <a:pt x="694" y="886"/>
                  </a:lnTo>
                  <a:lnTo>
                    <a:pt x="694" y="887"/>
                  </a:lnTo>
                  <a:lnTo>
                    <a:pt x="695" y="888"/>
                  </a:lnTo>
                  <a:lnTo>
                    <a:pt x="695" y="892"/>
                  </a:lnTo>
                  <a:lnTo>
                    <a:pt x="696" y="891"/>
                  </a:lnTo>
                  <a:lnTo>
                    <a:pt x="696" y="888"/>
                  </a:lnTo>
                  <a:lnTo>
                    <a:pt x="696" y="886"/>
                  </a:lnTo>
                  <a:lnTo>
                    <a:pt x="696" y="882"/>
                  </a:lnTo>
                  <a:lnTo>
                    <a:pt x="696" y="880"/>
                  </a:lnTo>
                  <a:lnTo>
                    <a:pt x="698" y="884"/>
                  </a:lnTo>
                  <a:lnTo>
                    <a:pt x="700" y="884"/>
                  </a:lnTo>
                  <a:lnTo>
                    <a:pt x="701" y="886"/>
                  </a:lnTo>
                  <a:lnTo>
                    <a:pt x="701" y="891"/>
                  </a:lnTo>
                  <a:lnTo>
                    <a:pt x="702" y="891"/>
                  </a:lnTo>
                  <a:lnTo>
                    <a:pt x="704" y="888"/>
                  </a:lnTo>
                  <a:lnTo>
                    <a:pt x="705" y="886"/>
                  </a:lnTo>
                  <a:lnTo>
                    <a:pt x="705" y="882"/>
                  </a:lnTo>
                  <a:lnTo>
                    <a:pt x="704" y="880"/>
                  </a:lnTo>
                  <a:lnTo>
                    <a:pt x="705" y="876"/>
                  </a:lnTo>
                  <a:lnTo>
                    <a:pt x="704" y="875"/>
                  </a:lnTo>
                  <a:lnTo>
                    <a:pt x="704" y="873"/>
                  </a:lnTo>
                  <a:lnTo>
                    <a:pt x="705" y="873"/>
                  </a:lnTo>
                  <a:lnTo>
                    <a:pt x="706" y="876"/>
                  </a:lnTo>
                  <a:lnTo>
                    <a:pt x="706" y="878"/>
                  </a:lnTo>
                  <a:lnTo>
                    <a:pt x="707" y="881"/>
                  </a:lnTo>
                  <a:lnTo>
                    <a:pt x="708" y="882"/>
                  </a:lnTo>
                  <a:lnTo>
                    <a:pt x="711" y="880"/>
                  </a:lnTo>
                  <a:lnTo>
                    <a:pt x="710" y="876"/>
                  </a:lnTo>
                  <a:lnTo>
                    <a:pt x="710" y="874"/>
                  </a:lnTo>
                  <a:lnTo>
                    <a:pt x="711" y="872"/>
                  </a:lnTo>
                  <a:lnTo>
                    <a:pt x="712" y="869"/>
                  </a:lnTo>
                  <a:lnTo>
                    <a:pt x="713" y="872"/>
                  </a:lnTo>
                  <a:lnTo>
                    <a:pt x="716" y="878"/>
                  </a:lnTo>
                  <a:lnTo>
                    <a:pt x="716" y="880"/>
                  </a:lnTo>
                  <a:lnTo>
                    <a:pt x="719" y="879"/>
                  </a:lnTo>
                  <a:lnTo>
                    <a:pt x="719" y="875"/>
                  </a:lnTo>
                  <a:lnTo>
                    <a:pt x="720" y="875"/>
                  </a:lnTo>
                  <a:lnTo>
                    <a:pt x="720" y="878"/>
                  </a:lnTo>
                  <a:lnTo>
                    <a:pt x="720" y="881"/>
                  </a:lnTo>
                  <a:lnTo>
                    <a:pt x="720" y="886"/>
                  </a:lnTo>
                  <a:lnTo>
                    <a:pt x="722" y="887"/>
                  </a:lnTo>
                  <a:lnTo>
                    <a:pt x="723" y="885"/>
                  </a:lnTo>
                  <a:lnTo>
                    <a:pt x="723" y="882"/>
                  </a:lnTo>
                  <a:lnTo>
                    <a:pt x="724" y="884"/>
                  </a:lnTo>
                  <a:lnTo>
                    <a:pt x="725" y="884"/>
                  </a:lnTo>
                  <a:lnTo>
                    <a:pt x="728" y="882"/>
                  </a:lnTo>
                  <a:lnTo>
                    <a:pt x="728" y="879"/>
                  </a:lnTo>
                  <a:lnTo>
                    <a:pt x="729" y="875"/>
                  </a:lnTo>
                  <a:lnTo>
                    <a:pt x="731" y="875"/>
                  </a:lnTo>
                  <a:lnTo>
                    <a:pt x="732" y="876"/>
                  </a:lnTo>
                  <a:lnTo>
                    <a:pt x="735" y="876"/>
                  </a:lnTo>
                  <a:lnTo>
                    <a:pt x="732" y="874"/>
                  </a:lnTo>
                  <a:lnTo>
                    <a:pt x="731" y="872"/>
                  </a:lnTo>
                  <a:lnTo>
                    <a:pt x="729" y="869"/>
                  </a:lnTo>
                  <a:lnTo>
                    <a:pt x="725" y="866"/>
                  </a:lnTo>
                  <a:lnTo>
                    <a:pt x="717" y="862"/>
                  </a:lnTo>
                  <a:lnTo>
                    <a:pt x="712" y="858"/>
                  </a:lnTo>
                  <a:lnTo>
                    <a:pt x="704" y="857"/>
                  </a:lnTo>
                  <a:lnTo>
                    <a:pt x="699" y="857"/>
                  </a:lnTo>
                  <a:lnTo>
                    <a:pt x="695" y="858"/>
                  </a:lnTo>
                  <a:lnTo>
                    <a:pt x="694" y="858"/>
                  </a:lnTo>
                  <a:lnTo>
                    <a:pt x="692" y="858"/>
                  </a:lnTo>
                  <a:lnTo>
                    <a:pt x="690" y="857"/>
                  </a:lnTo>
                  <a:lnTo>
                    <a:pt x="688" y="858"/>
                  </a:lnTo>
                  <a:lnTo>
                    <a:pt x="683" y="856"/>
                  </a:lnTo>
                  <a:lnTo>
                    <a:pt x="679" y="855"/>
                  </a:lnTo>
                  <a:lnTo>
                    <a:pt x="676" y="852"/>
                  </a:lnTo>
                  <a:lnTo>
                    <a:pt x="676" y="851"/>
                  </a:lnTo>
                  <a:lnTo>
                    <a:pt x="678" y="850"/>
                  </a:lnTo>
                  <a:lnTo>
                    <a:pt x="679" y="850"/>
                  </a:lnTo>
                  <a:lnTo>
                    <a:pt x="684" y="852"/>
                  </a:lnTo>
                  <a:lnTo>
                    <a:pt x="685" y="851"/>
                  </a:lnTo>
                  <a:lnTo>
                    <a:pt x="683" y="850"/>
                  </a:lnTo>
                  <a:lnTo>
                    <a:pt x="681" y="849"/>
                  </a:lnTo>
                  <a:lnTo>
                    <a:pt x="684" y="846"/>
                  </a:lnTo>
                  <a:lnTo>
                    <a:pt x="684" y="845"/>
                  </a:lnTo>
                  <a:lnTo>
                    <a:pt x="679" y="846"/>
                  </a:lnTo>
                  <a:lnTo>
                    <a:pt x="678" y="846"/>
                  </a:lnTo>
                  <a:lnTo>
                    <a:pt x="677" y="848"/>
                  </a:lnTo>
                  <a:lnTo>
                    <a:pt x="676" y="848"/>
                  </a:lnTo>
                  <a:lnTo>
                    <a:pt x="675" y="849"/>
                  </a:lnTo>
                  <a:lnTo>
                    <a:pt x="672" y="851"/>
                  </a:lnTo>
                  <a:lnTo>
                    <a:pt x="670" y="850"/>
                  </a:lnTo>
                  <a:lnTo>
                    <a:pt x="667" y="852"/>
                  </a:lnTo>
                  <a:lnTo>
                    <a:pt x="666" y="855"/>
                  </a:lnTo>
                  <a:lnTo>
                    <a:pt x="661" y="852"/>
                  </a:lnTo>
                  <a:lnTo>
                    <a:pt x="655" y="849"/>
                  </a:lnTo>
                  <a:lnTo>
                    <a:pt x="648" y="846"/>
                  </a:lnTo>
                  <a:lnTo>
                    <a:pt x="646" y="848"/>
                  </a:lnTo>
                  <a:lnTo>
                    <a:pt x="645" y="846"/>
                  </a:lnTo>
                  <a:lnTo>
                    <a:pt x="643" y="845"/>
                  </a:lnTo>
                  <a:lnTo>
                    <a:pt x="646" y="844"/>
                  </a:lnTo>
                  <a:lnTo>
                    <a:pt x="646" y="842"/>
                  </a:lnTo>
                  <a:lnTo>
                    <a:pt x="645" y="839"/>
                  </a:lnTo>
                  <a:lnTo>
                    <a:pt x="646" y="836"/>
                  </a:lnTo>
                  <a:lnTo>
                    <a:pt x="647" y="837"/>
                  </a:lnTo>
                  <a:lnTo>
                    <a:pt x="648" y="840"/>
                  </a:lnTo>
                  <a:lnTo>
                    <a:pt x="649" y="840"/>
                  </a:lnTo>
                  <a:lnTo>
                    <a:pt x="651" y="837"/>
                  </a:lnTo>
                  <a:lnTo>
                    <a:pt x="651" y="836"/>
                  </a:lnTo>
                  <a:lnTo>
                    <a:pt x="651" y="834"/>
                  </a:lnTo>
                  <a:lnTo>
                    <a:pt x="653" y="836"/>
                  </a:lnTo>
                  <a:lnTo>
                    <a:pt x="654" y="837"/>
                  </a:lnTo>
                  <a:lnTo>
                    <a:pt x="655" y="836"/>
                  </a:lnTo>
                  <a:lnTo>
                    <a:pt x="657" y="834"/>
                  </a:lnTo>
                  <a:lnTo>
                    <a:pt x="657" y="836"/>
                  </a:lnTo>
                  <a:lnTo>
                    <a:pt x="658" y="836"/>
                  </a:lnTo>
                  <a:lnTo>
                    <a:pt x="659" y="833"/>
                  </a:lnTo>
                  <a:lnTo>
                    <a:pt x="661" y="832"/>
                  </a:lnTo>
                  <a:lnTo>
                    <a:pt x="664" y="831"/>
                  </a:lnTo>
                  <a:lnTo>
                    <a:pt x="669" y="828"/>
                  </a:lnTo>
                  <a:lnTo>
                    <a:pt x="669" y="825"/>
                  </a:lnTo>
                  <a:lnTo>
                    <a:pt x="670" y="824"/>
                  </a:lnTo>
                  <a:lnTo>
                    <a:pt x="671" y="824"/>
                  </a:lnTo>
                  <a:lnTo>
                    <a:pt x="673" y="824"/>
                  </a:lnTo>
                  <a:lnTo>
                    <a:pt x="675" y="822"/>
                  </a:lnTo>
                  <a:lnTo>
                    <a:pt x="673" y="820"/>
                  </a:lnTo>
                  <a:lnTo>
                    <a:pt x="672" y="816"/>
                  </a:lnTo>
                  <a:lnTo>
                    <a:pt x="675" y="816"/>
                  </a:lnTo>
                  <a:lnTo>
                    <a:pt x="676" y="816"/>
                  </a:lnTo>
                  <a:lnTo>
                    <a:pt x="676" y="821"/>
                  </a:lnTo>
                  <a:lnTo>
                    <a:pt x="677" y="824"/>
                  </a:lnTo>
                  <a:lnTo>
                    <a:pt x="678" y="825"/>
                  </a:lnTo>
                  <a:lnTo>
                    <a:pt x="678" y="822"/>
                  </a:lnTo>
                  <a:lnTo>
                    <a:pt x="678" y="819"/>
                  </a:lnTo>
                  <a:lnTo>
                    <a:pt x="679" y="816"/>
                  </a:lnTo>
                  <a:lnTo>
                    <a:pt x="681" y="816"/>
                  </a:lnTo>
                  <a:lnTo>
                    <a:pt x="681" y="818"/>
                  </a:lnTo>
                  <a:lnTo>
                    <a:pt x="682" y="822"/>
                  </a:lnTo>
                  <a:lnTo>
                    <a:pt x="681" y="826"/>
                  </a:lnTo>
                  <a:lnTo>
                    <a:pt x="682" y="830"/>
                  </a:lnTo>
                  <a:lnTo>
                    <a:pt x="682" y="826"/>
                  </a:lnTo>
                  <a:lnTo>
                    <a:pt x="683" y="822"/>
                  </a:lnTo>
                  <a:lnTo>
                    <a:pt x="684" y="821"/>
                  </a:lnTo>
                  <a:lnTo>
                    <a:pt x="684" y="819"/>
                  </a:lnTo>
                  <a:lnTo>
                    <a:pt x="683" y="816"/>
                  </a:lnTo>
                  <a:lnTo>
                    <a:pt x="682" y="814"/>
                  </a:lnTo>
                  <a:lnTo>
                    <a:pt x="684" y="812"/>
                  </a:lnTo>
                  <a:lnTo>
                    <a:pt x="684" y="809"/>
                  </a:lnTo>
                  <a:lnTo>
                    <a:pt x="685" y="808"/>
                  </a:lnTo>
                  <a:lnTo>
                    <a:pt x="687" y="810"/>
                  </a:lnTo>
                  <a:lnTo>
                    <a:pt x="689" y="812"/>
                  </a:lnTo>
                  <a:lnTo>
                    <a:pt x="689" y="809"/>
                  </a:lnTo>
                  <a:lnTo>
                    <a:pt x="689" y="807"/>
                  </a:lnTo>
                  <a:lnTo>
                    <a:pt x="690" y="805"/>
                  </a:lnTo>
                  <a:lnTo>
                    <a:pt x="690" y="803"/>
                  </a:lnTo>
                  <a:lnTo>
                    <a:pt x="689" y="799"/>
                  </a:lnTo>
                  <a:lnTo>
                    <a:pt x="688" y="797"/>
                  </a:lnTo>
                  <a:lnTo>
                    <a:pt x="688" y="796"/>
                  </a:lnTo>
                  <a:lnTo>
                    <a:pt x="690" y="796"/>
                  </a:lnTo>
                  <a:lnTo>
                    <a:pt x="693" y="797"/>
                  </a:lnTo>
                  <a:lnTo>
                    <a:pt x="693" y="799"/>
                  </a:lnTo>
                  <a:lnTo>
                    <a:pt x="692" y="803"/>
                  </a:lnTo>
                  <a:lnTo>
                    <a:pt x="692" y="807"/>
                  </a:lnTo>
                  <a:lnTo>
                    <a:pt x="692" y="810"/>
                  </a:lnTo>
                  <a:lnTo>
                    <a:pt x="693" y="813"/>
                  </a:lnTo>
                  <a:lnTo>
                    <a:pt x="694" y="809"/>
                  </a:lnTo>
                  <a:lnTo>
                    <a:pt x="694" y="804"/>
                  </a:lnTo>
                  <a:lnTo>
                    <a:pt x="694" y="807"/>
                  </a:lnTo>
                  <a:lnTo>
                    <a:pt x="694" y="809"/>
                  </a:lnTo>
                  <a:lnTo>
                    <a:pt x="695" y="809"/>
                  </a:lnTo>
                  <a:lnTo>
                    <a:pt x="696" y="808"/>
                  </a:lnTo>
                  <a:lnTo>
                    <a:pt x="696" y="804"/>
                  </a:lnTo>
                  <a:lnTo>
                    <a:pt x="696" y="801"/>
                  </a:lnTo>
                  <a:lnTo>
                    <a:pt x="696" y="798"/>
                  </a:lnTo>
                  <a:lnTo>
                    <a:pt x="698" y="798"/>
                  </a:lnTo>
                  <a:lnTo>
                    <a:pt x="698" y="802"/>
                  </a:lnTo>
                  <a:lnTo>
                    <a:pt x="698" y="810"/>
                  </a:lnTo>
                  <a:lnTo>
                    <a:pt x="699" y="812"/>
                  </a:lnTo>
                  <a:lnTo>
                    <a:pt x="700" y="814"/>
                  </a:lnTo>
                  <a:lnTo>
                    <a:pt x="700" y="812"/>
                  </a:lnTo>
                  <a:lnTo>
                    <a:pt x="700" y="805"/>
                  </a:lnTo>
                  <a:lnTo>
                    <a:pt x="700" y="803"/>
                  </a:lnTo>
                  <a:lnTo>
                    <a:pt x="701" y="805"/>
                  </a:lnTo>
                  <a:lnTo>
                    <a:pt x="701" y="809"/>
                  </a:lnTo>
                  <a:lnTo>
                    <a:pt x="701" y="814"/>
                  </a:lnTo>
                  <a:lnTo>
                    <a:pt x="702" y="815"/>
                  </a:lnTo>
                  <a:lnTo>
                    <a:pt x="704" y="813"/>
                  </a:lnTo>
                  <a:lnTo>
                    <a:pt x="704" y="809"/>
                  </a:lnTo>
                  <a:lnTo>
                    <a:pt x="705" y="805"/>
                  </a:lnTo>
                  <a:lnTo>
                    <a:pt x="705" y="804"/>
                  </a:lnTo>
                  <a:lnTo>
                    <a:pt x="706" y="805"/>
                  </a:lnTo>
                  <a:lnTo>
                    <a:pt x="707" y="804"/>
                  </a:lnTo>
                  <a:lnTo>
                    <a:pt x="708" y="804"/>
                  </a:lnTo>
                  <a:lnTo>
                    <a:pt x="710" y="807"/>
                  </a:lnTo>
                  <a:lnTo>
                    <a:pt x="711" y="808"/>
                  </a:lnTo>
                  <a:lnTo>
                    <a:pt x="711" y="809"/>
                  </a:lnTo>
                  <a:lnTo>
                    <a:pt x="713" y="812"/>
                  </a:lnTo>
                  <a:lnTo>
                    <a:pt x="713" y="808"/>
                  </a:lnTo>
                  <a:lnTo>
                    <a:pt x="712" y="805"/>
                  </a:lnTo>
                  <a:lnTo>
                    <a:pt x="714" y="807"/>
                  </a:lnTo>
                  <a:lnTo>
                    <a:pt x="718" y="807"/>
                  </a:lnTo>
                  <a:lnTo>
                    <a:pt x="717" y="805"/>
                  </a:lnTo>
                  <a:lnTo>
                    <a:pt x="713" y="803"/>
                  </a:lnTo>
                  <a:lnTo>
                    <a:pt x="713" y="802"/>
                  </a:lnTo>
                  <a:lnTo>
                    <a:pt x="711" y="802"/>
                  </a:lnTo>
                  <a:lnTo>
                    <a:pt x="710" y="802"/>
                  </a:lnTo>
                  <a:lnTo>
                    <a:pt x="708" y="801"/>
                  </a:lnTo>
                  <a:lnTo>
                    <a:pt x="706" y="802"/>
                  </a:lnTo>
                  <a:lnTo>
                    <a:pt x="705" y="799"/>
                  </a:lnTo>
                  <a:lnTo>
                    <a:pt x="701" y="797"/>
                  </a:lnTo>
                  <a:lnTo>
                    <a:pt x="696" y="795"/>
                  </a:lnTo>
                  <a:lnTo>
                    <a:pt x="694" y="793"/>
                  </a:lnTo>
                  <a:lnTo>
                    <a:pt x="693" y="795"/>
                  </a:lnTo>
                  <a:lnTo>
                    <a:pt x="688" y="793"/>
                  </a:lnTo>
                  <a:lnTo>
                    <a:pt x="687" y="793"/>
                  </a:lnTo>
                  <a:lnTo>
                    <a:pt x="684" y="793"/>
                  </a:lnTo>
                  <a:lnTo>
                    <a:pt x="679" y="793"/>
                  </a:lnTo>
                  <a:lnTo>
                    <a:pt x="676" y="793"/>
                  </a:lnTo>
                  <a:lnTo>
                    <a:pt x="675" y="795"/>
                  </a:lnTo>
                  <a:lnTo>
                    <a:pt x="671" y="795"/>
                  </a:lnTo>
                  <a:lnTo>
                    <a:pt x="669" y="796"/>
                  </a:lnTo>
                  <a:lnTo>
                    <a:pt x="667" y="796"/>
                  </a:lnTo>
                  <a:lnTo>
                    <a:pt x="664" y="797"/>
                  </a:lnTo>
                  <a:lnTo>
                    <a:pt x="661" y="798"/>
                  </a:lnTo>
                  <a:lnTo>
                    <a:pt x="657" y="798"/>
                  </a:lnTo>
                  <a:lnTo>
                    <a:pt x="651" y="798"/>
                  </a:lnTo>
                  <a:lnTo>
                    <a:pt x="651" y="799"/>
                  </a:lnTo>
                  <a:lnTo>
                    <a:pt x="649" y="799"/>
                  </a:lnTo>
                  <a:lnTo>
                    <a:pt x="648" y="798"/>
                  </a:lnTo>
                  <a:lnTo>
                    <a:pt x="646" y="798"/>
                  </a:lnTo>
                  <a:lnTo>
                    <a:pt x="645" y="799"/>
                  </a:lnTo>
                  <a:lnTo>
                    <a:pt x="641" y="799"/>
                  </a:lnTo>
                  <a:lnTo>
                    <a:pt x="641" y="801"/>
                  </a:lnTo>
                  <a:lnTo>
                    <a:pt x="640" y="801"/>
                  </a:lnTo>
                  <a:lnTo>
                    <a:pt x="637" y="799"/>
                  </a:lnTo>
                  <a:lnTo>
                    <a:pt x="631" y="799"/>
                  </a:lnTo>
                  <a:lnTo>
                    <a:pt x="626" y="799"/>
                  </a:lnTo>
                  <a:lnTo>
                    <a:pt x="624" y="798"/>
                  </a:lnTo>
                  <a:lnTo>
                    <a:pt x="623" y="799"/>
                  </a:lnTo>
                  <a:lnTo>
                    <a:pt x="622" y="799"/>
                  </a:lnTo>
                  <a:lnTo>
                    <a:pt x="620" y="802"/>
                  </a:lnTo>
                  <a:lnTo>
                    <a:pt x="619" y="801"/>
                  </a:lnTo>
                  <a:lnTo>
                    <a:pt x="618" y="801"/>
                  </a:lnTo>
                  <a:lnTo>
                    <a:pt x="617" y="801"/>
                  </a:lnTo>
                  <a:lnTo>
                    <a:pt x="616" y="799"/>
                  </a:lnTo>
                  <a:lnTo>
                    <a:pt x="614" y="797"/>
                  </a:lnTo>
                  <a:lnTo>
                    <a:pt x="611" y="796"/>
                  </a:lnTo>
                  <a:lnTo>
                    <a:pt x="608" y="796"/>
                  </a:lnTo>
                  <a:lnTo>
                    <a:pt x="604" y="795"/>
                  </a:lnTo>
                  <a:lnTo>
                    <a:pt x="599" y="792"/>
                  </a:lnTo>
                  <a:lnTo>
                    <a:pt x="595" y="790"/>
                  </a:lnTo>
                  <a:lnTo>
                    <a:pt x="595" y="789"/>
                  </a:lnTo>
                  <a:lnTo>
                    <a:pt x="598" y="790"/>
                  </a:lnTo>
                  <a:lnTo>
                    <a:pt x="601" y="792"/>
                  </a:lnTo>
                  <a:lnTo>
                    <a:pt x="601" y="791"/>
                  </a:lnTo>
                  <a:lnTo>
                    <a:pt x="596" y="787"/>
                  </a:lnTo>
                  <a:lnTo>
                    <a:pt x="598" y="786"/>
                  </a:lnTo>
                  <a:lnTo>
                    <a:pt x="602" y="786"/>
                  </a:lnTo>
                  <a:lnTo>
                    <a:pt x="604" y="786"/>
                  </a:lnTo>
                  <a:lnTo>
                    <a:pt x="598" y="785"/>
                  </a:lnTo>
                  <a:lnTo>
                    <a:pt x="595" y="784"/>
                  </a:lnTo>
                  <a:lnTo>
                    <a:pt x="595" y="783"/>
                  </a:lnTo>
                  <a:lnTo>
                    <a:pt x="594" y="781"/>
                  </a:lnTo>
                  <a:lnTo>
                    <a:pt x="593" y="781"/>
                  </a:lnTo>
                  <a:lnTo>
                    <a:pt x="590" y="781"/>
                  </a:lnTo>
                  <a:lnTo>
                    <a:pt x="592" y="783"/>
                  </a:lnTo>
                  <a:lnTo>
                    <a:pt x="592" y="784"/>
                  </a:lnTo>
                  <a:lnTo>
                    <a:pt x="592" y="785"/>
                  </a:lnTo>
                  <a:lnTo>
                    <a:pt x="588" y="787"/>
                  </a:lnTo>
                  <a:lnTo>
                    <a:pt x="587" y="789"/>
                  </a:lnTo>
                  <a:lnTo>
                    <a:pt x="583" y="789"/>
                  </a:lnTo>
                  <a:lnTo>
                    <a:pt x="580" y="786"/>
                  </a:lnTo>
                  <a:lnTo>
                    <a:pt x="572" y="784"/>
                  </a:lnTo>
                  <a:lnTo>
                    <a:pt x="571" y="784"/>
                  </a:lnTo>
                  <a:lnTo>
                    <a:pt x="570" y="785"/>
                  </a:lnTo>
                  <a:lnTo>
                    <a:pt x="569" y="785"/>
                  </a:lnTo>
                  <a:lnTo>
                    <a:pt x="565" y="786"/>
                  </a:lnTo>
                  <a:lnTo>
                    <a:pt x="563" y="785"/>
                  </a:lnTo>
                  <a:lnTo>
                    <a:pt x="560" y="784"/>
                  </a:lnTo>
                  <a:lnTo>
                    <a:pt x="560" y="781"/>
                  </a:lnTo>
                  <a:lnTo>
                    <a:pt x="558" y="781"/>
                  </a:lnTo>
                  <a:lnTo>
                    <a:pt x="554" y="781"/>
                  </a:lnTo>
                  <a:lnTo>
                    <a:pt x="553" y="780"/>
                  </a:lnTo>
                  <a:lnTo>
                    <a:pt x="551" y="780"/>
                  </a:lnTo>
                  <a:lnTo>
                    <a:pt x="548" y="779"/>
                  </a:lnTo>
                  <a:lnTo>
                    <a:pt x="546" y="769"/>
                  </a:lnTo>
                  <a:lnTo>
                    <a:pt x="543" y="767"/>
                  </a:lnTo>
                  <a:lnTo>
                    <a:pt x="543" y="765"/>
                  </a:lnTo>
                  <a:lnTo>
                    <a:pt x="545" y="761"/>
                  </a:lnTo>
                  <a:lnTo>
                    <a:pt x="545" y="756"/>
                  </a:lnTo>
                  <a:lnTo>
                    <a:pt x="546" y="756"/>
                  </a:lnTo>
                  <a:lnTo>
                    <a:pt x="549" y="759"/>
                  </a:lnTo>
                  <a:lnTo>
                    <a:pt x="552" y="759"/>
                  </a:lnTo>
                  <a:lnTo>
                    <a:pt x="553" y="761"/>
                  </a:lnTo>
                  <a:lnTo>
                    <a:pt x="554" y="762"/>
                  </a:lnTo>
                  <a:lnTo>
                    <a:pt x="555" y="765"/>
                  </a:lnTo>
                  <a:lnTo>
                    <a:pt x="555" y="768"/>
                  </a:lnTo>
                  <a:lnTo>
                    <a:pt x="557" y="772"/>
                  </a:lnTo>
                  <a:lnTo>
                    <a:pt x="558" y="772"/>
                  </a:lnTo>
                  <a:lnTo>
                    <a:pt x="559" y="769"/>
                  </a:lnTo>
                  <a:lnTo>
                    <a:pt x="559" y="767"/>
                  </a:lnTo>
                  <a:lnTo>
                    <a:pt x="558" y="765"/>
                  </a:lnTo>
                  <a:lnTo>
                    <a:pt x="560" y="762"/>
                  </a:lnTo>
                  <a:lnTo>
                    <a:pt x="561" y="765"/>
                  </a:lnTo>
                  <a:lnTo>
                    <a:pt x="561" y="767"/>
                  </a:lnTo>
                  <a:lnTo>
                    <a:pt x="563" y="769"/>
                  </a:lnTo>
                  <a:lnTo>
                    <a:pt x="563" y="771"/>
                  </a:lnTo>
                  <a:lnTo>
                    <a:pt x="564" y="769"/>
                  </a:lnTo>
                  <a:lnTo>
                    <a:pt x="565" y="767"/>
                  </a:lnTo>
                  <a:lnTo>
                    <a:pt x="564" y="765"/>
                  </a:lnTo>
                  <a:lnTo>
                    <a:pt x="565" y="763"/>
                  </a:lnTo>
                  <a:lnTo>
                    <a:pt x="565" y="762"/>
                  </a:lnTo>
                  <a:lnTo>
                    <a:pt x="564" y="761"/>
                  </a:lnTo>
                  <a:lnTo>
                    <a:pt x="565" y="759"/>
                  </a:lnTo>
                  <a:lnTo>
                    <a:pt x="566" y="761"/>
                  </a:lnTo>
                  <a:lnTo>
                    <a:pt x="566" y="759"/>
                  </a:lnTo>
                  <a:lnTo>
                    <a:pt x="567" y="759"/>
                  </a:lnTo>
                  <a:lnTo>
                    <a:pt x="569" y="760"/>
                  </a:lnTo>
                  <a:lnTo>
                    <a:pt x="571" y="759"/>
                  </a:lnTo>
                  <a:lnTo>
                    <a:pt x="570" y="757"/>
                  </a:lnTo>
                  <a:lnTo>
                    <a:pt x="571" y="756"/>
                  </a:lnTo>
                  <a:lnTo>
                    <a:pt x="571" y="759"/>
                  </a:lnTo>
                  <a:lnTo>
                    <a:pt x="572" y="761"/>
                  </a:lnTo>
                  <a:lnTo>
                    <a:pt x="571" y="765"/>
                  </a:lnTo>
                  <a:lnTo>
                    <a:pt x="572" y="767"/>
                  </a:lnTo>
                  <a:lnTo>
                    <a:pt x="572" y="765"/>
                  </a:lnTo>
                  <a:lnTo>
                    <a:pt x="574" y="762"/>
                  </a:lnTo>
                  <a:lnTo>
                    <a:pt x="575" y="761"/>
                  </a:lnTo>
                  <a:lnTo>
                    <a:pt x="574" y="759"/>
                  </a:lnTo>
                  <a:lnTo>
                    <a:pt x="574" y="755"/>
                  </a:lnTo>
                  <a:lnTo>
                    <a:pt x="575" y="753"/>
                  </a:lnTo>
                  <a:lnTo>
                    <a:pt x="575" y="755"/>
                  </a:lnTo>
                  <a:lnTo>
                    <a:pt x="576" y="756"/>
                  </a:lnTo>
                  <a:lnTo>
                    <a:pt x="578" y="756"/>
                  </a:lnTo>
                  <a:lnTo>
                    <a:pt x="578" y="759"/>
                  </a:lnTo>
                  <a:lnTo>
                    <a:pt x="578" y="765"/>
                  </a:lnTo>
                  <a:lnTo>
                    <a:pt x="578" y="769"/>
                  </a:lnTo>
                  <a:lnTo>
                    <a:pt x="580" y="765"/>
                  </a:lnTo>
                  <a:lnTo>
                    <a:pt x="580" y="761"/>
                  </a:lnTo>
                  <a:lnTo>
                    <a:pt x="580" y="756"/>
                  </a:lnTo>
                  <a:lnTo>
                    <a:pt x="580" y="753"/>
                  </a:lnTo>
                  <a:lnTo>
                    <a:pt x="581" y="753"/>
                  </a:lnTo>
                  <a:lnTo>
                    <a:pt x="582" y="759"/>
                  </a:lnTo>
                  <a:lnTo>
                    <a:pt x="583" y="760"/>
                  </a:lnTo>
                  <a:lnTo>
                    <a:pt x="583" y="757"/>
                  </a:lnTo>
                  <a:lnTo>
                    <a:pt x="584" y="757"/>
                  </a:lnTo>
                  <a:lnTo>
                    <a:pt x="584" y="760"/>
                  </a:lnTo>
                  <a:lnTo>
                    <a:pt x="586" y="766"/>
                  </a:lnTo>
                  <a:lnTo>
                    <a:pt x="587" y="762"/>
                  </a:lnTo>
                  <a:lnTo>
                    <a:pt x="587" y="760"/>
                  </a:lnTo>
                  <a:lnTo>
                    <a:pt x="587" y="756"/>
                  </a:lnTo>
                  <a:lnTo>
                    <a:pt x="587" y="747"/>
                  </a:lnTo>
                  <a:lnTo>
                    <a:pt x="588" y="747"/>
                  </a:lnTo>
                  <a:lnTo>
                    <a:pt x="590" y="750"/>
                  </a:lnTo>
                  <a:lnTo>
                    <a:pt x="590" y="754"/>
                  </a:lnTo>
                  <a:lnTo>
                    <a:pt x="589" y="757"/>
                  </a:lnTo>
                  <a:lnTo>
                    <a:pt x="588" y="763"/>
                  </a:lnTo>
                  <a:lnTo>
                    <a:pt x="589" y="767"/>
                  </a:lnTo>
                  <a:lnTo>
                    <a:pt x="590" y="766"/>
                  </a:lnTo>
                  <a:lnTo>
                    <a:pt x="592" y="762"/>
                  </a:lnTo>
                  <a:lnTo>
                    <a:pt x="593" y="762"/>
                  </a:lnTo>
                  <a:lnTo>
                    <a:pt x="593" y="763"/>
                  </a:lnTo>
                  <a:lnTo>
                    <a:pt x="594" y="763"/>
                  </a:lnTo>
                  <a:lnTo>
                    <a:pt x="595" y="761"/>
                  </a:lnTo>
                  <a:lnTo>
                    <a:pt x="594" y="757"/>
                  </a:lnTo>
                  <a:lnTo>
                    <a:pt x="594" y="754"/>
                  </a:lnTo>
                  <a:lnTo>
                    <a:pt x="594" y="750"/>
                  </a:lnTo>
                  <a:lnTo>
                    <a:pt x="595" y="750"/>
                  </a:lnTo>
                  <a:lnTo>
                    <a:pt x="595" y="754"/>
                  </a:lnTo>
                  <a:lnTo>
                    <a:pt x="595" y="760"/>
                  </a:lnTo>
                  <a:lnTo>
                    <a:pt x="596" y="762"/>
                  </a:lnTo>
                  <a:lnTo>
                    <a:pt x="598" y="763"/>
                  </a:lnTo>
                  <a:lnTo>
                    <a:pt x="598" y="760"/>
                  </a:lnTo>
                  <a:lnTo>
                    <a:pt x="599" y="759"/>
                  </a:lnTo>
                  <a:lnTo>
                    <a:pt x="600" y="762"/>
                  </a:lnTo>
                  <a:lnTo>
                    <a:pt x="600" y="765"/>
                  </a:lnTo>
                  <a:lnTo>
                    <a:pt x="599" y="767"/>
                  </a:lnTo>
                  <a:lnTo>
                    <a:pt x="600" y="771"/>
                  </a:lnTo>
                  <a:lnTo>
                    <a:pt x="601" y="767"/>
                  </a:lnTo>
                  <a:lnTo>
                    <a:pt x="601" y="769"/>
                  </a:lnTo>
                  <a:lnTo>
                    <a:pt x="601" y="771"/>
                  </a:lnTo>
                  <a:lnTo>
                    <a:pt x="602" y="772"/>
                  </a:lnTo>
                  <a:lnTo>
                    <a:pt x="605" y="773"/>
                  </a:lnTo>
                  <a:lnTo>
                    <a:pt x="604" y="767"/>
                  </a:lnTo>
                  <a:lnTo>
                    <a:pt x="604" y="765"/>
                  </a:lnTo>
                  <a:lnTo>
                    <a:pt x="604" y="761"/>
                  </a:lnTo>
                  <a:lnTo>
                    <a:pt x="606" y="759"/>
                  </a:lnTo>
                  <a:lnTo>
                    <a:pt x="606" y="760"/>
                  </a:lnTo>
                  <a:lnTo>
                    <a:pt x="606" y="762"/>
                  </a:lnTo>
                  <a:lnTo>
                    <a:pt x="606" y="765"/>
                  </a:lnTo>
                  <a:lnTo>
                    <a:pt x="606" y="768"/>
                  </a:lnTo>
                  <a:lnTo>
                    <a:pt x="606" y="772"/>
                  </a:lnTo>
                  <a:lnTo>
                    <a:pt x="606" y="773"/>
                  </a:lnTo>
                  <a:lnTo>
                    <a:pt x="607" y="773"/>
                  </a:lnTo>
                  <a:lnTo>
                    <a:pt x="607" y="771"/>
                  </a:lnTo>
                  <a:lnTo>
                    <a:pt x="607" y="768"/>
                  </a:lnTo>
                  <a:lnTo>
                    <a:pt x="610" y="766"/>
                  </a:lnTo>
                  <a:lnTo>
                    <a:pt x="610" y="762"/>
                  </a:lnTo>
                  <a:lnTo>
                    <a:pt x="611" y="762"/>
                  </a:lnTo>
                  <a:lnTo>
                    <a:pt x="613" y="765"/>
                  </a:lnTo>
                  <a:lnTo>
                    <a:pt x="614" y="768"/>
                  </a:lnTo>
                  <a:lnTo>
                    <a:pt x="614" y="771"/>
                  </a:lnTo>
                  <a:lnTo>
                    <a:pt x="617" y="766"/>
                  </a:lnTo>
                  <a:lnTo>
                    <a:pt x="624" y="768"/>
                  </a:lnTo>
                  <a:lnTo>
                    <a:pt x="622" y="766"/>
                  </a:lnTo>
                  <a:lnTo>
                    <a:pt x="618" y="763"/>
                  </a:lnTo>
                  <a:lnTo>
                    <a:pt x="618" y="761"/>
                  </a:lnTo>
                  <a:lnTo>
                    <a:pt x="616" y="761"/>
                  </a:lnTo>
                  <a:lnTo>
                    <a:pt x="614" y="760"/>
                  </a:lnTo>
                  <a:lnTo>
                    <a:pt x="610" y="759"/>
                  </a:lnTo>
                  <a:lnTo>
                    <a:pt x="607" y="755"/>
                  </a:lnTo>
                  <a:lnTo>
                    <a:pt x="605" y="754"/>
                  </a:lnTo>
                  <a:lnTo>
                    <a:pt x="602" y="750"/>
                  </a:lnTo>
                  <a:lnTo>
                    <a:pt x="599" y="749"/>
                  </a:lnTo>
                  <a:lnTo>
                    <a:pt x="587" y="743"/>
                  </a:lnTo>
                  <a:lnTo>
                    <a:pt x="586" y="742"/>
                  </a:lnTo>
                  <a:lnTo>
                    <a:pt x="588" y="741"/>
                  </a:lnTo>
                  <a:lnTo>
                    <a:pt x="589" y="741"/>
                  </a:lnTo>
                  <a:lnTo>
                    <a:pt x="592" y="743"/>
                  </a:lnTo>
                  <a:lnTo>
                    <a:pt x="592" y="742"/>
                  </a:lnTo>
                  <a:lnTo>
                    <a:pt x="593" y="742"/>
                  </a:lnTo>
                  <a:lnTo>
                    <a:pt x="596" y="744"/>
                  </a:lnTo>
                  <a:lnTo>
                    <a:pt x="598" y="745"/>
                  </a:lnTo>
                  <a:lnTo>
                    <a:pt x="598" y="743"/>
                  </a:lnTo>
                  <a:lnTo>
                    <a:pt x="599" y="741"/>
                  </a:lnTo>
                  <a:lnTo>
                    <a:pt x="599" y="738"/>
                  </a:lnTo>
                  <a:lnTo>
                    <a:pt x="600" y="738"/>
                  </a:lnTo>
                  <a:lnTo>
                    <a:pt x="599" y="736"/>
                  </a:lnTo>
                  <a:lnTo>
                    <a:pt x="598" y="732"/>
                  </a:lnTo>
                  <a:lnTo>
                    <a:pt x="595" y="731"/>
                  </a:lnTo>
                  <a:lnTo>
                    <a:pt x="595" y="730"/>
                  </a:lnTo>
                  <a:lnTo>
                    <a:pt x="596" y="726"/>
                  </a:lnTo>
                  <a:lnTo>
                    <a:pt x="598" y="723"/>
                  </a:lnTo>
                  <a:lnTo>
                    <a:pt x="599" y="723"/>
                  </a:lnTo>
                  <a:lnTo>
                    <a:pt x="599" y="727"/>
                  </a:lnTo>
                  <a:lnTo>
                    <a:pt x="599" y="731"/>
                  </a:lnTo>
                  <a:lnTo>
                    <a:pt x="601" y="731"/>
                  </a:lnTo>
                  <a:lnTo>
                    <a:pt x="601" y="729"/>
                  </a:lnTo>
                  <a:lnTo>
                    <a:pt x="604" y="729"/>
                  </a:lnTo>
                  <a:lnTo>
                    <a:pt x="605" y="730"/>
                  </a:lnTo>
                  <a:lnTo>
                    <a:pt x="606" y="730"/>
                  </a:lnTo>
                  <a:lnTo>
                    <a:pt x="607" y="731"/>
                  </a:lnTo>
                  <a:lnTo>
                    <a:pt x="608" y="731"/>
                  </a:lnTo>
                  <a:lnTo>
                    <a:pt x="611" y="730"/>
                  </a:lnTo>
                  <a:lnTo>
                    <a:pt x="610" y="729"/>
                  </a:lnTo>
                  <a:lnTo>
                    <a:pt x="607" y="726"/>
                  </a:lnTo>
                  <a:lnTo>
                    <a:pt x="606" y="724"/>
                  </a:lnTo>
                  <a:lnTo>
                    <a:pt x="606" y="721"/>
                  </a:lnTo>
                  <a:lnTo>
                    <a:pt x="607" y="718"/>
                  </a:lnTo>
                  <a:lnTo>
                    <a:pt x="608" y="719"/>
                  </a:lnTo>
                  <a:lnTo>
                    <a:pt x="610" y="721"/>
                  </a:lnTo>
                  <a:lnTo>
                    <a:pt x="611" y="725"/>
                  </a:lnTo>
                  <a:lnTo>
                    <a:pt x="611" y="726"/>
                  </a:lnTo>
                  <a:lnTo>
                    <a:pt x="614" y="725"/>
                  </a:lnTo>
                  <a:lnTo>
                    <a:pt x="614" y="724"/>
                  </a:lnTo>
                  <a:lnTo>
                    <a:pt x="616" y="727"/>
                  </a:lnTo>
                  <a:lnTo>
                    <a:pt x="616" y="732"/>
                  </a:lnTo>
                  <a:lnTo>
                    <a:pt x="617" y="735"/>
                  </a:lnTo>
                  <a:lnTo>
                    <a:pt x="618" y="732"/>
                  </a:lnTo>
                  <a:lnTo>
                    <a:pt x="618" y="729"/>
                  </a:lnTo>
                  <a:lnTo>
                    <a:pt x="619" y="726"/>
                  </a:lnTo>
                  <a:lnTo>
                    <a:pt x="619" y="721"/>
                  </a:lnTo>
                  <a:lnTo>
                    <a:pt x="622" y="718"/>
                  </a:lnTo>
                  <a:lnTo>
                    <a:pt x="623" y="718"/>
                  </a:lnTo>
                  <a:lnTo>
                    <a:pt x="626" y="719"/>
                  </a:lnTo>
                  <a:lnTo>
                    <a:pt x="626" y="725"/>
                  </a:lnTo>
                  <a:lnTo>
                    <a:pt x="626" y="732"/>
                  </a:lnTo>
                  <a:lnTo>
                    <a:pt x="628" y="731"/>
                  </a:lnTo>
                  <a:lnTo>
                    <a:pt x="629" y="725"/>
                  </a:lnTo>
                  <a:lnTo>
                    <a:pt x="629" y="719"/>
                  </a:lnTo>
                  <a:lnTo>
                    <a:pt x="629" y="718"/>
                  </a:lnTo>
                  <a:lnTo>
                    <a:pt x="630" y="718"/>
                  </a:lnTo>
                  <a:lnTo>
                    <a:pt x="630" y="719"/>
                  </a:lnTo>
                  <a:lnTo>
                    <a:pt x="630" y="724"/>
                  </a:lnTo>
                  <a:lnTo>
                    <a:pt x="631" y="724"/>
                  </a:lnTo>
                  <a:lnTo>
                    <a:pt x="631" y="726"/>
                  </a:lnTo>
                  <a:lnTo>
                    <a:pt x="633" y="726"/>
                  </a:lnTo>
                  <a:lnTo>
                    <a:pt x="634" y="724"/>
                  </a:lnTo>
                  <a:lnTo>
                    <a:pt x="635" y="719"/>
                  </a:lnTo>
                  <a:lnTo>
                    <a:pt x="636" y="721"/>
                  </a:lnTo>
                  <a:lnTo>
                    <a:pt x="637" y="725"/>
                  </a:lnTo>
                  <a:lnTo>
                    <a:pt x="640" y="724"/>
                  </a:lnTo>
                  <a:lnTo>
                    <a:pt x="641" y="723"/>
                  </a:lnTo>
                  <a:lnTo>
                    <a:pt x="641" y="720"/>
                  </a:lnTo>
                  <a:lnTo>
                    <a:pt x="642" y="719"/>
                  </a:lnTo>
                  <a:lnTo>
                    <a:pt x="646" y="721"/>
                  </a:lnTo>
                  <a:lnTo>
                    <a:pt x="648" y="721"/>
                  </a:lnTo>
                  <a:lnTo>
                    <a:pt x="651" y="721"/>
                  </a:lnTo>
                  <a:lnTo>
                    <a:pt x="649" y="724"/>
                  </a:lnTo>
                  <a:lnTo>
                    <a:pt x="652" y="720"/>
                  </a:lnTo>
                  <a:lnTo>
                    <a:pt x="654" y="721"/>
                  </a:lnTo>
                  <a:lnTo>
                    <a:pt x="655" y="718"/>
                  </a:lnTo>
                  <a:lnTo>
                    <a:pt x="654" y="714"/>
                  </a:lnTo>
                  <a:lnTo>
                    <a:pt x="655" y="713"/>
                  </a:lnTo>
                  <a:lnTo>
                    <a:pt x="654" y="711"/>
                  </a:lnTo>
                  <a:lnTo>
                    <a:pt x="655" y="711"/>
                  </a:lnTo>
                  <a:lnTo>
                    <a:pt x="657" y="713"/>
                  </a:lnTo>
                  <a:lnTo>
                    <a:pt x="655" y="715"/>
                  </a:lnTo>
                  <a:lnTo>
                    <a:pt x="657" y="718"/>
                  </a:lnTo>
                  <a:lnTo>
                    <a:pt x="655" y="721"/>
                  </a:lnTo>
                  <a:lnTo>
                    <a:pt x="657" y="726"/>
                  </a:lnTo>
                  <a:lnTo>
                    <a:pt x="659" y="727"/>
                  </a:lnTo>
                  <a:lnTo>
                    <a:pt x="659" y="726"/>
                  </a:lnTo>
                  <a:lnTo>
                    <a:pt x="659" y="720"/>
                  </a:lnTo>
                  <a:lnTo>
                    <a:pt x="659" y="718"/>
                  </a:lnTo>
                  <a:lnTo>
                    <a:pt x="660" y="715"/>
                  </a:lnTo>
                  <a:lnTo>
                    <a:pt x="661" y="718"/>
                  </a:lnTo>
                  <a:lnTo>
                    <a:pt x="661" y="723"/>
                  </a:lnTo>
                  <a:lnTo>
                    <a:pt x="661" y="725"/>
                  </a:lnTo>
                  <a:lnTo>
                    <a:pt x="661" y="727"/>
                  </a:lnTo>
                  <a:lnTo>
                    <a:pt x="663" y="730"/>
                  </a:lnTo>
                  <a:lnTo>
                    <a:pt x="664" y="729"/>
                  </a:lnTo>
                  <a:lnTo>
                    <a:pt x="664" y="727"/>
                  </a:lnTo>
                  <a:lnTo>
                    <a:pt x="664" y="724"/>
                  </a:lnTo>
                  <a:lnTo>
                    <a:pt x="664" y="719"/>
                  </a:lnTo>
                  <a:lnTo>
                    <a:pt x="664" y="718"/>
                  </a:lnTo>
                  <a:lnTo>
                    <a:pt x="664" y="717"/>
                  </a:lnTo>
                  <a:lnTo>
                    <a:pt x="665" y="718"/>
                  </a:lnTo>
                  <a:lnTo>
                    <a:pt x="666" y="723"/>
                  </a:lnTo>
                  <a:lnTo>
                    <a:pt x="666" y="724"/>
                  </a:lnTo>
                  <a:lnTo>
                    <a:pt x="666" y="726"/>
                  </a:lnTo>
                  <a:lnTo>
                    <a:pt x="669" y="725"/>
                  </a:lnTo>
                  <a:lnTo>
                    <a:pt x="667" y="726"/>
                  </a:lnTo>
                  <a:lnTo>
                    <a:pt x="667" y="732"/>
                  </a:lnTo>
                  <a:lnTo>
                    <a:pt x="667" y="736"/>
                  </a:lnTo>
                  <a:lnTo>
                    <a:pt x="669" y="735"/>
                  </a:lnTo>
                  <a:lnTo>
                    <a:pt x="669" y="733"/>
                  </a:lnTo>
                  <a:lnTo>
                    <a:pt x="670" y="733"/>
                  </a:lnTo>
                  <a:lnTo>
                    <a:pt x="671" y="735"/>
                  </a:lnTo>
                  <a:lnTo>
                    <a:pt x="672" y="731"/>
                  </a:lnTo>
                  <a:lnTo>
                    <a:pt x="672" y="729"/>
                  </a:lnTo>
                  <a:lnTo>
                    <a:pt x="676" y="730"/>
                  </a:lnTo>
                  <a:lnTo>
                    <a:pt x="677" y="729"/>
                  </a:lnTo>
                  <a:lnTo>
                    <a:pt x="677" y="727"/>
                  </a:lnTo>
                  <a:lnTo>
                    <a:pt x="675" y="726"/>
                  </a:lnTo>
                  <a:lnTo>
                    <a:pt x="676" y="724"/>
                  </a:lnTo>
                  <a:lnTo>
                    <a:pt x="677" y="723"/>
                  </a:lnTo>
                  <a:lnTo>
                    <a:pt x="676" y="723"/>
                  </a:lnTo>
                  <a:lnTo>
                    <a:pt x="673" y="723"/>
                  </a:lnTo>
                  <a:lnTo>
                    <a:pt x="669" y="721"/>
                  </a:lnTo>
                  <a:lnTo>
                    <a:pt x="667" y="717"/>
                  </a:lnTo>
                  <a:lnTo>
                    <a:pt x="671" y="717"/>
                  </a:lnTo>
                  <a:lnTo>
                    <a:pt x="669" y="715"/>
                  </a:lnTo>
                  <a:lnTo>
                    <a:pt x="665" y="713"/>
                  </a:lnTo>
                  <a:lnTo>
                    <a:pt x="664" y="712"/>
                  </a:lnTo>
                  <a:lnTo>
                    <a:pt x="658" y="709"/>
                  </a:lnTo>
                  <a:lnTo>
                    <a:pt x="655" y="705"/>
                  </a:lnTo>
                  <a:lnTo>
                    <a:pt x="652" y="703"/>
                  </a:lnTo>
                  <a:lnTo>
                    <a:pt x="647" y="703"/>
                  </a:lnTo>
                  <a:lnTo>
                    <a:pt x="641" y="702"/>
                  </a:lnTo>
                  <a:lnTo>
                    <a:pt x="637" y="702"/>
                  </a:lnTo>
                  <a:lnTo>
                    <a:pt x="637" y="700"/>
                  </a:lnTo>
                  <a:lnTo>
                    <a:pt x="639" y="698"/>
                  </a:lnTo>
                  <a:lnTo>
                    <a:pt x="636" y="697"/>
                  </a:lnTo>
                  <a:lnTo>
                    <a:pt x="635" y="697"/>
                  </a:lnTo>
                  <a:lnTo>
                    <a:pt x="634" y="697"/>
                  </a:lnTo>
                  <a:lnTo>
                    <a:pt x="630" y="697"/>
                  </a:lnTo>
                  <a:lnTo>
                    <a:pt x="629" y="697"/>
                  </a:lnTo>
                  <a:lnTo>
                    <a:pt x="629" y="692"/>
                  </a:lnTo>
                  <a:lnTo>
                    <a:pt x="630" y="690"/>
                  </a:lnTo>
                  <a:lnTo>
                    <a:pt x="634" y="689"/>
                  </a:lnTo>
                  <a:lnTo>
                    <a:pt x="635" y="689"/>
                  </a:lnTo>
                  <a:lnTo>
                    <a:pt x="634" y="692"/>
                  </a:lnTo>
                  <a:lnTo>
                    <a:pt x="635" y="692"/>
                  </a:lnTo>
                  <a:lnTo>
                    <a:pt x="637" y="689"/>
                  </a:lnTo>
                  <a:lnTo>
                    <a:pt x="637" y="690"/>
                  </a:lnTo>
                  <a:lnTo>
                    <a:pt x="639" y="692"/>
                  </a:lnTo>
                  <a:lnTo>
                    <a:pt x="640" y="692"/>
                  </a:lnTo>
                  <a:lnTo>
                    <a:pt x="640" y="691"/>
                  </a:lnTo>
                  <a:lnTo>
                    <a:pt x="641" y="690"/>
                  </a:lnTo>
                  <a:lnTo>
                    <a:pt x="641" y="694"/>
                  </a:lnTo>
                  <a:lnTo>
                    <a:pt x="642" y="695"/>
                  </a:lnTo>
                  <a:lnTo>
                    <a:pt x="642" y="698"/>
                  </a:lnTo>
                  <a:lnTo>
                    <a:pt x="645" y="700"/>
                  </a:lnTo>
                  <a:lnTo>
                    <a:pt x="645" y="701"/>
                  </a:lnTo>
                  <a:lnTo>
                    <a:pt x="646" y="701"/>
                  </a:lnTo>
                  <a:lnTo>
                    <a:pt x="646" y="697"/>
                  </a:lnTo>
                  <a:lnTo>
                    <a:pt x="646" y="695"/>
                  </a:lnTo>
                  <a:lnTo>
                    <a:pt x="647" y="692"/>
                  </a:lnTo>
                  <a:lnTo>
                    <a:pt x="648" y="691"/>
                  </a:lnTo>
                  <a:lnTo>
                    <a:pt x="649" y="690"/>
                  </a:lnTo>
                  <a:lnTo>
                    <a:pt x="652" y="692"/>
                  </a:lnTo>
                  <a:lnTo>
                    <a:pt x="653" y="694"/>
                  </a:lnTo>
                  <a:lnTo>
                    <a:pt x="655" y="697"/>
                  </a:lnTo>
                  <a:lnTo>
                    <a:pt x="657" y="697"/>
                  </a:lnTo>
                  <a:lnTo>
                    <a:pt x="658" y="698"/>
                  </a:lnTo>
                  <a:lnTo>
                    <a:pt x="659" y="696"/>
                  </a:lnTo>
                  <a:lnTo>
                    <a:pt x="659" y="695"/>
                  </a:lnTo>
                  <a:lnTo>
                    <a:pt x="659" y="697"/>
                  </a:lnTo>
                  <a:lnTo>
                    <a:pt x="661" y="698"/>
                  </a:lnTo>
                  <a:lnTo>
                    <a:pt x="661" y="700"/>
                  </a:lnTo>
                  <a:lnTo>
                    <a:pt x="663" y="700"/>
                  </a:lnTo>
                  <a:lnTo>
                    <a:pt x="664" y="696"/>
                  </a:lnTo>
                  <a:lnTo>
                    <a:pt x="664" y="692"/>
                  </a:lnTo>
                  <a:lnTo>
                    <a:pt x="664" y="694"/>
                  </a:lnTo>
                  <a:lnTo>
                    <a:pt x="665" y="692"/>
                  </a:lnTo>
                  <a:lnTo>
                    <a:pt x="666" y="691"/>
                  </a:lnTo>
                  <a:lnTo>
                    <a:pt x="667" y="691"/>
                  </a:lnTo>
                  <a:lnTo>
                    <a:pt x="669" y="695"/>
                  </a:lnTo>
                  <a:lnTo>
                    <a:pt x="670" y="697"/>
                  </a:lnTo>
                  <a:lnTo>
                    <a:pt x="670" y="702"/>
                  </a:lnTo>
                  <a:lnTo>
                    <a:pt x="672" y="705"/>
                  </a:lnTo>
                  <a:lnTo>
                    <a:pt x="673" y="703"/>
                  </a:lnTo>
                  <a:lnTo>
                    <a:pt x="673" y="700"/>
                  </a:lnTo>
                  <a:lnTo>
                    <a:pt x="673" y="695"/>
                  </a:lnTo>
                  <a:lnTo>
                    <a:pt x="675" y="691"/>
                  </a:lnTo>
                  <a:lnTo>
                    <a:pt x="676" y="692"/>
                  </a:lnTo>
                  <a:lnTo>
                    <a:pt x="676" y="696"/>
                  </a:lnTo>
                  <a:lnTo>
                    <a:pt x="676" y="700"/>
                  </a:lnTo>
                  <a:lnTo>
                    <a:pt x="676" y="702"/>
                  </a:lnTo>
                  <a:lnTo>
                    <a:pt x="677" y="701"/>
                  </a:lnTo>
                  <a:lnTo>
                    <a:pt x="678" y="698"/>
                  </a:lnTo>
                  <a:lnTo>
                    <a:pt x="679" y="695"/>
                  </a:lnTo>
                  <a:lnTo>
                    <a:pt x="681" y="692"/>
                  </a:lnTo>
                  <a:lnTo>
                    <a:pt x="683" y="695"/>
                  </a:lnTo>
                  <a:lnTo>
                    <a:pt x="685" y="696"/>
                  </a:lnTo>
                  <a:lnTo>
                    <a:pt x="687" y="696"/>
                  </a:lnTo>
                  <a:lnTo>
                    <a:pt x="688" y="696"/>
                  </a:lnTo>
                  <a:lnTo>
                    <a:pt x="690" y="697"/>
                  </a:lnTo>
                  <a:lnTo>
                    <a:pt x="692" y="701"/>
                  </a:lnTo>
                  <a:lnTo>
                    <a:pt x="693" y="705"/>
                  </a:lnTo>
                  <a:lnTo>
                    <a:pt x="694" y="707"/>
                  </a:lnTo>
                  <a:lnTo>
                    <a:pt x="695" y="706"/>
                  </a:lnTo>
                  <a:lnTo>
                    <a:pt x="696" y="706"/>
                  </a:lnTo>
                  <a:lnTo>
                    <a:pt x="696" y="703"/>
                  </a:lnTo>
                  <a:lnTo>
                    <a:pt x="698" y="700"/>
                  </a:lnTo>
                  <a:lnTo>
                    <a:pt x="700" y="701"/>
                  </a:lnTo>
                  <a:lnTo>
                    <a:pt x="701" y="702"/>
                  </a:lnTo>
                  <a:lnTo>
                    <a:pt x="702" y="701"/>
                  </a:lnTo>
                  <a:lnTo>
                    <a:pt x="700" y="697"/>
                  </a:lnTo>
                  <a:lnTo>
                    <a:pt x="698" y="692"/>
                  </a:lnTo>
                  <a:lnTo>
                    <a:pt x="695" y="690"/>
                  </a:lnTo>
                  <a:lnTo>
                    <a:pt x="694" y="686"/>
                  </a:lnTo>
                  <a:lnTo>
                    <a:pt x="693" y="683"/>
                  </a:lnTo>
                  <a:lnTo>
                    <a:pt x="693" y="679"/>
                  </a:lnTo>
                  <a:lnTo>
                    <a:pt x="694" y="680"/>
                  </a:lnTo>
                  <a:lnTo>
                    <a:pt x="695" y="686"/>
                  </a:lnTo>
                  <a:lnTo>
                    <a:pt x="696" y="684"/>
                  </a:lnTo>
                  <a:lnTo>
                    <a:pt x="696" y="680"/>
                  </a:lnTo>
                  <a:lnTo>
                    <a:pt x="698" y="679"/>
                  </a:lnTo>
                  <a:lnTo>
                    <a:pt x="699" y="676"/>
                  </a:lnTo>
                  <a:lnTo>
                    <a:pt x="698" y="673"/>
                  </a:lnTo>
                  <a:lnTo>
                    <a:pt x="695" y="670"/>
                  </a:lnTo>
                  <a:lnTo>
                    <a:pt x="694" y="667"/>
                  </a:lnTo>
                  <a:lnTo>
                    <a:pt x="695" y="666"/>
                  </a:lnTo>
                  <a:lnTo>
                    <a:pt x="699" y="667"/>
                  </a:lnTo>
                  <a:lnTo>
                    <a:pt x="700" y="667"/>
                  </a:lnTo>
                  <a:lnTo>
                    <a:pt x="700" y="676"/>
                  </a:lnTo>
                  <a:lnTo>
                    <a:pt x="701" y="682"/>
                  </a:lnTo>
                  <a:lnTo>
                    <a:pt x="702" y="683"/>
                  </a:lnTo>
                  <a:lnTo>
                    <a:pt x="702" y="680"/>
                  </a:lnTo>
                  <a:lnTo>
                    <a:pt x="702" y="677"/>
                  </a:lnTo>
                  <a:lnTo>
                    <a:pt x="704" y="672"/>
                  </a:lnTo>
                  <a:lnTo>
                    <a:pt x="704" y="668"/>
                  </a:lnTo>
                  <a:lnTo>
                    <a:pt x="705" y="672"/>
                  </a:lnTo>
                  <a:lnTo>
                    <a:pt x="705" y="676"/>
                  </a:lnTo>
                  <a:lnTo>
                    <a:pt x="706" y="678"/>
                  </a:lnTo>
                  <a:lnTo>
                    <a:pt x="706" y="680"/>
                  </a:lnTo>
                  <a:lnTo>
                    <a:pt x="706" y="685"/>
                  </a:lnTo>
                  <a:lnTo>
                    <a:pt x="706" y="686"/>
                  </a:lnTo>
                  <a:lnTo>
                    <a:pt x="708" y="686"/>
                  </a:lnTo>
                  <a:lnTo>
                    <a:pt x="710" y="683"/>
                  </a:lnTo>
                  <a:lnTo>
                    <a:pt x="710" y="678"/>
                  </a:lnTo>
                  <a:lnTo>
                    <a:pt x="710" y="676"/>
                  </a:lnTo>
                  <a:lnTo>
                    <a:pt x="711" y="674"/>
                  </a:lnTo>
                  <a:lnTo>
                    <a:pt x="712" y="673"/>
                  </a:lnTo>
                  <a:lnTo>
                    <a:pt x="713" y="677"/>
                  </a:lnTo>
                  <a:lnTo>
                    <a:pt x="716" y="677"/>
                  </a:lnTo>
                  <a:lnTo>
                    <a:pt x="716" y="674"/>
                  </a:lnTo>
                  <a:lnTo>
                    <a:pt x="716" y="673"/>
                  </a:lnTo>
                  <a:lnTo>
                    <a:pt x="718" y="673"/>
                  </a:lnTo>
                  <a:lnTo>
                    <a:pt x="719" y="676"/>
                  </a:lnTo>
                  <a:lnTo>
                    <a:pt x="720" y="674"/>
                  </a:lnTo>
                  <a:lnTo>
                    <a:pt x="720" y="672"/>
                  </a:lnTo>
                  <a:lnTo>
                    <a:pt x="719" y="670"/>
                  </a:lnTo>
                  <a:lnTo>
                    <a:pt x="716" y="671"/>
                  </a:lnTo>
                  <a:lnTo>
                    <a:pt x="713" y="670"/>
                  </a:lnTo>
                  <a:lnTo>
                    <a:pt x="711" y="667"/>
                  </a:lnTo>
                  <a:lnTo>
                    <a:pt x="707" y="665"/>
                  </a:lnTo>
                  <a:lnTo>
                    <a:pt x="706" y="665"/>
                  </a:lnTo>
                  <a:lnTo>
                    <a:pt x="702" y="665"/>
                  </a:lnTo>
                  <a:lnTo>
                    <a:pt x="700" y="664"/>
                  </a:lnTo>
                  <a:lnTo>
                    <a:pt x="695" y="662"/>
                  </a:lnTo>
                  <a:lnTo>
                    <a:pt x="692" y="662"/>
                  </a:lnTo>
                  <a:lnTo>
                    <a:pt x="690" y="661"/>
                  </a:lnTo>
                  <a:lnTo>
                    <a:pt x="689" y="661"/>
                  </a:lnTo>
                  <a:lnTo>
                    <a:pt x="685" y="660"/>
                  </a:lnTo>
                  <a:lnTo>
                    <a:pt x="679" y="659"/>
                  </a:lnTo>
                  <a:lnTo>
                    <a:pt x="681" y="658"/>
                  </a:lnTo>
                  <a:lnTo>
                    <a:pt x="679" y="658"/>
                  </a:lnTo>
                  <a:lnTo>
                    <a:pt x="677" y="659"/>
                  </a:lnTo>
                  <a:lnTo>
                    <a:pt x="676" y="659"/>
                  </a:lnTo>
                  <a:lnTo>
                    <a:pt x="672" y="658"/>
                  </a:lnTo>
                  <a:lnTo>
                    <a:pt x="673" y="655"/>
                  </a:lnTo>
                  <a:lnTo>
                    <a:pt x="671" y="656"/>
                  </a:lnTo>
                  <a:lnTo>
                    <a:pt x="669" y="658"/>
                  </a:lnTo>
                  <a:lnTo>
                    <a:pt x="665" y="656"/>
                  </a:lnTo>
                  <a:lnTo>
                    <a:pt x="657" y="655"/>
                  </a:lnTo>
                  <a:lnTo>
                    <a:pt x="651" y="654"/>
                  </a:lnTo>
                  <a:lnTo>
                    <a:pt x="646" y="654"/>
                  </a:lnTo>
                  <a:lnTo>
                    <a:pt x="641" y="654"/>
                  </a:lnTo>
                  <a:lnTo>
                    <a:pt x="639" y="653"/>
                  </a:lnTo>
                  <a:lnTo>
                    <a:pt x="640" y="652"/>
                  </a:lnTo>
                  <a:lnTo>
                    <a:pt x="642" y="650"/>
                  </a:lnTo>
                  <a:lnTo>
                    <a:pt x="641" y="649"/>
                  </a:lnTo>
                  <a:lnTo>
                    <a:pt x="641" y="647"/>
                  </a:lnTo>
                  <a:lnTo>
                    <a:pt x="639" y="644"/>
                  </a:lnTo>
                  <a:lnTo>
                    <a:pt x="637" y="642"/>
                  </a:lnTo>
                  <a:lnTo>
                    <a:pt x="640" y="640"/>
                  </a:lnTo>
                  <a:lnTo>
                    <a:pt x="641" y="636"/>
                  </a:lnTo>
                  <a:lnTo>
                    <a:pt x="641" y="635"/>
                  </a:lnTo>
                  <a:lnTo>
                    <a:pt x="642" y="635"/>
                  </a:lnTo>
                  <a:lnTo>
                    <a:pt x="642" y="637"/>
                  </a:lnTo>
                  <a:lnTo>
                    <a:pt x="646" y="638"/>
                  </a:lnTo>
                  <a:lnTo>
                    <a:pt x="646" y="642"/>
                  </a:lnTo>
                  <a:lnTo>
                    <a:pt x="647" y="647"/>
                  </a:lnTo>
                  <a:lnTo>
                    <a:pt x="648" y="649"/>
                  </a:lnTo>
                  <a:lnTo>
                    <a:pt x="649" y="648"/>
                  </a:lnTo>
                  <a:lnTo>
                    <a:pt x="651" y="648"/>
                  </a:lnTo>
                  <a:lnTo>
                    <a:pt x="653" y="647"/>
                  </a:lnTo>
                  <a:lnTo>
                    <a:pt x="653" y="646"/>
                  </a:lnTo>
                  <a:lnTo>
                    <a:pt x="654" y="642"/>
                  </a:lnTo>
                  <a:lnTo>
                    <a:pt x="654" y="646"/>
                  </a:lnTo>
                  <a:lnTo>
                    <a:pt x="655" y="647"/>
                  </a:lnTo>
                  <a:lnTo>
                    <a:pt x="655" y="644"/>
                  </a:lnTo>
                  <a:lnTo>
                    <a:pt x="657" y="643"/>
                  </a:lnTo>
                  <a:lnTo>
                    <a:pt x="659" y="643"/>
                  </a:lnTo>
                  <a:lnTo>
                    <a:pt x="663" y="646"/>
                  </a:lnTo>
                  <a:lnTo>
                    <a:pt x="663" y="644"/>
                  </a:lnTo>
                  <a:lnTo>
                    <a:pt x="661" y="642"/>
                  </a:lnTo>
                  <a:lnTo>
                    <a:pt x="658" y="640"/>
                  </a:lnTo>
                  <a:lnTo>
                    <a:pt x="657" y="637"/>
                  </a:lnTo>
                  <a:lnTo>
                    <a:pt x="657" y="635"/>
                  </a:lnTo>
                  <a:lnTo>
                    <a:pt x="658" y="631"/>
                  </a:lnTo>
                  <a:lnTo>
                    <a:pt x="659" y="629"/>
                  </a:lnTo>
                  <a:lnTo>
                    <a:pt x="661" y="629"/>
                  </a:lnTo>
                  <a:lnTo>
                    <a:pt x="663" y="629"/>
                  </a:lnTo>
                  <a:lnTo>
                    <a:pt x="663" y="630"/>
                  </a:lnTo>
                  <a:lnTo>
                    <a:pt x="664" y="630"/>
                  </a:lnTo>
                  <a:lnTo>
                    <a:pt x="667" y="628"/>
                  </a:lnTo>
                  <a:lnTo>
                    <a:pt x="670" y="624"/>
                  </a:lnTo>
                  <a:lnTo>
                    <a:pt x="669" y="628"/>
                  </a:lnTo>
                  <a:lnTo>
                    <a:pt x="667" y="631"/>
                  </a:lnTo>
                  <a:lnTo>
                    <a:pt x="667" y="632"/>
                  </a:lnTo>
                  <a:lnTo>
                    <a:pt x="669" y="637"/>
                  </a:lnTo>
                  <a:lnTo>
                    <a:pt x="671" y="638"/>
                  </a:lnTo>
                  <a:lnTo>
                    <a:pt x="670" y="641"/>
                  </a:lnTo>
                  <a:lnTo>
                    <a:pt x="670" y="643"/>
                  </a:lnTo>
                  <a:lnTo>
                    <a:pt x="671" y="642"/>
                  </a:lnTo>
                  <a:lnTo>
                    <a:pt x="672" y="644"/>
                  </a:lnTo>
                  <a:lnTo>
                    <a:pt x="675" y="644"/>
                  </a:lnTo>
                  <a:lnTo>
                    <a:pt x="676" y="643"/>
                  </a:lnTo>
                  <a:lnTo>
                    <a:pt x="677" y="643"/>
                  </a:lnTo>
                  <a:lnTo>
                    <a:pt x="679" y="644"/>
                  </a:lnTo>
                  <a:lnTo>
                    <a:pt x="682" y="643"/>
                  </a:lnTo>
                  <a:lnTo>
                    <a:pt x="682" y="641"/>
                  </a:lnTo>
                  <a:lnTo>
                    <a:pt x="682" y="638"/>
                  </a:lnTo>
                  <a:lnTo>
                    <a:pt x="684" y="640"/>
                  </a:lnTo>
                  <a:lnTo>
                    <a:pt x="688" y="637"/>
                  </a:lnTo>
                  <a:lnTo>
                    <a:pt x="685" y="636"/>
                  </a:lnTo>
                  <a:lnTo>
                    <a:pt x="682" y="634"/>
                  </a:lnTo>
                  <a:lnTo>
                    <a:pt x="678" y="630"/>
                  </a:lnTo>
                  <a:lnTo>
                    <a:pt x="677" y="628"/>
                  </a:lnTo>
                  <a:lnTo>
                    <a:pt x="676" y="624"/>
                  </a:lnTo>
                  <a:lnTo>
                    <a:pt x="673" y="620"/>
                  </a:lnTo>
                  <a:lnTo>
                    <a:pt x="675" y="619"/>
                  </a:lnTo>
                  <a:lnTo>
                    <a:pt x="672" y="618"/>
                  </a:lnTo>
                  <a:lnTo>
                    <a:pt x="671" y="618"/>
                  </a:lnTo>
                  <a:lnTo>
                    <a:pt x="669" y="616"/>
                  </a:lnTo>
                  <a:lnTo>
                    <a:pt x="666" y="614"/>
                  </a:lnTo>
                  <a:lnTo>
                    <a:pt x="664" y="613"/>
                  </a:lnTo>
                  <a:lnTo>
                    <a:pt x="660" y="612"/>
                  </a:lnTo>
                  <a:lnTo>
                    <a:pt x="655" y="611"/>
                  </a:lnTo>
                  <a:lnTo>
                    <a:pt x="649" y="610"/>
                  </a:lnTo>
                  <a:lnTo>
                    <a:pt x="647" y="610"/>
                  </a:lnTo>
                  <a:lnTo>
                    <a:pt x="646" y="606"/>
                  </a:lnTo>
                  <a:lnTo>
                    <a:pt x="647" y="605"/>
                  </a:lnTo>
                  <a:lnTo>
                    <a:pt x="649" y="604"/>
                  </a:lnTo>
                  <a:lnTo>
                    <a:pt x="648" y="602"/>
                  </a:lnTo>
                  <a:lnTo>
                    <a:pt x="649" y="599"/>
                  </a:lnTo>
                  <a:lnTo>
                    <a:pt x="651" y="599"/>
                  </a:lnTo>
                  <a:lnTo>
                    <a:pt x="653" y="600"/>
                  </a:lnTo>
                  <a:lnTo>
                    <a:pt x="654" y="605"/>
                  </a:lnTo>
                  <a:lnTo>
                    <a:pt x="655" y="605"/>
                  </a:lnTo>
                  <a:lnTo>
                    <a:pt x="657" y="605"/>
                  </a:lnTo>
                  <a:lnTo>
                    <a:pt x="654" y="601"/>
                  </a:lnTo>
                  <a:lnTo>
                    <a:pt x="655" y="599"/>
                  </a:lnTo>
                  <a:lnTo>
                    <a:pt x="658" y="599"/>
                  </a:lnTo>
                  <a:lnTo>
                    <a:pt x="660" y="599"/>
                  </a:lnTo>
                  <a:lnTo>
                    <a:pt x="658" y="598"/>
                  </a:lnTo>
                  <a:lnTo>
                    <a:pt x="657" y="596"/>
                  </a:lnTo>
                  <a:lnTo>
                    <a:pt x="654" y="594"/>
                  </a:lnTo>
                  <a:lnTo>
                    <a:pt x="652" y="595"/>
                  </a:lnTo>
                  <a:lnTo>
                    <a:pt x="649" y="594"/>
                  </a:lnTo>
                  <a:lnTo>
                    <a:pt x="648" y="595"/>
                  </a:lnTo>
                  <a:lnTo>
                    <a:pt x="646" y="595"/>
                  </a:lnTo>
                  <a:lnTo>
                    <a:pt x="643" y="594"/>
                  </a:lnTo>
                  <a:lnTo>
                    <a:pt x="641" y="593"/>
                  </a:lnTo>
                  <a:lnTo>
                    <a:pt x="640" y="593"/>
                  </a:lnTo>
                  <a:lnTo>
                    <a:pt x="637" y="591"/>
                  </a:lnTo>
                  <a:lnTo>
                    <a:pt x="636" y="590"/>
                  </a:lnTo>
                  <a:lnTo>
                    <a:pt x="635" y="588"/>
                  </a:lnTo>
                  <a:lnTo>
                    <a:pt x="634" y="585"/>
                  </a:lnTo>
                  <a:lnTo>
                    <a:pt x="633" y="584"/>
                  </a:lnTo>
                  <a:lnTo>
                    <a:pt x="631" y="587"/>
                  </a:lnTo>
                  <a:lnTo>
                    <a:pt x="630" y="585"/>
                  </a:lnTo>
                  <a:lnTo>
                    <a:pt x="630" y="581"/>
                  </a:lnTo>
                  <a:lnTo>
                    <a:pt x="631" y="581"/>
                  </a:lnTo>
                  <a:lnTo>
                    <a:pt x="633" y="581"/>
                  </a:lnTo>
                  <a:lnTo>
                    <a:pt x="630" y="578"/>
                  </a:lnTo>
                  <a:lnTo>
                    <a:pt x="628" y="576"/>
                  </a:lnTo>
                  <a:lnTo>
                    <a:pt x="623" y="569"/>
                  </a:lnTo>
                  <a:lnTo>
                    <a:pt x="620" y="567"/>
                  </a:lnTo>
                  <a:lnTo>
                    <a:pt x="618" y="565"/>
                  </a:lnTo>
                  <a:lnTo>
                    <a:pt x="618" y="563"/>
                  </a:lnTo>
                  <a:lnTo>
                    <a:pt x="620" y="560"/>
                  </a:lnTo>
                  <a:lnTo>
                    <a:pt x="623" y="559"/>
                  </a:lnTo>
                  <a:lnTo>
                    <a:pt x="623" y="561"/>
                  </a:lnTo>
                  <a:lnTo>
                    <a:pt x="623" y="564"/>
                  </a:lnTo>
                  <a:lnTo>
                    <a:pt x="625" y="564"/>
                  </a:lnTo>
                  <a:lnTo>
                    <a:pt x="625" y="565"/>
                  </a:lnTo>
                  <a:lnTo>
                    <a:pt x="625" y="569"/>
                  </a:lnTo>
                  <a:lnTo>
                    <a:pt x="626" y="570"/>
                  </a:lnTo>
                  <a:lnTo>
                    <a:pt x="626" y="572"/>
                  </a:lnTo>
                  <a:lnTo>
                    <a:pt x="628" y="572"/>
                  </a:lnTo>
                  <a:lnTo>
                    <a:pt x="629" y="571"/>
                  </a:lnTo>
                  <a:lnTo>
                    <a:pt x="630" y="567"/>
                  </a:lnTo>
                  <a:lnTo>
                    <a:pt x="630" y="566"/>
                  </a:lnTo>
                  <a:lnTo>
                    <a:pt x="629" y="564"/>
                  </a:lnTo>
                  <a:lnTo>
                    <a:pt x="630" y="561"/>
                  </a:lnTo>
                  <a:lnTo>
                    <a:pt x="631" y="561"/>
                  </a:lnTo>
                  <a:lnTo>
                    <a:pt x="633" y="564"/>
                  </a:lnTo>
                  <a:lnTo>
                    <a:pt x="634" y="565"/>
                  </a:lnTo>
                  <a:lnTo>
                    <a:pt x="634" y="570"/>
                  </a:lnTo>
                  <a:lnTo>
                    <a:pt x="635" y="573"/>
                  </a:lnTo>
                  <a:lnTo>
                    <a:pt x="636" y="571"/>
                  </a:lnTo>
                  <a:lnTo>
                    <a:pt x="636" y="570"/>
                  </a:lnTo>
                  <a:lnTo>
                    <a:pt x="636" y="565"/>
                  </a:lnTo>
                  <a:lnTo>
                    <a:pt x="637" y="566"/>
                  </a:lnTo>
                  <a:lnTo>
                    <a:pt x="639" y="567"/>
                  </a:lnTo>
                  <a:lnTo>
                    <a:pt x="639" y="565"/>
                  </a:lnTo>
                  <a:lnTo>
                    <a:pt x="641" y="567"/>
                  </a:lnTo>
                  <a:lnTo>
                    <a:pt x="641" y="570"/>
                  </a:lnTo>
                  <a:lnTo>
                    <a:pt x="642" y="571"/>
                  </a:lnTo>
                  <a:lnTo>
                    <a:pt x="643" y="570"/>
                  </a:lnTo>
                  <a:lnTo>
                    <a:pt x="643" y="565"/>
                  </a:lnTo>
                  <a:lnTo>
                    <a:pt x="643" y="561"/>
                  </a:lnTo>
                  <a:lnTo>
                    <a:pt x="645" y="561"/>
                  </a:lnTo>
                  <a:lnTo>
                    <a:pt x="647" y="563"/>
                  </a:lnTo>
                  <a:lnTo>
                    <a:pt x="646" y="567"/>
                  </a:lnTo>
                  <a:lnTo>
                    <a:pt x="645" y="570"/>
                  </a:lnTo>
                  <a:lnTo>
                    <a:pt x="646" y="571"/>
                  </a:lnTo>
                  <a:lnTo>
                    <a:pt x="646" y="576"/>
                  </a:lnTo>
                  <a:lnTo>
                    <a:pt x="646" y="577"/>
                  </a:lnTo>
                  <a:lnTo>
                    <a:pt x="647" y="578"/>
                  </a:lnTo>
                  <a:lnTo>
                    <a:pt x="648" y="579"/>
                  </a:lnTo>
                  <a:lnTo>
                    <a:pt x="649" y="577"/>
                  </a:lnTo>
                  <a:lnTo>
                    <a:pt x="649" y="581"/>
                  </a:lnTo>
                  <a:lnTo>
                    <a:pt x="652" y="581"/>
                  </a:lnTo>
                  <a:lnTo>
                    <a:pt x="653" y="582"/>
                  </a:lnTo>
                  <a:lnTo>
                    <a:pt x="653" y="577"/>
                  </a:lnTo>
                  <a:lnTo>
                    <a:pt x="653" y="573"/>
                  </a:lnTo>
                  <a:lnTo>
                    <a:pt x="653" y="571"/>
                  </a:lnTo>
                  <a:lnTo>
                    <a:pt x="651" y="567"/>
                  </a:lnTo>
                  <a:lnTo>
                    <a:pt x="651" y="566"/>
                  </a:lnTo>
                  <a:lnTo>
                    <a:pt x="649" y="561"/>
                  </a:lnTo>
                  <a:lnTo>
                    <a:pt x="649" y="557"/>
                  </a:lnTo>
                  <a:lnTo>
                    <a:pt x="649" y="551"/>
                  </a:lnTo>
                  <a:lnTo>
                    <a:pt x="651" y="551"/>
                  </a:lnTo>
                  <a:lnTo>
                    <a:pt x="653" y="551"/>
                  </a:lnTo>
                  <a:lnTo>
                    <a:pt x="653" y="554"/>
                  </a:lnTo>
                  <a:lnTo>
                    <a:pt x="653" y="557"/>
                  </a:lnTo>
                  <a:lnTo>
                    <a:pt x="655" y="557"/>
                  </a:lnTo>
                  <a:lnTo>
                    <a:pt x="657" y="555"/>
                  </a:lnTo>
                  <a:lnTo>
                    <a:pt x="657" y="552"/>
                  </a:lnTo>
                  <a:lnTo>
                    <a:pt x="659" y="548"/>
                  </a:lnTo>
                  <a:lnTo>
                    <a:pt x="660" y="547"/>
                  </a:lnTo>
                  <a:lnTo>
                    <a:pt x="659" y="554"/>
                  </a:lnTo>
                  <a:lnTo>
                    <a:pt x="660" y="557"/>
                  </a:lnTo>
                  <a:lnTo>
                    <a:pt x="663" y="555"/>
                  </a:lnTo>
                  <a:lnTo>
                    <a:pt x="664" y="552"/>
                  </a:lnTo>
                  <a:lnTo>
                    <a:pt x="664" y="548"/>
                  </a:lnTo>
                  <a:lnTo>
                    <a:pt x="665" y="546"/>
                  </a:lnTo>
                  <a:lnTo>
                    <a:pt x="665" y="549"/>
                  </a:lnTo>
                  <a:lnTo>
                    <a:pt x="665" y="555"/>
                  </a:lnTo>
                  <a:lnTo>
                    <a:pt x="666" y="558"/>
                  </a:lnTo>
                  <a:lnTo>
                    <a:pt x="667" y="557"/>
                  </a:lnTo>
                  <a:lnTo>
                    <a:pt x="669" y="552"/>
                  </a:lnTo>
                  <a:lnTo>
                    <a:pt x="669" y="548"/>
                  </a:lnTo>
                  <a:lnTo>
                    <a:pt x="669" y="545"/>
                  </a:lnTo>
                  <a:lnTo>
                    <a:pt x="669" y="541"/>
                  </a:lnTo>
                  <a:lnTo>
                    <a:pt x="667" y="536"/>
                  </a:lnTo>
                  <a:lnTo>
                    <a:pt x="669" y="536"/>
                  </a:lnTo>
                  <a:lnTo>
                    <a:pt x="671" y="536"/>
                  </a:lnTo>
                  <a:lnTo>
                    <a:pt x="673" y="537"/>
                  </a:lnTo>
                  <a:lnTo>
                    <a:pt x="672" y="535"/>
                  </a:lnTo>
                  <a:lnTo>
                    <a:pt x="672" y="533"/>
                  </a:lnTo>
                  <a:lnTo>
                    <a:pt x="675" y="533"/>
                  </a:lnTo>
                  <a:lnTo>
                    <a:pt x="676" y="533"/>
                  </a:lnTo>
                  <a:lnTo>
                    <a:pt x="677" y="531"/>
                  </a:lnTo>
                  <a:lnTo>
                    <a:pt x="675" y="531"/>
                  </a:lnTo>
                  <a:lnTo>
                    <a:pt x="673" y="529"/>
                  </a:lnTo>
                  <a:lnTo>
                    <a:pt x="672" y="528"/>
                  </a:lnTo>
                  <a:lnTo>
                    <a:pt x="671" y="528"/>
                  </a:lnTo>
                  <a:lnTo>
                    <a:pt x="671" y="530"/>
                  </a:lnTo>
                  <a:lnTo>
                    <a:pt x="669" y="531"/>
                  </a:lnTo>
                  <a:lnTo>
                    <a:pt x="669" y="530"/>
                  </a:lnTo>
                  <a:lnTo>
                    <a:pt x="667" y="530"/>
                  </a:lnTo>
                  <a:lnTo>
                    <a:pt x="666" y="531"/>
                  </a:lnTo>
                  <a:lnTo>
                    <a:pt x="665" y="531"/>
                  </a:lnTo>
                  <a:lnTo>
                    <a:pt x="663" y="531"/>
                  </a:lnTo>
                  <a:lnTo>
                    <a:pt x="663" y="530"/>
                  </a:lnTo>
                  <a:lnTo>
                    <a:pt x="661" y="530"/>
                  </a:lnTo>
                  <a:lnTo>
                    <a:pt x="661" y="534"/>
                  </a:lnTo>
                  <a:lnTo>
                    <a:pt x="659" y="534"/>
                  </a:lnTo>
                  <a:lnTo>
                    <a:pt x="658" y="533"/>
                  </a:lnTo>
                  <a:lnTo>
                    <a:pt x="657" y="534"/>
                  </a:lnTo>
                  <a:lnTo>
                    <a:pt x="655" y="535"/>
                  </a:lnTo>
                  <a:lnTo>
                    <a:pt x="653" y="537"/>
                  </a:lnTo>
                  <a:lnTo>
                    <a:pt x="652" y="539"/>
                  </a:lnTo>
                  <a:lnTo>
                    <a:pt x="645" y="539"/>
                  </a:lnTo>
                  <a:lnTo>
                    <a:pt x="641" y="539"/>
                  </a:lnTo>
                  <a:lnTo>
                    <a:pt x="637" y="540"/>
                  </a:lnTo>
                  <a:lnTo>
                    <a:pt x="633" y="541"/>
                  </a:lnTo>
                  <a:lnTo>
                    <a:pt x="626" y="541"/>
                  </a:lnTo>
                  <a:lnTo>
                    <a:pt x="623" y="541"/>
                  </a:lnTo>
                  <a:lnTo>
                    <a:pt x="618" y="542"/>
                  </a:lnTo>
                  <a:lnTo>
                    <a:pt x="614" y="541"/>
                  </a:lnTo>
                  <a:lnTo>
                    <a:pt x="612" y="542"/>
                  </a:lnTo>
                  <a:lnTo>
                    <a:pt x="607" y="545"/>
                  </a:lnTo>
                  <a:lnTo>
                    <a:pt x="601" y="543"/>
                  </a:lnTo>
                  <a:lnTo>
                    <a:pt x="599" y="543"/>
                  </a:lnTo>
                  <a:lnTo>
                    <a:pt x="595" y="541"/>
                  </a:lnTo>
                  <a:lnTo>
                    <a:pt x="593" y="541"/>
                  </a:lnTo>
                  <a:lnTo>
                    <a:pt x="590" y="537"/>
                  </a:lnTo>
                  <a:lnTo>
                    <a:pt x="589" y="535"/>
                  </a:lnTo>
                  <a:lnTo>
                    <a:pt x="588" y="534"/>
                  </a:lnTo>
                  <a:lnTo>
                    <a:pt x="584" y="534"/>
                  </a:lnTo>
                  <a:lnTo>
                    <a:pt x="581" y="536"/>
                  </a:lnTo>
                  <a:lnTo>
                    <a:pt x="580" y="537"/>
                  </a:lnTo>
                  <a:lnTo>
                    <a:pt x="577" y="537"/>
                  </a:lnTo>
                  <a:lnTo>
                    <a:pt x="575" y="537"/>
                  </a:lnTo>
                  <a:lnTo>
                    <a:pt x="571" y="535"/>
                  </a:lnTo>
                  <a:lnTo>
                    <a:pt x="567" y="531"/>
                  </a:lnTo>
                  <a:lnTo>
                    <a:pt x="563" y="527"/>
                  </a:lnTo>
                  <a:lnTo>
                    <a:pt x="559" y="524"/>
                  </a:lnTo>
                  <a:lnTo>
                    <a:pt x="555" y="521"/>
                  </a:lnTo>
                  <a:lnTo>
                    <a:pt x="552" y="516"/>
                  </a:lnTo>
                  <a:lnTo>
                    <a:pt x="552" y="515"/>
                  </a:lnTo>
                  <a:lnTo>
                    <a:pt x="555" y="515"/>
                  </a:lnTo>
                  <a:lnTo>
                    <a:pt x="555" y="513"/>
                  </a:lnTo>
                  <a:lnTo>
                    <a:pt x="553" y="512"/>
                  </a:lnTo>
                  <a:lnTo>
                    <a:pt x="552" y="510"/>
                  </a:lnTo>
                  <a:lnTo>
                    <a:pt x="551" y="505"/>
                  </a:lnTo>
                  <a:lnTo>
                    <a:pt x="552" y="505"/>
                  </a:lnTo>
                  <a:lnTo>
                    <a:pt x="553" y="507"/>
                  </a:lnTo>
                  <a:lnTo>
                    <a:pt x="554" y="510"/>
                  </a:lnTo>
                  <a:lnTo>
                    <a:pt x="557" y="511"/>
                  </a:lnTo>
                  <a:lnTo>
                    <a:pt x="557" y="510"/>
                  </a:lnTo>
                  <a:lnTo>
                    <a:pt x="559" y="507"/>
                  </a:lnTo>
                  <a:lnTo>
                    <a:pt x="560" y="507"/>
                  </a:lnTo>
                  <a:lnTo>
                    <a:pt x="559" y="510"/>
                  </a:lnTo>
                  <a:lnTo>
                    <a:pt x="560" y="512"/>
                  </a:lnTo>
                  <a:lnTo>
                    <a:pt x="559" y="518"/>
                  </a:lnTo>
                  <a:lnTo>
                    <a:pt x="561" y="521"/>
                  </a:lnTo>
                  <a:lnTo>
                    <a:pt x="561" y="518"/>
                  </a:lnTo>
                  <a:lnTo>
                    <a:pt x="563" y="515"/>
                  </a:lnTo>
                  <a:lnTo>
                    <a:pt x="564" y="513"/>
                  </a:lnTo>
                  <a:lnTo>
                    <a:pt x="565" y="515"/>
                  </a:lnTo>
                  <a:lnTo>
                    <a:pt x="565" y="513"/>
                  </a:lnTo>
                  <a:lnTo>
                    <a:pt x="566" y="511"/>
                  </a:lnTo>
                  <a:lnTo>
                    <a:pt x="569" y="510"/>
                  </a:lnTo>
                  <a:lnTo>
                    <a:pt x="569" y="511"/>
                  </a:lnTo>
                  <a:lnTo>
                    <a:pt x="570" y="516"/>
                  </a:lnTo>
                  <a:lnTo>
                    <a:pt x="570" y="517"/>
                  </a:lnTo>
                  <a:lnTo>
                    <a:pt x="571" y="518"/>
                  </a:lnTo>
                  <a:lnTo>
                    <a:pt x="572" y="517"/>
                  </a:lnTo>
                  <a:lnTo>
                    <a:pt x="572" y="512"/>
                  </a:lnTo>
                  <a:lnTo>
                    <a:pt x="574" y="510"/>
                  </a:lnTo>
                  <a:lnTo>
                    <a:pt x="575" y="511"/>
                  </a:lnTo>
                  <a:lnTo>
                    <a:pt x="575" y="513"/>
                  </a:lnTo>
                  <a:lnTo>
                    <a:pt x="576" y="509"/>
                  </a:lnTo>
                  <a:lnTo>
                    <a:pt x="577" y="507"/>
                  </a:lnTo>
                  <a:lnTo>
                    <a:pt x="577" y="515"/>
                  </a:lnTo>
                  <a:lnTo>
                    <a:pt x="577" y="518"/>
                  </a:lnTo>
                  <a:lnTo>
                    <a:pt x="580" y="517"/>
                  </a:lnTo>
                  <a:lnTo>
                    <a:pt x="582" y="512"/>
                  </a:lnTo>
                  <a:lnTo>
                    <a:pt x="584" y="510"/>
                  </a:lnTo>
                  <a:lnTo>
                    <a:pt x="584" y="516"/>
                  </a:lnTo>
                  <a:lnTo>
                    <a:pt x="583" y="519"/>
                  </a:lnTo>
                  <a:lnTo>
                    <a:pt x="586" y="517"/>
                  </a:lnTo>
                  <a:lnTo>
                    <a:pt x="587" y="513"/>
                  </a:lnTo>
                  <a:lnTo>
                    <a:pt x="588" y="510"/>
                  </a:lnTo>
                  <a:lnTo>
                    <a:pt x="590" y="506"/>
                  </a:lnTo>
                  <a:lnTo>
                    <a:pt x="589" y="515"/>
                  </a:lnTo>
                  <a:lnTo>
                    <a:pt x="588" y="518"/>
                  </a:lnTo>
                  <a:lnTo>
                    <a:pt x="592" y="516"/>
                  </a:lnTo>
                  <a:lnTo>
                    <a:pt x="593" y="512"/>
                  </a:lnTo>
                  <a:lnTo>
                    <a:pt x="592" y="518"/>
                  </a:lnTo>
                  <a:lnTo>
                    <a:pt x="592" y="521"/>
                  </a:lnTo>
                  <a:lnTo>
                    <a:pt x="594" y="521"/>
                  </a:lnTo>
                  <a:lnTo>
                    <a:pt x="594" y="517"/>
                  </a:lnTo>
                  <a:lnTo>
                    <a:pt x="595" y="516"/>
                  </a:lnTo>
                  <a:lnTo>
                    <a:pt x="599" y="516"/>
                  </a:lnTo>
                  <a:lnTo>
                    <a:pt x="600" y="513"/>
                  </a:lnTo>
                  <a:lnTo>
                    <a:pt x="600" y="516"/>
                  </a:lnTo>
                  <a:lnTo>
                    <a:pt x="598" y="519"/>
                  </a:lnTo>
                  <a:lnTo>
                    <a:pt x="598" y="522"/>
                  </a:lnTo>
                  <a:lnTo>
                    <a:pt x="601" y="518"/>
                  </a:lnTo>
                  <a:lnTo>
                    <a:pt x="602" y="517"/>
                  </a:lnTo>
                  <a:lnTo>
                    <a:pt x="604" y="523"/>
                  </a:lnTo>
                  <a:lnTo>
                    <a:pt x="606" y="525"/>
                  </a:lnTo>
                  <a:lnTo>
                    <a:pt x="607" y="527"/>
                  </a:lnTo>
                  <a:lnTo>
                    <a:pt x="611" y="525"/>
                  </a:lnTo>
                  <a:lnTo>
                    <a:pt x="611" y="524"/>
                  </a:lnTo>
                  <a:lnTo>
                    <a:pt x="612" y="525"/>
                  </a:lnTo>
                  <a:lnTo>
                    <a:pt x="611" y="528"/>
                  </a:lnTo>
                  <a:lnTo>
                    <a:pt x="611" y="531"/>
                  </a:lnTo>
                  <a:lnTo>
                    <a:pt x="612" y="535"/>
                  </a:lnTo>
                  <a:lnTo>
                    <a:pt x="613" y="535"/>
                  </a:lnTo>
                  <a:lnTo>
                    <a:pt x="613" y="531"/>
                  </a:lnTo>
                  <a:lnTo>
                    <a:pt x="614" y="529"/>
                  </a:lnTo>
                  <a:lnTo>
                    <a:pt x="616" y="525"/>
                  </a:lnTo>
                  <a:lnTo>
                    <a:pt x="616" y="528"/>
                  </a:lnTo>
                  <a:lnTo>
                    <a:pt x="617" y="529"/>
                  </a:lnTo>
                  <a:lnTo>
                    <a:pt x="618" y="527"/>
                  </a:lnTo>
                  <a:lnTo>
                    <a:pt x="619" y="523"/>
                  </a:lnTo>
                  <a:lnTo>
                    <a:pt x="620" y="518"/>
                  </a:lnTo>
                  <a:lnTo>
                    <a:pt x="619" y="525"/>
                  </a:lnTo>
                  <a:lnTo>
                    <a:pt x="620" y="530"/>
                  </a:lnTo>
                  <a:lnTo>
                    <a:pt x="620" y="533"/>
                  </a:lnTo>
                  <a:lnTo>
                    <a:pt x="623" y="535"/>
                  </a:lnTo>
                  <a:lnTo>
                    <a:pt x="624" y="536"/>
                  </a:lnTo>
                  <a:lnTo>
                    <a:pt x="626" y="535"/>
                  </a:lnTo>
                  <a:lnTo>
                    <a:pt x="628" y="533"/>
                  </a:lnTo>
                  <a:lnTo>
                    <a:pt x="628" y="529"/>
                  </a:lnTo>
                  <a:lnTo>
                    <a:pt x="628" y="525"/>
                  </a:lnTo>
                  <a:lnTo>
                    <a:pt x="629" y="529"/>
                  </a:lnTo>
                  <a:lnTo>
                    <a:pt x="629" y="531"/>
                  </a:lnTo>
                  <a:lnTo>
                    <a:pt x="630" y="529"/>
                  </a:lnTo>
                  <a:lnTo>
                    <a:pt x="633" y="529"/>
                  </a:lnTo>
                  <a:lnTo>
                    <a:pt x="633" y="533"/>
                  </a:lnTo>
                  <a:lnTo>
                    <a:pt x="634" y="535"/>
                  </a:lnTo>
                  <a:lnTo>
                    <a:pt x="635" y="533"/>
                  </a:lnTo>
                  <a:lnTo>
                    <a:pt x="635" y="530"/>
                  </a:lnTo>
                  <a:lnTo>
                    <a:pt x="641" y="534"/>
                  </a:lnTo>
                  <a:lnTo>
                    <a:pt x="640" y="531"/>
                  </a:lnTo>
                  <a:lnTo>
                    <a:pt x="637" y="530"/>
                  </a:lnTo>
                  <a:lnTo>
                    <a:pt x="640" y="528"/>
                  </a:lnTo>
                  <a:lnTo>
                    <a:pt x="637" y="528"/>
                  </a:lnTo>
                  <a:lnTo>
                    <a:pt x="634" y="528"/>
                  </a:lnTo>
                  <a:lnTo>
                    <a:pt x="631" y="527"/>
                  </a:lnTo>
                  <a:lnTo>
                    <a:pt x="636" y="525"/>
                  </a:lnTo>
                  <a:lnTo>
                    <a:pt x="635" y="524"/>
                  </a:lnTo>
                  <a:lnTo>
                    <a:pt x="631" y="524"/>
                  </a:lnTo>
                  <a:lnTo>
                    <a:pt x="629" y="524"/>
                  </a:lnTo>
                  <a:lnTo>
                    <a:pt x="628" y="522"/>
                  </a:lnTo>
                  <a:lnTo>
                    <a:pt x="629" y="521"/>
                  </a:lnTo>
                  <a:lnTo>
                    <a:pt x="628" y="519"/>
                  </a:lnTo>
                  <a:lnTo>
                    <a:pt x="626" y="518"/>
                  </a:lnTo>
                  <a:lnTo>
                    <a:pt x="624" y="517"/>
                  </a:lnTo>
                  <a:lnTo>
                    <a:pt x="620" y="515"/>
                  </a:lnTo>
                  <a:lnTo>
                    <a:pt x="620" y="513"/>
                  </a:lnTo>
                  <a:lnTo>
                    <a:pt x="620" y="512"/>
                  </a:lnTo>
                  <a:lnTo>
                    <a:pt x="618" y="510"/>
                  </a:lnTo>
                  <a:lnTo>
                    <a:pt x="617" y="507"/>
                  </a:lnTo>
                  <a:lnTo>
                    <a:pt x="614" y="506"/>
                  </a:lnTo>
                  <a:lnTo>
                    <a:pt x="612" y="504"/>
                  </a:lnTo>
                  <a:lnTo>
                    <a:pt x="612" y="501"/>
                  </a:lnTo>
                  <a:lnTo>
                    <a:pt x="613" y="500"/>
                  </a:lnTo>
                  <a:lnTo>
                    <a:pt x="614" y="498"/>
                  </a:lnTo>
                  <a:lnTo>
                    <a:pt x="616" y="500"/>
                  </a:lnTo>
                  <a:lnTo>
                    <a:pt x="617" y="504"/>
                  </a:lnTo>
                  <a:lnTo>
                    <a:pt x="618" y="505"/>
                  </a:lnTo>
                  <a:lnTo>
                    <a:pt x="619" y="507"/>
                  </a:lnTo>
                  <a:lnTo>
                    <a:pt x="620" y="506"/>
                  </a:lnTo>
                  <a:lnTo>
                    <a:pt x="620" y="504"/>
                  </a:lnTo>
                  <a:lnTo>
                    <a:pt x="622" y="504"/>
                  </a:lnTo>
                  <a:lnTo>
                    <a:pt x="623" y="503"/>
                  </a:lnTo>
                  <a:lnTo>
                    <a:pt x="623" y="501"/>
                  </a:lnTo>
                  <a:lnTo>
                    <a:pt x="624" y="500"/>
                  </a:lnTo>
                  <a:lnTo>
                    <a:pt x="622" y="499"/>
                  </a:lnTo>
                  <a:lnTo>
                    <a:pt x="619" y="498"/>
                  </a:lnTo>
                  <a:lnTo>
                    <a:pt x="616" y="494"/>
                  </a:lnTo>
                  <a:lnTo>
                    <a:pt x="620" y="494"/>
                  </a:lnTo>
                  <a:lnTo>
                    <a:pt x="622" y="493"/>
                  </a:lnTo>
                  <a:lnTo>
                    <a:pt x="618" y="492"/>
                  </a:lnTo>
                  <a:lnTo>
                    <a:pt x="616" y="492"/>
                  </a:lnTo>
                  <a:lnTo>
                    <a:pt x="611" y="492"/>
                  </a:lnTo>
                  <a:lnTo>
                    <a:pt x="606" y="489"/>
                  </a:lnTo>
                  <a:lnTo>
                    <a:pt x="600" y="487"/>
                  </a:lnTo>
                  <a:lnTo>
                    <a:pt x="596" y="484"/>
                  </a:lnTo>
                  <a:lnTo>
                    <a:pt x="589" y="481"/>
                  </a:lnTo>
                  <a:lnTo>
                    <a:pt x="586" y="480"/>
                  </a:lnTo>
                  <a:lnTo>
                    <a:pt x="581" y="477"/>
                  </a:lnTo>
                  <a:lnTo>
                    <a:pt x="577" y="477"/>
                  </a:lnTo>
                  <a:lnTo>
                    <a:pt x="572" y="475"/>
                  </a:lnTo>
                  <a:lnTo>
                    <a:pt x="569" y="475"/>
                  </a:lnTo>
                  <a:lnTo>
                    <a:pt x="569" y="474"/>
                  </a:lnTo>
                  <a:lnTo>
                    <a:pt x="570" y="472"/>
                  </a:lnTo>
                  <a:lnTo>
                    <a:pt x="572" y="471"/>
                  </a:lnTo>
                  <a:lnTo>
                    <a:pt x="567" y="470"/>
                  </a:lnTo>
                  <a:lnTo>
                    <a:pt x="564" y="469"/>
                  </a:lnTo>
                  <a:lnTo>
                    <a:pt x="561" y="468"/>
                  </a:lnTo>
                  <a:lnTo>
                    <a:pt x="558" y="468"/>
                  </a:lnTo>
                  <a:lnTo>
                    <a:pt x="558" y="464"/>
                  </a:lnTo>
                  <a:lnTo>
                    <a:pt x="558" y="460"/>
                  </a:lnTo>
                  <a:lnTo>
                    <a:pt x="558" y="457"/>
                  </a:lnTo>
                  <a:lnTo>
                    <a:pt x="560" y="453"/>
                  </a:lnTo>
                  <a:lnTo>
                    <a:pt x="563" y="450"/>
                  </a:lnTo>
                  <a:lnTo>
                    <a:pt x="563" y="453"/>
                  </a:lnTo>
                  <a:lnTo>
                    <a:pt x="563" y="454"/>
                  </a:lnTo>
                  <a:lnTo>
                    <a:pt x="565" y="456"/>
                  </a:lnTo>
                  <a:lnTo>
                    <a:pt x="567" y="456"/>
                  </a:lnTo>
                  <a:lnTo>
                    <a:pt x="567" y="457"/>
                  </a:lnTo>
                  <a:lnTo>
                    <a:pt x="570" y="458"/>
                  </a:lnTo>
                  <a:lnTo>
                    <a:pt x="571" y="458"/>
                  </a:lnTo>
                  <a:lnTo>
                    <a:pt x="572" y="454"/>
                  </a:lnTo>
                  <a:lnTo>
                    <a:pt x="574" y="452"/>
                  </a:lnTo>
                  <a:lnTo>
                    <a:pt x="572" y="458"/>
                  </a:lnTo>
                  <a:lnTo>
                    <a:pt x="575" y="460"/>
                  </a:lnTo>
                  <a:lnTo>
                    <a:pt x="576" y="459"/>
                  </a:lnTo>
                  <a:lnTo>
                    <a:pt x="576" y="456"/>
                  </a:lnTo>
                  <a:lnTo>
                    <a:pt x="578" y="452"/>
                  </a:lnTo>
                  <a:lnTo>
                    <a:pt x="578" y="456"/>
                  </a:lnTo>
                  <a:lnTo>
                    <a:pt x="581" y="458"/>
                  </a:lnTo>
                  <a:lnTo>
                    <a:pt x="581" y="454"/>
                  </a:lnTo>
                  <a:lnTo>
                    <a:pt x="583" y="453"/>
                  </a:lnTo>
                  <a:lnTo>
                    <a:pt x="582" y="458"/>
                  </a:lnTo>
                  <a:lnTo>
                    <a:pt x="582" y="463"/>
                  </a:lnTo>
                  <a:lnTo>
                    <a:pt x="584" y="464"/>
                  </a:lnTo>
                  <a:lnTo>
                    <a:pt x="587" y="464"/>
                  </a:lnTo>
                  <a:lnTo>
                    <a:pt x="587" y="460"/>
                  </a:lnTo>
                  <a:lnTo>
                    <a:pt x="587" y="458"/>
                  </a:lnTo>
                  <a:lnTo>
                    <a:pt x="588" y="456"/>
                  </a:lnTo>
                  <a:lnTo>
                    <a:pt x="589" y="457"/>
                  </a:lnTo>
                  <a:lnTo>
                    <a:pt x="588" y="462"/>
                  </a:lnTo>
                  <a:lnTo>
                    <a:pt x="592" y="460"/>
                  </a:lnTo>
                  <a:lnTo>
                    <a:pt x="592" y="458"/>
                  </a:lnTo>
                  <a:lnTo>
                    <a:pt x="593" y="459"/>
                  </a:lnTo>
                  <a:lnTo>
                    <a:pt x="594" y="457"/>
                  </a:lnTo>
                  <a:lnTo>
                    <a:pt x="595" y="456"/>
                  </a:lnTo>
                  <a:lnTo>
                    <a:pt x="595" y="460"/>
                  </a:lnTo>
                  <a:lnTo>
                    <a:pt x="596" y="460"/>
                  </a:lnTo>
                  <a:lnTo>
                    <a:pt x="599" y="463"/>
                  </a:lnTo>
                  <a:lnTo>
                    <a:pt x="600" y="460"/>
                  </a:lnTo>
                  <a:lnTo>
                    <a:pt x="600" y="466"/>
                  </a:lnTo>
                  <a:lnTo>
                    <a:pt x="600" y="470"/>
                  </a:lnTo>
                  <a:lnTo>
                    <a:pt x="602" y="469"/>
                  </a:lnTo>
                  <a:lnTo>
                    <a:pt x="604" y="466"/>
                  </a:lnTo>
                  <a:lnTo>
                    <a:pt x="605" y="465"/>
                  </a:lnTo>
                  <a:lnTo>
                    <a:pt x="606" y="460"/>
                  </a:lnTo>
                  <a:lnTo>
                    <a:pt x="607" y="459"/>
                  </a:lnTo>
                  <a:lnTo>
                    <a:pt x="610" y="462"/>
                  </a:lnTo>
                  <a:lnTo>
                    <a:pt x="611" y="459"/>
                  </a:lnTo>
                  <a:lnTo>
                    <a:pt x="612" y="458"/>
                  </a:lnTo>
                  <a:lnTo>
                    <a:pt x="614" y="459"/>
                  </a:lnTo>
                  <a:lnTo>
                    <a:pt x="614" y="463"/>
                  </a:lnTo>
                  <a:lnTo>
                    <a:pt x="616" y="462"/>
                  </a:lnTo>
                  <a:lnTo>
                    <a:pt x="619" y="462"/>
                  </a:lnTo>
                  <a:lnTo>
                    <a:pt x="623" y="462"/>
                  </a:lnTo>
                  <a:lnTo>
                    <a:pt x="623" y="460"/>
                  </a:lnTo>
                  <a:lnTo>
                    <a:pt x="618" y="458"/>
                  </a:lnTo>
                  <a:lnTo>
                    <a:pt x="612" y="454"/>
                  </a:lnTo>
                  <a:lnTo>
                    <a:pt x="612" y="452"/>
                  </a:lnTo>
                  <a:lnTo>
                    <a:pt x="610" y="453"/>
                  </a:lnTo>
                  <a:lnTo>
                    <a:pt x="605" y="452"/>
                  </a:lnTo>
                  <a:lnTo>
                    <a:pt x="602" y="451"/>
                  </a:lnTo>
                  <a:lnTo>
                    <a:pt x="601" y="448"/>
                  </a:lnTo>
                  <a:lnTo>
                    <a:pt x="606" y="448"/>
                  </a:lnTo>
                  <a:lnTo>
                    <a:pt x="610" y="450"/>
                  </a:lnTo>
                  <a:lnTo>
                    <a:pt x="607" y="448"/>
                  </a:lnTo>
                  <a:lnTo>
                    <a:pt x="601" y="445"/>
                  </a:lnTo>
                  <a:lnTo>
                    <a:pt x="600" y="445"/>
                  </a:lnTo>
                  <a:lnTo>
                    <a:pt x="605" y="444"/>
                  </a:lnTo>
                  <a:lnTo>
                    <a:pt x="605" y="442"/>
                  </a:lnTo>
                  <a:lnTo>
                    <a:pt x="600" y="442"/>
                  </a:lnTo>
                  <a:lnTo>
                    <a:pt x="594" y="441"/>
                  </a:lnTo>
                  <a:lnTo>
                    <a:pt x="594" y="439"/>
                  </a:lnTo>
                  <a:lnTo>
                    <a:pt x="592" y="439"/>
                  </a:lnTo>
                  <a:lnTo>
                    <a:pt x="589" y="438"/>
                  </a:lnTo>
                  <a:lnTo>
                    <a:pt x="590" y="436"/>
                  </a:lnTo>
                  <a:lnTo>
                    <a:pt x="588" y="436"/>
                  </a:lnTo>
                  <a:lnTo>
                    <a:pt x="582" y="436"/>
                  </a:lnTo>
                  <a:lnTo>
                    <a:pt x="582" y="433"/>
                  </a:lnTo>
                  <a:lnTo>
                    <a:pt x="581" y="432"/>
                  </a:lnTo>
                  <a:lnTo>
                    <a:pt x="578" y="434"/>
                  </a:lnTo>
                  <a:lnTo>
                    <a:pt x="575" y="433"/>
                  </a:lnTo>
                  <a:lnTo>
                    <a:pt x="574" y="432"/>
                  </a:lnTo>
                  <a:lnTo>
                    <a:pt x="574" y="429"/>
                  </a:lnTo>
                  <a:lnTo>
                    <a:pt x="571" y="430"/>
                  </a:lnTo>
                  <a:lnTo>
                    <a:pt x="570" y="428"/>
                  </a:lnTo>
                  <a:lnTo>
                    <a:pt x="566" y="428"/>
                  </a:lnTo>
                  <a:lnTo>
                    <a:pt x="563" y="429"/>
                  </a:lnTo>
                  <a:lnTo>
                    <a:pt x="560" y="429"/>
                  </a:lnTo>
                  <a:lnTo>
                    <a:pt x="559" y="428"/>
                  </a:lnTo>
                  <a:lnTo>
                    <a:pt x="552" y="424"/>
                  </a:lnTo>
                  <a:lnTo>
                    <a:pt x="547" y="423"/>
                  </a:lnTo>
                  <a:lnTo>
                    <a:pt x="543" y="421"/>
                  </a:lnTo>
                  <a:lnTo>
                    <a:pt x="541" y="421"/>
                  </a:lnTo>
                  <a:lnTo>
                    <a:pt x="539" y="421"/>
                  </a:lnTo>
                  <a:lnTo>
                    <a:pt x="534" y="420"/>
                  </a:lnTo>
                  <a:lnTo>
                    <a:pt x="530" y="418"/>
                  </a:lnTo>
                  <a:lnTo>
                    <a:pt x="528" y="418"/>
                  </a:lnTo>
                  <a:lnTo>
                    <a:pt x="525" y="418"/>
                  </a:lnTo>
                  <a:lnTo>
                    <a:pt x="523" y="416"/>
                  </a:lnTo>
                  <a:lnTo>
                    <a:pt x="521" y="418"/>
                  </a:lnTo>
                  <a:lnTo>
                    <a:pt x="519" y="415"/>
                  </a:lnTo>
                  <a:lnTo>
                    <a:pt x="517" y="415"/>
                  </a:lnTo>
                  <a:lnTo>
                    <a:pt x="515" y="415"/>
                  </a:lnTo>
                  <a:lnTo>
                    <a:pt x="511" y="417"/>
                  </a:lnTo>
                  <a:lnTo>
                    <a:pt x="510" y="416"/>
                  </a:lnTo>
                  <a:lnTo>
                    <a:pt x="507" y="416"/>
                  </a:lnTo>
                  <a:lnTo>
                    <a:pt x="505" y="415"/>
                  </a:lnTo>
                  <a:lnTo>
                    <a:pt x="502" y="415"/>
                  </a:lnTo>
                  <a:lnTo>
                    <a:pt x="501" y="414"/>
                  </a:lnTo>
                  <a:lnTo>
                    <a:pt x="496" y="411"/>
                  </a:lnTo>
                  <a:lnTo>
                    <a:pt x="494" y="410"/>
                  </a:lnTo>
                  <a:lnTo>
                    <a:pt x="493" y="411"/>
                  </a:lnTo>
                  <a:lnTo>
                    <a:pt x="493" y="409"/>
                  </a:lnTo>
                  <a:lnTo>
                    <a:pt x="495" y="409"/>
                  </a:lnTo>
                  <a:lnTo>
                    <a:pt x="498" y="410"/>
                  </a:lnTo>
                  <a:lnTo>
                    <a:pt x="501" y="412"/>
                  </a:lnTo>
                  <a:lnTo>
                    <a:pt x="504" y="414"/>
                  </a:lnTo>
                  <a:lnTo>
                    <a:pt x="506" y="414"/>
                  </a:lnTo>
                  <a:lnTo>
                    <a:pt x="507" y="412"/>
                  </a:lnTo>
                  <a:lnTo>
                    <a:pt x="509" y="412"/>
                  </a:lnTo>
                  <a:lnTo>
                    <a:pt x="510" y="415"/>
                  </a:lnTo>
                  <a:lnTo>
                    <a:pt x="511" y="415"/>
                  </a:lnTo>
                  <a:lnTo>
                    <a:pt x="512" y="415"/>
                  </a:lnTo>
                  <a:lnTo>
                    <a:pt x="515" y="411"/>
                  </a:lnTo>
                  <a:lnTo>
                    <a:pt x="515" y="410"/>
                  </a:lnTo>
                  <a:lnTo>
                    <a:pt x="516" y="410"/>
                  </a:lnTo>
                  <a:lnTo>
                    <a:pt x="516" y="411"/>
                  </a:lnTo>
                  <a:lnTo>
                    <a:pt x="517" y="414"/>
                  </a:lnTo>
                  <a:lnTo>
                    <a:pt x="518" y="414"/>
                  </a:lnTo>
                  <a:lnTo>
                    <a:pt x="519" y="414"/>
                  </a:lnTo>
                  <a:lnTo>
                    <a:pt x="521" y="412"/>
                  </a:lnTo>
                  <a:lnTo>
                    <a:pt x="521" y="415"/>
                  </a:lnTo>
                  <a:lnTo>
                    <a:pt x="523" y="415"/>
                  </a:lnTo>
                  <a:lnTo>
                    <a:pt x="525" y="415"/>
                  </a:lnTo>
                  <a:lnTo>
                    <a:pt x="527" y="415"/>
                  </a:lnTo>
                  <a:lnTo>
                    <a:pt x="529" y="416"/>
                  </a:lnTo>
                  <a:lnTo>
                    <a:pt x="530" y="417"/>
                  </a:lnTo>
                  <a:lnTo>
                    <a:pt x="533" y="416"/>
                  </a:lnTo>
                  <a:lnTo>
                    <a:pt x="533" y="415"/>
                  </a:lnTo>
                  <a:lnTo>
                    <a:pt x="534" y="414"/>
                  </a:lnTo>
                  <a:lnTo>
                    <a:pt x="533" y="411"/>
                  </a:lnTo>
                  <a:lnTo>
                    <a:pt x="535" y="414"/>
                  </a:lnTo>
                  <a:lnTo>
                    <a:pt x="537" y="416"/>
                  </a:lnTo>
                  <a:lnTo>
                    <a:pt x="537" y="415"/>
                  </a:lnTo>
                  <a:lnTo>
                    <a:pt x="539" y="418"/>
                  </a:lnTo>
                  <a:lnTo>
                    <a:pt x="540" y="418"/>
                  </a:lnTo>
                  <a:lnTo>
                    <a:pt x="540" y="417"/>
                  </a:lnTo>
                  <a:lnTo>
                    <a:pt x="541" y="416"/>
                  </a:lnTo>
                  <a:lnTo>
                    <a:pt x="543" y="418"/>
                  </a:lnTo>
                  <a:lnTo>
                    <a:pt x="543" y="420"/>
                  </a:lnTo>
                  <a:lnTo>
                    <a:pt x="546" y="418"/>
                  </a:lnTo>
                  <a:lnTo>
                    <a:pt x="547" y="416"/>
                  </a:lnTo>
                  <a:lnTo>
                    <a:pt x="546" y="420"/>
                  </a:lnTo>
                  <a:lnTo>
                    <a:pt x="547" y="421"/>
                  </a:lnTo>
                  <a:lnTo>
                    <a:pt x="549" y="421"/>
                  </a:lnTo>
                  <a:lnTo>
                    <a:pt x="553" y="420"/>
                  </a:lnTo>
                  <a:lnTo>
                    <a:pt x="553" y="418"/>
                  </a:lnTo>
                  <a:lnTo>
                    <a:pt x="557" y="423"/>
                  </a:lnTo>
                  <a:lnTo>
                    <a:pt x="557" y="422"/>
                  </a:lnTo>
                  <a:lnTo>
                    <a:pt x="557" y="420"/>
                  </a:lnTo>
                  <a:lnTo>
                    <a:pt x="554" y="417"/>
                  </a:lnTo>
                  <a:lnTo>
                    <a:pt x="555" y="416"/>
                  </a:lnTo>
                  <a:lnTo>
                    <a:pt x="555" y="417"/>
                  </a:lnTo>
                  <a:lnTo>
                    <a:pt x="557" y="417"/>
                  </a:lnTo>
                  <a:lnTo>
                    <a:pt x="557" y="415"/>
                  </a:lnTo>
                  <a:lnTo>
                    <a:pt x="558" y="415"/>
                  </a:lnTo>
                  <a:lnTo>
                    <a:pt x="559" y="416"/>
                  </a:lnTo>
                  <a:lnTo>
                    <a:pt x="559" y="420"/>
                  </a:lnTo>
                  <a:lnTo>
                    <a:pt x="559" y="421"/>
                  </a:lnTo>
                  <a:lnTo>
                    <a:pt x="560" y="421"/>
                  </a:lnTo>
                  <a:lnTo>
                    <a:pt x="561" y="423"/>
                  </a:lnTo>
                  <a:lnTo>
                    <a:pt x="561" y="426"/>
                  </a:lnTo>
                  <a:lnTo>
                    <a:pt x="563" y="427"/>
                  </a:lnTo>
                  <a:lnTo>
                    <a:pt x="564" y="424"/>
                  </a:lnTo>
                  <a:lnTo>
                    <a:pt x="564" y="421"/>
                  </a:lnTo>
                  <a:lnTo>
                    <a:pt x="564" y="417"/>
                  </a:lnTo>
                  <a:lnTo>
                    <a:pt x="565" y="418"/>
                  </a:lnTo>
                  <a:lnTo>
                    <a:pt x="566" y="426"/>
                  </a:lnTo>
                  <a:lnTo>
                    <a:pt x="567" y="424"/>
                  </a:lnTo>
                  <a:lnTo>
                    <a:pt x="567" y="422"/>
                  </a:lnTo>
                  <a:lnTo>
                    <a:pt x="569" y="420"/>
                  </a:lnTo>
                  <a:lnTo>
                    <a:pt x="570" y="420"/>
                  </a:lnTo>
                  <a:lnTo>
                    <a:pt x="570" y="416"/>
                  </a:lnTo>
                  <a:lnTo>
                    <a:pt x="570" y="415"/>
                  </a:lnTo>
                  <a:lnTo>
                    <a:pt x="571" y="420"/>
                  </a:lnTo>
                  <a:lnTo>
                    <a:pt x="571" y="423"/>
                  </a:lnTo>
                  <a:lnTo>
                    <a:pt x="574" y="424"/>
                  </a:lnTo>
                  <a:lnTo>
                    <a:pt x="576" y="424"/>
                  </a:lnTo>
                  <a:lnTo>
                    <a:pt x="577" y="420"/>
                  </a:lnTo>
                  <a:lnTo>
                    <a:pt x="577" y="424"/>
                  </a:lnTo>
                  <a:lnTo>
                    <a:pt x="578" y="428"/>
                  </a:lnTo>
                  <a:lnTo>
                    <a:pt x="577" y="429"/>
                  </a:lnTo>
                  <a:lnTo>
                    <a:pt x="580" y="430"/>
                  </a:lnTo>
                  <a:lnTo>
                    <a:pt x="581" y="429"/>
                  </a:lnTo>
                  <a:lnTo>
                    <a:pt x="581" y="428"/>
                  </a:lnTo>
                  <a:lnTo>
                    <a:pt x="582" y="427"/>
                  </a:lnTo>
                  <a:lnTo>
                    <a:pt x="583" y="424"/>
                  </a:lnTo>
                  <a:lnTo>
                    <a:pt x="584" y="423"/>
                  </a:lnTo>
                  <a:lnTo>
                    <a:pt x="584" y="420"/>
                  </a:lnTo>
                  <a:lnTo>
                    <a:pt x="584" y="418"/>
                  </a:lnTo>
                  <a:lnTo>
                    <a:pt x="587" y="420"/>
                  </a:lnTo>
                  <a:lnTo>
                    <a:pt x="587" y="422"/>
                  </a:lnTo>
                  <a:lnTo>
                    <a:pt x="588" y="426"/>
                  </a:lnTo>
                  <a:lnTo>
                    <a:pt x="589" y="424"/>
                  </a:lnTo>
                  <a:lnTo>
                    <a:pt x="590" y="422"/>
                  </a:lnTo>
                  <a:lnTo>
                    <a:pt x="592" y="424"/>
                  </a:lnTo>
                  <a:lnTo>
                    <a:pt x="592" y="427"/>
                  </a:lnTo>
                  <a:lnTo>
                    <a:pt x="593" y="429"/>
                  </a:lnTo>
                  <a:lnTo>
                    <a:pt x="595" y="426"/>
                  </a:lnTo>
                  <a:lnTo>
                    <a:pt x="598" y="426"/>
                  </a:lnTo>
                  <a:lnTo>
                    <a:pt x="598" y="427"/>
                  </a:lnTo>
                  <a:lnTo>
                    <a:pt x="599" y="427"/>
                  </a:lnTo>
                  <a:lnTo>
                    <a:pt x="599" y="424"/>
                  </a:lnTo>
                  <a:lnTo>
                    <a:pt x="601" y="420"/>
                  </a:lnTo>
                  <a:lnTo>
                    <a:pt x="602" y="418"/>
                  </a:lnTo>
                  <a:lnTo>
                    <a:pt x="604" y="420"/>
                  </a:lnTo>
                  <a:lnTo>
                    <a:pt x="606" y="420"/>
                  </a:lnTo>
                  <a:lnTo>
                    <a:pt x="606" y="422"/>
                  </a:lnTo>
                  <a:lnTo>
                    <a:pt x="607" y="426"/>
                  </a:lnTo>
                  <a:lnTo>
                    <a:pt x="610" y="424"/>
                  </a:lnTo>
                  <a:lnTo>
                    <a:pt x="610" y="422"/>
                  </a:lnTo>
                  <a:lnTo>
                    <a:pt x="616" y="424"/>
                  </a:lnTo>
                  <a:lnTo>
                    <a:pt x="616" y="423"/>
                  </a:lnTo>
                  <a:lnTo>
                    <a:pt x="612" y="421"/>
                  </a:lnTo>
                  <a:lnTo>
                    <a:pt x="610" y="421"/>
                  </a:lnTo>
                  <a:lnTo>
                    <a:pt x="612" y="418"/>
                  </a:lnTo>
                  <a:lnTo>
                    <a:pt x="612" y="417"/>
                  </a:lnTo>
                  <a:lnTo>
                    <a:pt x="608" y="417"/>
                  </a:lnTo>
                  <a:lnTo>
                    <a:pt x="610" y="417"/>
                  </a:lnTo>
                  <a:lnTo>
                    <a:pt x="608" y="415"/>
                  </a:lnTo>
                  <a:lnTo>
                    <a:pt x="606" y="415"/>
                  </a:lnTo>
                  <a:lnTo>
                    <a:pt x="602" y="414"/>
                  </a:lnTo>
                  <a:lnTo>
                    <a:pt x="600" y="412"/>
                  </a:lnTo>
                  <a:lnTo>
                    <a:pt x="598" y="411"/>
                  </a:lnTo>
                  <a:lnTo>
                    <a:pt x="595" y="410"/>
                  </a:lnTo>
                  <a:lnTo>
                    <a:pt x="593" y="406"/>
                  </a:lnTo>
                  <a:lnTo>
                    <a:pt x="592" y="405"/>
                  </a:lnTo>
                  <a:lnTo>
                    <a:pt x="590" y="402"/>
                  </a:lnTo>
                  <a:lnTo>
                    <a:pt x="592" y="402"/>
                  </a:lnTo>
                  <a:lnTo>
                    <a:pt x="596" y="403"/>
                  </a:lnTo>
                  <a:lnTo>
                    <a:pt x="595" y="400"/>
                  </a:lnTo>
                  <a:lnTo>
                    <a:pt x="593" y="399"/>
                  </a:lnTo>
                  <a:lnTo>
                    <a:pt x="592" y="396"/>
                  </a:lnTo>
                  <a:lnTo>
                    <a:pt x="590" y="397"/>
                  </a:lnTo>
                  <a:lnTo>
                    <a:pt x="589" y="398"/>
                  </a:lnTo>
                  <a:lnTo>
                    <a:pt x="587" y="398"/>
                  </a:lnTo>
                  <a:lnTo>
                    <a:pt x="583" y="398"/>
                  </a:lnTo>
                  <a:lnTo>
                    <a:pt x="575" y="396"/>
                  </a:lnTo>
                  <a:lnTo>
                    <a:pt x="570" y="394"/>
                  </a:lnTo>
                  <a:lnTo>
                    <a:pt x="570" y="392"/>
                  </a:lnTo>
                  <a:lnTo>
                    <a:pt x="569" y="393"/>
                  </a:lnTo>
                  <a:lnTo>
                    <a:pt x="565" y="393"/>
                  </a:lnTo>
                  <a:lnTo>
                    <a:pt x="564" y="392"/>
                  </a:lnTo>
                  <a:lnTo>
                    <a:pt x="563" y="391"/>
                  </a:lnTo>
                  <a:lnTo>
                    <a:pt x="560" y="390"/>
                  </a:lnTo>
                  <a:lnTo>
                    <a:pt x="553" y="390"/>
                  </a:lnTo>
                  <a:lnTo>
                    <a:pt x="548" y="390"/>
                  </a:lnTo>
                  <a:lnTo>
                    <a:pt x="546" y="388"/>
                  </a:lnTo>
                  <a:lnTo>
                    <a:pt x="545" y="387"/>
                  </a:lnTo>
                  <a:lnTo>
                    <a:pt x="542" y="387"/>
                  </a:lnTo>
                  <a:lnTo>
                    <a:pt x="537" y="386"/>
                  </a:lnTo>
                  <a:lnTo>
                    <a:pt x="535" y="385"/>
                  </a:lnTo>
                  <a:lnTo>
                    <a:pt x="534" y="381"/>
                  </a:lnTo>
                  <a:lnTo>
                    <a:pt x="530" y="380"/>
                  </a:lnTo>
                  <a:lnTo>
                    <a:pt x="528" y="380"/>
                  </a:lnTo>
                  <a:lnTo>
                    <a:pt x="523" y="378"/>
                  </a:lnTo>
                  <a:lnTo>
                    <a:pt x="521" y="378"/>
                  </a:lnTo>
                  <a:lnTo>
                    <a:pt x="518" y="378"/>
                  </a:lnTo>
                  <a:lnTo>
                    <a:pt x="513" y="378"/>
                  </a:lnTo>
                  <a:lnTo>
                    <a:pt x="515" y="375"/>
                  </a:lnTo>
                  <a:lnTo>
                    <a:pt x="511" y="376"/>
                  </a:lnTo>
                  <a:lnTo>
                    <a:pt x="509" y="378"/>
                  </a:lnTo>
                  <a:lnTo>
                    <a:pt x="502" y="378"/>
                  </a:lnTo>
                  <a:lnTo>
                    <a:pt x="501" y="376"/>
                  </a:lnTo>
                  <a:lnTo>
                    <a:pt x="495" y="375"/>
                  </a:lnTo>
                  <a:lnTo>
                    <a:pt x="492" y="374"/>
                  </a:lnTo>
                  <a:lnTo>
                    <a:pt x="487" y="374"/>
                  </a:lnTo>
                  <a:lnTo>
                    <a:pt x="482" y="371"/>
                  </a:lnTo>
                  <a:lnTo>
                    <a:pt x="476" y="371"/>
                  </a:lnTo>
                  <a:lnTo>
                    <a:pt x="472" y="369"/>
                  </a:lnTo>
                  <a:lnTo>
                    <a:pt x="469" y="368"/>
                  </a:lnTo>
                  <a:lnTo>
                    <a:pt x="470" y="369"/>
                  </a:lnTo>
                  <a:lnTo>
                    <a:pt x="468" y="371"/>
                  </a:lnTo>
                  <a:lnTo>
                    <a:pt x="465" y="371"/>
                  </a:lnTo>
                  <a:lnTo>
                    <a:pt x="463" y="370"/>
                  </a:lnTo>
                  <a:lnTo>
                    <a:pt x="459" y="369"/>
                  </a:lnTo>
                  <a:lnTo>
                    <a:pt x="457" y="368"/>
                  </a:lnTo>
                  <a:lnTo>
                    <a:pt x="453" y="369"/>
                  </a:lnTo>
                  <a:lnTo>
                    <a:pt x="452" y="370"/>
                  </a:lnTo>
                  <a:lnTo>
                    <a:pt x="448" y="368"/>
                  </a:lnTo>
                  <a:lnTo>
                    <a:pt x="446" y="367"/>
                  </a:lnTo>
                  <a:lnTo>
                    <a:pt x="442" y="365"/>
                  </a:lnTo>
                  <a:lnTo>
                    <a:pt x="437" y="367"/>
                  </a:lnTo>
                  <a:lnTo>
                    <a:pt x="437" y="364"/>
                  </a:lnTo>
                  <a:lnTo>
                    <a:pt x="436" y="362"/>
                  </a:lnTo>
                  <a:lnTo>
                    <a:pt x="433" y="361"/>
                  </a:lnTo>
                  <a:lnTo>
                    <a:pt x="430" y="359"/>
                  </a:lnTo>
                  <a:lnTo>
                    <a:pt x="428" y="357"/>
                  </a:lnTo>
                  <a:lnTo>
                    <a:pt x="424" y="355"/>
                  </a:lnTo>
                  <a:lnTo>
                    <a:pt x="419" y="351"/>
                  </a:lnTo>
                  <a:lnTo>
                    <a:pt x="417" y="349"/>
                  </a:lnTo>
                  <a:lnTo>
                    <a:pt x="417" y="339"/>
                  </a:lnTo>
                  <a:lnTo>
                    <a:pt x="418" y="337"/>
                  </a:lnTo>
                  <a:lnTo>
                    <a:pt x="418" y="335"/>
                  </a:lnTo>
                  <a:lnTo>
                    <a:pt x="419" y="340"/>
                  </a:lnTo>
                  <a:lnTo>
                    <a:pt x="421" y="340"/>
                  </a:lnTo>
                  <a:lnTo>
                    <a:pt x="423" y="339"/>
                  </a:lnTo>
                  <a:lnTo>
                    <a:pt x="422" y="335"/>
                  </a:lnTo>
                  <a:lnTo>
                    <a:pt x="423" y="334"/>
                  </a:lnTo>
                  <a:lnTo>
                    <a:pt x="424" y="337"/>
                  </a:lnTo>
                  <a:lnTo>
                    <a:pt x="423" y="340"/>
                  </a:lnTo>
                  <a:lnTo>
                    <a:pt x="423" y="344"/>
                  </a:lnTo>
                  <a:lnTo>
                    <a:pt x="422" y="346"/>
                  </a:lnTo>
                  <a:lnTo>
                    <a:pt x="422" y="349"/>
                  </a:lnTo>
                  <a:lnTo>
                    <a:pt x="423" y="350"/>
                  </a:lnTo>
                  <a:lnTo>
                    <a:pt x="424" y="351"/>
                  </a:lnTo>
                  <a:lnTo>
                    <a:pt x="427" y="353"/>
                  </a:lnTo>
                  <a:lnTo>
                    <a:pt x="428" y="355"/>
                  </a:lnTo>
                  <a:lnTo>
                    <a:pt x="430" y="357"/>
                  </a:lnTo>
                  <a:lnTo>
                    <a:pt x="431" y="356"/>
                  </a:lnTo>
                  <a:lnTo>
                    <a:pt x="433" y="358"/>
                  </a:lnTo>
                  <a:lnTo>
                    <a:pt x="434" y="358"/>
                  </a:lnTo>
                  <a:lnTo>
                    <a:pt x="436" y="358"/>
                  </a:lnTo>
                  <a:lnTo>
                    <a:pt x="437" y="361"/>
                  </a:lnTo>
                  <a:lnTo>
                    <a:pt x="439" y="359"/>
                  </a:lnTo>
                  <a:lnTo>
                    <a:pt x="439" y="357"/>
                  </a:lnTo>
                  <a:lnTo>
                    <a:pt x="436" y="355"/>
                  </a:lnTo>
                  <a:lnTo>
                    <a:pt x="436" y="353"/>
                  </a:lnTo>
                  <a:lnTo>
                    <a:pt x="436" y="349"/>
                  </a:lnTo>
                  <a:lnTo>
                    <a:pt x="435" y="345"/>
                  </a:lnTo>
                  <a:lnTo>
                    <a:pt x="436" y="341"/>
                  </a:lnTo>
                  <a:lnTo>
                    <a:pt x="436" y="338"/>
                  </a:lnTo>
                  <a:lnTo>
                    <a:pt x="437" y="338"/>
                  </a:lnTo>
                  <a:lnTo>
                    <a:pt x="437" y="339"/>
                  </a:lnTo>
                  <a:lnTo>
                    <a:pt x="436" y="343"/>
                  </a:lnTo>
                  <a:lnTo>
                    <a:pt x="439" y="343"/>
                  </a:lnTo>
                  <a:lnTo>
                    <a:pt x="440" y="344"/>
                  </a:lnTo>
                  <a:lnTo>
                    <a:pt x="437" y="346"/>
                  </a:lnTo>
                  <a:lnTo>
                    <a:pt x="439" y="347"/>
                  </a:lnTo>
                  <a:lnTo>
                    <a:pt x="440" y="347"/>
                  </a:lnTo>
                  <a:lnTo>
                    <a:pt x="441" y="345"/>
                  </a:lnTo>
                  <a:lnTo>
                    <a:pt x="441" y="343"/>
                  </a:lnTo>
                  <a:lnTo>
                    <a:pt x="441" y="340"/>
                  </a:lnTo>
                  <a:lnTo>
                    <a:pt x="443" y="340"/>
                  </a:lnTo>
                  <a:lnTo>
                    <a:pt x="443" y="345"/>
                  </a:lnTo>
                  <a:lnTo>
                    <a:pt x="443" y="347"/>
                  </a:lnTo>
                  <a:lnTo>
                    <a:pt x="445" y="349"/>
                  </a:lnTo>
                  <a:lnTo>
                    <a:pt x="446" y="349"/>
                  </a:lnTo>
                  <a:lnTo>
                    <a:pt x="448" y="347"/>
                  </a:lnTo>
                  <a:lnTo>
                    <a:pt x="448" y="349"/>
                  </a:lnTo>
                  <a:lnTo>
                    <a:pt x="448" y="351"/>
                  </a:lnTo>
                  <a:lnTo>
                    <a:pt x="450" y="352"/>
                  </a:lnTo>
                  <a:lnTo>
                    <a:pt x="451" y="351"/>
                  </a:lnTo>
                  <a:lnTo>
                    <a:pt x="451" y="353"/>
                  </a:lnTo>
                  <a:lnTo>
                    <a:pt x="452" y="353"/>
                  </a:lnTo>
                  <a:lnTo>
                    <a:pt x="453" y="352"/>
                  </a:lnTo>
                  <a:lnTo>
                    <a:pt x="454" y="350"/>
                  </a:lnTo>
                  <a:lnTo>
                    <a:pt x="456" y="349"/>
                  </a:lnTo>
                  <a:lnTo>
                    <a:pt x="454" y="353"/>
                  </a:lnTo>
                  <a:lnTo>
                    <a:pt x="454" y="358"/>
                  </a:lnTo>
                  <a:lnTo>
                    <a:pt x="456" y="358"/>
                  </a:lnTo>
                  <a:lnTo>
                    <a:pt x="457" y="356"/>
                  </a:lnTo>
                  <a:lnTo>
                    <a:pt x="457" y="353"/>
                  </a:lnTo>
                  <a:lnTo>
                    <a:pt x="457" y="350"/>
                  </a:lnTo>
                  <a:lnTo>
                    <a:pt x="459" y="349"/>
                  </a:lnTo>
                  <a:lnTo>
                    <a:pt x="458" y="353"/>
                  </a:lnTo>
                  <a:lnTo>
                    <a:pt x="458" y="358"/>
                  </a:lnTo>
                  <a:lnTo>
                    <a:pt x="458" y="359"/>
                  </a:lnTo>
                  <a:lnTo>
                    <a:pt x="459" y="359"/>
                  </a:lnTo>
                  <a:lnTo>
                    <a:pt x="459" y="358"/>
                  </a:lnTo>
                  <a:lnTo>
                    <a:pt x="460" y="359"/>
                  </a:lnTo>
                  <a:lnTo>
                    <a:pt x="460" y="362"/>
                  </a:lnTo>
                  <a:lnTo>
                    <a:pt x="462" y="364"/>
                  </a:lnTo>
                  <a:lnTo>
                    <a:pt x="463" y="364"/>
                  </a:lnTo>
                  <a:lnTo>
                    <a:pt x="463" y="359"/>
                  </a:lnTo>
                  <a:lnTo>
                    <a:pt x="463" y="358"/>
                  </a:lnTo>
                  <a:lnTo>
                    <a:pt x="465" y="357"/>
                  </a:lnTo>
                  <a:lnTo>
                    <a:pt x="468" y="356"/>
                  </a:lnTo>
                  <a:lnTo>
                    <a:pt x="469" y="355"/>
                  </a:lnTo>
                  <a:lnTo>
                    <a:pt x="465" y="351"/>
                  </a:lnTo>
                  <a:lnTo>
                    <a:pt x="464" y="347"/>
                  </a:lnTo>
                  <a:lnTo>
                    <a:pt x="464" y="346"/>
                  </a:lnTo>
                  <a:lnTo>
                    <a:pt x="466" y="346"/>
                  </a:lnTo>
                  <a:lnTo>
                    <a:pt x="465" y="347"/>
                  </a:lnTo>
                  <a:lnTo>
                    <a:pt x="466" y="349"/>
                  </a:lnTo>
                  <a:lnTo>
                    <a:pt x="470" y="347"/>
                  </a:lnTo>
                  <a:lnTo>
                    <a:pt x="471" y="346"/>
                  </a:lnTo>
                  <a:lnTo>
                    <a:pt x="471" y="343"/>
                  </a:lnTo>
                  <a:lnTo>
                    <a:pt x="471" y="341"/>
                  </a:lnTo>
                  <a:lnTo>
                    <a:pt x="472" y="343"/>
                  </a:lnTo>
                  <a:lnTo>
                    <a:pt x="474" y="345"/>
                  </a:lnTo>
                  <a:lnTo>
                    <a:pt x="475" y="344"/>
                  </a:lnTo>
                  <a:lnTo>
                    <a:pt x="475" y="341"/>
                  </a:lnTo>
                  <a:lnTo>
                    <a:pt x="477" y="340"/>
                  </a:lnTo>
                  <a:lnTo>
                    <a:pt x="477" y="339"/>
                  </a:lnTo>
                  <a:lnTo>
                    <a:pt x="476" y="335"/>
                  </a:lnTo>
                  <a:lnTo>
                    <a:pt x="480" y="337"/>
                  </a:lnTo>
                  <a:lnTo>
                    <a:pt x="481" y="334"/>
                  </a:lnTo>
                  <a:lnTo>
                    <a:pt x="480" y="326"/>
                  </a:lnTo>
                  <a:lnTo>
                    <a:pt x="481" y="321"/>
                  </a:lnTo>
                  <a:lnTo>
                    <a:pt x="481" y="320"/>
                  </a:lnTo>
                  <a:lnTo>
                    <a:pt x="482" y="323"/>
                  </a:lnTo>
                  <a:lnTo>
                    <a:pt x="483" y="323"/>
                  </a:lnTo>
                  <a:lnTo>
                    <a:pt x="483" y="320"/>
                  </a:lnTo>
                  <a:lnTo>
                    <a:pt x="483" y="317"/>
                  </a:lnTo>
                  <a:lnTo>
                    <a:pt x="484" y="319"/>
                  </a:lnTo>
                  <a:lnTo>
                    <a:pt x="486" y="317"/>
                  </a:lnTo>
                  <a:lnTo>
                    <a:pt x="488" y="317"/>
                  </a:lnTo>
                  <a:lnTo>
                    <a:pt x="489" y="319"/>
                  </a:lnTo>
                  <a:lnTo>
                    <a:pt x="490" y="321"/>
                  </a:lnTo>
                  <a:lnTo>
                    <a:pt x="490" y="325"/>
                  </a:lnTo>
                  <a:lnTo>
                    <a:pt x="490" y="326"/>
                  </a:lnTo>
                  <a:lnTo>
                    <a:pt x="492" y="326"/>
                  </a:lnTo>
                  <a:lnTo>
                    <a:pt x="492" y="328"/>
                  </a:lnTo>
                  <a:lnTo>
                    <a:pt x="493" y="326"/>
                  </a:lnTo>
                  <a:lnTo>
                    <a:pt x="493" y="320"/>
                  </a:lnTo>
                  <a:lnTo>
                    <a:pt x="492" y="317"/>
                  </a:lnTo>
                  <a:lnTo>
                    <a:pt x="493" y="315"/>
                  </a:lnTo>
                  <a:lnTo>
                    <a:pt x="495" y="313"/>
                  </a:lnTo>
                  <a:lnTo>
                    <a:pt x="495" y="310"/>
                  </a:lnTo>
                  <a:lnTo>
                    <a:pt x="494" y="307"/>
                  </a:lnTo>
                  <a:lnTo>
                    <a:pt x="495" y="303"/>
                  </a:lnTo>
                  <a:lnTo>
                    <a:pt x="496" y="301"/>
                  </a:lnTo>
                  <a:lnTo>
                    <a:pt x="498" y="304"/>
                  </a:lnTo>
                  <a:lnTo>
                    <a:pt x="501" y="303"/>
                  </a:lnTo>
                  <a:lnTo>
                    <a:pt x="502" y="305"/>
                  </a:lnTo>
                  <a:lnTo>
                    <a:pt x="504" y="304"/>
                  </a:lnTo>
                  <a:lnTo>
                    <a:pt x="505" y="303"/>
                  </a:lnTo>
                  <a:lnTo>
                    <a:pt x="505" y="310"/>
                  </a:lnTo>
                  <a:lnTo>
                    <a:pt x="506" y="311"/>
                  </a:lnTo>
                  <a:lnTo>
                    <a:pt x="509" y="311"/>
                  </a:lnTo>
                  <a:lnTo>
                    <a:pt x="509" y="309"/>
                  </a:lnTo>
                  <a:lnTo>
                    <a:pt x="507" y="304"/>
                  </a:lnTo>
                  <a:lnTo>
                    <a:pt x="507" y="299"/>
                  </a:lnTo>
                  <a:lnTo>
                    <a:pt x="509" y="298"/>
                  </a:lnTo>
                  <a:lnTo>
                    <a:pt x="510" y="297"/>
                  </a:lnTo>
                  <a:lnTo>
                    <a:pt x="510" y="293"/>
                  </a:lnTo>
                  <a:lnTo>
                    <a:pt x="512" y="295"/>
                  </a:lnTo>
                  <a:lnTo>
                    <a:pt x="512" y="292"/>
                  </a:lnTo>
                  <a:lnTo>
                    <a:pt x="512" y="289"/>
                  </a:lnTo>
                  <a:lnTo>
                    <a:pt x="513" y="289"/>
                  </a:lnTo>
                  <a:lnTo>
                    <a:pt x="515" y="291"/>
                  </a:lnTo>
                  <a:lnTo>
                    <a:pt x="518" y="291"/>
                  </a:lnTo>
                  <a:lnTo>
                    <a:pt x="519" y="289"/>
                  </a:lnTo>
                  <a:lnTo>
                    <a:pt x="521" y="286"/>
                  </a:lnTo>
                  <a:lnTo>
                    <a:pt x="519" y="284"/>
                  </a:lnTo>
                  <a:lnTo>
                    <a:pt x="519" y="280"/>
                  </a:lnTo>
                  <a:lnTo>
                    <a:pt x="519" y="279"/>
                  </a:lnTo>
                  <a:lnTo>
                    <a:pt x="521" y="279"/>
                  </a:lnTo>
                  <a:lnTo>
                    <a:pt x="523" y="280"/>
                  </a:lnTo>
                  <a:lnTo>
                    <a:pt x="523" y="279"/>
                  </a:lnTo>
                  <a:lnTo>
                    <a:pt x="521" y="278"/>
                  </a:lnTo>
                  <a:lnTo>
                    <a:pt x="521" y="275"/>
                  </a:lnTo>
                  <a:lnTo>
                    <a:pt x="518" y="274"/>
                  </a:lnTo>
                  <a:lnTo>
                    <a:pt x="516" y="274"/>
                  </a:lnTo>
                  <a:lnTo>
                    <a:pt x="515" y="273"/>
                  </a:lnTo>
                  <a:lnTo>
                    <a:pt x="516" y="272"/>
                  </a:lnTo>
                  <a:lnTo>
                    <a:pt x="518" y="272"/>
                  </a:lnTo>
                  <a:lnTo>
                    <a:pt x="521" y="272"/>
                  </a:lnTo>
                  <a:lnTo>
                    <a:pt x="522" y="274"/>
                  </a:lnTo>
                  <a:lnTo>
                    <a:pt x="523" y="277"/>
                  </a:lnTo>
                  <a:lnTo>
                    <a:pt x="523" y="278"/>
                  </a:lnTo>
                  <a:lnTo>
                    <a:pt x="523" y="277"/>
                  </a:lnTo>
                  <a:lnTo>
                    <a:pt x="524" y="275"/>
                  </a:lnTo>
                  <a:lnTo>
                    <a:pt x="525" y="278"/>
                  </a:lnTo>
                  <a:lnTo>
                    <a:pt x="525" y="277"/>
                  </a:lnTo>
                  <a:lnTo>
                    <a:pt x="525" y="275"/>
                  </a:lnTo>
                  <a:lnTo>
                    <a:pt x="524" y="273"/>
                  </a:lnTo>
                  <a:lnTo>
                    <a:pt x="527" y="272"/>
                  </a:lnTo>
                  <a:lnTo>
                    <a:pt x="528" y="272"/>
                  </a:lnTo>
                  <a:lnTo>
                    <a:pt x="529" y="271"/>
                  </a:lnTo>
                  <a:lnTo>
                    <a:pt x="530" y="269"/>
                  </a:lnTo>
                  <a:lnTo>
                    <a:pt x="528" y="269"/>
                  </a:lnTo>
                  <a:lnTo>
                    <a:pt x="527" y="269"/>
                  </a:lnTo>
                  <a:lnTo>
                    <a:pt x="525" y="269"/>
                  </a:lnTo>
                  <a:lnTo>
                    <a:pt x="524" y="269"/>
                  </a:lnTo>
                  <a:lnTo>
                    <a:pt x="523" y="268"/>
                  </a:lnTo>
                  <a:lnTo>
                    <a:pt x="522" y="267"/>
                  </a:lnTo>
                  <a:lnTo>
                    <a:pt x="525" y="266"/>
                  </a:lnTo>
                  <a:lnTo>
                    <a:pt x="527" y="264"/>
                  </a:lnTo>
                  <a:lnTo>
                    <a:pt x="523" y="263"/>
                  </a:lnTo>
                  <a:lnTo>
                    <a:pt x="527" y="262"/>
                  </a:lnTo>
                  <a:lnTo>
                    <a:pt x="528" y="261"/>
                  </a:lnTo>
                  <a:lnTo>
                    <a:pt x="530" y="262"/>
                  </a:lnTo>
                  <a:lnTo>
                    <a:pt x="530" y="260"/>
                  </a:lnTo>
                  <a:lnTo>
                    <a:pt x="531" y="260"/>
                  </a:lnTo>
                  <a:lnTo>
                    <a:pt x="533" y="261"/>
                  </a:lnTo>
                  <a:lnTo>
                    <a:pt x="534" y="261"/>
                  </a:lnTo>
                  <a:lnTo>
                    <a:pt x="535" y="261"/>
                  </a:lnTo>
                  <a:lnTo>
                    <a:pt x="534" y="260"/>
                  </a:lnTo>
                  <a:lnTo>
                    <a:pt x="533" y="258"/>
                  </a:lnTo>
                  <a:lnTo>
                    <a:pt x="535" y="257"/>
                  </a:lnTo>
                  <a:lnTo>
                    <a:pt x="536" y="258"/>
                  </a:lnTo>
                  <a:lnTo>
                    <a:pt x="539" y="260"/>
                  </a:lnTo>
                  <a:lnTo>
                    <a:pt x="540" y="258"/>
                  </a:lnTo>
                  <a:lnTo>
                    <a:pt x="536" y="256"/>
                  </a:lnTo>
                  <a:lnTo>
                    <a:pt x="535" y="255"/>
                  </a:lnTo>
                  <a:lnTo>
                    <a:pt x="540" y="255"/>
                  </a:lnTo>
                  <a:lnTo>
                    <a:pt x="541" y="254"/>
                  </a:lnTo>
                  <a:lnTo>
                    <a:pt x="535" y="254"/>
                  </a:lnTo>
                  <a:lnTo>
                    <a:pt x="534" y="254"/>
                  </a:lnTo>
                  <a:lnTo>
                    <a:pt x="533" y="252"/>
                  </a:lnTo>
                  <a:lnTo>
                    <a:pt x="533" y="251"/>
                  </a:lnTo>
                  <a:lnTo>
                    <a:pt x="531" y="250"/>
                  </a:lnTo>
                  <a:lnTo>
                    <a:pt x="530" y="255"/>
                  </a:lnTo>
                  <a:lnTo>
                    <a:pt x="529" y="255"/>
                  </a:lnTo>
                  <a:lnTo>
                    <a:pt x="528" y="256"/>
                  </a:lnTo>
                  <a:lnTo>
                    <a:pt x="528" y="257"/>
                  </a:lnTo>
                  <a:lnTo>
                    <a:pt x="527" y="257"/>
                  </a:lnTo>
                  <a:lnTo>
                    <a:pt x="525" y="258"/>
                  </a:lnTo>
                  <a:lnTo>
                    <a:pt x="524" y="258"/>
                  </a:lnTo>
                  <a:lnTo>
                    <a:pt x="523" y="257"/>
                  </a:lnTo>
                  <a:lnTo>
                    <a:pt x="523" y="255"/>
                  </a:lnTo>
                  <a:lnTo>
                    <a:pt x="522" y="255"/>
                  </a:lnTo>
                  <a:lnTo>
                    <a:pt x="522" y="256"/>
                  </a:lnTo>
                  <a:lnTo>
                    <a:pt x="522" y="257"/>
                  </a:lnTo>
                  <a:lnTo>
                    <a:pt x="519" y="258"/>
                  </a:lnTo>
                  <a:lnTo>
                    <a:pt x="519" y="260"/>
                  </a:lnTo>
                  <a:lnTo>
                    <a:pt x="521" y="262"/>
                  </a:lnTo>
                  <a:lnTo>
                    <a:pt x="519" y="262"/>
                  </a:lnTo>
                  <a:lnTo>
                    <a:pt x="518" y="263"/>
                  </a:lnTo>
                  <a:lnTo>
                    <a:pt x="518" y="262"/>
                  </a:lnTo>
                  <a:lnTo>
                    <a:pt x="517" y="260"/>
                  </a:lnTo>
                  <a:lnTo>
                    <a:pt x="516" y="260"/>
                  </a:lnTo>
                  <a:lnTo>
                    <a:pt x="515" y="260"/>
                  </a:lnTo>
                  <a:lnTo>
                    <a:pt x="513" y="260"/>
                  </a:lnTo>
                  <a:lnTo>
                    <a:pt x="511" y="260"/>
                  </a:lnTo>
                  <a:lnTo>
                    <a:pt x="511" y="258"/>
                  </a:lnTo>
                  <a:lnTo>
                    <a:pt x="512" y="257"/>
                  </a:lnTo>
                  <a:lnTo>
                    <a:pt x="513" y="257"/>
                  </a:lnTo>
                  <a:lnTo>
                    <a:pt x="515" y="256"/>
                  </a:lnTo>
                  <a:lnTo>
                    <a:pt x="516" y="255"/>
                  </a:lnTo>
                  <a:lnTo>
                    <a:pt x="516" y="254"/>
                  </a:lnTo>
                  <a:lnTo>
                    <a:pt x="518" y="252"/>
                  </a:lnTo>
                  <a:lnTo>
                    <a:pt x="519" y="252"/>
                  </a:lnTo>
                  <a:lnTo>
                    <a:pt x="521" y="252"/>
                  </a:lnTo>
                  <a:lnTo>
                    <a:pt x="519" y="251"/>
                  </a:lnTo>
                  <a:lnTo>
                    <a:pt x="521" y="250"/>
                  </a:lnTo>
                  <a:lnTo>
                    <a:pt x="522" y="251"/>
                  </a:lnTo>
                  <a:lnTo>
                    <a:pt x="523" y="251"/>
                  </a:lnTo>
                  <a:lnTo>
                    <a:pt x="522" y="252"/>
                  </a:lnTo>
                  <a:lnTo>
                    <a:pt x="522" y="254"/>
                  </a:lnTo>
                  <a:lnTo>
                    <a:pt x="523" y="254"/>
                  </a:lnTo>
                  <a:lnTo>
                    <a:pt x="524" y="252"/>
                  </a:lnTo>
                  <a:lnTo>
                    <a:pt x="524" y="251"/>
                  </a:lnTo>
                  <a:lnTo>
                    <a:pt x="525" y="251"/>
                  </a:lnTo>
                  <a:lnTo>
                    <a:pt x="527" y="252"/>
                  </a:lnTo>
                  <a:lnTo>
                    <a:pt x="527" y="251"/>
                  </a:lnTo>
                  <a:lnTo>
                    <a:pt x="524" y="250"/>
                  </a:lnTo>
                  <a:lnTo>
                    <a:pt x="523" y="249"/>
                  </a:lnTo>
                  <a:lnTo>
                    <a:pt x="525" y="248"/>
                  </a:lnTo>
                  <a:lnTo>
                    <a:pt x="528" y="248"/>
                  </a:lnTo>
                  <a:lnTo>
                    <a:pt x="528" y="246"/>
                  </a:lnTo>
                  <a:lnTo>
                    <a:pt x="530" y="246"/>
                  </a:lnTo>
                  <a:lnTo>
                    <a:pt x="524" y="246"/>
                  </a:lnTo>
                  <a:lnTo>
                    <a:pt x="522" y="248"/>
                  </a:lnTo>
                  <a:lnTo>
                    <a:pt x="517" y="249"/>
                  </a:lnTo>
                  <a:lnTo>
                    <a:pt x="515" y="251"/>
                  </a:lnTo>
                  <a:lnTo>
                    <a:pt x="515" y="254"/>
                  </a:lnTo>
                  <a:lnTo>
                    <a:pt x="513" y="255"/>
                  </a:lnTo>
                  <a:lnTo>
                    <a:pt x="511" y="255"/>
                  </a:lnTo>
                  <a:lnTo>
                    <a:pt x="510" y="252"/>
                  </a:lnTo>
                  <a:lnTo>
                    <a:pt x="510" y="251"/>
                  </a:lnTo>
                  <a:lnTo>
                    <a:pt x="513" y="251"/>
                  </a:lnTo>
                  <a:lnTo>
                    <a:pt x="509" y="251"/>
                  </a:lnTo>
                  <a:lnTo>
                    <a:pt x="509" y="248"/>
                  </a:lnTo>
                  <a:lnTo>
                    <a:pt x="507" y="249"/>
                  </a:lnTo>
                  <a:lnTo>
                    <a:pt x="507" y="251"/>
                  </a:lnTo>
                  <a:lnTo>
                    <a:pt x="507" y="252"/>
                  </a:lnTo>
                  <a:lnTo>
                    <a:pt x="507" y="256"/>
                  </a:lnTo>
                  <a:lnTo>
                    <a:pt x="505" y="258"/>
                  </a:lnTo>
                  <a:lnTo>
                    <a:pt x="502" y="260"/>
                  </a:lnTo>
                  <a:lnTo>
                    <a:pt x="500" y="260"/>
                  </a:lnTo>
                  <a:lnTo>
                    <a:pt x="500" y="261"/>
                  </a:lnTo>
                  <a:lnTo>
                    <a:pt x="498" y="261"/>
                  </a:lnTo>
                  <a:lnTo>
                    <a:pt x="498" y="260"/>
                  </a:lnTo>
                  <a:lnTo>
                    <a:pt x="498" y="257"/>
                  </a:lnTo>
                  <a:lnTo>
                    <a:pt x="496" y="257"/>
                  </a:lnTo>
                  <a:lnTo>
                    <a:pt x="495" y="258"/>
                  </a:lnTo>
                  <a:lnTo>
                    <a:pt x="494" y="258"/>
                  </a:lnTo>
                  <a:lnTo>
                    <a:pt x="494" y="256"/>
                  </a:lnTo>
                  <a:lnTo>
                    <a:pt x="494" y="255"/>
                  </a:lnTo>
                  <a:lnTo>
                    <a:pt x="493" y="257"/>
                  </a:lnTo>
                  <a:lnTo>
                    <a:pt x="492" y="256"/>
                  </a:lnTo>
                  <a:lnTo>
                    <a:pt x="489" y="255"/>
                  </a:lnTo>
                  <a:lnTo>
                    <a:pt x="488" y="252"/>
                  </a:lnTo>
                  <a:lnTo>
                    <a:pt x="489" y="251"/>
                  </a:lnTo>
                  <a:lnTo>
                    <a:pt x="490" y="251"/>
                  </a:lnTo>
                  <a:lnTo>
                    <a:pt x="492" y="251"/>
                  </a:lnTo>
                  <a:lnTo>
                    <a:pt x="493" y="250"/>
                  </a:lnTo>
                  <a:lnTo>
                    <a:pt x="493" y="249"/>
                  </a:lnTo>
                  <a:lnTo>
                    <a:pt x="494" y="248"/>
                  </a:lnTo>
                  <a:lnTo>
                    <a:pt x="495" y="246"/>
                  </a:lnTo>
                  <a:lnTo>
                    <a:pt x="498" y="245"/>
                  </a:lnTo>
                  <a:lnTo>
                    <a:pt x="499" y="245"/>
                  </a:lnTo>
                  <a:lnTo>
                    <a:pt x="500" y="245"/>
                  </a:lnTo>
                  <a:lnTo>
                    <a:pt x="500" y="243"/>
                  </a:lnTo>
                  <a:lnTo>
                    <a:pt x="501" y="243"/>
                  </a:lnTo>
                  <a:lnTo>
                    <a:pt x="504" y="244"/>
                  </a:lnTo>
                  <a:lnTo>
                    <a:pt x="506" y="244"/>
                  </a:lnTo>
                  <a:lnTo>
                    <a:pt x="506" y="243"/>
                  </a:lnTo>
                  <a:lnTo>
                    <a:pt x="502" y="242"/>
                  </a:lnTo>
                  <a:lnTo>
                    <a:pt x="502" y="240"/>
                  </a:lnTo>
                  <a:lnTo>
                    <a:pt x="501" y="240"/>
                  </a:lnTo>
                  <a:lnTo>
                    <a:pt x="504" y="239"/>
                  </a:lnTo>
                  <a:lnTo>
                    <a:pt x="501" y="239"/>
                  </a:lnTo>
                  <a:lnTo>
                    <a:pt x="500" y="238"/>
                  </a:lnTo>
                  <a:lnTo>
                    <a:pt x="501" y="237"/>
                  </a:lnTo>
                  <a:lnTo>
                    <a:pt x="502" y="234"/>
                  </a:lnTo>
                  <a:lnTo>
                    <a:pt x="502" y="233"/>
                  </a:lnTo>
                  <a:lnTo>
                    <a:pt x="499" y="238"/>
                  </a:lnTo>
                  <a:lnTo>
                    <a:pt x="498" y="238"/>
                  </a:lnTo>
                  <a:lnTo>
                    <a:pt x="498" y="237"/>
                  </a:lnTo>
                  <a:lnTo>
                    <a:pt x="496" y="238"/>
                  </a:lnTo>
                  <a:lnTo>
                    <a:pt x="495" y="239"/>
                  </a:lnTo>
                  <a:lnTo>
                    <a:pt x="494" y="239"/>
                  </a:lnTo>
                  <a:lnTo>
                    <a:pt x="493" y="242"/>
                  </a:lnTo>
                  <a:lnTo>
                    <a:pt x="492" y="243"/>
                  </a:lnTo>
                  <a:lnTo>
                    <a:pt x="490" y="243"/>
                  </a:lnTo>
                  <a:lnTo>
                    <a:pt x="489" y="242"/>
                  </a:lnTo>
                  <a:lnTo>
                    <a:pt x="488" y="240"/>
                  </a:lnTo>
                  <a:lnTo>
                    <a:pt x="487" y="242"/>
                  </a:lnTo>
                  <a:lnTo>
                    <a:pt x="486" y="244"/>
                  </a:lnTo>
                  <a:lnTo>
                    <a:pt x="484" y="244"/>
                  </a:lnTo>
                  <a:lnTo>
                    <a:pt x="483" y="243"/>
                  </a:lnTo>
                  <a:lnTo>
                    <a:pt x="482" y="243"/>
                  </a:lnTo>
                  <a:lnTo>
                    <a:pt x="482" y="245"/>
                  </a:lnTo>
                  <a:lnTo>
                    <a:pt x="481" y="248"/>
                  </a:lnTo>
                  <a:lnTo>
                    <a:pt x="478" y="248"/>
                  </a:lnTo>
                  <a:lnTo>
                    <a:pt x="474" y="245"/>
                  </a:lnTo>
                  <a:lnTo>
                    <a:pt x="472" y="244"/>
                  </a:lnTo>
                  <a:lnTo>
                    <a:pt x="470" y="242"/>
                  </a:lnTo>
                  <a:lnTo>
                    <a:pt x="469" y="239"/>
                  </a:lnTo>
                  <a:lnTo>
                    <a:pt x="468" y="237"/>
                  </a:lnTo>
                  <a:lnTo>
                    <a:pt x="469" y="237"/>
                  </a:lnTo>
                  <a:lnTo>
                    <a:pt x="470" y="236"/>
                  </a:lnTo>
                  <a:lnTo>
                    <a:pt x="468" y="234"/>
                  </a:lnTo>
                  <a:lnTo>
                    <a:pt x="466" y="234"/>
                  </a:lnTo>
                  <a:lnTo>
                    <a:pt x="466" y="233"/>
                  </a:lnTo>
                  <a:lnTo>
                    <a:pt x="470" y="233"/>
                  </a:lnTo>
                  <a:lnTo>
                    <a:pt x="471" y="233"/>
                  </a:lnTo>
                  <a:lnTo>
                    <a:pt x="471" y="232"/>
                  </a:lnTo>
                  <a:lnTo>
                    <a:pt x="470" y="231"/>
                  </a:lnTo>
                  <a:lnTo>
                    <a:pt x="466" y="231"/>
                  </a:lnTo>
                  <a:lnTo>
                    <a:pt x="465" y="230"/>
                  </a:lnTo>
                  <a:lnTo>
                    <a:pt x="465" y="226"/>
                  </a:lnTo>
                  <a:lnTo>
                    <a:pt x="466" y="226"/>
                  </a:lnTo>
                  <a:lnTo>
                    <a:pt x="468" y="226"/>
                  </a:lnTo>
                  <a:lnTo>
                    <a:pt x="469" y="226"/>
                  </a:lnTo>
                  <a:lnTo>
                    <a:pt x="469" y="230"/>
                  </a:lnTo>
                  <a:lnTo>
                    <a:pt x="470" y="228"/>
                  </a:lnTo>
                  <a:lnTo>
                    <a:pt x="470" y="226"/>
                  </a:lnTo>
                  <a:lnTo>
                    <a:pt x="471" y="226"/>
                  </a:lnTo>
                  <a:lnTo>
                    <a:pt x="472" y="226"/>
                  </a:lnTo>
                  <a:lnTo>
                    <a:pt x="474" y="225"/>
                  </a:lnTo>
                  <a:lnTo>
                    <a:pt x="472" y="224"/>
                  </a:lnTo>
                  <a:lnTo>
                    <a:pt x="474" y="224"/>
                  </a:lnTo>
                  <a:lnTo>
                    <a:pt x="475" y="225"/>
                  </a:lnTo>
                  <a:lnTo>
                    <a:pt x="474" y="226"/>
                  </a:lnTo>
                  <a:lnTo>
                    <a:pt x="475" y="227"/>
                  </a:lnTo>
                  <a:lnTo>
                    <a:pt x="476" y="225"/>
                  </a:lnTo>
                  <a:lnTo>
                    <a:pt x="477" y="225"/>
                  </a:lnTo>
                  <a:lnTo>
                    <a:pt x="477" y="226"/>
                  </a:lnTo>
                  <a:lnTo>
                    <a:pt x="478" y="226"/>
                  </a:lnTo>
                  <a:lnTo>
                    <a:pt x="480" y="224"/>
                  </a:lnTo>
                  <a:lnTo>
                    <a:pt x="481" y="224"/>
                  </a:lnTo>
                  <a:lnTo>
                    <a:pt x="481" y="219"/>
                  </a:lnTo>
                  <a:lnTo>
                    <a:pt x="482" y="219"/>
                  </a:lnTo>
                  <a:lnTo>
                    <a:pt x="482" y="220"/>
                  </a:lnTo>
                  <a:lnTo>
                    <a:pt x="482" y="221"/>
                  </a:lnTo>
                  <a:lnTo>
                    <a:pt x="483" y="221"/>
                  </a:lnTo>
                  <a:lnTo>
                    <a:pt x="484" y="221"/>
                  </a:lnTo>
                  <a:lnTo>
                    <a:pt x="484" y="220"/>
                  </a:lnTo>
                  <a:lnTo>
                    <a:pt x="486" y="220"/>
                  </a:lnTo>
                  <a:lnTo>
                    <a:pt x="487" y="220"/>
                  </a:lnTo>
                  <a:lnTo>
                    <a:pt x="488" y="219"/>
                  </a:lnTo>
                  <a:lnTo>
                    <a:pt x="488" y="216"/>
                  </a:lnTo>
                  <a:lnTo>
                    <a:pt x="489" y="214"/>
                  </a:lnTo>
                  <a:lnTo>
                    <a:pt x="490" y="213"/>
                  </a:lnTo>
                  <a:lnTo>
                    <a:pt x="492" y="213"/>
                  </a:lnTo>
                  <a:lnTo>
                    <a:pt x="490" y="212"/>
                  </a:lnTo>
                  <a:lnTo>
                    <a:pt x="490" y="210"/>
                  </a:lnTo>
                  <a:lnTo>
                    <a:pt x="492" y="209"/>
                  </a:lnTo>
                  <a:lnTo>
                    <a:pt x="493" y="210"/>
                  </a:lnTo>
                  <a:lnTo>
                    <a:pt x="494" y="210"/>
                  </a:lnTo>
                  <a:lnTo>
                    <a:pt x="493" y="209"/>
                  </a:lnTo>
                  <a:lnTo>
                    <a:pt x="490" y="208"/>
                  </a:lnTo>
                  <a:lnTo>
                    <a:pt x="490" y="206"/>
                  </a:lnTo>
                  <a:lnTo>
                    <a:pt x="492" y="206"/>
                  </a:lnTo>
                  <a:lnTo>
                    <a:pt x="492" y="208"/>
                  </a:lnTo>
                  <a:lnTo>
                    <a:pt x="493" y="208"/>
                  </a:lnTo>
                  <a:lnTo>
                    <a:pt x="494" y="207"/>
                  </a:lnTo>
                  <a:lnTo>
                    <a:pt x="495" y="208"/>
                  </a:lnTo>
                  <a:lnTo>
                    <a:pt x="496" y="208"/>
                  </a:lnTo>
                  <a:lnTo>
                    <a:pt x="498" y="208"/>
                  </a:lnTo>
                  <a:lnTo>
                    <a:pt x="496" y="207"/>
                  </a:lnTo>
                  <a:lnTo>
                    <a:pt x="498" y="207"/>
                  </a:lnTo>
                  <a:lnTo>
                    <a:pt x="499" y="208"/>
                  </a:lnTo>
                  <a:lnTo>
                    <a:pt x="499" y="207"/>
                  </a:lnTo>
                  <a:lnTo>
                    <a:pt x="500" y="207"/>
                  </a:lnTo>
                  <a:lnTo>
                    <a:pt x="499" y="206"/>
                  </a:lnTo>
                  <a:lnTo>
                    <a:pt x="496" y="203"/>
                  </a:lnTo>
                  <a:lnTo>
                    <a:pt x="495" y="202"/>
                  </a:lnTo>
                  <a:lnTo>
                    <a:pt x="494" y="202"/>
                  </a:lnTo>
                  <a:lnTo>
                    <a:pt x="492" y="201"/>
                  </a:lnTo>
                  <a:lnTo>
                    <a:pt x="495" y="201"/>
                  </a:lnTo>
                  <a:lnTo>
                    <a:pt x="495" y="200"/>
                  </a:lnTo>
                  <a:lnTo>
                    <a:pt x="498" y="200"/>
                  </a:lnTo>
                  <a:lnTo>
                    <a:pt x="500" y="202"/>
                  </a:lnTo>
                  <a:lnTo>
                    <a:pt x="501" y="202"/>
                  </a:lnTo>
                  <a:lnTo>
                    <a:pt x="501" y="201"/>
                  </a:lnTo>
                  <a:lnTo>
                    <a:pt x="498" y="198"/>
                  </a:lnTo>
                  <a:lnTo>
                    <a:pt x="499" y="197"/>
                  </a:lnTo>
                  <a:lnTo>
                    <a:pt x="500" y="196"/>
                  </a:lnTo>
                  <a:lnTo>
                    <a:pt x="501" y="196"/>
                  </a:lnTo>
                  <a:lnTo>
                    <a:pt x="505" y="200"/>
                  </a:lnTo>
                  <a:lnTo>
                    <a:pt x="507" y="200"/>
                  </a:lnTo>
                  <a:lnTo>
                    <a:pt x="507" y="198"/>
                  </a:lnTo>
                  <a:lnTo>
                    <a:pt x="504" y="196"/>
                  </a:lnTo>
                  <a:lnTo>
                    <a:pt x="502" y="195"/>
                  </a:lnTo>
                  <a:lnTo>
                    <a:pt x="505" y="195"/>
                  </a:lnTo>
                  <a:lnTo>
                    <a:pt x="510" y="195"/>
                  </a:lnTo>
                  <a:lnTo>
                    <a:pt x="510" y="196"/>
                  </a:lnTo>
                  <a:lnTo>
                    <a:pt x="511" y="196"/>
                  </a:lnTo>
                  <a:lnTo>
                    <a:pt x="511" y="195"/>
                  </a:lnTo>
                  <a:lnTo>
                    <a:pt x="510" y="194"/>
                  </a:lnTo>
                  <a:lnTo>
                    <a:pt x="511" y="194"/>
                  </a:lnTo>
                  <a:lnTo>
                    <a:pt x="511" y="190"/>
                  </a:lnTo>
                  <a:lnTo>
                    <a:pt x="515" y="190"/>
                  </a:lnTo>
                  <a:lnTo>
                    <a:pt x="515" y="191"/>
                  </a:lnTo>
                  <a:lnTo>
                    <a:pt x="517" y="191"/>
                  </a:lnTo>
                  <a:lnTo>
                    <a:pt x="517" y="190"/>
                  </a:lnTo>
                  <a:lnTo>
                    <a:pt x="516" y="190"/>
                  </a:lnTo>
                  <a:lnTo>
                    <a:pt x="515" y="189"/>
                  </a:lnTo>
                  <a:lnTo>
                    <a:pt x="515" y="188"/>
                  </a:lnTo>
                  <a:lnTo>
                    <a:pt x="516" y="186"/>
                  </a:lnTo>
                  <a:lnTo>
                    <a:pt x="521" y="188"/>
                  </a:lnTo>
                  <a:lnTo>
                    <a:pt x="522" y="188"/>
                  </a:lnTo>
                  <a:lnTo>
                    <a:pt x="523" y="188"/>
                  </a:lnTo>
                  <a:lnTo>
                    <a:pt x="523" y="186"/>
                  </a:lnTo>
                  <a:lnTo>
                    <a:pt x="519" y="185"/>
                  </a:lnTo>
                  <a:lnTo>
                    <a:pt x="519" y="184"/>
                  </a:lnTo>
                  <a:lnTo>
                    <a:pt x="521" y="182"/>
                  </a:lnTo>
                  <a:lnTo>
                    <a:pt x="523" y="180"/>
                  </a:lnTo>
                  <a:lnTo>
                    <a:pt x="522" y="179"/>
                  </a:lnTo>
                  <a:lnTo>
                    <a:pt x="521" y="180"/>
                  </a:lnTo>
                  <a:lnTo>
                    <a:pt x="518" y="182"/>
                  </a:lnTo>
                  <a:lnTo>
                    <a:pt x="513" y="184"/>
                  </a:lnTo>
                  <a:lnTo>
                    <a:pt x="512" y="185"/>
                  </a:lnTo>
                  <a:lnTo>
                    <a:pt x="512" y="188"/>
                  </a:lnTo>
                  <a:lnTo>
                    <a:pt x="511" y="188"/>
                  </a:lnTo>
                  <a:lnTo>
                    <a:pt x="510" y="188"/>
                  </a:lnTo>
                  <a:lnTo>
                    <a:pt x="511" y="185"/>
                  </a:lnTo>
                  <a:lnTo>
                    <a:pt x="511" y="184"/>
                  </a:lnTo>
                  <a:lnTo>
                    <a:pt x="510" y="186"/>
                  </a:lnTo>
                  <a:lnTo>
                    <a:pt x="509" y="188"/>
                  </a:lnTo>
                  <a:lnTo>
                    <a:pt x="507" y="189"/>
                  </a:lnTo>
                  <a:lnTo>
                    <a:pt x="506" y="189"/>
                  </a:lnTo>
                  <a:lnTo>
                    <a:pt x="505" y="190"/>
                  </a:lnTo>
                  <a:lnTo>
                    <a:pt x="504" y="189"/>
                  </a:lnTo>
                  <a:lnTo>
                    <a:pt x="504" y="188"/>
                  </a:lnTo>
                  <a:lnTo>
                    <a:pt x="504" y="186"/>
                  </a:lnTo>
                  <a:lnTo>
                    <a:pt x="502" y="185"/>
                  </a:lnTo>
                  <a:lnTo>
                    <a:pt x="501" y="186"/>
                  </a:lnTo>
                  <a:lnTo>
                    <a:pt x="501" y="190"/>
                  </a:lnTo>
                  <a:lnTo>
                    <a:pt x="501" y="194"/>
                  </a:lnTo>
                  <a:lnTo>
                    <a:pt x="499" y="195"/>
                  </a:lnTo>
                  <a:lnTo>
                    <a:pt x="498" y="191"/>
                  </a:lnTo>
                  <a:lnTo>
                    <a:pt x="498" y="192"/>
                  </a:lnTo>
                  <a:lnTo>
                    <a:pt x="496" y="194"/>
                  </a:lnTo>
                  <a:lnTo>
                    <a:pt x="495" y="194"/>
                  </a:lnTo>
                  <a:lnTo>
                    <a:pt x="494" y="195"/>
                  </a:lnTo>
                  <a:lnTo>
                    <a:pt x="494" y="196"/>
                  </a:lnTo>
                  <a:lnTo>
                    <a:pt x="490" y="197"/>
                  </a:lnTo>
                  <a:lnTo>
                    <a:pt x="488" y="195"/>
                  </a:lnTo>
                  <a:lnTo>
                    <a:pt x="488" y="196"/>
                  </a:lnTo>
                  <a:lnTo>
                    <a:pt x="488" y="197"/>
                  </a:lnTo>
                  <a:lnTo>
                    <a:pt x="478" y="204"/>
                  </a:lnTo>
                  <a:lnTo>
                    <a:pt x="476" y="206"/>
                  </a:lnTo>
                  <a:lnTo>
                    <a:pt x="474" y="206"/>
                  </a:lnTo>
                  <a:lnTo>
                    <a:pt x="472" y="207"/>
                  </a:lnTo>
                  <a:lnTo>
                    <a:pt x="471" y="208"/>
                  </a:lnTo>
                  <a:lnTo>
                    <a:pt x="470" y="209"/>
                  </a:lnTo>
                  <a:lnTo>
                    <a:pt x="468" y="209"/>
                  </a:lnTo>
                  <a:lnTo>
                    <a:pt x="466" y="208"/>
                  </a:lnTo>
                  <a:lnTo>
                    <a:pt x="465" y="208"/>
                  </a:lnTo>
                  <a:lnTo>
                    <a:pt x="464" y="209"/>
                  </a:lnTo>
                  <a:lnTo>
                    <a:pt x="462" y="209"/>
                  </a:lnTo>
                  <a:lnTo>
                    <a:pt x="460" y="208"/>
                  </a:lnTo>
                  <a:lnTo>
                    <a:pt x="457" y="207"/>
                  </a:lnTo>
                  <a:lnTo>
                    <a:pt x="453" y="204"/>
                  </a:lnTo>
                  <a:lnTo>
                    <a:pt x="452" y="204"/>
                  </a:lnTo>
                  <a:lnTo>
                    <a:pt x="451" y="204"/>
                  </a:lnTo>
                  <a:lnTo>
                    <a:pt x="446" y="206"/>
                  </a:lnTo>
                  <a:lnTo>
                    <a:pt x="443" y="204"/>
                  </a:lnTo>
                  <a:lnTo>
                    <a:pt x="443" y="202"/>
                  </a:lnTo>
                  <a:lnTo>
                    <a:pt x="443" y="200"/>
                  </a:lnTo>
                  <a:lnTo>
                    <a:pt x="442" y="197"/>
                  </a:lnTo>
                  <a:lnTo>
                    <a:pt x="443" y="197"/>
                  </a:lnTo>
                  <a:lnTo>
                    <a:pt x="445" y="198"/>
                  </a:lnTo>
                  <a:lnTo>
                    <a:pt x="448" y="201"/>
                  </a:lnTo>
                  <a:lnTo>
                    <a:pt x="450" y="201"/>
                  </a:lnTo>
                  <a:lnTo>
                    <a:pt x="451" y="200"/>
                  </a:lnTo>
                  <a:lnTo>
                    <a:pt x="448" y="200"/>
                  </a:lnTo>
                  <a:lnTo>
                    <a:pt x="447" y="197"/>
                  </a:lnTo>
                  <a:lnTo>
                    <a:pt x="445" y="196"/>
                  </a:lnTo>
                  <a:lnTo>
                    <a:pt x="442" y="195"/>
                  </a:lnTo>
                  <a:lnTo>
                    <a:pt x="443" y="194"/>
                  </a:lnTo>
                  <a:lnTo>
                    <a:pt x="445" y="194"/>
                  </a:lnTo>
                  <a:lnTo>
                    <a:pt x="446" y="192"/>
                  </a:lnTo>
                  <a:lnTo>
                    <a:pt x="443" y="192"/>
                  </a:lnTo>
                  <a:lnTo>
                    <a:pt x="442" y="190"/>
                  </a:lnTo>
                  <a:lnTo>
                    <a:pt x="443" y="189"/>
                  </a:lnTo>
                  <a:lnTo>
                    <a:pt x="446" y="189"/>
                  </a:lnTo>
                  <a:lnTo>
                    <a:pt x="448" y="188"/>
                  </a:lnTo>
                  <a:lnTo>
                    <a:pt x="450" y="186"/>
                  </a:lnTo>
                  <a:lnTo>
                    <a:pt x="448" y="186"/>
                  </a:lnTo>
                  <a:lnTo>
                    <a:pt x="445" y="186"/>
                  </a:lnTo>
                  <a:lnTo>
                    <a:pt x="441" y="188"/>
                  </a:lnTo>
                  <a:lnTo>
                    <a:pt x="439" y="189"/>
                  </a:lnTo>
                  <a:lnTo>
                    <a:pt x="433" y="183"/>
                  </a:lnTo>
                  <a:lnTo>
                    <a:pt x="431" y="183"/>
                  </a:lnTo>
                  <a:lnTo>
                    <a:pt x="429" y="180"/>
                  </a:lnTo>
                  <a:lnTo>
                    <a:pt x="429" y="179"/>
                  </a:lnTo>
                  <a:lnTo>
                    <a:pt x="428" y="178"/>
                  </a:lnTo>
                  <a:lnTo>
                    <a:pt x="427" y="178"/>
                  </a:lnTo>
                  <a:lnTo>
                    <a:pt x="425" y="176"/>
                  </a:lnTo>
                  <a:lnTo>
                    <a:pt x="424" y="176"/>
                  </a:lnTo>
                  <a:lnTo>
                    <a:pt x="423" y="174"/>
                  </a:lnTo>
                  <a:lnTo>
                    <a:pt x="422" y="172"/>
                  </a:lnTo>
                  <a:lnTo>
                    <a:pt x="422" y="168"/>
                  </a:lnTo>
                  <a:lnTo>
                    <a:pt x="423" y="167"/>
                  </a:lnTo>
                  <a:lnTo>
                    <a:pt x="424" y="167"/>
                  </a:lnTo>
                  <a:lnTo>
                    <a:pt x="423" y="166"/>
                  </a:lnTo>
                  <a:lnTo>
                    <a:pt x="423" y="165"/>
                  </a:lnTo>
                  <a:lnTo>
                    <a:pt x="424" y="162"/>
                  </a:lnTo>
                  <a:lnTo>
                    <a:pt x="425" y="161"/>
                  </a:lnTo>
                  <a:lnTo>
                    <a:pt x="427" y="162"/>
                  </a:lnTo>
                  <a:lnTo>
                    <a:pt x="428" y="164"/>
                  </a:lnTo>
                  <a:lnTo>
                    <a:pt x="429" y="164"/>
                  </a:lnTo>
                  <a:lnTo>
                    <a:pt x="429" y="166"/>
                  </a:lnTo>
                  <a:lnTo>
                    <a:pt x="430" y="166"/>
                  </a:lnTo>
                  <a:lnTo>
                    <a:pt x="431" y="165"/>
                  </a:lnTo>
                  <a:lnTo>
                    <a:pt x="431" y="168"/>
                  </a:lnTo>
                  <a:lnTo>
                    <a:pt x="433" y="168"/>
                  </a:lnTo>
                  <a:lnTo>
                    <a:pt x="433" y="167"/>
                  </a:lnTo>
                  <a:lnTo>
                    <a:pt x="433" y="165"/>
                  </a:lnTo>
                  <a:lnTo>
                    <a:pt x="433" y="164"/>
                  </a:lnTo>
                  <a:lnTo>
                    <a:pt x="434" y="165"/>
                  </a:lnTo>
                  <a:lnTo>
                    <a:pt x="437" y="168"/>
                  </a:lnTo>
                  <a:lnTo>
                    <a:pt x="440" y="168"/>
                  </a:lnTo>
                  <a:lnTo>
                    <a:pt x="439" y="167"/>
                  </a:lnTo>
                  <a:lnTo>
                    <a:pt x="435" y="164"/>
                  </a:lnTo>
                  <a:lnTo>
                    <a:pt x="435" y="161"/>
                  </a:lnTo>
                  <a:lnTo>
                    <a:pt x="436" y="161"/>
                  </a:lnTo>
                  <a:lnTo>
                    <a:pt x="437" y="162"/>
                  </a:lnTo>
                  <a:lnTo>
                    <a:pt x="439" y="162"/>
                  </a:lnTo>
                  <a:lnTo>
                    <a:pt x="440" y="164"/>
                  </a:lnTo>
                  <a:lnTo>
                    <a:pt x="441" y="164"/>
                  </a:lnTo>
                  <a:lnTo>
                    <a:pt x="442" y="162"/>
                  </a:lnTo>
                  <a:lnTo>
                    <a:pt x="442" y="160"/>
                  </a:lnTo>
                  <a:lnTo>
                    <a:pt x="442" y="159"/>
                  </a:lnTo>
                  <a:lnTo>
                    <a:pt x="442" y="157"/>
                  </a:lnTo>
                  <a:lnTo>
                    <a:pt x="443" y="157"/>
                  </a:lnTo>
                  <a:lnTo>
                    <a:pt x="442" y="156"/>
                  </a:lnTo>
                  <a:lnTo>
                    <a:pt x="442" y="155"/>
                  </a:lnTo>
                  <a:lnTo>
                    <a:pt x="445" y="154"/>
                  </a:lnTo>
                  <a:lnTo>
                    <a:pt x="445" y="153"/>
                  </a:lnTo>
                  <a:lnTo>
                    <a:pt x="443" y="151"/>
                  </a:lnTo>
                  <a:lnTo>
                    <a:pt x="442" y="151"/>
                  </a:lnTo>
                  <a:lnTo>
                    <a:pt x="442" y="150"/>
                  </a:lnTo>
                  <a:lnTo>
                    <a:pt x="441" y="154"/>
                  </a:lnTo>
                  <a:lnTo>
                    <a:pt x="441" y="153"/>
                  </a:lnTo>
                  <a:lnTo>
                    <a:pt x="441" y="151"/>
                  </a:lnTo>
                  <a:lnTo>
                    <a:pt x="442" y="149"/>
                  </a:lnTo>
                  <a:lnTo>
                    <a:pt x="442" y="147"/>
                  </a:lnTo>
                  <a:lnTo>
                    <a:pt x="445" y="145"/>
                  </a:lnTo>
                  <a:lnTo>
                    <a:pt x="446" y="148"/>
                  </a:lnTo>
                  <a:lnTo>
                    <a:pt x="448" y="149"/>
                  </a:lnTo>
                  <a:lnTo>
                    <a:pt x="448" y="148"/>
                  </a:lnTo>
                  <a:lnTo>
                    <a:pt x="447" y="147"/>
                  </a:lnTo>
                  <a:lnTo>
                    <a:pt x="446" y="145"/>
                  </a:lnTo>
                  <a:lnTo>
                    <a:pt x="446" y="144"/>
                  </a:lnTo>
                  <a:lnTo>
                    <a:pt x="447" y="144"/>
                  </a:lnTo>
                  <a:lnTo>
                    <a:pt x="448" y="144"/>
                  </a:lnTo>
                  <a:lnTo>
                    <a:pt x="448" y="138"/>
                  </a:lnTo>
                  <a:lnTo>
                    <a:pt x="450" y="138"/>
                  </a:lnTo>
                  <a:lnTo>
                    <a:pt x="450" y="139"/>
                  </a:lnTo>
                  <a:lnTo>
                    <a:pt x="451" y="141"/>
                  </a:lnTo>
                  <a:lnTo>
                    <a:pt x="452" y="142"/>
                  </a:lnTo>
                  <a:lnTo>
                    <a:pt x="452" y="144"/>
                  </a:lnTo>
                  <a:lnTo>
                    <a:pt x="453" y="144"/>
                  </a:lnTo>
                  <a:lnTo>
                    <a:pt x="454" y="143"/>
                  </a:lnTo>
                  <a:lnTo>
                    <a:pt x="454" y="142"/>
                  </a:lnTo>
                  <a:lnTo>
                    <a:pt x="454" y="141"/>
                  </a:lnTo>
                  <a:lnTo>
                    <a:pt x="456" y="139"/>
                  </a:lnTo>
                  <a:lnTo>
                    <a:pt x="454" y="138"/>
                  </a:lnTo>
                  <a:lnTo>
                    <a:pt x="453" y="139"/>
                  </a:lnTo>
                  <a:lnTo>
                    <a:pt x="452" y="138"/>
                  </a:lnTo>
                  <a:lnTo>
                    <a:pt x="451" y="137"/>
                  </a:lnTo>
                  <a:lnTo>
                    <a:pt x="453" y="137"/>
                  </a:lnTo>
                  <a:lnTo>
                    <a:pt x="454" y="137"/>
                  </a:lnTo>
                  <a:lnTo>
                    <a:pt x="456" y="136"/>
                  </a:lnTo>
                  <a:lnTo>
                    <a:pt x="451" y="136"/>
                  </a:lnTo>
                  <a:lnTo>
                    <a:pt x="448" y="135"/>
                  </a:lnTo>
                  <a:lnTo>
                    <a:pt x="448" y="133"/>
                  </a:lnTo>
                  <a:lnTo>
                    <a:pt x="451" y="132"/>
                  </a:lnTo>
                  <a:lnTo>
                    <a:pt x="453" y="133"/>
                  </a:lnTo>
                  <a:lnTo>
                    <a:pt x="456" y="133"/>
                  </a:lnTo>
                  <a:lnTo>
                    <a:pt x="452" y="131"/>
                  </a:lnTo>
                  <a:lnTo>
                    <a:pt x="454" y="130"/>
                  </a:lnTo>
                  <a:lnTo>
                    <a:pt x="458" y="132"/>
                  </a:lnTo>
                  <a:lnTo>
                    <a:pt x="459" y="132"/>
                  </a:lnTo>
                  <a:lnTo>
                    <a:pt x="459" y="131"/>
                  </a:lnTo>
                  <a:lnTo>
                    <a:pt x="457" y="129"/>
                  </a:lnTo>
                  <a:lnTo>
                    <a:pt x="457" y="127"/>
                  </a:lnTo>
                  <a:lnTo>
                    <a:pt x="458" y="127"/>
                  </a:lnTo>
                  <a:lnTo>
                    <a:pt x="459" y="127"/>
                  </a:lnTo>
                  <a:lnTo>
                    <a:pt x="459" y="126"/>
                  </a:lnTo>
                  <a:lnTo>
                    <a:pt x="460" y="126"/>
                  </a:lnTo>
                  <a:lnTo>
                    <a:pt x="462" y="126"/>
                  </a:lnTo>
                  <a:lnTo>
                    <a:pt x="465" y="127"/>
                  </a:lnTo>
                  <a:lnTo>
                    <a:pt x="466" y="127"/>
                  </a:lnTo>
                  <a:lnTo>
                    <a:pt x="468" y="129"/>
                  </a:lnTo>
                  <a:lnTo>
                    <a:pt x="469" y="127"/>
                  </a:lnTo>
                  <a:lnTo>
                    <a:pt x="469" y="125"/>
                  </a:lnTo>
                  <a:lnTo>
                    <a:pt x="468" y="124"/>
                  </a:lnTo>
                  <a:lnTo>
                    <a:pt x="466" y="124"/>
                  </a:lnTo>
                  <a:lnTo>
                    <a:pt x="466" y="123"/>
                  </a:lnTo>
                  <a:lnTo>
                    <a:pt x="465" y="124"/>
                  </a:lnTo>
                  <a:lnTo>
                    <a:pt x="463" y="124"/>
                  </a:lnTo>
                  <a:lnTo>
                    <a:pt x="463" y="123"/>
                  </a:lnTo>
                  <a:lnTo>
                    <a:pt x="466" y="120"/>
                  </a:lnTo>
                  <a:lnTo>
                    <a:pt x="468" y="121"/>
                  </a:lnTo>
                  <a:lnTo>
                    <a:pt x="469" y="123"/>
                  </a:lnTo>
                  <a:lnTo>
                    <a:pt x="470" y="123"/>
                  </a:lnTo>
                  <a:lnTo>
                    <a:pt x="471" y="123"/>
                  </a:lnTo>
                  <a:lnTo>
                    <a:pt x="471" y="121"/>
                  </a:lnTo>
                  <a:lnTo>
                    <a:pt x="470" y="120"/>
                  </a:lnTo>
                  <a:lnTo>
                    <a:pt x="469" y="120"/>
                  </a:lnTo>
                  <a:lnTo>
                    <a:pt x="470" y="119"/>
                  </a:lnTo>
                  <a:lnTo>
                    <a:pt x="471" y="119"/>
                  </a:lnTo>
                  <a:lnTo>
                    <a:pt x="474" y="120"/>
                  </a:lnTo>
                  <a:lnTo>
                    <a:pt x="475" y="121"/>
                  </a:lnTo>
                  <a:lnTo>
                    <a:pt x="476" y="120"/>
                  </a:lnTo>
                  <a:lnTo>
                    <a:pt x="475" y="120"/>
                  </a:lnTo>
                  <a:lnTo>
                    <a:pt x="474" y="119"/>
                  </a:lnTo>
                  <a:lnTo>
                    <a:pt x="475" y="118"/>
                  </a:lnTo>
                  <a:lnTo>
                    <a:pt x="476" y="118"/>
                  </a:lnTo>
                  <a:lnTo>
                    <a:pt x="478" y="119"/>
                  </a:lnTo>
                  <a:lnTo>
                    <a:pt x="480" y="118"/>
                  </a:lnTo>
                  <a:lnTo>
                    <a:pt x="481" y="119"/>
                  </a:lnTo>
                  <a:lnTo>
                    <a:pt x="482" y="119"/>
                  </a:lnTo>
                  <a:lnTo>
                    <a:pt x="483" y="119"/>
                  </a:lnTo>
                  <a:lnTo>
                    <a:pt x="481" y="117"/>
                  </a:lnTo>
                  <a:lnTo>
                    <a:pt x="478" y="115"/>
                  </a:lnTo>
                  <a:lnTo>
                    <a:pt x="488" y="109"/>
                  </a:lnTo>
                  <a:lnTo>
                    <a:pt x="489" y="108"/>
                  </a:lnTo>
                  <a:lnTo>
                    <a:pt x="486" y="109"/>
                  </a:lnTo>
                  <a:lnTo>
                    <a:pt x="480" y="113"/>
                  </a:lnTo>
                  <a:lnTo>
                    <a:pt x="478" y="114"/>
                  </a:lnTo>
                  <a:lnTo>
                    <a:pt x="477" y="114"/>
                  </a:lnTo>
                  <a:lnTo>
                    <a:pt x="478" y="111"/>
                  </a:lnTo>
                  <a:lnTo>
                    <a:pt x="480" y="109"/>
                  </a:lnTo>
                  <a:lnTo>
                    <a:pt x="478" y="109"/>
                  </a:lnTo>
                  <a:lnTo>
                    <a:pt x="475" y="112"/>
                  </a:lnTo>
                  <a:lnTo>
                    <a:pt x="474" y="114"/>
                  </a:lnTo>
                  <a:lnTo>
                    <a:pt x="472" y="114"/>
                  </a:lnTo>
                  <a:lnTo>
                    <a:pt x="471" y="113"/>
                  </a:lnTo>
                  <a:lnTo>
                    <a:pt x="471" y="114"/>
                  </a:lnTo>
                  <a:lnTo>
                    <a:pt x="470" y="115"/>
                  </a:lnTo>
                  <a:lnTo>
                    <a:pt x="469" y="117"/>
                  </a:lnTo>
                  <a:lnTo>
                    <a:pt x="468" y="115"/>
                  </a:lnTo>
                  <a:lnTo>
                    <a:pt x="466" y="118"/>
                  </a:lnTo>
                  <a:lnTo>
                    <a:pt x="465" y="119"/>
                  </a:lnTo>
                  <a:lnTo>
                    <a:pt x="464" y="120"/>
                  </a:lnTo>
                  <a:lnTo>
                    <a:pt x="463" y="120"/>
                  </a:lnTo>
                  <a:lnTo>
                    <a:pt x="462" y="120"/>
                  </a:lnTo>
                  <a:lnTo>
                    <a:pt x="463" y="119"/>
                  </a:lnTo>
                  <a:lnTo>
                    <a:pt x="464" y="118"/>
                  </a:lnTo>
                  <a:lnTo>
                    <a:pt x="463" y="117"/>
                  </a:lnTo>
                  <a:lnTo>
                    <a:pt x="463" y="115"/>
                  </a:lnTo>
                  <a:lnTo>
                    <a:pt x="462" y="115"/>
                  </a:lnTo>
                  <a:lnTo>
                    <a:pt x="460" y="117"/>
                  </a:lnTo>
                  <a:lnTo>
                    <a:pt x="459" y="118"/>
                  </a:lnTo>
                  <a:lnTo>
                    <a:pt x="458" y="119"/>
                  </a:lnTo>
                  <a:lnTo>
                    <a:pt x="457" y="120"/>
                  </a:lnTo>
                  <a:lnTo>
                    <a:pt x="457" y="121"/>
                  </a:lnTo>
                  <a:lnTo>
                    <a:pt x="456" y="123"/>
                  </a:lnTo>
                  <a:lnTo>
                    <a:pt x="456" y="125"/>
                  </a:lnTo>
                  <a:lnTo>
                    <a:pt x="453" y="127"/>
                  </a:lnTo>
                  <a:lnTo>
                    <a:pt x="453" y="123"/>
                  </a:lnTo>
                  <a:lnTo>
                    <a:pt x="452" y="123"/>
                  </a:lnTo>
                  <a:lnTo>
                    <a:pt x="451" y="124"/>
                  </a:lnTo>
                  <a:lnTo>
                    <a:pt x="451" y="126"/>
                  </a:lnTo>
                  <a:lnTo>
                    <a:pt x="452" y="127"/>
                  </a:lnTo>
                  <a:lnTo>
                    <a:pt x="451" y="129"/>
                  </a:lnTo>
                  <a:lnTo>
                    <a:pt x="450" y="129"/>
                  </a:lnTo>
                  <a:lnTo>
                    <a:pt x="450" y="131"/>
                  </a:lnTo>
                  <a:lnTo>
                    <a:pt x="447" y="132"/>
                  </a:lnTo>
                  <a:lnTo>
                    <a:pt x="446" y="132"/>
                  </a:lnTo>
                  <a:lnTo>
                    <a:pt x="445" y="132"/>
                  </a:lnTo>
                  <a:lnTo>
                    <a:pt x="443" y="131"/>
                  </a:lnTo>
                  <a:lnTo>
                    <a:pt x="443" y="130"/>
                  </a:lnTo>
                  <a:lnTo>
                    <a:pt x="445" y="131"/>
                  </a:lnTo>
                  <a:lnTo>
                    <a:pt x="446" y="131"/>
                  </a:lnTo>
                  <a:lnTo>
                    <a:pt x="447" y="130"/>
                  </a:lnTo>
                  <a:lnTo>
                    <a:pt x="446" y="129"/>
                  </a:lnTo>
                  <a:lnTo>
                    <a:pt x="445" y="129"/>
                  </a:lnTo>
                  <a:lnTo>
                    <a:pt x="445" y="127"/>
                  </a:lnTo>
                  <a:lnTo>
                    <a:pt x="446" y="126"/>
                  </a:lnTo>
                  <a:lnTo>
                    <a:pt x="445" y="125"/>
                  </a:lnTo>
                  <a:lnTo>
                    <a:pt x="443" y="126"/>
                  </a:lnTo>
                  <a:lnTo>
                    <a:pt x="442" y="129"/>
                  </a:lnTo>
                  <a:lnTo>
                    <a:pt x="442" y="127"/>
                  </a:lnTo>
                  <a:lnTo>
                    <a:pt x="441" y="125"/>
                  </a:lnTo>
                  <a:lnTo>
                    <a:pt x="440" y="125"/>
                  </a:lnTo>
                  <a:lnTo>
                    <a:pt x="439" y="125"/>
                  </a:lnTo>
                  <a:lnTo>
                    <a:pt x="440" y="126"/>
                  </a:lnTo>
                  <a:lnTo>
                    <a:pt x="440" y="127"/>
                  </a:lnTo>
                  <a:lnTo>
                    <a:pt x="441" y="129"/>
                  </a:lnTo>
                  <a:lnTo>
                    <a:pt x="440" y="129"/>
                  </a:lnTo>
                  <a:lnTo>
                    <a:pt x="439" y="130"/>
                  </a:lnTo>
                  <a:lnTo>
                    <a:pt x="439" y="131"/>
                  </a:lnTo>
                  <a:lnTo>
                    <a:pt x="440" y="130"/>
                  </a:lnTo>
                  <a:lnTo>
                    <a:pt x="441" y="131"/>
                  </a:lnTo>
                  <a:lnTo>
                    <a:pt x="442" y="132"/>
                  </a:lnTo>
                  <a:lnTo>
                    <a:pt x="442" y="133"/>
                  </a:lnTo>
                  <a:lnTo>
                    <a:pt x="442" y="136"/>
                  </a:lnTo>
                  <a:lnTo>
                    <a:pt x="441" y="136"/>
                  </a:lnTo>
                  <a:lnTo>
                    <a:pt x="440" y="137"/>
                  </a:lnTo>
                  <a:lnTo>
                    <a:pt x="437" y="138"/>
                  </a:lnTo>
                  <a:lnTo>
                    <a:pt x="436" y="139"/>
                  </a:lnTo>
                  <a:lnTo>
                    <a:pt x="435" y="141"/>
                  </a:lnTo>
                  <a:lnTo>
                    <a:pt x="434" y="142"/>
                  </a:lnTo>
                  <a:lnTo>
                    <a:pt x="430" y="144"/>
                  </a:lnTo>
                  <a:lnTo>
                    <a:pt x="429" y="147"/>
                  </a:lnTo>
                  <a:lnTo>
                    <a:pt x="427" y="147"/>
                  </a:lnTo>
                  <a:lnTo>
                    <a:pt x="424" y="147"/>
                  </a:lnTo>
                  <a:lnTo>
                    <a:pt x="424" y="144"/>
                  </a:lnTo>
                  <a:lnTo>
                    <a:pt x="422" y="142"/>
                  </a:lnTo>
                  <a:lnTo>
                    <a:pt x="421" y="139"/>
                  </a:lnTo>
                  <a:lnTo>
                    <a:pt x="421" y="138"/>
                  </a:lnTo>
                  <a:lnTo>
                    <a:pt x="422" y="138"/>
                  </a:lnTo>
                  <a:lnTo>
                    <a:pt x="423" y="139"/>
                  </a:lnTo>
                  <a:lnTo>
                    <a:pt x="427" y="138"/>
                  </a:lnTo>
                  <a:lnTo>
                    <a:pt x="427" y="137"/>
                  </a:lnTo>
                  <a:lnTo>
                    <a:pt x="424" y="137"/>
                  </a:lnTo>
                  <a:lnTo>
                    <a:pt x="422" y="137"/>
                  </a:lnTo>
                  <a:lnTo>
                    <a:pt x="421" y="137"/>
                  </a:lnTo>
                  <a:lnTo>
                    <a:pt x="419" y="135"/>
                  </a:lnTo>
                  <a:lnTo>
                    <a:pt x="421" y="135"/>
                  </a:lnTo>
                  <a:lnTo>
                    <a:pt x="424" y="133"/>
                  </a:lnTo>
                  <a:lnTo>
                    <a:pt x="425" y="132"/>
                  </a:lnTo>
                  <a:lnTo>
                    <a:pt x="425" y="131"/>
                  </a:lnTo>
                  <a:lnTo>
                    <a:pt x="427" y="129"/>
                  </a:lnTo>
                  <a:lnTo>
                    <a:pt x="428" y="129"/>
                  </a:lnTo>
                  <a:lnTo>
                    <a:pt x="425" y="127"/>
                  </a:lnTo>
                  <a:lnTo>
                    <a:pt x="423" y="127"/>
                  </a:lnTo>
                  <a:lnTo>
                    <a:pt x="421" y="127"/>
                  </a:lnTo>
                  <a:lnTo>
                    <a:pt x="418" y="126"/>
                  </a:lnTo>
                  <a:lnTo>
                    <a:pt x="418" y="125"/>
                  </a:lnTo>
                  <a:lnTo>
                    <a:pt x="419" y="124"/>
                  </a:lnTo>
                  <a:lnTo>
                    <a:pt x="421" y="124"/>
                  </a:lnTo>
                  <a:lnTo>
                    <a:pt x="422" y="124"/>
                  </a:lnTo>
                  <a:lnTo>
                    <a:pt x="423" y="124"/>
                  </a:lnTo>
                  <a:lnTo>
                    <a:pt x="423" y="121"/>
                  </a:lnTo>
                  <a:lnTo>
                    <a:pt x="424" y="121"/>
                  </a:lnTo>
                  <a:lnTo>
                    <a:pt x="427" y="121"/>
                  </a:lnTo>
                  <a:lnTo>
                    <a:pt x="427" y="120"/>
                  </a:lnTo>
                  <a:lnTo>
                    <a:pt x="425" y="120"/>
                  </a:lnTo>
                  <a:lnTo>
                    <a:pt x="423" y="119"/>
                  </a:lnTo>
                  <a:lnTo>
                    <a:pt x="423" y="118"/>
                  </a:lnTo>
                  <a:lnTo>
                    <a:pt x="424" y="118"/>
                  </a:lnTo>
                  <a:lnTo>
                    <a:pt x="425" y="118"/>
                  </a:lnTo>
                  <a:lnTo>
                    <a:pt x="428" y="119"/>
                  </a:lnTo>
                  <a:lnTo>
                    <a:pt x="429" y="118"/>
                  </a:lnTo>
                  <a:lnTo>
                    <a:pt x="431" y="119"/>
                  </a:lnTo>
                  <a:lnTo>
                    <a:pt x="433" y="120"/>
                  </a:lnTo>
                  <a:lnTo>
                    <a:pt x="434" y="121"/>
                  </a:lnTo>
                  <a:lnTo>
                    <a:pt x="435" y="120"/>
                  </a:lnTo>
                  <a:lnTo>
                    <a:pt x="435" y="119"/>
                  </a:lnTo>
                  <a:lnTo>
                    <a:pt x="434" y="119"/>
                  </a:lnTo>
                  <a:lnTo>
                    <a:pt x="431" y="115"/>
                  </a:lnTo>
                  <a:lnTo>
                    <a:pt x="433" y="115"/>
                  </a:lnTo>
                  <a:lnTo>
                    <a:pt x="434" y="117"/>
                  </a:lnTo>
                  <a:lnTo>
                    <a:pt x="435" y="115"/>
                  </a:lnTo>
                  <a:lnTo>
                    <a:pt x="433" y="113"/>
                  </a:lnTo>
                  <a:lnTo>
                    <a:pt x="433" y="112"/>
                  </a:lnTo>
                  <a:lnTo>
                    <a:pt x="434" y="111"/>
                  </a:lnTo>
                  <a:lnTo>
                    <a:pt x="435" y="111"/>
                  </a:lnTo>
                  <a:lnTo>
                    <a:pt x="435" y="112"/>
                  </a:lnTo>
                  <a:lnTo>
                    <a:pt x="436" y="112"/>
                  </a:lnTo>
                  <a:lnTo>
                    <a:pt x="436" y="115"/>
                  </a:lnTo>
                  <a:lnTo>
                    <a:pt x="436" y="117"/>
                  </a:lnTo>
                  <a:lnTo>
                    <a:pt x="437" y="117"/>
                  </a:lnTo>
                  <a:lnTo>
                    <a:pt x="439" y="114"/>
                  </a:lnTo>
                  <a:lnTo>
                    <a:pt x="439" y="113"/>
                  </a:lnTo>
                  <a:lnTo>
                    <a:pt x="440" y="113"/>
                  </a:lnTo>
                  <a:lnTo>
                    <a:pt x="442" y="112"/>
                  </a:lnTo>
                  <a:lnTo>
                    <a:pt x="441" y="111"/>
                  </a:lnTo>
                  <a:lnTo>
                    <a:pt x="440" y="111"/>
                  </a:lnTo>
                  <a:lnTo>
                    <a:pt x="437" y="111"/>
                  </a:lnTo>
                  <a:lnTo>
                    <a:pt x="439" y="109"/>
                  </a:lnTo>
                  <a:lnTo>
                    <a:pt x="440" y="109"/>
                  </a:lnTo>
                  <a:lnTo>
                    <a:pt x="440" y="108"/>
                  </a:lnTo>
                  <a:lnTo>
                    <a:pt x="441" y="108"/>
                  </a:lnTo>
                  <a:lnTo>
                    <a:pt x="441" y="107"/>
                  </a:lnTo>
                  <a:lnTo>
                    <a:pt x="442" y="106"/>
                  </a:lnTo>
                  <a:lnTo>
                    <a:pt x="445" y="105"/>
                  </a:lnTo>
                  <a:lnTo>
                    <a:pt x="446" y="105"/>
                  </a:lnTo>
                  <a:lnTo>
                    <a:pt x="446" y="103"/>
                  </a:lnTo>
                  <a:lnTo>
                    <a:pt x="448" y="103"/>
                  </a:lnTo>
                  <a:lnTo>
                    <a:pt x="450" y="103"/>
                  </a:lnTo>
                  <a:lnTo>
                    <a:pt x="447" y="102"/>
                  </a:lnTo>
                  <a:lnTo>
                    <a:pt x="447" y="101"/>
                  </a:lnTo>
                  <a:lnTo>
                    <a:pt x="446" y="100"/>
                  </a:lnTo>
                  <a:lnTo>
                    <a:pt x="446" y="99"/>
                  </a:lnTo>
                  <a:lnTo>
                    <a:pt x="447" y="99"/>
                  </a:lnTo>
                  <a:lnTo>
                    <a:pt x="448" y="97"/>
                  </a:lnTo>
                  <a:lnTo>
                    <a:pt x="448" y="99"/>
                  </a:lnTo>
                  <a:lnTo>
                    <a:pt x="450" y="99"/>
                  </a:lnTo>
                  <a:lnTo>
                    <a:pt x="453" y="99"/>
                  </a:lnTo>
                  <a:lnTo>
                    <a:pt x="454" y="99"/>
                  </a:lnTo>
                  <a:lnTo>
                    <a:pt x="458" y="99"/>
                  </a:lnTo>
                  <a:lnTo>
                    <a:pt x="459" y="100"/>
                  </a:lnTo>
                  <a:lnTo>
                    <a:pt x="460" y="99"/>
                  </a:lnTo>
                  <a:lnTo>
                    <a:pt x="460" y="97"/>
                  </a:lnTo>
                  <a:lnTo>
                    <a:pt x="459" y="96"/>
                  </a:lnTo>
                  <a:lnTo>
                    <a:pt x="458" y="96"/>
                  </a:lnTo>
                  <a:lnTo>
                    <a:pt x="457" y="95"/>
                  </a:lnTo>
                  <a:lnTo>
                    <a:pt x="457" y="96"/>
                  </a:lnTo>
                  <a:lnTo>
                    <a:pt x="456" y="96"/>
                  </a:lnTo>
                  <a:lnTo>
                    <a:pt x="456" y="95"/>
                  </a:lnTo>
                  <a:lnTo>
                    <a:pt x="457" y="94"/>
                  </a:lnTo>
                  <a:lnTo>
                    <a:pt x="458" y="94"/>
                  </a:lnTo>
                  <a:lnTo>
                    <a:pt x="458" y="95"/>
                  </a:lnTo>
                  <a:lnTo>
                    <a:pt x="462" y="97"/>
                  </a:lnTo>
                  <a:lnTo>
                    <a:pt x="462" y="96"/>
                  </a:lnTo>
                  <a:lnTo>
                    <a:pt x="462" y="95"/>
                  </a:lnTo>
                  <a:lnTo>
                    <a:pt x="460" y="95"/>
                  </a:lnTo>
                  <a:lnTo>
                    <a:pt x="459" y="95"/>
                  </a:lnTo>
                  <a:lnTo>
                    <a:pt x="459" y="94"/>
                  </a:lnTo>
                  <a:lnTo>
                    <a:pt x="459" y="93"/>
                  </a:lnTo>
                  <a:lnTo>
                    <a:pt x="459" y="91"/>
                  </a:lnTo>
                  <a:lnTo>
                    <a:pt x="460" y="91"/>
                  </a:lnTo>
                  <a:lnTo>
                    <a:pt x="462" y="91"/>
                  </a:lnTo>
                  <a:lnTo>
                    <a:pt x="463" y="93"/>
                  </a:lnTo>
                  <a:lnTo>
                    <a:pt x="464" y="95"/>
                  </a:lnTo>
                  <a:lnTo>
                    <a:pt x="465" y="95"/>
                  </a:lnTo>
                  <a:lnTo>
                    <a:pt x="465" y="93"/>
                  </a:lnTo>
                  <a:lnTo>
                    <a:pt x="464" y="93"/>
                  </a:lnTo>
                  <a:lnTo>
                    <a:pt x="464" y="91"/>
                  </a:lnTo>
                  <a:lnTo>
                    <a:pt x="464" y="90"/>
                  </a:lnTo>
                  <a:lnTo>
                    <a:pt x="464" y="89"/>
                  </a:lnTo>
                  <a:lnTo>
                    <a:pt x="465" y="90"/>
                  </a:lnTo>
                  <a:lnTo>
                    <a:pt x="466" y="90"/>
                  </a:lnTo>
                  <a:lnTo>
                    <a:pt x="469" y="91"/>
                  </a:lnTo>
                  <a:lnTo>
                    <a:pt x="471" y="91"/>
                  </a:lnTo>
                  <a:lnTo>
                    <a:pt x="471" y="90"/>
                  </a:lnTo>
                  <a:lnTo>
                    <a:pt x="470" y="90"/>
                  </a:lnTo>
                  <a:lnTo>
                    <a:pt x="470" y="89"/>
                  </a:lnTo>
                  <a:lnTo>
                    <a:pt x="469" y="88"/>
                  </a:lnTo>
                  <a:lnTo>
                    <a:pt x="468" y="88"/>
                  </a:lnTo>
                  <a:lnTo>
                    <a:pt x="468" y="87"/>
                  </a:lnTo>
                  <a:lnTo>
                    <a:pt x="469" y="87"/>
                  </a:lnTo>
                  <a:lnTo>
                    <a:pt x="475" y="83"/>
                  </a:lnTo>
                  <a:lnTo>
                    <a:pt x="476" y="82"/>
                  </a:lnTo>
                  <a:lnTo>
                    <a:pt x="475" y="82"/>
                  </a:lnTo>
                  <a:lnTo>
                    <a:pt x="472" y="84"/>
                  </a:lnTo>
                  <a:lnTo>
                    <a:pt x="468" y="85"/>
                  </a:lnTo>
                  <a:lnTo>
                    <a:pt x="469" y="84"/>
                  </a:lnTo>
                  <a:lnTo>
                    <a:pt x="469" y="83"/>
                  </a:lnTo>
                  <a:lnTo>
                    <a:pt x="469" y="82"/>
                  </a:lnTo>
                  <a:lnTo>
                    <a:pt x="468" y="82"/>
                  </a:lnTo>
                  <a:lnTo>
                    <a:pt x="465" y="84"/>
                  </a:lnTo>
                  <a:lnTo>
                    <a:pt x="464" y="85"/>
                  </a:lnTo>
                  <a:lnTo>
                    <a:pt x="462" y="87"/>
                  </a:lnTo>
                  <a:lnTo>
                    <a:pt x="460" y="88"/>
                  </a:lnTo>
                  <a:lnTo>
                    <a:pt x="459" y="88"/>
                  </a:lnTo>
                  <a:lnTo>
                    <a:pt x="458" y="88"/>
                  </a:lnTo>
                  <a:lnTo>
                    <a:pt x="458" y="87"/>
                  </a:lnTo>
                  <a:lnTo>
                    <a:pt x="457" y="85"/>
                  </a:lnTo>
                  <a:lnTo>
                    <a:pt x="456" y="87"/>
                  </a:lnTo>
                  <a:lnTo>
                    <a:pt x="456" y="88"/>
                  </a:lnTo>
                  <a:lnTo>
                    <a:pt x="454" y="89"/>
                  </a:lnTo>
                  <a:lnTo>
                    <a:pt x="452" y="90"/>
                  </a:lnTo>
                  <a:lnTo>
                    <a:pt x="451" y="91"/>
                  </a:lnTo>
                  <a:lnTo>
                    <a:pt x="451" y="90"/>
                  </a:lnTo>
                  <a:lnTo>
                    <a:pt x="452" y="89"/>
                  </a:lnTo>
                  <a:lnTo>
                    <a:pt x="453" y="88"/>
                  </a:lnTo>
                  <a:lnTo>
                    <a:pt x="452" y="88"/>
                  </a:lnTo>
                  <a:lnTo>
                    <a:pt x="451" y="87"/>
                  </a:lnTo>
                  <a:lnTo>
                    <a:pt x="450" y="87"/>
                  </a:lnTo>
                  <a:lnTo>
                    <a:pt x="448" y="88"/>
                  </a:lnTo>
                  <a:lnTo>
                    <a:pt x="447" y="89"/>
                  </a:lnTo>
                  <a:lnTo>
                    <a:pt x="447" y="90"/>
                  </a:lnTo>
                  <a:lnTo>
                    <a:pt x="447" y="91"/>
                  </a:lnTo>
                  <a:lnTo>
                    <a:pt x="448" y="90"/>
                  </a:lnTo>
                  <a:lnTo>
                    <a:pt x="448" y="91"/>
                  </a:lnTo>
                  <a:lnTo>
                    <a:pt x="447" y="93"/>
                  </a:lnTo>
                  <a:lnTo>
                    <a:pt x="446" y="91"/>
                  </a:lnTo>
                  <a:lnTo>
                    <a:pt x="446" y="93"/>
                  </a:lnTo>
                  <a:lnTo>
                    <a:pt x="445" y="93"/>
                  </a:lnTo>
                  <a:lnTo>
                    <a:pt x="442" y="94"/>
                  </a:lnTo>
                  <a:lnTo>
                    <a:pt x="442" y="95"/>
                  </a:lnTo>
                  <a:lnTo>
                    <a:pt x="441" y="95"/>
                  </a:lnTo>
                  <a:lnTo>
                    <a:pt x="440" y="96"/>
                  </a:lnTo>
                  <a:lnTo>
                    <a:pt x="439" y="96"/>
                  </a:lnTo>
                  <a:lnTo>
                    <a:pt x="437" y="96"/>
                  </a:lnTo>
                  <a:lnTo>
                    <a:pt x="435" y="96"/>
                  </a:lnTo>
                  <a:lnTo>
                    <a:pt x="434" y="97"/>
                  </a:lnTo>
                  <a:lnTo>
                    <a:pt x="433" y="100"/>
                  </a:lnTo>
                  <a:lnTo>
                    <a:pt x="431" y="101"/>
                  </a:lnTo>
                  <a:lnTo>
                    <a:pt x="429" y="102"/>
                  </a:lnTo>
                  <a:lnTo>
                    <a:pt x="428" y="103"/>
                  </a:lnTo>
                  <a:lnTo>
                    <a:pt x="427" y="105"/>
                  </a:lnTo>
                  <a:lnTo>
                    <a:pt x="425" y="105"/>
                  </a:lnTo>
                  <a:lnTo>
                    <a:pt x="427" y="103"/>
                  </a:lnTo>
                  <a:lnTo>
                    <a:pt x="425" y="102"/>
                  </a:lnTo>
                  <a:lnTo>
                    <a:pt x="425" y="101"/>
                  </a:lnTo>
                  <a:lnTo>
                    <a:pt x="427" y="100"/>
                  </a:lnTo>
                  <a:lnTo>
                    <a:pt x="425" y="99"/>
                  </a:lnTo>
                  <a:lnTo>
                    <a:pt x="425" y="97"/>
                  </a:lnTo>
                  <a:lnTo>
                    <a:pt x="427" y="97"/>
                  </a:lnTo>
                  <a:lnTo>
                    <a:pt x="431" y="97"/>
                  </a:lnTo>
                  <a:lnTo>
                    <a:pt x="431" y="96"/>
                  </a:lnTo>
                  <a:lnTo>
                    <a:pt x="430" y="96"/>
                  </a:lnTo>
                  <a:lnTo>
                    <a:pt x="433" y="95"/>
                  </a:lnTo>
                  <a:lnTo>
                    <a:pt x="431" y="94"/>
                  </a:lnTo>
                  <a:lnTo>
                    <a:pt x="430" y="95"/>
                  </a:lnTo>
                  <a:lnTo>
                    <a:pt x="427" y="95"/>
                  </a:lnTo>
                  <a:lnTo>
                    <a:pt x="425" y="94"/>
                  </a:lnTo>
                  <a:lnTo>
                    <a:pt x="425" y="93"/>
                  </a:lnTo>
                  <a:lnTo>
                    <a:pt x="424" y="91"/>
                  </a:lnTo>
                  <a:lnTo>
                    <a:pt x="423" y="91"/>
                  </a:lnTo>
                  <a:lnTo>
                    <a:pt x="423" y="93"/>
                  </a:lnTo>
                  <a:lnTo>
                    <a:pt x="421" y="93"/>
                  </a:lnTo>
                  <a:lnTo>
                    <a:pt x="419" y="93"/>
                  </a:lnTo>
                  <a:lnTo>
                    <a:pt x="417" y="94"/>
                  </a:lnTo>
                  <a:lnTo>
                    <a:pt x="416" y="94"/>
                  </a:lnTo>
                  <a:lnTo>
                    <a:pt x="413" y="94"/>
                  </a:lnTo>
                  <a:lnTo>
                    <a:pt x="411" y="93"/>
                  </a:lnTo>
                  <a:lnTo>
                    <a:pt x="410" y="91"/>
                  </a:lnTo>
                  <a:lnTo>
                    <a:pt x="411" y="90"/>
                  </a:lnTo>
                  <a:lnTo>
                    <a:pt x="411" y="89"/>
                  </a:lnTo>
                  <a:lnTo>
                    <a:pt x="411" y="87"/>
                  </a:lnTo>
                  <a:lnTo>
                    <a:pt x="410" y="85"/>
                  </a:lnTo>
                  <a:lnTo>
                    <a:pt x="410" y="84"/>
                  </a:lnTo>
                  <a:lnTo>
                    <a:pt x="412" y="85"/>
                  </a:lnTo>
                  <a:lnTo>
                    <a:pt x="413" y="87"/>
                  </a:lnTo>
                  <a:lnTo>
                    <a:pt x="413" y="88"/>
                  </a:lnTo>
                  <a:lnTo>
                    <a:pt x="415" y="89"/>
                  </a:lnTo>
                  <a:lnTo>
                    <a:pt x="416" y="88"/>
                  </a:lnTo>
                  <a:lnTo>
                    <a:pt x="416" y="90"/>
                  </a:lnTo>
                  <a:lnTo>
                    <a:pt x="417" y="91"/>
                  </a:lnTo>
                  <a:lnTo>
                    <a:pt x="418" y="91"/>
                  </a:lnTo>
                  <a:lnTo>
                    <a:pt x="418" y="90"/>
                  </a:lnTo>
                  <a:lnTo>
                    <a:pt x="419" y="89"/>
                  </a:lnTo>
                  <a:lnTo>
                    <a:pt x="421" y="90"/>
                  </a:lnTo>
                  <a:lnTo>
                    <a:pt x="423" y="90"/>
                  </a:lnTo>
                  <a:lnTo>
                    <a:pt x="422" y="89"/>
                  </a:lnTo>
                  <a:lnTo>
                    <a:pt x="421" y="88"/>
                  </a:lnTo>
                  <a:lnTo>
                    <a:pt x="422" y="88"/>
                  </a:lnTo>
                  <a:lnTo>
                    <a:pt x="424" y="87"/>
                  </a:lnTo>
                  <a:lnTo>
                    <a:pt x="423" y="85"/>
                  </a:lnTo>
                  <a:lnTo>
                    <a:pt x="421" y="85"/>
                  </a:lnTo>
                  <a:lnTo>
                    <a:pt x="418" y="87"/>
                  </a:lnTo>
                  <a:lnTo>
                    <a:pt x="417" y="85"/>
                  </a:lnTo>
                  <a:lnTo>
                    <a:pt x="415" y="83"/>
                  </a:lnTo>
                  <a:lnTo>
                    <a:pt x="413" y="83"/>
                  </a:lnTo>
                  <a:lnTo>
                    <a:pt x="411" y="82"/>
                  </a:lnTo>
                  <a:lnTo>
                    <a:pt x="407" y="79"/>
                  </a:lnTo>
                  <a:lnTo>
                    <a:pt x="405" y="78"/>
                  </a:lnTo>
                  <a:lnTo>
                    <a:pt x="406" y="77"/>
                  </a:lnTo>
                  <a:lnTo>
                    <a:pt x="405" y="75"/>
                  </a:lnTo>
                  <a:lnTo>
                    <a:pt x="406" y="75"/>
                  </a:lnTo>
                  <a:lnTo>
                    <a:pt x="406" y="72"/>
                  </a:lnTo>
                  <a:lnTo>
                    <a:pt x="409" y="71"/>
                  </a:lnTo>
                  <a:lnTo>
                    <a:pt x="410" y="66"/>
                  </a:lnTo>
                  <a:lnTo>
                    <a:pt x="410" y="64"/>
                  </a:lnTo>
                  <a:lnTo>
                    <a:pt x="411" y="61"/>
                  </a:lnTo>
                  <a:lnTo>
                    <a:pt x="411" y="60"/>
                  </a:lnTo>
                  <a:lnTo>
                    <a:pt x="412" y="59"/>
                  </a:lnTo>
                  <a:lnTo>
                    <a:pt x="413" y="59"/>
                  </a:lnTo>
                  <a:lnTo>
                    <a:pt x="412" y="58"/>
                  </a:lnTo>
                  <a:lnTo>
                    <a:pt x="410" y="58"/>
                  </a:lnTo>
                  <a:lnTo>
                    <a:pt x="407" y="58"/>
                  </a:lnTo>
                  <a:lnTo>
                    <a:pt x="407" y="57"/>
                  </a:lnTo>
                  <a:lnTo>
                    <a:pt x="409" y="55"/>
                  </a:lnTo>
                  <a:lnTo>
                    <a:pt x="410" y="55"/>
                  </a:lnTo>
                  <a:lnTo>
                    <a:pt x="411" y="54"/>
                  </a:lnTo>
                  <a:lnTo>
                    <a:pt x="412" y="54"/>
                  </a:lnTo>
                  <a:lnTo>
                    <a:pt x="412" y="55"/>
                  </a:lnTo>
                  <a:lnTo>
                    <a:pt x="415" y="55"/>
                  </a:lnTo>
                  <a:lnTo>
                    <a:pt x="416" y="54"/>
                  </a:lnTo>
                  <a:lnTo>
                    <a:pt x="415" y="53"/>
                  </a:lnTo>
                  <a:lnTo>
                    <a:pt x="413" y="52"/>
                  </a:lnTo>
                  <a:lnTo>
                    <a:pt x="415" y="50"/>
                  </a:lnTo>
                  <a:lnTo>
                    <a:pt x="413" y="49"/>
                  </a:lnTo>
                  <a:lnTo>
                    <a:pt x="412" y="49"/>
                  </a:lnTo>
                  <a:lnTo>
                    <a:pt x="410" y="49"/>
                  </a:lnTo>
                  <a:lnTo>
                    <a:pt x="409" y="50"/>
                  </a:lnTo>
                  <a:lnTo>
                    <a:pt x="407" y="50"/>
                  </a:lnTo>
                  <a:lnTo>
                    <a:pt x="406" y="49"/>
                  </a:lnTo>
                  <a:lnTo>
                    <a:pt x="405" y="49"/>
                  </a:lnTo>
                  <a:lnTo>
                    <a:pt x="406" y="47"/>
                  </a:lnTo>
                  <a:lnTo>
                    <a:pt x="409" y="46"/>
                  </a:lnTo>
                  <a:lnTo>
                    <a:pt x="411" y="46"/>
                  </a:lnTo>
                  <a:lnTo>
                    <a:pt x="413" y="44"/>
                  </a:lnTo>
                  <a:lnTo>
                    <a:pt x="415" y="47"/>
                  </a:lnTo>
                  <a:lnTo>
                    <a:pt x="416" y="46"/>
                  </a:lnTo>
                  <a:lnTo>
                    <a:pt x="415" y="44"/>
                  </a:lnTo>
                  <a:lnTo>
                    <a:pt x="415" y="43"/>
                  </a:lnTo>
                  <a:lnTo>
                    <a:pt x="416" y="44"/>
                  </a:lnTo>
                  <a:lnTo>
                    <a:pt x="417" y="46"/>
                  </a:lnTo>
                  <a:lnTo>
                    <a:pt x="418" y="46"/>
                  </a:lnTo>
                  <a:lnTo>
                    <a:pt x="418" y="43"/>
                  </a:lnTo>
                  <a:lnTo>
                    <a:pt x="417" y="42"/>
                  </a:lnTo>
                  <a:lnTo>
                    <a:pt x="419" y="42"/>
                  </a:lnTo>
                  <a:lnTo>
                    <a:pt x="421" y="42"/>
                  </a:lnTo>
                  <a:lnTo>
                    <a:pt x="422" y="43"/>
                  </a:lnTo>
                  <a:lnTo>
                    <a:pt x="423" y="46"/>
                  </a:lnTo>
                  <a:lnTo>
                    <a:pt x="424" y="46"/>
                  </a:lnTo>
                  <a:lnTo>
                    <a:pt x="424" y="44"/>
                  </a:lnTo>
                  <a:lnTo>
                    <a:pt x="423" y="43"/>
                  </a:lnTo>
                  <a:lnTo>
                    <a:pt x="423" y="42"/>
                  </a:lnTo>
                  <a:lnTo>
                    <a:pt x="424" y="41"/>
                  </a:lnTo>
                  <a:lnTo>
                    <a:pt x="427" y="41"/>
                  </a:lnTo>
                  <a:lnTo>
                    <a:pt x="429" y="40"/>
                  </a:lnTo>
                  <a:lnTo>
                    <a:pt x="430" y="40"/>
                  </a:lnTo>
                  <a:lnTo>
                    <a:pt x="429" y="38"/>
                  </a:lnTo>
                  <a:lnTo>
                    <a:pt x="428" y="38"/>
                  </a:lnTo>
                  <a:lnTo>
                    <a:pt x="425" y="38"/>
                  </a:lnTo>
                  <a:lnTo>
                    <a:pt x="427" y="37"/>
                  </a:lnTo>
                  <a:lnTo>
                    <a:pt x="425" y="37"/>
                  </a:lnTo>
                  <a:lnTo>
                    <a:pt x="424" y="37"/>
                  </a:lnTo>
                  <a:lnTo>
                    <a:pt x="421" y="38"/>
                  </a:lnTo>
                  <a:lnTo>
                    <a:pt x="419" y="40"/>
                  </a:lnTo>
                  <a:lnTo>
                    <a:pt x="419" y="38"/>
                  </a:lnTo>
                  <a:lnTo>
                    <a:pt x="419" y="37"/>
                  </a:lnTo>
                  <a:lnTo>
                    <a:pt x="421" y="36"/>
                  </a:lnTo>
                  <a:lnTo>
                    <a:pt x="419" y="35"/>
                  </a:lnTo>
                  <a:lnTo>
                    <a:pt x="418" y="36"/>
                  </a:lnTo>
                  <a:lnTo>
                    <a:pt x="418" y="37"/>
                  </a:lnTo>
                  <a:lnTo>
                    <a:pt x="417" y="38"/>
                  </a:lnTo>
                  <a:lnTo>
                    <a:pt x="416" y="40"/>
                  </a:lnTo>
                  <a:lnTo>
                    <a:pt x="413" y="40"/>
                  </a:lnTo>
                  <a:lnTo>
                    <a:pt x="412" y="42"/>
                  </a:lnTo>
                  <a:lnTo>
                    <a:pt x="412" y="43"/>
                  </a:lnTo>
                  <a:lnTo>
                    <a:pt x="410" y="43"/>
                  </a:lnTo>
                  <a:lnTo>
                    <a:pt x="409" y="42"/>
                  </a:lnTo>
                  <a:lnTo>
                    <a:pt x="410" y="40"/>
                  </a:lnTo>
                  <a:lnTo>
                    <a:pt x="411" y="41"/>
                  </a:lnTo>
                  <a:lnTo>
                    <a:pt x="412" y="41"/>
                  </a:lnTo>
                  <a:lnTo>
                    <a:pt x="412" y="40"/>
                  </a:lnTo>
                  <a:lnTo>
                    <a:pt x="412" y="38"/>
                  </a:lnTo>
                  <a:lnTo>
                    <a:pt x="413" y="38"/>
                  </a:lnTo>
                  <a:lnTo>
                    <a:pt x="413" y="37"/>
                  </a:lnTo>
                  <a:lnTo>
                    <a:pt x="412" y="37"/>
                  </a:lnTo>
                  <a:lnTo>
                    <a:pt x="413" y="36"/>
                  </a:lnTo>
                  <a:lnTo>
                    <a:pt x="413" y="35"/>
                  </a:lnTo>
                  <a:lnTo>
                    <a:pt x="412" y="35"/>
                  </a:lnTo>
                  <a:lnTo>
                    <a:pt x="411" y="35"/>
                  </a:lnTo>
                  <a:lnTo>
                    <a:pt x="412" y="34"/>
                  </a:lnTo>
                  <a:lnTo>
                    <a:pt x="412" y="32"/>
                  </a:lnTo>
                  <a:lnTo>
                    <a:pt x="413" y="34"/>
                  </a:lnTo>
                  <a:lnTo>
                    <a:pt x="415" y="34"/>
                  </a:lnTo>
                  <a:lnTo>
                    <a:pt x="419" y="34"/>
                  </a:lnTo>
                  <a:lnTo>
                    <a:pt x="421" y="32"/>
                  </a:lnTo>
                  <a:lnTo>
                    <a:pt x="419" y="31"/>
                  </a:lnTo>
                  <a:lnTo>
                    <a:pt x="413" y="31"/>
                  </a:lnTo>
                  <a:lnTo>
                    <a:pt x="416" y="30"/>
                  </a:lnTo>
                  <a:lnTo>
                    <a:pt x="417" y="30"/>
                  </a:lnTo>
                  <a:lnTo>
                    <a:pt x="418" y="29"/>
                  </a:lnTo>
                  <a:lnTo>
                    <a:pt x="421" y="28"/>
                  </a:lnTo>
                  <a:lnTo>
                    <a:pt x="419" y="26"/>
                  </a:lnTo>
                  <a:lnTo>
                    <a:pt x="418" y="26"/>
                  </a:lnTo>
                  <a:lnTo>
                    <a:pt x="417" y="28"/>
                  </a:lnTo>
                  <a:lnTo>
                    <a:pt x="416" y="29"/>
                  </a:lnTo>
                  <a:lnTo>
                    <a:pt x="415" y="28"/>
                  </a:lnTo>
                  <a:lnTo>
                    <a:pt x="421" y="22"/>
                  </a:lnTo>
                  <a:lnTo>
                    <a:pt x="423" y="19"/>
                  </a:lnTo>
                  <a:lnTo>
                    <a:pt x="427" y="16"/>
                  </a:lnTo>
                  <a:lnTo>
                    <a:pt x="429" y="13"/>
                  </a:lnTo>
                  <a:lnTo>
                    <a:pt x="429" y="11"/>
                  </a:lnTo>
                  <a:lnTo>
                    <a:pt x="427" y="12"/>
                  </a:lnTo>
                  <a:lnTo>
                    <a:pt x="424" y="13"/>
                  </a:lnTo>
                  <a:lnTo>
                    <a:pt x="422" y="17"/>
                  </a:lnTo>
                  <a:lnTo>
                    <a:pt x="418" y="20"/>
                  </a:lnTo>
                  <a:lnTo>
                    <a:pt x="416" y="24"/>
                  </a:lnTo>
                  <a:lnTo>
                    <a:pt x="413" y="26"/>
                  </a:lnTo>
                  <a:lnTo>
                    <a:pt x="412" y="29"/>
                  </a:lnTo>
                  <a:lnTo>
                    <a:pt x="411" y="30"/>
                  </a:lnTo>
                  <a:lnTo>
                    <a:pt x="410" y="30"/>
                  </a:lnTo>
                  <a:lnTo>
                    <a:pt x="409" y="29"/>
                  </a:lnTo>
                  <a:lnTo>
                    <a:pt x="407" y="26"/>
                  </a:lnTo>
                  <a:lnTo>
                    <a:pt x="405" y="24"/>
                  </a:lnTo>
                  <a:lnTo>
                    <a:pt x="404" y="23"/>
                  </a:lnTo>
                  <a:lnTo>
                    <a:pt x="403" y="23"/>
                  </a:lnTo>
                  <a:lnTo>
                    <a:pt x="401" y="23"/>
                  </a:lnTo>
                  <a:lnTo>
                    <a:pt x="403" y="25"/>
                  </a:lnTo>
                  <a:lnTo>
                    <a:pt x="404" y="25"/>
                  </a:lnTo>
                  <a:lnTo>
                    <a:pt x="405" y="25"/>
                  </a:lnTo>
                  <a:lnTo>
                    <a:pt x="406" y="26"/>
                  </a:lnTo>
                  <a:lnTo>
                    <a:pt x="407" y="28"/>
                  </a:lnTo>
                  <a:lnTo>
                    <a:pt x="409" y="30"/>
                  </a:lnTo>
                  <a:lnTo>
                    <a:pt x="410" y="31"/>
                  </a:lnTo>
                  <a:lnTo>
                    <a:pt x="410" y="34"/>
                  </a:lnTo>
                  <a:lnTo>
                    <a:pt x="410" y="35"/>
                  </a:lnTo>
                  <a:lnTo>
                    <a:pt x="407" y="34"/>
                  </a:lnTo>
                  <a:lnTo>
                    <a:pt x="406" y="32"/>
                  </a:lnTo>
                  <a:lnTo>
                    <a:pt x="405" y="31"/>
                  </a:lnTo>
                  <a:lnTo>
                    <a:pt x="404" y="32"/>
                  </a:lnTo>
                  <a:lnTo>
                    <a:pt x="405" y="34"/>
                  </a:lnTo>
                  <a:lnTo>
                    <a:pt x="406" y="35"/>
                  </a:lnTo>
                  <a:lnTo>
                    <a:pt x="407" y="35"/>
                  </a:lnTo>
                  <a:lnTo>
                    <a:pt x="407" y="37"/>
                  </a:lnTo>
                  <a:lnTo>
                    <a:pt x="406" y="37"/>
                  </a:lnTo>
                  <a:lnTo>
                    <a:pt x="404" y="36"/>
                  </a:lnTo>
                  <a:lnTo>
                    <a:pt x="403" y="36"/>
                  </a:lnTo>
                  <a:lnTo>
                    <a:pt x="404" y="37"/>
                  </a:lnTo>
                  <a:lnTo>
                    <a:pt x="405" y="40"/>
                  </a:lnTo>
                  <a:lnTo>
                    <a:pt x="406" y="41"/>
                  </a:lnTo>
                  <a:lnTo>
                    <a:pt x="406" y="42"/>
                  </a:lnTo>
                  <a:lnTo>
                    <a:pt x="406" y="43"/>
                  </a:lnTo>
                  <a:lnTo>
                    <a:pt x="405" y="43"/>
                  </a:lnTo>
                  <a:lnTo>
                    <a:pt x="404" y="42"/>
                  </a:lnTo>
                  <a:lnTo>
                    <a:pt x="403" y="41"/>
                  </a:lnTo>
                  <a:lnTo>
                    <a:pt x="401" y="40"/>
                  </a:lnTo>
                  <a:lnTo>
                    <a:pt x="400" y="38"/>
                  </a:lnTo>
                  <a:lnTo>
                    <a:pt x="400" y="37"/>
                  </a:lnTo>
                  <a:lnTo>
                    <a:pt x="400" y="36"/>
                  </a:lnTo>
                  <a:lnTo>
                    <a:pt x="401" y="35"/>
                  </a:lnTo>
                  <a:lnTo>
                    <a:pt x="401" y="34"/>
                  </a:lnTo>
                  <a:lnTo>
                    <a:pt x="400" y="34"/>
                  </a:lnTo>
                  <a:lnTo>
                    <a:pt x="399" y="34"/>
                  </a:lnTo>
                  <a:lnTo>
                    <a:pt x="399" y="31"/>
                  </a:lnTo>
                  <a:lnTo>
                    <a:pt x="399" y="30"/>
                  </a:lnTo>
                  <a:lnTo>
                    <a:pt x="400" y="30"/>
                  </a:lnTo>
                  <a:lnTo>
                    <a:pt x="403" y="30"/>
                  </a:lnTo>
                  <a:lnTo>
                    <a:pt x="405" y="29"/>
                  </a:lnTo>
                  <a:lnTo>
                    <a:pt x="406" y="29"/>
                  </a:lnTo>
                  <a:lnTo>
                    <a:pt x="405" y="28"/>
                  </a:lnTo>
                  <a:lnTo>
                    <a:pt x="404" y="28"/>
                  </a:lnTo>
                  <a:lnTo>
                    <a:pt x="400" y="28"/>
                  </a:lnTo>
                  <a:lnTo>
                    <a:pt x="399" y="28"/>
                  </a:lnTo>
                  <a:lnTo>
                    <a:pt x="399" y="25"/>
                  </a:lnTo>
                  <a:lnTo>
                    <a:pt x="398" y="24"/>
                  </a:lnTo>
                  <a:lnTo>
                    <a:pt x="398" y="22"/>
                  </a:lnTo>
                  <a:lnTo>
                    <a:pt x="397" y="18"/>
                  </a:lnTo>
                  <a:lnTo>
                    <a:pt x="397" y="14"/>
                  </a:lnTo>
                  <a:lnTo>
                    <a:pt x="397" y="13"/>
                  </a:lnTo>
                  <a:lnTo>
                    <a:pt x="397" y="14"/>
                  </a:lnTo>
                  <a:lnTo>
                    <a:pt x="397" y="22"/>
                  </a:lnTo>
                  <a:lnTo>
                    <a:pt x="397" y="26"/>
                  </a:lnTo>
                  <a:lnTo>
                    <a:pt x="395" y="30"/>
                  </a:lnTo>
                  <a:lnTo>
                    <a:pt x="397" y="31"/>
                  </a:lnTo>
                  <a:lnTo>
                    <a:pt x="398" y="34"/>
                  </a:lnTo>
                  <a:lnTo>
                    <a:pt x="398" y="36"/>
                  </a:lnTo>
                  <a:lnTo>
                    <a:pt x="397" y="36"/>
                  </a:lnTo>
                  <a:lnTo>
                    <a:pt x="395" y="34"/>
                  </a:lnTo>
                  <a:lnTo>
                    <a:pt x="394" y="34"/>
                  </a:lnTo>
                  <a:lnTo>
                    <a:pt x="394" y="35"/>
                  </a:lnTo>
                  <a:lnTo>
                    <a:pt x="393" y="37"/>
                  </a:lnTo>
                  <a:lnTo>
                    <a:pt x="393" y="38"/>
                  </a:lnTo>
                  <a:lnTo>
                    <a:pt x="391" y="38"/>
                  </a:lnTo>
                  <a:lnTo>
                    <a:pt x="391" y="37"/>
                  </a:lnTo>
                  <a:lnTo>
                    <a:pt x="388" y="36"/>
                  </a:lnTo>
                  <a:lnTo>
                    <a:pt x="388" y="35"/>
                  </a:lnTo>
                  <a:lnTo>
                    <a:pt x="389" y="34"/>
                  </a:lnTo>
                  <a:lnTo>
                    <a:pt x="392" y="32"/>
                  </a:lnTo>
                  <a:lnTo>
                    <a:pt x="392" y="31"/>
                  </a:lnTo>
                  <a:lnTo>
                    <a:pt x="391" y="30"/>
                  </a:lnTo>
                  <a:lnTo>
                    <a:pt x="389" y="31"/>
                  </a:lnTo>
                  <a:lnTo>
                    <a:pt x="387" y="32"/>
                  </a:lnTo>
                  <a:lnTo>
                    <a:pt x="388" y="31"/>
                  </a:lnTo>
                  <a:lnTo>
                    <a:pt x="388" y="30"/>
                  </a:lnTo>
                  <a:lnTo>
                    <a:pt x="387" y="30"/>
                  </a:lnTo>
                  <a:lnTo>
                    <a:pt x="386" y="30"/>
                  </a:lnTo>
                  <a:lnTo>
                    <a:pt x="387" y="29"/>
                  </a:lnTo>
                  <a:lnTo>
                    <a:pt x="388" y="26"/>
                  </a:lnTo>
                  <a:lnTo>
                    <a:pt x="387" y="25"/>
                  </a:lnTo>
                  <a:lnTo>
                    <a:pt x="386" y="26"/>
                  </a:lnTo>
                  <a:lnTo>
                    <a:pt x="386" y="25"/>
                  </a:lnTo>
                  <a:lnTo>
                    <a:pt x="386" y="24"/>
                  </a:lnTo>
                  <a:lnTo>
                    <a:pt x="388" y="23"/>
                  </a:lnTo>
                  <a:lnTo>
                    <a:pt x="391" y="20"/>
                  </a:lnTo>
                  <a:lnTo>
                    <a:pt x="394" y="16"/>
                  </a:lnTo>
                  <a:lnTo>
                    <a:pt x="394" y="14"/>
                  </a:lnTo>
                  <a:lnTo>
                    <a:pt x="393" y="16"/>
                  </a:lnTo>
                  <a:lnTo>
                    <a:pt x="392" y="17"/>
                  </a:lnTo>
                  <a:lnTo>
                    <a:pt x="387" y="22"/>
                  </a:lnTo>
                  <a:lnTo>
                    <a:pt x="386" y="20"/>
                  </a:lnTo>
                  <a:lnTo>
                    <a:pt x="387" y="19"/>
                  </a:lnTo>
                  <a:lnTo>
                    <a:pt x="387" y="17"/>
                  </a:lnTo>
                  <a:lnTo>
                    <a:pt x="388" y="16"/>
                  </a:lnTo>
                  <a:lnTo>
                    <a:pt x="388" y="14"/>
                  </a:lnTo>
                  <a:lnTo>
                    <a:pt x="387" y="13"/>
                  </a:lnTo>
                  <a:lnTo>
                    <a:pt x="387" y="14"/>
                  </a:lnTo>
                  <a:lnTo>
                    <a:pt x="386" y="16"/>
                  </a:lnTo>
                  <a:lnTo>
                    <a:pt x="386" y="17"/>
                  </a:lnTo>
                  <a:lnTo>
                    <a:pt x="386" y="13"/>
                  </a:lnTo>
                  <a:lnTo>
                    <a:pt x="386" y="11"/>
                  </a:lnTo>
                  <a:lnTo>
                    <a:pt x="386" y="8"/>
                  </a:lnTo>
                  <a:lnTo>
                    <a:pt x="384" y="7"/>
                  </a:lnTo>
                  <a:lnTo>
                    <a:pt x="384" y="8"/>
                  </a:lnTo>
                  <a:lnTo>
                    <a:pt x="384" y="10"/>
                  </a:lnTo>
                  <a:lnTo>
                    <a:pt x="384" y="12"/>
                  </a:lnTo>
                  <a:lnTo>
                    <a:pt x="384" y="16"/>
                  </a:lnTo>
                  <a:lnTo>
                    <a:pt x="384" y="18"/>
                  </a:lnTo>
                  <a:lnTo>
                    <a:pt x="384" y="19"/>
                  </a:lnTo>
                  <a:lnTo>
                    <a:pt x="384" y="2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3" name="Freeform 76"/>
            <p:cNvSpPr>
              <a:spLocks/>
            </p:cNvSpPr>
            <p:nvPr userDrawn="1"/>
          </p:nvSpPr>
          <p:spPr bwMode="auto">
            <a:xfrm>
              <a:off x="8283575" y="6400801"/>
              <a:ext cx="142875" cy="174625"/>
            </a:xfrm>
            <a:custGeom>
              <a:avLst/>
              <a:gdLst/>
              <a:ahLst/>
              <a:cxnLst>
                <a:cxn ang="0">
                  <a:pos x="210" y="353"/>
                </a:cxn>
                <a:cxn ang="0">
                  <a:pos x="201" y="337"/>
                </a:cxn>
                <a:cxn ang="0">
                  <a:pos x="196" y="313"/>
                </a:cxn>
                <a:cxn ang="0">
                  <a:pos x="213" y="303"/>
                </a:cxn>
                <a:cxn ang="0">
                  <a:pos x="177" y="328"/>
                </a:cxn>
                <a:cxn ang="0">
                  <a:pos x="195" y="364"/>
                </a:cxn>
                <a:cxn ang="0">
                  <a:pos x="178" y="356"/>
                </a:cxn>
                <a:cxn ang="0">
                  <a:pos x="157" y="344"/>
                </a:cxn>
                <a:cxn ang="0">
                  <a:pos x="137" y="349"/>
                </a:cxn>
                <a:cxn ang="0">
                  <a:pos x="115" y="335"/>
                </a:cxn>
                <a:cxn ang="0">
                  <a:pos x="102" y="349"/>
                </a:cxn>
                <a:cxn ang="0">
                  <a:pos x="86" y="361"/>
                </a:cxn>
                <a:cxn ang="0">
                  <a:pos x="67" y="345"/>
                </a:cxn>
                <a:cxn ang="0">
                  <a:pos x="9" y="361"/>
                </a:cxn>
                <a:cxn ang="0">
                  <a:pos x="29" y="323"/>
                </a:cxn>
                <a:cxn ang="0">
                  <a:pos x="17" y="307"/>
                </a:cxn>
                <a:cxn ang="0">
                  <a:pos x="14" y="286"/>
                </a:cxn>
                <a:cxn ang="0">
                  <a:pos x="5" y="249"/>
                </a:cxn>
                <a:cxn ang="0">
                  <a:pos x="48" y="244"/>
                </a:cxn>
                <a:cxn ang="0">
                  <a:pos x="54" y="224"/>
                </a:cxn>
                <a:cxn ang="0">
                  <a:pos x="83" y="192"/>
                </a:cxn>
                <a:cxn ang="0">
                  <a:pos x="49" y="184"/>
                </a:cxn>
                <a:cxn ang="0">
                  <a:pos x="30" y="180"/>
                </a:cxn>
                <a:cxn ang="0">
                  <a:pos x="26" y="166"/>
                </a:cxn>
                <a:cxn ang="0">
                  <a:pos x="32" y="136"/>
                </a:cxn>
                <a:cxn ang="0">
                  <a:pos x="65" y="108"/>
                </a:cxn>
                <a:cxn ang="0">
                  <a:pos x="85" y="83"/>
                </a:cxn>
                <a:cxn ang="0">
                  <a:pos x="101" y="76"/>
                </a:cxn>
                <a:cxn ang="0">
                  <a:pos x="126" y="88"/>
                </a:cxn>
                <a:cxn ang="0">
                  <a:pos x="162" y="87"/>
                </a:cxn>
                <a:cxn ang="0">
                  <a:pos x="171" y="51"/>
                </a:cxn>
                <a:cxn ang="0">
                  <a:pos x="171" y="43"/>
                </a:cxn>
                <a:cxn ang="0">
                  <a:pos x="190" y="76"/>
                </a:cxn>
                <a:cxn ang="0">
                  <a:pos x="225" y="65"/>
                </a:cxn>
                <a:cxn ang="0">
                  <a:pos x="251" y="78"/>
                </a:cxn>
                <a:cxn ang="0">
                  <a:pos x="278" y="99"/>
                </a:cxn>
                <a:cxn ang="0">
                  <a:pos x="263" y="73"/>
                </a:cxn>
                <a:cxn ang="0">
                  <a:pos x="247" y="47"/>
                </a:cxn>
                <a:cxn ang="0">
                  <a:pos x="243" y="2"/>
                </a:cxn>
                <a:cxn ang="0">
                  <a:pos x="278" y="26"/>
                </a:cxn>
                <a:cxn ang="0">
                  <a:pos x="319" y="43"/>
                </a:cxn>
                <a:cxn ang="0">
                  <a:pos x="318" y="69"/>
                </a:cxn>
                <a:cxn ang="0">
                  <a:pos x="333" y="90"/>
                </a:cxn>
                <a:cxn ang="0">
                  <a:pos x="363" y="83"/>
                </a:cxn>
                <a:cxn ang="0">
                  <a:pos x="386" y="65"/>
                </a:cxn>
                <a:cxn ang="0">
                  <a:pos x="392" y="87"/>
                </a:cxn>
                <a:cxn ang="0">
                  <a:pos x="387" y="113"/>
                </a:cxn>
                <a:cxn ang="0">
                  <a:pos x="371" y="124"/>
                </a:cxn>
                <a:cxn ang="0">
                  <a:pos x="396" y="133"/>
                </a:cxn>
                <a:cxn ang="0">
                  <a:pos x="424" y="147"/>
                </a:cxn>
                <a:cxn ang="0">
                  <a:pos x="446" y="174"/>
                </a:cxn>
                <a:cxn ang="0">
                  <a:pos x="419" y="198"/>
                </a:cxn>
                <a:cxn ang="0">
                  <a:pos x="413" y="209"/>
                </a:cxn>
                <a:cxn ang="0">
                  <a:pos x="377" y="234"/>
                </a:cxn>
                <a:cxn ang="0">
                  <a:pos x="415" y="266"/>
                </a:cxn>
                <a:cxn ang="0">
                  <a:pos x="385" y="273"/>
                </a:cxn>
                <a:cxn ang="0">
                  <a:pos x="384" y="304"/>
                </a:cxn>
                <a:cxn ang="0">
                  <a:pos x="389" y="339"/>
                </a:cxn>
                <a:cxn ang="0">
                  <a:pos x="375" y="364"/>
                </a:cxn>
                <a:cxn ang="0">
                  <a:pos x="348" y="384"/>
                </a:cxn>
                <a:cxn ang="0">
                  <a:pos x="308" y="372"/>
                </a:cxn>
                <a:cxn ang="0">
                  <a:pos x="277" y="387"/>
                </a:cxn>
                <a:cxn ang="0">
                  <a:pos x="242" y="363"/>
                </a:cxn>
              </a:cxnLst>
              <a:rect l="0" t="0" r="r" b="b"/>
              <a:pathLst>
                <a:path w="448" h="547">
                  <a:moveTo>
                    <a:pt x="233" y="547"/>
                  </a:moveTo>
                  <a:lnTo>
                    <a:pt x="219" y="547"/>
                  </a:lnTo>
                  <a:lnTo>
                    <a:pt x="218" y="533"/>
                  </a:lnTo>
                  <a:lnTo>
                    <a:pt x="216" y="524"/>
                  </a:lnTo>
                  <a:lnTo>
                    <a:pt x="216" y="506"/>
                  </a:lnTo>
                  <a:lnTo>
                    <a:pt x="216" y="503"/>
                  </a:lnTo>
                  <a:lnTo>
                    <a:pt x="216" y="499"/>
                  </a:lnTo>
                  <a:lnTo>
                    <a:pt x="220" y="474"/>
                  </a:lnTo>
                  <a:lnTo>
                    <a:pt x="221" y="462"/>
                  </a:lnTo>
                  <a:lnTo>
                    <a:pt x="224" y="448"/>
                  </a:lnTo>
                  <a:lnTo>
                    <a:pt x="226" y="438"/>
                  </a:lnTo>
                  <a:lnTo>
                    <a:pt x="229" y="429"/>
                  </a:lnTo>
                  <a:lnTo>
                    <a:pt x="233" y="420"/>
                  </a:lnTo>
                  <a:lnTo>
                    <a:pt x="236" y="417"/>
                  </a:lnTo>
                  <a:lnTo>
                    <a:pt x="236" y="415"/>
                  </a:lnTo>
                  <a:lnTo>
                    <a:pt x="231" y="402"/>
                  </a:lnTo>
                  <a:lnTo>
                    <a:pt x="229" y="398"/>
                  </a:lnTo>
                  <a:lnTo>
                    <a:pt x="227" y="394"/>
                  </a:lnTo>
                  <a:lnTo>
                    <a:pt x="229" y="386"/>
                  </a:lnTo>
                  <a:lnTo>
                    <a:pt x="229" y="380"/>
                  </a:lnTo>
                  <a:lnTo>
                    <a:pt x="227" y="374"/>
                  </a:lnTo>
                  <a:lnTo>
                    <a:pt x="225" y="367"/>
                  </a:lnTo>
                  <a:lnTo>
                    <a:pt x="224" y="361"/>
                  </a:lnTo>
                  <a:lnTo>
                    <a:pt x="221" y="353"/>
                  </a:lnTo>
                  <a:lnTo>
                    <a:pt x="220" y="351"/>
                  </a:lnTo>
                  <a:lnTo>
                    <a:pt x="219" y="351"/>
                  </a:lnTo>
                  <a:lnTo>
                    <a:pt x="220" y="355"/>
                  </a:lnTo>
                  <a:lnTo>
                    <a:pt x="220" y="356"/>
                  </a:lnTo>
                  <a:lnTo>
                    <a:pt x="219" y="358"/>
                  </a:lnTo>
                  <a:lnTo>
                    <a:pt x="219" y="361"/>
                  </a:lnTo>
                  <a:lnTo>
                    <a:pt x="218" y="360"/>
                  </a:lnTo>
                  <a:lnTo>
                    <a:pt x="218" y="361"/>
                  </a:lnTo>
                  <a:lnTo>
                    <a:pt x="216" y="361"/>
                  </a:lnTo>
                  <a:lnTo>
                    <a:pt x="215" y="360"/>
                  </a:lnTo>
                  <a:lnTo>
                    <a:pt x="214" y="361"/>
                  </a:lnTo>
                  <a:lnTo>
                    <a:pt x="212" y="362"/>
                  </a:lnTo>
                  <a:lnTo>
                    <a:pt x="212" y="363"/>
                  </a:lnTo>
                  <a:lnTo>
                    <a:pt x="210" y="361"/>
                  </a:lnTo>
                  <a:lnTo>
                    <a:pt x="210" y="360"/>
                  </a:lnTo>
                  <a:lnTo>
                    <a:pt x="209" y="360"/>
                  </a:lnTo>
                  <a:lnTo>
                    <a:pt x="208" y="361"/>
                  </a:lnTo>
                  <a:lnTo>
                    <a:pt x="207" y="362"/>
                  </a:lnTo>
                  <a:lnTo>
                    <a:pt x="202" y="364"/>
                  </a:lnTo>
                  <a:lnTo>
                    <a:pt x="201" y="364"/>
                  </a:lnTo>
                  <a:lnTo>
                    <a:pt x="202" y="362"/>
                  </a:lnTo>
                  <a:lnTo>
                    <a:pt x="204" y="361"/>
                  </a:lnTo>
                  <a:lnTo>
                    <a:pt x="204" y="358"/>
                  </a:lnTo>
                  <a:lnTo>
                    <a:pt x="206" y="358"/>
                  </a:lnTo>
                  <a:lnTo>
                    <a:pt x="206" y="357"/>
                  </a:lnTo>
                  <a:lnTo>
                    <a:pt x="203" y="358"/>
                  </a:lnTo>
                  <a:lnTo>
                    <a:pt x="203" y="357"/>
                  </a:lnTo>
                  <a:lnTo>
                    <a:pt x="206" y="356"/>
                  </a:lnTo>
                  <a:lnTo>
                    <a:pt x="207" y="355"/>
                  </a:lnTo>
                  <a:lnTo>
                    <a:pt x="206" y="355"/>
                  </a:lnTo>
                  <a:lnTo>
                    <a:pt x="207" y="353"/>
                  </a:lnTo>
                  <a:lnTo>
                    <a:pt x="208" y="356"/>
                  </a:lnTo>
                  <a:lnTo>
                    <a:pt x="207" y="357"/>
                  </a:lnTo>
                  <a:lnTo>
                    <a:pt x="208" y="358"/>
                  </a:lnTo>
                  <a:lnTo>
                    <a:pt x="209" y="356"/>
                  </a:lnTo>
                  <a:lnTo>
                    <a:pt x="210" y="356"/>
                  </a:lnTo>
                  <a:lnTo>
                    <a:pt x="210" y="353"/>
                  </a:lnTo>
                  <a:lnTo>
                    <a:pt x="209" y="353"/>
                  </a:lnTo>
                  <a:lnTo>
                    <a:pt x="209" y="351"/>
                  </a:lnTo>
                  <a:lnTo>
                    <a:pt x="209" y="350"/>
                  </a:lnTo>
                  <a:lnTo>
                    <a:pt x="208" y="350"/>
                  </a:lnTo>
                  <a:lnTo>
                    <a:pt x="209" y="349"/>
                  </a:lnTo>
                  <a:lnTo>
                    <a:pt x="212" y="347"/>
                  </a:lnTo>
                  <a:lnTo>
                    <a:pt x="214" y="347"/>
                  </a:lnTo>
                  <a:lnTo>
                    <a:pt x="215" y="347"/>
                  </a:lnTo>
                  <a:lnTo>
                    <a:pt x="218" y="344"/>
                  </a:lnTo>
                  <a:lnTo>
                    <a:pt x="220" y="340"/>
                  </a:lnTo>
                  <a:lnTo>
                    <a:pt x="223" y="338"/>
                  </a:lnTo>
                  <a:lnTo>
                    <a:pt x="223" y="337"/>
                  </a:lnTo>
                  <a:lnTo>
                    <a:pt x="223" y="335"/>
                  </a:lnTo>
                  <a:lnTo>
                    <a:pt x="221" y="337"/>
                  </a:lnTo>
                  <a:lnTo>
                    <a:pt x="221" y="335"/>
                  </a:lnTo>
                  <a:lnTo>
                    <a:pt x="220" y="337"/>
                  </a:lnTo>
                  <a:lnTo>
                    <a:pt x="219" y="338"/>
                  </a:lnTo>
                  <a:lnTo>
                    <a:pt x="216" y="338"/>
                  </a:lnTo>
                  <a:lnTo>
                    <a:pt x="216" y="337"/>
                  </a:lnTo>
                  <a:lnTo>
                    <a:pt x="215" y="338"/>
                  </a:lnTo>
                  <a:lnTo>
                    <a:pt x="215" y="335"/>
                  </a:lnTo>
                  <a:lnTo>
                    <a:pt x="215" y="334"/>
                  </a:lnTo>
                  <a:lnTo>
                    <a:pt x="216" y="333"/>
                  </a:lnTo>
                  <a:lnTo>
                    <a:pt x="219" y="332"/>
                  </a:lnTo>
                  <a:lnTo>
                    <a:pt x="215" y="334"/>
                  </a:lnTo>
                  <a:lnTo>
                    <a:pt x="215" y="332"/>
                  </a:lnTo>
                  <a:lnTo>
                    <a:pt x="215" y="331"/>
                  </a:lnTo>
                  <a:lnTo>
                    <a:pt x="215" y="329"/>
                  </a:lnTo>
                  <a:lnTo>
                    <a:pt x="214" y="329"/>
                  </a:lnTo>
                  <a:lnTo>
                    <a:pt x="213" y="332"/>
                  </a:lnTo>
                  <a:lnTo>
                    <a:pt x="213" y="329"/>
                  </a:lnTo>
                  <a:lnTo>
                    <a:pt x="212" y="328"/>
                  </a:lnTo>
                  <a:lnTo>
                    <a:pt x="212" y="327"/>
                  </a:lnTo>
                  <a:lnTo>
                    <a:pt x="210" y="329"/>
                  </a:lnTo>
                  <a:lnTo>
                    <a:pt x="209" y="329"/>
                  </a:lnTo>
                  <a:lnTo>
                    <a:pt x="209" y="331"/>
                  </a:lnTo>
                  <a:lnTo>
                    <a:pt x="209" y="333"/>
                  </a:lnTo>
                  <a:lnTo>
                    <a:pt x="208" y="333"/>
                  </a:lnTo>
                  <a:lnTo>
                    <a:pt x="208" y="334"/>
                  </a:lnTo>
                  <a:lnTo>
                    <a:pt x="210" y="334"/>
                  </a:lnTo>
                  <a:lnTo>
                    <a:pt x="210" y="335"/>
                  </a:lnTo>
                  <a:lnTo>
                    <a:pt x="212" y="337"/>
                  </a:lnTo>
                  <a:lnTo>
                    <a:pt x="210" y="339"/>
                  </a:lnTo>
                  <a:lnTo>
                    <a:pt x="209" y="338"/>
                  </a:lnTo>
                  <a:lnTo>
                    <a:pt x="209" y="337"/>
                  </a:lnTo>
                  <a:lnTo>
                    <a:pt x="208" y="338"/>
                  </a:lnTo>
                  <a:lnTo>
                    <a:pt x="208" y="339"/>
                  </a:lnTo>
                  <a:lnTo>
                    <a:pt x="207" y="337"/>
                  </a:lnTo>
                  <a:lnTo>
                    <a:pt x="206" y="335"/>
                  </a:lnTo>
                  <a:lnTo>
                    <a:pt x="204" y="335"/>
                  </a:lnTo>
                  <a:lnTo>
                    <a:pt x="204" y="337"/>
                  </a:lnTo>
                  <a:lnTo>
                    <a:pt x="203" y="337"/>
                  </a:lnTo>
                  <a:lnTo>
                    <a:pt x="202" y="338"/>
                  </a:lnTo>
                  <a:lnTo>
                    <a:pt x="201" y="339"/>
                  </a:lnTo>
                  <a:lnTo>
                    <a:pt x="200" y="340"/>
                  </a:lnTo>
                  <a:lnTo>
                    <a:pt x="197" y="341"/>
                  </a:lnTo>
                  <a:lnTo>
                    <a:pt x="197" y="340"/>
                  </a:lnTo>
                  <a:lnTo>
                    <a:pt x="200" y="339"/>
                  </a:lnTo>
                  <a:lnTo>
                    <a:pt x="200" y="338"/>
                  </a:lnTo>
                  <a:lnTo>
                    <a:pt x="200" y="337"/>
                  </a:lnTo>
                  <a:lnTo>
                    <a:pt x="201" y="337"/>
                  </a:lnTo>
                  <a:lnTo>
                    <a:pt x="200" y="335"/>
                  </a:lnTo>
                  <a:lnTo>
                    <a:pt x="197" y="335"/>
                  </a:lnTo>
                  <a:lnTo>
                    <a:pt x="198" y="334"/>
                  </a:lnTo>
                  <a:lnTo>
                    <a:pt x="200" y="331"/>
                  </a:lnTo>
                  <a:lnTo>
                    <a:pt x="203" y="331"/>
                  </a:lnTo>
                  <a:lnTo>
                    <a:pt x="204" y="332"/>
                  </a:lnTo>
                  <a:lnTo>
                    <a:pt x="203" y="329"/>
                  </a:lnTo>
                  <a:lnTo>
                    <a:pt x="204" y="329"/>
                  </a:lnTo>
                  <a:lnTo>
                    <a:pt x="207" y="329"/>
                  </a:lnTo>
                  <a:lnTo>
                    <a:pt x="207" y="331"/>
                  </a:lnTo>
                  <a:lnTo>
                    <a:pt x="208" y="329"/>
                  </a:lnTo>
                  <a:lnTo>
                    <a:pt x="210" y="328"/>
                  </a:lnTo>
                  <a:lnTo>
                    <a:pt x="212" y="326"/>
                  </a:lnTo>
                  <a:lnTo>
                    <a:pt x="212" y="325"/>
                  </a:lnTo>
                  <a:lnTo>
                    <a:pt x="210" y="325"/>
                  </a:lnTo>
                  <a:lnTo>
                    <a:pt x="209" y="325"/>
                  </a:lnTo>
                  <a:lnTo>
                    <a:pt x="207" y="325"/>
                  </a:lnTo>
                  <a:lnTo>
                    <a:pt x="209" y="323"/>
                  </a:lnTo>
                  <a:lnTo>
                    <a:pt x="208" y="322"/>
                  </a:lnTo>
                  <a:lnTo>
                    <a:pt x="209" y="320"/>
                  </a:lnTo>
                  <a:lnTo>
                    <a:pt x="209" y="317"/>
                  </a:lnTo>
                  <a:lnTo>
                    <a:pt x="209" y="319"/>
                  </a:lnTo>
                  <a:lnTo>
                    <a:pt x="207" y="319"/>
                  </a:lnTo>
                  <a:lnTo>
                    <a:pt x="204" y="320"/>
                  </a:lnTo>
                  <a:lnTo>
                    <a:pt x="203" y="321"/>
                  </a:lnTo>
                  <a:lnTo>
                    <a:pt x="202" y="322"/>
                  </a:lnTo>
                  <a:lnTo>
                    <a:pt x="201" y="325"/>
                  </a:lnTo>
                  <a:lnTo>
                    <a:pt x="201" y="323"/>
                  </a:lnTo>
                  <a:lnTo>
                    <a:pt x="200" y="321"/>
                  </a:lnTo>
                  <a:lnTo>
                    <a:pt x="202" y="321"/>
                  </a:lnTo>
                  <a:lnTo>
                    <a:pt x="203" y="320"/>
                  </a:lnTo>
                  <a:lnTo>
                    <a:pt x="207" y="317"/>
                  </a:lnTo>
                  <a:lnTo>
                    <a:pt x="207" y="316"/>
                  </a:lnTo>
                  <a:lnTo>
                    <a:pt x="206" y="316"/>
                  </a:lnTo>
                  <a:lnTo>
                    <a:pt x="204" y="319"/>
                  </a:lnTo>
                  <a:lnTo>
                    <a:pt x="203" y="319"/>
                  </a:lnTo>
                  <a:lnTo>
                    <a:pt x="204" y="315"/>
                  </a:lnTo>
                  <a:lnTo>
                    <a:pt x="206" y="313"/>
                  </a:lnTo>
                  <a:lnTo>
                    <a:pt x="207" y="311"/>
                  </a:lnTo>
                  <a:lnTo>
                    <a:pt x="208" y="310"/>
                  </a:lnTo>
                  <a:lnTo>
                    <a:pt x="207" y="310"/>
                  </a:lnTo>
                  <a:lnTo>
                    <a:pt x="206" y="311"/>
                  </a:lnTo>
                  <a:lnTo>
                    <a:pt x="204" y="313"/>
                  </a:lnTo>
                  <a:lnTo>
                    <a:pt x="204" y="310"/>
                  </a:lnTo>
                  <a:lnTo>
                    <a:pt x="203" y="309"/>
                  </a:lnTo>
                  <a:lnTo>
                    <a:pt x="202" y="308"/>
                  </a:lnTo>
                  <a:lnTo>
                    <a:pt x="201" y="309"/>
                  </a:lnTo>
                  <a:lnTo>
                    <a:pt x="203" y="310"/>
                  </a:lnTo>
                  <a:lnTo>
                    <a:pt x="202" y="311"/>
                  </a:lnTo>
                  <a:lnTo>
                    <a:pt x="202" y="313"/>
                  </a:lnTo>
                  <a:lnTo>
                    <a:pt x="201" y="311"/>
                  </a:lnTo>
                  <a:lnTo>
                    <a:pt x="201" y="313"/>
                  </a:lnTo>
                  <a:lnTo>
                    <a:pt x="201" y="315"/>
                  </a:lnTo>
                  <a:lnTo>
                    <a:pt x="198" y="317"/>
                  </a:lnTo>
                  <a:lnTo>
                    <a:pt x="197" y="319"/>
                  </a:lnTo>
                  <a:lnTo>
                    <a:pt x="197" y="316"/>
                  </a:lnTo>
                  <a:lnTo>
                    <a:pt x="197" y="314"/>
                  </a:lnTo>
                  <a:lnTo>
                    <a:pt x="196" y="315"/>
                  </a:lnTo>
                  <a:lnTo>
                    <a:pt x="197" y="313"/>
                  </a:lnTo>
                  <a:lnTo>
                    <a:pt x="197" y="311"/>
                  </a:lnTo>
                  <a:lnTo>
                    <a:pt x="196" y="313"/>
                  </a:lnTo>
                  <a:lnTo>
                    <a:pt x="196" y="310"/>
                  </a:lnTo>
                  <a:lnTo>
                    <a:pt x="196" y="313"/>
                  </a:lnTo>
                  <a:lnTo>
                    <a:pt x="194" y="313"/>
                  </a:lnTo>
                  <a:lnTo>
                    <a:pt x="192" y="314"/>
                  </a:lnTo>
                  <a:lnTo>
                    <a:pt x="194" y="311"/>
                  </a:lnTo>
                  <a:lnTo>
                    <a:pt x="195" y="310"/>
                  </a:lnTo>
                  <a:lnTo>
                    <a:pt x="195" y="309"/>
                  </a:lnTo>
                  <a:lnTo>
                    <a:pt x="192" y="309"/>
                  </a:lnTo>
                  <a:lnTo>
                    <a:pt x="192" y="308"/>
                  </a:lnTo>
                  <a:lnTo>
                    <a:pt x="192" y="307"/>
                  </a:lnTo>
                  <a:lnTo>
                    <a:pt x="192" y="304"/>
                  </a:lnTo>
                  <a:lnTo>
                    <a:pt x="194" y="302"/>
                  </a:lnTo>
                  <a:lnTo>
                    <a:pt x="195" y="303"/>
                  </a:lnTo>
                  <a:lnTo>
                    <a:pt x="195" y="305"/>
                  </a:lnTo>
                  <a:lnTo>
                    <a:pt x="195" y="307"/>
                  </a:lnTo>
                  <a:lnTo>
                    <a:pt x="196" y="308"/>
                  </a:lnTo>
                  <a:lnTo>
                    <a:pt x="197" y="307"/>
                  </a:lnTo>
                  <a:lnTo>
                    <a:pt x="198" y="305"/>
                  </a:lnTo>
                  <a:lnTo>
                    <a:pt x="200" y="305"/>
                  </a:lnTo>
                  <a:lnTo>
                    <a:pt x="201" y="305"/>
                  </a:lnTo>
                  <a:lnTo>
                    <a:pt x="202" y="307"/>
                  </a:lnTo>
                  <a:lnTo>
                    <a:pt x="203" y="308"/>
                  </a:lnTo>
                  <a:lnTo>
                    <a:pt x="204" y="308"/>
                  </a:lnTo>
                  <a:lnTo>
                    <a:pt x="206" y="308"/>
                  </a:lnTo>
                  <a:lnTo>
                    <a:pt x="206" y="307"/>
                  </a:lnTo>
                  <a:lnTo>
                    <a:pt x="207" y="305"/>
                  </a:lnTo>
                  <a:lnTo>
                    <a:pt x="208" y="305"/>
                  </a:lnTo>
                  <a:lnTo>
                    <a:pt x="209" y="305"/>
                  </a:lnTo>
                  <a:lnTo>
                    <a:pt x="209" y="307"/>
                  </a:lnTo>
                  <a:lnTo>
                    <a:pt x="210" y="307"/>
                  </a:lnTo>
                  <a:lnTo>
                    <a:pt x="212" y="307"/>
                  </a:lnTo>
                  <a:lnTo>
                    <a:pt x="212" y="305"/>
                  </a:lnTo>
                  <a:lnTo>
                    <a:pt x="210" y="304"/>
                  </a:lnTo>
                  <a:lnTo>
                    <a:pt x="209" y="304"/>
                  </a:lnTo>
                  <a:lnTo>
                    <a:pt x="208" y="304"/>
                  </a:lnTo>
                  <a:lnTo>
                    <a:pt x="207" y="304"/>
                  </a:lnTo>
                  <a:lnTo>
                    <a:pt x="207" y="305"/>
                  </a:lnTo>
                  <a:lnTo>
                    <a:pt x="206" y="305"/>
                  </a:lnTo>
                  <a:lnTo>
                    <a:pt x="204" y="307"/>
                  </a:lnTo>
                  <a:lnTo>
                    <a:pt x="203" y="307"/>
                  </a:lnTo>
                  <a:lnTo>
                    <a:pt x="202" y="305"/>
                  </a:lnTo>
                  <a:lnTo>
                    <a:pt x="202" y="304"/>
                  </a:lnTo>
                  <a:lnTo>
                    <a:pt x="203" y="303"/>
                  </a:lnTo>
                  <a:lnTo>
                    <a:pt x="206" y="303"/>
                  </a:lnTo>
                  <a:lnTo>
                    <a:pt x="207" y="303"/>
                  </a:lnTo>
                  <a:lnTo>
                    <a:pt x="207" y="302"/>
                  </a:lnTo>
                  <a:lnTo>
                    <a:pt x="207" y="301"/>
                  </a:lnTo>
                  <a:lnTo>
                    <a:pt x="208" y="301"/>
                  </a:lnTo>
                  <a:lnTo>
                    <a:pt x="209" y="301"/>
                  </a:lnTo>
                  <a:lnTo>
                    <a:pt x="207" y="301"/>
                  </a:lnTo>
                  <a:lnTo>
                    <a:pt x="206" y="302"/>
                  </a:lnTo>
                  <a:lnTo>
                    <a:pt x="201" y="302"/>
                  </a:lnTo>
                  <a:lnTo>
                    <a:pt x="202" y="301"/>
                  </a:lnTo>
                  <a:lnTo>
                    <a:pt x="204" y="298"/>
                  </a:lnTo>
                  <a:lnTo>
                    <a:pt x="207" y="298"/>
                  </a:lnTo>
                  <a:lnTo>
                    <a:pt x="209" y="298"/>
                  </a:lnTo>
                  <a:lnTo>
                    <a:pt x="210" y="299"/>
                  </a:lnTo>
                  <a:lnTo>
                    <a:pt x="210" y="301"/>
                  </a:lnTo>
                  <a:lnTo>
                    <a:pt x="212" y="302"/>
                  </a:lnTo>
                  <a:lnTo>
                    <a:pt x="212" y="303"/>
                  </a:lnTo>
                  <a:lnTo>
                    <a:pt x="213" y="303"/>
                  </a:lnTo>
                  <a:lnTo>
                    <a:pt x="214" y="302"/>
                  </a:lnTo>
                  <a:lnTo>
                    <a:pt x="213" y="301"/>
                  </a:lnTo>
                  <a:lnTo>
                    <a:pt x="212" y="301"/>
                  </a:lnTo>
                  <a:lnTo>
                    <a:pt x="213" y="298"/>
                  </a:lnTo>
                  <a:lnTo>
                    <a:pt x="213" y="297"/>
                  </a:lnTo>
                  <a:lnTo>
                    <a:pt x="213" y="296"/>
                  </a:lnTo>
                  <a:lnTo>
                    <a:pt x="212" y="295"/>
                  </a:lnTo>
                  <a:lnTo>
                    <a:pt x="213" y="293"/>
                  </a:lnTo>
                  <a:lnTo>
                    <a:pt x="210" y="293"/>
                  </a:lnTo>
                  <a:lnTo>
                    <a:pt x="201" y="293"/>
                  </a:lnTo>
                  <a:lnTo>
                    <a:pt x="182" y="296"/>
                  </a:lnTo>
                  <a:lnTo>
                    <a:pt x="172" y="298"/>
                  </a:lnTo>
                  <a:lnTo>
                    <a:pt x="164" y="302"/>
                  </a:lnTo>
                  <a:lnTo>
                    <a:pt x="161" y="303"/>
                  </a:lnTo>
                  <a:lnTo>
                    <a:pt x="165" y="305"/>
                  </a:lnTo>
                  <a:lnTo>
                    <a:pt x="170" y="308"/>
                  </a:lnTo>
                  <a:lnTo>
                    <a:pt x="171" y="310"/>
                  </a:lnTo>
                  <a:lnTo>
                    <a:pt x="173" y="313"/>
                  </a:lnTo>
                  <a:lnTo>
                    <a:pt x="176" y="314"/>
                  </a:lnTo>
                  <a:lnTo>
                    <a:pt x="173" y="313"/>
                  </a:lnTo>
                  <a:lnTo>
                    <a:pt x="172" y="315"/>
                  </a:lnTo>
                  <a:lnTo>
                    <a:pt x="171" y="317"/>
                  </a:lnTo>
                  <a:lnTo>
                    <a:pt x="173" y="321"/>
                  </a:lnTo>
                  <a:lnTo>
                    <a:pt x="174" y="322"/>
                  </a:lnTo>
                  <a:lnTo>
                    <a:pt x="176" y="325"/>
                  </a:lnTo>
                  <a:lnTo>
                    <a:pt x="177" y="325"/>
                  </a:lnTo>
                  <a:lnTo>
                    <a:pt x="177" y="326"/>
                  </a:lnTo>
                  <a:lnTo>
                    <a:pt x="178" y="327"/>
                  </a:lnTo>
                  <a:lnTo>
                    <a:pt x="179" y="328"/>
                  </a:lnTo>
                  <a:lnTo>
                    <a:pt x="180" y="327"/>
                  </a:lnTo>
                  <a:lnTo>
                    <a:pt x="179" y="327"/>
                  </a:lnTo>
                  <a:lnTo>
                    <a:pt x="179" y="325"/>
                  </a:lnTo>
                  <a:lnTo>
                    <a:pt x="182" y="326"/>
                  </a:lnTo>
                  <a:lnTo>
                    <a:pt x="183" y="328"/>
                  </a:lnTo>
                  <a:lnTo>
                    <a:pt x="182" y="328"/>
                  </a:lnTo>
                  <a:lnTo>
                    <a:pt x="180" y="328"/>
                  </a:lnTo>
                  <a:lnTo>
                    <a:pt x="182" y="331"/>
                  </a:lnTo>
                  <a:lnTo>
                    <a:pt x="183" y="332"/>
                  </a:lnTo>
                  <a:lnTo>
                    <a:pt x="183" y="334"/>
                  </a:lnTo>
                  <a:lnTo>
                    <a:pt x="182" y="332"/>
                  </a:lnTo>
                  <a:lnTo>
                    <a:pt x="180" y="331"/>
                  </a:lnTo>
                  <a:lnTo>
                    <a:pt x="180" y="332"/>
                  </a:lnTo>
                  <a:lnTo>
                    <a:pt x="180" y="334"/>
                  </a:lnTo>
                  <a:lnTo>
                    <a:pt x="180" y="337"/>
                  </a:lnTo>
                  <a:lnTo>
                    <a:pt x="180" y="333"/>
                  </a:lnTo>
                  <a:lnTo>
                    <a:pt x="179" y="334"/>
                  </a:lnTo>
                  <a:lnTo>
                    <a:pt x="179" y="335"/>
                  </a:lnTo>
                  <a:lnTo>
                    <a:pt x="179" y="333"/>
                  </a:lnTo>
                  <a:lnTo>
                    <a:pt x="178" y="334"/>
                  </a:lnTo>
                  <a:lnTo>
                    <a:pt x="179" y="332"/>
                  </a:lnTo>
                  <a:lnTo>
                    <a:pt x="179" y="331"/>
                  </a:lnTo>
                  <a:lnTo>
                    <a:pt x="180" y="329"/>
                  </a:lnTo>
                  <a:lnTo>
                    <a:pt x="178" y="328"/>
                  </a:lnTo>
                  <a:lnTo>
                    <a:pt x="176" y="326"/>
                  </a:lnTo>
                  <a:lnTo>
                    <a:pt x="174" y="322"/>
                  </a:lnTo>
                  <a:lnTo>
                    <a:pt x="173" y="322"/>
                  </a:lnTo>
                  <a:lnTo>
                    <a:pt x="173" y="326"/>
                  </a:lnTo>
                  <a:lnTo>
                    <a:pt x="174" y="328"/>
                  </a:lnTo>
                  <a:lnTo>
                    <a:pt x="174" y="329"/>
                  </a:lnTo>
                  <a:lnTo>
                    <a:pt x="174" y="328"/>
                  </a:lnTo>
                  <a:lnTo>
                    <a:pt x="177" y="328"/>
                  </a:lnTo>
                  <a:lnTo>
                    <a:pt x="176" y="329"/>
                  </a:lnTo>
                  <a:lnTo>
                    <a:pt x="176" y="331"/>
                  </a:lnTo>
                  <a:lnTo>
                    <a:pt x="177" y="331"/>
                  </a:lnTo>
                  <a:lnTo>
                    <a:pt x="177" y="332"/>
                  </a:lnTo>
                  <a:lnTo>
                    <a:pt x="177" y="333"/>
                  </a:lnTo>
                  <a:lnTo>
                    <a:pt x="177" y="334"/>
                  </a:lnTo>
                  <a:lnTo>
                    <a:pt x="179" y="338"/>
                  </a:lnTo>
                  <a:lnTo>
                    <a:pt x="182" y="339"/>
                  </a:lnTo>
                  <a:lnTo>
                    <a:pt x="180" y="338"/>
                  </a:lnTo>
                  <a:lnTo>
                    <a:pt x="183" y="339"/>
                  </a:lnTo>
                  <a:lnTo>
                    <a:pt x="183" y="341"/>
                  </a:lnTo>
                  <a:lnTo>
                    <a:pt x="184" y="341"/>
                  </a:lnTo>
                  <a:lnTo>
                    <a:pt x="185" y="341"/>
                  </a:lnTo>
                  <a:lnTo>
                    <a:pt x="186" y="340"/>
                  </a:lnTo>
                  <a:lnTo>
                    <a:pt x="186" y="339"/>
                  </a:lnTo>
                  <a:lnTo>
                    <a:pt x="186" y="337"/>
                  </a:lnTo>
                  <a:lnTo>
                    <a:pt x="189" y="337"/>
                  </a:lnTo>
                  <a:lnTo>
                    <a:pt x="190" y="337"/>
                  </a:lnTo>
                  <a:lnTo>
                    <a:pt x="190" y="338"/>
                  </a:lnTo>
                  <a:lnTo>
                    <a:pt x="189" y="340"/>
                  </a:lnTo>
                  <a:lnTo>
                    <a:pt x="189" y="341"/>
                  </a:lnTo>
                  <a:lnTo>
                    <a:pt x="189" y="343"/>
                  </a:lnTo>
                  <a:lnTo>
                    <a:pt x="190" y="343"/>
                  </a:lnTo>
                  <a:lnTo>
                    <a:pt x="191" y="343"/>
                  </a:lnTo>
                  <a:lnTo>
                    <a:pt x="192" y="340"/>
                  </a:lnTo>
                  <a:lnTo>
                    <a:pt x="192" y="338"/>
                  </a:lnTo>
                  <a:lnTo>
                    <a:pt x="194" y="339"/>
                  </a:lnTo>
                  <a:lnTo>
                    <a:pt x="194" y="340"/>
                  </a:lnTo>
                  <a:lnTo>
                    <a:pt x="192" y="343"/>
                  </a:lnTo>
                  <a:lnTo>
                    <a:pt x="191" y="343"/>
                  </a:lnTo>
                  <a:lnTo>
                    <a:pt x="192" y="344"/>
                  </a:lnTo>
                  <a:lnTo>
                    <a:pt x="194" y="345"/>
                  </a:lnTo>
                  <a:lnTo>
                    <a:pt x="196" y="346"/>
                  </a:lnTo>
                  <a:lnTo>
                    <a:pt x="196" y="347"/>
                  </a:lnTo>
                  <a:lnTo>
                    <a:pt x="195" y="347"/>
                  </a:lnTo>
                  <a:lnTo>
                    <a:pt x="194" y="347"/>
                  </a:lnTo>
                  <a:lnTo>
                    <a:pt x="195" y="351"/>
                  </a:lnTo>
                  <a:lnTo>
                    <a:pt x="192" y="350"/>
                  </a:lnTo>
                  <a:lnTo>
                    <a:pt x="192" y="347"/>
                  </a:lnTo>
                  <a:lnTo>
                    <a:pt x="194" y="346"/>
                  </a:lnTo>
                  <a:lnTo>
                    <a:pt x="192" y="346"/>
                  </a:lnTo>
                  <a:lnTo>
                    <a:pt x="191" y="345"/>
                  </a:lnTo>
                  <a:lnTo>
                    <a:pt x="190" y="344"/>
                  </a:lnTo>
                  <a:lnTo>
                    <a:pt x="189" y="343"/>
                  </a:lnTo>
                  <a:lnTo>
                    <a:pt x="188" y="344"/>
                  </a:lnTo>
                  <a:lnTo>
                    <a:pt x="190" y="345"/>
                  </a:lnTo>
                  <a:lnTo>
                    <a:pt x="190" y="349"/>
                  </a:lnTo>
                  <a:lnTo>
                    <a:pt x="192" y="350"/>
                  </a:lnTo>
                  <a:lnTo>
                    <a:pt x="192" y="352"/>
                  </a:lnTo>
                  <a:lnTo>
                    <a:pt x="192" y="357"/>
                  </a:lnTo>
                  <a:lnTo>
                    <a:pt x="195" y="358"/>
                  </a:lnTo>
                  <a:lnTo>
                    <a:pt x="195" y="360"/>
                  </a:lnTo>
                  <a:lnTo>
                    <a:pt x="197" y="361"/>
                  </a:lnTo>
                  <a:lnTo>
                    <a:pt x="198" y="361"/>
                  </a:lnTo>
                  <a:lnTo>
                    <a:pt x="200" y="363"/>
                  </a:lnTo>
                  <a:lnTo>
                    <a:pt x="197" y="362"/>
                  </a:lnTo>
                  <a:lnTo>
                    <a:pt x="198" y="363"/>
                  </a:lnTo>
                  <a:lnTo>
                    <a:pt x="197" y="366"/>
                  </a:lnTo>
                  <a:lnTo>
                    <a:pt x="196" y="364"/>
                  </a:lnTo>
                  <a:lnTo>
                    <a:pt x="196" y="366"/>
                  </a:lnTo>
                  <a:lnTo>
                    <a:pt x="195" y="364"/>
                  </a:lnTo>
                  <a:lnTo>
                    <a:pt x="195" y="366"/>
                  </a:lnTo>
                  <a:lnTo>
                    <a:pt x="192" y="368"/>
                  </a:lnTo>
                  <a:lnTo>
                    <a:pt x="192" y="366"/>
                  </a:lnTo>
                  <a:lnTo>
                    <a:pt x="191" y="366"/>
                  </a:lnTo>
                  <a:lnTo>
                    <a:pt x="192" y="362"/>
                  </a:lnTo>
                  <a:lnTo>
                    <a:pt x="191" y="361"/>
                  </a:lnTo>
                  <a:lnTo>
                    <a:pt x="192" y="358"/>
                  </a:lnTo>
                  <a:lnTo>
                    <a:pt x="191" y="352"/>
                  </a:lnTo>
                  <a:lnTo>
                    <a:pt x="191" y="353"/>
                  </a:lnTo>
                  <a:lnTo>
                    <a:pt x="190" y="353"/>
                  </a:lnTo>
                  <a:lnTo>
                    <a:pt x="191" y="356"/>
                  </a:lnTo>
                  <a:lnTo>
                    <a:pt x="189" y="355"/>
                  </a:lnTo>
                  <a:lnTo>
                    <a:pt x="186" y="353"/>
                  </a:lnTo>
                  <a:lnTo>
                    <a:pt x="185" y="353"/>
                  </a:lnTo>
                  <a:lnTo>
                    <a:pt x="186" y="355"/>
                  </a:lnTo>
                  <a:lnTo>
                    <a:pt x="185" y="357"/>
                  </a:lnTo>
                  <a:lnTo>
                    <a:pt x="185" y="358"/>
                  </a:lnTo>
                  <a:lnTo>
                    <a:pt x="184" y="356"/>
                  </a:lnTo>
                  <a:lnTo>
                    <a:pt x="184" y="355"/>
                  </a:lnTo>
                  <a:lnTo>
                    <a:pt x="185" y="353"/>
                  </a:lnTo>
                  <a:lnTo>
                    <a:pt x="185" y="352"/>
                  </a:lnTo>
                  <a:lnTo>
                    <a:pt x="186" y="351"/>
                  </a:lnTo>
                  <a:lnTo>
                    <a:pt x="188" y="350"/>
                  </a:lnTo>
                  <a:lnTo>
                    <a:pt x="188" y="349"/>
                  </a:lnTo>
                  <a:lnTo>
                    <a:pt x="186" y="349"/>
                  </a:lnTo>
                  <a:lnTo>
                    <a:pt x="185" y="350"/>
                  </a:lnTo>
                  <a:lnTo>
                    <a:pt x="185" y="349"/>
                  </a:lnTo>
                  <a:lnTo>
                    <a:pt x="185" y="347"/>
                  </a:lnTo>
                  <a:lnTo>
                    <a:pt x="183" y="351"/>
                  </a:lnTo>
                  <a:lnTo>
                    <a:pt x="182" y="353"/>
                  </a:lnTo>
                  <a:lnTo>
                    <a:pt x="179" y="357"/>
                  </a:lnTo>
                  <a:lnTo>
                    <a:pt x="182" y="360"/>
                  </a:lnTo>
                  <a:lnTo>
                    <a:pt x="183" y="361"/>
                  </a:lnTo>
                  <a:lnTo>
                    <a:pt x="182" y="361"/>
                  </a:lnTo>
                  <a:lnTo>
                    <a:pt x="182" y="363"/>
                  </a:lnTo>
                  <a:lnTo>
                    <a:pt x="182" y="364"/>
                  </a:lnTo>
                  <a:lnTo>
                    <a:pt x="183" y="364"/>
                  </a:lnTo>
                  <a:lnTo>
                    <a:pt x="183" y="366"/>
                  </a:lnTo>
                  <a:lnTo>
                    <a:pt x="182" y="366"/>
                  </a:lnTo>
                  <a:lnTo>
                    <a:pt x="183" y="369"/>
                  </a:lnTo>
                  <a:lnTo>
                    <a:pt x="182" y="370"/>
                  </a:lnTo>
                  <a:lnTo>
                    <a:pt x="180" y="368"/>
                  </a:lnTo>
                  <a:lnTo>
                    <a:pt x="179" y="366"/>
                  </a:lnTo>
                  <a:lnTo>
                    <a:pt x="178" y="368"/>
                  </a:lnTo>
                  <a:lnTo>
                    <a:pt x="177" y="370"/>
                  </a:lnTo>
                  <a:lnTo>
                    <a:pt x="176" y="369"/>
                  </a:lnTo>
                  <a:lnTo>
                    <a:pt x="176" y="367"/>
                  </a:lnTo>
                  <a:lnTo>
                    <a:pt x="174" y="368"/>
                  </a:lnTo>
                  <a:lnTo>
                    <a:pt x="174" y="366"/>
                  </a:lnTo>
                  <a:lnTo>
                    <a:pt x="174" y="363"/>
                  </a:lnTo>
                  <a:lnTo>
                    <a:pt x="173" y="364"/>
                  </a:lnTo>
                  <a:lnTo>
                    <a:pt x="173" y="362"/>
                  </a:lnTo>
                  <a:lnTo>
                    <a:pt x="176" y="360"/>
                  </a:lnTo>
                  <a:lnTo>
                    <a:pt x="176" y="358"/>
                  </a:lnTo>
                  <a:lnTo>
                    <a:pt x="173" y="358"/>
                  </a:lnTo>
                  <a:lnTo>
                    <a:pt x="172" y="361"/>
                  </a:lnTo>
                  <a:lnTo>
                    <a:pt x="171" y="361"/>
                  </a:lnTo>
                  <a:lnTo>
                    <a:pt x="172" y="357"/>
                  </a:lnTo>
                  <a:lnTo>
                    <a:pt x="174" y="356"/>
                  </a:lnTo>
                  <a:lnTo>
                    <a:pt x="176" y="357"/>
                  </a:lnTo>
                  <a:lnTo>
                    <a:pt x="178" y="356"/>
                  </a:lnTo>
                  <a:lnTo>
                    <a:pt x="182" y="353"/>
                  </a:lnTo>
                  <a:lnTo>
                    <a:pt x="184" y="349"/>
                  </a:lnTo>
                  <a:lnTo>
                    <a:pt x="185" y="346"/>
                  </a:lnTo>
                  <a:lnTo>
                    <a:pt x="184" y="346"/>
                  </a:lnTo>
                  <a:lnTo>
                    <a:pt x="184" y="345"/>
                  </a:lnTo>
                  <a:lnTo>
                    <a:pt x="183" y="344"/>
                  </a:lnTo>
                  <a:lnTo>
                    <a:pt x="183" y="345"/>
                  </a:lnTo>
                  <a:lnTo>
                    <a:pt x="180" y="346"/>
                  </a:lnTo>
                  <a:lnTo>
                    <a:pt x="179" y="346"/>
                  </a:lnTo>
                  <a:lnTo>
                    <a:pt x="178" y="347"/>
                  </a:lnTo>
                  <a:lnTo>
                    <a:pt x="174" y="347"/>
                  </a:lnTo>
                  <a:lnTo>
                    <a:pt x="177" y="346"/>
                  </a:lnTo>
                  <a:lnTo>
                    <a:pt x="178" y="345"/>
                  </a:lnTo>
                  <a:lnTo>
                    <a:pt x="178" y="343"/>
                  </a:lnTo>
                  <a:lnTo>
                    <a:pt x="180" y="343"/>
                  </a:lnTo>
                  <a:lnTo>
                    <a:pt x="182" y="344"/>
                  </a:lnTo>
                  <a:lnTo>
                    <a:pt x="182" y="343"/>
                  </a:lnTo>
                  <a:lnTo>
                    <a:pt x="183" y="343"/>
                  </a:lnTo>
                  <a:lnTo>
                    <a:pt x="183" y="341"/>
                  </a:lnTo>
                  <a:lnTo>
                    <a:pt x="182" y="341"/>
                  </a:lnTo>
                  <a:lnTo>
                    <a:pt x="180" y="340"/>
                  </a:lnTo>
                  <a:lnTo>
                    <a:pt x="180" y="339"/>
                  </a:lnTo>
                  <a:lnTo>
                    <a:pt x="180" y="340"/>
                  </a:lnTo>
                  <a:lnTo>
                    <a:pt x="178" y="340"/>
                  </a:lnTo>
                  <a:lnTo>
                    <a:pt x="177" y="340"/>
                  </a:lnTo>
                  <a:lnTo>
                    <a:pt x="176" y="340"/>
                  </a:lnTo>
                  <a:lnTo>
                    <a:pt x="173" y="339"/>
                  </a:lnTo>
                  <a:lnTo>
                    <a:pt x="173" y="337"/>
                  </a:lnTo>
                  <a:lnTo>
                    <a:pt x="172" y="338"/>
                  </a:lnTo>
                  <a:lnTo>
                    <a:pt x="173" y="340"/>
                  </a:lnTo>
                  <a:lnTo>
                    <a:pt x="174" y="341"/>
                  </a:lnTo>
                  <a:lnTo>
                    <a:pt x="173" y="341"/>
                  </a:lnTo>
                  <a:lnTo>
                    <a:pt x="173" y="344"/>
                  </a:lnTo>
                  <a:lnTo>
                    <a:pt x="173" y="346"/>
                  </a:lnTo>
                  <a:lnTo>
                    <a:pt x="172" y="345"/>
                  </a:lnTo>
                  <a:lnTo>
                    <a:pt x="172" y="346"/>
                  </a:lnTo>
                  <a:lnTo>
                    <a:pt x="172" y="349"/>
                  </a:lnTo>
                  <a:lnTo>
                    <a:pt x="171" y="346"/>
                  </a:lnTo>
                  <a:lnTo>
                    <a:pt x="170" y="346"/>
                  </a:lnTo>
                  <a:lnTo>
                    <a:pt x="168" y="345"/>
                  </a:lnTo>
                  <a:lnTo>
                    <a:pt x="168" y="347"/>
                  </a:lnTo>
                  <a:lnTo>
                    <a:pt x="168" y="350"/>
                  </a:lnTo>
                  <a:lnTo>
                    <a:pt x="167" y="347"/>
                  </a:lnTo>
                  <a:lnTo>
                    <a:pt x="166" y="347"/>
                  </a:lnTo>
                  <a:lnTo>
                    <a:pt x="165" y="349"/>
                  </a:lnTo>
                  <a:lnTo>
                    <a:pt x="165" y="346"/>
                  </a:lnTo>
                  <a:lnTo>
                    <a:pt x="165" y="344"/>
                  </a:lnTo>
                  <a:lnTo>
                    <a:pt x="166" y="341"/>
                  </a:lnTo>
                  <a:lnTo>
                    <a:pt x="166" y="340"/>
                  </a:lnTo>
                  <a:lnTo>
                    <a:pt x="165" y="339"/>
                  </a:lnTo>
                  <a:lnTo>
                    <a:pt x="164" y="340"/>
                  </a:lnTo>
                  <a:lnTo>
                    <a:pt x="162" y="339"/>
                  </a:lnTo>
                  <a:lnTo>
                    <a:pt x="161" y="339"/>
                  </a:lnTo>
                  <a:lnTo>
                    <a:pt x="161" y="340"/>
                  </a:lnTo>
                  <a:lnTo>
                    <a:pt x="162" y="341"/>
                  </a:lnTo>
                  <a:lnTo>
                    <a:pt x="162" y="344"/>
                  </a:lnTo>
                  <a:lnTo>
                    <a:pt x="161" y="345"/>
                  </a:lnTo>
                  <a:lnTo>
                    <a:pt x="160" y="343"/>
                  </a:lnTo>
                  <a:lnTo>
                    <a:pt x="159" y="341"/>
                  </a:lnTo>
                  <a:lnTo>
                    <a:pt x="157" y="341"/>
                  </a:lnTo>
                  <a:lnTo>
                    <a:pt x="157" y="344"/>
                  </a:lnTo>
                  <a:lnTo>
                    <a:pt x="159" y="345"/>
                  </a:lnTo>
                  <a:lnTo>
                    <a:pt x="160" y="347"/>
                  </a:lnTo>
                  <a:lnTo>
                    <a:pt x="160" y="351"/>
                  </a:lnTo>
                  <a:lnTo>
                    <a:pt x="159" y="349"/>
                  </a:lnTo>
                  <a:lnTo>
                    <a:pt x="157" y="346"/>
                  </a:lnTo>
                  <a:lnTo>
                    <a:pt x="156" y="346"/>
                  </a:lnTo>
                  <a:lnTo>
                    <a:pt x="155" y="347"/>
                  </a:lnTo>
                  <a:lnTo>
                    <a:pt x="155" y="346"/>
                  </a:lnTo>
                  <a:lnTo>
                    <a:pt x="154" y="347"/>
                  </a:lnTo>
                  <a:lnTo>
                    <a:pt x="153" y="350"/>
                  </a:lnTo>
                  <a:lnTo>
                    <a:pt x="154" y="351"/>
                  </a:lnTo>
                  <a:lnTo>
                    <a:pt x="155" y="351"/>
                  </a:lnTo>
                  <a:lnTo>
                    <a:pt x="156" y="351"/>
                  </a:lnTo>
                  <a:lnTo>
                    <a:pt x="157" y="352"/>
                  </a:lnTo>
                  <a:lnTo>
                    <a:pt x="156" y="352"/>
                  </a:lnTo>
                  <a:lnTo>
                    <a:pt x="155" y="352"/>
                  </a:lnTo>
                  <a:lnTo>
                    <a:pt x="154" y="352"/>
                  </a:lnTo>
                  <a:lnTo>
                    <a:pt x="154" y="353"/>
                  </a:lnTo>
                  <a:lnTo>
                    <a:pt x="154" y="355"/>
                  </a:lnTo>
                  <a:lnTo>
                    <a:pt x="154" y="356"/>
                  </a:lnTo>
                  <a:lnTo>
                    <a:pt x="153" y="356"/>
                  </a:lnTo>
                  <a:lnTo>
                    <a:pt x="153" y="355"/>
                  </a:lnTo>
                  <a:lnTo>
                    <a:pt x="153" y="352"/>
                  </a:lnTo>
                  <a:lnTo>
                    <a:pt x="153" y="351"/>
                  </a:lnTo>
                  <a:lnTo>
                    <a:pt x="151" y="352"/>
                  </a:lnTo>
                  <a:lnTo>
                    <a:pt x="151" y="355"/>
                  </a:lnTo>
                  <a:lnTo>
                    <a:pt x="151" y="352"/>
                  </a:lnTo>
                  <a:lnTo>
                    <a:pt x="150" y="353"/>
                  </a:lnTo>
                  <a:lnTo>
                    <a:pt x="149" y="352"/>
                  </a:lnTo>
                  <a:lnTo>
                    <a:pt x="149" y="351"/>
                  </a:lnTo>
                  <a:lnTo>
                    <a:pt x="149" y="350"/>
                  </a:lnTo>
                  <a:lnTo>
                    <a:pt x="149" y="351"/>
                  </a:lnTo>
                  <a:lnTo>
                    <a:pt x="148" y="351"/>
                  </a:lnTo>
                  <a:lnTo>
                    <a:pt x="148" y="352"/>
                  </a:lnTo>
                  <a:lnTo>
                    <a:pt x="148" y="355"/>
                  </a:lnTo>
                  <a:lnTo>
                    <a:pt x="145" y="357"/>
                  </a:lnTo>
                  <a:lnTo>
                    <a:pt x="147" y="355"/>
                  </a:lnTo>
                  <a:lnTo>
                    <a:pt x="148" y="352"/>
                  </a:lnTo>
                  <a:lnTo>
                    <a:pt x="147" y="351"/>
                  </a:lnTo>
                  <a:lnTo>
                    <a:pt x="145" y="352"/>
                  </a:lnTo>
                  <a:lnTo>
                    <a:pt x="144" y="352"/>
                  </a:lnTo>
                  <a:lnTo>
                    <a:pt x="142" y="352"/>
                  </a:lnTo>
                  <a:lnTo>
                    <a:pt x="142" y="353"/>
                  </a:lnTo>
                  <a:lnTo>
                    <a:pt x="144" y="356"/>
                  </a:lnTo>
                  <a:lnTo>
                    <a:pt x="143" y="357"/>
                  </a:lnTo>
                  <a:lnTo>
                    <a:pt x="142" y="358"/>
                  </a:lnTo>
                  <a:lnTo>
                    <a:pt x="141" y="357"/>
                  </a:lnTo>
                  <a:lnTo>
                    <a:pt x="141" y="358"/>
                  </a:lnTo>
                  <a:lnTo>
                    <a:pt x="139" y="360"/>
                  </a:lnTo>
                  <a:lnTo>
                    <a:pt x="139" y="361"/>
                  </a:lnTo>
                  <a:lnTo>
                    <a:pt x="138" y="361"/>
                  </a:lnTo>
                  <a:lnTo>
                    <a:pt x="137" y="358"/>
                  </a:lnTo>
                  <a:lnTo>
                    <a:pt x="135" y="358"/>
                  </a:lnTo>
                  <a:lnTo>
                    <a:pt x="136" y="356"/>
                  </a:lnTo>
                  <a:lnTo>
                    <a:pt x="136" y="353"/>
                  </a:lnTo>
                  <a:lnTo>
                    <a:pt x="137" y="353"/>
                  </a:lnTo>
                  <a:lnTo>
                    <a:pt x="136" y="352"/>
                  </a:lnTo>
                  <a:lnTo>
                    <a:pt x="135" y="352"/>
                  </a:lnTo>
                  <a:lnTo>
                    <a:pt x="136" y="351"/>
                  </a:lnTo>
                  <a:lnTo>
                    <a:pt x="137" y="350"/>
                  </a:lnTo>
                  <a:lnTo>
                    <a:pt x="137" y="349"/>
                  </a:lnTo>
                  <a:lnTo>
                    <a:pt x="136" y="349"/>
                  </a:lnTo>
                  <a:lnTo>
                    <a:pt x="136" y="350"/>
                  </a:lnTo>
                  <a:lnTo>
                    <a:pt x="135" y="351"/>
                  </a:lnTo>
                  <a:lnTo>
                    <a:pt x="133" y="352"/>
                  </a:lnTo>
                  <a:lnTo>
                    <a:pt x="132" y="351"/>
                  </a:lnTo>
                  <a:lnTo>
                    <a:pt x="131" y="350"/>
                  </a:lnTo>
                  <a:lnTo>
                    <a:pt x="132" y="349"/>
                  </a:lnTo>
                  <a:lnTo>
                    <a:pt x="132" y="346"/>
                  </a:lnTo>
                  <a:lnTo>
                    <a:pt x="131" y="347"/>
                  </a:lnTo>
                  <a:lnTo>
                    <a:pt x="130" y="346"/>
                  </a:lnTo>
                  <a:lnTo>
                    <a:pt x="130" y="345"/>
                  </a:lnTo>
                  <a:lnTo>
                    <a:pt x="130" y="346"/>
                  </a:lnTo>
                  <a:lnTo>
                    <a:pt x="129" y="346"/>
                  </a:lnTo>
                  <a:lnTo>
                    <a:pt x="127" y="346"/>
                  </a:lnTo>
                  <a:lnTo>
                    <a:pt x="129" y="347"/>
                  </a:lnTo>
                  <a:lnTo>
                    <a:pt x="130" y="347"/>
                  </a:lnTo>
                  <a:lnTo>
                    <a:pt x="131" y="349"/>
                  </a:lnTo>
                  <a:lnTo>
                    <a:pt x="130" y="349"/>
                  </a:lnTo>
                  <a:lnTo>
                    <a:pt x="129" y="350"/>
                  </a:lnTo>
                  <a:lnTo>
                    <a:pt x="129" y="351"/>
                  </a:lnTo>
                  <a:lnTo>
                    <a:pt x="127" y="349"/>
                  </a:lnTo>
                  <a:lnTo>
                    <a:pt x="126" y="349"/>
                  </a:lnTo>
                  <a:lnTo>
                    <a:pt x="127" y="347"/>
                  </a:lnTo>
                  <a:lnTo>
                    <a:pt x="126" y="347"/>
                  </a:lnTo>
                  <a:lnTo>
                    <a:pt x="125" y="349"/>
                  </a:lnTo>
                  <a:lnTo>
                    <a:pt x="125" y="347"/>
                  </a:lnTo>
                  <a:lnTo>
                    <a:pt x="125" y="346"/>
                  </a:lnTo>
                  <a:lnTo>
                    <a:pt x="127" y="345"/>
                  </a:lnTo>
                  <a:lnTo>
                    <a:pt x="126" y="345"/>
                  </a:lnTo>
                  <a:lnTo>
                    <a:pt x="127" y="344"/>
                  </a:lnTo>
                  <a:lnTo>
                    <a:pt x="129" y="344"/>
                  </a:lnTo>
                  <a:lnTo>
                    <a:pt x="129" y="343"/>
                  </a:lnTo>
                  <a:lnTo>
                    <a:pt x="131" y="343"/>
                  </a:lnTo>
                  <a:lnTo>
                    <a:pt x="132" y="341"/>
                  </a:lnTo>
                  <a:lnTo>
                    <a:pt x="132" y="340"/>
                  </a:lnTo>
                  <a:lnTo>
                    <a:pt x="132" y="341"/>
                  </a:lnTo>
                  <a:lnTo>
                    <a:pt x="131" y="341"/>
                  </a:lnTo>
                  <a:lnTo>
                    <a:pt x="130" y="341"/>
                  </a:lnTo>
                  <a:lnTo>
                    <a:pt x="129" y="341"/>
                  </a:lnTo>
                  <a:lnTo>
                    <a:pt x="130" y="340"/>
                  </a:lnTo>
                  <a:lnTo>
                    <a:pt x="131" y="339"/>
                  </a:lnTo>
                  <a:lnTo>
                    <a:pt x="130" y="338"/>
                  </a:lnTo>
                  <a:lnTo>
                    <a:pt x="127" y="340"/>
                  </a:lnTo>
                  <a:lnTo>
                    <a:pt x="127" y="339"/>
                  </a:lnTo>
                  <a:lnTo>
                    <a:pt x="129" y="338"/>
                  </a:lnTo>
                  <a:lnTo>
                    <a:pt x="129" y="337"/>
                  </a:lnTo>
                  <a:lnTo>
                    <a:pt x="127" y="338"/>
                  </a:lnTo>
                  <a:lnTo>
                    <a:pt x="126" y="339"/>
                  </a:lnTo>
                  <a:lnTo>
                    <a:pt x="124" y="339"/>
                  </a:lnTo>
                  <a:lnTo>
                    <a:pt x="124" y="338"/>
                  </a:lnTo>
                  <a:lnTo>
                    <a:pt x="123" y="338"/>
                  </a:lnTo>
                  <a:lnTo>
                    <a:pt x="123" y="340"/>
                  </a:lnTo>
                  <a:lnTo>
                    <a:pt x="121" y="338"/>
                  </a:lnTo>
                  <a:lnTo>
                    <a:pt x="120" y="338"/>
                  </a:lnTo>
                  <a:lnTo>
                    <a:pt x="119" y="339"/>
                  </a:lnTo>
                  <a:lnTo>
                    <a:pt x="118" y="338"/>
                  </a:lnTo>
                  <a:lnTo>
                    <a:pt x="117" y="337"/>
                  </a:lnTo>
                  <a:lnTo>
                    <a:pt x="117" y="335"/>
                  </a:lnTo>
                  <a:lnTo>
                    <a:pt x="118" y="334"/>
                  </a:lnTo>
                  <a:lnTo>
                    <a:pt x="117" y="334"/>
                  </a:lnTo>
                  <a:lnTo>
                    <a:pt x="115" y="335"/>
                  </a:lnTo>
                  <a:lnTo>
                    <a:pt x="114" y="337"/>
                  </a:lnTo>
                  <a:lnTo>
                    <a:pt x="114" y="339"/>
                  </a:lnTo>
                  <a:lnTo>
                    <a:pt x="115" y="340"/>
                  </a:lnTo>
                  <a:lnTo>
                    <a:pt x="117" y="341"/>
                  </a:lnTo>
                  <a:lnTo>
                    <a:pt x="118" y="343"/>
                  </a:lnTo>
                  <a:lnTo>
                    <a:pt x="119" y="343"/>
                  </a:lnTo>
                  <a:lnTo>
                    <a:pt x="119" y="344"/>
                  </a:lnTo>
                  <a:lnTo>
                    <a:pt x="118" y="344"/>
                  </a:lnTo>
                  <a:lnTo>
                    <a:pt x="117" y="345"/>
                  </a:lnTo>
                  <a:lnTo>
                    <a:pt x="119" y="345"/>
                  </a:lnTo>
                  <a:lnTo>
                    <a:pt x="121" y="347"/>
                  </a:lnTo>
                  <a:lnTo>
                    <a:pt x="119" y="347"/>
                  </a:lnTo>
                  <a:lnTo>
                    <a:pt x="118" y="346"/>
                  </a:lnTo>
                  <a:lnTo>
                    <a:pt x="118" y="347"/>
                  </a:lnTo>
                  <a:lnTo>
                    <a:pt x="117" y="347"/>
                  </a:lnTo>
                  <a:lnTo>
                    <a:pt x="113" y="346"/>
                  </a:lnTo>
                  <a:lnTo>
                    <a:pt x="112" y="347"/>
                  </a:lnTo>
                  <a:lnTo>
                    <a:pt x="112" y="350"/>
                  </a:lnTo>
                  <a:lnTo>
                    <a:pt x="111" y="349"/>
                  </a:lnTo>
                  <a:lnTo>
                    <a:pt x="109" y="346"/>
                  </a:lnTo>
                  <a:lnTo>
                    <a:pt x="109" y="345"/>
                  </a:lnTo>
                  <a:lnTo>
                    <a:pt x="108" y="346"/>
                  </a:lnTo>
                  <a:lnTo>
                    <a:pt x="108" y="347"/>
                  </a:lnTo>
                  <a:lnTo>
                    <a:pt x="109" y="349"/>
                  </a:lnTo>
                  <a:lnTo>
                    <a:pt x="107" y="347"/>
                  </a:lnTo>
                  <a:lnTo>
                    <a:pt x="106" y="347"/>
                  </a:lnTo>
                  <a:lnTo>
                    <a:pt x="107" y="349"/>
                  </a:lnTo>
                  <a:lnTo>
                    <a:pt x="107" y="350"/>
                  </a:lnTo>
                  <a:lnTo>
                    <a:pt x="107" y="351"/>
                  </a:lnTo>
                  <a:lnTo>
                    <a:pt x="108" y="352"/>
                  </a:lnTo>
                  <a:lnTo>
                    <a:pt x="109" y="352"/>
                  </a:lnTo>
                  <a:lnTo>
                    <a:pt x="109" y="355"/>
                  </a:lnTo>
                  <a:lnTo>
                    <a:pt x="109" y="356"/>
                  </a:lnTo>
                  <a:lnTo>
                    <a:pt x="111" y="355"/>
                  </a:lnTo>
                  <a:lnTo>
                    <a:pt x="111" y="352"/>
                  </a:lnTo>
                  <a:lnTo>
                    <a:pt x="112" y="352"/>
                  </a:lnTo>
                  <a:lnTo>
                    <a:pt x="112" y="355"/>
                  </a:lnTo>
                  <a:lnTo>
                    <a:pt x="113" y="357"/>
                  </a:lnTo>
                  <a:lnTo>
                    <a:pt x="112" y="360"/>
                  </a:lnTo>
                  <a:lnTo>
                    <a:pt x="111" y="357"/>
                  </a:lnTo>
                  <a:lnTo>
                    <a:pt x="111" y="356"/>
                  </a:lnTo>
                  <a:lnTo>
                    <a:pt x="111" y="358"/>
                  </a:lnTo>
                  <a:lnTo>
                    <a:pt x="109" y="360"/>
                  </a:lnTo>
                  <a:lnTo>
                    <a:pt x="108" y="358"/>
                  </a:lnTo>
                  <a:lnTo>
                    <a:pt x="107" y="357"/>
                  </a:lnTo>
                  <a:lnTo>
                    <a:pt x="108" y="357"/>
                  </a:lnTo>
                  <a:lnTo>
                    <a:pt x="109" y="356"/>
                  </a:lnTo>
                  <a:lnTo>
                    <a:pt x="107" y="356"/>
                  </a:lnTo>
                  <a:lnTo>
                    <a:pt x="106" y="355"/>
                  </a:lnTo>
                  <a:lnTo>
                    <a:pt x="105" y="353"/>
                  </a:lnTo>
                  <a:lnTo>
                    <a:pt x="102" y="355"/>
                  </a:lnTo>
                  <a:lnTo>
                    <a:pt x="103" y="353"/>
                  </a:lnTo>
                  <a:lnTo>
                    <a:pt x="105" y="352"/>
                  </a:lnTo>
                  <a:lnTo>
                    <a:pt x="106" y="351"/>
                  </a:lnTo>
                  <a:lnTo>
                    <a:pt x="105" y="351"/>
                  </a:lnTo>
                  <a:lnTo>
                    <a:pt x="105" y="350"/>
                  </a:lnTo>
                  <a:lnTo>
                    <a:pt x="105" y="349"/>
                  </a:lnTo>
                  <a:lnTo>
                    <a:pt x="105" y="347"/>
                  </a:lnTo>
                  <a:lnTo>
                    <a:pt x="103" y="346"/>
                  </a:lnTo>
                  <a:lnTo>
                    <a:pt x="103" y="347"/>
                  </a:lnTo>
                  <a:lnTo>
                    <a:pt x="102" y="349"/>
                  </a:lnTo>
                  <a:lnTo>
                    <a:pt x="102" y="350"/>
                  </a:lnTo>
                  <a:lnTo>
                    <a:pt x="102" y="351"/>
                  </a:lnTo>
                  <a:lnTo>
                    <a:pt x="100" y="350"/>
                  </a:lnTo>
                  <a:lnTo>
                    <a:pt x="100" y="347"/>
                  </a:lnTo>
                  <a:lnTo>
                    <a:pt x="98" y="346"/>
                  </a:lnTo>
                  <a:lnTo>
                    <a:pt x="98" y="345"/>
                  </a:lnTo>
                  <a:lnTo>
                    <a:pt x="100" y="344"/>
                  </a:lnTo>
                  <a:lnTo>
                    <a:pt x="98" y="343"/>
                  </a:lnTo>
                  <a:lnTo>
                    <a:pt x="98" y="344"/>
                  </a:lnTo>
                  <a:lnTo>
                    <a:pt x="98" y="343"/>
                  </a:lnTo>
                  <a:lnTo>
                    <a:pt x="97" y="343"/>
                  </a:lnTo>
                  <a:lnTo>
                    <a:pt x="96" y="341"/>
                  </a:lnTo>
                  <a:lnTo>
                    <a:pt x="95" y="341"/>
                  </a:lnTo>
                  <a:lnTo>
                    <a:pt x="95" y="339"/>
                  </a:lnTo>
                  <a:lnTo>
                    <a:pt x="95" y="341"/>
                  </a:lnTo>
                  <a:lnTo>
                    <a:pt x="95" y="343"/>
                  </a:lnTo>
                  <a:lnTo>
                    <a:pt x="97" y="343"/>
                  </a:lnTo>
                  <a:lnTo>
                    <a:pt x="96" y="344"/>
                  </a:lnTo>
                  <a:lnTo>
                    <a:pt x="96" y="345"/>
                  </a:lnTo>
                  <a:lnTo>
                    <a:pt x="95" y="345"/>
                  </a:lnTo>
                  <a:lnTo>
                    <a:pt x="95" y="347"/>
                  </a:lnTo>
                  <a:lnTo>
                    <a:pt x="96" y="346"/>
                  </a:lnTo>
                  <a:lnTo>
                    <a:pt x="97" y="346"/>
                  </a:lnTo>
                  <a:lnTo>
                    <a:pt x="97" y="349"/>
                  </a:lnTo>
                  <a:lnTo>
                    <a:pt x="97" y="350"/>
                  </a:lnTo>
                  <a:lnTo>
                    <a:pt x="96" y="350"/>
                  </a:lnTo>
                  <a:lnTo>
                    <a:pt x="95" y="351"/>
                  </a:lnTo>
                  <a:lnTo>
                    <a:pt x="94" y="351"/>
                  </a:lnTo>
                  <a:lnTo>
                    <a:pt x="94" y="349"/>
                  </a:lnTo>
                  <a:lnTo>
                    <a:pt x="92" y="347"/>
                  </a:lnTo>
                  <a:lnTo>
                    <a:pt x="92" y="350"/>
                  </a:lnTo>
                  <a:lnTo>
                    <a:pt x="92" y="352"/>
                  </a:lnTo>
                  <a:lnTo>
                    <a:pt x="92" y="350"/>
                  </a:lnTo>
                  <a:lnTo>
                    <a:pt x="91" y="351"/>
                  </a:lnTo>
                  <a:lnTo>
                    <a:pt x="90" y="352"/>
                  </a:lnTo>
                  <a:lnTo>
                    <a:pt x="90" y="350"/>
                  </a:lnTo>
                  <a:lnTo>
                    <a:pt x="89" y="349"/>
                  </a:lnTo>
                  <a:lnTo>
                    <a:pt x="89" y="350"/>
                  </a:lnTo>
                  <a:lnTo>
                    <a:pt x="89" y="351"/>
                  </a:lnTo>
                  <a:lnTo>
                    <a:pt x="88" y="353"/>
                  </a:lnTo>
                  <a:lnTo>
                    <a:pt x="86" y="355"/>
                  </a:lnTo>
                  <a:lnTo>
                    <a:pt x="86" y="352"/>
                  </a:lnTo>
                  <a:lnTo>
                    <a:pt x="85" y="352"/>
                  </a:lnTo>
                  <a:lnTo>
                    <a:pt x="84" y="353"/>
                  </a:lnTo>
                  <a:lnTo>
                    <a:pt x="85" y="356"/>
                  </a:lnTo>
                  <a:lnTo>
                    <a:pt x="88" y="356"/>
                  </a:lnTo>
                  <a:lnTo>
                    <a:pt x="88" y="357"/>
                  </a:lnTo>
                  <a:lnTo>
                    <a:pt x="89" y="357"/>
                  </a:lnTo>
                  <a:lnTo>
                    <a:pt x="89" y="355"/>
                  </a:lnTo>
                  <a:lnTo>
                    <a:pt x="90" y="352"/>
                  </a:lnTo>
                  <a:lnTo>
                    <a:pt x="90" y="353"/>
                  </a:lnTo>
                  <a:lnTo>
                    <a:pt x="92" y="355"/>
                  </a:lnTo>
                  <a:lnTo>
                    <a:pt x="91" y="356"/>
                  </a:lnTo>
                  <a:lnTo>
                    <a:pt x="90" y="357"/>
                  </a:lnTo>
                  <a:lnTo>
                    <a:pt x="91" y="358"/>
                  </a:lnTo>
                  <a:lnTo>
                    <a:pt x="90" y="358"/>
                  </a:lnTo>
                  <a:lnTo>
                    <a:pt x="89" y="357"/>
                  </a:lnTo>
                  <a:lnTo>
                    <a:pt x="86" y="357"/>
                  </a:lnTo>
                  <a:lnTo>
                    <a:pt x="88" y="358"/>
                  </a:lnTo>
                  <a:lnTo>
                    <a:pt x="86" y="360"/>
                  </a:lnTo>
                  <a:lnTo>
                    <a:pt x="86" y="361"/>
                  </a:lnTo>
                  <a:lnTo>
                    <a:pt x="85" y="360"/>
                  </a:lnTo>
                  <a:lnTo>
                    <a:pt x="84" y="357"/>
                  </a:lnTo>
                  <a:lnTo>
                    <a:pt x="83" y="357"/>
                  </a:lnTo>
                  <a:lnTo>
                    <a:pt x="82" y="358"/>
                  </a:lnTo>
                  <a:lnTo>
                    <a:pt x="82" y="356"/>
                  </a:lnTo>
                  <a:lnTo>
                    <a:pt x="80" y="358"/>
                  </a:lnTo>
                  <a:lnTo>
                    <a:pt x="80" y="360"/>
                  </a:lnTo>
                  <a:lnTo>
                    <a:pt x="79" y="358"/>
                  </a:lnTo>
                  <a:lnTo>
                    <a:pt x="77" y="361"/>
                  </a:lnTo>
                  <a:lnTo>
                    <a:pt x="77" y="362"/>
                  </a:lnTo>
                  <a:lnTo>
                    <a:pt x="76" y="361"/>
                  </a:lnTo>
                  <a:lnTo>
                    <a:pt x="74" y="360"/>
                  </a:lnTo>
                  <a:lnTo>
                    <a:pt x="72" y="362"/>
                  </a:lnTo>
                  <a:lnTo>
                    <a:pt x="72" y="363"/>
                  </a:lnTo>
                  <a:lnTo>
                    <a:pt x="71" y="361"/>
                  </a:lnTo>
                  <a:lnTo>
                    <a:pt x="70" y="360"/>
                  </a:lnTo>
                  <a:lnTo>
                    <a:pt x="70" y="358"/>
                  </a:lnTo>
                  <a:lnTo>
                    <a:pt x="68" y="360"/>
                  </a:lnTo>
                  <a:lnTo>
                    <a:pt x="68" y="357"/>
                  </a:lnTo>
                  <a:lnTo>
                    <a:pt x="71" y="355"/>
                  </a:lnTo>
                  <a:lnTo>
                    <a:pt x="72" y="355"/>
                  </a:lnTo>
                  <a:lnTo>
                    <a:pt x="74" y="355"/>
                  </a:lnTo>
                  <a:lnTo>
                    <a:pt x="74" y="353"/>
                  </a:lnTo>
                  <a:lnTo>
                    <a:pt x="73" y="353"/>
                  </a:lnTo>
                  <a:lnTo>
                    <a:pt x="71" y="353"/>
                  </a:lnTo>
                  <a:lnTo>
                    <a:pt x="68" y="352"/>
                  </a:lnTo>
                  <a:lnTo>
                    <a:pt x="67" y="353"/>
                  </a:lnTo>
                  <a:lnTo>
                    <a:pt x="65" y="355"/>
                  </a:lnTo>
                  <a:lnTo>
                    <a:pt x="64" y="357"/>
                  </a:lnTo>
                  <a:lnTo>
                    <a:pt x="62" y="355"/>
                  </a:lnTo>
                  <a:lnTo>
                    <a:pt x="64" y="353"/>
                  </a:lnTo>
                  <a:lnTo>
                    <a:pt x="65" y="351"/>
                  </a:lnTo>
                  <a:lnTo>
                    <a:pt x="67" y="351"/>
                  </a:lnTo>
                  <a:lnTo>
                    <a:pt x="68" y="351"/>
                  </a:lnTo>
                  <a:lnTo>
                    <a:pt x="70" y="350"/>
                  </a:lnTo>
                  <a:lnTo>
                    <a:pt x="67" y="349"/>
                  </a:lnTo>
                  <a:lnTo>
                    <a:pt x="65" y="350"/>
                  </a:lnTo>
                  <a:lnTo>
                    <a:pt x="64" y="350"/>
                  </a:lnTo>
                  <a:lnTo>
                    <a:pt x="62" y="351"/>
                  </a:lnTo>
                  <a:lnTo>
                    <a:pt x="61" y="351"/>
                  </a:lnTo>
                  <a:lnTo>
                    <a:pt x="62" y="350"/>
                  </a:lnTo>
                  <a:lnTo>
                    <a:pt x="61" y="351"/>
                  </a:lnTo>
                  <a:lnTo>
                    <a:pt x="60" y="351"/>
                  </a:lnTo>
                  <a:lnTo>
                    <a:pt x="60" y="350"/>
                  </a:lnTo>
                  <a:lnTo>
                    <a:pt x="62" y="347"/>
                  </a:lnTo>
                  <a:lnTo>
                    <a:pt x="66" y="347"/>
                  </a:lnTo>
                  <a:lnTo>
                    <a:pt x="67" y="349"/>
                  </a:lnTo>
                  <a:lnTo>
                    <a:pt x="70" y="350"/>
                  </a:lnTo>
                  <a:lnTo>
                    <a:pt x="71" y="350"/>
                  </a:lnTo>
                  <a:lnTo>
                    <a:pt x="73" y="349"/>
                  </a:lnTo>
                  <a:lnTo>
                    <a:pt x="76" y="347"/>
                  </a:lnTo>
                  <a:lnTo>
                    <a:pt x="77" y="347"/>
                  </a:lnTo>
                  <a:lnTo>
                    <a:pt x="76" y="347"/>
                  </a:lnTo>
                  <a:lnTo>
                    <a:pt x="74" y="346"/>
                  </a:lnTo>
                  <a:lnTo>
                    <a:pt x="72" y="347"/>
                  </a:lnTo>
                  <a:lnTo>
                    <a:pt x="71" y="349"/>
                  </a:lnTo>
                  <a:lnTo>
                    <a:pt x="68" y="347"/>
                  </a:lnTo>
                  <a:lnTo>
                    <a:pt x="68" y="346"/>
                  </a:lnTo>
                  <a:lnTo>
                    <a:pt x="67" y="346"/>
                  </a:lnTo>
                  <a:lnTo>
                    <a:pt x="68" y="345"/>
                  </a:lnTo>
                  <a:lnTo>
                    <a:pt x="67" y="345"/>
                  </a:lnTo>
                  <a:lnTo>
                    <a:pt x="65" y="346"/>
                  </a:lnTo>
                  <a:lnTo>
                    <a:pt x="62" y="345"/>
                  </a:lnTo>
                  <a:lnTo>
                    <a:pt x="60" y="346"/>
                  </a:lnTo>
                  <a:lnTo>
                    <a:pt x="60" y="345"/>
                  </a:lnTo>
                  <a:lnTo>
                    <a:pt x="61" y="344"/>
                  </a:lnTo>
                  <a:lnTo>
                    <a:pt x="60" y="343"/>
                  </a:lnTo>
                  <a:lnTo>
                    <a:pt x="59" y="343"/>
                  </a:lnTo>
                  <a:lnTo>
                    <a:pt x="59" y="340"/>
                  </a:lnTo>
                  <a:lnTo>
                    <a:pt x="58" y="340"/>
                  </a:lnTo>
                  <a:lnTo>
                    <a:pt x="56" y="340"/>
                  </a:lnTo>
                  <a:lnTo>
                    <a:pt x="55" y="341"/>
                  </a:lnTo>
                  <a:lnTo>
                    <a:pt x="55" y="340"/>
                  </a:lnTo>
                  <a:lnTo>
                    <a:pt x="54" y="341"/>
                  </a:lnTo>
                  <a:lnTo>
                    <a:pt x="52" y="344"/>
                  </a:lnTo>
                  <a:lnTo>
                    <a:pt x="50" y="347"/>
                  </a:lnTo>
                  <a:lnTo>
                    <a:pt x="49" y="350"/>
                  </a:lnTo>
                  <a:lnTo>
                    <a:pt x="48" y="346"/>
                  </a:lnTo>
                  <a:lnTo>
                    <a:pt x="47" y="346"/>
                  </a:lnTo>
                  <a:lnTo>
                    <a:pt x="46" y="346"/>
                  </a:lnTo>
                  <a:lnTo>
                    <a:pt x="47" y="347"/>
                  </a:lnTo>
                  <a:lnTo>
                    <a:pt x="46" y="349"/>
                  </a:lnTo>
                  <a:lnTo>
                    <a:pt x="46" y="350"/>
                  </a:lnTo>
                  <a:lnTo>
                    <a:pt x="44" y="351"/>
                  </a:lnTo>
                  <a:lnTo>
                    <a:pt x="47" y="350"/>
                  </a:lnTo>
                  <a:lnTo>
                    <a:pt x="48" y="352"/>
                  </a:lnTo>
                  <a:lnTo>
                    <a:pt x="47" y="355"/>
                  </a:lnTo>
                  <a:lnTo>
                    <a:pt x="46" y="353"/>
                  </a:lnTo>
                  <a:lnTo>
                    <a:pt x="43" y="353"/>
                  </a:lnTo>
                  <a:lnTo>
                    <a:pt x="43" y="352"/>
                  </a:lnTo>
                  <a:lnTo>
                    <a:pt x="42" y="352"/>
                  </a:lnTo>
                  <a:lnTo>
                    <a:pt x="42" y="355"/>
                  </a:lnTo>
                  <a:lnTo>
                    <a:pt x="41" y="353"/>
                  </a:lnTo>
                  <a:lnTo>
                    <a:pt x="41" y="352"/>
                  </a:lnTo>
                  <a:lnTo>
                    <a:pt x="39" y="353"/>
                  </a:lnTo>
                  <a:lnTo>
                    <a:pt x="39" y="355"/>
                  </a:lnTo>
                  <a:lnTo>
                    <a:pt x="37" y="355"/>
                  </a:lnTo>
                  <a:lnTo>
                    <a:pt x="36" y="355"/>
                  </a:lnTo>
                  <a:lnTo>
                    <a:pt x="35" y="357"/>
                  </a:lnTo>
                  <a:lnTo>
                    <a:pt x="33" y="358"/>
                  </a:lnTo>
                  <a:lnTo>
                    <a:pt x="32" y="357"/>
                  </a:lnTo>
                  <a:lnTo>
                    <a:pt x="31" y="357"/>
                  </a:lnTo>
                  <a:lnTo>
                    <a:pt x="30" y="356"/>
                  </a:lnTo>
                  <a:lnTo>
                    <a:pt x="26" y="357"/>
                  </a:lnTo>
                  <a:lnTo>
                    <a:pt x="25" y="358"/>
                  </a:lnTo>
                  <a:lnTo>
                    <a:pt x="24" y="360"/>
                  </a:lnTo>
                  <a:lnTo>
                    <a:pt x="23" y="361"/>
                  </a:lnTo>
                  <a:lnTo>
                    <a:pt x="23" y="363"/>
                  </a:lnTo>
                  <a:lnTo>
                    <a:pt x="21" y="362"/>
                  </a:lnTo>
                  <a:lnTo>
                    <a:pt x="21" y="361"/>
                  </a:lnTo>
                  <a:lnTo>
                    <a:pt x="21" y="360"/>
                  </a:lnTo>
                  <a:lnTo>
                    <a:pt x="19" y="361"/>
                  </a:lnTo>
                  <a:lnTo>
                    <a:pt x="19" y="360"/>
                  </a:lnTo>
                  <a:lnTo>
                    <a:pt x="20" y="358"/>
                  </a:lnTo>
                  <a:lnTo>
                    <a:pt x="19" y="360"/>
                  </a:lnTo>
                  <a:lnTo>
                    <a:pt x="19" y="357"/>
                  </a:lnTo>
                  <a:lnTo>
                    <a:pt x="18" y="358"/>
                  </a:lnTo>
                  <a:lnTo>
                    <a:pt x="15" y="358"/>
                  </a:lnTo>
                  <a:lnTo>
                    <a:pt x="13" y="360"/>
                  </a:lnTo>
                  <a:lnTo>
                    <a:pt x="13" y="358"/>
                  </a:lnTo>
                  <a:lnTo>
                    <a:pt x="12" y="360"/>
                  </a:lnTo>
                  <a:lnTo>
                    <a:pt x="9" y="361"/>
                  </a:lnTo>
                  <a:lnTo>
                    <a:pt x="12" y="358"/>
                  </a:lnTo>
                  <a:lnTo>
                    <a:pt x="12" y="357"/>
                  </a:lnTo>
                  <a:lnTo>
                    <a:pt x="11" y="358"/>
                  </a:lnTo>
                  <a:lnTo>
                    <a:pt x="12" y="355"/>
                  </a:lnTo>
                  <a:lnTo>
                    <a:pt x="14" y="352"/>
                  </a:lnTo>
                  <a:lnTo>
                    <a:pt x="15" y="351"/>
                  </a:lnTo>
                  <a:lnTo>
                    <a:pt x="14" y="351"/>
                  </a:lnTo>
                  <a:lnTo>
                    <a:pt x="12" y="353"/>
                  </a:lnTo>
                  <a:lnTo>
                    <a:pt x="9" y="356"/>
                  </a:lnTo>
                  <a:lnTo>
                    <a:pt x="12" y="351"/>
                  </a:lnTo>
                  <a:lnTo>
                    <a:pt x="12" y="350"/>
                  </a:lnTo>
                  <a:lnTo>
                    <a:pt x="11" y="349"/>
                  </a:lnTo>
                  <a:lnTo>
                    <a:pt x="13" y="346"/>
                  </a:lnTo>
                  <a:lnTo>
                    <a:pt x="12" y="345"/>
                  </a:lnTo>
                  <a:lnTo>
                    <a:pt x="11" y="347"/>
                  </a:lnTo>
                  <a:lnTo>
                    <a:pt x="8" y="349"/>
                  </a:lnTo>
                  <a:lnTo>
                    <a:pt x="8" y="346"/>
                  </a:lnTo>
                  <a:lnTo>
                    <a:pt x="7" y="344"/>
                  </a:lnTo>
                  <a:lnTo>
                    <a:pt x="9" y="341"/>
                  </a:lnTo>
                  <a:lnTo>
                    <a:pt x="11" y="341"/>
                  </a:lnTo>
                  <a:lnTo>
                    <a:pt x="13" y="341"/>
                  </a:lnTo>
                  <a:lnTo>
                    <a:pt x="15" y="340"/>
                  </a:lnTo>
                  <a:lnTo>
                    <a:pt x="17" y="339"/>
                  </a:lnTo>
                  <a:lnTo>
                    <a:pt x="18" y="338"/>
                  </a:lnTo>
                  <a:lnTo>
                    <a:pt x="18" y="339"/>
                  </a:lnTo>
                  <a:lnTo>
                    <a:pt x="19" y="341"/>
                  </a:lnTo>
                  <a:lnTo>
                    <a:pt x="20" y="340"/>
                  </a:lnTo>
                  <a:lnTo>
                    <a:pt x="21" y="340"/>
                  </a:lnTo>
                  <a:lnTo>
                    <a:pt x="23" y="339"/>
                  </a:lnTo>
                  <a:lnTo>
                    <a:pt x="26" y="338"/>
                  </a:lnTo>
                  <a:lnTo>
                    <a:pt x="29" y="338"/>
                  </a:lnTo>
                  <a:lnTo>
                    <a:pt x="27" y="339"/>
                  </a:lnTo>
                  <a:lnTo>
                    <a:pt x="26" y="339"/>
                  </a:lnTo>
                  <a:lnTo>
                    <a:pt x="24" y="340"/>
                  </a:lnTo>
                  <a:lnTo>
                    <a:pt x="24" y="341"/>
                  </a:lnTo>
                  <a:lnTo>
                    <a:pt x="24" y="343"/>
                  </a:lnTo>
                  <a:lnTo>
                    <a:pt x="26" y="341"/>
                  </a:lnTo>
                  <a:lnTo>
                    <a:pt x="27" y="341"/>
                  </a:lnTo>
                  <a:lnTo>
                    <a:pt x="27" y="340"/>
                  </a:lnTo>
                  <a:lnTo>
                    <a:pt x="29" y="339"/>
                  </a:lnTo>
                  <a:lnTo>
                    <a:pt x="31" y="339"/>
                  </a:lnTo>
                  <a:lnTo>
                    <a:pt x="32" y="338"/>
                  </a:lnTo>
                  <a:lnTo>
                    <a:pt x="31" y="338"/>
                  </a:lnTo>
                  <a:lnTo>
                    <a:pt x="30" y="339"/>
                  </a:lnTo>
                  <a:lnTo>
                    <a:pt x="30" y="338"/>
                  </a:lnTo>
                  <a:lnTo>
                    <a:pt x="31" y="334"/>
                  </a:lnTo>
                  <a:lnTo>
                    <a:pt x="33" y="333"/>
                  </a:lnTo>
                  <a:lnTo>
                    <a:pt x="33" y="332"/>
                  </a:lnTo>
                  <a:lnTo>
                    <a:pt x="35" y="331"/>
                  </a:lnTo>
                  <a:lnTo>
                    <a:pt x="32" y="332"/>
                  </a:lnTo>
                  <a:lnTo>
                    <a:pt x="31" y="333"/>
                  </a:lnTo>
                  <a:lnTo>
                    <a:pt x="32" y="332"/>
                  </a:lnTo>
                  <a:lnTo>
                    <a:pt x="31" y="332"/>
                  </a:lnTo>
                  <a:lnTo>
                    <a:pt x="27" y="334"/>
                  </a:lnTo>
                  <a:lnTo>
                    <a:pt x="30" y="329"/>
                  </a:lnTo>
                  <a:lnTo>
                    <a:pt x="31" y="328"/>
                  </a:lnTo>
                  <a:lnTo>
                    <a:pt x="33" y="327"/>
                  </a:lnTo>
                  <a:lnTo>
                    <a:pt x="33" y="325"/>
                  </a:lnTo>
                  <a:lnTo>
                    <a:pt x="33" y="323"/>
                  </a:lnTo>
                  <a:lnTo>
                    <a:pt x="32" y="323"/>
                  </a:lnTo>
                  <a:lnTo>
                    <a:pt x="29" y="323"/>
                  </a:lnTo>
                  <a:lnTo>
                    <a:pt x="31" y="321"/>
                  </a:lnTo>
                  <a:lnTo>
                    <a:pt x="33" y="320"/>
                  </a:lnTo>
                  <a:lnTo>
                    <a:pt x="36" y="320"/>
                  </a:lnTo>
                  <a:lnTo>
                    <a:pt x="37" y="321"/>
                  </a:lnTo>
                  <a:lnTo>
                    <a:pt x="39" y="321"/>
                  </a:lnTo>
                  <a:lnTo>
                    <a:pt x="41" y="321"/>
                  </a:lnTo>
                  <a:lnTo>
                    <a:pt x="43" y="321"/>
                  </a:lnTo>
                  <a:lnTo>
                    <a:pt x="42" y="321"/>
                  </a:lnTo>
                  <a:lnTo>
                    <a:pt x="39" y="320"/>
                  </a:lnTo>
                  <a:lnTo>
                    <a:pt x="38" y="319"/>
                  </a:lnTo>
                  <a:lnTo>
                    <a:pt x="39" y="319"/>
                  </a:lnTo>
                  <a:lnTo>
                    <a:pt x="41" y="317"/>
                  </a:lnTo>
                  <a:lnTo>
                    <a:pt x="39" y="316"/>
                  </a:lnTo>
                  <a:lnTo>
                    <a:pt x="38" y="317"/>
                  </a:lnTo>
                  <a:lnTo>
                    <a:pt x="38" y="316"/>
                  </a:lnTo>
                  <a:lnTo>
                    <a:pt x="37" y="315"/>
                  </a:lnTo>
                  <a:lnTo>
                    <a:pt x="38" y="314"/>
                  </a:lnTo>
                  <a:lnTo>
                    <a:pt x="37" y="314"/>
                  </a:lnTo>
                  <a:lnTo>
                    <a:pt x="37" y="313"/>
                  </a:lnTo>
                  <a:lnTo>
                    <a:pt x="36" y="314"/>
                  </a:lnTo>
                  <a:lnTo>
                    <a:pt x="35" y="315"/>
                  </a:lnTo>
                  <a:lnTo>
                    <a:pt x="35" y="316"/>
                  </a:lnTo>
                  <a:lnTo>
                    <a:pt x="35" y="314"/>
                  </a:lnTo>
                  <a:lnTo>
                    <a:pt x="35" y="313"/>
                  </a:lnTo>
                  <a:lnTo>
                    <a:pt x="33" y="314"/>
                  </a:lnTo>
                  <a:lnTo>
                    <a:pt x="35" y="311"/>
                  </a:lnTo>
                  <a:lnTo>
                    <a:pt x="36" y="310"/>
                  </a:lnTo>
                  <a:lnTo>
                    <a:pt x="37" y="309"/>
                  </a:lnTo>
                  <a:lnTo>
                    <a:pt x="39" y="307"/>
                  </a:lnTo>
                  <a:lnTo>
                    <a:pt x="41" y="304"/>
                  </a:lnTo>
                  <a:lnTo>
                    <a:pt x="39" y="304"/>
                  </a:lnTo>
                  <a:lnTo>
                    <a:pt x="38" y="305"/>
                  </a:lnTo>
                  <a:lnTo>
                    <a:pt x="38" y="304"/>
                  </a:lnTo>
                  <a:lnTo>
                    <a:pt x="38" y="305"/>
                  </a:lnTo>
                  <a:lnTo>
                    <a:pt x="37" y="307"/>
                  </a:lnTo>
                  <a:lnTo>
                    <a:pt x="37" y="305"/>
                  </a:lnTo>
                  <a:lnTo>
                    <a:pt x="37" y="307"/>
                  </a:lnTo>
                  <a:lnTo>
                    <a:pt x="36" y="307"/>
                  </a:lnTo>
                  <a:lnTo>
                    <a:pt x="35" y="307"/>
                  </a:lnTo>
                  <a:lnTo>
                    <a:pt x="33" y="309"/>
                  </a:lnTo>
                  <a:lnTo>
                    <a:pt x="33" y="307"/>
                  </a:lnTo>
                  <a:lnTo>
                    <a:pt x="35" y="304"/>
                  </a:lnTo>
                  <a:lnTo>
                    <a:pt x="33" y="304"/>
                  </a:lnTo>
                  <a:lnTo>
                    <a:pt x="32" y="303"/>
                  </a:lnTo>
                  <a:lnTo>
                    <a:pt x="31" y="302"/>
                  </a:lnTo>
                  <a:lnTo>
                    <a:pt x="32" y="301"/>
                  </a:lnTo>
                  <a:lnTo>
                    <a:pt x="31" y="299"/>
                  </a:lnTo>
                  <a:lnTo>
                    <a:pt x="30" y="298"/>
                  </a:lnTo>
                  <a:lnTo>
                    <a:pt x="26" y="301"/>
                  </a:lnTo>
                  <a:lnTo>
                    <a:pt x="25" y="305"/>
                  </a:lnTo>
                  <a:lnTo>
                    <a:pt x="23" y="309"/>
                  </a:lnTo>
                  <a:lnTo>
                    <a:pt x="21" y="311"/>
                  </a:lnTo>
                  <a:lnTo>
                    <a:pt x="24" y="307"/>
                  </a:lnTo>
                  <a:lnTo>
                    <a:pt x="25" y="304"/>
                  </a:lnTo>
                  <a:lnTo>
                    <a:pt x="23" y="305"/>
                  </a:lnTo>
                  <a:lnTo>
                    <a:pt x="20" y="305"/>
                  </a:lnTo>
                  <a:lnTo>
                    <a:pt x="23" y="304"/>
                  </a:lnTo>
                  <a:lnTo>
                    <a:pt x="25" y="302"/>
                  </a:lnTo>
                  <a:lnTo>
                    <a:pt x="25" y="301"/>
                  </a:lnTo>
                  <a:lnTo>
                    <a:pt x="20" y="303"/>
                  </a:lnTo>
                  <a:lnTo>
                    <a:pt x="17" y="307"/>
                  </a:lnTo>
                  <a:lnTo>
                    <a:pt x="19" y="303"/>
                  </a:lnTo>
                  <a:lnTo>
                    <a:pt x="17" y="304"/>
                  </a:lnTo>
                  <a:lnTo>
                    <a:pt x="15" y="304"/>
                  </a:lnTo>
                  <a:lnTo>
                    <a:pt x="18" y="303"/>
                  </a:lnTo>
                  <a:lnTo>
                    <a:pt x="15" y="303"/>
                  </a:lnTo>
                  <a:lnTo>
                    <a:pt x="14" y="303"/>
                  </a:lnTo>
                  <a:lnTo>
                    <a:pt x="13" y="304"/>
                  </a:lnTo>
                  <a:lnTo>
                    <a:pt x="13" y="302"/>
                  </a:lnTo>
                  <a:lnTo>
                    <a:pt x="12" y="302"/>
                  </a:lnTo>
                  <a:lnTo>
                    <a:pt x="11" y="303"/>
                  </a:lnTo>
                  <a:lnTo>
                    <a:pt x="11" y="301"/>
                  </a:lnTo>
                  <a:lnTo>
                    <a:pt x="12" y="299"/>
                  </a:lnTo>
                  <a:lnTo>
                    <a:pt x="11" y="299"/>
                  </a:lnTo>
                  <a:lnTo>
                    <a:pt x="12" y="298"/>
                  </a:lnTo>
                  <a:lnTo>
                    <a:pt x="11" y="298"/>
                  </a:lnTo>
                  <a:lnTo>
                    <a:pt x="12" y="297"/>
                  </a:lnTo>
                  <a:lnTo>
                    <a:pt x="12" y="296"/>
                  </a:lnTo>
                  <a:lnTo>
                    <a:pt x="14" y="295"/>
                  </a:lnTo>
                  <a:lnTo>
                    <a:pt x="17" y="295"/>
                  </a:lnTo>
                  <a:lnTo>
                    <a:pt x="17" y="293"/>
                  </a:lnTo>
                  <a:lnTo>
                    <a:pt x="17" y="292"/>
                  </a:lnTo>
                  <a:lnTo>
                    <a:pt x="18" y="291"/>
                  </a:lnTo>
                  <a:lnTo>
                    <a:pt x="15" y="291"/>
                  </a:lnTo>
                  <a:lnTo>
                    <a:pt x="14" y="291"/>
                  </a:lnTo>
                  <a:lnTo>
                    <a:pt x="12" y="290"/>
                  </a:lnTo>
                  <a:lnTo>
                    <a:pt x="13" y="289"/>
                  </a:lnTo>
                  <a:lnTo>
                    <a:pt x="14" y="289"/>
                  </a:lnTo>
                  <a:lnTo>
                    <a:pt x="17" y="287"/>
                  </a:lnTo>
                  <a:lnTo>
                    <a:pt x="19" y="287"/>
                  </a:lnTo>
                  <a:lnTo>
                    <a:pt x="20" y="290"/>
                  </a:lnTo>
                  <a:lnTo>
                    <a:pt x="21" y="291"/>
                  </a:lnTo>
                  <a:lnTo>
                    <a:pt x="24" y="291"/>
                  </a:lnTo>
                  <a:lnTo>
                    <a:pt x="24" y="290"/>
                  </a:lnTo>
                  <a:lnTo>
                    <a:pt x="25" y="290"/>
                  </a:lnTo>
                  <a:lnTo>
                    <a:pt x="26" y="290"/>
                  </a:lnTo>
                  <a:lnTo>
                    <a:pt x="27" y="289"/>
                  </a:lnTo>
                  <a:lnTo>
                    <a:pt x="29" y="289"/>
                  </a:lnTo>
                  <a:lnTo>
                    <a:pt x="30" y="289"/>
                  </a:lnTo>
                  <a:lnTo>
                    <a:pt x="31" y="287"/>
                  </a:lnTo>
                  <a:lnTo>
                    <a:pt x="31" y="286"/>
                  </a:lnTo>
                  <a:lnTo>
                    <a:pt x="32" y="286"/>
                  </a:lnTo>
                  <a:lnTo>
                    <a:pt x="32" y="285"/>
                  </a:lnTo>
                  <a:lnTo>
                    <a:pt x="33" y="283"/>
                  </a:lnTo>
                  <a:lnTo>
                    <a:pt x="31" y="284"/>
                  </a:lnTo>
                  <a:lnTo>
                    <a:pt x="29" y="286"/>
                  </a:lnTo>
                  <a:lnTo>
                    <a:pt x="27" y="287"/>
                  </a:lnTo>
                  <a:lnTo>
                    <a:pt x="27" y="284"/>
                  </a:lnTo>
                  <a:lnTo>
                    <a:pt x="26" y="281"/>
                  </a:lnTo>
                  <a:lnTo>
                    <a:pt x="26" y="280"/>
                  </a:lnTo>
                  <a:lnTo>
                    <a:pt x="24" y="280"/>
                  </a:lnTo>
                  <a:lnTo>
                    <a:pt x="21" y="281"/>
                  </a:lnTo>
                  <a:lnTo>
                    <a:pt x="21" y="283"/>
                  </a:lnTo>
                  <a:lnTo>
                    <a:pt x="20" y="280"/>
                  </a:lnTo>
                  <a:lnTo>
                    <a:pt x="19" y="280"/>
                  </a:lnTo>
                  <a:lnTo>
                    <a:pt x="17" y="279"/>
                  </a:lnTo>
                  <a:lnTo>
                    <a:pt x="15" y="279"/>
                  </a:lnTo>
                  <a:lnTo>
                    <a:pt x="15" y="275"/>
                  </a:lnTo>
                  <a:lnTo>
                    <a:pt x="14" y="277"/>
                  </a:lnTo>
                  <a:lnTo>
                    <a:pt x="14" y="280"/>
                  </a:lnTo>
                  <a:lnTo>
                    <a:pt x="14" y="284"/>
                  </a:lnTo>
                  <a:lnTo>
                    <a:pt x="14" y="286"/>
                  </a:lnTo>
                  <a:lnTo>
                    <a:pt x="11" y="281"/>
                  </a:lnTo>
                  <a:lnTo>
                    <a:pt x="9" y="280"/>
                  </a:lnTo>
                  <a:lnTo>
                    <a:pt x="8" y="281"/>
                  </a:lnTo>
                  <a:lnTo>
                    <a:pt x="7" y="283"/>
                  </a:lnTo>
                  <a:lnTo>
                    <a:pt x="7" y="280"/>
                  </a:lnTo>
                  <a:lnTo>
                    <a:pt x="7" y="279"/>
                  </a:lnTo>
                  <a:lnTo>
                    <a:pt x="6" y="279"/>
                  </a:lnTo>
                  <a:lnTo>
                    <a:pt x="5" y="279"/>
                  </a:lnTo>
                  <a:lnTo>
                    <a:pt x="5" y="278"/>
                  </a:lnTo>
                  <a:lnTo>
                    <a:pt x="5" y="275"/>
                  </a:lnTo>
                  <a:lnTo>
                    <a:pt x="7" y="273"/>
                  </a:lnTo>
                  <a:lnTo>
                    <a:pt x="7" y="271"/>
                  </a:lnTo>
                  <a:lnTo>
                    <a:pt x="8" y="269"/>
                  </a:lnTo>
                  <a:lnTo>
                    <a:pt x="9" y="268"/>
                  </a:lnTo>
                  <a:lnTo>
                    <a:pt x="11" y="268"/>
                  </a:lnTo>
                  <a:lnTo>
                    <a:pt x="11" y="267"/>
                  </a:lnTo>
                  <a:lnTo>
                    <a:pt x="12" y="266"/>
                  </a:lnTo>
                  <a:lnTo>
                    <a:pt x="14" y="263"/>
                  </a:lnTo>
                  <a:lnTo>
                    <a:pt x="15" y="263"/>
                  </a:lnTo>
                  <a:lnTo>
                    <a:pt x="17" y="262"/>
                  </a:lnTo>
                  <a:lnTo>
                    <a:pt x="18" y="261"/>
                  </a:lnTo>
                  <a:lnTo>
                    <a:pt x="20" y="261"/>
                  </a:lnTo>
                  <a:lnTo>
                    <a:pt x="14" y="259"/>
                  </a:lnTo>
                  <a:lnTo>
                    <a:pt x="11" y="256"/>
                  </a:lnTo>
                  <a:lnTo>
                    <a:pt x="11" y="257"/>
                  </a:lnTo>
                  <a:lnTo>
                    <a:pt x="9" y="260"/>
                  </a:lnTo>
                  <a:lnTo>
                    <a:pt x="8" y="260"/>
                  </a:lnTo>
                  <a:lnTo>
                    <a:pt x="8" y="262"/>
                  </a:lnTo>
                  <a:lnTo>
                    <a:pt x="6" y="263"/>
                  </a:lnTo>
                  <a:lnTo>
                    <a:pt x="6" y="261"/>
                  </a:lnTo>
                  <a:lnTo>
                    <a:pt x="6" y="260"/>
                  </a:lnTo>
                  <a:lnTo>
                    <a:pt x="7" y="260"/>
                  </a:lnTo>
                  <a:lnTo>
                    <a:pt x="7" y="257"/>
                  </a:lnTo>
                  <a:lnTo>
                    <a:pt x="7" y="256"/>
                  </a:lnTo>
                  <a:lnTo>
                    <a:pt x="8" y="256"/>
                  </a:lnTo>
                  <a:lnTo>
                    <a:pt x="9" y="256"/>
                  </a:lnTo>
                  <a:lnTo>
                    <a:pt x="8" y="255"/>
                  </a:lnTo>
                  <a:lnTo>
                    <a:pt x="6" y="255"/>
                  </a:lnTo>
                  <a:lnTo>
                    <a:pt x="6" y="254"/>
                  </a:lnTo>
                  <a:lnTo>
                    <a:pt x="7" y="254"/>
                  </a:lnTo>
                  <a:lnTo>
                    <a:pt x="9" y="255"/>
                  </a:lnTo>
                  <a:lnTo>
                    <a:pt x="13" y="257"/>
                  </a:lnTo>
                  <a:lnTo>
                    <a:pt x="21" y="260"/>
                  </a:lnTo>
                  <a:lnTo>
                    <a:pt x="18" y="256"/>
                  </a:lnTo>
                  <a:lnTo>
                    <a:pt x="17" y="256"/>
                  </a:lnTo>
                  <a:lnTo>
                    <a:pt x="17" y="257"/>
                  </a:lnTo>
                  <a:lnTo>
                    <a:pt x="14" y="256"/>
                  </a:lnTo>
                  <a:lnTo>
                    <a:pt x="14" y="254"/>
                  </a:lnTo>
                  <a:lnTo>
                    <a:pt x="11" y="251"/>
                  </a:lnTo>
                  <a:lnTo>
                    <a:pt x="8" y="249"/>
                  </a:lnTo>
                  <a:lnTo>
                    <a:pt x="8" y="250"/>
                  </a:lnTo>
                  <a:lnTo>
                    <a:pt x="8" y="253"/>
                  </a:lnTo>
                  <a:lnTo>
                    <a:pt x="7" y="251"/>
                  </a:lnTo>
                  <a:lnTo>
                    <a:pt x="7" y="250"/>
                  </a:lnTo>
                  <a:lnTo>
                    <a:pt x="6" y="250"/>
                  </a:lnTo>
                  <a:lnTo>
                    <a:pt x="6" y="251"/>
                  </a:lnTo>
                  <a:lnTo>
                    <a:pt x="2" y="251"/>
                  </a:lnTo>
                  <a:lnTo>
                    <a:pt x="1" y="251"/>
                  </a:lnTo>
                  <a:lnTo>
                    <a:pt x="2" y="250"/>
                  </a:lnTo>
                  <a:lnTo>
                    <a:pt x="2" y="249"/>
                  </a:lnTo>
                  <a:lnTo>
                    <a:pt x="5" y="249"/>
                  </a:lnTo>
                  <a:lnTo>
                    <a:pt x="7" y="249"/>
                  </a:lnTo>
                  <a:lnTo>
                    <a:pt x="8" y="249"/>
                  </a:lnTo>
                  <a:lnTo>
                    <a:pt x="5" y="244"/>
                  </a:lnTo>
                  <a:lnTo>
                    <a:pt x="3" y="244"/>
                  </a:lnTo>
                  <a:lnTo>
                    <a:pt x="1" y="243"/>
                  </a:lnTo>
                  <a:lnTo>
                    <a:pt x="0" y="242"/>
                  </a:lnTo>
                  <a:lnTo>
                    <a:pt x="2" y="242"/>
                  </a:lnTo>
                  <a:lnTo>
                    <a:pt x="3" y="243"/>
                  </a:lnTo>
                  <a:lnTo>
                    <a:pt x="5" y="243"/>
                  </a:lnTo>
                  <a:lnTo>
                    <a:pt x="6" y="243"/>
                  </a:lnTo>
                  <a:lnTo>
                    <a:pt x="8" y="244"/>
                  </a:lnTo>
                  <a:lnTo>
                    <a:pt x="9" y="246"/>
                  </a:lnTo>
                  <a:lnTo>
                    <a:pt x="8" y="245"/>
                  </a:lnTo>
                  <a:lnTo>
                    <a:pt x="8" y="246"/>
                  </a:lnTo>
                  <a:lnTo>
                    <a:pt x="6" y="245"/>
                  </a:lnTo>
                  <a:lnTo>
                    <a:pt x="5" y="244"/>
                  </a:lnTo>
                  <a:lnTo>
                    <a:pt x="8" y="248"/>
                  </a:lnTo>
                  <a:lnTo>
                    <a:pt x="14" y="254"/>
                  </a:lnTo>
                  <a:lnTo>
                    <a:pt x="15" y="254"/>
                  </a:lnTo>
                  <a:lnTo>
                    <a:pt x="17" y="253"/>
                  </a:lnTo>
                  <a:lnTo>
                    <a:pt x="18" y="253"/>
                  </a:lnTo>
                  <a:lnTo>
                    <a:pt x="17" y="254"/>
                  </a:lnTo>
                  <a:lnTo>
                    <a:pt x="17" y="255"/>
                  </a:lnTo>
                  <a:lnTo>
                    <a:pt x="21" y="260"/>
                  </a:lnTo>
                  <a:lnTo>
                    <a:pt x="23" y="260"/>
                  </a:lnTo>
                  <a:lnTo>
                    <a:pt x="24" y="257"/>
                  </a:lnTo>
                  <a:lnTo>
                    <a:pt x="25" y="256"/>
                  </a:lnTo>
                  <a:lnTo>
                    <a:pt x="25" y="255"/>
                  </a:lnTo>
                  <a:lnTo>
                    <a:pt x="26" y="255"/>
                  </a:lnTo>
                  <a:lnTo>
                    <a:pt x="29" y="256"/>
                  </a:lnTo>
                  <a:lnTo>
                    <a:pt x="29" y="257"/>
                  </a:lnTo>
                  <a:lnTo>
                    <a:pt x="31" y="257"/>
                  </a:lnTo>
                  <a:lnTo>
                    <a:pt x="31" y="255"/>
                  </a:lnTo>
                  <a:lnTo>
                    <a:pt x="32" y="253"/>
                  </a:lnTo>
                  <a:lnTo>
                    <a:pt x="35" y="250"/>
                  </a:lnTo>
                  <a:lnTo>
                    <a:pt x="37" y="249"/>
                  </a:lnTo>
                  <a:lnTo>
                    <a:pt x="39" y="249"/>
                  </a:lnTo>
                  <a:lnTo>
                    <a:pt x="41" y="250"/>
                  </a:lnTo>
                  <a:lnTo>
                    <a:pt x="43" y="250"/>
                  </a:lnTo>
                  <a:lnTo>
                    <a:pt x="44" y="251"/>
                  </a:lnTo>
                  <a:lnTo>
                    <a:pt x="42" y="251"/>
                  </a:lnTo>
                  <a:lnTo>
                    <a:pt x="43" y="253"/>
                  </a:lnTo>
                  <a:lnTo>
                    <a:pt x="44" y="253"/>
                  </a:lnTo>
                  <a:lnTo>
                    <a:pt x="46" y="254"/>
                  </a:lnTo>
                  <a:lnTo>
                    <a:pt x="47" y="254"/>
                  </a:lnTo>
                  <a:lnTo>
                    <a:pt x="47" y="253"/>
                  </a:lnTo>
                  <a:lnTo>
                    <a:pt x="47" y="251"/>
                  </a:lnTo>
                  <a:lnTo>
                    <a:pt x="46" y="253"/>
                  </a:lnTo>
                  <a:lnTo>
                    <a:pt x="44" y="251"/>
                  </a:lnTo>
                  <a:lnTo>
                    <a:pt x="46" y="251"/>
                  </a:lnTo>
                  <a:lnTo>
                    <a:pt x="46" y="250"/>
                  </a:lnTo>
                  <a:lnTo>
                    <a:pt x="44" y="250"/>
                  </a:lnTo>
                  <a:lnTo>
                    <a:pt x="44" y="249"/>
                  </a:lnTo>
                  <a:lnTo>
                    <a:pt x="46" y="248"/>
                  </a:lnTo>
                  <a:lnTo>
                    <a:pt x="47" y="246"/>
                  </a:lnTo>
                  <a:lnTo>
                    <a:pt x="44" y="246"/>
                  </a:lnTo>
                  <a:lnTo>
                    <a:pt x="42" y="245"/>
                  </a:lnTo>
                  <a:lnTo>
                    <a:pt x="44" y="245"/>
                  </a:lnTo>
                  <a:lnTo>
                    <a:pt x="44" y="244"/>
                  </a:lnTo>
                  <a:lnTo>
                    <a:pt x="46" y="245"/>
                  </a:lnTo>
                  <a:lnTo>
                    <a:pt x="48" y="244"/>
                  </a:lnTo>
                  <a:lnTo>
                    <a:pt x="47" y="244"/>
                  </a:lnTo>
                  <a:lnTo>
                    <a:pt x="49" y="244"/>
                  </a:lnTo>
                  <a:lnTo>
                    <a:pt x="50" y="245"/>
                  </a:lnTo>
                  <a:lnTo>
                    <a:pt x="53" y="244"/>
                  </a:lnTo>
                  <a:lnTo>
                    <a:pt x="53" y="242"/>
                  </a:lnTo>
                  <a:lnTo>
                    <a:pt x="54" y="243"/>
                  </a:lnTo>
                  <a:lnTo>
                    <a:pt x="55" y="244"/>
                  </a:lnTo>
                  <a:lnTo>
                    <a:pt x="55" y="246"/>
                  </a:lnTo>
                  <a:lnTo>
                    <a:pt x="56" y="245"/>
                  </a:lnTo>
                  <a:lnTo>
                    <a:pt x="58" y="243"/>
                  </a:lnTo>
                  <a:lnTo>
                    <a:pt x="59" y="240"/>
                  </a:lnTo>
                  <a:lnTo>
                    <a:pt x="58" y="240"/>
                  </a:lnTo>
                  <a:lnTo>
                    <a:pt x="59" y="240"/>
                  </a:lnTo>
                  <a:lnTo>
                    <a:pt x="59" y="239"/>
                  </a:lnTo>
                  <a:lnTo>
                    <a:pt x="60" y="239"/>
                  </a:lnTo>
                  <a:lnTo>
                    <a:pt x="62" y="238"/>
                  </a:lnTo>
                  <a:lnTo>
                    <a:pt x="61" y="239"/>
                  </a:lnTo>
                  <a:lnTo>
                    <a:pt x="61" y="240"/>
                  </a:lnTo>
                  <a:lnTo>
                    <a:pt x="64" y="240"/>
                  </a:lnTo>
                  <a:lnTo>
                    <a:pt x="64" y="239"/>
                  </a:lnTo>
                  <a:lnTo>
                    <a:pt x="66" y="237"/>
                  </a:lnTo>
                  <a:lnTo>
                    <a:pt x="67" y="236"/>
                  </a:lnTo>
                  <a:lnTo>
                    <a:pt x="66" y="234"/>
                  </a:lnTo>
                  <a:lnTo>
                    <a:pt x="64" y="234"/>
                  </a:lnTo>
                  <a:lnTo>
                    <a:pt x="62" y="236"/>
                  </a:lnTo>
                  <a:lnTo>
                    <a:pt x="60" y="236"/>
                  </a:lnTo>
                  <a:lnTo>
                    <a:pt x="61" y="234"/>
                  </a:lnTo>
                  <a:lnTo>
                    <a:pt x="62" y="233"/>
                  </a:lnTo>
                  <a:lnTo>
                    <a:pt x="62" y="232"/>
                  </a:lnTo>
                  <a:lnTo>
                    <a:pt x="62" y="230"/>
                  </a:lnTo>
                  <a:lnTo>
                    <a:pt x="59" y="227"/>
                  </a:lnTo>
                  <a:lnTo>
                    <a:pt x="56" y="228"/>
                  </a:lnTo>
                  <a:lnTo>
                    <a:pt x="56" y="230"/>
                  </a:lnTo>
                  <a:lnTo>
                    <a:pt x="56" y="227"/>
                  </a:lnTo>
                  <a:lnTo>
                    <a:pt x="58" y="227"/>
                  </a:lnTo>
                  <a:lnTo>
                    <a:pt x="56" y="226"/>
                  </a:lnTo>
                  <a:lnTo>
                    <a:pt x="55" y="226"/>
                  </a:lnTo>
                  <a:lnTo>
                    <a:pt x="54" y="227"/>
                  </a:lnTo>
                  <a:lnTo>
                    <a:pt x="53" y="227"/>
                  </a:lnTo>
                  <a:lnTo>
                    <a:pt x="53" y="226"/>
                  </a:lnTo>
                  <a:lnTo>
                    <a:pt x="54" y="226"/>
                  </a:lnTo>
                  <a:lnTo>
                    <a:pt x="54" y="225"/>
                  </a:lnTo>
                  <a:lnTo>
                    <a:pt x="54" y="224"/>
                  </a:lnTo>
                  <a:lnTo>
                    <a:pt x="52" y="225"/>
                  </a:lnTo>
                  <a:lnTo>
                    <a:pt x="50" y="227"/>
                  </a:lnTo>
                  <a:lnTo>
                    <a:pt x="50" y="226"/>
                  </a:lnTo>
                  <a:lnTo>
                    <a:pt x="49" y="226"/>
                  </a:lnTo>
                  <a:lnTo>
                    <a:pt x="47" y="226"/>
                  </a:lnTo>
                  <a:lnTo>
                    <a:pt x="49" y="225"/>
                  </a:lnTo>
                  <a:lnTo>
                    <a:pt x="49" y="224"/>
                  </a:lnTo>
                  <a:lnTo>
                    <a:pt x="52" y="224"/>
                  </a:lnTo>
                  <a:lnTo>
                    <a:pt x="53" y="224"/>
                  </a:lnTo>
                  <a:lnTo>
                    <a:pt x="52" y="220"/>
                  </a:lnTo>
                  <a:lnTo>
                    <a:pt x="52" y="219"/>
                  </a:lnTo>
                  <a:lnTo>
                    <a:pt x="53" y="219"/>
                  </a:lnTo>
                  <a:lnTo>
                    <a:pt x="54" y="218"/>
                  </a:lnTo>
                  <a:lnTo>
                    <a:pt x="56" y="219"/>
                  </a:lnTo>
                  <a:lnTo>
                    <a:pt x="54" y="220"/>
                  </a:lnTo>
                  <a:lnTo>
                    <a:pt x="53" y="221"/>
                  </a:lnTo>
                  <a:lnTo>
                    <a:pt x="52" y="220"/>
                  </a:lnTo>
                  <a:lnTo>
                    <a:pt x="54" y="224"/>
                  </a:lnTo>
                  <a:lnTo>
                    <a:pt x="55" y="224"/>
                  </a:lnTo>
                  <a:lnTo>
                    <a:pt x="56" y="222"/>
                  </a:lnTo>
                  <a:lnTo>
                    <a:pt x="56" y="225"/>
                  </a:lnTo>
                  <a:lnTo>
                    <a:pt x="59" y="227"/>
                  </a:lnTo>
                  <a:lnTo>
                    <a:pt x="62" y="230"/>
                  </a:lnTo>
                  <a:lnTo>
                    <a:pt x="64" y="231"/>
                  </a:lnTo>
                  <a:lnTo>
                    <a:pt x="65" y="230"/>
                  </a:lnTo>
                  <a:lnTo>
                    <a:pt x="64" y="228"/>
                  </a:lnTo>
                  <a:lnTo>
                    <a:pt x="64" y="227"/>
                  </a:lnTo>
                  <a:lnTo>
                    <a:pt x="62" y="225"/>
                  </a:lnTo>
                  <a:lnTo>
                    <a:pt x="62" y="224"/>
                  </a:lnTo>
                  <a:lnTo>
                    <a:pt x="66" y="224"/>
                  </a:lnTo>
                  <a:lnTo>
                    <a:pt x="64" y="222"/>
                  </a:lnTo>
                  <a:lnTo>
                    <a:pt x="61" y="224"/>
                  </a:lnTo>
                  <a:lnTo>
                    <a:pt x="60" y="226"/>
                  </a:lnTo>
                  <a:lnTo>
                    <a:pt x="60" y="225"/>
                  </a:lnTo>
                  <a:lnTo>
                    <a:pt x="60" y="224"/>
                  </a:lnTo>
                  <a:lnTo>
                    <a:pt x="60" y="221"/>
                  </a:lnTo>
                  <a:lnTo>
                    <a:pt x="61" y="220"/>
                  </a:lnTo>
                  <a:lnTo>
                    <a:pt x="61" y="218"/>
                  </a:lnTo>
                  <a:lnTo>
                    <a:pt x="64" y="216"/>
                  </a:lnTo>
                  <a:lnTo>
                    <a:pt x="62" y="216"/>
                  </a:lnTo>
                  <a:lnTo>
                    <a:pt x="64" y="215"/>
                  </a:lnTo>
                  <a:lnTo>
                    <a:pt x="66" y="214"/>
                  </a:lnTo>
                  <a:lnTo>
                    <a:pt x="65" y="213"/>
                  </a:lnTo>
                  <a:lnTo>
                    <a:pt x="64" y="213"/>
                  </a:lnTo>
                  <a:lnTo>
                    <a:pt x="64" y="212"/>
                  </a:lnTo>
                  <a:lnTo>
                    <a:pt x="65" y="210"/>
                  </a:lnTo>
                  <a:lnTo>
                    <a:pt x="65" y="209"/>
                  </a:lnTo>
                  <a:lnTo>
                    <a:pt x="66" y="208"/>
                  </a:lnTo>
                  <a:lnTo>
                    <a:pt x="66" y="206"/>
                  </a:lnTo>
                  <a:lnTo>
                    <a:pt x="65" y="208"/>
                  </a:lnTo>
                  <a:lnTo>
                    <a:pt x="62" y="209"/>
                  </a:lnTo>
                  <a:lnTo>
                    <a:pt x="62" y="206"/>
                  </a:lnTo>
                  <a:lnTo>
                    <a:pt x="64" y="204"/>
                  </a:lnTo>
                  <a:lnTo>
                    <a:pt x="64" y="203"/>
                  </a:lnTo>
                  <a:lnTo>
                    <a:pt x="65" y="202"/>
                  </a:lnTo>
                  <a:lnTo>
                    <a:pt x="67" y="202"/>
                  </a:lnTo>
                  <a:lnTo>
                    <a:pt x="65" y="201"/>
                  </a:lnTo>
                  <a:lnTo>
                    <a:pt x="62" y="201"/>
                  </a:lnTo>
                  <a:lnTo>
                    <a:pt x="64" y="200"/>
                  </a:lnTo>
                  <a:lnTo>
                    <a:pt x="66" y="198"/>
                  </a:lnTo>
                  <a:lnTo>
                    <a:pt x="66" y="197"/>
                  </a:lnTo>
                  <a:lnTo>
                    <a:pt x="67" y="197"/>
                  </a:lnTo>
                  <a:lnTo>
                    <a:pt x="68" y="197"/>
                  </a:lnTo>
                  <a:lnTo>
                    <a:pt x="71" y="196"/>
                  </a:lnTo>
                  <a:lnTo>
                    <a:pt x="72" y="196"/>
                  </a:lnTo>
                  <a:lnTo>
                    <a:pt x="74" y="195"/>
                  </a:lnTo>
                  <a:lnTo>
                    <a:pt x="74" y="197"/>
                  </a:lnTo>
                  <a:lnTo>
                    <a:pt x="76" y="197"/>
                  </a:lnTo>
                  <a:lnTo>
                    <a:pt x="77" y="196"/>
                  </a:lnTo>
                  <a:lnTo>
                    <a:pt x="78" y="196"/>
                  </a:lnTo>
                  <a:lnTo>
                    <a:pt x="78" y="195"/>
                  </a:lnTo>
                  <a:lnTo>
                    <a:pt x="78" y="194"/>
                  </a:lnTo>
                  <a:lnTo>
                    <a:pt x="79" y="191"/>
                  </a:lnTo>
                  <a:lnTo>
                    <a:pt x="80" y="190"/>
                  </a:lnTo>
                  <a:lnTo>
                    <a:pt x="80" y="191"/>
                  </a:lnTo>
                  <a:lnTo>
                    <a:pt x="80" y="192"/>
                  </a:lnTo>
                  <a:lnTo>
                    <a:pt x="82" y="194"/>
                  </a:lnTo>
                  <a:lnTo>
                    <a:pt x="83" y="191"/>
                  </a:lnTo>
                  <a:lnTo>
                    <a:pt x="83" y="192"/>
                  </a:lnTo>
                  <a:lnTo>
                    <a:pt x="83" y="191"/>
                  </a:lnTo>
                  <a:lnTo>
                    <a:pt x="82" y="189"/>
                  </a:lnTo>
                  <a:lnTo>
                    <a:pt x="79" y="189"/>
                  </a:lnTo>
                  <a:lnTo>
                    <a:pt x="77" y="191"/>
                  </a:lnTo>
                  <a:lnTo>
                    <a:pt x="77" y="190"/>
                  </a:lnTo>
                  <a:lnTo>
                    <a:pt x="77" y="189"/>
                  </a:lnTo>
                  <a:lnTo>
                    <a:pt x="77" y="188"/>
                  </a:lnTo>
                  <a:lnTo>
                    <a:pt x="76" y="188"/>
                  </a:lnTo>
                  <a:lnTo>
                    <a:pt x="74" y="188"/>
                  </a:lnTo>
                  <a:lnTo>
                    <a:pt x="74" y="190"/>
                  </a:lnTo>
                  <a:lnTo>
                    <a:pt x="72" y="191"/>
                  </a:lnTo>
                  <a:lnTo>
                    <a:pt x="71" y="192"/>
                  </a:lnTo>
                  <a:lnTo>
                    <a:pt x="71" y="190"/>
                  </a:lnTo>
                  <a:lnTo>
                    <a:pt x="70" y="189"/>
                  </a:lnTo>
                  <a:lnTo>
                    <a:pt x="71" y="189"/>
                  </a:lnTo>
                  <a:lnTo>
                    <a:pt x="71" y="188"/>
                  </a:lnTo>
                  <a:lnTo>
                    <a:pt x="71" y="186"/>
                  </a:lnTo>
                  <a:lnTo>
                    <a:pt x="71" y="185"/>
                  </a:lnTo>
                  <a:lnTo>
                    <a:pt x="70" y="185"/>
                  </a:lnTo>
                  <a:lnTo>
                    <a:pt x="70" y="184"/>
                  </a:lnTo>
                  <a:lnTo>
                    <a:pt x="67" y="183"/>
                  </a:lnTo>
                  <a:lnTo>
                    <a:pt x="65" y="186"/>
                  </a:lnTo>
                  <a:lnTo>
                    <a:pt x="64" y="188"/>
                  </a:lnTo>
                  <a:lnTo>
                    <a:pt x="64" y="185"/>
                  </a:lnTo>
                  <a:lnTo>
                    <a:pt x="64" y="183"/>
                  </a:lnTo>
                  <a:lnTo>
                    <a:pt x="62" y="185"/>
                  </a:lnTo>
                  <a:lnTo>
                    <a:pt x="61" y="184"/>
                  </a:lnTo>
                  <a:lnTo>
                    <a:pt x="60" y="185"/>
                  </a:lnTo>
                  <a:lnTo>
                    <a:pt x="59" y="184"/>
                  </a:lnTo>
                  <a:lnTo>
                    <a:pt x="59" y="185"/>
                  </a:lnTo>
                  <a:lnTo>
                    <a:pt x="58" y="188"/>
                  </a:lnTo>
                  <a:lnTo>
                    <a:pt x="56" y="189"/>
                  </a:lnTo>
                  <a:lnTo>
                    <a:pt x="55" y="191"/>
                  </a:lnTo>
                  <a:lnTo>
                    <a:pt x="54" y="190"/>
                  </a:lnTo>
                  <a:lnTo>
                    <a:pt x="53" y="190"/>
                  </a:lnTo>
                  <a:lnTo>
                    <a:pt x="53" y="191"/>
                  </a:lnTo>
                  <a:lnTo>
                    <a:pt x="52" y="195"/>
                  </a:lnTo>
                  <a:lnTo>
                    <a:pt x="52" y="192"/>
                  </a:lnTo>
                  <a:lnTo>
                    <a:pt x="50" y="191"/>
                  </a:lnTo>
                  <a:lnTo>
                    <a:pt x="50" y="192"/>
                  </a:lnTo>
                  <a:lnTo>
                    <a:pt x="49" y="194"/>
                  </a:lnTo>
                  <a:lnTo>
                    <a:pt x="47" y="194"/>
                  </a:lnTo>
                  <a:lnTo>
                    <a:pt x="47" y="195"/>
                  </a:lnTo>
                  <a:lnTo>
                    <a:pt x="46" y="196"/>
                  </a:lnTo>
                  <a:lnTo>
                    <a:pt x="44" y="197"/>
                  </a:lnTo>
                  <a:lnTo>
                    <a:pt x="44" y="195"/>
                  </a:lnTo>
                  <a:lnTo>
                    <a:pt x="46" y="192"/>
                  </a:lnTo>
                  <a:lnTo>
                    <a:pt x="44" y="192"/>
                  </a:lnTo>
                  <a:lnTo>
                    <a:pt x="43" y="192"/>
                  </a:lnTo>
                  <a:lnTo>
                    <a:pt x="44" y="191"/>
                  </a:lnTo>
                  <a:lnTo>
                    <a:pt x="46" y="190"/>
                  </a:lnTo>
                  <a:lnTo>
                    <a:pt x="47" y="188"/>
                  </a:lnTo>
                  <a:lnTo>
                    <a:pt x="49" y="188"/>
                  </a:lnTo>
                  <a:lnTo>
                    <a:pt x="50" y="188"/>
                  </a:lnTo>
                  <a:lnTo>
                    <a:pt x="53" y="188"/>
                  </a:lnTo>
                  <a:lnTo>
                    <a:pt x="53" y="186"/>
                  </a:lnTo>
                  <a:lnTo>
                    <a:pt x="52" y="185"/>
                  </a:lnTo>
                  <a:lnTo>
                    <a:pt x="50" y="185"/>
                  </a:lnTo>
                  <a:lnTo>
                    <a:pt x="48" y="186"/>
                  </a:lnTo>
                  <a:lnTo>
                    <a:pt x="49" y="185"/>
                  </a:lnTo>
                  <a:lnTo>
                    <a:pt x="49" y="184"/>
                  </a:lnTo>
                  <a:lnTo>
                    <a:pt x="48" y="183"/>
                  </a:lnTo>
                  <a:lnTo>
                    <a:pt x="47" y="183"/>
                  </a:lnTo>
                  <a:lnTo>
                    <a:pt x="46" y="183"/>
                  </a:lnTo>
                  <a:lnTo>
                    <a:pt x="44" y="184"/>
                  </a:lnTo>
                  <a:lnTo>
                    <a:pt x="44" y="185"/>
                  </a:lnTo>
                  <a:lnTo>
                    <a:pt x="47" y="185"/>
                  </a:lnTo>
                  <a:lnTo>
                    <a:pt x="47" y="186"/>
                  </a:lnTo>
                  <a:lnTo>
                    <a:pt x="46" y="188"/>
                  </a:lnTo>
                  <a:lnTo>
                    <a:pt x="44" y="189"/>
                  </a:lnTo>
                  <a:lnTo>
                    <a:pt x="43" y="189"/>
                  </a:lnTo>
                  <a:lnTo>
                    <a:pt x="39" y="191"/>
                  </a:lnTo>
                  <a:lnTo>
                    <a:pt x="41" y="189"/>
                  </a:lnTo>
                  <a:lnTo>
                    <a:pt x="41" y="186"/>
                  </a:lnTo>
                  <a:lnTo>
                    <a:pt x="39" y="185"/>
                  </a:lnTo>
                  <a:lnTo>
                    <a:pt x="41" y="184"/>
                  </a:lnTo>
                  <a:lnTo>
                    <a:pt x="39" y="184"/>
                  </a:lnTo>
                  <a:lnTo>
                    <a:pt x="41" y="182"/>
                  </a:lnTo>
                  <a:lnTo>
                    <a:pt x="42" y="182"/>
                  </a:lnTo>
                  <a:lnTo>
                    <a:pt x="43" y="182"/>
                  </a:lnTo>
                  <a:lnTo>
                    <a:pt x="44" y="180"/>
                  </a:lnTo>
                  <a:lnTo>
                    <a:pt x="41" y="179"/>
                  </a:lnTo>
                  <a:lnTo>
                    <a:pt x="39" y="180"/>
                  </a:lnTo>
                  <a:lnTo>
                    <a:pt x="37" y="180"/>
                  </a:lnTo>
                  <a:lnTo>
                    <a:pt x="38" y="179"/>
                  </a:lnTo>
                  <a:lnTo>
                    <a:pt x="41" y="178"/>
                  </a:lnTo>
                  <a:lnTo>
                    <a:pt x="41" y="179"/>
                  </a:lnTo>
                  <a:lnTo>
                    <a:pt x="43" y="179"/>
                  </a:lnTo>
                  <a:lnTo>
                    <a:pt x="46" y="180"/>
                  </a:lnTo>
                  <a:lnTo>
                    <a:pt x="47" y="180"/>
                  </a:lnTo>
                  <a:lnTo>
                    <a:pt x="49" y="179"/>
                  </a:lnTo>
                  <a:lnTo>
                    <a:pt x="49" y="177"/>
                  </a:lnTo>
                  <a:lnTo>
                    <a:pt x="48" y="176"/>
                  </a:lnTo>
                  <a:lnTo>
                    <a:pt x="46" y="178"/>
                  </a:lnTo>
                  <a:lnTo>
                    <a:pt x="44" y="178"/>
                  </a:lnTo>
                  <a:lnTo>
                    <a:pt x="43" y="178"/>
                  </a:lnTo>
                  <a:lnTo>
                    <a:pt x="43" y="177"/>
                  </a:lnTo>
                  <a:lnTo>
                    <a:pt x="44" y="174"/>
                  </a:lnTo>
                  <a:lnTo>
                    <a:pt x="44" y="173"/>
                  </a:lnTo>
                  <a:lnTo>
                    <a:pt x="43" y="172"/>
                  </a:lnTo>
                  <a:lnTo>
                    <a:pt x="42" y="171"/>
                  </a:lnTo>
                  <a:lnTo>
                    <a:pt x="42" y="170"/>
                  </a:lnTo>
                  <a:lnTo>
                    <a:pt x="41" y="168"/>
                  </a:lnTo>
                  <a:lnTo>
                    <a:pt x="39" y="167"/>
                  </a:lnTo>
                  <a:lnTo>
                    <a:pt x="39" y="170"/>
                  </a:lnTo>
                  <a:lnTo>
                    <a:pt x="39" y="171"/>
                  </a:lnTo>
                  <a:lnTo>
                    <a:pt x="37" y="168"/>
                  </a:lnTo>
                  <a:lnTo>
                    <a:pt x="36" y="168"/>
                  </a:lnTo>
                  <a:lnTo>
                    <a:pt x="37" y="170"/>
                  </a:lnTo>
                  <a:lnTo>
                    <a:pt x="36" y="171"/>
                  </a:lnTo>
                  <a:lnTo>
                    <a:pt x="37" y="173"/>
                  </a:lnTo>
                  <a:lnTo>
                    <a:pt x="36" y="176"/>
                  </a:lnTo>
                  <a:lnTo>
                    <a:pt x="37" y="178"/>
                  </a:lnTo>
                  <a:lnTo>
                    <a:pt x="36" y="177"/>
                  </a:lnTo>
                  <a:lnTo>
                    <a:pt x="36" y="178"/>
                  </a:lnTo>
                  <a:lnTo>
                    <a:pt x="35" y="177"/>
                  </a:lnTo>
                  <a:lnTo>
                    <a:pt x="33" y="174"/>
                  </a:lnTo>
                  <a:lnTo>
                    <a:pt x="31" y="174"/>
                  </a:lnTo>
                  <a:lnTo>
                    <a:pt x="32" y="178"/>
                  </a:lnTo>
                  <a:lnTo>
                    <a:pt x="30" y="178"/>
                  </a:lnTo>
                  <a:lnTo>
                    <a:pt x="29" y="178"/>
                  </a:lnTo>
                  <a:lnTo>
                    <a:pt x="30" y="180"/>
                  </a:lnTo>
                  <a:lnTo>
                    <a:pt x="27" y="183"/>
                  </a:lnTo>
                  <a:lnTo>
                    <a:pt x="26" y="185"/>
                  </a:lnTo>
                  <a:lnTo>
                    <a:pt x="26" y="184"/>
                  </a:lnTo>
                  <a:lnTo>
                    <a:pt x="27" y="182"/>
                  </a:lnTo>
                  <a:lnTo>
                    <a:pt x="29" y="180"/>
                  </a:lnTo>
                  <a:lnTo>
                    <a:pt x="27" y="179"/>
                  </a:lnTo>
                  <a:lnTo>
                    <a:pt x="26" y="179"/>
                  </a:lnTo>
                  <a:lnTo>
                    <a:pt x="25" y="178"/>
                  </a:lnTo>
                  <a:lnTo>
                    <a:pt x="24" y="177"/>
                  </a:lnTo>
                  <a:lnTo>
                    <a:pt x="21" y="179"/>
                  </a:lnTo>
                  <a:lnTo>
                    <a:pt x="23" y="177"/>
                  </a:lnTo>
                  <a:lnTo>
                    <a:pt x="20" y="179"/>
                  </a:lnTo>
                  <a:lnTo>
                    <a:pt x="19" y="179"/>
                  </a:lnTo>
                  <a:lnTo>
                    <a:pt x="20" y="178"/>
                  </a:lnTo>
                  <a:lnTo>
                    <a:pt x="19" y="177"/>
                  </a:lnTo>
                  <a:lnTo>
                    <a:pt x="18" y="176"/>
                  </a:lnTo>
                  <a:lnTo>
                    <a:pt x="20" y="174"/>
                  </a:lnTo>
                  <a:lnTo>
                    <a:pt x="23" y="174"/>
                  </a:lnTo>
                  <a:lnTo>
                    <a:pt x="23" y="173"/>
                  </a:lnTo>
                  <a:lnTo>
                    <a:pt x="25" y="172"/>
                  </a:lnTo>
                  <a:lnTo>
                    <a:pt x="25" y="171"/>
                  </a:lnTo>
                  <a:lnTo>
                    <a:pt x="23" y="171"/>
                  </a:lnTo>
                  <a:lnTo>
                    <a:pt x="20" y="170"/>
                  </a:lnTo>
                  <a:lnTo>
                    <a:pt x="20" y="172"/>
                  </a:lnTo>
                  <a:lnTo>
                    <a:pt x="18" y="170"/>
                  </a:lnTo>
                  <a:lnTo>
                    <a:pt x="17" y="171"/>
                  </a:lnTo>
                  <a:lnTo>
                    <a:pt x="18" y="172"/>
                  </a:lnTo>
                  <a:lnTo>
                    <a:pt x="17" y="174"/>
                  </a:lnTo>
                  <a:lnTo>
                    <a:pt x="13" y="177"/>
                  </a:lnTo>
                  <a:lnTo>
                    <a:pt x="13" y="174"/>
                  </a:lnTo>
                  <a:lnTo>
                    <a:pt x="13" y="171"/>
                  </a:lnTo>
                  <a:lnTo>
                    <a:pt x="14" y="171"/>
                  </a:lnTo>
                  <a:lnTo>
                    <a:pt x="15" y="171"/>
                  </a:lnTo>
                  <a:lnTo>
                    <a:pt x="18" y="170"/>
                  </a:lnTo>
                  <a:lnTo>
                    <a:pt x="19" y="168"/>
                  </a:lnTo>
                  <a:lnTo>
                    <a:pt x="18" y="168"/>
                  </a:lnTo>
                  <a:lnTo>
                    <a:pt x="15" y="168"/>
                  </a:lnTo>
                  <a:lnTo>
                    <a:pt x="15" y="167"/>
                  </a:lnTo>
                  <a:lnTo>
                    <a:pt x="14" y="167"/>
                  </a:lnTo>
                  <a:lnTo>
                    <a:pt x="13" y="167"/>
                  </a:lnTo>
                  <a:lnTo>
                    <a:pt x="11" y="168"/>
                  </a:lnTo>
                  <a:lnTo>
                    <a:pt x="12" y="167"/>
                  </a:lnTo>
                  <a:lnTo>
                    <a:pt x="13" y="166"/>
                  </a:lnTo>
                  <a:lnTo>
                    <a:pt x="12" y="166"/>
                  </a:lnTo>
                  <a:lnTo>
                    <a:pt x="12" y="165"/>
                  </a:lnTo>
                  <a:lnTo>
                    <a:pt x="13" y="164"/>
                  </a:lnTo>
                  <a:lnTo>
                    <a:pt x="14" y="166"/>
                  </a:lnTo>
                  <a:lnTo>
                    <a:pt x="15" y="167"/>
                  </a:lnTo>
                  <a:lnTo>
                    <a:pt x="17" y="167"/>
                  </a:lnTo>
                  <a:lnTo>
                    <a:pt x="17" y="165"/>
                  </a:lnTo>
                  <a:lnTo>
                    <a:pt x="15" y="164"/>
                  </a:lnTo>
                  <a:lnTo>
                    <a:pt x="15" y="161"/>
                  </a:lnTo>
                  <a:lnTo>
                    <a:pt x="17" y="162"/>
                  </a:lnTo>
                  <a:lnTo>
                    <a:pt x="17" y="166"/>
                  </a:lnTo>
                  <a:lnTo>
                    <a:pt x="18" y="166"/>
                  </a:lnTo>
                  <a:lnTo>
                    <a:pt x="18" y="165"/>
                  </a:lnTo>
                  <a:lnTo>
                    <a:pt x="19" y="164"/>
                  </a:lnTo>
                  <a:lnTo>
                    <a:pt x="21" y="165"/>
                  </a:lnTo>
                  <a:lnTo>
                    <a:pt x="24" y="164"/>
                  </a:lnTo>
                  <a:lnTo>
                    <a:pt x="24" y="165"/>
                  </a:lnTo>
                  <a:lnTo>
                    <a:pt x="26" y="166"/>
                  </a:lnTo>
                  <a:lnTo>
                    <a:pt x="29" y="167"/>
                  </a:lnTo>
                  <a:lnTo>
                    <a:pt x="29" y="166"/>
                  </a:lnTo>
                  <a:lnTo>
                    <a:pt x="27" y="166"/>
                  </a:lnTo>
                  <a:lnTo>
                    <a:pt x="29" y="164"/>
                  </a:lnTo>
                  <a:lnTo>
                    <a:pt x="31" y="162"/>
                  </a:lnTo>
                  <a:lnTo>
                    <a:pt x="32" y="161"/>
                  </a:lnTo>
                  <a:lnTo>
                    <a:pt x="32" y="160"/>
                  </a:lnTo>
                  <a:lnTo>
                    <a:pt x="31" y="161"/>
                  </a:lnTo>
                  <a:lnTo>
                    <a:pt x="29" y="164"/>
                  </a:lnTo>
                  <a:lnTo>
                    <a:pt x="26" y="164"/>
                  </a:lnTo>
                  <a:lnTo>
                    <a:pt x="26" y="162"/>
                  </a:lnTo>
                  <a:lnTo>
                    <a:pt x="27" y="160"/>
                  </a:lnTo>
                  <a:lnTo>
                    <a:pt x="29" y="159"/>
                  </a:lnTo>
                  <a:lnTo>
                    <a:pt x="30" y="158"/>
                  </a:lnTo>
                  <a:lnTo>
                    <a:pt x="30" y="159"/>
                  </a:lnTo>
                  <a:lnTo>
                    <a:pt x="31" y="158"/>
                  </a:lnTo>
                  <a:lnTo>
                    <a:pt x="33" y="158"/>
                  </a:lnTo>
                  <a:lnTo>
                    <a:pt x="31" y="155"/>
                  </a:lnTo>
                  <a:lnTo>
                    <a:pt x="29" y="156"/>
                  </a:lnTo>
                  <a:lnTo>
                    <a:pt x="26" y="158"/>
                  </a:lnTo>
                  <a:lnTo>
                    <a:pt x="26" y="155"/>
                  </a:lnTo>
                  <a:lnTo>
                    <a:pt x="23" y="153"/>
                  </a:lnTo>
                  <a:lnTo>
                    <a:pt x="26" y="153"/>
                  </a:lnTo>
                  <a:lnTo>
                    <a:pt x="27" y="149"/>
                  </a:lnTo>
                  <a:lnTo>
                    <a:pt x="25" y="150"/>
                  </a:lnTo>
                  <a:lnTo>
                    <a:pt x="25" y="149"/>
                  </a:lnTo>
                  <a:lnTo>
                    <a:pt x="27" y="146"/>
                  </a:lnTo>
                  <a:lnTo>
                    <a:pt x="30" y="144"/>
                  </a:lnTo>
                  <a:lnTo>
                    <a:pt x="27" y="143"/>
                  </a:lnTo>
                  <a:lnTo>
                    <a:pt x="23" y="146"/>
                  </a:lnTo>
                  <a:lnTo>
                    <a:pt x="18" y="150"/>
                  </a:lnTo>
                  <a:lnTo>
                    <a:pt x="15" y="154"/>
                  </a:lnTo>
                  <a:lnTo>
                    <a:pt x="15" y="152"/>
                  </a:lnTo>
                  <a:lnTo>
                    <a:pt x="15" y="150"/>
                  </a:lnTo>
                  <a:lnTo>
                    <a:pt x="17" y="148"/>
                  </a:lnTo>
                  <a:lnTo>
                    <a:pt x="14" y="149"/>
                  </a:lnTo>
                  <a:lnTo>
                    <a:pt x="17" y="144"/>
                  </a:lnTo>
                  <a:lnTo>
                    <a:pt x="18" y="142"/>
                  </a:lnTo>
                  <a:lnTo>
                    <a:pt x="20" y="143"/>
                  </a:lnTo>
                  <a:lnTo>
                    <a:pt x="19" y="142"/>
                  </a:lnTo>
                  <a:lnTo>
                    <a:pt x="20" y="141"/>
                  </a:lnTo>
                  <a:lnTo>
                    <a:pt x="21" y="139"/>
                  </a:lnTo>
                  <a:lnTo>
                    <a:pt x="23" y="137"/>
                  </a:lnTo>
                  <a:lnTo>
                    <a:pt x="17" y="137"/>
                  </a:lnTo>
                  <a:lnTo>
                    <a:pt x="12" y="136"/>
                  </a:lnTo>
                  <a:lnTo>
                    <a:pt x="15" y="136"/>
                  </a:lnTo>
                  <a:lnTo>
                    <a:pt x="17" y="136"/>
                  </a:lnTo>
                  <a:lnTo>
                    <a:pt x="17" y="135"/>
                  </a:lnTo>
                  <a:lnTo>
                    <a:pt x="18" y="135"/>
                  </a:lnTo>
                  <a:lnTo>
                    <a:pt x="19" y="135"/>
                  </a:lnTo>
                  <a:lnTo>
                    <a:pt x="19" y="133"/>
                  </a:lnTo>
                  <a:lnTo>
                    <a:pt x="20" y="133"/>
                  </a:lnTo>
                  <a:lnTo>
                    <a:pt x="21" y="133"/>
                  </a:lnTo>
                  <a:lnTo>
                    <a:pt x="23" y="135"/>
                  </a:lnTo>
                  <a:lnTo>
                    <a:pt x="24" y="136"/>
                  </a:lnTo>
                  <a:lnTo>
                    <a:pt x="25" y="137"/>
                  </a:lnTo>
                  <a:lnTo>
                    <a:pt x="25" y="138"/>
                  </a:lnTo>
                  <a:lnTo>
                    <a:pt x="26" y="138"/>
                  </a:lnTo>
                  <a:lnTo>
                    <a:pt x="27" y="137"/>
                  </a:lnTo>
                  <a:lnTo>
                    <a:pt x="29" y="136"/>
                  </a:lnTo>
                  <a:lnTo>
                    <a:pt x="32" y="136"/>
                  </a:lnTo>
                  <a:lnTo>
                    <a:pt x="33" y="137"/>
                  </a:lnTo>
                  <a:lnTo>
                    <a:pt x="36" y="137"/>
                  </a:lnTo>
                  <a:lnTo>
                    <a:pt x="37" y="137"/>
                  </a:lnTo>
                  <a:lnTo>
                    <a:pt x="39" y="136"/>
                  </a:lnTo>
                  <a:lnTo>
                    <a:pt x="42" y="137"/>
                  </a:lnTo>
                  <a:lnTo>
                    <a:pt x="44" y="137"/>
                  </a:lnTo>
                  <a:lnTo>
                    <a:pt x="44" y="135"/>
                  </a:lnTo>
                  <a:lnTo>
                    <a:pt x="46" y="135"/>
                  </a:lnTo>
                  <a:lnTo>
                    <a:pt x="46" y="137"/>
                  </a:lnTo>
                  <a:lnTo>
                    <a:pt x="47" y="136"/>
                  </a:lnTo>
                  <a:lnTo>
                    <a:pt x="50" y="137"/>
                  </a:lnTo>
                  <a:lnTo>
                    <a:pt x="53" y="137"/>
                  </a:lnTo>
                  <a:lnTo>
                    <a:pt x="54" y="138"/>
                  </a:lnTo>
                  <a:lnTo>
                    <a:pt x="56" y="139"/>
                  </a:lnTo>
                  <a:lnTo>
                    <a:pt x="58" y="138"/>
                  </a:lnTo>
                  <a:lnTo>
                    <a:pt x="58" y="137"/>
                  </a:lnTo>
                  <a:lnTo>
                    <a:pt x="59" y="133"/>
                  </a:lnTo>
                  <a:lnTo>
                    <a:pt x="56" y="135"/>
                  </a:lnTo>
                  <a:lnTo>
                    <a:pt x="56" y="133"/>
                  </a:lnTo>
                  <a:lnTo>
                    <a:pt x="55" y="135"/>
                  </a:lnTo>
                  <a:lnTo>
                    <a:pt x="55" y="133"/>
                  </a:lnTo>
                  <a:lnTo>
                    <a:pt x="53" y="133"/>
                  </a:lnTo>
                  <a:lnTo>
                    <a:pt x="52" y="132"/>
                  </a:lnTo>
                  <a:lnTo>
                    <a:pt x="50" y="132"/>
                  </a:lnTo>
                  <a:lnTo>
                    <a:pt x="50" y="133"/>
                  </a:lnTo>
                  <a:lnTo>
                    <a:pt x="50" y="131"/>
                  </a:lnTo>
                  <a:lnTo>
                    <a:pt x="50" y="129"/>
                  </a:lnTo>
                  <a:lnTo>
                    <a:pt x="48" y="130"/>
                  </a:lnTo>
                  <a:lnTo>
                    <a:pt x="47" y="131"/>
                  </a:lnTo>
                  <a:lnTo>
                    <a:pt x="46" y="130"/>
                  </a:lnTo>
                  <a:lnTo>
                    <a:pt x="44" y="129"/>
                  </a:lnTo>
                  <a:lnTo>
                    <a:pt x="43" y="131"/>
                  </a:lnTo>
                  <a:lnTo>
                    <a:pt x="43" y="129"/>
                  </a:lnTo>
                  <a:lnTo>
                    <a:pt x="43" y="127"/>
                  </a:lnTo>
                  <a:lnTo>
                    <a:pt x="43" y="126"/>
                  </a:lnTo>
                  <a:lnTo>
                    <a:pt x="44" y="126"/>
                  </a:lnTo>
                  <a:lnTo>
                    <a:pt x="47" y="126"/>
                  </a:lnTo>
                  <a:lnTo>
                    <a:pt x="48" y="126"/>
                  </a:lnTo>
                  <a:lnTo>
                    <a:pt x="48" y="125"/>
                  </a:lnTo>
                  <a:lnTo>
                    <a:pt x="48" y="124"/>
                  </a:lnTo>
                  <a:lnTo>
                    <a:pt x="47" y="123"/>
                  </a:lnTo>
                  <a:lnTo>
                    <a:pt x="47" y="121"/>
                  </a:lnTo>
                  <a:lnTo>
                    <a:pt x="44" y="123"/>
                  </a:lnTo>
                  <a:lnTo>
                    <a:pt x="46" y="121"/>
                  </a:lnTo>
                  <a:lnTo>
                    <a:pt x="47" y="119"/>
                  </a:lnTo>
                  <a:lnTo>
                    <a:pt x="49" y="119"/>
                  </a:lnTo>
                  <a:lnTo>
                    <a:pt x="50" y="120"/>
                  </a:lnTo>
                  <a:lnTo>
                    <a:pt x="52" y="119"/>
                  </a:lnTo>
                  <a:lnTo>
                    <a:pt x="53" y="118"/>
                  </a:lnTo>
                  <a:lnTo>
                    <a:pt x="54" y="117"/>
                  </a:lnTo>
                  <a:lnTo>
                    <a:pt x="56" y="117"/>
                  </a:lnTo>
                  <a:lnTo>
                    <a:pt x="56" y="114"/>
                  </a:lnTo>
                  <a:lnTo>
                    <a:pt x="54" y="113"/>
                  </a:lnTo>
                  <a:lnTo>
                    <a:pt x="54" y="112"/>
                  </a:lnTo>
                  <a:lnTo>
                    <a:pt x="56" y="113"/>
                  </a:lnTo>
                  <a:lnTo>
                    <a:pt x="58" y="112"/>
                  </a:lnTo>
                  <a:lnTo>
                    <a:pt x="58" y="111"/>
                  </a:lnTo>
                  <a:lnTo>
                    <a:pt x="60" y="111"/>
                  </a:lnTo>
                  <a:lnTo>
                    <a:pt x="62" y="109"/>
                  </a:lnTo>
                  <a:lnTo>
                    <a:pt x="64" y="109"/>
                  </a:lnTo>
                  <a:lnTo>
                    <a:pt x="65" y="108"/>
                  </a:lnTo>
                  <a:lnTo>
                    <a:pt x="64" y="106"/>
                  </a:lnTo>
                  <a:lnTo>
                    <a:pt x="64" y="105"/>
                  </a:lnTo>
                  <a:lnTo>
                    <a:pt x="61" y="107"/>
                  </a:lnTo>
                  <a:lnTo>
                    <a:pt x="59" y="108"/>
                  </a:lnTo>
                  <a:lnTo>
                    <a:pt x="60" y="107"/>
                  </a:lnTo>
                  <a:lnTo>
                    <a:pt x="62" y="103"/>
                  </a:lnTo>
                  <a:lnTo>
                    <a:pt x="64" y="103"/>
                  </a:lnTo>
                  <a:lnTo>
                    <a:pt x="62" y="102"/>
                  </a:lnTo>
                  <a:lnTo>
                    <a:pt x="62" y="101"/>
                  </a:lnTo>
                  <a:lnTo>
                    <a:pt x="62" y="100"/>
                  </a:lnTo>
                  <a:lnTo>
                    <a:pt x="60" y="101"/>
                  </a:lnTo>
                  <a:lnTo>
                    <a:pt x="58" y="102"/>
                  </a:lnTo>
                  <a:lnTo>
                    <a:pt x="54" y="103"/>
                  </a:lnTo>
                  <a:lnTo>
                    <a:pt x="55" y="101"/>
                  </a:lnTo>
                  <a:lnTo>
                    <a:pt x="56" y="99"/>
                  </a:lnTo>
                  <a:lnTo>
                    <a:pt x="58" y="97"/>
                  </a:lnTo>
                  <a:lnTo>
                    <a:pt x="60" y="96"/>
                  </a:lnTo>
                  <a:lnTo>
                    <a:pt x="62" y="97"/>
                  </a:lnTo>
                  <a:lnTo>
                    <a:pt x="62" y="96"/>
                  </a:lnTo>
                  <a:lnTo>
                    <a:pt x="55" y="95"/>
                  </a:lnTo>
                  <a:lnTo>
                    <a:pt x="54" y="94"/>
                  </a:lnTo>
                  <a:lnTo>
                    <a:pt x="56" y="94"/>
                  </a:lnTo>
                  <a:lnTo>
                    <a:pt x="58" y="93"/>
                  </a:lnTo>
                  <a:lnTo>
                    <a:pt x="60" y="93"/>
                  </a:lnTo>
                  <a:lnTo>
                    <a:pt x="62" y="93"/>
                  </a:lnTo>
                  <a:lnTo>
                    <a:pt x="65" y="94"/>
                  </a:lnTo>
                  <a:lnTo>
                    <a:pt x="65" y="93"/>
                  </a:lnTo>
                  <a:lnTo>
                    <a:pt x="66" y="93"/>
                  </a:lnTo>
                  <a:lnTo>
                    <a:pt x="67" y="91"/>
                  </a:lnTo>
                  <a:lnTo>
                    <a:pt x="64" y="90"/>
                  </a:lnTo>
                  <a:lnTo>
                    <a:pt x="64" y="88"/>
                  </a:lnTo>
                  <a:lnTo>
                    <a:pt x="62" y="87"/>
                  </a:lnTo>
                  <a:lnTo>
                    <a:pt x="62" y="85"/>
                  </a:lnTo>
                  <a:lnTo>
                    <a:pt x="62" y="84"/>
                  </a:lnTo>
                  <a:lnTo>
                    <a:pt x="62" y="83"/>
                  </a:lnTo>
                  <a:lnTo>
                    <a:pt x="64" y="83"/>
                  </a:lnTo>
                  <a:lnTo>
                    <a:pt x="65" y="83"/>
                  </a:lnTo>
                  <a:lnTo>
                    <a:pt x="66" y="85"/>
                  </a:lnTo>
                  <a:lnTo>
                    <a:pt x="67" y="85"/>
                  </a:lnTo>
                  <a:lnTo>
                    <a:pt x="67" y="88"/>
                  </a:lnTo>
                  <a:lnTo>
                    <a:pt x="67" y="90"/>
                  </a:lnTo>
                  <a:lnTo>
                    <a:pt x="68" y="93"/>
                  </a:lnTo>
                  <a:lnTo>
                    <a:pt x="70" y="94"/>
                  </a:lnTo>
                  <a:lnTo>
                    <a:pt x="72" y="95"/>
                  </a:lnTo>
                  <a:lnTo>
                    <a:pt x="73" y="95"/>
                  </a:lnTo>
                  <a:lnTo>
                    <a:pt x="76" y="94"/>
                  </a:lnTo>
                  <a:lnTo>
                    <a:pt x="77" y="93"/>
                  </a:lnTo>
                  <a:lnTo>
                    <a:pt x="78" y="93"/>
                  </a:lnTo>
                  <a:lnTo>
                    <a:pt x="79" y="93"/>
                  </a:lnTo>
                  <a:lnTo>
                    <a:pt x="80" y="91"/>
                  </a:lnTo>
                  <a:lnTo>
                    <a:pt x="82" y="90"/>
                  </a:lnTo>
                  <a:lnTo>
                    <a:pt x="83" y="89"/>
                  </a:lnTo>
                  <a:lnTo>
                    <a:pt x="83" y="88"/>
                  </a:lnTo>
                  <a:lnTo>
                    <a:pt x="83" y="87"/>
                  </a:lnTo>
                  <a:lnTo>
                    <a:pt x="83" y="85"/>
                  </a:lnTo>
                  <a:lnTo>
                    <a:pt x="82" y="84"/>
                  </a:lnTo>
                  <a:lnTo>
                    <a:pt x="82" y="83"/>
                  </a:lnTo>
                  <a:lnTo>
                    <a:pt x="83" y="84"/>
                  </a:lnTo>
                  <a:lnTo>
                    <a:pt x="84" y="84"/>
                  </a:lnTo>
                  <a:lnTo>
                    <a:pt x="84" y="83"/>
                  </a:lnTo>
                  <a:lnTo>
                    <a:pt x="85" y="83"/>
                  </a:lnTo>
                  <a:lnTo>
                    <a:pt x="86" y="81"/>
                  </a:lnTo>
                  <a:lnTo>
                    <a:pt x="85" y="77"/>
                  </a:lnTo>
                  <a:lnTo>
                    <a:pt x="85" y="78"/>
                  </a:lnTo>
                  <a:lnTo>
                    <a:pt x="84" y="77"/>
                  </a:lnTo>
                  <a:lnTo>
                    <a:pt x="83" y="78"/>
                  </a:lnTo>
                  <a:lnTo>
                    <a:pt x="82" y="77"/>
                  </a:lnTo>
                  <a:lnTo>
                    <a:pt x="82" y="76"/>
                  </a:lnTo>
                  <a:lnTo>
                    <a:pt x="83" y="76"/>
                  </a:lnTo>
                  <a:lnTo>
                    <a:pt x="84" y="77"/>
                  </a:lnTo>
                  <a:lnTo>
                    <a:pt x="84" y="75"/>
                  </a:lnTo>
                  <a:lnTo>
                    <a:pt x="84" y="73"/>
                  </a:lnTo>
                  <a:lnTo>
                    <a:pt x="84" y="72"/>
                  </a:lnTo>
                  <a:lnTo>
                    <a:pt x="85" y="71"/>
                  </a:lnTo>
                  <a:lnTo>
                    <a:pt x="86" y="71"/>
                  </a:lnTo>
                  <a:lnTo>
                    <a:pt x="86" y="73"/>
                  </a:lnTo>
                  <a:lnTo>
                    <a:pt x="88" y="73"/>
                  </a:lnTo>
                  <a:lnTo>
                    <a:pt x="89" y="75"/>
                  </a:lnTo>
                  <a:lnTo>
                    <a:pt x="86" y="75"/>
                  </a:lnTo>
                  <a:lnTo>
                    <a:pt x="86" y="76"/>
                  </a:lnTo>
                  <a:lnTo>
                    <a:pt x="86" y="78"/>
                  </a:lnTo>
                  <a:lnTo>
                    <a:pt x="86" y="79"/>
                  </a:lnTo>
                  <a:lnTo>
                    <a:pt x="88" y="79"/>
                  </a:lnTo>
                  <a:lnTo>
                    <a:pt x="88" y="78"/>
                  </a:lnTo>
                  <a:lnTo>
                    <a:pt x="88" y="77"/>
                  </a:lnTo>
                  <a:lnTo>
                    <a:pt x="88" y="76"/>
                  </a:lnTo>
                  <a:lnTo>
                    <a:pt x="89" y="76"/>
                  </a:lnTo>
                  <a:lnTo>
                    <a:pt x="90" y="76"/>
                  </a:lnTo>
                  <a:lnTo>
                    <a:pt x="89" y="78"/>
                  </a:lnTo>
                  <a:lnTo>
                    <a:pt x="90" y="79"/>
                  </a:lnTo>
                  <a:lnTo>
                    <a:pt x="91" y="82"/>
                  </a:lnTo>
                  <a:lnTo>
                    <a:pt x="89" y="83"/>
                  </a:lnTo>
                  <a:lnTo>
                    <a:pt x="90" y="83"/>
                  </a:lnTo>
                  <a:lnTo>
                    <a:pt x="91" y="83"/>
                  </a:lnTo>
                  <a:lnTo>
                    <a:pt x="92" y="82"/>
                  </a:lnTo>
                  <a:lnTo>
                    <a:pt x="94" y="82"/>
                  </a:lnTo>
                  <a:lnTo>
                    <a:pt x="95" y="81"/>
                  </a:lnTo>
                  <a:lnTo>
                    <a:pt x="94" y="79"/>
                  </a:lnTo>
                  <a:lnTo>
                    <a:pt x="91" y="79"/>
                  </a:lnTo>
                  <a:lnTo>
                    <a:pt x="91" y="77"/>
                  </a:lnTo>
                  <a:lnTo>
                    <a:pt x="90" y="75"/>
                  </a:lnTo>
                  <a:lnTo>
                    <a:pt x="91" y="75"/>
                  </a:lnTo>
                  <a:lnTo>
                    <a:pt x="92" y="75"/>
                  </a:lnTo>
                  <a:lnTo>
                    <a:pt x="94" y="75"/>
                  </a:lnTo>
                  <a:lnTo>
                    <a:pt x="94" y="76"/>
                  </a:lnTo>
                  <a:lnTo>
                    <a:pt x="95" y="75"/>
                  </a:lnTo>
                  <a:lnTo>
                    <a:pt x="96" y="75"/>
                  </a:lnTo>
                  <a:lnTo>
                    <a:pt x="97" y="75"/>
                  </a:lnTo>
                  <a:lnTo>
                    <a:pt x="97" y="76"/>
                  </a:lnTo>
                  <a:lnTo>
                    <a:pt x="97" y="78"/>
                  </a:lnTo>
                  <a:lnTo>
                    <a:pt x="98" y="78"/>
                  </a:lnTo>
                  <a:lnTo>
                    <a:pt x="100" y="77"/>
                  </a:lnTo>
                  <a:lnTo>
                    <a:pt x="98" y="79"/>
                  </a:lnTo>
                  <a:lnTo>
                    <a:pt x="100" y="81"/>
                  </a:lnTo>
                  <a:lnTo>
                    <a:pt x="101" y="78"/>
                  </a:lnTo>
                  <a:lnTo>
                    <a:pt x="101" y="79"/>
                  </a:lnTo>
                  <a:lnTo>
                    <a:pt x="102" y="79"/>
                  </a:lnTo>
                  <a:lnTo>
                    <a:pt x="103" y="77"/>
                  </a:lnTo>
                  <a:lnTo>
                    <a:pt x="102" y="78"/>
                  </a:lnTo>
                  <a:lnTo>
                    <a:pt x="102" y="77"/>
                  </a:lnTo>
                  <a:lnTo>
                    <a:pt x="101" y="77"/>
                  </a:lnTo>
                  <a:lnTo>
                    <a:pt x="101" y="76"/>
                  </a:lnTo>
                  <a:lnTo>
                    <a:pt x="102" y="76"/>
                  </a:lnTo>
                  <a:lnTo>
                    <a:pt x="102" y="75"/>
                  </a:lnTo>
                  <a:lnTo>
                    <a:pt x="103" y="75"/>
                  </a:lnTo>
                  <a:lnTo>
                    <a:pt x="105" y="75"/>
                  </a:lnTo>
                  <a:lnTo>
                    <a:pt x="105" y="76"/>
                  </a:lnTo>
                  <a:lnTo>
                    <a:pt x="106" y="75"/>
                  </a:lnTo>
                  <a:lnTo>
                    <a:pt x="106" y="73"/>
                  </a:lnTo>
                  <a:lnTo>
                    <a:pt x="107" y="69"/>
                  </a:lnTo>
                  <a:lnTo>
                    <a:pt x="107" y="71"/>
                  </a:lnTo>
                  <a:lnTo>
                    <a:pt x="107" y="72"/>
                  </a:lnTo>
                  <a:lnTo>
                    <a:pt x="109" y="72"/>
                  </a:lnTo>
                  <a:lnTo>
                    <a:pt x="109" y="73"/>
                  </a:lnTo>
                  <a:lnTo>
                    <a:pt x="108" y="75"/>
                  </a:lnTo>
                  <a:lnTo>
                    <a:pt x="108" y="77"/>
                  </a:lnTo>
                  <a:lnTo>
                    <a:pt x="109" y="78"/>
                  </a:lnTo>
                  <a:lnTo>
                    <a:pt x="109" y="77"/>
                  </a:lnTo>
                  <a:lnTo>
                    <a:pt x="112" y="78"/>
                  </a:lnTo>
                  <a:lnTo>
                    <a:pt x="112" y="81"/>
                  </a:lnTo>
                  <a:lnTo>
                    <a:pt x="114" y="79"/>
                  </a:lnTo>
                  <a:lnTo>
                    <a:pt x="114" y="81"/>
                  </a:lnTo>
                  <a:lnTo>
                    <a:pt x="115" y="81"/>
                  </a:lnTo>
                  <a:lnTo>
                    <a:pt x="117" y="82"/>
                  </a:lnTo>
                  <a:lnTo>
                    <a:pt x="118" y="83"/>
                  </a:lnTo>
                  <a:lnTo>
                    <a:pt x="119" y="85"/>
                  </a:lnTo>
                  <a:lnTo>
                    <a:pt x="119" y="87"/>
                  </a:lnTo>
                  <a:lnTo>
                    <a:pt x="115" y="84"/>
                  </a:lnTo>
                  <a:lnTo>
                    <a:pt x="112" y="82"/>
                  </a:lnTo>
                  <a:lnTo>
                    <a:pt x="111" y="81"/>
                  </a:lnTo>
                  <a:lnTo>
                    <a:pt x="111" y="82"/>
                  </a:lnTo>
                  <a:lnTo>
                    <a:pt x="112" y="83"/>
                  </a:lnTo>
                  <a:lnTo>
                    <a:pt x="113" y="85"/>
                  </a:lnTo>
                  <a:lnTo>
                    <a:pt x="114" y="87"/>
                  </a:lnTo>
                  <a:lnTo>
                    <a:pt x="115" y="88"/>
                  </a:lnTo>
                  <a:lnTo>
                    <a:pt x="114" y="88"/>
                  </a:lnTo>
                  <a:lnTo>
                    <a:pt x="115" y="93"/>
                  </a:lnTo>
                  <a:lnTo>
                    <a:pt x="117" y="95"/>
                  </a:lnTo>
                  <a:lnTo>
                    <a:pt x="118" y="95"/>
                  </a:lnTo>
                  <a:lnTo>
                    <a:pt x="118" y="96"/>
                  </a:lnTo>
                  <a:lnTo>
                    <a:pt x="119" y="96"/>
                  </a:lnTo>
                  <a:lnTo>
                    <a:pt x="119" y="97"/>
                  </a:lnTo>
                  <a:lnTo>
                    <a:pt x="120" y="96"/>
                  </a:lnTo>
                  <a:lnTo>
                    <a:pt x="120" y="100"/>
                  </a:lnTo>
                  <a:lnTo>
                    <a:pt x="120" y="101"/>
                  </a:lnTo>
                  <a:lnTo>
                    <a:pt x="121" y="101"/>
                  </a:lnTo>
                  <a:lnTo>
                    <a:pt x="123" y="101"/>
                  </a:lnTo>
                  <a:lnTo>
                    <a:pt x="123" y="100"/>
                  </a:lnTo>
                  <a:lnTo>
                    <a:pt x="124" y="99"/>
                  </a:lnTo>
                  <a:lnTo>
                    <a:pt x="125" y="97"/>
                  </a:lnTo>
                  <a:lnTo>
                    <a:pt x="127" y="96"/>
                  </a:lnTo>
                  <a:lnTo>
                    <a:pt x="125" y="96"/>
                  </a:lnTo>
                  <a:lnTo>
                    <a:pt x="123" y="97"/>
                  </a:lnTo>
                  <a:lnTo>
                    <a:pt x="121" y="96"/>
                  </a:lnTo>
                  <a:lnTo>
                    <a:pt x="121" y="95"/>
                  </a:lnTo>
                  <a:lnTo>
                    <a:pt x="123" y="94"/>
                  </a:lnTo>
                  <a:lnTo>
                    <a:pt x="123" y="93"/>
                  </a:lnTo>
                  <a:lnTo>
                    <a:pt x="124" y="93"/>
                  </a:lnTo>
                  <a:lnTo>
                    <a:pt x="125" y="91"/>
                  </a:lnTo>
                  <a:lnTo>
                    <a:pt x="126" y="91"/>
                  </a:lnTo>
                  <a:lnTo>
                    <a:pt x="127" y="90"/>
                  </a:lnTo>
                  <a:lnTo>
                    <a:pt x="126" y="89"/>
                  </a:lnTo>
                  <a:lnTo>
                    <a:pt x="126" y="88"/>
                  </a:lnTo>
                  <a:lnTo>
                    <a:pt x="123" y="90"/>
                  </a:lnTo>
                  <a:lnTo>
                    <a:pt x="121" y="90"/>
                  </a:lnTo>
                  <a:lnTo>
                    <a:pt x="123" y="89"/>
                  </a:lnTo>
                  <a:lnTo>
                    <a:pt x="121" y="89"/>
                  </a:lnTo>
                  <a:lnTo>
                    <a:pt x="121" y="88"/>
                  </a:lnTo>
                  <a:lnTo>
                    <a:pt x="121" y="85"/>
                  </a:lnTo>
                  <a:lnTo>
                    <a:pt x="121" y="84"/>
                  </a:lnTo>
                  <a:lnTo>
                    <a:pt x="119" y="81"/>
                  </a:lnTo>
                  <a:lnTo>
                    <a:pt x="121" y="82"/>
                  </a:lnTo>
                  <a:lnTo>
                    <a:pt x="123" y="82"/>
                  </a:lnTo>
                  <a:lnTo>
                    <a:pt x="125" y="82"/>
                  </a:lnTo>
                  <a:lnTo>
                    <a:pt x="126" y="82"/>
                  </a:lnTo>
                  <a:lnTo>
                    <a:pt x="127" y="79"/>
                  </a:lnTo>
                  <a:lnTo>
                    <a:pt x="126" y="78"/>
                  </a:lnTo>
                  <a:lnTo>
                    <a:pt x="125" y="79"/>
                  </a:lnTo>
                  <a:lnTo>
                    <a:pt x="124" y="79"/>
                  </a:lnTo>
                  <a:lnTo>
                    <a:pt x="123" y="77"/>
                  </a:lnTo>
                  <a:lnTo>
                    <a:pt x="123" y="76"/>
                  </a:lnTo>
                  <a:lnTo>
                    <a:pt x="125" y="76"/>
                  </a:lnTo>
                  <a:lnTo>
                    <a:pt x="127" y="77"/>
                  </a:lnTo>
                  <a:lnTo>
                    <a:pt x="127" y="76"/>
                  </a:lnTo>
                  <a:lnTo>
                    <a:pt x="129" y="76"/>
                  </a:lnTo>
                  <a:lnTo>
                    <a:pt x="130" y="75"/>
                  </a:lnTo>
                  <a:lnTo>
                    <a:pt x="130" y="73"/>
                  </a:lnTo>
                  <a:lnTo>
                    <a:pt x="131" y="76"/>
                  </a:lnTo>
                  <a:lnTo>
                    <a:pt x="131" y="78"/>
                  </a:lnTo>
                  <a:lnTo>
                    <a:pt x="132" y="77"/>
                  </a:lnTo>
                  <a:lnTo>
                    <a:pt x="132" y="78"/>
                  </a:lnTo>
                  <a:lnTo>
                    <a:pt x="133" y="79"/>
                  </a:lnTo>
                  <a:lnTo>
                    <a:pt x="135" y="81"/>
                  </a:lnTo>
                  <a:lnTo>
                    <a:pt x="136" y="82"/>
                  </a:lnTo>
                  <a:lnTo>
                    <a:pt x="137" y="85"/>
                  </a:lnTo>
                  <a:lnTo>
                    <a:pt x="137" y="87"/>
                  </a:lnTo>
                  <a:lnTo>
                    <a:pt x="138" y="88"/>
                  </a:lnTo>
                  <a:lnTo>
                    <a:pt x="138" y="87"/>
                  </a:lnTo>
                  <a:lnTo>
                    <a:pt x="139" y="88"/>
                  </a:lnTo>
                  <a:lnTo>
                    <a:pt x="141" y="87"/>
                  </a:lnTo>
                  <a:lnTo>
                    <a:pt x="142" y="87"/>
                  </a:lnTo>
                  <a:lnTo>
                    <a:pt x="142" y="84"/>
                  </a:lnTo>
                  <a:lnTo>
                    <a:pt x="144" y="85"/>
                  </a:lnTo>
                  <a:lnTo>
                    <a:pt x="145" y="87"/>
                  </a:lnTo>
                  <a:lnTo>
                    <a:pt x="147" y="89"/>
                  </a:lnTo>
                  <a:lnTo>
                    <a:pt x="148" y="89"/>
                  </a:lnTo>
                  <a:lnTo>
                    <a:pt x="149" y="91"/>
                  </a:lnTo>
                  <a:lnTo>
                    <a:pt x="150" y="91"/>
                  </a:lnTo>
                  <a:lnTo>
                    <a:pt x="153" y="90"/>
                  </a:lnTo>
                  <a:lnTo>
                    <a:pt x="150" y="90"/>
                  </a:lnTo>
                  <a:lnTo>
                    <a:pt x="151" y="89"/>
                  </a:lnTo>
                  <a:lnTo>
                    <a:pt x="151" y="88"/>
                  </a:lnTo>
                  <a:lnTo>
                    <a:pt x="153" y="88"/>
                  </a:lnTo>
                  <a:lnTo>
                    <a:pt x="154" y="87"/>
                  </a:lnTo>
                  <a:lnTo>
                    <a:pt x="154" y="85"/>
                  </a:lnTo>
                  <a:lnTo>
                    <a:pt x="156" y="85"/>
                  </a:lnTo>
                  <a:lnTo>
                    <a:pt x="156" y="87"/>
                  </a:lnTo>
                  <a:lnTo>
                    <a:pt x="159" y="87"/>
                  </a:lnTo>
                  <a:lnTo>
                    <a:pt x="160" y="88"/>
                  </a:lnTo>
                  <a:lnTo>
                    <a:pt x="160" y="89"/>
                  </a:lnTo>
                  <a:lnTo>
                    <a:pt x="160" y="88"/>
                  </a:lnTo>
                  <a:lnTo>
                    <a:pt x="161" y="88"/>
                  </a:lnTo>
                  <a:lnTo>
                    <a:pt x="161" y="87"/>
                  </a:lnTo>
                  <a:lnTo>
                    <a:pt x="162" y="87"/>
                  </a:lnTo>
                  <a:lnTo>
                    <a:pt x="164" y="88"/>
                  </a:lnTo>
                  <a:lnTo>
                    <a:pt x="165" y="87"/>
                  </a:lnTo>
                  <a:lnTo>
                    <a:pt x="162" y="87"/>
                  </a:lnTo>
                  <a:lnTo>
                    <a:pt x="161" y="85"/>
                  </a:lnTo>
                  <a:lnTo>
                    <a:pt x="161" y="83"/>
                  </a:lnTo>
                  <a:lnTo>
                    <a:pt x="162" y="84"/>
                  </a:lnTo>
                  <a:lnTo>
                    <a:pt x="164" y="83"/>
                  </a:lnTo>
                  <a:lnTo>
                    <a:pt x="165" y="82"/>
                  </a:lnTo>
                  <a:lnTo>
                    <a:pt x="165" y="81"/>
                  </a:lnTo>
                  <a:lnTo>
                    <a:pt x="166" y="82"/>
                  </a:lnTo>
                  <a:lnTo>
                    <a:pt x="167" y="82"/>
                  </a:lnTo>
                  <a:lnTo>
                    <a:pt x="168" y="83"/>
                  </a:lnTo>
                  <a:lnTo>
                    <a:pt x="170" y="83"/>
                  </a:lnTo>
                  <a:lnTo>
                    <a:pt x="171" y="82"/>
                  </a:lnTo>
                  <a:lnTo>
                    <a:pt x="170" y="81"/>
                  </a:lnTo>
                  <a:lnTo>
                    <a:pt x="170" y="79"/>
                  </a:lnTo>
                  <a:lnTo>
                    <a:pt x="172" y="78"/>
                  </a:lnTo>
                  <a:lnTo>
                    <a:pt x="172" y="77"/>
                  </a:lnTo>
                  <a:lnTo>
                    <a:pt x="173" y="77"/>
                  </a:lnTo>
                  <a:lnTo>
                    <a:pt x="171" y="77"/>
                  </a:lnTo>
                  <a:lnTo>
                    <a:pt x="168" y="78"/>
                  </a:lnTo>
                  <a:lnTo>
                    <a:pt x="168" y="77"/>
                  </a:lnTo>
                  <a:lnTo>
                    <a:pt x="170" y="75"/>
                  </a:lnTo>
                  <a:lnTo>
                    <a:pt x="171" y="73"/>
                  </a:lnTo>
                  <a:lnTo>
                    <a:pt x="172" y="73"/>
                  </a:lnTo>
                  <a:lnTo>
                    <a:pt x="172" y="71"/>
                  </a:lnTo>
                  <a:lnTo>
                    <a:pt x="173" y="71"/>
                  </a:lnTo>
                  <a:lnTo>
                    <a:pt x="174" y="70"/>
                  </a:lnTo>
                  <a:lnTo>
                    <a:pt x="178" y="71"/>
                  </a:lnTo>
                  <a:lnTo>
                    <a:pt x="179" y="70"/>
                  </a:lnTo>
                  <a:lnTo>
                    <a:pt x="180" y="70"/>
                  </a:lnTo>
                  <a:lnTo>
                    <a:pt x="179" y="66"/>
                  </a:lnTo>
                  <a:lnTo>
                    <a:pt x="178" y="67"/>
                  </a:lnTo>
                  <a:lnTo>
                    <a:pt x="178" y="69"/>
                  </a:lnTo>
                  <a:lnTo>
                    <a:pt x="178" y="66"/>
                  </a:lnTo>
                  <a:lnTo>
                    <a:pt x="178" y="65"/>
                  </a:lnTo>
                  <a:lnTo>
                    <a:pt x="176" y="65"/>
                  </a:lnTo>
                  <a:lnTo>
                    <a:pt x="172" y="65"/>
                  </a:lnTo>
                  <a:lnTo>
                    <a:pt x="170" y="65"/>
                  </a:lnTo>
                  <a:lnTo>
                    <a:pt x="171" y="64"/>
                  </a:lnTo>
                  <a:lnTo>
                    <a:pt x="172" y="64"/>
                  </a:lnTo>
                  <a:lnTo>
                    <a:pt x="174" y="63"/>
                  </a:lnTo>
                  <a:lnTo>
                    <a:pt x="176" y="64"/>
                  </a:lnTo>
                  <a:lnTo>
                    <a:pt x="178" y="65"/>
                  </a:lnTo>
                  <a:lnTo>
                    <a:pt x="179" y="65"/>
                  </a:lnTo>
                  <a:lnTo>
                    <a:pt x="177" y="59"/>
                  </a:lnTo>
                  <a:lnTo>
                    <a:pt x="174" y="55"/>
                  </a:lnTo>
                  <a:lnTo>
                    <a:pt x="174" y="57"/>
                  </a:lnTo>
                  <a:lnTo>
                    <a:pt x="172" y="57"/>
                  </a:lnTo>
                  <a:lnTo>
                    <a:pt x="172" y="58"/>
                  </a:lnTo>
                  <a:lnTo>
                    <a:pt x="172" y="55"/>
                  </a:lnTo>
                  <a:lnTo>
                    <a:pt x="172" y="54"/>
                  </a:lnTo>
                  <a:lnTo>
                    <a:pt x="173" y="54"/>
                  </a:lnTo>
                  <a:lnTo>
                    <a:pt x="173" y="53"/>
                  </a:lnTo>
                  <a:lnTo>
                    <a:pt x="171" y="53"/>
                  </a:lnTo>
                  <a:lnTo>
                    <a:pt x="170" y="54"/>
                  </a:lnTo>
                  <a:lnTo>
                    <a:pt x="168" y="55"/>
                  </a:lnTo>
                  <a:lnTo>
                    <a:pt x="168" y="53"/>
                  </a:lnTo>
                  <a:lnTo>
                    <a:pt x="168" y="52"/>
                  </a:lnTo>
                  <a:lnTo>
                    <a:pt x="170" y="51"/>
                  </a:lnTo>
                  <a:lnTo>
                    <a:pt x="171" y="51"/>
                  </a:lnTo>
                  <a:lnTo>
                    <a:pt x="173" y="52"/>
                  </a:lnTo>
                  <a:lnTo>
                    <a:pt x="171" y="48"/>
                  </a:lnTo>
                  <a:lnTo>
                    <a:pt x="168" y="48"/>
                  </a:lnTo>
                  <a:lnTo>
                    <a:pt x="165" y="51"/>
                  </a:lnTo>
                  <a:lnTo>
                    <a:pt x="165" y="52"/>
                  </a:lnTo>
                  <a:lnTo>
                    <a:pt x="164" y="53"/>
                  </a:lnTo>
                  <a:lnTo>
                    <a:pt x="164" y="52"/>
                  </a:lnTo>
                  <a:lnTo>
                    <a:pt x="162" y="51"/>
                  </a:lnTo>
                  <a:lnTo>
                    <a:pt x="162" y="48"/>
                  </a:lnTo>
                  <a:lnTo>
                    <a:pt x="164" y="47"/>
                  </a:lnTo>
                  <a:lnTo>
                    <a:pt x="165" y="48"/>
                  </a:lnTo>
                  <a:lnTo>
                    <a:pt x="168" y="48"/>
                  </a:lnTo>
                  <a:lnTo>
                    <a:pt x="170" y="47"/>
                  </a:lnTo>
                  <a:lnTo>
                    <a:pt x="167" y="47"/>
                  </a:lnTo>
                  <a:lnTo>
                    <a:pt x="166" y="47"/>
                  </a:lnTo>
                  <a:lnTo>
                    <a:pt x="166" y="46"/>
                  </a:lnTo>
                  <a:lnTo>
                    <a:pt x="167" y="46"/>
                  </a:lnTo>
                  <a:lnTo>
                    <a:pt x="168" y="45"/>
                  </a:lnTo>
                  <a:lnTo>
                    <a:pt x="166" y="45"/>
                  </a:lnTo>
                  <a:lnTo>
                    <a:pt x="165" y="46"/>
                  </a:lnTo>
                  <a:lnTo>
                    <a:pt x="164" y="46"/>
                  </a:lnTo>
                  <a:lnTo>
                    <a:pt x="164" y="45"/>
                  </a:lnTo>
                  <a:lnTo>
                    <a:pt x="165" y="45"/>
                  </a:lnTo>
                  <a:lnTo>
                    <a:pt x="167" y="45"/>
                  </a:lnTo>
                  <a:lnTo>
                    <a:pt x="166" y="43"/>
                  </a:lnTo>
                  <a:lnTo>
                    <a:pt x="165" y="43"/>
                  </a:lnTo>
                  <a:lnTo>
                    <a:pt x="162" y="45"/>
                  </a:lnTo>
                  <a:lnTo>
                    <a:pt x="161" y="42"/>
                  </a:lnTo>
                  <a:lnTo>
                    <a:pt x="164" y="41"/>
                  </a:lnTo>
                  <a:lnTo>
                    <a:pt x="165" y="43"/>
                  </a:lnTo>
                  <a:lnTo>
                    <a:pt x="166" y="42"/>
                  </a:lnTo>
                  <a:lnTo>
                    <a:pt x="164" y="41"/>
                  </a:lnTo>
                  <a:lnTo>
                    <a:pt x="162" y="41"/>
                  </a:lnTo>
                  <a:lnTo>
                    <a:pt x="161" y="40"/>
                  </a:lnTo>
                  <a:lnTo>
                    <a:pt x="157" y="39"/>
                  </a:lnTo>
                  <a:lnTo>
                    <a:pt x="160" y="39"/>
                  </a:lnTo>
                  <a:lnTo>
                    <a:pt x="162" y="40"/>
                  </a:lnTo>
                  <a:lnTo>
                    <a:pt x="165" y="40"/>
                  </a:lnTo>
                  <a:lnTo>
                    <a:pt x="167" y="42"/>
                  </a:lnTo>
                  <a:lnTo>
                    <a:pt x="168" y="41"/>
                  </a:lnTo>
                  <a:lnTo>
                    <a:pt x="167" y="39"/>
                  </a:lnTo>
                  <a:lnTo>
                    <a:pt x="166" y="39"/>
                  </a:lnTo>
                  <a:lnTo>
                    <a:pt x="162" y="37"/>
                  </a:lnTo>
                  <a:lnTo>
                    <a:pt x="161" y="36"/>
                  </a:lnTo>
                  <a:lnTo>
                    <a:pt x="167" y="37"/>
                  </a:lnTo>
                  <a:lnTo>
                    <a:pt x="167" y="39"/>
                  </a:lnTo>
                  <a:lnTo>
                    <a:pt x="168" y="40"/>
                  </a:lnTo>
                  <a:lnTo>
                    <a:pt x="170" y="39"/>
                  </a:lnTo>
                  <a:lnTo>
                    <a:pt x="171" y="37"/>
                  </a:lnTo>
                  <a:lnTo>
                    <a:pt x="171" y="36"/>
                  </a:lnTo>
                  <a:lnTo>
                    <a:pt x="172" y="35"/>
                  </a:lnTo>
                  <a:lnTo>
                    <a:pt x="174" y="35"/>
                  </a:lnTo>
                  <a:lnTo>
                    <a:pt x="176" y="35"/>
                  </a:lnTo>
                  <a:lnTo>
                    <a:pt x="177" y="35"/>
                  </a:lnTo>
                  <a:lnTo>
                    <a:pt x="176" y="37"/>
                  </a:lnTo>
                  <a:lnTo>
                    <a:pt x="172" y="37"/>
                  </a:lnTo>
                  <a:lnTo>
                    <a:pt x="171" y="39"/>
                  </a:lnTo>
                  <a:lnTo>
                    <a:pt x="171" y="41"/>
                  </a:lnTo>
                  <a:lnTo>
                    <a:pt x="170" y="41"/>
                  </a:lnTo>
                  <a:lnTo>
                    <a:pt x="172" y="42"/>
                  </a:lnTo>
                  <a:lnTo>
                    <a:pt x="171" y="43"/>
                  </a:lnTo>
                  <a:lnTo>
                    <a:pt x="171" y="46"/>
                  </a:lnTo>
                  <a:lnTo>
                    <a:pt x="172" y="46"/>
                  </a:lnTo>
                  <a:lnTo>
                    <a:pt x="172" y="47"/>
                  </a:lnTo>
                  <a:lnTo>
                    <a:pt x="172" y="49"/>
                  </a:lnTo>
                  <a:lnTo>
                    <a:pt x="174" y="54"/>
                  </a:lnTo>
                  <a:lnTo>
                    <a:pt x="179" y="64"/>
                  </a:lnTo>
                  <a:lnTo>
                    <a:pt x="180" y="64"/>
                  </a:lnTo>
                  <a:lnTo>
                    <a:pt x="182" y="63"/>
                  </a:lnTo>
                  <a:lnTo>
                    <a:pt x="182" y="60"/>
                  </a:lnTo>
                  <a:lnTo>
                    <a:pt x="182" y="59"/>
                  </a:lnTo>
                  <a:lnTo>
                    <a:pt x="183" y="59"/>
                  </a:lnTo>
                  <a:lnTo>
                    <a:pt x="184" y="60"/>
                  </a:lnTo>
                  <a:lnTo>
                    <a:pt x="185" y="60"/>
                  </a:lnTo>
                  <a:lnTo>
                    <a:pt x="184" y="58"/>
                  </a:lnTo>
                  <a:lnTo>
                    <a:pt x="185" y="58"/>
                  </a:lnTo>
                  <a:lnTo>
                    <a:pt x="188" y="58"/>
                  </a:lnTo>
                  <a:lnTo>
                    <a:pt x="189" y="57"/>
                  </a:lnTo>
                  <a:lnTo>
                    <a:pt x="190" y="55"/>
                  </a:lnTo>
                  <a:lnTo>
                    <a:pt x="191" y="57"/>
                  </a:lnTo>
                  <a:lnTo>
                    <a:pt x="192" y="58"/>
                  </a:lnTo>
                  <a:lnTo>
                    <a:pt x="191" y="58"/>
                  </a:lnTo>
                  <a:lnTo>
                    <a:pt x="191" y="59"/>
                  </a:lnTo>
                  <a:lnTo>
                    <a:pt x="194" y="59"/>
                  </a:lnTo>
                  <a:lnTo>
                    <a:pt x="194" y="60"/>
                  </a:lnTo>
                  <a:lnTo>
                    <a:pt x="194" y="61"/>
                  </a:lnTo>
                  <a:lnTo>
                    <a:pt x="195" y="61"/>
                  </a:lnTo>
                  <a:lnTo>
                    <a:pt x="195" y="63"/>
                  </a:lnTo>
                  <a:lnTo>
                    <a:pt x="196" y="63"/>
                  </a:lnTo>
                  <a:lnTo>
                    <a:pt x="191" y="61"/>
                  </a:lnTo>
                  <a:lnTo>
                    <a:pt x="188" y="61"/>
                  </a:lnTo>
                  <a:lnTo>
                    <a:pt x="188" y="63"/>
                  </a:lnTo>
                  <a:lnTo>
                    <a:pt x="188" y="64"/>
                  </a:lnTo>
                  <a:lnTo>
                    <a:pt x="188" y="65"/>
                  </a:lnTo>
                  <a:lnTo>
                    <a:pt x="188" y="67"/>
                  </a:lnTo>
                  <a:lnTo>
                    <a:pt x="190" y="66"/>
                  </a:lnTo>
                  <a:lnTo>
                    <a:pt x="191" y="66"/>
                  </a:lnTo>
                  <a:lnTo>
                    <a:pt x="191" y="67"/>
                  </a:lnTo>
                  <a:lnTo>
                    <a:pt x="192" y="67"/>
                  </a:lnTo>
                  <a:lnTo>
                    <a:pt x="194" y="66"/>
                  </a:lnTo>
                  <a:lnTo>
                    <a:pt x="194" y="67"/>
                  </a:lnTo>
                  <a:lnTo>
                    <a:pt x="195" y="67"/>
                  </a:lnTo>
                  <a:lnTo>
                    <a:pt x="195" y="69"/>
                  </a:lnTo>
                  <a:lnTo>
                    <a:pt x="198" y="69"/>
                  </a:lnTo>
                  <a:lnTo>
                    <a:pt x="196" y="69"/>
                  </a:lnTo>
                  <a:lnTo>
                    <a:pt x="195" y="70"/>
                  </a:lnTo>
                  <a:lnTo>
                    <a:pt x="195" y="71"/>
                  </a:lnTo>
                  <a:lnTo>
                    <a:pt x="195" y="73"/>
                  </a:lnTo>
                  <a:lnTo>
                    <a:pt x="195" y="76"/>
                  </a:lnTo>
                  <a:lnTo>
                    <a:pt x="194" y="75"/>
                  </a:lnTo>
                  <a:lnTo>
                    <a:pt x="194" y="73"/>
                  </a:lnTo>
                  <a:lnTo>
                    <a:pt x="192" y="73"/>
                  </a:lnTo>
                  <a:lnTo>
                    <a:pt x="191" y="73"/>
                  </a:lnTo>
                  <a:lnTo>
                    <a:pt x="189" y="73"/>
                  </a:lnTo>
                  <a:lnTo>
                    <a:pt x="188" y="72"/>
                  </a:lnTo>
                  <a:lnTo>
                    <a:pt x="186" y="72"/>
                  </a:lnTo>
                  <a:lnTo>
                    <a:pt x="183" y="73"/>
                  </a:lnTo>
                  <a:lnTo>
                    <a:pt x="184" y="77"/>
                  </a:lnTo>
                  <a:lnTo>
                    <a:pt x="185" y="77"/>
                  </a:lnTo>
                  <a:lnTo>
                    <a:pt x="186" y="76"/>
                  </a:lnTo>
                  <a:lnTo>
                    <a:pt x="188" y="76"/>
                  </a:lnTo>
                  <a:lnTo>
                    <a:pt x="190" y="76"/>
                  </a:lnTo>
                  <a:lnTo>
                    <a:pt x="190" y="77"/>
                  </a:lnTo>
                  <a:lnTo>
                    <a:pt x="191" y="77"/>
                  </a:lnTo>
                  <a:lnTo>
                    <a:pt x="192" y="77"/>
                  </a:lnTo>
                  <a:lnTo>
                    <a:pt x="192" y="78"/>
                  </a:lnTo>
                  <a:lnTo>
                    <a:pt x="194" y="78"/>
                  </a:lnTo>
                  <a:lnTo>
                    <a:pt x="196" y="78"/>
                  </a:lnTo>
                  <a:lnTo>
                    <a:pt x="197" y="79"/>
                  </a:lnTo>
                  <a:lnTo>
                    <a:pt x="197" y="81"/>
                  </a:lnTo>
                  <a:lnTo>
                    <a:pt x="200" y="79"/>
                  </a:lnTo>
                  <a:lnTo>
                    <a:pt x="201" y="78"/>
                  </a:lnTo>
                  <a:lnTo>
                    <a:pt x="201" y="79"/>
                  </a:lnTo>
                  <a:lnTo>
                    <a:pt x="202" y="79"/>
                  </a:lnTo>
                  <a:lnTo>
                    <a:pt x="203" y="81"/>
                  </a:lnTo>
                  <a:lnTo>
                    <a:pt x="204" y="79"/>
                  </a:lnTo>
                  <a:lnTo>
                    <a:pt x="206" y="79"/>
                  </a:lnTo>
                  <a:lnTo>
                    <a:pt x="206" y="78"/>
                  </a:lnTo>
                  <a:lnTo>
                    <a:pt x="206" y="77"/>
                  </a:lnTo>
                  <a:lnTo>
                    <a:pt x="208" y="76"/>
                  </a:lnTo>
                  <a:lnTo>
                    <a:pt x="208" y="75"/>
                  </a:lnTo>
                  <a:lnTo>
                    <a:pt x="209" y="73"/>
                  </a:lnTo>
                  <a:lnTo>
                    <a:pt x="210" y="72"/>
                  </a:lnTo>
                  <a:lnTo>
                    <a:pt x="212" y="71"/>
                  </a:lnTo>
                  <a:lnTo>
                    <a:pt x="209" y="70"/>
                  </a:lnTo>
                  <a:lnTo>
                    <a:pt x="208" y="65"/>
                  </a:lnTo>
                  <a:lnTo>
                    <a:pt x="209" y="67"/>
                  </a:lnTo>
                  <a:lnTo>
                    <a:pt x="210" y="66"/>
                  </a:lnTo>
                  <a:lnTo>
                    <a:pt x="210" y="65"/>
                  </a:lnTo>
                  <a:lnTo>
                    <a:pt x="212" y="65"/>
                  </a:lnTo>
                  <a:lnTo>
                    <a:pt x="213" y="65"/>
                  </a:lnTo>
                  <a:lnTo>
                    <a:pt x="213" y="66"/>
                  </a:lnTo>
                  <a:lnTo>
                    <a:pt x="212" y="66"/>
                  </a:lnTo>
                  <a:lnTo>
                    <a:pt x="210" y="69"/>
                  </a:lnTo>
                  <a:lnTo>
                    <a:pt x="210" y="70"/>
                  </a:lnTo>
                  <a:lnTo>
                    <a:pt x="212" y="69"/>
                  </a:lnTo>
                  <a:lnTo>
                    <a:pt x="212" y="67"/>
                  </a:lnTo>
                  <a:lnTo>
                    <a:pt x="213" y="67"/>
                  </a:lnTo>
                  <a:lnTo>
                    <a:pt x="213" y="70"/>
                  </a:lnTo>
                  <a:lnTo>
                    <a:pt x="212" y="70"/>
                  </a:lnTo>
                  <a:lnTo>
                    <a:pt x="213" y="71"/>
                  </a:lnTo>
                  <a:lnTo>
                    <a:pt x="215" y="72"/>
                  </a:lnTo>
                  <a:lnTo>
                    <a:pt x="216" y="72"/>
                  </a:lnTo>
                  <a:lnTo>
                    <a:pt x="215" y="71"/>
                  </a:lnTo>
                  <a:lnTo>
                    <a:pt x="215" y="70"/>
                  </a:lnTo>
                  <a:lnTo>
                    <a:pt x="218" y="70"/>
                  </a:lnTo>
                  <a:lnTo>
                    <a:pt x="218" y="71"/>
                  </a:lnTo>
                  <a:lnTo>
                    <a:pt x="219" y="73"/>
                  </a:lnTo>
                  <a:lnTo>
                    <a:pt x="220" y="72"/>
                  </a:lnTo>
                  <a:lnTo>
                    <a:pt x="220" y="70"/>
                  </a:lnTo>
                  <a:lnTo>
                    <a:pt x="219" y="70"/>
                  </a:lnTo>
                  <a:lnTo>
                    <a:pt x="218" y="67"/>
                  </a:lnTo>
                  <a:lnTo>
                    <a:pt x="219" y="69"/>
                  </a:lnTo>
                  <a:lnTo>
                    <a:pt x="219" y="67"/>
                  </a:lnTo>
                  <a:lnTo>
                    <a:pt x="219" y="66"/>
                  </a:lnTo>
                  <a:lnTo>
                    <a:pt x="220" y="66"/>
                  </a:lnTo>
                  <a:lnTo>
                    <a:pt x="221" y="65"/>
                  </a:lnTo>
                  <a:lnTo>
                    <a:pt x="221" y="64"/>
                  </a:lnTo>
                  <a:lnTo>
                    <a:pt x="221" y="63"/>
                  </a:lnTo>
                  <a:lnTo>
                    <a:pt x="223" y="63"/>
                  </a:lnTo>
                  <a:lnTo>
                    <a:pt x="224" y="63"/>
                  </a:lnTo>
                  <a:lnTo>
                    <a:pt x="224" y="65"/>
                  </a:lnTo>
                  <a:lnTo>
                    <a:pt x="225" y="65"/>
                  </a:lnTo>
                  <a:lnTo>
                    <a:pt x="226" y="65"/>
                  </a:lnTo>
                  <a:lnTo>
                    <a:pt x="225" y="63"/>
                  </a:lnTo>
                  <a:lnTo>
                    <a:pt x="226" y="63"/>
                  </a:lnTo>
                  <a:lnTo>
                    <a:pt x="226" y="61"/>
                  </a:lnTo>
                  <a:lnTo>
                    <a:pt x="226" y="66"/>
                  </a:lnTo>
                  <a:lnTo>
                    <a:pt x="227" y="66"/>
                  </a:lnTo>
                  <a:lnTo>
                    <a:pt x="230" y="67"/>
                  </a:lnTo>
                  <a:lnTo>
                    <a:pt x="230" y="66"/>
                  </a:lnTo>
                  <a:lnTo>
                    <a:pt x="229" y="65"/>
                  </a:lnTo>
                  <a:lnTo>
                    <a:pt x="229" y="64"/>
                  </a:lnTo>
                  <a:lnTo>
                    <a:pt x="229" y="63"/>
                  </a:lnTo>
                  <a:lnTo>
                    <a:pt x="229" y="61"/>
                  </a:lnTo>
                  <a:lnTo>
                    <a:pt x="230" y="60"/>
                  </a:lnTo>
                  <a:lnTo>
                    <a:pt x="229" y="59"/>
                  </a:lnTo>
                  <a:lnTo>
                    <a:pt x="230" y="59"/>
                  </a:lnTo>
                  <a:lnTo>
                    <a:pt x="231" y="58"/>
                  </a:lnTo>
                  <a:lnTo>
                    <a:pt x="232" y="57"/>
                  </a:lnTo>
                  <a:lnTo>
                    <a:pt x="233" y="58"/>
                  </a:lnTo>
                  <a:lnTo>
                    <a:pt x="233" y="60"/>
                  </a:lnTo>
                  <a:lnTo>
                    <a:pt x="235" y="61"/>
                  </a:lnTo>
                  <a:lnTo>
                    <a:pt x="233" y="63"/>
                  </a:lnTo>
                  <a:lnTo>
                    <a:pt x="235" y="66"/>
                  </a:lnTo>
                  <a:lnTo>
                    <a:pt x="233" y="67"/>
                  </a:lnTo>
                  <a:lnTo>
                    <a:pt x="232" y="66"/>
                  </a:lnTo>
                  <a:lnTo>
                    <a:pt x="232" y="67"/>
                  </a:lnTo>
                  <a:lnTo>
                    <a:pt x="233" y="69"/>
                  </a:lnTo>
                  <a:lnTo>
                    <a:pt x="235" y="69"/>
                  </a:lnTo>
                  <a:lnTo>
                    <a:pt x="236" y="70"/>
                  </a:lnTo>
                  <a:lnTo>
                    <a:pt x="236" y="71"/>
                  </a:lnTo>
                  <a:lnTo>
                    <a:pt x="238" y="71"/>
                  </a:lnTo>
                  <a:lnTo>
                    <a:pt x="239" y="71"/>
                  </a:lnTo>
                  <a:lnTo>
                    <a:pt x="239" y="72"/>
                  </a:lnTo>
                  <a:lnTo>
                    <a:pt x="241" y="73"/>
                  </a:lnTo>
                  <a:lnTo>
                    <a:pt x="242" y="75"/>
                  </a:lnTo>
                  <a:lnTo>
                    <a:pt x="243" y="75"/>
                  </a:lnTo>
                  <a:lnTo>
                    <a:pt x="242" y="77"/>
                  </a:lnTo>
                  <a:lnTo>
                    <a:pt x="243" y="78"/>
                  </a:lnTo>
                  <a:lnTo>
                    <a:pt x="244" y="77"/>
                  </a:lnTo>
                  <a:lnTo>
                    <a:pt x="245" y="78"/>
                  </a:lnTo>
                  <a:lnTo>
                    <a:pt x="247" y="77"/>
                  </a:lnTo>
                  <a:lnTo>
                    <a:pt x="247" y="75"/>
                  </a:lnTo>
                  <a:lnTo>
                    <a:pt x="247" y="72"/>
                  </a:lnTo>
                  <a:lnTo>
                    <a:pt x="247" y="71"/>
                  </a:lnTo>
                  <a:lnTo>
                    <a:pt x="247" y="70"/>
                  </a:lnTo>
                  <a:lnTo>
                    <a:pt x="248" y="70"/>
                  </a:lnTo>
                  <a:lnTo>
                    <a:pt x="247" y="69"/>
                  </a:lnTo>
                  <a:lnTo>
                    <a:pt x="247" y="66"/>
                  </a:lnTo>
                  <a:lnTo>
                    <a:pt x="247" y="65"/>
                  </a:lnTo>
                  <a:lnTo>
                    <a:pt x="248" y="66"/>
                  </a:lnTo>
                  <a:lnTo>
                    <a:pt x="249" y="66"/>
                  </a:lnTo>
                  <a:lnTo>
                    <a:pt x="249" y="67"/>
                  </a:lnTo>
                  <a:lnTo>
                    <a:pt x="248" y="70"/>
                  </a:lnTo>
                  <a:lnTo>
                    <a:pt x="249" y="70"/>
                  </a:lnTo>
                  <a:lnTo>
                    <a:pt x="249" y="71"/>
                  </a:lnTo>
                  <a:lnTo>
                    <a:pt x="248" y="73"/>
                  </a:lnTo>
                  <a:lnTo>
                    <a:pt x="247" y="78"/>
                  </a:lnTo>
                  <a:lnTo>
                    <a:pt x="247" y="79"/>
                  </a:lnTo>
                  <a:lnTo>
                    <a:pt x="248" y="78"/>
                  </a:lnTo>
                  <a:lnTo>
                    <a:pt x="250" y="77"/>
                  </a:lnTo>
                  <a:lnTo>
                    <a:pt x="250" y="78"/>
                  </a:lnTo>
                  <a:lnTo>
                    <a:pt x="251" y="78"/>
                  </a:lnTo>
                  <a:lnTo>
                    <a:pt x="254" y="76"/>
                  </a:lnTo>
                  <a:lnTo>
                    <a:pt x="254" y="75"/>
                  </a:lnTo>
                  <a:lnTo>
                    <a:pt x="255" y="76"/>
                  </a:lnTo>
                  <a:lnTo>
                    <a:pt x="256" y="77"/>
                  </a:lnTo>
                  <a:lnTo>
                    <a:pt x="257" y="76"/>
                  </a:lnTo>
                  <a:lnTo>
                    <a:pt x="259" y="76"/>
                  </a:lnTo>
                  <a:lnTo>
                    <a:pt x="260" y="76"/>
                  </a:lnTo>
                  <a:lnTo>
                    <a:pt x="256" y="78"/>
                  </a:lnTo>
                  <a:lnTo>
                    <a:pt x="254" y="78"/>
                  </a:lnTo>
                  <a:lnTo>
                    <a:pt x="251" y="81"/>
                  </a:lnTo>
                  <a:lnTo>
                    <a:pt x="249" y="82"/>
                  </a:lnTo>
                  <a:lnTo>
                    <a:pt x="247" y="83"/>
                  </a:lnTo>
                  <a:lnTo>
                    <a:pt x="245" y="85"/>
                  </a:lnTo>
                  <a:lnTo>
                    <a:pt x="245" y="87"/>
                  </a:lnTo>
                  <a:lnTo>
                    <a:pt x="247" y="85"/>
                  </a:lnTo>
                  <a:lnTo>
                    <a:pt x="248" y="84"/>
                  </a:lnTo>
                  <a:lnTo>
                    <a:pt x="251" y="83"/>
                  </a:lnTo>
                  <a:lnTo>
                    <a:pt x="249" y="87"/>
                  </a:lnTo>
                  <a:lnTo>
                    <a:pt x="248" y="87"/>
                  </a:lnTo>
                  <a:lnTo>
                    <a:pt x="250" y="88"/>
                  </a:lnTo>
                  <a:lnTo>
                    <a:pt x="251" y="90"/>
                  </a:lnTo>
                  <a:lnTo>
                    <a:pt x="253" y="89"/>
                  </a:lnTo>
                  <a:lnTo>
                    <a:pt x="256" y="89"/>
                  </a:lnTo>
                  <a:lnTo>
                    <a:pt x="257" y="89"/>
                  </a:lnTo>
                  <a:lnTo>
                    <a:pt x="257" y="90"/>
                  </a:lnTo>
                  <a:lnTo>
                    <a:pt x="257" y="91"/>
                  </a:lnTo>
                  <a:lnTo>
                    <a:pt x="257" y="94"/>
                  </a:lnTo>
                  <a:lnTo>
                    <a:pt x="259" y="94"/>
                  </a:lnTo>
                  <a:lnTo>
                    <a:pt x="259" y="96"/>
                  </a:lnTo>
                  <a:lnTo>
                    <a:pt x="259" y="97"/>
                  </a:lnTo>
                  <a:lnTo>
                    <a:pt x="260" y="97"/>
                  </a:lnTo>
                  <a:lnTo>
                    <a:pt x="260" y="96"/>
                  </a:lnTo>
                  <a:lnTo>
                    <a:pt x="261" y="95"/>
                  </a:lnTo>
                  <a:lnTo>
                    <a:pt x="262" y="93"/>
                  </a:lnTo>
                  <a:lnTo>
                    <a:pt x="262" y="96"/>
                  </a:lnTo>
                  <a:lnTo>
                    <a:pt x="262" y="97"/>
                  </a:lnTo>
                  <a:lnTo>
                    <a:pt x="265" y="96"/>
                  </a:lnTo>
                  <a:lnTo>
                    <a:pt x="265" y="97"/>
                  </a:lnTo>
                  <a:lnTo>
                    <a:pt x="265" y="99"/>
                  </a:lnTo>
                  <a:lnTo>
                    <a:pt x="266" y="99"/>
                  </a:lnTo>
                  <a:lnTo>
                    <a:pt x="267" y="99"/>
                  </a:lnTo>
                  <a:lnTo>
                    <a:pt x="267" y="100"/>
                  </a:lnTo>
                  <a:lnTo>
                    <a:pt x="268" y="99"/>
                  </a:lnTo>
                  <a:lnTo>
                    <a:pt x="268" y="100"/>
                  </a:lnTo>
                  <a:lnTo>
                    <a:pt x="269" y="99"/>
                  </a:lnTo>
                  <a:lnTo>
                    <a:pt x="272" y="100"/>
                  </a:lnTo>
                  <a:lnTo>
                    <a:pt x="268" y="101"/>
                  </a:lnTo>
                  <a:lnTo>
                    <a:pt x="263" y="100"/>
                  </a:lnTo>
                  <a:lnTo>
                    <a:pt x="265" y="102"/>
                  </a:lnTo>
                  <a:lnTo>
                    <a:pt x="266" y="102"/>
                  </a:lnTo>
                  <a:lnTo>
                    <a:pt x="267" y="102"/>
                  </a:lnTo>
                  <a:lnTo>
                    <a:pt x="268" y="102"/>
                  </a:lnTo>
                  <a:lnTo>
                    <a:pt x="269" y="102"/>
                  </a:lnTo>
                  <a:lnTo>
                    <a:pt x="271" y="102"/>
                  </a:lnTo>
                  <a:lnTo>
                    <a:pt x="273" y="103"/>
                  </a:lnTo>
                  <a:lnTo>
                    <a:pt x="274" y="103"/>
                  </a:lnTo>
                  <a:lnTo>
                    <a:pt x="275" y="105"/>
                  </a:lnTo>
                  <a:lnTo>
                    <a:pt x="275" y="102"/>
                  </a:lnTo>
                  <a:lnTo>
                    <a:pt x="277" y="101"/>
                  </a:lnTo>
                  <a:lnTo>
                    <a:pt x="277" y="100"/>
                  </a:lnTo>
                  <a:lnTo>
                    <a:pt x="278" y="99"/>
                  </a:lnTo>
                  <a:lnTo>
                    <a:pt x="279" y="99"/>
                  </a:lnTo>
                  <a:lnTo>
                    <a:pt x="278" y="100"/>
                  </a:lnTo>
                  <a:lnTo>
                    <a:pt x="278" y="101"/>
                  </a:lnTo>
                  <a:lnTo>
                    <a:pt x="279" y="101"/>
                  </a:lnTo>
                  <a:lnTo>
                    <a:pt x="280" y="100"/>
                  </a:lnTo>
                  <a:lnTo>
                    <a:pt x="280" y="99"/>
                  </a:lnTo>
                  <a:lnTo>
                    <a:pt x="280" y="97"/>
                  </a:lnTo>
                  <a:lnTo>
                    <a:pt x="279" y="96"/>
                  </a:lnTo>
                  <a:lnTo>
                    <a:pt x="277" y="96"/>
                  </a:lnTo>
                  <a:lnTo>
                    <a:pt x="274" y="97"/>
                  </a:lnTo>
                  <a:lnTo>
                    <a:pt x="274" y="95"/>
                  </a:lnTo>
                  <a:lnTo>
                    <a:pt x="277" y="94"/>
                  </a:lnTo>
                  <a:lnTo>
                    <a:pt x="278" y="94"/>
                  </a:lnTo>
                  <a:lnTo>
                    <a:pt x="279" y="94"/>
                  </a:lnTo>
                  <a:lnTo>
                    <a:pt x="280" y="95"/>
                  </a:lnTo>
                  <a:lnTo>
                    <a:pt x="282" y="95"/>
                  </a:lnTo>
                  <a:lnTo>
                    <a:pt x="283" y="94"/>
                  </a:lnTo>
                  <a:lnTo>
                    <a:pt x="284" y="94"/>
                  </a:lnTo>
                  <a:lnTo>
                    <a:pt x="285" y="93"/>
                  </a:lnTo>
                  <a:lnTo>
                    <a:pt x="285" y="91"/>
                  </a:lnTo>
                  <a:lnTo>
                    <a:pt x="286" y="91"/>
                  </a:lnTo>
                  <a:lnTo>
                    <a:pt x="288" y="91"/>
                  </a:lnTo>
                  <a:lnTo>
                    <a:pt x="289" y="91"/>
                  </a:lnTo>
                  <a:lnTo>
                    <a:pt x="289" y="90"/>
                  </a:lnTo>
                  <a:lnTo>
                    <a:pt x="288" y="90"/>
                  </a:lnTo>
                  <a:lnTo>
                    <a:pt x="285" y="91"/>
                  </a:lnTo>
                  <a:lnTo>
                    <a:pt x="285" y="90"/>
                  </a:lnTo>
                  <a:lnTo>
                    <a:pt x="286" y="89"/>
                  </a:lnTo>
                  <a:lnTo>
                    <a:pt x="285" y="90"/>
                  </a:lnTo>
                  <a:lnTo>
                    <a:pt x="284" y="93"/>
                  </a:lnTo>
                  <a:lnTo>
                    <a:pt x="283" y="93"/>
                  </a:lnTo>
                  <a:lnTo>
                    <a:pt x="282" y="93"/>
                  </a:lnTo>
                  <a:lnTo>
                    <a:pt x="282" y="90"/>
                  </a:lnTo>
                  <a:lnTo>
                    <a:pt x="282" y="89"/>
                  </a:lnTo>
                  <a:lnTo>
                    <a:pt x="284" y="88"/>
                  </a:lnTo>
                  <a:lnTo>
                    <a:pt x="284" y="87"/>
                  </a:lnTo>
                  <a:lnTo>
                    <a:pt x="285" y="85"/>
                  </a:lnTo>
                  <a:lnTo>
                    <a:pt x="286" y="84"/>
                  </a:lnTo>
                  <a:lnTo>
                    <a:pt x="285" y="83"/>
                  </a:lnTo>
                  <a:lnTo>
                    <a:pt x="278" y="76"/>
                  </a:lnTo>
                  <a:lnTo>
                    <a:pt x="273" y="65"/>
                  </a:lnTo>
                  <a:lnTo>
                    <a:pt x="272" y="65"/>
                  </a:lnTo>
                  <a:lnTo>
                    <a:pt x="273" y="69"/>
                  </a:lnTo>
                  <a:lnTo>
                    <a:pt x="273" y="72"/>
                  </a:lnTo>
                  <a:lnTo>
                    <a:pt x="273" y="71"/>
                  </a:lnTo>
                  <a:lnTo>
                    <a:pt x="272" y="70"/>
                  </a:lnTo>
                  <a:lnTo>
                    <a:pt x="272" y="72"/>
                  </a:lnTo>
                  <a:lnTo>
                    <a:pt x="273" y="72"/>
                  </a:lnTo>
                  <a:lnTo>
                    <a:pt x="273" y="75"/>
                  </a:lnTo>
                  <a:lnTo>
                    <a:pt x="272" y="77"/>
                  </a:lnTo>
                  <a:lnTo>
                    <a:pt x="272" y="78"/>
                  </a:lnTo>
                  <a:lnTo>
                    <a:pt x="271" y="76"/>
                  </a:lnTo>
                  <a:lnTo>
                    <a:pt x="271" y="73"/>
                  </a:lnTo>
                  <a:lnTo>
                    <a:pt x="269" y="73"/>
                  </a:lnTo>
                  <a:lnTo>
                    <a:pt x="269" y="75"/>
                  </a:lnTo>
                  <a:lnTo>
                    <a:pt x="268" y="73"/>
                  </a:lnTo>
                  <a:lnTo>
                    <a:pt x="268" y="72"/>
                  </a:lnTo>
                  <a:lnTo>
                    <a:pt x="267" y="70"/>
                  </a:lnTo>
                  <a:lnTo>
                    <a:pt x="266" y="71"/>
                  </a:lnTo>
                  <a:lnTo>
                    <a:pt x="265" y="71"/>
                  </a:lnTo>
                  <a:lnTo>
                    <a:pt x="263" y="73"/>
                  </a:lnTo>
                  <a:lnTo>
                    <a:pt x="262" y="73"/>
                  </a:lnTo>
                  <a:lnTo>
                    <a:pt x="262" y="71"/>
                  </a:lnTo>
                  <a:lnTo>
                    <a:pt x="263" y="69"/>
                  </a:lnTo>
                  <a:lnTo>
                    <a:pt x="261" y="71"/>
                  </a:lnTo>
                  <a:lnTo>
                    <a:pt x="260" y="72"/>
                  </a:lnTo>
                  <a:lnTo>
                    <a:pt x="260" y="69"/>
                  </a:lnTo>
                  <a:lnTo>
                    <a:pt x="260" y="67"/>
                  </a:lnTo>
                  <a:lnTo>
                    <a:pt x="260" y="66"/>
                  </a:lnTo>
                  <a:lnTo>
                    <a:pt x="260" y="65"/>
                  </a:lnTo>
                  <a:lnTo>
                    <a:pt x="261" y="64"/>
                  </a:lnTo>
                  <a:lnTo>
                    <a:pt x="263" y="64"/>
                  </a:lnTo>
                  <a:lnTo>
                    <a:pt x="263" y="63"/>
                  </a:lnTo>
                  <a:lnTo>
                    <a:pt x="266" y="60"/>
                  </a:lnTo>
                  <a:lnTo>
                    <a:pt x="266" y="59"/>
                  </a:lnTo>
                  <a:lnTo>
                    <a:pt x="265" y="60"/>
                  </a:lnTo>
                  <a:lnTo>
                    <a:pt x="263" y="61"/>
                  </a:lnTo>
                  <a:lnTo>
                    <a:pt x="263" y="59"/>
                  </a:lnTo>
                  <a:lnTo>
                    <a:pt x="262" y="59"/>
                  </a:lnTo>
                  <a:lnTo>
                    <a:pt x="261" y="59"/>
                  </a:lnTo>
                  <a:lnTo>
                    <a:pt x="260" y="59"/>
                  </a:lnTo>
                  <a:lnTo>
                    <a:pt x="259" y="59"/>
                  </a:lnTo>
                  <a:lnTo>
                    <a:pt x="257" y="59"/>
                  </a:lnTo>
                  <a:lnTo>
                    <a:pt x="259" y="58"/>
                  </a:lnTo>
                  <a:lnTo>
                    <a:pt x="257" y="58"/>
                  </a:lnTo>
                  <a:lnTo>
                    <a:pt x="255" y="57"/>
                  </a:lnTo>
                  <a:lnTo>
                    <a:pt x="255" y="55"/>
                  </a:lnTo>
                  <a:lnTo>
                    <a:pt x="256" y="55"/>
                  </a:lnTo>
                  <a:lnTo>
                    <a:pt x="257" y="54"/>
                  </a:lnTo>
                  <a:lnTo>
                    <a:pt x="257" y="53"/>
                  </a:lnTo>
                  <a:lnTo>
                    <a:pt x="259" y="52"/>
                  </a:lnTo>
                  <a:lnTo>
                    <a:pt x="260" y="53"/>
                  </a:lnTo>
                  <a:lnTo>
                    <a:pt x="261" y="53"/>
                  </a:lnTo>
                  <a:lnTo>
                    <a:pt x="260" y="52"/>
                  </a:lnTo>
                  <a:lnTo>
                    <a:pt x="260" y="51"/>
                  </a:lnTo>
                  <a:lnTo>
                    <a:pt x="260" y="49"/>
                  </a:lnTo>
                  <a:lnTo>
                    <a:pt x="260" y="52"/>
                  </a:lnTo>
                  <a:lnTo>
                    <a:pt x="257" y="49"/>
                  </a:lnTo>
                  <a:lnTo>
                    <a:pt x="257" y="47"/>
                  </a:lnTo>
                  <a:lnTo>
                    <a:pt x="255" y="47"/>
                  </a:lnTo>
                  <a:lnTo>
                    <a:pt x="255" y="45"/>
                  </a:lnTo>
                  <a:lnTo>
                    <a:pt x="255" y="42"/>
                  </a:lnTo>
                  <a:lnTo>
                    <a:pt x="256" y="42"/>
                  </a:lnTo>
                  <a:lnTo>
                    <a:pt x="255" y="41"/>
                  </a:lnTo>
                  <a:lnTo>
                    <a:pt x="256" y="39"/>
                  </a:lnTo>
                  <a:lnTo>
                    <a:pt x="255" y="41"/>
                  </a:lnTo>
                  <a:lnTo>
                    <a:pt x="254" y="42"/>
                  </a:lnTo>
                  <a:lnTo>
                    <a:pt x="254" y="45"/>
                  </a:lnTo>
                  <a:lnTo>
                    <a:pt x="253" y="43"/>
                  </a:lnTo>
                  <a:lnTo>
                    <a:pt x="253" y="42"/>
                  </a:lnTo>
                  <a:lnTo>
                    <a:pt x="253" y="41"/>
                  </a:lnTo>
                  <a:lnTo>
                    <a:pt x="251" y="40"/>
                  </a:lnTo>
                  <a:lnTo>
                    <a:pt x="250" y="40"/>
                  </a:lnTo>
                  <a:lnTo>
                    <a:pt x="250" y="42"/>
                  </a:lnTo>
                  <a:lnTo>
                    <a:pt x="250" y="45"/>
                  </a:lnTo>
                  <a:lnTo>
                    <a:pt x="249" y="45"/>
                  </a:lnTo>
                  <a:lnTo>
                    <a:pt x="249" y="46"/>
                  </a:lnTo>
                  <a:lnTo>
                    <a:pt x="249" y="47"/>
                  </a:lnTo>
                  <a:lnTo>
                    <a:pt x="248" y="47"/>
                  </a:lnTo>
                  <a:lnTo>
                    <a:pt x="248" y="48"/>
                  </a:lnTo>
                  <a:lnTo>
                    <a:pt x="247" y="48"/>
                  </a:lnTo>
                  <a:lnTo>
                    <a:pt x="247" y="47"/>
                  </a:lnTo>
                  <a:lnTo>
                    <a:pt x="247" y="45"/>
                  </a:lnTo>
                  <a:lnTo>
                    <a:pt x="245" y="45"/>
                  </a:lnTo>
                  <a:lnTo>
                    <a:pt x="244" y="45"/>
                  </a:lnTo>
                  <a:lnTo>
                    <a:pt x="242" y="46"/>
                  </a:lnTo>
                  <a:lnTo>
                    <a:pt x="242" y="48"/>
                  </a:lnTo>
                  <a:lnTo>
                    <a:pt x="241" y="48"/>
                  </a:lnTo>
                  <a:lnTo>
                    <a:pt x="241" y="46"/>
                  </a:lnTo>
                  <a:lnTo>
                    <a:pt x="242" y="43"/>
                  </a:lnTo>
                  <a:lnTo>
                    <a:pt x="242" y="42"/>
                  </a:lnTo>
                  <a:lnTo>
                    <a:pt x="242" y="41"/>
                  </a:lnTo>
                  <a:lnTo>
                    <a:pt x="241" y="41"/>
                  </a:lnTo>
                  <a:lnTo>
                    <a:pt x="241" y="40"/>
                  </a:lnTo>
                  <a:lnTo>
                    <a:pt x="242" y="37"/>
                  </a:lnTo>
                  <a:lnTo>
                    <a:pt x="242" y="36"/>
                  </a:lnTo>
                  <a:lnTo>
                    <a:pt x="243" y="35"/>
                  </a:lnTo>
                  <a:lnTo>
                    <a:pt x="244" y="34"/>
                  </a:lnTo>
                  <a:lnTo>
                    <a:pt x="244" y="32"/>
                  </a:lnTo>
                  <a:lnTo>
                    <a:pt x="244" y="30"/>
                  </a:lnTo>
                  <a:lnTo>
                    <a:pt x="243" y="32"/>
                  </a:lnTo>
                  <a:lnTo>
                    <a:pt x="243" y="31"/>
                  </a:lnTo>
                  <a:lnTo>
                    <a:pt x="241" y="32"/>
                  </a:lnTo>
                  <a:lnTo>
                    <a:pt x="239" y="32"/>
                  </a:lnTo>
                  <a:lnTo>
                    <a:pt x="236" y="32"/>
                  </a:lnTo>
                  <a:lnTo>
                    <a:pt x="235" y="34"/>
                  </a:lnTo>
                  <a:lnTo>
                    <a:pt x="233" y="39"/>
                  </a:lnTo>
                  <a:lnTo>
                    <a:pt x="231" y="40"/>
                  </a:lnTo>
                  <a:lnTo>
                    <a:pt x="230" y="41"/>
                  </a:lnTo>
                  <a:lnTo>
                    <a:pt x="229" y="40"/>
                  </a:lnTo>
                  <a:lnTo>
                    <a:pt x="230" y="36"/>
                  </a:lnTo>
                  <a:lnTo>
                    <a:pt x="231" y="34"/>
                  </a:lnTo>
                  <a:lnTo>
                    <a:pt x="230" y="32"/>
                  </a:lnTo>
                  <a:lnTo>
                    <a:pt x="231" y="31"/>
                  </a:lnTo>
                  <a:lnTo>
                    <a:pt x="232" y="30"/>
                  </a:lnTo>
                  <a:lnTo>
                    <a:pt x="235" y="31"/>
                  </a:lnTo>
                  <a:lnTo>
                    <a:pt x="237" y="30"/>
                  </a:lnTo>
                  <a:lnTo>
                    <a:pt x="239" y="29"/>
                  </a:lnTo>
                  <a:lnTo>
                    <a:pt x="242" y="28"/>
                  </a:lnTo>
                  <a:lnTo>
                    <a:pt x="242" y="26"/>
                  </a:lnTo>
                  <a:lnTo>
                    <a:pt x="241" y="25"/>
                  </a:lnTo>
                  <a:lnTo>
                    <a:pt x="241" y="23"/>
                  </a:lnTo>
                  <a:lnTo>
                    <a:pt x="239" y="23"/>
                  </a:lnTo>
                  <a:lnTo>
                    <a:pt x="241" y="20"/>
                  </a:lnTo>
                  <a:lnTo>
                    <a:pt x="239" y="20"/>
                  </a:lnTo>
                  <a:lnTo>
                    <a:pt x="237" y="24"/>
                  </a:lnTo>
                  <a:lnTo>
                    <a:pt x="236" y="25"/>
                  </a:lnTo>
                  <a:lnTo>
                    <a:pt x="236" y="23"/>
                  </a:lnTo>
                  <a:lnTo>
                    <a:pt x="235" y="18"/>
                  </a:lnTo>
                  <a:lnTo>
                    <a:pt x="236" y="17"/>
                  </a:lnTo>
                  <a:lnTo>
                    <a:pt x="235" y="18"/>
                  </a:lnTo>
                  <a:lnTo>
                    <a:pt x="236" y="14"/>
                  </a:lnTo>
                  <a:lnTo>
                    <a:pt x="238" y="13"/>
                  </a:lnTo>
                  <a:lnTo>
                    <a:pt x="239" y="12"/>
                  </a:lnTo>
                  <a:lnTo>
                    <a:pt x="241" y="11"/>
                  </a:lnTo>
                  <a:lnTo>
                    <a:pt x="243" y="10"/>
                  </a:lnTo>
                  <a:lnTo>
                    <a:pt x="243" y="7"/>
                  </a:lnTo>
                  <a:lnTo>
                    <a:pt x="239" y="6"/>
                  </a:lnTo>
                  <a:lnTo>
                    <a:pt x="237" y="6"/>
                  </a:lnTo>
                  <a:lnTo>
                    <a:pt x="239" y="6"/>
                  </a:lnTo>
                  <a:lnTo>
                    <a:pt x="241" y="5"/>
                  </a:lnTo>
                  <a:lnTo>
                    <a:pt x="243" y="4"/>
                  </a:lnTo>
                  <a:lnTo>
                    <a:pt x="243" y="2"/>
                  </a:lnTo>
                  <a:lnTo>
                    <a:pt x="243" y="1"/>
                  </a:lnTo>
                  <a:lnTo>
                    <a:pt x="244" y="0"/>
                  </a:lnTo>
                  <a:lnTo>
                    <a:pt x="247" y="0"/>
                  </a:lnTo>
                  <a:lnTo>
                    <a:pt x="248" y="0"/>
                  </a:lnTo>
                  <a:lnTo>
                    <a:pt x="248" y="1"/>
                  </a:lnTo>
                  <a:lnTo>
                    <a:pt x="249" y="1"/>
                  </a:lnTo>
                  <a:lnTo>
                    <a:pt x="249" y="2"/>
                  </a:lnTo>
                  <a:lnTo>
                    <a:pt x="250" y="1"/>
                  </a:lnTo>
                  <a:lnTo>
                    <a:pt x="251" y="1"/>
                  </a:lnTo>
                  <a:lnTo>
                    <a:pt x="253" y="1"/>
                  </a:lnTo>
                  <a:lnTo>
                    <a:pt x="254" y="0"/>
                  </a:lnTo>
                  <a:lnTo>
                    <a:pt x="253" y="4"/>
                  </a:lnTo>
                  <a:lnTo>
                    <a:pt x="251" y="8"/>
                  </a:lnTo>
                  <a:lnTo>
                    <a:pt x="251" y="10"/>
                  </a:lnTo>
                  <a:lnTo>
                    <a:pt x="253" y="7"/>
                  </a:lnTo>
                  <a:lnTo>
                    <a:pt x="254" y="11"/>
                  </a:lnTo>
                  <a:lnTo>
                    <a:pt x="254" y="13"/>
                  </a:lnTo>
                  <a:lnTo>
                    <a:pt x="255" y="16"/>
                  </a:lnTo>
                  <a:lnTo>
                    <a:pt x="255" y="14"/>
                  </a:lnTo>
                  <a:lnTo>
                    <a:pt x="256" y="16"/>
                  </a:lnTo>
                  <a:lnTo>
                    <a:pt x="256" y="14"/>
                  </a:lnTo>
                  <a:lnTo>
                    <a:pt x="256" y="12"/>
                  </a:lnTo>
                  <a:lnTo>
                    <a:pt x="259" y="11"/>
                  </a:lnTo>
                  <a:lnTo>
                    <a:pt x="261" y="12"/>
                  </a:lnTo>
                  <a:lnTo>
                    <a:pt x="262" y="14"/>
                  </a:lnTo>
                  <a:lnTo>
                    <a:pt x="262" y="16"/>
                  </a:lnTo>
                  <a:lnTo>
                    <a:pt x="262" y="17"/>
                  </a:lnTo>
                  <a:lnTo>
                    <a:pt x="261" y="17"/>
                  </a:lnTo>
                  <a:lnTo>
                    <a:pt x="260" y="17"/>
                  </a:lnTo>
                  <a:lnTo>
                    <a:pt x="259" y="17"/>
                  </a:lnTo>
                  <a:lnTo>
                    <a:pt x="259" y="16"/>
                  </a:lnTo>
                  <a:lnTo>
                    <a:pt x="259" y="17"/>
                  </a:lnTo>
                  <a:lnTo>
                    <a:pt x="259" y="19"/>
                  </a:lnTo>
                  <a:lnTo>
                    <a:pt x="260" y="20"/>
                  </a:lnTo>
                  <a:lnTo>
                    <a:pt x="261" y="22"/>
                  </a:lnTo>
                  <a:lnTo>
                    <a:pt x="262" y="23"/>
                  </a:lnTo>
                  <a:lnTo>
                    <a:pt x="262" y="25"/>
                  </a:lnTo>
                  <a:lnTo>
                    <a:pt x="265" y="25"/>
                  </a:lnTo>
                  <a:lnTo>
                    <a:pt x="266" y="26"/>
                  </a:lnTo>
                  <a:lnTo>
                    <a:pt x="266" y="25"/>
                  </a:lnTo>
                  <a:lnTo>
                    <a:pt x="267" y="24"/>
                  </a:lnTo>
                  <a:lnTo>
                    <a:pt x="267" y="25"/>
                  </a:lnTo>
                  <a:lnTo>
                    <a:pt x="269" y="25"/>
                  </a:lnTo>
                  <a:lnTo>
                    <a:pt x="271" y="25"/>
                  </a:lnTo>
                  <a:lnTo>
                    <a:pt x="269" y="23"/>
                  </a:lnTo>
                  <a:lnTo>
                    <a:pt x="269" y="20"/>
                  </a:lnTo>
                  <a:lnTo>
                    <a:pt x="271" y="19"/>
                  </a:lnTo>
                  <a:lnTo>
                    <a:pt x="272" y="19"/>
                  </a:lnTo>
                  <a:lnTo>
                    <a:pt x="272" y="18"/>
                  </a:lnTo>
                  <a:lnTo>
                    <a:pt x="274" y="18"/>
                  </a:lnTo>
                  <a:lnTo>
                    <a:pt x="275" y="19"/>
                  </a:lnTo>
                  <a:lnTo>
                    <a:pt x="277" y="20"/>
                  </a:lnTo>
                  <a:lnTo>
                    <a:pt x="278" y="20"/>
                  </a:lnTo>
                  <a:lnTo>
                    <a:pt x="280" y="19"/>
                  </a:lnTo>
                  <a:lnTo>
                    <a:pt x="279" y="20"/>
                  </a:lnTo>
                  <a:lnTo>
                    <a:pt x="278" y="23"/>
                  </a:lnTo>
                  <a:lnTo>
                    <a:pt x="277" y="22"/>
                  </a:lnTo>
                  <a:lnTo>
                    <a:pt x="275" y="22"/>
                  </a:lnTo>
                  <a:lnTo>
                    <a:pt x="273" y="25"/>
                  </a:lnTo>
                  <a:lnTo>
                    <a:pt x="275" y="25"/>
                  </a:lnTo>
                  <a:lnTo>
                    <a:pt x="278" y="26"/>
                  </a:lnTo>
                  <a:lnTo>
                    <a:pt x="280" y="28"/>
                  </a:lnTo>
                  <a:lnTo>
                    <a:pt x="279" y="29"/>
                  </a:lnTo>
                  <a:lnTo>
                    <a:pt x="279" y="31"/>
                  </a:lnTo>
                  <a:lnTo>
                    <a:pt x="278" y="30"/>
                  </a:lnTo>
                  <a:lnTo>
                    <a:pt x="277" y="26"/>
                  </a:lnTo>
                  <a:lnTo>
                    <a:pt x="274" y="26"/>
                  </a:lnTo>
                  <a:lnTo>
                    <a:pt x="272" y="26"/>
                  </a:lnTo>
                  <a:lnTo>
                    <a:pt x="272" y="29"/>
                  </a:lnTo>
                  <a:lnTo>
                    <a:pt x="271" y="30"/>
                  </a:lnTo>
                  <a:lnTo>
                    <a:pt x="272" y="34"/>
                  </a:lnTo>
                  <a:lnTo>
                    <a:pt x="273" y="34"/>
                  </a:lnTo>
                  <a:lnTo>
                    <a:pt x="275" y="35"/>
                  </a:lnTo>
                  <a:lnTo>
                    <a:pt x="277" y="36"/>
                  </a:lnTo>
                  <a:lnTo>
                    <a:pt x="277" y="37"/>
                  </a:lnTo>
                  <a:lnTo>
                    <a:pt x="278" y="39"/>
                  </a:lnTo>
                  <a:lnTo>
                    <a:pt x="278" y="42"/>
                  </a:lnTo>
                  <a:lnTo>
                    <a:pt x="278" y="43"/>
                  </a:lnTo>
                  <a:lnTo>
                    <a:pt x="279" y="45"/>
                  </a:lnTo>
                  <a:lnTo>
                    <a:pt x="278" y="47"/>
                  </a:lnTo>
                  <a:lnTo>
                    <a:pt x="278" y="48"/>
                  </a:lnTo>
                  <a:lnTo>
                    <a:pt x="279" y="51"/>
                  </a:lnTo>
                  <a:lnTo>
                    <a:pt x="280" y="49"/>
                  </a:lnTo>
                  <a:lnTo>
                    <a:pt x="282" y="48"/>
                  </a:lnTo>
                  <a:lnTo>
                    <a:pt x="284" y="48"/>
                  </a:lnTo>
                  <a:lnTo>
                    <a:pt x="284" y="47"/>
                  </a:lnTo>
                  <a:lnTo>
                    <a:pt x="286" y="47"/>
                  </a:lnTo>
                  <a:lnTo>
                    <a:pt x="286" y="46"/>
                  </a:lnTo>
                  <a:lnTo>
                    <a:pt x="288" y="46"/>
                  </a:lnTo>
                  <a:lnTo>
                    <a:pt x="289" y="46"/>
                  </a:lnTo>
                  <a:lnTo>
                    <a:pt x="290" y="46"/>
                  </a:lnTo>
                  <a:lnTo>
                    <a:pt x="289" y="47"/>
                  </a:lnTo>
                  <a:lnTo>
                    <a:pt x="290" y="47"/>
                  </a:lnTo>
                  <a:lnTo>
                    <a:pt x="291" y="47"/>
                  </a:lnTo>
                  <a:lnTo>
                    <a:pt x="292" y="47"/>
                  </a:lnTo>
                  <a:lnTo>
                    <a:pt x="294" y="47"/>
                  </a:lnTo>
                  <a:lnTo>
                    <a:pt x="295" y="47"/>
                  </a:lnTo>
                  <a:lnTo>
                    <a:pt x="296" y="45"/>
                  </a:lnTo>
                  <a:lnTo>
                    <a:pt x="297" y="46"/>
                  </a:lnTo>
                  <a:lnTo>
                    <a:pt x="297" y="47"/>
                  </a:lnTo>
                  <a:lnTo>
                    <a:pt x="298" y="47"/>
                  </a:lnTo>
                  <a:lnTo>
                    <a:pt x="301" y="47"/>
                  </a:lnTo>
                  <a:lnTo>
                    <a:pt x="300" y="48"/>
                  </a:lnTo>
                  <a:lnTo>
                    <a:pt x="302" y="48"/>
                  </a:lnTo>
                  <a:lnTo>
                    <a:pt x="303" y="49"/>
                  </a:lnTo>
                  <a:lnTo>
                    <a:pt x="304" y="48"/>
                  </a:lnTo>
                  <a:lnTo>
                    <a:pt x="306" y="48"/>
                  </a:lnTo>
                  <a:lnTo>
                    <a:pt x="307" y="47"/>
                  </a:lnTo>
                  <a:lnTo>
                    <a:pt x="308" y="46"/>
                  </a:lnTo>
                  <a:lnTo>
                    <a:pt x="309" y="47"/>
                  </a:lnTo>
                  <a:lnTo>
                    <a:pt x="310" y="47"/>
                  </a:lnTo>
                  <a:lnTo>
                    <a:pt x="310" y="49"/>
                  </a:lnTo>
                  <a:lnTo>
                    <a:pt x="312" y="48"/>
                  </a:lnTo>
                  <a:lnTo>
                    <a:pt x="312" y="46"/>
                  </a:lnTo>
                  <a:lnTo>
                    <a:pt x="312" y="45"/>
                  </a:lnTo>
                  <a:lnTo>
                    <a:pt x="313" y="43"/>
                  </a:lnTo>
                  <a:lnTo>
                    <a:pt x="313" y="42"/>
                  </a:lnTo>
                  <a:lnTo>
                    <a:pt x="315" y="41"/>
                  </a:lnTo>
                  <a:lnTo>
                    <a:pt x="316" y="42"/>
                  </a:lnTo>
                  <a:lnTo>
                    <a:pt x="318" y="42"/>
                  </a:lnTo>
                  <a:lnTo>
                    <a:pt x="319" y="42"/>
                  </a:lnTo>
                  <a:lnTo>
                    <a:pt x="319" y="43"/>
                  </a:lnTo>
                  <a:lnTo>
                    <a:pt x="319" y="39"/>
                  </a:lnTo>
                  <a:lnTo>
                    <a:pt x="318" y="37"/>
                  </a:lnTo>
                  <a:lnTo>
                    <a:pt x="316" y="36"/>
                  </a:lnTo>
                  <a:lnTo>
                    <a:pt x="316" y="35"/>
                  </a:lnTo>
                  <a:lnTo>
                    <a:pt x="316" y="34"/>
                  </a:lnTo>
                  <a:lnTo>
                    <a:pt x="318" y="34"/>
                  </a:lnTo>
                  <a:lnTo>
                    <a:pt x="319" y="32"/>
                  </a:lnTo>
                  <a:lnTo>
                    <a:pt x="320" y="32"/>
                  </a:lnTo>
                  <a:lnTo>
                    <a:pt x="321" y="32"/>
                  </a:lnTo>
                  <a:lnTo>
                    <a:pt x="322" y="32"/>
                  </a:lnTo>
                  <a:lnTo>
                    <a:pt x="321" y="35"/>
                  </a:lnTo>
                  <a:lnTo>
                    <a:pt x="322" y="35"/>
                  </a:lnTo>
                  <a:lnTo>
                    <a:pt x="325" y="35"/>
                  </a:lnTo>
                  <a:lnTo>
                    <a:pt x="327" y="35"/>
                  </a:lnTo>
                  <a:lnTo>
                    <a:pt x="326" y="36"/>
                  </a:lnTo>
                  <a:lnTo>
                    <a:pt x="324" y="39"/>
                  </a:lnTo>
                  <a:lnTo>
                    <a:pt x="322" y="39"/>
                  </a:lnTo>
                  <a:lnTo>
                    <a:pt x="322" y="40"/>
                  </a:lnTo>
                  <a:lnTo>
                    <a:pt x="324" y="39"/>
                  </a:lnTo>
                  <a:lnTo>
                    <a:pt x="325" y="39"/>
                  </a:lnTo>
                  <a:lnTo>
                    <a:pt x="324" y="40"/>
                  </a:lnTo>
                  <a:lnTo>
                    <a:pt x="325" y="41"/>
                  </a:lnTo>
                  <a:lnTo>
                    <a:pt x="324" y="42"/>
                  </a:lnTo>
                  <a:lnTo>
                    <a:pt x="322" y="42"/>
                  </a:lnTo>
                  <a:lnTo>
                    <a:pt x="324" y="43"/>
                  </a:lnTo>
                  <a:lnTo>
                    <a:pt x="326" y="42"/>
                  </a:lnTo>
                  <a:lnTo>
                    <a:pt x="328" y="42"/>
                  </a:lnTo>
                  <a:lnTo>
                    <a:pt x="330" y="42"/>
                  </a:lnTo>
                  <a:lnTo>
                    <a:pt x="327" y="45"/>
                  </a:lnTo>
                  <a:lnTo>
                    <a:pt x="325" y="46"/>
                  </a:lnTo>
                  <a:lnTo>
                    <a:pt x="324" y="47"/>
                  </a:lnTo>
                  <a:lnTo>
                    <a:pt x="322" y="49"/>
                  </a:lnTo>
                  <a:lnTo>
                    <a:pt x="325" y="49"/>
                  </a:lnTo>
                  <a:lnTo>
                    <a:pt x="326" y="49"/>
                  </a:lnTo>
                  <a:lnTo>
                    <a:pt x="327" y="48"/>
                  </a:lnTo>
                  <a:lnTo>
                    <a:pt x="328" y="48"/>
                  </a:lnTo>
                  <a:lnTo>
                    <a:pt x="331" y="48"/>
                  </a:lnTo>
                  <a:lnTo>
                    <a:pt x="330" y="49"/>
                  </a:lnTo>
                  <a:lnTo>
                    <a:pt x="330" y="52"/>
                  </a:lnTo>
                  <a:lnTo>
                    <a:pt x="331" y="53"/>
                  </a:lnTo>
                  <a:lnTo>
                    <a:pt x="332" y="54"/>
                  </a:lnTo>
                  <a:lnTo>
                    <a:pt x="330" y="55"/>
                  </a:lnTo>
                  <a:lnTo>
                    <a:pt x="330" y="57"/>
                  </a:lnTo>
                  <a:lnTo>
                    <a:pt x="330" y="59"/>
                  </a:lnTo>
                  <a:lnTo>
                    <a:pt x="330" y="60"/>
                  </a:lnTo>
                  <a:lnTo>
                    <a:pt x="328" y="59"/>
                  </a:lnTo>
                  <a:lnTo>
                    <a:pt x="328" y="60"/>
                  </a:lnTo>
                  <a:lnTo>
                    <a:pt x="328" y="63"/>
                  </a:lnTo>
                  <a:lnTo>
                    <a:pt x="327" y="64"/>
                  </a:lnTo>
                  <a:lnTo>
                    <a:pt x="327" y="66"/>
                  </a:lnTo>
                  <a:lnTo>
                    <a:pt x="326" y="66"/>
                  </a:lnTo>
                  <a:lnTo>
                    <a:pt x="325" y="69"/>
                  </a:lnTo>
                  <a:lnTo>
                    <a:pt x="324" y="69"/>
                  </a:lnTo>
                  <a:lnTo>
                    <a:pt x="322" y="70"/>
                  </a:lnTo>
                  <a:lnTo>
                    <a:pt x="321" y="71"/>
                  </a:lnTo>
                  <a:lnTo>
                    <a:pt x="320" y="70"/>
                  </a:lnTo>
                  <a:lnTo>
                    <a:pt x="320" y="69"/>
                  </a:lnTo>
                  <a:lnTo>
                    <a:pt x="319" y="67"/>
                  </a:lnTo>
                  <a:lnTo>
                    <a:pt x="319" y="70"/>
                  </a:lnTo>
                  <a:lnTo>
                    <a:pt x="318" y="72"/>
                  </a:lnTo>
                  <a:lnTo>
                    <a:pt x="318" y="69"/>
                  </a:lnTo>
                  <a:lnTo>
                    <a:pt x="316" y="71"/>
                  </a:lnTo>
                  <a:lnTo>
                    <a:pt x="316" y="69"/>
                  </a:lnTo>
                  <a:lnTo>
                    <a:pt x="315" y="70"/>
                  </a:lnTo>
                  <a:lnTo>
                    <a:pt x="315" y="72"/>
                  </a:lnTo>
                  <a:lnTo>
                    <a:pt x="316" y="72"/>
                  </a:lnTo>
                  <a:lnTo>
                    <a:pt x="314" y="73"/>
                  </a:lnTo>
                  <a:lnTo>
                    <a:pt x="312" y="73"/>
                  </a:lnTo>
                  <a:lnTo>
                    <a:pt x="310" y="76"/>
                  </a:lnTo>
                  <a:lnTo>
                    <a:pt x="313" y="77"/>
                  </a:lnTo>
                  <a:lnTo>
                    <a:pt x="314" y="77"/>
                  </a:lnTo>
                  <a:lnTo>
                    <a:pt x="314" y="78"/>
                  </a:lnTo>
                  <a:lnTo>
                    <a:pt x="313" y="79"/>
                  </a:lnTo>
                  <a:lnTo>
                    <a:pt x="312" y="78"/>
                  </a:lnTo>
                  <a:lnTo>
                    <a:pt x="312" y="77"/>
                  </a:lnTo>
                  <a:lnTo>
                    <a:pt x="310" y="77"/>
                  </a:lnTo>
                  <a:lnTo>
                    <a:pt x="310" y="79"/>
                  </a:lnTo>
                  <a:lnTo>
                    <a:pt x="313" y="81"/>
                  </a:lnTo>
                  <a:lnTo>
                    <a:pt x="314" y="83"/>
                  </a:lnTo>
                  <a:lnTo>
                    <a:pt x="316" y="82"/>
                  </a:lnTo>
                  <a:lnTo>
                    <a:pt x="320" y="79"/>
                  </a:lnTo>
                  <a:lnTo>
                    <a:pt x="319" y="78"/>
                  </a:lnTo>
                  <a:lnTo>
                    <a:pt x="319" y="76"/>
                  </a:lnTo>
                  <a:lnTo>
                    <a:pt x="320" y="75"/>
                  </a:lnTo>
                  <a:lnTo>
                    <a:pt x="322" y="73"/>
                  </a:lnTo>
                  <a:lnTo>
                    <a:pt x="322" y="75"/>
                  </a:lnTo>
                  <a:lnTo>
                    <a:pt x="324" y="75"/>
                  </a:lnTo>
                  <a:lnTo>
                    <a:pt x="325" y="73"/>
                  </a:lnTo>
                  <a:lnTo>
                    <a:pt x="326" y="73"/>
                  </a:lnTo>
                  <a:lnTo>
                    <a:pt x="327" y="73"/>
                  </a:lnTo>
                  <a:lnTo>
                    <a:pt x="327" y="75"/>
                  </a:lnTo>
                  <a:lnTo>
                    <a:pt x="326" y="76"/>
                  </a:lnTo>
                  <a:lnTo>
                    <a:pt x="327" y="76"/>
                  </a:lnTo>
                  <a:lnTo>
                    <a:pt x="326" y="77"/>
                  </a:lnTo>
                  <a:lnTo>
                    <a:pt x="327" y="77"/>
                  </a:lnTo>
                  <a:lnTo>
                    <a:pt x="327" y="78"/>
                  </a:lnTo>
                  <a:lnTo>
                    <a:pt x="328" y="78"/>
                  </a:lnTo>
                  <a:lnTo>
                    <a:pt x="328" y="77"/>
                  </a:lnTo>
                  <a:lnTo>
                    <a:pt x="327" y="76"/>
                  </a:lnTo>
                  <a:lnTo>
                    <a:pt x="328" y="73"/>
                  </a:lnTo>
                  <a:lnTo>
                    <a:pt x="330" y="75"/>
                  </a:lnTo>
                  <a:lnTo>
                    <a:pt x="331" y="73"/>
                  </a:lnTo>
                  <a:lnTo>
                    <a:pt x="332" y="73"/>
                  </a:lnTo>
                  <a:lnTo>
                    <a:pt x="333" y="75"/>
                  </a:lnTo>
                  <a:lnTo>
                    <a:pt x="334" y="76"/>
                  </a:lnTo>
                  <a:lnTo>
                    <a:pt x="334" y="77"/>
                  </a:lnTo>
                  <a:lnTo>
                    <a:pt x="332" y="78"/>
                  </a:lnTo>
                  <a:lnTo>
                    <a:pt x="332" y="77"/>
                  </a:lnTo>
                  <a:lnTo>
                    <a:pt x="331" y="77"/>
                  </a:lnTo>
                  <a:lnTo>
                    <a:pt x="326" y="81"/>
                  </a:lnTo>
                  <a:lnTo>
                    <a:pt x="327" y="82"/>
                  </a:lnTo>
                  <a:lnTo>
                    <a:pt x="328" y="82"/>
                  </a:lnTo>
                  <a:lnTo>
                    <a:pt x="328" y="83"/>
                  </a:lnTo>
                  <a:lnTo>
                    <a:pt x="331" y="84"/>
                  </a:lnTo>
                  <a:lnTo>
                    <a:pt x="332" y="85"/>
                  </a:lnTo>
                  <a:lnTo>
                    <a:pt x="332" y="87"/>
                  </a:lnTo>
                  <a:lnTo>
                    <a:pt x="333" y="85"/>
                  </a:lnTo>
                  <a:lnTo>
                    <a:pt x="334" y="87"/>
                  </a:lnTo>
                  <a:lnTo>
                    <a:pt x="336" y="85"/>
                  </a:lnTo>
                  <a:lnTo>
                    <a:pt x="334" y="88"/>
                  </a:lnTo>
                  <a:lnTo>
                    <a:pt x="333" y="89"/>
                  </a:lnTo>
                  <a:lnTo>
                    <a:pt x="333" y="90"/>
                  </a:lnTo>
                  <a:lnTo>
                    <a:pt x="334" y="91"/>
                  </a:lnTo>
                  <a:lnTo>
                    <a:pt x="336" y="91"/>
                  </a:lnTo>
                  <a:lnTo>
                    <a:pt x="337" y="91"/>
                  </a:lnTo>
                  <a:lnTo>
                    <a:pt x="338" y="90"/>
                  </a:lnTo>
                  <a:lnTo>
                    <a:pt x="338" y="88"/>
                  </a:lnTo>
                  <a:lnTo>
                    <a:pt x="339" y="87"/>
                  </a:lnTo>
                  <a:lnTo>
                    <a:pt x="338" y="87"/>
                  </a:lnTo>
                  <a:lnTo>
                    <a:pt x="338" y="84"/>
                  </a:lnTo>
                  <a:lnTo>
                    <a:pt x="339" y="83"/>
                  </a:lnTo>
                  <a:lnTo>
                    <a:pt x="341" y="82"/>
                  </a:lnTo>
                  <a:lnTo>
                    <a:pt x="342" y="82"/>
                  </a:lnTo>
                  <a:lnTo>
                    <a:pt x="343" y="82"/>
                  </a:lnTo>
                  <a:lnTo>
                    <a:pt x="344" y="82"/>
                  </a:lnTo>
                  <a:lnTo>
                    <a:pt x="345" y="82"/>
                  </a:lnTo>
                  <a:lnTo>
                    <a:pt x="345" y="83"/>
                  </a:lnTo>
                  <a:lnTo>
                    <a:pt x="345" y="84"/>
                  </a:lnTo>
                  <a:lnTo>
                    <a:pt x="345" y="87"/>
                  </a:lnTo>
                  <a:lnTo>
                    <a:pt x="343" y="87"/>
                  </a:lnTo>
                  <a:lnTo>
                    <a:pt x="344" y="88"/>
                  </a:lnTo>
                  <a:lnTo>
                    <a:pt x="343" y="89"/>
                  </a:lnTo>
                  <a:lnTo>
                    <a:pt x="343" y="90"/>
                  </a:lnTo>
                  <a:lnTo>
                    <a:pt x="344" y="91"/>
                  </a:lnTo>
                  <a:lnTo>
                    <a:pt x="344" y="90"/>
                  </a:lnTo>
                  <a:lnTo>
                    <a:pt x="345" y="90"/>
                  </a:lnTo>
                  <a:lnTo>
                    <a:pt x="345" y="89"/>
                  </a:lnTo>
                  <a:lnTo>
                    <a:pt x="347" y="89"/>
                  </a:lnTo>
                  <a:lnTo>
                    <a:pt x="347" y="90"/>
                  </a:lnTo>
                  <a:lnTo>
                    <a:pt x="348" y="90"/>
                  </a:lnTo>
                  <a:lnTo>
                    <a:pt x="349" y="89"/>
                  </a:lnTo>
                  <a:lnTo>
                    <a:pt x="350" y="88"/>
                  </a:lnTo>
                  <a:lnTo>
                    <a:pt x="351" y="87"/>
                  </a:lnTo>
                  <a:lnTo>
                    <a:pt x="353" y="87"/>
                  </a:lnTo>
                  <a:lnTo>
                    <a:pt x="351" y="85"/>
                  </a:lnTo>
                  <a:lnTo>
                    <a:pt x="353" y="84"/>
                  </a:lnTo>
                  <a:lnTo>
                    <a:pt x="354" y="84"/>
                  </a:lnTo>
                  <a:lnTo>
                    <a:pt x="353" y="85"/>
                  </a:lnTo>
                  <a:lnTo>
                    <a:pt x="355" y="85"/>
                  </a:lnTo>
                  <a:lnTo>
                    <a:pt x="354" y="84"/>
                  </a:lnTo>
                  <a:lnTo>
                    <a:pt x="351" y="82"/>
                  </a:lnTo>
                  <a:lnTo>
                    <a:pt x="349" y="82"/>
                  </a:lnTo>
                  <a:lnTo>
                    <a:pt x="347" y="82"/>
                  </a:lnTo>
                  <a:lnTo>
                    <a:pt x="347" y="81"/>
                  </a:lnTo>
                  <a:lnTo>
                    <a:pt x="348" y="81"/>
                  </a:lnTo>
                  <a:lnTo>
                    <a:pt x="349" y="81"/>
                  </a:lnTo>
                  <a:lnTo>
                    <a:pt x="349" y="79"/>
                  </a:lnTo>
                  <a:lnTo>
                    <a:pt x="349" y="81"/>
                  </a:lnTo>
                  <a:lnTo>
                    <a:pt x="350" y="79"/>
                  </a:lnTo>
                  <a:lnTo>
                    <a:pt x="351" y="79"/>
                  </a:lnTo>
                  <a:lnTo>
                    <a:pt x="351" y="81"/>
                  </a:lnTo>
                  <a:lnTo>
                    <a:pt x="353" y="82"/>
                  </a:lnTo>
                  <a:lnTo>
                    <a:pt x="355" y="84"/>
                  </a:lnTo>
                  <a:lnTo>
                    <a:pt x="356" y="84"/>
                  </a:lnTo>
                  <a:lnTo>
                    <a:pt x="357" y="83"/>
                  </a:lnTo>
                  <a:lnTo>
                    <a:pt x="357" y="82"/>
                  </a:lnTo>
                  <a:lnTo>
                    <a:pt x="359" y="82"/>
                  </a:lnTo>
                  <a:lnTo>
                    <a:pt x="360" y="83"/>
                  </a:lnTo>
                  <a:lnTo>
                    <a:pt x="360" y="84"/>
                  </a:lnTo>
                  <a:lnTo>
                    <a:pt x="361" y="85"/>
                  </a:lnTo>
                  <a:lnTo>
                    <a:pt x="361" y="84"/>
                  </a:lnTo>
                  <a:lnTo>
                    <a:pt x="362" y="83"/>
                  </a:lnTo>
                  <a:lnTo>
                    <a:pt x="363" y="83"/>
                  </a:lnTo>
                  <a:lnTo>
                    <a:pt x="365" y="83"/>
                  </a:lnTo>
                  <a:lnTo>
                    <a:pt x="365" y="81"/>
                  </a:lnTo>
                  <a:lnTo>
                    <a:pt x="361" y="79"/>
                  </a:lnTo>
                  <a:lnTo>
                    <a:pt x="356" y="78"/>
                  </a:lnTo>
                  <a:lnTo>
                    <a:pt x="357" y="77"/>
                  </a:lnTo>
                  <a:lnTo>
                    <a:pt x="359" y="76"/>
                  </a:lnTo>
                  <a:lnTo>
                    <a:pt x="360" y="76"/>
                  </a:lnTo>
                  <a:lnTo>
                    <a:pt x="361" y="76"/>
                  </a:lnTo>
                  <a:lnTo>
                    <a:pt x="362" y="76"/>
                  </a:lnTo>
                  <a:lnTo>
                    <a:pt x="363" y="75"/>
                  </a:lnTo>
                  <a:lnTo>
                    <a:pt x="365" y="76"/>
                  </a:lnTo>
                  <a:lnTo>
                    <a:pt x="365" y="77"/>
                  </a:lnTo>
                  <a:lnTo>
                    <a:pt x="366" y="81"/>
                  </a:lnTo>
                  <a:lnTo>
                    <a:pt x="367" y="82"/>
                  </a:lnTo>
                  <a:lnTo>
                    <a:pt x="368" y="81"/>
                  </a:lnTo>
                  <a:lnTo>
                    <a:pt x="369" y="79"/>
                  </a:lnTo>
                  <a:lnTo>
                    <a:pt x="371" y="77"/>
                  </a:lnTo>
                  <a:lnTo>
                    <a:pt x="371" y="76"/>
                  </a:lnTo>
                  <a:lnTo>
                    <a:pt x="372" y="75"/>
                  </a:lnTo>
                  <a:lnTo>
                    <a:pt x="373" y="76"/>
                  </a:lnTo>
                  <a:lnTo>
                    <a:pt x="373" y="77"/>
                  </a:lnTo>
                  <a:lnTo>
                    <a:pt x="374" y="78"/>
                  </a:lnTo>
                  <a:lnTo>
                    <a:pt x="375" y="77"/>
                  </a:lnTo>
                  <a:lnTo>
                    <a:pt x="377" y="77"/>
                  </a:lnTo>
                  <a:lnTo>
                    <a:pt x="378" y="78"/>
                  </a:lnTo>
                  <a:lnTo>
                    <a:pt x="379" y="79"/>
                  </a:lnTo>
                  <a:lnTo>
                    <a:pt x="377" y="81"/>
                  </a:lnTo>
                  <a:lnTo>
                    <a:pt x="375" y="81"/>
                  </a:lnTo>
                  <a:lnTo>
                    <a:pt x="374" y="81"/>
                  </a:lnTo>
                  <a:lnTo>
                    <a:pt x="373" y="81"/>
                  </a:lnTo>
                  <a:lnTo>
                    <a:pt x="373" y="82"/>
                  </a:lnTo>
                  <a:lnTo>
                    <a:pt x="372" y="82"/>
                  </a:lnTo>
                  <a:lnTo>
                    <a:pt x="373" y="83"/>
                  </a:lnTo>
                  <a:lnTo>
                    <a:pt x="374" y="85"/>
                  </a:lnTo>
                  <a:lnTo>
                    <a:pt x="375" y="84"/>
                  </a:lnTo>
                  <a:lnTo>
                    <a:pt x="377" y="85"/>
                  </a:lnTo>
                  <a:lnTo>
                    <a:pt x="377" y="84"/>
                  </a:lnTo>
                  <a:lnTo>
                    <a:pt x="379" y="84"/>
                  </a:lnTo>
                  <a:lnTo>
                    <a:pt x="378" y="83"/>
                  </a:lnTo>
                  <a:lnTo>
                    <a:pt x="377" y="82"/>
                  </a:lnTo>
                  <a:lnTo>
                    <a:pt x="378" y="82"/>
                  </a:lnTo>
                  <a:lnTo>
                    <a:pt x="380" y="79"/>
                  </a:lnTo>
                  <a:lnTo>
                    <a:pt x="381" y="78"/>
                  </a:lnTo>
                  <a:lnTo>
                    <a:pt x="381" y="76"/>
                  </a:lnTo>
                  <a:lnTo>
                    <a:pt x="384" y="77"/>
                  </a:lnTo>
                  <a:lnTo>
                    <a:pt x="384" y="76"/>
                  </a:lnTo>
                  <a:lnTo>
                    <a:pt x="384" y="75"/>
                  </a:lnTo>
                  <a:lnTo>
                    <a:pt x="384" y="73"/>
                  </a:lnTo>
                  <a:lnTo>
                    <a:pt x="384" y="72"/>
                  </a:lnTo>
                  <a:lnTo>
                    <a:pt x="385" y="71"/>
                  </a:lnTo>
                  <a:lnTo>
                    <a:pt x="384" y="71"/>
                  </a:lnTo>
                  <a:lnTo>
                    <a:pt x="385" y="70"/>
                  </a:lnTo>
                  <a:lnTo>
                    <a:pt x="386" y="70"/>
                  </a:lnTo>
                  <a:lnTo>
                    <a:pt x="385" y="69"/>
                  </a:lnTo>
                  <a:lnTo>
                    <a:pt x="386" y="67"/>
                  </a:lnTo>
                  <a:lnTo>
                    <a:pt x="387" y="66"/>
                  </a:lnTo>
                  <a:lnTo>
                    <a:pt x="389" y="66"/>
                  </a:lnTo>
                  <a:lnTo>
                    <a:pt x="391" y="66"/>
                  </a:lnTo>
                  <a:lnTo>
                    <a:pt x="390" y="65"/>
                  </a:lnTo>
                  <a:lnTo>
                    <a:pt x="389" y="64"/>
                  </a:lnTo>
                  <a:lnTo>
                    <a:pt x="386" y="65"/>
                  </a:lnTo>
                  <a:lnTo>
                    <a:pt x="387" y="64"/>
                  </a:lnTo>
                  <a:lnTo>
                    <a:pt x="389" y="63"/>
                  </a:lnTo>
                  <a:lnTo>
                    <a:pt x="391" y="64"/>
                  </a:lnTo>
                  <a:lnTo>
                    <a:pt x="392" y="64"/>
                  </a:lnTo>
                  <a:lnTo>
                    <a:pt x="392" y="65"/>
                  </a:lnTo>
                  <a:lnTo>
                    <a:pt x="395" y="65"/>
                  </a:lnTo>
                  <a:lnTo>
                    <a:pt x="395" y="66"/>
                  </a:lnTo>
                  <a:lnTo>
                    <a:pt x="397" y="64"/>
                  </a:lnTo>
                  <a:lnTo>
                    <a:pt x="397" y="61"/>
                  </a:lnTo>
                  <a:lnTo>
                    <a:pt x="398" y="60"/>
                  </a:lnTo>
                  <a:lnTo>
                    <a:pt x="399" y="60"/>
                  </a:lnTo>
                  <a:lnTo>
                    <a:pt x="399" y="63"/>
                  </a:lnTo>
                  <a:lnTo>
                    <a:pt x="401" y="61"/>
                  </a:lnTo>
                  <a:lnTo>
                    <a:pt x="402" y="60"/>
                  </a:lnTo>
                  <a:lnTo>
                    <a:pt x="403" y="60"/>
                  </a:lnTo>
                  <a:lnTo>
                    <a:pt x="404" y="61"/>
                  </a:lnTo>
                  <a:lnTo>
                    <a:pt x="406" y="61"/>
                  </a:lnTo>
                  <a:lnTo>
                    <a:pt x="407" y="61"/>
                  </a:lnTo>
                  <a:lnTo>
                    <a:pt x="404" y="63"/>
                  </a:lnTo>
                  <a:lnTo>
                    <a:pt x="401" y="64"/>
                  </a:lnTo>
                  <a:lnTo>
                    <a:pt x="402" y="66"/>
                  </a:lnTo>
                  <a:lnTo>
                    <a:pt x="403" y="65"/>
                  </a:lnTo>
                  <a:lnTo>
                    <a:pt x="407" y="63"/>
                  </a:lnTo>
                  <a:lnTo>
                    <a:pt x="404" y="65"/>
                  </a:lnTo>
                  <a:lnTo>
                    <a:pt x="406" y="67"/>
                  </a:lnTo>
                  <a:lnTo>
                    <a:pt x="404" y="67"/>
                  </a:lnTo>
                  <a:lnTo>
                    <a:pt x="403" y="69"/>
                  </a:lnTo>
                  <a:lnTo>
                    <a:pt x="404" y="69"/>
                  </a:lnTo>
                  <a:lnTo>
                    <a:pt x="406" y="70"/>
                  </a:lnTo>
                  <a:lnTo>
                    <a:pt x="408" y="70"/>
                  </a:lnTo>
                  <a:lnTo>
                    <a:pt x="408" y="71"/>
                  </a:lnTo>
                  <a:lnTo>
                    <a:pt x="410" y="71"/>
                  </a:lnTo>
                  <a:lnTo>
                    <a:pt x="412" y="72"/>
                  </a:lnTo>
                  <a:lnTo>
                    <a:pt x="410" y="72"/>
                  </a:lnTo>
                  <a:lnTo>
                    <a:pt x="412" y="72"/>
                  </a:lnTo>
                  <a:lnTo>
                    <a:pt x="412" y="75"/>
                  </a:lnTo>
                  <a:lnTo>
                    <a:pt x="409" y="75"/>
                  </a:lnTo>
                  <a:lnTo>
                    <a:pt x="410" y="76"/>
                  </a:lnTo>
                  <a:lnTo>
                    <a:pt x="412" y="77"/>
                  </a:lnTo>
                  <a:lnTo>
                    <a:pt x="413" y="76"/>
                  </a:lnTo>
                  <a:lnTo>
                    <a:pt x="414" y="77"/>
                  </a:lnTo>
                  <a:lnTo>
                    <a:pt x="414" y="79"/>
                  </a:lnTo>
                  <a:lnTo>
                    <a:pt x="415" y="81"/>
                  </a:lnTo>
                  <a:lnTo>
                    <a:pt x="414" y="82"/>
                  </a:lnTo>
                  <a:lnTo>
                    <a:pt x="414" y="84"/>
                  </a:lnTo>
                  <a:lnTo>
                    <a:pt x="413" y="85"/>
                  </a:lnTo>
                  <a:lnTo>
                    <a:pt x="413" y="82"/>
                  </a:lnTo>
                  <a:lnTo>
                    <a:pt x="412" y="78"/>
                  </a:lnTo>
                  <a:lnTo>
                    <a:pt x="409" y="78"/>
                  </a:lnTo>
                  <a:lnTo>
                    <a:pt x="407" y="76"/>
                  </a:lnTo>
                  <a:lnTo>
                    <a:pt x="407" y="77"/>
                  </a:lnTo>
                  <a:lnTo>
                    <a:pt x="407" y="79"/>
                  </a:lnTo>
                  <a:lnTo>
                    <a:pt x="407" y="82"/>
                  </a:lnTo>
                  <a:lnTo>
                    <a:pt x="406" y="83"/>
                  </a:lnTo>
                  <a:lnTo>
                    <a:pt x="404" y="84"/>
                  </a:lnTo>
                  <a:lnTo>
                    <a:pt x="402" y="84"/>
                  </a:lnTo>
                  <a:lnTo>
                    <a:pt x="402" y="83"/>
                  </a:lnTo>
                  <a:lnTo>
                    <a:pt x="399" y="84"/>
                  </a:lnTo>
                  <a:lnTo>
                    <a:pt x="395" y="85"/>
                  </a:lnTo>
                  <a:lnTo>
                    <a:pt x="392" y="85"/>
                  </a:lnTo>
                  <a:lnTo>
                    <a:pt x="392" y="87"/>
                  </a:lnTo>
                  <a:lnTo>
                    <a:pt x="392" y="88"/>
                  </a:lnTo>
                  <a:lnTo>
                    <a:pt x="395" y="87"/>
                  </a:lnTo>
                  <a:lnTo>
                    <a:pt x="393" y="88"/>
                  </a:lnTo>
                  <a:lnTo>
                    <a:pt x="396" y="87"/>
                  </a:lnTo>
                  <a:lnTo>
                    <a:pt x="398" y="85"/>
                  </a:lnTo>
                  <a:lnTo>
                    <a:pt x="402" y="85"/>
                  </a:lnTo>
                  <a:lnTo>
                    <a:pt x="404" y="85"/>
                  </a:lnTo>
                  <a:lnTo>
                    <a:pt x="407" y="85"/>
                  </a:lnTo>
                  <a:lnTo>
                    <a:pt x="407" y="88"/>
                  </a:lnTo>
                  <a:lnTo>
                    <a:pt x="406" y="88"/>
                  </a:lnTo>
                  <a:lnTo>
                    <a:pt x="404" y="88"/>
                  </a:lnTo>
                  <a:lnTo>
                    <a:pt x="406" y="89"/>
                  </a:lnTo>
                  <a:lnTo>
                    <a:pt x="403" y="89"/>
                  </a:lnTo>
                  <a:lnTo>
                    <a:pt x="403" y="90"/>
                  </a:lnTo>
                  <a:lnTo>
                    <a:pt x="403" y="91"/>
                  </a:lnTo>
                  <a:lnTo>
                    <a:pt x="401" y="91"/>
                  </a:lnTo>
                  <a:lnTo>
                    <a:pt x="402" y="93"/>
                  </a:lnTo>
                  <a:lnTo>
                    <a:pt x="404" y="94"/>
                  </a:lnTo>
                  <a:lnTo>
                    <a:pt x="404" y="95"/>
                  </a:lnTo>
                  <a:lnTo>
                    <a:pt x="403" y="96"/>
                  </a:lnTo>
                  <a:lnTo>
                    <a:pt x="403" y="97"/>
                  </a:lnTo>
                  <a:lnTo>
                    <a:pt x="402" y="96"/>
                  </a:lnTo>
                  <a:lnTo>
                    <a:pt x="401" y="96"/>
                  </a:lnTo>
                  <a:lnTo>
                    <a:pt x="399" y="95"/>
                  </a:lnTo>
                  <a:lnTo>
                    <a:pt x="398" y="91"/>
                  </a:lnTo>
                  <a:lnTo>
                    <a:pt x="398" y="90"/>
                  </a:lnTo>
                  <a:lnTo>
                    <a:pt x="397" y="89"/>
                  </a:lnTo>
                  <a:lnTo>
                    <a:pt x="396" y="89"/>
                  </a:lnTo>
                  <a:lnTo>
                    <a:pt x="395" y="90"/>
                  </a:lnTo>
                  <a:lnTo>
                    <a:pt x="395" y="93"/>
                  </a:lnTo>
                  <a:lnTo>
                    <a:pt x="393" y="94"/>
                  </a:lnTo>
                  <a:lnTo>
                    <a:pt x="390" y="97"/>
                  </a:lnTo>
                  <a:lnTo>
                    <a:pt x="390" y="95"/>
                  </a:lnTo>
                  <a:lnTo>
                    <a:pt x="391" y="94"/>
                  </a:lnTo>
                  <a:lnTo>
                    <a:pt x="389" y="95"/>
                  </a:lnTo>
                  <a:lnTo>
                    <a:pt x="385" y="100"/>
                  </a:lnTo>
                  <a:lnTo>
                    <a:pt x="386" y="96"/>
                  </a:lnTo>
                  <a:lnTo>
                    <a:pt x="386" y="95"/>
                  </a:lnTo>
                  <a:lnTo>
                    <a:pt x="386" y="94"/>
                  </a:lnTo>
                  <a:lnTo>
                    <a:pt x="385" y="94"/>
                  </a:lnTo>
                  <a:lnTo>
                    <a:pt x="384" y="96"/>
                  </a:lnTo>
                  <a:lnTo>
                    <a:pt x="383" y="97"/>
                  </a:lnTo>
                  <a:lnTo>
                    <a:pt x="383" y="100"/>
                  </a:lnTo>
                  <a:lnTo>
                    <a:pt x="381" y="101"/>
                  </a:lnTo>
                  <a:lnTo>
                    <a:pt x="381" y="102"/>
                  </a:lnTo>
                  <a:lnTo>
                    <a:pt x="380" y="103"/>
                  </a:lnTo>
                  <a:lnTo>
                    <a:pt x="381" y="102"/>
                  </a:lnTo>
                  <a:lnTo>
                    <a:pt x="383" y="103"/>
                  </a:lnTo>
                  <a:lnTo>
                    <a:pt x="383" y="102"/>
                  </a:lnTo>
                  <a:lnTo>
                    <a:pt x="383" y="105"/>
                  </a:lnTo>
                  <a:lnTo>
                    <a:pt x="381" y="107"/>
                  </a:lnTo>
                  <a:lnTo>
                    <a:pt x="381" y="108"/>
                  </a:lnTo>
                  <a:lnTo>
                    <a:pt x="380" y="109"/>
                  </a:lnTo>
                  <a:lnTo>
                    <a:pt x="381" y="112"/>
                  </a:lnTo>
                  <a:lnTo>
                    <a:pt x="383" y="111"/>
                  </a:lnTo>
                  <a:lnTo>
                    <a:pt x="384" y="111"/>
                  </a:lnTo>
                  <a:lnTo>
                    <a:pt x="386" y="111"/>
                  </a:lnTo>
                  <a:lnTo>
                    <a:pt x="387" y="111"/>
                  </a:lnTo>
                  <a:lnTo>
                    <a:pt x="389" y="112"/>
                  </a:lnTo>
                  <a:lnTo>
                    <a:pt x="389" y="113"/>
                  </a:lnTo>
                  <a:lnTo>
                    <a:pt x="387" y="113"/>
                  </a:lnTo>
                  <a:lnTo>
                    <a:pt x="387" y="114"/>
                  </a:lnTo>
                  <a:lnTo>
                    <a:pt x="387" y="115"/>
                  </a:lnTo>
                  <a:lnTo>
                    <a:pt x="387" y="118"/>
                  </a:lnTo>
                  <a:lnTo>
                    <a:pt x="385" y="115"/>
                  </a:lnTo>
                  <a:lnTo>
                    <a:pt x="384" y="115"/>
                  </a:lnTo>
                  <a:lnTo>
                    <a:pt x="383" y="114"/>
                  </a:lnTo>
                  <a:lnTo>
                    <a:pt x="381" y="113"/>
                  </a:lnTo>
                  <a:lnTo>
                    <a:pt x="381" y="114"/>
                  </a:lnTo>
                  <a:lnTo>
                    <a:pt x="379" y="115"/>
                  </a:lnTo>
                  <a:lnTo>
                    <a:pt x="381" y="115"/>
                  </a:lnTo>
                  <a:lnTo>
                    <a:pt x="379" y="115"/>
                  </a:lnTo>
                  <a:lnTo>
                    <a:pt x="380" y="117"/>
                  </a:lnTo>
                  <a:lnTo>
                    <a:pt x="381" y="118"/>
                  </a:lnTo>
                  <a:lnTo>
                    <a:pt x="384" y="118"/>
                  </a:lnTo>
                  <a:lnTo>
                    <a:pt x="385" y="117"/>
                  </a:lnTo>
                  <a:lnTo>
                    <a:pt x="386" y="118"/>
                  </a:lnTo>
                  <a:lnTo>
                    <a:pt x="386" y="119"/>
                  </a:lnTo>
                  <a:lnTo>
                    <a:pt x="387" y="120"/>
                  </a:lnTo>
                  <a:lnTo>
                    <a:pt x="386" y="120"/>
                  </a:lnTo>
                  <a:lnTo>
                    <a:pt x="387" y="121"/>
                  </a:lnTo>
                  <a:lnTo>
                    <a:pt x="386" y="123"/>
                  </a:lnTo>
                  <a:lnTo>
                    <a:pt x="385" y="120"/>
                  </a:lnTo>
                  <a:lnTo>
                    <a:pt x="383" y="118"/>
                  </a:lnTo>
                  <a:lnTo>
                    <a:pt x="383" y="119"/>
                  </a:lnTo>
                  <a:lnTo>
                    <a:pt x="383" y="120"/>
                  </a:lnTo>
                  <a:lnTo>
                    <a:pt x="383" y="123"/>
                  </a:lnTo>
                  <a:lnTo>
                    <a:pt x="383" y="126"/>
                  </a:lnTo>
                  <a:lnTo>
                    <a:pt x="381" y="123"/>
                  </a:lnTo>
                  <a:lnTo>
                    <a:pt x="380" y="124"/>
                  </a:lnTo>
                  <a:lnTo>
                    <a:pt x="380" y="123"/>
                  </a:lnTo>
                  <a:lnTo>
                    <a:pt x="380" y="120"/>
                  </a:lnTo>
                  <a:lnTo>
                    <a:pt x="379" y="120"/>
                  </a:lnTo>
                  <a:lnTo>
                    <a:pt x="378" y="119"/>
                  </a:lnTo>
                  <a:lnTo>
                    <a:pt x="379" y="120"/>
                  </a:lnTo>
                  <a:lnTo>
                    <a:pt x="378" y="125"/>
                  </a:lnTo>
                  <a:lnTo>
                    <a:pt x="375" y="123"/>
                  </a:lnTo>
                  <a:lnTo>
                    <a:pt x="375" y="120"/>
                  </a:lnTo>
                  <a:lnTo>
                    <a:pt x="375" y="121"/>
                  </a:lnTo>
                  <a:lnTo>
                    <a:pt x="375" y="125"/>
                  </a:lnTo>
                  <a:lnTo>
                    <a:pt x="377" y="127"/>
                  </a:lnTo>
                  <a:lnTo>
                    <a:pt x="377" y="130"/>
                  </a:lnTo>
                  <a:lnTo>
                    <a:pt x="377" y="131"/>
                  </a:lnTo>
                  <a:lnTo>
                    <a:pt x="375" y="131"/>
                  </a:lnTo>
                  <a:lnTo>
                    <a:pt x="375" y="132"/>
                  </a:lnTo>
                  <a:lnTo>
                    <a:pt x="375" y="133"/>
                  </a:lnTo>
                  <a:lnTo>
                    <a:pt x="374" y="136"/>
                  </a:lnTo>
                  <a:lnTo>
                    <a:pt x="374" y="133"/>
                  </a:lnTo>
                  <a:lnTo>
                    <a:pt x="373" y="133"/>
                  </a:lnTo>
                  <a:lnTo>
                    <a:pt x="373" y="132"/>
                  </a:lnTo>
                  <a:lnTo>
                    <a:pt x="372" y="131"/>
                  </a:lnTo>
                  <a:lnTo>
                    <a:pt x="372" y="130"/>
                  </a:lnTo>
                  <a:lnTo>
                    <a:pt x="371" y="130"/>
                  </a:lnTo>
                  <a:lnTo>
                    <a:pt x="372" y="129"/>
                  </a:lnTo>
                  <a:lnTo>
                    <a:pt x="372" y="126"/>
                  </a:lnTo>
                  <a:lnTo>
                    <a:pt x="374" y="125"/>
                  </a:lnTo>
                  <a:lnTo>
                    <a:pt x="374" y="123"/>
                  </a:lnTo>
                  <a:lnTo>
                    <a:pt x="373" y="124"/>
                  </a:lnTo>
                  <a:lnTo>
                    <a:pt x="372" y="125"/>
                  </a:lnTo>
                  <a:lnTo>
                    <a:pt x="373" y="123"/>
                  </a:lnTo>
                  <a:lnTo>
                    <a:pt x="372" y="124"/>
                  </a:lnTo>
                  <a:lnTo>
                    <a:pt x="371" y="124"/>
                  </a:lnTo>
                  <a:lnTo>
                    <a:pt x="369" y="125"/>
                  </a:lnTo>
                  <a:lnTo>
                    <a:pt x="369" y="124"/>
                  </a:lnTo>
                  <a:lnTo>
                    <a:pt x="368" y="124"/>
                  </a:lnTo>
                  <a:lnTo>
                    <a:pt x="366" y="124"/>
                  </a:lnTo>
                  <a:lnTo>
                    <a:pt x="365" y="124"/>
                  </a:lnTo>
                  <a:lnTo>
                    <a:pt x="367" y="125"/>
                  </a:lnTo>
                  <a:lnTo>
                    <a:pt x="365" y="126"/>
                  </a:lnTo>
                  <a:lnTo>
                    <a:pt x="363" y="129"/>
                  </a:lnTo>
                  <a:lnTo>
                    <a:pt x="362" y="131"/>
                  </a:lnTo>
                  <a:lnTo>
                    <a:pt x="363" y="131"/>
                  </a:lnTo>
                  <a:lnTo>
                    <a:pt x="366" y="132"/>
                  </a:lnTo>
                  <a:lnTo>
                    <a:pt x="365" y="133"/>
                  </a:lnTo>
                  <a:lnTo>
                    <a:pt x="366" y="133"/>
                  </a:lnTo>
                  <a:lnTo>
                    <a:pt x="366" y="135"/>
                  </a:lnTo>
                  <a:lnTo>
                    <a:pt x="366" y="136"/>
                  </a:lnTo>
                  <a:lnTo>
                    <a:pt x="368" y="137"/>
                  </a:lnTo>
                  <a:lnTo>
                    <a:pt x="369" y="136"/>
                  </a:lnTo>
                  <a:lnTo>
                    <a:pt x="368" y="136"/>
                  </a:lnTo>
                  <a:lnTo>
                    <a:pt x="367" y="135"/>
                  </a:lnTo>
                  <a:lnTo>
                    <a:pt x="369" y="133"/>
                  </a:lnTo>
                  <a:lnTo>
                    <a:pt x="372" y="135"/>
                  </a:lnTo>
                  <a:lnTo>
                    <a:pt x="372" y="136"/>
                  </a:lnTo>
                  <a:lnTo>
                    <a:pt x="373" y="136"/>
                  </a:lnTo>
                  <a:lnTo>
                    <a:pt x="374" y="137"/>
                  </a:lnTo>
                  <a:lnTo>
                    <a:pt x="377" y="136"/>
                  </a:lnTo>
                  <a:lnTo>
                    <a:pt x="378" y="135"/>
                  </a:lnTo>
                  <a:lnTo>
                    <a:pt x="380" y="133"/>
                  </a:lnTo>
                  <a:lnTo>
                    <a:pt x="380" y="135"/>
                  </a:lnTo>
                  <a:lnTo>
                    <a:pt x="380" y="137"/>
                  </a:lnTo>
                  <a:lnTo>
                    <a:pt x="383" y="137"/>
                  </a:lnTo>
                  <a:lnTo>
                    <a:pt x="381" y="136"/>
                  </a:lnTo>
                  <a:lnTo>
                    <a:pt x="381" y="135"/>
                  </a:lnTo>
                  <a:lnTo>
                    <a:pt x="383" y="135"/>
                  </a:lnTo>
                  <a:lnTo>
                    <a:pt x="384" y="135"/>
                  </a:lnTo>
                  <a:lnTo>
                    <a:pt x="385" y="135"/>
                  </a:lnTo>
                  <a:lnTo>
                    <a:pt x="386" y="135"/>
                  </a:lnTo>
                  <a:lnTo>
                    <a:pt x="385" y="136"/>
                  </a:lnTo>
                  <a:lnTo>
                    <a:pt x="386" y="135"/>
                  </a:lnTo>
                  <a:lnTo>
                    <a:pt x="385" y="131"/>
                  </a:lnTo>
                  <a:lnTo>
                    <a:pt x="383" y="132"/>
                  </a:lnTo>
                  <a:lnTo>
                    <a:pt x="381" y="133"/>
                  </a:lnTo>
                  <a:lnTo>
                    <a:pt x="380" y="132"/>
                  </a:lnTo>
                  <a:lnTo>
                    <a:pt x="380" y="131"/>
                  </a:lnTo>
                  <a:lnTo>
                    <a:pt x="379" y="130"/>
                  </a:lnTo>
                  <a:lnTo>
                    <a:pt x="381" y="130"/>
                  </a:lnTo>
                  <a:lnTo>
                    <a:pt x="385" y="130"/>
                  </a:lnTo>
                  <a:lnTo>
                    <a:pt x="387" y="130"/>
                  </a:lnTo>
                  <a:lnTo>
                    <a:pt x="386" y="131"/>
                  </a:lnTo>
                  <a:lnTo>
                    <a:pt x="387" y="133"/>
                  </a:lnTo>
                  <a:lnTo>
                    <a:pt x="389" y="133"/>
                  </a:lnTo>
                  <a:lnTo>
                    <a:pt x="389" y="132"/>
                  </a:lnTo>
                  <a:lnTo>
                    <a:pt x="390" y="132"/>
                  </a:lnTo>
                  <a:lnTo>
                    <a:pt x="391" y="131"/>
                  </a:lnTo>
                  <a:lnTo>
                    <a:pt x="391" y="130"/>
                  </a:lnTo>
                  <a:lnTo>
                    <a:pt x="392" y="131"/>
                  </a:lnTo>
                  <a:lnTo>
                    <a:pt x="392" y="132"/>
                  </a:lnTo>
                  <a:lnTo>
                    <a:pt x="393" y="132"/>
                  </a:lnTo>
                  <a:lnTo>
                    <a:pt x="392" y="135"/>
                  </a:lnTo>
                  <a:lnTo>
                    <a:pt x="392" y="136"/>
                  </a:lnTo>
                  <a:lnTo>
                    <a:pt x="395" y="135"/>
                  </a:lnTo>
                  <a:lnTo>
                    <a:pt x="396" y="133"/>
                  </a:lnTo>
                  <a:lnTo>
                    <a:pt x="397" y="132"/>
                  </a:lnTo>
                  <a:lnTo>
                    <a:pt x="399" y="132"/>
                  </a:lnTo>
                  <a:lnTo>
                    <a:pt x="396" y="136"/>
                  </a:lnTo>
                  <a:lnTo>
                    <a:pt x="395" y="138"/>
                  </a:lnTo>
                  <a:lnTo>
                    <a:pt x="393" y="142"/>
                  </a:lnTo>
                  <a:lnTo>
                    <a:pt x="395" y="143"/>
                  </a:lnTo>
                  <a:lnTo>
                    <a:pt x="396" y="141"/>
                  </a:lnTo>
                  <a:lnTo>
                    <a:pt x="397" y="138"/>
                  </a:lnTo>
                  <a:lnTo>
                    <a:pt x="397" y="137"/>
                  </a:lnTo>
                  <a:lnTo>
                    <a:pt x="398" y="136"/>
                  </a:lnTo>
                  <a:lnTo>
                    <a:pt x="399" y="137"/>
                  </a:lnTo>
                  <a:lnTo>
                    <a:pt x="401" y="137"/>
                  </a:lnTo>
                  <a:lnTo>
                    <a:pt x="401" y="138"/>
                  </a:lnTo>
                  <a:lnTo>
                    <a:pt x="401" y="139"/>
                  </a:lnTo>
                  <a:lnTo>
                    <a:pt x="401" y="141"/>
                  </a:lnTo>
                  <a:lnTo>
                    <a:pt x="399" y="142"/>
                  </a:lnTo>
                  <a:lnTo>
                    <a:pt x="399" y="144"/>
                  </a:lnTo>
                  <a:lnTo>
                    <a:pt x="401" y="143"/>
                  </a:lnTo>
                  <a:lnTo>
                    <a:pt x="403" y="142"/>
                  </a:lnTo>
                  <a:lnTo>
                    <a:pt x="406" y="142"/>
                  </a:lnTo>
                  <a:lnTo>
                    <a:pt x="407" y="143"/>
                  </a:lnTo>
                  <a:lnTo>
                    <a:pt x="408" y="142"/>
                  </a:lnTo>
                  <a:lnTo>
                    <a:pt x="408" y="143"/>
                  </a:lnTo>
                  <a:lnTo>
                    <a:pt x="409" y="143"/>
                  </a:lnTo>
                  <a:lnTo>
                    <a:pt x="408" y="144"/>
                  </a:lnTo>
                  <a:lnTo>
                    <a:pt x="404" y="146"/>
                  </a:lnTo>
                  <a:lnTo>
                    <a:pt x="403" y="146"/>
                  </a:lnTo>
                  <a:lnTo>
                    <a:pt x="399" y="146"/>
                  </a:lnTo>
                  <a:lnTo>
                    <a:pt x="401" y="147"/>
                  </a:lnTo>
                  <a:lnTo>
                    <a:pt x="402" y="147"/>
                  </a:lnTo>
                  <a:lnTo>
                    <a:pt x="403" y="146"/>
                  </a:lnTo>
                  <a:lnTo>
                    <a:pt x="404" y="147"/>
                  </a:lnTo>
                  <a:lnTo>
                    <a:pt x="406" y="147"/>
                  </a:lnTo>
                  <a:lnTo>
                    <a:pt x="407" y="147"/>
                  </a:lnTo>
                  <a:lnTo>
                    <a:pt x="408" y="148"/>
                  </a:lnTo>
                  <a:lnTo>
                    <a:pt x="409" y="147"/>
                  </a:lnTo>
                  <a:lnTo>
                    <a:pt x="410" y="148"/>
                  </a:lnTo>
                  <a:lnTo>
                    <a:pt x="410" y="147"/>
                  </a:lnTo>
                  <a:lnTo>
                    <a:pt x="410" y="143"/>
                  </a:lnTo>
                  <a:lnTo>
                    <a:pt x="412" y="142"/>
                  </a:lnTo>
                  <a:lnTo>
                    <a:pt x="413" y="141"/>
                  </a:lnTo>
                  <a:lnTo>
                    <a:pt x="410" y="141"/>
                  </a:lnTo>
                  <a:lnTo>
                    <a:pt x="410" y="139"/>
                  </a:lnTo>
                  <a:lnTo>
                    <a:pt x="412" y="137"/>
                  </a:lnTo>
                  <a:lnTo>
                    <a:pt x="414" y="137"/>
                  </a:lnTo>
                  <a:lnTo>
                    <a:pt x="415" y="135"/>
                  </a:lnTo>
                  <a:lnTo>
                    <a:pt x="415" y="136"/>
                  </a:lnTo>
                  <a:lnTo>
                    <a:pt x="415" y="138"/>
                  </a:lnTo>
                  <a:lnTo>
                    <a:pt x="415" y="139"/>
                  </a:lnTo>
                  <a:lnTo>
                    <a:pt x="416" y="141"/>
                  </a:lnTo>
                  <a:lnTo>
                    <a:pt x="416" y="143"/>
                  </a:lnTo>
                  <a:lnTo>
                    <a:pt x="418" y="143"/>
                  </a:lnTo>
                  <a:lnTo>
                    <a:pt x="419" y="144"/>
                  </a:lnTo>
                  <a:lnTo>
                    <a:pt x="418" y="144"/>
                  </a:lnTo>
                  <a:lnTo>
                    <a:pt x="419" y="146"/>
                  </a:lnTo>
                  <a:lnTo>
                    <a:pt x="421" y="147"/>
                  </a:lnTo>
                  <a:lnTo>
                    <a:pt x="422" y="147"/>
                  </a:lnTo>
                  <a:lnTo>
                    <a:pt x="421" y="146"/>
                  </a:lnTo>
                  <a:lnTo>
                    <a:pt x="422" y="146"/>
                  </a:lnTo>
                  <a:lnTo>
                    <a:pt x="426" y="146"/>
                  </a:lnTo>
                  <a:lnTo>
                    <a:pt x="424" y="147"/>
                  </a:lnTo>
                  <a:lnTo>
                    <a:pt x="422" y="148"/>
                  </a:lnTo>
                  <a:lnTo>
                    <a:pt x="424" y="147"/>
                  </a:lnTo>
                  <a:lnTo>
                    <a:pt x="426" y="148"/>
                  </a:lnTo>
                  <a:lnTo>
                    <a:pt x="427" y="149"/>
                  </a:lnTo>
                  <a:lnTo>
                    <a:pt x="426" y="150"/>
                  </a:lnTo>
                  <a:lnTo>
                    <a:pt x="425" y="152"/>
                  </a:lnTo>
                  <a:lnTo>
                    <a:pt x="425" y="153"/>
                  </a:lnTo>
                  <a:lnTo>
                    <a:pt x="422" y="152"/>
                  </a:lnTo>
                  <a:lnTo>
                    <a:pt x="421" y="153"/>
                  </a:lnTo>
                  <a:lnTo>
                    <a:pt x="420" y="154"/>
                  </a:lnTo>
                  <a:lnTo>
                    <a:pt x="421" y="154"/>
                  </a:lnTo>
                  <a:lnTo>
                    <a:pt x="420" y="155"/>
                  </a:lnTo>
                  <a:lnTo>
                    <a:pt x="419" y="158"/>
                  </a:lnTo>
                  <a:lnTo>
                    <a:pt x="419" y="159"/>
                  </a:lnTo>
                  <a:lnTo>
                    <a:pt x="418" y="159"/>
                  </a:lnTo>
                  <a:lnTo>
                    <a:pt x="418" y="161"/>
                  </a:lnTo>
                  <a:lnTo>
                    <a:pt x="419" y="162"/>
                  </a:lnTo>
                  <a:lnTo>
                    <a:pt x="420" y="162"/>
                  </a:lnTo>
                  <a:lnTo>
                    <a:pt x="422" y="161"/>
                  </a:lnTo>
                  <a:lnTo>
                    <a:pt x="425" y="160"/>
                  </a:lnTo>
                  <a:lnTo>
                    <a:pt x="427" y="160"/>
                  </a:lnTo>
                  <a:lnTo>
                    <a:pt x="425" y="161"/>
                  </a:lnTo>
                  <a:lnTo>
                    <a:pt x="422" y="164"/>
                  </a:lnTo>
                  <a:lnTo>
                    <a:pt x="424" y="164"/>
                  </a:lnTo>
                  <a:lnTo>
                    <a:pt x="424" y="165"/>
                  </a:lnTo>
                  <a:lnTo>
                    <a:pt x="427" y="165"/>
                  </a:lnTo>
                  <a:lnTo>
                    <a:pt x="430" y="165"/>
                  </a:lnTo>
                  <a:lnTo>
                    <a:pt x="431" y="164"/>
                  </a:lnTo>
                  <a:lnTo>
                    <a:pt x="432" y="162"/>
                  </a:lnTo>
                  <a:lnTo>
                    <a:pt x="432" y="161"/>
                  </a:lnTo>
                  <a:lnTo>
                    <a:pt x="434" y="159"/>
                  </a:lnTo>
                  <a:lnTo>
                    <a:pt x="437" y="159"/>
                  </a:lnTo>
                  <a:lnTo>
                    <a:pt x="437" y="160"/>
                  </a:lnTo>
                  <a:lnTo>
                    <a:pt x="438" y="160"/>
                  </a:lnTo>
                  <a:lnTo>
                    <a:pt x="437" y="161"/>
                  </a:lnTo>
                  <a:lnTo>
                    <a:pt x="434" y="162"/>
                  </a:lnTo>
                  <a:lnTo>
                    <a:pt x="434" y="165"/>
                  </a:lnTo>
                  <a:lnTo>
                    <a:pt x="436" y="166"/>
                  </a:lnTo>
                  <a:lnTo>
                    <a:pt x="438" y="167"/>
                  </a:lnTo>
                  <a:lnTo>
                    <a:pt x="437" y="168"/>
                  </a:lnTo>
                  <a:lnTo>
                    <a:pt x="438" y="170"/>
                  </a:lnTo>
                  <a:lnTo>
                    <a:pt x="438" y="172"/>
                  </a:lnTo>
                  <a:lnTo>
                    <a:pt x="437" y="172"/>
                  </a:lnTo>
                  <a:lnTo>
                    <a:pt x="437" y="174"/>
                  </a:lnTo>
                  <a:lnTo>
                    <a:pt x="437" y="176"/>
                  </a:lnTo>
                  <a:lnTo>
                    <a:pt x="438" y="177"/>
                  </a:lnTo>
                  <a:lnTo>
                    <a:pt x="439" y="174"/>
                  </a:lnTo>
                  <a:lnTo>
                    <a:pt x="442" y="173"/>
                  </a:lnTo>
                  <a:lnTo>
                    <a:pt x="439" y="173"/>
                  </a:lnTo>
                  <a:lnTo>
                    <a:pt x="439" y="172"/>
                  </a:lnTo>
                  <a:lnTo>
                    <a:pt x="442" y="171"/>
                  </a:lnTo>
                  <a:lnTo>
                    <a:pt x="444" y="171"/>
                  </a:lnTo>
                  <a:lnTo>
                    <a:pt x="444" y="170"/>
                  </a:lnTo>
                  <a:lnTo>
                    <a:pt x="444" y="167"/>
                  </a:lnTo>
                  <a:lnTo>
                    <a:pt x="446" y="165"/>
                  </a:lnTo>
                  <a:lnTo>
                    <a:pt x="445" y="168"/>
                  </a:lnTo>
                  <a:lnTo>
                    <a:pt x="446" y="170"/>
                  </a:lnTo>
                  <a:lnTo>
                    <a:pt x="448" y="170"/>
                  </a:lnTo>
                  <a:lnTo>
                    <a:pt x="446" y="171"/>
                  </a:lnTo>
                  <a:lnTo>
                    <a:pt x="445" y="173"/>
                  </a:lnTo>
                  <a:lnTo>
                    <a:pt x="446" y="174"/>
                  </a:lnTo>
                  <a:lnTo>
                    <a:pt x="446" y="177"/>
                  </a:lnTo>
                  <a:lnTo>
                    <a:pt x="448" y="179"/>
                  </a:lnTo>
                  <a:lnTo>
                    <a:pt x="446" y="182"/>
                  </a:lnTo>
                  <a:lnTo>
                    <a:pt x="444" y="182"/>
                  </a:lnTo>
                  <a:lnTo>
                    <a:pt x="440" y="180"/>
                  </a:lnTo>
                  <a:lnTo>
                    <a:pt x="438" y="180"/>
                  </a:lnTo>
                  <a:lnTo>
                    <a:pt x="436" y="182"/>
                  </a:lnTo>
                  <a:lnTo>
                    <a:pt x="434" y="184"/>
                  </a:lnTo>
                  <a:lnTo>
                    <a:pt x="436" y="183"/>
                  </a:lnTo>
                  <a:lnTo>
                    <a:pt x="438" y="184"/>
                  </a:lnTo>
                  <a:lnTo>
                    <a:pt x="438" y="185"/>
                  </a:lnTo>
                  <a:lnTo>
                    <a:pt x="440" y="185"/>
                  </a:lnTo>
                  <a:lnTo>
                    <a:pt x="440" y="186"/>
                  </a:lnTo>
                  <a:lnTo>
                    <a:pt x="443" y="186"/>
                  </a:lnTo>
                  <a:lnTo>
                    <a:pt x="445" y="188"/>
                  </a:lnTo>
                  <a:lnTo>
                    <a:pt x="446" y="188"/>
                  </a:lnTo>
                  <a:lnTo>
                    <a:pt x="448" y="186"/>
                  </a:lnTo>
                  <a:lnTo>
                    <a:pt x="448" y="188"/>
                  </a:lnTo>
                  <a:lnTo>
                    <a:pt x="448" y="189"/>
                  </a:lnTo>
                  <a:lnTo>
                    <a:pt x="448" y="190"/>
                  </a:lnTo>
                  <a:lnTo>
                    <a:pt x="446" y="190"/>
                  </a:lnTo>
                  <a:lnTo>
                    <a:pt x="448" y="192"/>
                  </a:lnTo>
                  <a:lnTo>
                    <a:pt x="446" y="192"/>
                  </a:lnTo>
                  <a:lnTo>
                    <a:pt x="445" y="194"/>
                  </a:lnTo>
                  <a:lnTo>
                    <a:pt x="445" y="195"/>
                  </a:lnTo>
                  <a:lnTo>
                    <a:pt x="444" y="195"/>
                  </a:lnTo>
                  <a:lnTo>
                    <a:pt x="444" y="196"/>
                  </a:lnTo>
                  <a:lnTo>
                    <a:pt x="443" y="196"/>
                  </a:lnTo>
                  <a:lnTo>
                    <a:pt x="442" y="197"/>
                  </a:lnTo>
                  <a:lnTo>
                    <a:pt x="440" y="198"/>
                  </a:lnTo>
                  <a:lnTo>
                    <a:pt x="439" y="198"/>
                  </a:lnTo>
                  <a:lnTo>
                    <a:pt x="438" y="197"/>
                  </a:lnTo>
                  <a:lnTo>
                    <a:pt x="437" y="198"/>
                  </a:lnTo>
                  <a:lnTo>
                    <a:pt x="436" y="197"/>
                  </a:lnTo>
                  <a:lnTo>
                    <a:pt x="436" y="198"/>
                  </a:lnTo>
                  <a:lnTo>
                    <a:pt x="438" y="200"/>
                  </a:lnTo>
                  <a:lnTo>
                    <a:pt x="439" y="201"/>
                  </a:lnTo>
                  <a:lnTo>
                    <a:pt x="440" y="204"/>
                  </a:lnTo>
                  <a:lnTo>
                    <a:pt x="440" y="206"/>
                  </a:lnTo>
                  <a:lnTo>
                    <a:pt x="439" y="203"/>
                  </a:lnTo>
                  <a:lnTo>
                    <a:pt x="438" y="202"/>
                  </a:lnTo>
                  <a:lnTo>
                    <a:pt x="437" y="202"/>
                  </a:lnTo>
                  <a:lnTo>
                    <a:pt x="436" y="203"/>
                  </a:lnTo>
                  <a:lnTo>
                    <a:pt x="436" y="202"/>
                  </a:lnTo>
                  <a:lnTo>
                    <a:pt x="434" y="202"/>
                  </a:lnTo>
                  <a:lnTo>
                    <a:pt x="434" y="201"/>
                  </a:lnTo>
                  <a:lnTo>
                    <a:pt x="434" y="200"/>
                  </a:lnTo>
                  <a:lnTo>
                    <a:pt x="433" y="201"/>
                  </a:lnTo>
                  <a:lnTo>
                    <a:pt x="432" y="202"/>
                  </a:lnTo>
                  <a:lnTo>
                    <a:pt x="431" y="201"/>
                  </a:lnTo>
                  <a:lnTo>
                    <a:pt x="431" y="202"/>
                  </a:lnTo>
                  <a:lnTo>
                    <a:pt x="430" y="203"/>
                  </a:lnTo>
                  <a:lnTo>
                    <a:pt x="428" y="201"/>
                  </a:lnTo>
                  <a:lnTo>
                    <a:pt x="428" y="198"/>
                  </a:lnTo>
                  <a:lnTo>
                    <a:pt x="427" y="198"/>
                  </a:lnTo>
                  <a:lnTo>
                    <a:pt x="426" y="198"/>
                  </a:lnTo>
                  <a:lnTo>
                    <a:pt x="427" y="195"/>
                  </a:lnTo>
                  <a:lnTo>
                    <a:pt x="427" y="192"/>
                  </a:lnTo>
                  <a:lnTo>
                    <a:pt x="425" y="194"/>
                  </a:lnTo>
                  <a:lnTo>
                    <a:pt x="422" y="196"/>
                  </a:lnTo>
                  <a:lnTo>
                    <a:pt x="419" y="198"/>
                  </a:lnTo>
                  <a:lnTo>
                    <a:pt x="419" y="200"/>
                  </a:lnTo>
                  <a:lnTo>
                    <a:pt x="420" y="200"/>
                  </a:lnTo>
                  <a:lnTo>
                    <a:pt x="420" y="201"/>
                  </a:lnTo>
                  <a:lnTo>
                    <a:pt x="419" y="202"/>
                  </a:lnTo>
                  <a:lnTo>
                    <a:pt x="421" y="204"/>
                  </a:lnTo>
                  <a:lnTo>
                    <a:pt x="422" y="206"/>
                  </a:lnTo>
                  <a:lnTo>
                    <a:pt x="426" y="209"/>
                  </a:lnTo>
                  <a:lnTo>
                    <a:pt x="427" y="208"/>
                  </a:lnTo>
                  <a:lnTo>
                    <a:pt x="428" y="207"/>
                  </a:lnTo>
                  <a:lnTo>
                    <a:pt x="430" y="206"/>
                  </a:lnTo>
                  <a:lnTo>
                    <a:pt x="431" y="207"/>
                  </a:lnTo>
                  <a:lnTo>
                    <a:pt x="431" y="208"/>
                  </a:lnTo>
                  <a:lnTo>
                    <a:pt x="433" y="209"/>
                  </a:lnTo>
                  <a:lnTo>
                    <a:pt x="433" y="212"/>
                  </a:lnTo>
                  <a:lnTo>
                    <a:pt x="434" y="214"/>
                  </a:lnTo>
                  <a:lnTo>
                    <a:pt x="438" y="214"/>
                  </a:lnTo>
                  <a:lnTo>
                    <a:pt x="438" y="213"/>
                  </a:lnTo>
                  <a:lnTo>
                    <a:pt x="437" y="213"/>
                  </a:lnTo>
                  <a:lnTo>
                    <a:pt x="439" y="210"/>
                  </a:lnTo>
                  <a:lnTo>
                    <a:pt x="442" y="209"/>
                  </a:lnTo>
                  <a:lnTo>
                    <a:pt x="443" y="208"/>
                  </a:lnTo>
                  <a:lnTo>
                    <a:pt x="444" y="208"/>
                  </a:lnTo>
                  <a:lnTo>
                    <a:pt x="444" y="210"/>
                  </a:lnTo>
                  <a:lnTo>
                    <a:pt x="442" y="213"/>
                  </a:lnTo>
                  <a:lnTo>
                    <a:pt x="440" y="214"/>
                  </a:lnTo>
                  <a:lnTo>
                    <a:pt x="439" y="215"/>
                  </a:lnTo>
                  <a:lnTo>
                    <a:pt x="434" y="215"/>
                  </a:lnTo>
                  <a:lnTo>
                    <a:pt x="434" y="216"/>
                  </a:lnTo>
                  <a:lnTo>
                    <a:pt x="433" y="216"/>
                  </a:lnTo>
                  <a:lnTo>
                    <a:pt x="433" y="219"/>
                  </a:lnTo>
                  <a:lnTo>
                    <a:pt x="434" y="219"/>
                  </a:lnTo>
                  <a:lnTo>
                    <a:pt x="433" y="221"/>
                  </a:lnTo>
                  <a:lnTo>
                    <a:pt x="433" y="222"/>
                  </a:lnTo>
                  <a:lnTo>
                    <a:pt x="432" y="220"/>
                  </a:lnTo>
                  <a:lnTo>
                    <a:pt x="431" y="218"/>
                  </a:lnTo>
                  <a:lnTo>
                    <a:pt x="431" y="216"/>
                  </a:lnTo>
                  <a:lnTo>
                    <a:pt x="430" y="218"/>
                  </a:lnTo>
                  <a:lnTo>
                    <a:pt x="430" y="219"/>
                  </a:lnTo>
                  <a:lnTo>
                    <a:pt x="427" y="220"/>
                  </a:lnTo>
                  <a:lnTo>
                    <a:pt x="426" y="219"/>
                  </a:lnTo>
                  <a:lnTo>
                    <a:pt x="426" y="216"/>
                  </a:lnTo>
                  <a:lnTo>
                    <a:pt x="425" y="218"/>
                  </a:lnTo>
                  <a:lnTo>
                    <a:pt x="424" y="220"/>
                  </a:lnTo>
                  <a:lnTo>
                    <a:pt x="422" y="221"/>
                  </a:lnTo>
                  <a:lnTo>
                    <a:pt x="422" y="220"/>
                  </a:lnTo>
                  <a:lnTo>
                    <a:pt x="421" y="218"/>
                  </a:lnTo>
                  <a:lnTo>
                    <a:pt x="422" y="215"/>
                  </a:lnTo>
                  <a:lnTo>
                    <a:pt x="421" y="215"/>
                  </a:lnTo>
                  <a:lnTo>
                    <a:pt x="420" y="215"/>
                  </a:lnTo>
                  <a:lnTo>
                    <a:pt x="418" y="216"/>
                  </a:lnTo>
                  <a:lnTo>
                    <a:pt x="418" y="214"/>
                  </a:lnTo>
                  <a:lnTo>
                    <a:pt x="418" y="212"/>
                  </a:lnTo>
                  <a:lnTo>
                    <a:pt x="416" y="212"/>
                  </a:lnTo>
                  <a:lnTo>
                    <a:pt x="418" y="210"/>
                  </a:lnTo>
                  <a:lnTo>
                    <a:pt x="416" y="208"/>
                  </a:lnTo>
                  <a:lnTo>
                    <a:pt x="415" y="208"/>
                  </a:lnTo>
                  <a:lnTo>
                    <a:pt x="415" y="210"/>
                  </a:lnTo>
                  <a:lnTo>
                    <a:pt x="414" y="209"/>
                  </a:lnTo>
                  <a:lnTo>
                    <a:pt x="415" y="207"/>
                  </a:lnTo>
                  <a:lnTo>
                    <a:pt x="413" y="207"/>
                  </a:lnTo>
                  <a:lnTo>
                    <a:pt x="413" y="209"/>
                  </a:lnTo>
                  <a:lnTo>
                    <a:pt x="413" y="210"/>
                  </a:lnTo>
                  <a:lnTo>
                    <a:pt x="413" y="212"/>
                  </a:lnTo>
                  <a:lnTo>
                    <a:pt x="413" y="214"/>
                  </a:lnTo>
                  <a:lnTo>
                    <a:pt x="414" y="215"/>
                  </a:lnTo>
                  <a:lnTo>
                    <a:pt x="414" y="219"/>
                  </a:lnTo>
                  <a:lnTo>
                    <a:pt x="413" y="220"/>
                  </a:lnTo>
                  <a:lnTo>
                    <a:pt x="414" y="221"/>
                  </a:lnTo>
                  <a:lnTo>
                    <a:pt x="416" y="224"/>
                  </a:lnTo>
                  <a:lnTo>
                    <a:pt x="418" y="224"/>
                  </a:lnTo>
                  <a:lnTo>
                    <a:pt x="418" y="221"/>
                  </a:lnTo>
                  <a:lnTo>
                    <a:pt x="420" y="221"/>
                  </a:lnTo>
                  <a:lnTo>
                    <a:pt x="421" y="224"/>
                  </a:lnTo>
                  <a:lnTo>
                    <a:pt x="424" y="224"/>
                  </a:lnTo>
                  <a:lnTo>
                    <a:pt x="421" y="225"/>
                  </a:lnTo>
                  <a:lnTo>
                    <a:pt x="424" y="226"/>
                  </a:lnTo>
                  <a:lnTo>
                    <a:pt x="421" y="227"/>
                  </a:lnTo>
                  <a:lnTo>
                    <a:pt x="418" y="226"/>
                  </a:lnTo>
                  <a:lnTo>
                    <a:pt x="416" y="226"/>
                  </a:lnTo>
                  <a:lnTo>
                    <a:pt x="415" y="226"/>
                  </a:lnTo>
                  <a:lnTo>
                    <a:pt x="413" y="225"/>
                  </a:lnTo>
                  <a:lnTo>
                    <a:pt x="410" y="226"/>
                  </a:lnTo>
                  <a:lnTo>
                    <a:pt x="408" y="228"/>
                  </a:lnTo>
                  <a:lnTo>
                    <a:pt x="407" y="226"/>
                  </a:lnTo>
                  <a:lnTo>
                    <a:pt x="406" y="228"/>
                  </a:lnTo>
                  <a:lnTo>
                    <a:pt x="406" y="226"/>
                  </a:lnTo>
                  <a:lnTo>
                    <a:pt x="403" y="225"/>
                  </a:lnTo>
                  <a:lnTo>
                    <a:pt x="403" y="226"/>
                  </a:lnTo>
                  <a:lnTo>
                    <a:pt x="403" y="227"/>
                  </a:lnTo>
                  <a:lnTo>
                    <a:pt x="402" y="227"/>
                  </a:lnTo>
                  <a:lnTo>
                    <a:pt x="402" y="230"/>
                  </a:lnTo>
                  <a:lnTo>
                    <a:pt x="403" y="231"/>
                  </a:lnTo>
                  <a:lnTo>
                    <a:pt x="402" y="231"/>
                  </a:lnTo>
                  <a:lnTo>
                    <a:pt x="401" y="232"/>
                  </a:lnTo>
                  <a:lnTo>
                    <a:pt x="401" y="231"/>
                  </a:lnTo>
                  <a:lnTo>
                    <a:pt x="399" y="228"/>
                  </a:lnTo>
                  <a:lnTo>
                    <a:pt x="399" y="230"/>
                  </a:lnTo>
                  <a:lnTo>
                    <a:pt x="399" y="227"/>
                  </a:lnTo>
                  <a:lnTo>
                    <a:pt x="398" y="228"/>
                  </a:lnTo>
                  <a:lnTo>
                    <a:pt x="397" y="230"/>
                  </a:lnTo>
                  <a:lnTo>
                    <a:pt x="397" y="228"/>
                  </a:lnTo>
                  <a:lnTo>
                    <a:pt x="396" y="228"/>
                  </a:lnTo>
                  <a:lnTo>
                    <a:pt x="395" y="227"/>
                  </a:lnTo>
                  <a:lnTo>
                    <a:pt x="393" y="227"/>
                  </a:lnTo>
                  <a:lnTo>
                    <a:pt x="393" y="226"/>
                  </a:lnTo>
                  <a:lnTo>
                    <a:pt x="392" y="226"/>
                  </a:lnTo>
                  <a:lnTo>
                    <a:pt x="391" y="227"/>
                  </a:lnTo>
                  <a:lnTo>
                    <a:pt x="390" y="230"/>
                  </a:lnTo>
                  <a:lnTo>
                    <a:pt x="389" y="231"/>
                  </a:lnTo>
                  <a:lnTo>
                    <a:pt x="389" y="232"/>
                  </a:lnTo>
                  <a:lnTo>
                    <a:pt x="387" y="230"/>
                  </a:lnTo>
                  <a:lnTo>
                    <a:pt x="386" y="230"/>
                  </a:lnTo>
                  <a:lnTo>
                    <a:pt x="384" y="230"/>
                  </a:lnTo>
                  <a:lnTo>
                    <a:pt x="383" y="230"/>
                  </a:lnTo>
                  <a:lnTo>
                    <a:pt x="380" y="230"/>
                  </a:lnTo>
                  <a:lnTo>
                    <a:pt x="379" y="231"/>
                  </a:lnTo>
                  <a:lnTo>
                    <a:pt x="379" y="233"/>
                  </a:lnTo>
                  <a:lnTo>
                    <a:pt x="378" y="233"/>
                  </a:lnTo>
                  <a:lnTo>
                    <a:pt x="377" y="231"/>
                  </a:lnTo>
                  <a:lnTo>
                    <a:pt x="377" y="232"/>
                  </a:lnTo>
                  <a:lnTo>
                    <a:pt x="375" y="233"/>
                  </a:lnTo>
                  <a:lnTo>
                    <a:pt x="377" y="234"/>
                  </a:lnTo>
                  <a:lnTo>
                    <a:pt x="377" y="237"/>
                  </a:lnTo>
                  <a:lnTo>
                    <a:pt x="378" y="238"/>
                  </a:lnTo>
                  <a:lnTo>
                    <a:pt x="379" y="238"/>
                  </a:lnTo>
                  <a:lnTo>
                    <a:pt x="380" y="237"/>
                  </a:lnTo>
                  <a:lnTo>
                    <a:pt x="381" y="238"/>
                  </a:lnTo>
                  <a:lnTo>
                    <a:pt x="381" y="236"/>
                  </a:lnTo>
                  <a:lnTo>
                    <a:pt x="381" y="234"/>
                  </a:lnTo>
                  <a:lnTo>
                    <a:pt x="384" y="236"/>
                  </a:lnTo>
                  <a:lnTo>
                    <a:pt x="384" y="237"/>
                  </a:lnTo>
                  <a:lnTo>
                    <a:pt x="386" y="237"/>
                  </a:lnTo>
                  <a:lnTo>
                    <a:pt x="386" y="239"/>
                  </a:lnTo>
                  <a:lnTo>
                    <a:pt x="386" y="238"/>
                  </a:lnTo>
                  <a:lnTo>
                    <a:pt x="385" y="239"/>
                  </a:lnTo>
                  <a:lnTo>
                    <a:pt x="386" y="240"/>
                  </a:lnTo>
                  <a:lnTo>
                    <a:pt x="385" y="240"/>
                  </a:lnTo>
                  <a:lnTo>
                    <a:pt x="384" y="242"/>
                  </a:lnTo>
                  <a:lnTo>
                    <a:pt x="385" y="243"/>
                  </a:lnTo>
                  <a:lnTo>
                    <a:pt x="386" y="242"/>
                  </a:lnTo>
                  <a:lnTo>
                    <a:pt x="387" y="240"/>
                  </a:lnTo>
                  <a:lnTo>
                    <a:pt x="387" y="243"/>
                  </a:lnTo>
                  <a:lnTo>
                    <a:pt x="387" y="245"/>
                  </a:lnTo>
                  <a:lnTo>
                    <a:pt x="386" y="245"/>
                  </a:lnTo>
                  <a:lnTo>
                    <a:pt x="385" y="246"/>
                  </a:lnTo>
                  <a:lnTo>
                    <a:pt x="387" y="246"/>
                  </a:lnTo>
                  <a:lnTo>
                    <a:pt x="389" y="246"/>
                  </a:lnTo>
                  <a:lnTo>
                    <a:pt x="390" y="246"/>
                  </a:lnTo>
                  <a:lnTo>
                    <a:pt x="391" y="249"/>
                  </a:lnTo>
                  <a:lnTo>
                    <a:pt x="391" y="250"/>
                  </a:lnTo>
                  <a:lnTo>
                    <a:pt x="392" y="251"/>
                  </a:lnTo>
                  <a:lnTo>
                    <a:pt x="393" y="251"/>
                  </a:lnTo>
                  <a:lnTo>
                    <a:pt x="395" y="251"/>
                  </a:lnTo>
                  <a:lnTo>
                    <a:pt x="396" y="253"/>
                  </a:lnTo>
                  <a:lnTo>
                    <a:pt x="396" y="251"/>
                  </a:lnTo>
                  <a:lnTo>
                    <a:pt x="396" y="250"/>
                  </a:lnTo>
                  <a:lnTo>
                    <a:pt x="397" y="249"/>
                  </a:lnTo>
                  <a:lnTo>
                    <a:pt x="398" y="248"/>
                  </a:lnTo>
                  <a:lnTo>
                    <a:pt x="401" y="248"/>
                  </a:lnTo>
                  <a:lnTo>
                    <a:pt x="399" y="250"/>
                  </a:lnTo>
                  <a:lnTo>
                    <a:pt x="399" y="253"/>
                  </a:lnTo>
                  <a:lnTo>
                    <a:pt x="401" y="255"/>
                  </a:lnTo>
                  <a:lnTo>
                    <a:pt x="401" y="256"/>
                  </a:lnTo>
                  <a:lnTo>
                    <a:pt x="401" y="257"/>
                  </a:lnTo>
                  <a:lnTo>
                    <a:pt x="402" y="256"/>
                  </a:lnTo>
                  <a:lnTo>
                    <a:pt x="403" y="257"/>
                  </a:lnTo>
                  <a:lnTo>
                    <a:pt x="402" y="260"/>
                  </a:lnTo>
                  <a:lnTo>
                    <a:pt x="402" y="262"/>
                  </a:lnTo>
                  <a:lnTo>
                    <a:pt x="404" y="262"/>
                  </a:lnTo>
                  <a:lnTo>
                    <a:pt x="406" y="261"/>
                  </a:lnTo>
                  <a:lnTo>
                    <a:pt x="407" y="261"/>
                  </a:lnTo>
                  <a:lnTo>
                    <a:pt x="408" y="262"/>
                  </a:lnTo>
                  <a:lnTo>
                    <a:pt x="409" y="262"/>
                  </a:lnTo>
                  <a:lnTo>
                    <a:pt x="408" y="262"/>
                  </a:lnTo>
                  <a:lnTo>
                    <a:pt x="409" y="262"/>
                  </a:lnTo>
                  <a:lnTo>
                    <a:pt x="410" y="261"/>
                  </a:lnTo>
                  <a:lnTo>
                    <a:pt x="410" y="260"/>
                  </a:lnTo>
                  <a:lnTo>
                    <a:pt x="412" y="261"/>
                  </a:lnTo>
                  <a:lnTo>
                    <a:pt x="413" y="262"/>
                  </a:lnTo>
                  <a:lnTo>
                    <a:pt x="412" y="263"/>
                  </a:lnTo>
                  <a:lnTo>
                    <a:pt x="413" y="263"/>
                  </a:lnTo>
                  <a:lnTo>
                    <a:pt x="416" y="266"/>
                  </a:lnTo>
                  <a:lnTo>
                    <a:pt x="415" y="266"/>
                  </a:lnTo>
                  <a:lnTo>
                    <a:pt x="414" y="267"/>
                  </a:lnTo>
                  <a:lnTo>
                    <a:pt x="416" y="268"/>
                  </a:lnTo>
                  <a:lnTo>
                    <a:pt x="416" y="273"/>
                  </a:lnTo>
                  <a:lnTo>
                    <a:pt x="415" y="275"/>
                  </a:lnTo>
                  <a:lnTo>
                    <a:pt x="414" y="274"/>
                  </a:lnTo>
                  <a:lnTo>
                    <a:pt x="414" y="275"/>
                  </a:lnTo>
                  <a:lnTo>
                    <a:pt x="410" y="279"/>
                  </a:lnTo>
                  <a:lnTo>
                    <a:pt x="408" y="279"/>
                  </a:lnTo>
                  <a:lnTo>
                    <a:pt x="408" y="281"/>
                  </a:lnTo>
                  <a:lnTo>
                    <a:pt x="407" y="281"/>
                  </a:lnTo>
                  <a:lnTo>
                    <a:pt x="406" y="281"/>
                  </a:lnTo>
                  <a:lnTo>
                    <a:pt x="407" y="284"/>
                  </a:lnTo>
                  <a:lnTo>
                    <a:pt x="413" y="285"/>
                  </a:lnTo>
                  <a:lnTo>
                    <a:pt x="416" y="285"/>
                  </a:lnTo>
                  <a:lnTo>
                    <a:pt x="418" y="286"/>
                  </a:lnTo>
                  <a:lnTo>
                    <a:pt x="419" y="287"/>
                  </a:lnTo>
                  <a:lnTo>
                    <a:pt x="419" y="290"/>
                  </a:lnTo>
                  <a:lnTo>
                    <a:pt x="418" y="289"/>
                  </a:lnTo>
                  <a:lnTo>
                    <a:pt x="416" y="289"/>
                  </a:lnTo>
                  <a:lnTo>
                    <a:pt x="414" y="287"/>
                  </a:lnTo>
                  <a:lnTo>
                    <a:pt x="413" y="287"/>
                  </a:lnTo>
                  <a:lnTo>
                    <a:pt x="413" y="285"/>
                  </a:lnTo>
                  <a:lnTo>
                    <a:pt x="410" y="285"/>
                  </a:lnTo>
                  <a:lnTo>
                    <a:pt x="407" y="284"/>
                  </a:lnTo>
                  <a:lnTo>
                    <a:pt x="406" y="285"/>
                  </a:lnTo>
                  <a:lnTo>
                    <a:pt x="406" y="286"/>
                  </a:lnTo>
                  <a:lnTo>
                    <a:pt x="404" y="287"/>
                  </a:lnTo>
                  <a:lnTo>
                    <a:pt x="404" y="289"/>
                  </a:lnTo>
                  <a:lnTo>
                    <a:pt x="403" y="290"/>
                  </a:lnTo>
                  <a:lnTo>
                    <a:pt x="402" y="290"/>
                  </a:lnTo>
                  <a:lnTo>
                    <a:pt x="401" y="291"/>
                  </a:lnTo>
                  <a:lnTo>
                    <a:pt x="401" y="292"/>
                  </a:lnTo>
                  <a:lnTo>
                    <a:pt x="401" y="289"/>
                  </a:lnTo>
                  <a:lnTo>
                    <a:pt x="401" y="286"/>
                  </a:lnTo>
                  <a:lnTo>
                    <a:pt x="402" y="284"/>
                  </a:lnTo>
                  <a:lnTo>
                    <a:pt x="404" y="284"/>
                  </a:lnTo>
                  <a:lnTo>
                    <a:pt x="404" y="281"/>
                  </a:lnTo>
                  <a:lnTo>
                    <a:pt x="402" y="281"/>
                  </a:lnTo>
                  <a:lnTo>
                    <a:pt x="402" y="283"/>
                  </a:lnTo>
                  <a:lnTo>
                    <a:pt x="401" y="284"/>
                  </a:lnTo>
                  <a:lnTo>
                    <a:pt x="401" y="285"/>
                  </a:lnTo>
                  <a:lnTo>
                    <a:pt x="399" y="286"/>
                  </a:lnTo>
                  <a:lnTo>
                    <a:pt x="399" y="284"/>
                  </a:lnTo>
                  <a:lnTo>
                    <a:pt x="401" y="281"/>
                  </a:lnTo>
                  <a:lnTo>
                    <a:pt x="399" y="281"/>
                  </a:lnTo>
                  <a:lnTo>
                    <a:pt x="398" y="281"/>
                  </a:lnTo>
                  <a:lnTo>
                    <a:pt x="398" y="283"/>
                  </a:lnTo>
                  <a:lnTo>
                    <a:pt x="397" y="284"/>
                  </a:lnTo>
                  <a:lnTo>
                    <a:pt x="396" y="281"/>
                  </a:lnTo>
                  <a:lnTo>
                    <a:pt x="395" y="280"/>
                  </a:lnTo>
                  <a:lnTo>
                    <a:pt x="393" y="280"/>
                  </a:lnTo>
                  <a:lnTo>
                    <a:pt x="391" y="279"/>
                  </a:lnTo>
                  <a:lnTo>
                    <a:pt x="392" y="277"/>
                  </a:lnTo>
                  <a:lnTo>
                    <a:pt x="390" y="278"/>
                  </a:lnTo>
                  <a:lnTo>
                    <a:pt x="389" y="279"/>
                  </a:lnTo>
                  <a:lnTo>
                    <a:pt x="389" y="278"/>
                  </a:lnTo>
                  <a:lnTo>
                    <a:pt x="390" y="275"/>
                  </a:lnTo>
                  <a:lnTo>
                    <a:pt x="389" y="275"/>
                  </a:lnTo>
                  <a:lnTo>
                    <a:pt x="386" y="274"/>
                  </a:lnTo>
                  <a:lnTo>
                    <a:pt x="386" y="273"/>
                  </a:lnTo>
                  <a:lnTo>
                    <a:pt x="385" y="273"/>
                  </a:lnTo>
                  <a:lnTo>
                    <a:pt x="384" y="273"/>
                  </a:lnTo>
                  <a:lnTo>
                    <a:pt x="383" y="272"/>
                  </a:lnTo>
                  <a:lnTo>
                    <a:pt x="385" y="272"/>
                  </a:lnTo>
                  <a:lnTo>
                    <a:pt x="385" y="271"/>
                  </a:lnTo>
                  <a:lnTo>
                    <a:pt x="384" y="269"/>
                  </a:lnTo>
                  <a:lnTo>
                    <a:pt x="385" y="268"/>
                  </a:lnTo>
                  <a:lnTo>
                    <a:pt x="384" y="269"/>
                  </a:lnTo>
                  <a:lnTo>
                    <a:pt x="383" y="268"/>
                  </a:lnTo>
                  <a:lnTo>
                    <a:pt x="381" y="267"/>
                  </a:lnTo>
                  <a:lnTo>
                    <a:pt x="380" y="267"/>
                  </a:lnTo>
                  <a:lnTo>
                    <a:pt x="380" y="271"/>
                  </a:lnTo>
                  <a:lnTo>
                    <a:pt x="380" y="277"/>
                  </a:lnTo>
                  <a:lnTo>
                    <a:pt x="381" y="278"/>
                  </a:lnTo>
                  <a:lnTo>
                    <a:pt x="381" y="279"/>
                  </a:lnTo>
                  <a:lnTo>
                    <a:pt x="381" y="281"/>
                  </a:lnTo>
                  <a:lnTo>
                    <a:pt x="380" y="280"/>
                  </a:lnTo>
                  <a:lnTo>
                    <a:pt x="380" y="278"/>
                  </a:lnTo>
                  <a:lnTo>
                    <a:pt x="379" y="274"/>
                  </a:lnTo>
                  <a:lnTo>
                    <a:pt x="378" y="275"/>
                  </a:lnTo>
                  <a:lnTo>
                    <a:pt x="377" y="278"/>
                  </a:lnTo>
                  <a:lnTo>
                    <a:pt x="377" y="280"/>
                  </a:lnTo>
                  <a:lnTo>
                    <a:pt x="377" y="283"/>
                  </a:lnTo>
                  <a:lnTo>
                    <a:pt x="375" y="285"/>
                  </a:lnTo>
                  <a:lnTo>
                    <a:pt x="373" y="287"/>
                  </a:lnTo>
                  <a:lnTo>
                    <a:pt x="372" y="290"/>
                  </a:lnTo>
                  <a:lnTo>
                    <a:pt x="375" y="293"/>
                  </a:lnTo>
                  <a:lnTo>
                    <a:pt x="378" y="295"/>
                  </a:lnTo>
                  <a:lnTo>
                    <a:pt x="378" y="293"/>
                  </a:lnTo>
                  <a:lnTo>
                    <a:pt x="380" y="295"/>
                  </a:lnTo>
                  <a:lnTo>
                    <a:pt x="381" y="296"/>
                  </a:lnTo>
                  <a:lnTo>
                    <a:pt x="380" y="296"/>
                  </a:lnTo>
                  <a:lnTo>
                    <a:pt x="381" y="297"/>
                  </a:lnTo>
                  <a:lnTo>
                    <a:pt x="383" y="296"/>
                  </a:lnTo>
                  <a:lnTo>
                    <a:pt x="384" y="296"/>
                  </a:lnTo>
                  <a:lnTo>
                    <a:pt x="385" y="295"/>
                  </a:lnTo>
                  <a:lnTo>
                    <a:pt x="385" y="292"/>
                  </a:lnTo>
                  <a:lnTo>
                    <a:pt x="386" y="291"/>
                  </a:lnTo>
                  <a:lnTo>
                    <a:pt x="389" y="293"/>
                  </a:lnTo>
                  <a:lnTo>
                    <a:pt x="386" y="296"/>
                  </a:lnTo>
                  <a:lnTo>
                    <a:pt x="386" y="298"/>
                  </a:lnTo>
                  <a:lnTo>
                    <a:pt x="387" y="297"/>
                  </a:lnTo>
                  <a:lnTo>
                    <a:pt x="389" y="296"/>
                  </a:lnTo>
                  <a:lnTo>
                    <a:pt x="389" y="298"/>
                  </a:lnTo>
                  <a:lnTo>
                    <a:pt x="390" y="297"/>
                  </a:lnTo>
                  <a:lnTo>
                    <a:pt x="391" y="297"/>
                  </a:lnTo>
                  <a:lnTo>
                    <a:pt x="391" y="299"/>
                  </a:lnTo>
                  <a:lnTo>
                    <a:pt x="387" y="299"/>
                  </a:lnTo>
                  <a:lnTo>
                    <a:pt x="387" y="301"/>
                  </a:lnTo>
                  <a:lnTo>
                    <a:pt x="389" y="302"/>
                  </a:lnTo>
                  <a:lnTo>
                    <a:pt x="390" y="302"/>
                  </a:lnTo>
                  <a:lnTo>
                    <a:pt x="391" y="305"/>
                  </a:lnTo>
                  <a:lnTo>
                    <a:pt x="390" y="307"/>
                  </a:lnTo>
                  <a:lnTo>
                    <a:pt x="389" y="305"/>
                  </a:lnTo>
                  <a:lnTo>
                    <a:pt x="389" y="307"/>
                  </a:lnTo>
                  <a:lnTo>
                    <a:pt x="387" y="309"/>
                  </a:lnTo>
                  <a:lnTo>
                    <a:pt x="386" y="308"/>
                  </a:lnTo>
                  <a:lnTo>
                    <a:pt x="385" y="307"/>
                  </a:lnTo>
                  <a:lnTo>
                    <a:pt x="386" y="304"/>
                  </a:lnTo>
                  <a:lnTo>
                    <a:pt x="386" y="302"/>
                  </a:lnTo>
                  <a:lnTo>
                    <a:pt x="385" y="302"/>
                  </a:lnTo>
                  <a:lnTo>
                    <a:pt x="384" y="304"/>
                  </a:lnTo>
                  <a:lnTo>
                    <a:pt x="383" y="303"/>
                  </a:lnTo>
                  <a:lnTo>
                    <a:pt x="383" y="299"/>
                  </a:lnTo>
                  <a:lnTo>
                    <a:pt x="383" y="301"/>
                  </a:lnTo>
                  <a:lnTo>
                    <a:pt x="380" y="301"/>
                  </a:lnTo>
                  <a:lnTo>
                    <a:pt x="380" y="297"/>
                  </a:lnTo>
                  <a:lnTo>
                    <a:pt x="379" y="297"/>
                  </a:lnTo>
                  <a:lnTo>
                    <a:pt x="379" y="298"/>
                  </a:lnTo>
                  <a:lnTo>
                    <a:pt x="377" y="298"/>
                  </a:lnTo>
                  <a:lnTo>
                    <a:pt x="377" y="297"/>
                  </a:lnTo>
                  <a:lnTo>
                    <a:pt x="378" y="296"/>
                  </a:lnTo>
                  <a:lnTo>
                    <a:pt x="378" y="295"/>
                  </a:lnTo>
                  <a:lnTo>
                    <a:pt x="375" y="293"/>
                  </a:lnTo>
                  <a:lnTo>
                    <a:pt x="372" y="291"/>
                  </a:lnTo>
                  <a:lnTo>
                    <a:pt x="372" y="293"/>
                  </a:lnTo>
                  <a:lnTo>
                    <a:pt x="373" y="295"/>
                  </a:lnTo>
                  <a:lnTo>
                    <a:pt x="373" y="297"/>
                  </a:lnTo>
                  <a:lnTo>
                    <a:pt x="374" y="299"/>
                  </a:lnTo>
                  <a:lnTo>
                    <a:pt x="373" y="303"/>
                  </a:lnTo>
                  <a:lnTo>
                    <a:pt x="372" y="305"/>
                  </a:lnTo>
                  <a:lnTo>
                    <a:pt x="371" y="307"/>
                  </a:lnTo>
                  <a:lnTo>
                    <a:pt x="369" y="309"/>
                  </a:lnTo>
                  <a:lnTo>
                    <a:pt x="371" y="310"/>
                  </a:lnTo>
                  <a:lnTo>
                    <a:pt x="371" y="311"/>
                  </a:lnTo>
                  <a:lnTo>
                    <a:pt x="373" y="313"/>
                  </a:lnTo>
                  <a:lnTo>
                    <a:pt x="373" y="310"/>
                  </a:lnTo>
                  <a:lnTo>
                    <a:pt x="375" y="309"/>
                  </a:lnTo>
                  <a:lnTo>
                    <a:pt x="377" y="310"/>
                  </a:lnTo>
                  <a:lnTo>
                    <a:pt x="377" y="311"/>
                  </a:lnTo>
                  <a:lnTo>
                    <a:pt x="378" y="311"/>
                  </a:lnTo>
                  <a:lnTo>
                    <a:pt x="379" y="311"/>
                  </a:lnTo>
                  <a:lnTo>
                    <a:pt x="381" y="313"/>
                  </a:lnTo>
                  <a:lnTo>
                    <a:pt x="381" y="314"/>
                  </a:lnTo>
                  <a:lnTo>
                    <a:pt x="383" y="313"/>
                  </a:lnTo>
                  <a:lnTo>
                    <a:pt x="384" y="311"/>
                  </a:lnTo>
                  <a:lnTo>
                    <a:pt x="386" y="311"/>
                  </a:lnTo>
                  <a:lnTo>
                    <a:pt x="387" y="311"/>
                  </a:lnTo>
                  <a:lnTo>
                    <a:pt x="385" y="313"/>
                  </a:lnTo>
                  <a:lnTo>
                    <a:pt x="384" y="314"/>
                  </a:lnTo>
                  <a:lnTo>
                    <a:pt x="384" y="315"/>
                  </a:lnTo>
                  <a:lnTo>
                    <a:pt x="385" y="315"/>
                  </a:lnTo>
                  <a:lnTo>
                    <a:pt x="387" y="315"/>
                  </a:lnTo>
                  <a:lnTo>
                    <a:pt x="389" y="315"/>
                  </a:lnTo>
                  <a:lnTo>
                    <a:pt x="390" y="314"/>
                  </a:lnTo>
                  <a:lnTo>
                    <a:pt x="391" y="314"/>
                  </a:lnTo>
                  <a:lnTo>
                    <a:pt x="393" y="314"/>
                  </a:lnTo>
                  <a:lnTo>
                    <a:pt x="393" y="313"/>
                  </a:lnTo>
                  <a:lnTo>
                    <a:pt x="393" y="314"/>
                  </a:lnTo>
                  <a:lnTo>
                    <a:pt x="395" y="316"/>
                  </a:lnTo>
                  <a:lnTo>
                    <a:pt x="392" y="319"/>
                  </a:lnTo>
                  <a:lnTo>
                    <a:pt x="393" y="320"/>
                  </a:lnTo>
                  <a:lnTo>
                    <a:pt x="395" y="321"/>
                  </a:lnTo>
                  <a:lnTo>
                    <a:pt x="393" y="326"/>
                  </a:lnTo>
                  <a:lnTo>
                    <a:pt x="392" y="328"/>
                  </a:lnTo>
                  <a:lnTo>
                    <a:pt x="391" y="329"/>
                  </a:lnTo>
                  <a:lnTo>
                    <a:pt x="391" y="332"/>
                  </a:lnTo>
                  <a:lnTo>
                    <a:pt x="390" y="332"/>
                  </a:lnTo>
                  <a:lnTo>
                    <a:pt x="392" y="333"/>
                  </a:lnTo>
                  <a:lnTo>
                    <a:pt x="391" y="337"/>
                  </a:lnTo>
                  <a:lnTo>
                    <a:pt x="391" y="339"/>
                  </a:lnTo>
                  <a:lnTo>
                    <a:pt x="390" y="338"/>
                  </a:lnTo>
                  <a:lnTo>
                    <a:pt x="389" y="339"/>
                  </a:lnTo>
                  <a:lnTo>
                    <a:pt x="389" y="341"/>
                  </a:lnTo>
                  <a:lnTo>
                    <a:pt x="387" y="341"/>
                  </a:lnTo>
                  <a:lnTo>
                    <a:pt x="387" y="343"/>
                  </a:lnTo>
                  <a:lnTo>
                    <a:pt x="389" y="344"/>
                  </a:lnTo>
                  <a:lnTo>
                    <a:pt x="390" y="344"/>
                  </a:lnTo>
                  <a:lnTo>
                    <a:pt x="390" y="341"/>
                  </a:lnTo>
                  <a:lnTo>
                    <a:pt x="390" y="340"/>
                  </a:lnTo>
                  <a:lnTo>
                    <a:pt x="391" y="340"/>
                  </a:lnTo>
                  <a:lnTo>
                    <a:pt x="392" y="344"/>
                  </a:lnTo>
                  <a:lnTo>
                    <a:pt x="392" y="345"/>
                  </a:lnTo>
                  <a:lnTo>
                    <a:pt x="393" y="346"/>
                  </a:lnTo>
                  <a:lnTo>
                    <a:pt x="395" y="347"/>
                  </a:lnTo>
                  <a:lnTo>
                    <a:pt x="395" y="349"/>
                  </a:lnTo>
                  <a:lnTo>
                    <a:pt x="395" y="350"/>
                  </a:lnTo>
                  <a:lnTo>
                    <a:pt x="396" y="351"/>
                  </a:lnTo>
                  <a:lnTo>
                    <a:pt x="397" y="352"/>
                  </a:lnTo>
                  <a:lnTo>
                    <a:pt x="397" y="351"/>
                  </a:lnTo>
                  <a:lnTo>
                    <a:pt x="398" y="352"/>
                  </a:lnTo>
                  <a:lnTo>
                    <a:pt x="399" y="352"/>
                  </a:lnTo>
                  <a:lnTo>
                    <a:pt x="402" y="355"/>
                  </a:lnTo>
                  <a:lnTo>
                    <a:pt x="399" y="355"/>
                  </a:lnTo>
                  <a:lnTo>
                    <a:pt x="398" y="355"/>
                  </a:lnTo>
                  <a:lnTo>
                    <a:pt x="397" y="355"/>
                  </a:lnTo>
                  <a:lnTo>
                    <a:pt x="399" y="357"/>
                  </a:lnTo>
                  <a:lnTo>
                    <a:pt x="402" y="358"/>
                  </a:lnTo>
                  <a:lnTo>
                    <a:pt x="401" y="361"/>
                  </a:lnTo>
                  <a:lnTo>
                    <a:pt x="398" y="358"/>
                  </a:lnTo>
                  <a:lnTo>
                    <a:pt x="397" y="357"/>
                  </a:lnTo>
                  <a:lnTo>
                    <a:pt x="397" y="358"/>
                  </a:lnTo>
                  <a:lnTo>
                    <a:pt x="396" y="358"/>
                  </a:lnTo>
                  <a:lnTo>
                    <a:pt x="395" y="358"/>
                  </a:lnTo>
                  <a:lnTo>
                    <a:pt x="393" y="361"/>
                  </a:lnTo>
                  <a:lnTo>
                    <a:pt x="391" y="362"/>
                  </a:lnTo>
                  <a:lnTo>
                    <a:pt x="390" y="363"/>
                  </a:lnTo>
                  <a:lnTo>
                    <a:pt x="390" y="360"/>
                  </a:lnTo>
                  <a:lnTo>
                    <a:pt x="391" y="357"/>
                  </a:lnTo>
                  <a:lnTo>
                    <a:pt x="391" y="356"/>
                  </a:lnTo>
                  <a:lnTo>
                    <a:pt x="391" y="355"/>
                  </a:lnTo>
                  <a:lnTo>
                    <a:pt x="390" y="356"/>
                  </a:lnTo>
                  <a:lnTo>
                    <a:pt x="389" y="356"/>
                  </a:lnTo>
                  <a:lnTo>
                    <a:pt x="389" y="352"/>
                  </a:lnTo>
                  <a:lnTo>
                    <a:pt x="386" y="351"/>
                  </a:lnTo>
                  <a:lnTo>
                    <a:pt x="387" y="355"/>
                  </a:lnTo>
                  <a:lnTo>
                    <a:pt x="385" y="356"/>
                  </a:lnTo>
                  <a:lnTo>
                    <a:pt x="385" y="357"/>
                  </a:lnTo>
                  <a:lnTo>
                    <a:pt x="385" y="360"/>
                  </a:lnTo>
                  <a:lnTo>
                    <a:pt x="384" y="357"/>
                  </a:lnTo>
                  <a:lnTo>
                    <a:pt x="385" y="360"/>
                  </a:lnTo>
                  <a:lnTo>
                    <a:pt x="386" y="361"/>
                  </a:lnTo>
                  <a:lnTo>
                    <a:pt x="384" y="360"/>
                  </a:lnTo>
                  <a:lnTo>
                    <a:pt x="384" y="361"/>
                  </a:lnTo>
                  <a:lnTo>
                    <a:pt x="383" y="361"/>
                  </a:lnTo>
                  <a:lnTo>
                    <a:pt x="381" y="363"/>
                  </a:lnTo>
                  <a:lnTo>
                    <a:pt x="380" y="364"/>
                  </a:lnTo>
                  <a:lnTo>
                    <a:pt x="379" y="367"/>
                  </a:lnTo>
                  <a:lnTo>
                    <a:pt x="379" y="364"/>
                  </a:lnTo>
                  <a:lnTo>
                    <a:pt x="378" y="363"/>
                  </a:lnTo>
                  <a:lnTo>
                    <a:pt x="378" y="366"/>
                  </a:lnTo>
                  <a:lnTo>
                    <a:pt x="377" y="367"/>
                  </a:lnTo>
                  <a:lnTo>
                    <a:pt x="377" y="364"/>
                  </a:lnTo>
                  <a:lnTo>
                    <a:pt x="375" y="364"/>
                  </a:lnTo>
                  <a:lnTo>
                    <a:pt x="375" y="367"/>
                  </a:lnTo>
                  <a:lnTo>
                    <a:pt x="375" y="368"/>
                  </a:lnTo>
                  <a:lnTo>
                    <a:pt x="374" y="367"/>
                  </a:lnTo>
                  <a:lnTo>
                    <a:pt x="373" y="369"/>
                  </a:lnTo>
                  <a:lnTo>
                    <a:pt x="373" y="370"/>
                  </a:lnTo>
                  <a:lnTo>
                    <a:pt x="372" y="369"/>
                  </a:lnTo>
                  <a:lnTo>
                    <a:pt x="371" y="369"/>
                  </a:lnTo>
                  <a:lnTo>
                    <a:pt x="371" y="370"/>
                  </a:lnTo>
                  <a:lnTo>
                    <a:pt x="369" y="369"/>
                  </a:lnTo>
                  <a:lnTo>
                    <a:pt x="369" y="370"/>
                  </a:lnTo>
                  <a:lnTo>
                    <a:pt x="368" y="370"/>
                  </a:lnTo>
                  <a:lnTo>
                    <a:pt x="368" y="368"/>
                  </a:lnTo>
                  <a:lnTo>
                    <a:pt x="367" y="367"/>
                  </a:lnTo>
                  <a:lnTo>
                    <a:pt x="367" y="364"/>
                  </a:lnTo>
                  <a:lnTo>
                    <a:pt x="366" y="364"/>
                  </a:lnTo>
                  <a:lnTo>
                    <a:pt x="366" y="366"/>
                  </a:lnTo>
                  <a:lnTo>
                    <a:pt x="366" y="368"/>
                  </a:lnTo>
                  <a:lnTo>
                    <a:pt x="366" y="370"/>
                  </a:lnTo>
                  <a:lnTo>
                    <a:pt x="367" y="373"/>
                  </a:lnTo>
                  <a:lnTo>
                    <a:pt x="367" y="375"/>
                  </a:lnTo>
                  <a:lnTo>
                    <a:pt x="368" y="376"/>
                  </a:lnTo>
                  <a:lnTo>
                    <a:pt x="367" y="376"/>
                  </a:lnTo>
                  <a:lnTo>
                    <a:pt x="366" y="375"/>
                  </a:lnTo>
                  <a:lnTo>
                    <a:pt x="365" y="375"/>
                  </a:lnTo>
                  <a:lnTo>
                    <a:pt x="363" y="375"/>
                  </a:lnTo>
                  <a:lnTo>
                    <a:pt x="363" y="378"/>
                  </a:lnTo>
                  <a:lnTo>
                    <a:pt x="363" y="380"/>
                  </a:lnTo>
                  <a:lnTo>
                    <a:pt x="362" y="381"/>
                  </a:lnTo>
                  <a:lnTo>
                    <a:pt x="362" y="380"/>
                  </a:lnTo>
                  <a:lnTo>
                    <a:pt x="361" y="381"/>
                  </a:lnTo>
                  <a:lnTo>
                    <a:pt x="360" y="384"/>
                  </a:lnTo>
                  <a:lnTo>
                    <a:pt x="360" y="386"/>
                  </a:lnTo>
                  <a:lnTo>
                    <a:pt x="360" y="390"/>
                  </a:lnTo>
                  <a:lnTo>
                    <a:pt x="362" y="392"/>
                  </a:lnTo>
                  <a:lnTo>
                    <a:pt x="361" y="393"/>
                  </a:lnTo>
                  <a:lnTo>
                    <a:pt x="360" y="394"/>
                  </a:lnTo>
                  <a:lnTo>
                    <a:pt x="359" y="396"/>
                  </a:lnTo>
                  <a:lnTo>
                    <a:pt x="357" y="399"/>
                  </a:lnTo>
                  <a:lnTo>
                    <a:pt x="356" y="402"/>
                  </a:lnTo>
                  <a:lnTo>
                    <a:pt x="355" y="403"/>
                  </a:lnTo>
                  <a:lnTo>
                    <a:pt x="355" y="400"/>
                  </a:lnTo>
                  <a:lnTo>
                    <a:pt x="354" y="398"/>
                  </a:lnTo>
                  <a:lnTo>
                    <a:pt x="353" y="397"/>
                  </a:lnTo>
                  <a:lnTo>
                    <a:pt x="353" y="396"/>
                  </a:lnTo>
                  <a:lnTo>
                    <a:pt x="350" y="397"/>
                  </a:lnTo>
                  <a:lnTo>
                    <a:pt x="350" y="396"/>
                  </a:lnTo>
                  <a:lnTo>
                    <a:pt x="349" y="396"/>
                  </a:lnTo>
                  <a:lnTo>
                    <a:pt x="348" y="397"/>
                  </a:lnTo>
                  <a:lnTo>
                    <a:pt x="348" y="399"/>
                  </a:lnTo>
                  <a:lnTo>
                    <a:pt x="348" y="396"/>
                  </a:lnTo>
                  <a:lnTo>
                    <a:pt x="347" y="394"/>
                  </a:lnTo>
                  <a:lnTo>
                    <a:pt x="348" y="392"/>
                  </a:lnTo>
                  <a:lnTo>
                    <a:pt x="349" y="392"/>
                  </a:lnTo>
                  <a:lnTo>
                    <a:pt x="351" y="392"/>
                  </a:lnTo>
                  <a:lnTo>
                    <a:pt x="351" y="388"/>
                  </a:lnTo>
                  <a:lnTo>
                    <a:pt x="353" y="386"/>
                  </a:lnTo>
                  <a:lnTo>
                    <a:pt x="353" y="384"/>
                  </a:lnTo>
                  <a:lnTo>
                    <a:pt x="351" y="384"/>
                  </a:lnTo>
                  <a:lnTo>
                    <a:pt x="349" y="382"/>
                  </a:lnTo>
                  <a:lnTo>
                    <a:pt x="348" y="385"/>
                  </a:lnTo>
                  <a:lnTo>
                    <a:pt x="348" y="384"/>
                  </a:lnTo>
                  <a:lnTo>
                    <a:pt x="349" y="382"/>
                  </a:lnTo>
                  <a:lnTo>
                    <a:pt x="347" y="384"/>
                  </a:lnTo>
                  <a:lnTo>
                    <a:pt x="345" y="385"/>
                  </a:lnTo>
                  <a:lnTo>
                    <a:pt x="343" y="388"/>
                  </a:lnTo>
                  <a:lnTo>
                    <a:pt x="342" y="390"/>
                  </a:lnTo>
                  <a:lnTo>
                    <a:pt x="339" y="390"/>
                  </a:lnTo>
                  <a:lnTo>
                    <a:pt x="339" y="388"/>
                  </a:lnTo>
                  <a:lnTo>
                    <a:pt x="339" y="387"/>
                  </a:lnTo>
                  <a:lnTo>
                    <a:pt x="338" y="388"/>
                  </a:lnTo>
                  <a:lnTo>
                    <a:pt x="338" y="391"/>
                  </a:lnTo>
                  <a:lnTo>
                    <a:pt x="337" y="392"/>
                  </a:lnTo>
                  <a:lnTo>
                    <a:pt x="337" y="393"/>
                  </a:lnTo>
                  <a:lnTo>
                    <a:pt x="336" y="394"/>
                  </a:lnTo>
                  <a:lnTo>
                    <a:pt x="334" y="397"/>
                  </a:lnTo>
                  <a:lnTo>
                    <a:pt x="333" y="398"/>
                  </a:lnTo>
                  <a:lnTo>
                    <a:pt x="333" y="399"/>
                  </a:lnTo>
                  <a:lnTo>
                    <a:pt x="332" y="402"/>
                  </a:lnTo>
                  <a:lnTo>
                    <a:pt x="331" y="402"/>
                  </a:lnTo>
                  <a:lnTo>
                    <a:pt x="330" y="404"/>
                  </a:lnTo>
                  <a:lnTo>
                    <a:pt x="330" y="405"/>
                  </a:lnTo>
                  <a:lnTo>
                    <a:pt x="330" y="403"/>
                  </a:lnTo>
                  <a:lnTo>
                    <a:pt x="328" y="404"/>
                  </a:lnTo>
                  <a:lnTo>
                    <a:pt x="327" y="404"/>
                  </a:lnTo>
                  <a:lnTo>
                    <a:pt x="326" y="404"/>
                  </a:lnTo>
                  <a:lnTo>
                    <a:pt x="326" y="403"/>
                  </a:lnTo>
                  <a:lnTo>
                    <a:pt x="326" y="400"/>
                  </a:lnTo>
                  <a:lnTo>
                    <a:pt x="326" y="399"/>
                  </a:lnTo>
                  <a:lnTo>
                    <a:pt x="325" y="399"/>
                  </a:lnTo>
                  <a:lnTo>
                    <a:pt x="327" y="398"/>
                  </a:lnTo>
                  <a:lnTo>
                    <a:pt x="326" y="398"/>
                  </a:lnTo>
                  <a:lnTo>
                    <a:pt x="327" y="397"/>
                  </a:lnTo>
                  <a:lnTo>
                    <a:pt x="327" y="396"/>
                  </a:lnTo>
                  <a:lnTo>
                    <a:pt x="327" y="393"/>
                  </a:lnTo>
                  <a:lnTo>
                    <a:pt x="328" y="392"/>
                  </a:lnTo>
                  <a:lnTo>
                    <a:pt x="327" y="390"/>
                  </a:lnTo>
                  <a:lnTo>
                    <a:pt x="327" y="384"/>
                  </a:lnTo>
                  <a:lnTo>
                    <a:pt x="328" y="375"/>
                  </a:lnTo>
                  <a:lnTo>
                    <a:pt x="327" y="367"/>
                  </a:lnTo>
                  <a:lnTo>
                    <a:pt x="325" y="370"/>
                  </a:lnTo>
                  <a:lnTo>
                    <a:pt x="324" y="374"/>
                  </a:lnTo>
                  <a:lnTo>
                    <a:pt x="325" y="375"/>
                  </a:lnTo>
                  <a:lnTo>
                    <a:pt x="324" y="374"/>
                  </a:lnTo>
                  <a:lnTo>
                    <a:pt x="318" y="375"/>
                  </a:lnTo>
                  <a:lnTo>
                    <a:pt x="322" y="374"/>
                  </a:lnTo>
                  <a:lnTo>
                    <a:pt x="326" y="367"/>
                  </a:lnTo>
                  <a:lnTo>
                    <a:pt x="324" y="368"/>
                  </a:lnTo>
                  <a:lnTo>
                    <a:pt x="321" y="368"/>
                  </a:lnTo>
                  <a:lnTo>
                    <a:pt x="319" y="367"/>
                  </a:lnTo>
                  <a:lnTo>
                    <a:pt x="318" y="368"/>
                  </a:lnTo>
                  <a:lnTo>
                    <a:pt x="316" y="368"/>
                  </a:lnTo>
                  <a:lnTo>
                    <a:pt x="315" y="368"/>
                  </a:lnTo>
                  <a:lnTo>
                    <a:pt x="314" y="366"/>
                  </a:lnTo>
                  <a:lnTo>
                    <a:pt x="315" y="363"/>
                  </a:lnTo>
                  <a:lnTo>
                    <a:pt x="314" y="363"/>
                  </a:lnTo>
                  <a:lnTo>
                    <a:pt x="313" y="364"/>
                  </a:lnTo>
                  <a:lnTo>
                    <a:pt x="310" y="364"/>
                  </a:lnTo>
                  <a:lnTo>
                    <a:pt x="309" y="364"/>
                  </a:lnTo>
                  <a:lnTo>
                    <a:pt x="307" y="366"/>
                  </a:lnTo>
                  <a:lnTo>
                    <a:pt x="308" y="368"/>
                  </a:lnTo>
                  <a:lnTo>
                    <a:pt x="308" y="370"/>
                  </a:lnTo>
                  <a:lnTo>
                    <a:pt x="308" y="372"/>
                  </a:lnTo>
                  <a:lnTo>
                    <a:pt x="309" y="373"/>
                  </a:lnTo>
                  <a:lnTo>
                    <a:pt x="308" y="373"/>
                  </a:lnTo>
                  <a:lnTo>
                    <a:pt x="308" y="375"/>
                  </a:lnTo>
                  <a:lnTo>
                    <a:pt x="309" y="378"/>
                  </a:lnTo>
                  <a:lnTo>
                    <a:pt x="309" y="381"/>
                  </a:lnTo>
                  <a:lnTo>
                    <a:pt x="308" y="376"/>
                  </a:lnTo>
                  <a:lnTo>
                    <a:pt x="307" y="378"/>
                  </a:lnTo>
                  <a:lnTo>
                    <a:pt x="306" y="379"/>
                  </a:lnTo>
                  <a:lnTo>
                    <a:pt x="307" y="382"/>
                  </a:lnTo>
                  <a:lnTo>
                    <a:pt x="304" y="386"/>
                  </a:lnTo>
                  <a:lnTo>
                    <a:pt x="302" y="388"/>
                  </a:lnTo>
                  <a:lnTo>
                    <a:pt x="304" y="384"/>
                  </a:lnTo>
                  <a:lnTo>
                    <a:pt x="304" y="381"/>
                  </a:lnTo>
                  <a:lnTo>
                    <a:pt x="304" y="380"/>
                  </a:lnTo>
                  <a:lnTo>
                    <a:pt x="303" y="380"/>
                  </a:lnTo>
                  <a:lnTo>
                    <a:pt x="303" y="382"/>
                  </a:lnTo>
                  <a:lnTo>
                    <a:pt x="303" y="384"/>
                  </a:lnTo>
                  <a:lnTo>
                    <a:pt x="302" y="385"/>
                  </a:lnTo>
                  <a:lnTo>
                    <a:pt x="301" y="384"/>
                  </a:lnTo>
                  <a:lnTo>
                    <a:pt x="300" y="382"/>
                  </a:lnTo>
                  <a:lnTo>
                    <a:pt x="300" y="385"/>
                  </a:lnTo>
                  <a:lnTo>
                    <a:pt x="301" y="388"/>
                  </a:lnTo>
                  <a:lnTo>
                    <a:pt x="301" y="390"/>
                  </a:lnTo>
                  <a:lnTo>
                    <a:pt x="300" y="393"/>
                  </a:lnTo>
                  <a:lnTo>
                    <a:pt x="297" y="394"/>
                  </a:lnTo>
                  <a:lnTo>
                    <a:pt x="300" y="391"/>
                  </a:lnTo>
                  <a:lnTo>
                    <a:pt x="300" y="388"/>
                  </a:lnTo>
                  <a:lnTo>
                    <a:pt x="300" y="384"/>
                  </a:lnTo>
                  <a:lnTo>
                    <a:pt x="298" y="385"/>
                  </a:lnTo>
                  <a:lnTo>
                    <a:pt x="298" y="387"/>
                  </a:lnTo>
                  <a:lnTo>
                    <a:pt x="297" y="391"/>
                  </a:lnTo>
                  <a:lnTo>
                    <a:pt x="296" y="391"/>
                  </a:lnTo>
                  <a:lnTo>
                    <a:pt x="295" y="392"/>
                  </a:lnTo>
                  <a:lnTo>
                    <a:pt x="294" y="393"/>
                  </a:lnTo>
                  <a:lnTo>
                    <a:pt x="292" y="392"/>
                  </a:lnTo>
                  <a:lnTo>
                    <a:pt x="292" y="391"/>
                  </a:lnTo>
                  <a:lnTo>
                    <a:pt x="292" y="392"/>
                  </a:lnTo>
                  <a:lnTo>
                    <a:pt x="290" y="393"/>
                  </a:lnTo>
                  <a:lnTo>
                    <a:pt x="289" y="396"/>
                  </a:lnTo>
                  <a:lnTo>
                    <a:pt x="286" y="394"/>
                  </a:lnTo>
                  <a:lnTo>
                    <a:pt x="286" y="391"/>
                  </a:lnTo>
                  <a:lnTo>
                    <a:pt x="286" y="388"/>
                  </a:lnTo>
                  <a:lnTo>
                    <a:pt x="288" y="388"/>
                  </a:lnTo>
                  <a:lnTo>
                    <a:pt x="289" y="388"/>
                  </a:lnTo>
                  <a:lnTo>
                    <a:pt x="289" y="386"/>
                  </a:lnTo>
                  <a:lnTo>
                    <a:pt x="289" y="385"/>
                  </a:lnTo>
                  <a:lnTo>
                    <a:pt x="289" y="384"/>
                  </a:lnTo>
                  <a:lnTo>
                    <a:pt x="290" y="381"/>
                  </a:lnTo>
                  <a:lnTo>
                    <a:pt x="289" y="382"/>
                  </a:lnTo>
                  <a:lnTo>
                    <a:pt x="288" y="384"/>
                  </a:lnTo>
                  <a:lnTo>
                    <a:pt x="286" y="387"/>
                  </a:lnTo>
                  <a:lnTo>
                    <a:pt x="285" y="388"/>
                  </a:lnTo>
                  <a:lnTo>
                    <a:pt x="285" y="392"/>
                  </a:lnTo>
                  <a:lnTo>
                    <a:pt x="284" y="392"/>
                  </a:lnTo>
                  <a:lnTo>
                    <a:pt x="283" y="393"/>
                  </a:lnTo>
                  <a:lnTo>
                    <a:pt x="282" y="393"/>
                  </a:lnTo>
                  <a:lnTo>
                    <a:pt x="282" y="391"/>
                  </a:lnTo>
                  <a:lnTo>
                    <a:pt x="280" y="388"/>
                  </a:lnTo>
                  <a:lnTo>
                    <a:pt x="279" y="386"/>
                  </a:lnTo>
                  <a:lnTo>
                    <a:pt x="278" y="386"/>
                  </a:lnTo>
                  <a:lnTo>
                    <a:pt x="277" y="387"/>
                  </a:lnTo>
                  <a:lnTo>
                    <a:pt x="274" y="390"/>
                  </a:lnTo>
                  <a:lnTo>
                    <a:pt x="273" y="391"/>
                  </a:lnTo>
                  <a:lnTo>
                    <a:pt x="273" y="388"/>
                  </a:lnTo>
                  <a:lnTo>
                    <a:pt x="273" y="386"/>
                  </a:lnTo>
                  <a:lnTo>
                    <a:pt x="272" y="386"/>
                  </a:lnTo>
                  <a:lnTo>
                    <a:pt x="272" y="387"/>
                  </a:lnTo>
                  <a:lnTo>
                    <a:pt x="271" y="390"/>
                  </a:lnTo>
                  <a:lnTo>
                    <a:pt x="268" y="391"/>
                  </a:lnTo>
                  <a:lnTo>
                    <a:pt x="267" y="392"/>
                  </a:lnTo>
                  <a:lnTo>
                    <a:pt x="268" y="390"/>
                  </a:lnTo>
                  <a:lnTo>
                    <a:pt x="269" y="387"/>
                  </a:lnTo>
                  <a:lnTo>
                    <a:pt x="269" y="385"/>
                  </a:lnTo>
                  <a:lnTo>
                    <a:pt x="272" y="382"/>
                  </a:lnTo>
                  <a:lnTo>
                    <a:pt x="271" y="382"/>
                  </a:lnTo>
                  <a:lnTo>
                    <a:pt x="269" y="384"/>
                  </a:lnTo>
                  <a:lnTo>
                    <a:pt x="269" y="381"/>
                  </a:lnTo>
                  <a:lnTo>
                    <a:pt x="267" y="381"/>
                  </a:lnTo>
                  <a:lnTo>
                    <a:pt x="267" y="379"/>
                  </a:lnTo>
                  <a:lnTo>
                    <a:pt x="266" y="380"/>
                  </a:lnTo>
                  <a:lnTo>
                    <a:pt x="263" y="380"/>
                  </a:lnTo>
                  <a:lnTo>
                    <a:pt x="265" y="379"/>
                  </a:lnTo>
                  <a:lnTo>
                    <a:pt x="263" y="379"/>
                  </a:lnTo>
                  <a:lnTo>
                    <a:pt x="262" y="380"/>
                  </a:lnTo>
                  <a:lnTo>
                    <a:pt x="262" y="378"/>
                  </a:lnTo>
                  <a:lnTo>
                    <a:pt x="261" y="378"/>
                  </a:lnTo>
                  <a:lnTo>
                    <a:pt x="261" y="375"/>
                  </a:lnTo>
                  <a:lnTo>
                    <a:pt x="261" y="374"/>
                  </a:lnTo>
                  <a:lnTo>
                    <a:pt x="259" y="375"/>
                  </a:lnTo>
                  <a:lnTo>
                    <a:pt x="255" y="376"/>
                  </a:lnTo>
                  <a:lnTo>
                    <a:pt x="257" y="374"/>
                  </a:lnTo>
                  <a:lnTo>
                    <a:pt x="260" y="373"/>
                  </a:lnTo>
                  <a:lnTo>
                    <a:pt x="261" y="372"/>
                  </a:lnTo>
                  <a:lnTo>
                    <a:pt x="262" y="372"/>
                  </a:lnTo>
                  <a:lnTo>
                    <a:pt x="261" y="372"/>
                  </a:lnTo>
                  <a:lnTo>
                    <a:pt x="260" y="372"/>
                  </a:lnTo>
                  <a:lnTo>
                    <a:pt x="259" y="370"/>
                  </a:lnTo>
                  <a:lnTo>
                    <a:pt x="257" y="372"/>
                  </a:lnTo>
                  <a:lnTo>
                    <a:pt x="255" y="372"/>
                  </a:lnTo>
                  <a:lnTo>
                    <a:pt x="255" y="373"/>
                  </a:lnTo>
                  <a:lnTo>
                    <a:pt x="253" y="372"/>
                  </a:lnTo>
                  <a:lnTo>
                    <a:pt x="253" y="368"/>
                  </a:lnTo>
                  <a:lnTo>
                    <a:pt x="253" y="367"/>
                  </a:lnTo>
                  <a:lnTo>
                    <a:pt x="253" y="364"/>
                  </a:lnTo>
                  <a:lnTo>
                    <a:pt x="254" y="363"/>
                  </a:lnTo>
                  <a:lnTo>
                    <a:pt x="255" y="363"/>
                  </a:lnTo>
                  <a:lnTo>
                    <a:pt x="256" y="362"/>
                  </a:lnTo>
                  <a:lnTo>
                    <a:pt x="255" y="361"/>
                  </a:lnTo>
                  <a:lnTo>
                    <a:pt x="255" y="358"/>
                  </a:lnTo>
                  <a:lnTo>
                    <a:pt x="253" y="360"/>
                  </a:lnTo>
                  <a:lnTo>
                    <a:pt x="251" y="358"/>
                  </a:lnTo>
                  <a:lnTo>
                    <a:pt x="250" y="360"/>
                  </a:lnTo>
                  <a:lnTo>
                    <a:pt x="249" y="362"/>
                  </a:lnTo>
                  <a:lnTo>
                    <a:pt x="249" y="361"/>
                  </a:lnTo>
                  <a:lnTo>
                    <a:pt x="249" y="363"/>
                  </a:lnTo>
                  <a:lnTo>
                    <a:pt x="247" y="364"/>
                  </a:lnTo>
                  <a:lnTo>
                    <a:pt x="245" y="366"/>
                  </a:lnTo>
                  <a:lnTo>
                    <a:pt x="245" y="364"/>
                  </a:lnTo>
                  <a:lnTo>
                    <a:pt x="245" y="363"/>
                  </a:lnTo>
                  <a:lnTo>
                    <a:pt x="244" y="364"/>
                  </a:lnTo>
                  <a:lnTo>
                    <a:pt x="244" y="363"/>
                  </a:lnTo>
                  <a:lnTo>
                    <a:pt x="242" y="363"/>
                  </a:lnTo>
                  <a:lnTo>
                    <a:pt x="242" y="362"/>
                  </a:lnTo>
                  <a:lnTo>
                    <a:pt x="241" y="362"/>
                  </a:lnTo>
                  <a:lnTo>
                    <a:pt x="238" y="363"/>
                  </a:lnTo>
                  <a:lnTo>
                    <a:pt x="238" y="362"/>
                  </a:lnTo>
                  <a:lnTo>
                    <a:pt x="239" y="361"/>
                  </a:lnTo>
                  <a:lnTo>
                    <a:pt x="241" y="360"/>
                  </a:lnTo>
                  <a:lnTo>
                    <a:pt x="242" y="361"/>
                  </a:lnTo>
                  <a:lnTo>
                    <a:pt x="243" y="360"/>
                  </a:lnTo>
                  <a:lnTo>
                    <a:pt x="242" y="358"/>
                  </a:lnTo>
                  <a:lnTo>
                    <a:pt x="239" y="358"/>
                  </a:lnTo>
                  <a:lnTo>
                    <a:pt x="239" y="357"/>
                  </a:lnTo>
                  <a:lnTo>
                    <a:pt x="238" y="358"/>
                  </a:lnTo>
                  <a:lnTo>
                    <a:pt x="236" y="358"/>
                  </a:lnTo>
                  <a:lnTo>
                    <a:pt x="236" y="357"/>
                  </a:lnTo>
                  <a:lnTo>
                    <a:pt x="236" y="356"/>
                  </a:lnTo>
                  <a:lnTo>
                    <a:pt x="237" y="355"/>
                  </a:lnTo>
                  <a:lnTo>
                    <a:pt x="238" y="355"/>
                  </a:lnTo>
                  <a:lnTo>
                    <a:pt x="241" y="352"/>
                  </a:lnTo>
                  <a:lnTo>
                    <a:pt x="239" y="352"/>
                  </a:lnTo>
                  <a:lnTo>
                    <a:pt x="238" y="352"/>
                  </a:lnTo>
                  <a:lnTo>
                    <a:pt x="237" y="353"/>
                  </a:lnTo>
                  <a:lnTo>
                    <a:pt x="235" y="355"/>
                  </a:lnTo>
                  <a:lnTo>
                    <a:pt x="233" y="356"/>
                  </a:lnTo>
                  <a:lnTo>
                    <a:pt x="236" y="364"/>
                  </a:lnTo>
                  <a:lnTo>
                    <a:pt x="239" y="375"/>
                  </a:lnTo>
                  <a:lnTo>
                    <a:pt x="239" y="391"/>
                  </a:lnTo>
                  <a:lnTo>
                    <a:pt x="247" y="405"/>
                  </a:lnTo>
                  <a:lnTo>
                    <a:pt x="250" y="412"/>
                  </a:lnTo>
                  <a:lnTo>
                    <a:pt x="250" y="420"/>
                  </a:lnTo>
                  <a:lnTo>
                    <a:pt x="247" y="426"/>
                  </a:lnTo>
                  <a:lnTo>
                    <a:pt x="241" y="438"/>
                  </a:lnTo>
                  <a:lnTo>
                    <a:pt x="235" y="474"/>
                  </a:lnTo>
                  <a:lnTo>
                    <a:pt x="232" y="491"/>
                  </a:lnTo>
                  <a:lnTo>
                    <a:pt x="232" y="516"/>
                  </a:lnTo>
                  <a:lnTo>
                    <a:pt x="232" y="539"/>
                  </a:lnTo>
                  <a:lnTo>
                    <a:pt x="233" y="54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4" name="Freeform 77"/>
            <p:cNvSpPr>
              <a:spLocks/>
            </p:cNvSpPr>
            <p:nvPr userDrawn="1"/>
          </p:nvSpPr>
          <p:spPr bwMode="auto">
            <a:xfrm>
              <a:off x="6143625" y="6537326"/>
              <a:ext cx="3001963" cy="128588"/>
            </a:xfrm>
            <a:custGeom>
              <a:avLst/>
              <a:gdLst/>
              <a:ahLst/>
              <a:cxnLst>
                <a:cxn ang="0">
                  <a:pos x="24" y="383"/>
                </a:cxn>
                <a:cxn ang="0">
                  <a:pos x="140" y="342"/>
                </a:cxn>
                <a:cxn ang="0">
                  <a:pos x="462" y="200"/>
                </a:cxn>
                <a:cxn ang="0">
                  <a:pos x="618" y="142"/>
                </a:cxn>
                <a:cxn ang="0">
                  <a:pos x="699" y="122"/>
                </a:cxn>
                <a:cxn ang="0">
                  <a:pos x="875" y="120"/>
                </a:cxn>
                <a:cxn ang="0">
                  <a:pos x="1256" y="110"/>
                </a:cxn>
                <a:cxn ang="0">
                  <a:pos x="1527" y="108"/>
                </a:cxn>
                <a:cxn ang="0">
                  <a:pos x="1830" y="122"/>
                </a:cxn>
                <a:cxn ang="0">
                  <a:pos x="2033" y="126"/>
                </a:cxn>
                <a:cxn ang="0">
                  <a:pos x="2168" y="120"/>
                </a:cxn>
                <a:cxn ang="0">
                  <a:pos x="2344" y="98"/>
                </a:cxn>
                <a:cxn ang="0">
                  <a:pos x="2545" y="80"/>
                </a:cxn>
                <a:cxn ang="0">
                  <a:pos x="2615" y="81"/>
                </a:cxn>
                <a:cxn ang="0">
                  <a:pos x="2696" y="100"/>
                </a:cxn>
                <a:cxn ang="0">
                  <a:pos x="2875" y="164"/>
                </a:cxn>
                <a:cxn ang="0">
                  <a:pos x="3028" y="208"/>
                </a:cxn>
                <a:cxn ang="0">
                  <a:pos x="3157" y="231"/>
                </a:cxn>
                <a:cxn ang="0">
                  <a:pos x="3234" y="233"/>
                </a:cxn>
                <a:cxn ang="0">
                  <a:pos x="3331" y="224"/>
                </a:cxn>
                <a:cxn ang="0">
                  <a:pos x="3436" y="195"/>
                </a:cxn>
                <a:cxn ang="0">
                  <a:pos x="3519" y="170"/>
                </a:cxn>
                <a:cxn ang="0">
                  <a:pos x="3595" y="165"/>
                </a:cxn>
                <a:cxn ang="0">
                  <a:pos x="3718" y="149"/>
                </a:cxn>
                <a:cxn ang="0">
                  <a:pos x="3817" y="138"/>
                </a:cxn>
                <a:cxn ang="0">
                  <a:pos x="3842" y="138"/>
                </a:cxn>
                <a:cxn ang="0">
                  <a:pos x="3854" y="126"/>
                </a:cxn>
                <a:cxn ang="0">
                  <a:pos x="3865" y="104"/>
                </a:cxn>
                <a:cxn ang="0">
                  <a:pos x="3879" y="86"/>
                </a:cxn>
                <a:cxn ang="0">
                  <a:pos x="3903" y="70"/>
                </a:cxn>
                <a:cxn ang="0">
                  <a:pos x="3944" y="58"/>
                </a:cxn>
                <a:cxn ang="0">
                  <a:pos x="4042" y="54"/>
                </a:cxn>
                <a:cxn ang="0">
                  <a:pos x="4545" y="94"/>
                </a:cxn>
                <a:cxn ang="0">
                  <a:pos x="4907" y="123"/>
                </a:cxn>
                <a:cxn ang="0">
                  <a:pos x="5298" y="142"/>
                </a:cxn>
                <a:cxn ang="0">
                  <a:pos x="5485" y="146"/>
                </a:cxn>
                <a:cxn ang="0">
                  <a:pos x="5541" y="137"/>
                </a:cxn>
                <a:cxn ang="0">
                  <a:pos x="5607" y="117"/>
                </a:cxn>
                <a:cxn ang="0">
                  <a:pos x="5679" y="86"/>
                </a:cxn>
                <a:cxn ang="0">
                  <a:pos x="5736" y="70"/>
                </a:cxn>
                <a:cxn ang="0">
                  <a:pos x="5782" y="68"/>
                </a:cxn>
                <a:cxn ang="0">
                  <a:pos x="5914" y="81"/>
                </a:cxn>
                <a:cxn ang="0">
                  <a:pos x="6110" y="88"/>
                </a:cxn>
                <a:cxn ang="0">
                  <a:pos x="6288" y="82"/>
                </a:cxn>
                <a:cxn ang="0">
                  <a:pos x="6449" y="66"/>
                </a:cxn>
                <a:cxn ang="0">
                  <a:pos x="6659" y="35"/>
                </a:cxn>
                <a:cxn ang="0">
                  <a:pos x="6841" y="9"/>
                </a:cxn>
                <a:cxn ang="0">
                  <a:pos x="6949" y="0"/>
                </a:cxn>
                <a:cxn ang="0">
                  <a:pos x="7613" y="101"/>
                </a:cxn>
                <a:cxn ang="0">
                  <a:pos x="8840" y="302"/>
                </a:cxn>
                <a:cxn ang="0">
                  <a:pos x="8858" y="402"/>
                </a:cxn>
                <a:cxn ang="0">
                  <a:pos x="7666" y="399"/>
                </a:cxn>
                <a:cxn ang="0">
                  <a:pos x="6474" y="398"/>
                </a:cxn>
                <a:cxn ang="0">
                  <a:pos x="5282" y="397"/>
                </a:cxn>
                <a:cxn ang="0">
                  <a:pos x="3872" y="396"/>
                </a:cxn>
                <a:cxn ang="0">
                  <a:pos x="2244" y="393"/>
                </a:cxn>
                <a:cxn ang="0">
                  <a:pos x="902" y="391"/>
                </a:cxn>
                <a:cxn ang="0">
                  <a:pos x="88" y="389"/>
                </a:cxn>
              </a:cxnLst>
              <a:rect l="0" t="0" r="r" b="b"/>
              <a:pathLst>
                <a:path w="9454" h="403">
                  <a:moveTo>
                    <a:pt x="0" y="387"/>
                  </a:moveTo>
                  <a:lnTo>
                    <a:pt x="24" y="383"/>
                  </a:lnTo>
                  <a:lnTo>
                    <a:pt x="56" y="374"/>
                  </a:lnTo>
                  <a:lnTo>
                    <a:pt x="140" y="342"/>
                  </a:lnTo>
                  <a:lnTo>
                    <a:pt x="350" y="249"/>
                  </a:lnTo>
                  <a:lnTo>
                    <a:pt x="462" y="200"/>
                  </a:lnTo>
                  <a:lnTo>
                    <a:pt x="569" y="158"/>
                  </a:lnTo>
                  <a:lnTo>
                    <a:pt x="618" y="142"/>
                  </a:lnTo>
                  <a:lnTo>
                    <a:pt x="661" y="129"/>
                  </a:lnTo>
                  <a:lnTo>
                    <a:pt x="699" y="122"/>
                  </a:lnTo>
                  <a:lnTo>
                    <a:pt x="732" y="120"/>
                  </a:lnTo>
                  <a:lnTo>
                    <a:pt x="875" y="120"/>
                  </a:lnTo>
                  <a:lnTo>
                    <a:pt x="1059" y="116"/>
                  </a:lnTo>
                  <a:lnTo>
                    <a:pt x="1256" y="110"/>
                  </a:lnTo>
                  <a:lnTo>
                    <a:pt x="1439" y="107"/>
                  </a:lnTo>
                  <a:lnTo>
                    <a:pt x="1527" y="108"/>
                  </a:lnTo>
                  <a:lnTo>
                    <a:pt x="1624" y="112"/>
                  </a:lnTo>
                  <a:lnTo>
                    <a:pt x="1830" y="122"/>
                  </a:lnTo>
                  <a:lnTo>
                    <a:pt x="1934" y="125"/>
                  </a:lnTo>
                  <a:lnTo>
                    <a:pt x="2033" y="126"/>
                  </a:lnTo>
                  <a:lnTo>
                    <a:pt x="2125" y="123"/>
                  </a:lnTo>
                  <a:lnTo>
                    <a:pt x="2168" y="120"/>
                  </a:lnTo>
                  <a:lnTo>
                    <a:pt x="2207" y="116"/>
                  </a:lnTo>
                  <a:lnTo>
                    <a:pt x="2344" y="98"/>
                  </a:lnTo>
                  <a:lnTo>
                    <a:pt x="2455" y="86"/>
                  </a:lnTo>
                  <a:lnTo>
                    <a:pt x="2545" y="80"/>
                  </a:lnTo>
                  <a:lnTo>
                    <a:pt x="2583" y="80"/>
                  </a:lnTo>
                  <a:lnTo>
                    <a:pt x="2615" y="81"/>
                  </a:lnTo>
                  <a:lnTo>
                    <a:pt x="2651" y="87"/>
                  </a:lnTo>
                  <a:lnTo>
                    <a:pt x="2696" y="100"/>
                  </a:lnTo>
                  <a:lnTo>
                    <a:pt x="2808" y="141"/>
                  </a:lnTo>
                  <a:lnTo>
                    <a:pt x="2875" y="164"/>
                  </a:lnTo>
                  <a:lnTo>
                    <a:pt x="2949" y="187"/>
                  </a:lnTo>
                  <a:lnTo>
                    <a:pt x="3028" y="208"/>
                  </a:lnTo>
                  <a:lnTo>
                    <a:pt x="3113" y="225"/>
                  </a:lnTo>
                  <a:lnTo>
                    <a:pt x="3157" y="231"/>
                  </a:lnTo>
                  <a:lnTo>
                    <a:pt x="3197" y="233"/>
                  </a:lnTo>
                  <a:lnTo>
                    <a:pt x="3234" y="233"/>
                  </a:lnTo>
                  <a:lnTo>
                    <a:pt x="3269" y="232"/>
                  </a:lnTo>
                  <a:lnTo>
                    <a:pt x="3331" y="224"/>
                  </a:lnTo>
                  <a:lnTo>
                    <a:pt x="3387" y="211"/>
                  </a:lnTo>
                  <a:lnTo>
                    <a:pt x="3436" y="195"/>
                  </a:lnTo>
                  <a:lnTo>
                    <a:pt x="3480" y="181"/>
                  </a:lnTo>
                  <a:lnTo>
                    <a:pt x="3519" y="170"/>
                  </a:lnTo>
                  <a:lnTo>
                    <a:pt x="3557" y="166"/>
                  </a:lnTo>
                  <a:lnTo>
                    <a:pt x="3595" y="165"/>
                  </a:lnTo>
                  <a:lnTo>
                    <a:pt x="3636" y="160"/>
                  </a:lnTo>
                  <a:lnTo>
                    <a:pt x="3718" y="149"/>
                  </a:lnTo>
                  <a:lnTo>
                    <a:pt x="3789" y="140"/>
                  </a:lnTo>
                  <a:lnTo>
                    <a:pt x="3817" y="138"/>
                  </a:lnTo>
                  <a:lnTo>
                    <a:pt x="3836" y="138"/>
                  </a:lnTo>
                  <a:lnTo>
                    <a:pt x="3842" y="138"/>
                  </a:lnTo>
                  <a:lnTo>
                    <a:pt x="3847" y="137"/>
                  </a:lnTo>
                  <a:lnTo>
                    <a:pt x="3854" y="126"/>
                  </a:lnTo>
                  <a:lnTo>
                    <a:pt x="3860" y="112"/>
                  </a:lnTo>
                  <a:lnTo>
                    <a:pt x="3865" y="104"/>
                  </a:lnTo>
                  <a:lnTo>
                    <a:pt x="3871" y="94"/>
                  </a:lnTo>
                  <a:lnTo>
                    <a:pt x="3879" y="86"/>
                  </a:lnTo>
                  <a:lnTo>
                    <a:pt x="3890" y="77"/>
                  </a:lnTo>
                  <a:lnTo>
                    <a:pt x="3903" y="70"/>
                  </a:lnTo>
                  <a:lnTo>
                    <a:pt x="3921" y="63"/>
                  </a:lnTo>
                  <a:lnTo>
                    <a:pt x="3944" y="58"/>
                  </a:lnTo>
                  <a:lnTo>
                    <a:pt x="3971" y="54"/>
                  </a:lnTo>
                  <a:lnTo>
                    <a:pt x="4042" y="54"/>
                  </a:lnTo>
                  <a:lnTo>
                    <a:pt x="4266" y="71"/>
                  </a:lnTo>
                  <a:lnTo>
                    <a:pt x="4545" y="94"/>
                  </a:lnTo>
                  <a:lnTo>
                    <a:pt x="4789" y="114"/>
                  </a:lnTo>
                  <a:lnTo>
                    <a:pt x="4907" y="123"/>
                  </a:lnTo>
                  <a:lnTo>
                    <a:pt x="5127" y="135"/>
                  </a:lnTo>
                  <a:lnTo>
                    <a:pt x="5298" y="142"/>
                  </a:lnTo>
                  <a:lnTo>
                    <a:pt x="5454" y="146"/>
                  </a:lnTo>
                  <a:lnTo>
                    <a:pt x="5485" y="146"/>
                  </a:lnTo>
                  <a:lnTo>
                    <a:pt x="5514" y="142"/>
                  </a:lnTo>
                  <a:lnTo>
                    <a:pt x="5541" y="137"/>
                  </a:lnTo>
                  <a:lnTo>
                    <a:pt x="5565" y="131"/>
                  </a:lnTo>
                  <a:lnTo>
                    <a:pt x="5607" y="117"/>
                  </a:lnTo>
                  <a:lnTo>
                    <a:pt x="5643" y="101"/>
                  </a:lnTo>
                  <a:lnTo>
                    <a:pt x="5679" y="86"/>
                  </a:lnTo>
                  <a:lnTo>
                    <a:pt x="5717" y="74"/>
                  </a:lnTo>
                  <a:lnTo>
                    <a:pt x="5736" y="70"/>
                  </a:lnTo>
                  <a:lnTo>
                    <a:pt x="5757" y="68"/>
                  </a:lnTo>
                  <a:lnTo>
                    <a:pt x="5782" y="68"/>
                  </a:lnTo>
                  <a:lnTo>
                    <a:pt x="5807" y="70"/>
                  </a:lnTo>
                  <a:lnTo>
                    <a:pt x="5914" y="81"/>
                  </a:lnTo>
                  <a:lnTo>
                    <a:pt x="6014" y="87"/>
                  </a:lnTo>
                  <a:lnTo>
                    <a:pt x="6110" y="88"/>
                  </a:lnTo>
                  <a:lnTo>
                    <a:pt x="6202" y="87"/>
                  </a:lnTo>
                  <a:lnTo>
                    <a:pt x="6288" y="82"/>
                  </a:lnTo>
                  <a:lnTo>
                    <a:pt x="6370" y="75"/>
                  </a:lnTo>
                  <a:lnTo>
                    <a:pt x="6449" y="66"/>
                  </a:lnTo>
                  <a:lnTo>
                    <a:pt x="6522" y="57"/>
                  </a:lnTo>
                  <a:lnTo>
                    <a:pt x="6659" y="35"/>
                  </a:lnTo>
                  <a:lnTo>
                    <a:pt x="6783" y="16"/>
                  </a:lnTo>
                  <a:lnTo>
                    <a:pt x="6841" y="9"/>
                  </a:lnTo>
                  <a:lnTo>
                    <a:pt x="6896" y="3"/>
                  </a:lnTo>
                  <a:lnTo>
                    <a:pt x="6949" y="0"/>
                  </a:lnTo>
                  <a:lnTo>
                    <a:pt x="7000" y="1"/>
                  </a:lnTo>
                  <a:lnTo>
                    <a:pt x="7613" y="101"/>
                  </a:lnTo>
                  <a:lnTo>
                    <a:pt x="8227" y="202"/>
                  </a:lnTo>
                  <a:lnTo>
                    <a:pt x="8840" y="302"/>
                  </a:lnTo>
                  <a:lnTo>
                    <a:pt x="9454" y="403"/>
                  </a:lnTo>
                  <a:lnTo>
                    <a:pt x="8858" y="402"/>
                  </a:lnTo>
                  <a:lnTo>
                    <a:pt x="8262" y="401"/>
                  </a:lnTo>
                  <a:lnTo>
                    <a:pt x="7666" y="399"/>
                  </a:lnTo>
                  <a:lnTo>
                    <a:pt x="7070" y="399"/>
                  </a:lnTo>
                  <a:lnTo>
                    <a:pt x="6474" y="398"/>
                  </a:lnTo>
                  <a:lnTo>
                    <a:pt x="5878" y="398"/>
                  </a:lnTo>
                  <a:lnTo>
                    <a:pt x="5282" y="397"/>
                  </a:lnTo>
                  <a:lnTo>
                    <a:pt x="4686" y="397"/>
                  </a:lnTo>
                  <a:lnTo>
                    <a:pt x="3872" y="396"/>
                  </a:lnTo>
                  <a:lnTo>
                    <a:pt x="3058" y="395"/>
                  </a:lnTo>
                  <a:lnTo>
                    <a:pt x="2244" y="393"/>
                  </a:lnTo>
                  <a:lnTo>
                    <a:pt x="1430" y="392"/>
                  </a:lnTo>
                  <a:lnTo>
                    <a:pt x="902" y="391"/>
                  </a:lnTo>
                  <a:lnTo>
                    <a:pt x="374" y="390"/>
                  </a:lnTo>
                  <a:lnTo>
                    <a:pt x="88" y="389"/>
                  </a:lnTo>
                  <a:lnTo>
                    <a:pt x="0" y="38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5" name="Freeform 78"/>
            <p:cNvSpPr>
              <a:spLocks/>
            </p:cNvSpPr>
            <p:nvPr userDrawn="1"/>
          </p:nvSpPr>
          <p:spPr bwMode="auto">
            <a:xfrm>
              <a:off x="6657975" y="6373813"/>
              <a:ext cx="317500" cy="269875"/>
            </a:xfrm>
            <a:custGeom>
              <a:avLst/>
              <a:gdLst/>
              <a:ahLst/>
              <a:cxnLst>
                <a:cxn ang="0">
                  <a:pos x="331" y="740"/>
                </a:cxn>
                <a:cxn ang="0">
                  <a:pos x="278" y="752"/>
                </a:cxn>
                <a:cxn ang="0">
                  <a:pos x="265" y="723"/>
                </a:cxn>
                <a:cxn ang="0">
                  <a:pos x="223" y="735"/>
                </a:cxn>
                <a:cxn ang="0">
                  <a:pos x="230" y="709"/>
                </a:cxn>
                <a:cxn ang="0">
                  <a:pos x="101" y="748"/>
                </a:cxn>
                <a:cxn ang="0">
                  <a:pos x="141" y="711"/>
                </a:cxn>
                <a:cxn ang="0">
                  <a:pos x="93" y="687"/>
                </a:cxn>
                <a:cxn ang="0">
                  <a:pos x="47" y="626"/>
                </a:cxn>
                <a:cxn ang="0">
                  <a:pos x="31" y="588"/>
                </a:cxn>
                <a:cxn ang="0">
                  <a:pos x="88" y="582"/>
                </a:cxn>
                <a:cxn ang="0">
                  <a:pos x="120" y="543"/>
                </a:cxn>
                <a:cxn ang="0">
                  <a:pos x="208" y="499"/>
                </a:cxn>
                <a:cxn ang="0">
                  <a:pos x="142" y="511"/>
                </a:cxn>
                <a:cxn ang="0">
                  <a:pos x="72" y="484"/>
                </a:cxn>
                <a:cxn ang="0">
                  <a:pos x="100" y="410"/>
                </a:cxn>
                <a:cxn ang="0">
                  <a:pos x="140" y="354"/>
                </a:cxn>
                <a:cxn ang="0">
                  <a:pos x="168" y="335"/>
                </a:cxn>
                <a:cxn ang="0">
                  <a:pos x="187" y="291"/>
                </a:cxn>
                <a:cxn ang="0">
                  <a:pos x="233" y="248"/>
                </a:cxn>
                <a:cxn ang="0">
                  <a:pos x="242" y="230"/>
                </a:cxn>
                <a:cxn ang="0">
                  <a:pos x="136" y="216"/>
                </a:cxn>
                <a:cxn ang="0">
                  <a:pos x="154" y="169"/>
                </a:cxn>
                <a:cxn ang="0">
                  <a:pos x="166" y="118"/>
                </a:cxn>
                <a:cxn ang="0">
                  <a:pos x="208" y="100"/>
                </a:cxn>
                <a:cxn ang="0">
                  <a:pos x="254" y="37"/>
                </a:cxn>
                <a:cxn ang="0">
                  <a:pos x="327" y="15"/>
                </a:cxn>
                <a:cxn ang="0">
                  <a:pos x="412" y="11"/>
                </a:cxn>
                <a:cxn ang="0">
                  <a:pos x="436" y="81"/>
                </a:cxn>
                <a:cxn ang="0">
                  <a:pos x="491" y="67"/>
                </a:cxn>
                <a:cxn ang="0">
                  <a:pos x="495" y="115"/>
                </a:cxn>
                <a:cxn ang="0">
                  <a:pos x="574" y="105"/>
                </a:cxn>
                <a:cxn ang="0">
                  <a:pos x="662" y="112"/>
                </a:cxn>
                <a:cxn ang="0">
                  <a:pos x="737" y="133"/>
                </a:cxn>
                <a:cxn ang="0">
                  <a:pos x="804" y="150"/>
                </a:cxn>
                <a:cxn ang="0">
                  <a:pos x="778" y="183"/>
                </a:cxn>
                <a:cxn ang="0">
                  <a:pos x="813" y="231"/>
                </a:cxn>
                <a:cxn ang="0">
                  <a:pos x="755" y="234"/>
                </a:cxn>
                <a:cxn ang="0">
                  <a:pos x="754" y="264"/>
                </a:cxn>
                <a:cxn ang="0">
                  <a:pos x="822" y="320"/>
                </a:cxn>
                <a:cxn ang="0">
                  <a:pos x="888" y="326"/>
                </a:cxn>
                <a:cxn ang="0">
                  <a:pos x="878" y="380"/>
                </a:cxn>
                <a:cxn ang="0">
                  <a:pos x="916" y="407"/>
                </a:cxn>
                <a:cxn ang="0">
                  <a:pos x="966" y="414"/>
                </a:cxn>
                <a:cxn ang="0">
                  <a:pos x="988" y="468"/>
                </a:cxn>
                <a:cxn ang="0">
                  <a:pos x="966" y="478"/>
                </a:cxn>
                <a:cxn ang="0">
                  <a:pos x="998" y="531"/>
                </a:cxn>
                <a:cxn ang="0">
                  <a:pos x="996" y="573"/>
                </a:cxn>
                <a:cxn ang="0">
                  <a:pos x="899" y="591"/>
                </a:cxn>
                <a:cxn ang="0">
                  <a:pos x="858" y="616"/>
                </a:cxn>
                <a:cxn ang="0">
                  <a:pos x="848" y="644"/>
                </a:cxn>
                <a:cxn ang="0">
                  <a:pos x="874" y="694"/>
                </a:cxn>
                <a:cxn ang="0">
                  <a:pos x="823" y="718"/>
                </a:cxn>
                <a:cxn ang="0">
                  <a:pos x="784" y="706"/>
                </a:cxn>
                <a:cxn ang="0">
                  <a:pos x="715" y="701"/>
                </a:cxn>
                <a:cxn ang="0">
                  <a:pos x="692" y="712"/>
                </a:cxn>
                <a:cxn ang="0">
                  <a:pos x="678" y="724"/>
                </a:cxn>
                <a:cxn ang="0">
                  <a:pos x="687" y="751"/>
                </a:cxn>
                <a:cxn ang="0">
                  <a:pos x="640" y="755"/>
                </a:cxn>
                <a:cxn ang="0">
                  <a:pos x="598" y="763"/>
                </a:cxn>
                <a:cxn ang="0">
                  <a:pos x="578" y="774"/>
                </a:cxn>
                <a:cxn ang="0">
                  <a:pos x="494" y="777"/>
                </a:cxn>
                <a:cxn ang="0">
                  <a:pos x="480" y="734"/>
                </a:cxn>
              </a:cxnLst>
              <a:rect l="0" t="0" r="r" b="b"/>
              <a:pathLst>
                <a:path w="1003" h="849">
                  <a:moveTo>
                    <a:pt x="472" y="849"/>
                  </a:moveTo>
                  <a:lnTo>
                    <a:pt x="326" y="849"/>
                  </a:lnTo>
                  <a:lnTo>
                    <a:pt x="330" y="843"/>
                  </a:lnTo>
                  <a:lnTo>
                    <a:pt x="333" y="831"/>
                  </a:lnTo>
                  <a:lnTo>
                    <a:pt x="335" y="822"/>
                  </a:lnTo>
                  <a:lnTo>
                    <a:pt x="339" y="813"/>
                  </a:lnTo>
                  <a:lnTo>
                    <a:pt x="344" y="807"/>
                  </a:lnTo>
                  <a:lnTo>
                    <a:pt x="345" y="799"/>
                  </a:lnTo>
                  <a:lnTo>
                    <a:pt x="344" y="786"/>
                  </a:lnTo>
                  <a:lnTo>
                    <a:pt x="345" y="775"/>
                  </a:lnTo>
                  <a:lnTo>
                    <a:pt x="350" y="770"/>
                  </a:lnTo>
                  <a:lnTo>
                    <a:pt x="351" y="764"/>
                  </a:lnTo>
                  <a:lnTo>
                    <a:pt x="355" y="747"/>
                  </a:lnTo>
                  <a:lnTo>
                    <a:pt x="353" y="745"/>
                  </a:lnTo>
                  <a:lnTo>
                    <a:pt x="350" y="745"/>
                  </a:lnTo>
                  <a:lnTo>
                    <a:pt x="347" y="752"/>
                  </a:lnTo>
                  <a:lnTo>
                    <a:pt x="341" y="752"/>
                  </a:lnTo>
                  <a:lnTo>
                    <a:pt x="339" y="751"/>
                  </a:lnTo>
                  <a:lnTo>
                    <a:pt x="336" y="751"/>
                  </a:lnTo>
                  <a:lnTo>
                    <a:pt x="330" y="752"/>
                  </a:lnTo>
                  <a:lnTo>
                    <a:pt x="329" y="748"/>
                  </a:lnTo>
                  <a:lnTo>
                    <a:pt x="332" y="742"/>
                  </a:lnTo>
                  <a:lnTo>
                    <a:pt x="331" y="740"/>
                  </a:lnTo>
                  <a:lnTo>
                    <a:pt x="326" y="740"/>
                  </a:lnTo>
                  <a:lnTo>
                    <a:pt x="324" y="739"/>
                  </a:lnTo>
                  <a:lnTo>
                    <a:pt x="323" y="736"/>
                  </a:lnTo>
                  <a:lnTo>
                    <a:pt x="321" y="731"/>
                  </a:lnTo>
                  <a:lnTo>
                    <a:pt x="320" y="730"/>
                  </a:lnTo>
                  <a:lnTo>
                    <a:pt x="320" y="733"/>
                  </a:lnTo>
                  <a:lnTo>
                    <a:pt x="321" y="739"/>
                  </a:lnTo>
                  <a:lnTo>
                    <a:pt x="320" y="740"/>
                  </a:lnTo>
                  <a:lnTo>
                    <a:pt x="319" y="739"/>
                  </a:lnTo>
                  <a:lnTo>
                    <a:pt x="317" y="740"/>
                  </a:lnTo>
                  <a:lnTo>
                    <a:pt x="311" y="740"/>
                  </a:lnTo>
                  <a:lnTo>
                    <a:pt x="307" y="740"/>
                  </a:lnTo>
                  <a:lnTo>
                    <a:pt x="305" y="743"/>
                  </a:lnTo>
                  <a:lnTo>
                    <a:pt x="306" y="746"/>
                  </a:lnTo>
                  <a:lnTo>
                    <a:pt x="306" y="748"/>
                  </a:lnTo>
                  <a:lnTo>
                    <a:pt x="301" y="748"/>
                  </a:lnTo>
                  <a:lnTo>
                    <a:pt x="298" y="751"/>
                  </a:lnTo>
                  <a:lnTo>
                    <a:pt x="295" y="749"/>
                  </a:lnTo>
                  <a:lnTo>
                    <a:pt x="292" y="749"/>
                  </a:lnTo>
                  <a:lnTo>
                    <a:pt x="289" y="751"/>
                  </a:lnTo>
                  <a:lnTo>
                    <a:pt x="290" y="752"/>
                  </a:lnTo>
                  <a:lnTo>
                    <a:pt x="286" y="753"/>
                  </a:lnTo>
                  <a:lnTo>
                    <a:pt x="278" y="752"/>
                  </a:lnTo>
                  <a:lnTo>
                    <a:pt x="274" y="751"/>
                  </a:lnTo>
                  <a:lnTo>
                    <a:pt x="271" y="749"/>
                  </a:lnTo>
                  <a:lnTo>
                    <a:pt x="270" y="745"/>
                  </a:lnTo>
                  <a:lnTo>
                    <a:pt x="267" y="741"/>
                  </a:lnTo>
                  <a:lnTo>
                    <a:pt x="266" y="739"/>
                  </a:lnTo>
                  <a:lnTo>
                    <a:pt x="266" y="736"/>
                  </a:lnTo>
                  <a:lnTo>
                    <a:pt x="270" y="735"/>
                  </a:lnTo>
                  <a:lnTo>
                    <a:pt x="274" y="734"/>
                  </a:lnTo>
                  <a:lnTo>
                    <a:pt x="276" y="731"/>
                  </a:lnTo>
                  <a:lnTo>
                    <a:pt x="274" y="728"/>
                  </a:lnTo>
                  <a:lnTo>
                    <a:pt x="276" y="725"/>
                  </a:lnTo>
                  <a:lnTo>
                    <a:pt x="279" y="725"/>
                  </a:lnTo>
                  <a:lnTo>
                    <a:pt x="282" y="724"/>
                  </a:lnTo>
                  <a:lnTo>
                    <a:pt x="284" y="722"/>
                  </a:lnTo>
                  <a:lnTo>
                    <a:pt x="284" y="719"/>
                  </a:lnTo>
                  <a:lnTo>
                    <a:pt x="283" y="716"/>
                  </a:lnTo>
                  <a:lnTo>
                    <a:pt x="279" y="713"/>
                  </a:lnTo>
                  <a:lnTo>
                    <a:pt x="277" y="712"/>
                  </a:lnTo>
                  <a:lnTo>
                    <a:pt x="274" y="715"/>
                  </a:lnTo>
                  <a:lnTo>
                    <a:pt x="270" y="718"/>
                  </a:lnTo>
                  <a:lnTo>
                    <a:pt x="267" y="721"/>
                  </a:lnTo>
                  <a:lnTo>
                    <a:pt x="266" y="721"/>
                  </a:lnTo>
                  <a:lnTo>
                    <a:pt x="265" y="723"/>
                  </a:lnTo>
                  <a:lnTo>
                    <a:pt x="261" y="727"/>
                  </a:lnTo>
                  <a:lnTo>
                    <a:pt x="259" y="727"/>
                  </a:lnTo>
                  <a:lnTo>
                    <a:pt x="255" y="724"/>
                  </a:lnTo>
                  <a:lnTo>
                    <a:pt x="254" y="724"/>
                  </a:lnTo>
                  <a:lnTo>
                    <a:pt x="253" y="728"/>
                  </a:lnTo>
                  <a:lnTo>
                    <a:pt x="252" y="736"/>
                  </a:lnTo>
                  <a:lnTo>
                    <a:pt x="249" y="739"/>
                  </a:lnTo>
                  <a:lnTo>
                    <a:pt x="243" y="739"/>
                  </a:lnTo>
                  <a:lnTo>
                    <a:pt x="243" y="741"/>
                  </a:lnTo>
                  <a:lnTo>
                    <a:pt x="242" y="742"/>
                  </a:lnTo>
                  <a:lnTo>
                    <a:pt x="241" y="743"/>
                  </a:lnTo>
                  <a:lnTo>
                    <a:pt x="236" y="745"/>
                  </a:lnTo>
                  <a:lnTo>
                    <a:pt x="233" y="746"/>
                  </a:lnTo>
                  <a:lnTo>
                    <a:pt x="232" y="742"/>
                  </a:lnTo>
                  <a:lnTo>
                    <a:pt x="230" y="741"/>
                  </a:lnTo>
                  <a:lnTo>
                    <a:pt x="229" y="741"/>
                  </a:lnTo>
                  <a:lnTo>
                    <a:pt x="230" y="737"/>
                  </a:lnTo>
                  <a:lnTo>
                    <a:pt x="235" y="729"/>
                  </a:lnTo>
                  <a:lnTo>
                    <a:pt x="233" y="727"/>
                  </a:lnTo>
                  <a:lnTo>
                    <a:pt x="231" y="727"/>
                  </a:lnTo>
                  <a:lnTo>
                    <a:pt x="225" y="733"/>
                  </a:lnTo>
                  <a:lnTo>
                    <a:pt x="220" y="734"/>
                  </a:lnTo>
                  <a:lnTo>
                    <a:pt x="223" y="735"/>
                  </a:lnTo>
                  <a:lnTo>
                    <a:pt x="217" y="735"/>
                  </a:lnTo>
                  <a:lnTo>
                    <a:pt x="209" y="735"/>
                  </a:lnTo>
                  <a:lnTo>
                    <a:pt x="203" y="731"/>
                  </a:lnTo>
                  <a:lnTo>
                    <a:pt x="194" y="725"/>
                  </a:lnTo>
                  <a:lnTo>
                    <a:pt x="190" y="723"/>
                  </a:lnTo>
                  <a:lnTo>
                    <a:pt x="193" y="722"/>
                  </a:lnTo>
                  <a:lnTo>
                    <a:pt x="195" y="722"/>
                  </a:lnTo>
                  <a:lnTo>
                    <a:pt x="196" y="719"/>
                  </a:lnTo>
                  <a:lnTo>
                    <a:pt x="196" y="715"/>
                  </a:lnTo>
                  <a:lnTo>
                    <a:pt x="199" y="712"/>
                  </a:lnTo>
                  <a:lnTo>
                    <a:pt x="199" y="711"/>
                  </a:lnTo>
                  <a:lnTo>
                    <a:pt x="201" y="711"/>
                  </a:lnTo>
                  <a:lnTo>
                    <a:pt x="205" y="715"/>
                  </a:lnTo>
                  <a:lnTo>
                    <a:pt x="207" y="716"/>
                  </a:lnTo>
                  <a:lnTo>
                    <a:pt x="208" y="713"/>
                  </a:lnTo>
                  <a:lnTo>
                    <a:pt x="209" y="713"/>
                  </a:lnTo>
                  <a:lnTo>
                    <a:pt x="213" y="713"/>
                  </a:lnTo>
                  <a:lnTo>
                    <a:pt x="217" y="713"/>
                  </a:lnTo>
                  <a:lnTo>
                    <a:pt x="220" y="713"/>
                  </a:lnTo>
                  <a:lnTo>
                    <a:pt x="223" y="711"/>
                  </a:lnTo>
                  <a:lnTo>
                    <a:pt x="225" y="711"/>
                  </a:lnTo>
                  <a:lnTo>
                    <a:pt x="230" y="711"/>
                  </a:lnTo>
                  <a:lnTo>
                    <a:pt x="230" y="709"/>
                  </a:lnTo>
                  <a:lnTo>
                    <a:pt x="227" y="703"/>
                  </a:lnTo>
                  <a:lnTo>
                    <a:pt x="224" y="701"/>
                  </a:lnTo>
                  <a:lnTo>
                    <a:pt x="218" y="705"/>
                  </a:lnTo>
                  <a:lnTo>
                    <a:pt x="209" y="709"/>
                  </a:lnTo>
                  <a:lnTo>
                    <a:pt x="193" y="709"/>
                  </a:lnTo>
                  <a:lnTo>
                    <a:pt x="179" y="709"/>
                  </a:lnTo>
                  <a:lnTo>
                    <a:pt x="173" y="707"/>
                  </a:lnTo>
                  <a:lnTo>
                    <a:pt x="170" y="707"/>
                  </a:lnTo>
                  <a:lnTo>
                    <a:pt x="170" y="710"/>
                  </a:lnTo>
                  <a:lnTo>
                    <a:pt x="173" y="716"/>
                  </a:lnTo>
                  <a:lnTo>
                    <a:pt x="172" y="722"/>
                  </a:lnTo>
                  <a:lnTo>
                    <a:pt x="162" y="725"/>
                  </a:lnTo>
                  <a:lnTo>
                    <a:pt x="162" y="724"/>
                  </a:lnTo>
                  <a:lnTo>
                    <a:pt x="158" y="723"/>
                  </a:lnTo>
                  <a:lnTo>
                    <a:pt x="152" y="724"/>
                  </a:lnTo>
                  <a:lnTo>
                    <a:pt x="148" y="723"/>
                  </a:lnTo>
                  <a:lnTo>
                    <a:pt x="144" y="718"/>
                  </a:lnTo>
                  <a:lnTo>
                    <a:pt x="132" y="727"/>
                  </a:lnTo>
                  <a:lnTo>
                    <a:pt x="124" y="735"/>
                  </a:lnTo>
                  <a:lnTo>
                    <a:pt x="111" y="745"/>
                  </a:lnTo>
                  <a:lnTo>
                    <a:pt x="99" y="749"/>
                  </a:lnTo>
                  <a:lnTo>
                    <a:pt x="94" y="749"/>
                  </a:lnTo>
                  <a:lnTo>
                    <a:pt x="101" y="748"/>
                  </a:lnTo>
                  <a:lnTo>
                    <a:pt x="108" y="745"/>
                  </a:lnTo>
                  <a:lnTo>
                    <a:pt x="115" y="740"/>
                  </a:lnTo>
                  <a:lnTo>
                    <a:pt x="129" y="727"/>
                  </a:lnTo>
                  <a:lnTo>
                    <a:pt x="105" y="739"/>
                  </a:lnTo>
                  <a:lnTo>
                    <a:pt x="89" y="746"/>
                  </a:lnTo>
                  <a:lnTo>
                    <a:pt x="114" y="731"/>
                  </a:lnTo>
                  <a:lnTo>
                    <a:pt x="132" y="721"/>
                  </a:lnTo>
                  <a:lnTo>
                    <a:pt x="132" y="719"/>
                  </a:lnTo>
                  <a:lnTo>
                    <a:pt x="129" y="716"/>
                  </a:lnTo>
                  <a:lnTo>
                    <a:pt x="123" y="711"/>
                  </a:lnTo>
                  <a:lnTo>
                    <a:pt x="120" y="712"/>
                  </a:lnTo>
                  <a:lnTo>
                    <a:pt x="115" y="717"/>
                  </a:lnTo>
                  <a:lnTo>
                    <a:pt x="106" y="725"/>
                  </a:lnTo>
                  <a:lnTo>
                    <a:pt x="102" y="727"/>
                  </a:lnTo>
                  <a:lnTo>
                    <a:pt x="113" y="718"/>
                  </a:lnTo>
                  <a:lnTo>
                    <a:pt x="119" y="710"/>
                  </a:lnTo>
                  <a:lnTo>
                    <a:pt x="123" y="710"/>
                  </a:lnTo>
                  <a:lnTo>
                    <a:pt x="129" y="713"/>
                  </a:lnTo>
                  <a:lnTo>
                    <a:pt x="136" y="718"/>
                  </a:lnTo>
                  <a:lnTo>
                    <a:pt x="138" y="718"/>
                  </a:lnTo>
                  <a:lnTo>
                    <a:pt x="141" y="716"/>
                  </a:lnTo>
                  <a:lnTo>
                    <a:pt x="143" y="713"/>
                  </a:lnTo>
                  <a:lnTo>
                    <a:pt x="141" y="711"/>
                  </a:lnTo>
                  <a:lnTo>
                    <a:pt x="138" y="707"/>
                  </a:lnTo>
                  <a:lnTo>
                    <a:pt x="136" y="705"/>
                  </a:lnTo>
                  <a:lnTo>
                    <a:pt x="130" y="705"/>
                  </a:lnTo>
                  <a:lnTo>
                    <a:pt x="124" y="704"/>
                  </a:lnTo>
                  <a:lnTo>
                    <a:pt x="117" y="705"/>
                  </a:lnTo>
                  <a:lnTo>
                    <a:pt x="112" y="707"/>
                  </a:lnTo>
                  <a:lnTo>
                    <a:pt x="109" y="711"/>
                  </a:lnTo>
                  <a:lnTo>
                    <a:pt x="108" y="715"/>
                  </a:lnTo>
                  <a:lnTo>
                    <a:pt x="106" y="716"/>
                  </a:lnTo>
                  <a:lnTo>
                    <a:pt x="103" y="717"/>
                  </a:lnTo>
                  <a:lnTo>
                    <a:pt x="101" y="716"/>
                  </a:lnTo>
                  <a:lnTo>
                    <a:pt x="100" y="710"/>
                  </a:lnTo>
                  <a:lnTo>
                    <a:pt x="102" y="706"/>
                  </a:lnTo>
                  <a:lnTo>
                    <a:pt x="101" y="705"/>
                  </a:lnTo>
                  <a:lnTo>
                    <a:pt x="99" y="705"/>
                  </a:lnTo>
                  <a:lnTo>
                    <a:pt x="91" y="709"/>
                  </a:lnTo>
                  <a:lnTo>
                    <a:pt x="90" y="709"/>
                  </a:lnTo>
                  <a:lnTo>
                    <a:pt x="89" y="706"/>
                  </a:lnTo>
                  <a:lnTo>
                    <a:pt x="88" y="701"/>
                  </a:lnTo>
                  <a:lnTo>
                    <a:pt x="89" y="695"/>
                  </a:lnTo>
                  <a:lnTo>
                    <a:pt x="90" y="693"/>
                  </a:lnTo>
                  <a:lnTo>
                    <a:pt x="93" y="691"/>
                  </a:lnTo>
                  <a:lnTo>
                    <a:pt x="93" y="687"/>
                  </a:lnTo>
                  <a:lnTo>
                    <a:pt x="89" y="682"/>
                  </a:lnTo>
                  <a:lnTo>
                    <a:pt x="88" y="679"/>
                  </a:lnTo>
                  <a:lnTo>
                    <a:pt x="84" y="676"/>
                  </a:lnTo>
                  <a:lnTo>
                    <a:pt x="84" y="671"/>
                  </a:lnTo>
                  <a:lnTo>
                    <a:pt x="91" y="665"/>
                  </a:lnTo>
                  <a:lnTo>
                    <a:pt x="94" y="663"/>
                  </a:lnTo>
                  <a:lnTo>
                    <a:pt x="94" y="662"/>
                  </a:lnTo>
                  <a:lnTo>
                    <a:pt x="89" y="659"/>
                  </a:lnTo>
                  <a:lnTo>
                    <a:pt x="88" y="657"/>
                  </a:lnTo>
                  <a:lnTo>
                    <a:pt x="90" y="654"/>
                  </a:lnTo>
                  <a:lnTo>
                    <a:pt x="96" y="650"/>
                  </a:lnTo>
                  <a:lnTo>
                    <a:pt x="100" y="646"/>
                  </a:lnTo>
                  <a:lnTo>
                    <a:pt x="101" y="639"/>
                  </a:lnTo>
                  <a:lnTo>
                    <a:pt x="102" y="634"/>
                  </a:lnTo>
                  <a:lnTo>
                    <a:pt x="103" y="629"/>
                  </a:lnTo>
                  <a:lnTo>
                    <a:pt x="84" y="629"/>
                  </a:lnTo>
                  <a:lnTo>
                    <a:pt x="77" y="630"/>
                  </a:lnTo>
                  <a:lnTo>
                    <a:pt x="72" y="629"/>
                  </a:lnTo>
                  <a:lnTo>
                    <a:pt x="69" y="626"/>
                  </a:lnTo>
                  <a:lnTo>
                    <a:pt x="65" y="627"/>
                  </a:lnTo>
                  <a:lnTo>
                    <a:pt x="61" y="630"/>
                  </a:lnTo>
                  <a:lnTo>
                    <a:pt x="55" y="629"/>
                  </a:lnTo>
                  <a:lnTo>
                    <a:pt x="47" y="626"/>
                  </a:lnTo>
                  <a:lnTo>
                    <a:pt x="41" y="627"/>
                  </a:lnTo>
                  <a:lnTo>
                    <a:pt x="35" y="628"/>
                  </a:lnTo>
                  <a:lnTo>
                    <a:pt x="30" y="624"/>
                  </a:lnTo>
                  <a:lnTo>
                    <a:pt x="23" y="618"/>
                  </a:lnTo>
                  <a:lnTo>
                    <a:pt x="19" y="611"/>
                  </a:lnTo>
                  <a:lnTo>
                    <a:pt x="14" y="608"/>
                  </a:lnTo>
                  <a:lnTo>
                    <a:pt x="12" y="605"/>
                  </a:lnTo>
                  <a:lnTo>
                    <a:pt x="13" y="603"/>
                  </a:lnTo>
                  <a:lnTo>
                    <a:pt x="16" y="596"/>
                  </a:lnTo>
                  <a:lnTo>
                    <a:pt x="14" y="597"/>
                  </a:lnTo>
                  <a:lnTo>
                    <a:pt x="10" y="591"/>
                  </a:lnTo>
                  <a:lnTo>
                    <a:pt x="4" y="578"/>
                  </a:lnTo>
                  <a:lnTo>
                    <a:pt x="0" y="570"/>
                  </a:lnTo>
                  <a:lnTo>
                    <a:pt x="0" y="569"/>
                  </a:lnTo>
                  <a:lnTo>
                    <a:pt x="2" y="569"/>
                  </a:lnTo>
                  <a:lnTo>
                    <a:pt x="10" y="566"/>
                  </a:lnTo>
                  <a:lnTo>
                    <a:pt x="12" y="564"/>
                  </a:lnTo>
                  <a:lnTo>
                    <a:pt x="14" y="567"/>
                  </a:lnTo>
                  <a:lnTo>
                    <a:pt x="18" y="573"/>
                  </a:lnTo>
                  <a:lnTo>
                    <a:pt x="23" y="575"/>
                  </a:lnTo>
                  <a:lnTo>
                    <a:pt x="28" y="576"/>
                  </a:lnTo>
                  <a:lnTo>
                    <a:pt x="29" y="580"/>
                  </a:lnTo>
                  <a:lnTo>
                    <a:pt x="31" y="588"/>
                  </a:lnTo>
                  <a:lnTo>
                    <a:pt x="32" y="591"/>
                  </a:lnTo>
                  <a:lnTo>
                    <a:pt x="34" y="590"/>
                  </a:lnTo>
                  <a:lnTo>
                    <a:pt x="36" y="586"/>
                  </a:lnTo>
                  <a:lnTo>
                    <a:pt x="38" y="582"/>
                  </a:lnTo>
                  <a:lnTo>
                    <a:pt x="42" y="581"/>
                  </a:lnTo>
                  <a:lnTo>
                    <a:pt x="46" y="582"/>
                  </a:lnTo>
                  <a:lnTo>
                    <a:pt x="50" y="581"/>
                  </a:lnTo>
                  <a:lnTo>
                    <a:pt x="56" y="580"/>
                  </a:lnTo>
                  <a:lnTo>
                    <a:pt x="52" y="575"/>
                  </a:lnTo>
                  <a:lnTo>
                    <a:pt x="49" y="572"/>
                  </a:lnTo>
                  <a:lnTo>
                    <a:pt x="49" y="568"/>
                  </a:lnTo>
                  <a:lnTo>
                    <a:pt x="52" y="566"/>
                  </a:lnTo>
                  <a:lnTo>
                    <a:pt x="55" y="566"/>
                  </a:lnTo>
                  <a:lnTo>
                    <a:pt x="61" y="566"/>
                  </a:lnTo>
                  <a:lnTo>
                    <a:pt x="63" y="566"/>
                  </a:lnTo>
                  <a:lnTo>
                    <a:pt x="64" y="568"/>
                  </a:lnTo>
                  <a:lnTo>
                    <a:pt x="64" y="574"/>
                  </a:lnTo>
                  <a:lnTo>
                    <a:pt x="72" y="578"/>
                  </a:lnTo>
                  <a:lnTo>
                    <a:pt x="70" y="579"/>
                  </a:lnTo>
                  <a:lnTo>
                    <a:pt x="75" y="580"/>
                  </a:lnTo>
                  <a:lnTo>
                    <a:pt x="84" y="582"/>
                  </a:lnTo>
                  <a:lnTo>
                    <a:pt x="85" y="584"/>
                  </a:lnTo>
                  <a:lnTo>
                    <a:pt x="88" y="582"/>
                  </a:lnTo>
                  <a:lnTo>
                    <a:pt x="89" y="578"/>
                  </a:lnTo>
                  <a:lnTo>
                    <a:pt x="94" y="579"/>
                  </a:lnTo>
                  <a:lnTo>
                    <a:pt x="106" y="587"/>
                  </a:lnTo>
                  <a:lnTo>
                    <a:pt x="108" y="587"/>
                  </a:lnTo>
                  <a:lnTo>
                    <a:pt x="112" y="586"/>
                  </a:lnTo>
                  <a:lnTo>
                    <a:pt x="113" y="581"/>
                  </a:lnTo>
                  <a:lnTo>
                    <a:pt x="115" y="579"/>
                  </a:lnTo>
                  <a:lnTo>
                    <a:pt x="117" y="581"/>
                  </a:lnTo>
                  <a:lnTo>
                    <a:pt x="121" y="581"/>
                  </a:lnTo>
                  <a:lnTo>
                    <a:pt x="129" y="579"/>
                  </a:lnTo>
                  <a:lnTo>
                    <a:pt x="136" y="578"/>
                  </a:lnTo>
                  <a:lnTo>
                    <a:pt x="137" y="578"/>
                  </a:lnTo>
                  <a:lnTo>
                    <a:pt x="134" y="575"/>
                  </a:lnTo>
                  <a:lnTo>
                    <a:pt x="125" y="568"/>
                  </a:lnTo>
                  <a:lnTo>
                    <a:pt x="124" y="564"/>
                  </a:lnTo>
                  <a:lnTo>
                    <a:pt x="121" y="562"/>
                  </a:lnTo>
                  <a:lnTo>
                    <a:pt x="118" y="562"/>
                  </a:lnTo>
                  <a:lnTo>
                    <a:pt x="117" y="560"/>
                  </a:lnTo>
                  <a:lnTo>
                    <a:pt x="114" y="557"/>
                  </a:lnTo>
                  <a:lnTo>
                    <a:pt x="112" y="554"/>
                  </a:lnTo>
                  <a:lnTo>
                    <a:pt x="113" y="550"/>
                  </a:lnTo>
                  <a:lnTo>
                    <a:pt x="118" y="546"/>
                  </a:lnTo>
                  <a:lnTo>
                    <a:pt x="120" y="543"/>
                  </a:lnTo>
                  <a:lnTo>
                    <a:pt x="120" y="541"/>
                  </a:lnTo>
                  <a:lnTo>
                    <a:pt x="123" y="540"/>
                  </a:lnTo>
                  <a:lnTo>
                    <a:pt x="128" y="539"/>
                  </a:lnTo>
                  <a:lnTo>
                    <a:pt x="134" y="535"/>
                  </a:lnTo>
                  <a:lnTo>
                    <a:pt x="140" y="529"/>
                  </a:lnTo>
                  <a:lnTo>
                    <a:pt x="144" y="526"/>
                  </a:lnTo>
                  <a:lnTo>
                    <a:pt x="147" y="521"/>
                  </a:lnTo>
                  <a:lnTo>
                    <a:pt x="149" y="520"/>
                  </a:lnTo>
                  <a:lnTo>
                    <a:pt x="160" y="525"/>
                  </a:lnTo>
                  <a:lnTo>
                    <a:pt x="168" y="522"/>
                  </a:lnTo>
                  <a:lnTo>
                    <a:pt x="173" y="521"/>
                  </a:lnTo>
                  <a:lnTo>
                    <a:pt x="177" y="519"/>
                  </a:lnTo>
                  <a:lnTo>
                    <a:pt x="182" y="514"/>
                  </a:lnTo>
                  <a:lnTo>
                    <a:pt x="187" y="509"/>
                  </a:lnTo>
                  <a:lnTo>
                    <a:pt x="188" y="507"/>
                  </a:lnTo>
                  <a:lnTo>
                    <a:pt x="189" y="507"/>
                  </a:lnTo>
                  <a:lnTo>
                    <a:pt x="190" y="509"/>
                  </a:lnTo>
                  <a:lnTo>
                    <a:pt x="194" y="516"/>
                  </a:lnTo>
                  <a:lnTo>
                    <a:pt x="199" y="516"/>
                  </a:lnTo>
                  <a:lnTo>
                    <a:pt x="201" y="516"/>
                  </a:lnTo>
                  <a:lnTo>
                    <a:pt x="203" y="513"/>
                  </a:lnTo>
                  <a:lnTo>
                    <a:pt x="208" y="507"/>
                  </a:lnTo>
                  <a:lnTo>
                    <a:pt x="208" y="499"/>
                  </a:lnTo>
                  <a:lnTo>
                    <a:pt x="206" y="498"/>
                  </a:lnTo>
                  <a:lnTo>
                    <a:pt x="202" y="498"/>
                  </a:lnTo>
                  <a:lnTo>
                    <a:pt x="199" y="503"/>
                  </a:lnTo>
                  <a:lnTo>
                    <a:pt x="197" y="503"/>
                  </a:lnTo>
                  <a:lnTo>
                    <a:pt x="195" y="501"/>
                  </a:lnTo>
                  <a:lnTo>
                    <a:pt x="193" y="495"/>
                  </a:lnTo>
                  <a:lnTo>
                    <a:pt x="190" y="493"/>
                  </a:lnTo>
                  <a:lnTo>
                    <a:pt x="185" y="496"/>
                  </a:lnTo>
                  <a:lnTo>
                    <a:pt x="184" y="498"/>
                  </a:lnTo>
                  <a:lnTo>
                    <a:pt x="183" y="502"/>
                  </a:lnTo>
                  <a:lnTo>
                    <a:pt x="182" y="503"/>
                  </a:lnTo>
                  <a:lnTo>
                    <a:pt x="178" y="501"/>
                  </a:lnTo>
                  <a:lnTo>
                    <a:pt x="165" y="496"/>
                  </a:lnTo>
                  <a:lnTo>
                    <a:pt x="160" y="493"/>
                  </a:lnTo>
                  <a:lnTo>
                    <a:pt x="158" y="493"/>
                  </a:lnTo>
                  <a:lnTo>
                    <a:pt x="158" y="496"/>
                  </a:lnTo>
                  <a:lnTo>
                    <a:pt x="160" y="499"/>
                  </a:lnTo>
                  <a:lnTo>
                    <a:pt x="165" y="504"/>
                  </a:lnTo>
                  <a:lnTo>
                    <a:pt x="162" y="505"/>
                  </a:lnTo>
                  <a:lnTo>
                    <a:pt x="153" y="503"/>
                  </a:lnTo>
                  <a:lnTo>
                    <a:pt x="148" y="503"/>
                  </a:lnTo>
                  <a:lnTo>
                    <a:pt x="144" y="509"/>
                  </a:lnTo>
                  <a:lnTo>
                    <a:pt x="142" y="511"/>
                  </a:lnTo>
                  <a:lnTo>
                    <a:pt x="138" y="509"/>
                  </a:lnTo>
                  <a:lnTo>
                    <a:pt x="135" y="508"/>
                  </a:lnTo>
                  <a:lnTo>
                    <a:pt x="132" y="503"/>
                  </a:lnTo>
                  <a:lnTo>
                    <a:pt x="135" y="497"/>
                  </a:lnTo>
                  <a:lnTo>
                    <a:pt x="132" y="497"/>
                  </a:lnTo>
                  <a:lnTo>
                    <a:pt x="120" y="497"/>
                  </a:lnTo>
                  <a:lnTo>
                    <a:pt x="120" y="498"/>
                  </a:lnTo>
                  <a:lnTo>
                    <a:pt x="119" y="501"/>
                  </a:lnTo>
                  <a:lnTo>
                    <a:pt x="114" y="503"/>
                  </a:lnTo>
                  <a:lnTo>
                    <a:pt x="111" y="503"/>
                  </a:lnTo>
                  <a:lnTo>
                    <a:pt x="108" y="499"/>
                  </a:lnTo>
                  <a:lnTo>
                    <a:pt x="106" y="499"/>
                  </a:lnTo>
                  <a:lnTo>
                    <a:pt x="99" y="504"/>
                  </a:lnTo>
                  <a:lnTo>
                    <a:pt x="95" y="507"/>
                  </a:lnTo>
                  <a:lnTo>
                    <a:pt x="93" y="507"/>
                  </a:lnTo>
                  <a:lnTo>
                    <a:pt x="89" y="504"/>
                  </a:lnTo>
                  <a:lnTo>
                    <a:pt x="83" y="499"/>
                  </a:lnTo>
                  <a:lnTo>
                    <a:pt x="81" y="497"/>
                  </a:lnTo>
                  <a:lnTo>
                    <a:pt x="81" y="495"/>
                  </a:lnTo>
                  <a:lnTo>
                    <a:pt x="83" y="492"/>
                  </a:lnTo>
                  <a:lnTo>
                    <a:pt x="81" y="490"/>
                  </a:lnTo>
                  <a:lnTo>
                    <a:pt x="76" y="487"/>
                  </a:lnTo>
                  <a:lnTo>
                    <a:pt x="72" y="484"/>
                  </a:lnTo>
                  <a:lnTo>
                    <a:pt x="70" y="477"/>
                  </a:lnTo>
                  <a:lnTo>
                    <a:pt x="72" y="474"/>
                  </a:lnTo>
                  <a:lnTo>
                    <a:pt x="76" y="474"/>
                  </a:lnTo>
                  <a:lnTo>
                    <a:pt x="83" y="475"/>
                  </a:lnTo>
                  <a:lnTo>
                    <a:pt x="88" y="479"/>
                  </a:lnTo>
                  <a:lnTo>
                    <a:pt x="93" y="484"/>
                  </a:lnTo>
                  <a:lnTo>
                    <a:pt x="94" y="481"/>
                  </a:lnTo>
                  <a:lnTo>
                    <a:pt x="93" y="478"/>
                  </a:lnTo>
                  <a:lnTo>
                    <a:pt x="93" y="477"/>
                  </a:lnTo>
                  <a:lnTo>
                    <a:pt x="94" y="474"/>
                  </a:lnTo>
                  <a:lnTo>
                    <a:pt x="97" y="469"/>
                  </a:lnTo>
                  <a:lnTo>
                    <a:pt x="101" y="465"/>
                  </a:lnTo>
                  <a:lnTo>
                    <a:pt x="107" y="460"/>
                  </a:lnTo>
                  <a:lnTo>
                    <a:pt x="112" y="456"/>
                  </a:lnTo>
                  <a:lnTo>
                    <a:pt x="113" y="453"/>
                  </a:lnTo>
                  <a:lnTo>
                    <a:pt x="114" y="450"/>
                  </a:lnTo>
                  <a:lnTo>
                    <a:pt x="113" y="449"/>
                  </a:lnTo>
                  <a:lnTo>
                    <a:pt x="103" y="444"/>
                  </a:lnTo>
                  <a:lnTo>
                    <a:pt x="100" y="440"/>
                  </a:lnTo>
                  <a:lnTo>
                    <a:pt x="99" y="433"/>
                  </a:lnTo>
                  <a:lnTo>
                    <a:pt x="99" y="419"/>
                  </a:lnTo>
                  <a:lnTo>
                    <a:pt x="99" y="414"/>
                  </a:lnTo>
                  <a:lnTo>
                    <a:pt x="100" y="410"/>
                  </a:lnTo>
                  <a:lnTo>
                    <a:pt x="95" y="407"/>
                  </a:lnTo>
                  <a:lnTo>
                    <a:pt x="91" y="406"/>
                  </a:lnTo>
                  <a:lnTo>
                    <a:pt x="89" y="401"/>
                  </a:lnTo>
                  <a:lnTo>
                    <a:pt x="87" y="394"/>
                  </a:lnTo>
                  <a:lnTo>
                    <a:pt x="89" y="386"/>
                  </a:lnTo>
                  <a:lnTo>
                    <a:pt x="95" y="382"/>
                  </a:lnTo>
                  <a:lnTo>
                    <a:pt x="97" y="377"/>
                  </a:lnTo>
                  <a:lnTo>
                    <a:pt x="95" y="372"/>
                  </a:lnTo>
                  <a:lnTo>
                    <a:pt x="95" y="366"/>
                  </a:lnTo>
                  <a:lnTo>
                    <a:pt x="99" y="361"/>
                  </a:lnTo>
                  <a:lnTo>
                    <a:pt x="102" y="356"/>
                  </a:lnTo>
                  <a:lnTo>
                    <a:pt x="102" y="350"/>
                  </a:lnTo>
                  <a:lnTo>
                    <a:pt x="102" y="349"/>
                  </a:lnTo>
                  <a:lnTo>
                    <a:pt x="105" y="348"/>
                  </a:lnTo>
                  <a:lnTo>
                    <a:pt x="109" y="349"/>
                  </a:lnTo>
                  <a:lnTo>
                    <a:pt x="114" y="352"/>
                  </a:lnTo>
                  <a:lnTo>
                    <a:pt x="121" y="350"/>
                  </a:lnTo>
                  <a:lnTo>
                    <a:pt x="124" y="349"/>
                  </a:lnTo>
                  <a:lnTo>
                    <a:pt x="126" y="350"/>
                  </a:lnTo>
                  <a:lnTo>
                    <a:pt x="130" y="355"/>
                  </a:lnTo>
                  <a:lnTo>
                    <a:pt x="134" y="356"/>
                  </a:lnTo>
                  <a:lnTo>
                    <a:pt x="138" y="354"/>
                  </a:lnTo>
                  <a:lnTo>
                    <a:pt x="140" y="354"/>
                  </a:lnTo>
                  <a:lnTo>
                    <a:pt x="141" y="356"/>
                  </a:lnTo>
                  <a:lnTo>
                    <a:pt x="142" y="364"/>
                  </a:lnTo>
                  <a:lnTo>
                    <a:pt x="143" y="367"/>
                  </a:lnTo>
                  <a:lnTo>
                    <a:pt x="146" y="368"/>
                  </a:lnTo>
                  <a:lnTo>
                    <a:pt x="152" y="370"/>
                  </a:lnTo>
                  <a:lnTo>
                    <a:pt x="153" y="367"/>
                  </a:lnTo>
                  <a:lnTo>
                    <a:pt x="155" y="361"/>
                  </a:lnTo>
                  <a:lnTo>
                    <a:pt x="154" y="359"/>
                  </a:lnTo>
                  <a:lnTo>
                    <a:pt x="150" y="355"/>
                  </a:lnTo>
                  <a:lnTo>
                    <a:pt x="140" y="352"/>
                  </a:lnTo>
                  <a:lnTo>
                    <a:pt x="137" y="349"/>
                  </a:lnTo>
                  <a:lnTo>
                    <a:pt x="136" y="346"/>
                  </a:lnTo>
                  <a:lnTo>
                    <a:pt x="138" y="338"/>
                  </a:lnTo>
                  <a:lnTo>
                    <a:pt x="141" y="333"/>
                  </a:lnTo>
                  <a:lnTo>
                    <a:pt x="140" y="329"/>
                  </a:lnTo>
                  <a:lnTo>
                    <a:pt x="143" y="329"/>
                  </a:lnTo>
                  <a:lnTo>
                    <a:pt x="149" y="330"/>
                  </a:lnTo>
                  <a:lnTo>
                    <a:pt x="155" y="331"/>
                  </a:lnTo>
                  <a:lnTo>
                    <a:pt x="162" y="337"/>
                  </a:lnTo>
                  <a:lnTo>
                    <a:pt x="166" y="340"/>
                  </a:lnTo>
                  <a:lnTo>
                    <a:pt x="171" y="338"/>
                  </a:lnTo>
                  <a:lnTo>
                    <a:pt x="171" y="337"/>
                  </a:lnTo>
                  <a:lnTo>
                    <a:pt x="168" y="335"/>
                  </a:lnTo>
                  <a:lnTo>
                    <a:pt x="165" y="330"/>
                  </a:lnTo>
                  <a:lnTo>
                    <a:pt x="160" y="326"/>
                  </a:lnTo>
                  <a:lnTo>
                    <a:pt x="154" y="323"/>
                  </a:lnTo>
                  <a:lnTo>
                    <a:pt x="153" y="318"/>
                  </a:lnTo>
                  <a:lnTo>
                    <a:pt x="158" y="307"/>
                  </a:lnTo>
                  <a:lnTo>
                    <a:pt x="166" y="306"/>
                  </a:lnTo>
                  <a:lnTo>
                    <a:pt x="170" y="305"/>
                  </a:lnTo>
                  <a:lnTo>
                    <a:pt x="173" y="306"/>
                  </a:lnTo>
                  <a:lnTo>
                    <a:pt x="178" y="307"/>
                  </a:lnTo>
                  <a:lnTo>
                    <a:pt x="180" y="308"/>
                  </a:lnTo>
                  <a:lnTo>
                    <a:pt x="180" y="312"/>
                  </a:lnTo>
                  <a:lnTo>
                    <a:pt x="180" y="320"/>
                  </a:lnTo>
                  <a:lnTo>
                    <a:pt x="182" y="321"/>
                  </a:lnTo>
                  <a:lnTo>
                    <a:pt x="184" y="320"/>
                  </a:lnTo>
                  <a:lnTo>
                    <a:pt x="189" y="317"/>
                  </a:lnTo>
                  <a:lnTo>
                    <a:pt x="193" y="314"/>
                  </a:lnTo>
                  <a:lnTo>
                    <a:pt x="194" y="311"/>
                  </a:lnTo>
                  <a:lnTo>
                    <a:pt x="193" y="308"/>
                  </a:lnTo>
                  <a:lnTo>
                    <a:pt x="190" y="307"/>
                  </a:lnTo>
                  <a:lnTo>
                    <a:pt x="189" y="306"/>
                  </a:lnTo>
                  <a:lnTo>
                    <a:pt x="188" y="302"/>
                  </a:lnTo>
                  <a:lnTo>
                    <a:pt x="188" y="294"/>
                  </a:lnTo>
                  <a:lnTo>
                    <a:pt x="187" y="291"/>
                  </a:lnTo>
                  <a:lnTo>
                    <a:pt x="184" y="290"/>
                  </a:lnTo>
                  <a:lnTo>
                    <a:pt x="174" y="290"/>
                  </a:lnTo>
                  <a:lnTo>
                    <a:pt x="167" y="287"/>
                  </a:lnTo>
                  <a:lnTo>
                    <a:pt x="165" y="283"/>
                  </a:lnTo>
                  <a:lnTo>
                    <a:pt x="167" y="276"/>
                  </a:lnTo>
                  <a:lnTo>
                    <a:pt x="173" y="270"/>
                  </a:lnTo>
                  <a:lnTo>
                    <a:pt x="178" y="267"/>
                  </a:lnTo>
                  <a:lnTo>
                    <a:pt x="180" y="265"/>
                  </a:lnTo>
                  <a:lnTo>
                    <a:pt x="184" y="266"/>
                  </a:lnTo>
                  <a:lnTo>
                    <a:pt x="194" y="270"/>
                  </a:lnTo>
                  <a:lnTo>
                    <a:pt x="201" y="270"/>
                  </a:lnTo>
                  <a:lnTo>
                    <a:pt x="208" y="270"/>
                  </a:lnTo>
                  <a:lnTo>
                    <a:pt x="214" y="269"/>
                  </a:lnTo>
                  <a:lnTo>
                    <a:pt x="220" y="269"/>
                  </a:lnTo>
                  <a:lnTo>
                    <a:pt x="224" y="270"/>
                  </a:lnTo>
                  <a:lnTo>
                    <a:pt x="227" y="270"/>
                  </a:lnTo>
                  <a:lnTo>
                    <a:pt x="230" y="267"/>
                  </a:lnTo>
                  <a:lnTo>
                    <a:pt x="231" y="263"/>
                  </a:lnTo>
                  <a:lnTo>
                    <a:pt x="233" y="259"/>
                  </a:lnTo>
                  <a:lnTo>
                    <a:pt x="237" y="257"/>
                  </a:lnTo>
                  <a:lnTo>
                    <a:pt x="242" y="252"/>
                  </a:lnTo>
                  <a:lnTo>
                    <a:pt x="242" y="249"/>
                  </a:lnTo>
                  <a:lnTo>
                    <a:pt x="233" y="248"/>
                  </a:lnTo>
                  <a:lnTo>
                    <a:pt x="229" y="252"/>
                  </a:lnTo>
                  <a:lnTo>
                    <a:pt x="226" y="246"/>
                  </a:lnTo>
                  <a:lnTo>
                    <a:pt x="223" y="245"/>
                  </a:lnTo>
                  <a:lnTo>
                    <a:pt x="219" y="243"/>
                  </a:lnTo>
                  <a:lnTo>
                    <a:pt x="220" y="242"/>
                  </a:lnTo>
                  <a:lnTo>
                    <a:pt x="218" y="239"/>
                  </a:lnTo>
                  <a:lnTo>
                    <a:pt x="208" y="234"/>
                  </a:lnTo>
                  <a:lnTo>
                    <a:pt x="206" y="231"/>
                  </a:lnTo>
                  <a:lnTo>
                    <a:pt x="206" y="230"/>
                  </a:lnTo>
                  <a:lnTo>
                    <a:pt x="212" y="229"/>
                  </a:lnTo>
                  <a:lnTo>
                    <a:pt x="218" y="230"/>
                  </a:lnTo>
                  <a:lnTo>
                    <a:pt x="219" y="233"/>
                  </a:lnTo>
                  <a:lnTo>
                    <a:pt x="223" y="233"/>
                  </a:lnTo>
                  <a:lnTo>
                    <a:pt x="227" y="231"/>
                  </a:lnTo>
                  <a:lnTo>
                    <a:pt x="227" y="230"/>
                  </a:lnTo>
                  <a:lnTo>
                    <a:pt x="229" y="229"/>
                  </a:lnTo>
                  <a:lnTo>
                    <a:pt x="231" y="226"/>
                  </a:lnTo>
                  <a:lnTo>
                    <a:pt x="233" y="219"/>
                  </a:lnTo>
                  <a:lnTo>
                    <a:pt x="233" y="220"/>
                  </a:lnTo>
                  <a:lnTo>
                    <a:pt x="236" y="222"/>
                  </a:lnTo>
                  <a:lnTo>
                    <a:pt x="238" y="222"/>
                  </a:lnTo>
                  <a:lnTo>
                    <a:pt x="239" y="224"/>
                  </a:lnTo>
                  <a:lnTo>
                    <a:pt x="242" y="230"/>
                  </a:lnTo>
                  <a:lnTo>
                    <a:pt x="246" y="234"/>
                  </a:lnTo>
                  <a:lnTo>
                    <a:pt x="250" y="230"/>
                  </a:lnTo>
                  <a:lnTo>
                    <a:pt x="254" y="225"/>
                  </a:lnTo>
                  <a:lnTo>
                    <a:pt x="258" y="220"/>
                  </a:lnTo>
                  <a:lnTo>
                    <a:pt x="262" y="217"/>
                  </a:lnTo>
                  <a:lnTo>
                    <a:pt x="262" y="214"/>
                  </a:lnTo>
                  <a:lnTo>
                    <a:pt x="255" y="210"/>
                  </a:lnTo>
                  <a:lnTo>
                    <a:pt x="252" y="208"/>
                  </a:lnTo>
                  <a:lnTo>
                    <a:pt x="244" y="208"/>
                  </a:lnTo>
                  <a:lnTo>
                    <a:pt x="236" y="211"/>
                  </a:lnTo>
                  <a:lnTo>
                    <a:pt x="231" y="210"/>
                  </a:lnTo>
                  <a:lnTo>
                    <a:pt x="225" y="208"/>
                  </a:lnTo>
                  <a:lnTo>
                    <a:pt x="221" y="208"/>
                  </a:lnTo>
                  <a:lnTo>
                    <a:pt x="217" y="207"/>
                  </a:lnTo>
                  <a:lnTo>
                    <a:pt x="206" y="205"/>
                  </a:lnTo>
                  <a:lnTo>
                    <a:pt x="200" y="202"/>
                  </a:lnTo>
                  <a:lnTo>
                    <a:pt x="199" y="200"/>
                  </a:lnTo>
                  <a:lnTo>
                    <a:pt x="190" y="200"/>
                  </a:lnTo>
                  <a:lnTo>
                    <a:pt x="179" y="206"/>
                  </a:lnTo>
                  <a:lnTo>
                    <a:pt x="171" y="210"/>
                  </a:lnTo>
                  <a:lnTo>
                    <a:pt x="160" y="212"/>
                  </a:lnTo>
                  <a:lnTo>
                    <a:pt x="153" y="214"/>
                  </a:lnTo>
                  <a:lnTo>
                    <a:pt x="136" y="216"/>
                  </a:lnTo>
                  <a:lnTo>
                    <a:pt x="129" y="220"/>
                  </a:lnTo>
                  <a:lnTo>
                    <a:pt x="123" y="220"/>
                  </a:lnTo>
                  <a:lnTo>
                    <a:pt x="119" y="219"/>
                  </a:lnTo>
                  <a:lnTo>
                    <a:pt x="108" y="216"/>
                  </a:lnTo>
                  <a:lnTo>
                    <a:pt x="102" y="213"/>
                  </a:lnTo>
                  <a:lnTo>
                    <a:pt x="100" y="208"/>
                  </a:lnTo>
                  <a:lnTo>
                    <a:pt x="101" y="202"/>
                  </a:lnTo>
                  <a:lnTo>
                    <a:pt x="106" y="200"/>
                  </a:lnTo>
                  <a:lnTo>
                    <a:pt x="109" y="198"/>
                  </a:lnTo>
                  <a:lnTo>
                    <a:pt x="111" y="194"/>
                  </a:lnTo>
                  <a:lnTo>
                    <a:pt x="108" y="188"/>
                  </a:lnTo>
                  <a:lnTo>
                    <a:pt x="113" y="188"/>
                  </a:lnTo>
                  <a:lnTo>
                    <a:pt x="121" y="188"/>
                  </a:lnTo>
                  <a:lnTo>
                    <a:pt x="126" y="187"/>
                  </a:lnTo>
                  <a:lnTo>
                    <a:pt x="131" y="188"/>
                  </a:lnTo>
                  <a:lnTo>
                    <a:pt x="135" y="186"/>
                  </a:lnTo>
                  <a:lnTo>
                    <a:pt x="136" y="181"/>
                  </a:lnTo>
                  <a:lnTo>
                    <a:pt x="138" y="178"/>
                  </a:lnTo>
                  <a:lnTo>
                    <a:pt x="142" y="175"/>
                  </a:lnTo>
                  <a:lnTo>
                    <a:pt x="142" y="172"/>
                  </a:lnTo>
                  <a:lnTo>
                    <a:pt x="144" y="171"/>
                  </a:lnTo>
                  <a:lnTo>
                    <a:pt x="153" y="170"/>
                  </a:lnTo>
                  <a:lnTo>
                    <a:pt x="154" y="169"/>
                  </a:lnTo>
                  <a:lnTo>
                    <a:pt x="155" y="166"/>
                  </a:lnTo>
                  <a:lnTo>
                    <a:pt x="150" y="160"/>
                  </a:lnTo>
                  <a:lnTo>
                    <a:pt x="143" y="158"/>
                  </a:lnTo>
                  <a:lnTo>
                    <a:pt x="143" y="160"/>
                  </a:lnTo>
                  <a:lnTo>
                    <a:pt x="142" y="162"/>
                  </a:lnTo>
                  <a:lnTo>
                    <a:pt x="137" y="160"/>
                  </a:lnTo>
                  <a:lnTo>
                    <a:pt x="128" y="160"/>
                  </a:lnTo>
                  <a:lnTo>
                    <a:pt x="125" y="159"/>
                  </a:lnTo>
                  <a:lnTo>
                    <a:pt x="125" y="156"/>
                  </a:lnTo>
                  <a:lnTo>
                    <a:pt x="128" y="151"/>
                  </a:lnTo>
                  <a:lnTo>
                    <a:pt x="131" y="148"/>
                  </a:lnTo>
                  <a:lnTo>
                    <a:pt x="132" y="144"/>
                  </a:lnTo>
                  <a:lnTo>
                    <a:pt x="132" y="140"/>
                  </a:lnTo>
                  <a:lnTo>
                    <a:pt x="131" y="134"/>
                  </a:lnTo>
                  <a:lnTo>
                    <a:pt x="132" y="130"/>
                  </a:lnTo>
                  <a:lnTo>
                    <a:pt x="134" y="127"/>
                  </a:lnTo>
                  <a:lnTo>
                    <a:pt x="137" y="127"/>
                  </a:lnTo>
                  <a:lnTo>
                    <a:pt x="143" y="129"/>
                  </a:lnTo>
                  <a:lnTo>
                    <a:pt x="152" y="128"/>
                  </a:lnTo>
                  <a:lnTo>
                    <a:pt x="156" y="127"/>
                  </a:lnTo>
                  <a:lnTo>
                    <a:pt x="160" y="124"/>
                  </a:lnTo>
                  <a:lnTo>
                    <a:pt x="162" y="118"/>
                  </a:lnTo>
                  <a:lnTo>
                    <a:pt x="166" y="118"/>
                  </a:lnTo>
                  <a:lnTo>
                    <a:pt x="171" y="121"/>
                  </a:lnTo>
                  <a:lnTo>
                    <a:pt x="176" y="121"/>
                  </a:lnTo>
                  <a:lnTo>
                    <a:pt x="182" y="119"/>
                  </a:lnTo>
                  <a:lnTo>
                    <a:pt x="188" y="116"/>
                  </a:lnTo>
                  <a:lnTo>
                    <a:pt x="189" y="113"/>
                  </a:lnTo>
                  <a:lnTo>
                    <a:pt x="184" y="113"/>
                  </a:lnTo>
                  <a:lnTo>
                    <a:pt x="176" y="116"/>
                  </a:lnTo>
                  <a:lnTo>
                    <a:pt x="173" y="112"/>
                  </a:lnTo>
                  <a:lnTo>
                    <a:pt x="173" y="105"/>
                  </a:lnTo>
                  <a:lnTo>
                    <a:pt x="170" y="105"/>
                  </a:lnTo>
                  <a:lnTo>
                    <a:pt x="168" y="104"/>
                  </a:lnTo>
                  <a:lnTo>
                    <a:pt x="171" y="100"/>
                  </a:lnTo>
                  <a:lnTo>
                    <a:pt x="177" y="93"/>
                  </a:lnTo>
                  <a:lnTo>
                    <a:pt x="178" y="91"/>
                  </a:lnTo>
                  <a:lnTo>
                    <a:pt x="180" y="89"/>
                  </a:lnTo>
                  <a:lnTo>
                    <a:pt x="187" y="91"/>
                  </a:lnTo>
                  <a:lnTo>
                    <a:pt x="195" y="92"/>
                  </a:lnTo>
                  <a:lnTo>
                    <a:pt x="197" y="92"/>
                  </a:lnTo>
                  <a:lnTo>
                    <a:pt x="197" y="94"/>
                  </a:lnTo>
                  <a:lnTo>
                    <a:pt x="199" y="99"/>
                  </a:lnTo>
                  <a:lnTo>
                    <a:pt x="202" y="100"/>
                  </a:lnTo>
                  <a:lnTo>
                    <a:pt x="207" y="99"/>
                  </a:lnTo>
                  <a:lnTo>
                    <a:pt x="208" y="100"/>
                  </a:lnTo>
                  <a:lnTo>
                    <a:pt x="209" y="103"/>
                  </a:lnTo>
                  <a:lnTo>
                    <a:pt x="211" y="100"/>
                  </a:lnTo>
                  <a:lnTo>
                    <a:pt x="213" y="94"/>
                  </a:lnTo>
                  <a:lnTo>
                    <a:pt x="214" y="91"/>
                  </a:lnTo>
                  <a:lnTo>
                    <a:pt x="221" y="83"/>
                  </a:lnTo>
                  <a:lnTo>
                    <a:pt x="227" y="80"/>
                  </a:lnTo>
                  <a:lnTo>
                    <a:pt x="230" y="80"/>
                  </a:lnTo>
                  <a:lnTo>
                    <a:pt x="232" y="80"/>
                  </a:lnTo>
                  <a:lnTo>
                    <a:pt x="236" y="79"/>
                  </a:lnTo>
                  <a:lnTo>
                    <a:pt x="242" y="74"/>
                  </a:lnTo>
                  <a:lnTo>
                    <a:pt x="246" y="73"/>
                  </a:lnTo>
                  <a:lnTo>
                    <a:pt x="254" y="68"/>
                  </a:lnTo>
                  <a:lnTo>
                    <a:pt x="258" y="67"/>
                  </a:lnTo>
                  <a:lnTo>
                    <a:pt x="259" y="65"/>
                  </a:lnTo>
                  <a:lnTo>
                    <a:pt x="255" y="61"/>
                  </a:lnTo>
                  <a:lnTo>
                    <a:pt x="253" y="57"/>
                  </a:lnTo>
                  <a:lnTo>
                    <a:pt x="250" y="56"/>
                  </a:lnTo>
                  <a:lnTo>
                    <a:pt x="252" y="53"/>
                  </a:lnTo>
                  <a:lnTo>
                    <a:pt x="254" y="46"/>
                  </a:lnTo>
                  <a:lnTo>
                    <a:pt x="256" y="43"/>
                  </a:lnTo>
                  <a:lnTo>
                    <a:pt x="259" y="41"/>
                  </a:lnTo>
                  <a:lnTo>
                    <a:pt x="259" y="39"/>
                  </a:lnTo>
                  <a:lnTo>
                    <a:pt x="254" y="37"/>
                  </a:lnTo>
                  <a:lnTo>
                    <a:pt x="254" y="33"/>
                  </a:lnTo>
                  <a:lnTo>
                    <a:pt x="259" y="28"/>
                  </a:lnTo>
                  <a:lnTo>
                    <a:pt x="261" y="27"/>
                  </a:lnTo>
                  <a:lnTo>
                    <a:pt x="266" y="28"/>
                  </a:lnTo>
                  <a:lnTo>
                    <a:pt x="272" y="26"/>
                  </a:lnTo>
                  <a:lnTo>
                    <a:pt x="274" y="23"/>
                  </a:lnTo>
                  <a:lnTo>
                    <a:pt x="271" y="20"/>
                  </a:lnTo>
                  <a:lnTo>
                    <a:pt x="271" y="19"/>
                  </a:lnTo>
                  <a:lnTo>
                    <a:pt x="273" y="17"/>
                  </a:lnTo>
                  <a:lnTo>
                    <a:pt x="280" y="17"/>
                  </a:lnTo>
                  <a:lnTo>
                    <a:pt x="288" y="19"/>
                  </a:lnTo>
                  <a:lnTo>
                    <a:pt x="292" y="17"/>
                  </a:lnTo>
                  <a:lnTo>
                    <a:pt x="296" y="19"/>
                  </a:lnTo>
                  <a:lnTo>
                    <a:pt x="300" y="19"/>
                  </a:lnTo>
                  <a:lnTo>
                    <a:pt x="302" y="16"/>
                  </a:lnTo>
                  <a:lnTo>
                    <a:pt x="306" y="12"/>
                  </a:lnTo>
                  <a:lnTo>
                    <a:pt x="307" y="9"/>
                  </a:lnTo>
                  <a:lnTo>
                    <a:pt x="309" y="8"/>
                  </a:lnTo>
                  <a:lnTo>
                    <a:pt x="309" y="6"/>
                  </a:lnTo>
                  <a:lnTo>
                    <a:pt x="313" y="6"/>
                  </a:lnTo>
                  <a:lnTo>
                    <a:pt x="319" y="6"/>
                  </a:lnTo>
                  <a:lnTo>
                    <a:pt x="324" y="10"/>
                  </a:lnTo>
                  <a:lnTo>
                    <a:pt x="327" y="15"/>
                  </a:lnTo>
                  <a:lnTo>
                    <a:pt x="331" y="15"/>
                  </a:lnTo>
                  <a:lnTo>
                    <a:pt x="333" y="15"/>
                  </a:lnTo>
                  <a:lnTo>
                    <a:pt x="337" y="11"/>
                  </a:lnTo>
                  <a:lnTo>
                    <a:pt x="342" y="6"/>
                  </a:lnTo>
                  <a:lnTo>
                    <a:pt x="347" y="4"/>
                  </a:lnTo>
                  <a:lnTo>
                    <a:pt x="359" y="0"/>
                  </a:lnTo>
                  <a:lnTo>
                    <a:pt x="360" y="0"/>
                  </a:lnTo>
                  <a:lnTo>
                    <a:pt x="362" y="3"/>
                  </a:lnTo>
                  <a:lnTo>
                    <a:pt x="371" y="8"/>
                  </a:lnTo>
                  <a:lnTo>
                    <a:pt x="374" y="14"/>
                  </a:lnTo>
                  <a:lnTo>
                    <a:pt x="377" y="15"/>
                  </a:lnTo>
                  <a:lnTo>
                    <a:pt x="382" y="11"/>
                  </a:lnTo>
                  <a:lnTo>
                    <a:pt x="384" y="11"/>
                  </a:lnTo>
                  <a:lnTo>
                    <a:pt x="388" y="14"/>
                  </a:lnTo>
                  <a:lnTo>
                    <a:pt x="390" y="19"/>
                  </a:lnTo>
                  <a:lnTo>
                    <a:pt x="392" y="20"/>
                  </a:lnTo>
                  <a:lnTo>
                    <a:pt x="396" y="21"/>
                  </a:lnTo>
                  <a:lnTo>
                    <a:pt x="395" y="23"/>
                  </a:lnTo>
                  <a:lnTo>
                    <a:pt x="396" y="22"/>
                  </a:lnTo>
                  <a:lnTo>
                    <a:pt x="404" y="15"/>
                  </a:lnTo>
                  <a:lnTo>
                    <a:pt x="406" y="10"/>
                  </a:lnTo>
                  <a:lnTo>
                    <a:pt x="408" y="9"/>
                  </a:lnTo>
                  <a:lnTo>
                    <a:pt x="412" y="11"/>
                  </a:lnTo>
                  <a:lnTo>
                    <a:pt x="423" y="21"/>
                  </a:lnTo>
                  <a:lnTo>
                    <a:pt x="425" y="23"/>
                  </a:lnTo>
                  <a:lnTo>
                    <a:pt x="426" y="27"/>
                  </a:lnTo>
                  <a:lnTo>
                    <a:pt x="427" y="33"/>
                  </a:lnTo>
                  <a:lnTo>
                    <a:pt x="429" y="39"/>
                  </a:lnTo>
                  <a:lnTo>
                    <a:pt x="429" y="43"/>
                  </a:lnTo>
                  <a:lnTo>
                    <a:pt x="426" y="47"/>
                  </a:lnTo>
                  <a:lnTo>
                    <a:pt x="423" y="51"/>
                  </a:lnTo>
                  <a:lnTo>
                    <a:pt x="421" y="55"/>
                  </a:lnTo>
                  <a:lnTo>
                    <a:pt x="421" y="57"/>
                  </a:lnTo>
                  <a:lnTo>
                    <a:pt x="423" y="62"/>
                  </a:lnTo>
                  <a:lnTo>
                    <a:pt x="427" y="67"/>
                  </a:lnTo>
                  <a:lnTo>
                    <a:pt x="430" y="65"/>
                  </a:lnTo>
                  <a:lnTo>
                    <a:pt x="432" y="63"/>
                  </a:lnTo>
                  <a:lnTo>
                    <a:pt x="436" y="61"/>
                  </a:lnTo>
                  <a:lnTo>
                    <a:pt x="437" y="64"/>
                  </a:lnTo>
                  <a:lnTo>
                    <a:pt x="437" y="70"/>
                  </a:lnTo>
                  <a:lnTo>
                    <a:pt x="433" y="74"/>
                  </a:lnTo>
                  <a:lnTo>
                    <a:pt x="431" y="76"/>
                  </a:lnTo>
                  <a:lnTo>
                    <a:pt x="430" y="77"/>
                  </a:lnTo>
                  <a:lnTo>
                    <a:pt x="429" y="80"/>
                  </a:lnTo>
                  <a:lnTo>
                    <a:pt x="430" y="81"/>
                  </a:lnTo>
                  <a:lnTo>
                    <a:pt x="436" y="81"/>
                  </a:lnTo>
                  <a:lnTo>
                    <a:pt x="436" y="83"/>
                  </a:lnTo>
                  <a:lnTo>
                    <a:pt x="439" y="85"/>
                  </a:lnTo>
                  <a:lnTo>
                    <a:pt x="445" y="87"/>
                  </a:lnTo>
                  <a:lnTo>
                    <a:pt x="450" y="85"/>
                  </a:lnTo>
                  <a:lnTo>
                    <a:pt x="456" y="82"/>
                  </a:lnTo>
                  <a:lnTo>
                    <a:pt x="459" y="80"/>
                  </a:lnTo>
                  <a:lnTo>
                    <a:pt x="459" y="77"/>
                  </a:lnTo>
                  <a:lnTo>
                    <a:pt x="460" y="76"/>
                  </a:lnTo>
                  <a:lnTo>
                    <a:pt x="456" y="75"/>
                  </a:lnTo>
                  <a:lnTo>
                    <a:pt x="451" y="71"/>
                  </a:lnTo>
                  <a:lnTo>
                    <a:pt x="449" y="67"/>
                  </a:lnTo>
                  <a:lnTo>
                    <a:pt x="450" y="63"/>
                  </a:lnTo>
                  <a:lnTo>
                    <a:pt x="453" y="62"/>
                  </a:lnTo>
                  <a:lnTo>
                    <a:pt x="460" y="64"/>
                  </a:lnTo>
                  <a:lnTo>
                    <a:pt x="465" y="68"/>
                  </a:lnTo>
                  <a:lnTo>
                    <a:pt x="465" y="70"/>
                  </a:lnTo>
                  <a:lnTo>
                    <a:pt x="466" y="74"/>
                  </a:lnTo>
                  <a:lnTo>
                    <a:pt x="468" y="74"/>
                  </a:lnTo>
                  <a:lnTo>
                    <a:pt x="473" y="70"/>
                  </a:lnTo>
                  <a:lnTo>
                    <a:pt x="478" y="68"/>
                  </a:lnTo>
                  <a:lnTo>
                    <a:pt x="485" y="64"/>
                  </a:lnTo>
                  <a:lnTo>
                    <a:pt x="489" y="64"/>
                  </a:lnTo>
                  <a:lnTo>
                    <a:pt x="491" y="67"/>
                  </a:lnTo>
                  <a:lnTo>
                    <a:pt x="494" y="76"/>
                  </a:lnTo>
                  <a:lnTo>
                    <a:pt x="495" y="80"/>
                  </a:lnTo>
                  <a:lnTo>
                    <a:pt x="497" y="80"/>
                  </a:lnTo>
                  <a:lnTo>
                    <a:pt x="500" y="77"/>
                  </a:lnTo>
                  <a:lnTo>
                    <a:pt x="504" y="76"/>
                  </a:lnTo>
                  <a:lnTo>
                    <a:pt x="513" y="76"/>
                  </a:lnTo>
                  <a:lnTo>
                    <a:pt x="513" y="80"/>
                  </a:lnTo>
                  <a:lnTo>
                    <a:pt x="513" y="83"/>
                  </a:lnTo>
                  <a:lnTo>
                    <a:pt x="514" y="85"/>
                  </a:lnTo>
                  <a:lnTo>
                    <a:pt x="516" y="87"/>
                  </a:lnTo>
                  <a:lnTo>
                    <a:pt x="515" y="91"/>
                  </a:lnTo>
                  <a:lnTo>
                    <a:pt x="515" y="93"/>
                  </a:lnTo>
                  <a:lnTo>
                    <a:pt x="514" y="95"/>
                  </a:lnTo>
                  <a:lnTo>
                    <a:pt x="512" y="95"/>
                  </a:lnTo>
                  <a:lnTo>
                    <a:pt x="512" y="99"/>
                  </a:lnTo>
                  <a:lnTo>
                    <a:pt x="510" y="107"/>
                  </a:lnTo>
                  <a:lnTo>
                    <a:pt x="502" y="107"/>
                  </a:lnTo>
                  <a:lnTo>
                    <a:pt x="501" y="106"/>
                  </a:lnTo>
                  <a:lnTo>
                    <a:pt x="498" y="107"/>
                  </a:lnTo>
                  <a:lnTo>
                    <a:pt x="496" y="110"/>
                  </a:lnTo>
                  <a:lnTo>
                    <a:pt x="494" y="112"/>
                  </a:lnTo>
                  <a:lnTo>
                    <a:pt x="495" y="117"/>
                  </a:lnTo>
                  <a:lnTo>
                    <a:pt x="495" y="115"/>
                  </a:lnTo>
                  <a:lnTo>
                    <a:pt x="498" y="113"/>
                  </a:lnTo>
                  <a:lnTo>
                    <a:pt x="506" y="113"/>
                  </a:lnTo>
                  <a:lnTo>
                    <a:pt x="510" y="112"/>
                  </a:lnTo>
                  <a:lnTo>
                    <a:pt x="513" y="115"/>
                  </a:lnTo>
                  <a:lnTo>
                    <a:pt x="514" y="118"/>
                  </a:lnTo>
                  <a:lnTo>
                    <a:pt x="515" y="117"/>
                  </a:lnTo>
                  <a:lnTo>
                    <a:pt x="518" y="111"/>
                  </a:lnTo>
                  <a:lnTo>
                    <a:pt x="519" y="109"/>
                  </a:lnTo>
                  <a:lnTo>
                    <a:pt x="524" y="107"/>
                  </a:lnTo>
                  <a:lnTo>
                    <a:pt x="527" y="106"/>
                  </a:lnTo>
                  <a:lnTo>
                    <a:pt x="532" y="107"/>
                  </a:lnTo>
                  <a:lnTo>
                    <a:pt x="537" y="110"/>
                  </a:lnTo>
                  <a:lnTo>
                    <a:pt x="543" y="113"/>
                  </a:lnTo>
                  <a:lnTo>
                    <a:pt x="553" y="113"/>
                  </a:lnTo>
                  <a:lnTo>
                    <a:pt x="557" y="115"/>
                  </a:lnTo>
                  <a:lnTo>
                    <a:pt x="557" y="117"/>
                  </a:lnTo>
                  <a:lnTo>
                    <a:pt x="556" y="119"/>
                  </a:lnTo>
                  <a:lnTo>
                    <a:pt x="559" y="121"/>
                  </a:lnTo>
                  <a:lnTo>
                    <a:pt x="563" y="121"/>
                  </a:lnTo>
                  <a:lnTo>
                    <a:pt x="565" y="119"/>
                  </a:lnTo>
                  <a:lnTo>
                    <a:pt x="567" y="111"/>
                  </a:lnTo>
                  <a:lnTo>
                    <a:pt x="571" y="107"/>
                  </a:lnTo>
                  <a:lnTo>
                    <a:pt x="574" y="105"/>
                  </a:lnTo>
                  <a:lnTo>
                    <a:pt x="578" y="105"/>
                  </a:lnTo>
                  <a:lnTo>
                    <a:pt x="585" y="105"/>
                  </a:lnTo>
                  <a:lnTo>
                    <a:pt x="589" y="103"/>
                  </a:lnTo>
                  <a:lnTo>
                    <a:pt x="592" y="100"/>
                  </a:lnTo>
                  <a:lnTo>
                    <a:pt x="597" y="101"/>
                  </a:lnTo>
                  <a:lnTo>
                    <a:pt x="603" y="103"/>
                  </a:lnTo>
                  <a:lnTo>
                    <a:pt x="607" y="101"/>
                  </a:lnTo>
                  <a:lnTo>
                    <a:pt x="609" y="105"/>
                  </a:lnTo>
                  <a:lnTo>
                    <a:pt x="613" y="105"/>
                  </a:lnTo>
                  <a:lnTo>
                    <a:pt x="615" y="103"/>
                  </a:lnTo>
                  <a:lnTo>
                    <a:pt x="619" y="103"/>
                  </a:lnTo>
                  <a:lnTo>
                    <a:pt x="622" y="106"/>
                  </a:lnTo>
                  <a:lnTo>
                    <a:pt x="628" y="106"/>
                  </a:lnTo>
                  <a:lnTo>
                    <a:pt x="638" y="100"/>
                  </a:lnTo>
                  <a:lnTo>
                    <a:pt x="643" y="97"/>
                  </a:lnTo>
                  <a:lnTo>
                    <a:pt x="648" y="97"/>
                  </a:lnTo>
                  <a:lnTo>
                    <a:pt x="654" y="95"/>
                  </a:lnTo>
                  <a:lnTo>
                    <a:pt x="655" y="99"/>
                  </a:lnTo>
                  <a:lnTo>
                    <a:pt x="654" y="105"/>
                  </a:lnTo>
                  <a:lnTo>
                    <a:pt x="652" y="106"/>
                  </a:lnTo>
                  <a:lnTo>
                    <a:pt x="655" y="109"/>
                  </a:lnTo>
                  <a:lnTo>
                    <a:pt x="661" y="111"/>
                  </a:lnTo>
                  <a:lnTo>
                    <a:pt x="662" y="112"/>
                  </a:lnTo>
                  <a:lnTo>
                    <a:pt x="661" y="115"/>
                  </a:lnTo>
                  <a:lnTo>
                    <a:pt x="662" y="116"/>
                  </a:lnTo>
                  <a:lnTo>
                    <a:pt x="665" y="117"/>
                  </a:lnTo>
                  <a:lnTo>
                    <a:pt x="667" y="116"/>
                  </a:lnTo>
                  <a:lnTo>
                    <a:pt x="668" y="112"/>
                  </a:lnTo>
                  <a:lnTo>
                    <a:pt x="672" y="113"/>
                  </a:lnTo>
                  <a:lnTo>
                    <a:pt x="675" y="119"/>
                  </a:lnTo>
                  <a:lnTo>
                    <a:pt x="680" y="126"/>
                  </a:lnTo>
                  <a:lnTo>
                    <a:pt x="680" y="129"/>
                  </a:lnTo>
                  <a:lnTo>
                    <a:pt x="684" y="130"/>
                  </a:lnTo>
                  <a:lnTo>
                    <a:pt x="686" y="129"/>
                  </a:lnTo>
                  <a:lnTo>
                    <a:pt x="690" y="128"/>
                  </a:lnTo>
                  <a:lnTo>
                    <a:pt x="697" y="130"/>
                  </a:lnTo>
                  <a:lnTo>
                    <a:pt x="702" y="133"/>
                  </a:lnTo>
                  <a:lnTo>
                    <a:pt x="704" y="128"/>
                  </a:lnTo>
                  <a:lnTo>
                    <a:pt x="705" y="127"/>
                  </a:lnTo>
                  <a:lnTo>
                    <a:pt x="708" y="128"/>
                  </a:lnTo>
                  <a:lnTo>
                    <a:pt x="714" y="134"/>
                  </a:lnTo>
                  <a:lnTo>
                    <a:pt x="717" y="135"/>
                  </a:lnTo>
                  <a:lnTo>
                    <a:pt x="724" y="136"/>
                  </a:lnTo>
                  <a:lnTo>
                    <a:pt x="731" y="138"/>
                  </a:lnTo>
                  <a:lnTo>
                    <a:pt x="736" y="136"/>
                  </a:lnTo>
                  <a:lnTo>
                    <a:pt x="737" y="133"/>
                  </a:lnTo>
                  <a:lnTo>
                    <a:pt x="742" y="133"/>
                  </a:lnTo>
                  <a:lnTo>
                    <a:pt x="748" y="138"/>
                  </a:lnTo>
                  <a:lnTo>
                    <a:pt x="754" y="138"/>
                  </a:lnTo>
                  <a:lnTo>
                    <a:pt x="763" y="136"/>
                  </a:lnTo>
                  <a:lnTo>
                    <a:pt x="773" y="136"/>
                  </a:lnTo>
                  <a:lnTo>
                    <a:pt x="780" y="139"/>
                  </a:lnTo>
                  <a:lnTo>
                    <a:pt x="785" y="138"/>
                  </a:lnTo>
                  <a:lnTo>
                    <a:pt x="789" y="134"/>
                  </a:lnTo>
                  <a:lnTo>
                    <a:pt x="790" y="134"/>
                  </a:lnTo>
                  <a:lnTo>
                    <a:pt x="790" y="138"/>
                  </a:lnTo>
                  <a:lnTo>
                    <a:pt x="789" y="145"/>
                  </a:lnTo>
                  <a:lnTo>
                    <a:pt x="787" y="150"/>
                  </a:lnTo>
                  <a:lnTo>
                    <a:pt x="786" y="153"/>
                  </a:lnTo>
                  <a:lnTo>
                    <a:pt x="789" y="154"/>
                  </a:lnTo>
                  <a:lnTo>
                    <a:pt x="791" y="154"/>
                  </a:lnTo>
                  <a:lnTo>
                    <a:pt x="793" y="156"/>
                  </a:lnTo>
                  <a:lnTo>
                    <a:pt x="798" y="157"/>
                  </a:lnTo>
                  <a:lnTo>
                    <a:pt x="802" y="157"/>
                  </a:lnTo>
                  <a:lnTo>
                    <a:pt x="804" y="157"/>
                  </a:lnTo>
                  <a:lnTo>
                    <a:pt x="804" y="156"/>
                  </a:lnTo>
                  <a:lnTo>
                    <a:pt x="801" y="152"/>
                  </a:lnTo>
                  <a:lnTo>
                    <a:pt x="801" y="151"/>
                  </a:lnTo>
                  <a:lnTo>
                    <a:pt x="804" y="150"/>
                  </a:lnTo>
                  <a:lnTo>
                    <a:pt x="813" y="146"/>
                  </a:lnTo>
                  <a:lnTo>
                    <a:pt x="817" y="147"/>
                  </a:lnTo>
                  <a:lnTo>
                    <a:pt x="820" y="152"/>
                  </a:lnTo>
                  <a:lnTo>
                    <a:pt x="821" y="153"/>
                  </a:lnTo>
                  <a:lnTo>
                    <a:pt x="823" y="151"/>
                  </a:lnTo>
                  <a:lnTo>
                    <a:pt x="823" y="153"/>
                  </a:lnTo>
                  <a:lnTo>
                    <a:pt x="823" y="164"/>
                  </a:lnTo>
                  <a:lnTo>
                    <a:pt x="821" y="170"/>
                  </a:lnTo>
                  <a:lnTo>
                    <a:pt x="821" y="171"/>
                  </a:lnTo>
                  <a:lnTo>
                    <a:pt x="819" y="172"/>
                  </a:lnTo>
                  <a:lnTo>
                    <a:pt x="813" y="171"/>
                  </a:lnTo>
                  <a:lnTo>
                    <a:pt x="811" y="176"/>
                  </a:lnTo>
                  <a:lnTo>
                    <a:pt x="813" y="177"/>
                  </a:lnTo>
                  <a:lnTo>
                    <a:pt x="809" y="177"/>
                  </a:lnTo>
                  <a:lnTo>
                    <a:pt x="801" y="175"/>
                  </a:lnTo>
                  <a:lnTo>
                    <a:pt x="801" y="180"/>
                  </a:lnTo>
                  <a:lnTo>
                    <a:pt x="801" y="183"/>
                  </a:lnTo>
                  <a:lnTo>
                    <a:pt x="797" y="183"/>
                  </a:lnTo>
                  <a:lnTo>
                    <a:pt x="792" y="180"/>
                  </a:lnTo>
                  <a:lnTo>
                    <a:pt x="790" y="180"/>
                  </a:lnTo>
                  <a:lnTo>
                    <a:pt x="786" y="181"/>
                  </a:lnTo>
                  <a:lnTo>
                    <a:pt x="780" y="183"/>
                  </a:lnTo>
                  <a:lnTo>
                    <a:pt x="778" y="183"/>
                  </a:lnTo>
                  <a:lnTo>
                    <a:pt x="778" y="184"/>
                  </a:lnTo>
                  <a:lnTo>
                    <a:pt x="780" y="188"/>
                  </a:lnTo>
                  <a:lnTo>
                    <a:pt x="784" y="186"/>
                  </a:lnTo>
                  <a:lnTo>
                    <a:pt x="790" y="183"/>
                  </a:lnTo>
                  <a:lnTo>
                    <a:pt x="791" y="183"/>
                  </a:lnTo>
                  <a:lnTo>
                    <a:pt x="795" y="184"/>
                  </a:lnTo>
                  <a:lnTo>
                    <a:pt x="802" y="188"/>
                  </a:lnTo>
                  <a:lnTo>
                    <a:pt x="804" y="190"/>
                  </a:lnTo>
                  <a:lnTo>
                    <a:pt x="810" y="192"/>
                  </a:lnTo>
                  <a:lnTo>
                    <a:pt x="811" y="194"/>
                  </a:lnTo>
                  <a:lnTo>
                    <a:pt x="811" y="196"/>
                  </a:lnTo>
                  <a:lnTo>
                    <a:pt x="815" y="204"/>
                  </a:lnTo>
                  <a:lnTo>
                    <a:pt x="826" y="206"/>
                  </a:lnTo>
                  <a:lnTo>
                    <a:pt x="833" y="213"/>
                  </a:lnTo>
                  <a:lnTo>
                    <a:pt x="839" y="214"/>
                  </a:lnTo>
                  <a:lnTo>
                    <a:pt x="838" y="218"/>
                  </a:lnTo>
                  <a:lnTo>
                    <a:pt x="832" y="230"/>
                  </a:lnTo>
                  <a:lnTo>
                    <a:pt x="826" y="231"/>
                  </a:lnTo>
                  <a:lnTo>
                    <a:pt x="823" y="231"/>
                  </a:lnTo>
                  <a:lnTo>
                    <a:pt x="821" y="230"/>
                  </a:lnTo>
                  <a:lnTo>
                    <a:pt x="820" y="229"/>
                  </a:lnTo>
                  <a:lnTo>
                    <a:pt x="815" y="229"/>
                  </a:lnTo>
                  <a:lnTo>
                    <a:pt x="813" y="231"/>
                  </a:lnTo>
                  <a:lnTo>
                    <a:pt x="811" y="231"/>
                  </a:lnTo>
                  <a:lnTo>
                    <a:pt x="803" y="230"/>
                  </a:lnTo>
                  <a:lnTo>
                    <a:pt x="805" y="233"/>
                  </a:lnTo>
                  <a:lnTo>
                    <a:pt x="810" y="234"/>
                  </a:lnTo>
                  <a:lnTo>
                    <a:pt x="815" y="237"/>
                  </a:lnTo>
                  <a:lnTo>
                    <a:pt x="816" y="243"/>
                  </a:lnTo>
                  <a:lnTo>
                    <a:pt x="816" y="248"/>
                  </a:lnTo>
                  <a:lnTo>
                    <a:pt x="816" y="251"/>
                  </a:lnTo>
                  <a:lnTo>
                    <a:pt x="814" y="251"/>
                  </a:lnTo>
                  <a:lnTo>
                    <a:pt x="805" y="247"/>
                  </a:lnTo>
                  <a:lnTo>
                    <a:pt x="797" y="245"/>
                  </a:lnTo>
                  <a:lnTo>
                    <a:pt x="791" y="243"/>
                  </a:lnTo>
                  <a:lnTo>
                    <a:pt x="790" y="241"/>
                  </a:lnTo>
                  <a:lnTo>
                    <a:pt x="790" y="245"/>
                  </a:lnTo>
                  <a:lnTo>
                    <a:pt x="787" y="246"/>
                  </a:lnTo>
                  <a:lnTo>
                    <a:pt x="785" y="242"/>
                  </a:lnTo>
                  <a:lnTo>
                    <a:pt x="775" y="231"/>
                  </a:lnTo>
                  <a:lnTo>
                    <a:pt x="773" y="230"/>
                  </a:lnTo>
                  <a:lnTo>
                    <a:pt x="769" y="230"/>
                  </a:lnTo>
                  <a:lnTo>
                    <a:pt x="768" y="231"/>
                  </a:lnTo>
                  <a:lnTo>
                    <a:pt x="766" y="234"/>
                  </a:lnTo>
                  <a:lnTo>
                    <a:pt x="758" y="233"/>
                  </a:lnTo>
                  <a:lnTo>
                    <a:pt x="755" y="234"/>
                  </a:lnTo>
                  <a:lnTo>
                    <a:pt x="756" y="239"/>
                  </a:lnTo>
                  <a:lnTo>
                    <a:pt x="760" y="243"/>
                  </a:lnTo>
                  <a:lnTo>
                    <a:pt x="766" y="245"/>
                  </a:lnTo>
                  <a:lnTo>
                    <a:pt x="774" y="251"/>
                  </a:lnTo>
                  <a:lnTo>
                    <a:pt x="774" y="252"/>
                  </a:lnTo>
                  <a:lnTo>
                    <a:pt x="775" y="254"/>
                  </a:lnTo>
                  <a:lnTo>
                    <a:pt x="781" y="261"/>
                  </a:lnTo>
                  <a:lnTo>
                    <a:pt x="783" y="263"/>
                  </a:lnTo>
                  <a:lnTo>
                    <a:pt x="781" y="265"/>
                  </a:lnTo>
                  <a:lnTo>
                    <a:pt x="776" y="265"/>
                  </a:lnTo>
                  <a:lnTo>
                    <a:pt x="767" y="263"/>
                  </a:lnTo>
                  <a:lnTo>
                    <a:pt x="762" y="263"/>
                  </a:lnTo>
                  <a:lnTo>
                    <a:pt x="760" y="259"/>
                  </a:lnTo>
                  <a:lnTo>
                    <a:pt x="760" y="253"/>
                  </a:lnTo>
                  <a:lnTo>
                    <a:pt x="754" y="248"/>
                  </a:lnTo>
                  <a:lnTo>
                    <a:pt x="740" y="245"/>
                  </a:lnTo>
                  <a:lnTo>
                    <a:pt x="739" y="245"/>
                  </a:lnTo>
                  <a:lnTo>
                    <a:pt x="740" y="247"/>
                  </a:lnTo>
                  <a:lnTo>
                    <a:pt x="745" y="252"/>
                  </a:lnTo>
                  <a:lnTo>
                    <a:pt x="746" y="257"/>
                  </a:lnTo>
                  <a:lnTo>
                    <a:pt x="746" y="263"/>
                  </a:lnTo>
                  <a:lnTo>
                    <a:pt x="749" y="261"/>
                  </a:lnTo>
                  <a:lnTo>
                    <a:pt x="754" y="264"/>
                  </a:lnTo>
                  <a:lnTo>
                    <a:pt x="761" y="269"/>
                  </a:lnTo>
                  <a:lnTo>
                    <a:pt x="766" y="272"/>
                  </a:lnTo>
                  <a:lnTo>
                    <a:pt x="768" y="272"/>
                  </a:lnTo>
                  <a:lnTo>
                    <a:pt x="773" y="276"/>
                  </a:lnTo>
                  <a:lnTo>
                    <a:pt x="779" y="282"/>
                  </a:lnTo>
                  <a:lnTo>
                    <a:pt x="781" y="285"/>
                  </a:lnTo>
                  <a:lnTo>
                    <a:pt x="783" y="290"/>
                  </a:lnTo>
                  <a:lnTo>
                    <a:pt x="786" y="295"/>
                  </a:lnTo>
                  <a:lnTo>
                    <a:pt x="789" y="300"/>
                  </a:lnTo>
                  <a:lnTo>
                    <a:pt x="793" y="301"/>
                  </a:lnTo>
                  <a:lnTo>
                    <a:pt x="801" y="300"/>
                  </a:lnTo>
                  <a:lnTo>
                    <a:pt x="804" y="300"/>
                  </a:lnTo>
                  <a:lnTo>
                    <a:pt x="804" y="302"/>
                  </a:lnTo>
                  <a:lnTo>
                    <a:pt x="805" y="308"/>
                  </a:lnTo>
                  <a:lnTo>
                    <a:pt x="807" y="311"/>
                  </a:lnTo>
                  <a:lnTo>
                    <a:pt x="809" y="312"/>
                  </a:lnTo>
                  <a:lnTo>
                    <a:pt x="813" y="309"/>
                  </a:lnTo>
                  <a:lnTo>
                    <a:pt x="815" y="308"/>
                  </a:lnTo>
                  <a:lnTo>
                    <a:pt x="816" y="311"/>
                  </a:lnTo>
                  <a:lnTo>
                    <a:pt x="819" y="314"/>
                  </a:lnTo>
                  <a:lnTo>
                    <a:pt x="820" y="317"/>
                  </a:lnTo>
                  <a:lnTo>
                    <a:pt x="822" y="317"/>
                  </a:lnTo>
                  <a:lnTo>
                    <a:pt x="822" y="320"/>
                  </a:lnTo>
                  <a:lnTo>
                    <a:pt x="822" y="329"/>
                  </a:lnTo>
                  <a:lnTo>
                    <a:pt x="822" y="330"/>
                  </a:lnTo>
                  <a:lnTo>
                    <a:pt x="826" y="331"/>
                  </a:lnTo>
                  <a:lnTo>
                    <a:pt x="829" y="331"/>
                  </a:lnTo>
                  <a:lnTo>
                    <a:pt x="833" y="329"/>
                  </a:lnTo>
                  <a:lnTo>
                    <a:pt x="834" y="325"/>
                  </a:lnTo>
                  <a:lnTo>
                    <a:pt x="838" y="324"/>
                  </a:lnTo>
                  <a:lnTo>
                    <a:pt x="844" y="324"/>
                  </a:lnTo>
                  <a:lnTo>
                    <a:pt x="848" y="323"/>
                  </a:lnTo>
                  <a:lnTo>
                    <a:pt x="849" y="319"/>
                  </a:lnTo>
                  <a:lnTo>
                    <a:pt x="852" y="319"/>
                  </a:lnTo>
                  <a:lnTo>
                    <a:pt x="862" y="319"/>
                  </a:lnTo>
                  <a:lnTo>
                    <a:pt x="864" y="319"/>
                  </a:lnTo>
                  <a:lnTo>
                    <a:pt x="866" y="321"/>
                  </a:lnTo>
                  <a:lnTo>
                    <a:pt x="863" y="331"/>
                  </a:lnTo>
                  <a:lnTo>
                    <a:pt x="866" y="333"/>
                  </a:lnTo>
                  <a:lnTo>
                    <a:pt x="868" y="332"/>
                  </a:lnTo>
                  <a:lnTo>
                    <a:pt x="872" y="331"/>
                  </a:lnTo>
                  <a:lnTo>
                    <a:pt x="879" y="331"/>
                  </a:lnTo>
                  <a:lnTo>
                    <a:pt x="880" y="332"/>
                  </a:lnTo>
                  <a:lnTo>
                    <a:pt x="882" y="329"/>
                  </a:lnTo>
                  <a:lnTo>
                    <a:pt x="886" y="326"/>
                  </a:lnTo>
                  <a:lnTo>
                    <a:pt x="888" y="326"/>
                  </a:lnTo>
                  <a:lnTo>
                    <a:pt x="890" y="327"/>
                  </a:lnTo>
                  <a:lnTo>
                    <a:pt x="890" y="333"/>
                  </a:lnTo>
                  <a:lnTo>
                    <a:pt x="888" y="341"/>
                  </a:lnTo>
                  <a:lnTo>
                    <a:pt x="890" y="343"/>
                  </a:lnTo>
                  <a:lnTo>
                    <a:pt x="892" y="347"/>
                  </a:lnTo>
                  <a:lnTo>
                    <a:pt x="899" y="344"/>
                  </a:lnTo>
                  <a:lnTo>
                    <a:pt x="904" y="340"/>
                  </a:lnTo>
                  <a:lnTo>
                    <a:pt x="909" y="338"/>
                  </a:lnTo>
                  <a:lnTo>
                    <a:pt x="910" y="343"/>
                  </a:lnTo>
                  <a:lnTo>
                    <a:pt x="911" y="347"/>
                  </a:lnTo>
                  <a:lnTo>
                    <a:pt x="917" y="352"/>
                  </a:lnTo>
                  <a:lnTo>
                    <a:pt x="920" y="358"/>
                  </a:lnTo>
                  <a:lnTo>
                    <a:pt x="920" y="360"/>
                  </a:lnTo>
                  <a:lnTo>
                    <a:pt x="916" y="362"/>
                  </a:lnTo>
                  <a:lnTo>
                    <a:pt x="907" y="362"/>
                  </a:lnTo>
                  <a:lnTo>
                    <a:pt x="903" y="362"/>
                  </a:lnTo>
                  <a:lnTo>
                    <a:pt x="900" y="364"/>
                  </a:lnTo>
                  <a:lnTo>
                    <a:pt x="898" y="367"/>
                  </a:lnTo>
                  <a:lnTo>
                    <a:pt x="894" y="371"/>
                  </a:lnTo>
                  <a:lnTo>
                    <a:pt x="893" y="371"/>
                  </a:lnTo>
                  <a:lnTo>
                    <a:pt x="890" y="374"/>
                  </a:lnTo>
                  <a:lnTo>
                    <a:pt x="884" y="378"/>
                  </a:lnTo>
                  <a:lnTo>
                    <a:pt x="878" y="380"/>
                  </a:lnTo>
                  <a:lnTo>
                    <a:pt x="873" y="380"/>
                  </a:lnTo>
                  <a:lnTo>
                    <a:pt x="872" y="383"/>
                  </a:lnTo>
                  <a:lnTo>
                    <a:pt x="869" y="388"/>
                  </a:lnTo>
                  <a:lnTo>
                    <a:pt x="870" y="394"/>
                  </a:lnTo>
                  <a:lnTo>
                    <a:pt x="875" y="397"/>
                  </a:lnTo>
                  <a:lnTo>
                    <a:pt x="874" y="400"/>
                  </a:lnTo>
                  <a:lnTo>
                    <a:pt x="862" y="400"/>
                  </a:lnTo>
                  <a:lnTo>
                    <a:pt x="857" y="400"/>
                  </a:lnTo>
                  <a:lnTo>
                    <a:pt x="855" y="403"/>
                  </a:lnTo>
                  <a:lnTo>
                    <a:pt x="855" y="408"/>
                  </a:lnTo>
                  <a:lnTo>
                    <a:pt x="858" y="409"/>
                  </a:lnTo>
                  <a:lnTo>
                    <a:pt x="870" y="409"/>
                  </a:lnTo>
                  <a:lnTo>
                    <a:pt x="870" y="407"/>
                  </a:lnTo>
                  <a:lnTo>
                    <a:pt x="873" y="407"/>
                  </a:lnTo>
                  <a:lnTo>
                    <a:pt x="879" y="409"/>
                  </a:lnTo>
                  <a:lnTo>
                    <a:pt x="888" y="414"/>
                  </a:lnTo>
                  <a:lnTo>
                    <a:pt x="892" y="413"/>
                  </a:lnTo>
                  <a:lnTo>
                    <a:pt x="893" y="409"/>
                  </a:lnTo>
                  <a:lnTo>
                    <a:pt x="893" y="408"/>
                  </a:lnTo>
                  <a:lnTo>
                    <a:pt x="898" y="409"/>
                  </a:lnTo>
                  <a:lnTo>
                    <a:pt x="907" y="413"/>
                  </a:lnTo>
                  <a:lnTo>
                    <a:pt x="910" y="412"/>
                  </a:lnTo>
                  <a:lnTo>
                    <a:pt x="916" y="407"/>
                  </a:lnTo>
                  <a:lnTo>
                    <a:pt x="920" y="401"/>
                  </a:lnTo>
                  <a:lnTo>
                    <a:pt x="923" y="402"/>
                  </a:lnTo>
                  <a:lnTo>
                    <a:pt x="928" y="407"/>
                  </a:lnTo>
                  <a:lnTo>
                    <a:pt x="926" y="410"/>
                  </a:lnTo>
                  <a:lnTo>
                    <a:pt x="920" y="414"/>
                  </a:lnTo>
                  <a:lnTo>
                    <a:pt x="919" y="415"/>
                  </a:lnTo>
                  <a:lnTo>
                    <a:pt x="921" y="416"/>
                  </a:lnTo>
                  <a:lnTo>
                    <a:pt x="933" y="421"/>
                  </a:lnTo>
                  <a:lnTo>
                    <a:pt x="937" y="421"/>
                  </a:lnTo>
                  <a:lnTo>
                    <a:pt x="939" y="424"/>
                  </a:lnTo>
                  <a:lnTo>
                    <a:pt x="941" y="426"/>
                  </a:lnTo>
                  <a:lnTo>
                    <a:pt x="944" y="427"/>
                  </a:lnTo>
                  <a:lnTo>
                    <a:pt x="945" y="425"/>
                  </a:lnTo>
                  <a:lnTo>
                    <a:pt x="947" y="427"/>
                  </a:lnTo>
                  <a:lnTo>
                    <a:pt x="952" y="434"/>
                  </a:lnTo>
                  <a:lnTo>
                    <a:pt x="953" y="436"/>
                  </a:lnTo>
                  <a:lnTo>
                    <a:pt x="957" y="434"/>
                  </a:lnTo>
                  <a:lnTo>
                    <a:pt x="962" y="432"/>
                  </a:lnTo>
                  <a:lnTo>
                    <a:pt x="963" y="430"/>
                  </a:lnTo>
                  <a:lnTo>
                    <a:pt x="962" y="424"/>
                  </a:lnTo>
                  <a:lnTo>
                    <a:pt x="963" y="418"/>
                  </a:lnTo>
                  <a:lnTo>
                    <a:pt x="962" y="415"/>
                  </a:lnTo>
                  <a:lnTo>
                    <a:pt x="966" y="414"/>
                  </a:lnTo>
                  <a:lnTo>
                    <a:pt x="973" y="413"/>
                  </a:lnTo>
                  <a:lnTo>
                    <a:pt x="974" y="415"/>
                  </a:lnTo>
                  <a:lnTo>
                    <a:pt x="975" y="419"/>
                  </a:lnTo>
                  <a:lnTo>
                    <a:pt x="978" y="420"/>
                  </a:lnTo>
                  <a:lnTo>
                    <a:pt x="982" y="419"/>
                  </a:lnTo>
                  <a:lnTo>
                    <a:pt x="985" y="420"/>
                  </a:lnTo>
                  <a:lnTo>
                    <a:pt x="988" y="422"/>
                  </a:lnTo>
                  <a:lnTo>
                    <a:pt x="990" y="425"/>
                  </a:lnTo>
                  <a:lnTo>
                    <a:pt x="993" y="431"/>
                  </a:lnTo>
                  <a:lnTo>
                    <a:pt x="997" y="438"/>
                  </a:lnTo>
                  <a:lnTo>
                    <a:pt x="992" y="439"/>
                  </a:lnTo>
                  <a:lnTo>
                    <a:pt x="992" y="440"/>
                  </a:lnTo>
                  <a:lnTo>
                    <a:pt x="988" y="442"/>
                  </a:lnTo>
                  <a:lnTo>
                    <a:pt x="980" y="443"/>
                  </a:lnTo>
                  <a:lnTo>
                    <a:pt x="980" y="447"/>
                  </a:lnTo>
                  <a:lnTo>
                    <a:pt x="981" y="445"/>
                  </a:lnTo>
                  <a:lnTo>
                    <a:pt x="984" y="448"/>
                  </a:lnTo>
                  <a:lnTo>
                    <a:pt x="994" y="455"/>
                  </a:lnTo>
                  <a:lnTo>
                    <a:pt x="997" y="455"/>
                  </a:lnTo>
                  <a:lnTo>
                    <a:pt x="997" y="456"/>
                  </a:lnTo>
                  <a:lnTo>
                    <a:pt x="994" y="460"/>
                  </a:lnTo>
                  <a:lnTo>
                    <a:pt x="988" y="465"/>
                  </a:lnTo>
                  <a:lnTo>
                    <a:pt x="988" y="468"/>
                  </a:lnTo>
                  <a:lnTo>
                    <a:pt x="992" y="477"/>
                  </a:lnTo>
                  <a:lnTo>
                    <a:pt x="994" y="481"/>
                  </a:lnTo>
                  <a:lnTo>
                    <a:pt x="993" y="481"/>
                  </a:lnTo>
                  <a:lnTo>
                    <a:pt x="988" y="481"/>
                  </a:lnTo>
                  <a:lnTo>
                    <a:pt x="985" y="480"/>
                  </a:lnTo>
                  <a:lnTo>
                    <a:pt x="984" y="475"/>
                  </a:lnTo>
                  <a:lnTo>
                    <a:pt x="980" y="474"/>
                  </a:lnTo>
                  <a:lnTo>
                    <a:pt x="975" y="474"/>
                  </a:lnTo>
                  <a:lnTo>
                    <a:pt x="973" y="473"/>
                  </a:lnTo>
                  <a:lnTo>
                    <a:pt x="974" y="472"/>
                  </a:lnTo>
                  <a:lnTo>
                    <a:pt x="975" y="471"/>
                  </a:lnTo>
                  <a:lnTo>
                    <a:pt x="970" y="469"/>
                  </a:lnTo>
                  <a:lnTo>
                    <a:pt x="955" y="471"/>
                  </a:lnTo>
                  <a:lnTo>
                    <a:pt x="950" y="474"/>
                  </a:lnTo>
                  <a:lnTo>
                    <a:pt x="951" y="475"/>
                  </a:lnTo>
                  <a:lnTo>
                    <a:pt x="950" y="480"/>
                  </a:lnTo>
                  <a:lnTo>
                    <a:pt x="945" y="483"/>
                  </a:lnTo>
                  <a:lnTo>
                    <a:pt x="946" y="484"/>
                  </a:lnTo>
                  <a:lnTo>
                    <a:pt x="952" y="486"/>
                  </a:lnTo>
                  <a:lnTo>
                    <a:pt x="956" y="491"/>
                  </a:lnTo>
                  <a:lnTo>
                    <a:pt x="957" y="491"/>
                  </a:lnTo>
                  <a:lnTo>
                    <a:pt x="958" y="489"/>
                  </a:lnTo>
                  <a:lnTo>
                    <a:pt x="966" y="478"/>
                  </a:lnTo>
                  <a:lnTo>
                    <a:pt x="970" y="480"/>
                  </a:lnTo>
                  <a:lnTo>
                    <a:pt x="978" y="483"/>
                  </a:lnTo>
                  <a:lnTo>
                    <a:pt x="984" y="486"/>
                  </a:lnTo>
                  <a:lnTo>
                    <a:pt x="987" y="486"/>
                  </a:lnTo>
                  <a:lnTo>
                    <a:pt x="996" y="485"/>
                  </a:lnTo>
                  <a:lnTo>
                    <a:pt x="999" y="485"/>
                  </a:lnTo>
                  <a:lnTo>
                    <a:pt x="1002" y="486"/>
                  </a:lnTo>
                  <a:lnTo>
                    <a:pt x="1003" y="492"/>
                  </a:lnTo>
                  <a:lnTo>
                    <a:pt x="1002" y="497"/>
                  </a:lnTo>
                  <a:lnTo>
                    <a:pt x="997" y="503"/>
                  </a:lnTo>
                  <a:lnTo>
                    <a:pt x="994" y="505"/>
                  </a:lnTo>
                  <a:lnTo>
                    <a:pt x="992" y="505"/>
                  </a:lnTo>
                  <a:lnTo>
                    <a:pt x="990" y="502"/>
                  </a:lnTo>
                  <a:lnTo>
                    <a:pt x="987" y="501"/>
                  </a:lnTo>
                  <a:lnTo>
                    <a:pt x="986" y="502"/>
                  </a:lnTo>
                  <a:lnTo>
                    <a:pt x="982" y="507"/>
                  </a:lnTo>
                  <a:lnTo>
                    <a:pt x="980" y="508"/>
                  </a:lnTo>
                  <a:lnTo>
                    <a:pt x="976" y="508"/>
                  </a:lnTo>
                  <a:lnTo>
                    <a:pt x="975" y="509"/>
                  </a:lnTo>
                  <a:lnTo>
                    <a:pt x="976" y="511"/>
                  </a:lnTo>
                  <a:lnTo>
                    <a:pt x="987" y="517"/>
                  </a:lnTo>
                  <a:lnTo>
                    <a:pt x="994" y="526"/>
                  </a:lnTo>
                  <a:lnTo>
                    <a:pt x="998" y="531"/>
                  </a:lnTo>
                  <a:lnTo>
                    <a:pt x="998" y="535"/>
                  </a:lnTo>
                  <a:lnTo>
                    <a:pt x="990" y="544"/>
                  </a:lnTo>
                  <a:lnTo>
                    <a:pt x="988" y="547"/>
                  </a:lnTo>
                  <a:lnTo>
                    <a:pt x="985" y="554"/>
                  </a:lnTo>
                  <a:lnTo>
                    <a:pt x="980" y="554"/>
                  </a:lnTo>
                  <a:lnTo>
                    <a:pt x="974" y="552"/>
                  </a:lnTo>
                  <a:lnTo>
                    <a:pt x="969" y="551"/>
                  </a:lnTo>
                  <a:lnTo>
                    <a:pt x="966" y="551"/>
                  </a:lnTo>
                  <a:lnTo>
                    <a:pt x="962" y="552"/>
                  </a:lnTo>
                  <a:lnTo>
                    <a:pt x="962" y="554"/>
                  </a:lnTo>
                  <a:lnTo>
                    <a:pt x="964" y="555"/>
                  </a:lnTo>
                  <a:lnTo>
                    <a:pt x="969" y="557"/>
                  </a:lnTo>
                  <a:lnTo>
                    <a:pt x="969" y="561"/>
                  </a:lnTo>
                  <a:lnTo>
                    <a:pt x="967" y="567"/>
                  </a:lnTo>
                  <a:lnTo>
                    <a:pt x="967" y="569"/>
                  </a:lnTo>
                  <a:lnTo>
                    <a:pt x="968" y="570"/>
                  </a:lnTo>
                  <a:lnTo>
                    <a:pt x="972" y="572"/>
                  </a:lnTo>
                  <a:lnTo>
                    <a:pt x="978" y="573"/>
                  </a:lnTo>
                  <a:lnTo>
                    <a:pt x="984" y="573"/>
                  </a:lnTo>
                  <a:lnTo>
                    <a:pt x="986" y="574"/>
                  </a:lnTo>
                  <a:lnTo>
                    <a:pt x="988" y="574"/>
                  </a:lnTo>
                  <a:lnTo>
                    <a:pt x="993" y="572"/>
                  </a:lnTo>
                  <a:lnTo>
                    <a:pt x="996" y="573"/>
                  </a:lnTo>
                  <a:lnTo>
                    <a:pt x="992" y="582"/>
                  </a:lnTo>
                  <a:lnTo>
                    <a:pt x="985" y="590"/>
                  </a:lnTo>
                  <a:lnTo>
                    <a:pt x="968" y="596"/>
                  </a:lnTo>
                  <a:lnTo>
                    <a:pt x="964" y="603"/>
                  </a:lnTo>
                  <a:lnTo>
                    <a:pt x="963" y="603"/>
                  </a:lnTo>
                  <a:lnTo>
                    <a:pt x="957" y="598"/>
                  </a:lnTo>
                  <a:lnTo>
                    <a:pt x="955" y="594"/>
                  </a:lnTo>
                  <a:lnTo>
                    <a:pt x="951" y="602"/>
                  </a:lnTo>
                  <a:lnTo>
                    <a:pt x="952" y="603"/>
                  </a:lnTo>
                  <a:lnTo>
                    <a:pt x="949" y="603"/>
                  </a:lnTo>
                  <a:lnTo>
                    <a:pt x="944" y="600"/>
                  </a:lnTo>
                  <a:lnTo>
                    <a:pt x="938" y="597"/>
                  </a:lnTo>
                  <a:lnTo>
                    <a:pt x="935" y="591"/>
                  </a:lnTo>
                  <a:lnTo>
                    <a:pt x="933" y="586"/>
                  </a:lnTo>
                  <a:lnTo>
                    <a:pt x="927" y="582"/>
                  </a:lnTo>
                  <a:lnTo>
                    <a:pt x="926" y="579"/>
                  </a:lnTo>
                  <a:lnTo>
                    <a:pt x="922" y="579"/>
                  </a:lnTo>
                  <a:lnTo>
                    <a:pt x="914" y="580"/>
                  </a:lnTo>
                  <a:lnTo>
                    <a:pt x="904" y="581"/>
                  </a:lnTo>
                  <a:lnTo>
                    <a:pt x="900" y="580"/>
                  </a:lnTo>
                  <a:lnTo>
                    <a:pt x="898" y="581"/>
                  </a:lnTo>
                  <a:lnTo>
                    <a:pt x="899" y="588"/>
                  </a:lnTo>
                  <a:lnTo>
                    <a:pt x="899" y="591"/>
                  </a:lnTo>
                  <a:lnTo>
                    <a:pt x="896" y="592"/>
                  </a:lnTo>
                  <a:lnTo>
                    <a:pt x="891" y="593"/>
                  </a:lnTo>
                  <a:lnTo>
                    <a:pt x="887" y="591"/>
                  </a:lnTo>
                  <a:lnTo>
                    <a:pt x="884" y="586"/>
                  </a:lnTo>
                  <a:lnTo>
                    <a:pt x="880" y="584"/>
                  </a:lnTo>
                  <a:lnTo>
                    <a:pt x="875" y="582"/>
                  </a:lnTo>
                  <a:lnTo>
                    <a:pt x="866" y="588"/>
                  </a:lnTo>
                  <a:lnTo>
                    <a:pt x="855" y="594"/>
                  </a:lnTo>
                  <a:lnTo>
                    <a:pt x="851" y="598"/>
                  </a:lnTo>
                  <a:lnTo>
                    <a:pt x="848" y="602"/>
                  </a:lnTo>
                  <a:lnTo>
                    <a:pt x="854" y="606"/>
                  </a:lnTo>
                  <a:lnTo>
                    <a:pt x="861" y="610"/>
                  </a:lnTo>
                  <a:lnTo>
                    <a:pt x="863" y="612"/>
                  </a:lnTo>
                  <a:lnTo>
                    <a:pt x="867" y="617"/>
                  </a:lnTo>
                  <a:lnTo>
                    <a:pt x="875" y="621"/>
                  </a:lnTo>
                  <a:lnTo>
                    <a:pt x="890" y="627"/>
                  </a:lnTo>
                  <a:lnTo>
                    <a:pt x="875" y="624"/>
                  </a:lnTo>
                  <a:lnTo>
                    <a:pt x="868" y="623"/>
                  </a:lnTo>
                  <a:lnTo>
                    <a:pt x="866" y="622"/>
                  </a:lnTo>
                  <a:lnTo>
                    <a:pt x="869" y="630"/>
                  </a:lnTo>
                  <a:lnTo>
                    <a:pt x="860" y="622"/>
                  </a:lnTo>
                  <a:lnTo>
                    <a:pt x="860" y="617"/>
                  </a:lnTo>
                  <a:lnTo>
                    <a:pt x="858" y="616"/>
                  </a:lnTo>
                  <a:lnTo>
                    <a:pt x="855" y="614"/>
                  </a:lnTo>
                  <a:lnTo>
                    <a:pt x="845" y="609"/>
                  </a:lnTo>
                  <a:lnTo>
                    <a:pt x="834" y="603"/>
                  </a:lnTo>
                  <a:lnTo>
                    <a:pt x="820" y="592"/>
                  </a:lnTo>
                  <a:lnTo>
                    <a:pt x="821" y="593"/>
                  </a:lnTo>
                  <a:lnTo>
                    <a:pt x="821" y="596"/>
                  </a:lnTo>
                  <a:lnTo>
                    <a:pt x="819" y="597"/>
                  </a:lnTo>
                  <a:lnTo>
                    <a:pt x="815" y="598"/>
                  </a:lnTo>
                  <a:lnTo>
                    <a:pt x="814" y="600"/>
                  </a:lnTo>
                  <a:lnTo>
                    <a:pt x="811" y="602"/>
                  </a:lnTo>
                  <a:lnTo>
                    <a:pt x="810" y="605"/>
                  </a:lnTo>
                  <a:lnTo>
                    <a:pt x="813" y="611"/>
                  </a:lnTo>
                  <a:lnTo>
                    <a:pt x="816" y="617"/>
                  </a:lnTo>
                  <a:lnTo>
                    <a:pt x="823" y="626"/>
                  </a:lnTo>
                  <a:lnTo>
                    <a:pt x="826" y="630"/>
                  </a:lnTo>
                  <a:lnTo>
                    <a:pt x="829" y="632"/>
                  </a:lnTo>
                  <a:lnTo>
                    <a:pt x="833" y="634"/>
                  </a:lnTo>
                  <a:lnTo>
                    <a:pt x="837" y="636"/>
                  </a:lnTo>
                  <a:lnTo>
                    <a:pt x="839" y="633"/>
                  </a:lnTo>
                  <a:lnTo>
                    <a:pt x="839" y="630"/>
                  </a:lnTo>
                  <a:lnTo>
                    <a:pt x="841" y="632"/>
                  </a:lnTo>
                  <a:lnTo>
                    <a:pt x="844" y="641"/>
                  </a:lnTo>
                  <a:lnTo>
                    <a:pt x="848" y="644"/>
                  </a:lnTo>
                  <a:lnTo>
                    <a:pt x="848" y="645"/>
                  </a:lnTo>
                  <a:lnTo>
                    <a:pt x="846" y="650"/>
                  </a:lnTo>
                  <a:lnTo>
                    <a:pt x="848" y="651"/>
                  </a:lnTo>
                  <a:lnTo>
                    <a:pt x="852" y="648"/>
                  </a:lnTo>
                  <a:lnTo>
                    <a:pt x="855" y="647"/>
                  </a:lnTo>
                  <a:lnTo>
                    <a:pt x="856" y="650"/>
                  </a:lnTo>
                  <a:lnTo>
                    <a:pt x="862" y="653"/>
                  </a:lnTo>
                  <a:lnTo>
                    <a:pt x="862" y="651"/>
                  </a:lnTo>
                  <a:lnTo>
                    <a:pt x="867" y="652"/>
                  </a:lnTo>
                  <a:lnTo>
                    <a:pt x="870" y="654"/>
                  </a:lnTo>
                  <a:lnTo>
                    <a:pt x="872" y="657"/>
                  </a:lnTo>
                  <a:lnTo>
                    <a:pt x="872" y="662"/>
                  </a:lnTo>
                  <a:lnTo>
                    <a:pt x="874" y="663"/>
                  </a:lnTo>
                  <a:lnTo>
                    <a:pt x="879" y="660"/>
                  </a:lnTo>
                  <a:lnTo>
                    <a:pt x="880" y="662"/>
                  </a:lnTo>
                  <a:lnTo>
                    <a:pt x="881" y="670"/>
                  </a:lnTo>
                  <a:lnTo>
                    <a:pt x="881" y="679"/>
                  </a:lnTo>
                  <a:lnTo>
                    <a:pt x="876" y="679"/>
                  </a:lnTo>
                  <a:lnTo>
                    <a:pt x="884" y="687"/>
                  </a:lnTo>
                  <a:lnTo>
                    <a:pt x="879" y="689"/>
                  </a:lnTo>
                  <a:lnTo>
                    <a:pt x="876" y="691"/>
                  </a:lnTo>
                  <a:lnTo>
                    <a:pt x="878" y="692"/>
                  </a:lnTo>
                  <a:lnTo>
                    <a:pt x="874" y="694"/>
                  </a:lnTo>
                  <a:lnTo>
                    <a:pt x="867" y="695"/>
                  </a:lnTo>
                  <a:lnTo>
                    <a:pt x="866" y="695"/>
                  </a:lnTo>
                  <a:lnTo>
                    <a:pt x="862" y="700"/>
                  </a:lnTo>
                  <a:lnTo>
                    <a:pt x="860" y="700"/>
                  </a:lnTo>
                  <a:lnTo>
                    <a:pt x="857" y="701"/>
                  </a:lnTo>
                  <a:lnTo>
                    <a:pt x="857" y="704"/>
                  </a:lnTo>
                  <a:lnTo>
                    <a:pt x="858" y="705"/>
                  </a:lnTo>
                  <a:lnTo>
                    <a:pt x="861" y="709"/>
                  </a:lnTo>
                  <a:lnTo>
                    <a:pt x="861" y="713"/>
                  </a:lnTo>
                  <a:lnTo>
                    <a:pt x="856" y="717"/>
                  </a:lnTo>
                  <a:lnTo>
                    <a:pt x="854" y="716"/>
                  </a:lnTo>
                  <a:lnTo>
                    <a:pt x="852" y="715"/>
                  </a:lnTo>
                  <a:lnTo>
                    <a:pt x="851" y="712"/>
                  </a:lnTo>
                  <a:lnTo>
                    <a:pt x="850" y="712"/>
                  </a:lnTo>
                  <a:lnTo>
                    <a:pt x="846" y="713"/>
                  </a:lnTo>
                  <a:lnTo>
                    <a:pt x="844" y="713"/>
                  </a:lnTo>
                  <a:lnTo>
                    <a:pt x="841" y="712"/>
                  </a:lnTo>
                  <a:lnTo>
                    <a:pt x="841" y="713"/>
                  </a:lnTo>
                  <a:lnTo>
                    <a:pt x="841" y="718"/>
                  </a:lnTo>
                  <a:lnTo>
                    <a:pt x="839" y="723"/>
                  </a:lnTo>
                  <a:lnTo>
                    <a:pt x="833" y="723"/>
                  </a:lnTo>
                  <a:lnTo>
                    <a:pt x="829" y="721"/>
                  </a:lnTo>
                  <a:lnTo>
                    <a:pt x="823" y="718"/>
                  </a:lnTo>
                  <a:lnTo>
                    <a:pt x="825" y="718"/>
                  </a:lnTo>
                  <a:lnTo>
                    <a:pt x="822" y="717"/>
                  </a:lnTo>
                  <a:lnTo>
                    <a:pt x="817" y="712"/>
                  </a:lnTo>
                  <a:lnTo>
                    <a:pt x="816" y="711"/>
                  </a:lnTo>
                  <a:lnTo>
                    <a:pt x="815" y="711"/>
                  </a:lnTo>
                  <a:lnTo>
                    <a:pt x="815" y="707"/>
                  </a:lnTo>
                  <a:lnTo>
                    <a:pt x="819" y="704"/>
                  </a:lnTo>
                  <a:lnTo>
                    <a:pt x="820" y="701"/>
                  </a:lnTo>
                  <a:lnTo>
                    <a:pt x="819" y="699"/>
                  </a:lnTo>
                  <a:lnTo>
                    <a:pt x="816" y="694"/>
                  </a:lnTo>
                  <a:lnTo>
                    <a:pt x="815" y="691"/>
                  </a:lnTo>
                  <a:lnTo>
                    <a:pt x="814" y="689"/>
                  </a:lnTo>
                  <a:lnTo>
                    <a:pt x="813" y="691"/>
                  </a:lnTo>
                  <a:lnTo>
                    <a:pt x="809" y="695"/>
                  </a:lnTo>
                  <a:lnTo>
                    <a:pt x="808" y="699"/>
                  </a:lnTo>
                  <a:lnTo>
                    <a:pt x="805" y="700"/>
                  </a:lnTo>
                  <a:lnTo>
                    <a:pt x="802" y="701"/>
                  </a:lnTo>
                  <a:lnTo>
                    <a:pt x="797" y="703"/>
                  </a:lnTo>
                  <a:lnTo>
                    <a:pt x="795" y="700"/>
                  </a:lnTo>
                  <a:lnTo>
                    <a:pt x="793" y="700"/>
                  </a:lnTo>
                  <a:lnTo>
                    <a:pt x="791" y="700"/>
                  </a:lnTo>
                  <a:lnTo>
                    <a:pt x="785" y="705"/>
                  </a:lnTo>
                  <a:lnTo>
                    <a:pt x="784" y="706"/>
                  </a:lnTo>
                  <a:lnTo>
                    <a:pt x="781" y="705"/>
                  </a:lnTo>
                  <a:lnTo>
                    <a:pt x="778" y="705"/>
                  </a:lnTo>
                  <a:lnTo>
                    <a:pt x="776" y="704"/>
                  </a:lnTo>
                  <a:lnTo>
                    <a:pt x="775" y="697"/>
                  </a:lnTo>
                  <a:lnTo>
                    <a:pt x="772" y="695"/>
                  </a:lnTo>
                  <a:lnTo>
                    <a:pt x="769" y="699"/>
                  </a:lnTo>
                  <a:lnTo>
                    <a:pt x="767" y="700"/>
                  </a:lnTo>
                  <a:lnTo>
                    <a:pt x="762" y="700"/>
                  </a:lnTo>
                  <a:lnTo>
                    <a:pt x="760" y="698"/>
                  </a:lnTo>
                  <a:lnTo>
                    <a:pt x="756" y="697"/>
                  </a:lnTo>
                  <a:lnTo>
                    <a:pt x="742" y="703"/>
                  </a:lnTo>
                  <a:lnTo>
                    <a:pt x="743" y="706"/>
                  </a:lnTo>
                  <a:lnTo>
                    <a:pt x="743" y="707"/>
                  </a:lnTo>
                  <a:lnTo>
                    <a:pt x="740" y="707"/>
                  </a:lnTo>
                  <a:lnTo>
                    <a:pt x="734" y="704"/>
                  </a:lnTo>
                  <a:lnTo>
                    <a:pt x="731" y="699"/>
                  </a:lnTo>
                  <a:lnTo>
                    <a:pt x="728" y="698"/>
                  </a:lnTo>
                  <a:lnTo>
                    <a:pt x="728" y="700"/>
                  </a:lnTo>
                  <a:lnTo>
                    <a:pt x="728" y="705"/>
                  </a:lnTo>
                  <a:lnTo>
                    <a:pt x="726" y="705"/>
                  </a:lnTo>
                  <a:lnTo>
                    <a:pt x="721" y="701"/>
                  </a:lnTo>
                  <a:lnTo>
                    <a:pt x="719" y="701"/>
                  </a:lnTo>
                  <a:lnTo>
                    <a:pt x="715" y="701"/>
                  </a:lnTo>
                  <a:lnTo>
                    <a:pt x="714" y="699"/>
                  </a:lnTo>
                  <a:lnTo>
                    <a:pt x="711" y="699"/>
                  </a:lnTo>
                  <a:lnTo>
                    <a:pt x="709" y="700"/>
                  </a:lnTo>
                  <a:lnTo>
                    <a:pt x="707" y="704"/>
                  </a:lnTo>
                  <a:lnTo>
                    <a:pt x="711" y="706"/>
                  </a:lnTo>
                  <a:lnTo>
                    <a:pt x="715" y="707"/>
                  </a:lnTo>
                  <a:lnTo>
                    <a:pt x="720" y="709"/>
                  </a:lnTo>
                  <a:lnTo>
                    <a:pt x="724" y="710"/>
                  </a:lnTo>
                  <a:lnTo>
                    <a:pt x="727" y="713"/>
                  </a:lnTo>
                  <a:lnTo>
                    <a:pt x="730" y="718"/>
                  </a:lnTo>
                  <a:lnTo>
                    <a:pt x="727" y="719"/>
                  </a:lnTo>
                  <a:lnTo>
                    <a:pt x="724" y="717"/>
                  </a:lnTo>
                  <a:lnTo>
                    <a:pt x="721" y="718"/>
                  </a:lnTo>
                  <a:lnTo>
                    <a:pt x="717" y="721"/>
                  </a:lnTo>
                  <a:lnTo>
                    <a:pt x="715" y="721"/>
                  </a:lnTo>
                  <a:lnTo>
                    <a:pt x="713" y="719"/>
                  </a:lnTo>
                  <a:lnTo>
                    <a:pt x="710" y="719"/>
                  </a:lnTo>
                  <a:lnTo>
                    <a:pt x="709" y="723"/>
                  </a:lnTo>
                  <a:lnTo>
                    <a:pt x="707" y="724"/>
                  </a:lnTo>
                  <a:lnTo>
                    <a:pt x="703" y="722"/>
                  </a:lnTo>
                  <a:lnTo>
                    <a:pt x="698" y="719"/>
                  </a:lnTo>
                  <a:lnTo>
                    <a:pt x="695" y="716"/>
                  </a:lnTo>
                  <a:lnTo>
                    <a:pt x="692" y="712"/>
                  </a:lnTo>
                  <a:lnTo>
                    <a:pt x="690" y="711"/>
                  </a:lnTo>
                  <a:lnTo>
                    <a:pt x="684" y="712"/>
                  </a:lnTo>
                  <a:lnTo>
                    <a:pt x="677" y="711"/>
                  </a:lnTo>
                  <a:lnTo>
                    <a:pt x="669" y="711"/>
                  </a:lnTo>
                  <a:lnTo>
                    <a:pt x="666" y="711"/>
                  </a:lnTo>
                  <a:lnTo>
                    <a:pt x="658" y="706"/>
                  </a:lnTo>
                  <a:lnTo>
                    <a:pt x="650" y="704"/>
                  </a:lnTo>
                  <a:lnTo>
                    <a:pt x="645" y="704"/>
                  </a:lnTo>
                  <a:lnTo>
                    <a:pt x="643" y="701"/>
                  </a:lnTo>
                  <a:lnTo>
                    <a:pt x="640" y="700"/>
                  </a:lnTo>
                  <a:lnTo>
                    <a:pt x="638" y="700"/>
                  </a:lnTo>
                  <a:lnTo>
                    <a:pt x="642" y="707"/>
                  </a:lnTo>
                  <a:lnTo>
                    <a:pt x="645" y="715"/>
                  </a:lnTo>
                  <a:lnTo>
                    <a:pt x="648" y="718"/>
                  </a:lnTo>
                  <a:lnTo>
                    <a:pt x="650" y="718"/>
                  </a:lnTo>
                  <a:lnTo>
                    <a:pt x="652" y="719"/>
                  </a:lnTo>
                  <a:lnTo>
                    <a:pt x="654" y="721"/>
                  </a:lnTo>
                  <a:lnTo>
                    <a:pt x="657" y="721"/>
                  </a:lnTo>
                  <a:lnTo>
                    <a:pt x="660" y="723"/>
                  </a:lnTo>
                  <a:lnTo>
                    <a:pt x="663" y="722"/>
                  </a:lnTo>
                  <a:lnTo>
                    <a:pt x="668" y="722"/>
                  </a:lnTo>
                  <a:lnTo>
                    <a:pt x="673" y="721"/>
                  </a:lnTo>
                  <a:lnTo>
                    <a:pt x="678" y="724"/>
                  </a:lnTo>
                  <a:lnTo>
                    <a:pt x="687" y="727"/>
                  </a:lnTo>
                  <a:lnTo>
                    <a:pt x="690" y="728"/>
                  </a:lnTo>
                  <a:lnTo>
                    <a:pt x="692" y="730"/>
                  </a:lnTo>
                  <a:lnTo>
                    <a:pt x="695" y="734"/>
                  </a:lnTo>
                  <a:lnTo>
                    <a:pt x="696" y="736"/>
                  </a:lnTo>
                  <a:lnTo>
                    <a:pt x="693" y="741"/>
                  </a:lnTo>
                  <a:lnTo>
                    <a:pt x="697" y="742"/>
                  </a:lnTo>
                  <a:lnTo>
                    <a:pt x="702" y="741"/>
                  </a:lnTo>
                  <a:lnTo>
                    <a:pt x="704" y="737"/>
                  </a:lnTo>
                  <a:lnTo>
                    <a:pt x="704" y="733"/>
                  </a:lnTo>
                  <a:lnTo>
                    <a:pt x="708" y="733"/>
                  </a:lnTo>
                  <a:lnTo>
                    <a:pt x="715" y="733"/>
                  </a:lnTo>
                  <a:lnTo>
                    <a:pt x="715" y="736"/>
                  </a:lnTo>
                  <a:lnTo>
                    <a:pt x="713" y="742"/>
                  </a:lnTo>
                  <a:lnTo>
                    <a:pt x="714" y="749"/>
                  </a:lnTo>
                  <a:lnTo>
                    <a:pt x="714" y="755"/>
                  </a:lnTo>
                  <a:lnTo>
                    <a:pt x="711" y="757"/>
                  </a:lnTo>
                  <a:lnTo>
                    <a:pt x="707" y="757"/>
                  </a:lnTo>
                  <a:lnTo>
                    <a:pt x="702" y="753"/>
                  </a:lnTo>
                  <a:lnTo>
                    <a:pt x="701" y="754"/>
                  </a:lnTo>
                  <a:lnTo>
                    <a:pt x="698" y="752"/>
                  </a:lnTo>
                  <a:lnTo>
                    <a:pt x="691" y="749"/>
                  </a:lnTo>
                  <a:lnTo>
                    <a:pt x="687" y="751"/>
                  </a:lnTo>
                  <a:lnTo>
                    <a:pt x="687" y="753"/>
                  </a:lnTo>
                  <a:lnTo>
                    <a:pt x="686" y="754"/>
                  </a:lnTo>
                  <a:lnTo>
                    <a:pt x="686" y="759"/>
                  </a:lnTo>
                  <a:lnTo>
                    <a:pt x="689" y="765"/>
                  </a:lnTo>
                  <a:lnTo>
                    <a:pt x="690" y="767"/>
                  </a:lnTo>
                  <a:lnTo>
                    <a:pt x="687" y="774"/>
                  </a:lnTo>
                  <a:lnTo>
                    <a:pt x="687" y="780"/>
                  </a:lnTo>
                  <a:lnTo>
                    <a:pt x="687" y="782"/>
                  </a:lnTo>
                  <a:lnTo>
                    <a:pt x="685" y="782"/>
                  </a:lnTo>
                  <a:lnTo>
                    <a:pt x="677" y="777"/>
                  </a:lnTo>
                  <a:lnTo>
                    <a:pt x="672" y="775"/>
                  </a:lnTo>
                  <a:lnTo>
                    <a:pt x="673" y="777"/>
                  </a:lnTo>
                  <a:lnTo>
                    <a:pt x="672" y="780"/>
                  </a:lnTo>
                  <a:lnTo>
                    <a:pt x="669" y="781"/>
                  </a:lnTo>
                  <a:lnTo>
                    <a:pt x="667" y="782"/>
                  </a:lnTo>
                  <a:lnTo>
                    <a:pt x="662" y="783"/>
                  </a:lnTo>
                  <a:lnTo>
                    <a:pt x="658" y="782"/>
                  </a:lnTo>
                  <a:lnTo>
                    <a:pt x="652" y="777"/>
                  </a:lnTo>
                  <a:lnTo>
                    <a:pt x="649" y="772"/>
                  </a:lnTo>
                  <a:lnTo>
                    <a:pt x="645" y="769"/>
                  </a:lnTo>
                  <a:lnTo>
                    <a:pt x="645" y="767"/>
                  </a:lnTo>
                  <a:lnTo>
                    <a:pt x="646" y="761"/>
                  </a:lnTo>
                  <a:lnTo>
                    <a:pt x="640" y="755"/>
                  </a:lnTo>
                  <a:lnTo>
                    <a:pt x="640" y="758"/>
                  </a:lnTo>
                  <a:lnTo>
                    <a:pt x="643" y="763"/>
                  </a:lnTo>
                  <a:lnTo>
                    <a:pt x="639" y="764"/>
                  </a:lnTo>
                  <a:lnTo>
                    <a:pt x="628" y="764"/>
                  </a:lnTo>
                  <a:lnTo>
                    <a:pt x="625" y="766"/>
                  </a:lnTo>
                  <a:lnTo>
                    <a:pt x="621" y="767"/>
                  </a:lnTo>
                  <a:lnTo>
                    <a:pt x="628" y="770"/>
                  </a:lnTo>
                  <a:lnTo>
                    <a:pt x="633" y="769"/>
                  </a:lnTo>
                  <a:lnTo>
                    <a:pt x="637" y="771"/>
                  </a:lnTo>
                  <a:lnTo>
                    <a:pt x="638" y="776"/>
                  </a:lnTo>
                  <a:lnTo>
                    <a:pt x="639" y="780"/>
                  </a:lnTo>
                  <a:lnTo>
                    <a:pt x="642" y="782"/>
                  </a:lnTo>
                  <a:lnTo>
                    <a:pt x="640" y="783"/>
                  </a:lnTo>
                  <a:lnTo>
                    <a:pt x="630" y="786"/>
                  </a:lnTo>
                  <a:lnTo>
                    <a:pt x="624" y="784"/>
                  </a:lnTo>
                  <a:lnTo>
                    <a:pt x="618" y="782"/>
                  </a:lnTo>
                  <a:lnTo>
                    <a:pt x="608" y="780"/>
                  </a:lnTo>
                  <a:lnTo>
                    <a:pt x="604" y="778"/>
                  </a:lnTo>
                  <a:lnTo>
                    <a:pt x="601" y="776"/>
                  </a:lnTo>
                  <a:lnTo>
                    <a:pt x="598" y="775"/>
                  </a:lnTo>
                  <a:lnTo>
                    <a:pt x="597" y="771"/>
                  </a:lnTo>
                  <a:lnTo>
                    <a:pt x="599" y="764"/>
                  </a:lnTo>
                  <a:lnTo>
                    <a:pt x="598" y="763"/>
                  </a:lnTo>
                  <a:lnTo>
                    <a:pt x="593" y="761"/>
                  </a:lnTo>
                  <a:lnTo>
                    <a:pt x="592" y="765"/>
                  </a:lnTo>
                  <a:lnTo>
                    <a:pt x="591" y="766"/>
                  </a:lnTo>
                  <a:lnTo>
                    <a:pt x="589" y="766"/>
                  </a:lnTo>
                  <a:lnTo>
                    <a:pt x="584" y="765"/>
                  </a:lnTo>
                  <a:lnTo>
                    <a:pt x="583" y="761"/>
                  </a:lnTo>
                  <a:lnTo>
                    <a:pt x="583" y="753"/>
                  </a:lnTo>
                  <a:lnTo>
                    <a:pt x="579" y="749"/>
                  </a:lnTo>
                  <a:lnTo>
                    <a:pt x="578" y="748"/>
                  </a:lnTo>
                  <a:lnTo>
                    <a:pt x="574" y="741"/>
                  </a:lnTo>
                  <a:lnTo>
                    <a:pt x="574" y="737"/>
                  </a:lnTo>
                  <a:lnTo>
                    <a:pt x="572" y="736"/>
                  </a:lnTo>
                  <a:lnTo>
                    <a:pt x="567" y="736"/>
                  </a:lnTo>
                  <a:lnTo>
                    <a:pt x="563" y="735"/>
                  </a:lnTo>
                  <a:lnTo>
                    <a:pt x="565" y="737"/>
                  </a:lnTo>
                  <a:lnTo>
                    <a:pt x="568" y="741"/>
                  </a:lnTo>
                  <a:lnTo>
                    <a:pt x="571" y="745"/>
                  </a:lnTo>
                  <a:lnTo>
                    <a:pt x="574" y="753"/>
                  </a:lnTo>
                  <a:lnTo>
                    <a:pt x="578" y="757"/>
                  </a:lnTo>
                  <a:lnTo>
                    <a:pt x="578" y="761"/>
                  </a:lnTo>
                  <a:lnTo>
                    <a:pt x="575" y="765"/>
                  </a:lnTo>
                  <a:lnTo>
                    <a:pt x="575" y="769"/>
                  </a:lnTo>
                  <a:lnTo>
                    <a:pt x="578" y="774"/>
                  </a:lnTo>
                  <a:lnTo>
                    <a:pt x="578" y="777"/>
                  </a:lnTo>
                  <a:lnTo>
                    <a:pt x="575" y="783"/>
                  </a:lnTo>
                  <a:lnTo>
                    <a:pt x="569" y="784"/>
                  </a:lnTo>
                  <a:lnTo>
                    <a:pt x="563" y="788"/>
                  </a:lnTo>
                  <a:lnTo>
                    <a:pt x="559" y="789"/>
                  </a:lnTo>
                  <a:lnTo>
                    <a:pt x="551" y="790"/>
                  </a:lnTo>
                  <a:lnTo>
                    <a:pt x="544" y="793"/>
                  </a:lnTo>
                  <a:lnTo>
                    <a:pt x="539" y="793"/>
                  </a:lnTo>
                  <a:lnTo>
                    <a:pt x="537" y="793"/>
                  </a:lnTo>
                  <a:lnTo>
                    <a:pt x="533" y="792"/>
                  </a:lnTo>
                  <a:lnTo>
                    <a:pt x="531" y="787"/>
                  </a:lnTo>
                  <a:lnTo>
                    <a:pt x="531" y="782"/>
                  </a:lnTo>
                  <a:lnTo>
                    <a:pt x="531" y="776"/>
                  </a:lnTo>
                  <a:lnTo>
                    <a:pt x="526" y="772"/>
                  </a:lnTo>
                  <a:lnTo>
                    <a:pt x="522" y="771"/>
                  </a:lnTo>
                  <a:lnTo>
                    <a:pt x="519" y="772"/>
                  </a:lnTo>
                  <a:lnTo>
                    <a:pt x="518" y="776"/>
                  </a:lnTo>
                  <a:lnTo>
                    <a:pt x="515" y="777"/>
                  </a:lnTo>
                  <a:lnTo>
                    <a:pt x="509" y="777"/>
                  </a:lnTo>
                  <a:lnTo>
                    <a:pt x="506" y="777"/>
                  </a:lnTo>
                  <a:lnTo>
                    <a:pt x="504" y="781"/>
                  </a:lnTo>
                  <a:lnTo>
                    <a:pt x="502" y="781"/>
                  </a:lnTo>
                  <a:lnTo>
                    <a:pt x="494" y="777"/>
                  </a:lnTo>
                  <a:lnTo>
                    <a:pt x="494" y="771"/>
                  </a:lnTo>
                  <a:lnTo>
                    <a:pt x="496" y="767"/>
                  </a:lnTo>
                  <a:lnTo>
                    <a:pt x="495" y="765"/>
                  </a:lnTo>
                  <a:lnTo>
                    <a:pt x="492" y="763"/>
                  </a:lnTo>
                  <a:lnTo>
                    <a:pt x="490" y="761"/>
                  </a:lnTo>
                  <a:lnTo>
                    <a:pt x="484" y="761"/>
                  </a:lnTo>
                  <a:lnTo>
                    <a:pt x="481" y="759"/>
                  </a:lnTo>
                  <a:lnTo>
                    <a:pt x="479" y="757"/>
                  </a:lnTo>
                  <a:lnTo>
                    <a:pt x="479" y="753"/>
                  </a:lnTo>
                  <a:lnTo>
                    <a:pt x="477" y="748"/>
                  </a:lnTo>
                  <a:lnTo>
                    <a:pt x="479" y="747"/>
                  </a:lnTo>
                  <a:lnTo>
                    <a:pt x="488" y="747"/>
                  </a:lnTo>
                  <a:lnTo>
                    <a:pt x="490" y="745"/>
                  </a:lnTo>
                  <a:lnTo>
                    <a:pt x="492" y="742"/>
                  </a:lnTo>
                  <a:lnTo>
                    <a:pt x="495" y="742"/>
                  </a:lnTo>
                  <a:lnTo>
                    <a:pt x="497" y="740"/>
                  </a:lnTo>
                  <a:lnTo>
                    <a:pt x="502" y="731"/>
                  </a:lnTo>
                  <a:lnTo>
                    <a:pt x="501" y="728"/>
                  </a:lnTo>
                  <a:lnTo>
                    <a:pt x="497" y="727"/>
                  </a:lnTo>
                  <a:lnTo>
                    <a:pt x="488" y="731"/>
                  </a:lnTo>
                  <a:lnTo>
                    <a:pt x="485" y="733"/>
                  </a:lnTo>
                  <a:lnTo>
                    <a:pt x="483" y="733"/>
                  </a:lnTo>
                  <a:lnTo>
                    <a:pt x="480" y="734"/>
                  </a:lnTo>
                  <a:lnTo>
                    <a:pt x="479" y="733"/>
                  </a:lnTo>
                  <a:lnTo>
                    <a:pt x="473" y="729"/>
                  </a:lnTo>
                  <a:lnTo>
                    <a:pt x="471" y="733"/>
                  </a:lnTo>
                  <a:lnTo>
                    <a:pt x="466" y="739"/>
                  </a:lnTo>
                  <a:lnTo>
                    <a:pt x="459" y="745"/>
                  </a:lnTo>
                  <a:lnTo>
                    <a:pt x="454" y="751"/>
                  </a:lnTo>
                  <a:lnTo>
                    <a:pt x="453" y="758"/>
                  </a:lnTo>
                  <a:lnTo>
                    <a:pt x="453" y="774"/>
                  </a:lnTo>
                  <a:lnTo>
                    <a:pt x="455" y="799"/>
                  </a:lnTo>
                  <a:lnTo>
                    <a:pt x="455" y="813"/>
                  </a:lnTo>
                  <a:lnTo>
                    <a:pt x="456" y="818"/>
                  </a:lnTo>
                  <a:lnTo>
                    <a:pt x="461" y="824"/>
                  </a:lnTo>
                  <a:lnTo>
                    <a:pt x="466" y="832"/>
                  </a:lnTo>
                  <a:lnTo>
                    <a:pt x="469" y="840"/>
                  </a:lnTo>
                  <a:lnTo>
                    <a:pt x="472" y="84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6" name="Freeform 79"/>
            <p:cNvSpPr>
              <a:spLocks/>
            </p:cNvSpPr>
            <p:nvPr userDrawn="1"/>
          </p:nvSpPr>
          <p:spPr bwMode="auto">
            <a:xfrm>
              <a:off x="8535988" y="6245226"/>
              <a:ext cx="250825" cy="409575"/>
            </a:xfrm>
            <a:custGeom>
              <a:avLst/>
              <a:gdLst/>
              <a:ahLst/>
              <a:cxnLst>
                <a:cxn ang="0">
                  <a:pos x="387" y="95"/>
                </a:cxn>
                <a:cxn ang="0">
                  <a:pos x="319" y="196"/>
                </a:cxn>
                <a:cxn ang="0">
                  <a:pos x="281" y="250"/>
                </a:cxn>
                <a:cxn ang="0">
                  <a:pos x="289" y="298"/>
                </a:cxn>
                <a:cxn ang="0">
                  <a:pos x="247" y="331"/>
                </a:cxn>
                <a:cxn ang="0">
                  <a:pos x="211" y="438"/>
                </a:cxn>
                <a:cxn ang="0">
                  <a:pos x="222" y="463"/>
                </a:cxn>
                <a:cxn ang="0">
                  <a:pos x="151" y="523"/>
                </a:cxn>
                <a:cxn ang="0">
                  <a:pos x="171" y="555"/>
                </a:cxn>
                <a:cxn ang="0">
                  <a:pos x="128" y="586"/>
                </a:cxn>
                <a:cxn ang="0">
                  <a:pos x="158" y="592"/>
                </a:cxn>
                <a:cxn ang="0">
                  <a:pos x="200" y="604"/>
                </a:cxn>
                <a:cxn ang="0">
                  <a:pos x="119" y="635"/>
                </a:cxn>
                <a:cxn ang="0">
                  <a:pos x="89" y="665"/>
                </a:cxn>
                <a:cxn ang="0">
                  <a:pos x="89" y="694"/>
                </a:cxn>
                <a:cxn ang="0">
                  <a:pos x="77" y="725"/>
                </a:cxn>
                <a:cxn ang="0">
                  <a:pos x="118" y="759"/>
                </a:cxn>
                <a:cxn ang="0">
                  <a:pos x="145" y="779"/>
                </a:cxn>
                <a:cxn ang="0">
                  <a:pos x="188" y="788"/>
                </a:cxn>
                <a:cxn ang="0">
                  <a:pos x="219" y="799"/>
                </a:cxn>
                <a:cxn ang="0">
                  <a:pos x="176" y="836"/>
                </a:cxn>
                <a:cxn ang="0">
                  <a:pos x="119" y="858"/>
                </a:cxn>
                <a:cxn ang="0">
                  <a:pos x="98" y="902"/>
                </a:cxn>
                <a:cxn ang="0">
                  <a:pos x="45" y="921"/>
                </a:cxn>
                <a:cxn ang="0">
                  <a:pos x="84" y="943"/>
                </a:cxn>
                <a:cxn ang="0">
                  <a:pos x="39" y="980"/>
                </a:cxn>
                <a:cxn ang="0">
                  <a:pos x="56" y="1013"/>
                </a:cxn>
                <a:cxn ang="0">
                  <a:pos x="81" y="1051"/>
                </a:cxn>
                <a:cxn ang="0">
                  <a:pos x="88" y="1106"/>
                </a:cxn>
                <a:cxn ang="0">
                  <a:pos x="165" y="1172"/>
                </a:cxn>
                <a:cxn ang="0">
                  <a:pos x="269" y="1158"/>
                </a:cxn>
                <a:cxn ang="0">
                  <a:pos x="361" y="1224"/>
                </a:cxn>
                <a:cxn ang="0">
                  <a:pos x="502" y="1180"/>
                </a:cxn>
                <a:cxn ang="0">
                  <a:pos x="596" y="1228"/>
                </a:cxn>
                <a:cxn ang="0">
                  <a:pos x="686" y="1204"/>
                </a:cxn>
                <a:cxn ang="0">
                  <a:pos x="779" y="1117"/>
                </a:cxn>
                <a:cxn ang="0">
                  <a:pos x="708" y="1050"/>
                </a:cxn>
                <a:cxn ang="0">
                  <a:pos x="703" y="997"/>
                </a:cxn>
                <a:cxn ang="0">
                  <a:pos x="677" y="984"/>
                </a:cxn>
                <a:cxn ang="0">
                  <a:pos x="699" y="939"/>
                </a:cxn>
                <a:cxn ang="0">
                  <a:pos x="718" y="890"/>
                </a:cxn>
                <a:cxn ang="0">
                  <a:pos x="725" y="833"/>
                </a:cxn>
                <a:cxn ang="0">
                  <a:pos x="575" y="793"/>
                </a:cxn>
                <a:cxn ang="0">
                  <a:pos x="631" y="787"/>
                </a:cxn>
                <a:cxn ang="0">
                  <a:pos x="691" y="752"/>
                </a:cxn>
                <a:cxn ang="0">
                  <a:pos x="720" y="710"/>
                </a:cxn>
                <a:cxn ang="0">
                  <a:pos x="702" y="668"/>
                </a:cxn>
                <a:cxn ang="0">
                  <a:pos x="672" y="577"/>
                </a:cxn>
                <a:cxn ang="0">
                  <a:pos x="595" y="533"/>
                </a:cxn>
                <a:cxn ang="0">
                  <a:pos x="618" y="503"/>
                </a:cxn>
                <a:cxn ang="0">
                  <a:pos x="540" y="434"/>
                </a:cxn>
                <a:cxn ang="0">
                  <a:pos x="620" y="443"/>
                </a:cxn>
                <a:cxn ang="0">
                  <a:pos x="454" y="371"/>
                </a:cxn>
                <a:cxn ang="0">
                  <a:pos x="530" y="300"/>
                </a:cxn>
                <a:cxn ang="0">
                  <a:pos x="544" y="258"/>
                </a:cxn>
                <a:cxn ang="0">
                  <a:pos x="495" y="235"/>
                </a:cxn>
                <a:cxn ang="0">
                  <a:pos x="484" y="217"/>
                </a:cxn>
                <a:cxn ang="0">
                  <a:pos x="472" y="145"/>
                </a:cxn>
                <a:cxn ang="0">
                  <a:pos x="461" y="135"/>
                </a:cxn>
                <a:cxn ang="0">
                  <a:pos x="461" y="104"/>
                </a:cxn>
                <a:cxn ang="0">
                  <a:pos x="444" y="99"/>
                </a:cxn>
                <a:cxn ang="0">
                  <a:pos x="432" y="41"/>
                </a:cxn>
                <a:cxn ang="0">
                  <a:pos x="410" y="28"/>
                </a:cxn>
              </a:cxnLst>
              <a:rect l="0" t="0" r="r" b="b"/>
              <a:pathLst>
                <a:path w="794" h="1293">
                  <a:moveTo>
                    <a:pt x="398" y="22"/>
                  </a:moveTo>
                  <a:lnTo>
                    <a:pt x="394" y="15"/>
                  </a:lnTo>
                  <a:lnTo>
                    <a:pt x="390" y="0"/>
                  </a:lnTo>
                  <a:lnTo>
                    <a:pt x="389" y="0"/>
                  </a:lnTo>
                  <a:lnTo>
                    <a:pt x="390" y="6"/>
                  </a:lnTo>
                  <a:lnTo>
                    <a:pt x="393" y="15"/>
                  </a:lnTo>
                  <a:lnTo>
                    <a:pt x="398" y="22"/>
                  </a:lnTo>
                  <a:lnTo>
                    <a:pt x="396" y="26"/>
                  </a:lnTo>
                  <a:lnTo>
                    <a:pt x="393" y="17"/>
                  </a:lnTo>
                  <a:lnTo>
                    <a:pt x="392" y="18"/>
                  </a:lnTo>
                  <a:lnTo>
                    <a:pt x="395" y="26"/>
                  </a:lnTo>
                  <a:lnTo>
                    <a:pt x="395" y="27"/>
                  </a:lnTo>
                  <a:lnTo>
                    <a:pt x="384" y="21"/>
                  </a:lnTo>
                  <a:lnTo>
                    <a:pt x="383" y="22"/>
                  </a:lnTo>
                  <a:lnTo>
                    <a:pt x="398" y="30"/>
                  </a:lnTo>
                  <a:lnTo>
                    <a:pt x="396" y="33"/>
                  </a:lnTo>
                  <a:lnTo>
                    <a:pt x="395" y="34"/>
                  </a:lnTo>
                  <a:lnTo>
                    <a:pt x="392" y="29"/>
                  </a:lnTo>
                  <a:lnTo>
                    <a:pt x="390" y="30"/>
                  </a:lnTo>
                  <a:lnTo>
                    <a:pt x="395" y="35"/>
                  </a:lnTo>
                  <a:lnTo>
                    <a:pt x="394" y="36"/>
                  </a:lnTo>
                  <a:lnTo>
                    <a:pt x="387" y="36"/>
                  </a:lnTo>
                  <a:lnTo>
                    <a:pt x="387" y="38"/>
                  </a:lnTo>
                  <a:lnTo>
                    <a:pt x="394" y="38"/>
                  </a:lnTo>
                  <a:lnTo>
                    <a:pt x="395" y="40"/>
                  </a:lnTo>
                  <a:lnTo>
                    <a:pt x="396" y="44"/>
                  </a:lnTo>
                  <a:lnTo>
                    <a:pt x="389" y="44"/>
                  </a:lnTo>
                  <a:lnTo>
                    <a:pt x="389" y="45"/>
                  </a:lnTo>
                  <a:lnTo>
                    <a:pt x="395" y="45"/>
                  </a:lnTo>
                  <a:lnTo>
                    <a:pt x="393" y="46"/>
                  </a:lnTo>
                  <a:lnTo>
                    <a:pt x="396" y="46"/>
                  </a:lnTo>
                  <a:lnTo>
                    <a:pt x="395" y="50"/>
                  </a:lnTo>
                  <a:lnTo>
                    <a:pt x="393" y="50"/>
                  </a:lnTo>
                  <a:lnTo>
                    <a:pt x="393" y="47"/>
                  </a:lnTo>
                  <a:lnTo>
                    <a:pt x="392" y="50"/>
                  </a:lnTo>
                  <a:lnTo>
                    <a:pt x="390" y="48"/>
                  </a:lnTo>
                  <a:lnTo>
                    <a:pt x="387" y="42"/>
                  </a:lnTo>
                  <a:lnTo>
                    <a:pt x="389" y="48"/>
                  </a:lnTo>
                  <a:lnTo>
                    <a:pt x="388" y="48"/>
                  </a:lnTo>
                  <a:lnTo>
                    <a:pt x="384" y="47"/>
                  </a:lnTo>
                  <a:lnTo>
                    <a:pt x="383" y="48"/>
                  </a:lnTo>
                  <a:lnTo>
                    <a:pt x="385" y="50"/>
                  </a:lnTo>
                  <a:lnTo>
                    <a:pt x="388" y="50"/>
                  </a:lnTo>
                  <a:lnTo>
                    <a:pt x="389" y="51"/>
                  </a:lnTo>
                  <a:lnTo>
                    <a:pt x="388" y="52"/>
                  </a:lnTo>
                  <a:lnTo>
                    <a:pt x="384" y="51"/>
                  </a:lnTo>
                  <a:lnTo>
                    <a:pt x="384" y="52"/>
                  </a:lnTo>
                  <a:lnTo>
                    <a:pt x="389" y="53"/>
                  </a:lnTo>
                  <a:lnTo>
                    <a:pt x="389" y="54"/>
                  </a:lnTo>
                  <a:lnTo>
                    <a:pt x="388" y="57"/>
                  </a:lnTo>
                  <a:lnTo>
                    <a:pt x="387" y="57"/>
                  </a:lnTo>
                  <a:lnTo>
                    <a:pt x="384" y="54"/>
                  </a:lnTo>
                  <a:lnTo>
                    <a:pt x="377" y="48"/>
                  </a:lnTo>
                  <a:lnTo>
                    <a:pt x="377" y="50"/>
                  </a:lnTo>
                  <a:lnTo>
                    <a:pt x="379" y="52"/>
                  </a:lnTo>
                  <a:lnTo>
                    <a:pt x="379" y="53"/>
                  </a:lnTo>
                  <a:lnTo>
                    <a:pt x="376" y="53"/>
                  </a:lnTo>
                  <a:lnTo>
                    <a:pt x="372" y="52"/>
                  </a:lnTo>
                  <a:lnTo>
                    <a:pt x="375" y="54"/>
                  </a:lnTo>
                  <a:lnTo>
                    <a:pt x="381" y="56"/>
                  </a:lnTo>
                  <a:lnTo>
                    <a:pt x="382" y="57"/>
                  </a:lnTo>
                  <a:lnTo>
                    <a:pt x="376" y="62"/>
                  </a:lnTo>
                  <a:lnTo>
                    <a:pt x="383" y="57"/>
                  </a:lnTo>
                  <a:lnTo>
                    <a:pt x="384" y="58"/>
                  </a:lnTo>
                  <a:lnTo>
                    <a:pt x="382" y="59"/>
                  </a:lnTo>
                  <a:lnTo>
                    <a:pt x="385" y="58"/>
                  </a:lnTo>
                  <a:lnTo>
                    <a:pt x="387" y="59"/>
                  </a:lnTo>
                  <a:lnTo>
                    <a:pt x="388" y="60"/>
                  </a:lnTo>
                  <a:lnTo>
                    <a:pt x="388" y="64"/>
                  </a:lnTo>
                  <a:lnTo>
                    <a:pt x="390" y="59"/>
                  </a:lnTo>
                  <a:lnTo>
                    <a:pt x="398" y="65"/>
                  </a:lnTo>
                  <a:lnTo>
                    <a:pt x="399" y="69"/>
                  </a:lnTo>
                  <a:lnTo>
                    <a:pt x="395" y="70"/>
                  </a:lnTo>
                  <a:lnTo>
                    <a:pt x="393" y="70"/>
                  </a:lnTo>
                  <a:lnTo>
                    <a:pt x="392" y="68"/>
                  </a:lnTo>
                  <a:lnTo>
                    <a:pt x="392" y="69"/>
                  </a:lnTo>
                  <a:lnTo>
                    <a:pt x="388" y="69"/>
                  </a:lnTo>
                  <a:lnTo>
                    <a:pt x="387" y="69"/>
                  </a:lnTo>
                  <a:lnTo>
                    <a:pt x="383" y="65"/>
                  </a:lnTo>
                  <a:lnTo>
                    <a:pt x="383" y="66"/>
                  </a:lnTo>
                  <a:lnTo>
                    <a:pt x="385" y="70"/>
                  </a:lnTo>
                  <a:lnTo>
                    <a:pt x="379" y="70"/>
                  </a:lnTo>
                  <a:lnTo>
                    <a:pt x="379" y="71"/>
                  </a:lnTo>
                  <a:lnTo>
                    <a:pt x="385" y="71"/>
                  </a:lnTo>
                  <a:lnTo>
                    <a:pt x="385" y="72"/>
                  </a:lnTo>
                  <a:lnTo>
                    <a:pt x="383" y="76"/>
                  </a:lnTo>
                  <a:lnTo>
                    <a:pt x="388" y="72"/>
                  </a:lnTo>
                  <a:lnTo>
                    <a:pt x="390" y="72"/>
                  </a:lnTo>
                  <a:lnTo>
                    <a:pt x="392" y="71"/>
                  </a:lnTo>
                  <a:lnTo>
                    <a:pt x="394" y="72"/>
                  </a:lnTo>
                  <a:lnTo>
                    <a:pt x="393" y="74"/>
                  </a:lnTo>
                  <a:lnTo>
                    <a:pt x="389" y="74"/>
                  </a:lnTo>
                  <a:lnTo>
                    <a:pt x="389" y="75"/>
                  </a:lnTo>
                  <a:lnTo>
                    <a:pt x="392" y="76"/>
                  </a:lnTo>
                  <a:lnTo>
                    <a:pt x="390" y="76"/>
                  </a:lnTo>
                  <a:lnTo>
                    <a:pt x="387" y="78"/>
                  </a:lnTo>
                  <a:lnTo>
                    <a:pt x="387" y="80"/>
                  </a:lnTo>
                  <a:lnTo>
                    <a:pt x="392" y="80"/>
                  </a:lnTo>
                  <a:lnTo>
                    <a:pt x="392" y="82"/>
                  </a:lnTo>
                  <a:lnTo>
                    <a:pt x="385" y="87"/>
                  </a:lnTo>
                  <a:lnTo>
                    <a:pt x="385" y="88"/>
                  </a:lnTo>
                  <a:lnTo>
                    <a:pt x="388" y="88"/>
                  </a:lnTo>
                  <a:lnTo>
                    <a:pt x="389" y="90"/>
                  </a:lnTo>
                  <a:lnTo>
                    <a:pt x="388" y="90"/>
                  </a:lnTo>
                  <a:lnTo>
                    <a:pt x="388" y="92"/>
                  </a:lnTo>
                  <a:lnTo>
                    <a:pt x="389" y="93"/>
                  </a:lnTo>
                  <a:lnTo>
                    <a:pt x="390" y="93"/>
                  </a:lnTo>
                  <a:lnTo>
                    <a:pt x="390" y="94"/>
                  </a:lnTo>
                  <a:lnTo>
                    <a:pt x="387" y="94"/>
                  </a:lnTo>
                  <a:lnTo>
                    <a:pt x="384" y="93"/>
                  </a:lnTo>
                  <a:lnTo>
                    <a:pt x="385" y="95"/>
                  </a:lnTo>
                  <a:lnTo>
                    <a:pt x="383" y="100"/>
                  </a:lnTo>
                  <a:lnTo>
                    <a:pt x="384" y="100"/>
                  </a:lnTo>
                  <a:lnTo>
                    <a:pt x="387" y="95"/>
                  </a:lnTo>
                  <a:lnTo>
                    <a:pt x="390" y="97"/>
                  </a:lnTo>
                  <a:lnTo>
                    <a:pt x="388" y="99"/>
                  </a:lnTo>
                  <a:lnTo>
                    <a:pt x="384" y="103"/>
                  </a:lnTo>
                  <a:lnTo>
                    <a:pt x="378" y="107"/>
                  </a:lnTo>
                  <a:lnTo>
                    <a:pt x="369" y="112"/>
                  </a:lnTo>
                  <a:lnTo>
                    <a:pt x="365" y="112"/>
                  </a:lnTo>
                  <a:lnTo>
                    <a:pt x="366" y="113"/>
                  </a:lnTo>
                  <a:lnTo>
                    <a:pt x="366" y="115"/>
                  </a:lnTo>
                  <a:lnTo>
                    <a:pt x="360" y="112"/>
                  </a:lnTo>
                  <a:lnTo>
                    <a:pt x="364" y="115"/>
                  </a:lnTo>
                  <a:lnTo>
                    <a:pt x="358" y="117"/>
                  </a:lnTo>
                  <a:lnTo>
                    <a:pt x="358" y="119"/>
                  </a:lnTo>
                  <a:lnTo>
                    <a:pt x="366" y="117"/>
                  </a:lnTo>
                  <a:lnTo>
                    <a:pt x="365" y="121"/>
                  </a:lnTo>
                  <a:lnTo>
                    <a:pt x="365" y="124"/>
                  </a:lnTo>
                  <a:lnTo>
                    <a:pt x="366" y="124"/>
                  </a:lnTo>
                  <a:lnTo>
                    <a:pt x="366" y="119"/>
                  </a:lnTo>
                  <a:lnTo>
                    <a:pt x="367" y="119"/>
                  </a:lnTo>
                  <a:lnTo>
                    <a:pt x="367" y="117"/>
                  </a:lnTo>
                  <a:lnTo>
                    <a:pt x="370" y="117"/>
                  </a:lnTo>
                  <a:lnTo>
                    <a:pt x="370" y="121"/>
                  </a:lnTo>
                  <a:lnTo>
                    <a:pt x="371" y="121"/>
                  </a:lnTo>
                  <a:lnTo>
                    <a:pt x="371" y="115"/>
                  </a:lnTo>
                  <a:lnTo>
                    <a:pt x="376" y="113"/>
                  </a:lnTo>
                  <a:lnTo>
                    <a:pt x="376" y="116"/>
                  </a:lnTo>
                  <a:lnTo>
                    <a:pt x="373" y="119"/>
                  </a:lnTo>
                  <a:lnTo>
                    <a:pt x="373" y="121"/>
                  </a:lnTo>
                  <a:lnTo>
                    <a:pt x="375" y="123"/>
                  </a:lnTo>
                  <a:lnTo>
                    <a:pt x="375" y="124"/>
                  </a:lnTo>
                  <a:lnTo>
                    <a:pt x="377" y="127"/>
                  </a:lnTo>
                  <a:lnTo>
                    <a:pt x="372" y="129"/>
                  </a:lnTo>
                  <a:lnTo>
                    <a:pt x="371" y="128"/>
                  </a:lnTo>
                  <a:lnTo>
                    <a:pt x="370" y="128"/>
                  </a:lnTo>
                  <a:lnTo>
                    <a:pt x="371" y="129"/>
                  </a:lnTo>
                  <a:lnTo>
                    <a:pt x="369" y="129"/>
                  </a:lnTo>
                  <a:lnTo>
                    <a:pt x="366" y="130"/>
                  </a:lnTo>
                  <a:lnTo>
                    <a:pt x="370" y="131"/>
                  </a:lnTo>
                  <a:lnTo>
                    <a:pt x="371" y="130"/>
                  </a:lnTo>
                  <a:lnTo>
                    <a:pt x="372" y="131"/>
                  </a:lnTo>
                  <a:lnTo>
                    <a:pt x="369" y="133"/>
                  </a:lnTo>
                  <a:lnTo>
                    <a:pt x="366" y="135"/>
                  </a:lnTo>
                  <a:lnTo>
                    <a:pt x="364" y="137"/>
                  </a:lnTo>
                  <a:lnTo>
                    <a:pt x="365" y="139"/>
                  </a:lnTo>
                  <a:lnTo>
                    <a:pt x="366" y="137"/>
                  </a:lnTo>
                  <a:lnTo>
                    <a:pt x="369" y="137"/>
                  </a:lnTo>
                  <a:lnTo>
                    <a:pt x="369" y="140"/>
                  </a:lnTo>
                  <a:lnTo>
                    <a:pt x="367" y="141"/>
                  </a:lnTo>
                  <a:lnTo>
                    <a:pt x="365" y="141"/>
                  </a:lnTo>
                  <a:lnTo>
                    <a:pt x="364" y="139"/>
                  </a:lnTo>
                  <a:lnTo>
                    <a:pt x="359" y="139"/>
                  </a:lnTo>
                  <a:lnTo>
                    <a:pt x="358" y="140"/>
                  </a:lnTo>
                  <a:lnTo>
                    <a:pt x="357" y="142"/>
                  </a:lnTo>
                  <a:lnTo>
                    <a:pt x="355" y="145"/>
                  </a:lnTo>
                  <a:lnTo>
                    <a:pt x="351" y="145"/>
                  </a:lnTo>
                  <a:lnTo>
                    <a:pt x="345" y="148"/>
                  </a:lnTo>
                  <a:lnTo>
                    <a:pt x="341" y="149"/>
                  </a:lnTo>
                  <a:lnTo>
                    <a:pt x="340" y="153"/>
                  </a:lnTo>
                  <a:lnTo>
                    <a:pt x="336" y="153"/>
                  </a:lnTo>
                  <a:lnTo>
                    <a:pt x="337" y="152"/>
                  </a:lnTo>
                  <a:lnTo>
                    <a:pt x="336" y="152"/>
                  </a:lnTo>
                  <a:lnTo>
                    <a:pt x="331" y="152"/>
                  </a:lnTo>
                  <a:lnTo>
                    <a:pt x="331" y="154"/>
                  </a:lnTo>
                  <a:lnTo>
                    <a:pt x="330" y="155"/>
                  </a:lnTo>
                  <a:lnTo>
                    <a:pt x="322" y="161"/>
                  </a:lnTo>
                  <a:lnTo>
                    <a:pt x="318" y="163"/>
                  </a:lnTo>
                  <a:lnTo>
                    <a:pt x="316" y="163"/>
                  </a:lnTo>
                  <a:lnTo>
                    <a:pt x="317" y="164"/>
                  </a:lnTo>
                  <a:lnTo>
                    <a:pt x="316" y="165"/>
                  </a:lnTo>
                  <a:lnTo>
                    <a:pt x="313" y="166"/>
                  </a:lnTo>
                  <a:lnTo>
                    <a:pt x="312" y="167"/>
                  </a:lnTo>
                  <a:lnTo>
                    <a:pt x="311" y="169"/>
                  </a:lnTo>
                  <a:lnTo>
                    <a:pt x="307" y="170"/>
                  </a:lnTo>
                  <a:lnTo>
                    <a:pt x="308" y="170"/>
                  </a:lnTo>
                  <a:lnTo>
                    <a:pt x="308" y="171"/>
                  </a:lnTo>
                  <a:lnTo>
                    <a:pt x="305" y="171"/>
                  </a:lnTo>
                  <a:lnTo>
                    <a:pt x="305" y="172"/>
                  </a:lnTo>
                  <a:lnTo>
                    <a:pt x="307" y="172"/>
                  </a:lnTo>
                  <a:lnTo>
                    <a:pt x="304" y="177"/>
                  </a:lnTo>
                  <a:lnTo>
                    <a:pt x="307" y="173"/>
                  </a:lnTo>
                  <a:lnTo>
                    <a:pt x="308" y="173"/>
                  </a:lnTo>
                  <a:lnTo>
                    <a:pt x="308" y="177"/>
                  </a:lnTo>
                  <a:lnTo>
                    <a:pt x="310" y="172"/>
                  </a:lnTo>
                  <a:lnTo>
                    <a:pt x="311" y="172"/>
                  </a:lnTo>
                  <a:lnTo>
                    <a:pt x="311" y="173"/>
                  </a:lnTo>
                  <a:lnTo>
                    <a:pt x="312" y="172"/>
                  </a:lnTo>
                  <a:lnTo>
                    <a:pt x="313" y="170"/>
                  </a:lnTo>
                  <a:lnTo>
                    <a:pt x="319" y="165"/>
                  </a:lnTo>
                  <a:lnTo>
                    <a:pt x="318" y="171"/>
                  </a:lnTo>
                  <a:lnTo>
                    <a:pt x="319" y="172"/>
                  </a:lnTo>
                  <a:lnTo>
                    <a:pt x="319" y="176"/>
                  </a:lnTo>
                  <a:lnTo>
                    <a:pt x="320" y="176"/>
                  </a:lnTo>
                  <a:lnTo>
                    <a:pt x="322" y="172"/>
                  </a:lnTo>
                  <a:lnTo>
                    <a:pt x="320" y="165"/>
                  </a:lnTo>
                  <a:lnTo>
                    <a:pt x="322" y="169"/>
                  </a:lnTo>
                  <a:lnTo>
                    <a:pt x="322" y="175"/>
                  </a:lnTo>
                  <a:lnTo>
                    <a:pt x="323" y="175"/>
                  </a:lnTo>
                  <a:lnTo>
                    <a:pt x="323" y="176"/>
                  </a:lnTo>
                  <a:lnTo>
                    <a:pt x="324" y="177"/>
                  </a:lnTo>
                  <a:lnTo>
                    <a:pt x="325" y="178"/>
                  </a:lnTo>
                  <a:lnTo>
                    <a:pt x="324" y="179"/>
                  </a:lnTo>
                  <a:lnTo>
                    <a:pt x="320" y="181"/>
                  </a:lnTo>
                  <a:lnTo>
                    <a:pt x="322" y="182"/>
                  </a:lnTo>
                  <a:lnTo>
                    <a:pt x="322" y="183"/>
                  </a:lnTo>
                  <a:lnTo>
                    <a:pt x="319" y="183"/>
                  </a:lnTo>
                  <a:lnTo>
                    <a:pt x="320" y="184"/>
                  </a:lnTo>
                  <a:lnTo>
                    <a:pt x="322" y="184"/>
                  </a:lnTo>
                  <a:lnTo>
                    <a:pt x="323" y="185"/>
                  </a:lnTo>
                  <a:lnTo>
                    <a:pt x="320" y="187"/>
                  </a:lnTo>
                  <a:lnTo>
                    <a:pt x="319" y="188"/>
                  </a:lnTo>
                  <a:lnTo>
                    <a:pt x="319" y="189"/>
                  </a:lnTo>
                  <a:lnTo>
                    <a:pt x="319" y="190"/>
                  </a:lnTo>
                  <a:lnTo>
                    <a:pt x="320" y="194"/>
                  </a:lnTo>
                  <a:lnTo>
                    <a:pt x="319" y="195"/>
                  </a:lnTo>
                  <a:lnTo>
                    <a:pt x="319" y="196"/>
                  </a:lnTo>
                  <a:lnTo>
                    <a:pt x="320" y="197"/>
                  </a:lnTo>
                  <a:lnTo>
                    <a:pt x="324" y="197"/>
                  </a:lnTo>
                  <a:lnTo>
                    <a:pt x="325" y="199"/>
                  </a:lnTo>
                  <a:lnTo>
                    <a:pt x="324" y="199"/>
                  </a:lnTo>
                  <a:lnTo>
                    <a:pt x="319" y="200"/>
                  </a:lnTo>
                  <a:lnTo>
                    <a:pt x="319" y="201"/>
                  </a:lnTo>
                  <a:lnTo>
                    <a:pt x="318" y="201"/>
                  </a:lnTo>
                  <a:lnTo>
                    <a:pt x="318" y="202"/>
                  </a:lnTo>
                  <a:lnTo>
                    <a:pt x="316" y="202"/>
                  </a:lnTo>
                  <a:lnTo>
                    <a:pt x="313" y="201"/>
                  </a:lnTo>
                  <a:lnTo>
                    <a:pt x="312" y="201"/>
                  </a:lnTo>
                  <a:lnTo>
                    <a:pt x="312" y="202"/>
                  </a:lnTo>
                  <a:lnTo>
                    <a:pt x="314" y="204"/>
                  </a:lnTo>
                  <a:lnTo>
                    <a:pt x="312" y="205"/>
                  </a:lnTo>
                  <a:lnTo>
                    <a:pt x="311" y="205"/>
                  </a:lnTo>
                  <a:lnTo>
                    <a:pt x="310" y="204"/>
                  </a:lnTo>
                  <a:lnTo>
                    <a:pt x="307" y="204"/>
                  </a:lnTo>
                  <a:lnTo>
                    <a:pt x="308" y="205"/>
                  </a:lnTo>
                  <a:lnTo>
                    <a:pt x="305" y="206"/>
                  </a:lnTo>
                  <a:lnTo>
                    <a:pt x="300" y="208"/>
                  </a:lnTo>
                  <a:lnTo>
                    <a:pt x="300" y="210"/>
                  </a:lnTo>
                  <a:lnTo>
                    <a:pt x="305" y="207"/>
                  </a:lnTo>
                  <a:lnTo>
                    <a:pt x="306" y="208"/>
                  </a:lnTo>
                  <a:lnTo>
                    <a:pt x="304" y="216"/>
                  </a:lnTo>
                  <a:lnTo>
                    <a:pt x="305" y="216"/>
                  </a:lnTo>
                  <a:lnTo>
                    <a:pt x="307" y="208"/>
                  </a:lnTo>
                  <a:lnTo>
                    <a:pt x="308" y="208"/>
                  </a:lnTo>
                  <a:lnTo>
                    <a:pt x="308" y="212"/>
                  </a:lnTo>
                  <a:lnTo>
                    <a:pt x="310" y="212"/>
                  </a:lnTo>
                  <a:lnTo>
                    <a:pt x="311" y="210"/>
                  </a:lnTo>
                  <a:lnTo>
                    <a:pt x="312" y="211"/>
                  </a:lnTo>
                  <a:lnTo>
                    <a:pt x="313" y="206"/>
                  </a:lnTo>
                  <a:lnTo>
                    <a:pt x="314" y="206"/>
                  </a:lnTo>
                  <a:lnTo>
                    <a:pt x="314" y="207"/>
                  </a:lnTo>
                  <a:lnTo>
                    <a:pt x="314" y="208"/>
                  </a:lnTo>
                  <a:lnTo>
                    <a:pt x="314" y="210"/>
                  </a:lnTo>
                  <a:lnTo>
                    <a:pt x="316" y="211"/>
                  </a:lnTo>
                  <a:lnTo>
                    <a:pt x="318" y="219"/>
                  </a:lnTo>
                  <a:lnTo>
                    <a:pt x="319" y="219"/>
                  </a:lnTo>
                  <a:lnTo>
                    <a:pt x="320" y="218"/>
                  </a:lnTo>
                  <a:lnTo>
                    <a:pt x="322" y="220"/>
                  </a:lnTo>
                  <a:lnTo>
                    <a:pt x="323" y="222"/>
                  </a:lnTo>
                  <a:lnTo>
                    <a:pt x="323" y="220"/>
                  </a:lnTo>
                  <a:lnTo>
                    <a:pt x="322" y="218"/>
                  </a:lnTo>
                  <a:lnTo>
                    <a:pt x="323" y="218"/>
                  </a:lnTo>
                  <a:lnTo>
                    <a:pt x="324" y="219"/>
                  </a:lnTo>
                  <a:lnTo>
                    <a:pt x="325" y="219"/>
                  </a:lnTo>
                  <a:lnTo>
                    <a:pt x="325" y="217"/>
                  </a:lnTo>
                  <a:lnTo>
                    <a:pt x="326" y="216"/>
                  </a:lnTo>
                  <a:lnTo>
                    <a:pt x="328" y="219"/>
                  </a:lnTo>
                  <a:lnTo>
                    <a:pt x="328" y="220"/>
                  </a:lnTo>
                  <a:lnTo>
                    <a:pt x="329" y="222"/>
                  </a:lnTo>
                  <a:lnTo>
                    <a:pt x="329" y="216"/>
                  </a:lnTo>
                  <a:lnTo>
                    <a:pt x="329" y="214"/>
                  </a:lnTo>
                  <a:lnTo>
                    <a:pt x="330" y="216"/>
                  </a:lnTo>
                  <a:lnTo>
                    <a:pt x="331" y="218"/>
                  </a:lnTo>
                  <a:lnTo>
                    <a:pt x="331" y="213"/>
                  </a:lnTo>
                  <a:lnTo>
                    <a:pt x="333" y="212"/>
                  </a:lnTo>
                  <a:lnTo>
                    <a:pt x="333" y="213"/>
                  </a:lnTo>
                  <a:lnTo>
                    <a:pt x="334" y="214"/>
                  </a:lnTo>
                  <a:lnTo>
                    <a:pt x="335" y="218"/>
                  </a:lnTo>
                  <a:lnTo>
                    <a:pt x="335" y="219"/>
                  </a:lnTo>
                  <a:lnTo>
                    <a:pt x="336" y="223"/>
                  </a:lnTo>
                  <a:lnTo>
                    <a:pt x="335" y="224"/>
                  </a:lnTo>
                  <a:lnTo>
                    <a:pt x="331" y="225"/>
                  </a:lnTo>
                  <a:lnTo>
                    <a:pt x="329" y="228"/>
                  </a:lnTo>
                  <a:lnTo>
                    <a:pt x="326" y="231"/>
                  </a:lnTo>
                  <a:lnTo>
                    <a:pt x="319" y="231"/>
                  </a:lnTo>
                  <a:lnTo>
                    <a:pt x="317" y="232"/>
                  </a:lnTo>
                  <a:lnTo>
                    <a:pt x="310" y="234"/>
                  </a:lnTo>
                  <a:lnTo>
                    <a:pt x="308" y="235"/>
                  </a:lnTo>
                  <a:lnTo>
                    <a:pt x="304" y="235"/>
                  </a:lnTo>
                  <a:lnTo>
                    <a:pt x="301" y="234"/>
                  </a:lnTo>
                  <a:lnTo>
                    <a:pt x="301" y="235"/>
                  </a:lnTo>
                  <a:lnTo>
                    <a:pt x="300" y="235"/>
                  </a:lnTo>
                  <a:lnTo>
                    <a:pt x="296" y="231"/>
                  </a:lnTo>
                  <a:lnTo>
                    <a:pt x="296" y="232"/>
                  </a:lnTo>
                  <a:lnTo>
                    <a:pt x="298" y="234"/>
                  </a:lnTo>
                  <a:lnTo>
                    <a:pt x="299" y="235"/>
                  </a:lnTo>
                  <a:lnTo>
                    <a:pt x="296" y="235"/>
                  </a:lnTo>
                  <a:lnTo>
                    <a:pt x="295" y="234"/>
                  </a:lnTo>
                  <a:lnTo>
                    <a:pt x="293" y="234"/>
                  </a:lnTo>
                  <a:lnTo>
                    <a:pt x="287" y="230"/>
                  </a:lnTo>
                  <a:lnTo>
                    <a:pt x="286" y="230"/>
                  </a:lnTo>
                  <a:lnTo>
                    <a:pt x="292" y="235"/>
                  </a:lnTo>
                  <a:lnTo>
                    <a:pt x="278" y="235"/>
                  </a:lnTo>
                  <a:lnTo>
                    <a:pt x="280" y="236"/>
                  </a:lnTo>
                  <a:lnTo>
                    <a:pt x="289" y="237"/>
                  </a:lnTo>
                  <a:lnTo>
                    <a:pt x="292" y="237"/>
                  </a:lnTo>
                  <a:lnTo>
                    <a:pt x="289" y="238"/>
                  </a:lnTo>
                  <a:lnTo>
                    <a:pt x="289" y="240"/>
                  </a:lnTo>
                  <a:lnTo>
                    <a:pt x="295" y="236"/>
                  </a:lnTo>
                  <a:lnTo>
                    <a:pt x="296" y="236"/>
                  </a:lnTo>
                  <a:lnTo>
                    <a:pt x="298" y="238"/>
                  </a:lnTo>
                  <a:lnTo>
                    <a:pt x="298" y="240"/>
                  </a:lnTo>
                  <a:lnTo>
                    <a:pt x="296" y="242"/>
                  </a:lnTo>
                  <a:lnTo>
                    <a:pt x="298" y="244"/>
                  </a:lnTo>
                  <a:lnTo>
                    <a:pt x="299" y="247"/>
                  </a:lnTo>
                  <a:lnTo>
                    <a:pt x="300" y="248"/>
                  </a:lnTo>
                  <a:lnTo>
                    <a:pt x="298" y="249"/>
                  </a:lnTo>
                  <a:lnTo>
                    <a:pt x="296" y="252"/>
                  </a:lnTo>
                  <a:lnTo>
                    <a:pt x="299" y="252"/>
                  </a:lnTo>
                  <a:lnTo>
                    <a:pt x="299" y="253"/>
                  </a:lnTo>
                  <a:lnTo>
                    <a:pt x="296" y="254"/>
                  </a:lnTo>
                  <a:lnTo>
                    <a:pt x="294" y="256"/>
                  </a:lnTo>
                  <a:lnTo>
                    <a:pt x="294" y="258"/>
                  </a:lnTo>
                  <a:lnTo>
                    <a:pt x="293" y="258"/>
                  </a:lnTo>
                  <a:lnTo>
                    <a:pt x="292" y="256"/>
                  </a:lnTo>
                  <a:lnTo>
                    <a:pt x="292" y="254"/>
                  </a:lnTo>
                  <a:lnTo>
                    <a:pt x="290" y="252"/>
                  </a:lnTo>
                  <a:lnTo>
                    <a:pt x="290" y="253"/>
                  </a:lnTo>
                  <a:lnTo>
                    <a:pt x="290" y="254"/>
                  </a:lnTo>
                  <a:lnTo>
                    <a:pt x="288" y="256"/>
                  </a:lnTo>
                  <a:lnTo>
                    <a:pt x="281" y="250"/>
                  </a:lnTo>
                  <a:lnTo>
                    <a:pt x="278" y="250"/>
                  </a:lnTo>
                  <a:lnTo>
                    <a:pt x="271" y="244"/>
                  </a:lnTo>
                  <a:lnTo>
                    <a:pt x="270" y="246"/>
                  </a:lnTo>
                  <a:lnTo>
                    <a:pt x="275" y="250"/>
                  </a:lnTo>
                  <a:lnTo>
                    <a:pt x="272" y="250"/>
                  </a:lnTo>
                  <a:lnTo>
                    <a:pt x="269" y="248"/>
                  </a:lnTo>
                  <a:lnTo>
                    <a:pt x="268" y="249"/>
                  </a:lnTo>
                  <a:lnTo>
                    <a:pt x="271" y="250"/>
                  </a:lnTo>
                  <a:lnTo>
                    <a:pt x="270" y="252"/>
                  </a:lnTo>
                  <a:lnTo>
                    <a:pt x="274" y="253"/>
                  </a:lnTo>
                  <a:lnTo>
                    <a:pt x="275" y="254"/>
                  </a:lnTo>
                  <a:lnTo>
                    <a:pt x="272" y="255"/>
                  </a:lnTo>
                  <a:lnTo>
                    <a:pt x="276" y="255"/>
                  </a:lnTo>
                  <a:lnTo>
                    <a:pt x="277" y="254"/>
                  </a:lnTo>
                  <a:lnTo>
                    <a:pt x="278" y="254"/>
                  </a:lnTo>
                  <a:lnTo>
                    <a:pt x="278" y="255"/>
                  </a:lnTo>
                  <a:lnTo>
                    <a:pt x="276" y="258"/>
                  </a:lnTo>
                  <a:lnTo>
                    <a:pt x="277" y="258"/>
                  </a:lnTo>
                  <a:lnTo>
                    <a:pt x="281" y="255"/>
                  </a:lnTo>
                  <a:lnTo>
                    <a:pt x="284" y="256"/>
                  </a:lnTo>
                  <a:lnTo>
                    <a:pt x="281" y="258"/>
                  </a:lnTo>
                  <a:lnTo>
                    <a:pt x="278" y="259"/>
                  </a:lnTo>
                  <a:lnTo>
                    <a:pt x="276" y="261"/>
                  </a:lnTo>
                  <a:lnTo>
                    <a:pt x="277" y="262"/>
                  </a:lnTo>
                  <a:lnTo>
                    <a:pt x="278" y="261"/>
                  </a:lnTo>
                  <a:lnTo>
                    <a:pt x="280" y="260"/>
                  </a:lnTo>
                  <a:lnTo>
                    <a:pt x="281" y="260"/>
                  </a:lnTo>
                  <a:lnTo>
                    <a:pt x="283" y="260"/>
                  </a:lnTo>
                  <a:lnTo>
                    <a:pt x="284" y="260"/>
                  </a:lnTo>
                  <a:lnTo>
                    <a:pt x="284" y="262"/>
                  </a:lnTo>
                  <a:lnTo>
                    <a:pt x="287" y="262"/>
                  </a:lnTo>
                  <a:lnTo>
                    <a:pt x="289" y="262"/>
                  </a:lnTo>
                  <a:lnTo>
                    <a:pt x="290" y="262"/>
                  </a:lnTo>
                  <a:lnTo>
                    <a:pt x="289" y="264"/>
                  </a:lnTo>
                  <a:lnTo>
                    <a:pt x="287" y="265"/>
                  </a:lnTo>
                  <a:lnTo>
                    <a:pt x="282" y="270"/>
                  </a:lnTo>
                  <a:lnTo>
                    <a:pt x="277" y="271"/>
                  </a:lnTo>
                  <a:lnTo>
                    <a:pt x="271" y="272"/>
                  </a:lnTo>
                  <a:lnTo>
                    <a:pt x="276" y="273"/>
                  </a:lnTo>
                  <a:lnTo>
                    <a:pt x="276" y="274"/>
                  </a:lnTo>
                  <a:lnTo>
                    <a:pt x="268" y="279"/>
                  </a:lnTo>
                  <a:lnTo>
                    <a:pt x="269" y="279"/>
                  </a:lnTo>
                  <a:lnTo>
                    <a:pt x="277" y="276"/>
                  </a:lnTo>
                  <a:lnTo>
                    <a:pt x="278" y="276"/>
                  </a:lnTo>
                  <a:lnTo>
                    <a:pt x="277" y="277"/>
                  </a:lnTo>
                  <a:lnTo>
                    <a:pt x="277" y="280"/>
                  </a:lnTo>
                  <a:lnTo>
                    <a:pt x="278" y="279"/>
                  </a:lnTo>
                  <a:lnTo>
                    <a:pt x="278" y="274"/>
                  </a:lnTo>
                  <a:lnTo>
                    <a:pt x="281" y="274"/>
                  </a:lnTo>
                  <a:lnTo>
                    <a:pt x="286" y="282"/>
                  </a:lnTo>
                  <a:lnTo>
                    <a:pt x="287" y="280"/>
                  </a:lnTo>
                  <a:lnTo>
                    <a:pt x="286" y="278"/>
                  </a:lnTo>
                  <a:lnTo>
                    <a:pt x="288" y="278"/>
                  </a:lnTo>
                  <a:lnTo>
                    <a:pt x="289" y="279"/>
                  </a:lnTo>
                  <a:lnTo>
                    <a:pt x="289" y="280"/>
                  </a:lnTo>
                  <a:lnTo>
                    <a:pt x="287" y="283"/>
                  </a:lnTo>
                  <a:lnTo>
                    <a:pt x="287" y="284"/>
                  </a:lnTo>
                  <a:lnTo>
                    <a:pt x="284" y="284"/>
                  </a:lnTo>
                  <a:lnTo>
                    <a:pt x="282" y="285"/>
                  </a:lnTo>
                  <a:lnTo>
                    <a:pt x="281" y="288"/>
                  </a:lnTo>
                  <a:lnTo>
                    <a:pt x="282" y="290"/>
                  </a:lnTo>
                  <a:lnTo>
                    <a:pt x="278" y="291"/>
                  </a:lnTo>
                  <a:lnTo>
                    <a:pt x="278" y="295"/>
                  </a:lnTo>
                  <a:lnTo>
                    <a:pt x="276" y="296"/>
                  </a:lnTo>
                  <a:lnTo>
                    <a:pt x="274" y="296"/>
                  </a:lnTo>
                  <a:lnTo>
                    <a:pt x="272" y="295"/>
                  </a:lnTo>
                  <a:lnTo>
                    <a:pt x="272" y="296"/>
                  </a:lnTo>
                  <a:lnTo>
                    <a:pt x="274" y="297"/>
                  </a:lnTo>
                  <a:lnTo>
                    <a:pt x="272" y="298"/>
                  </a:lnTo>
                  <a:lnTo>
                    <a:pt x="269" y="300"/>
                  </a:lnTo>
                  <a:lnTo>
                    <a:pt x="269" y="298"/>
                  </a:lnTo>
                  <a:lnTo>
                    <a:pt x="268" y="300"/>
                  </a:lnTo>
                  <a:lnTo>
                    <a:pt x="266" y="300"/>
                  </a:lnTo>
                  <a:lnTo>
                    <a:pt x="264" y="300"/>
                  </a:lnTo>
                  <a:lnTo>
                    <a:pt x="263" y="301"/>
                  </a:lnTo>
                  <a:lnTo>
                    <a:pt x="261" y="301"/>
                  </a:lnTo>
                  <a:lnTo>
                    <a:pt x="260" y="302"/>
                  </a:lnTo>
                  <a:lnTo>
                    <a:pt x="264" y="302"/>
                  </a:lnTo>
                  <a:lnTo>
                    <a:pt x="264" y="303"/>
                  </a:lnTo>
                  <a:lnTo>
                    <a:pt x="263" y="304"/>
                  </a:lnTo>
                  <a:lnTo>
                    <a:pt x="261" y="308"/>
                  </a:lnTo>
                  <a:lnTo>
                    <a:pt x="263" y="308"/>
                  </a:lnTo>
                  <a:lnTo>
                    <a:pt x="264" y="308"/>
                  </a:lnTo>
                  <a:lnTo>
                    <a:pt x="266" y="306"/>
                  </a:lnTo>
                  <a:lnTo>
                    <a:pt x="266" y="309"/>
                  </a:lnTo>
                  <a:lnTo>
                    <a:pt x="268" y="303"/>
                  </a:lnTo>
                  <a:lnTo>
                    <a:pt x="269" y="302"/>
                  </a:lnTo>
                  <a:lnTo>
                    <a:pt x="269" y="304"/>
                  </a:lnTo>
                  <a:lnTo>
                    <a:pt x="270" y="302"/>
                  </a:lnTo>
                  <a:lnTo>
                    <a:pt x="271" y="302"/>
                  </a:lnTo>
                  <a:lnTo>
                    <a:pt x="274" y="301"/>
                  </a:lnTo>
                  <a:lnTo>
                    <a:pt x="274" y="302"/>
                  </a:lnTo>
                  <a:lnTo>
                    <a:pt x="274" y="303"/>
                  </a:lnTo>
                  <a:lnTo>
                    <a:pt x="272" y="304"/>
                  </a:lnTo>
                  <a:lnTo>
                    <a:pt x="274" y="307"/>
                  </a:lnTo>
                  <a:lnTo>
                    <a:pt x="274" y="310"/>
                  </a:lnTo>
                  <a:lnTo>
                    <a:pt x="275" y="312"/>
                  </a:lnTo>
                  <a:lnTo>
                    <a:pt x="276" y="313"/>
                  </a:lnTo>
                  <a:lnTo>
                    <a:pt x="276" y="309"/>
                  </a:lnTo>
                  <a:lnTo>
                    <a:pt x="276" y="306"/>
                  </a:lnTo>
                  <a:lnTo>
                    <a:pt x="277" y="306"/>
                  </a:lnTo>
                  <a:lnTo>
                    <a:pt x="278" y="307"/>
                  </a:lnTo>
                  <a:lnTo>
                    <a:pt x="278" y="312"/>
                  </a:lnTo>
                  <a:lnTo>
                    <a:pt x="280" y="312"/>
                  </a:lnTo>
                  <a:lnTo>
                    <a:pt x="282" y="308"/>
                  </a:lnTo>
                  <a:lnTo>
                    <a:pt x="283" y="306"/>
                  </a:lnTo>
                  <a:lnTo>
                    <a:pt x="284" y="304"/>
                  </a:lnTo>
                  <a:lnTo>
                    <a:pt x="284" y="306"/>
                  </a:lnTo>
                  <a:lnTo>
                    <a:pt x="287" y="306"/>
                  </a:lnTo>
                  <a:lnTo>
                    <a:pt x="288" y="306"/>
                  </a:lnTo>
                  <a:lnTo>
                    <a:pt x="289" y="304"/>
                  </a:lnTo>
                  <a:lnTo>
                    <a:pt x="288" y="303"/>
                  </a:lnTo>
                  <a:lnTo>
                    <a:pt x="288" y="300"/>
                  </a:lnTo>
                  <a:lnTo>
                    <a:pt x="289" y="298"/>
                  </a:lnTo>
                  <a:lnTo>
                    <a:pt x="292" y="302"/>
                  </a:lnTo>
                  <a:lnTo>
                    <a:pt x="293" y="303"/>
                  </a:lnTo>
                  <a:lnTo>
                    <a:pt x="295" y="303"/>
                  </a:lnTo>
                  <a:lnTo>
                    <a:pt x="295" y="301"/>
                  </a:lnTo>
                  <a:lnTo>
                    <a:pt x="294" y="300"/>
                  </a:lnTo>
                  <a:lnTo>
                    <a:pt x="294" y="295"/>
                  </a:lnTo>
                  <a:lnTo>
                    <a:pt x="295" y="294"/>
                  </a:lnTo>
                  <a:lnTo>
                    <a:pt x="298" y="296"/>
                  </a:lnTo>
                  <a:lnTo>
                    <a:pt x="298" y="297"/>
                  </a:lnTo>
                  <a:lnTo>
                    <a:pt x="296" y="298"/>
                  </a:lnTo>
                  <a:lnTo>
                    <a:pt x="296" y="300"/>
                  </a:lnTo>
                  <a:lnTo>
                    <a:pt x="298" y="302"/>
                  </a:lnTo>
                  <a:lnTo>
                    <a:pt x="299" y="300"/>
                  </a:lnTo>
                  <a:lnTo>
                    <a:pt x="299" y="296"/>
                  </a:lnTo>
                  <a:lnTo>
                    <a:pt x="299" y="294"/>
                  </a:lnTo>
                  <a:lnTo>
                    <a:pt x="300" y="292"/>
                  </a:lnTo>
                  <a:lnTo>
                    <a:pt x="300" y="291"/>
                  </a:lnTo>
                  <a:lnTo>
                    <a:pt x="299" y="290"/>
                  </a:lnTo>
                  <a:lnTo>
                    <a:pt x="299" y="289"/>
                  </a:lnTo>
                  <a:lnTo>
                    <a:pt x="300" y="290"/>
                  </a:lnTo>
                  <a:lnTo>
                    <a:pt x="302" y="289"/>
                  </a:lnTo>
                  <a:lnTo>
                    <a:pt x="302" y="291"/>
                  </a:lnTo>
                  <a:lnTo>
                    <a:pt x="301" y="294"/>
                  </a:lnTo>
                  <a:lnTo>
                    <a:pt x="301" y="296"/>
                  </a:lnTo>
                  <a:lnTo>
                    <a:pt x="301" y="297"/>
                  </a:lnTo>
                  <a:lnTo>
                    <a:pt x="301" y="298"/>
                  </a:lnTo>
                  <a:lnTo>
                    <a:pt x="301" y="300"/>
                  </a:lnTo>
                  <a:lnTo>
                    <a:pt x="300" y="301"/>
                  </a:lnTo>
                  <a:lnTo>
                    <a:pt x="299" y="302"/>
                  </a:lnTo>
                  <a:lnTo>
                    <a:pt x="296" y="304"/>
                  </a:lnTo>
                  <a:lnTo>
                    <a:pt x="293" y="307"/>
                  </a:lnTo>
                  <a:lnTo>
                    <a:pt x="290" y="309"/>
                  </a:lnTo>
                  <a:lnTo>
                    <a:pt x="289" y="310"/>
                  </a:lnTo>
                  <a:lnTo>
                    <a:pt x="288" y="310"/>
                  </a:lnTo>
                  <a:lnTo>
                    <a:pt x="287" y="308"/>
                  </a:lnTo>
                  <a:lnTo>
                    <a:pt x="287" y="310"/>
                  </a:lnTo>
                  <a:lnTo>
                    <a:pt x="283" y="314"/>
                  </a:lnTo>
                  <a:lnTo>
                    <a:pt x="281" y="315"/>
                  </a:lnTo>
                  <a:lnTo>
                    <a:pt x="278" y="315"/>
                  </a:lnTo>
                  <a:lnTo>
                    <a:pt x="276" y="315"/>
                  </a:lnTo>
                  <a:lnTo>
                    <a:pt x="275" y="314"/>
                  </a:lnTo>
                  <a:lnTo>
                    <a:pt x="272" y="314"/>
                  </a:lnTo>
                  <a:lnTo>
                    <a:pt x="271" y="314"/>
                  </a:lnTo>
                  <a:lnTo>
                    <a:pt x="269" y="314"/>
                  </a:lnTo>
                  <a:lnTo>
                    <a:pt x="265" y="313"/>
                  </a:lnTo>
                  <a:lnTo>
                    <a:pt x="263" y="310"/>
                  </a:lnTo>
                  <a:lnTo>
                    <a:pt x="260" y="308"/>
                  </a:lnTo>
                  <a:lnTo>
                    <a:pt x="259" y="307"/>
                  </a:lnTo>
                  <a:lnTo>
                    <a:pt x="255" y="304"/>
                  </a:lnTo>
                  <a:lnTo>
                    <a:pt x="254" y="301"/>
                  </a:lnTo>
                  <a:lnTo>
                    <a:pt x="257" y="300"/>
                  </a:lnTo>
                  <a:lnTo>
                    <a:pt x="255" y="298"/>
                  </a:lnTo>
                  <a:lnTo>
                    <a:pt x="253" y="301"/>
                  </a:lnTo>
                  <a:lnTo>
                    <a:pt x="252" y="300"/>
                  </a:lnTo>
                  <a:lnTo>
                    <a:pt x="257" y="294"/>
                  </a:lnTo>
                  <a:lnTo>
                    <a:pt x="255" y="294"/>
                  </a:lnTo>
                  <a:lnTo>
                    <a:pt x="253" y="294"/>
                  </a:lnTo>
                  <a:lnTo>
                    <a:pt x="251" y="294"/>
                  </a:lnTo>
                  <a:lnTo>
                    <a:pt x="252" y="296"/>
                  </a:lnTo>
                  <a:lnTo>
                    <a:pt x="251" y="297"/>
                  </a:lnTo>
                  <a:lnTo>
                    <a:pt x="241" y="288"/>
                  </a:lnTo>
                  <a:lnTo>
                    <a:pt x="240" y="288"/>
                  </a:lnTo>
                  <a:lnTo>
                    <a:pt x="242" y="291"/>
                  </a:lnTo>
                  <a:lnTo>
                    <a:pt x="241" y="291"/>
                  </a:lnTo>
                  <a:lnTo>
                    <a:pt x="234" y="290"/>
                  </a:lnTo>
                  <a:lnTo>
                    <a:pt x="234" y="291"/>
                  </a:lnTo>
                  <a:lnTo>
                    <a:pt x="240" y="292"/>
                  </a:lnTo>
                  <a:lnTo>
                    <a:pt x="239" y="294"/>
                  </a:lnTo>
                  <a:lnTo>
                    <a:pt x="241" y="295"/>
                  </a:lnTo>
                  <a:lnTo>
                    <a:pt x="240" y="297"/>
                  </a:lnTo>
                  <a:lnTo>
                    <a:pt x="242" y="296"/>
                  </a:lnTo>
                  <a:lnTo>
                    <a:pt x="243" y="296"/>
                  </a:lnTo>
                  <a:lnTo>
                    <a:pt x="247" y="297"/>
                  </a:lnTo>
                  <a:lnTo>
                    <a:pt x="247" y="298"/>
                  </a:lnTo>
                  <a:lnTo>
                    <a:pt x="241" y="302"/>
                  </a:lnTo>
                  <a:lnTo>
                    <a:pt x="242" y="302"/>
                  </a:lnTo>
                  <a:lnTo>
                    <a:pt x="247" y="301"/>
                  </a:lnTo>
                  <a:lnTo>
                    <a:pt x="247" y="302"/>
                  </a:lnTo>
                  <a:lnTo>
                    <a:pt x="247" y="304"/>
                  </a:lnTo>
                  <a:lnTo>
                    <a:pt x="249" y="303"/>
                  </a:lnTo>
                  <a:lnTo>
                    <a:pt x="252" y="303"/>
                  </a:lnTo>
                  <a:lnTo>
                    <a:pt x="252" y="306"/>
                  </a:lnTo>
                  <a:lnTo>
                    <a:pt x="253" y="306"/>
                  </a:lnTo>
                  <a:lnTo>
                    <a:pt x="247" y="312"/>
                  </a:lnTo>
                  <a:lnTo>
                    <a:pt x="253" y="308"/>
                  </a:lnTo>
                  <a:lnTo>
                    <a:pt x="255" y="307"/>
                  </a:lnTo>
                  <a:lnTo>
                    <a:pt x="257" y="308"/>
                  </a:lnTo>
                  <a:lnTo>
                    <a:pt x="252" y="310"/>
                  </a:lnTo>
                  <a:lnTo>
                    <a:pt x="249" y="313"/>
                  </a:lnTo>
                  <a:lnTo>
                    <a:pt x="247" y="313"/>
                  </a:lnTo>
                  <a:lnTo>
                    <a:pt x="251" y="317"/>
                  </a:lnTo>
                  <a:lnTo>
                    <a:pt x="247" y="319"/>
                  </a:lnTo>
                  <a:lnTo>
                    <a:pt x="247" y="320"/>
                  </a:lnTo>
                  <a:lnTo>
                    <a:pt x="249" y="323"/>
                  </a:lnTo>
                  <a:lnTo>
                    <a:pt x="247" y="326"/>
                  </a:lnTo>
                  <a:lnTo>
                    <a:pt x="251" y="329"/>
                  </a:lnTo>
                  <a:lnTo>
                    <a:pt x="253" y="326"/>
                  </a:lnTo>
                  <a:lnTo>
                    <a:pt x="253" y="325"/>
                  </a:lnTo>
                  <a:lnTo>
                    <a:pt x="254" y="324"/>
                  </a:lnTo>
                  <a:lnTo>
                    <a:pt x="254" y="320"/>
                  </a:lnTo>
                  <a:lnTo>
                    <a:pt x="255" y="319"/>
                  </a:lnTo>
                  <a:lnTo>
                    <a:pt x="257" y="319"/>
                  </a:lnTo>
                  <a:lnTo>
                    <a:pt x="257" y="321"/>
                  </a:lnTo>
                  <a:lnTo>
                    <a:pt x="257" y="324"/>
                  </a:lnTo>
                  <a:lnTo>
                    <a:pt x="257" y="326"/>
                  </a:lnTo>
                  <a:lnTo>
                    <a:pt x="259" y="327"/>
                  </a:lnTo>
                  <a:lnTo>
                    <a:pt x="259" y="330"/>
                  </a:lnTo>
                  <a:lnTo>
                    <a:pt x="257" y="330"/>
                  </a:lnTo>
                  <a:lnTo>
                    <a:pt x="257" y="327"/>
                  </a:lnTo>
                  <a:lnTo>
                    <a:pt x="254" y="330"/>
                  </a:lnTo>
                  <a:lnTo>
                    <a:pt x="253" y="331"/>
                  </a:lnTo>
                  <a:lnTo>
                    <a:pt x="252" y="331"/>
                  </a:lnTo>
                  <a:lnTo>
                    <a:pt x="247" y="330"/>
                  </a:lnTo>
                  <a:lnTo>
                    <a:pt x="247" y="331"/>
                  </a:lnTo>
                  <a:lnTo>
                    <a:pt x="242" y="335"/>
                  </a:lnTo>
                  <a:lnTo>
                    <a:pt x="243" y="335"/>
                  </a:lnTo>
                  <a:lnTo>
                    <a:pt x="247" y="335"/>
                  </a:lnTo>
                  <a:lnTo>
                    <a:pt x="251" y="333"/>
                  </a:lnTo>
                  <a:lnTo>
                    <a:pt x="251" y="336"/>
                  </a:lnTo>
                  <a:lnTo>
                    <a:pt x="247" y="337"/>
                  </a:lnTo>
                  <a:lnTo>
                    <a:pt x="247" y="338"/>
                  </a:lnTo>
                  <a:lnTo>
                    <a:pt x="251" y="338"/>
                  </a:lnTo>
                  <a:lnTo>
                    <a:pt x="252" y="339"/>
                  </a:lnTo>
                  <a:lnTo>
                    <a:pt x="253" y="339"/>
                  </a:lnTo>
                  <a:lnTo>
                    <a:pt x="253" y="337"/>
                  </a:lnTo>
                  <a:lnTo>
                    <a:pt x="255" y="337"/>
                  </a:lnTo>
                  <a:lnTo>
                    <a:pt x="253" y="343"/>
                  </a:lnTo>
                  <a:lnTo>
                    <a:pt x="254" y="343"/>
                  </a:lnTo>
                  <a:lnTo>
                    <a:pt x="257" y="341"/>
                  </a:lnTo>
                  <a:lnTo>
                    <a:pt x="258" y="342"/>
                  </a:lnTo>
                  <a:lnTo>
                    <a:pt x="259" y="342"/>
                  </a:lnTo>
                  <a:lnTo>
                    <a:pt x="259" y="339"/>
                  </a:lnTo>
                  <a:lnTo>
                    <a:pt x="260" y="339"/>
                  </a:lnTo>
                  <a:lnTo>
                    <a:pt x="260" y="342"/>
                  </a:lnTo>
                  <a:lnTo>
                    <a:pt x="261" y="342"/>
                  </a:lnTo>
                  <a:lnTo>
                    <a:pt x="263" y="338"/>
                  </a:lnTo>
                  <a:lnTo>
                    <a:pt x="264" y="342"/>
                  </a:lnTo>
                  <a:lnTo>
                    <a:pt x="265" y="342"/>
                  </a:lnTo>
                  <a:lnTo>
                    <a:pt x="266" y="344"/>
                  </a:lnTo>
                  <a:lnTo>
                    <a:pt x="266" y="348"/>
                  </a:lnTo>
                  <a:lnTo>
                    <a:pt x="261" y="348"/>
                  </a:lnTo>
                  <a:lnTo>
                    <a:pt x="261" y="349"/>
                  </a:lnTo>
                  <a:lnTo>
                    <a:pt x="264" y="349"/>
                  </a:lnTo>
                  <a:lnTo>
                    <a:pt x="264" y="351"/>
                  </a:lnTo>
                  <a:lnTo>
                    <a:pt x="257" y="351"/>
                  </a:lnTo>
                  <a:lnTo>
                    <a:pt x="258" y="353"/>
                  </a:lnTo>
                  <a:lnTo>
                    <a:pt x="257" y="354"/>
                  </a:lnTo>
                  <a:lnTo>
                    <a:pt x="255" y="354"/>
                  </a:lnTo>
                  <a:lnTo>
                    <a:pt x="254" y="353"/>
                  </a:lnTo>
                  <a:lnTo>
                    <a:pt x="253" y="359"/>
                  </a:lnTo>
                  <a:lnTo>
                    <a:pt x="247" y="363"/>
                  </a:lnTo>
                  <a:lnTo>
                    <a:pt x="247" y="361"/>
                  </a:lnTo>
                  <a:lnTo>
                    <a:pt x="243" y="361"/>
                  </a:lnTo>
                  <a:lnTo>
                    <a:pt x="245" y="363"/>
                  </a:lnTo>
                  <a:lnTo>
                    <a:pt x="242" y="362"/>
                  </a:lnTo>
                  <a:lnTo>
                    <a:pt x="240" y="361"/>
                  </a:lnTo>
                  <a:lnTo>
                    <a:pt x="237" y="361"/>
                  </a:lnTo>
                  <a:lnTo>
                    <a:pt x="235" y="362"/>
                  </a:lnTo>
                  <a:lnTo>
                    <a:pt x="240" y="363"/>
                  </a:lnTo>
                  <a:lnTo>
                    <a:pt x="240" y="366"/>
                  </a:lnTo>
                  <a:lnTo>
                    <a:pt x="239" y="368"/>
                  </a:lnTo>
                  <a:lnTo>
                    <a:pt x="240" y="368"/>
                  </a:lnTo>
                  <a:lnTo>
                    <a:pt x="241" y="366"/>
                  </a:lnTo>
                  <a:lnTo>
                    <a:pt x="242" y="365"/>
                  </a:lnTo>
                  <a:lnTo>
                    <a:pt x="243" y="365"/>
                  </a:lnTo>
                  <a:lnTo>
                    <a:pt x="241" y="367"/>
                  </a:lnTo>
                  <a:lnTo>
                    <a:pt x="241" y="368"/>
                  </a:lnTo>
                  <a:lnTo>
                    <a:pt x="242" y="368"/>
                  </a:lnTo>
                  <a:lnTo>
                    <a:pt x="243" y="367"/>
                  </a:lnTo>
                  <a:lnTo>
                    <a:pt x="247" y="368"/>
                  </a:lnTo>
                  <a:lnTo>
                    <a:pt x="243" y="369"/>
                  </a:lnTo>
                  <a:lnTo>
                    <a:pt x="242" y="372"/>
                  </a:lnTo>
                  <a:lnTo>
                    <a:pt x="243" y="373"/>
                  </a:lnTo>
                  <a:lnTo>
                    <a:pt x="243" y="375"/>
                  </a:lnTo>
                  <a:lnTo>
                    <a:pt x="243" y="378"/>
                  </a:lnTo>
                  <a:lnTo>
                    <a:pt x="241" y="381"/>
                  </a:lnTo>
                  <a:lnTo>
                    <a:pt x="241" y="383"/>
                  </a:lnTo>
                  <a:lnTo>
                    <a:pt x="240" y="383"/>
                  </a:lnTo>
                  <a:lnTo>
                    <a:pt x="237" y="381"/>
                  </a:lnTo>
                  <a:lnTo>
                    <a:pt x="236" y="384"/>
                  </a:lnTo>
                  <a:lnTo>
                    <a:pt x="233" y="387"/>
                  </a:lnTo>
                  <a:lnTo>
                    <a:pt x="229" y="385"/>
                  </a:lnTo>
                  <a:lnTo>
                    <a:pt x="231" y="389"/>
                  </a:lnTo>
                  <a:lnTo>
                    <a:pt x="225" y="396"/>
                  </a:lnTo>
                  <a:lnTo>
                    <a:pt x="225" y="397"/>
                  </a:lnTo>
                  <a:lnTo>
                    <a:pt x="223" y="398"/>
                  </a:lnTo>
                  <a:lnTo>
                    <a:pt x="218" y="403"/>
                  </a:lnTo>
                  <a:lnTo>
                    <a:pt x="216" y="404"/>
                  </a:lnTo>
                  <a:lnTo>
                    <a:pt x="212" y="405"/>
                  </a:lnTo>
                  <a:lnTo>
                    <a:pt x="213" y="407"/>
                  </a:lnTo>
                  <a:lnTo>
                    <a:pt x="212" y="408"/>
                  </a:lnTo>
                  <a:lnTo>
                    <a:pt x="213" y="409"/>
                  </a:lnTo>
                  <a:lnTo>
                    <a:pt x="207" y="411"/>
                  </a:lnTo>
                  <a:lnTo>
                    <a:pt x="207" y="413"/>
                  </a:lnTo>
                  <a:lnTo>
                    <a:pt x="216" y="410"/>
                  </a:lnTo>
                  <a:lnTo>
                    <a:pt x="217" y="410"/>
                  </a:lnTo>
                  <a:lnTo>
                    <a:pt x="207" y="417"/>
                  </a:lnTo>
                  <a:lnTo>
                    <a:pt x="206" y="416"/>
                  </a:lnTo>
                  <a:lnTo>
                    <a:pt x="206" y="420"/>
                  </a:lnTo>
                  <a:lnTo>
                    <a:pt x="200" y="421"/>
                  </a:lnTo>
                  <a:lnTo>
                    <a:pt x="204" y="422"/>
                  </a:lnTo>
                  <a:lnTo>
                    <a:pt x="202" y="425"/>
                  </a:lnTo>
                  <a:lnTo>
                    <a:pt x="198" y="425"/>
                  </a:lnTo>
                  <a:lnTo>
                    <a:pt x="193" y="428"/>
                  </a:lnTo>
                  <a:lnTo>
                    <a:pt x="190" y="430"/>
                  </a:lnTo>
                  <a:lnTo>
                    <a:pt x="194" y="431"/>
                  </a:lnTo>
                  <a:lnTo>
                    <a:pt x="188" y="437"/>
                  </a:lnTo>
                  <a:lnTo>
                    <a:pt x="188" y="438"/>
                  </a:lnTo>
                  <a:lnTo>
                    <a:pt x="194" y="433"/>
                  </a:lnTo>
                  <a:lnTo>
                    <a:pt x="195" y="434"/>
                  </a:lnTo>
                  <a:lnTo>
                    <a:pt x="196" y="434"/>
                  </a:lnTo>
                  <a:lnTo>
                    <a:pt x="198" y="433"/>
                  </a:lnTo>
                  <a:lnTo>
                    <a:pt x="198" y="437"/>
                  </a:lnTo>
                  <a:lnTo>
                    <a:pt x="199" y="437"/>
                  </a:lnTo>
                  <a:lnTo>
                    <a:pt x="199" y="433"/>
                  </a:lnTo>
                  <a:lnTo>
                    <a:pt x="199" y="432"/>
                  </a:lnTo>
                  <a:lnTo>
                    <a:pt x="200" y="431"/>
                  </a:lnTo>
                  <a:lnTo>
                    <a:pt x="201" y="430"/>
                  </a:lnTo>
                  <a:lnTo>
                    <a:pt x="201" y="427"/>
                  </a:lnTo>
                  <a:lnTo>
                    <a:pt x="202" y="428"/>
                  </a:lnTo>
                  <a:lnTo>
                    <a:pt x="204" y="431"/>
                  </a:lnTo>
                  <a:lnTo>
                    <a:pt x="205" y="425"/>
                  </a:lnTo>
                  <a:lnTo>
                    <a:pt x="206" y="425"/>
                  </a:lnTo>
                  <a:lnTo>
                    <a:pt x="206" y="437"/>
                  </a:lnTo>
                  <a:lnTo>
                    <a:pt x="207" y="438"/>
                  </a:lnTo>
                  <a:lnTo>
                    <a:pt x="209" y="434"/>
                  </a:lnTo>
                  <a:lnTo>
                    <a:pt x="211" y="434"/>
                  </a:lnTo>
                  <a:lnTo>
                    <a:pt x="211" y="438"/>
                  </a:lnTo>
                  <a:lnTo>
                    <a:pt x="212" y="437"/>
                  </a:lnTo>
                  <a:lnTo>
                    <a:pt x="215" y="437"/>
                  </a:lnTo>
                  <a:lnTo>
                    <a:pt x="215" y="433"/>
                  </a:lnTo>
                  <a:lnTo>
                    <a:pt x="215" y="431"/>
                  </a:lnTo>
                  <a:lnTo>
                    <a:pt x="215" y="427"/>
                  </a:lnTo>
                  <a:lnTo>
                    <a:pt x="216" y="428"/>
                  </a:lnTo>
                  <a:lnTo>
                    <a:pt x="217" y="428"/>
                  </a:lnTo>
                  <a:lnTo>
                    <a:pt x="218" y="422"/>
                  </a:lnTo>
                  <a:lnTo>
                    <a:pt x="221" y="422"/>
                  </a:lnTo>
                  <a:lnTo>
                    <a:pt x="222" y="422"/>
                  </a:lnTo>
                  <a:lnTo>
                    <a:pt x="223" y="425"/>
                  </a:lnTo>
                  <a:lnTo>
                    <a:pt x="224" y="426"/>
                  </a:lnTo>
                  <a:lnTo>
                    <a:pt x="225" y="426"/>
                  </a:lnTo>
                  <a:lnTo>
                    <a:pt x="227" y="422"/>
                  </a:lnTo>
                  <a:lnTo>
                    <a:pt x="227" y="420"/>
                  </a:lnTo>
                  <a:lnTo>
                    <a:pt x="228" y="417"/>
                  </a:lnTo>
                  <a:lnTo>
                    <a:pt x="228" y="420"/>
                  </a:lnTo>
                  <a:lnTo>
                    <a:pt x="229" y="421"/>
                  </a:lnTo>
                  <a:lnTo>
                    <a:pt x="230" y="420"/>
                  </a:lnTo>
                  <a:lnTo>
                    <a:pt x="231" y="420"/>
                  </a:lnTo>
                  <a:lnTo>
                    <a:pt x="231" y="421"/>
                  </a:lnTo>
                  <a:lnTo>
                    <a:pt x="231" y="424"/>
                  </a:lnTo>
                  <a:lnTo>
                    <a:pt x="227" y="428"/>
                  </a:lnTo>
                  <a:lnTo>
                    <a:pt x="222" y="430"/>
                  </a:lnTo>
                  <a:lnTo>
                    <a:pt x="225" y="431"/>
                  </a:lnTo>
                  <a:lnTo>
                    <a:pt x="222" y="436"/>
                  </a:lnTo>
                  <a:lnTo>
                    <a:pt x="219" y="437"/>
                  </a:lnTo>
                  <a:lnTo>
                    <a:pt x="217" y="442"/>
                  </a:lnTo>
                  <a:lnTo>
                    <a:pt x="211" y="446"/>
                  </a:lnTo>
                  <a:lnTo>
                    <a:pt x="211" y="448"/>
                  </a:lnTo>
                  <a:lnTo>
                    <a:pt x="205" y="451"/>
                  </a:lnTo>
                  <a:lnTo>
                    <a:pt x="206" y="452"/>
                  </a:lnTo>
                  <a:lnTo>
                    <a:pt x="210" y="450"/>
                  </a:lnTo>
                  <a:lnTo>
                    <a:pt x="210" y="452"/>
                  </a:lnTo>
                  <a:lnTo>
                    <a:pt x="205" y="457"/>
                  </a:lnTo>
                  <a:lnTo>
                    <a:pt x="211" y="452"/>
                  </a:lnTo>
                  <a:lnTo>
                    <a:pt x="212" y="452"/>
                  </a:lnTo>
                  <a:lnTo>
                    <a:pt x="213" y="457"/>
                  </a:lnTo>
                  <a:lnTo>
                    <a:pt x="212" y="451"/>
                  </a:lnTo>
                  <a:lnTo>
                    <a:pt x="213" y="449"/>
                  </a:lnTo>
                  <a:lnTo>
                    <a:pt x="217" y="452"/>
                  </a:lnTo>
                  <a:lnTo>
                    <a:pt x="216" y="448"/>
                  </a:lnTo>
                  <a:lnTo>
                    <a:pt x="217" y="446"/>
                  </a:lnTo>
                  <a:lnTo>
                    <a:pt x="218" y="450"/>
                  </a:lnTo>
                  <a:lnTo>
                    <a:pt x="219" y="452"/>
                  </a:lnTo>
                  <a:lnTo>
                    <a:pt x="221" y="444"/>
                  </a:lnTo>
                  <a:lnTo>
                    <a:pt x="222" y="452"/>
                  </a:lnTo>
                  <a:lnTo>
                    <a:pt x="222" y="455"/>
                  </a:lnTo>
                  <a:lnTo>
                    <a:pt x="224" y="455"/>
                  </a:lnTo>
                  <a:lnTo>
                    <a:pt x="224" y="452"/>
                  </a:lnTo>
                  <a:lnTo>
                    <a:pt x="223" y="445"/>
                  </a:lnTo>
                  <a:lnTo>
                    <a:pt x="224" y="445"/>
                  </a:lnTo>
                  <a:lnTo>
                    <a:pt x="225" y="448"/>
                  </a:lnTo>
                  <a:lnTo>
                    <a:pt x="227" y="446"/>
                  </a:lnTo>
                  <a:lnTo>
                    <a:pt x="224" y="437"/>
                  </a:lnTo>
                  <a:lnTo>
                    <a:pt x="225" y="434"/>
                  </a:lnTo>
                  <a:lnTo>
                    <a:pt x="227" y="439"/>
                  </a:lnTo>
                  <a:lnTo>
                    <a:pt x="228" y="444"/>
                  </a:lnTo>
                  <a:lnTo>
                    <a:pt x="229" y="444"/>
                  </a:lnTo>
                  <a:lnTo>
                    <a:pt x="228" y="434"/>
                  </a:lnTo>
                  <a:lnTo>
                    <a:pt x="228" y="433"/>
                  </a:lnTo>
                  <a:lnTo>
                    <a:pt x="229" y="438"/>
                  </a:lnTo>
                  <a:lnTo>
                    <a:pt x="229" y="440"/>
                  </a:lnTo>
                  <a:lnTo>
                    <a:pt x="230" y="440"/>
                  </a:lnTo>
                  <a:lnTo>
                    <a:pt x="229" y="430"/>
                  </a:lnTo>
                  <a:lnTo>
                    <a:pt x="230" y="428"/>
                  </a:lnTo>
                  <a:lnTo>
                    <a:pt x="231" y="438"/>
                  </a:lnTo>
                  <a:lnTo>
                    <a:pt x="231" y="440"/>
                  </a:lnTo>
                  <a:lnTo>
                    <a:pt x="233" y="442"/>
                  </a:lnTo>
                  <a:lnTo>
                    <a:pt x="235" y="443"/>
                  </a:lnTo>
                  <a:lnTo>
                    <a:pt x="236" y="442"/>
                  </a:lnTo>
                  <a:lnTo>
                    <a:pt x="237" y="434"/>
                  </a:lnTo>
                  <a:lnTo>
                    <a:pt x="237" y="432"/>
                  </a:lnTo>
                  <a:lnTo>
                    <a:pt x="239" y="432"/>
                  </a:lnTo>
                  <a:lnTo>
                    <a:pt x="242" y="432"/>
                  </a:lnTo>
                  <a:lnTo>
                    <a:pt x="242" y="430"/>
                  </a:lnTo>
                  <a:lnTo>
                    <a:pt x="241" y="426"/>
                  </a:lnTo>
                  <a:lnTo>
                    <a:pt x="242" y="424"/>
                  </a:lnTo>
                  <a:lnTo>
                    <a:pt x="242" y="426"/>
                  </a:lnTo>
                  <a:lnTo>
                    <a:pt x="243" y="428"/>
                  </a:lnTo>
                  <a:lnTo>
                    <a:pt x="243" y="432"/>
                  </a:lnTo>
                  <a:lnTo>
                    <a:pt x="247" y="432"/>
                  </a:lnTo>
                  <a:lnTo>
                    <a:pt x="247" y="428"/>
                  </a:lnTo>
                  <a:lnTo>
                    <a:pt x="251" y="427"/>
                  </a:lnTo>
                  <a:lnTo>
                    <a:pt x="252" y="430"/>
                  </a:lnTo>
                  <a:lnTo>
                    <a:pt x="252" y="431"/>
                  </a:lnTo>
                  <a:lnTo>
                    <a:pt x="249" y="434"/>
                  </a:lnTo>
                  <a:lnTo>
                    <a:pt x="247" y="438"/>
                  </a:lnTo>
                  <a:lnTo>
                    <a:pt x="249" y="437"/>
                  </a:lnTo>
                  <a:lnTo>
                    <a:pt x="247" y="439"/>
                  </a:lnTo>
                  <a:lnTo>
                    <a:pt x="247" y="443"/>
                  </a:lnTo>
                  <a:lnTo>
                    <a:pt x="241" y="446"/>
                  </a:lnTo>
                  <a:lnTo>
                    <a:pt x="240" y="449"/>
                  </a:lnTo>
                  <a:lnTo>
                    <a:pt x="235" y="449"/>
                  </a:lnTo>
                  <a:lnTo>
                    <a:pt x="239" y="450"/>
                  </a:lnTo>
                  <a:lnTo>
                    <a:pt x="239" y="451"/>
                  </a:lnTo>
                  <a:lnTo>
                    <a:pt x="233" y="452"/>
                  </a:lnTo>
                  <a:lnTo>
                    <a:pt x="230" y="454"/>
                  </a:lnTo>
                  <a:lnTo>
                    <a:pt x="231" y="455"/>
                  </a:lnTo>
                  <a:lnTo>
                    <a:pt x="233" y="454"/>
                  </a:lnTo>
                  <a:lnTo>
                    <a:pt x="234" y="455"/>
                  </a:lnTo>
                  <a:lnTo>
                    <a:pt x="231" y="456"/>
                  </a:lnTo>
                  <a:lnTo>
                    <a:pt x="229" y="458"/>
                  </a:lnTo>
                  <a:lnTo>
                    <a:pt x="230" y="460"/>
                  </a:lnTo>
                  <a:lnTo>
                    <a:pt x="229" y="461"/>
                  </a:lnTo>
                  <a:lnTo>
                    <a:pt x="228" y="461"/>
                  </a:lnTo>
                  <a:lnTo>
                    <a:pt x="227" y="457"/>
                  </a:lnTo>
                  <a:lnTo>
                    <a:pt x="225" y="457"/>
                  </a:lnTo>
                  <a:lnTo>
                    <a:pt x="224" y="457"/>
                  </a:lnTo>
                  <a:lnTo>
                    <a:pt x="224" y="461"/>
                  </a:lnTo>
                  <a:lnTo>
                    <a:pt x="221" y="460"/>
                  </a:lnTo>
                  <a:lnTo>
                    <a:pt x="219" y="460"/>
                  </a:lnTo>
                  <a:lnTo>
                    <a:pt x="223" y="462"/>
                  </a:lnTo>
                  <a:lnTo>
                    <a:pt x="222" y="463"/>
                  </a:lnTo>
                  <a:lnTo>
                    <a:pt x="218" y="466"/>
                  </a:lnTo>
                  <a:lnTo>
                    <a:pt x="222" y="467"/>
                  </a:lnTo>
                  <a:lnTo>
                    <a:pt x="221" y="468"/>
                  </a:lnTo>
                  <a:lnTo>
                    <a:pt x="221" y="469"/>
                  </a:lnTo>
                  <a:lnTo>
                    <a:pt x="218" y="469"/>
                  </a:lnTo>
                  <a:lnTo>
                    <a:pt x="217" y="469"/>
                  </a:lnTo>
                  <a:lnTo>
                    <a:pt x="216" y="468"/>
                  </a:lnTo>
                  <a:lnTo>
                    <a:pt x="216" y="469"/>
                  </a:lnTo>
                  <a:lnTo>
                    <a:pt x="216" y="470"/>
                  </a:lnTo>
                  <a:lnTo>
                    <a:pt x="217" y="470"/>
                  </a:lnTo>
                  <a:lnTo>
                    <a:pt x="216" y="472"/>
                  </a:lnTo>
                  <a:lnTo>
                    <a:pt x="215" y="472"/>
                  </a:lnTo>
                  <a:lnTo>
                    <a:pt x="211" y="470"/>
                  </a:lnTo>
                  <a:lnTo>
                    <a:pt x="210" y="470"/>
                  </a:lnTo>
                  <a:lnTo>
                    <a:pt x="210" y="472"/>
                  </a:lnTo>
                  <a:lnTo>
                    <a:pt x="213" y="473"/>
                  </a:lnTo>
                  <a:lnTo>
                    <a:pt x="215" y="473"/>
                  </a:lnTo>
                  <a:lnTo>
                    <a:pt x="213" y="474"/>
                  </a:lnTo>
                  <a:lnTo>
                    <a:pt x="210" y="478"/>
                  </a:lnTo>
                  <a:lnTo>
                    <a:pt x="216" y="474"/>
                  </a:lnTo>
                  <a:lnTo>
                    <a:pt x="217" y="474"/>
                  </a:lnTo>
                  <a:lnTo>
                    <a:pt x="217" y="475"/>
                  </a:lnTo>
                  <a:lnTo>
                    <a:pt x="217" y="479"/>
                  </a:lnTo>
                  <a:lnTo>
                    <a:pt x="216" y="480"/>
                  </a:lnTo>
                  <a:lnTo>
                    <a:pt x="212" y="480"/>
                  </a:lnTo>
                  <a:lnTo>
                    <a:pt x="210" y="481"/>
                  </a:lnTo>
                  <a:lnTo>
                    <a:pt x="206" y="481"/>
                  </a:lnTo>
                  <a:lnTo>
                    <a:pt x="204" y="481"/>
                  </a:lnTo>
                  <a:lnTo>
                    <a:pt x="200" y="481"/>
                  </a:lnTo>
                  <a:lnTo>
                    <a:pt x="200" y="482"/>
                  </a:lnTo>
                  <a:lnTo>
                    <a:pt x="205" y="482"/>
                  </a:lnTo>
                  <a:lnTo>
                    <a:pt x="205" y="484"/>
                  </a:lnTo>
                  <a:lnTo>
                    <a:pt x="201" y="485"/>
                  </a:lnTo>
                  <a:lnTo>
                    <a:pt x="201" y="486"/>
                  </a:lnTo>
                  <a:lnTo>
                    <a:pt x="206" y="486"/>
                  </a:lnTo>
                  <a:lnTo>
                    <a:pt x="207" y="487"/>
                  </a:lnTo>
                  <a:lnTo>
                    <a:pt x="209" y="490"/>
                  </a:lnTo>
                  <a:lnTo>
                    <a:pt x="209" y="491"/>
                  </a:lnTo>
                  <a:lnTo>
                    <a:pt x="210" y="491"/>
                  </a:lnTo>
                  <a:lnTo>
                    <a:pt x="210" y="490"/>
                  </a:lnTo>
                  <a:lnTo>
                    <a:pt x="210" y="486"/>
                  </a:lnTo>
                  <a:lnTo>
                    <a:pt x="209" y="485"/>
                  </a:lnTo>
                  <a:lnTo>
                    <a:pt x="210" y="484"/>
                  </a:lnTo>
                  <a:lnTo>
                    <a:pt x="211" y="484"/>
                  </a:lnTo>
                  <a:lnTo>
                    <a:pt x="211" y="488"/>
                  </a:lnTo>
                  <a:lnTo>
                    <a:pt x="212" y="487"/>
                  </a:lnTo>
                  <a:lnTo>
                    <a:pt x="213" y="486"/>
                  </a:lnTo>
                  <a:lnTo>
                    <a:pt x="213" y="484"/>
                  </a:lnTo>
                  <a:lnTo>
                    <a:pt x="215" y="482"/>
                  </a:lnTo>
                  <a:lnTo>
                    <a:pt x="215" y="487"/>
                  </a:lnTo>
                  <a:lnTo>
                    <a:pt x="216" y="488"/>
                  </a:lnTo>
                  <a:lnTo>
                    <a:pt x="216" y="490"/>
                  </a:lnTo>
                  <a:lnTo>
                    <a:pt x="213" y="490"/>
                  </a:lnTo>
                  <a:lnTo>
                    <a:pt x="212" y="491"/>
                  </a:lnTo>
                  <a:lnTo>
                    <a:pt x="212" y="492"/>
                  </a:lnTo>
                  <a:lnTo>
                    <a:pt x="213" y="493"/>
                  </a:lnTo>
                  <a:lnTo>
                    <a:pt x="213" y="494"/>
                  </a:lnTo>
                  <a:lnTo>
                    <a:pt x="210" y="494"/>
                  </a:lnTo>
                  <a:lnTo>
                    <a:pt x="209" y="493"/>
                  </a:lnTo>
                  <a:lnTo>
                    <a:pt x="206" y="493"/>
                  </a:lnTo>
                  <a:lnTo>
                    <a:pt x="205" y="493"/>
                  </a:lnTo>
                  <a:lnTo>
                    <a:pt x="204" y="494"/>
                  </a:lnTo>
                  <a:lnTo>
                    <a:pt x="199" y="490"/>
                  </a:lnTo>
                  <a:lnTo>
                    <a:pt x="199" y="491"/>
                  </a:lnTo>
                  <a:lnTo>
                    <a:pt x="201" y="493"/>
                  </a:lnTo>
                  <a:lnTo>
                    <a:pt x="201" y="494"/>
                  </a:lnTo>
                  <a:lnTo>
                    <a:pt x="199" y="494"/>
                  </a:lnTo>
                  <a:lnTo>
                    <a:pt x="198" y="492"/>
                  </a:lnTo>
                  <a:lnTo>
                    <a:pt x="195" y="491"/>
                  </a:lnTo>
                  <a:lnTo>
                    <a:pt x="195" y="492"/>
                  </a:lnTo>
                  <a:lnTo>
                    <a:pt x="194" y="493"/>
                  </a:lnTo>
                  <a:lnTo>
                    <a:pt x="193" y="497"/>
                  </a:lnTo>
                  <a:lnTo>
                    <a:pt x="194" y="498"/>
                  </a:lnTo>
                  <a:lnTo>
                    <a:pt x="195" y="497"/>
                  </a:lnTo>
                  <a:lnTo>
                    <a:pt x="198" y="496"/>
                  </a:lnTo>
                  <a:lnTo>
                    <a:pt x="199" y="497"/>
                  </a:lnTo>
                  <a:lnTo>
                    <a:pt x="200" y="497"/>
                  </a:lnTo>
                  <a:lnTo>
                    <a:pt x="200" y="498"/>
                  </a:lnTo>
                  <a:lnTo>
                    <a:pt x="196" y="502"/>
                  </a:lnTo>
                  <a:lnTo>
                    <a:pt x="192" y="503"/>
                  </a:lnTo>
                  <a:lnTo>
                    <a:pt x="189" y="500"/>
                  </a:lnTo>
                  <a:lnTo>
                    <a:pt x="182" y="500"/>
                  </a:lnTo>
                  <a:lnTo>
                    <a:pt x="178" y="504"/>
                  </a:lnTo>
                  <a:lnTo>
                    <a:pt x="176" y="504"/>
                  </a:lnTo>
                  <a:lnTo>
                    <a:pt x="175" y="505"/>
                  </a:lnTo>
                  <a:lnTo>
                    <a:pt x="174" y="506"/>
                  </a:lnTo>
                  <a:lnTo>
                    <a:pt x="172" y="505"/>
                  </a:lnTo>
                  <a:lnTo>
                    <a:pt x="171" y="505"/>
                  </a:lnTo>
                  <a:lnTo>
                    <a:pt x="171" y="508"/>
                  </a:lnTo>
                  <a:lnTo>
                    <a:pt x="169" y="510"/>
                  </a:lnTo>
                  <a:lnTo>
                    <a:pt x="169" y="511"/>
                  </a:lnTo>
                  <a:lnTo>
                    <a:pt x="166" y="512"/>
                  </a:lnTo>
                  <a:lnTo>
                    <a:pt x="164" y="511"/>
                  </a:lnTo>
                  <a:lnTo>
                    <a:pt x="163" y="510"/>
                  </a:lnTo>
                  <a:lnTo>
                    <a:pt x="163" y="508"/>
                  </a:lnTo>
                  <a:lnTo>
                    <a:pt x="162" y="506"/>
                  </a:lnTo>
                  <a:lnTo>
                    <a:pt x="160" y="508"/>
                  </a:lnTo>
                  <a:lnTo>
                    <a:pt x="162" y="509"/>
                  </a:lnTo>
                  <a:lnTo>
                    <a:pt x="163" y="511"/>
                  </a:lnTo>
                  <a:lnTo>
                    <a:pt x="163" y="514"/>
                  </a:lnTo>
                  <a:lnTo>
                    <a:pt x="163" y="515"/>
                  </a:lnTo>
                  <a:lnTo>
                    <a:pt x="162" y="516"/>
                  </a:lnTo>
                  <a:lnTo>
                    <a:pt x="158" y="516"/>
                  </a:lnTo>
                  <a:lnTo>
                    <a:pt x="157" y="516"/>
                  </a:lnTo>
                  <a:lnTo>
                    <a:pt x="156" y="516"/>
                  </a:lnTo>
                  <a:lnTo>
                    <a:pt x="152" y="517"/>
                  </a:lnTo>
                  <a:lnTo>
                    <a:pt x="152" y="518"/>
                  </a:lnTo>
                  <a:lnTo>
                    <a:pt x="154" y="518"/>
                  </a:lnTo>
                  <a:lnTo>
                    <a:pt x="156" y="517"/>
                  </a:lnTo>
                  <a:lnTo>
                    <a:pt x="158" y="517"/>
                  </a:lnTo>
                  <a:lnTo>
                    <a:pt x="158" y="518"/>
                  </a:lnTo>
                  <a:lnTo>
                    <a:pt x="153" y="523"/>
                  </a:lnTo>
                  <a:lnTo>
                    <a:pt x="152" y="523"/>
                  </a:lnTo>
                  <a:lnTo>
                    <a:pt x="151" y="523"/>
                  </a:lnTo>
                  <a:lnTo>
                    <a:pt x="150" y="523"/>
                  </a:lnTo>
                  <a:lnTo>
                    <a:pt x="148" y="524"/>
                  </a:lnTo>
                  <a:lnTo>
                    <a:pt x="142" y="524"/>
                  </a:lnTo>
                  <a:lnTo>
                    <a:pt x="139" y="526"/>
                  </a:lnTo>
                  <a:lnTo>
                    <a:pt x="137" y="524"/>
                  </a:lnTo>
                  <a:lnTo>
                    <a:pt x="134" y="524"/>
                  </a:lnTo>
                  <a:lnTo>
                    <a:pt x="134" y="527"/>
                  </a:lnTo>
                  <a:lnTo>
                    <a:pt x="137" y="527"/>
                  </a:lnTo>
                  <a:lnTo>
                    <a:pt x="139" y="528"/>
                  </a:lnTo>
                  <a:lnTo>
                    <a:pt x="136" y="532"/>
                  </a:lnTo>
                  <a:lnTo>
                    <a:pt x="137" y="533"/>
                  </a:lnTo>
                  <a:lnTo>
                    <a:pt x="141" y="528"/>
                  </a:lnTo>
                  <a:lnTo>
                    <a:pt x="142" y="528"/>
                  </a:lnTo>
                  <a:lnTo>
                    <a:pt x="143" y="528"/>
                  </a:lnTo>
                  <a:lnTo>
                    <a:pt x="143" y="531"/>
                  </a:lnTo>
                  <a:lnTo>
                    <a:pt x="142" y="532"/>
                  </a:lnTo>
                  <a:lnTo>
                    <a:pt x="142" y="533"/>
                  </a:lnTo>
                  <a:lnTo>
                    <a:pt x="143" y="532"/>
                  </a:lnTo>
                  <a:lnTo>
                    <a:pt x="145" y="531"/>
                  </a:lnTo>
                  <a:lnTo>
                    <a:pt x="145" y="529"/>
                  </a:lnTo>
                  <a:lnTo>
                    <a:pt x="148" y="527"/>
                  </a:lnTo>
                  <a:lnTo>
                    <a:pt x="151" y="527"/>
                  </a:lnTo>
                  <a:lnTo>
                    <a:pt x="151" y="529"/>
                  </a:lnTo>
                  <a:lnTo>
                    <a:pt x="146" y="533"/>
                  </a:lnTo>
                  <a:lnTo>
                    <a:pt x="145" y="535"/>
                  </a:lnTo>
                  <a:lnTo>
                    <a:pt x="137" y="540"/>
                  </a:lnTo>
                  <a:lnTo>
                    <a:pt x="137" y="541"/>
                  </a:lnTo>
                  <a:lnTo>
                    <a:pt x="142" y="539"/>
                  </a:lnTo>
                  <a:lnTo>
                    <a:pt x="143" y="539"/>
                  </a:lnTo>
                  <a:lnTo>
                    <a:pt x="143" y="541"/>
                  </a:lnTo>
                  <a:lnTo>
                    <a:pt x="145" y="541"/>
                  </a:lnTo>
                  <a:lnTo>
                    <a:pt x="146" y="537"/>
                  </a:lnTo>
                  <a:lnTo>
                    <a:pt x="148" y="537"/>
                  </a:lnTo>
                  <a:lnTo>
                    <a:pt x="148" y="541"/>
                  </a:lnTo>
                  <a:lnTo>
                    <a:pt x="150" y="545"/>
                  </a:lnTo>
                  <a:lnTo>
                    <a:pt x="151" y="546"/>
                  </a:lnTo>
                  <a:lnTo>
                    <a:pt x="152" y="546"/>
                  </a:lnTo>
                  <a:lnTo>
                    <a:pt x="153" y="547"/>
                  </a:lnTo>
                  <a:lnTo>
                    <a:pt x="154" y="547"/>
                  </a:lnTo>
                  <a:lnTo>
                    <a:pt x="154" y="543"/>
                  </a:lnTo>
                  <a:lnTo>
                    <a:pt x="157" y="541"/>
                  </a:lnTo>
                  <a:lnTo>
                    <a:pt x="158" y="540"/>
                  </a:lnTo>
                  <a:lnTo>
                    <a:pt x="158" y="538"/>
                  </a:lnTo>
                  <a:lnTo>
                    <a:pt x="159" y="537"/>
                  </a:lnTo>
                  <a:lnTo>
                    <a:pt x="160" y="538"/>
                  </a:lnTo>
                  <a:lnTo>
                    <a:pt x="162" y="539"/>
                  </a:lnTo>
                  <a:lnTo>
                    <a:pt x="164" y="541"/>
                  </a:lnTo>
                  <a:lnTo>
                    <a:pt x="165" y="543"/>
                  </a:lnTo>
                  <a:lnTo>
                    <a:pt x="165" y="547"/>
                  </a:lnTo>
                  <a:lnTo>
                    <a:pt x="166" y="549"/>
                  </a:lnTo>
                  <a:lnTo>
                    <a:pt x="166" y="547"/>
                  </a:lnTo>
                  <a:lnTo>
                    <a:pt x="168" y="546"/>
                  </a:lnTo>
                  <a:lnTo>
                    <a:pt x="168" y="539"/>
                  </a:lnTo>
                  <a:lnTo>
                    <a:pt x="169" y="538"/>
                  </a:lnTo>
                  <a:lnTo>
                    <a:pt x="169" y="544"/>
                  </a:lnTo>
                  <a:lnTo>
                    <a:pt x="170" y="544"/>
                  </a:lnTo>
                  <a:lnTo>
                    <a:pt x="170" y="543"/>
                  </a:lnTo>
                  <a:lnTo>
                    <a:pt x="171" y="540"/>
                  </a:lnTo>
                  <a:lnTo>
                    <a:pt x="171" y="539"/>
                  </a:lnTo>
                  <a:lnTo>
                    <a:pt x="172" y="539"/>
                  </a:lnTo>
                  <a:lnTo>
                    <a:pt x="174" y="540"/>
                  </a:lnTo>
                  <a:lnTo>
                    <a:pt x="174" y="541"/>
                  </a:lnTo>
                  <a:lnTo>
                    <a:pt x="174" y="540"/>
                  </a:lnTo>
                  <a:lnTo>
                    <a:pt x="176" y="539"/>
                  </a:lnTo>
                  <a:lnTo>
                    <a:pt x="175" y="538"/>
                  </a:lnTo>
                  <a:lnTo>
                    <a:pt x="174" y="535"/>
                  </a:lnTo>
                  <a:lnTo>
                    <a:pt x="174" y="534"/>
                  </a:lnTo>
                  <a:lnTo>
                    <a:pt x="175" y="532"/>
                  </a:lnTo>
                  <a:lnTo>
                    <a:pt x="175" y="531"/>
                  </a:lnTo>
                  <a:lnTo>
                    <a:pt x="176" y="531"/>
                  </a:lnTo>
                  <a:lnTo>
                    <a:pt x="177" y="531"/>
                  </a:lnTo>
                  <a:lnTo>
                    <a:pt x="176" y="532"/>
                  </a:lnTo>
                  <a:lnTo>
                    <a:pt x="176" y="534"/>
                  </a:lnTo>
                  <a:lnTo>
                    <a:pt x="175" y="535"/>
                  </a:lnTo>
                  <a:lnTo>
                    <a:pt x="176" y="537"/>
                  </a:lnTo>
                  <a:lnTo>
                    <a:pt x="176" y="539"/>
                  </a:lnTo>
                  <a:lnTo>
                    <a:pt x="177" y="539"/>
                  </a:lnTo>
                  <a:lnTo>
                    <a:pt x="177" y="540"/>
                  </a:lnTo>
                  <a:lnTo>
                    <a:pt x="176" y="544"/>
                  </a:lnTo>
                  <a:lnTo>
                    <a:pt x="176" y="547"/>
                  </a:lnTo>
                  <a:lnTo>
                    <a:pt x="177" y="547"/>
                  </a:lnTo>
                  <a:lnTo>
                    <a:pt x="178" y="545"/>
                  </a:lnTo>
                  <a:lnTo>
                    <a:pt x="178" y="544"/>
                  </a:lnTo>
                  <a:lnTo>
                    <a:pt x="180" y="543"/>
                  </a:lnTo>
                  <a:lnTo>
                    <a:pt x="181" y="541"/>
                  </a:lnTo>
                  <a:lnTo>
                    <a:pt x="181" y="537"/>
                  </a:lnTo>
                  <a:lnTo>
                    <a:pt x="181" y="535"/>
                  </a:lnTo>
                  <a:lnTo>
                    <a:pt x="182" y="535"/>
                  </a:lnTo>
                  <a:lnTo>
                    <a:pt x="183" y="537"/>
                  </a:lnTo>
                  <a:lnTo>
                    <a:pt x="184" y="538"/>
                  </a:lnTo>
                  <a:lnTo>
                    <a:pt x="186" y="540"/>
                  </a:lnTo>
                  <a:lnTo>
                    <a:pt x="186" y="541"/>
                  </a:lnTo>
                  <a:lnTo>
                    <a:pt x="187" y="543"/>
                  </a:lnTo>
                  <a:lnTo>
                    <a:pt x="187" y="544"/>
                  </a:lnTo>
                  <a:lnTo>
                    <a:pt x="187" y="546"/>
                  </a:lnTo>
                  <a:lnTo>
                    <a:pt x="186" y="546"/>
                  </a:lnTo>
                  <a:lnTo>
                    <a:pt x="182" y="547"/>
                  </a:lnTo>
                  <a:lnTo>
                    <a:pt x="178" y="551"/>
                  </a:lnTo>
                  <a:lnTo>
                    <a:pt x="177" y="551"/>
                  </a:lnTo>
                  <a:lnTo>
                    <a:pt x="178" y="552"/>
                  </a:lnTo>
                  <a:lnTo>
                    <a:pt x="180" y="551"/>
                  </a:lnTo>
                  <a:lnTo>
                    <a:pt x="181" y="551"/>
                  </a:lnTo>
                  <a:lnTo>
                    <a:pt x="182" y="551"/>
                  </a:lnTo>
                  <a:lnTo>
                    <a:pt x="183" y="550"/>
                  </a:lnTo>
                  <a:lnTo>
                    <a:pt x="184" y="552"/>
                  </a:lnTo>
                  <a:lnTo>
                    <a:pt x="183" y="552"/>
                  </a:lnTo>
                  <a:lnTo>
                    <a:pt x="183" y="553"/>
                  </a:lnTo>
                  <a:lnTo>
                    <a:pt x="182" y="555"/>
                  </a:lnTo>
                  <a:lnTo>
                    <a:pt x="180" y="556"/>
                  </a:lnTo>
                  <a:lnTo>
                    <a:pt x="178" y="555"/>
                  </a:lnTo>
                  <a:lnTo>
                    <a:pt x="177" y="553"/>
                  </a:lnTo>
                  <a:lnTo>
                    <a:pt x="176" y="552"/>
                  </a:lnTo>
                  <a:lnTo>
                    <a:pt x="176" y="555"/>
                  </a:lnTo>
                  <a:lnTo>
                    <a:pt x="171" y="555"/>
                  </a:lnTo>
                  <a:lnTo>
                    <a:pt x="169" y="553"/>
                  </a:lnTo>
                  <a:lnTo>
                    <a:pt x="168" y="553"/>
                  </a:lnTo>
                  <a:lnTo>
                    <a:pt x="166" y="552"/>
                  </a:lnTo>
                  <a:lnTo>
                    <a:pt x="165" y="553"/>
                  </a:lnTo>
                  <a:lnTo>
                    <a:pt x="164" y="555"/>
                  </a:lnTo>
                  <a:lnTo>
                    <a:pt x="156" y="555"/>
                  </a:lnTo>
                  <a:lnTo>
                    <a:pt x="156" y="553"/>
                  </a:lnTo>
                  <a:lnTo>
                    <a:pt x="153" y="553"/>
                  </a:lnTo>
                  <a:lnTo>
                    <a:pt x="152" y="555"/>
                  </a:lnTo>
                  <a:lnTo>
                    <a:pt x="151" y="555"/>
                  </a:lnTo>
                  <a:lnTo>
                    <a:pt x="150" y="555"/>
                  </a:lnTo>
                  <a:lnTo>
                    <a:pt x="150" y="553"/>
                  </a:lnTo>
                  <a:lnTo>
                    <a:pt x="147" y="553"/>
                  </a:lnTo>
                  <a:lnTo>
                    <a:pt x="146" y="555"/>
                  </a:lnTo>
                  <a:lnTo>
                    <a:pt x="142" y="555"/>
                  </a:lnTo>
                  <a:lnTo>
                    <a:pt x="141" y="555"/>
                  </a:lnTo>
                  <a:lnTo>
                    <a:pt x="140" y="556"/>
                  </a:lnTo>
                  <a:lnTo>
                    <a:pt x="137" y="556"/>
                  </a:lnTo>
                  <a:lnTo>
                    <a:pt x="136" y="556"/>
                  </a:lnTo>
                  <a:lnTo>
                    <a:pt x="134" y="556"/>
                  </a:lnTo>
                  <a:lnTo>
                    <a:pt x="131" y="557"/>
                  </a:lnTo>
                  <a:lnTo>
                    <a:pt x="129" y="557"/>
                  </a:lnTo>
                  <a:lnTo>
                    <a:pt x="127" y="558"/>
                  </a:lnTo>
                  <a:lnTo>
                    <a:pt x="123" y="559"/>
                  </a:lnTo>
                  <a:lnTo>
                    <a:pt x="122" y="561"/>
                  </a:lnTo>
                  <a:lnTo>
                    <a:pt x="121" y="561"/>
                  </a:lnTo>
                  <a:lnTo>
                    <a:pt x="116" y="561"/>
                  </a:lnTo>
                  <a:lnTo>
                    <a:pt x="116" y="562"/>
                  </a:lnTo>
                  <a:lnTo>
                    <a:pt x="115" y="563"/>
                  </a:lnTo>
                  <a:lnTo>
                    <a:pt x="113" y="563"/>
                  </a:lnTo>
                  <a:lnTo>
                    <a:pt x="112" y="564"/>
                  </a:lnTo>
                  <a:lnTo>
                    <a:pt x="111" y="564"/>
                  </a:lnTo>
                  <a:lnTo>
                    <a:pt x="111" y="567"/>
                  </a:lnTo>
                  <a:lnTo>
                    <a:pt x="110" y="567"/>
                  </a:lnTo>
                  <a:lnTo>
                    <a:pt x="109" y="568"/>
                  </a:lnTo>
                  <a:lnTo>
                    <a:pt x="106" y="568"/>
                  </a:lnTo>
                  <a:lnTo>
                    <a:pt x="104" y="567"/>
                  </a:lnTo>
                  <a:lnTo>
                    <a:pt x="103" y="567"/>
                  </a:lnTo>
                  <a:lnTo>
                    <a:pt x="101" y="567"/>
                  </a:lnTo>
                  <a:lnTo>
                    <a:pt x="101" y="568"/>
                  </a:lnTo>
                  <a:lnTo>
                    <a:pt x="100" y="568"/>
                  </a:lnTo>
                  <a:lnTo>
                    <a:pt x="97" y="567"/>
                  </a:lnTo>
                  <a:lnTo>
                    <a:pt x="99" y="569"/>
                  </a:lnTo>
                  <a:lnTo>
                    <a:pt x="100" y="569"/>
                  </a:lnTo>
                  <a:lnTo>
                    <a:pt x="99" y="570"/>
                  </a:lnTo>
                  <a:lnTo>
                    <a:pt x="92" y="573"/>
                  </a:lnTo>
                  <a:lnTo>
                    <a:pt x="92" y="574"/>
                  </a:lnTo>
                  <a:lnTo>
                    <a:pt x="99" y="573"/>
                  </a:lnTo>
                  <a:lnTo>
                    <a:pt x="100" y="573"/>
                  </a:lnTo>
                  <a:lnTo>
                    <a:pt x="100" y="574"/>
                  </a:lnTo>
                  <a:lnTo>
                    <a:pt x="100" y="576"/>
                  </a:lnTo>
                  <a:lnTo>
                    <a:pt x="101" y="575"/>
                  </a:lnTo>
                  <a:lnTo>
                    <a:pt x="103" y="574"/>
                  </a:lnTo>
                  <a:lnTo>
                    <a:pt x="103" y="571"/>
                  </a:lnTo>
                  <a:lnTo>
                    <a:pt x="104" y="571"/>
                  </a:lnTo>
                  <a:lnTo>
                    <a:pt x="104" y="573"/>
                  </a:lnTo>
                  <a:lnTo>
                    <a:pt x="105" y="573"/>
                  </a:lnTo>
                  <a:lnTo>
                    <a:pt x="106" y="570"/>
                  </a:lnTo>
                  <a:lnTo>
                    <a:pt x="107" y="570"/>
                  </a:lnTo>
                  <a:lnTo>
                    <a:pt x="107" y="574"/>
                  </a:lnTo>
                  <a:lnTo>
                    <a:pt x="109" y="575"/>
                  </a:lnTo>
                  <a:lnTo>
                    <a:pt x="110" y="577"/>
                  </a:lnTo>
                  <a:lnTo>
                    <a:pt x="110" y="579"/>
                  </a:lnTo>
                  <a:lnTo>
                    <a:pt x="111" y="580"/>
                  </a:lnTo>
                  <a:lnTo>
                    <a:pt x="112" y="581"/>
                  </a:lnTo>
                  <a:lnTo>
                    <a:pt x="113" y="581"/>
                  </a:lnTo>
                  <a:lnTo>
                    <a:pt x="113" y="583"/>
                  </a:lnTo>
                  <a:lnTo>
                    <a:pt x="115" y="585"/>
                  </a:lnTo>
                  <a:lnTo>
                    <a:pt x="116" y="585"/>
                  </a:lnTo>
                  <a:lnTo>
                    <a:pt x="116" y="583"/>
                  </a:lnTo>
                  <a:lnTo>
                    <a:pt x="117" y="582"/>
                  </a:lnTo>
                  <a:lnTo>
                    <a:pt x="117" y="580"/>
                  </a:lnTo>
                  <a:lnTo>
                    <a:pt x="116" y="579"/>
                  </a:lnTo>
                  <a:lnTo>
                    <a:pt x="117" y="577"/>
                  </a:lnTo>
                  <a:lnTo>
                    <a:pt x="117" y="576"/>
                  </a:lnTo>
                  <a:lnTo>
                    <a:pt x="116" y="574"/>
                  </a:lnTo>
                  <a:lnTo>
                    <a:pt x="116" y="571"/>
                  </a:lnTo>
                  <a:lnTo>
                    <a:pt x="117" y="570"/>
                  </a:lnTo>
                  <a:lnTo>
                    <a:pt x="117" y="568"/>
                  </a:lnTo>
                  <a:lnTo>
                    <a:pt x="117" y="567"/>
                  </a:lnTo>
                  <a:lnTo>
                    <a:pt x="118" y="565"/>
                  </a:lnTo>
                  <a:lnTo>
                    <a:pt x="119" y="564"/>
                  </a:lnTo>
                  <a:lnTo>
                    <a:pt x="121" y="565"/>
                  </a:lnTo>
                  <a:lnTo>
                    <a:pt x="121" y="567"/>
                  </a:lnTo>
                  <a:lnTo>
                    <a:pt x="118" y="568"/>
                  </a:lnTo>
                  <a:lnTo>
                    <a:pt x="118" y="570"/>
                  </a:lnTo>
                  <a:lnTo>
                    <a:pt x="119" y="569"/>
                  </a:lnTo>
                  <a:lnTo>
                    <a:pt x="121" y="569"/>
                  </a:lnTo>
                  <a:lnTo>
                    <a:pt x="121" y="571"/>
                  </a:lnTo>
                  <a:lnTo>
                    <a:pt x="121" y="573"/>
                  </a:lnTo>
                  <a:lnTo>
                    <a:pt x="119" y="574"/>
                  </a:lnTo>
                  <a:lnTo>
                    <a:pt x="119" y="576"/>
                  </a:lnTo>
                  <a:lnTo>
                    <a:pt x="119" y="579"/>
                  </a:lnTo>
                  <a:lnTo>
                    <a:pt x="121" y="580"/>
                  </a:lnTo>
                  <a:lnTo>
                    <a:pt x="121" y="579"/>
                  </a:lnTo>
                  <a:lnTo>
                    <a:pt x="122" y="576"/>
                  </a:lnTo>
                  <a:lnTo>
                    <a:pt x="122" y="574"/>
                  </a:lnTo>
                  <a:lnTo>
                    <a:pt x="123" y="574"/>
                  </a:lnTo>
                  <a:lnTo>
                    <a:pt x="123" y="576"/>
                  </a:lnTo>
                  <a:lnTo>
                    <a:pt x="124" y="577"/>
                  </a:lnTo>
                  <a:lnTo>
                    <a:pt x="125" y="577"/>
                  </a:lnTo>
                  <a:lnTo>
                    <a:pt x="125" y="576"/>
                  </a:lnTo>
                  <a:lnTo>
                    <a:pt x="125" y="575"/>
                  </a:lnTo>
                  <a:lnTo>
                    <a:pt x="125" y="574"/>
                  </a:lnTo>
                  <a:lnTo>
                    <a:pt x="127" y="573"/>
                  </a:lnTo>
                  <a:lnTo>
                    <a:pt x="127" y="571"/>
                  </a:lnTo>
                  <a:lnTo>
                    <a:pt x="128" y="571"/>
                  </a:lnTo>
                  <a:lnTo>
                    <a:pt x="128" y="573"/>
                  </a:lnTo>
                  <a:lnTo>
                    <a:pt x="128" y="574"/>
                  </a:lnTo>
                  <a:lnTo>
                    <a:pt x="128" y="575"/>
                  </a:lnTo>
                  <a:lnTo>
                    <a:pt x="128" y="577"/>
                  </a:lnTo>
                  <a:lnTo>
                    <a:pt x="128" y="579"/>
                  </a:lnTo>
                  <a:lnTo>
                    <a:pt x="128" y="583"/>
                  </a:lnTo>
                  <a:lnTo>
                    <a:pt x="128" y="586"/>
                  </a:lnTo>
                  <a:lnTo>
                    <a:pt x="129" y="585"/>
                  </a:lnTo>
                  <a:lnTo>
                    <a:pt x="129" y="583"/>
                  </a:lnTo>
                  <a:lnTo>
                    <a:pt x="129" y="581"/>
                  </a:lnTo>
                  <a:lnTo>
                    <a:pt x="130" y="581"/>
                  </a:lnTo>
                  <a:lnTo>
                    <a:pt x="130" y="580"/>
                  </a:lnTo>
                  <a:lnTo>
                    <a:pt x="131" y="580"/>
                  </a:lnTo>
                  <a:lnTo>
                    <a:pt x="131" y="579"/>
                  </a:lnTo>
                  <a:lnTo>
                    <a:pt x="131" y="577"/>
                  </a:lnTo>
                  <a:lnTo>
                    <a:pt x="131" y="573"/>
                  </a:lnTo>
                  <a:lnTo>
                    <a:pt x="133" y="573"/>
                  </a:lnTo>
                  <a:lnTo>
                    <a:pt x="134" y="574"/>
                  </a:lnTo>
                  <a:lnTo>
                    <a:pt x="135" y="573"/>
                  </a:lnTo>
                  <a:lnTo>
                    <a:pt x="135" y="569"/>
                  </a:lnTo>
                  <a:lnTo>
                    <a:pt x="136" y="568"/>
                  </a:lnTo>
                  <a:lnTo>
                    <a:pt x="136" y="569"/>
                  </a:lnTo>
                  <a:lnTo>
                    <a:pt x="136" y="573"/>
                  </a:lnTo>
                  <a:lnTo>
                    <a:pt x="136" y="575"/>
                  </a:lnTo>
                  <a:lnTo>
                    <a:pt x="136" y="577"/>
                  </a:lnTo>
                  <a:lnTo>
                    <a:pt x="136" y="579"/>
                  </a:lnTo>
                  <a:lnTo>
                    <a:pt x="137" y="577"/>
                  </a:lnTo>
                  <a:lnTo>
                    <a:pt x="139" y="577"/>
                  </a:lnTo>
                  <a:lnTo>
                    <a:pt x="140" y="577"/>
                  </a:lnTo>
                  <a:lnTo>
                    <a:pt x="140" y="576"/>
                  </a:lnTo>
                  <a:lnTo>
                    <a:pt x="140" y="581"/>
                  </a:lnTo>
                  <a:lnTo>
                    <a:pt x="141" y="582"/>
                  </a:lnTo>
                  <a:lnTo>
                    <a:pt x="142" y="582"/>
                  </a:lnTo>
                  <a:lnTo>
                    <a:pt x="142" y="576"/>
                  </a:lnTo>
                  <a:lnTo>
                    <a:pt x="143" y="576"/>
                  </a:lnTo>
                  <a:lnTo>
                    <a:pt x="143" y="579"/>
                  </a:lnTo>
                  <a:lnTo>
                    <a:pt x="143" y="580"/>
                  </a:lnTo>
                  <a:lnTo>
                    <a:pt x="145" y="580"/>
                  </a:lnTo>
                  <a:lnTo>
                    <a:pt x="145" y="581"/>
                  </a:lnTo>
                  <a:lnTo>
                    <a:pt x="146" y="583"/>
                  </a:lnTo>
                  <a:lnTo>
                    <a:pt x="146" y="585"/>
                  </a:lnTo>
                  <a:lnTo>
                    <a:pt x="146" y="586"/>
                  </a:lnTo>
                  <a:lnTo>
                    <a:pt x="147" y="586"/>
                  </a:lnTo>
                  <a:lnTo>
                    <a:pt x="147" y="587"/>
                  </a:lnTo>
                  <a:lnTo>
                    <a:pt x="148" y="589"/>
                  </a:lnTo>
                  <a:lnTo>
                    <a:pt x="150" y="589"/>
                  </a:lnTo>
                  <a:lnTo>
                    <a:pt x="150" y="588"/>
                  </a:lnTo>
                  <a:lnTo>
                    <a:pt x="151" y="587"/>
                  </a:lnTo>
                  <a:lnTo>
                    <a:pt x="151" y="585"/>
                  </a:lnTo>
                  <a:lnTo>
                    <a:pt x="152" y="583"/>
                  </a:lnTo>
                  <a:lnTo>
                    <a:pt x="152" y="582"/>
                  </a:lnTo>
                  <a:lnTo>
                    <a:pt x="153" y="581"/>
                  </a:lnTo>
                  <a:lnTo>
                    <a:pt x="153" y="582"/>
                  </a:lnTo>
                  <a:lnTo>
                    <a:pt x="154" y="581"/>
                  </a:lnTo>
                  <a:lnTo>
                    <a:pt x="154" y="579"/>
                  </a:lnTo>
                  <a:lnTo>
                    <a:pt x="154" y="577"/>
                  </a:lnTo>
                  <a:lnTo>
                    <a:pt x="156" y="577"/>
                  </a:lnTo>
                  <a:lnTo>
                    <a:pt x="157" y="579"/>
                  </a:lnTo>
                  <a:lnTo>
                    <a:pt x="157" y="580"/>
                  </a:lnTo>
                  <a:lnTo>
                    <a:pt x="158" y="579"/>
                  </a:lnTo>
                  <a:lnTo>
                    <a:pt x="158" y="580"/>
                  </a:lnTo>
                  <a:lnTo>
                    <a:pt x="158" y="581"/>
                  </a:lnTo>
                  <a:lnTo>
                    <a:pt x="158" y="582"/>
                  </a:lnTo>
                  <a:lnTo>
                    <a:pt x="157" y="583"/>
                  </a:lnTo>
                  <a:lnTo>
                    <a:pt x="157" y="585"/>
                  </a:lnTo>
                  <a:lnTo>
                    <a:pt x="158" y="585"/>
                  </a:lnTo>
                  <a:lnTo>
                    <a:pt x="157" y="586"/>
                  </a:lnTo>
                  <a:lnTo>
                    <a:pt x="157" y="587"/>
                  </a:lnTo>
                  <a:lnTo>
                    <a:pt x="157" y="588"/>
                  </a:lnTo>
                  <a:lnTo>
                    <a:pt x="158" y="588"/>
                  </a:lnTo>
                  <a:lnTo>
                    <a:pt x="159" y="588"/>
                  </a:lnTo>
                  <a:lnTo>
                    <a:pt x="159" y="587"/>
                  </a:lnTo>
                  <a:lnTo>
                    <a:pt x="162" y="586"/>
                  </a:lnTo>
                  <a:lnTo>
                    <a:pt x="163" y="586"/>
                  </a:lnTo>
                  <a:lnTo>
                    <a:pt x="164" y="587"/>
                  </a:lnTo>
                  <a:lnTo>
                    <a:pt x="165" y="588"/>
                  </a:lnTo>
                  <a:lnTo>
                    <a:pt x="166" y="587"/>
                  </a:lnTo>
                  <a:lnTo>
                    <a:pt x="166" y="586"/>
                  </a:lnTo>
                  <a:lnTo>
                    <a:pt x="166" y="583"/>
                  </a:lnTo>
                  <a:lnTo>
                    <a:pt x="168" y="582"/>
                  </a:lnTo>
                  <a:lnTo>
                    <a:pt x="168" y="583"/>
                  </a:lnTo>
                  <a:lnTo>
                    <a:pt x="170" y="585"/>
                  </a:lnTo>
                  <a:lnTo>
                    <a:pt x="169" y="586"/>
                  </a:lnTo>
                  <a:lnTo>
                    <a:pt x="168" y="587"/>
                  </a:lnTo>
                  <a:lnTo>
                    <a:pt x="168" y="588"/>
                  </a:lnTo>
                  <a:lnTo>
                    <a:pt x="169" y="588"/>
                  </a:lnTo>
                  <a:lnTo>
                    <a:pt x="170" y="587"/>
                  </a:lnTo>
                  <a:lnTo>
                    <a:pt x="171" y="587"/>
                  </a:lnTo>
                  <a:lnTo>
                    <a:pt x="172" y="587"/>
                  </a:lnTo>
                  <a:lnTo>
                    <a:pt x="174" y="587"/>
                  </a:lnTo>
                  <a:lnTo>
                    <a:pt x="174" y="586"/>
                  </a:lnTo>
                  <a:lnTo>
                    <a:pt x="174" y="585"/>
                  </a:lnTo>
                  <a:lnTo>
                    <a:pt x="175" y="585"/>
                  </a:lnTo>
                  <a:lnTo>
                    <a:pt x="176" y="585"/>
                  </a:lnTo>
                  <a:lnTo>
                    <a:pt x="177" y="585"/>
                  </a:lnTo>
                  <a:lnTo>
                    <a:pt x="177" y="586"/>
                  </a:lnTo>
                  <a:lnTo>
                    <a:pt x="178" y="587"/>
                  </a:lnTo>
                  <a:lnTo>
                    <a:pt x="180" y="588"/>
                  </a:lnTo>
                  <a:lnTo>
                    <a:pt x="178" y="589"/>
                  </a:lnTo>
                  <a:lnTo>
                    <a:pt x="176" y="589"/>
                  </a:lnTo>
                  <a:lnTo>
                    <a:pt x="175" y="589"/>
                  </a:lnTo>
                  <a:lnTo>
                    <a:pt x="174" y="589"/>
                  </a:lnTo>
                  <a:lnTo>
                    <a:pt x="172" y="589"/>
                  </a:lnTo>
                  <a:lnTo>
                    <a:pt x="172" y="588"/>
                  </a:lnTo>
                  <a:lnTo>
                    <a:pt x="171" y="588"/>
                  </a:lnTo>
                  <a:lnTo>
                    <a:pt x="171" y="589"/>
                  </a:lnTo>
                  <a:lnTo>
                    <a:pt x="170" y="589"/>
                  </a:lnTo>
                  <a:lnTo>
                    <a:pt x="169" y="588"/>
                  </a:lnTo>
                  <a:lnTo>
                    <a:pt x="168" y="588"/>
                  </a:lnTo>
                  <a:lnTo>
                    <a:pt x="168" y="589"/>
                  </a:lnTo>
                  <a:lnTo>
                    <a:pt x="166" y="589"/>
                  </a:lnTo>
                  <a:lnTo>
                    <a:pt x="165" y="589"/>
                  </a:lnTo>
                  <a:lnTo>
                    <a:pt x="164" y="591"/>
                  </a:lnTo>
                  <a:lnTo>
                    <a:pt x="163" y="591"/>
                  </a:lnTo>
                  <a:lnTo>
                    <a:pt x="162" y="589"/>
                  </a:lnTo>
                  <a:lnTo>
                    <a:pt x="156" y="589"/>
                  </a:lnTo>
                  <a:lnTo>
                    <a:pt x="156" y="591"/>
                  </a:lnTo>
                  <a:lnTo>
                    <a:pt x="154" y="591"/>
                  </a:lnTo>
                  <a:lnTo>
                    <a:pt x="154" y="592"/>
                  </a:lnTo>
                  <a:lnTo>
                    <a:pt x="156" y="592"/>
                  </a:lnTo>
                  <a:lnTo>
                    <a:pt x="158" y="592"/>
                  </a:lnTo>
                  <a:lnTo>
                    <a:pt x="159" y="592"/>
                  </a:lnTo>
                  <a:lnTo>
                    <a:pt x="159" y="593"/>
                  </a:lnTo>
                  <a:lnTo>
                    <a:pt x="160" y="593"/>
                  </a:lnTo>
                  <a:lnTo>
                    <a:pt x="160" y="594"/>
                  </a:lnTo>
                  <a:lnTo>
                    <a:pt x="160" y="595"/>
                  </a:lnTo>
                  <a:lnTo>
                    <a:pt x="159" y="595"/>
                  </a:lnTo>
                  <a:lnTo>
                    <a:pt x="159" y="597"/>
                  </a:lnTo>
                  <a:lnTo>
                    <a:pt x="159" y="598"/>
                  </a:lnTo>
                  <a:lnTo>
                    <a:pt x="160" y="597"/>
                  </a:lnTo>
                  <a:lnTo>
                    <a:pt x="162" y="594"/>
                  </a:lnTo>
                  <a:lnTo>
                    <a:pt x="163" y="593"/>
                  </a:lnTo>
                  <a:lnTo>
                    <a:pt x="164" y="592"/>
                  </a:lnTo>
                  <a:lnTo>
                    <a:pt x="165" y="593"/>
                  </a:lnTo>
                  <a:lnTo>
                    <a:pt x="165" y="594"/>
                  </a:lnTo>
                  <a:lnTo>
                    <a:pt x="164" y="595"/>
                  </a:lnTo>
                  <a:lnTo>
                    <a:pt x="165" y="595"/>
                  </a:lnTo>
                  <a:lnTo>
                    <a:pt x="165" y="594"/>
                  </a:lnTo>
                  <a:lnTo>
                    <a:pt x="166" y="593"/>
                  </a:lnTo>
                  <a:lnTo>
                    <a:pt x="168" y="593"/>
                  </a:lnTo>
                  <a:lnTo>
                    <a:pt x="169" y="593"/>
                  </a:lnTo>
                  <a:lnTo>
                    <a:pt x="169" y="594"/>
                  </a:lnTo>
                  <a:lnTo>
                    <a:pt x="169" y="593"/>
                  </a:lnTo>
                  <a:lnTo>
                    <a:pt x="170" y="592"/>
                  </a:lnTo>
                  <a:lnTo>
                    <a:pt x="171" y="592"/>
                  </a:lnTo>
                  <a:lnTo>
                    <a:pt x="171" y="593"/>
                  </a:lnTo>
                  <a:lnTo>
                    <a:pt x="170" y="594"/>
                  </a:lnTo>
                  <a:lnTo>
                    <a:pt x="170" y="595"/>
                  </a:lnTo>
                  <a:lnTo>
                    <a:pt x="170" y="597"/>
                  </a:lnTo>
                  <a:lnTo>
                    <a:pt x="170" y="598"/>
                  </a:lnTo>
                  <a:lnTo>
                    <a:pt x="168" y="598"/>
                  </a:lnTo>
                  <a:lnTo>
                    <a:pt x="168" y="599"/>
                  </a:lnTo>
                  <a:lnTo>
                    <a:pt x="168" y="600"/>
                  </a:lnTo>
                  <a:lnTo>
                    <a:pt x="169" y="600"/>
                  </a:lnTo>
                  <a:lnTo>
                    <a:pt x="170" y="601"/>
                  </a:lnTo>
                  <a:lnTo>
                    <a:pt x="171" y="600"/>
                  </a:lnTo>
                  <a:lnTo>
                    <a:pt x="171" y="599"/>
                  </a:lnTo>
                  <a:lnTo>
                    <a:pt x="172" y="598"/>
                  </a:lnTo>
                  <a:lnTo>
                    <a:pt x="172" y="597"/>
                  </a:lnTo>
                  <a:lnTo>
                    <a:pt x="172" y="595"/>
                  </a:lnTo>
                  <a:lnTo>
                    <a:pt x="174" y="594"/>
                  </a:lnTo>
                  <a:lnTo>
                    <a:pt x="174" y="593"/>
                  </a:lnTo>
                  <a:lnTo>
                    <a:pt x="175" y="593"/>
                  </a:lnTo>
                  <a:lnTo>
                    <a:pt x="176" y="593"/>
                  </a:lnTo>
                  <a:lnTo>
                    <a:pt x="177" y="593"/>
                  </a:lnTo>
                  <a:lnTo>
                    <a:pt x="177" y="594"/>
                  </a:lnTo>
                  <a:lnTo>
                    <a:pt x="176" y="595"/>
                  </a:lnTo>
                  <a:lnTo>
                    <a:pt x="176" y="597"/>
                  </a:lnTo>
                  <a:lnTo>
                    <a:pt x="176" y="599"/>
                  </a:lnTo>
                  <a:lnTo>
                    <a:pt x="177" y="598"/>
                  </a:lnTo>
                  <a:lnTo>
                    <a:pt x="177" y="597"/>
                  </a:lnTo>
                  <a:lnTo>
                    <a:pt x="177" y="595"/>
                  </a:lnTo>
                  <a:lnTo>
                    <a:pt x="178" y="595"/>
                  </a:lnTo>
                  <a:lnTo>
                    <a:pt x="178" y="594"/>
                  </a:lnTo>
                  <a:lnTo>
                    <a:pt x="180" y="593"/>
                  </a:lnTo>
                  <a:lnTo>
                    <a:pt x="180" y="594"/>
                  </a:lnTo>
                  <a:lnTo>
                    <a:pt x="181" y="594"/>
                  </a:lnTo>
                  <a:lnTo>
                    <a:pt x="181" y="595"/>
                  </a:lnTo>
                  <a:lnTo>
                    <a:pt x="180" y="597"/>
                  </a:lnTo>
                  <a:lnTo>
                    <a:pt x="180" y="598"/>
                  </a:lnTo>
                  <a:lnTo>
                    <a:pt x="180" y="599"/>
                  </a:lnTo>
                  <a:lnTo>
                    <a:pt x="181" y="600"/>
                  </a:lnTo>
                  <a:lnTo>
                    <a:pt x="181" y="601"/>
                  </a:lnTo>
                  <a:lnTo>
                    <a:pt x="181" y="603"/>
                  </a:lnTo>
                  <a:lnTo>
                    <a:pt x="181" y="604"/>
                  </a:lnTo>
                  <a:lnTo>
                    <a:pt x="182" y="603"/>
                  </a:lnTo>
                  <a:lnTo>
                    <a:pt x="182" y="600"/>
                  </a:lnTo>
                  <a:lnTo>
                    <a:pt x="183" y="600"/>
                  </a:lnTo>
                  <a:lnTo>
                    <a:pt x="183" y="599"/>
                  </a:lnTo>
                  <a:lnTo>
                    <a:pt x="184" y="598"/>
                  </a:lnTo>
                  <a:lnTo>
                    <a:pt x="184" y="599"/>
                  </a:lnTo>
                  <a:lnTo>
                    <a:pt x="186" y="600"/>
                  </a:lnTo>
                  <a:lnTo>
                    <a:pt x="186" y="599"/>
                  </a:lnTo>
                  <a:lnTo>
                    <a:pt x="186" y="598"/>
                  </a:lnTo>
                  <a:lnTo>
                    <a:pt x="186" y="597"/>
                  </a:lnTo>
                  <a:lnTo>
                    <a:pt x="186" y="595"/>
                  </a:lnTo>
                  <a:lnTo>
                    <a:pt x="187" y="595"/>
                  </a:lnTo>
                  <a:lnTo>
                    <a:pt x="187" y="593"/>
                  </a:lnTo>
                  <a:lnTo>
                    <a:pt x="187" y="591"/>
                  </a:lnTo>
                  <a:lnTo>
                    <a:pt x="187" y="589"/>
                  </a:lnTo>
                  <a:lnTo>
                    <a:pt x="187" y="587"/>
                  </a:lnTo>
                  <a:lnTo>
                    <a:pt x="187" y="586"/>
                  </a:lnTo>
                  <a:lnTo>
                    <a:pt x="186" y="585"/>
                  </a:lnTo>
                  <a:lnTo>
                    <a:pt x="186" y="582"/>
                  </a:lnTo>
                  <a:lnTo>
                    <a:pt x="187" y="583"/>
                  </a:lnTo>
                  <a:lnTo>
                    <a:pt x="187" y="586"/>
                  </a:lnTo>
                  <a:lnTo>
                    <a:pt x="188" y="587"/>
                  </a:lnTo>
                  <a:lnTo>
                    <a:pt x="188" y="588"/>
                  </a:lnTo>
                  <a:lnTo>
                    <a:pt x="189" y="589"/>
                  </a:lnTo>
                  <a:lnTo>
                    <a:pt x="189" y="592"/>
                  </a:lnTo>
                  <a:lnTo>
                    <a:pt x="189" y="593"/>
                  </a:lnTo>
                  <a:lnTo>
                    <a:pt x="188" y="594"/>
                  </a:lnTo>
                  <a:lnTo>
                    <a:pt x="188" y="598"/>
                  </a:lnTo>
                  <a:lnTo>
                    <a:pt x="188" y="599"/>
                  </a:lnTo>
                  <a:lnTo>
                    <a:pt x="188" y="600"/>
                  </a:lnTo>
                  <a:lnTo>
                    <a:pt x="187" y="601"/>
                  </a:lnTo>
                  <a:lnTo>
                    <a:pt x="187" y="603"/>
                  </a:lnTo>
                  <a:lnTo>
                    <a:pt x="187" y="604"/>
                  </a:lnTo>
                  <a:lnTo>
                    <a:pt x="188" y="605"/>
                  </a:lnTo>
                  <a:lnTo>
                    <a:pt x="190" y="605"/>
                  </a:lnTo>
                  <a:lnTo>
                    <a:pt x="192" y="604"/>
                  </a:lnTo>
                  <a:lnTo>
                    <a:pt x="192" y="603"/>
                  </a:lnTo>
                  <a:lnTo>
                    <a:pt x="190" y="601"/>
                  </a:lnTo>
                  <a:lnTo>
                    <a:pt x="190" y="600"/>
                  </a:lnTo>
                  <a:lnTo>
                    <a:pt x="192" y="600"/>
                  </a:lnTo>
                  <a:lnTo>
                    <a:pt x="193" y="600"/>
                  </a:lnTo>
                  <a:lnTo>
                    <a:pt x="193" y="603"/>
                  </a:lnTo>
                  <a:lnTo>
                    <a:pt x="193" y="604"/>
                  </a:lnTo>
                  <a:lnTo>
                    <a:pt x="194" y="603"/>
                  </a:lnTo>
                  <a:lnTo>
                    <a:pt x="195" y="603"/>
                  </a:lnTo>
                  <a:lnTo>
                    <a:pt x="196" y="601"/>
                  </a:lnTo>
                  <a:lnTo>
                    <a:pt x="198" y="603"/>
                  </a:lnTo>
                  <a:lnTo>
                    <a:pt x="199" y="604"/>
                  </a:lnTo>
                  <a:lnTo>
                    <a:pt x="199" y="605"/>
                  </a:lnTo>
                  <a:lnTo>
                    <a:pt x="200" y="604"/>
                  </a:lnTo>
                  <a:lnTo>
                    <a:pt x="200" y="605"/>
                  </a:lnTo>
                  <a:lnTo>
                    <a:pt x="200" y="606"/>
                  </a:lnTo>
                  <a:lnTo>
                    <a:pt x="200" y="607"/>
                  </a:lnTo>
                  <a:lnTo>
                    <a:pt x="199" y="609"/>
                  </a:lnTo>
                  <a:lnTo>
                    <a:pt x="198" y="610"/>
                  </a:lnTo>
                  <a:lnTo>
                    <a:pt x="196" y="611"/>
                  </a:lnTo>
                  <a:lnTo>
                    <a:pt x="196" y="612"/>
                  </a:lnTo>
                  <a:lnTo>
                    <a:pt x="199" y="612"/>
                  </a:lnTo>
                  <a:lnTo>
                    <a:pt x="200" y="612"/>
                  </a:lnTo>
                  <a:lnTo>
                    <a:pt x="200" y="611"/>
                  </a:lnTo>
                  <a:lnTo>
                    <a:pt x="202" y="610"/>
                  </a:lnTo>
                  <a:lnTo>
                    <a:pt x="204" y="610"/>
                  </a:lnTo>
                  <a:lnTo>
                    <a:pt x="204" y="609"/>
                  </a:lnTo>
                  <a:lnTo>
                    <a:pt x="205" y="607"/>
                  </a:lnTo>
                  <a:lnTo>
                    <a:pt x="206" y="607"/>
                  </a:lnTo>
                  <a:lnTo>
                    <a:pt x="206" y="609"/>
                  </a:lnTo>
                  <a:lnTo>
                    <a:pt x="207" y="610"/>
                  </a:lnTo>
                  <a:lnTo>
                    <a:pt x="207" y="611"/>
                  </a:lnTo>
                  <a:lnTo>
                    <a:pt x="207" y="612"/>
                  </a:lnTo>
                  <a:lnTo>
                    <a:pt x="206" y="613"/>
                  </a:lnTo>
                  <a:lnTo>
                    <a:pt x="206" y="615"/>
                  </a:lnTo>
                  <a:lnTo>
                    <a:pt x="205" y="616"/>
                  </a:lnTo>
                  <a:lnTo>
                    <a:pt x="202" y="616"/>
                  </a:lnTo>
                  <a:lnTo>
                    <a:pt x="201" y="616"/>
                  </a:lnTo>
                  <a:lnTo>
                    <a:pt x="200" y="616"/>
                  </a:lnTo>
                  <a:lnTo>
                    <a:pt x="199" y="616"/>
                  </a:lnTo>
                  <a:lnTo>
                    <a:pt x="198" y="616"/>
                  </a:lnTo>
                  <a:lnTo>
                    <a:pt x="198" y="617"/>
                  </a:lnTo>
                  <a:lnTo>
                    <a:pt x="196" y="617"/>
                  </a:lnTo>
                  <a:lnTo>
                    <a:pt x="195" y="617"/>
                  </a:lnTo>
                  <a:lnTo>
                    <a:pt x="193" y="617"/>
                  </a:lnTo>
                  <a:lnTo>
                    <a:pt x="190" y="618"/>
                  </a:lnTo>
                  <a:lnTo>
                    <a:pt x="188" y="618"/>
                  </a:lnTo>
                  <a:lnTo>
                    <a:pt x="187" y="618"/>
                  </a:lnTo>
                  <a:lnTo>
                    <a:pt x="186" y="619"/>
                  </a:lnTo>
                  <a:lnTo>
                    <a:pt x="184" y="619"/>
                  </a:lnTo>
                  <a:lnTo>
                    <a:pt x="183" y="619"/>
                  </a:lnTo>
                  <a:lnTo>
                    <a:pt x="182" y="619"/>
                  </a:lnTo>
                  <a:lnTo>
                    <a:pt x="181" y="619"/>
                  </a:lnTo>
                  <a:lnTo>
                    <a:pt x="180" y="619"/>
                  </a:lnTo>
                  <a:lnTo>
                    <a:pt x="180" y="621"/>
                  </a:lnTo>
                  <a:lnTo>
                    <a:pt x="178" y="621"/>
                  </a:lnTo>
                  <a:lnTo>
                    <a:pt x="177" y="622"/>
                  </a:lnTo>
                  <a:lnTo>
                    <a:pt x="176" y="622"/>
                  </a:lnTo>
                  <a:lnTo>
                    <a:pt x="175" y="621"/>
                  </a:lnTo>
                  <a:lnTo>
                    <a:pt x="175" y="622"/>
                  </a:lnTo>
                  <a:lnTo>
                    <a:pt x="174" y="622"/>
                  </a:lnTo>
                  <a:lnTo>
                    <a:pt x="166" y="622"/>
                  </a:lnTo>
                  <a:lnTo>
                    <a:pt x="165" y="622"/>
                  </a:lnTo>
                  <a:lnTo>
                    <a:pt x="164" y="621"/>
                  </a:lnTo>
                  <a:lnTo>
                    <a:pt x="163" y="622"/>
                  </a:lnTo>
                  <a:lnTo>
                    <a:pt x="162" y="622"/>
                  </a:lnTo>
                  <a:lnTo>
                    <a:pt x="160" y="622"/>
                  </a:lnTo>
                  <a:lnTo>
                    <a:pt x="158" y="622"/>
                  </a:lnTo>
                  <a:lnTo>
                    <a:pt x="156" y="622"/>
                  </a:lnTo>
                  <a:lnTo>
                    <a:pt x="156" y="623"/>
                  </a:lnTo>
                  <a:lnTo>
                    <a:pt x="154" y="623"/>
                  </a:lnTo>
                  <a:lnTo>
                    <a:pt x="153" y="623"/>
                  </a:lnTo>
                  <a:lnTo>
                    <a:pt x="152" y="622"/>
                  </a:lnTo>
                  <a:lnTo>
                    <a:pt x="150" y="622"/>
                  </a:lnTo>
                  <a:lnTo>
                    <a:pt x="150" y="623"/>
                  </a:lnTo>
                  <a:lnTo>
                    <a:pt x="147" y="623"/>
                  </a:lnTo>
                  <a:lnTo>
                    <a:pt x="146" y="622"/>
                  </a:lnTo>
                  <a:lnTo>
                    <a:pt x="147" y="621"/>
                  </a:lnTo>
                  <a:lnTo>
                    <a:pt x="146" y="619"/>
                  </a:lnTo>
                  <a:lnTo>
                    <a:pt x="145" y="621"/>
                  </a:lnTo>
                  <a:lnTo>
                    <a:pt x="145" y="622"/>
                  </a:lnTo>
                  <a:lnTo>
                    <a:pt x="142" y="622"/>
                  </a:lnTo>
                  <a:lnTo>
                    <a:pt x="141" y="622"/>
                  </a:lnTo>
                  <a:lnTo>
                    <a:pt x="141" y="623"/>
                  </a:lnTo>
                  <a:lnTo>
                    <a:pt x="142" y="623"/>
                  </a:lnTo>
                  <a:lnTo>
                    <a:pt x="142" y="624"/>
                  </a:lnTo>
                  <a:lnTo>
                    <a:pt x="141" y="624"/>
                  </a:lnTo>
                  <a:lnTo>
                    <a:pt x="140" y="624"/>
                  </a:lnTo>
                  <a:lnTo>
                    <a:pt x="139" y="625"/>
                  </a:lnTo>
                  <a:lnTo>
                    <a:pt x="137" y="625"/>
                  </a:lnTo>
                  <a:lnTo>
                    <a:pt x="135" y="625"/>
                  </a:lnTo>
                  <a:lnTo>
                    <a:pt x="134" y="625"/>
                  </a:lnTo>
                  <a:lnTo>
                    <a:pt x="133" y="625"/>
                  </a:lnTo>
                  <a:lnTo>
                    <a:pt x="133" y="624"/>
                  </a:lnTo>
                  <a:lnTo>
                    <a:pt x="131" y="623"/>
                  </a:lnTo>
                  <a:lnTo>
                    <a:pt x="130" y="624"/>
                  </a:lnTo>
                  <a:lnTo>
                    <a:pt x="131" y="624"/>
                  </a:lnTo>
                  <a:lnTo>
                    <a:pt x="131" y="625"/>
                  </a:lnTo>
                  <a:lnTo>
                    <a:pt x="133" y="625"/>
                  </a:lnTo>
                  <a:lnTo>
                    <a:pt x="131" y="627"/>
                  </a:lnTo>
                  <a:lnTo>
                    <a:pt x="130" y="627"/>
                  </a:lnTo>
                  <a:lnTo>
                    <a:pt x="129" y="628"/>
                  </a:lnTo>
                  <a:lnTo>
                    <a:pt x="129" y="629"/>
                  </a:lnTo>
                  <a:lnTo>
                    <a:pt x="128" y="628"/>
                  </a:lnTo>
                  <a:lnTo>
                    <a:pt x="127" y="628"/>
                  </a:lnTo>
                  <a:lnTo>
                    <a:pt x="127" y="627"/>
                  </a:lnTo>
                  <a:lnTo>
                    <a:pt x="125" y="628"/>
                  </a:lnTo>
                  <a:lnTo>
                    <a:pt x="124" y="629"/>
                  </a:lnTo>
                  <a:lnTo>
                    <a:pt x="123" y="628"/>
                  </a:lnTo>
                  <a:lnTo>
                    <a:pt x="121" y="628"/>
                  </a:lnTo>
                  <a:lnTo>
                    <a:pt x="118" y="628"/>
                  </a:lnTo>
                  <a:lnTo>
                    <a:pt x="117" y="628"/>
                  </a:lnTo>
                  <a:lnTo>
                    <a:pt x="115" y="628"/>
                  </a:lnTo>
                  <a:lnTo>
                    <a:pt x="110" y="628"/>
                  </a:lnTo>
                  <a:lnTo>
                    <a:pt x="109" y="628"/>
                  </a:lnTo>
                  <a:lnTo>
                    <a:pt x="110" y="629"/>
                  </a:lnTo>
                  <a:lnTo>
                    <a:pt x="110" y="630"/>
                  </a:lnTo>
                  <a:lnTo>
                    <a:pt x="112" y="629"/>
                  </a:lnTo>
                  <a:lnTo>
                    <a:pt x="115" y="629"/>
                  </a:lnTo>
                  <a:lnTo>
                    <a:pt x="115" y="630"/>
                  </a:lnTo>
                  <a:lnTo>
                    <a:pt x="117" y="630"/>
                  </a:lnTo>
                  <a:lnTo>
                    <a:pt x="118" y="630"/>
                  </a:lnTo>
                  <a:lnTo>
                    <a:pt x="119" y="630"/>
                  </a:lnTo>
                  <a:lnTo>
                    <a:pt x="119" y="631"/>
                  </a:lnTo>
                  <a:lnTo>
                    <a:pt x="119" y="633"/>
                  </a:lnTo>
                  <a:lnTo>
                    <a:pt x="118" y="634"/>
                  </a:lnTo>
                  <a:lnTo>
                    <a:pt x="118" y="636"/>
                  </a:lnTo>
                  <a:lnTo>
                    <a:pt x="119" y="635"/>
                  </a:lnTo>
                  <a:lnTo>
                    <a:pt x="121" y="634"/>
                  </a:lnTo>
                  <a:lnTo>
                    <a:pt x="121" y="633"/>
                  </a:lnTo>
                  <a:lnTo>
                    <a:pt x="123" y="631"/>
                  </a:lnTo>
                  <a:lnTo>
                    <a:pt x="124" y="630"/>
                  </a:lnTo>
                  <a:lnTo>
                    <a:pt x="125" y="630"/>
                  </a:lnTo>
                  <a:lnTo>
                    <a:pt x="125" y="633"/>
                  </a:lnTo>
                  <a:lnTo>
                    <a:pt x="125" y="634"/>
                  </a:lnTo>
                  <a:lnTo>
                    <a:pt x="125" y="635"/>
                  </a:lnTo>
                  <a:lnTo>
                    <a:pt x="127" y="634"/>
                  </a:lnTo>
                  <a:lnTo>
                    <a:pt x="128" y="633"/>
                  </a:lnTo>
                  <a:lnTo>
                    <a:pt x="128" y="631"/>
                  </a:lnTo>
                  <a:lnTo>
                    <a:pt x="129" y="630"/>
                  </a:lnTo>
                  <a:lnTo>
                    <a:pt x="130" y="629"/>
                  </a:lnTo>
                  <a:lnTo>
                    <a:pt x="131" y="629"/>
                  </a:lnTo>
                  <a:lnTo>
                    <a:pt x="131" y="630"/>
                  </a:lnTo>
                  <a:lnTo>
                    <a:pt x="131" y="633"/>
                  </a:lnTo>
                  <a:lnTo>
                    <a:pt x="130" y="634"/>
                  </a:lnTo>
                  <a:lnTo>
                    <a:pt x="131" y="636"/>
                  </a:lnTo>
                  <a:lnTo>
                    <a:pt x="130" y="636"/>
                  </a:lnTo>
                  <a:lnTo>
                    <a:pt x="130" y="638"/>
                  </a:lnTo>
                  <a:lnTo>
                    <a:pt x="130" y="639"/>
                  </a:lnTo>
                  <a:lnTo>
                    <a:pt x="131" y="640"/>
                  </a:lnTo>
                  <a:lnTo>
                    <a:pt x="131" y="641"/>
                  </a:lnTo>
                  <a:lnTo>
                    <a:pt x="131" y="642"/>
                  </a:lnTo>
                  <a:lnTo>
                    <a:pt x="131" y="644"/>
                  </a:lnTo>
                  <a:lnTo>
                    <a:pt x="130" y="645"/>
                  </a:lnTo>
                  <a:lnTo>
                    <a:pt x="129" y="645"/>
                  </a:lnTo>
                  <a:lnTo>
                    <a:pt x="130" y="645"/>
                  </a:lnTo>
                  <a:lnTo>
                    <a:pt x="131" y="645"/>
                  </a:lnTo>
                  <a:lnTo>
                    <a:pt x="131" y="646"/>
                  </a:lnTo>
                  <a:lnTo>
                    <a:pt x="130" y="647"/>
                  </a:lnTo>
                  <a:lnTo>
                    <a:pt x="129" y="647"/>
                  </a:lnTo>
                  <a:lnTo>
                    <a:pt x="129" y="646"/>
                  </a:lnTo>
                  <a:lnTo>
                    <a:pt x="127" y="646"/>
                  </a:lnTo>
                  <a:lnTo>
                    <a:pt x="127" y="647"/>
                  </a:lnTo>
                  <a:lnTo>
                    <a:pt x="124" y="647"/>
                  </a:lnTo>
                  <a:lnTo>
                    <a:pt x="123" y="646"/>
                  </a:lnTo>
                  <a:lnTo>
                    <a:pt x="122" y="646"/>
                  </a:lnTo>
                  <a:lnTo>
                    <a:pt x="119" y="646"/>
                  </a:lnTo>
                  <a:lnTo>
                    <a:pt x="119" y="645"/>
                  </a:lnTo>
                  <a:lnTo>
                    <a:pt x="118" y="645"/>
                  </a:lnTo>
                  <a:lnTo>
                    <a:pt x="117" y="645"/>
                  </a:lnTo>
                  <a:lnTo>
                    <a:pt x="116" y="644"/>
                  </a:lnTo>
                  <a:lnTo>
                    <a:pt x="115" y="644"/>
                  </a:lnTo>
                  <a:lnTo>
                    <a:pt x="113" y="644"/>
                  </a:lnTo>
                  <a:lnTo>
                    <a:pt x="111" y="644"/>
                  </a:lnTo>
                  <a:lnTo>
                    <a:pt x="110" y="644"/>
                  </a:lnTo>
                  <a:lnTo>
                    <a:pt x="109" y="644"/>
                  </a:lnTo>
                  <a:lnTo>
                    <a:pt x="107" y="642"/>
                  </a:lnTo>
                  <a:lnTo>
                    <a:pt x="106" y="642"/>
                  </a:lnTo>
                  <a:lnTo>
                    <a:pt x="105" y="642"/>
                  </a:lnTo>
                  <a:lnTo>
                    <a:pt x="104" y="644"/>
                  </a:lnTo>
                  <a:lnTo>
                    <a:pt x="103" y="644"/>
                  </a:lnTo>
                  <a:lnTo>
                    <a:pt x="100" y="644"/>
                  </a:lnTo>
                  <a:lnTo>
                    <a:pt x="99" y="644"/>
                  </a:lnTo>
                  <a:lnTo>
                    <a:pt x="98" y="644"/>
                  </a:lnTo>
                  <a:lnTo>
                    <a:pt x="95" y="642"/>
                  </a:lnTo>
                  <a:lnTo>
                    <a:pt x="94" y="641"/>
                  </a:lnTo>
                  <a:lnTo>
                    <a:pt x="93" y="640"/>
                  </a:lnTo>
                  <a:lnTo>
                    <a:pt x="92" y="640"/>
                  </a:lnTo>
                  <a:lnTo>
                    <a:pt x="89" y="640"/>
                  </a:lnTo>
                  <a:lnTo>
                    <a:pt x="91" y="641"/>
                  </a:lnTo>
                  <a:lnTo>
                    <a:pt x="92" y="641"/>
                  </a:lnTo>
                  <a:lnTo>
                    <a:pt x="93" y="642"/>
                  </a:lnTo>
                  <a:lnTo>
                    <a:pt x="94" y="642"/>
                  </a:lnTo>
                  <a:lnTo>
                    <a:pt x="95" y="644"/>
                  </a:lnTo>
                  <a:lnTo>
                    <a:pt x="95" y="645"/>
                  </a:lnTo>
                  <a:lnTo>
                    <a:pt x="95" y="646"/>
                  </a:lnTo>
                  <a:lnTo>
                    <a:pt x="94" y="646"/>
                  </a:lnTo>
                  <a:lnTo>
                    <a:pt x="92" y="646"/>
                  </a:lnTo>
                  <a:lnTo>
                    <a:pt x="89" y="646"/>
                  </a:lnTo>
                  <a:lnTo>
                    <a:pt x="88" y="646"/>
                  </a:lnTo>
                  <a:lnTo>
                    <a:pt x="87" y="647"/>
                  </a:lnTo>
                  <a:lnTo>
                    <a:pt x="86" y="647"/>
                  </a:lnTo>
                  <a:lnTo>
                    <a:pt x="86" y="648"/>
                  </a:lnTo>
                  <a:lnTo>
                    <a:pt x="88" y="648"/>
                  </a:lnTo>
                  <a:lnTo>
                    <a:pt x="91" y="648"/>
                  </a:lnTo>
                  <a:lnTo>
                    <a:pt x="91" y="650"/>
                  </a:lnTo>
                  <a:lnTo>
                    <a:pt x="89" y="650"/>
                  </a:lnTo>
                  <a:lnTo>
                    <a:pt x="87" y="651"/>
                  </a:lnTo>
                  <a:lnTo>
                    <a:pt x="86" y="652"/>
                  </a:lnTo>
                  <a:lnTo>
                    <a:pt x="84" y="652"/>
                  </a:lnTo>
                  <a:lnTo>
                    <a:pt x="83" y="652"/>
                  </a:lnTo>
                  <a:lnTo>
                    <a:pt x="83" y="651"/>
                  </a:lnTo>
                  <a:lnTo>
                    <a:pt x="81" y="651"/>
                  </a:lnTo>
                  <a:lnTo>
                    <a:pt x="80" y="651"/>
                  </a:lnTo>
                  <a:lnTo>
                    <a:pt x="78" y="651"/>
                  </a:lnTo>
                  <a:lnTo>
                    <a:pt x="78" y="652"/>
                  </a:lnTo>
                  <a:lnTo>
                    <a:pt x="80" y="652"/>
                  </a:lnTo>
                  <a:lnTo>
                    <a:pt x="81" y="652"/>
                  </a:lnTo>
                  <a:lnTo>
                    <a:pt x="81" y="653"/>
                  </a:lnTo>
                  <a:lnTo>
                    <a:pt x="75" y="653"/>
                  </a:lnTo>
                  <a:lnTo>
                    <a:pt x="75" y="654"/>
                  </a:lnTo>
                  <a:lnTo>
                    <a:pt x="76" y="654"/>
                  </a:lnTo>
                  <a:lnTo>
                    <a:pt x="78" y="654"/>
                  </a:lnTo>
                  <a:lnTo>
                    <a:pt x="80" y="654"/>
                  </a:lnTo>
                  <a:lnTo>
                    <a:pt x="81" y="654"/>
                  </a:lnTo>
                  <a:lnTo>
                    <a:pt x="81" y="656"/>
                  </a:lnTo>
                  <a:lnTo>
                    <a:pt x="81" y="657"/>
                  </a:lnTo>
                  <a:lnTo>
                    <a:pt x="82" y="657"/>
                  </a:lnTo>
                  <a:lnTo>
                    <a:pt x="82" y="656"/>
                  </a:lnTo>
                  <a:lnTo>
                    <a:pt x="83" y="656"/>
                  </a:lnTo>
                  <a:lnTo>
                    <a:pt x="84" y="654"/>
                  </a:lnTo>
                  <a:lnTo>
                    <a:pt x="86" y="654"/>
                  </a:lnTo>
                  <a:lnTo>
                    <a:pt x="86" y="656"/>
                  </a:lnTo>
                  <a:lnTo>
                    <a:pt x="86" y="659"/>
                  </a:lnTo>
                  <a:lnTo>
                    <a:pt x="86" y="663"/>
                  </a:lnTo>
                  <a:lnTo>
                    <a:pt x="86" y="665"/>
                  </a:lnTo>
                  <a:lnTo>
                    <a:pt x="87" y="665"/>
                  </a:lnTo>
                  <a:lnTo>
                    <a:pt x="88" y="663"/>
                  </a:lnTo>
                  <a:lnTo>
                    <a:pt x="88" y="660"/>
                  </a:lnTo>
                  <a:lnTo>
                    <a:pt x="89" y="662"/>
                  </a:lnTo>
                  <a:lnTo>
                    <a:pt x="89" y="663"/>
                  </a:lnTo>
                  <a:lnTo>
                    <a:pt x="89" y="665"/>
                  </a:lnTo>
                  <a:lnTo>
                    <a:pt x="91" y="665"/>
                  </a:lnTo>
                  <a:lnTo>
                    <a:pt x="92" y="664"/>
                  </a:lnTo>
                  <a:lnTo>
                    <a:pt x="92" y="663"/>
                  </a:lnTo>
                  <a:lnTo>
                    <a:pt x="92" y="659"/>
                  </a:lnTo>
                  <a:lnTo>
                    <a:pt x="91" y="656"/>
                  </a:lnTo>
                  <a:lnTo>
                    <a:pt x="91" y="654"/>
                  </a:lnTo>
                  <a:lnTo>
                    <a:pt x="92" y="653"/>
                  </a:lnTo>
                  <a:lnTo>
                    <a:pt x="93" y="652"/>
                  </a:lnTo>
                  <a:lnTo>
                    <a:pt x="95" y="651"/>
                  </a:lnTo>
                  <a:lnTo>
                    <a:pt x="95" y="652"/>
                  </a:lnTo>
                  <a:lnTo>
                    <a:pt x="94" y="653"/>
                  </a:lnTo>
                  <a:lnTo>
                    <a:pt x="94" y="654"/>
                  </a:lnTo>
                  <a:lnTo>
                    <a:pt x="93" y="654"/>
                  </a:lnTo>
                  <a:lnTo>
                    <a:pt x="92" y="656"/>
                  </a:lnTo>
                  <a:lnTo>
                    <a:pt x="92" y="657"/>
                  </a:lnTo>
                  <a:lnTo>
                    <a:pt x="93" y="658"/>
                  </a:lnTo>
                  <a:lnTo>
                    <a:pt x="93" y="659"/>
                  </a:lnTo>
                  <a:lnTo>
                    <a:pt x="93" y="662"/>
                  </a:lnTo>
                  <a:lnTo>
                    <a:pt x="92" y="663"/>
                  </a:lnTo>
                  <a:lnTo>
                    <a:pt x="93" y="665"/>
                  </a:lnTo>
                  <a:lnTo>
                    <a:pt x="93" y="666"/>
                  </a:lnTo>
                  <a:lnTo>
                    <a:pt x="93" y="670"/>
                  </a:lnTo>
                  <a:lnTo>
                    <a:pt x="93" y="671"/>
                  </a:lnTo>
                  <a:lnTo>
                    <a:pt x="94" y="671"/>
                  </a:lnTo>
                  <a:lnTo>
                    <a:pt x="94" y="670"/>
                  </a:lnTo>
                  <a:lnTo>
                    <a:pt x="94" y="658"/>
                  </a:lnTo>
                  <a:lnTo>
                    <a:pt x="95" y="658"/>
                  </a:lnTo>
                  <a:lnTo>
                    <a:pt x="97" y="659"/>
                  </a:lnTo>
                  <a:lnTo>
                    <a:pt x="97" y="662"/>
                  </a:lnTo>
                  <a:lnTo>
                    <a:pt x="97" y="663"/>
                  </a:lnTo>
                  <a:lnTo>
                    <a:pt x="97" y="664"/>
                  </a:lnTo>
                  <a:lnTo>
                    <a:pt x="97" y="665"/>
                  </a:lnTo>
                  <a:lnTo>
                    <a:pt x="97" y="666"/>
                  </a:lnTo>
                  <a:lnTo>
                    <a:pt x="97" y="668"/>
                  </a:lnTo>
                  <a:lnTo>
                    <a:pt x="97" y="669"/>
                  </a:lnTo>
                  <a:lnTo>
                    <a:pt x="97" y="670"/>
                  </a:lnTo>
                  <a:lnTo>
                    <a:pt x="97" y="675"/>
                  </a:lnTo>
                  <a:lnTo>
                    <a:pt x="98" y="676"/>
                  </a:lnTo>
                  <a:lnTo>
                    <a:pt x="99" y="677"/>
                  </a:lnTo>
                  <a:lnTo>
                    <a:pt x="99" y="676"/>
                  </a:lnTo>
                  <a:lnTo>
                    <a:pt x="99" y="675"/>
                  </a:lnTo>
                  <a:lnTo>
                    <a:pt x="99" y="664"/>
                  </a:lnTo>
                  <a:lnTo>
                    <a:pt x="99" y="663"/>
                  </a:lnTo>
                  <a:lnTo>
                    <a:pt x="100" y="663"/>
                  </a:lnTo>
                  <a:lnTo>
                    <a:pt x="101" y="663"/>
                  </a:lnTo>
                  <a:lnTo>
                    <a:pt x="101" y="664"/>
                  </a:lnTo>
                  <a:lnTo>
                    <a:pt x="101" y="666"/>
                  </a:lnTo>
                  <a:lnTo>
                    <a:pt x="103" y="665"/>
                  </a:lnTo>
                  <a:lnTo>
                    <a:pt x="104" y="664"/>
                  </a:lnTo>
                  <a:lnTo>
                    <a:pt x="104" y="663"/>
                  </a:lnTo>
                  <a:lnTo>
                    <a:pt x="105" y="663"/>
                  </a:lnTo>
                  <a:lnTo>
                    <a:pt x="105" y="662"/>
                  </a:lnTo>
                  <a:lnTo>
                    <a:pt x="106" y="662"/>
                  </a:lnTo>
                  <a:lnTo>
                    <a:pt x="107" y="663"/>
                  </a:lnTo>
                  <a:lnTo>
                    <a:pt x="110" y="663"/>
                  </a:lnTo>
                  <a:lnTo>
                    <a:pt x="109" y="663"/>
                  </a:lnTo>
                  <a:lnTo>
                    <a:pt x="109" y="662"/>
                  </a:lnTo>
                  <a:lnTo>
                    <a:pt x="109" y="660"/>
                  </a:lnTo>
                  <a:lnTo>
                    <a:pt x="109" y="659"/>
                  </a:lnTo>
                  <a:lnTo>
                    <a:pt x="109" y="658"/>
                  </a:lnTo>
                  <a:lnTo>
                    <a:pt x="109" y="656"/>
                  </a:lnTo>
                  <a:lnTo>
                    <a:pt x="110" y="656"/>
                  </a:lnTo>
                  <a:lnTo>
                    <a:pt x="110" y="657"/>
                  </a:lnTo>
                  <a:lnTo>
                    <a:pt x="111" y="657"/>
                  </a:lnTo>
                  <a:lnTo>
                    <a:pt x="112" y="657"/>
                  </a:lnTo>
                  <a:lnTo>
                    <a:pt x="112" y="658"/>
                  </a:lnTo>
                  <a:lnTo>
                    <a:pt x="112" y="659"/>
                  </a:lnTo>
                  <a:lnTo>
                    <a:pt x="111" y="662"/>
                  </a:lnTo>
                  <a:lnTo>
                    <a:pt x="111" y="664"/>
                  </a:lnTo>
                  <a:lnTo>
                    <a:pt x="111" y="665"/>
                  </a:lnTo>
                  <a:lnTo>
                    <a:pt x="109" y="665"/>
                  </a:lnTo>
                  <a:lnTo>
                    <a:pt x="109" y="666"/>
                  </a:lnTo>
                  <a:lnTo>
                    <a:pt x="110" y="666"/>
                  </a:lnTo>
                  <a:lnTo>
                    <a:pt x="111" y="666"/>
                  </a:lnTo>
                  <a:lnTo>
                    <a:pt x="111" y="668"/>
                  </a:lnTo>
                  <a:lnTo>
                    <a:pt x="111" y="669"/>
                  </a:lnTo>
                  <a:lnTo>
                    <a:pt x="112" y="669"/>
                  </a:lnTo>
                  <a:lnTo>
                    <a:pt x="112" y="670"/>
                  </a:lnTo>
                  <a:lnTo>
                    <a:pt x="111" y="671"/>
                  </a:lnTo>
                  <a:lnTo>
                    <a:pt x="112" y="671"/>
                  </a:lnTo>
                  <a:lnTo>
                    <a:pt x="112" y="672"/>
                  </a:lnTo>
                  <a:lnTo>
                    <a:pt x="113" y="672"/>
                  </a:lnTo>
                  <a:lnTo>
                    <a:pt x="113" y="671"/>
                  </a:lnTo>
                  <a:lnTo>
                    <a:pt x="113" y="669"/>
                  </a:lnTo>
                  <a:lnTo>
                    <a:pt x="115" y="669"/>
                  </a:lnTo>
                  <a:lnTo>
                    <a:pt x="116" y="669"/>
                  </a:lnTo>
                  <a:lnTo>
                    <a:pt x="116" y="671"/>
                  </a:lnTo>
                  <a:lnTo>
                    <a:pt x="116" y="672"/>
                  </a:lnTo>
                  <a:lnTo>
                    <a:pt x="115" y="674"/>
                  </a:lnTo>
                  <a:lnTo>
                    <a:pt x="113" y="675"/>
                  </a:lnTo>
                  <a:lnTo>
                    <a:pt x="113" y="676"/>
                  </a:lnTo>
                  <a:lnTo>
                    <a:pt x="113" y="677"/>
                  </a:lnTo>
                  <a:lnTo>
                    <a:pt x="113" y="678"/>
                  </a:lnTo>
                  <a:lnTo>
                    <a:pt x="113" y="681"/>
                  </a:lnTo>
                  <a:lnTo>
                    <a:pt x="115" y="682"/>
                  </a:lnTo>
                  <a:lnTo>
                    <a:pt x="113" y="682"/>
                  </a:lnTo>
                  <a:lnTo>
                    <a:pt x="112" y="682"/>
                  </a:lnTo>
                  <a:lnTo>
                    <a:pt x="111" y="683"/>
                  </a:lnTo>
                  <a:lnTo>
                    <a:pt x="110" y="684"/>
                  </a:lnTo>
                  <a:lnTo>
                    <a:pt x="109" y="686"/>
                  </a:lnTo>
                  <a:lnTo>
                    <a:pt x="107" y="687"/>
                  </a:lnTo>
                  <a:lnTo>
                    <a:pt x="106" y="688"/>
                  </a:lnTo>
                  <a:lnTo>
                    <a:pt x="105" y="688"/>
                  </a:lnTo>
                  <a:lnTo>
                    <a:pt x="105" y="689"/>
                  </a:lnTo>
                  <a:lnTo>
                    <a:pt x="104" y="690"/>
                  </a:lnTo>
                  <a:lnTo>
                    <a:pt x="104" y="692"/>
                  </a:lnTo>
                  <a:lnTo>
                    <a:pt x="101" y="693"/>
                  </a:lnTo>
                  <a:lnTo>
                    <a:pt x="99" y="693"/>
                  </a:lnTo>
                  <a:lnTo>
                    <a:pt x="97" y="693"/>
                  </a:lnTo>
                  <a:lnTo>
                    <a:pt x="95" y="693"/>
                  </a:lnTo>
                  <a:lnTo>
                    <a:pt x="94" y="695"/>
                  </a:lnTo>
                  <a:lnTo>
                    <a:pt x="93" y="695"/>
                  </a:lnTo>
                  <a:lnTo>
                    <a:pt x="92" y="695"/>
                  </a:lnTo>
                  <a:lnTo>
                    <a:pt x="89" y="694"/>
                  </a:lnTo>
                  <a:lnTo>
                    <a:pt x="88" y="694"/>
                  </a:lnTo>
                  <a:lnTo>
                    <a:pt x="87" y="693"/>
                  </a:lnTo>
                  <a:lnTo>
                    <a:pt x="84" y="693"/>
                  </a:lnTo>
                  <a:lnTo>
                    <a:pt x="84" y="694"/>
                  </a:lnTo>
                  <a:lnTo>
                    <a:pt x="87" y="694"/>
                  </a:lnTo>
                  <a:lnTo>
                    <a:pt x="88" y="694"/>
                  </a:lnTo>
                  <a:lnTo>
                    <a:pt x="87" y="695"/>
                  </a:lnTo>
                  <a:lnTo>
                    <a:pt x="86" y="695"/>
                  </a:lnTo>
                  <a:lnTo>
                    <a:pt x="84" y="696"/>
                  </a:lnTo>
                  <a:lnTo>
                    <a:pt x="83" y="698"/>
                  </a:lnTo>
                  <a:lnTo>
                    <a:pt x="82" y="698"/>
                  </a:lnTo>
                  <a:lnTo>
                    <a:pt x="83" y="698"/>
                  </a:lnTo>
                  <a:lnTo>
                    <a:pt x="86" y="698"/>
                  </a:lnTo>
                  <a:lnTo>
                    <a:pt x="88" y="698"/>
                  </a:lnTo>
                  <a:lnTo>
                    <a:pt x="88" y="699"/>
                  </a:lnTo>
                  <a:lnTo>
                    <a:pt x="87" y="700"/>
                  </a:lnTo>
                  <a:lnTo>
                    <a:pt x="87" y="701"/>
                  </a:lnTo>
                  <a:lnTo>
                    <a:pt x="88" y="701"/>
                  </a:lnTo>
                  <a:lnTo>
                    <a:pt x="89" y="700"/>
                  </a:lnTo>
                  <a:lnTo>
                    <a:pt x="89" y="699"/>
                  </a:lnTo>
                  <a:lnTo>
                    <a:pt x="92" y="699"/>
                  </a:lnTo>
                  <a:lnTo>
                    <a:pt x="92" y="700"/>
                  </a:lnTo>
                  <a:lnTo>
                    <a:pt x="92" y="702"/>
                  </a:lnTo>
                  <a:lnTo>
                    <a:pt x="93" y="702"/>
                  </a:lnTo>
                  <a:lnTo>
                    <a:pt x="93" y="701"/>
                  </a:lnTo>
                  <a:lnTo>
                    <a:pt x="93" y="700"/>
                  </a:lnTo>
                  <a:lnTo>
                    <a:pt x="94" y="699"/>
                  </a:lnTo>
                  <a:lnTo>
                    <a:pt x="94" y="696"/>
                  </a:lnTo>
                  <a:lnTo>
                    <a:pt x="95" y="696"/>
                  </a:lnTo>
                  <a:lnTo>
                    <a:pt x="95" y="698"/>
                  </a:lnTo>
                  <a:lnTo>
                    <a:pt x="95" y="699"/>
                  </a:lnTo>
                  <a:lnTo>
                    <a:pt x="95" y="700"/>
                  </a:lnTo>
                  <a:lnTo>
                    <a:pt x="95" y="702"/>
                  </a:lnTo>
                  <a:lnTo>
                    <a:pt x="95" y="704"/>
                  </a:lnTo>
                  <a:lnTo>
                    <a:pt x="95" y="706"/>
                  </a:lnTo>
                  <a:lnTo>
                    <a:pt x="94" y="707"/>
                  </a:lnTo>
                  <a:lnTo>
                    <a:pt x="92" y="707"/>
                  </a:lnTo>
                  <a:lnTo>
                    <a:pt x="88" y="707"/>
                  </a:lnTo>
                  <a:lnTo>
                    <a:pt x="86" y="706"/>
                  </a:lnTo>
                  <a:lnTo>
                    <a:pt x="84" y="705"/>
                  </a:lnTo>
                  <a:lnTo>
                    <a:pt x="83" y="706"/>
                  </a:lnTo>
                  <a:lnTo>
                    <a:pt x="82" y="705"/>
                  </a:lnTo>
                  <a:lnTo>
                    <a:pt x="82" y="704"/>
                  </a:lnTo>
                  <a:lnTo>
                    <a:pt x="81" y="704"/>
                  </a:lnTo>
                  <a:lnTo>
                    <a:pt x="81" y="705"/>
                  </a:lnTo>
                  <a:lnTo>
                    <a:pt x="80" y="705"/>
                  </a:lnTo>
                  <a:lnTo>
                    <a:pt x="80" y="704"/>
                  </a:lnTo>
                  <a:lnTo>
                    <a:pt x="78" y="702"/>
                  </a:lnTo>
                  <a:lnTo>
                    <a:pt x="77" y="702"/>
                  </a:lnTo>
                  <a:lnTo>
                    <a:pt x="77" y="704"/>
                  </a:lnTo>
                  <a:lnTo>
                    <a:pt x="77" y="705"/>
                  </a:lnTo>
                  <a:lnTo>
                    <a:pt x="75" y="704"/>
                  </a:lnTo>
                  <a:lnTo>
                    <a:pt x="72" y="704"/>
                  </a:lnTo>
                  <a:lnTo>
                    <a:pt x="71" y="704"/>
                  </a:lnTo>
                  <a:lnTo>
                    <a:pt x="72" y="705"/>
                  </a:lnTo>
                  <a:lnTo>
                    <a:pt x="74" y="705"/>
                  </a:lnTo>
                  <a:lnTo>
                    <a:pt x="75" y="706"/>
                  </a:lnTo>
                  <a:lnTo>
                    <a:pt x="75" y="707"/>
                  </a:lnTo>
                  <a:lnTo>
                    <a:pt x="75" y="708"/>
                  </a:lnTo>
                  <a:lnTo>
                    <a:pt x="76" y="708"/>
                  </a:lnTo>
                  <a:lnTo>
                    <a:pt x="77" y="708"/>
                  </a:lnTo>
                  <a:lnTo>
                    <a:pt x="78" y="708"/>
                  </a:lnTo>
                  <a:lnTo>
                    <a:pt x="78" y="707"/>
                  </a:lnTo>
                  <a:lnTo>
                    <a:pt x="80" y="707"/>
                  </a:lnTo>
                  <a:lnTo>
                    <a:pt x="81" y="707"/>
                  </a:lnTo>
                  <a:lnTo>
                    <a:pt x="81" y="708"/>
                  </a:lnTo>
                  <a:lnTo>
                    <a:pt x="80" y="708"/>
                  </a:lnTo>
                  <a:lnTo>
                    <a:pt x="80" y="710"/>
                  </a:lnTo>
                  <a:lnTo>
                    <a:pt x="81" y="710"/>
                  </a:lnTo>
                  <a:lnTo>
                    <a:pt x="82" y="710"/>
                  </a:lnTo>
                  <a:lnTo>
                    <a:pt x="81" y="711"/>
                  </a:lnTo>
                  <a:lnTo>
                    <a:pt x="81" y="713"/>
                  </a:lnTo>
                  <a:lnTo>
                    <a:pt x="82" y="713"/>
                  </a:lnTo>
                  <a:lnTo>
                    <a:pt x="82" y="712"/>
                  </a:lnTo>
                  <a:lnTo>
                    <a:pt x="82" y="711"/>
                  </a:lnTo>
                  <a:lnTo>
                    <a:pt x="83" y="711"/>
                  </a:lnTo>
                  <a:lnTo>
                    <a:pt x="82" y="710"/>
                  </a:lnTo>
                  <a:lnTo>
                    <a:pt x="83" y="708"/>
                  </a:lnTo>
                  <a:lnTo>
                    <a:pt x="84" y="708"/>
                  </a:lnTo>
                  <a:lnTo>
                    <a:pt x="87" y="708"/>
                  </a:lnTo>
                  <a:lnTo>
                    <a:pt x="84" y="710"/>
                  </a:lnTo>
                  <a:lnTo>
                    <a:pt x="84" y="711"/>
                  </a:lnTo>
                  <a:lnTo>
                    <a:pt x="83" y="712"/>
                  </a:lnTo>
                  <a:lnTo>
                    <a:pt x="84" y="713"/>
                  </a:lnTo>
                  <a:lnTo>
                    <a:pt x="86" y="713"/>
                  </a:lnTo>
                  <a:lnTo>
                    <a:pt x="86" y="712"/>
                  </a:lnTo>
                  <a:lnTo>
                    <a:pt x="86" y="711"/>
                  </a:lnTo>
                  <a:lnTo>
                    <a:pt x="87" y="711"/>
                  </a:lnTo>
                  <a:lnTo>
                    <a:pt x="87" y="710"/>
                  </a:lnTo>
                  <a:lnTo>
                    <a:pt x="88" y="710"/>
                  </a:lnTo>
                  <a:lnTo>
                    <a:pt x="89" y="708"/>
                  </a:lnTo>
                  <a:lnTo>
                    <a:pt x="91" y="710"/>
                  </a:lnTo>
                  <a:lnTo>
                    <a:pt x="89" y="710"/>
                  </a:lnTo>
                  <a:lnTo>
                    <a:pt x="89" y="711"/>
                  </a:lnTo>
                  <a:lnTo>
                    <a:pt x="88" y="713"/>
                  </a:lnTo>
                  <a:lnTo>
                    <a:pt x="88" y="714"/>
                  </a:lnTo>
                  <a:lnTo>
                    <a:pt x="88" y="716"/>
                  </a:lnTo>
                  <a:lnTo>
                    <a:pt x="87" y="717"/>
                  </a:lnTo>
                  <a:lnTo>
                    <a:pt x="87" y="718"/>
                  </a:lnTo>
                  <a:lnTo>
                    <a:pt x="87" y="719"/>
                  </a:lnTo>
                  <a:lnTo>
                    <a:pt x="86" y="719"/>
                  </a:lnTo>
                  <a:lnTo>
                    <a:pt x="84" y="718"/>
                  </a:lnTo>
                  <a:lnTo>
                    <a:pt x="83" y="717"/>
                  </a:lnTo>
                  <a:lnTo>
                    <a:pt x="83" y="718"/>
                  </a:lnTo>
                  <a:lnTo>
                    <a:pt x="83" y="719"/>
                  </a:lnTo>
                  <a:lnTo>
                    <a:pt x="84" y="719"/>
                  </a:lnTo>
                  <a:lnTo>
                    <a:pt x="86" y="720"/>
                  </a:lnTo>
                  <a:lnTo>
                    <a:pt x="84" y="720"/>
                  </a:lnTo>
                  <a:lnTo>
                    <a:pt x="84" y="722"/>
                  </a:lnTo>
                  <a:lnTo>
                    <a:pt x="82" y="722"/>
                  </a:lnTo>
                  <a:lnTo>
                    <a:pt x="80" y="723"/>
                  </a:lnTo>
                  <a:lnTo>
                    <a:pt x="77" y="723"/>
                  </a:lnTo>
                  <a:lnTo>
                    <a:pt x="76" y="724"/>
                  </a:lnTo>
                  <a:lnTo>
                    <a:pt x="77" y="725"/>
                  </a:lnTo>
                  <a:lnTo>
                    <a:pt x="78" y="725"/>
                  </a:lnTo>
                  <a:lnTo>
                    <a:pt x="80" y="725"/>
                  </a:lnTo>
                  <a:lnTo>
                    <a:pt x="81" y="725"/>
                  </a:lnTo>
                  <a:lnTo>
                    <a:pt x="82" y="724"/>
                  </a:lnTo>
                  <a:lnTo>
                    <a:pt x="84" y="724"/>
                  </a:lnTo>
                  <a:lnTo>
                    <a:pt x="84" y="725"/>
                  </a:lnTo>
                  <a:lnTo>
                    <a:pt x="83" y="725"/>
                  </a:lnTo>
                  <a:lnTo>
                    <a:pt x="82" y="725"/>
                  </a:lnTo>
                  <a:lnTo>
                    <a:pt x="81" y="728"/>
                  </a:lnTo>
                  <a:lnTo>
                    <a:pt x="80" y="729"/>
                  </a:lnTo>
                  <a:lnTo>
                    <a:pt x="81" y="729"/>
                  </a:lnTo>
                  <a:lnTo>
                    <a:pt x="82" y="729"/>
                  </a:lnTo>
                  <a:lnTo>
                    <a:pt x="83" y="728"/>
                  </a:lnTo>
                  <a:lnTo>
                    <a:pt x="83" y="729"/>
                  </a:lnTo>
                  <a:lnTo>
                    <a:pt x="83" y="731"/>
                  </a:lnTo>
                  <a:lnTo>
                    <a:pt x="83" y="734"/>
                  </a:lnTo>
                  <a:lnTo>
                    <a:pt x="84" y="732"/>
                  </a:lnTo>
                  <a:lnTo>
                    <a:pt x="86" y="731"/>
                  </a:lnTo>
                  <a:lnTo>
                    <a:pt x="86" y="730"/>
                  </a:lnTo>
                  <a:lnTo>
                    <a:pt x="86" y="729"/>
                  </a:lnTo>
                  <a:lnTo>
                    <a:pt x="87" y="728"/>
                  </a:lnTo>
                  <a:lnTo>
                    <a:pt x="87" y="726"/>
                  </a:lnTo>
                  <a:lnTo>
                    <a:pt x="88" y="726"/>
                  </a:lnTo>
                  <a:lnTo>
                    <a:pt x="88" y="728"/>
                  </a:lnTo>
                  <a:lnTo>
                    <a:pt x="88" y="729"/>
                  </a:lnTo>
                  <a:lnTo>
                    <a:pt x="88" y="731"/>
                  </a:lnTo>
                  <a:lnTo>
                    <a:pt x="88" y="730"/>
                  </a:lnTo>
                  <a:lnTo>
                    <a:pt x="89" y="730"/>
                  </a:lnTo>
                  <a:lnTo>
                    <a:pt x="91" y="730"/>
                  </a:lnTo>
                  <a:lnTo>
                    <a:pt x="91" y="731"/>
                  </a:lnTo>
                  <a:lnTo>
                    <a:pt x="91" y="741"/>
                  </a:lnTo>
                  <a:lnTo>
                    <a:pt x="91" y="742"/>
                  </a:lnTo>
                  <a:lnTo>
                    <a:pt x="92" y="743"/>
                  </a:lnTo>
                  <a:lnTo>
                    <a:pt x="93" y="742"/>
                  </a:lnTo>
                  <a:lnTo>
                    <a:pt x="93" y="740"/>
                  </a:lnTo>
                  <a:lnTo>
                    <a:pt x="93" y="737"/>
                  </a:lnTo>
                  <a:lnTo>
                    <a:pt x="94" y="737"/>
                  </a:lnTo>
                  <a:lnTo>
                    <a:pt x="94" y="740"/>
                  </a:lnTo>
                  <a:lnTo>
                    <a:pt x="94" y="741"/>
                  </a:lnTo>
                  <a:lnTo>
                    <a:pt x="95" y="740"/>
                  </a:lnTo>
                  <a:lnTo>
                    <a:pt x="95" y="738"/>
                  </a:lnTo>
                  <a:lnTo>
                    <a:pt x="97" y="737"/>
                  </a:lnTo>
                  <a:lnTo>
                    <a:pt x="97" y="736"/>
                  </a:lnTo>
                  <a:lnTo>
                    <a:pt x="98" y="735"/>
                  </a:lnTo>
                  <a:lnTo>
                    <a:pt x="98" y="734"/>
                  </a:lnTo>
                  <a:lnTo>
                    <a:pt x="99" y="734"/>
                  </a:lnTo>
                  <a:lnTo>
                    <a:pt x="100" y="735"/>
                  </a:lnTo>
                  <a:lnTo>
                    <a:pt x="101" y="735"/>
                  </a:lnTo>
                  <a:lnTo>
                    <a:pt x="103" y="734"/>
                  </a:lnTo>
                  <a:lnTo>
                    <a:pt x="104" y="734"/>
                  </a:lnTo>
                  <a:lnTo>
                    <a:pt x="104" y="737"/>
                  </a:lnTo>
                  <a:lnTo>
                    <a:pt x="105" y="738"/>
                  </a:lnTo>
                  <a:lnTo>
                    <a:pt x="105" y="740"/>
                  </a:lnTo>
                  <a:lnTo>
                    <a:pt x="104" y="741"/>
                  </a:lnTo>
                  <a:lnTo>
                    <a:pt x="104" y="742"/>
                  </a:lnTo>
                  <a:lnTo>
                    <a:pt x="104" y="743"/>
                  </a:lnTo>
                  <a:lnTo>
                    <a:pt x="103" y="745"/>
                  </a:lnTo>
                  <a:lnTo>
                    <a:pt x="103" y="746"/>
                  </a:lnTo>
                  <a:lnTo>
                    <a:pt x="103" y="747"/>
                  </a:lnTo>
                  <a:lnTo>
                    <a:pt x="104" y="747"/>
                  </a:lnTo>
                  <a:lnTo>
                    <a:pt x="104" y="746"/>
                  </a:lnTo>
                  <a:lnTo>
                    <a:pt x="105" y="746"/>
                  </a:lnTo>
                  <a:lnTo>
                    <a:pt x="105" y="745"/>
                  </a:lnTo>
                  <a:lnTo>
                    <a:pt x="105" y="743"/>
                  </a:lnTo>
                  <a:lnTo>
                    <a:pt x="106" y="743"/>
                  </a:lnTo>
                  <a:lnTo>
                    <a:pt x="106" y="746"/>
                  </a:lnTo>
                  <a:lnTo>
                    <a:pt x="106" y="747"/>
                  </a:lnTo>
                  <a:lnTo>
                    <a:pt x="107" y="747"/>
                  </a:lnTo>
                  <a:lnTo>
                    <a:pt x="109" y="745"/>
                  </a:lnTo>
                  <a:lnTo>
                    <a:pt x="109" y="743"/>
                  </a:lnTo>
                  <a:lnTo>
                    <a:pt x="110" y="742"/>
                  </a:lnTo>
                  <a:lnTo>
                    <a:pt x="110" y="743"/>
                  </a:lnTo>
                  <a:lnTo>
                    <a:pt x="111" y="742"/>
                  </a:lnTo>
                  <a:lnTo>
                    <a:pt x="111" y="740"/>
                  </a:lnTo>
                  <a:lnTo>
                    <a:pt x="112" y="738"/>
                  </a:lnTo>
                  <a:lnTo>
                    <a:pt x="112" y="740"/>
                  </a:lnTo>
                  <a:lnTo>
                    <a:pt x="112" y="741"/>
                  </a:lnTo>
                  <a:lnTo>
                    <a:pt x="113" y="741"/>
                  </a:lnTo>
                  <a:lnTo>
                    <a:pt x="115" y="740"/>
                  </a:lnTo>
                  <a:lnTo>
                    <a:pt x="115" y="741"/>
                  </a:lnTo>
                  <a:lnTo>
                    <a:pt x="115" y="742"/>
                  </a:lnTo>
                  <a:lnTo>
                    <a:pt x="116" y="743"/>
                  </a:lnTo>
                  <a:lnTo>
                    <a:pt x="117" y="743"/>
                  </a:lnTo>
                  <a:lnTo>
                    <a:pt x="117" y="745"/>
                  </a:lnTo>
                  <a:lnTo>
                    <a:pt x="117" y="746"/>
                  </a:lnTo>
                  <a:lnTo>
                    <a:pt x="119" y="746"/>
                  </a:lnTo>
                  <a:lnTo>
                    <a:pt x="119" y="745"/>
                  </a:lnTo>
                  <a:lnTo>
                    <a:pt x="119" y="741"/>
                  </a:lnTo>
                  <a:lnTo>
                    <a:pt x="121" y="741"/>
                  </a:lnTo>
                  <a:lnTo>
                    <a:pt x="122" y="742"/>
                  </a:lnTo>
                  <a:lnTo>
                    <a:pt x="123" y="742"/>
                  </a:lnTo>
                  <a:lnTo>
                    <a:pt x="123" y="743"/>
                  </a:lnTo>
                  <a:lnTo>
                    <a:pt x="123" y="745"/>
                  </a:lnTo>
                  <a:lnTo>
                    <a:pt x="122" y="747"/>
                  </a:lnTo>
                  <a:lnTo>
                    <a:pt x="121" y="748"/>
                  </a:lnTo>
                  <a:lnTo>
                    <a:pt x="121" y="749"/>
                  </a:lnTo>
                  <a:lnTo>
                    <a:pt x="121" y="751"/>
                  </a:lnTo>
                  <a:lnTo>
                    <a:pt x="122" y="749"/>
                  </a:lnTo>
                  <a:lnTo>
                    <a:pt x="123" y="748"/>
                  </a:lnTo>
                  <a:lnTo>
                    <a:pt x="124" y="748"/>
                  </a:lnTo>
                  <a:lnTo>
                    <a:pt x="125" y="748"/>
                  </a:lnTo>
                  <a:lnTo>
                    <a:pt x="127" y="749"/>
                  </a:lnTo>
                  <a:lnTo>
                    <a:pt x="128" y="752"/>
                  </a:lnTo>
                  <a:lnTo>
                    <a:pt x="129" y="753"/>
                  </a:lnTo>
                  <a:lnTo>
                    <a:pt x="130" y="754"/>
                  </a:lnTo>
                  <a:lnTo>
                    <a:pt x="129" y="757"/>
                  </a:lnTo>
                  <a:lnTo>
                    <a:pt x="128" y="758"/>
                  </a:lnTo>
                  <a:lnTo>
                    <a:pt x="127" y="758"/>
                  </a:lnTo>
                  <a:lnTo>
                    <a:pt x="125" y="759"/>
                  </a:lnTo>
                  <a:lnTo>
                    <a:pt x="124" y="759"/>
                  </a:lnTo>
                  <a:lnTo>
                    <a:pt x="123" y="758"/>
                  </a:lnTo>
                  <a:lnTo>
                    <a:pt x="122" y="759"/>
                  </a:lnTo>
                  <a:lnTo>
                    <a:pt x="119" y="759"/>
                  </a:lnTo>
                  <a:lnTo>
                    <a:pt x="118" y="759"/>
                  </a:lnTo>
                  <a:lnTo>
                    <a:pt x="116" y="758"/>
                  </a:lnTo>
                  <a:lnTo>
                    <a:pt x="116" y="757"/>
                  </a:lnTo>
                  <a:lnTo>
                    <a:pt x="115" y="757"/>
                  </a:lnTo>
                  <a:lnTo>
                    <a:pt x="113" y="757"/>
                  </a:lnTo>
                  <a:lnTo>
                    <a:pt x="112" y="757"/>
                  </a:lnTo>
                  <a:lnTo>
                    <a:pt x="111" y="757"/>
                  </a:lnTo>
                  <a:lnTo>
                    <a:pt x="107" y="757"/>
                  </a:lnTo>
                  <a:lnTo>
                    <a:pt x="105" y="755"/>
                  </a:lnTo>
                  <a:lnTo>
                    <a:pt x="104" y="755"/>
                  </a:lnTo>
                  <a:lnTo>
                    <a:pt x="104" y="757"/>
                  </a:lnTo>
                  <a:lnTo>
                    <a:pt x="105" y="757"/>
                  </a:lnTo>
                  <a:lnTo>
                    <a:pt x="106" y="758"/>
                  </a:lnTo>
                  <a:lnTo>
                    <a:pt x="107" y="758"/>
                  </a:lnTo>
                  <a:lnTo>
                    <a:pt x="109" y="759"/>
                  </a:lnTo>
                  <a:lnTo>
                    <a:pt x="107" y="761"/>
                  </a:lnTo>
                  <a:lnTo>
                    <a:pt x="107" y="763"/>
                  </a:lnTo>
                  <a:lnTo>
                    <a:pt x="109" y="763"/>
                  </a:lnTo>
                  <a:lnTo>
                    <a:pt x="109" y="761"/>
                  </a:lnTo>
                  <a:lnTo>
                    <a:pt x="110" y="761"/>
                  </a:lnTo>
                  <a:lnTo>
                    <a:pt x="111" y="760"/>
                  </a:lnTo>
                  <a:lnTo>
                    <a:pt x="112" y="760"/>
                  </a:lnTo>
                  <a:lnTo>
                    <a:pt x="113" y="760"/>
                  </a:lnTo>
                  <a:lnTo>
                    <a:pt x="116" y="760"/>
                  </a:lnTo>
                  <a:lnTo>
                    <a:pt x="116" y="761"/>
                  </a:lnTo>
                  <a:lnTo>
                    <a:pt x="115" y="763"/>
                  </a:lnTo>
                  <a:lnTo>
                    <a:pt x="115" y="764"/>
                  </a:lnTo>
                  <a:lnTo>
                    <a:pt x="115" y="765"/>
                  </a:lnTo>
                  <a:lnTo>
                    <a:pt x="115" y="766"/>
                  </a:lnTo>
                  <a:lnTo>
                    <a:pt x="116" y="765"/>
                  </a:lnTo>
                  <a:lnTo>
                    <a:pt x="117" y="764"/>
                  </a:lnTo>
                  <a:lnTo>
                    <a:pt x="117" y="761"/>
                  </a:lnTo>
                  <a:lnTo>
                    <a:pt x="118" y="761"/>
                  </a:lnTo>
                  <a:lnTo>
                    <a:pt x="118" y="760"/>
                  </a:lnTo>
                  <a:lnTo>
                    <a:pt x="121" y="760"/>
                  </a:lnTo>
                  <a:lnTo>
                    <a:pt x="122" y="760"/>
                  </a:lnTo>
                  <a:lnTo>
                    <a:pt x="121" y="763"/>
                  </a:lnTo>
                  <a:lnTo>
                    <a:pt x="119" y="765"/>
                  </a:lnTo>
                  <a:lnTo>
                    <a:pt x="119" y="767"/>
                  </a:lnTo>
                  <a:lnTo>
                    <a:pt x="119" y="770"/>
                  </a:lnTo>
                  <a:lnTo>
                    <a:pt x="121" y="771"/>
                  </a:lnTo>
                  <a:lnTo>
                    <a:pt x="119" y="772"/>
                  </a:lnTo>
                  <a:lnTo>
                    <a:pt x="119" y="773"/>
                  </a:lnTo>
                  <a:lnTo>
                    <a:pt x="119" y="775"/>
                  </a:lnTo>
                  <a:lnTo>
                    <a:pt x="121" y="776"/>
                  </a:lnTo>
                  <a:lnTo>
                    <a:pt x="121" y="777"/>
                  </a:lnTo>
                  <a:lnTo>
                    <a:pt x="122" y="778"/>
                  </a:lnTo>
                  <a:lnTo>
                    <a:pt x="123" y="777"/>
                  </a:lnTo>
                  <a:lnTo>
                    <a:pt x="124" y="776"/>
                  </a:lnTo>
                  <a:lnTo>
                    <a:pt x="124" y="773"/>
                  </a:lnTo>
                  <a:lnTo>
                    <a:pt x="124" y="771"/>
                  </a:lnTo>
                  <a:lnTo>
                    <a:pt x="124" y="767"/>
                  </a:lnTo>
                  <a:lnTo>
                    <a:pt x="124" y="766"/>
                  </a:lnTo>
                  <a:lnTo>
                    <a:pt x="125" y="765"/>
                  </a:lnTo>
                  <a:lnTo>
                    <a:pt x="125" y="764"/>
                  </a:lnTo>
                  <a:lnTo>
                    <a:pt x="127" y="761"/>
                  </a:lnTo>
                  <a:lnTo>
                    <a:pt x="127" y="760"/>
                  </a:lnTo>
                  <a:lnTo>
                    <a:pt x="127" y="761"/>
                  </a:lnTo>
                  <a:lnTo>
                    <a:pt x="127" y="764"/>
                  </a:lnTo>
                  <a:lnTo>
                    <a:pt x="125" y="765"/>
                  </a:lnTo>
                  <a:lnTo>
                    <a:pt x="128" y="764"/>
                  </a:lnTo>
                  <a:lnTo>
                    <a:pt x="128" y="763"/>
                  </a:lnTo>
                  <a:lnTo>
                    <a:pt x="128" y="764"/>
                  </a:lnTo>
                  <a:lnTo>
                    <a:pt x="129" y="766"/>
                  </a:lnTo>
                  <a:lnTo>
                    <a:pt x="128" y="769"/>
                  </a:lnTo>
                  <a:lnTo>
                    <a:pt x="128" y="771"/>
                  </a:lnTo>
                  <a:lnTo>
                    <a:pt x="128" y="772"/>
                  </a:lnTo>
                  <a:lnTo>
                    <a:pt x="128" y="773"/>
                  </a:lnTo>
                  <a:lnTo>
                    <a:pt x="128" y="776"/>
                  </a:lnTo>
                  <a:lnTo>
                    <a:pt x="129" y="777"/>
                  </a:lnTo>
                  <a:lnTo>
                    <a:pt x="130" y="777"/>
                  </a:lnTo>
                  <a:lnTo>
                    <a:pt x="130" y="775"/>
                  </a:lnTo>
                  <a:lnTo>
                    <a:pt x="130" y="771"/>
                  </a:lnTo>
                  <a:lnTo>
                    <a:pt x="130" y="767"/>
                  </a:lnTo>
                  <a:lnTo>
                    <a:pt x="130" y="765"/>
                  </a:lnTo>
                  <a:lnTo>
                    <a:pt x="130" y="763"/>
                  </a:lnTo>
                  <a:lnTo>
                    <a:pt x="131" y="761"/>
                  </a:lnTo>
                  <a:lnTo>
                    <a:pt x="133" y="760"/>
                  </a:lnTo>
                  <a:lnTo>
                    <a:pt x="131" y="763"/>
                  </a:lnTo>
                  <a:lnTo>
                    <a:pt x="131" y="765"/>
                  </a:lnTo>
                  <a:lnTo>
                    <a:pt x="131" y="767"/>
                  </a:lnTo>
                  <a:lnTo>
                    <a:pt x="131" y="770"/>
                  </a:lnTo>
                  <a:lnTo>
                    <a:pt x="131" y="771"/>
                  </a:lnTo>
                  <a:lnTo>
                    <a:pt x="133" y="772"/>
                  </a:lnTo>
                  <a:lnTo>
                    <a:pt x="134" y="771"/>
                  </a:lnTo>
                  <a:lnTo>
                    <a:pt x="134" y="773"/>
                  </a:lnTo>
                  <a:lnTo>
                    <a:pt x="134" y="775"/>
                  </a:lnTo>
                  <a:lnTo>
                    <a:pt x="134" y="777"/>
                  </a:lnTo>
                  <a:lnTo>
                    <a:pt x="134" y="779"/>
                  </a:lnTo>
                  <a:lnTo>
                    <a:pt x="134" y="781"/>
                  </a:lnTo>
                  <a:lnTo>
                    <a:pt x="135" y="781"/>
                  </a:lnTo>
                  <a:lnTo>
                    <a:pt x="135" y="779"/>
                  </a:lnTo>
                  <a:lnTo>
                    <a:pt x="136" y="777"/>
                  </a:lnTo>
                  <a:lnTo>
                    <a:pt x="136" y="776"/>
                  </a:lnTo>
                  <a:lnTo>
                    <a:pt x="137" y="776"/>
                  </a:lnTo>
                  <a:lnTo>
                    <a:pt x="137" y="775"/>
                  </a:lnTo>
                  <a:lnTo>
                    <a:pt x="139" y="775"/>
                  </a:lnTo>
                  <a:lnTo>
                    <a:pt x="139" y="776"/>
                  </a:lnTo>
                  <a:lnTo>
                    <a:pt x="139" y="777"/>
                  </a:lnTo>
                  <a:lnTo>
                    <a:pt x="137" y="778"/>
                  </a:lnTo>
                  <a:lnTo>
                    <a:pt x="139" y="779"/>
                  </a:lnTo>
                  <a:lnTo>
                    <a:pt x="139" y="781"/>
                  </a:lnTo>
                  <a:lnTo>
                    <a:pt x="140" y="782"/>
                  </a:lnTo>
                  <a:lnTo>
                    <a:pt x="140" y="781"/>
                  </a:lnTo>
                  <a:lnTo>
                    <a:pt x="141" y="778"/>
                  </a:lnTo>
                  <a:lnTo>
                    <a:pt x="141" y="776"/>
                  </a:lnTo>
                  <a:lnTo>
                    <a:pt x="141" y="775"/>
                  </a:lnTo>
                  <a:lnTo>
                    <a:pt x="142" y="775"/>
                  </a:lnTo>
                  <a:lnTo>
                    <a:pt x="142" y="773"/>
                  </a:lnTo>
                  <a:lnTo>
                    <a:pt x="143" y="773"/>
                  </a:lnTo>
                  <a:lnTo>
                    <a:pt x="145" y="773"/>
                  </a:lnTo>
                  <a:lnTo>
                    <a:pt x="145" y="772"/>
                  </a:lnTo>
                  <a:lnTo>
                    <a:pt x="146" y="773"/>
                  </a:lnTo>
                  <a:lnTo>
                    <a:pt x="145" y="777"/>
                  </a:lnTo>
                  <a:lnTo>
                    <a:pt x="145" y="779"/>
                  </a:lnTo>
                  <a:lnTo>
                    <a:pt x="146" y="781"/>
                  </a:lnTo>
                  <a:lnTo>
                    <a:pt x="147" y="781"/>
                  </a:lnTo>
                  <a:lnTo>
                    <a:pt x="147" y="779"/>
                  </a:lnTo>
                  <a:lnTo>
                    <a:pt x="147" y="777"/>
                  </a:lnTo>
                  <a:lnTo>
                    <a:pt x="148" y="776"/>
                  </a:lnTo>
                  <a:lnTo>
                    <a:pt x="148" y="777"/>
                  </a:lnTo>
                  <a:lnTo>
                    <a:pt x="150" y="778"/>
                  </a:lnTo>
                  <a:lnTo>
                    <a:pt x="151" y="779"/>
                  </a:lnTo>
                  <a:lnTo>
                    <a:pt x="151" y="781"/>
                  </a:lnTo>
                  <a:lnTo>
                    <a:pt x="151" y="782"/>
                  </a:lnTo>
                  <a:lnTo>
                    <a:pt x="151" y="783"/>
                  </a:lnTo>
                  <a:lnTo>
                    <a:pt x="150" y="784"/>
                  </a:lnTo>
                  <a:lnTo>
                    <a:pt x="148" y="787"/>
                  </a:lnTo>
                  <a:lnTo>
                    <a:pt x="148" y="788"/>
                  </a:lnTo>
                  <a:lnTo>
                    <a:pt x="148" y="789"/>
                  </a:lnTo>
                  <a:lnTo>
                    <a:pt x="148" y="790"/>
                  </a:lnTo>
                  <a:lnTo>
                    <a:pt x="148" y="791"/>
                  </a:lnTo>
                  <a:lnTo>
                    <a:pt x="150" y="793"/>
                  </a:lnTo>
                  <a:lnTo>
                    <a:pt x="150" y="794"/>
                  </a:lnTo>
                  <a:lnTo>
                    <a:pt x="152" y="794"/>
                  </a:lnTo>
                  <a:lnTo>
                    <a:pt x="151" y="791"/>
                  </a:lnTo>
                  <a:lnTo>
                    <a:pt x="152" y="789"/>
                  </a:lnTo>
                  <a:lnTo>
                    <a:pt x="152" y="787"/>
                  </a:lnTo>
                  <a:lnTo>
                    <a:pt x="153" y="784"/>
                  </a:lnTo>
                  <a:lnTo>
                    <a:pt x="154" y="783"/>
                  </a:lnTo>
                  <a:lnTo>
                    <a:pt x="157" y="783"/>
                  </a:lnTo>
                  <a:lnTo>
                    <a:pt x="157" y="784"/>
                  </a:lnTo>
                  <a:lnTo>
                    <a:pt x="157" y="787"/>
                  </a:lnTo>
                  <a:lnTo>
                    <a:pt x="157" y="788"/>
                  </a:lnTo>
                  <a:lnTo>
                    <a:pt x="157" y="790"/>
                  </a:lnTo>
                  <a:lnTo>
                    <a:pt x="158" y="793"/>
                  </a:lnTo>
                  <a:lnTo>
                    <a:pt x="159" y="794"/>
                  </a:lnTo>
                  <a:lnTo>
                    <a:pt x="159" y="793"/>
                  </a:lnTo>
                  <a:lnTo>
                    <a:pt x="159" y="790"/>
                  </a:lnTo>
                  <a:lnTo>
                    <a:pt x="159" y="788"/>
                  </a:lnTo>
                  <a:lnTo>
                    <a:pt x="159" y="787"/>
                  </a:lnTo>
                  <a:lnTo>
                    <a:pt x="162" y="788"/>
                  </a:lnTo>
                  <a:lnTo>
                    <a:pt x="162" y="785"/>
                  </a:lnTo>
                  <a:lnTo>
                    <a:pt x="163" y="784"/>
                  </a:lnTo>
                  <a:lnTo>
                    <a:pt x="164" y="783"/>
                  </a:lnTo>
                  <a:lnTo>
                    <a:pt x="164" y="781"/>
                  </a:lnTo>
                  <a:lnTo>
                    <a:pt x="164" y="778"/>
                  </a:lnTo>
                  <a:lnTo>
                    <a:pt x="165" y="775"/>
                  </a:lnTo>
                  <a:lnTo>
                    <a:pt x="166" y="775"/>
                  </a:lnTo>
                  <a:lnTo>
                    <a:pt x="166" y="776"/>
                  </a:lnTo>
                  <a:lnTo>
                    <a:pt x="166" y="778"/>
                  </a:lnTo>
                  <a:lnTo>
                    <a:pt x="165" y="782"/>
                  </a:lnTo>
                  <a:lnTo>
                    <a:pt x="164" y="784"/>
                  </a:lnTo>
                  <a:lnTo>
                    <a:pt x="164" y="785"/>
                  </a:lnTo>
                  <a:lnTo>
                    <a:pt x="165" y="785"/>
                  </a:lnTo>
                  <a:lnTo>
                    <a:pt x="166" y="783"/>
                  </a:lnTo>
                  <a:lnTo>
                    <a:pt x="166" y="782"/>
                  </a:lnTo>
                  <a:lnTo>
                    <a:pt x="166" y="785"/>
                  </a:lnTo>
                  <a:lnTo>
                    <a:pt x="166" y="787"/>
                  </a:lnTo>
                  <a:lnTo>
                    <a:pt x="166" y="789"/>
                  </a:lnTo>
                  <a:lnTo>
                    <a:pt x="166" y="791"/>
                  </a:lnTo>
                  <a:lnTo>
                    <a:pt x="165" y="793"/>
                  </a:lnTo>
                  <a:lnTo>
                    <a:pt x="165" y="794"/>
                  </a:lnTo>
                  <a:lnTo>
                    <a:pt x="165" y="795"/>
                  </a:lnTo>
                  <a:lnTo>
                    <a:pt x="165" y="796"/>
                  </a:lnTo>
                  <a:lnTo>
                    <a:pt x="166" y="797"/>
                  </a:lnTo>
                  <a:lnTo>
                    <a:pt x="166" y="796"/>
                  </a:lnTo>
                  <a:lnTo>
                    <a:pt x="166" y="795"/>
                  </a:lnTo>
                  <a:lnTo>
                    <a:pt x="168" y="794"/>
                  </a:lnTo>
                  <a:lnTo>
                    <a:pt x="169" y="794"/>
                  </a:lnTo>
                  <a:lnTo>
                    <a:pt x="169" y="795"/>
                  </a:lnTo>
                  <a:lnTo>
                    <a:pt x="170" y="796"/>
                  </a:lnTo>
                  <a:lnTo>
                    <a:pt x="170" y="797"/>
                  </a:lnTo>
                  <a:lnTo>
                    <a:pt x="171" y="799"/>
                  </a:lnTo>
                  <a:lnTo>
                    <a:pt x="172" y="799"/>
                  </a:lnTo>
                  <a:lnTo>
                    <a:pt x="172" y="796"/>
                  </a:lnTo>
                  <a:lnTo>
                    <a:pt x="174" y="795"/>
                  </a:lnTo>
                  <a:lnTo>
                    <a:pt x="174" y="794"/>
                  </a:lnTo>
                  <a:lnTo>
                    <a:pt x="174" y="793"/>
                  </a:lnTo>
                  <a:lnTo>
                    <a:pt x="175" y="791"/>
                  </a:lnTo>
                  <a:lnTo>
                    <a:pt x="176" y="793"/>
                  </a:lnTo>
                  <a:lnTo>
                    <a:pt x="176" y="795"/>
                  </a:lnTo>
                  <a:lnTo>
                    <a:pt x="176" y="801"/>
                  </a:lnTo>
                  <a:lnTo>
                    <a:pt x="177" y="800"/>
                  </a:lnTo>
                  <a:lnTo>
                    <a:pt x="177" y="799"/>
                  </a:lnTo>
                  <a:lnTo>
                    <a:pt x="177" y="795"/>
                  </a:lnTo>
                  <a:lnTo>
                    <a:pt x="178" y="794"/>
                  </a:lnTo>
                  <a:lnTo>
                    <a:pt x="178" y="793"/>
                  </a:lnTo>
                  <a:lnTo>
                    <a:pt x="178" y="790"/>
                  </a:lnTo>
                  <a:lnTo>
                    <a:pt x="180" y="791"/>
                  </a:lnTo>
                  <a:lnTo>
                    <a:pt x="180" y="793"/>
                  </a:lnTo>
                  <a:lnTo>
                    <a:pt x="181" y="793"/>
                  </a:lnTo>
                  <a:lnTo>
                    <a:pt x="181" y="790"/>
                  </a:lnTo>
                  <a:lnTo>
                    <a:pt x="182" y="789"/>
                  </a:lnTo>
                  <a:lnTo>
                    <a:pt x="181" y="787"/>
                  </a:lnTo>
                  <a:lnTo>
                    <a:pt x="182" y="785"/>
                  </a:lnTo>
                  <a:lnTo>
                    <a:pt x="183" y="788"/>
                  </a:lnTo>
                  <a:lnTo>
                    <a:pt x="184" y="788"/>
                  </a:lnTo>
                  <a:lnTo>
                    <a:pt x="184" y="789"/>
                  </a:lnTo>
                  <a:lnTo>
                    <a:pt x="184" y="790"/>
                  </a:lnTo>
                  <a:lnTo>
                    <a:pt x="183" y="791"/>
                  </a:lnTo>
                  <a:lnTo>
                    <a:pt x="182" y="794"/>
                  </a:lnTo>
                  <a:lnTo>
                    <a:pt x="183" y="794"/>
                  </a:lnTo>
                  <a:lnTo>
                    <a:pt x="184" y="793"/>
                  </a:lnTo>
                  <a:lnTo>
                    <a:pt x="184" y="791"/>
                  </a:lnTo>
                  <a:lnTo>
                    <a:pt x="184" y="794"/>
                  </a:lnTo>
                  <a:lnTo>
                    <a:pt x="184" y="796"/>
                  </a:lnTo>
                  <a:lnTo>
                    <a:pt x="186" y="796"/>
                  </a:lnTo>
                  <a:lnTo>
                    <a:pt x="186" y="793"/>
                  </a:lnTo>
                  <a:lnTo>
                    <a:pt x="187" y="790"/>
                  </a:lnTo>
                  <a:lnTo>
                    <a:pt x="188" y="790"/>
                  </a:lnTo>
                  <a:lnTo>
                    <a:pt x="188" y="789"/>
                  </a:lnTo>
                  <a:lnTo>
                    <a:pt x="187" y="788"/>
                  </a:lnTo>
                  <a:lnTo>
                    <a:pt x="187" y="785"/>
                  </a:lnTo>
                  <a:lnTo>
                    <a:pt x="187" y="784"/>
                  </a:lnTo>
                  <a:lnTo>
                    <a:pt x="189" y="783"/>
                  </a:lnTo>
                  <a:lnTo>
                    <a:pt x="188" y="785"/>
                  </a:lnTo>
                  <a:lnTo>
                    <a:pt x="187" y="787"/>
                  </a:lnTo>
                  <a:lnTo>
                    <a:pt x="188" y="788"/>
                  </a:lnTo>
                  <a:lnTo>
                    <a:pt x="188" y="787"/>
                  </a:lnTo>
                  <a:lnTo>
                    <a:pt x="188" y="788"/>
                  </a:lnTo>
                  <a:lnTo>
                    <a:pt x="188" y="790"/>
                  </a:lnTo>
                  <a:lnTo>
                    <a:pt x="188" y="791"/>
                  </a:lnTo>
                  <a:lnTo>
                    <a:pt x="188" y="793"/>
                  </a:lnTo>
                  <a:lnTo>
                    <a:pt x="189" y="794"/>
                  </a:lnTo>
                  <a:lnTo>
                    <a:pt x="190" y="794"/>
                  </a:lnTo>
                  <a:lnTo>
                    <a:pt x="190" y="791"/>
                  </a:lnTo>
                  <a:lnTo>
                    <a:pt x="190" y="790"/>
                  </a:lnTo>
                  <a:lnTo>
                    <a:pt x="189" y="789"/>
                  </a:lnTo>
                  <a:lnTo>
                    <a:pt x="189" y="788"/>
                  </a:lnTo>
                  <a:lnTo>
                    <a:pt x="190" y="787"/>
                  </a:lnTo>
                  <a:lnTo>
                    <a:pt x="190" y="785"/>
                  </a:lnTo>
                  <a:lnTo>
                    <a:pt x="192" y="784"/>
                  </a:lnTo>
                  <a:lnTo>
                    <a:pt x="192" y="783"/>
                  </a:lnTo>
                  <a:lnTo>
                    <a:pt x="192" y="781"/>
                  </a:lnTo>
                  <a:lnTo>
                    <a:pt x="192" y="779"/>
                  </a:lnTo>
                  <a:lnTo>
                    <a:pt x="193" y="778"/>
                  </a:lnTo>
                  <a:lnTo>
                    <a:pt x="193" y="777"/>
                  </a:lnTo>
                  <a:lnTo>
                    <a:pt x="194" y="776"/>
                  </a:lnTo>
                  <a:lnTo>
                    <a:pt x="194" y="775"/>
                  </a:lnTo>
                  <a:lnTo>
                    <a:pt x="195" y="775"/>
                  </a:lnTo>
                  <a:lnTo>
                    <a:pt x="195" y="776"/>
                  </a:lnTo>
                  <a:lnTo>
                    <a:pt x="194" y="778"/>
                  </a:lnTo>
                  <a:lnTo>
                    <a:pt x="193" y="779"/>
                  </a:lnTo>
                  <a:lnTo>
                    <a:pt x="193" y="781"/>
                  </a:lnTo>
                  <a:lnTo>
                    <a:pt x="194" y="781"/>
                  </a:lnTo>
                  <a:lnTo>
                    <a:pt x="193" y="782"/>
                  </a:lnTo>
                  <a:lnTo>
                    <a:pt x="193" y="783"/>
                  </a:lnTo>
                  <a:lnTo>
                    <a:pt x="194" y="783"/>
                  </a:lnTo>
                  <a:lnTo>
                    <a:pt x="194" y="784"/>
                  </a:lnTo>
                  <a:lnTo>
                    <a:pt x="193" y="785"/>
                  </a:lnTo>
                  <a:lnTo>
                    <a:pt x="192" y="785"/>
                  </a:lnTo>
                  <a:lnTo>
                    <a:pt x="192" y="787"/>
                  </a:lnTo>
                  <a:lnTo>
                    <a:pt x="192" y="788"/>
                  </a:lnTo>
                  <a:lnTo>
                    <a:pt x="190" y="788"/>
                  </a:lnTo>
                  <a:lnTo>
                    <a:pt x="189" y="789"/>
                  </a:lnTo>
                  <a:lnTo>
                    <a:pt x="190" y="789"/>
                  </a:lnTo>
                  <a:lnTo>
                    <a:pt x="190" y="790"/>
                  </a:lnTo>
                  <a:lnTo>
                    <a:pt x="193" y="790"/>
                  </a:lnTo>
                  <a:lnTo>
                    <a:pt x="193" y="788"/>
                  </a:lnTo>
                  <a:lnTo>
                    <a:pt x="194" y="787"/>
                  </a:lnTo>
                  <a:lnTo>
                    <a:pt x="194" y="785"/>
                  </a:lnTo>
                  <a:lnTo>
                    <a:pt x="195" y="787"/>
                  </a:lnTo>
                  <a:lnTo>
                    <a:pt x="196" y="788"/>
                  </a:lnTo>
                  <a:lnTo>
                    <a:pt x="195" y="789"/>
                  </a:lnTo>
                  <a:lnTo>
                    <a:pt x="194" y="790"/>
                  </a:lnTo>
                  <a:lnTo>
                    <a:pt x="194" y="791"/>
                  </a:lnTo>
                  <a:lnTo>
                    <a:pt x="195" y="791"/>
                  </a:lnTo>
                  <a:lnTo>
                    <a:pt x="196" y="790"/>
                  </a:lnTo>
                  <a:lnTo>
                    <a:pt x="196" y="791"/>
                  </a:lnTo>
                  <a:lnTo>
                    <a:pt x="196" y="793"/>
                  </a:lnTo>
                  <a:lnTo>
                    <a:pt x="195" y="795"/>
                  </a:lnTo>
                  <a:lnTo>
                    <a:pt x="195" y="796"/>
                  </a:lnTo>
                  <a:lnTo>
                    <a:pt x="196" y="796"/>
                  </a:lnTo>
                  <a:lnTo>
                    <a:pt x="198" y="795"/>
                  </a:lnTo>
                  <a:lnTo>
                    <a:pt x="198" y="796"/>
                  </a:lnTo>
                  <a:lnTo>
                    <a:pt x="198" y="799"/>
                  </a:lnTo>
                  <a:lnTo>
                    <a:pt x="196" y="801"/>
                  </a:lnTo>
                  <a:lnTo>
                    <a:pt x="196" y="805"/>
                  </a:lnTo>
                  <a:lnTo>
                    <a:pt x="196" y="808"/>
                  </a:lnTo>
                  <a:lnTo>
                    <a:pt x="196" y="807"/>
                  </a:lnTo>
                  <a:lnTo>
                    <a:pt x="198" y="805"/>
                  </a:lnTo>
                  <a:lnTo>
                    <a:pt x="198" y="802"/>
                  </a:lnTo>
                  <a:lnTo>
                    <a:pt x="199" y="800"/>
                  </a:lnTo>
                  <a:lnTo>
                    <a:pt x="200" y="800"/>
                  </a:lnTo>
                  <a:lnTo>
                    <a:pt x="201" y="801"/>
                  </a:lnTo>
                  <a:lnTo>
                    <a:pt x="201" y="802"/>
                  </a:lnTo>
                  <a:lnTo>
                    <a:pt x="200" y="803"/>
                  </a:lnTo>
                  <a:lnTo>
                    <a:pt x="200" y="806"/>
                  </a:lnTo>
                  <a:lnTo>
                    <a:pt x="201" y="805"/>
                  </a:lnTo>
                  <a:lnTo>
                    <a:pt x="201" y="807"/>
                  </a:lnTo>
                  <a:lnTo>
                    <a:pt x="202" y="809"/>
                  </a:lnTo>
                  <a:lnTo>
                    <a:pt x="204" y="809"/>
                  </a:lnTo>
                  <a:lnTo>
                    <a:pt x="202" y="806"/>
                  </a:lnTo>
                  <a:lnTo>
                    <a:pt x="204" y="803"/>
                  </a:lnTo>
                  <a:lnTo>
                    <a:pt x="205" y="801"/>
                  </a:lnTo>
                  <a:lnTo>
                    <a:pt x="205" y="799"/>
                  </a:lnTo>
                  <a:lnTo>
                    <a:pt x="206" y="796"/>
                  </a:lnTo>
                  <a:lnTo>
                    <a:pt x="206" y="793"/>
                  </a:lnTo>
                  <a:lnTo>
                    <a:pt x="206" y="790"/>
                  </a:lnTo>
                  <a:lnTo>
                    <a:pt x="207" y="787"/>
                  </a:lnTo>
                  <a:lnTo>
                    <a:pt x="209" y="787"/>
                  </a:lnTo>
                  <a:lnTo>
                    <a:pt x="210" y="788"/>
                  </a:lnTo>
                  <a:lnTo>
                    <a:pt x="211" y="790"/>
                  </a:lnTo>
                  <a:lnTo>
                    <a:pt x="211" y="795"/>
                  </a:lnTo>
                  <a:lnTo>
                    <a:pt x="211" y="799"/>
                  </a:lnTo>
                  <a:lnTo>
                    <a:pt x="211" y="802"/>
                  </a:lnTo>
                  <a:lnTo>
                    <a:pt x="210" y="805"/>
                  </a:lnTo>
                  <a:lnTo>
                    <a:pt x="209" y="807"/>
                  </a:lnTo>
                  <a:lnTo>
                    <a:pt x="210" y="808"/>
                  </a:lnTo>
                  <a:lnTo>
                    <a:pt x="211" y="807"/>
                  </a:lnTo>
                  <a:lnTo>
                    <a:pt x="212" y="805"/>
                  </a:lnTo>
                  <a:lnTo>
                    <a:pt x="212" y="801"/>
                  </a:lnTo>
                  <a:lnTo>
                    <a:pt x="213" y="799"/>
                  </a:lnTo>
                  <a:lnTo>
                    <a:pt x="213" y="795"/>
                  </a:lnTo>
                  <a:lnTo>
                    <a:pt x="215" y="795"/>
                  </a:lnTo>
                  <a:lnTo>
                    <a:pt x="215" y="797"/>
                  </a:lnTo>
                  <a:lnTo>
                    <a:pt x="216" y="797"/>
                  </a:lnTo>
                  <a:lnTo>
                    <a:pt x="217" y="797"/>
                  </a:lnTo>
                  <a:lnTo>
                    <a:pt x="217" y="800"/>
                  </a:lnTo>
                  <a:lnTo>
                    <a:pt x="217" y="802"/>
                  </a:lnTo>
                  <a:lnTo>
                    <a:pt x="215" y="808"/>
                  </a:lnTo>
                  <a:lnTo>
                    <a:pt x="215" y="811"/>
                  </a:lnTo>
                  <a:lnTo>
                    <a:pt x="216" y="813"/>
                  </a:lnTo>
                  <a:lnTo>
                    <a:pt x="217" y="812"/>
                  </a:lnTo>
                  <a:lnTo>
                    <a:pt x="217" y="811"/>
                  </a:lnTo>
                  <a:lnTo>
                    <a:pt x="218" y="809"/>
                  </a:lnTo>
                  <a:lnTo>
                    <a:pt x="218" y="812"/>
                  </a:lnTo>
                  <a:lnTo>
                    <a:pt x="219" y="812"/>
                  </a:lnTo>
                  <a:lnTo>
                    <a:pt x="221" y="809"/>
                  </a:lnTo>
                  <a:lnTo>
                    <a:pt x="221" y="807"/>
                  </a:lnTo>
                  <a:lnTo>
                    <a:pt x="221" y="805"/>
                  </a:lnTo>
                  <a:lnTo>
                    <a:pt x="219" y="799"/>
                  </a:lnTo>
                  <a:lnTo>
                    <a:pt x="219" y="795"/>
                  </a:lnTo>
                  <a:lnTo>
                    <a:pt x="221" y="794"/>
                  </a:lnTo>
                  <a:lnTo>
                    <a:pt x="219" y="790"/>
                  </a:lnTo>
                  <a:lnTo>
                    <a:pt x="219" y="787"/>
                  </a:lnTo>
                  <a:lnTo>
                    <a:pt x="221" y="783"/>
                  </a:lnTo>
                  <a:lnTo>
                    <a:pt x="223" y="781"/>
                  </a:lnTo>
                  <a:lnTo>
                    <a:pt x="224" y="777"/>
                  </a:lnTo>
                  <a:lnTo>
                    <a:pt x="224" y="781"/>
                  </a:lnTo>
                  <a:lnTo>
                    <a:pt x="225" y="784"/>
                  </a:lnTo>
                  <a:lnTo>
                    <a:pt x="228" y="783"/>
                  </a:lnTo>
                  <a:lnTo>
                    <a:pt x="229" y="787"/>
                  </a:lnTo>
                  <a:lnTo>
                    <a:pt x="230" y="791"/>
                  </a:lnTo>
                  <a:lnTo>
                    <a:pt x="231" y="789"/>
                  </a:lnTo>
                  <a:lnTo>
                    <a:pt x="231" y="784"/>
                  </a:lnTo>
                  <a:lnTo>
                    <a:pt x="233" y="778"/>
                  </a:lnTo>
                  <a:lnTo>
                    <a:pt x="231" y="772"/>
                  </a:lnTo>
                  <a:lnTo>
                    <a:pt x="233" y="770"/>
                  </a:lnTo>
                  <a:lnTo>
                    <a:pt x="233" y="779"/>
                  </a:lnTo>
                  <a:lnTo>
                    <a:pt x="235" y="781"/>
                  </a:lnTo>
                  <a:lnTo>
                    <a:pt x="236" y="776"/>
                  </a:lnTo>
                  <a:lnTo>
                    <a:pt x="237" y="776"/>
                  </a:lnTo>
                  <a:lnTo>
                    <a:pt x="237" y="772"/>
                  </a:lnTo>
                  <a:lnTo>
                    <a:pt x="237" y="769"/>
                  </a:lnTo>
                  <a:lnTo>
                    <a:pt x="239" y="767"/>
                  </a:lnTo>
                  <a:lnTo>
                    <a:pt x="240" y="772"/>
                  </a:lnTo>
                  <a:lnTo>
                    <a:pt x="240" y="776"/>
                  </a:lnTo>
                  <a:lnTo>
                    <a:pt x="240" y="771"/>
                  </a:lnTo>
                  <a:lnTo>
                    <a:pt x="241" y="767"/>
                  </a:lnTo>
                  <a:lnTo>
                    <a:pt x="242" y="763"/>
                  </a:lnTo>
                  <a:lnTo>
                    <a:pt x="242" y="760"/>
                  </a:lnTo>
                  <a:lnTo>
                    <a:pt x="243" y="758"/>
                  </a:lnTo>
                  <a:lnTo>
                    <a:pt x="247" y="758"/>
                  </a:lnTo>
                  <a:lnTo>
                    <a:pt x="248" y="760"/>
                  </a:lnTo>
                  <a:lnTo>
                    <a:pt x="247" y="761"/>
                  </a:lnTo>
                  <a:lnTo>
                    <a:pt x="242" y="766"/>
                  </a:lnTo>
                  <a:lnTo>
                    <a:pt x="242" y="767"/>
                  </a:lnTo>
                  <a:lnTo>
                    <a:pt x="242" y="771"/>
                  </a:lnTo>
                  <a:lnTo>
                    <a:pt x="242" y="773"/>
                  </a:lnTo>
                  <a:lnTo>
                    <a:pt x="242" y="776"/>
                  </a:lnTo>
                  <a:lnTo>
                    <a:pt x="243" y="777"/>
                  </a:lnTo>
                  <a:lnTo>
                    <a:pt x="247" y="777"/>
                  </a:lnTo>
                  <a:lnTo>
                    <a:pt x="247" y="778"/>
                  </a:lnTo>
                  <a:lnTo>
                    <a:pt x="247" y="782"/>
                  </a:lnTo>
                  <a:lnTo>
                    <a:pt x="247" y="783"/>
                  </a:lnTo>
                  <a:lnTo>
                    <a:pt x="243" y="783"/>
                  </a:lnTo>
                  <a:lnTo>
                    <a:pt x="242" y="784"/>
                  </a:lnTo>
                  <a:lnTo>
                    <a:pt x="241" y="781"/>
                  </a:lnTo>
                  <a:lnTo>
                    <a:pt x="240" y="782"/>
                  </a:lnTo>
                  <a:lnTo>
                    <a:pt x="239" y="784"/>
                  </a:lnTo>
                  <a:lnTo>
                    <a:pt x="237" y="785"/>
                  </a:lnTo>
                  <a:lnTo>
                    <a:pt x="235" y="787"/>
                  </a:lnTo>
                  <a:lnTo>
                    <a:pt x="234" y="789"/>
                  </a:lnTo>
                  <a:lnTo>
                    <a:pt x="235" y="789"/>
                  </a:lnTo>
                  <a:lnTo>
                    <a:pt x="236" y="789"/>
                  </a:lnTo>
                  <a:lnTo>
                    <a:pt x="239" y="789"/>
                  </a:lnTo>
                  <a:lnTo>
                    <a:pt x="241" y="789"/>
                  </a:lnTo>
                  <a:lnTo>
                    <a:pt x="241" y="790"/>
                  </a:lnTo>
                  <a:lnTo>
                    <a:pt x="240" y="795"/>
                  </a:lnTo>
                  <a:lnTo>
                    <a:pt x="240" y="800"/>
                  </a:lnTo>
                  <a:lnTo>
                    <a:pt x="240" y="802"/>
                  </a:lnTo>
                  <a:lnTo>
                    <a:pt x="239" y="806"/>
                  </a:lnTo>
                  <a:lnTo>
                    <a:pt x="237" y="808"/>
                  </a:lnTo>
                  <a:lnTo>
                    <a:pt x="234" y="811"/>
                  </a:lnTo>
                  <a:lnTo>
                    <a:pt x="231" y="813"/>
                  </a:lnTo>
                  <a:lnTo>
                    <a:pt x="229" y="812"/>
                  </a:lnTo>
                  <a:lnTo>
                    <a:pt x="225" y="813"/>
                  </a:lnTo>
                  <a:lnTo>
                    <a:pt x="224" y="814"/>
                  </a:lnTo>
                  <a:lnTo>
                    <a:pt x="221" y="814"/>
                  </a:lnTo>
                  <a:lnTo>
                    <a:pt x="215" y="815"/>
                  </a:lnTo>
                  <a:lnTo>
                    <a:pt x="209" y="817"/>
                  </a:lnTo>
                  <a:lnTo>
                    <a:pt x="205" y="818"/>
                  </a:lnTo>
                  <a:lnTo>
                    <a:pt x="201" y="819"/>
                  </a:lnTo>
                  <a:lnTo>
                    <a:pt x="194" y="821"/>
                  </a:lnTo>
                  <a:lnTo>
                    <a:pt x="189" y="821"/>
                  </a:lnTo>
                  <a:lnTo>
                    <a:pt x="188" y="823"/>
                  </a:lnTo>
                  <a:lnTo>
                    <a:pt x="189" y="824"/>
                  </a:lnTo>
                  <a:lnTo>
                    <a:pt x="192" y="823"/>
                  </a:lnTo>
                  <a:lnTo>
                    <a:pt x="195" y="823"/>
                  </a:lnTo>
                  <a:lnTo>
                    <a:pt x="195" y="824"/>
                  </a:lnTo>
                  <a:lnTo>
                    <a:pt x="194" y="825"/>
                  </a:lnTo>
                  <a:lnTo>
                    <a:pt x="195" y="826"/>
                  </a:lnTo>
                  <a:lnTo>
                    <a:pt x="195" y="825"/>
                  </a:lnTo>
                  <a:lnTo>
                    <a:pt x="198" y="823"/>
                  </a:lnTo>
                  <a:lnTo>
                    <a:pt x="200" y="821"/>
                  </a:lnTo>
                  <a:lnTo>
                    <a:pt x="201" y="821"/>
                  </a:lnTo>
                  <a:lnTo>
                    <a:pt x="200" y="825"/>
                  </a:lnTo>
                  <a:lnTo>
                    <a:pt x="198" y="826"/>
                  </a:lnTo>
                  <a:lnTo>
                    <a:pt x="199" y="826"/>
                  </a:lnTo>
                  <a:lnTo>
                    <a:pt x="201" y="826"/>
                  </a:lnTo>
                  <a:lnTo>
                    <a:pt x="204" y="825"/>
                  </a:lnTo>
                  <a:lnTo>
                    <a:pt x="205" y="824"/>
                  </a:lnTo>
                  <a:lnTo>
                    <a:pt x="205" y="827"/>
                  </a:lnTo>
                  <a:lnTo>
                    <a:pt x="206" y="827"/>
                  </a:lnTo>
                  <a:lnTo>
                    <a:pt x="209" y="826"/>
                  </a:lnTo>
                  <a:lnTo>
                    <a:pt x="210" y="826"/>
                  </a:lnTo>
                  <a:lnTo>
                    <a:pt x="212" y="826"/>
                  </a:lnTo>
                  <a:lnTo>
                    <a:pt x="211" y="827"/>
                  </a:lnTo>
                  <a:lnTo>
                    <a:pt x="209" y="829"/>
                  </a:lnTo>
                  <a:lnTo>
                    <a:pt x="205" y="829"/>
                  </a:lnTo>
                  <a:lnTo>
                    <a:pt x="201" y="829"/>
                  </a:lnTo>
                  <a:lnTo>
                    <a:pt x="199" y="830"/>
                  </a:lnTo>
                  <a:lnTo>
                    <a:pt x="194" y="831"/>
                  </a:lnTo>
                  <a:lnTo>
                    <a:pt x="193" y="832"/>
                  </a:lnTo>
                  <a:lnTo>
                    <a:pt x="190" y="832"/>
                  </a:lnTo>
                  <a:lnTo>
                    <a:pt x="187" y="830"/>
                  </a:lnTo>
                  <a:lnTo>
                    <a:pt x="184" y="830"/>
                  </a:lnTo>
                  <a:lnTo>
                    <a:pt x="184" y="832"/>
                  </a:lnTo>
                  <a:lnTo>
                    <a:pt x="183" y="832"/>
                  </a:lnTo>
                  <a:lnTo>
                    <a:pt x="183" y="833"/>
                  </a:lnTo>
                  <a:lnTo>
                    <a:pt x="188" y="835"/>
                  </a:lnTo>
                  <a:lnTo>
                    <a:pt x="184" y="836"/>
                  </a:lnTo>
                  <a:lnTo>
                    <a:pt x="182" y="837"/>
                  </a:lnTo>
                  <a:lnTo>
                    <a:pt x="180" y="836"/>
                  </a:lnTo>
                  <a:lnTo>
                    <a:pt x="176" y="836"/>
                  </a:lnTo>
                  <a:lnTo>
                    <a:pt x="172" y="833"/>
                  </a:lnTo>
                  <a:lnTo>
                    <a:pt x="169" y="832"/>
                  </a:lnTo>
                  <a:lnTo>
                    <a:pt x="164" y="833"/>
                  </a:lnTo>
                  <a:lnTo>
                    <a:pt x="165" y="835"/>
                  </a:lnTo>
                  <a:lnTo>
                    <a:pt x="163" y="833"/>
                  </a:lnTo>
                  <a:lnTo>
                    <a:pt x="160" y="832"/>
                  </a:lnTo>
                  <a:lnTo>
                    <a:pt x="157" y="831"/>
                  </a:lnTo>
                  <a:lnTo>
                    <a:pt x="153" y="830"/>
                  </a:lnTo>
                  <a:lnTo>
                    <a:pt x="151" y="827"/>
                  </a:lnTo>
                  <a:lnTo>
                    <a:pt x="150" y="827"/>
                  </a:lnTo>
                  <a:lnTo>
                    <a:pt x="151" y="829"/>
                  </a:lnTo>
                  <a:lnTo>
                    <a:pt x="152" y="830"/>
                  </a:lnTo>
                  <a:lnTo>
                    <a:pt x="150" y="830"/>
                  </a:lnTo>
                  <a:lnTo>
                    <a:pt x="148" y="829"/>
                  </a:lnTo>
                  <a:lnTo>
                    <a:pt x="147" y="827"/>
                  </a:lnTo>
                  <a:lnTo>
                    <a:pt x="145" y="826"/>
                  </a:lnTo>
                  <a:lnTo>
                    <a:pt x="142" y="826"/>
                  </a:lnTo>
                  <a:lnTo>
                    <a:pt x="141" y="826"/>
                  </a:lnTo>
                  <a:lnTo>
                    <a:pt x="139" y="825"/>
                  </a:lnTo>
                  <a:lnTo>
                    <a:pt x="136" y="824"/>
                  </a:lnTo>
                  <a:lnTo>
                    <a:pt x="135" y="825"/>
                  </a:lnTo>
                  <a:lnTo>
                    <a:pt x="134" y="824"/>
                  </a:lnTo>
                  <a:lnTo>
                    <a:pt x="135" y="821"/>
                  </a:lnTo>
                  <a:lnTo>
                    <a:pt x="133" y="821"/>
                  </a:lnTo>
                  <a:lnTo>
                    <a:pt x="131" y="823"/>
                  </a:lnTo>
                  <a:lnTo>
                    <a:pt x="130" y="823"/>
                  </a:lnTo>
                  <a:lnTo>
                    <a:pt x="128" y="823"/>
                  </a:lnTo>
                  <a:lnTo>
                    <a:pt x="128" y="820"/>
                  </a:lnTo>
                  <a:lnTo>
                    <a:pt x="127" y="818"/>
                  </a:lnTo>
                  <a:lnTo>
                    <a:pt x="127" y="820"/>
                  </a:lnTo>
                  <a:lnTo>
                    <a:pt x="125" y="821"/>
                  </a:lnTo>
                  <a:lnTo>
                    <a:pt x="124" y="821"/>
                  </a:lnTo>
                  <a:lnTo>
                    <a:pt x="122" y="821"/>
                  </a:lnTo>
                  <a:lnTo>
                    <a:pt x="121" y="820"/>
                  </a:lnTo>
                  <a:lnTo>
                    <a:pt x="119" y="820"/>
                  </a:lnTo>
                  <a:lnTo>
                    <a:pt x="117" y="820"/>
                  </a:lnTo>
                  <a:lnTo>
                    <a:pt x="116" y="820"/>
                  </a:lnTo>
                  <a:lnTo>
                    <a:pt x="116" y="819"/>
                  </a:lnTo>
                  <a:lnTo>
                    <a:pt x="113" y="818"/>
                  </a:lnTo>
                  <a:lnTo>
                    <a:pt x="111" y="818"/>
                  </a:lnTo>
                  <a:lnTo>
                    <a:pt x="106" y="814"/>
                  </a:lnTo>
                  <a:lnTo>
                    <a:pt x="107" y="817"/>
                  </a:lnTo>
                  <a:lnTo>
                    <a:pt x="107" y="819"/>
                  </a:lnTo>
                  <a:lnTo>
                    <a:pt x="105" y="818"/>
                  </a:lnTo>
                  <a:lnTo>
                    <a:pt x="104" y="817"/>
                  </a:lnTo>
                  <a:lnTo>
                    <a:pt x="105" y="819"/>
                  </a:lnTo>
                  <a:lnTo>
                    <a:pt x="106" y="820"/>
                  </a:lnTo>
                  <a:lnTo>
                    <a:pt x="103" y="820"/>
                  </a:lnTo>
                  <a:lnTo>
                    <a:pt x="100" y="821"/>
                  </a:lnTo>
                  <a:lnTo>
                    <a:pt x="104" y="821"/>
                  </a:lnTo>
                  <a:lnTo>
                    <a:pt x="106" y="821"/>
                  </a:lnTo>
                  <a:lnTo>
                    <a:pt x="110" y="821"/>
                  </a:lnTo>
                  <a:lnTo>
                    <a:pt x="109" y="825"/>
                  </a:lnTo>
                  <a:lnTo>
                    <a:pt x="109" y="826"/>
                  </a:lnTo>
                  <a:lnTo>
                    <a:pt x="110" y="825"/>
                  </a:lnTo>
                  <a:lnTo>
                    <a:pt x="112" y="823"/>
                  </a:lnTo>
                  <a:lnTo>
                    <a:pt x="113" y="821"/>
                  </a:lnTo>
                  <a:lnTo>
                    <a:pt x="115" y="821"/>
                  </a:lnTo>
                  <a:lnTo>
                    <a:pt x="115" y="825"/>
                  </a:lnTo>
                  <a:lnTo>
                    <a:pt x="115" y="823"/>
                  </a:lnTo>
                  <a:lnTo>
                    <a:pt x="116" y="823"/>
                  </a:lnTo>
                  <a:lnTo>
                    <a:pt x="118" y="823"/>
                  </a:lnTo>
                  <a:lnTo>
                    <a:pt x="118" y="824"/>
                  </a:lnTo>
                  <a:lnTo>
                    <a:pt x="116" y="826"/>
                  </a:lnTo>
                  <a:lnTo>
                    <a:pt x="116" y="829"/>
                  </a:lnTo>
                  <a:lnTo>
                    <a:pt x="115" y="832"/>
                  </a:lnTo>
                  <a:lnTo>
                    <a:pt x="115" y="836"/>
                  </a:lnTo>
                  <a:lnTo>
                    <a:pt x="117" y="841"/>
                  </a:lnTo>
                  <a:lnTo>
                    <a:pt x="119" y="842"/>
                  </a:lnTo>
                  <a:lnTo>
                    <a:pt x="119" y="839"/>
                  </a:lnTo>
                  <a:lnTo>
                    <a:pt x="119" y="835"/>
                  </a:lnTo>
                  <a:lnTo>
                    <a:pt x="119" y="833"/>
                  </a:lnTo>
                  <a:lnTo>
                    <a:pt x="119" y="836"/>
                  </a:lnTo>
                  <a:lnTo>
                    <a:pt x="121" y="838"/>
                  </a:lnTo>
                  <a:lnTo>
                    <a:pt x="121" y="841"/>
                  </a:lnTo>
                  <a:lnTo>
                    <a:pt x="119" y="843"/>
                  </a:lnTo>
                  <a:lnTo>
                    <a:pt x="121" y="843"/>
                  </a:lnTo>
                  <a:lnTo>
                    <a:pt x="122" y="843"/>
                  </a:lnTo>
                  <a:lnTo>
                    <a:pt x="124" y="844"/>
                  </a:lnTo>
                  <a:lnTo>
                    <a:pt x="124" y="848"/>
                  </a:lnTo>
                  <a:lnTo>
                    <a:pt x="128" y="850"/>
                  </a:lnTo>
                  <a:lnTo>
                    <a:pt x="127" y="852"/>
                  </a:lnTo>
                  <a:lnTo>
                    <a:pt x="125" y="852"/>
                  </a:lnTo>
                  <a:lnTo>
                    <a:pt x="124" y="849"/>
                  </a:lnTo>
                  <a:lnTo>
                    <a:pt x="122" y="849"/>
                  </a:lnTo>
                  <a:lnTo>
                    <a:pt x="118" y="849"/>
                  </a:lnTo>
                  <a:lnTo>
                    <a:pt x="117" y="850"/>
                  </a:lnTo>
                  <a:lnTo>
                    <a:pt x="115" y="849"/>
                  </a:lnTo>
                  <a:lnTo>
                    <a:pt x="113" y="849"/>
                  </a:lnTo>
                  <a:lnTo>
                    <a:pt x="110" y="849"/>
                  </a:lnTo>
                  <a:lnTo>
                    <a:pt x="107" y="852"/>
                  </a:lnTo>
                  <a:lnTo>
                    <a:pt x="109" y="853"/>
                  </a:lnTo>
                  <a:lnTo>
                    <a:pt x="111" y="852"/>
                  </a:lnTo>
                  <a:lnTo>
                    <a:pt x="112" y="853"/>
                  </a:lnTo>
                  <a:lnTo>
                    <a:pt x="113" y="852"/>
                  </a:lnTo>
                  <a:lnTo>
                    <a:pt x="115" y="852"/>
                  </a:lnTo>
                  <a:lnTo>
                    <a:pt x="116" y="852"/>
                  </a:lnTo>
                  <a:lnTo>
                    <a:pt x="118" y="850"/>
                  </a:lnTo>
                  <a:lnTo>
                    <a:pt x="119" y="850"/>
                  </a:lnTo>
                  <a:lnTo>
                    <a:pt x="118" y="853"/>
                  </a:lnTo>
                  <a:lnTo>
                    <a:pt x="117" y="854"/>
                  </a:lnTo>
                  <a:lnTo>
                    <a:pt x="116" y="855"/>
                  </a:lnTo>
                  <a:lnTo>
                    <a:pt x="116" y="856"/>
                  </a:lnTo>
                  <a:lnTo>
                    <a:pt x="118" y="855"/>
                  </a:lnTo>
                  <a:lnTo>
                    <a:pt x="119" y="855"/>
                  </a:lnTo>
                  <a:lnTo>
                    <a:pt x="121" y="854"/>
                  </a:lnTo>
                  <a:lnTo>
                    <a:pt x="122" y="853"/>
                  </a:lnTo>
                  <a:lnTo>
                    <a:pt x="123" y="853"/>
                  </a:lnTo>
                  <a:lnTo>
                    <a:pt x="123" y="854"/>
                  </a:lnTo>
                  <a:lnTo>
                    <a:pt x="122" y="855"/>
                  </a:lnTo>
                  <a:lnTo>
                    <a:pt x="122" y="856"/>
                  </a:lnTo>
                  <a:lnTo>
                    <a:pt x="122" y="858"/>
                  </a:lnTo>
                  <a:lnTo>
                    <a:pt x="121" y="859"/>
                  </a:lnTo>
                  <a:lnTo>
                    <a:pt x="119" y="858"/>
                  </a:lnTo>
                  <a:lnTo>
                    <a:pt x="117" y="856"/>
                  </a:lnTo>
                  <a:lnTo>
                    <a:pt x="116" y="856"/>
                  </a:lnTo>
                  <a:lnTo>
                    <a:pt x="112" y="856"/>
                  </a:lnTo>
                  <a:lnTo>
                    <a:pt x="110" y="856"/>
                  </a:lnTo>
                  <a:lnTo>
                    <a:pt x="105" y="856"/>
                  </a:lnTo>
                  <a:lnTo>
                    <a:pt x="104" y="856"/>
                  </a:lnTo>
                  <a:lnTo>
                    <a:pt x="106" y="858"/>
                  </a:lnTo>
                  <a:lnTo>
                    <a:pt x="106" y="859"/>
                  </a:lnTo>
                  <a:lnTo>
                    <a:pt x="103" y="858"/>
                  </a:lnTo>
                  <a:lnTo>
                    <a:pt x="101" y="860"/>
                  </a:lnTo>
                  <a:lnTo>
                    <a:pt x="104" y="860"/>
                  </a:lnTo>
                  <a:lnTo>
                    <a:pt x="105" y="860"/>
                  </a:lnTo>
                  <a:lnTo>
                    <a:pt x="107" y="860"/>
                  </a:lnTo>
                  <a:lnTo>
                    <a:pt x="109" y="861"/>
                  </a:lnTo>
                  <a:lnTo>
                    <a:pt x="107" y="864"/>
                  </a:lnTo>
                  <a:lnTo>
                    <a:pt x="105" y="864"/>
                  </a:lnTo>
                  <a:lnTo>
                    <a:pt x="101" y="864"/>
                  </a:lnTo>
                  <a:lnTo>
                    <a:pt x="99" y="861"/>
                  </a:lnTo>
                  <a:lnTo>
                    <a:pt x="93" y="858"/>
                  </a:lnTo>
                  <a:lnTo>
                    <a:pt x="91" y="856"/>
                  </a:lnTo>
                  <a:lnTo>
                    <a:pt x="91" y="859"/>
                  </a:lnTo>
                  <a:lnTo>
                    <a:pt x="92" y="860"/>
                  </a:lnTo>
                  <a:lnTo>
                    <a:pt x="91" y="860"/>
                  </a:lnTo>
                  <a:lnTo>
                    <a:pt x="88" y="859"/>
                  </a:lnTo>
                  <a:lnTo>
                    <a:pt x="86" y="859"/>
                  </a:lnTo>
                  <a:lnTo>
                    <a:pt x="83" y="856"/>
                  </a:lnTo>
                  <a:lnTo>
                    <a:pt x="81" y="854"/>
                  </a:lnTo>
                  <a:lnTo>
                    <a:pt x="80" y="855"/>
                  </a:lnTo>
                  <a:lnTo>
                    <a:pt x="78" y="856"/>
                  </a:lnTo>
                  <a:lnTo>
                    <a:pt x="76" y="854"/>
                  </a:lnTo>
                  <a:lnTo>
                    <a:pt x="74" y="854"/>
                  </a:lnTo>
                  <a:lnTo>
                    <a:pt x="72" y="854"/>
                  </a:lnTo>
                  <a:lnTo>
                    <a:pt x="75" y="856"/>
                  </a:lnTo>
                  <a:lnTo>
                    <a:pt x="77" y="858"/>
                  </a:lnTo>
                  <a:lnTo>
                    <a:pt x="77" y="859"/>
                  </a:lnTo>
                  <a:lnTo>
                    <a:pt x="75" y="861"/>
                  </a:lnTo>
                  <a:lnTo>
                    <a:pt x="74" y="861"/>
                  </a:lnTo>
                  <a:lnTo>
                    <a:pt x="74" y="862"/>
                  </a:lnTo>
                  <a:lnTo>
                    <a:pt x="76" y="861"/>
                  </a:lnTo>
                  <a:lnTo>
                    <a:pt x="77" y="860"/>
                  </a:lnTo>
                  <a:lnTo>
                    <a:pt x="80" y="859"/>
                  </a:lnTo>
                  <a:lnTo>
                    <a:pt x="83" y="859"/>
                  </a:lnTo>
                  <a:lnTo>
                    <a:pt x="81" y="862"/>
                  </a:lnTo>
                  <a:lnTo>
                    <a:pt x="80" y="866"/>
                  </a:lnTo>
                  <a:lnTo>
                    <a:pt x="81" y="864"/>
                  </a:lnTo>
                  <a:lnTo>
                    <a:pt x="82" y="862"/>
                  </a:lnTo>
                  <a:lnTo>
                    <a:pt x="83" y="861"/>
                  </a:lnTo>
                  <a:lnTo>
                    <a:pt x="84" y="860"/>
                  </a:lnTo>
                  <a:lnTo>
                    <a:pt x="87" y="860"/>
                  </a:lnTo>
                  <a:lnTo>
                    <a:pt x="88" y="862"/>
                  </a:lnTo>
                  <a:lnTo>
                    <a:pt x="87" y="865"/>
                  </a:lnTo>
                  <a:lnTo>
                    <a:pt x="84" y="867"/>
                  </a:lnTo>
                  <a:lnTo>
                    <a:pt x="84" y="870"/>
                  </a:lnTo>
                  <a:lnTo>
                    <a:pt x="86" y="870"/>
                  </a:lnTo>
                  <a:lnTo>
                    <a:pt x="86" y="871"/>
                  </a:lnTo>
                  <a:lnTo>
                    <a:pt x="84" y="872"/>
                  </a:lnTo>
                  <a:lnTo>
                    <a:pt x="83" y="872"/>
                  </a:lnTo>
                  <a:lnTo>
                    <a:pt x="81" y="872"/>
                  </a:lnTo>
                  <a:lnTo>
                    <a:pt x="78" y="871"/>
                  </a:lnTo>
                  <a:lnTo>
                    <a:pt x="76" y="868"/>
                  </a:lnTo>
                  <a:lnTo>
                    <a:pt x="75" y="868"/>
                  </a:lnTo>
                  <a:lnTo>
                    <a:pt x="75" y="871"/>
                  </a:lnTo>
                  <a:lnTo>
                    <a:pt x="71" y="870"/>
                  </a:lnTo>
                  <a:lnTo>
                    <a:pt x="70" y="868"/>
                  </a:lnTo>
                  <a:lnTo>
                    <a:pt x="68" y="870"/>
                  </a:lnTo>
                  <a:lnTo>
                    <a:pt x="71" y="872"/>
                  </a:lnTo>
                  <a:lnTo>
                    <a:pt x="75" y="872"/>
                  </a:lnTo>
                  <a:lnTo>
                    <a:pt x="74" y="874"/>
                  </a:lnTo>
                  <a:lnTo>
                    <a:pt x="74" y="876"/>
                  </a:lnTo>
                  <a:lnTo>
                    <a:pt x="75" y="877"/>
                  </a:lnTo>
                  <a:lnTo>
                    <a:pt x="76" y="876"/>
                  </a:lnTo>
                  <a:lnTo>
                    <a:pt x="77" y="873"/>
                  </a:lnTo>
                  <a:lnTo>
                    <a:pt x="80" y="873"/>
                  </a:lnTo>
                  <a:lnTo>
                    <a:pt x="80" y="874"/>
                  </a:lnTo>
                  <a:lnTo>
                    <a:pt x="80" y="877"/>
                  </a:lnTo>
                  <a:lnTo>
                    <a:pt x="80" y="878"/>
                  </a:lnTo>
                  <a:lnTo>
                    <a:pt x="81" y="877"/>
                  </a:lnTo>
                  <a:lnTo>
                    <a:pt x="82" y="876"/>
                  </a:lnTo>
                  <a:lnTo>
                    <a:pt x="83" y="876"/>
                  </a:lnTo>
                  <a:lnTo>
                    <a:pt x="82" y="878"/>
                  </a:lnTo>
                  <a:lnTo>
                    <a:pt x="83" y="878"/>
                  </a:lnTo>
                  <a:lnTo>
                    <a:pt x="83" y="877"/>
                  </a:lnTo>
                  <a:lnTo>
                    <a:pt x="86" y="876"/>
                  </a:lnTo>
                  <a:lnTo>
                    <a:pt x="88" y="876"/>
                  </a:lnTo>
                  <a:lnTo>
                    <a:pt x="86" y="880"/>
                  </a:lnTo>
                  <a:lnTo>
                    <a:pt x="86" y="882"/>
                  </a:lnTo>
                  <a:lnTo>
                    <a:pt x="87" y="882"/>
                  </a:lnTo>
                  <a:lnTo>
                    <a:pt x="88" y="879"/>
                  </a:lnTo>
                  <a:lnTo>
                    <a:pt x="89" y="878"/>
                  </a:lnTo>
                  <a:lnTo>
                    <a:pt x="91" y="878"/>
                  </a:lnTo>
                  <a:lnTo>
                    <a:pt x="91" y="879"/>
                  </a:lnTo>
                  <a:lnTo>
                    <a:pt x="91" y="882"/>
                  </a:lnTo>
                  <a:lnTo>
                    <a:pt x="91" y="885"/>
                  </a:lnTo>
                  <a:lnTo>
                    <a:pt x="92" y="884"/>
                  </a:lnTo>
                  <a:lnTo>
                    <a:pt x="94" y="884"/>
                  </a:lnTo>
                  <a:lnTo>
                    <a:pt x="94" y="885"/>
                  </a:lnTo>
                  <a:lnTo>
                    <a:pt x="94" y="889"/>
                  </a:lnTo>
                  <a:lnTo>
                    <a:pt x="93" y="892"/>
                  </a:lnTo>
                  <a:lnTo>
                    <a:pt x="94" y="892"/>
                  </a:lnTo>
                  <a:lnTo>
                    <a:pt x="97" y="891"/>
                  </a:lnTo>
                  <a:lnTo>
                    <a:pt x="99" y="891"/>
                  </a:lnTo>
                  <a:lnTo>
                    <a:pt x="99" y="892"/>
                  </a:lnTo>
                  <a:lnTo>
                    <a:pt x="97" y="894"/>
                  </a:lnTo>
                  <a:lnTo>
                    <a:pt x="93" y="894"/>
                  </a:lnTo>
                  <a:lnTo>
                    <a:pt x="94" y="896"/>
                  </a:lnTo>
                  <a:lnTo>
                    <a:pt x="97" y="896"/>
                  </a:lnTo>
                  <a:lnTo>
                    <a:pt x="97" y="897"/>
                  </a:lnTo>
                  <a:lnTo>
                    <a:pt x="94" y="900"/>
                  </a:lnTo>
                  <a:lnTo>
                    <a:pt x="92" y="901"/>
                  </a:lnTo>
                  <a:lnTo>
                    <a:pt x="92" y="903"/>
                  </a:lnTo>
                  <a:lnTo>
                    <a:pt x="94" y="902"/>
                  </a:lnTo>
                  <a:lnTo>
                    <a:pt x="97" y="901"/>
                  </a:lnTo>
                  <a:lnTo>
                    <a:pt x="98" y="900"/>
                  </a:lnTo>
                  <a:lnTo>
                    <a:pt x="98" y="902"/>
                  </a:lnTo>
                  <a:lnTo>
                    <a:pt x="99" y="901"/>
                  </a:lnTo>
                  <a:lnTo>
                    <a:pt x="101" y="900"/>
                  </a:lnTo>
                  <a:lnTo>
                    <a:pt x="103" y="898"/>
                  </a:lnTo>
                  <a:lnTo>
                    <a:pt x="103" y="901"/>
                  </a:lnTo>
                  <a:lnTo>
                    <a:pt x="103" y="903"/>
                  </a:lnTo>
                  <a:lnTo>
                    <a:pt x="101" y="904"/>
                  </a:lnTo>
                  <a:lnTo>
                    <a:pt x="100" y="904"/>
                  </a:lnTo>
                  <a:lnTo>
                    <a:pt x="97" y="904"/>
                  </a:lnTo>
                  <a:lnTo>
                    <a:pt x="94" y="904"/>
                  </a:lnTo>
                  <a:lnTo>
                    <a:pt x="89" y="904"/>
                  </a:lnTo>
                  <a:lnTo>
                    <a:pt x="87" y="904"/>
                  </a:lnTo>
                  <a:lnTo>
                    <a:pt x="84" y="904"/>
                  </a:lnTo>
                  <a:lnTo>
                    <a:pt x="81" y="903"/>
                  </a:lnTo>
                  <a:lnTo>
                    <a:pt x="80" y="903"/>
                  </a:lnTo>
                  <a:lnTo>
                    <a:pt x="76" y="903"/>
                  </a:lnTo>
                  <a:lnTo>
                    <a:pt x="74" y="903"/>
                  </a:lnTo>
                  <a:lnTo>
                    <a:pt x="74" y="906"/>
                  </a:lnTo>
                  <a:lnTo>
                    <a:pt x="76" y="907"/>
                  </a:lnTo>
                  <a:lnTo>
                    <a:pt x="77" y="909"/>
                  </a:lnTo>
                  <a:lnTo>
                    <a:pt x="78" y="907"/>
                  </a:lnTo>
                  <a:lnTo>
                    <a:pt x="80" y="907"/>
                  </a:lnTo>
                  <a:lnTo>
                    <a:pt x="80" y="912"/>
                  </a:lnTo>
                  <a:lnTo>
                    <a:pt x="81" y="913"/>
                  </a:lnTo>
                  <a:lnTo>
                    <a:pt x="81" y="912"/>
                  </a:lnTo>
                  <a:lnTo>
                    <a:pt x="82" y="910"/>
                  </a:lnTo>
                  <a:lnTo>
                    <a:pt x="83" y="908"/>
                  </a:lnTo>
                  <a:lnTo>
                    <a:pt x="84" y="908"/>
                  </a:lnTo>
                  <a:lnTo>
                    <a:pt x="83" y="912"/>
                  </a:lnTo>
                  <a:lnTo>
                    <a:pt x="82" y="914"/>
                  </a:lnTo>
                  <a:lnTo>
                    <a:pt x="82" y="918"/>
                  </a:lnTo>
                  <a:lnTo>
                    <a:pt x="82" y="922"/>
                  </a:lnTo>
                  <a:lnTo>
                    <a:pt x="83" y="925"/>
                  </a:lnTo>
                  <a:lnTo>
                    <a:pt x="84" y="925"/>
                  </a:lnTo>
                  <a:lnTo>
                    <a:pt x="84" y="921"/>
                  </a:lnTo>
                  <a:lnTo>
                    <a:pt x="86" y="920"/>
                  </a:lnTo>
                  <a:lnTo>
                    <a:pt x="86" y="915"/>
                  </a:lnTo>
                  <a:lnTo>
                    <a:pt x="86" y="914"/>
                  </a:lnTo>
                  <a:lnTo>
                    <a:pt x="87" y="912"/>
                  </a:lnTo>
                  <a:lnTo>
                    <a:pt x="88" y="912"/>
                  </a:lnTo>
                  <a:lnTo>
                    <a:pt x="89" y="913"/>
                  </a:lnTo>
                  <a:lnTo>
                    <a:pt x="88" y="914"/>
                  </a:lnTo>
                  <a:lnTo>
                    <a:pt x="88" y="916"/>
                  </a:lnTo>
                  <a:lnTo>
                    <a:pt x="88" y="919"/>
                  </a:lnTo>
                  <a:lnTo>
                    <a:pt x="89" y="919"/>
                  </a:lnTo>
                  <a:lnTo>
                    <a:pt x="91" y="919"/>
                  </a:lnTo>
                  <a:lnTo>
                    <a:pt x="92" y="916"/>
                  </a:lnTo>
                  <a:lnTo>
                    <a:pt x="93" y="915"/>
                  </a:lnTo>
                  <a:lnTo>
                    <a:pt x="94" y="914"/>
                  </a:lnTo>
                  <a:lnTo>
                    <a:pt x="94" y="913"/>
                  </a:lnTo>
                  <a:lnTo>
                    <a:pt x="95" y="913"/>
                  </a:lnTo>
                  <a:lnTo>
                    <a:pt x="95" y="915"/>
                  </a:lnTo>
                  <a:lnTo>
                    <a:pt x="95" y="916"/>
                  </a:lnTo>
                  <a:lnTo>
                    <a:pt x="94" y="919"/>
                  </a:lnTo>
                  <a:lnTo>
                    <a:pt x="94" y="920"/>
                  </a:lnTo>
                  <a:lnTo>
                    <a:pt x="93" y="921"/>
                  </a:lnTo>
                  <a:lnTo>
                    <a:pt x="91" y="924"/>
                  </a:lnTo>
                  <a:lnTo>
                    <a:pt x="89" y="926"/>
                  </a:lnTo>
                  <a:lnTo>
                    <a:pt x="89" y="927"/>
                  </a:lnTo>
                  <a:lnTo>
                    <a:pt x="91" y="927"/>
                  </a:lnTo>
                  <a:lnTo>
                    <a:pt x="92" y="926"/>
                  </a:lnTo>
                  <a:lnTo>
                    <a:pt x="93" y="926"/>
                  </a:lnTo>
                  <a:lnTo>
                    <a:pt x="95" y="926"/>
                  </a:lnTo>
                  <a:lnTo>
                    <a:pt x="95" y="927"/>
                  </a:lnTo>
                  <a:lnTo>
                    <a:pt x="94" y="928"/>
                  </a:lnTo>
                  <a:lnTo>
                    <a:pt x="93" y="928"/>
                  </a:lnTo>
                  <a:lnTo>
                    <a:pt x="92" y="928"/>
                  </a:lnTo>
                  <a:lnTo>
                    <a:pt x="91" y="928"/>
                  </a:lnTo>
                  <a:lnTo>
                    <a:pt x="88" y="928"/>
                  </a:lnTo>
                  <a:lnTo>
                    <a:pt x="86" y="927"/>
                  </a:lnTo>
                  <a:lnTo>
                    <a:pt x="83" y="926"/>
                  </a:lnTo>
                  <a:lnTo>
                    <a:pt x="82" y="925"/>
                  </a:lnTo>
                  <a:lnTo>
                    <a:pt x="78" y="924"/>
                  </a:lnTo>
                  <a:lnTo>
                    <a:pt x="76" y="924"/>
                  </a:lnTo>
                  <a:lnTo>
                    <a:pt x="72" y="924"/>
                  </a:lnTo>
                  <a:lnTo>
                    <a:pt x="68" y="921"/>
                  </a:lnTo>
                  <a:lnTo>
                    <a:pt x="65" y="921"/>
                  </a:lnTo>
                  <a:lnTo>
                    <a:pt x="63" y="922"/>
                  </a:lnTo>
                  <a:lnTo>
                    <a:pt x="62" y="921"/>
                  </a:lnTo>
                  <a:lnTo>
                    <a:pt x="59" y="920"/>
                  </a:lnTo>
                  <a:lnTo>
                    <a:pt x="56" y="919"/>
                  </a:lnTo>
                  <a:lnTo>
                    <a:pt x="53" y="919"/>
                  </a:lnTo>
                  <a:lnTo>
                    <a:pt x="51" y="919"/>
                  </a:lnTo>
                  <a:lnTo>
                    <a:pt x="48" y="918"/>
                  </a:lnTo>
                  <a:lnTo>
                    <a:pt x="47" y="918"/>
                  </a:lnTo>
                  <a:lnTo>
                    <a:pt x="48" y="919"/>
                  </a:lnTo>
                  <a:lnTo>
                    <a:pt x="48" y="920"/>
                  </a:lnTo>
                  <a:lnTo>
                    <a:pt x="46" y="920"/>
                  </a:lnTo>
                  <a:lnTo>
                    <a:pt x="45" y="919"/>
                  </a:lnTo>
                  <a:lnTo>
                    <a:pt x="44" y="918"/>
                  </a:lnTo>
                  <a:lnTo>
                    <a:pt x="44" y="919"/>
                  </a:lnTo>
                  <a:lnTo>
                    <a:pt x="42" y="918"/>
                  </a:lnTo>
                  <a:lnTo>
                    <a:pt x="41" y="916"/>
                  </a:lnTo>
                  <a:lnTo>
                    <a:pt x="38" y="914"/>
                  </a:lnTo>
                  <a:lnTo>
                    <a:pt x="36" y="916"/>
                  </a:lnTo>
                  <a:lnTo>
                    <a:pt x="38" y="918"/>
                  </a:lnTo>
                  <a:lnTo>
                    <a:pt x="32" y="916"/>
                  </a:lnTo>
                  <a:lnTo>
                    <a:pt x="33" y="918"/>
                  </a:lnTo>
                  <a:lnTo>
                    <a:pt x="35" y="919"/>
                  </a:lnTo>
                  <a:lnTo>
                    <a:pt x="38" y="919"/>
                  </a:lnTo>
                  <a:lnTo>
                    <a:pt x="38" y="920"/>
                  </a:lnTo>
                  <a:lnTo>
                    <a:pt x="34" y="922"/>
                  </a:lnTo>
                  <a:lnTo>
                    <a:pt x="33" y="924"/>
                  </a:lnTo>
                  <a:lnTo>
                    <a:pt x="34" y="925"/>
                  </a:lnTo>
                  <a:lnTo>
                    <a:pt x="34" y="924"/>
                  </a:lnTo>
                  <a:lnTo>
                    <a:pt x="39" y="921"/>
                  </a:lnTo>
                  <a:lnTo>
                    <a:pt x="41" y="921"/>
                  </a:lnTo>
                  <a:lnTo>
                    <a:pt x="42" y="921"/>
                  </a:lnTo>
                  <a:lnTo>
                    <a:pt x="42" y="922"/>
                  </a:lnTo>
                  <a:lnTo>
                    <a:pt x="41" y="925"/>
                  </a:lnTo>
                  <a:lnTo>
                    <a:pt x="41" y="926"/>
                  </a:lnTo>
                  <a:lnTo>
                    <a:pt x="42" y="926"/>
                  </a:lnTo>
                  <a:lnTo>
                    <a:pt x="44" y="925"/>
                  </a:lnTo>
                  <a:lnTo>
                    <a:pt x="44" y="922"/>
                  </a:lnTo>
                  <a:lnTo>
                    <a:pt x="45" y="921"/>
                  </a:lnTo>
                  <a:lnTo>
                    <a:pt x="48" y="922"/>
                  </a:lnTo>
                  <a:lnTo>
                    <a:pt x="50" y="922"/>
                  </a:lnTo>
                  <a:lnTo>
                    <a:pt x="48" y="925"/>
                  </a:lnTo>
                  <a:lnTo>
                    <a:pt x="47" y="926"/>
                  </a:lnTo>
                  <a:lnTo>
                    <a:pt x="46" y="928"/>
                  </a:lnTo>
                  <a:lnTo>
                    <a:pt x="46" y="931"/>
                  </a:lnTo>
                  <a:lnTo>
                    <a:pt x="46" y="934"/>
                  </a:lnTo>
                  <a:lnTo>
                    <a:pt x="47" y="936"/>
                  </a:lnTo>
                  <a:lnTo>
                    <a:pt x="47" y="938"/>
                  </a:lnTo>
                  <a:lnTo>
                    <a:pt x="47" y="939"/>
                  </a:lnTo>
                  <a:lnTo>
                    <a:pt x="47" y="942"/>
                  </a:lnTo>
                  <a:lnTo>
                    <a:pt x="48" y="942"/>
                  </a:lnTo>
                  <a:lnTo>
                    <a:pt x="50" y="940"/>
                  </a:lnTo>
                  <a:lnTo>
                    <a:pt x="50" y="939"/>
                  </a:lnTo>
                  <a:lnTo>
                    <a:pt x="51" y="937"/>
                  </a:lnTo>
                  <a:lnTo>
                    <a:pt x="51" y="936"/>
                  </a:lnTo>
                  <a:lnTo>
                    <a:pt x="51" y="931"/>
                  </a:lnTo>
                  <a:lnTo>
                    <a:pt x="52" y="934"/>
                  </a:lnTo>
                  <a:lnTo>
                    <a:pt x="52" y="936"/>
                  </a:lnTo>
                  <a:lnTo>
                    <a:pt x="53" y="934"/>
                  </a:lnTo>
                  <a:lnTo>
                    <a:pt x="53" y="931"/>
                  </a:lnTo>
                  <a:lnTo>
                    <a:pt x="53" y="928"/>
                  </a:lnTo>
                  <a:lnTo>
                    <a:pt x="56" y="926"/>
                  </a:lnTo>
                  <a:lnTo>
                    <a:pt x="56" y="925"/>
                  </a:lnTo>
                  <a:lnTo>
                    <a:pt x="56" y="927"/>
                  </a:lnTo>
                  <a:lnTo>
                    <a:pt x="56" y="928"/>
                  </a:lnTo>
                  <a:lnTo>
                    <a:pt x="56" y="930"/>
                  </a:lnTo>
                  <a:lnTo>
                    <a:pt x="58" y="930"/>
                  </a:lnTo>
                  <a:lnTo>
                    <a:pt x="59" y="927"/>
                  </a:lnTo>
                  <a:lnTo>
                    <a:pt x="59" y="926"/>
                  </a:lnTo>
                  <a:lnTo>
                    <a:pt x="60" y="926"/>
                  </a:lnTo>
                  <a:lnTo>
                    <a:pt x="60" y="927"/>
                  </a:lnTo>
                  <a:lnTo>
                    <a:pt x="59" y="930"/>
                  </a:lnTo>
                  <a:lnTo>
                    <a:pt x="58" y="933"/>
                  </a:lnTo>
                  <a:lnTo>
                    <a:pt x="58" y="934"/>
                  </a:lnTo>
                  <a:lnTo>
                    <a:pt x="59" y="933"/>
                  </a:lnTo>
                  <a:lnTo>
                    <a:pt x="62" y="932"/>
                  </a:lnTo>
                  <a:lnTo>
                    <a:pt x="63" y="930"/>
                  </a:lnTo>
                  <a:lnTo>
                    <a:pt x="63" y="932"/>
                  </a:lnTo>
                  <a:lnTo>
                    <a:pt x="62" y="934"/>
                  </a:lnTo>
                  <a:lnTo>
                    <a:pt x="60" y="937"/>
                  </a:lnTo>
                  <a:lnTo>
                    <a:pt x="59" y="939"/>
                  </a:lnTo>
                  <a:lnTo>
                    <a:pt x="59" y="943"/>
                  </a:lnTo>
                  <a:lnTo>
                    <a:pt x="60" y="943"/>
                  </a:lnTo>
                  <a:lnTo>
                    <a:pt x="62" y="942"/>
                  </a:lnTo>
                  <a:lnTo>
                    <a:pt x="63" y="939"/>
                  </a:lnTo>
                  <a:lnTo>
                    <a:pt x="63" y="937"/>
                  </a:lnTo>
                  <a:lnTo>
                    <a:pt x="64" y="934"/>
                  </a:lnTo>
                  <a:lnTo>
                    <a:pt x="65" y="934"/>
                  </a:lnTo>
                  <a:lnTo>
                    <a:pt x="66" y="936"/>
                  </a:lnTo>
                  <a:lnTo>
                    <a:pt x="68" y="937"/>
                  </a:lnTo>
                  <a:lnTo>
                    <a:pt x="66" y="940"/>
                  </a:lnTo>
                  <a:lnTo>
                    <a:pt x="68" y="942"/>
                  </a:lnTo>
                  <a:lnTo>
                    <a:pt x="69" y="940"/>
                  </a:lnTo>
                  <a:lnTo>
                    <a:pt x="69" y="938"/>
                  </a:lnTo>
                  <a:lnTo>
                    <a:pt x="70" y="937"/>
                  </a:lnTo>
                  <a:lnTo>
                    <a:pt x="71" y="934"/>
                  </a:lnTo>
                  <a:lnTo>
                    <a:pt x="72" y="934"/>
                  </a:lnTo>
                  <a:lnTo>
                    <a:pt x="74" y="936"/>
                  </a:lnTo>
                  <a:lnTo>
                    <a:pt x="72" y="937"/>
                  </a:lnTo>
                  <a:lnTo>
                    <a:pt x="71" y="939"/>
                  </a:lnTo>
                  <a:lnTo>
                    <a:pt x="70" y="942"/>
                  </a:lnTo>
                  <a:lnTo>
                    <a:pt x="69" y="944"/>
                  </a:lnTo>
                  <a:lnTo>
                    <a:pt x="70" y="943"/>
                  </a:lnTo>
                  <a:lnTo>
                    <a:pt x="71" y="942"/>
                  </a:lnTo>
                  <a:lnTo>
                    <a:pt x="72" y="942"/>
                  </a:lnTo>
                  <a:lnTo>
                    <a:pt x="71" y="945"/>
                  </a:lnTo>
                  <a:lnTo>
                    <a:pt x="70" y="948"/>
                  </a:lnTo>
                  <a:lnTo>
                    <a:pt x="69" y="949"/>
                  </a:lnTo>
                  <a:lnTo>
                    <a:pt x="68" y="950"/>
                  </a:lnTo>
                  <a:lnTo>
                    <a:pt x="60" y="952"/>
                  </a:lnTo>
                  <a:lnTo>
                    <a:pt x="59" y="954"/>
                  </a:lnTo>
                  <a:lnTo>
                    <a:pt x="60" y="955"/>
                  </a:lnTo>
                  <a:lnTo>
                    <a:pt x="62" y="955"/>
                  </a:lnTo>
                  <a:lnTo>
                    <a:pt x="63" y="954"/>
                  </a:lnTo>
                  <a:lnTo>
                    <a:pt x="64" y="954"/>
                  </a:lnTo>
                  <a:lnTo>
                    <a:pt x="64" y="956"/>
                  </a:lnTo>
                  <a:lnTo>
                    <a:pt x="64" y="957"/>
                  </a:lnTo>
                  <a:lnTo>
                    <a:pt x="65" y="957"/>
                  </a:lnTo>
                  <a:lnTo>
                    <a:pt x="65" y="956"/>
                  </a:lnTo>
                  <a:lnTo>
                    <a:pt x="66" y="955"/>
                  </a:lnTo>
                  <a:lnTo>
                    <a:pt x="68" y="952"/>
                  </a:lnTo>
                  <a:lnTo>
                    <a:pt x="69" y="952"/>
                  </a:lnTo>
                  <a:lnTo>
                    <a:pt x="69" y="954"/>
                  </a:lnTo>
                  <a:lnTo>
                    <a:pt x="69" y="956"/>
                  </a:lnTo>
                  <a:lnTo>
                    <a:pt x="69" y="959"/>
                  </a:lnTo>
                  <a:lnTo>
                    <a:pt x="69" y="960"/>
                  </a:lnTo>
                  <a:lnTo>
                    <a:pt x="70" y="960"/>
                  </a:lnTo>
                  <a:lnTo>
                    <a:pt x="71" y="959"/>
                  </a:lnTo>
                  <a:lnTo>
                    <a:pt x="71" y="957"/>
                  </a:lnTo>
                  <a:lnTo>
                    <a:pt x="72" y="957"/>
                  </a:lnTo>
                  <a:lnTo>
                    <a:pt x="74" y="960"/>
                  </a:lnTo>
                  <a:lnTo>
                    <a:pt x="74" y="959"/>
                  </a:lnTo>
                  <a:lnTo>
                    <a:pt x="76" y="957"/>
                  </a:lnTo>
                  <a:lnTo>
                    <a:pt x="75" y="956"/>
                  </a:lnTo>
                  <a:lnTo>
                    <a:pt x="75" y="955"/>
                  </a:lnTo>
                  <a:lnTo>
                    <a:pt x="74" y="954"/>
                  </a:lnTo>
                  <a:lnTo>
                    <a:pt x="74" y="951"/>
                  </a:lnTo>
                  <a:lnTo>
                    <a:pt x="75" y="949"/>
                  </a:lnTo>
                  <a:lnTo>
                    <a:pt x="76" y="950"/>
                  </a:lnTo>
                  <a:lnTo>
                    <a:pt x="77" y="951"/>
                  </a:lnTo>
                  <a:lnTo>
                    <a:pt x="77" y="950"/>
                  </a:lnTo>
                  <a:lnTo>
                    <a:pt x="78" y="949"/>
                  </a:lnTo>
                  <a:lnTo>
                    <a:pt x="80" y="954"/>
                  </a:lnTo>
                  <a:lnTo>
                    <a:pt x="81" y="955"/>
                  </a:lnTo>
                  <a:lnTo>
                    <a:pt x="81" y="954"/>
                  </a:lnTo>
                  <a:lnTo>
                    <a:pt x="81" y="950"/>
                  </a:lnTo>
                  <a:lnTo>
                    <a:pt x="82" y="948"/>
                  </a:lnTo>
                  <a:lnTo>
                    <a:pt x="82" y="945"/>
                  </a:lnTo>
                  <a:lnTo>
                    <a:pt x="82" y="943"/>
                  </a:lnTo>
                  <a:lnTo>
                    <a:pt x="83" y="942"/>
                  </a:lnTo>
                  <a:lnTo>
                    <a:pt x="83" y="944"/>
                  </a:lnTo>
                  <a:lnTo>
                    <a:pt x="84" y="944"/>
                  </a:lnTo>
                  <a:lnTo>
                    <a:pt x="84" y="943"/>
                  </a:lnTo>
                  <a:lnTo>
                    <a:pt x="86" y="943"/>
                  </a:lnTo>
                  <a:lnTo>
                    <a:pt x="84" y="945"/>
                  </a:lnTo>
                  <a:lnTo>
                    <a:pt x="84" y="946"/>
                  </a:lnTo>
                  <a:lnTo>
                    <a:pt x="86" y="948"/>
                  </a:lnTo>
                  <a:lnTo>
                    <a:pt x="87" y="949"/>
                  </a:lnTo>
                  <a:lnTo>
                    <a:pt x="87" y="951"/>
                  </a:lnTo>
                  <a:lnTo>
                    <a:pt x="87" y="952"/>
                  </a:lnTo>
                  <a:lnTo>
                    <a:pt x="86" y="954"/>
                  </a:lnTo>
                  <a:lnTo>
                    <a:pt x="84" y="954"/>
                  </a:lnTo>
                  <a:lnTo>
                    <a:pt x="82" y="955"/>
                  </a:lnTo>
                  <a:lnTo>
                    <a:pt x="82" y="956"/>
                  </a:lnTo>
                  <a:lnTo>
                    <a:pt x="83" y="956"/>
                  </a:lnTo>
                  <a:lnTo>
                    <a:pt x="82" y="957"/>
                  </a:lnTo>
                  <a:lnTo>
                    <a:pt x="81" y="960"/>
                  </a:lnTo>
                  <a:lnTo>
                    <a:pt x="80" y="960"/>
                  </a:lnTo>
                  <a:lnTo>
                    <a:pt x="75" y="962"/>
                  </a:lnTo>
                  <a:lnTo>
                    <a:pt x="74" y="962"/>
                  </a:lnTo>
                  <a:lnTo>
                    <a:pt x="71" y="963"/>
                  </a:lnTo>
                  <a:lnTo>
                    <a:pt x="69" y="962"/>
                  </a:lnTo>
                  <a:lnTo>
                    <a:pt x="66" y="962"/>
                  </a:lnTo>
                  <a:lnTo>
                    <a:pt x="64" y="962"/>
                  </a:lnTo>
                  <a:lnTo>
                    <a:pt x="64" y="963"/>
                  </a:lnTo>
                  <a:lnTo>
                    <a:pt x="64" y="965"/>
                  </a:lnTo>
                  <a:lnTo>
                    <a:pt x="62" y="966"/>
                  </a:lnTo>
                  <a:lnTo>
                    <a:pt x="64" y="966"/>
                  </a:lnTo>
                  <a:lnTo>
                    <a:pt x="65" y="966"/>
                  </a:lnTo>
                  <a:lnTo>
                    <a:pt x="66" y="966"/>
                  </a:lnTo>
                  <a:lnTo>
                    <a:pt x="68" y="968"/>
                  </a:lnTo>
                  <a:lnTo>
                    <a:pt x="66" y="969"/>
                  </a:lnTo>
                  <a:lnTo>
                    <a:pt x="68" y="969"/>
                  </a:lnTo>
                  <a:lnTo>
                    <a:pt x="69" y="967"/>
                  </a:lnTo>
                  <a:lnTo>
                    <a:pt x="69" y="966"/>
                  </a:lnTo>
                  <a:lnTo>
                    <a:pt x="71" y="965"/>
                  </a:lnTo>
                  <a:lnTo>
                    <a:pt x="72" y="966"/>
                  </a:lnTo>
                  <a:lnTo>
                    <a:pt x="71" y="967"/>
                  </a:lnTo>
                  <a:lnTo>
                    <a:pt x="70" y="969"/>
                  </a:lnTo>
                  <a:lnTo>
                    <a:pt x="69" y="972"/>
                  </a:lnTo>
                  <a:lnTo>
                    <a:pt x="70" y="974"/>
                  </a:lnTo>
                  <a:lnTo>
                    <a:pt x="71" y="973"/>
                  </a:lnTo>
                  <a:lnTo>
                    <a:pt x="72" y="971"/>
                  </a:lnTo>
                  <a:lnTo>
                    <a:pt x="75" y="968"/>
                  </a:lnTo>
                  <a:lnTo>
                    <a:pt x="75" y="967"/>
                  </a:lnTo>
                  <a:lnTo>
                    <a:pt x="77" y="966"/>
                  </a:lnTo>
                  <a:lnTo>
                    <a:pt x="78" y="963"/>
                  </a:lnTo>
                  <a:lnTo>
                    <a:pt x="80" y="963"/>
                  </a:lnTo>
                  <a:lnTo>
                    <a:pt x="80" y="965"/>
                  </a:lnTo>
                  <a:lnTo>
                    <a:pt x="80" y="967"/>
                  </a:lnTo>
                  <a:lnTo>
                    <a:pt x="80" y="968"/>
                  </a:lnTo>
                  <a:lnTo>
                    <a:pt x="80" y="971"/>
                  </a:lnTo>
                  <a:lnTo>
                    <a:pt x="78" y="974"/>
                  </a:lnTo>
                  <a:lnTo>
                    <a:pt x="78" y="977"/>
                  </a:lnTo>
                  <a:lnTo>
                    <a:pt x="80" y="977"/>
                  </a:lnTo>
                  <a:lnTo>
                    <a:pt x="81" y="974"/>
                  </a:lnTo>
                  <a:lnTo>
                    <a:pt x="81" y="973"/>
                  </a:lnTo>
                  <a:lnTo>
                    <a:pt x="81" y="971"/>
                  </a:lnTo>
                  <a:lnTo>
                    <a:pt x="82" y="968"/>
                  </a:lnTo>
                  <a:lnTo>
                    <a:pt x="82" y="972"/>
                  </a:lnTo>
                  <a:lnTo>
                    <a:pt x="83" y="972"/>
                  </a:lnTo>
                  <a:lnTo>
                    <a:pt x="83" y="969"/>
                  </a:lnTo>
                  <a:lnTo>
                    <a:pt x="83" y="968"/>
                  </a:lnTo>
                  <a:lnTo>
                    <a:pt x="86" y="966"/>
                  </a:lnTo>
                  <a:lnTo>
                    <a:pt x="86" y="965"/>
                  </a:lnTo>
                  <a:lnTo>
                    <a:pt x="86" y="967"/>
                  </a:lnTo>
                  <a:lnTo>
                    <a:pt x="86" y="969"/>
                  </a:lnTo>
                  <a:lnTo>
                    <a:pt x="86" y="972"/>
                  </a:lnTo>
                  <a:lnTo>
                    <a:pt x="88" y="969"/>
                  </a:lnTo>
                  <a:lnTo>
                    <a:pt x="88" y="967"/>
                  </a:lnTo>
                  <a:lnTo>
                    <a:pt x="89" y="965"/>
                  </a:lnTo>
                  <a:lnTo>
                    <a:pt x="91" y="967"/>
                  </a:lnTo>
                  <a:lnTo>
                    <a:pt x="88" y="969"/>
                  </a:lnTo>
                  <a:lnTo>
                    <a:pt x="88" y="972"/>
                  </a:lnTo>
                  <a:lnTo>
                    <a:pt x="88" y="974"/>
                  </a:lnTo>
                  <a:lnTo>
                    <a:pt x="89" y="977"/>
                  </a:lnTo>
                  <a:lnTo>
                    <a:pt x="89" y="979"/>
                  </a:lnTo>
                  <a:lnTo>
                    <a:pt x="88" y="983"/>
                  </a:lnTo>
                  <a:lnTo>
                    <a:pt x="88" y="985"/>
                  </a:lnTo>
                  <a:lnTo>
                    <a:pt x="87" y="989"/>
                  </a:lnTo>
                  <a:lnTo>
                    <a:pt x="88" y="987"/>
                  </a:lnTo>
                  <a:lnTo>
                    <a:pt x="89" y="989"/>
                  </a:lnTo>
                  <a:lnTo>
                    <a:pt x="88" y="990"/>
                  </a:lnTo>
                  <a:lnTo>
                    <a:pt x="86" y="990"/>
                  </a:lnTo>
                  <a:lnTo>
                    <a:pt x="83" y="990"/>
                  </a:lnTo>
                  <a:lnTo>
                    <a:pt x="81" y="990"/>
                  </a:lnTo>
                  <a:lnTo>
                    <a:pt x="80" y="990"/>
                  </a:lnTo>
                  <a:lnTo>
                    <a:pt x="76" y="989"/>
                  </a:lnTo>
                  <a:lnTo>
                    <a:pt x="74" y="989"/>
                  </a:lnTo>
                  <a:lnTo>
                    <a:pt x="71" y="985"/>
                  </a:lnTo>
                  <a:lnTo>
                    <a:pt x="68" y="984"/>
                  </a:lnTo>
                  <a:lnTo>
                    <a:pt x="66" y="981"/>
                  </a:lnTo>
                  <a:lnTo>
                    <a:pt x="65" y="980"/>
                  </a:lnTo>
                  <a:lnTo>
                    <a:pt x="63" y="980"/>
                  </a:lnTo>
                  <a:lnTo>
                    <a:pt x="63" y="977"/>
                  </a:lnTo>
                  <a:lnTo>
                    <a:pt x="62" y="978"/>
                  </a:lnTo>
                  <a:lnTo>
                    <a:pt x="60" y="977"/>
                  </a:lnTo>
                  <a:lnTo>
                    <a:pt x="60" y="975"/>
                  </a:lnTo>
                  <a:lnTo>
                    <a:pt x="59" y="975"/>
                  </a:lnTo>
                  <a:lnTo>
                    <a:pt x="57" y="974"/>
                  </a:lnTo>
                  <a:lnTo>
                    <a:pt x="56" y="977"/>
                  </a:lnTo>
                  <a:lnTo>
                    <a:pt x="54" y="979"/>
                  </a:lnTo>
                  <a:lnTo>
                    <a:pt x="53" y="980"/>
                  </a:lnTo>
                  <a:lnTo>
                    <a:pt x="53" y="981"/>
                  </a:lnTo>
                  <a:lnTo>
                    <a:pt x="56" y="981"/>
                  </a:lnTo>
                  <a:lnTo>
                    <a:pt x="58" y="984"/>
                  </a:lnTo>
                  <a:lnTo>
                    <a:pt x="60" y="986"/>
                  </a:lnTo>
                  <a:lnTo>
                    <a:pt x="63" y="985"/>
                  </a:lnTo>
                  <a:lnTo>
                    <a:pt x="62" y="987"/>
                  </a:lnTo>
                  <a:lnTo>
                    <a:pt x="60" y="989"/>
                  </a:lnTo>
                  <a:lnTo>
                    <a:pt x="58" y="989"/>
                  </a:lnTo>
                  <a:lnTo>
                    <a:pt x="56" y="987"/>
                  </a:lnTo>
                  <a:lnTo>
                    <a:pt x="52" y="986"/>
                  </a:lnTo>
                  <a:lnTo>
                    <a:pt x="50" y="986"/>
                  </a:lnTo>
                  <a:lnTo>
                    <a:pt x="46" y="984"/>
                  </a:lnTo>
                  <a:lnTo>
                    <a:pt x="42" y="983"/>
                  </a:lnTo>
                  <a:lnTo>
                    <a:pt x="39" y="980"/>
                  </a:lnTo>
                  <a:lnTo>
                    <a:pt x="34" y="977"/>
                  </a:lnTo>
                  <a:lnTo>
                    <a:pt x="28" y="972"/>
                  </a:lnTo>
                  <a:lnTo>
                    <a:pt x="22" y="969"/>
                  </a:lnTo>
                  <a:lnTo>
                    <a:pt x="19" y="966"/>
                  </a:lnTo>
                  <a:lnTo>
                    <a:pt x="17" y="966"/>
                  </a:lnTo>
                  <a:lnTo>
                    <a:pt x="16" y="966"/>
                  </a:lnTo>
                  <a:lnTo>
                    <a:pt x="15" y="965"/>
                  </a:lnTo>
                  <a:lnTo>
                    <a:pt x="12" y="963"/>
                  </a:lnTo>
                  <a:lnTo>
                    <a:pt x="10" y="962"/>
                  </a:lnTo>
                  <a:lnTo>
                    <a:pt x="7" y="962"/>
                  </a:lnTo>
                  <a:lnTo>
                    <a:pt x="0" y="960"/>
                  </a:lnTo>
                  <a:lnTo>
                    <a:pt x="0" y="961"/>
                  </a:lnTo>
                  <a:lnTo>
                    <a:pt x="1" y="961"/>
                  </a:lnTo>
                  <a:lnTo>
                    <a:pt x="5" y="963"/>
                  </a:lnTo>
                  <a:lnTo>
                    <a:pt x="5" y="966"/>
                  </a:lnTo>
                  <a:lnTo>
                    <a:pt x="5" y="967"/>
                  </a:lnTo>
                  <a:lnTo>
                    <a:pt x="6" y="967"/>
                  </a:lnTo>
                  <a:lnTo>
                    <a:pt x="9" y="966"/>
                  </a:lnTo>
                  <a:lnTo>
                    <a:pt x="11" y="966"/>
                  </a:lnTo>
                  <a:lnTo>
                    <a:pt x="9" y="967"/>
                  </a:lnTo>
                  <a:lnTo>
                    <a:pt x="7" y="968"/>
                  </a:lnTo>
                  <a:lnTo>
                    <a:pt x="10" y="969"/>
                  </a:lnTo>
                  <a:lnTo>
                    <a:pt x="12" y="969"/>
                  </a:lnTo>
                  <a:lnTo>
                    <a:pt x="15" y="971"/>
                  </a:lnTo>
                  <a:lnTo>
                    <a:pt x="12" y="973"/>
                  </a:lnTo>
                  <a:lnTo>
                    <a:pt x="13" y="974"/>
                  </a:lnTo>
                  <a:lnTo>
                    <a:pt x="16" y="973"/>
                  </a:lnTo>
                  <a:lnTo>
                    <a:pt x="17" y="972"/>
                  </a:lnTo>
                  <a:lnTo>
                    <a:pt x="17" y="973"/>
                  </a:lnTo>
                  <a:lnTo>
                    <a:pt x="16" y="977"/>
                  </a:lnTo>
                  <a:lnTo>
                    <a:pt x="17" y="978"/>
                  </a:lnTo>
                  <a:lnTo>
                    <a:pt x="18" y="975"/>
                  </a:lnTo>
                  <a:lnTo>
                    <a:pt x="19" y="974"/>
                  </a:lnTo>
                  <a:lnTo>
                    <a:pt x="21" y="973"/>
                  </a:lnTo>
                  <a:lnTo>
                    <a:pt x="23" y="974"/>
                  </a:lnTo>
                  <a:lnTo>
                    <a:pt x="21" y="977"/>
                  </a:lnTo>
                  <a:lnTo>
                    <a:pt x="19" y="978"/>
                  </a:lnTo>
                  <a:lnTo>
                    <a:pt x="19" y="979"/>
                  </a:lnTo>
                  <a:lnTo>
                    <a:pt x="21" y="979"/>
                  </a:lnTo>
                  <a:lnTo>
                    <a:pt x="18" y="980"/>
                  </a:lnTo>
                  <a:lnTo>
                    <a:pt x="17" y="981"/>
                  </a:lnTo>
                  <a:lnTo>
                    <a:pt x="17" y="983"/>
                  </a:lnTo>
                  <a:lnTo>
                    <a:pt x="22" y="981"/>
                  </a:lnTo>
                  <a:lnTo>
                    <a:pt x="24" y="979"/>
                  </a:lnTo>
                  <a:lnTo>
                    <a:pt x="27" y="978"/>
                  </a:lnTo>
                  <a:lnTo>
                    <a:pt x="24" y="981"/>
                  </a:lnTo>
                  <a:lnTo>
                    <a:pt x="24" y="985"/>
                  </a:lnTo>
                  <a:lnTo>
                    <a:pt x="25" y="984"/>
                  </a:lnTo>
                  <a:lnTo>
                    <a:pt x="28" y="980"/>
                  </a:lnTo>
                  <a:lnTo>
                    <a:pt x="28" y="981"/>
                  </a:lnTo>
                  <a:lnTo>
                    <a:pt x="27" y="985"/>
                  </a:lnTo>
                  <a:lnTo>
                    <a:pt x="25" y="989"/>
                  </a:lnTo>
                  <a:lnTo>
                    <a:pt x="23" y="993"/>
                  </a:lnTo>
                  <a:lnTo>
                    <a:pt x="24" y="997"/>
                  </a:lnTo>
                  <a:lnTo>
                    <a:pt x="24" y="999"/>
                  </a:lnTo>
                  <a:lnTo>
                    <a:pt x="25" y="997"/>
                  </a:lnTo>
                  <a:lnTo>
                    <a:pt x="27" y="996"/>
                  </a:lnTo>
                  <a:lnTo>
                    <a:pt x="29" y="995"/>
                  </a:lnTo>
                  <a:lnTo>
                    <a:pt x="29" y="992"/>
                  </a:lnTo>
                  <a:lnTo>
                    <a:pt x="30" y="991"/>
                  </a:lnTo>
                  <a:lnTo>
                    <a:pt x="32" y="991"/>
                  </a:lnTo>
                  <a:lnTo>
                    <a:pt x="32" y="993"/>
                  </a:lnTo>
                  <a:lnTo>
                    <a:pt x="30" y="996"/>
                  </a:lnTo>
                  <a:lnTo>
                    <a:pt x="28" y="998"/>
                  </a:lnTo>
                  <a:lnTo>
                    <a:pt x="29" y="999"/>
                  </a:lnTo>
                  <a:lnTo>
                    <a:pt x="30" y="998"/>
                  </a:lnTo>
                  <a:lnTo>
                    <a:pt x="29" y="999"/>
                  </a:lnTo>
                  <a:lnTo>
                    <a:pt x="30" y="1002"/>
                  </a:lnTo>
                  <a:lnTo>
                    <a:pt x="30" y="1003"/>
                  </a:lnTo>
                  <a:lnTo>
                    <a:pt x="32" y="1003"/>
                  </a:lnTo>
                  <a:lnTo>
                    <a:pt x="32" y="1002"/>
                  </a:lnTo>
                  <a:lnTo>
                    <a:pt x="33" y="1001"/>
                  </a:lnTo>
                  <a:lnTo>
                    <a:pt x="34" y="1001"/>
                  </a:lnTo>
                  <a:lnTo>
                    <a:pt x="35" y="999"/>
                  </a:lnTo>
                  <a:lnTo>
                    <a:pt x="34" y="1003"/>
                  </a:lnTo>
                  <a:lnTo>
                    <a:pt x="34" y="1008"/>
                  </a:lnTo>
                  <a:lnTo>
                    <a:pt x="35" y="1007"/>
                  </a:lnTo>
                  <a:lnTo>
                    <a:pt x="36" y="1008"/>
                  </a:lnTo>
                  <a:lnTo>
                    <a:pt x="38" y="1008"/>
                  </a:lnTo>
                  <a:lnTo>
                    <a:pt x="38" y="1005"/>
                  </a:lnTo>
                  <a:lnTo>
                    <a:pt x="38" y="1002"/>
                  </a:lnTo>
                  <a:lnTo>
                    <a:pt x="38" y="999"/>
                  </a:lnTo>
                  <a:lnTo>
                    <a:pt x="39" y="999"/>
                  </a:lnTo>
                  <a:lnTo>
                    <a:pt x="39" y="1002"/>
                  </a:lnTo>
                  <a:lnTo>
                    <a:pt x="40" y="1004"/>
                  </a:lnTo>
                  <a:lnTo>
                    <a:pt x="41" y="1005"/>
                  </a:lnTo>
                  <a:lnTo>
                    <a:pt x="41" y="1002"/>
                  </a:lnTo>
                  <a:lnTo>
                    <a:pt x="42" y="999"/>
                  </a:lnTo>
                  <a:lnTo>
                    <a:pt x="44" y="999"/>
                  </a:lnTo>
                  <a:lnTo>
                    <a:pt x="44" y="1003"/>
                  </a:lnTo>
                  <a:lnTo>
                    <a:pt x="45" y="1003"/>
                  </a:lnTo>
                  <a:lnTo>
                    <a:pt x="45" y="1005"/>
                  </a:lnTo>
                  <a:lnTo>
                    <a:pt x="45" y="1008"/>
                  </a:lnTo>
                  <a:lnTo>
                    <a:pt x="44" y="1010"/>
                  </a:lnTo>
                  <a:lnTo>
                    <a:pt x="44" y="1011"/>
                  </a:lnTo>
                  <a:lnTo>
                    <a:pt x="45" y="1013"/>
                  </a:lnTo>
                  <a:lnTo>
                    <a:pt x="45" y="1014"/>
                  </a:lnTo>
                  <a:lnTo>
                    <a:pt x="45" y="1016"/>
                  </a:lnTo>
                  <a:lnTo>
                    <a:pt x="44" y="1019"/>
                  </a:lnTo>
                  <a:lnTo>
                    <a:pt x="45" y="1020"/>
                  </a:lnTo>
                  <a:lnTo>
                    <a:pt x="46" y="1019"/>
                  </a:lnTo>
                  <a:lnTo>
                    <a:pt x="47" y="1017"/>
                  </a:lnTo>
                  <a:lnTo>
                    <a:pt x="47" y="1015"/>
                  </a:lnTo>
                  <a:lnTo>
                    <a:pt x="48" y="1013"/>
                  </a:lnTo>
                  <a:lnTo>
                    <a:pt x="48" y="1010"/>
                  </a:lnTo>
                  <a:lnTo>
                    <a:pt x="50" y="1011"/>
                  </a:lnTo>
                  <a:lnTo>
                    <a:pt x="52" y="1010"/>
                  </a:lnTo>
                  <a:lnTo>
                    <a:pt x="52" y="1013"/>
                  </a:lnTo>
                  <a:lnTo>
                    <a:pt x="52" y="1015"/>
                  </a:lnTo>
                  <a:lnTo>
                    <a:pt x="53" y="1014"/>
                  </a:lnTo>
                  <a:lnTo>
                    <a:pt x="54" y="1013"/>
                  </a:lnTo>
                  <a:lnTo>
                    <a:pt x="54" y="1010"/>
                  </a:lnTo>
                  <a:lnTo>
                    <a:pt x="56" y="1010"/>
                  </a:lnTo>
                  <a:lnTo>
                    <a:pt x="56" y="1013"/>
                  </a:lnTo>
                  <a:lnTo>
                    <a:pt x="54" y="1015"/>
                  </a:lnTo>
                  <a:lnTo>
                    <a:pt x="52" y="1017"/>
                  </a:lnTo>
                  <a:lnTo>
                    <a:pt x="50" y="1019"/>
                  </a:lnTo>
                  <a:lnTo>
                    <a:pt x="45" y="1021"/>
                  </a:lnTo>
                  <a:lnTo>
                    <a:pt x="44" y="1022"/>
                  </a:lnTo>
                  <a:lnTo>
                    <a:pt x="41" y="1025"/>
                  </a:lnTo>
                  <a:lnTo>
                    <a:pt x="39" y="1025"/>
                  </a:lnTo>
                  <a:lnTo>
                    <a:pt x="30" y="1021"/>
                  </a:lnTo>
                  <a:lnTo>
                    <a:pt x="30" y="1022"/>
                  </a:lnTo>
                  <a:lnTo>
                    <a:pt x="36" y="1025"/>
                  </a:lnTo>
                  <a:lnTo>
                    <a:pt x="38" y="1027"/>
                  </a:lnTo>
                  <a:lnTo>
                    <a:pt x="33" y="1029"/>
                  </a:lnTo>
                  <a:lnTo>
                    <a:pt x="32" y="1031"/>
                  </a:lnTo>
                  <a:lnTo>
                    <a:pt x="33" y="1032"/>
                  </a:lnTo>
                  <a:lnTo>
                    <a:pt x="35" y="1029"/>
                  </a:lnTo>
                  <a:lnTo>
                    <a:pt x="36" y="1029"/>
                  </a:lnTo>
                  <a:lnTo>
                    <a:pt x="36" y="1034"/>
                  </a:lnTo>
                  <a:lnTo>
                    <a:pt x="38" y="1034"/>
                  </a:lnTo>
                  <a:lnTo>
                    <a:pt x="38" y="1031"/>
                  </a:lnTo>
                  <a:lnTo>
                    <a:pt x="39" y="1029"/>
                  </a:lnTo>
                  <a:lnTo>
                    <a:pt x="40" y="1027"/>
                  </a:lnTo>
                  <a:lnTo>
                    <a:pt x="41" y="1027"/>
                  </a:lnTo>
                  <a:lnTo>
                    <a:pt x="41" y="1029"/>
                  </a:lnTo>
                  <a:lnTo>
                    <a:pt x="41" y="1033"/>
                  </a:lnTo>
                  <a:lnTo>
                    <a:pt x="42" y="1033"/>
                  </a:lnTo>
                  <a:lnTo>
                    <a:pt x="44" y="1033"/>
                  </a:lnTo>
                  <a:lnTo>
                    <a:pt x="44" y="1032"/>
                  </a:lnTo>
                  <a:lnTo>
                    <a:pt x="42" y="1031"/>
                  </a:lnTo>
                  <a:lnTo>
                    <a:pt x="44" y="1028"/>
                  </a:lnTo>
                  <a:lnTo>
                    <a:pt x="45" y="1028"/>
                  </a:lnTo>
                  <a:lnTo>
                    <a:pt x="47" y="1028"/>
                  </a:lnTo>
                  <a:lnTo>
                    <a:pt x="48" y="1028"/>
                  </a:lnTo>
                  <a:lnTo>
                    <a:pt x="47" y="1032"/>
                  </a:lnTo>
                  <a:lnTo>
                    <a:pt x="45" y="1034"/>
                  </a:lnTo>
                  <a:lnTo>
                    <a:pt x="42" y="1037"/>
                  </a:lnTo>
                  <a:lnTo>
                    <a:pt x="44" y="1037"/>
                  </a:lnTo>
                  <a:lnTo>
                    <a:pt x="46" y="1034"/>
                  </a:lnTo>
                  <a:lnTo>
                    <a:pt x="46" y="1035"/>
                  </a:lnTo>
                  <a:lnTo>
                    <a:pt x="44" y="1039"/>
                  </a:lnTo>
                  <a:lnTo>
                    <a:pt x="45" y="1041"/>
                  </a:lnTo>
                  <a:lnTo>
                    <a:pt x="46" y="1041"/>
                  </a:lnTo>
                  <a:lnTo>
                    <a:pt x="48" y="1039"/>
                  </a:lnTo>
                  <a:lnTo>
                    <a:pt x="50" y="1037"/>
                  </a:lnTo>
                  <a:lnTo>
                    <a:pt x="52" y="1033"/>
                  </a:lnTo>
                  <a:lnTo>
                    <a:pt x="54" y="1029"/>
                  </a:lnTo>
                  <a:lnTo>
                    <a:pt x="56" y="1029"/>
                  </a:lnTo>
                  <a:lnTo>
                    <a:pt x="58" y="1031"/>
                  </a:lnTo>
                  <a:lnTo>
                    <a:pt x="62" y="1031"/>
                  </a:lnTo>
                  <a:lnTo>
                    <a:pt x="59" y="1035"/>
                  </a:lnTo>
                  <a:lnTo>
                    <a:pt x="56" y="1038"/>
                  </a:lnTo>
                  <a:lnTo>
                    <a:pt x="57" y="1040"/>
                  </a:lnTo>
                  <a:lnTo>
                    <a:pt x="53" y="1041"/>
                  </a:lnTo>
                  <a:lnTo>
                    <a:pt x="50" y="1043"/>
                  </a:lnTo>
                  <a:lnTo>
                    <a:pt x="46" y="1047"/>
                  </a:lnTo>
                  <a:lnTo>
                    <a:pt x="45" y="1050"/>
                  </a:lnTo>
                  <a:lnTo>
                    <a:pt x="47" y="1050"/>
                  </a:lnTo>
                  <a:lnTo>
                    <a:pt x="50" y="1049"/>
                  </a:lnTo>
                  <a:lnTo>
                    <a:pt x="50" y="1050"/>
                  </a:lnTo>
                  <a:lnTo>
                    <a:pt x="51" y="1049"/>
                  </a:lnTo>
                  <a:lnTo>
                    <a:pt x="52" y="1046"/>
                  </a:lnTo>
                  <a:lnTo>
                    <a:pt x="54" y="1044"/>
                  </a:lnTo>
                  <a:lnTo>
                    <a:pt x="57" y="1043"/>
                  </a:lnTo>
                  <a:lnTo>
                    <a:pt x="58" y="1041"/>
                  </a:lnTo>
                  <a:lnTo>
                    <a:pt x="57" y="1045"/>
                  </a:lnTo>
                  <a:lnTo>
                    <a:pt x="54" y="1050"/>
                  </a:lnTo>
                  <a:lnTo>
                    <a:pt x="58" y="1050"/>
                  </a:lnTo>
                  <a:lnTo>
                    <a:pt x="59" y="1049"/>
                  </a:lnTo>
                  <a:lnTo>
                    <a:pt x="59" y="1051"/>
                  </a:lnTo>
                  <a:lnTo>
                    <a:pt x="60" y="1051"/>
                  </a:lnTo>
                  <a:lnTo>
                    <a:pt x="62" y="1050"/>
                  </a:lnTo>
                  <a:lnTo>
                    <a:pt x="63" y="1049"/>
                  </a:lnTo>
                  <a:lnTo>
                    <a:pt x="63" y="1046"/>
                  </a:lnTo>
                  <a:lnTo>
                    <a:pt x="63" y="1043"/>
                  </a:lnTo>
                  <a:lnTo>
                    <a:pt x="64" y="1039"/>
                  </a:lnTo>
                  <a:lnTo>
                    <a:pt x="65" y="1043"/>
                  </a:lnTo>
                  <a:lnTo>
                    <a:pt x="65" y="1044"/>
                  </a:lnTo>
                  <a:lnTo>
                    <a:pt x="65" y="1043"/>
                  </a:lnTo>
                  <a:lnTo>
                    <a:pt x="64" y="1038"/>
                  </a:lnTo>
                  <a:lnTo>
                    <a:pt x="66" y="1035"/>
                  </a:lnTo>
                  <a:lnTo>
                    <a:pt x="68" y="1035"/>
                  </a:lnTo>
                  <a:lnTo>
                    <a:pt x="68" y="1037"/>
                  </a:lnTo>
                  <a:lnTo>
                    <a:pt x="69" y="1033"/>
                  </a:lnTo>
                  <a:lnTo>
                    <a:pt x="69" y="1032"/>
                  </a:lnTo>
                  <a:lnTo>
                    <a:pt x="70" y="1032"/>
                  </a:lnTo>
                  <a:lnTo>
                    <a:pt x="70" y="1034"/>
                  </a:lnTo>
                  <a:lnTo>
                    <a:pt x="70" y="1038"/>
                  </a:lnTo>
                  <a:lnTo>
                    <a:pt x="69" y="1041"/>
                  </a:lnTo>
                  <a:lnTo>
                    <a:pt x="68" y="1044"/>
                  </a:lnTo>
                  <a:lnTo>
                    <a:pt x="69" y="1046"/>
                  </a:lnTo>
                  <a:lnTo>
                    <a:pt x="66" y="1049"/>
                  </a:lnTo>
                  <a:lnTo>
                    <a:pt x="68" y="1051"/>
                  </a:lnTo>
                  <a:lnTo>
                    <a:pt x="68" y="1052"/>
                  </a:lnTo>
                  <a:lnTo>
                    <a:pt x="68" y="1057"/>
                  </a:lnTo>
                  <a:lnTo>
                    <a:pt x="69" y="1056"/>
                  </a:lnTo>
                  <a:lnTo>
                    <a:pt x="71" y="1055"/>
                  </a:lnTo>
                  <a:lnTo>
                    <a:pt x="72" y="1053"/>
                  </a:lnTo>
                  <a:lnTo>
                    <a:pt x="74" y="1052"/>
                  </a:lnTo>
                  <a:lnTo>
                    <a:pt x="74" y="1047"/>
                  </a:lnTo>
                  <a:lnTo>
                    <a:pt x="74" y="1045"/>
                  </a:lnTo>
                  <a:lnTo>
                    <a:pt x="75" y="1046"/>
                  </a:lnTo>
                  <a:lnTo>
                    <a:pt x="75" y="1047"/>
                  </a:lnTo>
                  <a:lnTo>
                    <a:pt x="75" y="1051"/>
                  </a:lnTo>
                  <a:lnTo>
                    <a:pt x="75" y="1053"/>
                  </a:lnTo>
                  <a:lnTo>
                    <a:pt x="75" y="1057"/>
                  </a:lnTo>
                  <a:lnTo>
                    <a:pt x="76" y="1059"/>
                  </a:lnTo>
                  <a:lnTo>
                    <a:pt x="76" y="1058"/>
                  </a:lnTo>
                  <a:lnTo>
                    <a:pt x="77" y="1059"/>
                  </a:lnTo>
                  <a:lnTo>
                    <a:pt x="78" y="1062"/>
                  </a:lnTo>
                  <a:lnTo>
                    <a:pt x="80" y="1062"/>
                  </a:lnTo>
                  <a:lnTo>
                    <a:pt x="80" y="1057"/>
                  </a:lnTo>
                  <a:lnTo>
                    <a:pt x="78" y="1052"/>
                  </a:lnTo>
                  <a:lnTo>
                    <a:pt x="80" y="1049"/>
                  </a:lnTo>
                  <a:lnTo>
                    <a:pt x="80" y="1044"/>
                  </a:lnTo>
                  <a:lnTo>
                    <a:pt x="81" y="1051"/>
                  </a:lnTo>
                  <a:lnTo>
                    <a:pt x="83" y="1050"/>
                  </a:lnTo>
                  <a:lnTo>
                    <a:pt x="83" y="1046"/>
                  </a:lnTo>
                  <a:lnTo>
                    <a:pt x="83" y="1043"/>
                  </a:lnTo>
                  <a:lnTo>
                    <a:pt x="84" y="1040"/>
                  </a:lnTo>
                  <a:lnTo>
                    <a:pt x="84" y="1034"/>
                  </a:lnTo>
                  <a:lnTo>
                    <a:pt x="86" y="1033"/>
                  </a:lnTo>
                  <a:lnTo>
                    <a:pt x="86" y="1038"/>
                  </a:lnTo>
                  <a:lnTo>
                    <a:pt x="86" y="1044"/>
                  </a:lnTo>
                  <a:lnTo>
                    <a:pt x="83" y="1047"/>
                  </a:lnTo>
                  <a:lnTo>
                    <a:pt x="83" y="1051"/>
                  </a:lnTo>
                  <a:lnTo>
                    <a:pt x="82" y="1055"/>
                  </a:lnTo>
                  <a:lnTo>
                    <a:pt x="81" y="1057"/>
                  </a:lnTo>
                  <a:lnTo>
                    <a:pt x="82" y="1058"/>
                  </a:lnTo>
                  <a:lnTo>
                    <a:pt x="83" y="1059"/>
                  </a:lnTo>
                  <a:lnTo>
                    <a:pt x="84" y="1058"/>
                  </a:lnTo>
                  <a:lnTo>
                    <a:pt x="84" y="1057"/>
                  </a:lnTo>
                  <a:lnTo>
                    <a:pt x="86" y="1055"/>
                  </a:lnTo>
                  <a:lnTo>
                    <a:pt x="87" y="1052"/>
                  </a:lnTo>
                  <a:lnTo>
                    <a:pt x="88" y="1051"/>
                  </a:lnTo>
                  <a:lnTo>
                    <a:pt x="87" y="1050"/>
                  </a:lnTo>
                  <a:lnTo>
                    <a:pt x="88" y="1045"/>
                  </a:lnTo>
                  <a:lnTo>
                    <a:pt x="88" y="1046"/>
                  </a:lnTo>
                  <a:lnTo>
                    <a:pt x="88" y="1050"/>
                  </a:lnTo>
                  <a:lnTo>
                    <a:pt x="89" y="1052"/>
                  </a:lnTo>
                  <a:lnTo>
                    <a:pt x="89" y="1053"/>
                  </a:lnTo>
                  <a:lnTo>
                    <a:pt x="92" y="1050"/>
                  </a:lnTo>
                  <a:lnTo>
                    <a:pt x="92" y="1047"/>
                  </a:lnTo>
                  <a:lnTo>
                    <a:pt x="93" y="1046"/>
                  </a:lnTo>
                  <a:lnTo>
                    <a:pt x="94" y="1041"/>
                  </a:lnTo>
                  <a:lnTo>
                    <a:pt x="95" y="1043"/>
                  </a:lnTo>
                  <a:lnTo>
                    <a:pt x="95" y="1046"/>
                  </a:lnTo>
                  <a:lnTo>
                    <a:pt x="93" y="1050"/>
                  </a:lnTo>
                  <a:lnTo>
                    <a:pt x="94" y="1053"/>
                  </a:lnTo>
                  <a:lnTo>
                    <a:pt x="94" y="1056"/>
                  </a:lnTo>
                  <a:lnTo>
                    <a:pt x="95" y="1057"/>
                  </a:lnTo>
                  <a:lnTo>
                    <a:pt x="97" y="1056"/>
                  </a:lnTo>
                  <a:lnTo>
                    <a:pt x="97" y="1058"/>
                  </a:lnTo>
                  <a:lnTo>
                    <a:pt x="95" y="1061"/>
                  </a:lnTo>
                  <a:lnTo>
                    <a:pt x="94" y="1062"/>
                  </a:lnTo>
                  <a:lnTo>
                    <a:pt x="91" y="1064"/>
                  </a:lnTo>
                  <a:lnTo>
                    <a:pt x="92" y="1065"/>
                  </a:lnTo>
                  <a:lnTo>
                    <a:pt x="94" y="1063"/>
                  </a:lnTo>
                  <a:lnTo>
                    <a:pt x="94" y="1065"/>
                  </a:lnTo>
                  <a:lnTo>
                    <a:pt x="93" y="1068"/>
                  </a:lnTo>
                  <a:lnTo>
                    <a:pt x="94" y="1068"/>
                  </a:lnTo>
                  <a:lnTo>
                    <a:pt x="95" y="1069"/>
                  </a:lnTo>
                  <a:lnTo>
                    <a:pt x="97" y="1069"/>
                  </a:lnTo>
                  <a:lnTo>
                    <a:pt x="101" y="1062"/>
                  </a:lnTo>
                  <a:lnTo>
                    <a:pt x="101" y="1059"/>
                  </a:lnTo>
                  <a:lnTo>
                    <a:pt x="101" y="1058"/>
                  </a:lnTo>
                  <a:lnTo>
                    <a:pt x="101" y="1051"/>
                  </a:lnTo>
                  <a:lnTo>
                    <a:pt x="103" y="1047"/>
                  </a:lnTo>
                  <a:lnTo>
                    <a:pt x="103" y="1043"/>
                  </a:lnTo>
                  <a:lnTo>
                    <a:pt x="103" y="1041"/>
                  </a:lnTo>
                  <a:lnTo>
                    <a:pt x="104" y="1041"/>
                  </a:lnTo>
                  <a:lnTo>
                    <a:pt x="104" y="1044"/>
                  </a:lnTo>
                  <a:lnTo>
                    <a:pt x="104" y="1045"/>
                  </a:lnTo>
                  <a:lnTo>
                    <a:pt x="106" y="1046"/>
                  </a:lnTo>
                  <a:lnTo>
                    <a:pt x="105" y="1050"/>
                  </a:lnTo>
                  <a:lnTo>
                    <a:pt x="105" y="1053"/>
                  </a:lnTo>
                  <a:lnTo>
                    <a:pt x="105" y="1057"/>
                  </a:lnTo>
                  <a:lnTo>
                    <a:pt x="105" y="1058"/>
                  </a:lnTo>
                  <a:lnTo>
                    <a:pt x="105" y="1059"/>
                  </a:lnTo>
                  <a:lnTo>
                    <a:pt x="104" y="1062"/>
                  </a:lnTo>
                  <a:lnTo>
                    <a:pt x="103" y="1063"/>
                  </a:lnTo>
                  <a:lnTo>
                    <a:pt x="101" y="1065"/>
                  </a:lnTo>
                  <a:lnTo>
                    <a:pt x="100" y="1068"/>
                  </a:lnTo>
                  <a:lnTo>
                    <a:pt x="100" y="1072"/>
                  </a:lnTo>
                  <a:lnTo>
                    <a:pt x="100" y="1074"/>
                  </a:lnTo>
                  <a:lnTo>
                    <a:pt x="100" y="1076"/>
                  </a:lnTo>
                  <a:lnTo>
                    <a:pt x="101" y="1078"/>
                  </a:lnTo>
                  <a:lnTo>
                    <a:pt x="100" y="1081"/>
                  </a:lnTo>
                  <a:lnTo>
                    <a:pt x="100" y="1084"/>
                  </a:lnTo>
                  <a:lnTo>
                    <a:pt x="98" y="1085"/>
                  </a:lnTo>
                  <a:lnTo>
                    <a:pt x="94" y="1086"/>
                  </a:lnTo>
                  <a:lnTo>
                    <a:pt x="92" y="1085"/>
                  </a:lnTo>
                  <a:lnTo>
                    <a:pt x="87" y="1082"/>
                  </a:lnTo>
                  <a:lnTo>
                    <a:pt x="83" y="1080"/>
                  </a:lnTo>
                  <a:lnTo>
                    <a:pt x="82" y="1080"/>
                  </a:lnTo>
                  <a:lnTo>
                    <a:pt x="80" y="1080"/>
                  </a:lnTo>
                  <a:lnTo>
                    <a:pt x="77" y="1079"/>
                  </a:lnTo>
                  <a:lnTo>
                    <a:pt x="74" y="1078"/>
                  </a:lnTo>
                  <a:lnTo>
                    <a:pt x="71" y="1076"/>
                  </a:lnTo>
                  <a:lnTo>
                    <a:pt x="70" y="1080"/>
                  </a:lnTo>
                  <a:lnTo>
                    <a:pt x="72" y="1080"/>
                  </a:lnTo>
                  <a:lnTo>
                    <a:pt x="71" y="1082"/>
                  </a:lnTo>
                  <a:lnTo>
                    <a:pt x="72" y="1082"/>
                  </a:lnTo>
                  <a:lnTo>
                    <a:pt x="75" y="1082"/>
                  </a:lnTo>
                  <a:lnTo>
                    <a:pt x="74" y="1085"/>
                  </a:lnTo>
                  <a:lnTo>
                    <a:pt x="74" y="1086"/>
                  </a:lnTo>
                  <a:lnTo>
                    <a:pt x="76" y="1085"/>
                  </a:lnTo>
                  <a:lnTo>
                    <a:pt x="77" y="1084"/>
                  </a:lnTo>
                  <a:lnTo>
                    <a:pt x="78" y="1084"/>
                  </a:lnTo>
                  <a:lnTo>
                    <a:pt x="80" y="1085"/>
                  </a:lnTo>
                  <a:lnTo>
                    <a:pt x="76" y="1087"/>
                  </a:lnTo>
                  <a:lnTo>
                    <a:pt x="76" y="1088"/>
                  </a:lnTo>
                  <a:lnTo>
                    <a:pt x="77" y="1090"/>
                  </a:lnTo>
                  <a:lnTo>
                    <a:pt x="80" y="1091"/>
                  </a:lnTo>
                  <a:lnTo>
                    <a:pt x="81" y="1090"/>
                  </a:lnTo>
                  <a:lnTo>
                    <a:pt x="82" y="1088"/>
                  </a:lnTo>
                  <a:lnTo>
                    <a:pt x="81" y="1091"/>
                  </a:lnTo>
                  <a:lnTo>
                    <a:pt x="81" y="1093"/>
                  </a:lnTo>
                  <a:lnTo>
                    <a:pt x="81" y="1094"/>
                  </a:lnTo>
                  <a:lnTo>
                    <a:pt x="82" y="1094"/>
                  </a:lnTo>
                  <a:lnTo>
                    <a:pt x="82" y="1096"/>
                  </a:lnTo>
                  <a:lnTo>
                    <a:pt x="83" y="1098"/>
                  </a:lnTo>
                  <a:lnTo>
                    <a:pt x="84" y="1099"/>
                  </a:lnTo>
                  <a:lnTo>
                    <a:pt x="86" y="1099"/>
                  </a:lnTo>
                  <a:lnTo>
                    <a:pt x="87" y="1099"/>
                  </a:lnTo>
                  <a:lnTo>
                    <a:pt x="87" y="1102"/>
                  </a:lnTo>
                  <a:lnTo>
                    <a:pt x="89" y="1104"/>
                  </a:lnTo>
                  <a:lnTo>
                    <a:pt x="87" y="1104"/>
                  </a:lnTo>
                  <a:lnTo>
                    <a:pt x="87" y="1106"/>
                  </a:lnTo>
                  <a:lnTo>
                    <a:pt x="88" y="1106"/>
                  </a:lnTo>
                  <a:lnTo>
                    <a:pt x="89" y="1108"/>
                  </a:lnTo>
                  <a:lnTo>
                    <a:pt x="91" y="1108"/>
                  </a:lnTo>
                  <a:lnTo>
                    <a:pt x="92" y="1105"/>
                  </a:lnTo>
                  <a:lnTo>
                    <a:pt x="93" y="1106"/>
                  </a:lnTo>
                  <a:lnTo>
                    <a:pt x="94" y="1106"/>
                  </a:lnTo>
                  <a:lnTo>
                    <a:pt x="95" y="1103"/>
                  </a:lnTo>
                  <a:lnTo>
                    <a:pt x="97" y="1102"/>
                  </a:lnTo>
                  <a:lnTo>
                    <a:pt x="98" y="1103"/>
                  </a:lnTo>
                  <a:lnTo>
                    <a:pt x="97" y="1105"/>
                  </a:lnTo>
                  <a:lnTo>
                    <a:pt x="94" y="1108"/>
                  </a:lnTo>
                  <a:lnTo>
                    <a:pt x="94" y="1109"/>
                  </a:lnTo>
                  <a:lnTo>
                    <a:pt x="97" y="1109"/>
                  </a:lnTo>
                  <a:lnTo>
                    <a:pt x="97" y="1111"/>
                  </a:lnTo>
                  <a:lnTo>
                    <a:pt x="97" y="1112"/>
                  </a:lnTo>
                  <a:lnTo>
                    <a:pt x="99" y="1112"/>
                  </a:lnTo>
                  <a:lnTo>
                    <a:pt x="101" y="1114"/>
                  </a:lnTo>
                  <a:lnTo>
                    <a:pt x="104" y="1112"/>
                  </a:lnTo>
                  <a:lnTo>
                    <a:pt x="105" y="1114"/>
                  </a:lnTo>
                  <a:lnTo>
                    <a:pt x="106" y="1114"/>
                  </a:lnTo>
                  <a:lnTo>
                    <a:pt x="109" y="1112"/>
                  </a:lnTo>
                  <a:lnTo>
                    <a:pt x="110" y="1114"/>
                  </a:lnTo>
                  <a:lnTo>
                    <a:pt x="111" y="1115"/>
                  </a:lnTo>
                  <a:lnTo>
                    <a:pt x="113" y="1114"/>
                  </a:lnTo>
                  <a:lnTo>
                    <a:pt x="113" y="1112"/>
                  </a:lnTo>
                  <a:lnTo>
                    <a:pt x="115" y="1112"/>
                  </a:lnTo>
                  <a:lnTo>
                    <a:pt x="116" y="1111"/>
                  </a:lnTo>
                  <a:lnTo>
                    <a:pt x="118" y="1111"/>
                  </a:lnTo>
                  <a:lnTo>
                    <a:pt x="118" y="1110"/>
                  </a:lnTo>
                  <a:lnTo>
                    <a:pt x="121" y="1112"/>
                  </a:lnTo>
                  <a:lnTo>
                    <a:pt x="122" y="1112"/>
                  </a:lnTo>
                  <a:lnTo>
                    <a:pt x="123" y="1112"/>
                  </a:lnTo>
                  <a:lnTo>
                    <a:pt x="124" y="1111"/>
                  </a:lnTo>
                  <a:lnTo>
                    <a:pt x="125" y="1111"/>
                  </a:lnTo>
                  <a:lnTo>
                    <a:pt x="127" y="1114"/>
                  </a:lnTo>
                  <a:lnTo>
                    <a:pt x="128" y="1114"/>
                  </a:lnTo>
                  <a:lnTo>
                    <a:pt x="129" y="1114"/>
                  </a:lnTo>
                  <a:lnTo>
                    <a:pt x="130" y="1114"/>
                  </a:lnTo>
                  <a:lnTo>
                    <a:pt x="131" y="1114"/>
                  </a:lnTo>
                  <a:lnTo>
                    <a:pt x="133" y="1115"/>
                  </a:lnTo>
                  <a:lnTo>
                    <a:pt x="134" y="1114"/>
                  </a:lnTo>
                  <a:lnTo>
                    <a:pt x="134" y="1112"/>
                  </a:lnTo>
                  <a:lnTo>
                    <a:pt x="136" y="1112"/>
                  </a:lnTo>
                  <a:lnTo>
                    <a:pt x="136" y="1114"/>
                  </a:lnTo>
                  <a:lnTo>
                    <a:pt x="137" y="1114"/>
                  </a:lnTo>
                  <a:lnTo>
                    <a:pt x="140" y="1114"/>
                  </a:lnTo>
                  <a:lnTo>
                    <a:pt x="141" y="1114"/>
                  </a:lnTo>
                  <a:lnTo>
                    <a:pt x="142" y="1115"/>
                  </a:lnTo>
                  <a:lnTo>
                    <a:pt x="145" y="1116"/>
                  </a:lnTo>
                  <a:lnTo>
                    <a:pt x="146" y="1117"/>
                  </a:lnTo>
                  <a:lnTo>
                    <a:pt x="147" y="1120"/>
                  </a:lnTo>
                  <a:lnTo>
                    <a:pt x="148" y="1121"/>
                  </a:lnTo>
                  <a:lnTo>
                    <a:pt x="148" y="1122"/>
                  </a:lnTo>
                  <a:lnTo>
                    <a:pt x="151" y="1123"/>
                  </a:lnTo>
                  <a:lnTo>
                    <a:pt x="153" y="1123"/>
                  </a:lnTo>
                  <a:lnTo>
                    <a:pt x="154" y="1122"/>
                  </a:lnTo>
                  <a:lnTo>
                    <a:pt x="152" y="1124"/>
                  </a:lnTo>
                  <a:lnTo>
                    <a:pt x="151" y="1126"/>
                  </a:lnTo>
                  <a:lnTo>
                    <a:pt x="152" y="1127"/>
                  </a:lnTo>
                  <a:lnTo>
                    <a:pt x="152" y="1126"/>
                  </a:lnTo>
                  <a:lnTo>
                    <a:pt x="154" y="1126"/>
                  </a:lnTo>
                  <a:lnTo>
                    <a:pt x="156" y="1126"/>
                  </a:lnTo>
                  <a:lnTo>
                    <a:pt x="156" y="1127"/>
                  </a:lnTo>
                  <a:lnTo>
                    <a:pt x="154" y="1127"/>
                  </a:lnTo>
                  <a:lnTo>
                    <a:pt x="153" y="1129"/>
                  </a:lnTo>
                  <a:lnTo>
                    <a:pt x="154" y="1129"/>
                  </a:lnTo>
                  <a:lnTo>
                    <a:pt x="154" y="1132"/>
                  </a:lnTo>
                  <a:lnTo>
                    <a:pt x="156" y="1130"/>
                  </a:lnTo>
                  <a:lnTo>
                    <a:pt x="157" y="1130"/>
                  </a:lnTo>
                  <a:lnTo>
                    <a:pt x="158" y="1132"/>
                  </a:lnTo>
                  <a:lnTo>
                    <a:pt x="157" y="1133"/>
                  </a:lnTo>
                  <a:lnTo>
                    <a:pt x="158" y="1134"/>
                  </a:lnTo>
                  <a:lnTo>
                    <a:pt x="159" y="1134"/>
                  </a:lnTo>
                  <a:lnTo>
                    <a:pt x="159" y="1135"/>
                  </a:lnTo>
                  <a:lnTo>
                    <a:pt x="160" y="1136"/>
                  </a:lnTo>
                  <a:lnTo>
                    <a:pt x="162" y="1134"/>
                  </a:lnTo>
                  <a:lnTo>
                    <a:pt x="163" y="1134"/>
                  </a:lnTo>
                  <a:lnTo>
                    <a:pt x="163" y="1136"/>
                  </a:lnTo>
                  <a:lnTo>
                    <a:pt x="160" y="1139"/>
                  </a:lnTo>
                  <a:lnTo>
                    <a:pt x="160" y="1141"/>
                  </a:lnTo>
                  <a:lnTo>
                    <a:pt x="162" y="1141"/>
                  </a:lnTo>
                  <a:lnTo>
                    <a:pt x="163" y="1140"/>
                  </a:lnTo>
                  <a:lnTo>
                    <a:pt x="164" y="1138"/>
                  </a:lnTo>
                  <a:lnTo>
                    <a:pt x="165" y="1135"/>
                  </a:lnTo>
                  <a:lnTo>
                    <a:pt x="165" y="1138"/>
                  </a:lnTo>
                  <a:lnTo>
                    <a:pt x="164" y="1140"/>
                  </a:lnTo>
                  <a:lnTo>
                    <a:pt x="165" y="1141"/>
                  </a:lnTo>
                  <a:lnTo>
                    <a:pt x="165" y="1142"/>
                  </a:lnTo>
                  <a:lnTo>
                    <a:pt x="164" y="1144"/>
                  </a:lnTo>
                  <a:lnTo>
                    <a:pt x="164" y="1146"/>
                  </a:lnTo>
                  <a:lnTo>
                    <a:pt x="164" y="1150"/>
                  </a:lnTo>
                  <a:lnTo>
                    <a:pt x="163" y="1151"/>
                  </a:lnTo>
                  <a:lnTo>
                    <a:pt x="162" y="1153"/>
                  </a:lnTo>
                  <a:lnTo>
                    <a:pt x="160" y="1156"/>
                  </a:lnTo>
                  <a:lnTo>
                    <a:pt x="159" y="1159"/>
                  </a:lnTo>
                  <a:lnTo>
                    <a:pt x="156" y="1163"/>
                  </a:lnTo>
                  <a:lnTo>
                    <a:pt x="154" y="1165"/>
                  </a:lnTo>
                  <a:lnTo>
                    <a:pt x="152" y="1166"/>
                  </a:lnTo>
                  <a:lnTo>
                    <a:pt x="154" y="1169"/>
                  </a:lnTo>
                  <a:lnTo>
                    <a:pt x="154" y="1170"/>
                  </a:lnTo>
                  <a:lnTo>
                    <a:pt x="154" y="1171"/>
                  </a:lnTo>
                  <a:lnTo>
                    <a:pt x="156" y="1172"/>
                  </a:lnTo>
                  <a:lnTo>
                    <a:pt x="156" y="1174"/>
                  </a:lnTo>
                  <a:lnTo>
                    <a:pt x="157" y="1176"/>
                  </a:lnTo>
                  <a:lnTo>
                    <a:pt x="157" y="1175"/>
                  </a:lnTo>
                  <a:lnTo>
                    <a:pt x="158" y="1175"/>
                  </a:lnTo>
                  <a:lnTo>
                    <a:pt x="159" y="1176"/>
                  </a:lnTo>
                  <a:lnTo>
                    <a:pt x="160" y="1176"/>
                  </a:lnTo>
                  <a:lnTo>
                    <a:pt x="158" y="1180"/>
                  </a:lnTo>
                  <a:lnTo>
                    <a:pt x="157" y="1181"/>
                  </a:lnTo>
                  <a:lnTo>
                    <a:pt x="158" y="1181"/>
                  </a:lnTo>
                  <a:lnTo>
                    <a:pt x="159" y="1180"/>
                  </a:lnTo>
                  <a:lnTo>
                    <a:pt x="162" y="1177"/>
                  </a:lnTo>
                  <a:lnTo>
                    <a:pt x="163" y="1175"/>
                  </a:lnTo>
                  <a:lnTo>
                    <a:pt x="165" y="1172"/>
                  </a:lnTo>
                  <a:lnTo>
                    <a:pt x="166" y="1171"/>
                  </a:lnTo>
                  <a:lnTo>
                    <a:pt x="169" y="1170"/>
                  </a:lnTo>
                  <a:lnTo>
                    <a:pt x="170" y="1172"/>
                  </a:lnTo>
                  <a:lnTo>
                    <a:pt x="171" y="1172"/>
                  </a:lnTo>
                  <a:lnTo>
                    <a:pt x="174" y="1174"/>
                  </a:lnTo>
                  <a:lnTo>
                    <a:pt x="176" y="1175"/>
                  </a:lnTo>
                  <a:lnTo>
                    <a:pt x="176" y="1176"/>
                  </a:lnTo>
                  <a:lnTo>
                    <a:pt x="177" y="1177"/>
                  </a:lnTo>
                  <a:lnTo>
                    <a:pt x="177" y="1179"/>
                  </a:lnTo>
                  <a:lnTo>
                    <a:pt x="178" y="1179"/>
                  </a:lnTo>
                  <a:lnTo>
                    <a:pt x="180" y="1179"/>
                  </a:lnTo>
                  <a:lnTo>
                    <a:pt x="181" y="1180"/>
                  </a:lnTo>
                  <a:lnTo>
                    <a:pt x="180" y="1181"/>
                  </a:lnTo>
                  <a:lnTo>
                    <a:pt x="181" y="1182"/>
                  </a:lnTo>
                  <a:lnTo>
                    <a:pt x="182" y="1183"/>
                  </a:lnTo>
                  <a:lnTo>
                    <a:pt x="183" y="1182"/>
                  </a:lnTo>
                  <a:lnTo>
                    <a:pt x="184" y="1183"/>
                  </a:lnTo>
                  <a:lnTo>
                    <a:pt x="183" y="1185"/>
                  </a:lnTo>
                  <a:lnTo>
                    <a:pt x="183" y="1187"/>
                  </a:lnTo>
                  <a:lnTo>
                    <a:pt x="186" y="1186"/>
                  </a:lnTo>
                  <a:lnTo>
                    <a:pt x="186" y="1185"/>
                  </a:lnTo>
                  <a:lnTo>
                    <a:pt x="187" y="1187"/>
                  </a:lnTo>
                  <a:lnTo>
                    <a:pt x="188" y="1187"/>
                  </a:lnTo>
                  <a:lnTo>
                    <a:pt x="190" y="1187"/>
                  </a:lnTo>
                  <a:lnTo>
                    <a:pt x="192" y="1187"/>
                  </a:lnTo>
                  <a:lnTo>
                    <a:pt x="192" y="1186"/>
                  </a:lnTo>
                  <a:lnTo>
                    <a:pt x="192" y="1182"/>
                  </a:lnTo>
                  <a:lnTo>
                    <a:pt x="194" y="1179"/>
                  </a:lnTo>
                  <a:lnTo>
                    <a:pt x="194" y="1177"/>
                  </a:lnTo>
                  <a:lnTo>
                    <a:pt x="193" y="1175"/>
                  </a:lnTo>
                  <a:lnTo>
                    <a:pt x="193" y="1172"/>
                  </a:lnTo>
                  <a:lnTo>
                    <a:pt x="193" y="1171"/>
                  </a:lnTo>
                  <a:lnTo>
                    <a:pt x="193" y="1168"/>
                  </a:lnTo>
                  <a:lnTo>
                    <a:pt x="190" y="1166"/>
                  </a:lnTo>
                  <a:lnTo>
                    <a:pt x="189" y="1166"/>
                  </a:lnTo>
                  <a:lnTo>
                    <a:pt x="189" y="1165"/>
                  </a:lnTo>
                  <a:lnTo>
                    <a:pt x="190" y="1163"/>
                  </a:lnTo>
                  <a:lnTo>
                    <a:pt x="192" y="1159"/>
                  </a:lnTo>
                  <a:lnTo>
                    <a:pt x="193" y="1158"/>
                  </a:lnTo>
                  <a:lnTo>
                    <a:pt x="196" y="1157"/>
                  </a:lnTo>
                  <a:lnTo>
                    <a:pt x="198" y="1158"/>
                  </a:lnTo>
                  <a:lnTo>
                    <a:pt x="199" y="1157"/>
                  </a:lnTo>
                  <a:lnTo>
                    <a:pt x="200" y="1154"/>
                  </a:lnTo>
                  <a:lnTo>
                    <a:pt x="201" y="1154"/>
                  </a:lnTo>
                  <a:lnTo>
                    <a:pt x="204" y="1156"/>
                  </a:lnTo>
                  <a:lnTo>
                    <a:pt x="205" y="1156"/>
                  </a:lnTo>
                  <a:lnTo>
                    <a:pt x="207" y="1156"/>
                  </a:lnTo>
                  <a:lnTo>
                    <a:pt x="209" y="1157"/>
                  </a:lnTo>
                  <a:lnTo>
                    <a:pt x="210" y="1157"/>
                  </a:lnTo>
                  <a:lnTo>
                    <a:pt x="212" y="1158"/>
                  </a:lnTo>
                  <a:lnTo>
                    <a:pt x="213" y="1157"/>
                  </a:lnTo>
                  <a:lnTo>
                    <a:pt x="215" y="1156"/>
                  </a:lnTo>
                  <a:lnTo>
                    <a:pt x="215" y="1157"/>
                  </a:lnTo>
                  <a:lnTo>
                    <a:pt x="216" y="1156"/>
                  </a:lnTo>
                  <a:lnTo>
                    <a:pt x="216" y="1154"/>
                  </a:lnTo>
                  <a:lnTo>
                    <a:pt x="217" y="1153"/>
                  </a:lnTo>
                  <a:lnTo>
                    <a:pt x="218" y="1153"/>
                  </a:lnTo>
                  <a:lnTo>
                    <a:pt x="221" y="1152"/>
                  </a:lnTo>
                  <a:lnTo>
                    <a:pt x="221" y="1151"/>
                  </a:lnTo>
                  <a:lnTo>
                    <a:pt x="222" y="1148"/>
                  </a:lnTo>
                  <a:lnTo>
                    <a:pt x="223" y="1147"/>
                  </a:lnTo>
                  <a:lnTo>
                    <a:pt x="227" y="1148"/>
                  </a:lnTo>
                  <a:lnTo>
                    <a:pt x="227" y="1147"/>
                  </a:lnTo>
                  <a:lnTo>
                    <a:pt x="228" y="1147"/>
                  </a:lnTo>
                  <a:lnTo>
                    <a:pt x="227" y="1150"/>
                  </a:lnTo>
                  <a:lnTo>
                    <a:pt x="228" y="1151"/>
                  </a:lnTo>
                  <a:lnTo>
                    <a:pt x="230" y="1151"/>
                  </a:lnTo>
                  <a:lnTo>
                    <a:pt x="231" y="1150"/>
                  </a:lnTo>
                  <a:lnTo>
                    <a:pt x="231" y="1147"/>
                  </a:lnTo>
                  <a:lnTo>
                    <a:pt x="231" y="1145"/>
                  </a:lnTo>
                  <a:lnTo>
                    <a:pt x="231" y="1144"/>
                  </a:lnTo>
                  <a:lnTo>
                    <a:pt x="231" y="1146"/>
                  </a:lnTo>
                  <a:lnTo>
                    <a:pt x="231" y="1148"/>
                  </a:lnTo>
                  <a:lnTo>
                    <a:pt x="233" y="1150"/>
                  </a:lnTo>
                  <a:lnTo>
                    <a:pt x="234" y="1148"/>
                  </a:lnTo>
                  <a:lnTo>
                    <a:pt x="234" y="1150"/>
                  </a:lnTo>
                  <a:lnTo>
                    <a:pt x="233" y="1151"/>
                  </a:lnTo>
                  <a:lnTo>
                    <a:pt x="233" y="1153"/>
                  </a:lnTo>
                  <a:lnTo>
                    <a:pt x="234" y="1154"/>
                  </a:lnTo>
                  <a:lnTo>
                    <a:pt x="235" y="1153"/>
                  </a:lnTo>
                  <a:lnTo>
                    <a:pt x="236" y="1153"/>
                  </a:lnTo>
                  <a:lnTo>
                    <a:pt x="237" y="1152"/>
                  </a:lnTo>
                  <a:lnTo>
                    <a:pt x="237" y="1154"/>
                  </a:lnTo>
                  <a:lnTo>
                    <a:pt x="239" y="1153"/>
                  </a:lnTo>
                  <a:lnTo>
                    <a:pt x="239" y="1152"/>
                  </a:lnTo>
                  <a:lnTo>
                    <a:pt x="239" y="1151"/>
                  </a:lnTo>
                  <a:lnTo>
                    <a:pt x="240" y="1150"/>
                  </a:lnTo>
                  <a:lnTo>
                    <a:pt x="240" y="1153"/>
                  </a:lnTo>
                  <a:lnTo>
                    <a:pt x="241" y="1153"/>
                  </a:lnTo>
                  <a:lnTo>
                    <a:pt x="241" y="1156"/>
                  </a:lnTo>
                  <a:lnTo>
                    <a:pt x="241" y="1157"/>
                  </a:lnTo>
                  <a:lnTo>
                    <a:pt x="242" y="1157"/>
                  </a:lnTo>
                  <a:lnTo>
                    <a:pt x="243" y="1158"/>
                  </a:lnTo>
                  <a:lnTo>
                    <a:pt x="247" y="1156"/>
                  </a:lnTo>
                  <a:lnTo>
                    <a:pt x="247" y="1160"/>
                  </a:lnTo>
                  <a:lnTo>
                    <a:pt x="248" y="1157"/>
                  </a:lnTo>
                  <a:lnTo>
                    <a:pt x="247" y="1154"/>
                  </a:lnTo>
                  <a:lnTo>
                    <a:pt x="251" y="1157"/>
                  </a:lnTo>
                  <a:lnTo>
                    <a:pt x="252" y="1158"/>
                  </a:lnTo>
                  <a:lnTo>
                    <a:pt x="251" y="1159"/>
                  </a:lnTo>
                  <a:lnTo>
                    <a:pt x="251" y="1160"/>
                  </a:lnTo>
                  <a:lnTo>
                    <a:pt x="251" y="1163"/>
                  </a:lnTo>
                  <a:lnTo>
                    <a:pt x="252" y="1162"/>
                  </a:lnTo>
                  <a:lnTo>
                    <a:pt x="253" y="1160"/>
                  </a:lnTo>
                  <a:lnTo>
                    <a:pt x="255" y="1159"/>
                  </a:lnTo>
                  <a:lnTo>
                    <a:pt x="257" y="1159"/>
                  </a:lnTo>
                  <a:lnTo>
                    <a:pt x="257" y="1158"/>
                  </a:lnTo>
                  <a:lnTo>
                    <a:pt x="258" y="1160"/>
                  </a:lnTo>
                  <a:lnTo>
                    <a:pt x="258" y="1162"/>
                  </a:lnTo>
                  <a:lnTo>
                    <a:pt x="260" y="1163"/>
                  </a:lnTo>
                  <a:lnTo>
                    <a:pt x="263" y="1162"/>
                  </a:lnTo>
                  <a:lnTo>
                    <a:pt x="264" y="1160"/>
                  </a:lnTo>
                  <a:lnTo>
                    <a:pt x="266" y="1159"/>
                  </a:lnTo>
                  <a:lnTo>
                    <a:pt x="269" y="1158"/>
                  </a:lnTo>
                  <a:lnTo>
                    <a:pt x="270" y="1157"/>
                  </a:lnTo>
                  <a:lnTo>
                    <a:pt x="270" y="1156"/>
                  </a:lnTo>
                  <a:lnTo>
                    <a:pt x="271" y="1154"/>
                  </a:lnTo>
                  <a:lnTo>
                    <a:pt x="271" y="1157"/>
                  </a:lnTo>
                  <a:lnTo>
                    <a:pt x="271" y="1159"/>
                  </a:lnTo>
                  <a:lnTo>
                    <a:pt x="272" y="1159"/>
                  </a:lnTo>
                  <a:lnTo>
                    <a:pt x="274" y="1160"/>
                  </a:lnTo>
                  <a:lnTo>
                    <a:pt x="276" y="1162"/>
                  </a:lnTo>
                  <a:lnTo>
                    <a:pt x="277" y="1163"/>
                  </a:lnTo>
                  <a:lnTo>
                    <a:pt x="278" y="1164"/>
                  </a:lnTo>
                  <a:lnTo>
                    <a:pt x="278" y="1165"/>
                  </a:lnTo>
                  <a:lnTo>
                    <a:pt x="280" y="1166"/>
                  </a:lnTo>
                  <a:lnTo>
                    <a:pt x="282" y="1168"/>
                  </a:lnTo>
                  <a:lnTo>
                    <a:pt x="281" y="1169"/>
                  </a:lnTo>
                  <a:lnTo>
                    <a:pt x="281" y="1170"/>
                  </a:lnTo>
                  <a:lnTo>
                    <a:pt x="282" y="1169"/>
                  </a:lnTo>
                  <a:lnTo>
                    <a:pt x="283" y="1169"/>
                  </a:lnTo>
                  <a:lnTo>
                    <a:pt x="283" y="1172"/>
                  </a:lnTo>
                  <a:lnTo>
                    <a:pt x="283" y="1174"/>
                  </a:lnTo>
                  <a:lnTo>
                    <a:pt x="284" y="1175"/>
                  </a:lnTo>
                  <a:lnTo>
                    <a:pt x="286" y="1174"/>
                  </a:lnTo>
                  <a:lnTo>
                    <a:pt x="288" y="1174"/>
                  </a:lnTo>
                  <a:lnTo>
                    <a:pt x="287" y="1176"/>
                  </a:lnTo>
                  <a:lnTo>
                    <a:pt x="284" y="1179"/>
                  </a:lnTo>
                  <a:lnTo>
                    <a:pt x="286" y="1179"/>
                  </a:lnTo>
                  <a:lnTo>
                    <a:pt x="287" y="1177"/>
                  </a:lnTo>
                  <a:lnTo>
                    <a:pt x="289" y="1176"/>
                  </a:lnTo>
                  <a:lnTo>
                    <a:pt x="292" y="1175"/>
                  </a:lnTo>
                  <a:lnTo>
                    <a:pt x="294" y="1174"/>
                  </a:lnTo>
                  <a:lnTo>
                    <a:pt x="296" y="1172"/>
                  </a:lnTo>
                  <a:lnTo>
                    <a:pt x="298" y="1171"/>
                  </a:lnTo>
                  <a:lnTo>
                    <a:pt x="300" y="1172"/>
                  </a:lnTo>
                  <a:lnTo>
                    <a:pt x="300" y="1171"/>
                  </a:lnTo>
                  <a:lnTo>
                    <a:pt x="301" y="1170"/>
                  </a:lnTo>
                  <a:lnTo>
                    <a:pt x="304" y="1169"/>
                  </a:lnTo>
                  <a:lnTo>
                    <a:pt x="304" y="1170"/>
                  </a:lnTo>
                  <a:lnTo>
                    <a:pt x="305" y="1170"/>
                  </a:lnTo>
                  <a:lnTo>
                    <a:pt x="307" y="1169"/>
                  </a:lnTo>
                  <a:lnTo>
                    <a:pt x="308" y="1169"/>
                  </a:lnTo>
                  <a:lnTo>
                    <a:pt x="311" y="1170"/>
                  </a:lnTo>
                  <a:lnTo>
                    <a:pt x="312" y="1169"/>
                  </a:lnTo>
                  <a:lnTo>
                    <a:pt x="313" y="1170"/>
                  </a:lnTo>
                  <a:lnTo>
                    <a:pt x="312" y="1171"/>
                  </a:lnTo>
                  <a:lnTo>
                    <a:pt x="314" y="1172"/>
                  </a:lnTo>
                  <a:lnTo>
                    <a:pt x="316" y="1171"/>
                  </a:lnTo>
                  <a:lnTo>
                    <a:pt x="316" y="1170"/>
                  </a:lnTo>
                  <a:lnTo>
                    <a:pt x="317" y="1170"/>
                  </a:lnTo>
                  <a:lnTo>
                    <a:pt x="318" y="1168"/>
                  </a:lnTo>
                  <a:lnTo>
                    <a:pt x="318" y="1165"/>
                  </a:lnTo>
                  <a:lnTo>
                    <a:pt x="318" y="1163"/>
                  </a:lnTo>
                  <a:lnTo>
                    <a:pt x="319" y="1164"/>
                  </a:lnTo>
                  <a:lnTo>
                    <a:pt x="319" y="1166"/>
                  </a:lnTo>
                  <a:lnTo>
                    <a:pt x="319" y="1169"/>
                  </a:lnTo>
                  <a:lnTo>
                    <a:pt x="319" y="1172"/>
                  </a:lnTo>
                  <a:lnTo>
                    <a:pt x="320" y="1172"/>
                  </a:lnTo>
                  <a:lnTo>
                    <a:pt x="320" y="1175"/>
                  </a:lnTo>
                  <a:lnTo>
                    <a:pt x="322" y="1177"/>
                  </a:lnTo>
                  <a:lnTo>
                    <a:pt x="323" y="1179"/>
                  </a:lnTo>
                  <a:lnTo>
                    <a:pt x="322" y="1179"/>
                  </a:lnTo>
                  <a:lnTo>
                    <a:pt x="322" y="1181"/>
                  </a:lnTo>
                  <a:lnTo>
                    <a:pt x="324" y="1181"/>
                  </a:lnTo>
                  <a:lnTo>
                    <a:pt x="324" y="1183"/>
                  </a:lnTo>
                  <a:lnTo>
                    <a:pt x="324" y="1187"/>
                  </a:lnTo>
                  <a:lnTo>
                    <a:pt x="324" y="1188"/>
                  </a:lnTo>
                  <a:lnTo>
                    <a:pt x="325" y="1189"/>
                  </a:lnTo>
                  <a:lnTo>
                    <a:pt x="325" y="1192"/>
                  </a:lnTo>
                  <a:lnTo>
                    <a:pt x="326" y="1193"/>
                  </a:lnTo>
                  <a:lnTo>
                    <a:pt x="326" y="1194"/>
                  </a:lnTo>
                  <a:lnTo>
                    <a:pt x="328" y="1198"/>
                  </a:lnTo>
                  <a:lnTo>
                    <a:pt x="328" y="1199"/>
                  </a:lnTo>
                  <a:lnTo>
                    <a:pt x="329" y="1201"/>
                  </a:lnTo>
                  <a:lnTo>
                    <a:pt x="331" y="1204"/>
                  </a:lnTo>
                  <a:lnTo>
                    <a:pt x="334" y="1205"/>
                  </a:lnTo>
                  <a:lnTo>
                    <a:pt x="336" y="1206"/>
                  </a:lnTo>
                  <a:lnTo>
                    <a:pt x="337" y="1206"/>
                  </a:lnTo>
                  <a:lnTo>
                    <a:pt x="339" y="1205"/>
                  </a:lnTo>
                  <a:lnTo>
                    <a:pt x="340" y="1206"/>
                  </a:lnTo>
                  <a:lnTo>
                    <a:pt x="340" y="1205"/>
                  </a:lnTo>
                  <a:lnTo>
                    <a:pt x="341" y="1205"/>
                  </a:lnTo>
                  <a:lnTo>
                    <a:pt x="342" y="1204"/>
                  </a:lnTo>
                  <a:lnTo>
                    <a:pt x="343" y="1204"/>
                  </a:lnTo>
                  <a:lnTo>
                    <a:pt x="345" y="1203"/>
                  </a:lnTo>
                  <a:lnTo>
                    <a:pt x="345" y="1201"/>
                  </a:lnTo>
                  <a:lnTo>
                    <a:pt x="346" y="1201"/>
                  </a:lnTo>
                  <a:lnTo>
                    <a:pt x="348" y="1203"/>
                  </a:lnTo>
                  <a:lnTo>
                    <a:pt x="348" y="1201"/>
                  </a:lnTo>
                  <a:lnTo>
                    <a:pt x="349" y="1200"/>
                  </a:lnTo>
                  <a:lnTo>
                    <a:pt x="349" y="1199"/>
                  </a:lnTo>
                  <a:lnTo>
                    <a:pt x="351" y="1200"/>
                  </a:lnTo>
                  <a:lnTo>
                    <a:pt x="352" y="1199"/>
                  </a:lnTo>
                  <a:lnTo>
                    <a:pt x="353" y="1199"/>
                  </a:lnTo>
                  <a:lnTo>
                    <a:pt x="354" y="1200"/>
                  </a:lnTo>
                  <a:lnTo>
                    <a:pt x="354" y="1203"/>
                  </a:lnTo>
                  <a:lnTo>
                    <a:pt x="354" y="1204"/>
                  </a:lnTo>
                  <a:lnTo>
                    <a:pt x="355" y="1203"/>
                  </a:lnTo>
                  <a:lnTo>
                    <a:pt x="355" y="1204"/>
                  </a:lnTo>
                  <a:lnTo>
                    <a:pt x="355" y="1206"/>
                  </a:lnTo>
                  <a:lnTo>
                    <a:pt x="357" y="1206"/>
                  </a:lnTo>
                  <a:lnTo>
                    <a:pt x="358" y="1206"/>
                  </a:lnTo>
                  <a:lnTo>
                    <a:pt x="358" y="1207"/>
                  </a:lnTo>
                  <a:lnTo>
                    <a:pt x="358" y="1210"/>
                  </a:lnTo>
                  <a:lnTo>
                    <a:pt x="359" y="1207"/>
                  </a:lnTo>
                  <a:lnTo>
                    <a:pt x="359" y="1209"/>
                  </a:lnTo>
                  <a:lnTo>
                    <a:pt x="359" y="1210"/>
                  </a:lnTo>
                  <a:lnTo>
                    <a:pt x="359" y="1211"/>
                  </a:lnTo>
                  <a:lnTo>
                    <a:pt x="359" y="1212"/>
                  </a:lnTo>
                  <a:lnTo>
                    <a:pt x="359" y="1215"/>
                  </a:lnTo>
                  <a:lnTo>
                    <a:pt x="360" y="1215"/>
                  </a:lnTo>
                  <a:lnTo>
                    <a:pt x="361" y="1216"/>
                  </a:lnTo>
                  <a:lnTo>
                    <a:pt x="361" y="1217"/>
                  </a:lnTo>
                  <a:lnTo>
                    <a:pt x="361" y="1219"/>
                  </a:lnTo>
                  <a:lnTo>
                    <a:pt x="361" y="1221"/>
                  </a:lnTo>
                  <a:lnTo>
                    <a:pt x="361" y="1223"/>
                  </a:lnTo>
                  <a:lnTo>
                    <a:pt x="361" y="1224"/>
                  </a:lnTo>
                  <a:lnTo>
                    <a:pt x="363" y="1225"/>
                  </a:lnTo>
                  <a:lnTo>
                    <a:pt x="363" y="1237"/>
                  </a:lnTo>
                  <a:lnTo>
                    <a:pt x="363" y="1252"/>
                  </a:lnTo>
                  <a:lnTo>
                    <a:pt x="363" y="1265"/>
                  </a:lnTo>
                  <a:lnTo>
                    <a:pt x="363" y="1282"/>
                  </a:lnTo>
                  <a:lnTo>
                    <a:pt x="363" y="1287"/>
                  </a:lnTo>
                  <a:lnTo>
                    <a:pt x="364" y="1290"/>
                  </a:lnTo>
                  <a:lnTo>
                    <a:pt x="366" y="1293"/>
                  </a:lnTo>
                  <a:lnTo>
                    <a:pt x="370" y="1293"/>
                  </a:lnTo>
                  <a:lnTo>
                    <a:pt x="400" y="1293"/>
                  </a:lnTo>
                  <a:lnTo>
                    <a:pt x="400" y="1266"/>
                  </a:lnTo>
                  <a:lnTo>
                    <a:pt x="400" y="1242"/>
                  </a:lnTo>
                  <a:lnTo>
                    <a:pt x="401" y="1218"/>
                  </a:lnTo>
                  <a:lnTo>
                    <a:pt x="402" y="1212"/>
                  </a:lnTo>
                  <a:lnTo>
                    <a:pt x="405" y="1210"/>
                  </a:lnTo>
                  <a:lnTo>
                    <a:pt x="406" y="1209"/>
                  </a:lnTo>
                  <a:lnTo>
                    <a:pt x="408" y="1209"/>
                  </a:lnTo>
                  <a:lnTo>
                    <a:pt x="410" y="1209"/>
                  </a:lnTo>
                  <a:lnTo>
                    <a:pt x="411" y="1206"/>
                  </a:lnTo>
                  <a:lnTo>
                    <a:pt x="412" y="1205"/>
                  </a:lnTo>
                  <a:lnTo>
                    <a:pt x="413" y="1205"/>
                  </a:lnTo>
                  <a:lnTo>
                    <a:pt x="414" y="1203"/>
                  </a:lnTo>
                  <a:lnTo>
                    <a:pt x="416" y="1201"/>
                  </a:lnTo>
                  <a:lnTo>
                    <a:pt x="416" y="1200"/>
                  </a:lnTo>
                  <a:lnTo>
                    <a:pt x="416" y="1199"/>
                  </a:lnTo>
                  <a:lnTo>
                    <a:pt x="414" y="1197"/>
                  </a:lnTo>
                  <a:lnTo>
                    <a:pt x="414" y="1195"/>
                  </a:lnTo>
                  <a:lnTo>
                    <a:pt x="414" y="1194"/>
                  </a:lnTo>
                  <a:lnTo>
                    <a:pt x="414" y="1193"/>
                  </a:lnTo>
                  <a:lnTo>
                    <a:pt x="413" y="1191"/>
                  </a:lnTo>
                  <a:lnTo>
                    <a:pt x="412" y="1191"/>
                  </a:lnTo>
                  <a:lnTo>
                    <a:pt x="412" y="1192"/>
                  </a:lnTo>
                  <a:lnTo>
                    <a:pt x="411" y="1191"/>
                  </a:lnTo>
                  <a:lnTo>
                    <a:pt x="411" y="1189"/>
                  </a:lnTo>
                  <a:lnTo>
                    <a:pt x="411" y="1188"/>
                  </a:lnTo>
                  <a:lnTo>
                    <a:pt x="412" y="1186"/>
                  </a:lnTo>
                  <a:lnTo>
                    <a:pt x="412" y="1185"/>
                  </a:lnTo>
                  <a:lnTo>
                    <a:pt x="412" y="1183"/>
                  </a:lnTo>
                  <a:lnTo>
                    <a:pt x="413" y="1181"/>
                  </a:lnTo>
                  <a:lnTo>
                    <a:pt x="416" y="1180"/>
                  </a:lnTo>
                  <a:lnTo>
                    <a:pt x="416" y="1179"/>
                  </a:lnTo>
                  <a:lnTo>
                    <a:pt x="418" y="1179"/>
                  </a:lnTo>
                  <a:lnTo>
                    <a:pt x="419" y="1179"/>
                  </a:lnTo>
                  <a:lnTo>
                    <a:pt x="420" y="1180"/>
                  </a:lnTo>
                  <a:lnTo>
                    <a:pt x="424" y="1181"/>
                  </a:lnTo>
                  <a:lnTo>
                    <a:pt x="426" y="1182"/>
                  </a:lnTo>
                  <a:lnTo>
                    <a:pt x="429" y="1183"/>
                  </a:lnTo>
                  <a:lnTo>
                    <a:pt x="429" y="1182"/>
                  </a:lnTo>
                  <a:lnTo>
                    <a:pt x="432" y="1182"/>
                  </a:lnTo>
                  <a:lnTo>
                    <a:pt x="434" y="1182"/>
                  </a:lnTo>
                  <a:lnTo>
                    <a:pt x="432" y="1182"/>
                  </a:lnTo>
                  <a:lnTo>
                    <a:pt x="434" y="1183"/>
                  </a:lnTo>
                  <a:lnTo>
                    <a:pt x="435" y="1183"/>
                  </a:lnTo>
                  <a:lnTo>
                    <a:pt x="436" y="1183"/>
                  </a:lnTo>
                  <a:lnTo>
                    <a:pt x="437" y="1185"/>
                  </a:lnTo>
                  <a:lnTo>
                    <a:pt x="438" y="1187"/>
                  </a:lnTo>
                  <a:lnTo>
                    <a:pt x="441" y="1188"/>
                  </a:lnTo>
                  <a:lnTo>
                    <a:pt x="442" y="1191"/>
                  </a:lnTo>
                  <a:lnTo>
                    <a:pt x="444" y="1192"/>
                  </a:lnTo>
                  <a:lnTo>
                    <a:pt x="446" y="1192"/>
                  </a:lnTo>
                  <a:lnTo>
                    <a:pt x="446" y="1194"/>
                  </a:lnTo>
                  <a:lnTo>
                    <a:pt x="444" y="1195"/>
                  </a:lnTo>
                  <a:lnTo>
                    <a:pt x="446" y="1197"/>
                  </a:lnTo>
                  <a:lnTo>
                    <a:pt x="447" y="1197"/>
                  </a:lnTo>
                  <a:lnTo>
                    <a:pt x="448" y="1197"/>
                  </a:lnTo>
                  <a:lnTo>
                    <a:pt x="449" y="1197"/>
                  </a:lnTo>
                  <a:lnTo>
                    <a:pt x="449" y="1198"/>
                  </a:lnTo>
                  <a:lnTo>
                    <a:pt x="451" y="1200"/>
                  </a:lnTo>
                  <a:lnTo>
                    <a:pt x="452" y="1198"/>
                  </a:lnTo>
                  <a:lnTo>
                    <a:pt x="452" y="1200"/>
                  </a:lnTo>
                  <a:lnTo>
                    <a:pt x="452" y="1201"/>
                  </a:lnTo>
                  <a:lnTo>
                    <a:pt x="452" y="1203"/>
                  </a:lnTo>
                  <a:lnTo>
                    <a:pt x="454" y="1203"/>
                  </a:lnTo>
                  <a:lnTo>
                    <a:pt x="455" y="1201"/>
                  </a:lnTo>
                  <a:lnTo>
                    <a:pt x="457" y="1203"/>
                  </a:lnTo>
                  <a:lnTo>
                    <a:pt x="458" y="1203"/>
                  </a:lnTo>
                  <a:lnTo>
                    <a:pt x="458" y="1201"/>
                  </a:lnTo>
                  <a:lnTo>
                    <a:pt x="459" y="1201"/>
                  </a:lnTo>
                  <a:lnTo>
                    <a:pt x="459" y="1203"/>
                  </a:lnTo>
                  <a:lnTo>
                    <a:pt x="461" y="1203"/>
                  </a:lnTo>
                  <a:lnTo>
                    <a:pt x="465" y="1201"/>
                  </a:lnTo>
                  <a:lnTo>
                    <a:pt x="469" y="1200"/>
                  </a:lnTo>
                  <a:lnTo>
                    <a:pt x="471" y="1198"/>
                  </a:lnTo>
                  <a:lnTo>
                    <a:pt x="472" y="1194"/>
                  </a:lnTo>
                  <a:lnTo>
                    <a:pt x="472" y="1195"/>
                  </a:lnTo>
                  <a:lnTo>
                    <a:pt x="472" y="1198"/>
                  </a:lnTo>
                  <a:lnTo>
                    <a:pt x="473" y="1199"/>
                  </a:lnTo>
                  <a:lnTo>
                    <a:pt x="476" y="1198"/>
                  </a:lnTo>
                  <a:lnTo>
                    <a:pt x="477" y="1198"/>
                  </a:lnTo>
                  <a:lnTo>
                    <a:pt x="477" y="1199"/>
                  </a:lnTo>
                  <a:lnTo>
                    <a:pt x="479" y="1199"/>
                  </a:lnTo>
                  <a:lnTo>
                    <a:pt x="479" y="1198"/>
                  </a:lnTo>
                  <a:lnTo>
                    <a:pt x="479" y="1197"/>
                  </a:lnTo>
                  <a:lnTo>
                    <a:pt x="481" y="1197"/>
                  </a:lnTo>
                  <a:lnTo>
                    <a:pt x="482" y="1199"/>
                  </a:lnTo>
                  <a:lnTo>
                    <a:pt x="483" y="1198"/>
                  </a:lnTo>
                  <a:lnTo>
                    <a:pt x="484" y="1195"/>
                  </a:lnTo>
                  <a:lnTo>
                    <a:pt x="485" y="1195"/>
                  </a:lnTo>
                  <a:lnTo>
                    <a:pt x="487" y="1193"/>
                  </a:lnTo>
                  <a:lnTo>
                    <a:pt x="488" y="1192"/>
                  </a:lnTo>
                  <a:lnTo>
                    <a:pt x="489" y="1191"/>
                  </a:lnTo>
                  <a:lnTo>
                    <a:pt x="489" y="1188"/>
                  </a:lnTo>
                  <a:lnTo>
                    <a:pt x="490" y="1187"/>
                  </a:lnTo>
                  <a:lnTo>
                    <a:pt x="490" y="1185"/>
                  </a:lnTo>
                  <a:lnTo>
                    <a:pt x="491" y="1183"/>
                  </a:lnTo>
                  <a:lnTo>
                    <a:pt x="494" y="1182"/>
                  </a:lnTo>
                  <a:lnTo>
                    <a:pt x="496" y="1182"/>
                  </a:lnTo>
                  <a:lnTo>
                    <a:pt x="497" y="1180"/>
                  </a:lnTo>
                  <a:lnTo>
                    <a:pt x="499" y="1177"/>
                  </a:lnTo>
                  <a:lnTo>
                    <a:pt x="500" y="1177"/>
                  </a:lnTo>
                  <a:lnTo>
                    <a:pt x="500" y="1179"/>
                  </a:lnTo>
                  <a:lnTo>
                    <a:pt x="500" y="1180"/>
                  </a:lnTo>
                  <a:lnTo>
                    <a:pt x="501" y="1180"/>
                  </a:lnTo>
                  <a:lnTo>
                    <a:pt x="502" y="1180"/>
                  </a:lnTo>
                  <a:lnTo>
                    <a:pt x="503" y="1180"/>
                  </a:lnTo>
                  <a:lnTo>
                    <a:pt x="505" y="1179"/>
                  </a:lnTo>
                  <a:lnTo>
                    <a:pt x="505" y="1177"/>
                  </a:lnTo>
                  <a:lnTo>
                    <a:pt x="506" y="1179"/>
                  </a:lnTo>
                  <a:lnTo>
                    <a:pt x="507" y="1179"/>
                  </a:lnTo>
                  <a:lnTo>
                    <a:pt x="508" y="1181"/>
                  </a:lnTo>
                  <a:lnTo>
                    <a:pt x="510" y="1181"/>
                  </a:lnTo>
                  <a:lnTo>
                    <a:pt x="511" y="1181"/>
                  </a:lnTo>
                  <a:lnTo>
                    <a:pt x="512" y="1180"/>
                  </a:lnTo>
                  <a:lnTo>
                    <a:pt x="513" y="1180"/>
                  </a:lnTo>
                  <a:lnTo>
                    <a:pt x="514" y="1180"/>
                  </a:lnTo>
                  <a:lnTo>
                    <a:pt x="516" y="1180"/>
                  </a:lnTo>
                  <a:lnTo>
                    <a:pt x="517" y="1179"/>
                  </a:lnTo>
                  <a:lnTo>
                    <a:pt x="519" y="1179"/>
                  </a:lnTo>
                  <a:lnTo>
                    <a:pt x="520" y="1180"/>
                  </a:lnTo>
                  <a:lnTo>
                    <a:pt x="525" y="1185"/>
                  </a:lnTo>
                  <a:lnTo>
                    <a:pt x="528" y="1188"/>
                  </a:lnTo>
                  <a:lnTo>
                    <a:pt x="528" y="1189"/>
                  </a:lnTo>
                  <a:lnTo>
                    <a:pt x="529" y="1192"/>
                  </a:lnTo>
                  <a:lnTo>
                    <a:pt x="531" y="1193"/>
                  </a:lnTo>
                  <a:lnTo>
                    <a:pt x="534" y="1194"/>
                  </a:lnTo>
                  <a:lnTo>
                    <a:pt x="537" y="1195"/>
                  </a:lnTo>
                  <a:lnTo>
                    <a:pt x="540" y="1194"/>
                  </a:lnTo>
                  <a:lnTo>
                    <a:pt x="541" y="1193"/>
                  </a:lnTo>
                  <a:lnTo>
                    <a:pt x="542" y="1192"/>
                  </a:lnTo>
                  <a:lnTo>
                    <a:pt x="542" y="1189"/>
                  </a:lnTo>
                  <a:lnTo>
                    <a:pt x="542" y="1188"/>
                  </a:lnTo>
                  <a:lnTo>
                    <a:pt x="542" y="1183"/>
                  </a:lnTo>
                  <a:lnTo>
                    <a:pt x="541" y="1181"/>
                  </a:lnTo>
                  <a:lnTo>
                    <a:pt x="542" y="1181"/>
                  </a:lnTo>
                  <a:lnTo>
                    <a:pt x="542" y="1182"/>
                  </a:lnTo>
                  <a:lnTo>
                    <a:pt x="543" y="1186"/>
                  </a:lnTo>
                  <a:lnTo>
                    <a:pt x="543" y="1189"/>
                  </a:lnTo>
                  <a:lnTo>
                    <a:pt x="544" y="1191"/>
                  </a:lnTo>
                  <a:lnTo>
                    <a:pt x="546" y="1191"/>
                  </a:lnTo>
                  <a:lnTo>
                    <a:pt x="547" y="1191"/>
                  </a:lnTo>
                  <a:lnTo>
                    <a:pt x="548" y="1189"/>
                  </a:lnTo>
                  <a:lnTo>
                    <a:pt x="548" y="1188"/>
                  </a:lnTo>
                  <a:lnTo>
                    <a:pt x="548" y="1185"/>
                  </a:lnTo>
                  <a:lnTo>
                    <a:pt x="548" y="1183"/>
                  </a:lnTo>
                  <a:lnTo>
                    <a:pt x="548" y="1181"/>
                  </a:lnTo>
                  <a:lnTo>
                    <a:pt x="548" y="1180"/>
                  </a:lnTo>
                  <a:lnTo>
                    <a:pt x="548" y="1182"/>
                  </a:lnTo>
                  <a:lnTo>
                    <a:pt x="549" y="1185"/>
                  </a:lnTo>
                  <a:lnTo>
                    <a:pt x="549" y="1187"/>
                  </a:lnTo>
                  <a:lnTo>
                    <a:pt x="548" y="1189"/>
                  </a:lnTo>
                  <a:lnTo>
                    <a:pt x="550" y="1191"/>
                  </a:lnTo>
                  <a:lnTo>
                    <a:pt x="552" y="1192"/>
                  </a:lnTo>
                  <a:lnTo>
                    <a:pt x="552" y="1191"/>
                  </a:lnTo>
                  <a:lnTo>
                    <a:pt x="552" y="1189"/>
                  </a:lnTo>
                  <a:lnTo>
                    <a:pt x="552" y="1188"/>
                  </a:lnTo>
                  <a:lnTo>
                    <a:pt x="553" y="1187"/>
                  </a:lnTo>
                  <a:lnTo>
                    <a:pt x="553" y="1186"/>
                  </a:lnTo>
                  <a:lnTo>
                    <a:pt x="554" y="1187"/>
                  </a:lnTo>
                  <a:lnTo>
                    <a:pt x="554" y="1191"/>
                  </a:lnTo>
                  <a:lnTo>
                    <a:pt x="554" y="1192"/>
                  </a:lnTo>
                  <a:lnTo>
                    <a:pt x="555" y="1192"/>
                  </a:lnTo>
                  <a:lnTo>
                    <a:pt x="556" y="1192"/>
                  </a:lnTo>
                  <a:lnTo>
                    <a:pt x="556" y="1191"/>
                  </a:lnTo>
                  <a:lnTo>
                    <a:pt x="556" y="1189"/>
                  </a:lnTo>
                  <a:lnTo>
                    <a:pt x="558" y="1187"/>
                  </a:lnTo>
                  <a:lnTo>
                    <a:pt x="558" y="1186"/>
                  </a:lnTo>
                  <a:lnTo>
                    <a:pt x="558" y="1185"/>
                  </a:lnTo>
                  <a:lnTo>
                    <a:pt x="559" y="1185"/>
                  </a:lnTo>
                  <a:lnTo>
                    <a:pt x="559" y="1186"/>
                  </a:lnTo>
                  <a:lnTo>
                    <a:pt x="561" y="1189"/>
                  </a:lnTo>
                  <a:lnTo>
                    <a:pt x="564" y="1189"/>
                  </a:lnTo>
                  <a:lnTo>
                    <a:pt x="564" y="1191"/>
                  </a:lnTo>
                  <a:lnTo>
                    <a:pt x="566" y="1189"/>
                  </a:lnTo>
                  <a:lnTo>
                    <a:pt x="567" y="1187"/>
                  </a:lnTo>
                  <a:lnTo>
                    <a:pt x="567" y="1188"/>
                  </a:lnTo>
                  <a:lnTo>
                    <a:pt x="569" y="1189"/>
                  </a:lnTo>
                  <a:lnTo>
                    <a:pt x="569" y="1191"/>
                  </a:lnTo>
                  <a:lnTo>
                    <a:pt x="569" y="1193"/>
                  </a:lnTo>
                  <a:lnTo>
                    <a:pt x="569" y="1192"/>
                  </a:lnTo>
                  <a:lnTo>
                    <a:pt x="570" y="1191"/>
                  </a:lnTo>
                  <a:lnTo>
                    <a:pt x="571" y="1191"/>
                  </a:lnTo>
                  <a:lnTo>
                    <a:pt x="571" y="1193"/>
                  </a:lnTo>
                  <a:lnTo>
                    <a:pt x="571" y="1194"/>
                  </a:lnTo>
                  <a:lnTo>
                    <a:pt x="571" y="1197"/>
                  </a:lnTo>
                  <a:lnTo>
                    <a:pt x="572" y="1198"/>
                  </a:lnTo>
                  <a:lnTo>
                    <a:pt x="573" y="1197"/>
                  </a:lnTo>
                  <a:lnTo>
                    <a:pt x="573" y="1198"/>
                  </a:lnTo>
                  <a:lnTo>
                    <a:pt x="573" y="1199"/>
                  </a:lnTo>
                  <a:lnTo>
                    <a:pt x="573" y="1201"/>
                  </a:lnTo>
                  <a:lnTo>
                    <a:pt x="575" y="1201"/>
                  </a:lnTo>
                  <a:lnTo>
                    <a:pt x="576" y="1203"/>
                  </a:lnTo>
                  <a:lnTo>
                    <a:pt x="577" y="1203"/>
                  </a:lnTo>
                  <a:lnTo>
                    <a:pt x="578" y="1204"/>
                  </a:lnTo>
                  <a:lnTo>
                    <a:pt x="579" y="1205"/>
                  </a:lnTo>
                  <a:lnTo>
                    <a:pt x="579" y="1206"/>
                  </a:lnTo>
                  <a:lnTo>
                    <a:pt x="581" y="1209"/>
                  </a:lnTo>
                  <a:lnTo>
                    <a:pt x="582" y="1210"/>
                  </a:lnTo>
                  <a:lnTo>
                    <a:pt x="582" y="1211"/>
                  </a:lnTo>
                  <a:lnTo>
                    <a:pt x="584" y="1213"/>
                  </a:lnTo>
                  <a:lnTo>
                    <a:pt x="583" y="1216"/>
                  </a:lnTo>
                  <a:lnTo>
                    <a:pt x="583" y="1217"/>
                  </a:lnTo>
                  <a:lnTo>
                    <a:pt x="584" y="1218"/>
                  </a:lnTo>
                  <a:lnTo>
                    <a:pt x="587" y="1219"/>
                  </a:lnTo>
                  <a:lnTo>
                    <a:pt x="588" y="1222"/>
                  </a:lnTo>
                  <a:lnTo>
                    <a:pt x="590" y="1224"/>
                  </a:lnTo>
                  <a:lnTo>
                    <a:pt x="593" y="1225"/>
                  </a:lnTo>
                  <a:lnTo>
                    <a:pt x="594" y="1225"/>
                  </a:lnTo>
                  <a:lnTo>
                    <a:pt x="595" y="1224"/>
                  </a:lnTo>
                  <a:lnTo>
                    <a:pt x="595" y="1223"/>
                  </a:lnTo>
                  <a:lnTo>
                    <a:pt x="595" y="1221"/>
                  </a:lnTo>
                  <a:lnTo>
                    <a:pt x="595" y="1218"/>
                  </a:lnTo>
                  <a:lnTo>
                    <a:pt x="595" y="1216"/>
                  </a:lnTo>
                  <a:lnTo>
                    <a:pt x="595" y="1217"/>
                  </a:lnTo>
                  <a:lnTo>
                    <a:pt x="596" y="1221"/>
                  </a:lnTo>
                  <a:lnTo>
                    <a:pt x="596" y="1222"/>
                  </a:lnTo>
                  <a:lnTo>
                    <a:pt x="596" y="1223"/>
                  </a:lnTo>
                  <a:lnTo>
                    <a:pt x="596" y="1227"/>
                  </a:lnTo>
                  <a:lnTo>
                    <a:pt x="596" y="1228"/>
                  </a:lnTo>
                  <a:lnTo>
                    <a:pt x="597" y="1229"/>
                  </a:lnTo>
                  <a:lnTo>
                    <a:pt x="599" y="1230"/>
                  </a:lnTo>
                  <a:lnTo>
                    <a:pt x="600" y="1230"/>
                  </a:lnTo>
                  <a:lnTo>
                    <a:pt x="601" y="1230"/>
                  </a:lnTo>
                  <a:lnTo>
                    <a:pt x="602" y="1231"/>
                  </a:lnTo>
                  <a:lnTo>
                    <a:pt x="603" y="1231"/>
                  </a:lnTo>
                  <a:lnTo>
                    <a:pt x="605" y="1231"/>
                  </a:lnTo>
                  <a:lnTo>
                    <a:pt x="606" y="1230"/>
                  </a:lnTo>
                  <a:lnTo>
                    <a:pt x="606" y="1229"/>
                  </a:lnTo>
                  <a:lnTo>
                    <a:pt x="607" y="1228"/>
                  </a:lnTo>
                  <a:lnTo>
                    <a:pt x="607" y="1229"/>
                  </a:lnTo>
                  <a:lnTo>
                    <a:pt x="608" y="1228"/>
                  </a:lnTo>
                  <a:lnTo>
                    <a:pt x="608" y="1227"/>
                  </a:lnTo>
                  <a:lnTo>
                    <a:pt x="608" y="1225"/>
                  </a:lnTo>
                  <a:lnTo>
                    <a:pt x="608" y="1224"/>
                  </a:lnTo>
                  <a:lnTo>
                    <a:pt x="609" y="1223"/>
                  </a:lnTo>
                  <a:lnTo>
                    <a:pt x="612" y="1221"/>
                  </a:lnTo>
                  <a:lnTo>
                    <a:pt x="613" y="1222"/>
                  </a:lnTo>
                  <a:lnTo>
                    <a:pt x="613" y="1223"/>
                  </a:lnTo>
                  <a:lnTo>
                    <a:pt x="615" y="1224"/>
                  </a:lnTo>
                  <a:lnTo>
                    <a:pt x="615" y="1227"/>
                  </a:lnTo>
                  <a:lnTo>
                    <a:pt x="614" y="1227"/>
                  </a:lnTo>
                  <a:lnTo>
                    <a:pt x="613" y="1229"/>
                  </a:lnTo>
                  <a:lnTo>
                    <a:pt x="614" y="1229"/>
                  </a:lnTo>
                  <a:lnTo>
                    <a:pt x="614" y="1230"/>
                  </a:lnTo>
                  <a:lnTo>
                    <a:pt x="613" y="1230"/>
                  </a:lnTo>
                  <a:lnTo>
                    <a:pt x="613" y="1233"/>
                  </a:lnTo>
                  <a:lnTo>
                    <a:pt x="614" y="1234"/>
                  </a:lnTo>
                  <a:lnTo>
                    <a:pt x="614" y="1236"/>
                  </a:lnTo>
                  <a:lnTo>
                    <a:pt x="614" y="1239"/>
                  </a:lnTo>
                  <a:lnTo>
                    <a:pt x="615" y="1239"/>
                  </a:lnTo>
                  <a:lnTo>
                    <a:pt x="615" y="1240"/>
                  </a:lnTo>
                  <a:lnTo>
                    <a:pt x="614" y="1241"/>
                  </a:lnTo>
                  <a:lnTo>
                    <a:pt x="614" y="1242"/>
                  </a:lnTo>
                  <a:lnTo>
                    <a:pt x="615" y="1242"/>
                  </a:lnTo>
                  <a:lnTo>
                    <a:pt x="617" y="1242"/>
                  </a:lnTo>
                  <a:lnTo>
                    <a:pt x="617" y="1243"/>
                  </a:lnTo>
                  <a:lnTo>
                    <a:pt x="617" y="1245"/>
                  </a:lnTo>
                  <a:lnTo>
                    <a:pt x="618" y="1245"/>
                  </a:lnTo>
                  <a:lnTo>
                    <a:pt x="619" y="1245"/>
                  </a:lnTo>
                  <a:lnTo>
                    <a:pt x="620" y="1246"/>
                  </a:lnTo>
                  <a:lnTo>
                    <a:pt x="623" y="1247"/>
                  </a:lnTo>
                  <a:lnTo>
                    <a:pt x="623" y="1248"/>
                  </a:lnTo>
                  <a:lnTo>
                    <a:pt x="625" y="1248"/>
                  </a:lnTo>
                  <a:lnTo>
                    <a:pt x="625" y="1251"/>
                  </a:lnTo>
                  <a:lnTo>
                    <a:pt x="626" y="1252"/>
                  </a:lnTo>
                  <a:lnTo>
                    <a:pt x="629" y="1252"/>
                  </a:lnTo>
                  <a:lnTo>
                    <a:pt x="630" y="1251"/>
                  </a:lnTo>
                  <a:lnTo>
                    <a:pt x="630" y="1249"/>
                  </a:lnTo>
                  <a:lnTo>
                    <a:pt x="629" y="1247"/>
                  </a:lnTo>
                  <a:lnTo>
                    <a:pt x="629" y="1245"/>
                  </a:lnTo>
                  <a:lnTo>
                    <a:pt x="630" y="1245"/>
                  </a:lnTo>
                  <a:lnTo>
                    <a:pt x="632" y="1243"/>
                  </a:lnTo>
                  <a:lnTo>
                    <a:pt x="632" y="1242"/>
                  </a:lnTo>
                  <a:lnTo>
                    <a:pt x="634" y="1241"/>
                  </a:lnTo>
                  <a:lnTo>
                    <a:pt x="636" y="1241"/>
                  </a:lnTo>
                  <a:lnTo>
                    <a:pt x="637" y="1241"/>
                  </a:lnTo>
                  <a:lnTo>
                    <a:pt x="638" y="1242"/>
                  </a:lnTo>
                  <a:lnTo>
                    <a:pt x="638" y="1240"/>
                  </a:lnTo>
                  <a:lnTo>
                    <a:pt x="638" y="1239"/>
                  </a:lnTo>
                  <a:lnTo>
                    <a:pt x="640" y="1236"/>
                  </a:lnTo>
                  <a:lnTo>
                    <a:pt x="641" y="1235"/>
                  </a:lnTo>
                  <a:lnTo>
                    <a:pt x="642" y="1234"/>
                  </a:lnTo>
                  <a:lnTo>
                    <a:pt x="643" y="1234"/>
                  </a:lnTo>
                  <a:lnTo>
                    <a:pt x="644" y="1233"/>
                  </a:lnTo>
                  <a:lnTo>
                    <a:pt x="644" y="1234"/>
                  </a:lnTo>
                  <a:lnTo>
                    <a:pt x="646" y="1234"/>
                  </a:lnTo>
                  <a:lnTo>
                    <a:pt x="647" y="1233"/>
                  </a:lnTo>
                  <a:lnTo>
                    <a:pt x="654" y="1233"/>
                  </a:lnTo>
                  <a:lnTo>
                    <a:pt x="656" y="1230"/>
                  </a:lnTo>
                  <a:lnTo>
                    <a:pt x="656" y="1229"/>
                  </a:lnTo>
                  <a:lnTo>
                    <a:pt x="658" y="1229"/>
                  </a:lnTo>
                  <a:lnTo>
                    <a:pt x="658" y="1230"/>
                  </a:lnTo>
                  <a:lnTo>
                    <a:pt x="660" y="1230"/>
                  </a:lnTo>
                  <a:lnTo>
                    <a:pt x="660" y="1231"/>
                  </a:lnTo>
                  <a:lnTo>
                    <a:pt x="661" y="1231"/>
                  </a:lnTo>
                  <a:lnTo>
                    <a:pt x="662" y="1231"/>
                  </a:lnTo>
                  <a:lnTo>
                    <a:pt x="664" y="1231"/>
                  </a:lnTo>
                  <a:lnTo>
                    <a:pt x="665" y="1231"/>
                  </a:lnTo>
                  <a:lnTo>
                    <a:pt x="666" y="1231"/>
                  </a:lnTo>
                  <a:lnTo>
                    <a:pt x="667" y="1231"/>
                  </a:lnTo>
                  <a:lnTo>
                    <a:pt x="667" y="1229"/>
                  </a:lnTo>
                  <a:lnTo>
                    <a:pt x="667" y="1228"/>
                  </a:lnTo>
                  <a:lnTo>
                    <a:pt x="668" y="1228"/>
                  </a:lnTo>
                  <a:lnTo>
                    <a:pt x="671" y="1228"/>
                  </a:lnTo>
                  <a:lnTo>
                    <a:pt x="672" y="1227"/>
                  </a:lnTo>
                  <a:lnTo>
                    <a:pt x="673" y="1227"/>
                  </a:lnTo>
                  <a:lnTo>
                    <a:pt x="673" y="1224"/>
                  </a:lnTo>
                  <a:lnTo>
                    <a:pt x="674" y="1222"/>
                  </a:lnTo>
                  <a:lnTo>
                    <a:pt x="674" y="1223"/>
                  </a:lnTo>
                  <a:lnTo>
                    <a:pt x="676" y="1223"/>
                  </a:lnTo>
                  <a:lnTo>
                    <a:pt x="677" y="1222"/>
                  </a:lnTo>
                  <a:lnTo>
                    <a:pt x="679" y="1221"/>
                  </a:lnTo>
                  <a:lnTo>
                    <a:pt x="679" y="1218"/>
                  </a:lnTo>
                  <a:lnTo>
                    <a:pt x="680" y="1217"/>
                  </a:lnTo>
                  <a:lnTo>
                    <a:pt x="682" y="1216"/>
                  </a:lnTo>
                  <a:lnTo>
                    <a:pt x="682" y="1215"/>
                  </a:lnTo>
                  <a:lnTo>
                    <a:pt x="683" y="1213"/>
                  </a:lnTo>
                  <a:lnTo>
                    <a:pt x="683" y="1210"/>
                  </a:lnTo>
                  <a:lnTo>
                    <a:pt x="682" y="1210"/>
                  </a:lnTo>
                  <a:lnTo>
                    <a:pt x="682" y="1211"/>
                  </a:lnTo>
                  <a:lnTo>
                    <a:pt x="680" y="1211"/>
                  </a:lnTo>
                  <a:lnTo>
                    <a:pt x="680" y="1209"/>
                  </a:lnTo>
                  <a:lnTo>
                    <a:pt x="680" y="1206"/>
                  </a:lnTo>
                  <a:lnTo>
                    <a:pt x="682" y="1206"/>
                  </a:lnTo>
                  <a:lnTo>
                    <a:pt x="682" y="1207"/>
                  </a:lnTo>
                  <a:lnTo>
                    <a:pt x="683" y="1209"/>
                  </a:lnTo>
                  <a:lnTo>
                    <a:pt x="684" y="1210"/>
                  </a:lnTo>
                  <a:lnTo>
                    <a:pt x="685" y="1210"/>
                  </a:lnTo>
                  <a:lnTo>
                    <a:pt x="685" y="1209"/>
                  </a:lnTo>
                  <a:lnTo>
                    <a:pt x="686" y="1207"/>
                  </a:lnTo>
                  <a:lnTo>
                    <a:pt x="686" y="1206"/>
                  </a:lnTo>
                  <a:lnTo>
                    <a:pt x="686" y="1205"/>
                  </a:lnTo>
                  <a:lnTo>
                    <a:pt x="686" y="1204"/>
                  </a:lnTo>
                  <a:lnTo>
                    <a:pt x="688" y="1204"/>
                  </a:lnTo>
                  <a:lnTo>
                    <a:pt x="689" y="1205"/>
                  </a:lnTo>
                  <a:lnTo>
                    <a:pt x="690" y="1205"/>
                  </a:lnTo>
                  <a:lnTo>
                    <a:pt x="690" y="1204"/>
                  </a:lnTo>
                  <a:lnTo>
                    <a:pt x="691" y="1203"/>
                  </a:lnTo>
                  <a:lnTo>
                    <a:pt x="693" y="1201"/>
                  </a:lnTo>
                  <a:lnTo>
                    <a:pt x="691" y="1201"/>
                  </a:lnTo>
                  <a:lnTo>
                    <a:pt x="691" y="1200"/>
                  </a:lnTo>
                  <a:lnTo>
                    <a:pt x="693" y="1199"/>
                  </a:lnTo>
                  <a:lnTo>
                    <a:pt x="693" y="1197"/>
                  </a:lnTo>
                  <a:lnTo>
                    <a:pt x="694" y="1197"/>
                  </a:lnTo>
                  <a:lnTo>
                    <a:pt x="695" y="1197"/>
                  </a:lnTo>
                  <a:lnTo>
                    <a:pt x="697" y="1195"/>
                  </a:lnTo>
                  <a:lnTo>
                    <a:pt x="697" y="1194"/>
                  </a:lnTo>
                  <a:lnTo>
                    <a:pt x="699" y="1193"/>
                  </a:lnTo>
                  <a:lnTo>
                    <a:pt x="699" y="1191"/>
                  </a:lnTo>
                  <a:lnTo>
                    <a:pt x="699" y="1188"/>
                  </a:lnTo>
                  <a:lnTo>
                    <a:pt x="697" y="1187"/>
                  </a:lnTo>
                  <a:lnTo>
                    <a:pt x="696" y="1186"/>
                  </a:lnTo>
                  <a:lnTo>
                    <a:pt x="696" y="1185"/>
                  </a:lnTo>
                  <a:lnTo>
                    <a:pt x="697" y="1185"/>
                  </a:lnTo>
                  <a:lnTo>
                    <a:pt x="697" y="1183"/>
                  </a:lnTo>
                  <a:lnTo>
                    <a:pt x="699" y="1183"/>
                  </a:lnTo>
                  <a:lnTo>
                    <a:pt x="701" y="1181"/>
                  </a:lnTo>
                  <a:lnTo>
                    <a:pt x="701" y="1182"/>
                  </a:lnTo>
                  <a:lnTo>
                    <a:pt x="701" y="1183"/>
                  </a:lnTo>
                  <a:lnTo>
                    <a:pt x="702" y="1182"/>
                  </a:lnTo>
                  <a:lnTo>
                    <a:pt x="706" y="1180"/>
                  </a:lnTo>
                  <a:lnTo>
                    <a:pt x="706" y="1177"/>
                  </a:lnTo>
                  <a:lnTo>
                    <a:pt x="707" y="1177"/>
                  </a:lnTo>
                  <a:lnTo>
                    <a:pt x="708" y="1177"/>
                  </a:lnTo>
                  <a:lnTo>
                    <a:pt x="709" y="1177"/>
                  </a:lnTo>
                  <a:lnTo>
                    <a:pt x="711" y="1179"/>
                  </a:lnTo>
                  <a:lnTo>
                    <a:pt x="712" y="1180"/>
                  </a:lnTo>
                  <a:lnTo>
                    <a:pt x="713" y="1179"/>
                  </a:lnTo>
                  <a:lnTo>
                    <a:pt x="713" y="1177"/>
                  </a:lnTo>
                  <a:lnTo>
                    <a:pt x="714" y="1177"/>
                  </a:lnTo>
                  <a:lnTo>
                    <a:pt x="715" y="1176"/>
                  </a:lnTo>
                  <a:lnTo>
                    <a:pt x="718" y="1176"/>
                  </a:lnTo>
                  <a:lnTo>
                    <a:pt x="720" y="1177"/>
                  </a:lnTo>
                  <a:lnTo>
                    <a:pt x="721" y="1177"/>
                  </a:lnTo>
                  <a:lnTo>
                    <a:pt x="723" y="1176"/>
                  </a:lnTo>
                  <a:lnTo>
                    <a:pt x="724" y="1176"/>
                  </a:lnTo>
                  <a:lnTo>
                    <a:pt x="725" y="1175"/>
                  </a:lnTo>
                  <a:lnTo>
                    <a:pt x="726" y="1176"/>
                  </a:lnTo>
                  <a:lnTo>
                    <a:pt x="727" y="1175"/>
                  </a:lnTo>
                  <a:lnTo>
                    <a:pt x="727" y="1174"/>
                  </a:lnTo>
                  <a:lnTo>
                    <a:pt x="727" y="1172"/>
                  </a:lnTo>
                  <a:lnTo>
                    <a:pt x="726" y="1171"/>
                  </a:lnTo>
                  <a:lnTo>
                    <a:pt x="727" y="1170"/>
                  </a:lnTo>
                  <a:lnTo>
                    <a:pt x="727" y="1168"/>
                  </a:lnTo>
                  <a:lnTo>
                    <a:pt x="727" y="1166"/>
                  </a:lnTo>
                  <a:lnTo>
                    <a:pt x="729" y="1165"/>
                  </a:lnTo>
                  <a:lnTo>
                    <a:pt x="730" y="1164"/>
                  </a:lnTo>
                  <a:lnTo>
                    <a:pt x="730" y="1163"/>
                  </a:lnTo>
                  <a:lnTo>
                    <a:pt x="731" y="1160"/>
                  </a:lnTo>
                  <a:lnTo>
                    <a:pt x="732" y="1162"/>
                  </a:lnTo>
                  <a:lnTo>
                    <a:pt x="732" y="1163"/>
                  </a:lnTo>
                  <a:lnTo>
                    <a:pt x="735" y="1160"/>
                  </a:lnTo>
                  <a:lnTo>
                    <a:pt x="735" y="1159"/>
                  </a:lnTo>
                  <a:lnTo>
                    <a:pt x="735" y="1160"/>
                  </a:lnTo>
                  <a:lnTo>
                    <a:pt x="736" y="1160"/>
                  </a:lnTo>
                  <a:lnTo>
                    <a:pt x="737" y="1160"/>
                  </a:lnTo>
                  <a:lnTo>
                    <a:pt x="738" y="1160"/>
                  </a:lnTo>
                  <a:lnTo>
                    <a:pt x="741" y="1160"/>
                  </a:lnTo>
                  <a:lnTo>
                    <a:pt x="742" y="1160"/>
                  </a:lnTo>
                  <a:lnTo>
                    <a:pt x="743" y="1160"/>
                  </a:lnTo>
                  <a:lnTo>
                    <a:pt x="744" y="1162"/>
                  </a:lnTo>
                  <a:lnTo>
                    <a:pt x="745" y="1160"/>
                  </a:lnTo>
                  <a:lnTo>
                    <a:pt x="745" y="1162"/>
                  </a:lnTo>
                  <a:lnTo>
                    <a:pt x="747" y="1163"/>
                  </a:lnTo>
                  <a:lnTo>
                    <a:pt x="748" y="1162"/>
                  </a:lnTo>
                  <a:lnTo>
                    <a:pt x="748" y="1160"/>
                  </a:lnTo>
                  <a:lnTo>
                    <a:pt x="750" y="1159"/>
                  </a:lnTo>
                  <a:lnTo>
                    <a:pt x="750" y="1158"/>
                  </a:lnTo>
                  <a:lnTo>
                    <a:pt x="752" y="1157"/>
                  </a:lnTo>
                  <a:lnTo>
                    <a:pt x="753" y="1156"/>
                  </a:lnTo>
                  <a:lnTo>
                    <a:pt x="752" y="1154"/>
                  </a:lnTo>
                  <a:lnTo>
                    <a:pt x="752" y="1153"/>
                  </a:lnTo>
                  <a:lnTo>
                    <a:pt x="754" y="1152"/>
                  </a:lnTo>
                  <a:lnTo>
                    <a:pt x="753" y="1154"/>
                  </a:lnTo>
                  <a:lnTo>
                    <a:pt x="755" y="1154"/>
                  </a:lnTo>
                  <a:lnTo>
                    <a:pt x="755" y="1152"/>
                  </a:lnTo>
                  <a:lnTo>
                    <a:pt x="755" y="1151"/>
                  </a:lnTo>
                  <a:lnTo>
                    <a:pt x="755" y="1150"/>
                  </a:lnTo>
                  <a:lnTo>
                    <a:pt x="756" y="1148"/>
                  </a:lnTo>
                  <a:lnTo>
                    <a:pt x="756" y="1150"/>
                  </a:lnTo>
                  <a:lnTo>
                    <a:pt x="759" y="1148"/>
                  </a:lnTo>
                  <a:lnTo>
                    <a:pt x="759" y="1147"/>
                  </a:lnTo>
                  <a:lnTo>
                    <a:pt x="761" y="1146"/>
                  </a:lnTo>
                  <a:lnTo>
                    <a:pt x="762" y="1146"/>
                  </a:lnTo>
                  <a:lnTo>
                    <a:pt x="765" y="1145"/>
                  </a:lnTo>
                  <a:lnTo>
                    <a:pt x="766" y="1145"/>
                  </a:lnTo>
                  <a:lnTo>
                    <a:pt x="770" y="1145"/>
                  </a:lnTo>
                  <a:lnTo>
                    <a:pt x="772" y="1144"/>
                  </a:lnTo>
                  <a:lnTo>
                    <a:pt x="776" y="1142"/>
                  </a:lnTo>
                  <a:lnTo>
                    <a:pt x="777" y="1141"/>
                  </a:lnTo>
                  <a:lnTo>
                    <a:pt x="776" y="1140"/>
                  </a:lnTo>
                  <a:lnTo>
                    <a:pt x="774" y="1138"/>
                  </a:lnTo>
                  <a:lnTo>
                    <a:pt x="774" y="1136"/>
                  </a:lnTo>
                  <a:lnTo>
                    <a:pt x="777" y="1139"/>
                  </a:lnTo>
                  <a:lnTo>
                    <a:pt x="778" y="1138"/>
                  </a:lnTo>
                  <a:lnTo>
                    <a:pt x="778" y="1135"/>
                  </a:lnTo>
                  <a:lnTo>
                    <a:pt x="778" y="1134"/>
                  </a:lnTo>
                  <a:lnTo>
                    <a:pt x="778" y="1133"/>
                  </a:lnTo>
                  <a:lnTo>
                    <a:pt x="778" y="1130"/>
                  </a:lnTo>
                  <a:lnTo>
                    <a:pt x="777" y="1128"/>
                  </a:lnTo>
                  <a:lnTo>
                    <a:pt x="777" y="1127"/>
                  </a:lnTo>
                  <a:lnTo>
                    <a:pt x="777" y="1126"/>
                  </a:lnTo>
                  <a:lnTo>
                    <a:pt x="777" y="1124"/>
                  </a:lnTo>
                  <a:lnTo>
                    <a:pt x="777" y="1122"/>
                  </a:lnTo>
                  <a:lnTo>
                    <a:pt x="778" y="1121"/>
                  </a:lnTo>
                  <a:lnTo>
                    <a:pt x="779" y="1120"/>
                  </a:lnTo>
                  <a:lnTo>
                    <a:pt x="779" y="1117"/>
                  </a:lnTo>
                  <a:lnTo>
                    <a:pt x="779" y="1109"/>
                  </a:lnTo>
                  <a:lnTo>
                    <a:pt x="780" y="1108"/>
                  </a:lnTo>
                  <a:lnTo>
                    <a:pt x="780" y="1106"/>
                  </a:lnTo>
                  <a:lnTo>
                    <a:pt x="782" y="1105"/>
                  </a:lnTo>
                  <a:lnTo>
                    <a:pt x="783" y="1105"/>
                  </a:lnTo>
                  <a:lnTo>
                    <a:pt x="783" y="1104"/>
                  </a:lnTo>
                  <a:lnTo>
                    <a:pt x="784" y="1105"/>
                  </a:lnTo>
                  <a:lnTo>
                    <a:pt x="784" y="1104"/>
                  </a:lnTo>
                  <a:lnTo>
                    <a:pt x="785" y="1103"/>
                  </a:lnTo>
                  <a:lnTo>
                    <a:pt x="786" y="1103"/>
                  </a:lnTo>
                  <a:lnTo>
                    <a:pt x="786" y="1102"/>
                  </a:lnTo>
                  <a:lnTo>
                    <a:pt x="788" y="1102"/>
                  </a:lnTo>
                  <a:lnTo>
                    <a:pt x="789" y="1100"/>
                  </a:lnTo>
                  <a:lnTo>
                    <a:pt x="791" y="1099"/>
                  </a:lnTo>
                  <a:lnTo>
                    <a:pt x="792" y="1097"/>
                  </a:lnTo>
                  <a:lnTo>
                    <a:pt x="794" y="1097"/>
                  </a:lnTo>
                  <a:lnTo>
                    <a:pt x="794" y="1094"/>
                  </a:lnTo>
                  <a:lnTo>
                    <a:pt x="792" y="1094"/>
                  </a:lnTo>
                  <a:lnTo>
                    <a:pt x="790" y="1094"/>
                  </a:lnTo>
                  <a:lnTo>
                    <a:pt x="788" y="1094"/>
                  </a:lnTo>
                  <a:lnTo>
                    <a:pt x="783" y="1096"/>
                  </a:lnTo>
                  <a:lnTo>
                    <a:pt x="779" y="1098"/>
                  </a:lnTo>
                  <a:lnTo>
                    <a:pt x="774" y="1099"/>
                  </a:lnTo>
                  <a:lnTo>
                    <a:pt x="771" y="1102"/>
                  </a:lnTo>
                  <a:lnTo>
                    <a:pt x="767" y="1103"/>
                  </a:lnTo>
                  <a:lnTo>
                    <a:pt x="761" y="1104"/>
                  </a:lnTo>
                  <a:lnTo>
                    <a:pt x="756" y="1106"/>
                  </a:lnTo>
                  <a:lnTo>
                    <a:pt x="752" y="1108"/>
                  </a:lnTo>
                  <a:lnTo>
                    <a:pt x="748" y="1109"/>
                  </a:lnTo>
                  <a:lnTo>
                    <a:pt x="744" y="1108"/>
                  </a:lnTo>
                  <a:lnTo>
                    <a:pt x="737" y="1109"/>
                  </a:lnTo>
                  <a:lnTo>
                    <a:pt x="731" y="1109"/>
                  </a:lnTo>
                  <a:lnTo>
                    <a:pt x="725" y="1109"/>
                  </a:lnTo>
                  <a:lnTo>
                    <a:pt x="720" y="1108"/>
                  </a:lnTo>
                  <a:lnTo>
                    <a:pt x="717" y="1106"/>
                  </a:lnTo>
                  <a:lnTo>
                    <a:pt x="712" y="1105"/>
                  </a:lnTo>
                  <a:lnTo>
                    <a:pt x="701" y="1105"/>
                  </a:lnTo>
                  <a:lnTo>
                    <a:pt x="700" y="1104"/>
                  </a:lnTo>
                  <a:lnTo>
                    <a:pt x="696" y="1103"/>
                  </a:lnTo>
                  <a:lnTo>
                    <a:pt x="694" y="1100"/>
                  </a:lnTo>
                  <a:lnTo>
                    <a:pt x="694" y="1098"/>
                  </a:lnTo>
                  <a:lnTo>
                    <a:pt x="693" y="1097"/>
                  </a:lnTo>
                  <a:lnTo>
                    <a:pt x="693" y="1094"/>
                  </a:lnTo>
                  <a:lnTo>
                    <a:pt x="691" y="1093"/>
                  </a:lnTo>
                  <a:lnTo>
                    <a:pt x="691" y="1091"/>
                  </a:lnTo>
                  <a:lnTo>
                    <a:pt x="693" y="1091"/>
                  </a:lnTo>
                  <a:lnTo>
                    <a:pt x="694" y="1093"/>
                  </a:lnTo>
                  <a:lnTo>
                    <a:pt x="695" y="1092"/>
                  </a:lnTo>
                  <a:lnTo>
                    <a:pt x="696" y="1092"/>
                  </a:lnTo>
                  <a:lnTo>
                    <a:pt x="697" y="1091"/>
                  </a:lnTo>
                  <a:lnTo>
                    <a:pt x="699" y="1091"/>
                  </a:lnTo>
                  <a:lnTo>
                    <a:pt x="700" y="1090"/>
                  </a:lnTo>
                  <a:lnTo>
                    <a:pt x="700" y="1088"/>
                  </a:lnTo>
                  <a:lnTo>
                    <a:pt x="702" y="1087"/>
                  </a:lnTo>
                  <a:lnTo>
                    <a:pt x="703" y="1087"/>
                  </a:lnTo>
                  <a:lnTo>
                    <a:pt x="705" y="1086"/>
                  </a:lnTo>
                  <a:lnTo>
                    <a:pt x="705" y="1087"/>
                  </a:lnTo>
                  <a:lnTo>
                    <a:pt x="706" y="1087"/>
                  </a:lnTo>
                  <a:lnTo>
                    <a:pt x="707" y="1087"/>
                  </a:lnTo>
                  <a:lnTo>
                    <a:pt x="708" y="1087"/>
                  </a:lnTo>
                  <a:lnTo>
                    <a:pt x="709" y="1087"/>
                  </a:lnTo>
                  <a:lnTo>
                    <a:pt x="711" y="1087"/>
                  </a:lnTo>
                  <a:lnTo>
                    <a:pt x="713" y="1086"/>
                  </a:lnTo>
                  <a:lnTo>
                    <a:pt x="714" y="1086"/>
                  </a:lnTo>
                  <a:lnTo>
                    <a:pt x="714" y="1085"/>
                  </a:lnTo>
                  <a:lnTo>
                    <a:pt x="714" y="1082"/>
                  </a:lnTo>
                  <a:lnTo>
                    <a:pt x="715" y="1081"/>
                  </a:lnTo>
                  <a:lnTo>
                    <a:pt x="717" y="1082"/>
                  </a:lnTo>
                  <a:lnTo>
                    <a:pt x="715" y="1084"/>
                  </a:lnTo>
                  <a:lnTo>
                    <a:pt x="717" y="1085"/>
                  </a:lnTo>
                  <a:lnTo>
                    <a:pt x="718" y="1084"/>
                  </a:lnTo>
                  <a:lnTo>
                    <a:pt x="719" y="1082"/>
                  </a:lnTo>
                  <a:lnTo>
                    <a:pt x="719" y="1081"/>
                  </a:lnTo>
                  <a:lnTo>
                    <a:pt x="719" y="1080"/>
                  </a:lnTo>
                  <a:lnTo>
                    <a:pt x="720" y="1082"/>
                  </a:lnTo>
                  <a:lnTo>
                    <a:pt x="720" y="1081"/>
                  </a:lnTo>
                  <a:lnTo>
                    <a:pt x="721" y="1081"/>
                  </a:lnTo>
                  <a:lnTo>
                    <a:pt x="723" y="1081"/>
                  </a:lnTo>
                  <a:lnTo>
                    <a:pt x="725" y="1080"/>
                  </a:lnTo>
                  <a:lnTo>
                    <a:pt x="726" y="1078"/>
                  </a:lnTo>
                  <a:lnTo>
                    <a:pt x="726" y="1076"/>
                  </a:lnTo>
                  <a:lnTo>
                    <a:pt x="727" y="1075"/>
                  </a:lnTo>
                  <a:lnTo>
                    <a:pt x="727" y="1073"/>
                  </a:lnTo>
                  <a:lnTo>
                    <a:pt x="729" y="1072"/>
                  </a:lnTo>
                  <a:lnTo>
                    <a:pt x="730" y="1072"/>
                  </a:lnTo>
                  <a:lnTo>
                    <a:pt x="731" y="1070"/>
                  </a:lnTo>
                  <a:lnTo>
                    <a:pt x="731" y="1069"/>
                  </a:lnTo>
                  <a:lnTo>
                    <a:pt x="732" y="1068"/>
                  </a:lnTo>
                  <a:lnTo>
                    <a:pt x="732" y="1067"/>
                  </a:lnTo>
                  <a:lnTo>
                    <a:pt x="733" y="1067"/>
                  </a:lnTo>
                  <a:lnTo>
                    <a:pt x="735" y="1065"/>
                  </a:lnTo>
                  <a:lnTo>
                    <a:pt x="735" y="1064"/>
                  </a:lnTo>
                  <a:lnTo>
                    <a:pt x="735" y="1063"/>
                  </a:lnTo>
                  <a:lnTo>
                    <a:pt x="735" y="1064"/>
                  </a:lnTo>
                  <a:lnTo>
                    <a:pt x="736" y="1064"/>
                  </a:lnTo>
                  <a:lnTo>
                    <a:pt x="736" y="1063"/>
                  </a:lnTo>
                  <a:lnTo>
                    <a:pt x="737" y="1061"/>
                  </a:lnTo>
                  <a:lnTo>
                    <a:pt x="737" y="1059"/>
                  </a:lnTo>
                  <a:lnTo>
                    <a:pt x="738" y="1058"/>
                  </a:lnTo>
                  <a:lnTo>
                    <a:pt x="737" y="1058"/>
                  </a:lnTo>
                  <a:lnTo>
                    <a:pt x="736" y="1057"/>
                  </a:lnTo>
                  <a:lnTo>
                    <a:pt x="733" y="1058"/>
                  </a:lnTo>
                  <a:lnTo>
                    <a:pt x="731" y="1058"/>
                  </a:lnTo>
                  <a:lnTo>
                    <a:pt x="723" y="1058"/>
                  </a:lnTo>
                  <a:lnTo>
                    <a:pt x="718" y="1059"/>
                  </a:lnTo>
                  <a:lnTo>
                    <a:pt x="714" y="1061"/>
                  </a:lnTo>
                  <a:lnTo>
                    <a:pt x="711" y="1059"/>
                  </a:lnTo>
                  <a:lnTo>
                    <a:pt x="708" y="1059"/>
                  </a:lnTo>
                  <a:lnTo>
                    <a:pt x="706" y="1057"/>
                  </a:lnTo>
                  <a:lnTo>
                    <a:pt x="706" y="1056"/>
                  </a:lnTo>
                  <a:lnTo>
                    <a:pt x="705" y="1055"/>
                  </a:lnTo>
                  <a:lnTo>
                    <a:pt x="706" y="1053"/>
                  </a:lnTo>
                  <a:lnTo>
                    <a:pt x="707" y="1051"/>
                  </a:lnTo>
                  <a:lnTo>
                    <a:pt x="708" y="1050"/>
                  </a:lnTo>
                  <a:lnTo>
                    <a:pt x="709" y="1049"/>
                  </a:lnTo>
                  <a:lnTo>
                    <a:pt x="709" y="1046"/>
                  </a:lnTo>
                  <a:lnTo>
                    <a:pt x="711" y="1046"/>
                  </a:lnTo>
                  <a:lnTo>
                    <a:pt x="712" y="1046"/>
                  </a:lnTo>
                  <a:lnTo>
                    <a:pt x="713" y="1045"/>
                  </a:lnTo>
                  <a:lnTo>
                    <a:pt x="714" y="1045"/>
                  </a:lnTo>
                  <a:lnTo>
                    <a:pt x="714" y="1044"/>
                  </a:lnTo>
                  <a:lnTo>
                    <a:pt x="715" y="1043"/>
                  </a:lnTo>
                  <a:lnTo>
                    <a:pt x="717" y="1043"/>
                  </a:lnTo>
                  <a:lnTo>
                    <a:pt x="717" y="1044"/>
                  </a:lnTo>
                  <a:lnTo>
                    <a:pt x="718" y="1044"/>
                  </a:lnTo>
                  <a:lnTo>
                    <a:pt x="719" y="1044"/>
                  </a:lnTo>
                  <a:lnTo>
                    <a:pt x="720" y="1043"/>
                  </a:lnTo>
                  <a:lnTo>
                    <a:pt x="721" y="1041"/>
                  </a:lnTo>
                  <a:lnTo>
                    <a:pt x="724" y="1041"/>
                  </a:lnTo>
                  <a:lnTo>
                    <a:pt x="724" y="1040"/>
                  </a:lnTo>
                  <a:lnTo>
                    <a:pt x="725" y="1040"/>
                  </a:lnTo>
                  <a:lnTo>
                    <a:pt x="726" y="1039"/>
                  </a:lnTo>
                  <a:lnTo>
                    <a:pt x="726" y="1038"/>
                  </a:lnTo>
                  <a:lnTo>
                    <a:pt x="727" y="1037"/>
                  </a:lnTo>
                  <a:lnTo>
                    <a:pt x="729" y="1035"/>
                  </a:lnTo>
                  <a:lnTo>
                    <a:pt x="731" y="1034"/>
                  </a:lnTo>
                  <a:lnTo>
                    <a:pt x="732" y="1033"/>
                  </a:lnTo>
                  <a:lnTo>
                    <a:pt x="733" y="1033"/>
                  </a:lnTo>
                  <a:lnTo>
                    <a:pt x="736" y="1032"/>
                  </a:lnTo>
                  <a:lnTo>
                    <a:pt x="736" y="1031"/>
                  </a:lnTo>
                  <a:lnTo>
                    <a:pt x="736" y="1029"/>
                  </a:lnTo>
                  <a:lnTo>
                    <a:pt x="737" y="1029"/>
                  </a:lnTo>
                  <a:lnTo>
                    <a:pt x="738" y="1027"/>
                  </a:lnTo>
                  <a:lnTo>
                    <a:pt x="739" y="1027"/>
                  </a:lnTo>
                  <a:lnTo>
                    <a:pt x="741" y="1025"/>
                  </a:lnTo>
                  <a:lnTo>
                    <a:pt x="741" y="1023"/>
                  </a:lnTo>
                  <a:lnTo>
                    <a:pt x="741" y="1020"/>
                  </a:lnTo>
                  <a:lnTo>
                    <a:pt x="742" y="1019"/>
                  </a:lnTo>
                  <a:lnTo>
                    <a:pt x="742" y="1017"/>
                  </a:lnTo>
                  <a:lnTo>
                    <a:pt x="743" y="1015"/>
                  </a:lnTo>
                  <a:lnTo>
                    <a:pt x="744" y="1014"/>
                  </a:lnTo>
                  <a:lnTo>
                    <a:pt x="745" y="1013"/>
                  </a:lnTo>
                  <a:lnTo>
                    <a:pt x="745" y="1010"/>
                  </a:lnTo>
                  <a:lnTo>
                    <a:pt x="744" y="1010"/>
                  </a:lnTo>
                  <a:lnTo>
                    <a:pt x="743" y="1010"/>
                  </a:lnTo>
                  <a:lnTo>
                    <a:pt x="741" y="1013"/>
                  </a:lnTo>
                  <a:lnTo>
                    <a:pt x="739" y="1014"/>
                  </a:lnTo>
                  <a:lnTo>
                    <a:pt x="738" y="1014"/>
                  </a:lnTo>
                  <a:lnTo>
                    <a:pt x="737" y="1014"/>
                  </a:lnTo>
                  <a:lnTo>
                    <a:pt x="737" y="1013"/>
                  </a:lnTo>
                  <a:lnTo>
                    <a:pt x="738" y="1011"/>
                  </a:lnTo>
                  <a:lnTo>
                    <a:pt x="739" y="1011"/>
                  </a:lnTo>
                  <a:lnTo>
                    <a:pt x="741" y="1010"/>
                  </a:lnTo>
                  <a:lnTo>
                    <a:pt x="742" y="1010"/>
                  </a:lnTo>
                  <a:lnTo>
                    <a:pt x="743" y="1009"/>
                  </a:lnTo>
                  <a:lnTo>
                    <a:pt x="742" y="1009"/>
                  </a:lnTo>
                  <a:lnTo>
                    <a:pt x="739" y="1007"/>
                  </a:lnTo>
                  <a:lnTo>
                    <a:pt x="738" y="1005"/>
                  </a:lnTo>
                  <a:lnTo>
                    <a:pt x="736" y="1005"/>
                  </a:lnTo>
                  <a:lnTo>
                    <a:pt x="735" y="1003"/>
                  </a:lnTo>
                  <a:lnTo>
                    <a:pt x="736" y="1004"/>
                  </a:lnTo>
                  <a:lnTo>
                    <a:pt x="739" y="1003"/>
                  </a:lnTo>
                  <a:lnTo>
                    <a:pt x="739" y="1002"/>
                  </a:lnTo>
                  <a:lnTo>
                    <a:pt x="741" y="1002"/>
                  </a:lnTo>
                  <a:lnTo>
                    <a:pt x="742" y="1001"/>
                  </a:lnTo>
                  <a:lnTo>
                    <a:pt x="741" y="1001"/>
                  </a:lnTo>
                  <a:lnTo>
                    <a:pt x="738" y="1001"/>
                  </a:lnTo>
                  <a:lnTo>
                    <a:pt x="738" y="999"/>
                  </a:lnTo>
                  <a:lnTo>
                    <a:pt x="739" y="999"/>
                  </a:lnTo>
                  <a:lnTo>
                    <a:pt x="741" y="998"/>
                  </a:lnTo>
                  <a:lnTo>
                    <a:pt x="742" y="998"/>
                  </a:lnTo>
                  <a:lnTo>
                    <a:pt x="742" y="997"/>
                  </a:lnTo>
                  <a:lnTo>
                    <a:pt x="741" y="997"/>
                  </a:lnTo>
                  <a:lnTo>
                    <a:pt x="739" y="997"/>
                  </a:lnTo>
                  <a:lnTo>
                    <a:pt x="739" y="995"/>
                  </a:lnTo>
                  <a:lnTo>
                    <a:pt x="739" y="993"/>
                  </a:lnTo>
                  <a:lnTo>
                    <a:pt x="738" y="993"/>
                  </a:lnTo>
                  <a:lnTo>
                    <a:pt x="737" y="996"/>
                  </a:lnTo>
                  <a:lnTo>
                    <a:pt x="736" y="995"/>
                  </a:lnTo>
                  <a:lnTo>
                    <a:pt x="735" y="993"/>
                  </a:lnTo>
                  <a:lnTo>
                    <a:pt x="733" y="993"/>
                  </a:lnTo>
                  <a:lnTo>
                    <a:pt x="733" y="996"/>
                  </a:lnTo>
                  <a:lnTo>
                    <a:pt x="733" y="999"/>
                  </a:lnTo>
                  <a:lnTo>
                    <a:pt x="732" y="1002"/>
                  </a:lnTo>
                  <a:lnTo>
                    <a:pt x="730" y="1002"/>
                  </a:lnTo>
                  <a:lnTo>
                    <a:pt x="729" y="1005"/>
                  </a:lnTo>
                  <a:lnTo>
                    <a:pt x="726" y="1007"/>
                  </a:lnTo>
                  <a:lnTo>
                    <a:pt x="724" y="1007"/>
                  </a:lnTo>
                  <a:lnTo>
                    <a:pt x="723" y="1008"/>
                  </a:lnTo>
                  <a:lnTo>
                    <a:pt x="721" y="1009"/>
                  </a:lnTo>
                  <a:lnTo>
                    <a:pt x="719" y="1010"/>
                  </a:lnTo>
                  <a:lnTo>
                    <a:pt x="718" y="1010"/>
                  </a:lnTo>
                  <a:lnTo>
                    <a:pt x="715" y="1011"/>
                  </a:lnTo>
                  <a:lnTo>
                    <a:pt x="713" y="1013"/>
                  </a:lnTo>
                  <a:lnTo>
                    <a:pt x="709" y="1013"/>
                  </a:lnTo>
                  <a:lnTo>
                    <a:pt x="708" y="1014"/>
                  </a:lnTo>
                  <a:lnTo>
                    <a:pt x="706" y="1015"/>
                  </a:lnTo>
                  <a:lnTo>
                    <a:pt x="705" y="1014"/>
                  </a:lnTo>
                  <a:lnTo>
                    <a:pt x="706" y="1014"/>
                  </a:lnTo>
                  <a:lnTo>
                    <a:pt x="706" y="1013"/>
                  </a:lnTo>
                  <a:lnTo>
                    <a:pt x="707" y="1011"/>
                  </a:lnTo>
                  <a:lnTo>
                    <a:pt x="707" y="1010"/>
                  </a:lnTo>
                  <a:lnTo>
                    <a:pt x="706" y="1009"/>
                  </a:lnTo>
                  <a:lnTo>
                    <a:pt x="706" y="1007"/>
                  </a:lnTo>
                  <a:lnTo>
                    <a:pt x="705" y="1005"/>
                  </a:lnTo>
                  <a:lnTo>
                    <a:pt x="705" y="1004"/>
                  </a:lnTo>
                  <a:lnTo>
                    <a:pt x="706" y="1005"/>
                  </a:lnTo>
                  <a:lnTo>
                    <a:pt x="707" y="1003"/>
                  </a:lnTo>
                  <a:lnTo>
                    <a:pt x="707" y="1004"/>
                  </a:lnTo>
                  <a:lnTo>
                    <a:pt x="708" y="1003"/>
                  </a:lnTo>
                  <a:lnTo>
                    <a:pt x="708" y="1002"/>
                  </a:lnTo>
                  <a:lnTo>
                    <a:pt x="707" y="1002"/>
                  </a:lnTo>
                  <a:lnTo>
                    <a:pt x="707" y="1001"/>
                  </a:lnTo>
                  <a:lnTo>
                    <a:pt x="707" y="999"/>
                  </a:lnTo>
                  <a:lnTo>
                    <a:pt x="708" y="998"/>
                  </a:lnTo>
                  <a:lnTo>
                    <a:pt x="707" y="997"/>
                  </a:lnTo>
                  <a:lnTo>
                    <a:pt x="705" y="997"/>
                  </a:lnTo>
                  <a:lnTo>
                    <a:pt x="703" y="997"/>
                  </a:lnTo>
                  <a:lnTo>
                    <a:pt x="702" y="997"/>
                  </a:lnTo>
                  <a:lnTo>
                    <a:pt x="701" y="998"/>
                  </a:lnTo>
                  <a:lnTo>
                    <a:pt x="700" y="998"/>
                  </a:lnTo>
                  <a:lnTo>
                    <a:pt x="697" y="999"/>
                  </a:lnTo>
                  <a:lnTo>
                    <a:pt x="696" y="999"/>
                  </a:lnTo>
                  <a:lnTo>
                    <a:pt x="696" y="998"/>
                  </a:lnTo>
                  <a:lnTo>
                    <a:pt x="699" y="997"/>
                  </a:lnTo>
                  <a:lnTo>
                    <a:pt x="699" y="996"/>
                  </a:lnTo>
                  <a:lnTo>
                    <a:pt x="699" y="995"/>
                  </a:lnTo>
                  <a:lnTo>
                    <a:pt x="697" y="993"/>
                  </a:lnTo>
                  <a:lnTo>
                    <a:pt x="697" y="991"/>
                  </a:lnTo>
                  <a:lnTo>
                    <a:pt x="696" y="989"/>
                  </a:lnTo>
                  <a:lnTo>
                    <a:pt x="695" y="987"/>
                  </a:lnTo>
                  <a:lnTo>
                    <a:pt x="694" y="987"/>
                  </a:lnTo>
                  <a:lnTo>
                    <a:pt x="694" y="986"/>
                  </a:lnTo>
                  <a:lnTo>
                    <a:pt x="693" y="987"/>
                  </a:lnTo>
                  <a:lnTo>
                    <a:pt x="693" y="989"/>
                  </a:lnTo>
                  <a:lnTo>
                    <a:pt x="693" y="990"/>
                  </a:lnTo>
                  <a:lnTo>
                    <a:pt x="691" y="992"/>
                  </a:lnTo>
                  <a:lnTo>
                    <a:pt x="690" y="993"/>
                  </a:lnTo>
                  <a:lnTo>
                    <a:pt x="689" y="993"/>
                  </a:lnTo>
                  <a:lnTo>
                    <a:pt x="688" y="993"/>
                  </a:lnTo>
                  <a:lnTo>
                    <a:pt x="688" y="995"/>
                  </a:lnTo>
                  <a:lnTo>
                    <a:pt x="685" y="996"/>
                  </a:lnTo>
                  <a:lnTo>
                    <a:pt x="685" y="997"/>
                  </a:lnTo>
                  <a:lnTo>
                    <a:pt x="686" y="997"/>
                  </a:lnTo>
                  <a:lnTo>
                    <a:pt x="688" y="996"/>
                  </a:lnTo>
                  <a:lnTo>
                    <a:pt x="688" y="997"/>
                  </a:lnTo>
                  <a:lnTo>
                    <a:pt x="688" y="998"/>
                  </a:lnTo>
                  <a:lnTo>
                    <a:pt x="686" y="998"/>
                  </a:lnTo>
                  <a:lnTo>
                    <a:pt x="686" y="999"/>
                  </a:lnTo>
                  <a:lnTo>
                    <a:pt x="686" y="1001"/>
                  </a:lnTo>
                  <a:lnTo>
                    <a:pt x="688" y="1001"/>
                  </a:lnTo>
                  <a:lnTo>
                    <a:pt x="688" y="1002"/>
                  </a:lnTo>
                  <a:lnTo>
                    <a:pt x="686" y="1002"/>
                  </a:lnTo>
                  <a:lnTo>
                    <a:pt x="685" y="1002"/>
                  </a:lnTo>
                  <a:lnTo>
                    <a:pt x="685" y="1003"/>
                  </a:lnTo>
                  <a:lnTo>
                    <a:pt x="685" y="1004"/>
                  </a:lnTo>
                  <a:lnTo>
                    <a:pt x="686" y="1005"/>
                  </a:lnTo>
                  <a:lnTo>
                    <a:pt x="685" y="1007"/>
                  </a:lnTo>
                  <a:lnTo>
                    <a:pt x="683" y="1007"/>
                  </a:lnTo>
                  <a:lnTo>
                    <a:pt x="682" y="1007"/>
                  </a:lnTo>
                  <a:lnTo>
                    <a:pt x="684" y="1008"/>
                  </a:lnTo>
                  <a:lnTo>
                    <a:pt x="685" y="1008"/>
                  </a:lnTo>
                  <a:lnTo>
                    <a:pt x="686" y="1009"/>
                  </a:lnTo>
                  <a:lnTo>
                    <a:pt x="685" y="1011"/>
                  </a:lnTo>
                  <a:lnTo>
                    <a:pt x="684" y="1011"/>
                  </a:lnTo>
                  <a:lnTo>
                    <a:pt x="683" y="1010"/>
                  </a:lnTo>
                  <a:lnTo>
                    <a:pt x="683" y="1011"/>
                  </a:lnTo>
                  <a:lnTo>
                    <a:pt x="682" y="1013"/>
                  </a:lnTo>
                  <a:lnTo>
                    <a:pt x="679" y="1014"/>
                  </a:lnTo>
                  <a:lnTo>
                    <a:pt x="677" y="1014"/>
                  </a:lnTo>
                  <a:lnTo>
                    <a:pt x="674" y="1015"/>
                  </a:lnTo>
                  <a:lnTo>
                    <a:pt x="672" y="1015"/>
                  </a:lnTo>
                  <a:lnTo>
                    <a:pt x="670" y="1015"/>
                  </a:lnTo>
                  <a:lnTo>
                    <a:pt x="665" y="1016"/>
                  </a:lnTo>
                  <a:lnTo>
                    <a:pt x="661" y="1015"/>
                  </a:lnTo>
                  <a:lnTo>
                    <a:pt x="659" y="1014"/>
                  </a:lnTo>
                  <a:lnTo>
                    <a:pt x="656" y="1014"/>
                  </a:lnTo>
                  <a:lnTo>
                    <a:pt x="653" y="1014"/>
                  </a:lnTo>
                  <a:lnTo>
                    <a:pt x="650" y="1013"/>
                  </a:lnTo>
                  <a:lnTo>
                    <a:pt x="648" y="1010"/>
                  </a:lnTo>
                  <a:lnTo>
                    <a:pt x="648" y="1009"/>
                  </a:lnTo>
                  <a:lnTo>
                    <a:pt x="648" y="1008"/>
                  </a:lnTo>
                  <a:lnTo>
                    <a:pt x="650" y="1008"/>
                  </a:lnTo>
                  <a:lnTo>
                    <a:pt x="650" y="1004"/>
                  </a:lnTo>
                  <a:lnTo>
                    <a:pt x="652" y="1005"/>
                  </a:lnTo>
                  <a:lnTo>
                    <a:pt x="652" y="1008"/>
                  </a:lnTo>
                  <a:lnTo>
                    <a:pt x="653" y="1009"/>
                  </a:lnTo>
                  <a:lnTo>
                    <a:pt x="655" y="1011"/>
                  </a:lnTo>
                  <a:lnTo>
                    <a:pt x="656" y="1013"/>
                  </a:lnTo>
                  <a:lnTo>
                    <a:pt x="658" y="1013"/>
                  </a:lnTo>
                  <a:lnTo>
                    <a:pt x="658" y="1010"/>
                  </a:lnTo>
                  <a:lnTo>
                    <a:pt x="655" y="1008"/>
                  </a:lnTo>
                  <a:lnTo>
                    <a:pt x="653" y="1005"/>
                  </a:lnTo>
                  <a:lnTo>
                    <a:pt x="653" y="1003"/>
                  </a:lnTo>
                  <a:lnTo>
                    <a:pt x="652" y="1001"/>
                  </a:lnTo>
                  <a:lnTo>
                    <a:pt x="653" y="1001"/>
                  </a:lnTo>
                  <a:lnTo>
                    <a:pt x="654" y="1002"/>
                  </a:lnTo>
                  <a:lnTo>
                    <a:pt x="654" y="1003"/>
                  </a:lnTo>
                  <a:lnTo>
                    <a:pt x="655" y="1003"/>
                  </a:lnTo>
                  <a:lnTo>
                    <a:pt x="655" y="1002"/>
                  </a:lnTo>
                  <a:lnTo>
                    <a:pt x="656" y="1001"/>
                  </a:lnTo>
                  <a:lnTo>
                    <a:pt x="658" y="1002"/>
                  </a:lnTo>
                  <a:lnTo>
                    <a:pt x="659" y="1003"/>
                  </a:lnTo>
                  <a:lnTo>
                    <a:pt x="660" y="1001"/>
                  </a:lnTo>
                  <a:lnTo>
                    <a:pt x="660" y="999"/>
                  </a:lnTo>
                  <a:lnTo>
                    <a:pt x="659" y="997"/>
                  </a:lnTo>
                  <a:lnTo>
                    <a:pt x="656" y="995"/>
                  </a:lnTo>
                  <a:lnTo>
                    <a:pt x="655" y="993"/>
                  </a:lnTo>
                  <a:lnTo>
                    <a:pt x="656" y="991"/>
                  </a:lnTo>
                  <a:lnTo>
                    <a:pt x="656" y="992"/>
                  </a:lnTo>
                  <a:lnTo>
                    <a:pt x="658" y="993"/>
                  </a:lnTo>
                  <a:lnTo>
                    <a:pt x="659" y="995"/>
                  </a:lnTo>
                  <a:lnTo>
                    <a:pt x="660" y="996"/>
                  </a:lnTo>
                  <a:lnTo>
                    <a:pt x="661" y="995"/>
                  </a:lnTo>
                  <a:lnTo>
                    <a:pt x="661" y="993"/>
                  </a:lnTo>
                  <a:lnTo>
                    <a:pt x="662" y="993"/>
                  </a:lnTo>
                  <a:lnTo>
                    <a:pt x="664" y="995"/>
                  </a:lnTo>
                  <a:lnTo>
                    <a:pt x="665" y="996"/>
                  </a:lnTo>
                  <a:lnTo>
                    <a:pt x="666" y="995"/>
                  </a:lnTo>
                  <a:lnTo>
                    <a:pt x="666" y="993"/>
                  </a:lnTo>
                  <a:lnTo>
                    <a:pt x="667" y="992"/>
                  </a:lnTo>
                  <a:lnTo>
                    <a:pt x="667" y="990"/>
                  </a:lnTo>
                  <a:lnTo>
                    <a:pt x="666" y="987"/>
                  </a:lnTo>
                  <a:lnTo>
                    <a:pt x="665" y="986"/>
                  </a:lnTo>
                  <a:lnTo>
                    <a:pt x="665" y="984"/>
                  </a:lnTo>
                  <a:lnTo>
                    <a:pt x="666" y="984"/>
                  </a:lnTo>
                  <a:lnTo>
                    <a:pt x="667" y="985"/>
                  </a:lnTo>
                  <a:lnTo>
                    <a:pt x="670" y="984"/>
                  </a:lnTo>
                  <a:lnTo>
                    <a:pt x="672" y="985"/>
                  </a:lnTo>
                  <a:lnTo>
                    <a:pt x="674" y="986"/>
                  </a:lnTo>
                  <a:lnTo>
                    <a:pt x="676" y="985"/>
                  </a:lnTo>
                  <a:lnTo>
                    <a:pt x="677" y="984"/>
                  </a:lnTo>
                  <a:lnTo>
                    <a:pt x="678" y="984"/>
                  </a:lnTo>
                  <a:lnTo>
                    <a:pt x="678" y="983"/>
                  </a:lnTo>
                  <a:lnTo>
                    <a:pt x="676" y="981"/>
                  </a:lnTo>
                  <a:lnTo>
                    <a:pt x="673" y="981"/>
                  </a:lnTo>
                  <a:lnTo>
                    <a:pt x="671" y="980"/>
                  </a:lnTo>
                  <a:lnTo>
                    <a:pt x="668" y="979"/>
                  </a:lnTo>
                  <a:lnTo>
                    <a:pt x="667" y="977"/>
                  </a:lnTo>
                  <a:lnTo>
                    <a:pt x="667" y="975"/>
                  </a:lnTo>
                  <a:lnTo>
                    <a:pt x="666" y="975"/>
                  </a:lnTo>
                  <a:lnTo>
                    <a:pt x="666" y="974"/>
                  </a:lnTo>
                  <a:lnTo>
                    <a:pt x="667" y="974"/>
                  </a:lnTo>
                  <a:lnTo>
                    <a:pt x="668" y="975"/>
                  </a:lnTo>
                  <a:lnTo>
                    <a:pt x="671" y="977"/>
                  </a:lnTo>
                  <a:lnTo>
                    <a:pt x="672" y="977"/>
                  </a:lnTo>
                  <a:lnTo>
                    <a:pt x="673" y="979"/>
                  </a:lnTo>
                  <a:lnTo>
                    <a:pt x="674" y="979"/>
                  </a:lnTo>
                  <a:lnTo>
                    <a:pt x="676" y="978"/>
                  </a:lnTo>
                  <a:lnTo>
                    <a:pt x="676" y="977"/>
                  </a:lnTo>
                  <a:lnTo>
                    <a:pt x="674" y="975"/>
                  </a:lnTo>
                  <a:lnTo>
                    <a:pt x="673" y="974"/>
                  </a:lnTo>
                  <a:lnTo>
                    <a:pt x="670" y="973"/>
                  </a:lnTo>
                  <a:lnTo>
                    <a:pt x="668" y="972"/>
                  </a:lnTo>
                  <a:lnTo>
                    <a:pt x="667" y="972"/>
                  </a:lnTo>
                  <a:lnTo>
                    <a:pt x="665" y="971"/>
                  </a:lnTo>
                  <a:lnTo>
                    <a:pt x="664" y="969"/>
                  </a:lnTo>
                  <a:lnTo>
                    <a:pt x="664" y="968"/>
                  </a:lnTo>
                  <a:lnTo>
                    <a:pt x="665" y="969"/>
                  </a:lnTo>
                  <a:lnTo>
                    <a:pt x="666" y="969"/>
                  </a:lnTo>
                  <a:lnTo>
                    <a:pt x="667" y="971"/>
                  </a:lnTo>
                  <a:lnTo>
                    <a:pt x="668" y="972"/>
                  </a:lnTo>
                  <a:lnTo>
                    <a:pt x="670" y="971"/>
                  </a:lnTo>
                  <a:lnTo>
                    <a:pt x="672" y="971"/>
                  </a:lnTo>
                  <a:lnTo>
                    <a:pt x="674" y="971"/>
                  </a:lnTo>
                  <a:lnTo>
                    <a:pt x="673" y="968"/>
                  </a:lnTo>
                  <a:lnTo>
                    <a:pt x="672" y="967"/>
                  </a:lnTo>
                  <a:lnTo>
                    <a:pt x="673" y="965"/>
                  </a:lnTo>
                  <a:lnTo>
                    <a:pt x="676" y="966"/>
                  </a:lnTo>
                  <a:lnTo>
                    <a:pt x="674" y="965"/>
                  </a:lnTo>
                  <a:lnTo>
                    <a:pt x="673" y="962"/>
                  </a:lnTo>
                  <a:lnTo>
                    <a:pt x="676" y="961"/>
                  </a:lnTo>
                  <a:lnTo>
                    <a:pt x="677" y="960"/>
                  </a:lnTo>
                  <a:lnTo>
                    <a:pt x="677" y="959"/>
                  </a:lnTo>
                  <a:lnTo>
                    <a:pt x="673" y="959"/>
                  </a:lnTo>
                  <a:lnTo>
                    <a:pt x="672" y="959"/>
                  </a:lnTo>
                  <a:lnTo>
                    <a:pt x="670" y="957"/>
                  </a:lnTo>
                  <a:lnTo>
                    <a:pt x="665" y="952"/>
                  </a:lnTo>
                  <a:lnTo>
                    <a:pt x="661" y="950"/>
                  </a:lnTo>
                  <a:lnTo>
                    <a:pt x="660" y="948"/>
                  </a:lnTo>
                  <a:lnTo>
                    <a:pt x="661" y="943"/>
                  </a:lnTo>
                  <a:lnTo>
                    <a:pt x="661" y="939"/>
                  </a:lnTo>
                  <a:lnTo>
                    <a:pt x="662" y="939"/>
                  </a:lnTo>
                  <a:lnTo>
                    <a:pt x="664" y="944"/>
                  </a:lnTo>
                  <a:lnTo>
                    <a:pt x="664" y="949"/>
                  </a:lnTo>
                  <a:lnTo>
                    <a:pt x="665" y="948"/>
                  </a:lnTo>
                  <a:lnTo>
                    <a:pt x="665" y="946"/>
                  </a:lnTo>
                  <a:lnTo>
                    <a:pt x="666" y="948"/>
                  </a:lnTo>
                  <a:lnTo>
                    <a:pt x="667" y="945"/>
                  </a:lnTo>
                  <a:lnTo>
                    <a:pt x="667" y="942"/>
                  </a:lnTo>
                  <a:lnTo>
                    <a:pt x="668" y="940"/>
                  </a:lnTo>
                  <a:lnTo>
                    <a:pt x="670" y="942"/>
                  </a:lnTo>
                  <a:lnTo>
                    <a:pt x="668" y="948"/>
                  </a:lnTo>
                  <a:lnTo>
                    <a:pt x="670" y="949"/>
                  </a:lnTo>
                  <a:lnTo>
                    <a:pt x="671" y="951"/>
                  </a:lnTo>
                  <a:lnTo>
                    <a:pt x="674" y="952"/>
                  </a:lnTo>
                  <a:lnTo>
                    <a:pt x="674" y="950"/>
                  </a:lnTo>
                  <a:lnTo>
                    <a:pt x="673" y="946"/>
                  </a:lnTo>
                  <a:lnTo>
                    <a:pt x="672" y="944"/>
                  </a:lnTo>
                  <a:lnTo>
                    <a:pt x="671" y="940"/>
                  </a:lnTo>
                  <a:lnTo>
                    <a:pt x="667" y="938"/>
                  </a:lnTo>
                  <a:lnTo>
                    <a:pt x="666" y="936"/>
                  </a:lnTo>
                  <a:lnTo>
                    <a:pt x="666" y="934"/>
                  </a:lnTo>
                  <a:lnTo>
                    <a:pt x="668" y="937"/>
                  </a:lnTo>
                  <a:lnTo>
                    <a:pt x="668" y="933"/>
                  </a:lnTo>
                  <a:lnTo>
                    <a:pt x="668" y="932"/>
                  </a:lnTo>
                  <a:lnTo>
                    <a:pt x="670" y="932"/>
                  </a:lnTo>
                  <a:lnTo>
                    <a:pt x="671" y="936"/>
                  </a:lnTo>
                  <a:lnTo>
                    <a:pt x="671" y="938"/>
                  </a:lnTo>
                  <a:lnTo>
                    <a:pt x="672" y="940"/>
                  </a:lnTo>
                  <a:lnTo>
                    <a:pt x="672" y="942"/>
                  </a:lnTo>
                  <a:lnTo>
                    <a:pt x="673" y="943"/>
                  </a:lnTo>
                  <a:lnTo>
                    <a:pt x="674" y="944"/>
                  </a:lnTo>
                  <a:lnTo>
                    <a:pt x="676" y="940"/>
                  </a:lnTo>
                  <a:lnTo>
                    <a:pt x="676" y="937"/>
                  </a:lnTo>
                  <a:lnTo>
                    <a:pt x="677" y="936"/>
                  </a:lnTo>
                  <a:lnTo>
                    <a:pt x="677" y="934"/>
                  </a:lnTo>
                  <a:lnTo>
                    <a:pt x="674" y="933"/>
                  </a:lnTo>
                  <a:lnTo>
                    <a:pt x="674" y="932"/>
                  </a:lnTo>
                  <a:lnTo>
                    <a:pt x="674" y="928"/>
                  </a:lnTo>
                  <a:lnTo>
                    <a:pt x="674" y="930"/>
                  </a:lnTo>
                  <a:lnTo>
                    <a:pt x="676" y="932"/>
                  </a:lnTo>
                  <a:lnTo>
                    <a:pt x="677" y="933"/>
                  </a:lnTo>
                  <a:lnTo>
                    <a:pt x="679" y="934"/>
                  </a:lnTo>
                  <a:lnTo>
                    <a:pt x="680" y="936"/>
                  </a:lnTo>
                  <a:lnTo>
                    <a:pt x="682" y="938"/>
                  </a:lnTo>
                  <a:lnTo>
                    <a:pt x="683" y="939"/>
                  </a:lnTo>
                  <a:lnTo>
                    <a:pt x="684" y="938"/>
                  </a:lnTo>
                  <a:lnTo>
                    <a:pt x="684" y="942"/>
                  </a:lnTo>
                  <a:lnTo>
                    <a:pt x="685" y="942"/>
                  </a:lnTo>
                  <a:lnTo>
                    <a:pt x="686" y="939"/>
                  </a:lnTo>
                  <a:lnTo>
                    <a:pt x="688" y="938"/>
                  </a:lnTo>
                  <a:lnTo>
                    <a:pt x="688" y="936"/>
                  </a:lnTo>
                  <a:lnTo>
                    <a:pt x="688" y="934"/>
                  </a:lnTo>
                  <a:lnTo>
                    <a:pt x="689" y="936"/>
                  </a:lnTo>
                  <a:lnTo>
                    <a:pt x="690" y="943"/>
                  </a:lnTo>
                  <a:lnTo>
                    <a:pt x="690" y="945"/>
                  </a:lnTo>
                  <a:lnTo>
                    <a:pt x="691" y="945"/>
                  </a:lnTo>
                  <a:lnTo>
                    <a:pt x="691" y="944"/>
                  </a:lnTo>
                  <a:lnTo>
                    <a:pt x="691" y="940"/>
                  </a:lnTo>
                  <a:lnTo>
                    <a:pt x="693" y="939"/>
                  </a:lnTo>
                  <a:lnTo>
                    <a:pt x="694" y="936"/>
                  </a:lnTo>
                  <a:lnTo>
                    <a:pt x="695" y="936"/>
                  </a:lnTo>
                  <a:lnTo>
                    <a:pt x="696" y="942"/>
                  </a:lnTo>
                  <a:lnTo>
                    <a:pt x="697" y="940"/>
                  </a:lnTo>
                  <a:lnTo>
                    <a:pt x="699" y="939"/>
                  </a:lnTo>
                  <a:lnTo>
                    <a:pt x="699" y="942"/>
                  </a:lnTo>
                  <a:lnTo>
                    <a:pt x="701" y="943"/>
                  </a:lnTo>
                  <a:lnTo>
                    <a:pt x="701" y="940"/>
                  </a:lnTo>
                  <a:lnTo>
                    <a:pt x="701" y="937"/>
                  </a:lnTo>
                  <a:lnTo>
                    <a:pt x="702" y="934"/>
                  </a:lnTo>
                  <a:lnTo>
                    <a:pt x="705" y="933"/>
                  </a:lnTo>
                  <a:lnTo>
                    <a:pt x="703" y="932"/>
                  </a:lnTo>
                  <a:lnTo>
                    <a:pt x="702" y="930"/>
                  </a:lnTo>
                  <a:lnTo>
                    <a:pt x="700" y="927"/>
                  </a:lnTo>
                  <a:lnTo>
                    <a:pt x="701" y="926"/>
                  </a:lnTo>
                  <a:lnTo>
                    <a:pt x="705" y="926"/>
                  </a:lnTo>
                  <a:lnTo>
                    <a:pt x="706" y="925"/>
                  </a:lnTo>
                  <a:lnTo>
                    <a:pt x="707" y="926"/>
                  </a:lnTo>
                  <a:lnTo>
                    <a:pt x="707" y="930"/>
                  </a:lnTo>
                  <a:lnTo>
                    <a:pt x="709" y="931"/>
                  </a:lnTo>
                  <a:lnTo>
                    <a:pt x="711" y="928"/>
                  </a:lnTo>
                  <a:lnTo>
                    <a:pt x="711" y="927"/>
                  </a:lnTo>
                  <a:lnTo>
                    <a:pt x="713" y="930"/>
                  </a:lnTo>
                  <a:lnTo>
                    <a:pt x="719" y="933"/>
                  </a:lnTo>
                  <a:lnTo>
                    <a:pt x="720" y="932"/>
                  </a:lnTo>
                  <a:lnTo>
                    <a:pt x="719" y="930"/>
                  </a:lnTo>
                  <a:lnTo>
                    <a:pt x="717" y="927"/>
                  </a:lnTo>
                  <a:lnTo>
                    <a:pt x="715" y="926"/>
                  </a:lnTo>
                  <a:lnTo>
                    <a:pt x="709" y="924"/>
                  </a:lnTo>
                  <a:lnTo>
                    <a:pt x="707" y="921"/>
                  </a:lnTo>
                  <a:lnTo>
                    <a:pt x="705" y="919"/>
                  </a:lnTo>
                  <a:lnTo>
                    <a:pt x="702" y="916"/>
                  </a:lnTo>
                  <a:lnTo>
                    <a:pt x="702" y="914"/>
                  </a:lnTo>
                  <a:lnTo>
                    <a:pt x="702" y="913"/>
                  </a:lnTo>
                  <a:lnTo>
                    <a:pt x="703" y="913"/>
                  </a:lnTo>
                  <a:lnTo>
                    <a:pt x="705" y="915"/>
                  </a:lnTo>
                  <a:lnTo>
                    <a:pt x="706" y="918"/>
                  </a:lnTo>
                  <a:lnTo>
                    <a:pt x="708" y="919"/>
                  </a:lnTo>
                  <a:lnTo>
                    <a:pt x="709" y="919"/>
                  </a:lnTo>
                  <a:lnTo>
                    <a:pt x="711" y="919"/>
                  </a:lnTo>
                  <a:lnTo>
                    <a:pt x="712" y="920"/>
                  </a:lnTo>
                  <a:lnTo>
                    <a:pt x="712" y="918"/>
                  </a:lnTo>
                  <a:lnTo>
                    <a:pt x="712" y="914"/>
                  </a:lnTo>
                  <a:lnTo>
                    <a:pt x="712" y="912"/>
                  </a:lnTo>
                  <a:lnTo>
                    <a:pt x="713" y="914"/>
                  </a:lnTo>
                  <a:lnTo>
                    <a:pt x="713" y="916"/>
                  </a:lnTo>
                  <a:lnTo>
                    <a:pt x="713" y="920"/>
                  </a:lnTo>
                  <a:lnTo>
                    <a:pt x="714" y="920"/>
                  </a:lnTo>
                  <a:lnTo>
                    <a:pt x="714" y="922"/>
                  </a:lnTo>
                  <a:lnTo>
                    <a:pt x="715" y="925"/>
                  </a:lnTo>
                  <a:lnTo>
                    <a:pt x="717" y="925"/>
                  </a:lnTo>
                  <a:lnTo>
                    <a:pt x="717" y="924"/>
                  </a:lnTo>
                  <a:lnTo>
                    <a:pt x="718" y="922"/>
                  </a:lnTo>
                  <a:lnTo>
                    <a:pt x="717" y="921"/>
                  </a:lnTo>
                  <a:lnTo>
                    <a:pt x="717" y="919"/>
                  </a:lnTo>
                  <a:lnTo>
                    <a:pt x="717" y="916"/>
                  </a:lnTo>
                  <a:lnTo>
                    <a:pt x="718" y="915"/>
                  </a:lnTo>
                  <a:lnTo>
                    <a:pt x="718" y="919"/>
                  </a:lnTo>
                  <a:lnTo>
                    <a:pt x="719" y="920"/>
                  </a:lnTo>
                  <a:lnTo>
                    <a:pt x="719" y="921"/>
                  </a:lnTo>
                  <a:lnTo>
                    <a:pt x="720" y="925"/>
                  </a:lnTo>
                  <a:lnTo>
                    <a:pt x="721" y="924"/>
                  </a:lnTo>
                  <a:lnTo>
                    <a:pt x="721" y="921"/>
                  </a:lnTo>
                  <a:lnTo>
                    <a:pt x="721" y="919"/>
                  </a:lnTo>
                  <a:lnTo>
                    <a:pt x="721" y="915"/>
                  </a:lnTo>
                  <a:lnTo>
                    <a:pt x="721" y="912"/>
                  </a:lnTo>
                  <a:lnTo>
                    <a:pt x="723" y="915"/>
                  </a:lnTo>
                  <a:lnTo>
                    <a:pt x="725" y="916"/>
                  </a:lnTo>
                  <a:lnTo>
                    <a:pt x="726" y="919"/>
                  </a:lnTo>
                  <a:lnTo>
                    <a:pt x="726" y="924"/>
                  </a:lnTo>
                  <a:lnTo>
                    <a:pt x="726" y="925"/>
                  </a:lnTo>
                  <a:lnTo>
                    <a:pt x="727" y="924"/>
                  </a:lnTo>
                  <a:lnTo>
                    <a:pt x="729" y="921"/>
                  </a:lnTo>
                  <a:lnTo>
                    <a:pt x="730" y="919"/>
                  </a:lnTo>
                  <a:lnTo>
                    <a:pt x="730" y="915"/>
                  </a:lnTo>
                  <a:lnTo>
                    <a:pt x="729" y="913"/>
                  </a:lnTo>
                  <a:lnTo>
                    <a:pt x="730" y="908"/>
                  </a:lnTo>
                  <a:lnTo>
                    <a:pt x="729" y="908"/>
                  </a:lnTo>
                  <a:lnTo>
                    <a:pt x="729" y="906"/>
                  </a:lnTo>
                  <a:lnTo>
                    <a:pt x="730" y="906"/>
                  </a:lnTo>
                  <a:lnTo>
                    <a:pt x="731" y="908"/>
                  </a:lnTo>
                  <a:lnTo>
                    <a:pt x="731" y="910"/>
                  </a:lnTo>
                  <a:lnTo>
                    <a:pt x="732" y="914"/>
                  </a:lnTo>
                  <a:lnTo>
                    <a:pt x="733" y="914"/>
                  </a:lnTo>
                  <a:lnTo>
                    <a:pt x="736" y="913"/>
                  </a:lnTo>
                  <a:lnTo>
                    <a:pt x="736" y="909"/>
                  </a:lnTo>
                  <a:lnTo>
                    <a:pt x="736" y="906"/>
                  </a:lnTo>
                  <a:lnTo>
                    <a:pt x="736" y="903"/>
                  </a:lnTo>
                  <a:lnTo>
                    <a:pt x="738" y="901"/>
                  </a:lnTo>
                  <a:lnTo>
                    <a:pt x="738" y="904"/>
                  </a:lnTo>
                  <a:lnTo>
                    <a:pt x="741" y="910"/>
                  </a:lnTo>
                  <a:lnTo>
                    <a:pt x="742" y="913"/>
                  </a:lnTo>
                  <a:lnTo>
                    <a:pt x="744" y="910"/>
                  </a:lnTo>
                  <a:lnTo>
                    <a:pt x="745" y="908"/>
                  </a:lnTo>
                  <a:lnTo>
                    <a:pt x="747" y="908"/>
                  </a:lnTo>
                  <a:lnTo>
                    <a:pt x="747" y="910"/>
                  </a:lnTo>
                  <a:lnTo>
                    <a:pt x="745" y="914"/>
                  </a:lnTo>
                  <a:lnTo>
                    <a:pt x="747" y="919"/>
                  </a:lnTo>
                  <a:lnTo>
                    <a:pt x="748" y="920"/>
                  </a:lnTo>
                  <a:lnTo>
                    <a:pt x="748" y="918"/>
                  </a:lnTo>
                  <a:lnTo>
                    <a:pt x="749" y="914"/>
                  </a:lnTo>
                  <a:lnTo>
                    <a:pt x="750" y="916"/>
                  </a:lnTo>
                  <a:lnTo>
                    <a:pt x="752" y="916"/>
                  </a:lnTo>
                  <a:lnTo>
                    <a:pt x="754" y="915"/>
                  </a:lnTo>
                  <a:lnTo>
                    <a:pt x="753" y="910"/>
                  </a:lnTo>
                  <a:lnTo>
                    <a:pt x="755" y="908"/>
                  </a:lnTo>
                  <a:lnTo>
                    <a:pt x="758" y="908"/>
                  </a:lnTo>
                  <a:lnTo>
                    <a:pt x="759" y="909"/>
                  </a:lnTo>
                  <a:lnTo>
                    <a:pt x="761" y="908"/>
                  </a:lnTo>
                  <a:lnTo>
                    <a:pt x="759" y="906"/>
                  </a:lnTo>
                  <a:lnTo>
                    <a:pt x="756" y="903"/>
                  </a:lnTo>
                  <a:lnTo>
                    <a:pt x="755" y="902"/>
                  </a:lnTo>
                  <a:lnTo>
                    <a:pt x="750" y="898"/>
                  </a:lnTo>
                  <a:lnTo>
                    <a:pt x="743" y="894"/>
                  </a:lnTo>
                  <a:lnTo>
                    <a:pt x="737" y="890"/>
                  </a:lnTo>
                  <a:lnTo>
                    <a:pt x="729" y="889"/>
                  </a:lnTo>
                  <a:lnTo>
                    <a:pt x="724" y="889"/>
                  </a:lnTo>
                  <a:lnTo>
                    <a:pt x="720" y="890"/>
                  </a:lnTo>
                  <a:lnTo>
                    <a:pt x="718" y="890"/>
                  </a:lnTo>
                  <a:lnTo>
                    <a:pt x="717" y="890"/>
                  </a:lnTo>
                  <a:lnTo>
                    <a:pt x="714" y="890"/>
                  </a:lnTo>
                  <a:lnTo>
                    <a:pt x="713" y="890"/>
                  </a:lnTo>
                  <a:lnTo>
                    <a:pt x="708" y="888"/>
                  </a:lnTo>
                  <a:lnTo>
                    <a:pt x="705" y="886"/>
                  </a:lnTo>
                  <a:lnTo>
                    <a:pt x="700" y="884"/>
                  </a:lnTo>
                  <a:lnTo>
                    <a:pt x="700" y="883"/>
                  </a:lnTo>
                  <a:lnTo>
                    <a:pt x="702" y="882"/>
                  </a:lnTo>
                  <a:lnTo>
                    <a:pt x="703" y="882"/>
                  </a:lnTo>
                  <a:lnTo>
                    <a:pt x="709" y="884"/>
                  </a:lnTo>
                  <a:lnTo>
                    <a:pt x="711" y="883"/>
                  </a:lnTo>
                  <a:lnTo>
                    <a:pt x="707" y="882"/>
                  </a:lnTo>
                  <a:lnTo>
                    <a:pt x="705" y="880"/>
                  </a:lnTo>
                  <a:lnTo>
                    <a:pt x="709" y="877"/>
                  </a:lnTo>
                  <a:lnTo>
                    <a:pt x="708" y="877"/>
                  </a:lnTo>
                  <a:lnTo>
                    <a:pt x="703" y="878"/>
                  </a:lnTo>
                  <a:lnTo>
                    <a:pt x="702" y="877"/>
                  </a:lnTo>
                  <a:lnTo>
                    <a:pt x="701" y="878"/>
                  </a:lnTo>
                  <a:lnTo>
                    <a:pt x="701" y="879"/>
                  </a:lnTo>
                  <a:lnTo>
                    <a:pt x="699" y="880"/>
                  </a:lnTo>
                  <a:lnTo>
                    <a:pt x="696" y="883"/>
                  </a:lnTo>
                  <a:lnTo>
                    <a:pt x="694" y="882"/>
                  </a:lnTo>
                  <a:lnTo>
                    <a:pt x="691" y="884"/>
                  </a:lnTo>
                  <a:lnTo>
                    <a:pt x="690" y="886"/>
                  </a:lnTo>
                  <a:lnTo>
                    <a:pt x="685" y="884"/>
                  </a:lnTo>
                  <a:lnTo>
                    <a:pt x="678" y="880"/>
                  </a:lnTo>
                  <a:lnTo>
                    <a:pt x="671" y="877"/>
                  </a:lnTo>
                  <a:lnTo>
                    <a:pt x="670" y="878"/>
                  </a:lnTo>
                  <a:lnTo>
                    <a:pt x="667" y="878"/>
                  </a:lnTo>
                  <a:lnTo>
                    <a:pt x="666" y="876"/>
                  </a:lnTo>
                  <a:lnTo>
                    <a:pt x="668" y="874"/>
                  </a:lnTo>
                  <a:lnTo>
                    <a:pt x="668" y="873"/>
                  </a:lnTo>
                  <a:lnTo>
                    <a:pt x="668" y="870"/>
                  </a:lnTo>
                  <a:lnTo>
                    <a:pt x="668" y="867"/>
                  </a:lnTo>
                  <a:lnTo>
                    <a:pt x="670" y="866"/>
                  </a:lnTo>
                  <a:lnTo>
                    <a:pt x="670" y="867"/>
                  </a:lnTo>
                  <a:lnTo>
                    <a:pt x="671" y="871"/>
                  </a:lnTo>
                  <a:lnTo>
                    <a:pt x="673" y="872"/>
                  </a:lnTo>
                  <a:lnTo>
                    <a:pt x="673" y="868"/>
                  </a:lnTo>
                  <a:lnTo>
                    <a:pt x="673" y="866"/>
                  </a:lnTo>
                  <a:lnTo>
                    <a:pt x="674" y="866"/>
                  </a:lnTo>
                  <a:lnTo>
                    <a:pt x="676" y="867"/>
                  </a:lnTo>
                  <a:lnTo>
                    <a:pt x="678" y="867"/>
                  </a:lnTo>
                  <a:lnTo>
                    <a:pt x="679" y="867"/>
                  </a:lnTo>
                  <a:lnTo>
                    <a:pt x="679" y="866"/>
                  </a:lnTo>
                  <a:lnTo>
                    <a:pt x="680" y="866"/>
                  </a:lnTo>
                  <a:lnTo>
                    <a:pt x="682" y="866"/>
                  </a:lnTo>
                  <a:lnTo>
                    <a:pt x="683" y="864"/>
                  </a:lnTo>
                  <a:lnTo>
                    <a:pt x="684" y="862"/>
                  </a:lnTo>
                  <a:lnTo>
                    <a:pt x="688" y="861"/>
                  </a:lnTo>
                  <a:lnTo>
                    <a:pt x="693" y="859"/>
                  </a:lnTo>
                  <a:lnTo>
                    <a:pt x="693" y="856"/>
                  </a:lnTo>
                  <a:lnTo>
                    <a:pt x="694" y="854"/>
                  </a:lnTo>
                  <a:lnTo>
                    <a:pt x="695" y="854"/>
                  </a:lnTo>
                  <a:lnTo>
                    <a:pt x="697" y="855"/>
                  </a:lnTo>
                  <a:lnTo>
                    <a:pt x="699" y="853"/>
                  </a:lnTo>
                  <a:lnTo>
                    <a:pt x="697" y="850"/>
                  </a:lnTo>
                  <a:lnTo>
                    <a:pt x="696" y="847"/>
                  </a:lnTo>
                  <a:lnTo>
                    <a:pt x="699" y="847"/>
                  </a:lnTo>
                  <a:lnTo>
                    <a:pt x="700" y="847"/>
                  </a:lnTo>
                  <a:lnTo>
                    <a:pt x="701" y="852"/>
                  </a:lnTo>
                  <a:lnTo>
                    <a:pt x="701" y="854"/>
                  </a:lnTo>
                  <a:lnTo>
                    <a:pt x="702" y="855"/>
                  </a:lnTo>
                  <a:lnTo>
                    <a:pt x="703" y="854"/>
                  </a:lnTo>
                  <a:lnTo>
                    <a:pt x="703" y="849"/>
                  </a:lnTo>
                  <a:lnTo>
                    <a:pt x="703" y="847"/>
                  </a:lnTo>
                  <a:lnTo>
                    <a:pt x="705" y="847"/>
                  </a:lnTo>
                  <a:lnTo>
                    <a:pt x="706" y="848"/>
                  </a:lnTo>
                  <a:lnTo>
                    <a:pt x="706" y="853"/>
                  </a:lnTo>
                  <a:lnTo>
                    <a:pt x="705" y="856"/>
                  </a:lnTo>
                  <a:lnTo>
                    <a:pt x="706" y="860"/>
                  </a:lnTo>
                  <a:lnTo>
                    <a:pt x="707" y="856"/>
                  </a:lnTo>
                  <a:lnTo>
                    <a:pt x="707" y="854"/>
                  </a:lnTo>
                  <a:lnTo>
                    <a:pt x="708" y="852"/>
                  </a:lnTo>
                  <a:lnTo>
                    <a:pt x="709" y="849"/>
                  </a:lnTo>
                  <a:lnTo>
                    <a:pt x="708" y="847"/>
                  </a:lnTo>
                  <a:lnTo>
                    <a:pt x="706" y="844"/>
                  </a:lnTo>
                  <a:lnTo>
                    <a:pt x="708" y="842"/>
                  </a:lnTo>
                  <a:lnTo>
                    <a:pt x="708" y="839"/>
                  </a:lnTo>
                  <a:lnTo>
                    <a:pt x="709" y="837"/>
                  </a:lnTo>
                  <a:lnTo>
                    <a:pt x="712" y="839"/>
                  </a:lnTo>
                  <a:lnTo>
                    <a:pt x="713" y="841"/>
                  </a:lnTo>
                  <a:lnTo>
                    <a:pt x="713" y="838"/>
                  </a:lnTo>
                  <a:lnTo>
                    <a:pt x="713" y="837"/>
                  </a:lnTo>
                  <a:lnTo>
                    <a:pt x="714" y="835"/>
                  </a:lnTo>
                  <a:lnTo>
                    <a:pt x="714" y="832"/>
                  </a:lnTo>
                  <a:lnTo>
                    <a:pt x="714" y="830"/>
                  </a:lnTo>
                  <a:lnTo>
                    <a:pt x="712" y="826"/>
                  </a:lnTo>
                  <a:lnTo>
                    <a:pt x="713" y="825"/>
                  </a:lnTo>
                  <a:lnTo>
                    <a:pt x="714" y="825"/>
                  </a:lnTo>
                  <a:lnTo>
                    <a:pt x="718" y="826"/>
                  </a:lnTo>
                  <a:lnTo>
                    <a:pt x="718" y="830"/>
                  </a:lnTo>
                  <a:lnTo>
                    <a:pt x="717" y="832"/>
                  </a:lnTo>
                  <a:lnTo>
                    <a:pt x="717" y="836"/>
                  </a:lnTo>
                  <a:lnTo>
                    <a:pt x="717" y="841"/>
                  </a:lnTo>
                  <a:lnTo>
                    <a:pt x="717" y="843"/>
                  </a:lnTo>
                  <a:lnTo>
                    <a:pt x="718" y="843"/>
                  </a:lnTo>
                  <a:lnTo>
                    <a:pt x="718" y="839"/>
                  </a:lnTo>
                  <a:lnTo>
                    <a:pt x="718" y="833"/>
                  </a:lnTo>
                  <a:lnTo>
                    <a:pt x="719" y="837"/>
                  </a:lnTo>
                  <a:lnTo>
                    <a:pt x="719" y="839"/>
                  </a:lnTo>
                  <a:lnTo>
                    <a:pt x="720" y="839"/>
                  </a:lnTo>
                  <a:lnTo>
                    <a:pt x="721" y="838"/>
                  </a:lnTo>
                  <a:lnTo>
                    <a:pt x="721" y="835"/>
                  </a:lnTo>
                  <a:lnTo>
                    <a:pt x="721" y="831"/>
                  </a:lnTo>
                  <a:lnTo>
                    <a:pt x="721" y="827"/>
                  </a:lnTo>
                  <a:lnTo>
                    <a:pt x="723" y="829"/>
                  </a:lnTo>
                  <a:lnTo>
                    <a:pt x="723" y="832"/>
                  </a:lnTo>
                  <a:lnTo>
                    <a:pt x="723" y="839"/>
                  </a:lnTo>
                  <a:lnTo>
                    <a:pt x="724" y="842"/>
                  </a:lnTo>
                  <a:lnTo>
                    <a:pt x="725" y="844"/>
                  </a:lnTo>
                  <a:lnTo>
                    <a:pt x="725" y="841"/>
                  </a:lnTo>
                  <a:lnTo>
                    <a:pt x="725" y="835"/>
                  </a:lnTo>
                  <a:lnTo>
                    <a:pt x="725" y="833"/>
                  </a:lnTo>
                  <a:lnTo>
                    <a:pt x="726" y="835"/>
                  </a:lnTo>
                  <a:lnTo>
                    <a:pt x="726" y="839"/>
                  </a:lnTo>
                  <a:lnTo>
                    <a:pt x="726" y="844"/>
                  </a:lnTo>
                  <a:lnTo>
                    <a:pt x="727" y="844"/>
                  </a:lnTo>
                  <a:lnTo>
                    <a:pt x="729" y="842"/>
                  </a:lnTo>
                  <a:lnTo>
                    <a:pt x="729" y="838"/>
                  </a:lnTo>
                  <a:lnTo>
                    <a:pt x="730" y="835"/>
                  </a:lnTo>
                  <a:lnTo>
                    <a:pt x="730" y="833"/>
                  </a:lnTo>
                  <a:lnTo>
                    <a:pt x="731" y="836"/>
                  </a:lnTo>
                  <a:lnTo>
                    <a:pt x="732" y="833"/>
                  </a:lnTo>
                  <a:lnTo>
                    <a:pt x="733" y="833"/>
                  </a:lnTo>
                  <a:lnTo>
                    <a:pt x="735" y="836"/>
                  </a:lnTo>
                  <a:lnTo>
                    <a:pt x="736" y="838"/>
                  </a:lnTo>
                  <a:lnTo>
                    <a:pt x="737" y="839"/>
                  </a:lnTo>
                  <a:lnTo>
                    <a:pt x="738" y="841"/>
                  </a:lnTo>
                  <a:lnTo>
                    <a:pt x="738" y="838"/>
                  </a:lnTo>
                  <a:lnTo>
                    <a:pt x="738" y="836"/>
                  </a:lnTo>
                  <a:lnTo>
                    <a:pt x="741" y="837"/>
                  </a:lnTo>
                  <a:lnTo>
                    <a:pt x="743" y="837"/>
                  </a:lnTo>
                  <a:lnTo>
                    <a:pt x="742" y="835"/>
                  </a:lnTo>
                  <a:lnTo>
                    <a:pt x="739" y="833"/>
                  </a:lnTo>
                  <a:lnTo>
                    <a:pt x="739" y="831"/>
                  </a:lnTo>
                  <a:lnTo>
                    <a:pt x="737" y="831"/>
                  </a:lnTo>
                  <a:lnTo>
                    <a:pt x="735" y="832"/>
                  </a:lnTo>
                  <a:lnTo>
                    <a:pt x="733" y="830"/>
                  </a:lnTo>
                  <a:lnTo>
                    <a:pt x="731" y="831"/>
                  </a:lnTo>
                  <a:lnTo>
                    <a:pt x="730" y="829"/>
                  </a:lnTo>
                  <a:lnTo>
                    <a:pt x="725" y="827"/>
                  </a:lnTo>
                  <a:lnTo>
                    <a:pt x="721" y="825"/>
                  </a:lnTo>
                  <a:lnTo>
                    <a:pt x="719" y="823"/>
                  </a:lnTo>
                  <a:lnTo>
                    <a:pt x="718" y="824"/>
                  </a:lnTo>
                  <a:lnTo>
                    <a:pt x="713" y="823"/>
                  </a:lnTo>
                  <a:lnTo>
                    <a:pt x="712" y="823"/>
                  </a:lnTo>
                  <a:lnTo>
                    <a:pt x="708" y="823"/>
                  </a:lnTo>
                  <a:lnTo>
                    <a:pt x="703" y="823"/>
                  </a:lnTo>
                  <a:lnTo>
                    <a:pt x="700" y="823"/>
                  </a:lnTo>
                  <a:lnTo>
                    <a:pt x="699" y="824"/>
                  </a:lnTo>
                  <a:lnTo>
                    <a:pt x="695" y="825"/>
                  </a:lnTo>
                  <a:lnTo>
                    <a:pt x="693" y="825"/>
                  </a:lnTo>
                  <a:lnTo>
                    <a:pt x="691" y="826"/>
                  </a:lnTo>
                  <a:lnTo>
                    <a:pt x="688" y="827"/>
                  </a:lnTo>
                  <a:lnTo>
                    <a:pt x="684" y="827"/>
                  </a:lnTo>
                  <a:lnTo>
                    <a:pt x="679" y="827"/>
                  </a:lnTo>
                  <a:lnTo>
                    <a:pt x="673" y="827"/>
                  </a:lnTo>
                  <a:lnTo>
                    <a:pt x="674" y="830"/>
                  </a:lnTo>
                  <a:lnTo>
                    <a:pt x="672" y="829"/>
                  </a:lnTo>
                  <a:lnTo>
                    <a:pt x="671" y="827"/>
                  </a:lnTo>
                  <a:lnTo>
                    <a:pt x="670" y="829"/>
                  </a:lnTo>
                  <a:lnTo>
                    <a:pt x="667" y="830"/>
                  </a:lnTo>
                  <a:lnTo>
                    <a:pt x="665" y="830"/>
                  </a:lnTo>
                  <a:lnTo>
                    <a:pt x="664" y="831"/>
                  </a:lnTo>
                  <a:lnTo>
                    <a:pt x="662" y="830"/>
                  </a:lnTo>
                  <a:lnTo>
                    <a:pt x="660" y="830"/>
                  </a:lnTo>
                  <a:lnTo>
                    <a:pt x="654" y="830"/>
                  </a:lnTo>
                  <a:lnTo>
                    <a:pt x="649" y="829"/>
                  </a:lnTo>
                  <a:lnTo>
                    <a:pt x="647" y="829"/>
                  </a:lnTo>
                  <a:lnTo>
                    <a:pt x="646" y="829"/>
                  </a:lnTo>
                  <a:lnTo>
                    <a:pt x="643" y="829"/>
                  </a:lnTo>
                  <a:lnTo>
                    <a:pt x="643" y="831"/>
                  </a:lnTo>
                  <a:lnTo>
                    <a:pt x="642" y="831"/>
                  </a:lnTo>
                  <a:lnTo>
                    <a:pt x="640" y="830"/>
                  </a:lnTo>
                  <a:lnTo>
                    <a:pt x="638" y="830"/>
                  </a:lnTo>
                  <a:lnTo>
                    <a:pt x="637" y="829"/>
                  </a:lnTo>
                  <a:lnTo>
                    <a:pt x="636" y="827"/>
                  </a:lnTo>
                  <a:lnTo>
                    <a:pt x="632" y="826"/>
                  </a:lnTo>
                  <a:lnTo>
                    <a:pt x="630" y="825"/>
                  </a:lnTo>
                  <a:lnTo>
                    <a:pt x="625" y="825"/>
                  </a:lnTo>
                  <a:lnTo>
                    <a:pt x="620" y="821"/>
                  </a:lnTo>
                  <a:lnTo>
                    <a:pt x="615" y="819"/>
                  </a:lnTo>
                  <a:lnTo>
                    <a:pt x="615" y="818"/>
                  </a:lnTo>
                  <a:lnTo>
                    <a:pt x="619" y="819"/>
                  </a:lnTo>
                  <a:lnTo>
                    <a:pt x="623" y="821"/>
                  </a:lnTo>
                  <a:lnTo>
                    <a:pt x="623" y="820"/>
                  </a:lnTo>
                  <a:lnTo>
                    <a:pt x="618" y="817"/>
                  </a:lnTo>
                  <a:lnTo>
                    <a:pt x="619" y="815"/>
                  </a:lnTo>
                  <a:lnTo>
                    <a:pt x="623" y="815"/>
                  </a:lnTo>
                  <a:lnTo>
                    <a:pt x="625" y="815"/>
                  </a:lnTo>
                  <a:lnTo>
                    <a:pt x="619" y="813"/>
                  </a:lnTo>
                  <a:lnTo>
                    <a:pt x="617" y="813"/>
                  </a:lnTo>
                  <a:lnTo>
                    <a:pt x="617" y="812"/>
                  </a:lnTo>
                  <a:lnTo>
                    <a:pt x="615" y="811"/>
                  </a:lnTo>
                  <a:lnTo>
                    <a:pt x="613" y="811"/>
                  </a:lnTo>
                  <a:lnTo>
                    <a:pt x="612" y="811"/>
                  </a:lnTo>
                  <a:lnTo>
                    <a:pt x="612" y="812"/>
                  </a:lnTo>
                  <a:lnTo>
                    <a:pt x="613" y="813"/>
                  </a:lnTo>
                  <a:lnTo>
                    <a:pt x="612" y="814"/>
                  </a:lnTo>
                  <a:lnTo>
                    <a:pt x="608" y="817"/>
                  </a:lnTo>
                  <a:lnTo>
                    <a:pt x="607" y="818"/>
                  </a:lnTo>
                  <a:lnTo>
                    <a:pt x="603" y="818"/>
                  </a:lnTo>
                  <a:lnTo>
                    <a:pt x="600" y="815"/>
                  </a:lnTo>
                  <a:lnTo>
                    <a:pt x="593" y="813"/>
                  </a:lnTo>
                  <a:lnTo>
                    <a:pt x="591" y="813"/>
                  </a:lnTo>
                  <a:lnTo>
                    <a:pt x="590" y="814"/>
                  </a:lnTo>
                  <a:lnTo>
                    <a:pt x="589" y="814"/>
                  </a:lnTo>
                  <a:lnTo>
                    <a:pt x="585" y="815"/>
                  </a:lnTo>
                  <a:lnTo>
                    <a:pt x="583" y="814"/>
                  </a:lnTo>
                  <a:lnTo>
                    <a:pt x="581" y="813"/>
                  </a:lnTo>
                  <a:lnTo>
                    <a:pt x="579" y="811"/>
                  </a:lnTo>
                  <a:lnTo>
                    <a:pt x="577" y="811"/>
                  </a:lnTo>
                  <a:lnTo>
                    <a:pt x="573" y="811"/>
                  </a:lnTo>
                  <a:lnTo>
                    <a:pt x="573" y="809"/>
                  </a:lnTo>
                  <a:lnTo>
                    <a:pt x="570" y="809"/>
                  </a:lnTo>
                  <a:lnTo>
                    <a:pt x="569" y="808"/>
                  </a:lnTo>
                  <a:lnTo>
                    <a:pt x="565" y="799"/>
                  </a:lnTo>
                  <a:lnTo>
                    <a:pt x="562" y="795"/>
                  </a:lnTo>
                  <a:lnTo>
                    <a:pt x="562" y="793"/>
                  </a:lnTo>
                  <a:lnTo>
                    <a:pt x="564" y="789"/>
                  </a:lnTo>
                  <a:lnTo>
                    <a:pt x="565" y="784"/>
                  </a:lnTo>
                  <a:lnTo>
                    <a:pt x="566" y="784"/>
                  </a:lnTo>
                  <a:lnTo>
                    <a:pt x="569" y="787"/>
                  </a:lnTo>
                  <a:lnTo>
                    <a:pt x="571" y="787"/>
                  </a:lnTo>
                  <a:lnTo>
                    <a:pt x="573" y="789"/>
                  </a:lnTo>
                  <a:lnTo>
                    <a:pt x="575" y="790"/>
                  </a:lnTo>
                  <a:lnTo>
                    <a:pt x="575" y="793"/>
                  </a:lnTo>
                  <a:lnTo>
                    <a:pt x="575" y="796"/>
                  </a:lnTo>
                  <a:lnTo>
                    <a:pt x="576" y="800"/>
                  </a:lnTo>
                  <a:lnTo>
                    <a:pt x="578" y="800"/>
                  </a:lnTo>
                  <a:lnTo>
                    <a:pt x="579" y="797"/>
                  </a:lnTo>
                  <a:lnTo>
                    <a:pt x="578" y="795"/>
                  </a:lnTo>
                  <a:lnTo>
                    <a:pt x="578" y="793"/>
                  </a:lnTo>
                  <a:lnTo>
                    <a:pt x="581" y="790"/>
                  </a:lnTo>
                  <a:lnTo>
                    <a:pt x="582" y="793"/>
                  </a:lnTo>
                  <a:lnTo>
                    <a:pt x="582" y="796"/>
                  </a:lnTo>
                  <a:lnTo>
                    <a:pt x="583" y="799"/>
                  </a:lnTo>
                  <a:lnTo>
                    <a:pt x="584" y="797"/>
                  </a:lnTo>
                  <a:lnTo>
                    <a:pt x="585" y="796"/>
                  </a:lnTo>
                  <a:lnTo>
                    <a:pt x="584" y="794"/>
                  </a:lnTo>
                  <a:lnTo>
                    <a:pt x="585" y="791"/>
                  </a:lnTo>
                  <a:lnTo>
                    <a:pt x="585" y="790"/>
                  </a:lnTo>
                  <a:lnTo>
                    <a:pt x="584" y="789"/>
                  </a:lnTo>
                  <a:lnTo>
                    <a:pt x="585" y="787"/>
                  </a:lnTo>
                  <a:lnTo>
                    <a:pt x="587" y="789"/>
                  </a:lnTo>
                  <a:lnTo>
                    <a:pt x="587" y="787"/>
                  </a:lnTo>
                  <a:lnTo>
                    <a:pt x="588" y="787"/>
                  </a:lnTo>
                  <a:lnTo>
                    <a:pt x="589" y="788"/>
                  </a:lnTo>
                  <a:lnTo>
                    <a:pt x="589" y="789"/>
                  </a:lnTo>
                  <a:lnTo>
                    <a:pt x="591" y="787"/>
                  </a:lnTo>
                  <a:lnTo>
                    <a:pt x="590" y="785"/>
                  </a:lnTo>
                  <a:lnTo>
                    <a:pt x="591" y="784"/>
                  </a:lnTo>
                  <a:lnTo>
                    <a:pt x="591" y="788"/>
                  </a:lnTo>
                  <a:lnTo>
                    <a:pt x="593" y="789"/>
                  </a:lnTo>
                  <a:lnTo>
                    <a:pt x="591" y="794"/>
                  </a:lnTo>
                  <a:lnTo>
                    <a:pt x="593" y="795"/>
                  </a:lnTo>
                  <a:lnTo>
                    <a:pt x="593" y="793"/>
                  </a:lnTo>
                  <a:lnTo>
                    <a:pt x="594" y="791"/>
                  </a:lnTo>
                  <a:lnTo>
                    <a:pt x="595" y="789"/>
                  </a:lnTo>
                  <a:lnTo>
                    <a:pt x="594" y="787"/>
                  </a:lnTo>
                  <a:lnTo>
                    <a:pt x="594" y="783"/>
                  </a:lnTo>
                  <a:lnTo>
                    <a:pt x="595" y="781"/>
                  </a:lnTo>
                  <a:lnTo>
                    <a:pt x="595" y="783"/>
                  </a:lnTo>
                  <a:lnTo>
                    <a:pt x="596" y="784"/>
                  </a:lnTo>
                  <a:lnTo>
                    <a:pt x="599" y="784"/>
                  </a:lnTo>
                  <a:lnTo>
                    <a:pt x="599" y="787"/>
                  </a:lnTo>
                  <a:lnTo>
                    <a:pt x="599" y="793"/>
                  </a:lnTo>
                  <a:lnTo>
                    <a:pt x="599" y="797"/>
                  </a:lnTo>
                  <a:lnTo>
                    <a:pt x="601" y="793"/>
                  </a:lnTo>
                  <a:lnTo>
                    <a:pt x="601" y="789"/>
                  </a:lnTo>
                  <a:lnTo>
                    <a:pt x="601" y="784"/>
                  </a:lnTo>
                  <a:lnTo>
                    <a:pt x="600" y="781"/>
                  </a:lnTo>
                  <a:lnTo>
                    <a:pt x="601" y="781"/>
                  </a:lnTo>
                  <a:lnTo>
                    <a:pt x="602" y="787"/>
                  </a:lnTo>
                  <a:lnTo>
                    <a:pt x="603" y="788"/>
                  </a:lnTo>
                  <a:lnTo>
                    <a:pt x="603" y="785"/>
                  </a:lnTo>
                  <a:lnTo>
                    <a:pt x="605" y="785"/>
                  </a:lnTo>
                  <a:lnTo>
                    <a:pt x="605" y="788"/>
                  </a:lnTo>
                  <a:lnTo>
                    <a:pt x="607" y="794"/>
                  </a:lnTo>
                  <a:lnTo>
                    <a:pt x="607" y="791"/>
                  </a:lnTo>
                  <a:lnTo>
                    <a:pt x="607" y="788"/>
                  </a:lnTo>
                  <a:lnTo>
                    <a:pt x="607" y="784"/>
                  </a:lnTo>
                  <a:lnTo>
                    <a:pt x="608" y="775"/>
                  </a:lnTo>
                  <a:lnTo>
                    <a:pt x="609" y="775"/>
                  </a:lnTo>
                  <a:lnTo>
                    <a:pt x="611" y="778"/>
                  </a:lnTo>
                  <a:lnTo>
                    <a:pt x="611" y="782"/>
                  </a:lnTo>
                  <a:lnTo>
                    <a:pt x="611" y="785"/>
                  </a:lnTo>
                  <a:lnTo>
                    <a:pt x="609" y="791"/>
                  </a:lnTo>
                  <a:lnTo>
                    <a:pt x="611" y="796"/>
                  </a:lnTo>
                  <a:lnTo>
                    <a:pt x="612" y="794"/>
                  </a:lnTo>
                  <a:lnTo>
                    <a:pt x="612" y="791"/>
                  </a:lnTo>
                  <a:lnTo>
                    <a:pt x="613" y="790"/>
                  </a:lnTo>
                  <a:lnTo>
                    <a:pt x="614" y="791"/>
                  </a:lnTo>
                  <a:lnTo>
                    <a:pt x="615" y="789"/>
                  </a:lnTo>
                  <a:lnTo>
                    <a:pt x="615" y="785"/>
                  </a:lnTo>
                  <a:lnTo>
                    <a:pt x="615" y="782"/>
                  </a:lnTo>
                  <a:lnTo>
                    <a:pt x="614" y="778"/>
                  </a:lnTo>
                  <a:lnTo>
                    <a:pt x="615" y="778"/>
                  </a:lnTo>
                  <a:lnTo>
                    <a:pt x="617" y="782"/>
                  </a:lnTo>
                  <a:lnTo>
                    <a:pt x="617" y="788"/>
                  </a:lnTo>
                  <a:lnTo>
                    <a:pt x="618" y="790"/>
                  </a:lnTo>
                  <a:lnTo>
                    <a:pt x="619" y="791"/>
                  </a:lnTo>
                  <a:lnTo>
                    <a:pt x="619" y="788"/>
                  </a:lnTo>
                  <a:lnTo>
                    <a:pt x="619" y="787"/>
                  </a:lnTo>
                  <a:lnTo>
                    <a:pt x="620" y="790"/>
                  </a:lnTo>
                  <a:lnTo>
                    <a:pt x="621" y="794"/>
                  </a:lnTo>
                  <a:lnTo>
                    <a:pt x="620" y="796"/>
                  </a:lnTo>
                  <a:lnTo>
                    <a:pt x="621" y="799"/>
                  </a:lnTo>
                  <a:lnTo>
                    <a:pt x="623" y="795"/>
                  </a:lnTo>
                  <a:lnTo>
                    <a:pt x="623" y="797"/>
                  </a:lnTo>
                  <a:lnTo>
                    <a:pt x="623" y="800"/>
                  </a:lnTo>
                  <a:lnTo>
                    <a:pt x="624" y="801"/>
                  </a:lnTo>
                  <a:lnTo>
                    <a:pt x="626" y="802"/>
                  </a:lnTo>
                  <a:lnTo>
                    <a:pt x="625" y="796"/>
                  </a:lnTo>
                  <a:lnTo>
                    <a:pt x="625" y="793"/>
                  </a:lnTo>
                  <a:lnTo>
                    <a:pt x="625" y="789"/>
                  </a:lnTo>
                  <a:lnTo>
                    <a:pt x="628" y="787"/>
                  </a:lnTo>
                  <a:lnTo>
                    <a:pt x="629" y="788"/>
                  </a:lnTo>
                  <a:lnTo>
                    <a:pt x="629" y="790"/>
                  </a:lnTo>
                  <a:lnTo>
                    <a:pt x="628" y="794"/>
                  </a:lnTo>
                  <a:lnTo>
                    <a:pt x="628" y="797"/>
                  </a:lnTo>
                  <a:lnTo>
                    <a:pt x="628" y="800"/>
                  </a:lnTo>
                  <a:lnTo>
                    <a:pt x="628" y="801"/>
                  </a:lnTo>
                  <a:lnTo>
                    <a:pt x="629" y="801"/>
                  </a:lnTo>
                  <a:lnTo>
                    <a:pt x="629" y="799"/>
                  </a:lnTo>
                  <a:lnTo>
                    <a:pt x="630" y="797"/>
                  </a:lnTo>
                  <a:lnTo>
                    <a:pt x="631" y="794"/>
                  </a:lnTo>
                  <a:lnTo>
                    <a:pt x="631" y="791"/>
                  </a:lnTo>
                  <a:lnTo>
                    <a:pt x="632" y="790"/>
                  </a:lnTo>
                  <a:lnTo>
                    <a:pt x="636" y="793"/>
                  </a:lnTo>
                  <a:lnTo>
                    <a:pt x="636" y="796"/>
                  </a:lnTo>
                  <a:lnTo>
                    <a:pt x="636" y="800"/>
                  </a:lnTo>
                  <a:lnTo>
                    <a:pt x="637" y="799"/>
                  </a:lnTo>
                  <a:lnTo>
                    <a:pt x="638" y="794"/>
                  </a:lnTo>
                  <a:lnTo>
                    <a:pt x="646" y="796"/>
                  </a:lnTo>
                  <a:lnTo>
                    <a:pt x="644" y="794"/>
                  </a:lnTo>
                  <a:lnTo>
                    <a:pt x="641" y="793"/>
                  </a:lnTo>
                  <a:lnTo>
                    <a:pt x="640" y="790"/>
                  </a:lnTo>
                  <a:lnTo>
                    <a:pt x="638" y="789"/>
                  </a:lnTo>
                  <a:lnTo>
                    <a:pt x="636" y="788"/>
                  </a:lnTo>
                  <a:lnTo>
                    <a:pt x="631" y="787"/>
                  </a:lnTo>
                  <a:lnTo>
                    <a:pt x="629" y="783"/>
                  </a:lnTo>
                  <a:lnTo>
                    <a:pt x="626" y="782"/>
                  </a:lnTo>
                  <a:lnTo>
                    <a:pt x="624" y="778"/>
                  </a:lnTo>
                  <a:lnTo>
                    <a:pt x="620" y="777"/>
                  </a:lnTo>
                  <a:lnTo>
                    <a:pt x="607" y="771"/>
                  </a:lnTo>
                  <a:lnTo>
                    <a:pt x="606" y="769"/>
                  </a:lnTo>
                  <a:lnTo>
                    <a:pt x="608" y="767"/>
                  </a:lnTo>
                  <a:lnTo>
                    <a:pt x="609" y="769"/>
                  </a:lnTo>
                  <a:lnTo>
                    <a:pt x="612" y="771"/>
                  </a:lnTo>
                  <a:lnTo>
                    <a:pt x="612" y="770"/>
                  </a:lnTo>
                  <a:lnTo>
                    <a:pt x="614" y="770"/>
                  </a:lnTo>
                  <a:lnTo>
                    <a:pt x="617" y="772"/>
                  </a:lnTo>
                  <a:lnTo>
                    <a:pt x="619" y="773"/>
                  </a:lnTo>
                  <a:lnTo>
                    <a:pt x="619" y="770"/>
                  </a:lnTo>
                  <a:lnTo>
                    <a:pt x="620" y="767"/>
                  </a:lnTo>
                  <a:lnTo>
                    <a:pt x="620" y="766"/>
                  </a:lnTo>
                  <a:lnTo>
                    <a:pt x="621" y="766"/>
                  </a:lnTo>
                  <a:lnTo>
                    <a:pt x="619" y="763"/>
                  </a:lnTo>
                  <a:lnTo>
                    <a:pt x="618" y="760"/>
                  </a:lnTo>
                  <a:lnTo>
                    <a:pt x="617" y="758"/>
                  </a:lnTo>
                  <a:lnTo>
                    <a:pt x="617" y="757"/>
                  </a:lnTo>
                  <a:lnTo>
                    <a:pt x="618" y="753"/>
                  </a:lnTo>
                  <a:lnTo>
                    <a:pt x="619" y="751"/>
                  </a:lnTo>
                  <a:lnTo>
                    <a:pt x="620" y="751"/>
                  </a:lnTo>
                  <a:lnTo>
                    <a:pt x="620" y="754"/>
                  </a:lnTo>
                  <a:lnTo>
                    <a:pt x="620" y="758"/>
                  </a:lnTo>
                  <a:lnTo>
                    <a:pt x="623" y="759"/>
                  </a:lnTo>
                  <a:lnTo>
                    <a:pt x="623" y="758"/>
                  </a:lnTo>
                  <a:lnTo>
                    <a:pt x="623" y="757"/>
                  </a:lnTo>
                  <a:lnTo>
                    <a:pt x="625" y="757"/>
                  </a:lnTo>
                  <a:lnTo>
                    <a:pt x="626" y="758"/>
                  </a:lnTo>
                  <a:lnTo>
                    <a:pt x="629" y="757"/>
                  </a:lnTo>
                  <a:lnTo>
                    <a:pt x="629" y="758"/>
                  </a:lnTo>
                  <a:lnTo>
                    <a:pt x="630" y="758"/>
                  </a:lnTo>
                  <a:lnTo>
                    <a:pt x="632" y="758"/>
                  </a:lnTo>
                  <a:lnTo>
                    <a:pt x="631" y="755"/>
                  </a:lnTo>
                  <a:lnTo>
                    <a:pt x="629" y="753"/>
                  </a:lnTo>
                  <a:lnTo>
                    <a:pt x="628" y="751"/>
                  </a:lnTo>
                  <a:lnTo>
                    <a:pt x="628" y="748"/>
                  </a:lnTo>
                  <a:lnTo>
                    <a:pt x="629" y="745"/>
                  </a:lnTo>
                  <a:lnTo>
                    <a:pt x="630" y="746"/>
                  </a:lnTo>
                  <a:lnTo>
                    <a:pt x="631" y="748"/>
                  </a:lnTo>
                  <a:lnTo>
                    <a:pt x="632" y="752"/>
                  </a:lnTo>
                  <a:lnTo>
                    <a:pt x="632" y="753"/>
                  </a:lnTo>
                  <a:lnTo>
                    <a:pt x="636" y="752"/>
                  </a:lnTo>
                  <a:lnTo>
                    <a:pt x="637" y="751"/>
                  </a:lnTo>
                  <a:lnTo>
                    <a:pt x="637" y="754"/>
                  </a:lnTo>
                  <a:lnTo>
                    <a:pt x="638" y="760"/>
                  </a:lnTo>
                  <a:lnTo>
                    <a:pt x="640" y="763"/>
                  </a:lnTo>
                  <a:lnTo>
                    <a:pt x="640" y="759"/>
                  </a:lnTo>
                  <a:lnTo>
                    <a:pt x="641" y="755"/>
                  </a:lnTo>
                  <a:lnTo>
                    <a:pt x="642" y="753"/>
                  </a:lnTo>
                  <a:lnTo>
                    <a:pt x="642" y="748"/>
                  </a:lnTo>
                  <a:lnTo>
                    <a:pt x="643" y="745"/>
                  </a:lnTo>
                  <a:lnTo>
                    <a:pt x="646" y="745"/>
                  </a:lnTo>
                  <a:lnTo>
                    <a:pt x="649" y="746"/>
                  </a:lnTo>
                  <a:lnTo>
                    <a:pt x="649" y="752"/>
                  </a:lnTo>
                  <a:lnTo>
                    <a:pt x="649" y="759"/>
                  </a:lnTo>
                  <a:lnTo>
                    <a:pt x="650" y="758"/>
                  </a:lnTo>
                  <a:lnTo>
                    <a:pt x="652" y="752"/>
                  </a:lnTo>
                  <a:lnTo>
                    <a:pt x="652" y="746"/>
                  </a:lnTo>
                  <a:lnTo>
                    <a:pt x="652" y="745"/>
                  </a:lnTo>
                  <a:lnTo>
                    <a:pt x="653" y="746"/>
                  </a:lnTo>
                  <a:lnTo>
                    <a:pt x="653" y="751"/>
                  </a:lnTo>
                  <a:lnTo>
                    <a:pt x="654" y="751"/>
                  </a:lnTo>
                  <a:lnTo>
                    <a:pt x="654" y="754"/>
                  </a:lnTo>
                  <a:lnTo>
                    <a:pt x="655" y="753"/>
                  </a:lnTo>
                  <a:lnTo>
                    <a:pt x="656" y="751"/>
                  </a:lnTo>
                  <a:lnTo>
                    <a:pt x="658" y="746"/>
                  </a:lnTo>
                  <a:lnTo>
                    <a:pt x="659" y="748"/>
                  </a:lnTo>
                  <a:lnTo>
                    <a:pt x="660" y="752"/>
                  </a:lnTo>
                  <a:lnTo>
                    <a:pt x="662" y="751"/>
                  </a:lnTo>
                  <a:lnTo>
                    <a:pt x="664" y="749"/>
                  </a:lnTo>
                  <a:lnTo>
                    <a:pt x="665" y="747"/>
                  </a:lnTo>
                  <a:lnTo>
                    <a:pt x="665" y="746"/>
                  </a:lnTo>
                  <a:lnTo>
                    <a:pt x="668" y="749"/>
                  </a:lnTo>
                  <a:lnTo>
                    <a:pt x="668" y="748"/>
                  </a:lnTo>
                  <a:lnTo>
                    <a:pt x="670" y="748"/>
                  </a:lnTo>
                  <a:lnTo>
                    <a:pt x="672" y="749"/>
                  </a:lnTo>
                  <a:lnTo>
                    <a:pt x="673" y="748"/>
                  </a:lnTo>
                  <a:lnTo>
                    <a:pt x="673" y="751"/>
                  </a:lnTo>
                  <a:lnTo>
                    <a:pt x="676" y="747"/>
                  </a:lnTo>
                  <a:lnTo>
                    <a:pt x="677" y="748"/>
                  </a:lnTo>
                  <a:lnTo>
                    <a:pt x="678" y="745"/>
                  </a:lnTo>
                  <a:lnTo>
                    <a:pt x="677" y="741"/>
                  </a:lnTo>
                  <a:lnTo>
                    <a:pt x="678" y="740"/>
                  </a:lnTo>
                  <a:lnTo>
                    <a:pt x="678" y="737"/>
                  </a:lnTo>
                  <a:lnTo>
                    <a:pt x="679" y="737"/>
                  </a:lnTo>
                  <a:lnTo>
                    <a:pt x="680" y="740"/>
                  </a:lnTo>
                  <a:lnTo>
                    <a:pt x="679" y="742"/>
                  </a:lnTo>
                  <a:lnTo>
                    <a:pt x="680" y="745"/>
                  </a:lnTo>
                  <a:lnTo>
                    <a:pt x="679" y="748"/>
                  </a:lnTo>
                  <a:lnTo>
                    <a:pt x="679" y="753"/>
                  </a:lnTo>
                  <a:lnTo>
                    <a:pt x="682" y="754"/>
                  </a:lnTo>
                  <a:lnTo>
                    <a:pt x="682" y="753"/>
                  </a:lnTo>
                  <a:lnTo>
                    <a:pt x="683" y="747"/>
                  </a:lnTo>
                  <a:lnTo>
                    <a:pt x="683" y="745"/>
                  </a:lnTo>
                  <a:lnTo>
                    <a:pt x="684" y="742"/>
                  </a:lnTo>
                  <a:lnTo>
                    <a:pt x="685" y="745"/>
                  </a:lnTo>
                  <a:lnTo>
                    <a:pt x="684" y="749"/>
                  </a:lnTo>
                  <a:lnTo>
                    <a:pt x="684" y="753"/>
                  </a:lnTo>
                  <a:lnTo>
                    <a:pt x="685" y="754"/>
                  </a:lnTo>
                  <a:lnTo>
                    <a:pt x="685" y="757"/>
                  </a:lnTo>
                  <a:lnTo>
                    <a:pt x="686" y="755"/>
                  </a:lnTo>
                  <a:lnTo>
                    <a:pt x="688" y="754"/>
                  </a:lnTo>
                  <a:lnTo>
                    <a:pt x="688" y="751"/>
                  </a:lnTo>
                  <a:lnTo>
                    <a:pt x="688" y="746"/>
                  </a:lnTo>
                  <a:lnTo>
                    <a:pt x="688" y="745"/>
                  </a:lnTo>
                  <a:lnTo>
                    <a:pt x="688" y="743"/>
                  </a:lnTo>
                  <a:lnTo>
                    <a:pt x="688" y="745"/>
                  </a:lnTo>
                  <a:lnTo>
                    <a:pt x="690" y="749"/>
                  </a:lnTo>
                  <a:lnTo>
                    <a:pt x="690" y="751"/>
                  </a:lnTo>
                  <a:lnTo>
                    <a:pt x="690" y="753"/>
                  </a:lnTo>
                  <a:lnTo>
                    <a:pt x="691" y="752"/>
                  </a:lnTo>
                  <a:lnTo>
                    <a:pt x="691" y="753"/>
                  </a:lnTo>
                  <a:lnTo>
                    <a:pt x="691" y="759"/>
                  </a:lnTo>
                  <a:lnTo>
                    <a:pt x="691" y="763"/>
                  </a:lnTo>
                  <a:lnTo>
                    <a:pt x="693" y="761"/>
                  </a:lnTo>
                  <a:lnTo>
                    <a:pt x="693" y="760"/>
                  </a:lnTo>
                  <a:lnTo>
                    <a:pt x="694" y="760"/>
                  </a:lnTo>
                  <a:lnTo>
                    <a:pt x="695" y="761"/>
                  </a:lnTo>
                  <a:lnTo>
                    <a:pt x="696" y="759"/>
                  </a:lnTo>
                  <a:lnTo>
                    <a:pt x="696" y="755"/>
                  </a:lnTo>
                  <a:lnTo>
                    <a:pt x="700" y="757"/>
                  </a:lnTo>
                  <a:lnTo>
                    <a:pt x="702" y="757"/>
                  </a:lnTo>
                  <a:lnTo>
                    <a:pt x="701" y="755"/>
                  </a:lnTo>
                  <a:lnTo>
                    <a:pt x="699" y="753"/>
                  </a:lnTo>
                  <a:lnTo>
                    <a:pt x="700" y="751"/>
                  </a:lnTo>
                  <a:lnTo>
                    <a:pt x="701" y="749"/>
                  </a:lnTo>
                  <a:lnTo>
                    <a:pt x="700" y="749"/>
                  </a:lnTo>
                  <a:lnTo>
                    <a:pt x="697" y="749"/>
                  </a:lnTo>
                  <a:lnTo>
                    <a:pt x="693" y="748"/>
                  </a:lnTo>
                  <a:lnTo>
                    <a:pt x="691" y="743"/>
                  </a:lnTo>
                  <a:lnTo>
                    <a:pt x="695" y="743"/>
                  </a:lnTo>
                  <a:lnTo>
                    <a:pt x="693" y="742"/>
                  </a:lnTo>
                  <a:lnTo>
                    <a:pt x="689" y="740"/>
                  </a:lnTo>
                  <a:lnTo>
                    <a:pt x="688" y="737"/>
                  </a:lnTo>
                  <a:lnTo>
                    <a:pt x="682" y="735"/>
                  </a:lnTo>
                  <a:lnTo>
                    <a:pt x="679" y="731"/>
                  </a:lnTo>
                  <a:lnTo>
                    <a:pt x="676" y="730"/>
                  </a:lnTo>
                  <a:lnTo>
                    <a:pt x="670" y="729"/>
                  </a:lnTo>
                  <a:lnTo>
                    <a:pt x="664" y="728"/>
                  </a:lnTo>
                  <a:lnTo>
                    <a:pt x="660" y="728"/>
                  </a:lnTo>
                  <a:lnTo>
                    <a:pt x="660" y="726"/>
                  </a:lnTo>
                  <a:lnTo>
                    <a:pt x="661" y="724"/>
                  </a:lnTo>
                  <a:lnTo>
                    <a:pt x="659" y="723"/>
                  </a:lnTo>
                  <a:lnTo>
                    <a:pt x="658" y="723"/>
                  </a:lnTo>
                  <a:lnTo>
                    <a:pt x="656" y="723"/>
                  </a:lnTo>
                  <a:lnTo>
                    <a:pt x="653" y="724"/>
                  </a:lnTo>
                  <a:lnTo>
                    <a:pt x="650" y="723"/>
                  </a:lnTo>
                  <a:lnTo>
                    <a:pt x="650" y="718"/>
                  </a:lnTo>
                  <a:lnTo>
                    <a:pt x="653" y="716"/>
                  </a:lnTo>
                  <a:lnTo>
                    <a:pt x="656" y="714"/>
                  </a:lnTo>
                  <a:lnTo>
                    <a:pt x="658" y="714"/>
                  </a:lnTo>
                  <a:lnTo>
                    <a:pt x="656" y="718"/>
                  </a:lnTo>
                  <a:lnTo>
                    <a:pt x="658" y="718"/>
                  </a:lnTo>
                  <a:lnTo>
                    <a:pt x="660" y="714"/>
                  </a:lnTo>
                  <a:lnTo>
                    <a:pt x="660" y="716"/>
                  </a:lnTo>
                  <a:lnTo>
                    <a:pt x="661" y="719"/>
                  </a:lnTo>
                  <a:lnTo>
                    <a:pt x="662" y="719"/>
                  </a:lnTo>
                  <a:lnTo>
                    <a:pt x="662" y="717"/>
                  </a:lnTo>
                  <a:lnTo>
                    <a:pt x="664" y="716"/>
                  </a:lnTo>
                  <a:lnTo>
                    <a:pt x="664" y="719"/>
                  </a:lnTo>
                  <a:lnTo>
                    <a:pt x="665" y="720"/>
                  </a:lnTo>
                  <a:lnTo>
                    <a:pt x="665" y="724"/>
                  </a:lnTo>
                  <a:lnTo>
                    <a:pt x="667" y="726"/>
                  </a:lnTo>
                  <a:lnTo>
                    <a:pt x="668" y="726"/>
                  </a:lnTo>
                  <a:lnTo>
                    <a:pt x="668" y="723"/>
                  </a:lnTo>
                  <a:lnTo>
                    <a:pt x="668" y="720"/>
                  </a:lnTo>
                  <a:lnTo>
                    <a:pt x="671" y="718"/>
                  </a:lnTo>
                  <a:lnTo>
                    <a:pt x="671" y="717"/>
                  </a:lnTo>
                  <a:lnTo>
                    <a:pt x="673" y="716"/>
                  </a:lnTo>
                  <a:lnTo>
                    <a:pt x="676" y="718"/>
                  </a:lnTo>
                  <a:lnTo>
                    <a:pt x="676" y="720"/>
                  </a:lnTo>
                  <a:lnTo>
                    <a:pt x="678" y="723"/>
                  </a:lnTo>
                  <a:lnTo>
                    <a:pt x="680" y="723"/>
                  </a:lnTo>
                  <a:lnTo>
                    <a:pt x="682" y="725"/>
                  </a:lnTo>
                  <a:lnTo>
                    <a:pt x="683" y="722"/>
                  </a:lnTo>
                  <a:lnTo>
                    <a:pt x="683" y="724"/>
                  </a:lnTo>
                  <a:lnTo>
                    <a:pt x="684" y="725"/>
                  </a:lnTo>
                  <a:lnTo>
                    <a:pt x="685" y="726"/>
                  </a:lnTo>
                  <a:lnTo>
                    <a:pt x="686" y="726"/>
                  </a:lnTo>
                  <a:lnTo>
                    <a:pt x="688" y="722"/>
                  </a:lnTo>
                  <a:lnTo>
                    <a:pt x="688" y="718"/>
                  </a:lnTo>
                  <a:lnTo>
                    <a:pt x="688" y="720"/>
                  </a:lnTo>
                  <a:lnTo>
                    <a:pt x="689" y="719"/>
                  </a:lnTo>
                  <a:lnTo>
                    <a:pt x="690" y="717"/>
                  </a:lnTo>
                  <a:lnTo>
                    <a:pt x="691" y="717"/>
                  </a:lnTo>
                  <a:lnTo>
                    <a:pt x="693" y="722"/>
                  </a:lnTo>
                  <a:lnTo>
                    <a:pt x="694" y="723"/>
                  </a:lnTo>
                  <a:lnTo>
                    <a:pt x="694" y="729"/>
                  </a:lnTo>
                  <a:lnTo>
                    <a:pt x="696" y="730"/>
                  </a:lnTo>
                  <a:lnTo>
                    <a:pt x="697" y="729"/>
                  </a:lnTo>
                  <a:lnTo>
                    <a:pt x="697" y="725"/>
                  </a:lnTo>
                  <a:lnTo>
                    <a:pt x="697" y="720"/>
                  </a:lnTo>
                  <a:lnTo>
                    <a:pt x="699" y="717"/>
                  </a:lnTo>
                  <a:lnTo>
                    <a:pt x="700" y="718"/>
                  </a:lnTo>
                  <a:lnTo>
                    <a:pt x="700" y="722"/>
                  </a:lnTo>
                  <a:lnTo>
                    <a:pt x="700" y="726"/>
                  </a:lnTo>
                  <a:lnTo>
                    <a:pt x="700" y="728"/>
                  </a:lnTo>
                  <a:lnTo>
                    <a:pt x="702" y="726"/>
                  </a:lnTo>
                  <a:lnTo>
                    <a:pt x="703" y="724"/>
                  </a:lnTo>
                  <a:lnTo>
                    <a:pt x="703" y="722"/>
                  </a:lnTo>
                  <a:lnTo>
                    <a:pt x="706" y="718"/>
                  </a:lnTo>
                  <a:lnTo>
                    <a:pt x="707" y="720"/>
                  </a:lnTo>
                  <a:lnTo>
                    <a:pt x="709" y="722"/>
                  </a:lnTo>
                  <a:lnTo>
                    <a:pt x="711" y="722"/>
                  </a:lnTo>
                  <a:lnTo>
                    <a:pt x="713" y="722"/>
                  </a:lnTo>
                  <a:lnTo>
                    <a:pt x="714" y="724"/>
                  </a:lnTo>
                  <a:lnTo>
                    <a:pt x="715" y="726"/>
                  </a:lnTo>
                  <a:lnTo>
                    <a:pt x="718" y="730"/>
                  </a:lnTo>
                  <a:lnTo>
                    <a:pt x="719" y="734"/>
                  </a:lnTo>
                  <a:lnTo>
                    <a:pt x="719" y="732"/>
                  </a:lnTo>
                  <a:lnTo>
                    <a:pt x="721" y="731"/>
                  </a:lnTo>
                  <a:lnTo>
                    <a:pt x="721" y="729"/>
                  </a:lnTo>
                  <a:lnTo>
                    <a:pt x="723" y="725"/>
                  </a:lnTo>
                  <a:lnTo>
                    <a:pt x="725" y="726"/>
                  </a:lnTo>
                  <a:lnTo>
                    <a:pt x="726" y="728"/>
                  </a:lnTo>
                  <a:lnTo>
                    <a:pt x="727" y="728"/>
                  </a:lnTo>
                  <a:lnTo>
                    <a:pt x="725" y="723"/>
                  </a:lnTo>
                  <a:lnTo>
                    <a:pt x="723" y="718"/>
                  </a:lnTo>
                  <a:lnTo>
                    <a:pt x="719" y="716"/>
                  </a:lnTo>
                  <a:lnTo>
                    <a:pt x="719" y="712"/>
                  </a:lnTo>
                  <a:lnTo>
                    <a:pt x="718" y="708"/>
                  </a:lnTo>
                  <a:lnTo>
                    <a:pt x="718" y="704"/>
                  </a:lnTo>
                  <a:lnTo>
                    <a:pt x="719" y="706"/>
                  </a:lnTo>
                  <a:lnTo>
                    <a:pt x="720" y="712"/>
                  </a:lnTo>
                  <a:lnTo>
                    <a:pt x="720" y="710"/>
                  </a:lnTo>
                  <a:lnTo>
                    <a:pt x="721" y="706"/>
                  </a:lnTo>
                  <a:lnTo>
                    <a:pt x="723" y="704"/>
                  </a:lnTo>
                  <a:lnTo>
                    <a:pt x="724" y="701"/>
                  </a:lnTo>
                  <a:lnTo>
                    <a:pt x="723" y="699"/>
                  </a:lnTo>
                  <a:lnTo>
                    <a:pt x="720" y="694"/>
                  </a:lnTo>
                  <a:lnTo>
                    <a:pt x="719" y="692"/>
                  </a:lnTo>
                  <a:lnTo>
                    <a:pt x="720" y="692"/>
                  </a:lnTo>
                  <a:lnTo>
                    <a:pt x="724" y="693"/>
                  </a:lnTo>
                  <a:lnTo>
                    <a:pt x="725" y="693"/>
                  </a:lnTo>
                  <a:lnTo>
                    <a:pt x="725" y="700"/>
                  </a:lnTo>
                  <a:lnTo>
                    <a:pt x="725" y="707"/>
                  </a:lnTo>
                  <a:lnTo>
                    <a:pt x="726" y="708"/>
                  </a:lnTo>
                  <a:lnTo>
                    <a:pt x="727" y="706"/>
                  </a:lnTo>
                  <a:lnTo>
                    <a:pt x="727" y="702"/>
                  </a:lnTo>
                  <a:lnTo>
                    <a:pt x="727" y="698"/>
                  </a:lnTo>
                  <a:lnTo>
                    <a:pt x="729" y="694"/>
                  </a:lnTo>
                  <a:lnTo>
                    <a:pt x="730" y="698"/>
                  </a:lnTo>
                  <a:lnTo>
                    <a:pt x="730" y="700"/>
                  </a:lnTo>
                  <a:lnTo>
                    <a:pt x="731" y="702"/>
                  </a:lnTo>
                  <a:lnTo>
                    <a:pt x="731" y="705"/>
                  </a:lnTo>
                  <a:lnTo>
                    <a:pt x="731" y="710"/>
                  </a:lnTo>
                  <a:lnTo>
                    <a:pt x="732" y="712"/>
                  </a:lnTo>
                  <a:lnTo>
                    <a:pt x="733" y="712"/>
                  </a:lnTo>
                  <a:lnTo>
                    <a:pt x="735" y="708"/>
                  </a:lnTo>
                  <a:lnTo>
                    <a:pt x="735" y="704"/>
                  </a:lnTo>
                  <a:lnTo>
                    <a:pt x="735" y="701"/>
                  </a:lnTo>
                  <a:lnTo>
                    <a:pt x="737" y="700"/>
                  </a:lnTo>
                  <a:lnTo>
                    <a:pt x="738" y="699"/>
                  </a:lnTo>
                  <a:lnTo>
                    <a:pt x="738" y="701"/>
                  </a:lnTo>
                  <a:lnTo>
                    <a:pt x="741" y="702"/>
                  </a:lnTo>
                  <a:lnTo>
                    <a:pt x="741" y="700"/>
                  </a:lnTo>
                  <a:lnTo>
                    <a:pt x="742" y="698"/>
                  </a:lnTo>
                  <a:lnTo>
                    <a:pt x="743" y="698"/>
                  </a:lnTo>
                  <a:lnTo>
                    <a:pt x="745" y="700"/>
                  </a:lnTo>
                  <a:lnTo>
                    <a:pt x="747" y="699"/>
                  </a:lnTo>
                  <a:lnTo>
                    <a:pt x="747" y="696"/>
                  </a:lnTo>
                  <a:lnTo>
                    <a:pt x="745" y="695"/>
                  </a:lnTo>
                  <a:lnTo>
                    <a:pt x="741" y="695"/>
                  </a:lnTo>
                  <a:lnTo>
                    <a:pt x="738" y="694"/>
                  </a:lnTo>
                  <a:lnTo>
                    <a:pt x="736" y="693"/>
                  </a:lnTo>
                  <a:lnTo>
                    <a:pt x="732" y="689"/>
                  </a:lnTo>
                  <a:lnTo>
                    <a:pt x="731" y="689"/>
                  </a:lnTo>
                  <a:lnTo>
                    <a:pt x="727" y="689"/>
                  </a:lnTo>
                  <a:lnTo>
                    <a:pt x="725" y="689"/>
                  </a:lnTo>
                  <a:lnTo>
                    <a:pt x="720" y="687"/>
                  </a:lnTo>
                  <a:lnTo>
                    <a:pt x="717" y="688"/>
                  </a:lnTo>
                  <a:lnTo>
                    <a:pt x="714" y="687"/>
                  </a:lnTo>
                  <a:lnTo>
                    <a:pt x="713" y="686"/>
                  </a:lnTo>
                  <a:lnTo>
                    <a:pt x="711" y="684"/>
                  </a:lnTo>
                  <a:lnTo>
                    <a:pt x="703" y="683"/>
                  </a:lnTo>
                  <a:lnTo>
                    <a:pt x="706" y="682"/>
                  </a:lnTo>
                  <a:lnTo>
                    <a:pt x="703" y="682"/>
                  </a:lnTo>
                  <a:lnTo>
                    <a:pt x="701" y="683"/>
                  </a:lnTo>
                  <a:lnTo>
                    <a:pt x="700" y="683"/>
                  </a:lnTo>
                  <a:lnTo>
                    <a:pt x="696" y="682"/>
                  </a:lnTo>
                  <a:lnTo>
                    <a:pt x="697" y="680"/>
                  </a:lnTo>
                  <a:lnTo>
                    <a:pt x="695" y="681"/>
                  </a:lnTo>
                  <a:lnTo>
                    <a:pt x="693" y="682"/>
                  </a:lnTo>
                  <a:lnTo>
                    <a:pt x="689" y="681"/>
                  </a:lnTo>
                  <a:lnTo>
                    <a:pt x="679" y="680"/>
                  </a:lnTo>
                  <a:lnTo>
                    <a:pt x="673" y="678"/>
                  </a:lnTo>
                  <a:lnTo>
                    <a:pt x="668" y="678"/>
                  </a:lnTo>
                  <a:lnTo>
                    <a:pt x="664" y="678"/>
                  </a:lnTo>
                  <a:lnTo>
                    <a:pt x="661" y="677"/>
                  </a:lnTo>
                  <a:lnTo>
                    <a:pt x="662" y="676"/>
                  </a:lnTo>
                  <a:lnTo>
                    <a:pt x="665" y="675"/>
                  </a:lnTo>
                  <a:lnTo>
                    <a:pt x="664" y="674"/>
                  </a:lnTo>
                  <a:lnTo>
                    <a:pt x="664" y="671"/>
                  </a:lnTo>
                  <a:lnTo>
                    <a:pt x="661" y="669"/>
                  </a:lnTo>
                  <a:lnTo>
                    <a:pt x="660" y="666"/>
                  </a:lnTo>
                  <a:lnTo>
                    <a:pt x="662" y="664"/>
                  </a:lnTo>
                  <a:lnTo>
                    <a:pt x="664" y="660"/>
                  </a:lnTo>
                  <a:lnTo>
                    <a:pt x="665" y="658"/>
                  </a:lnTo>
                  <a:lnTo>
                    <a:pt x="666" y="662"/>
                  </a:lnTo>
                  <a:lnTo>
                    <a:pt x="668" y="663"/>
                  </a:lnTo>
                  <a:lnTo>
                    <a:pt x="668" y="665"/>
                  </a:lnTo>
                  <a:lnTo>
                    <a:pt x="670" y="671"/>
                  </a:lnTo>
                  <a:lnTo>
                    <a:pt x="671" y="672"/>
                  </a:lnTo>
                  <a:lnTo>
                    <a:pt x="672" y="671"/>
                  </a:lnTo>
                  <a:lnTo>
                    <a:pt x="674" y="672"/>
                  </a:lnTo>
                  <a:lnTo>
                    <a:pt x="676" y="671"/>
                  </a:lnTo>
                  <a:lnTo>
                    <a:pt x="677" y="670"/>
                  </a:lnTo>
                  <a:lnTo>
                    <a:pt x="677" y="666"/>
                  </a:lnTo>
                  <a:lnTo>
                    <a:pt x="678" y="669"/>
                  </a:lnTo>
                  <a:lnTo>
                    <a:pt x="678" y="671"/>
                  </a:lnTo>
                  <a:lnTo>
                    <a:pt x="679" y="669"/>
                  </a:lnTo>
                  <a:lnTo>
                    <a:pt x="680" y="668"/>
                  </a:lnTo>
                  <a:lnTo>
                    <a:pt x="682" y="668"/>
                  </a:lnTo>
                  <a:lnTo>
                    <a:pt x="685" y="670"/>
                  </a:lnTo>
                  <a:lnTo>
                    <a:pt x="686" y="669"/>
                  </a:lnTo>
                  <a:lnTo>
                    <a:pt x="684" y="666"/>
                  </a:lnTo>
                  <a:lnTo>
                    <a:pt x="682" y="664"/>
                  </a:lnTo>
                  <a:lnTo>
                    <a:pt x="679" y="662"/>
                  </a:lnTo>
                  <a:lnTo>
                    <a:pt x="680" y="658"/>
                  </a:lnTo>
                  <a:lnTo>
                    <a:pt x="680" y="656"/>
                  </a:lnTo>
                  <a:lnTo>
                    <a:pt x="683" y="652"/>
                  </a:lnTo>
                  <a:lnTo>
                    <a:pt x="684" y="652"/>
                  </a:lnTo>
                  <a:lnTo>
                    <a:pt x="686" y="652"/>
                  </a:lnTo>
                  <a:lnTo>
                    <a:pt x="686" y="653"/>
                  </a:lnTo>
                  <a:lnTo>
                    <a:pt x="688" y="653"/>
                  </a:lnTo>
                  <a:lnTo>
                    <a:pt x="691" y="651"/>
                  </a:lnTo>
                  <a:lnTo>
                    <a:pt x="694" y="647"/>
                  </a:lnTo>
                  <a:lnTo>
                    <a:pt x="693" y="651"/>
                  </a:lnTo>
                  <a:lnTo>
                    <a:pt x="691" y="654"/>
                  </a:lnTo>
                  <a:lnTo>
                    <a:pt x="691" y="656"/>
                  </a:lnTo>
                  <a:lnTo>
                    <a:pt x="691" y="660"/>
                  </a:lnTo>
                  <a:lnTo>
                    <a:pt x="695" y="662"/>
                  </a:lnTo>
                  <a:lnTo>
                    <a:pt x="694" y="665"/>
                  </a:lnTo>
                  <a:lnTo>
                    <a:pt x="694" y="666"/>
                  </a:lnTo>
                  <a:lnTo>
                    <a:pt x="695" y="666"/>
                  </a:lnTo>
                  <a:lnTo>
                    <a:pt x="696" y="669"/>
                  </a:lnTo>
                  <a:lnTo>
                    <a:pt x="699" y="669"/>
                  </a:lnTo>
                  <a:lnTo>
                    <a:pt x="700" y="666"/>
                  </a:lnTo>
                  <a:lnTo>
                    <a:pt x="702" y="668"/>
                  </a:lnTo>
                  <a:lnTo>
                    <a:pt x="703" y="669"/>
                  </a:lnTo>
                  <a:lnTo>
                    <a:pt x="706" y="666"/>
                  </a:lnTo>
                  <a:lnTo>
                    <a:pt x="706" y="664"/>
                  </a:lnTo>
                  <a:lnTo>
                    <a:pt x="707" y="663"/>
                  </a:lnTo>
                  <a:lnTo>
                    <a:pt x="709" y="663"/>
                  </a:lnTo>
                  <a:lnTo>
                    <a:pt x="712" y="662"/>
                  </a:lnTo>
                  <a:lnTo>
                    <a:pt x="711" y="659"/>
                  </a:lnTo>
                  <a:lnTo>
                    <a:pt x="706" y="658"/>
                  </a:lnTo>
                  <a:lnTo>
                    <a:pt x="702" y="654"/>
                  </a:lnTo>
                  <a:lnTo>
                    <a:pt x="701" y="651"/>
                  </a:lnTo>
                  <a:lnTo>
                    <a:pt x="700" y="647"/>
                  </a:lnTo>
                  <a:lnTo>
                    <a:pt x="697" y="644"/>
                  </a:lnTo>
                  <a:lnTo>
                    <a:pt x="699" y="642"/>
                  </a:lnTo>
                  <a:lnTo>
                    <a:pt x="696" y="641"/>
                  </a:lnTo>
                  <a:lnTo>
                    <a:pt x="695" y="640"/>
                  </a:lnTo>
                  <a:lnTo>
                    <a:pt x="693" y="639"/>
                  </a:lnTo>
                  <a:lnTo>
                    <a:pt x="690" y="638"/>
                  </a:lnTo>
                  <a:lnTo>
                    <a:pt x="688" y="635"/>
                  </a:lnTo>
                  <a:lnTo>
                    <a:pt x="683" y="634"/>
                  </a:lnTo>
                  <a:lnTo>
                    <a:pt x="679" y="634"/>
                  </a:lnTo>
                  <a:lnTo>
                    <a:pt x="673" y="633"/>
                  </a:lnTo>
                  <a:lnTo>
                    <a:pt x="670" y="633"/>
                  </a:lnTo>
                  <a:lnTo>
                    <a:pt x="670" y="628"/>
                  </a:lnTo>
                  <a:lnTo>
                    <a:pt x="670" y="627"/>
                  </a:lnTo>
                  <a:lnTo>
                    <a:pt x="672" y="627"/>
                  </a:lnTo>
                  <a:lnTo>
                    <a:pt x="672" y="624"/>
                  </a:lnTo>
                  <a:lnTo>
                    <a:pt x="672" y="621"/>
                  </a:lnTo>
                  <a:lnTo>
                    <a:pt x="674" y="621"/>
                  </a:lnTo>
                  <a:lnTo>
                    <a:pt x="676" y="623"/>
                  </a:lnTo>
                  <a:lnTo>
                    <a:pt x="678" y="627"/>
                  </a:lnTo>
                  <a:lnTo>
                    <a:pt x="679" y="628"/>
                  </a:lnTo>
                  <a:lnTo>
                    <a:pt x="680" y="627"/>
                  </a:lnTo>
                  <a:lnTo>
                    <a:pt x="678" y="623"/>
                  </a:lnTo>
                  <a:lnTo>
                    <a:pt x="678" y="621"/>
                  </a:lnTo>
                  <a:lnTo>
                    <a:pt x="682" y="622"/>
                  </a:lnTo>
                  <a:lnTo>
                    <a:pt x="684" y="621"/>
                  </a:lnTo>
                  <a:lnTo>
                    <a:pt x="682" y="619"/>
                  </a:lnTo>
                  <a:lnTo>
                    <a:pt x="679" y="618"/>
                  </a:lnTo>
                  <a:lnTo>
                    <a:pt x="677" y="617"/>
                  </a:lnTo>
                  <a:lnTo>
                    <a:pt x="676" y="617"/>
                  </a:lnTo>
                  <a:lnTo>
                    <a:pt x="673" y="617"/>
                  </a:lnTo>
                  <a:lnTo>
                    <a:pt x="671" y="617"/>
                  </a:lnTo>
                  <a:lnTo>
                    <a:pt x="668" y="617"/>
                  </a:lnTo>
                  <a:lnTo>
                    <a:pt x="666" y="616"/>
                  </a:lnTo>
                  <a:lnTo>
                    <a:pt x="665" y="616"/>
                  </a:lnTo>
                  <a:lnTo>
                    <a:pt x="662" y="615"/>
                  </a:lnTo>
                  <a:lnTo>
                    <a:pt x="660" y="613"/>
                  </a:lnTo>
                  <a:lnTo>
                    <a:pt x="659" y="612"/>
                  </a:lnTo>
                  <a:lnTo>
                    <a:pt x="658" y="610"/>
                  </a:lnTo>
                  <a:lnTo>
                    <a:pt x="656" y="607"/>
                  </a:lnTo>
                  <a:lnTo>
                    <a:pt x="655" y="606"/>
                  </a:lnTo>
                  <a:lnTo>
                    <a:pt x="654" y="609"/>
                  </a:lnTo>
                  <a:lnTo>
                    <a:pt x="653" y="607"/>
                  </a:lnTo>
                  <a:lnTo>
                    <a:pt x="653" y="603"/>
                  </a:lnTo>
                  <a:lnTo>
                    <a:pt x="654" y="603"/>
                  </a:lnTo>
                  <a:lnTo>
                    <a:pt x="655" y="603"/>
                  </a:lnTo>
                  <a:lnTo>
                    <a:pt x="653" y="600"/>
                  </a:lnTo>
                  <a:lnTo>
                    <a:pt x="650" y="597"/>
                  </a:lnTo>
                  <a:lnTo>
                    <a:pt x="644" y="591"/>
                  </a:lnTo>
                  <a:lnTo>
                    <a:pt x="643" y="588"/>
                  </a:lnTo>
                  <a:lnTo>
                    <a:pt x="640" y="586"/>
                  </a:lnTo>
                  <a:lnTo>
                    <a:pt x="640" y="583"/>
                  </a:lnTo>
                  <a:lnTo>
                    <a:pt x="643" y="581"/>
                  </a:lnTo>
                  <a:lnTo>
                    <a:pt x="644" y="580"/>
                  </a:lnTo>
                  <a:lnTo>
                    <a:pt x="644" y="582"/>
                  </a:lnTo>
                  <a:lnTo>
                    <a:pt x="644" y="585"/>
                  </a:lnTo>
                  <a:lnTo>
                    <a:pt x="648" y="585"/>
                  </a:lnTo>
                  <a:lnTo>
                    <a:pt x="648" y="586"/>
                  </a:lnTo>
                  <a:lnTo>
                    <a:pt x="648" y="589"/>
                  </a:lnTo>
                  <a:lnTo>
                    <a:pt x="649" y="591"/>
                  </a:lnTo>
                  <a:lnTo>
                    <a:pt x="649" y="593"/>
                  </a:lnTo>
                  <a:lnTo>
                    <a:pt x="650" y="594"/>
                  </a:lnTo>
                  <a:lnTo>
                    <a:pt x="650" y="592"/>
                  </a:lnTo>
                  <a:lnTo>
                    <a:pt x="652" y="588"/>
                  </a:lnTo>
                  <a:lnTo>
                    <a:pt x="653" y="587"/>
                  </a:lnTo>
                  <a:lnTo>
                    <a:pt x="652" y="585"/>
                  </a:lnTo>
                  <a:lnTo>
                    <a:pt x="652" y="583"/>
                  </a:lnTo>
                  <a:lnTo>
                    <a:pt x="654" y="583"/>
                  </a:lnTo>
                  <a:lnTo>
                    <a:pt x="655" y="586"/>
                  </a:lnTo>
                  <a:lnTo>
                    <a:pt x="656" y="587"/>
                  </a:lnTo>
                  <a:lnTo>
                    <a:pt x="656" y="592"/>
                  </a:lnTo>
                  <a:lnTo>
                    <a:pt x="658" y="594"/>
                  </a:lnTo>
                  <a:lnTo>
                    <a:pt x="659" y="593"/>
                  </a:lnTo>
                  <a:lnTo>
                    <a:pt x="659" y="591"/>
                  </a:lnTo>
                  <a:lnTo>
                    <a:pt x="659" y="587"/>
                  </a:lnTo>
                  <a:lnTo>
                    <a:pt x="660" y="587"/>
                  </a:lnTo>
                  <a:lnTo>
                    <a:pt x="661" y="588"/>
                  </a:lnTo>
                  <a:lnTo>
                    <a:pt x="661" y="586"/>
                  </a:lnTo>
                  <a:lnTo>
                    <a:pt x="664" y="588"/>
                  </a:lnTo>
                  <a:lnTo>
                    <a:pt x="664" y="591"/>
                  </a:lnTo>
                  <a:lnTo>
                    <a:pt x="665" y="592"/>
                  </a:lnTo>
                  <a:lnTo>
                    <a:pt x="666" y="591"/>
                  </a:lnTo>
                  <a:lnTo>
                    <a:pt x="666" y="587"/>
                  </a:lnTo>
                  <a:lnTo>
                    <a:pt x="666" y="583"/>
                  </a:lnTo>
                  <a:lnTo>
                    <a:pt x="668" y="582"/>
                  </a:lnTo>
                  <a:lnTo>
                    <a:pt x="670" y="585"/>
                  </a:lnTo>
                  <a:lnTo>
                    <a:pt x="668" y="588"/>
                  </a:lnTo>
                  <a:lnTo>
                    <a:pt x="667" y="591"/>
                  </a:lnTo>
                  <a:lnTo>
                    <a:pt x="668" y="592"/>
                  </a:lnTo>
                  <a:lnTo>
                    <a:pt x="668" y="598"/>
                  </a:lnTo>
                  <a:lnTo>
                    <a:pt x="670" y="599"/>
                  </a:lnTo>
                  <a:lnTo>
                    <a:pt x="670" y="600"/>
                  </a:lnTo>
                  <a:lnTo>
                    <a:pt x="671" y="600"/>
                  </a:lnTo>
                  <a:lnTo>
                    <a:pt x="673" y="599"/>
                  </a:lnTo>
                  <a:lnTo>
                    <a:pt x="673" y="603"/>
                  </a:lnTo>
                  <a:lnTo>
                    <a:pt x="674" y="603"/>
                  </a:lnTo>
                  <a:lnTo>
                    <a:pt x="676" y="604"/>
                  </a:lnTo>
                  <a:lnTo>
                    <a:pt x="676" y="598"/>
                  </a:lnTo>
                  <a:lnTo>
                    <a:pt x="676" y="594"/>
                  </a:lnTo>
                  <a:lnTo>
                    <a:pt x="676" y="593"/>
                  </a:lnTo>
                  <a:lnTo>
                    <a:pt x="673" y="588"/>
                  </a:lnTo>
                  <a:lnTo>
                    <a:pt x="673" y="587"/>
                  </a:lnTo>
                  <a:lnTo>
                    <a:pt x="673" y="582"/>
                  </a:lnTo>
                  <a:lnTo>
                    <a:pt x="672" y="577"/>
                  </a:lnTo>
                  <a:lnTo>
                    <a:pt x="672" y="571"/>
                  </a:lnTo>
                  <a:lnTo>
                    <a:pt x="674" y="571"/>
                  </a:lnTo>
                  <a:lnTo>
                    <a:pt x="677" y="571"/>
                  </a:lnTo>
                  <a:lnTo>
                    <a:pt x="677" y="575"/>
                  </a:lnTo>
                  <a:lnTo>
                    <a:pt x="677" y="577"/>
                  </a:lnTo>
                  <a:lnTo>
                    <a:pt x="678" y="577"/>
                  </a:lnTo>
                  <a:lnTo>
                    <a:pt x="680" y="576"/>
                  </a:lnTo>
                  <a:lnTo>
                    <a:pt x="680" y="573"/>
                  </a:lnTo>
                  <a:lnTo>
                    <a:pt x="683" y="569"/>
                  </a:lnTo>
                  <a:lnTo>
                    <a:pt x="683" y="568"/>
                  </a:lnTo>
                  <a:lnTo>
                    <a:pt x="683" y="575"/>
                  </a:lnTo>
                  <a:lnTo>
                    <a:pt x="684" y="577"/>
                  </a:lnTo>
                  <a:lnTo>
                    <a:pt x="686" y="576"/>
                  </a:lnTo>
                  <a:lnTo>
                    <a:pt x="686" y="573"/>
                  </a:lnTo>
                  <a:lnTo>
                    <a:pt x="688" y="569"/>
                  </a:lnTo>
                  <a:lnTo>
                    <a:pt x="689" y="567"/>
                  </a:lnTo>
                  <a:lnTo>
                    <a:pt x="689" y="570"/>
                  </a:lnTo>
                  <a:lnTo>
                    <a:pt x="689" y="576"/>
                  </a:lnTo>
                  <a:lnTo>
                    <a:pt x="690" y="579"/>
                  </a:lnTo>
                  <a:lnTo>
                    <a:pt x="691" y="577"/>
                  </a:lnTo>
                  <a:lnTo>
                    <a:pt x="693" y="573"/>
                  </a:lnTo>
                  <a:lnTo>
                    <a:pt x="693" y="569"/>
                  </a:lnTo>
                  <a:lnTo>
                    <a:pt x="693" y="564"/>
                  </a:lnTo>
                  <a:lnTo>
                    <a:pt x="693" y="561"/>
                  </a:lnTo>
                  <a:lnTo>
                    <a:pt x="691" y="557"/>
                  </a:lnTo>
                  <a:lnTo>
                    <a:pt x="693" y="556"/>
                  </a:lnTo>
                  <a:lnTo>
                    <a:pt x="695" y="556"/>
                  </a:lnTo>
                  <a:lnTo>
                    <a:pt x="697" y="557"/>
                  </a:lnTo>
                  <a:lnTo>
                    <a:pt x="696" y="555"/>
                  </a:lnTo>
                  <a:lnTo>
                    <a:pt x="696" y="553"/>
                  </a:lnTo>
                  <a:lnTo>
                    <a:pt x="699" y="553"/>
                  </a:lnTo>
                  <a:lnTo>
                    <a:pt x="700" y="553"/>
                  </a:lnTo>
                  <a:lnTo>
                    <a:pt x="701" y="551"/>
                  </a:lnTo>
                  <a:lnTo>
                    <a:pt x="699" y="551"/>
                  </a:lnTo>
                  <a:lnTo>
                    <a:pt x="697" y="550"/>
                  </a:lnTo>
                  <a:lnTo>
                    <a:pt x="696" y="547"/>
                  </a:lnTo>
                  <a:lnTo>
                    <a:pt x="695" y="549"/>
                  </a:lnTo>
                  <a:lnTo>
                    <a:pt x="695" y="550"/>
                  </a:lnTo>
                  <a:lnTo>
                    <a:pt x="693" y="552"/>
                  </a:lnTo>
                  <a:lnTo>
                    <a:pt x="693" y="551"/>
                  </a:lnTo>
                  <a:lnTo>
                    <a:pt x="690" y="550"/>
                  </a:lnTo>
                  <a:lnTo>
                    <a:pt x="690" y="551"/>
                  </a:lnTo>
                  <a:lnTo>
                    <a:pt x="689" y="551"/>
                  </a:lnTo>
                  <a:lnTo>
                    <a:pt x="686" y="551"/>
                  </a:lnTo>
                  <a:lnTo>
                    <a:pt x="686" y="550"/>
                  </a:lnTo>
                  <a:lnTo>
                    <a:pt x="685" y="550"/>
                  </a:lnTo>
                  <a:lnTo>
                    <a:pt x="684" y="553"/>
                  </a:lnTo>
                  <a:lnTo>
                    <a:pt x="683" y="553"/>
                  </a:lnTo>
                  <a:lnTo>
                    <a:pt x="682" y="552"/>
                  </a:lnTo>
                  <a:lnTo>
                    <a:pt x="680" y="553"/>
                  </a:lnTo>
                  <a:lnTo>
                    <a:pt x="678" y="556"/>
                  </a:lnTo>
                  <a:lnTo>
                    <a:pt x="676" y="557"/>
                  </a:lnTo>
                  <a:lnTo>
                    <a:pt x="674" y="559"/>
                  </a:lnTo>
                  <a:lnTo>
                    <a:pt x="668" y="558"/>
                  </a:lnTo>
                  <a:lnTo>
                    <a:pt x="664" y="558"/>
                  </a:lnTo>
                  <a:lnTo>
                    <a:pt x="660" y="559"/>
                  </a:lnTo>
                  <a:lnTo>
                    <a:pt x="655" y="561"/>
                  </a:lnTo>
                  <a:lnTo>
                    <a:pt x="649" y="561"/>
                  </a:lnTo>
                  <a:lnTo>
                    <a:pt x="644" y="562"/>
                  </a:lnTo>
                  <a:lnTo>
                    <a:pt x="640" y="562"/>
                  </a:lnTo>
                  <a:lnTo>
                    <a:pt x="636" y="562"/>
                  </a:lnTo>
                  <a:lnTo>
                    <a:pt x="634" y="563"/>
                  </a:lnTo>
                  <a:lnTo>
                    <a:pt x="630" y="564"/>
                  </a:lnTo>
                  <a:lnTo>
                    <a:pt x="623" y="564"/>
                  </a:lnTo>
                  <a:lnTo>
                    <a:pt x="619" y="563"/>
                  </a:lnTo>
                  <a:lnTo>
                    <a:pt x="617" y="562"/>
                  </a:lnTo>
                  <a:lnTo>
                    <a:pt x="614" y="561"/>
                  </a:lnTo>
                  <a:lnTo>
                    <a:pt x="612" y="557"/>
                  </a:lnTo>
                  <a:lnTo>
                    <a:pt x="611" y="555"/>
                  </a:lnTo>
                  <a:lnTo>
                    <a:pt x="609" y="555"/>
                  </a:lnTo>
                  <a:lnTo>
                    <a:pt x="606" y="555"/>
                  </a:lnTo>
                  <a:lnTo>
                    <a:pt x="601" y="556"/>
                  </a:lnTo>
                  <a:lnTo>
                    <a:pt x="600" y="557"/>
                  </a:lnTo>
                  <a:lnTo>
                    <a:pt x="597" y="557"/>
                  </a:lnTo>
                  <a:lnTo>
                    <a:pt x="596" y="557"/>
                  </a:lnTo>
                  <a:lnTo>
                    <a:pt x="591" y="555"/>
                  </a:lnTo>
                  <a:lnTo>
                    <a:pt x="587" y="551"/>
                  </a:lnTo>
                  <a:lnTo>
                    <a:pt x="583" y="547"/>
                  </a:lnTo>
                  <a:lnTo>
                    <a:pt x="579" y="544"/>
                  </a:lnTo>
                  <a:lnTo>
                    <a:pt x="575" y="540"/>
                  </a:lnTo>
                  <a:lnTo>
                    <a:pt x="572" y="535"/>
                  </a:lnTo>
                  <a:lnTo>
                    <a:pt x="572" y="533"/>
                  </a:lnTo>
                  <a:lnTo>
                    <a:pt x="576" y="534"/>
                  </a:lnTo>
                  <a:lnTo>
                    <a:pt x="576" y="533"/>
                  </a:lnTo>
                  <a:lnTo>
                    <a:pt x="572" y="531"/>
                  </a:lnTo>
                  <a:lnTo>
                    <a:pt x="571" y="529"/>
                  </a:lnTo>
                  <a:lnTo>
                    <a:pt x="570" y="524"/>
                  </a:lnTo>
                  <a:lnTo>
                    <a:pt x="571" y="524"/>
                  </a:lnTo>
                  <a:lnTo>
                    <a:pt x="573" y="527"/>
                  </a:lnTo>
                  <a:lnTo>
                    <a:pt x="575" y="529"/>
                  </a:lnTo>
                  <a:lnTo>
                    <a:pt x="576" y="531"/>
                  </a:lnTo>
                  <a:lnTo>
                    <a:pt x="577" y="528"/>
                  </a:lnTo>
                  <a:lnTo>
                    <a:pt x="578" y="527"/>
                  </a:lnTo>
                  <a:lnTo>
                    <a:pt x="579" y="527"/>
                  </a:lnTo>
                  <a:lnTo>
                    <a:pt x="579" y="529"/>
                  </a:lnTo>
                  <a:lnTo>
                    <a:pt x="581" y="532"/>
                  </a:lnTo>
                  <a:lnTo>
                    <a:pt x="578" y="538"/>
                  </a:lnTo>
                  <a:lnTo>
                    <a:pt x="581" y="540"/>
                  </a:lnTo>
                  <a:lnTo>
                    <a:pt x="582" y="538"/>
                  </a:lnTo>
                  <a:lnTo>
                    <a:pt x="583" y="534"/>
                  </a:lnTo>
                  <a:lnTo>
                    <a:pt x="584" y="533"/>
                  </a:lnTo>
                  <a:lnTo>
                    <a:pt x="585" y="534"/>
                  </a:lnTo>
                  <a:lnTo>
                    <a:pt x="585" y="533"/>
                  </a:lnTo>
                  <a:lnTo>
                    <a:pt x="587" y="531"/>
                  </a:lnTo>
                  <a:lnTo>
                    <a:pt x="588" y="528"/>
                  </a:lnTo>
                  <a:lnTo>
                    <a:pt x="589" y="531"/>
                  </a:lnTo>
                  <a:lnTo>
                    <a:pt x="590" y="534"/>
                  </a:lnTo>
                  <a:lnTo>
                    <a:pt x="590" y="537"/>
                  </a:lnTo>
                  <a:lnTo>
                    <a:pt x="591" y="538"/>
                  </a:lnTo>
                  <a:lnTo>
                    <a:pt x="593" y="535"/>
                  </a:lnTo>
                  <a:lnTo>
                    <a:pt x="593" y="532"/>
                  </a:lnTo>
                  <a:lnTo>
                    <a:pt x="594" y="528"/>
                  </a:lnTo>
                  <a:lnTo>
                    <a:pt x="595" y="531"/>
                  </a:lnTo>
                  <a:lnTo>
                    <a:pt x="595" y="533"/>
                  </a:lnTo>
                  <a:lnTo>
                    <a:pt x="596" y="528"/>
                  </a:lnTo>
                  <a:lnTo>
                    <a:pt x="597" y="527"/>
                  </a:lnTo>
                  <a:lnTo>
                    <a:pt x="597" y="534"/>
                  </a:lnTo>
                  <a:lnTo>
                    <a:pt x="597" y="538"/>
                  </a:lnTo>
                  <a:lnTo>
                    <a:pt x="600" y="537"/>
                  </a:lnTo>
                  <a:lnTo>
                    <a:pt x="603" y="531"/>
                  </a:lnTo>
                  <a:lnTo>
                    <a:pt x="606" y="528"/>
                  </a:lnTo>
                  <a:lnTo>
                    <a:pt x="606" y="534"/>
                  </a:lnTo>
                  <a:lnTo>
                    <a:pt x="605" y="539"/>
                  </a:lnTo>
                  <a:lnTo>
                    <a:pt x="606" y="537"/>
                  </a:lnTo>
                  <a:lnTo>
                    <a:pt x="608" y="533"/>
                  </a:lnTo>
                  <a:lnTo>
                    <a:pt x="608" y="529"/>
                  </a:lnTo>
                  <a:lnTo>
                    <a:pt x="612" y="526"/>
                  </a:lnTo>
                  <a:lnTo>
                    <a:pt x="611" y="534"/>
                  </a:lnTo>
                  <a:lnTo>
                    <a:pt x="609" y="538"/>
                  </a:lnTo>
                  <a:lnTo>
                    <a:pt x="612" y="535"/>
                  </a:lnTo>
                  <a:lnTo>
                    <a:pt x="614" y="532"/>
                  </a:lnTo>
                  <a:lnTo>
                    <a:pt x="613" y="538"/>
                  </a:lnTo>
                  <a:lnTo>
                    <a:pt x="613" y="540"/>
                  </a:lnTo>
                  <a:lnTo>
                    <a:pt x="615" y="540"/>
                  </a:lnTo>
                  <a:lnTo>
                    <a:pt x="615" y="537"/>
                  </a:lnTo>
                  <a:lnTo>
                    <a:pt x="617" y="535"/>
                  </a:lnTo>
                  <a:lnTo>
                    <a:pt x="620" y="534"/>
                  </a:lnTo>
                  <a:lnTo>
                    <a:pt x="621" y="532"/>
                  </a:lnTo>
                  <a:lnTo>
                    <a:pt x="621" y="535"/>
                  </a:lnTo>
                  <a:lnTo>
                    <a:pt x="619" y="539"/>
                  </a:lnTo>
                  <a:lnTo>
                    <a:pt x="619" y="541"/>
                  </a:lnTo>
                  <a:lnTo>
                    <a:pt x="623" y="538"/>
                  </a:lnTo>
                  <a:lnTo>
                    <a:pt x="624" y="537"/>
                  </a:lnTo>
                  <a:lnTo>
                    <a:pt x="624" y="535"/>
                  </a:lnTo>
                  <a:lnTo>
                    <a:pt x="625" y="543"/>
                  </a:lnTo>
                  <a:lnTo>
                    <a:pt x="628" y="545"/>
                  </a:lnTo>
                  <a:lnTo>
                    <a:pt x="629" y="547"/>
                  </a:lnTo>
                  <a:lnTo>
                    <a:pt x="632" y="545"/>
                  </a:lnTo>
                  <a:lnTo>
                    <a:pt x="634" y="544"/>
                  </a:lnTo>
                  <a:lnTo>
                    <a:pt x="634" y="545"/>
                  </a:lnTo>
                  <a:lnTo>
                    <a:pt x="634" y="549"/>
                  </a:lnTo>
                  <a:lnTo>
                    <a:pt x="634" y="552"/>
                  </a:lnTo>
                  <a:lnTo>
                    <a:pt x="635" y="556"/>
                  </a:lnTo>
                  <a:lnTo>
                    <a:pt x="635" y="555"/>
                  </a:lnTo>
                  <a:lnTo>
                    <a:pt x="636" y="551"/>
                  </a:lnTo>
                  <a:lnTo>
                    <a:pt x="636" y="549"/>
                  </a:lnTo>
                  <a:lnTo>
                    <a:pt x="637" y="545"/>
                  </a:lnTo>
                  <a:lnTo>
                    <a:pt x="638" y="547"/>
                  </a:lnTo>
                  <a:lnTo>
                    <a:pt x="638" y="549"/>
                  </a:lnTo>
                  <a:lnTo>
                    <a:pt x="641" y="546"/>
                  </a:lnTo>
                  <a:lnTo>
                    <a:pt x="641" y="543"/>
                  </a:lnTo>
                  <a:lnTo>
                    <a:pt x="642" y="538"/>
                  </a:lnTo>
                  <a:lnTo>
                    <a:pt x="642" y="545"/>
                  </a:lnTo>
                  <a:lnTo>
                    <a:pt x="642" y="550"/>
                  </a:lnTo>
                  <a:lnTo>
                    <a:pt x="642" y="553"/>
                  </a:lnTo>
                  <a:lnTo>
                    <a:pt x="644" y="556"/>
                  </a:lnTo>
                  <a:lnTo>
                    <a:pt x="646" y="556"/>
                  </a:lnTo>
                  <a:lnTo>
                    <a:pt x="647" y="556"/>
                  </a:lnTo>
                  <a:lnTo>
                    <a:pt x="649" y="556"/>
                  </a:lnTo>
                  <a:lnTo>
                    <a:pt x="650" y="552"/>
                  </a:lnTo>
                  <a:lnTo>
                    <a:pt x="650" y="549"/>
                  </a:lnTo>
                  <a:lnTo>
                    <a:pt x="650" y="545"/>
                  </a:lnTo>
                  <a:lnTo>
                    <a:pt x="652" y="549"/>
                  </a:lnTo>
                  <a:lnTo>
                    <a:pt x="652" y="551"/>
                  </a:lnTo>
                  <a:lnTo>
                    <a:pt x="653" y="549"/>
                  </a:lnTo>
                  <a:lnTo>
                    <a:pt x="654" y="549"/>
                  </a:lnTo>
                  <a:lnTo>
                    <a:pt x="655" y="553"/>
                  </a:lnTo>
                  <a:lnTo>
                    <a:pt x="655" y="555"/>
                  </a:lnTo>
                  <a:lnTo>
                    <a:pt x="656" y="556"/>
                  </a:lnTo>
                  <a:lnTo>
                    <a:pt x="658" y="552"/>
                  </a:lnTo>
                  <a:lnTo>
                    <a:pt x="658" y="550"/>
                  </a:lnTo>
                  <a:lnTo>
                    <a:pt x="664" y="553"/>
                  </a:lnTo>
                  <a:lnTo>
                    <a:pt x="662" y="551"/>
                  </a:lnTo>
                  <a:lnTo>
                    <a:pt x="660" y="550"/>
                  </a:lnTo>
                  <a:lnTo>
                    <a:pt x="662" y="547"/>
                  </a:lnTo>
                  <a:lnTo>
                    <a:pt x="660" y="547"/>
                  </a:lnTo>
                  <a:lnTo>
                    <a:pt x="656" y="547"/>
                  </a:lnTo>
                  <a:lnTo>
                    <a:pt x="654" y="546"/>
                  </a:lnTo>
                  <a:lnTo>
                    <a:pt x="659" y="545"/>
                  </a:lnTo>
                  <a:lnTo>
                    <a:pt x="658" y="544"/>
                  </a:lnTo>
                  <a:lnTo>
                    <a:pt x="654" y="544"/>
                  </a:lnTo>
                  <a:lnTo>
                    <a:pt x="650" y="544"/>
                  </a:lnTo>
                  <a:lnTo>
                    <a:pt x="649" y="541"/>
                  </a:lnTo>
                  <a:lnTo>
                    <a:pt x="652" y="540"/>
                  </a:lnTo>
                  <a:lnTo>
                    <a:pt x="650" y="539"/>
                  </a:lnTo>
                  <a:lnTo>
                    <a:pt x="649" y="538"/>
                  </a:lnTo>
                  <a:lnTo>
                    <a:pt x="647" y="537"/>
                  </a:lnTo>
                  <a:lnTo>
                    <a:pt x="642" y="534"/>
                  </a:lnTo>
                  <a:lnTo>
                    <a:pt x="643" y="533"/>
                  </a:lnTo>
                  <a:lnTo>
                    <a:pt x="642" y="531"/>
                  </a:lnTo>
                  <a:lnTo>
                    <a:pt x="640" y="529"/>
                  </a:lnTo>
                  <a:lnTo>
                    <a:pt x="638" y="527"/>
                  </a:lnTo>
                  <a:lnTo>
                    <a:pt x="636" y="526"/>
                  </a:lnTo>
                  <a:lnTo>
                    <a:pt x="634" y="522"/>
                  </a:lnTo>
                  <a:lnTo>
                    <a:pt x="634" y="520"/>
                  </a:lnTo>
                  <a:lnTo>
                    <a:pt x="636" y="518"/>
                  </a:lnTo>
                  <a:lnTo>
                    <a:pt x="637" y="516"/>
                  </a:lnTo>
                  <a:lnTo>
                    <a:pt x="638" y="518"/>
                  </a:lnTo>
                  <a:lnTo>
                    <a:pt x="638" y="522"/>
                  </a:lnTo>
                  <a:lnTo>
                    <a:pt x="640" y="524"/>
                  </a:lnTo>
                  <a:lnTo>
                    <a:pt x="641" y="527"/>
                  </a:lnTo>
                  <a:lnTo>
                    <a:pt x="642" y="526"/>
                  </a:lnTo>
                  <a:lnTo>
                    <a:pt x="643" y="522"/>
                  </a:lnTo>
                  <a:lnTo>
                    <a:pt x="644" y="523"/>
                  </a:lnTo>
                  <a:lnTo>
                    <a:pt x="646" y="522"/>
                  </a:lnTo>
                  <a:lnTo>
                    <a:pt x="646" y="521"/>
                  </a:lnTo>
                  <a:lnTo>
                    <a:pt x="646" y="518"/>
                  </a:lnTo>
                  <a:lnTo>
                    <a:pt x="644" y="517"/>
                  </a:lnTo>
                  <a:lnTo>
                    <a:pt x="642" y="516"/>
                  </a:lnTo>
                  <a:lnTo>
                    <a:pt x="638" y="514"/>
                  </a:lnTo>
                  <a:lnTo>
                    <a:pt x="642" y="512"/>
                  </a:lnTo>
                  <a:lnTo>
                    <a:pt x="643" y="511"/>
                  </a:lnTo>
                  <a:lnTo>
                    <a:pt x="641" y="511"/>
                  </a:lnTo>
                  <a:lnTo>
                    <a:pt x="637" y="511"/>
                  </a:lnTo>
                  <a:lnTo>
                    <a:pt x="632" y="511"/>
                  </a:lnTo>
                  <a:lnTo>
                    <a:pt x="628" y="508"/>
                  </a:lnTo>
                  <a:lnTo>
                    <a:pt x="621" y="505"/>
                  </a:lnTo>
                  <a:lnTo>
                    <a:pt x="618" y="503"/>
                  </a:lnTo>
                  <a:lnTo>
                    <a:pt x="611" y="499"/>
                  </a:lnTo>
                  <a:lnTo>
                    <a:pt x="606" y="497"/>
                  </a:lnTo>
                  <a:lnTo>
                    <a:pt x="601" y="496"/>
                  </a:lnTo>
                  <a:lnTo>
                    <a:pt x="597" y="496"/>
                  </a:lnTo>
                  <a:lnTo>
                    <a:pt x="593" y="493"/>
                  </a:lnTo>
                  <a:lnTo>
                    <a:pt x="589" y="493"/>
                  </a:lnTo>
                  <a:lnTo>
                    <a:pt x="589" y="491"/>
                  </a:lnTo>
                  <a:lnTo>
                    <a:pt x="590" y="490"/>
                  </a:lnTo>
                  <a:lnTo>
                    <a:pt x="593" y="488"/>
                  </a:lnTo>
                  <a:lnTo>
                    <a:pt x="588" y="487"/>
                  </a:lnTo>
                  <a:lnTo>
                    <a:pt x="584" y="487"/>
                  </a:lnTo>
                  <a:lnTo>
                    <a:pt x="581" y="486"/>
                  </a:lnTo>
                  <a:lnTo>
                    <a:pt x="578" y="485"/>
                  </a:lnTo>
                  <a:lnTo>
                    <a:pt x="577" y="482"/>
                  </a:lnTo>
                  <a:lnTo>
                    <a:pt x="577" y="478"/>
                  </a:lnTo>
                  <a:lnTo>
                    <a:pt x="578" y="474"/>
                  </a:lnTo>
                  <a:lnTo>
                    <a:pt x="581" y="470"/>
                  </a:lnTo>
                  <a:lnTo>
                    <a:pt x="583" y="467"/>
                  </a:lnTo>
                  <a:lnTo>
                    <a:pt x="583" y="469"/>
                  </a:lnTo>
                  <a:lnTo>
                    <a:pt x="583" y="472"/>
                  </a:lnTo>
                  <a:lnTo>
                    <a:pt x="585" y="473"/>
                  </a:lnTo>
                  <a:lnTo>
                    <a:pt x="588" y="473"/>
                  </a:lnTo>
                  <a:lnTo>
                    <a:pt x="588" y="474"/>
                  </a:lnTo>
                  <a:lnTo>
                    <a:pt x="590" y="475"/>
                  </a:lnTo>
                  <a:lnTo>
                    <a:pt x="591" y="475"/>
                  </a:lnTo>
                  <a:lnTo>
                    <a:pt x="593" y="472"/>
                  </a:lnTo>
                  <a:lnTo>
                    <a:pt x="594" y="469"/>
                  </a:lnTo>
                  <a:lnTo>
                    <a:pt x="593" y="475"/>
                  </a:lnTo>
                  <a:lnTo>
                    <a:pt x="595" y="478"/>
                  </a:lnTo>
                  <a:lnTo>
                    <a:pt x="596" y="476"/>
                  </a:lnTo>
                  <a:lnTo>
                    <a:pt x="596" y="473"/>
                  </a:lnTo>
                  <a:lnTo>
                    <a:pt x="599" y="469"/>
                  </a:lnTo>
                  <a:lnTo>
                    <a:pt x="599" y="473"/>
                  </a:lnTo>
                  <a:lnTo>
                    <a:pt x="601" y="475"/>
                  </a:lnTo>
                  <a:lnTo>
                    <a:pt x="602" y="472"/>
                  </a:lnTo>
                  <a:lnTo>
                    <a:pt x="603" y="470"/>
                  </a:lnTo>
                  <a:lnTo>
                    <a:pt x="602" y="475"/>
                  </a:lnTo>
                  <a:lnTo>
                    <a:pt x="602" y="480"/>
                  </a:lnTo>
                  <a:lnTo>
                    <a:pt x="605" y="481"/>
                  </a:lnTo>
                  <a:lnTo>
                    <a:pt x="607" y="482"/>
                  </a:lnTo>
                  <a:lnTo>
                    <a:pt x="607" y="478"/>
                  </a:lnTo>
                  <a:lnTo>
                    <a:pt x="607" y="475"/>
                  </a:lnTo>
                  <a:lnTo>
                    <a:pt x="608" y="473"/>
                  </a:lnTo>
                  <a:lnTo>
                    <a:pt x="609" y="474"/>
                  </a:lnTo>
                  <a:lnTo>
                    <a:pt x="609" y="479"/>
                  </a:lnTo>
                  <a:lnTo>
                    <a:pt x="612" y="478"/>
                  </a:lnTo>
                  <a:lnTo>
                    <a:pt x="613" y="475"/>
                  </a:lnTo>
                  <a:lnTo>
                    <a:pt x="614" y="478"/>
                  </a:lnTo>
                  <a:lnTo>
                    <a:pt x="615" y="474"/>
                  </a:lnTo>
                  <a:lnTo>
                    <a:pt x="617" y="473"/>
                  </a:lnTo>
                  <a:lnTo>
                    <a:pt x="615" y="479"/>
                  </a:lnTo>
                  <a:lnTo>
                    <a:pt x="618" y="478"/>
                  </a:lnTo>
                  <a:lnTo>
                    <a:pt x="620" y="480"/>
                  </a:lnTo>
                  <a:lnTo>
                    <a:pt x="621" y="478"/>
                  </a:lnTo>
                  <a:lnTo>
                    <a:pt x="621" y="484"/>
                  </a:lnTo>
                  <a:lnTo>
                    <a:pt x="620" y="487"/>
                  </a:lnTo>
                  <a:lnTo>
                    <a:pt x="624" y="486"/>
                  </a:lnTo>
                  <a:lnTo>
                    <a:pt x="625" y="485"/>
                  </a:lnTo>
                  <a:lnTo>
                    <a:pt x="626" y="484"/>
                  </a:lnTo>
                  <a:lnTo>
                    <a:pt x="628" y="478"/>
                  </a:lnTo>
                  <a:lnTo>
                    <a:pt x="629" y="476"/>
                  </a:lnTo>
                  <a:lnTo>
                    <a:pt x="632" y="479"/>
                  </a:lnTo>
                  <a:lnTo>
                    <a:pt x="634" y="478"/>
                  </a:lnTo>
                  <a:lnTo>
                    <a:pt x="634" y="475"/>
                  </a:lnTo>
                  <a:lnTo>
                    <a:pt x="637" y="478"/>
                  </a:lnTo>
                  <a:lnTo>
                    <a:pt x="636" y="480"/>
                  </a:lnTo>
                  <a:lnTo>
                    <a:pt x="637" y="479"/>
                  </a:lnTo>
                  <a:lnTo>
                    <a:pt x="641" y="479"/>
                  </a:lnTo>
                  <a:lnTo>
                    <a:pt x="646" y="479"/>
                  </a:lnTo>
                  <a:lnTo>
                    <a:pt x="644" y="478"/>
                  </a:lnTo>
                  <a:lnTo>
                    <a:pt x="640" y="475"/>
                  </a:lnTo>
                  <a:lnTo>
                    <a:pt x="634" y="472"/>
                  </a:lnTo>
                  <a:lnTo>
                    <a:pt x="634" y="469"/>
                  </a:lnTo>
                  <a:lnTo>
                    <a:pt x="631" y="469"/>
                  </a:lnTo>
                  <a:lnTo>
                    <a:pt x="626" y="469"/>
                  </a:lnTo>
                  <a:lnTo>
                    <a:pt x="624" y="468"/>
                  </a:lnTo>
                  <a:lnTo>
                    <a:pt x="623" y="466"/>
                  </a:lnTo>
                  <a:lnTo>
                    <a:pt x="628" y="466"/>
                  </a:lnTo>
                  <a:lnTo>
                    <a:pt x="631" y="467"/>
                  </a:lnTo>
                  <a:lnTo>
                    <a:pt x="629" y="464"/>
                  </a:lnTo>
                  <a:lnTo>
                    <a:pt x="623" y="462"/>
                  </a:lnTo>
                  <a:lnTo>
                    <a:pt x="621" y="461"/>
                  </a:lnTo>
                  <a:lnTo>
                    <a:pt x="626" y="460"/>
                  </a:lnTo>
                  <a:lnTo>
                    <a:pt x="621" y="460"/>
                  </a:lnTo>
                  <a:lnTo>
                    <a:pt x="615" y="458"/>
                  </a:lnTo>
                  <a:lnTo>
                    <a:pt x="615" y="456"/>
                  </a:lnTo>
                  <a:lnTo>
                    <a:pt x="613" y="456"/>
                  </a:lnTo>
                  <a:lnTo>
                    <a:pt x="609" y="455"/>
                  </a:lnTo>
                  <a:lnTo>
                    <a:pt x="612" y="452"/>
                  </a:lnTo>
                  <a:lnTo>
                    <a:pt x="609" y="452"/>
                  </a:lnTo>
                  <a:lnTo>
                    <a:pt x="603" y="452"/>
                  </a:lnTo>
                  <a:lnTo>
                    <a:pt x="602" y="450"/>
                  </a:lnTo>
                  <a:lnTo>
                    <a:pt x="601" y="449"/>
                  </a:lnTo>
                  <a:lnTo>
                    <a:pt x="599" y="450"/>
                  </a:lnTo>
                  <a:lnTo>
                    <a:pt x="595" y="450"/>
                  </a:lnTo>
                  <a:lnTo>
                    <a:pt x="594" y="449"/>
                  </a:lnTo>
                  <a:lnTo>
                    <a:pt x="594" y="445"/>
                  </a:lnTo>
                  <a:lnTo>
                    <a:pt x="591" y="446"/>
                  </a:lnTo>
                  <a:lnTo>
                    <a:pt x="590" y="444"/>
                  </a:lnTo>
                  <a:lnTo>
                    <a:pt x="587" y="444"/>
                  </a:lnTo>
                  <a:lnTo>
                    <a:pt x="583" y="445"/>
                  </a:lnTo>
                  <a:lnTo>
                    <a:pt x="581" y="445"/>
                  </a:lnTo>
                  <a:lnTo>
                    <a:pt x="579" y="444"/>
                  </a:lnTo>
                  <a:lnTo>
                    <a:pt x="571" y="440"/>
                  </a:lnTo>
                  <a:lnTo>
                    <a:pt x="566" y="439"/>
                  </a:lnTo>
                  <a:lnTo>
                    <a:pt x="562" y="437"/>
                  </a:lnTo>
                  <a:lnTo>
                    <a:pt x="560" y="437"/>
                  </a:lnTo>
                  <a:lnTo>
                    <a:pt x="558" y="437"/>
                  </a:lnTo>
                  <a:lnTo>
                    <a:pt x="553" y="436"/>
                  </a:lnTo>
                  <a:lnTo>
                    <a:pt x="549" y="434"/>
                  </a:lnTo>
                  <a:lnTo>
                    <a:pt x="547" y="433"/>
                  </a:lnTo>
                  <a:lnTo>
                    <a:pt x="543" y="433"/>
                  </a:lnTo>
                  <a:lnTo>
                    <a:pt x="541" y="432"/>
                  </a:lnTo>
                  <a:lnTo>
                    <a:pt x="540" y="434"/>
                  </a:lnTo>
                  <a:lnTo>
                    <a:pt x="537" y="431"/>
                  </a:lnTo>
                  <a:lnTo>
                    <a:pt x="536" y="431"/>
                  </a:lnTo>
                  <a:lnTo>
                    <a:pt x="534" y="431"/>
                  </a:lnTo>
                  <a:lnTo>
                    <a:pt x="529" y="433"/>
                  </a:lnTo>
                  <a:lnTo>
                    <a:pt x="529" y="432"/>
                  </a:lnTo>
                  <a:lnTo>
                    <a:pt x="525" y="431"/>
                  </a:lnTo>
                  <a:lnTo>
                    <a:pt x="523" y="430"/>
                  </a:lnTo>
                  <a:lnTo>
                    <a:pt x="520" y="431"/>
                  </a:lnTo>
                  <a:lnTo>
                    <a:pt x="519" y="428"/>
                  </a:lnTo>
                  <a:lnTo>
                    <a:pt x="514" y="427"/>
                  </a:lnTo>
                  <a:lnTo>
                    <a:pt x="512" y="426"/>
                  </a:lnTo>
                  <a:lnTo>
                    <a:pt x="511" y="426"/>
                  </a:lnTo>
                  <a:lnTo>
                    <a:pt x="510" y="425"/>
                  </a:lnTo>
                  <a:lnTo>
                    <a:pt x="511" y="424"/>
                  </a:lnTo>
                  <a:lnTo>
                    <a:pt x="513" y="425"/>
                  </a:lnTo>
                  <a:lnTo>
                    <a:pt x="516" y="426"/>
                  </a:lnTo>
                  <a:lnTo>
                    <a:pt x="518" y="428"/>
                  </a:lnTo>
                  <a:lnTo>
                    <a:pt x="522" y="430"/>
                  </a:lnTo>
                  <a:lnTo>
                    <a:pt x="525" y="430"/>
                  </a:lnTo>
                  <a:lnTo>
                    <a:pt x="525" y="427"/>
                  </a:lnTo>
                  <a:lnTo>
                    <a:pt x="528" y="428"/>
                  </a:lnTo>
                  <a:lnTo>
                    <a:pt x="528" y="431"/>
                  </a:lnTo>
                  <a:lnTo>
                    <a:pt x="529" y="431"/>
                  </a:lnTo>
                  <a:lnTo>
                    <a:pt x="530" y="431"/>
                  </a:lnTo>
                  <a:lnTo>
                    <a:pt x="532" y="427"/>
                  </a:lnTo>
                  <a:lnTo>
                    <a:pt x="534" y="426"/>
                  </a:lnTo>
                  <a:lnTo>
                    <a:pt x="535" y="430"/>
                  </a:lnTo>
                  <a:lnTo>
                    <a:pt x="536" y="430"/>
                  </a:lnTo>
                  <a:lnTo>
                    <a:pt x="538" y="430"/>
                  </a:lnTo>
                  <a:lnTo>
                    <a:pt x="538" y="428"/>
                  </a:lnTo>
                  <a:lnTo>
                    <a:pt x="540" y="431"/>
                  </a:lnTo>
                  <a:lnTo>
                    <a:pt x="541" y="431"/>
                  </a:lnTo>
                  <a:lnTo>
                    <a:pt x="542" y="430"/>
                  </a:lnTo>
                  <a:lnTo>
                    <a:pt x="543" y="431"/>
                  </a:lnTo>
                  <a:lnTo>
                    <a:pt x="544" y="431"/>
                  </a:lnTo>
                  <a:lnTo>
                    <a:pt x="548" y="432"/>
                  </a:lnTo>
                  <a:lnTo>
                    <a:pt x="549" y="433"/>
                  </a:lnTo>
                  <a:lnTo>
                    <a:pt x="550" y="432"/>
                  </a:lnTo>
                  <a:lnTo>
                    <a:pt x="552" y="431"/>
                  </a:lnTo>
                  <a:lnTo>
                    <a:pt x="553" y="430"/>
                  </a:lnTo>
                  <a:lnTo>
                    <a:pt x="552" y="426"/>
                  </a:lnTo>
                  <a:lnTo>
                    <a:pt x="554" y="428"/>
                  </a:lnTo>
                  <a:lnTo>
                    <a:pt x="556" y="431"/>
                  </a:lnTo>
                  <a:lnTo>
                    <a:pt x="558" y="434"/>
                  </a:lnTo>
                  <a:lnTo>
                    <a:pt x="559" y="434"/>
                  </a:lnTo>
                  <a:lnTo>
                    <a:pt x="559" y="433"/>
                  </a:lnTo>
                  <a:lnTo>
                    <a:pt x="561" y="432"/>
                  </a:lnTo>
                  <a:lnTo>
                    <a:pt x="562" y="434"/>
                  </a:lnTo>
                  <a:lnTo>
                    <a:pt x="562" y="436"/>
                  </a:lnTo>
                  <a:lnTo>
                    <a:pt x="565" y="434"/>
                  </a:lnTo>
                  <a:lnTo>
                    <a:pt x="566" y="432"/>
                  </a:lnTo>
                  <a:lnTo>
                    <a:pt x="565" y="436"/>
                  </a:lnTo>
                  <a:lnTo>
                    <a:pt x="566" y="437"/>
                  </a:lnTo>
                  <a:lnTo>
                    <a:pt x="570" y="437"/>
                  </a:lnTo>
                  <a:lnTo>
                    <a:pt x="572" y="436"/>
                  </a:lnTo>
                  <a:lnTo>
                    <a:pt x="572" y="434"/>
                  </a:lnTo>
                  <a:lnTo>
                    <a:pt x="573" y="434"/>
                  </a:lnTo>
                  <a:lnTo>
                    <a:pt x="577" y="439"/>
                  </a:lnTo>
                  <a:lnTo>
                    <a:pt x="577" y="438"/>
                  </a:lnTo>
                  <a:lnTo>
                    <a:pt x="576" y="436"/>
                  </a:lnTo>
                  <a:lnTo>
                    <a:pt x="575" y="433"/>
                  </a:lnTo>
                  <a:lnTo>
                    <a:pt x="575" y="432"/>
                  </a:lnTo>
                  <a:lnTo>
                    <a:pt x="575" y="433"/>
                  </a:lnTo>
                  <a:lnTo>
                    <a:pt x="577" y="433"/>
                  </a:lnTo>
                  <a:lnTo>
                    <a:pt x="577" y="431"/>
                  </a:lnTo>
                  <a:lnTo>
                    <a:pt x="578" y="430"/>
                  </a:lnTo>
                  <a:lnTo>
                    <a:pt x="579" y="431"/>
                  </a:lnTo>
                  <a:lnTo>
                    <a:pt x="578" y="436"/>
                  </a:lnTo>
                  <a:lnTo>
                    <a:pt x="579" y="437"/>
                  </a:lnTo>
                  <a:lnTo>
                    <a:pt x="581" y="437"/>
                  </a:lnTo>
                  <a:lnTo>
                    <a:pt x="581" y="439"/>
                  </a:lnTo>
                  <a:lnTo>
                    <a:pt x="582" y="442"/>
                  </a:lnTo>
                  <a:lnTo>
                    <a:pt x="583" y="443"/>
                  </a:lnTo>
                  <a:lnTo>
                    <a:pt x="584" y="440"/>
                  </a:lnTo>
                  <a:lnTo>
                    <a:pt x="584" y="437"/>
                  </a:lnTo>
                  <a:lnTo>
                    <a:pt x="584" y="433"/>
                  </a:lnTo>
                  <a:lnTo>
                    <a:pt x="585" y="433"/>
                  </a:lnTo>
                  <a:lnTo>
                    <a:pt x="587" y="442"/>
                  </a:lnTo>
                  <a:lnTo>
                    <a:pt x="588" y="440"/>
                  </a:lnTo>
                  <a:lnTo>
                    <a:pt x="588" y="438"/>
                  </a:lnTo>
                  <a:lnTo>
                    <a:pt x="588" y="436"/>
                  </a:lnTo>
                  <a:lnTo>
                    <a:pt x="590" y="434"/>
                  </a:lnTo>
                  <a:lnTo>
                    <a:pt x="590" y="432"/>
                  </a:lnTo>
                  <a:lnTo>
                    <a:pt x="590" y="431"/>
                  </a:lnTo>
                  <a:lnTo>
                    <a:pt x="591" y="436"/>
                  </a:lnTo>
                  <a:lnTo>
                    <a:pt x="591" y="439"/>
                  </a:lnTo>
                  <a:lnTo>
                    <a:pt x="594" y="440"/>
                  </a:lnTo>
                  <a:lnTo>
                    <a:pt x="596" y="440"/>
                  </a:lnTo>
                  <a:lnTo>
                    <a:pt x="597" y="436"/>
                  </a:lnTo>
                  <a:lnTo>
                    <a:pt x="599" y="440"/>
                  </a:lnTo>
                  <a:lnTo>
                    <a:pt x="599" y="444"/>
                  </a:lnTo>
                  <a:lnTo>
                    <a:pt x="597" y="445"/>
                  </a:lnTo>
                  <a:lnTo>
                    <a:pt x="600" y="446"/>
                  </a:lnTo>
                  <a:lnTo>
                    <a:pt x="601" y="446"/>
                  </a:lnTo>
                  <a:lnTo>
                    <a:pt x="601" y="444"/>
                  </a:lnTo>
                  <a:lnTo>
                    <a:pt x="602" y="443"/>
                  </a:lnTo>
                  <a:lnTo>
                    <a:pt x="605" y="440"/>
                  </a:lnTo>
                  <a:lnTo>
                    <a:pt x="605" y="439"/>
                  </a:lnTo>
                  <a:lnTo>
                    <a:pt x="605" y="436"/>
                  </a:lnTo>
                  <a:lnTo>
                    <a:pt x="606" y="433"/>
                  </a:lnTo>
                  <a:lnTo>
                    <a:pt x="607" y="436"/>
                  </a:lnTo>
                  <a:lnTo>
                    <a:pt x="608" y="438"/>
                  </a:lnTo>
                  <a:lnTo>
                    <a:pt x="609" y="442"/>
                  </a:lnTo>
                  <a:lnTo>
                    <a:pt x="609" y="440"/>
                  </a:lnTo>
                  <a:lnTo>
                    <a:pt x="611" y="438"/>
                  </a:lnTo>
                  <a:lnTo>
                    <a:pt x="612" y="438"/>
                  </a:lnTo>
                  <a:lnTo>
                    <a:pt x="613" y="440"/>
                  </a:lnTo>
                  <a:lnTo>
                    <a:pt x="613" y="443"/>
                  </a:lnTo>
                  <a:lnTo>
                    <a:pt x="613" y="445"/>
                  </a:lnTo>
                  <a:lnTo>
                    <a:pt x="614" y="446"/>
                  </a:lnTo>
                  <a:lnTo>
                    <a:pt x="617" y="443"/>
                  </a:lnTo>
                  <a:lnTo>
                    <a:pt x="618" y="442"/>
                  </a:lnTo>
                  <a:lnTo>
                    <a:pt x="619" y="443"/>
                  </a:lnTo>
                  <a:lnTo>
                    <a:pt x="620" y="443"/>
                  </a:lnTo>
                  <a:lnTo>
                    <a:pt x="620" y="440"/>
                  </a:lnTo>
                  <a:lnTo>
                    <a:pt x="621" y="436"/>
                  </a:lnTo>
                  <a:lnTo>
                    <a:pt x="624" y="434"/>
                  </a:lnTo>
                  <a:lnTo>
                    <a:pt x="625" y="436"/>
                  </a:lnTo>
                  <a:lnTo>
                    <a:pt x="628" y="436"/>
                  </a:lnTo>
                  <a:lnTo>
                    <a:pt x="628" y="438"/>
                  </a:lnTo>
                  <a:lnTo>
                    <a:pt x="629" y="442"/>
                  </a:lnTo>
                  <a:lnTo>
                    <a:pt x="631" y="440"/>
                  </a:lnTo>
                  <a:lnTo>
                    <a:pt x="631" y="438"/>
                  </a:lnTo>
                  <a:lnTo>
                    <a:pt x="638" y="440"/>
                  </a:lnTo>
                  <a:lnTo>
                    <a:pt x="637" y="439"/>
                  </a:lnTo>
                  <a:lnTo>
                    <a:pt x="634" y="437"/>
                  </a:lnTo>
                  <a:lnTo>
                    <a:pt x="631" y="437"/>
                  </a:lnTo>
                  <a:lnTo>
                    <a:pt x="635" y="434"/>
                  </a:lnTo>
                  <a:lnTo>
                    <a:pt x="634" y="433"/>
                  </a:lnTo>
                  <a:lnTo>
                    <a:pt x="630" y="433"/>
                  </a:lnTo>
                  <a:lnTo>
                    <a:pt x="631" y="432"/>
                  </a:lnTo>
                  <a:lnTo>
                    <a:pt x="631" y="431"/>
                  </a:lnTo>
                  <a:lnTo>
                    <a:pt x="628" y="431"/>
                  </a:lnTo>
                  <a:lnTo>
                    <a:pt x="624" y="430"/>
                  </a:lnTo>
                  <a:lnTo>
                    <a:pt x="621" y="428"/>
                  </a:lnTo>
                  <a:lnTo>
                    <a:pt x="619" y="426"/>
                  </a:lnTo>
                  <a:lnTo>
                    <a:pt x="617" y="425"/>
                  </a:lnTo>
                  <a:lnTo>
                    <a:pt x="614" y="422"/>
                  </a:lnTo>
                  <a:lnTo>
                    <a:pt x="613" y="421"/>
                  </a:lnTo>
                  <a:lnTo>
                    <a:pt x="611" y="417"/>
                  </a:lnTo>
                  <a:lnTo>
                    <a:pt x="613" y="416"/>
                  </a:lnTo>
                  <a:lnTo>
                    <a:pt x="617" y="417"/>
                  </a:lnTo>
                  <a:lnTo>
                    <a:pt x="615" y="415"/>
                  </a:lnTo>
                  <a:lnTo>
                    <a:pt x="614" y="414"/>
                  </a:lnTo>
                  <a:lnTo>
                    <a:pt x="613" y="410"/>
                  </a:lnTo>
                  <a:lnTo>
                    <a:pt x="611" y="411"/>
                  </a:lnTo>
                  <a:lnTo>
                    <a:pt x="611" y="414"/>
                  </a:lnTo>
                  <a:lnTo>
                    <a:pt x="607" y="413"/>
                  </a:lnTo>
                  <a:lnTo>
                    <a:pt x="603" y="414"/>
                  </a:lnTo>
                  <a:lnTo>
                    <a:pt x="595" y="410"/>
                  </a:lnTo>
                  <a:lnTo>
                    <a:pt x="590" y="409"/>
                  </a:lnTo>
                  <a:lnTo>
                    <a:pt x="590" y="407"/>
                  </a:lnTo>
                  <a:lnTo>
                    <a:pt x="588" y="408"/>
                  </a:lnTo>
                  <a:lnTo>
                    <a:pt x="585" y="408"/>
                  </a:lnTo>
                  <a:lnTo>
                    <a:pt x="584" y="407"/>
                  </a:lnTo>
                  <a:lnTo>
                    <a:pt x="582" y="405"/>
                  </a:lnTo>
                  <a:lnTo>
                    <a:pt x="581" y="404"/>
                  </a:lnTo>
                  <a:lnTo>
                    <a:pt x="572" y="404"/>
                  </a:lnTo>
                  <a:lnTo>
                    <a:pt x="567" y="404"/>
                  </a:lnTo>
                  <a:lnTo>
                    <a:pt x="566" y="403"/>
                  </a:lnTo>
                  <a:lnTo>
                    <a:pt x="564" y="402"/>
                  </a:lnTo>
                  <a:lnTo>
                    <a:pt x="561" y="402"/>
                  </a:lnTo>
                  <a:lnTo>
                    <a:pt x="556" y="401"/>
                  </a:lnTo>
                  <a:lnTo>
                    <a:pt x="554" y="399"/>
                  </a:lnTo>
                  <a:lnTo>
                    <a:pt x="553" y="395"/>
                  </a:lnTo>
                  <a:lnTo>
                    <a:pt x="549" y="395"/>
                  </a:lnTo>
                  <a:lnTo>
                    <a:pt x="547" y="393"/>
                  </a:lnTo>
                  <a:lnTo>
                    <a:pt x="541" y="392"/>
                  </a:lnTo>
                  <a:lnTo>
                    <a:pt x="540" y="392"/>
                  </a:lnTo>
                  <a:lnTo>
                    <a:pt x="536" y="392"/>
                  </a:lnTo>
                  <a:lnTo>
                    <a:pt x="532" y="392"/>
                  </a:lnTo>
                  <a:lnTo>
                    <a:pt x="532" y="390"/>
                  </a:lnTo>
                  <a:lnTo>
                    <a:pt x="529" y="390"/>
                  </a:lnTo>
                  <a:lnTo>
                    <a:pt x="528" y="391"/>
                  </a:lnTo>
                  <a:lnTo>
                    <a:pt x="520" y="392"/>
                  </a:lnTo>
                  <a:lnTo>
                    <a:pt x="518" y="391"/>
                  </a:lnTo>
                  <a:lnTo>
                    <a:pt x="513" y="389"/>
                  </a:lnTo>
                  <a:lnTo>
                    <a:pt x="510" y="389"/>
                  </a:lnTo>
                  <a:lnTo>
                    <a:pt x="503" y="387"/>
                  </a:lnTo>
                  <a:lnTo>
                    <a:pt x="499" y="386"/>
                  </a:lnTo>
                  <a:lnTo>
                    <a:pt x="493" y="386"/>
                  </a:lnTo>
                  <a:lnTo>
                    <a:pt x="489" y="383"/>
                  </a:lnTo>
                  <a:lnTo>
                    <a:pt x="485" y="381"/>
                  </a:lnTo>
                  <a:lnTo>
                    <a:pt x="485" y="384"/>
                  </a:lnTo>
                  <a:lnTo>
                    <a:pt x="484" y="385"/>
                  </a:lnTo>
                  <a:lnTo>
                    <a:pt x="482" y="385"/>
                  </a:lnTo>
                  <a:lnTo>
                    <a:pt x="479" y="385"/>
                  </a:lnTo>
                  <a:lnTo>
                    <a:pt x="476" y="383"/>
                  </a:lnTo>
                  <a:lnTo>
                    <a:pt x="473" y="381"/>
                  </a:lnTo>
                  <a:lnTo>
                    <a:pt x="469" y="383"/>
                  </a:lnTo>
                  <a:lnTo>
                    <a:pt x="467" y="384"/>
                  </a:lnTo>
                  <a:lnTo>
                    <a:pt x="464" y="381"/>
                  </a:lnTo>
                  <a:lnTo>
                    <a:pt x="463" y="380"/>
                  </a:lnTo>
                  <a:lnTo>
                    <a:pt x="458" y="380"/>
                  </a:lnTo>
                  <a:lnTo>
                    <a:pt x="453" y="380"/>
                  </a:lnTo>
                  <a:lnTo>
                    <a:pt x="453" y="378"/>
                  </a:lnTo>
                  <a:lnTo>
                    <a:pt x="451" y="375"/>
                  </a:lnTo>
                  <a:lnTo>
                    <a:pt x="448" y="374"/>
                  </a:lnTo>
                  <a:lnTo>
                    <a:pt x="444" y="373"/>
                  </a:lnTo>
                  <a:lnTo>
                    <a:pt x="443" y="371"/>
                  </a:lnTo>
                  <a:lnTo>
                    <a:pt x="440" y="368"/>
                  </a:lnTo>
                  <a:lnTo>
                    <a:pt x="435" y="365"/>
                  </a:lnTo>
                  <a:lnTo>
                    <a:pt x="432" y="361"/>
                  </a:lnTo>
                  <a:lnTo>
                    <a:pt x="432" y="353"/>
                  </a:lnTo>
                  <a:lnTo>
                    <a:pt x="432" y="349"/>
                  </a:lnTo>
                  <a:lnTo>
                    <a:pt x="434" y="349"/>
                  </a:lnTo>
                  <a:lnTo>
                    <a:pt x="435" y="353"/>
                  </a:lnTo>
                  <a:lnTo>
                    <a:pt x="436" y="354"/>
                  </a:lnTo>
                  <a:lnTo>
                    <a:pt x="437" y="351"/>
                  </a:lnTo>
                  <a:lnTo>
                    <a:pt x="437" y="348"/>
                  </a:lnTo>
                  <a:lnTo>
                    <a:pt x="437" y="347"/>
                  </a:lnTo>
                  <a:lnTo>
                    <a:pt x="438" y="349"/>
                  </a:lnTo>
                  <a:lnTo>
                    <a:pt x="438" y="353"/>
                  </a:lnTo>
                  <a:lnTo>
                    <a:pt x="437" y="356"/>
                  </a:lnTo>
                  <a:lnTo>
                    <a:pt x="437" y="360"/>
                  </a:lnTo>
                  <a:lnTo>
                    <a:pt x="436" y="362"/>
                  </a:lnTo>
                  <a:lnTo>
                    <a:pt x="437" y="363"/>
                  </a:lnTo>
                  <a:lnTo>
                    <a:pt x="440" y="365"/>
                  </a:lnTo>
                  <a:lnTo>
                    <a:pt x="441" y="367"/>
                  </a:lnTo>
                  <a:lnTo>
                    <a:pt x="442" y="368"/>
                  </a:lnTo>
                  <a:lnTo>
                    <a:pt x="446" y="371"/>
                  </a:lnTo>
                  <a:lnTo>
                    <a:pt x="447" y="369"/>
                  </a:lnTo>
                  <a:lnTo>
                    <a:pt x="448" y="372"/>
                  </a:lnTo>
                  <a:lnTo>
                    <a:pt x="449" y="372"/>
                  </a:lnTo>
                  <a:lnTo>
                    <a:pt x="452" y="372"/>
                  </a:lnTo>
                  <a:lnTo>
                    <a:pt x="453" y="374"/>
                  </a:lnTo>
                  <a:lnTo>
                    <a:pt x="454" y="373"/>
                  </a:lnTo>
                  <a:lnTo>
                    <a:pt x="454" y="371"/>
                  </a:lnTo>
                  <a:lnTo>
                    <a:pt x="452" y="368"/>
                  </a:lnTo>
                  <a:lnTo>
                    <a:pt x="451" y="366"/>
                  </a:lnTo>
                  <a:lnTo>
                    <a:pt x="452" y="362"/>
                  </a:lnTo>
                  <a:lnTo>
                    <a:pt x="451" y="359"/>
                  </a:lnTo>
                  <a:lnTo>
                    <a:pt x="451" y="355"/>
                  </a:lnTo>
                  <a:lnTo>
                    <a:pt x="452" y="351"/>
                  </a:lnTo>
                  <a:lnTo>
                    <a:pt x="453" y="351"/>
                  </a:lnTo>
                  <a:lnTo>
                    <a:pt x="453" y="353"/>
                  </a:lnTo>
                  <a:lnTo>
                    <a:pt x="452" y="356"/>
                  </a:lnTo>
                  <a:lnTo>
                    <a:pt x="454" y="355"/>
                  </a:lnTo>
                  <a:lnTo>
                    <a:pt x="455" y="356"/>
                  </a:lnTo>
                  <a:lnTo>
                    <a:pt x="453" y="360"/>
                  </a:lnTo>
                  <a:lnTo>
                    <a:pt x="454" y="361"/>
                  </a:lnTo>
                  <a:lnTo>
                    <a:pt x="455" y="361"/>
                  </a:lnTo>
                  <a:lnTo>
                    <a:pt x="457" y="359"/>
                  </a:lnTo>
                  <a:lnTo>
                    <a:pt x="457" y="355"/>
                  </a:lnTo>
                  <a:lnTo>
                    <a:pt x="457" y="353"/>
                  </a:lnTo>
                  <a:lnTo>
                    <a:pt x="459" y="353"/>
                  </a:lnTo>
                  <a:lnTo>
                    <a:pt x="459" y="357"/>
                  </a:lnTo>
                  <a:lnTo>
                    <a:pt x="460" y="361"/>
                  </a:lnTo>
                  <a:lnTo>
                    <a:pt x="460" y="362"/>
                  </a:lnTo>
                  <a:lnTo>
                    <a:pt x="461" y="361"/>
                  </a:lnTo>
                  <a:lnTo>
                    <a:pt x="464" y="360"/>
                  </a:lnTo>
                  <a:lnTo>
                    <a:pt x="464" y="362"/>
                  </a:lnTo>
                  <a:lnTo>
                    <a:pt x="465" y="363"/>
                  </a:lnTo>
                  <a:lnTo>
                    <a:pt x="465" y="365"/>
                  </a:lnTo>
                  <a:lnTo>
                    <a:pt x="466" y="365"/>
                  </a:lnTo>
                  <a:lnTo>
                    <a:pt x="466" y="366"/>
                  </a:lnTo>
                  <a:lnTo>
                    <a:pt x="469" y="367"/>
                  </a:lnTo>
                  <a:lnTo>
                    <a:pt x="470" y="365"/>
                  </a:lnTo>
                  <a:lnTo>
                    <a:pt x="470" y="363"/>
                  </a:lnTo>
                  <a:lnTo>
                    <a:pt x="471" y="362"/>
                  </a:lnTo>
                  <a:lnTo>
                    <a:pt x="471" y="367"/>
                  </a:lnTo>
                  <a:lnTo>
                    <a:pt x="471" y="372"/>
                  </a:lnTo>
                  <a:lnTo>
                    <a:pt x="471" y="373"/>
                  </a:lnTo>
                  <a:lnTo>
                    <a:pt x="472" y="369"/>
                  </a:lnTo>
                  <a:lnTo>
                    <a:pt x="473" y="367"/>
                  </a:lnTo>
                  <a:lnTo>
                    <a:pt x="473" y="363"/>
                  </a:lnTo>
                  <a:lnTo>
                    <a:pt x="475" y="362"/>
                  </a:lnTo>
                  <a:lnTo>
                    <a:pt x="475" y="367"/>
                  </a:lnTo>
                  <a:lnTo>
                    <a:pt x="473" y="372"/>
                  </a:lnTo>
                  <a:lnTo>
                    <a:pt x="473" y="373"/>
                  </a:lnTo>
                  <a:lnTo>
                    <a:pt x="475" y="373"/>
                  </a:lnTo>
                  <a:lnTo>
                    <a:pt x="476" y="372"/>
                  </a:lnTo>
                  <a:lnTo>
                    <a:pt x="476" y="373"/>
                  </a:lnTo>
                  <a:lnTo>
                    <a:pt x="477" y="375"/>
                  </a:lnTo>
                  <a:lnTo>
                    <a:pt x="478" y="379"/>
                  </a:lnTo>
                  <a:lnTo>
                    <a:pt x="479" y="378"/>
                  </a:lnTo>
                  <a:lnTo>
                    <a:pt x="479" y="373"/>
                  </a:lnTo>
                  <a:lnTo>
                    <a:pt x="479" y="372"/>
                  </a:lnTo>
                  <a:lnTo>
                    <a:pt x="482" y="371"/>
                  </a:lnTo>
                  <a:lnTo>
                    <a:pt x="484" y="369"/>
                  </a:lnTo>
                  <a:lnTo>
                    <a:pt x="485" y="368"/>
                  </a:lnTo>
                  <a:lnTo>
                    <a:pt x="482" y="365"/>
                  </a:lnTo>
                  <a:lnTo>
                    <a:pt x="481" y="360"/>
                  </a:lnTo>
                  <a:lnTo>
                    <a:pt x="482" y="360"/>
                  </a:lnTo>
                  <a:lnTo>
                    <a:pt x="482" y="361"/>
                  </a:lnTo>
                  <a:lnTo>
                    <a:pt x="483" y="361"/>
                  </a:lnTo>
                  <a:lnTo>
                    <a:pt x="485" y="360"/>
                  </a:lnTo>
                  <a:lnTo>
                    <a:pt x="488" y="360"/>
                  </a:lnTo>
                  <a:lnTo>
                    <a:pt x="488" y="356"/>
                  </a:lnTo>
                  <a:lnTo>
                    <a:pt x="488" y="355"/>
                  </a:lnTo>
                  <a:lnTo>
                    <a:pt x="489" y="356"/>
                  </a:lnTo>
                  <a:lnTo>
                    <a:pt x="490" y="359"/>
                  </a:lnTo>
                  <a:lnTo>
                    <a:pt x="493" y="356"/>
                  </a:lnTo>
                  <a:lnTo>
                    <a:pt x="491" y="354"/>
                  </a:lnTo>
                  <a:lnTo>
                    <a:pt x="494" y="353"/>
                  </a:lnTo>
                  <a:lnTo>
                    <a:pt x="494" y="351"/>
                  </a:lnTo>
                  <a:lnTo>
                    <a:pt x="493" y="349"/>
                  </a:lnTo>
                  <a:lnTo>
                    <a:pt x="496" y="349"/>
                  </a:lnTo>
                  <a:lnTo>
                    <a:pt x="499" y="348"/>
                  </a:lnTo>
                  <a:lnTo>
                    <a:pt x="496" y="338"/>
                  </a:lnTo>
                  <a:lnTo>
                    <a:pt x="497" y="333"/>
                  </a:lnTo>
                  <a:lnTo>
                    <a:pt x="499" y="332"/>
                  </a:lnTo>
                  <a:lnTo>
                    <a:pt x="499" y="336"/>
                  </a:lnTo>
                  <a:lnTo>
                    <a:pt x="500" y="336"/>
                  </a:lnTo>
                  <a:lnTo>
                    <a:pt x="500" y="332"/>
                  </a:lnTo>
                  <a:lnTo>
                    <a:pt x="500" y="330"/>
                  </a:lnTo>
                  <a:lnTo>
                    <a:pt x="501" y="331"/>
                  </a:lnTo>
                  <a:lnTo>
                    <a:pt x="502" y="329"/>
                  </a:lnTo>
                  <a:lnTo>
                    <a:pt x="505" y="329"/>
                  </a:lnTo>
                  <a:lnTo>
                    <a:pt x="507" y="330"/>
                  </a:lnTo>
                  <a:lnTo>
                    <a:pt x="507" y="333"/>
                  </a:lnTo>
                  <a:lnTo>
                    <a:pt x="507" y="337"/>
                  </a:lnTo>
                  <a:lnTo>
                    <a:pt x="507" y="338"/>
                  </a:lnTo>
                  <a:lnTo>
                    <a:pt x="508" y="338"/>
                  </a:lnTo>
                  <a:lnTo>
                    <a:pt x="510" y="341"/>
                  </a:lnTo>
                  <a:lnTo>
                    <a:pt x="511" y="338"/>
                  </a:lnTo>
                  <a:lnTo>
                    <a:pt x="511" y="332"/>
                  </a:lnTo>
                  <a:lnTo>
                    <a:pt x="510" y="330"/>
                  </a:lnTo>
                  <a:lnTo>
                    <a:pt x="511" y="327"/>
                  </a:lnTo>
                  <a:lnTo>
                    <a:pt x="513" y="325"/>
                  </a:lnTo>
                  <a:lnTo>
                    <a:pt x="513" y="323"/>
                  </a:lnTo>
                  <a:lnTo>
                    <a:pt x="512" y="319"/>
                  </a:lnTo>
                  <a:lnTo>
                    <a:pt x="512" y="315"/>
                  </a:lnTo>
                  <a:lnTo>
                    <a:pt x="514" y="313"/>
                  </a:lnTo>
                  <a:lnTo>
                    <a:pt x="514" y="317"/>
                  </a:lnTo>
                  <a:lnTo>
                    <a:pt x="519" y="315"/>
                  </a:lnTo>
                  <a:lnTo>
                    <a:pt x="520" y="318"/>
                  </a:lnTo>
                  <a:lnTo>
                    <a:pt x="522" y="315"/>
                  </a:lnTo>
                  <a:lnTo>
                    <a:pt x="523" y="314"/>
                  </a:lnTo>
                  <a:lnTo>
                    <a:pt x="524" y="314"/>
                  </a:lnTo>
                  <a:lnTo>
                    <a:pt x="523" y="323"/>
                  </a:lnTo>
                  <a:lnTo>
                    <a:pt x="524" y="324"/>
                  </a:lnTo>
                  <a:lnTo>
                    <a:pt x="526" y="324"/>
                  </a:lnTo>
                  <a:lnTo>
                    <a:pt x="526" y="321"/>
                  </a:lnTo>
                  <a:lnTo>
                    <a:pt x="525" y="315"/>
                  </a:lnTo>
                  <a:lnTo>
                    <a:pt x="525" y="312"/>
                  </a:lnTo>
                  <a:lnTo>
                    <a:pt x="526" y="309"/>
                  </a:lnTo>
                  <a:lnTo>
                    <a:pt x="529" y="308"/>
                  </a:lnTo>
                  <a:lnTo>
                    <a:pt x="528" y="304"/>
                  </a:lnTo>
                  <a:lnTo>
                    <a:pt x="531" y="306"/>
                  </a:lnTo>
                  <a:lnTo>
                    <a:pt x="530" y="303"/>
                  </a:lnTo>
                  <a:lnTo>
                    <a:pt x="530" y="300"/>
                  </a:lnTo>
                  <a:lnTo>
                    <a:pt x="531" y="298"/>
                  </a:lnTo>
                  <a:lnTo>
                    <a:pt x="534" y="302"/>
                  </a:lnTo>
                  <a:lnTo>
                    <a:pt x="536" y="302"/>
                  </a:lnTo>
                  <a:lnTo>
                    <a:pt x="537" y="300"/>
                  </a:lnTo>
                  <a:lnTo>
                    <a:pt x="538" y="298"/>
                  </a:lnTo>
                  <a:lnTo>
                    <a:pt x="538" y="297"/>
                  </a:lnTo>
                  <a:lnTo>
                    <a:pt x="538" y="295"/>
                  </a:lnTo>
                  <a:lnTo>
                    <a:pt x="538" y="291"/>
                  </a:lnTo>
                  <a:lnTo>
                    <a:pt x="538" y="290"/>
                  </a:lnTo>
                  <a:lnTo>
                    <a:pt x="540" y="290"/>
                  </a:lnTo>
                  <a:lnTo>
                    <a:pt x="541" y="291"/>
                  </a:lnTo>
                  <a:lnTo>
                    <a:pt x="542" y="290"/>
                  </a:lnTo>
                  <a:lnTo>
                    <a:pt x="538" y="288"/>
                  </a:lnTo>
                  <a:lnTo>
                    <a:pt x="538" y="285"/>
                  </a:lnTo>
                  <a:lnTo>
                    <a:pt x="537" y="284"/>
                  </a:lnTo>
                  <a:lnTo>
                    <a:pt x="534" y="284"/>
                  </a:lnTo>
                  <a:lnTo>
                    <a:pt x="534" y="283"/>
                  </a:lnTo>
                  <a:lnTo>
                    <a:pt x="535" y="282"/>
                  </a:lnTo>
                  <a:lnTo>
                    <a:pt x="537" y="282"/>
                  </a:lnTo>
                  <a:lnTo>
                    <a:pt x="538" y="282"/>
                  </a:lnTo>
                  <a:lnTo>
                    <a:pt x="540" y="283"/>
                  </a:lnTo>
                  <a:lnTo>
                    <a:pt x="541" y="285"/>
                  </a:lnTo>
                  <a:lnTo>
                    <a:pt x="541" y="288"/>
                  </a:lnTo>
                  <a:lnTo>
                    <a:pt x="542" y="288"/>
                  </a:lnTo>
                  <a:lnTo>
                    <a:pt x="542" y="286"/>
                  </a:lnTo>
                  <a:lnTo>
                    <a:pt x="544" y="289"/>
                  </a:lnTo>
                  <a:lnTo>
                    <a:pt x="544" y="286"/>
                  </a:lnTo>
                  <a:lnTo>
                    <a:pt x="543" y="285"/>
                  </a:lnTo>
                  <a:lnTo>
                    <a:pt x="543" y="283"/>
                  </a:lnTo>
                  <a:lnTo>
                    <a:pt x="544" y="282"/>
                  </a:lnTo>
                  <a:lnTo>
                    <a:pt x="546" y="283"/>
                  </a:lnTo>
                  <a:lnTo>
                    <a:pt x="547" y="283"/>
                  </a:lnTo>
                  <a:lnTo>
                    <a:pt x="548" y="280"/>
                  </a:lnTo>
                  <a:lnTo>
                    <a:pt x="547" y="279"/>
                  </a:lnTo>
                  <a:lnTo>
                    <a:pt x="544" y="279"/>
                  </a:lnTo>
                  <a:lnTo>
                    <a:pt x="543" y="279"/>
                  </a:lnTo>
                  <a:lnTo>
                    <a:pt x="542" y="278"/>
                  </a:lnTo>
                  <a:lnTo>
                    <a:pt x="540" y="277"/>
                  </a:lnTo>
                  <a:lnTo>
                    <a:pt x="544" y="276"/>
                  </a:lnTo>
                  <a:lnTo>
                    <a:pt x="546" y="274"/>
                  </a:lnTo>
                  <a:lnTo>
                    <a:pt x="541" y="274"/>
                  </a:lnTo>
                  <a:lnTo>
                    <a:pt x="541" y="273"/>
                  </a:lnTo>
                  <a:lnTo>
                    <a:pt x="544" y="272"/>
                  </a:lnTo>
                  <a:lnTo>
                    <a:pt x="547" y="272"/>
                  </a:lnTo>
                  <a:lnTo>
                    <a:pt x="549" y="272"/>
                  </a:lnTo>
                  <a:lnTo>
                    <a:pt x="549" y="270"/>
                  </a:lnTo>
                  <a:lnTo>
                    <a:pt x="550" y="270"/>
                  </a:lnTo>
                  <a:lnTo>
                    <a:pt x="550" y="271"/>
                  </a:lnTo>
                  <a:lnTo>
                    <a:pt x="552" y="271"/>
                  </a:lnTo>
                  <a:lnTo>
                    <a:pt x="554" y="271"/>
                  </a:lnTo>
                  <a:lnTo>
                    <a:pt x="553" y="270"/>
                  </a:lnTo>
                  <a:lnTo>
                    <a:pt x="552" y="268"/>
                  </a:lnTo>
                  <a:lnTo>
                    <a:pt x="554" y="267"/>
                  </a:lnTo>
                  <a:lnTo>
                    <a:pt x="554" y="268"/>
                  </a:lnTo>
                  <a:lnTo>
                    <a:pt x="558" y="270"/>
                  </a:lnTo>
                  <a:lnTo>
                    <a:pt x="559" y="270"/>
                  </a:lnTo>
                  <a:lnTo>
                    <a:pt x="559" y="268"/>
                  </a:lnTo>
                  <a:lnTo>
                    <a:pt x="555" y="266"/>
                  </a:lnTo>
                  <a:lnTo>
                    <a:pt x="554" y="265"/>
                  </a:lnTo>
                  <a:lnTo>
                    <a:pt x="559" y="265"/>
                  </a:lnTo>
                  <a:lnTo>
                    <a:pt x="560" y="264"/>
                  </a:lnTo>
                  <a:lnTo>
                    <a:pt x="554" y="262"/>
                  </a:lnTo>
                  <a:lnTo>
                    <a:pt x="553" y="264"/>
                  </a:lnTo>
                  <a:lnTo>
                    <a:pt x="552" y="262"/>
                  </a:lnTo>
                  <a:lnTo>
                    <a:pt x="550" y="261"/>
                  </a:lnTo>
                  <a:lnTo>
                    <a:pt x="549" y="260"/>
                  </a:lnTo>
                  <a:lnTo>
                    <a:pt x="549" y="265"/>
                  </a:lnTo>
                  <a:lnTo>
                    <a:pt x="548" y="265"/>
                  </a:lnTo>
                  <a:lnTo>
                    <a:pt x="547" y="266"/>
                  </a:lnTo>
                  <a:lnTo>
                    <a:pt x="546" y="267"/>
                  </a:lnTo>
                  <a:lnTo>
                    <a:pt x="546" y="268"/>
                  </a:lnTo>
                  <a:lnTo>
                    <a:pt x="544" y="268"/>
                  </a:lnTo>
                  <a:lnTo>
                    <a:pt x="543" y="268"/>
                  </a:lnTo>
                  <a:lnTo>
                    <a:pt x="542" y="267"/>
                  </a:lnTo>
                  <a:lnTo>
                    <a:pt x="542" y="265"/>
                  </a:lnTo>
                  <a:lnTo>
                    <a:pt x="541" y="265"/>
                  </a:lnTo>
                  <a:lnTo>
                    <a:pt x="540" y="265"/>
                  </a:lnTo>
                  <a:lnTo>
                    <a:pt x="540" y="266"/>
                  </a:lnTo>
                  <a:lnTo>
                    <a:pt x="540" y="267"/>
                  </a:lnTo>
                  <a:lnTo>
                    <a:pt x="538" y="268"/>
                  </a:lnTo>
                  <a:lnTo>
                    <a:pt x="538" y="270"/>
                  </a:lnTo>
                  <a:lnTo>
                    <a:pt x="538" y="272"/>
                  </a:lnTo>
                  <a:lnTo>
                    <a:pt x="538" y="273"/>
                  </a:lnTo>
                  <a:lnTo>
                    <a:pt x="537" y="273"/>
                  </a:lnTo>
                  <a:lnTo>
                    <a:pt x="536" y="272"/>
                  </a:lnTo>
                  <a:lnTo>
                    <a:pt x="535" y="271"/>
                  </a:lnTo>
                  <a:lnTo>
                    <a:pt x="534" y="270"/>
                  </a:lnTo>
                  <a:lnTo>
                    <a:pt x="532" y="270"/>
                  </a:lnTo>
                  <a:lnTo>
                    <a:pt x="531" y="270"/>
                  </a:lnTo>
                  <a:lnTo>
                    <a:pt x="530" y="270"/>
                  </a:lnTo>
                  <a:lnTo>
                    <a:pt x="529" y="268"/>
                  </a:lnTo>
                  <a:lnTo>
                    <a:pt x="530" y="267"/>
                  </a:lnTo>
                  <a:lnTo>
                    <a:pt x="531" y="267"/>
                  </a:lnTo>
                  <a:lnTo>
                    <a:pt x="534" y="266"/>
                  </a:lnTo>
                  <a:lnTo>
                    <a:pt x="535" y="265"/>
                  </a:lnTo>
                  <a:lnTo>
                    <a:pt x="535" y="264"/>
                  </a:lnTo>
                  <a:lnTo>
                    <a:pt x="536" y="262"/>
                  </a:lnTo>
                  <a:lnTo>
                    <a:pt x="537" y="262"/>
                  </a:lnTo>
                  <a:lnTo>
                    <a:pt x="538" y="262"/>
                  </a:lnTo>
                  <a:lnTo>
                    <a:pt x="538" y="261"/>
                  </a:lnTo>
                  <a:lnTo>
                    <a:pt x="538" y="260"/>
                  </a:lnTo>
                  <a:lnTo>
                    <a:pt x="540" y="260"/>
                  </a:lnTo>
                  <a:lnTo>
                    <a:pt x="541" y="261"/>
                  </a:lnTo>
                  <a:lnTo>
                    <a:pt x="542" y="261"/>
                  </a:lnTo>
                  <a:lnTo>
                    <a:pt x="541" y="262"/>
                  </a:lnTo>
                  <a:lnTo>
                    <a:pt x="541" y="264"/>
                  </a:lnTo>
                  <a:lnTo>
                    <a:pt x="542" y="262"/>
                  </a:lnTo>
                  <a:lnTo>
                    <a:pt x="543" y="261"/>
                  </a:lnTo>
                  <a:lnTo>
                    <a:pt x="544" y="261"/>
                  </a:lnTo>
                  <a:lnTo>
                    <a:pt x="544" y="262"/>
                  </a:lnTo>
                  <a:lnTo>
                    <a:pt x="546" y="262"/>
                  </a:lnTo>
                  <a:lnTo>
                    <a:pt x="546" y="261"/>
                  </a:lnTo>
                  <a:lnTo>
                    <a:pt x="542" y="259"/>
                  </a:lnTo>
                  <a:lnTo>
                    <a:pt x="544" y="258"/>
                  </a:lnTo>
                  <a:lnTo>
                    <a:pt x="546" y="256"/>
                  </a:lnTo>
                  <a:lnTo>
                    <a:pt x="547" y="256"/>
                  </a:lnTo>
                  <a:lnTo>
                    <a:pt x="549" y="256"/>
                  </a:lnTo>
                  <a:lnTo>
                    <a:pt x="548" y="255"/>
                  </a:lnTo>
                  <a:lnTo>
                    <a:pt x="543" y="256"/>
                  </a:lnTo>
                  <a:lnTo>
                    <a:pt x="540" y="258"/>
                  </a:lnTo>
                  <a:lnTo>
                    <a:pt x="535" y="258"/>
                  </a:lnTo>
                  <a:lnTo>
                    <a:pt x="532" y="261"/>
                  </a:lnTo>
                  <a:lnTo>
                    <a:pt x="534" y="264"/>
                  </a:lnTo>
                  <a:lnTo>
                    <a:pt x="531" y="265"/>
                  </a:lnTo>
                  <a:lnTo>
                    <a:pt x="530" y="265"/>
                  </a:lnTo>
                  <a:lnTo>
                    <a:pt x="528" y="262"/>
                  </a:lnTo>
                  <a:lnTo>
                    <a:pt x="528" y="261"/>
                  </a:lnTo>
                  <a:lnTo>
                    <a:pt x="531" y="261"/>
                  </a:lnTo>
                  <a:lnTo>
                    <a:pt x="526" y="260"/>
                  </a:lnTo>
                  <a:lnTo>
                    <a:pt x="526" y="258"/>
                  </a:lnTo>
                  <a:lnTo>
                    <a:pt x="525" y="258"/>
                  </a:lnTo>
                  <a:lnTo>
                    <a:pt x="525" y="260"/>
                  </a:lnTo>
                  <a:lnTo>
                    <a:pt x="525" y="261"/>
                  </a:lnTo>
                  <a:lnTo>
                    <a:pt x="525" y="262"/>
                  </a:lnTo>
                  <a:lnTo>
                    <a:pt x="525" y="266"/>
                  </a:lnTo>
                  <a:lnTo>
                    <a:pt x="522" y="268"/>
                  </a:lnTo>
                  <a:lnTo>
                    <a:pt x="520" y="270"/>
                  </a:lnTo>
                  <a:lnTo>
                    <a:pt x="518" y="271"/>
                  </a:lnTo>
                  <a:lnTo>
                    <a:pt x="516" y="271"/>
                  </a:lnTo>
                  <a:lnTo>
                    <a:pt x="516" y="270"/>
                  </a:lnTo>
                  <a:lnTo>
                    <a:pt x="516" y="267"/>
                  </a:lnTo>
                  <a:lnTo>
                    <a:pt x="514" y="267"/>
                  </a:lnTo>
                  <a:lnTo>
                    <a:pt x="513" y="268"/>
                  </a:lnTo>
                  <a:lnTo>
                    <a:pt x="512" y="268"/>
                  </a:lnTo>
                  <a:lnTo>
                    <a:pt x="512" y="266"/>
                  </a:lnTo>
                  <a:lnTo>
                    <a:pt x="512" y="265"/>
                  </a:lnTo>
                  <a:lnTo>
                    <a:pt x="510" y="267"/>
                  </a:lnTo>
                  <a:lnTo>
                    <a:pt x="508" y="266"/>
                  </a:lnTo>
                  <a:lnTo>
                    <a:pt x="507" y="265"/>
                  </a:lnTo>
                  <a:lnTo>
                    <a:pt x="506" y="262"/>
                  </a:lnTo>
                  <a:lnTo>
                    <a:pt x="507" y="261"/>
                  </a:lnTo>
                  <a:lnTo>
                    <a:pt x="508" y="261"/>
                  </a:lnTo>
                  <a:lnTo>
                    <a:pt x="510" y="261"/>
                  </a:lnTo>
                  <a:lnTo>
                    <a:pt x="511" y="260"/>
                  </a:lnTo>
                  <a:lnTo>
                    <a:pt x="511" y="259"/>
                  </a:lnTo>
                  <a:lnTo>
                    <a:pt x="512" y="256"/>
                  </a:lnTo>
                  <a:lnTo>
                    <a:pt x="513" y="256"/>
                  </a:lnTo>
                  <a:lnTo>
                    <a:pt x="514" y="255"/>
                  </a:lnTo>
                  <a:lnTo>
                    <a:pt x="517" y="255"/>
                  </a:lnTo>
                  <a:lnTo>
                    <a:pt x="518" y="255"/>
                  </a:lnTo>
                  <a:lnTo>
                    <a:pt x="518" y="254"/>
                  </a:lnTo>
                  <a:lnTo>
                    <a:pt x="518" y="253"/>
                  </a:lnTo>
                  <a:lnTo>
                    <a:pt x="519" y="252"/>
                  </a:lnTo>
                  <a:lnTo>
                    <a:pt x="522" y="254"/>
                  </a:lnTo>
                  <a:lnTo>
                    <a:pt x="524" y="254"/>
                  </a:lnTo>
                  <a:lnTo>
                    <a:pt x="524" y="253"/>
                  </a:lnTo>
                  <a:lnTo>
                    <a:pt x="520" y="252"/>
                  </a:lnTo>
                  <a:lnTo>
                    <a:pt x="519" y="250"/>
                  </a:lnTo>
                  <a:lnTo>
                    <a:pt x="519" y="249"/>
                  </a:lnTo>
                  <a:lnTo>
                    <a:pt x="522" y="248"/>
                  </a:lnTo>
                  <a:lnTo>
                    <a:pt x="519" y="248"/>
                  </a:lnTo>
                  <a:lnTo>
                    <a:pt x="518" y="248"/>
                  </a:lnTo>
                  <a:lnTo>
                    <a:pt x="519" y="246"/>
                  </a:lnTo>
                  <a:lnTo>
                    <a:pt x="520" y="243"/>
                  </a:lnTo>
                  <a:lnTo>
                    <a:pt x="519" y="243"/>
                  </a:lnTo>
                  <a:lnTo>
                    <a:pt x="517" y="247"/>
                  </a:lnTo>
                  <a:lnTo>
                    <a:pt x="516" y="248"/>
                  </a:lnTo>
                  <a:lnTo>
                    <a:pt x="516" y="247"/>
                  </a:lnTo>
                  <a:lnTo>
                    <a:pt x="513" y="247"/>
                  </a:lnTo>
                  <a:lnTo>
                    <a:pt x="512" y="248"/>
                  </a:lnTo>
                  <a:lnTo>
                    <a:pt x="511" y="249"/>
                  </a:lnTo>
                  <a:lnTo>
                    <a:pt x="511" y="250"/>
                  </a:lnTo>
                  <a:lnTo>
                    <a:pt x="510" y="252"/>
                  </a:lnTo>
                  <a:lnTo>
                    <a:pt x="507" y="253"/>
                  </a:lnTo>
                  <a:lnTo>
                    <a:pt x="507" y="252"/>
                  </a:lnTo>
                  <a:lnTo>
                    <a:pt x="506" y="250"/>
                  </a:lnTo>
                  <a:lnTo>
                    <a:pt x="505" y="252"/>
                  </a:lnTo>
                  <a:lnTo>
                    <a:pt x="503" y="254"/>
                  </a:lnTo>
                  <a:lnTo>
                    <a:pt x="501" y="254"/>
                  </a:lnTo>
                  <a:lnTo>
                    <a:pt x="500" y="252"/>
                  </a:lnTo>
                  <a:lnTo>
                    <a:pt x="499" y="253"/>
                  </a:lnTo>
                  <a:lnTo>
                    <a:pt x="499" y="255"/>
                  </a:lnTo>
                  <a:lnTo>
                    <a:pt x="497" y="256"/>
                  </a:lnTo>
                  <a:lnTo>
                    <a:pt x="495" y="256"/>
                  </a:lnTo>
                  <a:lnTo>
                    <a:pt x="490" y="255"/>
                  </a:lnTo>
                  <a:lnTo>
                    <a:pt x="489" y="254"/>
                  </a:lnTo>
                  <a:lnTo>
                    <a:pt x="487" y="252"/>
                  </a:lnTo>
                  <a:lnTo>
                    <a:pt x="485" y="249"/>
                  </a:lnTo>
                  <a:lnTo>
                    <a:pt x="484" y="247"/>
                  </a:lnTo>
                  <a:lnTo>
                    <a:pt x="485" y="246"/>
                  </a:lnTo>
                  <a:lnTo>
                    <a:pt x="487" y="246"/>
                  </a:lnTo>
                  <a:lnTo>
                    <a:pt x="484" y="244"/>
                  </a:lnTo>
                  <a:lnTo>
                    <a:pt x="483" y="243"/>
                  </a:lnTo>
                  <a:lnTo>
                    <a:pt x="483" y="242"/>
                  </a:lnTo>
                  <a:lnTo>
                    <a:pt x="487" y="242"/>
                  </a:lnTo>
                  <a:lnTo>
                    <a:pt x="488" y="242"/>
                  </a:lnTo>
                  <a:lnTo>
                    <a:pt x="488" y="241"/>
                  </a:lnTo>
                  <a:lnTo>
                    <a:pt x="487" y="241"/>
                  </a:lnTo>
                  <a:lnTo>
                    <a:pt x="483" y="241"/>
                  </a:lnTo>
                  <a:lnTo>
                    <a:pt x="482" y="238"/>
                  </a:lnTo>
                  <a:lnTo>
                    <a:pt x="482" y="235"/>
                  </a:lnTo>
                  <a:lnTo>
                    <a:pt x="483" y="235"/>
                  </a:lnTo>
                  <a:lnTo>
                    <a:pt x="484" y="235"/>
                  </a:lnTo>
                  <a:lnTo>
                    <a:pt x="485" y="235"/>
                  </a:lnTo>
                  <a:lnTo>
                    <a:pt x="485" y="238"/>
                  </a:lnTo>
                  <a:lnTo>
                    <a:pt x="487" y="237"/>
                  </a:lnTo>
                  <a:lnTo>
                    <a:pt x="487" y="236"/>
                  </a:lnTo>
                  <a:lnTo>
                    <a:pt x="488" y="235"/>
                  </a:lnTo>
                  <a:lnTo>
                    <a:pt x="489" y="235"/>
                  </a:lnTo>
                  <a:lnTo>
                    <a:pt x="490" y="234"/>
                  </a:lnTo>
                  <a:lnTo>
                    <a:pt x="489" y="232"/>
                  </a:lnTo>
                  <a:lnTo>
                    <a:pt x="490" y="232"/>
                  </a:lnTo>
                  <a:lnTo>
                    <a:pt x="491" y="234"/>
                  </a:lnTo>
                  <a:lnTo>
                    <a:pt x="490" y="235"/>
                  </a:lnTo>
                  <a:lnTo>
                    <a:pt x="491" y="236"/>
                  </a:lnTo>
                  <a:lnTo>
                    <a:pt x="493" y="234"/>
                  </a:lnTo>
                  <a:lnTo>
                    <a:pt x="494" y="234"/>
                  </a:lnTo>
                  <a:lnTo>
                    <a:pt x="495" y="235"/>
                  </a:lnTo>
                  <a:lnTo>
                    <a:pt x="496" y="235"/>
                  </a:lnTo>
                  <a:lnTo>
                    <a:pt x="496" y="232"/>
                  </a:lnTo>
                  <a:lnTo>
                    <a:pt x="497" y="232"/>
                  </a:lnTo>
                  <a:lnTo>
                    <a:pt x="499" y="228"/>
                  </a:lnTo>
                  <a:lnTo>
                    <a:pt x="500" y="229"/>
                  </a:lnTo>
                  <a:lnTo>
                    <a:pt x="500" y="230"/>
                  </a:lnTo>
                  <a:lnTo>
                    <a:pt x="501" y="230"/>
                  </a:lnTo>
                  <a:lnTo>
                    <a:pt x="501" y="229"/>
                  </a:lnTo>
                  <a:lnTo>
                    <a:pt x="502" y="229"/>
                  </a:lnTo>
                  <a:lnTo>
                    <a:pt x="503" y="229"/>
                  </a:lnTo>
                  <a:lnTo>
                    <a:pt x="505" y="228"/>
                  </a:lnTo>
                  <a:lnTo>
                    <a:pt x="506" y="225"/>
                  </a:lnTo>
                  <a:lnTo>
                    <a:pt x="507" y="223"/>
                  </a:lnTo>
                  <a:lnTo>
                    <a:pt x="508" y="222"/>
                  </a:lnTo>
                  <a:lnTo>
                    <a:pt x="510" y="222"/>
                  </a:lnTo>
                  <a:lnTo>
                    <a:pt x="508" y="219"/>
                  </a:lnTo>
                  <a:lnTo>
                    <a:pt x="508" y="218"/>
                  </a:lnTo>
                  <a:lnTo>
                    <a:pt x="511" y="219"/>
                  </a:lnTo>
                  <a:lnTo>
                    <a:pt x="512" y="219"/>
                  </a:lnTo>
                  <a:lnTo>
                    <a:pt x="511" y="218"/>
                  </a:lnTo>
                  <a:lnTo>
                    <a:pt x="508" y="216"/>
                  </a:lnTo>
                  <a:lnTo>
                    <a:pt x="508" y="214"/>
                  </a:lnTo>
                  <a:lnTo>
                    <a:pt x="510" y="213"/>
                  </a:lnTo>
                  <a:lnTo>
                    <a:pt x="510" y="216"/>
                  </a:lnTo>
                  <a:lnTo>
                    <a:pt x="511" y="216"/>
                  </a:lnTo>
                  <a:lnTo>
                    <a:pt x="512" y="216"/>
                  </a:lnTo>
                  <a:lnTo>
                    <a:pt x="513" y="216"/>
                  </a:lnTo>
                  <a:lnTo>
                    <a:pt x="513" y="217"/>
                  </a:lnTo>
                  <a:lnTo>
                    <a:pt x="514" y="217"/>
                  </a:lnTo>
                  <a:lnTo>
                    <a:pt x="514" y="216"/>
                  </a:lnTo>
                  <a:lnTo>
                    <a:pt x="514" y="214"/>
                  </a:lnTo>
                  <a:lnTo>
                    <a:pt x="516" y="216"/>
                  </a:lnTo>
                  <a:lnTo>
                    <a:pt x="517" y="216"/>
                  </a:lnTo>
                  <a:lnTo>
                    <a:pt x="517" y="214"/>
                  </a:lnTo>
                  <a:lnTo>
                    <a:pt x="513" y="212"/>
                  </a:lnTo>
                  <a:lnTo>
                    <a:pt x="513" y="211"/>
                  </a:lnTo>
                  <a:lnTo>
                    <a:pt x="512" y="211"/>
                  </a:lnTo>
                  <a:lnTo>
                    <a:pt x="508" y="208"/>
                  </a:lnTo>
                  <a:lnTo>
                    <a:pt x="513" y="208"/>
                  </a:lnTo>
                  <a:lnTo>
                    <a:pt x="513" y="207"/>
                  </a:lnTo>
                  <a:lnTo>
                    <a:pt x="516" y="207"/>
                  </a:lnTo>
                  <a:lnTo>
                    <a:pt x="518" y="210"/>
                  </a:lnTo>
                  <a:lnTo>
                    <a:pt x="519" y="210"/>
                  </a:lnTo>
                  <a:lnTo>
                    <a:pt x="516" y="206"/>
                  </a:lnTo>
                  <a:lnTo>
                    <a:pt x="517" y="205"/>
                  </a:lnTo>
                  <a:lnTo>
                    <a:pt x="519" y="205"/>
                  </a:lnTo>
                  <a:lnTo>
                    <a:pt x="523" y="208"/>
                  </a:lnTo>
                  <a:lnTo>
                    <a:pt x="525" y="207"/>
                  </a:lnTo>
                  <a:lnTo>
                    <a:pt x="522" y="204"/>
                  </a:lnTo>
                  <a:lnTo>
                    <a:pt x="520" y="204"/>
                  </a:lnTo>
                  <a:lnTo>
                    <a:pt x="523" y="202"/>
                  </a:lnTo>
                  <a:lnTo>
                    <a:pt x="528" y="202"/>
                  </a:lnTo>
                  <a:lnTo>
                    <a:pt x="528" y="205"/>
                  </a:lnTo>
                  <a:lnTo>
                    <a:pt x="529" y="204"/>
                  </a:lnTo>
                  <a:lnTo>
                    <a:pt x="529" y="202"/>
                  </a:lnTo>
                  <a:lnTo>
                    <a:pt x="529" y="201"/>
                  </a:lnTo>
                  <a:lnTo>
                    <a:pt x="529" y="197"/>
                  </a:lnTo>
                  <a:lnTo>
                    <a:pt x="532" y="197"/>
                  </a:lnTo>
                  <a:lnTo>
                    <a:pt x="532" y="199"/>
                  </a:lnTo>
                  <a:lnTo>
                    <a:pt x="535" y="199"/>
                  </a:lnTo>
                  <a:lnTo>
                    <a:pt x="535" y="197"/>
                  </a:lnTo>
                  <a:lnTo>
                    <a:pt x="534" y="197"/>
                  </a:lnTo>
                  <a:lnTo>
                    <a:pt x="532" y="196"/>
                  </a:lnTo>
                  <a:lnTo>
                    <a:pt x="532" y="195"/>
                  </a:lnTo>
                  <a:lnTo>
                    <a:pt x="534" y="194"/>
                  </a:lnTo>
                  <a:lnTo>
                    <a:pt x="535" y="194"/>
                  </a:lnTo>
                  <a:lnTo>
                    <a:pt x="538" y="194"/>
                  </a:lnTo>
                  <a:lnTo>
                    <a:pt x="540" y="195"/>
                  </a:lnTo>
                  <a:lnTo>
                    <a:pt x="542" y="195"/>
                  </a:lnTo>
                  <a:lnTo>
                    <a:pt x="542" y="193"/>
                  </a:lnTo>
                  <a:lnTo>
                    <a:pt x="538" y="193"/>
                  </a:lnTo>
                  <a:lnTo>
                    <a:pt x="538" y="191"/>
                  </a:lnTo>
                  <a:lnTo>
                    <a:pt x="540" y="189"/>
                  </a:lnTo>
                  <a:lnTo>
                    <a:pt x="541" y="188"/>
                  </a:lnTo>
                  <a:lnTo>
                    <a:pt x="541" y="187"/>
                  </a:lnTo>
                  <a:lnTo>
                    <a:pt x="538" y="187"/>
                  </a:lnTo>
                  <a:lnTo>
                    <a:pt x="536" y="189"/>
                  </a:lnTo>
                  <a:lnTo>
                    <a:pt x="531" y="190"/>
                  </a:lnTo>
                  <a:lnTo>
                    <a:pt x="530" y="193"/>
                  </a:lnTo>
                  <a:lnTo>
                    <a:pt x="530" y="194"/>
                  </a:lnTo>
                  <a:lnTo>
                    <a:pt x="529" y="195"/>
                  </a:lnTo>
                  <a:lnTo>
                    <a:pt x="529" y="194"/>
                  </a:lnTo>
                  <a:lnTo>
                    <a:pt x="529" y="193"/>
                  </a:lnTo>
                  <a:lnTo>
                    <a:pt x="529" y="191"/>
                  </a:lnTo>
                  <a:lnTo>
                    <a:pt x="528" y="194"/>
                  </a:lnTo>
                  <a:lnTo>
                    <a:pt x="526" y="195"/>
                  </a:lnTo>
                  <a:lnTo>
                    <a:pt x="526" y="196"/>
                  </a:lnTo>
                  <a:lnTo>
                    <a:pt x="524" y="196"/>
                  </a:lnTo>
                  <a:lnTo>
                    <a:pt x="523" y="197"/>
                  </a:lnTo>
                  <a:lnTo>
                    <a:pt x="522" y="196"/>
                  </a:lnTo>
                  <a:lnTo>
                    <a:pt x="522" y="195"/>
                  </a:lnTo>
                  <a:lnTo>
                    <a:pt x="522" y="193"/>
                  </a:lnTo>
                  <a:lnTo>
                    <a:pt x="520" y="193"/>
                  </a:lnTo>
                  <a:lnTo>
                    <a:pt x="519" y="194"/>
                  </a:lnTo>
                  <a:lnTo>
                    <a:pt x="519" y="196"/>
                  </a:lnTo>
                  <a:lnTo>
                    <a:pt x="519" y="201"/>
                  </a:lnTo>
                  <a:lnTo>
                    <a:pt x="517" y="202"/>
                  </a:lnTo>
                  <a:lnTo>
                    <a:pt x="516" y="199"/>
                  </a:lnTo>
                  <a:lnTo>
                    <a:pt x="516" y="200"/>
                  </a:lnTo>
                  <a:lnTo>
                    <a:pt x="514" y="201"/>
                  </a:lnTo>
                  <a:lnTo>
                    <a:pt x="513" y="201"/>
                  </a:lnTo>
                  <a:lnTo>
                    <a:pt x="512" y="202"/>
                  </a:lnTo>
                  <a:lnTo>
                    <a:pt x="511" y="205"/>
                  </a:lnTo>
                  <a:lnTo>
                    <a:pt x="507" y="205"/>
                  </a:lnTo>
                  <a:lnTo>
                    <a:pt x="505" y="202"/>
                  </a:lnTo>
                  <a:lnTo>
                    <a:pt x="505" y="204"/>
                  </a:lnTo>
                  <a:lnTo>
                    <a:pt x="506" y="205"/>
                  </a:lnTo>
                  <a:lnTo>
                    <a:pt x="495" y="212"/>
                  </a:lnTo>
                  <a:lnTo>
                    <a:pt x="493" y="213"/>
                  </a:lnTo>
                  <a:lnTo>
                    <a:pt x="490" y="214"/>
                  </a:lnTo>
                  <a:lnTo>
                    <a:pt x="489" y="214"/>
                  </a:lnTo>
                  <a:lnTo>
                    <a:pt x="488" y="217"/>
                  </a:lnTo>
                  <a:lnTo>
                    <a:pt x="487" y="218"/>
                  </a:lnTo>
                  <a:lnTo>
                    <a:pt x="484" y="217"/>
                  </a:lnTo>
                  <a:lnTo>
                    <a:pt x="483" y="217"/>
                  </a:lnTo>
                  <a:lnTo>
                    <a:pt x="481" y="216"/>
                  </a:lnTo>
                  <a:lnTo>
                    <a:pt x="481" y="217"/>
                  </a:lnTo>
                  <a:lnTo>
                    <a:pt x="478" y="217"/>
                  </a:lnTo>
                  <a:lnTo>
                    <a:pt x="476" y="217"/>
                  </a:lnTo>
                  <a:lnTo>
                    <a:pt x="472" y="214"/>
                  </a:lnTo>
                  <a:lnTo>
                    <a:pt x="470" y="212"/>
                  </a:lnTo>
                  <a:lnTo>
                    <a:pt x="467" y="212"/>
                  </a:lnTo>
                  <a:lnTo>
                    <a:pt x="466" y="212"/>
                  </a:lnTo>
                  <a:lnTo>
                    <a:pt x="463" y="213"/>
                  </a:lnTo>
                  <a:lnTo>
                    <a:pt x="460" y="213"/>
                  </a:lnTo>
                  <a:lnTo>
                    <a:pt x="459" y="211"/>
                  </a:lnTo>
                  <a:lnTo>
                    <a:pt x="459" y="207"/>
                  </a:lnTo>
                  <a:lnTo>
                    <a:pt x="458" y="205"/>
                  </a:lnTo>
                  <a:lnTo>
                    <a:pt x="459" y="205"/>
                  </a:lnTo>
                  <a:lnTo>
                    <a:pt x="460" y="207"/>
                  </a:lnTo>
                  <a:lnTo>
                    <a:pt x="464" y="208"/>
                  </a:lnTo>
                  <a:lnTo>
                    <a:pt x="466" y="208"/>
                  </a:lnTo>
                  <a:lnTo>
                    <a:pt x="467" y="208"/>
                  </a:lnTo>
                  <a:lnTo>
                    <a:pt x="465" y="207"/>
                  </a:lnTo>
                  <a:lnTo>
                    <a:pt x="463" y="206"/>
                  </a:lnTo>
                  <a:lnTo>
                    <a:pt x="460" y="204"/>
                  </a:lnTo>
                  <a:lnTo>
                    <a:pt x="459" y="202"/>
                  </a:lnTo>
                  <a:lnTo>
                    <a:pt x="459" y="201"/>
                  </a:lnTo>
                  <a:lnTo>
                    <a:pt x="461" y="201"/>
                  </a:lnTo>
                  <a:lnTo>
                    <a:pt x="461" y="200"/>
                  </a:lnTo>
                  <a:lnTo>
                    <a:pt x="460" y="200"/>
                  </a:lnTo>
                  <a:lnTo>
                    <a:pt x="459" y="197"/>
                  </a:lnTo>
                  <a:lnTo>
                    <a:pt x="460" y="196"/>
                  </a:lnTo>
                  <a:lnTo>
                    <a:pt x="463" y="196"/>
                  </a:lnTo>
                  <a:lnTo>
                    <a:pt x="464" y="195"/>
                  </a:lnTo>
                  <a:lnTo>
                    <a:pt x="465" y="194"/>
                  </a:lnTo>
                  <a:lnTo>
                    <a:pt x="464" y="194"/>
                  </a:lnTo>
                  <a:lnTo>
                    <a:pt x="460" y="194"/>
                  </a:lnTo>
                  <a:lnTo>
                    <a:pt x="457" y="195"/>
                  </a:lnTo>
                  <a:lnTo>
                    <a:pt x="454" y="196"/>
                  </a:lnTo>
                  <a:lnTo>
                    <a:pt x="448" y="189"/>
                  </a:lnTo>
                  <a:lnTo>
                    <a:pt x="446" y="189"/>
                  </a:lnTo>
                  <a:lnTo>
                    <a:pt x="444" y="188"/>
                  </a:lnTo>
                  <a:lnTo>
                    <a:pt x="444" y="187"/>
                  </a:lnTo>
                  <a:lnTo>
                    <a:pt x="443" y="185"/>
                  </a:lnTo>
                  <a:lnTo>
                    <a:pt x="441" y="184"/>
                  </a:lnTo>
                  <a:lnTo>
                    <a:pt x="440" y="183"/>
                  </a:lnTo>
                  <a:lnTo>
                    <a:pt x="438" y="183"/>
                  </a:lnTo>
                  <a:lnTo>
                    <a:pt x="438" y="181"/>
                  </a:lnTo>
                  <a:lnTo>
                    <a:pt x="437" y="179"/>
                  </a:lnTo>
                  <a:lnTo>
                    <a:pt x="437" y="176"/>
                  </a:lnTo>
                  <a:lnTo>
                    <a:pt x="438" y="175"/>
                  </a:lnTo>
                  <a:lnTo>
                    <a:pt x="440" y="173"/>
                  </a:lnTo>
                  <a:lnTo>
                    <a:pt x="438" y="172"/>
                  </a:lnTo>
                  <a:lnTo>
                    <a:pt x="438" y="171"/>
                  </a:lnTo>
                  <a:lnTo>
                    <a:pt x="440" y="169"/>
                  </a:lnTo>
                  <a:lnTo>
                    <a:pt x="441" y="167"/>
                  </a:lnTo>
                  <a:lnTo>
                    <a:pt x="441" y="170"/>
                  </a:lnTo>
                  <a:lnTo>
                    <a:pt x="442" y="170"/>
                  </a:lnTo>
                  <a:lnTo>
                    <a:pt x="443" y="171"/>
                  </a:lnTo>
                  <a:lnTo>
                    <a:pt x="444" y="172"/>
                  </a:lnTo>
                  <a:lnTo>
                    <a:pt x="446" y="173"/>
                  </a:lnTo>
                  <a:lnTo>
                    <a:pt x="447" y="172"/>
                  </a:lnTo>
                  <a:lnTo>
                    <a:pt x="447" y="171"/>
                  </a:lnTo>
                  <a:lnTo>
                    <a:pt x="447" y="176"/>
                  </a:lnTo>
                  <a:lnTo>
                    <a:pt x="448" y="175"/>
                  </a:lnTo>
                  <a:lnTo>
                    <a:pt x="448" y="173"/>
                  </a:lnTo>
                  <a:lnTo>
                    <a:pt x="448" y="171"/>
                  </a:lnTo>
                  <a:lnTo>
                    <a:pt x="448" y="170"/>
                  </a:lnTo>
                  <a:lnTo>
                    <a:pt x="449" y="171"/>
                  </a:lnTo>
                  <a:lnTo>
                    <a:pt x="453" y="175"/>
                  </a:lnTo>
                  <a:lnTo>
                    <a:pt x="455" y="175"/>
                  </a:lnTo>
                  <a:lnTo>
                    <a:pt x="454" y="173"/>
                  </a:lnTo>
                  <a:lnTo>
                    <a:pt x="451" y="170"/>
                  </a:lnTo>
                  <a:lnTo>
                    <a:pt x="451" y="167"/>
                  </a:lnTo>
                  <a:lnTo>
                    <a:pt x="452" y="169"/>
                  </a:lnTo>
                  <a:lnTo>
                    <a:pt x="453" y="169"/>
                  </a:lnTo>
                  <a:lnTo>
                    <a:pt x="454" y="169"/>
                  </a:lnTo>
                  <a:lnTo>
                    <a:pt x="455" y="170"/>
                  </a:lnTo>
                  <a:lnTo>
                    <a:pt x="457" y="170"/>
                  </a:lnTo>
                  <a:lnTo>
                    <a:pt x="458" y="169"/>
                  </a:lnTo>
                  <a:lnTo>
                    <a:pt x="458" y="166"/>
                  </a:lnTo>
                  <a:lnTo>
                    <a:pt x="458" y="165"/>
                  </a:lnTo>
                  <a:lnTo>
                    <a:pt x="458" y="164"/>
                  </a:lnTo>
                  <a:lnTo>
                    <a:pt x="460" y="164"/>
                  </a:lnTo>
                  <a:lnTo>
                    <a:pt x="459" y="163"/>
                  </a:lnTo>
                  <a:lnTo>
                    <a:pt x="458" y="161"/>
                  </a:lnTo>
                  <a:lnTo>
                    <a:pt x="460" y="160"/>
                  </a:lnTo>
                  <a:lnTo>
                    <a:pt x="461" y="160"/>
                  </a:lnTo>
                  <a:lnTo>
                    <a:pt x="460" y="159"/>
                  </a:lnTo>
                  <a:lnTo>
                    <a:pt x="459" y="158"/>
                  </a:lnTo>
                  <a:lnTo>
                    <a:pt x="458" y="157"/>
                  </a:lnTo>
                  <a:lnTo>
                    <a:pt x="457" y="159"/>
                  </a:lnTo>
                  <a:lnTo>
                    <a:pt x="457" y="158"/>
                  </a:lnTo>
                  <a:lnTo>
                    <a:pt x="458" y="155"/>
                  </a:lnTo>
                  <a:lnTo>
                    <a:pt x="459" y="153"/>
                  </a:lnTo>
                  <a:lnTo>
                    <a:pt x="460" y="152"/>
                  </a:lnTo>
                  <a:lnTo>
                    <a:pt x="463" y="154"/>
                  </a:lnTo>
                  <a:lnTo>
                    <a:pt x="464" y="154"/>
                  </a:lnTo>
                  <a:lnTo>
                    <a:pt x="464" y="153"/>
                  </a:lnTo>
                  <a:lnTo>
                    <a:pt x="463" y="152"/>
                  </a:lnTo>
                  <a:lnTo>
                    <a:pt x="461" y="149"/>
                  </a:lnTo>
                  <a:lnTo>
                    <a:pt x="463" y="149"/>
                  </a:lnTo>
                  <a:lnTo>
                    <a:pt x="464" y="151"/>
                  </a:lnTo>
                  <a:lnTo>
                    <a:pt x="464" y="149"/>
                  </a:lnTo>
                  <a:lnTo>
                    <a:pt x="464" y="143"/>
                  </a:lnTo>
                  <a:lnTo>
                    <a:pt x="465" y="143"/>
                  </a:lnTo>
                  <a:lnTo>
                    <a:pt x="465" y="146"/>
                  </a:lnTo>
                  <a:lnTo>
                    <a:pt x="466" y="147"/>
                  </a:lnTo>
                  <a:lnTo>
                    <a:pt x="467" y="147"/>
                  </a:lnTo>
                  <a:lnTo>
                    <a:pt x="467" y="149"/>
                  </a:lnTo>
                  <a:lnTo>
                    <a:pt x="467" y="151"/>
                  </a:lnTo>
                  <a:lnTo>
                    <a:pt x="469" y="151"/>
                  </a:lnTo>
                  <a:lnTo>
                    <a:pt x="471" y="149"/>
                  </a:lnTo>
                  <a:lnTo>
                    <a:pt x="470" y="148"/>
                  </a:lnTo>
                  <a:lnTo>
                    <a:pt x="470" y="147"/>
                  </a:lnTo>
                  <a:lnTo>
                    <a:pt x="471" y="146"/>
                  </a:lnTo>
                  <a:lnTo>
                    <a:pt x="472" y="145"/>
                  </a:lnTo>
                  <a:lnTo>
                    <a:pt x="470" y="145"/>
                  </a:lnTo>
                  <a:lnTo>
                    <a:pt x="469" y="146"/>
                  </a:lnTo>
                  <a:lnTo>
                    <a:pt x="467" y="145"/>
                  </a:lnTo>
                  <a:lnTo>
                    <a:pt x="467" y="143"/>
                  </a:lnTo>
                  <a:lnTo>
                    <a:pt x="469" y="143"/>
                  </a:lnTo>
                  <a:lnTo>
                    <a:pt x="470" y="142"/>
                  </a:lnTo>
                  <a:lnTo>
                    <a:pt x="471" y="142"/>
                  </a:lnTo>
                  <a:lnTo>
                    <a:pt x="466" y="141"/>
                  </a:lnTo>
                  <a:lnTo>
                    <a:pt x="465" y="141"/>
                  </a:lnTo>
                  <a:lnTo>
                    <a:pt x="464" y="140"/>
                  </a:lnTo>
                  <a:lnTo>
                    <a:pt x="466" y="137"/>
                  </a:lnTo>
                  <a:lnTo>
                    <a:pt x="470" y="139"/>
                  </a:lnTo>
                  <a:lnTo>
                    <a:pt x="471" y="139"/>
                  </a:lnTo>
                  <a:lnTo>
                    <a:pt x="469" y="136"/>
                  </a:lnTo>
                  <a:lnTo>
                    <a:pt x="470" y="135"/>
                  </a:lnTo>
                  <a:lnTo>
                    <a:pt x="475" y="137"/>
                  </a:lnTo>
                  <a:lnTo>
                    <a:pt x="476" y="137"/>
                  </a:lnTo>
                  <a:lnTo>
                    <a:pt x="472" y="134"/>
                  </a:lnTo>
                  <a:lnTo>
                    <a:pt x="473" y="133"/>
                  </a:lnTo>
                  <a:lnTo>
                    <a:pt x="475" y="133"/>
                  </a:lnTo>
                  <a:lnTo>
                    <a:pt x="476" y="133"/>
                  </a:lnTo>
                  <a:lnTo>
                    <a:pt x="475" y="131"/>
                  </a:lnTo>
                  <a:lnTo>
                    <a:pt x="477" y="131"/>
                  </a:lnTo>
                  <a:lnTo>
                    <a:pt x="478" y="131"/>
                  </a:lnTo>
                  <a:lnTo>
                    <a:pt x="482" y="133"/>
                  </a:lnTo>
                  <a:lnTo>
                    <a:pt x="483" y="133"/>
                  </a:lnTo>
                  <a:lnTo>
                    <a:pt x="484" y="134"/>
                  </a:lnTo>
                  <a:lnTo>
                    <a:pt x="485" y="133"/>
                  </a:lnTo>
                  <a:lnTo>
                    <a:pt x="485" y="130"/>
                  </a:lnTo>
                  <a:lnTo>
                    <a:pt x="484" y="129"/>
                  </a:lnTo>
                  <a:lnTo>
                    <a:pt x="483" y="129"/>
                  </a:lnTo>
                  <a:lnTo>
                    <a:pt x="483" y="128"/>
                  </a:lnTo>
                  <a:lnTo>
                    <a:pt x="482" y="128"/>
                  </a:lnTo>
                  <a:lnTo>
                    <a:pt x="482" y="129"/>
                  </a:lnTo>
                  <a:lnTo>
                    <a:pt x="479" y="129"/>
                  </a:lnTo>
                  <a:lnTo>
                    <a:pt x="479" y="128"/>
                  </a:lnTo>
                  <a:lnTo>
                    <a:pt x="483" y="125"/>
                  </a:lnTo>
                  <a:lnTo>
                    <a:pt x="483" y="127"/>
                  </a:lnTo>
                  <a:lnTo>
                    <a:pt x="485" y="128"/>
                  </a:lnTo>
                  <a:lnTo>
                    <a:pt x="487" y="128"/>
                  </a:lnTo>
                  <a:lnTo>
                    <a:pt x="488" y="128"/>
                  </a:lnTo>
                  <a:lnTo>
                    <a:pt x="488" y="127"/>
                  </a:lnTo>
                  <a:lnTo>
                    <a:pt x="487" y="125"/>
                  </a:lnTo>
                  <a:lnTo>
                    <a:pt x="485" y="125"/>
                  </a:lnTo>
                  <a:lnTo>
                    <a:pt x="487" y="124"/>
                  </a:lnTo>
                  <a:lnTo>
                    <a:pt x="488" y="124"/>
                  </a:lnTo>
                  <a:lnTo>
                    <a:pt x="490" y="125"/>
                  </a:lnTo>
                  <a:lnTo>
                    <a:pt x="491" y="127"/>
                  </a:lnTo>
                  <a:lnTo>
                    <a:pt x="493" y="125"/>
                  </a:lnTo>
                  <a:lnTo>
                    <a:pt x="491" y="125"/>
                  </a:lnTo>
                  <a:lnTo>
                    <a:pt x="490" y="123"/>
                  </a:lnTo>
                  <a:lnTo>
                    <a:pt x="491" y="122"/>
                  </a:lnTo>
                  <a:lnTo>
                    <a:pt x="493" y="123"/>
                  </a:lnTo>
                  <a:lnTo>
                    <a:pt x="495" y="123"/>
                  </a:lnTo>
                  <a:lnTo>
                    <a:pt x="496" y="123"/>
                  </a:lnTo>
                  <a:lnTo>
                    <a:pt x="497" y="124"/>
                  </a:lnTo>
                  <a:lnTo>
                    <a:pt x="499" y="124"/>
                  </a:lnTo>
                  <a:lnTo>
                    <a:pt x="500" y="124"/>
                  </a:lnTo>
                  <a:lnTo>
                    <a:pt x="497" y="122"/>
                  </a:lnTo>
                  <a:lnTo>
                    <a:pt x="495" y="121"/>
                  </a:lnTo>
                  <a:lnTo>
                    <a:pt x="506" y="115"/>
                  </a:lnTo>
                  <a:lnTo>
                    <a:pt x="506" y="113"/>
                  </a:lnTo>
                  <a:lnTo>
                    <a:pt x="502" y="113"/>
                  </a:lnTo>
                  <a:lnTo>
                    <a:pt x="496" y="117"/>
                  </a:lnTo>
                  <a:lnTo>
                    <a:pt x="495" y="118"/>
                  </a:lnTo>
                  <a:lnTo>
                    <a:pt x="494" y="118"/>
                  </a:lnTo>
                  <a:lnTo>
                    <a:pt x="495" y="116"/>
                  </a:lnTo>
                  <a:lnTo>
                    <a:pt x="496" y="115"/>
                  </a:lnTo>
                  <a:lnTo>
                    <a:pt x="495" y="113"/>
                  </a:lnTo>
                  <a:lnTo>
                    <a:pt x="491" y="117"/>
                  </a:lnTo>
                  <a:lnTo>
                    <a:pt x="491" y="119"/>
                  </a:lnTo>
                  <a:lnTo>
                    <a:pt x="490" y="119"/>
                  </a:lnTo>
                  <a:lnTo>
                    <a:pt x="489" y="119"/>
                  </a:lnTo>
                  <a:lnTo>
                    <a:pt x="488" y="118"/>
                  </a:lnTo>
                  <a:lnTo>
                    <a:pt x="488" y="119"/>
                  </a:lnTo>
                  <a:lnTo>
                    <a:pt x="487" y="121"/>
                  </a:lnTo>
                  <a:lnTo>
                    <a:pt x="485" y="122"/>
                  </a:lnTo>
                  <a:lnTo>
                    <a:pt x="484" y="121"/>
                  </a:lnTo>
                  <a:lnTo>
                    <a:pt x="483" y="121"/>
                  </a:lnTo>
                  <a:lnTo>
                    <a:pt x="483" y="122"/>
                  </a:lnTo>
                  <a:lnTo>
                    <a:pt x="483" y="123"/>
                  </a:lnTo>
                  <a:lnTo>
                    <a:pt x="482" y="124"/>
                  </a:lnTo>
                  <a:lnTo>
                    <a:pt x="481" y="125"/>
                  </a:lnTo>
                  <a:lnTo>
                    <a:pt x="478" y="125"/>
                  </a:lnTo>
                  <a:lnTo>
                    <a:pt x="479" y="124"/>
                  </a:lnTo>
                  <a:lnTo>
                    <a:pt x="481" y="123"/>
                  </a:lnTo>
                  <a:lnTo>
                    <a:pt x="479" y="122"/>
                  </a:lnTo>
                  <a:lnTo>
                    <a:pt x="479" y="121"/>
                  </a:lnTo>
                  <a:lnTo>
                    <a:pt x="478" y="119"/>
                  </a:lnTo>
                  <a:lnTo>
                    <a:pt x="477" y="121"/>
                  </a:lnTo>
                  <a:lnTo>
                    <a:pt x="476" y="122"/>
                  </a:lnTo>
                  <a:lnTo>
                    <a:pt x="476" y="123"/>
                  </a:lnTo>
                  <a:lnTo>
                    <a:pt x="475" y="124"/>
                  </a:lnTo>
                  <a:lnTo>
                    <a:pt x="473" y="125"/>
                  </a:lnTo>
                  <a:lnTo>
                    <a:pt x="472" y="127"/>
                  </a:lnTo>
                  <a:lnTo>
                    <a:pt x="472" y="128"/>
                  </a:lnTo>
                  <a:lnTo>
                    <a:pt x="471" y="130"/>
                  </a:lnTo>
                  <a:lnTo>
                    <a:pt x="470" y="133"/>
                  </a:lnTo>
                  <a:lnTo>
                    <a:pt x="469" y="128"/>
                  </a:lnTo>
                  <a:lnTo>
                    <a:pt x="467" y="128"/>
                  </a:lnTo>
                  <a:lnTo>
                    <a:pt x="466" y="129"/>
                  </a:lnTo>
                  <a:lnTo>
                    <a:pt x="466" y="131"/>
                  </a:lnTo>
                  <a:lnTo>
                    <a:pt x="467" y="133"/>
                  </a:lnTo>
                  <a:lnTo>
                    <a:pt x="466" y="134"/>
                  </a:lnTo>
                  <a:lnTo>
                    <a:pt x="465" y="136"/>
                  </a:lnTo>
                  <a:lnTo>
                    <a:pt x="464" y="137"/>
                  </a:lnTo>
                  <a:lnTo>
                    <a:pt x="461" y="139"/>
                  </a:lnTo>
                  <a:lnTo>
                    <a:pt x="460" y="139"/>
                  </a:lnTo>
                  <a:lnTo>
                    <a:pt x="459" y="137"/>
                  </a:lnTo>
                  <a:lnTo>
                    <a:pt x="459" y="135"/>
                  </a:lnTo>
                  <a:lnTo>
                    <a:pt x="460" y="136"/>
                  </a:lnTo>
                  <a:lnTo>
                    <a:pt x="461" y="136"/>
                  </a:lnTo>
                  <a:lnTo>
                    <a:pt x="463" y="136"/>
                  </a:lnTo>
                  <a:lnTo>
                    <a:pt x="461" y="135"/>
                  </a:lnTo>
                  <a:lnTo>
                    <a:pt x="461" y="134"/>
                  </a:lnTo>
                  <a:lnTo>
                    <a:pt x="461" y="133"/>
                  </a:lnTo>
                  <a:lnTo>
                    <a:pt x="461" y="131"/>
                  </a:lnTo>
                  <a:lnTo>
                    <a:pt x="460" y="130"/>
                  </a:lnTo>
                  <a:lnTo>
                    <a:pt x="460" y="131"/>
                  </a:lnTo>
                  <a:lnTo>
                    <a:pt x="459" y="133"/>
                  </a:lnTo>
                  <a:lnTo>
                    <a:pt x="458" y="134"/>
                  </a:lnTo>
                  <a:lnTo>
                    <a:pt x="458" y="133"/>
                  </a:lnTo>
                  <a:lnTo>
                    <a:pt x="457" y="131"/>
                  </a:lnTo>
                  <a:lnTo>
                    <a:pt x="455" y="130"/>
                  </a:lnTo>
                  <a:lnTo>
                    <a:pt x="454" y="130"/>
                  </a:lnTo>
                  <a:lnTo>
                    <a:pt x="455" y="131"/>
                  </a:lnTo>
                  <a:lnTo>
                    <a:pt x="455" y="133"/>
                  </a:lnTo>
                  <a:lnTo>
                    <a:pt x="457" y="134"/>
                  </a:lnTo>
                  <a:lnTo>
                    <a:pt x="455" y="134"/>
                  </a:lnTo>
                  <a:lnTo>
                    <a:pt x="454" y="135"/>
                  </a:lnTo>
                  <a:lnTo>
                    <a:pt x="454" y="137"/>
                  </a:lnTo>
                  <a:lnTo>
                    <a:pt x="454" y="136"/>
                  </a:lnTo>
                  <a:lnTo>
                    <a:pt x="455" y="136"/>
                  </a:lnTo>
                  <a:lnTo>
                    <a:pt x="457" y="136"/>
                  </a:lnTo>
                  <a:lnTo>
                    <a:pt x="458" y="137"/>
                  </a:lnTo>
                  <a:lnTo>
                    <a:pt x="458" y="140"/>
                  </a:lnTo>
                  <a:lnTo>
                    <a:pt x="458" y="141"/>
                  </a:lnTo>
                  <a:lnTo>
                    <a:pt x="457" y="142"/>
                  </a:lnTo>
                  <a:lnTo>
                    <a:pt x="455" y="143"/>
                  </a:lnTo>
                  <a:lnTo>
                    <a:pt x="453" y="145"/>
                  </a:lnTo>
                  <a:lnTo>
                    <a:pt x="452" y="146"/>
                  </a:lnTo>
                  <a:lnTo>
                    <a:pt x="451" y="147"/>
                  </a:lnTo>
                  <a:lnTo>
                    <a:pt x="448" y="148"/>
                  </a:lnTo>
                  <a:lnTo>
                    <a:pt x="446" y="151"/>
                  </a:lnTo>
                  <a:lnTo>
                    <a:pt x="444" y="153"/>
                  </a:lnTo>
                  <a:lnTo>
                    <a:pt x="442" y="152"/>
                  </a:lnTo>
                  <a:lnTo>
                    <a:pt x="440" y="152"/>
                  </a:lnTo>
                  <a:lnTo>
                    <a:pt x="438" y="151"/>
                  </a:lnTo>
                  <a:lnTo>
                    <a:pt x="437" y="148"/>
                  </a:lnTo>
                  <a:lnTo>
                    <a:pt x="436" y="146"/>
                  </a:lnTo>
                  <a:lnTo>
                    <a:pt x="436" y="143"/>
                  </a:lnTo>
                  <a:lnTo>
                    <a:pt x="437" y="143"/>
                  </a:lnTo>
                  <a:lnTo>
                    <a:pt x="438" y="145"/>
                  </a:lnTo>
                  <a:lnTo>
                    <a:pt x="441" y="145"/>
                  </a:lnTo>
                  <a:lnTo>
                    <a:pt x="441" y="143"/>
                  </a:lnTo>
                  <a:lnTo>
                    <a:pt x="440" y="142"/>
                  </a:lnTo>
                  <a:lnTo>
                    <a:pt x="436" y="142"/>
                  </a:lnTo>
                  <a:lnTo>
                    <a:pt x="435" y="142"/>
                  </a:lnTo>
                  <a:lnTo>
                    <a:pt x="435" y="141"/>
                  </a:lnTo>
                  <a:lnTo>
                    <a:pt x="435" y="140"/>
                  </a:lnTo>
                  <a:lnTo>
                    <a:pt x="436" y="140"/>
                  </a:lnTo>
                  <a:lnTo>
                    <a:pt x="440" y="140"/>
                  </a:lnTo>
                  <a:lnTo>
                    <a:pt x="440" y="139"/>
                  </a:lnTo>
                  <a:lnTo>
                    <a:pt x="440" y="136"/>
                  </a:lnTo>
                  <a:lnTo>
                    <a:pt x="441" y="134"/>
                  </a:lnTo>
                  <a:lnTo>
                    <a:pt x="442" y="134"/>
                  </a:lnTo>
                  <a:lnTo>
                    <a:pt x="441" y="133"/>
                  </a:lnTo>
                  <a:lnTo>
                    <a:pt x="438" y="133"/>
                  </a:lnTo>
                  <a:lnTo>
                    <a:pt x="436" y="133"/>
                  </a:lnTo>
                  <a:lnTo>
                    <a:pt x="432" y="131"/>
                  </a:lnTo>
                  <a:lnTo>
                    <a:pt x="432" y="130"/>
                  </a:lnTo>
                  <a:lnTo>
                    <a:pt x="434" y="129"/>
                  </a:lnTo>
                  <a:lnTo>
                    <a:pt x="436" y="129"/>
                  </a:lnTo>
                  <a:lnTo>
                    <a:pt x="437" y="129"/>
                  </a:lnTo>
                  <a:lnTo>
                    <a:pt x="438" y="129"/>
                  </a:lnTo>
                  <a:lnTo>
                    <a:pt x="437" y="127"/>
                  </a:lnTo>
                  <a:lnTo>
                    <a:pt x="437" y="125"/>
                  </a:lnTo>
                  <a:lnTo>
                    <a:pt x="438" y="125"/>
                  </a:lnTo>
                  <a:lnTo>
                    <a:pt x="438" y="127"/>
                  </a:lnTo>
                  <a:lnTo>
                    <a:pt x="441" y="127"/>
                  </a:lnTo>
                  <a:lnTo>
                    <a:pt x="441" y="125"/>
                  </a:lnTo>
                  <a:lnTo>
                    <a:pt x="437" y="124"/>
                  </a:lnTo>
                  <a:lnTo>
                    <a:pt x="438" y="123"/>
                  </a:lnTo>
                  <a:lnTo>
                    <a:pt x="440" y="122"/>
                  </a:lnTo>
                  <a:lnTo>
                    <a:pt x="441" y="123"/>
                  </a:lnTo>
                  <a:lnTo>
                    <a:pt x="443" y="123"/>
                  </a:lnTo>
                  <a:lnTo>
                    <a:pt x="444" y="123"/>
                  </a:lnTo>
                  <a:lnTo>
                    <a:pt x="446" y="124"/>
                  </a:lnTo>
                  <a:lnTo>
                    <a:pt x="448" y="125"/>
                  </a:lnTo>
                  <a:lnTo>
                    <a:pt x="449" y="127"/>
                  </a:lnTo>
                  <a:lnTo>
                    <a:pt x="451" y="125"/>
                  </a:lnTo>
                  <a:lnTo>
                    <a:pt x="451" y="124"/>
                  </a:lnTo>
                  <a:lnTo>
                    <a:pt x="449" y="124"/>
                  </a:lnTo>
                  <a:lnTo>
                    <a:pt x="447" y="121"/>
                  </a:lnTo>
                  <a:lnTo>
                    <a:pt x="448" y="121"/>
                  </a:lnTo>
                  <a:lnTo>
                    <a:pt x="449" y="121"/>
                  </a:lnTo>
                  <a:lnTo>
                    <a:pt x="449" y="122"/>
                  </a:lnTo>
                  <a:lnTo>
                    <a:pt x="449" y="121"/>
                  </a:lnTo>
                  <a:lnTo>
                    <a:pt x="448" y="118"/>
                  </a:lnTo>
                  <a:lnTo>
                    <a:pt x="448" y="117"/>
                  </a:lnTo>
                  <a:lnTo>
                    <a:pt x="449" y="116"/>
                  </a:lnTo>
                  <a:lnTo>
                    <a:pt x="451" y="116"/>
                  </a:lnTo>
                  <a:lnTo>
                    <a:pt x="452" y="117"/>
                  </a:lnTo>
                  <a:lnTo>
                    <a:pt x="452" y="121"/>
                  </a:lnTo>
                  <a:lnTo>
                    <a:pt x="452" y="122"/>
                  </a:lnTo>
                  <a:lnTo>
                    <a:pt x="453" y="122"/>
                  </a:lnTo>
                  <a:lnTo>
                    <a:pt x="454" y="119"/>
                  </a:lnTo>
                  <a:lnTo>
                    <a:pt x="454" y="118"/>
                  </a:lnTo>
                  <a:lnTo>
                    <a:pt x="455" y="117"/>
                  </a:lnTo>
                  <a:lnTo>
                    <a:pt x="458" y="117"/>
                  </a:lnTo>
                  <a:lnTo>
                    <a:pt x="457" y="116"/>
                  </a:lnTo>
                  <a:lnTo>
                    <a:pt x="455" y="116"/>
                  </a:lnTo>
                  <a:lnTo>
                    <a:pt x="453" y="115"/>
                  </a:lnTo>
                  <a:lnTo>
                    <a:pt x="454" y="115"/>
                  </a:lnTo>
                  <a:lnTo>
                    <a:pt x="455" y="115"/>
                  </a:lnTo>
                  <a:lnTo>
                    <a:pt x="455" y="113"/>
                  </a:lnTo>
                  <a:lnTo>
                    <a:pt x="457" y="112"/>
                  </a:lnTo>
                  <a:lnTo>
                    <a:pt x="457" y="111"/>
                  </a:lnTo>
                  <a:lnTo>
                    <a:pt x="458" y="110"/>
                  </a:lnTo>
                  <a:lnTo>
                    <a:pt x="460" y="109"/>
                  </a:lnTo>
                  <a:lnTo>
                    <a:pt x="461" y="110"/>
                  </a:lnTo>
                  <a:lnTo>
                    <a:pt x="461" y="109"/>
                  </a:lnTo>
                  <a:lnTo>
                    <a:pt x="464" y="107"/>
                  </a:lnTo>
                  <a:lnTo>
                    <a:pt x="465" y="109"/>
                  </a:lnTo>
                  <a:lnTo>
                    <a:pt x="464" y="106"/>
                  </a:lnTo>
                  <a:lnTo>
                    <a:pt x="463" y="105"/>
                  </a:lnTo>
                  <a:lnTo>
                    <a:pt x="461" y="105"/>
                  </a:lnTo>
                  <a:lnTo>
                    <a:pt x="461" y="104"/>
                  </a:lnTo>
                  <a:lnTo>
                    <a:pt x="463" y="103"/>
                  </a:lnTo>
                  <a:lnTo>
                    <a:pt x="464" y="103"/>
                  </a:lnTo>
                  <a:lnTo>
                    <a:pt x="465" y="103"/>
                  </a:lnTo>
                  <a:lnTo>
                    <a:pt x="466" y="103"/>
                  </a:lnTo>
                  <a:lnTo>
                    <a:pt x="469" y="103"/>
                  </a:lnTo>
                  <a:lnTo>
                    <a:pt x="471" y="103"/>
                  </a:lnTo>
                  <a:lnTo>
                    <a:pt x="473" y="103"/>
                  </a:lnTo>
                  <a:lnTo>
                    <a:pt x="475" y="104"/>
                  </a:lnTo>
                  <a:lnTo>
                    <a:pt x="476" y="104"/>
                  </a:lnTo>
                  <a:lnTo>
                    <a:pt x="477" y="103"/>
                  </a:lnTo>
                  <a:lnTo>
                    <a:pt x="477" y="101"/>
                  </a:lnTo>
                  <a:lnTo>
                    <a:pt x="476" y="100"/>
                  </a:lnTo>
                  <a:lnTo>
                    <a:pt x="475" y="100"/>
                  </a:lnTo>
                  <a:lnTo>
                    <a:pt x="473" y="99"/>
                  </a:lnTo>
                  <a:lnTo>
                    <a:pt x="473" y="100"/>
                  </a:lnTo>
                  <a:lnTo>
                    <a:pt x="472" y="100"/>
                  </a:lnTo>
                  <a:lnTo>
                    <a:pt x="472" y="99"/>
                  </a:lnTo>
                  <a:lnTo>
                    <a:pt x="472" y="98"/>
                  </a:lnTo>
                  <a:lnTo>
                    <a:pt x="473" y="98"/>
                  </a:lnTo>
                  <a:lnTo>
                    <a:pt x="475" y="99"/>
                  </a:lnTo>
                  <a:lnTo>
                    <a:pt x="478" y="101"/>
                  </a:lnTo>
                  <a:lnTo>
                    <a:pt x="478" y="100"/>
                  </a:lnTo>
                  <a:lnTo>
                    <a:pt x="478" y="99"/>
                  </a:lnTo>
                  <a:lnTo>
                    <a:pt x="477" y="99"/>
                  </a:lnTo>
                  <a:lnTo>
                    <a:pt x="476" y="99"/>
                  </a:lnTo>
                  <a:lnTo>
                    <a:pt x="476" y="98"/>
                  </a:lnTo>
                  <a:lnTo>
                    <a:pt x="475" y="97"/>
                  </a:lnTo>
                  <a:lnTo>
                    <a:pt x="475" y="95"/>
                  </a:lnTo>
                  <a:lnTo>
                    <a:pt x="477" y="95"/>
                  </a:lnTo>
                  <a:lnTo>
                    <a:pt x="478" y="95"/>
                  </a:lnTo>
                  <a:lnTo>
                    <a:pt x="479" y="97"/>
                  </a:lnTo>
                  <a:lnTo>
                    <a:pt x="481" y="99"/>
                  </a:lnTo>
                  <a:lnTo>
                    <a:pt x="482" y="99"/>
                  </a:lnTo>
                  <a:lnTo>
                    <a:pt x="482" y="97"/>
                  </a:lnTo>
                  <a:lnTo>
                    <a:pt x="481" y="97"/>
                  </a:lnTo>
                  <a:lnTo>
                    <a:pt x="481" y="95"/>
                  </a:lnTo>
                  <a:lnTo>
                    <a:pt x="481" y="94"/>
                  </a:lnTo>
                  <a:lnTo>
                    <a:pt x="481" y="93"/>
                  </a:lnTo>
                  <a:lnTo>
                    <a:pt x="482" y="93"/>
                  </a:lnTo>
                  <a:lnTo>
                    <a:pt x="482" y="94"/>
                  </a:lnTo>
                  <a:lnTo>
                    <a:pt x="483" y="94"/>
                  </a:lnTo>
                  <a:lnTo>
                    <a:pt x="485" y="95"/>
                  </a:lnTo>
                  <a:lnTo>
                    <a:pt x="488" y="95"/>
                  </a:lnTo>
                  <a:lnTo>
                    <a:pt x="488" y="94"/>
                  </a:lnTo>
                  <a:lnTo>
                    <a:pt x="487" y="94"/>
                  </a:lnTo>
                  <a:lnTo>
                    <a:pt x="487" y="93"/>
                  </a:lnTo>
                  <a:lnTo>
                    <a:pt x="485" y="92"/>
                  </a:lnTo>
                  <a:lnTo>
                    <a:pt x="484" y="92"/>
                  </a:lnTo>
                  <a:lnTo>
                    <a:pt x="484" y="90"/>
                  </a:lnTo>
                  <a:lnTo>
                    <a:pt x="485" y="90"/>
                  </a:lnTo>
                  <a:lnTo>
                    <a:pt x="491" y="87"/>
                  </a:lnTo>
                  <a:lnTo>
                    <a:pt x="493" y="86"/>
                  </a:lnTo>
                  <a:lnTo>
                    <a:pt x="493" y="84"/>
                  </a:lnTo>
                  <a:lnTo>
                    <a:pt x="491" y="86"/>
                  </a:lnTo>
                  <a:lnTo>
                    <a:pt x="489" y="87"/>
                  </a:lnTo>
                  <a:lnTo>
                    <a:pt x="484" y="89"/>
                  </a:lnTo>
                  <a:lnTo>
                    <a:pt x="485" y="88"/>
                  </a:lnTo>
                  <a:lnTo>
                    <a:pt x="485" y="86"/>
                  </a:lnTo>
                  <a:lnTo>
                    <a:pt x="483" y="86"/>
                  </a:lnTo>
                  <a:lnTo>
                    <a:pt x="482" y="87"/>
                  </a:lnTo>
                  <a:lnTo>
                    <a:pt x="479" y="89"/>
                  </a:lnTo>
                  <a:lnTo>
                    <a:pt x="478" y="89"/>
                  </a:lnTo>
                  <a:lnTo>
                    <a:pt x="477" y="90"/>
                  </a:lnTo>
                  <a:lnTo>
                    <a:pt x="476" y="92"/>
                  </a:lnTo>
                  <a:lnTo>
                    <a:pt x="475" y="92"/>
                  </a:lnTo>
                  <a:lnTo>
                    <a:pt x="475" y="90"/>
                  </a:lnTo>
                  <a:lnTo>
                    <a:pt x="473" y="89"/>
                  </a:lnTo>
                  <a:lnTo>
                    <a:pt x="472" y="90"/>
                  </a:lnTo>
                  <a:lnTo>
                    <a:pt x="472" y="92"/>
                  </a:lnTo>
                  <a:lnTo>
                    <a:pt x="470" y="93"/>
                  </a:lnTo>
                  <a:lnTo>
                    <a:pt x="469" y="94"/>
                  </a:lnTo>
                  <a:lnTo>
                    <a:pt x="467" y="95"/>
                  </a:lnTo>
                  <a:lnTo>
                    <a:pt x="466" y="94"/>
                  </a:lnTo>
                  <a:lnTo>
                    <a:pt x="469" y="93"/>
                  </a:lnTo>
                  <a:lnTo>
                    <a:pt x="469" y="92"/>
                  </a:lnTo>
                  <a:lnTo>
                    <a:pt x="467" y="92"/>
                  </a:lnTo>
                  <a:lnTo>
                    <a:pt x="466" y="90"/>
                  </a:lnTo>
                  <a:lnTo>
                    <a:pt x="466" y="89"/>
                  </a:lnTo>
                  <a:lnTo>
                    <a:pt x="465" y="90"/>
                  </a:lnTo>
                  <a:lnTo>
                    <a:pt x="464" y="92"/>
                  </a:lnTo>
                  <a:lnTo>
                    <a:pt x="463" y="93"/>
                  </a:lnTo>
                  <a:lnTo>
                    <a:pt x="463" y="94"/>
                  </a:lnTo>
                  <a:lnTo>
                    <a:pt x="463" y="95"/>
                  </a:lnTo>
                  <a:lnTo>
                    <a:pt x="464" y="94"/>
                  </a:lnTo>
                  <a:lnTo>
                    <a:pt x="464" y="95"/>
                  </a:lnTo>
                  <a:lnTo>
                    <a:pt x="463" y="97"/>
                  </a:lnTo>
                  <a:lnTo>
                    <a:pt x="461" y="95"/>
                  </a:lnTo>
                  <a:lnTo>
                    <a:pt x="461" y="97"/>
                  </a:lnTo>
                  <a:lnTo>
                    <a:pt x="460" y="97"/>
                  </a:lnTo>
                  <a:lnTo>
                    <a:pt x="459" y="98"/>
                  </a:lnTo>
                  <a:lnTo>
                    <a:pt x="458" y="99"/>
                  </a:lnTo>
                  <a:lnTo>
                    <a:pt x="457" y="99"/>
                  </a:lnTo>
                  <a:lnTo>
                    <a:pt x="455" y="100"/>
                  </a:lnTo>
                  <a:lnTo>
                    <a:pt x="454" y="101"/>
                  </a:lnTo>
                  <a:lnTo>
                    <a:pt x="453" y="100"/>
                  </a:lnTo>
                  <a:lnTo>
                    <a:pt x="451" y="100"/>
                  </a:lnTo>
                  <a:lnTo>
                    <a:pt x="449" y="100"/>
                  </a:lnTo>
                  <a:lnTo>
                    <a:pt x="449" y="101"/>
                  </a:lnTo>
                  <a:lnTo>
                    <a:pt x="448" y="104"/>
                  </a:lnTo>
                  <a:lnTo>
                    <a:pt x="447" y="105"/>
                  </a:lnTo>
                  <a:lnTo>
                    <a:pt x="444" y="106"/>
                  </a:lnTo>
                  <a:lnTo>
                    <a:pt x="443" y="109"/>
                  </a:lnTo>
                  <a:lnTo>
                    <a:pt x="441" y="110"/>
                  </a:lnTo>
                  <a:lnTo>
                    <a:pt x="441" y="109"/>
                  </a:lnTo>
                  <a:lnTo>
                    <a:pt x="441" y="107"/>
                  </a:lnTo>
                  <a:lnTo>
                    <a:pt x="440" y="106"/>
                  </a:lnTo>
                  <a:lnTo>
                    <a:pt x="441" y="105"/>
                  </a:lnTo>
                  <a:lnTo>
                    <a:pt x="441" y="104"/>
                  </a:lnTo>
                  <a:lnTo>
                    <a:pt x="441" y="101"/>
                  </a:lnTo>
                  <a:lnTo>
                    <a:pt x="447" y="101"/>
                  </a:lnTo>
                  <a:lnTo>
                    <a:pt x="446" y="100"/>
                  </a:lnTo>
                  <a:lnTo>
                    <a:pt x="448" y="99"/>
                  </a:lnTo>
                  <a:lnTo>
                    <a:pt x="447" y="98"/>
                  </a:lnTo>
                  <a:lnTo>
                    <a:pt x="444" y="99"/>
                  </a:lnTo>
                  <a:lnTo>
                    <a:pt x="441" y="99"/>
                  </a:lnTo>
                  <a:lnTo>
                    <a:pt x="440" y="98"/>
                  </a:lnTo>
                  <a:lnTo>
                    <a:pt x="441" y="97"/>
                  </a:lnTo>
                  <a:lnTo>
                    <a:pt x="438" y="95"/>
                  </a:lnTo>
                  <a:lnTo>
                    <a:pt x="437" y="95"/>
                  </a:lnTo>
                  <a:lnTo>
                    <a:pt x="437" y="97"/>
                  </a:lnTo>
                  <a:lnTo>
                    <a:pt x="436" y="97"/>
                  </a:lnTo>
                  <a:lnTo>
                    <a:pt x="434" y="97"/>
                  </a:lnTo>
                  <a:lnTo>
                    <a:pt x="432" y="98"/>
                  </a:lnTo>
                  <a:lnTo>
                    <a:pt x="430" y="98"/>
                  </a:lnTo>
                  <a:lnTo>
                    <a:pt x="428" y="98"/>
                  </a:lnTo>
                  <a:lnTo>
                    <a:pt x="425" y="97"/>
                  </a:lnTo>
                  <a:lnTo>
                    <a:pt x="424" y="95"/>
                  </a:lnTo>
                  <a:lnTo>
                    <a:pt x="426" y="94"/>
                  </a:lnTo>
                  <a:lnTo>
                    <a:pt x="425" y="93"/>
                  </a:lnTo>
                  <a:lnTo>
                    <a:pt x="425" y="89"/>
                  </a:lnTo>
                  <a:lnTo>
                    <a:pt x="424" y="88"/>
                  </a:lnTo>
                  <a:lnTo>
                    <a:pt x="425" y="88"/>
                  </a:lnTo>
                  <a:lnTo>
                    <a:pt x="426" y="89"/>
                  </a:lnTo>
                  <a:lnTo>
                    <a:pt x="429" y="90"/>
                  </a:lnTo>
                  <a:lnTo>
                    <a:pt x="429" y="92"/>
                  </a:lnTo>
                  <a:lnTo>
                    <a:pt x="430" y="93"/>
                  </a:lnTo>
                  <a:lnTo>
                    <a:pt x="430" y="92"/>
                  </a:lnTo>
                  <a:lnTo>
                    <a:pt x="430" y="94"/>
                  </a:lnTo>
                  <a:lnTo>
                    <a:pt x="431" y="95"/>
                  </a:lnTo>
                  <a:lnTo>
                    <a:pt x="432" y="95"/>
                  </a:lnTo>
                  <a:lnTo>
                    <a:pt x="432" y="94"/>
                  </a:lnTo>
                  <a:lnTo>
                    <a:pt x="434" y="93"/>
                  </a:lnTo>
                  <a:lnTo>
                    <a:pt x="436" y="94"/>
                  </a:lnTo>
                  <a:lnTo>
                    <a:pt x="437" y="94"/>
                  </a:lnTo>
                  <a:lnTo>
                    <a:pt x="438" y="94"/>
                  </a:lnTo>
                  <a:lnTo>
                    <a:pt x="437" y="94"/>
                  </a:lnTo>
                  <a:lnTo>
                    <a:pt x="436" y="93"/>
                  </a:lnTo>
                  <a:lnTo>
                    <a:pt x="436" y="92"/>
                  </a:lnTo>
                  <a:lnTo>
                    <a:pt x="437" y="92"/>
                  </a:lnTo>
                  <a:lnTo>
                    <a:pt x="438" y="90"/>
                  </a:lnTo>
                  <a:lnTo>
                    <a:pt x="437" y="89"/>
                  </a:lnTo>
                  <a:lnTo>
                    <a:pt x="435" y="89"/>
                  </a:lnTo>
                  <a:lnTo>
                    <a:pt x="432" y="90"/>
                  </a:lnTo>
                  <a:lnTo>
                    <a:pt x="431" y="88"/>
                  </a:lnTo>
                  <a:lnTo>
                    <a:pt x="430" y="87"/>
                  </a:lnTo>
                  <a:lnTo>
                    <a:pt x="428" y="87"/>
                  </a:lnTo>
                  <a:lnTo>
                    <a:pt x="425" y="86"/>
                  </a:lnTo>
                  <a:lnTo>
                    <a:pt x="422" y="83"/>
                  </a:lnTo>
                  <a:lnTo>
                    <a:pt x="419" y="81"/>
                  </a:lnTo>
                  <a:lnTo>
                    <a:pt x="420" y="81"/>
                  </a:lnTo>
                  <a:lnTo>
                    <a:pt x="420" y="80"/>
                  </a:lnTo>
                  <a:lnTo>
                    <a:pt x="419" y="78"/>
                  </a:lnTo>
                  <a:lnTo>
                    <a:pt x="420" y="77"/>
                  </a:lnTo>
                  <a:lnTo>
                    <a:pt x="420" y="75"/>
                  </a:lnTo>
                  <a:lnTo>
                    <a:pt x="423" y="74"/>
                  </a:lnTo>
                  <a:lnTo>
                    <a:pt x="424" y="69"/>
                  </a:lnTo>
                  <a:lnTo>
                    <a:pt x="424" y="66"/>
                  </a:lnTo>
                  <a:lnTo>
                    <a:pt x="425" y="64"/>
                  </a:lnTo>
                  <a:lnTo>
                    <a:pt x="426" y="63"/>
                  </a:lnTo>
                  <a:lnTo>
                    <a:pt x="426" y="62"/>
                  </a:lnTo>
                  <a:lnTo>
                    <a:pt x="428" y="62"/>
                  </a:lnTo>
                  <a:lnTo>
                    <a:pt x="426" y="60"/>
                  </a:lnTo>
                  <a:lnTo>
                    <a:pt x="424" y="60"/>
                  </a:lnTo>
                  <a:lnTo>
                    <a:pt x="422" y="60"/>
                  </a:lnTo>
                  <a:lnTo>
                    <a:pt x="422" y="59"/>
                  </a:lnTo>
                  <a:lnTo>
                    <a:pt x="423" y="58"/>
                  </a:lnTo>
                  <a:lnTo>
                    <a:pt x="425" y="58"/>
                  </a:lnTo>
                  <a:lnTo>
                    <a:pt x="426" y="57"/>
                  </a:lnTo>
                  <a:lnTo>
                    <a:pt x="428" y="58"/>
                  </a:lnTo>
                  <a:lnTo>
                    <a:pt x="429" y="58"/>
                  </a:lnTo>
                  <a:lnTo>
                    <a:pt x="430" y="57"/>
                  </a:lnTo>
                  <a:lnTo>
                    <a:pt x="430" y="56"/>
                  </a:lnTo>
                  <a:lnTo>
                    <a:pt x="428" y="54"/>
                  </a:lnTo>
                  <a:lnTo>
                    <a:pt x="430" y="53"/>
                  </a:lnTo>
                  <a:lnTo>
                    <a:pt x="428" y="52"/>
                  </a:lnTo>
                  <a:lnTo>
                    <a:pt x="426" y="52"/>
                  </a:lnTo>
                  <a:lnTo>
                    <a:pt x="424" y="52"/>
                  </a:lnTo>
                  <a:lnTo>
                    <a:pt x="423" y="53"/>
                  </a:lnTo>
                  <a:lnTo>
                    <a:pt x="422" y="53"/>
                  </a:lnTo>
                  <a:lnTo>
                    <a:pt x="420" y="52"/>
                  </a:lnTo>
                  <a:lnTo>
                    <a:pt x="419" y="51"/>
                  </a:lnTo>
                  <a:lnTo>
                    <a:pt x="420" y="50"/>
                  </a:lnTo>
                  <a:lnTo>
                    <a:pt x="423" y="48"/>
                  </a:lnTo>
                  <a:lnTo>
                    <a:pt x="425" y="47"/>
                  </a:lnTo>
                  <a:lnTo>
                    <a:pt x="428" y="47"/>
                  </a:lnTo>
                  <a:lnTo>
                    <a:pt x="429" y="50"/>
                  </a:lnTo>
                  <a:lnTo>
                    <a:pt x="430" y="48"/>
                  </a:lnTo>
                  <a:lnTo>
                    <a:pt x="430" y="47"/>
                  </a:lnTo>
                  <a:lnTo>
                    <a:pt x="429" y="46"/>
                  </a:lnTo>
                  <a:lnTo>
                    <a:pt x="431" y="47"/>
                  </a:lnTo>
                  <a:lnTo>
                    <a:pt x="434" y="47"/>
                  </a:lnTo>
                  <a:lnTo>
                    <a:pt x="432" y="46"/>
                  </a:lnTo>
                  <a:lnTo>
                    <a:pt x="432" y="45"/>
                  </a:lnTo>
                  <a:lnTo>
                    <a:pt x="434" y="45"/>
                  </a:lnTo>
                  <a:lnTo>
                    <a:pt x="436" y="45"/>
                  </a:lnTo>
                  <a:lnTo>
                    <a:pt x="436" y="46"/>
                  </a:lnTo>
                  <a:lnTo>
                    <a:pt x="438" y="47"/>
                  </a:lnTo>
                  <a:lnTo>
                    <a:pt x="440" y="47"/>
                  </a:lnTo>
                  <a:lnTo>
                    <a:pt x="440" y="46"/>
                  </a:lnTo>
                  <a:lnTo>
                    <a:pt x="438" y="45"/>
                  </a:lnTo>
                  <a:lnTo>
                    <a:pt x="438" y="44"/>
                  </a:lnTo>
                  <a:lnTo>
                    <a:pt x="442" y="42"/>
                  </a:lnTo>
                  <a:lnTo>
                    <a:pt x="444" y="42"/>
                  </a:lnTo>
                  <a:lnTo>
                    <a:pt x="446" y="41"/>
                  </a:lnTo>
                  <a:lnTo>
                    <a:pt x="444" y="40"/>
                  </a:lnTo>
                  <a:lnTo>
                    <a:pt x="442" y="41"/>
                  </a:lnTo>
                  <a:lnTo>
                    <a:pt x="441" y="41"/>
                  </a:lnTo>
                  <a:lnTo>
                    <a:pt x="441" y="39"/>
                  </a:lnTo>
                  <a:lnTo>
                    <a:pt x="440" y="39"/>
                  </a:lnTo>
                  <a:lnTo>
                    <a:pt x="436" y="41"/>
                  </a:lnTo>
                  <a:lnTo>
                    <a:pt x="434" y="42"/>
                  </a:lnTo>
                  <a:lnTo>
                    <a:pt x="434" y="41"/>
                  </a:lnTo>
                  <a:lnTo>
                    <a:pt x="435" y="40"/>
                  </a:lnTo>
                  <a:lnTo>
                    <a:pt x="435" y="38"/>
                  </a:lnTo>
                  <a:lnTo>
                    <a:pt x="434" y="36"/>
                  </a:lnTo>
                  <a:lnTo>
                    <a:pt x="434" y="38"/>
                  </a:lnTo>
                  <a:lnTo>
                    <a:pt x="432" y="40"/>
                  </a:lnTo>
                  <a:lnTo>
                    <a:pt x="432" y="41"/>
                  </a:lnTo>
                  <a:lnTo>
                    <a:pt x="431" y="42"/>
                  </a:lnTo>
                  <a:lnTo>
                    <a:pt x="430" y="42"/>
                  </a:lnTo>
                  <a:lnTo>
                    <a:pt x="429" y="42"/>
                  </a:lnTo>
                  <a:lnTo>
                    <a:pt x="426" y="44"/>
                  </a:lnTo>
                  <a:lnTo>
                    <a:pt x="426" y="45"/>
                  </a:lnTo>
                  <a:lnTo>
                    <a:pt x="424" y="45"/>
                  </a:lnTo>
                  <a:lnTo>
                    <a:pt x="423" y="45"/>
                  </a:lnTo>
                  <a:lnTo>
                    <a:pt x="423" y="44"/>
                  </a:lnTo>
                  <a:lnTo>
                    <a:pt x="424" y="42"/>
                  </a:lnTo>
                  <a:lnTo>
                    <a:pt x="424" y="41"/>
                  </a:lnTo>
                  <a:lnTo>
                    <a:pt x="425" y="42"/>
                  </a:lnTo>
                  <a:lnTo>
                    <a:pt x="426" y="42"/>
                  </a:lnTo>
                  <a:lnTo>
                    <a:pt x="426" y="41"/>
                  </a:lnTo>
                  <a:lnTo>
                    <a:pt x="426" y="40"/>
                  </a:lnTo>
                  <a:lnTo>
                    <a:pt x="428" y="41"/>
                  </a:lnTo>
                  <a:lnTo>
                    <a:pt x="429" y="41"/>
                  </a:lnTo>
                  <a:lnTo>
                    <a:pt x="429" y="40"/>
                  </a:lnTo>
                  <a:lnTo>
                    <a:pt x="428" y="40"/>
                  </a:lnTo>
                  <a:lnTo>
                    <a:pt x="428" y="39"/>
                  </a:lnTo>
                  <a:lnTo>
                    <a:pt x="428" y="38"/>
                  </a:lnTo>
                  <a:lnTo>
                    <a:pt x="426" y="38"/>
                  </a:lnTo>
                  <a:lnTo>
                    <a:pt x="425" y="36"/>
                  </a:lnTo>
                  <a:lnTo>
                    <a:pt x="426" y="35"/>
                  </a:lnTo>
                  <a:lnTo>
                    <a:pt x="428" y="34"/>
                  </a:lnTo>
                  <a:lnTo>
                    <a:pt x="428" y="35"/>
                  </a:lnTo>
                  <a:lnTo>
                    <a:pt x="430" y="35"/>
                  </a:lnTo>
                  <a:lnTo>
                    <a:pt x="434" y="35"/>
                  </a:lnTo>
                  <a:lnTo>
                    <a:pt x="435" y="34"/>
                  </a:lnTo>
                  <a:lnTo>
                    <a:pt x="434" y="34"/>
                  </a:lnTo>
                  <a:lnTo>
                    <a:pt x="429" y="34"/>
                  </a:lnTo>
                  <a:lnTo>
                    <a:pt x="430" y="32"/>
                  </a:lnTo>
                  <a:lnTo>
                    <a:pt x="431" y="32"/>
                  </a:lnTo>
                  <a:lnTo>
                    <a:pt x="434" y="30"/>
                  </a:lnTo>
                  <a:lnTo>
                    <a:pt x="435" y="30"/>
                  </a:lnTo>
                  <a:lnTo>
                    <a:pt x="435" y="29"/>
                  </a:lnTo>
                  <a:lnTo>
                    <a:pt x="432" y="29"/>
                  </a:lnTo>
                  <a:lnTo>
                    <a:pt x="431" y="29"/>
                  </a:lnTo>
                  <a:lnTo>
                    <a:pt x="430" y="30"/>
                  </a:lnTo>
                  <a:lnTo>
                    <a:pt x="430" y="29"/>
                  </a:lnTo>
                  <a:lnTo>
                    <a:pt x="435" y="23"/>
                  </a:lnTo>
                  <a:lnTo>
                    <a:pt x="437" y="21"/>
                  </a:lnTo>
                  <a:lnTo>
                    <a:pt x="441" y="16"/>
                  </a:lnTo>
                  <a:lnTo>
                    <a:pt x="444" y="14"/>
                  </a:lnTo>
                  <a:lnTo>
                    <a:pt x="443" y="12"/>
                  </a:lnTo>
                  <a:lnTo>
                    <a:pt x="441" y="14"/>
                  </a:lnTo>
                  <a:lnTo>
                    <a:pt x="440" y="15"/>
                  </a:lnTo>
                  <a:lnTo>
                    <a:pt x="437" y="18"/>
                  </a:lnTo>
                  <a:lnTo>
                    <a:pt x="432" y="22"/>
                  </a:lnTo>
                  <a:lnTo>
                    <a:pt x="430" y="26"/>
                  </a:lnTo>
                  <a:lnTo>
                    <a:pt x="428" y="29"/>
                  </a:lnTo>
                  <a:lnTo>
                    <a:pt x="426" y="32"/>
                  </a:lnTo>
                  <a:lnTo>
                    <a:pt x="425" y="32"/>
                  </a:lnTo>
                  <a:lnTo>
                    <a:pt x="423" y="30"/>
                  </a:lnTo>
                  <a:lnTo>
                    <a:pt x="422" y="28"/>
                  </a:lnTo>
                  <a:lnTo>
                    <a:pt x="419" y="26"/>
                  </a:lnTo>
                  <a:lnTo>
                    <a:pt x="418" y="24"/>
                  </a:lnTo>
                  <a:lnTo>
                    <a:pt x="417" y="24"/>
                  </a:lnTo>
                  <a:lnTo>
                    <a:pt x="416" y="24"/>
                  </a:lnTo>
                  <a:lnTo>
                    <a:pt x="417" y="27"/>
                  </a:lnTo>
                  <a:lnTo>
                    <a:pt x="418" y="27"/>
                  </a:lnTo>
                  <a:lnTo>
                    <a:pt x="419" y="27"/>
                  </a:lnTo>
                  <a:lnTo>
                    <a:pt x="420" y="28"/>
                  </a:lnTo>
                  <a:lnTo>
                    <a:pt x="422" y="29"/>
                  </a:lnTo>
                  <a:lnTo>
                    <a:pt x="423" y="32"/>
                  </a:lnTo>
                  <a:lnTo>
                    <a:pt x="424" y="33"/>
                  </a:lnTo>
                  <a:lnTo>
                    <a:pt x="424" y="35"/>
                  </a:lnTo>
                  <a:lnTo>
                    <a:pt x="424" y="36"/>
                  </a:lnTo>
                  <a:lnTo>
                    <a:pt x="422" y="35"/>
                  </a:lnTo>
                  <a:lnTo>
                    <a:pt x="420" y="34"/>
                  </a:lnTo>
                  <a:lnTo>
                    <a:pt x="419" y="33"/>
                  </a:lnTo>
                  <a:lnTo>
                    <a:pt x="418" y="34"/>
                  </a:lnTo>
                  <a:lnTo>
                    <a:pt x="419" y="35"/>
                  </a:lnTo>
                  <a:lnTo>
                    <a:pt x="420" y="36"/>
                  </a:lnTo>
                  <a:lnTo>
                    <a:pt x="422" y="38"/>
                  </a:lnTo>
                  <a:lnTo>
                    <a:pt x="422" y="39"/>
                  </a:lnTo>
                  <a:lnTo>
                    <a:pt x="420" y="40"/>
                  </a:lnTo>
                  <a:lnTo>
                    <a:pt x="418" y="38"/>
                  </a:lnTo>
                  <a:lnTo>
                    <a:pt x="417" y="38"/>
                  </a:lnTo>
                  <a:lnTo>
                    <a:pt x="418" y="40"/>
                  </a:lnTo>
                  <a:lnTo>
                    <a:pt x="419" y="41"/>
                  </a:lnTo>
                  <a:lnTo>
                    <a:pt x="420" y="42"/>
                  </a:lnTo>
                  <a:lnTo>
                    <a:pt x="420" y="44"/>
                  </a:lnTo>
                  <a:lnTo>
                    <a:pt x="420" y="45"/>
                  </a:lnTo>
                  <a:lnTo>
                    <a:pt x="419" y="45"/>
                  </a:lnTo>
                  <a:lnTo>
                    <a:pt x="418" y="44"/>
                  </a:lnTo>
                  <a:lnTo>
                    <a:pt x="417" y="44"/>
                  </a:lnTo>
                  <a:lnTo>
                    <a:pt x="417" y="42"/>
                  </a:lnTo>
                  <a:lnTo>
                    <a:pt x="416" y="41"/>
                  </a:lnTo>
                  <a:lnTo>
                    <a:pt x="414" y="41"/>
                  </a:lnTo>
                  <a:lnTo>
                    <a:pt x="413" y="40"/>
                  </a:lnTo>
                  <a:lnTo>
                    <a:pt x="414" y="39"/>
                  </a:lnTo>
                  <a:lnTo>
                    <a:pt x="416" y="38"/>
                  </a:lnTo>
                  <a:lnTo>
                    <a:pt x="416" y="36"/>
                  </a:lnTo>
                  <a:lnTo>
                    <a:pt x="416" y="35"/>
                  </a:lnTo>
                  <a:lnTo>
                    <a:pt x="413" y="35"/>
                  </a:lnTo>
                  <a:lnTo>
                    <a:pt x="413" y="36"/>
                  </a:lnTo>
                  <a:lnTo>
                    <a:pt x="413" y="33"/>
                  </a:lnTo>
                  <a:lnTo>
                    <a:pt x="413" y="32"/>
                  </a:lnTo>
                  <a:lnTo>
                    <a:pt x="414" y="32"/>
                  </a:lnTo>
                  <a:lnTo>
                    <a:pt x="417" y="32"/>
                  </a:lnTo>
                  <a:lnTo>
                    <a:pt x="419" y="30"/>
                  </a:lnTo>
                  <a:lnTo>
                    <a:pt x="420" y="30"/>
                  </a:lnTo>
                  <a:lnTo>
                    <a:pt x="420" y="29"/>
                  </a:lnTo>
                  <a:lnTo>
                    <a:pt x="418" y="29"/>
                  </a:lnTo>
                  <a:lnTo>
                    <a:pt x="414" y="29"/>
                  </a:lnTo>
                  <a:lnTo>
                    <a:pt x="412" y="29"/>
                  </a:lnTo>
                  <a:lnTo>
                    <a:pt x="412" y="27"/>
                  </a:lnTo>
                  <a:lnTo>
                    <a:pt x="412" y="26"/>
                  </a:lnTo>
                  <a:lnTo>
                    <a:pt x="411" y="23"/>
                  </a:lnTo>
                  <a:lnTo>
                    <a:pt x="411" y="18"/>
                  </a:lnTo>
                  <a:lnTo>
                    <a:pt x="411" y="15"/>
                  </a:lnTo>
                  <a:lnTo>
                    <a:pt x="410" y="16"/>
                  </a:lnTo>
                  <a:lnTo>
                    <a:pt x="410" y="23"/>
                  </a:lnTo>
                  <a:lnTo>
                    <a:pt x="410" y="28"/>
                  </a:lnTo>
                  <a:lnTo>
                    <a:pt x="410" y="32"/>
                  </a:lnTo>
                  <a:lnTo>
                    <a:pt x="411" y="34"/>
                  </a:lnTo>
                  <a:lnTo>
                    <a:pt x="412" y="36"/>
                  </a:lnTo>
                  <a:lnTo>
                    <a:pt x="411" y="39"/>
                  </a:lnTo>
                  <a:lnTo>
                    <a:pt x="410" y="38"/>
                  </a:lnTo>
                  <a:lnTo>
                    <a:pt x="408" y="35"/>
                  </a:lnTo>
                  <a:lnTo>
                    <a:pt x="408" y="36"/>
                  </a:lnTo>
                  <a:lnTo>
                    <a:pt x="407" y="38"/>
                  </a:lnTo>
                  <a:lnTo>
                    <a:pt x="407" y="39"/>
                  </a:lnTo>
                  <a:lnTo>
                    <a:pt x="406" y="41"/>
                  </a:lnTo>
                  <a:lnTo>
                    <a:pt x="405" y="41"/>
                  </a:lnTo>
                  <a:lnTo>
                    <a:pt x="404" y="40"/>
                  </a:lnTo>
                  <a:lnTo>
                    <a:pt x="402" y="38"/>
                  </a:lnTo>
                  <a:lnTo>
                    <a:pt x="402" y="36"/>
                  </a:lnTo>
                  <a:lnTo>
                    <a:pt x="404" y="35"/>
                  </a:lnTo>
                  <a:lnTo>
                    <a:pt x="405" y="34"/>
                  </a:lnTo>
                  <a:lnTo>
                    <a:pt x="406" y="33"/>
                  </a:lnTo>
                  <a:lnTo>
                    <a:pt x="405" y="32"/>
                  </a:lnTo>
                  <a:lnTo>
                    <a:pt x="402" y="33"/>
                  </a:lnTo>
                  <a:lnTo>
                    <a:pt x="401" y="34"/>
                  </a:lnTo>
                  <a:lnTo>
                    <a:pt x="400" y="34"/>
                  </a:lnTo>
                  <a:lnTo>
                    <a:pt x="402" y="33"/>
                  </a:lnTo>
                  <a:lnTo>
                    <a:pt x="402" y="32"/>
                  </a:lnTo>
                  <a:lnTo>
                    <a:pt x="400" y="33"/>
                  </a:lnTo>
                  <a:lnTo>
                    <a:pt x="400" y="32"/>
                  </a:lnTo>
                  <a:lnTo>
                    <a:pt x="401" y="30"/>
                  </a:lnTo>
                  <a:lnTo>
                    <a:pt x="402" y="28"/>
                  </a:lnTo>
                  <a:lnTo>
                    <a:pt x="401" y="27"/>
                  </a:lnTo>
                  <a:lnTo>
                    <a:pt x="400" y="28"/>
                  </a:lnTo>
                  <a:lnTo>
                    <a:pt x="399" y="27"/>
                  </a:lnTo>
                  <a:lnTo>
                    <a:pt x="400" y="26"/>
                  </a:lnTo>
                  <a:lnTo>
                    <a:pt x="402" y="24"/>
                  </a:lnTo>
                  <a:lnTo>
                    <a:pt x="405" y="22"/>
                  </a:lnTo>
                  <a:lnTo>
                    <a:pt x="408" y="17"/>
                  </a:lnTo>
                  <a:lnTo>
                    <a:pt x="408" y="16"/>
                  </a:lnTo>
                  <a:lnTo>
                    <a:pt x="407" y="17"/>
                  </a:lnTo>
                  <a:lnTo>
                    <a:pt x="406" y="17"/>
                  </a:lnTo>
                  <a:lnTo>
                    <a:pt x="400" y="23"/>
                  </a:lnTo>
                  <a:lnTo>
                    <a:pt x="400" y="22"/>
                  </a:lnTo>
                  <a:lnTo>
                    <a:pt x="400" y="21"/>
                  </a:lnTo>
                  <a:lnTo>
                    <a:pt x="401" y="20"/>
                  </a:lnTo>
                  <a:lnTo>
                    <a:pt x="401" y="18"/>
                  </a:lnTo>
                  <a:lnTo>
                    <a:pt x="402" y="17"/>
                  </a:lnTo>
                  <a:lnTo>
                    <a:pt x="401" y="15"/>
                  </a:lnTo>
                  <a:lnTo>
                    <a:pt x="400" y="15"/>
                  </a:lnTo>
                  <a:lnTo>
                    <a:pt x="400" y="16"/>
                  </a:lnTo>
                  <a:lnTo>
                    <a:pt x="400" y="17"/>
                  </a:lnTo>
                  <a:lnTo>
                    <a:pt x="399" y="17"/>
                  </a:lnTo>
                  <a:lnTo>
                    <a:pt x="399" y="15"/>
                  </a:lnTo>
                  <a:lnTo>
                    <a:pt x="399" y="12"/>
                  </a:lnTo>
                  <a:lnTo>
                    <a:pt x="399" y="9"/>
                  </a:lnTo>
                  <a:lnTo>
                    <a:pt x="398" y="9"/>
                  </a:lnTo>
                  <a:lnTo>
                    <a:pt x="398" y="10"/>
                  </a:lnTo>
                  <a:lnTo>
                    <a:pt x="398" y="14"/>
                  </a:lnTo>
                  <a:lnTo>
                    <a:pt x="398" y="17"/>
                  </a:lnTo>
                  <a:lnTo>
                    <a:pt x="398" y="20"/>
                  </a:lnTo>
                  <a:lnTo>
                    <a:pt x="398" y="21"/>
                  </a:lnTo>
                  <a:lnTo>
                    <a:pt x="398" y="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7" name="Freeform 80"/>
            <p:cNvSpPr>
              <a:spLocks/>
            </p:cNvSpPr>
            <p:nvPr userDrawn="1"/>
          </p:nvSpPr>
          <p:spPr bwMode="auto">
            <a:xfrm>
              <a:off x="7605713" y="6399213"/>
              <a:ext cx="211138" cy="236538"/>
            </a:xfrm>
            <a:custGeom>
              <a:avLst/>
              <a:gdLst/>
              <a:ahLst/>
              <a:cxnLst>
                <a:cxn ang="0">
                  <a:pos x="230" y="546"/>
                </a:cxn>
                <a:cxn ang="0">
                  <a:pos x="191" y="515"/>
                </a:cxn>
                <a:cxn ang="0">
                  <a:pos x="202" y="469"/>
                </a:cxn>
                <a:cxn ang="0">
                  <a:pos x="149" y="474"/>
                </a:cxn>
                <a:cxn ang="0">
                  <a:pos x="93" y="499"/>
                </a:cxn>
                <a:cxn ang="0">
                  <a:pos x="67" y="467"/>
                </a:cxn>
                <a:cxn ang="0">
                  <a:pos x="40" y="440"/>
                </a:cxn>
                <a:cxn ang="0">
                  <a:pos x="23" y="395"/>
                </a:cxn>
                <a:cxn ang="0">
                  <a:pos x="14" y="350"/>
                </a:cxn>
                <a:cxn ang="0">
                  <a:pos x="53" y="333"/>
                </a:cxn>
                <a:cxn ang="0">
                  <a:pos x="90" y="323"/>
                </a:cxn>
                <a:cxn ang="0">
                  <a:pos x="103" y="294"/>
                </a:cxn>
                <a:cxn ang="0">
                  <a:pos x="115" y="255"/>
                </a:cxn>
                <a:cxn ang="0">
                  <a:pos x="150" y="238"/>
                </a:cxn>
                <a:cxn ang="0">
                  <a:pos x="155" y="222"/>
                </a:cxn>
                <a:cxn ang="0">
                  <a:pos x="165" y="204"/>
                </a:cxn>
                <a:cxn ang="0">
                  <a:pos x="147" y="195"/>
                </a:cxn>
                <a:cxn ang="0">
                  <a:pos x="162" y="178"/>
                </a:cxn>
                <a:cxn ang="0">
                  <a:pos x="135" y="166"/>
                </a:cxn>
                <a:cxn ang="0">
                  <a:pos x="143" y="143"/>
                </a:cxn>
                <a:cxn ang="0">
                  <a:pos x="127" y="116"/>
                </a:cxn>
                <a:cxn ang="0">
                  <a:pos x="158" y="123"/>
                </a:cxn>
                <a:cxn ang="0">
                  <a:pos x="169" y="93"/>
                </a:cxn>
                <a:cxn ang="0">
                  <a:pos x="196" y="89"/>
                </a:cxn>
                <a:cxn ang="0">
                  <a:pos x="197" y="68"/>
                </a:cxn>
                <a:cxn ang="0">
                  <a:pos x="222" y="61"/>
                </a:cxn>
                <a:cxn ang="0">
                  <a:pos x="224" y="53"/>
                </a:cxn>
                <a:cxn ang="0">
                  <a:pos x="250" y="55"/>
                </a:cxn>
                <a:cxn ang="0">
                  <a:pos x="275" y="82"/>
                </a:cxn>
                <a:cxn ang="0">
                  <a:pos x="294" y="57"/>
                </a:cxn>
                <a:cxn ang="0">
                  <a:pos x="315" y="40"/>
                </a:cxn>
                <a:cxn ang="0">
                  <a:pos x="340" y="6"/>
                </a:cxn>
                <a:cxn ang="0">
                  <a:pos x="362" y="26"/>
                </a:cxn>
                <a:cxn ang="0">
                  <a:pos x="392" y="38"/>
                </a:cxn>
                <a:cxn ang="0">
                  <a:pos x="406" y="59"/>
                </a:cxn>
                <a:cxn ang="0">
                  <a:pos x="428" y="59"/>
                </a:cxn>
                <a:cxn ang="0">
                  <a:pos x="475" y="61"/>
                </a:cxn>
                <a:cxn ang="0">
                  <a:pos x="510" y="80"/>
                </a:cxn>
                <a:cxn ang="0">
                  <a:pos x="530" y="105"/>
                </a:cxn>
                <a:cxn ang="0">
                  <a:pos x="529" y="145"/>
                </a:cxn>
                <a:cxn ang="0">
                  <a:pos x="551" y="162"/>
                </a:cxn>
                <a:cxn ang="0">
                  <a:pos x="547" y="187"/>
                </a:cxn>
                <a:cxn ang="0">
                  <a:pos x="554" y="219"/>
                </a:cxn>
                <a:cxn ang="0">
                  <a:pos x="575" y="235"/>
                </a:cxn>
                <a:cxn ang="0">
                  <a:pos x="583" y="277"/>
                </a:cxn>
                <a:cxn ang="0">
                  <a:pos x="596" y="291"/>
                </a:cxn>
                <a:cxn ang="0">
                  <a:pos x="641" y="301"/>
                </a:cxn>
                <a:cxn ang="0">
                  <a:pos x="635" y="344"/>
                </a:cxn>
                <a:cxn ang="0">
                  <a:pos x="655" y="371"/>
                </a:cxn>
                <a:cxn ang="0">
                  <a:pos x="629" y="377"/>
                </a:cxn>
                <a:cxn ang="0">
                  <a:pos x="640" y="414"/>
                </a:cxn>
                <a:cxn ang="0">
                  <a:pos x="628" y="452"/>
                </a:cxn>
                <a:cxn ang="0">
                  <a:pos x="610" y="474"/>
                </a:cxn>
                <a:cxn ang="0">
                  <a:pos x="589" y="486"/>
                </a:cxn>
                <a:cxn ang="0">
                  <a:pos x="546" y="485"/>
                </a:cxn>
                <a:cxn ang="0">
                  <a:pos x="533" y="462"/>
                </a:cxn>
                <a:cxn ang="0">
                  <a:pos x="505" y="466"/>
                </a:cxn>
                <a:cxn ang="0">
                  <a:pos x="462" y="439"/>
                </a:cxn>
                <a:cxn ang="0">
                  <a:pos x="430" y="471"/>
                </a:cxn>
                <a:cxn ang="0">
                  <a:pos x="421" y="497"/>
                </a:cxn>
                <a:cxn ang="0">
                  <a:pos x="398" y="514"/>
                </a:cxn>
                <a:cxn ang="0">
                  <a:pos x="401" y="543"/>
                </a:cxn>
                <a:cxn ang="0">
                  <a:pos x="330" y="557"/>
                </a:cxn>
              </a:cxnLst>
              <a:rect l="0" t="0" r="r" b="b"/>
              <a:pathLst>
                <a:path w="663" h="742">
                  <a:moveTo>
                    <a:pt x="293" y="737"/>
                  </a:moveTo>
                  <a:lnTo>
                    <a:pt x="291" y="742"/>
                  </a:lnTo>
                  <a:lnTo>
                    <a:pt x="288" y="741"/>
                  </a:lnTo>
                  <a:lnTo>
                    <a:pt x="285" y="741"/>
                  </a:lnTo>
                  <a:lnTo>
                    <a:pt x="283" y="740"/>
                  </a:lnTo>
                  <a:lnTo>
                    <a:pt x="282" y="740"/>
                  </a:lnTo>
                  <a:lnTo>
                    <a:pt x="279" y="741"/>
                  </a:lnTo>
                  <a:lnTo>
                    <a:pt x="275" y="742"/>
                  </a:lnTo>
                  <a:lnTo>
                    <a:pt x="270" y="741"/>
                  </a:lnTo>
                  <a:lnTo>
                    <a:pt x="267" y="741"/>
                  </a:lnTo>
                  <a:lnTo>
                    <a:pt x="257" y="741"/>
                  </a:lnTo>
                  <a:lnTo>
                    <a:pt x="251" y="741"/>
                  </a:lnTo>
                  <a:lnTo>
                    <a:pt x="250" y="739"/>
                  </a:lnTo>
                  <a:lnTo>
                    <a:pt x="253" y="722"/>
                  </a:lnTo>
                  <a:lnTo>
                    <a:pt x="253" y="700"/>
                  </a:lnTo>
                  <a:lnTo>
                    <a:pt x="253" y="693"/>
                  </a:lnTo>
                  <a:lnTo>
                    <a:pt x="255" y="684"/>
                  </a:lnTo>
                  <a:lnTo>
                    <a:pt x="258" y="656"/>
                  </a:lnTo>
                  <a:lnTo>
                    <a:pt x="257" y="651"/>
                  </a:lnTo>
                  <a:lnTo>
                    <a:pt x="256" y="647"/>
                  </a:lnTo>
                  <a:lnTo>
                    <a:pt x="257" y="642"/>
                  </a:lnTo>
                  <a:lnTo>
                    <a:pt x="261" y="638"/>
                  </a:lnTo>
                  <a:lnTo>
                    <a:pt x="262" y="611"/>
                  </a:lnTo>
                  <a:lnTo>
                    <a:pt x="265" y="602"/>
                  </a:lnTo>
                  <a:lnTo>
                    <a:pt x="267" y="597"/>
                  </a:lnTo>
                  <a:lnTo>
                    <a:pt x="267" y="593"/>
                  </a:lnTo>
                  <a:lnTo>
                    <a:pt x="264" y="590"/>
                  </a:lnTo>
                  <a:lnTo>
                    <a:pt x="264" y="585"/>
                  </a:lnTo>
                  <a:lnTo>
                    <a:pt x="267" y="577"/>
                  </a:lnTo>
                  <a:lnTo>
                    <a:pt x="271" y="563"/>
                  </a:lnTo>
                  <a:lnTo>
                    <a:pt x="273" y="552"/>
                  </a:lnTo>
                  <a:lnTo>
                    <a:pt x="273" y="539"/>
                  </a:lnTo>
                  <a:lnTo>
                    <a:pt x="270" y="534"/>
                  </a:lnTo>
                  <a:lnTo>
                    <a:pt x="269" y="533"/>
                  </a:lnTo>
                  <a:lnTo>
                    <a:pt x="267" y="538"/>
                  </a:lnTo>
                  <a:lnTo>
                    <a:pt x="265" y="537"/>
                  </a:lnTo>
                  <a:lnTo>
                    <a:pt x="264" y="538"/>
                  </a:lnTo>
                  <a:lnTo>
                    <a:pt x="263" y="537"/>
                  </a:lnTo>
                  <a:lnTo>
                    <a:pt x="262" y="540"/>
                  </a:lnTo>
                  <a:lnTo>
                    <a:pt x="261" y="541"/>
                  </a:lnTo>
                  <a:lnTo>
                    <a:pt x="259" y="543"/>
                  </a:lnTo>
                  <a:lnTo>
                    <a:pt x="256" y="544"/>
                  </a:lnTo>
                  <a:lnTo>
                    <a:pt x="255" y="544"/>
                  </a:lnTo>
                  <a:lnTo>
                    <a:pt x="253" y="544"/>
                  </a:lnTo>
                  <a:lnTo>
                    <a:pt x="248" y="543"/>
                  </a:lnTo>
                  <a:lnTo>
                    <a:pt x="248" y="541"/>
                  </a:lnTo>
                  <a:lnTo>
                    <a:pt x="247" y="540"/>
                  </a:lnTo>
                  <a:lnTo>
                    <a:pt x="246" y="540"/>
                  </a:lnTo>
                  <a:lnTo>
                    <a:pt x="244" y="540"/>
                  </a:lnTo>
                  <a:lnTo>
                    <a:pt x="242" y="539"/>
                  </a:lnTo>
                  <a:lnTo>
                    <a:pt x="241" y="539"/>
                  </a:lnTo>
                  <a:lnTo>
                    <a:pt x="240" y="539"/>
                  </a:lnTo>
                  <a:lnTo>
                    <a:pt x="239" y="540"/>
                  </a:lnTo>
                  <a:lnTo>
                    <a:pt x="238" y="540"/>
                  </a:lnTo>
                  <a:lnTo>
                    <a:pt x="234" y="544"/>
                  </a:lnTo>
                  <a:lnTo>
                    <a:pt x="232" y="545"/>
                  </a:lnTo>
                  <a:lnTo>
                    <a:pt x="230" y="547"/>
                  </a:lnTo>
                  <a:lnTo>
                    <a:pt x="230" y="546"/>
                  </a:lnTo>
                  <a:lnTo>
                    <a:pt x="228" y="545"/>
                  </a:lnTo>
                  <a:lnTo>
                    <a:pt x="227" y="545"/>
                  </a:lnTo>
                  <a:lnTo>
                    <a:pt x="226" y="545"/>
                  </a:lnTo>
                  <a:lnTo>
                    <a:pt x="226" y="544"/>
                  </a:lnTo>
                  <a:lnTo>
                    <a:pt x="224" y="543"/>
                  </a:lnTo>
                  <a:lnTo>
                    <a:pt x="222" y="544"/>
                  </a:lnTo>
                  <a:lnTo>
                    <a:pt x="222" y="545"/>
                  </a:lnTo>
                  <a:lnTo>
                    <a:pt x="221" y="544"/>
                  </a:lnTo>
                  <a:lnTo>
                    <a:pt x="218" y="544"/>
                  </a:lnTo>
                  <a:lnTo>
                    <a:pt x="217" y="543"/>
                  </a:lnTo>
                  <a:lnTo>
                    <a:pt x="215" y="543"/>
                  </a:lnTo>
                  <a:lnTo>
                    <a:pt x="214" y="541"/>
                  </a:lnTo>
                  <a:lnTo>
                    <a:pt x="214" y="540"/>
                  </a:lnTo>
                  <a:lnTo>
                    <a:pt x="212" y="540"/>
                  </a:lnTo>
                  <a:lnTo>
                    <a:pt x="212" y="539"/>
                  </a:lnTo>
                  <a:lnTo>
                    <a:pt x="211" y="538"/>
                  </a:lnTo>
                  <a:lnTo>
                    <a:pt x="212" y="537"/>
                  </a:lnTo>
                  <a:lnTo>
                    <a:pt x="211" y="535"/>
                  </a:lnTo>
                  <a:lnTo>
                    <a:pt x="212" y="534"/>
                  </a:lnTo>
                  <a:lnTo>
                    <a:pt x="212" y="533"/>
                  </a:lnTo>
                  <a:lnTo>
                    <a:pt x="214" y="531"/>
                  </a:lnTo>
                  <a:lnTo>
                    <a:pt x="214" y="528"/>
                  </a:lnTo>
                  <a:lnTo>
                    <a:pt x="212" y="529"/>
                  </a:lnTo>
                  <a:lnTo>
                    <a:pt x="211" y="529"/>
                  </a:lnTo>
                  <a:lnTo>
                    <a:pt x="211" y="532"/>
                  </a:lnTo>
                  <a:lnTo>
                    <a:pt x="210" y="534"/>
                  </a:lnTo>
                  <a:lnTo>
                    <a:pt x="209" y="533"/>
                  </a:lnTo>
                  <a:lnTo>
                    <a:pt x="209" y="532"/>
                  </a:lnTo>
                  <a:lnTo>
                    <a:pt x="208" y="532"/>
                  </a:lnTo>
                  <a:lnTo>
                    <a:pt x="205" y="532"/>
                  </a:lnTo>
                  <a:lnTo>
                    <a:pt x="205" y="531"/>
                  </a:lnTo>
                  <a:lnTo>
                    <a:pt x="205" y="529"/>
                  </a:lnTo>
                  <a:lnTo>
                    <a:pt x="206" y="526"/>
                  </a:lnTo>
                  <a:lnTo>
                    <a:pt x="208" y="525"/>
                  </a:lnTo>
                  <a:lnTo>
                    <a:pt x="208" y="521"/>
                  </a:lnTo>
                  <a:lnTo>
                    <a:pt x="205" y="520"/>
                  </a:lnTo>
                  <a:lnTo>
                    <a:pt x="204" y="519"/>
                  </a:lnTo>
                  <a:lnTo>
                    <a:pt x="204" y="516"/>
                  </a:lnTo>
                  <a:lnTo>
                    <a:pt x="204" y="515"/>
                  </a:lnTo>
                  <a:lnTo>
                    <a:pt x="204" y="513"/>
                  </a:lnTo>
                  <a:lnTo>
                    <a:pt x="204" y="510"/>
                  </a:lnTo>
                  <a:lnTo>
                    <a:pt x="204" y="509"/>
                  </a:lnTo>
                  <a:lnTo>
                    <a:pt x="203" y="508"/>
                  </a:lnTo>
                  <a:lnTo>
                    <a:pt x="202" y="507"/>
                  </a:lnTo>
                  <a:lnTo>
                    <a:pt x="200" y="509"/>
                  </a:lnTo>
                  <a:lnTo>
                    <a:pt x="199" y="509"/>
                  </a:lnTo>
                  <a:lnTo>
                    <a:pt x="197" y="509"/>
                  </a:lnTo>
                  <a:lnTo>
                    <a:pt x="198" y="513"/>
                  </a:lnTo>
                  <a:lnTo>
                    <a:pt x="197" y="514"/>
                  </a:lnTo>
                  <a:lnTo>
                    <a:pt x="197" y="515"/>
                  </a:lnTo>
                  <a:lnTo>
                    <a:pt x="196" y="515"/>
                  </a:lnTo>
                  <a:lnTo>
                    <a:pt x="196" y="516"/>
                  </a:lnTo>
                  <a:lnTo>
                    <a:pt x="194" y="517"/>
                  </a:lnTo>
                  <a:lnTo>
                    <a:pt x="193" y="516"/>
                  </a:lnTo>
                  <a:lnTo>
                    <a:pt x="193" y="517"/>
                  </a:lnTo>
                  <a:lnTo>
                    <a:pt x="192" y="517"/>
                  </a:lnTo>
                  <a:lnTo>
                    <a:pt x="191" y="516"/>
                  </a:lnTo>
                  <a:lnTo>
                    <a:pt x="191" y="515"/>
                  </a:lnTo>
                  <a:lnTo>
                    <a:pt x="188" y="516"/>
                  </a:lnTo>
                  <a:lnTo>
                    <a:pt x="187" y="516"/>
                  </a:lnTo>
                  <a:lnTo>
                    <a:pt x="185" y="515"/>
                  </a:lnTo>
                  <a:lnTo>
                    <a:pt x="183" y="515"/>
                  </a:lnTo>
                  <a:lnTo>
                    <a:pt x="183" y="514"/>
                  </a:lnTo>
                  <a:lnTo>
                    <a:pt x="182" y="513"/>
                  </a:lnTo>
                  <a:lnTo>
                    <a:pt x="182" y="511"/>
                  </a:lnTo>
                  <a:lnTo>
                    <a:pt x="185" y="510"/>
                  </a:lnTo>
                  <a:lnTo>
                    <a:pt x="185" y="508"/>
                  </a:lnTo>
                  <a:lnTo>
                    <a:pt x="186" y="508"/>
                  </a:lnTo>
                  <a:lnTo>
                    <a:pt x="188" y="507"/>
                  </a:lnTo>
                  <a:lnTo>
                    <a:pt x="189" y="505"/>
                  </a:lnTo>
                  <a:lnTo>
                    <a:pt x="193" y="503"/>
                  </a:lnTo>
                  <a:lnTo>
                    <a:pt x="194" y="501"/>
                  </a:lnTo>
                  <a:lnTo>
                    <a:pt x="196" y="501"/>
                  </a:lnTo>
                  <a:lnTo>
                    <a:pt x="198" y="502"/>
                  </a:lnTo>
                  <a:lnTo>
                    <a:pt x="199" y="501"/>
                  </a:lnTo>
                  <a:lnTo>
                    <a:pt x="202" y="499"/>
                  </a:lnTo>
                  <a:lnTo>
                    <a:pt x="203" y="501"/>
                  </a:lnTo>
                  <a:lnTo>
                    <a:pt x="204" y="501"/>
                  </a:lnTo>
                  <a:lnTo>
                    <a:pt x="206" y="502"/>
                  </a:lnTo>
                  <a:lnTo>
                    <a:pt x="208" y="502"/>
                  </a:lnTo>
                  <a:lnTo>
                    <a:pt x="209" y="501"/>
                  </a:lnTo>
                  <a:lnTo>
                    <a:pt x="212" y="502"/>
                  </a:lnTo>
                  <a:lnTo>
                    <a:pt x="214" y="503"/>
                  </a:lnTo>
                  <a:lnTo>
                    <a:pt x="215" y="503"/>
                  </a:lnTo>
                  <a:lnTo>
                    <a:pt x="218" y="503"/>
                  </a:lnTo>
                  <a:lnTo>
                    <a:pt x="222" y="501"/>
                  </a:lnTo>
                  <a:lnTo>
                    <a:pt x="223" y="498"/>
                  </a:lnTo>
                  <a:lnTo>
                    <a:pt x="223" y="492"/>
                  </a:lnTo>
                  <a:lnTo>
                    <a:pt x="224" y="490"/>
                  </a:lnTo>
                  <a:lnTo>
                    <a:pt x="223" y="490"/>
                  </a:lnTo>
                  <a:lnTo>
                    <a:pt x="221" y="493"/>
                  </a:lnTo>
                  <a:lnTo>
                    <a:pt x="221" y="495"/>
                  </a:lnTo>
                  <a:lnTo>
                    <a:pt x="220" y="495"/>
                  </a:lnTo>
                  <a:lnTo>
                    <a:pt x="220" y="492"/>
                  </a:lnTo>
                  <a:lnTo>
                    <a:pt x="217" y="492"/>
                  </a:lnTo>
                  <a:lnTo>
                    <a:pt x="217" y="491"/>
                  </a:lnTo>
                  <a:lnTo>
                    <a:pt x="217" y="490"/>
                  </a:lnTo>
                  <a:lnTo>
                    <a:pt x="216" y="487"/>
                  </a:lnTo>
                  <a:lnTo>
                    <a:pt x="217" y="486"/>
                  </a:lnTo>
                  <a:lnTo>
                    <a:pt x="216" y="485"/>
                  </a:lnTo>
                  <a:lnTo>
                    <a:pt x="216" y="483"/>
                  </a:lnTo>
                  <a:lnTo>
                    <a:pt x="214" y="481"/>
                  </a:lnTo>
                  <a:lnTo>
                    <a:pt x="212" y="480"/>
                  </a:lnTo>
                  <a:lnTo>
                    <a:pt x="211" y="479"/>
                  </a:lnTo>
                  <a:lnTo>
                    <a:pt x="210" y="477"/>
                  </a:lnTo>
                  <a:lnTo>
                    <a:pt x="210" y="475"/>
                  </a:lnTo>
                  <a:lnTo>
                    <a:pt x="210" y="474"/>
                  </a:lnTo>
                  <a:lnTo>
                    <a:pt x="209" y="474"/>
                  </a:lnTo>
                  <a:lnTo>
                    <a:pt x="209" y="472"/>
                  </a:lnTo>
                  <a:lnTo>
                    <a:pt x="210" y="468"/>
                  </a:lnTo>
                  <a:lnTo>
                    <a:pt x="209" y="467"/>
                  </a:lnTo>
                  <a:lnTo>
                    <a:pt x="208" y="467"/>
                  </a:lnTo>
                  <a:lnTo>
                    <a:pt x="205" y="467"/>
                  </a:lnTo>
                  <a:lnTo>
                    <a:pt x="204" y="471"/>
                  </a:lnTo>
                  <a:lnTo>
                    <a:pt x="203" y="471"/>
                  </a:lnTo>
                  <a:lnTo>
                    <a:pt x="202" y="469"/>
                  </a:lnTo>
                  <a:lnTo>
                    <a:pt x="199" y="469"/>
                  </a:lnTo>
                  <a:lnTo>
                    <a:pt x="198" y="469"/>
                  </a:lnTo>
                  <a:lnTo>
                    <a:pt x="196" y="467"/>
                  </a:lnTo>
                  <a:lnTo>
                    <a:pt x="196" y="464"/>
                  </a:lnTo>
                  <a:lnTo>
                    <a:pt x="197" y="463"/>
                  </a:lnTo>
                  <a:lnTo>
                    <a:pt x="185" y="464"/>
                  </a:lnTo>
                  <a:lnTo>
                    <a:pt x="175" y="464"/>
                  </a:lnTo>
                  <a:lnTo>
                    <a:pt x="174" y="468"/>
                  </a:lnTo>
                  <a:lnTo>
                    <a:pt x="174" y="469"/>
                  </a:lnTo>
                  <a:lnTo>
                    <a:pt x="173" y="471"/>
                  </a:lnTo>
                  <a:lnTo>
                    <a:pt x="174" y="472"/>
                  </a:lnTo>
                  <a:lnTo>
                    <a:pt x="175" y="473"/>
                  </a:lnTo>
                  <a:lnTo>
                    <a:pt x="174" y="474"/>
                  </a:lnTo>
                  <a:lnTo>
                    <a:pt x="176" y="475"/>
                  </a:lnTo>
                  <a:lnTo>
                    <a:pt x="175" y="478"/>
                  </a:lnTo>
                  <a:lnTo>
                    <a:pt x="174" y="479"/>
                  </a:lnTo>
                  <a:lnTo>
                    <a:pt x="175" y="483"/>
                  </a:lnTo>
                  <a:lnTo>
                    <a:pt x="176" y="486"/>
                  </a:lnTo>
                  <a:lnTo>
                    <a:pt x="175" y="485"/>
                  </a:lnTo>
                  <a:lnTo>
                    <a:pt x="174" y="485"/>
                  </a:lnTo>
                  <a:lnTo>
                    <a:pt x="174" y="486"/>
                  </a:lnTo>
                  <a:lnTo>
                    <a:pt x="174" y="490"/>
                  </a:lnTo>
                  <a:lnTo>
                    <a:pt x="173" y="490"/>
                  </a:lnTo>
                  <a:lnTo>
                    <a:pt x="170" y="491"/>
                  </a:lnTo>
                  <a:lnTo>
                    <a:pt x="170" y="490"/>
                  </a:lnTo>
                  <a:lnTo>
                    <a:pt x="169" y="489"/>
                  </a:lnTo>
                  <a:lnTo>
                    <a:pt x="168" y="490"/>
                  </a:lnTo>
                  <a:lnTo>
                    <a:pt x="167" y="489"/>
                  </a:lnTo>
                  <a:lnTo>
                    <a:pt x="168" y="485"/>
                  </a:lnTo>
                  <a:lnTo>
                    <a:pt x="168" y="483"/>
                  </a:lnTo>
                  <a:lnTo>
                    <a:pt x="169" y="481"/>
                  </a:lnTo>
                  <a:lnTo>
                    <a:pt x="169" y="478"/>
                  </a:lnTo>
                  <a:lnTo>
                    <a:pt x="167" y="478"/>
                  </a:lnTo>
                  <a:lnTo>
                    <a:pt x="165" y="477"/>
                  </a:lnTo>
                  <a:lnTo>
                    <a:pt x="165" y="473"/>
                  </a:lnTo>
                  <a:lnTo>
                    <a:pt x="165" y="472"/>
                  </a:lnTo>
                  <a:lnTo>
                    <a:pt x="164" y="472"/>
                  </a:lnTo>
                  <a:lnTo>
                    <a:pt x="164" y="477"/>
                  </a:lnTo>
                  <a:lnTo>
                    <a:pt x="164" y="480"/>
                  </a:lnTo>
                  <a:lnTo>
                    <a:pt x="164" y="484"/>
                  </a:lnTo>
                  <a:lnTo>
                    <a:pt x="165" y="486"/>
                  </a:lnTo>
                  <a:lnTo>
                    <a:pt x="163" y="487"/>
                  </a:lnTo>
                  <a:lnTo>
                    <a:pt x="162" y="487"/>
                  </a:lnTo>
                  <a:lnTo>
                    <a:pt x="159" y="490"/>
                  </a:lnTo>
                  <a:lnTo>
                    <a:pt x="157" y="491"/>
                  </a:lnTo>
                  <a:lnTo>
                    <a:pt x="155" y="493"/>
                  </a:lnTo>
                  <a:lnTo>
                    <a:pt x="152" y="492"/>
                  </a:lnTo>
                  <a:lnTo>
                    <a:pt x="151" y="491"/>
                  </a:lnTo>
                  <a:lnTo>
                    <a:pt x="151" y="490"/>
                  </a:lnTo>
                  <a:lnTo>
                    <a:pt x="150" y="490"/>
                  </a:lnTo>
                  <a:lnTo>
                    <a:pt x="150" y="486"/>
                  </a:lnTo>
                  <a:lnTo>
                    <a:pt x="152" y="480"/>
                  </a:lnTo>
                  <a:lnTo>
                    <a:pt x="153" y="478"/>
                  </a:lnTo>
                  <a:lnTo>
                    <a:pt x="155" y="478"/>
                  </a:lnTo>
                  <a:lnTo>
                    <a:pt x="156" y="474"/>
                  </a:lnTo>
                  <a:lnTo>
                    <a:pt x="153" y="474"/>
                  </a:lnTo>
                  <a:lnTo>
                    <a:pt x="152" y="474"/>
                  </a:lnTo>
                  <a:lnTo>
                    <a:pt x="149" y="474"/>
                  </a:lnTo>
                  <a:lnTo>
                    <a:pt x="147" y="471"/>
                  </a:lnTo>
                  <a:lnTo>
                    <a:pt x="147" y="469"/>
                  </a:lnTo>
                  <a:lnTo>
                    <a:pt x="147" y="467"/>
                  </a:lnTo>
                  <a:lnTo>
                    <a:pt x="146" y="467"/>
                  </a:lnTo>
                  <a:lnTo>
                    <a:pt x="146" y="471"/>
                  </a:lnTo>
                  <a:lnTo>
                    <a:pt x="146" y="473"/>
                  </a:lnTo>
                  <a:lnTo>
                    <a:pt x="147" y="475"/>
                  </a:lnTo>
                  <a:lnTo>
                    <a:pt x="147" y="478"/>
                  </a:lnTo>
                  <a:lnTo>
                    <a:pt x="146" y="479"/>
                  </a:lnTo>
                  <a:lnTo>
                    <a:pt x="145" y="480"/>
                  </a:lnTo>
                  <a:lnTo>
                    <a:pt x="144" y="481"/>
                  </a:lnTo>
                  <a:lnTo>
                    <a:pt x="141" y="484"/>
                  </a:lnTo>
                  <a:lnTo>
                    <a:pt x="140" y="483"/>
                  </a:lnTo>
                  <a:lnTo>
                    <a:pt x="139" y="484"/>
                  </a:lnTo>
                  <a:lnTo>
                    <a:pt x="137" y="484"/>
                  </a:lnTo>
                  <a:lnTo>
                    <a:pt x="135" y="484"/>
                  </a:lnTo>
                  <a:lnTo>
                    <a:pt x="130" y="483"/>
                  </a:lnTo>
                  <a:lnTo>
                    <a:pt x="128" y="483"/>
                  </a:lnTo>
                  <a:lnTo>
                    <a:pt x="127" y="481"/>
                  </a:lnTo>
                  <a:lnTo>
                    <a:pt x="124" y="480"/>
                  </a:lnTo>
                  <a:lnTo>
                    <a:pt x="123" y="480"/>
                  </a:lnTo>
                  <a:lnTo>
                    <a:pt x="123" y="481"/>
                  </a:lnTo>
                  <a:lnTo>
                    <a:pt x="124" y="484"/>
                  </a:lnTo>
                  <a:lnTo>
                    <a:pt x="126" y="485"/>
                  </a:lnTo>
                  <a:lnTo>
                    <a:pt x="130" y="489"/>
                  </a:lnTo>
                  <a:lnTo>
                    <a:pt x="132" y="492"/>
                  </a:lnTo>
                  <a:lnTo>
                    <a:pt x="130" y="493"/>
                  </a:lnTo>
                  <a:lnTo>
                    <a:pt x="127" y="493"/>
                  </a:lnTo>
                  <a:lnTo>
                    <a:pt x="124" y="495"/>
                  </a:lnTo>
                  <a:lnTo>
                    <a:pt x="122" y="492"/>
                  </a:lnTo>
                  <a:lnTo>
                    <a:pt x="121" y="492"/>
                  </a:lnTo>
                  <a:lnTo>
                    <a:pt x="120" y="495"/>
                  </a:lnTo>
                  <a:lnTo>
                    <a:pt x="117" y="495"/>
                  </a:lnTo>
                  <a:lnTo>
                    <a:pt x="116" y="495"/>
                  </a:lnTo>
                  <a:lnTo>
                    <a:pt x="115" y="496"/>
                  </a:lnTo>
                  <a:lnTo>
                    <a:pt x="112" y="495"/>
                  </a:lnTo>
                  <a:lnTo>
                    <a:pt x="110" y="493"/>
                  </a:lnTo>
                  <a:lnTo>
                    <a:pt x="109" y="492"/>
                  </a:lnTo>
                  <a:lnTo>
                    <a:pt x="109" y="495"/>
                  </a:lnTo>
                  <a:lnTo>
                    <a:pt x="109" y="497"/>
                  </a:lnTo>
                  <a:lnTo>
                    <a:pt x="106" y="497"/>
                  </a:lnTo>
                  <a:lnTo>
                    <a:pt x="105" y="499"/>
                  </a:lnTo>
                  <a:lnTo>
                    <a:pt x="104" y="499"/>
                  </a:lnTo>
                  <a:lnTo>
                    <a:pt x="100" y="499"/>
                  </a:lnTo>
                  <a:lnTo>
                    <a:pt x="98" y="499"/>
                  </a:lnTo>
                  <a:lnTo>
                    <a:pt x="98" y="497"/>
                  </a:lnTo>
                  <a:lnTo>
                    <a:pt x="100" y="495"/>
                  </a:lnTo>
                  <a:lnTo>
                    <a:pt x="102" y="489"/>
                  </a:lnTo>
                  <a:lnTo>
                    <a:pt x="100" y="485"/>
                  </a:lnTo>
                  <a:lnTo>
                    <a:pt x="99" y="483"/>
                  </a:lnTo>
                  <a:lnTo>
                    <a:pt x="97" y="485"/>
                  </a:lnTo>
                  <a:lnTo>
                    <a:pt x="97" y="487"/>
                  </a:lnTo>
                  <a:lnTo>
                    <a:pt x="97" y="491"/>
                  </a:lnTo>
                  <a:lnTo>
                    <a:pt x="96" y="493"/>
                  </a:lnTo>
                  <a:lnTo>
                    <a:pt x="96" y="496"/>
                  </a:lnTo>
                  <a:lnTo>
                    <a:pt x="97" y="498"/>
                  </a:lnTo>
                  <a:lnTo>
                    <a:pt x="96" y="499"/>
                  </a:lnTo>
                  <a:lnTo>
                    <a:pt x="93" y="499"/>
                  </a:lnTo>
                  <a:lnTo>
                    <a:pt x="92" y="501"/>
                  </a:lnTo>
                  <a:lnTo>
                    <a:pt x="91" y="502"/>
                  </a:lnTo>
                  <a:lnTo>
                    <a:pt x="90" y="501"/>
                  </a:lnTo>
                  <a:lnTo>
                    <a:pt x="88" y="501"/>
                  </a:lnTo>
                  <a:lnTo>
                    <a:pt x="87" y="502"/>
                  </a:lnTo>
                  <a:lnTo>
                    <a:pt x="86" y="503"/>
                  </a:lnTo>
                  <a:lnTo>
                    <a:pt x="85" y="503"/>
                  </a:lnTo>
                  <a:lnTo>
                    <a:pt x="85" y="505"/>
                  </a:lnTo>
                  <a:lnTo>
                    <a:pt x="84" y="505"/>
                  </a:lnTo>
                  <a:lnTo>
                    <a:pt x="82" y="504"/>
                  </a:lnTo>
                  <a:lnTo>
                    <a:pt x="81" y="503"/>
                  </a:lnTo>
                  <a:lnTo>
                    <a:pt x="79" y="505"/>
                  </a:lnTo>
                  <a:lnTo>
                    <a:pt x="78" y="505"/>
                  </a:lnTo>
                  <a:lnTo>
                    <a:pt x="75" y="508"/>
                  </a:lnTo>
                  <a:lnTo>
                    <a:pt x="73" y="507"/>
                  </a:lnTo>
                  <a:lnTo>
                    <a:pt x="75" y="505"/>
                  </a:lnTo>
                  <a:lnTo>
                    <a:pt x="71" y="504"/>
                  </a:lnTo>
                  <a:lnTo>
                    <a:pt x="69" y="503"/>
                  </a:lnTo>
                  <a:lnTo>
                    <a:pt x="70" y="501"/>
                  </a:lnTo>
                  <a:lnTo>
                    <a:pt x="68" y="499"/>
                  </a:lnTo>
                  <a:lnTo>
                    <a:pt x="68" y="498"/>
                  </a:lnTo>
                  <a:lnTo>
                    <a:pt x="68" y="497"/>
                  </a:lnTo>
                  <a:lnTo>
                    <a:pt x="69" y="496"/>
                  </a:lnTo>
                  <a:lnTo>
                    <a:pt x="70" y="495"/>
                  </a:lnTo>
                  <a:lnTo>
                    <a:pt x="71" y="493"/>
                  </a:lnTo>
                  <a:lnTo>
                    <a:pt x="73" y="491"/>
                  </a:lnTo>
                  <a:lnTo>
                    <a:pt x="73" y="490"/>
                  </a:lnTo>
                  <a:lnTo>
                    <a:pt x="75" y="489"/>
                  </a:lnTo>
                  <a:lnTo>
                    <a:pt x="75" y="487"/>
                  </a:lnTo>
                  <a:lnTo>
                    <a:pt x="75" y="485"/>
                  </a:lnTo>
                  <a:lnTo>
                    <a:pt x="76" y="483"/>
                  </a:lnTo>
                  <a:lnTo>
                    <a:pt x="79" y="481"/>
                  </a:lnTo>
                  <a:lnTo>
                    <a:pt x="80" y="481"/>
                  </a:lnTo>
                  <a:lnTo>
                    <a:pt x="81" y="481"/>
                  </a:lnTo>
                  <a:lnTo>
                    <a:pt x="82" y="479"/>
                  </a:lnTo>
                  <a:lnTo>
                    <a:pt x="84" y="479"/>
                  </a:lnTo>
                  <a:lnTo>
                    <a:pt x="85" y="479"/>
                  </a:lnTo>
                  <a:lnTo>
                    <a:pt x="81" y="477"/>
                  </a:lnTo>
                  <a:lnTo>
                    <a:pt x="82" y="475"/>
                  </a:lnTo>
                  <a:lnTo>
                    <a:pt x="82" y="474"/>
                  </a:lnTo>
                  <a:lnTo>
                    <a:pt x="84" y="472"/>
                  </a:lnTo>
                  <a:lnTo>
                    <a:pt x="82" y="472"/>
                  </a:lnTo>
                  <a:lnTo>
                    <a:pt x="82" y="469"/>
                  </a:lnTo>
                  <a:lnTo>
                    <a:pt x="82" y="472"/>
                  </a:lnTo>
                  <a:lnTo>
                    <a:pt x="81" y="473"/>
                  </a:lnTo>
                  <a:lnTo>
                    <a:pt x="80" y="474"/>
                  </a:lnTo>
                  <a:lnTo>
                    <a:pt x="79" y="474"/>
                  </a:lnTo>
                  <a:lnTo>
                    <a:pt x="78" y="473"/>
                  </a:lnTo>
                  <a:lnTo>
                    <a:pt x="76" y="474"/>
                  </a:lnTo>
                  <a:lnTo>
                    <a:pt x="75" y="474"/>
                  </a:lnTo>
                  <a:lnTo>
                    <a:pt x="74" y="474"/>
                  </a:lnTo>
                  <a:lnTo>
                    <a:pt x="70" y="474"/>
                  </a:lnTo>
                  <a:lnTo>
                    <a:pt x="69" y="475"/>
                  </a:lnTo>
                  <a:lnTo>
                    <a:pt x="68" y="474"/>
                  </a:lnTo>
                  <a:lnTo>
                    <a:pt x="67" y="473"/>
                  </a:lnTo>
                  <a:lnTo>
                    <a:pt x="68" y="472"/>
                  </a:lnTo>
                  <a:lnTo>
                    <a:pt x="68" y="469"/>
                  </a:lnTo>
                  <a:lnTo>
                    <a:pt x="67" y="467"/>
                  </a:lnTo>
                  <a:lnTo>
                    <a:pt x="65" y="467"/>
                  </a:lnTo>
                  <a:lnTo>
                    <a:pt x="65" y="466"/>
                  </a:lnTo>
                  <a:lnTo>
                    <a:pt x="65" y="464"/>
                  </a:lnTo>
                  <a:lnTo>
                    <a:pt x="64" y="462"/>
                  </a:lnTo>
                  <a:lnTo>
                    <a:pt x="65" y="461"/>
                  </a:lnTo>
                  <a:lnTo>
                    <a:pt x="67" y="460"/>
                  </a:lnTo>
                  <a:lnTo>
                    <a:pt x="65" y="460"/>
                  </a:lnTo>
                  <a:lnTo>
                    <a:pt x="63" y="461"/>
                  </a:lnTo>
                  <a:lnTo>
                    <a:pt x="61" y="461"/>
                  </a:lnTo>
                  <a:lnTo>
                    <a:pt x="59" y="461"/>
                  </a:lnTo>
                  <a:lnTo>
                    <a:pt x="58" y="458"/>
                  </a:lnTo>
                  <a:lnTo>
                    <a:pt x="57" y="458"/>
                  </a:lnTo>
                  <a:lnTo>
                    <a:pt x="57" y="456"/>
                  </a:lnTo>
                  <a:lnTo>
                    <a:pt x="55" y="456"/>
                  </a:lnTo>
                  <a:lnTo>
                    <a:pt x="53" y="457"/>
                  </a:lnTo>
                  <a:lnTo>
                    <a:pt x="52" y="457"/>
                  </a:lnTo>
                  <a:lnTo>
                    <a:pt x="52" y="458"/>
                  </a:lnTo>
                  <a:lnTo>
                    <a:pt x="51" y="458"/>
                  </a:lnTo>
                  <a:lnTo>
                    <a:pt x="50" y="460"/>
                  </a:lnTo>
                  <a:lnTo>
                    <a:pt x="49" y="460"/>
                  </a:lnTo>
                  <a:lnTo>
                    <a:pt x="45" y="461"/>
                  </a:lnTo>
                  <a:lnTo>
                    <a:pt x="44" y="463"/>
                  </a:lnTo>
                  <a:lnTo>
                    <a:pt x="43" y="463"/>
                  </a:lnTo>
                  <a:lnTo>
                    <a:pt x="40" y="463"/>
                  </a:lnTo>
                  <a:lnTo>
                    <a:pt x="39" y="463"/>
                  </a:lnTo>
                  <a:lnTo>
                    <a:pt x="37" y="466"/>
                  </a:lnTo>
                  <a:lnTo>
                    <a:pt x="35" y="466"/>
                  </a:lnTo>
                  <a:lnTo>
                    <a:pt x="33" y="467"/>
                  </a:lnTo>
                  <a:lnTo>
                    <a:pt x="34" y="467"/>
                  </a:lnTo>
                  <a:lnTo>
                    <a:pt x="33" y="466"/>
                  </a:lnTo>
                  <a:lnTo>
                    <a:pt x="28" y="464"/>
                  </a:lnTo>
                  <a:lnTo>
                    <a:pt x="27" y="464"/>
                  </a:lnTo>
                  <a:lnTo>
                    <a:pt x="26" y="463"/>
                  </a:lnTo>
                  <a:lnTo>
                    <a:pt x="27" y="462"/>
                  </a:lnTo>
                  <a:lnTo>
                    <a:pt x="27" y="460"/>
                  </a:lnTo>
                  <a:lnTo>
                    <a:pt x="29" y="460"/>
                  </a:lnTo>
                  <a:lnTo>
                    <a:pt x="32" y="460"/>
                  </a:lnTo>
                  <a:lnTo>
                    <a:pt x="33" y="458"/>
                  </a:lnTo>
                  <a:lnTo>
                    <a:pt x="34" y="456"/>
                  </a:lnTo>
                  <a:lnTo>
                    <a:pt x="34" y="455"/>
                  </a:lnTo>
                  <a:lnTo>
                    <a:pt x="34" y="452"/>
                  </a:lnTo>
                  <a:lnTo>
                    <a:pt x="35" y="451"/>
                  </a:lnTo>
                  <a:lnTo>
                    <a:pt x="35" y="449"/>
                  </a:lnTo>
                  <a:lnTo>
                    <a:pt x="38" y="449"/>
                  </a:lnTo>
                  <a:lnTo>
                    <a:pt x="39" y="448"/>
                  </a:lnTo>
                  <a:lnTo>
                    <a:pt x="39" y="444"/>
                  </a:lnTo>
                  <a:lnTo>
                    <a:pt x="38" y="445"/>
                  </a:lnTo>
                  <a:lnTo>
                    <a:pt x="37" y="445"/>
                  </a:lnTo>
                  <a:lnTo>
                    <a:pt x="34" y="445"/>
                  </a:lnTo>
                  <a:lnTo>
                    <a:pt x="33" y="444"/>
                  </a:lnTo>
                  <a:lnTo>
                    <a:pt x="35" y="443"/>
                  </a:lnTo>
                  <a:lnTo>
                    <a:pt x="35" y="442"/>
                  </a:lnTo>
                  <a:lnTo>
                    <a:pt x="35" y="440"/>
                  </a:lnTo>
                  <a:lnTo>
                    <a:pt x="35" y="439"/>
                  </a:lnTo>
                  <a:lnTo>
                    <a:pt x="35" y="438"/>
                  </a:lnTo>
                  <a:lnTo>
                    <a:pt x="37" y="438"/>
                  </a:lnTo>
                  <a:lnTo>
                    <a:pt x="39" y="439"/>
                  </a:lnTo>
                  <a:lnTo>
                    <a:pt x="40" y="440"/>
                  </a:lnTo>
                  <a:lnTo>
                    <a:pt x="41" y="438"/>
                  </a:lnTo>
                  <a:lnTo>
                    <a:pt x="43" y="438"/>
                  </a:lnTo>
                  <a:lnTo>
                    <a:pt x="44" y="439"/>
                  </a:lnTo>
                  <a:lnTo>
                    <a:pt x="46" y="439"/>
                  </a:lnTo>
                  <a:lnTo>
                    <a:pt x="49" y="439"/>
                  </a:lnTo>
                  <a:lnTo>
                    <a:pt x="49" y="433"/>
                  </a:lnTo>
                  <a:lnTo>
                    <a:pt x="47" y="431"/>
                  </a:lnTo>
                  <a:lnTo>
                    <a:pt x="45" y="431"/>
                  </a:lnTo>
                  <a:lnTo>
                    <a:pt x="44" y="430"/>
                  </a:lnTo>
                  <a:lnTo>
                    <a:pt x="43" y="428"/>
                  </a:lnTo>
                  <a:lnTo>
                    <a:pt x="44" y="427"/>
                  </a:lnTo>
                  <a:lnTo>
                    <a:pt x="44" y="426"/>
                  </a:lnTo>
                  <a:lnTo>
                    <a:pt x="43" y="425"/>
                  </a:lnTo>
                  <a:lnTo>
                    <a:pt x="44" y="422"/>
                  </a:lnTo>
                  <a:lnTo>
                    <a:pt x="43" y="420"/>
                  </a:lnTo>
                  <a:lnTo>
                    <a:pt x="44" y="419"/>
                  </a:lnTo>
                  <a:lnTo>
                    <a:pt x="44" y="416"/>
                  </a:lnTo>
                  <a:lnTo>
                    <a:pt x="44" y="414"/>
                  </a:lnTo>
                  <a:lnTo>
                    <a:pt x="41" y="413"/>
                  </a:lnTo>
                  <a:lnTo>
                    <a:pt x="39" y="413"/>
                  </a:lnTo>
                  <a:lnTo>
                    <a:pt x="38" y="412"/>
                  </a:lnTo>
                  <a:lnTo>
                    <a:pt x="37" y="412"/>
                  </a:lnTo>
                  <a:lnTo>
                    <a:pt x="34" y="410"/>
                  </a:lnTo>
                  <a:lnTo>
                    <a:pt x="33" y="410"/>
                  </a:lnTo>
                  <a:lnTo>
                    <a:pt x="31" y="408"/>
                  </a:lnTo>
                  <a:lnTo>
                    <a:pt x="29" y="407"/>
                  </a:lnTo>
                  <a:lnTo>
                    <a:pt x="27" y="406"/>
                  </a:lnTo>
                  <a:lnTo>
                    <a:pt x="25" y="404"/>
                  </a:lnTo>
                  <a:lnTo>
                    <a:pt x="23" y="403"/>
                  </a:lnTo>
                  <a:lnTo>
                    <a:pt x="27" y="401"/>
                  </a:lnTo>
                  <a:lnTo>
                    <a:pt x="29" y="400"/>
                  </a:lnTo>
                  <a:lnTo>
                    <a:pt x="32" y="397"/>
                  </a:lnTo>
                  <a:lnTo>
                    <a:pt x="34" y="395"/>
                  </a:lnTo>
                  <a:lnTo>
                    <a:pt x="37" y="395"/>
                  </a:lnTo>
                  <a:lnTo>
                    <a:pt x="38" y="395"/>
                  </a:lnTo>
                  <a:lnTo>
                    <a:pt x="39" y="392"/>
                  </a:lnTo>
                  <a:lnTo>
                    <a:pt x="39" y="391"/>
                  </a:lnTo>
                  <a:lnTo>
                    <a:pt x="40" y="390"/>
                  </a:lnTo>
                  <a:lnTo>
                    <a:pt x="40" y="389"/>
                  </a:lnTo>
                  <a:lnTo>
                    <a:pt x="41" y="386"/>
                  </a:lnTo>
                  <a:lnTo>
                    <a:pt x="41" y="385"/>
                  </a:lnTo>
                  <a:lnTo>
                    <a:pt x="43" y="383"/>
                  </a:lnTo>
                  <a:lnTo>
                    <a:pt x="43" y="379"/>
                  </a:lnTo>
                  <a:lnTo>
                    <a:pt x="41" y="379"/>
                  </a:lnTo>
                  <a:lnTo>
                    <a:pt x="40" y="383"/>
                  </a:lnTo>
                  <a:lnTo>
                    <a:pt x="39" y="384"/>
                  </a:lnTo>
                  <a:lnTo>
                    <a:pt x="39" y="385"/>
                  </a:lnTo>
                  <a:lnTo>
                    <a:pt x="37" y="385"/>
                  </a:lnTo>
                  <a:lnTo>
                    <a:pt x="34" y="386"/>
                  </a:lnTo>
                  <a:lnTo>
                    <a:pt x="34" y="388"/>
                  </a:lnTo>
                  <a:lnTo>
                    <a:pt x="31" y="386"/>
                  </a:lnTo>
                  <a:lnTo>
                    <a:pt x="29" y="388"/>
                  </a:lnTo>
                  <a:lnTo>
                    <a:pt x="28" y="391"/>
                  </a:lnTo>
                  <a:lnTo>
                    <a:pt x="28" y="392"/>
                  </a:lnTo>
                  <a:lnTo>
                    <a:pt x="27" y="395"/>
                  </a:lnTo>
                  <a:lnTo>
                    <a:pt x="26" y="395"/>
                  </a:lnTo>
                  <a:lnTo>
                    <a:pt x="25" y="395"/>
                  </a:lnTo>
                  <a:lnTo>
                    <a:pt x="23" y="395"/>
                  </a:lnTo>
                  <a:lnTo>
                    <a:pt x="22" y="394"/>
                  </a:lnTo>
                  <a:lnTo>
                    <a:pt x="21" y="392"/>
                  </a:lnTo>
                  <a:lnTo>
                    <a:pt x="21" y="391"/>
                  </a:lnTo>
                  <a:lnTo>
                    <a:pt x="22" y="390"/>
                  </a:lnTo>
                  <a:lnTo>
                    <a:pt x="22" y="388"/>
                  </a:lnTo>
                  <a:lnTo>
                    <a:pt x="23" y="388"/>
                  </a:lnTo>
                  <a:lnTo>
                    <a:pt x="25" y="388"/>
                  </a:lnTo>
                  <a:lnTo>
                    <a:pt x="26" y="388"/>
                  </a:lnTo>
                  <a:lnTo>
                    <a:pt x="28" y="388"/>
                  </a:lnTo>
                  <a:lnTo>
                    <a:pt x="29" y="386"/>
                  </a:lnTo>
                  <a:lnTo>
                    <a:pt x="28" y="386"/>
                  </a:lnTo>
                  <a:lnTo>
                    <a:pt x="27" y="385"/>
                  </a:lnTo>
                  <a:lnTo>
                    <a:pt x="26" y="385"/>
                  </a:lnTo>
                  <a:lnTo>
                    <a:pt x="26" y="384"/>
                  </a:lnTo>
                  <a:lnTo>
                    <a:pt x="25" y="382"/>
                  </a:lnTo>
                  <a:lnTo>
                    <a:pt x="25" y="380"/>
                  </a:lnTo>
                  <a:lnTo>
                    <a:pt x="23" y="379"/>
                  </a:lnTo>
                  <a:lnTo>
                    <a:pt x="22" y="379"/>
                  </a:lnTo>
                  <a:lnTo>
                    <a:pt x="22" y="382"/>
                  </a:lnTo>
                  <a:lnTo>
                    <a:pt x="22" y="383"/>
                  </a:lnTo>
                  <a:lnTo>
                    <a:pt x="21" y="384"/>
                  </a:lnTo>
                  <a:lnTo>
                    <a:pt x="20" y="383"/>
                  </a:lnTo>
                  <a:lnTo>
                    <a:pt x="19" y="382"/>
                  </a:lnTo>
                  <a:lnTo>
                    <a:pt x="16" y="383"/>
                  </a:lnTo>
                  <a:lnTo>
                    <a:pt x="15" y="382"/>
                  </a:lnTo>
                  <a:lnTo>
                    <a:pt x="16" y="380"/>
                  </a:lnTo>
                  <a:lnTo>
                    <a:pt x="15" y="379"/>
                  </a:lnTo>
                  <a:lnTo>
                    <a:pt x="14" y="378"/>
                  </a:lnTo>
                  <a:lnTo>
                    <a:pt x="14" y="377"/>
                  </a:lnTo>
                  <a:lnTo>
                    <a:pt x="14" y="376"/>
                  </a:lnTo>
                  <a:lnTo>
                    <a:pt x="14" y="373"/>
                  </a:lnTo>
                  <a:lnTo>
                    <a:pt x="14" y="372"/>
                  </a:lnTo>
                  <a:lnTo>
                    <a:pt x="11" y="372"/>
                  </a:lnTo>
                  <a:lnTo>
                    <a:pt x="9" y="372"/>
                  </a:lnTo>
                  <a:lnTo>
                    <a:pt x="6" y="372"/>
                  </a:lnTo>
                  <a:lnTo>
                    <a:pt x="8" y="368"/>
                  </a:lnTo>
                  <a:lnTo>
                    <a:pt x="6" y="367"/>
                  </a:lnTo>
                  <a:lnTo>
                    <a:pt x="4" y="367"/>
                  </a:lnTo>
                  <a:lnTo>
                    <a:pt x="6" y="366"/>
                  </a:lnTo>
                  <a:lnTo>
                    <a:pt x="8" y="362"/>
                  </a:lnTo>
                  <a:lnTo>
                    <a:pt x="6" y="362"/>
                  </a:lnTo>
                  <a:lnTo>
                    <a:pt x="4" y="362"/>
                  </a:lnTo>
                  <a:lnTo>
                    <a:pt x="4" y="361"/>
                  </a:lnTo>
                  <a:lnTo>
                    <a:pt x="5" y="360"/>
                  </a:lnTo>
                  <a:lnTo>
                    <a:pt x="3" y="357"/>
                  </a:lnTo>
                  <a:lnTo>
                    <a:pt x="0" y="356"/>
                  </a:lnTo>
                  <a:lnTo>
                    <a:pt x="0" y="355"/>
                  </a:lnTo>
                  <a:lnTo>
                    <a:pt x="2" y="354"/>
                  </a:lnTo>
                  <a:lnTo>
                    <a:pt x="2" y="353"/>
                  </a:lnTo>
                  <a:lnTo>
                    <a:pt x="2" y="350"/>
                  </a:lnTo>
                  <a:lnTo>
                    <a:pt x="3" y="349"/>
                  </a:lnTo>
                  <a:lnTo>
                    <a:pt x="4" y="351"/>
                  </a:lnTo>
                  <a:lnTo>
                    <a:pt x="5" y="353"/>
                  </a:lnTo>
                  <a:lnTo>
                    <a:pt x="8" y="353"/>
                  </a:lnTo>
                  <a:lnTo>
                    <a:pt x="9" y="354"/>
                  </a:lnTo>
                  <a:lnTo>
                    <a:pt x="10" y="353"/>
                  </a:lnTo>
                  <a:lnTo>
                    <a:pt x="12" y="351"/>
                  </a:lnTo>
                  <a:lnTo>
                    <a:pt x="14" y="350"/>
                  </a:lnTo>
                  <a:lnTo>
                    <a:pt x="14" y="349"/>
                  </a:lnTo>
                  <a:lnTo>
                    <a:pt x="14" y="347"/>
                  </a:lnTo>
                  <a:lnTo>
                    <a:pt x="15" y="345"/>
                  </a:lnTo>
                  <a:lnTo>
                    <a:pt x="16" y="347"/>
                  </a:lnTo>
                  <a:lnTo>
                    <a:pt x="16" y="349"/>
                  </a:lnTo>
                  <a:lnTo>
                    <a:pt x="19" y="348"/>
                  </a:lnTo>
                  <a:lnTo>
                    <a:pt x="20" y="348"/>
                  </a:lnTo>
                  <a:lnTo>
                    <a:pt x="21" y="344"/>
                  </a:lnTo>
                  <a:lnTo>
                    <a:pt x="22" y="343"/>
                  </a:lnTo>
                  <a:lnTo>
                    <a:pt x="26" y="342"/>
                  </a:lnTo>
                  <a:lnTo>
                    <a:pt x="27" y="342"/>
                  </a:lnTo>
                  <a:lnTo>
                    <a:pt x="27" y="339"/>
                  </a:lnTo>
                  <a:lnTo>
                    <a:pt x="26" y="337"/>
                  </a:lnTo>
                  <a:lnTo>
                    <a:pt x="25" y="336"/>
                  </a:lnTo>
                  <a:lnTo>
                    <a:pt x="23" y="332"/>
                  </a:lnTo>
                  <a:lnTo>
                    <a:pt x="23" y="330"/>
                  </a:lnTo>
                  <a:lnTo>
                    <a:pt x="22" y="329"/>
                  </a:lnTo>
                  <a:lnTo>
                    <a:pt x="23" y="327"/>
                  </a:lnTo>
                  <a:lnTo>
                    <a:pt x="23" y="326"/>
                  </a:lnTo>
                  <a:lnTo>
                    <a:pt x="25" y="327"/>
                  </a:lnTo>
                  <a:lnTo>
                    <a:pt x="26" y="327"/>
                  </a:lnTo>
                  <a:lnTo>
                    <a:pt x="29" y="327"/>
                  </a:lnTo>
                  <a:lnTo>
                    <a:pt x="29" y="325"/>
                  </a:lnTo>
                  <a:lnTo>
                    <a:pt x="28" y="323"/>
                  </a:lnTo>
                  <a:lnTo>
                    <a:pt x="29" y="323"/>
                  </a:lnTo>
                  <a:lnTo>
                    <a:pt x="32" y="321"/>
                  </a:lnTo>
                  <a:lnTo>
                    <a:pt x="33" y="321"/>
                  </a:lnTo>
                  <a:lnTo>
                    <a:pt x="35" y="324"/>
                  </a:lnTo>
                  <a:lnTo>
                    <a:pt x="35" y="325"/>
                  </a:lnTo>
                  <a:lnTo>
                    <a:pt x="35" y="326"/>
                  </a:lnTo>
                  <a:lnTo>
                    <a:pt x="35" y="329"/>
                  </a:lnTo>
                  <a:lnTo>
                    <a:pt x="34" y="331"/>
                  </a:lnTo>
                  <a:lnTo>
                    <a:pt x="35" y="331"/>
                  </a:lnTo>
                  <a:lnTo>
                    <a:pt x="38" y="330"/>
                  </a:lnTo>
                  <a:lnTo>
                    <a:pt x="39" y="330"/>
                  </a:lnTo>
                  <a:lnTo>
                    <a:pt x="39" y="327"/>
                  </a:lnTo>
                  <a:lnTo>
                    <a:pt x="39" y="330"/>
                  </a:lnTo>
                  <a:lnTo>
                    <a:pt x="40" y="329"/>
                  </a:lnTo>
                  <a:lnTo>
                    <a:pt x="41" y="329"/>
                  </a:lnTo>
                  <a:lnTo>
                    <a:pt x="43" y="327"/>
                  </a:lnTo>
                  <a:lnTo>
                    <a:pt x="44" y="327"/>
                  </a:lnTo>
                  <a:lnTo>
                    <a:pt x="46" y="327"/>
                  </a:lnTo>
                  <a:lnTo>
                    <a:pt x="49" y="326"/>
                  </a:lnTo>
                  <a:lnTo>
                    <a:pt x="49" y="327"/>
                  </a:lnTo>
                  <a:lnTo>
                    <a:pt x="47" y="327"/>
                  </a:lnTo>
                  <a:lnTo>
                    <a:pt x="46" y="329"/>
                  </a:lnTo>
                  <a:lnTo>
                    <a:pt x="45" y="329"/>
                  </a:lnTo>
                  <a:lnTo>
                    <a:pt x="49" y="327"/>
                  </a:lnTo>
                  <a:lnTo>
                    <a:pt x="46" y="329"/>
                  </a:lnTo>
                  <a:lnTo>
                    <a:pt x="45" y="330"/>
                  </a:lnTo>
                  <a:lnTo>
                    <a:pt x="45" y="331"/>
                  </a:lnTo>
                  <a:lnTo>
                    <a:pt x="46" y="331"/>
                  </a:lnTo>
                  <a:lnTo>
                    <a:pt x="49" y="331"/>
                  </a:lnTo>
                  <a:lnTo>
                    <a:pt x="47" y="330"/>
                  </a:lnTo>
                  <a:lnTo>
                    <a:pt x="50" y="330"/>
                  </a:lnTo>
                  <a:lnTo>
                    <a:pt x="51" y="331"/>
                  </a:lnTo>
                  <a:lnTo>
                    <a:pt x="52" y="332"/>
                  </a:lnTo>
                  <a:lnTo>
                    <a:pt x="53" y="333"/>
                  </a:lnTo>
                  <a:lnTo>
                    <a:pt x="52" y="333"/>
                  </a:lnTo>
                  <a:lnTo>
                    <a:pt x="49" y="332"/>
                  </a:lnTo>
                  <a:lnTo>
                    <a:pt x="49" y="335"/>
                  </a:lnTo>
                  <a:lnTo>
                    <a:pt x="51" y="335"/>
                  </a:lnTo>
                  <a:lnTo>
                    <a:pt x="52" y="335"/>
                  </a:lnTo>
                  <a:lnTo>
                    <a:pt x="53" y="337"/>
                  </a:lnTo>
                  <a:lnTo>
                    <a:pt x="56" y="339"/>
                  </a:lnTo>
                  <a:lnTo>
                    <a:pt x="57" y="339"/>
                  </a:lnTo>
                  <a:lnTo>
                    <a:pt x="58" y="339"/>
                  </a:lnTo>
                  <a:lnTo>
                    <a:pt x="61" y="339"/>
                  </a:lnTo>
                  <a:lnTo>
                    <a:pt x="62" y="338"/>
                  </a:lnTo>
                  <a:lnTo>
                    <a:pt x="63" y="338"/>
                  </a:lnTo>
                  <a:lnTo>
                    <a:pt x="64" y="337"/>
                  </a:lnTo>
                  <a:lnTo>
                    <a:pt x="65" y="335"/>
                  </a:lnTo>
                  <a:lnTo>
                    <a:pt x="67" y="335"/>
                  </a:lnTo>
                  <a:lnTo>
                    <a:pt x="68" y="333"/>
                  </a:lnTo>
                  <a:lnTo>
                    <a:pt x="68" y="331"/>
                  </a:lnTo>
                  <a:lnTo>
                    <a:pt x="68" y="329"/>
                  </a:lnTo>
                  <a:lnTo>
                    <a:pt x="68" y="326"/>
                  </a:lnTo>
                  <a:lnTo>
                    <a:pt x="65" y="327"/>
                  </a:lnTo>
                  <a:lnTo>
                    <a:pt x="65" y="325"/>
                  </a:lnTo>
                  <a:lnTo>
                    <a:pt x="64" y="325"/>
                  </a:lnTo>
                  <a:lnTo>
                    <a:pt x="63" y="324"/>
                  </a:lnTo>
                  <a:lnTo>
                    <a:pt x="64" y="323"/>
                  </a:lnTo>
                  <a:lnTo>
                    <a:pt x="65" y="323"/>
                  </a:lnTo>
                  <a:lnTo>
                    <a:pt x="64" y="321"/>
                  </a:lnTo>
                  <a:lnTo>
                    <a:pt x="63" y="321"/>
                  </a:lnTo>
                  <a:lnTo>
                    <a:pt x="65" y="319"/>
                  </a:lnTo>
                  <a:lnTo>
                    <a:pt x="67" y="320"/>
                  </a:lnTo>
                  <a:lnTo>
                    <a:pt x="68" y="320"/>
                  </a:lnTo>
                  <a:lnTo>
                    <a:pt x="69" y="320"/>
                  </a:lnTo>
                  <a:lnTo>
                    <a:pt x="69" y="318"/>
                  </a:lnTo>
                  <a:lnTo>
                    <a:pt x="70" y="318"/>
                  </a:lnTo>
                  <a:lnTo>
                    <a:pt x="70" y="320"/>
                  </a:lnTo>
                  <a:lnTo>
                    <a:pt x="71" y="320"/>
                  </a:lnTo>
                  <a:lnTo>
                    <a:pt x="73" y="321"/>
                  </a:lnTo>
                  <a:lnTo>
                    <a:pt x="74" y="321"/>
                  </a:lnTo>
                  <a:lnTo>
                    <a:pt x="73" y="324"/>
                  </a:lnTo>
                  <a:lnTo>
                    <a:pt x="73" y="325"/>
                  </a:lnTo>
                  <a:lnTo>
                    <a:pt x="73" y="326"/>
                  </a:lnTo>
                  <a:lnTo>
                    <a:pt x="74" y="325"/>
                  </a:lnTo>
                  <a:lnTo>
                    <a:pt x="73" y="324"/>
                  </a:lnTo>
                  <a:lnTo>
                    <a:pt x="74" y="323"/>
                  </a:lnTo>
                  <a:lnTo>
                    <a:pt x="78" y="323"/>
                  </a:lnTo>
                  <a:lnTo>
                    <a:pt x="76" y="324"/>
                  </a:lnTo>
                  <a:lnTo>
                    <a:pt x="78" y="325"/>
                  </a:lnTo>
                  <a:lnTo>
                    <a:pt x="78" y="326"/>
                  </a:lnTo>
                  <a:lnTo>
                    <a:pt x="81" y="326"/>
                  </a:lnTo>
                  <a:lnTo>
                    <a:pt x="81" y="325"/>
                  </a:lnTo>
                  <a:lnTo>
                    <a:pt x="79" y="324"/>
                  </a:lnTo>
                  <a:lnTo>
                    <a:pt x="81" y="324"/>
                  </a:lnTo>
                  <a:lnTo>
                    <a:pt x="81" y="321"/>
                  </a:lnTo>
                  <a:lnTo>
                    <a:pt x="81" y="320"/>
                  </a:lnTo>
                  <a:lnTo>
                    <a:pt x="82" y="320"/>
                  </a:lnTo>
                  <a:lnTo>
                    <a:pt x="84" y="319"/>
                  </a:lnTo>
                  <a:lnTo>
                    <a:pt x="86" y="320"/>
                  </a:lnTo>
                  <a:lnTo>
                    <a:pt x="87" y="320"/>
                  </a:lnTo>
                  <a:lnTo>
                    <a:pt x="90" y="323"/>
                  </a:lnTo>
                  <a:lnTo>
                    <a:pt x="90" y="321"/>
                  </a:lnTo>
                  <a:lnTo>
                    <a:pt x="90" y="320"/>
                  </a:lnTo>
                  <a:lnTo>
                    <a:pt x="91" y="319"/>
                  </a:lnTo>
                  <a:lnTo>
                    <a:pt x="92" y="320"/>
                  </a:lnTo>
                  <a:lnTo>
                    <a:pt x="92" y="321"/>
                  </a:lnTo>
                  <a:lnTo>
                    <a:pt x="94" y="320"/>
                  </a:lnTo>
                  <a:lnTo>
                    <a:pt x="96" y="319"/>
                  </a:lnTo>
                  <a:lnTo>
                    <a:pt x="97" y="318"/>
                  </a:lnTo>
                  <a:lnTo>
                    <a:pt x="98" y="318"/>
                  </a:lnTo>
                  <a:lnTo>
                    <a:pt x="100" y="319"/>
                  </a:lnTo>
                  <a:lnTo>
                    <a:pt x="99" y="317"/>
                  </a:lnTo>
                  <a:lnTo>
                    <a:pt x="102" y="319"/>
                  </a:lnTo>
                  <a:lnTo>
                    <a:pt x="102" y="318"/>
                  </a:lnTo>
                  <a:lnTo>
                    <a:pt x="103" y="317"/>
                  </a:lnTo>
                  <a:lnTo>
                    <a:pt x="104" y="315"/>
                  </a:lnTo>
                  <a:lnTo>
                    <a:pt x="105" y="315"/>
                  </a:lnTo>
                  <a:lnTo>
                    <a:pt x="105" y="314"/>
                  </a:lnTo>
                  <a:lnTo>
                    <a:pt x="105" y="313"/>
                  </a:lnTo>
                  <a:lnTo>
                    <a:pt x="105" y="312"/>
                  </a:lnTo>
                  <a:lnTo>
                    <a:pt x="104" y="311"/>
                  </a:lnTo>
                  <a:lnTo>
                    <a:pt x="106" y="311"/>
                  </a:lnTo>
                  <a:lnTo>
                    <a:pt x="106" y="309"/>
                  </a:lnTo>
                  <a:lnTo>
                    <a:pt x="109" y="311"/>
                  </a:lnTo>
                  <a:lnTo>
                    <a:pt x="111" y="311"/>
                  </a:lnTo>
                  <a:lnTo>
                    <a:pt x="112" y="309"/>
                  </a:lnTo>
                  <a:lnTo>
                    <a:pt x="111" y="308"/>
                  </a:lnTo>
                  <a:lnTo>
                    <a:pt x="110" y="307"/>
                  </a:lnTo>
                  <a:lnTo>
                    <a:pt x="112" y="307"/>
                  </a:lnTo>
                  <a:lnTo>
                    <a:pt x="112" y="306"/>
                  </a:lnTo>
                  <a:lnTo>
                    <a:pt x="112" y="305"/>
                  </a:lnTo>
                  <a:lnTo>
                    <a:pt x="111" y="303"/>
                  </a:lnTo>
                  <a:lnTo>
                    <a:pt x="112" y="302"/>
                  </a:lnTo>
                  <a:lnTo>
                    <a:pt x="111" y="300"/>
                  </a:lnTo>
                  <a:lnTo>
                    <a:pt x="110" y="300"/>
                  </a:lnTo>
                  <a:lnTo>
                    <a:pt x="109" y="301"/>
                  </a:lnTo>
                  <a:lnTo>
                    <a:pt x="106" y="301"/>
                  </a:lnTo>
                  <a:lnTo>
                    <a:pt x="106" y="300"/>
                  </a:lnTo>
                  <a:lnTo>
                    <a:pt x="108" y="297"/>
                  </a:lnTo>
                  <a:lnTo>
                    <a:pt x="105" y="297"/>
                  </a:lnTo>
                  <a:lnTo>
                    <a:pt x="104" y="299"/>
                  </a:lnTo>
                  <a:lnTo>
                    <a:pt x="104" y="300"/>
                  </a:lnTo>
                  <a:lnTo>
                    <a:pt x="103" y="300"/>
                  </a:lnTo>
                  <a:lnTo>
                    <a:pt x="102" y="300"/>
                  </a:lnTo>
                  <a:lnTo>
                    <a:pt x="100" y="300"/>
                  </a:lnTo>
                  <a:lnTo>
                    <a:pt x="99" y="302"/>
                  </a:lnTo>
                  <a:lnTo>
                    <a:pt x="99" y="301"/>
                  </a:lnTo>
                  <a:lnTo>
                    <a:pt x="97" y="300"/>
                  </a:lnTo>
                  <a:lnTo>
                    <a:pt x="98" y="299"/>
                  </a:lnTo>
                  <a:lnTo>
                    <a:pt x="97" y="297"/>
                  </a:lnTo>
                  <a:lnTo>
                    <a:pt x="94" y="297"/>
                  </a:lnTo>
                  <a:lnTo>
                    <a:pt x="94" y="296"/>
                  </a:lnTo>
                  <a:lnTo>
                    <a:pt x="96" y="295"/>
                  </a:lnTo>
                  <a:lnTo>
                    <a:pt x="98" y="294"/>
                  </a:lnTo>
                  <a:lnTo>
                    <a:pt x="100" y="296"/>
                  </a:lnTo>
                  <a:lnTo>
                    <a:pt x="100" y="295"/>
                  </a:lnTo>
                  <a:lnTo>
                    <a:pt x="102" y="294"/>
                  </a:lnTo>
                  <a:lnTo>
                    <a:pt x="103" y="291"/>
                  </a:lnTo>
                  <a:lnTo>
                    <a:pt x="103" y="294"/>
                  </a:lnTo>
                  <a:lnTo>
                    <a:pt x="104" y="293"/>
                  </a:lnTo>
                  <a:lnTo>
                    <a:pt x="106" y="293"/>
                  </a:lnTo>
                  <a:lnTo>
                    <a:pt x="106" y="291"/>
                  </a:lnTo>
                  <a:lnTo>
                    <a:pt x="110" y="290"/>
                  </a:lnTo>
                  <a:lnTo>
                    <a:pt x="110" y="289"/>
                  </a:lnTo>
                  <a:lnTo>
                    <a:pt x="108" y="289"/>
                  </a:lnTo>
                  <a:lnTo>
                    <a:pt x="106" y="289"/>
                  </a:lnTo>
                  <a:lnTo>
                    <a:pt x="105" y="289"/>
                  </a:lnTo>
                  <a:lnTo>
                    <a:pt x="106" y="288"/>
                  </a:lnTo>
                  <a:lnTo>
                    <a:pt x="105" y="288"/>
                  </a:lnTo>
                  <a:lnTo>
                    <a:pt x="106" y="287"/>
                  </a:lnTo>
                  <a:lnTo>
                    <a:pt x="108" y="285"/>
                  </a:lnTo>
                  <a:lnTo>
                    <a:pt x="109" y="283"/>
                  </a:lnTo>
                  <a:lnTo>
                    <a:pt x="108" y="283"/>
                  </a:lnTo>
                  <a:lnTo>
                    <a:pt x="105" y="283"/>
                  </a:lnTo>
                  <a:lnTo>
                    <a:pt x="104" y="282"/>
                  </a:lnTo>
                  <a:lnTo>
                    <a:pt x="100" y="282"/>
                  </a:lnTo>
                  <a:lnTo>
                    <a:pt x="102" y="282"/>
                  </a:lnTo>
                  <a:lnTo>
                    <a:pt x="104" y="282"/>
                  </a:lnTo>
                  <a:lnTo>
                    <a:pt x="104" y="279"/>
                  </a:lnTo>
                  <a:lnTo>
                    <a:pt x="103" y="279"/>
                  </a:lnTo>
                  <a:lnTo>
                    <a:pt x="103" y="278"/>
                  </a:lnTo>
                  <a:lnTo>
                    <a:pt x="104" y="278"/>
                  </a:lnTo>
                  <a:lnTo>
                    <a:pt x="103" y="277"/>
                  </a:lnTo>
                  <a:lnTo>
                    <a:pt x="100" y="276"/>
                  </a:lnTo>
                  <a:lnTo>
                    <a:pt x="102" y="275"/>
                  </a:lnTo>
                  <a:lnTo>
                    <a:pt x="100" y="273"/>
                  </a:lnTo>
                  <a:lnTo>
                    <a:pt x="102" y="271"/>
                  </a:lnTo>
                  <a:lnTo>
                    <a:pt x="102" y="270"/>
                  </a:lnTo>
                  <a:lnTo>
                    <a:pt x="102" y="269"/>
                  </a:lnTo>
                  <a:lnTo>
                    <a:pt x="104" y="269"/>
                  </a:lnTo>
                  <a:lnTo>
                    <a:pt x="105" y="269"/>
                  </a:lnTo>
                  <a:lnTo>
                    <a:pt x="105" y="267"/>
                  </a:lnTo>
                  <a:lnTo>
                    <a:pt x="105" y="265"/>
                  </a:lnTo>
                  <a:lnTo>
                    <a:pt x="106" y="265"/>
                  </a:lnTo>
                  <a:lnTo>
                    <a:pt x="106" y="266"/>
                  </a:lnTo>
                  <a:lnTo>
                    <a:pt x="108" y="267"/>
                  </a:lnTo>
                  <a:lnTo>
                    <a:pt x="109" y="267"/>
                  </a:lnTo>
                  <a:lnTo>
                    <a:pt x="108" y="265"/>
                  </a:lnTo>
                  <a:lnTo>
                    <a:pt x="109" y="264"/>
                  </a:lnTo>
                  <a:lnTo>
                    <a:pt x="110" y="265"/>
                  </a:lnTo>
                  <a:lnTo>
                    <a:pt x="111" y="264"/>
                  </a:lnTo>
                  <a:lnTo>
                    <a:pt x="111" y="265"/>
                  </a:lnTo>
                  <a:lnTo>
                    <a:pt x="112" y="266"/>
                  </a:lnTo>
                  <a:lnTo>
                    <a:pt x="114" y="264"/>
                  </a:lnTo>
                  <a:lnTo>
                    <a:pt x="114" y="266"/>
                  </a:lnTo>
                  <a:lnTo>
                    <a:pt x="115" y="265"/>
                  </a:lnTo>
                  <a:lnTo>
                    <a:pt x="115" y="264"/>
                  </a:lnTo>
                  <a:lnTo>
                    <a:pt x="117" y="263"/>
                  </a:lnTo>
                  <a:lnTo>
                    <a:pt x="116" y="261"/>
                  </a:lnTo>
                  <a:lnTo>
                    <a:pt x="115" y="260"/>
                  </a:lnTo>
                  <a:lnTo>
                    <a:pt x="116" y="260"/>
                  </a:lnTo>
                  <a:lnTo>
                    <a:pt x="116" y="259"/>
                  </a:lnTo>
                  <a:lnTo>
                    <a:pt x="114" y="258"/>
                  </a:lnTo>
                  <a:lnTo>
                    <a:pt x="115" y="257"/>
                  </a:lnTo>
                  <a:lnTo>
                    <a:pt x="116" y="257"/>
                  </a:lnTo>
                  <a:lnTo>
                    <a:pt x="116" y="255"/>
                  </a:lnTo>
                  <a:lnTo>
                    <a:pt x="115" y="255"/>
                  </a:lnTo>
                  <a:lnTo>
                    <a:pt x="114" y="254"/>
                  </a:lnTo>
                  <a:lnTo>
                    <a:pt x="115" y="254"/>
                  </a:lnTo>
                  <a:lnTo>
                    <a:pt x="116" y="254"/>
                  </a:lnTo>
                  <a:lnTo>
                    <a:pt x="116" y="252"/>
                  </a:lnTo>
                  <a:lnTo>
                    <a:pt x="117" y="252"/>
                  </a:lnTo>
                  <a:lnTo>
                    <a:pt x="117" y="250"/>
                  </a:lnTo>
                  <a:lnTo>
                    <a:pt x="116" y="249"/>
                  </a:lnTo>
                  <a:lnTo>
                    <a:pt x="118" y="249"/>
                  </a:lnTo>
                  <a:lnTo>
                    <a:pt x="120" y="249"/>
                  </a:lnTo>
                  <a:lnTo>
                    <a:pt x="120" y="248"/>
                  </a:lnTo>
                  <a:lnTo>
                    <a:pt x="121" y="248"/>
                  </a:lnTo>
                  <a:lnTo>
                    <a:pt x="122" y="247"/>
                  </a:lnTo>
                  <a:lnTo>
                    <a:pt x="123" y="246"/>
                  </a:lnTo>
                  <a:lnTo>
                    <a:pt x="123" y="244"/>
                  </a:lnTo>
                  <a:lnTo>
                    <a:pt x="124" y="244"/>
                  </a:lnTo>
                  <a:lnTo>
                    <a:pt x="124" y="243"/>
                  </a:lnTo>
                  <a:lnTo>
                    <a:pt x="126" y="242"/>
                  </a:lnTo>
                  <a:lnTo>
                    <a:pt x="128" y="242"/>
                  </a:lnTo>
                  <a:lnTo>
                    <a:pt x="129" y="242"/>
                  </a:lnTo>
                  <a:lnTo>
                    <a:pt x="130" y="242"/>
                  </a:lnTo>
                  <a:lnTo>
                    <a:pt x="128" y="241"/>
                  </a:lnTo>
                  <a:lnTo>
                    <a:pt x="128" y="240"/>
                  </a:lnTo>
                  <a:lnTo>
                    <a:pt x="128" y="238"/>
                  </a:lnTo>
                  <a:lnTo>
                    <a:pt x="127" y="236"/>
                  </a:lnTo>
                  <a:lnTo>
                    <a:pt x="127" y="235"/>
                  </a:lnTo>
                  <a:lnTo>
                    <a:pt x="127" y="234"/>
                  </a:lnTo>
                  <a:lnTo>
                    <a:pt x="129" y="235"/>
                  </a:lnTo>
                  <a:lnTo>
                    <a:pt x="130" y="235"/>
                  </a:lnTo>
                  <a:lnTo>
                    <a:pt x="135" y="234"/>
                  </a:lnTo>
                  <a:lnTo>
                    <a:pt x="133" y="232"/>
                  </a:lnTo>
                  <a:lnTo>
                    <a:pt x="134" y="232"/>
                  </a:lnTo>
                  <a:lnTo>
                    <a:pt x="135" y="234"/>
                  </a:lnTo>
                  <a:lnTo>
                    <a:pt x="135" y="235"/>
                  </a:lnTo>
                  <a:lnTo>
                    <a:pt x="135" y="236"/>
                  </a:lnTo>
                  <a:lnTo>
                    <a:pt x="137" y="236"/>
                  </a:lnTo>
                  <a:lnTo>
                    <a:pt x="137" y="235"/>
                  </a:lnTo>
                  <a:lnTo>
                    <a:pt x="138" y="234"/>
                  </a:lnTo>
                  <a:lnTo>
                    <a:pt x="139" y="232"/>
                  </a:lnTo>
                  <a:lnTo>
                    <a:pt x="139" y="231"/>
                  </a:lnTo>
                  <a:lnTo>
                    <a:pt x="140" y="232"/>
                  </a:lnTo>
                  <a:lnTo>
                    <a:pt x="141" y="231"/>
                  </a:lnTo>
                  <a:lnTo>
                    <a:pt x="141" y="232"/>
                  </a:lnTo>
                  <a:lnTo>
                    <a:pt x="141" y="235"/>
                  </a:lnTo>
                  <a:lnTo>
                    <a:pt x="141" y="234"/>
                  </a:lnTo>
                  <a:lnTo>
                    <a:pt x="141" y="232"/>
                  </a:lnTo>
                  <a:lnTo>
                    <a:pt x="140" y="230"/>
                  </a:lnTo>
                  <a:lnTo>
                    <a:pt x="140" y="229"/>
                  </a:lnTo>
                  <a:lnTo>
                    <a:pt x="143" y="231"/>
                  </a:lnTo>
                  <a:lnTo>
                    <a:pt x="143" y="232"/>
                  </a:lnTo>
                  <a:lnTo>
                    <a:pt x="144" y="231"/>
                  </a:lnTo>
                  <a:lnTo>
                    <a:pt x="146" y="232"/>
                  </a:lnTo>
                  <a:lnTo>
                    <a:pt x="146" y="231"/>
                  </a:lnTo>
                  <a:lnTo>
                    <a:pt x="147" y="234"/>
                  </a:lnTo>
                  <a:lnTo>
                    <a:pt x="147" y="235"/>
                  </a:lnTo>
                  <a:lnTo>
                    <a:pt x="149" y="235"/>
                  </a:lnTo>
                  <a:lnTo>
                    <a:pt x="150" y="235"/>
                  </a:lnTo>
                  <a:lnTo>
                    <a:pt x="150" y="237"/>
                  </a:lnTo>
                  <a:lnTo>
                    <a:pt x="150" y="238"/>
                  </a:lnTo>
                  <a:lnTo>
                    <a:pt x="151" y="237"/>
                  </a:lnTo>
                  <a:lnTo>
                    <a:pt x="153" y="236"/>
                  </a:lnTo>
                  <a:lnTo>
                    <a:pt x="153" y="237"/>
                  </a:lnTo>
                  <a:lnTo>
                    <a:pt x="152" y="238"/>
                  </a:lnTo>
                  <a:lnTo>
                    <a:pt x="152" y="240"/>
                  </a:lnTo>
                  <a:lnTo>
                    <a:pt x="153" y="241"/>
                  </a:lnTo>
                  <a:lnTo>
                    <a:pt x="155" y="238"/>
                  </a:lnTo>
                  <a:lnTo>
                    <a:pt x="156" y="238"/>
                  </a:lnTo>
                  <a:lnTo>
                    <a:pt x="158" y="237"/>
                  </a:lnTo>
                  <a:lnTo>
                    <a:pt x="158" y="234"/>
                  </a:lnTo>
                  <a:lnTo>
                    <a:pt x="159" y="235"/>
                  </a:lnTo>
                  <a:lnTo>
                    <a:pt x="161" y="235"/>
                  </a:lnTo>
                  <a:lnTo>
                    <a:pt x="163" y="234"/>
                  </a:lnTo>
                  <a:lnTo>
                    <a:pt x="164" y="231"/>
                  </a:lnTo>
                  <a:lnTo>
                    <a:pt x="165" y="230"/>
                  </a:lnTo>
                  <a:lnTo>
                    <a:pt x="167" y="229"/>
                  </a:lnTo>
                  <a:lnTo>
                    <a:pt x="170" y="228"/>
                  </a:lnTo>
                  <a:lnTo>
                    <a:pt x="173" y="225"/>
                  </a:lnTo>
                  <a:lnTo>
                    <a:pt x="173" y="223"/>
                  </a:lnTo>
                  <a:lnTo>
                    <a:pt x="171" y="223"/>
                  </a:lnTo>
                  <a:lnTo>
                    <a:pt x="170" y="225"/>
                  </a:lnTo>
                  <a:lnTo>
                    <a:pt x="169" y="225"/>
                  </a:lnTo>
                  <a:lnTo>
                    <a:pt x="168" y="224"/>
                  </a:lnTo>
                  <a:lnTo>
                    <a:pt x="168" y="222"/>
                  </a:lnTo>
                  <a:lnTo>
                    <a:pt x="167" y="222"/>
                  </a:lnTo>
                  <a:lnTo>
                    <a:pt x="167" y="223"/>
                  </a:lnTo>
                  <a:lnTo>
                    <a:pt x="167" y="224"/>
                  </a:lnTo>
                  <a:lnTo>
                    <a:pt x="165" y="225"/>
                  </a:lnTo>
                  <a:lnTo>
                    <a:pt x="165" y="224"/>
                  </a:lnTo>
                  <a:lnTo>
                    <a:pt x="164" y="225"/>
                  </a:lnTo>
                  <a:lnTo>
                    <a:pt x="164" y="224"/>
                  </a:lnTo>
                  <a:lnTo>
                    <a:pt x="163" y="225"/>
                  </a:lnTo>
                  <a:lnTo>
                    <a:pt x="162" y="226"/>
                  </a:lnTo>
                  <a:lnTo>
                    <a:pt x="162" y="225"/>
                  </a:lnTo>
                  <a:lnTo>
                    <a:pt x="162" y="226"/>
                  </a:lnTo>
                  <a:lnTo>
                    <a:pt x="161" y="229"/>
                  </a:lnTo>
                  <a:lnTo>
                    <a:pt x="159" y="226"/>
                  </a:lnTo>
                  <a:lnTo>
                    <a:pt x="158" y="228"/>
                  </a:lnTo>
                  <a:lnTo>
                    <a:pt x="157" y="228"/>
                  </a:lnTo>
                  <a:lnTo>
                    <a:pt x="156" y="226"/>
                  </a:lnTo>
                  <a:lnTo>
                    <a:pt x="156" y="225"/>
                  </a:lnTo>
                  <a:lnTo>
                    <a:pt x="155" y="225"/>
                  </a:lnTo>
                  <a:lnTo>
                    <a:pt x="155" y="228"/>
                  </a:lnTo>
                  <a:lnTo>
                    <a:pt x="155" y="229"/>
                  </a:lnTo>
                  <a:lnTo>
                    <a:pt x="155" y="230"/>
                  </a:lnTo>
                  <a:lnTo>
                    <a:pt x="155" y="232"/>
                  </a:lnTo>
                  <a:lnTo>
                    <a:pt x="155" y="234"/>
                  </a:lnTo>
                  <a:lnTo>
                    <a:pt x="153" y="232"/>
                  </a:lnTo>
                  <a:lnTo>
                    <a:pt x="152" y="231"/>
                  </a:lnTo>
                  <a:lnTo>
                    <a:pt x="152" y="230"/>
                  </a:lnTo>
                  <a:lnTo>
                    <a:pt x="150" y="230"/>
                  </a:lnTo>
                  <a:lnTo>
                    <a:pt x="149" y="230"/>
                  </a:lnTo>
                  <a:lnTo>
                    <a:pt x="147" y="229"/>
                  </a:lnTo>
                  <a:lnTo>
                    <a:pt x="147" y="228"/>
                  </a:lnTo>
                  <a:lnTo>
                    <a:pt x="149" y="226"/>
                  </a:lnTo>
                  <a:lnTo>
                    <a:pt x="152" y="223"/>
                  </a:lnTo>
                  <a:lnTo>
                    <a:pt x="152" y="222"/>
                  </a:lnTo>
                  <a:lnTo>
                    <a:pt x="155" y="222"/>
                  </a:lnTo>
                  <a:lnTo>
                    <a:pt x="153" y="220"/>
                  </a:lnTo>
                  <a:lnTo>
                    <a:pt x="152" y="222"/>
                  </a:lnTo>
                  <a:lnTo>
                    <a:pt x="151" y="222"/>
                  </a:lnTo>
                  <a:lnTo>
                    <a:pt x="150" y="222"/>
                  </a:lnTo>
                  <a:lnTo>
                    <a:pt x="149" y="224"/>
                  </a:lnTo>
                  <a:lnTo>
                    <a:pt x="147" y="224"/>
                  </a:lnTo>
                  <a:lnTo>
                    <a:pt x="146" y="225"/>
                  </a:lnTo>
                  <a:lnTo>
                    <a:pt x="143" y="225"/>
                  </a:lnTo>
                  <a:lnTo>
                    <a:pt x="145" y="224"/>
                  </a:lnTo>
                  <a:lnTo>
                    <a:pt x="146" y="223"/>
                  </a:lnTo>
                  <a:lnTo>
                    <a:pt x="146" y="222"/>
                  </a:lnTo>
                  <a:lnTo>
                    <a:pt x="146" y="219"/>
                  </a:lnTo>
                  <a:lnTo>
                    <a:pt x="144" y="220"/>
                  </a:lnTo>
                  <a:lnTo>
                    <a:pt x="145" y="218"/>
                  </a:lnTo>
                  <a:lnTo>
                    <a:pt x="144" y="218"/>
                  </a:lnTo>
                  <a:lnTo>
                    <a:pt x="143" y="218"/>
                  </a:lnTo>
                  <a:lnTo>
                    <a:pt x="143" y="217"/>
                  </a:lnTo>
                  <a:lnTo>
                    <a:pt x="141" y="216"/>
                  </a:lnTo>
                  <a:lnTo>
                    <a:pt x="140" y="216"/>
                  </a:lnTo>
                  <a:lnTo>
                    <a:pt x="139" y="214"/>
                  </a:lnTo>
                  <a:lnTo>
                    <a:pt x="140" y="214"/>
                  </a:lnTo>
                  <a:lnTo>
                    <a:pt x="141" y="214"/>
                  </a:lnTo>
                  <a:lnTo>
                    <a:pt x="141" y="213"/>
                  </a:lnTo>
                  <a:lnTo>
                    <a:pt x="140" y="212"/>
                  </a:lnTo>
                  <a:lnTo>
                    <a:pt x="143" y="212"/>
                  </a:lnTo>
                  <a:lnTo>
                    <a:pt x="144" y="211"/>
                  </a:lnTo>
                  <a:lnTo>
                    <a:pt x="145" y="211"/>
                  </a:lnTo>
                  <a:lnTo>
                    <a:pt x="144" y="213"/>
                  </a:lnTo>
                  <a:lnTo>
                    <a:pt x="145" y="212"/>
                  </a:lnTo>
                  <a:lnTo>
                    <a:pt x="146" y="213"/>
                  </a:lnTo>
                  <a:lnTo>
                    <a:pt x="146" y="212"/>
                  </a:lnTo>
                  <a:lnTo>
                    <a:pt x="147" y="213"/>
                  </a:lnTo>
                  <a:lnTo>
                    <a:pt x="149" y="213"/>
                  </a:lnTo>
                  <a:lnTo>
                    <a:pt x="150" y="213"/>
                  </a:lnTo>
                  <a:lnTo>
                    <a:pt x="150" y="214"/>
                  </a:lnTo>
                  <a:lnTo>
                    <a:pt x="152" y="214"/>
                  </a:lnTo>
                  <a:lnTo>
                    <a:pt x="152" y="216"/>
                  </a:lnTo>
                  <a:lnTo>
                    <a:pt x="153" y="217"/>
                  </a:lnTo>
                  <a:lnTo>
                    <a:pt x="155" y="217"/>
                  </a:lnTo>
                  <a:lnTo>
                    <a:pt x="155" y="216"/>
                  </a:lnTo>
                  <a:lnTo>
                    <a:pt x="156" y="214"/>
                  </a:lnTo>
                  <a:lnTo>
                    <a:pt x="156" y="212"/>
                  </a:lnTo>
                  <a:lnTo>
                    <a:pt x="157" y="211"/>
                  </a:lnTo>
                  <a:lnTo>
                    <a:pt x="157" y="213"/>
                  </a:lnTo>
                  <a:lnTo>
                    <a:pt x="158" y="214"/>
                  </a:lnTo>
                  <a:lnTo>
                    <a:pt x="159" y="214"/>
                  </a:lnTo>
                  <a:lnTo>
                    <a:pt x="161" y="213"/>
                  </a:lnTo>
                  <a:lnTo>
                    <a:pt x="162" y="212"/>
                  </a:lnTo>
                  <a:lnTo>
                    <a:pt x="164" y="211"/>
                  </a:lnTo>
                  <a:lnTo>
                    <a:pt x="169" y="210"/>
                  </a:lnTo>
                  <a:lnTo>
                    <a:pt x="168" y="208"/>
                  </a:lnTo>
                  <a:lnTo>
                    <a:pt x="168" y="207"/>
                  </a:lnTo>
                  <a:lnTo>
                    <a:pt x="170" y="205"/>
                  </a:lnTo>
                  <a:lnTo>
                    <a:pt x="168" y="205"/>
                  </a:lnTo>
                  <a:lnTo>
                    <a:pt x="167" y="205"/>
                  </a:lnTo>
                  <a:lnTo>
                    <a:pt x="165" y="207"/>
                  </a:lnTo>
                  <a:lnTo>
                    <a:pt x="165" y="205"/>
                  </a:lnTo>
                  <a:lnTo>
                    <a:pt x="165" y="204"/>
                  </a:lnTo>
                  <a:lnTo>
                    <a:pt x="164" y="205"/>
                  </a:lnTo>
                  <a:lnTo>
                    <a:pt x="164" y="207"/>
                  </a:lnTo>
                  <a:lnTo>
                    <a:pt x="163" y="207"/>
                  </a:lnTo>
                  <a:lnTo>
                    <a:pt x="161" y="208"/>
                  </a:lnTo>
                  <a:lnTo>
                    <a:pt x="161" y="207"/>
                  </a:lnTo>
                  <a:lnTo>
                    <a:pt x="159" y="208"/>
                  </a:lnTo>
                  <a:lnTo>
                    <a:pt x="159" y="207"/>
                  </a:lnTo>
                  <a:lnTo>
                    <a:pt x="158" y="208"/>
                  </a:lnTo>
                  <a:lnTo>
                    <a:pt x="158" y="207"/>
                  </a:lnTo>
                  <a:lnTo>
                    <a:pt x="156" y="208"/>
                  </a:lnTo>
                  <a:lnTo>
                    <a:pt x="156" y="207"/>
                  </a:lnTo>
                  <a:lnTo>
                    <a:pt x="155" y="207"/>
                  </a:lnTo>
                  <a:lnTo>
                    <a:pt x="155" y="206"/>
                  </a:lnTo>
                  <a:lnTo>
                    <a:pt x="155" y="205"/>
                  </a:lnTo>
                  <a:lnTo>
                    <a:pt x="158" y="202"/>
                  </a:lnTo>
                  <a:lnTo>
                    <a:pt x="159" y="204"/>
                  </a:lnTo>
                  <a:lnTo>
                    <a:pt x="161" y="204"/>
                  </a:lnTo>
                  <a:lnTo>
                    <a:pt x="161" y="201"/>
                  </a:lnTo>
                  <a:lnTo>
                    <a:pt x="162" y="201"/>
                  </a:lnTo>
                  <a:lnTo>
                    <a:pt x="163" y="200"/>
                  </a:lnTo>
                  <a:lnTo>
                    <a:pt x="164" y="200"/>
                  </a:lnTo>
                  <a:lnTo>
                    <a:pt x="164" y="199"/>
                  </a:lnTo>
                  <a:lnTo>
                    <a:pt x="165" y="199"/>
                  </a:lnTo>
                  <a:lnTo>
                    <a:pt x="167" y="199"/>
                  </a:lnTo>
                  <a:lnTo>
                    <a:pt x="169" y="198"/>
                  </a:lnTo>
                  <a:lnTo>
                    <a:pt x="171" y="196"/>
                  </a:lnTo>
                  <a:lnTo>
                    <a:pt x="174" y="195"/>
                  </a:lnTo>
                  <a:lnTo>
                    <a:pt x="175" y="194"/>
                  </a:lnTo>
                  <a:lnTo>
                    <a:pt x="173" y="194"/>
                  </a:lnTo>
                  <a:lnTo>
                    <a:pt x="171" y="192"/>
                  </a:lnTo>
                  <a:lnTo>
                    <a:pt x="170" y="190"/>
                  </a:lnTo>
                  <a:lnTo>
                    <a:pt x="169" y="192"/>
                  </a:lnTo>
                  <a:lnTo>
                    <a:pt x="167" y="192"/>
                  </a:lnTo>
                  <a:lnTo>
                    <a:pt x="167" y="193"/>
                  </a:lnTo>
                  <a:lnTo>
                    <a:pt x="165" y="196"/>
                  </a:lnTo>
                  <a:lnTo>
                    <a:pt x="165" y="198"/>
                  </a:lnTo>
                  <a:lnTo>
                    <a:pt x="164" y="198"/>
                  </a:lnTo>
                  <a:lnTo>
                    <a:pt x="163" y="198"/>
                  </a:lnTo>
                  <a:lnTo>
                    <a:pt x="162" y="199"/>
                  </a:lnTo>
                  <a:lnTo>
                    <a:pt x="161" y="200"/>
                  </a:lnTo>
                  <a:lnTo>
                    <a:pt x="159" y="200"/>
                  </a:lnTo>
                  <a:lnTo>
                    <a:pt x="158" y="200"/>
                  </a:lnTo>
                  <a:lnTo>
                    <a:pt x="157" y="200"/>
                  </a:lnTo>
                  <a:lnTo>
                    <a:pt x="157" y="201"/>
                  </a:lnTo>
                  <a:lnTo>
                    <a:pt x="156" y="202"/>
                  </a:lnTo>
                  <a:lnTo>
                    <a:pt x="155" y="204"/>
                  </a:lnTo>
                  <a:lnTo>
                    <a:pt x="153" y="201"/>
                  </a:lnTo>
                  <a:lnTo>
                    <a:pt x="152" y="200"/>
                  </a:lnTo>
                  <a:lnTo>
                    <a:pt x="153" y="198"/>
                  </a:lnTo>
                  <a:lnTo>
                    <a:pt x="153" y="196"/>
                  </a:lnTo>
                  <a:lnTo>
                    <a:pt x="152" y="193"/>
                  </a:lnTo>
                  <a:lnTo>
                    <a:pt x="151" y="195"/>
                  </a:lnTo>
                  <a:lnTo>
                    <a:pt x="151" y="199"/>
                  </a:lnTo>
                  <a:lnTo>
                    <a:pt x="150" y="199"/>
                  </a:lnTo>
                  <a:lnTo>
                    <a:pt x="150" y="196"/>
                  </a:lnTo>
                  <a:lnTo>
                    <a:pt x="150" y="195"/>
                  </a:lnTo>
                  <a:lnTo>
                    <a:pt x="149" y="195"/>
                  </a:lnTo>
                  <a:lnTo>
                    <a:pt x="147" y="195"/>
                  </a:lnTo>
                  <a:lnTo>
                    <a:pt x="146" y="198"/>
                  </a:lnTo>
                  <a:lnTo>
                    <a:pt x="146" y="195"/>
                  </a:lnTo>
                  <a:lnTo>
                    <a:pt x="146" y="194"/>
                  </a:lnTo>
                  <a:lnTo>
                    <a:pt x="145" y="194"/>
                  </a:lnTo>
                  <a:lnTo>
                    <a:pt x="144" y="194"/>
                  </a:lnTo>
                  <a:lnTo>
                    <a:pt x="146" y="193"/>
                  </a:lnTo>
                  <a:lnTo>
                    <a:pt x="147" y="193"/>
                  </a:lnTo>
                  <a:lnTo>
                    <a:pt x="149" y="193"/>
                  </a:lnTo>
                  <a:lnTo>
                    <a:pt x="150" y="192"/>
                  </a:lnTo>
                  <a:lnTo>
                    <a:pt x="149" y="190"/>
                  </a:lnTo>
                  <a:lnTo>
                    <a:pt x="147" y="192"/>
                  </a:lnTo>
                  <a:lnTo>
                    <a:pt x="146" y="192"/>
                  </a:lnTo>
                  <a:lnTo>
                    <a:pt x="147" y="189"/>
                  </a:lnTo>
                  <a:lnTo>
                    <a:pt x="146" y="189"/>
                  </a:lnTo>
                  <a:lnTo>
                    <a:pt x="145" y="190"/>
                  </a:lnTo>
                  <a:lnTo>
                    <a:pt x="144" y="190"/>
                  </a:lnTo>
                  <a:lnTo>
                    <a:pt x="143" y="189"/>
                  </a:lnTo>
                  <a:lnTo>
                    <a:pt x="143" y="192"/>
                  </a:lnTo>
                  <a:lnTo>
                    <a:pt x="140" y="190"/>
                  </a:lnTo>
                  <a:lnTo>
                    <a:pt x="139" y="192"/>
                  </a:lnTo>
                  <a:lnTo>
                    <a:pt x="138" y="192"/>
                  </a:lnTo>
                  <a:lnTo>
                    <a:pt x="137" y="190"/>
                  </a:lnTo>
                  <a:lnTo>
                    <a:pt x="138" y="189"/>
                  </a:lnTo>
                  <a:lnTo>
                    <a:pt x="135" y="189"/>
                  </a:lnTo>
                  <a:lnTo>
                    <a:pt x="138" y="187"/>
                  </a:lnTo>
                  <a:lnTo>
                    <a:pt x="137" y="187"/>
                  </a:lnTo>
                  <a:lnTo>
                    <a:pt x="137" y="184"/>
                  </a:lnTo>
                  <a:lnTo>
                    <a:pt x="138" y="184"/>
                  </a:lnTo>
                  <a:lnTo>
                    <a:pt x="140" y="184"/>
                  </a:lnTo>
                  <a:lnTo>
                    <a:pt x="143" y="184"/>
                  </a:lnTo>
                  <a:lnTo>
                    <a:pt x="143" y="182"/>
                  </a:lnTo>
                  <a:lnTo>
                    <a:pt x="144" y="182"/>
                  </a:lnTo>
                  <a:lnTo>
                    <a:pt x="144" y="183"/>
                  </a:lnTo>
                  <a:lnTo>
                    <a:pt x="144" y="186"/>
                  </a:lnTo>
                  <a:lnTo>
                    <a:pt x="145" y="186"/>
                  </a:lnTo>
                  <a:lnTo>
                    <a:pt x="145" y="184"/>
                  </a:lnTo>
                  <a:lnTo>
                    <a:pt x="145" y="182"/>
                  </a:lnTo>
                  <a:lnTo>
                    <a:pt x="146" y="182"/>
                  </a:lnTo>
                  <a:lnTo>
                    <a:pt x="146" y="183"/>
                  </a:lnTo>
                  <a:lnTo>
                    <a:pt x="147" y="183"/>
                  </a:lnTo>
                  <a:lnTo>
                    <a:pt x="147" y="186"/>
                  </a:lnTo>
                  <a:lnTo>
                    <a:pt x="149" y="186"/>
                  </a:lnTo>
                  <a:lnTo>
                    <a:pt x="149" y="187"/>
                  </a:lnTo>
                  <a:lnTo>
                    <a:pt x="150" y="188"/>
                  </a:lnTo>
                  <a:lnTo>
                    <a:pt x="151" y="186"/>
                  </a:lnTo>
                  <a:lnTo>
                    <a:pt x="152" y="184"/>
                  </a:lnTo>
                  <a:lnTo>
                    <a:pt x="153" y="183"/>
                  </a:lnTo>
                  <a:lnTo>
                    <a:pt x="155" y="183"/>
                  </a:lnTo>
                  <a:lnTo>
                    <a:pt x="157" y="183"/>
                  </a:lnTo>
                  <a:lnTo>
                    <a:pt x="157" y="182"/>
                  </a:lnTo>
                  <a:lnTo>
                    <a:pt x="159" y="182"/>
                  </a:lnTo>
                  <a:lnTo>
                    <a:pt x="161" y="183"/>
                  </a:lnTo>
                  <a:lnTo>
                    <a:pt x="161" y="182"/>
                  </a:lnTo>
                  <a:lnTo>
                    <a:pt x="159" y="181"/>
                  </a:lnTo>
                  <a:lnTo>
                    <a:pt x="158" y="180"/>
                  </a:lnTo>
                  <a:lnTo>
                    <a:pt x="158" y="178"/>
                  </a:lnTo>
                  <a:lnTo>
                    <a:pt x="159" y="178"/>
                  </a:lnTo>
                  <a:lnTo>
                    <a:pt x="162" y="178"/>
                  </a:lnTo>
                  <a:lnTo>
                    <a:pt x="163" y="177"/>
                  </a:lnTo>
                  <a:lnTo>
                    <a:pt x="162" y="176"/>
                  </a:lnTo>
                  <a:lnTo>
                    <a:pt x="159" y="176"/>
                  </a:lnTo>
                  <a:lnTo>
                    <a:pt x="158" y="175"/>
                  </a:lnTo>
                  <a:lnTo>
                    <a:pt x="157" y="176"/>
                  </a:lnTo>
                  <a:lnTo>
                    <a:pt x="158" y="176"/>
                  </a:lnTo>
                  <a:lnTo>
                    <a:pt x="157" y="176"/>
                  </a:lnTo>
                  <a:lnTo>
                    <a:pt x="155" y="175"/>
                  </a:lnTo>
                  <a:lnTo>
                    <a:pt x="155" y="176"/>
                  </a:lnTo>
                  <a:lnTo>
                    <a:pt x="153" y="177"/>
                  </a:lnTo>
                  <a:lnTo>
                    <a:pt x="153" y="178"/>
                  </a:lnTo>
                  <a:lnTo>
                    <a:pt x="152" y="178"/>
                  </a:lnTo>
                  <a:lnTo>
                    <a:pt x="151" y="178"/>
                  </a:lnTo>
                  <a:lnTo>
                    <a:pt x="150" y="178"/>
                  </a:lnTo>
                  <a:lnTo>
                    <a:pt x="149" y="180"/>
                  </a:lnTo>
                  <a:lnTo>
                    <a:pt x="147" y="180"/>
                  </a:lnTo>
                  <a:lnTo>
                    <a:pt x="147" y="178"/>
                  </a:lnTo>
                  <a:lnTo>
                    <a:pt x="146" y="177"/>
                  </a:lnTo>
                  <a:lnTo>
                    <a:pt x="145" y="177"/>
                  </a:lnTo>
                  <a:lnTo>
                    <a:pt x="144" y="176"/>
                  </a:lnTo>
                  <a:lnTo>
                    <a:pt x="144" y="177"/>
                  </a:lnTo>
                  <a:lnTo>
                    <a:pt x="143" y="178"/>
                  </a:lnTo>
                  <a:lnTo>
                    <a:pt x="143" y="180"/>
                  </a:lnTo>
                  <a:lnTo>
                    <a:pt x="141" y="178"/>
                  </a:lnTo>
                  <a:lnTo>
                    <a:pt x="138" y="178"/>
                  </a:lnTo>
                  <a:lnTo>
                    <a:pt x="138" y="180"/>
                  </a:lnTo>
                  <a:lnTo>
                    <a:pt x="138" y="181"/>
                  </a:lnTo>
                  <a:lnTo>
                    <a:pt x="138" y="182"/>
                  </a:lnTo>
                  <a:lnTo>
                    <a:pt x="137" y="182"/>
                  </a:lnTo>
                  <a:lnTo>
                    <a:pt x="135" y="181"/>
                  </a:lnTo>
                  <a:lnTo>
                    <a:pt x="134" y="180"/>
                  </a:lnTo>
                  <a:lnTo>
                    <a:pt x="133" y="180"/>
                  </a:lnTo>
                  <a:lnTo>
                    <a:pt x="132" y="180"/>
                  </a:lnTo>
                  <a:lnTo>
                    <a:pt x="132" y="182"/>
                  </a:lnTo>
                  <a:lnTo>
                    <a:pt x="130" y="182"/>
                  </a:lnTo>
                  <a:lnTo>
                    <a:pt x="130" y="181"/>
                  </a:lnTo>
                  <a:lnTo>
                    <a:pt x="129" y="180"/>
                  </a:lnTo>
                  <a:lnTo>
                    <a:pt x="128" y="181"/>
                  </a:lnTo>
                  <a:lnTo>
                    <a:pt x="127" y="181"/>
                  </a:lnTo>
                  <a:lnTo>
                    <a:pt x="126" y="181"/>
                  </a:lnTo>
                  <a:lnTo>
                    <a:pt x="124" y="181"/>
                  </a:lnTo>
                  <a:lnTo>
                    <a:pt x="124" y="180"/>
                  </a:lnTo>
                  <a:lnTo>
                    <a:pt x="126" y="178"/>
                  </a:lnTo>
                  <a:lnTo>
                    <a:pt x="126" y="177"/>
                  </a:lnTo>
                  <a:lnTo>
                    <a:pt x="124" y="177"/>
                  </a:lnTo>
                  <a:lnTo>
                    <a:pt x="126" y="177"/>
                  </a:lnTo>
                  <a:lnTo>
                    <a:pt x="127" y="176"/>
                  </a:lnTo>
                  <a:lnTo>
                    <a:pt x="126" y="175"/>
                  </a:lnTo>
                  <a:lnTo>
                    <a:pt x="126" y="172"/>
                  </a:lnTo>
                  <a:lnTo>
                    <a:pt x="127" y="172"/>
                  </a:lnTo>
                  <a:lnTo>
                    <a:pt x="129" y="174"/>
                  </a:lnTo>
                  <a:lnTo>
                    <a:pt x="130" y="172"/>
                  </a:lnTo>
                  <a:lnTo>
                    <a:pt x="129" y="170"/>
                  </a:lnTo>
                  <a:lnTo>
                    <a:pt x="132" y="170"/>
                  </a:lnTo>
                  <a:lnTo>
                    <a:pt x="132" y="169"/>
                  </a:lnTo>
                  <a:lnTo>
                    <a:pt x="130" y="166"/>
                  </a:lnTo>
                  <a:lnTo>
                    <a:pt x="133" y="166"/>
                  </a:lnTo>
                  <a:lnTo>
                    <a:pt x="135" y="166"/>
                  </a:lnTo>
                  <a:lnTo>
                    <a:pt x="137" y="164"/>
                  </a:lnTo>
                  <a:lnTo>
                    <a:pt x="137" y="163"/>
                  </a:lnTo>
                  <a:lnTo>
                    <a:pt x="137" y="160"/>
                  </a:lnTo>
                  <a:lnTo>
                    <a:pt x="135" y="160"/>
                  </a:lnTo>
                  <a:lnTo>
                    <a:pt x="134" y="162"/>
                  </a:lnTo>
                  <a:lnTo>
                    <a:pt x="132" y="163"/>
                  </a:lnTo>
                  <a:lnTo>
                    <a:pt x="130" y="163"/>
                  </a:lnTo>
                  <a:lnTo>
                    <a:pt x="129" y="163"/>
                  </a:lnTo>
                  <a:lnTo>
                    <a:pt x="129" y="162"/>
                  </a:lnTo>
                  <a:lnTo>
                    <a:pt x="128" y="162"/>
                  </a:lnTo>
                  <a:lnTo>
                    <a:pt x="127" y="164"/>
                  </a:lnTo>
                  <a:lnTo>
                    <a:pt x="126" y="164"/>
                  </a:lnTo>
                  <a:lnTo>
                    <a:pt x="126" y="163"/>
                  </a:lnTo>
                  <a:lnTo>
                    <a:pt x="124" y="163"/>
                  </a:lnTo>
                  <a:lnTo>
                    <a:pt x="123" y="163"/>
                  </a:lnTo>
                  <a:lnTo>
                    <a:pt x="123" y="162"/>
                  </a:lnTo>
                  <a:lnTo>
                    <a:pt x="123" y="159"/>
                  </a:lnTo>
                  <a:lnTo>
                    <a:pt x="122" y="158"/>
                  </a:lnTo>
                  <a:lnTo>
                    <a:pt x="123" y="157"/>
                  </a:lnTo>
                  <a:lnTo>
                    <a:pt x="123" y="156"/>
                  </a:lnTo>
                  <a:lnTo>
                    <a:pt x="126" y="154"/>
                  </a:lnTo>
                  <a:lnTo>
                    <a:pt x="124" y="153"/>
                  </a:lnTo>
                  <a:lnTo>
                    <a:pt x="124" y="152"/>
                  </a:lnTo>
                  <a:lnTo>
                    <a:pt x="126" y="151"/>
                  </a:lnTo>
                  <a:lnTo>
                    <a:pt x="128" y="152"/>
                  </a:lnTo>
                  <a:lnTo>
                    <a:pt x="128" y="151"/>
                  </a:lnTo>
                  <a:lnTo>
                    <a:pt x="128" y="148"/>
                  </a:lnTo>
                  <a:lnTo>
                    <a:pt x="129" y="150"/>
                  </a:lnTo>
                  <a:lnTo>
                    <a:pt x="130" y="148"/>
                  </a:lnTo>
                  <a:lnTo>
                    <a:pt x="132" y="147"/>
                  </a:lnTo>
                  <a:lnTo>
                    <a:pt x="132" y="148"/>
                  </a:lnTo>
                  <a:lnTo>
                    <a:pt x="133" y="150"/>
                  </a:lnTo>
                  <a:lnTo>
                    <a:pt x="133" y="148"/>
                  </a:lnTo>
                  <a:lnTo>
                    <a:pt x="134" y="147"/>
                  </a:lnTo>
                  <a:lnTo>
                    <a:pt x="134" y="150"/>
                  </a:lnTo>
                  <a:lnTo>
                    <a:pt x="135" y="151"/>
                  </a:lnTo>
                  <a:lnTo>
                    <a:pt x="137" y="151"/>
                  </a:lnTo>
                  <a:lnTo>
                    <a:pt x="138" y="152"/>
                  </a:lnTo>
                  <a:lnTo>
                    <a:pt x="139" y="152"/>
                  </a:lnTo>
                  <a:lnTo>
                    <a:pt x="139" y="153"/>
                  </a:lnTo>
                  <a:lnTo>
                    <a:pt x="140" y="153"/>
                  </a:lnTo>
                  <a:lnTo>
                    <a:pt x="141" y="153"/>
                  </a:lnTo>
                  <a:lnTo>
                    <a:pt x="143" y="153"/>
                  </a:lnTo>
                  <a:lnTo>
                    <a:pt x="143" y="152"/>
                  </a:lnTo>
                  <a:lnTo>
                    <a:pt x="141" y="150"/>
                  </a:lnTo>
                  <a:lnTo>
                    <a:pt x="143" y="151"/>
                  </a:lnTo>
                  <a:lnTo>
                    <a:pt x="144" y="152"/>
                  </a:lnTo>
                  <a:lnTo>
                    <a:pt x="145" y="152"/>
                  </a:lnTo>
                  <a:lnTo>
                    <a:pt x="147" y="152"/>
                  </a:lnTo>
                  <a:lnTo>
                    <a:pt x="146" y="151"/>
                  </a:lnTo>
                  <a:lnTo>
                    <a:pt x="145" y="148"/>
                  </a:lnTo>
                  <a:lnTo>
                    <a:pt x="144" y="150"/>
                  </a:lnTo>
                  <a:lnTo>
                    <a:pt x="144" y="147"/>
                  </a:lnTo>
                  <a:lnTo>
                    <a:pt x="145" y="147"/>
                  </a:lnTo>
                  <a:lnTo>
                    <a:pt x="144" y="146"/>
                  </a:lnTo>
                  <a:lnTo>
                    <a:pt x="140" y="146"/>
                  </a:lnTo>
                  <a:lnTo>
                    <a:pt x="141" y="145"/>
                  </a:lnTo>
                  <a:lnTo>
                    <a:pt x="143" y="143"/>
                  </a:lnTo>
                  <a:lnTo>
                    <a:pt x="141" y="142"/>
                  </a:lnTo>
                  <a:lnTo>
                    <a:pt x="140" y="141"/>
                  </a:lnTo>
                  <a:lnTo>
                    <a:pt x="140" y="142"/>
                  </a:lnTo>
                  <a:lnTo>
                    <a:pt x="138" y="143"/>
                  </a:lnTo>
                  <a:lnTo>
                    <a:pt x="138" y="141"/>
                  </a:lnTo>
                  <a:lnTo>
                    <a:pt x="138" y="140"/>
                  </a:lnTo>
                  <a:lnTo>
                    <a:pt x="138" y="139"/>
                  </a:lnTo>
                  <a:lnTo>
                    <a:pt x="140" y="139"/>
                  </a:lnTo>
                  <a:lnTo>
                    <a:pt x="141" y="139"/>
                  </a:lnTo>
                  <a:lnTo>
                    <a:pt x="141" y="137"/>
                  </a:lnTo>
                  <a:lnTo>
                    <a:pt x="140" y="136"/>
                  </a:lnTo>
                  <a:lnTo>
                    <a:pt x="141" y="136"/>
                  </a:lnTo>
                  <a:lnTo>
                    <a:pt x="140" y="134"/>
                  </a:lnTo>
                  <a:lnTo>
                    <a:pt x="139" y="136"/>
                  </a:lnTo>
                  <a:lnTo>
                    <a:pt x="138" y="135"/>
                  </a:lnTo>
                  <a:lnTo>
                    <a:pt x="137" y="136"/>
                  </a:lnTo>
                  <a:lnTo>
                    <a:pt x="135" y="139"/>
                  </a:lnTo>
                  <a:lnTo>
                    <a:pt x="135" y="140"/>
                  </a:lnTo>
                  <a:lnTo>
                    <a:pt x="134" y="141"/>
                  </a:lnTo>
                  <a:lnTo>
                    <a:pt x="133" y="141"/>
                  </a:lnTo>
                  <a:lnTo>
                    <a:pt x="134" y="139"/>
                  </a:lnTo>
                  <a:lnTo>
                    <a:pt x="133" y="139"/>
                  </a:lnTo>
                  <a:lnTo>
                    <a:pt x="135" y="137"/>
                  </a:lnTo>
                  <a:lnTo>
                    <a:pt x="135" y="136"/>
                  </a:lnTo>
                  <a:lnTo>
                    <a:pt x="135" y="135"/>
                  </a:lnTo>
                  <a:lnTo>
                    <a:pt x="135" y="134"/>
                  </a:lnTo>
                  <a:lnTo>
                    <a:pt x="135" y="133"/>
                  </a:lnTo>
                  <a:lnTo>
                    <a:pt x="137" y="131"/>
                  </a:lnTo>
                  <a:lnTo>
                    <a:pt x="138" y="131"/>
                  </a:lnTo>
                  <a:lnTo>
                    <a:pt x="137" y="130"/>
                  </a:lnTo>
                  <a:lnTo>
                    <a:pt x="135" y="130"/>
                  </a:lnTo>
                  <a:lnTo>
                    <a:pt x="135" y="127"/>
                  </a:lnTo>
                  <a:lnTo>
                    <a:pt x="137" y="128"/>
                  </a:lnTo>
                  <a:lnTo>
                    <a:pt x="138" y="129"/>
                  </a:lnTo>
                  <a:lnTo>
                    <a:pt x="138" y="128"/>
                  </a:lnTo>
                  <a:lnTo>
                    <a:pt x="137" y="125"/>
                  </a:lnTo>
                  <a:lnTo>
                    <a:pt x="135" y="123"/>
                  </a:lnTo>
                  <a:lnTo>
                    <a:pt x="134" y="123"/>
                  </a:lnTo>
                  <a:lnTo>
                    <a:pt x="133" y="124"/>
                  </a:lnTo>
                  <a:lnTo>
                    <a:pt x="133" y="125"/>
                  </a:lnTo>
                  <a:lnTo>
                    <a:pt x="130" y="124"/>
                  </a:lnTo>
                  <a:lnTo>
                    <a:pt x="132" y="124"/>
                  </a:lnTo>
                  <a:lnTo>
                    <a:pt x="130" y="124"/>
                  </a:lnTo>
                  <a:lnTo>
                    <a:pt x="128" y="124"/>
                  </a:lnTo>
                  <a:lnTo>
                    <a:pt x="128" y="123"/>
                  </a:lnTo>
                  <a:lnTo>
                    <a:pt x="129" y="122"/>
                  </a:lnTo>
                  <a:lnTo>
                    <a:pt x="130" y="121"/>
                  </a:lnTo>
                  <a:lnTo>
                    <a:pt x="132" y="121"/>
                  </a:lnTo>
                  <a:lnTo>
                    <a:pt x="133" y="119"/>
                  </a:lnTo>
                  <a:lnTo>
                    <a:pt x="133" y="118"/>
                  </a:lnTo>
                  <a:lnTo>
                    <a:pt x="130" y="119"/>
                  </a:lnTo>
                  <a:lnTo>
                    <a:pt x="128" y="121"/>
                  </a:lnTo>
                  <a:lnTo>
                    <a:pt x="129" y="119"/>
                  </a:lnTo>
                  <a:lnTo>
                    <a:pt x="130" y="118"/>
                  </a:lnTo>
                  <a:lnTo>
                    <a:pt x="133" y="117"/>
                  </a:lnTo>
                  <a:lnTo>
                    <a:pt x="132" y="116"/>
                  </a:lnTo>
                  <a:lnTo>
                    <a:pt x="128" y="116"/>
                  </a:lnTo>
                  <a:lnTo>
                    <a:pt x="127" y="116"/>
                  </a:lnTo>
                  <a:lnTo>
                    <a:pt x="127" y="115"/>
                  </a:lnTo>
                  <a:lnTo>
                    <a:pt x="129" y="115"/>
                  </a:lnTo>
                  <a:lnTo>
                    <a:pt x="132" y="115"/>
                  </a:lnTo>
                  <a:lnTo>
                    <a:pt x="130" y="113"/>
                  </a:lnTo>
                  <a:lnTo>
                    <a:pt x="130" y="111"/>
                  </a:lnTo>
                  <a:lnTo>
                    <a:pt x="129" y="110"/>
                  </a:lnTo>
                  <a:lnTo>
                    <a:pt x="130" y="110"/>
                  </a:lnTo>
                  <a:lnTo>
                    <a:pt x="132" y="111"/>
                  </a:lnTo>
                  <a:lnTo>
                    <a:pt x="133" y="112"/>
                  </a:lnTo>
                  <a:lnTo>
                    <a:pt x="134" y="111"/>
                  </a:lnTo>
                  <a:lnTo>
                    <a:pt x="133" y="110"/>
                  </a:lnTo>
                  <a:lnTo>
                    <a:pt x="134" y="110"/>
                  </a:lnTo>
                  <a:lnTo>
                    <a:pt x="135" y="111"/>
                  </a:lnTo>
                  <a:lnTo>
                    <a:pt x="137" y="112"/>
                  </a:lnTo>
                  <a:lnTo>
                    <a:pt x="135" y="110"/>
                  </a:lnTo>
                  <a:lnTo>
                    <a:pt x="135" y="109"/>
                  </a:lnTo>
                  <a:lnTo>
                    <a:pt x="137" y="109"/>
                  </a:lnTo>
                  <a:lnTo>
                    <a:pt x="138" y="109"/>
                  </a:lnTo>
                  <a:lnTo>
                    <a:pt x="137" y="111"/>
                  </a:lnTo>
                  <a:lnTo>
                    <a:pt x="137" y="112"/>
                  </a:lnTo>
                  <a:lnTo>
                    <a:pt x="138" y="112"/>
                  </a:lnTo>
                  <a:lnTo>
                    <a:pt x="140" y="111"/>
                  </a:lnTo>
                  <a:lnTo>
                    <a:pt x="141" y="112"/>
                  </a:lnTo>
                  <a:lnTo>
                    <a:pt x="140" y="112"/>
                  </a:lnTo>
                  <a:lnTo>
                    <a:pt x="139" y="113"/>
                  </a:lnTo>
                  <a:lnTo>
                    <a:pt x="139" y="115"/>
                  </a:lnTo>
                  <a:lnTo>
                    <a:pt x="140" y="115"/>
                  </a:lnTo>
                  <a:lnTo>
                    <a:pt x="139" y="117"/>
                  </a:lnTo>
                  <a:lnTo>
                    <a:pt x="140" y="117"/>
                  </a:lnTo>
                  <a:lnTo>
                    <a:pt x="143" y="118"/>
                  </a:lnTo>
                  <a:lnTo>
                    <a:pt x="144" y="118"/>
                  </a:lnTo>
                  <a:lnTo>
                    <a:pt x="145" y="118"/>
                  </a:lnTo>
                  <a:lnTo>
                    <a:pt x="143" y="119"/>
                  </a:lnTo>
                  <a:lnTo>
                    <a:pt x="144" y="121"/>
                  </a:lnTo>
                  <a:lnTo>
                    <a:pt x="145" y="122"/>
                  </a:lnTo>
                  <a:lnTo>
                    <a:pt x="146" y="123"/>
                  </a:lnTo>
                  <a:lnTo>
                    <a:pt x="146" y="121"/>
                  </a:lnTo>
                  <a:lnTo>
                    <a:pt x="146" y="118"/>
                  </a:lnTo>
                  <a:lnTo>
                    <a:pt x="147" y="118"/>
                  </a:lnTo>
                  <a:lnTo>
                    <a:pt x="147" y="116"/>
                  </a:lnTo>
                  <a:lnTo>
                    <a:pt x="149" y="116"/>
                  </a:lnTo>
                  <a:lnTo>
                    <a:pt x="149" y="117"/>
                  </a:lnTo>
                  <a:lnTo>
                    <a:pt x="150" y="118"/>
                  </a:lnTo>
                  <a:lnTo>
                    <a:pt x="149" y="121"/>
                  </a:lnTo>
                  <a:lnTo>
                    <a:pt x="151" y="123"/>
                  </a:lnTo>
                  <a:lnTo>
                    <a:pt x="151" y="121"/>
                  </a:lnTo>
                  <a:lnTo>
                    <a:pt x="151" y="118"/>
                  </a:lnTo>
                  <a:lnTo>
                    <a:pt x="152" y="117"/>
                  </a:lnTo>
                  <a:lnTo>
                    <a:pt x="152" y="116"/>
                  </a:lnTo>
                  <a:lnTo>
                    <a:pt x="153" y="115"/>
                  </a:lnTo>
                  <a:lnTo>
                    <a:pt x="157" y="115"/>
                  </a:lnTo>
                  <a:lnTo>
                    <a:pt x="157" y="116"/>
                  </a:lnTo>
                  <a:lnTo>
                    <a:pt x="157" y="117"/>
                  </a:lnTo>
                  <a:lnTo>
                    <a:pt x="158" y="118"/>
                  </a:lnTo>
                  <a:lnTo>
                    <a:pt x="159" y="119"/>
                  </a:lnTo>
                  <a:lnTo>
                    <a:pt x="158" y="121"/>
                  </a:lnTo>
                  <a:lnTo>
                    <a:pt x="158" y="122"/>
                  </a:lnTo>
                  <a:lnTo>
                    <a:pt x="158" y="123"/>
                  </a:lnTo>
                  <a:lnTo>
                    <a:pt x="161" y="122"/>
                  </a:lnTo>
                  <a:lnTo>
                    <a:pt x="162" y="122"/>
                  </a:lnTo>
                  <a:lnTo>
                    <a:pt x="162" y="124"/>
                  </a:lnTo>
                  <a:lnTo>
                    <a:pt x="163" y="124"/>
                  </a:lnTo>
                  <a:lnTo>
                    <a:pt x="164" y="125"/>
                  </a:lnTo>
                  <a:lnTo>
                    <a:pt x="165" y="127"/>
                  </a:lnTo>
                  <a:lnTo>
                    <a:pt x="167" y="127"/>
                  </a:lnTo>
                  <a:lnTo>
                    <a:pt x="169" y="128"/>
                  </a:lnTo>
                  <a:lnTo>
                    <a:pt x="169" y="127"/>
                  </a:lnTo>
                  <a:lnTo>
                    <a:pt x="168" y="124"/>
                  </a:lnTo>
                  <a:lnTo>
                    <a:pt x="167" y="124"/>
                  </a:lnTo>
                  <a:lnTo>
                    <a:pt x="165" y="123"/>
                  </a:lnTo>
                  <a:lnTo>
                    <a:pt x="165" y="122"/>
                  </a:lnTo>
                  <a:lnTo>
                    <a:pt x="164" y="119"/>
                  </a:lnTo>
                  <a:lnTo>
                    <a:pt x="164" y="118"/>
                  </a:lnTo>
                  <a:lnTo>
                    <a:pt x="165" y="117"/>
                  </a:lnTo>
                  <a:lnTo>
                    <a:pt x="165" y="116"/>
                  </a:lnTo>
                  <a:lnTo>
                    <a:pt x="165" y="112"/>
                  </a:lnTo>
                  <a:lnTo>
                    <a:pt x="165" y="111"/>
                  </a:lnTo>
                  <a:lnTo>
                    <a:pt x="165" y="112"/>
                  </a:lnTo>
                  <a:lnTo>
                    <a:pt x="167" y="116"/>
                  </a:lnTo>
                  <a:lnTo>
                    <a:pt x="167" y="117"/>
                  </a:lnTo>
                  <a:lnTo>
                    <a:pt x="168" y="116"/>
                  </a:lnTo>
                  <a:lnTo>
                    <a:pt x="169" y="116"/>
                  </a:lnTo>
                  <a:lnTo>
                    <a:pt x="170" y="118"/>
                  </a:lnTo>
                  <a:lnTo>
                    <a:pt x="171" y="118"/>
                  </a:lnTo>
                  <a:lnTo>
                    <a:pt x="173" y="118"/>
                  </a:lnTo>
                  <a:lnTo>
                    <a:pt x="174" y="117"/>
                  </a:lnTo>
                  <a:lnTo>
                    <a:pt x="174" y="116"/>
                  </a:lnTo>
                  <a:lnTo>
                    <a:pt x="174" y="115"/>
                  </a:lnTo>
                  <a:lnTo>
                    <a:pt x="173" y="115"/>
                  </a:lnTo>
                  <a:lnTo>
                    <a:pt x="173" y="113"/>
                  </a:lnTo>
                  <a:lnTo>
                    <a:pt x="171" y="109"/>
                  </a:lnTo>
                  <a:lnTo>
                    <a:pt x="170" y="111"/>
                  </a:lnTo>
                  <a:lnTo>
                    <a:pt x="169" y="110"/>
                  </a:lnTo>
                  <a:lnTo>
                    <a:pt x="168" y="110"/>
                  </a:lnTo>
                  <a:lnTo>
                    <a:pt x="168" y="109"/>
                  </a:lnTo>
                  <a:lnTo>
                    <a:pt x="167" y="110"/>
                  </a:lnTo>
                  <a:lnTo>
                    <a:pt x="165" y="110"/>
                  </a:lnTo>
                  <a:lnTo>
                    <a:pt x="165" y="109"/>
                  </a:lnTo>
                  <a:lnTo>
                    <a:pt x="168" y="106"/>
                  </a:lnTo>
                  <a:lnTo>
                    <a:pt x="167" y="105"/>
                  </a:lnTo>
                  <a:lnTo>
                    <a:pt x="165" y="105"/>
                  </a:lnTo>
                  <a:lnTo>
                    <a:pt x="164" y="106"/>
                  </a:lnTo>
                  <a:lnTo>
                    <a:pt x="163" y="109"/>
                  </a:lnTo>
                  <a:lnTo>
                    <a:pt x="161" y="109"/>
                  </a:lnTo>
                  <a:lnTo>
                    <a:pt x="162" y="107"/>
                  </a:lnTo>
                  <a:lnTo>
                    <a:pt x="163" y="105"/>
                  </a:lnTo>
                  <a:lnTo>
                    <a:pt x="164" y="104"/>
                  </a:lnTo>
                  <a:lnTo>
                    <a:pt x="164" y="103"/>
                  </a:lnTo>
                  <a:lnTo>
                    <a:pt x="162" y="101"/>
                  </a:lnTo>
                  <a:lnTo>
                    <a:pt x="163" y="100"/>
                  </a:lnTo>
                  <a:lnTo>
                    <a:pt x="164" y="99"/>
                  </a:lnTo>
                  <a:lnTo>
                    <a:pt x="165" y="99"/>
                  </a:lnTo>
                  <a:lnTo>
                    <a:pt x="167" y="98"/>
                  </a:lnTo>
                  <a:lnTo>
                    <a:pt x="168" y="95"/>
                  </a:lnTo>
                  <a:lnTo>
                    <a:pt x="169" y="95"/>
                  </a:lnTo>
                  <a:lnTo>
                    <a:pt x="169" y="93"/>
                  </a:lnTo>
                  <a:lnTo>
                    <a:pt x="170" y="92"/>
                  </a:lnTo>
                  <a:lnTo>
                    <a:pt x="170" y="89"/>
                  </a:lnTo>
                  <a:lnTo>
                    <a:pt x="169" y="89"/>
                  </a:lnTo>
                  <a:lnTo>
                    <a:pt x="168" y="88"/>
                  </a:lnTo>
                  <a:lnTo>
                    <a:pt x="168" y="87"/>
                  </a:lnTo>
                  <a:lnTo>
                    <a:pt x="168" y="86"/>
                  </a:lnTo>
                  <a:lnTo>
                    <a:pt x="169" y="85"/>
                  </a:lnTo>
                  <a:lnTo>
                    <a:pt x="167" y="85"/>
                  </a:lnTo>
                  <a:lnTo>
                    <a:pt x="165" y="86"/>
                  </a:lnTo>
                  <a:lnTo>
                    <a:pt x="164" y="85"/>
                  </a:lnTo>
                  <a:lnTo>
                    <a:pt x="167" y="83"/>
                  </a:lnTo>
                  <a:lnTo>
                    <a:pt x="167" y="82"/>
                  </a:lnTo>
                  <a:lnTo>
                    <a:pt x="167" y="81"/>
                  </a:lnTo>
                  <a:lnTo>
                    <a:pt x="165" y="79"/>
                  </a:lnTo>
                  <a:lnTo>
                    <a:pt x="164" y="79"/>
                  </a:lnTo>
                  <a:lnTo>
                    <a:pt x="164" y="76"/>
                  </a:lnTo>
                  <a:lnTo>
                    <a:pt x="165" y="76"/>
                  </a:lnTo>
                  <a:lnTo>
                    <a:pt x="165" y="75"/>
                  </a:lnTo>
                  <a:lnTo>
                    <a:pt x="165" y="74"/>
                  </a:lnTo>
                  <a:lnTo>
                    <a:pt x="167" y="73"/>
                  </a:lnTo>
                  <a:lnTo>
                    <a:pt x="168" y="70"/>
                  </a:lnTo>
                  <a:lnTo>
                    <a:pt x="169" y="69"/>
                  </a:lnTo>
                  <a:lnTo>
                    <a:pt x="167" y="74"/>
                  </a:lnTo>
                  <a:lnTo>
                    <a:pt x="168" y="75"/>
                  </a:lnTo>
                  <a:lnTo>
                    <a:pt x="169" y="74"/>
                  </a:lnTo>
                  <a:lnTo>
                    <a:pt x="170" y="74"/>
                  </a:lnTo>
                  <a:lnTo>
                    <a:pt x="169" y="76"/>
                  </a:lnTo>
                  <a:lnTo>
                    <a:pt x="170" y="76"/>
                  </a:lnTo>
                  <a:lnTo>
                    <a:pt x="173" y="76"/>
                  </a:lnTo>
                  <a:lnTo>
                    <a:pt x="173" y="77"/>
                  </a:lnTo>
                  <a:lnTo>
                    <a:pt x="175" y="77"/>
                  </a:lnTo>
                  <a:lnTo>
                    <a:pt x="174" y="80"/>
                  </a:lnTo>
                  <a:lnTo>
                    <a:pt x="176" y="80"/>
                  </a:lnTo>
                  <a:lnTo>
                    <a:pt x="177" y="81"/>
                  </a:lnTo>
                  <a:lnTo>
                    <a:pt x="179" y="82"/>
                  </a:lnTo>
                  <a:lnTo>
                    <a:pt x="181" y="82"/>
                  </a:lnTo>
                  <a:lnTo>
                    <a:pt x="179" y="83"/>
                  </a:lnTo>
                  <a:lnTo>
                    <a:pt x="180" y="85"/>
                  </a:lnTo>
                  <a:lnTo>
                    <a:pt x="181" y="85"/>
                  </a:lnTo>
                  <a:lnTo>
                    <a:pt x="182" y="85"/>
                  </a:lnTo>
                  <a:lnTo>
                    <a:pt x="182" y="83"/>
                  </a:lnTo>
                  <a:lnTo>
                    <a:pt x="185" y="82"/>
                  </a:lnTo>
                  <a:lnTo>
                    <a:pt x="186" y="82"/>
                  </a:lnTo>
                  <a:lnTo>
                    <a:pt x="187" y="81"/>
                  </a:lnTo>
                  <a:lnTo>
                    <a:pt x="189" y="81"/>
                  </a:lnTo>
                  <a:lnTo>
                    <a:pt x="191" y="80"/>
                  </a:lnTo>
                  <a:lnTo>
                    <a:pt x="192" y="80"/>
                  </a:lnTo>
                  <a:lnTo>
                    <a:pt x="193" y="81"/>
                  </a:lnTo>
                  <a:lnTo>
                    <a:pt x="197" y="81"/>
                  </a:lnTo>
                  <a:lnTo>
                    <a:pt x="198" y="82"/>
                  </a:lnTo>
                  <a:lnTo>
                    <a:pt x="196" y="83"/>
                  </a:lnTo>
                  <a:lnTo>
                    <a:pt x="194" y="83"/>
                  </a:lnTo>
                  <a:lnTo>
                    <a:pt x="193" y="83"/>
                  </a:lnTo>
                  <a:lnTo>
                    <a:pt x="192" y="85"/>
                  </a:lnTo>
                  <a:lnTo>
                    <a:pt x="193" y="86"/>
                  </a:lnTo>
                  <a:lnTo>
                    <a:pt x="193" y="88"/>
                  </a:lnTo>
                  <a:lnTo>
                    <a:pt x="193" y="89"/>
                  </a:lnTo>
                  <a:lnTo>
                    <a:pt x="196" y="89"/>
                  </a:lnTo>
                  <a:lnTo>
                    <a:pt x="197" y="87"/>
                  </a:lnTo>
                  <a:lnTo>
                    <a:pt x="198" y="85"/>
                  </a:lnTo>
                  <a:lnTo>
                    <a:pt x="199" y="83"/>
                  </a:lnTo>
                  <a:lnTo>
                    <a:pt x="200" y="82"/>
                  </a:lnTo>
                  <a:lnTo>
                    <a:pt x="200" y="81"/>
                  </a:lnTo>
                  <a:lnTo>
                    <a:pt x="198" y="80"/>
                  </a:lnTo>
                  <a:lnTo>
                    <a:pt x="194" y="79"/>
                  </a:lnTo>
                  <a:lnTo>
                    <a:pt x="193" y="79"/>
                  </a:lnTo>
                  <a:lnTo>
                    <a:pt x="193" y="77"/>
                  </a:lnTo>
                  <a:lnTo>
                    <a:pt x="192" y="76"/>
                  </a:lnTo>
                  <a:lnTo>
                    <a:pt x="191" y="76"/>
                  </a:lnTo>
                  <a:lnTo>
                    <a:pt x="191" y="77"/>
                  </a:lnTo>
                  <a:lnTo>
                    <a:pt x="191" y="79"/>
                  </a:lnTo>
                  <a:lnTo>
                    <a:pt x="189" y="79"/>
                  </a:lnTo>
                  <a:lnTo>
                    <a:pt x="188" y="80"/>
                  </a:lnTo>
                  <a:lnTo>
                    <a:pt x="187" y="80"/>
                  </a:lnTo>
                  <a:lnTo>
                    <a:pt x="187" y="77"/>
                  </a:lnTo>
                  <a:lnTo>
                    <a:pt x="188" y="76"/>
                  </a:lnTo>
                  <a:lnTo>
                    <a:pt x="188" y="75"/>
                  </a:lnTo>
                  <a:lnTo>
                    <a:pt x="187" y="76"/>
                  </a:lnTo>
                  <a:lnTo>
                    <a:pt x="186" y="77"/>
                  </a:lnTo>
                  <a:lnTo>
                    <a:pt x="185" y="79"/>
                  </a:lnTo>
                  <a:lnTo>
                    <a:pt x="183" y="77"/>
                  </a:lnTo>
                  <a:lnTo>
                    <a:pt x="183" y="76"/>
                  </a:lnTo>
                  <a:lnTo>
                    <a:pt x="185" y="75"/>
                  </a:lnTo>
                  <a:lnTo>
                    <a:pt x="182" y="76"/>
                  </a:lnTo>
                  <a:lnTo>
                    <a:pt x="182" y="75"/>
                  </a:lnTo>
                  <a:lnTo>
                    <a:pt x="182" y="74"/>
                  </a:lnTo>
                  <a:lnTo>
                    <a:pt x="183" y="73"/>
                  </a:lnTo>
                  <a:lnTo>
                    <a:pt x="182" y="71"/>
                  </a:lnTo>
                  <a:lnTo>
                    <a:pt x="181" y="71"/>
                  </a:lnTo>
                  <a:lnTo>
                    <a:pt x="180" y="71"/>
                  </a:lnTo>
                  <a:lnTo>
                    <a:pt x="181" y="70"/>
                  </a:lnTo>
                  <a:lnTo>
                    <a:pt x="179" y="70"/>
                  </a:lnTo>
                  <a:lnTo>
                    <a:pt x="180" y="69"/>
                  </a:lnTo>
                  <a:lnTo>
                    <a:pt x="181" y="68"/>
                  </a:lnTo>
                  <a:lnTo>
                    <a:pt x="179" y="65"/>
                  </a:lnTo>
                  <a:lnTo>
                    <a:pt x="181" y="65"/>
                  </a:lnTo>
                  <a:lnTo>
                    <a:pt x="182" y="65"/>
                  </a:lnTo>
                  <a:lnTo>
                    <a:pt x="183" y="64"/>
                  </a:lnTo>
                  <a:lnTo>
                    <a:pt x="185" y="65"/>
                  </a:lnTo>
                  <a:lnTo>
                    <a:pt x="186" y="64"/>
                  </a:lnTo>
                  <a:lnTo>
                    <a:pt x="187" y="64"/>
                  </a:lnTo>
                  <a:lnTo>
                    <a:pt x="187" y="65"/>
                  </a:lnTo>
                  <a:lnTo>
                    <a:pt x="188" y="65"/>
                  </a:lnTo>
                  <a:lnTo>
                    <a:pt x="188" y="67"/>
                  </a:lnTo>
                  <a:lnTo>
                    <a:pt x="191" y="67"/>
                  </a:lnTo>
                  <a:lnTo>
                    <a:pt x="192" y="68"/>
                  </a:lnTo>
                  <a:lnTo>
                    <a:pt x="192" y="69"/>
                  </a:lnTo>
                  <a:lnTo>
                    <a:pt x="193" y="69"/>
                  </a:lnTo>
                  <a:lnTo>
                    <a:pt x="194" y="70"/>
                  </a:lnTo>
                  <a:lnTo>
                    <a:pt x="196" y="71"/>
                  </a:lnTo>
                  <a:lnTo>
                    <a:pt x="197" y="71"/>
                  </a:lnTo>
                  <a:lnTo>
                    <a:pt x="197" y="70"/>
                  </a:lnTo>
                  <a:lnTo>
                    <a:pt x="198" y="69"/>
                  </a:lnTo>
                  <a:lnTo>
                    <a:pt x="198" y="68"/>
                  </a:lnTo>
                  <a:lnTo>
                    <a:pt x="196" y="69"/>
                  </a:lnTo>
                  <a:lnTo>
                    <a:pt x="197" y="68"/>
                  </a:lnTo>
                  <a:lnTo>
                    <a:pt x="197" y="67"/>
                  </a:lnTo>
                  <a:lnTo>
                    <a:pt x="196" y="65"/>
                  </a:lnTo>
                  <a:lnTo>
                    <a:pt x="196" y="64"/>
                  </a:lnTo>
                  <a:lnTo>
                    <a:pt x="197" y="65"/>
                  </a:lnTo>
                  <a:lnTo>
                    <a:pt x="198" y="64"/>
                  </a:lnTo>
                  <a:lnTo>
                    <a:pt x="199" y="63"/>
                  </a:lnTo>
                  <a:lnTo>
                    <a:pt x="200" y="62"/>
                  </a:lnTo>
                  <a:lnTo>
                    <a:pt x="200" y="61"/>
                  </a:lnTo>
                  <a:lnTo>
                    <a:pt x="199" y="62"/>
                  </a:lnTo>
                  <a:lnTo>
                    <a:pt x="198" y="63"/>
                  </a:lnTo>
                  <a:lnTo>
                    <a:pt x="198" y="62"/>
                  </a:lnTo>
                  <a:lnTo>
                    <a:pt x="198" y="58"/>
                  </a:lnTo>
                  <a:lnTo>
                    <a:pt x="199" y="58"/>
                  </a:lnTo>
                  <a:lnTo>
                    <a:pt x="200" y="59"/>
                  </a:lnTo>
                  <a:lnTo>
                    <a:pt x="202" y="59"/>
                  </a:lnTo>
                  <a:lnTo>
                    <a:pt x="199" y="57"/>
                  </a:lnTo>
                  <a:lnTo>
                    <a:pt x="199" y="56"/>
                  </a:lnTo>
                  <a:lnTo>
                    <a:pt x="199" y="55"/>
                  </a:lnTo>
                  <a:lnTo>
                    <a:pt x="200" y="56"/>
                  </a:lnTo>
                  <a:lnTo>
                    <a:pt x="202" y="56"/>
                  </a:lnTo>
                  <a:lnTo>
                    <a:pt x="203" y="55"/>
                  </a:lnTo>
                  <a:lnTo>
                    <a:pt x="204" y="57"/>
                  </a:lnTo>
                  <a:lnTo>
                    <a:pt x="205" y="56"/>
                  </a:lnTo>
                  <a:lnTo>
                    <a:pt x="205" y="57"/>
                  </a:lnTo>
                  <a:lnTo>
                    <a:pt x="205" y="55"/>
                  </a:lnTo>
                  <a:lnTo>
                    <a:pt x="208" y="55"/>
                  </a:lnTo>
                  <a:lnTo>
                    <a:pt x="209" y="56"/>
                  </a:lnTo>
                  <a:lnTo>
                    <a:pt x="209" y="53"/>
                  </a:lnTo>
                  <a:lnTo>
                    <a:pt x="209" y="52"/>
                  </a:lnTo>
                  <a:lnTo>
                    <a:pt x="210" y="51"/>
                  </a:lnTo>
                  <a:lnTo>
                    <a:pt x="211" y="51"/>
                  </a:lnTo>
                  <a:lnTo>
                    <a:pt x="210" y="50"/>
                  </a:lnTo>
                  <a:lnTo>
                    <a:pt x="209" y="47"/>
                  </a:lnTo>
                  <a:lnTo>
                    <a:pt x="210" y="47"/>
                  </a:lnTo>
                  <a:lnTo>
                    <a:pt x="211" y="50"/>
                  </a:lnTo>
                  <a:lnTo>
                    <a:pt x="212" y="51"/>
                  </a:lnTo>
                  <a:lnTo>
                    <a:pt x="214" y="52"/>
                  </a:lnTo>
                  <a:lnTo>
                    <a:pt x="214" y="50"/>
                  </a:lnTo>
                  <a:lnTo>
                    <a:pt x="214" y="47"/>
                  </a:lnTo>
                  <a:lnTo>
                    <a:pt x="214" y="45"/>
                  </a:lnTo>
                  <a:lnTo>
                    <a:pt x="215" y="45"/>
                  </a:lnTo>
                  <a:lnTo>
                    <a:pt x="217" y="46"/>
                  </a:lnTo>
                  <a:lnTo>
                    <a:pt x="218" y="46"/>
                  </a:lnTo>
                  <a:lnTo>
                    <a:pt x="217" y="47"/>
                  </a:lnTo>
                  <a:lnTo>
                    <a:pt x="216" y="50"/>
                  </a:lnTo>
                  <a:lnTo>
                    <a:pt x="215" y="51"/>
                  </a:lnTo>
                  <a:lnTo>
                    <a:pt x="215" y="52"/>
                  </a:lnTo>
                  <a:lnTo>
                    <a:pt x="216" y="53"/>
                  </a:lnTo>
                  <a:lnTo>
                    <a:pt x="217" y="53"/>
                  </a:lnTo>
                  <a:lnTo>
                    <a:pt x="217" y="55"/>
                  </a:lnTo>
                  <a:lnTo>
                    <a:pt x="217" y="56"/>
                  </a:lnTo>
                  <a:lnTo>
                    <a:pt x="220" y="56"/>
                  </a:lnTo>
                  <a:lnTo>
                    <a:pt x="221" y="56"/>
                  </a:lnTo>
                  <a:lnTo>
                    <a:pt x="220" y="57"/>
                  </a:lnTo>
                  <a:lnTo>
                    <a:pt x="218" y="57"/>
                  </a:lnTo>
                  <a:lnTo>
                    <a:pt x="220" y="58"/>
                  </a:lnTo>
                  <a:lnTo>
                    <a:pt x="220" y="59"/>
                  </a:lnTo>
                  <a:lnTo>
                    <a:pt x="222" y="61"/>
                  </a:lnTo>
                  <a:lnTo>
                    <a:pt x="221" y="62"/>
                  </a:lnTo>
                  <a:lnTo>
                    <a:pt x="222" y="62"/>
                  </a:lnTo>
                  <a:lnTo>
                    <a:pt x="221" y="63"/>
                  </a:lnTo>
                  <a:lnTo>
                    <a:pt x="220" y="64"/>
                  </a:lnTo>
                  <a:lnTo>
                    <a:pt x="220" y="65"/>
                  </a:lnTo>
                  <a:lnTo>
                    <a:pt x="221" y="65"/>
                  </a:lnTo>
                  <a:lnTo>
                    <a:pt x="222" y="68"/>
                  </a:lnTo>
                  <a:lnTo>
                    <a:pt x="223" y="68"/>
                  </a:lnTo>
                  <a:lnTo>
                    <a:pt x="224" y="68"/>
                  </a:lnTo>
                  <a:lnTo>
                    <a:pt x="223" y="70"/>
                  </a:lnTo>
                  <a:lnTo>
                    <a:pt x="222" y="71"/>
                  </a:lnTo>
                  <a:lnTo>
                    <a:pt x="223" y="71"/>
                  </a:lnTo>
                  <a:lnTo>
                    <a:pt x="226" y="71"/>
                  </a:lnTo>
                  <a:lnTo>
                    <a:pt x="224" y="74"/>
                  </a:lnTo>
                  <a:lnTo>
                    <a:pt x="224" y="75"/>
                  </a:lnTo>
                  <a:lnTo>
                    <a:pt x="226" y="76"/>
                  </a:lnTo>
                  <a:lnTo>
                    <a:pt x="226" y="79"/>
                  </a:lnTo>
                  <a:lnTo>
                    <a:pt x="227" y="79"/>
                  </a:lnTo>
                  <a:lnTo>
                    <a:pt x="227" y="80"/>
                  </a:lnTo>
                  <a:lnTo>
                    <a:pt x="228" y="80"/>
                  </a:lnTo>
                  <a:lnTo>
                    <a:pt x="229" y="79"/>
                  </a:lnTo>
                  <a:lnTo>
                    <a:pt x="232" y="77"/>
                  </a:lnTo>
                  <a:lnTo>
                    <a:pt x="234" y="76"/>
                  </a:lnTo>
                  <a:lnTo>
                    <a:pt x="235" y="75"/>
                  </a:lnTo>
                  <a:lnTo>
                    <a:pt x="235" y="74"/>
                  </a:lnTo>
                  <a:lnTo>
                    <a:pt x="236" y="71"/>
                  </a:lnTo>
                  <a:lnTo>
                    <a:pt x="238" y="70"/>
                  </a:lnTo>
                  <a:lnTo>
                    <a:pt x="238" y="67"/>
                  </a:lnTo>
                  <a:lnTo>
                    <a:pt x="236" y="68"/>
                  </a:lnTo>
                  <a:lnTo>
                    <a:pt x="235" y="69"/>
                  </a:lnTo>
                  <a:lnTo>
                    <a:pt x="234" y="70"/>
                  </a:lnTo>
                  <a:lnTo>
                    <a:pt x="234" y="69"/>
                  </a:lnTo>
                  <a:lnTo>
                    <a:pt x="233" y="69"/>
                  </a:lnTo>
                  <a:lnTo>
                    <a:pt x="233" y="68"/>
                  </a:lnTo>
                  <a:lnTo>
                    <a:pt x="234" y="68"/>
                  </a:lnTo>
                  <a:lnTo>
                    <a:pt x="235" y="67"/>
                  </a:lnTo>
                  <a:lnTo>
                    <a:pt x="236" y="65"/>
                  </a:lnTo>
                  <a:lnTo>
                    <a:pt x="235" y="65"/>
                  </a:lnTo>
                  <a:lnTo>
                    <a:pt x="234" y="64"/>
                  </a:lnTo>
                  <a:lnTo>
                    <a:pt x="233" y="65"/>
                  </a:lnTo>
                  <a:lnTo>
                    <a:pt x="233" y="64"/>
                  </a:lnTo>
                  <a:lnTo>
                    <a:pt x="233" y="63"/>
                  </a:lnTo>
                  <a:lnTo>
                    <a:pt x="230" y="63"/>
                  </a:lnTo>
                  <a:lnTo>
                    <a:pt x="229" y="64"/>
                  </a:lnTo>
                  <a:lnTo>
                    <a:pt x="229" y="65"/>
                  </a:lnTo>
                  <a:lnTo>
                    <a:pt x="229" y="64"/>
                  </a:lnTo>
                  <a:lnTo>
                    <a:pt x="229" y="63"/>
                  </a:lnTo>
                  <a:lnTo>
                    <a:pt x="229" y="62"/>
                  </a:lnTo>
                  <a:lnTo>
                    <a:pt x="229" y="61"/>
                  </a:lnTo>
                  <a:lnTo>
                    <a:pt x="228" y="58"/>
                  </a:lnTo>
                  <a:lnTo>
                    <a:pt x="226" y="59"/>
                  </a:lnTo>
                  <a:lnTo>
                    <a:pt x="224" y="59"/>
                  </a:lnTo>
                  <a:lnTo>
                    <a:pt x="226" y="58"/>
                  </a:lnTo>
                  <a:lnTo>
                    <a:pt x="226" y="57"/>
                  </a:lnTo>
                  <a:lnTo>
                    <a:pt x="226" y="56"/>
                  </a:lnTo>
                  <a:lnTo>
                    <a:pt x="223" y="55"/>
                  </a:lnTo>
                  <a:lnTo>
                    <a:pt x="223" y="53"/>
                  </a:lnTo>
                  <a:lnTo>
                    <a:pt x="224" y="53"/>
                  </a:lnTo>
                  <a:lnTo>
                    <a:pt x="226" y="53"/>
                  </a:lnTo>
                  <a:lnTo>
                    <a:pt x="226" y="55"/>
                  </a:lnTo>
                  <a:lnTo>
                    <a:pt x="227" y="56"/>
                  </a:lnTo>
                  <a:lnTo>
                    <a:pt x="228" y="55"/>
                  </a:lnTo>
                  <a:lnTo>
                    <a:pt x="228" y="57"/>
                  </a:lnTo>
                  <a:lnTo>
                    <a:pt x="229" y="57"/>
                  </a:lnTo>
                  <a:lnTo>
                    <a:pt x="229" y="58"/>
                  </a:lnTo>
                  <a:lnTo>
                    <a:pt x="230" y="59"/>
                  </a:lnTo>
                  <a:lnTo>
                    <a:pt x="232" y="61"/>
                  </a:lnTo>
                  <a:lnTo>
                    <a:pt x="233" y="59"/>
                  </a:lnTo>
                  <a:lnTo>
                    <a:pt x="234" y="59"/>
                  </a:lnTo>
                  <a:lnTo>
                    <a:pt x="235" y="58"/>
                  </a:lnTo>
                  <a:lnTo>
                    <a:pt x="235" y="57"/>
                  </a:lnTo>
                  <a:lnTo>
                    <a:pt x="233" y="57"/>
                  </a:lnTo>
                  <a:lnTo>
                    <a:pt x="234" y="56"/>
                  </a:lnTo>
                  <a:lnTo>
                    <a:pt x="233" y="55"/>
                  </a:lnTo>
                  <a:lnTo>
                    <a:pt x="234" y="55"/>
                  </a:lnTo>
                  <a:lnTo>
                    <a:pt x="234" y="53"/>
                  </a:lnTo>
                  <a:lnTo>
                    <a:pt x="234" y="52"/>
                  </a:lnTo>
                  <a:lnTo>
                    <a:pt x="233" y="51"/>
                  </a:lnTo>
                  <a:lnTo>
                    <a:pt x="232" y="51"/>
                  </a:lnTo>
                  <a:lnTo>
                    <a:pt x="233" y="50"/>
                  </a:lnTo>
                  <a:lnTo>
                    <a:pt x="232" y="49"/>
                  </a:lnTo>
                  <a:lnTo>
                    <a:pt x="230" y="47"/>
                  </a:lnTo>
                  <a:lnTo>
                    <a:pt x="228" y="47"/>
                  </a:lnTo>
                  <a:lnTo>
                    <a:pt x="228" y="46"/>
                  </a:lnTo>
                  <a:lnTo>
                    <a:pt x="230" y="45"/>
                  </a:lnTo>
                  <a:lnTo>
                    <a:pt x="229" y="44"/>
                  </a:lnTo>
                  <a:lnTo>
                    <a:pt x="227" y="41"/>
                  </a:lnTo>
                  <a:lnTo>
                    <a:pt x="226" y="41"/>
                  </a:lnTo>
                  <a:lnTo>
                    <a:pt x="228" y="41"/>
                  </a:lnTo>
                  <a:lnTo>
                    <a:pt x="230" y="39"/>
                  </a:lnTo>
                  <a:lnTo>
                    <a:pt x="230" y="38"/>
                  </a:lnTo>
                  <a:lnTo>
                    <a:pt x="232" y="38"/>
                  </a:lnTo>
                  <a:lnTo>
                    <a:pt x="232" y="40"/>
                  </a:lnTo>
                  <a:lnTo>
                    <a:pt x="232" y="43"/>
                  </a:lnTo>
                  <a:lnTo>
                    <a:pt x="233" y="41"/>
                  </a:lnTo>
                  <a:lnTo>
                    <a:pt x="232" y="44"/>
                  </a:lnTo>
                  <a:lnTo>
                    <a:pt x="233" y="45"/>
                  </a:lnTo>
                  <a:lnTo>
                    <a:pt x="235" y="45"/>
                  </a:lnTo>
                  <a:lnTo>
                    <a:pt x="235" y="46"/>
                  </a:lnTo>
                  <a:lnTo>
                    <a:pt x="235" y="47"/>
                  </a:lnTo>
                  <a:lnTo>
                    <a:pt x="236" y="47"/>
                  </a:lnTo>
                  <a:lnTo>
                    <a:pt x="236" y="49"/>
                  </a:lnTo>
                  <a:lnTo>
                    <a:pt x="238" y="49"/>
                  </a:lnTo>
                  <a:lnTo>
                    <a:pt x="238" y="51"/>
                  </a:lnTo>
                  <a:lnTo>
                    <a:pt x="239" y="50"/>
                  </a:lnTo>
                  <a:lnTo>
                    <a:pt x="240" y="50"/>
                  </a:lnTo>
                  <a:lnTo>
                    <a:pt x="240" y="52"/>
                  </a:lnTo>
                  <a:lnTo>
                    <a:pt x="241" y="52"/>
                  </a:lnTo>
                  <a:lnTo>
                    <a:pt x="241" y="53"/>
                  </a:lnTo>
                  <a:lnTo>
                    <a:pt x="242" y="55"/>
                  </a:lnTo>
                  <a:lnTo>
                    <a:pt x="241" y="58"/>
                  </a:lnTo>
                  <a:lnTo>
                    <a:pt x="242" y="56"/>
                  </a:lnTo>
                  <a:lnTo>
                    <a:pt x="244" y="56"/>
                  </a:lnTo>
                  <a:lnTo>
                    <a:pt x="246" y="57"/>
                  </a:lnTo>
                  <a:lnTo>
                    <a:pt x="247" y="56"/>
                  </a:lnTo>
                  <a:lnTo>
                    <a:pt x="250" y="55"/>
                  </a:lnTo>
                  <a:lnTo>
                    <a:pt x="250" y="56"/>
                  </a:lnTo>
                  <a:lnTo>
                    <a:pt x="250" y="58"/>
                  </a:lnTo>
                  <a:lnTo>
                    <a:pt x="252" y="58"/>
                  </a:lnTo>
                  <a:lnTo>
                    <a:pt x="252" y="59"/>
                  </a:lnTo>
                  <a:lnTo>
                    <a:pt x="251" y="61"/>
                  </a:lnTo>
                  <a:lnTo>
                    <a:pt x="252" y="62"/>
                  </a:lnTo>
                  <a:lnTo>
                    <a:pt x="251" y="62"/>
                  </a:lnTo>
                  <a:lnTo>
                    <a:pt x="251" y="63"/>
                  </a:lnTo>
                  <a:lnTo>
                    <a:pt x="250" y="63"/>
                  </a:lnTo>
                  <a:lnTo>
                    <a:pt x="250" y="64"/>
                  </a:lnTo>
                  <a:lnTo>
                    <a:pt x="251" y="64"/>
                  </a:lnTo>
                  <a:lnTo>
                    <a:pt x="252" y="67"/>
                  </a:lnTo>
                  <a:lnTo>
                    <a:pt x="251" y="68"/>
                  </a:lnTo>
                  <a:lnTo>
                    <a:pt x="253" y="69"/>
                  </a:lnTo>
                  <a:lnTo>
                    <a:pt x="256" y="69"/>
                  </a:lnTo>
                  <a:lnTo>
                    <a:pt x="255" y="68"/>
                  </a:lnTo>
                  <a:lnTo>
                    <a:pt x="256" y="68"/>
                  </a:lnTo>
                  <a:lnTo>
                    <a:pt x="257" y="67"/>
                  </a:lnTo>
                  <a:lnTo>
                    <a:pt x="258" y="68"/>
                  </a:lnTo>
                  <a:lnTo>
                    <a:pt x="259" y="68"/>
                  </a:lnTo>
                  <a:lnTo>
                    <a:pt x="262" y="67"/>
                  </a:lnTo>
                  <a:lnTo>
                    <a:pt x="262" y="69"/>
                  </a:lnTo>
                  <a:lnTo>
                    <a:pt x="263" y="69"/>
                  </a:lnTo>
                  <a:lnTo>
                    <a:pt x="261" y="70"/>
                  </a:lnTo>
                  <a:lnTo>
                    <a:pt x="261" y="71"/>
                  </a:lnTo>
                  <a:lnTo>
                    <a:pt x="263" y="70"/>
                  </a:lnTo>
                  <a:lnTo>
                    <a:pt x="265" y="70"/>
                  </a:lnTo>
                  <a:lnTo>
                    <a:pt x="265" y="71"/>
                  </a:lnTo>
                  <a:lnTo>
                    <a:pt x="268" y="73"/>
                  </a:lnTo>
                  <a:lnTo>
                    <a:pt x="268" y="74"/>
                  </a:lnTo>
                  <a:lnTo>
                    <a:pt x="269" y="75"/>
                  </a:lnTo>
                  <a:lnTo>
                    <a:pt x="269" y="76"/>
                  </a:lnTo>
                  <a:lnTo>
                    <a:pt x="268" y="76"/>
                  </a:lnTo>
                  <a:lnTo>
                    <a:pt x="267" y="75"/>
                  </a:lnTo>
                  <a:lnTo>
                    <a:pt x="268" y="76"/>
                  </a:lnTo>
                  <a:lnTo>
                    <a:pt x="268" y="77"/>
                  </a:lnTo>
                  <a:lnTo>
                    <a:pt x="265" y="76"/>
                  </a:lnTo>
                  <a:lnTo>
                    <a:pt x="267" y="79"/>
                  </a:lnTo>
                  <a:lnTo>
                    <a:pt x="265" y="77"/>
                  </a:lnTo>
                  <a:lnTo>
                    <a:pt x="264" y="77"/>
                  </a:lnTo>
                  <a:lnTo>
                    <a:pt x="262" y="79"/>
                  </a:lnTo>
                  <a:lnTo>
                    <a:pt x="262" y="80"/>
                  </a:lnTo>
                  <a:lnTo>
                    <a:pt x="262" y="81"/>
                  </a:lnTo>
                  <a:lnTo>
                    <a:pt x="264" y="81"/>
                  </a:lnTo>
                  <a:lnTo>
                    <a:pt x="265" y="83"/>
                  </a:lnTo>
                  <a:lnTo>
                    <a:pt x="268" y="83"/>
                  </a:lnTo>
                  <a:lnTo>
                    <a:pt x="269" y="86"/>
                  </a:lnTo>
                  <a:lnTo>
                    <a:pt x="268" y="88"/>
                  </a:lnTo>
                  <a:lnTo>
                    <a:pt x="268" y="91"/>
                  </a:lnTo>
                  <a:lnTo>
                    <a:pt x="270" y="89"/>
                  </a:lnTo>
                  <a:lnTo>
                    <a:pt x="271" y="89"/>
                  </a:lnTo>
                  <a:lnTo>
                    <a:pt x="274" y="88"/>
                  </a:lnTo>
                  <a:lnTo>
                    <a:pt x="275" y="88"/>
                  </a:lnTo>
                  <a:lnTo>
                    <a:pt x="275" y="87"/>
                  </a:lnTo>
                  <a:lnTo>
                    <a:pt x="276" y="85"/>
                  </a:lnTo>
                  <a:lnTo>
                    <a:pt x="274" y="86"/>
                  </a:lnTo>
                  <a:lnTo>
                    <a:pt x="275" y="83"/>
                  </a:lnTo>
                  <a:lnTo>
                    <a:pt x="275" y="82"/>
                  </a:lnTo>
                  <a:lnTo>
                    <a:pt x="277" y="82"/>
                  </a:lnTo>
                  <a:lnTo>
                    <a:pt x="279" y="82"/>
                  </a:lnTo>
                  <a:lnTo>
                    <a:pt x="277" y="81"/>
                  </a:lnTo>
                  <a:lnTo>
                    <a:pt x="276" y="80"/>
                  </a:lnTo>
                  <a:lnTo>
                    <a:pt x="277" y="79"/>
                  </a:lnTo>
                  <a:lnTo>
                    <a:pt x="279" y="77"/>
                  </a:lnTo>
                  <a:lnTo>
                    <a:pt x="280" y="77"/>
                  </a:lnTo>
                  <a:lnTo>
                    <a:pt x="283" y="76"/>
                  </a:lnTo>
                  <a:lnTo>
                    <a:pt x="283" y="75"/>
                  </a:lnTo>
                  <a:lnTo>
                    <a:pt x="285" y="74"/>
                  </a:lnTo>
                  <a:lnTo>
                    <a:pt x="288" y="71"/>
                  </a:lnTo>
                  <a:lnTo>
                    <a:pt x="287" y="70"/>
                  </a:lnTo>
                  <a:lnTo>
                    <a:pt x="286" y="70"/>
                  </a:lnTo>
                  <a:lnTo>
                    <a:pt x="285" y="71"/>
                  </a:lnTo>
                  <a:lnTo>
                    <a:pt x="283" y="71"/>
                  </a:lnTo>
                  <a:lnTo>
                    <a:pt x="282" y="73"/>
                  </a:lnTo>
                  <a:lnTo>
                    <a:pt x="281" y="73"/>
                  </a:lnTo>
                  <a:lnTo>
                    <a:pt x="280" y="71"/>
                  </a:lnTo>
                  <a:lnTo>
                    <a:pt x="279" y="71"/>
                  </a:lnTo>
                  <a:lnTo>
                    <a:pt x="279" y="74"/>
                  </a:lnTo>
                  <a:lnTo>
                    <a:pt x="277" y="75"/>
                  </a:lnTo>
                  <a:lnTo>
                    <a:pt x="277" y="74"/>
                  </a:lnTo>
                  <a:lnTo>
                    <a:pt x="275" y="73"/>
                  </a:lnTo>
                  <a:lnTo>
                    <a:pt x="275" y="70"/>
                  </a:lnTo>
                  <a:lnTo>
                    <a:pt x="276" y="70"/>
                  </a:lnTo>
                  <a:lnTo>
                    <a:pt x="276" y="69"/>
                  </a:lnTo>
                  <a:lnTo>
                    <a:pt x="276" y="68"/>
                  </a:lnTo>
                  <a:lnTo>
                    <a:pt x="277" y="68"/>
                  </a:lnTo>
                  <a:lnTo>
                    <a:pt x="277" y="65"/>
                  </a:lnTo>
                  <a:lnTo>
                    <a:pt x="279" y="64"/>
                  </a:lnTo>
                  <a:lnTo>
                    <a:pt x="279" y="63"/>
                  </a:lnTo>
                  <a:lnTo>
                    <a:pt x="277" y="62"/>
                  </a:lnTo>
                  <a:lnTo>
                    <a:pt x="276" y="61"/>
                  </a:lnTo>
                  <a:lnTo>
                    <a:pt x="277" y="59"/>
                  </a:lnTo>
                  <a:lnTo>
                    <a:pt x="275" y="58"/>
                  </a:lnTo>
                  <a:lnTo>
                    <a:pt x="275" y="57"/>
                  </a:lnTo>
                  <a:lnTo>
                    <a:pt x="277" y="57"/>
                  </a:lnTo>
                  <a:lnTo>
                    <a:pt x="281" y="57"/>
                  </a:lnTo>
                  <a:lnTo>
                    <a:pt x="281" y="58"/>
                  </a:lnTo>
                  <a:lnTo>
                    <a:pt x="282" y="59"/>
                  </a:lnTo>
                  <a:lnTo>
                    <a:pt x="283" y="58"/>
                  </a:lnTo>
                  <a:lnTo>
                    <a:pt x="283" y="59"/>
                  </a:lnTo>
                  <a:lnTo>
                    <a:pt x="283" y="61"/>
                  </a:lnTo>
                  <a:lnTo>
                    <a:pt x="286" y="59"/>
                  </a:lnTo>
                  <a:lnTo>
                    <a:pt x="289" y="61"/>
                  </a:lnTo>
                  <a:lnTo>
                    <a:pt x="291" y="59"/>
                  </a:lnTo>
                  <a:lnTo>
                    <a:pt x="292" y="58"/>
                  </a:lnTo>
                  <a:lnTo>
                    <a:pt x="292" y="61"/>
                  </a:lnTo>
                  <a:lnTo>
                    <a:pt x="293" y="61"/>
                  </a:lnTo>
                  <a:lnTo>
                    <a:pt x="294" y="62"/>
                  </a:lnTo>
                  <a:lnTo>
                    <a:pt x="297" y="62"/>
                  </a:lnTo>
                  <a:lnTo>
                    <a:pt x="298" y="62"/>
                  </a:lnTo>
                  <a:lnTo>
                    <a:pt x="298" y="61"/>
                  </a:lnTo>
                  <a:lnTo>
                    <a:pt x="298" y="58"/>
                  </a:lnTo>
                  <a:lnTo>
                    <a:pt x="299" y="58"/>
                  </a:lnTo>
                  <a:lnTo>
                    <a:pt x="297" y="56"/>
                  </a:lnTo>
                  <a:lnTo>
                    <a:pt x="295" y="56"/>
                  </a:lnTo>
                  <a:lnTo>
                    <a:pt x="294" y="57"/>
                  </a:lnTo>
                  <a:lnTo>
                    <a:pt x="293" y="57"/>
                  </a:lnTo>
                  <a:lnTo>
                    <a:pt x="292" y="56"/>
                  </a:lnTo>
                  <a:lnTo>
                    <a:pt x="292" y="55"/>
                  </a:lnTo>
                  <a:lnTo>
                    <a:pt x="289" y="53"/>
                  </a:lnTo>
                  <a:lnTo>
                    <a:pt x="288" y="51"/>
                  </a:lnTo>
                  <a:lnTo>
                    <a:pt x="289" y="52"/>
                  </a:lnTo>
                  <a:lnTo>
                    <a:pt x="291" y="52"/>
                  </a:lnTo>
                  <a:lnTo>
                    <a:pt x="289" y="51"/>
                  </a:lnTo>
                  <a:lnTo>
                    <a:pt x="289" y="50"/>
                  </a:lnTo>
                  <a:lnTo>
                    <a:pt x="292" y="51"/>
                  </a:lnTo>
                  <a:lnTo>
                    <a:pt x="292" y="50"/>
                  </a:lnTo>
                  <a:lnTo>
                    <a:pt x="293" y="51"/>
                  </a:lnTo>
                  <a:lnTo>
                    <a:pt x="293" y="50"/>
                  </a:lnTo>
                  <a:lnTo>
                    <a:pt x="292" y="49"/>
                  </a:lnTo>
                  <a:lnTo>
                    <a:pt x="292" y="47"/>
                  </a:lnTo>
                  <a:lnTo>
                    <a:pt x="294" y="49"/>
                  </a:lnTo>
                  <a:lnTo>
                    <a:pt x="294" y="47"/>
                  </a:lnTo>
                  <a:lnTo>
                    <a:pt x="295" y="44"/>
                  </a:lnTo>
                  <a:lnTo>
                    <a:pt x="294" y="44"/>
                  </a:lnTo>
                  <a:lnTo>
                    <a:pt x="293" y="41"/>
                  </a:lnTo>
                  <a:lnTo>
                    <a:pt x="294" y="41"/>
                  </a:lnTo>
                  <a:lnTo>
                    <a:pt x="295" y="40"/>
                  </a:lnTo>
                  <a:lnTo>
                    <a:pt x="297" y="38"/>
                  </a:lnTo>
                  <a:lnTo>
                    <a:pt x="298" y="38"/>
                  </a:lnTo>
                  <a:lnTo>
                    <a:pt x="297" y="34"/>
                  </a:lnTo>
                  <a:lnTo>
                    <a:pt x="295" y="33"/>
                  </a:lnTo>
                  <a:lnTo>
                    <a:pt x="297" y="32"/>
                  </a:lnTo>
                  <a:lnTo>
                    <a:pt x="297" y="30"/>
                  </a:lnTo>
                  <a:lnTo>
                    <a:pt x="297" y="29"/>
                  </a:lnTo>
                  <a:lnTo>
                    <a:pt x="297" y="30"/>
                  </a:lnTo>
                  <a:lnTo>
                    <a:pt x="298" y="30"/>
                  </a:lnTo>
                  <a:lnTo>
                    <a:pt x="300" y="30"/>
                  </a:lnTo>
                  <a:lnTo>
                    <a:pt x="299" y="32"/>
                  </a:lnTo>
                  <a:lnTo>
                    <a:pt x="300" y="32"/>
                  </a:lnTo>
                  <a:lnTo>
                    <a:pt x="299" y="34"/>
                  </a:lnTo>
                  <a:lnTo>
                    <a:pt x="299" y="35"/>
                  </a:lnTo>
                  <a:lnTo>
                    <a:pt x="299" y="36"/>
                  </a:lnTo>
                  <a:lnTo>
                    <a:pt x="299" y="35"/>
                  </a:lnTo>
                  <a:lnTo>
                    <a:pt x="299" y="38"/>
                  </a:lnTo>
                  <a:lnTo>
                    <a:pt x="300" y="38"/>
                  </a:lnTo>
                  <a:lnTo>
                    <a:pt x="303" y="38"/>
                  </a:lnTo>
                  <a:lnTo>
                    <a:pt x="301" y="39"/>
                  </a:lnTo>
                  <a:lnTo>
                    <a:pt x="303" y="38"/>
                  </a:lnTo>
                  <a:lnTo>
                    <a:pt x="303" y="39"/>
                  </a:lnTo>
                  <a:lnTo>
                    <a:pt x="301" y="41"/>
                  </a:lnTo>
                  <a:lnTo>
                    <a:pt x="303" y="40"/>
                  </a:lnTo>
                  <a:lnTo>
                    <a:pt x="304" y="41"/>
                  </a:lnTo>
                  <a:lnTo>
                    <a:pt x="304" y="43"/>
                  </a:lnTo>
                  <a:lnTo>
                    <a:pt x="305" y="43"/>
                  </a:lnTo>
                  <a:lnTo>
                    <a:pt x="306" y="41"/>
                  </a:lnTo>
                  <a:lnTo>
                    <a:pt x="306" y="38"/>
                  </a:lnTo>
                  <a:lnTo>
                    <a:pt x="307" y="40"/>
                  </a:lnTo>
                  <a:lnTo>
                    <a:pt x="310" y="41"/>
                  </a:lnTo>
                  <a:lnTo>
                    <a:pt x="310" y="44"/>
                  </a:lnTo>
                  <a:lnTo>
                    <a:pt x="311" y="43"/>
                  </a:lnTo>
                  <a:lnTo>
                    <a:pt x="314" y="43"/>
                  </a:lnTo>
                  <a:lnTo>
                    <a:pt x="315" y="43"/>
                  </a:lnTo>
                  <a:lnTo>
                    <a:pt x="315" y="40"/>
                  </a:lnTo>
                  <a:lnTo>
                    <a:pt x="314" y="36"/>
                  </a:lnTo>
                  <a:lnTo>
                    <a:pt x="312" y="36"/>
                  </a:lnTo>
                  <a:lnTo>
                    <a:pt x="312" y="35"/>
                  </a:lnTo>
                  <a:lnTo>
                    <a:pt x="314" y="34"/>
                  </a:lnTo>
                  <a:lnTo>
                    <a:pt x="312" y="33"/>
                  </a:lnTo>
                  <a:lnTo>
                    <a:pt x="310" y="33"/>
                  </a:lnTo>
                  <a:lnTo>
                    <a:pt x="309" y="32"/>
                  </a:lnTo>
                  <a:lnTo>
                    <a:pt x="307" y="30"/>
                  </a:lnTo>
                  <a:lnTo>
                    <a:pt x="309" y="30"/>
                  </a:lnTo>
                  <a:lnTo>
                    <a:pt x="311" y="29"/>
                  </a:lnTo>
                  <a:lnTo>
                    <a:pt x="310" y="28"/>
                  </a:lnTo>
                  <a:lnTo>
                    <a:pt x="312" y="28"/>
                  </a:lnTo>
                  <a:lnTo>
                    <a:pt x="314" y="27"/>
                  </a:lnTo>
                  <a:lnTo>
                    <a:pt x="315" y="24"/>
                  </a:lnTo>
                  <a:lnTo>
                    <a:pt x="315" y="23"/>
                  </a:lnTo>
                  <a:lnTo>
                    <a:pt x="314" y="22"/>
                  </a:lnTo>
                  <a:lnTo>
                    <a:pt x="314" y="21"/>
                  </a:lnTo>
                  <a:lnTo>
                    <a:pt x="314" y="20"/>
                  </a:lnTo>
                  <a:lnTo>
                    <a:pt x="314" y="18"/>
                  </a:lnTo>
                  <a:lnTo>
                    <a:pt x="312" y="16"/>
                  </a:lnTo>
                  <a:lnTo>
                    <a:pt x="312" y="15"/>
                  </a:lnTo>
                  <a:lnTo>
                    <a:pt x="314" y="14"/>
                  </a:lnTo>
                  <a:lnTo>
                    <a:pt x="315" y="16"/>
                  </a:lnTo>
                  <a:lnTo>
                    <a:pt x="316" y="16"/>
                  </a:lnTo>
                  <a:lnTo>
                    <a:pt x="317" y="16"/>
                  </a:lnTo>
                  <a:lnTo>
                    <a:pt x="320" y="17"/>
                  </a:lnTo>
                  <a:lnTo>
                    <a:pt x="321" y="18"/>
                  </a:lnTo>
                  <a:lnTo>
                    <a:pt x="323" y="20"/>
                  </a:lnTo>
                  <a:lnTo>
                    <a:pt x="326" y="21"/>
                  </a:lnTo>
                  <a:lnTo>
                    <a:pt x="329" y="20"/>
                  </a:lnTo>
                  <a:lnTo>
                    <a:pt x="329" y="17"/>
                  </a:lnTo>
                  <a:lnTo>
                    <a:pt x="328" y="15"/>
                  </a:lnTo>
                  <a:lnTo>
                    <a:pt x="328" y="14"/>
                  </a:lnTo>
                  <a:lnTo>
                    <a:pt x="328" y="11"/>
                  </a:lnTo>
                  <a:lnTo>
                    <a:pt x="328" y="10"/>
                  </a:lnTo>
                  <a:lnTo>
                    <a:pt x="327" y="10"/>
                  </a:lnTo>
                  <a:lnTo>
                    <a:pt x="323" y="12"/>
                  </a:lnTo>
                  <a:lnTo>
                    <a:pt x="323" y="11"/>
                  </a:lnTo>
                  <a:lnTo>
                    <a:pt x="326" y="10"/>
                  </a:lnTo>
                  <a:lnTo>
                    <a:pt x="326" y="9"/>
                  </a:lnTo>
                  <a:lnTo>
                    <a:pt x="326" y="6"/>
                  </a:lnTo>
                  <a:lnTo>
                    <a:pt x="327" y="6"/>
                  </a:lnTo>
                  <a:lnTo>
                    <a:pt x="327" y="5"/>
                  </a:lnTo>
                  <a:lnTo>
                    <a:pt x="328" y="6"/>
                  </a:lnTo>
                  <a:lnTo>
                    <a:pt x="329" y="6"/>
                  </a:lnTo>
                  <a:lnTo>
                    <a:pt x="330" y="5"/>
                  </a:lnTo>
                  <a:lnTo>
                    <a:pt x="332" y="5"/>
                  </a:lnTo>
                  <a:lnTo>
                    <a:pt x="334" y="4"/>
                  </a:lnTo>
                  <a:lnTo>
                    <a:pt x="333" y="2"/>
                  </a:lnTo>
                  <a:lnTo>
                    <a:pt x="334" y="3"/>
                  </a:lnTo>
                  <a:lnTo>
                    <a:pt x="335" y="4"/>
                  </a:lnTo>
                  <a:lnTo>
                    <a:pt x="336" y="4"/>
                  </a:lnTo>
                  <a:lnTo>
                    <a:pt x="338" y="4"/>
                  </a:lnTo>
                  <a:lnTo>
                    <a:pt x="338" y="5"/>
                  </a:lnTo>
                  <a:lnTo>
                    <a:pt x="336" y="5"/>
                  </a:lnTo>
                  <a:lnTo>
                    <a:pt x="338" y="6"/>
                  </a:lnTo>
                  <a:lnTo>
                    <a:pt x="339" y="6"/>
                  </a:lnTo>
                  <a:lnTo>
                    <a:pt x="340" y="6"/>
                  </a:lnTo>
                  <a:lnTo>
                    <a:pt x="341" y="4"/>
                  </a:lnTo>
                  <a:lnTo>
                    <a:pt x="342" y="5"/>
                  </a:lnTo>
                  <a:lnTo>
                    <a:pt x="344" y="5"/>
                  </a:lnTo>
                  <a:lnTo>
                    <a:pt x="344" y="4"/>
                  </a:lnTo>
                  <a:lnTo>
                    <a:pt x="346" y="4"/>
                  </a:lnTo>
                  <a:lnTo>
                    <a:pt x="346" y="3"/>
                  </a:lnTo>
                  <a:lnTo>
                    <a:pt x="347" y="3"/>
                  </a:lnTo>
                  <a:lnTo>
                    <a:pt x="348" y="2"/>
                  </a:lnTo>
                  <a:lnTo>
                    <a:pt x="348" y="0"/>
                  </a:lnTo>
                  <a:lnTo>
                    <a:pt x="350" y="2"/>
                  </a:lnTo>
                  <a:lnTo>
                    <a:pt x="351" y="2"/>
                  </a:lnTo>
                  <a:lnTo>
                    <a:pt x="351" y="3"/>
                  </a:lnTo>
                  <a:lnTo>
                    <a:pt x="352" y="3"/>
                  </a:lnTo>
                  <a:lnTo>
                    <a:pt x="353" y="5"/>
                  </a:lnTo>
                  <a:lnTo>
                    <a:pt x="350" y="5"/>
                  </a:lnTo>
                  <a:lnTo>
                    <a:pt x="350" y="6"/>
                  </a:lnTo>
                  <a:lnTo>
                    <a:pt x="351" y="8"/>
                  </a:lnTo>
                  <a:lnTo>
                    <a:pt x="350" y="9"/>
                  </a:lnTo>
                  <a:lnTo>
                    <a:pt x="347" y="8"/>
                  </a:lnTo>
                  <a:lnTo>
                    <a:pt x="347" y="9"/>
                  </a:lnTo>
                  <a:lnTo>
                    <a:pt x="347" y="10"/>
                  </a:lnTo>
                  <a:lnTo>
                    <a:pt x="347" y="11"/>
                  </a:lnTo>
                  <a:lnTo>
                    <a:pt x="348" y="11"/>
                  </a:lnTo>
                  <a:lnTo>
                    <a:pt x="350" y="10"/>
                  </a:lnTo>
                  <a:lnTo>
                    <a:pt x="350" y="12"/>
                  </a:lnTo>
                  <a:lnTo>
                    <a:pt x="351" y="12"/>
                  </a:lnTo>
                  <a:lnTo>
                    <a:pt x="351" y="14"/>
                  </a:lnTo>
                  <a:lnTo>
                    <a:pt x="351" y="11"/>
                  </a:lnTo>
                  <a:lnTo>
                    <a:pt x="352" y="11"/>
                  </a:lnTo>
                  <a:lnTo>
                    <a:pt x="354" y="12"/>
                  </a:lnTo>
                  <a:lnTo>
                    <a:pt x="356" y="12"/>
                  </a:lnTo>
                  <a:lnTo>
                    <a:pt x="356" y="14"/>
                  </a:lnTo>
                  <a:lnTo>
                    <a:pt x="354" y="14"/>
                  </a:lnTo>
                  <a:lnTo>
                    <a:pt x="353" y="15"/>
                  </a:lnTo>
                  <a:lnTo>
                    <a:pt x="354" y="16"/>
                  </a:lnTo>
                  <a:lnTo>
                    <a:pt x="356" y="17"/>
                  </a:lnTo>
                  <a:lnTo>
                    <a:pt x="353" y="17"/>
                  </a:lnTo>
                  <a:lnTo>
                    <a:pt x="352" y="17"/>
                  </a:lnTo>
                  <a:lnTo>
                    <a:pt x="352" y="20"/>
                  </a:lnTo>
                  <a:lnTo>
                    <a:pt x="352" y="21"/>
                  </a:lnTo>
                  <a:lnTo>
                    <a:pt x="352" y="23"/>
                  </a:lnTo>
                  <a:lnTo>
                    <a:pt x="353" y="24"/>
                  </a:lnTo>
                  <a:lnTo>
                    <a:pt x="354" y="26"/>
                  </a:lnTo>
                  <a:lnTo>
                    <a:pt x="352" y="24"/>
                  </a:lnTo>
                  <a:lnTo>
                    <a:pt x="352" y="26"/>
                  </a:lnTo>
                  <a:lnTo>
                    <a:pt x="352" y="27"/>
                  </a:lnTo>
                  <a:lnTo>
                    <a:pt x="352" y="28"/>
                  </a:lnTo>
                  <a:lnTo>
                    <a:pt x="353" y="29"/>
                  </a:lnTo>
                  <a:lnTo>
                    <a:pt x="354" y="28"/>
                  </a:lnTo>
                  <a:lnTo>
                    <a:pt x="357" y="29"/>
                  </a:lnTo>
                  <a:lnTo>
                    <a:pt x="358" y="28"/>
                  </a:lnTo>
                  <a:lnTo>
                    <a:pt x="357" y="26"/>
                  </a:lnTo>
                  <a:lnTo>
                    <a:pt x="357" y="23"/>
                  </a:lnTo>
                  <a:lnTo>
                    <a:pt x="358" y="26"/>
                  </a:lnTo>
                  <a:lnTo>
                    <a:pt x="359" y="27"/>
                  </a:lnTo>
                  <a:lnTo>
                    <a:pt x="360" y="27"/>
                  </a:lnTo>
                  <a:lnTo>
                    <a:pt x="360" y="24"/>
                  </a:lnTo>
                  <a:lnTo>
                    <a:pt x="362" y="26"/>
                  </a:lnTo>
                  <a:lnTo>
                    <a:pt x="363" y="27"/>
                  </a:lnTo>
                  <a:lnTo>
                    <a:pt x="362" y="27"/>
                  </a:lnTo>
                  <a:lnTo>
                    <a:pt x="360" y="29"/>
                  </a:lnTo>
                  <a:lnTo>
                    <a:pt x="362" y="29"/>
                  </a:lnTo>
                  <a:lnTo>
                    <a:pt x="362" y="30"/>
                  </a:lnTo>
                  <a:lnTo>
                    <a:pt x="363" y="30"/>
                  </a:lnTo>
                  <a:lnTo>
                    <a:pt x="364" y="30"/>
                  </a:lnTo>
                  <a:lnTo>
                    <a:pt x="364" y="29"/>
                  </a:lnTo>
                  <a:lnTo>
                    <a:pt x="364" y="28"/>
                  </a:lnTo>
                  <a:lnTo>
                    <a:pt x="366" y="29"/>
                  </a:lnTo>
                  <a:lnTo>
                    <a:pt x="368" y="30"/>
                  </a:lnTo>
                  <a:lnTo>
                    <a:pt x="366" y="32"/>
                  </a:lnTo>
                  <a:lnTo>
                    <a:pt x="365" y="32"/>
                  </a:lnTo>
                  <a:lnTo>
                    <a:pt x="365" y="33"/>
                  </a:lnTo>
                  <a:lnTo>
                    <a:pt x="366" y="34"/>
                  </a:lnTo>
                  <a:lnTo>
                    <a:pt x="368" y="35"/>
                  </a:lnTo>
                  <a:lnTo>
                    <a:pt x="366" y="35"/>
                  </a:lnTo>
                  <a:lnTo>
                    <a:pt x="366" y="36"/>
                  </a:lnTo>
                  <a:lnTo>
                    <a:pt x="366" y="38"/>
                  </a:lnTo>
                  <a:lnTo>
                    <a:pt x="366" y="39"/>
                  </a:lnTo>
                  <a:lnTo>
                    <a:pt x="368" y="40"/>
                  </a:lnTo>
                  <a:lnTo>
                    <a:pt x="370" y="39"/>
                  </a:lnTo>
                  <a:lnTo>
                    <a:pt x="371" y="40"/>
                  </a:lnTo>
                  <a:lnTo>
                    <a:pt x="372" y="40"/>
                  </a:lnTo>
                  <a:lnTo>
                    <a:pt x="374" y="40"/>
                  </a:lnTo>
                  <a:lnTo>
                    <a:pt x="376" y="38"/>
                  </a:lnTo>
                  <a:lnTo>
                    <a:pt x="376" y="36"/>
                  </a:lnTo>
                  <a:lnTo>
                    <a:pt x="376" y="39"/>
                  </a:lnTo>
                  <a:lnTo>
                    <a:pt x="377" y="39"/>
                  </a:lnTo>
                  <a:lnTo>
                    <a:pt x="379" y="39"/>
                  </a:lnTo>
                  <a:lnTo>
                    <a:pt x="380" y="35"/>
                  </a:lnTo>
                  <a:lnTo>
                    <a:pt x="380" y="36"/>
                  </a:lnTo>
                  <a:lnTo>
                    <a:pt x="380" y="38"/>
                  </a:lnTo>
                  <a:lnTo>
                    <a:pt x="380" y="39"/>
                  </a:lnTo>
                  <a:lnTo>
                    <a:pt x="381" y="39"/>
                  </a:lnTo>
                  <a:lnTo>
                    <a:pt x="380" y="40"/>
                  </a:lnTo>
                  <a:lnTo>
                    <a:pt x="380" y="43"/>
                  </a:lnTo>
                  <a:lnTo>
                    <a:pt x="380" y="44"/>
                  </a:lnTo>
                  <a:lnTo>
                    <a:pt x="381" y="45"/>
                  </a:lnTo>
                  <a:lnTo>
                    <a:pt x="380" y="46"/>
                  </a:lnTo>
                  <a:lnTo>
                    <a:pt x="380" y="47"/>
                  </a:lnTo>
                  <a:lnTo>
                    <a:pt x="382" y="49"/>
                  </a:lnTo>
                  <a:lnTo>
                    <a:pt x="383" y="51"/>
                  </a:lnTo>
                  <a:lnTo>
                    <a:pt x="385" y="50"/>
                  </a:lnTo>
                  <a:lnTo>
                    <a:pt x="383" y="49"/>
                  </a:lnTo>
                  <a:lnTo>
                    <a:pt x="383" y="47"/>
                  </a:lnTo>
                  <a:lnTo>
                    <a:pt x="385" y="47"/>
                  </a:lnTo>
                  <a:lnTo>
                    <a:pt x="386" y="46"/>
                  </a:lnTo>
                  <a:lnTo>
                    <a:pt x="387" y="45"/>
                  </a:lnTo>
                  <a:lnTo>
                    <a:pt x="386" y="44"/>
                  </a:lnTo>
                  <a:lnTo>
                    <a:pt x="385" y="43"/>
                  </a:lnTo>
                  <a:lnTo>
                    <a:pt x="386" y="43"/>
                  </a:lnTo>
                  <a:lnTo>
                    <a:pt x="387" y="41"/>
                  </a:lnTo>
                  <a:lnTo>
                    <a:pt x="388" y="41"/>
                  </a:lnTo>
                  <a:lnTo>
                    <a:pt x="389" y="40"/>
                  </a:lnTo>
                  <a:lnTo>
                    <a:pt x="392" y="40"/>
                  </a:lnTo>
                  <a:lnTo>
                    <a:pt x="393" y="39"/>
                  </a:lnTo>
                  <a:lnTo>
                    <a:pt x="392" y="38"/>
                  </a:lnTo>
                  <a:lnTo>
                    <a:pt x="391" y="36"/>
                  </a:lnTo>
                  <a:lnTo>
                    <a:pt x="392" y="36"/>
                  </a:lnTo>
                  <a:lnTo>
                    <a:pt x="393" y="36"/>
                  </a:lnTo>
                  <a:lnTo>
                    <a:pt x="395" y="35"/>
                  </a:lnTo>
                  <a:lnTo>
                    <a:pt x="398" y="34"/>
                  </a:lnTo>
                  <a:lnTo>
                    <a:pt x="395" y="36"/>
                  </a:lnTo>
                  <a:lnTo>
                    <a:pt x="394" y="38"/>
                  </a:lnTo>
                  <a:lnTo>
                    <a:pt x="397" y="38"/>
                  </a:lnTo>
                  <a:lnTo>
                    <a:pt x="397" y="36"/>
                  </a:lnTo>
                  <a:lnTo>
                    <a:pt x="398" y="36"/>
                  </a:lnTo>
                  <a:lnTo>
                    <a:pt x="400" y="38"/>
                  </a:lnTo>
                  <a:lnTo>
                    <a:pt x="403" y="36"/>
                  </a:lnTo>
                  <a:lnTo>
                    <a:pt x="403" y="38"/>
                  </a:lnTo>
                  <a:lnTo>
                    <a:pt x="403" y="39"/>
                  </a:lnTo>
                  <a:lnTo>
                    <a:pt x="404" y="39"/>
                  </a:lnTo>
                  <a:lnTo>
                    <a:pt x="405" y="40"/>
                  </a:lnTo>
                  <a:lnTo>
                    <a:pt x="403" y="40"/>
                  </a:lnTo>
                  <a:lnTo>
                    <a:pt x="401" y="40"/>
                  </a:lnTo>
                  <a:lnTo>
                    <a:pt x="403" y="41"/>
                  </a:lnTo>
                  <a:lnTo>
                    <a:pt x="403" y="43"/>
                  </a:lnTo>
                  <a:lnTo>
                    <a:pt x="404" y="44"/>
                  </a:lnTo>
                  <a:lnTo>
                    <a:pt x="400" y="43"/>
                  </a:lnTo>
                  <a:lnTo>
                    <a:pt x="403" y="45"/>
                  </a:lnTo>
                  <a:lnTo>
                    <a:pt x="403" y="46"/>
                  </a:lnTo>
                  <a:lnTo>
                    <a:pt x="401" y="46"/>
                  </a:lnTo>
                  <a:lnTo>
                    <a:pt x="401" y="47"/>
                  </a:lnTo>
                  <a:lnTo>
                    <a:pt x="400" y="47"/>
                  </a:lnTo>
                  <a:lnTo>
                    <a:pt x="399" y="46"/>
                  </a:lnTo>
                  <a:lnTo>
                    <a:pt x="398" y="45"/>
                  </a:lnTo>
                  <a:lnTo>
                    <a:pt x="395" y="47"/>
                  </a:lnTo>
                  <a:lnTo>
                    <a:pt x="395" y="50"/>
                  </a:lnTo>
                  <a:lnTo>
                    <a:pt x="394" y="51"/>
                  </a:lnTo>
                  <a:lnTo>
                    <a:pt x="395" y="52"/>
                  </a:lnTo>
                  <a:lnTo>
                    <a:pt x="397" y="51"/>
                  </a:lnTo>
                  <a:lnTo>
                    <a:pt x="398" y="52"/>
                  </a:lnTo>
                  <a:lnTo>
                    <a:pt x="398" y="53"/>
                  </a:lnTo>
                  <a:lnTo>
                    <a:pt x="399" y="55"/>
                  </a:lnTo>
                  <a:lnTo>
                    <a:pt x="401" y="56"/>
                  </a:lnTo>
                  <a:lnTo>
                    <a:pt x="401" y="55"/>
                  </a:lnTo>
                  <a:lnTo>
                    <a:pt x="401" y="51"/>
                  </a:lnTo>
                  <a:lnTo>
                    <a:pt x="401" y="50"/>
                  </a:lnTo>
                  <a:lnTo>
                    <a:pt x="403" y="51"/>
                  </a:lnTo>
                  <a:lnTo>
                    <a:pt x="405" y="50"/>
                  </a:lnTo>
                  <a:lnTo>
                    <a:pt x="404" y="52"/>
                  </a:lnTo>
                  <a:lnTo>
                    <a:pt x="405" y="52"/>
                  </a:lnTo>
                  <a:lnTo>
                    <a:pt x="406" y="53"/>
                  </a:lnTo>
                  <a:lnTo>
                    <a:pt x="406" y="55"/>
                  </a:lnTo>
                  <a:lnTo>
                    <a:pt x="407" y="55"/>
                  </a:lnTo>
                  <a:lnTo>
                    <a:pt x="409" y="56"/>
                  </a:lnTo>
                  <a:lnTo>
                    <a:pt x="407" y="57"/>
                  </a:lnTo>
                  <a:lnTo>
                    <a:pt x="406" y="58"/>
                  </a:lnTo>
                  <a:lnTo>
                    <a:pt x="405" y="59"/>
                  </a:lnTo>
                  <a:lnTo>
                    <a:pt x="405" y="61"/>
                  </a:lnTo>
                  <a:lnTo>
                    <a:pt x="405" y="63"/>
                  </a:lnTo>
                  <a:lnTo>
                    <a:pt x="405" y="64"/>
                  </a:lnTo>
                  <a:lnTo>
                    <a:pt x="406" y="63"/>
                  </a:lnTo>
                  <a:lnTo>
                    <a:pt x="406" y="61"/>
                  </a:lnTo>
                  <a:lnTo>
                    <a:pt x="406" y="59"/>
                  </a:lnTo>
                  <a:lnTo>
                    <a:pt x="407" y="58"/>
                  </a:lnTo>
                  <a:lnTo>
                    <a:pt x="407" y="59"/>
                  </a:lnTo>
                  <a:lnTo>
                    <a:pt x="410" y="61"/>
                  </a:lnTo>
                  <a:lnTo>
                    <a:pt x="411" y="61"/>
                  </a:lnTo>
                  <a:lnTo>
                    <a:pt x="411" y="59"/>
                  </a:lnTo>
                  <a:lnTo>
                    <a:pt x="413" y="62"/>
                  </a:lnTo>
                  <a:lnTo>
                    <a:pt x="415" y="61"/>
                  </a:lnTo>
                  <a:lnTo>
                    <a:pt x="416" y="61"/>
                  </a:lnTo>
                  <a:lnTo>
                    <a:pt x="417" y="61"/>
                  </a:lnTo>
                  <a:lnTo>
                    <a:pt x="417" y="58"/>
                  </a:lnTo>
                  <a:lnTo>
                    <a:pt x="417" y="61"/>
                  </a:lnTo>
                  <a:lnTo>
                    <a:pt x="418" y="62"/>
                  </a:lnTo>
                  <a:lnTo>
                    <a:pt x="419" y="65"/>
                  </a:lnTo>
                  <a:lnTo>
                    <a:pt x="422" y="67"/>
                  </a:lnTo>
                  <a:lnTo>
                    <a:pt x="422" y="68"/>
                  </a:lnTo>
                  <a:lnTo>
                    <a:pt x="423" y="67"/>
                  </a:lnTo>
                  <a:lnTo>
                    <a:pt x="425" y="64"/>
                  </a:lnTo>
                  <a:lnTo>
                    <a:pt x="425" y="63"/>
                  </a:lnTo>
                  <a:lnTo>
                    <a:pt x="424" y="62"/>
                  </a:lnTo>
                  <a:lnTo>
                    <a:pt x="424" y="59"/>
                  </a:lnTo>
                  <a:lnTo>
                    <a:pt x="425" y="59"/>
                  </a:lnTo>
                  <a:lnTo>
                    <a:pt x="425" y="57"/>
                  </a:lnTo>
                  <a:lnTo>
                    <a:pt x="422" y="55"/>
                  </a:lnTo>
                  <a:lnTo>
                    <a:pt x="419" y="52"/>
                  </a:lnTo>
                  <a:lnTo>
                    <a:pt x="417" y="50"/>
                  </a:lnTo>
                  <a:lnTo>
                    <a:pt x="415" y="50"/>
                  </a:lnTo>
                  <a:lnTo>
                    <a:pt x="415" y="47"/>
                  </a:lnTo>
                  <a:lnTo>
                    <a:pt x="411" y="47"/>
                  </a:lnTo>
                  <a:lnTo>
                    <a:pt x="412" y="45"/>
                  </a:lnTo>
                  <a:lnTo>
                    <a:pt x="410" y="44"/>
                  </a:lnTo>
                  <a:lnTo>
                    <a:pt x="412" y="44"/>
                  </a:lnTo>
                  <a:lnTo>
                    <a:pt x="412" y="43"/>
                  </a:lnTo>
                  <a:lnTo>
                    <a:pt x="413" y="41"/>
                  </a:lnTo>
                  <a:lnTo>
                    <a:pt x="415" y="41"/>
                  </a:lnTo>
                  <a:lnTo>
                    <a:pt x="416" y="40"/>
                  </a:lnTo>
                  <a:lnTo>
                    <a:pt x="417" y="41"/>
                  </a:lnTo>
                  <a:lnTo>
                    <a:pt x="418" y="41"/>
                  </a:lnTo>
                  <a:lnTo>
                    <a:pt x="418" y="45"/>
                  </a:lnTo>
                  <a:lnTo>
                    <a:pt x="418" y="46"/>
                  </a:lnTo>
                  <a:lnTo>
                    <a:pt x="419" y="44"/>
                  </a:lnTo>
                  <a:lnTo>
                    <a:pt x="419" y="45"/>
                  </a:lnTo>
                  <a:lnTo>
                    <a:pt x="419" y="49"/>
                  </a:lnTo>
                  <a:lnTo>
                    <a:pt x="421" y="50"/>
                  </a:lnTo>
                  <a:lnTo>
                    <a:pt x="422" y="49"/>
                  </a:lnTo>
                  <a:lnTo>
                    <a:pt x="422" y="46"/>
                  </a:lnTo>
                  <a:lnTo>
                    <a:pt x="423" y="46"/>
                  </a:lnTo>
                  <a:lnTo>
                    <a:pt x="424" y="45"/>
                  </a:lnTo>
                  <a:lnTo>
                    <a:pt x="425" y="46"/>
                  </a:lnTo>
                  <a:lnTo>
                    <a:pt x="427" y="45"/>
                  </a:lnTo>
                  <a:lnTo>
                    <a:pt x="428" y="45"/>
                  </a:lnTo>
                  <a:lnTo>
                    <a:pt x="429" y="46"/>
                  </a:lnTo>
                  <a:lnTo>
                    <a:pt x="428" y="47"/>
                  </a:lnTo>
                  <a:lnTo>
                    <a:pt x="428" y="50"/>
                  </a:lnTo>
                  <a:lnTo>
                    <a:pt x="427" y="51"/>
                  </a:lnTo>
                  <a:lnTo>
                    <a:pt x="425" y="52"/>
                  </a:lnTo>
                  <a:lnTo>
                    <a:pt x="425" y="53"/>
                  </a:lnTo>
                  <a:lnTo>
                    <a:pt x="427" y="56"/>
                  </a:lnTo>
                  <a:lnTo>
                    <a:pt x="428" y="59"/>
                  </a:lnTo>
                  <a:lnTo>
                    <a:pt x="429" y="55"/>
                  </a:lnTo>
                  <a:lnTo>
                    <a:pt x="430" y="57"/>
                  </a:lnTo>
                  <a:lnTo>
                    <a:pt x="430" y="58"/>
                  </a:lnTo>
                  <a:lnTo>
                    <a:pt x="431" y="58"/>
                  </a:lnTo>
                  <a:lnTo>
                    <a:pt x="433" y="57"/>
                  </a:lnTo>
                  <a:lnTo>
                    <a:pt x="434" y="58"/>
                  </a:lnTo>
                  <a:lnTo>
                    <a:pt x="434" y="56"/>
                  </a:lnTo>
                  <a:lnTo>
                    <a:pt x="433" y="57"/>
                  </a:lnTo>
                  <a:lnTo>
                    <a:pt x="434" y="55"/>
                  </a:lnTo>
                  <a:lnTo>
                    <a:pt x="439" y="52"/>
                  </a:lnTo>
                  <a:lnTo>
                    <a:pt x="440" y="52"/>
                  </a:lnTo>
                  <a:lnTo>
                    <a:pt x="440" y="49"/>
                  </a:lnTo>
                  <a:lnTo>
                    <a:pt x="444" y="49"/>
                  </a:lnTo>
                  <a:lnTo>
                    <a:pt x="440" y="46"/>
                  </a:lnTo>
                  <a:lnTo>
                    <a:pt x="444" y="49"/>
                  </a:lnTo>
                  <a:lnTo>
                    <a:pt x="445" y="47"/>
                  </a:lnTo>
                  <a:lnTo>
                    <a:pt x="446" y="47"/>
                  </a:lnTo>
                  <a:lnTo>
                    <a:pt x="447" y="47"/>
                  </a:lnTo>
                  <a:lnTo>
                    <a:pt x="447" y="46"/>
                  </a:lnTo>
                  <a:lnTo>
                    <a:pt x="448" y="46"/>
                  </a:lnTo>
                  <a:lnTo>
                    <a:pt x="451" y="50"/>
                  </a:lnTo>
                  <a:lnTo>
                    <a:pt x="452" y="46"/>
                  </a:lnTo>
                  <a:lnTo>
                    <a:pt x="451" y="45"/>
                  </a:lnTo>
                  <a:lnTo>
                    <a:pt x="452" y="45"/>
                  </a:lnTo>
                  <a:lnTo>
                    <a:pt x="453" y="41"/>
                  </a:lnTo>
                  <a:lnTo>
                    <a:pt x="453" y="44"/>
                  </a:lnTo>
                  <a:lnTo>
                    <a:pt x="454" y="45"/>
                  </a:lnTo>
                  <a:lnTo>
                    <a:pt x="453" y="46"/>
                  </a:lnTo>
                  <a:lnTo>
                    <a:pt x="452" y="47"/>
                  </a:lnTo>
                  <a:lnTo>
                    <a:pt x="452" y="49"/>
                  </a:lnTo>
                  <a:lnTo>
                    <a:pt x="453" y="50"/>
                  </a:lnTo>
                  <a:lnTo>
                    <a:pt x="454" y="51"/>
                  </a:lnTo>
                  <a:lnTo>
                    <a:pt x="456" y="51"/>
                  </a:lnTo>
                  <a:lnTo>
                    <a:pt x="456" y="50"/>
                  </a:lnTo>
                  <a:lnTo>
                    <a:pt x="458" y="51"/>
                  </a:lnTo>
                  <a:lnTo>
                    <a:pt x="459" y="51"/>
                  </a:lnTo>
                  <a:lnTo>
                    <a:pt x="460" y="51"/>
                  </a:lnTo>
                  <a:lnTo>
                    <a:pt x="460" y="53"/>
                  </a:lnTo>
                  <a:lnTo>
                    <a:pt x="463" y="55"/>
                  </a:lnTo>
                  <a:lnTo>
                    <a:pt x="463" y="58"/>
                  </a:lnTo>
                  <a:lnTo>
                    <a:pt x="463" y="61"/>
                  </a:lnTo>
                  <a:lnTo>
                    <a:pt x="464" y="62"/>
                  </a:lnTo>
                  <a:lnTo>
                    <a:pt x="465" y="61"/>
                  </a:lnTo>
                  <a:lnTo>
                    <a:pt x="466" y="62"/>
                  </a:lnTo>
                  <a:lnTo>
                    <a:pt x="468" y="63"/>
                  </a:lnTo>
                  <a:lnTo>
                    <a:pt x="470" y="64"/>
                  </a:lnTo>
                  <a:lnTo>
                    <a:pt x="472" y="62"/>
                  </a:lnTo>
                  <a:lnTo>
                    <a:pt x="471" y="61"/>
                  </a:lnTo>
                  <a:lnTo>
                    <a:pt x="472" y="61"/>
                  </a:lnTo>
                  <a:lnTo>
                    <a:pt x="471" y="57"/>
                  </a:lnTo>
                  <a:lnTo>
                    <a:pt x="474" y="57"/>
                  </a:lnTo>
                  <a:lnTo>
                    <a:pt x="475" y="57"/>
                  </a:lnTo>
                  <a:lnTo>
                    <a:pt x="476" y="56"/>
                  </a:lnTo>
                  <a:lnTo>
                    <a:pt x="476" y="57"/>
                  </a:lnTo>
                  <a:lnTo>
                    <a:pt x="477" y="57"/>
                  </a:lnTo>
                  <a:lnTo>
                    <a:pt x="476" y="58"/>
                  </a:lnTo>
                  <a:lnTo>
                    <a:pt x="474" y="61"/>
                  </a:lnTo>
                  <a:lnTo>
                    <a:pt x="475" y="61"/>
                  </a:lnTo>
                  <a:lnTo>
                    <a:pt x="476" y="61"/>
                  </a:lnTo>
                  <a:lnTo>
                    <a:pt x="477" y="61"/>
                  </a:lnTo>
                  <a:lnTo>
                    <a:pt x="478" y="58"/>
                  </a:lnTo>
                  <a:lnTo>
                    <a:pt x="480" y="58"/>
                  </a:lnTo>
                  <a:lnTo>
                    <a:pt x="481" y="58"/>
                  </a:lnTo>
                  <a:lnTo>
                    <a:pt x="480" y="61"/>
                  </a:lnTo>
                  <a:lnTo>
                    <a:pt x="481" y="61"/>
                  </a:lnTo>
                  <a:lnTo>
                    <a:pt x="482" y="62"/>
                  </a:lnTo>
                  <a:lnTo>
                    <a:pt x="482" y="63"/>
                  </a:lnTo>
                  <a:lnTo>
                    <a:pt x="482" y="64"/>
                  </a:lnTo>
                  <a:lnTo>
                    <a:pt x="483" y="65"/>
                  </a:lnTo>
                  <a:lnTo>
                    <a:pt x="484" y="65"/>
                  </a:lnTo>
                  <a:lnTo>
                    <a:pt x="484" y="67"/>
                  </a:lnTo>
                  <a:lnTo>
                    <a:pt x="487" y="67"/>
                  </a:lnTo>
                  <a:lnTo>
                    <a:pt x="486" y="67"/>
                  </a:lnTo>
                  <a:lnTo>
                    <a:pt x="484" y="68"/>
                  </a:lnTo>
                  <a:lnTo>
                    <a:pt x="486" y="69"/>
                  </a:lnTo>
                  <a:lnTo>
                    <a:pt x="487" y="70"/>
                  </a:lnTo>
                  <a:lnTo>
                    <a:pt x="488" y="71"/>
                  </a:lnTo>
                  <a:lnTo>
                    <a:pt x="489" y="71"/>
                  </a:lnTo>
                  <a:lnTo>
                    <a:pt x="489" y="73"/>
                  </a:lnTo>
                  <a:lnTo>
                    <a:pt x="490" y="74"/>
                  </a:lnTo>
                  <a:lnTo>
                    <a:pt x="492" y="74"/>
                  </a:lnTo>
                  <a:lnTo>
                    <a:pt x="490" y="75"/>
                  </a:lnTo>
                  <a:lnTo>
                    <a:pt x="490" y="76"/>
                  </a:lnTo>
                  <a:lnTo>
                    <a:pt x="493" y="75"/>
                  </a:lnTo>
                  <a:lnTo>
                    <a:pt x="494" y="75"/>
                  </a:lnTo>
                  <a:lnTo>
                    <a:pt x="492" y="77"/>
                  </a:lnTo>
                  <a:lnTo>
                    <a:pt x="492" y="79"/>
                  </a:lnTo>
                  <a:lnTo>
                    <a:pt x="493" y="79"/>
                  </a:lnTo>
                  <a:lnTo>
                    <a:pt x="495" y="79"/>
                  </a:lnTo>
                  <a:lnTo>
                    <a:pt x="495" y="80"/>
                  </a:lnTo>
                  <a:lnTo>
                    <a:pt x="495" y="79"/>
                  </a:lnTo>
                  <a:lnTo>
                    <a:pt x="495" y="80"/>
                  </a:lnTo>
                  <a:lnTo>
                    <a:pt x="495" y="82"/>
                  </a:lnTo>
                  <a:lnTo>
                    <a:pt x="497" y="82"/>
                  </a:lnTo>
                  <a:lnTo>
                    <a:pt x="498" y="81"/>
                  </a:lnTo>
                  <a:lnTo>
                    <a:pt x="498" y="80"/>
                  </a:lnTo>
                  <a:lnTo>
                    <a:pt x="498" y="81"/>
                  </a:lnTo>
                  <a:lnTo>
                    <a:pt x="501" y="82"/>
                  </a:lnTo>
                  <a:lnTo>
                    <a:pt x="501" y="81"/>
                  </a:lnTo>
                  <a:lnTo>
                    <a:pt x="501" y="80"/>
                  </a:lnTo>
                  <a:lnTo>
                    <a:pt x="503" y="80"/>
                  </a:lnTo>
                  <a:lnTo>
                    <a:pt x="501" y="79"/>
                  </a:lnTo>
                  <a:lnTo>
                    <a:pt x="500" y="76"/>
                  </a:lnTo>
                  <a:lnTo>
                    <a:pt x="499" y="76"/>
                  </a:lnTo>
                  <a:lnTo>
                    <a:pt x="501" y="76"/>
                  </a:lnTo>
                  <a:lnTo>
                    <a:pt x="501" y="75"/>
                  </a:lnTo>
                  <a:lnTo>
                    <a:pt x="503" y="75"/>
                  </a:lnTo>
                  <a:lnTo>
                    <a:pt x="503" y="74"/>
                  </a:lnTo>
                  <a:lnTo>
                    <a:pt x="506" y="73"/>
                  </a:lnTo>
                  <a:lnTo>
                    <a:pt x="505" y="75"/>
                  </a:lnTo>
                  <a:lnTo>
                    <a:pt x="505" y="76"/>
                  </a:lnTo>
                  <a:lnTo>
                    <a:pt x="505" y="77"/>
                  </a:lnTo>
                  <a:lnTo>
                    <a:pt x="506" y="76"/>
                  </a:lnTo>
                  <a:lnTo>
                    <a:pt x="507" y="79"/>
                  </a:lnTo>
                  <a:lnTo>
                    <a:pt x="510" y="79"/>
                  </a:lnTo>
                  <a:lnTo>
                    <a:pt x="510" y="80"/>
                  </a:lnTo>
                  <a:lnTo>
                    <a:pt x="510" y="79"/>
                  </a:lnTo>
                  <a:lnTo>
                    <a:pt x="511" y="75"/>
                  </a:lnTo>
                  <a:lnTo>
                    <a:pt x="513" y="74"/>
                  </a:lnTo>
                  <a:lnTo>
                    <a:pt x="512" y="77"/>
                  </a:lnTo>
                  <a:lnTo>
                    <a:pt x="511" y="80"/>
                  </a:lnTo>
                  <a:lnTo>
                    <a:pt x="513" y="79"/>
                  </a:lnTo>
                  <a:lnTo>
                    <a:pt x="512" y="80"/>
                  </a:lnTo>
                  <a:lnTo>
                    <a:pt x="513" y="82"/>
                  </a:lnTo>
                  <a:lnTo>
                    <a:pt x="512" y="83"/>
                  </a:lnTo>
                  <a:lnTo>
                    <a:pt x="518" y="86"/>
                  </a:lnTo>
                  <a:lnTo>
                    <a:pt x="512" y="85"/>
                  </a:lnTo>
                  <a:lnTo>
                    <a:pt x="513" y="86"/>
                  </a:lnTo>
                  <a:lnTo>
                    <a:pt x="513" y="87"/>
                  </a:lnTo>
                  <a:lnTo>
                    <a:pt x="512" y="86"/>
                  </a:lnTo>
                  <a:lnTo>
                    <a:pt x="511" y="85"/>
                  </a:lnTo>
                  <a:lnTo>
                    <a:pt x="510" y="86"/>
                  </a:lnTo>
                  <a:lnTo>
                    <a:pt x="510" y="87"/>
                  </a:lnTo>
                  <a:lnTo>
                    <a:pt x="510" y="88"/>
                  </a:lnTo>
                  <a:lnTo>
                    <a:pt x="510" y="89"/>
                  </a:lnTo>
                  <a:lnTo>
                    <a:pt x="509" y="91"/>
                  </a:lnTo>
                  <a:lnTo>
                    <a:pt x="510" y="93"/>
                  </a:lnTo>
                  <a:lnTo>
                    <a:pt x="509" y="95"/>
                  </a:lnTo>
                  <a:lnTo>
                    <a:pt x="509" y="97"/>
                  </a:lnTo>
                  <a:lnTo>
                    <a:pt x="511" y="94"/>
                  </a:lnTo>
                  <a:lnTo>
                    <a:pt x="511" y="97"/>
                  </a:lnTo>
                  <a:lnTo>
                    <a:pt x="511" y="98"/>
                  </a:lnTo>
                  <a:lnTo>
                    <a:pt x="512" y="97"/>
                  </a:lnTo>
                  <a:lnTo>
                    <a:pt x="512" y="98"/>
                  </a:lnTo>
                  <a:lnTo>
                    <a:pt x="512" y="101"/>
                  </a:lnTo>
                  <a:lnTo>
                    <a:pt x="513" y="101"/>
                  </a:lnTo>
                  <a:lnTo>
                    <a:pt x="513" y="103"/>
                  </a:lnTo>
                  <a:lnTo>
                    <a:pt x="511" y="104"/>
                  </a:lnTo>
                  <a:lnTo>
                    <a:pt x="512" y="105"/>
                  </a:lnTo>
                  <a:lnTo>
                    <a:pt x="513" y="105"/>
                  </a:lnTo>
                  <a:lnTo>
                    <a:pt x="515" y="104"/>
                  </a:lnTo>
                  <a:lnTo>
                    <a:pt x="517" y="105"/>
                  </a:lnTo>
                  <a:lnTo>
                    <a:pt x="518" y="105"/>
                  </a:lnTo>
                  <a:lnTo>
                    <a:pt x="518" y="104"/>
                  </a:lnTo>
                  <a:lnTo>
                    <a:pt x="519" y="104"/>
                  </a:lnTo>
                  <a:lnTo>
                    <a:pt x="521" y="105"/>
                  </a:lnTo>
                  <a:lnTo>
                    <a:pt x="522" y="104"/>
                  </a:lnTo>
                  <a:lnTo>
                    <a:pt x="521" y="101"/>
                  </a:lnTo>
                  <a:lnTo>
                    <a:pt x="522" y="99"/>
                  </a:lnTo>
                  <a:lnTo>
                    <a:pt x="523" y="98"/>
                  </a:lnTo>
                  <a:lnTo>
                    <a:pt x="523" y="99"/>
                  </a:lnTo>
                  <a:lnTo>
                    <a:pt x="523" y="101"/>
                  </a:lnTo>
                  <a:lnTo>
                    <a:pt x="524" y="101"/>
                  </a:lnTo>
                  <a:lnTo>
                    <a:pt x="525" y="101"/>
                  </a:lnTo>
                  <a:lnTo>
                    <a:pt x="527" y="100"/>
                  </a:lnTo>
                  <a:lnTo>
                    <a:pt x="525" y="103"/>
                  </a:lnTo>
                  <a:lnTo>
                    <a:pt x="527" y="103"/>
                  </a:lnTo>
                  <a:lnTo>
                    <a:pt x="528" y="103"/>
                  </a:lnTo>
                  <a:lnTo>
                    <a:pt x="528" y="104"/>
                  </a:lnTo>
                  <a:lnTo>
                    <a:pt x="527" y="105"/>
                  </a:lnTo>
                  <a:lnTo>
                    <a:pt x="529" y="105"/>
                  </a:lnTo>
                  <a:lnTo>
                    <a:pt x="530" y="105"/>
                  </a:lnTo>
                  <a:lnTo>
                    <a:pt x="530" y="104"/>
                  </a:lnTo>
                  <a:lnTo>
                    <a:pt x="530" y="105"/>
                  </a:lnTo>
                  <a:lnTo>
                    <a:pt x="534" y="106"/>
                  </a:lnTo>
                  <a:lnTo>
                    <a:pt x="533" y="107"/>
                  </a:lnTo>
                  <a:lnTo>
                    <a:pt x="531" y="109"/>
                  </a:lnTo>
                  <a:lnTo>
                    <a:pt x="530" y="109"/>
                  </a:lnTo>
                  <a:lnTo>
                    <a:pt x="531" y="110"/>
                  </a:lnTo>
                  <a:lnTo>
                    <a:pt x="533" y="111"/>
                  </a:lnTo>
                  <a:lnTo>
                    <a:pt x="530" y="112"/>
                  </a:lnTo>
                  <a:lnTo>
                    <a:pt x="530" y="113"/>
                  </a:lnTo>
                  <a:lnTo>
                    <a:pt x="529" y="112"/>
                  </a:lnTo>
                  <a:lnTo>
                    <a:pt x="528" y="115"/>
                  </a:lnTo>
                  <a:lnTo>
                    <a:pt x="527" y="115"/>
                  </a:lnTo>
                  <a:lnTo>
                    <a:pt x="525" y="112"/>
                  </a:lnTo>
                  <a:lnTo>
                    <a:pt x="524" y="112"/>
                  </a:lnTo>
                  <a:lnTo>
                    <a:pt x="524" y="115"/>
                  </a:lnTo>
                  <a:lnTo>
                    <a:pt x="524" y="116"/>
                  </a:lnTo>
                  <a:lnTo>
                    <a:pt x="523" y="116"/>
                  </a:lnTo>
                  <a:lnTo>
                    <a:pt x="522" y="117"/>
                  </a:lnTo>
                  <a:lnTo>
                    <a:pt x="521" y="117"/>
                  </a:lnTo>
                  <a:lnTo>
                    <a:pt x="521" y="118"/>
                  </a:lnTo>
                  <a:lnTo>
                    <a:pt x="519" y="118"/>
                  </a:lnTo>
                  <a:lnTo>
                    <a:pt x="518" y="117"/>
                  </a:lnTo>
                  <a:lnTo>
                    <a:pt x="517" y="118"/>
                  </a:lnTo>
                  <a:lnTo>
                    <a:pt x="516" y="117"/>
                  </a:lnTo>
                  <a:lnTo>
                    <a:pt x="515" y="117"/>
                  </a:lnTo>
                  <a:lnTo>
                    <a:pt x="515" y="119"/>
                  </a:lnTo>
                  <a:lnTo>
                    <a:pt x="513" y="122"/>
                  </a:lnTo>
                  <a:lnTo>
                    <a:pt x="513" y="124"/>
                  </a:lnTo>
                  <a:lnTo>
                    <a:pt x="515" y="123"/>
                  </a:lnTo>
                  <a:lnTo>
                    <a:pt x="516" y="122"/>
                  </a:lnTo>
                  <a:lnTo>
                    <a:pt x="517" y="123"/>
                  </a:lnTo>
                  <a:lnTo>
                    <a:pt x="519" y="123"/>
                  </a:lnTo>
                  <a:lnTo>
                    <a:pt x="521" y="123"/>
                  </a:lnTo>
                  <a:lnTo>
                    <a:pt x="521" y="121"/>
                  </a:lnTo>
                  <a:lnTo>
                    <a:pt x="522" y="121"/>
                  </a:lnTo>
                  <a:lnTo>
                    <a:pt x="523" y="123"/>
                  </a:lnTo>
                  <a:lnTo>
                    <a:pt x="523" y="125"/>
                  </a:lnTo>
                  <a:lnTo>
                    <a:pt x="524" y="125"/>
                  </a:lnTo>
                  <a:lnTo>
                    <a:pt x="525" y="127"/>
                  </a:lnTo>
                  <a:lnTo>
                    <a:pt x="525" y="128"/>
                  </a:lnTo>
                  <a:lnTo>
                    <a:pt x="527" y="130"/>
                  </a:lnTo>
                  <a:lnTo>
                    <a:pt x="528" y="130"/>
                  </a:lnTo>
                  <a:lnTo>
                    <a:pt x="529" y="130"/>
                  </a:lnTo>
                  <a:lnTo>
                    <a:pt x="531" y="129"/>
                  </a:lnTo>
                  <a:lnTo>
                    <a:pt x="533" y="129"/>
                  </a:lnTo>
                  <a:lnTo>
                    <a:pt x="531" y="130"/>
                  </a:lnTo>
                  <a:lnTo>
                    <a:pt x="530" y="133"/>
                  </a:lnTo>
                  <a:lnTo>
                    <a:pt x="529" y="133"/>
                  </a:lnTo>
                  <a:lnTo>
                    <a:pt x="528" y="134"/>
                  </a:lnTo>
                  <a:lnTo>
                    <a:pt x="530" y="134"/>
                  </a:lnTo>
                  <a:lnTo>
                    <a:pt x="528" y="135"/>
                  </a:lnTo>
                  <a:lnTo>
                    <a:pt x="528" y="136"/>
                  </a:lnTo>
                  <a:lnTo>
                    <a:pt x="528" y="137"/>
                  </a:lnTo>
                  <a:lnTo>
                    <a:pt x="525" y="140"/>
                  </a:lnTo>
                  <a:lnTo>
                    <a:pt x="527" y="140"/>
                  </a:lnTo>
                  <a:lnTo>
                    <a:pt x="525" y="141"/>
                  </a:lnTo>
                  <a:lnTo>
                    <a:pt x="527" y="143"/>
                  </a:lnTo>
                  <a:lnTo>
                    <a:pt x="528" y="146"/>
                  </a:lnTo>
                  <a:lnTo>
                    <a:pt x="529" y="145"/>
                  </a:lnTo>
                  <a:lnTo>
                    <a:pt x="529" y="142"/>
                  </a:lnTo>
                  <a:lnTo>
                    <a:pt x="529" y="141"/>
                  </a:lnTo>
                  <a:lnTo>
                    <a:pt x="529" y="140"/>
                  </a:lnTo>
                  <a:lnTo>
                    <a:pt x="530" y="140"/>
                  </a:lnTo>
                  <a:lnTo>
                    <a:pt x="533" y="140"/>
                  </a:lnTo>
                  <a:lnTo>
                    <a:pt x="533" y="139"/>
                  </a:lnTo>
                  <a:lnTo>
                    <a:pt x="534" y="140"/>
                  </a:lnTo>
                  <a:lnTo>
                    <a:pt x="534" y="142"/>
                  </a:lnTo>
                  <a:lnTo>
                    <a:pt x="535" y="142"/>
                  </a:lnTo>
                  <a:lnTo>
                    <a:pt x="536" y="142"/>
                  </a:lnTo>
                  <a:lnTo>
                    <a:pt x="537" y="142"/>
                  </a:lnTo>
                  <a:lnTo>
                    <a:pt x="540" y="145"/>
                  </a:lnTo>
                  <a:lnTo>
                    <a:pt x="540" y="143"/>
                  </a:lnTo>
                  <a:lnTo>
                    <a:pt x="541" y="143"/>
                  </a:lnTo>
                  <a:lnTo>
                    <a:pt x="540" y="146"/>
                  </a:lnTo>
                  <a:lnTo>
                    <a:pt x="541" y="146"/>
                  </a:lnTo>
                  <a:lnTo>
                    <a:pt x="541" y="147"/>
                  </a:lnTo>
                  <a:lnTo>
                    <a:pt x="541" y="148"/>
                  </a:lnTo>
                  <a:lnTo>
                    <a:pt x="541" y="150"/>
                  </a:lnTo>
                  <a:lnTo>
                    <a:pt x="539" y="150"/>
                  </a:lnTo>
                  <a:lnTo>
                    <a:pt x="537" y="150"/>
                  </a:lnTo>
                  <a:lnTo>
                    <a:pt x="537" y="151"/>
                  </a:lnTo>
                  <a:lnTo>
                    <a:pt x="537" y="152"/>
                  </a:lnTo>
                  <a:lnTo>
                    <a:pt x="539" y="152"/>
                  </a:lnTo>
                  <a:lnTo>
                    <a:pt x="540" y="153"/>
                  </a:lnTo>
                  <a:lnTo>
                    <a:pt x="539" y="153"/>
                  </a:lnTo>
                  <a:lnTo>
                    <a:pt x="537" y="153"/>
                  </a:lnTo>
                  <a:lnTo>
                    <a:pt x="536" y="153"/>
                  </a:lnTo>
                  <a:lnTo>
                    <a:pt x="537" y="154"/>
                  </a:lnTo>
                  <a:lnTo>
                    <a:pt x="537" y="156"/>
                  </a:lnTo>
                  <a:lnTo>
                    <a:pt x="537" y="158"/>
                  </a:lnTo>
                  <a:lnTo>
                    <a:pt x="536" y="159"/>
                  </a:lnTo>
                  <a:lnTo>
                    <a:pt x="537" y="160"/>
                  </a:lnTo>
                  <a:lnTo>
                    <a:pt x="539" y="162"/>
                  </a:lnTo>
                  <a:lnTo>
                    <a:pt x="539" y="159"/>
                  </a:lnTo>
                  <a:lnTo>
                    <a:pt x="540" y="157"/>
                  </a:lnTo>
                  <a:lnTo>
                    <a:pt x="540" y="158"/>
                  </a:lnTo>
                  <a:lnTo>
                    <a:pt x="541" y="159"/>
                  </a:lnTo>
                  <a:lnTo>
                    <a:pt x="542" y="160"/>
                  </a:lnTo>
                  <a:lnTo>
                    <a:pt x="543" y="163"/>
                  </a:lnTo>
                  <a:lnTo>
                    <a:pt x="542" y="163"/>
                  </a:lnTo>
                  <a:lnTo>
                    <a:pt x="541" y="163"/>
                  </a:lnTo>
                  <a:lnTo>
                    <a:pt x="540" y="164"/>
                  </a:lnTo>
                  <a:lnTo>
                    <a:pt x="539" y="166"/>
                  </a:lnTo>
                  <a:lnTo>
                    <a:pt x="539" y="168"/>
                  </a:lnTo>
                  <a:lnTo>
                    <a:pt x="540" y="169"/>
                  </a:lnTo>
                  <a:lnTo>
                    <a:pt x="541" y="166"/>
                  </a:lnTo>
                  <a:lnTo>
                    <a:pt x="541" y="168"/>
                  </a:lnTo>
                  <a:lnTo>
                    <a:pt x="542" y="166"/>
                  </a:lnTo>
                  <a:lnTo>
                    <a:pt x="543" y="166"/>
                  </a:lnTo>
                  <a:lnTo>
                    <a:pt x="545" y="166"/>
                  </a:lnTo>
                  <a:lnTo>
                    <a:pt x="546" y="165"/>
                  </a:lnTo>
                  <a:lnTo>
                    <a:pt x="547" y="165"/>
                  </a:lnTo>
                  <a:lnTo>
                    <a:pt x="549" y="164"/>
                  </a:lnTo>
                  <a:lnTo>
                    <a:pt x="549" y="163"/>
                  </a:lnTo>
                  <a:lnTo>
                    <a:pt x="548" y="162"/>
                  </a:lnTo>
                  <a:lnTo>
                    <a:pt x="548" y="160"/>
                  </a:lnTo>
                  <a:lnTo>
                    <a:pt x="551" y="162"/>
                  </a:lnTo>
                  <a:lnTo>
                    <a:pt x="552" y="162"/>
                  </a:lnTo>
                  <a:lnTo>
                    <a:pt x="556" y="160"/>
                  </a:lnTo>
                  <a:lnTo>
                    <a:pt x="553" y="163"/>
                  </a:lnTo>
                  <a:lnTo>
                    <a:pt x="552" y="164"/>
                  </a:lnTo>
                  <a:lnTo>
                    <a:pt x="552" y="165"/>
                  </a:lnTo>
                  <a:lnTo>
                    <a:pt x="553" y="165"/>
                  </a:lnTo>
                  <a:lnTo>
                    <a:pt x="554" y="166"/>
                  </a:lnTo>
                  <a:lnTo>
                    <a:pt x="556" y="165"/>
                  </a:lnTo>
                  <a:lnTo>
                    <a:pt x="556" y="166"/>
                  </a:lnTo>
                  <a:lnTo>
                    <a:pt x="557" y="166"/>
                  </a:lnTo>
                  <a:lnTo>
                    <a:pt x="560" y="166"/>
                  </a:lnTo>
                  <a:lnTo>
                    <a:pt x="560" y="168"/>
                  </a:lnTo>
                  <a:lnTo>
                    <a:pt x="559" y="168"/>
                  </a:lnTo>
                  <a:lnTo>
                    <a:pt x="557" y="168"/>
                  </a:lnTo>
                  <a:lnTo>
                    <a:pt x="554" y="168"/>
                  </a:lnTo>
                  <a:lnTo>
                    <a:pt x="554" y="169"/>
                  </a:lnTo>
                  <a:lnTo>
                    <a:pt x="556" y="169"/>
                  </a:lnTo>
                  <a:lnTo>
                    <a:pt x="557" y="170"/>
                  </a:lnTo>
                  <a:lnTo>
                    <a:pt x="558" y="171"/>
                  </a:lnTo>
                  <a:lnTo>
                    <a:pt x="557" y="171"/>
                  </a:lnTo>
                  <a:lnTo>
                    <a:pt x="556" y="171"/>
                  </a:lnTo>
                  <a:lnTo>
                    <a:pt x="554" y="172"/>
                  </a:lnTo>
                  <a:lnTo>
                    <a:pt x="553" y="174"/>
                  </a:lnTo>
                  <a:lnTo>
                    <a:pt x="551" y="174"/>
                  </a:lnTo>
                  <a:lnTo>
                    <a:pt x="551" y="176"/>
                  </a:lnTo>
                  <a:lnTo>
                    <a:pt x="551" y="177"/>
                  </a:lnTo>
                  <a:lnTo>
                    <a:pt x="551" y="178"/>
                  </a:lnTo>
                  <a:lnTo>
                    <a:pt x="549" y="177"/>
                  </a:lnTo>
                  <a:lnTo>
                    <a:pt x="546" y="176"/>
                  </a:lnTo>
                  <a:lnTo>
                    <a:pt x="543" y="177"/>
                  </a:lnTo>
                  <a:lnTo>
                    <a:pt x="543" y="178"/>
                  </a:lnTo>
                  <a:lnTo>
                    <a:pt x="547" y="180"/>
                  </a:lnTo>
                  <a:lnTo>
                    <a:pt x="551" y="180"/>
                  </a:lnTo>
                  <a:lnTo>
                    <a:pt x="554" y="177"/>
                  </a:lnTo>
                  <a:lnTo>
                    <a:pt x="554" y="178"/>
                  </a:lnTo>
                  <a:lnTo>
                    <a:pt x="556" y="177"/>
                  </a:lnTo>
                  <a:lnTo>
                    <a:pt x="558" y="177"/>
                  </a:lnTo>
                  <a:lnTo>
                    <a:pt x="557" y="178"/>
                  </a:lnTo>
                  <a:lnTo>
                    <a:pt x="558" y="181"/>
                  </a:lnTo>
                  <a:lnTo>
                    <a:pt x="559" y="181"/>
                  </a:lnTo>
                  <a:lnTo>
                    <a:pt x="559" y="183"/>
                  </a:lnTo>
                  <a:lnTo>
                    <a:pt x="557" y="183"/>
                  </a:lnTo>
                  <a:lnTo>
                    <a:pt x="556" y="182"/>
                  </a:lnTo>
                  <a:lnTo>
                    <a:pt x="554" y="183"/>
                  </a:lnTo>
                  <a:lnTo>
                    <a:pt x="554" y="184"/>
                  </a:lnTo>
                  <a:lnTo>
                    <a:pt x="553" y="184"/>
                  </a:lnTo>
                  <a:lnTo>
                    <a:pt x="552" y="183"/>
                  </a:lnTo>
                  <a:lnTo>
                    <a:pt x="552" y="181"/>
                  </a:lnTo>
                  <a:lnTo>
                    <a:pt x="551" y="181"/>
                  </a:lnTo>
                  <a:lnTo>
                    <a:pt x="547" y="181"/>
                  </a:lnTo>
                  <a:lnTo>
                    <a:pt x="545" y="181"/>
                  </a:lnTo>
                  <a:lnTo>
                    <a:pt x="545" y="182"/>
                  </a:lnTo>
                  <a:lnTo>
                    <a:pt x="546" y="182"/>
                  </a:lnTo>
                  <a:lnTo>
                    <a:pt x="547" y="182"/>
                  </a:lnTo>
                  <a:lnTo>
                    <a:pt x="547" y="184"/>
                  </a:lnTo>
                  <a:lnTo>
                    <a:pt x="548" y="184"/>
                  </a:lnTo>
                  <a:lnTo>
                    <a:pt x="548" y="186"/>
                  </a:lnTo>
                  <a:lnTo>
                    <a:pt x="547" y="187"/>
                  </a:lnTo>
                  <a:lnTo>
                    <a:pt x="547" y="189"/>
                  </a:lnTo>
                  <a:lnTo>
                    <a:pt x="546" y="189"/>
                  </a:lnTo>
                  <a:lnTo>
                    <a:pt x="545" y="190"/>
                  </a:lnTo>
                  <a:lnTo>
                    <a:pt x="546" y="190"/>
                  </a:lnTo>
                  <a:lnTo>
                    <a:pt x="548" y="189"/>
                  </a:lnTo>
                  <a:lnTo>
                    <a:pt x="547" y="192"/>
                  </a:lnTo>
                  <a:lnTo>
                    <a:pt x="547" y="194"/>
                  </a:lnTo>
                  <a:lnTo>
                    <a:pt x="548" y="194"/>
                  </a:lnTo>
                  <a:lnTo>
                    <a:pt x="547" y="195"/>
                  </a:lnTo>
                  <a:lnTo>
                    <a:pt x="548" y="196"/>
                  </a:lnTo>
                  <a:lnTo>
                    <a:pt x="549" y="196"/>
                  </a:lnTo>
                  <a:lnTo>
                    <a:pt x="547" y="198"/>
                  </a:lnTo>
                  <a:lnTo>
                    <a:pt x="547" y="200"/>
                  </a:lnTo>
                  <a:lnTo>
                    <a:pt x="548" y="201"/>
                  </a:lnTo>
                  <a:lnTo>
                    <a:pt x="551" y="201"/>
                  </a:lnTo>
                  <a:lnTo>
                    <a:pt x="551" y="202"/>
                  </a:lnTo>
                  <a:lnTo>
                    <a:pt x="549" y="204"/>
                  </a:lnTo>
                  <a:lnTo>
                    <a:pt x="548" y="202"/>
                  </a:lnTo>
                  <a:lnTo>
                    <a:pt x="546" y="202"/>
                  </a:lnTo>
                  <a:lnTo>
                    <a:pt x="547" y="204"/>
                  </a:lnTo>
                  <a:lnTo>
                    <a:pt x="547" y="205"/>
                  </a:lnTo>
                  <a:lnTo>
                    <a:pt x="548" y="205"/>
                  </a:lnTo>
                  <a:lnTo>
                    <a:pt x="548" y="207"/>
                  </a:lnTo>
                  <a:lnTo>
                    <a:pt x="547" y="207"/>
                  </a:lnTo>
                  <a:lnTo>
                    <a:pt x="547" y="208"/>
                  </a:lnTo>
                  <a:lnTo>
                    <a:pt x="546" y="207"/>
                  </a:lnTo>
                  <a:lnTo>
                    <a:pt x="546" y="205"/>
                  </a:lnTo>
                  <a:lnTo>
                    <a:pt x="545" y="205"/>
                  </a:lnTo>
                  <a:lnTo>
                    <a:pt x="543" y="205"/>
                  </a:lnTo>
                  <a:lnTo>
                    <a:pt x="542" y="205"/>
                  </a:lnTo>
                  <a:lnTo>
                    <a:pt x="541" y="205"/>
                  </a:lnTo>
                  <a:lnTo>
                    <a:pt x="540" y="204"/>
                  </a:lnTo>
                  <a:lnTo>
                    <a:pt x="537" y="204"/>
                  </a:lnTo>
                  <a:lnTo>
                    <a:pt x="536" y="204"/>
                  </a:lnTo>
                  <a:lnTo>
                    <a:pt x="536" y="205"/>
                  </a:lnTo>
                  <a:lnTo>
                    <a:pt x="537" y="206"/>
                  </a:lnTo>
                  <a:lnTo>
                    <a:pt x="537" y="205"/>
                  </a:lnTo>
                  <a:lnTo>
                    <a:pt x="539" y="205"/>
                  </a:lnTo>
                  <a:lnTo>
                    <a:pt x="539" y="207"/>
                  </a:lnTo>
                  <a:lnTo>
                    <a:pt x="540" y="207"/>
                  </a:lnTo>
                  <a:lnTo>
                    <a:pt x="539" y="208"/>
                  </a:lnTo>
                  <a:lnTo>
                    <a:pt x="540" y="210"/>
                  </a:lnTo>
                  <a:lnTo>
                    <a:pt x="541" y="208"/>
                  </a:lnTo>
                  <a:lnTo>
                    <a:pt x="541" y="210"/>
                  </a:lnTo>
                  <a:lnTo>
                    <a:pt x="541" y="211"/>
                  </a:lnTo>
                  <a:lnTo>
                    <a:pt x="541" y="212"/>
                  </a:lnTo>
                  <a:lnTo>
                    <a:pt x="540" y="217"/>
                  </a:lnTo>
                  <a:lnTo>
                    <a:pt x="543" y="217"/>
                  </a:lnTo>
                  <a:lnTo>
                    <a:pt x="543" y="219"/>
                  </a:lnTo>
                  <a:lnTo>
                    <a:pt x="546" y="219"/>
                  </a:lnTo>
                  <a:lnTo>
                    <a:pt x="547" y="220"/>
                  </a:lnTo>
                  <a:lnTo>
                    <a:pt x="548" y="220"/>
                  </a:lnTo>
                  <a:lnTo>
                    <a:pt x="549" y="219"/>
                  </a:lnTo>
                  <a:lnTo>
                    <a:pt x="549" y="220"/>
                  </a:lnTo>
                  <a:lnTo>
                    <a:pt x="549" y="222"/>
                  </a:lnTo>
                  <a:lnTo>
                    <a:pt x="552" y="222"/>
                  </a:lnTo>
                  <a:lnTo>
                    <a:pt x="553" y="220"/>
                  </a:lnTo>
                  <a:lnTo>
                    <a:pt x="554" y="219"/>
                  </a:lnTo>
                  <a:lnTo>
                    <a:pt x="556" y="220"/>
                  </a:lnTo>
                  <a:lnTo>
                    <a:pt x="556" y="222"/>
                  </a:lnTo>
                  <a:lnTo>
                    <a:pt x="553" y="223"/>
                  </a:lnTo>
                  <a:lnTo>
                    <a:pt x="554" y="224"/>
                  </a:lnTo>
                  <a:lnTo>
                    <a:pt x="557" y="224"/>
                  </a:lnTo>
                  <a:lnTo>
                    <a:pt x="557" y="226"/>
                  </a:lnTo>
                  <a:lnTo>
                    <a:pt x="558" y="228"/>
                  </a:lnTo>
                  <a:lnTo>
                    <a:pt x="559" y="226"/>
                  </a:lnTo>
                  <a:lnTo>
                    <a:pt x="560" y="226"/>
                  </a:lnTo>
                  <a:lnTo>
                    <a:pt x="562" y="226"/>
                  </a:lnTo>
                  <a:lnTo>
                    <a:pt x="562" y="225"/>
                  </a:lnTo>
                  <a:lnTo>
                    <a:pt x="563" y="224"/>
                  </a:lnTo>
                  <a:lnTo>
                    <a:pt x="563" y="225"/>
                  </a:lnTo>
                  <a:lnTo>
                    <a:pt x="563" y="226"/>
                  </a:lnTo>
                  <a:lnTo>
                    <a:pt x="564" y="226"/>
                  </a:lnTo>
                  <a:lnTo>
                    <a:pt x="565" y="226"/>
                  </a:lnTo>
                  <a:lnTo>
                    <a:pt x="566" y="225"/>
                  </a:lnTo>
                  <a:lnTo>
                    <a:pt x="566" y="224"/>
                  </a:lnTo>
                  <a:lnTo>
                    <a:pt x="568" y="223"/>
                  </a:lnTo>
                  <a:lnTo>
                    <a:pt x="569" y="224"/>
                  </a:lnTo>
                  <a:lnTo>
                    <a:pt x="569" y="225"/>
                  </a:lnTo>
                  <a:lnTo>
                    <a:pt x="568" y="230"/>
                  </a:lnTo>
                  <a:lnTo>
                    <a:pt x="566" y="230"/>
                  </a:lnTo>
                  <a:lnTo>
                    <a:pt x="565" y="231"/>
                  </a:lnTo>
                  <a:lnTo>
                    <a:pt x="565" y="232"/>
                  </a:lnTo>
                  <a:lnTo>
                    <a:pt x="564" y="231"/>
                  </a:lnTo>
                  <a:lnTo>
                    <a:pt x="563" y="231"/>
                  </a:lnTo>
                  <a:lnTo>
                    <a:pt x="564" y="234"/>
                  </a:lnTo>
                  <a:lnTo>
                    <a:pt x="563" y="234"/>
                  </a:lnTo>
                  <a:lnTo>
                    <a:pt x="562" y="234"/>
                  </a:lnTo>
                  <a:lnTo>
                    <a:pt x="558" y="235"/>
                  </a:lnTo>
                  <a:lnTo>
                    <a:pt x="557" y="235"/>
                  </a:lnTo>
                  <a:lnTo>
                    <a:pt x="556" y="236"/>
                  </a:lnTo>
                  <a:lnTo>
                    <a:pt x="554" y="236"/>
                  </a:lnTo>
                  <a:lnTo>
                    <a:pt x="553" y="238"/>
                  </a:lnTo>
                  <a:lnTo>
                    <a:pt x="552" y="238"/>
                  </a:lnTo>
                  <a:lnTo>
                    <a:pt x="549" y="238"/>
                  </a:lnTo>
                  <a:lnTo>
                    <a:pt x="551" y="240"/>
                  </a:lnTo>
                  <a:lnTo>
                    <a:pt x="552" y="241"/>
                  </a:lnTo>
                  <a:lnTo>
                    <a:pt x="552" y="242"/>
                  </a:lnTo>
                  <a:lnTo>
                    <a:pt x="554" y="241"/>
                  </a:lnTo>
                  <a:lnTo>
                    <a:pt x="554" y="242"/>
                  </a:lnTo>
                  <a:lnTo>
                    <a:pt x="557" y="242"/>
                  </a:lnTo>
                  <a:lnTo>
                    <a:pt x="557" y="240"/>
                  </a:lnTo>
                  <a:lnTo>
                    <a:pt x="559" y="241"/>
                  </a:lnTo>
                  <a:lnTo>
                    <a:pt x="563" y="240"/>
                  </a:lnTo>
                  <a:lnTo>
                    <a:pt x="564" y="238"/>
                  </a:lnTo>
                  <a:lnTo>
                    <a:pt x="564" y="237"/>
                  </a:lnTo>
                  <a:lnTo>
                    <a:pt x="564" y="236"/>
                  </a:lnTo>
                  <a:lnTo>
                    <a:pt x="564" y="235"/>
                  </a:lnTo>
                  <a:lnTo>
                    <a:pt x="566" y="235"/>
                  </a:lnTo>
                  <a:lnTo>
                    <a:pt x="568" y="234"/>
                  </a:lnTo>
                  <a:lnTo>
                    <a:pt x="570" y="236"/>
                  </a:lnTo>
                  <a:lnTo>
                    <a:pt x="571" y="235"/>
                  </a:lnTo>
                  <a:lnTo>
                    <a:pt x="572" y="235"/>
                  </a:lnTo>
                  <a:lnTo>
                    <a:pt x="574" y="232"/>
                  </a:lnTo>
                  <a:lnTo>
                    <a:pt x="574" y="235"/>
                  </a:lnTo>
                  <a:lnTo>
                    <a:pt x="575" y="235"/>
                  </a:lnTo>
                  <a:lnTo>
                    <a:pt x="576" y="235"/>
                  </a:lnTo>
                  <a:lnTo>
                    <a:pt x="578" y="235"/>
                  </a:lnTo>
                  <a:lnTo>
                    <a:pt x="577" y="235"/>
                  </a:lnTo>
                  <a:lnTo>
                    <a:pt x="575" y="236"/>
                  </a:lnTo>
                  <a:lnTo>
                    <a:pt x="572" y="237"/>
                  </a:lnTo>
                  <a:lnTo>
                    <a:pt x="574" y="237"/>
                  </a:lnTo>
                  <a:lnTo>
                    <a:pt x="574" y="238"/>
                  </a:lnTo>
                  <a:lnTo>
                    <a:pt x="576" y="241"/>
                  </a:lnTo>
                  <a:lnTo>
                    <a:pt x="574" y="241"/>
                  </a:lnTo>
                  <a:lnTo>
                    <a:pt x="572" y="241"/>
                  </a:lnTo>
                  <a:lnTo>
                    <a:pt x="571" y="241"/>
                  </a:lnTo>
                  <a:lnTo>
                    <a:pt x="569" y="240"/>
                  </a:lnTo>
                  <a:lnTo>
                    <a:pt x="570" y="241"/>
                  </a:lnTo>
                  <a:lnTo>
                    <a:pt x="571" y="242"/>
                  </a:lnTo>
                  <a:lnTo>
                    <a:pt x="572" y="244"/>
                  </a:lnTo>
                  <a:lnTo>
                    <a:pt x="574" y="246"/>
                  </a:lnTo>
                  <a:lnTo>
                    <a:pt x="571" y="248"/>
                  </a:lnTo>
                  <a:lnTo>
                    <a:pt x="575" y="247"/>
                  </a:lnTo>
                  <a:lnTo>
                    <a:pt x="576" y="246"/>
                  </a:lnTo>
                  <a:lnTo>
                    <a:pt x="577" y="247"/>
                  </a:lnTo>
                  <a:lnTo>
                    <a:pt x="578" y="249"/>
                  </a:lnTo>
                  <a:lnTo>
                    <a:pt x="578" y="250"/>
                  </a:lnTo>
                  <a:lnTo>
                    <a:pt x="576" y="249"/>
                  </a:lnTo>
                  <a:lnTo>
                    <a:pt x="575" y="248"/>
                  </a:lnTo>
                  <a:lnTo>
                    <a:pt x="574" y="248"/>
                  </a:lnTo>
                  <a:lnTo>
                    <a:pt x="575" y="250"/>
                  </a:lnTo>
                  <a:lnTo>
                    <a:pt x="576" y="252"/>
                  </a:lnTo>
                  <a:lnTo>
                    <a:pt x="574" y="250"/>
                  </a:lnTo>
                  <a:lnTo>
                    <a:pt x="572" y="250"/>
                  </a:lnTo>
                  <a:lnTo>
                    <a:pt x="572" y="252"/>
                  </a:lnTo>
                  <a:lnTo>
                    <a:pt x="574" y="254"/>
                  </a:lnTo>
                  <a:lnTo>
                    <a:pt x="571" y="254"/>
                  </a:lnTo>
                  <a:lnTo>
                    <a:pt x="572" y="255"/>
                  </a:lnTo>
                  <a:lnTo>
                    <a:pt x="571" y="257"/>
                  </a:lnTo>
                  <a:lnTo>
                    <a:pt x="570" y="257"/>
                  </a:lnTo>
                  <a:lnTo>
                    <a:pt x="571" y="259"/>
                  </a:lnTo>
                  <a:lnTo>
                    <a:pt x="569" y="260"/>
                  </a:lnTo>
                  <a:lnTo>
                    <a:pt x="570" y="261"/>
                  </a:lnTo>
                  <a:lnTo>
                    <a:pt x="571" y="261"/>
                  </a:lnTo>
                  <a:lnTo>
                    <a:pt x="574" y="261"/>
                  </a:lnTo>
                  <a:lnTo>
                    <a:pt x="575" y="263"/>
                  </a:lnTo>
                  <a:lnTo>
                    <a:pt x="577" y="264"/>
                  </a:lnTo>
                  <a:lnTo>
                    <a:pt x="578" y="264"/>
                  </a:lnTo>
                  <a:lnTo>
                    <a:pt x="581" y="265"/>
                  </a:lnTo>
                  <a:lnTo>
                    <a:pt x="583" y="265"/>
                  </a:lnTo>
                  <a:lnTo>
                    <a:pt x="584" y="265"/>
                  </a:lnTo>
                  <a:lnTo>
                    <a:pt x="586" y="267"/>
                  </a:lnTo>
                  <a:lnTo>
                    <a:pt x="588" y="267"/>
                  </a:lnTo>
                  <a:lnTo>
                    <a:pt x="586" y="269"/>
                  </a:lnTo>
                  <a:lnTo>
                    <a:pt x="584" y="269"/>
                  </a:lnTo>
                  <a:lnTo>
                    <a:pt x="584" y="270"/>
                  </a:lnTo>
                  <a:lnTo>
                    <a:pt x="584" y="271"/>
                  </a:lnTo>
                  <a:lnTo>
                    <a:pt x="584" y="272"/>
                  </a:lnTo>
                  <a:lnTo>
                    <a:pt x="586" y="275"/>
                  </a:lnTo>
                  <a:lnTo>
                    <a:pt x="584" y="273"/>
                  </a:lnTo>
                  <a:lnTo>
                    <a:pt x="584" y="275"/>
                  </a:lnTo>
                  <a:lnTo>
                    <a:pt x="584" y="276"/>
                  </a:lnTo>
                  <a:lnTo>
                    <a:pt x="583" y="277"/>
                  </a:lnTo>
                  <a:lnTo>
                    <a:pt x="581" y="278"/>
                  </a:lnTo>
                  <a:lnTo>
                    <a:pt x="581" y="279"/>
                  </a:lnTo>
                  <a:lnTo>
                    <a:pt x="583" y="279"/>
                  </a:lnTo>
                  <a:lnTo>
                    <a:pt x="583" y="278"/>
                  </a:lnTo>
                  <a:lnTo>
                    <a:pt x="584" y="278"/>
                  </a:lnTo>
                  <a:lnTo>
                    <a:pt x="584" y="281"/>
                  </a:lnTo>
                  <a:lnTo>
                    <a:pt x="583" y="282"/>
                  </a:lnTo>
                  <a:lnTo>
                    <a:pt x="583" y="283"/>
                  </a:lnTo>
                  <a:lnTo>
                    <a:pt x="584" y="284"/>
                  </a:lnTo>
                  <a:lnTo>
                    <a:pt x="584" y="285"/>
                  </a:lnTo>
                  <a:lnTo>
                    <a:pt x="583" y="287"/>
                  </a:lnTo>
                  <a:lnTo>
                    <a:pt x="582" y="284"/>
                  </a:lnTo>
                  <a:lnTo>
                    <a:pt x="581" y="285"/>
                  </a:lnTo>
                  <a:lnTo>
                    <a:pt x="581" y="287"/>
                  </a:lnTo>
                  <a:lnTo>
                    <a:pt x="580" y="285"/>
                  </a:lnTo>
                  <a:lnTo>
                    <a:pt x="578" y="285"/>
                  </a:lnTo>
                  <a:lnTo>
                    <a:pt x="578" y="287"/>
                  </a:lnTo>
                  <a:lnTo>
                    <a:pt x="578" y="288"/>
                  </a:lnTo>
                  <a:lnTo>
                    <a:pt x="581" y="288"/>
                  </a:lnTo>
                  <a:lnTo>
                    <a:pt x="582" y="288"/>
                  </a:lnTo>
                  <a:lnTo>
                    <a:pt x="584" y="289"/>
                  </a:lnTo>
                  <a:lnTo>
                    <a:pt x="586" y="288"/>
                  </a:lnTo>
                  <a:lnTo>
                    <a:pt x="587" y="287"/>
                  </a:lnTo>
                  <a:lnTo>
                    <a:pt x="586" y="285"/>
                  </a:lnTo>
                  <a:lnTo>
                    <a:pt x="587" y="284"/>
                  </a:lnTo>
                  <a:lnTo>
                    <a:pt x="588" y="284"/>
                  </a:lnTo>
                  <a:lnTo>
                    <a:pt x="590" y="284"/>
                  </a:lnTo>
                  <a:lnTo>
                    <a:pt x="589" y="281"/>
                  </a:lnTo>
                  <a:lnTo>
                    <a:pt x="589" y="278"/>
                  </a:lnTo>
                  <a:lnTo>
                    <a:pt x="589" y="277"/>
                  </a:lnTo>
                  <a:lnTo>
                    <a:pt x="590" y="277"/>
                  </a:lnTo>
                  <a:lnTo>
                    <a:pt x="592" y="277"/>
                  </a:lnTo>
                  <a:lnTo>
                    <a:pt x="593" y="278"/>
                  </a:lnTo>
                  <a:lnTo>
                    <a:pt x="592" y="279"/>
                  </a:lnTo>
                  <a:lnTo>
                    <a:pt x="590" y="281"/>
                  </a:lnTo>
                  <a:lnTo>
                    <a:pt x="590" y="283"/>
                  </a:lnTo>
                  <a:lnTo>
                    <a:pt x="592" y="284"/>
                  </a:lnTo>
                  <a:lnTo>
                    <a:pt x="593" y="284"/>
                  </a:lnTo>
                  <a:lnTo>
                    <a:pt x="594" y="284"/>
                  </a:lnTo>
                  <a:lnTo>
                    <a:pt x="595" y="284"/>
                  </a:lnTo>
                  <a:lnTo>
                    <a:pt x="596" y="285"/>
                  </a:lnTo>
                  <a:lnTo>
                    <a:pt x="596" y="287"/>
                  </a:lnTo>
                  <a:lnTo>
                    <a:pt x="598" y="287"/>
                  </a:lnTo>
                  <a:lnTo>
                    <a:pt x="601" y="288"/>
                  </a:lnTo>
                  <a:lnTo>
                    <a:pt x="602" y="288"/>
                  </a:lnTo>
                  <a:lnTo>
                    <a:pt x="601" y="288"/>
                  </a:lnTo>
                  <a:lnTo>
                    <a:pt x="595" y="288"/>
                  </a:lnTo>
                  <a:lnTo>
                    <a:pt x="595" y="289"/>
                  </a:lnTo>
                  <a:lnTo>
                    <a:pt x="598" y="288"/>
                  </a:lnTo>
                  <a:lnTo>
                    <a:pt x="598" y="289"/>
                  </a:lnTo>
                  <a:lnTo>
                    <a:pt x="599" y="289"/>
                  </a:lnTo>
                  <a:lnTo>
                    <a:pt x="600" y="289"/>
                  </a:lnTo>
                  <a:lnTo>
                    <a:pt x="600" y="290"/>
                  </a:lnTo>
                  <a:lnTo>
                    <a:pt x="599" y="290"/>
                  </a:lnTo>
                  <a:lnTo>
                    <a:pt x="600" y="291"/>
                  </a:lnTo>
                  <a:lnTo>
                    <a:pt x="596" y="290"/>
                  </a:lnTo>
                  <a:lnTo>
                    <a:pt x="595" y="290"/>
                  </a:lnTo>
                  <a:lnTo>
                    <a:pt x="596" y="291"/>
                  </a:lnTo>
                  <a:lnTo>
                    <a:pt x="596" y="293"/>
                  </a:lnTo>
                  <a:lnTo>
                    <a:pt x="598" y="293"/>
                  </a:lnTo>
                  <a:lnTo>
                    <a:pt x="598" y="294"/>
                  </a:lnTo>
                  <a:lnTo>
                    <a:pt x="600" y="295"/>
                  </a:lnTo>
                  <a:lnTo>
                    <a:pt x="599" y="294"/>
                  </a:lnTo>
                  <a:lnTo>
                    <a:pt x="600" y="294"/>
                  </a:lnTo>
                  <a:lnTo>
                    <a:pt x="602" y="294"/>
                  </a:lnTo>
                  <a:lnTo>
                    <a:pt x="604" y="294"/>
                  </a:lnTo>
                  <a:lnTo>
                    <a:pt x="605" y="294"/>
                  </a:lnTo>
                  <a:lnTo>
                    <a:pt x="607" y="293"/>
                  </a:lnTo>
                  <a:lnTo>
                    <a:pt x="606" y="291"/>
                  </a:lnTo>
                  <a:lnTo>
                    <a:pt x="605" y="290"/>
                  </a:lnTo>
                  <a:lnTo>
                    <a:pt x="604" y="290"/>
                  </a:lnTo>
                  <a:lnTo>
                    <a:pt x="605" y="289"/>
                  </a:lnTo>
                  <a:lnTo>
                    <a:pt x="606" y="290"/>
                  </a:lnTo>
                  <a:lnTo>
                    <a:pt x="607" y="288"/>
                  </a:lnTo>
                  <a:lnTo>
                    <a:pt x="608" y="288"/>
                  </a:lnTo>
                  <a:lnTo>
                    <a:pt x="611" y="289"/>
                  </a:lnTo>
                  <a:lnTo>
                    <a:pt x="613" y="289"/>
                  </a:lnTo>
                  <a:lnTo>
                    <a:pt x="612" y="287"/>
                  </a:lnTo>
                  <a:lnTo>
                    <a:pt x="615" y="287"/>
                  </a:lnTo>
                  <a:lnTo>
                    <a:pt x="615" y="284"/>
                  </a:lnTo>
                  <a:lnTo>
                    <a:pt x="615" y="287"/>
                  </a:lnTo>
                  <a:lnTo>
                    <a:pt x="617" y="285"/>
                  </a:lnTo>
                  <a:lnTo>
                    <a:pt x="617" y="287"/>
                  </a:lnTo>
                  <a:lnTo>
                    <a:pt x="618" y="287"/>
                  </a:lnTo>
                  <a:lnTo>
                    <a:pt x="621" y="288"/>
                  </a:lnTo>
                  <a:lnTo>
                    <a:pt x="621" y="287"/>
                  </a:lnTo>
                  <a:lnTo>
                    <a:pt x="622" y="285"/>
                  </a:lnTo>
                  <a:lnTo>
                    <a:pt x="622" y="284"/>
                  </a:lnTo>
                  <a:lnTo>
                    <a:pt x="621" y="289"/>
                  </a:lnTo>
                  <a:lnTo>
                    <a:pt x="621" y="290"/>
                  </a:lnTo>
                  <a:lnTo>
                    <a:pt x="622" y="290"/>
                  </a:lnTo>
                  <a:lnTo>
                    <a:pt x="623" y="289"/>
                  </a:lnTo>
                  <a:lnTo>
                    <a:pt x="624" y="287"/>
                  </a:lnTo>
                  <a:lnTo>
                    <a:pt x="623" y="284"/>
                  </a:lnTo>
                  <a:lnTo>
                    <a:pt x="624" y="287"/>
                  </a:lnTo>
                  <a:lnTo>
                    <a:pt x="625" y="287"/>
                  </a:lnTo>
                  <a:lnTo>
                    <a:pt x="625" y="285"/>
                  </a:lnTo>
                  <a:lnTo>
                    <a:pt x="627" y="288"/>
                  </a:lnTo>
                  <a:lnTo>
                    <a:pt x="628" y="288"/>
                  </a:lnTo>
                  <a:lnTo>
                    <a:pt x="629" y="288"/>
                  </a:lnTo>
                  <a:lnTo>
                    <a:pt x="629" y="285"/>
                  </a:lnTo>
                  <a:lnTo>
                    <a:pt x="631" y="288"/>
                  </a:lnTo>
                  <a:lnTo>
                    <a:pt x="634" y="288"/>
                  </a:lnTo>
                  <a:lnTo>
                    <a:pt x="635" y="289"/>
                  </a:lnTo>
                  <a:lnTo>
                    <a:pt x="631" y="288"/>
                  </a:lnTo>
                  <a:lnTo>
                    <a:pt x="630" y="290"/>
                  </a:lnTo>
                  <a:lnTo>
                    <a:pt x="633" y="293"/>
                  </a:lnTo>
                  <a:lnTo>
                    <a:pt x="633" y="294"/>
                  </a:lnTo>
                  <a:lnTo>
                    <a:pt x="634" y="294"/>
                  </a:lnTo>
                  <a:lnTo>
                    <a:pt x="634" y="296"/>
                  </a:lnTo>
                  <a:lnTo>
                    <a:pt x="635" y="296"/>
                  </a:lnTo>
                  <a:lnTo>
                    <a:pt x="637" y="297"/>
                  </a:lnTo>
                  <a:lnTo>
                    <a:pt x="639" y="297"/>
                  </a:lnTo>
                  <a:lnTo>
                    <a:pt x="640" y="299"/>
                  </a:lnTo>
                  <a:lnTo>
                    <a:pt x="640" y="300"/>
                  </a:lnTo>
                  <a:lnTo>
                    <a:pt x="641" y="301"/>
                  </a:lnTo>
                  <a:lnTo>
                    <a:pt x="642" y="301"/>
                  </a:lnTo>
                  <a:lnTo>
                    <a:pt x="643" y="303"/>
                  </a:lnTo>
                  <a:lnTo>
                    <a:pt x="642" y="303"/>
                  </a:lnTo>
                  <a:lnTo>
                    <a:pt x="642" y="305"/>
                  </a:lnTo>
                  <a:lnTo>
                    <a:pt x="641" y="305"/>
                  </a:lnTo>
                  <a:lnTo>
                    <a:pt x="640" y="305"/>
                  </a:lnTo>
                  <a:lnTo>
                    <a:pt x="641" y="306"/>
                  </a:lnTo>
                  <a:lnTo>
                    <a:pt x="643" y="309"/>
                  </a:lnTo>
                  <a:lnTo>
                    <a:pt x="643" y="308"/>
                  </a:lnTo>
                  <a:lnTo>
                    <a:pt x="643" y="306"/>
                  </a:lnTo>
                  <a:lnTo>
                    <a:pt x="645" y="307"/>
                  </a:lnTo>
                  <a:lnTo>
                    <a:pt x="646" y="307"/>
                  </a:lnTo>
                  <a:lnTo>
                    <a:pt x="646" y="308"/>
                  </a:lnTo>
                  <a:lnTo>
                    <a:pt x="646" y="309"/>
                  </a:lnTo>
                  <a:lnTo>
                    <a:pt x="646" y="311"/>
                  </a:lnTo>
                  <a:lnTo>
                    <a:pt x="648" y="311"/>
                  </a:lnTo>
                  <a:lnTo>
                    <a:pt x="651" y="313"/>
                  </a:lnTo>
                  <a:lnTo>
                    <a:pt x="652" y="314"/>
                  </a:lnTo>
                  <a:lnTo>
                    <a:pt x="649" y="317"/>
                  </a:lnTo>
                  <a:lnTo>
                    <a:pt x="652" y="318"/>
                  </a:lnTo>
                  <a:lnTo>
                    <a:pt x="649" y="318"/>
                  </a:lnTo>
                  <a:lnTo>
                    <a:pt x="649" y="320"/>
                  </a:lnTo>
                  <a:lnTo>
                    <a:pt x="649" y="321"/>
                  </a:lnTo>
                  <a:lnTo>
                    <a:pt x="648" y="323"/>
                  </a:lnTo>
                  <a:lnTo>
                    <a:pt x="649" y="323"/>
                  </a:lnTo>
                  <a:lnTo>
                    <a:pt x="647" y="323"/>
                  </a:lnTo>
                  <a:lnTo>
                    <a:pt x="647" y="325"/>
                  </a:lnTo>
                  <a:lnTo>
                    <a:pt x="647" y="326"/>
                  </a:lnTo>
                  <a:lnTo>
                    <a:pt x="646" y="327"/>
                  </a:lnTo>
                  <a:lnTo>
                    <a:pt x="648" y="329"/>
                  </a:lnTo>
                  <a:lnTo>
                    <a:pt x="647" y="329"/>
                  </a:lnTo>
                  <a:lnTo>
                    <a:pt x="646" y="329"/>
                  </a:lnTo>
                  <a:lnTo>
                    <a:pt x="646" y="330"/>
                  </a:lnTo>
                  <a:lnTo>
                    <a:pt x="646" y="331"/>
                  </a:lnTo>
                  <a:lnTo>
                    <a:pt x="643" y="331"/>
                  </a:lnTo>
                  <a:lnTo>
                    <a:pt x="643" y="332"/>
                  </a:lnTo>
                  <a:lnTo>
                    <a:pt x="643" y="335"/>
                  </a:lnTo>
                  <a:lnTo>
                    <a:pt x="642" y="335"/>
                  </a:lnTo>
                  <a:lnTo>
                    <a:pt x="641" y="336"/>
                  </a:lnTo>
                  <a:lnTo>
                    <a:pt x="640" y="336"/>
                  </a:lnTo>
                  <a:lnTo>
                    <a:pt x="637" y="336"/>
                  </a:lnTo>
                  <a:lnTo>
                    <a:pt x="637" y="339"/>
                  </a:lnTo>
                  <a:lnTo>
                    <a:pt x="636" y="341"/>
                  </a:lnTo>
                  <a:lnTo>
                    <a:pt x="635" y="341"/>
                  </a:lnTo>
                  <a:lnTo>
                    <a:pt x="634" y="342"/>
                  </a:lnTo>
                  <a:lnTo>
                    <a:pt x="633" y="343"/>
                  </a:lnTo>
                  <a:lnTo>
                    <a:pt x="631" y="344"/>
                  </a:lnTo>
                  <a:lnTo>
                    <a:pt x="633" y="344"/>
                  </a:lnTo>
                  <a:lnTo>
                    <a:pt x="630" y="344"/>
                  </a:lnTo>
                  <a:lnTo>
                    <a:pt x="630" y="347"/>
                  </a:lnTo>
                  <a:lnTo>
                    <a:pt x="629" y="348"/>
                  </a:lnTo>
                  <a:lnTo>
                    <a:pt x="630" y="349"/>
                  </a:lnTo>
                  <a:lnTo>
                    <a:pt x="631" y="349"/>
                  </a:lnTo>
                  <a:lnTo>
                    <a:pt x="633" y="349"/>
                  </a:lnTo>
                  <a:lnTo>
                    <a:pt x="634" y="348"/>
                  </a:lnTo>
                  <a:lnTo>
                    <a:pt x="633" y="347"/>
                  </a:lnTo>
                  <a:lnTo>
                    <a:pt x="634" y="345"/>
                  </a:lnTo>
                  <a:lnTo>
                    <a:pt x="635" y="344"/>
                  </a:lnTo>
                  <a:lnTo>
                    <a:pt x="636" y="344"/>
                  </a:lnTo>
                  <a:lnTo>
                    <a:pt x="637" y="344"/>
                  </a:lnTo>
                  <a:lnTo>
                    <a:pt x="640" y="344"/>
                  </a:lnTo>
                  <a:lnTo>
                    <a:pt x="639" y="347"/>
                  </a:lnTo>
                  <a:lnTo>
                    <a:pt x="640" y="348"/>
                  </a:lnTo>
                  <a:lnTo>
                    <a:pt x="639" y="349"/>
                  </a:lnTo>
                  <a:lnTo>
                    <a:pt x="637" y="349"/>
                  </a:lnTo>
                  <a:lnTo>
                    <a:pt x="636" y="350"/>
                  </a:lnTo>
                  <a:lnTo>
                    <a:pt x="635" y="351"/>
                  </a:lnTo>
                  <a:lnTo>
                    <a:pt x="636" y="353"/>
                  </a:lnTo>
                  <a:lnTo>
                    <a:pt x="635" y="353"/>
                  </a:lnTo>
                  <a:lnTo>
                    <a:pt x="637" y="354"/>
                  </a:lnTo>
                  <a:lnTo>
                    <a:pt x="639" y="354"/>
                  </a:lnTo>
                  <a:lnTo>
                    <a:pt x="639" y="355"/>
                  </a:lnTo>
                  <a:lnTo>
                    <a:pt x="636" y="355"/>
                  </a:lnTo>
                  <a:lnTo>
                    <a:pt x="635" y="356"/>
                  </a:lnTo>
                  <a:lnTo>
                    <a:pt x="635" y="357"/>
                  </a:lnTo>
                  <a:lnTo>
                    <a:pt x="637" y="357"/>
                  </a:lnTo>
                  <a:lnTo>
                    <a:pt x="635" y="359"/>
                  </a:lnTo>
                  <a:lnTo>
                    <a:pt x="637" y="359"/>
                  </a:lnTo>
                  <a:lnTo>
                    <a:pt x="636" y="361"/>
                  </a:lnTo>
                  <a:lnTo>
                    <a:pt x="636" y="362"/>
                  </a:lnTo>
                  <a:lnTo>
                    <a:pt x="637" y="362"/>
                  </a:lnTo>
                  <a:lnTo>
                    <a:pt x="639" y="362"/>
                  </a:lnTo>
                  <a:lnTo>
                    <a:pt x="639" y="361"/>
                  </a:lnTo>
                  <a:lnTo>
                    <a:pt x="640" y="362"/>
                  </a:lnTo>
                  <a:lnTo>
                    <a:pt x="641" y="362"/>
                  </a:lnTo>
                  <a:lnTo>
                    <a:pt x="642" y="362"/>
                  </a:lnTo>
                  <a:lnTo>
                    <a:pt x="640" y="365"/>
                  </a:lnTo>
                  <a:lnTo>
                    <a:pt x="641" y="366"/>
                  </a:lnTo>
                  <a:lnTo>
                    <a:pt x="643" y="366"/>
                  </a:lnTo>
                  <a:lnTo>
                    <a:pt x="645" y="367"/>
                  </a:lnTo>
                  <a:lnTo>
                    <a:pt x="646" y="365"/>
                  </a:lnTo>
                  <a:lnTo>
                    <a:pt x="647" y="365"/>
                  </a:lnTo>
                  <a:lnTo>
                    <a:pt x="647" y="366"/>
                  </a:lnTo>
                  <a:lnTo>
                    <a:pt x="649" y="367"/>
                  </a:lnTo>
                  <a:lnTo>
                    <a:pt x="651" y="366"/>
                  </a:lnTo>
                  <a:lnTo>
                    <a:pt x="652" y="366"/>
                  </a:lnTo>
                  <a:lnTo>
                    <a:pt x="652" y="367"/>
                  </a:lnTo>
                  <a:lnTo>
                    <a:pt x="651" y="367"/>
                  </a:lnTo>
                  <a:lnTo>
                    <a:pt x="652" y="367"/>
                  </a:lnTo>
                  <a:lnTo>
                    <a:pt x="654" y="367"/>
                  </a:lnTo>
                  <a:lnTo>
                    <a:pt x="654" y="366"/>
                  </a:lnTo>
                  <a:lnTo>
                    <a:pt x="655" y="364"/>
                  </a:lnTo>
                  <a:lnTo>
                    <a:pt x="655" y="365"/>
                  </a:lnTo>
                  <a:lnTo>
                    <a:pt x="657" y="366"/>
                  </a:lnTo>
                  <a:lnTo>
                    <a:pt x="658" y="367"/>
                  </a:lnTo>
                  <a:lnTo>
                    <a:pt x="659" y="367"/>
                  </a:lnTo>
                  <a:lnTo>
                    <a:pt x="658" y="367"/>
                  </a:lnTo>
                  <a:lnTo>
                    <a:pt x="654" y="368"/>
                  </a:lnTo>
                  <a:lnTo>
                    <a:pt x="653" y="371"/>
                  </a:lnTo>
                  <a:lnTo>
                    <a:pt x="653" y="372"/>
                  </a:lnTo>
                  <a:lnTo>
                    <a:pt x="653" y="373"/>
                  </a:lnTo>
                  <a:lnTo>
                    <a:pt x="652" y="374"/>
                  </a:lnTo>
                  <a:lnTo>
                    <a:pt x="653" y="376"/>
                  </a:lnTo>
                  <a:lnTo>
                    <a:pt x="655" y="374"/>
                  </a:lnTo>
                  <a:lnTo>
                    <a:pt x="655" y="373"/>
                  </a:lnTo>
                  <a:lnTo>
                    <a:pt x="655" y="371"/>
                  </a:lnTo>
                  <a:lnTo>
                    <a:pt x="657" y="371"/>
                  </a:lnTo>
                  <a:lnTo>
                    <a:pt x="657" y="370"/>
                  </a:lnTo>
                  <a:lnTo>
                    <a:pt x="658" y="370"/>
                  </a:lnTo>
                  <a:lnTo>
                    <a:pt x="660" y="370"/>
                  </a:lnTo>
                  <a:lnTo>
                    <a:pt x="661" y="368"/>
                  </a:lnTo>
                  <a:lnTo>
                    <a:pt x="660" y="371"/>
                  </a:lnTo>
                  <a:lnTo>
                    <a:pt x="660" y="370"/>
                  </a:lnTo>
                  <a:lnTo>
                    <a:pt x="663" y="370"/>
                  </a:lnTo>
                  <a:lnTo>
                    <a:pt x="660" y="372"/>
                  </a:lnTo>
                  <a:lnTo>
                    <a:pt x="659" y="373"/>
                  </a:lnTo>
                  <a:lnTo>
                    <a:pt x="661" y="374"/>
                  </a:lnTo>
                  <a:lnTo>
                    <a:pt x="660" y="374"/>
                  </a:lnTo>
                  <a:lnTo>
                    <a:pt x="660" y="376"/>
                  </a:lnTo>
                  <a:lnTo>
                    <a:pt x="659" y="377"/>
                  </a:lnTo>
                  <a:lnTo>
                    <a:pt x="660" y="378"/>
                  </a:lnTo>
                  <a:lnTo>
                    <a:pt x="658" y="378"/>
                  </a:lnTo>
                  <a:lnTo>
                    <a:pt x="659" y="380"/>
                  </a:lnTo>
                  <a:lnTo>
                    <a:pt x="658" y="380"/>
                  </a:lnTo>
                  <a:lnTo>
                    <a:pt x="657" y="382"/>
                  </a:lnTo>
                  <a:lnTo>
                    <a:pt x="655" y="382"/>
                  </a:lnTo>
                  <a:lnTo>
                    <a:pt x="657" y="382"/>
                  </a:lnTo>
                  <a:lnTo>
                    <a:pt x="659" y="384"/>
                  </a:lnTo>
                  <a:lnTo>
                    <a:pt x="660" y="386"/>
                  </a:lnTo>
                  <a:lnTo>
                    <a:pt x="658" y="385"/>
                  </a:lnTo>
                  <a:lnTo>
                    <a:pt x="657" y="384"/>
                  </a:lnTo>
                  <a:lnTo>
                    <a:pt x="657" y="383"/>
                  </a:lnTo>
                  <a:lnTo>
                    <a:pt x="657" y="385"/>
                  </a:lnTo>
                  <a:lnTo>
                    <a:pt x="655" y="385"/>
                  </a:lnTo>
                  <a:lnTo>
                    <a:pt x="654" y="385"/>
                  </a:lnTo>
                  <a:lnTo>
                    <a:pt x="653" y="386"/>
                  </a:lnTo>
                  <a:lnTo>
                    <a:pt x="652" y="388"/>
                  </a:lnTo>
                  <a:lnTo>
                    <a:pt x="651" y="389"/>
                  </a:lnTo>
                  <a:lnTo>
                    <a:pt x="651" y="390"/>
                  </a:lnTo>
                  <a:lnTo>
                    <a:pt x="648" y="390"/>
                  </a:lnTo>
                  <a:lnTo>
                    <a:pt x="647" y="388"/>
                  </a:lnTo>
                  <a:lnTo>
                    <a:pt x="647" y="386"/>
                  </a:lnTo>
                  <a:lnTo>
                    <a:pt x="646" y="386"/>
                  </a:lnTo>
                  <a:lnTo>
                    <a:pt x="645" y="386"/>
                  </a:lnTo>
                  <a:lnTo>
                    <a:pt x="645" y="385"/>
                  </a:lnTo>
                  <a:lnTo>
                    <a:pt x="642" y="385"/>
                  </a:lnTo>
                  <a:lnTo>
                    <a:pt x="641" y="385"/>
                  </a:lnTo>
                  <a:lnTo>
                    <a:pt x="640" y="386"/>
                  </a:lnTo>
                  <a:lnTo>
                    <a:pt x="640" y="388"/>
                  </a:lnTo>
                  <a:lnTo>
                    <a:pt x="639" y="389"/>
                  </a:lnTo>
                  <a:lnTo>
                    <a:pt x="637" y="386"/>
                  </a:lnTo>
                  <a:lnTo>
                    <a:pt x="636" y="386"/>
                  </a:lnTo>
                  <a:lnTo>
                    <a:pt x="636" y="384"/>
                  </a:lnTo>
                  <a:lnTo>
                    <a:pt x="636" y="382"/>
                  </a:lnTo>
                  <a:lnTo>
                    <a:pt x="635" y="379"/>
                  </a:lnTo>
                  <a:lnTo>
                    <a:pt x="635" y="382"/>
                  </a:lnTo>
                  <a:lnTo>
                    <a:pt x="634" y="382"/>
                  </a:lnTo>
                  <a:lnTo>
                    <a:pt x="633" y="382"/>
                  </a:lnTo>
                  <a:lnTo>
                    <a:pt x="634" y="384"/>
                  </a:lnTo>
                  <a:lnTo>
                    <a:pt x="633" y="383"/>
                  </a:lnTo>
                  <a:lnTo>
                    <a:pt x="633" y="380"/>
                  </a:lnTo>
                  <a:lnTo>
                    <a:pt x="631" y="378"/>
                  </a:lnTo>
                  <a:lnTo>
                    <a:pt x="629" y="378"/>
                  </a:lnTo>
                  <a:lnTo>
                    <a:pt x="629" y="377"/>
                  </a:lnTo>
                  <a:lnTo>
                    <a:pt x="628" y="376"/>
                  </a:lnTo>
                  <a:lnTo>
                    <a:pt x="628" y="374"/>
                  </a:lnTo>
                  <a:lnTo>
                    <a:pt x="627" y="377"/>
                  </a:lnTo>
                  <a:lnTo>
                    <a:pt x="628" y="378"/>
                  </a:lnTo>
                  <a:lnTo>
                    <a:pt x="627" y="378"/>
                  </a:lnTo>
                  <a:lnTo>
                    <a:pt x="624" y="377"/>
                  </a:lnTo>
                  <a:lnTo>
                    <a:pt x="624" y="374"/>
                  </a:lnTo>
                  <a:lnTo>
                    <a:pt x="621" y="374"/>
                  </a:lnTo>
                  <a:lnTo>
                    <a:pt x="621" y="377"/>
                  </a:lnTo>
                  <a:lnTo>
                    <a:pt x="619" y="376"/>
                  </a:lnTo>
                  <a:lnTo>
                    <a:pt x="618" y="376"/>
                  </a:lnTo>
                  <a:lnTo>
                    <a:pt x="616" y="374"/>
                  </a:lnTo>
                  <a:lnTo>
                    <a:pt x="612" y="373"/>
                  </a:lnTo>
                  <a:lnTo>
                    <a:pt x="611" y="374"/>
                  </a:lnTo>
                  <a:lnTo>
                    <a:pt x="611" y="377"/>
                  </a:lnTo>
                  <a:lnTo>
                    <a:pt x="612" y="376"/>
                  </a:lnTo>
                  <a:lnTo>
                    <a:pt x="612" y="377"/>
                  </a:lnTo>
                  <a:lnTo>
                    <a:pt x="613" y="377"/>
                  </a:lnTo>
                  <a:lnTo>
                    <a:pt x="613" y="378"/>
                  </a:lnTo>
                  <a:lnTo>
                    <a:pt x="616" y="379"/>
                  </a:lnTo>
                  <a:lnTo>
                    <a:pt x="616" y="380"/>
                  </a:lnTo>
                  <a:lnTo>
                    <a:pt x="615" y="380"/>
                  </a:lnTo>
                  <a:lnTo>
                    <a:pt x="613" y="384"/>
                  </a:lnTo>
                  <a:lnTo>
                    <a:pt x="615" y="383"/>
                  </a:lnTo>
                  <a:lnTo>
                    <a:pt x="616" y="383"/>
                  </a:lnTo>
                  <a:lnTo>
                    <a:pt x="616" y="385"/>
                  </a:lnTo>
                  <a:lnTo>
                    <a:pt x="617" y="385"/>
                  </a:lnTo>
                  <a:lnTo>
                    <a:pt x="618" y="385"/>
                  </a:lnTo>
                  <a:lnTo>
                    <a:pt x="619" y="384"/>
                  </a:lnTo>
                  <a:lnTo>
                    <a:pt x="619" y="386"/>
                  </a:lnTo>
                  <a:lnTo>
                    <a:pt x="622" y="386"/>
                  </a:lnTo>
                  <a:lnTo>
                    <a:pt x="623" y="386"/>
                  </a:lnTo>
                  <a:lnTo>
                    <a:pt x="623" y="388"/>
                  </a:lnTo>
                  <a:lnTo>
                    <a:pt x="623" y="389"/>
                  </a:lnTo>
                  <a:lnTo>
                    <a:pt x="622" y="392"/>
                  </a:lnTo>
                  <a:lnTo>
                    <a:pt x="623" y="395"/>
                  </a:lnTo>
                  <a:lnTo>
                    <a:pt x="624" y="394"/>
                  </a:lnTo>
                  <a:lnTo>
                    <a:pt x="627" y="395"/>
                  </a:lnTo>
                  <a:lnTo>
                    <a:pt x="628" y="395"/>
                  </a:lnTo>
                  <a:lnTo>
                    <a:pt x="628" y="396"/>
                  </a:lnTo>
                  <a:lnTo>
                    <a:pt x="629" y="395"/>
                  </a:lnTo>
                  <a:lnTo>
                    <a:pt x="631" y="398"/>
                  </a:lnTo>
                  <a:lnTo>
                    <a:pt x="633" y="396"/>
                  </a:lnTo>
                  <a:lnTo>
                    <a:pt x="634" y="396"/>
                  </a:lnTo>
                  <a:lnTo>
                    <a:pt x="634" y="400"/>
                  </a:lnTo>
                  <a:lnTo>
                    <a:pt x="635" y="400"/>
                  </a:lnTo>
                  <a:lnTo>
                    <a:pt x="637" y="401"/>
                  </a:lnTo>
                  <a:lnTo>
                    <a:pt x="636" y="402"/>
                  </a:lnTo>
                  <a:lnTo>
                    <a:pt x="637" y="402"/>
                  </a:lnTo>
                  <a:lnTo>
                    <a:pt x="636" y="404"/>
                  </a:lnTo>
                  <a:lnTo>
                    <a:pt x="639" y="407"/>
                  </a:lnTo>
                  <a:lnTo>
                    <a:pt x="637" y="408"/>
                  </a:lnTo>
                  <a:lnTo>
                    <a:pt x="640" y="409"/>
                  </a:lnTo>
                  <a:lnTo>
                    <a:pt x="641" y="410"/>
                  </a:lnTo>
                  <a:lnTo>
                    <a:pt x="641" y="412"/>
                  </a:lnTo>
                  <a:lnTo>
                    <a:pt x="641" y="413"/>
                  </a:lnTo>
                  <a:lnTo>
                    <a:pt x="640" y="413"/>
                  </a:lnTo>
                  <a:lnTo>
                    <a:pt x="640" y="414"/>
                  </a:lnTo>
                  <a:lnTo>
                    <a:pt x="639" y="414"/>
                  </a:lnTo>
                  <a:lnTo>
                    <a:pt x="639" y="416"/>
                  </a:lnTo>
                  <a:lnTo>
                    <a:pt x="639" y="418"/>
                  </a:lnTo>
                  <a:lnTo>
                    <a:pt x="637" y="419"/>
                  </a:lnTo>
                  <a:lnTo>
                    <a:pt x="639" y="420"/>
                  </a:lnTo>
                  <a:lnTo>
                    <a:pt x="640" y="420"/>
                  </a:lnTo>
                  <a:lnTo>
                    <a:pt x="639" y="422"/>
                  </a:lnTo>
                  <a:lnTo>
                    <a:pt x="637" y="421"/>
                  </a:lnTo>
                  <a:lnTo>
                    <a:pt x="636" y="421"/>
                  </a:lnTo>
                  <a:lnTo>
                    <a:pt x="636" y="420"/>
                  </a:lnTo>
                  <a:lnTo>
                    <a:pt x="636" y="421"/>
                  </a:lnTo>
                  <a:lnTo>
                    <a:pt x="636" y="424"/>
                  </a:lnTo>
                  <a:lnTo>
                    <a:pt x="637" y="425"/>
                  </a:lnTo>
                  <a:lnTo>
                    <a:pt x="637" y="426"/>
                  </a:lnTo>
                  <a:lnTo>
                    <a:pt x="639" y="430"/>
                  </a:lnTo>
                  <a:lnTo>
                    <a:pt x="637" y="428"/>
                  </a:lnTo>
                  <a:lnTo>
                    <a:pt x="636" y="426"/>
                  </a:lnTo>
                  <a:lnTo>
                    <a:pt x="635" y="426"/>
                  </a:lnTo>
                  <a:lnTo>
                    <a:pt x="635" y="425"/>
                  </a:lnTo>
                  <a:lnTo>
                    <a:pt x="635" y="427"/>
                  </a:lnTo>
                  <a:lnTo>
                    <a:pt x="635" y="428"/>
                  </a:lnTo>
                  <a:lnTo>
                    <a:pt x="635" y="430"/>
                  </a:lnTo>
                  <a:lnTo>
                    <a:pt x="637" y="431"/>
                  </a:lnTo>
                  <a:lnTo>
                    <a:pt x="637" y="432"/>
                  </a:lnTo>
                  <a:lnTo>
                    <a:pt x="639" y="433"/>
                  </a:lnTo>
                  <a:lnTo>
                    <a:pt x="636" y="432"/>
                  </a:lnTo>
                  <a:lnTo>
                    <a:pt x="635" y="432"/>
                  </a:lnTo>
                  <a:lnTo>
                    <a:pt x="636" y="433"/>
                  </a:lnTo>
                  <a:lnTo>
                    <a:pt x="636" y="436"/>
                  </a:lnTo>
                  <a:lnTo>
                    <a:pt x="636" y="437"/>
                  </a:lnTo>
                  <a:lnTo>
                    <a:pt x="634" y="437"/>
                  </a:lnTo>
                  <a:lnTo>
                    <a:pt x="633" y="437"/>
                  </a:lnTo>
                  <a:lnTo>
                    <a:pt x="633" y="438"/>
                  </a:lnTo>
                  <a:lnTo>
                    <a:pt x="630" y="437"/>
                  </a:lnTo>
                  <a:lnTo>
                    <a:pt x="631" y="438"/>
                  </a:lnTo>
                  <a:lnTo>
                    <a:pt x="631" y="440"/>
                  </a:lnTo>
                  <a:lnTo>
                    <a:pt x="630" y="439"/>
                  </a:lnTo>
                  <a:lnTo>
                    <a:pt x="629" y="439"/>
                  </a:lnTo>
                  <a:lnTo>
                    <a:pt x="628" y="439"/>
                  </a:lnTo>
                  <a:lnTo>
                    <a:pt x="630" y="442"/>
                  </a:lnTo>
                  <a:lnTo>
                    <a:pt x="629" y="443"/>
                  </a:lnTo>
                  <a:lnTo>
                    <a:pt x="628" y="443"/>
                  </a:lnTo>
                  <a:lnTo>
                    <a:pt x="629" y="443"/>
                  </a:lnTo>
                  <a:lnTo>
                    <a:pt x="630" y="445"/>
                  </a:lnTo>
                  <a:lnTo>
                    <a:pt x="631" y="445"/>
                  </a:lnTo>
                  <a:lnTo>
                    <a:pt x="631" y="448"/>
                  </a:lnTo>
                  <a:lnTo>
                    <a:pt x="631" y="449"/>
                  </a:lnTo>
                  <a:lnTo>
                    <a:pt x="633" y="448"/>
                  </a:lnTo>
                  <a:lnTo>
                    <a:pt x="634" y="448"/>
                  </a:lnTo>
                  <a:lnTo>
                    <a:pt x="634" y="449"/>
                  </a:lnTo>
                  <a:lnTo>
                    <a:pt x="636" y="451"/>
                  </a:lnTo>
                  <a:lnTo>
                    <a:pt x="634" y="451"/>
                  </a:lnTo>
                  <a:lnTo>
                    <a:pt x="633" y="452"/>
                  </a:lnTo>
                  <a:lnTo>
                    <a:pt x="633" y="451"/>
                  </a:lnTo>
                  <a:lnTo>
                    <a:pt x="631" y="451"/>
                  </a:lnTo>
                  <a:lnTo>
                    <a:pt x="630" y="454"/>
                  </a:lnTo>
                  <a:lnTo>
                    <a:pt x="628" y="454"/>
                  </a:lnTo>
                  <a:lnTo>
                    <a:pt x="628" y="452"/>
                  </a:lnTo>
                  <a:lnTo>
                    <a:pt x="628" y="454"/>
                  </a:lnTo>
                  <a:lnTo>
                    <a:pt x="627" y="454"/>
                  </a:lnTo>
                  <a:lnTo>
                    <a:pt x="625" y="454"/>
                  </a:lnTo>
                  <a:lnTo>
                    <a:pt x="625" y="455"/>
                  </a:lnTo>
                  <a:lnTo>
                    <a:pt x="624" y="456"/>
                  </a:lnTo>
                  <a:lnTo>
                    <a:pt x="624" y="457"/>
                  </a:lnTo>
                  <a:lnTo>
                    <a:pt x="623" y="458"/>
                  </a:lnTo>
                  <a:lnTo>
                    <a:pt x="624" y="460"/>
                  </a:lnTo>
                  <a:lnTo>
                    <a:pt x="624" y="461"/>
                  </a:lnTo>
                  <a:lnTo>
                    <a:pt x="623" y="462"/>
                  </a:lnTo>
                  <a:lnTo>
                    <a:pt x="624" y="462"/>
                  </a:lnTo>
                  <a:lnTo>
                    <a:pt x="624" y="464"/>
                  </a:lnTo>
                  <a:lnTo>
                    <a:pt x="625" y="464"/>
                  </a:lnTo>
                  <a:lnTo>
                    <a:pt x="625" y="466"/>
                  </a:lnTo>
                  <a:lnTo>
                    <a:pt x="624" y="467"/>
                  </a:lnTo>
                  <a:lnTo>
                    <a:pt x="625" y="469"/>
                  </a:lnTo>
                  <a:lnTo>
                    <a:pt x="625" y="468"/>
                  </a:lnTo>
                  <a:lnTo>
                    <a:pt x="627" y="469"/>
                  </a:lnTo>
                  <a:lnTo>
                    <a:pt x="628" y="469"/>
                  </a:lnTo>
                  <a:lnTo>
                    <a:pt x="628" y="471"/>
                  </a:lnTo>
                  <a:lnTo>
                    <a:pt x="629" y="469"/>
                  </a:lnTo>
                  <a:lnTo>
                    <a:pt x="629" y="471"/>
                  </a:lnTo>
                  <a:lnTo>
                    <a:pt x="630" y="473"/>
                  </a:lnTo>
                  <a:lnTo>
                    <a:pt x="631" y="475"/>
                  </a:lnTo>
                  <a:lnTo>
                    <a:pt x="630" y="475"/>
                  </a:lnTo>
                  <a:lnTo>
                    <a:pt x="628" y="475"/>
                  </a:lnTo>
                  <a:lnTo>
                    <a:pt x="627" y="475"/>
                  </a:lnTo>
                  <a:lnTo>
                    <a:pt x="625" y="474"/>
                  </a:lnTo>
                  <a:lnTo>
                    <a:pt x="624" y="473"/>
                  </a:lnTo>
                  <a:lnTo>
                    <a:pt x="624" y="474"/>
                  </a:lnTo>
                  <a:lnTo>
                    <a:pt x="624" y="475"/>
                  </a:lnTo>
                  <a:lnTo>
                    <a:pt x="623" y="475"/>
                  </a:lnTo>
                  <a:lnTo>
                    <a:pt x="622" y="474"/>
                  </a:lnTo>
                  <a:lnTo>
                    <a:pt x="621" y="477"/>
                  </a:lnTo>
                  <a:lnTo>
                    <a:pt x="621" y="474"/>
                  </a:lnTo>
                  <a:lnTo>
                    <a:pt x="621" y="473"/>
                  </a:lnTo>
                  <a:lnTo>
                    <a:pt x="619" y="474"/>
                  </a:lnTo>
                  <a:lnTo>
                    <a:pt x="618" y="478"/>
                  </a:lnTo>
                  <a:lnTo>
                    <a:pt x="618" y="477"/>
                  </a:lnTo>
                  <a:lnTo>
                    <a:pt x="617" y="475"/>
                  </a:lnTo>
                  <a:lnTo>
                    <a:pt x="616" y="474"/>
                  </a:lnTo>
                  <a:lnTo>
                    <a:pt x="616" y="473"/>
                  </a:lnTo>
                  <a:lnTo>
                    <a:pt x="615" y="472"/>
                  </a:lnTo>
                  <a:lnTo>
                    <a:pt x="613" y="471"/>
                  </a:lnTo>
                  <a:lnTo>
                    <a:pt x="613" y="469"/>
                  </a:lnTo>
                  <a:lnTo>
                    <a:pt x="613" y="468"/>
                  </a:lnTo>
                  <a:lnTo>
                    <a:pt x="615" y="467"/>
                  </a:lnTo>
                  <a:lnTo>
                    <a:pt x="615" y="466"/>
                  </a:lnTo>
                  <a:lnTo>
                    <a:pt x="615" y="464"/>
                  </a:lnTo>
                  <a:lnTo>
                    <a:pt x="612" y="462"/>
                  </a:lnTo>
                  <a:lnTo>
                    <a:pt x="611" y="466"/>
                  </a:lnTo>
                  <a:lnTo>
                    <a:pt x="611" y="467"/>
                  </a:lnTo>
                  <a:lnTo>
                    <a:pt x="611" y="468"/>
                  </a:lnTo>
                  <a:lnTo>
                    <a:pt x="611" y="469"/>
                  </a:lnTo>
                  <a:lnTo>
                    <a:pt x="612" y="473"/>
                  </a:lnTo>
                  <a:lnTo>
                    <a:pt x="612" y="474"/>
                  </a:lnTo>
                  <a:lnTo>
                    <a:pt x="611" y="474"/>
                  </a:lnTo>
                  <a:lnTo>
                    <a:pt x="610" y="474"/>
                  </a:lnTo>
                  <a:lnTo>
                    <a:pt x="608" y="473"/>
                  </a:lnTo>
                  <a:lnTo>
                    <a:pt x="608" y="474"/>
                  </a:lnTo>
                  <a:lnTo>
                    <a:pt x="607" y="474"/>
                  </a:lnTo>
                  <a:lnTo>
                    <a:pt x="606" y="474"/>
                  </a:lnTo>
                  <a:lnTo>
                    <a:pt x="605" y="473"/>
                  </a:lnTo>
                  <a:lnTo>
                    <a:pt x="605" y="471"/>
                  </a:lnTo>
                  <a:lnTo>
                    <a:pt x="604" y="469"/>
                  </a:lnTo>
                  <a:lnTo>
                    <a:pt x="602" y="469"/>
                  </a:lnTo>
                  <a:lnTo>
                    <a:pt x="602" y="467"/>
                  </a:lnTo>
                  <a:lnTo>
                    <a:pt x="602" y="466"/>
                  </a:lnTo>
                  <a:lnTo>
                    <a:pt x="600" y="463"/>
                  </a:lnTo>
                  <a:lnTo>
                    <a:pt x="600" y="462"/>
                  </a:lnTo>
                  <a:lnTo>
                    <a:pt x="601" y="462"/>
                  </a:lnTo>
                  <a:lnTo>
                    <a:pt x="602" y="462"/>
                  </a:lnTo>
                  <a:lnTo>
                    <a:pt x="604" y="463"/>
                  </a:lnTo>
                  <a:lnTo>
                    <a:pt x="604" y="462"/>
                  </a:lnTo>
                  <a:lnTo>
                    <a:pt x="605" y="461"/>
                  </a:lnTo>
                  <a:lnTo>
                    <a:pt x="607" y="460"/>
                  </a:lnTo>
                  <a:lnTo>
                    <a:pt x="607" y="458"/>
                  </a:lnTo>
                  <a:lnTo>
                    <a:pt x="607" y="457"/>
                  </a:lnTo>
                  <a:lnTo>
                    <a:pt x="606" y="456"/>
                  </a:lnTo>
                  <a:lnTo>
                    <a:pt x="605" y="456"/>
                  </a:lnTo>
                  <a:lnTo>
                    <a:pt x="604" y="457"/>
                  </a:lnTo>
                  <a:lnTo>
                    <a:pt x="604" y="458"/>
                  </a:lnTo>
                  <a:lnTo>
                    <a:pt x="602" y="460"/>
                  </a:lnTo>
                  <a:lnTo>
                    <a:pt x="601" y="458"/>
                  </a:lnTo>
                  <a:lnTo>
                    <a:pt x="600" y="458"/>
                  </a:lnTo>
                  <a:lnTo>
                    <a:pt x="599" y="456"/>
                  </a:lnTo>
                  <a:lnTo>
                    <a:pt x="598" y="456"/>
                  </a:lnTo>
                  <a:lnTo>
                    <a:pt x="595" y="456"/>
                  </a:lnTo>
                  <a:lnTo>
                    <a:pt x="594" y="458"/>
                  </a:lnTo>
                  <a:lnTo>
                    <a:pt x="593" y="457"/>
                  </a:lnTo>
                  <a:lnTo>
                    <a:pt x="592" y="458"/>
                  </a:lnTo>
                  <a:lnTo>
                    <a:pt x="592" y="461"/>
                  </a:lnTo>
                  <a:lnTo>
                    <a:pt x="592" y="463"/>
                  </a:lnTo>
                  <a:lnTo>
                    <a:pt x="592" y="464"/>
                  </a:lnTo>
                  <a:lnTo>
                    <a:pt x="593" y="468"/>
                  </a:lnTo>
                  <a:lnTo>
                    <a:pt x="595" y="469"/>
                  </a:lnTo>
                  <a:lnTo>
                    <a:pt x="596" y="472"/>
                  </a:lnTo>
                  <a:lnTo>
                    <a:pt x="596" y="473"/>
                  </a:lnTo>
                  <a:lnTo>
                    <a:pt x="598" y="474"/>
                  </a:lnTo>
                  <a:lnTo>
                    <a:pt x="599" y="475"/>
                  </a:lnTo>
                  <a:lnTo>
                    <a:pt x="599" y="477"/>
                  </a:lnTo>
                  <a:lnTo>
                    <a:pt x="596" y="475"/>
                  </a:lnTo>
                  <a:lnTo>
                    <a:pt x="598" y="477"/>
                  </a:lnTo>
                  <a:lnTo>
                    <a:pt x="598" y="478"/>
                  </a:lnTo>
                  <a:lnTo>
                    <a:pt x="595" y="477"/>
                  </a:lnTo>
                  <a:lnTo>
                    <a:pt x="598" y="479"/>
                  </a:lnTo>
                  <a:lnTo>
                    <a:pt x="599" y="480"/>
                  </a:lnTo>
                  <a:lnTo>
                    <a:pt x="599" y="481"/>
                  </a:lnTo>
                  <a:lnTo>
                    <a:pt x="596" y="481"/>
                  </a:lnTo>
                  <a:lnTo>
                    <a:pt x="598" y="481"/>
                  </a:lnTo>
                  <a:lnTo>
                    <a:pt x="596" y="483"/>
                  </a:lnTo>
                  <a:lnTo>
                    <a:pt x="592" y="483"/>
                  </a:lnTo>
                  <a:lnTo>
                    <a:pt x="593" y="486"/>
                  </a:lnTo>
                  <a:lnTo>
                    <a:pt x="593" y="487"/>
                  </a:lnTo>
                  <a:lnTo>
                    <a:pt x="590" y="486"/>
                  </a:lnTo>
                  <a:lnTo>
                    <a:pt x="589" y="486"/>
                  </a:lnTo>
                  <a:lnTo>
                    <a:pt x="587" y="489"/>
                  </a:lnTo>
                  <a:lnTo>
                    <a:pt x="586" y="490"/>
                  </a:lnTo>
                  <a:lnTo>
                    <a:pt x="586" y="492"/>
                  </a:lnTo>
                  <a:lnTo>
                    <a:pt x="584" y="493"/>
                  </a:lnTo>
                  <a:lnTo>
                    <a:pt x="586" y="495"/>
                  </a:lnTo>
                  <a:lnTo>
                    <a:pt x="586" y="497"/>
                  </a:lnTo>
                  <a:lnTo>
                    <a:pt x="587" y="499"/>
                  </a:lnTo>
                  <a:lnTo>
                    <a:pt x="587" y="501"/>
                  </a:lnTo>
                  <a:lnTo>
                    <a:pt x="587" y="502"/>
                  </a:lnTo>
                  <a:lnTo>
                    <a:pt x="587" y="503"/>
                  </a:lnTo>
                  <a:lnTo>
                    <a:pt x="587" y="505"/>
                  </a:lnTo>
                  <a:lnTo>
                    <a:pt x="584" y="504"/>
                  </a:lnTo>
                  <a:lnTo>
                    <a:pt x="583" y="504"/>
                  </a:lnTo>
                  <a:lnTo>
                    <a:pt x="583" y="505"/>
                  </a:lnTo>
                  <a:lnTo>
                    <a:pt x="582" y="505"/>
                  </a:lnTo>
                  <a:lnTo>
                    <a:pt x="581" y="504"/>
                  </a:lnTo>
                  <a:lnTo>
                    <a:pt x="580" y="502"/>
                  </a:lnTo>
                  <a:lnTo>
                    <a:pt x="578" y="503"/>
                  </a:lnTo>
                  <a:lnTo>
                    <a:pt x="575" y="505"/>
                  </a:lnTo>
                  <a:lnTo>
                    <a:pt x="574" y="504"/>
                  </a:lnTo>
                  <a:lnTo>
                    <a:pt x="572" y="504"/>
                  </a:lnTo>
                  <a:lnTo>
                    <a:pt x="570" y="504"/>
                  </a:lnTo>
                  <a:lnTo>
                    <a:pt x="568" y="504"/>
                  </a:lnTo>
                  <a:lnTo>
                    <a:pt x="566" y="504"/>
                  </a:lnTo>
                  <a:lnTo>
                    <a:pt x="564" y="504"/>
                  </a:lnTo>
                  <a:lnTo>
                    <a:pt x="563" y="505"/>
                  </a:lnTo>
                  <a:lnTo>
                    <a:pt x="563" y="504"/>
                  </a:lnTo>
                  <a:lnTo>
                    <a:pt x="563" y="502"/>
                  </a:lnTo>
                  <a:lnTo>
                    <a:pt x="562" y="501"/>
                  </a:lnTo>
                  <a:lnTo>
                    <a:pt x="559" y="501"/>
                  </a:lnTo>
                  <a:lnTo>
                    <a:pt x="559" y="498"/>
                  </a:lnTo>
                  <a:lnTo>
                    <a:pt x="560" y="497"/>
                  </a:lnTo>
                  <a:lnTo>
                    <a:pt x="558" y="497"/>
                  </a:lnTo>
                  <a:lnTo>
                    <a:pt x="559" y="495"/>
                  </a:lnTo>
                  <a:lnTo>
                    <a:pt x="559" y="493"/>
                  </a:lnTo>
                  <a:lnTo>
                    <a:pt x="558" y="491"/>
                  </a:lnTo>
                  <a:lnTo>
                    <a:pt x="559" y="489"/>
                  </a:lnTo>
                  <a:lnTo>
                    <a:pt x="558" y="489"/>
                  </a:lnTo>
                  <a:lnTo>
                    <a:pt x="558" y="487"/>
                  </a:lnTo>
                  <a:lnTo>
                    <a:pt x="557" y="486"/>
                  </a:lnTo>
                  <a:lnTo>
                    <a:pt x="556" y="485"/>
                  </a:lnTo>
                  <a:lnTo>
                    <a:pt x="553" y="486"/>
                  </a:lnTo>
                  <a:lnTo>
                    <a:pt x="553" y="487"/>
                  </a:lnTo>
                  <a:lnTo>
                    <a:pt x="556" y="490"/>
                  </a:lnTo>
                  <a:lnTo>
                    <a:pt x="554" y="490"/>
                  </a:lnTo>
                  <a:lnTo>
                    <a:pt x="556" y="491"/>
                  </a:lnTo>
                  <a:lnTo>
                    <a:pt x="557" y="493"/>
                  </a:lnTo>
                  <a:lnTo>
                    <a:pt x="556" y="492"/>
                  </a:lnTo>
                  <a:lnTo>
                    <a:pt x="553" y="491"/>
                  </a:lnTo>
                  <a:lnTo>
                    <a:pt x="552" y="491"/>
                  </a:lnTo>
                  <a:lnTo>
                    <a:pt x="551" y="492"/>
                  </a:lnTo>
                  <a:lnTo>
                    <a:pt x="549" y="491"/>
                  </a:lnTo>
                  <a:lnTo>
                    <a:pt x="548" y="492"/>
                  </a:lnTo>
                  <a:lnTo>
                    <a:pt x="547" y="489"/>
                  </a:lnTo>
                  <a:lnTo>
                    <a:pt x="546" y="490"/>
                  </a:lnTo>
                  <a:lnTo>
                    <a:pt x="546" y="489"/>
                  </a:lnTo>
                  <a:lnTo>
                    <a:pt x="546" y="487"/>
                  </a:lnTo>
                  <a:lnTo>
                    <a:pt x="546" y="485"/>
                  </a:lnTo>
                  <a:lnTo>
                    <a:pt x="547" y="484"/>
                  </a:lnTo>
                  <a:lnTo>
                    <a:pt x="548" y="484"/>
                  </a:lnTo>
                  <a:lnTo>
                    <a:pt x="548" y="483"/>
                  </a:lnTo>
                  <a:lnTo>
                    <a:pt x="549" y="484"/>
                  </a:lnTo>
                  <a:lnTo>
                    <a:pt x="552" y="483"/>
                  </a:lnTo>
                  <a:lnTo>
                    <a:pt x="552" y="481"/>
                  </a:lnTo>
                  <a:lnTo>
                    <a:pt x="553" y="481"/>
                  </a:lnTo>
                  <a:lnTo>
                    <a:pt x="557" y="480"/>
                  </a:lnTo>
                  <a:lnTo>
                    <a:pt x="558" y="479"/>
                  </a:lnTo>
                  <a:lnTo>
                    <a:pt x="559" y="478"/>
                  </a:lnTo>
                  <a:lnTo>
                    <a:pt x="560" y="477"/>
                  </a:lnTo>
                  <a:lnTo>
                    <a:pt x="562" y="475"/>
                  </a:lnTo>
                  <a:lnTo>
                    <a:pt x="560" y="474"/>
                  </a:lnTo>
                  <a:lnTo>
                    <a:pt x="562" y="473"/>
                  </a:lnTo>
                  <a:lnTo>
                    <a:pt x="563" y="473"/>
                  </a:lnTo>
                  <a:lnTo>
                    <a:pt x="564" y="473"/>
                  </a:lnTo>
                  <a:lnTo>
                    <a:pt x="563" y="471"/>
                  </a:lnTo>
                  <a:lnTo>
                    <a:pt x="563" y="467"/>
                  </a:lnTo>
                  <a:lnTo>
                    <a:pt x="560" y="462"/>
                  </a:lnTo>
                  <a:lnTo>
                    <a:pt x="560" y="464"/>
                  </a:lnTo>
                  <a:lnTo>
                    <a:pt x="559" y="463"/>
                  </a:lnTo>
                  <a:lnTo>
                    <a:pt x="558" y="463"/>
                  </a:lnTo>
                  <a:lnTo>
                    <a:pt x="557" y="464"/>
                  </a:lnTo>
                  <a:lnTo>
                    <a:pt x="556" y="464"/>
                  </a:lnTo>
                  <a:lnTo>
                    <a:pt x="554" y="463"/>
                  </a:lnTo>
                  <a:lnTo>
                    <a:pt x="554" y="462"/>
                  </a:lnTo>
                  <a:lnTo>
                    <a:pt x="554" y="460"/>
                  </a:lnTo>
                  <a:lnTo>
                    <a:pt x="553" y="458"/>
                  </a:lnTo>
                  <a:lnTo>
                    <a:pt x="553" y="461"/>
                  </a:lnTo>
                  <a:lnTo>
                    <a:pt x="551" y="461"/>
                  </a:lnTo>
                  <a:lnTo>
                    <a:pt x="549" y="460"/>
                  </a:lnTo>
                  <a:lnTo>
                    <a:pt x="549" y="461"/>
                  </a:lnTo>
                  <a:lnTo>
                    <a:pt x="547" y="461"/>
                  </a:lnTo>
                  <a:lnTo>
                    <a:pt x="547" y="458"/>
                  </a:lnTo>
                  <a:lnTo>
                    <a:pt x="545" y="455"/>
                  </a:lnTo>
                  <a:lnTo>
                    <a:pt x="543" y="454"/>
                  </a:lnTo>
                  <a:lnTo>
                    <a:pt x="542" y="452"/>
                  </a:lnTo>
                  <a:lnTo>
                    <a:pt x="543" y="455"/>
                  </a:lnTo>
                  <a:lnTo>
                    <a:pt x="543" y="456"/>
                  </a:lnTo>
                  <a:lnTo>
                    <a:pt x="545" y="458"/>
                  </a:lnTo>
                  <a:lnTo>
                    <a:pt x="543" y="458"/>
                  </a:lnTo>
                  <a:lnTo>
                    <a:pt x="543" y="460"/>
                  </a:lnTo>
                  <a:lnTo>
                    <a:pt x="542" y="458"/>
                  </a:lnTo>
                  <a:lnTo>
                    <a:pt x="540" y="457"/>
                  </a:lnTo>
                  <a:lnTo>
                    <a:pt x="540" y="458"/>
                  </a:lnTo>
                  <a:lnTo>
                    <a:pt x="540" y="460"/>
                  </a:lnTo>
                  <a:lnTo>
                    <a:pt x="539" y="458"/>
                  </a:lnTo>
                  <a:lnTo>
                    <a:pt x="537" y="456"/>
                  </a:lnTo>
                  <a:lnTo>
                    <a:pt x="536" y="456"/>
                  </a:lnTo>
                  <a:lnTo>
                    <a:pt x="535" y="456"/>
                  </a:lnTo>
                  <a:lnTo>
                    <a:pt x="536" y="458"/>
                  </a:lnTo>
                  <a:lnTo>
                    <a:pt x="537" y="458"/>
                  </a:lnTo>
                  <a:lnTo>
                    <a:pt x="537" y="460"/>
                  </a:lnTo>
                  <a:lnTo>
                    <a:pt x="536" y="460"/>
                  </a:lnTo>
                  <a:lnTo>
                    <a:pt x="534" y="460"/>
                  </a:lnTo>
                  <a:lnTo>
                    <a:pt x="534" y="461"/>
                  </a:lnTo>
                  <a:lnTo>
                    <a:pt x="533" y="461"/>
                  </a:lnTo>
                  <a:lnTo>
                    <a:pt x="533" y="462"/>
                  </a:lnTo>
                  <a:lnTo>
                    <a:pt x="533" y="463"/>
                  </a:lnTo>
                  <a:lnTo>
                    <a:pt x="531" y="464"/>
                  </a:lnTo>
                  <a:lnTo>
                    <a:pt x="531" y="466"/>
                  </a:lnTo>
                  <a:lnTo>
                    <a:pt x="530" y="464"/>
                  </a:lnTo>
                  <a:lnTo>
                    <a:pt x="530" y="462"/>
                  </a:lnTo>
                  <a:lnTo>
                    <a:pt x="529" y="464"/>
                  </a:lnTo>
                  <a:lnTo>
                    <a:pt x="528" y="462"/>
                  </a:lnTo>
                  <a:lnTo>
                    <a:pt x="528" y="460"/>
                  </a:lnTo>
                  <a:lnTo>
                    <a:pt x="527" y="460"/>
                  </a:lnTo>
                  <a:lnTo>
                    <a:pt x="525" y="461"/>
                  </a:lnTo>
                  <a:lnTo>
                    <a:pt x="525" y="463"/>
                  </a:lnTo>
                  <a:lnTo>
                    <a:pt x="525" y="466"/>
                  </a:lnTo>
                  <a:lnTo>
                    <a:pt x="527" y="467"/>
                  </a:lnTo>
                  <a:lnTo>
                    <a:pt x="528" y="468"/>
                  </a:lnTo>
                  <a:lnTo>
                    <a:pt x="530" y="469"/>
                  </a:lnTo>
                  <a:lnTo>
                    <a:pt x="529" y="469"/>
                  </a:lnTo>
                  <a:lnTo>
                    <a:pt x="529" y="472"/>
                  </a:lnTo>
                  <a:lnTo>
                    <a:pt x="531" y="473"/>
                  </a:lnTo>
                  <a:lnTo>
                    <a:pt x="531" y="474"/>
                  </a:lnTo>
                  <a:lnTo>
                    <a:pt x="530" y="474"/>
                  </a:lnTo>
                  <a:lnTo>
                    <a:pt x="530" y="477"/>
                  </a:lnTo>
                  <a:lnTo>
                    <a:pt x="528" y="477"/>
                  </a:lnTo>
                  <a:lnTo>
                    <a:pt x="527" y="475"/>
                  </a:lnTo>
                  <a:lnTo>
                    <a:pt x="527" y="477"/>
                  </a:lnTo>
                  <a:lnTo>
                    <a:pt x="527" y="478"/>
                  </a:lnTo>
                  <a:lnTo>
                    <a:pt x="525" y="478"/>
                  </a:lnTo>
                  <a:lnTo>
                    <a:pt x="524" y="479"/>
                  </a:lnTo>
                  <a:lnTo>
                    <a:pt x="523" y="479"/>
                  </a:lnTo>
                  <a:lnTo>
                    <a:pt x="524" y="481"/>
                  </a:lnTo>
                  <a:lnTo>
                    <a:pt x="524" y="483"/>
                  </a:lnTo>
                  <a:lnTo>
                    <a:pt x="527" y="484"/>
                  </a:lnTo>
                  <a:lnTo>
                    <a:pt x="527" y="485"/>
                  </a:lnTo>
                  <a:lnTo>
                    <a:pt x="525" y="486"/>
                  </a:lnTo>
                  <a:lnTo>
                    <a:pt x="525" y="487"/>
                  </a:lnTo>
                  <a:lnTo>
                    <a:pt x="523" y="487"/>
                  </a:lnTo>
                  <a:lnTo>
                    <a:pt x="522" y="489"/>
                  </a:lnTo>
                  <a:lnTo>
                    <a:pt x="521" y="489"/>
                  </a:lnTo>
                  <a:lnTo>
                    <a:pt x="521" y="487"/>
                  </a:lnTo>
                  <a:lnTo>
                    <a:pt x="519" y="487"/>
                  </a:lnTo>
                  <a:lnTo>
                    <a:pt x="518" y="486"/>
                  </a:lnTo>
                  <a:lnTo>
                    <a:pt x="517" y="486"/>
                  </a:lnTo>
                  <a:lnTo>
                    <a:pt x="517" y="483"/>
                  </a:lnTo>
                  <a:lnTo>
                    <a:pt x="517" y="481"/>
                  </a:lnTo>
                  <a:lnTo>
                    <a:pt x="517" y="480"/>
                  </a:lnTo>
                  <a:lnTo>
                    <a:pt x="516" y="478"/>
                  </a:lnTo>
                  <a:lnTo>
                    <a:pt x="517" y="474"/>
                  </a:lnTo>
                  <a:lnTo>
                    <a:pt x="517" y="472"/>
                  </a:lnTo>
                  <a:lnTo>
                    <a:pt x="516" y="473"/>
                  </a:lnTo>
                  <a:lnTo>
                    <a:pt x="515" y="472"/>
                  </a:lnTo>
                  <a:lnTo>
                    <a:pt x="515" y="471"/>
                  </a:lnTo>
                  <a:lnTo>
                    <a:pt x="512" y="468"/>
                  </a:lnTo>
                  <a:lnTo>
                    <a:pt x="511" y="464"/>
                  </a:lnTo>
                  <a:lnTo>
                    <a:pt x="510" y="466"/>
                  </a:lnTo>
                  <a:lnTo>
                    <a:pt x="511" y="468"/>
                  </a:lnTo>
                  <a:lnTo>
                    <a:pt x="509" y="466"/>
                  </a:lnTo>
                  <a:lnTo>
                    <a:pt x="507" y="464"/>
                  </a:lnTo>
                  <a:lnTo>
                    <a:pt x="506" y="464"/>
                  </a:lnTo>
                  <a:lnTo>
                    <a:pt x="505" y="466"/>
                  </a:lnTo>
                  <a:lnTo>
                    <a:pt x="504" y="466"/>
                  </a:lnTo>
                  <a:lnTo>
                    <a:pt x="504" y="463"/>
                  </a:lnTo>
                  <a:lnTo>
                    <a:pt x="503" y="462"/>
                  </a:lnTo>
                  <a:lnTo>
                    <a:pt x="500" y="461"/>
                  </a:lnTo>
                  <a:lnTo>
                    <a:pt x="499" y="461"/>
                  </a:lnTo>
                  <a:lnTo>
                    <a:pt x="498" y="460"/>
                  </a:lnTo>
                  <a:lnTo>
                    <a:pt x="497" y="460"/>
                  </a:lnTo>
                  <a:lnTo>
                    <a:pt x="494" y="460"/>
                  </a:lnTo>
                  <a:lnTo>
                    <a:pt x="493" y="457"/>
                  </a:lnTo>
                  <a:lnTo>
                    <a:pt x="492" y="457"/>
                  </a:lnTo>
                  <a:lnTo>
                    <a:pt x="492" y="458"/>
                  </a:lnTo>
                  <a:lnTo>
                    <a:pt x="490" y="461"/>
                  </a:lnTo>
                  <a:lnTo>
                    <a:pt x="489" y="462"/>
                  </a:lnTo>
                  <a:lnTo>
                    <a:pt x="488" y="462"/>
                  </a:lnTo>
                  <a:lnTo>
                    <a:pt x="487" y="461"/>
                  </a:lnTo>
                  <a:lnTo>
                    <a:pt x="484" y="460"/>
                  </a:lnTo>
                  <a:lnTo>
                    <a:pt x="483" y="461"/>
                  </a:lnTo>
                  <a:lnTo>
                    <a:pt x="482" y="461"/>
                  </a:lnTo>
                  <a:lnTo>
                    <a:pt x="478" y="461"/>
                  </a:lnTo>
                  <a:lnTo>
                    <a:pt x="477" y="461"/>
                  </a:lnTo>
                  <a:lnTo>
                    <a:pt x="475" y="461"/>
                  </a:lnTo>
                  <a:lnTo>
                    <a:pt x="472" y="461"/>
                  </a:lnTo>
                  <a:lnTo>
                    <a:pt x="471" y="460"/>
                  </a:lnTo>
                  <a:lnTo>
                    <a:pt x="469" y="460"/>
                  </a:lnTo>
                  <a:lnTo>
                    <a:pt x="468" y="455"/>
                  </a:lnTo>
                  <a:lnTo>
                    <a:pt x="468" y="454"/>
                  </a:lnTo>
                  <a:lnTo>
                    <a:pt x="469" y="451"/>
                  </a:lnTo>
                  <a:lnTo>
                    <a:pt x="468" y="450"/>
                  </a:lnTo>
                  <a:lnTo>
                    <a:pt x="469" y="448"/>
                  </a:lnTo>
                  <a:lnTo>
                    <a:pt x="468" y="448"/>
                  </a:lnTo>
                  <a:lnTo>
                    <a:pt x="469" y="445"/>
                  </a:lnTo>
                  <a:lnTo>
                    <a:pt x="470" y="443"/>
                  </a:lnTo>
                  <a:lnTo>
                    <a:pt x="470" y="442"/>
                  </a:lnTo>
                  <a:lnTo>
                    <a:pt x="468" y="440"/>
                  </a:lnTo>
                  <a:lnTo>
                    <a:pt x="468" y="439"/>
                  </a:lnTo>
                  <a:lnTo>
                    <a:pt x="468" y="437"/>
                  </a:lnTo>
                  <a:lnTo>
                    <a:pt x="470" y="434"/>
                  </a:lnTo>
                  <a:lnTo>
                    <a:pt x="471" y="433"/>
                  </a:lnTo>
                  <a:lnTo>
                    <a:pt x="472" y="432"/>
                  </a:lnTo>
                  <a:lnTo>
                    <a:pt x="474" y="432"/>
                  </a:lnTo>
                  <a:lnTo>
                    <a:pt x="474" y="431"/>
                  </a:lnTo>
                  <a:lnTo>
                    <a:pt x="471" y="430"/>
                  </a:lnTo>
                  <a:lnTo>
                    <a:pt x="470" y="430"/>
                  </a:lnTo>
                  <a:lnTo>
                    <a:pt x="470" y="431"/>
                  </a:lnTo>
                  <a:lnTo>
                    <a:pt x="469" y="431"/>
                  </a:lnTo>
                  <a:lnTo>
                    <a:pt x="466" y="431"/>
                  </a:lnTo>
                  <a:lnTo>
                    <a:pt x="465" y="432"/>
                  </a:lnTo>
                  <a:lnTo>
                    <a:pt x="465" y="431"/>
                  </a:lnTo>
                  <a:lnTo>
                    <a:pt x="464" y="431"/>
                  </a:lnTo>
                  <a:lnTo>
                    <a:pt x="462" y="432"/>
                  </a:lnTo>
                  <a:lnTo>
                    <a:pt x="462" y="433"/>
                  </a:lnTo>
                  <a:lnTo>
                    <a:pt x="462" y="434"/>
                  </a:lnTo>
                  <a:lnTo>
                    <a:pt x="460" y="434"/>
                  </a:lnTo>
                  <a:lnTo>
                    <a:pt x="462" y="436"/>
                  </a:lnTo>
                  <a:lnTo>
                    <a:pt x="463" y="436"/>
                  </a:lnTo>
                  <a:lnTo>
                    <a:pt x="463" y="438"/>
                  </a:lnTo>
                  <a:lnTo>
                    <a:pt x="464" y="439"/>
                  </a:lnTo>
                  <a:lnTo>
                    <a:pt x="462" y="439"/>
                  </a:lnTo>
                  <a:lnTo>
                    <a:pt x="460" y="439"/>
                  </a:lnTo>
                  <a:lnTo>
                    <a:pt x="460" y="440"/>
                  </a:lnTo>
                  <a:lnTo>
                    <a:pt x="460" y="443"/>
                  </a:lnTo>
                  <a:lnTo>
                    <a:pt x="457" y="440"/>
                  </a:lnTo>
                  <a:lnTo>
                    <a:pt x="457" y="444"/>
                  </a:lnTo>
                  <a:lnTo>
                    <a:pt x="456" y="446"/>
                  </a:lnTo>
                  <a:lnTo>
                    <a:pt x="457" y="449"/>
                  </a:lnTo>
                  <a:lnTo>
                    <a:pt x="457" y="451"/>
                  </a:lnTo>
                  <a:lnTo>
                    <a:pt x="459" y="450"/>
                  </a:lnTo>
                  <a:lnTo>
                    <a:pt x="458" y="449"/>
                  </a:lnTo>
                  <a:lnTo>
                    <a:pt x="459" y="449"/>
                  </a:lnTo>
                  <a:lnTo>
                    <a:pt x="460" y="451"/>
                  </a:lnTo>
                  <a:lnTo>
                    <a:pt x="462" y="451"/>
                  </a:lnTo>
                  <a:lnTo>
                    <a:pt x="463" y="452"/>
                  </a:lnTo>
                  <a:lnTo>
                    <a:pt x="460" y="454"/>
                  </a:lnTo>
                  <a:lnTo>
                    <a:pt x="460" y="455"/>
                  </a:lnTo>
                  <a:lnTo>
                    <a:pt x="458" y="454"/>
                  </a:lnTo>
                  <a:lnTo>
                    <a:pt x="457" y="455"/>
                  </a:lnTo>
                  <a:lnTo>
                    <a:pt x="458" y="456"/>
                  </a:lnTo>
                  <a:lnTo>
                    <a:pt x="459" y="457"/>
                  </a:lnTo>
                  <a:lnTo>
                    <a:pt x="459" y="460"/>
                  </a:lnTo>
                  <a:lnTo>
                    <a:pt x="458" y="461"/>
                  </a:lnTo>
                  <a:lnTo>
                    <a:pt x="460" y="461"/>
                  </a:lnTo>
                  <a:lnTo>
                    <a:pt x="463" y="463"/>
                  </a:lnTo>
                  <a:lnTo>
                    <a:pt x="464" y="464"/>
                  </a:lnTo>
                  <a:lnTo>
                    <a:pt x="462" y="466"/>
                  </a:lnTo>
                  <a:lnTo>
                    <a:pt x="460" y="464"/>
                  </a:lnTo>
                  <a:lnTo>
                    <a:pt x="459" y="466"/>
                  </a:lnTo>
                  <a:lnTo>
                    <a:pt x="458" y="466"/>
                  </a:lnTo>
                  <a:lnTo>
                    <a:pt x="456" y="466"/>
                  </a:lnTo>
                  <a:lnTo>
                    <a:pt x="456" y="464"/>
                  </a:lnTo>
                  <a:lnTo>
                    <a:pt x="453" y="466"/>
                  </a:lnTo>
                  <a:lnTo>
                    <a:pt x="452" y="466"/>
                  </a:lnTo>
                  <a:lnTo>
                    <a:pt x="451" y="466"/>
                  </a:lnTo>
                  <a:lnTo>
                    <a:pt x="450" y="464"/>
                  </a:lnTo>
                  <a:lnTo>
                    <a:pt x="451" y="462"/>
                  </a:lnTo>
                  <a:lnTo>
                    <a:pt x="450" y="462"/>
                  </a:lnTo>
                  <a:lnTo>
                    <a:pt x="448" y="462"/>
                  </a:lnTo>
                  <a:lnTo>
                    <a:pt x="447" y="462"/>
                  </a:lnTo>
                  <a:lnTo>
                    <a:pt x="445" y="462"/>
                  </a:lnTo>
                  <a:lnTo>
                    <a:pt x="444" y="463"/>
                  </a:lnTo>
                  <a:lnTo>
                    <a:pt x="442" y="463"/>
                  </a:lnTo>
                  <a:lnTo>
                    <a:pt x="444" y="464"/>
                  </a:lnTo>
                  <a:lnTo>
                    <a:pt x="445" y="467"/>
                  </a:lnTo>
                  <a:lnTo>
                    <a:pt x="447" y="471"/>
                  </a:lnTo>
                  <a:lnTo>
                    <a:pt x="446" y="471"/>
                  </a:lnTo>
                  <a:lnTo>
                    <a:pt x="444" y="469"/>
                  </a:lnTo>
                  <a:lnTo>
                    <a:pt x="444" y="472"/>
                  </a:lnTo>
                  <a:lnTo>
                    <a:pt x="442" y="472"/>
                  </a:lnTo>
                  <a:lnTo>
                    <a:pt x="441" y="471"/>
                  </a:lnTo>
                  <a:lnTo>
                    <a:pt x="439" y="469"/>
                  </a:lnTo>
                  <a:lnTo>
                    <a:pt x="439" y="472"/>
                  </a:lnTo>
                  <a:lnTo>
                    <a:pt x="439" y="474"/>
                  </a:lnTo>
                  <a:lnTo>
                    <a:pt x="438" y="474"/>
                  </a:lnTo>
                  <a:lnTo>
                    <a:pt x="435" y="474"/>
                  </a:lnTo>
                  <a:lnTo>
                    <a:pt x="434" y="474"/>
                  </a:lnTo>
                  <a:lnTo>
                    <a:pt x="433" y="472"/>
                  </a:lnTo>
                  <a:lnTo>
                    <a:pt x="430" y="471"/>
                  </a:lnTo>
                  <a:lnTo>
                    <a:pt x="430" y="469"/>
                  </a:lnTo>
                  <a:lnTo>
                    <a:pt x="428" y="468"/>
                  </a:lnTo>
                  <a:lnTo>
                    <a:pt x="427" y="467"/>
                  </a:lnTo>
                  <a:lnTo>
                    <a:pt x="425" y="467"/>
                  </a:lnTo>
                  <a:lnTo>
                    <a:pt x="424" y="466"/>
                  </a:lnTo>
                  <a:lnTo>
                    <a:pt x="423" y="464"/>
                  </a:lnTo>
                  <a:lnTo>
                    <a:pt x="423" y="463"/>
                  </a:lnTo>
                  <a:lnTo>
                    <a:pt x="422" y="461"/>
                  </a:lnTo>
                  <a:lnTo>
                    <a:pt x="422" y="458"/>
                  </a:lnTo>
                  <a:lnTo>
                    <a:pt x="423" y="457"/>
                  </a:lnTo>
                  <a:lnTo>
                    <a:pt x="424" y="456"/>
                  </a:lnTo>
                  <a:lnTo>
                    <a:pt x="424" y="455"/>
                  </a:lnTo>
                  <a:lnTo>
                    <a:pt x="425" y="452"/>
                  </a:lnTo>
                  <a:lnTo>
                    <a:pt x="424" y="452"/>
                  </a:lnTo>
                  <a:lnTo>
                    <a:pt x="423" y="452"/>
                  </a:lnTo>
                  <a:lnTo>
                    <a:pt x="422" y="451"/>
                  </a:lnTo>
                  <a:lnTo>
                    <a:pt x="421" y="451"/>
                  </a:lnTo>
                  <a:lnTo>
                    <a:pt x="419" y="451"/>
                  </a:lnTo>
                  <a:lnTo>
                    <a:pt x="418" y="450"/>
                  </a:lnTo>
                  <a:lnTo>
                    <a:pt x="416" y="451"/>
                  </a:lnTo>
                  <a:lnTo>
                    <a:pt x="415" y="451"/>
                  </a:lnTo>
                  <a:lnTo>
                    <a:pt x="416" y="454"/>
                  </a:lnTo>
                  <a:lnTo>
                    <a:pt x="417" y="456"/>
                  </a:lnTo>
                  <a:lnTo>
                    <a:pt x="419" y="456"/>
                  </a:lnTo>
                  <a:lnTo>
                    <a:pt x="419" y="458"/>
                  </a:lnTo>
                  <a:lnTo>
                    <a:pt x="419" y="461"/>
                  </a:lnTo>
                  <a:lnTo>
                    <a:pt x="421" y="463"/>
                  </a:lnTo>
                  <a:lnTo>
                    <a:pt x="422" y="464"/>
                  </a:lnTo>
                  <a:lnTo>
                    <a:pt x="423" y="467"/>
                  </a:lnTo>
                  <a:lnTo>
                    <a:pt x="423" y="469"/>
                  </a:lnTo>
                  <a:lnTo>
                    <a:pt x="424" y="472"/>
                  </a:lnTo>
                  <a:lnTo>
                    <a:pt x="424" y="473"/>
                  </a:lnTo>
                  <a:lnTo>
                    <a:pt x="427" y="474"/>
                  </a:lnTo>
                  <a:lnTo>
                    <a:pt x="425" y="478"/>
                  </a:lnTo>
                  <a:lnTo>
                    <a:pt x="427" y="480"/>
                  </a:lnTo>
                  <a:lnTo>
                    <a:pt x="428" y="483"/>
                  </a:lnTo>
                  <a:lnTo>
                    <a:pt x="430" y="484"/>
                  </a:lnTo>
                  <a:lnTo>
                    <a:pt x="431" y="484"/>
                  </a:lnTo>
                  <a:lnTo>
                    <a:pt x="435" y="486"/>
                  </a:lnTo>
                  <a:lnTo>
                    <a:pt x="435" y="489"/>
                  </a:lnTo>
                  <a:lnTo>
                    <a:pt x="434" y="490"/>
                  </a:lnTo>
                  <a:lnTo>
                    <a:pt x="433" y="489"/>
                  </a:lnTo>
                  <a:lnTo>
                    <a:pt x="431" y="489"/>
                  </a:lnTo>
                  <a:lnTo>
                    <a:pt x="429" y="490"/>
                  </a:lnTo>
                  <a:lnTo>
                    <a:pt x="428" y="490"/>
                  </a:lnTo>
                  <a:lnTo>
                    <a:pt x="425" y="490"/>
                  </a:lnTo>
                  <a:lnTo>
                    <a:pt x="424" y="487"/>
                  </a:lnTo>
                  <a:lnTo>
                    <a:pt x="423" y="487"/>
                  </a:lnTo>
                  <a:lnTo>
                    <a:pt x="422" y="487"/>
                  </a:lnTo>
                  <a:lnTo>
                    <a:pt x="421" y="487"/>
                  </a:lnTo>
                  <a:lnTo>
                    <a:pt x="421" y="486"/>
                  </a:lnTo>
                  <a:lnTo>
                    <a:pt x="419" y="490"/>
                  </a:lnTo>
                  <a:lnTo>
                    <a:pt x="422" y="492"/>
                  </a:lnTo>
                  <a:lnTo>
                    <a:pt x="423" y="492"/>
                  </a:lnTo>
                  <a:lnTo>
                    <a:pt x="424" y="495"/>
                  </a:lnTo>
                  <a:lnTo>
                    <a:pt x="424" y="497"/>
                  </a:lnTo>
                  <a:lnTo>
                    <a:pt x="422" y="497"/>
                  </a:lnTo>
                  <a:lnTo>
                    <a:pt x="421" y="497"/>
                  </a:lnTo>
                  <a:lnTo>
                    <a:pt x="419" y="495"/>
                  </a:lnTo>
                  <a:lnTo>
                    <a:pt x="419" y="496"/>
                  </a:lnTo>
                  <a:lnTo>
                    <a:pt x="421" y="498"/>
                  </a:lnTo>
                  <a:lnTo>
                    <a:pt x="419" y="499"/>
                  </a:lnTo>
                  <a:lnTo>
                    <a:pt x="419" y="502"/>
                  </a:lnTo>
                  <a:lnTo>
                    <a:pt x="423" y="504"/>
                  </a:lnTo>
                  <a:lnTo>
                    <a:pt x="427" y="505"/>
                  </a:lnTo>
                  <a:lnTo>
                    <a:pt x="428" y="507"/>
                  </a:lnTo>
                  <a:lnTo>
                    <a:pt x="431" y="507"/>
                  </a:lnTo>
                  <a:lnTo>
                    <a:pt x="434" y="508"/>
                  </a:lnTo>
                  <a:lnTo>
                    <a:pt x="435" y="508"/>
                  </a:lnTo>
                  <a:lnTo>
                    <a:pt x="436" y="509"/>
                  </a:lnTo>
                  <a:lnTo>
                    <a:pt x="438" y="510"/>
                  </a:lnTo>
                  <a:lnTo>
                    <a:pt x="439" y="511"/>
                  </a:lnTo>
                  <a:lnTo>
                    <a:pt x="438" y="513"/>
                  </a:lnTo>
                  <a:lnTo>
                    <a:pt x="436" y="515"/>
                  </a:lnTo>
                  <a:lnTo>
                    <a:pt x="435" y="515"/>
                  </a:lnTo>
                  <a:lnTo>
                    <a:pt x="436" y="516"/>
                  </a:lnTo>
                  <a:lnTo>
                    <a:pt x="434" y="519"/>
                  </a:lnTo>
                  <a:lnTo>
                    <a:pt x="434" y="520"/>
                  </a:lnTo>
                  <a:lnTo>
                    <a:pt x="431" y="521"/>
                  </a:lnTo>
                  <a:lnTo>
                    <a:pt x="430" y="521"/>
                  </a:lnTo>
                  <a:lnTo>
                    <a:pt x="428" y="522"/>
                  </a:lnTo>
                  <a:lnTo>
                    <a:pt x="427" y="522"/>
                  </a:lnTo>
                  <a:lnTo>
                    <a:pt x="425" y="522"/>
                  </a:lnTo>
                  <a:lnTo>
                    <a:pt x="423" y="522"/>
                  </a:lnTo>
                  <a:lnTo>
                    <a:pt x="421" y="522"/>
                  </a:lnTo>
                  <a:lnTo>
                    <a:pt x="419" y="525"/>
                  </a:lnTo>
                  <a:lnTo>
                    <a:pt x="422" y="527"/>
                  </a:lnTo>
                  <a:lnTo>
                    <a:pt x="423" y="529"/>
                  </a:lnTo>
                  <a:lnTo>
                    <a:pt x="424" y="531"/>
                  </a:lnTo>
                  <a:lnTo>
                    <a:pt x="427" y="534"/>
                  </a:lnTo>
                  <a:lnTo>
                    <a:pt x="429" y="538"/>
                  </a:lnTo>
                  <a:lnTo>
                    <a:pt x="427" y="540"/>
                  </a:lnTo>
                  <a:lnTo>
                    <a:pt x="424" y="539"/>
                  </a:lnTo>
                  <a:lnTo>
                    <a:pt x="422" y="539"/>
                  </a:lnTo>
                  <a:lnTo>
                    <a:pt x="422" y="535"/>
                  </a:lnTo>
                  <a:lnTo>
                    <a:pt x="419" y="535"/>
                  </a:lnTo>
                  <a:lnTo>
                    <a:pt x="417" y="534"/>
                  </a:lnTo>
                  <a:lnTo>
                    <a:pt x="418" y="534"/>
                  </a:lnTo>
                  <a:lnTo>
                    <a:pt x="417" y="534"/>
                  </a:lnTo>
                  <a:lnTo>
                    <a:pt x="413" y="533"/>
                  </a:lnTo>
                  <a:lnTo>
                    <a:pt x="412" y="532"/>
                  </a:lnTo>
                  <a:lnTo>
                    <a:pt x="411" y="531"/>
                  </a:lnTo>
                  <a:lnTo>
                    <a:pt x="409" y="529"/>
                  </a:lnTo>
                  <a:lnTo>
                    <a:pt x="409" y="528"/>
                  </a:lnTo>
                  <a:lnTo>
                    <a:pt x="406" y="528"/>
                  </a:lnTo>
                  <a:lnTo>
                    <a:pt x="405" y="527"/>
                  </a:lnTo>
                  <a:lnTo>
                    <a:pt x="404" y="527"/>
                  </a:lnTo>
                  <a:lnTo>
                    <a:pt x="401" y="528"/>
                  </a:lnTo>
                  <a:lnTo>
                    <a:pt x="397" y="527"/>
                  </a:lnTo>
                  <a:lnTo>
                    <a:pt x="394" y="526"/>
                  </a:lnTo>
                  <a:lnTo>
                    <a:pt x="393" y="523"/>
                  </a:lnTo>
                  <a:lnTo>
                    <a:pt x="392" y="522"/>
                  </a:lnTo>
                  <a:lnTo>
                    <a:pt x="393" y="521"/>
                  </a:lnTo>
                  <a:lnTo>
                    <a:pt x="395" y="517"/>
                  </a:lnTo>
                  <a:lnTo>
                    <a:pt x="395" y="515"/>
                  </a:lnTo>
                  <a:lnTo>
                    <a:pt x="398" y="514"/>
                  </a:lnTo>
                  <a:lnTo>
                    <a:pt x="401" y="514"/>
                  </a:lnTo>
                  <a:lnTo>
                    <a:pt x="403" y="511"/>
                  </a:lnTo>
                  <a:lnTo>
                    <a:pt x="404" y="510"/>
                  </a:lnTo>
                  <a:lnTo>
                    <a:pt x="403" y="509"/>
                  </a:lnTo>
                  <a:lnTo>
                    <a:pt x="401" y="508"/>
                  </a:lnTo>
                  <a:lnTo>
                    <a:pt x="400" y="505"/>
                  </a:lnTo>
                  <a:lnTo>
                    <a:pt x="399" y="504"/>
                  </a:lnTo>
                  <a:lnTo>
                    <a:pt x="398" y="503"/>
                  </a:lnTo>
                  <a:lnTo>
                    <a:pt x="397" y="502"/>
                  </a:lnTo>
                  <a:lnTo>
                    <a:pt x="394" y="503"/>
                  </a:lnTo>
                  <a:lnTo>
                    <a:pt x="394" y="504"/>
                  </a:lnTo>
                  <a:lnTo>
                    <a:pt x="393" y="503"/>
                  </a:lnTo>
                  <a:lnTo>
                    <a:pt x="391" y="501"/>
                  </a:lnTo>
                  <a:lnTo>
                    <a:pt x="389" y="501"/>
                  </a:lnTo>
                  <a:lnTo>
                    <a:pt x="388" y="497"/>
                  </a:lnTo>
                  <a:lnTo>
                    <a:pt x="387" y="496"/>
                  </a:lnTo>
                  <a:lnTo>
                    <a:pt x="385" y="497"/>
                  </a:lnTo>
                  <a:lnTo>
                    <a:pt x="385" y="499"/>
                  </a:lnTo>
                  <a:lnTo>
                    <a:pt x="385" y="502"/>
                  </a:lnTo>
                  <a:lnTo>
                    <a:pt x="383" y="501"/>
                  </a:lnTo>
                  <a:lnTo>
                    <a:pt x="382" y="502"/>
                  </a:lnTo>
                  <a:lnTo>
                    <a:pt x="380" y="503"/>
                  </a:lnTo>
                  <a:lnTo>
                    <a:pt x="377" y="501"/>
                  </a:lnTo>
                  <a:lnTo>
                    <a:pt x="376" y="502"/>
                  </a:lnTo>
                  <a:lnTo>
                    <a:pt x="375" y="503"/>
                  </a:lnTo>
                  <a:lnTo>
                    <a:pt x="375" y="504"/>
                  </a:lnTo>
                  <a:lnTo>
                    <a:pt x="372" y="507"/>
                  </a:lnTo>
                  <a:lnTo>
                    <a:pt x="371" y="508"/>
                  </a:lnTo>
                  <a:lnTo>
                    <a:pt x="372" y="509"/>
                  </a:lnTo>
                  <a:lnTo>
                    <a:pt x="372" y="511"/>
                  </a:lnTo>
                  <a:lnTo>
                    <a:pt x="372" y="514"/>
                  </a:lnTo>
                  <a:lnTo>
                    <a:pt x="371" y="514"/>
                  </a:lnTo>
                  <a:lnTo>
                    <a:pt x="369" y="514"/>
                  </a:lnTo>
                  <a:lnTo>
                    <a:pt x="366" y="513"/>
                  </a:lnTo>
                  <a:lnTo>
                    <a:pt x="364" y="513"/>
                  </a:lnTo>
                  <a:lnTo>
                    <a:pt x="364" y="514"/>
                  </a:lnTo>
                  <a:lnTo>
                    <a:pt x="364" y="516"/>
                  </a:lnTo>
                  <a:lnTo>
                    <a:pt x="364" y="519"/>
                  </a:lnTo>
                  <a:lnTo>
                    <a:pt x="366" y="520"/>
                  </a:lnTo>
                  <a:lnTo>
                    <a:pt x="369" y="519"/>
                  </a:lnTo>
                  <a:lnTo>
                    <a:pt x="370" y="521"/>
                  </a:lnTo>
                  <a:lnTo>
                    <a:pt x="372" y="521"/>
                  </a:lnTo>
                  <a:lnTo>
                    <a:pt x="375" y="522"/>
                  </a:lnTo>
                  <a:lnTo>
                    <a:pt x="377" y="523"/>
                  </a:lnTo>
                  <a:lnTo>
                    <a:pt x="380" y="525"/>
                  </a:lnTo>
                  <a:lnTo>
                    <a:pt x="382" y="525"/>
                  </a:lnTo>
                  <a:lnTo>
                    <a:pt x="386" y="526"/>
                  </a:lnTo>
                  <a:lnTo>
                    <a:pt x="386" y="528"/>
                  </a:lnTo>
                  <a:lnTo>
                    <a:pt x="388" y="529"/>
                  </a:lnTo>
                  <a:lnTo>
                    <a:pt x="391" y="531"/>
                  </a:lnTo>
                  <a:lnTo>
                    <a:pt x="393" y="531"/>
                  </a:lnTo>
                  <a:lnTo>
                    <a:pt x="397" y="532"/>
                  </a:lnTo>
                  <a:lnTo>
                    <a:pt x="398" y="531"/>
                  </a:lnTo>
                  <a:lnTo>
                    <a:pt x="401" y="534"/>
                  </a:lnTo>
                  <a:lnTo>
                    <a:pt x="403" y="535"/>
                  </a:lnTo>
                  <a:lnTo>
                    <a:pt x="404" y="537"/>
                  </a:lnTo>
                  <a:lnTo>
                    <a:pt x="403" y="540"/>
                  </a:lnTo>
                  <a:lnTo>
                    <a:pt x="401" y="543"/>
                  </a:lnTo>
                  <a:lnTo>
                    <a:pt x="401" y="545"/>
                  </a:lnTo>
                  <a:lnTo>
                    <a:pt x="401" y="544"/>
                  </a:lnTo>
                  <a:lnTo>
                    <a:pt x="401" y="545"/>
                  </a:lnTo>
                  <a:lnTo>
                    <a:pt x="400" y="549"/>
                  </a:lnTo>
                  <a:lnTo>
                    <a:pt x="400" y="550"/>
                  </a:lnTo>
                  <a:lnTo>
                    <a:pt x="399" y="552"/>
                  </a:lnTo>
                  <a:lnTo>
                    <a:pt x="397" y="555"/>
                  </a:lnTo>
                  <a:lnTo>
                    <a:pt x="393" y="556"/>
                  </a:lnTo>
                  <a:lnTo>
                    <a:pt x="392" y="556"/>
                  </a:lnTo>
                  <a:lnTo>
                    <a:pt x="391" y="562"/>
                  </a:lnTo>
                  <a:lnTo>
                    <a:pt x="388" y="563"/>
                  </a:lnTo>
                  <a:lnTo>
                    <a:pt x="386" y="562"/>
                  </a:lnTo>
                  <a:lnTo>
                    <a:pt x="383" y="562"/>
                  </a:lnTo>
                  <a:lnTo>
                    <a:pt x="382" y="559"/>
                  </a:lnTo>
                  <a:lnTo>
                    <a:pt x="379" y="558"/>
                  </a:lnTo>
                  <a:lnTo>
                    <a:pt x="379" y="556"/>
                  </a:lnTo>
                  <a:lnTo>
                    <a:pt x="379" y="555"/>
                  </a:lnTo>
                  <a:lnTo>
                    <a:pt x="377" y="551"/>
                  </a:lnTo>
                  <a:lnTo>
                    <a:pt x="379" y="550"/>
                  </a:lnTo>
                  <a:lnTo>
                    <a:pt x="377" y="549"/>
                  </a:lnTo>
                  <a:lnTo>
                    <a:pt x="375" y="549"/>
                  </a:lnTo>
                  <a:lnTo>
                    <a:pt x="374" y="547"/>
                  </a:lnTo>
                  <a:lnTo>
                    <a:pt x="372" y="545"/>
                  </a:lnTo>
                  <a:lnTo>
                    <a:pt x="371" y="544"/>
                  </a:lnTo>
                  <a:lnTo>
                    <a:pt x="371" y="547"/>
                  </a:lnTo>
                  <a:lnTo>
                    <a:pt x="370" y="549"/>
                  </a:lnTo>
                  <a:lnTo>
                    <a:pt x="370" y="550"/>
                  </a:lnTo>
                  <a:lnTo>
                    <a:pt x="368" y="549"/>
                  </a:lnTo>
                  <a:lnTo>
                    <a:pt x="366" y="547"/>
                  </a:lnTo>
                  <a:lnTo>
                    <a:pt x="365" y="549"/>
                  </a:lnTo>
                  <a:lnTo>
                    <a:pt x="364" y="550"/>
                  </a:lnTo>
                  <a:lnTo>
                    <a:pt x="363" y="551"/>
                  </a:lnTo>
                  <a:lnTo>
                    <a:pt x="360" y="551"/>
                  </a:lnTo>
                  <a:lnTo>
                    <a:pt x="359" y="550"/>
                  </a:lnTo>
                  <a:lnTo>
                    <a:pt x="358" y="549"/>
                  </a:lnTo>
                  <a:lnTo>
                    <a:pt x="356" y="549"/>
                  </a:lnTo>
                  <a:lnTo>
                    <a:pt x="354" y="549"/>
                  </a:lnTo>
                  <a:lnTo>
                    <a:pt x="352" y="550"/>
                  </a:lnTo>
                  <a:lnTo>
                    <a:pt x="351" y="552"/>
                  </a:lnTo>
                  <a:lnTo>
                    <a:pt x="348" y="552"/>
                  </a:lnTo>
                  <a:lnTo>
                    <a:pt x="347" y="556"/>
                  </a:lnTo>
                  <a:lnTo>
                    <a:pt x="348" y="558"/>
                  </a:lnTo>
                  <a:lnTo>
                    <a:pt x="350" y="559"/>
                  </a:lnTo>
                  <a:lnTo>
                    <a:pt x="352" y="559"/>
                  </a:lnTo>
                  <a:lnTo>
                    <a:pt x="356" y="559"/>
                  </a:lnTo>
                  <a:lnTo>
                    <a:pt x="356" y="562"/>
                  </a:lnTo>
                  <a:lnTo>
                    <a:pt x="354" y="563"/>
                  </a:lnTo>
                  <a:lnTo>
                    <a:pt x="352" y="563"/>
                  </a:lnTo>
                  <a:lnTo>
                    <a:pt x="351" y="562"/>
                  </a:lnTo>
                  <a:lnTo>
                    <a:pt x="348" y="563"/>
                  </a:lnTo>
                  <a:lnTo>
                    <a:pt x="346" y="563"/>
                  </a:lnTo>
                  <a:lnTo>
                    <a:pt x="342" y="559"/>
                  </a:lnTo>
                  <a:lnTo>
                    <a:pt x="340" y="559"/>
                  </a:lnTo>
                  <a:lnTo>
                    <a:pt x="336" y="559"/>
                  </a:lnTo>
                  <a:lnTo>
                    <a:pt x="335" y="558"/>
                  </a:lnTo>
                  <a:lnTo>
                    <a:pt x="333" y="559"/>
                  </a:lnTo>
                  <a:lnTo>
                    <a:pt x="330" y="558"/>
                  </a:lnTo>
                  <a:lnTo>
                    <a:pt x="330" y="557"/>
                  </a:lnTo>
                  <a:lnTo>
                    <a:pt x="330" y="556"/>
                  </a:lnTo>
                  <a:lnTo>
                    <a:pt x="332" y="555"/>
                  </a:lnTo>
                  <a:lnTo>
                    <a:pt x="332" y="553"/>
                  </a:lnTo>
                  <a:lnTo>
                    <a:pt x="329" y="553"/>
                  </a:lnTo>
                  <a:lnTo>
                    <a:pt x="327" y="553"/>
                  </a:lnTo>
                  <a:lnTo>
                    <a:pt x="326" y="555"/>
                  </a:lnTo>
                  <a:lnTo>
                    <a:pt x="323" y="555"/>
                  </a:lnTo>
                  <a:lnTo>
                    <a:pt x="323" y="550"/>
                  </a:lnTo>
                  <a:lnTo>
                    <a:pt x="323" y="547"/>
                  </a:lnTo>
                  <a:lnTo>
                    <a:pt x="323" y="546"/>
                  </a:lnTo>
                  <a:lnTo>
                    <a:pt x="318" y="541"/>
                  </a:lnTo>
                  <a:lnTo>
                    <a:pt x="320" y="541"/>
                  </a:lnTo>
                  <a:lnTo>
                    <a:pt x="318" y="540"/>
                  </a:lnTo>
                  <a:lnTo>
                    <a:pt x="314" y="539"/>
                  </a:lnTo>
                  <a:lnTo>
                    <a:pt x="311" y="538"/>
                  </a:lnTo>
                  <a:lnTo>
                    <a:pt x="309" y="538"/>
                  </a:lnTo>
                  <a:lnTo>
                    <a:pt x="309" y="537"/>
                  </a:lnTo>
                  <a:lnTo>
                    <a:pt x="310" y="534"/>
                  </a:lnTo>
                  <a:lnTo>
                    <a:pt x="312" y="533"/>
                  </a:lnTo>
                  <a:lnTo>
                    <a:pt x="314" y="532"/>
                  </a:lnTo>
                  <a:lnTo>
                    <a:pt x="318" y="532"/>
                  </a:lnTo>
                  <a:lnTo>
                    <a:pt x="320" y="529"/>
                  </a:lnTo>
                  <a:lnTo>
                    <a:pt x="323" y="528"/>
                  </a:lnTo>
                  <a:lnTo>
                    <a:pt x="324" y="527"/>
                  </a:lnTo>
                  <a:lnTo>
                    <a:pt x="327" y="526"/>
                  </a:lnTo>
                  <a:lnTo>
                    <a:pt x="326" y="522"/>
                  </a:lnTo>
                  <a:lnTo>
                    <a:pt x="324" y="523"/>
                  </a:lnTo>
                  <a:lnTo>
                    <a:pt x="322" y="525"/>
                  </a:lnTo>
                  <a:lnTo>
                    <a:pt x="322" y="523"/>
                  </a:lnTo>
                  <a:lnTo>
                    <a:pt x="321" y="525"/>
                  </a:lnTo>
                  <a:lnTo>
                    <a:pt x="320" y="527"/>
                  </a:lnTo>
                  <a:lnTo>
                    <a:pt x="318" y="527"/>
                  </a:lnTo>
                  <a:lnTo>
                    <a:pt x="317" y="526"/>
                  </a:lnTo>
                  <a:lnTo>
                    <a:pt x="316" y="526"/>
                  </a:lnTo>
                  <a:lnTo>
                    <a:pt x="315" y="526"/>
                  </a:lnTo>
                  <a:lnTo>
                    <a:pt x="314" y="523"/>
                  </a:lnTo>
                  <a:lnTo>
                    <a:pt x="315" y="521"/>
                  </a:lnTo>
                  <a:lnTo>
                    <a:pt x="311" y="523"/>
                  </a:lnTo>
                  <a:lnTo>
                    <a:pt x="306" y="528"/>
                  </a:lnTo>
                  <a:lnTo>
                    <a:pt x="301" y="555"/>
                  </a:lnTo>
                  <a:lnTo>
                    <a:pt x="300" y="565"/>
                  </a:lnTo>
                  <a:lnTo>
                    <a:pt x="301" y="570"/>
                  </a:lnTo>
                  <a:lnTo>
                    <a:pt x="304" y="576"/>
                  </a:lnTo>
                  <a:lnTo>
                    <a:pt x="305" y="582"/>
                  </a:lnTo>
                  <a:lnTo>
                    <a:pt x="298" y="603"/>
                  </a:lnTo>
                  <a:lnTo>
                    <a:pt x="297" y="621"/>
                  </a:lnTo>
                  <a:lnTo>
                    <a:pt x="300" y="627"/>
                  </a:lnTo>
                  <a:lnTo>
                    <a:pt x="300" y="630"/>
                  </a:lnTo>
                  <a:lnTo>
                    <a:pt x="294" y="641"/>
                  </a:lnTo>
                  <a:lnTo>
                    <a:pt x="291" y="695"/>
                  </a:lnTo>
                  <a:lnTo>
                    <a:pt x="293" y="73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8" name="Freeform 81"/>
            <p:cNvSpPr>
              <a:spLocks noEditPoints="1"/>
            </p:cNvSpPr>
            <p:nvPr userDrawn="1"/>
          </p:nvSpPr>
          <p:spPr bwMode="auto">
            <a:xfrm>
              <a:off x="8018463" y="6276976"/>
              <a:ext cx="133350" cy="246063"/>
            </a:xfrm>
            <a:custGeom>
              <a:avLst/>
              <a:gdLst/>
              <a:ahLst/>
              <a:cxnLst>
                <a:cxn ang="0">
                  <a:pos x="175" y="755"/>
                </a:cxn>
                <a:cxn ang="0">
                  <a:pos x="191" y="537"/>
                </a:cxn>
                <a:cxn ang="0">
                  <a:pos x="218" y="537"/>
                </a:cxn>
                <a:cxn ang="0">
                  <a:pos x="379" y="319"/>
                </a:cxn>
                <a:cxn ang="0">
                  <a:pos x="423" y="362"/>
                </a:cxn>
                <a:cxn ang="0">
                  <a:pos x="413" y="369"/>
                </a:cxn>
                <a:cxn ang="0">
                  <a:pos x="356" y="350"/>
                </a:cxn>
                <a:cxn ang="0">
                  <a:pos x="255" y="289"/>
                </a:cxn>
                <a:cxn ang="0">
                  <a:pos x="229" y="300"/>
                </a:cxn>
                <a:cxn ang="0">
                  <a:pos x="242" y="527"/>
                </a:cxn>
                <a:cxn ang="0">
                  <a:pos x="254" y="755"/>
                </a:cxn>
                <a:cxn ang="0">
                  <a:pos x="161" y="777"/>
                </a:cxn>
                <a:cxn ang="0">
                  <a:pos x="172" y="742"/>
                </a:cxn>
                <a:cxn ang="0">
                  <a:pos x="191" y="527"/>
                </a:cxn>
                <a:cxn ang="0">
                  <a:pos x="178" y="278"/>
                </a:cxn>
                <a:cxn ang="0">
                  <a:pos x="111" y="325"/>
                </a:cxn>
                <a:cxn ang="0">
                  <a:pos x="12" y="367"/>
                </a:cxn>
                <a:cxn ang="0">
                  <a:pos x="0" y="359"/>
                </a:cxn>
                <a:cxn ang="0">
                  <a:pos x="52" y="310"/>
                </a:cxn>
                <a:cxn ang="0">
                  <a:pos x="163" y="252"/>
                </a:cxn>
                <a:cxn ang="0">
                  <a:pos x="193" y="224"/>
                </a:cxn>
                <a:cxn ang="0">
                  <a:pos x="193" y="163"/>
                </a:cxn>
                <a:cxn ang="0">
                  <a:pos x="197" y="35"/>
                </a:cxn>
                <a:cxn ang="0">
                  <a:pos x="214" y="0"/>
                </a:cxn>
                <a:cxn ang="0">
                  <a:pos x="229" y="35"/>
                </a:cxn>
                <a:cxn ang="0">
                  <a:pos x="234" y="163"/>
                </a:cxn>
                <a:cxn ang="0">
                  <a:pos x="235" y="224"/>
                </a:cxn>
                <a:cxn ang="0">
                  <a:pos x="243" y="248"/>
                </a:cxn>
                <a:cxn ang="0">
                  <a:pos x="313" y="277"/>
                </a:cxn>
                <a:cxn ang="0">
                  <a:pos x="270" y="265"/>
                </a:cxn>
                <a:cxn ang="0">
                  <a:pos x="262" y="270"/>
                </a:cxn>
                <a:cxn ang="0">
                  <a:pos x="307" y="302"/>
                </a:cxn>
                <a:cxn ang="0">
                  <a:pos x="378" y="339"/>
                </a:cxn>
                <a:cxn ang="0">
                  <a:pos x="386" y="336"/>
                </a:cxn>
                <a:cxn ang="0">
                  <a:pos x="365" y="316"/>
                </a:cxn>
                <a:cxn ang="0">
                  <a:pos x="282" y="270"/>
                </a:cxn>
                <a:cxn ang="0">
                  <a:pos x="54" y="335"/>
                </a:cxn>
                <a:cxn ang="0">
                  <a:pos x="142" y="283"/>
                </a:cxn>
                <a:cxn ang="0">
                  <a:pos x="158" y="267"/>
                </a:cxn>
                <a:cxn ang="0">
                  <a:pos x="114" y="282"/>
                </a:cxn>
                <a:cxn ang="0">
                  <a:pos x="48" y="324"/>
                </a:cxn>
                <a:cxn ang="0">
                  <a:pos x="32" y="339"/>
                </a:cxn>
                <a:cxn ang="0">
                  <a:pos x="207" y="256"/>
                </a:cxn>
                <a:cxn ang="0">
                  <a:pos x="222" y="247"/>
                </a:cxn>
                <a:cxn ang="0">
                  <a:pos x="218" y="230"/>
                </a:cxn>
                <a:cxn ang="0">
                  <a:pos x="201" y="226"/>
                </a:cxn>
                <a:cxn ang="0">
                  <a:pos x="193" y="241"/>
                </a:cxn>
                <a:cxn ang="0">
                  <a:pos x="197" y="121"/>
                </a:cxn>
                <a:cxn ang="0">
                  <a:pos x="207" y="194"/>
                </a:cxn>
                <a:cxn ang="0">
                  <a:pos x="215" y="121"/>
                </a:cxn>
                <a:cxn ang="0">
                  <a:pos x="207" y="47"/>
                </a:cxn>
                <a:cxn ang="0">
                  <a:pos x="199" y="93"/>
                </a:cxn>
              </a:cxnLst>
              <a:rect l="0" t="0" r="r" b="b"/>
              <a:pathLst>
                <a:path w="423" h="777">
                  <a:moveTo>
                    <a:pt x="203" y="746"/>
                  </a:moveTo>
                  <a:lnTo>
                    <a:pt x="175" y="744"/>
                  </a:lnTo>
                  <a:lnTo>
                    <a:pt x="175" y="755"/>
                  </a:lnTo>
                  <a:lnTo>
                    <a:pt x="203" y="755"/>
                  </a:lnTo>
                  <a:lnTo>
                    <a:pt x="203" y="746"/>
                  </a:lnTo>
                  <a:close/>
                  <a:moveTo>
                    <a:pt x="191" y="537"/>
                  </a:moveTo>
                  <a:lnTo>
                    <a:pt x="191" y="741"/>
                  </a:lnTo>
                  <a:lnTo>
                    <a:pt x="217" y="741"/>
                  </a:lnTo>
                  <a:lnTo>
                    <a:pt x="218" y="537"/>
                  </a:lnTo>
                  <a:lnTo>
                    <a:pt x="191" y="537"/>
                  </a:lnTo>
                  <a:close/>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moveTo>
                    <a:pt x="282" y="270"/>
                  </a:moveTo>
                  <a:lnTo>
                    <a:pt x="270" y="265"/>
                  </a:lnTo>
                  <a:lnTo>
                    <a:pt x="265" y="265"/>
                  </a:lnTo>
                  <a:lnTo>
                    <a:pt x="262" y="266"/>
                  </a:lnTo>
                  <a:lnTo>
                    <a:pt x="262" y="270"/>
                  </a:lnTo>
                  <a:lnTo>
                    <a:pt x="267" y="274"/>
                  </a:lnTo>
                  <a:lnTo>
                    <a:pt x="282" y="285"/>
                  </a:lnTo>
                  <a:lnTo>
                    <a:pt x="307" y="302"/>
                  </a:lnTo>
                  <a:lnTo>
                    <a:pt x="335" y="320"/>
                  </a:lnTo>
                  <a:lnTo>
                    <a:pt x="361" y="333"/>
                  </a:lnTo>
                  <a:lnTo>
                    <a:pt x="378" y="339"/>
                  </a:lnTo>
                  <a:lnTo>
                    <a:pt x="384" y="341"/>
                  </a:lnTo>
                  <a:lnTo>
                    <a:pt x="386" y="339"/>
                  </a:lnTo>
                  <a:lnTo>
                    <a:pt x="386" y="336"/>
                  </a:lnTo>
                  <a:lnTo>
                    <a:pt x="384" y="333"/>
                  </a:lnTo>
                  <a:lnTo>
                    <a:pt x="380" y="330"/>
                  </a:lnTo>
                  <a:lnTo>
                    <a:pt x="365" y="316"/>
                  </a:lnTo>
                  <a:lnTo>
                    <a:pt x="348" y="306"/>
                  </a:lnTo>
                  <a:lnTo>
                    <a:pt x="305" y="280"/>
                  </a:lnTo>
                  <a:lnTo>
                    <a:pt x="282" y="270"/>
                  </a:lnTo>
                  <a:close/>
                  <a:moveTo>
                    <a:pt x="32" y="339"/>
                  </a:moveTo>
                  <a:lnTo>
                    <a:pt x="39" y="341"/>
                  </a:lnTo>
                  <a:lnTo>
                    <a:pt x="54" y="335"/>
                  </a:lnTo>
                  <a:lnTo>
                    <a:pt x="99" y="312"/>
                  </a:lnTo>
                  <a:lnTo>
                    <a:pt x="123" y="296"/>
                  </a:lnTo>
                  <a:lnTo>
                    <a:pt x="142" y="283"/>
                  </a:lnTo>
                  <a:lnTo>
                    <a:pt x="154" y="272"/>
                  </a:lnTo>
                  <a:lnTo>
                    <a:pt x="156" y="270"/>
                  </a:lnTo>
                  <a:lnTo>
                    <a:pt x="158" y="267"/>
                  </a:lnTo>
                  <a:lnTo>
                    <a:pt x="150" y="266"/>
                  </a:lnTo>
                  <a:lnTo>
                    <a:pt x="136" y="272"/>
                  </a:lnTo>
                  <a:lnTo>
                    <a:pt x="114" y="282"/>
                  </a:lnTo>
                  <a:lnTo>
                    <a:pt x="90" y="295"/>
                  </a:lnTo>
                  <a:lnTo>
                    <a:pt x="66" y="310"/>
                  </a:lnTo>
                  <a:lnTo>
                    <a:pt x="48" y="324"/>
                  </a:lnTo>
                  <a:lnTo>
                    <a:pt x="35" y="335"/>
                  </a:lnTo>
                  <a:lnTo>
                    <a:pt x="32" y="337"/>
                  </a:lnTo>
                  <a:lnTo>
                    <a:pt x="32" y="339"/>
                  </a:lnTo>
                  <a:close/>
                  <a:moveTo>
                    <a:pt x="196" y="252"/>
                  </a:moveTo>
                  <a:lnTo>
                    <a:pt x="201" y="255"/>
                  </a:lnTo>
                  <a:lnTo>
                    <a:pt x="207" y="256"/>
                  </a:lnTo>
                  <a:lnTo>
                    <a:pt x="213" y="255"/>
                  </a:lnTo>
                  <a:lnTo>
                    <a:pt x="218" y="252"/>
                  </a:lnTo>
                  <a:lnTo>
                    <a:pt x="222" y="247"/>
                  </a:lnTo>
                  <a:lnTo>
                    <a:pt x="223" y="241"/>
                  </a:lnTo>
                  <a:lnTo>
                    <a:pt x="222" y="235"/>
                  </a:lnTo>
                  <a:lnTo>
                    <a:pt x="218" y="230"/>
                  </a:lnTo>
                  <a:lnTo>
                    <a:pt x="213" y="226"/>
                  </a:lnTo>
                  <a:lnTo>
                    <a:pt x="207" y="225"/>
                  </a:lnTo>
                  <a:lnTo>
                    <a:pt x="201" y="226"/>
                  </a:lnTo>
                  <a:lnTo>
                    <a:pt x="196" y="230"/>
                  </a:lnTo>
                  <a:lnTo>
                    <a:pt x="194" y="235"/>
                  </a:lnTo>
                  <a:lnTo>
                    <a:pt x="193" y="241"/>
                  </a:lnTo>
                  <a:lnTo>
                    <a:pt x="194" y="247"/>
                  </a:lnTo>
                  <a:lnTo>
                    <a:pt x="196" y="252"/>
                  </a:lnTo>
                  <a:close/>
                  <a:moveTo>
                    <a:pt x="197" y="121"/>
                  </a:moveTo>
                  <a:lnTo>
                    <a:pt x="201" y="172"/>
                  </a:lnTo>
                  <a:lnTo>
                    <a:pt x="203" y="188"/>
                  </a:lnTo>
                  <a:lnTo>
                    <a:pt x="207" y="194"/>
                  </a:lnTo>
                  <a:lnTo>
                    <a:pt x="211" y="188"/>
                  </a:lnTo>
                  <a:lnTo>
                    <a:pt x="214" y="172"/>
                  </a:lnTo>
                  <a:lnTo>
                    <a:pt x="215" y="121"/>
                  </a:lnTo>
                  <a:lnTo>
                    <a:pt x="214" y="69"/>
                  </a:lnTo>
                  <a:lnTo>
                    <a:pt x="211" y="53"/>
                  </a:lnTo>
                  <a:lnTo>
                    <a:pt x="207" y="47"/>
                  </a:lnTo>
                  <a:lnTo>
                    <a:pt x="203" y="53"/>
                  </a:lnTo>
                  <a:lnTo>
                    <a:pt x="201" y="69"/>
                  </a:lnTo>
                  <a:lnTo>
                    <a:pt x="199" y="93"/>
                  </a:lnTo>
                  <a:lnTo>
                    <a:pt x="197" y="121"/>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9" name="Freeform 82"/>
            <p:cNvSpPr>
              <a:spLocks/>
            </p:cNvSpPr>
            <p:nvPr userDrawn="1"/>
          </p:nvSpPr>
          <p:spPr bwMode="auto">
            <a:xfrm>
              <a:off x="8074025" y="6513513"/>
              <a:ext cx="7938" cy="3175"/>
            </a:xfrm>
            <a:custGeom>
              <a:avLst/>
              <a:gdLst/>
              <a:ahLst/>
              <a:cxnLst>
                <a:cxn ang="0">
                  <a:pos x="28" y="2"/>
                </a:cxn>
                <a:cxn ang="0">
                  <a:pos x="0" y="0"/>
                </a:cxn>
                <a:cxn ang="0">
                  <a:pos x="0" y="11"/>
                </a:cxn>
                <a:cxn ang="0">
                  <a:pos x="28" y="11"/>
                </a:cxn>
                <a:cxn ang="0">
                  <a:pos x="28" y="2"/>
                </a:cxn>
              </a:cxnLst>
              <a:rect l="0" t="0" r="r" b="b"/>
              <a:pathLst>
                <a:path w="28" h="11">
                  <a:moveTo>
                    <a:pt x="28" y="2"/>
                  </a:moveTo>
                  <a:lnTo>
                    <a:pt x="0" y="0"/>
                  </a:lnTo>
                  <a:lnTo>
                    <a:pt x="0" y="11"/>
                  </a:lnTo>
                  <a:lnTo>
                    <a:pt x="28" y="11"/>
                  </a:lnTo>
                  <a:lnTo>
                    <a:pt x="28" y="2"/>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0" name="Freeform 83"/>
            <p:cNvSpPr>
              <a:spLocks/>
            </p:cNvSpPr>
            <p:nvPr userDrawn="1"/>
          </p:nvSpPr>
          <p:spPr bwMode="auto">
            <a:xfrm>
              <a:off x="8078788" y="6446838"/>
              <a:ext cx="7938" cy="65088"/>
            </a:xfrm>
            <a:custGeom>
              <a:avLst/>
              <a:gdLst/>
              <a:ahLst/>
              <a:cxnLst>
                <a:cxn ang="0">
                  <a:pos x="0" y="0"/>
                </a:cxn>
                <a:cxn ang="0">
                  <a:pos x="0" y="204"/>
                </a:cxn>
                <a:cxn ang="0">
                  <a:pos x="26" y="204"/>
                </a:cxn>
                <a:cxn ang="0">
                  <a:pos x="27" y="0"/>
                </a:cxn>
                <a:cxn ang="0">
                  <a:pos x="0" y="0"/>
                </a:cxn>
              </a:cxnLst>
              <a:rect l="0" t="0" r="r" b="b"/>
              <a:pathLst>
                <a:path w="27" h="204">
                  <a:moveTo>
                    <a:pt x="0" y="0"/>
                  </a:moveTo>
                  <a:lnTo>
                    <a:pt x="0" y="204"/>
                  </a:lnTo>
                  <a:lnTo>
                    <a:pt x="26" y="204"/>
                  </a:lnTo>
                  <a:lnTo>
                    <a:pt x="27" y="0"/>
                  </a:lnTo>
                  <a:lnTo>
                    <a:pt x="0"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1" name="Freeform 84"/>
            <p:cNvSpPr>
              <a:spLocks/>
            </p:cNvSpPr>
            <p:nvPr userDrawn="1"/>
          </p:nvSpPr>
          <p:spPr bwMode="auto">
            <a:xfrm>
              <a:off x="8018463" y="6276976"/>
              <a:ext cx="133350" cy="246063"/>
            </a:xfrm>
            <a:custGeom>
              <a:avLst/>
              <a:gdLst/>
              <a:ahLst/>
              <a:cxnLst>
                <a:cxn ang="0">
                  <a:pos x="379" y="319"/>
                </a:cxn>
                <a:cxn ang="0">
                  <a:pos x="419" y="355"/>
                </a:cxn>
                <a:cxn ang="0">
                  <a:pos x="423" y="367"/>
                </a:cxn>
                <a:cxn ang="0">
                  <a:pos x="413" y="369"/>
                </a:cxn>
                <a:cxn ang="0">
                  <a:pos x="391" y="366"/>
                </a:cxn>
                <a:cxn ang="0">
                  <a:pos x="318" y="332"/>
                </a:cxn>
                <a:cxn ang="0">
                  <a:pos x="255" y="289"/>
                </a:cxn>
                <a:cxn ang="0">
                  <a:pos x="229" y="272"/>
                </a:cxn>
                <a:cxn ang="0">
                  <a:pos x="230" y="348"/>
                </a:cxn>
                <a:cxn ang="0">
                  <a:pos x="242" y="527"/>
                </a:cxn>
                <a:cxn ang="0">
                  <a:pos x="254" y="742"/>
                </a:cxn>
                <a:cxn ang="0">
                  <a:pos x="267" y="755"/>
                </a:cxn>
                <a:cxn ang="0">
                  <a:pos x="161" y="777"/>
                </a:cxn>
                <a:cxn ang="0">
                  <a:pos x="172" y="755"/>
                </a:cxn>
                <a:cxn ang="0">
                  <a:pos x="184" y="742"/>
                </a:cxn>
                <a:cxn ang="0">
                  <a:pos x="191" y="527"/>
                </a:cxn>
                <a:cxn ang="0">
                  <a:pos x="193" y="266"/>
                </a:cxn>
                <a:cxn ang="0">
                  <a:pos x="164" y="290"/>
                </a:cxn>
                <a:cxn ang="0">
                  <a:pos x="111" y="325"/>
                </a:cxn>
                <a:cxn ang="0">
                  <a:pos x="37" y="360"/>
                </a:cxn>
                <a:cxn ang="0">
                  <a:pos x="5" y="367"/>
                </a:cxn>
                <a:cxn ang="0">
                  <a:pos x="0" y="359"/>
                </a:cxn>
                <a:cxn ang="0">
                  <a:pos x="22" y="333"/>
                </a:cxn>
                <a:cxn ang="0">
                  <a:pos x="89" y="286"/>
                </a:cxn>
                <a:cxn ang="0">
                  <a:pos x="163" y="252"/>
                </a:cxn>
                <a:cxn ang="0">
                  <a:pos x="187" y="234"/>
                </a:cxn>
                <a:cxn ang="0">
                  <a:pos x="201" y="219"/>
                </a:cxn>
                <a:cxn ang="0">
                  <a:pos x="193" y="163"/>
                </a:cxn>
                <a:cxn ang="0">
                  <a:pos x="193" y="72"/>
                </a:cxn>
                <a:cxn ang="0">
                  <a:pos x="205" y="9"/>
                </a:cxn>
                <a:cxn ang="0">
                  <a:pos x="214" y="0"/>
                </a:cxn>
                <a:cxn ang="0">
                  <a:pos x="222" y="9"/>
                </a:cxn>
                <a:cxn ang="0">
                  <a:pos x="234" y="72"/>
                </a:cxn>
                <a:cxn ang="0">
                  <a:pos x="234" y="163"/>
                </a:cxn>
                <a:cxn ang="0">
                  <a:pos x="224" y="218"/>
                </a:cxn>
                <a:cxn ang="0">
                  <a:pos x="241" y="234"/>
                </a:cxn>
                <a:cxn ang="0">
                  <a:pos x="243" y="248"/>
                </a:cxn>
                <a:cxn ang="0">
                  <a:pos x="290" y="266"/>
                </a:cxn>
                <a:cxn ang="0">
                  <a:pos x="335" y="290"/>
                </a:cxn>
              </a:cxnLst>
              <a:rect l="0" t="0" r="r" b="b"/>
              <a:pathLst>
                <a:path w="423" h="777">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2" name="Freeform 85"/>
            <p:cNvSpPr>
              <a:spLocks/>
            </p:cNvSpPr>
            <p:nvPr userDrawn="1"/>
          </p:nvSpPr>
          <p:spPr bwMode="auto">
            <a:xfrm>
              <a:off x="8101013" y="6361113"/>
              <a:ext cx="39688" cy="23813"/>
            </a:xfrm>
            <a:custGeom>
              <a:avLst/>
              <a:gdLst/>
              <a:ahLst/>
              <a:cxnLst>
                <a:cxn ang="0">
                  <a:pos x="20" y="5"/>
                </a:cxn>
                <a:cxn ang="0">
                  <a:pos x="8" y="0"/>
                </a:cxn>
                <a:cxn ang="0">
                  <a:pos x="3" y="0"/>
                </a:cxn>
                <a:cxn ang="0">
                  <a:pos x="0" y="1"/>
                </a:cxn>
                <a:cxn ang="0">
                  <a:pos x="0" y="5"/>
                </a:cxn>
                <a:cxn ang="0">
                  <a:pos x="5" y="9"/>
                </a:cxn>
                <a:cxn ang="0">
                  <a:pos x="20" y="20"/>
                </a:cxn>
                <a:cxn ang="0">
                  <a:pos x="45" y="37"/>
                </a:cxn>
                <a:cxn ang="0">
                  <a:pos x="73" y="55"/>
                </a:cxn>
                <a:cxn ang="0">
                  <a:pos x="99" y="68"/>
                </a:cxn>
                <a:cxn ang="0">
                  <a:pos x="116" y="74"/>
                </a:cxn>
                <a:cxn ang="0">
                  <a:pos x="122" y="76"/>
                </a:cxn>
                <a:cxn ang="0">
                  <a:pos x="124" y="74"/>
                </a:cxn>
                <a:cxn ang="0">
                  <a:pos x="124" y="71"/>
                </a:cxn>
                <a:cxn ang="0">
                  <a:pos x="122" y="68"/>
                </a:cxn>
                <a:cxn ang="0">
                  <a:pos x="118" y="65"/>
                </a:cxn>
                <a:cxn ang="0">
                  <a:pos x="103" y="51"/>
                </a:cxn>
                <a:cxn ang="0">
                  <a:pos x="86" y="41"/>
                </a:cxn>
                <a:cxn ang="0">
                  <a:pos x="43" y="15"/>
                </a:cxn>
                <a:cxn ang="0">
                  <a:pos x="20" y="5"/>
                </a:cxn>
              </a:cxnLst>
              <a:rect l="0" t="0" r="r" b="b"/>
              <a:pathLst>
                <a:path w="124" h="76">
                  <a:moveTo>
                    <a:pt x="20" y="5"/>
                  </a:moveTo>
                  <a:lnTo>
                    <a:pt x="8" y="0"/>
                  </a:lnTo>
                  <a:lnTo>
                    <a:pt x="3" y="0"/>
                  </a:lnTo>
                  <a:lnTo>
                    <a:pt x="0" y="1"/>
                  </a:lnTo>
                  <a:lnTo>
                    <a:pt x="0" y="5"/>
                  </a:lnTo>
                  <a:lnTo>
                    <a:pt x="5" y="9"/>
                  </a:lnTo>
                  <a:lnTo>
                    <a:pt x="20" y="20"/>
                  </a:lnTo>
                  <a:lnTo>
                    <a:pt x="45" y="37"/>
                  </a:lnTo>
                  <a:lnTo>
                    <a:pt x="73" y="55"/>
                  </a:lnTo>
                  <a:lnTo>
                    <a:pt x="99" y="68"/>
                  </a:lnTo>
                  <a:lnTo>
                    <a:pt x="116" y="74"/>
                  </a:lnTo>
                  <a:lnTo>
                    <a:pt x="122" y="76"/>
                  </a:lnTo>
                  <a:lnTo>
                    <a:pt x="124" y="74"/>
                  </a:lnTo>
                  <a:lnTo>
                    <a:pt x="124" y="71"/>
                  </a:lnTo>
                  <a:lnTo>
                    <a:pt x="122" y="68"/>
                  </a:lnTo>
                  <a:lnTo>
                    <a:pt x="118" y="65"/>
                  </a:lnTo>
                  <a:lnTo>
                    <a:pt x="103" y="51"/>
                  </a:lnTo>
                  <a:lnTo>
                    <a:pt x="86" y="41"/>
                  </a:lnTo>
                  <a:lnTo>
                    <a:pt x="43" y="15"/>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3" name="Freeform 86"/>
            <p:cNvSpPr>
              <a:spLocks/>
            </p:cNvSpPr>
            <p:nvPr userDrawn="1"/>
          </p:nvSpPr>
          <p:spPr bwMode="auto">
            <a:xfrm>
              <a:off x="8027988" y="6361113"/>
              <a:ext cx="39688" cy="23813"/>
            </a:xfrm>
            <a:custGeom>
              <a:avLst/>
              <a:gdLst/>
              <a:ahLst/>
              <a:cxnLst>
                <a:cxn ang="0">
                  <a:pos x="0" y="73"/>
                </a:cxn>
                <a:cxn ang="0">
                  <a:pos x="7" y="75"/>
                </a:cxn>
                <a:cxn ang="0">
                  <a:pos x="22" y="69"/>
                </a:cxn>
                <a:cxn ang="0">
                  <a:pos x="67" y="46"/>
                </a:cxn>
                <a:cxn ang="0">
                  <a:pos x="91" y="30"/>
                </a:cxn>
                <a:cxn ang="0">
                  <a:pos x="110" y="17"/>
                </a:cxn>
                <a:cxn ang="0">
                  <a:pos x="122" y="6"/>
                </a:cxn>
                <a:cxn ang="0">
                  <a:pos x="124" y="4"/>
                </a:cxn>
                <a:cxn ang="0">
                  <a:pos x="126" y="1"/>
                </a:cxn>
                <a:cxn ang="0">
                  <a:pos x="118" y="0"/>
                </a:cxn>
                <a:cxn ang="0">
                  <a:pos x="104" y="6"/>
                </a:cxn>
                <a:cxn ang="0">
                  <a:pos x="82" y="16"/>
                </a:cxn>
                <a:cxn ang="0">
                  <a:pos x="58" y="29"/>
                </a:cxn>
                <a:cxn ang="0">
                  <a:pos x="34" y="44"/>
                </a:cxn>
                <a:cxn ang="0">
                  <a:pos x="16" y="58"/>
                </a:cxn>
                <a:cxn ang="0">
                  <a:pos x="3" y="69"/>
                </a:cxn>
                <a:cxn ang="0">
                  <a:pos x="0" y="71"/>
                </a:cxn>
                <a:cxn ang="0">
                  <a:pos x="0" y="73"/>
                </a:cxn>
              </a:cxnLst>
              <a:rect l="0" t="0" r="r" b="b"/>
              <a:pathLst>
                <a:path w="126" h="75">
                  <a:moveTo>
                    <a:pt x="0" y="73"/>
                  </a:moveTo>
                  <a:lnTo>
                    <a:pt x="7" y="75"/>
                  </a:lnTo>
                  <a:lnTo>
                    <a:pt x="22" y="69"/>
                  </a:lnTo>
                  <a:lnTo>
                    <a:pt x="67" y="46"/>
                  </a:lnTo>
                  <a:lnTo>
                    <a:pt x="91" y="30"/>
                  </a:lnTo>
                  <a:lnTo>
                    <a:pt x="110" y="17"/>
                  </a:lnTo>
                  <a:lnTo>
                    <a:pt x="122" y="6"/>
                  </a:lnTo>
                  <a:lnTo>
                    <a:pt x="124" y="4"/>
                  </a:lnTo>
                  <a:lnTo>
                    <a:pt x="126" y="1"/>
                  </a:lnTo>
                  <a:lnTo>
                    <a:pt x="118" y="0"/>
                  </a:lnTo>
                  <a:lnTo>
                    <a:pt x="104" y="6"/>
                  </a:lnTo>
                  <a:lnTo>
                    <a:pt x="82" y="16"/>
                  </a:lnTo>
                  <a:lnTo>
                    <a:pt x="58" y="29"/>
                  </a:lnTo>
                  <a:lnTo>
                    <a:pt x="34" y="44"/>
                  </a:lnTo>
                  <a:lnTo>
                    <a:pt x="16" y="58"/>
                  </a:lnTo>
                  <a:lnTo>
                    <a:pt x="3" y="69"/>
                  </a:lnTo>
                  <a:lnTo>
                    <a:pt x="0" y="71"/>
                  </a:lnTo>
                  <a:lnTo>
                    <a:pt x="0" y="73"/>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4" name="Freeform 87"/>
            <p:cNvSpPr>
              <a:spLocks/>
            </p:cNvSpPr>
            <p:nvPr userDrawn="1"/>
          </p:nvSpPr>
          <p:spPr bwMode="auto">
            <a:xfrm>
              <a:off x="8078788" y="6348413"/>
              <a:ext cx="9525" cy="9525"/>
            </a:xfrm>
            <a:custGeom>
              <a:avLst/>
              <a:gdLst/>
              <a:ahLst/>
              <a:cxnLst>
                <a:cxn ang="0">
                  <a:pos x="3" y="27"/>
                </a:cxn>
                <a:cxn ang="0">
                  <a:pos x="8" y="30"/>
                </a:cxn>
                <a:cxn ang="0">
                  <a:pos x="14" y="31"/>
                </a:cxn>
                <a:cxn ang="0">
                  <a:pos x="20" y="30"/>
                </a:cxn>
                <a:cxn ang="0">
                  <a:pos x="25" y="27"/>
                </a:cxn>
                <a:cxn ang="0">
                  <a:pos x="29" y="22"/>
                </a:cxn>
                <a:cxn ang="0">
                  <a:pos x="30" y="16"/>
                </a:cxn>
                <a:cxn ang="0">
                  <a:pos x="29" y="10"/>
                </a:cxn>
                <a:cxn ang="0">
                  <a:pos x="25" y="5"/>
                </a:cxn>
                <a:cxn ang="0">
                  <a:pos x="20" y="1"/>
                </a:cxn>
                <a:cxn ang="0">
                  <a:pos x="14" y="0"/>
                </a:cxn>
                <a:cxn ang="0">
                  <a:pos x="8" y="1"/>
                </a:cxn>
                <a:cxn ang="0">
                  <a:pos x="3" y="5"/>
                </a:cxn>
                <a:cxn ang="0">
                  <a:pos x="1" y="10"/>
                </a:cxn>
                <a:cxn ang="0">
                  <a:pos x="0" y="16"/>
                </a:cxn>
                <a:cxn ang="0">
                  <a:pos x="1" y="22"/>
                </a:cxn>
                <a:cxn ang="0">
                  <a:pos x="3" y="27"/>
                </a:cxn>
              </a:cxnLst>
              <a:rect l="0" t="0" r="r" b="b"/>
              <a:pathLst>
                <a:path w="30" h="31">
                  <a:moveTo>
                    <a:pt x="3" y="27"/>
                  </a:moveTo>
                  <a:lnTo>
                    <a:pt x="8" y="30"/>
                  </a:lnTo>
                  <a:lnTo>
                    <a:pt x="14" y="31"/>
                  </a:lnTo>
                  <a:lnTo>
                    <a:pt x="20" y="30"/>
                  </a:lnTo>
                  <a:lnTo>
                    <a:pt x="25" y="27"/>
                  </a:lnTo>
                  <a:lnTo>
                    <a:pt x="29" y="22"/>
                  </a:lnTo>
                  <a:lnTo>
                    <a:pt x="30" y="16"/>
                  </a:lnTo>
                  <a:lnTo>
                    <a:pt x="29" y="10"/>
                  </a:lnTo>
                  <a:lnTo>
                    <a:pt x="25" y="5"/>
                  </a:lnTo>
                  <a:lnTo>
                    <a:pt x="20" y="1"/>
                  </a:lnTo>
                  <a:lnTo>
                    <a:pt x="14" y="0"/>
                  </a:lnTo>
                  <a:lnTo>
                    <a:pt x="8" y="1"/>
                  </a:lnTo>
                  <a:lnTo>
                    <a:pt x="3" y="5"/>
                  </a:lnTo>
                  <a:lnTo>
                    <a:pt x="1" y="10"/>
                  </a:lnTo>
                  <a:lnTo>
                    <a:pt x="0" y="16"/>
                  </a:lnTo>
                  <a:lnTo>
                    <a:pt x="1" y="22"/>
                  </a:lnTo>
                  <a:lnTo>
                    <a:pt x="3"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5" name="Freeform 88"/>
            <p:cNvSpPr>
              <a:spLocks/>
            </p:cNvSpPr>
            <p:nvPr userDrawn="1"/>
          </p:nvSpPr>
          <p:spPr bwMode="auto">
            <a:xfrm>
              <a:off x="8080375" y="6291263"/>
              <a:ext cx="6350" cy="47625"/>
            </a:xfrm>
            <a:custGeom>
              <a:avLst/>
              <a:gdLst/>
              <a:ahLst/>
              <a:cxnLst>
                <a:cxn ang="0">
                  <a:pos x="0" y="74"/>
                </a:cxn>
                <a:cxn ang="0">
                  <a:pos x="4" y="125"/>
                </a:cxn>
                <a:cxn ang="0">
                  <a:pos x="6" y="141"/>
                </a:cxn>
                <a:cxn ang="0">
                  <a:pos x="10" y="147"/>
                </a:cxn>
                <a:cxn ang="0">
                  <a:pos x="14" y="141"/>
                </a:cxn>
                <a:cxn ang="0">
                  <a:pos x="17" y="125"/>
                </a:cxn>
                <a:cxn ang="0">
                  <a:pos x="18" y="74"/>
                </a:cxn>
                <a:cxn ang="0">
                  <a:pos x="17" y="22"/>
                </a:cxn>
                <a:cxn ang="0">
                  <a:pos x="14" y="6"/>
                </a:cxn>
                <a:cxn ang="0">
                  <a:pos x="10" y="0"/>
                </a:cxn>
                <a:cxn ang="0">
                  <a:pos x="6" y="6"/>
                </a:cxn>
                <a:cxn ang="0">
                  <a:pos x="4" y="22"/>
                </a:cxn>
                <a:cxn ang="0">
                  <a:pos x="2" y="46"/>
                </a:cxn>
                <a:cxn ang="0">
                  <a:pos x="0" y="74"/>
                </a:cxn>
              </a:cxnLst>
              <a:rect l="0" t="0" r="r" b="b"/>
              <a:pathLst>
                <a:path w="18" h="147">
                  <a:moveTo>
                    <a:pt x="0" y="74"/>
                  </a:moveTo>
                  <a:lnTo>
                    <a:pt x="4" y="125"/>
                  </a:lnTo>
                  <a:lnTo>
                    <a:pt x="6" y="141"/>
                  </a:lnTo>
                  <a:lnTo>
                    <a:pt x="10" y="147"/>
                  </a:lnTo>
                  <a:lnTo>
                    <a:pt x="14" y="141"/>
                  </a:lnTo>
                  <a:lnTo>
                    <a:pt x="17" y="125"/>
                  </a:lnTo>
                  <a:lnTo>
                    <a:pt x="18" y="74"/>
                  </a:lnTo>
                  <a:lnTo>
                    <a:pt x="17" y="22"/>
                  </a:lnTo>
                  <a:lnTo>
                    <a:pt x="14" y="6"/>
                  </a:lnTo>
                  <a:lnTo>
                    <a:pt x="10" y="0"/>
                  </a:lnTo>
                  <a:lnTo>
                    <a:pt x="6" y="6"/>
                  </a:lnTo>
                  <a:lnTo>
                    <a:pt x="4" y="22"/>
                  </a:lnTo>
                  <a:lnTo>
                    <a:pt x="2" y="46"/>
                  </a:lnTo>
                  <a:lnTo>
                    <a:pt x="0" y="74"/>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6" name="Freeform 89"/>
            <p:cNvSpPr>
              <a:spLocks noEditPoints="1"/>
            </p:cNvSpPr>
            <p:nvPr userDrawn="1"/>
          </p:nvSpPr>
          <p:spPr bwMode="auto">
            <a:xfrm>
              <a:off x="7970838" y="6284913"/>
              <a:ext cx="153988" cy="280988"/>
            </a:xfrm>
            <a:custGeom>
              <a:avLst/>
              <a:gdLst/>
              <a:ahLst/>
              <a:cxnLst>
                <a:cxn ang="0">
                  <a:pos x="199" y="859"/>
                </a:cxn>
                <a:cxn ang="0">
                  <a:pos x="218" y="610"/>
                </a:cxn>
                <a:cxn ang="0">
                  <a:pos x="247" y="610"/>
                </a:cxn>
                <a:cxn ang="0">
                  <a:pos x="431" y="363"/>
                </a:cxn>
                <a:cxn ang="0">
                  <a:pos x="470" y="394"/>
                </a:cxn>
                <a:cxn ang="0">
                  <a:pos x="480" y="417"/>
                </a:cxn>
                <a:cxn ang="0">
                  <a:pos x="446" y="416"/>
                </a:cxn>
                <a:cxn ang="0">
                  <a:pos x="342" y="366"/>
                </a:cxn>
                <a:cxn ang="0">
                  <a:pos x="265" y="305"/>
                </a:cxn>
                <a:cxn ang="0">
                  <a:pos x="261" y="395"/>
                </a:cxn>
                <a:cxn ang="0">
                  <a:pos x="276" y="845"/>
                </a:cxn>
                <a:cxn ang="0">
                  <a:pos x="303" y="859"/>
                </a:cxn>
                <a:cxn ang="0">
                  <a:pos x="184" y="859"/>
                </a:cxn>
                <a:cxn ang="0">
                  <a:pos x="210" y="844"/>
                </a:cxn>
                <a:cxn ang="0">
                  <a:pos x="228" y="310"/>
                </a:cxn>
                <a:cxn ang="0">
                  <a:pos x="202" y="316"/>
                </a:cxn>
                <a:cxn ang="0">
                  <a:pos x="125" y="369"/>
                </a:cxn>
                <a:cxn ang="0">
                  <a:pos x="25" y="414"/>
                </a:cxn>
                <a:cxn ang="0">
                  <a:pos x="0" y="414"/>
                </a:cxn>
                <a:cxn ang="0">
                  <a:pos x="12" y="390"/>
                </a:cxn>
                <a:cxn ang="0">
                  <a:pos x="101" y="325"/>
                </a:cxn>
                <a:cxn ang="0">
                  <a:pos x="210" y="278"/>
                </a:cxn>
                <a:cxn ang="0">
                  <a:pos x="229" y="248"/>
                </a:cxn>
                <a:cxn ang="0">
                  <a:pos x="218" y="159"/>
                </a:cxn>
                <a:cxn ang="0">
                  <a:pos x="225" y="39"/>
                </a:cxn>
                <a:cxn ang="0">
                  <a:pos x="243" y="0"/>
                </a:cxn>
                <a:cxn ang="0">
                  <a:pos x="260" y="39"/>
                </a:cxn>
                <a:cxn ang="0">
                  <a:pos x="265" y="183"/>
                </a:cxn>
                <a:cxn ang="0">
                  <a:pos x="267" y="254"/>
                </a:cxn>
                <a:cxn ang="0">
                  <a:pos x="277" y="282"/>
                </a:cxn>
                <a:cxn ang="0">
                  <a:pos x="381" y="329"/>
                </a:cxn>
                <a:cxn ang="0">
                  <a:pos x="302" y="300"/>
                </a:cxn>
                <a:cxn ang="0">
                  <a:pos x="303" y="311"/>
                </a:cxn>
                <a:cxn ang="0">
                  <a:pos x="382" y="364"/>
                </a:cxn>
                <a:cxn ang="0">
                  <a:pos x="437" y="387"/>
                </a:cxn>
                <a:cxn ang="0">
                  <a:pos x="437" y="379"/>
                </a:cxn>
                <a:cxn ang="0">
                  <a:pos x="396" y="347"/>
                </a:cxn>
                <a:cxn ang="0">
                  <a:pos x="37" y="387"/>
                </a:cxn>
                <a:cxn ang="0">
                  <a:pos x="86" y="369"/>
                </a:cxn>
                <a:cxn ang="0">
                  <a:pos x="176" y="310"/>
                </a:cxn>
                <a:cxn ang="0">
                  <a:pos x="154" y="309"/>
                </a:cxn>
                <a:cxn ang="0">
                  <a:pos x="76" y="352"/>
                </a:cxn>
                <a:cxn ang="0">
                  <a:pos x="37" y="383"/>
                </a:cxn>
                <a:cxn ang="0">
                  <a:pos x="229" y="289"/>
                </a:cxn>
                <a:cxn ang="0">
                  <a:pos x="247" y="286"/>
                </a:cxn>
                <a:cxn ang="0">
                  <a:pos x="252" y="266"/>
                </a:cxn>
                <a:cxn ang="0">
                  <a:pos x="236" y="256"/>
                </a:cxn>
                <a:cxn ang="0">
                  <a:pos x="220" y="266"/>
                </a:cxn>
                <a:cxn ang="0">
                  <a:pos x="224" y="286"/>
                </a:cxn>
                <a:cxn ang="0">
                  <a:pos x="228" y="196"/>
                </a:cxn>
                <a:cxn ang="0">
                  <a:pos x="236" y="220"/>
                </a:cxn>
                <a:cxn ang="0">
                  <a:pos x="246" y="137"/>
                </a:cxn>
                <a:cxn ang="0">
                  <a:pos x="240" y="60"/>
                </a:cxn>
                <a:cxn ang="0">
                  <a:pos x="229" y="78"/>
                </a:cxn>
              </a:cxnLst>
              <a:rect l="0" t="0" r="r" b="b"/>
              <a:pathLst>
                <a:path w="482" h="884">
                  <a:moveTo>
                    <a:pt x="232" y="847"/>
                  </a:moveTo>
                  <a:lnTo>
                    <a:pt x="199" y="847"/>
                  </a:lnTo>
                  <a:lnTo>
                    <a:pt x="199" y="859"/>
                  </a:lnTo>
                  <a:lnTo>
                    <a:pt x="232" y="859"/>
                  </a:lnTo>
                  <a:lnTo>
                    <a:pt x="232" y="847"/>
                  </a:lnTo>
                  <a:close/>
                  <a:moveTo>
                    <a:pt x="218" y="610"/>
                  </a:moveTo>
                  <a:lnTo>
                    <a:pt x="218" y="842"/>
                  </a:lnTo>
                  <a:lnTo>
                    <a:pt x="247" y="842"/>
                  </a:lnTo>
                  <a:lnTo>
                    <a:pt x="247" y="610"/>
                  </a:lnTo>
                  <a:lnTo>
                    <a:pt x="218" y="610"/>
                  </a:lnTo>
                  <a:close/>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moveTo>
                    <a:pt x="320" y="306"/>
                  </a:moveTo>
                  <a:lnTo>
                    <a:pt x="307" y="301"/>
                  </a:lnTo>
                  <a:lnTo>
                    <a:pt x="302" y="300"/>
                  </a:lnTo>
                  <a:lnTo>
                    <a:pt x="299" y="303"/>
                  </a:lnTo>
                  <a:lnTo>
                    <a:pt x="299" y="306"/>
                  </a:lnTo>
                  <a:lnTo>
                    <a:pt x="303" y="311"/>
                  </a:lnTo>
                  <a:lnTo>
                    <a:pt x="320" y="324"/>
                  </a:lnTo>
                  <a:lnTo>
                    <a:pt x="349" y="343"/>
                  </a:lnTo>
                  <a:lnTo>
                    <a:pt x="382" y="364"/>
                  </a:lnTo>
                  <a:lnTo>
                    <a:pt x="412" y="379"/>
                  </a:lnTo>
                  <a:lnTo>
                    <a:pt x="430" y="387"/>
                  </a:lnTo>
                  <a:lnTo>
                    <a:pt x="437" y="387"/>
                  </a:lnTo>
                  <a:lnTo>
                    <a:pt x="441" y="385"/>
                  </a:lnTo>
                  <a:lnTo>
                    <a:pt x="440" y="382"/>
                  </a:lnTo>
                  <a:lnTo>
                    <a:pt x="437" y="379"/>
                  </a:lnTo>
                  <a:lnTo>
                    <a:pt x="432" y="375"/>
                  </a:lnTo>
                  <a:lnTo>
                    <a:pt x="414" y="360"/>
                  </a:lnTo>
                  <a:lnTo>
                    <a:pt x="396" y="347"/>
                  </a:lnTo>
                  <a:lnTo>
                    <a:pt x="347" y="319"/>
                  </a:lnTo>
                  <a:lnTo>
                    <a:pt x="320" y="306"/>
                  </a:lnTo>
                  <a:close/>
                  <a:moveTo>
                    <a:pt x="37" y="387"/>
                  </a:moveTo>
                  <a:lnTo>
                    <a:pt x="43" y="387"/>
                  </a:lnTo>
                  <a:lnTo>
                    <a:pt x="61" y="379"/>
                  </a:lnTo>
                  <a:lnTo>
                    <a:pt x="86" y="369"/>
                  </a:lnTo>
                  <a:lnTo>
                    <a:pt x="112" y="354"/>
                  </a:lnTo>
                  <a:lnTo>
                    <a:pt x="161" y="321"/>
                  </a:lnTo>
                  <a:lnTo>
                    <a:pt x="176" y="310"/>
                  </a:lnTo>
                  <a:lnTo>
                    <a:pt x="179" y="303"/>
                  </a:lnTo>
                  <a:lnTo>
                    <a:pt x="172" y="303"/>
                  </a:lnTo>
                  <a:lnTo>
                    <a:pt x="154" y="309"/>
                  </a:lnTo>
                  <a:lnTo>
                    <a:pt x="130" y="319"/>
                  </a:lnTo>
                  <a:lnTo>
                    <a:pt x="102" y="335"/>
                  </a:lnTo>
                  <a:lnTo>
                    <a:pt x="76" y="352"/>
                  </a:lnTo>
                  <a:lnTo>
                    <a:pt x="54" y="367"/>
                  </a:lnTo>
                  <a:lnTo>
                    <a:pt x="40" y="379"/>
                  </a:lnTo>
                  <a:lnTo>
                    <a:pt x="37" y="383"/>
                  </a:lnTo>
                  <a:lnTo>
                    <a:pt x="37" y="387"/>
                  </a:lnTo>
                  <a:close/>
                  <a:moveTo>
                    <a:pt x="224" y="286"/>
                  </a:moveTo>
                  <a:lnTo>
                    <a:pt x="229" y="289"/>
                  </a:lnTo>
                  <a:lnTo>
                    <a:pt x="236" y="290"/>
                  </a:lnTo>
                  <a:lnTo>
                    <a:pt x="242" y="289"/>
                  </a:lnTo>
                  <a:lnTo>
                    <a:pt x="247" y="286"/>
                  </a:lnTo>
                  <a:lnTo>
                    <a:pt x="252" y="280"/>
                  </a:lnTo>
                  <a:lnTo>
                    <a:pt x="253" y="274"/>
                  </a:lnTo>
                  <a:lnTo>
                    <a:pt x="252" y="266"/>
                  </a:lnTo>
                  <a:lnTo>
                    <a:pt x="247" y="260"/>
                  </a:lnTo>
                  <a:lnTo>
                    <a:pt x="242" y="257"/>
                  </a:lnTo>
                  <a:lnTo>
                    <a:pt x="236" y="256"/>
                  </a:lnTo>
                  <a:lnTo>
                    <a:pt x="229" y="257"/>
                  </a:lnTo>
                  <a:lnTo>
                    <a:pt x="224" y="260"/>
                  </a:lnTo>
                  <a:lnTo>
                    <a:pt x="220" y="266"/>
                  </a:lnTo>
                  <a:lnTo>
                    <a:pt x="219" y="274"/>
                  </a:lnTo>
                  <a:lnTo>
                    <a:pt x="220" y="280"/>
                  </a:lnTo>
                  <a:lnTo>
                    <a:pt x="224" y="286"/>
                  </a:lnTo>
                  <a:close/>
                  <a:moveTo>
                    <a:pt x="225" y="137"/>
                  </a:moveTo>
                  <a:lnTo>
                    <a:pt x="225" y="168"/>
                  </a:lnTo>
                  <a:lnTo>
                    <a:pt x="228" y="196"/>
                  </a:lnTo>
                  <a:lnTo>
                    <a:pt x="231" y="214"/>
                  </a:lnTo>
                  <a:lnTo>
                    <a:pt x="234" y="218"/>
                  </a:lnTo>
                  <a:lnTo>
                    <a:pt x="236" y="220"/>
                  </a:lnTo>
                  <a:lnTo>
                    <a:pt x="240" y="214"/>
                  </a:lnTo>
                  <a:lnTo>
                    <a:pt x="243" y="196"/>
                  </a:lnTo>
                  <a:lnTo>
                    <a:pt x="246" y="137"/>
                  </a:lnTo>
                  <a:lnTo>
                    <a:pt x="246" y="104"/>
                  </a:lnTo>
                  <a:lnTo>
                    <a:pt x="243" y="78"/>
                  </a:lnTo>
                  <a:lnTo>
                    <a:pt x="240" y="60"/>
                  </a:lnTo>
                  <a:lnTo>
                    <a:pt x="236" y="54"/>
                  </a:lnTo>
                  <a:lnTo>
                    <a:pt x="231" y="60"/>
                  </a:lnTo>
                  <a:lnTo>
                    <a:pt x="229" y="78"/>
                  </a:lnTo>
                  <a:lnTo>
                    <a:pt x="225" y="104"/>
                  </a:lnTo>
                  <a:lnTo>
                    <a:pt x="225" y="137"/>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7" name="Rectangle 90"/>
            <p:cNvSpPr>
              <a:spLocks noChangeArrowheads="1"/>
            </p:cNvSpPr>
            <p:nvPr userDrawn="1"/>
          </p:nvSpPr>
          <p:spPr bwMode="auto">
            <a:xfrm>
              <a:off x="8034338" y="6554788"/>
              <a:ext cx="11113" cy="3175"/>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8" name="Rectangle 91"/>
            <p:cNvSpPr>
              <a:spLocks noChangeArrowheads="1"/>
            </p:cNvSpPr>
            <p:nvPr userDrawn="1"/>
          </p:nvSpPr>
          <p:spPr bwMode="auto">
            <a:xfrm>
              <a:off x="8040688" y="6478588"/>
              <a:ext cx="9525" cy="74613"/>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9" name="Freeform 92"/>
            <p:cNvSpPr>
              <a:spLocks/>
            </p:cNvSpPr>
            <p:nvPr userDrawn="1"/>
          </p:nvSpPr>
          <p:spPr bwMode="auto">
            <a:xfrm>
              <a:off x="7970838" y="6284913"/>
              <a:ext cx="153988" cy="280988"/>
            </a:xfrm>
            <a:custGeom>
              <a:avLst/>
              <a:gdLst/>
              <a:ahLst/>
              <a:cxnLst>
                <a:cxn ang="0">
                  <a:pos x="431" y="363"/>
                </a:cxn>
                <a:cxn ang="0">
                  <a:pos x="456" y="382"/>
                </a:cxn>
                <a:cxn ang="0">
                  <a:pos x="477" y="404"/>
                </a:cxn>
                <a:cxn ang="0">
                  <a:pos x="480" y="417"/>
                </a:cxn>
                <a:cxn ang="0">
                  <a:pos x="470" y="420"/>
                </a:cxn>
                <a:cxn ang="0">
                  <a:pos x="405" y="399"/>
                </a:cxn>
                <a:cxn ang="0">
                  <a:pos x="342" y="366"/>
                </a:cxn>
                <a:cxn ang="0">
                  <a:pos x="291" y="329"/>
                </a:cxn>
                <a:cxn ang="0">
                  <a:pos x="260" y="309"/>
                </a:cxn>
                <a:cxn ang="0">
                  <a:pos x="261" y="395"/>
                </a:cxn>
                <a:cxn ang="0">
                  <a:pos x="276" y="599"/>
                </a:cxn>
                <a:cxn ang="0">
                  <a:pos x="289" y="845"/>
                </a:cxn>
                <a:cxn ang="0">
                  <a:pos x="303" y="859"/>
                </a:cxn>
                <a:cxn ang="0">
                  <a:pos x="184" y="883"/>
                </a:cxn>
                <a:cxn ang="0">
                  <a:pos x="196" y="859"/>
                </a:cxn>
                <a:cxn ang="0">
                  <a:pos x="210" y="844"/>
                </a:cxn>
                <a:cxn ang="0">
                  <a:pos x="218" y="599"/>
                </a:cxn>
                <a:cxn ang="0">
                  <a:pos x="219" y="303"/>
                </a:cxn>
                <a:cxn ang="0">
                  <a:pos x="202" y="316"/>
                </a:cxn>
                <a:cxn ang="0">
                  <a:pos x="169" y="342"/>
                </a:cxn>
                <a:cxn ang="0">
                  <a:pos x="82" y="393"/>
                </a:cxn>
                <a:cxn ang="0">
                  <a:pos x="25" y="414"/>
                </a:cxn>
                <a:cxn ang="0">
                  <a:pos x="5" y="417"/>
                </a:cxn>
                <a:cxn ang="0">
                  <a:pos x="0" y="408"/>
                </a:cxn>
                <a:cxn ang="0">
                  <a:pos x="12" y="390"/>
                </a:cxn>
                <a:cxn ang="0">
                  <a:pos x="59" y="353"/>
                </a:cxn>
                <a:cxn ang="0">
                  <a:pos x="146" y="303"/>
                </a:cxn>
                <a:cxn ang="0">
                  <a:pos x="210" y="278"/>
                </a:cxn>
                <a:cxn ang="0">
                  <a:pos x="219" y="254"/>
                </a:cxn>
                <a:cxn ang="0">
                  <a:pos x="224" y="227"/>
                </a:cxn>
                <a:cxn ang="0">
                  <a:pos x="218" y="159"/>
                </a:cxn>
                <a:cxn ang="0">
                  <a:pos x="219" y="83"/>
                </a:cxn>
                <a:cxn ang="0">
                  <a:pos x="234" y="9"/>
                </a:cxn>
                <a:cxn ang="0">
                  <a:pos x="243" y="0"/>
                </a:cxn>
                <a:cxn ang="0">
                  <a:pos x="253" y="9"/>
                </a:cxn>
                <a:cxn ang="0">
                  <a:pos x="266" y="83"/>
                </a:cxn>
                <a:cxn ang="0">
                  <a:pos x="265" y="183"/>
                </a:cxn>
                <a:cxn ang="0">
                  <a:pos x="255" y="247"/>
                </a:cxn>
                <a:cxn ang="0">
                  <a:pos x="275" y="266"/>
                </a:cxn>
                <a:cxn ang="0">
                  <a:pos x="277" y="282"/>
                </a:cxn>
                <a:cxn ang="0">
                  <a:pos x="330" y="303"/>
                </a:cxn>
              </a:cxnLst>
              <a:rect l="0" t="0" r="r" b="b"/>
              <a:pathLst>
                <a:path w="482" h="884">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0" name="Freeform 93"/>
            <p:cNvSpPr>
              <a:spLocks/>
            </p:cNvSpPr>
            <p:nvPr userDrawn="1"/>
          </p:nvSpPr>
          <p:spPr bwMode="auto">
            <a:xfrm>
              <a:off x="8066088" y="6380163"/>
              <a:ext cx="44450" cy="28575"/>
            </a:xfrm>
            <a:custGeom>
              <a:avLst/>
              <a:gdLst/>
              <a:ahLst/>
              <a:cxnLst>
                <a:cxn ang="0">
                  <a:pos x="21" y="6"/>
                </a:cxn>
                <a:cxn ang="0">
                  <a:pos x="8" y="1"/>
                </a:cxn>
                <a:cxn ang="0">
                  <a:pos x="3" y="0"/>
                </a:cxn>
                <a:cxn ang="0">
                  <a:pos x="0" y="3"/>
                </a:cxn>
                <a:cxn ang="0">
                  <a:pos x="0" y="6"/>
                </a:cxn>
                <a:cxn ang="0">
                  <a:pos x="4" y="11"/>
                </a:cxn>
                <a:cxn ang="0">
                  <a:pos x="21" y="24"/>
                </a:cxn>
                <a:cxn ang="0">
                  <a:pos x="50" y="43"/>
                </a:cxn>
                <a:cxn ang="0">
                  <a:pos x="83" y="64"/>
                </a:cxn>
                <a:cxn ang="0">
                  <a:pos x="113" y="79"/>
                </a:cxn>
                <a:cxn ang="0">
                  <a:pos x="131" y="87"/>
                </a:cxn>
                <a:cxn ang="0">
                  <a:pos x="138" y="87"/>
                </a:cxn>
                <a:cxn ang="0">
                  <a:pos x="142" y="85"/>
                </a:cxn>
                <a:cxn ang="0">
                  <a:pos x="141" y="82"/>
                </a:cxn>
                <a:cxn ang="0">
                  <a:pos x="138" y="79"/>
                </a:cxn>
                <a:cxn ang="0">
                  <a:pos x="133" y="75"/>
                </a:cxn>
                <a:cxn ang="0">
                  <a:pos x="115" y="60"/>
                </a:cxn>
                <a:cxn ang="0">
                  <a:pos x="97" y="47"/>
                </a:cxn>
                <a:cxn ang="0">
                  <a:pos x="48" y="19"/>
                </a:cxn>
                <a:cxn ang="0">
                  <a:pos x="21" y="6"/>
                </a:cxn>
              </a:cxnLst>
              <a:rect l="0" t="0" r="r" b="b"/>
              <a:pathLst>
                <a:path w="142" h="87">
                  <a:moveTo>
                    <a:pt x="21" y="6"/>
                  </a:moveTo>
                  <a:lnTo>
                    <a:pt x="8" y="1"/>
                  </a:lnTo>
                  <a:lnTo>
                    <a:pt x="3" y="0"/>
                  </a:lnTo>
                  <a:lnTo>
                    <a:pt x="0" y="3"/>
                  </a:lnTo>
                  <a:lnTo>
                    <a:pt x="0" y="6"/>
                  </a:lnTo>
                  <a:lnTo>
                    <a:pt x="4" y="11"/>
                  </a:lnTo>
                  <a:lnTo>
                    <a:pt x="21" y="24"/>
                  </a:lnTo>
                  <a:lnTo>
                    <a:pt x="50" y="43"/>
                  </a:lnTo>
                  <a:lnTo>
                    <a:pt x="83" y="64"/>
                  </a:lnTo>
                  <a:lnTo>
                    <a:pt x="113" y="79"/>
                  </a:lnTo>
                  <a:lnTo>
                    <a:pt x="131" y="87"/>
                  </a:lnTo>
                  <a:lnTo>
                    <a:pt x="138" y="87"/>
                  </a:lnTo>
                  <a:lnTo>
                    <a:pt x="142" y="85"/>
                  </a:lnTo>
                  <a:lnTo>
                    <a:pt x="141" y="82"/>
                  </a:lnTo>
                  <a:lnTo>
                    <a:pt x="138" y="79"/>
                  </a:lnTo>
                  <a:lnTo>
                    <a:pt x="133" y="75"/>
                  </a:lnTo>
                  <a:lnTo>
                    <a:pt x="115" y="60"/>
                  </a:lnTo>
                  <a:lnTo>
                    <a:pt x="97" y="47"/>
                  </a:lnTo>
                  <a:lnTo>
                    <a:pt x="48" y="19"/>
                  </a:lnTo>
                  <a:lnTo>
                    <a:pt x="21" y="6"/>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1" name="Freeform 94"/>
            <p:cNvSpPr>
              <a:spLocks/>
            </p:cNvSpPr>
            <p:nvPr userDrawn="1"/>
          </p:nvSpPr>
          <p:spPr bwMode="auto">
            <a:xfrm>
              <a:off x="7983538" y="6381751"/>
              <a:ext cx="44450" cy="26988"/>
            </a:xfrm>
            <a:custGeom>
              <a:avLst/>
              <a:gdLst/>
              <a:ahLst/>
              <a:cxnLst>
                <a:cxn ang="0">
                  <a:pos x="0" y="84"/>
                </a:cxn>
                <a:cxn ang="0">
                  <a:pos x="6" y="84"/>
                </a:cxn>
                <a:cxn ang="0">
                  <a:pos x="24" y="76"/>
                </a:cxn>
                <a:cxn ang="0">
                  <a:pos x="49" y="66"/>
                </a:cxn>
                <a:cxn ang="0">
                  <a:pos x="75" y="51"/>
                </a:cxn>
                <a:cxn ang="0">
                  <a:pos x="124" y="18"/>
                </a:cxn>
                <a:cxn ang="0">
                  <a:pos x="139" y="7"/>
                </a:cxn>
                <a:cxn ang="0">
                  <a:pos x="142" y="0"/>
                </a:cxn>
                <a:cxn ang="0">
                  <a:pos x="135" y="0"/>
                </a:cxn>
                <a:cxn ang="0">
                  <a:pos x="117" y="6"/>
                </a:cxn>
                <a:cxn ang="0">
                  <a:pos x="93" y="16"/>
                </a:cxn>
                <a:cxn ang="0">
                  <a:pos x="65" y="32"/>
                </a:cxn>
                <a:cxn ang="0">
                  <a:pos x="39" y="49"/>
                </a:cxn>
                <a:cxn ang="0">
                  <a:pos x="17" y="64"/>
                </a:cxn>
                <a:cxn ang="0">
                  <a:pos x="3" y="76"/>
                </a:cxn>
                <a:cxn ang="0">
                  <a:pos x="0" y="80"/>
                </a:cxn>
                <a:cxn ang="0">
                  <a:pos x="0" y="84"/>
                </a:cxn>
              </a:cxnLst>
              <a:rect l="0" t="0" r="r" b="b"/>
              <a:pathLst>
                <a:path w="142" h="84">
                  <a:moveTo>
                    <a:pt x="0" y="84"/>
                  </a:moveTo>
                  <a:lnTo>
                    <a:pt x="6" y="84"/>
                  </a:lnTo>
                  <a:lnTo>
                    <a:pt x="24" y="76"/>
                  </a:lnTo>
                  <a:lnTo>
                    <a:pt x="49" y="66"/>
                  </a:lnTo>
                  <a:lnTo>
                    <a:pt x="75" y="51"/>
                  </a:lnTo>
                  <a:lnTo>
                    <a:pt x="124" y="18"/>
                  </a:lnTo>
                  <a:lnTo>
                    <a:pt x="139" y="7"/>
                  </a:lnTo>
                  <a:lnTo>
                    <a:pt x="142" y="0"/>
                  </a:lnTo>
                  <a:lnTo>
                    <a:pt x="135" y="0"/>
                  </a:lnTo>
                  <a:lnTo>
                    <a:pt x="117" y="6"/>
                  </a:lnTo>
                  <a:lnTo>
                    <a:pt x="93" y="16"/>
                  </a:lnTo>
                  <a:lnTo>
                    <a:pt x="65" y="32"/>
                  </a:lnTo>
                  <a:lnTo>
                    <a:pt x="39" y="49"/>
                  </a:lnTo>
                  <a:lnTo>
                    <a:pt x="17" y="64"/>
                  </a:lnTo>
                  <a:lnTo>
                    <a:pt x="3" y="76"/>
                  </a:lnTo>
                  <a:lnTo>
                    <a:pt x="0" y="80"/>
                  </a:lnTo>
                  <a:lnTo>
                    <a:pt x="0" y="8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2" name="Freeform 95"/>
            <p:cNvSpPr>
              <a:spLocks/>
            </p:cNvSpPr>
            <p:nvPr userDrawn="1"/>
          </p:nvSpPr>
          <p:spPr bwMode="auto">
            <a:xfrm>
              <a:off x="8040688" y="6365876"/>
              <a:ext cx="11113" cy="11113"/>
            </a:xfrm>
            <a:custGeom>
              <a:avLst/>
              <a:gdLst/>
              <a:ahLst/>
              <a:cxnLst>
                <a:cxn ang="0">
                  <a:pos x="5" y="30"/>
                </a:cxn>
                <a:cxn ang="0">
                  <a:pos x="10" y="33"/>
                </a:cxn>
                <a:cxn ang="0">
                  <a:pos x="17" y="34"/>
                </a:cxn>
                <a:cxn ang="0">
                  <a:pos x="23" y="33"/>
                </a:cxn>
                <a:cxn ang="0">
                  <a:pos x="28" y="30"/>
                </a:cxn>
                <a:cxn ang="0">
                  <a:pos x="33" y="24"/>
                </a:cxn>
                <a:cxn ang="0">
                  <a:pos x="34" y="18"/>
                </a:cxn>
                <a:cxn ang="0">
                  <a:pos x="33" y="10"/>
                </a:cxn>
                <a:cxn ang="0">
                  <a:pos x="28" y="4"/>
                </a:cxn>
                <a:cxn ang="0">
                  <a:pos x="23" y="1"/>
                </a:cxn>
                <a:cxn ang="0">
                  <a:pos x="17" y="0"/>
                </a:cxn>
                <a:cxn ang="0">
                  <a:pos x="10" y="1"/>
                </a:cxn>
                <a:cxn ang="0">
                  <a:pos x="5" y="4"/>
                </a:cxn>
                <a:cxn ang="0">
                  <a:pos x="1" y="10"/>
                </a:cxn>
                <a:cxn ang="0">
                  <a:pos x="0" y="18"/>
                </a:cxn>
                <a:cxn ang="0">
                  <a:pos x="1" y="24"/>
                </a:cxn>
                <a:cxn ang="0">
                  <a:pos x="5" y="30"/>
                </a:cxn>
              </a:cxnLst>
              <a:rect l="0" t="0" r="r" b="b"/>
              <a:pathLst>
                <a:path w="34" h="34">
                  <a:moveTo>
                    <a:pt x="5" y="30"/>
                  </a:moveTo>
                  <a:lnTo>
                    <a:pt x="10" y="33"/>
                  </a:lnTo>
                  <a:lnTo>
                    <a:pt x="17" y="34"/>
                  </a:lnTo>
                  <a:lnTo>
                    <a:pt x="23" y="33"/>
                  </a:lnTo>
                  <a:lnTo>
                    <a:pt x="28" y="30"/>
                  </a:lnTo>
                  <a:lnTo>
                    <a:pt x="33" y="24"/>
                  </a:lnTo>
                  <a:lnTo>
                    <a:pt x="34" y="18"/>
                  </a:lnTo>
                  <a:lnTo>
                    <a:pt x="33" y="10"/>
                  </a:lnTo>
                  <a:lnTo>
                    <a:pt x="28" y="4"/>
                  </a:lnTo>
                  <a:lnTo>
                    <a:pt x="23" y="1"/>
                  </a:lnTo>
                  <a:lnTo>
                    <a:pt x="17" y="0"/>
                  </a:lnTo>
                  <a:lnTo>
                    <a:pt x="10" y="1"/>
                  </a:lnTo>
                  <a:lnTo>
                    <a:pt x="5" y="4"/>
                  </a:lnTo>
                  <a:lnTo>
                    <a:pt x="1" y="10"/>
                  </a:lnTo>
                  <a:lnTo>
                    <a:pt x="0" y="18"/>
                  </a:lnTo>
                  <a:lnTo>
                    <a:pt x="1" y="24"/>
                  </a:lnTo>
                  <a:lnTo>
                    <a:pt x="5" y="30"/>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3" name="Freeform 96"/>
            <p:cNvSpPr>
              <a:spLocks/>
            </p:cNvSpPr>
            <p:nvPr userDrawn="1"/>
          </p:nvSpPr>
          <p:spPr bwMode="auto">
            <a:xfrm>
              <a:off x="8042275" y="6302376"/>
              <a:ext cx="6350" cy="52388"/>
            </a:xfrm>
            <a:custGeom>
              <a:avLst/>
              <a:gdLst/>
              <a:ahLst/>
              <a:cxnLst>
                <a:cxn ang="0">
                  <a:pos x="0" y="83"/>
                </a:cxn>
                <a:cxn ang="0">
                  <a:pos x="0" y="114"/>
                </a:cxn>
                <a:cxn ang="0">
                  <a:pos x="3" y="142"/>
                </a:cxn>
                <a:cxn ang="0">
                  <a:pos x="6" y="160"/>
                </a:cxn>
                <a:cxn ang="0">
                  <a:pos x="9" y="164"/>
                </a:cxn>
                <a:cxn ang="0">
                  <a:pos x="11" y="166"/>
                </a:cxn>
                <a:cxn ang="0">
                  <a:pos x="15" y="160"/>
                </a:cxn>
                <a:cxn ang="0">
                  <a:pos x="18" y="142"/>
                </a:cxn>
                <a:cxn ang="0">
                  <a:pos x="21" y="83"/>
                </a:cxn>
                <a:cxn ang="0">
                  <a:pos x="21" y="50"/>
                </a:cxn>
                <a:cxn ang="0">
                  <a:pos x="18" y="24"/>
                </a:cxn>
                <a:cxn ang="0">
                  <a:pos x="15" y="6"/>
                </a:cxn>
                <a:cxn ang="0">
                  <a:pos x="11" y="0"/>
                </a:cxn>
                <a:cxn ang="0">
                  <a:pos x="6" y="6"/>
                </a:cxn>
                <a:cxn ang="0">
                  <a:pos x="4" y="24"/>
                </a:cxn>
                <a:cxn ang="0">
                  <a:pos x="0" y="50"/>
                </a:cxn>
                <a:cxn ang="0">
                  <a:pos x="0" y="83"/>
                </a:cxn>
              </a:cxnLst>
              <a:rect l="0" t="0" r="r" b="b"/>
              <a:pathLst>
                <a:path w="21" h="166">
                  <a:moveTo>
                    <a:pt x="0" y="83"/>
                  </a:moveTo>
                  <a:lnTo>
                    <a:pt x="0" y="114"/>
                  </a:lnTo>
                  <a:lnTo>
                    <a:pt x="3" y="142"/>
                  </a:lnTo>
                  <a:lnTo>
                    <a:pt x="6" y="160"/>
                  </a:lnTo>
                  <a:lnTo>
                    <a:pt x="9" y="164"/>
                  </a:lnTo>
                  <a:lnTo>
                    <a:pt x="11" y="166"/>
                  </a:lnTo>
                  <a:lnTo>
                    <a:pt x="15" y="160"/>
                  </a:lnTo>
                  <a:lnTo>
                    <a:pt x="18" y="142"/>
                  </a:lnTo>
                  <a:lnTo>
                    <a:pt x="21" y="83"/>
                  </a:lnTo>
                  <a:lnTo>
                    <a:pt x="21" y="50"/>
                  </a:lnTo>
                  <a:lnTo>
                    <a:pt x="18" y="24"/>
                  </a:lnTo>
                  <a:lnTo>
                    <a:pt x="15" y="6"/>
                  </a:lnTo>
                  <a:lnTo>
                    <a:pt x="11" y="0"/>
                  </a:lnTo>
                  <a:lnTo>
                    <a:pt x="6" y="6"/>
                  </a:lnTo>
                  <a:lnTo>
                    <a:pt x="4" y="24"/>
                  </a:lnTo>
                  <a:lnTo>
                    <a:pt x="0" y="50"/>
                  </a:lnTo>
                  <a:lnTo>
                    <a:pt x="0" y="83"/>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4" name="Freeform 97"/>
            <p:cNvSpPr>
              <a:spLocks noEditPoints="1"/>
            </p:cNvSpPr>
            <p:nvPr userDrawn="1"/>
          </p:nvSpPr>
          <p:spPr bwMode="auto">
            <a:xfrm>
              <a:off x="7867650" y="6257926"/>
              <a:ext cx="107950" cy="198438"/>
            </a:xfrm>
            <a:custGeom>
              <a:avLst/>
              <a:gdLst/>
              <a:ahLst/>
              <a:cxnLst>
                <a:cxn ang="0">
                  <a:pos x="140" y="607"/>
                </a:cxn>
                <a:cxn ang="0">
                  <a:pos x="154" y="432"/>
                </a:cxn>
                <a:cxn ang="0">
                  <a:pos x="174" y="432"/>
                </a:cxn>
                <a:cxn ang="0">
                  <a:pos x="304" y="257"/>
                </a:cxn>
                <a:cxn ang="0">
                  <a:pos x="340" y="291"/>
                </a:cxn>
                <a:cxn ang="0">
                  <a:pos x="332" y="298"/>
                </a:cxn>
                <a:cxn ang="0">
                  <a:pos x="256" y="268"/>
                </a:cxn>
                <a:cxn ang="0">
                  <a:pos x="187" y="216"/>
                </a:cxn>
                <a:cxn ang="0">
                  <a:pos x="185" y="280"/>
                </a:cxn>
                <a:cxn ang="0">
                  <a:pos x="195" y="598"/>
                </a:cxn>
                <a:cxn ang="0">
                  <a:pos x="214" y="608"/>
                </a:cxn>
                <a:cxn ang="0">
                  <a:pos x="130" y="607"/>
                </a:cxn>
                <a:cxn ang="0">
                  <a:pos x="148" y="598"/>
                </a:cxn>
                <a:cxn ang="0">
                  <a:pos x="161" y="220"/>
                </a:cxn>
                <a:cxn ang="0">
                  <a:pos x="119" y="243"/>
                </a:cxn>
                <a:cxn ang="0">
                  <a:pos x="30" y="290"/>
                </a:cxn>
                <a:cxn ang="0">
                  <a:pos x="0" y="293"/>
                </a:cxn>
                <a:cxn ang="0">
                  <a:pos x="8" y="277"/>
                </a:cxn>
                <a:cxn ang="0">
                  <a:pos x="72" y="231"/>
                </a:cxn>
                <a:cxn ang="0">
                  <a:pos x="148" y="197"/>
                </a:cxn>
                <a:cxn ang="0">
                  <a:pos x="162" y="177"/>
                </a:cxn>
                <a:cxn ang="0">
                  <a:pos x="155" y="131"/>
                </a:cxn>
                <a:cxn ang="0">
                  <a:pos x="159" y="29"/>
                </a:cxn>
                <a:cxn ang="0">
                  <a:pos x="172" y="0"/>
                </a:cxn>
                <a:cxn ang="0">
                  <a:pos x="184" y="29"/>
                </a:cxn>
                <a:cxn ang="0">
                  <a:pos x="187" y="131"/>
                </a:cxn>
                <a:cxn ang="0">
                  <a:pos x="189" y="180"/>
                </a:cxn>
                <a:cxn ang="0">
                  <a:pos x="196" y="200"/>
                </a:cxn>
                <a:cxn ang="0">
                  <a:pos x="269" y="233"/>
                </a:cxn>
                <a:cxn ang="0">
                  <a:pos x="212" y="214"/>
                </a:cxn>
                <a:cxn ang="0">
                  <a:pos x="226" y="230"/>
                </a:cxn>
                <a:cxn ang="0">
                  <a:pos x="291" y="268"/>
                </a:cxn>
                <a:cxn ang="0">
                  <a:pos x="311" y="273"/>
                </a:cxn>
                <a:cxn ang="0">
                  <a:pos x="280" y="246"/>
                </a:cxn>
                <a:cxn ang="0">
                  <a:pos x="26" y="274"/>
                </a:cxn>
                <a:cxn ang="0">
                  <a:pos x="79" y="251"/>
                </a:cxn>
                <a:cxn ang="0">
                  <a:pos x="126" y="215"/>
                </a:cxn>
                <a:cxn ang="0">
                  <a:pos x="92" y="227"/>
                </a:cxn>
                <a:cxn ang="0">
                  <a:pos x="28" y="269"/>
                </a:cxn>
                <a:cxn ang="0">
                  <a:pos x="166" y="206"/>
                </a:cxn>
                <a:cxn ang="0">
                  <a:pos x="178" y="189"/>
                </a:cxn>
                <a:cxn ang="0">
                  <a:pos x="157" y="185"/>
                </a:cxn>
                <a:cxn ang="0">
                  <a:pos x="157" y="203"/>
                </a:cxn>
                <a:cxn ang="0">
                  <a:pos x="163" y="151"/>
                </a:cxn>
                <a:cxn ang="0">
                  <a:pos x="172" y="138"/>
                </a:cxn>
                <a:cxn ang="0">
                  <a:pos x="167" y="38"/>
                </a:cxn>
                <a:cxn ang="0">
                  <a:pos x="159" y="97"/>
                </a:cxn>
              </a:cxnLst>
              <a:rect l="0" t="0" r="r" b="b"/>
              <a:pathLst>
                <a:path w="340" h="625">
                  <a:moveTo>
                    <a:pt x="163" y="600"/>
                  </a:moveTo>
                  <a:lnTo>
                    <a:pt x="140" y="600"/>
                  </a:lnTo>
                  <a:lnTo>
                    <a:pt x="140" y="607"/>
                  </a:lnTo>
                  <a:lnTo>
                    <a:pt x="163" y="607"/>
                  </a:lnTo>
                  <a:lnTo>
                    <a:pt x="163" y="600"/>
                  </a:lnTo>
                  <a:close/>
                  <a:moveTo>
                    <a:pt x="154" y="432"/>
                  </a:moveTo>
                  <a:lnTo>
                    <a:pt x="154" y="596"/>
                  </a:lnTo>
                  <a:lnTo>
                    <a:pt x="174" y="596"/>
                  </a:lnTo>
                  <a:lnTo>
                    <a:pt x="174" y="432"/>
                  </a:lnTo>
                  <a:lnTo>
                    <a:pt x="154" y="432"/>
                  </a:lnTo>
                  <a:close/>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moveTo>
                    <a:pt x="226" y="218"/>
                  </a:moveTo>
                  <a:lnTo>
                    <a:pt x="216" y="214"/>
                  </a:lnTo>
                  <a:lnTo>
                    <a:pt x="212" y="214"/>
                  </a:lnTo>
                  <a:lnTo>
                    <a:pt x="212" y="216"/>
                  </a:lnTo>
                  <a:lnTo>
                    <a:pt x="214" y="221"/>
                  </a:lnTo>
                  <a:lnTo>
                    <a:pt x="226" y="230"/>
                  </a:lnTo>
                  <a:lnTo>
                    <a:pt x="246" y="244"/>
                  </a:lnTo>
                  <a:lnTo>
                    <a:pt x="269" y="257"/>
                  </a:lnTo>
                  <a:lnTo>
                    <a:pt x="291" y="268"/>
                  </a:lnTo>
                  <a:lnTo>
                    <a:pt x="304" y="274"/>
                  </a:lnTo>
                  <a:lnTo>
                    <a:pt x="309" y="274"/>
                  </a:lnTo>
                  <a:lnTo>
                    <a:pt x="311" y="273"/>
                  </a:lnTo>
                  <a:lnTo>
                    <a:pt x="309" y="268"/>
                  </a:lnTo>
                  <a:lnTo>
                    <a:pt x="305" y="266"/>
                  </a:lnTo>
                  <a:lnTo>
                    <a:pt x="280" y="246"/>
                  </a:lnTo>
                  <a:lnTo>
                    <a:pt x="245" y="226"/>
                  </a:lnTo>
                  <a:lnTo>
                    <a:pt x="226" y="218"/>
                  </a:lnTo>
                  <a:close/>
                  <a:moveTo>
                    <a:pt x="26" y="274"/>
                  </a:moveTo>
                  <a:lnTo>
                    <a:pt x="31" y="274"/>
                  </a:lnTo>
                  <a:lnTo>
                    <a:pt x="43" y="269"/>
                  </a:lnTo>
                  <a:lnTo>
                    <a:pt x="79" y="251"/>
                  </a:lnTo>
                  <a:lnTo>
                    <a:pt x="114" y="227"/>
                  </a:lnTo>
                  <a:lnTo>
                    <a:pt x="124" y="220"/>
                  </a:lnTo>
                  <a:lnTo>
                    <a:pt x="126" y="215"/>
                  </a:lnTo>
                  <a:lnTo>
                    <a:pt x="121" y="215"/>
                  </a:lnTo>
                  <a:lnTo>
                    <a:pt x="109" y="219"/>
                  </a:lnTo>
                  <a:lnTo>
                    <a:pt x="92" y="227"/>
                  </a:lnTo>
                  <a:lnTo>
                    <a:pt x="73" y="238"/>
                  </a:lnTo>
                  <a:lnTo>
                    <a:pt x="38" y="261"/>
                  </a:lnTo>
                  <a:lnTo>
                    <a:pt x="28" y="269"/>
                  </a:lnTo>
                  <a:lnTo>
                    <a:pt x="26" y="274"/>
                  </a:lnTo>
                  <a:close/>
                  <a:moveTo>
                    <a:pt x="157" y="203"/>
                  </a:moveTo>
                  <a:lnTo>
                    <a:pt x="166" y="206"/>
                  </a:lnTo>
                  <a:lnTo>
                    <a:pt x="174" y="203"/>
                  </a:lnTo>
                  <a:lnTo>
                    <a:pt x="179" y="194"/>
                  </a:lnTo>
                  <a:lnTo>
                    <a:pt x="178" y="189"/>
                  </a:lnTo>
                  <a:lnTo>
                    <a:pt x="174" y="185"/>
                  </a:lnTo>
                  <a:lnTo>
                    <a:pt x="166" y="182"/>
                  </a:lnTo>
                  <a:lnTo>
                    <a:pt x="157" y="185"/>
                  </a:lnTo>
                  <a:lnTo>
                    <a:pt x="155" y="194"/>
                  </a:lnTo>
                  <a:lnTo>
                    <a:pt x="155" y="198"/>
                  </a:lnTo>
                  <a:lnTo>
                    <a:pt x="157" y="203"/>
                  </a:lnTo>
                  <a:close/>
                  <a:moveTo>
                    <a:pt x="159" y="97"/>
                  </a:moveTo>
                  <a:lnTo>
                    <a:pt x="161" y="138"/>
                  </a:lnTo>
                  <a:lnTo>
                    <a:pt x="163" y="151"/>
                  </a:lnTo>
                  <a:lnTo>
                    <a:pt x="166" y="156"/>
                  </a:lnTo>
                  <a:lnTo>
                    <a:pt x="169" y="151"/>
                  </a:lnTo>
                  <a:lnTo>
                    <a:pt x="172" y="138"/>
                  </a:lnTo>
                  <a:lnTo>
                    <a:pt x="173" y="97"/>
                  </a:lnTo>
                  <a:lnTo>
                    <a:pt x="172" y="55"/>
                  </a:lnTo>
                  <a:lnTo>
                    <a:pt x="167" y="38"/>
                  </a:lnTo>
                  <a:lnTo>
                    <a:pt x="163" y="43"/>
                  </a:lnTo>
                  <a:lnTo>
                    <a:pt x="161" y="55"/>
                  </a:lnTo>
                  <a:lnTo>
                    <a:pt x="159" y="97"/>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5" name="Rectangle 98"/>
            <p:cNvSpPr>
              <a:spLocks noChangeArrowheads="1"/>
            </p:cNvSpPr>
            <p:nvPr userDrawn="1"/>
          </p:nvSpPr>
          <p:spPr bwMode="auto">
            <a:xfrm>
              <a:off x="7912100" y="6448426"/>
              <a:ext cx="6350" cy="15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6" name="Rectangle 99"/>
            <p:cNvSpPr>
              <a:spLocks noChangeArrowheads="1"/>
            </p:cNvSpPr>
            <p:nvPr userDrawn="1"/>
          </p:nvSpPr>
          <p:spPr bwMode="auto">
            <a:xfrm>
              <a:off x="7916863" y="6394451"/>
              <a:ext cx="6350" cy="523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7" name="Freeform 100"/>
            <p:cNvSpPr>
              <a:spLocks/>
            </p:cNvSpPr>
            <p:nvPr userDrawn="1"/>
          </p:nvSpPr>
          <p:spPr bwMode="auto">
            <a:xfrm>
              <a:off x="7867650" y="6257926"/>
              <a:ext cx="107950" cy="198438"/>
            </a:xfrm>
            <a:custGeom>
              <a:avLst/>
              <a:gdLst/>
              <a:ahLst/>
              <a:cxnLst>
                <a:cxn ang="0">
                  <a:pos x="304" y="257"/>
                </a:cxn>
                <a:cxn ang="0">
                  <a:pos x="337" y="286"/>
                </a:cxn>
                <a:cxn ang="0">
                  <a:pos x="339" y="295"/>
                </a:cxn>
                <a:cxn ang="0">
                  <a:pos x="332" y="298"/>
                </a:cxn>
                <a:cxn ang="0">
                  <a:pos x="286" y="283"/>
                </a:cxn>
                <a:cxn ang="0">
                  <a:pos x="227" y="250"/>
                </a:cxn>
                <a:cxn ang="0">
                  <a:pos x="187" y="216"/>
                </a:cxn>
                <a:cxn ang="0">
                  <a:pos x="184" y="242"/>
                </a:cxn>
                <a:cxn ang="0">
                  <a:pos x="190" y="424"/>
                </a:cxn>
                <a:cxn ang="0">
                  <a:pos x="195" y="598"/>
                </a:cxn>
                <a:cxn ang="0">
                  <a:pos x="204" y="608"/>
                </a:cxn>
                <a:cxn ang="0">
                  <a:pos x="214" y="625"/>
                </a:cxn>
                <a:cxn ang="0">
                  <a:pos x="130" y="607"/>
                </a:cxn>
                <a:cxn ang="0">
                  <a:pos x="138" y="598"/>
                </a:cxn>
                <a:cxn ang="0">
                  <a:pos x="149" y="424"/>
                </a:cxn>
                <a:cxn ang="0">
                  <a:pos x="161" y="220"/>
                </a:cxn>
                <a:cxn ang="0">
                  <a:pos x="143" y="224"/>
                </a:cxn>
                <a:cxn ang="0">
                  <a:pos x="89" y="262"/>
                </a:cxn>
                <a:cxn ang="0">
                  <a:pos x="30" y="290"/>
                </a:cxn>
                <a:cxn ang="0">
                  <a:pos x="3" y="296"/>
                </a:cxn>
                <a:cxn ang="0">
                  <a:pos x="0" y="290"/>
                </a:cxn>
                <a:cxn ang="0">
                  <a:pos x="8" y="277"/>
                </a:cxn>
                <a:cxn ang="0">
                  <a:pos x="42" y="250"/>
                </a:cxn>
                <a:cxn ang="0">
                  <a:pos x="103" y="214"/>
                </a:cxn>
                <a:cxn ang="0">
                  <a:pos x="148" y="197"/>
                </a:cxn>
                <a:cxn ang="0">
                  <a:pos x="155" y="180"/>
                </a:cxn>
                <a:cxn ang="0">
                  <a:pos x="159" y="161"/>
                </a:cxn>
                <a:cxn ang="0">
                  <a:pos x="155" y="131"/>
                </a:cxn>
                <a:cxn ang="0">
                  <a:pos x="155" y="59"/>
                </a:cxn>
                <a:cxn ang="0">
                  <a:pos x="165" y="7"/>
                </a:cxn>
                <a:cxn ang="0">
                  <a:pos x="172" y="0"/>
                </a:cxn>
                <a:cxn ang="0">
                  <a:pos x="178" y="7"/>
                </a:cxn>
                <a:cxn ang="0">
                  <a:pos x="187" y="59"/>
                </a:cxn>
                <a:cxn ang="0">
                  <a:pos x="187" y="131"/>
                </a:cxn>
                <a:cxn ang="0">
                  <a:pos x="180" y="176"/>
                </a:cxn>
                <a:cxn ang="0">
                  <a:pos x="193" y="189"/>
                </a:cxn>
                <a:cxn ang="0">
                  <a:pos x="196" y="200"/>
                </a:cxn>
                <a:cxn ang="0">
                  <a:pos x="233" y="214"/>
                </a:cxn>
              </a:cxnLst>
              <a:rect l="0" t="0" r="r" b="b"/>
              <a:pathLst>
                <a:path w="340" h="625">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8" name="Freeform 101"/>
            <p:cNvSpPr>
              <a:spLocks/>
            </p:cNvSpPr>
            <p:nvPr userDrawn="1"/>
          </p:nvSpPr>
          <p:spPr bwMode="auto">
            <a:xfrm>
              <a:off x="7934325" y="6326188"/>
              <a:ext cx="31750" cy="19050"/>
            </a:xfrm>
            <a:custGeom>
              <a:avLst/>
              <a:gdLst/>
              <a:ahLst/>
              <a:cxnLst>
                <a:cxn ang="0">
                  <a:pos x="14" y="4"/>
                </a:cxn>
                <a:cxn ang="0">
                  <a:pos x="4" y="0"/>
                </a:cxn>
                <a:cxn ang="0">
                  <a:pos x="0" y="0"/>
                </a:cxn>
                <a:cxn ang="0">
                  <a:pos x="0" y="2"/>
                </a:cxn>
                <a:cxn ang="0">
                  <a:pos x="2" y="7"/>
                </a:cxn>
                <a:cxn ang="0">
                  <a:pos x="14" y="16"/>
                </a:cxn>
                <a:cxn ang="0">
                  <a:pos x="34" y="30"/>
                </a:cxn>
                <a:cxn ang="0">
                  <a:pos x="57" y="43"/>
                </a:cxn>
                <a:cxn ang="0">
                  <a:pos x="79" y="54"/>
                </a:cxn>
                <a:cxn ang="0">
                  <a:pos x="92" y="60"/>
                </a:cxn>
                <a:cxn ang="0">
                  <a:pos x="97" y="60"/>
                </a:cxn>
                <a:cxn ang="0">
                  <a:pos x="99" y="59"/>
                </a:cxn>
                <a:cxn ang="0">
                  <a:pos x="97" y="54"/>
                </a:cxn>
                <a:cxn ang="0">
                  <a:pos x="93" y="52"/>
                </a:cxn>
                <a:cxn ang="0">
                  <a:pos x="68" y="32"/>
                </a:cxn>
                <a:cxn ang="0">
                  <a:pos x="33" y="12"/>
                </a:cxn>
                <a:cxn ang="0">
                  <a:pos x="14" y="4"/>
                </a:cxn>
              </a:cxnLst>
              <a:rect l="0" t="0" r="r" b="b"/>
              <a:pathLst>
                <a:path w="99" h="60">
                  <a:moveTo>
                    <a:pt x="14" y="4"/>
                  </a:moveTo>
                  <a:lnTo>
                    <a:pt x="4" y="0"/>
                  </a:lnTo>
                  <a:lnTo>
                    <a:pt x="0" y="0"/>
                  </a:lnTo>
                  <a:lnTo>
                    <a:pt x="0" y="2"/>
                  </a:lnTo>
                  <a:lnTo>
                    <a:pt x="2" y="7"/>
                  </a:lnTo>
                  <a:lnTo>
                    <a:pt x="14" y="16"/>
                  </a:lnTo>
                  <a:lnTo>
                    <a:pt x="34" y="30"/>
                  </a:lnTo>
                  <a:lnTo>
                    <a:pt x="57" y="43"/>
                  </a:lnTo>
                  <a:lnTo>
                    <a:pt x="79" y="54"/>
                  </a:lnTo>
                  <a:lnTo>
                    <a:pt x="92" y="60"/>
                  </a:lnTo>
                  <a:lnTo>
                    <a:pt x="97" y="60"/>
                  </a:lnTo>
                  <a:lnTo>
                    <a:pt x="99" y="59"/>
                  </a:lnTo>
                  <a:lnTo>
                    <a:pt x="97" y="54"/>
                  </a:lnTo>
                  <a:lnTo>
                    <a:pt x="93" y="52"/>
                  </a:lnTo>
                  <a:lnTo>
                    <a:pt x="68" y="32"/>
                  </a:lnTo>
                  <a:lnTo>
                    <a:pt x="33" y="12"/>
                  </a:lnTo>
                  <a:lnTo>
                    <a:pt x="14" y="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9" name="Freeform 102"/>
            <p:cNvSpPr>
              <a:spLocks/>
            </p:cNvSpPr>
            <p:nvPr userDrawn="1"/>
          </p:nvSpPr>
          <p:spPr bwMode="auto">
            <a:xfrm>
              <a:off x="7875588" y="6326188"/>
              <a:ext cx="31750" cy="19050"/>
            </a:xfrm>
            <a:custGeom>
              <a:avLst/>
              <a:gdLst/>
              <a:ahLst/>
              <a:cxnLst>
                <a:cxn ang="0">
                  <a:pos x="0" y="59"/>
                </a:cxn>
                <a:cxn ang="0">
                  <a:pos x="5" y="59"/>
                </a:cxn>
                <a:cxn ang="0">
                  <a:pos x="17" y="54"/>
                </a:cxn>
                <a:cxn ang="0">
                  <a:pos x="53" y="36"/>
                </a:cxn>
                <a:cxn ang="0">
                  <a:pos x="88" y="12"/>
                </a:cxn>
                <a:cxn ang="0">
                  <a:pos x="98" y="5"/>
                </a:cxn>
                <a:cxn ang="0">
                  <a:pos x="100" y="0"/>
                </a:cxn>
                <a:cxn ang="0">
                  <a:pos x="95" y="0"/>
                </a:cxn>
                <a:cxn ang="0">
                  <a:pos x="83" y="4"/>
                </a:cxn>
                <a:cxn ang="0">
                  <a:pos x="66" y="12"/>
                </a:cxn>
                <a:cxn ang="0">
                  <a:pos x="47" y="23"/>
                </a:cxn>
                <a:cxn ang="0">
                  <a:pos x="12" y="46"/>
                </a:cxn>
                <a:cxn ang="0">
                  <a:pos x="2" y="54"/>
                </a:cxn>
                <a:cxn ang="0">
                  <a:pos x="0" y="59"/>
                </a:cxn>
              </a:cxnLst>
              <a:rect l="0" t="0" r="r" b="b"/>
              <a:pathLst>
                <a:path w="100" h="59">
                  <a:moveTo>
                    <a:pt x="0" y="59"/>
                  </a:moveTo>
                  <a:lnTo>
                    <a:pt x="5" y="59"/>
                  </a:lnTo>
                  <a:lnTo>
                    <a:pt x="17" y="54"/>
                  </a:lnTo>
                  <a:lnTo>
                    <a:pt x="53" y="36"/>
                  </a:lnTo>
                  <a:lnTo>
                    <a:pt x="88" y="12"/>
                  </a:lnTo>
                  <a:lnTo>
                    <a:pt x="98" y="5"/>
                  </a:lnTo>
                  <a:lnTo>
                    <a:pt x="100" y="0"/>
                  </a:lnTo>
                  <a:lnTo>
                    <a:pt x="95" y="0"/>
                  </a:lnTo>
                  <a:lnTo>
                    <a:pt x="83" y="4"/>
                  </a:lnTo>
                  <a:lnTo>
                    <a:pt x="66" y="12"/>
                  </a:lnTo>
                  <a:lnTo>
                    <a:pt x="47" y="23"/>
                  </a:lnTo>
                  <a:lnTo>
                    <a:pt x="12" y="46"/>
                  </a:lnTo>
                  <a:lnTo>
                    <a:pt x="2" y="54"/>
                  </a:lnTo>
                  <a:lnTo>
                    <a:pt x="0" y="59"/>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0" name="Freeform 103"/>
            <p:cNvSpPr>
              <a:spLocks/>
            </p:cNvSpPr>
            <p:nvPr userDrawn="1"/>
          </p:nvSpPr>
          <p:spPr bwMode="auto">
            <a:xfrm>
              <a:off x="7916863" y="6315076"/>
              <a:ext cx="7938" cy="7938"/>
            </a:xfrm>
            <a:custGeom>
              <a:avLst/>
              <a:gdLst/>
              <a:ahLst/>
              <a:cxnLst>
                <a:cxn ang="0">
                  <a:pos x="2" y="21"/>
                </a:cxn>
                <a:cxn ang="0">
                  <a:pos x="11" y="24"/>
                </a:cxn>
                <a:cxn ang="0">
                  <a:pos x="19" y="21"/>
                </a:cxn>
                <a:cxn ang="0">
                  <a:pos x="24" y="12"/>
                </a:cxn>
                <a:cxn ang="0">
                  <a:pos x="23" y="7"/>
                </a:cxn>
                <a:cxn ang="0">
                  <a:pos x="19" y="3"/>
                </a:cxn>
                <a:cxn ang="0">
                  <a:pos x="11" y="0"/>
                </a:cxn>
                <a:cxn ang="0">
                  <a:pos x="2" y="3"/>
                </a:cxn>
                <a:cxn ang="0">
                  <a:pos x="0" y="12"/>
                </a:cxn>
                <a:cxn ang="0">
                  <a:pos x="0" y="16"/>
                </a:cxn>
                <a:cxn ang="0">
                  <a:pos x="2" y="21"/>
                </a:cxn>
              </a:cxnLst>
              <a:rect l="0" t="0" r="r" b="b"/>
              <a:pathLst>
                <a:path w="24" h="24">
                  <a:moveTo>
                    <a:pt x="2" y="21"/>
                  </a:moveTo>
                  <a:lnTo>
                    <a:pt x="11" y="24"/>
                  </a:lnTo>
                  <a:lnTo>
                    <a:pt x="19" y="21"/>
                  </a:lnTo>
                  <a:lnTo>
                    <a:pt x="24" y="12"/>
                  </a:lnTo>
                  <a:lnTo>
                    <a:pt x="23" y="7"/>
                  </a:lnTo>
                  <a:lnTo>
                    <a:pt x="19" y="3"/>
                  </a:lnTo>
                  <a:lnTo>
                    <a:pt x="11" y="0"/>
                  </a:lnTo>
                  <a:lnTo>
                    <a:pt x="2" y="3"/>
                  </a:lnTo>
                  <a:lnTo>
                    <a:pt x="0" y="12"/>
                  </a:lnTo>
                  <a:lnTo>
                    <a:pt x="0" y="16"/>
                  </a:lnTo>
                  <a:lnTo>
                    <a:pt x="2" y="21"/>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1" name="Freeform 104"/>
            <p:cNvSpPr>
              <a:spLocks/>
            </p:cNvSpPr>
            <p:nvPr userDrawn="1"/>
          </p:nvSpPr>
          <p:spPr bwMode="auto">
            <a:xfrm>
              <a:off x="7918450" y="6269038"/>
              <a:ext cx="3175" cy="38100"/>
            </a:xfrm>
            <a:custGeom>
              <a:avLst/>
              <a:gdLst/>
              <a:ahLst/>
              <a:cxnLst>
                <a:cxn ang="0">
                  <a:pos x="0" y="59"/>
                </a:cxn>
                <a:cxn ang="0">
                  <a:pos x="2" y="100"/>
                </a:cxn>
                <a:cxn ang="0">
                  <a:pos x="4" y="113"/>
                </a:cxn>
                <a:cxn ang="0">
                  <a:pos x="7" y="118"/>
                </a:cxn>
                <a:cxn ang="0">
                  <a:pos x="10" y="113"/>
                </a:cxn>
                <a:cxn ang="0">
                  <a:pos x="13" y="100"/>
                </a:cxn>
                <a:cxn ang="0">
                  <a:pos x="14" y="59"/>
                </a:cxn>
                <a:cxn ang="0">
                  <a:pos x="13" y="17"/>
                </a:cxn>
                <a:cxn ang="0">
                  <a:pos x="8" y="0"/>
                </a:cxn>
                <a:cxn ang="0">
                  <a:pos x="4" y="5"/>
                </a:cxn>
                <a:cxn ang="0">
                  <a:pos x="2" y="17"/>
                </a:cxn>
                <a:cxn ang="0">
                  <a:pos x="0" y="59"/>
                </a:cxn>
              </a:cxnLst>
              <a:rect l="0" t="0" r="r" b="b"/>
              <a:pathLst>
                <a:path w="14" h="118">
                  <a:moveTo>
                    <a:pt x="0" y="59"/>
                  </a:moveTo>
                  <a:lnTo>
                    <a:pt x="2" y="100"/>
                  </a:lnTo>
                  <a:lnTo>
                    <a:pt x="4" y="113"/>
                  </a:lnTo>
                  <a:lnTo>
                    <a:pt x="7" y="118"/>
                  </a:lnTo>
                  <a:lnTo>
                    <a:pt x="10" y="113"/>
                  </a:lnTo>
                  <a:lnTo>
                    <a:pt x="13" y="100"/>
                  </a:lnTo>
                  <a:lnTo>
                    <a:pt x="14" y="59"/>
                  </a:lnTo>
                  <a:lnTo>
                    <a:pt x="13" y="17"/>
                  </a:lnTo>
                  <a:lnTo>
                    <a:pt x="8" y="0"/>
                  </a:lnTo>
                  <a:lnTo>
                    <a:pt x="4" y="5"/>
                  </a:lnTo>
                  <a:lnTo>
                    <a:pt x="2" y="17"/>
                  </a:lnTo>
                  <a:lnTo>
                    <a:pt x="0" y="5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2" name="Freeform 105"/>
            <p:cNvSpPr>
              <a:spLocks noEditPoints="1"/>
            </p:cNvSpPr>
            <p:nvPr userDrawn="1"/>
          </p:nvSpPr>
          <p:spPr bwMode="auto">
            <a:xfrm>
              <a:off x="7807325" y="6242051"/>
              <a:ext cx="131763" cy="244475"/>
            </a:xfrm>
            <a:custGeom>
              <a:avLst/>
              <a:gdLst/>
              <a:ahLst/>
              <a:cxnLst>
                <a:cxn ang="0">
                  <a:pos x="174" y="746"/>
                </a:cxn>
                <a:cxn ang="0">
                  <a:pos x="191" y="530"/>
                </a:cxn>
                <a:cxn ang="0">
                  <a:pos x="216" y="530"/>
                </a:cxn>
                <a:cxn ang="0">
                  <a:pos x="376" y="315"/>
                </a:cxn>
                <a:cxn ang="0">
                  <a:pos x="419" y="357"/>
                </a:cxn>
                <a:cxn ang="0">
                  <a:pos x="409" y="365"/>
                </a:cxn>
                <a:cxn ang="0">
                  <a:pos x="353" y="346"/>
                </a:cxn>
                <a:cxn ang="0">
                  <a:pos x="281" y="306"/>
                </a:cxn>
                <a:cxn ang="0">
                  <a:pos x="227" y="268"/>
                </a:cxn>
                <a:cxn ang="0">
                  <a:pos x="234" y="520"/>
                </a:cxn>
                <a:cxn ang="0">
                  <a:pos x="252" y="734"/>
                </a:cxn>
                <a:cxn ang="0">
                  <a:pos x="265" y="768"/>
                </a:cxn>
                <a:cxn ang="0">
                  <a:pos x="171" y="746"/>
                </a:cxn>
                <a:cxn ang="0">
                  <a:pos x="183" y="520"/>
                </a:cxn>
                <a:cxn ang="0">
                  <a:pos x="192" y="263"/>
                </a:cxn>
                <a:cxn ang="0">
                  <a:pos x="147" y="297"/>
                </a:cxn>
                <a:cxn ang="0">
                  <a:pos x="36" y="356"/>
                </a:cxn>
                <a:cxn ang="0">
                  <a:pos x="0" y="359"/>
                </a:cxn>
                <a:cxn ang="0">
                  <a:pos x="22" y="329"/>
                </a:cxn>
                <a:cxn ang="0">
                  <a:pos x="128" y="263"/>
                </a:cxn>
                <a:cxn ang="0">
                  <a:pos x="185" y="231"/>
                </a:cxn>
                <a:cxn ang="0">
                  <a:pos x="195" y="197"/>
                </a:cxn>
                <a:cxn ang="0">
                  <a:pos x="191" y="71"/>
                </a:cxn>
                <a:cxn ang="0">
                  <a:pos x="207" y="1"/>
                </a:cxn>
                <a:cxn ang="0">
                  <a:pos x="219" y="8"/>
                </a:cxn>
                <a:cxn ang="0">
                  <a:pos x="233" y="115"/>
                </a:cxn>
                <a:cxn ang="0">
                  <a:pos x="222" y="214"/>
                </a:cxn>
                <a:cxn ang="0">
                  <a:pos x="241" y="243"/>
                </a:cxn>
                <a:cxn ang="0">
                  <a:pos x="288" y="262"/>
                </a:cxn>
                <a:cxn ang="0">
                  <a:pos x="280" y="266"/>
                </a:cxn>
                <a:cxn ang="0">
                  <a:pos x="260" y="262"/>
                </a:cxn>
                <a:cxn ang="0">
                  <a:pos x="278" y="282"/>
                </a:cxn>
                <a:cxn ang="0">
                  <a:pos x="358" y="329"/>
                </a:cxn>
                <a:cxn ang="0">
                  <a:pos x="383" y="335"/>
                </a:cxn>
                <a:cxn ang="0">
                  <a:pos x="377" y="326"/>
                </a:cxn>
                <a:cxn ang="0">
                  <a:pos x="303" y="278"/>
                </a:cxn>
                <a:cxn ang="0">
                  <a:pos x="39" y="335"/>
                </a:cxn>
                <a:cxn ang="0">
                  <a:pos x="122" y="293"/>
                </a:cxn>
                <a:cxn ang="0">
                  <a:pos x="156" y="266"/>
                </a:cxn>
                <a:cxn ang="0">
                  <a:pos x="135" y="268"/>
                </a:cxn>
                <a:cxn ang="0">
                  <a:pos x="47" y="320"/>
                </a:cxn>
                <a:cxn ang="0">
                  <a:pos x="33" y="335"/>
                </a:cxn>
                <a:cxn ang="0">
                  <a:pos x="205" y="252"/>
                </a:cxn>
                <a:cxn ang="0">
                  <a:pos x="219" y="243"/>
                </a:cxn>
                <a:cxn ang="0">
                  <a:pos x="216" y="227"/>
                </a:cxn>
                <a:cxn ang="0">
                  <a:pos x="200" y="224"/>
                </a:cxn>
                <a:cxn ang="0">
                  <a:pos x="191" y="238"/>
                </a:cxn>
                <a:cxn ang="0">
                  <a:pos x="195" y="119"/>
                </a:cxn>
                <a:cxn ang="0">
                  <a:pos x="205" y="191"/>
                </a:cxn>
                <a:cxn ang="0">
                  <a:pos x="215" y="119"/>
                </a:cxn>
                <a:cxn ang="0">
                  <a:pos x="206" y="46"/>
                </a:cxn>
                <a:cxn ang="0">
                  <a:pos x="197" y="91"/>
                </a:cxn>
              </a:cxnLst>
              <a:rect l="0" t="0" r="r" b="b"/>
              <a:pathLst>
                <a:path w="419" h="768">
                  <a:moveTo>
                    <a:pt x="203" y="737"/>
                  </a:moveTo>
                  <a:lnTo>
                    <a:pt x="174" y="737"/>
                  </a:lnTo>
                  <a:lnTo>
                    <a:pt x="174" y="746"/>
                  </a:lnTo>
                  <a:lnTo>
                    <a:pt x="203" y="746"/>
                  </a:lnTo>
                  <a:lnTo>
                    <a:pt x="203" y="737"/>
                  </a:lnTo>
                  <a:close/>
                  <a:moveTo>
                    <a:pt x="191" y="530"/>
                  </a:moveTo>
                  <a:lnTo>
                    <a:pt x="189" y="733"/>
                  </a:lnTo>
                  <a:lnTo>
                    <a:pt x="215" y="733"/>
                  </a:lnTo>
                  <a:lnTo>
                    <a:pt x="216" y="530"/>
                  </a:lnTo>
                  <a:lnTo>
                    <a:pt x="191" y="530"/>
                  </a:lnTo>
                  <a:close/>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moveTo>
                    <a:pt x="280" y="266"/>
                  </a:moveTo>
                  <a:lnTo>
                    <a:pt x="268" y="262"/>
                  </a:lnTo>
                  <a:lnTo>
                    <a:pt x="263" y="261"/>
                  </a:lnTo>
                  <a:lnTo>
                    <a:pt x="260" y="262"/>
                  </a:lnTo>
                  <a:lnTo>
                    <a:pt x="260" y="266"/>
                  </a:lnTo>
                  <a:lnTo>
                    <a:pt x="264" y="270"/>
                  </a:lnTo>
                  <a:lnTo>
                    <a:pt x="278" y="282"/>
                  </a:lnTo>
                  <a:lnTo>
                    <a:pt x="305" y="299"/>
                  </a:lnTo>
                  <a:lnTo>
                    <a:pt x="333" y="316"/>
                  </a:lnTo>
                  <a:lnTo>
                    <a:pt x="358" y="329"/>
                  </a:lnTo>
                  <a:lnTo>
                    <a:pt x="375" y="335"/>
                  </a:lnTo>
                  <a:lnTo>
                    <a:pt x="381" y="337"/>
                  </a:lnTo>
                  <a:lnTo>
                    <a:pt x="383" y="335"/>
                  </a:lnTo>
                  <a:lnTo>
                    <a:pt x="383" y="332"/>
                  </a:lnTo>
                  <a:lnTo>
                    <a:pt x="381" y="329"/>
                  </a:lnTo>
                  <a:lnTo>
                    <a:pt x="377" y="326"/>
                  </a:lnTo>
                  <a:lnTo>
                    <a:pt x="362" y="312"/>
                  </a:lnTo>
                  <a:lnTo>
                    <a:pt x="345" y="302"/>
                  </a:lnTo>
                  <a:lnTo>
                    <a:pt x="303" y="278"/>
                  </a:lnTo>
                  <a:lnTo>
                    <a:pt x="280" y="266"/>
                  </a:lnTo>
                  <a:close/>
                  <a:moveTo>
                    <a:pt x="33" y="335"/>
                  </a:moveTo>
                  <a:lnTo>
                    <a:pt x="39" y="335"/>
                  </a:lnTo>
                  <a:lnTo>
                    <a:pt x="55" y="331"/>
                  </a:lnTo>
                  <a:lnTo>
                    <a:pt x="98" y="308"/>
                  </a:lnTo>
                  <a:lnTo>
                    <a:pt x="122" y="293"/>
                  </a:lnTo>
                  <a:lnTo>
                    <a:pt x="141" y="279"/>
                  </a:lnTo>
                  <a:lnTo>
                    <a:pt x="153" y="269"/>
                  </a:lnTo>
                  <a:lnTo>
                    <a:pt x="156" y="266"/>
                  </a:lnTo>
                  <a:lnTo>
                    <a:pt x="156" y="263"/>
                  </a:lnTo>
                  <a:lnTo>
                    <a:pt x="150" y="263"/>
                  </a:lnTo>
                  <a:lnTo>
                    <a:pt x="135" y="268"/>
                  </a:lnTo>
                  <a:lnTo>
                    <a:pt x="114" y="278"/>
                  </a:lnTo>
                  <a:lnTo>
                    <a:pt x="89" y="292"/>
                  </a:lnTo>
                  <a:lnTo>
                    <a:pt x="47" y="320"/>
                  </a:lnTo>
                  <a:lnTo>
                    <a:pt x="35" y="329"/>
                  </a:lnTo>
                  <a:lnTo>
                    <a:pt x="33" y="333"/>
                  </a:lnTo>
                  <a:lnTo>
                    <a:pt x="33" y="335"/>
                  </a:lnTo>
                  <a:close/>
                  <a:moveTo>
                    <a:pt x="195" y="249"/>
                  </a:moveTo>
                  <a:lnTo>
                    <a:pt x="200" y="251"/>
                  </a:lnTo>
                  <a:lnTo>
                    <a:pt x="205" y="252"/>
                  </a:lnTo>
                  <a:lnTo>
                    <a:pt x="211" y="251"/>
                  </a:lnTo>
                  <a:lnTo>
                    <a:pt x="216" y="249"/>
                  </a:lnTo>
                  <a:lnTo>
                    <a:pt x="219" y="243"/>
                  </a:lnTo>
                  <a:lnTo>
                    <a:pt x="221" y="238"/>
                  </a:lnTo>
                  <a:lnTo>
                    <a:pt x="219" y="232"/>
                  </a:lnTo>
                  <a:lnTo>
                    <a:pt x="216" y="227"/>
                  </a:lnTo>
                  <a:lnTo>
                    <a:pt x="211" y="224"/>
                  </a:lnTo>
                  <a:lnTo>
                    <a:pt x="205" y="222"/>
                  </a:lnTo>
                  <a:lnTo>
                    <a:pt x="200" y="224"/>
                  </a:lnTo>
                  <a:lnTo>
                    <a:pt x="195" y="226"/>
                  </a:lnTo>
                  <a:lnTo>
                    <a:pt x="192" y="232"/>
                  </a:lnTo>
                  <a:lnTo>
                    <a:pt x="191" y="238"/>
                  </a:lnTo>
                  <a:lnTo>
                    <a:pt x="192" y="243"/>
                  </a:lnTo>
                  <a:lnTo>
                    <a:pt x="195" y="249"/>
                  </a:lnTo>
                  <a:close/>
                  <a:moveTo>
                    <a:pt x="195" y="119"/>
                  </a:moveTo>
                  <a:lnTo>
                    <a:pt x="199" y="169"/>
                  </a:lnTo>
                  <a:lnTo>
                    <a:pt x="201" y="185"/>
                  </a:lnTo>
                  <a:lnTo>
                    <a:pt x="205" y="191"/>
                  </a:lnTo>
                  <a:lnTo>
                    <a:pt x="209" y="185"/>
                  </a:lnTo>
                  <a:lnTo>
                    <a:pt x="212" y="169"/>
                  </a:lnTo>
                  <a:lnTo>
                    <a:pt x="215" y="119"/>
                  </a:lnTo>
                  <a:lnTo>
                    <a:pt x="212" y="67"/>
                  </a:lnTo>
                  <a:lnTo>
                    <a:pt x="209" y="52"/>
                  </a:lnTo>
                  <a:lnTo>
                    <a:pt x="206" y="46"/>
                  </a:lnTo>
                  <a:lnTo>
                    <a:pt x="201" y="52"/>
                  </a:lnTo>
                  <a:lnTo>
                    <a:pt x="199" y="67"/>
                  </a:lnTo>
                  <a:lnTo>
                    <a:pt x="197" y="91"/>
                  </a:lnTo>
                  <a:lnTo>
                    <a:pt x="195" y="119"/>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3" name="Rectangle 106"/>
            <p:cNvSpPr>
              <a:spLocks noChangeArrowheads="1"/>
            </p:cNvSpPr>
            <p:nvPr userDrawn="1"/>
          </p:nvSpPr>
          <p:spPr bwMode="auto">
            <a:xfrm>
              <a:off x="7861300" y="6477001"/>
              <a:ext cx="9525" cy="1588"/>
            </a:xfrm>
            <a:prstGeom prst="rect">
              <a:avLst/>
            </a:prstGeom>
            <a:solidFill>
              <a:srgbClr val="B4B4B4"/>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4" name="Freeform 107"/>
            <p:cNvSpPr>
              <a:spLocks/>
            </p:cNvSpPr>
            <p:nvPr userDrawn="1"/>
          </p:nvSpPr>
          <p:spPr bwMode="auto">
            <a:xfrm>
              <a:off x="7866063" y="6410326"/>
              <a:ext cx="9525" cy="65088"/>
            </a:xfrm>
            <a:custGeom>
              <a:avLst/>
              <a:gdLst/>
              <a:ahLst/>
              <a:cxnLst>
                <a:cxn ang="0">
                  <a:pos x="2" y="0"/>
                </a:cxn>
                <a:cxn ang="0">
                  <a:pos x="0" y="203"/>
                </a:cxn>
                <a:cxn ang="0">
                  <a:pos x="26" y="203"/>
                </a:cxn>
                <a:cxn ang="0">
                  <a:pos x="27" y="0"/>
                </a:cxn>
                <a:cxn ang="0">
                  <a:pos x="2" y="0"/>
                </a:cxn>
              </a:cxnLst>
              <a:rect l="0" t="0" r="r" b="b"/>
              <a:pathLst>
                <a:path w="27" h="203">
                  <a:moveTo>
                    <a:pt x="2" y="0"/>
                  </a:moveTo>
                  <a:lnTo>
                    <a:pt x="0" y="203"/>
                  </a:lnTo>
                  <a:lnTo>
                    <a:pt x="26" y="203"/>
                  </a:lnTo>
                  <a:lnTo>
                    <a:pt x="27" y="0"/>
                  </a:lnTo>
                  <a:lnTo>
                    <a:pt x="2"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5" name="Freeform 108"/>
            <p:cNvSpPr>
              <a:spLocks/>
            </p:cNvSpPr>
            <p:nvPr userDrawn="1"/>
          </p:nvSpPr>
          <p:spPr bwMode="auto">
            <a:xfrm>
              <a:off x="7807325" y="6242051"/>
              <a:ext cx="131763" cy="244475"/>
            </a:xfrm>
            <a:custGeom>
              <a:avLst/>
              <a:gdLst/>
              <a:ahLst/>
              <a:cxnLst>
                <a:cxn ang="0">
                  <a:pos x="376" y="315"/>
                </a:cxn>
                <a:cxn ang="0">
                  <a:pos x="416" y="351"/>
                </a:cxn>
                <a:cxn ang="0">
                  <a:pos x="418" y="362"/>
                </a:cxn>
                <a:cxn ang="0">
                  <a:pos x="409" y="365"/>
                </a:cxn>
                <a:cxn ang="0">
                  <a:pos x="388" y="361"/>
                </a:cxn>
                <a:cxn ang="0">
                  <a:pos x="316" y="328"/>
                </a:cxn>
                <a:cxn ang="0">
                  <a:pos x="281" y="306"/>
                </a:cxn>
                <a:cxn ang="0">
                  <a:pos x="232" y="266"/>
                </a:cxn>
                <a:cxn ang="0">
                  <a:pos x="227" y="296"/>
                </a:cxn>
                <a:cxn ang="0">
                  <a:pos x="234" y="520"/>
                </a:cxn>
                <a:cxn ang="0">
                  <a:pos x="240" y="734"/>
                </a:cxn>
                <a:cxn ang="0">
                  <a:pos x="252" y="746"/>
                </a:cxn>
                <a:cxn ang="0">
                  <a:pos x="265" y="768"/>
                </a:cxn>
                <a:cxn ang="0">
                  <a:pos x="160" y="746"/>
                </a:cxn>
                <a:cxn ang="0">
                  <a:pos x="171" y="734"/>
                </a:cxn>
                <a:cxn ang="0">
                  <a:pos x="183" y="520"/>
                </a:cxn>
                <a:cxn ang="0">
                  <a:pos x="199" y="269"/>
                </a:cxn>
                <a:cxn ang="0">
                  <a:pos x="191" y="262"/>
                </a:cxn>
                <a:cxn ang="0">
                  <a:pos x="147" y="297"/>
                </a:cxn>
                <a:cxn ang="0">
                  <a:pos x="71" y="341"/>
                </a:cxn>
                <a:cxn ang="0">
                  <a:pos x="12" y="363"/>
                </a:cxn>
                <a:cxn ang="0">
                  <a:pos x="0" y="359"/>
                </a:cxn>
                <a:cxn ang="0">
                  <a:pos x="4" y="349"/>
                </a:cxn>
                <a:cxn ang="0">
                  <a:pos x="52" y="306"/>
                </a:cxn>
                <a:cxn ang="0">
                  <a:pos x="128" y="263"/>
                </a:cxn>
                <a:cxn ang="0">
                  <a:pos x="183" y="243"/>
                </a:cxn>
                <a:cxn ang="0">
                  <a:pos x="192" y="221"/>
                </a:cxn>
                <a:cxn ang="0">
                  <a:pos x="195" y="197"/>
                </a:cxn>
                <a:cxn ang="0">
                  <a:pos x="189" y="115"/>
                </a:cxn>
                <a:cxn ang="0">
                  <a:pos x="197" y="34"/>
                </a:cxn>
                <a:cxn ang="0">
                  <a:pos x="207" y="1"/>
                </a:cxn>
                <a:cxn ang="0">
                  <a:pos x="216" y="1"/>
                </a:cxn>
                <a:cxn ang="0">
                  <a:pos x="227" y="34"/>
                </a:cxn>
                <a:cxn ang="0">
                  <a:pos x="233" y="115"/>
                </a:cxn>
                <a:cxn ang="0">
                  <a:pos x="227" y="197"/>
                </a:cxn>
                <a:cxn ang="0">
                  <a:pos x="233" y="221"/>
                </a:cxn>
                <a:cxn ang="0">
                  <a:pos x="241" y="243"/>
                </a:cxn>
                <a:cxn ang="0">
                  <a:pos x="259" y="250"/>
                </a:cxn>
                <a:cxn ang="0">
                  <a:pos x="310" y="274"/>
                </a:cxn>
              </a:cxnLst>
              <a:rect l="0" t="0" r="r" b="b"/>
              <a:pathLst>
                <a:path w="419" h="768">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6" name="Freeform 109"/>
            <p:cNvSpPr>
              <a:spLocks/>
            </p:cNvSpPr>
            <p:nvPr userDrawn="1"/>
          </p:nvSpPr>
          <p:spPr bwMode="auto">
            <a:xfrm>
              <a:off x="7889875" y="6324601"/>
              <a:ext cx="38100" cy="25400"/>
            </a:xfrm>
            <a:custGeom>
              <a:avLst/>
              <a:gdLst/>
              <a:ahLst/>
              <a:cxnLst>
                <a:cxn ang="0">
                  <a:pos x="20" y="5"/>
                </a:cxn>
                <a:cxn ang="0">
                  <a:pos x="8" y="1"/>
                </a:cxn>
                <a:cxn ang="0">
                  <a:pos x="3" y="0"/>
                </a:cxn>
                <a:cxn ang="0">
                  <a:pos x="0" y="1"/>
                </a:cxn>
                <a:cxn ang="0">
                  <a:pos x="0" y="5"/>
                </a:cxn>
                <a:cxn ang="0">
                  <a:pos x="4" y="9"/>
                </a:cxn>
                <a:cxn ang="0">
                  <a:pos x="18" y="21"/>
                </a:cxn>
                <a:cxn ang="0">
                  <a:pos x="45" y="38"/>
                </a:cxn>
                <a:cxn ang="0">
                  <a:pos x="73" y="55"/>
                </a:cxn>
                <a:cxn ang="0">
                  <a:pos x="98" y="68"/>
                </a:cxn>
                <a:cxn ang="0">
                  <a:pos x="115" y="74"/>
                </a:cxn>
                <a:cxn ang="0">
                  <a:pos x="121" y="76"/>
                </a:cxn>
                <a:cxn ang="0">
                  <a:pos x="123" y="74"/>
                </a:cxn>
                <a:cxn ang="0">
                  <a:pos x="123" y="71"/>
                </a:cxn>
                <a:cxn ang="0">
                  <a:pos x="121" y="68"/>
                </a:cxn>
                <a:cxn ang="0">
                  <a:pos x="117" y="65"/>
                </a:cxn>
                <a:cxn ang="0">
                  <a:pos x="102" y="51"/>
                </a:cxn>
                <a:cxn ang="0">
                  <a:pos x="85" y="41"/>
                </a:cxn>
                <a:cxn ang="0">
                  <a:pos x="43" y="17"/>
                </a:cxn>
                <a:cxn ang="0">
                  <a:pos x="20" y="5"/>
                </a:cxn>
              </a:cxnLst>
              <a:rect l="0" t="0" r="r" b="b"/>
              <a:pathLst>
                <a:path w="123" h="76">
                  <a:moveTo>
                    <a:pt x="20" y="5"/>
                  </a:moveTo>
                  <a:lnTo>
                    <a:pt x="8" y="1"/>
                  </a:lnTo>
                  <a:lnTo>
                    <a:pt x="3" y="0"/>
                  </a:lnTo>
                  <a:lnTo>
                    <a:pt x="0" y="1"/>
                  </a:lnTo>
                  <a:lnTo>
                    <a:pt x="0" y="5"/>
                  </a:lnTo>
                  <a:lnTo>
                    <a:pt x="4" y="9"/>
                  </a:lnTo>
                  <a:lnTo>
                    <a:pt x="18" y="21"/>
                  </a:lnTo>
                  <a:lnTo>
                    <a:pt x="45" y="38"/>
                  </a:lnTo>
                  <a:lnTo>
                    <a:pt x="73" y="55"/>
                  </a:lnTo>
                  <a:lnTo>
                    <a:pt x="98" y="68"/>
                  </a:lnTo>
                  <a:lnTo>
                    <a:pt x="115" y="74"/>
                  </a:lnTo>
                  <a:lnTo>
                    <a:pt x="121" y="76"/>
                  </a:lnTo>
                  <a:lnTo>
                    <a:pt x="123" y="74"/>
                  </a:lnTo>
                  <a:lnTo>
                    <a:pt x="123" y="71"/>
                  </a:lnTo>
                  <a:lnTo>
                    <a:pt x="121" y="68"/>
                  </a:lnTo>
                  <a:lnTo>
                    <a:pt x="117" y="65"/>
                  </a:lnTo>
                  <a:lnTo>
                    <a:pt x="102" y="51"/>
                  </a:lnTo>
                  <a:lnTo>
                    <a:pt x="85" y="41"/>
                  </a:lnTo>
                  <a:lnTo>
                    <a:pt x="43" y="17"/>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7" name="Freeform 110"/>
            <p:cNvSpPr>
              <a:spLocks/>
            </p:cNvSpPr>
            <p:nvPr userDrawn="1"/>
          </p:nvSpPr>
          <p:spPr bwMode="auto">
            <a:xfrm>
              <a:off x="7816850" y="6326188"/>
              <a:ext cx="39688" cy="22225"/>
            </a:xfrm>
            <a:custGeom>
              <a:avLst/>
              <a:gdLst/>
              <a:ahLst/>
              <a:cxnLst>
                <a:cxn ang="0">
                  <a:pos x="0" y="72"/>
                </a:cxn>
                <a:cxn ang="0">
                  <a:pos x="6" y="72"/>
                </a:cxn>
                <a:cxn ang="0">
                  <a:pos x="22" y="68"/>
                </a:cxn>
                <a:cxn ang="0">
                  <a:pos x="65" y="45"/>
                </a:cxn>
                <a:cxn ang="0">
                  <a:pos x="89" y="30"/>
                </a:cxn>
                <a:cxn ang="0">
                  <a:pos x="108" y="16"/>
                </a:cxn>
                <a:cxn ang="0">
                  <a:pos x="120" y="6"/>
                </a:cxn>
                <a:cxn ang="0">
                  <a:pos x="123" y="3"/>
                </a:cxn>
                <a:cxn ang="0">
                  <a:pos x="123" y="0"/>
                </a:cxn>
                <a:cxn ang="0">
                  <a:pos x="117" y="0"/>
                </a:cxn>
                <a:cxn ang="0">
                  <a:pos x="102" y="5"/>
                </a:cxn>
                <a:cxn ang="0">
                  <a:pos x="81" y="15"/>
                </a:cxn>
                <a:cxn ang="0">
                  <a:pos x="56" y="29"/>
                </a:cxn>
                <a:cxn ang="0">
                  <a:pos x="14" y="57"/>
                </a:cxn>
                <a:cxn ang="0">
                  <a:pos x="2" y="66"/>
                </a:cxn>
                <a:cxn ang="0">
                  <a:pos x="0" y="70"/>
                </a:cxn>
                <a:cxn ang="0">
                  <a:pos x="0" y="72"/>
                </a:cxn>
              </a:cxnLst>
              <a:rect l="0" t="0" r="r" b="b"/>
              <a:pathLst>
                <a:path w="123" h="72">
                  <a:moveTo>
                    <a:pt x="0" y="72"/>
                  </a:moveTo>
                  <a:lnTo>
                    <a:pt x="6" y="72"/>
                  </a:lnTo>
                  <a:lnTo>
                    <a:pt x="22" y="68"/>
                  </a:lnTo>
                  <a:lnTo>
                    <a:pt x="65" y="45"/>
                  </a:lnTo>
                  <a:lnTo>
                    <a:pt x="89" y="30"/>
                  </a:lnTo>
                  <a:lnTo>
                    <a:pt x="108" y="16"/>
                  </a:lnTo>
                  <a:lnTo>
                    <a:pt x="120" y="6"/>
                  </a:lnTo>
                  <a:lnTo>
                    <a:pt x="123" y="3"/>
                  </a:lnTo>
                  <a:lnTo>
                    <a:pt x="123" y="0"/>
                  </a:lnTo>
                  <a:lnTo>
                    <a:pt x="117" y="0"/>
                  </a:lnTo>
                  <a:lnTo>
                    <a:pt x="102" y="5"/>
                  </a:lnTo>
                  <a:lnTo>
                    <a:pt x="81" y="15"/>
                  </a:lnTo>
                  <a:lnTo>
                    <a:pt x="56" y="29"/>
                  </a:lnTo>
                  <a:lnTo>
                    <a:pt x="14" y="57"/>
                  </a:lnTo>
                  <a:lnTo>
                    <a:pt x="2" y="66"/>
                  </a:lnTo>
                  <a:lnTo>
                    <a:pt x="0" y="70"/>
                  </a:lnTo>
                  <a:lnTo>
                    <a:pt x="0" y="72"/>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8" name="Freeform 111"/>
            <p:cNvSpPr>
              <a:spLocks/>
            </p:cNvSpPr>
            <p:nvPr userDrawn="1"/>
          </p:nvSpPr>
          <p:spPr bwMode="auto">
            <a:xfrm>
              <a:off x="7867650" y="6313488"/>
              <a:ext cx="9525" cy="9525"/>
            </a:xfrm>
            <a:custGeom>
              <a:avLst/>
              <a:gdLst/>
              <a:ahLst/>
              <a:cxnLst>
                <a:cxn ang="0">
                  <a:pos x="4" y="27"/>
                </a:cxn>
                <a:cxn ang="0">
                  <a:pos x="9" y="29"/>
                </a:cxn>
                <a:cxn ang="0">
                  <a:pos x="14" y="30"/>
                </a:cxn>
                <a:cxn ang="0">
                  <a:pos x="20" y="29"/>
                </a:cxn>
                <a:cxn ang="0">
                  <a:pos x="25" y="27"/>
                </a:cxn>
                <a:cxn ang="0">
                  <a:pos x="28" y="21"/>
                </a:cxn>
                <a:cxn ang="0">
                  <a:pos x="30" y="16"/>
                </a:cxn>
                <a:cxn ang="0">
                  <a:pos x="28" y="10"/>
                </a:cxn>
                <a:cxn ang="0">
                  <a:pos x="25" y="5"/>
                </a:cxn>
                <a:cxn ang="0">
                  <a:pos x="20" y="2"/>
                </a:cxn>
                <a:cxn ang="0">
                  <a:pos x="14" y="0"/>
                </a:cxn>
                <a:cxn ang="0">
                  <a:pos x="9" y="2"/>
                </a:cxn>
                <a:cxn ang="0">
                  <a:pos x="4" y="4"/>
                </a:cxn>
                <a:cxn ang="0">
                  <a:pos x="1" y="10"/>
                </a:cxn>
                <a:cxn ang="0">
                  <a:pos x="0" y="16"/>
                </a:cxn>
                <a:cxn ang="0">
                  <a:pos x="1" y="21"/>
                </a:cxn>
                <a:cxn ang="0">
                  <a:pos x="4" y="27"/>
                </a:cxn>
              </a:cxnLst>
              <a:rect l="0" t="0" r="r" b="b"/>
              <a:pathLst>
                <a:path w="30" h="30">
                  <a:moveTo>
                    <a:pt x="4" y="27"/>
                  </a:moveTo>
                  <a:lnTo>
                    <a:pt x="9" y="29"/>
                  </a:lnTo>
                  <a:lnTo>
                    <a:pt x="14" y="30"/>
                  </a:lnTo>
                  <a:lnTo>
                    <a:pt x="20" y="29"/>
                  </a:lnTo>
                  <a:lnTo>
                    <a:pt x="25" y="27"/>
                  </a:lnTo>
                  <a:lnTo>
                    <a:pt x="28" y="21"/>
                  </a:lnTo>
                  <a:lnTo>
                    <a:pt x="30" y="16"/>
                  </a:lnTo>
                  <a:lnTo>
                    <a:pt x="28" y="10"/>
                  </a:lnTo>
                  <a:lnTo>
                    <a:pt x="25" y="5"/>
                  </a:lnTo>
                  <a:lnTo>
                    <a:pt x="20" y="2"/>
                  </a:lnTo>
                  <a:lnTo>
                    <a:pt x="14" y="0"/>
                  </a:lnTo>
                  <a:lnTo>
                    <a:pt x="9" y="2"/>
                  </a:lnTo>
                  <a:lnTo>
                    <a:pt x="4" y="4"/>
                  </a:lnTo>
                  <a:lnTo>
                    <a:pt x="1" y="10"/>
                  </a:lnTo>
                  <a:lnTo>
                    <a:pt x="0" y="16"/>
                  </a:lnTo>
                  <a:lnTo>
                    <a:pt x="1" y="21"/>
                  </a:lnTo>
                  <a:lnTo>
                    <a:pt x="4"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9" name="Freeform 112"/>
            <p:cNvSpPr>
              <a:spLocks/>
            </p:cNvSpPr>
            <p:nvPr userDrawn="1"/>
          </p:nvSpPr>
          <p:spPr bwMode="auto">
            <a:xfrm>
              <a:off x="7869238" y="6256338"/>
              <a:ext cx="6350" cy="46038"/>
            </a:xfrm>
            <a:custGeom>
              <a:avLst/>
              <a:gdLst/>
              <a:ahLst/>
              <a:cxnLst>
                <a:cxn ang="0">
                  <a:pos x="0" y="73"/>
                </a:cxn>
                <a:cxn ang="0">
                  <a:pos x="4" y="123"/>
                </a:cxn>
                <a:cxn ang="0">
                  <a:pos x="6" y="139"/>
                </a:cxn>
                <a:cxn ang="0">
                  <a:pos x="10" y="145"/>
                </a:cxn>
                <a:cxn ang="0">
                  <a:pos x="14" y="139"/>
                </a:cxn>
                <a:cxn ang="0">
                  <a:pos x="17" y="123"/>
                </a:cxn>
                <a:cxn ang="0">
                  <a:pos x="20" y="73"/>
                </a:cxn>
                <a:cxn ang="0">
                  <a:pos x="17" y="21"/>
                </a:cxn>
                <a:cxn ang="0">
                  <a:pos x="14" y="6"/>
                </a:cxn>
                <a:cxn ang="0">
                  <a:pos x="11" y="0"/>
                </a:cxn>
                <a:cxn ang="0">
                  <a:pos x="6" y="6"/>
                </a:cxn>
                <a:cxn ang="0">
                  <a:pos x="4" y="21"/>
                </a:cxn>
                <a:cxn ang="0">
                  <a:pos x="2" y="45"/>
                </a:cxn>
                <a:cxn ang="0">
                  <a:pos x="0" y="73"/>
                </a:cxn>
              </a:cxnLst>
              <a:rect l="0" t="0" r="r" b="b"/>
              <a:pathLst>
                <a:path w="20" h="145">
                  <a:moveTo>
                    <a:pt x="0" y="73"/>
                  </a:moveTo>
                  <a:lnTo>
                    <a:pt x="4" y="123"/>
                  </a:lnTo>
                  <a:lnTo>
                    <a:pt x="6" y="139"/>
                  </a:lnTo>
                  <a:lnTo>
                    <a:pt x="10" y="145"/>
                  </a:lnTo>
                  <a:lnTo>
                    <a:pt x="14" y="139"/>
                  </a:lnTo>
                  <a:lnTo>
                    <a:pt x="17" y="123"/>
                  </a:lnTo>
                  <a:lnTo>
                    <a:pt x="20" y="73"/>
                  </a:lnTo>
                  <a:lnTo>
                    <a:pt x="17" y="21"/>
                  </a:lnTo>
                  <a:lnTo>
                    <a:pt x="14" y="6"/>
                  </a:lnTo>
                  <a:lnTo>
                    <a:pt x="11" y="0"/>
                  </a:lnTo>
                  <a:lnTo>
                    <a:pt x="6" y="6"/>
                  </a:lnTo>
                  <a:lnTo>
                    <a:pt x="4" y="21"/>
                  </a:lnTo>
                  <a:lnTo>
                    <a:pt x="2" y="45"/>
                  </a:lnTo>
                  <a:lnTo>
                    <a:pt x="0" y="73"/>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grpSp>
    </p:spTree>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Lst>
  <p:hf hdr="0" ftr="0" dt="0"/>
  <p:txStyles>
    <p:titleStyle>
      <a:lvl1pPr algn="l" defTabSz="914400" rtl="0" eaLnBrk="1" latinLnBrk="0" hangingPunct="1">
        <a:lnSpc>
          <a:spcPct val="80000"/>
        </a:lnSpc>
        <a:spcBef>
          <a:spcPct val="0"/>
        </a:spcBef>
        <a:spcAft>
          <a:spcPts val="0"/>
        </a:spcAft>
        <a:buNone/>
        <a:defRPr sz="2400" b="1"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lang="en-US" sz="2400" b="1" u="none" kern="1200" dirty="0" smtClean="0">
          <a:solidFill>
            <a:schemeClr val="tx1"/>
          </a:solidFill>
          <a:latin typeface="Calibri" pitchFamily="34" charset="0"/>
          <a:ea typeface="+mn-ea"/>
          <a:cs typeface="Arial" charset="0"/>
        </a:defRPr>
      </a:lvl1pPr>
      <a:lvl2pPr marL="347472" indent="-285750" algn="l" defTabSz="914400" rtl="0" eaLnBrk="1" latinLnBrk="0" hangingPunct="1">
        <a:spcBef>
          <a:spcPct val="20000"/>
        </a:spcBef>
        <a:buClr>
          <a:schemeClr val="tx1"/>
        </a:buClr>
        <a:buFont typeface="Arial" pitchFamily="34" charset="0"/>
        <a:buChar char="•"/>
        <a:defRPr lang="en-US" sz="2400" b="1" u="none" kern="1200" dirty="0" smtClean="0">
          <a:solidFill>
            <a:schemeClr val="tx1"/>
          </a:solidFill>
          <a:latin typeface="Calibri" pitchFamily="34" charset="0"/>
          <a:ea typeface="+mn-ea"/>
          <a:cs typeface="Arial" charset="0"/>
        </a:defRPr>
      </a:lvl2pPr>
      <a:lvl3pPr marL="740664" indent="-228600" algn="l" defTabSz="914400" rtl="0" eaLnBrk="1" latinLnBrk="0" hangingPunct="1">
        <a:spcBef>
          <a:spcPct val="20000"/>
        </a:spcBef>
        <a:buClr>
          <a:schemeClr val="tx1"/>
        </a:buClr>
        <a:buFont typeface="Arial" pitchFamily="34" charset="0"/>
        <a:buChar char="•"/>
        <a:defRPr sz="2400" kern="1200">
          <a:solidFill>
            <a:schemeClr val="tx1"/>
          </a:solidFill>
          <a:latin typeface="+mn-lt"/>
          <a:ea typeface="+mn-ea"/>
          <a:cs typeface="+mn-cs"/>
        </a:defRPr>
      </a:lvl3pPr>
      <a:lvl4pPr marL="11430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4pPr>
      <a:lvl5pPr marL="16002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90114" name="think-cell Slide" r:id="rId13" imgW="270" imgH="270" progId="">
              <p:embed/>
            </p:oleObj>
          </a:graphicData>
        </a:graphic>
      </p:graphicFrame>
      <p:sp>
        <p:nvSpPr>
          <p:cNvPr id="419" name="10 Rectángulo"/>
          <p:cNvSpPr/>
          <p:nvPr/>
        </p:nvSpPr>
        <p:spPr bwMode="auto">
          <a:xfrm flipV="1">
            <a:off x="5791200" y="6658824"/>
            <a:ext cx="3352801" cy="22656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420" name="10 Rectángulo"/>
          <p:cNvSpPr/>
          <p:nvPr/>
        </p:nvSpPr>
        <p:spPr bwMode="auto">
          <a:xfrm flipV="1">
            <a:off x="1" y="6552728"/>
            <a:ext cx="8153399" cy="332656"/>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pic>
        <p:nvPicPr>
          <p:cNvPr id="421" name="Picture 3"/>
          <p:cNvPicPr>
            <a:picLocks noChangeAspect="1" noChangeArrowheads="1"/>
          </p:cNvPicPr>
          <p:nvPr/>
        </p:nvPicPr>
        <p:blipFill>
          <a:blip r:embed="rId14" cstate="screen"/>
          <a:srcRect/>
          <a:stretch>
            <a:fillRect/>
          </a:stretch>
        </p:blipFill>
        <p:spPr bwMode="auto">
          <a:xfrm>
            <a:off x="323528" y="6641307"/>
            <a:ext cx="613835" cy="155498"/>
          </a:xfrm>
          <a:prstGeom prst="rect">
            <a:avLst/>
          </a:prstGeom>
          <a:noFill/>
          <a:ln w="9525">
            <a:noFill/>
            <a:miter lim="800000"/>
            <a:headEnd/>
            <a:tailEnd/>
          </a:ln>
        </p:spPr>
      </p:pic>
      <p:sp>
        <p:nvSpPr>
          <p:cNvPr id="60" name="59 Rectángulo"/>
          <p:cNvSpPr/>
          <p:nvPr/>
        </p:nvSpPr>
        <p:spPr bwMode="auto">
          <a:xfrm>
            <a:off x="0" y="0"/>
            <a:ext cx="9144000" cy="990600"/>
          </a:xfrm>
          <a:prstGeom prst="rect">
            <a:avLst/>
          </a:prstGeom>
          <a:gradFill flip="none" rotWithShape="1">
            <a:gsLst>
              <a:gs pos="0">
                <a:schemeClr val="tx2">
                  <a:lumMod val="50000"/>
                  <a:shade val="30000"/>
                  <a:satMod val="115000"/>
                </a:schemeClr>
              </a:gs>
              <a:gs pos="50000">
                <a:schemeClr val="tx2">
                  <a:lumMod val="50000"/>
                  <a:shade val="67500"/>
                  <a:satMod val="115000"/>
                </a:schemeClr>
              </a:gs>
              <a:gs pos="100000">
                <a:schemeClr val="tx2">
                  <a:lumMod val="5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000000"/>
              </a:solidFill>
              <a:latin typeface="Arial" charset="0"/>
              <a:cs typeface="Arial" charset="0"/>
            </a:endParaRPr>
          </a:p>
        </p:txBody>
      </p:sp>
      <p:sp>
        <p:nvSpPr>
          <p:cNvPr id="56" name="Freeform 12"/>
          <p:cNvSpPr>
            <a:spLocks/>
          </p:cNvSpPr>
          <p:nvPr/>
        </p:nvSpPr>
        <p:spPr bwMode="auto">
          <a:xfrm>
            <a:off x="0" y="228600"/>
            <a:ext cx="6949440" cy="769957"/>
          </a:xfrm>
          <a:custGeom>
            <a:avLst/>
            <a:gdLst/>
            <a:ahLst/>
            <a:cxnLst>
              <a:cxn ang="0">
                <a:pos x="455" y="0"/>
              </a:cxn>
              <a:cxn ang="0">
                <a:pos x="1362" y="0"/>
              </a:cxn>
              <a:cxn ang="0">
                <a:pos x="2269" y="0"/>
              </a:cxn>
              <a:cxn ang="0">
                <a:pos x="3176" y="0"/>
              </a:cxn>
              <a:cxn ang="0">
                <a:pos x="4083" y="0"/>
              </a:cxn>
              <a:cxn ang="0">
                <a:pos x="4990" y="0"/>
              </a:cxn>
              <a:cxn ang="0">
                <a:pos x="5897" y="0"/>
              </a:cxn>
              <a:cxn ang="0">
                <a:pos x="6805" y="0"/>
              </a:cxn>
              <a:cxn ang="0">
                <a:pos x="7712" y="0"/>
              </a:cxn>
              <a:cxn ang="0">
                <a:pos x="8619" y="0"/>
              </a:cxn>
              <a:cxn ang="0">
                <a:pos x="9526" y="0"/>
              </a:cxn>
              <a:cxn ang="0">
                <a:pos x="10434" y="0"/>
              </a:cxn>
              <a:cxn ang="0">
                <a:pos x="11341" y="0"/>
              </a:cxn>
              <a:cxn ang="0">
                <a:pos x="12248" y="0"/>
              </a:cxn>
              <a:cxn ang="0">
                <a:pos x="13155" y="0"/>
              </a:cxn>
              <a:cxn ang="0">
                <a:pos x="14063" y="0"/>
              </a:cxn>
              <a:cxn ang="0">
                <a:pos x="15163" y="647"/>
              </a:cxn>
              <a:cxn ang="0">
                <a:pos x="16456" y="1939"/>
              </a:cxn>
              <a:cxn ang="0">
                <a:pos x="16568" y="2586"/>
              </a:cxn>
              <a:cxn ang="0">
                <a:pos x="15499" y="2586"/>
              </a:cxn>
              <a:cxn ang="0">
                <a:pos x="14430" y="2586"/>
              </a:cxn>
              <a:cxn ang="0">
                <a:pos x="13361" y="2586"/>
              </a:cxn>
              <a:cxn ang="0">
                <a:pos x="12292" y="2586"/>
              </a:cxn>
              <a:cxn ang="0">
                <a:pos x="11223" y="2586"/>
              </a:cxn>
              <a:cxn ang="0">
                <a:pos x="10153" y="2586"/>
              </a:cxn>
              <a:cxn ang="0">
                <a:pos x="9085" y="2586"/>
              </a:cxn>
              <a:cxn ang="0">
                <a:pos x="8016" y="2586"/>
              </a:cxn>
              <a:cxn ang="0">
                <a:pos x="6947" y="2586"/>
              </a:cxn>
              <a:cxn ang="0">
                <a:pos x="5878" y="2586"/>
              </a:cxn>
              <a:cxn ang="0">
                <a:pos x="4809" y="2586"/>
              </a:cxn>
              <a:cxn ang="0">
                <a:pos x="3740" y="2586"/>
              </a:cxn>
              <a:cxn ang="0">
                <a:pos x="2671" y="2586"/>
              </a:cxn>
              <a:cxn ang="0">
                <a:pos x="1602" y="2586"/>
              </a:cxn>
              <a:cxn ang="0">
                <a:pos x="534" y="2586"/>
              </a:cxn>
              <a:cxn ang="0">
                <a:pos x="0" y="1939"/>
              </a:cxn>
              <a:cxn ang="0">
                <a:pos x="1" y="647"/>
              </a:cxn>
            </a:cxnLst>
            <a:rect l="0" t="0" r="r" b="b"/>
            <a:pathLst>
              <a:path w="17103" h="2586">
                <a:moveTo>
                  <a:pt x="2" y="0"/>
                </a:moveTo>
                <a:lnTo>
                  <a:pt x="455" y="0"/>
                </a:lnTo>
                <a:lnTo>
                  <a:pt x="909" y="0"/>
                </a:lnTo>
                <a:lnTo>
                  <a:pt x="1362" y="0"/>
                </a:lnTo>
                <a:lnTo>
                  <a:pt x="1816" y="0"/>
                </a:lnTo>
                <a:lnTo>
                  <a:pt x="2269" y="0"/>
                </a:lnTo>
                <a:lnTo>
                  <a:pt x="2723" y="0"/>
                </a:lnTo>
                <a:lnTo>
                  <a:pt x="3176" y="0"/>
                </a:lnTo>
                <a:lnTo>
                  <a:pt x="3630" y="0"/>
                </a:lnTo>
                <a:lnTo>
                  <a:pt x="4083" y="0"/>
                </a:lnTo>
                <a:lnTo>
                  <a:pt x="4537" y="0"/>
                </a:lnTo>
                <a:lnTo>
                  <a:pt x="4990" y="0"/>
                </a:lnTo>
                <a:lnTo>
                  <a:pt x="5444" y="0"/>
                </a:lnTo>
                <a:lnTo>
                  <a:pt x="5897" y="0"/>
                </a:lnTo>
                <a:lnTo>
                  <a:pt x="6351" y="0"/>
                </a:lnTo>
                <a:lnTo>
                  <a:pt x="6805" y="0"/>
                </a:lnTo>
                <a:lnTo>
                  <a:pt x="7259" y="0"/>
                </a:lnTo>
                <a:lnTo>
                  <a:pt x="7712" y="0"/>
                </a:lnTo>
                <a:lnTo>
                  <a:pt x="8166" y="0"/>
                </a:lnTo>
                <a:lnTo>
                  <a:pt x="8619" y="0"/>
                </a:lnTo>
                <a:lnTo>
                  <a:pt x="9073" y="0"/>
                </a:lnTo>
                <a:lnTo>
                  <a:pt x="9526" y="0"/>
                </a:lnTo>
                <a:lnTo>
                  <a:pt x="9980" y="0"/>
                </a:lnTo>
                <a:lnTo>
                  <a:pt x="10434" y="0"/>
                </a:lnTo>
                <a:lnTo>
                  <a:pt x="10888" y="0"/>
                </a:lnTo>
                <a:lnTo>
                  <a:pt x="11341" y="0"/>
                </a:lnTo>
                <a:lnTo>
                  <a:pt x="11795" y="0"/>
                </a:lnTo>
                <a:lnTo>
                  <a:pt x="12248" y="0"/>
                </a:lnTo>
                <a:lnTo>
                  <a:pt x="12702" y="0"/>
                </a:lnTo>
                <a:lnTo>
                  <a:pt x="13155" y="0"/>
                </a:lnTo>
                <a:lnTo>
                  <a:pt x="13609" y="0"/>
                </a:lnTo>
                <a:lnTo>
                  <a:pt x="14063" y="0"/>
                </a:lnTo>
                <a:lnTo>
                  <a:pt x="14517" y="0"/>
                </a:lnTo>
                <a:lnTo>
                  <a:pt x="15163" y="647"/>
                </a:lnTo>
                <a:lnTo>
                  <a:pt x="15810" y="1293"/>
                </a:lnTo>
                <a:lnTo>
                  <a:pt x="16456" y="1939"/>
                </a:lnTo>
                <a:lnTo>
                  <a:pt x="17103" y="2586"/>
                </a:lnTo>
                <a:lnTo>
                  <a:pt x="16568" y="2586"/>
                </a:lnTo>
                <a:lnTo>
                  <a:pt x="16034" y="2586"/>
                </a:lnTo>
                <a:lnTo>
                  <a:pt x="15499" y="2586"/>
                </a:lnTo>
                <a:lnTo>
                  <a:pt x="14965" y="2586"/>
                </a:lnTo>
                <a:lnTo>
                  <a:pt x="14430" y="2586"/>
                </a:lnTo>
                <a:lnTo>
                  <a:pt x="13896" y="2586"/>
                </a:lnTo>
                <a:lnTo>
                  <a:pt x="13361" y="2586"/>
                </a:lnTo>
                <a:lnTo>
                  <a:pt x="12827" y="2586"/>
                </a:lnTo>
                <a:lnTo>
                  <a:pt x="12292" y="2586"/>
                </a:lnTo>
                <a:lnTo>
                  <a:pt x="11758" y="2586"/>
                </a:lnTo>
                <a:lnTo>
                  <a:pt x="11223" y="2586"/>
                </a:lnTo>
                <a:lnTo>
                  <a:pt x="10688" y="2586"/>
                </a:lnTo>
                <a:lnTo>
                  <a:pt x="10153" y="2586"/>
                </a:lnTo>
                <a:lnTo>
                  <a:pt x="9619" y="2586"/>
                </a:lnTo>
                <a:lnTo>
                  <a:pt x="9085" y="2586"/>
                </a:lnTo>
                <a:lnTo>
                  <a:pt x="8551" y="2586"/>
                </a:lnTo>
                <a:lnTo>
                  <a:pt x="8016" y="2586"/>
                </a:lnTo>
                <a:lnTo>
                  <a:pt x="7482" y="2586"/>
                </a:lnTo>
                <a:lnTo>
                  <a:pt x="6947" y="2586"/>
                </a:lnTo>
                <a:lnTo>
                  <a:pt x="6413" y="2586"/>
                </a:lnTo>
                <a:lnTo>
                  <a:pt x="5878" y="2586"/>
                </a:lnTo>
                <a:lnTo>
                  <a:pt x="5344" y="2586"/>
                </a:lnTo>
                <a:lnTo>
                  <a:pt x="4809" y="2586"/>
                </a:lnTo>
                <a:lnTo>
                  <a:pt x="4275" y="2586"/>
                </a:lnTo>
                <a:lnTo>
                  <a:pt x="3740" y="2586"/>
                </a:lnTo>
                <a:lnTo>
                  <a:pt x="3206" y="2586"/>
                </a:lnTo>
                <a:lnTo>
                  <a:pt x="2671" y="2586"/>
                </a:lnTo>
                <a:lnTo>
                  <a:pt x="2137" y="2586"/>
                </a:lnTo>
                <a:lnTo>
                  <a:pt x="1602" y="2586"/>
                </a:lnTo>
                <a:lnTo>
                  <a:pt x="1068" y="2586"/>
                </a:lnTo>
                <a:lnTo>
                  <a:pt x="534" y="2586"/>
                </a:lnTo>
                <a:lnTo>
                  <a:pt x="0" y="2586"/>
                </a:lnTo>
                <a:lnTo>
                  <a:pt x="0" y="1939"/>
                </a:lnTo>
                <a:lnTo>
                  <a:pt x="1" y="1293"/>
                </a:lnTo>
                <a:lnTo>
                  <a:pt x="1" y="647"/>
                </a:lnTo>
                <a:lnTo>
                  <a:pt x="2" y="0"/>
                </a:lnTo>
                <a:close/>
              </a:path>
            </a:pathLst>
          </a:custGeom>
          <a:solidFill>
            <a:srgbClr val="2E67AD">
              <a:alpha val="56078"/>
            </a:srgb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2" name="Title Placeholder 1"/>
          <p:cNvSpPr>
            <a:spLocks noGrp="1"/>
          </p:cNvSpPr>
          <p:nvPr>
            <p:ph type="title"/>
          </p:nvPr>
        </p:nvSpPr>
        <p:spPr>
          <a:xfrm>
            <a:off x="107504" y="374768"/>
            <a:ext cx="5760640" cy="562074"/>
          </a:xfrm>
          <a:prstGeom prst="rect">
            <a:avLst/>
          </a:prstGeom>
        </p:spPr>
        <p:txBody>
          <a:bodyPr vert="horz" wrap="square" lIns="91440" tIns="0" rIns="91440" bIns="0" rtlCol="0" anchor="ctr">
            <a:noAutofit/>
          </a:bodyPr>
          <a:lstStyle/>
          <a:p>
            <a:r>
              <a:rPr lang="en-US" dirty="0" smtClean="0"/>
              <a:t>Click to edit Master title style</a:t>
            </a:r>
            <a:endParaRPr lang="en-US" dirty="0"/>
          </a:p>
        </p:txBody>
      </p:sp>
      <p:sp>
        <p:nvSpPr>
          <p:cNvPr id="6" name="Slide Number Placeholder 5"/>
          <p:cNvSpPr>
            <a:spLocks noGrp="1"/>
          </p:cNvSpPr>
          <p:nvPr>
            <p:ph type="sldNum" sz="quarter" idx="4"/>
          </p:nvPr>
        </p:nvSpPr>
        <p:spPr>
          <a:xfrm>
            <a:off x="8460432" y="6642000"/>
            <a:ext cx="576064" cy="216000"/>
          </a:xfrm>
          <a:prstGeom prst="rect">
            <a:avLst/>
          </a:prstGeom>
        </p:spPr>
        <p:txBody>
          <a:bodyPr vert="horz" lIns="91440" tIns="45720" rIns="91440" bIns="45720" rtlCol="0" anchor="ctr"/>
          <a:lstStyle>
            <a:lvl1pPr algn="r">
              <a:defRPr sz="1200" b="1" u="none">
                <a:solidFill>
                  <a:schemeClr val="bg1"/>
                </a:solidFill>
                <a:latin typeface="+mn-lt"/>
              </a:defRPr>
            </a:lvl1pPr>
          </a:lstStyle>
          <a:p>
            <a:pPr fontAlgn="base">
              <a:spcBef>
                <a:spcPct val="0"/>
              </a:spcBef>
              <a:spcAft>
                <a:spcPct val="0"/>
              </a:spcAft>
            </a:pPr>
            <a:fld id="{68B69B99-4CC0-4C77-940D-C46156F4FC2E}" type="slidenum">
              <a:rPr lang="en-US" smtClean="0">
                <a:solidFill>
                  <a:srgbClr val="FFFFFF"/>
                </a:solidFill>
                <a:cs typeface="Arial" charset="0"/>
              </a:rPr>
              <a:pPr fontAlgn="base">
                <a:spcBef>
                  <a:spcPct val="0"/>
                </a:spcBef>
                <a:spcAft>
                  <a:spcPct val="0"/>
                </a:spcAft>
              </a:pPr>
              <a:t>‹#›</a:t>
            </a:fld>
            <a:endParaRPr lang="en-US" dirty="0">
              <a:solidFill>
                <a:srgbClr val="FFFFFF"/>
              </a:solidFill>
              <a:cs typeface="Arial" charset="0"/>
            </a:endParaRPr>
          </a:p>
        </p:txBody>
      </p:sp>
      <p:sp>
        <p:nvSpPr>
          <p:cNvPr id="93" name="92 Rectángulo"/>
          <p:cNvSpPr/>
          <p:nvPr/>
        </p:nvSpPr>
        <p:spPr bwMode="auto">
          <a:xfrm>
            <a:off x="0" y="980728"/>
            <a:ext cx="9144000" cy="4571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sp>
        <p:nvSpPr>
          <p:cNvPr id="61" name="Text Placeholder 60"/>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7" name="56 Rectángulo"/>
          <p:cNvSpPr/>
          <p:nvPr/>
        </p:nvSpPr>
        <p:spPr bwMode="auto">
          <a:xfrm flipV="1">
            <a:off x="0" y="914400"/>
            <a:ext cx="9143999" cy="762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nvGrpSpPr>
          <p:cNvPr id="3" name="94 Grupo"/>
          <p:cNvGrpSpPr/>
          <p:nvPr/>
        </p:nvGrpSpPr>
        <p:grpSpPr>
          <a:xfrm>
            <a:off x="7162800" y="303159"/>
            <a:ext cx="1559690" cy="382641"/>
            <a:chOff x="4860032" y="2768810"/>
            <a:chExt cx="2393756" cy="587263"/>
          </a:xfrm>
          <a:solidFill>
            <a:schemeClr val="bg1"/>
          </a:solidFill>
        </p:grpSpPr>
        <p:grpSp>
          <p:nvGrpSpPr>
            <p:cNvPr id="4" name="51 Grupo"/>
            <p:cNvGrpSpPr/>
            <p:nvPr userDrawn="1"/>
          </p:nvGrpSpPr>
          <p:grpSpPr>
            <a:xfrm>
              <a:off x="4860032" y="2780928"/>
              <a:ext cx="2393756" cy="575145"/>
              <a:chOff x="4860032" y="2780928"/>
              <a:chExt cx="2393756" cy="575145"/>
            </a:xfrm>
            <a:grpFill/>
          </p:grpSpPr>
          <p:grpSp>
            <p:nvGrpSpPr>
              <p:cNvPr id="5" name="65 Grupo"/>
              <p:cNvGrpSpPr/>
              <p:nvPr userDrawn="1"/>
            </p:nvGrpSpPr>
            <p:grpSpPr>
              <a:xfrm>
                <a:off x="5039214" y="2780928"/>
                <a:ext cx="1204546" cy="230882"/>
                <a:chOff x="6227763" y="5518150"/>
                <a:chExt cx="1449387" cy="277812"/>
              </a:xfrm>
              <a:grpFill/>
            </p:grpSpPr>
            <p:sp>
              <p:nvSpPr>
                <p:cNvPr id="122" name="Freeform 5"/>
                <p:cNvSpPr>
                  <a:spLocks/>
                </p:cNvSpPr>
                <p:nvPr userDrawn="1"/>
              </p:nvSpPr>
              <p:spPr bwMode="auto">
                <a:xfrm>
                  <a:off x="6227763" y="5518150"/>
                  <a:ext cx="265112" cy="277812"/>
                </a:xfrm>
                <a:custGeom>
                  <a:avLst/>
                  <a:gdLst/>
                  <a:ahLst/>
                  <a:cxnLst>
                    <a:cxn ang="0">
                      <a:pos x="200" y="350"/>
                    </a:cxn>
                    <a:cxn ang="0">
                      <a:pos x="238" y="341"/>
                    </a:cxn>
                    <a:cxn ang="0">
                      <a:pos x="270" y="327"/>
                    </a:cxn>
                    <a:cxn ang="0">
                      <a:pos x="297" y="305"/>
                    </a:cxn>
                    <a:cxn ang="0">
                      <a:pos x="321" y="278"/>
                    </a:cxn>
                    <a:cxn ang="0">
                      <a:pos x="252" y="214"/>
                    </a:cxn>
                    <a:cxn ang="0">
                      <a:pos x="232" y="242"/>
                    </a:cxn>
                    <a:cxn ang="0">
                      <a:pos x="216" y="254"/>
                    </a:cxn>
                    <a:cxn ang="0">
                      <a:pos x="192" y="260"/>
                    </a:cxn>
                    <a:cxn ang="0">
                      <a:pos x="161" y="260"/>
                    </a:cxn>
                    <a:cxn ang="0">
                      <a:pos x="140" y="251"/>
                    </a:cxn>
                    <a:cxn ang="0">
                      <a:pos x="123" y="237"/>
                    </a:cxn>
                    <a:cxn ang="0">
                      <a:pos x="111" y="219"/>
                    </a:cxn>
                    <a:cxn ang="0">
                      <a:pos x="104" y="195"/>
                    </a:cxn>
                    <a:cxn ang="0">
                      <a:pos x="104" y="167"/>
                    </a:cxn>
                    <a:cxn ang="0">
                      <a:pos x="108" y="142"/>
                    </a:cxn>
                    <a:cxn ang="0">
                      <a:pos x="119" y="121"/>
                    </a:cxn>
                    <a:cxn ang="0">
                      <a:pos x="134" y="106"/>
                    </a:cxn>
                    <a:cxn ang="0">
                      <a:pos x="154" y="96"/>
                    </a:cxn>
                    <a:cxn ang="0">
                      <a:pos x="176" y="93"/>
                    </a:cxn>
                    <a:cxn ang="0">
                      <a:pos x="203" y="96"/>
                    </a:cxn>
                    <a:cxn ang="0">
                      <a:pos x="223" y="103"/>
                    </a:cxn>
                    <a:cxn ang="0">
                      <a:pos x="245" y="121"/>
                    </a:cxn>
                    <a:cxn ang="0">
                      <a:pos x="319" y="59"/>
                    </a:cxn>
                    <a:cxn ang="0">
                      <a:pos x="298" y="38"/>
                    </a:cxn>
                    <a:cxn ang="0">
                      <a:pos x="275" y="23"/>
                    </a:cxn>
                    <a:cxn ang="0">
                      <a:pos x="248" y="10"/>
                    </a:cxn>
                    <a:cxn ang="0">
                      <a:pos x="207" y="0"/>
                    </a:cxn>
                    <a:cxn ang="0">
                      <a:pos x="171" y="0"/>
                    </a:cxn>
                    <a:cxn ang="0">
                      <a:pos x="136" y="5"/>
                    </a:cxn>
                    <a:cxn ang="0">
                      <a:pos x="104" y="14"/>
                    </a:cxn>
                    <a:cxn ang="0">
                      <a:pos x="73" y="30"/>
                    </a:cxn>
                    <a:cxn ang="0">
                      <a:pos x="48" y="51"/>
                    </a:cxn>
                    <a:cxn ang="0">
                      <a:pos x="27" y="78"/>
                    </a:cxn>
                    <a:cxn ang="0">
                      <a:pos x="11" y="110"/>
                    </a:cxn>
                    <a:cxn ang="0">
                      <a:pos x="1" y="149"/>
                    </a:cxn>
                    <a:cxn ang="0">
                      <a:pos x="0" y="190"/>
                    </a:cxn>
                    <a:cxn ang="0">
                      <a:pos x="7" y="233"/>
                    </a:cxn>
                    <a:cxn ang="0">
                      <a:pos x="20" y="264"/>
                    </a:cxn>
                    <a:cxn ang="0">
                      <a:pos x="36" y="292"/>
                    </a:cxn>
                    <a:cxn ang="0">
                      <a:pos x="66" y="319"/>
                    </a:cxn>
                    <a:cxn ang="0">
                      <a:pos x="102" y="338"/>
                    </a:cxn>
                    <a:cxn ang="0">
                      <a:pos x="134" y="347"/>
                    </a:cxn>
                  </a:cxnLst>
                  <a:rect l="0" t="0" r="r" b="b"/>
                  <a:pathLst>
                    <a:path w="333" h="351">
                      <a:moveTo>
                        <a:pt x="172" y="351"/>
                      </a:moveTo>
                      <a:lnTo>
                        <a:pt x="186" y="351"/>
                      </a:lnTo>
                      <a:lnTo>
                        <a:pt x="200" y="350"/>
                      </a:lnTo>
                      <a:lnTo>
                        <a:pt x="213" y="347"/>
                      </a:lnTo>
                      <a:lnTo>
                        <a:pt x="225" y="345"/>
                      </a:lnTo>
                      <a:lnTo>
                        <a:pt x="238" y="341"/>
                      </a:lnTo>
                      <a:lnTo>
                        <a:pt x="249" y="337"/>
                      </a:lnTo>
                      <a:lnTo>
                        <a:pt x="259" y="333"/>
                      </a:lnTo>
                      <a:lnTo>
                        <a:pt x="270" y="327"/>
                      </a:lnTo>
                      <a:lnTo>
                        <a:pt x="280" y="320"/>
                      </a:lnTo>
                      <a:lnTo>
                        <a:pt x="289" y="313"/>
                      </a:lnTo>
                      <a:lnTo>
                        <a:pt x="297" y="305"/>
                      </a:lnTo>
                      <a:lnTo>
                        <a:pt x="305" y="296"/>
                      </a:lnTo>
                      <a:lnTo>
                        <a:pt x="314" y="288"/>
                      </a:lnTo>
                      <a:lnTo>
                        <a:pt x="321" y="278"/>
                      </a:lnTo>
                      <a:lnTo>
                        <a:pt x="328" y="267"/>
                      </a:lnTo>
                      <a:lnTo>
                        <a:pt x="333" y="256"/>
                      </a:lnTo>
                      <a:lnTo>
                        <a:pt x="252" y="214"/>
                      </a:lnTo>
                      <a:lnTo>
                        <a:pt x="246" y="225"/>
                      </a:lnTo>
                      <a:lnTo>
                        <a:pt x="239" y="235"/>
                      </a:lnTo>
                      <a:lnTo>
                        <a:pt x="232" y="242"/>
                      </a:lnTo>
                      <a:lnTo>
                        <a:pt x="224" y="249"/>
                      </a:lnTo>
                      <a:lnTo>
                        <a:pt x="220" y="251"/>
                      </a:lnTo>
                      <a:lnTo>
                        <a:pt x="216" y="254"/>
                      </a:lnTo>
                      <a:lnTo>
                        <a:pt x="204" y="257"/>
                      </a:lnTo>
                      <a:lnTo>
                        <a:pt x="197" y="258"/>
                      </a:lnTo>
                      <a:lnTo>
                        <a:pt x="192" y="260"/>
                      </a:lnTo>
                      <a:lnTo>
                        <a:pt x="178" y="261"/>
                      </a:lnTo>
                      <a:lnTo>
                        <a:pt x="169" y="260"/>
                      </a:lnTo>
                      <a:lnTo>
                        <a:pt x="161" y="260"/>
                      </a:lnTo>
                      <a:lnTo>
                        <a:pt x="154" y="257"/>
                      </a:lnTo>
                      <a:lnTo>
                        <a:pt x="147" y="254"/>
                      </a:lnTo>
                      <a:lnTo>
                        <a:pt x="140" y="251"/>
                      </a:lnTo>
                      <a:lnTo>
                        <a:pt x="134" y="247"/>
                      </a:lnTo>
                      <a:lnTo>
                        <a:pt x="129" y="243"/>
                      </a:lnTo>
                      <a:lnTo>
                        <a:pt x="123" y="237"/>
                      </a:lnTo>
                      <a:lnTo>
                        <a:pt x="119" y="232"/>
                      </a:lnTo>
                      <a:lnTo>
                        <a:pt x="115" y="226"/>
                      </a:lnTo>
                      <a:lnTo>
                        <a:pt x="111" y="219"/>
                      </a:lnTo>
                      <a:lnTo>
                        <a:pt x="108" y="212"/>
                      </a:lnTo>
                      <a:lnTo>
                        <a:pt x="106" y="204"/>
                      </a:lnTo>
                      <a:lnTo>
                        <a:pt x="104" y="195"/>
                      </a:lnTo>
                      <a:lnTo>
                        <a:pt x="104" y="187"/>
                      </a:lnTo>
                      <a:lnTo>
                        <a:pt x="102" y="177"/>
                      </a:lnTo>
                      <a:lnTo>
                        <a:pt x="104" y="167"/>
                      </a:lnTo>
                      <a:lnTo>
                        <a:pt x="105" y="159"/>
                      </a:lnTo>
                      <a:lnTo>
                        <a:pt x="106" y="149"/>
                      </a:lnTo>
                      <a:lnTo>
                        <a:pt x="108" y="142"/>
                      </a:lnTo>
                      <a:lnTo>
                        <a:pt x="112" y="134"/>
                      </a:lnTo>
                      <a:lnTo>
                        <a:pt x="115" y="127"/>
                      </a:lnTo>
                      <a:lnTo>
                        <a:pt x="119" y="121"/>
                      </a:lnTo>
                      <a:lnTo>
                        <a:pt x="125" y="115"/>
                      </a:lnTo>
                      <a:lnTo>
                        <a:pt x="129" y="110"/>
                      </a:lnTo>
                      <a:lnTo>
                        <a:pt x="134" y="106"/>
                      </a:lnTo>
                      <a:lnTo>
                        <a:pt x="141" y="101"/>
                      </a:lnTo>
                      <a:lnTo>
                        <a:pt x="147" y="99"/>
                      </a:lnTo>
                      <a:lnTo>
                        <a:pt x="154" y="96"/>
                      </a:lnTo>
                      <a:lnTo>
                        <a:pt x="161" y="94"/>
                      </a:lnTo>
                      <a:lnTo>
                        <a:pt x="169" y="93"/>
                      </a:lnTo>
                      <a:lnTo>
                        <a:pt x="176" y="93"/>
                      </a:lnTo>
                      <a:lnTo>
                        <a:pt x="190" y="93"/>
                      </a:lnTo>
                      <a:lnTo>
                        <a:pt x="196" y="94"/>
                      </a:lnTo>
                      <a:lnTo>
                        <a:pt x="203" y="96"/>
                      </a:lnTo>
                      <a:lnTo>
                        <a:pt x="209" y="97"/>
                      </a:lnTo>
                      <a:lnTo>
                        <a:pt x="213" y="99"/>
                      </a:lnTo>
                      <a:lnTo>
                        <a:pt x="223" y="103"/>
                      </a:lnTo>
                      <a:lnTo>
                        <a:pt x="231" y="108"/>
                      </a:lnTo>
                      <a:lnTo>
                        <a:pt x="238" y="114"/>
                      </a:lnTo>
                      <a:lnTo>
                        <a:pt x="245" y="121"/>
                      </a:lnTo>
                      <a:lnTo>
                        <a:pt x="252" y="128"/>
                      </a:lnTo>
                      <a:lnTo>
                        <a:pt x="325" y="66"/>
                      </a:lnTo>
                      <a:lnTo>
                        <a:pt x="319" y="59"/>
                      </a:lnTo>
                      <a:lnTo>
                        <a:pt x="312" y="52"/>
                      </a:lnTo>
                      <a:lnTo>
                        <a:pt x="305" y="45"/>
                      </a:lnTo>
                      <a:lnTo>
                        <a:pt x="298" y="38"/>
                      </a:lnTo>
                      <a:lnTo>
                        <a:pt x="291" y="33"/>
                      </a:lnTo>
                      <a:lnTo>
                        <a:pt x="283" y="27"/>
                      </a:lnTo>
                      <a:lnTo>
                        <a:pt x="275" y="23"/>
                      </a:lnTo>
                      <a:lnTo>
                        <a:pt x="266" y="17"/>
                      </a:lnTo>
                      <a:lnTo>
                        <a:pt x="258" y="13"/>
                      </a:lnTo>
                      <a:lnTo>
                        <a:pt x="248" y="10"/>
                      </a:lnTo>
                      <a:lnTo>
                        <a:pt x="238" y="7"/>
                      </a:lnTo>
                      <a:lnTo>
                        <a:pt x="228" y="5"/>
                      </a:lnTo>
                      <a:lnTo>
                        <a:pt x="207" y="0"/>
                      </a:lnTo>
                      <a:lnTo>
                        <a:pt x="196" y="0"/>
                      </a:lnTo>
                      <a:lnTo>
                        <a:pt x="183" y="0"/>
                      </a:lnTo>
                      <a:lnTo>
                        <a:pt x="171" y="0"/>
                      </a:lnTo>
                      <a:lnTo>
                        <a:pt x="160" y="0"/>
                      </a:lnTo>
                      <a:lnTo>
                        <a:pt x="147" y="2"/>
                      </a:lnTo>
                      <a:lnTo>
                        <a:pt x="136" y="5"/>
                      </a:lnTo>
                      <a:lnTo>
                        <a:pt x="125" y="7"/>
                      </a:lnTo>
                      <a:lnTo>
                        <a:pt x="113" y="10"/>
                      </a:lnTo>
                      <a:lnTo>
                        <a:pt x="104" y="14"/>
                      </a:lnTo>
                      <a:lnTo>
                        <a:pt x="92" y="19"/>
                      </a:lnTo>
                      <a:lnTo>
                        <a:pt x="83" y="24"/>
                      </a:lnTo>
                      <a:lnTo>
                        <a:pt x="73" y="30"/>
                      </a:lnTo>
                      <a:lnTo>
                        <a:pt x="64" y="35"/>
                      </a:lnTo>
                      <a:lnTo>
                        <a:pt x="55" y="42"/>
                      </a:lnTo>
                      <a:lnTo>
                        <a:pt x="48" y="51"/>
                      </a:lnTo>
                      <a:lnTo>
                        <a:pt x="39" y="59"/>
                      </a:lnTo>
                      <a:lnTo>
                        <a:pt x="32" y="68"/>
                      </a:lnTo>
                      <a:lnTo>
                        <a:pt x="27" y="78"/>
                      </a:lnTo>
                      <a:lnTo>
                        <a:pt x="20" y="87"/>
                      </a:lnTo>
                      <a:lnTo>
                        <a:pt x="15" y="99"/>
                      </a:lnTo>
                      <a:lnTo>
                        <a:pt x="11" y="110"/>
                      </a:lnTo>
                      <a:lnTo>
                        <a:pt x="7" y="122"/>
                      </a:lnTo>
                      <a:lnTo>
                        <a:pt x="4" y="136"/>
                      </a:lnTo>
                      <a:lnTo>
                        <a:pt x="1" y="149"/>
                      </a:lnTo>
                      <a:lnTo>
                        <a:pt x="1" y="165"/>
                      </a:lnTo>
                      <a:lnTo>
                        <a:pt x="0" y="180"/>
                      </a:lnTo>
                      <a:lnTo>
                        <a:pt x="0" y="190"/>
                      </a:lnTo>
                      <a:lnTo>
                        <a:pt x="1" y="198"/>
                      </a:lnTo>
                      <a:lnTo>
                        <a:pt x="4" y="216"/>
                      </a:lnTo>
                      <a:lnTo>
                        <a:pt x="7" y="233"/>
                      </a:lnTo>
                      <a:lnTo>
                        <a:pt x="10" y="242"/>
                      </a:lnTo>
                      <a:lnTo>
                        <a:pt x="13" y="250"/>
                      </a:lnTo>
                      <a:lnTo>
                        <a:pt x="20" y="264"/>
                      </a:lnTo>
                      <a:lnTo>
                        <a:pt x="27" y="278"/>
                      </a:lnTo>
                      <a:lnTo>
                        <a:pt x="32" y="285"/>
                      </a:lnTo>
                      <a:lnTo>
                        <a:pt x="36" y="292"/>
                      </a:lnTo>
                      <a:lnTo>
                        <a:pt x="48" y="303"/>
                      </a:lnTo>
                      <a:lnTo>
                        <a:pt x="60" y="315"/>
                      </a:lnTo>
                      <a:lnTo>
                        <a:pt x="66" y="319"/>
                      </a:lnTo>
                      <a:lnTo>
                        <a:pt x="73" y="324"/>
                      </a:lnTo>
                      <a:lnTo>
                        <a:pt x="87" y="331"/>
                      </a:lnTo>
                      <a:lnTo>
                        <a:pt x="102" y="338"/>
                      </a:lnTo>
                      <a:lnTo>
                        <a:pt x="109" y="341"/>
                      </a:lnTo>
                      <a:lnTo>
                        <a:pt x="118" y="344"/>
                      </a:lnTo>
                      <a:lnTo>
                        <a:pt x="134" y="347"/>
                      </a:lnTo>
                      <a:lnTo>
                        <a:pt x="153" y="350"/>
                      </a:lnTo>
                      <a:lnTo>
                        <a:pt x="172" y="3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3" name="Freeform 6"/>
                <p:cNvSpPr>
                  <a:spLocks/>
                </p:cNvSpPr>
                <p:nvPr userDrawn="1"/>
              </p:nvSpPr>
              <p:spPr bwMode="auto">
                <a:xfrm>
                  <a:off x="6523038" y="5522913"/>
                  <a:ext cx="214312" cy="269875"/>
                </a:xfrm>
                <a:custGeom>
                  <a:avLst/>
                  <a:gdLst/>
                  <a:ahLst/>
                  <a:cxnLst>
                    <a:cxn ang="0">
                      <a:pos x="0" y="341"/>
                    </a:cxn>
                    <a:cxn ang="0">
                      <a:pos x="268" y="341"/>
                    </a:cxn>
                    <a:cxn ang="0">
                      <a:pos x="268" y="252"/>
                    </a:cxn>
                    <a:cxn ang="0">
                      <a:pos x="100" y="252"/>
                    </a:cxn>
                    <a:cxn ang="0">
                      <a:pos x="100" y="209"/>
                    </a:cxn>
                    <a:cxn ang="0">
                      <a:pos x="254" y="209"/>
                    </a:cxn>
                    <a:cxn ang="0">
                      <a:pos x="254" y="129"/>
                    </a:cxn>
                    <a:cxn ang="0">
                      <a:pos x="100" y="129"/>
                    </a:cxn>
                    <a:cxn ang="0">
                      <a:pos x="100" y="93"/>
                    </a:cxn>
                    <a:cxn ang="0">
                      <a:pos x="267" y="93"/>
                    </a:cxn>
                    <a:cxn ang="0">
                      <a:pos x="267" y="0"/>
                    </a:cxn>
                    <a:cxn ang="0">
                      <a:pos x="0" y="0"/>
                    </a:cxn>
                    <a:cxn ang="0">
                      <a:pos x="0" y="341"/>
                    </a:cxn>
                  </a:cxnLst>
                  <a:rect l="0" t="0" r="r" b="b"/>
                  <a:pathLst>
                    <a:path w="268" h="341">
                      <a:moveTo>
                        <a:pt x="0" y="341"/>
                      </a:moveTo>
                      <a:lnTo>
                        <a:pt x="268" y="341"/>
                      </a:lnTo>
                      <a:lnTo>
                        <a:pt x="268" y="252"/>
                      </a:lnTo>
                      <a:lnTo>
                        <a:pt x="100" y="252"/>
                      </a:lnTo>
                      <a:lnTo>
                        <a:pt x="100" y="209"/>
                      </a:lnTo>
                      <a:lnTo>
                        <a:pt x="254" y="209"/>
                      </a:lnTo>
                      <a:lnTo>
                        <a:pt x="254" y="129"/>
                      </a:lnTo>
                      <a:lnTo>
                        <a:pt x="100" y="129"/>
                      </a:lnTo>
                      <a:lnTo>
                        <a:pt x="100" y="93"/>
                      </a:lnTo>
                      <a:lnTo>
                        <a:pt x="267" y="93"/>
                      </a:lnTo>
                      <a:lnTo>
                        <a:pt x="267"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4" name="Freeform 7"/>
                <p:cNvSpPr>
                  <a:spLocks/>
                </p:cNvSpPr>
                <p:nvPr userDrawn="1"/>
              </p:nvSpPr>
              <p:spPr bwMode="auto">
                <a:xfrm>
                  <a:off x="6778625" y="5522913"/>
                  <a:ext cx="323850" cy="269875"/>
                </a:xfrm>
                <a:custGeom>
                  <a:avLst/>
                  <a:gdLst/>
                  <a:ahLst/>
                  <a:cxnLst>
                    <a:cxn ang="0">
                      <a:pos x="0" y="341"/>
                    </a:cxn>
                    <a:cxn ang="0">
                      <a:pos x="89" y="341"/>
                    </a:cxn>
                    <a:cxn ang="0">
                      <a:pos x="89" y="139"/>
                    </a:cxn>
                    <a:cxn ang="0">
                      <a:pos x="166" y="341"/>
                    </a:cxn>
                    <a:cxn ang="0">
                      <a:pos x="231" y="341"/>
                    </a:cxn>
                    <a:cxn ang="0">
                      <a:pos x="308" y="139"/>
                    </a:cxn>
                    <a:cxn ang="0">
                      <a:pos x="308" y="341"/>
                    </a:cxn>
                    <a:cxn ang="0">
                      <a:pos x="407" y="341"/>
                    </a:cxn>
                    <a:cxn ang="0">
                      <a:pos x="407" y="0"/>
                    </a:cxn>
                    <a:cxn ang="0">
                      <a:pos x="274" y="0"/>
                    </a:cxn>
                    <a:cxn ang="0">
                      <a:pos x="203" y="192"/>
                    </a:cxn>
                    <a:cxn ang="0">
                      <a:pos x="133" y="0"/>
                    </a:cxn>
                    <a:cxn ang="0">
                      <a:pos x="0" y="0"/>
                    </a:cxn>
                    <a:cxn ang="0">
                      <a:pos x="0" y="341"/>
                    </a:cxn>
                  </a:cxnLst>
                  <a:rect l="0" t="0" r="r" b="b"/>
                  <a:pathLst>
                    <a:path w="407" h="341">
                      <a:moveTo>
                        <a:pt x="0" y="341"/>
                      </a:moveTo>
                      <a:lnTo>
                        <a:pt x="89" y="341"/>
                      </a:lnTo>
                      <a:lnTo>
                        <a:pt x="89" y="139"/>
                      </a:lnTo>
                      <a:lnTo>
                        <a:pt x="166" y="341"/>
                      </a:lnTo>
                      <a:lnTo>
                        <a:pt x="231" y="341"/>
                      </a:lnTo>
                      <a:lnTo>
                        <a:pt x="308" y="139"/>
                      </a:lnTo>
                      <a:lnTo>
                        <a:pt x="308" y="341"/>
                      </a:lnTo>
                      <a:lnTo>
                        <a:pt x="407" y="341"/>
                      </a:lnTo>
                      <a:lnTo>
                        <a:pt x="407" y="0"/>
                      </a:lnTo>
                      <a:lnTo>
                        <a:pt x="274" y="0"/>
                      </a:lnTo>
                      <a:lnTo>
                        <a:pt x="203" y="192"/>
                      </a:lnTo>
                      <a:lnTo>
                        <a:pt x="133"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5" name="Freeform 8"/>
                <p:cNvSpPr>
                  <a:spLocks/>
                </p:cNvSpPr>
                <p:nvPr userDrawn="1"/>
              </p:nvSpPr>
              <p:spPr bwMode="auto">
                <a:xfrm>
                  <a:off x="7150100" y="5522913"/>
                  <a:ext cx="214312" cy="269875"/>
                </a:xfrm>
                <a:custGeom>
                  <a:avLst/>
                  <a:gdLst/>
                  <a:ahLst/>
                  <a:cxnLst>
                    <a:cxn ang="0">
                      <a:pos x="0" y="341"/>
                    </a:cxn>
                    <a:cxn ang="0">
                      <a:pos x="269" y="341"/>
                    </a:cxn>
                    <a:cxn ang="0">
                      <a:pos x="269" y="252"/>
                    </a:cxn>
                    <a:cxn ang="0">
                      <a:pos x="101" y="252"/>
                    </a:cxn>
                    <a:cxn ang="0">
                      <a:pos x="101" y="209"/>
                    </a:cxn>
                    <a:cxn ang="0">
                      <a:pos x="255" y="209"/>
                    </a:cxn>
                    <a:cxn ang="0">
                      <a:pos x="255" y="129"/>
                    </a:cxn>
                    <a:cxn ang="0">
                      <a:pos x="101" y="129"/>
                    </a:cxn>
                    <a:cxn ang="0">
                      <a:pos x="101" y="93"/>
                    </a:cxn>
                    <a:cxn ang="0">
                      <a:pos x="268" y="93"/>
                    </a:cxn>
                    <a:cxn ang="0">
                      <a:pos x="268" y="0"/>
                    </a:cxn>
                    <a:cxn ang="0">
                      <a:pos x="0" y="0"/>
                    </a:cxn>
                    <a:cxn ang="0">
                      <a:pos x="0" y="341"/>
                    </a:cxn>
                  </a:cxnLst>
                  <a:rect l="0" t="0" r="r" b="b"/>
                  <a:pathLst>
                    <a:path w="269" h="341">
                      <a:moveTo>
                        <a:pt x="0" y="341"/>
                      </a:moveTo>
                      <a:lnTo>
                        <a:pt x="269" y="341"/>
                      </a:lnTo>
                      <a:lnTo>
                        <a:pt x="269" y="252"/>
                      </a:lnTo>
                      <a:lnTo>
                        <a:pt x="101" y="252"/>
                      </a:lnTo>
                      <a:lnTo>
                        <a:pt x="101" y="209"/>
                      </a:lnTo>
                      <a:lnTo>
                        <a:pt x="255" y="209"/>
                      </a:lnTo>
                      <a:lnTo>
                        <a:pt x="255" y="129"/>
                      </a:lnTo>
                      <a:lnTo>
                        <a:pt x="101" y="129"/>
                      </a:lnTo>
                      <a:lnTo>
                        <a:pt x="101" y="93"/>
                      </a:lnTo>
                      <a:lnTo>
                        <a:pt x="268" y="93"/>
                      </a:lnTo>
                      <a:lnTo>
                        <a:pt x="268" y="0"/>
                      </a:lnTo>
                      <a:lnTo>
                        <a:pt x="0" y="0"/>
                      </a:lnTo>
                      <a:lnTo>
                        <a:pt x="0" y="3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6" name="Freeform 9"/>
                <p:cNvSpPr>
                  <a:spLocks/>
                </p:cNvSpPr>
                <p:nvPr userDrawn="1"/>
              </p:nvSpPr>
              <p:spPr bwMode="auto">
                <a:xfrm>
                  <a:off x="7388225" y="5522913"/>
                  <a:ext cx="288925" cy="269875"/>
                </a:xfrm>
                <a:custGeom>
                  <a:avLst/>
                  <a:gdLst/>
                  <a:ahLst/>
                  <a:cxnLst>
                    <a:cxn ang="0">
                      <a:pos x="125" y="161"/>
                    </a:cxn>
                    <a:cxn ang="0">
                      <a:pos x="0" y="341"/>
                    </a:cxn>
                    <a:cxn ang="0">
                      <a:pos x="112" y="341"/>
                    </a:cxn>
                    <a:cxn ang="0">
                      <a:pos x="178" y="237"/>
                    </a:cxn>
                    <a:cxn ang="0">
                      <a:pos x="249" y="341"/>
                    </a:cxn>
                    <a:cxn ang="0">
                      <a:pos x="364" y="341"/>
                    </a:cxn>
                    <a:cxn ang="0">
                      <a:pos x="238" y="159"/>
                    </a:cxn>
                    <a:cxn ang="0">
                      <a:pos x="352" y="0"/>
                    </a:cxn>
                    <a:cxn ang="0">
                      <a:pos x="240" y="0"/>
                    </a:cxn>
                    <a:cxn ang="0">
                      <a:pos x="186" y="84"/>
                    </a:cxn>
                    <a:cxn ang="0">
                      <a:pos x="128" y="0"/>
                    </a:cxn>
                    <a:cxn ang="0">
                      <a:pos x="13" y="0"/>
                    </a:cxn>
                    <a:cxn ang="0">
                      <a:pos x="125" y="161"/>
                    </a:cxn>
                  </a:cxnLst>
                  <a:rect l="0" t="0" r="r" b="b"/>
                  <a:pathLst>
                    <a:path w="364" h="341">
                      <a:moveTo>
                        <a:pt x="125" y="161"/>
                      </a:moveTo>
                      <a:lnTo>
                        <a:pt x="0" y="341"/>
                      </a:lnTo>
                      <a:lnTo>
                        <a:pt x="112" y="341"/>
                      </a:lnTo>
                      <a:lnTo>
                        <a:pt x="178" y="237"/>
                      </a:lnTo>
                      <a:lnTo>
                        <a:pt x="249" y="341"/>
                      </a:lnTo>
                      <a:lnTo>
                        <a:pt x="364" y="341"/>
                      </a:lnTo>
                      <a:lnTo>
                        <a:pt x="238" y="159"/>
                      </a:lnTo>
                      <a:lnTo>
                        <a:pt x="352" y="0"/>
                      </a:lnTo>
                      <a:lnTo>
                        <a:pt x="240" y="0"/>
                      </a:lnTo>
                      <a:lnTo>
                        <a:pt x="186" y="84"/>
                      </a:lnTo>
                      <a:lnTo>
                        <a:pt x="128" y="0"/>
                      </a:lnTo>
                      <a:lnTo>
                        <a:pt x="13" y="0"/>
                      </a:lnTo>
                      <a:lnTo>
                        <a:pt x="125"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sp>
            <p:nvSpPr>
              <p:cNvPr id="70" name="Freeform 40"/>
              <p:cNvSpPr>
                <a:spLocks/>
              </p:cNvSpPr>
              <p:nvPr userDrawn="1"/>
            </p:nvSpPr>
            <p:spPr bwMode="auto">
              <a:xfrm>
                <a:off x="5039215" y="3204349"/>
                <a:ext cx="110824" cy="125337"/>
              </a:xfrm>
              <a:custGeom>
                <a:avLst/>
                <a:gdLst/>
                <a:ahLst/>
                <a:cxnLst>
                  <a:cxn ang="0">
                    <a:pos x="93" y="188"/>
                  </a:cxn>
                  <a:cxn ang="0">
                    <a:pos x="115" y="182"/>
                  </a:cxn>
                  <a:cxn ang="0">
                    <a:pos x="123" y="177"/>
                  </a:cxn>
                  <a:cxn ang="0">
                    <a:pos x="136" y="166"/>
                  </a:cxn>
                  <a:cxn ang="0">
                    <a:pos x="144" y="154"/>
                  </a:cxn>
                  <a:cxn ang="0">
                    <a:pos x="169" y="185"/>
                  </a:cxn>
                  <a:cxn ang="0">
                    <a:pos x="93" y="94"/>
                  </a:cxn>
                  <a:cxn ang="0">
                    <a:pos x="140" y="118"/>
                  </a:cxn>
                  <a:cxn ang="0">
                    <a:pos x="138" y="126"/>
                  </a:cxn>
                  <a:cxn ang="0">
                    <a:pos x="136" y="135"/>
                  </a:cxn>
                  <a:cxn ang="0">
                    <a:pos x="125" y="148"/>
                  </a:cxn>
                  <a:cxn ang="0">
                    <a:pos x="118" y="154"/>
                  </a:cxn>
                  <a:cxn ang="0">
                    <a:pos x="110" y="158"/>
                  </a:cxn>
                  <a:cxn ang="0">
                    <a:pos x="88" y="162"/>
                  </a:cxn>
                  <a:cxn ang="0">
                    <a:pos x="71" y="159"/>
                  </a:cxn>
                  <a:cxn ang="0">
                    <a:pos x="60" y="155"/>
                  </a:cxn>
                  <a:cxn ang="0">
                    <a:pos x="52" y="148"/>
                  </a:cxn>
                  <a:cxn ang="0">
                    <a:pos x="44" y="140"/>
                  </a:cxn>
                  <a:cxn ang="0">
                    <a:pos x="37" y="129"/>
                  </a:cxn>
                  <a:cxn ang="0">
                    <a:pos x="33" y="117"/>
                  </a:cxn>
                  <a:cxn ang="0">
                    <a:pos x="30" y="94"/>
                  </a:cxn>
                  <a:cxn ang="0">
                    <a:pos x="33" y="73"/>
                  </a:cxn>
                  <a:cxn ang="0">
                    <a:pos x="40" y="57"/>
                  </a:cxn>
                  <a:cxn ang="0">
                    <a:pos x="47" y="46"/>
                  </a:cxn>
                  <a:cxn ang="0">
                    <a:pos x="55" y="39"/>
                  </a:cxn>
                  <a:cxn ang="0">
                    <a:pos x="67" y="31"/>
                  </a:cxn>
                  <a:cxn ang="0">
                    <a:pos x="81" y="28"/>
                  </a:cxn>
                  <a:cxn ang="0">
                    <a:pos x="96" y="28"/>
                  </a:cxn>
                  <a:cxn ang="0">
                    <a:pos x="110" y="31"/>
                  </a:cxn>
                  <a:cxn ang="0">
                    <a:pos x="122" y="38"/>
                  </a:cxn>
                  <a:cxn ang="0">
                    <a:pos x="133" y="46"/>
                  </a:cxn>
                  <a:cxn ang="0">
                    <a:pos x="159" y="32"/>
                  </a:cxn>
                  <a:cxn ang="0">
                    <a:pos x="147" y="17"/>
                  </a:cxn>
                  <a:cxn ang="0">
                    <a:pos x="130" y="8"/>
                  </a:cxn>
                  <a:cxn ang="0">
                    <a:pos x="111" y="1"/>
                  </a:cxn>
                  <a:cxn ang="0">
                    <a:pos x="89" y="0"/>
                  </a:cxn>
                  <a:cxn ang="0">
                    <a:pos x="66" y="1"/>
                  </a:cxn>
                  <a:cxn ang="0">
                    <a:pos x="51" y="8"/>
                  </a:cxn>
                  <a:cxn ang="0">
                    <a:pos x="41" y="12"/>
                  </a:cxn>
                  <a:cxn ang="0">
                    <a:pos x="27" y="23"/>
                  </a:cxn>
                  <a:cxn ang="0">
                    <a:pos x="12" y="42"/>
                  </a:cxn>
                  <a:cxn ang="0">
                    <a:pos x="5" y="60"/>
                  </a:cxn>
                  <a:cxn ang="0">
                    <a:pos x="1" y="80"/>
                  </a:cxn>
                  <a:cxn ang="0">
                    <a:pos x="0" y="95"/>
                  </a:cxn>
                  <a:cxn ang="0">
                    <a:pos x="1" y="115"/>
                  </a:cxn>
                  <a:cxn ang="0">
                    <a:pos x="7" y="135"/>
                  </a:cxn>
                  <a:cxn ang="0">
                    <a:pos x="16" y="156"/>
                  </a:cxn>
                  <a:cxn ang="0">
                    <a:pos x="27" y="169"/>
                  </a:cxn>
                  <a:cxn ang="0">
                    <a:pos x="40" y="178"/>
                  </a:cxn>
                  <a:cxn ang="0">
                    <a:pos x="59" y="186"/>
                  </a:cxn>
                  <a:cxn ang="0">
                    <a:pos x="81" y="189"/>
                  </a:cxn>
                </a:cxnLst>
                <a:rect l="0" t="0" r="r" b="b"/>
                <a:pathLst>
                  <a:path w="169" h="189">
                    <a:moveTo>
                      <a:pt x="81" y="189"/>
                    </a:moveTo>
                    <a:lnTo>
                      <a:pt x="93" y="188"/>
                    </a:lnTo>
                    <a:lnTo>
                      <a:pt x="104" y="185"/>
                    </a:lnTo>
                    <a:lnTo>
                      <a:pt x="115" y="182"/>
                    </a:lnTo>
                    <a:lnTo>
                      <a:pt x="119" y="180"/>
                    </a:lnTo>
                    <a:lnTo>
                      <a:pt x="123" y="177"/>
                    </a:lnTo>
                    <a:lnTo>
                      <a:pt x="130" y="171"/>
                    </a:lnTo>
                    <a:lnTo>
                      <a:pt x="136" y="166"/>
                    </a:lnTo>
                    <a:lnTo>
                      <a:pt x="140" y="160"/>
                    </a:lnTo>
                    <a:lnTo>
                      <a:pt x="144" y="154"/>
                    </a:lnTo>
                    <a:lnTo>
                      <a:pt x="151" y="188"/>
                    </a:lnTo>
                    <a:lnTo>
                      <a:pt x="169" y="185"/>
                    </a:lnTo>
                    <a:lnTo>
                      <a:pt x="169" y="94"/>
                    </a:lnTo>
                    <a:lnTo>
                      <a:pt x="93" y="94"/>
                    </a:lnTo>
                    <a:lnTo>
                      <a:pt x="93" y="118"/>
                    </a:lnTo>
                    <a:lnTo>
                      <a:pt x="140" y="118"/>
                    </a:lnTo>
                    <a:lnTo>
                      <a:pt x="140" y="122"/>
                    </a:lnTo>
                    <a:lnTo>
                      <a:pt x="138" y="126"/>
                    </a:lnTo>
                    <a:lnTo>
                      <a:pt x="137" y="130"/>
                    </a:lnTo>
                    <a:lnTo>
                      <a:pt x="136" y="135"/>
                    </a:lnTo>
                    <a:lnTo>
                      <a:pt x="132" y="141"/>
                    </a:lnTo>
                    <a:lnTo>
                      <a:pt x="125" y="148"/>
                    </a:lnTo>
                    <a:lnTo>
                      <a:pt x="122" y="151"/>
                    </a:lnTo>
                    <a:lnTo>
                      <a:pt x="118" y="154"/>
                    </a:lnTo>
                    <a:lnTo>
                      <a:pt x="114" y="156"/>
                    </a:lnTo>
                    <a:lnTo>
                      <a:pt x="110" y="158"/>
                    </a:lnTo>
                    <a:lnTo>
                      <a:pt x="100" y="160"/>
                    </a:lnTo>
                    <a:lnTo>
                      <a:pt x="88" y="162"/>
                    </a:lnTo>
                    <a:lnTo>
                      <a:pt x="77" y="160"/>
                    </a:lnTo>
                    <a:lnTo>
                      <a:pt x="71" y="159"/>
                    </a:lnTo>
                    <a:lnTo>
                      <a:pt x="66" y="158"/>
                    </a:lnTo>
                    <a:lnTo>
                      <a:pt x="60" y="155"/>
                    </a:lnTo>
                    <a:lnTo>
                      <a:pt x="56" y="152"/>
                    </a:lnTo>
                    <a:lnTo>
                      <a:pt x="52" y="148"/>
                    </a:lnTo>
                    <a:lnTo>
                      <a:pt x="48" y="144"/>
                    </a:lnTo>
                    <a:lnTo>
                      <a:pt x="44" y="140"/>
                    </a:lnTo>
                    <a:lnTo>
                      <a:pt x="40" y="135"/>
                    </a:lnTo>
                    <a:lnTo>
                      <a:pt x="37" y="129"/>
                    </a:lnTo>
                    <a:lnTo>
                      <a:pt x="36" y="124"/>
                    </a:lnTo>
                    <a:lnTo>
                      <a:pt x="33" y="117"/>
                    </a:lnTo>
                    <a:lnTo>
                      <a:pt x="32" y="110"/>
                    </a:lnTo>
                    <a:lnTo>
                      <a:pt x="30" y="94"/>
                    </a:lnTo>
                    <a:lnTo>
                      <a:pt x="32" y="83"/>
                    </a:lnTo>
                    <a:lnTo>
                      <a:pt x="33" y="73"/>
                    </a:lnTo>
                    <a:lnTo>
                      <a:pt x="36" y="64"/>
                    </a:lnTo>
                    <a:lnTo>
                      <a:pt x="40" y="57"/>
                    </a:lnTo>
                    <a:lnTo>
                      <a:pt x="44" y="50"/>
                    </a:lnTo>
                    <a:lnTo>
                      <a:pt x="47" y="46"/>
                    </a:lnTo>
                    <a:lnTo>
                      <a:pt x="49" y="43"/>
                    </a:lnTo>
                    <a:lnTo>
                      <a:pt x="55" y="39"/>
                    </a:lnTo>
                    <a:lnTo>
                      <a:pt x="60" y="35"/>
                    </a:lnTo>
                    <a:lnTo>
                      <a:pt x="67" y="31"/>
                    </a:lnTo>
                    <a:lnTo>
                      <a:pt x="74" y="30"/>
                    </a:lnTo>
                    <a:lnTo>
                      <a:pt x="81" y="28"/>
                    </a:lnTo>
                    <a:lnTo>
                      <a:pt x="89" y="28"/>
                    </a:lnTo>
                    <a:lnTo>
                      <a:pt x="96" y="28"/>
                    </a:lnTo>
                    <a:lnTo>
                      <a:pt x="103" y="30"/>
                    </a:lnTo>
                    <a:lnTo>
                      <a:pt x="110" y="31"/>
                    </a:lnTo>
                    <a:lnTo>
                      <a:pt x="116" y="34"/>
                    </a:lnTo>
                    <a:lnTo>
                      <a:pt x="122" y="38"/>
                    </a:lnTo>
                    <a:lnTo>
                      <a:pt x="127" y="40"/>
                    </a:lnTo>
                    <a:lnTo>
                      <a:pt x="133" y="46"/>
                    </a:lnTo>
                    <a:lnTo>
                      <a:pt x="137" y="51"/>
                    </a:lnTo>
                    <a:lnTo>
                      <a:pt x="159" y="32"/>
                    </a:lnTo>
                    <a:lnTo>
                      <a:pt x="153" y="24"/>
                    </a:lnTo>
                    <a:lnTo>
                      <a:pt x="147" y="17"/>
                    </a:lnTo>
                    <a:lnTo>
                      <a:pt x="138" y="12"/>
                    </a:lnTo>
                    <a:lnTo>
                      <a:pt x="130" y="8"/>
                    </a:lnTo>
                    <a:lnTo>
                      <a:pt x="121" y="4"/>
                    </a:lnTo>
                    <a:lnTo>
                      <a:pt x="111" y="1"/>
                    </a:lnTo>
                    <a:lnTo>
                      <a:pt x="100" y="0"/>
                    </a:lnTo>
                    <a:lnTo>
                      <a:pt x="89" y="0"/>
                    </a:lnTo>
                    <a:lnTo>
                      <a:pt x="78" y="0"/>
                    </a:lnTo>
                    <a:lnTo>
                      <a:pt x="66" y="1"/>
                    </a:lnTo>
                    <a:lnTo>
                      <a:pt x="56" y="5"/>
                    </a:lnTo>
                    <a:lnTo>
                      <a:pt x="51" y="8"/>
                    </a:lnTo>
                    <a:lnTo>
                      <a:pt x="45" y="9"/>
                    </a:lnTo>
                    <a:lnTo>
                      <a:pt x="41" y="12"/>
                    </a:lnTo>
                    <a:lnTo>
                      <a:pt x="36" y="16"/>
                    </a:lnTo>
                    <a:lnTo>
                      <a:pt x="27" y="23"/>
                    </a:lnTo>
                    <a:lnTo>
                      <a:pt x="19" y="31"/>
                    </a:lnTo>
                    <a:lnTo>
                      <a:pt x="12" y="42"/>
                    </a:lnTo>
                    <a:lnTo>
                      <a:pt x="7" y="53"/>
                    </a:lnTo>
                    <a:lnTo>
                      <a:pt x="5" y="60"/>
                    </a:lnTo>
                    <a:lnTo>
                      <a:pt x="4" y="65"/>
                    </a:lnTo>
                    <a:lnTo>
                      <a:pt x="1" y="80"/>
                    </a:lnTo>
                    <a:lnTo>
                      <a:pt x="0" y="87"/>
                    </a:lnTo>
                    <a:lnTo>
                      <a:pt x="0" y="95"/>
                    </a:lnTo>
                    <a:lnTo>
                      <a:pt x="1" y="109"/>
                    </a:lnTo>
                    <a:lnTo>
                      <a:pt x="1" y="115"/>
                    </a:lnTo>
                    <a:lnTo>
                      <a:pt x="3" y="122"/>
                    </a:lnTo>
                    <a:lnTo>
                      <a:pt x="7" y="135"/>
                    </a:lnTo>
                    <a:lnTo>
                      <a:pt x="11" y="145"/>
                    </a:lnTo>
                    <a:lnTo>
                      <a:pt x="16" y="156"/>
                    </a:lnTo>
                    <a:lnTo>
                      <a:pt x="23" y="165"/>
                    </a:lnTo>
                    <a:lnTo>
                      <a:pt x="27" y="169"/>
                    </a:lnTo>
                    <a:lnTo>
                      <a:pt x="32" y="171"/>
                    </a:lnTo>
                    <a:lnTo>
                      <a:pt x="40" y="178"/>
                    </a:lnTo>
                    <a:lnTo>
                      <a:pt x="49" y="182"/>
                    </a:lnTo>
                    <a:lnTo>
                      <a:pt x="59" y="186"/>
                    </a:lnTo>
                    <a:lnTo>
                      <a:pt x="70" y="188"/>
                    </a:lnTo>
                    <a:lnTo>
                      <a:pt x="81" y="1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1" name="Rectangle 41"/>
              <p:cNvSpPr>
                <a:spLocks noChangeArrowheads="1"/>
              </p:cNvSpPr>
              <p:nvPr userDrawn="1"/>
            </p:nvSpPr>
            <p:spPr bwMode="auto">
              <a:xfrm>
                <a:off x="5172467"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2" name="Freeform 42"/>
              <p:cNvSpPr>
                <a:spLocks noEditPoints="1"/>
              </p:cNvSpPr>
              <p:nvPr userDrawn="1"/>
            </p:nvSpPr>
            <p:spPr bwMode="auto">
              <a:xfrm>
                <a:off x="5212047" y="3233375"/>
                <a:ext cx="89714" cy="96312"/>
              </a:xfrm>
              <a:custGeom>
                <a:avLst/>
                <a:gdLst/>
                <a:ahLst/>
                <a:cxnLst>
                  <a:cxn ang="0">
                    <a:pos x="76" y="143"/>
                  </a:cxn>
                  <a:cxn ang="0">
                    <a:pos x="90" y="140"/>
                  </a:cxn>
                  <a:cxn ang="0">
                    <a:pos x="102" y="136"/>
                  </a:cxn>
                  <a:cxn ang="0">
                    <a:pos x="113" y="128"/>
                  </a:cxn>
                  <a:cxn ang="0">
                    <a:pos x="123" y="118"/>
                  </a:cxn>
                  <a:cxn ang="0">
                    <a:pos x="130" y="106"/>
                  </a:cxn>
                  <a:cxn ang="0">
                    <a:pos x="134" y="94"/>
                  </a:cxn>
                  <a:cxn ang="0">
                    <a:pos x="137" y="79"/>
                  </a:cxn>
                  <a:cxn ang="0">
                    <a:pos x="137" y="64"/>
                  </a:cxn>
                  <a:cxn ang="0">
                    <a:pos x="134" y="49"/>
                  </a:cxn>
                  <a:cxn ang="0">
                    <a:pos x="130" y="36"/>
                  </a:cxn>
                  <a:cxn ang="0">
                    <a:pos x="123" y="24"/>
                  </a:cxn>
                  <a:cxn ang="0">
                    <a:pos x="113" y="15"/>
                  </a:cxn>
                  <a:cxn ang="0">
                    <a:pos x="102" y="8"/>
                  </a:cxn>
                  <a:cxn ang="0">
                    <a:pos x="90" y="2"/>
                  </a:cxn>
                  <a:cxn ang="0">
                    <a:pos x="76" y="0"/>
                  </a:cxn>
                  <a:cxn ang="0">
                    <a:pos x="61" y="0"/>
                  </a:cxn>
                  <a:cxn ang="0">
                    <a:pos x="46" y="2"/>
                  </a:cxn>
                  <a:cxn ang="0">
                    <a:pos x="34" y="8"/>
                  </a:cxn>
                  <a:cxn ang="0">
                    <a:pos x="23" y="15"/>
                  </a:cxn>
                  <a:cxn ang="0">
                    <a:pos x="13" y="24"/>
                  </a:cxn>
                  <a:cxn ang="0">
                    <a:pos x="7" y="36"/>
                  </a:cxn>
                  <a:cxn ang="0">
                    <a:pos x="2" y="49"/>
                  </a:cxn>
                  <a:cxn ang="0">
                    <a:pos x="0" y="64"/>
                  </a:cxn>
                  <a:cxn ang="0">
                    <a:pos x="0" y="79"/>
                  </a:cxn>
                  <a:cxn ang="0">
                    <a:pos x="2" y="94"/>
                  </a:cxn>
                  <a:cxn ang="0">
                    <a:pos x="7" y="106"/>
                  </a:cxn>
                  <a:cxn ang="0">
                    <a:pos x="13" y="118"/>
                  </a:cxn>
                  <a:cxn ang="0">
                    <a:pos x="23" y="128"/>
                  </a:cxn>
                  <a:cxn ang="0">
                    <a:pos x="34" y="136"/>
                  </a:cxn>
                  <a:cxn ang="0">
                    <a:pos x="46" y="140"/>
                  </a:cxn>
                  <a:cxn ang="0">
                    <a:pos x="61" y="143"/>
                  </a:cxn>
                  <a:cxn ang="0">
                    <a:pos x="68" y="117"/>
                  </a:cxn>
                  <a:cxn ang="0">
                    <a:pos x="52" y="114"/>
                  </a:cxn>
                  <a:cxn ang="0">
                    <a:pos x="45" y="110"/>
                  </a:cxn>
                  <a:cxn ang="0">
                    <a:pos x="35" y="98"/>
                  </a:cxn>
                  <a:cxn ang="0">
                    <a:pos x="31" y="90"/>
                  </a:cxn>
                  <a:cxn ang="0">
                    <a:pos x="28" y="72"/>
                  </a:cxn>
                  <a:cxn ang="0">
                    <a:pos x="31" y="58"/>
                  </a:cxn>
                  <a:cxn ang="0">
                    <a:pos x="33" y="50"/>
                  </a:cxn>
                  <a:cxn ang="0">
                    <a:pos x="39" y="39"/>
                  </a:cxn>
                  <a:cxn ang="0">
                    <a:pos x="48" y="32"/>
                  </a:cxn>
                  <a:cxn ang="0">
                    <a:pos x="56" y="28"/>
                  </a:cxn>
                  <a:cxn ang="0">
                    <a:pos x="68" y="27"/>
                  </a:cxn>
                  <a:cxn ang="0">
                    <a:pos x="86" y="30"/>
                  </a:cxn>
                  <a:cxn ang="0">
                    <a:pos x="93" y="34"/>
                  </a:cxn>
                  <a:cxn ang="0">
                    <a:pos x="98" y="39"/>
                  </a:cxn>
                  <a:cxn ang="0">
                    <a:pos x="104" y="50"/>
                  </a:cxn>
                  <a:cxn ang="0">
                    <a:pos x="108" y="62"/>
                  </a:cxn>
                  <a:cxn ang="0">
                    <a:pos x="108" y="81"/>
                  </a:cxn>
                  <a:cxn ang="0">
                    <a:pos x="105" y="90"/>
                  </a:cxn>
                  <a:cxn ang="0">
                    <a:pos x="98" y="105"/>
                  </a:cxn>
                  <a:cxn ang="0">
                    <a:pos x="93" y="110"/>
                  </a:cxn>
                  <a:cxn ang="0">
                    <a:pos x="86" y="114"/>
                  </a:cxn>
                  <a:cxn ang="0">
                    <a:pos x="78" y="117"/>
                  </a:cxn>
                  <a:cxn ang="0">
                    <a:pos x="68" y="117"/>
                  </a:cxn>
                </a:cxnLst>
                <a:rect l="0" t="0" r="r" b="b"/>
                <a:pathLst>
                  <a:path w="137" h="144">
                    <a:moveTo>
                      <a:pt x="68" y="144"/>
                    </a:moveTo>
                    <a:lnTo>
                      <a:pt x="76" y="143"/>
                    </a:lnTo>
                    <a:lnTo>
                      <a:pt x="83" y="141"/>
                    </a:lnTo>
                    <a:lnTo>
                      <a:pt x="90" y="140"/>
                    </a:lnTo>
                    <a:lnTo>
                      <a:pt x="97" y="139"/>
                    </a:lnTo>
                    <a:lnTo>
                      <a:pt x="102" y="136"/>
                    </a:lnTo>
                    <a:lnTo>
                      <a:pt x="109" y="132"/>
                    </a:lnTo>
                    <a:lnTo>
                      <a:pt x="113" y="128"/>
                    </a:lnTo>
                    <a:lnTo>
                      <a:pt x="119" y="124"/>
                    </a:lnTo>
                    <a:lnTo>
                      <a:pt x="123" y="118"/>
                    </a:lnTo>
                    <a:lnTo>
                      <a:pt x="127" y="113"/>
                    </a:lnTo>
                    <a:lnTo>
                      <a:pt x="130" y="106"/>
                    </a:lnTo>
                    <a:lnTo>
                      <a:pt x="133" y="100"/>
                    </a:lnTo>
                    <a:lnTo>
                      <a:pt x="134" y="94"/>
                    </a:lnTo>
                    <a:lnTo>
                      <a:pt x="135" y="87"/>
                    </a:lnTo>
                    <a:lnTo>
                      <a:pt x="137" y="79"/>
                    </a:lnTo>
                    <a:lnTo>
                      <a:pt x="137" y="72"/>
                    </a:lnTo>
                    <a:lnTo>
                      <a:pt x="137" y="64"/>
                    </a:lnTo>
                    <a:lnTo>
                      <a:pt x="135" y="55"/>
                    </a:lnTo>
                    <a:lnTo>
                      <a:pt x="134" y="49"/>
                    </a:lnTo>
                    <a:lnTo>
                      <a:pt x="133" y="42"/>
                    </a:lnTo>
                    <a:lnTo>
                      <a:pt x="130" y="36"/>
                    </a:lnTo>
                    <a:lnTo>
                      <a:pt x="127" y="30"/>
                    </a:lnTo>
                    <a:lnTo>
                      <a:pt x="123" y="24"/>
                    </a:lnTo>
                    <a:lnTo>
                      <a:pt x="119" y="20"/>
                    </a:lnTo>
                    <a:lnTo>
                      <a:pt x="113" y="15"/>
                    </a:lnTo>
                    <a:lnTo>
                      <a:pt x="109" y="10"/>
                    </a:lnTo>
                    <a:lnTo>
                      <a:pt x="102" y="8"/>
                    </a:lnTo>
                    <a:lnTo>
                      <a:pt x="97" y="5"/>
                    </a:lnTo>
                    <a:lnTo>
                      <a:pt x="90" y="2"/>
                    </a:lnTo>
                    <a:lnTo>
                      <a:pt x="83" y="1"/>
                    </a:lnTo>
                    <a:lnTo>
                      <a:pt x="76" y="0"/>
                    </a:lnTo>
                    <a:lnTo>
                      <a:pt x="68" y="0"/>
                    </a:lnTo>
                    <a:lnTo>
                      <a:pt x="61" y="0"/>
                    </a:lnTo>
                    <a:lnTo>
                      <a:pt x="53" y="1"/>
                    </a:lnTo>
                    <a:lnTo>
                      <a:pt x="46" y="2"/>
                    </a:lnTo>
                    <a:lnTo>
                      <a:pt x="39" y="5"/>
                    </a:lnTo>
                    <a:lnTo>
                      <a:pt x="34" y="8"/>
                    </a:lnTo>
                    <a:lnTo>
                      <a:pt x="28" y="10"/>
                    </a:lnTo>
                    <a:lnTo>
                      <a:pt x="23" y="15"/>
                    </a:lnTo>
                    <a:lnTo>
                      <a:pt x="19" y="20"/>
                    </a:lnTo>
                    <a:lnTo>
                      <a:pt x="13" y="24"/>
                    </a:lnTo>
                    <a:lnTo>
                      <a:pt x="11" y="30"/>
                    </a:lnTo>
                    <a:lnTo>
                      <a:pt x="7" y="36"/>
                    </a:lnTo>
                    <a:lnTo>
                      <a:pt x="5" y="42"/>
                    </a:lnTo>
                    <a:lnTo>
                      <a:pt x="2" y="49"/>
                    </a:lnTo>
                    <a:lnTo>
                      <a:pt x="1" y="55"/>
                    </a:lnTo>
                    <a:lnTo>
                      <a:pt x="0" y="64"/>
                    </a:lnTo>
                    <a:lnTo>
                      <a:pt x="0" y="72"/>
                    </a:lnTo>
                    <a:lnTo>
                      <a:pt x="0" y="79"/>
                    </a:lnTo>
                    <a:lnTo>
                      <a:pt x="1" y="87"/>
                    </a:lnTo>
                    <a:lnTo>
                      <a:pt x="2" y="94"/>
                    </a:lnTo>
                    <a:lnTo>
                      <a:pt x="5" y="100"/>
                    </a:lnTo>
                    <a:lnTo>
                      <a:pt x="7" y="106"/>
                    </a:lnTo>
                    <a:lnTo>
                      <a:pt x="11" y="113"/>
                    </a:lnTo>
                    <a:lnTo>
                      <a:pt x="13" y="118"/>
                    </a:lnTo>
                    <a:lnTo>
                      <a:pt x="19" y="124"/>
                    </a:lnTo>
                    <a:lnTo>
                      <a:pt x="23" y="128"/>
                    </a:lnTo>
                    <a:lnTo>
                      <a:pt x="28" y="132"/>
                    </a:lnTo>
                    <a:lnTo>
                      <a:pt x="34" y="136"/>
                    </a:lnTo>
                    <a:lnTo>
                      <a:pt x="39" y="139"/>
                    </a:lnTo>
                    <a:lnTo>
                      <a:pt x="46" y="140"/>
                    </a:lnTo>
                    <a:lnTo>
                      <a:pt x="53" y="141"/>
                    </a:lnTo>
                    <a:lnTo>
                      <a:pt x="61" y="143"/>
                    </a:lnTo>
                    <a:lnTo>
                      <a:pt x="68" y="144"/>
                    </a:lnTo>
                    <a:close/>
                    <a:moveTo>
                      <a:pt x="68" y="117"/>
                    </a:moveTo>
                    <a:lnTo>
                      <a:pt x="60" y="117"/>
                    </a:lnTo>
                    <a:lnTo>
                      <a:pt x="52" y="114"/>
                    </a:lnTo>
                    <a:lnTo>
                      <a:pt x="48" y="111"/>
                    </a:lnTo>
                    <a:lnTo>
                      <a:pt x="45" y="110"/>
                    </a:lnTo>
                    <a:lnTo>
                      <a:pt x="39" y="105"/>
                    </a:lnTo>
                    <a:lnTo>
                      <a:pt x="35" y="98"/>
                    </a:lnTo>
                    <a:lnTo>
                      <a:pt x="33" y="94"/>
                    </a:lnTo>
                    <a:lnTo>
                      <a:pt x="31" y="90"/>
                    </a:lnTo>
                    <a:lnTo>
                      <a:pt x="30" y="81"/>
                    </a:lnTo>
                    <a:lnTo>
                      <a:pt x="28" y="72"/>
                    </a:lnTo>
                    <a:lnTo>
                      <a:pt x="30" y="62"/>
                    </a:lnTo>
                    <a:lnTo>
                      <a:pt x="31" y="58"/>
                    </a:lnTo>
                    <a:lnTo>
                      <a:pt x="31" y="54"/>
                    </a:lnTo>
                    <a:lnTo>
                      <a:pt x="33" y="50"/>
                    </a:lnTo>
                    <a:lnTo>
                      <a:pt x="35" y="46"/>
                    </a:lnTo>
                    <a:lnTo>
                      <a:pt x="39" y="39"/>
                    </a:lnTo>
                    <a:lnTo>
                      <a:pt x="45" y="34"/>
                    </a:lnTo>
                    <a:lnTo>
                      <a:pt x="48" y="32"/>
                    </a:lnTo>
                    <a:lnTo>
                      <a:pt x="52" y="30"/>
                    </a:lnTo>
                    <a:lnTo>
                      <a:pt x="56" y="28"/>
                    </a:lnTo>
                    <a:lnTo>
                      <a:pt x="60" y="27"/>
                    </a:lnTo>
                    <a:lnTo>
                      <a:pt x="68" y="27"/>
                    </a:lnTo>
                    <a:lnTo>
                      <a:pt x="78" y="27"/>
                    </a:lnTo>
                    <a:lnTo>
                      <a:pt x="86" y="30"/>
                    </a:lnTo>
                    <a:lnTo>
                      <a:pt x="89" y="32"/>
                    </a:lnTo>
                    <a:lnTo>
                      <a:pt x="93" y="34"/>
                    </a:lnTo>
                    <a:lnTo>
                      <a:pt x="96" y="36"/>
                    </a:lnTo>
                    <a:lnTo>
                      <a:pt x="98" y="39"/>
                    </a:lnTo>
                    <a:lnTo>
                      <a:pt x="102" y="46"/>
                    </a:lnTo>
                    <a:lnTo>
                      <a:pt x="104" y="50"/>
                    </a:lnTo>
                    <a:lnTo>
                      <a:pt x="105" y="54"/>
                    </a:lnTo>
                    <a:lnTo>
                      <a:pt x="108" y="62"/>
                    </a:lnTo>
                    <a:lnTo>
                      <a:pt x="108" y="72"/>
                    </a:lnTo>
                    <a:lnTo>
                      <a:pt x="108" y="81"/>
                    </a:lnTo>
                    <a:lnTo>
                      <a:pt x="107" y="85"/>
                    </a:lnTo>
                    <a:lnTo>
                      <a:pt x="105" y="90"/>
                    </a:lnTo>
                    <a:lnTo>
                      <a:pt x="102" y="98"/>
                    </a:lnTo>
                    <a:lnTo>
                      <a:pt x="98" y="105"/>
                    </a:lnTo>
                    <a:lnTo>
                      <a:pt x="96" y="107"/>
                    </a:lnTo>
                    <a:lnTo>
                      <a:pt x="93" y="110"/>
                    </a:lnTo>
                    <a:lnTo>
                      <a:pt x="89" y="111"/>
                    </a:lnTo>
                    <a:lnTo>
                      <a:pt x="86" y="114"/>
                    </a:lnTo>
                    <a:lnTo>
                      <a:pt x="82" y="115"/>
                    </a:lnTo>
                    <a:lnTo>
                      <a:pt x="78" y="117"/>
                    </a:lnTo>
                    <a:lnTo>
                      <a:pt x="74" y="117"/>
                    </a:lnTo>
                    <a:lnTo>
                      <a:pt x="68" y="1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3" name="Freeform 43"/>
              <p:cNvSpPr>
                <a:spLocks noEditPoints="1"/>
              </p:cNvSpPr>
              <p:nvPr userDrawn="1"/>
            </p:nvSpPr>
            <p:spPr bwMode="auto">
              <a:xfrm>
                <a:off x="5321551" y="3200391"/>
                <a:ext cx="89714" cy="127976"/>
              </a:xfrm>
              <a:custGeom>
                <a:avLst/>
                <a:gdLst/>
                <a:ahLst/>
                <a:cxnLst>
                  <a:cxn ang="0">
                    <a:pos x="86" y="194"/>
                  </a:cxn>
                  <a:cxn ang="0">
                    <a:pos x="98" y="190"/>
                  </a:cxn>
                  <a:cxn ang="0">
                    <a:pos x="109" y="184"/>
                  </a:cxn>
                  <a:cxn ang="0">
                    <a:pos x="121" y="173"/>
                  </a:cxn>
                  <a:cxn ang="0">
                    <a:pos x="128" y="158"/>
                  </a:cxn>
                  <a:cxn ang="0">
                    <a:pos x="134" y="141"/>
                  </a:cxn>
                  <a:cxn ang="0">
                    <a:pos x="135" y="123"/>
                  </a:cxn>
                  <a:cxn ang="0">
                    <a:pos x="134" y="104"/>
                  </a:cxn>
                  <a:cxn ang="0">
                    <a:pos x="130" y="86"/>
                  </a:cxn>
                  <a:cxn ang="0">
                    <a:pos x="121" y="71"/>
                  </a:cxn>
                  <a:cxn ang="0">
                    <a:pos x="110" y="60"/>
                  </a:cxn>
                  <a:cxn ang="0">
                    <a:pos x="101" y="55"/>
                  </a:cxn>
                  <a:cxn ang="0">
                    <a:pos x="89" y="51"/>
                  </a:cxn>
                  <a:cxn ang="0">
                    <a:pos x="71" y="51"/>
                  </a:cxn>
                  <a:cxn ang="0">
                    <a:pos x="56" y="55"/>
                  </a:cxn>
                  <a:cxn ang="0">
                    <a:pos x="42" y="61"/>
                  </a:cxn>
                  <a:cxn ang="0">
                    <a:pos x="32" y="72"/>
                  </a:cxn>
                  <a:cxn ang="0">
                    <a:pos x="28" y="0"/>
                  </a:cxn>
                  <a:cxn ang="0">
                    <a:pos x="0" y="191"/>
                  </a:cxn>
                  <a:cxn ang="0">
                    <a:pos x="26" y="168"/>
                  </a:cxn>
                  <a:cxn ang="0">
                    <a:pos x="34" y="179"/>
                  </a:cxn>
                  <a:cxn ang="0">
                    <a:pos x="46" y="187"/>
                  </a:cxn>
                  <a:cxn ang="0">
                    <a:pos x="60" y="192"/>
                  </a:cxn>
                  <a:cxn ang="0">
                    <a:pos x="76" y="194"/>
                  </a:cxn>
                  <a:cxn ang="0">
                    <a:pos x="61" y="168"/>
                  </a:cxn>
                  <a:cxn ang="0">
                    <a:pos x="46" y="161"/>
                  </a:cxn>
                  <a:cxn ang="0">
                    <a:pos x="39" y="156"/>
                  </a:cxn>
                  <a:cxn ang="0">
                    <a:pos x="32" y="146"/>
                  </a:cxn>
                  <a:cxn ang="0">
                    <a:pos x="30" y="138"/>
                  </a:cxn>
                  <a:cxn ang="0">
                    <a:pos x="28" y="123"/>
                  </a:cxn>
                  <a:cxn ang="0">
                    <a:pos x="31" y="104"/>
                  </a:cxn>
                  <a:cxn ang="0">
                    <a:pos x="35" y="97"/>
                  </a:cxn>
                  <a:cxn ang="0">
                    <a:pos x="39" y="90"/>
                  </a:cxn>
                  <a:cxn ang="0">
                    <a:pos x="53" y="81"/>
                  </a:cxn>
                  <a:cxn ang="0">
                    <a:pos x="67" y="78"/>
                  </a:cxn>
                  <a:cxn ang="0">
                    <a:pos x="79" y="79"/>
                  </a:cxn>
                  <a:cxn ang="0">
                    <a:pos x="90" y="83"/>
                  </a:cxn>
                  <a:cxn ang="0">
                    <a:pos x="98" y="90"/>
                  </a:cxn>
                  <a:cxn ang="0">
                    <a:pos x="104" y="105"/>
                  </a:cxn>
                  <a:cxn ang="0">
                    <a:pos x="105" y="123"/>
                  </a:cxn>
                  <a:cxn ang="0">
                    <a:pos x="104" y="141"/>
                  </a:cxn>
                  <a:cxn ang="0">
                    <a:pos x="98" y="156"/>
                  </a:cxn>
                  <a:cxn ang="0">
                    <a:pos x="93" y="161"/>
                  </a:cxn>
                  <a:cxn ang="0">
                    <a:pos x="87" y="165"/>
                  </a:cxn>
                  <a:cxn ang="0">
                    <a:pos x="79" y="168"/>
                  </a:cxn>
                </a:cxnLst>
                <a:rect l="0" t="0" r="r" b="b"/>
                <a:pathLst>
                  <a:path w="135" h="194">
                    <a:moveTo>
                      <a:pt x="76" y="194"/>
                    </a:moveTo>
                    <a:lnTo>
                      <a:pt x="86" y="194"/>
                    </a:lnTo>
                    <a:lnTo>
                      <a:pt x="94" y="191"/>
                    </a:lnTo>
                    <a:lnTo>
                      <a:pt x="98" y="190"/>
                    </a:lnTo>
                    <a:lnTo>
                      <a:pt x="102" y="188"/>
                    </a:lnTo>
                    <a:lnTo>
                      <a:pt x="109" y="184"/>
                    </a:lnTo>
                    <a:lnTo>
                      <a:pt x="116" y="179"/>
                    </a:lnTo>
                    <a:lnTo>
                      <a:pt x="121" y="173"/>
                    </a:lnTo>
                    <a:lnTo>
                      <a:pt x="126" y="166"/>
                    </a:lnTo>
                    <a:lnTo>
                      <a:pt x="128" y="158"/>
                    </a:lnTo>
                    <a:lnTo>
                      <a:pt x="131" y="150"/>
                    </a:lnTo>
                    <a:lnTo>
                      <a:pt x="134" y="141"/>
                    </a:lnTo>
                    <a:lnTo>
                      <a:pt x="135" y="132"/>
                    </a:lnTo>
                    <a:lnTo>
                      <a:pt x="135" y="123"/>
                    </a:lnTo>
                    <a:lnTo>
                      <a:pt x="135" y="112"/>
                    </a:lnTo>
                    <a:lnTo>
                      <a:pt x="134" y="104"/>
                    </a:lnTo>
                    <a:lnTo>
                      <a:pt x="132" y="94"/>
                    </a:lnTo>
                    <a:lnTo>
                      <a:pt x="130" y="86"/>
                    </a:lnTo>
                    <a:lnTo>
                      <a:pt x="126" y="78"/>
                    </a:lnTo>
                    <a:lnTo>
                      <a:pt x="121" y="71"/>
                    </a:lnTo>
                    <a:lnTo>
                      <a:pt x="117" y="66"/>
                    </a:lnTo>
                    <a:lnTo>
                      <a:pt x="110" y="60"/>
                    </a:lnTo>
                    <a:lnTo>
                      <a:pt x="105" y="56"/>
                    </a:lnTo>
                    <a:lnTo>
                      <a:pt x="101" y="55"/>
                    </a:lnTo>
                    <a:lnTo>
                      <a:pt x="97" y="53"/>
                    </a:lnTo>
                    <a:lnTo>
                      <a:pt x="89" y="51"/>
                    </a:lnTo>
                    <a:lnTo>
                      <a:pt x="79" y="51"/>
                    </a:lnTo>
                    <a:lnTo>
                      <a:pt x="71" y="51"/>
                    </a:lnTo>
                    <a:lnTo>
                      <a:pt x="63" y="52"/>
                    </a:lnTo>
                    <a:lnTo>
                      <a:pt x="56" y="55"/>
                    </a:lnTo>
                    <a:lnTo>
                      <a:pt x="49" y="57"/>
                    </a:lnTo>
                    <a:lnTo>
                      <a:pt x="42" y="61"/>
                    </a:lnTo>
                    <a:lnTo>
                      <a:pt x="37" y="67"/>
                    </a:lnTo>
                    <a:lnTo>
                      <a:pt x="32" y="72"/>
                    </a:lnTo>
                    <a:lnTo>
                      <a:pt x="28" y="78"/>
                    </a:lnTo>
                    <a:lnTo>
                      <a:pt x="28" y="0"/>
                    </a:lnTo>
                    <a:lnTo>
                      <a:pt x="0" y="0"/>
                    </a:lnTo>
                    <a:lnTo>
                      <a:pt x="0" y="191"/>
                    </a:lnTo>
                    <a:lnTo>
                      <a:pt x="19" y="192"/>
                    </a:lnTo>
                    <a:lnTo>
                      <a:pt x="26" y="168"/>
                    </a:lnTo>
                    <a:lnTo>
                      <a:pt x="30" y="173"/>
                    </a:lnTo>
                    <a:lnTo>
                      <a:pt x="34" y="179"/>
                    </a:lnTo>
                    <a:lnTo>
                      <a:pt x="39" y="183"/>
                    </a:lnTo>
                    <a:lnTo>
                      <a:pt x="46" y="187"/>
                    </a:lnTo>
                    <a:lnTo>
                      <a:pt x="52" y="190"/>
                    </a:lnTo>
                    <a:lnTo>
                      <a:pt x="60" y="192"/>
                    </a:lnTo>
                    <a:lnTo>
                      <a:pt x="68" y="194"/>
                    </a:lnTo>
                    <a:lnTo>
                      <a:pt x="76" y="194"/>
                    </a:lnTo>
                    <a:close/>
                    <a:moveTo>
                      <a:pt x="71" y="168"/>
                    </a:moveTo>
                    <a:lnTo>
                      <a:pt x="61" y="168"/>
                    </a:lnTo>
                    <a:lnTo>
                      <a:pt x="53" y="165"/>
                    </a:lnTo>
                    <a:lnTo>
                      <a:pt x="46" y="161"/>
                    </a:lnTo>
                    <a:lnTo>
                      <a:pt x="42" y="158"/>
                    </a:lnTo>
                    <a:lnTo>
                      <a:pt x="39" y="156"/>
                    </a:lnTo>
                    <a:lnTo>
                      <a:pt x="34" y="149"/>
                    </a:lnTo>
                    <a:lnTo>
                      <a:pt x="32" y="146"/>
                    </a:lnTo>
                    <a:lnTo>
                      <a:pt x="31" y="142"/>
                    </a:lnTo>
                    <a:lnTo>
                      <a:pt x="30" y="138"/>
                    </a:lnTo>
                    <a:lnTo>
                      <a:pt x="28" y="132"/>
                    </a:lnTo>
                    <a:lnTo>
                      <a:pt x="28" y="123"/>
                    </a:lnTo>
                    <a:lnTo>
                      <a:pt x="28" y="113"/>
                    </a:lnTo>
                    <a:lnTo>
                      <a:pt x="31" y="104"/>
                    </a:lnTo>
                    <a:lnTo>
                      <a:pt x="32" y="100"/>
                    </a:lnTo>
                    <a:lnTo>
                      <a:pt x="35" y="97"/>
                    </a:lnTo>
                    <a:lnTo>
                      <a:pt x="37" y="93"/>
                    </a:lnTo>
                    <a:lnTo>
                      <a:pt x="39" y="90"/>
                    </a:lnTo>
                    <a:lnTo>
                      <a:pt x="46" y="85"/>
                    </a:lnTo>
                    <a:lnTo>
                      <a:pt x="53" y="81"/>
                    </a:lnTo>
                    <a:lnTo>
                      <a:pt x="61" y="78"/>
                    </a:lnTo>
                    <a:lnTo>
                      <a:pt x="67" y="78"/>
                    </a:lnTo>
                    <a:lnTo>
                      <a:pt x="71" y="78"/>
                    </a:lnTo>
                    <a:lnTo>
                      <a:pt x="79" y="79"/>
                    </a:lnTo>
                    <a:lnTo>
                      <a:pt x="87" y="81"/>
                    </a:lnTo>
                    <a:lnTo>
                      <a:pt x="90" y="83"/>
                    </a:lnTo>
                    <a:lnTo>
                      <a:pt x="93" y="85"/>
                    </a:lnTo>
                    <a:lnTo>
                      <a:pt x="98" y="90"/>
                    </a:lnTo>
                    <a:lnTo>
                      <a:pt x="101" y="97"/>
                    </a:lnTo>
                    <a:lnTo>
                      <a:pt x="104" y="105"/>
                    </a:lnTo>
                    <a:lnTo>
                      <a:pt x="105" y="113"/>
                    </a:lnTo>
                    <a:lnTo>
                      <a:pt x="105" y="123"/>
                    </a:lnTo>
                    <a:lnTo>
                      <a:pt x="105" y="132"/>
                    </a:lnTo>
                    <a:lnTo>
                      <a:pt x="104" y="141"/>
                    </a:lnTo>
                    <a:lnTo>
                      <a:pt x="101" y="149"/>
                    </a:lnTo>
                    <a:lnTo>
                      <a:pt x="98" y="156"/>
                    </a:lnTo>
                    <a:lnTo>
                      <a:pt x="95" y="158"/>
                    </a:lnTo>
                    <a:lnTo>
                      <a:pt x="93" y="161"/>
                    </a:lnTo>
                    <a:lnTo>
                      <a:pt x="90" y="162"/>
                    </a:lnTo>
                    <a:lnTo>
                      <a:pt x="87" y="165"/>
                    </a:lnTo>
                    <a:lnTo>
                      <a:pt x="83" y="166"/>
                    </a:lnTo>
                    <a:lnTo>
                      <a:pt x="79" y="168"/>
                    </a:lnTo>
                    <a:lnTo>
                      <a:pt x="71"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4" name="Freeform 44"/>
              <p:cNvSpPr>
                <a:spLocks noEditPoints="1"/>
              </p:cNvSpPr>
              <p:nvPr userDrawn="1"/>
            </p:nvSpPr>
            <p:spPr bwMode="auto">
              <a:xfrm>
                <a:off x="5421820" y="3233375"/>
                <a:ext cx="92353" cy="94992"/>
              </a:xfrm>
              <a:custGeom>
                <a:avLst/>
                <a:gdLst/>
                <a:ahLst/>
                <a:cxnLst>
                  <a:cxn ang="0">
                    <a:pos x="85" y="62"/>
                  </a:cxn>
                  <a:cxn ang="0">
                    <a:pos x="59" y="59"/>
                  </a:cxn>
                  <a:cxn ang="0">
                    <a:pos x="46" y="60"/>
                  </a:cxn>
                  <a:cxn ang="0">
                    <a:pos x="24" y="66"/>
                  </a:cxn>
                  <a:cxn ang="0">
                    <a:pos x="16" y="71"/>
                  </a:cxn>
                  <a:cxn ang="0">
                    <a:pos x="6" y="82"/>
                  </a:cxn>
                  <a:cxn ang="0">
                    <a:pos x="2" y="89"/>
                  </a:cxn>
                  <a:cxn ang="0">
                    <a:pos x="1" y="98"/>
                  </a:cxn>
                  <a:cxn ang="0">
                    <a:pos x="1" y="112"/>
                  </a:cxn>
                  <a:cxn ang="0">
                    <a:pos x="6" y="127"/>
                  </a:cxn>
                  <a:cxn ang="0">
                    <a:pos x="12" y="134"/>
                  </a:cxn>
                  <a:cxn ang="0">
                    <a:pos x="17" y="138"/>
                  </a:cxn>
                  <a:cxn ang="0">
                    <a:pos x="34" y="145"/>
                  </a:cxn>
                  <a:cxn ang="0">
                    <a:pos x="45" y="145"/>
                  </a:cxn>
                  <a:cxn ang="0">
                    <a:pos x="64" y="143"/>
                  </a:cxn>
                  <a:cxn ang="0">
                    <a:pos x="78" y="137"/>
                  </a:cxn>
                  <a:cxn ang="0">
                    <a:pos x="89" y="128"/>
                  </a:cxn>
                  <a:cxn ang="0">
                    <a:pos x="96" y="119"/>
                  </a:cxn>
                  <a:cxn ang="0">
                    <a:pos x="97" y="128"/>
                  </a:cxn>
                  <a:cxn ang="0">
                    <a:pos x="98" y="135"/>
                  </a:cxn>
                  <a:cxn ang="0">
                    <a:pos x="102" y="141"/>
                  </a:cxn>
                  <a:cxn ang="0">
                    <a:pos x="109" y="143"/>
                  </a:cxn>
                  <a:cxn ang="0">
                    <a:pos x="117" y="145"/>
                  </a:cxn>
                  <a:cxn ang="0">
                    <a:pos x="134" y="142"/>
                  </a:cxn>
                  <a:cxn ang="0">
                    <a:pos x="139" y="122"/>
                  </a:cxn>
                  <a:cxn ang="0">
                    <a:pos x="122" y="57"/>
                  </a:cxn>
                  <a:cxn ang="0">
                    <a:pos x="120" y="37"/>
                  </a:cxn>
                  <a:cxn ang="0">
                    <a:pos x="117" y="26"/>
                  </a:cxn>
                  <a:cxn ang="0">
                    <a:pos x="113" y="18"/>
                  </a:cxn>
                  <a:cxn ang="0">
                    <a:pos x="106" y="11"/>
                  </a:cxn>
                  <a:cxn ang="0">
                    <a:pos x="94" y="4"/>
                  </a:cxn>
                  <a:cxn ang="0">
                    <a:pos x="83" y="2"/>
                  </a:cxn>
                  <a:cxn ang="0">
                    <a:pos x="71" y="0"/>
                  </a:cxn>
                  <a:cxn ang="0">
                    <a:pos x="54" y="2"/>
                  </a:cxn>
                  <a:cxn ang="0">
                    <a:pos x="39" y="4"/>
                  </a:cxn>
                  <a:cxn ang="0">
                    <a:pos x="16" y="14"/>
                  </a:cxn>
                  <a:cxn ang="0">
                    <a:pos x="31" y="37"/>
                  </a:cxn>
                  <a:cxn ang="0">
                    <a:pos x="45" y="32"/>
                  </a:cxn>
                  <a:cxn ang="0">
                    <a:pos x="56" y="29"/>
                  </a:cxn>
                  <a:cxn ang="0">
                    <a:pos x="75" y="29"/>
                  </a:cxn>
                  <a:cxn ang="0">
                    <a:pos x="86" y="34"/>
                  </a:cxn>
                  <a:cxn ang="0">
                    <a:pos x="89" y="37"/>
                  </a:cxn>
                  <a:cxn ang="0">
                    <a:pos x="93" y="48"/>
                  </a:cxn>
                  <a:cxn ang="0">
                    <a:pos x="94" y="60"/>
                  </a:cxn>
                  <a:cxn ang="0">
                    <a:pos x="94" y="83"/>
                  </a:cxn>
                  <a:cxn ang="0">
                    <a:pos x="94" y="92"/>
                  </a:cxn>
                  <a:cxn ang="0">
                    <a:pos x="91" y="101"/>
                  </a:cxn>
                  <a:cxn ang="0">
                    <a:pos x="85" y="111"/>
                  </a:cxn>
                  <a:cxn ang="0">
                    <a:pos x="71" y="117"/>
                  </a:cxn>
                  <a:cxn ang="0">
                    <a:pos x="53" y="120"/>
                  </a:cxn>
                  <a:cxn ang="0">
                    <a:pos x="42" y="119"/>
                  </a:cxn>
                  <a:cxn ang="0">
                    <a:pos x="35" y="115"/>
                  </a:cxn>
                  <a:cxn ang="0">
                    <a:pos x="30" y="109"/>
                  </a:cxn>
                  <a:cxn ang="0">
                    <a:pos x="28" y="101"/>
                  </a:cxn>
                  <a:cxn ang="0">
                    <a:pos x="30" y="94"/>
                  </a:cxn>
                  <a:cxn ang="0">
                    <a:pos x="35" y="87"/>
                  </a:cxn>
                  <a:cxn ang="0">
                    <a:pos x="39" y="85"/>
                  </a:cxn>
                  <a:cxn ang="0">
                    <a:pos x="52" y="82"/>
                  </a:cxn>
                  <a:cxn ang="0">
                    <a:pos x="68" y="81"/>
                  </a:cxn>
                  <a:cxn ang="0">
                    <a:pos x="94" y="83"/>
                  </a:cxn>
                </a:cxnLst>
                <a:rect l="0" t="0" r="r" b="b"/>
                <a:pathLst>
                  <a:path w="139" h="145">
                    <a:moveTo>
                      <a:pt x="94" y="63"/>
                    </a:moveTo>
                    <a:lnTo>
                      <a:pt x="85" y="62"/>
                    </a:lnTo>
                    <a:lnTo>
                      <a:pt x="76" y="60"/>
                    </a:lnTo>
                    <a:lnTo>
                      <a:pt x="59" y="59"/>
                    </a:lnTo>
                    <a:lnTo>
                      <a:pt x="52" y="59"/>
                    </a:lnTo>
                    <a:lnTo>
                      <a:pt x="46" y="60"/>
                    </a:lnTo>
                    <a:lnTo>
                      <a:pt x="34" y="62"/>
                    </a:lnTo>
                    <a:lnTo>
                      <a:pt x="24" y="66"/>
                    </a:lnTo>
                    <a:lnTo>
                      <a:pt x="20" y="68"/>
                    </a:lnTo>
                    <a:lnTo>
                      <a:pt x="16" y="71"/>
                    </a:lnTo>
                    <a:lnTo>
                      <a:pt x="9" y="78"/>
                    </a:lnTo>
                    <a:lnTo>
                      <a:pt x="6" y="82"/>
                    </a:lnTo>
                    <a:lnTo>
                      <a:pt x="4" y="85"/>
                    </a:lnTo>
                    <a:lnTo>
                      <a:pt x="2" y="89"/>
                    </a:lnTo>
                    <a:lnTo>
                      <a:pt x="1" y="94"/>
                    </a:lnTo>
                    <a:lnTo>
                      <a:pt x="1" y="98"/>
                    </a:lnTo>
                    <a:lnTo>
                      <a:pt x="0" y="104"/>
                    </a:lnTo>
                    <a:lnTo>
                      <a:pt x="1" y="112"/>
                    </a:lnTo>
                    <a:lnTo>
                      <a:pt x="2" y="120"/>
                    </a:lnTo>
                    <a:lnTo>
                      <a:pt x="6" y="127"/>
                    </a:lnTo>
                    <a:lnTo>
                      <a:pt x="11" y="132"/>
                    </a:lnTo>
                    <a:lnTo>
                      <a:pt x="12" y="134"/>
                    </a:lnTo>
                    <a:lnTo>
                      <a:pt x="15" y="135"/>
                    </a:lnTo>
                    <a:lnTo>
                      <a:pt x="17" y="138"/>
                    </a:lnTo>
                    <a:lnTo>
                      <a:pt x="26" y="142"/>
                    </a:lnTo>
                    <a:lnTo>
                      <a:pt x="34" y="145"/>
                    </a:lnTo>
                    <a:lnTo>
                      <a:pt x="39" y="145"/>
                    </a:lnTo>
                    <a:lnTo>
                      <a:pt x="45" y="145"/>
                    </a:lnTo>
                    <a:lnTo>
                      <a:pt x="54" y="145"/>
                    </a:lnTo>
                    <a:lnTo>
                      <a:pt x="64" y="143"/>
                    </a:lnTo>
                    <a:lnTo>
                      <a:pt x="71" y="141"/>
                    </a:lnTo>
                    <a:lnTo>
                      <a:pt x="78" y="137"/>
                    </a:lnTo>
                    <a:lnTo>
                      <a:pt x="85" y="132"/>
                    </a:lnTo>
                    <a:lnTo>
                      <a:pt x="89" y="128"/>
                    </a:lnTo>
                    <a:lnTo>
                      <a:pt x="93" y="123"/>
                    </a:lnTo>
                    <a:lnTo>
                      <a:pt x="96" y="119"/>
                    </a:lnTo>
                    <a:lnTo>
                      <a:pt x="96" y="126"/>
                    </a:lnTo>
                    <a:lnTo>
                      <a:pt x="97" y="128"/>
                    </a:lnTo>
                    <a:lnTo>
                      <a:pt x="97" y="131"/>
                    </a:lnTo>
                    <a:lnTo>
                      <a:pt x="98" y="135"/>
                    </a:lnTo>
                    <a:lnTo>
                      <a:pt x="100" y="138"/>
                    </a:lnTo>
                    <a:lnTo>
                      <a:pt x="102" y="141"/>
                    </a:lnTo>
                    <a:lnTo>
                      <a:pt x="105" y="142"/>
                    </a:lnTo>
                    <a:lnTo>
                      <a:pt x="109" y="143"/>
                    </a:lnTo>
                    <a:lnTo>
                      <a:pt x="113" y="145"/>
                    </a:lnTo>
                    <a:lnTo>
                      <a:pt x="117" y="145"/>
                    </a:lnTo>
                    <a:lnTo>
                      <a:pt x="128" y="143"/>
                    </a:lnTo>
                    <a:lnTo>
                      <a:pt x="134" y="142"/>
                    </a:lnTo>
                    <a:lnTo>
                      <a:pt x="139" y="141"/>
                    </a:lnTo>
                    <a:lnTo>
                      <a:pt x="139" y="122"/>
                    </a:lnTo>
                    <a:lnTo>
                      <a:pt x="122" y="122"/>
                    </a:lnTo>
                    <a:lnTo>
                      <a:pt x="122" y="57"/>
                    </a:lnTo>
                    <a:lnTo>
                      <a:pt x="122" y="44"/>
                    </a:lnTo>
                    <a:lnTo>
                      <a:pt x="120" y="37"/>
                    </a:lnTo>
                    <a:lnTo>
                      <a:pt x="119" y="32"/>
                    </a:lnTo>
                    <a:lnTo>
                      <a:pt x="117" y="26"/>
                    </a:lnTo>
                    <a:lnTo>
                      <a:pt x="116" y="22"/>
                    </a:lnTo>
                    <a:lnTo>
                      <a:pt x="113" y="18"/>
                    </a:lnTo>
                    <a:lnTo>
                      <a:pt x="111" y="14"/>
                    </a:lnTo>
                    <a:lnTo>
                      <a:pt x="106" y="11"/>
                    </a:lnTo>
                    <a:lnTo>
                      <a:pt x="104" y="8"/>
                    </a:lnTo>
                    <a:lnTo>
                      <a:pt x="94" y="4"/>
                    </a:lnTo>
                    <a:lnTo>
                      <a:pt x="90" y="3"/>
                    </a:lnTo>
                    <a:lnTo>
                      <a:pt x="83" y="2"/>
                    </a:lnTo>
                    <a:lnTo>
                      <a:pt x="78" y="0"/>
                    </a:lnTo>
                    <a:lnTo>
                      <a:pt x="71" y="0"/>
                    </a:lnTo>
                    <a:lnTo>
                      <a:pt x="63" y="0"/>
                    </a:lnTo>
                    <a:lnTo>
                      <a:pt x="54" y="2"/>
                    </a:lnTo>
                    <a:lnTo>
                      <a:pt x="46" y="3"/>
                    </a:lnTo>
                    <a:lnTo>
                      <a:pt x="39" y="4"/>
                    </a:lnTo>
                    <a:lnTo>
                      <a:pt x="26" y="10"/>
                    </a:lnTo>
                    <a:lnTo>
                      <a:pt x="16" y="14"/>
                    </a:lnTo>
                    <a:lnTo>
                      <a:pt x="27" y="38"/>
                    </a:lnTo>
                    <a:lnTo>
                      <a:pt x="31" y="37"/>
                    </a:lnTo>
                    <a:lnTo>
                      <a:pt x="35" y="34"/>
                    </a:lnTo>
                    <a:lnTo>
                      <a:pt x="45" y="32"/>
                    </a:lnTo>
                    <a:lnTo>
                      <a:pt x="50" y="30"/>
                    </a:lnTo>
                    <a:lnTo>
                      <a:pt x="56" y="29"/>
                    </a:lnTo>
                    <a:lnTo>
                      <a:pt x="68" y="29"/>
                    </a:lnTo>
                    <a:lnTo>
                      <a:pt x="75" y="29"/>
                    </a:lnTo>
                    <a:lnTo>
                      <a:pt x="82" y="32"/>
                    </a:lnTo>
                    <a:lnTo>
                      <a:pt x="86" y="34"/>
                    </a:lnTo>
                    <a:lnTo>
                      <a:pt x="87" y="36"/>
                    </a:lnTo>
                    <a:lnTo>
                      <a:pt x="89" y="37"/>
                    </a:lnTo>
                    <a:lnTo>
                      <a:pt x="91" y="42"/>
                    </a:lnTo>
                    <a:lnTo>
                      <a:pt x="93" y="48"/>
                    </a:lnTo>
                    <a:lnTo>
                      <a:pt x="94" y="53"/>
                    </a:lnTo>
                    <a:lnTo>
                      <a:pt x="94" y="60"/>
                    </a:lnTo>
                    <a:lnTo>
                      <a:pt x="94" y="63"/>
                    </a:lnTo>
                    <a:close/>
                    <a:moveTo>
                      <a:pt x="94" y="83"/>
                    </a:moveTo>
                    <a:lnTo>
                      <a:pt x="94" y="89"/>
                    </a:lnTo>
                    <a:lnTo>
                      <a:pt x="94" y="92"/>
                    </a:lnTo>
                    <a:lnTo>
                      <a:pt x="93" y="96"/>
                    </a:lnTo>
                    <a:lnTo>
                      <a:pt x="91" y="101"/>
                    </a:lnTo>
                    <a:lnTo>
                      <a:pt x="89" y="105"/>
                    </a:lnTo>
                    <a:lnTo>
                      <a:pt x="85" y="111"/>
                    </a:lnTo>
                    <a:lnTo>
                      <a:pt x="78" y="115"/>
                    </a:lnTo>
                    <a:lnTo>
                      <a:pt x="71" y="117"/>
                    </a:lnTo>
                    <a:lnTo>
                      <a:pt x="63" y="119"/>
                    </a:lnTo>
                    <a:lnTo>
                      <a:pt x="53" y="120"/>
                    </a:lnTo>
                    <a:lnTo>
                      <a:pt x="48" y="119"/>
                    </a:lnTo>
                    <a:lnTo>
                      <a:pt x="42" y="119"/>
                    </a:lnTo>
                    <a:lnTo>
                      <a:pt x="38" y="117"/>
                    </a:lnTo>
                    <a:lnTo>
                      <a:pt x="35" y="115"/>
                    </a:lnTo>
                    <a:lnTo>
                      <a:pt x="32" y="112"/>
                    </a:lnTo>
                    <a:lnTo>
                      <a:pt x="30" y="109"/>
                    </a:lnTo>
                    <a:lnTo>
                      <a:pt x="28" y="105"/>
                    </a:lnTo>
                    <a:lnTo>
                      <a:pt x="28" y="101"/>
                    </a:lnTo>
                    <a:lnTo>
                      <a:pt x="30" y="96"/>
                    </a:lnTo>
                    <a:lnTo>
                      <a:pt x="30" y="94"/>
                    </a:lnTo>
                    <a:lnTo>
                      <a:pt x="31" y="92"/>
                    </a:lnTo>
                    <a:lnTo>
                      <a:pt x="35" y="87"/>
                    </a:lnTo>
                    <a:lnTo>
                      <a:pt x="37" y="86"/>
                    </a:lnTo>
                    <a:lnTo>
                      <a:pt x="39" y="85"/>
                    </a:lnTo>
                    <a:lnTo>
                      <a:pt x="45" y="83"/>
                    </a:lnTo>
                    <a:lnTo>
                      <a:pt x="52" y="82"/>
                    </a:lnTo>
                    <a:lnTo>
                      <a:pt x="60" y="81"/>
                    </a:lnTo>
                    <a:lnTo>
                      <a:pt x="68" y="81"/>
                    </a:lnTo>
                    <a:lnTo>
                      <a:pt x="80" y="81"/>
                    </a:lnTo>
                    <a:lnTo>
                      <a:pt x="94"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5" name="Rectangle 45"/>
              <p:cNvSpPr>
                <a:spLocks noChangeArrowheads="1"/>
              </p:cNvSpPr>
              <p:nvPr userDrawn="1"/>
            </p:nvSpPr>
            <p:spPr bwMode="auto">
              <a:xfrm>
                <a:off x="5528686" y="3199072"/>
                <a:ext cx="19790" cy="1279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6" name="Freeform 46"/>
              <p:cNvSpPr>
                <a:spLocks/>
              </p:cNvSpPr>
              <p:nvPr userDrawn="1"/>
            </p:nvSpPr>
            <p:spPr bwMode="auto">
              <a:xfrm>
                <a:off x="5611803" y="3205669"/>
                <a:ext cx="80479" cy="121379"/>
              </a:xfrm>
              <a:custGeom>
                <a:avLst/>
                <a:gdLst/>
                <a:ahLst/>
                <a:cxnLst>
                  <a:cxn ang="0">
                    <a:pos x="0" y="183"/>
                  </a:cxn>
                  <a:cxn ang="0">
                    <a:pos x="124" y="183"/>
                  </a:cxn>
                  <a:cxn ang="0">
                    <a:pos x="124" y="157"/>
                  </a:cxn>
                  <a:cxn ang="0">
                    <a:pos x="30" y="157"/>
                  </a:cxn>
                  <a:cxn ang="0">
                    <a:pos x="30" y="104"/>
                  </a:cxn>
                  <a:cxn ang="0">
                    <a:pos x="114" y="104"/>
                  </a:cxn>
                  <a:cxn ang="0">
                    <a:pos x="114" y="78"/>
                  </a:cxn>
                  <a:cxn ang="0">
                    <a:pos x="30" y="78"/>
                  </a:cxn>
                  <a:cxn ang="0">
                    <a:pos x="30" y="28"/>
                  </a:cxn>
                  <a:cxn ang="0">
                    <a:pos x="122" y="28"/>
                  </a:cxn>
                  <a:cxn ang="0">
                    <a:pos x="122" y="0"/>
                  </a:cxn>
                  <a:cxn ang="0">
                    <a:pos x="0" y="0"/>
                  </a:cxn>
                  <a:cxn ang="0">
                    <a:pos x="0" y="183"/>
                  </a:cxn>
                </a:cxnLst>
                <a:rect l="0" t="0" r="r" b="b"/>
                <a:pathLst>
                  <a:path w="124" h="183">
                    <a:moveTo>
                      <a:pt x="0" y="183"/>
                    </a:moveTo>
                    <a:lnTo>
                      <a:pt x="124" y="183"/>
                    </a:lnTo>
                    <a:lnTo>
                      <a:pt x="124" y="157"/>
                    </a:lnTo>
                    <a:lnTo>
                      <a:pt x="30" y="157"/>
                    </a:lnTo>
                    <a:lnTo>
                      <a:pt x="30" y="104"/>
                    </a:lnTo>
                    <a:lnTo>
                      <a:pt x="114" y="104"/>
                    </a:lnTo>
                    <a:lnTo>
                      <a:pt x="114" y="78"/>
                    </a:lnTo>
                    <a:lnTo>
                      <a:pt x="30" y="78"/>
                    </a:lnTo>
                    <a:lnTo>
                      <a:pt x="30" y="28"/>
                    </a:lnTo>
                    <a:lnTo>
                      <a:pt x="122" y="28"/>
                    </a:lnTo>
                    <a:lnTo>
                      <a:pt x="122"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7" name="Freeform 47"/>
              <p:cNvSpPr>
                <a:spLocks/>
              </p:cNvSpPr>
              <p:nvPr userDrawn="1"/>
            </p:nvSpPr>
            <p:spPr bwMode="auto">
              <a:xfrm>
                <a:off x="5704156" y="3236013"/>
                <a:ext cx="88395" cy="91034"/>
              </a:xfrm>
              <a:custGeom>
                <a:avLst/>
                <a:gdLst/>
                <a:ahLst/>
                <a:cxnLst>
                  <a:cxn ang="0">
                    <a:pos x="52" y="66"/>
                  </a:cxn>
                  <a:cxn ang="0">
                    <a:pos x="0" y="139"/>
                  </a:cxn>
                  <a:cxn ang="0">
                    <a:pos x="32" y="139"/>
                  </a:cxn>
                  <a:cxn ang="0">
                    <a:pos x="66" y="86"/>
                  </a:cxn>
                  <a:cxn ang="0">
                    <a:pos x="103" y="139"/>
                  </a:cxn>
                  <a:cxn ang="0">
                    <a:pos x="136" y="139"/>
                  </a:cxn>
                  <a:cxn ang="0">
                    <a:pos x="84" y="66"/>
                  </a:cxn>
                  <a:cxn ang="0">
                    <a:pos x="92" y="56"/>
                  </a:cxn>
                  <a:cxn ang="0">
                    <a:pos x="107" y="33"/>
                  </a:cxn>
                  <a:cxn ang="0">
                    <a:pos x="123" y="10"/>
                  </a:cxn>
                  <a:cxn ang="0">
                    <a:pos x="130" y="0"/>
                  </a:cxn>
                  <a:cxn ang="0">
                    <a:pos x="100" y="0"/>
                  </a:cxn>
                  <a:cxn ang="0">
                    <a:pos x="70" y="45"/>
                  </a:cxn>
                  <a:cxn ang="0">
                    <a:pos x="38" y="0"/>
                  </a:cxn>
                  <a:cxn ang="0">
                    <a:pos x="6" y="0"/>
                  </a:cxn>
                  <a:cxn ang="0">
                    <a:pos x="52" y="66"/>
                  </a:cxn>
                </a:cxnLst>
                <a:rect l="0" t="0" r="r" b="b"/>
                <a:pathLst>
                  <a:path w="136" h="139">
                    <a:moveTo>
                      <a:pt x="52" y="66"/>
                    </a:moveTo>
                    <a:lnTo>
                      <a:pt x="0" y="139"/>
                    </a:lnTo>
                    <a:lnTo>
                      <a:pt x="32" y="139"/>
                    </a:lnTo>
                    <a:lnTo>
                      <a:pt x="66" y="86"/>
                    </a:lnTo>
                    <a:lnTo>
                      <a:pt x="103" y="139"/>
                    </a:lnTo>
                    <a:lnTo>
                      <a:pt x="136" y="139"/>
                    </a:lnTo>
                    <a:lnTo>
                      <a:pt x="84" y="66"/>
                    </a:lnTo>
                    <a:lnTo>
                      <a:pt x="92" y="56"/>
                    </a:lnTo>
                    <a:lnTo>
                      <a:pt x="107" y="33"/>
                    </a:lnTo>
                    <a:lnTo>
                      <a:pt x="123" y="10"/>
                    </a:lnTo>
                    <a:lnTo>
                      <a:pt x="130" y="0"/>
                    </a:lnTo>
                    <a:lnTo>
                      <a:pt x="100" y="0"/>
                    </a:lnTo>
                    <a:lnTo>
                      <a:pt x="70" y="45"/>
                    </a:lnTo>
                    <a:lnTo>
                      <a:pt x="38" y="0"/>
                    </a:lnTo>
                    <a:lnTo>
                      <a:pt x="6" y="0"/>
                    </a:lnTo>
                    <a:lnTo>
                      <a:pt x="52"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8" name="Freeform 48"/>
              <p:cNvSpPr>
                <a:spLocks noEditPoints="1"/>
              </p:cNvSpPr>
              <p:nvPr userDrawn="1"/>
            </p:nvSpPr>
            <p:spPr bwMode="auto">
              <a:xfrm>
                <a:off x="5797829" y="3233375"/>
                <a:ext cx="84437" cy="94992"/>
              </a:xfrm>
              <a:custGeom>
                <a:avLst/>
                <a:gdLst/>
                <a:ahLst/>
                <a:cxnLst>
                  <a:cxn ang="0">
                    <a:pos x="124" y="81"/>
                  </a:cxn>
                  <a:cxn ang="0">
                    <a:pos x="123" y="51"/>
                  </a:cxn>
                  <a:cxn ang="0">
                    <a:pos x="119" y="32"/>
                  </a:cxn>
                  <a:cxn ang="0">
                    <a:pos x="111" y="17"/>
                  </a:cxn>
                  <a:cxn ang="0">
                    <a:pos x="102" y="9"/>
                  </a:cxn>
                  <a:cxn ang="0">
                    <a:pos x="90" y="2"/>
                  </a:cxn>
                  <a:cxn ang="0">
                    <a:pos x="68" y="0"/>
                  </a:cxn>
                  <a:cxn ang="0">
                    <a:pos x="52" y="1"/>
                  </a:cxn>
                  <a:cxn ang="0">
                    <a:pos x="42" y="4"/>
                  </a:cxn>
                  <a:cxn ang="0">
                    <a:pos x="30" y="9"/>
                  </a:cxn>
                  <a:cxn ang="0">
                    <a:pos x="16" y="20"/>
                  </a:cxn>
                  <a:cxn ang="0">
                    <a:pos x="12" y="27"/>
                  </a:cxn>
                  <a:cxn ang="0">
                    <a:pos x="6" y="35"/>
                  </a:cxn>
                  <a:cxn ang="0">
                    <a:pos x="1" y="53"/>
                  </a:cxn>
                  <a:cxn ang="0">
                    <a:pos x="0" y="72"/>
                  </a:cxn>
                  <a:cxn ang="0">
                    <a:pos x="1" y="91"/>
                  </a:cxn>
                  <a:cxn ang="0">
                    <a:pos x="6" y="107"/>
                  </a:cxn>
                  <a:cxn ang="0">
                    <a:pos x="15" y="122"/>
                  </a:cxn>
                  <a:cxn ang="0">
                    <a:pos x="24" y="130"/>
                  </a:cxn>
                  <a:cxn ang="0">
                    <a:pos x="31" y="136"/>
                  </a:cxn>
                  <a:cxn ang="0">
                    <a:pos x="39" y="140"/>
                  </a:cxn>
                  <a:cxn ang="0">
                    <a:pos x="53" y="143"/>
                  </a:cxn>
                  <a:cxn ang="0">
                    <a:pos x="72" y="143"/>
                  </a:cxn>
                  <a:cxn ang="0">
                    <a:pos x="90" y="140"/>
                  </a:cxn>
                  <a:cxn ang="0">
                    <a:pos x="102" y="135"/>
                  </a:cxn>
                  <a:cxn ang="0">
                    <a:pos x="113" y="128"/>
                  </a:cxn>
                  <a:cxn ang="0">
                    <a:pos x="127" y="114"/>
                  </a:cxn>
                  <a:cxn ang="0">
                    <a:pos x="105" y="103"/>
                  </a:cxn>
                  <a:cxn ang="0">
                    <a:pos x="96" y="110"/>
                  </a:cxn>
                  <a:cxn ang="0">
                    <a:pos x="86" y="115"/>
                  </a:cxn>
                  <a:cxn ang="0">
                    <a:pos x="74" y="118"/>
                  </a:cxn>
                  <a:cxn ang="0">
                    <a:pos x="59" y="117"/>
                  </a:cxn>
                  <a:cxn ang="0">
                    <a:pos x="50" y="115"/>
                  </a:cxn>
                  <a:cxn ang="0">
                    <a:pos x="39" y="107"/>
                  </a:cxn>
                  <a:cxn ang="0">
                    <a:pos x="32" y="96"/>
                  </a:cxn>
                  <a:cxn ang="0">
                    <a:pos x="28" y="81"/>
                  </a:cxn>
                  <a:cxn ang="0">
                    <a:pos x="31" y="50"/>
                  </a:cxn>
                  <a:cxn ang="0">
                    <a:pos x="38" y="39"/>
                  </a:cxn>
                  <a:cxn ang="0">
                    <a:pos x="46" y="31"/>
                  </a:cxn>
                  <a:cxn ang="0">
                    <a:pos x="60" y="27"/>
                  </a:cxn>
                  <a:cxn ang="0">
                    <a:pos x="74" y="25"/>
                  </a:cxn>
                  <a:cxn ang="0">
                    <a:pos x="83" y="30"/>
                  </a:cxn>
                  <a:cxn ang="0">
                    <a:pos x="91" y="36"/>
                  </a:cxn>
                  <a:cxn ang="0">
                    <a:pos x="96" y="49"/>
                  </a:cxn>
                  <a:cxn ang="0">
                    <a:pos x="30" y="57"/>
                  </a:cxn>
                </a:cxnLst>
                <a:rect l="0" t="0" r="r" b="b"/>
                <a:pathLst>
                  <a:path w="127" h="143">
                    <a:moveTo>
                      <a:pt x="28" y="81"/>
                    </a:moveTo>
                    <a:lnTo>
                      <a:pt x="124" y="81"/>
                    </a:lnTo>
                    <a:lnTo>
                      <a:pt x="124" y="61"/>
                    </a:lnTo>
                    <a:lnTo>
                      <a:pt x="123" y="51"/>
                    </a:lnTo>
                    <a:lnTo>
                      <a:pt x="122" y="42"/>
                    </a:lnTo>
                    <a:lnTo>
                      <a:pt x="119" y="32"/>
                    </a:lnTo>
                    <a:lnTo>
                      <a:pt x="116" y="24"/>
                    </a:lnTo>
                    <a:lnTo>
                      <a:pt x="111" y="17"/>
                    </a:lnTo>
                    <a:lnTo>
                      <a:pt x="105" y="12"/>
                    </a:lnTo>
                    <a:lnTo>
                      <a:pt x="102" y="9"/>
                    </a:lnTo>
                    <a:lnTo>
                      <a:pt x="98" y="6"/>
                    </a:lnTo>
                    <a:lnTo>
                      <a:pt x="90" y="2"/>
                    </a:lnTo>
                    <a:lnTo>
                      <a:pt x="79" y="0"/>
                    </a:lnTo>
                    <a:lnTo>
                      <a:pt x="68" y="0"/>
                    </a:lnTo>
                    <a:lnTo>
                      <a:pt x="57" y="0"/>
                    </a:lnTo>
                    <a:lnTo>
                      <a:pt x="52" y="1"/>
                    </a:lnTo>
                    <a:lnTo>
                      <a:pt x="46" y="2"/>
                    </a:lnTo>
                    <a:lnTo>
                      <a:pt x="42" y="4"/>
                    </a:lnTo>
                    <a:lnTo>
                      <a:pt x="38" y="5"/>
                    </a:lnTo>
                    <a:lnTo>
                      <a:pt x="30" y="9"/>
                    </a:lnTo>
                    <a:lnTo>
                      <a:pt x="23" y="15"/>
                    </a:lnTo>
                    <a:lnTo>
                      <a:pt x="16" y="20"/>
                    </a:lnTo>
                    <a:lnTo>
                      <a:pt x="13" y="24"/>
                    </a:lnTo>
                    <a:lnTo>
                      <a:pt x="12" y="27"/>
                    </a:lnTo>
                    <a:lnTo>
                      <a:pt x="9" y="31"/>
                    </a:lnTo>
                    <a:lnTo>
                      <a:pt x="6" y="35"/>
                    </a:lnTo>
                    <a:lnTo>
                      <a:pt x="4" y="43"/>
                    </a:lnTo>
                    <a:lnTo>
                      <a:pt x="1" y="53"/>
                    </a:lnTo>
                    <a:lnTo>
                      <a:pt x="0" y="61"/>
                    </a:lnTo>
                    <a:lnTo>
                      <a:pt x="0" y="72"/>
                    </a:lnTo>
                    <a:lnTo>
                      <a:pt x="0" y="81"/>
                    </a:lnTo>
                    <a:lnTo>
                      <a:pt x="1" y="91"/>
                    </a:lnTo>
                    <a:lnTo>
                      <a:pt x="4" y="99"/>
                    </a:lnTo>
                    <a:lnTo>
                      <a:pt x="6" y="107"/>
                    </a:lnTo>
                    <a:lnTo>
                      <a:pt x="11" y="115"/>
                    </a:lnTo>
                    <a:lnTo>
                      <a:pt x="15" y="122"/>
                    </a:lnTo>
                    <a:lnTo>
                      <a:pt x="20" y="128"/>
                    </a:lnTo>
                    <a:lnTo>
                      <a:pt x="24" y="130"/>
                    </a:lnTo>
                    <a:lnTo>
                      <a:pt x="27" y="133"/>
                    </a:lnTo>
                    <a:lnTo>
                      <a:pt x="31" y="136"/>
                    </a:lnTo>
                    <a:lnTo>
                      <a:pt x="35" y="137"/>
                    </a:lnTo>
                    <a:lnTo>
                      <a:pt x="39" y="140"/>
                    </a:lnTo>
                    <a:lnTo>
                      <a:pt x="43" y="141"/>
                    </a:lnTo>
                    <a:lnTo>
                      <a:pt x="53" y="143"/>
                    </a:lnTo>
                    <a:lnTo>
                      <a:pt x="63" y="143"/>
                    </a:lnTo>
                    <a:lnTo>
                      <a:pt x="72" y="143"/>
                    </a:lnTo>
                    <a:lnTo>
                      <a:pt x="82" y="141"/>
                    </a:lnTo>
                    <a:lnTo>
                      <a:pt x="90" y="140"/>
                    </a:lnTo>
                    <a:lnTo>
                      <a:pt x="98" y="136"/>
                    </a:lnTo>
                    <a:lnTo>
                      <a:pt x="102" y="135"/>
                    </a:lnTo>
                    <a:lnTo>
                      <a:pt x="106" y="133"/>
                    </a:lnTo>
                    <a:lnTo>
                      <a:pt x="113" y="128"/>
                    </a:lnTo>
                    <a:lnTo>
                      <a:pt x="120" y="122"/>
                    </a:lnTo>
                    <a:lnTo>
                      <a:pt x="127" y="114"/>
                    </a:lnTo>
                    <a:lnTo>
                      <a:pt x="109" y="99"/>
                    </a:lnTo>
                    <a:lnTo>
                      <a:pt x="105" y="103"/>
                    </a:lnTo>
                    <a:lnTo>
                      <a:pt x="101" y="107"/>
                    </a:lnTo>
                    <a:lnTo>
                      <a:pt x="96" y="110"/>
                    </a:lnTo>
                    <a:lnTo>
                      <a:pt x="91" y="113"/>
                    </a:lnTo>
                    <a:lnTo>
                      <a:pt x="86" y="115"/>
                    </a:lnTo>
                    <a:lnTo>
                      <a:pt x="79" y="117"/>
                    </a:lnTo>
                    <a:lnTo>
                      <a:pt x="74" y="118"/>
                    </a:lnTo>
                    <a:lnTo>
                      <a:pt x="65" y="118"/>
                    </a:lnTo>
                    <a:lnTo>
                      <a:pt x="59" y="117"/>
                    </a:lnTo>
                    <a:lnTo>
                      <a:pt x="54" y="117"/>
                    </a:lnTo>
                    <a:lnTo>
                      <a:pt x="50" y="115"/>
                    </a:lnTo>
                    <a:lnTo>
                      <a:pt x="45" y="113"/>
                    </a:lnTo>
                    <a:lnTo>
                      <a:pt x="39" y="107"/>
                    </a:lnTo>
                    <a:lnTo>
                      <a:pt x="35" y="102"/>
                    </a:lnTo>
                    <a:lnTo>
                      <a:pt x="32" y="96"/>
                    </a:lnTo>
                    <a:lnTo>
                      <a:pt x="30" y="90"/>
                    </a:lnTo>
                    <a:lnTo>
                      <a:pt x="28" y="81"/>
                    </a:lnTo>
                    <a:close/>
                    <a:moveTo>
                      <a:pt x="30" y="57"/>
                    </a:moveTo>
                    <a:lnTo>
                      <a:pt x="31" y="50"/>
                    </a:lnTo>
                    <a:lnTo>
                      <a:pt x="34" y="45"/>
                    </a:lnTo>
                    <a:lnTo>
                      <a:pt x="38" y="39"/>
                    </a:lnTo>
                    <a:lnTo>
                      <a:pt x="42" y="34"/>
                    </a:lnTo>
                    <a:lnTo>
                      <a:pt x="46" y="31"/>
                    </a:lnTo>
                    <a:lnTo>
                      <a:pt x="53" y="28"/>
                    </a:lnTo>
                    <a:lnTo>
                      <a:pt x="60" y="27"/>
                    </a:lnTo>
                    <a:lnTo>
                      <a:pt x="67" y="25"/>
                    </a:lnTo>
                    <a:lnTo>
                      <a:pt x="74" y="25"/>
                    </a:lnTo>
                    <a:lnTo>
                      <a:pt x="79" y="27"/>
                    </a:lnTo>
                    <a:lnTo>
                      <a:pt x="83" y="30"/>
                    </a:lnTo>
                    <a:lnTo>
                      <a:pt x="87" y="32"/>
                    </a:lnTo>
                    <a:lnTo>
                      <a:pt x="91" y="36"/>
                    </a:lnTo>
                    <a:lnTo>
                      <a:pt x="94" y="42"/>
                    </a:lnTo>
                    <a:lnTo>
                      <a:pt x="96"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79" name="Freeform 49"/>
              <p:cNvSpPr>
                <a:spLocks/>
              </p:cNvSpPr>
              <p:nvPr userDrawn="1"/>
            </p:nvSpPr>
            <p:spPr bwMode="auto">
              <a:xfrm>
                <a:off x="5895459" y="3233375"/>
                <a:ext cx="85756" cy="94992"/>
              </a:xfrm>
              <a:custGeom>
                <a:avLst/>
                <a:gdLst/>
                <a:ahLst/>
                <a:cxnLst>
                  <a:cxn ang="0">
                    <a:pos x="75" y="143"/>
                  </a:cxn>
                  <a:cxn ang="0">
                    <a:pos x="90" y="139"/>
                  </a:cxn>
                  <a:cxn ang="0">
                    <a:pos x="103" y="133"/>
                  </a:cxn>
                  <a:cxn ang="0">
                    <a:pos x="116" y="122"/>
                  </a:cxn>
                  <a:cxn ang="0">
                    <a:pos x="129" y="106"/>
                  </a:cxn>
                  <a:cxn ang="0">
                    <a:pos x="101" y="99"/>
                  </a:cxn>
                  <a:cxn ang="0">
                    <a:pos x="96" y="106"/>
                  </a:cxn>
                  <a:cxn ang="0">
                    <a:pos x="89" y="111"/>
                  </a:cxn>
                  <a:cxn ang="0">
                    <a:pos x="79" y="115"/>
                  </a:cxn>
                  <a:cxn ang="0">
                    <a:pos x="67" y="117"/>
                  </a:cxn>
                  <a:cxn ang="0">
                    <a:pos x="51" y="114"/>
                  </a:cxn>
                  <a:cxn ang="0">
                    <a:pos x="44" y="110"/>
                  </a:cxn>
                  <a:cxn ang="0">
                    <a:pos x="38" y="105"/>
                  </a:cxn>
                  <a:cxn ang="0">
                    <a:pos x="31" y="90"/>
                  </a:cxn>
                  <a:cxn ang="0">
                    <a:pos x="30" y="72"/>
                  </a:cxn>
                  <a:cxn ang="0">
                    <a:pos x="31" y="54"/>
                  </a:cxn>
                  <a:cxn ang="0">
                    <a:pos x="36" y="46"/>
                  </a:cxn>
                  <a:cxn ang="0">
                    <a:pos x="38" y="39"/>
                  </a:cxn>
                  <a:cxn ang="0">
                    <a:pos x="51" y="30"/>
                  </a:cxn>
                  <a:cxn ang="0">
                    <a:pos x="58" y="27"/>
                  </a:cxn>
                  <a:cxn ang="0">
                    <a:pos x="73" y="27"/>
                  </a:cxn>
                  <a:cxn ang="0">
                    <a:pos x="84" y="30"/>
                  </a:cxn>
                  <a:cxn ang="0">
                    <a:pos x="96" y="38"/>
                  </a:cxn>
                  <a:cxn ang="0">
                    <a:pos x="101" y="45"/>
                  </a:cxn>
                  <a:cxn ang="0">
                    <a:pos x="121" y="23"/>
                  </a:cxn>
                  <a:cxn ang="0">
                    <a:pos x="112" y="15"/>
                  </a:cxn>
                  <a:cxn ang="0">
                    <a:pos x="103" y="8"/>
                  </a:cxn>
                  <a:cxn ang="0">
                    <a:pos x="86" y="1"/>
                  </a:cxn>
                  <a:cxn ang="0">
                    <a:pos x="67" y="0"/>
                  </a:cxn>
                  <a:cxn ang="0">
                    <a:pos x="51" y="1"/>
                  </a:cxn>
                  <a:cxn ang="0">
                    <a:pos x="42" y="4"/>
                  </a:cxn>
                  <a:cxn ang="0">
                    <a:pos x="30" y="9"/>
                  </a:cxn>
                  <a:cxn ang="0">
                    <a:pos x="16" y="20"/>
                  </a:cxn>
                  <a:cxn ang="0">
                    <a:pos x="10" y="31"/>
                  </a:cxn>
                  <a:cxn ang="0">
                    <a:pos x="4" y="43"/>
                  </a:cxn>
                  <a:cxn ang="0">
                    <a:pos x="0" y="61"/>
                  </a:cxn>
                  <a:cxn ang="0">
                    <a:pos x="0" y="81"/>
                  </a:cxn>
                  <a:cxn ang="0">
                    <a:pos x="4" y="99"/>
                  </a:cxn>
                  <a:cxn ang="0">
                    <a:pos x="11" y="115"/>
                  </a:cxn>
                  <a:cxn ang="0">
                    <a:pos x="22" y="128"/>
                  </a:cxn>
                  <a:cxn ang="0">
                    <a:pos x="33" y="136"/>
                  </a:cxn>
                  <a:cxn ang="0">
                    <a:pos x="45" y="140"/>
                  </a:cxn>
                  <a:cxn ang="0">
                    <a:pos x="66" y="143"/>
                  </a:cxn>
                </a:cxnLst>
                <a:rect l="0" t="0" r="r" b="b"/>
                <a:pathLst>
                  <a:path w="129" h="143">
                    <a:moveTo>
                      <a:pt x="66" y="143"/>
                    </a:moveTo>
                    <a:lnTo>
                      <a:pt x="75" y="143"/>
                    </a:lnTo>
                    <a:lnTo>
                      <a:pt x="85" y="140"/>
                    </a:lnTo>
                    <a:lnTo>
                      <a:pt x="90" y="139"/>
                    </a:lnTo>
                    <a:lnTo>
                      <a:pt x="95" y="137"/>
                    </a:lnTo>
                    <a:lnTo>
                      <a:pt x="103" y="133"/>
                    </a:lnTo>
                    <a:lnTo>
                      <a:pt x="110" y="128"/>
                    </a:lnTo>
                    <a:lnTo>
                      <a:pt x="116" y="122"/>
                    </a:lnTo>
                    <a:lnTo>
                      <a:pt x="123" y="114"/>
                    </a:lnTo>
                    <a:lnTo>
                      <a:pt x="129" y="106"/>
                    </a:lnTo>
                    <a:lnTo>
                      <a:pt x="105" y="94"/>
                    </a:lnTo>
                    <a:lnTo>
                      <a:pt x="101" y="99"/>
                    </a:lnTo>
                    <a:lnTo>
                      <a:pt x="97" y="105"/>
                    </a:lnTo>
                    <a:lnTo>
                      <a:pt x="96" y="106"/>
                    </a:lnTo>
                    <a:lnTo>
                      <a:pt x="93" y="109"/>
                    </a:lnTo>
                    <a:lnTo>
                      <a:pt x="89" y="111"/>
                    </a:lnTo>
                    <a:lnTo>
                      <a:pt x="84" y="114"/>
                    </a:lnTo>
                    <a:lnTo>
                      <a:pt x="79" y="115"/>
                    </a:lnTo>
                    <a:lnTo>
                      <a:pt x="73" y="117"/>
                    </a:lnTo>
                    <a:lnTo>
                      <a:pt x="67" y="117"/>
                    </a:lnTo>
                    <a:lnTo>
                      <a:pt x="58" y="117"/>
                    </a:lnTo>
                    <a:lnTo>
                      <a:pt x="51" y="114"/>
                    </a:lnTo>
                    <a:lnTo>
                      <a:pt x="47" y="111"/>
                    </a:lnTo>
                    <a:lnTo>
                      <a:pt x="44" y="110"/>
                    </a:lnTo>
                    <a:lnTo>
                      <a:pt x="41" y="107"/>
                    </a:lnTo>
                    <a:lnTo>
                      <a:pt x="38" y="105"/>
                    </a:lnTo>
                    <a:lnTo>
                      <a:pt x="34" y="98"/>
                    </a:lnTo>
                    <a:lnTo>
                      <a:pt x="31" y="90"/>
                    </a:lnTo>
                    <a:lnTo>
                      <a:pt x="30" y="81"/>
                    </a:lnTo>
                    <a:lnTo>
                      <a:pt x="30" y="72"/>
                    </a:lnTo>
                    <a:lnTo>
                      <a:pt x="30" y="62"/>
                    </a:lnTo>
                    <a:lnTo>
                      <a:pt x="31" y="54"/>
                    </a:lnTo>
                    <a:lnTo>
                      <a:pt x="33" y="50"/>
                    </a:lnTo>
                    <a:lnTo>
                      <a:pt x="36" y="46"/>
                    </a:lnTo>
                    <a:lnTo>
                      <a:pt x="37" y="43"/>
                    </a:lnTo>
                    <a:lnTo>
                      <a:pt x="38" y="39"/>
                    </a:lnTo>
                    <a:lnTo>
                      <a:pt x="44" y="34"/>
                    </a:lnTo>
                    <a:lnTo>
                      <a:pt x="51" y="30"/>
                    </a:lnTo>
                    <a:lnTo>
                      <a:pt x="53" y="28"/>
                    </a:lnTo>
                    <a:lnTo>
                      <a:pt x="58" y="27"/>
                    </a:lnTo>
                    <a:lnTo>
                      <a:pt x="66" y="27"/>
                    </a:lnTo>
                    <a:lnTo>
                      <a:pt x="73" y="27"/>
                    </a:lnTo>
                    <a:lnTo>
                      <a:pt x="78" y="28"/>
                    </a:lnTo>
                    <a:lnTo>
                      <a:pt x="84" y="30"/>
                    </a:lnTo>
                    <a:lnTo>
                      <a:pt x="88" y="32"/>
                    </a:lnTo>
                    <a:lnTo>
                      <a:pt x="96" y="38"/>
                    </a:lnTo>
                    <a:lnTo>
                      <a:pt x="99" y="42"/>
                    </a:lnTo>
                    <a:lnTo>
                      <a:pt x="101" y="45"/>
                    </a:lnTo>
                    <a:lnTo>
                      <a:pt x="125" y="30"/>
                    </a:lnTo>
                    <a:lnTo>
                      <a:pt x="121" y="23"/>
                    </a:lnTo>
                    <a:lnTo>
                      <a:pt x="115" y="17"/>
                    </a:lnTo>
                    <a:lnTo>
                      <a:pt x="112" y="15"/>
                    </a:lnTo>
                    <a:lnTo>
                      <a:pt x="110" y="12"/>
                    </a:lnTo>
                    <a:lnTo>
                      <a:pt x="103" y="8"/>
                    </a:lnTo>
                    <a:lnTo>
                      <a:pt x="95" y="4"/>
                    </a:lnTo>
                    <a:lnTo>
                      <a:pt x="86" y="1"/>
                    </a:lnTo>
                    <a:lnTo>
                      <a:pt x="77" y="0"/>
                    </a:lnTo>
                    <a:lnTo>
                      <a:pt x="67" y="0"/>
                    </a:lnTo>
                    <a:lnTo>
                      <a:pt x="56" y="0"/>
                    </a:lnTo>
                    <a:lnTo>
                      <a:pt x="51" y="1"/>
                    </a:lnTo>
                    <a:lnTo>
                      <a:pt x="47" y="2"/>
                    </a:lnTo>
                    <a:lnTo>
                      <a:pt x="42" y="4"/>
                    </a:lnTo>
                    <a:lnTo>
                      <a:pt x="38" y="5"/>
                    </a:lnTo>
                    <a:lnTo>
                      <a:pt x="30" y="9"/>
                    </a:lnTo>
                    <a:lnTo>
                      <a:pt x="23" y="15"/>
                    </a:lnTo>
                    <a:lnTo>
                      <a:pt x="16" y="20"/>
                    </a:lnTo>
                    <a:lnTo>
                      <a:pt x="12" y="27"/>
                    </a:lnTo>
                    <a:lnTo>
                      <a:pt x="10" y="31"/>
                    </a:lnTo>
                    <a:lnTo>
                      <a:pt x="8" y="35"/>
                    </a:lnTo>
                    <a:lnTo>
                      <a:pt x="4" y="43"/>
                    </a:lnTo>
                    <a:lnTo>
                      <a:pt x="1" y="53"/>
                    </a:lnTo>
                    <a:lnTo>
                      <a:pt x="0" y="61"/>
                    </a:lnTo>
                    <a:lnTo>
                      <a:pt x="0" y="72"/>
                    </a:lnTo>
                    <a:lnTo>
                      <a:pt x="0" y="81"/>
                    </a:lnTo>
                    <a:lnTo>
                      <a:pt x="1" y="91"/>
                    </a:lnTo>
                    <a:lnTo>
                      <a:pt x="4" y="99"/>
                    </a:lnTo>
                    <a:lnTo>
                      <a:pt x="7" y="107"/>
                    </a:lnTo>
                    <a:lnTo>
                      <a:pt x="11" y="115"/>
                    </a:lnTo>
                    <a:lnTo>
                      <a:pt x="16" y="122"/>
                    </a:lnTo>
                    <a:lnTo>
                      <a:pt x="22" y="128"/>
                    </a:lnTo>
                    <a:lnTo>
                      <a:pt x="29" y="133"/>
                    </a:lnTo>
                    <a:lnTo>
                      <a:pt x="33" y="136"/>
                    </a:lnTo>
                    <a:lnTo>
                      <a:pt x="37" y="137"/>
                    </a:lnTo>
                    <a:lnTo>
                      <a:pt x="45" y="140"/>
                    </a:lnTo>
                    <a:lnTo>
                      <a:pt x="55" y="143"/>
                    </a:lnTo>
                    <a:lnTo>
                      <a:pt x="66"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0" name="Freeform 50"/>
              <p:cNvSpPr>
                <a:spLocks/>
              </p:cNvSpPr>
              <p:nvPr userDrawn="1"/>
            </p:nvSpPr>
            <p:spPr bwMode="auto">
              <a:xfrm>
                <a:off x="5997047" y="3236013"/>
                <a:ext cx="80479" cy="92354"/>
              </a:xfrm>
              <a:custGeom>
                <a:avLst/>
                <a:gdLst/>
                <a:ahLst/>
                <a:cxnLst>
                  <a:cxn ang="0">
                    <a:pos x="47" y="141"/>
                  </a:cxn>
                  <a:cxn ang="0">
                    <a:pos x="55" y="141"/>
                  </a:cxn>
                  <a:cxn ang="0">
                    <a:pos x="63" y="139"/>
                  </a:cxn>
                  <a:cxn ang="0">
                    <a:pos x="70" y="138"/>
                  </a:cxn>
                  <a:cxn ang="0">
                    <a:pos x="74" y="137"/>
                  </a:cxn>
                  <a:cxn ang="0">
                    <a:pos x="77" y="134"/>
                  </a:cxn>
                  <a:cxn ang="0">
                    <a:pos x="84" y="131"/>
                  </a:cxn>
                  <a:cxn ang="0">
                    <a:pos x="86" y="128"/>
                  </a:cxn>
                  <a:cxn ang="0">
                    <a:pos x="89" y="126"/>
                  </a:cxn>
                  <a:cxn ang="0">
                    <a:pos x="93" y="122"/>
                  </a:cxn>
                  <a:cxn ang="0">
                    <a:pos x="96" y="115"/>
                  </a:cxn>
                  <a:cxn ang="0">
                    <a:pos x="101" y="139"/>
                  </a:cxn>
                  <a:cxn ang="0">
                    <a:pos x="123" y="138"/>
                  </a:cxn>
                  <a:cxn ang="0">
                    <a:pos x="123" y="0"/>
                  </a:cxn>
                  <a:cxn ang="0">
                    <a:pos x="93" y="0"/>
                  </a:cxn>
                  <a:cxn ang="0">
                    <a:pos x="93" y="79"/>
                  </a:cxn>
                  <a:cxn ang="0">
                    <a:pos x="93" y="86"/>
                  </a:cxn>
                  <a:cxn ang="0">
                    <a:pos x="92" y="93"/>
                  </a:cxn>
                  <a:cxn ang="0">
                    <a:pos x="89" y="100"/>
                  </a:cxn>
                  <a:cxn ang="0">
                    <a:pos x="86" y="105"/>
                  </a:cxn>
                  <a:cxn ang="0">
                    <a:pos x="81" y="109"/>
                  </a:cxn>
                  <a:cxn ang="0">
                    <a:pos x="78" y="111"/>
                  </a:cxn>
                  <a:cxn ang="0">
                    <a:pos x="74" y="112"/>
                  </a:cxn>
                  <a:cxn ang="0">
                    <a:pos x="67" y="115"/>
                  </a:cxn>
                  <a:cxn ang="0">
                    <a:pos x="58" y="115"/>
                  </a:cxn>
                  <a:cxn ang="0">
                    <a:pos x="49" y="115"/>
                  </a:cxn>
                  <a:cxn ang="0">
                    <a:pos x="43" y="113"/>
                  </a:cxn>
                  <a:cxn ang="0">
                    <a:pos x="38" y="111"/>
                  </a:cxn>
                  <a:cxn ang="0">
                    <a:pos x="34" y="107"/>
                  </a:cxn>
                  <a:cxn ang="0">
                    <a:pos x="32" y="101"/>
                  </a:cxn>
                  <a:cxn ang="0">
                    <a:pos x="30" y="96"/>
                  </a:cxn>
                  <a:cxn ang="0">
                    <a:pos x="29" y="89"/>
                  </a:cxn>
                  <a:cxn ang="0">
                    <a:pos x="29" y="81"/>
                  </a:cxn>
                  <a:cxn ang="0">
                    <a:pos x="29" y="0"/>
                  </a:cxn>
                  <a:cxn ang="0">
                    <a:pos x="0" y="0"/>
                  </a:cxn>
                  <a:cxn ang="0">
                    <a:pos x="0" y="86"/>
                  </a:cxn>
                  <a:cxn ang="0">
                    <a:pos x="0" y="98"/>
                  </a:cxn>
                  <a:cxn ang="0">
                    <a:pos x="1" y="109"/>
                  </a:cxn>
                  <a:cxn ang="0">
                    <a:pos x="3" y="113"/>
                  </a:cxn>
                  <a:cxn ang="0">
                    <a:pos x="6" y="119"/>
                  </a:cxn>
                  <a:cxn ang="0">
                    <a:pos x="10" y="126"/>
                  </a:cxn>
                  <a:cxn ang="0">
                    <a:pos x="12" y="130"/>
                  </a:cxn>
                  <a:cxn ang="0">
                    <a:pos x="15" y="133"/>
                  </a:cxn>
                  <a:cxn ang="0">
                    <a:pos x="23" y="138"/>
                  </a:cxn>
                  <a:cxn ang="0">
                    <a:pos x="29" y="139"/>
                  </a:cxn>
                  <a:cxn ang="0">
                    <a:pos x="34" y="141"/>
                  </a:cxn>
                  <a:cxn ang="0">
                    <a:pos x="40" y="141"/>
                  </a:cxn>
                  <a:cxn ang="0">
                    <a:pos x="47" y="141"/>
                  </a:cxn>
                </a:cxnLst>
                <a:rect l="0" t="0" r="r" b="b"/>
                <a:pathLst>
                  <a:path w="123" h="141">
                    <a:moveTo>
                      <a:pt x="47" y="141"/>
                    </a:moveTo>
                    <a:lnTo>
                      <a:pt x="55" y="141"/>
                    </a:lnTo>
                    <a:lnTo>
                      <a:pt x="63" y="139"/>
                    </a:lnTo>
                    <a:lnTo>
                      <a:pt x="70" y="138"/>
                    </a:lnTo>
                    <a:lnTo>
                      <a:pt x="74" y="137"/>
                    </a:lnTo>
                    <a:lnTo>
                      <a:pt x="77" y="134"/>
                    </a:lnTo>
                    <a:lnTo>
                      <a:pt x="84" y="131"/>
                    </a:lnTo>
                    <a:lnTo>
                      <a:pt x="86" y="128"/>
                    </a:lnTo>
                    <a:lnTo>
                      <a:pt x="89" y="126"/>
                    </a:lnTo>
                    <a:lnTo>
                      <a:pt x="93" y="122"/>
                    </a:lnTo>
                    <a:lnTo>
                      <a:pt x="96" y="115"/>
                    </a:lnTo>
                    <a:lnTo>
                      <a:pt x="101" y="139"/>
                    </a:lnTo>
                    <a:lnTo>
                      <a:pt x="123" y="138"/>
                    </a:lnTo>
                    <a:lnTo>
                      <a:pt x="123" y="0"/>
                    </a:lnTo>
                    <a:lnTo>
                      <a:pt x="93" y="0"/>
                    </a:lnTo>
                    <a:lnTo>
                      <a:pt x="93" y="79"/>
                    </a:lnTo>
                    <a:lnTo>
                      <a:pt x="93" y="86"/>
                    </a:lnTo>
                    <a:lnTo>
                      <a:pt x="92" y="93"/>
                    </a:lnTo>
                    <a:lnTo>
                      <a:pt x="89" y="100"/>
                    </a:lnTo>
                    <a:lnTo>
                      <a:pt x="86" y="105"/>
                    </a:lnTo>
                    <a:lnTo>
                      <a:pt x="81" y="109"/>
                    </a:lnTo>
                    <a:lnTo>
                      <a:pt x="78" y="111"/>
                    </a:lnTo>
                    <a:lnTo>
                      <a:pt x="74" y="112"/>
                    </a:lnTo>
                    <a:lnTo>
                      <a:pt x="67" y="115"/>
                    </a:lnTo>
                    <a:lnTo>
                      <a:pt x="58" y="115"/>
                    </a:lnTo>
                    <a:lnTo>
                      <a:pt x="49" y="115"/>
                    </a:lnTo>
                    <a:lnTo>
                      <a:pt x="43" y="113"/>
                    </a:lnTo>
                    <a:lnTo>
                      <a:pt x="38" y="111"/>
                    </a:lnTo>
                    <a:lnTo>
                      <a:pt x="34" y="107"/>
                    </a:lnTo>
                    <a:lnTo>
                      <a:pt x="32" y="101"/>
                    </a:lnTo>
                    <a:lnTo>
                      <a:pt x="30" y="96"/>
                    </a:lnTo>
                    <a:lnTo>
                      <a:pt x="29" y="89"/>
                    </a:lnTo>
                    <a:lnTo>
                      <a:pt x="29" y="81"/>
                    </a:lnTo>
                    <a:lnTo>
                      <a:pt x="29" y="0"/>
                    </a:lnTo>
                    <a:lnTo>
                      <a:pt x="0" y="0"/>
                    </a:lnTo>
                    <a:lnTo>
                      <a:pt x="0" y="86"/>
                    </a:lnTo>
                    <a:lnTo>
                      <a:pt x="0" y="98"/>
                    </a:lnTo>
                    <a:lnTo>
                      <a:pt x="1" y="109"/>
                    </a:lnTo>
                    <a:lnTo>
                      <a:pt x="3" y="113"/>
                    </a:lnTo>
                    <a:lnTo>
                      <a:pt x="6" y="119"/>
                    </a:lnTo>
                    <a:lnTo>
                      <a:pt x="10" y="126"/>
                    </a:lnTo>
                    <a:lnTo>
                      <a:pt x="12" y="130"/>
                    </a:lnTo>
                    <a:lnTo>
                      <a:pt x="15" y="133"/>
                    </a:lnTo>
                    <a:lnTo>
                      <a:pt x="23" y="138"/>
                    </a:lnTo>
                    <a:lnTo>
                      <a:pt x="29" y="139"/>
                    </a:lnTo>
                    <a:lnTo>
                      <a:pt x="34" y="141"/>
                    </a:lnTo>
                    <a:lnTo>
                      <a:pt x="40" y="141"/>
                    </a:lnTo>
                    <a:lnTo>
                      <a:pt x="47"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1" name="Freeform 51"/>
              <p:cNvSpPr>
                <a:spLocks/>
              </p:cNvSpPr>
              <p:nvPr userDrawn="1"/>
            </p:nvSpPr>
            <p:spPr bwMode="auto">
              <a:xfrm>
                <a:off x="6090720"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9" y="68"/>
                  </a:cxn>
                  <a:cxn ang="0">
                    <a:pos x="99"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9" y="68"/>
                    </a:lnTo>
                    <a:lnTo>
                      <a:pt x="99"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2" name="Freeform 52"/>
              <p:cNvSpPr>
                <a:spLocks noEditPoints="1"/>
              </p:cNvSpPr>
              <p:nvPr userDrawn="1"/>
            </p:nvSpPr>
            <p:spPr bwMode="auto">
              <a:xfrm>
                <a:off x="6177795"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3" name="Freeform 53"/>
              <p:cNvSpPr>
                <a:spLocks/>
              </p:cNvSpPr>
              <p:nvPr userDrawn="1"/>
            </p:nvSpPr>
            <p:spPr bwMode="auto">
              <a:xfrm>
                <a:off x="6210778" y="3236013"/>
                <a:ext cx="91034" cy="92354"/>
              </a:xfrm>
              <a:custGeom>
                <a:avLst/>
                <a:gdLst/>
                <a:ahLst/>
                <a:cxnLst>
                  <a:cxn ang="0">
                    <a:pos x="55" y="141"/>
                  </a:cxn>
                  <a:cxn ang="0">
                    <a:pos x="85" y="141"/>
                  </a:cxn>
                  <a:cxn ang="0">
                    <a:pos x="138" y="0"/>
                  </a:cxn>
                  <a:cxn ang="0">
                    <a:pos x="109" y="0"/>
                  </a:cxn>
                  <a:cxn ang="0">
                    <a:pos x="70" y="105"/>
                  </a:cxn>
                  <a:cxn ang="0">
                    <a:pos x="30" y="0"/>
                  </a:cxn>
                  <a:cxn ang="0">
                    <a:pos x="0" y="0"/>
                  </a:cxn>
                  <a:cxn ang="0">
                    <a:pos x="55" y="141"/>
                  </a:cxn>
                </a:cxnLst>
                <a:rect l="0" t="0" r="r" b="b"/>
                <a:pathLst>
                  <a:path w="138" h="141">
                    <a:moveTo>
                      <a:pt x="55" y="141"/>
                    </a:moveTo>
                    <a:lnTo>
                      <a:pt x="85" y="141"/>
                    </a:lnTo>
                    <a:lnTo>
                      <a:pt x="138" y="0"/>
                    </a:lnTo>
                    <a:lnTo>
                      <a:pt x="109" y="0"/>
                    </a:lnTo>
                    <a:lnTo>
                      <a:pt x="70" y="105"/>
                    </a:lnTo>
                    <a:lnTo>
                      <a:pt x="30" y="0"/>
                    </a:lnTo>
                    <a:lnTo>
                      <a:pt x="0" y="0"/>
                    </a:lnTo>
                    <a:lnTo>
                      <a:pt x="55"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4" name="Freeform 54"/>
              <p:cNvSpPr>
                <a:spLocks noEditPoints="1"/>
              </p:cNvSpPr>
              <p:nvPr userDrawn="1"/>
            </p:nvSpPr>
            <p:spPr bwMode="auto">
              <a:xfrm>
                <a:off x="6307089" y="3233375"/>
                <a:ext cx="83118" cy="94992"/>
              </a:xfrm>
              <a:custGeom>
                <a:avLst/>
                <a:gdLst/>
                <a:ahLst/>
                <a:cxnLst>
                  <a:cxn ang="0">
                    <a:pos x="126" y="81"/>
                  </a:cxn>
                  <a:cxn ang="0">
                    <a:pos x="125" y="51"/>
                  </a:cxn>
                  <a:cxn ang="0">
                    <a:pos x="121" y="32"/>
                  </a:cxn>
                  <a:cxn ang="0">
                    <a:pos x="112" y="17"/>
                  </a:cxn>
                  <a:cxn ang="0">
                    <a:pos x="103" y="9"/>
                  </a:cxn>
                  <a:cxn ang="0">
                    <a:pos x="90" y="2"/>
                  </a:cxn>
                  <a:cxn ang="0">
                    <a:pos x="69" y="0"/>
                  </a:cxn>
                  <a:cxn ang="0">
                    <a:pos x="52" y="1"/>
                  </a:cxn>
                  <a:cxn ang="0">
                    <a:pos x="44" y="4"/>
                  </a:cxn>
                  <a:cxn ang="0">
                    <a:pos x="32" y="9"/>
                  </a:cxn>
                  <a:cxn ang="0">
                    <a:pos x="18" y="20"/>
                  </a:cxn>
                  <a:cxn ang="0">
                    <a:pos x="12" y="27"/>
                  </a:cxn>
                  <a:cxn ang="0">
                    <a:pos x="8" y="35"/>
                  </a:cxn>
                  <a:cxn ang="0">
                    <a:pos x="3" y="53"/>
                  </a:cxn>
                  <a:cxn ang="0">
                    <a:pos x="0" y="72"/>
                  </a:cxn>
                  <a:cxn ang="0">
                    <a:pos x="3" y="91"/>
                  </a:cxn>
                  <a:cxn ang="0">
                    <a:pos x="7" y="107"/>
                  </a:cxn>
                  <a:cxn ang="0">
                    <a:pos x="16" y="122"/>
                  </a:cxn>
                  <a:cxn ang="0">
                    <a:pos x="25" y="130"/>
                  </a:cxn>
                  <a:cxn ang="0">
                    <a:pos x="32" y="136"/>
                  </a:cxn>
                  <a:cxn ang="0">
                    <a:pos x="40" y="140"/>
                  </a:cxn>
                  <a:cxn ang="0">
                    <a:pos x="53" y="143"/>
                  </a:cxn>
                  <a:cxn ang="0">
                    <a:pos x="74" y="143"/>
                  </a:cxn>
                  <a:cxn ang="0">
                    <a:pos x="92" y="140"/>
                  </a:cxn>
                  <a:cxn ang="0">
                    <a:pos x="104" y="135"/>
                  </a:cxn>
                  <a:cxn ang="0">
                    <a:pos x="115" y="128"/>
                  </a:cxn>
                  <a:cxn ang="0">
                    <a:pos x="127" y="114"/>
                  </a:cxn>
                  <a:cxn ang="0">
                    <a:pos x="106" y="103"/>
                  </a:cxn>
                  <a:cxn ang="0">
                    <a:pos x="97" y="110"/>
                  </a:cxn>
                  <a:cxn ang="0">
                    <a:pos x="86" y="115"/>
                  </a:cxn>
                  <a:cxn ang="0">
                    <a:pos x="74" y="118"/>
                  </a:cxn>
                  <a:cxn ang="0">
                    <a:pos x="59" y="117"/>
                  </a:cxn>
                  <a:cxn ang="0">
                    <a:pos x="52" y="115"/>
                  </a:cxn>
                  <a:cxn ang="0">
                    <a:pos x="41" y="107"/>
                  </a:cxn>
                  <a:cxn ang="0">
                    <a:pos x="34" y="96"/>
                  </a:cxn>
                  <a:cxn ang="0">
                    <a:pos x="30" y="81"/>
                  </a:cxn>
                  <a:cxn ang="0">
                    <a:pos x="33" y="50"/>
                  </a:cxn>
                  <a:cxn ang="0">
                    <a:pos x="38" y="39"/>
                  </a:cxn>
                  <a:cxn ang="0">
                    <a:pos x="48" y="31"/>
                  </a:cxn>
                  <a:cxn ang="0">
                    <a:pos x="60" y="27"/>
                  </a:cxn>
                  <a:cxn ang="0">
                    <a:pos x="74" y="25"/>
                  </a:cxn>
                  <a:cxn ang="0">
                    <a:pos x="85" y="30"/>
                  </a:cxn>
                  <a:cxn ang="0">
                    <a:pos x="93" y="36"/>
                  </a:cxn>
                  <a:cxn ang="0">
                    <a:pos x="97" y="49"/>
                  </a:cxn>
                  <a:cxn ang="0">
                    <a:pos x="30" y="57"/>
                  </a:cxn>
                </a:cxnLst>
                <a:rect l="0" t="0" r="r" b="b"/>
                <a:pathLst>
                  <a:path w="127" h="143">
                    <a:moveTo>
                      <a:pt x="30" y="81"/>
                    </a:moveTo>
                    <a:lnTo>
                      <a:pt x="126" y="81"/>
                    </a:lnTo>
                    <a:lnTo>
                      <a:pt x="126" y="61"/>
                    </a:lnTo>
                    <a:lnTo>
                      <a:pt x="125" y="51"/>
                    </a:lnTo>
                    <a:lnTo>
                      <a:pt x="123" y="42"/>
                    </a:lnTo>
                    <a:lnTo>
                      <a:pt x="121" y="32"/>
                    </a:lnTo>
                    <a:lnTo>
                      <a:pt x="117" y="24"/>
                    </a:lnTo>
                    <a:lnTo>
                      <a:pt x="112" y="17"/>
                    </a:lnTo>
                    <a:lnTo>
                      <a:pt x="107" y="12"/>
                    </a:lnTo>
                    <a:lnTo>
                      <a:pt x="103" y="9"/>
                    </a:lnTo>
                    <a:lnTo>
                      <a:pt x="99" y="6"/>
                    </a:lnTo>
                    <a:lnTo>
                      <a:pt x="90" y="2"/>
                    </a:lnTo>
                    <a:lnTo>
                      <a:pt x="81" y="0"/>
                    </a:lnTo>
                    <a:lnTo>
                      <a:pt x="69" y="0"/>
                    </a:lnTo>
                    <a:lnTo>
                      <a:pt x="58" y="0"/>
                    </a:lnTo>
                    <a:lnTo>
                      <a:pt x="52" y="1"/>
                    </a:lnTo>
                    <a:lnTo>
                      <a:pt x="48" y="2"/>
                    </a:lnTo>
                    <a:lnTo>
                      <a:pt x="44" y="4"/>
                    </a:lnTo>
                    <a:lnTo>
                      <a:pt x="38" y="5"/>
                    </a:lnTo>
                    <a:lnTo>
                      <a:pt x="32" y="9"/>
                    </a:lnTo>
                    <a:lnTo>
                      <a:pt x="23" y="15"/>
                    </a:lnTo>
                    <a:lnTo>
                      <a:pt x="18" y="20"/>
                    </a:lnTo>
                    <a:lnTo>
                      <a:pt x="15" y="24"/>
                    </a:lnTo>
                    <a:lnTo>
                      <a:pt x="12" y="27"/>
                    </a:lnTo>
                    <a:lnTo>
                      <a:pt x="10" y="31"/>
                    </a:lnTo>
                    <a:lnTo>
                      <a:pt x="8" y="35"/>
                    </a:lnTo>
                    <a:lnTo>
                      <a:pt x="6" y="43"/>
                    </a:lnTo>
                    <a:lnTo>
                      <a:pt x="3" y="53"/>
                    </a:lnTo>
                    <a:lnTo>
                      <a:pt x="1" y="61"/>
                    </a:lnTo>
                    <a:lnTo>
                      <a:pt x="0" y="72"/>
                    </a:lnTo>
                    <a:lnTo>
                      <a:pt x="1" y="81"/>
                    </a:lnTo>
                    <a:lnTo>
                      <a:pt x="3" y="91"/>
                    </a:lnTo>
                    <a:lnTo>
                      <a:pt x="4" y="99"/>
                    </a:lnTo>
                    <a:lnTo>
                      <a:pt x="7" y="107"/>
                    </a:lnTo>
                    <a:lnTo>
                      <a:pt x="11" y="115"/>
                    </a:lnTo>
                    <a:lnTo>
                      <a:pt x="16" y="122"/>
                    </a:lnTo>
                    <a:lnTo>
                      <a:pt x="22" y="128"/>
                    </a:lnTo>
                    <a:lnTo>
                      <a:pt x="25" y="130"/>
                    </a:lnTo>
                    <a:lnTo>
                      <a:pt x="29" y="133"/>
                    </a:lnTo>
                    <a:lnTo>
                      <a:pt x="32" y="136"/>
                    </a:lnTo>
                    <a:lnTo>
                      <a:pt x="36" y="137"/>
                    </a:lnTo>
                    <a:lnTo>
                      <a:pt x="40" y="140"/>
                    </a:lnTo>
                    <a:lnTo>
                      <a:pt x="44" y="141"/>
                    </a:lnTo>
                    <a:lnTo>
                      <a:pt x="53" y="143"/>
                    </a:lnTo>
                    <a:lnTo>
                      <a:pt x="64" y="143"/>
                    </a:lnTo>
                    <a:lnTo>
                      <a:pt x="74" y="143"/>
                    </a:lnTo>
                    <a:lnTo>
                      <a:pt x="82" y="141"/>
                    </a:lnTo>
                    <a:lnTo>
                      <a:pt x="92" y="140"/>
                    </a:lnTo>
                    <a:lnTo>
                      <a:pt x="100" y="136"/>
                    </a:lnTo>
                    <a:lnTo>
                      <a:pt x="104" y="135"/>
                    </a:lnTo>
                    <a:lnTo>
                      <a:pt x="108" y="133"/>
                    </a:lnTo>
                    <a:lnTo>
                      <a:pt x="115" y="128"/>
                    </a:lnTo>
                    <a:lnTo>
                      <a:pt x="122" y="122"/>
                    </a:lnTo>
                    <a:lnTo>
                      <a:pt x="127" y="114"/>
                    </a:lnTo>
                    <a:lnTo>
                      <a:pt x="110" y="99"/>
                    </a:lnTo>
                    <a:lnTo>
                      <a:pt x="106" y="103"/>
                    </a:lnTo>
                    <a:lnTo>
                      <a:pt x="101" y="107"/>
                    </a:lnTo>
                    <a:lnTo>
                      <a:pt x="97" y="110"/>
                    </a:lnTo>
                    <a:lnTo>
                      <a:pt x="92" y="113"/>
                    </a:lnTo>
                    <a:lnTo>
                      <a:pt x="86" y="115"/>
                    </a:lnTo>
                    <a:lnTo>
                      <a:pt x="81" y="117"/>
                    </a:lnTo>
                    <a:lnTo>
                      <a:pt x="74" y="118"/>
                    </a:lnTo>
                    <a:lnTo>
                      <a:pt x="67" y="118"/>
                    </a:lnTo>
                    <a:lnTo>
                      <a:pt x="59" y="117"/>
                    </a:lnTo>
                    <a:lnTo>
                      <a:pt x="55" y="117"/>
                    </a:lnTo>
                    <a:lnTo>
                      <a:pt x="52" y="115"/>
                    </a:lnTo>
                    <a:lnTo>
                      <a:pt x="47" y="113"/>
                    </a:lnTo>
                    <a:lnTo>
                      <a:pt x="41" y="107"/>
                    </a:lnTo>
                    <a:lnTo>
                      <a:pt x="37" y="102"/>
                    </a:lnTo>
                    <a:lnTo>
                      <a:pt x="34" y="96"/>
                    </a:lnTo>
                    <a:lnTo>
                      <a:pt x="32" y="90"/>
                    </a:lnTo>
                    <a:lnTo>
                      <a:pt x="30" y="81"/>
                    </a:lnTo>
                    <a:close/>
                    <a:moveTo>
                      <a:pt x="30" y="57"/>
                    </a:moveTo>
                    <a:lnTo>
                      <a:pt x="33" y="50"/>
                    </a:lnTo>
                    <a:lnTo>
                      <a:pt x="36" y="45"/>
                    </a:lnTo>
                    <a:lnTo>
                      <a:pt x="38" y="39"/>
                    </a:lnTo>
                    <a:lnTo>
                      <a:pt x="43" y="34"/>
                    </a:lnTo>
                    <a:lnTo>
                      <a:pt x="48" y="31"/>
                    </a:lnTo>
                    <a:lnTo>
                      <a:pt x="53" y="28"/>
                    </a:lnTo>
                    <a:lnTo>
                      <a:pt x="60" y="27"/>
                    </a:lnTo>
                    <a:lnTo>
                      <a:pt x="69" y="25"/>
                    </a:lnTo>
                    <a:lnTo>
                      <a:pt x="74" y="25"/>
                    </a:lnTo>
                    <a:lnTo>
                      <a:pt x="80" y="27"/>
                    </a:lnTo>
                    <a:lnTo>
                      <a:pt x="85" y="30"/>
                    </a:lnTo>
                    <a:lnTo>
                      <a:pt x="89" y="32"/>
                    </a:lnTo>
                    <a:lnTo>
                      <a:pt x="93" y="36"/>
                    </a:lnTo>
                    <a:lnTo>
                      <a:pt x="96" y="42"/>
                    </a:lnTo>
                    <a:lnTo>
                      <a:pt x="97" y="49"/>
                    </a:lnTo>
                    <a:lnTo>
                      <a:pt x="97"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5" name="Freeform 55"/>
              <p:cNvSpPr>
                <a:spLocks/>
              </p:cNvSpPr>
              <p:nvPr userDrawn="1"/>
            </p:nvSpPr>
            <p:spPr bwMode="auto">
              <a:xfrm>
                <a:off x="6449577" y="3205669"/>
                <a:ext cx="129294" cy="121379"/>
              </a:xfrm>
              <a:custGeom>
                <a:avLst/>
                <a:gdLst/>
                <a:ahLst/>
                <a:cxnLst>
                  <a:cxn ang="0">
                    <a:pos x="0" y="183"/>
                  </a:cxn>
                  <a:cxn ang="0">
                    <a:pos x="27" y="183"/>
                  </a:cxn>
                  <a:cxn ang="0">
                    <a:pos x="27" y="44"/>
                  </a:cxn>
                  <a:cxn ang="0">
                    <a:pos x="84" y="183"/>
                  </a:cxn>
                  <a:cxn ang="0">
                    <a:pos x="108" y="183"/>
                  </a:cxn>
                  <a:cxn ang="0">
                    <a:pos x="165" y="44"/>
                  </a:cxn>
                  <a:cxn ang="0">
                    <a:pos x="165" y="183"/>
                  </a:cxn>
                  <a:cxn ang="0">
                    <a:pos x="195" y="183"/>
                  </a:cxn>
                  <a:cxn ang="0">
                    <a:pos x="195" y="0"/>
                  </a:cxn>
                  <a:cxn ang="0">
                    <a:pos x="156" y="0"/>
                  </a:cxn>
                  <a:cxn ang="0">
                    <a:pos x="98" y="142"/>
                  </a:cxn>
                  <a:cxn ang="0">
                    <a:pos x="39" y="0"/>
                  </a:cxn>
                  <a:cxn ang="0">
                    <a:pos x="0" y="0"/>
                  </a:cxn>
                  <a:cxn ang="0">
                    <a:pos x="0" y="183"/>
                  </a:cxn>
                </a:cxnLst>
                <a:rect l="0" t="0" r="r" b="b"/>
                <a:pathLst>
                  <a:path w="195" h="183">
                    <a:moveTo>
                      <a:pt x="0" y="183"/>
                    </a:moveTo>
                    <a:lnTo>
                      <a:pt x="27" y="183"/>
                    </a:lnTo>
                    <a:lnTo>
                      <a:pt x="27" y="44"/>
                    </a:lnTo>
                    <a:lnTo>
                      <a:pt x="84" y="183"/>
                    </a:lnTo>
                    <a:lnTo>
                      <a:pt x="108" y="183"/>
                    </a:lnTo>
                    <a:lnTo>
                      <a:pt x="165" y="44"/>
                    </a:lnTo>
                    <a:lnTo>
                      <a:pt x="165" y="183"/>
                    </a:lnTo>
                    <a:lnTo>
                      <a:pt x="195" y="183"/>
                    </a:lnTo>
                    <a:lnTo>
                      <a:pt x="195" y="0"/>
                    </a:lnTo>
                    <a:lnTo>
                      <a:pt x="156" y="0"/>
                    </a:lnTo>
                    <a:lnTo>
                      <a:pt x="98" y="142"/>
                    </a:lnTo>
                    <a:lnTo>
                      <a:pt x="39" y="0"/>
                    </a:lnTo>
                    <a:lnTo>
                      <a:pt x="0" y="0"/>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86" name="Freeform 56"/>
              <p:cNvSpPr>
                <a:spLocks noEditPoints="1"/>
              </p:cNvSpPr>
              <p:nvPr userDrawn="1"/>
            </p:nvSpPr>
            <p:spPr bwMode="auto">
              <a:xfrm>
                <a:off x="6598661" y="3233375"/>
                <a:ext cx="84437" cy="94992"/>
              </a:xfrm>
              <a:custGeom>
                <a:avLst/>
                <a:gdLst/>
                <a:ahLst/>
                <a:cxnLst>
                  <a:cxn ang="0">
                    <a:pos x="125" y="81"/>
                  </a:cxn>
                  <a:cxn ang="0">
                    <a:pos x="123" y="51"/>
                  </a:cxn>
                  <a:cxn ang="0">
                    <a:pos x="119" y="32"/>
                  </a:cxn>
                  <a:cxn ang="0">
                    <a:pos x="111" y="17"/>
                  </a:cxn>
                  <a:cxn ang="0">
                    <a:pos x="101" y="9"/>
                  </a:cxn>
                  <a:cxn ang="0">
                    <a:pos x="89" y="2"/>
                  </a:cxn>
                  <a:cxn ang="0">
                    <a:pos x="67" y="0"/>
                  </a:cxn>
                  <a:cxn ang="0">
                    <a:pos x="52" y="1"/>
                  </a:cxn>
                  <a:cxn ang="0">
                    <a:pos x="42" y="4"/>
                  </a:cxn>
                  <a:cxn ang="0">
                    <a:pos x="30" y="9"/>
                  </a:cxn>
                  <a:cxn ang="0">
                    <a:pos x="16" y="20"/>
                  </a:cxn>
                  <a:cxn ang="0">
                    <a:pos x="11" y="27"/>
                  </a:cxn>
                  <a:cxn ang="0">
                    <a:pos x="7" y="35"/>
                  </a:cxn>
                  <a:cxn ang="0">
                    <a:pos x="1" y="53"/>
                  </a:cxn>
                  <a:cxn ang="0">
                    <a:pos x="0" y="72"/>
                  </a:cxn>
                  <a:cxn ang="0">
                    <a:pos x="1" y="91"/>
                  </a:cxn>
                  <a:cxn ang="0">
                    <a:pos x="7" y="107"/>
                  </a:cxn>
                  <a:cxn ang="0">
                    <a:pos x="15" y="122"/>
                  </a:cxn>
                  <a:cxn ang="0">
                    <a:pos x="23" y="130"/>
                  </a:cxn>
                  <a:cxn ang="0">
                    <a:pos x="31" y="136"/>
                  </a:cxn>
                  <a:cxn ang="0">
                    <a:pos x="38" y="140"/>
                  </a:cxn>
                  <a:cxn ang="0">
                    <a:pos x="52" y="143"/>
                  </a:cxn>
                  <a:cxn ang="0">
                    <a:pos x="73" y="143"/>
                  </a:cxn>
                  <a:cxn ang="0">
                    <a:pos x="90" y="140"/>
                  </a:cxn>
                  <a:cxn ang="0">
                    <a:pos x="103" y="135"/>
                  </a:cxn>
                  <a:cxn ang="0">
                    <a:pos x="114" y="128"/>
                  </a:cxn>
                  <a:cxn ang="0">
                    <a:pos x="127" y="114"/>
                  </a:cxn>
                  <a:cxn ang="0">
                    <a:pos x="105" y="103"/>
                  </a:cxn>
                  <a:cxn ang="0">
                    <a:pos x="96" y="110"/>
                  </a:cxn>
                  <a:cxn ang="0">
                    <a:pos x="86" y="115"/>
                  </a:cxn>
                  <a:cxn ang="0">
                    <a:pos x="73" y="118"/>
                  </a:cxn>
                  <a:cxn ang="0">
                    <a:pos x="58" y="117"/>
                  </a:cxn>
                  <a:cxn ang="0">
                    <a:pos x="51" y="115"/>
                  </a:cxn>
                  <a:cxn ang="0">
                    <a:pos x="40" y="107"/>
                  </a:cxn>
                  <a:cxn ang="0">
                    <a:pos x="33" y="96"/>
                  </a:cxn>
                  <a:cxn ang="0">
                    <a:pos x="29" y="81"/>
                  </a:cxn>
                  <a:cxn ang="0">
                    <a:pos x="31" y="50"/>
                  </a:cxn>
                  <a:cxn ang="0">
                    <a:pos x="38" y="39"/>
                  </a:cxn>
                  <a:cxn ang="0">
                    <a:pos x="47" y="31"/>
                  </a:cxn>
                  <a:cxn ang="0">
                    <a:pos x="59" y="27"/>
                  </a:cxn>
                  <a:cxn ang="0">
                    <a:pos x="73" y="25"/>
                  </a:cxn>
                  <a:cxn ang="0">
                    <a:pos x="84" y="30"/>
                  </a:cxn>
                  <a:cxn ang="0">
                    <a:pos x="92" y="36"/>
                  </a:cxn>
                  <a:cxn ang="0">
                    <a:pos x="96" y="49"/>
                  </a:cxn>
                  <a:cxn ang="0">
                    <a:pos x="30" y="57"/>
                  </a:cxn>
                </a:cxnLst>
                <a:rect l="0" t="0" r="r" b="b"/>
                <a:pathLst>
                  <a:path w="127" h="143">
                    <a:moveTo>
                      <a:pt x="29" y="81"/>
                    </a:moveTo>
                    <a:lnTo>
                      <a:pt x="125" y="81"/>
                    </a:lnTo>
                    <a:lnTo>
                      <a:pt x="125" y="61"/>
                    </a:lnTo>
                    <a:lnTo>
                      <a:pt x="123" y="51"/>
                    </a:lnTo>
                    <a:lnTo>
                      <a:pt x="122" y="42"/>
                    </a:lnTo>
                    <a:lnTo>
                      <a:pt x="119" y="32"/>
                    </a:lnTo>
                    <a:lnTo>
                      <a:pt x="116" y="24"/>
                    </a:lnTo>
                    <a:lnTo>
                      <a:pt x="111" y="17"/>
                    </a:lnTo>
                    <a:lnTo>
                      <a:pt x="105" y="12"/>
                    </a:lnTo>
                    <a:lnTo>
                      <a:pt x="101" y="9"/>
                    </a:lnTo>
                    <a:lnTo>
                      <a:pt x="99" y="6"/>
                    </a:lnTo>
                    <a:lnTo>
                      <a:pt x="89" y="2"/>
                    </a:lnTo>
                    <a:lnTo>
                      <a:pt x="79" y="0"/>
                    </a:lnTo>
                    <a:lnTo>
                      <a:pt x="67" y="0"/>
                    </a:lnTo>
                    <a:lnTo>
                      <a:pt x="56" y="0"/>
                    </a:lnTo>
                    <a:lnTo>
                      <a:pt x="52" y="1"/>
                    </a:lnTo>
                    <a:lnTo>
                      <a:pt x="47" y="2"/>
                    </a:lnTo>
                    <a:lnTo>
                      <a:pt x="42" y="4"/>
                    </a:lnTo>
                    <a:lnTo>
                      <a:pt x="38" y="5"/>
                    </a:lnTo>
                    <a:lnTo>
                      <a:pt x="30" y="9"/>
                    </a:lnTo>
                    <a:lnTo>
                      <a:pt x="23" y="15"/>
                    </a:lnTo>
                    <a:lnTo>
                      <a:pt x="16" y="20"/>
                    </a:lnTo>
                    <a:lnTo>
                      <a:pt x="14" y="24"/>
                    </a:lnTo>
                    <a:lnTo>
                      <a:pt x="11" y="27"/>
                    </a:lnTo>
                    <a:lnTo>
                      <a:pt x="10" y="31"/>
                    </a:lnTo>
                    <a:lnTo>
                      <a:pt x="7" y="35"/>
                    </a:lnTo>
                    <a:lnTo>
                      <a:pt x="4" y="43"/>
                    </a:lnTo>
                    <a:lnTo>
                      <a:pt x="1" y="53"/>
                    </a:lnTo>
                    <a:lnTo>
                      <a:pt x="0" y="61"/>
                    </a:lnTo>
                    <a:lnTo>
                      <a:pt x="0" y="72"/>
                    </a:lnTo>
                    <a:lnTo>
                      <a:pt x="0" y="81"/>
                    </a:lnTo>
                    <a:lnTo>
                      <a:pt x="1" y="91"/>
                    </a:lnTo>
                    <a:lnTo>
                      <a:pt x="3" y="99"/>
                    </a:lnTo>
                    <a:lnTo>
                      <a:pt x="7" y="107"/>
                    </a:lnTo>
                    <a:lnTo>
                      <a:pt x="10" y="115"/>
                    </a:lnTo>
                    <a:lnTo>
                      <a:pt x="15" y="122"/>
                    </a:lnTo>
                    <a:lnTo>
                      <a:pt x="21" y="128"/>
                    </a:lnTo>
                    <a:lnTo>
                      <a:pt x="23" y="130"/>
                    </a:lnTo>
                    <a:lnTo>
                      <a:pt x="27" y="133"/>
                    </a:lnTo>
                    <a:lnTo>
                      <a:pt x="31" y="136"/>
                    </a:lnTo>
                    <a:lnTo>
                      <a:pt x="34" y="137"/>
                    </a:lnTo>
                    <a:lnTo>
                      <a:pt x="38" y="140"/>
                    </a:lnTo>
                    <a:lnTo>
                      <a:pt x="44" y="141"/>
                    </a:lnTo>
                    <a:lnTo>
                      <a:pt x="52" y="143"/>
                    </a:lnTo>
                    <a:lnTo>
                      <a:pt x="63" y="143"/>
                    </a:lnTo>
                    <a:lnTo>
                      <a:pt x="73" y="143"/>
                    </a:lnTo>
                    <a:lnTo>
                      <a:pt x="82" y="141"/>
                    </a:lnTo>
                    <a:lnTo>
                      <a:pt x="90" y="140"/>
                    </a:lnTo>
                    <a:lnTo>
                      <a:pt x="99" y="136"/>
                    </a:lnTo>
                    <a:lnTo>
                      <a:pt x="103" y="135"/>
                    </a:lnTo>
                    <a:lnTo>
                      <a:pt x="107" y="133"/>
                    </a:lnTo>
                    <a:lnTo>
                      <a:pt x="114" y="128"/>
                    </a:lnTo>
                    <a:lnTo>
                      <a:pt x="121" y="122"/>
                    </a:lnTo>
                    <a:lnTo>
                      <a:pt x="127" y="114"/>
                    </a:lnTo>
                    <a:lnTo>
                      <a:pt x="110" y="99"/>
                    </a:lnTo>
                    <a:lnTo>
                      <a:pt x="105" y="103"/>
                    </a:lnTo>
                    <a:lnTo>
                      <a:pt x="100" y="107"/>
                    </a:lnTo>
                    <a:lnTo>
                      <a:pt x="96" y="110"/>
                    </a:lnTo>
                    <a:lnTo>
                      <a:pt x="90" y="113"/>
                    </a:lnTo>
                    <a:lnTo>
                      <a:pt x="86" y="115"/>
                    </a:lnTo>
                    <a:lnTo>
                      <a:pt x="79" y="117"/>
                    </a:lnTo>
                    <a:lnTo>
                      <a:pt x="73" y="118"/>
                    </a:lnTo>
                    <a:lnTo>
                      <a:pt x="66" y="118"/>
                    </a:lnTo>
                    <a:lnTo>
                      <a:pt x="58" y="117"/>
                    </a:lnTo>
                    <a:lnTo>
                      <a:pt x="55" y="117"/>
                    </a:lnTo>
                    <a:lnTo>
                      <a:pt x="51" y="115"/>
                    </a:lnTo>
                    <a:lnTo>
                      <a:pt x="45" y="113"/>
                    </a:lnTo>
                    <a:lnTo>
                      <a:pt x="40" y="107"/>
                    </a:lnTo>
                    <a:lnTo>
                      <a:pt x="36" y="102"/>
                    </a:lnTo>
                    <a:lnTo>
                      <a:pt x="33" y="96"/>
                    </a:lnTo>
                    <a:lnTo>
                      <a:pt x="30" y="90"/>
                    </a:lnTo>
                    <a:lnTo>
                      <a:pt x="29" y="81"/>
                    </a:lnTo>
                    <a:close/>
                    <a:moveTo>
                      <a:pt x="30" y="57"/>
                    </a:moveTo>
                    <a:lnTo>
                      <a:pt x="31" y="50"/>
                    </a:lnTo>
                    <a:lnTo>
                      <a:pt x="34" y="45"/>
                    </a:lnTo>
                    <a:lnTo>
                      <a:pt x="38" y="39"/>
                    </a:lnTo>
                    <a:lnTo>
                      <a:pt x="42" y="34"/>
                    </a:lnTo>
                    <a:lnTo>
                      <a:pt x="47" y="31"/>
                    </a:lnTo>
                    <a:lnTo>
                      <a:pt x="52"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6" name="Freeform 57"/>
              <p:cNvSpPr>
                <a:spLocks noEditPoints="1"/>
              </p:cNvSpPr>
              <p:nvPr userDrawn="1"/>
            </p:nvSpPr>
            <p:spPr bwMode="auto">
              <a:xfrm>
                <a:off x="6697611" y="3233375"/>
                <a:ext cx="84437" cy="94992"/>
              </a:xfrm>
              <a:custGeom>
                <a:avLst/>
                <a:gdLst/>
                <a:ahLst/>
                <a:cxnLst>
                  <a:cxn ang="0">
                    <a:pos x="125" y="81"/>
                  </a:cxn>
                  <a:cxn ang="0">
                    <a:pos x="124" y="51"/>
                  </a:cxn>
                  <a:cxn ang="0">
                    <a:pos x="120" y="32"/>
                  </a:cxn>
                  <a:cxn ang="0">
                    <a:pos x="111" y="17"/>
                  </a:cxn>
                  <a:cxn ang="0">
                    <a:pos x="103" y="9"/>
                  </a:cxn>
                  <a:cxn ang="0">
                    <a:pos x="89" y="2"/>
                  </a:cxn>
                  <a:cxn ang="0">
                    <a:pos x="67" y="0"/>
                  </a:cxn>
                  <a:cxn ang="0">
                    <a:pos x="52" y="1"/>
                  </a:cxn>
                  <a:cxn ang="0">
                    <a:pos x="43" y="4"/>
                  </a:cxn>
                  <a:cxn ang="0">
                    <a:pos x="30" y="9"/>
                  </a:cxn>
                  <a:cxn ang="0">
                    <a:pos x="17" y="20"/>
                  </a:cxn>
                  <a:cxn ang="0">
                    <a:pos x="11" y="27"/>
                  </a:cxn>
                  <a:cxn ang="0">
                    <a:pos x="7" y="35"/>
                  </a:cxn>
                  <a:cxn ang="0">
                    <a:pos x="2" y="53"/>
                  </a:cxn>
                  <a:cxn ang="0">
                    <a:pos x="0" y="72"/>
                  </a:cxn>
                  <a:cxn ang="0">
                    <a:pos x="2" y="91"/>
                  </a:cxn>
                  <a:cxn ang="0">
                    <a:pos x="7" y="107"/>
                  </a:cxn>
                  <a:cxn ang="0">
                    <a:pos x="15" y="122"/>
                  </a:cxn>
                  <a:cxn ang="0">
                    <a:pos x="24" y="130"/>
                  </a:cxn>
                  <a:cxn ang="0">
                    <a:pos x="32" y="136"/>
                  </a:cxn>
                  <a:cxn ang="0">
                    <a:pos x="39" y="140"/>
                  </a:cxn>
                  <a:cxn ang="0">
                    <a:pos x="52" y="143"/>
                  </a:cxn>
                  <a:cxn ang="0">
                    <a:pos x="73" y="143"/>
                  </a:cxn>
                  <a:cxn ang="0">
                    <a:pos x="91" y="140"/>
                  </a:cxn>
                  <a:cxn ang="0">
                    <a:pos x="103" y="135"/>
                  </a:cxn>
                  <a:cxn ang="0">
                    <a:pos x="114" y="128"/>
                  </a:cxn>
                  <a:cxn ang="0">
                    <a:pos x="128" y="114"/>
                  </a:cxn>
                  <a:cxn ang="0">
                    <a:pos x="106" y="103"/>
                  </a:cxn>
                  <a:cxn ang="0">
                    <a:pos x="96" y="110"/>
                  </a:cxn>
                  <a:cxn ang="0">
                    <a:pos x="87" y="115"/>
                  </a:cxn>
                  <a:cxn ang="0">
                    <a:pos x="73" y="118"/>
                  </a:cxn>
                  <a:cxn ang="0">
                    <a:pos x="58" y="117"/>
                  </a:cxn>
                  <a:cxn ang="0">
                    <a:pos x="51" y="115"/>
                  </a:cxn>
                  <a:cxn ang="0">
                    <a:pos x="40" y="107"/>
                  </a:cxn>
                  <a:cxn ang="0">
                    <a:pos x="33" y="96"/>
                  </a:cxn>
                  <a:cxn ang="0">
                    <a:pos x="29" y="81"/>
                  </a:cxn>
                  <a:cxn ang="0">
                    <a:pos x="32" y="50"/>
                  </a:cxn>
                  <a:cxn ang="0">
                    <a:pos x="39" y="39"/>
                  </a:cxn>
                  <a:cxn ang="0">
                    <a:pos x="47" y="31"/>
                  </a:cxn>
                  <a:cxn ang="0">
                    <a:pos x="59" y="27"/>
                  </a:cxn>
                  <a:cxn ang="0">
                    <a:pos x="73" y="25"/>
                  </a:cxn>
                  <a:cxn ang="0">
                    <a:pos x="84" y="30"/>
                  </a:cxn>
                  <a:cxn ang="0">
                    <a:pos x="92" y="36"/>
                  </a:cxn>
                  <a:cxn ang="0">
                    <a:pos x="96" y="49"/>
                  </a:cxn>
                  <a:cxn ang="0">
                    <a:pos x="30" y="57"/>
                  </a:cxn>
                </a:cxnLst>
                <a:rect l="0" t="0" r="r" b="b"/>
                <a:pathLst>
                  <a:path w="128" h="143">
                    <a:moveTo>
                      <a:pt x="29" y="81"/>
                    </a:moveTo>
                    <a:lnTo>
                      <a:pt x="125" y="81"/>
                    </a:lnTo>
                    <a:lnTo>
                      <a:pt x="125" y="61"/>
                    </a:lnTo>
                    <a:lnTo>
                      <a:pt x="124" y="51"/>
                    </a:lnTo>
                    <a:lnTo>
                      <a:pt x="122" y="42"/>
                    </a:lnTo>
                    <a:lnTo>
                      <a:pt x="120" y="32"/>
                    </a:lnTo>
                    <a:lnTo>
                      <a:pt x="117" y="24"/>
                    </a:lnTo>
                    <a:lnTo>
                      <a:pt x="111" y="17"/>
                    </a:lnTo>
                    <a:lnTo>
                      <a:pt x="106" y="12"/>
                    </a:lnTo>
                    <a:lnTo>
                      <a:pt x="103" y="9"/>
                    </a:lnTo>
                    <a:lnTo>
                      <a:pt x="99" y="6"/>
                    </a:lnTo>
                    <a:lnTo>
                      <a:pt x="89" y="2"/>
                    </a:lnTo>
                    <a:lnTo>
                      <a:pt x="80" y="0"/>
                    </a:lnTo>
                    <a:lnTo>
                      <a:pt x="67" y="0"/>
                    </a:lnTo>
                    <a:lnTo>
                      <a:pt x="57" y="0"/>
                    </a:lnTo>
                    <a:lnTo>
                      <a:pt x="52" y="1"/>
                    </a:lnTo>
                    <a:lnTo>
                      <a:pt x="47" y="2"/>
                    </a:lnTo>
                    <a:lnTo>
                      <a:pt x="43" y="4"/>
                    </a:lnTo>
                    <a:lnTo>
                      <a:pt x="39" y="5"/>
                    </a:lnTo>
                    <a:lnTo>
                      <a:pt x="30" y="9"/>
                    </a:lnTo>
                    <a:lnTo>
                      <a:pt x="24" y="15"/>
                    </a:lnTo>
                    <a:lnTo>
                      <a:pt x="17" y="20"/>
                    </a:lnTo>
                    <a:lnTo>
                      <a:pt x="14" y="24"/>
                    </a:lnTo>
                    <a:lnTo>
                      <a:pt x="11" y="27"/>
                    </a:lnTo>
                    <a:lnTo>
                      <a:pt x="10" y="31"/>
                    </a:lnTo>
                    <a:lnTo>
                      <a:pt x="7" y="35"/>
                    </a:lnTo>
                    <a:lnTo>
                      <a:pt x="4" y="43"/>
                    </a:lnTo>
                    <a:lnTo>
                      <a:pt x="2" y="53"/>
                    </a:lnTo>
                    <a:lnTo>
                      <a:pt x="0" y="61"/>
                    </a:lnTo>
                    <a:lnTo>
                      <a:pt x="0" y="72"/>
                    </a:lnTo>
                    <a:lnTo>
                      <a:pt x="0" y="81"/>
                    </a:lnTo>
                    <a:lnTo>
                      <a:pt x="2" y="91"/>
                    </a:lnTo>
                    <a:lnTo>
                      <a:pt x="4" y="99"/>
                    </a:lnTo>
                    <a:lnTo>
                      <a:pt x="7" y="107"/>
                    </a:lnTo>
                    <a:lnTo>
                      <a:pt x="10" y="115"/>
                    </a:lnTo>
                    <a:lnTo>
                      <a:pt x="15" y="122"/>
                    </a:lnTo>
                    <a:lnTo>
                      <a:pt x="21" y="128"/>
                    </a:lnTo>
                    <a:lnTo>
                      <a:pt x="24" y="130"/>
                    </a:lnTo>
                    <a:lnTo>
                      <a:pt x="28" y="133"/>
                    </a:lnTo>
                    <a:lnTo>
                      <a:pt x="32" y="136"/>
                    </a:lnTo>
                    <a:lnTo>
                      <a:pt x="35" y="137"/>
                    </a:lnTo>
                    <a:lnTo>
                      <a:pt x="39" y="140"/>
                    </a:lnTo>
                    <a:lnTo>
                      <a:pt x="44" y="141"/>
                    </a:lnTo>
                    <a:lnTo>
                      <a:pt x="52" y="143"/>
                    </a:lnTo>
                    <a:lnTo>
                      <a:pt x="63" y="143"/>
                    </a:lnTo>
                    <a:lnTo>
                      <a:pt x="73" y="143"/>
                    </a:lnTo>
                    <a:lnTo>
                      <a:pt x="83" y="141"/>
                    </a:lnTo>
                    <a:lnTo>
                      <a:pt x="91" y="140"/>
                    </a:lnTo>
                    <a:lnTo>
                      <a:pt x="99" y="136"/>
                    </a:lnTo>
                    <a:lnTo>
                      <a:pt x="103" y="135"/>
                    </a:lnTo>
                    <a:lnTo>
                      <a:pt x="107" y="133"/>
                    </a:lnTo>
                    <a:lnTo>
                      <a:pt x="114" y="128"/>
                    </a:lnTo>
                    <a:lnTo>
                      <a:pt x="121" y="122"/>
                    </a:lnTo>
                    <a:lnTo>
                      <a:pt x="128" y="114"/>
                    </a:lnTo>
                    <a:lnTo>
                      <a:pt x="110" y="99"/>
                    </a:lnTo>
                    <a:lnTo>
                      <a:pt x="106" y="103"/>
                    </a:lnTo>
                    <a:lnTo>
                      <a:pt x="100" y="107"/>
                    </a:lnTo>
                    <a:lnTo>
                      <a:pt x="96" y="110"/>
                    </a:lnTo>
                    <a:lnTo>
                      <a:pt x="92" y="113"/>
                    </a:lnTo>
                    <a:lnTo>
                      <a:pt x="87" y="115"/>
                    </a:lnTo>
                    <a:lnTo>
                      <a:pt x="80" y="117"/>
                    </a:lnTo>
                    <a:lnTo>
                      <a:pt x="73" y="118"/>
                    </a:lnTo>
                    <a:lnTo>
                      <a:pt x="66" y="118"/>
                    </a:lnTo>
                    <a:lnTo>
                      <a:pt x="58" y="117"/>
                    </a:lnTo>
                    <a:lnTo>
                      <a:pt x="55" y="117"/>
                    </a:lnTo>
                    <a:lnTo>
                      <a:pt x="51" y="115"/>
                    </a:lnTo>
                    <a:lnTo>
                      <a:pt x="46" y="113"/>
                    </a:lnTo>
                    <a:lnTo>
                      <a:pt x="40" y="107"/>
                    </a:lnTo>
                    <a:lnTo>
                      <a:pt x="36" y="102"/>
                    </a:lnTo>
                    <a:lnTo>
                      <a:pt x="33" y="96"/>
                    </a:lnTo>
                    <a:lnTo>
                      <a:pt x="30" y="90"/>
                    </a:lnTo>
                    <a:lnTo>
                      <a:pt x="29" y="81"/>
                    </a:lnTo>
                    <a:close/>
                    <a:moveTo>
                      <a:pt x="30" y="57"/>
                    </a:moveTo>
                    <a:lnTo>
                      <a:pt x="32" y="50"/>
                    </a:lnTo>
                    <a:lnTo>
                      <a:pt x="35" y="45"/>
                    </a:lnTo>
                    <a:lnTo>
                      <a:pt x="39" y="39"/>
                    </a:lnTo>
                    <a:lnTo>
                      <a:pt x="43" y="34"/>
                    </a:lnTo>
                    <a:lnTo>
                      <a:pt x="47" y="31"/>
                    </a:lnTo>
                    <a:lnTo>
                      <a:pt x="54" y="28"/>
                    </a:lnTo>
                    <a:lnTo>
                      <a:pt x="59" y="27"/>
                    </a:lnTo>
                    <a:lnTo>
                      <a:pt x="67" y="25"/>
                    </a:lnTo>
                    <a:lnTo>
                      <a:pt x="73" y="25"/>
                    </a:lnTo>
                    <a:lnTo>
                      <a:pt x="78" y="27"/>
                    </a:lnTo>
                    <a:lnTo>
                      <a:pt x="84" y="30"/>
                    </a:lnTo>
                    <a:lnTo>
                      <a:pt x="88" y="32"/>
                    </a:lnTo>
                    <a:lnTo>
                      <a:pt x="92" y="36"/>
                    </a:lnTo>
                    <a:lnTo>
                      <a:pt x="95" y="42"/>
                    </a:lnTo>
                    <a:lnTo>
                      <a:pt x="96" y="49"/>
                    </a:lnTo>
                    <a:lnTo>
                      <a:pt x="96" y="57"/>
                    </a:lnTo>
                    <a:lnTo>
                      <a:pt x="3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7" name="Freeform 58"/>
              <p:cNvSpPr>
                <a:spLocks/>
              </p:cNvSpPr>
              <p:nvPr userDrawn="1"/>
            </p:nvSpPr>
            <p:spPr bwMode="auto">
              <a:xfrm>
                <a:off x="6791283" y="3208307"/>
                <a:ext cx="71244" cy="120060"/>
              </a:xfrm>
              <a:custGeom>
                <a:avLst/>
                <a:gdLst/>
                <a:ahLst/>
                <a:cxnLst>
                  <a:cxn ang="0">
                    <a:pos x="26" y="68"/>
                  </a:cxn>
                  <a:cxn ang="0">
                    <a:pos x="26" y="143"/>
                  </a:cxn>
                  <a:cxn ang="0">
                    <a:pos x="27" y="153"/>
                  </a:cxn>
                  <a:cxn ang="0">
                    <a:pos x="29" y="160"/>
                  </a:cxn>
                  <a:cxn ang="0">
                    <a:pos x="30" y="166"/>
                  </a:cxn>
                  <a:cxn ang="0">
                    <a:pos x="34" y="173"/>
                  </a:cxn>
                  <a:cxn ang="0">
                    <a:pos x="40" y="177"/>
                  </a:cxn>
                  <a:cxn ang="0">
                    <a:pos x="42" y="179"/>
                  </a:cxn>
                  <a:cxn ang="0">
                    <a:pos x="45" y="180"/>
                  </a:cxn>
                  <a:cxn ang="0">
                    <a:pos x="49" y="181"/>
                  </a:cxn>
                  <a:cxn ang="0">
                    <a:pos x="53" y="183"/>
                  </a:cxn>
                  <a:cxn ang="0">
                    <a:pos x="63" y="183"/>
                  </a:cxn>
                  <a:cxn ang="0">
                    <a:pos x="70" y="183"/>
                  </a:cxn>
                  <a:cxn ang="0">
                    <a:pos x="77" y="183"/>
                  </a:cxn>
                  <a:cxn ang="0">
                    <a:pos x="88" y="180"/>
                  </a:cxn>
                  <a:cxn ang="0">
                    <a:pos x="97" y="176"/>
                  </a:cxn>
                  <a:cxn ang="0">
                    <a:pos x="107" y="172"/>
                  </a:cxn>
                  <a:cxn ang="0">
                    <a:pos x="97" y="149"/>
                  </a:cxn>
                  <a:cxn ang="0">
                    <a:pos x="92" y="151"/>
                  </a:cxn>
                  <a:cxn ang="0">
                    <a:pos x="85" y="154"/>
                  </a:cxn>
                  <a:cxn ang="0">
                    <a:pos x="78" y="155"/>
                  </a:cxn>
                  <a:cxn ang="0">
                    <a:pos x="71" y="155"/>
                  </a:cxn>
                  <a:cxn ang="0">
                    <a:pos x="66" y="155"/>
                  </a:cxn>
                  <a:cxn ang="0">
                    <a:pos x="63" y="154"/>
                  </a:cxn>
                  <a:cxn ang="0">
                    <a:pos x="60" y="153"/>
                  </a:cxn>
                  <a:cxn ang="0">
                    <a:pos x="59" y="153"/>
                  </a:cxn>
                  <a:cxn ang="0">
                    <a:pos x="57" y="151"/>
                  </a:cxn>
                  <a:cxn ang="0">
                    <a:pos x="57" y="149"/>
                  </a:cxn>
                  <a:cxn ang="0">
                    <a:pos x="56" y="146"/>
                  </a:cxn>
                  <a:cxn ang="0">
                    <a:pos x="56" y="142"/>
                  </a:cxn>
                  <a:cxn ang="0">
                    <a:pos x="56" y="136"/>
                  </a:cxn>
                  <a:cxn ang="0">
                    <a:pos x="56" y="68"/>
                  </a:cxn>
                  <a:cxn ang="0">
                    <a:pos x="98" y="68"/>
                  </a:cxn>
                  <a:cxn ang="0">
                    <a:pos x="98" y="42"/>
                  </a:cxn>
                  <a:cxn ang="0">
                    <a:pos x="56" y="42"/>
                  </a:cxn>
                  <a:cxn ang="0">
                    <a:pos x="56" y="0"/>
                  </a:cxn>
                  <a:cxn ang="0">
                    <a:pos x="33" y="5"/>
                  </a:cxn>
                  <a:cxn ang="0">
                    <a:pos x="27" y="42"/>
                  </a:cxn>
                  <a:cxn ang="0">
                    <a:pos x="0" y="42"/>
                  </a:cxn>
                  <a:cxn ang="0">
                    <a:pos x="0" y="68"/>
                  </a:cxn>
                  <a:cxn ang="0">
                    <a:pos x="26" y="68"/>
                  </a:cxn>
                </a:cxnLst>
                <a:rect l="0" t="0" r="r" b="b"/>
                <a:pathLst>
                  <a:path w="107" h="183">
                    <a:moveTo>
                      <a:pt x="26" y="68"/>
                    </a:moveTo>
                    <a:lnTo>
                      <a:pt x="26" y="143"/>
                    </a:lnTo>
                    <a:lnTo>
                      <a:pt x="27" y="153"/>
                    </a:lnTo>
                    <a:lnTo>
                      <a:pt x="29" y="160"/>
                    </a:lnTo>
                    <a:lnTo>
                      <a:pt x="30" y="166"/>
                    </a:lnTo>
                    <a:lnTo>
                      <a:pt x="34" y="173"/>
                    </a:lnTo>
                    <a:lnTo>
                      <a:pt x="40" y="177"/>
                    </a:lnTo>
                    <a:lnTo>
                      <a:pt x="42" y="179"/>
                    </a:lnTo>
                    <a:lnTo>
                      <a:pt x="45" y="180"/>
                    </a:lnTo>
                    <a:lnTo>
                      <a:pt x="49" y="181"/>
                    </a:lnTo>
                    <a:lnTo>
                      <a:pt x="53" y="183"/>
                    </a:lnTo>
                    <a:lnTo>
                      <a:pt x="63" y="183"/>
                    </a:lnTo>
                    <a:lnTo>
                      <a:pt x="70" y="183"/>
                    </a:lnTo>
                    <a:lnTo>
                      <a:pt x="77" y="183"/>
                    </a:lnTo>
                    <a:lnTo>
                      <a:pt x="88" y="180"/>
                    </a:lnTo>
                    <a:lnTo>
                      <a:pt x="97" y="176"/>
                    </a:lnTo>
                    <a:lnTo>
                      <a:pt x="107" y="172"/>
                    </a:lnTo>
                    <a:lnTo>
                      <a:pt x="97" y="149"/>
                    </a:lnTo>
                    <a:lnTo>
                      <a:pt x="92" y="151"/>
                    </a:lnTo>
                    <a:lnTo>
                      <a:pt x="85" y="154"/>
                    </a:lnTo>
                    <a:lnTo>
                      <a:pt x="78" y="155"/>
                    </a:lnTo>
                    <a:lnTo>
                      <a:pt x="71" y="155"/>
                    </a:lnTo>
                    <a:lnTo>
                      <a:pt x="66" y="155"/>
                    </a:lnTo>
                    <a:lnTo>
                      <a:pt x="63" y="154"/>
                    </a:lnTo>
                    <a:lnTo>
                      <a:pt x="60" y="153"/>
                    </a:lnTo>
                    <a:lnTo>
                      <a:pt x="59" y="153"/>
                    </a:lnTo>
                    <a:lnTo>
                      <a:pt x="57" y="151"/>
                    </a:lnTo>
                    <a:lnTo>
                      <a:pt x="57" y="149"/>
                    </a:lnTo>
                    <a:lnTo>
                      <a:pt x="56" y="146"/>
                    </a:lnTo>
                    <a:lnTo>
                      <a:pt x="56" y="142"/>
                    </a:lnTo>
                    <a:lnTo>
                      <a:pt x="56" y="136"/>
                    </a:lnTo>
                    <a:lnTo>
                      <a:pt x="56" y="68"/>
                    </a:lnTo>
                    <a:lnTo>
                      <a:pt x="98" y="68"/>
                    </a:lnTo>
                    <a:lnTo>
                      <a:pt x="98" y="42"/>
                    </a:lnTo>
                    <a:lnTo>
                      <a:pt x="56" y="42"/>
                    </a:lnTo>
                    <a:lnTo>
                      <a:pt x="56" y="0"/>
                    </a:lnTo>
                    <a:lnTo>
                      <a:pt x="33" y="5"/>
                    </a:lnTo>
                    <a:lnTo>
                      <a:pt x="27" y="42"/>
                    </a:lnTo>
                    <a:lnTo>
                      <a:pt x="0" y="42"/>
                    </a:lnTo>
                    <a:lnTo>
                      <a:pt x="0" y="68"/>
                    </a:lnTo>
                    <a:lnTo>
                      <a:pt x="26"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8" name="Freeform 59"/>
              <p:cNvSpPr>
                <a:spLocks noEditPoints="1"/>
              </p:cNvSpPr>
              <p:nvPr userDrawn="1"/>
            </p:nvSpPr>
            <p:spPr bwMode="auto">
              <a:xfrm>
                <a:off x="6878359" y="3205669"/>
                <a:ext cx="19790" cy="121379"/>
              </a:xfrm>
              <a:custGeom>
                <a:avLst/>
                <a:gdLst/>
                <a:ahLst/>
                <a:cxnLst>
                  <a:cxn ang="0">
                    <a:pos x="0" y="30"/>
                  </a:cxn>
                  <a:cxn ang="0">
                    <a:pos x="29" y="30"/>
                  </a:cxn>
                  <a:cxn ang="0">
                    <a:pos x="29" y="0"/>
                  </a:cxn>
                  <a:cxn ang="0">
                    <a:pos x="0" y="0"/>
                  </a:cxn>
                  <a:cxn ang="0">
                    <a:pos x="0" y="30"/>
                  </a:cxn>
                  <a:cxn ang="0">
                    <a:pos x="0" y="183"/>
                  </a:cxn>
                  <a:cxn ang="0">
                    <a:pos x="29" y="183"/>
                  </a:cxn>
                  <a:cxn ang="0">
                    <a:pos x="29" y="45"/>
                  </a:cxn>
                  <a:cxn ang="0">
                    <a:pos x="0" y="45"/>
                  </a:cxn>
                  <a:cxn ang="0">
                    <a:pos x="0" y="183"/>
                  </a:cxn>
                </a:cxnLst>
                <a:rect l="0" t="0" r="r" b="b"/>
                <a:pathLst>
                  <a:path w="29" h="183">
                    <a:moveTo>
                      <a:pt x="0" y="30"/>
                    </a:moveTo>
                    <a:lnTo>
                      <a:pt x="29" y="30"/>
                    </a:lnTo>
                    <a:lnTo>
                      <a:pt x="29" y="0"/>
                    </a:lnTo>
                    <a:lnTo>
                      <a:pt x="0" y="0"/>
                    </a:lnTo>
                    <a:lnTo>
                      <a:pt x="0" y="30"/>
                    </a:lnTo>
                    <a:close/>
                    <a:moveTo>
                      <a:pt x="0" y="183"/>
                    </a:moveTo>
                    <a:lnTo>
                      <a:pt x="29" y="183"/>
                    </a:lnTo>
                    <a:lnTo>
                      <a:pt x="29" y="45"/>
                    </a:lnTo>
                    <a:lnTo>
                      <a:pt x="0" y="45"/>
                    </a:lnTo>
                    <a:lnTo>
                      <a:pt x="0"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19" name="Freeform 60"/>
              <p:cNvSpPr>
                <a:spLocks/>
              </p:cNvSpPr>
              <p:nvPr userDrawn="1"/>
            </p:nvSpPr>
            <p:spPr bwMode="auto">
              <a:xfrm>
                <a:off x="6920577" y="3233375"/>
                <a:ext cx="83118" cy="93673"/>
              </a:xfrm>
              <a:custGeom>
                <a:avLst/>
                <a:gdLst/>
                <a:ahLst/>
                <a:cxnLst>
                  <a:cxn ang="0">
                    <a:pos x="0" y="141"/>
                  </a:cxn>
                  <a:cxn ang="0">
                    <a:pos x="30" y="141"/>
                  </a:cxn>
                  <a:cxn ang="0">
                    <a:pos x="30" y="64"/>
                  </a:cxn>
                  <a:cxn ang="0">
                    <a:pos x="30" y="55"/>
                  </a:cxn>
                  <a:cxn ang="0">
                    <a:pos x="30" y="53"/>
                  </a:cxn>
                  <a:cxn ang="0">
                    <a:pos x="31" y="49"/>
                  </a:cxn>
                  <a:cxn ang="0">
                    <a:pos x="34" y="43"/>
                  </a:cxn>
                  <a:cxn ang="0">
                    <a:pos x="38" y="38"/>
                  </a:cxn>
                  <a:cxn ang="0">
                    <a:pos x="40" y="35"/>
                  </a:cxn>
                  <a:cxn ang="0">
                    <a:pos x="42" y="32"/>
                  </a:cxn>
                  <a:cxn ang="0">
                    <a:pos x="46" y="31"/>
                  </a:cxn>
                  <a:cxn ang="0">
                    <a:pos x="49" y="30"/>
                  </a:cxn>
                  <a:cxn ang="0">
                    <a:pos x="57" y="28"/>
                  </a:cxn>
                  <a:cxn ang="0">
                    <a:pos x="67" y="27"/>
                  </a:cxn>
                  <a:cxn ang="0">
                    <a:pos x="75" y="28"/>
                  </a:cxn>
                  <a:cxn ang="0">
                    <a:pos x="81" y="30"/>
                  </a:cxn>
                  <a:cxn ang="0">
                    <a:pos x="86" y="32"/>
                  </a:cxn>
                  <a:cxn ang="0">
                    <a:pos x="90" y="36"/>
                  </a:cxn>
                  <a:cxn ang="0">
                    <a:pos x="93" y="40"/>
                  </a:cxn>
                  <a:cxn ang="0">
                    <a:pos x="94" y="47"/>
                  </a:cxn>
                  <a:cxn ang="0">
                    <a:pos x="96" y="54"/>
                  </a:cxn>
                  <a:cxn ang="0">
                    <a:pos x="96" y="62"/>
                  </a:cxn>
                  <a:cxn ang="0">
                    <a:pos x="96" y="141"/>
                  </a:cxn>
                  <a:cxn ang="0">
                    <a:pos x="124" y="141"/>
                  </a:cxn>
                  <a:cxn ang="0">
                    <a:pos x="124" y="55"/>
                  </a:cxn>
                  <a:cxn ang="0">
                    <a:pos x="124" y="43"/>
                  </a:cxn>
                  <a:cxn ang="0">
                    <a:pos x="122" y="32"/>
                  </a:cxn>
                  <a:cxn ang="0">
                    <a:pos x="120" y="27"/>
                  </a:cxn>
                  <a:cxn ang="0">
                    <a:pos x="119" y="23"/>
                  </a:cxn>
                  <a:cxn ang="0">
                    <a:pos x="116" y="19"/>
                  </a:cxn>
                  <a:cxn ang="0">
                    <a:pos x="115" y="15"/>
                  </a:cxn>
                  <a:cxn ang="0">
                    <a:pos x="111" y="10"/>
                  </a:cxn>
                  <a:cxn ang="0">
                    <a:pos x="108" y="8"/>
                  </a:cxn>
                  <a:cxn ang="0">
                    <a:pos x="100" y="2"/>
                  </a:cxn>
                  <a:cxn ang="0">
                    <a:pos x="94" y="1"/>
                  </a:cxn>
                  <a:cxn ang="0">
                    <a:pos x="89" y="0"/>
                  </a:cxn>
                  <a:cxn ang="0">
                    <a:pos x="83" y="0"/>
                  </a:cxn>
                  <a:cxn ang="0">
                    <a:pos x="77" y="0"/>
                  </a:cxn>
                  <a:cxn ang="0">
                    <a:pos x="68" y="0"/>
                  </a:cxn>
                  <a:cxn ang="0">
                    <a:pos x="60" y="1"/>
                  </a:cxn>
                  <a:cxn ang="0">
                    <a:pos x="53" y="4"/>
                  </a:cxn>
                  <a:cxn ang="0">
                    <a:pos x="46" y="6"/>
                  </a:cxn>
                  <a:cxn ang="0">
                    <a:pos x="40" y="10"/>
                  </a:cxn>
                  <a:cxn ang="0">
                    <a:pos x="34" y="15"/>
                  </a:cxn>
                  <a:cxn ang="0">
                    <a:pos x="30" y="20"/>
                  </a:cxn>
                  <a:cxn ang="0">
                    <a:pos x="27" y="25"/>
                  </a:cxn>
                  <a:cxn ang="0">
                    <a:pos x="22" y="2"/>
                  </a:cxn>
                  <a:cxn ang="0">
                    <a:pos x="0" y="4"/>
                  </a:cxn>
                  <a:cxn ang="0">
                    <a:pos x="0" y="141"/>
                  </a:cxn>
                </a:cxnLst>
                <a:rect l="0" t="0" r="r" b="b"/>
                <a:pathLst>
                  <a:path w="124" h="141">
                    <a:moveTo>
                      <a:pt x="0" y="141"/>
                    </a:moveTo>
                    <a:lnTo>
                      <a:pt x="30" y="141"/>
                    </a:lnTo>
                    <a:lnTo>
                      <a:pt x="30" y="64"/>
                    </a:lnTo>
                    <a:lnTo>
                      <a:pt x="30" y="55"/>
                    </a:lnTo>
                    <a:lnTo>
                      <a:pt x="30" y="53"/>
                    </a:lnTo>
                    <a:lnTo>
                      <a:pt x="31" y="49"/>
                    </a:lnTo>
                    <a:lnTo>
                      <a:pt x="34" y="43"/>
                    </a:lnTo>
                    <a:lnTo>
                      <a:pt x="38" y="38"/>
                    </a:lnTo>
                    <a:lnTo>
                      <a:pt x="40" y="35"/>
                    </a:lnTo>
                    <a:lnTo>
                      <a:pt x="42" y="32"/>
                    </a:lnTo>
                    <a:lnTo>
                      <a:pt x="46" y="31"/>
                    </a:lnTo>
                    <a:lnTo>
                      <a:pt x="49" y="30"/>
                    </a:lnTo>
                    <a:lnTo>
                      <a:pt x="57" y="28"/>
                    </a:lnTo>
                    <a:lnTo>
                      <a:pt x="67" y="27"/>
                    </a:lnTo>
                    <a:lnTo>
                      <a:pt x="75" y="28"/>
                    </a:lnTo>
                    <a:lnTo>
                      <a:pt x="81" y="30"/>
                    </a:lnTo>
                    <a:lnTo>
                      <a:pt x="86" y="32"/>
                    </a:lnTo>
                    <a:lnTo>
                      <a:pt x="90" y="36"/>
                    </a:lnTo>
                    <a:lnTo>
                      <a:pt x="93" y="40"/>
                    </a:lnTo>
                    <a:lnTo>
                      <a:pt x="94" y="47"/>
                    </a:lnTo>
                    <a:lnTo>
                      <a:pt x="96" y="54"/>
                    </a:lnTo>
                    <a:lnTo>
                      <a:pt x="96" y="62"/>
                    </a:lnTo>
                    <a:lnTo>
                      <a:pt x="96" y="141"/>
                    </a:lnTo>
                    <a:lnTo>
                      <a:pt x="124" y="141"/>
                    </a:lnTo>
                    <a:lnTo>
                      <a:pt x="124" y="55"/>
                    </a:lnTo>
                    <a:lnTo>
                      <a:pt x="124" y="43"/>
                    </a:lnTo>
                    <a:lnTo>
                      <a:pt x="122" y="32"/>
                    </a:lnTo>
                    <a:lnTo>
                      <a:pt x="120" y="27"/>
                    </a:lnTo>
                    <a:lnTo>
                      <a:pt x="119" y="23"/>
                    </a:lnTo>
                    <a:lnTo>
                      <a:pt x="116" y="19"/>
                    </a:lnTo>
                    <a:lnTo>
                      <a:pt x="115" y="15"/>
                    </a:lnTo>
                    <a:lnTo>
                      <a:pt x="111" y="10"/>
                    </a:lnTo>
                    <a:lnTo>
                      <a:pt x="108" y="8"/>
                    </a:lnTo>
                    <a:lnTo>
                      <a:pt x="100" y="2"/>
                    </a:lnTo>
                    <a:lnTo>
                      <a:pt x="94" y="1"/>
                    </a:lnTo>
                    <a:lnTo>
                      <a:pt x="89" y="0"/>
                    </a:lnTo>
                    <a:lnTo>
                      <a:pt x="83" y="0"/>
                    </a:lnTo>
                    <a:lnTo>
                      <a:pt x="77" y="0"/>
                    </a:lnTo>
                    <a:lnTo>
                      <a:pt x="68" y="0"/>
                    </a:lnTo>
                    <a:lnTo>
                      <a:pt x="60" y="1"/>
                    </a:lnTo>
                    <a:lnTo>
                      <a:pt x="53" y="4"/>
                    </a:lnTo>
                    <a:lnTo>
                      <a:pt x="46" y="6"/>
                    </a:lnTo>
                    <a:lnTo>
                      <a:pt x="40" y="10"/>
                    </a:lnTo>
                    <a:lnTo>
                      <a:pt x="34" y="15"/>
                    </a:lnTo>
                    <a:lnTo>
                      <a:pt x="30" y="20"/>
                    </a:lnTo>
                    <a:lnTo>
                      <a:pt x="27" y="25"/>
                    </a:lnTo>
                    <a:lnTo>
                      <a:pt x="22" y="2"/>
                    </a:lnTo>
                    <a:lnTo>
                      <a:pt x="0" y="4"/>
                    </a:lnTo>
                    <a:lnTo>
                      <a:pt x="0" y="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0" name="Freeform 61"/>
              <p:cNvSpPr>
                <a:spLocks noEditPoints="1"/>
              </p:cNvSpPr>
              <p:nvPr userDrawn="1"/>
            </p:nvSpPr>
            <p:spPr bwMode="auto">
              <a:xfrm>
                <a:off x="7016888" y="3224139"/>
                <a:ext cx="96311" cy="131934"/>
              </a:xfrm>
              <a:custGeom>
                <a:avLst/>
                <a:gdLst/>
                <a:ahLst/>
                <a:cxnLst>
                  <a:cxn ang="0">
                    <a:pos x="69" y="14"/>
                  </a:cxn>
                  <a:cxn ang="0">
                    <a:pos x="36" y="20"/>
                  </a:cxn>
                  <a:cxn ang="0">
                    <a:pos x="22" y="29"/>
                  </a:cxn>
                  <a:cxn ang="0">
                    <a:pos x="14" y="39"/>
                  </a:cxn>
                  <a:cxn ang="0">
                    <a:pos x="10" y="60"/>
                  </a:cxn>
                  <a:cxn ang="0">
                    <a:pos x="12" y="76"/>
                  </a:cxn>
                  <a:cxn ang="0">
                    <a:pos x="22" y="90"/>
                  </a:cxn>
                  <a:cxn ang="0">
                    <a:pos x="26" y="101"/>
                  </a:cxn>
                  <a:cxn ang="0">
                    <a:pos x="19" y="116"/>
                  </a:cxn>
                  <a:cxn ang="0">
                    <a:pos x="26" y="131"/>
                  </a:cxn>
                  <a:cxn ang="0">
                    <a:pos x="19" y="139"/>
                  </a:cxn>
                  <a:cxn ang="0">
                    <a:pos x="4" y="151"/>
                  </a:cxn>
                  <a:cxn ang="0">
                    <a:pos x="0" y="166"/>
                  </a:cxn>
                  <a:cxn ang="0">
                    <a:pos x="4" y="180"/>
                  </a:cxn>
                  <a:cxn ang="0">
                    <a:pos x="22" y="195"/>
                  </a:cxn>
                  <a:cxn ang="0">
                    <a:pos x="58" y="199"/>
                  </a:cxn>
                  <a:cxn ang="0">
                    <a:pos x="99" y="196"/>
                  </a:cxn>
                  <a:cxn ang="0">
                    <a:pos x="119" y="189"/>
                  </a:cxn>
                  <a:cxn ang="0">
                    <a:pos x="134" y="179"/>
                  </a:cxn>
                  <a:cxn ang="0">
                    <a:pos x="143" y="169"/>
                  </a:cxn>
                  <a:cxn ang="0">
                    <a:pos x="145" y="158"/>
                  </a:cxn>
                  <a:cxn ang="0">
                    <a:pos x="145" y="144"/>
                  </a:cxn>
                  <a:cxn ang="0">
                    <a:pos x="140" y="134"/>
                  </a:cxn>
                  <a:cxn ang="0">
                    <a:pos x="133" y="128"/>
                  </a:cxn>
                  <a:cxn ang="0">
                    <a:pos x="119" y="123"/>
                  </a:cxn>
                  <a:cxn ang="0">
                    <a:pos x="74" y="119"/>
                  </a:cxn>
                  <a:cxn ang="0">
                    <a:pos x="49" y="116"/>
                  </a:cxn>
                  <a:cxn ang="0">
                    <a:pos x="45" y="112"/>
                  </a:cxn>
                  <a:cxn ang="0">
                    <a:pos x="48" y="102"/>
                  </a:cxn>
                  <a:cxn ang="0">
                    <a:pos x="82" y="104"/>
                  </a:cxn>
                  <a:cxn ang="0">
                    <a:pos x="103" y="98"/>
                  </a:cxn>
                  <a:cxn ang="0">
                    <a:pos x="119" y="87"/>
                  </a:cxn>
                  <a:cxn ang="0">
                    <a:pos x="126" y="75"/>
                  </a:cxn>
                  <a:cxn ang="0">
                    <a:pos x="129" y="54"/>
                  </a:cxn>
                  <a:cxn ang="0">
                    <a:pos x="123" y="39"/>
                  </a:cxn>
                  <a:cxn ang="0">
                    <a:pos x="118" y="33"/>
                  </a:cxn>
                  <a:cxn ang="0">
                    <a:pos x="137" y="26"/>
                  </a:cxn>
                  <a:cxn ang="0">
                    <a:pos x="69" y="83"/>
                  </a:cxn>
                  <a:cxn ang="0">
                    <a:pos x="51" y="79"/>
                  </a:cxn>
                  <a:cxn ang="0">
                    <a:pos x="40" y="69"/>
                  </a:cxn>
                  <a:cxn ang="0">
                    <a:pos x="38" y="56"/>
                  </a:cxn>
                  <a:cxn ang="0">
                    <a:pos x="47" y="44"/>
                  </a:cxn>
                  <a:cxn ang="0">
                    <a:pos x="62" y="38"/>
                  </a:cxn>
                  <a:cxn ang="0">
                    <a:pos x="82" y="39"/>
                  </a:cxn>
                  <a:cxn ang="0">
                    <a:pos x="96" y="46"/>
                  </a:cxn>
                  <a:cxn ang="0">
                    <a:pos x="101" y="60"/>
                  </a:cxn>
                  <a:cxn ang="0">
                    <a:pos x="96" y="74"/>
                  </a:cxn>
                  <a:cxn ang="0">
                    <a:pos x="82" y="82"/>
                  </a:cxn>
                  <a:cxn ang="0">
                    <a:pos x="60" y="177"/>
                  </a:cxn>
                  <a:cxn ang="0">
                    <a:pos x="42" y="174"/>
                  </a:cxn>
                  <a:cxn ang="0">
                    <a:pos x="32" y="168"/>
                  </a:cxn>
                  <a:cxn ang="0">
                    <a:pos x="30" y="158"/>
                  </a:cxn>
                  <a:cxn ang="0">
                    <a:pos x="36" y="149"/>
                  </a:cxn>
                  <a:cxn ang="0">
                    <a:pos x="52" y="143"/>
                  </a:cxn>
                  <a:cxn ang="0">
                    <a:pos x="90" y="143"/>
                  </a:cxn>
                  <a:cxn ang="0">
                    <a:pos x="111" y="147"/>
                  </a:cxn>
                  <a:cxn ang="0">
                    <a:pos x="116" y="154"/>
                  </a:cxn>
                  <a:cxn ang="0">
                    <a:pos x="112" y="166"/>
                  </a:cxn>
                  <a:cxn ang="0">
                    <a:pos x="93" y="174"/>
                  </a:cxn>
                  <a:cxn ang="0">
                    <a:pos x="60" y="177"/>
                  </a:cxn>
                </a:cxnLst>
                <a:rect l="0" t="0" r="r" b="b"/>
                <a:pathLst>
                  <a:path w="145" h="199">
                    <a:moveTo>
                      <a:pt x="92" y="15"/>
                    </a:moveTo>
                    <a:lnTo>
                      <a:pt x="81" y="14"/>
                    </a:lnTo>
                    <a:lnTo>
                      <a:pt x="69" y="14"/>
                    </a:lnTo>
                    <a:lnTo>
                      <a:pt x="56" y="14"/>
                    </a:lnTo>
                    <a:lnTo>
                      <a:pt x="45" y="16"/>
                    </a:lnTo>
                    <a:lnTo>
                      <a:pt x="36" y="20"/>
                    </a:lnTo>
                    <a:lnTo>
                      <a:pt x="30" y="23"/>
                    </a:lnTo>
                    <a:lnTo>
                      <a:pt x="26" y="26"/>
                    </a:lnTo>
                    <a:lnTo>
                      <a:pt x="22" y="29"/>
                    </a:lnTo>
                    <a:lnTo>
                      <a:pt x="19" y="33"/>
                    </a:lnTo>
                    <a:lnTo>
                      <a:pt x="16" y="35"/>
                    </a:lnTo>
                    <a:lnTo>
                      <a:pt x="14" y="39"/>
                    </a:lnTo>
                    <a:lnTo>
                      <a:pt x="12" y="45"/>
                    </a:lnTo>
                    <a:lnTo>
                      <a:pt x="11" y="49"/>
                    </a:lnTo>
                    <a:lnTo>
                      <a:pt x="10" y="60"/>
                    </a:lnTo>
                    <a:lnTo>
                      <a:pt x="10" y="65"/>
                    </a:lnTo>
                    <a:lnTo>
                      <a:pt x="11" y="72"/>
                    </a:lnTo>
                    <a:lnTo>
                      <a:pt x="12" y="76"/>
                    </a:lnTo>
                    <a:lnTo>
                      <a:pt x="15" y="82"/>
                    </a:lnTo>
                    <a:lnTo>
                      <a:pt x="19" y="86"/>
                    </a:lnTo>
                    <a:lnTo>
                      <a:pt x="22" y="90"/>
                    </a:lnTo>
                    <a:lnTo>
                      <a:pt x="26" y="94"/>
                    </a:lnTo>
                    <a:lnTo>
                      <a:pt x="32" y="97"/>
                    </a:lnTo>
                    <a:lnTo>
                      <a:pt x="26" y="101"/>
                    </a:lnTo>
                    <a:lnTo>
                      <a:pt x="23" y="106"/>
                    </a:lnTo>
                    <a:lnTo>
                      <a:pt x="21" y="110"/>
                    </a:lnTo>
                    <a:lnTo>
                      <a:pt x="19" y="116"/>
                    </a:lnTo>
                    <a:lnTo>
                      <a:pt x="21" y="121"/>
                    </a:lnTo>
                    <a:lnTo>
                      <a:pt x="23" y="127"/>
                    </a:lnTo>
                    <a:lnTo>
                      <a:pt x="26" y="131"/>
                    </a:lnTo>
                    <a:lnTo>
                      <a:pt x="33" y="135"/>
                    </a:lnTo>
                    <a:lnTo>
                      <a:pt x="25" y="136"/>
                    </a:lnTo>
                    <a:lnTo>
                      <a:pt x="19" y="139"/>
                    </a:lnTo>
                    <a:lnTo>
                      <a:pt x="12" y="142"/>
                    </a:lnTo>
                    <a:lnTo>
                      <a:pt x="8" y="146"/>
                    </a:lnTo>
                    <a:lnTo>
                      <a:pt x="4" y="151"/>
                    </a:lnTo>
                    <a:lnTo>
                      <a:pt x="1" y="155"/>
                    </a:lnTo>
                    <a:lnTo>
                      <a:pt x="0" y="161"/>
                    </a:lnTo>
                    <a:lnTo>
                      <a:pt x="0" y="166"/>
                    </a:lnTo>
                    <a:lnTo>
                      <a:pt x="1" y="174"/>
                    </a:lnTo>
                    <a:lnTo>
                      <a:pt x="1" y="177"/>
                    </a:lnTo>
                    <a:lnTo>
                      <a:pt x="4" y="180"/>
                    </a:lnTo>
                    <a:lnTo>
                      <a:pt x="8" y="185"/>
                    </a:lnTo>
                    <a:lnTo>
                      <a:pt x="14" y="191"/>
                    </a:lnTo>
                    <a:lnTo>
                      <a:pt x="22" y="195"/>
                    </a:lnTo>
                    <a:lnTo>
                      <a:pt x="33" y="198"/>
                    </a:lnTo>
                    <a:lnTo>
                      <a:pt x="44" y="199"/>
                    </a:lnTo>
                    <a:lnTo>
                      <a:pt x="58" y="199"/>
                    </a:lnTo>
                    <a:lnTo>
                      <a:pt x="69" y="199"/>
                    </a:lnTo>
                    <a:lnTo>
                      <a:pt x="79" y="198"/>
                    </a:lnTo>
                    <a:lnTo>
                      <a:pt x="99" y="196"/>
                    </a:lnTo>
                    <a:lnTo>
                      <a:pt x="106" y="194"/>
                    </a:lnTo>
                    <a:lnTo>
                      <a:pt x="114" y="192"/>
                    </a:lnTo>
                    <a:lnTo>
                      <a:pt x="119" y="189"/>
                    </a:lnTo>
                    <a:lnTo>
                      <a:pt x="126" y="185"/>
                    </a:lnTo>
                    <a:lnTo>
                      <a:pt x="130" y="183"/>
                    </a:lnTo>
                    <a:lnTo>
                      <a:pt x="134" y="179"/>
                    </a:lnTo>
                    <a:lnTo>
                      <a:pt x="138" y="176"/>
                    </a:lnTo>
                    <a:lnTo>
                      <a:pt x="141" y="172"/>
                    </a:lnTo>
                    <a:lnTo>
                      <a:pt x="143" y="169"/>
                    </a:lnTo>
                    <a:lnTo>
                      <a:pt x="143" y="168"/>
                    </a:lnTo>
                    <a:lnTo>
                      <a:pt x="145" y="162"/>
                    </a:lnTo>
                    <a:lnTo>
                      <a:pt x="145" y="158"/>
                    </a:lnTo>
                    <a:lnTo>
                      <a:pt x="145" y="153"/>
                    </a:lnTo>
                    <a:lnTo>
                      <a:pt x="145" y="149"/>
                    </a:lnTo>
                    <a:lnTo>
                      <a:pt x="145" y="144"/>
                    </a:lnTo>
                    <a:lnTo>
                      <a:pt x="144" y="140"/>
                    </a:lnTo>
                    <a:lnTo>
                      <a:pt x="141" y="138"/>
                    </a:lnTo>
                    <a:lnTo>
                      <a:pt x="140" y="134"/>
                    </a:lnTo>
                    <a:lnTo>
                      <a:pt x="138" y="132"/>
                    </a:lnTo>
                    <a:lnTo>
                      <a:pt x="137" y="131"/>
                    </a:lnTo>
                    <a:lnTo>
                      <a:pt x="133" y="128"/>
                    </a:lnTo>
                    <a:lnTo>
                      <a:pt x="129" y="127"/>
                    </a:lnTo>
                    <a:lnTo>
                      <a:pt x="125" y="125"/>
                    </a:lnTo>
                    <a:lnTo>
                      <a:pt x="119" y="123"/>
                    </a:lnTo>
                    <a:lnTo>
                      <a:pt x="107" y="121"/>
                    </a:lnTo>
                    <a:lnTo>
                      <a:pt x="92" y="119"/>
                    </a:lnTo>
                    <a:lnTo>
                      <a:pt x="74" y="119"/>
                    </a:lnTo>
                    <a:lnTo>
                      <a:pt x="59" y="117"/>
                    </a:lnTo>
                    <a:lnTo>
                      <a:pt x="53" y="117"/>
                    </a:lnTo>
                    <a:lnTo>
                      <a:pt x="49" y="116"/>
                    </a:lnTo>
                    <a:lnTo>
                      <a:pt x="48" y="114"/>
                    </a:lnTo>
                    <a:lnTo>
                      <a:pt x="45" y="113"/>
                    </a:lnTo>
                    <a:lnTo>
                      <a:pt x="45" y="112"/>
                    </a:lnTo>
                    <a:lnTo>
                      <a:pt x="45" y="110"/>
                    </a:lnTo>
                    <a:lnTo>
                      <a:pt x="45" y="106"/>
                    </a:lnTo>
                    <a:lnTo>
                      <a:pt x="48" y="102"/>
                    </a:lnTo>
                    <a:lnTo>
                      <a:pt x="58" y="105"/>
                    </a:lnTo>
                    <a:lnTo>
                      <a:pt x="69" y="105"/>
                    </a:lnTo>
                    <a:lnTo>
                      <a:pt x="82" y="104"/>
                    </a:lnTo>
                    <a:lnTo>
                      <a:pt x="88" y="104"/>
                    </a:lnTo>
                    <a:lnTo>
                      <a:pt x="93" y="102"/>
                    </a:lnTo>
                    <a:lnTo>
                      <a:pt x="103" y="98"/>
                    </a:lnTo>
                    <a:lnTo>
                      <a:pt x="108" y="97"/>
                    </a:lnTo>
                    <a:lnTo>
                      <a:pt x="112" y="94"/>
                    </a:lnTo>
                    <a:lnTo>
                      <a:pt x="119" y="87"/>
                    </a:lnTo>
                    <a:lnTo>
                      <a:pt x="122" y="83"/>
                    </a:lnTo>
                    <a:lnTo>
                      <a:pt x="125" y="79"/>
                    </a:lnTo>
                    <a:lnTo>
                      <a:pt x="126" y="75"/>
                    </a:lnTo>
                    <a:lnTo>
                      <a:pt x="127" y="71"/>
                    </a:lnTo>
                    <a:lnTo>
                      <a:pt x="129" y="61"/>
                    </a:lnTo>
                    <a:lnTo>
                      <a:pt x="129" y="54"/>
                    </a:lnTo>
                    <a:lnTo>
                      <a:pt x="127" y="49"/>
                    </a:lnTo>
                    <a:lnTo>
                      <a:pt x="126" y="44"/>
                    </a:lnTo>
                    <a:lnTo>
                      <a:pt x="123" y="39"/>
                    </a:lnTo>
                    <a:lnTo>
                      <a:pt x="122" y="38"/>
                    </a:lnTo>
                    <a:lnTo>
                      <a:pt x="121" y="35"/>
                    </a:lnTo>
                    <a:lnTo>
                      <a:pt x="118" y="33"/>
                    </a:lnTo>
                    <a:lnTo>
                      <a:pt x="108" y="27"/>
                    </a:lnTo>
                    <a:lnTo>
                      <a:pt x="108" y="26"/>
                    </a:lnTo>
                    <a:lnTo>
                      <a:pt x="137" y="26"/>
                    </a:lnTo>
                    <a:lnTo>
                      <a:pt x="130" y="0"/>
                    </a:lnTo>
                    <a:lnTo>
                      <a:pt x="92" y="15"/>
                    </a:lnTo>
                    <a:close/>
                    <a:moveTo>
                      <a:pt x="69" y="83"/>
                    </a:moveTo>
                    <a:lnTo>
                      <a:pt x="62" y="82"/>
                    </a:lnTo>
                    <a:lnTo>
                      <a:pt x="56" y="82"/>
                    </a:lnTo>
                    <a:lnTo>
                      <a:pt x="51" y="79"/>
                    </a:lnTo>
                    <a:lnTo>
                      <a:pt x="47" y="78"/>
                    </a:lnTo>
                    <a:lnTo>
                      <a:pt x="42" y="74"/>
                    </a:lnTo>
                    <a:lnTo>
                      <a:pt x="40" y="69"/>
                    </a:lnTo>
                    <a:lnTo>
                      <a:pt x="38" y="65"/>
                    </a:lnTo>
                    <a:lnTo>
                      <a:pt x="37" y="60"/>
                    </a:lnTo>
                    <a:lnTo>
                      <a:pt x="38" y="56"/>
                    </a:lnTo>
                    <a:lnTo>
                      <a:pt x="40" y="50"/>
                    </a:lnTo>
                    <a:lnTo>
                      <a:pt x="42" y="46"/>
                    </a:lnTo>
                    <a:lnTo>
                      <a:pt x="47" y="44"/>
                    </a:lnTo>
                    <a:lnTo>
                      <a:pt x="51" y="41"/>
                    </a:lnTo>
                    <a:lnTo>
                      <a:pt x="56" y="39"/>
                    </a:lnTo>
                    <a:lnTo>
                      <a:pt x="62" y="38"/>
                    </a:lnTo>
                    <a:lnTo>
                      <a:pt x="69" y="38"/>
                    </a:lnTo>
                    <a:lnTo>
                      <a:pt x="75" y="38"/>
                    </a:lnTo>
                    <a:lnTo>
                      <a:pt x="82" y="39"/>
                    </a:lnTo>
                    <a:lnTo>
                      <a:pt x="88" y="41"/>
                    </a:lnTo>
                    <a:lnTo>
                      <a:pt x="92" y="44"/>
                    </a:lnTo>
                    <a:lnTo>
                      <a:pt x="96" y="46"/>
                    </a:lnTo>
                    <a:lnTo>
                      <a:pt x="99" y="50"/>
                    </a:lnTo>
                    <a:lnTo>
                      <a:pt x="100" y="56"/>
                    </a:lnTo>
                    <a:lnTo>
                      <a:pt x="101" y="60"/>
                    </a:lnTo>
                    <a:lnTo>
                      <a:pt x="100" y="65"/>
                    </a:lnTo>
                    <a:lnTo>
                      <a:pt x="99" y="69"/>
                    </a:lnTo>
                    <a:lnTo>
                      <a:pt x="96" y="74"/>
                    </a:lnTo>
                    <a:lnTo>
                      <a:pt x="92" y="78"/>
                    </a:lnTo>
                    <a:lnTo>
                      <a:pt x="88" y="79"/>
                    </a:lnTo>
                    <a:lnTo>
                      <a:pt x="82" y="82"/>
                    </a:lnTo>
                    <a:lnTo>
                      <a:pt x="75" y="82"/>
                    </a:lnTo>
                    <a:lnTo>
                      <a:pt x="69" y="83"/>
                    </a:lnTo>
                    <a:close/>
                    <a:moveTo>
                      <a:pt x="60" y="177"/>
                    </a:moveTo>
                    <a:lnTo>
                      <a:pt x="53" y="177"/>
                    </a:lnTo>
                    <a:lnTo>
                      <a:pt x="47" y="176"/>
                    </a:lnTo>
                    <a:lnTo>
                      <a:pt x="42" y="174"/>
                    </a:lnTo>
                    <a:lnTo>
                      <a:pt x="37" y="173"/>
                    </a:lnTo>
                    <a:lnTo>
                      <a:pt x="34" y="170"/>
                    </a:lnTo>
                    <a:lnTo>
                      <a:pt x="32" y="168"/>
                    </a:lnTo>
                    <a:lnTo>
                      <a:pt x="30" y="165"/>
                    </a:lnTo>
                    <a:lnTo>
                      <a:pt x="30" y="161"/>
                    </a:lnTo>
                    <a:lnTo>
                      <a:pt x="30" y="158"/>
                    </a:lnTo>
                    <a:lnTo>
                      <a:pt x="30" y="155"/>
                    </a:lnTo>
                    <a:lnTo>
                      <a:pt x="33" y="151"/>
                    </a:lnTo>
                    <a:lnTo>
                      <a:pt x="36" y="149"/>
                    </a:lnTo>
                    <a:lnTo>
                      <a:pt x="41" y="146"/>
                    </a:lnTo>
                    <a:lnTo>
                      <a:pt x="47" y="144"/>
                    </a:lnTo>
                    <a:lnTo>
                      <a:pt x="52" y="143"/>
                    </a:lnTo>
                    <a:lnTo>
                      <a:pt x="59" y="142"/>
                    </a:lnTo>
                    <a:lnTo>
                      <a:pt x="66" y="142"/>
                    </a:lnTo>
                    <a:lnTo>
                      <a:pt x="90" y="143"/>
                    </a:lnTo>
                    <a:lnTo>
                      <a:pt x="99" y="144"/>
                    </a:lnTo>
                    <a:lnTo>
                      <a:pt x="106" y="146"/>
                    </a:lnTo>
                    <a:lnTo>
                      <a:pt x="111" y="147"/>
                    </a:lnTo>
                    <a:lnTo>
                      <a:pt x="114" y="150"/>
                    </a:lnTo>
                    <a:lnTo>
                      <a:pt x="116" y="153"/>
                    </a:lnTo>
                    <a:lnTo>
                      <a:pt x="116" y="154"/>
                    </a:lnTo>
                    <a:lnTo>
                      <a:pt x="116" y="157"/>
                    </a:lnTo>
                    <a:lnTo>
                      <a:pt x="115" y="162"/>
                    </a:lnTo>
                    <a:lnTo>
                      <a:pt x="112" y="166"/>
                    </a:lnTo>
                    <a:lnTo>
                      <a:pt x="108" y="169"/>
                    </a:lnTo>
                    <a:lnTo>
                      <a:pt x="101" y="172"/>
                    </a:lnTo>
                    <a:lnTo>
                      <a:pt x="93" y="174"/>
                    </a:lnTo>
                    <a:lnTo>
                      <a:pt x="84" y="176"/>
                    </a:lnTo>
                    <a:lnTo>
                      <a:pt x="73" y="177"/>
                    </a:lnTo>
                    <a:lnTo>
                      <a:pt x="60"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121" name="120 Rectángulo"/>
              <p:cNvSpPr/>
              <p:nvPr userDrawn="1"/>
            </p:nvSpPr>
            <p:spPr bwMode="auto">
              <a:xfrm>
                <a:off x="4860032" y="3079385"/>
                <a:ext cx="2393756" cy="3799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s-MX" b="1" u="sng" smtClean="0">
                  <a:solidFill>
                    <a:srgbClr val="3F3F3F"/>
                  </a:solidFill>
                  <a:latin typeface="Arial" charset="0"/>
                  <a:cs typeface="Arial" charset="0"/>
                </a:endParaRPr>
              </a:p>
            </p:txBody>
          </p:sp>
        </p:grpSp>
        <p:grpSp>
          <p:nvGrpSpPr>
            <p:cNvPr id="7" name="Group 5"/>
            <p:cNvGrpSpPr>
              <a:grpSpLocks noChangeAspect="1"/>
            </p:cNvGrpSpPr>
            <p:nvPr userDrawn="1"/>
          </p:nvGrpSpPr>
          <p:grpSpPr bwMode="auto">
            <a:xfrm>
              <a:off x="6300192" y="2768810"/>
              <a:ext cx="791493" cy="248083"/>
              <a:chOff x="1066" y="543"/>
              <a:chExt cx="2262" cy="709"/>
            </a:xfrm>
            <a:grpFill/>
          </p:grpSpPr>
          <p:sp>
            <p:nvSpPr>
              <p:cNvPr id="65" name="Freeform 6"/>
              <p:cNvSpPr>
                <a:spLocks/>
              </p:cNvSpPr>
              <p:nvPr userDrawn="1"/>
            </p:nvSpPr>
            <p:spPr bwMode="auto">
              <a:xfrm>
                <a:off x="1066" y="544"/>
                <a:ext cx="539" cy="694"/>
              </a:xfrm>
              <a:custGeom>
                <a:avLst/>
                <a:gdLst/>
                <a:ahLst/>
                <a:cxnLst>
                  <a:cxn ang="0">
                    <a:pos x="539" y="694"/>
                  </a:cxn>
                  <a:cxn ang="0">
                    <a:pos x="258" y="541"/>
                  </a:cxn>
                  <a:cxn ang="0">
                    <a:pos x="393" y="446"/>
                  </a:cxn>
                  <a:cxn ang="0">
                    <a:pos x="427" y="419"/>
                  </a:cxn>
                  <a:cxn ang="0">
                    <a:pos x="456" y="393"/>
                  </a:cxn>
                  <a:cxn ang="0">
                    <a:pos x="481" y="366"/>
                  </a:cxn>
                  <a:cxn ang="0">
                    <a:pos x="501" y="339"/>
                  </a:cxn>
                  <a:cxn ang="0">
                    <a:pos x="509" y="324"/>
                  </a:cxn>
                  <a:cxn ang="0">
                    <a:pos x="522" y="292"/>
                  </a:cxn>
                  <a:cxn ang="0">
                    <a:pos x="527" y="275"/>
                  </a:cxn>
                  <a:cxn ang="0">
                    <a:pos x="532" y="239"/>
                  </a:cxn>
                  <a:cxn ang="0">
                    <a:pos x="533" y="219"/>
                  </a:cxn>
                  <a:cxn ang="0">
                    <a:pos x="532" y="205"/>
                  </a:cxn>
                  <a:cxn ang="0">
                    <a:pos x="530" y="182"/>
                  </a:cxn>
                  <a:cxn ang="0">
                    <a:pos x="525" y="160"/>
                  </a:cxn>
                  <a:cxn ang="0">
                    <a:pos x="518" y="139"/>
                  </a:cxn>
                  <a:cxn ang="0">
                    <a:pos x="510" y="120"/>
                  </a:cxn>
                  <a:cxn ang="0">
                    <a:pos x="504" y="110"/>
                  </a:cxn>
                  <a:cxn ang="0">
                    <a:pos x="493" y="93"/>
                  </a:cxn>
                  <a:cxn ang="0">
                    <a:pos x="479" y="76"/>
                  </a:cxn>
                  <a:cxn ang="0">
                    <a:pos x="463" y="61"/>
                  </a:cxn>
                  <a:cxn ang="0">
                    <a:pos x="445" y="47"/>
                  </a:cxn>
                  <a:cxn ang="0">
                    <a:pos x="426" y="35"/>
                  </a:cxn>
                  <a:cxn ang="0">
                    <a:pos x="405" y="25"/>
                  </a:cxn>
                  <a:cxn ang="0">
                    <a:pos x="384" y="16"/>
                  </a:cxn>
                  <a:cxn ang="0">
                    <a:pos x="360" y="10"/>
                  </a:cxn>
                  <a:cxn ang="0">
                    <a:pos x="335" y="5"/>
                  </a:cxn>
                  <a:cxn ang="0">
                    <a:pos x="309" y="2"/>
                  </a:cxn>
                  <a:cxn ang="0">
                    <a:pos x="281" y="0"/>
                  </a:cxn>
                  <a:cxn ang="0">
                    <a:pos x="235" y="3"/>
                  </a:cxn>
                  <a:cxn ang="0">
                    <a:pos x="213" y="6"/>
                  </a:cxn>
                  <a:cxn ang="0">
                    <a:pos x="183" y="12"/>
                  </a:cxn>
                  <a:cxn ang="0">
                    <a:pos x="164" y="18"/>
                  </a:cxn>
                  <a:cxn ang="0">
                    <a:pos x="146" y="25"/>
                  </a:cxn>
                  <a:cxn ang="0">
                    <a:pos x="120" y="38"/>
                  </a:cxn>
                  <a:cxn ang="0">
                    <a:pos x="89" y="59"/>
                  </a:cxn>
                  <a:cxn ang="0">
                    <a:pos x="60" y="84"/>
                  </a:cxn>
                  <a:cxn ang="0">
                    <a:pos x="38" y="105"/>
                  </a:cxn>
                  <a:cxn ang="0">
                    <a:pos x="24" y="121"/>
                  </a:cxn>
                  <a:cxn ang="0">
                    <a:pos x="4" y="146"/>
                  </a:cxn>
                  <a:cxn ang="0">
                    <a:pos x="151" y="231"/>
                  </a:cxn>
                  <a:cxn ang="0">
                    <a:pos x="169" y="213"/>
                  </a:cxn>
                  <a:cxn ang="0">
                    <a:pos x="194" y="191"/>
                  </a:cxn>
                  <a:cxn ang="0">
                    <a:pos x="210" y="181"/>
                  </a:cxn>
                  <a:cxn ang="0">
                    <a:pos x="226" y="173"/>
                  </a:cxn>
                  <a:cxn ang="0">
                    <a:pos x="242" y="168"/>
                  </a:cxn>
                  <a:cxn ang="0">
                    <a:pos x="259" y="165"/>
                  </a:cxn>
                  <a:cxn ang="0">
                    <a:pos x="275" y="165"/>
                  </a:cxn>
                  <a:cxn ang="0">
                    <a:pos x="291" y="168"/>
                  </a:cxn>
                  <a:cxn ang="0">
                    <a:pos x="305" y="172"/>
                  </a:cxn>
                  <a:cxn ang="0">
                    <a:pos x="317" y="179"/>
                  </a:cxn>
                  <a:cxn ang="0">
                    <a:pos x="327" y="188"/>
                  </a:cxn>
                  <a:cxn ang="0">
                    <a:pos x="334" y="199"/>
                  </a:cxn>
                  <a:cxn ang="0">
                    <a:pos x="340" y="212"/>
                  </a:cxn>
                  <a:cxn ang="0">
                    <a:pos x="342" y="226"/>
                  </a:cxn>
                  <a:cxn ang="0">
                    <a:pos x="343" y="241"/>
                  </a:cxn>
                  <a:cxn ang="0">
                    <a:pos x="340" y="256"/>
                  </a:cxn>
                  <a:cxn ang="0">
                    <a:pos x="335" y="271"/>
                  </a:cxn>
                  <a:cxn ang="0">
                    <a:pos x="328" y="285"/>
                  </a:cxn>
                  <a:cxn ang="0">
                    <a:pos x="317" y="299"/>
                  </a:cxn>
                  <a:cxn ang="0">
                    <a:pos x="304" y="314"/>
                  </a:cxn>
                  <a:cxn ang="0">
                    <a:pos x="277" y="339"/>
                  </a:cxn>
                  <a:cxn ang="0">
                    <a:pos x="0" y="552"/>
                  </a:cxn>
                </a:cxnLst>
                <a:rect l="0" t="0" r="r" b="b"/>
                <a:pathLst>
                  <a:path w="539" h="694">
                    <a:moveTo>
                      <a:pt x="0" y="694"/>
                    </a:moveTo>
                    <a:lnTo>
                      <a:pt x="539" y="694"/>
                    </a:lnTo>
                    <a:lnTo>
                      <a:pt x="539" y="541"/>
                    </a:lnTo>
                    <a:lnTo>
                      <a:pt x="258" y="541"/>
                    </a:lnTo>
                    <a:lnTo>
                      <a:pt x="375" y="459"/>
                    </a:lnTo>
                    <a:lnTo>
                      <a:pt x="393" y="446"/>
                    </a:lnTo>
                    <a:lnTo>
                      <a:pt x="411" y="433"/>
                    </a:lnTo>
                    <a:lnTo>
                      <a:pt x="427" y="419"/>
                    </a:lnTo>
                    <a:lnTo>
                      <a:pt x="442" y="406"/>
                    </a:lnTo>
                    <a:lnTo>
                      <a:pt x="456" y="393"/>
                    </a:lnTo>
                    <a:lnTo>
                      <a:pt x="469" y="380"/>
                    </a:lnTo>
                    <a:lnTo>
                      <a:pt x="481" y="366"/>
                    </a:lnTo>
                    <a:lnTo>
                      <a:pt x="492" y="353"/>
                    </a:lnTo>
                    <a:lnTo>
                      <a:pt x="501" y="339"/>
                    </a:lnTo>
                    <a:lnTo>
                      <a:pt x="505" y="331"/>
                    </a:lnTo>
                    <a:lnTo>
                      <a:pt x="509" y="324"/>
                    </a:lnTo>
                    <a:lnTo>
                      <a:pt x="516" y="309"/>
                    </a:lnTo>
                    <a:lnTo>
                      <a:pt x="522" y="292"/>
                    </a:lnTo>
                    <a:lnTo>
                      <a:pt x="525" y="284"/>
                    </a:lnTo>
                    <a:lnTo>
                      <a:pt x="527" y="275"/>
                    </a:lnTo>
                    <a:lnTo>
                      <a:pt x="530" y="258"/>
                    </a:lnTo>
                    <a:lnTo>
                      <a:pt x="532" y="239"/>
                    </a:lnTo>
                    <a:lnTo>
                      <a:pt x="532" y="229"/>
                    </a:lnTo>
                    <a:lnTo>
                      <a:pt x="533" y="219"/>
                    </a:lnTo>
                    <a:lnTo>
                      <a:pt x="533" y="217"/>
                    </a:lnTo>
                    <a:lnTo>
                      <a:pt x="532" y="205"/>
                    </a:lnTo>
                    <a:lnTo>
                      <a:pt x="531" y="194"/>
                    </a:lnTo>
                    <a:lnTo>
                      <a:pt x="530" y="182"/>
                    </a:lnTo>
                    <a:lnTo>
                      <a:pt x="528" y="171"/>
                    </a:lnTo>
                    <a:lnTo>
                      <a:pt x="525" y="160"/>
                    </a:lnTo>
                    <a:lnTo>
                      <a:pt x="522" y="150"/>
                    </a:lnTo>
                    <a:lnTo>
                      <a:pt x="518" y="139"/>
                    </a:lnTo>
                    <a:lnTo>
                      <a:pt x="514" y="129"/>
                    </a:lnTo>
                    <a:lnTo>
                      <a:pt x="510" y="120"/>
                    </a:lnTo>
                    <a:lnTo>
                      <a:pt x="507" y="115"/>
                    </a:lnTo>
                    <a:lnTo>
                      <a:pt x="504" y="110"/>
                    </a:lnTo>
                    <a:lnTo>
                      <a:pt x="499" y="101"/>
                    </a:lnTo>
                    <a:lnTo>
                      <a:pt x="493" y="93"/>
                    </a:lnTo>
                    <a:lnTo>
                      <a:pt x="486" y="84"/>
                    </a:lnTo>
                    <a:lnTo>
                      <a:pt x="479" y="76"/>
                    </a:lnTo>
                    <a:lnTo>
                      <a:pt x="471" y="68"/>
                    </a:lnTo>
                    <a:lnTo>
                      <a:pt x="463" y="61"/>
                    </a:lnTo>
                    <a:lnTo>
                      <a:pt x="454" y="54"/>
                    </a:lnTo>
                    <a:lnTo>
                      <a:pt x="445" y="47"/>
                    </a:lnTo>
                    <a:lnTo>
                      <a:pt x="436" y="41"/>
                    </a:lnTo>
                    <a:lnTo>
                      <a:pt x="426" y="35"/>
                    </a:lnTo>
                    <a:lnTo>
                      <a:pt x="416" y="30"/>
                    </a:lnTo>
                    <a:lnTo>
                      <a:pt x="405" y="25"/>
                    </a:lnTo>
                    <a:lnTo>
                      <a:pt x="395" y="20"/>
                    </a:lnTo>
                    <a:lnTo>
                      <a:pt x="384" y="16"/>
                    </a:lnTo>
                    <a:lnTo>
                      <a:pt x="372" y="13"/>
                    </a:lnTo>
                    <a:lnTo>
                      <a:pt x="360" y="10"/>
                    </a:lnTo>
                    <a:lnTo>
                      <a:pt x="348" y="7"/>
                    </a:lnTo>
                    <a:lnTo>
                      <a:pt x="335" y="5"/>
                    </a:lnTo>
                    <a:lnTo>
                      <a:pt x="322" y="3"/>
                    </a:lnTo>
                    <a:lnTo>
                      <a:pt x="309" y="2"/>
                    </a:lnTo>
                    <a:lnTo>
                      <a:pt x="295" y="1"/>
                    </a:lnTo>
                    <a:lnTo>
                      <a:pt x="281" y="0"/>
                    </a:lnTo>
                    <a:lnTo>
                      <a:pt x="258" y="1"/>
                    </a:lnTo>
                    <a:lnTo>
                      <a:pt x="235" y="3"/>
                    </a:lnTo>
                    <a:lnTo>
                      <a:pt x="224" y="4"/>
                    </a:lnTo>
                    <a:lnTo>
                      <a:pt x="213" y="6"/>
                    </a:lnTo>
                    <a:lnTo>
                      <a:pt x="193" y="10"/>
                    </a:lnTo>
                    <a:lnTo>
                      <a:pt x="183" y="12"/>
                    </a:lnTo>
                    <a:lnTo>
                      <a:pt x="173" y="15"/>
                    </a:lnTo>
                    <a:lnTo>
                      <a:pt x="164" y="18"/>
                    </a:lnTo>
                    <a:lnTo>
                      <a:pt x="154" y="22"/>
                    </a:lnTo>
                    <a:lnTo>
                      <a:pt x="146" y="25"/>
                    </a:lnTo>
                    <a:lnTo>
                      <a:pt x="137" y="29"/>
                    </a:lnTo>
                    <a:lnTo>
                      <a:pt x="120" y="38"/>
                    </a:lnTo>
                    <a:lnTo>
                      <a:pt x="105" y="48"/>
                    </a:lnTo>
                    <a:lnTo>
                      <a:pt x="89" y="59"/>
                    </a:lnTo>
                    <a:lnTo>
                      <a:pt x="74" y="71"/>
                    </a:lnTo>
                    <a:lnTo>
                      <a:pt x="60" y="84"/>
                    </a:lnTo>
                    <a:lnTo>
                      <a:pt x="45" y="98"/>
                    </a:lnTo>
                    <a:lnTo>
                      <a:pt x="38" y="105"/>
                    </a:lnTo>
                    <a:lnTo>
                      <a:pt x="31" y="113"/>
                    </a:lnTo>
                    <a:lnTo>
                      <a:pt x="24" y="121"/>
                    </a:lnTo>
                    <a:lnTo>
                      <a:pt x="17" y="129"/>
                    </a:lnTo>
                    <a:lnTo>
                      <a:pt x="4" y="146"/>
                    </a:lnTo>
                    <a:lnTo>
                      <a:pt x="132" y="253"/>
                    </a:lnTo>
                    <a:lnTo>
                      <a:pt x="151" y="231"/>
                    </a:lnTo>
                    <a:lnTo>
                      <a:pt x="160" y="222"/>
                    </a:lnTo>
                    <a:lnTo>
                      <a:pt x="169" y="213"/>
                    </a:lnTo>
                    <a:lnTo>
                      <a:pt x="186" y="198"/>
                    </a:lnTo>
                    <a:lnTo>
                      <a:pt x="194" y="191"/>
                    </a:lnTo>
                    <a:lnTo>
                      <a:pt x="202" y="186"/>
                    </a:lnTo>
                    <a:lnTo>
                      <a:pt x="210" y="181"/>
                    </a:lnTo>
                    <a:lnTo>
                      <a:pt x="218" y="176"/>
                    </a:lnTo>
                    <a:lnTo>
                      <a:pt x="226" y="173"/>
                    </a:lnTo>
                    <a:lnTo>
                      <a:pt x="234" y="170"/>
                    </a:lnTo>
                    <a:lnTo>
                      <a:pt x="242" y="168"/>
                    </a:lnTo>
                    <a:lnTo>
                      <a:pt x="250" y="166"/>
                    </a:lnTo>
                    <a:lnTo>
                      <a:pt x="259" y="165"/>
                    </a:lnTo>
                    <a:lnTo>
                      <a:pt x="267" y="165"/>
                    </a:lnTo>
                    <a:lnTo>
                      <a:pt x="275" y="165"/>
                    </a:lnTo>
                    <a:lnTo>
                      <a:pt x="283" y="166"/>
                    </a:lnTo>
                    <a:lnTo>
                      <a:pt x="291" y="168"/>
                    </a:lnTo>
                    <a:lnTo>
                      <a:pt x="298" y="170"/>
                    </a:lnTo>
                    <a:lnTo>
                      <a:pt x="305" y="172"/>
                    </a:lnTo>
                    <a:lnTo>
                      <a:pt x="311" y="175"/>
                    </a:lnTo>
                    <a:lnTo>
                      <a:pt x="317" y="179"/>
                    </a:lnTo>
                    <a:lnTo>
                      <a:pt x="322" y="183"/>
                    </a:lnTo>
                    <a:lnTo>
                      <a:pt x="327" y="188"/>
                    </a:lnTo>
                    <a:lnTo>
                      <a:pt x="331" y="193"/>
                    </a:lnTo>
                    <a:lnTo>
                      <a:pt x="334" y="199"/>
                    </a:lnTo>
                    <a:lnTo>
                      <a:pt x="337" y="205"/>
                    </a:lnTo>
                    <a:lnTo>
                      <a:pt x="340" y="212"/>
                    </a:lnTo>
                    <a:lnTo>
                      <a:pt x="341" y="219"/>
                    </a:lnTo>
                    <a:lnTo>
                      <a:pt x="342" y="226"/>
                    </a:lnTo>
                    <a:lnTo>
                      <a:pt x="343" y="234"/>
                    </a:lnTo>
                    <a:lnTo>
                      <a:pt x="343" y="241"/>
                    </a:lnTo>
                    <a:lnTo>
                      <a:pt x="342" y="249"/>
                    </a:lnTo>
                    <a:lnTo>
                      <a:pt x="340" y="256"/>
                    </a:lnTo>
                    <a:lnTo>
                      <a:pt x="338" y="263"/>
                    </a:lnTo>
                    <a:lnTo>
                      <a:pt x="335" y="271"/>
                    </a:lnTo>
                    <a:lnTo>
                      <a:pt x="332" y="278"/>
                    </a:lnTo>
                    <a:lnTo>
                      <a:pt x="328" y="285"/>
                    </a:lnTo>
                    <a:lnTo>
                      <a:pt x="323" y="292"/>
                    </a:lnTo>
                    <a:lnTo>
                      <a:pt x="317" y="299"/>
                    </a:lnTo>
                    <a:lnTo>
                      <a:pt x="311" y="307"/>
                    </a:lnTo>
                    <a:lnTo>
                      <a:pt x="304" y="314"/>
                    </a:lnTo>
                    <a:lnTo>
                      <a:pt x="296" y="322"/>
                    </a:lnTo>
                    <a:lnTo>
                      <a:pt x="277" y="339"/>
                    </a:lnTo>
                    <a:lnTo>
                      <a:pt x="255" y="358"/>
                    </a:lnTo>
                    <a:lnTo>
                      <a:pt x="0" y="552"/>
                    </a:lnTo>
                    <a:lnTo>
                      <a:pt x="0" y="694"/>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6" name="Freeform 7"/>
              <p:cNvSpPr>
                <a:spLocks noEditPoints="1"/>
              </p:cNvSpPr>
              <p:nvPr userDrawn="1"/>
            </p:nvSpPr>
            <p:spPr bwMode="auto">
              <a:xfrm>
                <a:off x="1680" y="543"/>
                <a:ext cx="632" cy="709"/>
              </a:xfrm>
              <a:custGeom>
                <a:avLst/>
                <a:gdLst/>
                <a:ahLst/>
                <a:cxnLst>
                  <a:cxn ang="0">
                    <a:pos x="362" y="706"/>
                  </a:cxn>
                  <a:cxn ang="0">
                    <a:pos x="406" y="696"/>
                  </a:cxn>
                  <a:cxn ang="0">
                    <a:pos x="456" y="676"/>
                  </a:cxn>
                  <a:cxn ang="0">
                    <a:pos x="500" y="648"/>
                  </a:cxn>
                  <a:cxn ang="0">
                    <a:pos x="547" y="604"/>
                  </a:cxn>
                  <a:cxn ang="0">
                    <a:pos x="583" y="552"/>
                  </a:cxn>
                  <a:cxn ang="0">
                    <a:pos x="610" y="491"/>
                  </a:cxn>
                  <a:cxn ang="0">
                    <a:pos x="628" y="414"/>
                  </a:cxn>
                  <a:cxn ang="0">
                    <a:pos x="632" y="353"/>
                  </a:cxn>
                  <a:cxn ang="0">
                    <a:pos x="626" y="281"/>
                  </a:cxn>
                  <a:cxn ang="0">
                    <a:pos x="610" y="216"/>
                  </a:cxn>
                  <a:cxn ang="0">
                    <a:pos x="567" y="128"/>
                  </a:cxn>
                  <a:cxn ang="0">
                    <a:pos x="526" y="81"/>
                  </a:cxn>
                  <a:cxn ang="0">
                    <a:pos x="475" y="42"/>
                  </a:cxn>
                  <a:cxn ang="0">
                    <a:pos x="418" y="15"/>
                  </a:cxn>
                  <a:cxn ang="0">
                    <a:pos x="352" y="2"/>
                  </a:cxn>
                  <a:cxn ang="0">
                    <a:pos x="293" y="1"/>
                  </a:cxn>
                  <a:cxn ang="0">
                    <a:pos x="247" y="7"/>
                  </a:cxn>
                  <a:cxn ang="0">
                    <a:pos x="195" y="23"/>
                  </a:cxn>
                  <a:cxn ang="0">
                    <a:pos x="149" y="49"/>
                  </a:cxn>
                  <a:cxn ang="0">
                    <a:pos x="100" y="89"/>
                  </a:cxn>
                  <a:cxn ang="0">
                    <a:pos x="61" y="138"/>
                  </a:cxn>
                  <a:cxn ang="0">
                    <a:pos x="30" y="197"/>
                  </a:cxn>
                  <a:cxn ang="0">
                    <a:pos x="6" y="283"/>
                  </a:cxn>
                  <a:cxn ang="0">
                    <a:pos x="0" y="355"/>
                  </a:cxn>
                  <a:cxn ang="0">
                    <a:pos x="4" y="416"/>
                  </a:cxn>
                  <a:cxn ang="0">
                    <a:pos x="15" y="472"/>
                  </a:cxn>
                  <a:cxn ang="0">
                    <a:pos x="49" y="553"/>
                  </a:cxn>
                  <a:cxn ang="0">
                    <a:pos x="91" y="613"/>
                  </a:cxn>
                  <a:cxn ang="0">
                    <a:pos x="138" y="655"/>
                  </a:cxn>
                  <a:cxn ang="0">
                    <a:pos x="193" y="686"/>
                  </a:cxn>
                  <a:cxn ang="0">
                    <a:pos x="245" y="702"/>
                  </a:cxn>
                  <a:cxn ang="0">
                    <a:pos x="315" y="709"/>
                  </a:cxn>
                  <a:cxn ang="0">
                    <a:pos x="289" y="538"/>
                  </a:cxn>
                  <a:cxn ang="0">
                    <a:pos x="254" y="521"/>
                  </a:cxn>
                  <a:cxn ang="0">
                    <a:pos x="225" y="489"/>
                  </a:cxn>
                  <a:cxn ang="0">
                    <a:pos x="199" y="430"/>
                  </a:cxn>
                  <a:cxn ang="0">
                    <a:pos x="190" y="365"/>
                  </a:cxn>
                  <a:cxn ang="0">
                    <a:pos x="193" y="312"/>
                  </a:cxn>
                  <a:cxn ang="0">
                    <a:pos x="210" y="246"/>
                  </a:cxn>
                  <a:cxn ang="0">
                    <a:pos x="233" y="207"/>
                  </a:cxn>
                  <a:cxn ang="0">
                    <a:pos x="258" y="184"/>
                  </a:cxn>
                  <a:cxn ang="0">
                    <a:pos x="288" y="171"/>
                  </a:cxn>
                  <a:cxn ang="0">
                    <a:pos x="322" y="167"/>
                  </a:cxn>
                  <a:cxn ang="0">
                    <a:pos x="354" y="175"/>
                  </a:cxn>
                  <a:cxn ang="0">
                    <a:pos x="388" y="197"/>
                  </a:cxn>
                  <a:cxn ang="0">
                    <a:pos x="424" y="255"/>
                  </a:cxn>
                  <a:cxn ang="0">
                    <a:pos x="441" y="334"/>
                  </a:cxn>
                  <a:cxn ang="0">
                    <a:pos x="441" y="377"/>
                  </a:cxn>
                  <a:cxn ang="0">
                    <a:pos x="428" y="447"/>
                  </a:cxn>
                  <a:cxn ang="0">
                    <a:pos x="403" y="496"/>
                  </a:cxn>
                  <a:cxn ang="0">
                    <a:pos x="384" y="517"/>
                  </a:cxn>
                  <a:cxn ang="0">
                    <a:pos x="356" y="534"/>
                  </a:cxn>
                  <a:cxn ang="0">
                    <a:pos x="324" y="541"/>
                  </a:cxn>
                </a:cxnLst>
                <a:rect l="0" t="0" r="r" b="b"/>
                <a:pathLst>
                  <a:path w="632" h="709">
                    <a:moveTo>
                      <a:pt x="315" y="709"/>
                    </a:moveTo>
                    <a:lnTo>
                      <a:pt x="327" y="709"/>
                    </a:lnTo>
                    <a:lnTo>
                      <a:pt x="339" y="708"/>
                    </a:lnTo>
                    <a:lnTo>
                      <a:pt x="350" y="707"/>
                    </a:lnTo>
                    <a:lnTo>
                      <a:pt x="362" y="706"/>
                    </a:lnTo>
                    <a:lnTo>
                      <a:pt x="373" y="704"/>
                    </a:lnTo>
                    <a:lnTo>
                      <a:pt x="379" y="703"/>
                    </a:lnTo>
                    <a:lnTo>
                      <a:pt x="384" y="702"/>
                    </a:lnTo>
                    <a:lnTo>
                      <a:pt x="395" y="699"/>
                    </a:lnTo>
                    <a:lnTo>
                      <a:pt x="406" y="696"/>
                    </a:lnTo>
                    <a:lnTo>
                      <a:pt x="416" y="693"/>
                    </a:lnTo>
                    <a:lnTo>
                      <a:pt x="426" y="689"/>
                    </a:lnTo>
                    <a:lnTo>
                      <a:pt x="436" y="685"/>
                    </a:lnTo>
                    <a:lnTo>
                      <a:pt x="446" y="681"/>
                    </a:lnTo>
                    <a:lnTo>
                      <a:pt x="456" y="676"/>
                    </a:lnTo>
                    <a:lnTo>
                      <a:pt x="465" y="671"/>
                    </a:lnTo>
                    <a:lnTo>
                      <a:pt x="474" y="666"/>
                    </a:lnTo>
                    <a:lnTo>
                      <a:pt x="483" y="660"/>
                    </a:lnTo>
                    <a:lnTo>
                      <a:pt x="492" y="654"/>
                    </a:lnTo>
                    <a:lnTo>
                      <a:pt x="500" y="648"/>
                    </a:lnTo>
                    <a:lnTo>
                      <a:pt x="509" y="641"/>
                    </a:lnTo>
                    <a:lnTo>
                      <a:pt x="517" y="634"/>
                    </a:lnTo>
                    <a:lnTo>
                      <a:pt x="533" y="620"/>
                    </a:lnTo>
                    <a:lnTo>
                      <a:pt x="540" y="612"/>
                    </a:lnTo>
                    <a:lnTo>
                      <a:pt x="547" y="604"/>
                    </a:lnTo>
                    <a:lnTo>
                      <a:pt x="554" y="596"/>
                    </a:lnTo>
                    <a:lnTo>
                      <a:pt x="560" y="588"/>
                    </a:lnTo>
                    <a:lnTo>
                      <a:pt x="566" y="579"/>
                    </a:lnTo>
                    <a:lnTo>
                      <a:pt x="572" y="570"/>
                    </a:lnTo>
                    <a:lnTo>
                      <a:pt x="583" y="552"/>
                    </a:lnTo>
                    <a:lnTo>
                      <a:pt x="588" y="542"/>
                    </a:lnTo>
                    <a:lnTo>
                      <a:pt x="593" y="532"/>
                    </a:lnTo>
                    <a:lnTo>
                      <a:pt x="602" y="512"/>
                    </a:lnTo>
                    <a:lnTo>
                      <a:pt x="606" y="502"/>
                    </a:lnTo>
                    <a:lnTo>
                      <a:pt x="610" y="491"/>
                    </a:lnTo>
                    <a:lnTo>
                      <a:pt x="614" y="481"/>
                    </a:lnTo>
                    <a:lnTo>
                      <a:pt x="617" y="470"/>
                    </a:lnTo>
                    <a:lnTo>
                      <a:pt x="622" y="448"/>
                    </a:lnTo>
                    <a:lnTo>
                      <a:pt x="626" y="426"/>
                    </a:lnTo>
                    <a:lnTo>
                      <a:pt x="628" y="414"/>
                    </a:lnTo>
                    <a:lnTo>
                      <a:pt x="629" y="403"/>
                    </a:lnTo>
                    <a:lnTo>
                      <a:pt x="631" y="379"/>
                    </a:lnTo>
                    <a:lnTo>
                      <a:pt x="632" y="367"/>
                    </a:lnTo>
                    <a:lnTo>
                      <a:pt x="632" y="355"/>
                    </a:lnTo>
                    <a:lnTo>
                      <a:pt x="632" y="353"/>
                    </a:lnTo>
                    <a:lnTo>
                      <a:pt x="632" y="340"/>
                    </a:lnTo>
                    <a:lnTo>
                      <a:pt x="631" y="328"/>
                    </a:lnTo>
                    <a:lnTo>
                      <a:pt x="630" y="304"/>
                    </a:lnTo>
                    <a:lnTo>
                      <a:pt x="628" y="293"/>
                    </a:lnTo>
                    <a:lnTo>
                      <a:pt x="626" y="281"/>
                    </a:lnTo>
                    <a:lnTo>
                      <a:pt x="625" y="270"/>
                    </a:lnTo>
                    <a:lnTo>
                      <a:pt x="622" y="259"/>
                    </a:lnTo>
                    <a:lnTo>
                      <a:pt x="620" y="248"/>
                    </a:lnTo>
                    <a:lnTo>
                      <a:pt x="617" y="237"/>
                    </a:lnTo>
                    <a:lnTo>
                      <a:pt x="610" y="216"/>
                    </a:lnTo>
                    <a:lnTo>
                      <a:pt x="603" y="195"/>
                    </a:lnTo>
                    <a:lnTo>
                      <a:pt x="594" y="175"/>
                    </a:lnTo>
                    <a:lnTo>
                      <a:pt x="584" y="155"/>
                    </a:lnTo>
                    <a:lnTo>
                      <a:pt x="573" y="137"/>
                    </a:lnTo>
                    <a:lnTo>
                      <a:pt x="567" y="128"/>
                    </a:lnTo>
                    <a:lnTo>
                      <a:pt x="561" y="120"/>
                    </a:lnTo>
                    <a:lnTo>
                      <a:pt x="548" y="103"/>
                    </a:lnTo>
                    <a:lnTo>
                      <a:pt x="541" y="96"/>
                    </a:lnTo>
                    <a:lnTo>
                      <a:pt x="534" y="88"/>
                    </a:lnTo>
                    <a:lnTo>
                      <a:pt x="526" y="81"/>
                    </a:lnTo>
                    <a:lnTo>
                      <a:pt x="517" y="74"/>
                    </a:lnTo>
                    <a:lnTo>
                      <a:pt x="501" y="60"/>
                    </a:lnTo>
                    <a:lnTo>
                      <a:pt x="493" y="54"/>
                    </a:lnTo>
                    <a:lnTo>
                      <a:pt x="484" y="48"/>
                    </a:lnTo>
                    <a:lnTo>
                      <a:pt x="475" y="42"/>
                    </a:lnTo>
                    <a:lnTo>
                      <a:pt x="466" y="37"/>
                    </a:lnTo>
                    <a:lnTo>
                      <a:pt x="447" y="27"/>
                    </a:lnTo>
                    <a:lnTo>
                      <a:pt x="438" y="23"/>
                    </a:lnTo>
                    <a:lnTo>
                      <a:pt x="428" y="19"/>
                    </a:lnTo>
                    <a:lnTo>
                      <a:pt x="418" y="15"/>
                    </a:lnTo>
                    <a:lnTo>
                      <a:pt x="407" y="12"/>
                    </a:lnTo>
                    <a:lnTo>
                      <a:pt x="397" y="9"/>
                    </a:lnTo>
                    <a:lnTo>
                      <a:pt x="386" y="7"/>
                    </a:lnTo>
                    <a:lnTo>
                      <a:pt x="364" y="3"/>
                    </a:lnTo>
                    <a:lnTo>
                      <a:pt x="352" y="2"/>
                    </a:lnTo>
                    <a:lnTo>
                      <a:pt x="341" y="1"/>
                    </a:lnTo>
                    <a:lnTo>
                      <a:pt x="329" y="0"/>
                    </a:lnTo>
                    <a:lnTo>
                      <a:pt x="317" y="0"/>
                    </a:lnTo>
                    <a:lnTo>
                      <a:pt x="305" y="0"/>
                    </a:lnTo>
                    <a:lnTo>
                      <a:pt x="293" y="1"/>
                    </a:lnTo>
                    <a:lnTo>
                      <a:pt x="281" y="2"/>
                    </a:lnTo>
                    <a:lnTo>
                      <a:pt x="270" y="3"/>
                    </a:lnTo>
                    <a:lnTo>
                      <a:pt x="258" y="5"/>
                    </a:lnTo>
                    <a:lnTo>
                      <a:pt x="253" y="6"/>
                    </a:lnTo>
                    <a:lnTo>
                      <a:pt x="247" y="7"/>
                    </a:lnTo>
                    <a:lnTo>
                      <a:pt x="237" y="9"/>
                    </a:lnTo>
                    <a:lnTo>
                      <a:pt x="226" y="12"/>
                    </a:lnTo>
                    <a:lnTo>
                      <a:pt x="216" y="16"/>
                    </a:lnTo>
                    <a:lnTo>
                      <a:pt x="205" y="19"/>
                    </a:lnTo>
                    <a:lnTo>
                      <a:pt x="195" y="23"/>
                    </a:lnTo>
                    <a:lnTo>
                      <a:pt x="186" y="28"/>
                    </a:lnTo>
                    <a:lnTo>
                      <a:pt x="176" y="32"/>
                    </a:lnTo>
                    <a:lnTo>
                      <a:pt x="167" y="37"/>
                    </a:lnTo>
                    <a:lnTo>
                      <a:pt x="158" y="43"/>
                    </a:lnTo>
                    <a:lnTo>
                      <a:pt x="149" y="49"/>
                    </a:lnTo>
                    <a:lnTo>
                      <a:pt x="140" y="55"/>
                    </a:lnTo>
                    <a:lnTo>
                      <a:pt x="131" y="61"/>
                    </a:lnTo>
                    <a:lnTo>
                      <a:pt x="123" y="68"/>
                    </a:lnTo>
                    <a:lnTo>
                      <a:pt x="115" y="74"/>
                    </a:lnTo>
                    <a:lnTo>
                      <a:pt x="100" y="89"/>
                    </a:lnTo>
                    <a:lnTo>
                      <a:pt x="93" y="97"/>
                    </a:lnTo>
                    <a:lnTo>
                      <a:pt x="86" y="104"/>
                    </a:lnTo>
                    <a:lnTo>
                      <a:pt x="79" y="112"/>
                    </a:lnTo>
                    <a:lnTo>
                      <a:pt x="73" y="121"/>
                    </a:lnTo>
                    <a:lnTo>
                      <a:pt x="61" y="138"/>
                    </a:lnTo>
                    <a:lnTo>
                      <a:pt x="55" y="147"/>
                    </a:lnTo>
                    <a:lnTo>
                      <a:pt x="49" y="157"/>
                    </a:lnTo>
                    <a:lnTo>
                      <a:pt x="44" y="166"/>
                    </a:lnTo>
                    <a:lnTo>
                      <a:pt x="39" y="176"/>
                    </a:lnTo>
                    <a:lnTo>
                      <a:pt x="30" y="197"/>
                    </a:lnTo>
                    <a:lnTo>
                      <a:pt x="26" y="207"/>
                    </a:lnTo>
                    <a:lnTo>
                      <a:pt x="22" y="217"/>
                    </a:lnTo>
                    <a:lnTo>
                      <a:pt x="16" y="239"/>
                    </a:lnTo>
                    <a:lnTo>
                      <a:pt x="10" y="261"/>
                    </a:lnTo>
                    <a:lnTo>
                      <a:pt x="6" y="283"/>
                    </a:lnTo>
                    <a:lnTo>
                      <a:pt x="4" y="295"/>
                    </a:lnTo>
                    <a:lnTo>
                      <a:pt x="3" y="306"/>
                    </a:lnTo>
                    <a:lnTo>
                      <a:pt x="1" y="330"/>
                    </a:lnTo>
                    <a:lnTo>
                      <a:pt x="1" y="342"/>
                    </a:lnTo>
                    <a:lnTo>
                      <a:pt x="0" y="355"/>
                    </a:lnTo>
                    <a:lnTo>
                      <a:pt x="0" y="357"/>
                    </a:lnTo>
                    <a:lnTo>
                      <a:pt x="1" y="369"/>
                    </a:lnTo>
                    <a:lnTo>
                      <a:pt x="1" y="381"/>
                    </a:lnTo>
                    <a:lnTo>
                      <a:pt x="3" y="404"/>
                    </a:lnTo>
                    <a:lnTo>
                      <a:pt x="4" y="416"/>
                    </a:lnTo>
                    <a:lnTo>
                      <a:pt x="6" y="427"/>
                    </a:lnTo>
                    <a:lnTo>
                      <a:pt x="8" y="439"/>
                    </a:lnTo>
                    <a:lnTo>
                      <a:pt x="10" y="450"/>
                    </a:lnTo>
                    <a:lnTo>
                      <a:pt x="13" y="461"/>
                    </a:lnTo>
                    <a:lnTo>
                      <a:pt x="15" y="472"/>
                    </a:lnTo>
                    <a:lnTo>
                      <a:pt x="22" y="493"/>
                    </a:lnTo>
                    <a:lnTo>
                      <a:pt x="26" y="503"/>
                    </a:lnTo>
                    <a:lnTo>
                      <a:pt x="30" y="514"/>
                    </a:lnTo>
                    <a:lnTo>
                      <a:pt x="39" y="534"/>
                    </a:lnTo>
                    <a:lnTo>
                      <a:pt x="49" y="553"/>
                    </a:lnTo>
                    <a:lnTo>
                      <a:pt x="60" y="572"/>
                    </a:lnTo>
                    <a:lnTo>
                      <a:pt x="65" y="580"/>
                    </a:lnTo>
                    <a:lnTo>
                      <a:pt x="72" y="589"/>
                    </a:lnTo>
                    <a:lnTo>
                      <a:pt x="85" y="605"/>
                    </a:lnTo>
                    <a:lnTo>
                      <a:pt x="91" y="613"/>
                    </a:lnTo>
                    <a:lnTo>
                      <a:pt x="99" y="621"/>
                    </a:lnTo>
                    <a:lnTo>
                      <a:pt x="106" y="628"/>
                    </a:lnTo>
                    <a:lnTo>
                      <a:pt x="114" y="635"/>
                    </a:lnTo>
                    <a:lnTo>
                      <a:pt x="130" y="648"/>
                    </a:lnTo>
                    <a:lnTo>
                      <a:pt x="138" y="655"/>
                    </a:lnTo>
                    <a:lnTo>
                      <a:pt x="147" y="661"/>
                    </a:lnTo>
                    <a:lnTo>
                      <a:pt x="156" y="666"/>
                    </a:lnTo>
                    <a:lnTo>
                      <a:pt x="165" y="672"/>
                    </a:lnTo>
                    <a:lnTo>
                      <a:pt x="184" y="681"/>
                    </a:lnTo>
                    <a:lnTo>
                      <a:pt x="193" y="686"/>
                    </a:lnTo>
                    <a:lnTo>
                      <a:pt x="203" y="690"/>
                    </a:lnTo>
                    <a:lnTo>
                      <a:pt x="213" y="693"/>
                    </a:lnTo>
                    <a:lnTo>
                      <a:pt x="224" y="696"/>
                    </a:lnTo>
                    <a:lnTo>
                      <a:pt x="234" y="699"/>
                    </a:lnTo>
                    <a:lnTo>
                      <a:pt x="245" y="702"/>
                    </a:lnTo>
                    <a:lnTo>
                      <a:pt x="268" y="706"/>
                    </a:lnTo>
                    <a:lnTo>
                      <a:pt x="279" y="707"/>
                    </a:lnTo>
                    <a:lnTo>
                      <a:pt x="291" y="708"/>
                    </a:lnTo>
                    <a:lnTo>
                      <a:pt x="303" y="709"/>
                    </a:lnTo>
                    <a:lnTo>
                      <a:pt x="315" y="709"/>
                    </a:lnTo>
                    <a:close/>
                    <a:moveTo>
                      <a:pt x="317" y="542"/>
                    </a:moveTo>
                    <a:lnTo>
                      <a:pt x="310" y="541"/>
                    </a:lnTo>
                    <a:lnTo>
                      <a:pt x="303" y="541"/>
                    </a:lnTo>
                    <a:lnTo>
                      <a:pt x="296" y="540"/>
                    </a:lnTo>
                    <a:lnTo>
                      <a:pt x="289" y="538"/>
                    </a:lnTo>
                    <a:lnTo>
                      <a:pt x="283" y="536"/>
                    </a:lnTo>
                    <a:lnTo>
                      <a:pt x="277" y="534"/>
                    </a:lnTo>
                    <a:lnTo>
                      <a:pt x="271" y="531"/>
                    </a:lnTo>
                    <a:lnTo>
                      <a:pt x="265" y="528"/>
                    </a:lnTo>
                    <a:lnTo>
                      <a:pt x="254" y="521"/>
                    </a:lnTo>
                    <a:lnTo>
                      <a:pt x="248" y="516"/>
                    </a:lnTo>
                    <a:lnTo>
                      <a:pt x="243" y="512"/>
                    </a:lnTo>
                    <a:lnTo>
                      <a:pt x="238" y="507"/>
                    </a:lnTo>
                    <a:lnTo>
                      <a:pt x="234" y="501"/>
                    </a:lnTo>
                    <a:lnTo>
                      <a:pt x="225" y="489"/>
                    </a:lnTo>
                    <a:lnTo>
                      <a:pt x="217" y="476"/>
                    </a:lnTo>
                    <a:lnTo>
                      <a:pt x="210" y="462"/>
                    </a:lnTo>
                    <a:lnTo>
                      <a:pt x="204" y="446"/>
                    </a:lnTo>
                    <a:lnTo>
                      <a:pt x="201" y="438"/>
                    </a:lnTo>
                    <a:lnTo>
                      <a:pt x="199" y="430"/>
                    </a:lnTo>
                    <a:lnTo>
                      <a:pt x="197" y="422"/>
                    </a:lnTo>
                    <a:lnTo>
                      <a:pt x="195" y="413"/>
                    </a:lnTo>
                    <a:lnTo>
                      <a:pt x="193" y="394"/>
                    </a:lnTo>
                    <a:lnTo>
                      <a:pt x="191" y="375"/>
                    </a:lnTo>
                    <a:lnTo>
                      <a:pt x="190" y="365"/>
                    </a:lnTo>
                    <a:lnTo>
                      <a:pt x="190" y="355"/>
                    </a:lnTo>
                    <a:lnTo>
                      <a:pt x="190" y="353"/>
                    </a:lnTo>
                    <a:lnTo>
                      <a:pt x="190" y="342"/>
                    </a:lnTo>
                    <a:lnTo>
                      <a:pt x="191" y="332"/>
                    </a:lnTo>
                    <a:lnTo>
                      <a:pt x="193" y="312"/>
                    </a:lnTo>
                    <a:lnTo>
                      <a:pt x="195" y="294"/>
                    </a:lnTo>
                    <a:lnTo>
                      <a:pt x="197" y="285"/>
                    </a:lnTo>
                    <a:lnTo>
                      <a:pt x="199" y="277"/>
                    </a:lnTo>
                    <a:lnTo>
                      <a:pt x="204" y="261"/>
                    </a:lnTo>
                    <a:lnTo>
                      <a:pt x="210" y="246"/>
                    </a:lnTo>
                    <a:lnTo>
                      <a:pt x="216" y="232"/>
                    </a:lnTo>
                    <a:lnTo>
                      <a:pt x="220" y="225"/>
                    </a:lnTo>
                    <a:lnTo>
                      <a:pt x="224" y="218"/>
                    </a:lnTo>
                    <a:lnTo>
                      <a:pt x="229" y="212"/>
                    </a:lnTo>
                    <a:lnTo>
                      <a:pt x="233" y="207"/>
                    </a:lnTo>
                    <a:lnTo>
                      <a:pt x="238" y="201"/>
                    </a:lnTo>
                    <a:lnTo>
                      <a:pt x="242" y="196"/>
                    </a:lnTo>
                    <a:lnTo>
                      <a:pt x="247" y="192"/>
                    </a:lnTo>
                    <a:lnTo>
                      <a:pt x="253" y="188"/>
                    </a:lnTo>
                    <a:lnTo>
                      <a:pt x="258" y="184"/>
                    </a:lnTo>
                    <a:lnTo>
                      <a:pt x="264" y="180"/>
                    </a:lnTo>
                    <a:lnTo>
                      <a:pt x="269" y="177"/>
                    </a:lnTo>
                    <a:lnTo>
                      <a:pt x="275" y="175"/>
                    </a:lnTo>
                    <a:lnTo>
                      <a:pt x="281" y="172"/>
                    </a:lnTo>
                    <a:lnTo>
                      <a:pt x="288" y="171"/>
                    </a:lnTo>
                    <a:lnTo>
                      <a:pt x="294" y="169"/>
                    </a:lnTo>
                    <a:lnTo>
                      <a:pt x="301" y="168"/>
                    </a:lnTo>
                    <a:lnTo>
                      <a:pt x="308" y="167"/>
                    </a:lnTo>
                    <a:lnTo>
                      <a:pt x="315" y="167"/>
                    </a:lnTo>
                    <a:lnTo>
                      <a:pt x="322" y="167"/>
                    </a:lnTo>
                    <a:lnTo>
                      <a:pt x="329" y="168"/>
                    </a:lnTo>
                    <a:lnTo>
                      <a:pt x="335" y="169"/>
                    </a:lnTo>
                    <a:lnTo>
                      <a:pt x="342" y="171"/>
                    </a:lnTo>
                    <a:lnTo>
                      <a:pt x="348" y="173"/>
                    </a:lnTo>
                    <a:lnTo>
                      <a:pt x="354" y="175"/>
                    </a:lnTo>
                    <a:lnTo>
                      <a:pt x="366" y="181"/>
                    </a:lnTo>
                    <a:lnTo>
                      <a:pt x="372" y="184"/>
                    </a:lnTo>
                    <a:lnTo>
                      <a:pt x="377" y="188"/>
                    </a:lnTo>
                    <a:lnTo>
                      <a:pt x="383" y="193"/>
                    </a:lnTo>
                    <a:lnTo>
                      <a:pt x="388" y="197"/>
                    </a:lnTo>
                    <a:lnTo>
                      <a:pt x="397" y="208"/>
                    </a:lnTo>
                    <a:lnTo>
                      <a:pt x="406" y="220"/>
                    </a:lnTo>
                    <a:lnTo>
                      <a:pt x="414" y="233"/>
                    </a:lnTo>
                    <a:lnTo>
                      <a:pt x="421" y="247"/>
                    </a:lnTo>
                    <a:lnTo>
                      <a:pt x="424" y="255"/>
                    </a:lnTo>
                    <a:lnTo>
                      <a:pt x="427" y="263"/>
                    </a:lnTo>
                    <a:lnTo>
                      <a:pt x="432" y="279"/>
                    </a:lnTo>
                    <a:lnTo>
                      <a:pt x="436" y="296"/>
                    </a:lnTo>
                    <a:lnTo>
                      <a:pt x="439" y="314"/>
                    </a:lnTo>
                    <a:lnTo>
                      <a:pt x="441" y="334"/>
                    </a:lnTo>
                    <a:lnTo>
                      <a:pt x="441" y="344"/>
                    </a:lnTo>
                    <a:lnTo>
                      <a:pt x="441" y="355"/>
                    </a:lnTo>
                    <a:lnTo>
                      <a:pt x="441" y="357"/>
                    </a:lnTo>
                    <a:lnTo>
                      <a:pt x="441" y="367"/>
                    </a:lnTo>
                    <a:lnTo>
                      <a:pt x="441" y="377"/>
                    </a:lnTo>
                    <a:lnTo>
                      <a:pt x="439" y="396"/>
                    </a:lnTo>
                    <a:lnTo>
                      <a:pt x="436" y="414"/>
                    </a:lnTo>
                    <a:lnTo>
                      <a:pt x="435" y="423"/>
                    </a:lnTo>
                    <a:lnTo>
                      <a:pt x="433" y="431"/>
                    </a:lnTo>
                    <a:lnTo>
                      <a:pt x="428" y="447"/>
                    </a:lnTo>
                    <a:lnTo>
                      <a:pt x="422" y="463"/>
                    </a:lnTo>
                    <a:lnTo>
                      <a:pt x="419" y="470"/>
                    </a:lnTo>
                    <a:lnTo>
                      <a:pt x="415" y="477"/>
                    </a:lnTo>
                    <a:lnTo>
                      <a:pt x="408" y="490"/>
                    </a:lnTo>
                    <a:lnTo>
                      <a:pt x="403" y="496"/>
                    </a:lnTo>
                    <a:lnTo>
                      <a:pt x="399" y="502"/>
                    </a:lnTo>
                    <a:lnTo>
                      <a:pt x="397" y="504"/>
                    </a:lnTo>
                    <a:lnTo>
                      <a:pt x="394" y="507"/>
                    </a:lnTo>
                    <a:lnTo>
                      <a:pt x="389" y="512"/>
                    </a:lnTo>
                    <a:lnTo>
                      <a:pt x="384" y="517"/>
                    </a:lnTo>
                    <a:lnTo>
                      <a:pt x="379" y="521"/>
                    </a:lnTo>
                    <a:lnTo>
                      <a:pt x="374" y="525"/>
                    </a:lnTo>
                    <a:lnTo>
                      <a:pt x="368" y="528"/>
                    </a:lnTo>
                    <a:lnTo>
                      <a:pt x="362" y="531"/>
                    </a:lnTo>
                    <a:lnTo>
                      <a:pt x="356" y="534"/>
                    </a:lnTo>
                    <a:lnTo>
                      <a:pt x="350" y="536"/>
                    </a:lnTo>
                    <a:lnTo>
                      <a:pt x="344" y="538"/>
                    </a:lnTo>
                    <a:lnTo>
                      <a:pt x="337" y="540"/>
                    </a:lnTo>
                    <a:lnTo>
                      <a:pt x="331" y="541"/>
                    </a:lnTo>
                    <a:lnTo>
                      <a:pt x="324" y="541"/>
                    </a:lnTo>
                    <a:lnTo>
                      <a:pt x="317" y="542"/>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7" name="Freeform 8"/>
              <p:cNvSpPr>
                <a:spLocks/>
              </p:cNvSpPr>
              <p:nvPr userDrawn="1"/>
            </p:nvSpPr>
            <p:spPr bwMode="auto">
              <a:xfrm>
                <a:off x="2349" y="551"/>
                <a:ext cx="336" cy="687"/>
              </a:xfrm>
              <a:custGeom>
                <a:avLst/>
                <a:gdLst/>
                <a:ahLst/>
                <a:cxnLst>
                  <a:cxn ang="0">
                    <a:pos x="151" y="687"/>
                  </a:cxn>
                  <a:cxn ang="0">
                    <a:pos x="336" y="687"/>
                  </a:cxn>
                  <a:cxn ang="0">
                    <a:pos x="336" y="0"/>
                  </a:cxn>
                  <a:cxn ang="0">
                    <a:pos x="199" y="0"/>
                  </a:cxn>
                  <a:cxn ang="0">
                    <a:pos x="0" y="57"/>
                  </a:cxn>
                  <a:cxn ang="0">
                    <a:pos x="36" y="203"/>
                  </a:cxn>
                  <a:cxn ang="0">
                    <a:pos x="151" y="176"/>
                  </a:cxn>
                  <a:cxn ang="0">
                    <a:pos x="151" y="687"/>
                  </a:cxn>
                </a:cxnLst>
                <a:rect l="0" t="0" r="r" b="b"/>
                <a:pathLst>
                  <a:path w="336" h="687">
                    <a:moveTo>
                      <a:pt x="151" y="687"/>
                    </a:moveTo>
                    <a:lnTo>
                      <a:pt x="336" y="687"/>
                    </a:lnTo>
                    <a:lnTo>
                      <a:pt x="336" y="0"/>
                    </a:lnTo>
                    <a:lnTo>
                      <a:pt x="199" y="0"/>
                    </a:lnTo>
                    <a:lnTo>
                      <a:pt x="0" y="57"/>
                    </a:lnTo>
                    <a:lnTo>
                      <a:pt x="36" y="203"/>
                    </a:lnTo>
                    <a:lnTo>
                      <a:pt x="151" y="176"/>
                    </a:lnTo>
                    <a:lnTo>
                      <a:pt x="151" y="68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sp>
            <p:nvSpPr>
              <p:cNvPr id="68" name="Freeform 9"/>
              <p:cNvSpPr>
                <a:spLocks/>
              </p:cNvSpPr>
              <p:nvPr userDrawn="1"/>
            </p:nvSpPr>
            <p:spPr bwMode="auto">
              <a:xfrm>
                <a:off x="2770" y="556"/>
                <a:ext cx="558" cy="696"/>
              </a:xfrm>
              <a:custGeom>
                <a:avLst/>
                <a:gdLst/>
                <a:ahLst/>
                <a:cxnLst>
                  <a:cxn ang="0">
                    <a:pos x="307" y="695"/>
                  </a:cxn>
                  <a:cxn ang="0">
                    <a:pos x="350" y="689"/>
                  </a:cxn>
                  <a:cxn ang="0">
                    <a:pos x="390" y="680"/>
                  </a:cxn>
                  <a:cxn ang="0">
                    <a:pos x="426" y="665"/>
                  </a:cxn>
                  <a:cxn ang="0">
                    <a:pos x="459" y="647"/>
                  </a:cxn>
                  <a:cxn ang="0">
                    <a:pos x="488" y="624"/>
                  </a:cxn>
                  <a:cxn ang="0">
                    <a:pos x="513" y="597"/>
                  </a:cxn>
                  <a:cxn ang="0">
                    <a:pos x="532" y="567"/>
                  </a:cxn>
                  <a:cxn ang="0">
                    <a:pos x="546" y="533"/>
                  </a:cxn>
                  <a:cxn ang="0">
                    <a:pos x="553" y="502"/>
                  </a:cxn>
                  <a:cxn ang="0">
                    <a:pos x="557" y="468"/>
                  </a:cxn>
                  <a:cxn ang="0">
                    <a:pos x="557" y="443"/>
                  </a:cxn>
                  <a:cxn ang="0">
                    <a:pos x="553" y="400"/>
                  </a:cxn>
                  <a:cxn ang="0">
                    <a:pos x="542" y="363"/>
                  </a:cxn>
                  <a:cxn ang="0">
                    <a:pos x="524" y="329"/>
                  </a:cxn>
                  <a:cxn ang="0">
                    <a:pos x="502" y="302"/>
                  </a:cxn>
                  <a:cxn ang="0">
                    <a:pos x="476" y="279"/>
                  </a:cxn>
                  <a:cxn ang="0">
                    <a:pos x="439" y="258"/>
                  </a:cxn>
                  <a:cxn ang="0">
                    <a:pos x="398" y="244"/>
                  </a:cxn>
                  <a:cxn ang="0">
                    <a:pos x="355" y="236"/>
                  </a:cxn>
                  <a:cxn ang="0">
                    <a:pos x="308" y="235"/>
                  </a:cxn>
                  <a:cxn ang="0">
                    <a:pos x="264" y="241"/>
                  </a:cxn>
                  <a:cxn ang="0">
                    <a:pos x="227" y="254"/>
                  </a:cxn>
                  <a:cxn ang="0">
                    <a:pos x="528" y="156"/>
                  </a:cxn>
                  <a:cxn ang="0">
                    <a:pos x="53" y="347"/>
                  </a:cxn>
                  <a:cxn ang="0">
                    <a:pos x="189" y="395"/>
                  </a:cxn>
                  <a:cxn ang="0">
                    <a:pos x="229" y="380"/>
                  </a:cxn>
                  <a:cxn ang="0">
                    <a:pos x="258" y="376"/>
                  </a:cxn>
                  <a:cxn ang="0">
                    <a:pos x="295" y="376"/>
                  </a:cxn>
                  <a:cxn ang="0">
                    <a:pos x="319" y="382"/>
                  </a:cxn>
                  <a:cxn ang="0">
                    <a:pos x="339" y="391"/>
                  </a:cxn>
                  <a:cxn ang="0">
                    <a:pos x="358" y="407"/>
                  </a:cxn>
                  <a:cxn ang="0">
                    <a:pos x="370" y="428"/>
                  </a:cxn>
                  <a:cxn ang="0">
                    <a:pos x="373" y="445"/>
                  </a:cxn>
                  <a:cxn ang="0">
                    <a:pos x="373" y="465"/>
                  </a:cxn>
                  <a:cxn ang="0">
                    <a:pos x="370" y="481"/>
                  </a:cxn>
                  <a:cxn ang="0">
                    <a:pos x="363" y="496"/>
                  </a:cxn>
                  <a:cxn ang="0">
                    <a:pos x="347" y="514"/>
                  </a:cxn>
                  <a:cxn ang="0">
                    <a:pos x="324" y="527"/>
                  </a:cxn>
                  <a:cxn ang="0">
                    <a:pos x="296" y="534"/>
                  </a:cxn>
                  <a:cxn ang="0">
                    <a:pos x="263" y="535"/>
                  </a:cxn>
                  <a:cxn ang="0">
                    <a:pos x="231" y="531"/>
                  </a:cxn>
                  <a:cxn ang="0">
                    <a:pos x="200" y="521"/>
                  </a:cxn>
                  <a:cxn ang="0">
                    <a:pos x="170" y="506"/>
                  </a:cxn>
                  <a:cxn ang="0">
                    <a:pos x="139" y="486"/>
                  </a:cxn>
                  <a:cxn ang="0">
                    <a:pos x="0" y="588"/>
                  </a:cxn>
                  <a:cxn ang="0">
                    <a:pos x="41" y="623"/>
                  </a:cxn>
                  <a:cxn ang="0">
                    <a:pos x="87" y="651"/>
                  </a:cxn>
                  <a:cxn ang="0">
                    <a:pos x="128" y="670"/>
                  </a:cxn>
                  <a:cxn ang="0">
                    <a:pos x="173" y="684"/>
                  </a:cxn>
                  <a:cxn ang="0">
                    <a:pos x="222" y="693"/>
                  </a:cxn>
                  <a:cxn ang="0">
                    <a:pos x="254" y="696"/>
                  </a:cxn>
                </a:cxnLst>
                <a:rect l="0" t="0" r="r" b="b"/>
                <a:pathLst>
                  <a:path w="558" h="696">
                    <a:moveTo>
                      <a:pt x="276" y="696"/>
                    </a:moveTo>
                    <a:lnTo>
                      <a:pt x="292" y="696"/>
                    </a:lnTo>
                    <a:lnTo>
                      <a:pt x="307" y="695"/>
                    </a:lnTo>
                    <a:lnTo>
                      <a:pt x="322" y="694"/>
                    </a:lnTo>
                    <a:lnTo>
                      <a:pt x="336" y="692"/>
                    </a:lnTo>
                    <a:lnTo>
                      <a:pt x="350" y="689"/>
                    </a:lnTo>
                    <a:lnTo>
                      <a:pt x="364" y="687"/>
                    </a:lnTo>
                    <a:lnTo>
                      <a:pt x="377" y="683"/>
                    </a:lnTo>
                    <a:lnTo>
                      <a:pt x="390" y="680"/>
                    </a:lnTo>
                    <a:lnTo>
                      <a:pt x="403" y="675"/>
                    </a:lnTo>
                    <a:lnTo>
                      <a:pt x="415" y="671"/>
                    </a:lnTo>
                    <a:lnTo>
                      <a:pt x="426" y="665"/>
                    </a:lnTo>
                    <a:lnTo>
                      <a:pt x="438" y="660"/>
                    </a:lnTo>
                    <a:lnTo>
                      <a:pt x="449" y="653"/>
                    </a:lnTo>
                    <a:lnTo>
                      <a:pt x="459" y="647"/>
                    </a:lnTo>
                    <a:lnTo>
                      <a:pt x="469" y="640"/>
                    </a:lnTo>
                    <a:lnTo>
                      <a:pt x="479" y="632"/>
                    </a:lnTo>
                    <a:lnTo>
                      <a:pt x="488" y="624"/>
                    </a:lnTo>
                    <a:lnTo>
                      <a:pt x="497" y="615"/>
                    </a:lnTo>
                    <a:lnTo>
                      <a:pt x="505" y="606"/>
                    </a:lnTo>
                    <a:lnTo>
                      <a:pt x="513" y="597"/>
                    </a:lnTo>
                    <a:lnTo>
                      <a:pt x="520" y="587"/>
                    </a:lnTo>
                    <a:lnTo>
                      <a:pt x="526" y="577"/>
                    </a:lnTo>
                    <a:lnTo>
                      <a:pt x="532" y="567"/>
                    </a:lnTo>
                    <a:lnTo>
                      <a:pt x="537" y="556"/>
                    </a:lnTo>
                    <a:lnTo>
                      <a:pt x="542" y="544"/>
                    </a:lnTo>
                    <a:lnTo>
                      <a:pt x="546" y="533"/>
                    </a:lnTo>
                    <a:lnTo>
                      <a:pt x="549" y="521"/>
                    </a:lnTo>
                    <a:lnTo>
                      <a:pt x="552" y="508"/>
                    </a:lnTo>
                    <a:lnTo>
                      <a:pt x="553" y="502"/>
                    </a:lnTo>
                    <a:lnTo>
                      <a:pt x="554" y="495"/>
                    </a:lnTo>
                    <a:lnTo>
                      <a:pt x="556" y="482"/>
                    </a:lnTo>
                    <a:lnTo>
                      <a:pt x="557" y="468"/>
                    </a:lnTo>
                    <a:lnTo>
                      <a:pt x="558" y="454"/>
                    </a:lnTo>
                    <a:lnTo>
                      <a:pt x="558" y="452"/>
                    </a:lnTo>
                    <a:lnTo>
                      <a:pt x="557" y="443"/>
                    </a:lnTo>
                    <a:lnTo>
                      <a:pt x="557" y="434"/>
                    </a:lnTo>
                    <a:lnTo>
                      <a:pt x="555" y="417"/>
                    </a:lnTo>
                    <a:lnTo>
                      <a:pt x="553" y="400"/>
                    </a:lnTo>
                    <a:lnTo>
                      <a:pt x="549" y="384"/>
                    </a:lnTo>
                    <a:lnTo>
                      <a:pt x="544" y="370"/>
                    </a:lnTo>
                    <a:lnTo>
                      <a:pt x="542" y="363"/>
                    </a:lnTo>
                    <a:lnTo>
                      <a:pt x="539" y="356"/>
                    </a:lnTo>
                    <a:lnTo>
                      <a:pt x="532" y="342"/>
                    </a:lnTo>
                    <a:lnTo>
                      <a:pt x="524" y="329"/>
                    </a:lnTo>
                    <a:lnTo>
                      <a:pt x="516" y="317"/>
                    </a:lnTo>
                    <a:lnTo>
                      <a:pt x="507" y="307"/>
                    </a:lnTo>
                    <a:lnTo>
                      <a:pt x="502" y="302"/>
                    </a:lnTo>
                    <a:lnTo>
                      <a:pt x="497" y="297"/>
                    </a:lnTo>
                    <a:lnTo>
                      <a:pt x="487" y="287"/>
                    </a:lnTo>
                    <a:lnTo>
                      <a:pt x="476" y="279"/>
                    </a:lnTo>
                    <a:lnTo>
                      <a:pt x="464" y="271"/>
                    </a:lnTo>
                    <a:lnTo>
                      <a:pt x="452" y="264"/>
                    </a:lnTo>
                    <a:lnTo>
                      <a:pt x="439" y="258"/>
                    </a:lnTo>
                    <a:lnTo>
                      <a:pt x="426" y="252"/>
                    </a:lnTo>
                    <a:lnTo>
                      <a:pt x="412" y="248"/>
                    </a:lnTo>
                    <a:lnTo>
                      <a:pt x="398" y="244"/>
                    </a:lnTo>
                    <a:lnTo>
                      <a:pt x="384" y="240"/>
                    </a:lnTo>
                    <a:lnTo>
                      <a:pt x="369" y="238"/>
                    </a:lnTo>
                    <a:lnTo>
                      <a:pt x="355" y="236"/>
                    </a:lnTo>
                    <a:lnTo>
                      <a:pt x="340" y="235"/>
                    </a:lnTo>
                    <a:lnTo>
                      <a:pt x="324" y="235"/>
                    </a:lnTo>
                    <a:lnTo>
                      <a:pt x="308" y="235"/>
                    </a:lnTo>
                    <a:lnTo>
                      <a:pt x="292" y="237"/>
                    </a:lnTo>
                    <a:lnTo>
                      <a:pt x="278" y="239"/>
                    </a:lnTo>
                    <a:lnTo>
                      <a:pt x="264" y="241"/>
                    </a:lnTo>
                    <a:lnTo>
                      <a:pt x="251" y="245"/>
                    </a:lnTo>
                    <a:lnTo>
                      <a:pt x="239" y="249"/>
                    </a:lnTo>
                    <a:lnTo>
                      <a:pt x="227" y="254"/>
                    </a:lnTo>
                    <a:lnTo>
                      <a:pt x="215" y="259"/>
                    </a:lnTo>
                    <a:lnTo>
                      <a:pt x="221" y="156"/>
                    </a:lnTo>
                    <a:lnTo>
                      <a:pt x="528" y="156"/>
                    </a:lnTo>
                    <a:lnTo>
                      <a:pt x="528" y="0"/>
                    </a:lnTo>
                    <a:lnTo>
                      <a:pt x="72" y="0"/>
                    </a:lnTo>
                    <a:lnTo>
                      <a:pt x="53" y="347"/>
                    </a:lnTo>
                    <a:lnTo>
                      <a:pt x="164" y="409"/>
                    </a:lnTo>
                    <a:lnTo>
                      <a:pt x="177" y="402"/>
                    </a:lnTo>
                    <a:lnTo>
                      <a:pt x="189" y="395"/>
                    </a:lnTo>
                    <a:lnTo>
                      <a:pt x="202" y="390"/>
                    </a:lnTo>
                    <a:lnTo>
                      <a:pt x="215" y="385"/>
                    </a:lnTo>
                    <a:lnTo>
                      <a:pt x="229" y="380"/>
                    </a:lnTo>
                    <a:lnTo>
                      <a:pt x="243" y="377"/>
                    </a:lnTo>
                    <a:lnTo>
                      <a:pt x="251" y="376"/>
                    </a:lnTo>
                    <a:lnTo>
                      <a:pt x="258" y="376"/>
                    </a:lnTo>
                    <a:lnTo>
                      <a:pt x="273" y="375"/>
                    </a:lnTo>
                    <a:lnTo>
                      <a:pt x="284" y="375"/>
                    </a:lnTo>
                    <a:lnTo>
                      <a:pt x="295" y="376"/>
                    </a:lnTo>
                    <a:lnTo>
                      <a:pt x="305" y="378"/>
                    </a:lnTo>
                    <a:lnTo>
                      <a:pt x="314" y="380"/>
                    </a:lnTo>
                    <a:lnTo>
                      <a:pt x="319" y="382"/>
                    </a:lnTo>
                    <a:lnTo>
                      <a:pt x="323" y="383"/>
                    </a:lnTo>
                    <a:lnTo>
                      <a:pt x="331" y="387"/>
                    </a:lnTo>
                    <a:lnTo>
                      <a:pt x="339" y="391"/>
                    </a:lnTo>
                    <a:lnTo>
                      <a:pt x="346" y="396"/>
                    </a:lnTo>
                    <a:lnTo>
                      <a:pt x="352" y="402"/>
                    </a:lnTo>
                    <a:lnTo>
                      <a:pt x="358" y="407"/>
                    </a:lnTo>
                    <a:lnTo>
                      <a:pt x="363" y="414"/>
                    </a:lnTo>
                    <a:lnTo>
                      <a:pt x="366" y="421"/>
                    </a:lnTo>
                    <a:lnTo>
                      <a:pt x="370" y="428"/>
                    </a:lnTo>
                    <a:lnTo>
                      <a:pt x="371" y="432"/>
                    </a:lnTo>
                    <a:lnTo>
                      <a:pt x="372" y="436"/>
                    </a:lnTo>
                    <a:lnTo>
                      <a:pt x="373" y="445"/>
                    </a:lnTo>
                    <a:lnTo>
                      <a:pt x="374" y="454"/>
                    </a:lnTo>
                    <a:lnTo>
                      <a:pt x="374" y="456"/>
                    </a:lnTo>
                    <a:lnTo>
                      <a:pt x="373" y="465"/>
                    </a:lnTo>
                    <a:lnTo>
                      <a:pt x="372" y="473"/>
                    </a:lnTo>
                    <a:lnTo>
                      <a:pt x="371" y="477"/>
                    </a:lnTo>
                    <a:lnTo>
                      <a:pt x="370" y="481"/>
                    </a:lnTo>
                    <a:lnTo>
                      <a:pt x="367" y="489"/>
                    </a:lnTo>
                    <a:lnTo>
                      <a:pt x="365" y="492"/>
                    </a:lnTo>
                    <a:lnTo>
                      <a:pt x="363" y="496"/>
                    </a:lnTo>
                    <a:lnTo>
                      <a:pt x="359" y="502"/>
                    </a:lnTo>
                    <a:lnTo>
                      <a:pt x="353" y="508"/>
                    </a:lnTo>
                    <a:lnTo>
                      <a:pt x="347" y="514"/>
                    </a:lnTo>
                    <a:lnTo>
                      <a:pt x="340" y="519"/>
                    </a:lnTo>
                    <a:lnTo>
                      <a:pt x="333" y="523"/>
                    </a:lnTo>
                    <a:lnTo>
                      <a:pt x="324" y="527"/>
                    </a:lnTo>
                    <a:lnTo>
                      <a:pt x="315" y="530"/>
                    </a:lnTo>
                    <a:lnTo>
                      <a:pt x="306" y="532"/>
                    </a:lnTo>
                    <a:lnTo>
                      <a:pt x="296" y="534"/>
                    </a:lnTo>
                    <a:lnTo>
                      <a:pt x="285" y="535"/>
                    </a:lnTo>
                    <a:lnTo>
                      <a:pt x="273" y="536"/>
                    </a:lnTo>
                    <a:lnTo>
                      <a:pt x="263" y="535"/>
                    </a:lnTo>
                    <a:lnTo>
                      <a:pt x="252" y="534"/>
                    </a:lnTo>
                    <a:lnTo>
                      <a:pt x="242" y="533"/>
                    </a:lnTo>
                    <a:lnTo>
                      <a:pt x="231" y="531"/>
                    </a:lnTo>
                    <a:lnTo>
                      <a:pt x="221" y="528"/>
                    </a:lnTo>
                    <a:lnTo>
                      <a:pt x="210" y="525"/>
                    </a:lnTo>
                    <a:lnTo>
                      <a:pt x="200" y="521"/>
                    </a:lnTo>
                    <a:lnTo>
                      <a:pt x="190" y="516"/>
                    </a:lnTo>
                    <a:lnTo>
                      <a:pt x="180" y="511"/>
                    </a:lnTo>
                    <a:lnTo>
                      <a:pt x="170" y="506"/>
                    </a:lnTo>
                    <a:lnTo>
                      <a:pt x="159" y="499"/>
                    </a:lnTo>
                    <a:lnTo>
                      <a:pt x="149" y="493"/>
                    </a:lnTo>
                    <a:lnTo>
                      <a:pt x="139" y="486"/>
                    </a:lnTo>
                    <a:lnTo>
                      <a:pt x="129" y="478"/>
                    </a:lnTo>
                    <a:lnTo>
                      <a:pt x="108" y="462"/>
                    </a:lnTo>
                    <a:lnTo>
                      <a:pt x="0" y="588"/>
                    </a:lnTo>
                    <a:lnTo>
                      <a:pt x="13" y="600"/>
                    </a:lnTo>
                    <a:lnTo>
                      <a:pt x="27" y="612"/>
                    </a:lnTo>
                    <a:lnTo>
                      <a:pt x="41" y="623"/>
                    </a:lnTo>
                    <a:lnTo>
                      <a:pt x="56" y="633"/>
                    </a:lnTo>
                    <a:lnTo>
                      <a:pt x="71" y="642"/>
                    </a:lnTo>
                    <a:lnTo>
                      <a:pt x="87" y="651"/>
                    </a:lnTo>
                    <a:lnTo>
                      <a:pt x="103" y="659"/>
                    </a:lnTo>
                    <a:lnTo>
                      <a:pt x="120" y="667"/>
                    </a:lnTo>
                    <a:lnTo>
                      <a:pt x="128" y="670"/>
                    </a:lnTo>
                    <a:lnTo>
                      <a:pt x="137" y="674"/>
                    </a:lnTo>
                    <a:lnTo>
                      <a:pt x="154" y="680"/>
                    </a:lnTo>
                    <a:lnTo>
                      <a:pt x="173" y="684"/>
                    </a:lnTo>
                    <a:lnTo>
                      <a:pt x="192" y="689"/>
                    </a:lnTo>
                    <a:lnTo>
                      <a:pt x="212" y="692"/>
                    </a:lnTo>
                    <a:lnTo>
                      <a:pt x="222" y="693"/>
                    </a:lnTo>
                    <a:lnTo>
                      <a:pt x="233" y="694"/>
                    </a:lnTo>
                    <a:lnTo>
                      <a:pt x="243" y="695"/>
                    </a:lnTo>
                    <a:lnTo>
                      <a:pt x="254" y="696"/>
                    </a:lnTo>
                    <a:lnTo>
                      <a:pt x="276" y="696"/>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s-MX" b="1" u="sng">
                  <a:solidFill>
                    <a:srgbClr val="3F3F3F"/>
                  </a:solidFill>
                  <a:latin typeface="Arial" charset="0"/>
                  <a:cs typeface="Arial" charset="0"/>
                </a:endParaRPr>
              </a:p>
            </p:txBody>
          </p:sp>
        </p:grpSp>
      </p:grpSp>
      <p:grpSp>
        <p:nvGrpSpPr>
          <p:cNvPr id="8" name="Group 422"/>
          <p:cNvGrpSpPr/>
          <p:nvPr/>
        </p:nvGrpSpPr>
        <p:grpSpPr>
          <a:xfrm>
            <a:off x="0" y="6189663"/>
            <a:ext cx="9145588" cy="479425"/>
            <a:chOff x="0" y="6189663"/>
            <a:chExt cx="9145588" cy="479425"/>
          </a:xfrm>
        </p:grpSpPr>
        <p:sp>
          <p:nvSpPr>
            <p:cNvPr id="424" name="AutoShape 5"/>
            <p:cNvSpPr>
              <a:spLocks noChangeAspect="1" noChangeArrowheads="1" noTextEdit="1"/>
            </p:cNvSpPr>
            <p:nvPr userDrawn="1"/>
          </p:nvSpPr>
          <p:spPr bwMode="auto">
            <a:xfrm>
              <a:off x="0" y="6189663"/>
              <a:ext cx="9144000" cy="479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5" name="Freeform 7"/>
            <p:cNvSpPr>
              <a:spLocks/>
            </p:cNvSpPr>
            <p:nvPr userDrawn="1"/>
          </p:nvSpPr>
          <p:spPr bwMode="auto">
            <a:xfrm>
              <a:off x="4113213" y="6407151"/>
              <a:ext cx="1885950" cy="165100"/>
            </a:xfrm>
            <a:custGeom>
              <a:avLst/>
              <a:gdLst/>
              <a:ahLst/>
              <a:cxnLst>
                <a:cxn ang="0">
                  <a:pos x="0" y="520"/>
                </a:cxn>
                <a:cxn ang="0">
                  <a:pos x="743" y="520"/>
                </a:cxn>
                <a:cxn ang="0">
                  <a:pos x="1486" y="520"/>
                </a:cxn>
                <a:cxn ang="0">
                  <a:pos x="2228" y="520"/>
                </a:cxn>
                <a:cxn ang="0">
                  <a:pos x="2971" y="520"/>
                </a:cxn>
                <a:cxn ang="0">
                  <a:pos x="3714" y="520"/>
                </a:cxn>
                <a:cxn ang="0">
                  <a:pos x="4457" y="520"/>
                </a:cxn>
                <a:cxn ang="0">
                  <a:pos x="5200" y="520"/>
                </a:cxn>
                <a:cxn ang="0">
                  <a:pos x="5943" y="520"/>
                </a:cxn>
                <a:cxn ang="0">
                  <a:pos x="5943" y="0"/>
                </a:cxn>
                <a:cxn ang="0">
                  <a:pos x="5200" y="0"/>
                </a:cxn>
                <a:cxn ang="0">
                  <a:pos x="4457" y="0"/>
                </a:cxn>
                <a:cxn ang="0">
                  <a:pos x="3714" y="0"/>
                </a:cxn>
                <a:cxn ang="0">
                  <a:pos x="2971" y="0"/>
                </a:cxn>
                <a:cxn ang="0">
                  <a:pos x="2228" y="0"/>
                </a:cxn>
                <a:cxn ang="0">
                  <a:pos x="1486" y="0"/>
                </a:cxn>
                <a:cxn ang="0">
                  <a:pos x="743" y="0"/>
                </a:cxn>
                <a:cxn ang="0">
                  <a:pos x="0" y="0"/>
                </a:cxn>
                <a:cxn ang="0">
                  <a:pos x="0" y="520"/>
                </a:cxn>
              </a:cxnLst>
              <a:rect l="0" t="0" r="r" b="b"/>
              <a:pathLst>
                <a:path w="5943" h="520">
                  <a:moveTo>
                    <a:pt x="0" y="520"/>
                  </a:moveTo>
                  <a:lnTo>
                    <a:pt x="743" y="520"/>
                  </a:lnTo>
                  <a:lnTo>
                    <a:pt x="1486" y="520"/>
                  </a:lnTo>
                  <a:lnTo>
                    <a:pt x="2228" y="520"/>
                  </a:lnTo>
                  <a:lnTo>
                    <a:pt x="2971" y="520"/>
                  </a:lnTo>
                  <a:lnTo>
                    <a:pt x="3714" y="520"/>
                  </a:lnTo>
                  <a:lnTo>
                    <a:pt x="4457" y="520"/>
                  </a:lnTo>
                  <a:lnTo>
                    <a:pt x="5200" y="520"/>
                  </a:lnTo>
                  <a:lnTo>
                    <a:pt x="5943" y="520"/>
                  </a:lnTo>
                  <a:lnTo>
                    <a:pt x="5943" y="0"/>
                  </a:lnTo>
                  <a:lnTo>
                    <a:pt x="5200" y="0"/>
                  </a:lnTo>
                  <a:lnTo>
                    <a:pt x="4457" y="0"/>
                  </a:lnTo>
                  <a:lnTo>
                    <a:pt x="3714" y="0"/>
                  </a:lnTo>
                  <a:lnTo>
                    <a:pt x="2971" y="0"/>
                  </a:lnTo>
                  <a:lnTo>
                    <a:pt x="2228" y="0"/>
                  </a:lnTo>
                  <a:lnTo>
                    <a:pt x="1486" y="0"/>
                  </a:lnTo>
                  <a:lnTo>
                    <a:pt x="743" y="0"/>
                  </a:lnTo>
                  <a:lnTo>
                    <a:pt x="0" y="0"/>
                  </a:lnTo>
                  <a:lnTo>
                    <a:pt x="0" y="520"/>
                  </a:lnTo>
                  <a:close/>
                </a:path>
              </a:pathLst>
            </a:custGeom>
            <a:solidFill>
              <a:srgbClr val="99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6" name="Freeform 8"/>
            <p:cNvSpPr>
              <a:spLocks noEditPoints="1"/>
            </p:cNvSpPr>
            <p:nvPr userDrawn="1"/>
          </p:nvSpPr>
          <p:spPr bwMode="auto">
            <a:xfrm>
              <a:off x="0" y="6208713"/>
              <a:ext cx="4546600" cy="363538"/>
            </a:xfrm>
            <a:custGeom>
              <a:avLst/>
              <a:gdLst/>
              <a:ahLst/>
              <a:cxnLst>
                <a:cxn ang="0">
                  <a:pos x="12835" y="583"/>
                </a:cxn>
                <a:cxn ang="0">
                  <a:pos x="5200" y="624"/>
                </a:cxn>
                <a:cxn ang="0">
                  <a:pos x="5005" y="512"/>
                </a:cxn>
                <a:cxn ang="0">
                  <a:pos x="5200" y="399"/>
                </a:cxn>
                <a:cxn ang="0">
                  <a:pos x="5508" y="396"/>
                </a:cxn>
                <a:cxn ang="0">
                  <a:pos x="5508" y="488"/>
                </a:cxn>
                <a:cxn ang="0">
                  <a:pos x="5508" y="427"/>
                </a:cxn>
                <a:cxn ang="0">
                  <a:pos x="11042" y="409"/>
                </a:cxn>
                <a:cxn ang="0">
                  <a:pos x="10776" y="357"/>
                </a:cxn>
                <a:cxn ang="0">
                  <a:pos x="10488" y="406"/>
                </a:cxn>
                <a:cxn ang="0">
                  <a:pos x="10427" y="409"/>
                </a:cxn>
                <a:cxn ang="0">
                  <a:pos x="9997" y="512"/>
                </a:cxn>
                <a:cxn ang="0">
                  <a:pos x="9843" y="624"/>
                </a:cxn>
                <a:cxn ang="0">
                  <a:pos x="9679" y="358"/>
                </a:cxn>
                <a:cxn ang="0">
                  <a:pos x="9125" y="409"/>
                </a:cxn>
                <a:cxn ang="0">
                  <a:pos x="8966" y="598"/>
                </a:cxn>
                <a:cxn ang="0">
                  <a:pos x="8791" y="624"/>
                </a:cxn>
                <a:cxn ang="0">
                  <a:pos x="8500" y="215"/>
                </a:cxn>
                <a:cxn ang="0">
                  <a:pos x="8378" y="184"/>
                </a:cxn>
                <a:cxn ang="0">
                  <a:pos x="8173" y="563"/>
                </a:cxn>
                <a:cxn ang="0">
                  <a:pos x="7978" y="533"/>
                </a:cxn>
                <a:cxn ang="0">
                  <a:pos x="7762" y="512"/>
                </a:cxn>
                <a:cxn ang="0">
                  <a:pos x="7680" y="462"/>
                </a:cxn>
                <a:cxn ang="0">
                  <a:pos x="7644" y="338"/>
                </a:cxn>
                <a:cxn ang="0">
                  <a:pos x="7602" y="455"/>
                </a:cxn>
                <a:cxn ang="0">
                  <a:pos x="7537" y="512"/>
                </a:cxn>
                <a:cxn ang="0">
                  <a:pos x="7414" y="583"/>
                </a:cxn>
                <a:cxn ang="0">
                  <a:pos x="7363" y="583"/>
                </a:cxn>
                <a:cxn ang="0">
                  <a:pos x="7147" y="492"/>
                </a:cxn>
                <a:cxn ang="0">
                  <a:pos x="7015" y="492"/>
                </a:cxn>
                <a:cxn ang="0">
                  <a:pos x="6758" y="195"/>
                </a:cxn>
                <a:cxn ang="0">
                  <a:pos x="6615" y="624"/>
                </a:cxn>
                <a:cxn ang="0">
                  <a:pos x="6461" y="443"/>
                </a:cxn>
                <a:cxn ang="0">
                  <a:pos x="6425" y="420"/>
                </a:cxn>
                <a:cxn ang="0">
                  <a:pos x="6354" y="462"/>
                </a:cxn>
                <a:cxn ang="0">
                  <a:pos x="6041" y="553"/>
                </a:cxn>
                <a:cxn ang="0">
                  <a:pos x="5815" y="512"/>
                </a:cxn>
                <a:cxn ang="0">
                  <a:pos x="5498" y="277"/>
                </a:cxn>
                <a:cxn ang="0">
                  <a:pos x="5191" y="286"/>
                </a:cxn>
                <a:cxn ang="0">
                  <a:pos x="5109" y="286"/>
                </a:cxn>
                <a:cxn ang="0">
                  <a:pos x="4791" y="669"/>
                </a:cxn>
                <a:cxn ang="0">
                  <a:pos x="2649" y="838"/>
                </a:cxn>
                <a:cxn ang="0">
                  <a:pos x="1428" y="1115"/>
                </a:cxn>
                <a:cxn ang="0">
                  <a:pos x="6327" y="1107"/>
                </a:cxn>
                <a:cxn ang="0">
                  <a:pos x="10631" y="1107"/>
                </a:cxn>
                <a:cxn ang="0">
                  <a:pos x="14321" y="624"/>
                </a:cxn>
                <a:cxn ang="0">
                  <a:pos x="13880" y="368"/>
                </a:cxn>
                <a:cxn ang="0">
                  <a:pos x="13532" y="512"/>
                </a:cxn>
                <a:cxn ang="0">
                  <a:pos x="13112" y="624"/>
                </a:cxn>
                <a:cxn ang="0">
                  <a:pos x="12528" y="624"/>
                </a:cxn>
                <a:cxn ang="0">
                  <a:pos x="12333" y="123"/>
                </a:cxn>
                <a:cxn ang="0">
                  <a:pos x="12260" y="379"/>
                </a:cxn>
                <a:cxn ang="0">
                  <a:pos x="12179" y="388"/>
                </a:cxn>
                <a:cxn ang="0">
                  <a:pos x="11994" y="481"/>
                </a:cxn>
                <a:cxn ang="0">
                  <a:pos x="11919" y="272"/>
                </a:cxn>
                <a:cxn ang="0">
                  <a:pos x="11879" y="309"/>
                </a:cxn>
                <a:cxn ang="0">
                  <a:pos x="11826" y="266"/>
                </a:cxn>
                <a:cxn ang="0">
                  <a:pos x="11769" y="338"/>
                </a:cxn>
              </a:cxnLst>
              <a:rect l="0" t="0" r="r" b="b"/>
              <a:pathLst>
                <a:path w="14321" h="1147">
                  <a:moveTo>
                    <a:pt x="12835" y="604"/>
                  </a:moveTo>
                  <a:lnTo>
                    <a:pt x="12896" y="604"/>
                  </a:lnTo>
                  <a:lnTo>
                    <a:pt x="12896" y="624"/>
                  </a:lnTo>
                  <a:lnTo>
                    <a:pt x="12835" y="624"/>
                  </a:lnTo>
                  <a:lnTo>
                    <a:pt x="12835" y="604"/>
                  </a:lnTo>
                  <a:close/>
                  <a:moveTo>
                    <a:pt x="12896" y="583"/>
                  </a:moveTo>
                  <a:lnTo>
                    <a:pt x="12835" y="583"/>
                  </a:lnTo>
                  <a:lnTo>
                    <a:pt x="12835" y="563"/>
                  </a:lnTo>
                  <a:lnTo>
                    <a:pt x="12896" y="563"/>
                  </a:lnTo>
                  <a:lnTo>
                    <a:pt x="12896" y="583"/>
                  </a:lnTo>
                  <a:close/>
                  <a:moveTo>
                    <a:pt x="5200" y="451"/>
                  </a:moveTo>
                  <a:lnTo>
                    <a:pt x="5406" y="451"/>
                  </a:lnTo>
                  <a:lnTo>
                    <a:pt x="5406" y="624"/>
                  </a:lnTo>
                  <a:lnTo>
                    <a:pt x="5200" y="624"/>
                  </a:lnTo>
                  <a:lnTo>
                    <a:pt x="5200" y="451"/>
                  </a:lnTo>
                  <a:close/>
                  <a:moveTo>
                    <a:pt x="5035" y="512"/>
                  </a:moveTo>
                  <a:lnTo>
                    <a:pt x="5098" y="450"/>
                  </a:lnTo>
                  <a:lnTo>
                    <a:pt x="5098" y="465"/>
                  </a:lnTo>
                  <a:lnTo>
                    <a:pt x="5052" y="512"/>
                  </a:lnTo>
                  <a:lnTo>
                    <a:pt x="5035" y="512"/>
                  </a:lnTo>
                  <a:close/>
                  <a:moveTo>
                    <a:pt x="5005" y="512"/>
                  </a:moveTo>
                  <a:lnTo>
                    <a:pt x="5098" y="418"/>
                  </a:lnTo>
                  <a:lnTo>
                    <a:pt x="5098" y="435"/>
                  </a:lnTo>
                  <a:lnTo>
                    <a:pt x="5021" y="512"/>
                  </a:lnTo>
                  <a:lnTo>
                    <a:pt x="5005" y="512"/>
                  </a:lnTo>
                  <a:close/>
                  <a:moveTo>
                    <a:pt x="5406" y="409"/>
                  </a:moveTo>
                  <a:lnTo>
                    <a:pt x="5200" y="409"/>
                  </a:lnTo>
                  <a:lnTo>
                    <a:pt x="5200" y="399"/>
                  </a:lnTo>
                  <a:lnTo>
                    <a:pt x="5406" y="399"/>
                  </a:lnTo>
                  <a:lnTo>
                    <a:pt x="5406" y="409"/>
                  </a:lnTo>
                  <a:close/>
                  <a:moveTo>
                    <a:pt x="5611" y="499"/>
                  </a:moveTo>
                  <a:lnTo>
                    <a:pt x="5611" y="512"/>
                  </a:lnTo>
                  <a:lnTo>
                    <a:pt x="5607" y="512"/>
                  </a:lnTo>
                  <a:lnTo>
                    <a:pt x="5508" y="412"/>
                  </a:lnTo>
                  <a:lnTo>
                    <a:pt x="5508" y="396"/>
                  </a:lnTo>
                  <a:lnTo>
                    <a:pt x="5611" y="499"/>
                  </a:lnTo>
                  <a:close/>
                  <a:moveTo>
                    <a:pt x="5508" y="474"/>
                  </a:moveTo>
                  <a:lnTo>
                    <a:pt x="5508" y="458"/>
                  </a:lnTo>
                  <a:lnTo>
                    <a:pt x="5563" y="512"/>
                  </a:lnTo>
                  <a:lnTo>
                    <a:pt x="5546" y="512"/>
                  </a:lnTo>
                  <a:lnTo>
                    <a:pt x="5508" y="474"/>
                  </a:lnTo>
                  <a:close/>
                  <a:moveTo>
                    <a:pt x="5508" y="488"/>
                  </a:moveTo>
                  <a:lnTo>
                    <a:pt x="5531" y="512"/>
                  </a:lnTo>
                  <a:lnTo>
                    <a:pt x="5508" y="512"/>
                  </a:lnTo>
                  <a:lnTo>
                    <a:pt x="5508" y="488"/>
                  </a:lnTo>
                  <a:close/>
                  <a:moveTo>
                    <a:pt x="5593" y="512"/>
                  </a:moveTo>
                  <a:lnTo>
                    <a:pt x="5577" y="512"/>
                  </a:lnTo>
                  <a:lnTo>
                    <a:pt x="5508" y="443"/>
                  </a:lnTo>
                  <a:lnTo>
                    <a:pt x="5508" y="427"/>
                  </a:lnTo>
                  <a:lnTo>
                    <a:pt x="5593" y="512"/>
                  </a:lnTo>
                  <a:close/>
                  <a:moveTo>
                    <a:pt x="12896" y="501"/>
                  </a:moveTo>
                  <a:lnTo>
                    <a:pt x="12835" y="501"/>
                  </a:lnTo>
                  <a:lnTo>
                    <a:pt x="12896" y="501"/>
                  </a:lnTo>
                  <a:close/>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7" name="Rectangle 9"/>
            <p:cNvSpPr>
              <a:spLocks noChangeArrowheads="1"/>
            </p:cNvSpPr>
            <p:nvPr userDrawn="1"/>
          </p:nvSpPr>
          <p:spPr bwMode="auto">
            <a:xfrm>
              <a:off x="4075113" y="64008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8" name="Rectangle 10"/>
            <p:cNvSpPr>
              <a:spLocks noChangeArrowheads="1"/>
            </p:cNvSpPr>
            <p:nvPr userDrawn="1"/>
          </p:nvSpPr>
          <p:spPr bwMode="auto">
            <a:xfrm>
              <a:off x="4075113" y="6388101"/>
              <a:ext cx="19050" cy="6350"/>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29" name="Rectangle 11"/>
            <p:cNvSpPr>
              <a:spLocks noChangeArrowheads="1"/>
            </p:cNvSpPr>
            <p:nvPr userDrawn="1"/>
          </p:nvSpPr>
          <p:spPr bwMode="auto">
            <a:xfrm>
              <a:off x="1651000" y="6351588"/>
              <a:ext cx="65088" cy="55563"/>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0" name="Freeform 12"/>
            <p:cNvSpPr>
              <a:spLocks/>
            </p:cNvSpPr>
            <p:nvPr userDrawn="1"/>
          </p:nvSpPr>
          <p:spPr bwMode="auto">
            <a:xfrm>
              <a:off x="1598613" y="6351588"/>
              <a:ext cx="20638" cy="19050"/>
            </a:xfrm>
            <a:custGeom>
              <a:avLst/>
              <a:gdLst/>
              <a:ahLst/>
              <a:cxnLst>
                <a:cxn ang="0">
                  <a:pos x="0" y="62"/>
                </a:cxn>
                <a:cxn ang="0">
                  <a:pos x="63" y="0"/>
                </a:cxn>
                <a:cxn ang="0">
                  <a:pos x="63" y="15"/>
                </a:cxn>
                <a:cxn ang="0">
                  <a:pos x="17" y="62"/>
                </a:cxn>
                <a:cxn ang="0">
                  <a:pos x="0" y="62"/>
                </a:cxn>
              </a:cxnLst>
              <a:rect l="0" t="0" r="r" b="b"/>
              <a:pathLst>
                <a:path w="63" h="62">
                  <a:moveTo>
                    <a:pt x="0" y="62"/>
                  </a:moveTo>
                  <a:lnTo>
                    <a:pt x="63" y="0"/>
                  </a:lnTo>
                  <a:lnTo>
                    <a:pt x="63" y="15"/>
                  </a:lnTo>
                  <a:lnTo>
                    <a:pt x="17" y="62"/>
                  </a:lnTo>
                  <a:lnTo>
                    <a:pt x="0" y="62"/>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1" name="Freeform 13"/>
            <p:cNvSpPr>
              <a:spLocks/>
            </p:cNvSpPr>
            <p:nvPr userDrawn="1"/>
          </p:nvSpPr>
          <p:spPr bwMode="auto">
            <a:xfrm>
              <a:off x="1589088" y="6342063"/>
              <a:ext cx="30163" cy="28575"/>
            </a:xfrm>
            <a:custGeom>
              <a:avLst/>
              <a:gdLst/>
              <a:ahLst/>
              <a:cxnLst>
                <a:cxn ang="0">
                  <a:pos x="0" y="94"/>
                </a:cxn>
                <a:cxn ang="0">
                  <a:pos x="93" y="0"/>
                </a:cxn>
                <a:cxn ang="0">
                  <a:pos x="93" y="17"/>
                </a:cxn>
                <a:cxn ang="0">
                  <a:pos x="16" y="94"/>
                </a:cxn>
                <a:cxn ang="0">
                  <a:pos x="0" y="94"/>
                </a:cxn>
              </a:cxnLst>
              <a:rect l="0" t="0" r="r" b="b"/>
              <a:pathLst>
                <a:path w="93" h="94">
                  <a:moveTo>
                    <a:pt x="0" y="94"/>
                  </a:moveTo>
                  <a:lnTo>
                    <a:pt x="93" y="0"/>
                  </a:lnTo>
                  <a:lnTo>
                    <a:pt x="93" y="17"/>
                  </a:lnTo>
                  <a:lnTo>
                    <a:pt x="16" y="94"/>
                  </a:lnTo>
                  <a:lnTo>
                    <a:pt x="0" y="94"/>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2" name="Rectangle 14"/>
            <p:cNvSpPr>
              <a:spLocks noChangeArrowheads="1"/>
            </p:cNvSpPr>
            <p:nvPr userDrawn="1"/>
          </p:nvSpPr>
          <p:spPr bwMode="auto">
            <a:xfrm>
              <a:off x="1651000" y="6335713"/>
              <a:ext cx="65088" cy="3175"/>
            </a:xfrm>
            <a:prstGeom prst="rect">
              <a:avLst/>
            </a:prstGeom>
            <a:solidFill>
              <a:srgbClr val="FBC5C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3" name="Freeform 15"/>
            <p:cNvSpPr>
              <a:spLocks/>
            </p:cNvSpPr>
            <p:nvPr userDrawn="1"/>
          </p:nvSpPr>
          <p:spPr bwMode="auto">
            <a:xfrm>
              <a:off x="1749425" y="6334126"/>
              <a:ext cx="31750" cy="36513"/>
            </a:xfrm>
            <a:custGeom>
              <a:avLst/>
              <a:gdLst/>
              <a:ahLst/>
              <a:cxnLst>
                <a:cxn ang="0">
                  <a:pos x="103" y="103"/>
                </a:cxn>
                <a:cxn ang="0">
                  <a:pos x="103" y="116"/>
                </a:cxn>
                <a:cxn ang="0">
                  <a:pos x="99" y="116"/>
                </a:cxn>
                <a:cxn ang="0">
                  <a:pos x="0" y="16"/>
                </a:cxn>
                <a:cxn ang="0">
                  <a:pos x="0" y="0"/>
                </a:cxn>
                <a:cxn ang="0">
                  <a:pos x="103" y="103"/>
                </a:cxn>
              </a:cxnLst>
              <a:rect l="0" t="0" r="r" b="b"/>
              <a:pathLst>
                <a:path w="103" h="116">
                  <a:moveTo>
                    <a:pt x="103" y="103"/>
                  </a:moveTo>
                  <a:lnTo>
                    <a:pt x="103" y="116"/>
                  </a:lnTo>
                  <a:lnTo>
                    <a:pt x="99" y="116"/>
                  </a:lnTo>
                  <a:lnTo>
                    <a:pt x="0" y="16"/>
                  </a:lnTo>
                  <a:lnTo>
                    <a:pt x="0" y="0"/>
                  </a:lnTo>
                  <a:lnTo>
                    <a:pt x="103" y="103"/>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4" name="Freeform 16"/>
            <p:cNvSpPr>
              <a:spLocks/>
            </p:cNvSpPr>
            <p:nvPr userDrawn="1"/>
          </p:nvSpPr>
          <p:spPr bwMode="auto">
            <a:xfrm>
              <a:off x="1749425" y="6354763"/>
              <a:ext cx="17463" cy="15875"/>
            </a:xfrm>
            <a:custGeom>
              <a:avLst/>
              <a:gdLst/>
              <a:ahLst/>
              <a:cxnLst>
                <a:cxn ang="0">
                  <a:pos x="0" y="16"/>
                </a:cxn>
                <a:cxn ang="0">
                  <a:pos x="0" y="0"/>
                </a:cxn>
                <a:cxn ang="0">
                  <a:pos x="55" y="54"/>
                </a:cxn>
                <a:cxn ang="0">
                  <a:pos x="38" y="54"/>
                </a:cxn>
                <a:cxn ang="0">
                  <a:pos x="0" y="16"/>
                </a:cxn>
              </a:cxnLst>
              <a:rect l="0" t="0" r="r" b="b"/>
              <a:pathLst>
                <a:path w="55" h="54">
                  <a:moveTo>
                    <a:pt x="0" y="16"/>
                  </a:moveTo>
                  <a:lnTo>
                    <a:pt x="0" y="0"/>
                  </a:lnTo>
                  <a:lnTo>
                    <a:pt x="55" y="54"/>
                  </a:lnTo>
                  <a:lnTo>
                    <a:pt x="38" y="54"/>
                  </a:lnTo>
                  <a:lnTo>
                    <a:pt x="0" y="16"/>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5" name="Freeform 17"/>
            <p:cNvSpPr>
              <a:spLocks/>
            </p:cNvSpPr>
            <p:nvPr userDrawn="1"/>
          </p:nvSpPr>
          <p:spPr bwMode="auto">
            <a:xfrm>
              <a:off x="1749425" y="6364288"/>
              <a:ext cx="6350" cy="6350"/>
            </a:xfrm>
            <a:custGeom>
              <a:avLst/>
              <a:gdLst/>
              <a:ahLst/>
              <a:cxnLst>
                <a:cxn ang="0">
                  <a:pos x="0" y="0"/>
                </a:cxn>
                <a:cxn ang="0">
                  <a:pos x="23" y="24"/>
                </a:cxn>
                <a:cxn ang="0">
                  <a:pos x="0" y="24"/>
                </a:cxn>
                <a:cxn ang="0">
                  <a:pos x="0" y="0"/>
                </a:cxn>
              </a:cxnLst>
              <a:rect l="0" t="0" r="r" b="b"/>
              <a:pathLst>
                <a:path w="23" h="24">
                  <a:moveTo>
                    <a:pt x="0" y="0"/>
                  </a:moveTo>
                  <a:lnTo>
                    <a:pt x="23" y="24"/>
                  </a:lnTo>
                  <a:lnTo>
                    <a:pt x="0" y="24"/>
                  </a:lnTo>
                  <a:lnTo>
                    <a:pt x="0"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6" name="Freeform 18"/>
            <p:cNvSpPr>
              <a:spLocks/>
            </p:cNvSpPr>
            <p:nvPr userDrawn="1"/>
          </p:nvSpPr>
          <p:spPr bwMode="auto">
            <a:xfrm>
              <a:off x="1749425" y="6343651"/>
              <a:ext cx="26988" cy="26988"/>
            </a:xfrm>
            <a:custGeom>
              <a:avLst/>
              <a:gdLst/>
              <a:ahLst/>
              <a:cxnLst>
                <a:cxn ang="0">
                  <a:pos x="85" y="85"/>
                </a:cxn>
                <a:cxn ang="0">
                  <a:pos x="69" y="85"/>
                </a:cxn>
                <a:cxn ang="0">
                  <a:pos x="0" y="16"/>
                </a:cxn>
                <a:cxn ang="0">
                  <a:pos x="0" y="0"/>
                </a:cxn>
                <a:cxn ang="0">
                  <a:pos x="85" y="85"/>
                </a:cxn>
              </a:cxnLst>
              <a:rect l="0" t="0" r="r" b="b"/>
              <a:pathLst>
                <a:path w="85" h="85">
                  <a:moveTo>
                    <a:pt x="85" y="85"/>
                  </a:moveTo>
                  <a:lnTo>
                    <a:pt x="69" y="85"/>
                  </a:lnTo>
                  <a:lnTo>
                    <a:pt x="0" y="16"/>
                  </a:lnTo>
                  <a:lnTo>
                    <a:pt x="0" y="0"/>
                  </a:lnTo>
                  <a:lnTo>
                    <a:pt x="85" y="85"/>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7" name="Freeform 19"/>
            <p:cNvSpPr>
              <a:spLocks/>
            </p:cNvSpPr>
            <p:nvPr userDrawn="1"/>
          </p:nvSpPr>
          <p:spPr bwMode="auto">
            <a:xfrm>
              <a:off x="4075113" y="6367463"/>
              <a:ext cx="19050" cy="1588"/>
            </a:xfrm>
            <a:custGeom>
              <a:avLst/>
              <a:gdLst/>
              <a:ahLst/>
              <a:cxnLst>
                <a:cxn ang="0">
                  <a:pos x="61" y="0"/>
                </a:cxn>
                <a:cxn ang="0">
                  <a:pos x="0" y="0"/>
                </a:cxn>
                <a:cxn ang="0">
                  <a:pos x="61" y="0"/>
                </a:cxn>
              </a:cxnLst>
              <a:rect l="0" t="0" r="r" b="b"/>
              <a:pathLst>
                <a:path w="61">
                  <a:moveTo>
                    <a:pt x="61" y="0"/>
                  </a:moveTo>
                  <a:lnTo>
                    <a:pt x="0" y="0"/>
                  </a:lnTo>
                  <a:lnTo>
                    <a:pt x="61" y="0"/>
                  </a:lnTo>
                  <a:close/>
                </a:path>
              </a:pathLst>
            </a:custGeom>
            <a:solidFill>
              <a:srgbClr val="FBC5C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8" name="Freeform 20"/>
            <p:cNvSpPr>
              <a:spLocks/>
            </p:cNvSpPr>
            <p:nvPr userDrawn="1"/>
          </p:nvSpPr>
          <p:spPr bwMode="auto">
            <a:xfrm>
              <a:off x="0" y="6208713"/>
              <a:ext cx="4546600" cy="363538"/>
            </a:xfrm>
            <a:custGeom>
              <a:avLst/>
              <a:gdLst/>
              <a:ahLst/>
              <a:cxnLst>
                <a:cxn ang="0">
                  <a:pos x="10943" y="387"/>
                </a:cxn>
                <a:cxn ang="0">
                  <a:pos x="10699" y="357"/>
                </a:cxn>
                <a:cxn ang="0">
                  <a:pos x="10488" y="256"/>
                </a:cxn>
                <a:cxn ang="0">
                  <a:pos x="10427" y="409"/>
                </a:cxn>
                <a:cxn ang="0">
                  <a:pos x="9997" y="388"/>
                </a:cxn>
                <a:cxn ang="0">
                  <a:pos x="9884" y="512"/>
                </a:cxn>
                <a:cxn ang="0">
                  <a:pos x="9709" y="307"/>
                </a:cxn>
                <a:cxn ang="0">
                  <a:pos x="9464" y="409"/>
                </a:cxn>
                <a:cxn ang="0">
                  <a:pos x="9047" y="624"/>
                </a:cxn>
                <a:cxn ang="0">
                  <a:pos x="8919" y="596"/>
                </a:cxn>
                <a:cxn ang="0">
                  <a:pos x="8791" y="624"/>
                </a:cxn>
                <a:cxn ang="0">
                  <a:pos x="8500" y="481"/>
                </a:cxn>
                <a:cxn ang="0">
                  <a:pos x="8418" y="215"/>
                </a:cxn>
                <a:cxn ang="0">
                  <a:pos x="8214" y="481"/>
                </a:cxn>
                <a:cxn ang="0">
                  <a:pos x="8090" y="624"/>
                </a:cxn>
                <a:cxn ang="0">
                  <a:pos x="7803" y="553"/>
                </a:cxn>
                <a:cxn ang="0">
                  <a:pos x="7742" y="512"/>
                </a:cxn>
                <a:cxn ang="0">
                  <a:pos x="7680" y="462"/>
                </a:cxn>
                <a:cxn ang="0">
                  <a:pos x="7644" y="429"/>
                </a:cxn>
                <a:cxn ang="0">
                  <a:pos x="7618" y="444"/>
                </a:cxn>
                <a:cxn ang="0">
                  <a:pos x="7558" y="512"/>
                </a:cxn>
                <a:cxn ang="0">
                  <a:pos x="7496" y="492"/>
                </a:cxn>
                <a:cxn ang="0">
                  <a:pos x="7394" y="533"/>
                </a:cxn>
                <a:cxn ang="0">
                  <a:pos x="7353" y="583"/>
                </a:cxn>
                <a:cxn ang="0">
                  <a:pos x="7147" y="492"/>
                </a:cxn>
                <a:cxn ang="0">
                  <a:pos x="7015" y="512"/>
                </a:cxn>
                <a:cxn ang="0">
                  <a:pos x="6881" y="624"/>
                </a:cxn>
                <a:cxn ang="0">
                  <a:pos x="6661" y="135"/>
                </a:cxn>
                <a:cxn ang="0">
                  <a:pos x="6515" y="471"/>
                </a:cxn>
                <a:cxn ang="0">
                  <a:pos x="6452" y="428"/>
                </a:cxn>
                <a:cxn ang="0">
                  <a:pos x="6416" y="423"/>
                </a:cxn>
                <a:cxn ang="0">
                  <a:pos x="6354" y="462"/>
                </a:cxn>
                <a:cxn ang="0">
                  <a:pos x="6215" y="553"/>
                </a:cxn>
                <a:cxn ang="0">
                  <a:pos x="5847" y="624"/>
                </a:cxn>
                <a:cxn ang="0">
                  <a:pos x="5508" y="381"/>
                </a:cxn>
                <a:cxn ang="0">
                  <a:pos x="5406" y="286"/>
                </a:cxn>
                <a:cxn ang="0">
                  <a:pos x="5170" y="277"/>
                </a:cxn>
                <a:cxn ang="0">
                  <a:pos x="5098" y="286"/>
                </a:cxn>
                <a:cxn ang="0">
                  <a:pos x="4791" y="669"/>
                </a:cxn>
                <a:cxn ang="0">
                  <a:pos x="3179" y="790"/>
                </a:cxn>
                <a:cxn ang="0">
                  <a:pos x="0" y="1083"/>
                </a:cxn>
                <a:cxn ang="0">
                  <a:pos x="4484" y="1107"/>
                </a:cxn>
                <a:cxn ang="0">
                  <a:pos x="8172" y="1107"/>
                </a:cxn>
                <a:cxn ang="0">
                  <a:pos x="11861" y="1107"/>
                </a:cxn>
                <a:cxn ang="0">
                  <a:pos x="14116" y="624"/>
                </a:cxn>
                <a:cxn ang="0">
                  <a:pos x="13880" y="368"/>
                </a:cxn>
                <a:cxn ang="0">
                  <a:pos x="13644" y="512"/>
                </a:cxn>
                <a:cxn ang="0">
                  <a:pos x="13214" y="512"/>
                </a:cxn>
                <a:cxn ang="0">
                  <a:pos x="12630" y="558"/>
                </a:cxn>
                <a:cxn ang="0">
                  <a:pos x="12476" y="440"/>
                </a:cxn>
                <a:cxn ang="0">
                  <a:pos x="12312" y="0"/>
                </a:cxn>
                <a:cxn ang="0">
                  <a:pos x="12260" y="440"/>
                </a:cxn>
                <a:cxn ang="0">
                  <a:pos x="12179" y="388"/>
                </a:cxn>
                <a:cxn ang="0">
                  <a:pos x="12067" y="481"/>
                </a:cxn>
                <a:cxn ang="0">
                  <a:pos x="11937" y="309"/>
                </a:cxn>
                <a:cxn ang="0">
                  <a:pos x="11897" y="272"/>
                </a:cxn>
                <a:cxn ang="0">
                  <a:pos x="11854" y="309"/>
                </a:cxn>
                <a:cxn ang="0">
                  <a:pos x="11814" y="272"/>
                </a:cxn>
                <a:cxn ang="0">
                  <a:pos x="11769" y="327"/>
                </a:cxn>
              </a:cxnLst>
              <a:rect l="0" t="0" r="r" b="b"/>
              <a:pathLst>
                <a:path w="14321" h="1147">
                  <a:moveTo>
                    <a:pt x="11379" y="624"/>
                  </a:moveTo>
                  <a:lnTo>
                    <a:pt x="11247" y="624"/>
                  </a:lnTo>
                  <a:lnTo>
                    <a:pt x="11042" y="409"/>
                  </a:lnTo>
                  <a:lnTo>
                    <a:pt x="10991" y="409"/>
                  </a:lnTo>
                  <a:lnTo>
                    <a:pt x="10969" y="398"/>
                  </a:lnTo>
                  <a:lnTo>
                    <a:pt x="10943" y="387"/>
                  </a:lnTo>
                  <a:lnTo>
                    <a:pt x="10883" y="370"/>
                  </a:lnTo>
                  <a:lnTo>
                    <a:pt x="10849" y="364"/>
                  </a:lnTo>
                  <a:lnTo>
                    <a:pt x="10813" y="360"/>
                  </a:lnTo>
                  <a:lnTo>
                    <a:pt x="10776" y="357"/>
                  </a:lnTo>
                  <a:lnTo>
                    <a:pt x="10736" y="356"/>
                  </a:lnTo>
                  <a:lnTo>
                    <a:pt x="10699" y="357"/>
                  </a:lnTo>
                  <a:lnTo>
                    <a:pt x="10663" y="360"/>
                  </a:lnTo>
                  <a:lnTo>
                    <a:pt x="10595" y="369"/>
                  </a:lnTo>
                  <a:lnTo>
                    <a:pt x="10536" y="386"/>
                  </a:lnTo>
                  <a:lnTo>
                    <a:pt x="10511" y="396"/>
                  </a:lnTo>
                  <a:lnTo>
                    <a:pt x="10488" y="406"/>
                  </a:lnTo>
                  <a:lnTo>
                    <a:pt x="10488" y="256"/>
                  </a:lnTo>
                  <a:lnTo>
                    <a:pt x="10468" y="256"/>
                  </a:lnTo>
                  <a:lnTo>
                    <a:pt x="10468" y="409"/>
                  </a:lnTo>
                  <a:lnTo>
                    <a:pt x="10447" y="409"/>
                  </a:lnTo>
                  <a:lnTo>
                    <a:pt x="10447" y="256"/>
                  </a:lnTo>
                  <a:lnTo>
                    <a:pt x="10427" y="256"/>
                  </a:lnTo>
                  <a:lnTo>
                    <a:pt x="10427" y="409"/>
                  </a:lnTo>
                  <a:lnTo>
                    <a:pt x="10222" y="624"/>
                  </a:lnTo>
                  <a:lnTo>
                    <a:pt x="10150" y="624"/>
                  </a:lnTo>
                  <a:lnTo>
                    <a:pt x="10150" y="512"/>
                  </a:lnTo>
                  <a:lnTo>
                    <a:pt x="10058" y="512"/>
                  </a:lnTo>
                  <a:lnTo>
                    <a:pt x="10058" y="388"/>
                  </a:lnTo>
                  <a:lnTo>
                    <a:pt x="9997" y="388"/>
                  </a:lnTo>
                  <a:lnTo>
                    <a:pt x="9997" y="512"/>
                  </a:lnTo>
                  <a:lnTo>
                    <a:pt x="9976" y="512"/>
                  </a:lnTo>
                  <a:lnTo>
                    <a:pt x="9976" y="388"/>
                  </a:lnTo>
                  <a:lnTo>
                    <a:pt x="9914" y="388"/>
                  </a:lnTo>
                  <a:lnTo>
                    <a:pt x="9914" y="512"/>
                  </a:lnTo>
                  <a:lnTo>
                    <a:pt x="9884" y="512"/>
                  </a:lnTo>
                  <a:lnTo>
                    <a:pt x="9884" y="624"/>
                  </a:lnTo>
                  <a:lnTo>
                    <a:pt x="9843" y="624"/>
                  </a:lnTo>
                  <a:lnTo>
                    <a:pt x="9843" y="409"/>
                  </a:lnTo>
                  <a:lnTo>
                    <a:pt x="9812" y="409"/>
                  </a:lnTo>
                  <a:lnTo>
                    <a:pt x="9812" y="307"/>
                  </a:lnTo>
                  <a:lnTo>
                    <a:pt x="9709" y="307"/>
                  </a:lnTo>
                  <a:lnTo>
                    <a:pt x="9709" y="409"/>
                  </a:lnTo>
                  <a:lnTo>
                    <a:pt x="9679" y="409"/>
                  </a:lnTo>
                  <a:lnTo>
                    <a:pt x="9679" y="358"/>
                  </a:lnTo>
                  <a:lnTo>
                    <a:pt x="9504" y="358"/>
                  </a:lnTo>
                  <a:lnTo>
                    <a:pt x="9504" y="409"/>
                  </a:lnTo>
                  <a:lnTo>
                    <a:pt x="9464" y="409"/>
                  </a:lnTo>
                  <a:lnTo>
                    <a:pt x="9464" y="388"/>
                  </a:lnTo>
                  <a:lnTo>
                    <a:pt x="9166" y="388"/>
                  </a:lnTo>
                  <a:lnTo>
                    <a:pt x="9166" y="409"/>
                  </a:lnTo>
                  <a:lnTo>
                    <a:pt x="9125" y="409"/>
                  </a:lnTo>
                  <a:lnTo>
                    <a:pt x="9125" y="624"/>
                  </a:lnTo>
                  <a:lnTo>
                    <a:pt x="9047" y="624"/>
                  </a:lnTo>
                  <a:lnTo>
                    <a:pt x="9045" y="618"/>
                  </a:lnTo>
                  <a:lnTo>
                    <a:pt x="9036" y="612"/>
                  </a:lnTo>
                  <a:lnTo>
                    <a:pt x="9024" y="607"/>
                  </a:lnTo>
                  <a:lnTo>
                    <a:pt x="9007" y="604"/>
                  </a:lnTo>
                  <a:lnTo>
                    <a:pt x="8966" y="598"/>
                  </a:lnTo>
                  <a:lnTo>
                    <a:pt x="8919" y="596"/>
                  </a:lnTo>
                  <a:lnTo>
                    <a:pt x="8872" y="598"/>
                  </a:lnTo>
                  <a:lnTo>
                    <a:pt x="8831" y="604"/>
                  </a:lnTo>
                  <a:lnTo>
                    <a:pt x="8815" y="607"/>
                  </a:lnTo>
                  <a:lnTo>
                    <a:pt x="8801" y="612"/>
                  </a:lnTo>
                  <a:lnTo>
                    <a:pt x="8794" y="618"/>
                  </a:lnTo>
                  <a:lnTo>
                    <a:pt x="8791" y="624"/>
                  </a:lnTo>
                  <a:lnTo>
                    <a:pt x="8675" y="624"/>
                  </a:lnTo>
                  <a:lnTo>
                    <a:pt x="8675" y="542"/>
                  </a:lnTo>
                  <a:lnTo>
                    <a:pt x="8582" y="542"/>
                  </a:lnTo>
                  <a:lnTo>
                    <a:pt x="8582" y="563"/>
                  </a:lnTo>
                  <a:lnTo>
                    <a:pt x="8500" y="563"/>
                  </a:lnTo>
                  <a:lnTo>
                    <a:pt x="8500" y="481"/>
                  </a:lnTo>
                  <a:lnTo>
                    <a:pt x="8500" y="215"/>
                  </a:lnTo>
                  <a:lnTo>
                    <a:pt x="8480" y="215"/>
                  </a:lnTo>
                  <a:lnTo>
                    <a:pt x="8480" y="184"/>
                  </a:lnTo>
                  <a:lnTo>
                    <a:pt x="8439" y="184"/>
                  </a:lnTo>
                  <a:lnTo>
                    <a:pt x="8439" y="215"/>
                  </a:lnTo>
                  <a:lnTo>
                    <a:pt x="8418" y="215"/>
                  </a:lnTo>
                  <a:lnTo>
                    <a:pt x="8418" y="184"/>
                  </a:lnTo>
                  <a:lnTo>
                    <a:pt x="8378" y="184"/>
                  </a:lnTo>
                  <a:lnTo>
                    <a:pt x="8378" y="215"/>
                  </a:lnTo>
                  <a:lnTo>
                    <a:pt x="8326" y="215"/>
                  </a:lnTo>
                  <a:lnTo>
                    <a:pt x="8326" y="368"/>
                  </a:lnTo>
                  <a:lnTo>
                    <a:pt x="8214" y="481"/>
                  </a:lnTo>
                  <a:lnTo>
                    <a:pt x="8214" y="624"/>
                  </a:lnTo>
                  <a:lnTo>
                    <a:pt x="8173" y="624"/>
                  </a:lnTo>
                  <a:lnTo>
                    <a:pt x="8173" y="563"/>
                  </a:lnTo>
                  <a:lnTo>
                    <a:pt x="8111" y="563"/>
                  </a:lnTo>
                  <a:lnTo>
                    <a:pt x="8111" y="624"/>
                  </a:lnTo>
                  <a:lnTo>
                    <a:pt x="8090" y="624"/>
                  </a:lnTo>
                  <a:lnTo>
                    <a:pt x="8090" y="553"/>
                  </a:lnTo>
                  <a:lnTo>
                    <a:pt x="8069" y="553"/>
                  </a:lnTo>
                  <a:lnTo>
                    <a:pt x="8069" y="533"/>
                  </a:lnTo>
                  <a:lnTo>
                    <a:pt x="7978" y="533"/>
                  </a:lnTo>
                  <a:lnTo>
                    <a:pt x="7978" y="553"/>
                  </a:lnTo>
                  <a:lnTo>
                    <a:pt x="7803" y="553"/>
                  </a:lnTo>
                  <a:lnTo>
                    <a:pt x="7803" y="512"/>
                  </a:lnTo>
                  <a:lnTo>
                    <a:pt x="7783" y="512"/>
                  </a:lnTo>
                  <a:lnTo>
                    <a:pt x="7783" y="492"/>
                  </a:lnTo>
                  <a:lnTo>
                    <a:pt x="7762" y="492"/>
                  </a:lnTo>
                  <a:lnTo>
                    <a:pt x="7762" y="512"/>
                  </a:lnTo>
                  <a:lnTo>
                    <a:pt x="7742" y="512"/>
                  </a:lnTo>
                  <a:lnTo>
                    <a:pt x="7742" y="492"/>
                  </a:lnTo>
                  <a:lnTo>
                    <a:pt x="7721" y="492"/>
                  </a:lnTo>
                  <a:lnTo>
                    <a:pt x="7721" y="512"/>
                  </a:lnTo>
                  <a:lnTo>
                    <a:pt x="7692" y="512"/>
                  </a:lnTo>
                  <a:lnTo>
                    <a:pt x="7692" y="462"/>
                  </a:lnTo>
                  <a:lnTo>
                    <a:pt x="7680" y="462"/>
                  </a:lnTo>
                  <a:lnTo>
                    <a:pt x="7677" y="455"/>
                  </a:lnTo>
                  <a:lnTo>
                    <a:pt x="7670" y="449"/>
                  </a:lnTo>
                  <a:lnTo>
                    <a:pt x="7661" y="444"/>
                  </a:lnTo>
                  <a:lnTo>
                    <a:pt x="7650" y="441"/>
                  </a:lnTo>
                  <a:lnTo>
                    <a:pt x="7650" y="429"/>
                  </a:lnTo>
                  <a:lnTo>
                    <a:pt x="7644" y="429"/>
                  </a:lnTo>
                  <a:lnTo>
                    <a:pt x="7644" y="338"/>
                  </a:lnTo>
                  <a:lnTo>
                    <a:pt x="7635" y="338"/>
                  </a:lnTo>
                  <a:lnTo>
                    <a:pt x="7635" y="429"/>
                  </a:lnTo>
                  <a:lnTo>
                    <a:pt x="7629" y="429"/>
                  </a:lnTo>
                  <a:lnTo>
                    <a:pt x="7629" y="441"/>
                  </a:lnTo>
                  <a:lnTo>
                    <a:pt x="7618" y="444"/>
                  </a:lnTo>
                  <a:lnTo>
                    <a:pt x="7609" y="449"/>
                  </a:lnTo>
                  <a:lnTo>
                    <a:pt x="7602" y="455"/>
                  </a:lnTo>
                  <a:lnTo>
                    <a:pt x="7599" y="462"/>
                  </a:lnTo>
                  <a:lnTo>
                    <a:pt x="7586" y="462"/>
                  </a:lnTo>
                  <a:lnTo>
                    <a:pt x="7586" y="512"/>
                  </a:lnTo>
                  <a:lnTo>
                    <a:pt x="7558" y="512"/>
                  </a:lnTo>
                  <a:lnTo>
                    <a:pt x="7558" y="492"/>
                  </a:lnTo>
                  <a:lnTo>
                    <a:pt x="7537" y="492"/>
                  </a:lnTo>
                  <a:lnTo>
                    <a:pt x="7537" y="512"/>
                  </a:lnTo>
                  <a:lnTo>
                    <a:pt x="7517" y="512"/>
                  </a:lnTo>
                  <a:lnTo>
                    <a:pt x="7517" y="492"/>
                  </a:lnTo>
                  <a:lnTo>
                    <a:pt x="7496" y="492"/>
                  </a:lnTo>
                  <a:lnTo>
                    <a:pt x="7496" y="512"/>
                  </a:lnTo>
                  <a:lnTo>
                    <a:pt x="7476" y="512"/>
                  </a:lnTo>
                  <a:lnTo>
                    <a:pt x="7476" y="583"/>
                  </a:lnTo>
                  <a:lnTo>
                    <a:pt x="7414" y="583"/>
                  </a:lnTo>
                  <a:lnTo>
                    <a:pt x="7414" y="533"/>
                  </a:lnTo>
                  <a:lnTo>
                    <a:pt x="7394" y="533"/>
                  </a:lnTo>
                  <a:lnTo>
                    <a:pt x="7394" y="583"/>
                  </a:lnTo>
                  <a:lnTo>
                    <a:pt x="7383" y="583"/>
                  </a:lnTo>
                  <a:lnTo>
                    <a:pt x="7383" y="533"/>
                  </a:lnTo>
                  <a:lnTo>
                    <a:pt x="7363" y="533"/>
                  </a:lnTo>
                  <a:lnTo>
                    <a:pt x="7363" y="583"/>
                  </a:lnTo>
                  <a:lnTo>
                    <a:pt x="7353" y="583"/>
                  </a:lnTo>
                  <a:lnTo>
                    <a:pt x="7353" y="624"/>
                  </a:lnTo>
                  <a:lnTo>
                    <a:pt x="7260" y="624"/>
                  </a:lnTo>
                  <a:lnTo>
                    <a:pt x="7260" y="512"/>
                  </a:lnTo>
                  <a:lnTo>
                    <a:pt x="7240" y="512"/>
                  </a:lnTo>
                  <a:lnTo>
                    <a:pt x="7240" y="492"/>
                  </a:lnTo>
                  <a:lnTo>
                    <a:pt x="7147" y="492"/>
                  </a:lnTo>
                  <a:lnTo>
                    <a:pt x="7147" y="512"/>
                  </a:lnTo>
                  <a:lnTo>
                    <a:pt x="7127" y="512"/>
                  </a:lnTo>
                  <a:lnTo>
                    <a:pt x="7127" y="492"/>
                  </a:lnTo>
                  <a:lnTo>
                    <a:pt x="7035" y="492"/>
                  </a:lnTo>
                  <a:lnTo>
                    <a:pt x="7035" y="512"/>
                  </a:lnTo>
                  <a:lnTo>
                    <a:pt x="7015" y="512"/>
                  </a:lnTo>
                  <a:lnTo>
                    <a:pt x="7015" y="492"/>
                  </a:lnTo>
                  <a:lnTo>
                    <a:pt x="6922" y="492"/>
                  </a:lnTo>
                  <a:lnTo>
                    <a:pt x="6922" y="512"/>
                  </a:lnTo>
                  <a:lnTo>
                    <a:pt x="6901" y="512"/>
                  </a:lnTo>
                  <a:lnTo>
                    <a:pt x="6901" y="624"/>
                  </a:lnTo>
                  <a:lnTo>
                    <a:pt x="6881" y="624"/>
                  </a:lnTo>
                  <a:lnTo>
                    <a:pt x="6881" y="195"/>
                  </a:lnTo>
                  <a:lnTo>
                    <a:pt x="6758" y="195"/>
                  </a:lnTo>
                  <a:lnTo>
                    <a:pt x="6758" y="624"/>
                  </a:lnTo>
                  <a:lnTo>
                    <a:pt x="6738" y="624"/>
                  </a:lnTo>
                  <a:lnTo>
                    <a:pt x="6738" y="135"/>
                  </a:lnTo>
                  <a:lnTo>
                    <a:pt x="6661" y="135"/>
                  </a:lnTo>
                  <a:lnTo>
                    <a:pt x="6661" y="405"/>
                  </a:lnTo>
                  <a:lnTo>
                    <a:pt x="6615" y="405"/>
                  </a:lnTo>
                  <a:lnTo>
                    <a:pt x="6615" y="624"/>
                  </a:lnTo>
                  <a:lnTo>
                    <a:pt x="6553" y="624"/>
                  </a:lnTo>
                  <a:lnTo>
                    <a:pt x="6553" y="471"/>
                  </a:lnTo>
                  <a:lnTo>
                    <a:pt x="6515" y="471"/>
                  </a:lnTo>
                  <a:lnTo>
                    <a:pt x="6506" y="462"/>
                  </a:lnTo>
                  <a:lnTo>
                    <a:pt x="6494" y="453"/>
                  </a:lnTo>
                  <a:lnTo>
                    <a:pt x="6479" y="447"/>
                  </a:lnTo>
                  <a:lnTo>
                    <a:pt x="6461" y="443"/>
                  </a:lnTo>
                  <a:lnTo>
                    <a:pt x="6458" y="434"/>
                  </a:lnTo>
                  <a:lnTo>
                    <a:pt x="6452" y="428"/>
                  </a:lnTo>
                  <a:lnTo>
                    <a:pt x="6445" y="423"/>
                  </a:lnTo>
                  <a:lnTo>
                    <a:pt x="6435" y="420"/>
                  </a:lnTo>
                  <a:lnTo>
                    <a:pt x="6435" y="318"/>
                  </a:lnTo>
                  <a:lnTo>
                    <a:pt x="6425" y="318"/>
                  </a:lnTo>
                  <a:lnTo>
                    <a:pt x="6425" y="420"/>
                  </a:lnTo>
                  <a:lnTo>
                    <a:pt x="6416" y="423"/>
                  </a:lnTo>
                  <a:lnTo>
                    <a:pt x="6408" y="428"/>
                  </a:lnTo>
                  <a:lnTo>
                    <a:pt x="6403" y="434"/>
                  </a:lnTo>
                  <a:lnTo>
                    <a:pt x="6399" y="443"/>
                  </a:lnTo>
                  <a:lnTo>
                    <a:pt x="6381" y="447"/>
                  </a:lnTo>
                  <a:lnTo>
                    <a:pt x="6366" y="453"/>
                  </a:lnTo>
                  <a:lnTo>
                    <a:pt x="6354" y="462"/>
                  </a:lnTo>
                  <a:lnTo>
                    <a:pt x="6349" y="467"/>
                  </a:lnTo>
                  <a:lnTo>
                    <a:pt x="6346" y="471"/>
                  </a:lnTo>
                  <a:lnTo>
                    <a:pt x="6317" y="471"/>
                  </a:lnTo>
                  <a:lnTo>
                    <a:pt x="6317" y="624"/>
                  </a:lnTo>
                  <a:lnTo>
                    <a:pt x="6215" y="624"/>
                  </a:lnTo>
                  <a:lnTo>
                    <a:pt x="6215" y="553"/>
                  </a:lnTo>
                  <a:lnTo>
                    <a:pt x="6041" y="553"/>
                  </a:lnTo>
                  <a:lnTo>
                    <a:pt x="6041" y="624"/>
                  </a:lnTo>
                  <a:lnTo>
                    <a:pt x="6020" y="624"/>
                  </a:lnTo>
                  <a:lnTo>
                    <a:pt x="6020" y="553"/>
                  </a:lnTo>
                  <a:lnTo>
                    <a:pt x="5847" y="553"/>
                  </a:lnTo>
                  <a:lnTo>
                    <a:pt x="5847" y="624"/>
                  </a:lnTo>
                  <a:lnTo>
                    <a:pt x="5815" y="624"/>
                  </a:lnTo>
                  <a:lnTo>
                    <a:pt x="5815" y="512"/>
                  </a:lnTo>
                  <a:lnTo>
                    <a:pt x="5713" y="512"/>
                  </a:lnTo>
                  <a:lnTo>
                    <a:pt x="5713" y="492"/>
                  </a:lnTo>
                  <a:lnTo>
                    <a:pt x="5618" y="492"/>
                  </a:lnTo>
                  <a:lnTo>
                    <a:pt x="5508" y="381"/>
                  </a:lnTo>
                  <a:lnTo>
                    <a:pt x="5508" y="286"/>
                  </a:lnTo>
                  <a:lnTo>
                    <a:pt x="5498" y="286"/>
                  </a:lnTo>
                  <a:lnTo>
                    <a:pt x="5498" y="277"/>
                  </a:lnTo>
                  <a:lnTo>
                    <a:pt x="5416" y="277"/>
                  </a:lnTo>
                  <a:lnTo>
                    <a:pt x="5416" y="286"/>
                  </a:lnTo>
                  <a:lnTo>
                    <a:pt x="5406" y="286"/>
                  </a:lnTo>
                  <a:lnTo>
                    <a:pt x="5406" y="358"/>
                  </a:lnTo>
                  <a:lnTo>
                    <a:pt x="5200" y="358"/>
                  </a:lnTo>
                  <a:lnTo>
                    <a:pt x="5200" y="286"/>
                  </a:lnTo>
                  <a:lnTo>
                    <a:pt x="5191" y="286"/>
                  </a:lnTo>
                  <a:lnTo>
                    <a:pt x="5191" y="277"/>
                  </a:lnTo>
                  <a:lnTo>
                    <a:pt x="5170" y="277"/>
                  </a:lnTo>
                  <a:lnTo>
                    <a:pt x="5159" y="274"/>
                  </a:lnTo>
                  <a:lnTo>
                    <a:pt x="5139" y="274"/>
                  </a:lnTo>
                  <a:lnTo>
                    <a:pt x="5129" y="277"/>
                  </a:lnTo>
                  <a:lnTo>
                    <a:pt x="5109" y="277"/>
                  </a:lnTo>
                  <a:lnTo>
                    <a:pt x="5109" y="286"/>
                  </a:lnTo>
                  <a:lnTo>
                    <a:pt x="5098" y="286"/>
                  </a:lnTo>
                  <a:lnTo>
                    <a:pt x="5098" y="374"/>
                  </a:lnTo>
                  <a:lnTo>
                    <a:pt x="4980" y="492"/>
                  </a:lnTo>
                  <a:lnTo>
                    <a:pt x="4893" y="492"/>
                  </a:lnTo>
                  <a:lnTo>
                    <a:pt x="4893" y="512"/>
                  </a:lnTo>
                  <a:lnTo>
                    <a:pt x="4791" y="512"/>
                  </a:lnTo>
                  <a:lnTo>
                    <a:pt x="4791" y="669"/>
                  </a:lnTo>
                  <a:lnTo>
                    <a:pt x="4639" y="669"/>
                  </a:lnTo>
                  <a:lnTo>
                    <a:pt x="4639" y="575"/>
                  </a:lnTo>
                  <a:lnTo>
                    <a:pt x="4244" y="586"/>
                  </a:lnTo>
                  <a:lnTo>
                    <a:pt x="4239" y="693"/>
                  </a:lnTo>
                  <a:lnTo>
                    <a:pt x="3708" y="741"/>
                  </a:lnTo>
                  <a:lnTo>
                    <a:pt x="3179" y="790"/>
                  </a:lnTo>
                  <a:lnTo>
                    <a:pt x="2649" y="838"/>
                  </a:lnTo>
                  <a:lnTo>
                    <a:pt x="2119" y="887"/>
                  </a:lnTo>
                  <a:lnTo>
                    <a:pt x="1589" y="935"/>
                  </a:lnTo>
                  <a:lnTo>
                    <a:pt x="1060" y="985"/>
                  </a:lnTo>
                  <a:lnTo>
                    <a:pt x="530" y="1034"/>
                  </a:lnTo>
                  <a:lnTo>
                    <a:pt x="0" y="1083"/>
                  </a:lnTo>
                  <a:lnTo>
                    <a:pt x="714" y="1099"/>
                  </a:lnTo>
                  <a:lnTo>
                    <a:pt x="1428" y="1115"/>
                  </a:lnTo>
                  <a:lnTo>
                    <a:pt x="2142" y="1130"/>
                  </a:lnTo>
                  <a:lnTo>
                    <a:pt x="2857" y="1147"/>
                  </a:lnTo>
                  <a:lnTo>
                    <a:pt x="3670" y="1127"/>
                  </a:lnTo>
                  <a:lnTo>
                    <a:pt x="4484" y="1107"/>
                  </a:lnTo>
                  <a:lnTo>
                    <a:pt x="5098" y="1107"/>
                  </a:lnTo>
                  <a:lnTo>
                    <a:pt x="5713" y="1107"/>
                  </a:lnTo>
                  <a:lnTo>
                    <a:pt x="6327" y="1107"/>
                  </a:lnTo>
                  <a:lnTo>
                    <a:pt x="6942" y="1107"/>
                  </a:lnTo>
                  <a:lnTo>
                    <a:pt x="7556" y="1107"/>
                  </a:lnTo>
                  <a:lnTo>
                    <a:pt x="8172" y="1107"/>
                  </a:lnTo>
                  <a:lnTo>
                    <a:pt x="8787" y="1107"/>
                  </a:lnTo>
                  <a:lnTo>
                    <a:pt x="9402" y="1107"/>
                  </a:lnTo>
                  <a:lnTo>
                    <a:pt x="10016" y="1107"/>
                  </a:lnTo>
                  <a:lnTo>
                    <a:pt x="10631" y="1107"/>
                  </a:lnTo>
                  <a:lnTo>
                    <a:pt x="11245" y="1107"/>
                  </a:lnTo>
                  <a:lnTo>
                    <a:pt x="11861" y="1107"/>
                  </a:lnTo>
                  <a:lnTo>
                    <a:pt x="12475" y="1107"/>
                  </a:lnTo>
                  <a:lnTo>
                    <a:pt x="13090" y="1107"/>
                  </a:lnTo>
                  <a:lnTo>
                    <a:pt x="13705" y="1107"/>
                  </a:lnTo>
                  <a:lnTo>
                    <a:pt x="14321" y="1107"/>
                  </a:lnTo>
                  <a:lnTo>
                    <a:pt x="14321" y="624"/>
                  </a:lnTo>
                  <a:lnTo>
                    <a:pt x="14116" y="624"/>
                  </a:lnTo>
                  <a:lnTo>
                    <a:pt x="14116" y="368"/>
                  </a:lnTo>
                  <a:lnTo>
                    <a:pt x="14075" y="368"/>
                  </a:lnTo>
                  <a:lnTo>
                    <a:pt x="14075" y="184"/>
                  </a:lnTo>
                  <a:lnTo>
                    <a:pt x="13900" y="184"/>
                  </a:lnTo>
                  <a:lnTo>
                    <a:pt x="13900" y="368"/>
                  </a:lnTo>
                  <a:lnTo>
                    <a:pt x="13880" y="368"/>
                  </a:lnTo>
                  <a:lnTo>
                    <a:pt x="13880" y="277"/>
                  </a:lnTo>
                  <a:lnTo>
                    <a:pt x="13705" y="277"/>
                  </a:lnTo>
                  <a:lnTo>
                    <a:pt x="13705" y="368"/>
                  </a:lnTo>
                  <a:lnTo>
                    <a:pt x="13705" y="624"/>
                  </a:lnTo>
                  <a:lnTo>
                    <a:pt x="13644" y="624"/>
                  </a:lnTo>
                  <a:lnTo>
                    <a:pt x="13644" y="512"/>
                  </a:lnTo>
                  <a:lnTo>
                    <a:pt x="13532" y="512"/>
                  </a:lnTo>
                  <a:lnTo>
                    <a:pt x="13532" y="440"/>
                  </a:lnTo>
                  <a:lnTo>
                    <a:pt x="13316" y="348"/>
                  </a:lnTo>
                  <a:lnTo>
                    <a:pt x="13316" y="392"/>
                  </a:lnTo>
                  <a:lnTo>
                    <a:pt x="13214" y="348"/>
                  </a:lnTo>
                  <a:lnTo>
                    <a:pt x="13214" y="512"/>
                  </a:lnTo>
                  <a:lnTo>
                    <a:pt x="13112" y="512"/>
                  </a:lnTo>
                  <a:lnTo>
                    <a:pt x="13112" y="624"/>
                  </a:lnTo>
                  <a:lnTo>
                    <a:pt x="13080" y="624"/>
                  </a:lnTo>
                  <a:lnTo>
                    <a:pt x="12640" y="624"/>
                  </a:lnTo>
                  <a:lnTo>
                    <a:pt x="12630" y="624"/>
                  </a:lnTo>
                  <a:lnTo>
                    <a:pt x="12630" y="558"/>
                  </a:lnTo>
                  <a:lnTo>
                    <a:pt x="12537" y="558"/>
                  </a:lnTo>
                  <a:lnTo>
                    <a:pt x="12537" y="624"/>
                  </a:lnTo>
                  <a:lnTo>
                    <a:pt x="12528" y="624"/>
                  </a:lnTo>
                  <a:lnTo>
                    <a:pt x="12528" y="522"/>
                  </a:lnTo>
                  <a:lnTo>
                    <a:pt x="12476" y="522"/>
                  </a:lnTo>
                  <a:lnTo>
                    <a:pt x="12476" y="440"/>
                  </a:lnTo>
                  <a:lnTo>
                    <a:pt x="12344" y="440"/>
                  </a:lnTo>
                  <a:lnTo>
                    <a:pt x="12344" y="379"/>
                  </a:lnTo>
                  <a:lnTo>
                    <a:pt x="12333" y="379"/>
                  </a:lnTo>
                  <a:lnTo>
                    <a:pt x="12333" y="123"/>
                  </a:lnTo>
                  <a:lnTo>
                    <a:pt x="12312" y="123"/>
                  </a:lnTo>
                  <a:lnTo>
                    <a:pt x="12312" y="0"/>
                  </a:lnTo>
                  <a:lnTo>
                    <a:pt x="12292" y="0"/>
                  </a:lnTo>
                  <a:lnTo>
                    <a:pt x="12292" y="123"/>
                  </a:lnTo>
                  <a:lnTo>
                    <a:pt x="12271" y="123"/>
                  </a:lnTo>
                  <a:lnTo>
                    <a:pt x="12271" y="379"/>
                  </a:lnTo>
                  <a:lnTo>
                    <a:pt x="12260" y="379"/>
                  </a:lnTo>
                  <a:lnTo>
                    <a:pt x="12260" y="440"/>
                  </a:lnTo>
                  <a:lnTo>
                    <a:pt x="12240" y="440"/>
                  </a:lnTo>
                  <a:lnTo>
                    <a:pt x="12240" y="266"/>
                  </a:lnTo>
                  <a:lnTo>
                    <a:pt x="12189" y="266"/>
                  </a:lnTo>
                  <a:lnTo>
                    <a:pt x="12189" y="440"/>
                  </a:lnTo>
                  <a:lnTo>
                    <a:pt x="12179" y="440"/>
                  </a:lnTo>
                  <a:lnTo>
                    <a:pt x="12179" y="388"/>
                  </a:lnTo>
                  <a:lnTo>
                    <a:pt x="12097" y="388"/>
                  </a:lnTo>
                  <a:lnTo>
                    <a:pt x="12097" y="440"/>
                  </a:lnTo>
                  <a:lnTo>
                    <a:pt x="12087" y="440"/>
                  </a:lnTo>
                  <a:lnTo>
                    <a:pt x="12087" y="522"/>
                  </a:lnTo>
                  <a:lnTo>
                    <a:pt x="12067" y="522"/>
                  </a:lnTo>
                  <a:lnTo>
                    <a:pt x="12067" y="481"/>
                  </a:lnTo>
                  <a:lnTo>
                    <a:pt x="11994" y="481"/>
                  </a:lnTo>
                  <a:lnTo>
                    <a:pt x="11994" y="522"/>
                  </a:lnTo>
                  <a:lnTo>
                    <a:pt x="11964" y="522"/>
                  </a:lnTo>
                  <a:lnTo>
                    <a:pt x="11964" y="338"/>
                  </a:lnTo>
                  <a:lnTo>
                    <a:pt x="11941" y="338"/>
                  </a:lnTo>
                  <a:lnTo>
                    <a:pt x="11937" y="309"/>
                  </a:lnTo>
                  <a:lnTo>
                    <a:pt x="11928" y="286"/>
                  </a:lnTo>
                  <a:lnTo>
                    <a:pt x="11919" y="272"/>
                  </a:lnTo>
                  <a:lnTo>
                    <a:pt x="11914" y="267"/>
                  </a:lnTo>
                  <a:lnTo>
                    <a:pt x="11908" y="266"/>
                  </a:lnTo>
                  <a:lnTo>
                    <a:pt x="11902" y="267"/>
                  </a:lnTo>
                  <a:lnTo>
                    <a:pt x="11897" y="272"/>
                  </a:lnTo>
                  <a:lnTo>
                    <a:pt x="11886" y="286"/>
                  </a:lnTo>
                  <a:lnTo>
                    <a:pt x="11882" y="297"/>
                  </a:lnTo>
                  <a:lnTo>
                    <a:pt x="11879" y="309"/>
                  </a:lnTo>
                  <a:lnTo>
                    <a:pt x="11874" y="338"/>
                  </a:lnTo>
                  <a:lnTo>
                    <a:pt x="11860" y="338"/>
                  </a:lnTo>
                  <a:lnTo>
                    <a:pt x="11854" y="309"/>
                  </a:lnTo>
                  <a:lnTo>
                    <a:pt x="11846" y="286"/>
                  </a:lnTo>
                  <a:lnTo>
                    <a:pt x="11837" y="272"/>
                  </a:lnTo>
                  <a:lnTo>
                    <a:pt x="11831" y="267"/>
                  </a:lnTo>
                  <a:lnTo>
                    <a:pt x="11826" y="266"/>
                  </a:lnTo>
                  <a:lnTo>
                    <a:pt x="11820" y="267"/>
                  </a:lnTo>
                  <a:lnTo>
                    <a:pt x="11814" y="272"/>
                  </a:lnTo>
                  <a:lnTo>
                    <a:pt x="11804" y="286"/>
                  </a:lnTo>
                  <a:lnTo>
                    <a:pt x="11801" y="297"/>
                  </a:lnTo>
                  <a:lnTo>
                    <a:pt x="11797" y="309"/>
                  </a:lnTo>
                  <a:lnTo>
                    <a:pt x="11792" y="338"/>
                  </a:lnTo>
                  <a:lnTo>
                    <a:pt x="11769" y="338"/>
                  </a:lnTo>
                  <a:lnTo>
                    <a:pt x="11769" y="327"/>
                  </a:lnTo>
                  <a:lnTo>
                    <a:pt x="11697" y="327"/>
                  </a:lnTo>
                  <a:lnTo>
                    <a:pt x="11697" y="522"/>
                  </a:lnTo>
                  <a:lnTo>
                    <a:pt x="11646" y="522"/>
                  </a:lnTo>
                  <a:lnTo>
                    <a:pt x="11379" y="6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39" name="Freeform 21"/>
            <p:cNvSpPr>
              <a:spLocks noEditPoints="1"/>
            </p:cNvSpPr>
            <p:nvPr userDrawn="1"/>
          </p:nvSpPr>
          <p:spPr bwMode="auto">
            <a:xfrm>
              <a:off x="3754438" y="6208713"/>
              <a:ext cx="708025" cy="350838"/>
            </a:xfrm>
            <a:custGeom>
              <a:avLst/>
              <a:gdLst/>
              <a:ahLst/>
              <a:cxnLst>
                <a:cxn ang="0">
                  <a:pos x="802" y="605"/>
                </a:cxn>
                <a:cxn ang="0">
                  <a:pos x="740" y="625"/>
                </a:cxn>
                <a:cxn ang="0">
                  <a:pos x="802" y="583"/>
                </a:cxn>
                <a:cxn ang="0">
                  <a:pos x="740" y="563"/>
                </a:cxn>
                <a:cxn ang="0">
                  <a:pos x="802" y="583"/>
                </a:cxn>
                <a:cxn ang="0">
                  <a:pos x="740" y="501"/>
                </a:cxn>
                <a:cxn ang="0">
                  <a:pos x="0" y="1107"/>
                </a:cxn>
                <a:cxn ang="0">
                  <a:pos x="1113" y="1107"/>
                </a:cxn>
                <a:cxn ang="0">
                  <a:pos x="2226" y="1107"/>
                </a:cxn>
                <a:cxn ang="0">
                  <a:pos x="2022" y="625"/>
                </a:cxn>
                <a:cxn ang="0">
                  <a:pos x="1981" y="369"/>
                </a:cxn>
                <a:cxn ang="0">
                  <a:pos x="1806" y="185"/>
                </a:cxn>
                <a:cxn ang="0">
                  <a:pos x="1786" y="369"/>
                </a:cxn>
                <a:cxn ang="0">
                  <a:pos x="1612" y="276"/>
                </a:cxn>
                <a:cxn ang="0">
                  <a:pos x="1612" y="625"/>
                </a:cxn>
                <a:cxn ang="0">
                  <a:pos x="1550" y="512"/>
                </a:cxn>
                <a:cxn ang="0">
                  <a:pos x="1438" y="440"/>
                </a:cxn>
                <a:cxn ang="0">
                  <a:pos x="1222" y="392"/>
                </a:cxn>
                <a:cxn ang="0">
                  <a:pos x="1120" y="512"/>
                </a:cxn>
                <a:cxn ang="0">
                  <a:pos x="1017" y="625"/>
                </a:cxn>
                <a:cxn ang="0">
                  <a:pos x="545" y="625"/>
                </a:cxn>
                <a:cxn ang="0">
                  <a:pos x="536" y="559"/>
                </a:cxn>
                <a:cxn ang="0">
                  <a:pos x="443" y="625"/>
                </a:cxn>
                <a:cxn ang="0">
                  <a:pos x="433" y="522"/>
                </a:cxn>
                <a:cxn ang="0">
                  <a:pos x="382" y="440"/>
                </a:cxn>
                <a:cxn ang="0">
                  <a:pos x="249" y="379"/>
                </a:cxn>
                <a:cxn ang="0">
                  <a:pos x="238" y="123"/>
                </a:cxn>
                <a:cxn ang="0">
                  <a:pos x="218" y="0"/>
                </a:cxn>
                <a:cxn ang="0">
                  <a:pos x="197" y="123"/>
                </a:cxn>
                <a:cxn ang="0">
                  <a:pos x="177" y="379"/>
                </a:cxn>
                <a:cxn ang="0">
                  <a:pos x="166" y="440"/>
                </a:cxn>
                <a:cxn ang="0">
                  <a:pos x="146" y="267"/>
                </a:cxn>
                <a:cxn ang="0">
                  <a:pos x="95" y="440"/>
                </a:cxn>
                <a:cxn ang="0">
                  <a:pos x="84" y="389"/>
                </a:cxn>
                <a:cxn ang="0">
                  <a:pos x="0" y="1107"/>
                </a:cxn>
              </a:cxnLst>
              <a:rect l="0" t="0" r="r" b="b"/>
              <a:pathLst>
                <a:path w="2226" h="1107">
                  <a:moveTo>
                    <a:pt x="740" y="605"/>
                  </a:moveTo>
                  <a:lnTo>
                    <a:pt x="802" y="605"/>
                  </a:lnTo>
                  <a:lnTo>
                    <a:pt x="802" y="625"/>
                  </a:lnTo>
                  <a:lnTo>
                    <a:pt x="740" y="625"/>
                  </a:lnTo>
                  <a:lnTo>
                    <a:pt x="740" y="605"/>
                  </a:lnTo>
                  <a:close/>
                  <a:moveTo>
                    <a:pt x="802" y="583"/>
                  </a:moveTo>
                  <a:lnTo>
                    <a:pt x="740" y="583"/>
                  </a:lnTo>
                  <a:lnTo>
                    <a:pt x="740" y="563"/>
                  </a:lnTo>
                  <a:lnTo>
                    <a:pt x="802" y="563"/>
                  </a:lnTo>
                  <a:lnTo>
                    <a:pt x="802" y="583"/>
                  </a:lnTo>
                  <a:close/>
                  <a:moveTo>
                    <a:pt x="802" y="501"/>
                  </a:moveTo>
                  <a:lnTo>
                    <a:pt x="740" y="501"/>
                  </a:lnTo>
                  <a:lnTo>
                    <a:pt x="802" y="501"/>
                  </a:lnTo>
                  <a:close/>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0" name="Rectangle 22"/>
            <p:cNvSpPr>
              <a:spLocks noChangeArrowheads="1"/>
            </p:cNvSpPr>
            <p:nvPr userDrawn="1"/>
          </p:nvSpPr>
          <p:spPr bwMode="auto">
            <a:xfrm>
              <a:off x="3989388" y="6400801"/>
              <a:ext cx="2063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1" name="Rectangle 23"/>
            <p:cNvSpPr>
              <a:spLocks noChangeArrowheads="1"/>
            </p:cNvSpPr>
            <p:nvPr userDrawn="1"/>
          </p:nvSpPr>
          <p:spPr bwMode="auto">
            <a:xfrm>
              <a:off x="3989388" y="6386513"/>
              <a:ext cx="20638" cy="6350"/>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2" name="Freeform 24"/>
            <p:cNvSpPr>
              <a:spLocks/>
            </p:cNvSpPr>
            <p:nvPr userDrawn="1"/>
          </p:nvSpPr>
          <p:spPr bwMode="auto">
            <a:xfrm>
              <a:off x="3989388" y="6367463"/>
              <a:ext cx="20638" cy="1588"/>
            </a:xfrm>
            <a:custGeom>
              <a:avLst/>
              <a:gdLst/>
              <a:ahLst/>
              <a:cxnLst>
                <a:cxn ang="0">
                  <a:pos x="62" y="0"/>
                </a:cxn>
                <a:cxn ang="0">
                  <a:pos x="0" y="0"/>
                </a:cxn>
                <a:cxn ang="0">
                  <a:pos x="62" y="0"/>
                </a:cxn>
              </a:cxnLst>
              <a:rect l="0" t="0" r="r" b="b"/>
              <a:pathLst>
                <a:path w="62">
                  <a:moveTo>
                    <a:pt x="62" y="0"/>
                  </a:moveTo>
                  <a:lnTo>
                    <a:pt x="0" y="0"/>
                  </a:lnTo>
                  <a:lnTo>
                    <a:pt x="62"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3" name="Freeform 25"/>
            <p:cNvSpPr>
              <a:spLocks/>
            </p:cNvSpPr>
            <p:nvPr userDrawn="1"/>
          </p:nvSpPr>
          <p:spPr bwMode="auto">
            <a:xfrm>
              <a:off x="3754438" y="6208713"/>
              <a:ext cx="708025" cy="350838"/>
            </a:xfrm>
            <a:custGeom>
              <a:avLst/>
              <a:gdLst/>
              <a:ahLst/>
              <a:cxnLst>
                <a:cxn ang="0">
                  <a:pos x="0" y="1107"/>
                </a:cxn>
                <a:cxn ang="0">
                  <a:pos x="556" y="1107"/>
                </a:cxn>
                <a:cxn ang="0">
                  <a:pos x="1113" y="1107"/>
                </a:cxn>
                <a:cxn ang="0">
                  <a:pos x="1669" y="1107"/>
                </a:cxn>
                <a:cxn ang="0">
                  <a:pos x="2226" y="1107"/>
                </a:cxn>
                <a:cxn ang="0">
                  <a:pos x="2226" y="625"/>
                </a:cxn>
                <a:cxn ang="0">
                  <a:pos x="2022" y="625"/>
                </a:cxn>
                <a:cxn ang="0">
                  <a:pos x="2022" y="369"/>
                </a:cxn>
                <a:cxn ang="0">
                  <a:pos x="1981" y="369"/>
                </a:cxn>
                <a:cxn ang="0">
                  <a:pos x="1981" y="185"/>
                </a:cxn>
                <a:cxn ang="0">
                  <a:pos x="1806" y="185"/>
                </a:cxn>
                <a:cxn ang="0">
                  <a:pos x="1806" y="369"/>
                </a:cxn>
                <a:cxn ang="0">
                  <a:pos x="1786" y="369"/>
                </a:cxn>
                <a:cxn ang="0">
                  <a:pos x="1786" y="276"/>
                </a:cxn>
                <a:cxn ang="0">
                  <a:pos x="1612" y="276"/>
                </a:cxn>
                <a:cxn ang="0">
                  <a:pos x="1612" y="369"/>
                </a:cxn>
                <a:cxn ang="0">
                  <a:pos x="1612" y="625"/>
                </a:cxn>
                <a:cxn ang="0">
                  <a:pos x="1550" y="625"/>
                </a:cxn>
                <a:cxn ang="0">
                  <a:pos x="1550" y="512"/>
                </a:cxn>
                <a:cxn ang="0">
                  <a:pos x="1438" y="512"/>
                </a:cxn>
                <a:cxn ang="0">
                  <a:pos x="1438" y="440"/>
                </a:cxn>
                <a:cxn ang="0">
                  <a:pos x="1222" y="349"/>
                </a:cxn>
                <a:cxn ang="0">
                  <a:pos x="1222" y="392"/>
                </a:cxn>
                <a:cxn ang="0">
                  <a:pos x="1120" y="349"/>
                </a:cxn>
                <a:cxn ang="0">
                  <a:pos x="1120" y="512"/>
                </a:cxn>
                <a:cxn ang="0">
                  <a:pos x="1017" y="512"/>
                </a:cxn>
                <a:cxn ang="0">
                  <a:pos x="1017" y="625"/>
                </a:cxn>
                <a:cxn ang="0">
                  <a:pos x="986" y="625"/>
                </a:cxn>
                <a:cxn ang="0">
                  <a:pos x="545" y="625"/>
                </a:cxn>
                <a:cxn ang="0">
                  <a:pos x="536" y="625"/>
                </a:cxn>
                <a:cxn ang="0">
                  <a:pos x="536" y="559"/>
                </a:cxn>
                <a:cxn ang="0">
                  <a:pos x="443" y="559"/>
                </a:cxn>
                <a:cxn ang="0">
                  <a:pos x="443" y="625"/>
                </a:cxn>
                <a:cxn ang="0">
                  <a:pos x="433" y="625"/>
                </a:cxn>
                <a:cxn ang="0">
                  <a:pos x="433" y="522"/>
                </a:cxn>
                <a:cxn ang="0">
                  <a:pos x="382" y="522"/>
                </a:cxn>
                <a:cxn ang="0">
                  <a:pos x="382" y="440"/>
                </a:cxn>
                <a:cxn ang="0">
                  <a:pos x="249" y="440"/>
                </a:cxn>
                <a:cxn ang="0">
                  <a:pos x="249" y="379"/>
                </a:cxn>
                <a:cxn ang="0">
                  <a:pos x="238" y="379"/>
                </a:cxn>
                <a:cxn ang="0">
                  <a:pos x="238" y="123"/>
                </a:cxn>
                <a:cxn ang="0">
                  <a:pos x="218" y="123"/>
                </a:cxn>
                <a:cxn ang="0">
                  <a:pos x="218" y="0"/>
                </a:cxn>
                <a:cxn ang="0">
                  <a:pos x="197" y="0"/>
                </a:cxn>
                <a:cxn ang="0">
                  <a:pos x="197" y="123"/>
                </a:cxn>
                <a:cxn ang="0">
                  <a:pos x="177" y="123"/>
                </a:cxn>
                <a:cxn ang="0">
                  <a:pos x="177" y="379"/>
                </a:cxn>
                <a:cxn ang="0">
                  <a:pos x="166" y="379"/>
                </a:cxn>
                <a:cxn ang="0">
                  <a:pos x="166" y="440"/>
                </a:cxn>
                <a:cxn ang="0">
                  <a:pos x="146" y="440"/>
                </a:cxn>
                <a:cxn ang="0">
                  <a:pos x="146" y="267"/>
                </a:cxn>
                <a:cxn ang="0">
                  <a:pos x="95" y="267"/>
                </a:cxn>
                <a:cxn ang="0">
                  <a:pos x="95" y="440"/>
                </a:cxn>
                <a:cxn ang="0">
                  <a:pos x="84" y="440"/>
                </a:cxn>
                <a:cxn ang="0">
                  <a:pos x="84" y="389"/>
                </a:cxn>
                <a:cxn ang="0">
                  <a:pos x="2" y="389"/>
                </a:cxn>
                <a:cxn ang="0">
                  <a:pos x="0" y="1107"/>
                </a:cxn>
              </a:cxnLst>
              <a:rect l="0" t="0" r="r" b="b"/>
              <a:pathLst>
                <a:path w="2226" h="1107">
                  <a:moveTo>
                    <a:pt x="0" y="1107"/>
                  </a:moveTo>
                  <a:lnTo>
                    <a:pt x="556" y="1107"/>
                  </a:lnTo>
                  <a:lnTo>
                    <a:pt x="1113" y="1107"/>
                  </a:lnTo>
                  <a:lnTo>
                    <a:pt x="1669" y="1107"/>
                  </a:lnTo>
                  <a:lnTo>
                    <a:pt x="2226" y="1107"/>
                  </a:lnTo>
                  <a:lnTo>
                    <a:pt x="2226" y="625"/>
                  </a:lnTo>
                  <a:lnTo>
                    <a:pt x="2022" y="625"/>
                  </a:lnTo>
                  <a:lnTo>
                    <a:pt x="2022" y="369"/>
                  </a:lnTo>
                  <a:lnTo>
                    <a:pt x="1981" y="369"/>
                  </a:lnTo>
                  <a:lnTo>
                    <a:pt x="1981" y="185"/>
                  </a:lnTo>
                  <a:lnTo>
                    <a:pt x="1806" y="185"/>
                  </a:lnTo>
                  <a:lnTo>
                    <a:pt x="1806" y="369"/>
                  </a:lnTo>
                  <a:lnTo>
                    <a:pt x="1786" y="369"/>
                  </a:lnTo>
                  <a:lnTo>
                    <a:pt x="1786" y="276"/>
                  </a:lnTo>
                  <a:lnTo>
                    <a:pt x="1612" y="276"/>
                  </a:lnTo>
                  <a:lnTo>
                    <a:pt x="1612" y="369"/>
                  </a:lnTo>
                  <a:lnTo>
                    <a:pt x="1612" y="625"/>
                  </a:lnTo>
                  <a:lnTo>
                    <a:pt x="1550" y="625"/>
                  </a:lnTo>
                  <a:lnTo>
                    <a:pt x="1550" y="512"/>
                  </a:lnTo>
                  <a:lnTo>
                    <a:pt x="1438" y="512"/>
                  </a:lnTo>
                  <a:lnTo>
                    <a:pt x="1438" y="440"/>
                  </a:lnTo>
                  <a:lnTo>
                    <a:pt x="1222" y="349"/>
                  </a:lnTo>
                  <a:lnTo>
                    <a:pt x="1222" y="392"/>
                  </a:lnTo>
                  <a:lnTo>
                    <a:pt x="1120" y="349"/>
                  </a:lnTo>
                  <a:lnTo>
                    <a:pt x="1120" y="512"/>
                  </a:lnTo>
                  <a:lnTo>
                    <a:pt x="1017" y="512"/>
                  </a:lnTo>
                  <a:lnTo>
                    <a:pt x="1017" y="625"/>
                  </a:lnTo>
                  <a:lnTo>
                    <a:pt x="986" y="625"/>
                  </a:lnTo>
                  <a:lnTo>
                    <a:pt x="545" y="625"/>
                  </a:lnTo>
                  <a:lnTo>
                    <a:pt x="536" y="625"/>
                  </a:lnTo>
                  <a:lnTo>
                    <a:pt x="536" y="559"/>
                  </a:lnTo>
                  <a:lnTo>
                    <a:pt x="443" y="559"/>
                  </a:lnTo>
                  <a:lnTo>
                    <a:pt x="443" y="625"/>
                  </a:lnTo>
                  <a:lnTo>
                    <a:pt x="433" y="625"/>
                  </a:lnTo>
                  <a:lnTo>
                    <a:pt x="433" y="522"/>
                  </a:lnTo>
                  <a:lnTo>
                    <a:pt x="382" y="522"/>
                  </a:lnTo>
                  <a:lnTo>
                    <a:pt x="382" y="440"/>
                  </a:lnTo>
                  <a:lnTo>
                    <a:pt x="249" y="440"/>
                  </a:lnTo>
                  <a:lnTo>
                    <a:pt x="249" y="379"/>
                  </a:lnTo>
                  <a:lnTo>
                    <a:pt x="238" y="379"/>
                  </a:lnTo>
                  <a:lnTo>
                    <a:pt x="238" y="123"/>
                  </a:lnTo>
                  <a:lnTo>
                    <a:pt x="218" y="123"/>
                  </a:lnTo>
                  <a:lnTo>
                    <a:pt x="218" y="0"/>
                  </a:lnTo>
                  <a:lnTo>
                    <a:pt x="197" y="0"/>
                  </a:lnTo>
                  <a:lnTo>
                    <a:pt x="197" y="123"/>
                  </a:lnTo>
                  <a:lnTo>
                    <a:pt x="177" y="123"/>
                  </a:lnTo>
                  <a:lnTo>
                    <a:pt x="177" y="379"/>
                  </a:lnTo>
                  <a:lnTo>
                    <a:pt x="166" y="379"/>
                  </a:lnTo>
                  <a:lnTo>
                    <a:pt x="166" y="440"/>
                  </a:lnTo>
                  <a:lnTo>
                    <a:pt x="146" y="440"/>
                  </a:lnTo>
                  <a:lnTo>
                    <a:pt x="146" y="267"/>
                  </a:lnTo>
                  <a:lnTo>
                    <a:pt x="95" y="267"/>
                  </a:lnTo>
                  <a:lnTo>
                    <a:pt x="95" y="440"/>
                  </a:lnTo>
                  <a:lnTo>
                    <a:pt x="84" y="440"/>
                  </a:lnTo>
                  <a:lnTo>
                    <a:pt x="84" y="389"/>
                  </a:lnTo>
                  <a:lnTo>
                    <a:pt x="2" y="389"/>
                  </a:lnTo>
                  <a:lnTo>
                    <a:pt x="0" y="110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4" name="Freeform 26"/>
            <p:cNvSpPr>
              <a:spLocks/>
            </p:cNvSpPr>
            <p:nvPr userDrawn="1"/>
          </p:nvSpPr>
          <p:spPr bwMode="auto">
            <a:xfrm>
              <a:off x="5116513" y="6329363"/>
              <a:ext cx="203200" cy="20638"/>
            </a:xfrm>
            <a:custGeom>
              <a:avLst/>
              <a:gdLst/>
              <a:ahLst/>
              <a:cxnLst>
                <a:cxn ang="0">
                  <a:pos x="0" y="63"/>
                </a:cxn>
                <a:cxn ang="0">
                  <a:pos x="20" y="63"/>
                </a:cxn>
                <a:cxn ang="0">
                  <a:pos x="34" y="63"/>
                </a:cxn>
                <a:cxn ang="0">
                  <a:pos x="42" y="63"/>
                </a:cxn>
                <a:cxn ang="0">
                  <a:pos x="50" y="63"/>
                </a:cxn>
                <a:cxn ang="0">
                  <a:pos x="57" y="63"/>
                </a:cxn>
                <a:cxn ang="0">
                  <a:pos x="64" y="63"/>
                </a:cxn>
                <a:cxn ang="0">
                  <a:pos x="73" y="63"/>
                </a:cxn>
                <a:cxn ang="0">
                  <a:pos x="95" y="63"/>
                </a:cxn>
                <a:cxn ang="0">
                  <a:pos x="103" y="63"/>
                </a:cxn>
                <a:cxn ang="0">
                  <a:pos x="133" y="51"/>
                </a:cxn>
                <a:cxn ang="0">
                  <a:pos x="140" y="48"/>
                </a:cxn>
                <a:cxn ang="0">
                  <a:pos x="166" y="39"/>
                </a:cxn>
                <a:cxn ang="0">
                  <a:pos x="174" y="36"/>
                </a:cxn>
                <a:cxn ang="0">
                  <a:pos x="177" y="36"/>
                </a:cxn>
                <a:cxn ang="0">
                  <a:pos x="205" y="28"/>
                </a:cxn>
                <a:cxn ang="0">
                  <a:pos x="212" y="25"/>
                </a:cxn>
                <a:cxn ang="0">
                  <a:pos x="242" y="18"/>
                </a:cxn>
                <a:cxn ang="0">
                  <a:pos x="250" y="17"/>
                </a:cxn>
                <a:cxn ang="0">
                  <a:pos x="280" y="12"/>
                </a:cxn>
                <a:cxn ang="0">
                  <a:pos x="288" y="11"/>
                </a:cxn>
                <a:cxn ang="0">
                  <a:pos x="318" y="10"/>
                </a:cxn>
                <a:cxn ang="0">
                  <a:pos x="321" y="10"/>
                </a:cxn>
                <a:cxn ang="0">
                  <a:pos x="325" y="10"/>
                </a:cxn>
                <a:cxn ang="0">
                  <a:pos x="355" y="11"/>
                </a:cxn>
                <a:cxn ang="0">
                  <a:pos x="363" y="12"/>
                </a:cxn>
                <a:cxn ang="0">
                  <a:pos x="393" y="17"/>
                </a:cxn>
                <a:cxn ang="0">
                  <a:pos x="401" y="19"/>
                </a:cxn>
                <a:cxn ang="0">
                  <a:pos x="431" y="27"/>
                </a:cxn>
                <a:cxn ang="0">
                  <a:pos x="439" y="28"/>
                </a:cxn>
                <a:cxn ang="0">
                  <a:pos x="465" y="36"/>
                </a:cxn>
                <a:cxn ang="0">
                  <a:pos x="469" y="37"/>
                </a:cxn>
                <a:cxn ang="0">
                  <a:pos x="477" y="40"/>
                </a:cxn>
                <a:cxn ang="0">
                  <a:pos x="504" y="48"/>
                </a:cxn>
                <a:cxn ang="0">
                  <a:pos x="511" y="51"/>
                </a:cxn>
                <a:cxn ang="0">
                  <a:pos x="539" y="63"/>
                </a:cxn>
                <a:cxn ang="0">
                  <a:pos x="540" y="63"/>
                </a:cxn>
                <a:cxn ang="0">
                  <a:pos x="541" y="63"/>
                </a:cxn>
                <a:cxn ang="0">
                  <a:pos x="548" y="63"/>
                </a:cxn>
                <a:cxn ang="0">
                  <a:pos x="571" y="63"/>
                </a:cxn>
                <a:cxn ang="0">
                  <a:pos x="578" y="63"/>
                </a:cxn>
                <a:cxn ang="0">
                  <a:pos x="587" y="63"/>
                </a:cxn>
                <a:cxn ang="0">
                  <a:pos x="594" y="63"/>
                </a:cxn>
                <a:cxn ang="0">
                  <a:pos x="601" y="63"/>
                </a:cxn>
                <a:cxn ang="0">
                  <a:pos x="608" y="63"/>
                </a:cxn>
                <a:cxn ang="0">
                  <a:pos x="624" y="63"/>
                </a:cxn>
                <a:cxn ang="0">
                  <a:pos x="642" y="63"/>
                </a:cxn>
                <a:cxn ang="0">
                  <a:pos x="642" y="54"/>
                </a:cxn>
                <a:cxn ang="0">
                  <a:pos x="624" y="54"/>
                </a:cxn>
                <a:cxn ang="0">
                  <a:pos x="542" y="54"/>
                </a:cxn>
                <a:cxn ang="0">
                  <a:pos x="516" y="43"/>
                </a:cxn>
                <a:cxn ang="0">
                  <a:pos x="461" y="25"/>
                </a:cxn>
                <a:cxn ang="0">
                  <a:pos x="393" y="9"/>
                </a:cxn>
                <a:cxn ang="0">
                  <a:pos x="357" y="3"/>
                </a:cxn>
                <a:cxn ang="0">
                  <a:pos x="321" y="0"/>
                </a:cxn>
                <a:cxn ang="0">
                  <a:pos x="286" y="3"/>
                </a:cxn>
                <a:cxn ang="0">
                  <a:pos x="250" y="9"/>
                </a:cxn>
                <a:cxn ang="0">
                  <a:pos x="181" y="25"/>
                </a:cxn>
                <a:cxn ang="0">
                  <a:pos x="127" y="43"/>
                </a:cxn>
                <a:cxn ang="0">
                  <a:pos x="100" y="54"/>
                </a:cxn>
                <a:cxn ang="0">
                  <a:pos x="20" y="54"/>
                </a:cxn>
                <a:cxn ang="0">
                  <a:pos x="0" y="54"/>
                </a:cxn>
                <a:cxn ang="0">
                  <a:pos x="0" y="63"/>
                </a:cxn>
              </a:cxnLst>
              <a:rect l="0" t="0" r="r" b="b"/>
              <a:pathLst>
                <a:path w="642" h="63">
                  <a:moveTo>
                    <a:pt x="0" y="63"/>
                  </a:moveTo>
                  <a:lnTo>
                    <a:pt x="20" y="63"/>
                  </a:lnTo>
                  <a:lnTo>
                    <a:pt x="34" y="63"/>
                  </a:lnTo>
                  <a:lnTo>
                    <a:pt x="42" y="63"/>
                  </a:lnTo>
                  <a:lnTo>
                    <a:pt x="50" y="63"/>
                  </a:lnTo>
                  <a:lnTo>
                    <a:pt x="57" y="63"/>
                  </a:lnTo>
                  <a:lnTo>
                    <a:pt x="64" y="63"/>
                  </a:lnTo>
                  <a:lnTo>
                    <a:pt x="73" y="63"/>
                  </a:lnTo>
                  <a:lnTo>
                    <a:pt x="95" y="63"/>
                  </a:lnTo>
                  <a:lnTo>
                    <a:pt x="103" y="63"/>
                  </a:lnTo>
                  <a:lnTo>
                    <a:pt x="133" y="51"/>
                  </a:lnTo>
                  <a:lnTo>
                    <a:pt x="140" y="48"/>
                  </a:lnTo>
                  <a:lnTo>
                    <a:pt x="166" y="39"/>
                  </a:lnTo>
                  <a:lnTo>
                    <a:pt x="174" y="36"/>
                  </a:lnTo>
                  <a:lnTo>
                    <a:pt x="177" y="36"/>
                  </a:lnTo>
                  <a:lnTo>
                    <a:pt x="205" y="28"/>
                  </a:lnTo>
                  <a:lnTo>
                    <a:pt x="212" y="25"/>
                  </a:lnTo>
                  <a:lnTo>
                    <a:pt x="242" y="18"/>
                  </a:lnTo>
                  <a:lnTo>
                    <a:pt x="250" y="17"/>
                  </a:lnTo>
                  <a:lnTo>
                    <a:pt x="280" y="12"/>
                  </a:lnTo>
                  <a:lnTo>
                    <a:pt x="288" y="11"/>
                  </a:lnTo>
                  <a:lnTo>
                    <a:pt x="318" y="10"/>
                  </a:lnTo>
                  <a:lnTo>
                    <a:pt x="321" y="10"/>
                  </a:lnTo>
                  <a:lnTo>
                    <a:pt x="325" y="10"/>
                  </a:lnTo>
                  <a:lnTo>
                    <a:pt x="355" y="11"/>
                  </a:lnTo>
                  <a:lnTo>
                    <a:pt x="363" y="12"/>
                  </a:lnTo>
                  <a:lnTo>
                    <a:pt x="393" y="17"/>
                  </a:lnTo>
                  <a:lnTo>
                    <a:pt x="401" y="19"/>
                  </a:lnTo>
                  <a:lnTo>
                    <a:pt x="431" y="27"/>
                  </a:lnTo>
                  <a:lnTo>
                    <a:pt x="439" y="28"/>
                  </a:lnTo>
                  <a:lnTo>
                    <a:pt x="465" y="36"/>
                  </a:lnTo>
                  <a:lnTo>
                    <a:pt x="469" y="37"/>
                  </a:lnTo>
                  <a:lnTo>
                    <a:pt x="477" y="40"/>
                  </a:lnTo>
                  <a:lnTo>
                    <a:pt x="504" y="48"/>
                  </a:lnTo>
                  <a:lnTo>
                    <a:pt x="511" y="51"/>
                  </a:lnTo>
                  <a:lnTo>
                    <a:pt x="539" y="63"/>
                  </a:lnTo>
                  <a:lnTo>
                    <a:pt x="540" y="63"/>
                  </a:lnTo>
                  <a:lnTo>
                    <a:pt x="541" y="63"/>
                  </a:lnTo>
                  <a:lnTo>
                    <a:pt x="548" y="63"/>
                  </a:lnTo>
                  <a:lnTo>
                    <a:pt x="571" y="63"/>
                  </a:lnTo>
                  <a:lnTo>
                    <a:pt x="578" y="63"/>
                  </a:lnTo>
                  <a:lnTo>
                    <a:pt x="587" y="63"/>
                  </a:lnTo>
                  <a:lnTo>
                    <a:pt x="594" y="63"/>
                  </a:lnTo>
                  <a:lnTo>
                    <a:pt x="601" y="63"/>
                  </a:lnTo>
                  <a:lnTo>
                    <a:pt x="608" y="63"/>
                  </a:lnTo>
                  <a:lnTo>
                    <a:pt x="624" y="63"/>
                  </a:lnTo>
                  <a:lnTo>
                    <a:pt x="642" y="63"/>
                  </a:lnTo>
                  <a:lnTo>
                    <a:pt x="642" y="54"/>
                  </a:lnTo>
                  <a:lnTo>
                    <a:pt x="624" y="54"/>
                  </a:lnTo>
                  <a:lnTo>
                    <a:pt x="542" y="54"/>
                  </a:lnTo>
                  <a:lnTo>
                    <a:pt x="516" y="43"/>
                  </a:lnTo>
                  <a:lnTo>
                    <a:pt x="461" y="25"/>
                  </a:lnTo>
                  <a:lnTo>
                    <a:pt x="393" y="9"/>
                  </a:lnTo>
                  <a:lnTo>
                    <a:pt x="357" y="3"/>
                  </a:lnTo>
                  <a:lnTo>
                    <a:pt x="321" y="0"/>
                  </a:lnTo>
                  <a:lnTo>
                    <a:pt x="286" y="3"/>
                  </a:lnTo>
                  <a:lnTo>
                    <a:pt x="250" y="9"/>
                  </a:lnTo>
                  <a:lnTo>
                    <a:pt x="181" y="25"/>
                  </a:lnTo>
                  <a:lnTo>
                    <a:pt x="127" y="43"/>
                  </a:lnTo>
                  <a:lnTo>
                    <a:pt x="100" y="54"/>
                  </a:lnTo>
                  <a:lnTo>
                    <a:pt x="20" y="54"/>
                  </a:lnTo>
                  <a:lnTo>
                    <a:pt x="0" y="54"/>
                  </a:lnTo>
                  <a:lnTo>
                    <a:pt x="0" y="63"/>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5" name="Freeform 27"/>
            <p:cNvSpPr>
              <a:spLocks noEditPoints="1"/>
            </p:cNvSpPr>
            <p:nvPr userDrawn="1"/>
          </p:nvSpPr>
          <p:spPr bwMode="auto">
            <a:xfrm>
              <a:off x="4826000" y="6278563"/>
              <a:ext cx="995363" cy="190500"/>
            </a:xfrm>
            <a:custGeom>
              <a:avLst/>
              <a:gdLst/>
              <a:ahLst/>
              <a:cxnLst>
                <a:cxn ang="0">
                  <a:pos x="1588" y="177"/>
                </a:cxn>
                <a:cxn ang="0">
                  <a:pos x="1499" y="296"/>
                </a:cxn>
                <a:cxn ang="0">
                  <a:pos x="1388" y="275"/>
                </a:cxn>
                <a:cxn ang="0">
                  <a:pos x="1489" y="275"/>
                </a:cxn>
                <a:cxn ang="0">
                  <a:pos x="1535" y="296"/>
                </a:cxn>
                <a:cxn ang="0">
                  <a:pos x="1191" y="275"/>
                </a:cxn>
                <a:cxn ang="0">
                  <a:pos x="1304" y="275"/>
                </a:cxn>
                <a:cxn ang="0">
                  <a:pos x="964" y="296"/>
                </a:cxn>
                <a:cxn ang="0">
                  <a:pos x="968" y="275"/>
                </a:cxn>
                <a:cxn ang="0">
                  <a:pos x="1051" y="275"/>
                </a:cxn>
                <a:cxn ang="0">
                  <a:pos x="900" y="177"/>
                </a:cxn>
                <a:cxn ang="0">
                  <a:pos x="786" y="296"/>
                </a:cxn>
                <a:cxn ang="0">
                  <a:pos x="2716" y="18"/>
                </a:cxn>
                <a:cxn ang="0">
                  <a:pos x="2681" y="6"/>
                </a:cxn>
                <a:cxn ang="0">
                  <a:pos x="2574" y="12"/>
                </a:cxn>
                <a:cxn ang="0">
                  <a:pos x="2515" y="103"/>
                </a:cxn>
                <a:cxn ang="0">
                  <a:pos x="2467" y="48"/>
                </a:cxn>
                <a:cxn ang="0">
                  <a:pos x="2402" y="149"/>
                </a:cxn>
                <a:cxn ang="0">
                  <a:pos x="2372" y="238"/>
                </a:cxn>
                <a:cxn ang="0">
                  <a:pos x="2319" y="131"/>
                </a:cxn>
                <a:cxn ang="0">
                  <a:pos x="2295" y="119"/>
                </a:cxn>
                <a:cxn ang="0">
                  <a:pos x="2254" y="155"/>
                </a:cxn>
                <a:cxn ang="0">
                  <a:pos x="2218" y="196"/>
                </a:cxn>
                <a:cxn ang="0">
                  <a:pos x="2183" y="208"/>
                </a:cxn>
                <a:cxn ang="0">
                  <a:pos x="2129" y="196"/>
                </a:cxn>
                <a:cxn ang="0">
                  <a:pos x="2058" y="296"/>
                </a:cxn>
                <a:cxn ang="0">
                  <a:pos x="2027" y="255"/>
                </a:cxn>
                <a:cxn ang="0">
                  <a:pos x="2005" y="220"/>
                </a:cxn>
                <a:cxn ang="0">
                  <a:pos x="1921" y="255"/>
                </a:cxn>
                <a:cxn ang="0">
                  <a:pos x="1701" y="260"/>
                </a:cxn>
                <a:cxn ang="0">
                  <a:pos x="1618" y="155"/>
                </a:cxn>
                <a:cxn ang="0">
                  <a:pos x="1535" y="216"/>
                </a:cxn>
                <a:cxn ang="0">
                  <a:pos x="1519" y="225"/>
                </a:cxn>
                <a:cxn ang="0">
                  <a:pos x="1498" y="260"/>
                </a:cxn>
                <a:cxn ang="0">
                  <a:pos x="1459" y="225"/>
                </a:cxn>
                <a:cxn ang="0">
                  <a:pos x="1415" y="260"/>
                </a:cxn>
                <a:cxn ang="0">
                  <a:pos x="1350" y="190"/>
                </a:cxn>
                <a:cxn ang="0">
                  <a:pos x="1304" y="260"/>
                </a:cxn>
                <a:cxn ang="0">
                  <a:pos x="1236" y="172"/>
                </a:cxn>
                <a:cxn ang="0">
                  <a:pos x="1191" y="174"/>
                </a:cxn>
                <a:cxn ang="0">
                  <a:pos x="1123" y="260"/>
                </a:cxn>
                <a:cxn ang="0">
                  <a:pos x="1077" y="201"/>
                </a:cxn>
                <a:cxn ang="0">
                  <a:pos x="1014" y="260"/>
                </a:cxn>
                <a:cxn ang="0">
                  <a:pos x="975" y="225"/>
                </a:cxn>
                <a:cxn ang="0">
                  <a:pos x="953" y="260"/>
                </a:cxn>
                <a:cxn ang="0">
                  <a:pos x="911" y="225"/>
                </a:cxn>
                <a:cxn ang="0">
                  <a:pos x="931" y="162"/>
                </a:cxn>
                <a:cxn ang="0">
                  <a:pos x="847" y="177"/>
                </a:cxn>
                <a:cxn ang="0">
                  <a:pos x="632" y="255"/>
                </a:cxn>
                <a:cxn ang="0">
                  <a:pos x="549" y="296"/>
                </a:cxn>
                <a:cxn ang="0">
                  <a:pos x="508" y="304"/>
                </a:cxn>
                <a:cxn ang="0">
                  <a:pos x="484" y="179"/>
                </a:cxn>
                <a:cxn ang="0">
                  <a:pos x="460" y="215"/>
                </a:cxn>
                <a:cxn ang="0">
                  <a:pos x="389" y="126"/>
                </a:cxn>
                <a:cxn ang="0">
                  <a:pos x="318" y="296"/>
                </a:cxn>
                <a:cxn ang="0">
                  <a:pos x="259" y="18"/>
                </a:cxn>
                <a:cxn ang="0">
                  <a:pos x="174" y="113"/>
                </a:cxn>
                <a:cxn ang="0">
                  <a:pos x="97" y="214"/>
                </a:cxn>
                <a:cxn ang="0">
                  <a:pos x="26" y="296"/>
                </a:cxn>
                <a:cxn ang="0">
                  <a:pos x="2348" y="603"/>
                </a:cxn>
              </a:cxnLst>
              <a:rect l="0" t="0" r="r" b="b"/>
              <a:pathLst>
                <a:path w="3132" h="603">
                  <a:moveTo>
                    <a:pt x="1701" y="296"/>
                  </a:moveTo>
                  <a:lnTo>
                    <a:pt x="1618" y="296"/>
                  </a:lnTo>
                  <a:lnTo>
                    <a:pt x="1618" y="275"/>
                  </a:lnTo>
                  <a:lnTo>
                    <a:pt x="1701" y="275"/>
                  </a:lnTo>
                  <a:lnTo>
                    <a:pt x="1701" y="296"/>
                  </a:lnTo>
                  <a:close/>
                  <a:moveTo>
                    <a:pt x="1588" y="177"/>
                  </a:moveTo>
                  <a:lnTo>
                    <a:pt x="1565" y="177"/>
                  </a:lnTo>
                  <a:lnTo>
                    <a:pt x="1565" y="162"/>
                  </a:lnTo>
                  <a:lnTo>
                    <a:pt x="1588" y="162"/>
                  </a:lnTo>
                  <a:lnTo>
                    <a:pt x="1588" y="177"/>
                  </a:lnTo>
                  <a:close/>
                  <a:moveTo>
                    <a:pt x="1535" y="296"/>
                  </a:moveTo>
                  <a:lnTo>
                    <a:pt x="1499" y="296"/>
                  </a:lnTo>
                  <a:lnTo>
                    <a:pt x="1440" y="355"/>
                  </a:lnTo>
                  <a:lnTo>
                    <a:pt x="1345" y="355"/>
                  </a:lnTo>
                  <a:lnTo>
                    <a:pt x="1345" y="275"/>
                  </a:lnTo>
                  <a:lnTo>
                    <a:pt x="1350" y="275"/>
                  </a:lnTo>
                  <a:lnTo>
                    <a:pt x="1380" y="275"/>
                  </a:lnTo>
                  <a:lnTo>
                    <a:pt x="1388" y="275"/>
                  </a:lnTo>
                  <a:lnTo>
                    <a:pt x="1415" y="275"/>
                  </a:lnTo>
                  <a:lnTo>
                    <a:pt x="1422" y="275"/>
                  </a:lnTo>
                  <a:lnTo>
                    <a:pt x="1452" y="275"/>
                  </a:lnTo>
                  <a:lnTo>
                    <a:pt x="1459" y="275"/>
                  </a:lnTo>
                  <a:lnTo>
                    <a:pt x="1482" y="275"/>
                  </a:lnTo>
                  <a:lnTo>
                    <a:pt x="1489" y="275"/>
                  </a:lnTo>
                  <a:lnTo>
                    <a:pt x="1498" y="275"/>
                  </a:lnTo>
                  <a:lnTo>
                    <a:pt x="1505" y="275"/>
                  </a:lnTo>
                  <a:lnTo>
                    <a:pt x="1512" y="275"/>
                  </a:lnTo>
                  <a:lnTo>
                    <a:pt x="1519" y="275"/>
                  </a:lnTo>
                  <a:lnTo>
                    <a:pt x="1535" y="275"/>
                  </a:lnTo>
                  <a:lnTo>
                    <a:pt x="1535" y="296"/>
                  </a:lnTo>
                  <a:close/>
                  <a:moveTo>
                    <a:pt x="1321" y="355"/>
                  </a:moveTo>
                  <a:lnTo>
                    <a:pt x="1142" y="355"/>
                  </a:lnTo>
                  <a:lnTo>
                    <a:pt x="1142" y="275"/>
                  </a:lnTo>
                  <a:lnTo>
                    <a:pt x="1153" y="275"/>
                  </a:lnTo>
                  <a:lnTo>
                    <a:pt x="1161" y="275"/>
                  </a:lnTo>
                  <a:lnTo>
                    <a:pt x="1191" y="275"/>
                  </a:lnTo>
                  <a:lnTo>
                    <a:pt x="1199" y="275"/>
                  </a:lnTo>
                  <a:lnTo>
                    <a:pt x="1229" y="275"/>
                  </a:lnTo>
                  <a:lnTo>
                    <a:pt x="1236" y="275"/>
                  </a:lnTo>
                  <a:lnTo>
                    <a:pt x="1266" y="275"/>
                  </a:lnTo>
                  <a:lnTo>
                    <a:pt x="1274" y="275"/>
                  </a:lnTo>
                  <a:lnTo>
                    <a:pt x="1304" y="275"/>
                  </a:lnTo>
                  <a:lnTo>
                    <a:pt x="1312" y="275"/>
                  </a:lnTo>
                  <a:lnTo>
                    <a:pt x="1321" y="275"/>
                  </a:lnTo>
                  <a:lnTo>
                    <a:pt x="1321" y="355"/>
                  </a:lnTo>
                  <a:close/>
                  <a:moveTo>
                    <a:pt x="1120" y="355"/>
                  </a:moveTo>
                  <a:lnTo>
                    <a:pt x="1024" y="355"/>
                  </a:lnTo>
                  <a:lnTo>
                    <a:pt x="964" y="296"/>
                  </a:lnTo>
                  <a:lnTo>
                    <a:pt x="931" y="296"/>
                  </a:lnTo>
                  <a:lnTo>
                    <a:pt x="931" y="275"/>
                  </a:lnTo>
                  <a:lnTo>
                    <a:pt x="945" y="275"/>
                  </a:lnTo>
                  <a:lnTo>
                    <a:pt x="953" y="275"/>
                  </a:lnTo>
                  <a:lnTo>
                    <a:pt x="961" y="275"/>
                  </a:lnTo>
                  <a:lnTo>
                    <a:pt x="968" y="275"/>
                  </a:lnTo>
                  <a:lnTo>
                    <a:pt x="975" y="275"/>
                  </a:lnTo>
                  <a:lnTo>
                    <a:pt x="984" y="275"/>
                  </a:lnTo>
                  <a:lnTo>
                    <a:pt x="1006" y="275"/>
                  </a:lnTo>
                  <a:lnTo>
                    <a:pt x="1014" y="275"/>
                  </a:lnTo>
                  <a:lnTo>
                    <a:pt x="1044" y="275"/>
                  </a:lnTo>
                  <a:lnTo>
                    <a:pt x="1051" y="275"/>
                  </a:lnTo>
                  <a:lnTo>
                    <a:pt x="1077" y="275"/>
                  </a:lnTo>
                  <a:lnTo>
                    <a:pt x="1085" y="275"/>
                  </a:lnTo>
                  <a:lnTo>
                    <a:pt x="1116" y="275"/>
                  </a:lnTo>
                  <a:lnTo>
                    <a:pt x="1120" y="275"/>
                  </a:lnTo>
                  <a:lnTo>
                    <a:pt x="1120" y="355"/>
                  </a:lnTo>
                  <a:close/>
                  <a:moveTo>
                    <a:pt x="900" y="177"/>
                  </a:moveTo>
                  <a:lnTo>
                    <a:pt x="878" y="177"/>
                  </a:lnTo>
                  <a:lnTo>
                    <a:pt x="878" y="162"/>
                  </a:lnTo>
                  <a:lnTo>
                    <a:pt x="900" y="162"/>
                  </a:lnTo>
                  <a:lnTo>
                    <a:pt x="900" y="177"/>
                  </a:lnTo>
                  <a:close/>
                  <a:moveTo>
                    <a:pt x="847" y="296"/>
                  </a:moveTo>
                  <a:lnTo>
                    <a:pt x="786" y="296"/>
                  </a:lnTo>
                  <a:lnTo>
                    <a:pt x="786" y="275"/>
                  </a:lnTo>
                  <a:lnTo>
                    <a:pt x="847" y="275"/>
                  </a:lnTo>
                  <a:lnTo>
                    <a:pt x="847" y="296"/>
                  </a:lnTo>
                  <a:close/>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6" name="Rectangle 28"/>
            <p:cNvSpPr>
              <a:spLocks noChangeArrowheads="1"/>
            </p:cNvSpPr>
            <p:nvPr userDrawn="1"/>
          </p:nvSpPr>
          <p:spPr bwMode="auto">
            <a:xfrm>
              <a:off x="5340350" y="6365876"/>
              <a:ext cx="26988"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7" name="Rectangle 29"/>
            <p:cNvSpPr>
              <a:spLocks noChangeArrowheads="1"/>
            </p:cNvSpPr>
            <p:nvPr userDrawn="1"/>
          </p:nvSpPr>
          <p:spPr bwMode="auto">
            <a:xfrm>
              <a:off x="5322888" y="6329363"/>
              <a:ext cx="7938"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8" name="Freeform 30"/>
            <p:cNvSpPr>
              <a:spLocks/>
            </p:cNvSpPr>
            <p:nvPr userDrawn="1"/>
          </p:nvSpPr>
          <p:spPr bwMode="auto">
            <a:xfrm>
              <a:off x="5253038" y="6365876"/>
              <a:ext cx="60325" cy="25400"/>
            </a:xfrm>
            <a:custGeom>
              <a:avLst/>
              <a:gdLst/>
              <a:ahLst/>
              <a:cxnLst>
                <a:cxn ang="0">
                  <a:pos x="190" y="21"/>
                </a:cxn>
                <a:cxn ang="0">
                  <a:pos x="154" y="21"/>
                </a:cxn>
                <a:cxn ang="0">
                  <a:pos x="95" y="80"/>
                </a:cxn>
                <a:cxn ang="0">
                  <a:pos x="0" y="80"/>
                </a:cxn>
                <a:cxn ang="0">
                  <a:pos x="0" y="0"/>
                </a:cxn>
                <a:cxn ang="0">
                  <a:pos x="5" y="0"/>
                </a:cxn>
                <a:cxn ang="0">
                  <a:pos x="35" y="0"/>
                </a:cxn>
                <a:cxn ang="0">
                  <a:pos x="43" y="0"/>
                </a:cxn>
                <a:cxn ang="0">
                  <a:pos x="70" y="0"/>
                </a:cxn>
                <a:cxn ang="0">
                  <a:pos x="77" y="0"/>
                </a:cxn>
                <a:cxn ang="0">
                  <a:pos x="107" y="0"/>
                </a:cxn>
                <a:cxn ang="0">
                  <a:pos x="114" y="0"/>
                </a:cxn>
                <a:cxn ang="0">
                  <a:pos x="137" y="0"/>
                </a:cxn>
                <a:cxn ang="0">
                  <a:pos x="144" y="0"/>
                </a:cxn>
                <a:cxn ang="0">
                  <a:pos x="153" y="0"/>
                </a:cxn>
                <a:cxn ang="0">
                  <a:pos x="160" y="0"/>
                </a:cxn>
                <a:cxn ang="0">
                  <a:pos x="167" y="0"/>
                </a:cxn>
                <a:cxn ang="0">
                  <a:pos x="174" y="0"/>
                </a:cxn>
                <a:cxn ang="0">
                  <a:pos x="190" y="0"/>
                </a:cxn>
                <a:cxn ang="0">
                  <a:pos x="190" y="21"/>
                </a:cxn>
              </a:cxnLst>
              <a:rect l="0" t="0" r="r" b="b"/>
              <a:pathLst>
                <a:path w="190" h="80">
                  <a:moveTo>
                    <a:pt x="190" y="21"/>
                  </a:moveTo>
                  <a:lnTo>
                    <a:pt x="154" y="21"/>
                  </a:lnTo>
                  <a:lnTo>
                    <a:pt x="95" y="80"/>
                  </a:lnTo>
                  <a:lnTo>
                    <a:pt x="0" y="80"/>
                  </a:lnTo>
                  <a:lnTo>
                    <a:pt x="0" y="0"/>
                  </a:lnTo>
                  <a:lnTo>
                    <a:pt x="5" y="0"/>
                  </a:lnTo>
                  <a:lnTo>
                    <a:pt x="35" y="0"/>
                  </a:lnTo>
                  <a:lnTo>
                    <a:pt x="43" y="0"/>
                  </a:lnTo>
                  <a:lnTo>
                    <a:pt x="70" y="0"/>
                  </a:lnTo>
                  <a:lnTo>
                    <a:pt x="77" y="0"/>
                  </a:lnTo>
                  <a:lnTo>
                    <a:pt x="107" y="0"/>
                  </a:lnTo>
                  <a:lnTo>
                    <a:pt x="114" y="0"/>
                  </a:lnTo>
                  <a:lnTo>
                    <a:pt x="137" y="0"/>
                  </a:lnTo>
                  <a:lnTo>
                    <a:pt x="144" y="0"/>
                  </a:lnTo>
                  <a:lnTo>
                    <a:pt x="153" y="0"/>
                  </a:lnTo>
                  <a:lnTo>
                    <a:pt x="160" y="0"/>
                  </a:lnTo>
                  <a:lnTo>
                    <a:pt x="167" y="0"/>
                  </a:lnTo>
                  <a:lnTo>
                    <a:pt x="174" y="0"/>
                  </a:lnTo>
                  <a:lnTo>
                    <a:pt x="190" y="0"/>
                  </a:lnTo>
                  <a:lnTo>
                    <a:pt x="190" y="21"/>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49" name="Freeform 31"/>
            <p:cNvSpPr>
              <a:spLocks/>
            </p:cNvSpPr>
            <p:nvPr userDrawn="1"/>
          </p:nvSpPr>
          <p:spPr bwMode="auto">
            <a:xfrm>
              <a:off x="5189538" y="6365876"/>
              <a:ext cx="57150" cy="25400"/>
            </a:xfrm>
            <a:custGeom>
              <a:avLst/>
              <a:gdLst/>
              <a:ahLst/>
              <a:cxnLst>
                <a:cxn ang="0">
                  <a:pos x="179" y="80"/>
                </a:cxn>
                <a:cxn ang="0">
                  <a:pos x="0" y="80"/>
                </a:cxn>
                <a:cxn ang="0">
                  <a:pos x="0" y="0"/>
                </a:cxn>
                <a:cxn ang="0">
                  <a:pos x="11" y="0"/>
                </a:cxn>
                <a:cxn ang="0">
                  <a:pos x="19" y="0"/>
                </a:cxn>
                <a:cxn ang="0">
                  <a:pos x="49" y="0"/>
                </a:cxn>
                <a:cxn ang="0">
                  <a:pos x="57" y="0"/>
                </a:cxn>
                <a:cxn ang="0">
                  <a:pos x="87" y="0"/>
                </a:cxn>
                <a:cxn ang="0">
                  <a:pos x="94" y="0"/>
                </a:cxn>
                <a:cxn ang="0">
                  <a:pos x="124" y="0"/>
                </a:cxn>
                <a:cxn ang="0">
                  <a:pos x="132" y="0"/>
                </a:cxn>
                <a:cxn ang="0">
                  <a:pos x="162" y="0"/>
                </a:cxn>
                <a:cxn ang="0">
                  <a:pos x="170" y="0"/>
                </a:cxn>
                <a:cxn ang="0">
                  <a:pos x="179" y="0"/>
                </a:cxn>
                <a:cxn ang="0">
                  <a:pos x="179" y="80"/>
                </a:cxn>
              </a:cxnLst>
              <a:rect l="0" t="0" r="r" b="b"/>
              <a:pathLst>
                <a:path w="179" h="80">
                  <a:moveTo>
                    <a:pt x="179" y="80"/>
                  </a:moveTo>
                  <a:lnTo>
                    <a:pt x="0" y="80"/>
                  </a:lnTo>
                  <a:lnTo>
                    <a:pt x="0" y="0"/>
                  </a:lnTo>
                  <a:lnTo>
                    <a:pt x="11" y="0"/>
                  </a:lnTo>
                  <a:lnTo>
                    <a:pt x="19" y="0"/>
                  </a:lnTo>
                  <a:lnTo>
                    <a:pt x="49" y="0"/>
                  </a:lnTo>
                  <a:lnTo>
                    <a:pt x="57" y="0"/>
                  </a:lnTo>
                  <a:lnTo>
                    <a:pt x="87" y="0"/>
                  </a:lnTo>
                  <a:lnTo>
                    <a:pt x="94" y="0"/>
                  </a:lnTo>
                  <a:lnTo>
                    <a:pt x="124" y="0"/>
                  </a:lnTo>
                  <a:lnTo>
                    <a:pt x="132" y="0"/>
                  </a:lnTo>
                  <a:lnTo>
                    <a:pt x="162" y="0"/>
                  </a:lnTo>
                  <a:lnTo>
                    <a:pt x="170" y="0"/>
                  </a:lnTo>
                  <a:lnTo>
                    <a:pt x="179" y="0"/>
                  </a:lnTo>
                  <a:lnTo>
                    <a:pt x="17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0" name="Freeform 32"/>
            <p:cNvSpPr>
              <a:spLocks/>
            </p:cNvSpPr>
            <p:nvPr userDrawn="1"/>
          </p:nvSpPr>
          <p:spPr bwMode="auto">
            <a:xfrm>
              <a:off x="5122863" y="6365876"/>
              <a:ext cx="58738" cy="25400"/>
            </a:xfrm>
            <a:custGeom>
              <a:avLst/>
              <a:gdLst/>
              <a:ahLst/>
              <a:cxnLst>
                <a:cxn ang="0">
                  <a:pos x="189" y="80"/>
                </a:cxn>
                <a:cxn ang="0">
                  <a:pos x="93" y="80"/>
                </a:cxn>
                <a:cxn ang="0">
                  <a:pos x="33" y="21"/>
                </a:cxn>
                <a:cxn ang="0">
                  <a:pos x="0" y="21"/>
                </a:cxn>
                <a:cxn ang="0">
                  <a:pos x="0" y="0"/>
                </a:cxn>
                <a:cxn ang="0">
                  <a:pos x="14" y="0"/>
                </a:cxn>
                <a:cxn ang="0">
                  <a:pos x="22" y="0"/>
                </a:cxn>
                <a:cxn ang="0">
                  <a:pos x="30" y="0"/>
                </a:cxn>
                <a:cxn ang="0">
                  <a:pos x="37" y="0"/>
                </a:cxn>
                <a:cxn ang="0">
                  <a:pos x="44" y="0"/>
                </a:cxn>
                <a:cxn ang="0">
                  <a:pos x="53" y="0"/>
                </a:cxn>
                <a:cxn ang="0">
                  <a:pos x="75" y="0"/>
                </a:cxn>
                <a:cxn ang="0">
                  <a:pos x="83" y="0"/>
                </a:cxn>
                <a:cxn ang="0">
                  <a:pos x="113" y="0"/>
                </a:cxn>
                <a:cxn ang="0">
                  <a:pos x="120" y="0"/>
                </a:cxn>
                <a:cxn ang="0">
                  <a:pos x="146" y="0"/>
                </a:cxn>
                <a:cxn ang="0">
                  <a:pos x="154" y="0"/>
                </a:cxn>
                <a:cxn ang="0">
                  <a:pos x="185" y="0"/>
                </a:cxn>
                <a:cxn ang="0">
                  <a:pos x="189" y="0"/>
                </a:cxn>
                <a:cxn ang="0">
                  <a:pos x="189" y="80"/>
                </a:cxn>
              </a:cxnLst>
              <a:rect l="0" t="0" r="r" b="b"/>
              <a:pathLst>
                <a:path w="189" h="80">
                  <a:moveTo>
                    <a:pt x="189" y="80"/>
                  </a:moveTo>
                  <a:lnTo>
                    <a:pt x="93" y="80"/>
                  </a:lnTo>
                  <a:lnTo>
                    <a:pt x="33" y="21"/>
                  </a:lnTo>
                  <a:lnTo>
                    <a:pt x="0" y="21"/>
                  </a:lnTo>
                  <a:lnTo>
                    <a:pt x="0" y="0"/>
                  </a:lnTo>
                  <a:lnTo>
                    <a:pt x="14" y="0"/>
                  </a:lnTo>
                  <a:lnTo>
                    <a:pt x="22" y="0"/>
                  </a:lnTo>
                  <a:lnTo>
                    <a:pt x="30" y="0"/>
                  </a:lnTo>
                  <a:lnTo>
                    <a:pt x="37" y="0"/>
                  </a:lnTo>
                  <a:lnTo>
                    <a:pt x="44" y="0"/>
                  </a:lnTo>
                  <a:lnTo>
                    <a:pt x="53" y="0"/>
                  </a:lnTo>
                  <a:lnTo>
                    <a:pt x="75" y="0"/>
                  </a:lnTo>
                  <a:lnTo>
                    <a:pt x="83" y="0"/>
                  </a:lnTo>
                  <a:lnTo>
                    <a:pt x="113" y="0"/>
                  </a:lnTo>
                  <a:lnTo>
                    <a:pt x="120" y="0"/>
                  </a:lnTo>
                  <a:lnTo>
                    <a:pt x="146" y="0"/>
                  </a:lnTo>
                  <a:lnTo>
                    <a:pt x="154" y="0"/>
                  </a:lnTo>
                  <a:lnTo>
                    <a:pt x="185" y="0"/>
                  </a:lnTo>
                  <a:lnTo>
                    <a:pt x="189" y="0"/>
                  </a:lnTo>
                  <a:lnTo>
                    <a:pt x="189" y="8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1" name="Rectangle 33"/>
            <p:cNvSpPr>
              <a:spLocks noChangeArrowheads="1"/>
            </p:cNvSpPr>
            <p:nvPr userDrawn="1"/>
          </p:nvSpPr>
          <p:spPr bwMode="auto">
            <a:xfrm>
              <a:off x="5105400" y="6329363"/>
              <a:ext cx="6350" cy="4763"/>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2" name="Rectangle 34"/>
            <p:cNvSpPr>
              <a:spLocks noChangeArrowheads="1"/>
            </p:cNvSpPr>
            <p:nvPr userDrawn="1"/>
          </p:nvSpPr>
          <p:spPr bwMode="auto">
            <a:xfrm>
              <a:off x="5076825" y="6365876"/>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3" name="Freeform 35"/>
            <p:cNvSpPr>
              <a:spLocks/>
            </p:cNvSpPr>
            <p:nvPr userDrawn="1"/>
          </p:nvSpPr>
          <p:spPr bwMode="auto">
            <a:xfrm>
              <a:off x="4826000" y="6278563"/>
              <a:ext cx="995363" cy="190500"/>
            </a:xfrm>
            <a:custGeom>
              <a:avLst/>
              <a:gdLst/>
              <a:ahLst/>
              <a:cxnLst>
                <a:cxn ang="0">
                  <a:pos x="2705" y="6"/>
                </a:cxn>
                <a:cxn ang="0">
                  <a:pos x="2681" y="18"/>
                </a:cxn>
                <a:cxn ang="0">
                  <a:pos x="2574" y="12"/>
                </a:cxn>
                <a:cxn ang="0">
                  <a:pos x="2533" y="94"/>
                </a:cxn>
                <a:cxn ang="0">
                  <a:pos x="2479" y="54"/>
                </a:cxn>
                <a:cxn ang="0">
                  <a:pos x="2467" y="208"/>
                </a:cxn>
                <a:cxn ang="0">
                  <a:pos x="2390" y="238"/>
                </a:cxn>
                <a:cxn ang="0">
                  <a:pos x="2372" y="214"/>
                </a:cxn>
                <a:cxn ang="0">
                  <a:pos x="2319" y="131"/>
                </a:cxn>
                <a:cxn ang="0">
                  <a:pos x="2295" y="77"/>
                </a:cxn>
                <a:cxn ang="0">
                  <a:pos x="2260" y="119"/>
                </a:cxn>
                <a:cxn ang="0">
                  <a:pos x="2224" y="149"/>
                </a:cxn>
                <a:cxn ang="0">
                  <a:pos x="2206" y="255"/>
                </a:cxn>
                <a:cxn ang="0">
                  <a:pos x="2171" y="208"/>
                </a:cxn>
                <a:cxn ang="0">
                  <a:pos x="2129" y="196"/>
                </a:cxn>
                <a:cxn ang="0">
                  <a:pos x="2058" y="220"/>
                </a:cxn>
                <a:cxn ang="0">
                  <a:pos x="2039" y="220"/>
                </a:cxn>
                <a:cxn ang="0">
                  <a:pos x="2011" y="220"/>
                </a:cxn>
                <a:cxn ang="0">
                  <a:pos x="1993" y="255"/>
                </a:cxn>
                <a:cxn ang="0">
                  <a:pos x="1909" y="255"/>
                </a:cxn>
                <a:cxn ang="0">
                  <a:pos x="1701" y="260"/>
                </a:cxn>
                <a:cxn ang="0">
                  <a:pos x="1618" y="162"/>
                </a:cxn>
                <a:cxn ang="0">
                  <a:pos x="1542" y="177"/>
                </a:cxn>
                <a:cxn ang="0">
                  <a:pos x="1535" y="225"/>
                </a:cxn>
                <a:cxn ang="0">
                  <a:pos x="1512" y="260"/>
                </a:cxn>
                <a:cxn ang="0">
                  <a:pos x="1489" y="260"/>
                </a:cxn>
                <a:cxn ang="0">
                  <a:pos x="1459" y="225"/>
                </a:cxn>
                <a:cxn ang="0">
                  <a:pos x="1415" y="210"/>
                </a:cxn>
                <a:cxn ang="0">
                  <a:pos x="1380" y="260"/>
                </a:cxn>
                <a:cxn ang="0">
                  <a:pos x="1312" y="260"/>
                </a:cxn>
                <a:cxn ang="0">
                  <a:pos x="1274" y="174"/>
                </a:cxn>
                <a:cxn ang="0">
                  <a:pos x="1232" y="172"/>
                </a:cxn>
                <a:cxn ang="0">
                  <a:pos x="1191" y="174"/>
                </a:cxn>
                <a:cxn ang="0">
                  <a:pos x="1153" y="260"/>
                </a:cxn>
                <a:cxn ang="0">
                  <a:pos x="1085" y="260"/>
                </a:cxn>
                <a:cxn ang="0">
                  <a:pos x="1051" y="210"/>
                </a:cxn>
                <a:cxn ang="0">
                  <a:pos x="1006" y="225"/>
                </a:cxn>
                <a:cxn ang="0">
                  <a:pos x="975" y="260"/>
                </a:cxn>
                <a:cxn ang="0">
                  <a:pos x="953" y="260"/>
                </a:cxn>
                <a:cxn ang="0">
                  <a:pos x="931" y="225"/>
                </a:cxn>
                <a:cxn ang="0">
                  <a:pos x="922" y="177"/>
                </a:cxn>
                <a:cxn ang="0">
                  <a:pos x="847" y="162"/>
                </a:cxn>
                <a:cxn ang="0">
                  <a:pos x="786" y="260"/>
                </a:cxn>
                <a:cxn ang="0">
                  <a:pos x="632" y="296"/>
                </a:cxn>
                <a:cxn ang="0">
                  <a:pos x="549" y="296"/>
                </a:cxn>
                <a:cxn ang="0">
                  <a:pos x="520" y="304"/>
                </a:cxn>
                <a:cxn ang="0">
                  <a:pos x="496" y="215"/>
                </a:cxn>
                <a:cxn ang="0">
                  <a:pos x="478" y="179"/>
                </a:cxn>
                <a:cxn ang="0">
                  <a:pos x="454" y="280"/>
                </a:cxn>
                <a:cxn ang="0">
                  <a:pos x="389" y="102"/>
                </a:cxn>
                <a:cxn ang="0">
                  <a:pos x="318" y="296"/>
                </a:cxn>
                <a:cxn ang="0">
                  <a:pos x="259" y="113"/>
                </a:cxn>
                <a:cxn ang="0">
                  <a:pos x="193" y="214"/>
                </a:cxn>
                <a:cxn ang="0">
                  <a:pos x="109" y="77"/>
                </a:cxn>
                <a:cxn ang="0">
                  <a:pos x="75" y="296"/>
                </a:cxn>
                <a:cxn ang="0">
                  <a:pos x="14" y="296"/>
                </a:cxn>
                <a:cxn ang="0">
                  <a:pos x="2348" y="603"/>
                </a:cxn>
              </a:cxnLst>
              <a:rect l="0" t="0" r="r" b="b"/>
              <a:pathLst>
                <a:path w="3132" h="603">
                  <a:moveTo>
                    <a:pt x="2734" y="208"/>
                  </a:moveTo>
                  <a:lnTo>
                    <a:pt x="2716" y="208"/>
                  </a:lnTo>
                  <a:lnTo>
                    <a:pt x="2716" y="18"/>
                  </a:lnTo>
                  <a:lnTo>
                    <a:pt x="2705" y="18"/>
                  </a:lnTo>
                  <a:lnTo>
                    <a:pt x="2705" y="6"/>
                  </a:lnTo>
                  <a:lnTo>
                    <a:pt x="2705" y="0"/>
                  </a:lnTo>
                  <a:lnTo>
                    <a:pt x="2693" y="0"/>
                  </a:lnTo>
                  <a:lnTo>
                    <a:pt x="2693" y="6"/>
                  </a:lnTo>
                  <a:lnTo>
                    <a:pt x="2681" y="6"/>
                  </a:lnTo>
                  <a:lnTo>
                    <a:pt x="2681" y="18"/>
                  </a:lnTo>
                  <a:lnTo>
                    <a:pt x="2663" y="18"/>
                  </a:lnTo>
                  <a:lnTo>
                    <a:pt x="2663" y="132"/>
                  </a:lnTo>
                  <a:lnTo>
                    <a:pt x="2645" y="123"/>
                  </a:lnTo>
                  <a:lnTo>
                    <a:pt x="2645" y="12"/>
                  </a:lnTo>
                  <a:lnTo>
                    <a:pt x="2574" y="12"/>
                  </a:lnTo>
                  <a:lnTo>
                    <a:pt x="2574" y="71"/>
                  </a:lnTo>
                  <a:lnTo>
                    <a:pt x="2556" y="82"/>
                  </a:lnTo>
                  <a:lnTo>
                    <a:pt x="2556" y="24"/>
                  </a:lnTo>
                  <a:lnTo>
                    <a:pt x="2533" y="24"/>
                  </a:lnTo>
                  <a:lnTo>
                    <a:pt x="2533" y="94"/>
                  </a:lnTo>
                  <a:lnTo>
                    <a:pt x="2515" y="103"/>
                  </a:lnTo>
                  <a:lnTo>
                    <a:pt x="2515" y="66"/>
                  </a:lnTo>
                  <a:lnTo>
                    <a:pt x="2491" y="66"/>
                  </a:lnTo>
                  <a:lnTo>
                    <a:pt x="2491" y="54"/>
                  </a:lnTo>
                  <a:lnTo>
                    <a:pt x="2479" y="54"/>
                  </a:lnTo>
                  <a:lnTo>
                    <a:pt x="2479" y="48"/>
                  </a:lnTo>
                  <a:lnTo>
                    <a:pt x="2467" y="48"/>
                  </a:lnTo>
                  <a:lnTo>
                    <a:pt x="2467" y="54"/>
                  </a:lnTo>
                  <a:lnTo>
                    <a:pt x="2467" y="66"/>
                  </a:lnTo>
                  <a:lnTo>
                    <a:pt x="2467" y="208"/>
                  </a:lnTo>
                  <a:lnTo>
                    <a:pt x="2450" y="208"/>
                  </a:lnTo>
                  <a:lnTo>
                    <a:pt x="2450" y="131"/>
                  </a:lnTo>
                  <a:lnTo>
                    <a:pt x="2402" y="149"/>
                  </a:lnTo>
                  <a:lnTo>
                    <a:pt x="2402" y="238"/>
                  </a:lnTo>
                  <a:lnTo>
                    <a:pt x="2390" y="238"/>
                  </a:lnTo>
                  <a:lnTo>
                    <a:pt x="2390" y="220"/>
                  </a:lnTo>
                  <a:lnTo>
                    <a:pt x="2378" y="220"/>
                  </a:lnTo>
                  <a:lnTo>
                    <a:pt x="2378" y="238"/>
                  </a:lnTo>
                  <a:lnTo>
                    <a:pt x="2372" y="238"/>
                  </a:lnTo>
                  <a:lnTo>
                    <a:pt x="2372" y="214"/>
                  </a:lnTo>
                  <a:lnTo>
                    <a:pt x="2349" y="214"/>
                  </a:lnTo>
                  <a:lnTo>
                    <a:pt x="2349" y="255"/>
                  </a:lnTo>
                  <a:lnTo>
                    <a:pt x="2337" y="255"/>
                  </a:lnTo>
                  <a:lnTo>
                    <a:pt x="2337" y="131"/>
                  </a:lnTo>
                  <a:lnTo>
                    <a:pt x="2319" y="131"/>
                  </a:lnTo>
                  <a:lnTo>
                    <a:pt x="2319" y="255"/>
                  </a:lnTo>
                  <a:lnTo>
                    <a:pt x="2307" y="255"/>
                  </a:lnTo>
                  <a:lnTo>
                    <a:pt x="2307" y="196"/>
                  </a:lnTo>
                  <a:lnTo>
                    <a:pt x="2307" y="77"/>
                  </a:lnTo>
                  <a:lnTo>
                    <a:pt x="2295" y="77"/>
                  </a:lnTo>
                  <a:lnTo>
                    <a:pt x="2295" y="119"/>
                  </a:lnTo>
                  <a:lnTo>
                    <a:pt x="2289" y="119"/>
                  </a:lnTo>
                  <a:lnTo>
                    <a:pt x="2289" y="113"/>
                  </a:lnTo>
                  <a:lnTo>
                    <a:pt x="2260" y="113"/>
                  </a:lnTo>
                  <a:lnTo>
                    <a:pt x="2260" y="119"/>
                  </a:lnTo>
                  <a:lnTo>
                    <a:pt x="2254" y="119"/>
                  </a:lnTo>
                  <a:lnTo>
                    <a:pt x="2254" y="155"/>
                  </a:lnTo>
                  <a:lnTo>
                    <a:pt x="2248" y="155"/>
                  </a:lnTo>
                  <a:lnTo>
                    <a:pt x="2248" y="149"/>
                  </a:lnTo>
                  <a:lnTo>
                    <a:pt x="2224" y="149"/>
                  </a:lnTo>
                  <a:lnTo>
                    <a:pt x="2224" y="155"/>
                  </a:lnTo>
                  <a:lnTo>
                    <a:pt x="2218" y="155"/>
                  </a:lnTo>
                  <a:lnTo>
                    <a:pt x="2218" y="196"/>
                  </a:lnTo>
                  <a:lnTo>
                    <a:pt x="2206" y="196"/>
                  </a:lnTo>
                  <a:lnTo>
                    <a:pt x="2206" y="255"/>
                  </a:lnTo>
                  <a:lnTo>
                    <a:pt x="2194" y="255"/>
                  </a:lnTo>
                  <a:lnTo>
                    <a:pt x="2194" y="220"/>
                  </a:lnTo>
                  <a:lnTo>
                    <a:pt x="2183" y="220"/>
                  </a:lnTo>
                  <a:lnTo>
                    <a:pt x="2183" y="208"/>
                  </a:lnTo>
                  <a:lnTo>
                    <a:pt x="2171" y="208"/>
                  </a:lnTo>
                  <a:lnTo>
                    <a:pt x="2171" y="166"/>
                  </a:lnTo>
                  <a:lnTo>
                    <a:pt x="2141" y="166"/>
                  </a:lnTo>
                  <a:lnTo>
                    <a:pt x="2141" y="208"/>
                  </a:lnTo>
                  <a:lnTo>
                    <a:pt x="2129" y="208"/>
                  </a:lnTo>
                  <a:lnTo>
                    <a:pt x="2129" y="196"/>
                  </a:lnTo>
                  <a:lnTo>
                    <a:pt x="2082" y="196"/>
                  </a:lnTo>
                  <a:lnTo>
                    <a:pt x="2082" y="208"/>
                  </a:lnTo>
                  <a:lnTo>
                    <a:pt x="2070" y="208"/>
                  </a:lnTo>
                  <a:lnTo>
                    <a:pt x="2070" y="220"/>
                  </a:lnTo>
                  <a:lnTo>
                    <a:pt x="2058" y="220"/>
                  </a:lnTo>
                  <a:lnTo>
                    <a:pt x="2058" y="296"/>
                  </a:lnTo>
                  <a:lnTo>
                    <a:pt x="2045" y="296"/>
                  </a:lnTo>
                  <a:lnTo>
                    <a:pt x="2045" y="255"/>
                  </a:lnTo>
                  <a:lnTo>
                    <a:pt x="2039" y="255"/>
                  </a:lnTo>
                  <a:lnTo>
                    <a:pt x="2039" y="220"/>
                  </a:lnTo>
                  <a:lnTo>
                    <a:pt x="2027" y="220"/>
                  </a:lnTo>
                  <a:lnTo>
                    <a:pt x="2027" y="255"/>
                  </a:lnTo>
                  <a:lnTo>
                    <a:pt x="2021" y="255"/>
                  </a:lnTo>
                  <a:lnTo>
                    <a:pt x="2021" y="220"/>
                  </a:lnTo>
                  <a:lnTo>
                    <a:pt x="2011" y="220"/>
                  </a:lnTo>
                  <a:lnTo>
                    <a:pt x="2011" y="255"/>
                  </a:lnTo>
                  <a:lnTo>
                    <a:pt x="2005" y="255"/>
                  </a:lnTo>
                  <a:lnTo>
                    <a:pt x="2005" y="220"/>
                  </a:lnTo>
                  <a:lnTo>
                    <a:pt x="1993" y="220"/>
                  </a:lnTo>
                  <a:lnTo>
                    <a:pt x="1993" y="255"/>
                  </a:lnTo>
                  <a:lnTo>
                    <a:pt x="1974" y="255"/>
                  </a:lnTo>
                  <a:lnTo>
                    <a:pt x="1974" y="243"/>
                  </a:lnTo>
                  <a:lnTo>
                    <a:pt x="1921" y="243"/>
                  </a:lnTo>
                  <a:lnTo>
                    <a:pt x="1921" y="255"/>
                  </a:lnTo>
                  <a:lnTo>
                    <a:pt x="1909" y="255"/>
                  </a:lnTo>
                  <a:lnTo>
                    <a:pt x="1909" y="296"/>
                  </a:lnTo>
                  <a:lnTo>
                    <a:pt x="1849" y="296"/>
                  </a:lnTo>
                  <a:lnTo>
                    <a:pt x="1812" y="290"/>
                  </a:lnTo>
                  <a:lnTo>
                    <a:pt x="1763" y="278"/>
                  </a:lnTo>
                  <a:lnTo>
                    <a:pt x="1701" y="260"/>
                  </a:lnTo>
                  <a:lnTo>
                    <a:pt x="1618" y="260"/>
                  </a:lnTo>
                  <a:lnTo>
                    <a:pt x="1618" y="177"/>
                  </a:lnTo>
                  <a:lnTo>
                    <a:pt x="1611" y="177"/>
                  </a:lnTo>
                  <a:lnTo>
                    <a:pt x="1611" y="162"/>
                  </a:lnTo>
                  <a:lnTo>
                    <a:pt x="1618" y="162"/>
                  </a:lnTo>
                  <a:lnTo>
                    <a:pt x="1618" y="155"/>
                  </a:lnTo>
                  <a:lnTo>
                    <a:pt x="1535" y="155"/>
                  </a:lnTo>
                  <a:lnTo>
                    <a:pt x="1535" y="162"/>
                  </a:lnTo>
                  <a:lnTo>
                    <a:pt x="1542" y="162"/>
                  </a:lnTo>
                  <a:lnTo>
                    <a:pt x="1542" y="177"/>
                  </a:lnTo>
                  <a:lnTo>
                    <a:pt x="1535" y="177"/>
                  </a:lnTo>
                  <a:lnTo>
                    <a:pt x="1535" y="216"/>
                  </a:lnTo>
                  <a:lnTo>
                    <a:pt x="1553" y="216"/>
                  </a:lnTo>
                  <a:lnTo>
                    <a:pt x="1553" y="225"/>
                  </a:lnTo>
                  <a:lnTo>
                    <a:pt x="1535" y="225"/>
                  </a:lnTo>
                  <a:lnTo>
                    <a:pt x="1535" y="260"/>
                  </a:lnTo>
                  <a:lnTo>
                    <a:pt x="1519" y="260"/>
                  </a:lnTo>
                  <a:lnTo>
                    <a:pt x="1519" y="225"/>
                  </a:lnTo>
                  <a:lnTo>
                    <a:pt x="1512" y="225"/>
                  </a:lnTo>
                  <a:lnTo>
                    <a:pt x="1512" y="260"/>
                  </a:lnTo>
                  <a:lnTo>
                    <a:pt x="1505" y="260"/>
                  </a:lnTo>
                  <a:lnTo>
                    <a:pt x="1505" y="225"/>
                  </a:lnTo>
                  <a:lnTo>
                    <a:pt x="1498" y="225"/>
                  </a:lnTo>
                  <a:lnTo>
                    <a:pt x="1498" y="260"/>
                  </a:lnTo>
                  <a:lnTo>
                    <a:pt x="1489" y="260"/>
                  </a:lnTo>
                  <a:lnTo>
                    <a:pt x="1489" y="225"/>
                  </a:lnTo>
                  <a:lnTo>
                    <a:pt x="1482" y="225"/>
                  </a:lnTo>
                  <a:lnTo>
                    <a:pt x="1482" y="260"/>
                  </a:lnTo>
                  <a:lnTo>
                    <a:pt x="1459" y="260"/>
                  </a:lnTo>
                  <a:lnTo>
                    <a:pt x="1459" y="225"/>
                  </a:lnTo>
                  <a:lnTo>
                    <a:pt x="1452" y="225"/>
                  </a:lnTo>
                  <a:lnTo>
                    <a:pt x="1452" y="260"/>
                  </a:lnTo>
                  <a:lnTo>
                    <a:pt x="1422" y="260"/>
                  </a:lnTo>
                  <a:lnTo>
                    <a:pt x="1422" y="213"/>
                  </a:lnTo>
                  <a:lnTo>
                    <a:pt x="1415" y="210"/>
                  </a:lnTo>
                  <a:lnTo>
                    <a:pt x="1415" y="260"/>
                  </a:lnTo>
                  <a:lnTo>
                    <a:pt x="1388" y="260"/>
                  </a:lnTo>
                  <a:lnTo>
                    <a:pt x="1388" y="202"/>
                  </a:lnTo>
                  <a:lnTo>
                    <a:pt x="1380" y="199"/>
                  </a:lnTo>
                  <a:lnTo>
                    <a:pt x="1380" y="260"/>
                  </a:lnTo>
                  <a:lnTo>
                    <a:pt x="1350" y="260"/>
                  </a:lnTo>
                  <a:lnTo>
                    <a:pt x="1350" y="190"/>
                  </a:lnTo>
                  <a:lnTo>
                    <a:pt x="1342" y="189"/>
                  </a:lnTo>
                  <a:lnTo>
                    <a:pt x="1342" y="260"/>
                  </a:lnTo>
                  <a:lnTo>
                    <a:pt x="1312" y="260"/>
                  </a:lnTo>
                  <a:lnTo>
                    <a:pt x="1312" y="181"/>
                  </a:lnTo>
                  <a:lnTo>
                    <a:pt x="1304" y="179"/>
                  </a:lnTo>
                  <a:lnTo>
                    <a:pt x="1304" y="260"/>
                  </a:lnTo>
                  <a:lnTo>
                    <a:pt x="1274" y="260"/>
                  </a:lnTo>
                  <a:lnTo>
                    <a:pt x="1274" y="174"/>
                  </a:lnTo>
                  <a:lnTo>
                    <a:pt x="1266" y="173"/>
                  </a:lnTo>
                  <a:lnTo>
                    <a:pt x="1266" y="260"/>
                  </a:lnTo>
                  <a:lnTo>
                    <a:pt x="1236" y="260"/>
                  </a:lnTo>
                  <a:lnTo>
                    <a:pt x="1236" y="172"/>
                  </a:lnTo>
                  <a:lnTo>
                    <a:pt x="1232" y="172"/>
                  </a:lnTo>
                  <a:lnTo>
                    <a:pt x="1229" y="172"/>
                  </a:lnTo>
                  <a:lnTo>
                    <a:pt x="1229" y="260"/>
                  </a:lnTo>
                  <a:lnTo>
                    <a:pt x="1199" y="260"/>
                  </a:lnTo>
                  <a:lnTo>
                    <a:pt x="1199" y="173"/>
                  </a:lnTo>
                  <a:lnTo>
                    <a:pt x="1191" y="174"/>
                  </a:lnTo>
                  <a:lnTo>
                    <a:pt x="1191" y="260"/>
                  </a:lnTo>
                  <a:lnTo>
                    <a:pt x="1161" y="260"/>
                  </a:lnTo>
                  <a:lnTo>
                    <a:pt x="1161" y="179"/>
                  </a:lnTo>
                  <a:lnTo>
                    <a:pt x="1153" y="180"/>
                  </a:lnTo>
                  <a:lnTo>
                    <a:pt x="1153" y="260"/>
                  </a:lnTo>
                  <a:lnTo>
                    <a:pt x="1123" y="260"/>
                  </a:lnTo>
                  <a:lnTo>
                    <a:pt x="1123" y="187"/>
                  </a:lnTo>
                  <a:lnTo>
                    <a:pt x="1116" y="190"/>
                  </a:lnTo>
                  <a:lnTo>
                    <a:pt x="1116" y="260"/>
                  </a:lnTo>
                  <a:lnTo>
                    <a:pt x="1085" y="260"/>
                  </a:lnTo>
                  <a:lnTo>
                    <a:pt x="1085" y="198"/>
                  </a:lnTo>
                  <a:lnTo>
                    <a:pt x="1077" y="201"/>
                  </a:lnTo>
                  <a:lnTo>
                    <a:pt x="1077" y="260"/>
                  </a:lnTo>
                  <a:lnTo>
                    <a:pt x="1051" y="260"/>
                  </a:lnTo>
                  <a:lnTo>
                    <a:pt x="1051" y="210"/>
                  </a:lnTo>
                  <a:lnTo>
                    <a:pt x="1044" y="213"/>
                  </a:lnTo>
                  <a:lnTo>
                    <a:pt x="1044" y="260"/>
                  </a:lnTo>
                  <a:lnTo>
                    <a:pt x="1014" y="260"/>
                  </a:lnTo>
                  <a:lnTo>
                    <a:pt x="1014" y="225"/>
                  </a:lnTo>
                  <a:lnTo>
                    <a:pt x="1006" y="225"/>
                  </a:lnTo>
                  <a:lnTo>
                    <a:pt x="1006" y="260"/>
                  </a:lnTo>
                  <a:lnTo>
                    <a:pt x="984" y="260"/>
                  </a:lnTo>
                  <a:lnTo>
                    <a:pt x="984" y="225"/>
                  </a:lnTo>
                  <a:lnTo>
                    <a:pt x="975" y="225"/>
                  </a:lnTo>
                  <a:lnTo>
                    <a:pt x="975" y="260"/>
                  </a:lnTo>
                  <a:lnTo>
                    <a:pt x="968" y="260"/>
                  </a:lnTo>
                  <a:lnTo>
                    <a:pt x="968" y="225"/>
                  </a:lnTo>
                  <a:lnTo>
                    <a:pt x="961" y="225"/>
                  </a:lnTo>
                  <a:lnTo>
                    <a:pt x="961" y="260"/>
                  </a:lnTo>
                  <a:lnTo>
                    <a:pt x="953" y="260"/>
                  </a:lnTo>
                  <a:lnTo>
                    <a:pt x="953" y="225"/>
                  </a:lnTo>
                  <a:lnTo>
                    <a:pt x="945" y="225"/>
                  </a:lnTo>
                  <a:lnTo>
                    <a:pt x="945" y="260"/>
                  </a:lnTo>
                  <a:lnTo>
                    <a:pt x="931" y="260"/>
                  </a:lnTo>
                  <a:lnTo>
                    <a:pt x="931" y="225"/>
                  </a:lnTo>
                  <a:lnTo>
                    <a:pt x="911" y="225"/>
                  </a:lnTo>
                  <a:lnTo>
                    <a:pt x="911" y="216"/>
                  </a:lnTo>
                  <a:lnTo>
                    <a:pt x="931" y="216"/>
                  </a:lnTo>
                  <a:lnTo>
                    <a:pt x="931" y="177"/>
                  </a:lnTo>
                  <a:lnTo>
                    <a:pt x="922" y="177"/>
                  </a:lnTo>
                  <a:lnTo>
                    <a:pt x="922" y="162"/>
                  </a:lnTo>
                  <a:lnTo>
                    <a:pt x="931" y="162"/>
                  </a:lnTo>
                  <a:lnTo>
                    <a:pt x="931" y="155"/>
                  </a:lnTo>
                  <a:lnTo>
                    <a:pt x="847" y="155"/>
                  </a:lnTo>
                  <a:lnTo>
                    <a:pt x="847" y="162"/>
                  </a:lnTo>
                  <a:lnTo>
                    <a:pt x="855" y="162"/>
                  </a:lnTo>
                  <a:lnTo>
                    <a:pt x="855" y="177"/>
                  </a:lnTo>
                  <a:lnTo>
                    <a:pt x="847" y="177"/>
                  </a:lnTo>
                  <a:lnTo>
                    <a:pt x="847" y="260"/>
                  </a:lnTo>
                  <a:lnTo>
                    <a:pt x="786" y="260"/>
                  </a:lnTo>
                  <a:lnTo>
                    <a:pt x="748" y="272"/>
                  </a:lnTo>
                  <a:lnTo>
                    <a:pt x="674" y="291"/>
                  </a:lnTo>
                  <a:lnTo>
                    <a:pt x="674" y="255"/>
                  </a:lnTo>
                  <a:lnTo>
                    <a:pt x="632" y="255"/>
                  </a:lnTo>
                  <a:lnTo>
                    <a:pt x="632" y="296"/>
                  </a:lnTo>
                  <a:lnTo>
                    <a:pt x="609" y="296"/>
                  </a:lnTo>
                  <a:lnTo>
                    <a:pt x="609" y="226"/>
                  </a:lnTo>
                  <a:lnTo>
                    <a:pt x="555" y="226"/>
                  </a:lnTo>
                  <a:lnTo>
                    <a:pt x="555" y="296"/>
                  </a:lnTo>
                  <a:lnTo>
                    <a:pt x="549" y="296"/>
                  </a:lnTo>
                  <a:lnTo>
                    <a:pt x="549" y="279"/>
                  </a:lnTo>
                  <a:lnTo>
                    <a:pt x="525" y="279"/>
                  </a:lnTo>
                  <a:lnTo>
                    <a:pt x="525" y="296"/>
                  </a:lnTo>
                  <a:lnTo>
                    <a:pt x="520" y="296"/>
                  </a:lnTo>
                  <a:lnTo>
                    <a:pt x="520" y="304"/>
                  </a:lnTo>
                  <a:lnTo>
                    <a:pt x="508" y="304"/>
                  </a:lnTo>
                  <a:lnTo>
                    <a:pt x="508" y="280"/>
                  </a:lnTo>
                  <a:lnTo>
                    <a:pt x="502" y="280"/>
                  </a:lnTo>
                  <a:lnTo>
                    <a:pt x="502" y="215"/>
                  </a:lnTo>
                  <a:lnTo>
                    <a:pt x="496" y="215"/>
                  </a:lnTo>
                  <a:lnTo>
                    <a:pt x="496" y="179"/>
                  </a:lnTo>
                  <a:lnTo>
                    <a:pt x="484" y="179"/>
                  </a:lnTo>
                  <a:lnTo>
                    <a:pt x="484" y="137"/>
                  </a:lnTo>
                  <a:lnTo>
                    <a:pt x="478" y="137"/>
                  </a:lnTo>
                  <a:lnTo>
                    <a:pt x="478" y="179"/>
                  </a:lnTo>
                  <a:lnTo>
                    <a:pt x="466" y="179"/>
                  </a:lnTo>
                  <a:lnTo>
                    <a:pt x="466" y="215"/>
                  </a:lnTo>
                  <a:lnTo>
                    <a:pt x="460" y="215"/>
                  </a:lnTo>
                  <a:lnTo>
                    <a:pt x="460" y="280"/>
                  </a:lnTo>
                  <a:lnTo>
                    <a:pt x="454" y="280"/>
                  </a:lnTo>
                  <a:lnTo>
                    <a:pt x="454" y="304"/>
                  </a:lnTo>
                  <a:lnTo>
                    <a:pt x="442" y="304"/>
                  </a:lnTo>
                  <a:lnTo>
                    <a:pt x="442" y="126"/>
                  </a:lnTo>
                  <a:lnTo>
                    <a:pt x="389" y="126"/>
                  </a:lnTo>
                  <a:lnTo>
                    <a:pt x="389" y="102"/>
                  </a:lnTo>
                  <a:lnTo>
                    <a:pt x="383" y="102"/>
                  </a:lnTo>
                  <a:lnTo>
                    <a:pt x="342" y="102"/>
                  </a:lnTo>
                  <a:lnTo>
                    <a:pt x="336" y="126"/>
                  </a:lnTo>
                  <a:lnTo>
                    <a:pt x="318" y="126"/>
                  </a:lnTo>
                  <a:lnTo>
                    <a:pt x="318" y="296"/>
                  </a:lnTo>
                  <a:lnTo>
                    <a:pt x="288" y="296"/>
                  </a:lnTo>
                  <a:lnTo>
                    <a:pt x="288" y="214"/>
                  </a:lnTo>
                  <a:lnTo>
                    <a:pt x="270" y="214"/>
                  </a:lnTo>
                  <a:lnTo>
                    <a:pt x="270" y="113"/>
                  </a:lnTo>
                  <a:lnTo>
                    <a:pt x="259" y="113"/>
                  </a:lnTo>
                  <a:lnTo>
                    <a:pt x="259" y="18"/>
                  </a:lnTo>
                  <a:lnTo>
                    <a:pt x="235" y="18"/>
                  </a:lnTo>
                  <a:lnTo>
                    <a:pt x="235" y="113"/>
                  </a:lnTo>
                  <a:lnTo>
                    <a:pt x="193" y="113"/>
                  </a:lnTo>
                  <a:lnTo>
                    <a:pt x="193" y="214"/>
                  </a:lnTo>
                  <a:lnTo>
                    <a:pt x="174" y="214"/>
                  </a:lnTo>
                  <a:lnTo>
                    <a:pt x="174" y="113"/>
                  </a:lnTo>
                  <a:lnTo>
                    <a:pt x="164" y="113"/>
                  </a:lnTo>
                  <a:lnTo>
                    <a:pt x="164" y="77"/>
                  </a:lnTo>
                  <a:lnTo>
                    <a:pt x="109" y="77"/>
                  </a:lnTo>
                  <a:lnTo>
                    <a:pt x="109" y="113"/>
                  </a:lnTo>
                  <a:lnTo>
                    <a:pt x="97" y="113"/>
                  </a:lnTo>
                  <a:lnTo>
                    <a:pt x="97" y="214"/>
                  </a:lnTo>
                  <a:lnTo>
                    <a:pt x="75" y="214"/>
                  </a:lnTo>
                  <a:lnTo>
                    <a:pt x="75" y="296"/>
                  </a:lnTo>
                  <a:lnTo>
                    <a:pt x="62" y="296"/>
                  </a:lnTo>
                  <a:lnTo>
                    <a:pt x="62" y="267"/>
                  </a:lnTo>
                  <a:lnTo>
                    <a:pt x="26" y="267"/>
                  </a:lnTo>
                  <a:lnTo>
                    <a:pt x="26" y="296"/>
                  </a:lnTo>
                  <a:lnTo>
                    <a:pt x="14" y="296"/>
                  </a:lnTo>
                  <a:lnTo>
                    <a:pt x="14" y="421"/>
                  </a:lnTo>
                  <a:lnTo>
                    <a:pt x="0" y="603"/>
                  </a:lnTo>
                  <a:lnTo>
                    <a:pt x="782" y="603"/>
                  </a:lnTo>
                  <a:lnTo>
                    <a:pt x="1565" y="603"/>
                  </a:lnTo>
                  <a:lnTo>
                    <a:pt x="2348" y="603"/>
                  </a:lnTo>
                  <a:lnTo>
                    <a:pt x="3132" y="603"/>
                  </a:lnTo>
                  <a:lnTo>
                    <a:pt x="3132" y="377"/>
                  </a:lnTo>
                  <a:lnTo>
                    <a:pt x="3132" y="215"/>
                  </a:lnTo>
                  <a:lnTo>
                    <a:pt x="2734" y="2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4" name="Freeform 36"/>
            <p:cNvSpPr>
              <a:spLocks noEditPoints="1"/>
            </p:cNvSpPr>
            <p:nvPr userDrawn="1"/>
          </p:nvSpPr>
          <p:spPr bwMode="auto">
            <a:xfrm>
              <a:off x="4457700" y="6338888"/>
              <a:ext cx="396875" cy="88900"/>
            </a:xfrm>
            <a:custGeom>
              <a:avLst/>
              <a:gdLst/>
              <a:ahLst/>
              <a:cxnLst>
                <a:cxn ang="0">
                  <a:pos x="1054" y="119"/>
                </a:cxn>
                <a:cxn ang="0">
                  <a:pos x="967" y="119"/>
                </a:cxn>
                <a:cxn ang="0">
                  <a:pos x="949" y="150"/>
                </a:cxn>
                <a:cxn ang="0">
                  <a:pos x="902" y="130"/>
                </a:cxn>
                <a:cxn ang="0">
                  <a:pos x="871" y="120"/>
                </a:cxn>
                <a:cxn ang="0">
                  <a:pos x="849" y="99"/>
                </a:cxn>
                <a:cxn ang="0">
                  <a:pos x="812" y="87"/>
                </a:cxn>
                <a:cxn ang="0">
                  <a:pos x="782" y="87"/>
                </a:cxn>
                <a:cxn ang="0">
                  <a:pos x="744" y="99"/>
                </a:cxn>
                <a:cxn ang="0">
                  <a:pos x="727" y="112"/>
                </a:cxn>
                <a:cxn ang="0">
                  <a:pos x="720" y="130"/>
                </a:cxn>
                <a:cxn ang="0">
                  <a:pos x="703" y="41"/>
                </a:cxn>
                <a:cxn ang="0">
                  <a:pos x="691" y="0"/>
                </a:cxn>
                <a:cxn ang="0">
                  <a:pos x="662" y="41"/>
                </a:cxn>
                <a:cxn ang="0">
                  <a:pos x="621" y="130"/>
                </a:cxn>
                <a:cxn ang="0">
                  <a:pos x="571" y="137"/>
                </a:cxn>
                <a:cxn ang="0">
                  <a:pos x="544" y="185"/>
                </a:cxn>
                <a:cxn ang="0">
                  <a:pos x="522" y="154"/>
                </a:cxn>
                <a:cxn ang="0">
                  <a:pos x="503" y="106"/>
                </a:cxn>
                <a:cxn ang="0">
                  <a:pos x="487" y="93"/>
                </a:cxn>
                <a:cxn ang="0">
                  <a:pos x="446" y="106"/>
                </a:cxn>
                <a:cxn ang="0">
                  <a:pos x="428" y="154"/>
                </a:cxn>
                <a:cxn ang="0">
                  <a:pos x="416" y="106"/>
                </a:cxn>
                <a:cxn ang="0">
                  <a:pos x="378" y="72"/>
                </a:cxn>
                <a:cxn ang="0">
                  <a:pos x="348" y="106"/>
                </a:cxn>
                <a:cxn ang="0">
                  <a:pos x="340" y="154"/>
                </a:cxn>
                <a:cxn ang="0">
                  <a:pos x="328" y="130"/>
                </a:cxn>
                <a:cxn ang="0">
                  <a:pos x="299" y="154"/>
                </a:cxn>
                <a:cxn ang="0">
                  <a:pos x="287" y="183"/>
                </a:cxn>
                <a:cxn ang="0">
                  <a:pos x="270" y="165"/>
                </a:cxn>
                <a:cxn ang="0">
                  <a:pos x="188" y="183"/>
                </a:cxn>
                <a:cxn ang="0">
                  <a:pos x="164" y="89"/>
                </a:cxn>
                <a:cxn ang="0">
                  <a:pos x="135" y="71"/>
                </a:cxn>
                <a:cxn ang="0">
                  <a:pos x="70" y="89"/>
                </a:cxn>
                <a:cxn ang="0">
                  <a:pos x="53" y="185"/>
                </a:cxn>
                <a:cxn ang="0">
                  <a:pos x="41" y="154"/>
                </a:cxn>
                <a:cxn ang="0">
                  <a:pos x="12" y="185"/>
                </a:cxn>
                <a:cxn ang="0">
                  <a:pos x="0" y="278"/>
                </a:cxn>
                <a:cxn ang="0">
                  <a:pos x="1249" y="278"/>
                </a:cxn>
                <a:cxn ang="0">
                  <a:pos x="1219" y="137"/>
                </a:cxn>
                <a:cxn ang="0">
                  <a:pos x="1201" y="88"/>
                </a:cxn>
                <a:cxn ang="0">
                  <a:pos x="967" y="119"/>
                </a:cxn>
              </a:cxnLst>
              <a:rect l="0" t="0" r="r" b="b"/>
              <a:pathLst>
                <a:path w="1249" h="278">
                  <a:moveTo>
                    <a:pt x="1078" y="119"/>
                  </a:moveTo>
                  <a:lnTo>
                    <a:pt x="1054" y="119"/>
                  </a:lnTo>
                  <a:lnTo>
                    <a:pt x="1078" y="119"/>
                  </a:lnTo>
                  <a:close/>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5" name="Freeform 37"/>
            <p:cNvSpPr>
              <a:spLocks/>
            </p:cNvSpPr>
            <p:nvPr userDrawn="1"/>
          </p:nvSpPr>
          <p:spPr bwMode="auto">
            <a:xfrm>
              <a:off x="4792663" y="6376988"/>
              <a:ext cx="7938" cy="1588"/>
            </a:xfrm>
            <a:custGeom>
              <a:avLst/>
              <a:gdLst/>
              <a:ahLst/>
              <a:cxnLst>
                <a:cxn ang="0">
                  <a:pos x="24" y="0"/>
                </a:cxn>
                <a:cxn ang="0">
                  <a:pos x="0" y="0"/>
                </a:cxn>
                <a:cxn ang="0">
                  <a:pos x="24" y="0"/>
                </a:cxn>
              </a:cxnLst>
              <a:rect l="0" t="0" r="r" b="b"/>
              <a:pathLst>
                <a:path w="24">
                  <a:moveTo>
                    <a:pt x="24" y="0"/>
                  </a:moveTo>
                  <a:lnTo>
                    <a:pt x="0" y="0"/>
                  </a:lnTo>
                  <a:lnTo>
                    <a:pt x="24" y="0"/>
                  </a:lnTo>
                  <a:close/>
                </a:path>
              </a:pathLst>
            </a:custGeom>
            <a:solidFill>
              <a:srgbClr val="E4AFB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6" name="Freeform 38"/>
            <p:cNvSpPr>
              <a:spLocks/>
            </p:cNvSpPr>
            <p:nvPr userDrawn="1"/>
          </p:nvSpPr>
          <p:spPr bwMode="auto">
            <a:xfrm>
              <a:off x="4457700" y="6338888"/>
              <a:ext cx="396875" cy="88900"/>
            </a:xfrm>
            <a:custGeom>
              <a:avLst/>
              <a:gdLst/>
              <a:ahLst/>
              <a:cxnLst>
                <a:cxn ang="0">
                  <a:pos x="949" y="119"/>
                </a:cxn>
                <a:cxn ang="0">
                  <a:pos x="902" y="150"/>
                </a:cxn>
                <a:cxn ang="0">
                  <a:pos x="873" y="130"/>
                </a:cxn>
                <a:cxn ang="0">
                  <a:pos x="866" y="112"/>
                </a:cxn>
                <a:cxn ang="0">
                  <a:pos x="825" y="89"/>
                </a:cxn>
                <a:cxn ang="0">
                  <a:pos x="797" y="85"/>
                </a:cxn>
                <a:cxn ang="0">
                  <a:pos x="768" y="89"/>
                </a:cxn>
                <a:cxn ang="0">
                  <a:pos x="735" y="105"/>
                </a:cxn>
                <a:cxn ang="0">
                  <a:pos x="723" y="120"/>
                </a:cxn>
                <a:cxn ang="0">
                  <a:pos x="703" y="130"/>
                </a:cxn>
                <a:cxn ang="0">
                  <a:pos x="691" y="41"/>
                </a:cxn>
                <a:cxn ang="0">
                  <a:pos x="662" y="0"/>
                </a:cxn>
                <a:cxn ang="0">
                  <a:pos x="621" y="41"/>
                </a:cxn>
                <a:cxn ang="0">
                  <a:pos x="597" y="130"/>
                </a:cxn>
                <a:cxn ang="0">
                  <a:pos x="544" y="137"/>
                </a:cxn>
                <a:cxn ang="0">
                  <a:pos x="522" y="185"/>
                </a:cxn>
                <a:cxn ang="0">
                  <a:pos x="503" y="154"/>
                </a:cxn>
                <a:cxn ang="0">
                  <a:pos x="487" y="106"/>
                </a:cxn>
                <a:cxn ang="0">
                  <a:pos x="446" y="93"/>
                </a:cxn>
                <a:cxn ang="0">
                  <a:pos x="428" y="106"/>
                </a:cxn>
                <a:cxn ang="0">
                  <a:pos x="416" y="154"/>
                </a:cxn>
                <a:cxn ang="0">
                  <a:pos x="378" y="106"/>
                </a:cxn>
                <a:cxn ang="0">
                  <a:pos x="348" y="72"/>
                </a:cxn>
                <a:cxn ang="0">
                  <a:pos x="340" y="106"/>
                </a:cxn>
                <a:cxn ang="0">
                  <a:pos x="328" y="154"/>
                </a:cxn>
                <a:cxn ang="0">
                  <a:pos x="299" y="130"/>
                </a:cxn>
                <a:cxn ang="0">
                  <a:pos x="287" y="154"/>
                </a:cxn>
                <a:cxn ang="0">
                  <a:pos x="270" y="183"/>
                </a:cxn>
                <a:cxn ang="0">
                  <a:pos x="188" y="165"/>
                </a:cxn>
                <a:cxn ang="0">
                  <a:pos x="164" y="183"/>
                </a:cxn>
                <a:cxn ang="0">
                  <a:pos x="135" y="89"/>
                </a:cxn>
                <a:cxn ang="0">
                  <a:pos x="70" y="71"/>
                </a:cxn>
                <a:cxn ang="0">
                  <a:pos x="53" y="89"/>
                </a:cxn>
                <a:cxn ang="0">
                  <a:pos x="41" y="185"/>
                </a:cxn>
                <a:cxn ang="0">
                  <a:pos x="12" y="154"/>
                </a:cxn>
                <a:cxn ang="0">
                  <a:pos x="0" y="185"/>
                </a:cxn>
                <a:cxn ang="0">
                  <a:pos x="624" y="278"/>
                </a:cxn>
                <a:cxn ang="0">
                  <a:pos x="1219" y="65"/>
                </a:cxn>
                <a:cxn ang="0">
                  <a:pos x="1201" y="137"/>
                </a:cxn>
                <a:cxn ang="0">
                  <a:pos x="1172" y="88"/>
                </a:cxn>
              </a:cxnLst>
              <a:rect l="0" t="0" r="r" b="b"/>
              <a:pathLst>
                <a:path w="1249" h="278">
                  <a:moveTo>
                    <a:pt x="967" y="119"/>
                  </a:moveTo>
                  <a:lnTo>
                    <a:pt x="949" y="119"/>
                  </a:lnTo>
                  <a:lnTo>
                    <a:pt x="949" y="150"/>
                  </a:lnTo>
                  <a:lnTo>
                    <a:pt x="902" y="150"/>
                  </a:lnTo>
                  <a:lnTo>
                    <a:pt x="902" y="130"/>
                  </a:lnTo>
                  <a:lnTo>
                    <a:pt x="873" y="130"/>
                  </a:lnTo>
                  <a:lnTo>
                    <a:pt x="871" y="120"/>
                  </a:lnTo>
                  <a:lnTo>
                    <a:pt x="866" y="112"/>
                  </a:lnTo>
                  <a:lnTo>
                    <a:pt x="849" y="99"/>
                  </a:lnTo>
                  <a:lnTo>
                    <a:pt x="825" y="89"/>
                  </a:lnTo>
                  <a:lnTo>
                    <a:pt x="812" y="87"/>
                  </a:lnTo>
                  <a:lnTo>
                    <a:pt x="797" y="85"/>
                  </a:lnTo>
                  <a:lnTo>
                    <a:pt x="782" y="87"/>
                  </a:lnTo>
                  <a:lnTo>
                    <a:pt x="768" y="89"/>
                  </a:lnTo>
                  <a:lnTo>
                    <a:pt x="744" y="99"/>
                  </a:lnTo>
                  <a:lnTo>
                    <a:pt x="735" y="105"/>
                  </a:lnTo>
                  <a:lnTo>
                    <a:pt x="727" y="112"/>
                  </a:lnTo>
                  <a:lnTo>
                    <a:pt x="723" y="120"/>
                  </a:lnTo>
                  <a:lnTo>
                    <a:pt x="720" y="130"/>
                  </a:lnTo>
                  <a:lnTo>
                    <a:pt x="703" y="130"/>
                  </a:lnTo>
                  <a:lnTo>
                    <a:pt x="703" y="41"/>
                  </a:lnTo>
                  <a:lnTo>
                    <a:pt x="691" y="41"/>
                  </a:lnTo>
                  <a:lnTo>
                    <a:pt x="691" y="0"/>
                  </a:lnTo>
                  <a:lnTo>
                    <a:pt x="662" y="0"/>
                  </a:lnTo>
                  <a:lnTo>
                    <a:pt x="662" y="41"/>
                  </a:lnTo>
                  <a:lnTo>
                    <a:pt x="621" y="41"/>
                  </a:lnTo>
                  <a:lnTo>
                    <a:pt x="621" y="130"/>
                  </a:lnTo>
                  <a:lnTo>
                    <a:pt x="597" y="130"/>
                  </a:lnTo>
                  <a:lnTo>
                    <a:pt x="571" y="137"/>
                  </a:lnTo>
                  <a:lnTo>
                    <a:pt x="544" y="137"/>
                  </a:lnTo>
                  <a:lnTo>
                    <a:pt x="544" y="185"/>
                  </a:lnTo>
                  <a:lnTo>
                    <a:pt x="522" y="185"/>
                  </a:lnTo>
                  <a:lnTo>
                    <a:pt x="522" y="154"/>
                  </a:lnTo>
                  <a:lnTo>
                    <a:pt x="503" y="154"/>
                  </a:lnTo>
                  <a:lnTo>
                    <a:pt x="503" y="106"/>
                  </a:lnTo>
                  <a:lnTo>
                    <a:pt x="487" y="106"/>
                  </a:lnTo>
                  <a:lnTo>
                    <a:pt x="487" y="93"/>
                  </a:lnTo>
                  <a:lnTo>
                    <a:pt x="446" y="93"/>
                  </a:lnTo>
                  <a:lnTo>
                    <a:pt x="446" y="106"/>
                  </a:lnTo>
                  <a:lnTo>
                    <a:pt x="428" y="106"/>
                  </a:lnTo>
                  <a:lnTo>
                    <a:pt x="428" y="154"/>
                  </a:lnTo>
                  <a:lnTo>
                    <a:pt x="416" y="154"/>
                  </a:lnTo>
                  <a:lnTo>
                    <a:pt x="416" y="106"/>
                  </a:lnTo>
                  <a:lnTo>
                    <a:pt x="378" y="106"/>
                  </a:lnTo>
                  <a:lnTo>
                    <a:pt x="378" y="72"/>
                  </a:lnTo>
                  <a:lnTo>
                    <a:pt x="348" y="72"/>
                  </a:lnTo>
                  <a:lnTo>
                    <a:pt x="348" y="106"/>
                  </a:lnTo>
                  <a:lnTo>
                    <a:pt x="340" y="106"/>
                  </a:lnTo>
                  <a:lnTo>
                    <a:pt x="340" y="154"/>
                  </a:lnTo>
                  <a:lnTo>
                    <a:pt x="328" y="154"/>
                  </a:lnTo>
                  <a:lnTo>
                    <a:pt x="328" y="130"/>
                  </a:lnTo>
                  <a:lnTo>
                    <a:pt x="299" y="130"/>
                  </a:lnTo>
                  <a:lnTo>
                    <a:pt x="299" y="154"/>
                  </a:lnTo>
                  <a:lnTo>
                    <a:pt x="287" y="154"/>
                  </a:lnTo>
                  <a:lnTo>
                    <a:pt x="287" y="183"/>
                  </a:lnTo>
                  <a:lnTo>
                    <a:pt x="270" y="183"/>
                  </a:lnTo>
                  <a:lnTo>
                    <a:pt x="270" y="165"/>
                  </a:lnTo>
                  <a:lnTo>
                    <a:pt x="188" y="165"/>
                  </a:lnTo>
                  <a:lnTo>
                    <a:pt x="188" y="183"/>
                  </a:lnTo>
                  <a:lnTo>
                    <a:pt x="164" y="183"/>
                  </a:lnTo>
                  <a:lnTo>
                    <a:pt x="164" y="89"/>
                  </a:lnTo>
                  <a:lnTo>
                    <a:pt x="135" y="89"/>
                  </a:lnTo>
                  <a:lnTo>
                    <a:pt x="135" y="71"/>
                  </a:lnTo>
                  <a:lnTo>
                    <a:pt x="70" y="71"/>
                  </a:lnTo>
                  <a:lnTo>
                    <a:pt x="70" y="89"/>
                  </a:lnTo>
                  <a:lnTo>
                    <a:pt x="53" y="89"/>
                  </a:lnTo>
                  <a:lnTo>
                    <a:pt x="53" y="185"/>
                  </a:lnTo>
                  <a:lnTo>
                    <a:pt x="41" y="185"/>
                  </a:lnTo>
                  <a:lnTo>
                    <a:pt x="41" y="154"/>
                  </a:lnTo>
                  <a:lnTo>
                    <a:pt x="12" y="154"/>
                  </a:lnTo>
                  <a:lnTo>
                    <a:pt x="12" y="185"/>
                  </a:lnTo>
                  <a:lnTo>
                    <a:pt x="0" y="185"/>
                  </a:lnTo>
                  <a:lnTo>
                    <a:pt x="0" y="278"/>
                  </a:lnTo>
                  <a:lnTo>
                    <a:pt x="624" y="278"/>
                  </a:lnTo>
                  <a:lnTo>
                    <a:pt x="1249" y="278"/>
                  </a:lnTo>
                  <a:lnTo>
                    <a:pt x="1219" y="65"/>
                  </a:lnTo>
                  <a:lnTo>
                    <a:pt x="1219" y="137"/>
                  </a:lnTo>
                  <a:lnTo>
                    <a:pt x="1201" y="137"/>
                  </a:lnTo>
                  <a:lnTo>
                    <a:pt x="1201" y="88"/>
                  </a:lnTo>
                  <a:lnTo>
                    <a:pt x="1172" y="88"/>
                  </a:lnTo>
                  <a:lnTo>
                    <a:pt x="967" y="11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7" name="Rectangle 39"/>
            <p:cNvSpPr>
              <a:spLocks noChangeArrowheads="1"/>
            </p:cNvSpPr>
            <p:nvPr userDrawn="1"/>
          </p:nvSpPr>
          <p:spPr bwMode="auto">
            <a:xfrm>
              <a:off x="4456113" y="6421438"/>
              <a:ext cx="244475" cy="34925"/>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8" name="Freeform 40"/>
            <p:cNvSpPr>
              <a:spLocks/>
            </p:cNvSpPr>
            <p:nvPr userDrawn="1"/>
          </p:nvSpPr>
          <p:spPr bwMode="auto">
            <a:xfrm>
              <a:off x="6640513" y="6462713"/>
              <a:ext cx="7938" cy="12700"/>
            </a:xfrm>
            <a:custGeom>
              <a:avLst/>
              <a:gdLst/>
              <a:ahLst/>
              <a:cxnLst>
                <a:cxn ang="0">
                  <a:pos x="17" y="39"/>
                </a:cxn>
                <a:cxn ang="0">
                  <a:pos x="18" y="39"/>
                </a:cxn>
                <a:cxn ang="0">
                  <a:pos x="20" y="39"/>
                </a:cxn>
                <a:cxn ang="0">
                  <a:pos x="20" y="40"/>
                </a:cxn>
                <a:cxn ang="0">
                  <a:pos x="21" y="40"/>
                </a:cxn>
                <a:cxn ang="0">
                  <a:pos x="21" y="41"/>
                </a:cxn>
                <a:cxn ang="0">
                  <a:pos x="22" y="41"/>
                </a:cxn>
                <a:cxn ang="0">
                  <a:pos x="22" y="42"/>
                </a:cxn>
                <a:cxn ang="0">
                  <a:pos x="23" y="36"/>
                </a:cxn>
                <a:cxn ang="0">
                  <a:pos x="23" y="28"/>
                </a:cxn>
                <a:cxn ang="0">
                  <a:pos x="23" y="23"/>
                </a:cxn>
                <a:cxn ang="0">
                  <a:pos x="21" y="21"/>
                </a:cxn>
                <a:cxn ang="0">
                  <a:pos x="18" y="15"/>
                </a:cxn>
                <a:cxn ang="0">
                  <a:pos x="16" y="8"/>
                </a:cxn>
                <a:cxn ang="0">
                  <a:pos x="17" y="4"/>
                </a:cxn>
                <a:cxn ang="0">
                  <a:pos x="14" y="3"/>
                </a:cxn>
                <a:cxn ang="0">
                  <a:pos x="12" y="2"/>
                </a:cxn>
                <a:cxn ang="0">
                  <a:pos x="11" y="0"/>
                </a:cxn>
                <a:cxn ang="0">
                  <a:pos x="8" y="5"/>
                </a:cxn>
                <a:cxn ang="0">
                  <a:pos x="3" y="11"/>
                </a:cxn>
                <a:cxn ang="0">
                  <a:pos x="0" y="14"/>
                </a:cxn>
                <a:cxn ang="0">
                  <a:pos x="0" y="16"/>
                </a:cxn>
                <a:cxn ang="0">
                  <a:pos x="4" y="22"/>
                </a:cxn>
                <a:cxn ang="0">
                  <a:pos x="5" y="26"/>
                </a:cxn>
                <a:cxn ang="0">
                  <a:pos x="5" y="24"/>
                </a:cxn>
                <a:cxn ang="0">
                  <a:pos x="6" y="24"/>
                </a:cxn>
                <a:cxn ang="0">
                  <a:pos x="5" y="24"/>
                </a:cxn>
                <a:cxn ang="0">
                  <a:pos x="5" y="23"/>
                </a:cxn>
                <a:cxn ang="0">
                  <a:pos x="5" y="22"/>
                </a:cxn>
                <a:cxn ang="0">
                  <a:pos x="6" y="22"/>
                </a:cxn>
                <a:cxn ang="0">
                  <a:pos x="8" y="22"/>
                </a:cxn>
                <a:cxn ang="0">
                  <a:pos x="9" y="22"/>
                </a:cxn>
                <a:cxn ang="0">
                  <a:pos x="9" y="23"/>
                </a:cxn>
                <a:cxn ang="0">
                  <a:pos x="9" y="24"/>
                </a:cxn>
                <a:cxn ang="0">
                  <a:pos x="9" y="26"/>
                </a:cxn>
                <a:cxn ang="0">
                  <a:pos x="9" y="24"/>
                </a:cxn>
                <a:cxn ang="0">
                  <a:pos x="10" y="23"/>
                </a:cxn>
                <a:cxn ang="0">
                  <a:pos x="10" y="24"/>
                </a:cxn>
                <a:cxn ang="0">
                  <a:pos x="11" y="24"/>
                </a:cxn>
                <a:cxn ang="0">
                  <a:pos x="11" y="26"/>
                </a:cxn>
                <a:cxn ang="0">
                  <a:pos x="12" y="27"/>
                </a:cxn>
                <a:cxn ang="0">
                  <a:pos x="12" y="26"/>
                </a:cxn>
                <a:cxn ang="0">
                  <a:pos x="14" y="27"/>
                </a:cxn>
                <a:cxn ang="0">
                  <a:pos x="14" y="28"/>
                </a:cxn>
                <a:cxn ang="0">
                  <a:pos x="14" y="29"/>
                </a:cxn>
                <a:cxn ang="0">
                  <a:pos x="15" y="30"/>
                </a:cxn>
                <a:cxn ang="0">
                  <a:pos x="15" y="29"/>
                </a:cxn>
                <a:cxn ang="0">
                  <a:pos x="16" y="29"/>
                </a:cxn>
                <a:cxn ang="0">
                  <a:pos x="17" y="30"/>
                </a:cxn>
                <a:cxn ang="0">
                  <a:pos x="17" y="32"/>
                </a:cxn>
                <a:cxn ang="0">
                  <a:pos x="17" y="33"/>
                </a:cxn>
                <a:cxn ang="0">
                  <a:pos x="16" y="33"/>
                </a:cxn>
                <a:cxn ang="0">
                  <a:pos x="16" y="32"/>
                </a:cxn>
                <a:cxn ang="0">
                  <a:pos x="15" y="32"/>
                </a:cxn>
                <a:cxn ang="0">
                  <a:pos x="15" y="33"/>
                </a:cxn>
                <a:cxn ang="0">
                  <a:pos x="16" y="33"/>
                </a:cxn>
                <a:cxn ang="0">
                  <a:pos x="16" y="34"/>
                </a:cxn>
                <a:cxn ang="0">
                  <a:pos x="16" y="35"/>
                </a:cxn>
                <a:cxn ang="0">
                  <a:pos x="17" y="38"/>
                </a:cxn>
                <a:cxn ang="0">
                  <a:pos x="17" y="39"/>
                </a:cxn>
              </a:cxnLst>
              <a:rect l="0" t="0" r="r" b="b"/>
              <a:pathLst>
                <a:path w="23" h="42">
                  <a:moveTo>
                    <a:pt x="17" y="39"/>
                  </a:moveTo>
                  <a:lnTo>
                    <a:pt x="18" y="39"/>
                  </a:lnTo>
                  <a:lnTo>
                    <a:pt x="20" y="39"/>
                  </a:lnTo>
                  <a:lnTo>
                    <a:pt x="20" y="40"/>
                  </a:lnTo>
                  <a:lnTo>
                    <a:pt x="21" y="40"/>
                  </a:lnTo>
                  <a:lnTo>
                    <a:pt x="21" y="41"/>
                  </a:lnTo>
                  <a:lnTo>
                    <a:pt x="22" y="41"/>
                  </a:lnTo>
                  <a:lnTo>
                    <a:pt x="22" y="42"/>
                  </a:lnTo>
                  <a:lnTo>
                    <a:pt x="23" y="36"/>
                  </a:lnTo>
                  <a:lnTo>
                    <a:pt x="23" y="28"/>
                  </a:lnTo>
                  <a:lnTo>
                    <a:pt x="23" y="23"/>
                  </a:lnTo>
                  <a:lnTo>
                    <a:pt x="21" y="21"/>
                  </a:lnTo>
                  <a:lnTo>
                    <a:pt x="18" y="15"/>
                  </a:lnTo>
                  <a:lnTo>
                    <a:pt x="16" y="8"/>
                  </a:lnTo>
                  <a:lnTo>
                    <a:pt x="17" y="4"/>
                  </a:lnTo>
                  <a:lnTo>
                    <a:pt x="14" y="3"/>
                  </a:lnTo>
                  <a:lnTo>
                    <a:pt x="12" y="2"/>
                  </a:lnTo>
                  <a:lnTo>
                    <a:pt x="11" y="0"/>
                  </a:lnTo>
                  <a:lnTo>
                    <a:pt x="8" y="5"/>
                  </a:lnTo>
                  <a:lnTo>
                    <a:pt x="3" y="11"/>
                  </a:lnTo>
                  <a:lnTo>
                    <a:pt x="0" y="14"/>
                  </a:lnTo>
                  <a:lnTo>
                    <a:pt x="0" y="16"/>
                  </a:lnTo>
                  <a:lnTo>
                    <a:pt x="4" y="22"/>
                  </a:lnTo>
                  <a:lnTo>
                    <a:pt x="5" y="26"/>
                  </a:lnTo>
                  <a:lnTo>
                    <a:pt x="5" y="24"/>
                  </a:lnTo>
                  <a:lnTo>
                    <a:pt x="6" y="24"/>
                  </a:lnTo>
                  <a:lnTo>
                    <a:pt x="5" y="24"/>
                  </a:lnTo>
                  <a:lnTo>
                    <a:pt x="5" y="23"/>
                  </a:lnTo>
                  <a:lnTo>
                    <a:pt x="5" y="22"/>
                  </a:lnTo>
                  <a:lnTo>
                    <a:pt x="6" y="22"/>
                  </a:lnTo>
                  <a:lnTo>
                    <a:pt x="8" y="22"/>
                  </a:lnTo>
                  <a:lnTo>
                    <a:pt x="9" y="22"/>
                  </a:lnTo>
                  <a:lnTo>
                    <a:pt x="9" y="23"/>
                  </a:lnTo>
                  <a:lnTo>
                    <a:pt x="9" y="24"/>
                  </a:lnTo>
                  <a:lnTo>
                    <a:pt x="9" y="26"/>
                  </a:lnTo>
                  <a:lnTo>
                    <a:pt x="9" y="24"/>
                  </a:lnTo>
                  <a:lnTo>
                    <a:pt x="10" y="23"/>
                  </a:lnTo>
                  <a:lnTo>
                    <a:pt x="10" y="24"/>
                  </a:lnTo>
                  <a:lnTo>
                    <a:pt x="11" y="24"/>
                  </a:lnTo>
                  <a:lnTo>
                    <a:pt x="11" y="26"/>
                  </a:lnTo>
                  <a:lnTo>
                    <a:pt x="12" y="27"/>
                  </a:lnTo>
                  <a:lnTo>
                    <a:pt x="12" y="26"/>
                  </a:lnTo>
                  <a:lnTo>
                    <a:pt x="14" y="27"/>
                  </a:lnTo>
                  <a:lnTo>
                    <a:pt x="14" y="28"/>
                  </a:lnTo>
                  <a:lnTo>
                    <a:pt x="14" y="29"/>
                  </a:lnTo>
                  <a:lnTo>
                    <a:pt x="15" y="30"/>
                  </a:lnTo>
                  <a:lnTo>
                    <a:pt x="15" y="29"/>
                  </a:lnTo>
                  <a:lnTo>
                    <a:pt x="16" y="29"/>
                  </a:lnTo>
                  <a:lnTo>
                    <a:pt x="17" y="30"/>
                  </a:lnTo>
                  <a:lnTo>
                    <a:pt x="17" y="32"/>
                  </a:lnTo>
                  <a:lnTo>
                    <a:pt x="17" y="33"/>
                  </a:lnTo>
                  <a:lnTo>
                    <a:pt x="16" y="33"/>
                  </a:lnTo>
                  <a:lnTo>
                    <a:pt x="16" y="32"/>
                  </a:lnTo>
                  <a:lnTo>
                    <a:pt x="15" y="32"/>
                  </a:lnTo>
                  <a:lnTo>
                    <a:pt x="15" y="33"/>
                  </a:lnTo>
                  <a:lnTo>
                    <a:pt x="16" y="33"/>
                  </a:lnTo>
                  <a:lnTo>
                    <a:pt x="16" y="34"/>
                  </a:lnTo>
                  <a:lnTo>
                    <a:pt x="16" y="35"/>
                  </a:lnTo>
                  <a:lnTo>
                    <a:pt x="17" y="38"/>
                  </a:lnTo>
                  <a:lnTo>
                    <a:pt x="17" y="3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59" name="Freeform 41"/>
            <p:cNvSpPr>
              <a:spLocks/>
            </p:cNvSpPr>
            <p:nvPr userDrawn="1"/>
          </p:nvSpPr>
          <p:spPr bwMode="auto">
            <a:xfrm>
              <a:off x="6640513" y="6467476"/>
              <a:ext cx="1588" cy="6350"/>
            </a:xfrm>
            <a:custGeom>
              <a:avLst/>
              <a:gdLst/>
              <a:ahLst/>
              <a:cxnLst>
                <a:cxn ang="0">
                  <a:pos x="7" y="18"/>
                </a:cxn>
                <a:cxn ang="0">
                  <a:pos x="6" y="19"/>
                </a:cxn>
                <a:cxn ang="0">
                  <a:pos x="7" y="19"/>
                </a:cxn>
                <a:cxn ang="0">
                  <a:pos x="6" y="20"/>
                </a:cxn>
                <a:cxn ang="0">
                  <a:pos x="4" y="19"/>
                </a:cxn>
                <a:cxn ang="0">
                  <a:pos x="2" y="14"/>
                </a:cxn>
                <a:cxn ang="0">
                  <a:pos x="1" y="11"/>
                </a:cxn>
                <a:cxn ang="0">
                  <a:pos x="1" y="6"/>
                </a:cxn>
                <a:cxn ang="0">
                  <a:pos x="0" y="0"/>
                </a:cxn>
                <a:cxn ang="0">
                  <a:pos x="3" y="5"/>
                </a:cxn>
                <a:cxn ang="0">
                  <a:pos x="6" y="11"/>
                </a:cxn>
                <a:cxn ang="0">
                  <a:pos x="7" y="13"/>
                </a:cxn>
                <a:cxn ang="0">
                  <a:pos x="6" y="14"/>
                </a:cxn>
                <a:cxn ang="0">
                  <a:pos x="6" y="16"/>
                </a:cxn>
                <a:cxn ang="0">
                  <a:pos x="7" y="14"/>
                </a:cxn>
                <a:cxn ang="0">
                  <a:pos x="6" y="16"/>
                </a:cxn>
                <a:cxn ang="0">
                  <a:pos x="7" y="17"/>
                </a:cxn>
                <a:cxn ang="0">
                  <a:pos x="7" y="16"/>
                </a:cxn>
                <a:cxn ang="0">
                  <a:pos x="7" y="17"/>
                </a:cxn>
                <a:cxn ang="0">
                  <a:pos x="6" y="18"/>
                </a:cxn>
                <a:cxn ang="0">
                  <a:pos x="7" y="18"/>
                </a:cxn>
              </a:cxnLst>
              <a:rect l="0" t="0" r="r" b="b"/>
              <a:pathLst>
                <a:path w="7" h="20">
                  <a:moveTo>
                    <a:pt x="7" y="18"/>
                  </a:moveTo>
                  <a:lnTo>
                    <a:pt x="6" y="19"/>
                  </a:lnTo>
                  <a:lnTo>
                    <a:pt x="7" y="19"/>
                  </a:lnTo>
                  <a:lnTo>
                    <a:pt x="6" y="20"/>
                  </a:lnTo>
                  <a:lnTo>
                    <a:pt x="4" y="19"/>
                  </a:lnTo>
                  <a:lnTo>
                    <a:pt x="2" y="14"/>
                  </a:lnTo>
                  <a:lnTo>
                    <a:pt x="1" y="11"/>
                  </a:lnTo>
                  <a:lnTo>
                    <a:pt x="1" y="6"/>
                  </a:lnTo>
                  <a:lnTo>
                    <a:pt x="0" y="0"/>
                  </a:lnTo>
                  <a:lnTo>
                    <a:pt x="3" y="5"/>
                  </a:lnTo>
                  <a:lnTo>
                    <a:pt x="6" y="11"/>
                  </a:lnTo>
                  <a:lnTo>
                    <a:pt x="7" y="13"/>
                  </a:lnTo>
                  <a:lnTo>
                    <a:pt x="6" y="14"/>
                  </a:lnTo>
                  <a:lnTo>
                    <a:pt x="6" y="16"/>
                  </a:lnTo>
                  <a:lnTo>
                    <a:pt x="7" y="14"/>
                  </a:lnTo>
                  <a:lnTo>
                    <a:pt x="6" y="16"/>
                  </a:lnTo>
                  <a:lnTo>
                    <a:pt x="7" y="17"/>
                  </a:lnTo>
                  <a:lnTo>
                    <a:pt x="7" y="16"/>
                  </a:lnTo>
                  <a:lnTo>
                    <a:pt x="7" y="17"/>
                  </a:lnTo>
                  <a:lnTo>
                    <a:pt x="6" y="18"/>
                  </a:lnTo>
                  <a:lnTo>
                    <a:pt x="7" y="1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0" name="Freeform 42"/>
            <p:cNvSpPr>
              <a:spLocks/>
            </p:cNvSpPr>
            <p:nvPr userDrawn="1"/>
          </p:nvSpPr>
          <p:spPr bwMode="auto">
            <a:xfrm>
              <a:off x="6642100" y="6475413"/>
              <a:ext cx="3175" cy="12700"/>
            </a:xfrm>
            <a:custGeom>
              <a:avLst/>
              <a:gdLst/>
              <a:ahLst/>
              <a:cxnLst>
                <a:cxn ang="0">
                  <a:pos x="6" y="38"/>
                </a:cxn>
                <a:cxn ang="0">
                  <a:pos x="5" y="35"/>
                </a:cxn>
                <a:cxn ang="0">
                  <a:pos x="5" y="26"/>
                </a:cxn>
                <a:cxn ang="0">
                  <a:pos x="3" y="14"/>
                </a:cxn>
                <a:cxn ang="0">
                  <a:pos x="2" y="8"/>
                </a:cxn>
                <a:cxn ang="0">
                  <a:pos x="0" y="2"/>
                </a:cxn>
                <a:cxn ang="0">
                  <a:pos x="0" y="0"/>
                </a:cxn>
                <a:cxn ang="0">
                  <a:pos x="1" y="0"/>
                </a:cxn>
                <a:cxn ang="0">
                  <a:pos x="2" y="0"/>
                </a:cxn>
                <a:cxn ang="0">
                  <a:pos x="3" y="0"/>
                </a:cxn>
                <a:cxn ang="0">
                  <a:pos x="3" y="1"/>
                </a:cxn>
                <a:cxn ang="0">
                  <a:pos x="3" y="4"/>
                </a:cxn>
                <a:cxn ang="0">
                  <a:pos x="3" y="6"/>
                </a:cxn>
                <a:cxn ang="0">
                  <a:pos x="3" y="7"/>
                </a:cxn>
                <a:cxn ang="0">
                  <a:pos x="5" y="8"/>
                </a:cxn>
                <a:cxn ang="0">
                  <a:pos x="5" y="9"/>
                </a:cxn>
                <a:cxn ang="0">
                  <a:pos x="6" y="9"/>
                </a:cxn>
                <a:cxn ang="0">
                  <a:pos x="6" y="10"/>
                </a:cxn>
                <a:cxn ang="0">
                  <a:pos x="6" y="12"/>
                </a:cxn>
                <a:cxn ang="0">
                  <a:pos x="7" y="10"/>
                </a:cxn>
                <a:cxn ang="0">
                  <a:pos x="7" y="12"/>
                </a:cxn>
                <a:cxn ang="0">
                  <a:pos x="6" y="13"/>
                </a:cxn>
                <a:cxn ang="0">
                  <a:pos x="6" y="14"/>
                </a:cxn>
                <a:cxn ang="0">
                  <a:pos x="6" y="15"/>
                </a:cxn>
                <a:cxn ang="0">
                  <a:pos x="6" y="14"/>
                </a:cxn>
                <a:cxn ang="0">
                  <a:pos x="7" y="14"/>
                </a:cxn>
                <a:cxn ang="0">
                  <a:pos x="6" y="15"/>
                </a:cxn>
                <a:cxn ang="0">
                  <a:pos x="6" y="17"/>
                </a:cxn>
                <a:cxn ang="0">
                  <a:pos x="7" y="15"/>
                </a:cxn>
                <a:cxn ang="0">
                  <a:pos x="7" y="14"/>
                </a:cxn>
                <a:cxn ang="0">
                  <a:pos x="7" y="15"/>
                </a:cxn>
                <a:cxn ang="0">
                  <a:pos x="8" y="17"/>
                </a:cxn>
                <a:cxn ang="0">
                  <a:pos x="8" y="18"/>
                </a:cxn>
                <a:cxn ang="0">
                  <a:pos x="8" y="20"/>
                </a:cxn>
                <a:cxn ang="0">
                  <a:pos x="9" y="25"/>
                </a:cxn>
                <a:cxn ang="0">
                  <a:pos x="11" y="29"/>
                </a:cxn>
                <a:cxn ang="0">
                  <a:pos x="8" y="35"/>
                </a:cxn>
                <a:cxn ang="0">
                  <a:pos x="7" y="36"/>
                </a:cxn>
                <a:cxn ang="0">
                  <a:pos x="6" y="38"/>
                </a:cxn>
              </a:cxnLst>
              <a:rect l="0" t="0" r="r" b="b"/>
              <a:pathLst>
                <a:path w="11" h="38">
                  <a:moveTo>
                    <a:pt x="6" y="38"/>
                  </a:moveTo>
                  <a:lnTo>
                    <a:pt x="5" y="35"/>
                  </a:lnTo>
                  <a:lnTo>
                    <a:pt x="5" y="26"/>
                  </a:lnTo>
                  <a:lnTo>
                    <a:pt x="3" y="14"/>
                  </a:lnTo>
                  <a:lnTo>
                    <a:pt x="2" y="8"/>
                  </a:lnTo>
                  <a:lnTo>
                    <a:pt x="0" y="2"/>
                  </a:lnTo>
                  <a:lnTo>
                    <a:pt x="0" y="0"/>
                  </a:lnTo>
                  <a:lnTo>
                    <a:pt x="1" y="0"/>
                  </a:lnTo>
                  <a:lnTo>
                    <a:pt x="2" y="0"/>
                  </a:lnTo>
                  <a:lnTo>
                    <a:pt x="3" y="0"/>
                  </a:lnTo>
                  <a:lnTo>
                    <a:pt x="3" y="1"/>
                  </a:lnTo>
                  <a:lnTo>
                    <a:pt x="3" y="4"/>
                  </a:lnTo>
                  <a:lnTo>
                    <a:pt x="3" y="6"/>
                  </a:lnTo>
                  <a:lnTo>
                    <a:pt x="3" y="7"/>
                  </a:lnTo>
                  <a:lnTo>
                    <a:pt x="5" y="8"/>
                  </a:lnTo>
                  <a:lnTo>
                    <a:pt x="5" y="9"/>
                  </a:lnTo>
                  <a:lnTo>
                    <a:pt x="6" y="9"/>
                  </a:lnTo>
                  <a:lnTo>
                    <a:pt x="6" y="10"/>
                  </a:lnTo>
                  <a:lnTo>
                    <a:pt x="6" y="12"/>
                  </a:lnTo>
                  <a:lnTo>
                    <a:pt x="7" y="10"/>
                  </a:lnTo>
                  <a:lnTo>
                    <a:pt x="7" y="12"/>
                  </a:lnTo>
                  <a:lnTo>
                    <a:pt x="6" y="13"/>
                  </a:lnTo>
                  <a:lnTo>
                    <a:pt x="6" y="14"/>
                  </a:lnTo>
                  <a:lnTo>
                    <a:pt x="6" y="15"/>
                  </a:lnTo>
                  <a:lnTo>
                    <a:pt x="6" y="14"/>
                  </a:lnTo>
                  <a:lnTo>
                    <a:pt x="7" y="14"/>
                  </a:lnTo>
                  <a:lnTo>
                    <a:pt x="6" y="15"/>
                  </a:lnTo>
                  <a:lnTo>
                    <a:pt x="6" y="17"/>
                  </a:lnTo>
                  <a:lnTo>
                    <a:pt x="7" y="15"/>
                  </a:lnTo>
                  <a:lnTo>
                    <a:pt x="7" y="14"/>
                  </a:lnTo>
                  <a:lnTo>
                    <a:pt x="7" y="15"/>
                  </a:lnTo>
                  <a:lnTo>
                    <a:pt x="8" y="17"/>
                  </a:lnTo>
                  <a:lnTo>
                    <a:pt x="8" y="18"/>
                  </a:lnTo>
                  <a:lnTo>
                    <a:pt x="8" y="20"/>
                  </a:lnTo>
                  <a:lnTo>
                    <a:pt x="9" y="25"/>
                  </a:lnTo>
                  <a:lnTo>
                    <a:pt x="11" y="29"/>
                  </a:lnTo>
                  <a:lnTo>
                    <a:pt x="8" y="35"/>
                  </a:lnTo>
                  <a:lnTo>
                    <a:pt x="7" y="36"/>
                  </a:lnTo>
                  <a:lnTo>
                    <a:pt x="6" y="3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1" name="Freeform 43"/>
            <p:cNvSpPr>
              <a:spLocks/>
            </p:cNvSpPr>
            <p:nvPr userDrawn="1"/>
          </p:nvSpPr>
          <p:spPr bwMode="auto">
            <a:xfrm>
              <a:off x="6640513" y="6459538"/>
              <a:ext cx="3175" cy="6350"/>
            </a:xfrm>
            <a:custGeom>
              <a:avLst/>
              <a:gdLst/>
              <a:ahLst/>
              <a:cxnLst>
                <a:cxn ang="0">
                  <a:pos x="10" y="4"/>
                </a:cxn>
                <a:cxn ang="0">
                  <a:pos x="10" y="5"/>
                </a:cxn>
                <a:cxn ang="0">
                  <a:pos x="10" y="6"/>
                </a:cxn>
                <a:cxn ang="0">
                  <a:pos x="10" y="7"/>
                </a:cxn>
                <a:cxn ang="0">
                  <a:pos x="7" y="12"/>
                </a:cxn>
                <a:cxn ang="0">
                  <a:pos x="0" y="21"/>
                </a:cxn>
                <a:cxn ang="0">
                  <a:pos x="0" y="17"/>
                </a:cxn>
                <a:cxn ang="0">
                  <a:pos x="0" y="10"/>
                </a:cxn>
                <a:cxn ang="0">
                  <a:pos x="0" y="7"/>
                </a:cxn>
                <a:cxn ang="0">
                  <a:pos x="0" y="9"/>
                </a:cxn>
                <a:cxn ang="0">
                  <a:pos x="0" y="7"/>
                </a:cxn>
                <a:cxn ang="0">
                  <a:pos x="0" y="6"/>
                </a:cxn>
                <a:cxn ang="0">
                  <a:pos x="0" y="5"/>
                </a:cxn>
                <a:cxn ang="0">
                  <a:pos x="0" y="4"/>
                </a:cxn>
                <a:cxn ang="0">
                  <a:pos x="1" y="4"/>
                </a:cxn>
                <a:cxn ang="0">
                  <a:pos x="0" y="5"/>
                </a:cxn>
                <a:cxn ang="0">
                  <a:pos x="1" y="5"/>
                </a:cxn>
                <a:cxn ang="0">
                  <a:pos x="1" y="6"/>
                </a:cxn>
                <a:cxn ang="0">
                  <a:pos x="3" y="6"/>
                </a:cxn>
                <a:cxn ang="0">
                  <a:pos x="3" y="5"/>
                </a:cxn>
                <a:cxn ang="0">
                  <a:pos x="3" y="4"/>
                </a:cxn>
                <a:cxn ang="0">
                  <a:pos x="3" y="3"/>
                </a:cxn>
                <a:cxn ang="0">
                  <a:pos x="1" y="3"/>
                </a:cxn>
                <a:cxn ang="0">
                  <a:pos x="1" y="1"/>
                </a:cxn>
                <a:cxn ang="0">
                  <a:pos x="1" y="3"/>
                </a:cxn>
                <a:cxn ang="0">
                  <a:pos x="0" y="3"/>
                </a:cxn>
                <a:cxn ang="0">
                  <a:pos x="0" y="1"/>
                </a:cxn>
                <a:cxn ang="0">
                  <a:pos x="0" y="0"/>
                </a:cxn>
                <a:cxn ang="0">
                  <a:pos x="1" y="0"/>
                </a:cxn>
                <a:cxn ang="0">
                  <a:pos x="3" y="0"/>
                </a:cxn>
                <a:cxn ang="0">
                  <a:pos x="3" y="1"/>
                </a:cxn>
                <a:cxn ang="0">
                  <a:pos x="4" y="1"/>
                </a:cxn>
                <a:cxn ang="0">
                  <a:pos x="4" y="3"/>
                </a:cxn>
                <a:cxn ang="0">
                  <a:pos x="5" y="3"/>
                </a:cxn>
                <a:cxn ang="0">
                  <a:pos x="5" y="4"/>
                </a:cxn>
                <a:cxn ang="0">
                  <a:pos x="5" y="3"/>
                </a:cxn>
                <a:cxn ang="0">
                  <a:pos x="6" y="3"/>
                </a:cxn>
                <a:cxn ang="0">
                  <a:pos x="6" y="4"/>
                </a:cxn>
                <a:cxn ang="0">
                  <a:pos x="5" y="5"/>
                </a:cxn>
                <a:cxn ang="0">
                  <a:pos x="6" y="5"/>
                </a:cxn>
                <a:cxn ang="0">
                  <a:pos x="7" y="4"/>
                </a:cxn>
                <a:cxn ang="0">
                  <a:pos x="7" y="3"/>
                </a:cxn>
                <a:cxn ang="0">
                  <a:pos x="7" y="4"/>
                </a:cxn>
                <a:cxn ang="0">
                  <a:pos x="9" y="4"/>
                </a:cxn>
                <a:cxn ang="0">
                  <a:pos x="9" y="5"/>
                </a:cxn>
                <a:cxn ang="0">
                  <a:pos x="9" y="6"/>
                </a:cxn>
                <a:cxn ang="0">
                  <a:pos x="9" y="5"/>
                </a:cxn>
                <a:cxn ang="0">
                  <a:pos x="10" y="5"/>
                </a:cxn>
                <a:cxn ang="0">
                  <a:pos x="10" y="4"/>
                </a:cxn>
              </a:cxnLst>
              <a:rect l="0" t="0" r="r" b="b"/>
              <a:pathLst>
                <a:path w="10" h="21">
                  <a:moveTo>
                    <a:pt x="10" y="4"/>
                  </a:moveTo>
                  <a:lnTo>
                    <a:pt x="10" y="5"/>
                  </a:lnTo>
                  <a:lnTo>
                    <a:pt x="10" y="6"/>
                  </a:lnTo>
                  <a:lnTo>
                    <a:pt x="10" y="7"/>
                  </a:lnTo>
                  <a:lnTo>
                    <a:pt x="7" y="12"/>
                  </a:lnTo>
                  <a:lnTo>
                    <a:pt x="0" y="21"/>
                  </a:lnTo>
                  <a:lnTo>
                    <a:pt x="0" y="17"/>
                  </a:lnTo>
                  <a:lnTo>
                    <a:pt x="0" y="10"/>
                  </a:lnTo>
                  <a:lnTo>
                    <a:pt x="0" y="7"/>
                  </a:lnTo>
                  <a:lnTo>
                    <a:pt x="0" y="9"/>
                  </a:lnTo>
                  <a:lnTo>
                    <a:pt x="0" y="7"/>
                  </a:lnTo>
                  <a:lnTo>
                    <a:pt x="0" y="6"/>
                  </a:lnTo>
                  <a:lnTo>
                    <a:pt x="0" y="5"/>
                  </a:lnTo>
                  <a:lnTo>
                    <a:pt x="0" y="4"/>
                  </a:lnTo>
                  <a:lnTo>
                    <a:pt x="1" y="4"/>
                  </a:lnTo>
                  <a:lnTo>
                    <a:pt x="0" y="5"/>
                  </a:lnTo>
                  <a:lnTo>
                    <a:pt x="1" y="5"/>
                  </a:lnTo>
                  <a:lnTo>
                    <a:pt x="1" y="6"/>
                  </a:lnTo>
                  <a:lnTo>
                    <a:pt x="3" y="6"/>
                  </a:lnTo>
                  <a:lnTo>
                    <a:pt x="3" y="5"/>
                  </a:lnTo>
                  <a:lnTo>
                    <a:pt x="3" y="4"/>
                  </a:lnTo>
                  <a:lnTo>
                    <a:pt x="3" y="3"/>
                  </a:lnTo>
                  <a:lnTo>
                    <a:pt x="1" y="3"/>
                  </a:lnTo>
                  <a:lnTo>
                    <a:pt x="1" y="1"/>
                  </a:lnTo>
                  <a:lnTo>
                    <a:pt x="1" y="3"/>
                  </a:lnTo>
                  <a:lnTo>
                    <a:pt x="0" y="3"/>
                  </a:lnTo>
                  <a:lnTo>
                    <a:pt x="0" y="1"/>
                  </a:lnTo>
                  <a:lnTo>
                    <a:pt x="0" y="0"/>
                  </a:lnTo>
                  <a:lnTo>
                    <a:pt x="1" y="0"/>
                  </a:lnTo>
                  <a:lnTo>
                    <a:pt x="3" y="0"/>
                  </a:lnTo>
                  <a:lnTo>
                    <a:pt x="3" y="1"/>
                  </a:lnTo>
                  <a:lnTo>
                    <a:pt x="4" y="1"/>
                  </a:lnTo>
                  <a:lnTo>
                    <a:pt x="4" y="3"/>
                  </a:lnTo>
                  <a:lnTo>
                    <a:pt x="5" y="3"/>
                  </a:lnTo>
                  <a:lnTo>
                    <a:pt x="5" y="4"/>
                  </a:lnTo>
                  <a:lnTo>
                    <a:pt x="5" y="3"/>
                  </a:lnTo>
                  <a:lnTo>
                    <a:pt x="6" y="3"/>
                  </a:lnTo>
                  <a:lnTo>
                    <a:pt x="6" y="4"/>
                  </a:lnTo>
                  <a:lnTo>
                    <a:pt x="5" y="5"/>
                  </a:lnTo>
                  <a:lnTo>
                    <a:pt x="6" y="5"/>
                  </a:lnTo>
                  <a:lnTo>
                    <a:pt x="7" y="4"/>
                  </a:lnTo>
                  <a:lnTo>
                    <a:pt x="7" y="3"/>
                  </a:lnTo>
                  <a:lnTo>
                    <a:pt x="7" y="4"/>
                  </a:lnTo>
                  <a:lnTo>
                    <a:pt x="9" y="4"/>
                  </a:lnTo>
                  <a:lnTo>
                    <a:pt x="9" y="5"/>
                  </a:lnTo>
                  <a:lnTo>
                    <a:pt x="9" y="6"/>
                  </a:lnTo>
                  <a:lnTo>
                    <a:pt x="9" y="5"/>
                  </a:lnTo>
                  <a:lnTo>
                    <a:pt x="10" y="5"/>
                  </a:lnTo>
                  <a:lnTo>
                    <a:pt x="10" y="4"/>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2" name="Freeform 44"/>
            <p:cNvSpPr>
              <a:spLocks/>
            </p:cNvSpPr>
            <p:nvPr userDrawn="1"/>
          </p:nvSpPr>
          <p:spPr bwMode="auto">
            <a:xfrm>
              <a:off x="6630988" y="6465888"/>
              <a:ext cx="9525" cy="6350"/>
            </a:xfrm>
            <a:custGeom>
              <a:avLst/>
              <a:gdLst/>
              <a:ahLst/>
              <a:cxnLst>
                <a:cxn ang="0">
                  <a:pos x="28" y="22"/>
                </a:cxn>
                <a:cxn ang="0">
                  <a:pos x="24" y="12"/>
                </a:cxn>
                <a:cxn ang="0">
                  <a:pos x="19" y="7"/>
                </a:cxn>
                <a:cxn ang="0">
                  <a:pos x="15" y="4"/>
                </a:cxn>
                <a:cxn ang="0">
                  <a:pos x="12" y="3"/>
                </a:cxn>
                <a:cxn ang="0">
                  <a:pos x="7" y="0"/>
                </a:cxn>
                <a:cxn ang="0">
                  <a:pos x="6" y="0"/>
                </a:cxn>
                <a:cxn ang="0">
                  <a:pos x="3" y="3"/>
                </a:cxn>
                <a:cxn ang="0">
                  <a:pos x="2" y="4"/>
                </a:cxn>
                <a:cxn ang="0">
                  <a:pos x="2" y="5"/>
                </a:cxn>
                <a:cxn ang="0">
                  <a:pos x="3" y="5"/>
                </a:cxn>
                <a:cxn ang="0">
                  <a:pos x="3" y="6"/>
                </a:cxn>
                <a:cxn ang="0">
                  <a:pos x="3" y="7"/>
                </a:cxn>
                <a:cxn ang="0">
                  <a:pos x="2" y="7"/>
                </a:cxn>
                <a:cxn ang="0">
                  <a:pos x="2" y="9"/>
                </a:cxn>
                <a:cxn ang="0">
                  <a:pos x="2" y="7"/>
                </a:cxn>
                <a:cxn ang="0">
                  <a:pos x="1" y="7"/>
                </a:cxn>
                <a:cxn ang="0">
                  <a:pos x="1" y="6"/>
                </a:cxn>
                <a:cxn ang="0">
                  <a:pos x="1" y="7"/>
                </a:cxn>
                <a:cxn ang="0">
                  <a:pos x="1" y="6"/>
                </a:cxn>
                <a:cxn ang="0">
                  <a:pos x="1" y="5"/>
                </a:cxn>
                <a:cxn ang="0">
                  <a:pos x="1" y="6"/>
                </a:cxn>
                <a:cxn ang="0">
                  <a:pos x="0" y="6"/>
                </a:cxn>
                <a:cxn ang="0">
                  <a:pos x="1" y="7"/>
                </a:cxn>
                <a:cxn ang="0">
                  <a:pos x="5" y="10"/>
                </a:cxn>
                <a:cxn ang="0">
                  <a:pos x="9" y="11"/>
                </a:cxn>
                <a:cxn ang="0">
                  <a:pos x="11" y="12"/>
                </a:cxn>
                <a:cxn ang="0">
                  <a:pos x="12" y="11"/>
                </a:cxn>
                <a:cxn ang="0">
                  <a:pos x="13" y="11"/>
                </a:cxn>
                <a:cxn ang="0">
                  <a:pos x="14" y="11"/>
                </a:cxn>
                <a:cxn ang="0">
                  <a:pos x="14" y="10"/>
                </a:cxn>
                <a:cxn ang="0">
                  <a:pos x="15" y="10"/>
                </a:cxn>
                <a:cxn ang="0">
                  <a:pos x="17" y="9"/>
                </a:cxn>
                <a:cxn ang="0">
                  <a:pos x="17" y="10"/>
                </a:cxn>
                <a:cxn ang="0">
                  <a:pos x="18" y="10"/>
                </a:cxn>
                <a:cxn ang="0">
                  <a:pos x="19" y="11"/>
                </a:cxn>
                <a:cxn ang="0">
                  <a:pos x="19" y="12"/>
                </a:cxn>
                <a:cxn ang="0">
                  <a:pos x="20" y="13"/>
                </a:cxn>
                <a:cxn ang="0">
                  <a:pos x="21" y="15"/>
                </a:cxn>
                <a:cxn ang="0">
                  <a:pos x="23" y="17"/>
                </a:cxn>
                <a:cxn ang="0">
                  <a:pos x="28" y="22"/>
                </a:cxn>
              </a:cxnLst>
              <a:rect l="0" t="0" r="r" b="b"/>
              <a:pathLst>
                <a:path w="28" h="22">
                  <a:moveTo>
                    <a:pt x="28" y="22"/>
                  </a:moveTo>
                  <a:lnTo>
                    <a:pt x="24" y="12"/>
                  </a:lnTo>
                  <a:lnTo>
                    <a:pt x="19" y="7"/>
                  </a:lnTo>
                  <a:lnTo>
                    <a:pt x="15" y="4"/>
                  </a:lnTo>
                  <a:lnTo>
                    <a:pt x="12" y="3"/>
                  </a:lnTo>
                  <a:lnTo>
                    <a:pt x="7" y="0"/>
                  </a:lnTo>
                  <a:lnTo>
                    <a:pt x="6" y="0"/>
                  </a:lnTo>
                  <a:lnTo>
                    <a:pt x="3" y="3"/>
                  </a:lnTo>
                  <a:lnTo>
                    <a:pt x="2" y="4"/>
                  </a:lnTo>
                  <a:lnTo>
                    <a:pt x="2" y="5"/>
                  </a:lnTo>
                  <a:lnTo>
                    <a:pt x="3" y="5"/>
                  </a:lnTo>
                  <a:lnTo>
                    <a:pt x="3" y="6"/>
                  </a:lnTo>
                  <a:lnTo>
                    <a:pt x="3" y="7"/>
                  </a:lnTo>
                  <a:lnTo>
                    <a:pt x="2" y="7"/>
                  </a:lnTo>
                  <a:lnTo>
                    <a:pt x="2" y="9"/>
                  </a:lnTo>
                  <a:lnTo>
                    <a:pt x="2" y="7"/>
                  </a:lnTo>
                  <a:lnTo>
                    <a:pt x="1" y="7"/>
                  </a:lnTo>
                  <a:lnTo>
                    <a:pt x="1" y="6"/>
                  </a:lnTo>
                  <a:lnTo>
                    <a:pt x="1" y="7"/>
                  </a:lnTo>
                  <a:lnTo>
                    <a:pt x="1" y="6"/>
                  </a:lnTo>
                  <a:lnTo>
                    <a:pt x="1" y="5"/>
                  </a:lnTo>
                  <a:lnTo>
                    <a:pt x="1" y="6"/>
                  </a:lnTo>
                  <a:lnTo>
                    <a:pt x="0" y="6"/>
                  </a:lnTo>
                  <a:lnTo>
                    <a:pt x="1" y="7"/>
                  </a:lnTo>
                  <a:lnTo>
                    <a:pt x="5" y="10"/>
                  </a:lnTo>
                  <a:lnTo>
                    <a:pt x="9" y="11"/>
                  </a:lnTo>
                  <a:lnTo>
                    <a:pt x="11" y="12"/>
                  </a:lnTo>
                  <a:lnTo>
                    <a:pt x="12" y="11"/>
                  </a:lnTo>
                  <a:lnTo>
                    <a:pt x="13" y="11"/>
                  </a:lnTo>
                  <a:lnTo>
                    <a:pt x="14" y="11"/>
                  </a:lnTo>
                  <a:lnTo>
                    <a:pt x="14" y="10"/>
                  </a:lnTo>
                  <a:lnTo>
                    <a:pt x="15" y="10"/>
                  </a:lnTo>
                  <a:lnTo>
                    <a:pt x="17" y="9"/>
                  </a:lnTo>
                  <a:lnTo>
                    <a:pt x="17" y="10"/>
                  </a:lnTo>
                  <a:lnTo>
                    <a:pt x="18" y="10"/>
                  </a:lnTo>
                  <a:lnTo>
                    <a:pt x="19" y="11"/>
                  </a:lnTo>
                  <a:lnTo>
                    <a:pt x="19" y="12"/>
                  </a:lnTo>
                  <a:lnTo>
                    <a:pt x="20" y="13"/>
                  </a:lnTo>
                  <a:lnTo>
                    <a:pt x="21" y="15"/>
                  </a:lnTo>
                  <a:lnTo>
                    <a:pt x="23" y="17"/>
                  </a:lnTo>
                  <a:lnTo>
                    <a:pt x="28" y="2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3" name="Freeform 45"/>
            <p:cNvSpPr>
              <a:spLocks/>
            </p:cNvSpPr>
            <p:nvPr userDrawn="1"/>
          </p:nvSpPr>
          <p:spPr bwMode="auto">
            <a:xfrm>
              <a:off x="6637338" y="6461126"/>
              <a:ext cx="3175" cy="4763"/>
            </a:xfrm>
            <a:custGeom>
              <a:avLst/>
              <a:gdLst/>
              <a:ahLst/>
              <a:cxnLst>
                <a:cxn ang="0">
                  <a:pos x="9" y="13"/>
                </a:cxn>
                <a:cxn ang="0">
                  <a:pos x="7" y="1"/>
                </a:cxn>
                <a:cxn ang="0">
                  <a:pos x="7" y="2"/>
                </a:cxn>
                <a:cxn ang="0">
                  <a:pos x="6" y="1"/>
                </a:cxn>
                <a:cxn ang="0">
                  <a:pos x="6" y="2"/>
                </a:cxn>
                <a:cxn ang="0">
                  <a:pos x="5" y="1"/>
                </a:cxn>
                <a:cxn ang="0">
                  <a:pos x="6" y="0"/>
                </a:cxn>
                <a:cxn ang="0">
                  <a:pos x="5" y="0"/>
                </a:cxn>
                <a:cxn ang="0">
                  <a:pos x="4" y="0"/>
                </a:cxn>
                <a:cxn ang="0">
                  <a:pos x="4" y="1"/>
                </a:cxn>
                <a:cxn ang="0">
                  <a:pos x="4" y="0"/>
                </a:cxn>
                <a:cxn ang="0">
                  <a:pos x="4" y="1"/>
                </a:cxn>
                <a:cxn ang="0">
                  <a:pos x="4" y="2"/>
                </a:cxn>
                <a:cxn ang="0">
                  <a:pos x="5" y="2"/>
                </a:cxn>
                <a:cxn ang="0">
                  <a:pos x="5" y="4"/>
                </a:cxn>
                <a:cxn ang="0">
                  <a:pos x="4" y="4"/>
                </a:cxn>
                <a:cxn ang="0">
                  <a:pos x="2" y="2"/>
                </a:cxn>
                <a:cxn ang="0">
                  <a:pos x="1" y="2"/>
                </a:cxn>
                <a:cxn ang="0">
                  <a:pos x="1" y="4"/>
                </a:cxn>
                <a:cxn ang="0">
                  <a:pos x="0" y="5"/>
                </a:cxn>
                <a:cxn ang="0">
                  <a:pos x="0" y="7"/>
                </a:cxn>
                <a:cxn ang="0">
                  <a:pos x="0" y="8"/>
                </a:cxn>
                <a:cxn ang="0">
                  <a:pos x="2" y="11"/>
                </a:cxn>
                <a:cxn ang="0">
                  <a:pos x="6" y="13"/>
                </a:cxn>
                <a:cxn ang="0">
                  <a:pos x="9" y="14"/>
                </a:cxn>
                <a:cxn ang="0">
                  <a:pos x="9" y="13"/>
                </a:cxn>
              </a:cxnLst>
              <a:rect l="0" t="0" r="r" b="b"/>
              <a:pathLst>
                <a:path w="9" h="14">
                  <a:moveTo>
                    <a:pt x="9" y="13"/>
                  </a:moveTo>
                  <a:lnTo>
                    <a:pt x="7" y="1"/>
                  </a:lnTo>
                  <a:lnTo>
                    <a:pt x="7" y="2"/>
                  </a:lnTo>
                  <a:lnTo>
                    <a:pt x="6" y="1"/>
                  </a:lnTo>
                  <a:lnTo>
                    <a:pt x="6" y="2"/>
                  </a:lnTo>
                  <a:lnTo>
                    <a:pt x="5" y="1"/>
                  </a:lnTo>
                  <a:lnTo>
                    <a:pt x="6" y="0"/>
                  </a:lnTo>
                  <a:lnTo>
                    <a:pt x="5" y="0"/>
                  </a:lnTo>
                  <a:lnTo>
                    <a:pt x="4" y="0"/>
                  </a:lnTo>
                  <a:lnTo>
                    <a:pt x="4" y="1"/>
                  </a:lnTo>
                  <a:lnTo>
                    <a:pt x="4" y="0"/>
                  </a:lnTo>
                  <a:lnTo>
                    <a:pt x="4" y="1"/>
                  </a:lnTo>
                  <a:lnTo>
                    <a:pt x="4" y="2"/>
                  </a:lnTo>
                  <a:lnTo>
                    <a:pt x="5" y="2"/>
                  </a:lnTo>
                  <a:lnTo>
                    <a:pt x="5" y="4"/>
                  </a:lnTo>
                  <a:lnTo>
                    <a:pt x="4" y="4"/>
                  </a:lnTo>
                  <a:lnTo>
                    <a:pt x="2" y="2"/>
                  </a:lnTo>
                  <a:lnTo>
                    <a:pt x="1" y="2"/>
                  </a:lnTo>
                  <a:lnTo>
                    <a:pt x="1" y="4"/>
                  </a:lnTo>
                  <a:lnTo>
                    <a:pt x="0" y="5"/>
                  </a:lnTo>
                  <a:lnTo>
                    <a:pt x="0" y="7"/>
                  </a:lnTo>
                  <a:lnTo>
                    <a:pt x="0" y="8"/>
                  </a:lnTo>
                  <a:lnTo>
                    <a:pt x="2" y="11"/>
                  </a:lnTo>
                  <a:lnTo>
                    <a:pt x="6" y="13"/>
                  </a:lnTo>
                  <a:lnTo>
                    <a:pt x="9" y="14"/>
                  </a:lnTo>
                  <a:lnTo>
                    <a:pt x="9"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4" name="Freeform 46"/>
            <p:cNvSpPr>
              <a:spLocks/>
            </p:cNvSpPr>
            <p:nvPr userDrawn="1"/>
          </p:nvSpPr>
          <p:spPr bwMode="auto">
            <a:xfrm>
              <a:off x="5686425" y="6329363"/>
              <a:ext cx="725488" cy="142875"/>
            </a:xfrm>
            <a:custGeom>
              <a:avLst/>
              <a:gdLst/>
              <a:ahLst/>
              <a:cxnLst>
                <a:cxn ang="0">
                  <a:pos x="1670" y="102"/>
                </a:cxn>
                <a:cxn ang="0">
                  <a:pos x="1589" y="169"/>
                </a:cxn>
                <a:cxn ang="0">
                  <a:pos x="1537" y="125"/>
                </a:cxn>
                <a:cxn ang="0">
                  <a:pos x="1532" y="106"/>
                </a:cxn>
                <a:cxn ang="0">
                  <a:pos x="1512" y="72"/>
                </a:cxn>
                <a:cxn ang="0">
                  <a:pos x="1475" y="45"/>
                </a:cxn>
                <a:cxn ang="0">
                  <a:pos x="1428" y="31"/>
                </a:cxn>
                <a:cxn ang="0">
                  <a:pos x="1377" y="31"/>
                </a:cxn>
                <a:cxn ang="0">
                  <a:pos x="1330" y="45"/>
                </a:cxn>
                <a:cxn ang="0">
                  <a:pos x="1294" y="72"/>
                </a:cxn>
                <a:cxn ang="0">
                  <a:pos x="1282" y="88"/>
                </a:cxn>
                <a:cxn ang="0">
                  <a:pos x="1270" y="125"/>
                </a:cxn>
                <a:cxn ang="0">
                  <a:pos x="918" y="179"/>
                </a:cxn>
                <a:cxn ang="0">
                  <a:pos x="911" y="179"/>
                </a:cxn>
                <a:cxn ang="0">
                  <a:pos x="890" y="73"/>
                </a:cxn>
                <a:cxn ang="0">
                  <a:pos x="666" y="1"/>
                </a:cxn>
                <a:cxn ang="0">
                  <a:pos x="615" y="73"/>
                </a:cxn>
                <a:cxn ang="0">
                  <a:pos x="599" y="179"/>
                </a:cxn>
                <a:cxn ang="0">
                  <a:pos x="578" y="126"/>
                </a:cxn>
                <a:cxn ang="0">
                  <a:pos x="527" y="179"/>
                </a:cxn>
                <a:cxn ang="0">
                  <a:pos x="506" y="239"/>
                </a:cxn>
                <a:cxn ang="0">
                  <a:pos x="475" y="201"/>
                </a:cxn>
                <a:cxn ang="0">
                  <a:pos x="330" y="239"/>
                </a:cxn>
                <a:cxn ang="0">
                  <a:pos x="289" y="38"/>
                </a:cxn>
                <a:cxn ang="0">
                  <a:pos x="238" y="0"/>
                </a:cxn>
                <a:cxn ang="0">
                  <a:pos x="125" y="38"/>
                </a:cxn>
                <a:cxn ang="0">
                  <a:pos x="93" y="244"/>
                </a:cxn>
                <a:cxn ang="0">
                  <a:pos x="73" y="179"/>
                </a:cxn>
                <a:cxn ang="0">
                  <a:pos x="22" y="244"/>
                </a:cxn>
                <a:cxn ang="0">
                  <a:pos x="0" y="445"/>
                </a:cxn>
                <a:cxn ang="0">
                  <a:pos x="1143" y="448"/>
                </a:cxn>
                <a:cxn ang="0">
                  <a:pos x="2286" y="453"/>
                </a:cxn>
                <a:cxn ang="0">
                  <a:pos x="2145" y="140"/>
                </a:cxn>
                <a:cxn ang="0">
                  <a:pos x="2114" y="35"/>
                </a:cxn>
                <a:cxn ang="0">
                  <a:pos x="1897" y="102"/>
                </a:cxn>
                <a:cxn ang="0">
                  <a:pos x="1702" y="102"/>
                </a:cxn>
              </a:cxnLst>
              <a:rect l="0" t="0" r="r" b="b"/>
              <a:pathLst>
                <a:path w="2286" h="453">
                  <a:moveTo>
                    <a:pt x="1702" y="102"/>
                  </a:moveTo>
                  <a:lnTo>
                    <a:pt x="1670" y="102"/>
                  </a:lnTo>
                  <a:lnTo>
                    <a:pt x="1670" y="169"/>
                  </a:lnTo>
                  <a:lnTo>
                    <a:pt x="1589" y="169"/>
                  </a:lnTo>
                  <a:lnTo>
                    <a:pt x="1589" y="125"/>
                  </a:lnTo>
                  <a:lnTo>
                    <a:pt x="1537" y="125"/>
                  </a:lnTo>
                  <a:lnTo>
                    <a:pt x="1536" y="115"/>
                  </a:lnTo>
                  <a:lnTo>
                    <a:pt x="1532" y="106"/>
                  </a:lnTo>
                  <a:lnTo>
                    <a:pt x="1524" y="88"/>
                  </a:lnTo>
                  <a:lnTo>
                    <a:pt x="1512" y="72"/>
                  </a:lnTo>
                  <a:lnTo>
                    <a:pt x="1495" y="58"/>
                  </a:lnTo>
                  <a:lnTo>
                    <a:pt x="1475" y="45"/>
                  </a:lnTo>
                  <a:lnTo>
                    <a:pt x="1454" y="37"/>
                  </a:lnTo>
                  <a:lnTo>
                    <a:pt x="1428" y="31"/>
                  </a:lnTo>
                  <a:lnTo>
                    <a:pt x="1403" y="30"/>
                  </a:lnTo>
                  <a:lnTo>
                    <a:pt x="1377" y="31"/>
                  </a:lnTo>
                  <a:lnTo>
                    <a:pt x="1351" y="37"/>
                  </a:lnTo>
                  <a:lnTo>
                    <a:pt x="1330" y="45"/>
                  </a:lnTo>
                  <a:lnTo>
                    <a:pt x="1310" y="58"/>
                  </a:lnTo>
                  <a:lnTo>
                    <a:pt x="1294" y="72"/>
                  </a:lnTo>
                  <a:lnTo>
                    <a:pt x="1288" y="79"/>
                  </a:lnTo>
                  <a:lnTo>
                    <a:pt x="1282" y="88"/>
                  </a:lnTo>
                  <a:lnTo>
                    <a:pt x="1273" y="106"/>
                  </a:lnTo>
                  <a:lnTo>
                    <a:pt x="1270" y="125"/>
                  </a:lnTo>
                  <a:lnTo>
                    <a:pt x="1270" y="169"/>
                  </a:lnTo>
                  <a:lnTo>
                    <a:pt x="918" y="179"/>
                  </a:lnTo>
                  <a:lnTo>
                    <a:pt x="1044" y="179"/>
                  </a:lnTo>
                  <a:lnTo>
                    <a:pt x="911" y="179"/>
                  </a:lnTo>
                  <a:lnTo>
                    <a:pt x="890" y="179"/>
                  </a:lnTo>
                  <a:lnTo>
                    <a:pt x="890" y="73"/>
                  </a:lnTo>
                  <a:lnTo>
                    <a:pt x="666" y="73"/>
                  </a:lnTo>
                  <a:lnTo>
                    <a:pt x="666" y="1"/>
                  </a:lnTo>
                  <a:lnTo>
                    <a:pt x="615" y="1"/>
                  </a:lnTo>
                  <a:lnTo>
                    <a:pt x="615" y="73"/>
                  </a:lnTo>
                  <a:lnTo>
                    <a:pt x="599" y="73"/>
                  </a:lnTo>
                  <a:lnTo>
                    <a:pt x="599" y="179"/>
                  </a:lnTo>
                  <a:lnTo>
                    <a:pt x="578" y="179"/>
                  </a:lnTo>
                  <a:lnTo>
                    <a:pt x="578" y="126"/>
                  </a:lnTo>
                  <a:lnTo>
                    <a:pt x="527" y="126"/>
                  </a:lnTo>
                  <a:lnTo>
                    <a:pt x="527" y="179"/>
                  </a:lnTo>
                  <a:lnTo>
                    <a:pt x="506" y="179"/>
                  </a:lnTo>
                  <a:lnTo>
                    <a:pt x="506" y="239"/>
                  </a:lnTo>
                  <a:lnTo>
                    <a:pt x="475" y="239"/>
                  </a:lnTo>
                  <a:lnTo>
                    <a:pt x="475" y="201"/>
                  </a:lnTo>
                  <a:lnTo>
                    <a:pt x="330" y="201"/>
                  </a:lnTo>
                  <a:lnTo>
                    <a:pt x="330" y="239"/>
                  </a:lnTo>
                  <a:lnTo>
                    <a:pt x="289" y="239"/>
                  </a:lnTo>
                  <a:lnTo>
                    <a:pt x="289" y="38"/>
                  </a:lnTo>
                  <a:lnTo>
                    <a:pt x="238" y="38"/>
                  </a:lnTo>
                  <a:lnTo>
                    <a:pt x="238" y="0"/>
                  </a:lnTo>
                  <a:lnTo>
                    <a:pt x="125" y="0"/>
                  </a:lnTo>
                  <a:lnTo>
                    <a:pt x="125" y="38"/>
                  </a:lnTo>
                  <a:lnTo>
                    <a:pt x="93" y="38"/>
                  </a:lnTo>
                  <a:lnTo>
                    <a:pt x="93" y="244"/>
                  </a:lnTo>
                  <a:lnTo>
                    <a:pt x="73" y="244"/>
                  </a:lnTo>
                  <a:lnTo>
                    <a:pt x="73" y="179"/>
                  </a:lnTo>
                  <a:lnTo>
                    <a:pt x="22" y="179"/>
                  </a:lnTo>
                  <a:lnTo>
                    <a:pt x="22" y="244"/>
                  </a:lnTo>
                  <a:lnTo>
                    <a:pt x="0" y="244"/>
                  </a:lnTo>
                  <a:lnTo>
                    <a:pt x="0" y="445"/>
                  </a:lnTo>
                  <a:lnTo>
                    <a:pt x="571" y="446"/>
                  </a:lnTo>
                  <a:lnTo>
                    <a:pt x="1143" y="448"/>
                  </a:lnTo>
                  <a:lnTo>
                    <a:pt x="1714" y="451"/>
                  </a:lnTo>
                  <a:lnTo>
                    <a:pt x="2286" y="453"/>
                  </a:lnTo>
                  <a:lnTo>
                    <a:pt x="2207" y="133"/>
                  </a:lnTo>
                  <a:lnTo>
                    <a:pt x="2145" y="140"/>
                  </a:lnTo>
                  <a:lnTo>
                    <a:pt x="2114" y="140"/>
                  </a:lnTo>
                  <a:lnTo>
                    <a:pt x="2114" y="35"/>
                  </a:lnTo>
                  <a:lnTo>
                    <a:pt x="2062" y="35"/>
                  </a:lnTo>
                  <a:lnTo>
                    <a:pt x="1897" y="102"/>
                  </a:lnTo>
                  <a:lnTo>
                    <a:pt x="1856" y="102"/>
                  </a:lnTo>
                  <a:lnTo>
                    <a:pt x="1702" y="10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5" name="Freeform 47"/>
            <p:cNvSpPr>
              <a:spLocks/>
            </p:cNvSpPr>
            <p:nvPr userDrawn="1"/>
          </p:nvSpPr>
          <p:spPr bwMode="auto">
            <a:xfrm>
              <a:off x="4872038" y="6413501"/>
              <a:ext cx="2127250" cy="100013"/>
            </a:xfrm>
            <a:custGeom>
              <a:avLst/>
              <a:gdLst/>
              <a:ahLst/>
              <a:cxnLst>
                <a:cxn ang="0">
                  <a:pos x="6662" y="264"/>
                </a:cxn>
                <a:cxn ang="0">
                  <a:pos x="6498" y="190"/>
                </a:cxn>
                <a:cxn ang="0">
                  <a:pos x="6376" y="141"/>
                </a:cxn>
                <a:cxn ang="0">
                  <a:pos x="6295" y="120"/>
                </a:cxn>
                <a:cxn ang="0">
                  <a:pos x="6156" y="118"/>
                </a:cxn>
                <a:cxn ang="0">
                  <a:pos x="5476" y="97"/>
                </a:cxn>
                <a:cxn ang="0">
                  <a:pos x="5059" y="74"/>
                </a:cxn>
                <a:cxn ang="0">
                  <a:pos x="4796" y="54"/>
                </a:cxn>
                <a:cxn ang="0">
                  <a:pos x="4566" y="29"/>
                </a:cxn>
                <a:cxn ang="0">
                  <a:pos x="4401" y="5"/>
                </a:cxn>
                <a:cxn ang="0">
                  <a:pos x="4283" y="0"/>
                </a:cxn>
                <a:cxn ang="0">
                  <a:pos x="4178" y="11"/>
                </a:cxn>
                <a:cxn ang="0">
                  <a:pos x="4086" y="32"/>
                </a:cxn>
                <a:cxn ang="0">
                  <a:pos x="3961" y="79"/>
                </a:cxn>
                <a:cxn ang="0">
                  <a:pos x="3797" y="150"/>
                </a:cxn>
                <a:cxn ang="0">
                  <a:pos x="3559" y="184"/>
                </a:cxn>
                <a:cxn ang="0">
                  <a:pos x="3451" y="179"/>
                </a:cxn>
                <a:cxn ang="0">
                  <a:pos x="3369" y="168"/>
                </a:cxn>
                <a:cxn ang="0">
                  <a:pos x="3245" y="139"/>
                </a:cxn>
                <a:cxn ang="0">
                  <a:pos x="3098" y="115"/>
                </a:cxn>
                <a:cxn ang="0">
                  <a:pos x="2988" y="112"/>
                </a:cxn>
                <a:cxn ang="0">
                  <a:pos x="2855" y="108"/>
                </a:cxn>
                <a:cxn ang="0">
                  <a:pos x="2657" y="88"/>
                </a:cxn>
                <a:cxn ang="0">
                  <a:pos x="2498" y="60"/>
                </a:cxn>
                <a:cxn ang="0">
                  <a:pos x="2318" y="40"/>
                </a:cxn>
                <a:cxn ang="0">
                  <a:pos x="2200" y="36"/>
                </a:cxn>
                <a:cxn ang="0">
                  <a:pos x="2070" y="42"/>
                </a:cxn>
                <a:cxn ang="0">
                  <a:pos x="1942" y="58"/>
                </a:cxn>
                <a:cxn ang="0">
                  <a:pos x="1819" y="80"/>
                </a:cxn>
                <a:cxn ang="0">
                  <a:pos x="1592" y="132"/>
                </a:cxn>
                <a:cxn ang="0">
                  <a:pos x="1405" y="169"/>
                </a:cxn>
                <a:cxn ang="0">
                  <a:pos x="1330" y="175"/>
                </a:cxn>
                <a:cxn ang="0">
                  <a:pos x="1269" y="179"/>
                </a:cxn>
                <a:cxn ang="0">
                  <a:pos x="1217" y="189"/>
                </a:cxn>
                <a:cxn ang="0">
                  <a:pos x="1121" y="216"/>
                </a:cxn>
                <a:cxn ang="0">
                  <a:pos x="1002" y="244"/>
                </a:cxn>
                <a:cxn ang="0">
                  <a:pos x="874" y="256"/>
                </a:cxn>
                <a:cxn ang="0">
                  <a:pos x="766" y="255"/>
                </a:cxn>
                <a:cxn ang="0">
                  <a:pos x="669" y="246"/>
                </a:cxn>
                <a:cxn ang="0">
                  <a:pos x="581" y="231"/>
                </a:cxn>
                <a:cxn ang="0">
                  <a:pos x="459" y="201"/>
                </a:cxn>
                <a:cxn ang="0">
                  <a:pos x="326" y="169"/>
                </a:cxn>
                <a:cxn ang="0">
                  <a:pos x="169" y="149"/>
                </a:cxn>
                <a:cxn ang="0">
                  <a:pos x="38" y="144"/>
                </a:cxn>
                <a:cxn ang="0">
                  <a:pos x="0" y="144"/>
                </a:cxn>
                <a:cxn ang="0">
                  <a:pos x="44" y="148"/>
                </a:cxn>
                <a:cxn ang="0">
                  <a:pos x="692" y="169"/>
                </a:cxn>
                <a:cxn ang="0">
                  <a:pos x="1700" y="198"/>
                </a:cxn>
                <a:cxn ang="0">
                  <a:pos x="2709" y="227"/>
                </a:cxn>
                <a:cxn ang="0">
                  <a:pos x="4267" y="269"/>
                </a:cxn>
                <a:cxn ang="0">
                  <a:pos x="5825" y="311"/>
                </a:cxn>
                <a:cxn ang="0">
                  <a:pos x="6700" y="278"/>
                </a:cxn>
              </a:cxnLst>
              <a:rect l="0" t="0" r="r" b="b"/>
              <a:pathLst>
                <a:path w="6700" h="311">
                  <a:moveTo>
                    <a:pt x="6700" y="278"/>
                  </a:moveTo>
                  <a:lnTo>
                    <a:pt x="6662" y="264"/>
                  </a:lnTo>
                  <a:lnTo>
                    <a:pt x="6614" y="243"/>
                  </a:lnTo>
                  <a:lnTo>
                    <a:pt x="6498" y="190"/>
                  </a:lnTo>
                  <a:lnTo>
                    <a:pt x="6437" y="163"/>
                  </a:lnTo>
                  <a:lnTo>
                    <a:pt x="6376" y="141"/>
                  </a:lnTo>
                  <a:lnTo>
                    <a:pt x="6320" y="125"/>
                  </a:lnTo>
                  <a:lnTo>
                    <a:pt x="6295" y="120"/>
                  </a:lnTo>
                  <a:lnTo>
                    <a:pt x="6270" y="119"/>
                  </a:lnTo>
                  <a:lnTo>
                    <a:pt x="6156" y="118"/>
                  </a:lnTo>
                  <a:lnTo>
                    <a:pt x="5973" y="114"/>
                  </a:lnTo>
                  <a:lnTo>
                    <a:pt x="5476" y="97"/>
                  </a:lnTo>
                  <a:lnTo>
                    <a:pt x="5198" y="83"/>
                  </a:lnTo>
                  <a:lnTo>
                    <a:pt x="5059" y="74"/>
                  </a:lnTo>
                  <a:lnTo>
                    <a:pt x="4924" y="65"/>
                  </a:lnTo>
                  <a:lnTo>
                    <a:pt x="4796" y="54"/>
                  </a:lnTo>
                  <a:lnTo>
                    <a:pt x="4675" y="42"/>
                  </a:lnTo>
                  <a:lnTo>
                    <a:pt x="4566" y="29"/>
                  </a:lnTo>
                  <a:lnTo>
                    <a:pt x="4468" y="14"/>
                  </a:lnTo>
                  <a:lnTo>
                    <a:pt x="4401" y="5"/>
                  </a:lnTo>
                  <a:lnTo>
                    <a:pt x="4339" y="0"/>
                  </a:lnTo>
                  <a:lnTo>
                    <a:pt x="4283" y="0"/>
                  </a:lnTo>
                  <a:lnTo>
                    <a:pt x="4228" y="4"/>
                  </a:lnTo>
                  <a:lnTo>
                    <a:pt x="4178" y="11"/>
                  </a:lnTo>
                  <a:lnTo>
                    <a:pt x="4131" y="20"/>
                  </a:lnTo>
                  <a:lnTo>
                    <a:pt x="4086" y="32"/>
                  </a:lnTo>
                  <a:lnTo>
                    <a:pt x="4043" y="46"/>
                  </a:lnTo>
                  <a:lnTo>
                    <a:pt x="3961" y="79"/>
                  </a:lnTo>
                  <a:lnTo>
                    <a:pt x="3880" y="114"/>
                  </a:lnTo>
                  <a:lnTo>
                    <a:pt x="3797" y="150"/>
                  </a:lnTo>
                  <a:lnTo>
                    <a:pt x="3707" y="181"/>
                  </a:lnTo>
                  <a:lnTo>
                    <a:pt x="3559" y="184"/>
                  </a:lnTo>
                  <a:lnTo>
                    <a:pt x="3501" y="183"/>
                  </a:lnTo>
                  <a:lnTo>
                    <a:pt x="3451" y="179"/>
                  </a:lnTo>
                  <a:lnTo>
                    <a:pt x="3407" y="174"/>
                  </a:lnTo>
                  <a:lnTo>
                    <a:pt x="3369" y="168"/>
                  </a:lnTo>
                  <a:lnTo>
                    <a:pt x="3304" y="154"/>
                  </a:lnTo>
                  <a:lnTo>
                    <a:pt x="3245" y="139"/>
                  </a:lnTo>
                  <a:lnTo>
                    <a:pt x="3180" y="125"/>
                  </a:lnTo>
                  <a:lnTo>
                    <a:pt x="3098" y="115"/>
                  </a:lnTo>
                  <a:lnTo>
                    <a:pt x="3047" y="112"/>
                  </a:lnTo>
                  <a:lnTo>
                    <a:pt x="2988" y="112"/>
                  </a:lnTo>
                  <a:lnTo>
                    <a:pt x="2918" y="111"/>
                  </a:lnTo>
                  <a:lnTo>
                    <a:pt x="2855" y="108"/>
                  </a:lnTo>
                  <a:lnTo>
                    <a:pt x="2748" y="100"/>
                  </a:lnTo>
                  <a:lnTo>
                    <a:pt x="2657" y="88"/>
                  </a:lnTo>
                  <a:lnTo>
                    <a:pt x="2577" y="73"/>
                  </a:lnTo>
                  <a:lnTo>
                    <a:pt x="2498" y="60"/>
                  </a:lnTo>
                  <a:lnTo>
                    <a:pt x="2414" y="48"/>
                  </a:lnTo>
                  <a:lnTo>
                    <a:pt x="2318" y="40"/>
                  </a:lnTo>
                  <a:lnTo>
                    <a:pt x="2262" y="37"/>
                  </a:lnTo>
                  <a:lnTo>
                    <a:pt x="2200" y="36"/>
                  </a:lnTo>
                  <a:lnTo>
                    <a:pt x="2135" y="37"/>
                  </a:lnTo>
                  <a:lnTo>
                    <a:pt x="2070" y="42"/>
                  </a:lnTo>
                  <a:lnTo>
                    <a:pt x="2006" y="49"/>
                  </a:lnTo>
                  <a:lnTo>
                    <a:pt x="1942" y="58"/>
                  </a:lnTo>
                  <a:lnTo>
                    <a:pt x="1879" y="68"/>
                  </a:lnTo>
                  <a:lnTo>
                    <a:pt x="1819" y="80"/>
                  </a:lnTo>
                  <a:lnTo>
                    <a:pt x="1701" y="106"/>
                  </a:lnTo>
                  <a:lnTo>
                    <a:pt x="1592" y="132"/>
                  </a:lnTo>
                  <a:lnTo>
                    <a:pt x="1493" y="154"/>
                  </a:lnTo>
                  <a:lnTo>
                    <a:pt x="1405" y="169"/>
                  </a:lnTo>
                  <a:lnTo>
                    <a:pt x="1365" y="174"/>
                  </a:lnTo>
                  <a:lnTo>
                    <a:pt x="1330" y="175"/>
                  </a:lnTo>
                  <a:lnTo>
                    <a:pt x="1298" y="177"/>
                  </a:lnTo>
                  <a:lnTo>
                    <a:pt x="1269" y="179"/>
                  </a:lnTo>
                  <a:lnTo>
                    <a:pt x="1242" y="184"/>
                  </a:lnTo>
                  <a:lnTo>
                    <a:pt x="1217" y="189"/>
                  </a:lnTo>
                  <a:lnTo>
                    <a:pt x="1169" y="202"/>
                  </a:lnTo>
                  <a:lnTo>
                    <a:pt x="1121" y="216"/>
                  </a:lnTo>
                  <a:lnTo>
                    <a:pt x="1067" y="231"/>
                  </a:lnTo>
                  <a:lnTo>
                    <a:pt x="1002" y="244"/>
                  </a:lnTo>
                  <a:lnTo>
                    <a:pt x="921" y="254"/>
                  </a:lnTo>
                  <a:lnTo>
                    <a:pt x="874" y="256"/>
                  </a:lnTo>
                  <a:lnTo>
                    <a:pt x="820" y="257"/>
                  </a:lnTo>
                  <a:lnTo>
                    <a:pt x="766" y="255"/>
                  </a:lnTo>
                  <a:lnTo>
                    <a:pt x="716" y="251"/>
                  </a:lnTo>
                  <a:lnTo>
                    <a:pt x="669" y="246"/>
                  </a:lnTo>
                  <a:lnTo>
                    <a:pt x="625" y="239"/>
                  </a:lnTo>
                  <a:lnTo>
                    <a:pt x="581" y="231"/>
                  </a:lnTo>
                  <a:lnTo>
                    <a:pt x="541" y="221"/>
                  </a:lnTo>
                  <a:lnTo>
                    <a:pt x="459" y="201"/>
                  </a:lnTo>
                  <a:lnTo>
                    <a:pt x="373" y="179"/>
                  </a:lnTo>
                  <a:lnTo>
                    <a:pt x="326" y="169"/>
                  </a:lnTo>
                  <a:lnTo>
                    <a:pt x="278" y="161"/>
                  </a:lnTo>
                  <a:lnTo>
                    <a:pt x="169" y="149"/>
                  </a:lnTo>
                  <a:lnTo>
                    <a:pt x="107" y="145"/>
                  </a:lnTo>
                  <a:lnTo>
                    <a:pt x="38" y="144"/>
                  </a:lnTo>
                  <a:lnTo>
                    <a:pt x="4" y="144"/>
                  </a:lnTo>
                  <a:lnTo>
                    <a:pt x="0" y="144"/>
                  </a:lnTo>
                  <a:lnTo>
                    <a:pt x="6" y="145"/>
                  </a:lnTo>
                  <a:lnTo>
                    <a:pt x="44" y="148"/>
                  </a:lnTo>
                  <a:lnTo>
                    <a:pt x="117" y="151"/>
                  </a:lnTo>
                  <a:lnTo>
                    <a:pt x="692" y="169"/>
                  </a:lnTo>
                  <a:lnTo>
                    <a:pt x="1196" y="184"/>
                  </a:lnTo>
                  <a:lnTo>
                    <a:pt x="1700" y="198"/>
                  </a:lnTo>
                  <a:lnTo>
                    <a:pt x="2204" y="213"/>
                  </a:lnTo>
                  <a:lnTo>
                    <a:pt x="2709" y="227"/>
                  </a:lnTo>
                  <a:lnTo>
                    <a:pt x="3488" y="248"/>
                  </a:lnTo>
                  <a:lnTo>
                    <a:pt x="4267" y="269"/>
                  </a:lnTo>
                  <a:lnTo>
                    <a:pt x="5046" y="290"/>
                  </a:lnTo>
                  <a:lnTo>
                    <a:pt x="5825" y="311"/>
                  </a:lnTo>
                  <a:lnTo>
                    <a:pt x="5825" y="268"/>
                  </a:lnTo>
                  <a:lnTo>
                    <a:pt x="6700" y="27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6" name="Freeform 48"/>
            <p:cNvSpPr>
              <a:spLocks/>
            </p:cNvSpPr>
            <p:nvPr userDrawn="1"/>
          </p:nvSpPr>
          <p:spPr bwMode="auto">
            <a:xfrm>
              <a:off x="3695700" y="6399213"/>
              <a:ext cx="3414713" cy="228600"/>
            </a:xfrm>
            <a:custGeom>
              <a:avLst/>
              <a:gdLst/>
              <a:ahLst/>
              <a:cxnLst>
                <a:cxn ang="0">
                  <a:pos x="9385" y="213"/>
                </a:cxn>
                <a:cxn ang="0">
                  <a:pos x="8277" y="216"/>
                </a:cxn>
                <a:cxn ang="0">
                  <a:pos x="7237" y="220"/>
                </a:cxn>
                <a:cxn ang="0">
                  <a:pos x="6887" y="209"/>
                </a:cxn>
                <a:cxn ang="0">
                  <a:pos x="6376" y="163"/>
                </a:cxn>
                <a:cxn ang="0">
                  <a:pos x="6034" y="143"/>
                </a:cxn>
                <a:cxn ang="0">
                  <a:pos x="5876" y="144"/>
                </a:cxn>
                <a:cxn ang="0">
                  <a:pos x="5733" y="157"/>
                </a:cxn>
                <a:cxn ang="0">
                  <a:pos x="5483" y="185"/>
                </a:cxn>
                <a:cxn ang="0">
                  <a:pos x="5261" y="195"/>
                </a:cxn>
                <a:cxn ang="0">
                  <a:pos x="5060" y="193"/>
                </a:cxn>
                <a:cxn ang="0">
                  <a:pos x="4867" y="186"/>
                </a:cxn>
                <a:cxn ang="0">
                  <a:pos x="4735" y="173"/>
                </a:cxn>
                <a:cxn ang="0">
                  <a:pos x="4306" y="110"/>
                </a:cxn>
                <a:cxn ang="0">
                  <a:pos x="3909" y="53"/>
                </a:cxn>
                <a:cxn ang="0">
                  <a:pos x="3641" y="21"/>
                </a:cxn>
                <a:cxn ang="0">
                  <a:pos x="3390" y="2"/>
                </a:cxn>
                <a:cxn ang="0">
                  <a:pos x="3224" y="0"/>
                </a:cxn>
                <a:cxn ang="0">
                  <a:pos x="3128" y="6"/>
                </a:cxn>
                <a:cxn ang="0">
                  <a:pos x="3012" y="20"/>
                </a:cxn>
                <a:cxn ang="0">
                  <a:pos x="2863" y="33"/>
                </a:cxn>
                <a:cxn ang="0">
                  <a:pos x="2635" y="44"/>
                </a:cxn>
                <a:cxn ang="0">
                  <a:pos x="2207" y="54"/>
                </a:cxn>
                <a:cxn ang="0">
                  <a:pos x="1969" y="70"/>
                </a:cxn>
                <a:cxn ang="0">
                  <a:pos x="1626" y="101"/>
                </a:cxn>
                <a:cxn ang="0">
                  <a:pos x="1313" y="107"/>
                </a:cxn>
                <a:cxn ang="0">
                  <a:pos x="1031" y="98"/>
                </a:cxn>
                <a:cxn ang="0">
                  <a:pos x="776" y="80"/>
                </a:cxn>
                <a:cxn ang="0">
                  <a:pos x="443" y="54"/>
                </a:cxn>
                <a:cxn ang="0">
                  <a:pos x="250" y="47"/>
                </a:cxn>
                <a:cxn ang="0">
                  <a:pos x="119" y="53"/>
                </a:cxn>
                <a:cxn ang="0">
                  <a:pos x="0" y="70"/>
                </a:cxn>
                <a:cxn ang="0">
                  <a:pos x="1497" y="701"/>
                </a:cxn>
                <a:cxn ang="0">
                  <a:pos x="2732" y="665"/>
                </a:cxn>
                <a:cxn ang="0">
                  <a:pos x="3966" y="629"/>
                </a:cxn>
                <a:cxn ang="0">
                  <a:pos x="5200" y="593"/>
                </a:cxn>
                <a:cxn ang="0">
                  <a:pos x="6434" y="558"/>
                </a:cxn>
                <a:cxn ang="0">
                  <a:pos x="7668" y="522"/>
                </a:cxn>
                <a:cxn ang="0">
                  <a:pos x="8902" y="486"/>
                </a:cxn>
                <a:cxn ang="0">
                  <a:pos x="10136" y="449"/>
                </a:cxn>
                <a:cxn ang="0">
                  <a:pos x="10656" y="400"/>
                </a:cxn>
                <a:cxn ang="0">
                  <a:pos x="10400" y="329"/>
                </a:cxn>
                <a:cxn ang="0">
                  <a:pos x="10230" y="290"/>
                </a:cxn>
                <a:cxn ang="0">
                  <a:pos x="9944" y="240"/>
                </a:cxn>
                <a:cxn ang="0">
                  <a:pos x="9740" y="220"/>
                </a:cxn>
              </a:cxnLst>
              <a:rect l="0" t="0" r="r" b="b"/>
              <a:pathLst>
                <a:path w="10754" h="719">
                  <a:moveTo>
                    <a:pt x="9638" y="216"/>
                  </a:moveTo>
                  <a:lnTo>
                    <a:pt x="9385" y="213"/>
                  </a:lnTo>
                  <a:lnTo>
                    <a:pt x="9055" y="213"/>
                  </a:lnTo>
                  <a:lnTo>
                    <a:pt x="8277" y="216"/>
                  </a:lnTo>
                  <a:lnTo>
                    <a:pt x="7530" y="220"/>
                  </a:lnTo>
                  <a:lnTo>
                    <a:pt x="7237" y="220"/>
                  </a:lnTo>
                  <a:lnTo>
                    <a:pt x="7038" y="217"/>
                  </a:lnTo>
                  <a:lnTo>
                    <a:pt x="6887" y="209"/>
                  </a:lnTo>
                  <a:lnTo>
                    <a:pt x="6723" y="196"/>
                  </a:lnTo>
                  <a:lnTo>
                    <a:pt x="6376" y="163"/>
                  </a:lnTo>
                  <a:lnTo>
                    <a:pt x="6203" y="150"/>
                  </a:lnTo>
                  <a:lnTo>
                    <a:pt x="6034" y="143"/>
                  </a:lnTo>
                  <a:lnTo>
                    <a:pt x="5955" y="142"/>
                  </a:lnTo>
                  <a:lnTo>
                    <a:pt x="5876" y="144"/>
                  </a:lnTo>
                  <a:lnTo>
                    <a:pt x="5803" y="149"/>
                  </a:lnTo>
                  <a:lnTo>
                    <a:pt x="5733" y="157"/>
                  </a:lnTo>
                  <a:lnTo>
                    <a:pt x="5604" y="173"/>
                  </a:lnTo>
                  <a:lnTo>
                    <a:pt x="5483" y="185"/>
                  </a:lnTo>
                  <a:lnTo>
                    <a:pt x="5370" y="192"/>
                  </a:lnTo>
                  <a:lnTo>
                    <a:pt x="5261" y="195"/>
                  </a:lnTo>
                  <a:lnTo>
                    <a:pt x="5159" y="195"/>
                  </a:lnTo>
                  <a:lnTo>
                    <a:pt x="5060" y="193"/>
                  </a:lnTo>
                  <a:lnTo>
                    <a:pt x="4963" y="190"/>
                  </a:lnTo>
                  <a:lnTo>
                    <a:pt x="4867" y="186"/>
                  </a:lnTo>
                  <a:lnTo>
                    <a:pt x="4810" y="183"/>
                  </a:lnTo>
                  <a:lnTo>
                    <a:pt x="4735" y="173"/>
                  </a:lnTo>
                  <a:lnTo>
                    <a:pt x="4542" y="146"/>
                  </a:lnTo>
                  <a:lnTo>
                    <a:pt x="4306" y="110"/>
                  </a:lnTo>
                  <a:lnTo>
                    <a:pt x="4044" y="71"/>
                  </a:lnTo>
                  <a:lnTo>
                    <a:pt x="3909" y="53"/>
                  </a:lnTo>
                  <a:lnTo>
                    <a:pt x="3773" y="36"/>
                  </a:lnTo>
                  <a:lnTo>
                    <a:pt x="3641" y="21"/>
                  </a:lnTo>
                  <a:lnTo>
                    <a:pt x="3512" y="11"/>
                  </a:lnTo>
                  <a:lnTo>
                    <a:pt x="3390" y="2"/>
                  </a:lnTo>
                  <a:lnTo>
                    <a:pt x="3277" y="0"/>
                  </a:lnTo>
                  <a:lnTo>
                    <a:pt x="3224" y="0"/>
                  </a:lnTo>
                  <a:lnTo>
                    <a:pt x="3175" y="2"/>
                  </a:lnTo>
                  <a:lnTo>
                    <a:pt x="3128" y="6"/>
                  </a:lnTo>
                  <a:lnTo>
                    <a:pt x="3085" y="11"/>
                  </a:lnTo>
                  <a:lnTo>
                    <a:pt x="3012" y="20"/>
                  </a:lnTo>
                  <a:lnTo>
                    <a:pt x="2939" y="27"/>
                  </a:lnTo>
                  <a:lnTo>
                    <a:pt x="2863" y="33"/>
                  </a:lnTo>
                  <a:lnTo>
                    <a:pt x="2787" y="38"/>
                  </a:lnTo>
                  <a:lnTo>
                    <a:pt x="2635" y="44"/>
                  </a:lnTo>
                  <a:lnTo>
                    <a:pt x="2486" y="48"/>
                  </a:lnTo>
                  <a:lnTo>
                    <a:pt x="2207" y="54"/>
                  </a:lnTo>
                  <a:lnTo>
                    <a:pt x="2081" y="60"/>
                  </a:lnTo>
                  <a:lnTo>
                    <a:pt x="1969" y="70"/>
                  </a:lnTo>
                  <a:lnTo>
                    <a:pt x="1794" y="89"/>
                  </a:lnTo>
                  <a:lnTo>
                    <a:pt x="1626" y="101"/>
                  </a:lnTo>
                  <a:lnTo>
                    <a:pt x="1466" y="106"/>
                  </a:lnTo>
                  <a:lnTo>
                    <a:pt x="1313" y="107"/>
                  </a:lnTo>
                  <a:lnTo>
                    <a:pt x="1169" y="104"/>
                  </a:lnTo>
                  <a:lnTo>
                    <a:pt x="1031" y="98"/>
                  </a:lnTo>
                  <a:lnTo>
                    <a:pt x="900" y="90"/>
                  </a:lnTo>
                  <a:lnTo>
                    <a:pt x="776" y="80"/>
                  </a:lnTo>
                  <a:lnTo>
                    <a:pt x="547" y="61"/>
                  </a:lnTo>
                  <a:lnTo>
                    <a:pt x="443" y="54"/>
                  </a:lnTo>
                  <a:lnTo>
                    <a:pt x="344" y="49"/>
                  </a:lnTo>
                  <a:lnTo>
                    <a:pt x="250" y="47"/>
                  </a:lnTo>
                  <a:lnTo>
                    <a:pt x="162" y="49"/>
                  </a:lnTo>
                  <a:lnTo>
                    <a:pt x="119" y="53"/>
                  </a:lnTo>
                  <a:lnTo>
                    <a:pt x="78" y="56"/>
                  </a:lnTo>
                  <a:lnTo>
                    <a:pt x="0" y="70"/>
                  </a:lnTo>
                  <a:lnTo>
                    <a:pt x="881" y="719"/>
                  </a:lnTo>
                  <a:lnTo>
                    <a:pt x="1497" y="701"/>
                  </a:lnTo>
                  <a:lnTo>
                    <a:pt x="2115" y="683"/>
                  </a:lnTo>
                  <a:lnTo>
                    <a:pt x="2732" y="665"/>
                  </a:lnTo>
                  <a:lnTo>
                    <a:pt x="3349" y="647"/>
                  </a:lnTo>
                  <a:lnTo>
                    <a:pt x="3966" y="629"/>
                  </a:lnTo>
                  <a:lnTo>
                    <a:pt x="4583" y="611"/>
                  </a:lnTo>
                  <a:lnTo>
                    <a:pt x="5200" y="593"/>
                  </a:lnTo>
                  <a:lnTo>
                    <a:pt x="5817" y="576"/>
                  </a:lnTo>
                  <a:lnTo>
                    <a:pt x="6434" y="558"/>
                  </a:lnTo>
                  <a:lnTo>
                    <a:pt x="7052" y="540"/>
                  </a:lnTo>
                  <a:lnTo>
                    <a:pt x="7668" y="522"/>
                  </a:lnTo>
                  <a:lnTo>
                    <a:pt x="8286" y="504"/>
                  </a:lnTo>
                  <a:lnTo>
                    <a:pt x="8902" y="486"/>
                  </a:lnTo>
                  <a:lnTo>
                    <a:pt x="9520" y="467"/>
                  </a:lnTo>
                  <a:lnTo>
                    <a:pt x="10136" y="449"/>
                  </a:lnTo>
                  <a:lnTo>
                    <a:pt x="10754" y="433"/>
                  </a:lnTo>
                  <a:lnTo>
                    <a:pt x="10656" y="400"/>
                  </a:lnTo>
                  <a:lnTo>
                    <a:pt x="10544" y="368"/>
                  </a:lnTo>
                  <a:lnTo>
                    <a:pt x="10400" y="329"/>
                  </a:lnTo>
                  <a:lnTo>
                    <a:pt x="10318" y="309"/>
                  </a:lnTo>
                  <a:lnTo>
                    <a:pt x="10230" y="290"/>
                  </a:lnTo>
                  <a:lnTo>
                    <a:pt x="10042" y="255"/>
                  </a:lnTo>
                  <a:lnTo>
                    <a:pt x="9944" y="240"/>
                  </a:lnTo>
                  <a:lnTo>
                    <a:pt x="9842" y="228"/>
                  </a:lnTo>
                  <a:lnTo>
                    <a:pt x="9740" y="220"/>
                  </a:lnTo>
                  <a:lnTo>
                    <a:pt x="9638" y="2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7" name="Freeform 49"/>
            <p:cNvSpPr>
              <a:spLocks/>
            </p:cNvSpPr>
            <p:nvPr userDrawn="1"/>
          </p:nvSpPr>
          <p:spPr bwMode="auto">
            <a:xfrm>
              <a:off x="3903663" y="6438901"/>
              <a:ext cx="3119438" cy="184150"/>
            </a:xfrm>
            <a:custGeom>
              <a:avLst/>
              <a:gdLst/>
              <a:ahLst/>
              <a:cxnLst>
                <a:cxn ang="0">
                  <a:pos x="8912" y="209"/>
                </a:cxn>
                <a:cxn ang="0">
                  <a:pos x="7820" y="109"/>
                </a:cxn>
                <a:cxn ang="0">
                  <a:pos x="7719" y="102"/>
                </a:cxn>
                <a:cxn ang="0">
                  <a:pos x="7596" y="99"/>
                </a:cxn>
                <a:cxn ang="0">
                  <a:pos x="7318" y="102"/>
                </a:cxn>
                <a:cxn ang="0">
                  <a:pos x="7180" y="109"/>
                </a:cxn>
                <a:cxn ang="0">
                  <a:pos x="6941" y="132"/>
                </a:cxn>
                <a:cxn ang="0">
                  <a:pos x="6857" y="148"/>
                </a:cxn>
                <a:cxn ang="0">
                  <a:pos x="6798" y="158"/>
                </a:cxn>
                <a:cxn ang="0">
                  <a:pos x="6723" y="161"/>
                </a:cxn>
                <a:cxn ang="0">
                  <a:pos x="6607" y="159"/>
                </a:cxn>
                <a:cxn ang="0">
                  <a:pos x="6416" y="144"/>
                </a:cxn>
                <a:cxn ang="0">
                  <a:pos x="6232" y="123"/>
                </a:cxn>
                <a:cxn ang="0">
                  <a:pos x="6088" y="101"/>
                </a:cxn>
                <a:cxn ang="0">
                  <a:pos x="5935" y="71"/>
                </a:cxn>
                <a:cxn ang="0">
                  <a:pos x="5712" y="37"/>
                </a:cxn>
                <a:cxn ang="0">
                  <a:pos x="5541" y="20"/>
                </a:cxn>
                <a:cxn ang="0">
                  <a:pos x="5375" y="24"/>
                </a:cxn>
                <a:cxn ang="0">
                  <a:pos x="5188" y="43"/>
                </a:cxn>
                <a:cxn ang="0">
                  <a:pos x="5004" y="78"/>
                </a:cxn>
                <a:cxn ang="0">
                  <a:pos x="4899" y="107"/>
                </a:cxn>
                <a:cxn ang="0">
                  <a:pos x="4828" y="120"/>
                </a:cxn>
                <a:cxn ang="0">
                  <a:pos x="4719" y="131"/>
                </a:cxn>
                <a:cxn ang="0">
                  <a:pos x="4598" y="135"/>
                </a:cxn>
                <a:cxn ang="0">
                  <a:pos x="4248" y="127"/>
                </a:cxn>
                <a:cxn ang="0">
                  <a:pos x="4125" y="130"/>
                </a:cxn>
                <a:cxn ang="0">
                  <a:pos x="4075" y="136"/>
                </a:cxn>
                <a:cxn ang="0">
                  <a:pos x="4010" y="129"/>
                </a:cxn>
                <a:cxn ang="0">
                  <a:pos x="3966" y="113"/>
                </a:cxn>
                <a:cxn ang="0">
                  <a:pos x="3839" y="47"/>
                </a:cxn>
                <a:cxn ang="0">
                  <a:pos x="3747" y="11"/>
                </a:cxn>
                <a:cxn ang="0">
                  <a:pos x="3680" y="2"/>
                </a:cxn>
                <a:cxn ang="0">
                  <a:pos x="3456" y="1"/>
                </a:cxn>
                <a:cxn ang="0">
                  <a:pos x="3029" y="11"/>
                </a:cxn>
                <a:cxn ang="0">
                  <a:pos x="2789" y="6"/>
                </a:cxn>
                <a:cxn ang="0">
                  <a:pos x="2677" y="2"/>
                </a:cxn>
                <a:cxn ang="0">
                  <a:pos x="2421" y="13"/>
                </a:cxn>
                <a:cxn ang="0">
                  <a:pos x="2017" y="46"/>
                </a:cxn>
                <a:cxn ang="0">
                  <a:pos x="1833" y="54"/>
                </a:cxn>
                <a:cxn ang="0">
                  <a:pos x="1730" y="55"/>
                </a:cxn>
                <a:cxn ang="0">
                  <a:pos x="1651" y="65"/>
                </a:cxn>
                <a:cxn ang="0">
                  <a:pos x="1588" y="84"/>
                </a:cxn>
                <a:cxn ang="0">
                  <a:pos x="1539" y="109"/>
                </a:cxn>
                <a:cxn ang="0">
                  <a:pos x="1481" y="153"/>
                </a:cxn>
                <a:cxn ang="0">
                  <a:pos x="1415" y="208"/>
                </a:cxn>
                <a:cxn ang="0">
                  <a:pos x="1379" y="228"/>
                </a:cxn>
                <a:cxn ang="0">
                  <a:pos x="1290" y="256"/>
                </a:cxn>
                <a:cxn ang="0">
                  <a:pos x="650" y="421"/>
                </a:cxn>
                <a:cxn ang="0">
                  <a:pos x="0" y="580"/>
                </a:cxn>
                <a:cxn ang="0">
                  <a:pos x="1084" y="412"/>
                </a:cxn>
                <a:cxn ang="0">
                  <a:pos x="2169" y="247"/>
                </a:cxn>
                <a:cxn ang="0">
                  <a:pos x="3581" y="253"/>
                </a:cxn>
                <a:cxn ang="0">
                  <a:pos x="5114" y="248"/>
                </a:cxn>
                <a:cxn ang="0">
                  <a:pos x="6648" y="244"/>
                </a:cxn>
                <a:cxn ang="0">
                  <a:pos x="8237" y="266"/>
                </a:cxn>
                <a:cxn ang="0">
                  <a:pos x="9827" y="289"/>
                </a:cxn>
              </a:cxnLst>
              <a:rect l="0" t="0" r="r" b="b"/>
              <a:pathLst>
                <a:path w="9827" h="580">
                  <a:moveTo>
                    <a:pt x="9827" y="289"/>
                  </a:moveTo>
                  <a:lnTo>
                    <a:pt x="8912" y="209"/>
                  </a:lnTo>
                  <a:lnTo>
                    <a:pt x="8233" y="149"/>
                  </a:lnTo>
                  <a:lnTo>
                    <a:pt x="7820" y="109"/>
                  </a:lnTo>
                  <a:lnTo>
                    <a:pt x="7772" y="106"/>
                  </a:lnTo>
                  <a:lnTo>
                    <a:pt x="7719" y="102"/>
                  </a:lnTo>
                  <a:lnTo>
                    <a:pt x="7659" y="100"/>
                  </a:lnTo>
                  <a:lnTo>
                    <a:pt x="7596" y="99"/>
                  </a:lnTo>
                  <a:lnTo>
                    <a:pt x="7459" y="99"/>
                  </a:lnTo>
                  <a:lnTo>
                    <a:pt x="7318" y="102"/>
                  </a:lnTo>
                  <a:lnTo>
                    <a:pt x="7248" y="106"/>
                  </a:lnTo>
                  <a:lnTo>
                    <a:pt x="7180" y="109"/>
                  </a:lnTo>
                  <a:lnTo>
                    <a:pt x="7051" y="120"/>
                  </a:lnTo>
                  <a:lnTo>
                    <a:pt x="6941" y="132"/>
                  </a:lnTo>
                  <a:lnTo>
                    <a:pt x="6896" y="140"/>
                  </a:lnTo>
                  <a:lnTo>
                    <a:pt x="6857" y="148"/>
                  </a:lnTo>
                  <a:lnTo>
                    <a:pt x="6820" y="155"/>
                  </a:lnTo>
                  <a:lnTo>
                    <a:pt x="6798" y="158"/>
                  </a:lnTo>
                  <a:lnTo>
                    <a:pt x="6774" y="159"/>
                  </a:lnTo>
                  <a:lnTo>
                    <a:pt x="6723" y="161"/>
                  </a:lnTo>
                  <a:lnTo>
                    <a:pt x="6667" y="160"/>
                  </a:lnTo>
                  <a:lnTo>
                    <a:pt x="6607" y="159"/>
                  </a:lnTo>
                  <a:lnTo>
                    <a:pt x="6544" y="155"/>
                  </a:lnTo>
                  <a:lnTo>
                    <a:pt x="6416" y="144"/>
                  </a:lnTo>
                  <a:lnTo>
                    <a:pt x="6291" y="130"/>
                  </a:lnTo>
                  <a:lnTo>
                    <a:pt x="6232" y="123"/>
                  </a:lnTo>
                  <a:lnTo>
                    <a:pt x="6179" y="114"/>
                  </a:lnTo>
                  <a:lnTo>
                    <a:pt x="6088" y="101"/>
                  </a:lnTo>
                  <a:lnTo>
                    <a:pt x="6029" y="89"/>
                  </a:lnTo>
                  <a:lnTo>
                    <a:pt x="5935" y="71"/>
                  </a:lnTo>
                  <a:lnTo>
                    <a:pt x="5825" y="54"/>
                  </a:lnTo>
                  <a:lnTo>
                    <a:pt x="5712" y="37"/>
                  </a:lnTo>
                  <a:lnTo>
                    <a:pt x="5608" y="25"/>
                  </a:lnTo>
                  <a:lnTo>
                    <a:pt x="5541" y="20"/>
                  </a:lnTo>
                  <a:lnTo>
                    <a:pt x="5463" y="20"/>
                  </a:lnTo>
                  <a:lnTo>
                    <a:pt x="5375" y="24"/>
                  </a:lnTo>
                  <a:lnTo>
                    <a:pt x="5283" y="31"/>
                  </a:lnTo>
                  <a:lnTo>
                    <a:pt x="5188" y="43"/>
                  </a:lnTo>
                  <a:lnTo>
                    <a:pt x="5094" y="59"/>
                  </a:lnTo>
                  <a:lnTo>
                    <a:pt x="5004" y="78"/>
                  </a:lnTo>
                  <a:lnTo>
                    <a:pt x="4920" y="101"/>
                  </a:lnTo>
                  <a:lnTo>
                    <a:pt x="4899" y="107"/>
                  </a:lnTo>
                  <a:lnTo>
                    <a:pt x="4878" y="112"/>
                  </a:lnTo>
                  <a:lnTo>
                    <a:pt x="4828" y="120"/>
                  </a:lnTo>
                  <a:lnTo>
                    <a:pt x="4775" y="127"/>
                  </a:lnTo>
                  <a:lnTo>
                    <a:pt x="4719" y="131"/>
                  </a:lnTo>
                  <a:lnTo>
                    <a:pt x="4660" y="134"/>
                  </a:lnTo>
                  <a:lnTo>
                    <a:pt x="4598" y="135"/>
                  </a:lnTo>
                  <a:lnTo>
                    <a:pt x="4475" y="134"/>
                  </a:lnTo>
                  <a:lnTo>
                    <a:pt x="4248" y="127"/>
                  </a:lnTo>
                  <a:lnTo>
                    <a:pt x="4159" y="127"/>
                  </a:lnTo>
                  <a:lnTo>
                    <a:pt x="4125" y="130"/>
                  </a:lnTo>
                  <a:lnTo>
                    <a:pt x="4097" y="134"/>
                  </a:lnTo>
                  <a:lnTo>
                    <a:pt x="4075" y="136"/>
                  </a:lnTo>
                  <a:lnTo>
                    <a:pt x="4053" y="136"/>
                  </a:lnTo>
                  <a:lnTo>
                    <a:pt x="4010" y="129"/>
                  </a:lnTo>
                  <a:lnTo>
                    <a:pt x="3988" y="121"/>
                  </a:lnTo>
                  <a:lnTo>
                    <a:pt x="3966" y="113"/>
                  </a:lnTo>
                  <a:lnTo>
                    <a:pt x="3925" y="93"/>
                  </a:lnTo>
                  <a:lnTo>
                    <a:pt x="3839" y="47"/>
                  </a:lnTo>
                  <a:lnTo>
                    <a:pt x="3794" y="27"/>
                  </a:lnTo>
                  <a:lnTo>
                    <a:pt x="3747" y="11"/>
                  </a:lnTo>
                  <a:lnTo>
                    <a:pt x="3718" y="6"/>
                  </a:lnTo>
                  <a:lnTo>
                    <a:pt x="3680" y="2"/>
                  </a:lnTo>
                  <a:lnTo>
                    <a:pt x="3580" y="0"/>
                  </a:lnTo>
                  <a:lnTo>
                    <a:pt x="3456" y="1"/>
                  </a:lnTo>
                  <a:lnTo>
                    <a:pt x="3317" y="4"/>
                  </a:lnTo>
                  <a:lnTo>
                    <a:pt x="3029" y="11"/>
                  </a:lnTo>
                  <a:lnTo>
                    <a:pt x="2899" y="11"/>
                  </a:lnTo>
                  <a:lnTo>
                    <a:pt x="2789" y="6"/>
                  </a:lnTo>
                  <a:lnTo>
                    <a:pt x="2734" y="4"/>
                  </a:lnTo>
                  <a:lnTo>
                    <a:pt x="2677" y="2"/>
                  </a:lnTo>
                  <a:lnTo>
                    <a:pt x="2553" y="5"/>
                  </a:lnTo>
                  <a:lnTo>
                    <a:pt x="2421" y="13"/>
                  </a:lnTo>
                  <a:lnTo>
                    <a:pt x="2285" y="24"/>
                  </a:lnTo>
                  <a:lnTo>
                    <a:pt x="2017" y="46"/>
                  </a:lnTo>
                  <a:lnTo>
                    <a:pt x="1892" y="53"/>
                  </a:lnTo>
                  <a:lnTo>
                    <a:pt x="1833" y="54"/>
                  </a:lnTo>
                  <a:lnTo>
                    <a:pt x="1779" y="54"/>
                  </a:lnTo>
                  <a:lnTo>
                    <a:pt x="1730" y="55"/>
                  </a:lnTo>
                  <a:lnTo>
                    <a:pt x="1689" y="59"/>
                  </a:lnTo>
                  <a:lnTo>
                    <a:pt x="1651" y="65"/>
                  </a:lnTo>
                  <a:lnTo>
                    <a:pt x="1618" y="73"/>
                  </a:lnTo>
                  <a:lnTo>
                    <a:pt x="1588" y="84"/>
                  </a:lnTo>
                  <a:lnTo>
                    <a:pt x="1563" y="96"/>
                  </a:lnTo>
                  <a:lnTo>
                    <a:pt x="1539" y="109"/>
                  </a:lnTo>
                  <a:lnTo>
                    <a:pt x="1518" y="124"/>
                  </a:lnTo>
                  <a:lnTo>
                    <a:pt x="1481" y="153"/>
                  </a:lnTo>
                  <a:lnTo>
                    <a:pt x="1447" y="182"/>
                  </a:lnTo>
                  <a:lnTo>
                    <a:pt x="1415" y="208"/>
                  </a:lnTo>
                  <a:lnTo>
                    <a:pt x="1398" y="219"/>
                  </a:lnTo>
                  <a:lnTo>
                    <a:pt x="1379" y="228"/>
                  </a:lnTo>
                  <a:lnTo>
                    <a:pt x="1346" y="239"/>
                  </a:lnTo>
                  <a:lnTo>
                    <a:pt x="1290" y="256"/>
                  </a:lnTo>
                  <a:lnTo>
                    <a:pt x="1119" y="302"/>
                  </a:lnTo>
                  <a:lnTo>
                    <a:pt x="650" y="421"/>
                  </a:lnTo>
                  <a:lnTo>
                    <a:pt x="201" y="531"/>
                  </a:lnTo>
                  <a:lnTo>
                    <a:pt x="0" y="580"/>
                  </a:lnTo>
                  <a:lnTo>
                    <a:pt x="542" y="495"/>
                  </a:lnTo>
                  <a:lnTo>
                    <a:pt x="1084" y="412"/>
                  </a:lnTo>
                  <a:lnTo>
                    <a:pt x="1626" y="329"/>
                  </a:lnTo>
                  <a:lnTo>
                    <a:pt x="2169" y="247"/>
                  </a:lnTo>
                  <a:lnTo>
                    <a:pt x="2874" y="249"/>
                  </a:lnTo>
                  <a:lnTo>
                    <a:pt x="3581" y="253"/>
                  </a:lnTo>
                  <a:lnTo>
                    <a:pt x="4347" y="250"/>
                  </a:lnTo>
                  <a:lnTo>
                    <a:pt x="5114" y="248"/>
                  </a:lnTo>
                  <a:lnTo>
                    <a:pt x="5881" y="245"/>
                  </a:lnTo>
                  <a:lnTo>
                    <a:pt x="6648" y="244"/>
                  </a:lnTo>
                  <a:lnTo>
                    <a:pt x="7442" y="255"/>
                  </a:lnTo>
                  <a:lnTo>
                    <a:pt x="8237" y="266"/>
                  </a:lnTo>
                  <a:lnTo>
                    <a:pt x="9031" y="277"/>
                  </a:lnTo>
                  <a:lnTo>
                    <a:pt x="9827" y="2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8" name="Freeform 50"/>
            <p:cNvSpPr>
              <a:spLocks/>
            </p:cNvSpPr>
            <p:nvPr userDrawn="1"/>
          </p:nvSpPr>
          <p:spPr bwMode="auto">
            <a:xfrm>
              <a:off x="3948113" y="6484938"/>
              <a:ext cx="3306763" cy="184150"/>
            </a:xfrm>
            <a:custGeom>
              <a:avLst/>
              <a:gdLst/>
              <a:ahLst/>
              <a:cxnLst>
                <a:cxn ang="0">
                  <a:pos x="7060" y="3"/>
                </a:cxn>
                <a:cxn ang="0">
                  <a:pos x="6185" y="40"/>
                </a:cxn>
                <a:cxn ang="0">
                  <a:pos x="6091" y="35"/>
                </a:cxn>
                <a:cxn ang="0">
                  <a:pos x="6002" y="45"/>
                </a:cxn>
                <a:cxn ang="0">
                  <a:pos x="5911" y="57"/>
                </a:cxn>
                <a:cxn ang="0">
                  <a:pos x="5784" y="60"/>
                </a:cxn>
                <a:cxn ang="0">
                  <a:pos x="5682" y="58"/>
                </a:cxn>
                <a:cxn ang="0">
                  <a:pos x="5534" y="51"/>
                </a:cxn>
                <a:cxn ang="0">
                  <a:pos x="5325" y="48"/>
                </a:cxn>
                <a:cxn ang="0">
                  <a:pos x="5195" y="45"/>
                </a:cxn>
                <a:cxn ang="0">
                  <a:pos x="4981" y="36"/>
                </a:cxn>
                <a:cxn ang="0">
                  <a:pos x="4799" y="38"/>
                </a:cxn>
                <a:cxn ang="0">
                  <a:pos x="4528" y="32"/>
                </a:cxn>
                <a:cxn ang="0">
                  <a:pos x="4267" y="33"/>
                </a:cxn>
                <a:cxn ang="0">
                  <a:pos x="3976" y="41"/>
                </a:cxn>
                <a:cxn ang="0">
                  <a:pos x="3853" y="35"/>
                </a:cxn>
                <a:cxn ang="0">
                  <a:pos x="3676" y="17"/>
                </a:cxn>
                <a:cxn ang="0">
                  <a:pos x="3563" y="15"/>
                </a:cxn>
                <a:cxn ang="0">
                  <a:pos x="3506" y="27"/>
                </a:cxn>
                <a:cxn ang="0">
                  <a:pos x="3327" y="76"/>
                </a:cxn>
                <a:cxn ang="0">
                  <a:pos x="3209" y="98"/>
                </a:cxn>
                <a:cxn ang="0">
                  <a:pos x="3150" y="103"/>
                </a:cxn>
                <a:cxn ang="0">
                  <a:pos x="3098" y="101"/>
                </a:cxn>
                <a:cxn ang="0">
                  <a:pos x="3014" y="89"/>
                </a:cxn>
                <a:cxn ang="0">
                  <a:pos x="2920" y="66"/>
                </a:cxn>
                <a:cxn ang="0">
                  <a:pos x="2838" y="60"/>
                </a:cxn>
                <a:cxn ang="0">
                  <a:pos x="2728" y="48"/>
                </a:cxn>
                <a:cxn ang="0">
                  <a:pos x="2687" y="47"/>
                </a:cxn>
                <a:cxn ang="0">
                  <a:pos x="2679" y="33"/>
                </a:cxn>
                <a:cxn ang="0">
                  <a:pos x="2666" y="18"/>
                </a:cxn>
                <a:cxn ang="0">
                  <a:pos x="2634" y="5"/>
                </a:cxn>
                <a:cxn ang="0">
                  <a:pos x="2549" y="0"/>
                </a:cxn>
                <a:cxn ang="0">
                  <a:pos x="2191" y="22"/>
                </a:cxn>
                <a:cxn ang="0">
                  <a:pos x="1925" y="41"/>
                </a:cxn>
                <a:cxn ang="0">
                  <a:pos x="1884" y="62"/>
                </a:cxn>
                <a:cxn ang="0">
                  <a:pos x="1836" y="77"/>
                </a:cxn>
                <a:cxn ang="0">
                  <a:pos x="1758" y="84"/>
                </a:cxn>
                <a:cxn ang="0">
                  <a:pos x="1660" y="94"/>
                </a:cxn>
                <a:cxn ang="0">
                  <a:pos x="1564" y="118"/>
                </a:cxn>
                <a:cxn ang="0">
                  <a:pos x="1430" y="154"/>
                </a:cxn>
                <a:cxn ang="0">
                  <a:pos x="1270" y="176"/>
                </a:cxn>
                <a:cxn ang="0">
                  <a:pos x="904" y="230"/>
                </a:cxn>
                <a:cxn ang="0">
                  <a:pos x="650" y="524"/>
                </a:cxn>
                <a:cxn ang="0">
                  <a:pos x="1952" y="532"/>
                </a:cxn>
                <a:cxn ang="0">
                  <a:pos x="3253" y="539"/>
                </a:cxn>
                <a:cxn ang="0">
                  <a:pos x="4556" y="546"/>
                </a:cxn>
                <a:cxn ang="0">
                  <a:pos x="5858" y="555"/>
                </a:cxn>
                <a:cxn ang="0">
                  <a:pos x="7160" y="562"/>
                </a:cxn>
                <a:cxn ang="0">
                  <a:pos x="8462" y="569"/>
                </a:cxn>
                <a:cxn ang="0">
                  <a:pos x="9765" y="576"/>
                </a:cxn>
                <a:cxn ang="0">
                  <a:pos x="10238" y="499"/>
                </a:cxn>
                <a:cxn ang="0">
                  <a:pos x="9933" y="368"/>
                </a:cxn>
                <a:cxn ang="0">
                  <a:pos x="9686" y="271"/>
                </a:cxn>
                <a:cxn ang="0">
                  <a:pos x="9430" y="178"/>
                </a:cxn>
                <a:cxn ang="0">
                  <a:pos x="9184" y="104"/>
                </a:cxn>
                <a:cxn ang="0">
                  <a:pos x="8969" y="60"/>
                </a:cxn>
                <a:cxn ang="0">
                  <a:pos x="8111" y="41"/>
                </a:cxn>
              </a:cxnLst>
              <a:rect l="0" t="0" r="r" b="b"/>
              <a:pathLst>
                <a:path w="10416" h="581">
                  <a:moveTo>
                    <a:pt x="7676" y="33"/>
                  </a:moveTo>
                  <a:lnTo>
                    <a:pt x="7060" y="3"/>
                  </a:lnTo>
                  <a:lnTo>
                    <a:pt x="6196" y="44"/>
                  </a:lnTo>
                  <a:lnTo>
                    <a:pt x="6185" y="40"/>
                  </a:lnTo>
                  <a:lnTo>
                    <a:pt x="6150" y="35"/>
                  </a:lnTo>
                  <a:lnTo>
                    <a:pt x="6091" y="35"/>
                  </a:lnTo>
                  <a:lnTo>
                    <a:pt x="6050" y="39"/>
                  </a:lnTo>
                  <a:lnTo>
                    <a:pt x="6002" y="45"/>
                  </a:lnTo>
                  <a:lnTo>
                    <a:pt x="5954" y="52"/>
                  </a:lnTo>
                  <a:lnTo>
                    <a:pt x="5911" y="57"/>
                  </a:lnTo>
                  <a:lnTo>
                    <a:pt x="5840" y="62"/>
                  </a:lnTo>
                  <a:lnTo>
                    <a:pt x="5784" y="60"/>
                  </a:lnTo>
                  <a:lnTo>
                    <a:pt x="5737" y="60"/>
                  </a:lnTo>
                  <a:lnTo>
                    <a:pt x="5682" y="58"/>
                  </a:lnTo>
                  <a:lnTo>
                    <a:pt x="5610" y="54"/>
                  </a:lnTo>
                  <a:lnTo>
                    <a:pt x="5534" y="51"/>
                  </a:lnTo>
                  <a:lnTo>
                    <a:pt x="5461" y="48"/>
                  </a:lnTo>
                  <a:lnTo>
                    <a:pt x="5325" y="48"/>
                  </a:lnTo>
                  <a:lnTo>
                    <a:pt x="5258" y="47"/>
                  </a:lnTo>
                  <a:lnTo>
                    <a:pt x="5195" y="45"/>
                  </a:lnTo>
                  <a:lnTo>
                    <a:pt x="5059" y="39"/>
                  </a:lnTo>
                  <a:lnTo>
                    <a:pt x="4981" y="36"/>
                  </a:lnTo>
                  <a:lnTo>
                    <a:pt x="4900" y="38"/>
                  </a:lnTo>
                  <a:lnTo>
                    <a:pt x="4799" y="38"/>
                  </a:lnTo>
                  <a:lnTo>
                    <a:pt x="4668" y="35"/>
                  </a:lnTo>
                  <a:lnTo>
                    <a:pt x="4528" y="32"/>
                  </a:lnTo>
                  <a:lnTo>
                    <a:pt x="4398" y="30"/>
                  </a:lnTo>
                  <a:lnTo>
                    <a:pt x="4267" y="33"/>
                  </a:lnTo>
                  <a:lnTo>
                    <a:pt x="4120" y="39"/>
                  </a:lnTo>
                  <a:lnTo>
                    <a:pt x="3976" y="41"/>
                  </a:lnTo>
                  <a:lnTo>
                    <a:pt x="3911" y="40"/>
                  </a:lnTo>
                  <a:lnTo>
                    <a:pt x="3853" y="35"/>
                  </a:lnTo>
                  <a:lnTo>
                    <a:pt x="3755" y="24"/>
                  </a:lnTo>
                  <a:lnTo>
                    <a:pt x="3676" y="17"/>
                  </a:lnTo>
                  <a:lnTo>
                    <a:pt x="3613" y="15"/>
                  </a:lnTo>
                  <a:lnTo>
                    <a:pt x="3563" y="15"/>
                  </a:lnTo>
                  <a:lnTo>
                    <a:pt x="3537" y="18"/>
                  </a:lnTo>
                  <a:lnTo>
                    <a:pt x="3506" y="27"/>
                  </a:lnTo>
                  <a:lnTo>
                    <a:pt x="3427" y="50"/>
                  </a:lnTo>
                  <a:lnTo>
                    <a:pt x="3327" y="76"/>
                  </a:lnTo>
                  <a:lnTo>
                    <a:pt x="3269" y="88"/>
                  </a:lnTo>
                  <a:lnTo>
                    <a:pt x="3209" y="98"/>
                  </a:lnTo>
                  <a:lnTo>
                    <a:pt x="3179" y="101"/>
                  </a:lnTo>
                  <a:lnTo>
                    <a:pt x="3150" y="103"/>
                  </a:lnTo>
                  <a:lnTo>
                    <a:pt x="3123" y="103"/>
                  </a:lnTo>
                  <a:lnTo>
                    <a:pt x="3098" y="101"/>
                  </a:lnTo>
                  <a:lnTo>
                    <a:pt x="3053" y="97"/>
                  </a:lnTo>
                  <a:lnTo>
                    <a:pt x="3014" y="89"/>
                  </a:lnTo>
                  <a:lnTo>
                    <a:pt x="2949" y="72"/>
                  </a:lnTo>
                  <a:lnTo>
                    <a:pt x="2920" y="66"/>
                  </a:lnTo>
                  <a:lnTo>
                    <a:pt x="2893" y="64"/>
                  </a:lnTo>
                  <a:lnTo>
                    <a:pt x="2838" y="60"/>
                  </a:lnTo>
                  <a:lnTo>
                    <a:pt x="2779" y="54"/>
                  </a:lnTo>
                  <a:lnTo>
                    <a:pt x="2728" y="48"/>
                  </a:lnTo>
                  <a:lnTo>
                    <a:pt x="2696" y="48"/>
                  </a:lnTo>
                  <a:lnTo>
                    <a:pt x="2687" y="47"/>
                  </a:lnTo>
                  <a:lnTo>
                    <a:pt x="2683" y="41"/>
                  </a:lnTo>
                  <a:lnTo>
                    <a:pt x="2679" y="33"/>
                  </a:lnTo>
                  <a:lnTo>
                    <a:pt x="2671" y="23"/>
                  </a:lnTo>
                  <a:lnTo>
                    <a:pt x="2666" y="18"/>
                  </a:lnTo>
                  <a:lnTo>
                    <a:pt x="2657" y="14"/>
                  </a:lnTo>
                  <a:lnTo>
                    <a:pt x="2634" y="5"/>
                  </a:lnTo>
                  <a:lnTo>
                    <a:pt x="2600" y="0"/>
                  </a:lnTo>
                  <a:lnTo>
                    <a:pt x="2549" y="0"/>
                  </a:lnTo>
                  <a:lnTo>
                    <a:pt x="2390" y="10"/>
                  </a:lnTo>
                  <a:lnTo>
                    <a:pt x="2191" y="22"/>
                  </a:lnTo>
                  <a:lnTo>
                    <a:pt x="1934" y="39"/>
                  </a:lnTo>
                  <a:lnTo>
                    <a:pt x="1925" y="41"/>
                  </a:lnTo>
                  <a:lnTo>
                    <a:pt x="1914" y="46"/>
                  </a:lnTo>
                  <a:lnTo>
                    <a:pt x="1884" y="62"/>
                  </a:lnTo>
                  <a:lnTo>
                    <a:pt x="1864" y="70"/>
                  </a:lnTo>
                  <a:lnTo>
                    <a:pt x="1836" y="77"/>
                  </a:lnTo>
                  <a:lnTo>
                    <a:pt x="1801" y="82"/>
                  </a:lnTo>
                  <a:lnTo>
                    <a:pt x="1758" y="84"/>
                  </a:lnTo>
                  <a:lnTo>
                    <a:pt x="1710" y="87"/>
                  </a:lnTo>
                  <a:lnTo>
                    <a:pt x="1660" y="94"/>
                  </a:lnTo>
                  <a:lnTo>
                    <a:pt x="1612" y="105"/>
                  </a:lnTo>
                  <a:lnTo>
                    <a:pt x="1564" y="118"/>
                  </a:lnTo>
                  <a:lnTo>
                    <a:pt x="1473" y="145"/>
                  </a:lnTo>
                  <a:lnTo>
                    <a:pt x="1430" y="154"/>
                  </a:lnTo>
                  <a:lnTo>
                    <a:pt x="1391" y="160"/>
                  </a:lnTo>
                  <a:lnTo>
                    <a:pt x="1270" y="176"/>
                  </a:lnTo>
                  <a:lnTo>
                    <a:pt x="1109" y="199"/>
                  </a:lnTo>
                  <a:lnTo>
                    <a:pt x="904" y="230"/>
                  </a:lnTo>
                  <a:lnTo>
                    <a:pt x="0" y="521"/>
                  </a:lnTo>
                  <a:lnTo>
                    <a:pt x="650" y="524"/>
                  </a:lnTo>
                  <a:lnTo>
                    <a:pt x="1302" y="528"/>
                  </a:lnTo>
                  <a:lnTo>
                    <a:pt x="1952" y="532"/>
                  </a:lnTo>
                  <a:lnTo>
                    <a:pt x="2603" y="535"/>
                  </a:lnTo>
                  <a:lnTo>
                    <a:pt x="3253" y="539"/>
                  </a:lnTo>
                  <a:lnTo>
                    <a:pt x="3905" y="543"/>
                  </a:lnTo>
                  <a:lnTo>
                    <a:pt x="4556" y="546"/>
                  </a:lnTo>
                  <a:lnTo>
                    <a:pt x="5207" y="551"/>
                  </a:lnTo>
                  <a:lnTo>
                    <a:pt x="5858" y="555"/>
                  </a:lnTo>
                  <a:lnTo>
                    <a:pt x="6509" y="558"/>
                  </a:lnTo>
                  <a:lnTo>
                    <a:pt x="7160" y="562"/>
                  </a:lnTo>
                  <a:lnTo>
                    <a:pt x="7812" y="565"/>
                  </a:lnTo>
                  <a:lnTo>
                    <a:pt x="8462" y="569"/>
                  </a:lnTo>
                  <a:lnTo>
                    <a:pt x="9113" y="573"/>
                  </a:lnTo>
                  <a:lnTo>
                    <a:pt x="9765" y="576"/>
                  </a:lnTo>
                  <a:lnTo>
                    <a:pt x="10416" y="581"/>
                  </a:lnTo>
                  <a:lnTo>
                    <a:pt x="10238" y="499"/>
                  </a:lnTo>
                  <a:lnTo>
                    <a:pt x="10045" y="415"/>
                  </a:lnTo>
                  <a:lnTo>
                    <a:pt x="9933" y="368"/>
                  </a:lnTo>
                  <a:lnTo>
                    <a:pt x="9813" y="319"/>
                  </a:lnTo>
                  <a:lnTo>
                    <a:pt x="9686" y="271"/>
                  </a:lnTo>
                  <a:lnTo>
                    <a:pt x="9559" y="223"/>
                  </a:lnTo>
                  <a:lnTo>
                    <a:pt x="9430" y="178"/>
                  </a:lnTo>
                  <a:lnTo>
                    <a:pt x="9305" y="139"/>
                  </a:lnTo>
                  <a:lnTo>
                    <a:pt x="9184" y="104"/>
                  </a:lnTo>
                  <a:lnTo>
                    <a:pt x="9071" y="77"/>
                  </a:lnTo>
                  <a:lnTo>
                    <a:pt x="8969" y="60"/>
                  </a:lnTo>
                  <a:lnTo>
                    <a:pt x="8878" y="53"/>
                  </a:lnTo>
                  <a:lnTo>
                    <a:pt x="8111" y="41"/>
                  </a:lnTo>
                  <a:lnTo>
                    <a:pt x="7676" y="3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69" name="Freeform 51"/>
            <p:cNvSpPr>
              <a:spLocks/>
            </p:cNvSpPr>
            <p:nvPr userDrawn="1"/>
          </p:nvSpPr>
          <p:spPr bwMode="auto">
            <a:xfrm>
              <a:off x="1654175" y="6334126"/>
              <a:ext cx="31750" cy="36513"/>
            </a:xfrm>
            <a:custGeom>
              <a:avLst/>
              <a:gdLst/>
              <a:ahLst/>
              <a:cxnLst>
                <a:cxn ang="0">
                  <a:pos x="98" y="115"/>
                </a:cxn>
                <a:cxn ang="0">
                  <a:pos x="102" y="115"/>
                </a:cxn>
                <a:cxn ang="0">
                  <a:pos x="102" y="101"/>
                </a:cxn>
                <a:cxn ang="0">
                  <a:pos x="0" y="0"/>
                </a:cxn>
                <a:cxn ang="0">
                  <a:pos x="0" y="16"/>
                </a:cxn>
                <a:cxn ang="0">
                  <a:pos x="98" y="115"/>
                </a:cxn>
              </a:cxnLst>
              <a:rect l="0" t="0" r="r" b="b"/>
              <a:pathLst>
                <a:path w="102" h="115">
                  <a:moveTo>
                    <a:pt x="98" y="115"/>
                  </a:moveTo>
                  <a:lnTo>
                    <a:pt x="102" y="115"/>
                  </a:lnTo>
                  <a:lnTo>
                    <a:pt x="102" y="101"/>
                  </a:lnTo>
                  <a:lnTo>
                    <a:pt x="0" y="0"/>
                  </a:lnTo>
                  <a:lnTo>
                    <a:pt x="0" y="16"/>
                  </a:lnTo>
                  <a:lnTo>
                    <a:pt x="98" y="11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0" name="Freeform 52"/>
            <p:cNvSpPr>
              <a:spLocks/>
            </p:cNvSpPr>
            <p:nvPr userDrawn="1"/>
          </p:nvSpPr>
          <p:spPr bwMode="auto">
            <a:xfrm>
              <a:off x="1654175" y="6362701"/>
              <a:ext cx="7938" cy="7938"/>
            </a:xfrm>
            <a:custGeom>
              <a:avLst/>
              <a:gdLst/>
              <a:ahLst/>
              <a:cxnLst>
                <a:cxn ang="0">
                  <a:pos x="0" y="0"/>
                </a:cxn>
                <a:cxn ang="0">
                  <a:pos x="0" y="23"/>
                </a:cxn>
                <a:cxn ang="0">
                  <a:pos x="24" y="23"/>
                </a:cxn>
                <a:cxn ang="0">
                  <a:pos x="0" y="0"/>
                </a:cxn>
              </a:cxnLst>
              <a:rect l="0" t="0" r="r" b="b"/>
              <a:pathLst>
                <a:path w="24" h="23">
                  <a:moveTo>
                    <a:pt x="0" y="0"/>
                  </a:moveTo>
                  <a:lnTo>
                    <a:pt x="0" y="23"/>
                  </a:lnTo>
                  <a:lnTo>
                    <a:pt x="24" y="2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1" name="Rectangle 53"/>
            <p:cNvSpPr>
              <a:spLocks noChangeArrowheads="1"/>
            </p:cNvSpPr>
            <p:nvPr userDrawn="1"/>
          </p:nvSpPr>
          <p:spPr bwMode="auto">
            <a:xfrm>
              <a:off x="3989388" y="6373813"/>
              <a:ext cx="19050" cy="6350"/>
            </a:xfrm>
            <a:prstGeom prst="rect">
              <a:avLst/>
            </a:prstGeom>
            <a:solidFill>
              <a:srgbClr val="E4AFB0"/>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2" name="Freeform 54"/>
            <p:cNvSpPr>
              <a:spLocks/>
            </p:cNvSpPr>
            <p:nvPr userDrawn="1"/>
          </p:nvSpPr>
          <p:spPr bwMode="auto">
            <a:xfrm>
              <a:off x="766763" y="6411913"/>
              <a:ext cx="5416550" cy="153988"/>
            </a:xfrm>
            <a:custGeom>
              <a:avLst/>
              <a:gdLst/>
              <a:ahLst/>
              <a:cxnLst>
                <a:cxn ang="0">
                  <a:pos x="41" y="469"/>
                </a:cxn>
                <a:cxn ang="0">
                  <a:pos x="164" y="427"/>
                </a:cxn>
                <a:cxn ang="0">
                  <a:pos x="361" y="367"/>
                </a:cxn>
                <a:cxn ang="0">
                  <a:pos x="630" y="298"/>
                </a:cxn>
                <a:cxn ang="0">
                  <a:pos x="874" y="245"/>
                </a:cxn>
                <a:cxn ang="0">
                  <a:pos x="1155" y="197"/>
                </a:cxn>
                <a:cxn ang="0">
                  <a:pos x="1580" y="144"/>
                </a:cxn>
                <a:cxn ang="0">
                  <a:pos x="2059" y="112"/>
                </a:cxn>
                <a:cxn ang="0">
                  <a:pos x="2318" y="107"/>
                </a:cxn>
                <a:cxn ang="0">
                  <a:pos x="2940" y="113"/>
                </a:cxn>
                <a:cxn ang="0">
                  <a:pos x="3703" y="133"/>
                </a:cxn>
                <a:cxn ang="0">
                  <a:pos x="4536" y="163"/>
                </a:cxn>
                <a:cxn ang="0">
                  <a:pos x="6140" y="234"/>
                </a:cxn>
                <a:cxn ang="0">
                  <a:pos x="7364" y="296"/>
                </a:cxn>
                <a:cxn ang="0">
                  <a:pos x="7482" y="254"/>
                </a:cxn>
                <a:cxn ang="0">
                  <a:pos x="7626" y="209"/>
                </a:cxn>
                <a:cxn ang="0">
                  <a:pos x="7826" y="159"/>
                </a:cxn>
                <a:cxn ang="0">
                  <a:pos x="8078" y="106"/>
                </a:cxn>
                <a:cxn ang="0">
                  <a:pos x="8380" y="59"/>
                </a:cxn>
                <a:cxn ang="0">
                  <a:pos x="8732" y="22"/>
                </a:cxn>
                <a:cxn ang="0">
                  <a:pos x="9130" y="0"/>
                </a:cxn>
                <a:cxn ang="0">
                  <a:pos x="9550" y="59"/>
                </a:cxn>
                <a:cxn ang="0">
                  <a:pos x="10002" y="103"/>
                </a:cxn>
                <a:cxn ang="0">
                  <a:pos x="10457" y="138"/>
                </a:cxn>
                <a:cxn ang="0">
                  <a:pos x="10892" y="162"/>
                </a:cxn>
                <a:cxn ang="0">
                  <a:pos x="11584" y="189"/>
                </a:cxn>
                <a:cxn ang="0">
                  <a:pos x="12027" y="221"/>
                </a:cxn>
                <a:cxn ang="0">
                  <a:pos x="12420" y="275"/>
                </a:cxn>
                <a:cxn ang="0">
                  <a:pos x="12654" y="302"/>
                </a:cxn>
                <a:cxn ang="0">
                  <a:pos x="12889" y="322"/>
                </a:cxn>
                <a:cxn ang="0">
                  <a:pos x="13105" y="332"/>
                </a:cxn>
                <a:cxn ang="0">
                  <a:pos x="13284" y="326"/>
                </a:cxn>
                <a:cxn ang="0">
                  <a:pos x="13458" y="314"/>
                </a:cxn>
                <a:cxn ang="0">
                  <a:pos x="13660" y="306"/>
                </a:cxn>
                <a:cxn ang="0">
                  <a:pos x="14108" y="305"/>
                </a:cxn>
                <a:cxn ang="0">
                  <a:pos x="14435" y="317"/>
                </a:cxn>
                <a:cxn ang="0">
                  <a:pos x="14627" y="329"/>
                </a:cxn>
                <a:cxn ang="0">
                  <a:pos x="14783" y="345"/>
                </a:cxn>
                <a:cxn ang="0">
                  <a:pos x="15056" y="387"/>
                </a:cxn>
                <a:cxn ang="0">
                  <a:pos x="15471" y="436"/>
                </a:cxn>
                <a:cxn ang="0">
                  <a:pos x="15862" y="468"/>
                </a:cxn>
                <a:cxn ang="0">
                  <a:pos x="16217" y="482"/>
                </a:cxn>
                <a:cxn ang="0">
                  <a:pos x="16658" y="486"/>
                </a:cxn>
                <a:cxn ang="0">
                  <a:pos x="17011" y="475"/>
                </a:cxn>
                <a:cxn ang="0">
                  <a:pos x="16098" y="470"/>
                </a:cxn>
                <a:cxn ang="0">
                  <a:pos x="14176" y="468"/>
                </a:cxn>
                <a:cxn ang="0">
                  <a:pos x="12253" y="465"/>
                </a:cxn>
                <a:cxn ang="0">
                  <a:pos x="10332" y="463"/>
                </a:cxn>
                <a:cxn ang="0">
                  <a:pos x="8409" y="460"/>
                </a:cxn>
                <a:cxn ang="0">
                  <a:pos x="6487" y="458"/>
                </a:cxn>
                <a:cxn ang="0">
                  <a:pos x="4566" y="456"/>
                </a:cxn>
                <a:cxn ang="0">
                  <a:pos x="2644" y="453"/>
                </a:cxn>
                <a:cxn ang="0">
                  <a:pos x="842" y="468"/>
                </a:cxn>
              </a:cxnLst>
              <a:rect l="0" t="0" r="r" b="b"/>
              <a:pathLst>
                <a:path w="17060" h="486">
                  <a:moveTo>
                    <a:pt x="0" y="484"/>
                  </a:moveTo>
                  <a:lnTo>
                    <a:pt x="41" y="469"/>
                  </a:lnTo>
                  <a:lnTo>
                    <a:pt x="93" y="451"/>
                  </a:lnTo>
                  <a:lnTo>
                    <a:pt x="164" y="427"/>
                  </a:lnTo>
                  <a:lnTo>
                    <a:pt x="253" y="398"/>
                  </a:lnTo>
                  <a:lnTo>
                    <a:pt x="361" y="367"/>
                  </a:lnTo>
                  <a:lnTo>
                    <a:pt x="487" y="333"/>
                  </a:lnTo>
                  <a:lnTo>
                    <a:pt x="630" y="298"/>
                  </a:lnTo>
                  <a:lnTo>
                    <a:pt x="789" y="263"/>
                  </a:lnTo>
                  <a:lnTo>
                    <a:pt x="874" y="245"/>
                  </a:lnTo>
                  <a:lnTo>
                    <a:pt x="963" y="230"/>
                  </a:lnTo>
                  <a:lnTo>
                    <a:pt x="1155" y="197"/>
                  </a:lnTo>
                  <a:lnTo>
                    <a:pt x="1360" y="168"/>
                  </a:lnTo>
                  <a:lnTo>
                    <a:pt x="1580" y="144"/>
                  </a:lnTo>
                  <a:lnTo>
                    <a:pt x="1813" y="125"/>
                  </a:lnTo>
                  <a:lnTo>
                    <a:pt x="2059" y="112"/>
                  </a:lnTo>
                  <a:lnTo>
                    <a:pt x="2187" y="108"/>
                  </a:lnTo>
                  <a:lnTo>
                    <a:pt x="2318" y="107"/>
                  </a:lnTo>
                  <a:lnTo>
                    <a:pt x="2608" y="108"/>
                  </a:lnTo>
                  <a:lnTo>
                    <a:pt x="2940" y="113"/>
                  </a:lnTo>
                  <a:lnTo>
                    <a:pt x="3309" y="123"/>
                  </a:lnTo>
                  <a:lnTo>
                    <a:pt x="3703" y="133"/>
                  </a:lnTo>
                  <a:lnTo>
                    <a:pt x="4114" y="148"/>
                  </a:lnTo>
                  <a:lnTo>
                    <a:pt x="4536" y="163"/>
                  </a:lnTo>
                  <a:lnTo>
                    <a:pt x="5370" y="198"/>
                  </a:lnTo>
                  <a:lnTo>
                    <a:pt x="6140" y="234"/>
                  </a:lnTo>
                  <a:lnTo>
                    <a:pt x="6774" y="264"/>
                  </a:lnTo>
                  <a:lnTo>
                    <a:pt x="7364" y="296"/>
                  </a:lnTo>
                  <a:lnTo>
                    <a:pt x="7394" y="284"/>
                  </a:lnTo>
                  <a:lnTo>
                    <a:pt x="7482" y="254"/>
                  </a:lnTo>
                  <a:lnTo>
                    <a:pt x="7547" y="233"/>
                  </a:lnTo>
                  <a:lnTo>
                    <a:pt x="7626" y="209"/>
                  </a:lnTo>
                  <a:lnTo>
                    <a:pt x="7719" y="185"/>
                  </a:lnTo>
                  <a:lnTo>
                    <a:pt x="7826" y="159"/>
                  </a:lnTo>
                  <a:lnTo>
                    <a:pt x="7946" y="132"/>
                  </a:lnTo>
                  <a:lnTo>
                    <a:pt x="8078" y="106"/>
                  </a:lnTo>
                  <a:lnTo>
                    <a:pt x="8224" y="82"/>
                  </a:lnTo>
                  <a:lnTo>
                    <a:pt x="8380" y="59"/>
                  </a:lnTo>
                  <a:lnTo>
                    <a:pt x="8550" y="38"/>
                  </a:lnTo>
                  <a:lnTo>
                    <a:pt x="8732" y="22"/>
                  </a:lnTo>
                  <a:lnTo>
                    <a:pt x="8926" y="8"/>
                  </a:lnTo>
                  <a:lnTo>
                    <a:pt x="9130" y="0"/>
                  </a:lnTo>
                  <a:lnTo>
                    <a:pt x="9334" y="31"/>
                  </a:lnTo>
                  <a:lnTo>
                    <a:pt x="9550" y="59"/>
                  </a:lnTo>
                  <a:lnTo>
                    <a:pt x="9773" y="83"/>
                  </a:lnTo>
                  <a:lnTo>
                    <a:pt x="10002" y="103"/>
                  </a:lnTo>
                  <a:lnTo>
                    <a:pt x="10231" y="123"/>
                  </a:lnTo>
                  <a:lnTo>
                    <a:pt x="10457" y="138"/>
                  </a:lnTo>
                  <a:lnTo>
                    <a:pt x="10679" y="151"/>
                  </a:lnTo>
                  <a:lnTo>
                    <a:pt x="10892" y="162"/>
                  </a:lnTo>
                  <a:lnTo>
                    <a:pt x="11276" y="179"/>
                  </a:lnTo>
                  <a:lnTo>
                    <a:pt x="11584" y="189"/>
                  </a:lnTo>
                  <a:lnTo>
                    <a:pt x="11862" y="195"/>
                  </a:lnTo>
                  <a:lnTo>
                    <a:pt x="12027" y="221"/>
                  </a:lnTo>
                  <a:lnTo>
                    <a:pt x="12204" y="246"/>
                  </a:lnTo>
                  <a:lnTo>
                    <a:pt x="12420" y="275"/>
                  </a:lnTo>
                  <a:lnTo>
                    <a:pt x="12535" y="290"/>
                  </a:lnTo>
                  <a:lnTo>
                    <a:pt x="12654" y="302"/>
                  </a:lnTo>
                  <a:lnTo>
                    <a:pt x="12772" y="314"/>
                  </a:lnTo>
                  <a:lnTo>
                    <a:pt x="12889" y="322"/>
                  </a:lnTo>
                  <a:lnTo>
                    <a:pt x="13000" y="328"/>
                  </a:lnTo>
                  <a:lnTo>
                    <a:pt x="13105" y="332"/>
                  </a:lnTo>
                  <a:lnTo>
                    <a:pt x="13201" y="331"/>
                  </a:lnTo>
                  <a:lnTo>
                    <a:pt x="13284" y="326"/>
                  </a:lnTo>
                  <a:lnTo>
                    <a:pt x="13366" y="318"/>
                  </a:lnTo>
                  <a:lnTo>
                    <a:pt x="13458" y="314"/>
                  </a:lnTo>
                  <a:lnTo>
                    <a:pt x="13555" y="309"/>
                  </a:lnTo>
                  <a:lnTo>
                    <a:pt x="13660" y="306"/>
                  </a:lnTo>
                  <a:lnTo>
                    <a:pt x="13881" y="304"/>
                  </a:lnTo>
                  <a:lnTo>
                    <a:pt x="14108" y="305"/>
                  </a:lnTo>
                  <a:lnTo>
                    <a:pt x="14329" y="312"/>
                  </a:lnTo>
                  <a:lnTo>
                    <a:pt x="14435" y="317"/>
                  </a:lnTo>
                  <a:lnTo>
                    <a:pt x="14534" y="322"/>
                  </a:lnTo>
                  <a:lnTo>
                    <a:pt x="14627" y="329"/>
                  </a:lnTo>
                  <a:lnTo>
                    <a:pt x="14710" y="337"/>
                  </a:lnTo>
                  <a:lnTo>
                    <a:pt x="14783" y="345"/>
                  </a:lnTo>
                  <a:lnTo>
                    <a:pt x="14845" y="353"/>
                  </a:lnTo>
                  <a:lnTo>
                    <a:pt x="15056" y="387"/>
                  </a:lnTo>
                  <a:lnTo>
                    <a:pt x="15266" y="415"/>
                  </a:lnTo>
                  <a:lnTo>
                    <a:pt x="15471" y="436"/>
                  </a:lnTo>
                  <a:lnTo>
                    <a:pt x="15670" y="454"/>
                  </a:lnTo>
                  <a:lnTo>
                    <a:pt x="15862" y="468"/>
                  </a:lnTo>
                  <a:lnTo>
                    <a:pt x="16045" y="476"/>
                  </a:lnTo>
                  <a:lnTo>
                    <a:pt x="16217" y="482"/>
                  </a:lnTo>
                  <a:lnTo>
                    <a:pt x="16378" y="486"/>
                  </a:lnTo>
                  <a:lnTo>
                    <a:pt x="16658" y="486"/>
                  </a:lnTo>
                  <a:lnTo>
                    <a:pt x="16873" y="481"/>
                  </a:lnTo>
                  <a:lnTo>
                    <a:pt x="17011" y="475"/>
                  </a:lnTo>
                  <a:lnTo>
                    <a:pt x="17060" y="471"/>
                  </a:lnTo>
                  <a:lnTo>
                    <a:pt x="16098" y="470"/>
                  </a:lnTo>
                  <a:lnTo>
                    <a:pt x="15137" y="469"/>
                  </a:lnTo>
                  <a:lnTo>
                    <a:pt x="14176" y="468"/>
                  </a:lnTo>
                  <a:lnTo>
                    <a:pt x="13216" y="466"/>
                  </a:lnTo>
                  <a:lnTo>
                    <a:pt x="12253" y="465"/>
                  </a:lnTo>
                  <a:lnTo>
                    <a:pt x="11293" y="464"/>
                  </a:lnTo>
                  <a:lnTo>
                    <a:pt x="10332" y="463"/>
                  </a:lnTo>
                  <a:lnTo>
                    <a:pt x="9371" y="462"/>
                  </a:lnTo>
                  <a:lnTo>
                    <a:pt x="8409" y="460"/>
                  </a:lnTo>
                  <a:lnTo>
                    <a:pt x="7448" y="459"/>
                  </a:lnTo>
                  <a:lnTo>
                    <a:pt x="6487" y="458"/>
                  </a:lnTo>
                  <a:lnTo>
                    <a:pt x="5527" y="457"/>
                  </a:lnTo>
                  <a:lnTo>
                    <a:pt x="4566" y="456"/>
                  </a:lnTo>
                  <a:lnTo>
                    <a:pt x="3605" y="454"/>
                  </a:lnTo>
                  <a:lnTo>
                    <a:pt x="2644" y="453"/>
                  </a:lnTo>
                  <a:lnTo>
                    <a:pt x="1683" y="452"/>
                  </a:lnTo>
                  <a:lnTo>
                    <a:pt x="842" y="468"/>
                  </a:lnTo>
                  <a:lnTo>
                    <a:pt x="0" y="4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3" name="Freeform 55"/>
            <p:cNvSpPr>
              <a:spLocks noEditPoints="1"/>
            </p:cNvSpPr>
            <p:nvPr userDrawn="1"/>
          </p:nvSpPr>
          <p:spPr bwMode="auto">
            <a:xfrm>
              <a:off x="1831975" y="6197601"/>
              <a:ext cx="79375" cy="46038"/>
            </a:xfrm>
            <a:custGeom>
              <a:avLst/>
              <a:gdLst/>
              <a:ahLst/>
              <a:cxnLst>
                <a:cxn ang="0">
                  <a:pos x="29" y="50"/>
                </a:cxn>
                <a:cxn ang="0">
                  <a:pos x="27" y="43"/>
                </a:cxn>
                <a:cxn ang="0">
                  <a:pos x="32" y="44"/>
                </a:cxn>
                <a:cxn ang="0">
                  <a:pos x="40" y="50"/>
                </a:cxn>
                <a:cxn ang="0">
                  <a:pos x="250" y="56"/>
                </a:cxn>
                <a:cxn ang="0">
                  <a:pos x="241" y="49"/>
                </a:cxn>
                <a:cxn ang="0">
                  <a:pos x="234" y="39"/>
                </a:cxn>
                <a:cxn ang="0">
                  <a:pos x="224" y="26"/>
                </a:cxn>
                <a:cxn ang="0">
                  <a:pos x="212" y="23"/>
                </a:cxn>
                <a:cxn ang="0">
                  <a:pos x="188" y="27"/>
                </a:cxn>
                <a:cxn ang="0">
                  <a:pos x="182" y="23"/>
                </a:cxn>
                <a:cxn ang="0">
                  <a:pos x="163" y="14"/>
                </a:cxn>
                <a:cxn ang="0">
                  <a:pos x="151" y="9"/>
                </a:cxn>
                <a:cxn ang="0">
                  <a:pos x="128" y="0"/>
                </a:cxn>
                <a:cxn ang="0">
                  <a:pos x="116" y="0"/>
                </a:cxn>
                <a:cxn ang="0">
                  <a:pos x="98" y="3"/>
                </a:cxn>
                <a:cxn ang="0">
                  <a:pos x="87" y="8"/>
                </a:cxn>
                <a:cxn ang="0">
                  <a:pos x="73" y="14"/>
                </a:cxn>
                <a:cxn ang="0">
                  <a:pos x="49" y="27"/>
                </a:cxn>
                <a:cxn ang="0">
                  <a:pos x="35" y="35"/>
                </a:cxn>
                <a:cxn ang="0">
                  <a:pos x="25" y="37"/>
                </a:cxn>
                <a:cxn ang="0">
                  <a:pos x="10" y="38"/>
                </a:cxn>
                <a:cxn ang="0">
                  <a:pos x="0" y="41"/>
                </a:cxn>
                <a:cxn ang="0">
                  <a:pos x="3" y="45"/>
                </a:cxn>
                <a:cxn ang="0">
                  <a:pos x="16" y="45"/>
                </a:cxn>
                <a:cxn ang="0">
                  <a:pos x="22" y="47"/>
                </a:cxn>
                <a:cxn ang="0">
                  <a:pos x="17" y="46"/>
                </a:cxn>
                <a:cxn ang="0">
                  <a:pos x="17" y="52"/>
                </a:cxn>
                <a:cxn ang="0">
                  <a:pos x="9" y="51"/>
                </a:cxn>
                <a:cxn ang="0">
                  <a:pos x="8" y="55"/>
                </a:cxn>
                <a:cxn ang="0">
                  <a:pos x="18" y="58"/>
                </a:cxn>
                <a:cxn ang="0">
                  <a:pos x="33" y="57"/>
                </a:cxn>
                <a:cxn ang="0">
                  <a:pos x="52" y="64"/>
                </a:cxn>
                <a:cxn ang="0">
                  <a:pos x="67" y="73"/>
                </a:cxn>
                <a:cxn ang="0">
                  <a:pos x="71" y="79"/>
                </a:cxn>
                <a:cxn ang="0">
                  <a:pos x="65" y="89"/>
                </a:cxn>
                <a:cxn ang="0">
                  <a:pos x="63" y="97"/>
                </a:cxn>
                <a:cxn ang="0">
                  <a:pos x="62" y="100"/>
                </a:cxn>
                <a:cxn ang="0">
                  <a:pos x="59" y="106"/>
                </a:cxn>
                <a:cxn ang="0">
                  <a:pos x="59" y="113"/>
                </a:cxn>
                <a:cxn ang="0">
                  <a:pos x="57" y="121"/>
                </a:cxn>
                <a:cxn ang="0">
                  <a:pos x="51" y="136"/>
                </a:cxn>
                <a:cxn ang="0">
                  <a:pos x="52" y="139"/>
                </a:cxn>
                <a:cxn ang="0">
                  <a:pos x="55" y="142"/>
                </a:cxn>
                <a:cxn ang="0">
                  <a:pos x="64" y="125"/>
                </a:cxn>
                <a:cxn ang="0">
                  <a:pos x="69" y="127"/>
                </a:cxn>
                <a:cxn ang="0">
                  <a:pos x="82" y="112"/>
                </a:cxn>
                <a:cxn ang="0">
                  <a:pos x="105" y="91"/>
                </a:cxn>
                <a:cxn ang="0">
                  <a:pos x="121" y="77"/>
                </a:cxn>
                <a:cxn ang="0">
                  <a:pos x="149" y="70"/>
                </a:cxn>
                <a:cxn ang="0">
                  <a:pos x="165" y="64"/>
                </a:cxn>
                <a:cxn ang="0">
                  <a:pos x="185" y="55"/>
                </a:cxn>
                <a:cxn ang="0">
                  <a:pos x="199" y="51"/>
                </a:cxn>
                <a:cxn ang="0">
                  <a:pos x="211" y="52"/>
                </a:cxn>
                <a:cxn ang="0">
                  <a:pos x="224" y="55"/>
                </a:cxn>
                <a:cxn ang="0">
                  <a:pos x="236" y="57"/>
                </a:cxn>
                <a:cxn ang="0">
                  <a:pos x="251" y="59"/>
                </a:cxn>
                <a:cxn ang="0">
                  <a:pos x="253" y="58"/>
                </a:cxn>
              </a:cxnLst>
              <a:rect l="0" t="0" r="r" b="b"/>
              <a:pathLst>
                <a:path w="253" h="142">
                  <a:moveTo>
                    <a:pt x="34" y="51"/>
                  </a:moveTo>
                  <a:lnTo>
                    <a:pt x="32" y="51"/>
                  </a:lnTo>
                  <a:lnTo>
                    <a:pt x="29" y="50"/>
                  </a:lnTo>
                  <a:lnTo>
                    <a:pt x="25" y="46"/>
                  </a:lnTo>
                  <a:lnTo>
                    <a:pt x="23" y="44"/>
                  </a:lnTo>
                  <a:lnTo>
                    <a:pt x="27" y="43"/>
                  </a:lnTo>
                  <a:lnTo>
                    <a:pt x="29" y="43"/>
                  </a:lnTo>
                  <a:lnTo>
                    <a:pt x="31" y="44"/>
                  </a:lnTo>
                  <a:lnTo>
                    <a:pt x="32" y="44"/>
                  </a:lnTo>
                  <a:lnTo>
                    <a:pt x="35" y="45"/>
                  </a:lnTo>
                  <a:lnTo>
                    <a:pt x="38" y="47"/>
                  </a:lnTo>
                  <a:lnTo>
                    <a:pt x="40" y="50"/>
                  </a:lnTo>
                  <a:lnTo>
                    <a:pt x="38" y="50"/>
                  </a:lnTo>
                  <a:lnTo>
                    <a:pt x="34" y="51"/>
                  </a:lnTo>
                  <a:close/>
                  <a:moveTo>
                    <a:pt x="250" y="56"/>
                  </a:moveTo>
                  <a:lnTo>
                    <a:pt x="245" y="53"/>
                  </a:lnTo>
                  <a:lnTo>
                    <a:pt x="242" y="51"/>
                  </a:lnTo>
                  <a:lnTo>
                    <a:pt x="241" y="49"/>
                  </a:lnTo>
                  <a:lnTo>
                    <a:pt x="239" y="47"/>
                  </a:lnTo>
                  <a:lnTo>
                    <a:pt x="236" y="44"/>
                  </a:lnTo>
                  <a:lnTo>
                    <a:pt x="234" y="39"/>
                  </a:lnTo>
                  <a:lnTo>
                    <a:pt x="232" y="32"/>
                  </a:lnTo>
                  <a:lnTo>
                    <a:pt x="229" y="29"/>
                  </a:lnTo>
                  <a:lnTo>
                    <a:pt x="224" y="26"/>
                  </a:lnTo>
                  <a:lnTo>
                    <a:pt x="221" y="24"/>
                  </a:lnTo>
                  <a:lnTo>
                    <a:pt x="217" y="23"/>
                  </a:lnTo>
                  <a:lnTo>
                    <a:pt x="212" y="23"/>
                  </a:lnTo>
                  <a:lnTo>
                    <a:pt x="209" y="24"/>
                  </a:lnTo>
                  <a:lnTo>
                    <a:pt x="193" y="26"/>
                  </a:lnTo>
                  <a:lnTo>
                    <a:pt x="188" y="27"/>
                  </a:lnTo>
                  <a:lnTo>
                    <a:pt x="187" y="27"/>
                  </a:lnTo>
                  <a:lnTo>
                    <a:pt x="185" y="24"/>
                  </a:lnTo>
                  <a:lnTo>
                    <a:pt x="182" y="23"/>
                  </a:lnTo>
                  <a:lnTo>
                    <a:pt x="175" y="21"/>
                  </a:lnTo>
                  <a:lnTo>
                    <a:pt x="167" y="17"/>
                  </a:lnTo>
                  <a:lnTo>
                    <a:pt x="163" y="14"/>
                  </a:lnTo>
                  <a:lnTo>
                    <a:pt x="159" y="12"/>
                  </a:lnTo>
                  <a:lnTo>
                    <a:pt x="155" y="10"/>
                  </a:lnTo>
                  <a:lnTo>
                    <a:pt x="151" y="9"/>
                  </a:lnTo>
                  <a:lnTo>
                    <a:pt x="143" y="5"/>
                  </a:lnTo>
                  <a:lnTo>
                    <a:pt x="134" y="3"/>
                  </a:lnTo>
                  <a:lnTo>
                    <a:pt x="128" y="0"/>
                  </a:lnTo>
                  <a:lnTo>
                    <a:pt x="126" y="0"/>
                  </a:lnTo>
                  <a:lnTo>
                    <a:pt x="123" y="0"/>
                  </a:lnTo>
                  <a:lnTo>
                    <a:pt x="116" y="0"/>
                  </a:lnTo>
                  <a:lnTo>
                    <a:pt x="110" y="0"/>
                  </a:lnTo>
                  <a:lnTo>
                    <a:pt x="103" y="2"/>
                  </a:lnTo>
                  <a:lnTo>
                    <a:pt x="98" y="3"/>
                  </a:lnTo>
                  <a:lnTo>
                    <a:pt x="93" y="4"/>
                  </a:lnTo>
                  <a:lnTo>
                    <a:pt x="90" y="6"/>
                  </a:lnTo>
                  <a:lnTo>
                    <a:pt x="87" y="8"/>
                  </a:lnTo>
                  <a:lnTo>
                    <a:pt x="82" y="9"/>
                  </a:lnTo>
                  <a:lnTo>
                    <a:pt x="79" y="10"/>
                  </a:lnTo>
                  <a:lnTo>
                    <a:pt x="73" y="14"/>
                  </a:lnTo>
                  <a:lnTo>
                    <a:pt x="64" y="18"/>
                  </a:lnTo>
                  <a:lnTo>
                    <a:pt x="56" y="22"/>
                  </a:lnTo>
                  <a:lnTo>
                    <a:pt x="49" y="27"/>
                  </a:lnTo>
                  <a:lnTo>
                    <a:pt x="44" y="29"/>
                  </a:lnTo>
                  <a:lnTo>
                    <a:pt x="40" y="33"/>
                  </a:lnTo>
                  <a:lnTo>
                    <a:pt x="35" y="35"/>
                  </a:lnTo>
                  <a:lnTo>
                    <a:pt x="32" y="37"/>
                  </a:lnTo>
                  <a:lnTo>
                    <a:pt x="28" y="37"/>
                  </a:lnTo>
                  <a:lnTo>
                    <a:pt x="25" y="37"/>
                  </a:lnTo>
                  <a:lnTo>
                    <a:pt x="22" y="38"/>
                  </a:lnTo>
                  <a:lnTo>
                    <a:pt x="17" y="38"/>
                  </a:lnTo>
                  <a:lnTo>
                    <a:pt x="10" y="38"/>
                  </a:lnTo>
                  <a:lnTo>
                    <a:pt x="5" y="39"/>
                  </a:lnTo>
                  <a:lnTo>
                    <a:pt x="3" y="40"/>
                  </a:lnTo>
                  <a:lnTo>
                    <a:pt x="0" y="41"/>
                  </a:lnTo>
                  <a:lnTo>
                    <a:pt x="0" y="43"/>
                  </a:lnTo>
                  <a:lnTo>
                    <a:pt x="0" y="44"/>
                  </a:lnTo>
                  <a:lnTo>
                    <a:pt x="3" y="45"/>
                  </a:lnTo>
                  <a:lnTo>
                    <a:pt x="6" y="45"/>
                  </a:lnTo>
                  <a:lnTo>
                    <a:pt x="9" y="45"/>
                  </a:lnTo>
                  <a:lnTo>
                    <a:pt x="16" y="45"/>
                  </a:lnTo>
                  <a:lnTo>
                    <a:pt x="18" y="45"/>
                  </a:lnTo>
                  <a:lnTo>
                    <a:pt x="18" y="46"/>
                  </a:lnTo>
                  <a:lnTo>
                    <a:pt x="22" y="47"/>
                  </a:lnTo>
                  <a:lnTo>
                    <a:pt x="20" y="49"/>
                  </a:lnTo>
                  <a:lnTo>
                    <a:pt x="18" y="46"/>
                  </a:lnTo>
                  <a:lnTo>
                    <a:pt x="17" y="46"/>
                  </a:lnTo>
                  <a:lnTo>
                    <a:pt x="16" y="47"/>
                  </a:lnTo>
                  <a:lnTo>
                    <a:pt x="16" y="50"/>
                  </a:lnTo>
                  <a:lnTo>
                    <a:pt x="17" y="52"/>
                  </a:lnTo>
                  <a:lnTo>
                    <a:pt x="14" y="52"/>
                  </a:lnTo>
                  <a:lnTo>
                    <a:pt x="10" y="52"/>
                  </a:lnTo>
                  <a:lnTo>
                    <a:pt x="9" y="51"/>
                  </a:lnTo>
                  <a:lnTo>
                    <a:pt x="8" y="53"/>
                  </a:lnTo>
                  <a:lnTo>
                    <a:pt x="6" y="55"/>
                  </a:lnTo>
                  <a:lnTo>
                    <a:pt x="8" y="55"/>
                  </a:lnTo>
                  <a:lnTo>
                    <a:pt x="9" y="56"/>
                  </a:lnTo>
                  <a:lnTo>
                    <a:pt x="12" y="57"/>
                  </a:lnTo>
                  <a:lnTo>
                    <a:pt x="18" y="58"/>
                  </a:lnTo>
                  <a:lnTo>
                    <a:pt x="27" y="58"/>
                  </a:lnTo>
                  <a:lnTo>
                    <a:pt x="29" y="58"/>
                  </a:lnTo>
                  <a:lnTo>
                    <a:pt x="33" y="57"/>
                  </a:lnTo>
                  <a:lnTo>
                    <a:pt x="39" y="57"/>
                  </a:lnTo>
                  <a:lnTo>
                    <a:pt x="46" y="57"/>
                  </a:lnTo>
                  <a:lnTo>
                    <a:pt x="52" y="64"/>
                  </a:lnTo>
                  <a:lnTo>
                    <a:pt x="58" y="68"/>
                  </a:lnTo>
                  <a:lnTo>
                    <a:pt x="63" y="71"/>
                  </a:lnTo>
                  <a:lnTo>
                    <a:pt x="67" y="73"/>
                  </a:lnTo>
                  <a:lnTo>
                    <a:pt x="70" y="74"/>
                  </a:lnTo>
                  <a:lnTo>
                    <a:pt x="74" y="75"/>
                  </a:lnTo>
                  <a:lnTo>
                    <a:pt x="71" y="79"/>
                  </a:lnTo>
                  <a:lnTo>
                    <a:pt x="69" y="83"/>
                  </a:lnTo>
                  <a:lnTo>
                    <a:pt x="67" y="88"/>
                  </a:lnTo>
                  <a:lnTo>
                    <a:pt x="65" y="89"/>
                  </a:lnTo>
                  <a:lnTo>
                    <a:pt x="64" y="92"/>
                  </a:lnTo>
                  <a:lnTo>
                    <a:pt x="63" y="95"/>
                  </a:lnTo>
                  <a:lnTo>
                    <a:pt x="63" y="97"/>
                  </a:lnTo>
                  <a:lnTo>
                    <a:pt x="63" y="98"/>
                  </a:lnTo>
                  <a:lnTo>
                    <a:pt x="62" y="99"/>
                  </a:lnTo>
                  <a:lnTo>
                    <a:pt x="62" y="100"/>
                  </a:lnTo>
                  <a:lnTo>
                    <a:pt x="61" y="103"/>
                  </a:lnTo>
                  <a:lnTo>
                    <a:pt x="61" y="105"/>
                  </a:lnTo>
                  <a:lnTo>
                    <a:pt x="59" y="106"/>
                  </a:lnTo>
                  <a:lnTo>
                    <a:pt x="59" y="111"/>
                  </a:lnTo>
                  <a:lnTo>
                    <a:pt x="59" y="112"/>
                  </a:lnTo>
                  <a:lnTo>
                    <a:pt x="59" y="113"/>
                  </a:lnTo>
                  <a:lnTo>
                    <a:pt x="58" y="117"/>
                  </a:lnTo>
                  <a:lnTo>
                    <a:pt x="61" y="117"/>
                  </a:lnTo>
                  <a:lnTo>
                    <a:pt x="57" y="121"/>
                  </a:lnTo>
                  <a:lnTo>
                    <a:pt x="58" y="122"/>
                  </a:lnTo>
                  <a:lnTo>
                    <a:pt x="53" y="131"/>
                  </a:lnTo>
                  <a:lnTo>
                    <a:pt x="51" y="136"/>
                  </a:lnTo>
                  <a:lnTo>
                    <a:pt x="51" y="138"/>
                  </a:lnTo>
                  <a:lnTo>
                    <a:pt x="51" y="139"/>
                  </a:lnTo>
                  <a:lnTo>
                    <a:pt x="52" y="139"/>
                  </a:lnTo>
                  <a:lnTo>
                    <a:pt x="53" y="138"/>
                  </a:lnTo>
                  <a:lnTo>
                    <a:pt x="55" y="136"/>
                  </a:lnTo>
                  <a:lnTo>
                    <a:pt x="55" y="142"/>
                  </a:lnTo>
                  <a:lnTo>
                    <a:pt x="58" y="134"/>
                  </a:lnTo>
                  <a:lnTo>
                    <a:pt x="62" y="130"/>
                  </a:lnTo>
                  <a:lnTo>
                    <a:pt x="64" y="125"/>
                  </a:lnTo>
                  <a:lnTo>
                    <a:pt x="73" y="118"/>
                  </a:lnTo>
                  <a:lnTo>
                    <a:pt x="70" y="121"/>
                  </a:lnTo>
                  <a:lnTo>
                    <a:pt x="69" y="127"/>
                  </a:lnTo>
                  <a:lnTo>
                    <a:pt x="69" y="131"/>
                  </a:lnTo>
                  <a:lnTo>
                    <a:pt x="76" y="121"/>
                  </a:lnTo>
                  <a:lnTo>
                    <a:pt x="82" y="112"/>
                  </a:lnTo>
                  <a:lnTo>
                    <a:pt x="87" y="107"/>
                  </a:lnTo>
                  <a:lnTo>
                    <a:pt x="93" y="101"/>
                  </a:lnTo>
                  <a:lnTo>
                    <a:pt x="105" y="91"/>
                  </a:lnTo>
                  <a:lnTo>
                    <a:pt x="114" y="83"/>
                  </a:lnTo>
                  <a:lnTo>
                    <a:pt x="120" y="79"/>
                  </a:lnTo>
                  <a:lnTo>
                    <a:pt x="121" y="77"/>
                  </a:lnTo>
                  <a:lnTo>
                    <a:pt x="122" y="77"/>
                  </a:lnTo>
                  <a:lnTo>
                    <a:pt x="134" y="74"/>
                  </a:lnTo>
                  <a:lnTo>
                    <a:pt x="149" y="70"/>
                  </a:lnTo>
                  <a:lnTo>
                    <a:pt x="153" y="69"/>
                  </a:lnTo>
                  <a:lnTo>
                    <a:pt x="158" y="67"/>
                  </a:lnTo>
                  <a:lnTo>
                    <a:pt x="165" y="64"/>
                  </a:lnTo>
                  <a:lnTo>
                    <a:pt x="171" y="61"/>
                  </a:lnTo>
                  <a:lnTo>
                    <a:pt x="179" y="57"/>
                  </a:lnTo>
                  <a:lnTo>
                    <a:pt x="185" y="55"/>
                  </a:lnTo>
                  <a:lnTo>
                    <a:pt x="189" y="53"/>
                  </a:lnTo>
                  <a:lnTo>
                    <a:pt x="193" y="51"/>
                  </a:lnTo>
                  <a:lnTo>
                    <a:pt x="199" y="51"/>
                  </a:lnTo>
                  <a:lnTo>
                    <a:pt x="206" y="50"/>
                  </a:lnTo>
                  <a:lnTo>
                    <a:pt x="209" y="51"/>
                  </a:lnTo>
                  <a:lnTo>
                    <a:pt x="211" y="52"/>
                  </a:lnTo>
                  <a:lnTo>
                    <a:pt x="215" y="53"/>
                  </a:lnTo>
                  <a:lnTo>
                    <a:pt x="216" y="55"/>
                  </a:lnTo>
                  <a:lnTo>
                    <a:pt x="224" y="55"/>
                  </a:lnTo>
                  <a:lnTo>
                    <a:pt x="228" y="55"/>
                  </a:lnTo>
                  <a:lnTo>
                    <a:pt x="232" y="56"/>
                  </a:lnTo>
                  <a:lnTo>
                    <a:pt x="236" y="57"/>
                  </a:lnTo>
                  <a:lnTo>
                    <a:pt x="242" y="58"/>
                  </a:lnTo>
                  <a:lnTo>
                    <a:pt x="247" y="59"/>
                  </a:lnTo>
                  <a:lnTo>
                    <a:pt x="251" y="59"/>
                  </a:lnTo>
                  <a:lnTo>
                    <a:pt x="252" y="59"/>
                  </a:lnTo>
                  <a:lnTo>
                    <a:pt x="253" y="59"/>
                  </a:lnTo>
                  <a:lnTo>
                    <a:pt x="253" y="58"/>
                  </a:lnTo>
                  <a:lnTo>
                    <a:pt x="252" y="57"/>
                  </a:lnTo>
                  <a:lnTo>
                    <a:pt x="250" y="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4" name="Freeform 56"/>
            <p:cNvSpPr>
              <a:spLocks/>
            </p:cNvSpPr>
            <p:nvPr userDrawn="1"/>
          </p:nvSpPr>
          <p:spPr bwMode="auto">
            <a:xfrm>
              <a:off x="1838325" y="6211888"/>
              <a:ext cx="6350" cy="1588"/>
            </a:xfrm>
            <a:custGeom>
              <a:avLst/>
              <a:gdLst/>
              <a:ahLst/>
              <a:cxnLst>
                <a:cxn ang="0">
                  <a:pos x="11" y="8"/>
                </a:cxn>
                <a:cxn ang="0">
                  <a:pos x="9" y="8"/>
                </a:cxn>
                <a:cxn ang="0">
                  <a:pos x="6" y="7"/>
                </a:cxn>
                <a:cxn ang="0">
                  <a:pos x="2" y="3"/>
                </a:cxn>
                <a:cxn ang="0">
                  <a:pos x="0" y="1"/>
                </a:cxn>
                <a:cxn ang="0">
                  <a:pos x="4" y="0"/>
                </a:cxn>
                <a:cxn ang="0">
                  <a:pos x="6" y="0"/>
                </a:cxn>
                <a:cxn ang="0">
                  <a:pos x="8" y="1"/>
                </a:cxn>
                <a:cxn ang="0">
                  <a:pos x="9" y="1"/>
                </a:cxn>
                <a:cxn ang="0">
                  <a:pos x="12" y="2"/>
                </a:cxn>
                <a:cxn ang="0">
                  <a:pos x="15" y="4"/>
                </a:cxn>
                <a:cxn ang="0">
                  <a:pos x="17" y="7"/>
                </a:cxn>
                <a:cxn ang="0">
                  <a:pos x="15" y="7"/>
                </a:cxn>
                <a:cxn ang="0">
                  <a:pos x="11" y="8"/>
                </a:cxn>
              </a:cxnLst>
              <a:rect l="0" t="0" r="r" b="b"/>
              <a:pathLst>
                <a:path w="17" h="8">
                  <a:moveTo>
                    <a:pt x="11" y="8"/>
                  </a:moveTo>
                  <a:lnTo>
                    <a:pt x="9" y="8"/>
                  </a:lnTo>
                  <a:lnTo>
                    <a:pt x="6" y="7"/>
                  </a:lnTo>
                  <a:lnTo>
                    <a:pt x="2" y="3"/>
                  </a:lnTo>
                  <a:lnTo>
                    <a:pt x="0" y="1"/>
                  </a:lnTo>
                  <a:lnTo>
                    <a:pt x="4" y="0"/>
                  </a:lnTo>
                  <a:lnTo>
                    <a:pt x="6" y="0"/>
                  </a:lnTo>
                  <a:lnTo>
                    <a:pt x="8" y="1"/>
                  </a:lnTo>
                  <a:lnTo>
                    <a:pt x="9" y="1"/>
                  </a:lnTo>
                  <a:lnTo>
                    <a:pt x="12" y="2"/>
                  </a:lnTo>
                  <a:lnTo>
                    <a:pt x="15" y="4"/>
                  </a:lnTo>
                  <a:lnTo>
                    <a:pt x="17" y="7"/>
                  </a:lnTo>
                  <a:lnTo>
                    <a:pt x="15" y="7"/>
                  </a:lnTo>
                  <a:lnTo>
                    <a:pt x="11" y="8"/>
                  </a:lnTo>
                  <a:close/>
                </a:path>
              </a:pathLst>
            </a:custGeom>
            <a:solidFill>
              <a:srgbClr val="EC0028"/>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5" name="Freeform 58"/>
            <p:cNvSpPr>
              <a:spLocks/>
            </p:cNvSpPr>
            <p:nvPr userDrawn="1"/>
          </p:nvSpPr>
          <p:spPr bwMode="auto">
            <a:xfrm>
              <a:off x="101600" y="6461126"/>
              <a:ext cx="5545138" cy="161925"/>
            </a:xfrm>
            <a:custGeom>
              <a:avLst/>
              <a:gdLst/>
              <a:ahLst/>
              <a:cxnLst>
                <a:cxn ang="0">
                  <a:pos x="952" y="322"/>
                </a:cxn>
                <a:cxn ang="0">
                  <a:pos x="2109" y="167"/>
                </a:cxn>
                <a:cxn ang="0">
                  <a:pos x="2773" y="95"/>
                </a:cxn>
                <a:cxn ang="0">
                  <a:pos x="3240" y="70"/>
                </a:cxn>
                <a:cxn ang="0">
                  <a:pos x="3428" y="90"/>
                </a:cxn>
                <a:cxn ang="0">
                  <a:pos x="4139" y="143"/>
                </a:cxn>
                <a:cxn ang="0">
                  <a:pos x="5006" y="190"/>
                </a:cxn>
                <a:cxn ang="0">
                  <a:pos x="5418" y="222"/>
                </a:cxn>
                <a:cxn ang="0">
                  <a:pos x="5653" y="259"/>
                </a:cxn>
                <a:cxn ang="0">
                  <a:pos x="5819" y="270"/>
                </a:cxn>
                <a:cxn ang="0">
                  <a:pos x="6127" y="259"/>
                </a:cxn>
                <a:cxn ang="0">
                  <a:pos x="6563" y="217"/>
                </a:cxn>
                <a:cxn ang="0">
                  <a:pos x="7013" y="148"/>
                </a:cxn>
                <a:cxn ang="0">
                  <a:pos x="7559" y="59"/>
                </a:cxn>
                <a:cxn ang="0">
                  <a:pos x="7853" y="30"/>
                </a:cxn>
                <a:cxn ang="0">
                  <a:pos x="8138" y="35"/>
                </a:cxn>
                <a:cxn ang="0">
                  <a:pos x="8378" y="57"/>
                </a:cxn>
                <a:cxn ang="0">
                  <a:pos x="8621" y="95"/>
                </a:cxn>
                <a:cxn ang="0">
                  <a:pos x="8850" y="148"/>
                </a:cxn>
                <a:cxn ang="0">
                  <a:pos x="9035" y="195"/>
                </a:cxn>
                <a:cxn ang="0">
                  <a:pos x="9266" y="220"/>
                </a:cxn>
                <a:cxn ang="0">
                  <a:pos x="9686" y="223"/>
                </a:cxn>
                <a:cxn ang="0">
                  <a:pos x="10229" y="214"/>
                </a:cxn>
                <a:cxn ang="0">
                  <a:pos x="10335" y="223"/>
                </a:cxn>
                <a:cxn ang="0">
                  <a:pos x="10451" y="223"/>
                </a:cxn>
                <a:cxn ang="0">
                  <a:pos x="10560" y="189"/>
                </a:cxn>
                <a:cxn ang="0">
                  <a:pos x="10781" y="74"/>
                </a:cxn>
                <a:cxn ang="0">
                  <a:pos x="10896" y="24"/>
                </a:cxn>
                <a:cxn ang="0">
                  <a:pos x="10989" y="5"/>
                </a:cxn>
                <a:cxn ang="0">
                  <a:pos x="11240" y="1"/>
                </a:cxn>
                <a:cxn ang="0">
                  <a:pos x="11986" y="44"/>
                </a:cxn>
                <a:cxn ang="0">
                  <a:pos x="12478" y="65"/>
                </a:cxn>
                <a:cxn ang="0">
                  <a:pos x="12785" y="50"/>
                </a:cxn>
                <a:cxn ang="0">
                  <a:pos x="13375" y="26"/>
                </a:cxn>
                <a:cxn ang="0">
                  <a:pos x="14252" y="23"/>
                </a:cxn>
                <a:cxn ang="0">
                  <a:pos x="14761" y="39"/>
                </a:cxn>
                <a:cxn ang="0">
                  <a:pos x="15301" y="72"/>
                </a:cxn>
                <a:cxn ang="0">
                  <a:pos x="15855" y="126"/>
                </a:cxn>
                <a:cxn ang="0">
                  <a:pos x="16411" y="204"/>
                </a:cxn>
                <a:cxn ang="0">
                  <a:pos x="16953" y="311"/>
                </a:cxn>
                <a:cxn ang="0">
                  <a:pos x="17384" y="424"/>
                </a:cxn>
                <a:cxn ang="0">
                  <a:pos x="17461" y="464"/>
                </a:cxn>
                <a:cxn ang="0">
                  <a:pos x="17411" y="481"/>
                </a:cxn>
                <a:cxn ang="0">
                  <a:pos x="17234" y="500"/>
                </a:cxn>
                <a:cxn ang="0">
                  <a:pos x="16606" y="512"/>
                </a:cxn>
                <a:cxn ang="0">
                  <a:pos x="15579" y="493"/>
                </a:cxn>
                <a:cxn ang="0">
                  <a:pos x="13652" y="418"/>
                </a:cxn>
                <a:cxn ang="0">
                  <a:pos x="11826" y="457"/>
                </a:cxn>
                <a:cxn ang="0">
                  <a:pos x="9898" y="467"/>
                </a:cxn>
                <a:cxn ang="0">
                  <a:pos x="7919" y="465"/>
                </a:cxn>
                <a:cxn ang="0">
                  <a:pos x="5941" y="464"/>
                </a:cxn>
                <a:cxn ang="0">
                  <a:pos x="3712" y="464"/>
                </a:cxn>
                <a:cxn ang="0">
                  <a:pos x="1485" y="464"/>
                </a:cxn>
              </a:cxnLst>
              <a:rect l="0" t="0" r="r" b="b"/>
              <a:pathLst>
                <a:path w="17467" h="512">
                  <a:moveTo>
                    <a:pt x="0" y="464"/>
                  </a:moveTo>
                  <a:lnTo>
                    <a:pt x="466" y="393"/>
                  </a:lnTo>
                  <a:lnTo>
                    <a:pt x="952" y="322"/>
                  </a:lnTo>
                  <a:lnTo>
                    <a:pt x="1521" y="243"/>
                  </a:lnTo>
                  <a:lnTo>
                    <a:pt x="1817" y="203"/>
                  </a:lnTo>
                  <a:lnTo>
                    <a:pt x="2109" y="167"/>
                  </a:lnTo>
                  <a:lnTo>
                    <a:pt x="2390" y="133"/>
                  </a:lnTo>
                  <a:lnTo>
                    <a:pt x="2651" y="106"/>
                  </a:lnTo>
                  <a:lnTo>
                    <a:pt x="2773" y="95"/>
                  </a:lnTo>
                  <a:lnTo>
                    <a:pt x="2886" y="85"/>
                  </a:lnTo>
                  <a:lnTo>
                    <a:pt x="3085" y="72"/>
                  </a:lnTo>
                  <a:lnTo>
                    <a:pt x="3240" y="70"/>
                  </a:lnTo>
                  <a:lnTo>
                    <a:pt x="3299" y="72"/>
                  </a:lnTo>
                  <a:lnTo>
                    <a:pt x="3344" y="77"/>
                  </a:lnTo>
                  <a:lnTo>
                    <a:pt x="3428" y="90"/>
                  </a:lnTo>
                  <a:lnTo>
                    <a:pt x="3537" y="102"/>
                  </a:lnTo>
                  <a:lnTo>
                    <a:pt x="3812" y="124"/>
                  </a:lnTo>
                  <a:lnTo>
                    <a:pt x="4139" y="143"/>
                  </a:lnTo>
                  <a:lnTo>
                    <a:pt x="4492" y="161"/>
                  </a:lnTo>
                  <a:lnTo>
                    <a:pt x="4843" y="180"/>
                  </a:lnTo>
                  <a:lnTo>
                    <a:pt x="5006" y="190"/>
                  </a:lnTo>
                  <a:lnTo>
                    <a:pt x="5160" y="199"/>
                  </a:lnTo>
                  <a:lnTo>
                    <a:pt x="5298" y="210"/>
                  </a:lnTo>
                  <a:lnTo>
                    <a:pt x="5418" y="222"/>
                  </a:lnTo>
                  <a:lnTo>
                    <a:pt x="5516" y="234"/>
                  </a:lnTo>
                  <a:lnTo>
                    <a:pt x="5588" y="247"/>
                  </a:lnTo>
                  <a:lnTo>
                    <a:pt x="5653" y="259"/>
                  </a:lnTo>
                  <a:lnTo>
                    <a:pt x="5691" y="264"/>
                  </a:lnTo>
                  <a:lnTo>
                    <a:pt x="5731" y="267"/>
                  </a:lnTo>
                  <a:lnTo>
                    <a:pt x="5819" y="270"/>
                  </a:lnTo>
                  <a:lnTo>
                    <a:pt x="5917" y="270"/>
                  </a:lnTo>
                  <a:lnTo>
                    <a:pt x="6019" y="267"/>
                  </a:lnTo>
                  <a:lnTo>
                    <a:pt x="6127" y="259"/>
                  </a:lnTo>
                  <a:lnTo>
                    <a:pt x="6237" y="251"/>
                  </a:lnTo>
                  <a:lnTo>
                    <a:pt x="6348" y="241"/>
                  </a:lnTo>
                  <a:lnTo>
                    <a:pt x="6563" y="217"/>
                  </a:lnTo>
                  <a:lnTo>
                    <a:pt x="6756" y="191"/>
                  </a:lnTo>
                  <a:lnTo>
                    <a:pt x="6911" y="167"/>
                  </a:lnTo>
                  <a:lnTo>
                    <a:pt x="7013" y="148"/>
                  </a:lnTo>
                  <a:lnTo>
                    <a:pt x="7175" y="116"/>
                  </a:lnTo>
                  <a:lnTo>
                    <a:pt x="7364" y="86"/>
                  </a:lnTo>
                  <a:lnTo>
                    <a:pt x="7559" y="59"/>
                  </a:lnTo>
                  <a:lnTo>
                    <a:pt x="7736" y="37"/>
                  </a:lnTo>
                  <a:lnTo>
                    <a:pt x="7791" y="32"/>
                  </a:lnTo>
                  <a:lnTo>
                    <a:pt x="7853" y="30"/>
                  </a:lnTo>
                  <a:lnTo>
                    <a:pt x="7989" y="29"/>
                  </a:lnTo>
                  <a:lnTo>
                    <a:pt x="8061" y="31"/>
                  </a:lnTo>
                  <a:lnTo>
                    <a:pt x="8138" y="35"/>
                  </a:lnTo>
                  <a:lnTo>
                    <a:pt x="8216" y="41"/>
                  </a:lnTo>
                  <a:lnTo>
                    <a:pt x="8296" y="48"/>
                  </a:lnTo>
                  <a:lnTo>
                    <a:pt x="8378" y="57"/>
                  </a:lnTo>
                  <a:lnTo>
                    <a:pt x="8458" y="68"/>
                  </a:lnTo>
                  <a:lnTo>
                    <a:pt x="8540" y="80"/>
                  </a:lnTo>
                  <a:lnTo>
                    <a:pt x="8621" y="95"/>
                  </a:lnTo>
                  <a:lnTo>
                    <a:pt x="8699" y="110"/>
                  </a:lnTo>
                  <a:lnTo>
                    <a:pt x="8776" y="128"/>
                  </a:lnTo>
                  <a:lnTo>
                    <a:pt x="8850" y="148"/>
                  </a:lnTo>
                  <a:lnTo>
                    <a:pt x="8921" y="168"/>
                  </a:lnTo>
                  <a:lnTo>
                    <a:pt x="8994" y="187"/>
                  </a:lnTo>
                  <a:lnTo>
                    <a:pt x="9035" y="195"/>
                  </a:lnTo>
                  <a:lnTo>
                    <a:pt x="9078" y="202"/>
                  </a:lnTo>
                  <a:lnTo>
                    <a:pt x="9169" y="213"/>
                  </a:lnTo>
                  <a:lnTo>
                    <a:pt x="9266" y="220"/>
                  </a:lnTo>
                  <a:lnTo>
                    <a:pt x="9368" y="223"/>
                  </a:lnTo>
                  <a:lnTo>
                    <a:pt x="9473" y="226"/>
                  </a:lnTo>
                  <a:lnTo>
                    <a:pt x="9686" y="223"/>
                  </a:lnTo>
                  <a:lnTo>
                    <a:pt x="9892" y="219"/>
                  </a:lnTo>
                  <a:lnTo>
                    <a:pt x="10078" y="214"/>
                  </a:lnTo>
                  <a:lnTo>
                    <a:pt x="10229" y="214"/>
                  </a:lnTo>
                  <a:lnTo>
                    <a:pt x="10261" y="215"/>
                  </a:lnTo>
                  <a:lnTo>
                    <a:pt x="10290" y="217"/>
                  </a:lnTo>
                  <a:lnTo>
                    <a:pt x="10335" y="223"/>
                  </a:lnTo>
                  <a:lnTo>
                    <a:pt x="10375" y="228"/>
                  </a:lnTo>
                  <a:lnTo>
                    <a:pt x="10412" y="228"/>
                  </a:lnTo>
                  <a:lnTo>
                    <a:pt x="10451" y="223"/>
                  </a:lnTo>
                  <a:lnTo>
                    <a:pt x="10487" y="215"/>
                  </a:lnTo>
                  <a:lnTo>
                    <a:pt x="10524" y="203"/>
                  </a:lnTo>
                  <a:lnTo>
                    <a:pt x="10560" y="189"/>
                  </a:lnTo>
                  <a:lnTo>
                    <a:pt x="10633" y="154"/>
                  </a:lnTo>
                  <a:lnTo>
                    <a:pt x="10706" y="114"/>
                  </a:lnTo>
                  <a:lnTo>
                    <a:pt x="10781" y="74"/>
                  </a:lnTo>
                  <a:lnTo>
                    <a:pt x="10818" y="56"/>
                  </a:lnTo>
                  <a:lnTo>
                    <a:pt x="10857" y="39"/>
                  </a:lnTo>
                  <a:lnTo>
                    <a:pt x="10896" y="24"/>
                  </a:lnTo>
                  <a:lnTo>
                    <a:pt x="10937" y="13"/>
                  </a:lnTo>
                  <a:lnTo>
                    <a:pt x="10961" y="8"/>
                  </a:lnTo>
                  <a:lnTo>
                    <a:pt x="10989" y="5"/>
                  </a:lnTo>
                  <a:lnTo>
                    <a:pt x="11058" y="0"/>
                  </a:lnTo>
                  <a:lnTo>
                    <a:pt x="11142" y="0"/>
                  </a:lnTo>
                  <a:lnTo>
                    <a:pt x="11240" y="1"/>
                  </a:lnTo>
                  <a:lnTo>
                    <a:pt x="11466" y="12"/>
                  </a:lnTo>
                  <a:lnTo>
                    <a:pt x="11721" y="27"/>
                  </a:lnTo>
                  <a:lnTo>
                    <a:pt x="11986" y="44"/>
                  </a:lnTo>
                  <a:lnTo>
                    <a:pt x="12244" y="59"/>
                  </a:lnTo>
                  <a:lnTo>
                    <a:pt x="12365" y="62"/>
                  </a:lnTo>
                  <a:lnTo>
                    <a:pt x="12478" y="65"/>
                  </a:lnTo>
                  <a:lnTo>
                    <a:pt x="12581" y="64"/>
                  </a:lnTo>
                  <a:lnTo>
                    <a:pt x="12671" y="59"/>
                  </a:lnTo>
                  <a:lnTo>
                    <a:pt x="12785" y="50"/>
                  </a:lnTo>
                  <a:lnTo>
                    <a:pt x="12943" y="42"/>
                  </a:lnTo>
                  <a:lnTo>
                    <a:pt x="13142" y="33"/>
                  </a:lnTo>
                  <a:lnTo>
                    <a:pt x="13375" y="26"/>
                  </a:lnTo>
                  <a:lnTo>
                    <a:pt x="13642" y="21"/>
                  </a:lnTo>
                  <a:lnTo>
                    <a:pt x="13935" y="20"/>
                  </a:lnTo>
                  <a:lnTo>
                    <a:pt x="14252" y="23"/>
                  </a:lnTo>
                  <a:lnTo>
                    <a:pt x="14418" y="26"/>
                  </a:lnTo>
                  <a:lnTo>
                    <a:pt x="14588" y="32"/>
                  </a:lnTo>
                  <a:lnTo>
                    <a:pt x="14761" y="39"/>
                  </a:lnTo>
                  <a:lnTo>
                    <a:pt x="14939" y="48"/>
                  </a:lnTo>
                  <a:lnTo>
                    <a:pt x="15119" y="60"/>
                  </a:lnTo>
                  <a:lnTo>
                    <a:pt x="15301" y="72"/>
                  </a:lnTo>
                  <a:lnTo>
                    <a:pt x="15485" y="88"/>
                  </a:lnTo>
                  <a:lnTo>
                    <a:pt x="15669" y="106"/>
                  </a:lnTo>
                  <a:lnTo>
                    <a:pt x="15855" y="126"/>
                  </a:lnTo>
                  <a:lnTo>
                    <a:pt x="16041" y="150"/>
                  </a:lnTo>
                  <a:lnTo>
                    <a:pt x="16225" y="175"/>
                  </a:lnTo>
                  <a:lnTo>
                    <a:pt x="16411" y="204"/>
                  </a:lnTo>
                  <a:lnTo>
                    <a:pt x="16593" y="237"/>
                  </a:lnTo>
                  <a:lnTo>
                    <a:pt x="16774" y="273"/>
                  </a:lnTo>
                  <a:lnTo>
                    <a:pt x="16953" y="311"/>
                  </a:lnTo>
                  <a:lnTo>
                    <a:pt x="17127" y="353"/>
                  </a:lnTo>
                  <a:lnTo>
                    <a:pt x="17299" y="400"/>
                  </a:lnTo>
                  <a:lnTo>
                    <a:pt x="17384" y="424"/>
                  </a:lnTo>
                  <a:lnTo>
                    <a:pt x="17467" y="449"/>
                  </a:lnTo>
                  <a:lnTo>
                    <a:pt x="17467" y="457"/>
                  </a:lnTo>
                  <a:lnTo>
                    <a:pt x="17461" y="464"/>
                  </a:lnTo>
                  <a:lnTo>
                    <a:pt x="17449" y="470"/>
                  </a:lnTo>
                  <a:lnTo>
                    <a:pt x="17433" y="475"/>
                  </a:lnTo>
                  <a:lnTo>
                    <a:pt x="17411" y="481"/>
                  </a:lnTo>
                  <a:lnTo>
                    <a:pt x="17385" y="485"/>
                  </a:lnTo>
                  <a:lnTo>
                    <a:pt x="17317" y="493"/>
                  </a:lnTo>
                  <a:lnTo>
                    <a:pt x="17234" y="500"/>
                  </a:lnTo>
                  <a:lnTo>
                    <a:pt x="17134" y="505"/>
                  </a:lnTo>
                  <a:lnTo>
                    <a:pt x="16892" y="511"/>
                  </a:lnTo>
                  <a:lnTo>
                    <a:pt x="16606" y="512"/>
                  </a:lnTo>
                  <a:lnTo>
                    <a:pt x="16283" y="508"/>
                  </a:lnTo>
                  <a:lnTo>
                    <a:pt x="15938" y="501"/>
                  </a:lnTo>
                  <a:lnTo>
                    <a:pt x="15579" y="493"/>
                  </a:lnTo>
                  <a:lnTo>
                    <a:pt x="14873" y="470"/>
                  </a:lnTo>
                  <a:lnTo>
                    <a:pt x="14256" y="445"/>
                  </a:lnTo>
                  <a:lnTo>
                    <a:pt x="13652" y="418"/>
                  </a:lnTo>
                  <a:lnTo>
                    <a:pt x="13043" y="430"/>
                  </a:lnTo>
                  <a:lnTo>
                    <a:pt x="12435" y="443"/>
                  </a:lnTo>
                  <a:lnTo>
                    <a:pt x="11826" y="457"/>
                  </a:lnTo>
                  <a:lnTo>
                    <a:pt x="11218" y="470"/>
                  </a:lnTo>
                  <a:lnTo>
                    <a:pt x="10558" y="469"/>
                  </a:lnTo>
                  <a:lnTo>
                    <a:pt x="9898" y="467"/>
                  </a:lnTo>
                  <a:lnTo>
                    <a:pt x="9238" y="466"/>
                  </a:lnTo>
                  <a:lnTo>
                    <a:pt x="8579" y="466"/>
                  </a:lnTo>
                  <a:lnTo>
                    <a:pt x="7919" y="465"/>
                  </a:lnTo>
                  <a:lnTo>
                    <a:pt x="7259" y="465"/>
                  </a:lnTo>
                  <a:lnTo>
                    <a:pt x="6599" y="464"/>
                  </a:lnTo>
                  <a:lnTo>
                    <a:pt x="5941" y="464"/>
                  </a:lnTo>
                  <a:lnTo>
                    <a:pt x="5198" y="464"/>
                  </a:lnTo>
                  <a:lnTo>
                    <a:pt x="4455" y="464"/>
                  </a:lnTo>
                  <a:lnTo>
                    <a:pt x="3712" y="464"/>
                  </a:lnTo>
                  <a:lnTo>
                    <a:pt x="2970" y="464"/>
                  </a:lnTo>
                  <a:lnTo>
                    <a:pt x="2227" y="464"/>
                  </a:lnTo>
                  <a:lnTo>
                    <a:pt x="1485" y="464"/>
                  </a:lnTo>
                  <a:lnTo>
                    <a:pt x="742" y="464"/>
                  </a:lnTo>
                  <a:lnTo>
                    <a:pt x="0" y="46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6" name="Freeform 59"/>
            <p:cNvSpPr>
              <a:spLocks/>
            </p:cNvSpPr>
            <p:nvPr userDrawn="1"/>
          </p:nvSpPr>
          <p:spPr bwMode="auto">
            <a:xfrm>
              <a:off x="2671763" y="6500813"/>
              <a:ext cx="3795713" cy="109538"/>
            </a:xfrm>
            <a:custGeom>
              <a:avLst/>
              <a:gdLst/>
              <a:ahLst/>
              <a:cxnLst>
                <a:cxn ang="0">
                  <a:pos x="89" y="316"/>
                </a:cxn>
                <a:cxn ang="0">
                  <a:pos x="650" y="273"/>
                </a:cxn>
                <a:cxn ang="0">
                  <a:pos x="1233" y="235"/>
                </a:cxn>
                <a:cxn ang="0">
                  <a:pos x="1339" y="232"/>
                </a:cxn>
                <a:cxn ang="0">
                  <a:pos x="1430" y="232"/>
                </a:cxn>
                <a:cxn ang="0">
                  <a:pos x="1872" y="203"/>
                </a:cxn>
                <a:cxn ang="0">
                  <a:pos x="2350" y="173"/>
                </a:cxn>
                <a:cxn ang="0">
                  <a:pos x="2469" y="170"/>
                </a:cxn>
                <a:cxn ang="0">
                  <a:pos x="2563" y="167"/>
                </a:cxn>
                <a:cxn ang="0">
                  <a:pos x="2683" y="151"/>
                </a:cxn>
                <a:cxn ang="0">
                  <a:pos x="2787" y="126"/>
                </a:cxn>
                <a:cxn ang="0">
                  <a:pos x="2923" y="89"/>
                </a:cxn>
                <a:cxn ang="0">
                  <a:pos x="3085" y="60"/>
                </a:cxn>
                <a:cxn ang="0">
                  <a:pos x="3388" y="30"/>
                </a:cxn>
                <a:cxn ang="0">
                  <a:pos x="3543" y="25"/>
                </a:cxn>
                <a:cxn ang="0">
                  <a:pos x="3628" y="33"/>
                </a:cxn>
                <a:cxn ang="0">
                  <a:pos x="3819" y="86"/>
                </a:cxn>
                <a:cxn ang="0">
                  <a:pos x="3991" y="131"/>
                </a:cxn>
                <a:cxn ang="0">
                  <a:pos x="4195" y="169"/>
                </a:cxn>
                <a:cxn ang="0">
                  <a:pos x="4296" y="177"/>
                </a:cxn>
                <a:cxn ang="0">
                  <a:pos x="4384" y="176"/>
                </a:cxn>
                <a:cxn ang="0">
                  <a:pos x="4530" y="154"/>
                </a:cxn>
                <a:cxn ang="0">
                  <a:pos x="4691" y="114"/>
                </a:cxn>
                <a:cxn ang="0">
                  <a:pos x="4784" y="108"/>
                </a:cxn>
                <a:cxn ang="0">
                  <a:pos x="4934" y="94"/>
                </a:cxn>
                <a:cxn ang="0">
                  <a:pos x="5055" y="83"/>
                </a:cxn>
                <a:cxn ang="0">
                  <a:pos x="5086" y="84"/>
                </a:cxn>
                <a:cxn ang="0">
                  <a:pos x="5099" y="72"/>
                </a:cxn>
                <a:cxn ang="0">
                  <a:pos x="5121" y="40"/>
                </a:cxn>
                <a:cxn ang="0">
                  <a:pos x="5144" y="23"/>
                </a:cxn>
                <a:cxn ang="0">
                  <a:pos x="5210" y="4"/>
                </a:cxn>
                <a:cxn ang="0">
                  <a:pos x="5329" y="0"/>
                </a:cxn>
                <a:cxn ang="0">
                  <a:pos x="5945" y="39"/>
                </a:cxn>
                <a:cxn ang="0">
                  <a:pos x="6390" y="68"/>
                </a:cxn>
                <a:cxn ang="0">
                  <a:pos x="6867" y="88"/>
                </a:cxn>
                <a:cxn ang="0">
                  <a:pos x="7097" y="90"/>
                </a:cxn>
                <a:cxn ang="0">
                  <a:pos x="7164" y="82"/>
                </a:cxn>
                <a:cxn ang="0">
                  <a:pos x="7245" y="63"/>
                </a:cxn>
                <a:cxn ang="0">
                  <a:pos x="7334" y="31"/>
                </a:cxn>
                <a:cxn ang="0">
                  <a:pos x="7404" y="16"/>
                </a:cxn>
                <a:cxn ang="0">
                  <a:pos x="7458" y="13"/>
                </a:cxn>
                <a:cxn ang="0">
                  <a:pos x="7621" y="27"/>
                </a:cxn>
                <a:cxn ang="0">
                  <a:pos x="7877" y="39"/>
                </a:cxn>
                <a:cxn ang="0">
                  <a:pos x="8118" y="41"/>
                </a:cxn>
                <a:cxn ang="0">
                  <a:pos x="8450" y="30"/>
                </a:cxn>
                <a:cxn ang="0">
                  <a:pos x="8829" y="10"/>
                </a:cxn>
                <a:cxn ang="0">
                  <a:pos x="9057" y="3"/>
                </a:cxn>
                <a:cxn ang="0">
                  <a:pos x="9828" y="88"/>
                </a:cxn>
                <a:cxn ang="0">
                  <a:pos x="11244" y="257"/>
                </a:cxn>
                <a:cxn ang="0">
                  <a:pos x="11199" y="342"/>
                </a:cxn>
                <a:cxn ang="0">
                  <a:pos x="9691" y="339"/>
                </a:cxn>
                <a:cxn ang="0">
                  <a:pos x="8185" y="338"/>
                </a:cxn>
                <a:cxn ang="0">
                  <a:pos x="6679" y="336"/>
                </a:cxn>
                <a:cxn ang="0">
                  <a:pos x="5411" y="334"/>
                </a:cxn>
                <a:cxn ang="0">
                  <a:pos x="4383" y="332"/>
                </a:cxn>
                <a:cxn ang="0">
                  <a:pos x="3353" y="331"/>
                </a:cxn>
                <a:cxn ang="0">
                  <a:pos x="2325" y="328"/>
                </a:cxn>
                <a:cxn ang="0">
                  <a:pos x="1143" y="326"/>
                </a:cxn>
                <a:cxn ang="0">
                  <a:pos x="0" y="322"/>
                </a:cxn>
              </a:cxnLst>
              <a:rect l="0" t="0" r="r" b="b"/>
              <a:pathLst>
                <a:path w="11952" h="343">
                  <a:moveTo>
                    <a:pt x="0" y="322"/>
                  </a:moveTo>
                  <a:lnTo>
                    <a:pt x="89" y="316"/>
                  </a:lnTo>
                  <a:lnTo>
                    <a:pt x="241" y="306"/>
                  </a:lnTo>
                  <a:lnTo>
                    <a:pt x="650" y="273"/>
                  </a:lnTo>
                  <a:lnTo>
                    <a:pt x="1070" y="243"/>
                  </a:lnTo>
                  <a:lnTo>
                    <a:pt x="1233" y="235"/>
                  </a:lnTo>
                  <a:lnTo>
                    <a:pt x="1294" y="232"/>
                  </a:lnTo>
                  <a:lnTo>
                    <a:pt x="1339" y="232"/>
                  </a:lnTo>
                  <a:lnTo>
                    <a:pt x="1380" y="233"/>
                  </a:lnTo>
                  <a:lnTo>
                    <a:pt x="1430" y="232"/>
                  </a:lnTo>
                  <a:lnTo>
                    <a:pt x="1556" y="226"/>
                  </a:lnTo>
                  <a:lnTo>
                    <a:pt x="1872" y="203"/>
                  </a:lnTo>
                  <a:lnTo>
                    <a:pt x="2205" y="181"/>
                  </a:lnTo>
                  <a:lnTo>
                    <a:pt x="2350" y="173"/>
                  </a:lnTo>
                  <a:lnTo>
                    <a:pt x="2414" y="171"/>
                  </a:lnTo>
                  <a:lnTo>
                    <a:pt x="2469" y="170"/>
                  </a:lnTo>
                  <a:lnTo>
                    <a:pt x="2519" y="170"/>
                  </a:lnTo>
                  <a:lnTo>
                    <a:pt x="2563" y="167"/>
                  </a:lnTo>
                  <a:lnTo>
                    <a:pt x="2645" y="157"/>
                  </a:lnTo>
                  <a:lnTo>
                    <a:pt x="2683" y="151"/>
                  </a:lnTo>
                  <a:lnTo>
                    <a:pt x="2719" y="143"/>
                  </a:lnTo>
                  <a:lnTo>
                    <a:pt x="2787" y="126"/>
                  </a:lnTo>
                  <a:lnTo>
                    <a:pt x="2854" y="107"/>
                  </a:lnTo>
                  <a:lnTo>
                    <a:pt x="2923" y="89"/>
                  </a:lnTo>
                  <a:lnTo>
                    <a:pt x="2999" y="74"/>
                  </a:lnTo>
                  <a:lnTo>
                    <a:pt x="3085" y="60"/>
                  </a:lnTo>
                  <a:lnTo>
                    <a:pt x="3252" y="42"/>
                  </a:lnTo>
                  <a:lnTo>
                    <a:pt x="3388" y="30"/>
                  </a:lnTo>
                  <a:lnTo>
                    <a:pt x="3498" y="25"/>
                  </a:lnTo>
                  <a:lnTo>
                    <a:pt x="3543" y="25"/>
                  </a:lnTo>
                  <a:lnTo>
                    <a:pt x="3584" y="27"/>
                  </a:lnTo>
                  <a:lnTo>
                    <a:pt x="3628" y="33"/>
                  </a:lnTo>
                  <a:lnTo>
                    <a:pt x="3682" y="46"/>
                  </a:lnTo>
                  <a:lnTo>
                    <a:pt x="3819" y="86"/>
                  </a:lnTo>
                  <a:lnTo>
                    <a:pt x="3901" y="108"/>
                  </a:lnTo>
                  <a:lnTo>
                    <a:pt x="3991" y="131"/>
                  </a:lnTo>
                  <a:lnTo>
                    <a:pt x="4090" y="152"/>
                  </a:lnTo>
                  <a:lnTo>
                    <a:pt x="4195" y="169"/>
                  </a:lnTo>
                  <a:lnTo>
                    <a:pt x="4247" y="175"/>
                  </a:lnTo>
                  <a:lnTo>
                    <a:pt x="4296" y="177"/>
                  </a:lnTo>
                  <a:lnTo>
                    <a:pt x="4342" y="177"/>
                  </a:lnTo>
                  <a:lnTo>
                    <a:pt x="4384" y="176"/>
                  </a:lnTo>
                  <a:lnTo>
                    <a:pt x="4461" y="167"/>
                  </a:lnTo>
                  <a:lnTo>
                    <a:pt x="4530" y="154"/>
                  </a:lnTo>
                  <a:lnTo>
                    <a:pt x="4643" y="125"/>
                  </a:lnTo>
                  <a:lnTo>
                    <a:pt x="4691" y="114"/>
                  </a:lnTo>
                  <a:lnTo>
                    <a:pt x="4737" y="111"/>
                  </a:lnTo>
                  <a:lnTo>
                    <a:pt x="4784" y="108"/>
                  </a:lnTo>
                  <a:lnTo>
                    <a:pt x="4833" y="105"/>
                  </a:lnTo>
                  <a:lnTo>
                    <a:pt x="4934" y="94"/>
                  </a:lnTo>
                  <a:lnTo>
                    <a:pt x="5021" y="84"/>
                  </a:lnTo>
                  <a:lnTo>
                    <a:pt x="5055" y="83"/>
                  </a:lnTo>
                  <a:lnTo>
                    <a:pt x="5079" y="83"/>
                  </a:lnTo>
                  <a:lnTo>
                    <a:pt x="5086" y="84"/>
                  </a:lnTo>
                  <a:lnTo>
                    <a:pt x="5092" y="82"/>
                  </a:lnTo>
                  <a:lnTo>
                    <a:pt x="5099" y="72"/>
                  </a:lnTo>
                  <a:lnTo>
                    <a:pt x="5107" y="57"/>
                  </a:lnTo>
                  <a:lnTo>
                    <a:pt x="5121" y="40"/>
                  </a:lnTo>
                  <a:lnTo>
                    <a:pt x="5130" y="31"/>
                  </a:lnTo>
                  <a:lnTo>
                    <a:pt x="5144" y="23"/>
                  </a:lnTo>
                  <a:lnTo>
                    <a:pt x="5182" y="10"/>
                  </a:lnTo>
                  <a:lnTo>
                    <a:pt x="5210" y="4"/>
                  </a:lnTo>
                  <a:lnTo>
                    <a:pt x="5242" y="1"/>
                  </a:lnTo>
                  <a:lnTo>
                    <a:pt x="5329" y="0"/>
                  </a:lnTo>
                  <a:lnTo>
                    <a:pt x="5604" y="17"/>
                  </a:lnTo>
                  <a:lnTo>
                    <a:pt x="5945" y="39"/>
                  </a:lnTo>
                  <a:lnTo>
                    <a:pt x="6244" y="59"/>
                  </a:lnTo>
                  <a:lnTo>
                    <a:pt x="6390" y="68"/>
                  </a:lnTo>
                  <a:lnTo>
                    <a:pt x="6657" y="80"/>
                  </a:lnTo>
                  <a:lnTo>
                    <a:pt x="6867" y="88"/>
                  </a:lnTo>
                  <a:lnTo>
                    <a:pt x="7058" y="92"/>
                  </a:lnTo>
                  <a:lnTo>
                    <a:pt x="7097" y="90"/>
                  </a:lnTo>
                  <a:lnTo>
                    <a:pt x="7133" y="87"/>
                  </a:lnTo>
                  <a:lnTo>
                    <a:pt x="7164" y="82"/>
                  </a:lnTo>
                  <a:lnTo>
                    <a:pt x="7193" y="77"/>
                  </a:lnTo>
                  <a:lnTo>
                    <a:pt x="7245" y="63"/>
                  </a:lnTo>
                  <a:lnTo>
                    <a:pt x="7290" y="47"/>
                  </a:lnTo>
                  <a:lnTo>
                    <a:pt x="7334" y="31"/>
                  </a:lnTo>
                  <a:lnTo>
                    <a:pt x="7378" y="19"/>
                  </a:lnTo>
                  <a:lnTo>
                    <a:pt x="7404" y="16"/>
                  </a:lnTo>
                  <a:lnTo>
                    <a:pt x="7430" y="13"/>
                  </a:lnTo>
                  <a:lnTo>
                    <a:pt x="7458" y="13"/>
                  </a:lnTo>
                  <a:lnTo>
                    <a:pt x="7490" y="16"/>
                  </a:lnTo>
                  <a:lnTo>
                    <a:pt x="7621" y="27"/>
                  </a:lnTo>
                  <a:lnTo>
                    <a:pt x="7750" y="35"/>
                  </a:lnTo>
                  <a:lnTo>
                    <a:pt x="7877" y="39"/>
                  </a:lnTo>
                  <a:lnTo>
                    <a:pt x="8000" y="41"/>
                  </a:lnTo>
                  <a:lnTo>
                    <a:pt x="8118" y="41"/>
                  </a:lnTo>
                  <a:lnTo>
                    <a:pt x="8233" y="39"/>
                  </a:lnTo>
                  <a:lnTo>
                    <a:pt x="8450" y="30"/>
                  </a:lnTo>
                  <a:lnTo>
                    <a:pt x="8650" y="19"/>
                  </a:lnTo>
                  <a:lnTo>
                    <a:pt x="8829" y="10"/>
                  </a:lnTo>
                  <a:lnTo>
                    <a:pt x="8986" y="3"/>
                  </a:lnTo>
                  <a:lnTo>
                    <a:pt x="9057" y="3"/>
                  </a:lnTo>
                  <a:lnTo>
                    <a:pt x="9120" y="4"/>
                  </a:lnTo>
                  <a:lnTo>
                    <a:pt x="9828" y="88"/>
                  </a:lnTo>
                  <a:lnTo>
                    <a:pt x="10536" y="173"/>
                  </a:lnTo>
                  <a:lnTo>
                    <a:pt x="11244" y="257"/>
                  </a:lnTo>
                  <a:lnTo>
                    <a:pt x="11952" y="343"/>
                  </a:lnTo>
                  <a:lnTo>
                    <a:pt x="11199" y="342"/>
                  </a:lnTo>
                  <a:lnTo>
                    <a:pt x="10445" y="340"/>
                  </a:lnTo>
                  <a:lnTo>
                    <a:pt x="9691" y="339"/>
                  </a:lnTo>
                  <a:lnTo>
                    <a:pt x="8939" y="339"/>
                  </a:lnTo>
                  <a:lnTo>
                    <a:pt x="8185" y="338"/>
                  </a:lnTo>
                  <a:lnTo>
                    <a:pt x="7432" y="337"/>
                  </a:lnTo>
                  <a:lnTo>
                    <a:pt x="6679" y="336"/>
                  </a:lnTo>
                  <a:lnTo>
                    <a:pt x="5926" y="336"/>
                  </a:lnTo>
                  <a:lnTo>
                    <a:pt x="5411" y="334"/>
                  </a:lnTo>
                  <a:lnTo>
                    <a:pt x="4897" y="333"/>
                  </a:lnTo>
                  <a:lnTo>
                    <a:pt x="4383" y="332"/>
                  </a:lnTo>
                  <a:lnTo>
                    <a:pt x="3869" y="332"/>
                  </a:lnTo>
                  <a:lnTo>
                    <a:pt x="3353" y="331"/>
                  </a:lnTo>
                  <a:lnTo>
                    <a:pt x="2839" y="330"/>
                  </a:lnTo>
                  <a:lnTo>
                    <a:pt x="2325" y="328"/>
                  </a:lnTo>
                  <a:lnTo>
                    <a:pt x="1811" y="328"/>
                  </a:lnTo>
                  <a:lnTo>
                    <a:pt x="1143" y="326"/>
                  </a:lnTo>
                  <a:lnTo>
                    <a:pt x="476" y="325"/>
                  </a:lnTo>
                  <a:lnTo>
                    <a:pt x="0" y="3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7" name="Freeform 60"/>
            <p:cNvSpPr>
              <a:spLocks/>
            </p:cNvSpPr>
            <p:nvPr userDrawn="1"/>
          </p:nvSpPr>
          <p:spPr bwMode="auto">
            <a:xfrm>
              <a:off x="2855913" y="6235701"/>
              <a:ext cx="196850" cy="284163"/>
            </a:xfrm>
            <a:custGeom>
              <a:avLst/>
              <a:gdLst/>
              <a:ahLst/>
              <a:cxnLst>
                <a:cxn ang="0">
                  <a:pos x="336" y="75"/>
                </a:cxn>
                <a:cxn ang="0">
                  <a:pos x="372" y="134"/>
                </a:cxn>
                <a:cxn ang="0">
                  <a:pos x="412" y="165"/>
                </a:cxn>
                <a:cxn ang="0">
                  <a:pos x="391" y="195"/>
                </a:cxn>
                <a:cxn ang="0">
                  <a:pos x="426" y="262"/>
                </a:cxn>
                <a:cxn ang="0">
                  <a:pos x="454" y="326"/>
                </a:cxn>
                <a:cxn ang="0">
                  <a:pos x="448" y="345"/>
                </a:cxn>
                <a:cxn ang="0">
                  <a:pos x="514" y="387"/>
                </a:cxn>
                <a:cxn ang="0">
                  <a:pos x="491" y="405"/>
                </a:cxn>
                <a:cxn ang="0">
                  <a:pos x="518" y="419"/>
                </a:cxn>
                <a:cxn ang="0">
                  <a:pos x="490" y="433"/>
                </a:cxn>
                <a:cxn ang="0">
                  <a:pos x="477" y="450"/>
                </a:cxn>
                <a:cxn ang="0">
                  <a:pos x="534" y="466"/>
                </a:cxn>
                <a:cxn ang="0">
                  <a:pos x="540" y="479"/>
                </a:cxn>
                <a:cxn ang="0">
                  <a:pos x="563" y="506"/>
                </a:cxn>
                <a:cxn ang="0">
                  <a:pos x="533" y="530"/>
                </a:cxn>
                <a:cxn ang="0">
                  <a:pos x="518" y="554"/>
                </a:cxn>
                <a:cxn ang="0">
                  <a:pos x="480" y="564"/>
                </a:cxn>
                <a:cxn ang="0">
                  <a:pos x="454" y="565"/>
                </a:cxn>
                <a:cxn ang="0">
                  <a:pos x="467" y="587"/>
                </a:cxn>
                <a:cxn ang="0">
                  <a:pos x="525" y="601"/>
                </a:cxn>
                <a:cxn ang="0">
                  <a:pos x="558" y="621"/>
                </a:cxn>
                <a:cxn ang="0">
                  <a:pos x="561" y="652"/>
                </a:cxn>
                <a:cxn ang="0">
                  <a:pos x="567" y="666"/>
                </a:cxn>
                <a:cxn ang="0">
                  <a:pos x="554" y="682"/>
                </a:cxn>
                <a:cxn ang="0">
                  <a:pos x="598" y="698"/>
                </a:cxn>
                <a:cxn ang="0">
                  <a:pos x="581" y="732"/>
                </a:cxn>
                <a:cxn ang="0">
                  <a:pos x="542" y="734"/>
                </a:cxn>
                <a:cxn ang="0">
                  <a:pos x="507" y="781"/>
                </a:cxn>
                <a:cxn ang="0">
                  <a:pos x="456" y="806"/>
                </a:cxn>
                <a:cxn ang="0">
                  <a:pos x="373" y="813"/>
                </a:cxn>
                <a:cxn ang="0">
                  <a:pos x="282" y="824"/>
                </a:cxn>
                <a:cxn ang="0">
                  <a:pos x="189" y="827"/>
                </a:cxn>
                <a:cxn ang="0">
                  <a:pos x="129" y="865"/>
                </a:cxn>
                <a:cxn ang="0">
                  <a:pos x="47" y="807"/>
                </a:cxn>
                <a:cxn ang="0">
                  <a:pos x="64" y="758"/>
                </a:cxn>
                <a:cxn ang="0">
                  <a:pos x="41" y="701"/>
                </a:cxn>
                <a:cxn ang="0">
                  <a:pos x="114" y="706"/>
                </a:cxn>
                <a:cxn ang="0">
                  <a:pos x="97" y="668"/>
                </a:cxn>
                <a:cxn ang="0">
                  <a:pos x="56" y="647"/>
                </a:cxn>
                <a:cxn ang="0">
                  <a:pos x="79" y="606"/>
                </a:cxn>
                <a:cxn ang="0">
                  <a:pos x="95" y="588"/>
                </a:cxn>
                <a:cxn ang="0">
                  <a:pos x="153" y="568"/>
                </a:cxn>
                <a:cxn ang="0">
                  <a:pos x="126" y="541"/>
                </a:cxn>
                <a:cxn ang="0">
                  <a:pos x="105" y="521"/>
                </a:cxn>
                <a:cxn ang="0">
                  <a:pos x="48" y="511"/>
                </a:cxn>
                <a:cxn ang="0">
                  <a:pos x="77" y="464"/>
                </a:cxn>
                <a:cxn ang="0">
                  <a:pos x="90" y="422"/>
                </a:cxn>
                <a:cxn ang="0">
                  <a:pos x="154" y="390"/>
                </a:cxn>
                <a:cxn ang="0">
                  <a:pos x="117" y="385"/>
                </a:cxn>
                <a:cxn ang="0">
                  <a:pos x="151" y="337"/>
                </a:cxn>
                <a:cxn ang="0">
                  <a:pos x="155" y="332"/>
                </a:cxn>
                <a:cxn ang="0">
                  <a:pos x="238" y="289"/>
                </a:cxn>
                <a:cxn ang="0">
                  <a:pos x="196" y="261"/>
                </a:cxn>
                <a:cxn ang="0">
                  <a:pos x="196" y="178"/>
                </a:cxn>
                <a:cxn ang="0">
                  <a:pos x="230" y="167"/>
                </a:cxn>
                <a:cxn ang="0">
                  <a:pos x="202" y="125"/>
                </a:cxn>
                <a:cxn ang="0">
                  <a:pos x="266" y="113"/>
                </a:cxn>
                <a:cxn ang="0">
                  <a:pos x="243" y="80"/>
                </a:cxn>
                <a:cxn ang="0">
                  <a:pos x="268" y="83"/>
                </a:cxn>
                <a:cxn ang="0">
                  <a:pos x="259" y="64"/>
                </a:cxn>
                <a:cxn ang="0">
                  <a:pos x="285" y="30"/>
                </a:cxn>
                <a:cxn ang="0">
                  <a:pos x="294" y="30"/>
                </a:cxn>
              </a:cxnLst>
              <a:rect l="0" t="0" r="r" b="b"/>
              <a:pathLst>
                <a:path w="622" h="896">
                  <a:moveTo>
                    <a:pt x="310" y="15"/>
                  </a:moveTo>
                  <a:lnTo>
                    <a:pt x="313" y="10"/>
                  </a:lnTo>
                  <a:lnTo>
                    <a:pt x="316" y="0"/>
                  </a:lnTo>
                  <a:lnTo>
                    <a:pt x="315" y="5"/>
                  </a:lnTo>
                  <a:lnTo>
                    <a:pt x="314" y="10"/>
                  </a:lnTo>
                  <a:lnTo>
                    <a:pt x="310" y="15"/>
                  </a:lnTo>
                  <a:lnTo>
                    <a:pt x="310" y="17"/>
                  </a:lnTo>
                  <a:lnTo>
                    <a:pt x="314" y="12"/>
                  </a:lnTo>
                  <a:lnTo>
                    <a:pt x="315" y="12"/>
                  </a:lnTo>
                  <a:lnTo>
                    <a:pt x="313" y="17"/>
                  </a:lnTo>
                  <a:lnTo>
                    <a:pt x="313" y="18"/>
                  </a:lnTo>
                  <a:lnTo>
                    <a:pt x="321" y="15"/>
                  </a:lnTo>
                  <a:lnTo>
                    <a:pt x="310" y="21"/>
                  </a:lnTo>
                  <a:lnTo>
                    <a:pt x="312" y="22"/>
                  </a:lnTo>
                  <a:lnTo>
                    <a:pt x="312" y="23"/>
                  </a:lnTo>
                  <a:lnTo>
                    <a:pt x="315" y="20"/>
                  </a:lnTo>
                  <a:lnTo>
                    <a:pt x="316" y="21"/>
                  </a:lnTo>
                  <a:lnTo>
                    <a:pt x="313" y="24"/>
                  </a:lnTo>
                  <a:lnTo>
                    <a:pt x="319" y="24"/>
                  </a:lnTo>
                  <a:lnTo>
                    <a:pt x="319" y="26"/>
                  </a:lnTo>
                  <a:lnTo>
                    <a:pt x="313" y="26"/>
                  </a:lnTo>
                  <a:lnTo>
                    <a:pt x="312" y="27"/>
                  </a:lnTo>
                  <a:lnTo>
                    <a:pt x="312" y="29"/>
                  </a:lnTo>
                  <a:lnTo>
                    <a:pt x="318" y="29"/>
                  </a:lnTo>
                  <a:lnTo>
                    <a:pt x="316" y="30"/>
                  </a:lnTo>
                  <a:lnTo>
                    <a:pt x="312" y="30"/>
                  </a:lnTo>
                  <a:lnTo>
                    <a:pt x="315" y="32"/>
                  </a:lnTo>
                  <a:lnTo>
                    <a:pt x="312" y="32"/>
                  </a:lnTo>
                  <a:lnTo>
                    <a:pt x="312" y="33"/>
                  </a:lnTo>
                  <a:lnTo>
                    <a:pt x="314" y="33"/>
                  </a:lnTo>
                  <a:lnTo>
                    <a:pt x="314" y="32"/>
                  </a:lnTo>
                  <a:lnTo>
                    <a:pt x="315" y="33"/>
                  </a:lnTo>
                  <a:lnTo>
                    <a:pt x="316" y="33"/>
                  </a:lnTo>
                  <a:lnTo>
                    <a:pt x="319" y="28"/>
                  </a:lnTo>
                  <a:lnTo>
                    <a:pt x="318" y="33"/>
                  </a:lnTo>
                  <a:lnTo>
                    <a:pt x="319" y="33"/>
                  </a:lnTo>
                  <a:lnTo>
                    <a:pt x="321" y="32"/>
                  </a:lnTo>
                  <a:lnTo>
                    <a:pt x="321" y="33"/>
                  </a:lnTo>
                  <a:lnTo>
                    <a:pt x="320" y="33"/>
                  </a:lnTo>
                  <a:lnTo>
                    <a:pt x="318" y="34"/>
                  </a:lnTo>
                  <a:lnTo>
                    <a:pt x="318" y="35"/>
                  </a:lnTo>
                  <a:lnTo>
                    <a:pt x="320" y="34"/>
                  </a:lnTo>
                  <a:lnTo>
                    <a:pt x="320" y="35"/>
                  </a:lnTo>
                  <a:lnTo>
                    <a:pt x="316" y="36"/>
                  </a:lnTo>
                  <a:lnTo>
                    <a:pt x="318" y="38"/>
                  </a:lnTo>
                  <a:lnTo>
                    <a:pt x="319" y="39"/>
                  </a:lnTo>
                  <a:lnTo>
                    <a:pt x="320" y="36"/>
                  </a:lnTo>
                  <a:lnTo>
                    <a:pt x="326" y="33"/>
                  </a:lnTo>
                  <a:lnTo>
                    <a:pt x="325" y="35"/>
                  </a:lnTo>
                  <a:lnTo>
                    <a:pt x="327" y="36"/>
                  </a:lnTo>
                  <a:lnTo>
                    <a:pt x="330" y="35"/>
                  </a:lnTo>
                  <a:lnTo>
                    <a:pt x="328" y="36"/>
                  </a:lnTo>
                  <a:lnTo>
                    <a:pt x="324" y="38"/>
                  </a:lnTo>
                  <a:lnTo>
                    <a:pt x="322" y="38"/>
                  </a:lnTo>
                  <a:lnTo>
                    <a:pt x="327" y="41"/>
                  </a:lnTo>
                  <a:lnTo>
                    <a:pt x="321" y="39"/>
                  </a:lnTo>
                  <a:lnTo>
                    <a:pt x="322" y="40"/>
                  </a:lnTo>
                  <a:lnTo>
                    <a:pt x="320" y="39"/>
                  </a:lnTo>
                  <a:lnTo>
                    <a:pt x="319" y="40"/>
                  </a:lnTo>
                  <a:lnTo>
                    <a:pt x="318" y="40"/>
                  </a:lnTo>
                  <a:lnTo>
                    <a:pt x="319" y="42"/>
                  </a:lnTo>
                  <a:lnTo>
                    <a:pt x="316" y="40"/>
                  </a:lnTo>
                  <a:lnTo>
                    <a:pt x="310" y="44"/>
                  </a:lnTo>
                  <a:lnTo>
                    <a:pt x="309" y="46"/>
                  </a:lnTo>
                  <a:lnTo>
                    <a:pt x="312" y="47"/>
                  </a:lnTo>
                  <a:lnTo>
                    <a:pt x="314" y="46"/>
                  </a:lnTo>
                  <a:lnTo>
                    <a:pt x="315" y="45"/>
                  </a:lnTo>
                  <a:lnTo>
                    <a:pt x="315" y="46"/>
                  </a:lnTo>
                  <a:lnTo>
                    <a:pt x="319" y="46"/>
                  </a:lnTo>
                  <a:lnTo>
                    <a:pt x="321" y="44"/>
                  </a:lnTo>
                  <a:lnTo>
                    <a:pt x="320" y="47"/>
                  </a:lnTo>
                  <a:lnTo>
                    <a:pt x="325" y="47"/>
                  </a:lnTo>
                  <a:lnTo>
                    <a:pt x="324" y="48"/>
                  </a:lnTo>
                  <a:lnTo>
                    <a:pt x="320" y="48"/>
                  </a:lnTo>
                  <a:lnTo>
                    <a:pt x="321" y="51"/>
                  </a:lnTo>
                  <a:lnTo>
                    <a:pt x="318" y="48"/>
                  </a:lnTo>
                  <a:lnTo>
                    <a:pt x="316" y="48"/>
                  </a:lnTo>
                  <a:lnTo>
                    <a:pt x="315" y="48"/>
                  </a:lnTo>
                  <a:lnTo>
                    <a:pt x="313" y="48"/>
                  </a:lnTo>
                  <a:lnTo>
                    <a:pt x="314" y="50"/>
                  </a:lnTo>
                  <a:lnTo>
                    <a:pt x="318" y="50"/>
                  </a:lnTo>
                  <a:lnTo>
                    <a:pt x="315" y="51"/>
                  </a:lnTo>
                  <a:lnTo>
                    <a:pt x="316" y="51"/>
                  </a:lnTo>
                  <a:lnTo>
                    <a:pt x="319" y="53"/>
                  </a:lnTo>
                  <a:lnTo>
                    <a:pt x="315" y="53"/>
                  </a:lnTo>
                  <a:lnTo>
                    <a:pt x="315" y="54"/>
                  </a:lnTo>
                  <a:lnTo>
                    <a:pt x="320" y="58"/>
                  </a:lnTo>
                  <a:lnTo>
                    <a:pt x="320" y="59"/>
                  </a:lnTo>
                  <a:lnTo>
                    <a:pt x="318" y="59"/>
                  </a:lnTo>
                  <a:lnTo>
                    <a:pt x="318" y="60"/>
                  </a:lnTo>
                  <a:lnTo>
                    <a:pt x="318" y="62"/>
                  </a:lnTo>
                  <a:lnTo>
                    <a:pt x="316" y="62"/>
                  </a:lnTo>
                  <a:lnTo>
                    <a:pt x="315" y="62"/>
                  </a:lnTo>
                  <a:lnTo>
                    <a:pt x="315" y="63"/>
                  </a:lnTo>
                  <a:lnTo>
                    <a:pt x="319" y="63"/>
                  </a:lnTo>
                  <a:lnTo>
                    <a:pt x="321" y="62"/>
                  </a:lnTo>
                  <a:lnTo>
                    <a:pt x="320" y="63"/>
                  </a:lnTo>
                  <a:lnTo>
                    <a:pt x="321" y="66"/>
                  </a:lnTo>
                  <a:lnTo>
                    <a:pt x="320" y="66"/>
                  </a:lnTo>
                  <a:lnTo>
                    <a:pt x="319" y="64"/>
                  </a:lnTo>
                  <a:lnTo>
                    <a:pt x="316" y="64"/>
                  </a:lnTo>
                  <a:lnTo>
                    <a:pt x="318" y="66"/>
                  </a:lnTo>
                  <a:lnTo>
                    <a:pt x="321" y="69"/>
                  </a:lnTo>
                  <a:lnTo>
                    <a:pt x="326" y="71"/>
                  </a:lnTo>
                  <a:lnTo>
                    <a:pt x="333" y="75"/>
                  </a:lnTo>
                  <a:lnTo>
                    <a:pt x="336" y="75"/>
                  </a:lnTo>
                  <a:lnTo>
                    <a:pt x="334" y="76"/>
                  </a:lnTo>
                  <a:lnTo>
                    <a:pt x="336" y="76"/>
                  </a:lnTo>
                  <a:lnTo>
                    <a:pt x="339" y="75"/>
                  </a:lnTo>
                  <a:lnTo>
                    <a:pt x="337" y="76"/>
                  </a:lnTo>
                  <a:lnTo>
                    <a:pt x="342" y="78"/>
                  </a:lnTo>
                  <a:lnTo>
                    <a:pt x="342" y="80"/>
                  </a:lnTo>
                  <a:lnTo>
                    <a:pt x="334" y="78"/>
                  </a:lnTo>
                  <a:lnTo>
                    <a:pt x="336" y="80"/>
                  </a:lnTo>
                  <a:lnTo>
                    <a:pt x="336" y="82"/>
                  </a:lnTo>
                  <a:lnTo>
                    <a:pt x="334" y="83"/>
                  </a:lnTo>
                  <a:lnTo>
                    <a:pt x="334" y="80"/>
                  </a:lnTo>
                  <a:lnTo>
                    <a:pt x="333" y="80"/>
                  </a:lnTo>
                  <a:lnTo>
                    <a:pt x="333" y="77"/>
                  </a:lnTo>
                  <a:lnTo>
                    <a:pt x="332" y="77"/>
                  </a:lnTo>
                  <a:lnTo>
                    <a:pt x="332" y="80"/>
                  </a:lnTo>
                  <a:lnTo>
                    <a:pt x="331" y="80"/>
                  </a:lnTo>
                  <a:lnTo>
                    <a:pt x="331" y="76"/>
                  </a:lnTo>
                  <a:lnTo>
                    <a:pt x="327" y="75"/>
                  </a:lnTo>
                  <a:lnTo>
                    <a:pt x="327" y="77"/>
                  </a:lnTo>
                  <a:lnTo>
                    <a:pt x="330" y="80"/>
                  </a:lnTo>
                  <a:lnTo>
                    <a:pt x="328" y="82"/>
                  </a:lnTo>
                  <a:lnTo>
                    <a:pt x="328" y="83"/>
                  </a:lnTo>
                  <a:lnTo>
                    <a:pt x="326" y="84"/>
                  </a:lnTo>
                  <a:lnTo>
                    <a:pt x="330" y="86"/>
                  </a:lnTo>
                  <a:lnTo>
                    <a:pt x="331" y="84"/>
                  </a:lnTo>
                  <a:lnTo>
                    <a:pt x="332" y="84"/>
                  </a:lnTo>
                  <a:lnTo>
                    <a:pt x="331" y="86"/>
                  </a:lnTo>
                  <a:lnTo>
                    <a:pt x="333" y="86"/>
                  </a:lnTo>
                  <a:lnTo>
                    <a:pt x="336" y="87"/>
                  </a:lnTo>
                  <a:lnTo>
                    <a:pt x="332" y="87"/>
                  </a:lnTo>
                  <a:lnTo>
                    <a:pt x="331" y="87"/>
                  </a:lnTo>
                  <a:lnTo>
                    <a:pt x="330" y="88"/>
                  </a:lnTo>
                  <a:lnTo>
                    <a:pt x="333" y="88"/>
                  </a:lnTo>
                  <a:lnTo>
                    <a:pt x="336" y="89"/>
                  </a:lnTo>
                  <a:lnTo>
                    <a:pt x="337" y="92"/>
                  </a:lnTo>
                  <a:lnTo>
                    <a:pt x="336" y="92"/>
                  </a:lnTo>
                  <a:lnTo>
                    <a:pt x="334" y="92"/>
                  </a:lnTo>
                  <a:lnTo>
                    <a:pt x="333" y="92"/>
                  </a:lnTo>
                  <a:lnTo>
                    <a:pt x="333" y="93"/>
                  </a:lnTo>
                  <a:lnTo>
                    <a:pt x="334" y="94"/>
                  </a:lnTo>
                  <a:lnTo>
                    <a:pt x="336" y="94"/>
                  </a:lnTo>
                  <a:lnTo>
                    <a:pt x="337" y="93"/>
                  </a:lnTo>
                  <a:lnTo>
                    <a:pt x="341" y="93"/>
                  </a:lnTo>
                  <a:lnTo>
                    <a:pt x="342" y="93"/>
                  </a:lnTo>
                  <a:lnTo>
                    <a:pt x="343" y="95"/>
                  </a:lnTo>
                  <a:lnTo>
                    <a:pt x="344" y="96"/>
                  </a:lnTo>
                  <a:lnTo>
                    <a:pt x="348" y="96"/>
                  </a:lnTo>
                  <a:lnTo>
                    <a:pt x="353" y="99"/>
                  </a:lnTo>
                  <a:lnTo>
                    <a:pt x="355" y="100"/>
                  </a:lnTo>
                  <a:lnTo>
                    <a:pt x="355" y="101"/>
                  </a:lnTo>
                  <a:lnTo>
                    <a:pt x="359" y="101"/>
                  </a:lnTo>
                  <a:lnTo>
                    <a:pt x="357" y="101"/>
                  </a:lnTo>
                  <a:lnTo>
                    <a:pt x="359" y="101"/>
                  </a:lnTo>
                  <a:lnTo>
                    <a:pt x="362" y="101"/>
                  </a:lnTo>
                  <a:lnTo>
                    <a:pt x="362" y="102"/>
                  </a:lnTo>
                  <a:lnTo>
                    <a:pt x="363" y="104"/>
                  </a:lnTo>
                  <a:lnTo>
                    <a:pt x="371" y="107"/>
                  </a:lnTo>
                  <a:lnTo>
                    <a:pt x="373" y="108"/>
                  </a:lnTo>
                  <a:lnTo>
                    <a:pt x="375" y="108"/>
                  </a:lnTo>
                  <a:lnTo>
                    <a:pt x="374" y="108"/>
                  </a:lnTo>
                  <a:lnTo>
                    <a:pt x="375" y="110"/>
                  </a:lnTo>
                  <a:lnTo>
                    <a:pt x="377" y="110"/>
                  </a:lnTo>
                  <a:lnTo>
                    <a:pt x="377" y="111"/>
                  </a:lnTo>
                  <a:lnTo>
                    <a:pt x="379" y="112"/>
                  </a:lnTo>
                  <a:lnTo>
                    <a:pt x="380" y="113"/>
                  </a:lnTo>
                  <a:lnTo>
                    <a:pt x="383" y="113"/>
                  </a:lnTo>
                  <a:lnTo>
                    <a:pt x="383" y="114"/>
                  </a:lnTo>
                  <a:lnTo>
                    <a:pt x="381" y="114"/>
                  </a:lnTo>
                  <a:lnTo>
                    <a:pt x="384" y="117"/>
                  </a:lnTo>
                  <a:lnTo>
                    <a:pt x="381" y="116"/>
                  </a:lnTo>
                  <a:lnTo>
                    <a:pt x="380" y="116"/>
                  </a:lnTo>
                  <a:lnTo>
                    <a:pt x="380" y="118"/>
                  </a:lnTo>
                  <a:lnTo>
                    <a:pt x="379" y="114"/>
                  </a:lnTo>
                  <a:lnTo>
                    <a:pt x="378" y="114"/>
                  </a:lnTo>
                  <a:lnTo>
                    <a:pt x="377" y="114"/>
                  </a:lnTo>
                  <a:lnTo>
                    <a:pt x="377" y="113"/>
                  </a:lnTo>
                  <a:lnTo>
                    <a:pt x="372" y="110"/>
                  </a:lnTo>
                  <a:lnTo>
                    <a:pt x="372" y="114"/>
                  </a:lnTo>
                  <a:lnTo>
                    <a:pt x="372" y="117"/>
                  </a:lnTo>
                  <a:lnTo>
                    <a:pt x="371" y="117"/>
                  </a:lnTo>
                  <a:lnTo>
                    <a:pt x="371" y="114"/>
                  </a:lnTo>
                  <a:lnTo>
                    <a:pt x="371" y="110"/>
                  </a:lnTo>
                  <a:lnTo>
                    <a:pt x="369" y="112"/>
                  </a:lnTo>
                  <a:lnTo>
                    <a:pt x="369" y="116"/>
                  </a:lnTo>
                  <a:lnTo>
                    <a:pt x="369" y="117"/>
                  </a:lnTo>
                  <a:lnTo>
                    <a:pt x="368" y="117"/>
                  </a:lnTo>
                  <a:lnTo>
                    <a:pt x="368" y="118"/>
                  </a:lnTo>
                  <a:lnTo>
                    <a:pt x="367" y="118"/>
                  </a:lnTo>
                  <a:lnTo>
                    <a:pt x="368" y="119"/>
                  </a:lnTo>
                  <a:lnTo>
                    <a:pt x="371" y="120"/>
                  </a:lnTo>
                  <a:lnTo>
                    <a:pt x="369" y="120"/>
                  </a:lnTo>
                  <a:lnTo>
                    <a:pt x="369" y="122"/>
                  </a:lnTo>
                  <a:lnTo>
                    <a:pt x="372" y="122"/>
                  </a:lnTo>
                  <a:lnTo>
                    <a:pt x="372" y="123"/>
                  </a:lnTo>
                  <a:lnTo>
                    <a:pt x="369" y="123"/>
                  </a:lnTo>
                  <a:lnTo>
                    <a:pt x="371" y="124"/>
                  </a:lnTo>
                  <a:lnTo>
                    <a:pt x="372" y="125"/>
                  </a:lnTo>
                  <a:lnTo>
                    <a:pt x="372" y="127"/>
                  </a:lnTo>
                  <a:lnTo>
                    <a:pt x="372" y="129"/>
                  </a:lnTo>
                  <a:lnTo>
                    <a:pt x="372" y="130"/>
                  </a:lnTo>
                  <a:lnTo>
                    <a:pt x="371" y="131"/>
                  </a:lnTo>
                  <a:lnTo>
                    <a:pt x="368" y="131"/>
                  </a:lnTo>
                  <a:lnTo>
                    <a:pt x="367" y="131"/>
                  </a:lnTo>
                  <a:lnTo>
                    <a:pt x="368" y="133"/>
                  </a:lnTo>
                  <a:lnTo>
                    <a:pt x="372" y="133"/>
                  </a:lnTo>
                  <a:lnTo>
                    <a:pt x="372" y="134"/>
                  </a:lnTo>
                  <a:lnTo>
                    <a:pt x="373" y="134"/>
                  </a:lnTo>
                  <a:lnTo>
                    <a:pt x="374" y="135"/>
                  </a:lnTo>
                  <a:lnTo>
                    <a:pt x="377" y="134"/>
                  </a:lnTo>
                  <a:lnTo>
                    <a:pt x="378" y="134"/>
                  </a:lnTo>
                  <a:lnTo>
                    <a:pt x="378" y="135"/>
                  </a:lnTo>
                  <a:lnTo>
                    <a:pt x="375" y="135"/>
                  </a:lnTo>
                  <a:lnTo>
                    <a:pt x="377" y="136"/>
                  </a:lnTo>
                  <a:lnTo>
                    <a:pt x="378" y="136"/>
                  </a:lnTo>
                  <a:lnTo>
                    <a:pt x="379" y="135"/>
                  </a:lnTo>
                  <a:lnTo>
                    <a:pt x="381" y="135"/>
                  </a:lnTo>
                  <a:lnTo>
                    <a:pt x="380" y="136"/>
                  </a:lnTo>
                  <a:lnTo>
                    <a:pt x="384" y="136"/>
                  </a:lnTo>
                  <a:lnTo>
                    <a:pt x="383" y="137"/>
                  </a:lnTo>
                  <a:lnTo>
                    <a:pt x="386" y="139"/>
                  </a:lnTo>
                  <a:lnTo>
                    <a:pt x="383" y="137"/>
                  </a:lnTo>
                  <a:lnTo>
                    <a:pt x="383" y="139"/>
                  </a:lnTo>
                  <a:lnTo>
                    <a:pt x="384" y="142"/>
                  </a:lnTo>
                  <a:lnTo>
                    <a:pt x="383" y="142"/>
                  </a:lnTo>
                  <a:lnTo>
                    <a:pt x="381" y="139"/>
                  </a:lnTo>
                  <a:lnTo>
                    <a:pt x="380" y="139"/>
                  </a:lnTo>
                  <a:lnTo>
                    <a:pt x="380" y="141"/>
                  </a:lnTo>
                  <a:lnTo>
                    <a:pt x="379" y="141"/>
                  </a:lnTo>
                  <a:lnTo>
                    <a:pt x="378" y="140"/>
                  </a:lnTo>
                  <a:lnTo>
                    <a:pt x="377" y="140"/>
                  </a:lnTo>
                  <a:lnTo>
                    <a:pt x="377" y="137"/>
                  </a:lnTo>
                  <a:lnTo>
                    <a:pt x="375" y="137"/>
                  </a:lnTo>
                  <a:lnTo>
                    <a:pt x="375" y="139"/>
                  </a:lnTo>
                  <a:lnTo>
                    <a:pt x="375" y="140"/>
                  </a:lnTo>
                  <a:lnTo>
                    <a:pt x="374" y="140"/>
                  </a:lnTo>
                  <a:lnTo>
                    <a:pt x="372" y="145"/>
                  </a:lnTo>
                  <a:lnTo>
                    <a:pt x="372" y="146"/>
                  </a:lnTo>
                  <a:lnTo>
                    <a:pt x="371" y="145"/>
                  </a:lnTo>
                  <a:lnTo>
                    <a:pt x="369" y="147"/>
                  </a:lnTo>
                  <a:lnTo>
                    <a:pt x="368" y="147"/>
                  </a:lnTo>
                  <a:lnTo>
                    <a:pt x="369" y="145"/>
                  </a:lnTo>
                  <a:lnTo>
                    <a:pt x="368" y="146"/>
                  </a:lnTo>
                  <a:lnTo>
                    <a:pt x="367" y="146"/>
                  </a:lnTo>
                  <a:lnTo>
                    <a:pt x="367" y="143"/>
                  </a:lnTo>
                  <a:lnTo>
                    <a:pt x="366" y="143"/>
                  </a:lnTo>
                  <a:lnTo>
                    <a:pt x="366" y="146"/>
                  </a:lnTo>
                  <a:lnTo>
                    <a:pt x="365" y="146"/>
                  </a:lnTo>
                  <a:lnTo>
                    <a:pt x="365" y="147"/>
                  </a:lnTo>
                  <a:lnTo>
                    <a:pt x="365" y="143"/>
                  </a:lnTo>
                  <a:lnTo>
                    <a:pt x="365" y="142"/>
                  </a:lnTo>
                  <a:lnTo>
                    <a:pt x="363" y="143"/>
                  </a:lnTo>
                  <a:lnTo>
                    <a:pt x="362" y="145"/>
                  </a:lnTo>
                  <a:lnTo>
                    <a:pt x="362" y="141"/>
                  </a:lnTo>
                  <a:lnTo>
                    <a:pt x="361" y="141"/>
                  </a:lnTo>
                  <a:lnTo>
                    <a:pt x="361" y="142"/>
                  </a:lnTo>
                  <a:lnTo>
                    <a:pt x="360" y="145"/>
                  </a:lnTo>
                  <a:lnTo>
                    <a:pt x="359" y="146"/>
                  </a:lnTo>
                  <a:lnTo>
                    <a:pt x="359" y="147"/>
                  </a:lnTo>
                  <a:lnTo>
                    <a:pt x="360" y="149"/>
                  </a:lnTo>
                  <a:lnTo>
                    <a:pt x="362" y="149"/>
                  </a:lnTo>
                  <a:lnTo>
                    <a:pt x="365" y="151"/>
                  </a:lnTo>
                  <a:lnTo>
                    <a:pt x="367" y="153"/>
                  </a:lnTo>
                  <a:lnTo>
                    <a:pt x="372" y="154"/>
                  </a:lnTo>
                  <a:lnTo>
                    <a:pt x="373" y="154"/>
                  </a:lnTo>
                  <a:lnTo>
                    <a:pt x="379" y="154"/>
                  </a:lnTo>
                  <a:lnTo>
                    <a:pt x="380" y="155"/>
                  </a:lnTo>
                  <a:lnTo>
                    <a:pt x="384" y="155"/>
                  </a:lnTo>
                  <a:lnTo>
                    <a:pt x="385" y="155"/>
                  </a:lnTo>
                  <a:lnTo>
                    <a:pt x="386" y="155"/>
                  </a:lnTo>
                  <a:lnTo>
                    <a:pt x="387" y="155"/>
                  </a:lnTo>
                  <a:lnTo>
                    <a:pt x="390" y="154"/>
                  </a:lnTo>
                  <a:lnTo>
                    <a:pt x="389" y="155"/>
                  </a:lnTo>
                  <a:lnTo>
                    <a:pt x="390" y="155"/>
                  </a:lnTo>
                  <a:lnTo>
                    <a:pt x="391" y="155"/>
                  </a:lnTo>
                  <a:lnTo>
                    <a:pt x="392" y="155"/>
                  </a:lnTo>
                  <a:lnTo>
                    <a:pt x="397" y="153"/>
                  </a:lnTo>
                  <a:lnTo>
                    <a:pt x="398" y="153"/>
                  </a:lnTo>
                  <a:lnTo>
                    <a:pt x="393" y="155"/>
                  </a:lnTo>
                  <a:lnTo>
                    <a:pt x="403" y="155"/>
                  </a:lnTo>
                  <a:lnTo>
                    <a:pt x="403" y="157"/>
                  </a:lnTo>
                  <a:lnTo>
                    <a:pt x="395" y="158"/>
                  </a:lnTo>
                  <a:lnTo>
                    <a:pt x="393" y="157"/>
                  </a:lnTo>
                  <a:lnTo>
                    <a:pt x="396" y="158"/>
                  </a:lnTo>
                  <a:lnTo>
                    <a:pt x="395" y="159"/>
                  </a:lnTo>
                  <a:lnTo>
                    <a:pt x="390" y="157"/>
                  </a:lnTo>
                  <a:lnTo>
                    <a:pt x="389" y="158"/>
                  </a:lnTo>
                  <a:lnTo>
                    <a:pt x="389" y="159"/>
                  </a:lnTo>
                  <a:lnTo>
                    <a:pt x="390" y="160"/>
                  </a:lnTo>
                  <a:lnTo>
                    <a:pt x="389" y="161"/>
                  </a:lnTo>
                  <a:lnTo>
                    <a:pt x="387" y="164"/>
                  </a:lnTo>
                  <a:lnTo>
                    <a:pt x="386" y="165"/>
                  </a:lnTo>
                  <a:lnTo>
                    <a:pt x="389" y="165"/>
                  </a:lnTo>
                  <a:lnTo>
                    <a:pt x="390" y="166"/>
                  </a:lnTo>
                  <a:lnTo>
                    <a:pt x="387" y="166"/>
                  </a:lnTo>
                  <a:lnTo>
                    <a:pt x="387" y="167"/>
                  </a:lnTo>
                  <a:lnTo>
                    <a:pt x="390" y="169"/>
                  </a:lnTo>
                  <a:lnTo>
                    <a:pt x="391" y="170"/>
                  </a:lnTo>
                  <a:lnTo>
                    <a:pt x="391" y="171"/>
                  </a:lnTo>
                  <a:lnTo>
                    <a:pt x="392" y="171"/>
                  </a:lnTo>
                  <a:lnTo>
                    <a:pt x="393" y="170"/>
                  </a:lnTo>
                  <a:lnTo>
                    <a:pt x="393" y="169"/>
                  </a:lnTo>
                  <a:lnTo>
                    <a:pt x="393" y="167"/>
                  </a:lnTo>
                  <a:lnTo>
                    <a:pt x="395" y="167"/>
                  </a:lnTo>
                  <a:lnTo>
                    <a:pt x="395" y="169"/>
                  </a:lnTo>
                  <a:lnTo>
                    <a:pt x="396" y="170"/>
                  </a:lnTo>
                  <a:lnTo>
                    <a:pt x="402" y="166"/>
                  </a:lnTo>
                  <a:lnTo>
                    <a:pt x="404" y="166"/>
                  </a:lnTo>
                  <a:lnTo>
                    <a:pt x="409" y="163"/>
                  </a:lnTo>
                  <a:lnTo>
                    <a:pt x="410" y="163"/>
                  </a:lnTo>
                  <a:lnTo>
                    <a:pt x="407" y="166"/>
                  </a:lnTo>
                  <a:lnTo>
                    <a:pt x="408" y="166"/>
                  </a:lnTo>
                  <a:lnTo>
                    <a:pt x="412" y="165"/>
                  </a:lnTo>
                  <a:lnTo>
                    <a:pt x="409" y="166"/>
                  </a:lnTo>
                  <a:lnTo>
                    <a:pt x="410" y="166"/>
                  </a:lnTo>
                  <a:lnTo>
                    <a:pt x="408" y="167"/>
                  </a:lnTo>
                  <a:lnTo>
                    <a:pt x="407" y="169"/>
                  </a:lnTo>
                  <a:lnTo>
                    <a:pt x="408" y="169"/>
                  </a:lnTo>
                  <a:lnTo>
                    <a:pt x="408" y="170"/>
                  </a:lnTo>
                  <a:lnTo>
                    <a:pt x="407" y="170"/>
                  </a:lnTo>
                  <a:lnTo>
                    <a:pt x="406" y="169"/>
                  </a:lnTo>
                  <a:lnTo>
                    <a:pt x="403" y="169"/>
                  </a:lnTo>
                  <a:lnTo>
                    <a:pt x="407" y="171"/>
                  </a:lnTo>
                  <a:lnTo>
                    <a:pt x="406" y="171"/>
                  </a:lnTo>
                  <a:lnTo>
                    <a:pt x="404" y="171"/>
                  </a:lnTo>
                  <a:lnTo>
                    <a:pt x="402" y="170"/>
                  </a:lnTo>
                  <a:lnTo>
                    <a:pt x="398" y="171"/>
                  </a:lnTo>
                  <a:lnTo>
                    <a:pt x="402" y="171"/>
                  </a:lnTo>
                  <a:lnTo>
                    <a:pt x="404" y="172"/>
                  </a:lnTo>
                  <a:lnTo>
                    <a:pt x="406" y="173"/>
                  </a:lnTo>
                  <a:lnTo>
                    <a:pt x="404" y="173"/>
                  </a:lnTo>
                  <a:lnTo>
                    <a:pt x="403" y="172"/>
                  </a:lnTo>
                  <a:lnTo>
                    <a:pt x="402" y="172"/>
                  </a:lnTo>
                  <a:lnTo>
                    <a:pt x="400" y="172"/>
                  </a:lnTo>
                  <a:lnTo>
                    <a:pt x="400" y="175"/>
                  </a:lnTo>
                  <a:lnTo>
                    <a:pt x="397" y="173"/>
                  </a:lnTo>
                  <a:lnTo>
                    <a:pt x="395" y="173"/>
                  </a:lnTo>
                  <a:lnTo>
                    <a:pt x="395" y="175"/>
                  </a:lnTo>
                  <a:lnTo>
                    <a:pt x="397" y="176"/>
                  </a:lnTo>
                  <a:lnTo>
                    <a:pt x="401" y="178"/>
                  </a:lnTo>
                  <a:lnTo>
                    <a:pt x="404" y="179"/>
                  </a:lnTo>
                  <a:lnTo>
                    <a:pt x="409" y="181"/>
                  </a:lnTo>
                  <a:lnTo>
                    <a:pt x="406" y="182"/>
                  </a:lnTo>
                  <a:lnTo>
                    <a:pt x="412" y="185"/>
                  </a:lnTo>
                  <a:lnTo>
                    <a:pt x="406" y="183"/>
                  </a:lnTo>
                  <a:lnTo>
                    <a:pt x="404" y="183"/>
                  </a:lnTo>
                  <a:lnTo>
                    <a:pt x="404" y="184"/>
                  </a:lnTo>
                  <a:lnTo>
                    <a:pt x="404" y="185"/>
                  </a:lnTo>
                  <a:lnTo>
                    <a:pt x="403" y="185"/>
                  </a:lnTo>
                  <a:lnTo>
                    <a:pt x="403" y="182"/>
                  </a:lnTo>
                  <a:lnTo>
                    <a:pt x="402" y="182"/>
                  </a:lnTo>
                  <a:lnTo>
                    <a:pt x="398" y="187"/>
                  </a:lnTo>
                  <a:lnTo>
                    <a:pt x="397" y="187"/>
                  </a:lnTo>
                  <a:lnTo>
                    <a:pt x="398" y="184"/>
                  </a:lnTo>
                  <a:lnTo>
                    <a:pt x="397" y="184"/>
                  </a:lnTo>
                  <a:lnTo>
                    <a:pt x="396" y="185"/>
                  </a:lnTo>
                  <a:lnTo>
                    <a:pt x="396" y="187"/>
                  </a:lnTo>
                  <a:lnTo>
                    <a:pt x="397" y="188"/>
                  </a:lnTo>
                  <a:lnTo>
                    <a:pt x="400" y="188"/>
                  </a:lnTo>
                  <a:lnTo>
                    <a:pt x="401" y="189"/>
                  </a:lnTo>
                  <a:lnTo>
                    <a:pt x="402" y="191"/>
                  </a:lnTo>
                  <a:lnTo>
                    <a:pt x="402" y="193"/>
                  </a:lnTo>
                  <a:lnTo>
                    <a:pt x="403" y="194"/>
                  </a:lnTo>
                  <a:lnTo>
                    <a:pt x="404" y="195"/>
                  </a:lnTo>
                  <a:lnTo>
                    <a:pt x="406" y="196"/>
                  </a:lnTo>
                  <a:lnTo>
                    <a:pt x="407" y="196"/>
                  </a:lnTo>
                  <a:lnTo>
                    <a:pt x="408" y="196"/>
                  </a:lnTo>
                  <a:lnTo>
                    <a:pt x="408" y="197"/>
                  </a:lnTo>
                  <a:lnTo>
                    <a:pt x="412" y="199"/>
                  </a:lnTo>
                  <a:lnTo>
                    <a:pt x="412" y="197"/>
                  </a:lnTo>
                  <a:lnTo>
                    <a:pt x="413" y="199"/>
                  </a:lnTo>
                  <a:lnTo>
                    <a:pt x="415" y="199"/>
                  </a:lnTo>
                  <a:lnTo>
                    <a:pt x="415" y="200"/>
                  </a:lnTo>
                  <a:lnTo>
                    <a:pt x="418" y="200"/>
                  </a:lnTo>
                  <a:lnTo>
                    <a:pt x="415" y="200"/>
                  </a:lnTo>
                  <a:lnTo>
                    <a:pt x="415" y="201"/>
                  </a:lnTo>
                  <a:lnTo>
                    <a:pt x="416" y="202"/>
                  </a:lnTo>
                  <a:lnTo>
                    <a:pt x="416" y="203"/>
                  </a:lnTo>
                  <a:lnTo>
                    <a:pt x="416" y="205"/>
                  </a:lnTo>
                  <a:lnTo>
                    <a:pt x="415" y="205"/>
                  </a:lnTo>
                  <a:lnTo>
                    <a:pt x="414" y="202"/>
                  </a:lnTo>
                  <a:lnTo>
                    <a:pt x="413" y="205"/>
                  </a:lnTo>
                  <a:lnTo>
                    <a:pt x="413" y="201"/>
                  </a:lnTo>
                  <a:lnTo>
                    <a:pt x="412" y="201"/>
                  </a:lnTo>
                  <a:lnTo>
                    <a:pt x="412" y="202"/>
                  </a:lnTo>
                  <a:lnTo>
                    <a:pt x="410" y="201"/>
                  </a:lnTo>
                  <a:lnTo>
                    <a:pt x="409" y="200"/>
                  </a:lnTo>
                  <a:lnTo>
                    <a:pt x="408" y="200"/>
                  </a:lnTo>
                  <a:lnTo>
                    <a:pt x="408" y="201"/>
                  </a:lnTo>
                  <a:lnTo>
                    <a:pt x="408" y="202"/>
                  </a:lnTo>
                  <a:lnTo>
                    <a:pt x="408" y="203"/>
                  </a:lnTo>
                  <a:lnTo>
                    <a:pt x="408" y="206"/>
                  </a:lnTo>
                  <a:lnTo>
                    <a:pt x="407" y="207"/>
                  </a:lnTo>
                  <a:lnTo>
                    <a:pt x="406" y="208"/>
                  </a:lnTo>
                  <a:lnTo>
                    <a:pt x="406" y="205"/>
                  </a:lnTo>
                  <a:lnTo>
                    <a:pt x="406" y="203"/>
                  </a:lnTo>
                  <a:lnTo>
                    <a:pt x="406" y="202"/>
                  </a:lnTo>
                  <a:lnTo>
                    <a:pt x="404" y="203"/>
                  </a:lnTo>
                  <a:lnTo>
                    <a:pt x="404" y="207"/>
                  </a:lnTo>
                  <a:lnTo>
                    <a:pt x="403" y="207"/>
                  </a:lnTo>
                  <a:lnTo>
                    <a:pt x="401" y="205"/>
                  </a:lnTo>
                  <a:lnTo>
                    <a:pt x="401" y="202"/>
                  </a:lnTo>
                  <a:lnTo>
                    <a:pt x="400" y="202"/>
                  </a:lnTo>
                  <a:lnTo>
                    <a:pt x="398" y="203"/>
                  </a:lnTo>
                  <a:lnTo>
                    <a:pt x="397" y="203"/>
                  </a:lnTo>
                  <a:lnTo>
                    <a:pt x="397" y="202"/>
                  </a:lnTo>
                  <a:lnTo>
                    <a:pt x="396" y="203"/>
                  </a:lnTo>
                  <a:lnTo>
                    <a:pt x="396" y="202"/>
                  </a:lnTo>
                  <a:lnTo>
                    <a:pt x="396" y="201"/>
                  </a:lnTo>
                  <a:lnTo>
                    <a:pt x="397" y="199"/>
                  </a:lnTo>
                  <a:lnTo>
                    <a:pt x="396" y="199"/>
                  </a:lnTo>
                  <a:lnTo>
                    <a:pt x="395" y="199"/>
                  </a:lnTo>
                  <a:lnTo>
                    <a:pt x="393" y="200"/>
                  </a:lnTo>
                  <a:lnTo>
                    <a:pt x="392" y="201"/>
                  </a:lnTo>
                  <a:lnTo>
                    <a:pt x="391" y="201"/>
                  </a:lnTo>
                  <a:lnTo>
                    <a:pt x="391" y="200"/>
                  </a:lnTo>
                  <a:lnTo>
                    <a:pt x="391" y="199"/>
                  </a:lnTo>
                  <a:lnTo>
                    <a:pt x="391" y="196"/>
                  </a:lnTo>
                  <a:lnTo>
                    <a:pt x="391" y="195"/>
                  </a:lnTo>
                  <a:lnTo>
                    <a:pt x="389" y="196"/>
                  </a:lnTo>
                  <a:lnTo>
                    <a:pt x="389" y="197"/>
                  </a:lnTo>
                  <a:lnTo>
                    <a:pt x="390" y="197"/>
                  </a:lnTo>
                  <a:lnTo>
                    <a:pt x="390" y="199"/>
                  </a:lnTo>
                  <a:lnTo>
                    <a:pt x="389" y="200"/>
                  </a:lnTo>
                  <a:lnTo>
                    <a:pt x="387" y="199"/>
                  </a:lnTo>
                  <a:lnTo>
                    <a:pt x="387" y="196"/>
                  </a:lnTo>
                  <a:lnTo>
                    <a:pt x="387" y="195"/>
                  </a:lnTo>
                  <a:lnTo>
                    <a:pt x="387" y="194"/>
                  </a:lnTo>
                  <a:lnTo>
                    <a:pt x="387" y="193"/>
                  </a:lnTo>
                  <a:lnTo>
                    <a:pt x="387" y="191"/>
                  </a:lnTo>
                  <a:lnTo>
                    <a:pt x="386" y="193"/>
                  </a:lnTo>
                  <a:lnTo>
                    <a:pt x="385" y="191"/>
                  </a:lnTo>
                  <a:lnTo>
                    <a:pt x="385" y="193"/>
                  </a:lnTo>
                  <a:lnTo>
                    <a:pt x="386" y="195"/>
                  </a:lnTo>
                  <a:lnTo>
                    <a:pt x="386" y="196"/>
                  </a:lnTo>
                  <a:lnTo>
                    <a:pt x="386" y="197"/>
                  </a:lnTo>
                  <a:lnTo>
                    <a:pt x="385" y="199"/>
                  </a:lnTo>
                  <a:lnTo>
                    <a:pt x="386" y="199"/>
                  </a:lnTo>
                  <a:lnTo>
                    <a:pt x="386" y="200"/>
                  </a:lnTo>
                  <a:lnTo>
                    <a:pt x="389" y="201"/>
                  </a:lnTo>
                  <a:lnTo>
                    <a:pt x="390" y="202"/>
                  </a:lnTo>
                  <a:lnTo>
                    <a:pt x="392" y="203"/>
                  </a:lnTo>
                  <a:lnTo>
                    <a:pt x="395" y="205"/>
                  </a:lnTo>
                  <a:lnTo>
                    <a:pt x="395" y="206"/>
                  </a:lnTo>
                  <a:lnTo>
                    <a:pt x="396" y="206"/>
                  </a:lnTo>
                  <a:lnTo>
                    <a:pt x="397" y="205"/>
                  </a:lnTo>
                  <a:lnTo>
                    <a:pt x="397" y="206"/>
                  </a:lnTo>
                  <a:lnTo>
                    <a:pt x="400" y="208"/>
                  </a:lnTo>
                  <a:lnTo>
                    <a:pt x="402" y="209"/>
                  </a:lnTo>
                  <a:lnTo>
                    <a:pt x="404" y="209"/>
                  </a:lnTo>
                  <a:lnTo>
                    <a:pt x="406" y="208"/>
                  </a:lnTo>
                  <a:lnTo>
                    <a:pt x="407" y="208"/>
                  </a:lnTo>
                  <a:lnTo>
                    <a:pt x="409" y="208"/>
                  </a:lnTo>
                  <a:lnTo>
                    <a:pt x="412" y="208"/>
                  </a:lnTo>
                  <a:lnTo>
                    <a:pt x="414" y="207"/>
                  </a:lnTo>
                  <a:lnTo>
                    <a:pt x="416" y="206"/>
                  </a:lnTo>
                  <a:lnTo>
                    <a:pt x="418" y="205"/>
                  </a:lnTo>
                  <a:lnTo>
                    <a:pt x="419" y="203"/>
                  </a:lnTo>
                  <a:lnTo>
                    <a:pt x="421" y="202"/>
                  </a:lnTo>
                  <a:lnTo>
                    <a:pt x="422" y="200"/>
                  </a:lnTo>
                  <a:lnTo>
                    <a:pt x="421" y="199"/>
                  </a:lnTo>
                  <a:lnTo>
                    <a:pt x="424" y="200"/>
                  </a:lnTo>
                  <a:lnTo>
                    <a:pt x="425" y="199"/>
                  </a:lnTo>
                  <a:lnTo>
                    <a:pt x="421" y="195"/>
                  </a:lnTo>
                  <a:lnTo>
                    <a:pt x="424" y="195"/>
                  </a:lnTo>
                  <a:lnTo>
                    <a:pt x="425" y="195"/>
                  </a:lnTo>
                  <a:lnTo>
                    <a:pt x="425" y="196"/>
                  </a:lnTo>
                  <a:lnTo>
                    <a:pt x="426" y="197"/>
                  </a:lnTo>
                  <a:lnTo>
                    <a:pt x="433" y="191"/>
                  </a:lnTo>
                  <a:lnTo>
                    <a:pt x="434" y="191"/>
                  </a:lnTo>
                  <a:lnTo>
                    <a:pt x="432" y="193"/>
                  </a:lnTo>
                  <a:lnTo>
                    <a:pt x="433" y="194"/>
                  </a:lnTo>
                  <a:lnTo>
                    <a:pt x="438" y="193"/>
                  </a:lnTo>
                  <a:lnTo>
                    <a:pt x="434" y="194"/>
                  </a:lnTo>
                  <a:lnTo>
                    <a:pt x="436" y="195"/>
                  </a:lnTo>
                  <a:lnTo>
                    <a:pt x="433" y="195"/>
                  </a:lnTo>
                  <a:lnTo>
                    <a:pt x="434" y="197"/>
                  </a:lnTo>
                  <a:lnTo>
                    <a:pt x="432" y="196"/>
                  </a:lnTo>
                  <a:lnTo>
                    <a:pt x="431" y="196"/>
                  </a:lnTo>
                  <a:lnTo>
                    <a:pt x="428" y="197"/>
                  </a:lnTo>
                  <a:lnTo>
                    <a:pt x="428" y="199"/>
                  </a:lnTo>
                  <a:lnTo>
                    <a:pt x="433" y="200"/>
                  </a:lnTo>
                  <a:lnTo>
                    <a:pt x="432" y="201"/>
                  </a:lnTo>
                  <a:lnTo>
                    <a:pt x="428" y="200"/>
                  </a:lnTo>
                  <a:lnTo>
                    <a:pt x="428" y="201"/>
                  </a:lnTo>
                  <a:lnTo>
                    <a:pt x="426" y="201"/>
                  </a:lnTo>
                  <a:lnTo>
                    <a:pt x="425" y="201"/>
                  </a:lnTo>
                  <a:lnTo>
                    <a:pt x="425" y="202"/>
                  </a:lnTo>
                  <a:lnTo>
                    <a:pt x="424" y="203"/>
                  </a:lnTo>
                  <a:lnTo>
                    <a:pt x="428" y="207"/>
                  </a:lnTo>
                  <a:lnTo>
                    <a:pt x="424" y="205"/>
                  </a:lnTo>
                  <a:lnTo>
                    <a:pt x="421" y="203"/>
                  </a:lnTo>
                  <a:lnTo>
                    <a:pt x="421" y="205"/>
                  </a:lnTo>
                  <a:lnTo>
                    <a:pt x="425" y="206"/>
                  </a:lnTo>
                  <a:lnTo>
                    <a:pt x="426" y="207"/>
                  </a:lnTo>
                  <a:lnTo>
                    <a:pt x="428" y="207"/>
                  </a:lnTo>
                  <a:lnTo>
                    <a:pt x="425" y="209"/>
                  </a:lnTo>
                  <a:lnTo>
                    <a:pt x="428" y="212"/>
                  </a:lnTo>
                  <a:lnTo>
                    <a:pt x="428" y="213"/>
                  </a:lnTo>
                  <a:lnTo>
                    <a:pt x="426" y="214"/>
                  </a:lnTo>
                  <a:lnTo>
                    <a:pt x="428" y="215"/>
                  </a:lnTo>
                  <a:lnTo>
                    <a:pt x="426" y="218"/>
                  </a:lnTo>
                  <a:lnTo>
                    <a:pt x="424" y="217"/>
                  </a:lnTo>
                  <a:lnTo>
                    <a:pt x="424" y="215"/>
                  </a:lnTo>
                  <a:lnTo>
                    <a:pt x="422" y="214"/>
                  </a:lnTo>
                  <a:lnTo>
                    <a:pt x="422" y="213"/>
                  </a:lnTo>
                  <a:lnTo>
                    <a:pt x="422" y="212"/>
                  </a:lnTo>
                  <a:lnTo>
                    <a:pt x="421" y="212"/>
                  </a:lnTo>
                  <a:lnTo>
                    <a:pt x="421" y="213"/>
                  </a:lnTo>
                  <a:lnTo>
                    <a:pt x="421" y="214"/>
                  </a:lnTo>
                  <a:lnTo>
                    <a:pt x="421" y="217"/>
                  </a:lnTo>
                  <a:lnTo>
                    <a:pt x="419" y="217"/>
                  </a:lnTo>
                  <a:lnTo>
                    <a:pt x="419" y="218"/>
                  </a:lnTo>
                  <a:lnTo>
                    <a:pt x="421" y="218"/>
                  </a:lnTo>
                  <a:lnTo>
                    <a:pt x="421" y="217"/>
                  </a:lnTo>
                  <a:lnTo>
                    <a:pt x="422" y="218"/>
                  </a:lnTo>
                  <a:lnTo>
                    <a:pt x="424" y="259"/>
                  </a:lnTo>
                  <a:lnTo>
                    <a:pt x="425" y="259"/>
                  </a:lnTo>
                  <a:lnTo>
                    <a:pt x="428" y="219"/>
                  </a:lnTo>
                  <a:lnTo>
                    <a:pt x="428" y="259"/>
                  </a:lnTo>
                  <a:lnTo>
                    <a:pt x="432" y="261"/>
                  </a:lnTo>
                  <a:lnTo>
                    <a:pt x="431" y="261"/>
                  </a:lnTo>
                  <a:lnTo>
                    <a:pt x="428" y="261"/>
                  </a:lnTo>
                  <a:lnTo>
                    <a:pt x="426" y="261"/>
                  </a:lnTo>
                  <a:lnTo>
                    <a:pt x="426" y="262"/>
                  </a:lnTo>
                  <a:lnTo>
                    <a:pt x="428" y="264"/>
                  </a:lnTo>
                  <a:lnTo>
                    <a:pt x="426" y="264"/>
                  </a:lnTo>
                  <a:lnTo>
                    <a:pt x="425" y="265"/>
                  </a:lnTo>
                  <a:lnTo>
                    <a:pt x="424" y="265"/>
                  </a:lnTo>
                  <a:lnTo>
                    <a:pt x="424" y="264"/>
                  </a:lnTo>
                  <a:lnTo>
                    <a:pt x="421" y="264"/>
                  </a:lnTo>
                  <a:lnTo>
                    <a:pt x="424" y="267"/>
                  </a:lnTo>
                  <a:lnTo>
                    <a:pt x="422" y="267"/>
                  </a:lnTo>
                  <a:lnTo>
                    <a:pt x="421" y="266"/>
                  </a:lnTo>
                  <a:lnTo>
                    <a:pt x="420" y="266"/>
                  </a:lnTo>
                  <a:lnTo>
                    <a:pt x="419" y="266"/>
                  </a:lnTo>
                  <a:lnTo>
                    <a:pt x="419" y="265"/>
                  </a:lnTo>
                  <a:lnTo>
                    <a:pt x="418" y="265"/>
                  </a:lnTo>
                  <a:lnTo>
                    <a:pt x="418" y="266"/>
                  </a:lnTo>
                  <a:lnTo>
                    <a:pt x="416" y="266"/>
                  </a:lnTo>
                  <a:lnTo>
                    <a:pt x="416" y="264"/>
                  </a:lnTo>
                  <a:lnTo>
                    <a:pt x="415" y="266"/>
                  </a:lnTo>
                  <a:lnTo>
                    <a:pt x="414" y="266"/>
                  </a:lnTo>
                  <a:lnTo>
                    <a:pt x="414" y="268"/>
                  </a:lnTo>
                  <a:lnTo>
                    <a:pt x="414" y="270"/>
                  </a:lnTo>
                  <a:lnTo>
                    <a:pt x="418" y="270"/>
                  </a:lnTo>
                  <a:lnTo>
                    <a:pt x="418" y="271"/>
                  </a:lnTo>
                  <a:lnTo>
                    <a:pt x="415" y="271"/>
                  </a:lnTo>
                  <a:lnTo>
                    <a:pt x="415" y="272"/>
                  </a:lnTo>
                  <a:lnTo>
                    <a:pt x="421" y="272"/>
                  </a:lnTo>
                  <a:lnTo>
                    <a:pt x="420" y="273"/>
                  </a:lnTo>
                  <a:lnTo>
                    <a:pt x="421" y="274"/>
                  </a:lnTo>
                  <a:lnTo>
                    <a:pt x="422" y="273"/>
                  </a:lnTo>
                  <a:lnTo>
                    <a:pt x="424" y="273"/>
                  </a:lnTo>
                  <a:lnTo>
                    <a:pt x="424" y="277"/>
                  </a:lnTo>
                  <a:lnTo>
                    <a:pt x="428" y="280"/>
                  </a:lnTo>
                  <a:lnTo>
                    <a:pt x="428" y="279"/>
                  </a:lnTo>
                  <a:lnTo>
                    <a:pt x="431" y="279"/>
                  </a:lnTo>
                  <a:lnTo>
                    <a:pt x="431" y="280"/>
                  </a:lnTo>
                  <a:lnTo>
                    <a:pt x="432" y="279"/>
                  </a:lnTo>
                  <a:lnTo>
                    <a:pt x="434" y="279"/>
                  </a:lnTo>
                  <a:lnTo>
                    <a:pt x="436" y="279"/>
                  </a:lnTo>
                  <a:lnTo>
                    <a:pt x="437" y="280"/>
                  </a:lnTo>
                  <a:lnTo>
                    <a:pt x="434" y="280"/>
                  </a:lnTo>
                  <a:lnTo>
                    <a:pt x="434" y="283"/>
                  </a:lnTo>
                  <a:lnTo>
                    <a:pt x="436" y="284"/>
                  </a:lnTo>
                  <a:lnTo>
                    <a:pt x="434" y="284"/>
                  </a:lnTo>
                  <a:lnTo>
                    <a:pt x="433" y="282"/>
                  </a:lnTo>
                  <a:lnTo>
                    <a:pt x="432" y="282"/>
                  </a:lnTo>
                  <a:lnTo>
                    <a:pt x="433" y="283"/>
                  </a:lnTo>
                  <a:lnTo>
                    <a:pt x="433" y="284"/>
                  </a:lnTo>
                  <a:lnTo>
                    <a:pt x="432" y="284"/>
                  </a:lnTo>
                  <a:lnTo>
                    <a:pt x="431" y="283"/>
                  </a:lnTo>
                  <a:lnTo>
                    <a:pt x="428" y="284"/>
                  </a:lnTo>
                  <a:lnTo>
                    <a:pt x="431" y="285"/>
                  </a:lnTo>
                  <a:lnTo>
                    <a:pt x="432" y="286"/>
                  </a:lnTo>
                  <a:lnTo>
                    <a:pt x="432" y="288"/>
                  </a:lnTo>
                  <a:lnTo>
                    <a:pt x="431" y="289"/>
                  </a:lnTo>
                  <a:lnTo>
                    <a:pt x="431" y="290"/>
                  </a:lnTo>
                  <a:lnTo>
                    <a:pt x="433" y="292"/>
                  </a:lnTo>
                  <a:lnTo>
                    <a:pt x="434" y="292"/>
                  </a:lnTo>
                  <a:lnTo>
                    <a:pt x="436" y="292"/>
                  </a:lnTo>
                  <a:lnTo>
                    <a:pt x="437" y="295"/>
                  </a:lnTo>
                  <a:lnTo>
                    <a:pt x="439" y="296"/>
                  </a:lnTo>
                  <a:lnTo>
                    <a:pt x="443" y="295"/>
                  </a:lnTo>
                  <a:lnTo>
                    <a:pt x="440" y="297"/>
                  </a:lnTo>
                  <a:lnTo>
                    <a:pt x="445" y="302"/>
                  </a:lnTo>
                  <a:lnTo>
                    <a:pt x="445" y="303"/>
                  </a:lnTo>
                  <a:lnTo>
                    <a:pt x="448" y="303"/>
                  </a:lnTo>
                  <a:lnTo>
                    <a:pt x="451" y="307"/>
                  </a:lnTo>
                  <a:lnTo>
                    <a:pt x="452" y="308"/>
                  </a:lnTo>
                  <a:lnTo>
                    <a:pt x="456" y="308"/>
                  </a:lnTo>
                  <a:lnTo>
                    <a:pt x="455" y="309"/>
                  </a:lnTo>
                  <a:lnTo>
                    <a:pt x="456" y="310"/>
                  </a:lnTo>
                  <a:lnTo>
                    <a:pt x="455" y="310"/>
                  </a:lnTo>
                  <a:lnTo>
                    <a:pt x="460" y="313"/>
                  </a:lnTo>
                  <a:lnTo>
                    <a:pt x="459" y="313"/>
                  </a:lnTo>
                  <a:lnTo>
                    <a:pt x="452" y="312"/>
                  </a:lnTo>
                  <a:lnTo>
                    <a:pt x="459" y="316"/>
                  </a:lnTo>
                  <a:lnTo>
                    <a:pt x="460" y="315"/>
                  </a:lnTo>
                  <a:lnTo>
                    <a:pt x="461" y="318"/>
                  </a:lnTo>
                  <a:lnTo>
                    <a:pt x="465" y="319"/>
                  </a:lnTo>
                  <a:lnTo>
                    <a:pt x="462" y="320"/>
                  </a:lnTo>
                  <a:lnTo>
                    <a:pt x="463" y="321"/>
                  </a:lnTo>
                  <a:lnTo>
                    <a:pt x="467" y="321"/>
                  </a:lnTo>
                  <a:lnTo>
                    <a:pt x="471" y="324"/>
                  </a:lnTo>
                  <a:lnTo>
                    <a:pt x="473" y="325"/>
                  </a:lnTo>
                  <a:lnTo>
                    <a:pt x="469" y="325"/>
                  </a:lnTo>
                  <a:lnTo>
                    <a:pt x="474" y="328"/>
                  </a:lnTo>
                  <a:lnTo>
                    <a:pt x="474" y="330"/>
                  </a:lnTo>
                  <a:lnTo>
                    <a:pt x="469" y="327"/>
                  </a:lnTo>
                  <a:lnTo>
                    <a:pt x="468" y="327"/>
                  </a:lnTo>
                  <a:lnTo>
                    <a:pt x="467" y="327"/>
                  </a:lnTo>
                  <a:lnTo>
                    <a:pt x="467" y="328"/>
                  </a:lnTo>
                  <a:lnTo>
                    <a:pt x="466" y="328"/>
                  </a:lnTo>
                  <a:lnTo>
                    <a:pt x="466" y="326"/>
                  </a:lnTo>
                  <a:lnTo>
                    <a:pt x="467" y="326"/>
                  </a:lnTo>
                  <a:lnTo>
                    <a:pt x="466" y="325"/>
                  </a:lnTo>
                  <a:lnTo>
                    <a:pt x="465" y="325"/>
                  </a:lnTo>
                  <a:lnTo>
                    <a:pt x="465" y="322"/>
                  </a:lnTo>
                  <a:lnTo>
                    <a:pt x="463" y="324"/>
                  </a:lnTo>
                  <a:lnTo>
                    <a:pt x="462" y="325"/>
                  </a:lnTo>
                  <a:lnTo>
                    <a:pt x="461" y="321"/>
                  </a:lnTo>
                  <a:lnTo>
                    <a:pt x="461" y="328"/>
                  </a:lnTo>
                  <a:lnTo>
                    <a:pt x="460" y="330"/>
                  </a:lnTo>
                  <a:lnTo>
                    <a:pt x="459" y="327"/>
                  </a:lnTo>
                  <a:lnTo>
                    <a:pt x="457" y="327"/>
                  </a:lnTo>
                  <a:lnTo>
                    <a:pt x="456" y="330"/>
                  </a:lnTo>
                  <a:lnTo>
                    <a:pt x="455" y="330"/>
                  </a:lnTo>
                  <a:lnTo>
                    <a:pt x="454" y="328"/>
                  </a:lnTo>
                  <a:lnTo>
                    <a:pt x="454" y="326"/>
                  </a:lnTo>
                  <a:lnTo>
                    <a:pt x="454" y="325"/>
                  </a:lnTo>
                  <a:lnTo>
                    <a:pt x="454" y="322"/>
                  </a:lnTo>
                  <a:lnTo>
                    <a:pt x="454" y="324"/>
                  </a:lnTo>
                  <a:lnTo>
                    <a:pt x="452" y="324"/>
                  </a:lnTo>
                  <a:lnTo>
                    <a:pt x="451" y="319"/>
                  </a:lnTo>
                  <a:lnTo>
                    <a:pt x="449" y="319"/>
                  </a:lnTo>
                  <a:lnTo>
                    <a:pt x="448" y="319"/>
                  </a:lnTo>
                  <a:lnTo>
                    <a:pt x="446" y="321"/>
                  </a:lnTo>
                  <a:lnTo>
                    <a:pt x="446" y="322"/>
                  </a:lnTo>
                  <a:lnTo>
                    <a:pt x="445" y="322"/>
                  </a:lnTo>
                  <a:lnTo>
                    <a:pt x="445" y="320"/>
                  </a:lnTo>
                  <a:lnTo>
                    <a:pt x="445" y="318"/>
                  </a:lnTo>
                  <a:lnTo>
                    <a:pt x="444" y="316"/>
                  </a:lnTo>
                  <a:lnTo>
                    <a:pt x="443" y="318"/>
                  </a:lnTo>
                  <a:lnTo>
                    <a:pt x="442" y="319"/>
                  </a:lnTo>
                  <a:lnTo>
                    <a:pt x="442" y="318"/>
                  </a:lnTo>
                  <a:lnTo>
                    <a:pt x="440" y="318"/>
                  </a:lnTo>
                  <a:lnTo>
                    <a:pt x="442" y="320"/>
                  </a:lnTo>
                  <a:lnTo>
                    <a:pt x="444" y="324"/>
                  </a:lnTo>
                  <a:lnTo>
                    <a:pt x="448" y="324"/>
                  </a:lnTo>
                  <a:lnTo>
                    <a:pt x="448" y="325"/>
                  </a:lnTo>
                  <a:lnTo>
                    <a:pt x="445" y="325"/>
                  </a:lnTo>
                  <a:lnTo>
                    <a:pt x="448" y="328"/>
                  </a:lnTo>
                  <a:lnTo>
                    <a:pt x="450" y="330"/>
                  </a:lnTo>
                  <a:lnTo>
                    <a:pt x="451" y="332"/>
                  </a:lnTo>
                  <a:lnTo>
                    <a:pt x="457" y="334"/>
                  </a:lnTo>
                  <a:lnTo>
                    <a:pt x="456" y="336"/>
                  </a:lnTo>
                  <a:lnTo>
                    <a:pt x="461" y="339"/>
                  </a:lnTo>
                  <a:lnTo>
                    <a:pt x="459" y="338"/>
                  </a:lnTo>
                  <a:lnTo>
                    <a:pt x="457" y="339"/>
                  </a:lnTo>
                  <a:lnTo>
                    <a:pt x="462" y="342"/>
                  </a:lnTo>
                  <a:lnTo>
                    <a:pt x="457" y="339"/>
                  </a:lnTo>
                  <a:lnTo>
                    <a:pt x="456" y="339"/>
                  </a:lnTo>
                  <a:lnTo>
                    <a:pt x="455" y="343"/>
                  </a:lnTo>
                  <a:lnTo>
                    <a:pt x="455" y="338"/>
                  </a:lnTo>
                  <a:lnTo>
                    <a:pt x="455" y="337"/>
                  </a:lnTo>
                  <a:lnTo>
                    <a:pt x="452" y="339"/>
                  </a:lnTo>
                  <a:lnTo>
                    <a:pt x="452" y="337"/>
                  </a:lnTo>
                  <a:lnTo>
                    <a:pt x="451" y="336"/>
                  </a:lnTo>
                  <a:lnTo>
                    <a:pt x="451" y="337"/>
                  </a:lnTo>
                  <a:lnTo>
                    <a:pt x="450" y="339"/>
                  </a:lnTo>
                  <a:lnTo>
                    <a:pt x="449" y="333"/>
                  </a:lnTo>
                  <a:lnTo>
                    <a:pt x="448" y="339"/>
                  </a:lnTo>
                  <a:lnTo>
                    <a:pt x="448" y="340"/>
                  </a:lnTo>
                  <a:lnTo>
                    <a:pt x="446" y="342"/>
                  </a:lnTo>
                  <a:lnTo>
                    <a:pt x="446" y="339"/>
                  </a:lnTo>
                  <a:lnTo>
                    <a:pt x="446" y="334"/>
                  </a:lnTo>
                  <a:lnTo>
                    <a:pt x="445" y="336"/>
                  </a:lnTo>
                  <a:lnTo>
                    <a:pt x="444" y="336"/>
                  </a:lnTo>
                  <a:lnTo>
                    <a:pt x="446" y="330"/>
                  </a:lnTo>
                  <a:lnTo>
                    <a:pt x="445" y="327"/>
                  </a:lnTo>
                  <a:lnTo>
                    <a:pt x="445" y="330"/>
                  </a:lnTo>
                  <a:lnTo>
                    <a:pt x="444" y="334"/>
                  </a:lnTo>
                  <a:lnTo>
                    <a:pt x="443" y="333"/>
                  </a:lnTo>
                  <a:lnTo>
                    <a:pt x="444" y="327"/>
                  </a:lnTo>
                  <a:lnTo>
                    <a:pt x="443" y="327"/>
                  </a:lnTo>
                  <a:lnTo>
                    <a:pt x="442" y="330"/>
                  </a:lnTo>
                  <a:lnTo>
                    <a:pt x="443" y="332"/>
                  </a:lnTo>
                  <a:lnTo>
                    <a:pt x="442" y="331"/>
                  </a:lnTo>
                  <a:lnTo>
                    <a:pt x="443" y="324"/>
                  </a:lnTo>
                  <a:lnTo>
                    <a:pt x="442" y="324"/>
                  </a:lnTo>
                  <a:lnTo>
                    <a:pt x="440" y="330"/>
                  </a:lnTo>
                  <a:lnTo>
                    <a:pt x="440" y="332"/>
                  </a:lnTo>
                  <a:lnTo>
                    <a:pt x="438" y="333"/>
                  </a:lnTo>
                  <a:lnTo>
                    <a:pt x="437" y="332"/>
                  </a:lnTo>
                  <a:lnTo>
                    <a:pt x="436" y="327"/>
                  </a:lnTo>
                  <a:lnTo>
                    <a:pt x="436" y="326"/>
                  </a:lnTo>
                  <a:lnTo>
                    <a:pt x="434" y="326"/>
                  </a:lnTo>
                  <a:lnTo>
                    <a:pt x="432" y="326"/>
                  </a:lnTo>
                  <a:lnTo>
                    <a:pt x="432" y="324"/>
                  </a:lnTo>
                  <a:lnTo>
                    <a:pt x="433" y="322"/>
                  </a:lnTo>
                  <a:lnTo>
                    <a:pt x="432" y="320"/>
                  </a:lnTo>
                  <a:lnTo>
                    <a:pt x="432" y="321"/>
                  </a:lnTo>
                  <a:lnTo>
                    <a:pt x="431" y="324"/>
                  </a:lnTo>
                  <a:lnTo>
                    <a:pt x="431" y="326"/>
                  </a:lnTo>
                  <a:lnTo>
                    <a:pt x="428" y="326"/>
                  </a:lnTo>
                  <a:lnTo>
                    <a:pt x="428" y="324"/>
                  </a:lnTo>
                  <a:lnTo>
                    <a:pt x="426" y="322"/>
                  </a:lnTo>
                  <a:lnTo>
                    <a:pt x="425" y="324"/>
                  </a:lnTo>
                  <a:lnTo>
                    <a:pt x="425" y="325"/>
                  </a:lnTo>
                  <a:lnTo>
                    <a:pt x="426" y="327"/>
                  </a:lnTo>
                  <a:lnTo>
                    <a:pt x="428" y="330"/>
                  </a:lnTo>
                  <a:lnTo>
                    <a:pt x="426" y="330"/>
                  </a:lnTo>
                  <a:lnTo>
                    <a:pt x="428" y="331"/>
                  </a:lnTo>
                  <a:lnTo>
                    <a:pt x="428" y="332"/>
                  </a:lnTo>
                  <a:lnTo>
                    <a:pt x="433" y="336"/>
                  </a:lnTo>
                  <a:lnTo>
                    <a:pt x="434" y="337"/>
                  </a:lnTo>
                  <a:lnTo>
                    <a:pt x="438" y="337"/>
                  </a:lnTo>
                  <a:lnTo>
                    <a:pt x="436" y="338"/>
                  </a:lnTo>
                  <a:lnTo>
                    <a:pt x="436" y="339"/>
                  </a:lnTo>
                  <a:lnTo>
                    <a:pt x="440" y="339"/>
                  </a:lnTo>
                  <a:lnTo>
                    <a:pt x="442" y="340"/>
                  </a:lnTo>
                  <a:lnTo>
                    <a:pt x="440" y="340"/>
                  </a:lnTo>
                  <a:lnTo>
                    <a:pt x="439" y="340"/>
                  </a:lnTo>
                  <a:lnTo>
                    <a:pt x="439" y="342"/>
                  </a:lnTo>
                  <a:lnTo>
                    <a:pt x="440" y="342"/>
                  </a:lnTo>
                  <a:lnTo>
                    <a:pt x="443" y="343"/>
                  </a:lnTo>
                  <a:lnTo>
                    <a:pt x="442" y="344"/>
                  </a:lnTo>
                  <a:lnTo>
                    <a:pt x="443" y="345"/>
                  </a:lnTo>
                  <a:lnTo>
                    <a:pt x="444" y="344"/>
                  </a:lnTo>
                  <a:lnTo>
                    <a:pt x="444" y="343"/>
                  </a:lnTo>
                  <a:lnTo>
                    <a:pt x="445" y="343"/>
                  </a:lnTo>
                  <a:lnTo>
                    <a:pt x="446" y="343"/>
                  </a:lnTo>
                  <a:lnTo>
                    <a:pt x="446" y="345"/>
                  </a:lnTo>
                  <a:lnTo>
                    <a:pt x="450" y="344"/>
                  </a:lnTo>
                  <a:lnTo>
                    <a:pt x="448" y="345"/>
                  </a:lnTo>
                  <a:lnTo>
                    <a:pt x="448" y="347"/>
                  </a:lnTo>
                  <a:lnTo>
                    <a:pt x="451" y="348"/>
                  </a:lnTo>
                  <a:lnTo>
                    <a:pt x="448" y="349"/>
                  </a:lnTo>
                  <a:lnTo>
                    <a:pt x="449" y="349"/>
                  </a:lnTo>
                  <a:lnTo>
                    <a:pt x="449" y="350"/>
                  </a:lnTo>
                  <a:lnTo>
                    <a:pt x="450" y="350"/>
                  </a:lnTo>
                  <a:lnTo>
                    <a:pt x="451" y="350"/>
                  </a:lnTo>
                  <a:lnTo>
                    <a:pt x="452" y="350"/>
                  </a:lnTo>
                  <a:lnTo>
                    <a:pt x="452" y="351"/>
                  </a:lnTo>
                  <a:lnTo>
                    <a:pt x="454" y="353"/>
                  </a:lnTo>
                  <a:lnTo>
                    <a:pt x="457" y="351"/>
                  </a:lnTo>
                  <a:lnTo>
                    <a:pt x="457" y="353"/>
                  </a:lnTo>
                  <a:lnTo>
                    <a:pt x="455" y="353"/>
                  </a:lnTo>
                  <a:lnTo>
                    <a:pt x="454" y="353"/>
                  </a:lnTo>
                  <a:lnTo>
                    <a:pt x="455" y="354"/>
                  </a:lnTo>
                  <a:lnTo>
                    <a:pt x="459" y="356"/>
                  </a:lnTo>
                  <a:lnTo>
                    <a:pt x="457" y="356"/>
                  </a:lnTo>
                  <a:lnTo>
                    <a:pt x="452" y="354"/>
                  </a:lnTo>
                  <a:lnTo>
                    <a:pt x="452" y="355"/>
                  </a:lnTo>
                  <a:lnTo>
                    <a:pt x="452" y="357"/>
                  </a:lnTo>
                  <a:lnTo>
                    <a:pt x="456" y="357"/>
                  </a:lnTo>
                  <a:lnTo>
                    <a:pt x="459" y="359"/>
                  </a:lnTo>
                  <a:lnTo>
                    <a:pt x="460" y="359"/>
                  </a:lnTo>
                  <a:lnTo>
                    <a:pt x="462" y="359"/>
                  </a:lnTo>
                  <a:lnTo>
                    <a:pt x="465" y="359"/>
                  </a:lnTo>
                  <a:lnTo>
                    <a:pt x="466" y="360"/>
                  </a:lnTo>
                  <a:lnTo>
                    <a:pt x="461" y="360"/>
                  </a:lnTo>
                  <a:lnTo>
                    <a:pt x="461" y="361"/>
                  </a:lnTo>
                  <a:lnTo>
                    <a:pt x="463" y="361"/>
                  </a:lnTo>
                  <a:lnTo>
                    <a:pt x="465" y="361"/>
                  </a:lnTo>
                  <a:lnTo>
                    <a:pt x="461" y="362"/>
                  </a:lnTo>
                  <a:lnTo>
                    <a:pt x="460" y="362"/>
                  </a:lnTo>
                  <a:lnTo>
                    <a:pt x="459" y="362"/>
                  </a:lnTo>
                  <a:lnTo>
                    <a:pt x="459" y="365"/>
                  </a:lnTo>
                  <a:lnTo>
                    <a:pt x="457" y="365"/>
                  </a:lnTo>
                  <a:lnTo>
                    <a:pt x="457" y="361"/>
                  </a:lnTo>
                  <a:lnTo>
                    <a:pt x="459" y="361"/>
                  </a:lnTo>
                  <a:lnTo>
                    <a:pt x="457" y="360"/>
                  </a:lnTo>
                  <a:lnTo>
                    <a:pt x="456" y="360"/>
                  </a:lnTo>
                  <a:lnTo>
                    <a:pt x="456" y="363"/>
                  </a:lnTo>
                  <a:lnTo>
                    <a:pt x="455" y="362"/>
                  </a:lnTo>
                  <a:lnTo>
                    <a:pt x="455" y="361"/>
                  </a:lnTo>
                  <a:lnTo>
                    <a:pt x="455" y="360"/>
                  </a:lnTo>
                  <a:lnTo>
                    <a:pt x="454" y="360"/>
                  </a:lnTo>
                  <a:lnTo>
                    <a:pt x="454" y="362"/>
                  </a:lnTo>
                  <a:lnTo>
                    <a:pt x="454" y="363"/>
                  </a:lnTo>
                  <a:lnTo>
                    <a:pt x="452" y="363"/>
                  </a:lnTo>
                  <a:lnTo>
                    <a:pt x="455" y="363"/>
                  </a:lnTo>
                  <a:lnTo>
                    <a:pt x="455" y="365"/>
                  </a:lnTo>
                  <a:lnTo>
                    <a:pt x="456" y="365"/>
                  </a:lnTo>
                  <a:lnTo>
                    <a:pt x="456" y="366"/>
                  </a:lnTo>
                  <a:lnTo>
                    <a:pt x="455" y="367"/>
                  </a:lnTo>
                  <a:lnTo>
                    <a:pt x="457" y="367"/>
                  </a:lnTo>
                  <a:lnTo>
                    <a:pt x="459" y="367"/>
                  </a:lnTo>
                  <a:lnTo>
                    <a:pt x="461" y="366"/>
                  </a:lnTo>
                  <a:lnTo>
                    <a:pt x="462" y="367"/>
                  </a:lnTo>
                  <a:lnTo>
                    <a:pt x="466" y="363"/>
                  </a:lnTo>
                  <a:lnTo>
                    <a:pt x="466" y="365"/>
                  </a:lnTo>
                  <a:lnTo>
                    <a:pt x="467" y="365"/>
                  </a:lnTo>
                  <a:lnTo>
                    <a:pt x="465" y="367"/>
                  </a:lnTo>
                  <a:lnTo>
                    <a:pt x="466" y="367"/>
                  </a:lnTo>
                  <a:lnTo>
                    <a:pt x="467" y="366"/>
                  </a:lnTo>
                  <a:lnTo>
                    <a:pt x="468" y="365"/>
                  </a:lnTo>
                  <a:lnTo>
                    <a:pt x="469" y="366"/>
                  </a:lnTo>
                  <a:lnTo>
                    <a:pt x="469" y="367"/>
                  </a:lnTo>
                  <a:lnTo>
                    <a:pt x="471" y="368"/>
                  </a:lnTo>
                  <a:lnTo>
                    <a:pt x="471" y="369"/>
                  </a:lnTo>
                  <a:lnTo>
                    <a:pt x="469" y="369"/>
                  </a:lnTo>
                  <a:lnTo>
                    <a:pt x="467" y="368"/>
                  </a:lnTo>
                  <a:lnTo>
                    <a:pt x="466" y="368"/>
                  </a:lnTo>
                  <a:lnTo>
                    <a:pt x="465" y="368"/>
                  </a:lnTo>
                  <a:lnTo>
                    <a:pt x="466" y="369"/>
                  </a:lnTo>
                  <a:lnTo>
                    <a:pt x="468" y="372"/>
                  </a:lnTo>
                  <a:lnTo>
                    <a:pt x="472" y="373"/>
                  </a:lnTo>
                  <a:lnTo>
                    <a:pt x="474" y="371"/>
                  </a:lnTo>
                  <a:lnTo>
                    <a:pt x="479" y="371"/>
                  </a:lnTo>
                  <a:lnTo>
                    <a:pt x="481" y="373"/>
                  </a:lnTo>
                  <a:lnTo>
                    <a:pt x="484" y="374"/>
                  </a:lnTo>
                  <a:lnTo>
                    <a:pt x="485" y="374"/>
                  </a:lnTo>
                  <a:lnTo>
                    <a:pt x="486" y="375"/>
                  </a:lnTo>
                  <a:lnTo>
                    <a:pt x="487" y="374"/>
                  </a:lnTo>
                  <a:lnTo>
                    <a:pt x="487" y="377"/>
                  </a:lnTo>
                  <a:lnTo>
                    <a:pt x="490" y="378"/>
                  </a:lnTo>
                  <a:lnTo>
                    <a:pt x="490" y="379"/>
                  </a:lnTo>
                  <a:lnTo>
                    <a:pt x="492" y="379"/>
                  </a:lnTo>
                  <a:lnTo>
                    <a:pt x="493" y="378"/>
                  </a:lnTo>
                  <a:lnTo>
                    <a:pt x="495" y="378"/>
                  </a:lnTo>
                  <a:lnTo>
                    <a:pt x="495" y="375"/>
                  </a:lnTo>
                  <a:lnTo>
                    <a:pt x="496" y="375"/>
                  </a:lnTo>
                  <a:lnTo>
                    <a:pt x="496" y="377"/>
                  </a:lnTo>
                  <a:lnTo>
                    <a:pt x="495" y="379"/>
                  </a:lnTo>
                  <a:lnTo>
                    <a:pt x="495" y="380"/>
                  </a:lnTo>
                  <a:lnTo>
                    <a:pt x="496" y="381"/>
                  </a:lnTo>
                  <a:lnTo>
                    <a:pt x="498" y="381"/>
                  </a:lnTo>
                  <a:lnTo>
                    <a:pt x="499" y="381"/>
                  </a:lnTo>
                  <a:lnTo>
                    <a:pt x="501" y="381"/>
                  </a:lnTo>
                  <a:lnTo>
                    <a:pt x="503" y="383"/>
                  </a:lnTo>
                  <a:lnTo>
                    <a:pt x="501" y="383"/>
                  </a:lnTo>
                  <a:lnTo>
                    <a:pt x="498" y="383"/>
                  </a:lnTo>
                  <a:lnTo>
                    <a:pt x="498" y="384"/>
                  </a:lnTo>
                  <a:lnTo>
                    <a:pt x="502" y="386"/>
                  </a:lnTo>
                  <a:lnTo>
                    <a:pt x="503" y="386"/>
                  </a:lnTo>
                  <a:lnTo>
                    <a:pt x="504" y="386"/>
                  </a:lnTo>
                  <a:lnTo>
                    <a:pt x="505" y="387"/>
                  </a:lnTo>
                  <a:lnTo>
                    <a:pt x="510" y="387"/>
                  </a:lnTo>
                  <a:lnTo>
                    <a:pt x="514" y="387"/>
                  </a:lnTo>
                  <a:lnTo>
                    <a:pt x="516" y="387"/>
                  </a:lnTo>
                  <a:lnTo>
                    <a:pt x="516" y="389"/>
                  </a:lnTo>
                  <a:lnTo>
                    <a:pt x="515" y="389"/>
                  </a:lnTo>
                  <a:lnTo>
                    <a:pt x="513" y="389"/>
                  </a:lnTo>
                  <a:lnTo>
                    <a:pt x="515" y="391"/>
                  </a:lnTo>
                  <a:lnTo>
                    <a:pt x="515" y="392"/>
                  </a:lnTo>
                  <a:lnTo>
                    <a:pt x="511" y="390"/>
                  </a:lnTo>
                  <a:lnTo>
                    <a:pt x="510" y="390"/>
                  </a:lnTo>
                  <a:lnTo>
                    <a:pt x="509" y="390"/>
                  </a:lnTo>
                  <a:lnTo>
                    <a:pt x="509" y="391"/>
                  </a:lnTo>
                  <a:lnTo>
                    <a:pt x="510" y="392"/>
                  </a:lnTo>
                  <a:lnTo>
                    <a:pt x="509" y="392"/>
                  </a:lnTo>
                  <a:lnTo>
                    <a:pt x="509" y="391"/>
                  </a:lnTo>
                  <a:lnTo>
                    <a:pt x="508" y="390"/>
                  </a:lnTo>
                  <a:lnTo>
                    <a:pt x="507" y="389"/>
                  </a:lnTo>
                  <a:lnTo>
                    <a:pt x="503" y="389"/>
                  </a:lnTo>
                  <a:lnTo>
                    <a:pt x="504" y="390"/>
                  </a:lnTo>
                  <a:lnTo>
                    <a:pt x="508" y="392"/>
                  </a:lnTo>
                  <a:lnTo>
                    <a:pt x="509" y="395"/>
                  </a:lnTo>
                  <a:lnTo>
                    <a:pt x="515" y="397"/>
                  </a:lnTo>
                  <a:lnTo>
                    <a:pt x="515" y="398"/>
                  </a:lnTo>
                  <a:lnTo>
                    <a:pt x="514" y="398"/>
                  </a:lnTo>
                  <a:lnTo>
                    <a:pt x="510" y="396"/>
                  </a:lnTo>
                  <a:lnTo>
                    <a:pt x="509" y="396"/>
                  </a:lnTo>
                  <a:lnTo>
                    <a:pt x="509" y="398"/>
                  </a:lnTo>
                  <a:lnTo>
                    <a:pt x="508" y="398"/>
                  </a:lnTo>
                  <a:lnTo>
                    <a:pt x="508" y="396"/>
                  </a:lnTo>
                  <a:lnTo>
                    <a:pt x="508" y="395"/>
                  </a:lnTo>
                  <a:lnTo>
                    <a:pt x="507" y="395"/>
                  </a:lnTo>
                  <a:lnTo>
                    <a:pt x="505" y="398"/>
                  </a:lnTo>
                  <a:lnTo>
                    <a:pt x="504" y="401"/>
                  </a:lnTo>
                  <a:lnTo>
                    <a:pt x="503" y="402"/>
                  </a:lnTo>
                  <a:lnTo>
                    <a:pt x="502" y="403"/>
                  </a:lnTo>
                  <a:lnTo>
                    <a:pt x="502" y="402"/>
                  </a:lnTo>
                  <a:lnTo>
                    <a:pt x="502" y="398"/>
                  </a:lnTo>
                  <a:lnTo>
                    <a:pt x="498" y="398"/>
                  </a:lnTo>
                  <a:lnTo>
                    <a:pt x="498" y="397"/>
                  </a:lnTo>
                  <a:lnTo>
                    <a:pt x="498" y="396"/>
                  </a:lnTo>
                  <a:lnTo>
                    <a:pt x="497" y="395"/>
                  </a:lnTo>
                  <a:lnTo>
                    <a:pt x="497" y="396"/>
                  </a:lnTo>
                  <a:lnTo>
                    <a:pt x="496" y="397"/>
                  </a:lnTo>
                  <a:lnTo>
                    <a:pt x="493" y="398"/>
                  </a:lnTo>
                  <a:lnTo>
                    <a:pt x="493" y="399"/>
                  </a:lnTo>
                  <a:lnTo>
                    <a:pt x="492" y="402"/>
                  </a:lnTo>
                  <a:lnTo>
                    <a:pt x="491" y="403"/>
                  </a:lnTo>
                  <a:lnTo>
                    <a:pt x="491" y="402"/>
                  </a:lnTo>
                  <a:lnTo>
                    <a:pt x="491" y="397"/>
                  </a:lnTo>
                  <a:lnTo>
                    <a:pt x="490" y="396"/>
                  </a:lnTo>
                  <a:lnTo>
                    <a:pt x="490" y="399"/>
                  </a:lnTo>
                  <a:lnTo>
                    <a:pt x="489" y="399"/>
                  </a:lnTo>
                  <a:lnTo>
                    <a:pt x="487" y="397"/>
                  </a:lnTo>
                  <a:lnTo>
                    <a:pt x="487" y="396"/>
                  </a:lnTo>
                  <a:lnTo>
                    <a:pt x="487" y="397"/>
                  </a:lnTo>
                  <a:lnTo>
                    <a:pt x="486" y="397"/>
                  </a:lnTo>
                  <a:lnTo>
                    <a:pt x="486" y="398"/>
                  </a:lnTo>
                  <a:lnTo>
                    <a:pt x="485" y="397"/>
                  </a:lnTo>
                  <a:lnTo>
                    <a:pt x="484" y="397"/>
                  </a:lnTo>
                  <a:lnTo>
                    <a:pt x="485" y="396"/>
                  </a:lnTo>
                  <a:lnTo>
                    <a:pt x="485" y="395"/>
                  </a:lnTo>
                  <a:lnTo>
                    <a:pt x="485" y="393"/>
                  </a:lnTo>
                  <a:lnTo>
                    <a:pt x="485" y="392"/>
                  </a:lnTo>
                  <a:lnTo>
                    <a:pt x="485" y="391"/>
                  </a:lnTo>
                  <a:lnTo>
                    <a:pt x="484" y="391"/>
                  </a:lnTo>
                  <a:lnTo>
                    <a:pt x="484" y="392"/>
                  </a:lnTo>
                  <a:lnTo>
                    <a:pt x="484" y="393"/>
                  </a:lnTo>
                  <a:lnTo>
                    <a:pt x="485" y="395"/>
                  </a:lnTo>
                  <a:lnTo>
                    <a:pt x="485" y="396"/>
                  </a:lnTo>
                  <a:lnTo>
                    <a:pt x="484" y="396"/>
                  </a:lnTo>
                  <a:lnTo>
                    <a:pt x="484" y="397"/>
                  </a:lnTo>
                  <a:lnTo>
                    <a:pt x="484" y="399"/>
                  </a:lnTo>
                  <a:lnTo>
                    <a:pt x="484" y="401"/>
                  </a:lnTo>
                  <a:lnTo>
                    <a:pt x="484" y="402"/>
                  </a:lnTo>
                  <a:lnTo>
                    <a:pt x="483" y="401"/>
                  </a:lnTo>
                  <a:lnTo>
                    <a:pt x="483" y="399"/>
                  </a:lnTo>
                  <a:lnTo>
                    <a:pt x="481" y="398"/>
                  </a:lnTo>
                  <a:lnTo>
                    <a:pt x="480" y="398"/>
                  </a:lnTo>
                  <a:lnTo>
                    <a:pt x="480" y="395"/>
                  </a:lnTo>
                  <a:lnTo>
                    <a:pt x="479" y="395"/>
                  </a:lnTo>
                  <a:lnTo>
                    <a:pt x="477" y="396"/>
                  </a:lnTo>
                  <a:lnTo>
                    <a:pt x="477" y="397"/>
                  </a:lnTo>
                  <a:lnTo>
                    <a:pt x="477" y="398"/>
                  </a:lnTo>
                  <a:lnTo>
                    <a:pt x="475" y="399"/>
                  </a:lnTo>
                  <a:lnTo>
                    <a:pt x="475" y="401"/>
                  </a:lnTo>
                  <a:lnTo>
                    <a:pt x="477" y="402"/>
                  </a:lnTo>
                  <a:lnTo>
                    <a:pt x="479" y="402"/>
                  </a:lnTo>
                  <a:lnTo>
                    <a:pt x="480" y="403"/>
                  </a:lnTo>
                  <a:lnTo>
                    <a:pt x="483" y="404"/>
                  </a:lnTo>
                  <a:lnTo>
                    <a:pt x="483" y="405"/>
                  </a:lnTo>
                  <a:lnTo>
                    <a:pt x="481" y="405"/>
                  </a:lnTo>
                  <a:lnTo>
                    <a:pt x="481" y="404"/>
                  </a:lnTo>
                  <a:lnTo>
                    <a:pt x="480" y="405"/>
                  </a:lnTo>
                  <a:lnTo>
                    <a:pt x="480" y="404"/>
                  </a:lnTo>
                  <a:lnTo>
                    <a:pt x="479" y="404"/>
                  </a:lnTo>
                  <a:lnTo>
                    <a:pt x="478" y="404"/>
                  </a:lnTo>
                  <a:lnTo>
                    <a:pt x="478" y="405"/>
                  </a:lnTo>
                  <a:lnTo>
                    <a:pt x="479" y="407"/>
                  </a:lnTo>
                  <a:lnTo>
                    <a:pt x="480" y="408"/>
                  </a:lnTo>
                  <a:lnTo>
                    <a:pt x="481" y="408"/>
                  </a:lnTo>
                  <a:lnTo>
                    <a:pt x="483" y="407"/>
                  </a:lnTo>
                  <a:lnTo>
                    <a:pt x="484" y="405"/>
                  </a:lnTo>
                  <a:lnTo>
                    <a:pt x="484" y="407"/>
                  </a:lnTo>
                  <a:lnTo>
                    <a:pt x="484" y="408"/>
                  </a:lnTo>
                  <a:lnTo>
                    <a:pt x="487" y="408"/>
                  </a:lnTo>
                  <a:lnTo>
                    <a:pt x="490" y="407"/>
                  </a:lnTo>
                  <a:lnTo>
                    <a:pt x="491" y="407"/>
                  </a:lnTo>
                  <a:lnTo>
                    <a:pt x="491" y="405"/>
                  </a:lnTo>
                  <a:lnTo>
                    <a:pt x="492" y="405"/>
                  </a:lnTo>
                  <a:lnTo>
                    <a:pt x="493" y="407"/>
                  </a:lnTo>
                  <a:lnTo>
                    <a:pt x="499" y="407"/>
                  </a:lnTo>
                  <a:lnTo>
                    <a:pt x="501" y="407"/>
                  </a:lnTo>
                  <a:lnTo>
                    <a:pt x="502" y="407"/>
                  </a:lnTo>
                  <a:lnTo>
                    <a:pt x="503" y="407"/>
                  </a:lnTo>
                  <a:lnTo>
                    <a:pt x="504" y="408"/>
                  </a:lnTo>
                  <a:lnTo>
                    <a:pt x="504" y="407"/>
                  </a:lnTo>
                  <a:lnTo>
                    <a:pt x="505" y="407"/>
                  </a:lnTo>
                  <a:lnTo>
                    <a:pt x="507" y="407"/>
                  </a:lnTo>
                  <a:lnTo>
                    <a:pt x="508" y="407"/>
                  </a:lnTo>
                  <a:lnTo>
                    <a:pt x="510" y="407"/>
                  </a:lnTo>
                  <a:lnTo>
                    <a:pt x="511" y="408"/>
                  </a:lnTo>
                  <a:lnTo>
                    <a:pt x="514" y="408"/>
                  </a:lnTo>
                  <a:lnTo>
                    <a:pt x="515" y="408"/>
                  </a:lnTo>
                  <a:lnTo>
                    <a:pt x="518" y="408"/>
                  </a:lnTo>
                  <a:lnTo>
                    <a:pt x="519" y="408"/>
                  </a:lnTo>
                  <a:lnTo>
                    <a:pt x="521" y="409"/>
                  </a:lnTo>
                  <a:lnTo>
                    <a:pt x="522" y="409"/>
                  </a:lnTo>
                  <a:lnTo>
                    <a:pt x="524" y="409"/>
                  </a:lnTo>
                  <a:lnTo>
                    <a:pt x="526" y="410"/>
                  </a:lnTo>
                  <a:lnTo>
                    <a:pt x="527" y="411"/>
                  </a:lnTo>
                  <a:lnTo>
                    <a:pt x="528" y="411"/>
                  </a:lnTo>
                  <a:lnTo>
                    <a:pt x="531" y="411"/>
                  </a:lnTo>
                  <a:lnTo>
                    <a:pt x="532" y="413"/>
                  </a:lnTo>
                  <a:lnTo>
                    <a:pt x="533" y="413"/>
                  </a:lnTo>
                  <a:lnTo>
                    <a:pt x="534" y="413"/>
                  </a:lnTo>
                  <a:lnTo>
                    <a:pt x="534" y="414"/>
                  </a:lnTo>
                  <a:lnTo>
                    <a:pt x="536" y="414"/>
                  </a:lnTo>
                  <a:lnTo>
                    <a:pt x="536" y="415"/>
                  </a:lnTo>
                  <a:lnTo>
                    <a:pt x="537" y="416"/>
                  </a:lnTo>
                  <a:lnTo>
                    <a:pt x="539" y="415"/>
                  </a:lnTo>
                  <a:lnTo>
                    <a:pt x="540" y="415"/>
                  </a:lnTo>
                  <a:lnTo>
                    <a:pt x="542" y="415"/>
                  </a:lnTo>
                  <a:lnTo>
                    <a:pt x="543" y="415"/>
                  </a:lnTo>
                  <a:lnTo>
                    <a:pt x="544" y="416"/>
                  </a:lnTo>
                  <a:lnTo>
                    <a:pt x="546" y="415"/>
                  </a:lnTo>
                  <a:lnTo>
                    <a:pt x="544" y="416"/>
                  </a:lnTo>
                  <a:lnTo>
                    <a:pt x="544" y="417"/>
                  </a:lnTo>
                  <a:lnTo>
                    <a:pt x="550" y="420"/>
                  </a:lnTo>
                  <a:lnTo>
                    <a:pt x="545" y="419"/>
                  </a:lnTo>
                  <a:lnTo>
                    <a:pt x="543" y="419"/>
                  </a:lnTo>
                  <a:lnTo>
                    <a:pt x="543" y="420"/>
                  </a:lnTo>
                  <a:lnTo>
                    <a:pt x="544" y="421"/>
                  </a:lnTo>
                  <a:lnTo>
                    <a:pt x="542" y="420"/>
                  </a:lnTo>
                  <a:lnTo>
                    <a:pt x="542" y="417"/>
                  </a:lnTo>
                  <a:lnTo>
                    <a:pt x="540" y="417"/>
                  </a:lnTo>
                  <a:lnTo>
                    <a:pt x="540" y="419"/>
                  </a:lnTo>
                  <a:lnTo>
                    <a:pt x="539" y="417"/>
                  </a:lnTo>
                  <a:lnTo>
                    <a:pt x="538" y="417"/>
                  </a:lnTo>
                  <a:lnTo>
                    <a:pt x="538" y="420"/>
                  </a:lnTo>
                  <a:lnTo>
                    <a:pt x="537" y="421"/>
                  </a:lnTo>
                  <a:lnTo>
                    <a:pt x="536" y="422"/>
                  </a:lnTo>
                  <a:lnTo>
                    <a:pt x="536" y="423"/>
                  </a:lnTo>
                  <a:lnTo>
                    <a:pt x="534" y="425"/>
                  </a:lnTo>
                  <a:lnTo>
                    <a:pt x="533" y="425"/>
                  </a:lnTo>
                  <a:lnTo>
                    <a:pt x="533" y="426"/>
                  </a:lnTo>
                  <a:lnTo>
                    <a:pt x="532" y="427"/>
                  </a:lnTo>
                  <a:lnTo>
                    <a:pt x="532" y="426"/>
                  </a:lnTo>
                  <a:lnTo>
                    <a:pt x="531" y="425"/>
                  </a:lnTo>
                  <a:lnTo>
                    <a:pt x="531" y="423"/>
                  </a:lnTo>
                  <a:lnTo>
                    <a:pt x="532" y="422"/>
                  </a:lnTo>
                  <a:lnTo>
                    <a:pt x="531" y="422"/>
                  </a:lnTo>
                  <a:lnTo>
                    <a:pt x="531" y="421"/>
                  </a:lnTo>
                  <a:lnTo>
                    <a:pt x="531" y="420"/>
                  </a:lnTo>
                  <a:lnTo>
                    <a:pt x="531" y="419"/>
                  </a:lnTo>
                  <a:lnTo>
                    <a:pt x="531" y="417"/>
                  </a:lnTo>
                  <a:lnTo>
                    <a:pt x="531" y="416"/>
                  </a:lnTo>
                  <a:lnTo>
                    <a:pt x="531" y="415"/>
                  </a:lnTo>
                  <a:lnTo>
                    <a:pt x="530" y="414"/>
                  </a:lnTo>
                  <a:lnTo>
                    <a:pt x="528" y="414"/>
                  </a:lnTo>
                  <a:lnTo>
                    <a:pt x="527" y="414"/>
                  </a:lnTo>
                  <a:lnTo>
                    <a:pt x="528" y="415"/>
                  </a:lnTo>
                  <a:lnTo>
                    <a:pt x="530" y="416"/>
                  </a:lnTo>
                  <a:lnTo>
                    <a:pt x="530" y="417"/>
                  </a:lnTo>
                  <a:lnTo>
                    <a:pt x="528" y="417"/>
                  </a:lnTo>
                  <a:lnTo>
                    <a:pt x="527" y="417"/>
                  </a:lnTo>
                  <a:lnTo>
                    <a:pt x="527" y="419"/>
                  </a:lnTo>
                  <a:lnTo>
                    <a:pt x="528" y="420"/>
                  </a:lnTo>
                  <a:lnTo>
                    <a:pt x="528" y="421"/>
                  </a:lnTo>
                  <a:lnTo>
                    <a:pt x="528" y="423"/>
                  </a:lnTo>
                  <a:lnTo>
                    <a:pt x="527" y="423"/>
                  </a:lnTo>
                  <a:lnTo>
                    <a:pt x="527" y="422"/>
                  </a:lnTo>
                  <a:lnTo>
                    <a:pt x="527" y="421"/>
                  </a:lnTo>
                  <a:lnTo>
                    <a:pt x="526" y="420"/>
                  </a:lnTo>
                  <a:lnTo>
                    <a:pt x="526" y="421"/>
                  </a:lnTo>
                  <a:lnTo>
                    <a:pt x="525" y="421"/>
                  </a:lnTo>
                  <a:lnTo>
                    <a:pt x="525" y="422"/>
                  </a:lnTo>
                  <a:lnTo>
                    <a:pt x="524" y="422"/>
                  </a:lnTo>
                  <a:lnTo>
                    <a:pt x="524" y="421"/>
                  </a:lnTo>
                  <a:lnTo>
                    <a:pt x="524" y="420"/>
                  </a:lnTo>
                  <a:lnTo>
                    <a:pt x="522" y="419"/>
                  </a:lnTo>
                  <a:lnTo>
                    <a:pt x="522" y="417"/>
                  </a:lnTo>
                  <a:lnTo>
                    <a:pt x="521" y="419"/>
                  </a:lnTo>
                  <a:lnTo>
                    <a:pt x="521" y="420"/>
                  </a:lnTo>
                  <a:lnTo>
                    <a:pt x="521" y="422"/>
                  </a:lnTo>
                  <a:lnTo>
                    <a:pt x="522" y="423"/>
                  </a:lnTo>
                  <a:lnTo>
                    <a:pt x="522" y="426"/>
                  </a:lnTo>
                  <a:lnTo>
                    <a:pt x="522" y="427"/>
                  </a:lnTo>
                  <a:lnTo>
                    <a:pt x="521" y="427"/>
                  </a:lnTo>
                  <a:lnTo>
                    <a:pt x="521" y="426"/>
                  </a:lnTo>
                  <a:lnTo>
                    <a:pt x="520" y="425"/>
                  </a:lnTo>
                  <a:lnTo>
                    <a:pt x="520" y="423"/>
                  </a:lnTo>
                  <a:lnTo>
                    <a:pt x="519" y="422"/>
                  </a:lnTo>
                  <a:lnTo>
                    <a:pt x="519" y="419"/>
                  </a:lnTo>
                  <a:lnTo>
                    <a:pt x="518" y="419"/>
                  </a:lnTo>
                  <a:lnTo>
                    <a:pt x="518" y="420"/>
                  </a:lnTo>
                  <a:lnTo>
                    <a:pt x="516" y="420"/>
                  </a:lnTo>
                  <a:lnTo>
                    <a:pt x="516" y="419"/>
                  </a:lnTo>
                  <a:lnTo>
                    <a:pt x="516" y="416"/>
                  </a:lnTo>
                  <a:lnTo>
                    <a:pt x="515" y="416"/>
                  </a:lnTo>
                  <a:lnTo>
                    <a:pt x="515" y="419"/>
                  </a:lnTo>
                  <a:lnTo>
                    <a:pt x="515" y="420"/>
                  </a:lnTo>
                  <a:lnTo>
                    <a:pt x="515" y="421"/>
                  </a:lnTo>
                  <a:lnTo>
                    <a:pt x="515" y="422"/>
                  </a:lnTo>
                  <a:lnTo>
                    <a:pt x="514" y="422"/>
                  </a:lnTo>
                  <a:lnTo>
                    <a:pt x="513" y="422"/>
                  </a:lnTo>
                  <a:lnTo>
                    <a:pt x="513" y="421"/>
                  </a:lnTo>
                  <a:lnTo>
                    <a:pt x="511" y="425"/>
                  </a:lnTo>
                  <a:lnTo>
                    <a:pt x="510" y="426"/>
                  </a:lnTo>
                  <a:lnTo>
                    <a:pt x="510" y="421"/>
                  </a:lnTo>
                  <a:lnTo>
                    <a:pt x="509" y="421"/>
                  </a:lnTo>
                  <a:lnTo>
                    <a:pt x="509" y="423"/>
                  </a:lnTo>
                  <a:lnTo>
                    <a:pt x="509" y="425"/>
                  </a:lnTo>
                  <a:lnTo>
                    <a:pt x="508" y="425"/>
                  </a:lnTo>
                  <a:lnTo>
                    <a:pt x="508" y="426"/>
                  </a:lnTo>
                  <a:lnTo>
                    <a:pt x="508" y="427"/>
                  </a:lnTo>
                  <a:lnTo>
                    <a:pt x="507" y="427"/>
                  </a:lnTo>
                  <a:lnTo>
                    <a:pt x="507" y="428"/>
                  </a:lnTo>
                  <a:lnTo>
                    <a:pt x="505" y="429"/>
                  </a:lnTo>
                  <a:lnTo>
                    <a:pt x="504" y="429"/>
                  </a:lnTo>
                  <a:lnTo>
                    <a:pt x="504" y="428"/>
                  </a:lnTo>
                  <a:lnTo>
                    <a:pt x="503" y="428"/>
                  </a:lnTo>
                  <a:lnTo>
                    <a:pt x="503" y="427"/>
                  </a:lnTo>
                  <a:lnTo>
                    <a:pt x="503" y="426"/>
                  </a:lnTo>
                  <a:lnTo>
                    <a:pt x="503" y="425"/>
                  </a:lnTo>
                  <a:lnTo>
                    <a:pt x="502" y="425"/>
                  </a:lnTo>
                  <a:lnTo>
                    <a:pt x="502" y="426"/>
                  </a:lnTo>
                  <a:lnTo>
                    <a:pt x="502" y="425"/>
                  </a:lnTo>
                  <a:lnTo>
                    <a:pt x="502" y="423"/>
                  </a:lnTo>
                  <a:lnTo>
                    <a:pt x="502" y="422"/>
                  </a:lnTo>
                  <a:lnTo>
                    <a:pt x="501" y="422"/>
                  </a:lnTo>
                  <a:lnTo>
                    <a:pt x="499" y="422"/>
                  </a:lnTo>
                  <a:lnTo>
                    <a:pt x="499" y="423"/>
                  </a:lnTo>
                  <a:lnTo>
                    <a:pt x="498" y="423"/>
                  </a:lnTo>
                  <a:lnTo>
                    <a:pt x="498" y="425"/>
                  </a:lnTo>
                  <a:lnTo>
                    <a:pt x="498" y="426"/>
                  </a:lnTo>
                  <a:lnTo>
                    <a:pt x="499" y="426"/>
                  </a:lnTo>
                  <a:lnTo>
                    <a:pt x="498" y="427"/>
                  </a:lnTo>
                  <a:lnTo>
                    <a:pt x="498" y="428"/>
                  </a:lnTo>
                  <a:lnTo>
                    <a:pt x="499" y="428"/>
                  </a:lnTo>
                  <a:lnTo>
                    <a:pt x="498" y="429"/>
                  </a:lnTo>
                  <a:lnTo>
                    <a:pt x="497" y="429"/>
                  </a:lnTo>
                  <a:lnTo>
                    <a:pt x="497" y="428"/>
                  </a:lnTo>
                  <a:lnTo>
                    <a:pt x="496" y="428"/>
                  </a:lnTo>
                  <a:lnTo>
                    <a:pt x="495" y="427"/>
                  </a:lnTo>
                  <a:lnTo>
                    <a:pt x="495" y="428"/>
                  </a:lnTo>
                  <a:lnTo>
                    <a:pt x="493" y="428"/>
                  </a:lnTo>
                  <a:lnTo>
                    <a:pt x="492" y="429"/>
                  </a:lnTo>
                  <a:lnTo>
                    <a:pt x="492" y="428"/>
                  </a:lnTo>
                  <a:lnTo>
                    <a:pt x="491" y="428"/>
                  </a:lnTo>
                  <a:lnTo>
                    <a:pt x="491" y="426"/>
                  </a:lnTo>
                  <a:lnTo>
                    <a:pt x="490" y="426"/>
                  </a:lnTo>
                  <a:lnTo>
                    <a:pt x="489" y="427"/>
                  </a:lnTo>
                  <a:lnTo>
                    <a:pt x="490" y="427"/>
                  </a:lnTo>
                  <a:lnTo>
                    <a:pt x="490" y="428"/>
                  </a:lnTo>
                  <a:lnTo>
                    <a:pt x="490" y="429"/>
                  </a:lnTo>
                  <a:lnTo>
                    <a:pt x="489" y="428"/>
                  </a:lnTo>
                  <a:lnTo>
                    <a:pt x="487" y="428"/>
                  </a:lnTo>
                  <a:lnTo>
                    <a:pt x="486" y="428"/>
                  </a:lnTo>
                  <a:lnTo>
                    <a:pt x="486" y="427"/>
                  </a:lnTo>
                  <a:lnTo>
                    <a:pt x="485" y="427"/>
                  </a:lnTo>
                  <a:lnTo>
                    <a:pt x="484" y="427"/>
                  </a:lnTo>
                  <a:lnTo>
                    <a:pt x="483" y="427"/>
                  </a:lnTo>
                  <a:lnTo>
                    <a:pt x="483" y="428"/>
                  </a:lnTo>
                  <a:lnTo>
                    <a:pt x="481" y="428"/>
                  </a:lnTo>
                  <a:lnTo>
                    <a:pt x="481" y="429"/>
                  </a:lnTo>
                  <a:lnTo>
                    <a:pt x="483" y="429"/>
                  </a:lnTo>
                  <a:lnTo>
                    <a:pt x="484" y="429"/>
                  </a:lnTo>
                  <a:lnTo>
                    <a:pt x="485" y="431"/>
                  </a:lnTo>
                  <a:lnTo>
                    <a:pt x="486" y="431"/>
                  </a:lnTo>
                  <a:lnTo>
                    <a:pt x="487" y="429"/>
                  </a:lnTo>
                  <a:lnTo>
                    <a:pt x="489" y="429"/>
                  </a:lnTo>
                  <a:lnTo>
                    <a:pt x="490" y="429"/>
                  </a:lnTo>
                  <a:lnTo>
                    <a:pt x="491" y="429"/>
                  </a:lnTo>
                  <a:lnTo>
                    <a:pt x="492" y="431"/>
                  </a:lnTo>
                  <a:lnTo>
                    <a:pt x="493" y="431"/>
                  </a:lnTo>
                  <a:lnTo>
                    <a:pt x="495" y="431"/>
                  </a:lnTo>
                  <a:lnTo>
                    <a:pt x="499" y="431"/>
                  </a:lnTo>
                  <a:lnTo>
                    <a:pt x="501" y="431"/>
                  </a:lnTo>
                  <a:lnTo>
                    <a:pt x="501" y="432"/>
                  </a:lnTo>
                  <a:lnTo>
                    <a:pt x="499" y="432"/>
                  </a:lnTo>
                  <a:lnTo>
                    <a:pt x="498" y="432"/>
                  </a:lnTo>
                  <a:lnTo>
                    <a:pt x="497" y="432"/>
                  </a:lnTo>
                  <a:lnTo>
                    <a:pt x="496" y="432"/>
                  </a:lnTo>
                  <a:lnTo>
                    <a:pt x="496" y="433"/>
                  </a:lnTo>
                  <a:lnTo>
                    <a:pt x="497" y="433"/>
                  </a:lnTo>
                  <a:lnTo>
                    <a:pt x="497" y="434"/>
                  </a:lnTo>
                  <a:lnTo>
                    <a:pt x="497" y="435"/>
                  </a:lnTo>
                  <a:lnTo>
                    <a:pt x="496" y="434"/>
                  </a:lnTo>
                  <a:lnTo>
                    <a:pt x="495" y="433"/>
                  </a:lnTo>
                  <a:lnTo>
                    <a:pt x="495" y="432"/>
                  </a:lnTo>
                  <a:lnTo>
                    <a:pt x="493" y="432"/>
                  </a:lnTo>
                  <a:lnTo>
                    <a:pt x="492" y="432"/>
                  </a:lnTo>
                  <a:lnTo>
                    <a:pt x="493" y="433"/>
                  </a:lnTo>
                  <a:lnTo>
                    <a:pt x="493" y="434"/>
                  </a:lnTo>
                  <a:lnTo>
                    <a:pt x="492" y="434"/>
                  </a:lnTo>
                  <a:lnTo>
                    <a:pt x="492" y="433"/>
                  </a:lnTo>
                  <a:lnTo>
                    <a:pt x="491" y="433"/>
                  </a:lnTo>
                  <a:lnTo>
                    <a:pt x="491" y="432"/>
                  </a:lnTo>
                  <a:lnTo>
                    <a:pt x="491" y="433"/>
                  </a:lnTo>
                  <a:lnTo>
                    <a:pt x="490" y="433"/>
                  </a:lnTo>
                  <a:lnTo>
                    <a:pt x="490" y="432"/>
                  </a:lnTo>
                  <a:lnTo>
                    <a:pt x="489" y="432"/>
                  </a:lnTo>
                  <a:lnTo>
                    <a:pt x="487" y="432"/>
                  </a:lnTo>
                  <a:lnTo>
                    <a:pt x="489" y="432"/>
                  </a:lnTo>
                  <a:lnTo>
                    <a:pt x="489" y="433"/>
                  </a:lnTo>
                  <a:lnTo>
                    <a:pt x="489" y="434"/>
                  </a:lnTo>
                  <a:lnTo>
                    <a:pt x="489" y="435"/>
                  </a:lnTo>
                  <a:lnTo>
                    <a:pt x="490" y="435"/>
                  </a:lnTo>
                  <a:lnTo>
                    <a:pt x="490" y="437"/>
                  </a:lnTo>
                  <a:lnTo>
                    <a:pt x="490" y="438"/>
                  </a:lnTo>
                  <a:lnTo>
                    <a:pt x="489" y="438"/>
                  </a:lnTo>
                  <a:lnTo>
                    <a:pt x="489" y="437"/>
                  </a:lnTo>
                  <a:lnTo>
                    <a:pt x="487" y="437"/>
                  </a:lnTo>
                  <a:lnTo>
                    <a:pt x="487" y="435"/>
                  </a:lnTo>
                  <a:lnTo>
                    <a:pt x="487" y="434"/>
                  </a:lnTo>
                  <a:lnTo>
                    <a:pt x="486" y="434"/>
                  </a:lnTo>
                  <a:lnTo>
                    <a:pt x="486" y="433"/>
                  </a:lnTo>
                  <a:lnTo>
                    <a:pt x="485" y="433"/>
                  </a:lnTo>
                  <a:lnTo>
                    <a:pt x="485" y="432"/>
                  </a:lnTo>
                  <a:lnTo>
                    <a:pt x="484" y="432"/>
                  </a:lnTo>
                  <a:lnTo>
                    <a:pt x="484" y="433"/>
                  </a:lnTo>
                  <a:lnTo>
                    <a:pt x="484" y="434"/>
                  </a:lnTo>
                  <a:lnTo>
                    <a:pt x="484" y="435"/>
                  </a:lnTo>
                  <a:lnTo>
                    <a:pt x="484" y="437"/>
                  </a:lnTo>
                  <a:lnTo>
                    <a:pt x="484" y="435"/>
                  </a:lnTo>
                  <a:lnTo>
                    <a:pt x="483" y="435"/>
                  </a:lnTo>
                  <a:lnTo>
                    <a:pt x="483" y="434"/>
                  </a:lnTo>
                  <a:lnTo>
                    <a:pt x="483" y="433"/>
                  </a:lnTo>
                  <a:lnTo>
                    <a:pt x="481" y="433"/>
                  </a:lnTo>
                  <a:lnTo>
                    <a:pt x="480" y="433"/>
                  </a:lnTo>
                  <a:lnTo>
                    <a:pt x="480" y="434"/>
                  </a:lnTo>
                  <a:lnTo>
                    <a:pt x="481" y="434"/>
                  </a:lnTo>
                  <a:lnTo>
                    <a:pt x="481" y="435"/>
                  </a:lnTo>
                  <a:lnTo>
                    <a:pt x="481" y="437"/>
                  </a:lnTo>
                  <a:lnTo>
                    <a:pt x="480" y="437"/>
                  </a:lnTo>
                  <a:lnTo>
                    <a:pt x="480" y="438"/>
                  </a:lnTo>
                  <a:lnTo>
                    <a:pt x="480" y="439"/>
                  </a:lnTo>
                  <a:lnTo>
                    <a:pt x="480" y="438"/>
                  </a:lnTo>
                  <a:lnTo>
                    <a:pt x="479" y="438"/>
                  </a:lnTo>
                  <a:lnTo>
                    <a:pt x="479" y="437"/>
                  </a:lnTo>
                  <a:lnTo>
                    <a:pt x="478" y="435"/>
                  </a:lnTo>
                  <a:lnTo>
                    <a:pt x="478" y="437"/>
                  </a:lnTo>
                  <a:lnTo>
                    <a:pt x="477" y="437"/>
                  </a:lnTo>
                  <a:lnTo>
                    <a:pt x="477" y="435"/>
                  </a:lnTo>
                  <a:lnTo>
                    <a:pt x="477" y="434"/>
                  </a:lnTo>
                  <a:lnTo>
                    <a:pt x="475" y="433"/>
                  </a:lnTo>
                  <a:lnTo>
                    <a:pt x="475" y="431"/>
                  </a:lnTo>
                  <a:lnTo>
                    <a:pt x="475" y="429"/>
                  </a:lnTo>
                  <a:lnTo>
                    <a:pt x="475" y="428"/>
                  </a:lnTo>
                  <a:lnTo>
                    <a:pt x="475" y="427"/>
                  </a:lnTo>
                  <a:lnTo>
                    <a:pt x="477" y="427"/>
                  </a:lnTo>
                  <a:lnTo>
                    <a:pt x="477" y="426"/>
                  </a:lnTo>
                  <a:lnTo>
                    <a:pt x="475" y="426"/>
                  </a:lnTo>
                  <a:lnTo>
                    <a:pt x="475" y="427"/>
                  </a:lnTo>
                  <a:lnTo>
                    <a:pt x="475" y="428"/>
                  </a:lnTo>
                  <a:lnTo>
                    <a:pt x="474" y="429"/>
                  </a:lnTo>
                  <a:lnTo>
                    <a:pt x="474" y="431"/>
                  </a:lnTo>
                  <a:lnTo>
                    <a:pt x="474" y="432"/>
                  </a:lnTo>
                  <a:lnTo>
                    <a:pt x="474" y="433"/>
                  </a:lnTo>
                  <a:lnTo>
                    <a:pt x="474" y="435"/>
                  </a:lnTo>
                  <a:lnTo>
                    <a:pt x="474" y="437"/>
                  </a:lnTo>
                  <a:lnTo>
                    <a:pt x="475" y="437"/>
                  </a:lnTo>
                  <a:lnTo>
                    <a:pt x="475" y="438"/>
                  </a:lnTo>
                  <a:lnTo>
                    <a:pt x="475" y="439"/>
                  </a:lnTo>
                  <a:lnTo>
                    <a:pt x="474" y="440"/>
                  </a:lnTo>
                  <a:lnTo>
                    <a:pt x="473" y="440"/>
                  </a:lnTo>
                  <a:lnTo>
                    <a:pt x="472" y="439"/>
                  </a:lnTo>
                  <a:lnTo>
                    <a:pt x="473" y="438"/>
                  </a:lnTo>
                  <a:lnTo>
                    <a:pt x="472" y="437"/>
                  </a:lnTo>
                  <a:lnTo>
                    <a:pt x="471" y="438"/>
                  </a:lnTo>
                  <a:lnTo>
                    <a:pt x="472" y="439"/>
                  </a:lnTo>
                  <a:lnTo>
                    <a:pt x="471" y="439"/>
                  </a:lnTo>
                  <a:lnTo>
                    <a:pt x="469" y="439"/>
                  </a:lnTo>
                  <a:lnTo>
                    <a:pt x="468" y="439"/>
                  </a:lnTo>
                  <a:lnTo>
                    <a:pt x="468" y="438"/>
                  </a:lnTo>
                  <a:lnTo>
                    <a:pt x="467" y="439"/>
                  </a:lnTo>
                  <a:lnTo>
                    <a:pt x="466" y="440"/>
                  </a:lnTo>
                  <a:lnTo>
                    <a:pt x="465" y="440"/>
                  </a:lnTo>
                  <a:lnTo>
                    <a:pt x="465" y="441"/>
                  </a:lnTo>
                  <a:lnTo>
                    <a:pt x="466" y="443"/>
                  </a:lnTo>
                  <a:lnTo>
                    <a:pt x="467" y="444"/>
                  </a:lnTo>
                  <a:lnTo>
                    <a:pt x="468" y="445"/>
                  </a:lnTo>
                  <a:lnTo>
                    <a:pt x="467" y="445"/>
                  </a:lnTo>
                  <a:lnTo>
                    <a:pt x="466" y="445"/>
                  </a:lnTo>
                  <a:lnTo>
                    <a:pt x="465" y="444"/>
                  </a:lnTo>
                  <a:lnTo>
                    <a:pt x="463" y="444"/>
                  </a:lnTo>
                  <a:lnTo>
                    <a:pt x="462" y="443"/>
                  </a:lnTo>
                  <a:lnTo>
                    <a:pt x="461" y="441"/>
                  </a:lnTo>
                  <a:lnTo>
                    <a:pt x="460" y="443"/>
                  </a:lnTo>
                  <a:lnTo>
                    <a:pt x="460" y="444"/>
                  </a:lnTo>
                  <a:lnTo>
                    <a:pt x="460" y="445"/>
                  </a:lnTo>
                  <a:lnTo>
                    <a:pt x="460" y="446"/>
                  </a:lnTo>
                  <a:lnTo>
                    <a:pt x="461" y="446"/>
                  </a:lnTo>
                  <a:lnTo>
                    <a:pt x="461" y="447"/>
                  </a:lnTo>
                  <a:lnTo>
                    <a:pt x="463" y="447"/>
                  </a:lnTo>
                  <a:lnTo>
                    <a:pt x="465" y="447"/>
                  </a:lnTo>
                  <a:lnTo>
                    <a:pt x="466" y="447"/>
                  </a:lnTo>
                  <a:lnTo>
                    <a:pt x="467" y="447"/>
                  </a:lnTo>
                  <a:lnTo>
                    <a:pt x="467" y="449"/>
                  </a:lnTo>
                  <a:lnTo>
                    <a:pt x="468" y="449"/>
                  </a:lnTo>
                  <a:lnTo>
                    <a:pt x="469" y="449"/>
                  </a:lnTo>
                  <a:lnTo>
                    <a:pt x="471" y="449"/>
                  </a:lnTo>
                  <a:lnTo>
                    <a:pt x="473" y="449"/>
                  </a:lnTo>
                  <a:lnTo>
                    <a:pt x="474" y="449"/>
                  </a:lnTo>
                  <a:lnTo>
                    <a:pt x="475" y="449"/>
                  </a:lnTo>
                  <a:lnTo>
                    <a:pt x="477" y="450"/>
                  </a:lnTo>
                  <a:lnTo>
                    <a:pt x="478" y="450"/>
                  </a:lnTo>
                  <a:lnTo>
                    <a:pt x="479" y="450"/>
                  </a:lnTo>
                  <a:lnTo>
                    <a:pt x="480" y="450"/>
                  </a:lnTo>
                  <a:lnTo>
                    <a:pt x="481" y="450"/>
                  </a:lnTo>
                  <a:lnTo>
                    <a:pt x="481" y="451"/>
                  </a:lnTo>
                  <a:lnTo>
                    <a:pt x="483" y="451"/>
                  </a:lnTo>
                  <a:lnTo>
                    <a:pt x="484" y="451"/>
                  </a:lnTo>
                  <a:lnTo>
                    <a:pt x="485" y="451"/>
                  </a:lnTo>
                  <a:lnTo>
                    <a:pt x="486" y="451"/>
                  </a:lnTo>
                  <a:lnTo>
                    <a:pt x="492" y="451"/>
                  </a:lnTo>
                  <a:lnTo>
                    <a:pt x="493" y="451"/>
                  </a:lnTo>
                  <a:lnTo>
                    <a:pt x="495" y="451"/>
                  </a:lnTo>
                  <a:lnTo>
                    <a:pt x="496" y="451"/>
                  </a:lnTo>
                  <a:lnTo>
                    <a:pt x="498" y="451"/>
                  </a:lnTo>
                  <a:lnTo>
                    <a:pt x="499" y="451"/>
                  </a:lnTo>
                  <a:lnTo>
                    <a:pt x="501" y="452"/>
                  </a:lnTo>
                  <a:lnTo>
                    <a:pt x="502" y="452"/>
                  </a:lnTo>
                  <a:lnTo>
                    <a:pt x="503" y="451"/>
                  </a:lnTo>
                  <a:lnTo>
                    <a:pt x="504" y="451"/>
                  </a:lnTo>
                  <a:lnTo>
                    <a:pt x="505" y="452"/>
                  </a:lnTo>
                  <a:lnTo>
                    <a:pt x="507" y="452"/>
                  </a:lnTo>
                  <a:lnTo>
                    <a:pt x="507" y="451"/>
                  </a:lnTo>
                  <a:lnTo>
                    <a:pt x="507" y="450"/>
                  </a:lnTo>
                  <a:lnTo>
                    <a:pt x="508" y="450"/>
                  </a:lnTo>
                  <a:lnTo>
                    <a:pt x="508" y="451"/>
                  </a:lnTo>
                  <a:lnTo>
                    <a:pt x="510" y="451"/>
                  </a:lnTo>
                  <a:lnTo>
                    <a:pt x="511" y="451"/>
                  </a:lnTo>
                  <a:lnTo>
                    <a:pt x="511" y="452"/>
                  </a:lnTo>
                  <a:lnTo>
                    <a:pt x="510" y="452"/>
                  </a:lnTo>
                  <a:lnTo>
                    <a:pt x="510" y="454"/>
                  </a:lnTo>
                  <a:lnTo>
                    <a:pt x="511" y="454"/>
                  </a:lnTo>
                  <a:lnTo>
                    <a:pt x="513" y="454"/>
                  </a:lnTo>
                  <a:lnTo>
                    <a:pt x="514" y="455"/>
                  </a:lnTo>
                  <a:lnTo>
                    <a:pt x="515" y="454"/>
                  </a:lnTo>
                  <a:lnTo>
                    <a:pt x="516" y="454"/>
                  </a:lnTo>
                  <a:lnTo>
                    <a:pt x="518" y="454"/>
                  </a:lnTo>
                  <a:lnTo>
                    <a:pt x="518" y="452"/>
                  </a:lnTo>
                  <a:lnTo>
                    <a:pt x="519" y="452"/>
                  </a:lnTo>
                  <a:lnTo>
                    <a:pt x="520" y="454"/>
                  </a:lnTo>
                  <a:lnTo>
                    <a:pt x="519" y="454"/>
                  </a:lnTo>
                  <a:lnTo>
                    <a:pt x="519" y="455"/>
                  </a:lnTo>
                  <a:lnTo>
                    <a:pt x="520" y="455"/>
                  </a:lnTo>
                  <a:lnTo>
                    <a:pt x="521" y="456"/>
                  </a:lnTo>
                  <a:lnTo>
                    <a:pt x="522" y="456"/>
                  </a:lnTo>
                  <a:lnTo>
                    <a:pt x="522" y="455"/>
                  </a:lnTo>
                  <a:lnTo>
                    <a:pt x="524" y="455"/>
                  </a:lnTo>
                  <a:lnTo>
                    <a:pt x="524" y="456"/>
                  </a:lnTo>
                  <a:lnTo>
                    <a:pt x="525" y="456"/>
                  </a:lnTo>
                  <a:lnTo>
                    <a:pt x="526" y="456"/>
                  </a:lnTo>
                  <a:lnTo>
                    <a:pt x="527" y="455"/>
                  </a:lnTo>
                  <a:lnTo>
                    <a:pt x="528" y="456"/>
                  </a:lnTo>
                  <a:lnTo>
                    <a:pt x="531" y="456"/>
                  </a:lnTo>
                  <a:lnTo>
                    <a:pt x="532" y="456"/>
                  </a:lnTo>
                  <a:lnTo>
                    <a:pt x="536" y="455"/>
                  </a:lnTo>
                  <a:lnTo>
                    <a:pt x="537" y="456"/>
                  </a:lnTo>
                  <a:lnTo>
                    <a:pt x="536" y="456"/>
                  </a:lnTo>
                  <a:lnTo>
                    <a:pt x="536" y="457"/>
                  </a:lnTo>
                  <a:lnTo>
                    <a:pt x="534" y="457"/>
                  </a:lnTo>
                  <a:lnTo>
                    <a:pt x="532" y="457"/>
                  </a:lnTo>
                  <a:lnTo>
                    <a:pt x="531" y="457"/>
                  </a:lnTo>
                  <a:lnTo>
                    <a:pt x="530" y="457"/>
                  </a:lnTo>
                  <a:lnTo>
                    <a:pt x="528" y="457"/>
                  </a:lnTo>
                  <a:lnTo>
                    <a:pt x="528" y="458"/>
                  </a:lnTo>
                  <a:lnTo>
                    <a:pt x="530" y="460"/>
                  </a:lnTo>
                  <a:lnTo>
                    <a:pt x="530" y="461"/>
                  </a:lnTo>
                  <a:lnTo>
                    <a:pt x="528" y="461"/>
                  </a:lnTo>
                  <a:lnTo>
                    <a:pt x="528" y="460"/>
                  </a:lnTo>
                  <a:lnTo>
                    <a:pt x="527" y="458"/>
                  </a:lnTo>
                  <a:lnTo>
                    <a:pt x="526" y="458"/>
                  </a:lnTo>
                  <a:lnTo>
                    <a:pt x="525" y="457"/>
                  </a:lnTo>
                  <a:lnTo>
                    <a:pt x="524" y="457"/>
                  </a:lnTo>
                  <a:lnTo>
                    <a:pt x="524" y="458"/>
                  </a:lnTo>
                  <a:lnTo>
                    <a:pt x="524" y="460"/>
                  </a:lnTo>
                  <a:lnTo>
                    <a:pt x="524" y="461"/>
                  </a:lnTo>
                  <a:lnTo>
                    <a:pt x="522" y="460"/>
                  </a:lnTo>
                  <a:lnTo>
                    <a:pt x="522" y="458"/>
                  </a:lnTo>
                  <a:lnTo>
                    <a:pt x="521" y="457"/>
                  </a:lnTo>
                  <a:lnTo>
                    <a:pt x="520" y="457"/>
                  </a:lnTo>
                  <a:lnTo>
                    <a:pt x="519" y="457"/>
                  </a:lnTo>
                  <a:lnTo>
                    <a:pt x="519" y="458"/>
                  </a:lnTo>
                  <a:lnTo>
                    <a:pt x="520" y="460"/>
                  </a:lnTo>
                  <a:lnTo>
                    <a:pt x="519" y="461"/>
                  </a:lnTo>
                  <a:lnTo>
                    <a:pt x="520" y="461"/>
                  </a:lnTo>
                  <a:lnTo>
                    <a:pt x="520" y="462"/>
                  </a:lnTo>
                  <a:lnTo>
                    <a:pt x="520" y="463"/>
                  </a:lnTo>
                  <a:lnTo>
                    <a:pt x="519" y="463"/>
                  </a:lnTo>
                  <a:lnTo>
                    <a:pt x="519" y="464"/>
                  </a:lnTo>
                  <a:lnTo>
                    <a:pt x="519" y="466"/>
                  </a:lnTo>
                  <a:lnTo>
                    <a:pt x="520" y="466"/>
                  </a:lnTo>
                  <a:lnTo>
                    <a:pt x="520" y="467"/>
                  </a:lnTo>
                  <a:lnTo>
                    <a:pt x="519" y="467"/>
                  </a:lnTo>
                  <a:lnTo>
                    <a:pt x="519" y="468"/>
                  </a:lnTo>
                  <a:lnTo>
                    <a:pt x="520" y="468"/>
                  </a:lnTo>
                  <a:lnTo>
                    <a:pt x="521" y="468"/>
                  </a:lnTo>
                  <a:lnTo>
                    <a:pt x="522" y="468"/>
                  </a:lnTo>
                  <a:lnTo>
                    <a:pt x="524" y="468"/>
                  </a:lnTo>
                  <a:lnTo>
                    <a:pt x="525" y="468"/>
                  </a:lnTo>
                  <a:lnTo>
                    <a:pt x="526" y="468"/>
                  </a:lnTo>
                  <a:lnTo>
                    <a:pt x="527" y="467"/>
                  </a:lnTo>
                  <a:lnTo>
                    <a:pt x="528" y="467"/>
                  </a:lnTo>
                  <a:lnTo>
                    <a:pt x="530" y="467"/>
                  </a:lnTo>
                  <a:lnTo>
                    <a:pt x="531" y="467"/>
                  </a:lnTo>
                  <a:lnTo>
                    <a:pt x="531" y="466"/>
                  </a:lnTo>
                  <a:lnTo>
                    <a:pt x="532" y="466"/>
                  </a:lnTo>
                  <a:lnTo>
                    <a:pt x="533" y="466"/>
                  </a:lnTo>
                  <a:lnTo>
                    <a:pt x="534" y="466"/>
                  </a:lnTo>
                  <a:lnTo>
                    <a:pt x="536" y="466"/>
                  </a:lnTo>
                  <a:lnTo>
                    <a:pt x="537" y="466"/>
                  </a:lnTo>
                  <a:lnTo>
                    <a:pt x="538" y="466"/>
                  </a:lnTo>
                  <a:lnTo>
                    <a:pt x="539" y="466"/>
                  </a:lnTo>
                  <a:lnTo>
                    <a:pt x="540" y="466"/>
                  </a:lnTo>
                  <a:lnTo>
                    <a:pt x="542" y="466"/>
                  </a:lnTo>
                  <a:lnTo>
                    <a:pt x="543" y="466"/>
                  </a:lnTo>
                  <a:lnTo>
                    <a:pt x="544" y="466"/>
                  </a:lnTo>
                  <a:lnTo>
                    <a:pt x="545" y="466"/>
                  </a:lnTo>
                  <a:lnTo>
                    <a:pt x="548" y="464"/>
                  </a:lnTo>
                  <a:lnTo>
                    <a:pt x="549" y="463"/>
                  </a:lnTo>
                  <a:lnTo>
                    <a:pt x="550" y="463"/>
                  </a:lnTo>
                  <a:lnTo>
                    <a:pt x="551" y="463"/>
                  </a:lnTo>
                  <a:lnTo>
                    <a:pt x="552" y="463"/>
                  </a:lnTo>
                  <a:lnTo>
                    <a:pt x="551" y="464"/>
                  </a:lnTo>
                  <a:lnTo>
                    <a:pt x="550" y="464"/>
                  </a:lnTo>
                  <a:lnTo>
                    <a:pt x="549" y="464"/>
                  </a:lnTo>
                  <a:lnTo>
                    <a:pt x="549" y="466"/>
                  </a:lnTo>
                  <a:lnTo>
                    <a:pt x="548" y="466"/>
                  </a:lnTo>
                  <a:lnTo>
                    <a:pt x="546" y="467"/>
                  </a:lnTo>
                  <a:lnTo>
                    <a:pt x="548" y="467"/>
                  </a:lnTo>
                  <a:lnTo>
                    <a:pt x="548" y="468"/>
                  </a:lnTo>
                  <a:lnTo>
                    <a:pt x="550" y="468"/>
                  </a:lnTo>
                  <a:lnTo>
                    <a:pt x="551" y="468"/>
                  </a:lnTo>
                  <a:lnTo>
                    <a:pt x="552" y="468"/>
                  </a:lnTo>
                  <a:lnTo>
                    <a:pt x="554" y="468"/>
                  </a:lnTo>
                  <a:lnTo>
                    <a:pt x="555" y="468"/>
                  </a:lnTo>
                  <a:lnTo>
                    <a:pt x="555" y="469"/>
                  </a:lnTo>
                  <a:lnTo>
                    <a:pt x="552" y="469"/>
                  </a:lnTo>
                  <a:lnTo>
                    <a:pt x="551" y="469"/>
                  </a:lnTo>
                  <a:lnTo>
                    <a:pt x="552" y="470"/>
                  </a:lnTo>
                  <a:lnTo>
                    <a:pt x="554" y="470"/>
                  </a:lnTo>
                  <a:lnTo>
                    <a:pt x="555" y="472"/>
                  </a:lnTo>
                  <a:lnTo>
                    <a:pt x="556" y="472"/>
                  </a:lnTo>
                  <a:lnTo>
                    <a:pt x="557" y="470"/>
                  </a:lnTo>
                  <a:lnTo>
                    <a:pt x="558" y="470"/>
                  </a:lnTo>
                  <a:lnTo>
                    <a:pt x="560" y="470"/>
                  </a:lnTo>
                  <a:lnTo>
                    <a:pt x="561" y="470"/>
                  </a:lnTo>
                  <a:lnTo>
                    <a:pt x="561" y="472"/>
                  </a:lnTo>
                  <a:lnTo>
                    <a:pt x="560" y="472"/>
                  </a:lnTo>
                  <a:lnTo>
                    <a:pt x="558" y="472"/>
                  </a:lnTo>
                  <a:lnTo>
                    <a:pt x="558" y="473"/>
                  </a:lnTo>
                  <a:lnTo>
                    <a:pt x="563" y="473"/>
                  </a:lnTo>
                  <a:lnTo>
                    <a:pt x="562" y="473"/>
                  </a:lnTo>
                  <a:lnTo>
                    <a:pt x="561" y="473"/>
                  </a:lnTo>
                  <a:lnTo>
                    <a:pt x="560" y="473"/>
                  </a:lnTo>
                  <a:lnTo>
                    <a:pt x="558" y="473"/>
                  </a:lnTo>
                  <a:lnTo>
                    <a:pt x="558" y="474"/>
                  </a:lnTo>
                  <a:lnTo>
                    <a:pt x="557" y="474"/>
                  </a:lnTo>
                  <a:lnTo>
                    <a:pt x="556" y="474"/>
                  </a:lnTo>
                  <a:lnTo>
                    <a:pt x="556" y="473"/>
                  </a:lnTo>
                  <a:lnTo>
                    <a:pt x="555" y="473"/>
                  </a:lnTo>
                  <a:lnTo>
                    <a:pt x="555" y="474"/>
                  </a:lnTo>
                  <a:lnTo>
                    <a:pt x="555" y="476"/>
                  </a:lnTo>
                  <a:lnTo>
                    <a:pt x="555" y="479"/>
                  </a:lnTo>
                  <a:lnTo>
                    <a:pt x="555" y="480"/>
                  </a:lnTo>
                  <a:lnTo>
                    <a:pt x="554" y="480"/>
                  </a:lnTo>
                  <a:lnTo>
                    <a:pt x="552" y="479"/>
                  </a:lnTo>
                  <a:lnTo>
                    <a:pt x="552" y="476"/>
                  </a:lnTo>
                  <a:lnTo>
                    <a:pt x="552" y="478"/>
                  </a:lnTo>
                  <a:lnTo>
                    <a:pt x="552" y="479"/>
                  </a:lnTo>
                  <a:lnTo>
                    <a:pt x="552" y="480"/>
                  </a:lnTo>
                  <a:lnTo>
                    <a:pt x="551" y="480"/>
                  </a:lnTo>
                  <a:lnTo>
                    <a:pt x="550" y="480"/>
                  </a:lnTo>
                  <a:lnTo>
                    <a:pt x="550" y="479"/>
                  </a:lnTo>
                  <a:lnTo>
                    <a:pt x="550" y="476"/>
                  </a:lnTo>
                  <a:lnTo>
                    <a:pt x="551" y="474"/>
                  </a:lnTo>
                  <a:lnTo>
                    <a:pt x="551" y="473"/>
                  </a:lnTo>
                  <a:lnTo>
                    <a:pt x="550" y="472"/>
                  </a:lnTo>
                  <a:lnTo>
                    <a:pt x="549" y="472"/>
                  </a:lnTo>
                  <a:lnTo>
                    <a:pt x="548" y="470"/>
                  </a:lnTo>
                  <a:lnTo>
                    <a:pt x="546" y="470"/>
                  </a:lnTo>
                  <a:lnTo>
                    <a:pt x="548" y="472"/>
                  </a:lnTo>
                  <a:lnTo>
                    <a:pt x="549" y="473"/>
                  </a:lnTo>
                  <a:lnTo>
                    <a:pt x="550" y="474"/>
                  </a:lnTo>
                  <a:lnTo>
                    <a:pt x="550" y="475"/>
                  </a:lnTo>
                  <a:lnTo>
                    <a:pt x="549" y="475"/>
                  </a:lnTo>
                  <a:lnTo>
                    <a:pt x="549" y="476"/>
                  </a:lnTo>
                  <a:lnTo>
                    <a:pt x="549" y="478"/>
                  </a:lnTo>
                  <a:lnTo>
                    <a:pt x="550" y="478"/>
                  </a:lnTo>
                  <a:lnTo>
                    <a:pt x="550" y="479"/>
                  </a:lnTo>
                  <a:lnTo>
                    <a:pt x="549" y="480"/>
                  </a:lnTo>
                  <a:lnTo>
                    <a:pt x="549" y="481"/>
                  </a:lnTo>
                  <a:lnTo>
                    <a:pt x="549" y="484"/>
                  </a:lnTo>
                  <a:lnTo>
                    <a:pt x="549" y="485"/>
                  </a:lnTo>
                  <a:lnTo>
                    <a:pt x="548" y="484"/>
                  </a:lnTo>
                  <a:lnTo>
                    <a:pt x="548" y="475"/>
                  </a:lnTo>
                  <a:lnTo>
                    <a:pt x="546" y="475"/>
                  </a:lnTo>
                  <a:lnTo>
                    <a:pt x="546" y="476"/>
                  </a:lnTo>
                  <a:lnTo>
                    <a:pt x="546" y="478"/>
                  </a:lnTo>
                  <a:lnTo>
                    <a:pt x="546" y="479"/>
                  </a:lnTo>
                  <a:lnTo>
                    <a:pt x="546" y="480"/>
                  </a:lnTo>
                  <a:lnTo>
                    <a:pt x="546" y="481"/>
                  </a:lnTo>
                  <a:lnTo>
                    <a:pt x="546" y="482"/>
                  </a:lnTo>
                  <a:lnTo>
                    <a:pt x="546" y="484"/>
                  </a:lnTo>
                  <a:lnTo>
                    <a:pt x="546" y="487"/>
                  </a:lnTo>
                  <a:lnTo>
                    <a:pt x="545" y="487"/>
                  </a:lnTo>
                  <a:lnTo>
                    <a:pt x="544" y="487"/>
                  </a:lnTo>
                  <a:lnTo>
                    <a:pt x="544" y="486"/>
                  </a:lnTo>
                  <a:lnTo>
                    <a:pt x="544" y="479"/>
                  </a:lnTo>
                  <a:lnTo>
                    <a:pt x="543" y="479"/>
                  </a:lnTo>
                  <a:lnTo>
                    <a:pt x="543" y="480"/>
                  </a:lnTo>
                  <a:lnTo>
                    <a:pt x="543" y="481"/>
                  </a:lnTo>
                  <a:lnTo>
                    <a:pt x="542" y="480"/>
                  </a:lnTo>
                  <a:lnTo>
                    <a:pt x="540" y="480"/>
                  </a:lnTo>
                  <a:lnTo>
                    <a:pt x="540" y="479"/>
                  </a:lnTo>
                  <a:lnTo>
                    <a:pt x="539" y="478"/>
                  </a:lnTo>
                  <a:lnTo>
                    <a:pt x="538" y="479"/>
                  </a:lnTo>
                  <a:lnTo>
                    <a:pt x="537" y="479"/>
                  </a:lnTo>
                  <a:lnTo>
                    <a:pt x="537" y="478"/>
                  </a:lnTo>
                  <a:lnTo>
                    <a:pt x="537" y="476"/>
                  </a:lnTo>
                  <a:lnTo>
                    <a:pt x="537" y="475"/>
                  </a:lnTo>
                  <a:lnTo>
                    <a:pt x="537" y="474"/>
                  </a:lnTo>
                  <a:lnTo>
                    <a:pt x="536" y="474"/>
                  </a:lnTo>
                  <a:lnTo>
                    <a:pt x="536" y="475"/>
                  </a:lnTo>
                  <a:lnTo>
                    <a:pt x="534" y="475"/>
                  </a:lnTo>
                  <a:lnTo>
                    <a:pt x="534" y="476"/>
                  </a:lnTo>
                  <a:lnTo>
                    <a:pt x="534" y="478"/>
                  </a:lnTo>
                  <a:lnTo>
                    <a:pt x="534" y="479"/>
                  </a:lnTo>
                  <a:lnTo>
                    <a:pt x="536" y="480"/>
                  </a:lnTo>
                  <a:lnTo>
                    <a:pt x="537" y="480"/>
                  </a:lnTo>
                  <a:lnTo>
                    <a:pt x="537" y="481"/>
                  </a:lnTo>
                  <a:lnTo>
                    <a:pt x="536" y="481"/>
                  </a:lnTo>
                  <a:lnTo>
                    <a:pt x="534" y="481"/>
                  </a:lnTo>
                  <a:lnTo>
                    <a:pt x="536" y="482"/>
                  </a:lnTo>
                  <a:lnTo>
                    <a:pt x="534" y="482"/>
                  </a:lnTo>
                  <a:lnTo>
                    <a:pt x="534" y="484"/>
                  </a:lnTo>
                  <a:lnTo>
                    <a:pt x="534" y="485"/>
                  </a:lnTo>
                  <a:lnTo>
                    <a:pt x="533" y="485"/>
                  </a:lnTo>
                  <a:lnTo>
                    <a:pt x="533" y="484"/>
                  </a:lnTo>
                  <a:lnTo>
                    <a:pt x="533" y="482"/>
                  </a:lnTo>
                  <a:lnTo>
                    <a:pt x="532" y="482"/>
                  </a:lnTo>
                  <a:lnTo>
                    <a:pt x="531" y="482"/>
                  </a:lnTo>
                  <a:lnTo>
                    <a:pt x="531" y="484"/>
                  </a:lnTo>
                  <a:lnTo>
                    <a:pt x="531" y="485"/>
                  </a:lnTo>
                  <a:lnTo>
                    <a:pt x="532" y="485"/>
                  </a:lnTo>
                  <a:lnTo>
                    <a:pt x="532" y="486"/>
                  </a:lnTo>
                  <a:lnTo>
                    <a:pt x="533" y="487"/>
                  </a:lnTo>
                  <a:lnTo>
                    <a:pt x="533" y="488"/>
                  </a:lnTo>
                  <a:lnTo>
                    <a:pt x="533" y="490"/>
                  </a:lnTo>
                  <a:lnTo>
                    <a:pt x="533" y="491"/>
                  </a:lnTo>
                  <a:lnTo>
                    <a:pt x="532" y="491"/>
                  </a:lnTo>
                  <a:lnTo>
                    <a:pt x="533" y="492"/>
                  </a:lnTo>
                  <a:lnTo>
                    <a:pt x="534" y="492"/>
                  </a:lnTo>
                  <a:lnTo>
                    <a:pt x="536" y="493"/>
                  </a:lnTo>
                  <a:lnTo>
                    <a:pt x="537" y="493"/>
                  </a:lnTo>
                  <a:lnTo>
                    <a:pt x="538" y="494"/>
                  </a:lnTo>
                  <a:lnTo>
                    <a:pt x="539" y="496"/>
                  </a:lnTo>
                  <a:lnTo>
                    <a:pt x="540" y="497"/>
                  </a:lnTo>
                  <a:lnTo>
                    <a:pt x="540" y="498"/>
                  </a:lnTo>
                  <a:lnTo>
                    <a:pt x="542" y="498"/>
                  </a:lnTo>
                  <a:lnTo>
                    <a:pt x="544" y="498"/>
                  </a:lnTo>
                  <a:lnTo>
                    <a:pt x="546" y="498"/>
                  </a:lnTo>
                  <a:lnTo>
                    <a:pt x="546" y="499"/>
                  </a:lnTo>
                  <a:lnTo>
                    <a:pt x="548" y="500"/>
                  </a:lnTo>
                  <a:lnTo>
                    <a:pt x="549" y="500"/>
                  </a:lnTo>
                  <a:lnTo>
                    <a:pt x="550" y="499"/>
                  </a:lnTo>
                  <a:lnTo>
                    <a:pt x="551" y="499"/>
                  </a:lnTo>
                  <a:lnTo>
                    <a:pt x="552" y="499"/>
                  </a:lnTo>
                  <a:lnTo>
                    <a:pt x="554" y="498"/>
                  </a:lnTo>
                  <a:lnTo>
                    <a:pt x="555" y="499"/>
                  </a:lnTo>
                  <a:lnTo>
                    <a:pt x="554" y="499"/>
                  </a:lnTo>
                  <a:lnTo>
                    <a:pt x="554" y="500"/>
                  </a:lnTo>
                  <a:lnTo>
                    <a:pt x="555" y="500"/>
                  </a:lnTo>
                  <a:lnTo>
                    <a:pt x="556" y="500"/>
                  </a:lnTo>
                  <a:lnTo>
                    <a:pt x="556" y="502"/>
                  </a:lnTo>
                  <a:lnTo>
                    <a:pt x="557" y="502"/>
                  </a:lnTo>
                  <a:lnTo>
                    <a:pt x="556" y="502"/>
                  </a:lnTo>
                  <a:lnTo>
                    <a:pt x="555" y="502"/>
                  </a:lnTo>
                  <a:lnTo>
                    <a:pt x="554" y="502"/>
                  </a:lnTo>
                  <a:lnTo>
                    <a:pt x="552" y="502"/>
                  </a:lnTo>
                  <a:lnTo>
                    <a:pt x="552" y="503"/>
                  </a:lnTo>
                  <a:lnTo>
                    <a:pt x="554" y="503"/>
                  </a:lnTo>
                  <a:lnTo>
                    <a:pt x="554" y="504"/>
                  </a:lnTo>
                  <a:lnTo>
                    <a:pt x="552" y="504"/>
                  </a:lnTo>
                  <a:lnTo>
                    <a:pt x="551" y="503"/>
                  </a:lnTo>
                  <a:lnTo>
                    <a:pt x="550" y="503"/>
                  </a:lnTo>
                  <a:lnTo>
                    <a:pt x="550" y="502"/>
                  </a:lnTo>
                  <a:lnTo>
                    <a:pt x="550" y="503"/>
                  </a:lnTo>
                  <a:lnTo>
                    <a:pt x="550" y="504"/>
                  </a:lnTo>
                  <a:lnTo>
                    <a:pt x="549" y="504"/>
                  </a:lnTo>
                  <a:lnTo>
                    <a:pt x="549" y="503"/>
                  </a:lnTo>
                  <a:lnTo>
                    <a:pt x="549" y="502"/>
                  </a:lnTo>
                  <a:lnTo>
                    <a:pt x="549" y="500"/>
                  </a:lnTo>
                  <a:lnTo>
                    <a:pt x="548" y="500"/>
                  </a:lnTo>
                  <a:lnTo>
                    <a:pt x="548" y="502"/>
                  </a:lnTo>
                  <a:lnTo>
                    <a:pt x="548" y="503"/>
                  </a:lnTo>
                  <a:lnTo>
                    <a:pt x="548" y="504"/>
                  </a:lnTo>
                  <a:lnTo>
                    <a:pt x="548" y="505"/>
                  </a:lnTo>
                  <a:lnTo>
                    <a:pt x="548" y="506"/>
                  </a:lnTo>
                  <a:lnTo>
                    <a:pt x="548" y="508"/>
                  </a:lnTo>
                  <a:lnTo>
                    <a:pt x="549" y="508"/>
                  </a:lnTo>
                  <a:lnTo>
                    <a:pt x="550" y="508"/>
                  </a:lnTo>
                  <a:lnTo>
                    <a:pt x="554" y="508"/>
                  </a:lnTo>
                  <a:lnTo>
                    <a:pt x="555" y="508"/>
                  </a:lnTo>
                  <a:lnTo>
                    <a:pt x="555" y="506"/>
                  </a:lnTo>
                  <a:lnTo>
                    <a:pt x="556" y="506"/>
                  </a:lnTo>
                  <a:lnTo>
                    <a:pt x="557" y="506"/>
                  </a:lnTo>
                  <a:lnTo>
                    <a:pt x="558" y="506"/>
                  </a:lnTo>
                  <a:lnTo>
                    <a:pt x="558" y="505"/>
                  </a:lnTo>
                  <a:lnTo>
                    <a:pt x="558" y="506"/>
                  </a:lnTo>
                  <a:lnTo>
                    <a:pt x="560" y="506"/>
                  </a:lnTo>
                  <a:lnTo>
                    <a:pt x="560" y="505"/>
                  </a:lnTo>
                  <a:lnTo>
                    <a:pt x="561" y="505"/>
                  </a:lnTo>
                  <a:lnTo>
                    <a:pt x="561" y="506"/>
                  </a:lnTo>
                  <a:lnTo>
                    <a:pt x="563" y="505"/>
                  </a:lnTo>
                  <a:lnTo>
                    <a:pt x="566" y="505"/>
                  </a:lnTo>
                  <a:lnTo>
                    <a:pt x="567" y="505"/>
                  </a:lnTo>
                  <a:lnTo>
                    <a:pt x="567" y="506"/>
                  </a:lnTo>
                  <a:lnTo>
                    <a:pt x="566" y="506"/>
                  </a:lnTo>
                  <a:lnTo>
                    <a:pt x="564" y="506"/>
                  </a:lnTo>
                  <a:lnTo>
                    <a:pt x="563" y="506"/>
                  </a:lnTo>
                  <a:lnTo>
                    <a:pt x="563" y="508"/>
                  </a:lnTo>
                  <a:lnTo>
                    <a:pt x="563" y="509"/>
                  </a:lnTo>
                  <a:lnTo>
                    <a:pt x="562" y="509"/>
                  </a:lnTo>
                  <a:lnTo>
                    <a:pt x="561" y="509"/>
                  </a:lnTo>
                  <a:lnTo>
                    <a:pt x="560" y="508"/>
                  </a:lnTo>
                  <a:lnTo>
                    <a:pt x="558" y="508"/>
                  </a:lnTo>
                  <a:lnTo>
                    <a:pt x="558" y="509"/>
                  </a:lnTo>
                  <a:lnTo>
                    <a:pt x="560" y="509"/>
                  </a:lnTo>
                  <a:lnTo>
                    <a:pt x="560" y="510"/>
                  </a:lnTo>
                  <a:lnTo>
                    <a:pt x="558" y="510"/>
                  </a:lnTo>
                  <a:lnTo>
                    <a:pt x="558" y="509"/>
                  </a:lnTo>
                  <a:lnTo>
                    <a:pt x="557" y="510"/>
                  </a:lnTo>
                  <a:lnTo>
                    <a:pt x="558" y="511"/>
                  </a:lnTo>
                  <a:lnTo>
                    <a:pt x="557" y="511"/>
                  </a:lnTo>
                  <a:lnTo>
                    <a:pt x="557" y="510"/>
                  </a:lnTo>
                  <a:lnTo>
                    <a:pt x="557" y="509"/>
                  </a:lnTo>
                  <a:lnTo>
                    <a:pt x="556" y="509"/>
                  </a:lnTo>
                  <a:lnTo>
                    <a:pt x="554" y="509"/>
                  </a:lnTo>
                  <a:lnTo>
                    <a:pt x="556" y="510"/>
                  </a:lnTo>
                  <a:lnTo>
                    <a:pt x="556" y="511"/>
                  </a:lnTo>
                  <a:lnTo>
                    <a:pt x="556" y="512"/>
                  </a:lnTo>
                  <a:lnTo>
                    <a:pt x="555" y="512"/>
                  </a:lnTo>
                  <a:lnTo>
                    <a:pt x="555" y="511"/>
                  </a:lnTo>
                  <a:lnTo>
                    <a:pt x="555" y="510"/>
                  </a:lnTo>
                  <a:lnTo>
                    <a:pt x="554" y="510"/>
                  </a:lnTo>
                  <a:lnTo>
                    <a:pt x="552" y="510"/>
                  </a:lnTo>
                  <a:lnTo>
                    <a:pt x="551" y="509"/>
                  </a:lnTo>
                  <a:lnTo>
                    <a:pt x="551" y="510"/>
                  </a:lnTo>
                  <a:lnTo>
                    <a:pt x="552" y="511"/>
                  </a:lnTo>
                  <a:lnTo>
                    <a:pt x="554" y="512"/>
                  </a:lnTo>
                  <a:lnTo>
                    <a:pt x="552" y="514"/>
                  </a:lnTo>
                  <a:lnTo>
                    <a:pt x="554" y="515"/>
                  </a:lnTo>
                  <a:lnTo>
                    <a:pt x="554" y="516"/>
                  </a:lnTo>
                  <a:lnTo>
                    <a:pt x="555" y="516"/>
                  </a:lnTo>
                  <a:lnTo>
                    <a:pt x="556" y="515"/>
                  </a:lnTo>
                  <a:lnTo>
                    <a:pt x="557" y="515"/>
                  </a:lnTo>
                  <a:lnTo>
                    <a:pt x="557" y="516"/>
                  </a:lnTo>
                  <a:lnTo>
                    <a:pt x="556" y="516"/>
                  </a:lnTo>
                  <a:lnTo>
                    <a:pt x="555" y="516"/>
                  </a:lnTo>
                  <a:lnTo>
                    <a:pt x="556" y="517"/>
                  </a:lnTo>
                  <a:lnTo>
                    <a:pt x="557" y="517"/>
                  </a:lnTo>
                  <a:lnTo>
                    <a:pt x="558" y="518"/>
                  </a:lnTo>
                  <a:lnTo>
                    <a:pt x="560" y="518"/>
                  </a:lnTo>
                  <a:lnTo>
                    <a:pt x="562" y="518"/>
                  </a:lnTo>
                  <a:lnTo>
                    <a:pt x="561" y="520"/>
                  </a:lnTo>
                  <a:lnTo>
                    <a:pt x="560" y="520"/>
                  </a:lnTo>
                  <a:lnTo>
                    <a:pt x="558" y="520"/>
                  </a:lnTo>
                  <a:lnTo>
                    <a:pt x="557" y="520"/>
                  </a:lnTo>
                  <a:lnTo>
                    <a:pt x="557" y="518"/>
                  </a:lnTo>
                  <a:lnTo>
                    <a:pt x="556" y="518"/>
                  </a:lnTo>
                  <a:lnTo>
                    <a:pt x="556" y="520"/>
                  </a:lnTo>
                  <a:lnTo>
                    <a:pt x="557" y="520"/>
                  </a:lnTo>
                  <a:lnTo>
                    <a:pt x="558" y="521"/>
                  </a:lnTo>
                  <a:lnTo>
                    <a:pt x="558" y="522"/>
                  </a:lnTo>
                  <a:lnTo>
                    <a:pt x="560" y="522"/>
                  </a:lnTo>
                  <a:lnTo>
                    <a:pt x="558" y="522"/>
                  </a:lnTo>
                  <a:lnTo>
                    <a:pt x="557" y="522"/>
                  </a:lnTo>
                  <a:lnTo>
                    <a:pt x="556" y="522"/>
                  </a:lnTo>
                  <a:lnTo>
                    <a:pt x="556" y="523"/>
                  </a:lnTo>
                  <a:lnTo>
                    <a:pt x="557" y="524"/>
                  </a:lnTo>
                  <a:lnTo>
                    <a:pt x="557" y="526"/>
                  </a:lnTo>
                  <a:lnTo>
                    <a:pt x="556" y="524"/>
                  </a:lnTo>
                  <a:lnTo>
                    <a:pt x="555" y="524"/>
                  </a:lnTo>
                  <a:lnTo>
                    <a:pt x="555" y="523"/>
                  </a:lnTo>
                  <a:lnTo>
                    <a:pt x="555" y="522"/>
                  </a:lnTo>
                  <a:lnTo>
                    <a:pt x="554" y="521"/>
                  </a:lnTo>
                  <a:lnTo>
                    <a:pt x="552" y="521"/>
                  </a:lnTo>
                  <a:lnTo>
                    <a:pt x="552" y="522"/>
                  </a:lnTo>
                  <a:lnTo>
                    <a:pt x="552" y="523"/>
                  </a:lnTo>
                  <a:lnTo>
                    <a:pt x="551" y="523"/>
                  </a:lnTo>
                  <a:lnTo>
                    <a:pt x="551" y="530"/>
                  </a:lnTo>
                  <a:lnTo>
                    <a:pt x="551" y="532"/>
                  </a:lnTo>
                  <a:lnTo>
                    <a:pt x="550" y="532"/>
                  </a:lnTo>
                  <a:lnTo>
                    <a:pt x="549" y="532"/>
                  </a:lnTo>
                  <a:lnTo>
                    <a:pt x="549" y="529"/>
                  </a:lnTo>
                  <a:lnTo>
                    <a:pt x="549" y="528"/>
                  </a:lnTo>
                  <a:lnTo>
                    <a:pt x="549" y="529"/>
                  </a:lnTo>
                  <a:lnTo>
                    <a:pt x="548" y="529"/>
                  </a:lnTo>
                  <a:lnTo>
                    <a:pt x="548" y="528"/>
                  </a:lnTo>
                  <a:lnTo>
                    <a:pt x="546" y="528"/>
                  </a:lnTo>
                  <a:lnTo>
                    <a:pt x="546" y="527"/>
                  </a:lnTo>
                  <a:lnTo>
                    <a:pt x="545" y="527"/>
                  </a:lnTo>
                  <a:lnTo>
                    <a:pt x="545" y="526"/>
                  </a:lnTo>
                  <a:lnTo>
                    <a:pt x="544" y="526"/>
                  </a:lnTo>
                  <a:lnTo>
                    <a:pt x="543" y="527"/>
                  </a:lnTo>
                  <a:lnTo>
                    <a:pt x="542" y="527"/>
                  </a:lnTo>
                  <a:lnTo>
                    <a:pt x="542" y="526"/>
                  </a:lnTo>
                  <a:lnTo>
                    <a:pt x="540" y="526"/>
                  </a:lnTo>
                  <a:lnTo>
                    <a:pt x="540" y="528"/>
                  </a:lnTo>
                  <a:lnTo>
                    <a:pt x="539" y="529"/>
                  </a:lnTo>
                  <a:lnTo>
                    <a:pt x="540" y="530"/>
                  </a:lnTo>
                  <a:lnTo>
                    <a:pt x="540" y="532"/>
                  </a:lnTo>
                  <a:lnTo>
                    <a:pt x="542" y="533"/>
                  </a:lnTo>
                  <a:lnTo>
                    <a:pt x="542" y="534"/>
                  </a:lnTo>
                  <a:lnTo>
                    <a:pt x="540" y="534"/>
                  </a:lnTo>
                  <a:lnTo>
                    <a:pt x="540" y="533"/>
                  </a:lnTo>
                  <a:lnTo>
                    <a:pt x="539" y="532"/>
                  </a:lnTo>
                  <a:lnTo>
                    <a:pt x="539" y="533"/>
                  </a:lnTo>
                  <a:lnTo>
                    <a:pt x="538" y="534"/>
                  </a:lnTo>
                  <a:lnTo>
                    <a:pt x="537" y="533"/>
                  </a:lnTo>
                  <a:lnTo>
                    <a:pt x="537" y="532"/>
                  </a:lnTo>
                  <a:lnTo>
                    <a:pt x="536" y="530"/>
                  </a:lnTo>
                  <a:lnTo>
                    <a:pt x="536" y="532"/>
                  </a:lnTo>
                  <a:lnTo>
                    <a:pt x="536" y="530"/>
                  </a:lnTo>
                  <a:lnTo>
                    <a:pt x="534" y="529"/>
                  </a:lnTo>
                  <a:lnTo>
                    <a:pt x="533" y="530"/>
                  </a:lnTo>
                  <a:lnTo>
                    <a:pt x="533" y="529"/>
                  </a:lnTo>
                  <a:lnTo>
                    <a:pt x="532" y="529"/>
                  </a:lnTo>
                  <a:lnTo>
                    <a:pt x="532" y="530"/>
                  </a:lnTo>
                  <a:lnTo>
                    <a:pt x="531" y="532"/>
                  </a:lnTo>
                  <a:lnTo>
                    <a:pt x="530" y="533"/>
                  </a:lnTo>
                  <a:lnTo>
                    <a:pt x="528" y="534"/>
                  </a:lnTo>
                  <a:lnTo>
                    <a:pt x="528" y="533"/>
                  </a:lnTo>
                  <a:lnTo>
                    <a:pt x="528" y="530"/>
                  </a:lnTo>
                  <a:lnTo>
                    <a:pt x="527" y="530"/>
                  </a:lnTo>
                  <a:lnTo>
                    <a:pt x="526" y="532"/>
                  </a:lnTo>
                  <a:lnTo>
                    <a:pt x="525" y="532"/>
                  </a:lnTo>
                  <a:lnTo>
                    <a:pt x="526" y="533"/>
                  </a:lnTo>
                  <a:lnTo>
                    <a:pt x="526" y="534"/>
                  </a:lnTo>
                  <a:lnTo>
                    <a:pt x="527" y="535"/>
                  </a:lnTo>
                  <a:lnTo>
                    <a:pt x="527" y="536"/>
                  </a:lnTo>
                  <a:lnTo>
                    <a:pt x="526" y="535"/>
                  </a:lnTo>
                  <a:lnTo>
                    <a:pt x="525" y="535"/>
                  </a:lnTo>
                  <a:lnTo>
                    <a:pt x="524" y="535"/>
                  </a:lnTo>
                  <a:lnTo>
                    <a:pt x="521" y="538"/>
                  </a:lnTo>
                  <a:lnTo>
                    <a:pt x="520" y="539"/>
                  </a:lnTo>
                  <a:lnTo>
                    <a:pt x="521" y="541"/>
                  </a:lnTo>
                  <a:lnTo>
                    <a:pt x="522" y="541"/>
                  </a:lnTo>
                  <a:lnTo>
                    <a:pt x="524" y="542"/>
                  </a:lnTo>
                  <a:lnTo>
                    <a:pt x="525" y="542"/>
                  </a:lnTo>
                  <a:lnTo>
                    <a:pt x="526" y="541"/>
                  </a:lnTo>
                  <a:lnTo>
                    <a:pt x="527" y="542"/>
                  </a:lnTo>
                  <a:lnTo>
                    <a:pt x="528" y="542"/>
                  </a:lnTo>
                  <a:lnTo>
                    <a:pt x="530" y="542"/>
                  </a:lnTo>
                  <a:lnTo>
                    <a:pt x="531" y="541"/>
                  </a:lnTo>
                  <a:lnTo>
                    <a:pt x="532" y="541"/>
                  </a:lnTo>
                  <a:lnTo>
                    <a:pt x="532" y="540"/>
                  </a:lnTo>
                  <a:lnTo>
                    <a:pt x="533" y="540"/>
                  </a:lnTo>
                  <a:lnTo>
                    <a:pt x="534" y="541"/>
                  </a:lnTo>
                  <a:lnTo>
                    <a:pt x="536" y="540"/>
                  </a:lnTo>
                  <a:lnTo>
                    <a:pt x="538" y="541"/>
                  </a:lnTo>
                  <a:lnTo>
                    <a:pt x="539" y="540"/>
                  </a:lnTo>
                  <a:lnTo>
                    <a:pt x="540" y="540"/>
                  </a:lnTo>
                  <a:lnTo>
                    <a:pt x="540" y="541"/>
                  </a:lnTo>
                  <a:lnTo>
                    <a:pt x="539" y="541"/>
                  </a:lnTo>
                  <a:lnTo>
                    <a:pt x="538" y="541"/>
                  </a:lnTo>
                  <a:lnTo>
                    <a:pt x="537" y="542"/>
                  </a:lnTo>
                  <a:lnTo>
                    <a:pt x="538" y="544"/>
                  </a:lnTo>
                  <a:lnTo>
                    <a:pt x="537" y="545"/>
                  </a:lnTo>
                  <a:lnTo>
                    <a:pt x="537" y="544"/>
                  </a:lnTo>
                  <a:lnTo>
                    <a:pt x="536" y="544"/>
                  </a:lnTo>
                  <a:lnTo>
                    <a:pt x="534" y="542"/>
                  </a:lnTo>
                  <a:lnTo>
                    <a:pt x="533" y="542"/>
                  </a:lnTo>
                  <a:lnTo>
                    <a:pt x="532" y="542"/>
                  </a:lnTo>
                  <a:lnTo>
                    <a:pt x="532" y="544"/>
                  </a:lnTo>
                  <a:lnTo>
                    <a:pt x="532" y="545"/>
                  </a:lnTo>
                  <a:lnTo>
                    <a:pt x="533" y="546"/>
                  </a:lnTo>
                  <a:lnTo>
                    <a:pt x="532" y="547"/>
                  </a:lnTo>
                  <a:lnTo>
                    <a:pt x="531" y="546"/>
                  </a:lnTo>
                  <a:lnTo>
                    <a:pt x="531" y="545"/>
                  </a:lnTo>
                  <a:lnTo>
                    <a:pt x="530" y="544"/>
                  </a:lnTo>
                  <a:lnTo>
                    <a:pt x="527" y="544"/>
                  </a:lnTo>
                  <a:lnTo>
                    <a:pt x="526" y="544"/>
                  </a:lnTo>
                  <a:lnTo>
                    <a:pt x="527" y="545"/>
                  </a:lnTo>
                  <a:lnTo>
                    <a:pt x="528" y="546"/>
                  </a:lnTo>
                  <a:lnTo>
                    <a:pt x="528" y="547"/>
                  </a:lnTo>
                  <a:lnTo>
                    <a:pt x="528" y="548"/>
                  </a:lnTo>
                  <a:lnTo>
                    <a:pt x="528" y="550"/>
                  </a:lnTo>
                  <a:lnTo>
                    <a:pt x="528" y="551"/>
                  </a:lnTo>
                  <a:lnTo>
                    <a:pt x="528" y="552"/>
                  </a:lnTo>
                  <a:lnTo>
                    <a:pt x="527" y="553"/>
                  </a:lnTo>
                  <a:lnTo>
                    <a:pt x="527" y="554"/>
                  </a:lnTo>
                  <a:lnTo>
                    <a:pt x="526" y="554"/>
                  </a:lnTo>
                  <a:lnTo>
                    <a:pt x="525" y="553"/>
                  </a:lnTo>
                  <a:lnTo>
                    <a:pt x="525" y="552"/>
                  </a:lnTo>
                  <a:lnTo>
                    <a:pt x="525" y="550"/>
                  </a:lnTo>
                  <a:lnTo>
                    <a:pt x="525" y="548"/>
                  </a:lnTo>
                  <a:lnTo>
                    <a:pt x="525" y="546"/>
                  </a:lnTo>
                  <a:lnTo>
                    <a:pt x="524" y="546"/>
                  </a:lnTo>
                  <a:lnTo>
                    <a:pt x="524" y="545"/>
                  </a:lnTo>
                  <a:lnTo>
                    <a:pt x="524" y="544"/>
                  </a:lnTo>
                  <a:lnTo>
                    <a:pt x="522" y="542"/>
                  </a:lnTo>
                  <a:lnTo>
                    <a:pt x="522" y="544"/>
                  </a:lnTo>
                  <a:lnTo>
                    <a:pt x="524" y="545"/>
                  </a:lnTo>
                  <a:lnTo>
                    <a:pt x="524" y="546"/>
                  </a:lnTo>
                  <a:lnTo>
                    <a:pt x="522" y="545"/>
                  </a:lnTo>
                  <a:lnTo>
                    <a:pt x="521" y="545"/>
                  </a:lnTo>
                  <a:lnTo>
                    <a:pt x="521" y="547"/>
                  </a:lnTo>
                  <a:lnTo>
                    <a:pt x="521" y="548"/>
                  </a:lnTo>
                  <a:lnTo>
                    <a:pt x="522" y="550"/>
                  </a:lnTo>
                  <a:lnTo>
                    <a:pt x="522" y="551"/>
                  </a:lnTo>
                  <a:lnTo>
                    <a:pt x="522" y="552"/>
                  </a:lnTo>
                  <a:lnTo>
                    <a:pt x="521" y="553"/>
                  </a:lnTo>
                  <a:lnTo>
                    <a:pt x="520" y="553"/>
                  </a:lnTo>
                  <a:lnTo>
                    <a:pt x="520" y="551"/>
                  </a:lnTo>
                  <a:lnTo>
                    <a:pt x="520" y="548"/>
                  </a:lnTo>
                  <a:lnTo>
                    <a:pt x="520" y="546"/>
                  </a:lnTo>
                  <a:lnTo>
                    <a:pt x="520" y="545"/>
                  </a:lnTo>
                  <a:lnTo>
                    <a:pt x="519" y="544"/>
                  </a:lnTo>
                  <a:lnTo>
                    <a:pt x="519" y="542"/>
                  </a:lnTo>
                  <a:lnTo>
                    <a:pt x="518" y="542"/>
                  </a:lnTo>
                  <a:lnTo>
                    <a:pt x="519" y="545"/>
                  </a:lnTo>
                  <a:lnTo>
                    <a:pt x="520" y="546"/>
                  </a:lnTo>
                  <a:lnTo>
                    <a:pt x="520" y="547"/>
                  </a:lnTo>
                  <a:lnTo>
                    <a:pt x="519" y="550"/>
                  </a:lnTo>
                  <a:lnTo>
                    <a:pt x="519" y="551"/>
                  </a:lnTo>
                  <a:lnTo>
                    <a:pt x="518" y="551"/>
                  </a:lnTo>
                  <a:lnTo>
                    <a:pt x="518" y="550"/>
                  </a:lnTo>
                  <a:lnTo>
                    <a:pt x="516" y="550"/>
                  </a:lnTo>
                  <a:lnTo>
                    <a:pt x="518" y="552"/>
                  </a:lnTo>
                  <a:lnTo>
                    <a:pt x="518" y="553"/>
                  </a:lnTo>
                  <a:lnTo>
                    <a:pt x="518" y="554"/>
                  </a:lnTo>
                  <a:lnTo>
                    <a:pt x="518" y="556"/>
                  </a:lnTo>
                  <a:lnTo>
                    <a:pt x="518" y="557"/>
                  </a:lnTo>
                  <a:lnTo>
                    <a:pt x="516" y="557"/>
                  </a:lnTo>
                  <a:lnTo>
                    <a:pt x="516" y="556"/>
                  </a:lnTo>
                  <a:lnTo>
                    <a:pt x="515" y="554"/>
                  </a:lnTo>
                  <a:lnTo>
                    <a:pt x="515" y="553"/>
                  </a:lnTo>
                  <a:lnTo>
                    <a:pt x="514" y="553"/>
                  </a:lnTo>
                  <a:lnTo>
                    <a:pt x="514" y="552"/>
                  </a:lnTo>
                  <a:lnTo>
                    <a:pt x="513" y="552"/>
                  </a:lnTo>
                  <a:lnTo>
                    <a:pt x="513" y="553"/>
                  </a:lnTo>
                  <a:lnTo>
                    <a:pt x="514" y="554"/>
                  </a:lnTo>
                  <a:lnTo>
                    <a:pt x="514" y="556"/>
                  </a:lnTo>
                  <a:lnTo>
                    <a:pt x="513" y="557"/>
                  </a:lnTo>
                  <a:lnTo>
                    <a:pt x="511" y="557"/>
                  </a:lnTo>
                  <a:lnTo>
                    <a:pt x="511" y="554"/>
                  </a:lnTo>
                  <a:lnTo>
                    <a:pt x="511" y="553"/>
                  </a:lnTo>
                  <a:lnTo>
                    <a:pt x="511" y="552"/>
                  </a:lnTo>
                  <a:lnTo>
                    <a:pt x="510" y="552"/>
                  </a:lnTo>
                  <a:lnTo>
                    <a:pt x="509" y="552"/>
                  </a:lnTo>
                  <a:lnTo>
                    <a:pt x="508" y="551"/>
                  </a:lnTo>
                  <a:lnTo>
                    <a:pt x="508" y="554"/>
                  </a:lnTo>
                  <a:lnTo>
                    <a:pt x="508" y="556"/>
                  </a:lnTo>
                  <a:lnTo>
                    <a:pt x="508" y="557"/>
                  </a:lnTo>
                  <a:lnTo>
                    <a:pt x="507" y="557"/>
                  </a:lnTo>
                  <a:lnTo>
                    <a:pt x="507" y="556"/>
                  </a:lnTo>
                  <a:lnTo>
                    <a:pt x="507" y="554"/>
                  </a:lnTo>
                  <a:lnTo>
                    <a:pt x="505" y="553"/>
                  </a:lnTo>
                  <a:lnTo>
                    <a:pt x="505" y="554"/>
                  </a:lnTo>
                  <a:lnTo>
                    <a:pt x="505" y="556"/>
                  </a:lnTo>
                  <a:lnTo>
                    <a:pt x="504" y="556"/>
                  </a:lnTo>
                  <a:lnTo>
                    <a:pt x="504" y="557"/>
                  </a:lnTo>
                  <a:lnTo>
                    <a:pt x="503" y="557"/>
                  </a:lnTo>
                  <a:lnTo>
                    <a:pt x="504" y="558"/>
                  </a:lnTo>
                  <a:lnTo>
                    <a:pt x="504" y="559"/>
                  </a:lnTo>
                  <a:lnTo>
                    <a:pt x="505" y="561"/>
                  </a:lnTo>
                  <a:lnTo>
                    <a:pt x="505" y="562"/>
                  </a:lnTo>
                  <a:lnTo>
                    <a:pt x="505" y="563"/>
                  </a:lnTo>
                  <a:lnTo>
                    <a:pt x="505" y="564"/>
                  </a:lnTo>
                  <a:lnTo>
                    <a:pt x="504" y="565"/>
                  </a:lnTo>
                  <a:lnTo>
                    <a:pt x="503" y="565"/>
                  </a:lnTo>
                  <a:lnTo>
                    <a:pt x="503" y="564"/>
                  </a:lnTo>
                  <a:lnTo>
                    <a:pt x="503" y="562"/>
                  </a:lnTo>
                  <a:lnTo>
                    <a:pt x="503" y="561"/>
                  </a:lnTo>
                  <a:lnTo>
                    <a:pt x="502" y="559"/>
                  </a:lnTo>
                  <a:lnTo>
                    <a:pt x="502" y="558"/>
                  </a:lnTo>
                  <a:lnTo>
                    <a:pt x="499" y="558"/>
                  </a:lnTo>
                  <a:lnTo>
                    <a:pt x="498" y="558"/>
                  </a:lnTo>
                  <a:lnTo>
                    <a:pt x="499" y="561"/>
                  </a:lnTo>
                  <a:lnTo>
                    <a:pt x="499" y="562"/>
                  </a:lnTo>
                  <a:lnTo>
                    <a:pt x="499" y="563"/>
                  </a:lnTo>
                  <a:lnTo>
                    <a:pt x="498" y="564"/>
                  </a:lnTo>
                  <a:lnTo>
                    <a:pt x="497" y="565"/>
                  </a:lnTo>
                  <a:lnTo>
                    <a:pt x="497" y="564"/>
                  </a:lnTo>
                  <a:lnTo>
                    <a:pt x="497" y="563"/>
                  </a:lnTo>
                  <a:lnTo>
                    <a:pt x="497" y="562"/>
                  </a:lnTo>
                  <a:lnTo>
                    <a:pt x="497" y="561"/>
                  </a:lnTo>
                  <a:lnTo>
                    <a:pt x="496" y="562"/>
                  </a:lnTo>
                  <a:lnTo>
                    <a:pt x="495" y="562"/>
                  </a:lnTo>
                  <a:lnTo>
                    <a:pt x="495" y="561"/>
                  </a:lnTo>
                  <a:lnTo>
                    <a:pt x="496" y="559"/>
                  </a:lnTo>
                  <a:lnTo>
                    <a:pt x="495" y="559"/>
                  </a:lnTo>
                  <a:lnTo>
                    <a:pt x="495" y="558"/>
                  </a:lnTo>
                  <a:lnTo>
                    <a:pt x="493" y="558"/>
                  </a:lnTo>
                  <a:lnTo>
                    <a:pt x="493" y="557"/>
                  </a:lnTo>
                  <a:lnTo>
                    <a:pt x="493" y="556"/>
                  </a:lnTo>
                  <a:lnTo>
                    <a:pt x="492" y="553"/>
                  </a:lnTo>
                  <a:lnTo>
                    <a:pt x="492" y="552"/>
                  </a:lnTo>
                  <a:lnTo>
                    <a:pt x="491" y="553"/>
                  </a:lnTo>
                  <a:lnTo>
                    <a:pt x="492" y="554"/>
                  </a:lnTo>
                  <a:lnTo>
                    <a:pt x="493" y="558"/>
                  </a:lnTo>
                  <a:lnTo>
                    <a:pt x="493" y="559"/>
                  </a:lnTo>
                  <a:lnTo>
                    <a:pt x="493" y="561"/>
                  </a:lnTo>
                  <a:lnTo>
                    <a:pt x="492" y="559"/>
                  </a:lnTo>
                  <a:lnTo>
                    <a:pt x="492" y="558"/>
                  </a:lnTo>
                  <a:lnTo>
                    <a:pt x="491" y="558"/>
                  </a:lnTo>
                  <a:lnTo>
                    <a:pt x="492" y="559"/>
                  </a:lnTo>
                  <a:lnTo>
                    <a:pt x="492" y="561"/>
                  </a:lnTo>
                  <a:lnTo>
                    <a:pt x="492" y="562"/>
                  </a:lnTo>
                  <a:lnTo>
                    <a:pt x="492" y="563"/>
                  </a:lnTo>
                  <a:lnTo>
                    <a:pt x="492" y="564"/>
                  </a:lnTo>
                  <a:lnTo>
                    <a:pt x="493" y="565"/>
                  </a:lnTo>
                  <a:lnTo>
                    <a:pt x="492" y="567"/>
                  </a:lnTo>
                  <a:lnTo>
                    <a:pt x="492" y="568"/>
                  </a:lnTo>
                  <a:lnTo>
                    <a:pt x="491" y="567"/>
                  </a:lnTo>
                  <a:lnTo>
                    <a:pt x="491" y="565"/>
                  </a:lnTo>
                  <a:lnTo>
                    <a:pt x="490" y="565"/>
                  </a:lnTo>
                  <a:lnTo>
                    <a:pt x="489" y="567"/>
                  </a:lnTo>
                  <a:lnTo>
                    <a:pt x="489" y="568"/>
                  </a:lnTo>
                  <a:lnTo>
                    <a:pt x="489" y="569"/>
                  </a:lnTo>
                  <a:lnTo>
                    <a:pt x="487" y="569"/>
                  </a:lnTo>
                  <a:lnTo>
                    <a:pt x="487" y="568"/>
                  </a:lnTo>
                  <a:lnTo>
                    <a:pt x="486" y="567"/>
                  </a:lnTo>
                  <a:lnTo>
                    <a:pt x="486" y="565"/>
                  </a:lnTo>
                  <a:lnTo>
                    <a:pt x="486" y="564"/>
                  </a:lnTo>
                  <a:lnTo>
                    <a:pt x="485" y="564"/>
                  </a:lnTo>
                  <a:lnTo>
                    <a:pt x="484" y="564"/>
                  </a:lnTo>
                  <a:lnTo>
                    <a:pt x="484" y="567"/>
                  </a:lnTo>
                  <a:lnTo>
                    <a:pt x="484" y="570"/>
                  </a:lnTo>
                  <a:lnTo>
                    <a:pt x="483" y="569"/>
                  </a:lnTo>
                  <a:lnTo>
                    <a:pt x="483" y="568"/>
                  </a:lnTo>
                  <a:lnTo>
                    <a:pt x="483" y="567"/>
                  </a:lnTo>
                  <a:lnTo>
                    <a:pt x="483" y="565"/>
                  </a:lnTo>
                  <a:lnTo>
                    <a:pt x="483" y="564"/>
                  </a:lnTo>
                  <a:lnTo>
                    <a:pt x="483" y="563"/>
                  </a:lnTo>
                  <a:lnTo>
                    <a:pt x="481" y="564"/>
                  </a:lnTo>
                  <a:lnTo>
                    <a:pt x="480" y="564"/>
                  </a:lnTo>
                  <a:lnTo>
                    <a:pt x="480" y="563"/>
                  </a:lnTo>
                  <a:lnTo>
                    <a:pt x="480" y="562"/>
                  </a:lnTo>
                  <a:lnTo>
                    <a:pt x="480" y="561"/>
                  </a:lnTo>
                  <a:lnTo>
                    <a:pt x="479" y="559"/>
                  </a:lnTo>
                  <a:lnTo>
                    <a:pt x="479" y="562"/>
                  </a:lnTo>
                  <a:lnTo>
                    <a:pt x="478" y="562"/>
                  </a:lnTo>
                  <a:lnTo>
                    <a:pt x="478" y="563"/>
                  </a:lnTo>
                  <a:lnTo>
                    <a:pt x="479" y="564"/>
                  </a:lnTo>
                  <a:lnTo>
                    <a:pt x="479" y="565"/>
                  </a:lnTo>
                  <a:lnTo>
                    <a:pt x="478" y="565"/>
                  </a:lnTo>
                  <a:lnTo>
                    <a:pt x="478" y="564"/>
                  </a:lnTo>
                  <a:lnTo>
                    <a:pt x="477" y="564"/>
                  </a:lnTo>
                  <a:lnTo>
                    <a:pt x="478" y="565"/>
                  </a:lnTo>
                  <a:lnTo>
                    <a:pt x="477" y="567"/>
                  </a:lnTo>
                  <a:lnTo>
                    <a:pt x="477" y="564"/>
                  </a:lnTo>
                  <a:lnTo>
                    <a:pt x="475" y="563"/>
                  </a:lnTo>
                  <a:lnTo>
                    <a:pt x="475" y="562"/>
                  </a:lnTo>
                  <a:lnTo>
                    <a:pt x="475" y="561"/>
                  </a:lnTo>
                  <a:lnTo>
                    <a:pt x="475" y="559"/>
                  </a:lnTo>
                  <a:lnTo>
                    <a:pt x="474" y="558"/>
                  </a:lnTo>
                  <a:lnTo>
                    <a:pt x="475" y="559"/>
                  </a:lnTo>
                  <a:lnTo>
                    <a:pt x="475" y="561"/>
                  </a:lnTo>
                  <a:lnTo>
                    <a:pt x="474" y="561"/>
                  </a:lnTo>
                  <a:lnTo>
                    <a:pt x="474" y="563"/>
                  </a:lnTo>
                  <a:lnTo>
                    <a:pt x="474" y="564"/>
                  </a:lnTo>
                  <a:lnTo>
                    <a:pt x="474" y="565"/>
                  </a:lnTo>
                  <a:lnTo>
                    <a:pt x="473" y="565"/>
                  </a:lnTo>
                  <a:lnTo>
                    <a:pt x="473" y="564"/>
                  </a:lnTo>
                  <a:lnTo>
                    <a:pt x="473" y="563"/>
                  </a:lnTo>
                  <a:lnTo>
                    <a:pt x="473" y="562"/>
                  </a:lnTo>
                  <a:lnTo>
                    <a:pt x="473" y="561"/>
                  </a:lnTo>
                  <a:lnTo>
                    <a:pt x="472" y="559"/>
                  </a:lnTo>
                  <a:lnTo>
                    <a:pt x="472" y="558"/>
                  </a:lnTo>
                  <a:lnTo>
                    <a:pt x="472" y="557"/>
                  </a:lnTo>
                  <a:lnTo>
                    <a:pt x="472" y="556"/>
                  </a:lnTo>
                  <a:lnTo>
                    <a:pt x="471" y="554"/>
                  </a:lnTo>
                  <a:lnTo>
                    <a:pt x="469" y="553"/>
                  </a:lnTo>
                  <a:lnTo>
                    <a:pt x="469" y="552"/>
                  </a:lnTo>
                  <a:lnTo>
                    <a:pt x="468" y="552"/>
                  </a:lnTo>
                  <a:lnTo>
                    <a:pt x="469" y="553"/>
                  </a:lnTo>
                  <a:lnTo>
                    <a:pt x="469" y="554"/>
                  </a:lnTo>
                  <a:lnTo>
                    <a:pt x="471" y="556"/>
                  </a:lnTo>
                  <a:lnTo>
                    <a:pt x="471" y="557"/>
                  </a:lnTo>
                  <a:lnTo>
                    <a:pt x="469" y="557"/>
                  </a:lnTo>
                  <a:lnTo>
                    <a:pt x="471" y="558"/>
                  </a:lnTo>
                  <a:lnTo>
                    <a:pt x="469" y="558"/>
                  </a:lnTo>
                  <a:lnTo>
                    <a:pt x="471" y="559"/>
                  </a:lnTo>
                  <a:lnTo>
                    <a:pt x="472" y="561"/>
                  </a:lnTo>
                  <a:lnTo>
                    <a:pt x="473" y="561"/>
                  </a:lnTo>
                  <a:lnTo>
                    <a:pt x="473" y="562"/>
                  </a:lnTo>
                  <a:lnTo>
                    <a:pt x="473" y="563"/>
                  </a:lnTo>
                  <a:lnTo>
                    <a:pt x="472" y="563"/>
                  </a:lnTo>
                  <a:lnTo>
                    <a:pt x="471" y="563"/>
                  </a:lnTo>
                  <a:lnTo>
                    <a:pt x="472" y="562"/>
                  </a:lnTo>
                  <a:lnTo>
                    <a:pt x="471" y="561"/>
                  </a:lnTo>
                  <a:lnTo>
                    <a:pt x="469" y="561"/>
                  </a:lnTo>
                  <a:lnTo>
                    <a:pt x="468" y="561"/>
                  </a:lnTo>
                  <a:lnTo>
                    <a:pt x="468" y="562"/>
                  </a:lnTo>
                  <a:lnTo>
                    <a:pt x="469" y="562"/>
                  </a:lnTo>
                  <a:lnTo>
                    <a:pt x="469" y="563"/>
                  </a:lnTo>
                  <a:lnTo>
                    <a:pt x="469" y="564"/>
                  </a:lnTo>
                  <a:lnTo>
                    <a:pt x="468" y="563"/>
                  </a:lnTo>
                  <a:lnTo>
                    <a:pt x="468" y="564"/>
                  </a:lnTo>
                  <a:lnTo>
                    <a:pt x="469" y="567"/>
                  </a:lnTo>
                  <a:lnTo>
                    <a:pt x="468" y="567"/>
                  </a:lnTo>
                  <a:lnTo>
                    <a:pt x="467" y="567"/>
                  </a:lnTo>
                  <a:lnTo>
                    <a:pt x="467" y="569"/>
                  </a:lnTo>
                  <a:lnTo>
                    <a:pt x="468" y="570"/>
                  </a:lnTo>
                  <a:lnTo>
                    <a:pt x="468" y="573"/>
                  </a:lnTo>
                  <a:lnTo>
                    <a:pt x="468" y="575"/>
                  </a:lnTo>
                  <a:lnTo>
                    <a:pt x="467" y="574"/>
                  </a:lnTo>
                  <a:lnTo>
                    <a:pt x="467" y="573"/>
                  </a:lnTo>
                  <a:lnTo>
                    <a:pt x="467" y="570"/>
                  </a:lnTo>
                  <a:lnTo>
                    <a:pt x="466" y="569"/>
                  </a:lnTo>
                  <a:lnTo>
                    <a:pt x="465" y="570"/>
                  </a:lnTo>
                  <a:lnTo>
                    <a:pt x="463" y="570"/>
                  </a:lnTo>
                  <a:lnTo>
                    <a:pt x="465" y="571"/>
                  </a:lnTo>
                  <a:lnTo>
                    <a:pt x="466" y="573"/>
                  </a:lnTo>
                  <a:lnTo>
                    <a:pt x="465" y="573"/>
                  </a:lnTo>
                  <a:lnTo>
                    <a:pt x="463" y="573"/>
                  </a:lnTo>
                  <a:lnTo>
                    <a:pt x="463" y="574"/>
                  </a:lnTo>
                  <a:lnTo>
                    <a:pt x="463" y="576"/>
                  </a:lnTo>
                  <a:lnTo>
                    <a:pt x="462" y="575"/>
                  </a:lnTo>
                  <a:lnTo>
                    <a:pt x="463" y="573"/>
                  </a:lnTo>
                  <a:lnTo>
                    <a:pt x="462" y="571"/>
                  </a:lnTo>
                  <a:lnTo>
                    <a:pt x="461" y="570"/>
                  </a:lnTo>
                  <a:lnTo>
                    <a:pt x="461" y="569"/>
                  </a:lnTo>
                  <a:lnTo>
                    <a:pt x="461" y="567"/>
                  </a:lnTo>
                  <a:lnTo>
                    <a:pt x="460" y="564"/>
                  </a:lnTo>
                  <a:lnTo>
                    <a:pt x="460" y="563"/>
                  </a:lnTo>
                  <a:lnTo>
                    <a:pt x="460" y="561"/>
                  </a:lnTo>
                  <a:lnTo>
                    <a:pt x="459" y="561"/>
                  </a:lnTo>
                  <a:lnTo>
                    <a:pt x="457" y="562"/>
                  </a:lnTo>
                  <a:lnTo>
                    <a:pt x="456" y="563"/>
                  </a:lnTo>
                  <a:lnTo>
                    <a:pt x="456" y="567"/>
                  </a:lnTo>
                  <a:lnTo>
                    <a:pt x="456" y="569"/>
                  </a:lnTo>
                  <a:lnTo>
                    <a:pt x="456" y="570"/>
                  </a:lnTo>
                  <a:lnTo>
                    <a:pt x="457" y="573"/>
                  </a:lnTo>
                  <a:lnTo>
                    <a:pt x="459" y="574"/>
                  </a:lnTo>
                  <a:lnTo>
                    <a:pt x="459" y="575"/>
                  </a:lnTo>
                  <a:lnTo>
                    <a:pt x="457" y="574"/>
                  </a:lnTo>
                  <a:lnTo>
                    <a:pt x="456" y="573"/>
                  </a:lnTo>
                  <a:lnTo>
                    <a:pt x="456" y="570"/>
                  </a:lnTo>
                  <a:lnTo>
                    <a:pt x="455" y="568"/>
                  </a:lnTo>
                  <a:lnTo>
                    <a:pt x="455" y="567"/>
                  </a:lnTo>
                  <a:lnTo>
                    <a:pt x="454" y="565"/>
                  </a:lnTo>
                  <a:lnTo>
                    <a:pt x="454" y="568"/>
                  </a:lnTo>
                  <a:lnTo>
                    <a:pt x="452" y="568"/>
                  </a:lnTo>
                  <a:lnTo>
                    <a:pt x="451" y="568"/>
                  </a:lnTo>
                  <a:lnTo>
                    <a:pt x="451" y="569"/>
                  </a:lnTo>
                  <a:lnTo>
                    <a:pt x="452" y="571"/>
                  </a:lnTo>
                  <a:lnTo>
                    <a:pt x="454" y="575"/>
                  </a:lnTo>
                  <a:lnTo>
                    <a:pt x="454" y="576"/>
                  </a:lnTo>
                  <a:lnTo>
                    <a:pt x="452" y="579"/>
                  </a:lnTo>
                  <a:lnTo>
                    <a:pt x="451" y="577"/>
                  </a:lnTo>
                  <a:lnTo>
                    <a:pt x="451" y="576"/>
                  </a:lnTo>
                  <a:lnTo>
                    <a:pt x="451" y="575"/>
                  </a:lnTo>
                  <a:lnTo>
                    <a:pt x="451" y="577"/>
                  </a:lnTo>
                  <a:lnTo>
                    <a:pt x="450" y="577"/>
                  </a:lnTo>
                  <a:lnTo>
                    <a:pt x="449" y="576"/>
                  </a:lnTo>
                  <a:lnTo>
                    <a:pt x="449" y="574"/>
                  </a:lnTo>
                  <a:lnTo>
                    <a:pt x="449" y="573"/>
                  </a:lnTo>
                  <a:lnTo>
                    <a:pt x="450" y="568"/>
                  </a:lnTo>
                  <a:lnTo>
                    <a:pt x="450" y="567"/>
                  </a:lnTo>
                  <a:lnTo>
                    <a:pt x="449" y="565"/>
                  </a:lnTo>
                  <a:lnTo>
                    <a:pt x="450" y="563"/>
                  </a:lnTo>
                  <a:lnTo>
                    <a:pt x="450" y="561"/>
                  </a:lnTo>
                  <a:lnTo>
                    <a:pt x="449" y="558"/>
                  </a:lnTo>
                  <a:lnTo>
                    <a:pt x="448" y="557"/>
                  </a:lnTo>
                  <a:lnTo>
                    <a:pt x="446" y="554"/>
                  </a:lnTo>
                  <a:lnTo>
                    <a:pt x="446" y="557"/>
                  </a:lnTo>
                  <a:lnTo>
                    <a:pt x="445" y="559"/>
                  </a:lnTo>
                  <a:lnTo>
                    <a:pt x="444" y="558"/>
                  </a:lnTo>
                  <a:lnTo>
                    <a:pt x="443" y="558"/>
                  </a:lnTo>
                  <a:lnTo>
                    <a:pt x="443" y="561"/>
                  </a:lnTo>
                  <a:lnTo>
                    <a:pt x="442" y="563"/>
                  </a:lnTo>
                  <a:lnTo>
                    <a:pt x="440" y="562"/>
                  </a:lnTo>
                  <a:lnTo>
                    <a:pt x="440" y="559"/>
                  </a:lnTo>
                  <a:lnTo>
                    <a:pt x="440" y="554"/>
                  </a:lnTo>
                  <a:lnTo>
                    <a:pt x="440" y="551"/>
                  </a:lnTo>
                  <a:lnTo>
                    <a:pt x="439" y="550"/>
                  </a:lnTo>
                  <a:lnTo>
                    <a:pt x="439" y="556"/>
                  </a:lnTo>
                  <a:lnTo>
                    <a:pt x="438" y="556"/>
                  </a:lnTo>
                  <a:lnTo>
                    <a:pt x="437" y="553"/>
                  </a:lnTo>
                  <a:lnTo>
                    <a:pt x="436" y="553"/>
                  </a:lnTo>
                  <a:lnTo>
                    <a:pt x="437" y="551"/>
                  </a:lnTo>
                  <a:lnTo>
                    <a:pt x="436" y="548"/>
                  </a:lnTo>
                  <a:lnTo>
                    <a:pt x="436" y="547"/>
                  </a:lnTo>
                  <a:lnTo>
                    <a:pt x="434" y="551"/>
                  </a:lnTo>
                  <a:lnTo>
                    <a:pt x="434" y="553"/>
                  </a:lnTo>
                  <a:lnTo>
                    <a:pt x="433" y="550"/>
                  </a:lnTo>
                  <a:lnTo>
                    <a:pt x="432" y="547"/>
                  </a:lnTo>
                  <a:lnTo>
                    <a:pt x="432" y="545"/>
                  </a:lnTo>
                  <a:lnTo>
                    <a:pt x="432" y="544"/>
                  </a:lnTo>
                  <a:lnTo>
                    <a:pt x="431" y="541"/>
                  </a:lnTo>
                  <a:lnTo>
                    <a:pt x="428" y="541"/>
                  </a:lnTo>
                  <a:lnTo>
                    <a:pt x="427" y="542"/>
                  </a:lnTo>
                  <a:lnTo>
                    <a:pt x="427" y="544"/>
                  </a:lnTo>
                  <a:lnTo>
                    <a:pt x="428" y="544"/>
                  </a:lnTo>
                  <a:lnTo>
                    <a:pt x="430" y="545"/>
                  </a:lnTo>
                  <a:lnTo>
                    <a:pt x="431" y="546"/>
                  </a:lnTo>
                  <a:lnTo>
                    <a:pt x="432" y="547"/>
                  </a:lnTo>
                  <a:lnTo>
                    <a:pt x="432" y="548"/>
                  </a:lnTo>
                  <a:lnTo>
                    <a:pt x="432" y="550"/>
                  </a:lnTo>
                  <a:lnTo>
                    <a:pt x="432" y="552"/>
                  </a:lnTo>
                  <a:lnTo>
                    <a:pt x="432" y="553"/>
                  </a:lnTo>
                  <a:lnTo>
                    <a:pt x="428" y="554"/>
                  </a:lnTo>
                  <a:lnTo>
                    <a:pt x="428" y="553"/>
                  </a:lnTo>
                  <a:lnTo>
                    <a:pt x="428" y="554"/>
                  </a:lnTo>
                  <a:lnTo>
                    <a:pt x="428" y="557"/>
                  </a:lnTo>
                  <a:lnTo>
                    <a:pt x="428" y="558"/>
                  </a:lnTo>
                  <a:lnTo>
                    <a:pt x="431" y="558"/>
                  </a:lnTo>
                  <a:lnTo>
                    <a:pt x="432" y="558"/>
                  </a:lnTo>
                  <a:lnTo>
                    <a:pt x="433" y="557"/>
                  </a:lnTo>
                  <a:lnTo>
                    <a:pt x="434" y="557"/>
                  </a:lnTo>
                  <a:lnTo>
                    <a:pt x="434" y="559"/>
                  </a:lnTo>
                  <a:lnTo>
                    <a:pt x="436" y="559"/>
                  </a:lnTo>
                  <a:lnTo>
                    <a:pt x="438" y="561"/>
                  </a:lnTo>
                  <a:lnTo>
                    <a:pt x="439" y="562"/>
                  </a:lnTo>
                  <a:lnTo>
                    <a:pt x="437" y="562"/>
                  </a:lnTo>
                  <a:lnTo>
                    <a:pt x="436" y="562"/>
                  </a:lnTo>
                  <a:lnTo>
                    <a:pt x="434" y="563"/>
                  </a:lnTo>
                  <a:lnTo>
                    <a:pt x="433" y="563"/>
                  </a:lnTo>
                  <a:lnTo>
                    <a:pt x="433" y="567"/>
                  </a:lnTo>
                  <a:lnTo>
                    <a:pt x="434" y="569"/>
                  </a:lnTo>
                  <a:lnTo>
                    <a:pt x="434" y="571"/>
                  </a:lnTo>
                  <a:lnTo>
                    <a:pt x="436" y="573"/>
                  </a:lnTo>
                  <a:lnTo>
                    <a:pt x="436" y="575"/>
                  </a:lnTo>
                  <a:lnTo>
                    <a:pt x="439" y="576"/>
                  </a:lnTo>
                  <a:lnTo>
                    <a:pt x="440" y="577"/>
                  </a:lnTo>
                  <a:lnTo>
                    <a:pt x="443" y="577"/>
                  </a:lnTo>
                  <a:lnTo>
                    <a:pt x="445" y="577"/>
                  </a:lnTo>
                  <a:lnTo>
                    <a:pt x="446" y="579"/>
                  </a:lnTo>
                  <a:lnTo>
                    <a:pt x="449" y="579"/>
                  </a:lnTo>
                  <a:lnTo>
                    <a:pt x="454" y="580"/>
                  </a:lnTo>
                  <a:lnTo>
                    <a:pt x="459" y="580"/>
                  </a:lnTo>
                  <a:lnTo>
                    <a:pt x="461" y="581"/>
                  </a:lnTo>
                  <a:lnTo>
                    <a:pt x="465" y="582"/>
                  </a:lnTo>
                  <a:lnTo>
                    <a:pt x="471" y="583"/>
                  </a:lnTo>
                  <a:lnTo>
                    <a:pt x="474" y="583"/>
                  </a:lnTo>
                  <a:lnTo>
                    <a:pt x="474" y="585"/>
                  </a:lnTo>
                  <a:lnTo>
                    <a:pt x="472" y="585"/>
                  </a:lnTo>
                  <a:lnTo>
                    <a:pt x="468" y="585"/>
                  </a:lnTo>
                  <a:lnTo>
                    <a:pt x="469" y="585"/>
                  </a:lnTo>
                  <a:lnTo>
                    <a:pt x="469" y="586"/>
                  </a:lnTo>
                  <a:lnTo>
                    <a:pt x="469" y="587"/>
                  </a:lnTo>
                  <a:lnTo>
                    <a:pt x="468" y="586"/>
                  </a:lnTo>
                  <a:lnTo>
                    <a:pt x="467" y="585"/>
                  </a:lnTo>
                  <a:lnTo>
                    <a:pt x="466" y="583"/>
                  </a:lnTo>
                  <a:lnTo>
                    <a:pt x="465" y="583"/>
                  </a:lnTo>
                  <a:lnTo>
                    <a:pt x="466" y="586"/>
                  </a:lnTo>
                  <a:lnTo>
                    <a:pt x="467" y="587"/>
                  </a:lnTo>
                  <a:lnTo>
                    <a:pt x="466" y="587"/>
                  </a:lnTo>
                  <a:lnTo>
                    <a:pt x="463" y="587"/>
                  </a:lnTo>
                  <a:lnTo>
                    <a:pt x="462" y="586"/>
                  </a:lnTo>
                  <a:lnTo>
                    <a:pt x="461" y="586"/>
                  </a:lnTo>
                  <a:lnTo>
                    <a:pt x="462" y="587"/>
                  </a:lnTo>
                  <a:lnTo>
                    <a:pt x="461" y="587"/>
                  </a:lnTo>
                  <a:lnTo>
                    <a:pt x="459" y="587"/>
                  </a:lnTo>
                  <a:lnTo>
                    <a:pt x="457" y="587"/>
                  </a:lnTo>
                  <a:lnTo>
                    <a:pt x="456" y="587"/>
                  </a:lnTo>
                  <a:lnTo>
                    <a:pt x="456" y="588"/>
                  </a:lnTo>
                  <a:lnTo>
                    <a:pt x="459" y="588"/>
                  </a:lnTo>
                  <a:lnTo>
                    <a:pt x="461" y="588"/>
                  </a:lnTo>
                  <a:lnTo>
                    <a:pt x="465" y="588"/>
                  </a:lnTo>
                  <a:lnTo>
                    <a:pt x="466" y="589"/>
                  </a:lnTo>
                  <a:lnTo>
                    <a:pt x="469" y="589"/>
                  </a:lnTo>
                  <a:lnTo>
                    <a:pt x="471" y="591"/>
                  </a:lnTo>
                  <a:lnTo>
                    <a:pt x="473" y="591"/>
                  </a:lnTo>
                  <a:lnTo>
                    <a:pt x="475" y="589"/>
                  </a:lnTo>
                  <a:lnTo>
                    <a:pt x="478" y="589"/>
                  </a:lnTo>
                  <a:lnTo>
                    <a:pt x="477" y="591"/>
                  </a:lnTo>
                  <a:lnTo>
                    <a:pt x="478" y="591"/>
                  </a:lnTo>
                  <a:lnTo>
                    <a:pt x="478" y="592"/>
                  </a:lnTo>
                  <a:lnTo>
                    <a:pt x="475" y="592"/>
                  </a:lnTo>
                  <a:lnTo>
                    <a:pt x="478" y="593"/>
                  </a:lnTo>
                  <a:lnTo>
                    <a:pt x="479" y="594"/>
                  </a:lnTo>
                  <a:lnTo>
                    <a:pt x="481" y="593"/>
                  </a:lnTo>
                  <a:lnTo>
                    <a:pt x="484" y="593"/>
                  </a:lnTo>
                  <a:lnTo>
                    <a:pt x="487" y="592"/>
                  </a:lnTo>
                  <a:lnTo>
                    <a:pt x="490" y="591"/>
                  </a:lnTo>
                  <a:lnTo>
                    <a:pt x="493" y="592"/>
                  </a:lnTo>
                  <a:lnTo>
                    <a:pt x="492" y="592"/>
                  </a:lnTo>
                  <a:lnTo>
                    <a:pt x="493" y="592"/>
                  </a:lnTo>
                  <a:lnTo>
                    <a:pt x="496" y="591"/>
                  </a:lnTo>
                  <a:lnTo>
                    <a:pt x="499" y="589"/>
                  </a:lnTo>
                  <a:lnTo>
                    <a:pt x="502" y="588"/>
                  </a:lnTo>
                  <a:lnTo>
                    <a:pt x="503" y="588"/>
                  </a:lnTo>
                  <a:lnTo>
                    <a:pt x="504" y="587"/>
                  </a:lnTo>
                  <a:lnTo>
                    <a:pt x="504" y="588"/>
                  </a:lnTo>
                  <a:lnTo>
                    <a:pt x="503" y="589"/>
                  </a:lnTo>
                  <a:lnTo>
                    <a:pt x="505" y="588"/>
                  </a:lnTo>
                  <a:lnTo>
                    <a:pt x="507" y="588"/>
                  </a:lnTo>
                  <a:lnTo>
                    <a:pt x="507" y="587"/>
                  </a:lnTo>
                  <a:lnTo>
                    <a:pt x="509" y="587"/>
                  </a:lnTo>
                  <a:lnTo>
                    <a:pt x="510" y="587"/>
                  </a:lnTo>
                  <a:lnTo>
                    <a:pt x="511" y="587"/>
                  </a:lnTo>
                  <a:lnTo>
                    <a:pt x="513" y="586"/>
                  </a:lnTo>
                  <a:lnTo>
                    <a:pt x="515" y="586"/>
                  </a:lnTo>
                  <a:lnTo>
                    <a:pt x="516" y="586"/>
                  </a:lnTo>
                  <a:lnTo>
                    <a:pt x="518" y="585"/>
                  </a:lnTo>
                  <a:lnTo>
                    <a:pt x="516" y="583"/>
                  </a:lnTo>
                  <a:lnTo>
                    <a:pt x="519" y="583"/>
                  </a:lnTo>
                  <a:lnTo>
                    <a:pt x="519" y="585"/>
                  </a:lnTo>
                  <a:lnTo>
                    <a:pt x="520" y="585"/>
                  </a:lnTo>
                  <a:lnTo>
                    <a:pt x="521" y="585"/>
                  </a:lnTo>
                  <a:lnTo>
                    <a:pt x="521" y="582"/>
                  </a:lnTo>
                  <a:lnTo>
                    <a:pt x="522" y="581"/>
                  </a:lnTo>
                  <a:lnTo>
                    <a:pt x="524" y="582"/>
                  </a:lnTo>
                  <a:lnTo>
                    <a:pt x="524" y="583"/>
                  </a:lnTo>
                  <a:lnTo>
                    <a:pt x="525" y="583"/>
                  </a:lnTo>
                  <a:lnTo>
                    <a:pt x="526" y="583"/>
                  </a:lnTo>
                  <a:lnTo>
                    <a:pt x="527" y="583"/>
                  </a:lnTo>
                  <a:lnTo>
                    <a:pt x="528" y="582"/>
                  </a:lnTo>
                  <a:lnTo>
                    <a:pt x="530" y="583"/>
                  </a:lnTo>
                  <a:lnTo>
                    <a:pt x="531" y="582"/>
                  </a:lnTo>
                  <a:lnTo>
                    <a:pt x="532" y="582"/>
                  </a:lnTo>
                  <a:lnTo>
                    <a:pt x="533" y="581"/>
                  </a:lnTo>
                  <a:lnTo>
                    <a:pt x="534" y="581"/>
                  </a:lnTo>
                  <a:lnTo>
                    <a:pt x="539" y="579"/>
                  </a:lnTo>
                  <a:lnTo>
                    <a:pt x="538" y="581"/>
                  </a:lnTo>
                  <a:lnTo>
                    <a:pt x="538" y="582"/>
                  </a:lnTo>
                  <a:lnTo>
                    <a:pt x="539" y="581"/>
                  </a:lnTo>
                  <a:lnTo>
                    <a:pt x="542" y="580"/>
                  </a:lnTo>
                  <a:lnTo>
                    <a:pt x="540" y="582"/>
                  </a:lnTo>
                  <a:lnTo>
                    <a:pt x="539" y="582"/>
                  </a:lnTo>
                  <a:lnTo>
                    <a:pt x="542" y="582"/>
                  </a:lnTo>
                  <a:lnTo>
                    <a:pt x="543" y="583"/>
                  </a:lnTo>
                  <a:lnTo>
                    <a:pt x="540" y="583"/>
                  </a:lnTo>
                  <a:lnTo>
                    <a:pt x="539" y="583"/>
                  </a:lnTo>
                  <a:lnTo>
                    <a:pt x="537" y="583"/>
                  </a:lnTo>
                  <a:lnTo>
                    <a:pt x="537" y="586"/>
                  </a:lnTo>
                  <a:lnTo>
                    <a:pt x="537" y="587"/>
                  </a:lnTo>
                  <a:lnTo>
                    <a:pt x="536" y="586"/>
                  </a:lnTo>
                  <a:lnTo>
                    <a:pt x="534" y="585"/>
                  </a:lnTo>
                  <a:lnTo>
                    <a:pt x="533" y="583"/>
                  </a:lnTo>
                  <a:lnTo>
                    <a:pt x="532" y="583"/>
                  </a:lnTo>
                  <a:lnTo>
                    <a:pt x="532" y="586"/>
                  </a:lnTo>
                  <a:lnTo>
                    <a:pt x="532" y="585"/>
                  </a:lnTo>
                  <a:lnTo>
                    <a:pt x="531" y="585"/>
                  </a:lnTo>
                  <a:lnTo>
                    <a:pt x="530" y="585"/>
                  </a:lnTo>
                  <a:lnTo>
                    <a:pt x="530" y="586"/>
                  </a:lnTo>
                  <a:lnTo>
                    <a:pt x="531" y="587"/>
                  </a:lnTo>
                  <a:lnTo>
                    <a:pt x="532" y="588"/>
                  </a:lnTo>
                  <a:lnTo>
                    <a:pt x="532" y="591"/>
                  </a:lnTo>
                  <a:lnTo>
                    <a:pt x="532" y="593"/>
                  </a:lnTo>
                  <a:lnTo>
                    <a:pt x="530" y="597"/>
                  </a:lnTo>
                  <a:lnTo>
                    <a:pt x="528" y="597"/>
                  </a:lnTo>
                  <a:lnTo>
                    <a:pt x="528" y="595"/>
                  </a:lnTo>
                  <a:lnTo>
                    <a:pt x="528" y="593"/>
                  </a:lnTo>
                  <a:lnTo>
                    <a:pt x="528" y="592"/>
                  </a:lnTo>
                  <a:lnTo>
                    <a:pt x="528" y="593"/>
                  </a:lnTo>
                  <a:lnTo>
                    <a:pt x="527" y="594"/>
                  </a:lnTo>
                  <a:lnTo>
                    <a:pt x="527" y="597"/>
                  </a:lnTo>
                  <a:lnTo>
                    <a:pt x="528" y="598"/>
                  </a:lnTo>
                  <a:lnTo>
                    <a:pt x="527" y="598"/>
                  </a:lnTo>
                  <a:lnTo>
                    <a:pt x="525" y="599"/>
                  </a:lnTo>
                  <a:lnTo>
                    <a:pt x="525" y="601"/>
                  </a:lnTo>
                  <a:lnTo>
                    <a:pt x="522" y="603"/>
                  </a:lnTo>
                  <a:lnTo>
                    <a:pt x="524" y="604"/>
                  </a:lnTo>
                  <a:lnTo>
                    <a:pt x="525" y="601"/>
                  </a:lnTo>
                  <a:lnTo>
                    <a:pt x="527" y="601"/>
                  </a:lnTo>
                  <a:lnTo>
                    <a:pt x="530" y="601"/>
                  </a:lnTo>
                  <a:lnTo>
                    <a:pt x="531" y="603"/>
                  </a:lnTo>
                  <a:lnTo>
                    <a:pt x="532" y="603"/>
                  </a:lnTo>
                  <a:lnTo>
                    <a:pt x="533" y="601"/>
                  </a:lnTo>
                  <a:lnTo>
                    <a:pt x="537" y="603"/>
                  </a:lnTo>
                  <a:lnTo>
                    <a:pt x="538" y="604"/>
                  </a:lnTo>
                  <a:lnTo>
                    <a:pt x="537" y="604"/>
                  </a:lnTo>
                  <a:lnTo>
                    <a:pt x="534" y="604"/>
                  </a:lnTo>
                  <a:lnTo>
                    <a:pt x="533" y="604"/>
                  </a:lnTo>
                  <a:lnTo>
                    <a:pt x="532" y="604"/>
                  </a:lnTo>
                  <a:lnTo>
                    <a:pt x="531" y="604"/>
                  </a:lnTo>
                  <a:lnTo>
                    <a:pt x="530" y="603"/>
                  </a:lnTo>
                  <a:lnTo>
                    <a:pt x="528" y="603"/>
                  </a:lnTo>
                  <a:lnTo>
                    <a:pt x="528" y="604"/>
                  </a:lnTo>
                  <a:lnTo>
                    <a:pt x="531" y="605"/>
                  </a:lnTo>
                  <a:lnTo>
                    <a:pt x="532" y="606"/>
                  </a:lnTo>
                  <a:lnTo>
                    <a:pt x="531" y="606"/>
                  </a:lnTo>
                  <a:lnTo>
                    <a:pt x="530" y="606"/>
                  </a:lnTo>
                  <a:lnTo>
                    <a:pt x="528" y="606"/>
                  </a:lnTo>
                  <a:lnTo>
                    <a:pt x="528" y="605"/>
                  </a:lnTo>
                  <a:lnTo>
                    <a:pt x="527" y="605"/>
                  </a:lnTo>
                  <a:lnTo>
                    <a:pt x="526" y="604"/>
                  </a:lnTo>
                  <a:lnTo>
                    <a:pt x="526" y="605"/>
                  </a:lnTo>
                  <a:lnTo>
                    <a:pt x="526" y="606"/>
                  </a:lnTo>
                  <a:lnTo>
                    <a:pt x="527" y="606"/>
                  </a:lnTo>
                  <a:lnTo>
                    <a:pt x="526" y="607"/>
                  </a:lnTo>
                  <a:lnTo>
                    <a:pt x="527" y="609"/>
                  </a:lnTo>
                  <a:lnTo>
                    <a:pt x="528" y="607"/>
                  </a:lnTo>
                  <a:lnTo>
                    <a:pt x="530" y="607"/>
                  </a:lnTo>
                  <a:lnTo>
                    <a:pt x="532" y="607"/>
                  </a:lnTo>
                  <a:lnTo>
                    <a:pt x="534" y="606"/>
                  </a:lnTo>
                  <a:lnTo>
                    <a:pt x="536" y="606"/>
                  </a:lnTo>
                  <a:lnTo>
                    <a:pt x="539" y="606"/>
                  </a:lnTo>
                  <a:lnTo>
                    <a:pt x="540" y="606"/>
                  </a:lnTo>
                  <a:lnTo>
                    <a:pt x="540" y="607"/>
                  </a:lnTo>
                  <a:lnTo>
                    <a:pt x="539" y="607"/>
                  </a:lnTo>
                  <a:lnTo>
                    <a:pt x="539" y="609"/>
                  </a:lnTo>
                  <a:lnTo>
                    <a:pt x="542" y="607"/>
                  </a:lnTo>
                  <a:lnTo>
                    <a:pt x="543" y="609"/>
                  </a:lnTo>
                  <a:lnTo>
                    <a:pt x="540" y="610"/>
                  </a:lnTo>
                  <a:lnTo>
                    <a:pt x="539" y="609"/>
                  </a:lnTo>
                  <a:lnTo>
                    <a:pt x="538" y="609"/>
                  </a:lnTo>
                  <a:lnTo>
                    <a:pt x="537" y="610"/>
                  </a:lnTo>
                  <a:lnTo>
                    <a:pt x="538" y="611"/>
                  </a:lnTo>
                  <a:lnTo>
                    <a:pt x="539" y="611"/>
                  </a:lnTo>
                  <a:lnTo>
                    <a:pt x="543" y="611"/>
                  </a:lnTo>
                  <a:lnTo>
                    <a:pt x="545" y="610"/>
                  </a:lnTo>
                  <a:lnTo>
                    <a:pt x="549" y="607"/>
                  </a:lnTo>
                  <a:lnTo>
                    <a:pt x="551" y="606"/>
                  </a:lnTo>
                  <a:lnTo>
                    <a:pt x="551" y="607"/>
                  </a:lnTo>
                  <a:lnTo>
                    <a:pt x="550" y="609"/>
                  </a:lnTo>
                  <a:lnTo>
                    <a:pt x="551" y="609"/>
                  </a:lnTo>
                  <a:lnTo>
                    <a:pt x="554" y="609"/>
                  </a:lnTo>
                  <a:lnTo>
                    <a:pt x="555" y="607"/>
                  </a:lnTo>
                  <a:lnTo>
                    <a:pt x="556" y="607"/>
                  </a:lnTo>
                  <a:lnTo>
                    <a:pt x="558" y="605"/>
                  </a:lnTo>
                  <a:lnTo>
                    <a:pt x="560" y="606"/>
                  </a:lnTo>
                  <a:lnTo>
                    <a:pt x="561" y="606"/>
                  </a:lnTo>
                  <a:lnTo>
                    <a:pt x="562" y="605"/>
                  </a:lnTo>
                  <a:lnTo>
                    <a:pt x="564" y="605"/>
                  </a:lnTo>
                  <a:lnTo>
                    <a:pt x="566" y="605"/>
                  </a:lnTo>
                  <a:lnTo>
                    <a:pt x="563" y="606"/>
                  </a:lnTo>
                  <a:lnTo>
                    <a:pt x="562" y="607"/>
                  </a:lnTo>
                  <a:lnTo>
                    <a:pt x="562" y="609"/>
                  </a:lnTo>
                  <a:lnTo>
                    <a:pt x="563" y="610"/>
                  </a:lnTo>
                  <a:lnTo>
                    <a:pt x="564" y="610"/>
                  </a:lnTo>
                  <a:lnTo>
                    <a:pt x="563" y="611"/>
                  </a:lnTo>
                  <a:lnTo>
                    <a:pt x="562" y="610"/>
                  </a:lnTo>
                  <a:lnTo>
                    <a:pt x="561" y="609"/>
                  </a:lnTo>
                  <a:lnTo>
                    <a:pt x="560" y="609"/>
                  </a:lnTo>
                  <a:lnTo>
                    <a:pt x="557" y="609"/>
                  </a:lnTo>
                  <a:lnTo>
                    <a:pt x="558" y="611"/>
                  </a:lnTo>
                  <a:lnTo>
                    <a:pt x="560" y="612"/>
                  </a:lnTo>
                  <a:lnTo>
                    <a:pt x="558" y="612"/>
                  </a:lnTo>
                  <a:lnTo>
                    <a:pt x="557" y="611"/>
                  </a:lnTo>
                  <a:lnTo>
                    <a:pt x="556" y="610"/>
                  </a:lnTo>
                  <a:lnTo>
                    <a:pt x="556" y="609"/>
                  </a:lnTo>
                  <a:lnTo>
                    <a:pt x="554" y="610"/>
                  </a:lnTo>
                  <a:lnTo>
                    <a:pt x="555" y="612"/>
                  </a:lnTo>
                  <a:lnTo>
                    <a:pt x="556" y="615"/>
                  </a:lnTo>
                  <a:lnTo>
                    <a:pt x="555" y="616"/>
                  </a:lnTo>
                  <a:lnTo>
                    <a:pt x="555" y="617"/>
                  </a:lnTo>
                  <a:lnTo>
                    <a:pt x="556" y="617"/>
                  </a:lnTo>
                  <a:lnTo>
                    <a:pt x="558" y="617"/>
                  </a:lnTo>
                  <a:lnTo>
                    <a:pt x="560" y="617"/>
                  </a:lnTo>
                  <a:lnTo>
                    <a:pt x="562" y="615"/>
                  </a:lnTo>
                  <a:lnTo>
                    <a:pt x="563" y="615"/>
                  </a:lnTo>
                  <a:lnTo>
                    <a:pt x="563" y="616"/>
                  </a:lnTo>
                  <a:lnTo>
                    <a:pt x="566" y="616"/>
                  </a:lnTo>
                  <a:lnTo>
                    <a:pt x="567" y="615"/>
                  </a:lnTo>
                  <a:lnTo>
                    <a:pt x="569" y="616"/>
                  </a:lnTo>
                  <a:lnTo>
                    <a:pt x="566" y="617"/>
                  </a:lnTo>
                  <a:lnTo>
                    <a:pt x="563" y="617"/>
                  </a:lnTo>
                  <a:lnTo>
                    <a:pt x="564" y="618"/>
                  </a:lnTo>
                  <a:lnTo>
                    <a:pt x="564" y="619"/>
                  </a:lnTo>
                  <a:lnTo>
                    <a:pt x="563" y="619"/>
                  </a:lnTo>
                  <a:lnTo>
                    <a:pt x="562" y="619"/>
                  </a:lnTo>
                  <a:lnTo>
                    <a:pt x="561" y="618"/>
                  </a:lnTo>
                  <a:lnTo>
                    <a:pt x="560" y="618"/>
                  </a:lnTo>
                  <a:lnTo>
                    <a:pt x="560" y="619"/>
                  </a:lnTo>
                  <a:lnTo>
                    <a:pt x="560" y="621"/>
                  </a:lnTo>
                  <a:lnTo>
                    <a:pt x="558" y="621"/>
                  </a:lnTo>
                  <a:lnTo>
                    <a:pt x="557" y="619"/>
                  </a:lnTo>
                  <a:lnTo>
                    <a:pt x="556" y="619"/>
                  </a:lnTo>
                  <a:lnTo>
                    <a:pt x="557" y="619"/>
                  </a:lnTo>
                  <a:lnTo>
                    <a:pt x="557" y="622"/>
                  </a:lnTo>
                  <a:lnTo>
                    <a:pt x="557" y="621"/>
                  </a:lnTo>
                  <a:lnTo>
                    <a:pt x="556" y="621"/>
                  </a:lnTo>
                  <a:lnTo>
                    <a:pt x="555" y="619"/>
                  </a:lnTo>
                  <a:lnTo>
                    <a:pt x="554" y="619"/>
                  </a:lnTo>
                  <a:lnTo>
                    <a:pt x="552" y="619"/>
                  </a:lnTo>
                  <a:lnTo>
                    <a:pt x="555" y="623"/>
                  </a:lnTo>
                  <a:lnTo>
                    <a:pt x="554" y="623"/>
                  </a:lnTo>
                  <a:lnTo>
                    <a:pt x="552" y="622"/>
                  </a:lnTo>
                  <a:lnTo>
                    <a:pt x="552" y="621"/>
                  </a:lnTo>
                  <a:lnTo>
                    <a:pt x="551" y="621"/>
                  </a:lnTo>
                  <a:lnTo>
                    <a:pt x="551" y="622"/>
                  </a:lnTo>
                  <a:lnTo>
                    <a:pt x="551" y="623"/>
                  </a:lnTo>
                  <a:lnTo>
                    <a:pt x="551" y="625"/>
                  </a:lnTo>
                  <a:lnTo>
                    <a:pt x="550" y="625"/>
                  </a:lnTo>
                  <a:lnTo>
                    <a:pt x="549" y="625"/>
                  </a:lnTo>
                  <a:lnTo>
                    <a:pt x="548" y="625"/>
                  </a:lnTo>
                  <a:lnTo>
                    <a:pt x="548" y="628"/>
                  </a:lnTo>
                  <a:lnTo>
                    <a:pt x="549" y="630"/>
                  </a:lnTo>
                  <a:lnTo>
                    <a:pt x="548" y="630"/>
                  </a:lnTo>
                  <a:lnTo>
                    <a:pt x="546" y="630"/>
                  </a:lnTo>
                  <a:lnTo>
                    <a:pt x="545" y="629"/>
                  </a:lnTo>
                  <a:lnTo>
                    <a:pt x="545" y="630"/>
                  </a:lnTo>
                  <a:lnTo>
                    <a:pt x="546" y="631"/>
                  </a:lnTo>
                  <a:lnTo>
                    <a:pt x="549" y="631"/>
                  </a:lnTo>
                  <a:lnTo>
                    <a:pt x="549" y="633"/>
                  </a:lnTo>
                  <a:lnTo>
                    <a:pt x="546" y="633"/>
                  </a:lnTo>
                  <a:lnTo>
                    <a:pt x="546" y="634"/>
                  </a:lnTo>
                  <a:lnTo>
                    <a:pt x="549" y="635"/>
                  </a:lnTo>
                  <a:lnTo>
                    <a:pt x="550" y="636"/>
                  </a:lnTo>
                  <a:lnTo>
                    <a:pt x="550" y="637"/>
                  </a:lnTo>
                  <a:lnTo>
                    <a:pt x="549" y="637"/>
                  </a:lnTo>
                  <a:lnTo>
                    <a:pt x="546" y="636"/>
                  </a:lnTo>
                  <a:lnTo>
                    <a:pt x="545" y="635"/>
                  </a:lnTo>
                  <a:lnTo>
                    <a:pt x="545" y="636"/>
                  </a:lnTo>
                  <a:lnTo>
                    <a:pt x="544" y="636"/>
                  </a:lnTo>
                  <a:lnTo>
                    <a:pt x="543" y="635"/>
                  </a:lnTo>
                  <a:lnTo>
                    <a:pt x="542" y="635"/>
                  </a:lnTo>
                  <a:lnTo>
                    <a:pt x="542" y="636"/>
                  </a:lnTo>
                  <a:lnTo>
                    <a:pt x="542" y="637"/>
                  </a:lnTo>
                  <a:lnTo>
                    <a:pt x="542" y="639"/>
                  </a:lnTo>
                  <a:lnTo>
                    <a:pt x="544" y="639"/>
                  </a:lnTo>
                  <a:lnTo>
                    <a:pt x="546" y="639"/>
                  </a:lnTo>
                  <a:lnTo>
                    <a:pt x="549" y="639"/>
                  </a:lnTo>
                  <a:lnTo>
                    <a:pt x="551" y="639"/>
                  </a:lnTo>
                  <a:lnTo>
                    <a:pt x="554" y="639"/>
                  </a:lnTo>
                  <a:lnTo>
                    <a:pt x="556" y="639"/>
                  </a:lnTo>
                  <a:lnTo>
                    <a:pt x="558" y="637"/>
                  </a:lnTo>
                  <a:lnTo>
                    <a:pt x="560" y="637"/>
                  </a:lnTo>
                  <a:lnTo>
                    <a:pt x="562" y="637"/>
                  </a:lnTo>
                  <a:lnTo>
                    <a:pt x="564" y="637"/>
                  </a:lnTo>
                  <a:lnTo>
                    <a:pt x="564" y="640"/>
                  </a:lnTo>
                  <a:lnTo>
                    <a:pt x="562" y="640"/>
                  </a:lnTo>
                  <a:lnTo>
                    <a:pt x="561" y="641"/>
                  </a:lnTo>
                  <a:lnTo>
                    <a:pt x="560" y="640"/>
                  </a:lnTo>
                  <a:lnTo>
                    <a:pt x="558" y="640"/>
                  </a:lnTo>
                  <a:lnTo>
                    <a:pt x="560" y="643"/>
                  </a:lnTo>
                  <a:lnTo>
                    <a:pt x="558" y="645"/>
                  </a:lnTo>
                  <a:lnTo>
                    <a:pt x="558" y="643"/>
                  </a:lnTo>
                  <a:lnTo>
                    <a:pt x="557" y="642"/>
                  </a:lnTo>
                  <a:lnTo>
                    <a:pt x="557" y="641"/>
                  </a:lnTo>
                  <a:lnTo>
                    <a:pt x="556" y="641"/>
                  </a:lnTo>
                  <a:lnTo>
                    <a:pt x="556" y="643"/>
                  </a:lnTo>
                  <a:lnTo>
                    <a:pt x="557" y="645"/>
                  </a:lnTo>
                  <a:lnTo>
                    <a:pt x="557" y="647"/>
                  </a:lnTo>
                  <a:lnTo>
                    <a:pt x="557" y="651"/>
                  </a:lnTo>
                  <a:lnTo>
                    <a:pt x="557" y="652"/>
                  </a:lnTo>
                  <a:lnTo>
                    <a:pt x="556" y="652"/>
                  </a:lnTo>
                  <a:lnTo>
                    <a:pt x="555" y="649"/>
                  </a:lnTo>
                  <a:lnTo>
                    <a:pt x="555" y="648"/>
                  </a:lnTo>
                  <a:lnTo>
                    <a:pt x="555" y="646"/>
                  </a:lnTo>
                  <a:lnTo>
                    <a:pt x="555" y="645"/>
                  </a:lnTo>
                  <a:lnTo>
                    <a:pt x="554" y="643"/>
                  </a:lnTo>
                  <a:lnTo>
                    <a:pt x="552" y="643"/>
                  </a:lnTo>
                  <a:lnTo>
                    <a:pt x="552" y="645"/>
                  </a:lnTo>
                  <a:lnTo>
                    <a:pt x="552" y="646"/>
                  </a:lnTo>
                  <a:lnTo>
                    <a:pt x="552" y="648"/>
                  </a:lnTo>
                  <a:lnTo>
                    <a:pt x="551" y="648"/>
                  </a:lnTo>
                  <a:lnTo>
                    <a:pt x="550" y="646"/>
                  </a:lnTo>
                  <a:lnTo>
                    <a:pt x="549" y="646"/>
                  </a:lnTo>
                  <a:lnTo>
                    <a:pt x="549" y="645"/>
                  </a:lnTo>
                  <a:lnTo>
                    <a:pt x="548" y="645"/>
                  </a:lnTo>
                  <a:lnTo>
                    <a:pt x="548" y="646"/>
                  </a:lnTo>
                  <a:lnTo>
                    <a:pt x="548" y="647"/>
                  </a:lnTo>
                  <a:lnTo>
                    <a:pt x="548" y="648"/>
                  </a:lnTo>
                  <a:lnTo>
                    <a:pt x="549" y="648"/>
                  </a:lnTo>
                  <a:lnTo>
                    <a:pt x="549" y="649"/>
                  </a:lnTo>
                  <a:lnTo>
                    <a:pt x="550" y="651"/>
                  </a:lnTo>
                  <a:lnTo>
                    <a:pt x="551" y="653"/>
                  </a:lnTo>
                  <a:lnTo>
                    <a:pt x="550" y="653"/>
                  </a:lnTo>
                  <a:lnTo>
                    <a:pt x="549" y="653"/>
                  </a:lnTo>
                  <a:lnTo>
                    <a:pt x="548" y="653"/>
                  </a:lnTo>
                  <a:lnTo>
                    <a:pt x="546" y="653"/>
                  </a:lnTo>
                  <a:lnTo>
                    <a:pt x="548" y="653"/>
                  </a:lnTo>
                  <a:lnTo>
                    <a:pt x="548" y="654"/>
                  </a:lnTo>
                  <a:lnTo>
                    <a:pt x="549" y="654"/>
                  </a:lnTo>
                  <a:lnTo>
                    <a:pt x="550" y="654"/>
                  </a:lnTo>
                  <a:lnTo>
                    <a:pt x="551" y="654"/>
                  </a:lnTo>
                  <a:lnTo>
                    <a:pt x="552" y="654"/>
                  </a:lnTo>
                  <a:lnTo>
                    <a:pt x="555" y="653"/>
                  </a:lnTo>
                  <a:lnTo>
                    <a:pt x="556" y="653"/>
                  </a:lnTo>
                  <a:lnTo>
                    <a:pt x="558" y="652"/>
                  </a:lnTo>
                  <a:lnTo>
                    <a:pt x="561" y="652"/>
                  </a:lnTo>
                  <a:lnTo>
                    <a:pt x="563" y="652"/>
                  </a:lnTo>
                  <a:lnTo>
                    <a:pt x="566" y="651"/>
                  </a:lnTo>
                  <a:lnTo>
                    <a:pt x="569" y="649"/>
                  </a:lnTo>
                  <a:lnTo>
                    <a:pt x="570" y="649"/>
                  </a:lnTo>
                  <a:lnTo>
                    <a:pt x="573" y="651"/>
                  </a:lnTo>
                  <a:lnTo>
                    <a:pt x="574" y="649"/>
                  </a:lnTo>
                  <a:lnTo>
                    <a:pt x="575" y="648"/>
                  </a:lnTo>
                  <a:lnTo>
                    <a:pt x="578" y="648"/>
                  </a:lnTo>
                  <a:lnTo>
                    <a:pt x="580" y="648"/>
                  </a:lnTo>
                  <a:lnTo>
                    <a:pt x="583" y="648"/>
                  </a:lnTo>
                  <a:lnTo>
                    <a:pt x="584" y="647"/>
                  </a:lnTo>
                  <a:lnTo>
                    <a:pt x="585" y="647"/>
                  </a:lnTo>
                  <a:lnTo>
                    <a:pt x="585" y="648"/>
                  </a:lnTo>
                  <a:lnTo>
                    <a:pt x="584" y="649"/>
                  </a:lnTo>
                  <a:lnTo>
                    <a:pt x="586" y="649"/>
                  </a:lnTo>
                  <a:lnTo>
                    <a:pt x="586" y="648"/>
                  </a:lnTo>
                  <a:lnTo>
                    <a:pt x="587" y="647"/>
                  </a:lnTo>
                  <a:lnTo>
                    <a:pt x="587" y="648"/>
                  </a:lnTo>
                  <a:lnTo>
                    <a:pt x="589" y="647"/>
                  </a:lnTo>
                  <a:lnTo>
                    <a:pt x="590" y="647"/>
                  </a:lnTo>
                  <a:lnTo>
                    <a:pt x="592" y="645"/>
                  </a:lnTo>
                  <a:lnTo>
                    <a:pt x="593" y="646"/>
                  </a:lnTo>
                  <a:lnTo>
                    <a:pt x="592" y="647"/>
                  </a:lnTo>
                  <a:lnTo>
                    <a:pt x="597" y="646"/>
                  </a:lnTo>
                  <a:lnTo>
                    <a:pt x="597" y="647"/>
                  </a:lnTo>
                  <a:lnTo>
                    <a:pt x="595" y="648"/>
                  </a:lnTo>
                  <a:lnTo>
                    <a:pt x="592" y="648"/>
                  </a:lnTo>
                  <a:lnTo>
                    <a:pt x="592" y="649"/>
                  </a:lnTo>
                  <a:lnTo>
                    <a:pt x="595" y="651"/>
                  </a:lnTo>
                  <a:lnTo>
                    <a:pt x="596" y="651"/>
                  </a:lnTo>
                  <a:lnTo>
                    <a:pt x="596" y="652"/>
                  </a:lnTo>
                  <a:lnTo>
                    <a:pt x="595" y="651"/>
                  </a:lnTo>
                  <a:lnTo>
                    <a:pt x="592" y="649"/>
                  </a:lnTo>
                  <a:lnTo>
                    <a:pt x="590" y="649"/>
                  </a:lnTo>
                  <a:lnTo>
                    <a:pt x="589" y="649"/>
                  </a:lnTo>
                  <a:lnTo>
                    <a:pt x="589" y="651"/>
                  </a:lnTo>
                  <a:lnTo>
                    <a:pt x="590" y="652"/>
                  </a:lnTo>
                  <a:lnTo>
                    <a:pt x="590" y="653"/>
                  </a:lnTo>
                  <a:lnTo>
                    <a:pt x="589" y="653"/>
                  </a:lnTo>
                  <a:lnTo>
                    <a:pt x="589" y="652"/>
                  </a:lnTo>
                  <a:lnTo>
                    <a:pt x="587" y="651"/>
                  </a:lnTo>
                  <a:lnTo>
                    <a:pt x="586" y="649"/>
                  </a:lnTo>
                  <a:lnTo>
                    <a:pt x="584" y="649"/>
                  </a:lnTo>
                  <a:lnTo>
                    <a:pt x="583" y="651"/>
                  </a:lnTo>
                  <a:lnTo>
                    <a:pt x="584" y="652"/>
                  </a:lnTo>
                  <a:lnTo>
                    <a:pt x="585" y="653"/>
                  </a:lnTo>
                  <a:lnTo>
                    <a:pt x="586" y="654"/>
                  </a:lnTo>
                  <a:lnTo>
                    <a:pt x="586" y="655"/>
                  </a:lnTo>
                  <a:lnTo>
                    <a:pt x="586" y="659"/>
                  </a:lnTo>
                  <a:lnTo>
                    <a:pt x="585" y="659"/>
                  </a:lnTo>
                  <a:lnTo>
                    <a:pt x="585" y="660"/>
                  </a:lnTo>
                  <a:lnTo>
                    <a:pt x="585" y="661"/>
                  </a:lnTo>
                  <a:lnTo>
                    <a:pt x="585" y="664"/>
                  </a:lnTo>
                  <a:lnTo>
                    <a:pt x="584" y="664"/>
                  </a:lnTo>
                  <a:lnTo>
                    <a:pt x="584" y="663"/>
                  </a:lnTo>
                  <a:lnTo>
                    <a:pt x="583" y="661"/>
                  </a:lnTo>
                  <a:lnTo>
                    <a:pt x="581" y="659"/>
                  </a:lnTo>
                  <a:lnTo>
                    <a:pt x="581" y="657"/>
                  </a:lnTo>
                  <a:lnTo>
                    <a:pt x="581" y="658"/>
                  </a:lnTo>
                  <a:lnTo>
                    <a:pt x="581" y="659"/>
                  </a:lnTo>
                  <a:lnTo>
                    <a:pt x="580" y="658"/>
                  </a:lnTo>
                  <a:lnTo>
                    <a:pt x="580" y="657"/>
                  </a:lnTo>
                  <a:lnTo>
                    <a:pt x="580" y="654"/>
                  </a:lnTo>
                  <a:lnTo>
                    <a:pt x="579" y="653"/>
                  </a:lnTo>
                  <a:lnTo>
                    <a:pt x="578" y="652"/>
                  </a:lnTo>
                  <a:lnTo>
                    <a:pt x="578" y="654"/>
                  </a:lnTo>
                  <a:lnTo>
                    <a:pt x="579" y="654"/>
                  </a:lnTo>
                  <a:lnTo>
                    <a:pt x="578" y="654"/>
                  </a:lnTo>
                  <a:lnTo>
                    <a:pt x="576" y="655"/>
                  </a:lnTo>
                  <a:lnTo>
                    <a:pt x="576" y="653"/>
                  </a:lnTo>
                  <a:lnTo>
                    <a:pt x="575" y="653"/>
                  </a:lnTo>
                  <a:lnTo>
                    <a:pt x="575" y="654"/>
                  </a:lnTo>
                  <a:lnTo>
                    <a:pt x="575" y="655"/>
                  </a:lnTo>
                  <a:lnTo>
                    <a:pt x="576" y="658"/>
                  </a:lnTo>
                  <a:lnTo>
                    <a:pt x="575" y="658"/>
                  </a:lnTo>
                  <a:lnTo>
                    <a:pt x="574" y="657"/>
                  </a:lnTo>
                  <a:lnTo>
                    <a:pt x="573" y="655"/>
                  </a:lnTo>
                  <a:lnTo>
                    <a:pt x="573" y="657"/>
                  </a:lnTo>
                  <a:lnTo>
                    <a:pt x="574" y="659"/>
                  </a:lnTo>
                  <a:lnTo>
                    <a:pt x="575" y="661"/>
                  </a:lnTo>
                  <a:lnTo>
                    <a:pt x="575" y="664"/>
                  </a:lnTo>
                  <a:lnTo>
                    <a:pt x="574" y="664"/>
                  </a:lnTo>
                  <a:lnTo>
                    <a:pt x="574" y="663"/>
                  </a:lnTo>
                  <a:lnTo>
                    <a:pt x="573" y="661"/>
                  </a:lnTo>
                  <a:lnTo>
                    <a:pt x="573" y="659"/>
                  </a:lnTo>
                  <a:lnTo>
                    <a:pt x="572" y="658"/>
                  </a:lnTo>
                  <a:lnTo>
                    <a:pt x="570" y="658"/>
                  </a:lnTo>
                  <a:lnTo>
                    <a:pt x="570" y="659"/>
                  </a:lnTo>
                  <a:lnTo>
                    <a:pt x="569" y="659"/>
                  </a:lnTo>
                  <a:lnTo>
                    <a:pt x="569" y="660"/>
                  </a:lnTo>
                  <a:lnTo>
                    <a:pt x="569" y="661"/>
                  </a:lnTo>
                  <a:lnTo>
                    <a:pt x="569" y="663"/>
                  </a:lnTo>
                  <a:lnTo>
                    <a:pt x="568" y="663"/>
                  </a:lnTo>
                  <a:lnTo>
                    <a:pt x="568" y="660"/>
                  </a:lnTo>
                  <a:lnTo>
                    <a:pt x="567" y="660"/>
                  </a:lnTo>
                  <a:lnTo>
                    <a:pt x="566" y="659"/>
                  </a:lnTo>
                  <a:lnTo>
                    <a:pt x="564" y="659"/>
                  </a:lnTo>
                  <a:lnTo>
                    <a:pt x="564" y="660"/>
                  </a:lnTo>
                  <a:lnTo>
                    <a:pt x="566" y="661"/>
                  </a:lnTo>
                  <a:lnTo>
                    <a:pt x="568" y="663"/>
                  </a:lnTo>
                  <a:lnTo>
                    <a:pt x="568" y="664"/>
                  </a:lnTo>
                  <a:lnTo>
                    <a:pt x="567" y="664"/>
                  </a:lnTo>
                  <a:lnTo>
                    <a:pt x="566" y="663"/>
                  </a:lnTo>
                  <a:lnTo>
                    <a:pt x="564" y="663"/>
                  </a:lnTo>
                  <a:lnTo>
                    <a:pt x="566" y="665"/>
                  </a:lnTo>
                  <a:lnTo>
                    <a:pt x="567" y="666"/>
                  </a:lnTo>
                  <a:lnTo>
                    <a:pt x="568" y="668"/>
                  </a:lnTo>
                  <a:lnTo>
                    <a:pt x="569" y="669"/>
                  </a:lnTo>
                  <a:lnTo>
                    <a:pt x="575" y="671"/>
                  </a:lnTo>
                  <a:lnTo>
                    <a:pt x="574" y="672"/>
                  </a:lnTo>
                  <a:lnTo>
                    <a:pt x="573" y="672"/>
                  </a:lnTo>
                  <a:lnTo>
                    <a:pt x="573" y="671"/>
                  </a:lnTo>
                  <a:lnTo>
                    <a:pt x="572" y="671"/>
                  </a:lnTo>
                  <a:lnTo>
                    <a:pt x="572" y="672"/>
                  </a:lnTo>
                  <a:lnTo>
                    <a:pt x="572" y="674"/>
                  </a:lnTo>
                  <a:lnTo>
                    <a:pt x="570" y="674"/>
                  </a:lnTo>
                  <a:lnTo>
                    <a:pt x="570" y="672"/>
                  </a:lnTo>
                  <a:lnTo>
                    <a:pt x="569" y="671"/>
                  </a:lnTo>
                  <a:lnTo>
                    <a:pt x="568" y="670"/>
                  </a:lnTo>
                  <a:lnTo>
                    <a:pt x="568" y="671"/>
                  </a:lnTo>
                  <a:lnTo>
                    <a:pt x="568" y="672"/>
                  </a:lnTo>
                  <a:lnTo>
                    <a:pt x="568" y="675"/>
                  </a:lnTo>
                  <a:lnTo>
                    <a:pt x="567" y="675"/>
                  </a:lnTo>
                  <a:lnTo>
                    <a:pt x="567" y="674"/>
                  </a:lnTo>
                  <a:lnTo>
                    <a:pt x="566" y="674"/>
                  </a:lnTo>
                  <a:lnTo>
                    <a:pt x="564" y="674"/>
                  </a:lnTo>
                  <a:lnTo>
                    <a:pt x="564" y="675"/>
                  </a:lnTo>
                  <a:lnTo>
                    <a:pt x="564" y="674"/>
                  </a:lnTo>
                  <a:lnTo>
                    <a:pt x="563" y="674"/>
                  </a:lnTo>
                  <a:lnTo>
                    <a:pt x="563" y="672"/>
                  </a:lnTo>
                  <a:lnTo>
                    <a:pt x="563" y="671"/>
                  </a:lnTo>
                  <a:lnTo>
                    <a:pt x="564" y="671"/>
                  </a:lnTo>
                  <a:lnTo>
                    <a:pt x="564" y="669"/>
                  </a:lnTo>
                  <a:lnTo>
                    <a:pt x="563" y="668"/>
                  </a:lnTo>
                  <a:lnTo>
                    <a:pt x="563" y="669"/>
                  </a:lnTo>
                  <a:lnTo>
                    <a:pt x="562" y="670"/>
                  </a:lnTo>
                  <a:lnTo>
                    <a:pt x="561" y="669"/>
                  </a:lnTo>
                  <a:lnTo>
                    <a:pt x="560" y="669"/>
                  </a:lnTo>
                  <a:lnTo>
                    <a:pt x="560" y="671"/>
                  </a:lnTo>
                  <a:lnTo>
                    <a:pt x="558" y="672"/>
                  </a:lnTo>
                  <a:lnTo>
                    <a:pt x="558" y="671"/>
                  </a:lnTo>
                  <a:lnTo>
                    <a:pt x="558" y="669"/>
                  </a:lnTo>
                  <a:lnTo>
                    <a:pt x="558" y="668"/>
                  </a:lnTo>
                  <a:lnTo>
                    <a:pt x="558" y="665"/>
                  </a:lnTo>
                  <a:lnTo>
                    <a:pt x="557" y="664"/>
                  </a:lnTo>
                  <a:lnTo>
                    <a:pt x="557" y="663"/>
                  </a:lnTo>
                  <a:lnTo>
                    <a:pt x="557" y="664"/>
                  </a:lnTo>
                  <a:lnTo>
                    <a:pt x="556" y="665"/>
                  </a:lnTo>
                  <a:lnTo>
                    <a:pt x="556" y="664"/>
                  </a:lnTo>
                  <a:lnTo>
                    <a:pt x="555" y="664"/>
                  </a:lnTo>
                  <a:lnTo>
                    <a:pt x="556" y="665"/>
                  </a:lnTo>
                  <a:lnTo>
                    <a:pt x="556" y="666"/>
                  </a:lnTo>
                  <a:lnTo>
                    <a:pt x="555" y="668"/>
                  </a:lnTo>
                  <a:lnTo>
                    <a:pt x="554" y="668"/>
                  </a:lnTo>
                  <a:lnTo>
                    <a:pt x="554" y="669"/>
                  </a:lnTo>
                  <a:lnTo>
                    <a:pt x="554" y="670"/>
                  </a:lnTo>
                  <a:lnTo>
                    <a:pt x="555" y="671"/>
                  </a:lnTo>
                  <a:lnTo>
                    <a:pt x="557" y="671"/>
                  </a:lnTo>
                  <a:lnTo>
                    <a:pt x="557" y="672"/>
                  </a:lnTo>
                  <a:lnTo>
                    <a:pt x="557" y="674"/>
                  </a:lnTo>
                  <a:lnTo>
                    <a:pt x="558" y="674"/>
                  </a:lnTo>
                  <a:lnTo>
                    <a:pt x="558" y="675"/>
                  </a:lnTo>
                  <a:lnTo>
                    <a:pt x="560" y="676"/>
                  </a:lnTo>
                  <a:lnTo>
                    <a:pt x="563" y="677"/>
                  </a:lnTo>
                  <a:lnTo>
                    <a:pt x="564" y="677"/>
                  </a:lnTo>
                  <a:lnTo>
                    <a:pt x="566" y="677"/>
                  </a:lnTo>
                  <a:lnTo>
                    <a:pt x="568" y="677"/>
                  </a:lnTo>
                  <a:lnTo>
                    <a:pt x="570" y="677"/>
                  </a:lnTo>
                  <a:lnTo>
                    <a:pt x="572" y="677"/>
                  </a:lnTo>
                  <a:lnTo>
                    <a:pt x="572" y="678"/>
                  </a:lnTo>
                  <a:lnTo>
                    <a:pt x="573" y="678"/>
                  </a:lnTo>
                  <a:lnTo>
                    <a:pt x="574" y="680"/>
                  </a:lnTo>
                  <a:lnTo>
                    <a:pt x="572" y="680"/>
                  </a:lnTo>
                  <a:lnTo>
                    <a:pt x="570" y="678"/>
                  </a:lnTo>
                  <a:lnTo>
                    <a:pt x="570" y="680"/>
                  </a:lnTo>
                  <a:lnTo>
                    <a:pt x="569" y="681"/>
                  </a:lnTo>
                  <a:lnTo>
                    <a:pt x="569" y="682"/>
                  </a:lnTo>
                  <a:lnTo>
                    <a:pt x="569" y="681"/>
                  </a:lnTo>
                  <a:lnTo>
                    <a:pt x="568" y="680"/>
                  </a:lnTo>
                  <a:lnTo>
                    <a:pt x="568" y="678"/>
                  </a:lnTo>
                  <a:lnTo>
                    <a:pt x="567" y="678"/>
                  </a:lnTo>
                  <a:lnTo>
                    <a:pt x="566" y="678"/>
                  </a:lnTo>
                  <a:lnTo>
                    <a:pt x="566" y="680"/>
                  </a:lnTo>
                  <a:lnTo>
                    <a:pt x="567" y="681"/>
                  </a:lnTo>
                  <a:lnTo>
                    <a:pt x="568" y="683"/>
                  </a:lnTo>
                  <a:lnTo>
                    <a:pt x="567" y="684"/>
                  </a:lnTo>
                  <a:lnTo>
                    <a:pt x="566" y="683"/>
                  </a:lnTo>
                  <a:lnTo>
                    <a:pt x="564" y="682"/>
                  </a:lnTo>
                  <a:lnTo>
                    <a:pt x="563" y="681"/>
                  </a:lnTo>
                  <a:lnTo>
                    <a:pt x="563" y="680"/>
                  </a:lnTo>
                  <a:lnTo>
                    <a:pt x="561" y="678"/>
                  </a:lnTo>
                  <a:lnTo>
                    <a:pt x="560" y="677"/>
                  </a:lnTo>
                  <a:lnTo>
                    <a:pt x="560" y="678"/>
                  </a:lnTo>
                  <a:lnTo>
                    <a:pt x="560" y="680"/>
                  </a:lnTo>
                  <a:lnTo>
                    <a:pt x="560" y="681"/>
                  </a:lnTo>
                  <a:lnTo>
                    <a:pt x="560" y="682"/>
                  </a:lnTo>
                  <a:lnTo>
                    <a:pt x="561" y="684"/>
                  </a:lnTo>
                  <a:lnTo>
                    <a:pt x="561" y="686"/>
                  </a:lnTo>
                  <a:lnTo>
                    <a:pt x="558" y="687"/>
                  </a:lnTo>
                  <a:lnTo>
                    <a:pt x="558" y="684"/>
                  </a:lnTo>
                  <a:lnTo>
                    <a:pt x="558" y="683"/>
                  </a:lnTo>
                  <a:lnTo>
                    <a:pt x="558" y="682"/>
                  </a:lnTo>
                  <a:lnTo>
                    <a:pt x="558" y="681"/>
                  </a:lnTo>
                  <a:lnTo>
                    <a:pt x="557" y="683"/>
                  </a:lnTo>
                  <a:lnTo>
                    <a:pt x="557" y="682"/>
                  </a:lnTo>
                  <a:lnTo>
                    <a:pt x="556" y="681"/>
                  </a:lnTo>
                  <a:lnTo>
                    <a:pt x="555" y="680"/>
                  </a:lnTo>
                  <a:lnTo>
                    <a:pt x="555" y="678"/>
                  </a:lnTo>
                  <a:lnTo>
                    <a:pt x="555" y="680"/>
                  </a:lnTo>
                  <a:lnTo>
                    <a:pt x="555" y="682"/>
                  </a:lnTo>
                  <a:lnTo>
                    <a:pt x="555" y="683"/>
                  </a:lnTo>
                  <a:lnTo>
                    <a:pt x="554" y="682"/>
                  </a:lnTo>
                  <a:lnTo>
                    <a:pt x="552" y="680"/>
                  </a:lnTo>
                  <a:lnTo>
                    <a:pt x="551" y="678"/>
                  </a:lnTo>
                  <a:lnTo>
                    <a:pt x="551" y="680"/>
                  </a:lnTo>
                  <a:lnTo>
                    <a:pt x="552" y="682"/>
                  </a:lnTo>
                  <a:lnTo>
                    <a:pt x="552" y="683"/>
                  </a:lnTo>
                  <a:lnTo>
                    <a:pt x="552" y="684"/>
                  </a:lnTo>
                  <a:lnTo>
                    <a:pt x="552" y="687"/>
                  </a:lnTo>
                  <a:lnTo>
                    <a:pt x="552" y="688"/>
                  </a:lnTo>
                  <a:lnTo>
                    <a:pt x="554" y="690"/>
                  </a:lnTo>
                  <a:lnTo>
                    <a:pt x="554" y="692"/>
                  </a:lnTo>
                  <a:lnTo>
                    <a:pt x="555" y="694"/>
                  </a:lnTo>
                  <a:lnTo>
                    <a:pt x="552" y="694"/>
                  </a:lnTo>
                  <a:lnTo>
                    <a:pt x="554" y="695"/>
                  </a:lnTo>
                  <a:lnTo>
                    <a:pt x="555" y="695"/>
                  </a:lnTo>
                  <a:lnTo>
                    <a:pt x="556" y="695"/>
                  </a:lnTo>
                  <a:lnTo>
                    <a:pt x="558" y="695"/>
                  </a:lnTo>
                  <a:lnTo>
                    <a:pt x="560" y="694"/>
                  </a:lnTo>
                  <a:lnTo>
                    <a:pt x="562" y="694"/>
                  </a:lnTo>
                  <a:lnTo>
                    <a:pt x="563" y="694"/>
                  </a:lnTo>
                  <a:lnTo>
                    <a:pt x="566" y="692"/>
                  </a:lnTo>
                  <a:lnTo>
                    <a:pt x="568" y="690"/>
                  </a:lnTo>
                  <a:lnTo>
                    <a:pt x="569" y="689"/>
                  </a:lnTo>
                  <a:lnTo>
                    <a:pt x="572" y="689"/>
                  </a:lnTo>
                  <a:lnTo>
                    <a:pt x="573" y="688"/>
                  </a:lnTo>
                  <a:lnTo>
                    <a:pt x="573" y="687"/>
                  </a:lnTo>
                  <a:lnTo>
                    <a:pt x="574" y="687"/>
                  </a:lnTo>
                  <a:lnTo>
                    <a:pt x="574" y="686"/>
                  </a:lnTo>
                  <a:lnTo>
                    <a:pt x="576" y="686"/>
                  </a:lnTo>
                  <a:lnTo>
                    <a:pt x="578" y="684"/>
                  </a:lnTo>
                  <a:lnTo>
                    <a:pt x="578" y="687"/>
                  </a:lnTo>
                  <a:lnTo>
                    <a:pt x="579" y="688"/>
                  </a:lnTo>
                  <a:lnTo>
                    <a:pt x="580" y="689"/>
                  </a:lnTo>
                  <a:lnTo>
                    <a:pt x="578" y="689"/>
                  </a:lnTo>
                  <a:lnTo>
                    <a:pt x="576" y="690"/>
                  </a:lnTo>
                  <a:lnTo>
                    <a:pt x="574" y="693"/>
                  </a:lnTo>
                  <a:lnTo>
                    <a:pt x="573" y="692"/>
                  </a:lnTo>
                  <a:lnTo>
                    <a:pt x="574" y="693"/>
                  </a:lnTo>
                  <a:lnTo>
                    <a:pt x="575" y="694"/>
                  </a:lnTo>
                  <a:lnTo>
                    <a:pt x="576" y="694"/>
                  </a:lnTo>
                  <a:lnTo>
                    <a:pt x="579" y="693"/>
                  </a:lnTo>
                  <a:lnTo>
                    <a:pt x="581" y="693"/>
                  </a:lnTo>
                  <a:lnTo>
                    <a:pt x="584" y="693"/>
                  </a:lnTo>
                  <a:lnTo>
                    <a:pt x="586" y="692"/>
                  </a:lnTo>
                  <a:lnTo>
                    <a:pt x="589" y="690"/>
                  </a:lnTo>
                  <a:lnTo>
                    <a:pt x="591" y="689"/>
                  </a:lnTo>
                  <a:lnTo>
                    <a:pt x="595" y="686"/>
                  </a:lnTo>
                  <a:lnTo>
                    <a:pt x="601" y="683"/>
                  </a:lnTo>
                  <a:lnTo>
                    <a:pt x="605" y="681"/>
                  </a:lnTo>
                  <a:lnTo>
                    <a:pt x="607" y="680"/>
                  </a:lnTo>
                  <a:lnTo>
                    <a:pt x="608" y="680"/>
                  </a:lnTo>
                  <a:lnTo>
                    <a:pt x="609" y="680"/>
                  </a:lnTo>
                  <a:lnTo>
                    <a:pt x="610" y="678"/>
                  </a:lnTo>
                  <a:lnTo>
                    <a:pt x="613" y="677"/>
                  </a:lnTo>
                  <a:lnTo>
                    <a:pt x="614" y="676"/>
                  </a:lnTo>
                  <a:lnTo>
                    <a:pt x="616" y="676"/>
                  </a:lnTo>
                  <a:lnTo>
                    <a:pt x="622" y="675"/>
                  </a:lnTo>
                  <a:lnTo>
                    <a:pt x="622" y="676"/>
                  </a:lnTo>
                  <a:lnTo>
                    <a:pt x="621" y="676"/>
                  </a:lnTo>
                  <a:lnTo>
                    <a:pt x="617" y="677"/>
                  </a:lnTo>
                  <a:lnTo>
                    <a:pt x="617" y="678"/>
                  </a:lnTo>
                  <a:lnTo>
                    <a:pt x="619" y="680"/>
                  </a:lnTo>
                  <a:lnTo>
                    <a:pt x="616" y="680"/>
                  </a:lnTo>
                  <a:lnTo>
                    <a:pt x="615" y="678"/>
                  </a:lnTo>
                  <a:lnTo>
                    <a:pt x="614" y="680"/>
                  </a:lnTo>
                  <a:lnTo>
                    <a:pt x="615" y="680"/>
                  </a:lnTo>
                  <a:lnTo>
                    <a:pt x="616" y="681"/>
                  </a:lnTo>
                  <a:lnTo>
                    <a:pt x="614" y="681"/>
                  </a:lnTo>
                  <a:lnTo>
                    <a:pt x="613" y="682"/>
                  </a:lnTo>
                  <a:lnTo>
                    <a:pt x="610" y="682"/>
                  </a:lnTo>
                  <a:lnTo>
                    <a:pt x="611" y="683"/>
                  </a:lnTo>
                  <a:lnTo>
                    <a:pt x="611" y="684"/>
                  </a:lnTo>
                  <a:lnTo>
                    <a:pt x="610" y="683"/>
                  </a:lnTo>
                  <a:lnTo>
                    <a:pt x="609" y="683"/>
                  </a:lnTo>
                  <a:lnTo>
                    <a:pt x="608" y="683"/>
                  </a:lnTo>
                  <a:lnTo>
                    <a:pt x="610" y="686"/>
                  </a:lnTo>
                  <a:lnTo>
                    <a:pt x="609" y="687"/>
                  </a:lnTo>
                  <a:lnTo>
                    <a:pt x="608" y="686"/>
                  </a:lnTo>
                  <a:lnTo>
                    <a:pt x="607" y="684"/>
                  </a:lnTo>
                  <a:lnTo>
                    <a:pt x="605" y="683"/>
                  </a:lnTo>
                  <a:lnTo>
                    <a:pt x="604" y="684"/>
                  </a:lnTo>
                  <a:lnTo>
                    <a:pt x="605" y="687"/>
                  </a:lnTo>
                  <a:lnTo>
                    <a:pt x="607" y="687"/>
                  </a:lnTo>
                  <a:lnTo>
                    <a:pt x="607" y="688"/>
                  </a:lnTo>
                  <a:lnTo>
                    <a:pt x="605" y="688"/>
                  </a:lnTo>
                  <a:lnTo>
                    <a:pt x="608" y="689"/>
                  </a:lnTo>
                  <a:lnTo>
                    <a:pt x="609" y="690"/>
                  </a:lnTo>
                  <a:lnTo>
                    <a:pt x="604" y="689"/>
                  </a:lnTo>
                  <a:lnTo>
                    <a:pt x="603" y="688"/>
                  </a:lnTo>
                  <a:lnTo>
                    <a:pt x="602" y="687"/>
                  </a:lnTo>
                  <a:lnTo>
                    <a:pt x="603" y="689"/>
                  </a:lnTo>
                  <a:lnTo>
                    <a:pt x="603" y="692"/>
                  </a:lnTo>
                  <a:lnTo>
                    <a:pt x="602" y="690"/>
                  </a:lnTo>
                  <a:lnTo>
                    <a:pt x="599" y="688"/>
                  </a:lnTo>
                  <a:lnTo>
                    <a:pt x="599" y="689"/>
                  </a:lnTo>
                  <a:lnTo>
                    <a:pt x="601" y="692"/>
                  </a:lnTo>
                  <a:lnTo>
                    <a:pt x="602" y="694"/>
                  </a:lnTo>
                  <a:lnTo>
                    <a:pt x="603" y="698"/>
                  </a:lnTo>
                  <a:lnTo>
                    <a:pt x="603" y="700"/>
                  </a:lnTo>
                  <a:lnTo>
                    <a:pt x="603" y="701"/>
                  </a:lnTo>
                  <a:lnTo>
                    <a:pt x="602" y="700"/>
                  </a:lnTo>
                  <a:lnTo>
                    <a:pt x="601" y="699"/>
                  </a:lnTo>
                  <a:lnTo>
                    <a:pt x="599" y="698"/>
                  </a:lnTo>
                  <a:lnTo>
                    <a:pt x="599" y="696"/>
                  </a:lnTo>
                  <a:lnTo>
                    <a:pt x="598" y="695"/>
                  </a:lnTo>
                  <a:lnTo>
                    <a:pt x="597" y="696"/>
                  </a:lnTo>
                  <a:lnTo>
                    <a:pt x="598" y="698"/>
                  </a:lnTo>
                  <a:lnTo>
                    <a:pt x="598" y="699"/>
                  </a:lnTo>
                  <a:lnTo>
                    <a:pt x="599" y="700"/>
                  </a:lnTo>
                  <a:lnTo>
                    <a:pt x="599" y="701"/>
                  </a:lnTo>
                  <a:lnTo>
                    <a:pt x="598" y="701"/>
                  </a:lnTo>
                  <a:lnTo>
                    <a:pt x="599" y="701"/>
                  </a:lnTo>
                  <a:lnTo>
                    <a:pt x="598" y="702"/>
                  </a:lnTo>
                  <a:lnTo>
                    <a:pt x="598" y="704"/>
                  </a:lnTo>
                  <a:lnTo>
                    <a:pt x="597" y="704"/>
                  </a:lnTo>
                  <a:lnTo>
                    <a:pt x="596" y="702"/>
                  </a:lnTo>
                  <a:lnTo>
                    <a:pt x="596" y="701"/>
                  </a:lnTo>
                  <a:lnTo>
                    <a:pt x="595" y="701"/>
                  </a:lnTo>
                  <a:lnTo>
                    <a:pt x="595" y="704"/>
                  </a:lnTo>
                  <a:lnTo>
                    <a:pt x="596" y="707"/>
                  </a:lnTo>
                  <a:lnTo>
                    <a:pt x="595" y="706"/>
                  </a:lnTo>
                  <a:lnTo>
                    <a:pt x="593" y="707"/>
                  </a:lnTo>
                  <a:lnTo>
                    <a:pt x="592" y="705"/>
                  </a:lnTo>
                  <a:lnTo>
                    <a:pt x="592" y="702"/>
                  </a:lnTo>
                  <a:lnTo>
                    <a:pt x="592" y="701"/>
                  </a:lnTo>
                  <a:lnTo>
                    <a:pt x="591" y="701"/>
                  </a:lnTo>
                  <a:lnTo>
                    <a:pt x="591" y="702"/>
                  </a:lnTo>
                  <a:lnTo>
                    <a:pt x="591" y="705"/>
                  </a:lnTo>
                  <a:lnTo>
                    <a:pt x="590" y="705"/>
                  </a:lnTo>
                  <a:lnTo>
                    <a:pt x="590" y="702"/>
                  </a:lnTo>
                  <a:lnTo>
                    <a:pt x="589" y="701"/>
                  </a:lnTo>
                  <a:lnTo>
                    <a:pt x="589" y="704"/>
                  </a:lnTo>
                  <a:lnTo>
                    <a:pt x="587" y="704"/>
                  </a:lnTo>
                  <a:lnTo>
                    <a:pt x="587" y="705"/>
                  </a:lnTo>
                  <a:lnTo>
                    <a:pt x="586" y="705"/>
                  </a:lnTo>
                  <a:lnTo>
                    <a:pt x="587" y="707"/>
                  </a:lnTo>
                  <a:lnTo>
                    <a:pt x="587" y="708"/>
                  </a:lnTo>
                  <a:lnTo>
                    <a:pt x="587" y="710"/>
                  </a:lnTo>
                  <a:lnTo>
                    <a:pt x="586" y="711"/>
                  </a:lnTo>
                  <a:lnTo>
                    <a:pt x="586" y="712"/>
                  </a:lnTo>
                  <a:lnTo>
                    <a:pt x="587" y="714"/>
                  </a:lnTo>
                  <a:lnTo>
                    <a:pt x="586" y="714"/>
                  </a:lnTo>
                  <a:lnTo>
                    <a:pt x="585" y="713"/>
                  </a:lnTo>
                  <a:lnTo>
                    <a:pt x="585" y="711"/>
                  </a:lnTo>
                  <a:lnTo>
                    <a:pt x="585" y="708"/>
                  </a:lnTo>
                  <a:lnTo>
                    <a:pt x="583" y="710"/>
                  </a:lnTo>
                  <a:lnTo>
                    <a:pt x="583" y="708"/>
                  </a:lnTo>
                  <a:lnTo>
                    <a:pt x="581" y="708"/>
                  </a:lnTo>
                  <a:lnTo>
                    <a:pt x="581" y="710"/>
                  </a:lnTo>
                  <a:lnTo>
                    <a:pt x="581" y="712"/>
                  </a:lnTo>
                  <a:lnTo>
                    <a:pt x="580" y="711"/>
                  </a:lnTo>
                  <a:lnTo>
                    <a:pt x="579" y="710"/>
                  </a:lnTo>
                  <a:lnTo>
                    <a:pt x="579" y="708"/>
                  </a:lnTo>
                  <a:lnTo>
                    <a:pt x="578" y="708"/>
                  </a:lnTo>
                  <a:lnTo>
                    <a:pt x="579" y="711"/>
                  </a:lnTo>
                  <a:lnTo>
                    <a:pt x="579" y="712"/>
                  </a:lnTo>
                  <a:lnTo>
                    <a:pt x="581" y="713"/>
                  </a:lnTo>
                  <a:lnTo>
                    <a:pt x="583" y="714"/>
                  </a:lnTo>
                  <a:lnTo>
                    <a:pt x="587" y="716"/>
                  </a:lnTo>
                  <a:lnTo>
                    <a:pt x="587" y="717"/>
                  </a:lnTo>
                  <a:lnTo>
                    <a:pt x="590" y="718"/>
                  </a:lnTo>
                  <a:lnTo>
                    <a:pt x="592" y="718"/>
                  </a:lnTo>
                  <a:lnTo>
                    <a:pt x="598" y="716"/>
                  </a:lnTo>
                  <a:lnTo>
                    <a:pt x="598" y="717"/>
                  </a:lnTo>
                  <a:lnTo>
                    <a:pt x="593" y="718"/>
                  </a:lnTo>
                  <a:lnTo>
                    <a:pt x="593" y="719"/>
                  </a:lnTo>
                  <a:lnTo>
                    <a:pt x="596" y="720"/>
                  </a:lnTo>
                  <a:lnTo>
                    <a:pt x="597" y="723"/>
                  </a:lnTo>
                  <a:lnTo>
                    <a:pt x="595" y="722"/>
                  </a:lnTo>
                  <a:lnTo>
                    <a:pt x="593" y="720"/>
                  </a:lnTo>
                  <a:lnTo>
                    <a:pt x="593" y="724"/>
                  </a:lnTo>
                  <a:lnTo>
                    <a:pt x="592" y="722"/>
                  </a:lnTo>
                  <a:lnTo>
                    <a:pt x="591" y="719"/>
                  </a:lnTo>
                  <a:lnTo>
                    <a:pt x="590" y="719"/>
                  </a:lnTo>
                  <a:lnTo>
                    <a:pt x="590" y="720"/>
                  </a:lnTo>
                  <a:lnTo>
                    <a:pt x="590" y="724"/>
                  </a:lnTo>
                  <a:lnTo>
                    <a:pt x="589" y="724"/>
                  </a:lnTo>
                  <a:lnTo>
                    <a:pt x="587" y="723"/>
                  </a:lnTo>
                  <a:lnTo>
                    <a:pt x="589" y="723"/>
                  </a:lnTo>
                  <a:lnTo>
                    <a:pt x="589" y="722"/>
                  </a:lnTo>
                  <a:lnTo>
                    <a:pt x="589" y="720"/>
                  </a:lnTo>
                  <a:lnTo>
                    <a:pt x="587" y="720"/>
                  </a:lnTo>
                  <a:lnTo>
                    <a:pt x="585" y="720"/>
                  </a:lnTo>
                  <a:lnTo>
                    <a:pt x="584" y="720"/>
                  </a:lnTo>
                  <a:lnTo>
                    <a:pt x="585" y="723"/>
                  </a:lnTo>
                  <a:lnTo>
                    <a:pt x="587" y="724"/>
                  </a:lnTo>
                  <a:lnTo>
                    <a:pt x="589" y="725"/>
                  </a:lnTo>
                  <a:lnTo>
                    <a:pt x="589" y="726"/>
                  </a:lnTo>
                  <a:lnTo>
                    <a:pt x="585" y="725"/>
                  </a:lnTo>
                  <a:lnTo>
                    <a:pt x="586" y="725"/>
                  </a:lnTo>
                  <a:lnTo>
                    <a:pt x="587" y="728"/>
                  </a:lnTo>
                  <a:lnTo>
                    <a:pt x="587" y="729"/>
                  </a:lnTo>
                  <a:lnTo>
                    <a:pt x="586" y="729"/>
                  </a:lnTo>
                  <a:lnTo>
                    <a:pt x="585" y="728"/>
                  </a:lnTo>
                  <a:lnTo>
                    <a:pt x="584" y="725"/>
                  </a:lnTo>
                  <a:lnTo>
                    <a:pt x="581" y="723"/>
                  </a:lnTo>
                  <a:lnTo>
                    <a:pt x="579" y="722"/>
                  </a:lnTo>
                  <a:lnTo>
                    <a:pt x="576" y="722"/>
                  </a:lnTo>
                  <a:lnTo>
                    <a:pt x="574" y="722"/>
                  </a:lnTo>
                  <a:lnTo>
                    <a:pt x="575" y="725"/>
                  </a:lnTo>
                  <a:lnTo>
                    <a:pt x="578" y="728"/>
                  </a:lnTo>
                  <a:lnTo>
                    <a:pt x="578" y="729"/>
                  </a:lnTo>
                  <a:lnTo>
                    <a:pt x="580" y="729"/>
                  </a:lnTo>
                  <a:lnTo>
                    <a:pt x="583" y="730"/>
                  </a:lnTo>
                  <a:lnTo>
                    <a:pt x="584" y="731"/>
                  </a:lnTo>
                  <a:lnTo>
                    <a:pt x="586" y="732"/>
                  </a:lnTo>
                  <a:lnTo>
                    <a:pt x="586" y="734"/>
                  </a:lnTo>
                  <a:lnTo>
                    <a:pt x="586" y="735"/>
                  </a:lnTo>
                  <a:lnTo>
                    <a:pt x="585" y="735"/>
                  </a:lnTo>
                  <a:lnTo>
                    <a:pt x="584" y="734"/>
                  </a:lnTo>
                  <a:lnTo>
                    <a:pt x="584" y="735"/>
                  </a:lnTo>
                  <a:lnTo>
                    <a:pt x="583" y="734"/>
                  </a:lnTo>
                  <a:lnTo>
                    <a:pt x="581" y="732"/>
                  </a:lnTo>
                  <a:lnTo>
                    <a:pt x="579" y="730"/>
                  </a:lnTo>
                  <a:lnTo>
                    <a:pt x="578" y="730"/>
                  </a:lnTo>
                  <a:lnTo>
                    <a:pt x="576" y="729"/>
                  </a:lnTo>
                  <a:lnTo>
                    <a:pt x="578" y="731"/>
                  </a:lnTo>
                  <a:lnTo>
                    <a:pt x="579" y="735"/>
                  </a:lnTo>
                  <a:lnTo>
                    <a:pt x="576" y="735"/>
                  </a:lnTo>
                  <a:lnTo>
                    <a:pt x="575" y="734"/>
                  </a:lnTo>
                  <a:lnTo>
                    <a:pt x="575" y="735"/>
                  </a:lnTo>
                  <a:lnTo>
                    <a:pt x="575" y="736"/>
                  </a:lnTo>
                  <a:lnTo>
                    <a:pt x="574" y="735"/>
                  </a:lnTo>
                  <a:lnTo>
                    <a:pt x="573" y="734"/>
                  </a:lnTo>
                  <a:lnTo>
                    <a:pt x="573" y="732"/>
                  </a:lnTo>
                  <a:lnTo>
                    <a:pt x="573" y="730"/>
                  </a:lnTo>
                  <a:lnTo>
                    <a:pt x="572" y="728"/>
                  </a:lnTo>
                  <a:lnTo>
                    <a:pt x="570" y="730"/>
                  </a:lnTo>
                  <a:lnTo>
                    <a:pt x="572" y="728"/>
                  </a:lnTo>
                  <a:lnTo>
                    <a:pt x="572" y="726"/>
                  </a:lnTo>
                  <a:lnTo>
                    <a:pt x="570" y="725"/>
                  </a:lnTo>
                  <a:lnTo>
                    <a:pt x="569" y="725"/>
                  </a:lnTo>
                  <a:lnTo>
                    <a:pt x="569" y="726"/>
                  </a:lnTo>
                  <a:lnTo>
                    <a:pt x="568" y="724"/>
                  </a:lnTo>
                  <a:lnTo>
                    <a:pt x="568" y="723"/>
                  </a:lnTo>
                  <a:lnTo>
                    <a:pt x="567" y="723"/>
                  </a:lnTo>
                  <a:lnTo>
                    <a:pt x="567" y="724"/>
                  </a:lnTo>
                  <a:lnTo>
                    <a:pt x="567" y="726"/>
                  </a:lnTo>
                  <a:lnTo>
                    <a:pt x="568" y="729"/>
                  </a:lnTo>
                  <a:lnTo>
                    <a:pt x="568" y="731"/>
                  </a:lnTo>
                  <a:lnTo>
                    <a:pt x="568" y="732"/>
                  </a:lnTo>
                  <a:lnTo>
                    <a:pt x="569" y="734"/>
                  </a:lnTo>
                  <a:lnTo>
                    <a:pt x="569" y="735"/>
                  </a:lnTo>
                  <a:lnTo>
                    <a:pt x="569" y="736"/>
                  </a:lnTo>
                  <a:lnTo>
                    <a:pt x="568" y="740"/>
                  </a:lnTo>
                  <a:lnTo>
                    <a:pt x="568" y="738"/>
                  </a:lnTo>
                  <a:lnTo>
                    <a:pt x="566" y="737"/>
                  </a:lnTo>
                  <a:lnTo>
                    <a:pt x="564" y="737"/>
                  </a:lnTo>
                  <a:lnTo>
                    <a:pt x="564" y="736"/>
                  </a:lnTo>
                  <a:lnTo>
                    <a:pt x="564" y="734"/>
                  </a:lnTo>
                  <a:lnTo>
                    <a:pt x="564" y="731"/>
                  </a:lnTo>
                  <a:lnTo>
                    <a:pt x="563" y="732"/>
                  </a:lnTo>
                  <a:lnTo>
                    <a:pt x="563" y="734"/>
                  </a:lnTo>
                  <a:lnTo>
                    <a:pt x="563" y="736"/>
                  </a:lnTo>
                  <a:lnTo>
                    <a:pt x="563" y="737"/>
                  </a:lnTo>
                  <a:lnTo>
                    <a:pt x="563" y="738"/>
                  </a:lnTo>
                  <a:lnTo>
                    <a:pt x="563" y="740"/>
                  </a:lnTo>
                  <a:lnTo>
                    <a:pt x="562" y="741"/>
                  </a:lnTo>
                  <a:lnTo>
                    <a:pt x="562" y="740"/>
                  </a:lnTo>
                  <a:lnTo>
                    <a:pt x="561" y="741"/>
                  </a:lnTo>
                  <a:lnTo>
                    <a:pt x="561" y="742"/>
                  </a:lnTo>
                  <a:lnTo>
                    <a:pt x="560" y="742"/>
                  </a:lnTo>
                  <a:lnTo>
                    <a:pt x="560" y="740"/>
                  </a:lnTo>
                  <a:lnTo>
                    <a:pt x="561" y="736"/>
                  </a:lnTo>
                  <a:lnTo>
                    <a:pt x="560" y="734"/>
                  </a:lnTo>
                  <a:lnTo>
                    <a:pt x="560" y="730"/>
                  </a:lnTo>
                  <a:lnTo>
                    <a:pt x="558" y="735"/>
                  </a:lnTo>
                  <a:lnTo>
                    <a:pt x="557" y="735"/>
                  </a:lnTo>
                  <a:lnTo>
                    <a:pt x="557" y="732"/>
                  </a:lnTo>
                  <a:lnTo>
                    <a:pt x="557" y="730"/>
                  </a:lnTo>
                  <a:lnTo>
                    <a:pt x="556" y="728"/>
                  </a:lnTo>
                  <a:lnTo>
                    <a:pt x="556" y="725"/>
                  </a:lnTo>
                  <a:lnTo>
                    <a:pt x="555" y="724"/>
                  </a:lnTo>
                  <a:lnTo>
                    <a:pt x="555" y="726"/>
                  </a:lnTo>
                  <a:lnTo>
                    <a:pt x="555" y="730"/>
                  </a:lnTo>
                  <a:lnTo>
                    <a:pt x="556" y="734"/>
                  </a:lnTo>
                  <a:lnTo>
                    <a:pt x="556" y="735"/>
                  </a:lnTo>
                  <a:lnTo>
                    <a:pt x="557" y="737"/>
                  </a:lnTo>
                  <a:lnTo>
                    <a:pt x="558" y="740"/>
                  </a:lnTo>
                  <a:lnTo>
                    <a:pt x="557" y="740"/>
                  </a:lnTo>
                  <a:lnTo>
                    <a:pt x="557" y="741"/>
                  </a:lnTo>
                  <a:lnTo>
                    <a:pt x="556" y="741"/>
                  </a:lnTo>
                  <a:lnTo>
                    <a:pt x="556" y="740"/>
                  </a:lnTo>
                  <a:lnTo>
                    <a:pt x="555" y="738"/>
                  </a:lnTo>
                  <a:lnTo>
                    <a:pt x="554" y="736"/>
                  </a:lnTo>
                  <a:lnTo>
                    <a:pt x="554" y="735"/>
                  </a:lnTo>
                  <a:lnTo>
                    <a:pt x="554" y="732"/>
                  </a:lnTo>
                  <a:lnTo>
                    <a:pt x="552" y="731"/>
                  </a:lnTo>
                  <a:lnTo>
                    <a:pt x="552" y="732"/>
                  </a:lnTo>
                  <a:lnTo>
                    <a:pt x="552" y="735"/>
                  </a:lnTo>
                  <a:lnTo>
                    <a:pt x="552" y="736"/>
                  </a:lnTo>
                  <a:lnTo>
                    <a:pt x="551" y="737"/>
                  </a:lnTo>
                  <a:lnTo>
                    <a:pt x="550" y="735"/>
                  </a:lnTo>
                  <a:lnTo>
                    <a:pt x="550" y="732"/>
                  </a:lnTo>
                  <a:lnTo>
                    <a:pt x="549" y="732"/>
                  </a:lnTo>
                  <a:lnTo>
                    <a:pt x="548" y="729"/>
                  </a:lnTo>
                  <a:lnTo>
                    <a:pt x="548" y="730"/>
                  </a:lnTo>
                  <a:lnTo>
                    <a:pt x="548" y="732"/>
                  </a:lnTo>
                  <a:lnTo>
                    <a:pt x="549" y="735"/>
                  </a:lnTo>
                  <a:lnTo>
                    <a:pt x="549" y="737"/>
                  </a:lnTo>
                  <a:lnTo>
                    <a:pt x="548" y="737"/>
                  </a:lnTo>
                  <a:lnTo>
                    <a:pt x="549" y="738"/>
                  </a:lnTo>
                  <a:lnTo>
                    <a:pt x="548" y="740"/>
                  </a:lnTo>
                  <a:lnTo>
                    <a:pt x="546" y="738"/>
                  </a:lnTo>
                  <a:lnTo>
                    <a:pt x="546" y="741"/>
                  </a:lnTo>
                  <a:lnTo>
                    <a:pt x="548" y="742"/>
                  </a:lnTo>
                  <a:lnTo>
                    <a:pt x="548" y="743"/>
                  </a:lnTo>
                  <a:lnTo>
                    <a:pt x="551" y="744"/>
                  </a:lnTo>
                  <a:lnTo>
                    <a:pt x="550" y="744"/>
                  </a:lnTo>
                  <a:lnTo>
                    <a:pt x="548" y="743"/>
                  </a:lnTo>
                  <a:lnTo>
                    <a:pt x="549" y="744"/>
                  </a:lnTo>
                  <a:lnTo>
                    <a:pt x="549" y="747"/>
                  </a:lnTo>
                  <a:lnTo>
                    <a:pt x="548" y="747"/>
                  </a:lnTo>
                  <a:lnTo>
                    <a:pt x="546" y="747"/>
                  </a:lnTo>
                  <a:lnTo>
                    <a:pt x="543" y="743"/>
                  </a:lnTo>
                  <a:lnTo>
                    <a:pt x="543" y="741"/>
                  </a:lnTo>
                  <a:lnTo>
                    <a:pt x="542" y="740"/>
                  </a:lnTo>
                  <a:lnTo>
                    <a:pt x="543" y="735"/>
                  </a:lnTo>
                  <a:lnTo>
                    <a:pt x="542" y="734"/>
                  </a:lnTo>
                  <a:lnTo>
                    <a:pt x="542" y="730"/>
                  </a:lnTo>
                  <a:lnTo>
                    <a:pt x="542" y="729"/>
                  </a:lnTo>
                  <a:lnTo>
                    <a:pt x="540" y="729"/>
                  </a:lnTo>
                  <a:lnTo>
                    <a:pt x="540" y="731"/>
                  </a:lnTo>
                  <a:lnTo>
                    <a:pt x="540" y="732"/>
                  </a:lnTo>
                  <a:lnTo>
                    <a:pt x="539" y="732"/>
                  </a:lnTo>
                  <a:lnTo>
                    <a:pt x="539" y="735"/>
                  </a:lnTo>
                  <a:lnTo>
                    <a:pt x="539" y="737"/>
                  </a:lnTo>
                  <a:lnTo>
                    <a:pt x="540" y="740"/>
                  </a:lnTo>
                  <a:lnTo>
                    <a:pt x="540" y="741"/>
                  </a:lnTo>
                  <a:lnTo>
                    <a:pt x="540" y="742"/>
                  </a:lnTo>
                  <a:lnTo>
                    <a:pt x="542" y="743"/>
                  </a:lnTo>
                  <a:lnTo>
                    <a:pt x="543" y="746"/>
                  </a:lnTo>
                  <a:lnTo>
                    <a:pt x="544" y="747"/>
                  </a:lnTo>
                  <a:lnTo>
                    <a:pt x="544" y="749"/>
                  </a:lnTo>
                  <a:lnTo>
                    <a:pt x="543" y="750"/>
                  </a:lnTo>
                  <a:lnTo>
                    <a:pt x="543" y="752"/>
                  </a:lnTo>
                  <a:lnTo>
                    <a:pt x="543" y="753"/>
                  </a:lnTo>
                  <a:lnTo>
                    <a:pt x="544" y="755"/>
                  </a:lnTo>
                  <a:lnTo>
                    <a:pt x="544" y="756"/>
                  </a:lnTo>
                  <a:lnTo>
                    <a:pt x="545" y="758"/>
                  </a:lnTo>
                  <a:lnTo>
                    <a:pt x="548" y="758"/>
                  </a:lnTo>
                  <a:lnTo>
                    <a:pt x="550" y="758"/>
                  </a:lnTo>
                  <a:lnTo>
                    <a:pt x="554" y="756"/>
                  </a:lnTo>
                  <a:lnTo>
                    <a:pt x="557" y="755"/>
                  </a:lnTo>
                  <a:lnTo>
                    <a:pt x="558" y="754"/>
                  </a:lnTo>
                  <a:lnTo>
                    <a:pt x="560" y="754"/>
                  </a:lnTo>
                  <a:lnTo>
                    <a:pt x="562" y="754"/>
                  </a:lnTo>
                  <a:lnTo>
                    <a:pt x="564" y="753"/>
                  </a:lnTo>
                  <a:lnTo>
                    <a:pt x="567" y="753"/>
                  </a:lnTo>
                  <a:lnTo>
                    <a:pt x="567" y="754"/>
                  </a:lnTo>
                  <a:lnTo>
                    <a:pt x="566" y="755"/>
                  </a:lnTo>
                  <a:lnTo>
                    <a:pt x="566" y="756"/>
                  </a:lnTo>
                  <a:lnTo>
                    <a:pt x="564" y="756"/>
                  </a:lnTo>
                  <a:lnTo>
                    <a:pt x="563" y="756"/>
                  </a:lnTo>
                  <a:lnTo>
                    <a:pt x="564" y="758"/>
                  </a:lnTo>
                  <a:lnTo>
                    <a:pt x="563" y="758"/>
                  </a:lnTo>
                  <a:lnTo>
                    <a:pt x="562" y="758"/>
                  </a:lnTo>
                  <a:lnTo>
                    <a:pt x="561" y="756"/>
                  </a:lnTo>
                  <a:lnTo>
                    <a:pt x="560" y="758"/>
                  </a:lnTo>
                  <a:lnTo>
                    <a:pt x="562" y="759"/>
                  </a:lnTo>
                  <a:lnTo>
                    <a:pt x="562" y="760"/>
                  </a:lnTo>
                  <a:lnTo>
                    <a:pt x="561" y="761"/>
                  </a:lnTo>
                  <a:lnTo>
                    <a:pt x="560" y="761"/>
                  </a:lnTo>
                  <a:lnTo>
                    <a:pt x="558" y="761"/>
                  </a:lnTo>
                  <a:lnTo>
                    <a:pt x="557" y="760"/>
                  </a:lnTo>
                  <a:lnTo>
                    <a:pt x="558" y="761"/>
                  </a:lnTo>
                  <a:lnTo>
                    <a:pt x="558" y="764"/>
                  </a:lnTo>
                  <a:lnTo>
                    <a:pt x="557" y="765"/>
                  </a:lnTo>
                  <a:lnTo>
                    <a:pt x="557" y="766"/>
                  </a:lnTo>
                  <a:lnTo>
                    <a:pt x="556" y="767"/>
                  </a:lnTo>
                  <a:lnTo>
                    <a:pt x="555" y="767"/>
                  </a:lnTo>
                  <a:lnTo>
                    <a:pt x="554" y="767"/>
                  </a:lnTo>
                  <a:lnTo>
                    <a:pt x="554" y="768"/>
                  </a:lnTo>
                  <a:lnTo>
                    <a:pt x="551" y="770"/>
                  </a:lnTo>
                  <a:lnTo>
                    <a:pt x="554" y="771"/>
                  </a:lnTo>
                  <a:lnTo>
                    <a:pt x="554" y="772"/>
                  </a:lnTo>
                  <a:lnTo>
                    <a:pt x="552" y="772"/>
                  </a:lnTo>
                  <a:lnTo>
                    <a:pt x="551" y="773"/>
                  </a:lnTo>
                  <a:lnTo>
                    <a:pt x="550" y="773"/>
                  </a:lnTo>
                  <a:lnTo>
                    <a:pt x="550" y="772"/>
                  </a:lnTo>
                  <a:lnTo>
                    <a:pt x="549" y="772"/>
                  </a:lnTo>
                  <a:lnTo>
                    <a:pt x="548" y="772"/>
                  </a:lnTo>
                  <a:lnTo>
                    <a:pt x="546" y="770"/>
                  </a:lnTo>
                  <a:lnTo>
                    <a:pt x="546" y="768"/>
                  </a:lnTo>
                  <a:lnTo>
                    <a:pt x="545" y="770"/>
                  </a:lnTo>
                  <a:lnTo>
                    <a:pt x="546" y="771"/>
                  </a:lnTo>
                  <a:lnTo>
                    <a:pt x="548" y="772"/>
                  </a:lnTo>
                  <a:lnTo>
                    <a:pt x="548" y="773"/>
                  </a:lnTo>
                  <a:lnTo>
                    <a:pt x="546" y="775"/>
                  </a:lnTo>
                  <a:lnTo>
                    <a:pt x="546" y="776"/>
                  </a:lnTo>
                  <a:lnTo>
                    <a:pt x="544" y="776"/>
                  </a:lnTo>
                  <a:lnTo>
                    <a:pt x="543" y="777"/>
                  </a:lnTo>
                  <a:lnTo>
                    <a:pt x="540" y="776"/>
                  </a:lnTo>
                  <a:lnTo>
                    <a:pt x="540" y="777"/>
                  </a:lnTo>
                  <a:lnTo>
                    <a:pt x="538" y="777"/>
                  </a:lnTo>
                  <a:lnTo>
                    <a:pt x="537" y="776"/>
                  </a:lnTo>
                  <a:lnTo>
                    <a:pt x="536" y="777"/>
                  </a:lnTo>
                  <a:lnTo>
                    <a:pt x="534" y="777"/>
                  </a:lnTo>
                  <a:lnTo>
                    <a:pt x="533" y="777"/>
                  </a:lnTo>
                  <a:lnTo>
                    <a:pt x="533" y="776"/>
                  </a:lnTo>
                  <a:lnTo>
                    <a:pt x="532" y="776"/>
                  </a:lnTo>
                  <a:lnTo>
                    <a:pt x="531" y="776"/>
                  </a:lnTo>
                  <a:lnTo>
                    <a:pt x="530" y="776"/>
                  </a:lnTo>
                  <a:lnTo>
                    <a:pt x="530" y="775"/>
                  </a:lnTo>
                  <a:lnTo>
                    <a:pt x="528" y="776"/>
                  </a:lnTo>
                  <a:lnTo>
                    <a:pt x="527" y="776"/>
                  </a:lnTo>
                  <a:lnTo>
                    <a:pt x="526" y="776"/>
                  </a:lnTo>
                  <a:lnTo>
                    <a:pt x="525" y="776"/>
                  </a:lnTo>
                  <a:lnTo>
                    <a:pt x="524" y="776"/>
                  </a:lnTo>
                  <a:lnTo>
                    <a:pt x="524" y="777"/>
                  </a:lnTo>
                  <a:lnTo>
                    <a:pt x="521" y="777"/>
                  </a:lnTo>
                  <a:lnTo>
                    <a:pt x="520" y="777"/>
                  </a:lnTo>
                  <a:lnTo>
                    <a:pt x="519" y="777"/>
                  </a:lnTo>
                  <a:lnTo>
                    <a:pt x="518" y="778"/>
                  </a:lnTo>
                  <a:lnTo>
                    <a:pt x="518" y="777"/>
                  </a:lnTo>
                  <a:lnTo>
                    <a:pt x="516" y="776"/>
                  </a:lnTo>
                  <a:lnTo>
                    <a:pt x="515" y="776"/>
                  </a:lnTo>
                  <a:lnTo>
                    <a:pt x="515" y="777"/>
                  </a:lnTo>
                  <a:lnTo>
                    <a:pt x="514" y="777"/>
                  </a:lnTo>
                  <a:lnTo>
                    <a:pt x="513" y="777"/>
                  </a:lnTo>
                  <a:lnTo>
                    <a:pt x="511" y="777"/>
                  </a:lnTo>
                  <a:lnTo>
                    <a:pt x="510" y="777"/>
                  </a:lnTo>
                  <a:lnTo>
                    <a:pt x="509" y="778"/>
                  </a:lnTo>
                  <a:lnTo>
                    <a:pt x="508" y="779"/>
                  </a:lnTo>
                  <a:lnTo>
                    <a:pt x="507" y="781"/>
                  </a:lnTo>
                  <a:lnTo>
                    <a:pt x="507" y="782"/>
                  </a:lnTo>
                  <a:lnTo>
                    <a:pt x="505" y="782"/>
                  </a:lnTo>
                  <a:lnTo>
                    <a:pt x="504" y="783"/>
                  </a:lnTo>
                  <a:lnTo>
                    <a:pt x="502" y="783"/>
                  </a:lnTo>
                  <a:lnTo>
                    <a:pt x="501" y="783"/>
                  </a:lnTo>
                  <a:lnTo>
                    <a:pt x="503" y="784"/>
                  </a:lnTo>
                  <a:lnTo>
                    <a:pt x="504" y="784"/>
                  </a:lnTo>
                  <a:lnTo>
                    <a:pt x="504" y="785"/>
                  </a:lnTo>
                  <a:lnTo>
                    <a:pt x="503" y="785"/>
                  </a:lnTo>
                  <a:lnTo>
                    <a:pt x="501" y="784"/>
                  </a:lnTo>
                  <a:lnTo>
                    <a:pt x="499" y="785"/>
                  </a:lnTo>
                  <a:lnTo>
                    <a:pt x="502" y="787"/>
                  </a:lnTo>
                  <a:lnTo>
                    <a:pt x="501" y="788"/>
                  </a:lnTo>
                  <a:lnTo>
                    <a:pt x="502" y="789"/>
                  </a:lnTo>
                  <a:lnTo>
                    <a:pt x="501" y="789"/>
                  </a:lnTo>
                  <a:lnTo>
                    <a:pt x="499" y="788"/>
                  </a:lnTo>
                  <a:lnTo>
                    <a:pt x="498" y="789"/>
                  </a:lnTo>
                  <a:lnTo>
                    <a:pt x="499" y="790"/>
                  </a:lnTo>
                  <a:lnTo>
                    <a:pt x="498" y="790"/>
                  </a:lnTo>
                  <a:lnTo>
                    <a:pt x="497" y="790"/>
                  </a:lnTo>
                  <a:lnTo>
                    <a:pt x="497" y="791"/>
                  </a:lnTo>
                  <a:lnTo>
                    <a:pt x="496" y="791"/>
                  </a:lnTo>
                  <a:lnTo>
                    <a:pt x="495" y="790"/>
                  </a:lnTo>
                  <a:lnTo>
                    <a:pt x="493" y="790"/>
                  </a:lnTo>
                  <a:lnTo>
                    <a:pt x="495" y="791"/>
                  </a:lnTo>
                  <a:lnTo>
                    <a:pt x="496" y="794"/>
                  </a:lnTo>
                  <a:lnTo>
                    <a:pt x="496" y="795"/>
                  </a:lnTo>
                  <a:lnTo>
                    <a:pt x="495" y="795"/>
                  </a:lnTo>
                  <a:lnTo>
                    <a:pt x="493" y="793"/>
                  </a:lnTo>
                  <a:lnTo>
                    <a:pt x="492" y="791"/>
                  </a:lnTo>
                  <a:lnTo>
                    <a:pt x="492" y="793"/>
                  </a:lnTo>
                  <a:lnTo>
                    <a:pt x="493" y="794"/>
                  </a:lnTo>
                  <a:lnTo>
                    <a:pt x="492" y="795"/>
                  </a:lnTo>
                  <a:lnTo>
                    <a:pt x="492" y="796"/>
                  </a:lnTo>
                  <a:lnTo>
                    <a:pt x="493" y="796"/>
                  </a:lnTo>
                  <a:lnTo>
                    <a:pt x="493" y="799"/>
                  </a:lnTo>
                  <a:lnTo>
                    <a:pt x="493" y="800"/>
                  </a:lnTo>
                  <a:lnTo>
                    <a:pt x="495" y="801"/>
                  </a:lnTo>
                  <a:lnTo>
                    <a:pt x="496" y="803"/>
                  </a:lnTo>
                  <a:lnTo>
                    <a:pt x="496" y="805"/>
                  </a:lnTo>
                  <a:lnTo>
                    <a:pt x="497" y="807"/>
                  </a:lnTo>
                  <a:lnTo>
                    <a:pt x="499" y="809"/>
                  </a:lnTo>
                  <a:lnTo>
                    <a:pt x="502" y="811"/>
                  </a:lnTo>
                  <a:lnTo>
                    <a:pt x="503" y="812"/>
                  </a:lnTo>
                  <a:lnTo>
                    <a:pt x="502" y="813"/>
                  </a:lnTo>
                  <a:lnTo>
                    <a:pt x="501" y="814"/>
                  </a:lnTo>
                  <a:lnTo>
                    <a:pt x="501" y="815"/>
                  </a:lnTo>
                  <a:lnTo>
                    <a:pt x="501" y="817"/>
                  </a:lnTo>
                  <a:lnTo>
                    <a:pt x="499" y="818"/>
                  </a:lnTo>
                  <a:lnTo>
                    <a:pt x="498" y="818"/>
                  </a:lnTo>
                  <a:lnTo>
                    <a:pt x="497" y="818"/>
                  </a:lnTo>
                  <a:lnTo>
                    <a:pt x="496" y="819"/>
                  </a:lnTo>
                  <a:lnTo>
                    <a:pt x="498" y="820"/>
                  </a:lnTo>
                  <a:lnTo>
                    <a:pt x="499" y="821"/>
                  </a:lnTo>
                  <a:lnTo>
                    <a:pt x="498" y="821"/>
                  </a:lnTo>
                  <a:lnTo>
                    <a:pt x="497" y="820"/>
                  </a:lnTo>
                  <a:lnTo>
                    <a:pt x="496" y="819"/>
                  </a:lnTo>
                  <a:lnTo>
                    <a:pt x="495" y="818"/>
                  </a:lnTo>
                  <a:lnTo>
                    <a:pt x="492" y="817"/>
                  </a:lnTo>
                  <a:lnTo>
                    <a:pt x="492" y="815"/>
                  </a:lnTo>
                  <a:lnTo>
                    <a:pt x="490" y="814"/>
                  </a:lnTo>
                  <a:lnTo>
                    <a:pt x="489" y="815"/>
                  </a:lnTo>
                  <a:lnTo>
                    <a:pt x="487" y="817"/>
                  </a:lnTo>
                  <a:lnTo>
                    <a:pt x="486" y="817"/>
                  </a:lnTo>
                  <a:lnTo>
                    <a:pt x="484" y="817"/>
                  </a:lnTo>
                  <a:lnTo>
                    <a:pt x="484" y="818"/>
                  </a:lnTo>
                  <a:lnTo>
                    <a:pt x="484" y="819"/>
                  </a:lnTo>
                  <a:lnTo>
                    <a:pt x="483" y="820"/>
                  </a:lnTo>
                  <a:lnTo>
                    <a:pt x="481" y="819"/>
                  </a:lnTo>
                  <a:lnTo>
                    <a:pt x="481" y="820"/>
                  </a:lnTo>
                  <a:lnTo>
                    <a:pt x="480" y="820"/>
                  </a:lnTo>
                  <a:lnTo>
                    <a:pt x="481" y="821"/>
                  </a:lnTo>
                  <a:lnTo>
                    <a:pt x="480" y="823"/>
                  </a:lnTo>
                  <a:lnTo>
                    <a:pt x="479" y="823"/>
                  </a:lnTo>
                  <a:lnTo>
                    <a:pt x="478" y="823"/>
                  </a:lnTo>
                  <a:lnTo>
                    <a:pt x="478" y="824"/>
                  </a:lnTo>
                  <a:lnTo>
                    <a:pt x="478" y="825"/>
                  </a:lnTo>
                  <a:lnTo>
                    <a:pt x="477" y="825"/>
                  </a:lnTo>
                  <a:lnTo>
                    <a:pt x="477" y="824"/>
                  </a:lnTo>
                  <a:lnTo>
                    <a:pt x="475" y="825"/>
                  </a:lnTo>
                  <a:lnTo>
                    <a:pt x="474" y="825"/>
                  </a:lnTo>
                  <a:lnTo>
                    <a:pt x="473" y="825"/>
                  </a:lnTo>
                  <a:lnTo>
                    <a:pt x="472" y="825"/>
                  </a:lnTo>
                  <a:lnTo>
                    <a:pt x="472" y="823"/>
                  </a:lnTo>
                  <a:lnTo>
                    <a:pt x="471" y="820"/>
                  </a:lnTo>
                  <a:lnTo>
                    <a:pt x="471" y="819"/>
                  </a:lnTo>
                  <a:lnTo>
                    <a:pt x="471" y="818"/>
                  </a:lnTo>
                  <a:lnTo>
                    <a:pt x="471" y="817"/>
                  </a:lnTo>
                  <a:lnTo>
                    <a:pt x="471" y="814"/>
                  </a:lnTo>
                  <a:lnTo>
                    <a:pt x="471" y="813"/>
                  </a:lnTo>
                  <a:lnTo>
                    <a:pt x="473" y="812"/>
                  </a:lnTo>
                  <a:lnTo>
                    <a:pt x="474" y="812"/>
                  </a:lnTo>
                  <a:lnTo>
                    <a:pt x="473" y="809"/>
                  </a:lnTo>
                  <a:lnTo>
                    <a:pt x="472" y="807"/>
                  </a:lnTo>
                  <a:lnTo>
                    <a:pt x="471" y="806"/>
                  </a:lnTo>
                  <a:lnTo>
                    <a:pt x="468" y="806"/>
                  </a:lnTo>
                  <a:lnTo>
                    <a:pt x="467" y="806"/>
                  </a:lnTo>
                  <a:lnTo>
                    <a:pt x="466" y="806"/>
                  </a:lnTo>
                  <a:lnTo>
                    <a:pt x="466" y="805"/>
                  </a:lnTo>
                  <a:lnTo>
                    <a:pt x="465" y="805"/>
                  </a:lnTo>
                  <a:lnTo>
                    <a:pt x="462" y="805"/>
                  </a:lnTo>
                  <a:lnTo>
                    <a:pt x="461" y="805"/>
                  </a:lnTo>
                  <a:lnTo>
                    <a:pt x="460" y="805"/>
                  </a:lnTo>
                  <a:lnTo>
                    <a:pt x="459" y="806"/>
                  </a:lnTo>
                  <a:lnTo>
                    <a:pt x="457" y="806"/>
                  </a:lnTo>
                  <a:lnTo>
                    <a:pt x="456" y="806"/>
                  </a:lnTo>
                  <a:lnTo>
                    <a:pt x="455" y="806"/>
                  </a:lnTo>
                  <a:lnTo>
                    <a:pt x="454" y="805"/>
                  </a:lnTo>
                  <a:lnTo>
                    <a:pt x="452" y="805"/>
                  </a:lnTo>
                  <a:lnTo>
                    <a:pt x="452" y="803"/>
                  </a:lnTo>
                  <a:lnTo>
                    <a:pt x="451" y="803"/>
                  </a:lnTo>
                  <a:lnTo>
                    <a:pt x="450" y="803"/>
                  </a:lnTo>
                  <a:lnTo>
                    <a:pt x="449" y="802"/>
                  </a:lnTo>
                  <a:lnTo>
                    <a:pt x="449" y="801"/>
                  </a:lnTo>
                  <a:lnTo>
                    <a:pt x="449" y="800"/>
                  </a:lnTo>
                  <a:lnTo>
                    <a:pt x="448" y="800"/>
                  </a:lnTo>
                  <a:lnTo>
                    <a:pt x="444" y="800"/>
                  </a:lnTo>
                  <a:lnTo>
                    <a:pt x="444" y="799"/>
                  </a:lnTo>
                  <a:lnTo>
                    <a:pt x="444" y="801"/>
                  </a:lnTo>
                  <a:lnTo>
                    <a:pt x="443" y="802"/>
                  </a:lnTo>
                  <a:lnTo>
                    <a:pt x="442" y="801"/>
                  </a:lnTo>
                  <a:lnTo>
                    <a:pt x="440" y="801"/>
                  </a:lnTo>
                  <a:lnTo>
                    <a:pt x="440" y="800"/>
                  </a:lnTo>
                  <a:lnTo>
                    <a:pt x="440" y="797"/>
                  </a:lnTo>
                  <a:lnTo>
                    <a:pt x="440" y="796"/>
                  </a:lnTo>
                  <a:lnTo>
                    <a:pt x="440" y="797"/>
                  </a:lnTo>
                  <a:lnTo>
                    <a:pt x="440" y="800"/>
                  </a:lnTo>
                  <a:lnTo>
                    <a:pt x="440" y="801"/>
                  </a:lnTo>
                  <a:lnTo>
                    <a:pt x="439" y="800"/>
                  </a:lnTo>
                  <a:lnTo>
                    <a:pt x="439" y="801"/>
                  </a:lnTo>
                  <a:lnTo>
                    <a:pt x="439" y="802"/>
                  </a:lnTo>
                  <a:lnTo>
                    <a:pt x="439" y="803"/>
                  </a:lnTo>
                  <a:lnTo>
                    <a:pt x="438" y="803"/>
                  </a:lnTo>
                  <a:lnTo>
                    <a:pt x="437" y="803"/>
                  </a:lnTo>
                  <a:lnTo>
                    <a:pt x="436" y="802"/>
                  </a:lnTo>
                  <a:lnTo>
                    <a:pt x="436" y="803"/>
                  </a:lnTo>
                  <a:lnTo>
                    <a:pt x="434" y="803"/>
                  </a:lnTo>
                  <a:lnTo>
                    <a:pt x="434" y="802"/>
                  </a:lnTo>
                  <a:lnTo>
                    <a:pt x="434" y="801"/>
                  </a:lnTo>
                  <a:lnTo>
                    <a:pt x="433" y="801"/>
                  </a:lnTo>
                  <a:lnTo>
                    <a:pt x="433" y="803"/>
                  </a:lnTo>
                  <a:lnTo>
                    <a:pt x="433" y="805"/>
                  </a:lnTo>
                  <a:lnTo>
                    <a:pt x="433" y="806"/>
                  </a:lnTo>
                  <a:lnTo>
                    <a:pt x="432" y="806"/>
                  </a:lnTo>
                  <a:lnTo>
                    <a:pt x="428" y="805"/>
                  </a:lnTo>
                  <a:lnTo>
                    <a:pt x="428" y="808"/>
                  </a:lnTo>
                  <a:lnTo>
                    <a:pt x="427" y="807"/>
                  </a:lnTo>
                  <a:lnTo>
                    <a:pt x="427" y="806"/>
                  </a:lnTo>
                  <a:lnTo>
                    <a:pt x="428" y="803"/>
                  </a:lnTo>
                  <a:lnTo>
                    <a:pt x="426" y="806"/>
                  </a:lnTo>
                  <a:lnTo>
                    <a:pt x="425" y="806"/>
                  </a:lnTo>
                  <a:lnTo>
                    <a:pt x="426" y="807"/>
                  </a:lnTo>
                  <a:lnTo>
                    <a:pt x="426" y="808"/>
                  </a:lnTo>
                  <a:lnTo>
                    <a:pt x="426" y="809"/>
                  </a:lnTo>
                  <a:lnTo>
                    <a:pt x="425" y="808"/>
                  </a:lnTo>
                  <a:lnTo>
                    <a:pt x="424" y="808"/>
                  </a:lnTo>
                  <a:lnTo>
                    <a:pt x="422" y="807"/>
                  </a:lnTo>
                  <a:lnTo>
                    <a:pt x="421" y="807"/>
                  </a:lnTo>
                  <a:lnTo>
                    <a:pt x="421" y="806"/>
                  </a:lnTo>
                  <a:lnTo>
                    <a:pt x="420" y="808"/>
                  </a:lnTo>
                  <a:lnTo>
                    <a:pt x="419" y="809"/>
                  </a:lnTo>
                  <a:lnTo>
                    <a:pt x="418" y="809"/>
                  </a:lnTo>
                  <a:lnTo>
                    <a:pt x="416" y="809"/>
                  </a:lnTo>
                  <a:lnTo>
                    <a:pt x="415" y="808"/>
                  </a:lnTo>
                  <a:lnTo>
                    <a:pt x="413" y="807"/>
                  </a:lnTo>
                  <a:lnTo>
                    <a:pt x="412" y="807"/>
                  </a:lnTo>
                  <a:lnTo>
                    <a:pt x="410" y="806"/>
                  </a:lnTo>
                  <a:lnTo>
                    <a:pt x="410" y="805"/>
                  </a:lnTo>
                  <a:lnTo>
                    <a:pt x="409" y="805"/>
                  </a:lnTo>
                  <a:lnTo>
                    <a:pt x="409" y="806"/>
                  </a:lnTo>
                  <a:lnTo>
                    <a:pt x="409" y="807"/>
                  </a:lnTo>
                  <a:lnTo>
                    <a:pt x="408" y="807"/>
                  </a:lnTo>
                  <a:lnTo>
                    <a:pt x="408" y="808"/>
                  </a:lnTo>
                  <a:lnTo>
                    <a:pt x="407" y="808"/>
                  </a:lnTo>
                  <a:lnTo>
                    <a:pt x="406" y="809"/>
                  </a:lnTo>
                  <a:lnTo>
                    <a:pt x="404" y="811"/>
                  </a:lnTo>
                  <a:lnTo>
                    <a:pt x="404" y="812"/>
                  </a:lnTo>
                  <a:lnTo>
                    <a:pt x="403" y="812"/>
                  </a:lnTo>
                  <a:lnTo>
                    <a:pt x="401" y="812"/>
                  </a:lnTo>
                  <a:lnTo>
                    <a:pt x="402" y="813"/>
                  </a:lnTo>
                  <a:lnTo>
                    <a:pt x="402" y="814"/>
                  </a:lnTo>
                  <a:lnTo>
                    <a:pt x="401" y="814"/>
                  </a:lnTo>
                  <a:lnTo>
                    <a:pt x="401" y="815"/>
                  </a:lnTo>
                  <a:lnTo>
                    <a:pt x="400" y="817"/>
                  </a:lnTo>
                  <a:lnTo>
                    <a:pt x="400" y="818"/>
                  </a:lnTo>
                  <a:lnTo>
                    <a:pt x="398" y="817"/>
                  </a:lnTo>
                  <a:lnTo>
                    <a:pt x="397" y="817"/>
                  </a:lnTo>
                  <a:lnTo>
                    <a:pt x="396" y="817"/>
                  </a:lnTo>
                  <a:lnTo>
                    <a:pt x="397" y="818"/>
                  </a:lnTo>
                  <a:lnTo>
                    <a:pt x="400" y="819"/>
                  </a:lnTo>
                  <a:lnTo>
                    <a:pt x="398" y="820"/>
                  </a:lnTo>
                  <a:lnTo>
                    <a:pt x="397" y="819"/>
                  </a:lnTo>
                  <a:lnTo>
                    <a:pt x="395" y="819"/>
                  </a:lnTo>
                  <a:lnTo>
                    <a:pt x="393" y="817"/>
                  </a:lnTo>
                  <a:lnTo>
                    <a:pt x="391" y="817"/>
                  </a:lnTo>
                  <a:lnTo>
                    <a:pt x="390" y="815"/>
                  </a:lnTo>
                  <a:lnTo>
                    <a:pt x="389" y="815"/>
                  </a:lnTo>
                  <a:lnTo>
                    <a:pt x="387" y="815"/>
                  </a:lnTo>
                  <a:lnTo>
                    <a:pt x="386" y="815"/>
                  </a:lnTo>
                  <a:lnTo>
                    <a:pt x="386" y="814"/>
                  </a:lnTo>
                  <a:lnTo>
                    <a:pt x="384" y="813"/>
                  </a:lnTo>
                  <a:lnTo>
                    <a:pt x="384" y="814"/>
                  </a:lnTo>
                  <a:lnTo>
                    <a:pt x="383" y="814"/>
                  </a:lnTo>
                  <a:lnTo>
                    <a:pt x="381" y="814"/>
                  </a:lnTo>
                  <a:lnTo>
                    <a:pt x="380" y="813"/>
                  </a:lnTo>
                  <a:lnTo>
                    <a:pt x="378" y="814"/>
                  </a:lnTo>
                  <a:lnTo>
                    <a:pt x="377" y="814"/>
                  </a:lnTo>
                  <a:lnTo>
                    <a:pt x="377" y="815"/>
                  </a:lnTo>
                  <a:lnTo>
                    <a:pt x="375" y="815"/>
                  </a:lnTo>
                  <a:lnTo>
                    <a:pt x="374" y="814"/>
                  </a:lnTo>
                  <a:lnTo>
                    <a:pt x="373" y="814"/>
                  </a:lnTo>
                  <a:lnTo>
                    <a:pt x="373" y="813"/>
                  </a:lnTo>
                  <a:lnTo>
                    <a:pt x="373" y="811"/>
                  </a:lnTo>
                  <a:lnTo>
                    <a:pt x="373" y="809"/>
                  </a:lnTo>
                  <a:lnTo>
                    <a:pt x="372" y="811"/>
                  </a:lnTo>
                  <a:lnTo>
                    <a:pt x="372" y="812"/>
                  </a:lnTo>
                  <a:lnTo>
                    <a:pt x="372" y="813"/>
                  </a:lnTo>
                  <a:lnTo>
                    <a:pt x="372" y="815"/>
                  </a:lnTo>
                  <a:lnTo>
                    <a:pt x="371" y="815"/>
                  </a:lnTo>
                  <a:lnTo>
                    <a:pt x="371" y="817"/>
                  </a:lnTo>
                  <a:lnTo>
                    <a:pt x="369" y="819"/>
                  </a:lnTo>
                  <a:lnTo>
                    <a:pt x="369" y="820"/>
                  </a:lnTo>
                  <a:lnTo>
                    <a:pt x="369" y="821"/>
                  </a:lnTo>
                  <a:lnTo>
                    <a:pt x="368" y="821"/>
                  </a:lnTo>
                  <a:lnTo>
                    <a:pt x="367" y="823"/>
                  </a:lnTo>
                  <a:lnTo>
                    <a:pt x="368" y="825"/>
                  </a:lnTo>
                  <a:lnTo>
                    <a:pt x="368" y="826"/>
                  </a:lnTo>
                  <a:lnTo>
                    <a:pt x="367" y="826"/>
                  </a:lnTo>
                  <a:lnTo>
                    <a:pt x="367" y="829"/>
                  </a:lnTo>
                  <a:lnTo>
                    <a:pt x="367" y="830"/>
                  </a:lnTo>
                  <a:lnTo>
                    <a:pt x="366" y="830"/>
                  </a:lnTo>
                  <a:lnTo>
                    <a:pt x="366" y="832"/>
                  </a:lnTo>
                  <a:lnTo>
                    <a:pt x="365" y="833"/>
                  </a:lnTo>
                  <a:lnTo>
                    <a:pt x="365" y="835"/>
                  </a:lnTo>
                  <a:lnTo>
                    <a:pt x="362" y="836"/>
                  </a:lnTo>
                  <a:lnTo>
                    <a:pt x="361" y="837"/>
                  </a:lnTo>
                  <a:lnTo>
                    <a:pt x="359" y="838"/>
                  </a:lnTo>
                  <a:lnTo>
                    <a:pt x="357" y="838"/>
                  </a:lnTo>
                  <a:lnTo>
                    <a:pt x="357" y="837"/>
                  </a:lnTo>
                  <a:lnTo>
                    <a:pt x="356" y="838"/>
                  </a:lnTo>
                  <a:lnTo>
                    <a:pt x="355" y="837"/>
                  </a:lnTo>
                  <a:lnTo>
                    <a:pt x="354" y="837"/>
                  </a:lnTo>
                  <a:lnTo>
                    <a:pt x="353" y="836"/>
                  </a:lnTo>
                  <a:lnTo>
                    <a:pt x="351" y="836"/>
                  </a:lnTo>
                  <a:lnTo>
                    <a:pt x="351" y="835"/>
                  </a:lnTo>
                  <a:lnTo>
                    <a:pt x="350" y="836"/>
                  </a:lnTo>
                  <a:lnTo>
                    <a:pt x="349" y="836"/>
                  </a:lnTo>
                  <a:lnTo>
                    <a:pt x="349" y="835"/>
                  </a:lnTo>
                  <a:lnTo>
                    <a:pt x="348" y="833"/>
                  </a:lnTo>
                  <a:lnTo>
                    <a:pt x="347" y="833"/>
                  </a:lnTo>
                  <a:lnTo>
                    <a:pt x="345" y="833"/>
                  </a:lnTo>
                  <a:lnTo>
                    <a:pt x="344" y="833"/>
                  </a:lnTo>
                  <a:lnTo>
                    <a:pt x="344" y="836"/>
                  </a:lnTo>
                  <a:lnTo>
                    <a:pt x="344" y="837"/>
                  </a:lnTo>
                  <a:lnTo>
                    <a:pt x="344" y="836"/>
                  </a:lnTo>
                  <a:lnTo>
                    <a:pt x="343" y="836"/>
                  </a:lnTo>
                  <a:lnTo>
                    <a:pt x="343" y="837"/>
                  </a:lnTo>
                  <a:lnTo>
                    <a:pt x="343" y="838"/>
                  </a:lnTo>
                  <a:lnTo>
                    <a:pt x="342" y="838"/>
                  </a:lnTo>
                  <a:lnTo>
                    <a:pt x="342" y="841"/>
                  </a:lnTo>
                  <a:lnTo>
                    <a:pt x="341" y="839"/>
                  </a:lnTo>
                  <a:lnTo>
                    <a:pt x="341" y="841"/>
                  </a:lnTo>
                  <a:lnTo>
                    <a:pt x="341" y="842"/>
                  </a:lnTo>
                  <a:lnTo>
                    <a:pt x="341" y="843"/>
                  </a:lnTo>
                  <a:lnTo>
                    <a:pt x="339" y="844"/>
                  </a:lnTo>
                  <a:lnTo>
                    <a:pt x="338" y="844"/>
                  </a:lnTo>
                  <a:lnTo>
                    <a:pt x="339" y="845"/>
                  </a:lnTo>
                  <a:lnTo>
                    <a:pt x="339" y="847"/>
                  </a:lnTo>
                  <a:lnTo>
                    <a:pt x="338" y="848"/>
                  </a:lnTo>
                  <a:lnTo>
                    <a:pt x="338" y="849"/>
                  </a:lnTo>
                  <a:lnTo>
                    <a:pt x="338" y="850"/>
                  </a:lnTo>
                  <a:lnTo>
                    <a:pt x="338" y="851"/>
                  </a:lnTo>
                  <a:lnTo>
                    <a:pt x="338" y="859"/>
                  </a:lnTo>
                  <a:lnTo>
                    <a:pt x="338" y="868"/>
                  </a:lnTo>
                  <a:lnTo>
                    <a:pt x="338" y="878"/>
                  </a:lnTo>
                  <a:lnTo>
                    <a:pt x="338" y="889"/>
                  </a:lnTo>
                  <a:lnTo>
                    <a:pt x="338" y="891"/>
                  </a:lnTo>
                  <a:lnTo>
                    <a:pt x="337" y="894"/>
                  </a:lnTo>
                  <a:lnTo>
                    <a:pt x="336" y="896"/>
                  </a:lnTo>
                  <a:lnTo>
                    <a:pt x="332" y="896"/>
                  </a:lnTo>
                  <a:lnTo>
                    <a:pt x="309" y="896"/>
                  </a:lnTo>
                  <a:lnTo>
                    <a:pt x="308" y="878"/>
                  </a:lnTo>
                  <a:lnTo>
                    <a:pt x="308" y="862"/>
                  </a:lnTo>
                  <a:lnTo>
                    <a:pt x="307" y="845"/>
                  </a:lnTo>
                  <a:lnTo>
                    <a:pt x="307" y="842"/>
                  </a:lnTo>
                  <a:lnTo>
                    <a:pt x="304" y="841"/>
                  </a:lnTo>
                  <a:lnTo>
                    <a:pt x="304" y="839"/>
                  </a:lnTo>
                  <a:lnTo>
                    <a:pt x="302" y="839"/>
                  </a:lnTo>
                  <a:lnTo>
                    <a:pt x="301" y="838"/>
                  </a:lnTo>
                  <a:lnTo>
                    <a:pt x="300" y="838"/>
                  </a:lnTo>
                  <a:lnTo>
                    <a:pt x="298" y="837"/>
                  </a:lnTo>
                  <a:lnTo>
                    <a:pt x="297" y="836"/>
                  </a:lnTo>
                  <a:lnTo>
                    <a:pt x="296" y="835"/>
                  </a:lnTo>
                  <a:lnTo>
                    <a:pt x="296" y="833"/>
                  </a:lnTo>
                  <a:lnTo>
                    <a:pt x="297" y="832"/>
                  </a:lnTo>
                  <a:lnTo>
                    <a:pt x="297" y="831"/>
                  </a:lnTo>
                  <a:lnTo>
                    <a:pt x="297" y="830"/>
                  </a:lnTo>
                  <a:lnTo>
                    <a:pt x="298" y="827"/>
                  </a:lnTo>
                  <a:lnTo>
                    <a:pt x="298" y="829"/>
                  </a:lnTo>
                  <a:lnTo>
                    <a:pt x="300" y="829"/>
                  </a:lnTo>
                  <a:lnTo>
                    <a:pt x="300" y="827"/>
                  </a:lnTo>
                  <a:lnTo>
                    <a:pt x="300" y="826"/>
                  </a:lnTo>
                  <a:lnTo>
                    <a:pt x="300" y="825"/>
                  </a:lnTo>
                  <a:lnTo>
                    <a:pt x="300" y="824"/>
                  </a:lnTo>
                  <a:lnTo>
                    <a:pt x="298" y="823"/>
                  </a:lnTo>
                  <a:lnTo>
                    <a:pt x="298" y="821"/>
                  </a:lnTo>
                  <a:lnTo>
                    <a:pt x="296" y="820"/>
                  </a:lnTo>
                  <a:lnTo>
                    <a:pt x="295" y="820"/>
                  </a:lnTo>
                  <a:lnTo>
                    <a:pt x="294" y="820"/>
                  </a:lnTo>
                  <a:lnTo>
                    <a:pt x="292" y="820"/>
                  </a:lnTo>
                  <a:lnTo>
                    <a:pt x="290" y="821"/>
                  </a:lnTo>
                  <a:lnTo>
                    <a:pt x="288" y="823"/>
                  </a:lnTo>
                  <a:lnTo>
                    <a:pt x="286" y="823"/>
                  </a:lnTo>
                  <a:lnTo>
                    <a:pt x="285" y="823"/>
                  </a:lnTo>
                  <a:lnTo>
                    <a:pt x="284" y="823"/>
                  </a:lnTo>
                  <a:lnTo>
                    <a:pt x="283" y="821"/>
                  </a:lnTo>
                  <a:lnTo>
                    <a:pt x="283" y="823"/>
                  </a:lnTo>
                  <a:lnTo>
                    <a:pt x="282" y="824"/>
                  </a:lnTo>
                  <a:lnTo>
                    <a:pt x="282" y="823"/>
                  </a:lnTo>
                  <a:lnTo>
                    <a:pt x="280" y="823"/>
                  </a:lnTo>
                  <a:lnTo>
                    <a:pt x="280" y="824"/>
                  </a:lnTo>
                  <a:lnTo>
                    <a:pt x="278" y="825"/>
                  </a:lnTo>
                  <a:lnTo>
                    <a:pt x="277" y="826"/>
                  </a:lnTo>
                  <a:lnTo>
                    <a:pt x="275" y="827"/>
                  </a:lnTo>
                  <a:lnTo>
                    <a:pt x="274" y="829"/>
                  </a:lnTo>
                  <a:lnTo>
                    <a:pt x="273" y="829"/>
                  </a:lnTo>
                  <a:lnTo>
                    <a:pt x="273" y="830"/>
                  </a:lnTo>
                  <a:lnTo>
                    <a:pt x="273" y="831"/>
                  </a:lnTo>
                  <a:lnTo>
                    <a:pt x="273" y="832"/>
                  </a:lnTo>
                  <a:lnTo>
                    <a:pt x="272" y="831"/>
                  </a:lnTo>
                  <a:lnTo>
                    <a:pt x="271" y="831"/>
                  </a:lnTo>
                  <a:lnTo>
                    <a:pt x="271" y="832"/>
                  </a:lnTo>
                  <a:lnTo>
                    <a:pt x="269" y="832"/>
                  </a:lnTo>
                  <a:lnTo>
                    <a:pt x="269" y="835"/>
                  </a:lnTo>
                  <a:lnTo>
                    <a:pt x="268" y="832"/>
                  </a:lnTo>
                  <a:lnTo>
                    <a:pt x="267" y="832"/>
                  </a:lnTo>
                  <a:lnTo>
                    <a:pt x="268" y="833"/>
                  </a:lnTo>
                  <a:lnTo>
                    <a:pt x="268" y="835"/>
                  </a:lnTo>
                  <a:lnTo>
                    <a:pt x="267" y="836"/>
                  </a:lnTo>
                  <a:lnTo>
                    <a:pt x="266" y="836"/>
                  </a:lnTo>
                  <a:lnTo>
                    <a:pt x="265" y="835"/>
                  </a:lnTo>
                  <a:lnTo>
                    <a:pt x="265" y="836"/>
                  </a:lnTo>
                  <a:lnTo>
                    <a:pt x="263" y="836"/>
                  </a:lnTo>
                  <a:lnTo>
                    <a:pt x="263" y="835"/>
                  </a:lnTo>
                  <a:lnTo>
                    <a:pt x="262" y="835"/>
                  </a:lnTo>
                  <a:lnTo>
                    <a:pt x="262" y="836"/>
                  </a:lnTo>
                  <a:lnTo>
                    <a:pt x="260" y="836"/>
                  </a:lnTo>
                  <a:lnTo>
                    <a:pt x="257" y="835"/>
                  </a:lnTo>
                  <a:lnTo>
                    <a:pt x="255" y="833"/>
                  </a:lnTo>
                  <a:lnTo>
                    <a:pt x="253" y="832"/>
                  </a:lnTo>
                  <a:lnTo>
                    <a:pt x="253" y="830"/>
                  </a:lnTo>
                  <a:lnTo>
                    <a:pt x="251" y="831"/>
                  </a:lnTo>
                  <a:lnTo>
                    <a:pt x="251" y="832"/>
                  </a:lnTo>
                  <a:lnTo>
                    <a:pt x="251" y="833"/>
                  </a:lnTo>
                  <a:lnTo>
                    <a:pt x="249" y="832"/>
                  </a:lnTo>
                  <a:lnTo>
                    <a:pt x="248" y="833"/>
                  </a:lnTo>
                  <a:lnTo>
                    <a:pt x="247" y="833"/>
                  </a:lnTo>
                  <a:lnTo>
                    <a:pt x="247" y="832"/>
                  </a:lnTo>
                  <a:lnTo>
                    <a:pt x="245" y="831"/>
                  </a:lnTo>
                  <a:lnTo>
                    <a:pt x="245" y="832"/>
                  </a:lnTo>
                  <a:lnTo>
                    <a:pt x="245" y="833"/>
                  </a:lnTo>
                  <a:lnTo>
                    <a:pt x="244" y="833"/>
                  </a:lnTo>
                  <a:lnTo>
                    <a:pt x="243" y="832"/>
                  </a:lnTo>
                  <a:lnTo>
                    <a:pt x="242" y="831"/>
                  </a:lnTo>
                  <a:lnTo>
                    <a:pt x="241" y="830"/>
                  </a:lnTo>
                  <a:lnTo>
                    <a:pt x="239" y="829"/>
                  </a:lnTo>
                  <a:lnTo>
                    <a:pt x="239" y="827"/>
                  </a:lnTo>
                  <a:lnTo>
                    <a:pt x="238" y="826"/>
                  </a:lnTo>
                  <a:lnTo>
                    <a:pt x="238" y="825"/>
                  </a:lnTo>
                  <a:lnTo>
                    <a:pt x="237" y="824"/>
                  </a:lnTo>
                  <a:lnTo>
                    <a:pt x="237" y="823"/>
                  </a:lnTo>
                  <a:lnTo>
                    <a:pt x="235" y="823"/>
                  </a:lnTo>
                  <a:lnTo>
                    <a:pt x="233" y="821"/>
                  </a:lnTo>
                  <a:lnTo>
                    <a:pt x="232" y="821"/>
                  </a:lnTo>
                  <a:lnTo>
                    <a:pt x="232" y="819"/>
                  </a:lnTo>
                  <a:lnTo>
                    <a:pt x="231" y="819"/>
                  </a:lnTo>
                  <a:lnTo>
                    <a:pt x="231" y="820"/>
                  </a:lnTo>
                  <a:lnTo>
                    <a:pt x="230" y="821"/>
                  </a:lnTo>
                  <a:lnTo>
                    <a:pt x="229" y="820"/>
                  </a:lnTo>
                  <a:lnTo>
                    <a:pt x="227" y="820"/>
                  </a:lnTo>
                  <a:lnTo>
                    <a:pt x="226" y="820"/>
                  </a:lnTo>
                  <a:lnTo>
                    <a:pt x="226" y="819"/>
                  </a:lnTo>
                  <a:lnTo>
                    <a:pt x="226" y="820"/>
                  </a:lnTo>
                  <a:lnTo>
                    <a:pt x="225" y="820"/>
                  </a:lnTo>
                  <a:lnTo>
                    <a:pt x="224" y="820"/>
                  </a:lnTo>
                  <a:lnTo>
                    <a:pt x="224" y="821"/>
                  </a:lnTo>
                  <a:lnTo>
                    <a:pt x="223" y="821"/>
                  </a:lnTo>
                  <a:lnTo>
                    <a:pt x="221" y="821"/>
                  </a:lnTo>
                  <a:lnTo>
                    <a:pt x="220" y="820"/>
                  </a:lnTo>
                  <a:lnTo>
                    <a:pt x="219" y="820"/>
                  </a:lnTo>
                  <a:lnTo>
                    <a:pt x="218" y="820"/>
                  </a:lnTo>
                  <a:lnTo>
                    <a:pt x="215" y="820"/>
                  </a:lnTo>
                  <a:lnTo>
                    <a:pt x="214" y="820"/>
                  </a:lnTo>
                  <a:lnTo>
                    <a:pt x="210" y="824"/>
                  </a:lnTo>
                  <a:lnTo>
                    <a:pt x="209" y="826"/>
                  </a:lnTo>
                  <a:lnTo>
                    <a:pt x="208" y="827"/>
                  </a:lnTo>
                  <a:lnTo>
                    <a:pt x="208" y="829"/>
                  </a:lnTo>
                  <a:lnTo>
                    <a:pt x="206" y="830"/>
                  </a:lnTo>
                  <a:lnTo>
                    <a:pt x="203" y="830"/>
                  </a:lnTo>
                  <a:lnTo>
                    <a:pt x="201" y="831"/>
                  </a:lnTo>
                  <a:lnTo>
                    <a:pt x="200" y="830"/>
                  </a:lnTo>
                  <a:lnTo>
                    <a:pt x="198" y="829"/>
                  </a:lnTo>
                  <a:lnTo>
                    <a:pt x="197" y="829"/>
                  </a:lnTo>
                  <a:lnTo>
                    <a:pt x="197" y="827"/>
                  </a:lnTo>
                  <a:lnTo>
                    <a:pt x="197" y="826"/>
                  </a:lnTo>
                  <a:lnTo>
                    <a:pt x="197" y="823"/>
                  </a:lnTo>
                  <a:lnTo>
                    <a:pt x="197" y="821"/>
                  </a:lnTo>
                  <a:lnTo>
                    <a:pt x="196" y="825"/>
                  </a:lnTo>
                  <a:lnTo>
                    <a:pt x="196" y="827"/>
                  </a:lnTo>
                  <a:lnTo>
                    <a:pt x="195" y="827"/>
                  </a:lnTo>
                  <a:lnTo>
                    <a:pt x="194" y="827"/>
                  </a:lnTo>
                  <a:lnTo>
                    <a:pt x="192" y="826"/>
                  </a:lnTo>
                  <a:lnTo>
                    <a:pt x="192" y="824"/>
                  </a:lnTo>
                  <a:lnTo>
                    <a:pt x="192" y="823"/>
                  </a:lnTo>
                  <a:lnTo>
                    <a:pt x="192" y="821"/>
                  </a:lnTo>
                  <a:lnTo>
                    <a:pt x="192" y="820"/>
                  </a:lnTo>
                  <a:lnTo>
                    <a:pt x="192" y="823"/>
                  </a:lnTo>
                  <a:lnTo>
                    <a:pt x="191" y="824"/>
                  </a:lnTo>
                  <a:lnTo>
                    <a:pt x="191" y="825"/>
                  </a:lnTo>
                  <a:lnTo>
                    <a:pt x="192" y="827"/>
                  </a:lnTo>
                  <a:lnTo>
                    <a:pt x="191" y="827"/>
                  </a:lnTo>
                  <a:lnTo>
                    <a:pt x="190" y="829"/>
                  </a:lnTo>
                  <a:lnTo>
                    <a:pt x="189" y="829"/>
                  </a:lnTo>
                  <a:lnTo>
                    <a:pt x="189" y="827"/>
                  </a:lnTo>
                  <a:lnTo>
                    <a:pt x="189" y="826"/>
                  </a:lnTo>
                  <a:lnTo>
                    <a:pt x="189" y="825"/>
                  </a:lnTo>
                  <a:lnTo>
                    <a:pt x="188" y="825"/>
                  </a:lnTo>
                  <a:lnTo>
                    <a:pt x="188" y="827"/>
                  </a:lnTo>
                  <a:lnTo>
                    <a:pt x="188" y="829"/>
                  </a:lnTo>
                  <a:lnTo>
                    <a:pt x="186" y="829"/>
                  </a:lnTo>
                  <a:lnTo>
                    <a:pt x="186" y="827"/>
                  </a:lnTo>
                  <a:lnTo>
                    <a:pt x="185" y="827"/>
                  </a:lnTo>
                  <a:lnTo>
                    <a:pt x="185" y="826"/>
                  </a:lnTo>
                  <a:lnTo>
                    <a:pt x="185" y="825"/>
                  </a:lnTo>
                  <a:lnTo>
                    <a:pt x="185" y="824"/>
                  </a:lnTo>
                  <a:lnTo>
                    <a:pt x="184" y="824"/>
                  </a:lnTo>
                  <a:lnTo>
                    <a:pt x="183" y="827"/>
                  </a:lnTo>
                  <a:lnTo>
                    <a:pt x="180" y="827"/>
                  </a:lnTo>
                  <a:lnTo>
                    <a:pt x="178" y="827"/>
                  </a:lnTo>
                  <a:lnTo>
                    <a:pt x="178" y="825"/>
                  </a:lnTo>
                  <a:lnTo>
                    <a:pt x="178" y="826"/>
                  </a:lnTo>
                  <a:lnTo>
                    <a:pt x="177" y="827"/>
                  </a:lnTo>
                  <a:lnTo>
                    <a:pt x="177" y="829"/>
                  </a:lnTo>
                  <a:lnTo>
                    <a:pt x="176" y="829"/>
                  </a:lnTo>
                  <a:lnTo>
                    <a:pt x="176" y="827"/>
                  </a:lnTo>
                  <a:lnTo>
                    <a:pt x="174" y="827"/>
                  </a:lnTo>
                  <a:lnTo>
                    <a:pt x="174" y="829"/>
                  </a:lnTo>
                  <a:lnTo>
                    <a:pt x="174" y="830"/>
                  </a:lnTo>
                  <a:lnTo>
                    <a:pt x="174" y="832"/>
                  </a:lnTo>
                  <a:lnTo>
                    <a:pt x="174" y="833"/>
                  </a:lnTo>
                  <a:lnTo>
                    <a:pt x="173" y="832"/>
                  </a:lnTo>
                  <a:lnTo>
                    <a:pt x="172" y="832"/>
                  </a:lnTo>
                  <a:lnTo>
                    <a:pt x="173" y="833"/>
                  </a:lnTo>
                  <a:lnTo>
                    <a:pt x="172" y="835"/>
                  </a:lnTo>
                  <a:lnTo>
                    <a:pt x="172" y="836"/>
                  </a:lnTo>
                  <a:lnTo>
                    <a:pt x="171" y="836"/>
                  </a:lnTo>
                  <a:lnTo>
                    <a:pt x="170" y="836"/>
                  </a:lnTo>
                  <a:lnTo>
                    <a:pt x="168" y="837"/>
                  </a:lnTo>
                  <a:lnTo>
                    <a:pt x="167" y="838"/>
                  </a:lnTo>
                  <a:lnTo>
                    <a:pt x="167" y="839"/>
                  </a:lnTo>
                  <a:lnTo>
                    <a:pt x="166" y="841"/>
                  </a:lnTo>
                  <a:lnTo>
                    <a:pt x="166" y="842"/>
                  </a:lnTo>
                  <a:lnTo>
                    <a:pt x="165" y="843"/>
                  </a:lnTo>
                  <a:lnTo>
                    <a:pt x="165" y="844"/>
                  </a:lnTo>
                  <a:lnTo>
                    <a:pt x="165" y="845"/>
                  </a:lnTo>
                  <a:lnTo>
                    <a:pt x="164" y="845"/>
                  </a:lnTo>
                  <a:lnTo>
                    <a:pt x="162" y="847"/>
                  </a:lnTo>
                  <a:lnTo>
                    <a:pt x="161" y="848"/>
                  </a:lnTo>
                  <a:lnTo>
                    <a:pt x="159" y="850"/>
                  </a:lnTo>
                  <a:lnTo>
                    <a:pt x="158" y="850"/>
                  </a:lnTo>
                  <a:lnTo>
                    <a:pt x="156" y="850"/>
                  </a:lnTo>
                  <a:lnTo>
                    <a:pt x="155" y="849"/>
                  </a:lnTo>
                  <a:lnTo>
                    <a:pt x="156" y="848"/>
                  </a:lnTo>
                  <a:lnTo>
                    <a:pt x="156" y="847"/>
                  </a:lnTo>
                  <a:lnTo>
                    <a:pt x="156" y="844"/>
                  </a:lnTo>
                  <a:lnTo>
                    <a:pt x="155" y="844"/>
                  </a:lnTo>
                  <a:lnTo>
                    <a:pt x="155" y="845"/>
                  </a:lnTo>
                  <a:lnTo>
                    <a:pt x="155" y="847"/>
                  </a:lnTo>
                  <a:lnTo>
                    <a:pt x="154" y="849"/>
                  </a:lnTo>
                  <a:lnTo>
                    <a:pt x="155" y="851"/>
                  </a:lnTo>
                  <a:lnTo>
                    <a:pt x="155" y="853"/>
                  </a:lnTo>
                  <a:lnTo>
                    <a:pt x="154" y="853"/>
                  </a:lnTo>
                  <a:lnTo>
                    <a:pt x="153" y="854"/>
                  </a:lnTo>
                  <a:lnTo>
                    <a:pt x="151" y="854"/>
                  </a:lnTo>
                  <a:lnTo>
                    <a:pt x="150" y="854"/>
                  </a:lnTo>
                  <a:lnTo>
                    <a:pt x="150" y="855"/>
                  </a:lnTo>
                  <a:lnTo>
                    <a:pt x="149" y="855"/>
                  </a:lnTo>
                  <a:lnTo>
                    <a:pt x="148" y="855"/>
                  </a:lnTo>
                  <a:lnTo>
                    <a:pt x="148" y="854"/>
                  </a:lnTo>
                  <a:lnTo>
                    <a:pt x="148" y="853"/>
                  </a:lnTo>
                  <a:lnTo>
                    <a:pt x="147" y="853"/>
                  </a:lnTo>
                  <a:lnTo>
                    <a:pt x="145" y="853"/>
                  </a:lnTo>
                  <a:lnTo>
                    <a:pt x="145" y="851"/>
                  </a:lnTo>
                  <a:lnTo>
                    <a:pt x="145" y="850"/>
                  </a:lnTo>
                  <a:lnTo>
                    <a:pt x="144" y="849"/>
                  </a:lnTo>
                  <a:lnTo>
                    <a:pt x="143" y="848"/>
                  </a:lnTo>
                  <a:lnTo>
                    <a:pt x="142" y="847"/>
                  </a:lnTo>
                  <a:lnTo>
                    <a:pt x="142" y="848"/>
                  </a:lnTo>
                  <a:lnTo>
                    <a:pt x="142" y="849"/>
                  </a:lnTo>
                  <a:lnTo>
                    <a:pt x="139" y="850"/>
                  </a:lnTo>
                  <a:lnTo>
                    <a:pt x="141" y="851"/>
                  </a:lnTo>
                  <a:lnTo>
                    <a:pt x="142" y="853"/>
                  </a:lnTo>
                  <a:lnTo>
                    <a:pt x="141" y="854"/>
                  </a:lnTo>
                  <a:lnTo>
                    <a:pt x="141" y="853"/>
                  </a:lnTo>
                  <a:lnTo>
                    <a:pt x="141" y="854"/>
                  </a:lnTo>
                  <a:lnTo>
                    <a:pt x="142" y="854"/>
                  </a:lnTo>
                  <a:lnTo>
                    <a:pt x="142" y="855"/>
                  </a:lnTo>
                  <a:lnTo>
                    <a:pt x="141" y="856"/>
                  </a:lnTo>
                  <a:lnTo>
                    <a:pt x="141" y="857"/>
                  </a:lnTo>
                  <a:lnTo>
                    <a:pt x="141" y="860"/>
                  </a:lnTo>
                  <a:lnTo>
                    <a:pt x="139" y="860"/>
                  </a:lnTo>
                  <a:lnTo>
                    <a:pt x="139" y="861"/>
                  </a:lnTo>
                  <a:lnTo>
                    <a:pt x="141" y="861"/>
                  </a:lnTo>
                  <a:lnTo>
                    <a:pt x="141" y="862"/>
                  </a:lnTo>
                  <a:lnTo>
                    <a:pt x="139" y="862"/>
                  </a:lnTo>
                  <a:lnTo>
                    <a:pt x="138" y="861"/>
                  </a:lnTo>
                  <a:lnTo>
                    <a:pt x="139" y="862"/>
                  </a:lnTo>
                  <a:lnTo>
                    <a:pt x="139" y="863"/>
                  </a:lnTo>
                  <a:lnTo>
                    <a:pt x="137" y="863"/>
                  </a:lnTo>
                  <a:lnTo>
                    <a:pt x="136" y="865"/>
                  </a:lnTo>
                  <a:lnTo>
                    <a:pt x="135" y="865"/>
                  </a:lnTo>
                  <a:lnTo>
                    <a:pt x="133" y="865"/>
                  </a:lnTo>
                  <a:lnTo>
                    <a:pt x="133" y="866"/>
                  </a:lnTo>
                  <a:lnTo>
                    <a:pt x="132" y="866"/>
                  </a:lnTo>
                  <a:lnTo>
                    <a:pt x="132" y="867"/>
                  </a:lnTo>
                  <a:lnTo>
                    <a:pt x="131" y="868"/>
                  </a:lnTo>
                  <a:lnTo>
                    <a:pt x="130" y="868"/>
                  </a:lnTo>
                  <a:lnTo>
                    <a:pt x="129" y="868"/>
                  </a:lnTo>
                  <a:lnTo>
                    <a:pt x="129" y="867"/>
                  </a:lnTo>
                  <a:lnTo>
                    <a:pt x="129" y="865"/>
                  </a:lnTo>
                  <a:lnTo>
                    <a:pt x="129" y="863"/>
                  </a:lnTo>
                  <a:lnTo>
                    <a:pt x="127" y="863"/>
                  </a:lnTo>
                  <a:lnTo>
                    <a:pt x="127" y="862"/>
                  </a:lnTo>
                  <a:lnTo>
                    <a:pt x="126" y="862"/>
                  </a:lnTo>
                  <a:lnTo>
                    <a:pt x="125" y="861"/>
                  </a:lnTo>
                  <a:lnTo>
                    <a:pt x="124" y="861"/>
                  </a:lnTo>
                  <a:lnTo>
                    <a:pt x="123" y="861"/>
                  </a:lnTo>
                  <a:lnTo>
                    <a:pt x="121" y="861"/>
                  </a:lnTo>
                  <a:lnTo>
                    <a:pt x="121" y="860"/>
                  </a:lnTo>
                  <a:lnTo>
                    <a:pt x="121" y="859"/>
                  </a:lnTo>
                  <a:lnTo>
                    <a:pt x="120" y="857"/>
                  </a:lnTo>
                  <a:lnTo>
                    <a:pt x="119" y="856"/>
                  </a:lnTo>
                  <a:lnTo>
                    <a:pt x="118" y="856"/>
                  </a:lnTo>
                  <a:lnTo>
                    <a:pt x="117" y="856"/>
                  </a:lnTo>
                  <a:lnTo>
                    <a:pt x="115" y="856"/>
                  </a:lnTo>
                  <a:lnTo>
                    <a:pt x="114" y="855"/>
                  </a:lnTo>
                  <a:lnTo>
                    <a:pt x="109" y="855"/>
                  </a:lnTo>
                  <a:lnTo>
                    <a:pt x="108" y="854"/>
                  </a:lnTo>
                  <a:lnTo>
                    <a:pt x="107" y="853"/>
                  </a:lnTo>
                  <a:lnTo>
                    <a:pt x="107" y="854"/>
                  </a:lnTo>
                  <a:lnTo>
                    <a:pt x="106" y="854"/>
                  </a:lnTo>
                  <a:lnTo>
                    <a:pt x="105" y="854"/>
                  </a:lnTo>
                  <a:lnTo>
                    <a:pt x="105" y="855"/>
                  </a:lnTo>
                  <a:lnTo>
                    <a:pt x="103" y="855"/>
                  </a:lnTo>
                  <a:lnTo>
                    <a:pt x="102" y="855"/>
                  </a:lnTo>
                  <a:lnTo>
                    <a:pt x="101" y="855"/>
                  </a:lnTo>
                  <a:lnTo>
                    <a:pt x="100" y="855"/>
                  </a:lnTo>
                  <a:lnTo>
                    <a:pt x="100" y="853"/>
                  </a:lnTo>
                  <a:lnTo>
                    <a:pt x="99" y="853"/>
                  </a:lnTo>
                  <a:lnTo>
                    <a:pt x="96" y="853"/>
                  </a:lnTo>
                  <a:lnTo>
                    <a:pt x="95" y="851"/>
                  </a:lnTo>
                  <a:lnTo>
                    <a:pt x="94" y="850"/>
                  </a:lnTo>
                  <a:lnTo>
                    <a:pt x="94" y="848"/>
                  </a:lnTo>
                  <a:lnTo>
                    <a:pt x="94" y="849"/>
                  </a:lnTo>
                  <a:lnTo>
                    <a:pt x="92" y="849"/>
                  </a:lnTo>
                  <a:lnTo>
                    <a:pt x="91" y="849"/>
                  </a:lnTo>
                  <a:lnTo>
                    <a:pt x="89" y="848"/>
                  </a:lnTo>
                  <a:lnTo>
                    <a:pt x="89" y="847"/>
                  </a:lnTo>
                  <a:lnTo>
                    <a:pt x="89" y="845"/>
                  </a:lnTo>
                  <a:lnTo>
                    <a:pt x="88" y="844"/>
                  </a:lnTo>
                  <a:lnTo>
                    <a:pt x="88" y="843"/>
                  </a:lnTo>
                  <a:lnTo>
                    <a:pt x="86" y="843"/>
                  </a:lnTo>
                  <a:lnTo>
                    <a:pt x="86" y="841"/>
                  </a:lnTo>
                  <a:lnTo>
                    <a:pt x="88" y="841"/>
                  </a:lnTo>
                  <a:lnTo>
                    <a:pt x="88" y="842"/>
                  </a:lnTo>
                  <a:lnTo>
                    <a:pt x="89" y="842"/>
                  </a:lnTo>
                  <a:lnTo>
                    <a:pt x="89" y="839"/>
                  </a:lnTo>
                  <a:lnTo>
                    <a:pt x="89" y="838"/>
                  </a:lnTo>
                  <a:lnTo>
                    <a:pt x="88" y="838"/>
                  </a:lnTo>
                  <a:lnTo>
                    <a:pt x="88" y="839"/>
                  </a:lnTo>
                  <a:lnTo>
                    <a:pt x="86" y="839"/>
                  </a:lnTo>
                  <a:lnTo>
                    <a:pt x="85" y="841"/>
                  </a:lnTo>
                  <a:lnTo>
                    <a:pt x="84" y="839"/>
                  </a:lnTo>
                  <a:lnTo>
                    <a:pt x="84" y="838"/>
                  </a:lnTo>
                  <a:lnTo>
                    <a:pt x="84" y="837"/>
                  </a:lnTo>
                  <a:lnTo>
                    <a:pt x="83" y="836"/>
                  </a:lnTo>
                  <a:lnTo>
                    <a:pt x="82" y="837"/>
                  </a:lnTo>
                  <a:lnTo>
                    <a:pt x="80" y="836"/>
                  </a:lnTo>
                  <a:lnTo>
                    <a:pt x="79" y="835"/>
                  </a:lnTo>
                  <a:lnTo>
                    <a:pt x="79" y="833"/>
                  </a:lnTo>
                  <a:lnTo>
                    <a:pt x="79" y="832"/>
                  </a:lnTo>
                  <a:lnTo>
                    <a:pt x="77" y="831"/>
                  </a:lnTo>
                  <a:lnTo>
                    <a:pt x="76" y="831"/>
                  </a:lnTo>
                  <a:lnTo>
                    <a:pt x="76" y="830"/>
                  </a:lnTo>
                  <a:lnTo>
                    <a:pt x="74" y="830"/>
                  </a:lnTo>
                  <a:lnTo>
                    <a:pt x="74" y="827"/>
                  </a:lnTo>
                  <a:lnTo>
                    <a:pt x="74" y="826"/>
                  </a:lnTo>
                  <a:lnTo>
                    <a:pt x="76" y="826"/>
                  </a:lnTo>
                  <a:lnTo>
                    <a:pt x="77" y="825"/>
                  </a:lnTo>
                  <a:lnTo>
                    <a:pt x="77" y="824"/>
                  </a:lnTo>
                  <a:lnTo>
                    <a:pt x="76" y="824"/>
                  </a:lnTo>
                  <a:lnTo>
                    <a:pt x="76" y="823"/>
                  </a:lnTo>
                  <a:lnTo>
                    <a:pt x="74" y="823"/>
                  </a:lnTo>
                  <a:lnTo>
                    <a:pt x="73" y="821"/>
                  </a:lnTo>
                  <a:lnTo>
                    <a:pt x="73" y="823"/>
                  </a:lnTo>
                  <a:lnTo>
                    <a:pt x="72" y="823"/>
                  </a:lnTo>
                  <a:lnTo>
                    <a:pt x="71" y="823"/>
                  </a:lnTo>
                  <a:lnTo>
                    <a:pt x="70" y="820"/>
                  </a:lnTo>
                  <a:lnTo>
                    <a:pt x="68" y="819"/>
                  </a:lnTo>
                  <a:lnTo>
                    <a:pt x="67" y="819"/>
                  </a:lnTo>
                  <a:lnTo>
                    <a:pt x="66" y="819"/>
                  </a:lnTo>
                  <a:lnTo>
                    <a:pt x="65" y="820"/>
                  </a:lnTo>
                  <a:lnTo>
                    <a:pt x="64" y="820"/>
                  </a:lnTo>
                  <a:lnTo>
                    <a:pt x="62" y="819"/>
                  </a:lnTo>
                  <a:lnTo>
                    <a:pt x="61" y="818"/>
                  </a:lnTo>
                  <a:lnTo>
                    <a:pt x="59" y="818"/>
                  </a:lnTo>
                  <a:lnTo>
                    <a:pt x="58" y="819"/>
                  </a:lnTo>
                  <a:lnTo>
                    <a:pt x="56" y="819"/>
                  </a:lnTo>
                  <a:lnTo>
                    <a:pt x="55" y="819"/>
                  </a:lnTo>
                  <a:lnTo>
                    <a:pt x="55" y="818"/>
                  </a:lnTo>
                  <a:lnTo>
                    <a:pt x="54" y="818"/>
                  </a:lnTo>
                  <a:lnTo>
                    <a:pt x="53" y="818"/>
                  </a:lnTo>
                  <a:lnTo>
                    <a:pt x="53" y="817"/>
                  </a:lnTo>
                  <a:lnTo>
                    <a:pt x="53" y="815"/>
                  </a:lnTo>
                  <a:lnTo>
                    <a:pt x="53" y="814"/>
                  </a:lnTo>
                  <a:lnTo>
                    <a:pt x="52" y="814"/>
                  </a:lnTo>
                  <a:lnTo>
                    <a:pt x="53" y="813"/>
                  </a:lnTo>
                  <a:lnTo>
                    <a:pt x="53" y="812"/>
                  </a:lnTo>
                  <a:lnTo>
                    <a:pt x="52" y="812"/>
                  </a:lnTo>
                  <a:lnTo>
                    <a:pt x="50" y="811"/>
                  </a:lnTo>
                  <a:lnTo>
                    <a:pt x="49" y="809"/>
                  </a:lnTo>
                  <a:lnTo>
                    <a:pt x="49" y="808"/>
                  </a:lnTo>
                  <a:lnTo>
                    <a:pt x="48" y="808"/>
                  </a:lnTo>
                  <a:lnTo>
                    <a:pt x="48" y="809"/>
                  </a:lnTo>
                  <a:lnTo>
                    <a:pt x="47" y="808"/>
                  </a:lnTo>
                  <a:lnTo>
                    <a:pt x="47" y="807"/>
                  </a:lnTo>
                  <a:lnTo>
                    <a:pt x="46" y="807"/>
                  </a:lnTo>
                  <a:lnTo>
                    <a:pt x="46" y="808"/>
                  </a:lnTo>
                  <a:lnTo>
                    <a:pt x="44" y="808"/>
                  </a:lnTo>
                  <a:lnTo>
                    <a:pt x="43" y="808"/>
                  </a:lnTo>
                  <a:lnTo>
                    <a:pt x="42" y="808"/>
                  </a:lnTo>
                  <a:lnTo>
                    <a:pt x="41" y="808"/>
                  </a:lnTo>
                  <a:lnTo>
                    <a:pt x="40" y="808"/>
                  </a:lnTo>
                  <a:lnTo>
                    <a:pt x="38" y="808"/>
                  </a:lnTo>
                  <a:lnTo>
                    <a:pt x="37" y="809"/>
                  </a:lnTo>
                  <a:lnTo>
                    <a:pt x="36" y="808"/>
                  </a:lnTo>
                  <a:lnTo>
                    <a:pt x="35" y="807"/>
                  </a:lnTo>
                  <a:lnTo>
                    <a:pt x="33" y="807"/>
                  </a:lnTo>
                  <a:lnTo>
                    <a:pt x="33" y="806"/>
                  </a:lnTo>
                  <a:lnTo>
                    <a:pt x="32" y="806"/>
                  </a:lnTo>
                  <a:lnTo>
                    <a:pt x="32" y="805"/>
                  </a:lnTo>
                  <a:lnTo>
                    <a:pt x="32" y="803"/>
                  </a:lnTo>
                  <a:lnTo>
                    <a:pt x="31" y="802"/>
                  </a:lnTo>
                  <a:lnTo>
                    <a:pt x="31" y="805"/>
                  </a:lnTo>
                  <a:lnTo>
                    <a:pt x="31" y="803"/>
                  </a:lnTo>
                  <a:lnTo>
                    <a:pt x="31" y="802"/>
                  </a:lnTo>
                  <a:lnTo>
                    <a:pt x="31" y="801"/>
                  </a:lnTo>
                  <a:lnTo>
                    <a:pt x="30" y="801"/>
                  </a:lnTo>
                  <a:lnTo>
                    <a:pt x="29" y="800"/>
                  </a:lnTo>
                  <a:lnTo>
                    <a:pt x="29" y="801"/>
                  </a:lnTo>
                  <a:lnTo>
                    <a:pt x="27" y="800"/>
                  </a:lnTo>
                  <a:lnTo>
                    <a:pt x="27" y="799"/>
                  </a:lnTo>
                  <a:lnTo>
                    <a:pt x="25" y="799"/>
                  </a:lnTo>
                  <a:lnTo>
                    <a:pt x="24" y="799"/>
                  </a:lnTo>
                  <a:lnTo>
                    <a:pt x="23" y="797"/>
                  </a:lnTo>
                  <a:lnTo>
                    <a:pt x="21" y="797"/>
                  </a:lnTo>
                  <a:lnTo>
                    <a:pt x="19" y="797"/>
                  </a:lnTo>
                  <a:lnTo>
                    <a:pt x="17" y="796"/>
                  </a:lnTo>
                  <a:lnTo>
                    <a:pt x="14" y="796"/>
                  </a:lnTo>
                  <a:lnTo>
                    <a:pt x="13" y="795"/>
                  </a:lnTo>
                  <a:lnTo>
                    <a:pt x="14" y="794"/>
                  </a:lnTo>
                  <a:lnTo>
                    <a:pt x="15" y="793"/>
                  </a:lnTo>
                  <a:lnTo>
                    <a:pt x="14" y="794"/>
                  </a:lnTo>
                  <a:lnTo>
                    <a:pt x="13" y="794"/>
                  </a:lnTo>
                  <a:lnTo>
                    <a:pt x="13" y="793"/>
                  </a:lnTo>
                  <a:lnTo>
                    <a:pt x="13" y="791"/>
                  </a:lnTo>
                  <a:lnTo>
                    <a:pt x="12" y="790"/>
                  </a:lnTo>
                  <a:lnTo>
                    <a:pt x="12" y="788"/>
                  </a:lnTo>
                  <a:lnTo>
                    <a:pt x="13" y="787"/>
                  </a:lnTo>
                  <a:lnTo>
                    <a:pt x="14" y="785"/>
                  </a:lnTo>
                  <a:lnTo>
                    <a:pt x="13" y="785"/>
                  </a:lnTo>
                  <a:lnTo>
                    <a:pt x="13" y="784"/>
                  </a:lnTo>
                  <a:lnTo>
                    <a:pt x="13" y="783"/>
                  </a:lnTo>
                  <a:lnTo>
                    <a:pt x="12" y="782"/>
                  </a:lnTo>
                  <a:lnTo>
                    <a:pt x="11" y="781"/>
                  </a:lnTo>
                  <a:lnTo>
                    <a:pt x="11" y="779"/>
                  </a:lnTo>
                  <a:lnTo>
                    <a:pt x="12" y="779"/>
                  </a:lnTo>
                  <a:lnTo>
                    <a:pt x="12" y="773"/>
                  </a:lnTo>
                  <a:lnTo>
                    <a:pt x="11" y="773"/>
                  </a:lnTo>
                  <a:lnTo>
                    <a:pt x="11" y="772"/>
                  </a:lnTo>
                  <a:lnTo>
                    <a:pt x="9" y="771"/>
                  </a:lnTo>
                  <a:lnTo>
                    <a:pt x="8" y="771"/>
                  </a:lnTo>
                  <a:lnTo>
                    <a:pt x="7" y="770"/>
                  </a:lnTo>
                  <a:lnTo>
                    <a:pt x="6" y="770"/>
                  </a:lnTo>
                  <a:lnTo>
                    <a:pt x="5" y="768"/>
                  </a:lnTo>
                  <a:lnTo>
                    <a:pt x="2" y="767"/>
                  </a:lnTo>
                  <a:lnTo>
                    <a:pt x="1" y="766"/>
                  </a:lnTo>
                  <a:lnTo>
                    <a:pt x="0" y="765"/>
                  </a:lnTo>
                  <a:lnTo>
                    <a:pt x="0" y="764"/>
                  </a:lnTo>
                  <a:lnTo>
                    <a:pt x="1" y="764"/>
                  </a:lnTo>
                  <a:lnTo>
                    <a:pt x="3" y="764"/>
                  </a:lnTo>
                  <a:lnTo>
                    <a:pt x="5" y="764"/>
                  </a:lnTo>
                  <a:lnTo>
                    <a:pt x="8" y="765"/>
                  </a:lnTo>
                  <a:lnTo>
                    <a:pt x="12" y="766"/>
                  </a:lnTo>
                  <a:lnTo>
                    <a:pt x="15" y="767"/>
                  </a:lnTo>
                  <a:lnTo>
                    <a:pt x="18" y="768"/>
                  </a:lnTo>
                  <a:lnTo>
                    <a:pt x="20" y="770"/>
                  </a:lnTo>
                  <a:lnTo>
                    <a:pt x="25" y="771"/>
                  </a:lnTo>
                  <a:lnTo>
                    <a:pt x="29" y="772"/>
                  </a:lnTo>
                  <a:lnTo>
                    <a:pt x="32" y="772"/>
                  </a:lnTo>
                  <a:lnTo>
                    <a:pt x="36" y="773"/>
                  </a:lnTo>
                  <a:lnTo>
                    <a:pt x="38" y="773"/>
                  </a:lnTo>
                  <a:lnTo>
                    <a:pt x="44" y="773"/>
                  </a:lnTo>
                  <a:lnTo>
                    <a:pt x="49" y="773"/>
                  </a:lnTo>
                  <a:lnTo>
                    <a:pt x="53" y="773"/>
                  </a:lnTo>
                  <a:lnTo>
                    <a:pt x="58" y="773"/>
                  </a:lnTo>
                  <a:lnTo>
                    <a:pt x="60" y="772"/>
                  </a:lnTo>
                  <a:lnTo>
                    <a:pt x="64" y="772"/>
                  </a:lnTo>
                  <a:lnTo>
                    <a:pt x="72" y="772"/>
                  </a:lnTo>
                  <a:lnTo>
                    <a:pt x="74" y="771"/>
                  </a:lnTo>
                  <a:lnTo>
                    <a:pt x="76" y="770"/>
                  </a:lnTo>
                  <a:lnTo>
                    <a:pt x="78" y="767"/>
                  </a:lnTo>
                  <a:lnTo>
                    <a:pt x="79" y="766"/>
                  </a:lnTo>
                  <a:lnTo>
                    <a:pt x="79" y="765"/>
                  </a:lnTo>
                  <a:lnTo>
                    <a:pt x="80" y="764"/>
                  </a:lnTo>
                  <a:lnTo>
                    <a:pt x="80" y="762"/>
                  </a:lnTo>
                  <a:lnTo>
                    <a:pt x="79" y="762"/>
                  </a:lnTo>
                  <a:lnTo>
                    <a:pt x="78" y="764"/>
                  </a:lnTo>
                  <a:lnTo>
                    <a:pt x="78" y="762"/>
                  </a:lnTo>
                  <a:lnTo>
                    <a:pt x="77" y="762"/>
                  </a:lnTo>
                  <a:lnTo>
                    <a:pt x="76" y="762"/>
                  </a:lnTo>
                  <a:lnTo>
                    <a:pt x="74" y="761"/>
                  </a:lnTo>
                  <a:lnTo>
                    <a:pt x="73" y="760"/>
                  </a:lnTo>
                  <a:lnTo>
                    <a:pt x="72" y="759"/>
                  </a:lnTo>
                  <a:lnTo>
                    <a:pt x="71" y="759"/>
                  </a:lnTo>
                  <a:lnTo>
                    <a:pt x="71" y="760"/>
                  </a:lnTo>
                  <a:lnTo>
                    <a:pt x="70" y="759"/>
                  </a:lnTo>
                  <a:lnTo>
                    <a:pt x="68" y="759"/>
                  </a:lnTo>
                  <a:lnTo>
                    <a:pt x="67" y="759"/>
                  </a:lnTo>
                  <a:lnTo>
                    <a:pt x="66" y="759"/>
                  </a:lnTo>
                  <a:lnTo>
                    <a:pt x="65" y="759"/>
                  </a:lnTo>
                  <a:lnTo>
                    <a:pt x="64" y="758"/>
                  </a:lnTo>
                  <a:lnTo>
                    <a:pt x="62" y="759"/>
                  </a:lnTo>
                  <a:lnTo>
                    <a:pt x="62" y="758"/>
                  </a:lnTo>
                  <a:lnTo>
                    <a:pt x="62" y="756"/>
                  </a:lnTo>
                  <a:lnTo>
                    <a:pt x="61" y="755"/>
                  </a:lnTo>
                  <a:lnTo>
                    <a:pt x="61" y="756"/>
                  </a:lnTo>
                  <a:lnTo>
                    <a:pt x="61" y="758"/>
                  </a:lnTo>
                  <a:lnTo>
                    <a:pt x="60" y="758"/>
                  </a:lnTo>
                  <a:lnTo>
                    <a:pt x="60" y="756"/>
                  </a:lnTo>
                  <a:lnTo>
                    <a:pt x="59" y="756"/>
                  </a:lnTo>
                  <a:lnTo>
                    <a:pt x="59" y="755"/>
                  </a:lnTo>
                  <a:lnTo>
                    <a:pt x="58" y="754"/>
                  </a:lnTo>
                  <a:lnTo>
                    <a:pt x="58" y="756"/>
                  </a:lnTo>
                  <a:lnTo>
                    <a:pt x="58" y="755"/>
                  </a:lnTo>
                  <a:lnTo>
                    <a:pt x="56" y="755"/>
                  </a:lnTo>
                  <a:lnTo>
                    <a:pt x="55" y="755"/>
                  </a:lnTo>
                  <a:lnTo>
                    <a:pt x="54" y="754"/>
                  </a:lnTo>
                  <a:lnTo>
                    <a:pt x="53" y="753"/>
                  </a:lnTo>
                  <a:lnTo>
                    <a:pt x="53" y="752"/>
                  </a:lnTo>
                  <a:lnTo>
                    <a:pt x="52" y="750"/>
                  </a:lnTo>
                  <a:lnTo>
                    <a:pt x="52" y="749"/>
                  </a:lnTo>
                  <a:lnTo>
                    <a:pt x="50" y="749"/>
                  </a:lnTo>
                  <a:lnTo>
                    <a:pt x="49" y="748"/>
                  </a:lnTo>
                  <a:lnTo>
                    <a:pt x="49" y="747"/>
                  </a:lnTo>
                  <a:lnTo>
                    <a:pt x="48" y="747"/>
                  </a:lnTo>
                  <a:lnTo>
                    <a:pt x="48" y="746"/>
                  </a:lnTo>
                  <a:lnTo>
                    <a:pt x="47" y="746"/>
                  </a:lnTo>
                  <a:lnTo>
                    <a:pt x="46" y="744"/>
                  </a:lnTo>
                  <a:lnTo>
                    <a:pt x="47" y="743"/>
                  </a:lnTo>
                  <a:lnTo>
                    <a:pt x="46" y="744"/>
                  </a:lnTo>
                  <a:lnTo>
                    <a:pt x="46" y="743"/>
                  </a:lnTo>
                  <a:lnTo>
                    <a:pt x="44" y="742"/>
                  </a:lnTo>
                  <a:lnTo>
                    <a:pt x="44" y="741"/>
                  </a:lnTo>
                  <a:lnTo>
                    <a:pt x="46" y="740"/>
                  </a:lnTo>
                  <a:lnTo>
                    <a:pt x="47" y="741"/>
                  </a:lnTo>
                  <a:lnTo>
                    <a:pt x="49" y="740"/>
                  </a:lnTo>
                  <a:lnTo>
                    <a:pt x="55" y="741"/>
                  </a:lnTo>
                  <a:lnTo>
                    <a:pt x="60" y="741"/>
                  </a:lnTo>
                  <a:lnTo>
                    <a:pt x="62" y="742"/>
                  </a:lnTo>
                  <a:lnTo>
                    <a:pt x="65" y="741"/>
                  </a:lnTo>
                  <a:lnTo>
                    <a:pt x="67" y="741"/>
                  </a:lnTo>
                  <a:lnTo>
                    <a:pt x="68" y="740"/>
                  </a:lnTo>
                  <a:lnTo>
                    <a:pt x="68" y="738"/>
                  </a:lnTo>
                  <a:lnTo>
                    <a:pt x="70" y="737"/>
                  </a:lnTo>
                  <a:lnTo>
                    <a:pt x="68" y="737"/>
                  </a:lnTo>
                  <a:lnTo>
                    <a:pt x="68" y="736"/>
                  </a:lnTo>
                  <a:lnTo>
                    <a:pt x="67" y="735"/>
                  </a:lnTo>
                  <a:lnTo>
                    <a:pt x="66" y="734"/>
                  </a:lnTo>
                  <a:lnTo>
                    <a:pt x="66" y="732"/>
                  </a:lnTo>
                  <a:lnTo>
                    <a:pt x="65" y="732"/>
                  </a:lnTo>
                  <a:lnTo>
                    <a:pt x="64" y="732"/>
                  </a:lnTo>
                  <a:lnTo>
                    <a:pt x="62" y="731"/>
                  </a:lnTo>
                  <a:lnTo>
                    <a:pt x="61" y="730"/>
                  </a:lnTo>
                  <a:lnTo>
                    <a:pt x="60" y="730"/>
                  </a:lnTo>
                  <a:lnTo>
                    <a:pt x="59" y="730"/>
                  </a:lnTo>
                  <a:lnTo>
                    <a:pt x="58" y="730"/>
                  </a:lnTo>
                  <a:lnTo>
                    <a:pt x="56" y="730"/>
                  </a:lnTo>
                  <a:lnTo>
                    <a:pt x="56" y="729"/>
                  </a:lnTo>
                  <a:lnTo>
                    <a:pt x="55" y="729"/>
                  </a:lnTo>
                  <a:lnTo>
                    <a:pt x="55" y="728"/>
                  </a:lnTo>
                  <a:lnTo>
                    <a:pt x="54" y="728"/>
                  </a:lnTo>
                  <a:lnTo>
                    <a:pt x="53" y="728"/>
                  </a:lnTo>
                  <a:lnTo>
                    <a:pt x="53" y="726"/>
                  </a:lnTo>
                  <a:lnTo>
                    <a:pt x="52" y="726"/>
                  </a:lnTo>
                  <a:lnTo>
                    <a:pt x="50" y="725"/>
                  </a:lnTo>
                  <a:lnTo>
                    <a:pt x="49" y="725"/>
                  </a:lnTo>
                  <a:lnTo>
                    <a:pt x="49" y="724"/>
                  </a:lnTo>
                  <a:lnTo>
                    <a:pt x="48" y="724"/>
                  </a:lnTo>
                  <a:lnTo>
                    <a:pt x="47" y="724"/>
                  </a:lnTo>
                  <a:lnTo>
                    <a:pt x="46" y="723"/>
                  </a:lnTo>
                  <a:lnTo>
                    <a:pt x="46" y="722"/>
                  </a:lnTo>
                  <a:lnTo>
                    <a:pt x="44" y="720"/>
                  </a:lnTo>
                  <a:lnTo>
                    <a:pt x="43" y="720"/>
                  </a:lnTo>
                  <a:lnTo>
                    <a:pt x="42" y="719"/>
                  </a:lnTo>
                  <a:lnTo>
                    <a:pt x="41" y="718"/>
                  </a:lnTo>
                  <a:lnTo>
                    <a:pt x="41" y="717"/>
                  </a:lnTo>
                  <a:lnTo>
                    <a:pt x="42" y="716"/>
                  </a:lnTo>
                  <a:lnTo>
                    <a:pt x="41" y="713"/>
                  </a:lnTo>
                  <a:lnTo>
                    <a:pt x="40" y="712"/>
                  </a:lnTo>
                  <a:lnTo>
                    <a:pt x="38" y="711"/>
                  </a:lnTo>
                  <a:lnTo>
                    <a:pt x="38" y="710"/>
                  </a:lnTo>
                  <a:lnTo>
                    <a:pt x="38" y="708"/>
                  </a:lnTo>
                  <a:lnTo>
                    <a:pt x="40" y="708"/>
                  </a:lnTo>
                  <a:lnTo>
                    <a:pt x="41" y="710"/>
                  </a:lnTo>
                  <a:lnTo>
                    <a:pt x="43" y="711"/>
                  </a:lnTo>
                  <a:lnTo>
                    <a:pt x="44" y="711"/>
                  </a:lnTo>
                  <a:lnTo>
                    <a:pt x="44" y="710"/>
                  </a:lnTo>
                  <a:lnTo>
                    <a:pt x="43" y="710"/>
                  </a:lnTo>
                  <a:lnTo>
                    <a:pt x="42" y="710"/>
                  </a:lnTo>
                  <a:lnTo>
                    <a:pt x="41" y="708"/>
                  </a:lnTo>
                  <a:lnTo>
                    <a:pt x="40" y="707"/>
                  </a:lnTo>
                  <a:lnTo>
                    <a:pt x="41" y="707"/>
                  </a:lnTo>
                  <a:lnTo>
                    <a:pt x="42" y="706"/>
                  </a:lnTo>
                  <a:lnTo>
                    <a:pt x="43" y="706"/>
                  </a:lnTo>
                  <a:lnTo>
                    <a:pt x="46" y="705"/>
                  </a:lnTo>
                  <a:lnTo>
                    <a:pt x="47" y="704"/>
                  </a:lnTo>
                  <a:lnTo>
                    <a:pt x="46" y="704"/>
                  </a:lnTo>
                  <a:lnTo>
                    <a:pt x="44" y="704"/>
                  </a:lnTo>
                  <a:lnTo>
                    <a:pt x="43" y="704"/>
                  </a:lnTo>
                  <a:lnTo>
                    <a:pt x="42" y="704"/>
                  </a:lnTo>
                  <a:lnTo>
                    <a:pt x="41" y="702"/>
                  </a:lnTo>
                  <a:lnTo>
                    <a:pt x="41" y="701"/>
                  </a:lnTo>
                  <a:lnTo>
                    <a:pt x="42" y="702"/>
                  </a:lnTo>
                  <a:lnTo>
                    <a:pt x="43" y="702"/>
                  </a:lnTo>
                  <a:lnTo>
                    <a:pt x="43" y="701"/>
                  </a:lnTo>
                  <a:lnTo>
                    <a:pt x="42" y="701"/>
                  </a:lnTo>
                  <a:lnTo>
                    <a:pt x="41" y="701"/>
                  </a:lnTo>
                  <a:lnTo>
                    <a:pt x="40" y="700"/>
                  </a:lnTo>
                  <a:lnTo>
                    <a:pt x="41" y="700"/>
                  </a:lnTo>
                  <a:lnTo>
                    <a:pt x="42" y="700"/>
                  </a:lnTo>
                  <a:lnTo>
                    <a:pt x="42" y="699"/>
                  </a:lnTo>
                  <a:lnTo>
                    <a:pt x="43" y="698"/>
                  </a:lnTo>
                  <a:lnTo>
                    <a:pt x="44" y="699"/>
                  </a:lnTo>
                  <a:lnTo>
                    <a:pt x="46" y="699"/>
                  </a:lnTo>
                  <a:lnTo>
                    <a:pt x="46" y="698"/>
                  </a:lnTo>
                  <a:lnTo>
                    <a:pt x="47" y="698"/>
                  </a:lnTo>
                  <a:lnTo>
                    <a:pt x="47" y="699"/>
                  </a:lnTo>
                  <a:lnTo>
                    <a:pt x="48" y="701"/>
                  </a:lnTo>
                  <a:lnTo>
                    <a:pt x="48" y="702"/>
                  </a:lnTo>
                  <a:lnTo>
                    <a:pt x="50" y="702"/>
                  </a:lnTo>
                  <a:lnTo>
                    <a:pt x="50" y="704"/>
                  </a:lnTo>
                  <a:lnTo>
                    <a:pt x="50" y="705"/>
                  </a:lnTo>
                  <a:lnTo>
                    <a:pt x="52" y="705"/>
                  </a:lnTo>
                  <a:lnTo>
                    <a:pt x="53" y="706"/>
                  </a:lnTo>
                  <a:lnTo>
                    <a:pt x="54" y="706"/>
                  </a:lnTo>
                  <a:lnTo>
                    <a:pt x="55" y="707"/>
                  </a:lnTo>
                  <a:lnTo>
                    <a:pt x="56" y="708"/>
                  </a:lnTo>
                  <a:lnTo>
                    <a:pt x="59" y="708"/>
                  </a:lnTo>
                  <a:lnTo>
                    <a:pt x="60" y="708"/>
                  </a:lnTo>
                  <a:lnTo>
                    <a:pt x="61" y="710"/>
                  </a:lnTo>
                  <a:lnTo>
                    <a:pt x="64" y="710"/>
                  </a:lnTo>
                  <a:lnTo>
                    <a:pt x="66" y="711"/>
                  </a:lnTo>
                  <a:lnTo>
                    <a:pt x="67" y="711"/>
                  </a:lnTo>
                  <a:lnTo>
                    <a:pt x="68" y="711"/>
                  </a:lnTo>
                  <a:lnTo>
                    <a:pt x="70" y="711"/>
                  </a:lnTo>
                  <a:lnTo>
                    <a:pt x="68" y="711"/>
                  </a:lnTo>
                  <a:lnTo>
                    <a:pt x="67" y="710"/>
                  </a:lnTo>
                  <a:lnTo>
                    <a:pt x="67" y="708"/>
                  </a:lnTo>
                  <a:lnTo>
                    <a:pt x="68" y="707"/>
                  </a:lnTo>
                  <a:lnTo>
                    <a:pt x="68" y="706"/>
                  </a:lnTo>
                  <a:lnTo>
                    <a:pt x="70" y="706"/>
                  </a:lnTo>
                  <a:lnTo>
                    <a:pt x="71" y="705"/>
                  </a:lnTo>
                  <a:lnTo>
                    <a:pt x="70" y="705"/>
                  </a:lnTo>
                  <a:lnTo>
                    <a:pt x="68" y="705"/>
                  </a:lnTo>
                  <a:lnTo>
                    <a:pt x="68" y="704"/>
                  </a:lnTo>
                  <a:lnTo>
                    <a:pt x="67" y="705"/>
                  </a:lnTo>
                  <a:lnTo>
                    <a:pt x="67" y="704"/>
                  </a:lnTo>
                  <a:lnTo>
                    <a:pt x="67" y="702"/>
                  </a:lnTo>
                  <a:lnTo>
                    <a:pt x="68" y="702"/>
                  </a:lnTo>
                  <a:lnTo>
                    <a:pt x="67" y="701"/>
                  </a:lnTo>
                  <a:lnTo>
                    <a:pt x="67" y="700"/>
                  </a:lnTo>
                  <a:lnTo>
                    <a:pt x="68" y="700"/>
                  </a:lnTo>
                  <a:lnTo>
                    <a:pt x="70" y="700"/>
                  </a:lnTo>
                  <a:lnTo>
                    <a:pt x="71" y="700"/>
                  </a:lnTo>
                  <a:lnTo>
                    <a:pt x="72" y="700"/>
                  </a:lnTo>
                  <a:lnTo>
                    <a:pt x="73" y="700"/>
                  </a:lnTo>
                  <a:lnTo>
                    <a:pt x="74" y="701"/>
                  </a:lnTo>
                  <a:lnTo>
                    <a:pt x="76" y="701"/>
                  </a:lnTo>
                  <a:lnTo>
                    <a:pt x="77" y="701"/>
                  </a:lnTo>
                  <a:lnTo>
                    <a:pt x="77" y="700"/>
                  </a:lnTo>
                  <a:lnTo>
                    <a:pt x="74" y="700"/>
                  </a:lnTo>
                  <a:lnTo>
                    <a:pt x="74" y="699"/>
                  </a:lnTo>
                  <a:lnTo>
                    <a:pt x="74" y="698"/>
                  </a:lnTo>
                  <a:lnTo>
                    <a:pt x="76" y="698"/>
                  </a:lnTo>
                  <a:lnTo>
                    <a:pt x="76" y="696"/>
                  </a:lnTo>
                  <a:lnTo>
                    <a:pt x="76" y="695"/>
                  </a:lnTo>
                  <a:lnTo>
                    <a:pt x="76" y="694"/>
                  </a:lnTo>
                  <a:lnTo>
                    <a:pt x="77" y="694"/>
                  </a:lnTo>
                  <a:lnTo>
                    <a:pt x="78" y="693"/>
                  </a:lnTo>
                  <a:lnTo>
                    <a:pt x="79" y="693"/>
                  </a:lnTo>
                  <a:lnTo>
                    <a:pt x="79" y="694"/>
                  </a:lnTo>
                  <a:lnTo>
                    <a:pt x="79" y="695"/>
                  </a:lnTo>
                  <a:lnTo>
                    <a:pt x="80" y="696"/>
                  </a:lnTo>
                  <a:lnTo>
                    <a:pt x="82" y="698"/>
                  </a:lnTo>
                  <a:lnTo>
                    <a:pt x="83" y="698"/>
                  </a:lnTo>
                  <a:lnTo>
                    <a:pt x="84" y="699"/>
                  </a:lnTo>
                  <a:lnTo>
                    <a:pt x="85" y="700"/>
                  </a:lnTo>
                  <a:lnTo>
                    <a:pt x="84" y="700"/>
                  </a:lnTo>
                  <a:lnTo>
                    <a:pt x="83" y="699"/>
                  </a:lnTo>
                  <a:lnTo>
                    <a:pt x="83" y="700"/>
                  </a:lnTo>
                  <a:lnTo>
                    <a:pt x="84" y="700"/>
                  </a:lnTo>
                  <a:lnTo>
                    <a:pt x="84" y="701"/>
                  </a:lnTo>
                  <a:lnTo>
                    <a:pt x="84" y="702"/>
                  </a:lnTo>
                  <a:lnTo>
                    <a:pt x="83" y="702"/>
                  </a:lnTo>
                  <a:lnTo>
                    <a:pt x="84" y="702"/>
                  </a:lnTo>
                  <a:lnTo>
                    <a:pt x="84" y="704"/>
                  </a:lnTo>
                  <a:lnTo>
                    <a:pt x="84" y="705"/>
                  </a:lnTo>
                  <a:lnTo>
                    <a:pt x="85" y="706"/>
                  </a:lnTo>
                  <a:lnTo>
                    <a:pt x="86" y="706"/>
                  </a:lnTo>
                  <a:lnTo>
                    <a:pt x="88" y="706"/>
                  </a:lnTo>
                  <a:lnTo>
                    <a:pt x="86" y="707"/>
                  </a:lnTo>
                  <a:lnTo>
                    <a:pt x="85" y="707"/>
                  </a:lnTo>
                  <a:lnTo>
                    <a:pt x="84" y="707"/>
                  </a:lnTo>
                  <a:lnTo>
                    <a:pt x="84" y="708"/>
                  </a:lnTo>
                  <a:lnTo>
                    <a:pt x="84" y="710"/>
                  </a:lnTo>
                  <a:lnTo>
                    <a:pt x="85" y="710"/>
                  </a:lnTo>
                  <a:lnTo>
                    <a:pt x="86" y="708"/>
                  </a:lnTo>
                  <a:lnTo>
                    <a:pt x="86" y="710"/>
                  </a:lnTo>
                  <a:lnTo>
                    <a:pt x="88" y="710"/>
                  </a:lnTo>
                  <a:lnTo>
                    <a:pt x="90" y="711"/>
                  </a:lnTo>
                  <a:lnTo>
                    <a:pt x="91" y="711"/>
                  </a:lnTo>
                  <a:lnTo>
                    <a:pt x="94" y="711"/>
                  </a:lnTo>
                  <a:lnTo>
                    <a:pt x="95" y="712"/>
                  </a:lnTo>
                  <a:lnTo>
                    <a:pt x="97" y="712"/>
                  </a:lnTo>
                  <a:lnTo>
                    <a:pt x="101" y="712"/>
                  </a:lnTo>
                  <a:lnTo>
                    <a:pt x="105" y="712"/>
                  </a:lnTo>
                  <a:lnTo>
                    <a:pt x="106" y="711"/>
                  </a:lnTo>
                  <a:lnTo>
                    <a:pt x="107" y="711"/>
                  </a:lnTo>
                  <a:lnTo>
                    <a:pt x="111" y="711"/>
                  </a:lnTo>
                  <a:lnTo>
                    <a:pt x="113" y="710"/>
                  </a:lnTo>
                  <a:lnTo>
                    <a:pt x="114" y="708"/>
                  </a:lnTo>
                  <a:lnTo>
                    <a:pt x="114" y="707"/>
                  </a:lnTo>
                  <a:lnTo>
                    <a:pt x="114" y="706"/>
                  </a:lnTo>
                  <a:lnTo>
                    <a:pt x="113" y="707"/>
                  </a:lnTo>
                  <a:lnTo>
                    <a:pt x="112" y="706"/>
                  </a:lnTo>
                  <a:lnTo>
                    <a:pt x="112" y="705"/>
                  </a:lnTo>
                  <a:lnTo>
                    <a:pt x="111" y="707"/>
                  </a:lnTo>
                  <a:lnTo>
                    <a:pt x="108" y="708"/>
                  </a:lnTo>
                  <a:lnTo>
                    <a:pt x="107" y="710"/>
                  </a:lnTo>
                  <a:lnTo>
                    <a:pt x="107" y="708"/>
                  </a:lnTo>
                  <a:lnTo>
                    <a:pt x="108" y="706"/>
                  </a:lnTo>
                  <a:lnTo>
                    <a:pt x="111" y="705"/>
                  </a:lnTo>
                  <a:lnTo>
                    <a:pt x="111" y="704"/>
                  </a:lnTo>
                  <a:lnTo>
                    <a:pt x="111" y="702"/>
                  </a:lnTo>
                  <a:lnTo>
                    <a:pt x="111" y="701"/>
                  </a:lnTo>
                  <a:lnTo>
                    <a:pt x="109" y="702"/>
                  </a:lnTo>
                  <a:lnTo>
                    <a:pt x="109" y="704"/>
                  </a:lnTo>
                  <a:lnTo>
                    <a:pt x="109" y="702"/>
                  </a:lnTo>
                  <a:lnTo>
                    <a:pt x="108" y="702"/>
                  </a:lnTo>
                  <a:lnTo>
                    <a:pt x="106" y="702"/>
                  </a:lnTo>
                  <a:lnTo>
                    <a:pt x="106" y="704"/>
                  </a:lnTo>
                  <a:lnTo>
                    <a:pt x="106" y="702"/>
                  </a:lnTo>
                  <a:lnTo>
                    <a:pt x="106" y="701"/>
                  </a:lnTo>
                  <a:lnTo>
                    <a:pt x="106" y="700"/>
                  </a:lnTo>
                  <a:lnTo>
                    <a:pt x="108" y="699"/>
                  </a:lnTo>
                  <a:lnTo>
                    <a:pt x="108" y="698"/>
                  </a:lnTo>
                  <a:lnTo>
                    <a:pt x="108" y="696"/>
                  </a:lnTo>
                  <a:lnTo>
                    <a:pt x="107" y="695"/>
                  </a:lnTo>
                  <a:lnTo>
                    <a:pt x="107" y="696"/>
                  </a:lnTo>
                  <a:lnTo>
                    <a:pt x="107" y="698"/>
                  </a:lnTo>
                  <a:lnTo>
                    <a:pt x="106" y="698"/>
                  </a:lnTo>
                  <a:lnTo>
                    <a:pt x="105" y="699"/>
                  </a:lnTo>
                  <a:lnTo>
                    <a:pt x="103" y="699"/>
                  </a:lnTo>
                  <a:lnTo>
                    <a:pt x="103" y="698"/>
                  </a:lnTo>
                  <a:lnTo>
                    <a:pt x="102" y="698"/>
                  </a:lnTo>
                  <a:lnTo>
                    <a:pt x="101" y="699"/>
                  </a:lnTo>
                  <a:lnTo>
                    <a:pt x="100" y="699"/>
                  </a:lnTo>
                  <a:lnTo>
                    <a:pt x="100" y="698"/>
                  </a:lnTo>
                  <a:lnTo>
                    <a:pt x="99" y="696"/>
                  </a:lnTo>
                  <a:lnTo>
                    <a:pt x="100" y="695"/>
                  </a:lnTo>
                  <a:lnTo>
                    <a:pt x="100" y="694"/>
                  </a:lnTo>
                  <a:lnTo>
                    <a:pt x="101" y="693"/>
                  </a:lnTo>
                  <a:lnTo>
                    <a:pt x="101" y="692"/>
                  </a:lnTo>
                  <a:lnTo>
                    <a:pt x="101" y="690"/>
                  </a:lnTo>
                  <a:lnTo>
                    <a:pt x="100" y="690"/>
                  </a:lnTo>
                  <a:lnTo>
                    <a:pt x="100" y="692"/>
                  </a:lnTo>
                  <a:lnTo>
                    <a:pt x="97" y="692"/>
                  </a:lnTo>
                  <a:lnTo>
                    <a:pt x="95" y="692"/>
                  </a:lnTo>
                  <a:lnTo>
                    <a:pt x="94" y="693"/>
                  </a:lnTo>
                  <a:lnTo>
                    <a:pt x="92" y="693"/>
                  </a:lnTo>
                  <a:lnTo>
                    <a:pt x="92" y="692"/>
                  </a:lnTo>
                  <a:lnTo>
                    <a:pt x="91" y="692"/>
                  </a:lnTo>
                  <a:lnTo>
                    <a:pt x="91" y="690"/>
                  </a:lnTo>
                  <a:lnTo>
                    <a:pt x="90" y="690"/>
                  </a:lnTo>
                  <a:lnTo>
                    <a:pt x="92" y="689"/>
                  </a:lnTo>
                  <a:lnTo>
                    <a:pt x="95" y="689"/>
                  </a:lnTo>
                  <a:lnTo>
                    <a:pt x="96" y="689"/>
                  </a:lnTo>
                  <a:lnTo>
                    <a:pt x="99" y="688"/>
                  </a:lnTo>
                  <a:lnTo>
                    <a:pt x="99" y="686"/>
                  </a:lnTo>
                  <a:lnTo>
                    <a:pt x="100" y="686"/>
                  </a:lnTo>
                  <a:lnTo>
                    <a:pt x="100" y="684"/>
                  </a:lnTo>
                  <a:lnTo>
                    <a:pt x="99" y="684"/>
                  </a:lnTo>
                  <a:lnTo>
                    <a:pt x="97" y="686"/>
                  </a:lnTo>
                  <a:lnTo>
                    <a:pt x="96" y="686"/>
                  </a:lnTo>
                  <a:lnTo>
                    <a:pt x="95" y="687"/>
                  </a:lnTo>
                  <a:lnTo>
                    <a:pt x="94" y="688"/>
                  </a:lnTo>
                  <a:lnTo>
                    <a:pt x="92" y="687"/>
                  </a:lnTo>
                  <a:lnTo>
                    <a:pt x="92" y="686"/>
                  </a:lnTo>
                  <a:lnTo>
                    <a:pt x="94" y="686"/>
                  </a:lnTo>
                  <a:lnTo>
                    <a:pt x="95" y="684"/>
                  </a:lnTo>
                  <a:lnTo>
                    <a:pt x="97" y="684"/>
                  </a:lnTo>
                  <a:lnTo>
                    <a:pt x="99" y="683"/>
                  </a:lnTo>
                  <a:lnTo>
                    <a:pt x="100" y="683"/>
                  </a:lnTo>
                  <a:lnTo>
                    <a:pt x="101" y="682"/>
                  </a:lnTo>
                  <a:lnTo>
                    <a:pt x="102" y="681"/>
                  </a:lnTo>
                  <a:lnTo>
                    <a:pt x="101" y="681"/>
                  </a:lnTo>
                  <a:lnTo>
                    <a:pt x="100" y="682"/>
                  </a:lnTo>
                  <a:lnTo>
                    <a:pt x="99" y="682"/>
                  </a:lnTo>
                  <a:lnTo>
                    <a:pt x="99" y="683"/>
                  </a:lnTo>
                  <a:lnTo>
                    <a:pt x="97" y="682"/>
                  </a:lnTo>
                  <a:lnTo>
                    <a:pt x="95" y="682"/>
                  </a:lnTo>
                  <a:lnTo>
                    <a:pt x="94" y="682"/>
                  </a:lnTo>
                  <a:lnTo>
                    <a:pt x="94" y="681"/>
                  </a:lnTo>
                  <a:lnTo>
                    <a:pt x="95" y="680"/>
                  </a:lnTo>
                  <a:lnTo>
                    <a:pt x="94" y="678"/>
                  </a:lnTo>
                  <a:lnTo>
                    <a:pt x="92" y="678"/>
                  </a:lnTo>
                  <a:lnTo>
                    <a:pt x="94" y="678"/>
                  </a:lnTo>
                  <a:lnTo>
                    <a:pt x="94" y="677"/>
                  </a:lnTo>
                  <a:lnTo>
                    <a:pt x="92" y="676"/>
                  </a:lnTo>
                  <a:lnTo>
                    <a:pt x="91" y="676"/>
                  </a:lnTo>
                  <a:lnTo>
                    <a:pt x="91" y="674"/>
                  </a:lnTo>
                  <a:lnTo>
                    <a:pt x="94" y="675"/>
                  </a:lnTo>
                  <a:lnTo>
                    <a:pt x="95" y="675"/>
                  </a:lnTo>
                  <a:lnTo>
                    <a:pt x="97" y="674"/>
                  </a:lnTo>
                  <a:lnTo>
                    <a:pt x="101" y="670"/>
                  </a:lnTo>
                  <a:lnTo>
                    <a:pt x="103" y="669"/>
                  </a:lnTo>
                  <a:lnTo>
                    <a:pt x="105" y="668"/>
                  </a:lnTo>
                  <a:lnTo>
                    <a:pt x="105" y="664"/>
                  </a:lnTo>
                  <a:lnTo>
                    <a:pt x="103" y="661"/>
                  </a:lnTo>
                  <a:lnTo>
                    <a:pt x="102" y="665"/>
                  </a:lnTo>
                  <a:lnTo>
                    <a:pt x="102" y="668"/>
                  </a:lnTo>
                  <a:lnTo>
                    <a:pt x="101" y="666"/>
                  </a:lnTo>
                  <a:lnTo>
                    <a:pt x="100" y="666"/>
                  </a:lnTo>
                  <a:lnTo>
                    <a:pt x="100" y="665"/>
                  </a:lnTo>
                  <a:lnTo>
                    <a:pt x="100" y="663"/>
                  </a:lnTo>
                  <a:lnTo>
                    <a:pt x="99" y="663"/>
                  </a:lnTo>
                  <a:lnTo>
                    <a:pt x="97" y="663"/>
                  </a:lnTo>
                  <a:lnTo>
                    <a:pt x="97" y="666"/>
                  </a:lnTo>
                  <a:lnTo>
                    <a:pt x="97" y="668"/>
                  </a:lnTo>
                  <a:lnTo>
                    <a:pt x="96" y="670"/>
                  </a:lnTo>
                  <a:lnTo>
                    <a:pt x="94" y="670"/>
                  </a:lnTo>
                  <a:lnTo>
                    <a:pt x="94" y="669"/>
                  </a:lnTo>
                  <a:lnTo>
                    <a:pt x="95" y="666"/>
                  </a:lnTo>
                  <a:lnTo>
                    <a:pt x="96" y="665"/>
                  </a:lnTo>
                  <a:lnTo>
                    <a:pt x="96" y="664"/>
                  </a:lnTo>
                  <a:lnTo>
                    <a:pt x="96" y="663"/>
                  </a:lnTo>
                  <a:lnTo>
                    <a:pt x="99" y="660"/>
                  </a:lnTo>
                  <a:lnTo>
                    <a:pt x="100" y="659"/>
                  </a:lnTo>
                  <a:lnTo>
                    <a:pt x="100" y="658"/>
                  </a:lnTo>
                  <a:lnTo>
                    <a:pt x="99" y="659"/>
                  </a:lnTo>
                  <a:lnTo>
                    <a:pt x="97" y="659"/>
                  </a:lnTo>
                  <a:lnTo>
                    <a:pt x="99" y="658"/>
                  </a:lnTo>
                  <a:lnTo>
                    <a:pt x="97" y="657"/>
                  </a:lnTo>
                  <a:lnTo>
                    <a:pt x="96" y="659"/>
                  </a:lnTo>
                  <a:lnTo>
                    <a:pt x="96" y="660"/>
                  </a:lnTo>
                  <a:lnTo>
                    <a:pt x="96" y="661"/>
                  </a:lnTo>
                  <a:lnTo>
                    <a:pt x="95" y="663"/>
                  </a:lnTo>
                  <a:lnTo>
                    <a:pt x="94" y="664"/>
                  </a:lnTo>
                  <a:lnTo>
                    <a:pt x="92" y="663"/>
                  </a:lnTo>
                  <a:lnTo>
                    <a:pt x="92" y="660"/>
                  </a:lnTo>
                  <a:lnTo>
                    <a:pt x="91" y="659"/>
                  </a:lnTo>
                  <a:lnTo>
                    <a:pt x="91" y="658"/>
                  </a:lnTo>
                  <a:lnTo>
                    <a:pt x="92" y="657"/>
                  </a:lnTo>
                  <a:lnTo>
                    <a:pt x="94" y="657"/>
                  </a:lnTo>
                  <a:lnTo>
                    <a:pt x="94" y="654"/>
                  </a:lnTo>
                  <a:lnTo>
                    <a:pt x="92" y="657"/>
                  </a:lnTo>
                  <a:lnTo>
                    <a:pt x="91" y="658"/>
                  </a:lnTo>
                  <a:lnTo>
                    <a:pt x="90" y="658"/>
                  </a:lnTo>
                  <a:lnTo>
                    <a:pt x="89" y="659"/>
                  </a:lnTo>
                  <a:lnTo>
                    <a:pt x="88" y="661"/>
                  </a:lnTo>
                  <a:lnTo>
                    <a:pt x="86" y="660"/>
                  </a:lnTo>
                  <a:lnTo>
                    <a:pt x="85" y="660"/>
                  </a:lnTo>
                  <a:lnTo>
                    <a:pt x="85" y="663"/>
                  </a:lnTo>
                  <a:lnTo>
                    <a:pt x="84" y="663"/>
                  </a:lnTo>
                  <a:lnTo>
                    <a:pt x="84" y="661"/>
                  </a:lnTo>
                  <a:lnTo>
                    <a:pt x="83" y="661"/>
                  </a:lnTo>
                  <a:lnTo>
                    <a:pt x="83" y="659"/>
                  </a:lnTo>
                  <a:lnTo>
                    <a:pt x="83" y="658"/>
                  </a:lnTo>
                  <a:lnTo>
                    <a:pt x="82" y="658"/>
                  </a:lnTo>
                  <a:lnTo>
                    <a:pt x="82" y="659"/>
                  </a:lnTo>
                  <a:lnTo>
                    <a:pt x="82" y="664"/>
                  </a:lnTo>
                  <a:lnTo>
                    <a:pt x="82" y="665"/>
                  </a:lnTo>
                  <a:lnTo>
                    <a:pt x="80" y="666"/>
                  </a:lnTo>
                  <a:lnTo>
                    <a:pt x="79" y="665"/>
                  </a:lnTo>
                  <a:lnTo>
                    <a:pt x="79" y="663"/>
                  </a:lnTo>
                  <a:lnTo>
                    <a:pt x="79" y="661"/>
                  </a:lnTo>
                  <a:lnTo>
                    <a:pt x="78" y="659"/>
                  </a:lnTo>
                  <a:lnTo>
                    <a:pt x="77" y="659"/>
                  </a:lnTo>
                  <a:lnTo>
                    <a:pt x="77" y="661"/>
                  </a:lnTo>
                  <a:lnTo>
                    <a:pt x="76" y="663"/>
                  </a:lnTo>
                  <a:lnTo>
                    <a:pt x="74" y="661"/>
                  </a:lnTo>
                  <a:lnTo>
                    <a:pt x="74" y="664"/>
                  </a:lnTo>
                  <a:lnTo>
                    <a:pt x="73" y="664"/>
                  </a:lnTo>
                  <a:lnTo>
                    <a:pt x="72" y="663"/>
                  </a:lnTo>
                  <a:lnTo>
                    <a:pt x="72" y="659"/>
                  </a:lnTo>
                  <a:lnTo>
                    <a:pt x="72" y="658"/>
                  </a:lnTo>
                  <a:lnTo>
                    <a:pt x="70" y="658"/>
                  </a:lnTo>
                  <a:lnTo>
                    <a:pt x="71" y="657"/>
                  </a:lnTo>
                  <a:lnTo>
                    <a:pt x="71" y="655"/>
                  </a:lnTo>
                  <a:lnTo>
                    <a:pt x="74" y="654"/>
                  </a:lnTo>
                  <a:lnTo>
                    <a:pt x="72" y="653"/>
                  </a:lnTo>
                  <a:lnTo>
                    <a:pt x="70" y="653"/>
                  </a:lnTo>
                  <a:lnTo>
                    <a:pt x="70" y="652"/>
                  </a:lnTo>
                  <a:lnTo>
                    <a:pt x="68" y="652"/>
                  </a:lnTo>
                  <a:lnTo>
                    <a:pt x="68" y="653"/>
                  </a:lnTo>
                  <a:lnTo>
                    <a:pt x="67" y="655"/>
                  </a:lnTo>
                  <a:lnTo>
                    <a:pt x="66" y="655"/>
                  </a:lnTo>
                  <a:lnTo>
                    <a:pt x="65" y="654"/>
                  </a:lnTo>
                  <a:lnTo>
                    <a:pt x="62" y="655"/>
                  </a:lnTo>
                  <a:lnTo>
                    <a:pt x="59" y="657"/>
                  </a:lnTo>
                  <a:lnTo>
                    <a:pt x="58" y="657"/>
                  </a:lnTo>
                  <a:lnTo>
                    <a:pt x="59" y="655"/>
                  </a:lnTo>
                  <a:lnTo>
                    <a:pt x="60" y="653"/>
                  </a:lnTo>
                  <a:lnTo>
                    <a:pt x="61" y="653"/>
                  </a:lnTo>
                  <a:lnTo>
                    <a:pt x="66" y="651"/>
                  </a:lnTo>
                  <a:lnTo>
                    <a:pt x="67" y="649"/>
                  </a:lnTo>
                  <a:lnTo>
                    <a:pt x="70" y="648"/>
                  </a:lnTo>
                  <a:lnTo>
                    <a:pt x="72" y="646"/>
                  </a:lnTo>
                  <a:lnTo>
                    <a:pt x="72" y="645"/>
                  </a:lnTo>
                  <a:lnTo>
                    <a:pt x="71" y="643"/>
                  </a:lnTo>
                  <a:lnTo>
                    <a:pt x="70" y="646"/>
                  </a:lnTo>
                  <a:lnTo>
                    <a:pt x="68" y="647"/>
                  </a:lnTo>
                  <a:lnTo>
                    <a:pt x="67" y="648"/>
                  </a:lnTo>
                  <a:lnTo>
                    <a:pt x="66" y="648"/>
                  </a:lnTo>
                  <a:lnTo>
                    <a:pt x="65" y="648"/>
                  </a:lnTo>
                  <a:lnTo>
                    <a:pt x="64" y="647"/>
                  </a:lnTo>
                  <a:lnTo>
                    <a:pt x="64" y="645"/>
                  </a:lnTo>
                  <a:lnTo>
                    <a:pt x="64" y="643"/>
                  </a:lnTo>
                  <a:lnTo>
                    <a:pt x="62" y="645"/>
                  </a:lnTo>
                  <a:lnTo>
                    <a:pt x="62" y="647"/>
                  </a:lnTo>
                  <a:lnTo>
                    <a:pt x="62" y="648"/>
                  </a:lnTo>
                  <a:lnTo>
                    <a:pt x="62" y="651"/>
                  </a:lnTo>
                  <a:lnTo>
                    <a:pt x="61" y="652"/>
                  </a:lnTo>
                  <a:lnTo>
                    <a:pt x="60" y="652"/>
                  </a:lnTo>
                  <a:lnTo>
                    <a:pt x="60" y="651"/>
                  </a:lnTo>
                  <a:lnTo>
                    <a:pt x="60" y="649"/>
                  </a:lnTo>
                  <a:lnTo>
                    <a:pt x="60" y="648"/>
                  </a:lnTo>
                  <a:lnTo>
                    <a:pt x="60" y="647"/>
                  </a:lnTo>
                  <a:lnTo>
                    <a:pt x="59" y="646"/>
                  </a:lnTo>
                  <a:lnTo>
                    <a:pt x="59" y="648"/>
                  </a:lnTo>
                  <a:lnTo>
                    <a:pt x="59" y="649"/>
                  </a:lnTo>
                  <a:lnTo>
                    <a:pt x="58" y="652"/>
                  </a:lnTo>
                  <a:lnTo>
                    <a:pt x="56" y="652"/>
                  </a:lnTo>
                  <a:lnTo>
                    <a:pt x="56" y="649"/>
                  </a:lnTo>
                  <a:lnTo>
                    <a:pt x="56" y="647"/>
                  </a:lnTo>
                  <a:lnTo>
                    <a:pt x="56" y="645"/>
                  </a:lnTo>
                  <a:lnTo>
                    <a:pt x="56" y="643"/>
                  </a:lnTo>
                  <a:lnTo>
                    <a:pt x="55" y="646"/>
                  </a:lnTo>
                  <a:lnTo>
                    <a:pt x="54" y="646"/>
                  </a:lnTo>
                  <a:lnTo>
                    <a:pt x="53" y="647"/>
                  </a:lnTo>
                  <a:lnTo>
                    <a:pt x="53" y="651"/>
                  </a:lnTo>
                  <a:lnTo>
                    <a:pt x="53" y="652"/>
                  </a:lnTo>
                  <a:lnTo>
                    <a:pt x="52" y="651"/>
                  </a:lnTo>
                  <a:lnTo>
                    <a:pt x="50" y="649"/>
                  </a:lnTo>
                  <a:lnTo>
                    <a:pt x="50" y="648"/>
                  </a:lnTo>
                  <a:lnTo>
                    <a:pt x="50" y="646"/>
                  </a:lnTo>
                  <a:lnTo>
                    <a:pt x="50" y="643"/>
                  </a:lnTo>
                  <a:lnTo>
                    <a:pt x="50" y="641"/>
                  </a:lnTo>
                  <a:lnTo>
                    <a:pt x="50" y="639"/>
                  </a:lnTo>
                  <a:lnTo>
                    <a:pt x="49" y="639"/>
                  </a:lnTo>
                  <a:lnTo>
                    <a:pt x="49" y="641"/>
                  </a:lnTo>
                  <a:lnTo>
                    <a:pt x="49" y="642"/>
                  </a:lnTo>
                  <a:lnTo>
                    <a:pt x="48" y="645"/>
                  </a:lnTo>
                  <a:lnTo>
                    <a:pt x="47" y="645"/>
                  </a:lnTo>
                  <a:lnTo>
                    <a:pt x="46" y="643"/>
                  </a:lnTo>
                  <a:lnTo>
                    <a:pt x="46" y="642"/>
                  </a:lnTo>
                  <a:lnTo>
                    <a:pt x="46" y="640"/>
                  </a:lnTo>
                  <a:lnTo>
                    <a:pt x="46" y="639"/>
                  </a:lnTo>
                  <a:lnTo>
                    <a:pt x="46" y="637"/>
                  </a:lnTo>
                  <a:lnTo>
                    <a:pt x="44" y="636"/>
                  </a:lnTo>
                  <a:lnTo>
                    <a:pt x="43" y="636"/>
                  </a:lnTo>
                  <a:lnTo>
                    <a:pt x="43" y="639"/>
                  </a:lnTo>
                  <a:lnTo>
                    <a:pt x="42" y="642"/>
                  </a:lnTo>
                  <a:lnTo>
                    <a:pt x="41" y="643"/>
                  </a:lnTo>
                  <a:lnTo>
                    <a:pt x="38" y="642"/>
                  </a:lnTo>
                  <a:lnTo>
                    <a:pt x="38" y="641"/>
                  </a:lnTo>
                  <a:lnTo>
                    <a:pt x="37" y="641"/>
                  </a:lnTo>
                  <a:lnTo>
                    <a:pt x="37" y="642"/>
                  </a:lnTo>
                  <a:lnTo>
                    <a:pt x="37" y="645"/>
                  </a:lnTo>
                  <a:lnTo>
                    <a:pt x="37" y="648"/>
                  </a:lnTo>
                  <a:lnTo>
                    <a:pt x="36" y="648"/>
                  </a:lnTo>
                  <a:lnTo>
                    <a:pt x="36" y="647"/>
                  </a:lnTo>
                  <a:lnTo>
                    <a:pt x="35" y="645"/>
                  </a:lnTo>
                  <a:lnTo>
                    <a:pt x="35" y="647"/>
                  </a:lnTo>
                  <a:lnTo>
                    <a:pt x="33" y="647"/>
                  </a:lnTo>
                  <a:lnTo>
                    <a:pt x="31" y="646"/>
                  </a:lnTo>
                  <a:lnTo>
                    <a:pt x="32" y="642"/>
                  </a:lnTo>
                  <a:lnTo>
                    <a:pt x="31" y="641"/>
                  </a:lnTo>
                  <a:lnTo>
                    <a:pt x="30" y="641"/>
                  </a:lnTo>
                  <a:lnTo>
                    <a:pt x="29" y="641"/>
                  </a:lnTo>
                  <a:lnTo>
                    <a:pt x="27" y="641"/>
                  </a:lnTo>
                  <a:lnTo>
                    <a:pt x="25" y="641"/>
                  </a:lnTo>
                  <a:lnTo>
                    <a:pt x="27" y="640"/>
                  </a:lnTo>
                  <a:lnTo>
                    <a:pt x="29" y="637"/>
                  </a:lnTo>
                  <a:lnTo>
                    <a:pt x="30" y="636"/>
                  </a:lnTo>
                  <a:lnTo>
                    <a:pt x="33" y="634"/>
                  </a:lnTo>
                  <a:lnTo>
                    <a:pt x="40" y="631"/>
                  </a:lnTo>
                  <a:lnTo>
                    <a:pt x="44" y="629"/>
                  </a:lnTo>
                  <a:lnTo>
                    <a:pt x="50" y="628"/>
                  </a:lnTo>
                  <a:lnTo>
                    <a:pt x="55" y="628"/>
                  </a:lnTo>
                  <a:lnTo>
                    <a:pt x="58" y="629"/>
                  </a:lnTo>
                  <a:lnTo>
                    <a:pt x="59" y="629"/>
                  </a:lnTo>
                  <a:lnTo>
                    <a:pt x="60" y="629"/>
                  </a:lnTo>
                  <a:lnTo>
                    <a:pt x="62" y="629"/>
                  </a:lnTo>
                  <a:lnTo>
                    <a:pt x="64" y="629"/>
                  </a:lnTo>
                  <a:lnTo>
                    <a:pt x="67" y="628"/>
                  </a:lnTo>
                  <a:lnTo>
                    <a:pt x="70" y="627"/>
                  </a:lnTo>
                  <a:lnTo>
                    <a:pt x="73" y="625"/>
                  </a:lnTo>
                  <a:lnTo>
                    <a:pt x="73" y="624"/>
                  </a:lnTo>
                  <a:lnTo>
                    <a:pt x="72" y="623"/>
                  </a:lnTo>
                  <a:lnTo>
                    <a:pt x="71" y="623"/>
                  </a:lnTo>
                  <a:lnTo>
                    <a:pt x="66" y="624"/>
                  </a:lnTo>
                  <a:lnTo>
                    <a:pt x="68" y="623"/>
                  </a:lnTo>
                  <a:lnTo>
                    <a:pt x="70" y="623"/>
                  </a:lnTo>
                  <a:lnTo>
                    <a:pt x="66" y="621"/>
                  </a:lnTo>
                  <a:lnTo>
                    <a:pt x="67" y="619"/>
                  </a:lnTo>
                  <a:lnTo>
                    <a:pt x="71" y="621"/>
                  </a:lnTo>
                  <a:lnTo>
                    <a:pt x="72" y="621"/>
                  </a:lnTo>
                  <a:lnTo>
                    <a:pt x="73" y="622"/>
                  </a:lnTo>
                  <a:lnTo>
                    <a:pt x="74" y="623"/>
                  </a:lnTo>
                  <a:lnTo>
                    <a:pt x="77" y="624"/>
                  </a:lnTo>
                  <a:lnTo>
                    <a:pt x="78" y="623"/>
                  </a:lnTo>
                  <a:lnTo>
                    <a:pt x="80" y="625"/>
                  </a:lnTo>
                  <a:lnTo>
                    <a:pt x="82" y="627"/>
                  </a:lnTo>
                  <a:lnTo>
                    <a:pt x="85" y="624"/>
                  </a:lnTo>
                  <a:lnTo>
                    <a:pt x="90" y="623"/>
                  </a:lnTo>
                  <a:lnTo>
                    <a:pt x="96" y="621"/>
                  </a:lnTo>
                  <a:lnTo>
                    <a:pt x="97" y="621"/>
                  </a:lnTo>
                  <a:lnTo>
                    <a:pt x="100" y="621"/>
                  </a:lnTo>
                  <a:lnTo>
                    <a:pt x="100" y="619"/>
                  </a:lnTo>
                  <a:lnTo>
                    <a:pt x="99" y="619"/>
                  </a:lnTo>
                  <a:lnTo>
                    <a:pt x="99" y="617"/>
                  </a:lnTo>
                  <a:lnTo>
                    <a:pt x="99" y="616"/>
                  </a:lnTo>
                  <a:lnTo>
                    <a:pt x="99" y="613"/>
                  </a:lnTo>
                  <a:lnTo>
                    <a:pt x="97" y="613"/>
                  </a:lnTo>
                  <a:lnTo>
                    <a:pt x="96" y="617"/>
                  </a:lnTo>
                  <a:lnTo>
                    <a:pt x="95" y="617"/>
                  </a:lnTo>
                  <a:lnTo>
                    <a:pt x="94" y="615"/>
                  </a:lnTo>
                  <a:lnTo>
                    <a:pt x="94" y="613"/>
                  </a:lnTo>
                  <a:lnTo>
                    <a:pt x="94" y="612"/>
                  </a:lnTo>
                  <a:lnTo>
                    <a:pt x="92" y="613"/>
                  </a:lnTo>
                  <a:lnTo>
                    <a:pt x="91" y="613"/>
                  </a:lnTo>
                  <a:lnTo>
                    <a:pt x="90" y="613"/>
                  </a:lnTo>
                  <a:lnTo>
                    <a:pt x="89" y="612"/>
                  </a:lnTo>
                  <a:lnTo>
                    <a:pt x="89" y="613"/>
                  </a:lnTo>
                  <a:lnTo>
                    <a:pt x="88" y="613"/>
                  </a:lnTo>
                  <a:lnTo>
                    <a:pt x="86" y="612"/>
                  </a:lnTo>
                  <a:lnTo>
                    <a:pt x="85" y="611"/>
                  </a:lnTo>
                  <a:lnTo>
                    <a:pt x="83" y="610"/>
                  </a:lnTo>
                  <a:lnTo>
                    <a:pt x="79" y="609"/>
                  </a:lnTo>
                  <a:lnTo>
                    <a:pt x="79" y="606"/>
                  </a:lnTo>
                  <a:lnTo>
                    <a:pt x="78" y="605"/>
                  </a:lnTo>
                  <a:lnTo>
                    <a:pt x="77" y="605"/>
                  </a:lnTo>
                  <a:lnTo>
                    <a:pt x="76" y="605"/>
                  </a:lnTo>
                  <a:lnTo>
                    <a:pt x="74" y="604"/>
                  </a:lnTo>
                  <a:lnTo>
                    <a:pt x="76" y="603"/>
                  </a:lnTo>
                  <a:lnTo>
                    <a:pt x="77" y="600"/>
                  </a:lnTo>
                  <a:lnTo>
                    <a:pt x="74" y="600"/>
                  </a:lnTo>
                  <a:lnTo>
                    <a:pt x="73" y="604"/>
                  </a:lnTo>
                  <a:lnTo>
                    <a:pt x="72" y="605"/>
                  </a:lnTo>
                  <a:lnTo>
                    <a:pt x="71" y="606"/>
                  </a:lnTo>
                  <a:lnTo>
                    <a:pt x="71" y="605"/>
                  </a:lnTo>
                  <a:lnTo>
                    <a:pt x="71" y="601"/>
                  </a:lnTo>
                  <a:lnTo>
                    <a:pt x="71" y="600"/>
                  </a:lnTo>
                  <a:lnTo>
                    <a:pt x="70" y="600"/>
                  </a:lnTo>
                  <a:lnTo>
                    <a:pt x="70" y="601"/>
                  </a:lnTo>
                  <a:lnTo>
                    <a:pt x="68" y="605"/>
                  </a:lnTo>
                  <a:lnTo>
                    <a:pt x="70" y="607"/>
                  </a:lnTo>
                  <a:lnTo>
                    <a:pt x="68" y="609"/>
                  </a:lnTo>
                  <a:lnTo>
                    <a:pt x="68" y="607"/>
                  </a:lnTo>
                  <a:lnTo>
                    <a:pt x="68" y="605"/>
                  </a:lnTo>
                  <a:lnTo>
                    <a:pt x="67" y="604"/>
                  </a:lnTo>
                  <a:lnTo>
                    <a:pt x="66" y="603"/>
                  </a:lnTo>
                  <a:lnTo>
                    <a:pt x="67" y="600"/>
                  </a:lnTo>
                  <a:lnTo>
                    <a:pt x="68" y="599"/>
                  </a:lnTo>
                  <a:lnTo>
                    <a:pt x="67" y="597"/>
                  </a:lnTo>
                  <a:lnTo>
                    <a:pt x="67" y="595"/>
                  </a:lnTo>
                  <a:lnTo>
                    <a:pt x="66" y="594"/>
                  </a:lnTo>
                  <a:lnTo>
                    <a:pt x="65" y="595"/>
                  </a:lnTo>
                  <a:lnTo>
                    <a:pt x="64" y="597"/>
                  </a:lnTo>
                  <a:lnTo>
                    <a:pt x="62" y="595"/>
                  </a:lnTo>
                  <a:lnTo>
                    <a:pt x="62" y="594"/>
                  </a:lnTo>
                  <a:lnTo>
                    <a:pt x="62" y="593"/>
                  </a:lnTo>
                  <a:lnTo>
                    <a:pt x="62" y="591"/>
                  </a:lnTo>
                  <a:lnTo>
                    <a:pt x="62" y="589"/>
                  </a:lnTo>
                  <a:lnTo>
                    <a:pt x="64" y="587"/>
                  </a:lnTo>
                  <a:lnTo>
                    <a:pt x="64" y="586"/>
                  </a:lnTo>
                  <a:lnTo>
                    <a:pt x="62" y="586"/>
                  </a:lnTo>
                  <a:lnTo>
                    <a:pt x="60" y="587"/>
                  </a:lnTo>
                  <a:lnTo>
                    <a:pt x="60" y="589"/>
                  </a:lnTo>
                  <a:lnTo>
                    <a:pt x="60" y="591"/>
                  </a:lnTo>
                  <a:lnTo>
                    <a:pt x="60" y="593"/>
                  </a:lnTo>
                  <a:lnTo>
                    <a:pt x="61" y="597"/>
                  </a:lnTo>
                  <a:lnTo>
                    <a:pt x="60" y="598"/>
                  </a:lnTo>
                  <a:lnTo>
                    <a:pt x="59" y="598"/>
                  </a:lnTo>
                  <a:lnTo>
                    <a:pt x="59" y="595"/>
                  </a:lnTo>
                  <a:lnTo>
                    <a:pt x="59" y="592"/>
                  </a:lnTo>
                  <a:lnTo>
                    <a:pt x="59" y="593"/>
                  </a:lnTo>
                  <a:lnTo>
                    <a:pt x="59" y="595"/>
                  </a:lnTo>
                  <a:lnTo>
                    <a:pt x="58" y="595"/>
                  </a:lnTo>
                  <a:lnTo>
                    <a:pt x="56" y="594"/>
                  </a:lnTo>
                  <a:lnTo>
                    <a:pt x="56" y="592"/>
                  </a:lnTo>
                  <a:lnTo>
                    <a:pt x="56" y="589"/>
                  </a:lnTo>
                  <a:lnTo>
                    <a:pt x="56" y="588"/>
                  </a:lnTo>
                  <a:lnTo>
                    <a:pt x="56" y="591"/>
                  </a:lnTo>
                  <a:lnTo>
                    <a:pt x="55" y="595"/>
                  </a:lnTo>
                  <a:lnTo>
                    <a:pt x="55" y="597"/>
                  </a:lnTo>
                  <a:lnTo>
                    <a:pt x="54" y="598"/>
                  </a:lnTo>
                  <a:lnTo>
                    <a:pt x="54" y="597"/>
                  </a:lnTo>
                  <a:lnTo>
                    <a:pt x="54" y="593"/>
                  </a:lnTo>
                  <a:lnTo>
                    <a:pt x="54" y="591"/>
                  </a:lnTo>
                  <a:lnTo>
                    <a:pt x="53" y="593"/>
                  </a:lnTo>
                  <a:lnTo>
                    <a:pt x="53" y="595"/>
                  </a:lnTo>
                  <a:lnTo>
                    <a:pt x="53" y="599"/>
                  </a:lnTo>
                  <a:lnTo>
                    <a:pt x="52" y="599"/>
                  </a:lnTo>
                  <a:lnTo>
                    <a:pt x="50" y="598"/>
                  </a:lnTo>
                  <a:lnTo>
                    <a:pt x="50" y="595"/>
                  </a:lnTo>
                  <a:lnTo>
                    <a:pt x="50" y="593"/>
                  </a:lnTo>
                  <a:lnTo>
                    <a:pt x="50" y="592"/>
                  </a:lnTo>
                  <a:lnTo>
                    <a:pt x="49" y="593"/>
                  </a:lnTo>
                  <a:lnTo>
                    <a:pt x="48" y="592"/>
                  </a:lnTo>
                  <a:lnTo>
                    <a:pt x="47" y="592"/>
                  </a:lnTo>
                  <a:lnTo>
                    <a:pt x="47" y="593"/>
                  </a:lnTo>
                  <a:lnTo>
                    <a:pt x="46" y="594"/>
                  </a:lnTo>
                  <a:lnTo>
                    <a:pt x="44" y="595"/>
                  </a:lnTo>
                  <a:lnTo>
                    <a:pt x="43" y="597"/>
                  </a:lnTo>
                  <a:lnTo>
                    <a:pt x="43" y="594"/>
                  </a:lnTo>
                  <a:lnTo>
                    <a:pt x="44" y="593"/>
                  </a:lnTo>
                  <a:lnTo>
                    <a:pt x="42" y="594"/>
                  </a:lnTo>
                  <a:lnTo>
                    <a:pt x="40" y="594"/>
                  </a:lnTo>
                  <a:lnTo>
                    <a:pt x="41" y="593"/>
                  </a:lnTo>
                  <a:lnTo>
                    <a:pt x="43" y="591"/>
                  </a:lnTo>
                  <a:lnTo>
                    <a:pt x="43" y="589"/>
                  </a:lnTo>
                  <a:lnTo>
                    <a:pt x="44" y="591"/>
                  </a:lnTo>
                  <a:lnTo>
                    <a:pt x="46" y="591"/>
                  </a:lnTo>
                  <a:lnTo>
                    <a:pt x="47" y="589"/>
                  </a:lnTo>
                  <a:lnTo>
                    <a:pt x="49" y="589"/>
                  </a:lnTo>
                  <a:lnTo>
                    <a:pt x="50" y="588"/>
                  </a:lnTo>
                  <a:lnTo>
                    <a:pt x="53" y="587"/>
                  </a:lnTo>
                  <a:lnTo>
                    <a:pt x="56" y="586"/>
                  </a:lnTo>
                  <a:lnTo>
                    <a:pt x="59" y="585"/>
                  </a:lnTo>
                  <a:lnTo>
                    <a:pt x="60" y="586"/>
                  </a:lnTo>
                  <a:lnTo>
                    <a:pt x="64" y="585"/>
                  </a:lnTo>
                  <a:lnTo>
                    <a:pt x="65" y="585"/>
                  </a:lnTo>
                  <a:lnTo>
                    <a:pt x="67" y="585"/>
                  </a:lnTo>
                  <a:lnTo>
                    <a:pt x="71" y="585"/>
                  </a:lnTo>
                  <a:lnTo>
                    <a:pt x="73" y="585"/>
                  </a:lnTo>
                  <a:lnTo>
                    <a:pt x="74" y="586"/>
                  </a:lnTo>
                  <a:lnTo>
                    <a:pt x="77" y="586"/>
                  </a:lnTo>
                  <a:lnTo>
                    <a:pt x="79" y="586"/>
                  </a:lnTo>
                  <a:lnTo>
                    <a:pt x="80" y="587"/>
                  </a:lnTo>
                  <a:lnTo>
                    <a:pt x="83" y="587"/>
                  </a:lnTo>
                  <a:lnTo>
                    <a:pt x="85" y="587"/>
                  </a:lnTo>
                  <a:lnTo>
                    <a:pt x="90" y="587"/>
                  </a:lnTo>
                  <a:lnTo>
                    <a:pt x="94" y="587"/>
                  </a:lnTo>
                  <a:lnTo>
                    <a:pt x="94" y="589"/>
                  </a:lnTo>
                  <a:lnTo>
                    <a:pt x="95" y="588"/>
                  </a:lnTo>
                  <a:lnTo>
                    <a:pt x="96" y="588"/>
                  </a:lnTo>
                  <a:lnTo>
                    <a:pt x="97" y="588"/>
                  </a:lnTo>
                  <a:lnTo>
                    <a:pt x="100" y="588"/>
                  </a:lnTo>
                  <a:lnTo>
                    <a:pt x="101" y="588"/>
                  </a:lnTo>
                  <a:lnTo>
                    <a:pt x="102" y="589"/>
                  </a:lnTo>
                  <a:lnTo>
                    <a:pt x="103" y="589"/>
                  </a:lnTo>
                  <a:lnTo>
                    <a:pt x="105" y="589"/>
                  </a:lnTo>
                  <a:lnTo>
                    <a:pt x="109" y="589"/>
                  </a:lnTo>
                  <a:lnTo>
                    <a:pt x="113" y="588"/>
                  </a:lnTo>
                  <a:lnTo>
                    <a:pt x="115" y="588"/>
                  </a:lnTo>
                  <a:lnTo>
                    <a:pt x="117" y="588"/>
                  </a:lnTo>
                  <a:lnTo>
                    <a:pt x="118" y="588"/>
                  </a:lnTo>
                  <a:lnTo>
                    <a:pt x="118" y="589"/>
                  </a:lnTo>
                  <a:lnTo>
                    <a:pt x="119" y="589"/>
                  </a:lnTo>
                  <a:lnTo>
                    <a:pt x="120" y="589"/>
                  </a:lnTo>
                  <a:lnTo>
                    <a:pt x="121" y="589"/>
                  </a:lnTo>
                  <a:lnTo>
                    <a:pt x="123" y="588"/>
                  </a:lnTo>
                  <a:lnTo>
                    <a:pt x="124" y="587"/>
                  </a:lnTo>
                  <a:lnTo>
                    <a:pt x="126" y="587"/>
                  </a:lnTo>
                  <a:lnTo>
                    <a:pt x="129" y="586"/>
                  </a:lnTo>
                  <a:lnTo>
                    <a:pt x="132" y="586"/>
                  </a:lnTo>
                  <a:lnTo>
                    <a:pt x="136" y="583"/>
                  </a:lnTo>
                  <a:lnTo>
                    <a:pt x="139" y="582"/>
                  </a:lnTo>
                  <a:lnTo>
                    <a:pt x="139" y="581"/>
                  </a:lnTo>
                  <a:lnTo>
                    <a:pt x="137" y="582"/>
                  </a:lnTo>
                  <a:lnTo>
                    <a:pt x="133" y="583"/>
                  </a:lnTo>
                  <a:lnTo>
                    <a:pt x="138" y="580"/>
                  </a:lnTo>
                  <a:lnTo>
                    <a:pt x="137" y="580"/>
                  </a:lnTo>
                  <a:lnTo>
                    <a:pt x="133" y="580"/>
                  </a:lnTo>
                  <a:lnTo>
                    <a:pt x="132" y="580"/>
                  </a:lnTo>
                  <a:lnTo>
                    <a:pt x="137" y="579"/>
                  </a:lnTo>
                  <a:lnTo>
                    <a:pt x="138" y="579"/>
                  </a:lnTo>
                  <a:lnTo>
                    <a:pt x="139" y="577"/>
                  </a:lnTo>
                  <a:lnTo>
                    <a:pt x="139" y="576"/>
                  </a:lnTo>
                  <a:lnTo>
                    <a:pt x="142" y="576"/>
                  </a:lnTo>
                  <a:lnTo>
                    <a:pt x="143" y="576"/>
                  </a:lnTo>
                  <a:lnTo>
                    <a:pt x="142" y="577"/>
                  </a:lnTo>
                  <a:lnTo>
                    <a:pt x="142" y="579"/>
                  </a:lnTo>
                  <a:lnTo>
                    <a:pt x="145" y="580"/>
                  </a:lnTo>
                  <a:lnTo>
                    <a:pt x="145" y="581"/>
                  </a:lnTo>
                  <a:lnTo>
                    <a:pt x="149" y="581"/>
                  </a:lnTo>
                  <a:lnTo>
                    <a:pt x="151" y="580"/>
                  </a:lnTo>
                  <a:lnTo>
                    <a:pt x="158" y="579"/>
                  </a:lnTo>
                  <a:lnTo>
                    <a:pt x="159" y="579"/>
                  </a:lnTo>
                  <a:lnTo>
                    <a:pt x="160" y="579"/>
                  </a:lnTo>
                  <a:lnTo>
                    <a:pt x="161" y="579"/>
                  </a:lnTo>
                  <a:lnTo>
                    <a:pt x="164" y="580"/>
                  </a:lnTo>
                  <a:lnTo>
                    <a:pt x="166" y="579"/>
                  </a:lnTo>
                  <a:lnTo>
                    <a:pt x="167" y="577"/>
                  </a:lnTo>
                  <a:lnTo>
                    <a:pt x="167" y="576"/>
                  </a:lnTo>
                  <a:lnTo>
                    <a:pt x="170" y="576"/>
                  </a:lnTo>
                  <a:lnTo>
                    <a:pt x="172" y="576"/>
                  </a:lnTo>
                  <a:lnTo>
                    <a:pt x="173" y="575"/>
                  </a:lnTo>
                  <a:lnTo>
                    <a:pt x="176" y="575"/>
                  </a:lnTo>
                  <a:lnTo>
                    <a:pt x="177" y="575"/>
                  </a:lnTo>
                  <a:lnTo>
                    <a:pt x="179" y="568"/>
                  </a:lnTo>
                  <a:lnTo>
                    <a:pt x="182" y="567"/>
                  </a:lnTo>
                  <a:lnTo>
                    <a:pt x="182" y="564"/>
                  </a:lnTo>
                  <a:lnTo>
                    <a:pt x="180" y="562"/>
                  </a:lnTo>
                  <a:lnTo>
                    <a:pt x="179" y="559"/>
                  </a:lnTo>
                  <a:lnTo>
                    <a:pt x="178" y="559"/>
                  </a:lnTo>
                  <a:lnTo>
                    <a:pt x="177" y="561"/>
                  </a:lnTo>
                  <a:lnTo>
                    <a:pt x="174" y="561"/>
                  </a:lnTo>
                  <a:lnTo>
                    <a:pt x="173" y="562"/>
                  </a:lnTo>
                  <a:lnTo>
                    <a:pt x="172" y="563"/>
                  </a:lnTo>
                  <a:lnTo>
                    <a:pt x="172" y="564"/>
                  </a:lnTo>
                  <a:lnTo>
                    <a:pt x="172" y="567"/>
                  </a:lnTo>
                  <a:lnTo>
                    <a:pt x="171" y="569"/>
                  </a:lnTo>
                  <a:lnTo>
                    <a:pt x="170" y="569"/>
                  </a:lnTo>
                  <a:lnTo>
                    <a:pt x="168" y="568"/>
                  </a:lnTo>
                  <a:lnTo>
                    <a:pt x="168" y="567"/>
                  </a:lnTo>
                  <a:lnTo>
                    <a:pt x="168" y="564"/>
                  </a:lnTo>
                  <a:lnTo>
                    <a:pt x="167" y="563"/>
                  </a:lnTo>
                  <a:lnTo>
                    <a:pt x="166" y="564"/>
                  </a:lnTo>
                  <a:lnTo>
                    <a:pt x="166" y="567"/>
                  </a:lnTo>
                  <a:lnTo>
                    <a:pt x="165" y="568"/>
                  </a:lnTo>
                  <a:lnTo>
                    <a:pt x="165" y="569"/>
                  </a:lnTo>
                  <a:lnTo>
                    <a:pt x="165" y="568"/>
                  </a:lnTo>
                  <a:lnTo>
                    <a:pt x="164" y="567"/>
                  </a:lnTo>
                  <a:lnTo>
                    <a:pt x="165" y="565"/>
                  </a:lnTo>
                  <a:lnTo>
                    <a:pt x="164" y="564"/>
                  </a:lnTo>
                  <a:lnTo>
                    <a:pt x="164" y="563"/>
                  </a:lnTo>
                  <a:lnTo>
                    <a:pt x="164" y="562"/>
                  </a:lnTo>
                  <a:lnTo>
                    <a:pt x="164" y="561"/>
                  </a:lnTo>
                  <a:lnTo>
                    <a:pt x="162" y="562"/>
                  </a:lnTo>
                  <a:lnTo>
                    <a:pt x="162" y="561"/>
                  </a:lnTo>
                  <a:lnTo>
                    <a:pt x="161" y="561"/>
                  </a:lnTo>
                  <a:lnTo>
                    <a:pt x="160" y="561"/>
                  </a:lnTo>
                  <a:lnTo>
                    <a:pt x="160" y="562"/>
                  </a:lnTo>
                  <a:lnTo>
                    <a:pt x="159" y="561"/>
                  </a:lnTo>
                  <a:lnTo>
                    <a:pt x="159" y="559"/>
                  </a:lnTo>
                  <a:lnTo>
                    <a:pt x="159" y="561"/>
                  </a:lnTo>
                  <a:lnTo>
                    <a:pt x="158" y="562"/>
                  </a:lnTo>
                  <a:lnTo>
                    <a:pt x="159" y="565"/>
                  </a:lnTo>
                  <a:lnTo>
                    <a:pt x="158" y="567"/>
                  </a:lnTo>
                  <a:lnTo>
                    <a:pt x="158" y="564"/>
                  </a:lnTo>
                  <a:lnTo>
                    <a:pt x="156" y="563"/>
                  </a:lnTo>
                  <a:lnTo>
                    <a:pt x="156" y="561"/>
                  </a:lnTo>
                  <a:lnTo>
                    <a:pt x="156" y="558"/>
                  </a:lnTo>
                  <a:lnTo>
                    <a:pt x="156" y="557"/>
                  </a:lnTo>
                  <a:lnTo>
                    <a:pt x="155" y="558"/>
                  </a:lnTo>
                  <a:lnTo>
                    <a:pt x="155" y="559"/>
                  </a:lnTo>
                  <a:lnTo>
                    <a:pt x="153" y="559"/>
                  </a:lnTo>
                  <a:lnTo>
                    <a:pt x="153" y="561"/>
                  </a:lnTo>
                  <a:lnTo>
                    <a:pt x="153" y="564"/>
                  </a:lnTo>
                  <a:lnTo>
                    <a:pt x="153" y="568"/>
                  </a:lnTo>
                  <a:lnTo>
                    <a:pt x="151" y="564"/>
                  </a:lnTo>
                  <a:lnTo>
                    <a:pt x="151" y="562"/>
                  </a:lnTo>
                  <a:lnTo>
                    <a:pt x="151" y="559"/>
                  </a:lnTo>
                  <a:lnTo>
                    <a:pt x="151" y="556"/>
                  </a:lnTo>
                  <a:lnTo>
                    <a:pt x="150" y="556"/>
                  </a:lnTo>
                  <a:lnTo>
                    <a:pt x="150" y="561"/>
                  </a:lnTo>
                  <a:lnTo>
                    <a:pt x="149" y="562"/>
                  </a:lnTo>
                  <a:lnTo>
                    <a:pt x="149" y="559"/>
                  </a:lnTo>
                  <a:lnTo>
                    <a:pt x="148" y="559"/>
                  </a:lnTo>
                  <a:lnTo>
                    <a:pt x="148" y="562"/>
                  </a:lnTo>
                  <a:lnTo>
                    <a:pt x="147" y="565"/>
                  </a:lnTo>
                  <a:lnTo>
                    <a:pt x="145" y="563"/>
                  </a:lnTo>
                  <a:lnTo>
                    <a:pt x="145" y="562"/>
                  </a:lnTo>
                  <a:lnTo>
                    <a:pt x="145" y="559"/>
                  </a:lnTo>
                  <a:lnTo>
                    <a:pt x="145" y="552"/>
                  </a:lnTo>
                  <a:lnTo>
                    <a:pt x="144" y="552"/>
                  </a:lnTo>
                  <a:lnTo>
                    <a:pt x="143" y="554"/>
                  </a:lnTo>
                  <a:lnTo>
                    <a:pt x="143" y="557"/>
                  </a:lnTo>
                  <a:lnTo>
                    <a:pt x="144" y="561"/>
                  </a:lnTo>
                  <a:lnTo>
                    <a:pt x="144" y="564"/>
                  </a:lnTo>
                  <a:lnTo>
                    <a:pt x="143" y="567"/>
                  </a:lnTo>
                  <a:lnTo>
                    <a:pt x="143" y="565"/>
                  </a:lnTo>
                  <a:lnTo>
                    <a:pt x="142" y="563"/>
                  </a:lnTo>
                  <a:lnTo>
                    <a:pt x="141" y="564"/>
                  </a:lnTo>
                  <a:lnTo>
                    <a:pt x="139" y="562"/>
                  </a:lnTo>
                  <a:lnTo>
                    <a:pt x="139" y="559"/>
                  </a:lnTo>
                  <a:lnTo>
                    <a:pt x="139" y="557"/>
                  </a:lnTo>
                  <a:lnTo>
                    <a:pt x="141" y="556"/>
                  </a:lnTo>
                  <a:lnTo>
                    <a:pt x="139" y="554"/>
                  </a:lnTo>
                  <a:lnTo>
                    <a:pt x="138" y="557"/>
                  </a:lnTo>
                  <a:lnTo>
                    <a:pt x="138" y="562"/>
                  </a:lnTo>
                  <a:lnTo>
                    <a:pt x="138" y="563"/>
                  </a:lnTo>
                  <a:lnTo>
                    <a:pt x="137" y="564"/>
                  </a:lnTo>
                  <a:lnTo>
                    <a:pt x="137" y="562"/>
                  </a:lnTo>
                  <a:lnTo>
                    <a:pt x="137" y="561"/>
                  </a:lnTo>
                  <a:lnTo>
                    <a:pt x="136" y="563"/>
                  </a:lnTo>
                  <a:lnTo>
                    <a:pt x="136" y="565"/>
                  </a:lnTo>
                  <a:lnTo>
                    <a:pt x="136" y="567"/>
                  </a:lnTo>
                  <a:lnTo>
                    <a:pt x="136" y="569"/>
                  </a:lnTo>
                  <a:lnTo>
                    <a:pt x="133" y="567"/>
                  </a:lnTo>
                  <a:lnTo>
                    <a:pt x="133" y="568"/>
                  </a:lnTo>
                  <a:lnTo>
                    <a:pt x="133" y="569"/>
                  </a:lnTo>
                  <a:lnTo>
                    <a:pt x="133" y="570"/>
                  </a:lnTo>
                  <a:lnTo>
                    <a:pt x="131" y="570"/>
                  </a:lnTo>
                  <a:lnTo>
                    <a:pt x="132" y="567"/>
                  </a:lnTo>
                  <a:lnTo>
                    <a:pt x="132" y="564"/>
                  </a:lnTo>
                  <a:lnTo>
                    <a:pt x="132" y="562"/>
                  </a:lnTo>
                  <a:lnTo>
                    <a:pt x="131" y="561"/>
                  </a:lnTo>
                  <a:lnTo>
                    <a:pt x="130" y="562"/>
                  </a:lnTo>
                  <a:lnTo>
                    <a:pt x="130" y="563"/>
                  </a:lnTo>
                  <a:lnTo>
                    <a:pt x="131" y="565"/>
                  </a:lnTo>
                  <a:lnTo>
                    <a:pt x="131" y="568"/>
                  </a:lnTo>
                  <a:lnTo>
                    <a:pt x="131" y="569"/>
                  </a:lnTo>
                  <a:lnTo>
                    <a:pt x="130" y="570"/>
                  </a:lnTo>
                  <a:lnTo>
                    <a:pt x="129" y="570"/>
                  </a:lnTo>
                  <a:lnTo>
                    <a:pt x="129" y="569"/>
                  </a:lnTo>
                  <a:lnTo>
                    <a:pt x="129" y="568"/>
                  </a:lnTo>
                  <a:lnTo>
                    <a:pt x="127" y="565"/>
                  </a:lnTo>
                  <a:lnTo>
                    <a:pt x="127" y="563"/>
                  </a:lnTo>
                  <a:lnTo>
                    <a:pt x="126" y="563"/>
                  </a:lnTo>
                  <a:lnTo>
                    <a:pt x="124" y="564"/>
                  </a:lnTo>
                  <a:lnTo>
                    <a:pt x="124" y="568"/>
                  </a:lnTo>
                  <a:lnTo>
                    <a:pt x="124" y="569"/>
                  </a:lnTo>
                  <a:lnTo>
                    <a:pt x="123" y="569"/>
                  </a:lnTo>
                  <a:lnTo>
                    <a:pt x="121" y="565"/>
                  </a:lnTo>
                  <a:lnTo>
                    <a:pt x="115" y="567"/>
                  </a:lnTo>
                  <a:lnTo>
                    <a:pt x="118" y="565"/>
                  </a:lnTo>
                  <a:lnTo>
                    <a:pt x="120" y="564"/>
                  </a:lnTo>
                  <a:lnTo>
                    <a:pt x="120" y="563"/>
                  </a:lnTo>
                  <a:lnTo>
                    <a:pt x="123" y="562"/>
                  </a:lnTo>
                  <a:lnTo>
                    <a:pt x="124" y="561"/>
                  </a:lnTo>
                  <a:lnTo>
                    <a:pt x="127" y="561"/>
                  </a:lnTo>
                  <a:lnTo>
                    <a:pt x="129" y="558"/>
                  </a:lnTo>
                  <a:lnTo>
                    <a:pt x="131" y="557"/>
                  </a:lnTo>
                  <a:lnTo>
                    <a:pt x="133" y="556"/>
                  </a:lnTo>
                  <a:lnTo>
                    <a:pt x="136" y="554"/>
                  </a:lnTo>
                  <a:lnTo>
                    <a:pt x="147" y="550"/>
                  </a:lnTo>
                  <a:lnTo>
                    <a:pt x="147" y="548"/>
                  </a:lnTo>
                  <a:lnTo>
                    <a:pt x="145" y="548"/>
                  </a:lnTo>
                  <a:lnTo>
                    <a:pt x="144" y="548"/>
                  </a:lnTo>
                  <a:lnTo>
                    <a:pt x="142" y="550"/>
                  </a:lnTo>
                  <a:lnTo>
                    <a:pt x="141" y="550"/>
                  </a:lnTo>
                  <a:lnTo>
                    <a:pt x="138" y="551"/>
                  </a:lnTo>
                  <a:lnTo>
                    <a:pt x="137" y="552"/>
                  </a:lnTo>
                  <a:lnTo>
                    <a:pt x="137" y="550"/>
                  </a:lnTo>
                  <a:lnTo>
                    <a:pt x="136" y="548"/>
                  </a:lnTo>
                  <a:lnTo>
                    <a:pt x="136" y="547"/>
                  </a:lnTo>
                  <a:lnTo>
                    <a:pt x="135" y="547"/>
                  </a:lnTo>
                  <a:lnTo>
                    <a:pt x="137" y="545"/>
                  </a:lnTo>
                  <a:lnTo>
                    <a:pt x="137" y="542"/>
                  </a:lnTo>
                  <a:lnTo>
                    <a:pt x="138" y="541"/>
                  </a:lnTo>
                  <a:lnTo>
                    <a:pt x="138" y="540"/>
                  </a:lnTo>
                  <a:lnTo>
                    <a:pt x="138" y="538"/>
                  </a:lnTo>
                  <a:lnTo>
                    <a:pt x="137" y="536"/>
                  </a:lnTo>
                  <a:lnTo>
                    <a:pt x="136" y="536"/>
                  </a:lnTo>
                  <a:lnTo>
                    <a:pt x="136" y="539"/>
                  </a:lnTo>
                  <a:lnTo>
                    <a:pt x="136" y="541"/>
                  </a:lnTo>
                  <a:lnTo>
                    <a:pt x="135" y="542"/>
                  </a:lnTo>
                  <a:lnTo>
                    <a:pt x="135" y="541"/>
                  </a:lnTo>
                  <a:lnTo>
                    <a:pt x="133" y="540"/>
                  </a:lnTo>
                  <a:lnTo>
                    <a:pt x="132" y="540"/>
                  </a:lnTo>
                  <a:lnTo>
                    <a:pt x="131" y="541"/>
                  </a:lnTo>
                  <a:lnTo>
                    <a:pt x="130" y="540"/>
                  </a:lnTo>
                  <a:lnTo>
                    <a:pt x="130" y="541"/>
                  </a:lnTo>
                  <a:lnTo>
                    <a:pt x="129" y="541"/>
                  </a:lnTo>
                  <a:lnTo>
                    <a:pt x="126" y="541"/>
                  </a:lnTo>
                  <a:lnTo>
                    <a:pt x="127" y="540"/>
                  </a:lnTo>
                  <a:lnTo>
                    <a:pt x="130" y="539"/>
                  </a:lnTo>
                  <a:lnTo>
                    <a:pt x="130" y="536"/>
                  </a:lnTo>
                  <a:lnTo>
                    <a:pt x="130" y="535"/>
                  </a:lnTo>
                  <a:lnTo>
                    <a:pt x="129" y="533"/>
                  </a:lnTo>
                  <a:lnTo>
                    <a:pt x="129" y="534"/>
                  </a:lnTo>
                  <a:lnTo>
                    <a:pt x="127" y="535"/>
                  </a:lnTo>
                  <a:lnTo>
                    <a:pt x="126" y="538"/>
                  </a:lnTo>
                  <a:lnTo>
                    <a:pt x="127" y="538"/>
                  </a:lnTo>
                  <a:lnTo>
                    <a:pt x="127" y="539"/>
                  </a:lnTo>
                  <a:lnTo>
                    <a:pt x="126" y="539"/>
                  </a:lnTo>
                  <a:lnTo>
                    <a:pt x="124" y="538"/>
                  </a:lnTo>
                  <a:lnTo>
                    <a:pt x="123" y="536"/>
                  </a:lnTo>
                  <a:lnTo>
                    <a:pt x="123" y="539"/>
                  </a:lnTo>
                  <a:lnTo>
                    <a:pt x="123" y="542"/>
                  </a:lnTo>
                  <a:lnTo>
                    <a:pt x="121" y="544"/>
                  </a:lnTo>
                  <a:lnTo>
                    <a:pt x="120" y="542"/>
                  </a:lnTo>
                  <a:lnTo>
                    <a:pt x="120" y="540"/>
                  </a:lnTo>
                  <a:lnTo>
                    <a:pt x="119" y="539"/>
                  </a:lnTo>
                  <a:lnTo>
                    <a:pt x="119" y="535"/>
                  </a:lnTo>
                  <a:lnTo>
                    <a:pt x="118" y="533"/>
                  </a:lnTo>
                  <a:lnTo>
                    <a:pt x="117" y="533"/>
                  </a:lnTo>
                  <a:lnTo>
                    <a:pt x="114" y="533"/>
                  </a:lnTo>
                  <a:lnTo>
                    <a:pt x="114" y="538"/>
                  </a:lnTo>
                  <a:lnTo>
                    <a:pt x="113" y="542"/>
                  </a:lnTo>
                  <a:lnTo>
                    <a:pt x="113" y="541"/>
                  </a:lnTo>
                  <a:lnTo>
                    <a:pt x="112" y="538"/>
                  </a:lnTo>
                  <a:lnTo>
                    <a:pt x="112" y="533"/>
                  </a:lnTo>
                  <a:lnTo>
                    <a:pt x="111" y="533"/>
                  </a:lnTo>
                  <a:lnTo>
                    <a:pt x="111" y="536"/>
                  </a:lnTo>
                  <a:lnTo>
                    <a:pt x="109" y="536"/>
                  </a:lnTo>
                  <a:lnTo>
                    <a:pt x="109" y="539"/>
                  </a:lnTo>
                  <a:lnTo>
                    <a:pt x="108" y="539"/>
                  </a:lnTo>
                  <a:lnTo>
                    <a:pt x="107" y="536"/>
                  </a:lnTo>
                  <a:lnTo>
                    <a:pt x="107" y="533"/>
                  </a:lnTo>
                  <a:lnTo>
                    <a:pt x="106" y="535"/>
                  </a:lnTo>
                  <a:lnTo>
                    <a:pt x="105" y="538"/>
                  </a:lnTo>
                  <a:lnTo>
                    <a:pt x="103" y="536"/>
                  </a:lnTo>
                  <a:lnTo>
                    <a:pt x="102" y="535"/>
                  </a:lnTo>
                  <a:lnTo>
                    <a:pt x="101" y="534"/>
                  </a:lnTo>
                  <a:lnTo>
                    <a:pt x="99" y="535"/>
                  </a:lnTo>
                  <a:lnTo>
                    <a:pt x="97" y="535"/>
                  </a:lnTo>
                  <a:lnTo>
                    <a:pt x="96" y="535"/>
                  </a:lnTo>
                  <a:lnTo>
                    <a:pt x="95" y="535"/>
                  </a:lnTo>
                  <a:lnTo>
                    <a:pt x="95" y="536"/>
                  </a:lnTo>
                  <a:lnTo>
                    <a:pt x="92" y="534"/>
                  </a:lnTo>
                  <a:lnTo>
                    <a:pt x="91" y="535"/>
                  </a:lnTo>
                  <a:lnTo>
                    <a:pt x="90" y="533"/>
                  </a:lnTo>
                  <a:lnTo>
                    <a:pt x="91" y="530"/>
                  </a:lnTo>
                  <a:lnTo>
                    <a:pt x="90" y="529"/>
                  </a:lnTo>
                  <a:lnTo>
                    <a:pt x="91" y="528"/>
                  </a:lnTo>
                  <a:lnTo>
                    <a:pt x="90" y="528"/>
                  </a:lnTo>
                  <a:lnTo>
                    <a:pt x="89" y="529"/>
                  </a:lnTo>
                  <a:lnTo>
                    <a:pt x="90" y="530"/>
                  </a:lnTo>
                  <a:lnTo>
                    <a:pt x="89" y="533"/>
                  </a:lnTo>
                  <a:lnTo>
                    <a:pt x="90" y="535"/>
                  </a:lnTo>
                  <a:lnTo>
                    <a:pt x="90" y="539"/>
                  </a:lnTo>
                  <a:lnTo>
                    <a:pt x="88" y="539"/>
                  </a:lnTo>
                  <a:lnTo>
                    <a:pt x="88" y="538"/>
                  </a:lnTo>
                  <a:lnTo>
                    <a:pt x="88" y="534"/>
                  </a:lnTo>
                  <a:lnTo>
                    <a:pt x="86" y="533"/>
                  </a:lnTo>
                  <a:lnTo>
                    <a:pt x="85" y="532"/>
                  </a:lnTo>
                  <a:lnTo>
                    <a:pt x="85" y="533"/>
                  </a:lnTo>
                  <a:lnTo>
                    <a:pt x="85" y="536"/>
                  </a:lnTo>
                  <a:lnTo>
                    <a:pt x="85" y="538"/>
                  </a:lnTo>
                  <a:lnTo>
                    <a:pt x="85" y="539"/>
                  </a:lnTo>
                  <a:lnTo>
                    <a:pt x="84" y="540"/>
                  </a:lnTo>
                  <a:lnTo>
                    <a:pt x="83" y="539"/>
                  </a:lnTo>
                  <a:lnTo>
                    <a:pt x="83" y="536"/>
                  </a:lnTo>
                  <a:lnTo>
                    <a:pt x="83" y="534"/>
                  </a:lnTo>
                  <a:lnTo>
                    <a:pt x="83" y="533"/>
                  </a:lnTo>
                  <a:lnTo>
                    <a:pt x="82" y="535"/>
                  </a:lnTo>
                  <a:lnTo>
                    <a:pt x="80" y="536"/>
                  </a:lnTo>
                  <a:lnTo>
                    <a:pt x="82" y="538"/>
                  </a:lnTo>
                  <a:lnTo>
                    <a:pt x="79" y="538"/>
                  </a:lnTo>
                  <a:lnTo>
                    <a:pt x="80" y="539"/>
                  </a:lnTo>
                  <a:lnTo>
                    <a:pt x="80" y="540"/>
                  </a:lnTo>
                  <a:lnTo>
                    <a:pt x="80" y="542"/>
                  </a:lnTo>
                  <a:lnTo>
                    <a:pt x="80" y="545"/>
                  </a:lnTo>
                  <a:lnTo>
                    <a:pt x="79" y="544"/>
                  </a:lnTo>
                  <a:lnTo>
                    <a:pt x="79" y="542"/>
                  </a:lnTo>
                  <a:lnTo>
                    <a:pt x="78" y="544"/>
                  </a:lnTo>
                  <a:lnTo>
                    <a:pt x="77" y="544"/>
                  </a:lnTo>
                  <a:lnTo>
                    <a:pt x="76" y="541"/>
                  </a:lnTo>
                  <a:lnTo>
                    <a:pt x="77" y="540"/>
                  </a:lnTo>
                  <a:lnTo>
                    <a:pt x="73" y="540"/>
                  </a:lnTo>
                  <a:lnTo>
                    <a:pt x="72" y="540"/>
                  </a:lnTo>
                  <a:lnTo>
                    <a:pt x="72" y="539"/>
                  </a:lnTo>
                  <a:lnTo>
                    <a:pt x="74" y="538"/>
                  </a:lnTo>
                  <a:lnTo>
                    <a:pt x="74" y="536"/>
                  </a:lnTo>
                  <a:lnTo>
                    <a:pt x="73" y="536"/>
                  </a:lnTo>
                  <a:lnTo>
                    <a:pt x="73" y="535"/>
                  </a:lnTo>
                  <a:lnTo>
                    <a:pt x="76" y="536"/>
                  </a:lnTo>
                  <a:lnTo>
                    <a:pt x="79" y="535"/>
                  </a:lnTo>
                  <a:lnTo>
                    <a:pt x="80" y="532"/>
                  </a:lnTo>
                  <a:lnTo>
                    <a:pt x="78" y="532"/>
                  </a:lnTo>
                  <a:lnTo>
                    <a:pt x="79" y="532"/>
                  </a:lnTo>
                  <a:lnTo>
                    <a:pt x="82" y="529"/>
                  </a:lnTo>
                  <a:lnTo>
                    <a:pt x="83" y="528"/>
                  </a:lnTo>
                  <a:lnTo>
                    <a:pt x="88" y="527"/>
                  </a:lnTo>
                  <a:lnTo>
                    <a:pt x="90" y="524"/>
                  </a:lnTo>
                  <a:lnTo>
                    <a:pt x="92" y="523"/>
                  </a:lnTo>
                  <a:lnTo>
                    <a:pt x="97" y="522"/>
                  </a:lnTo>
                  <a:lnTo>
                    <a:pt x="102" y="522"/>
                  </a:lnTo>
                  <a:lnTo>
                    <a:pt x="105" y="522"/>
                  </a:lnTo>
                  <a:lnTo>
                    <a:pt x="105" y="521"/>
                  </a:lnTo>
                  <a:lnTo>
                    <a:pt x="103" y="518"/>
                  </a:lnTo>
                  <a:lnTo>
                    <a:pt x="106" y="518"/>
                  </a:lnTo>
                  <a:lnTo>
                    <a:pt x="107" y="518"/>
                  </a:lnTo>
                  <a:lnTo>
                    <a:pt x="111" y="518"/>
                  </a:lnTo>
                  <a:lnTo>
                    <a:pt x="112" y="518"/>
                  </a:lnTo>
                  <a:lnTo>
                    <a:pt x="112" y="515"/>
                  </a:lnTo>
                  <a:lnTo>
                    <a:pt x="111" y="514"/>
                  </a:lnTo>
                  <a:lnTo>
                    <a:pt x="107" y="512"/>
                  </a:lnTo>
                  <a:lnTo>
                    <a:pt x="107" y="515"/>
                  </a:lnTo>
                  <a:lnTo>
                    <a:pt x="107" y="516"/>
                  </a:lnTo>
                  <a:lnTo>
                    <a:pt x="106" y="515"/>
                  </a:lnTo>
                  <a:lnTo>
                    <a:pt x="105" y="512"/>
                  </a:lnTo>
                  <a:lnTo>
                    <a:pt x="105" y="514"/>
                  </a:lnTo>
                  <a:lnTo>
                    <a:pt x="105" y="516"/>
                  </a:lnTo>
                  <a:lnTo>
                    <a:pt x="103" y="516"/>
                  </a:lnTo>
                  <a:lnTo>
                    <a:pt x="103" y="514"/>
                  </a:lnTo>
                  <a:lnTo>
                    <a:pt x="102" y="514"/>
                  </a:lnTo>
                  <a:lnTo>
                    <a:pt x="102" y="516"/>
                  </a:lnTo>
                  <a:lnTo>
                    <a:pt x="101" y="517"/>
                  </a:lnTo>
                  <a:lnTo>
                    <a:pt x="101" y="520"/>
                  </a:lnTo>
                  <a:lnTo>
                    <a:pt x="100" y="521"/>
                  </a:lnTo>
                  <a:lnTo>
                    <a:pt x="99" y="521"/>
                  </a:lnTo>
                  <a:lnTo>
                    <a:pt x="99" y="518"/>
                  </a:lnTo>
                  <a:lnTo>
                    <a:pt x="97" y="517"/>
                  </a:lnTo>
                  <a:lnTo>
                    <a:pt x="96" y="516"/>
                  </a:lnTo>
                  <a:lnTo>
                    <a:pt x="96" y="515"/>
                  </a:lnTo>
                  <a:lnTo>
                    <a:pt x="95" y="514"/>
                  </a:lnTo>
                  <a:lnTo>
                    <a:pt x="92" y="515"/>
                  </a:lnTo>
                  <a:lnTo>
                    <a:pt x="92" y="516"/>
                  </a:lnTo>
                  <a:lnTo>
                    <a:pt x="90" y="518"/>
                  </a:lnTo>
                  <a:lnTo>
                    <a:pt x="89" y="518"/>
                  </a:lnTo>
                  <a:lnTo>
                    <a:pt x="88" y="520"/>
                  </a:lnTo>
                  <a:lnTo>
                    <a:pt x="86" y="517"/>
                  </a:lnTo>
                  <a:lnTo>
                    <a:pt x="86" y="518"/>
                  </a:lnTo>
                  <a:lnTo>
                    <a:pt x="85" y="520"/>
                  </a:lnTo>
                  <a:lnTo>
                    <a:pt x="85" y="521"/>
                  </a:lnTo>
                  <a:lnTo>
                    <a:pt x="84" y="521"/>
                  </a:lnTo>
                  <a:lnTo>
                    <a:pt x="83" y="517"/>
                  </a:lnTo>
                  <a:lnTo>
                    <a:pt x="83" y="515"/>
                  </a:lnTo>
                  <a:lnTo>
                    <a:pt x="83" y="516"/>
                  </a:lnTo>
                  <a:lnTo>
                    <a:pt x="82" y="516"/>
                  </a:lnTo>
                  <a:lnTo>
                    <a:pt x="80" y="514"/>
                  </a:lnTo>
                  <a:lnTo>
                    <a:pt x="79" y="517"/>
                  </a:lnTo>
                  <a:lnTo>
                    <a:pt x="78" y="518"/>
                  </a:lnTo>
                  <a:lnTo>
                    <a:pt x="78" y="522"/>
                  </a:lnTo>
                  <a:lnTo>
                    <a:pt x="77" y="523"/>
                  </a:lnTo>
                  <a:lnTo>
                    <a:pt x="76" y="522"/>
                  </a:lnTo>
                  <a:lnTo>
                    <a:pt x="76" y="520"/>
                  </a:lnTo>
                  <a:lnTo>
                    <a:pt x="76" y="516"/>
                  </a:lnTo>
                  <a:lnTo>
                    <a:pt x="74" y="515"/>
                  </a:lnTo>
                  <a:lnTo>
                    <a:pt x="73" y="515"/>
                  </a:lnTo>
                  <a:lnTo>
                    <a:pt x="73" y="517"/>
                  </a:lnTo>
                  <a:lnTo>
                    <a:pt x="73" y="521"/>
                  </a:lnTo>
                  <a:lnTo>
                    <a:pt x="73" y="522"/>
                  </a:lnTo>
                  <a:lnTo>
                    <a:pt x="72" y="521"/>
                  </a:lnTo>
                  <a:lnTo>
                    <a:pt x="71" y="518"/>
                  </a:lnTo>
                  <a:lnTo>
                    <a:pt x="71" y="517"/>
                  </a:lnTo>
                  <a:lnTo>
                    <a:pt x="70" y="515"/>
                  </a:lnTo>
                  <a:lnTo>
                    <a:pt x="70" y="516"/>
                  </a:lnTo>
                  <a:lnTo>
                    <a:pt x="68" y="517"/>
                  </a:lnTo>
                  <a:lnTo>
                    <a:pt x="66" y="517"/>
                  </a:lnTo>
                  <a:lnTo>
                    <a:pt x="65" y="517"/>
                  </a:lnTo>
                  <a:lnTo>
                    <a:pt x="64" y="517"/>
                  </a:lnTo>
                  <a:lnTo>
                    <a:pt x="62" y="518"/>
                  </a:lnTo>
                  <a:lnTo>
                    <a:pt x="61" y="521"/>
                  </a:lnTo>
                  <a:lnTo>
                    <a:pt x="60" y="523"/>
                  </a:lnTo>
                  <a:lnTo>
                    <a:pt x="59" y="526"/>
                  </a:lnTo>
                  <a:lnTo>
                    <a:pt x="59" y="524"/>
                  </a:lnTo>
                  <a:lnTo>
                    <a:pt x="56" y="524"/>
                  </a:lnTo>
                  <a:lnTo>
                    <a:pt x="56" y="522"/>
                  </a:lnTo>
                  <a:lnTo>
                    <a:pt x="56" y="520"/>
                  </a:lnTo>
                  <a:lnTo>
                    <a:pt x="54" y="521"/>
                  </a:lnTo>
                  <a:lnTo>
                    <a:pt x="53" y="522"/>
                  </a:lnTo>
                  <a:lnTo>
                    <a:pt x="52" y="521"/>
                  </a:lnTo>
                  <a:lnTo>
                    <a:pt x="53" y="520"/>
                  </a:lnTo>
                  <a:lnTo>
                    <a:pt x="54" y="518"/>
                  </a:lnTo>
                  <a:lnTo>
                    <a:pt x="56" y="515"/>
                  </a:lnTo>
                  <a:lnTo>
                    <a:pt x="58" y="514"/>
                  </a:lnTo>
                  <a:lnTo>
                    <a:pt x="59" y="511"/>
                  </a:lnTo>
                  <a:lnTo>
                    <a:pt x="59" y="509"/>
                  </a:lnTo>
                  <a:lnTo>
                    <a:pt x="60" y="506"/>
                  </a:lnTo>
                  <a:lnTo>
                    <a:pt x="59" y="508"/>
                  </a:lnTo>
                  <a:lnTo>
                    <a:pt x="58" y="511"/>
                  </a:lnTo>
                  <a:lnTo>
                    <a:pt x="58" y="510"/>
                  </a:lnTo>
                  <a:lnTo>
                    <a:pt x="56" y="506"/>
                  </a:lnTo>
                  <a:lnTo>
                    <a:pt x="55" y="506"/>
                  </a:lnTo>
                  <a:lnTo>
                    <a:pt x="55" y="504"/>
                  </a:lnTo>
                  <a:lnTo>
                    <a:pt x="55" y="502"/>
                  </a:lnTo>
                  <a:lnTo>
                    <a:pt x="58" y="499"/>
                  </a:lnTo>
                  <a:lnTo>
                    <a:pt x="59" y="498"/>
                  </a:lnTo>
                  <a:lnTo>
                    <a:pt x="58" y="498"/>
                  </a:lnTo>
                  <a:lnTo>
                    <a:pt x="55" y="498"/>
                  </a:lnTo>
                  <a:lnTo>
                    <a:pt x="54" y="498"/>
                  </a:lnTo>
                  <a:lnTo>
                    <a:pt x="54" y="503"/>
                  </a:lnTo>
                  <a:lnTo>
                    <a:pt x="53" y="508"/>
                  </a:lnTo>
                  <a:lnTo>
                    <a:pt x="53" y="509"/>
                  </a:lnTo>
                  <a:lnTo>
                    <a:pt x="52" y="508"/>
                  </a:lnTo>
                  <a:lnTo>
                    <a:pt x="52" y="505"/>
                  </a:lnTo>
                  <a:lnTo>
                    <a:pt x="52" y="502"/>
                  </a:lnTo>
                  <a:lnTo>
                    <a:pt x="50" y="499"/>
                  </a:lnTo>
                  <a:lnTo>
                    <a:pt x="50" y="502"/>
                  </a:lnTo>
                  <a:lnTo>
                    <a:pt x="50" y="504"/>
                  </a:lnTo>
                  <a:lnTo>
                    <a:pt x="49" y="505"/>
                  </a:lnTo>
                  <a:lnTo>
                    <a:pt x="49" y="506"/>
                  </a:lnTo>
                  <a:lnTo>
                    <a:pt x="49" y="510"/>
                  </a:lnTo>
                  <a:lnTo>
                    <a:pt x="48" y="511"/>
                  </a:lnTo>
                  <a:lnTo>
                    <a:pt x="47" y="511"/>
                  </a:lnTo>
                  <a:lnTo>
                    <a:pt x="47" y="509"/>
                  </a:lnTo>
                  <a:lnTo>
                    <a:pt x="47" y="505"/>
                  </a:lnTo>
                  <a:lnTo>
                    <a:pt x="46" y="504"/>
                  </a:lnTo>
                  <a:lnTo>
                    <a:pt x="44" y="503"/>
                  </a:lnTo>
                  <a:lnTo>
                    <a:pt x="43" y="502"/>
                  </a:lnTo>
                  <a:lnTo>
                    <a:pt x="43" y="504"/>
                  </a:lnTo>
                  <a:lnTo>
                    <a:pt x="41" y="505"/>
                  </a:lnTo>
                  <a:lnTo>
                    <a:pt x="41" y="503"/>
                  </a:lnTo>
                  <a:lnTo>
                    <a:pt x="41" y="502"/>
                  </a:lnTo>
                  <a:lnTo>
                    <a:pt x="40" y="502"/>
                  </a:lnTo>
                  <a:lnTo>
                    <a:pt x="38" y="504"/>
                  </a:lnTo>
                  <a:lnTo>
                    <a:pt x="37" y="503"/>
                  </a:lnTo>
                  <a:lnTo>
                    <a:pt x="37" y="502"/>
                  </a:lnTo>
                  <a:lnTo>
                    <a:pt x="38" y="500"/>
                  </a:lnTo>
                  <a:lnTo>
                    <a:pt x="41" y="500"/>
                  </a:lnTo>
                  <a:lnTo>
                    <a:pt x="43" y="499"/>
                  </a:lnTo>
                  <a:lnTo>
                    <a:pt x="46" y="498"/>
                  </a:lnTo>
                  <a:lnTo>
                    <a:pt x="48" y="497"/>
                  </a:lnTo>
                  <a:lnTo>
                    <a:pt x="49" y="497"/>
                  </a:lnTo>
                  <a:lnTo>
                    <a:pt x="52" y="497"/>
                  </a:lnTo>
                  <a:lnTo>
                    <a:pt x="54" y="496"/>
                  </a:lnTo>
                  <a:lnTo>
                    <a:pt x="58" y="494"/>
                  </a:lnTo>
                  <a:lnTo>
                    <a:pt x="61" y="494"/>
                  </a:lnTo>
                  <a:lnTo>
                    <a:pt x="62" y="494"/>
                  </a:lnTo>
                  <a:lnTo>
                    <a:pt x="64" y="493"/>
                  </a:lnTo>
                  <a:lnTo>
                    <a:pt x="65" y="493"/>
                  </a:lnTo>
                  <a:lnTo>
                    <a:pt x="71" y="492"/>
                  </a:lnTo>
                  <a:lnTo>
                    <a:pt x="70" y="491"/>
                  </a:lnTo>
                  <a:lnTo>
                    <a:pt x="71" y="491"/>
                  </a:lnTo>
                  <a:lnTo>
                    <a:pt x="72" y="492"/>
                  </a:lnTo>
                  <a:lnTo>
                    <a:pt x="73" y="492"/>
                  </a:lnTo>
                  <a:lnTo>
                    <a:pt x="77" y="492"/>
                  </a:lnTo>
                  <a:lnTo>
                    <a:pt x="76" y="490"/>
                  </a:lnTo>
                  <a:lnTo>
                    <a:pt x="77" y="491"/>
                  </a:lnTo>
                  <a:lnTo>
                    <a:pt x="79" y="491"/>
                  </a:lnTo>
                  <a:lnTo>
                    <a:pt x="82" y="491"/>
                  </a:lnTo>
                  <a:lnTo>
                    <a:pt x="90" y="490"/>
                  </a:lnTo>
                  <a:lnTo>
                    <a:pt x="95" y="488"/>
                  </a:lnTo>
                  <a:lnTo>
                    <a:pt x="99" y="490"/>
                  </a:lnTo>
                  <a:lnTo>
                    <a:pt x="102" y="490"/>
                  </a:lnTo>
                  <a:lnTo>
                    <a:pt x="103" y="488"/>
                  </a:lnTo>
                  <a:lnTo>
                    <a:pt x="102" y="487"/>
                  </a:lnTo>
                  <a:lnTo>
                    <a:pt x="101" y="487"/>
                  </a:lnTo>
                  <a:lnTo>
                    <a:pt x="102" y="486"/>
                  </a:lnTo>
                  <a:lnTo>
                    <a:pt x="102" y="484"/>
                  </a:lnTo>
                  <a:lnTo>
                    <a:pt x="103" y="482"/>
                  </a:lnTo>
                  <a:lnTo>
                    <a:pt x="105" y="481"/>
                  </a:lnTo>
                  <a:lnTo>
                    <a:pt x="102" y="479"/>
                  </a:lnTo>
                  <a:lnTo>
                    <a:pt x="102" y="476"/>
                  </a:lnTo>
                  <a:lnTo>
                    <a:pt x="101" y="475"/>
                  </a:lnTo>
                  <a:lnTo>
                    <a:pt x="101" y="478"/>
                  </a:lnTo>
                  <a:lnTo>
                    <a:pt x="99" y="479"/>
                  </a:lnTo>
                  <a:lnTo>
                    <a:pt x="97" y="480"/>
                  </a:lnTo>
                  <a:lnTo>
                    <a:pt x="97" y="484"/>
                  </a:lnTo>
                  <a:lnTo>
                    <a:pt x="96" y="485"/>
                  </a:lnTo>
                  <a:lnTo>
                    <a:pt x="95" y="485"/>
                  </a:lnTo>
                  <a:lnTo>
                    <a:pt x="94" y="485"/>
                  </a:lnTo>
                  <a:lnTo>
                    <a:pt x="92" y="484"/>
                  </a:lnTo>
                  <a:lnTo>
                    <a:pt x="91" y="482"/>
                  </a:lnTo>
                  <a:lnTo>
                    <a:pt x="91" y="481"/>
                  </a:lnTo>
                  <a:lnTo>
                    <a:pt x="91" y="482"/>
                  </a:lnTo>
                  <a:lnTo>
                    <a:pt x="90" y="484"/>
                  </a:lnTo>
                  <a:lnTo>
                    <a:pt x="90" y="482"/>
                  </a:lnTo>
                  <a:lnTo>
                    <a:pt x="89" y="481"/>
                  </a:lnTo>
                  <a:lnTo>
                    <a:pt x="88" y="481"/>
                  </a:lnTo>
                  <a:lnTo>
                    <a:pt x="84" y="484"/>
                  </a:lnTo>
                  <a:lnTo>
                    <a:pt x="84" y="482"/>
                  </a:lnTo>
                  <a:lnTo>
                    <a:pt x="85" y="481"/>
                  </a:lnTo>
                  <a:lnTo>
                    <a:pt x="88" y="479"/>
                  </a:lnTo>
                  <a:lnTo>
                    <a:pt x="89" y="478"/>
                  </a:lnTo>
                  <a:lnTo>
                    <a:pt x="89" y="475"/>
                  </a:lnTo>
                  <a:lnTo>
                    <a:pt x="89" y="474"/>
                  </a:lnTo>
                  <a:lnTo>
                    <a:pt x="88" y="472"/>
                  </a:lnTo>
                  <a:lnTo>
                    <a:pt x="85" y="472"/>
                  </a:lnTo>
                  <a:lnTo>
                    <a:pt x="84" y="472"/>
                  </a:lnTo>
                  <a:lnTo>
                    <a:pt x="84" y="473"/>
                  </a:lnTo>
                  <a:lnTo>
                    <a:pt x="83" y="473"/>
                  </a:lnTo>
                  <a:lnTo>
                    <a:pt x="80" y="470"/>
                  </a:lnTo>
                  <a:lnTo>
                    <a:pt x="79" y="468"/>
                  </a:lnTo>
                  <a:lnTo>
                    <a:pt x="79" y="470"/>
                  </a:lnTo>
                  <a:lnTo>
                    <a:pt x="80" y="473"/>
                  </a:lnTo>
                  <a:lnTo>
                    <a:pt x="80" y="474"/>
                  </a:lnTo>
                  <a:lnTo>
                    <a:pt x="79" y="478"/>
                  </a:lnTo>
                  <a:lnTo>
                    <a:pt x="78" y="478"/>
                  </a:lnTo>
                  <a:lnTo>
                    <a:pt x="79" y="480"/>
                  </a:lnTo>
                  <a:lnTo>
                    <a:pt x="78" y="481"/>
                  </a:lnTo>
                  <a:lnTo>
                    <a:pt x="77" y="481"/>
                  </a:lnTo>
                  <a:lnTo>
                    <a:pt x="77" y="482"/>
                  </a:lnTo>
                  <a:lnTo>
                    <a:pt x="74" y="482"/>
                  </a:lnTo>
                  <a:lnTo>
                    <a:pt x="73" y="481"/>
                  </a:lnTo>
                  <a:lnTo>
                    <a:pt x="72" y="481"/>
                  </a:lnTo>
                  <a:lnTo>
                    <a:pt x="71" y="482"/>
                  </a:lnTo>
                  <a:lnTo>
                    <a:pt x="68" y="481"/>
                  </a:lnTo>
                  <a:lnTo>
                    <a:pt x="68" y="480"/>
                  </a:lnTo>
                  <a:lnTo>
                    <a:pt x="68" y="479"/>
                  </a:lnTo>
                  <a:lnTo>
                    <a:pt x="66" y="479"/>
                  </a:lnTo>
                  <a:lnTo>
                    <a:pt x="64" y="478"/>
                  </a:lnTo>
                  <a:lnTo>
                    <a:pt x="66" y="476"/>
                  </a:lnTo>
                  <a:lnTo>
                    <a:pt x="68" y="475"/>
                  </a:lnTo>
                  <a:lnTo>
                    <a:pt x="72" y="473"/>
                  </a:lnTo>
                  <a:lnTo>
                    <a:pt x="72" y="470"/>
                  </a:lnTo>
                  <a:lnTo>
                    <a:pt x="73" y="468"/>
                  </a:lnTo>
                  <a:lnTo>
                    <a:pt x="76" y="467"/>
                  </a:lnTo>
                  <a:lnTo>
                    <a:pt x="74" y="466"/>
                  </a:lnTo>
                  <a:lnTo>
                    <a:pt x="77" y="464"/>
                  </a:lnTo>
                  <a:lnTo>
                    <a:pt x="78" y="464"/>
                  </a:lnTo>
                  <a:lnTo>
                    <a:pt x="79" y="462"/>
                  </a:lnTo>
                  <a:lnTo>
                    <a:pt x="82" y="462"/>
                  </a:lnTo>
                  <a:lnTo>
                    <a:pt x="83" y="461"/>
                  </a:lnTo>
                  <a:lnTo>
                    <a:pt x="86" y="460"/>
                  </a:lnTo>
                  <a:lnTo>
                    <a:pt x="90" y="460"/>
                  </a:lnTo>
                  <a:lnTo>
                    <a:pt x="95" y="458"/>
                  </a:lnTo>
                  <a:lnTo>
                    <a:pt x="97" y="458"/>
                  </a:lnTo>
                  <a:lnTo>
                    <a:pt x="97" y="456"/>
                  </a:lnTo>
                  <a:lnTo>
                    <a:pt x="97" y="455"/>
                  </a:lnTo>
                  <a:lnTo>
                    <a:pt x="95" y="455"/>
                  </a:lnTo>
                  <a:lnTo>
                    <a:pt x="95" y="454"/>
                  </a:lnTo>
                  <a:lnTo>
                    <a:pt x="95" y="451"/>
                  </a:lnTo>
                  <a:lnTo>
                    <a:pt x="94" y="451"/>
                  </a:lnTo>
                  <a:lnTo>
                    <a:pt x="92" y="452"/>
                  </a:lnTo>
                  <a:lnTo>
                    <a:pt x="91" y="455"/>
                  </a:lnTo>
                  <a:lnTo>
                    <a:pt x="90" y="456"/>
                  </a:lnTo>
                  <a:lnTo>
                    <a:pt x="89" y="455"/>
                  </a:lnTo>
                  <a:lnTo>
                    <a:pt x="90" y="452"/>
                  </a:lnTo>
                  <a:lnTo>
                    <a:pt x="90" y="451"/>
                  </a:lnTo>
                  <a:lnTo>
                    <a:pt x="88" y="451"/>
                  </a:lnTo>
                  <a:lnTo>
                    <a:pt x="85" y="451"/>
                  </a:lnTo>
                  <a:lnTo>
                    <a:pt x="88" y="450"/>
                  </a:lnTo>
                  <a:lnTo>
                    <a:pt x="89" y="449"/>
                  </a:lnTo>
                  <a:lnTo>
                    <a:pt x="91" y="447"/>
                  </a:lnTo>
                  <a:lnTo>
                    <a:pt x="92" y="449"/>
                  </a:lnTo>
                  <a:lnTo>
                    <a:pt x="95" y="447"/>
                  </a:lnTo>
                  <a:lnTo>
                    <a:pt x="96" y="449"/>
                  </a:lnTo>
                  <a:lnTo>
                    <a:pt x="99" y="449"/>
                  </a:lnTo>
                  <a:lnTo>
                    <a:pt x="100" y="447"/>
                  </a:lnTo>
                  <a:lnTo>
                    <a:pt x="101" y="447"/>
                  </a:lnTo>
                  <a:lnTo>
                    <a:pt x="103" y="446"/>
                  </a:lnTo>
                  <a:lnTo>
                    <a:pt x="105" y="446"/>
                  </a:lnTo>
                  <a:lnTo>
                    <a:pt x="106" y="445"/>
                  </a:lnTo>
                  <a:lnTo>
                    <a:pt x="107" y="444"/>
                  </a:lnTo>
                  <a:lnTo>
                    <a:pt x="107" y="443"/>
                  </a:lnTo>
                  <a:lnTo>
                    <a:pt x="108" y="441"/>
                  </a:lnTo>
                  <a:lnTo>
                    <a:pt x="109" y="443"/>
                  </a:lnTo>
                  <a:lnTo>
                    <a:pt x="111" y="441"/>
                  </a:lnTo>
                  <a:lnTo>
                    <a:pt x="111" y="439"/>
                  </a:lnTo>
                  <a:lnTo>
                    <a:pt x="109" y="439"/>
                  </a:lnTo>
                  <a:lnTo>
                    <a:pt x="108" y="439"/>
                  </a:lnTo>
                  <a:lnTo>
                    <a:pt x="111" y="437"/>
                  </a:lnTo>
                  <a:lnTo>
                    <a:pt x="112" y="435"/>
                  </a:lnTo>
                  <a:lnTo>
                    <a:pt x="117" y="431"/>
                  </a:lnTo>
                  <a:lnTo>
                    <a:pt x="118" y="429"/>
                  </a:lnTo>
                  <a:lnTo>
                    <a:pt x="120" y="428"/>
                  </a:lnTo>
                  <a:lnTo>
                    <a:pt x="120" y="426"/>
                  </a:lnTo>
                  <a:lnTo>
                    <a:pt x="118" y="425"/>
                  </a:lnTo>
                  <a:lnTo>
                    <a:pt x="117" y="423"/>
                  </a:lnTo>
                  <a:lnTo>
                    <a:pt x="117" y="426"/>
                  </a:lnTo>
                  <a:lnTo>
                    <a:pt x="117" y="427"/>
                  </a:lnTo>
                  <a:lnTo>
                    <a:pt x="114" y="427"/>
                  </a:lnTo>
                  <a:lnTo>
                    <a:pt x="114" y="428"/>
                  </a:lnTo>
                  <a:lnTo>
                    <a:pt x="114" y="431"/>
                  </a:lnTo>
                  <a:lnTo>
                    <a:pt x="113" y="431"/>
                  </a:lnTo>
                  <a:lnTo>
                    <a:pt x="113" y="432"/>
                  </a:lnTo>
                  <a:lnTo>
                    <a:pt x="112" y="433"/>
                  </a:lnTo>
                  <a:lnTo>
                    <a:pt x="112" y="432"/>
                  </a:lnTo>
                  <a:lnTo>
                    <a:pt x="111" y="429"/>
                  </a:lnTo>
                  <a:lnTo>
                    <a:pt x="111" y="428"/>
                  </a:lnTo>
                  <a:lnTo>
                    <a:pt x="112" y="427"/>
                  </a:lnTo>
                  <a:lnTo>
                    <a:pt x="111" y="426"/>
                  </a:lnTo>
                  <a:lnTo>
                    <a:pt x="109" y="426"/>
                  </a:lnTo>
                  <a:lnTo>
                    <a:pt x="108" y="427"/>
                  </a:lnTo>
                  <a:lnTo>
                    <a:pt x="107" y="428"/>
                  </a:lnTo>
                  <a:lnTo>
                    <a:pt x="108" y="432"/>
                  </a:lnTo>
                  <a:lnTo>
                    <a:pt x="107" y="433"/>
                  </a:lnTo>
                  <a:lnTo>
                    <a:pt x="106" y="432"/>
                  </a:lnTo>
                  <a:lnTo>
                    <a:pt x="106" y="431"/>
                  </a:lnTo>
                  <a:lnTo>
                    <a:pt x="106" y="428"/>
                  </a:lnTo>
                  <a:lnTo>
                    <a:pt x="105" y="428"/>
                  </a:lnTo>
                  <a:lnTo>
                    <a:pt x="103" y="429"/>
                  </a:lnTo>
                  <a:lnTo>
                    <a:pt x="103" y="428"/>
                  </a:lnTo>
                  <a:lnTo>
                    <a:pt x="102" y="429"/>
                  </a:lnTo>
                  <a:lnTo>
                    <a:pt x="102" y="431"/>
                  </a:lnTo>
                  <a:lnTo>
                    <a:pt x="101" y="432"/>
                  </a:lnTo>
                  <a:lnTo>
                    <a:pt x="100" y="432"/>
                  </a:lnTo>
                  <a:lnTo>
                    <a:pt x="100" y="431"/>
                  </a:lnTo>
                  <a:lnTo>
                    <a:pt x="100" y="428"/>
                  </a:lnTo>
                  <a:lnTo>
                    <a:pt x="100" y="426"/>
                  </a:lnTo>
                  <a:lnTo>
                    <a:pt x="99" y="426"/>
                  </a:lnTo>
                  <a:lnTo>
                    <a:pt x="97" y="427"/>
                  </a:lnTo>
                  <a:lnTo>
                    <a:pt x="99" y="429"/>
                  </a:lnTo>
                  <a:lnTo>
                    <a:pt x="99" y="431"/>
                  </a:lnTo>
                  <a:lnTo>
                    <a:pt x="99" y="432"/>
                  </a:lnTo>
                  <a:lnTo>
                    <a:pt x="99" y="435"/>
                  </a:lnTo>
                  <a:lnTo>
                    <a:pt x="97" y="437"/>
                  </a:lnTo>
                  <a:lnTo>
                    <a:pt x="96" y="438"/>
                  </a:lnTo>
                  <a:lnTo>
                    <a:pt x="95" y="437"/>
                  </a:lnTo>
                  <a:lnTo>
                    <a:pt x="95" y="438"/>
                  </a:lnTo>
                  <a:lnTo>
                    <a:pt x="94" y="439"/>
                  </a:lnTo>
                  <a:lnTo>
                    <a:pt x="92" y="439"/>
                  </a:lnTo>
                  <a:lnTo>
                    <a:pt x="92" y="435"/>
                  </a:lnTo>
                  <a:lnTo>
                    <a:pt x="92" y="433"/>
                  </a:lnTo>
                  <a:lnTo>
                    <a:pt x="92" y="432"/>
                  </a:lnTo>
                  <a:lnTo>
                    <a:pt x="94" y="429"/>
                  </a:lnTo>
                  <a:lnTo>
                    <a:pt x="94" y="428"/>
                  </a:lnTo>
                  <a:lnTo>
                    <a:pt x="95" y="426"/>
                  </a:lnTo>
                  <a:lnTo>
                    <a:pt x="95" y="422"/>
                  </a:lnTo>
                  <a:lnTo>
                    <a:pt x="95" y="419"/>
                  </a:lnTo>
                  <a:lnTo>
                    <a:pt x="94" y="417"/>
                  </a:lnTo>
                  <a:lnTo>
                    <a:pt x="91" y="417"/>
                  </a:lnTo>
                  <a:lnTo>
                    <a:pt x="91" y="420"/>
                  </a:lnTo>
                  <a:lnTo>
                    <a:pt x="91" y="422"/>
                  </a:lnTo>
                  <a:lnTo>
                    <a:pt x="90" y="422"/>
                  </a:lnTo>
                  <a:lnTo>
                    <a:pt x="89" y="421"/>
                  </a:lnTo>
                  <a:lnTo>
                    <a:pt x="89" y="419"/>
                  </a:lnTo>
                  <a:lnTo>
                    <a:pt x="86" y="416"/>
                  </a:lnTo>
                  <a:lnTo>
                    <a:pt x="86" y="415"/>
                  </a:lnTo>
                  <a:lnTo>
                    <a:pt x="86" y="416"/>
                  </a:lnTo>
                  <a:lnTo>
                    <a:pt x="86" y="420"/>
                  </a:lnTo>
                  <a:lnTo>
                    <a:pt x="86" y="422"/>
                  </a:lnTo>
                  <a:lnTo>
                    <a:pt x="84" y="421"/>
                  </a:lnTo>
                  <a:lnTo>
                    <a:pt x="84" y="419"/>
                  </a:lnTo>
                  <a:lnTo>
                    <a:pt x="83" y="416"/>
                  </a:lnTo>
                  <a:lnTo>
                    <a:pt x="82" y="415"/>
                  </a:lnTo>
                  <a:lnTo>
                    <a:pt x="82" y="417"/>
                  </a:lnTo>
                  <a:lnTo>
                    <a:pt x="82" y="421"/>
                  </a:lnTo>
                  <a:lnTo>
                    <a:pt x="82" y="423"/>
                  </a:lnTo>
                  <a:lnTo>
                    <a:pt x="80" y="422"/>
                  </a:lnTo>
                  <a:lnTo>
                    <a:pt x="79" y="419"/>
                  </a:lnTo>
                  <a:lnTo>
                    <a:pt x="79" y="416"/>
                  </a:lnTo>
                  <a:lnTo>
                    <a:pt x="79" y="414"/>
                  </a:lnTo>
                  <a:lnTo>
                    <a:pt x="79" y="411"/>
                  </a:lnTo>
                  <a:lnTo>
                    <a:pt x="80" y="408"/>
                  </a:lnTo>
                  <a:lnTo>
                    <a:pt x="79" y="408"/>
                  </a:lnTo>
                  <a:lnTo>
                    <a:pt x="77" y="408"/>
                  </a:lnTo>
                  <a:lnTo>
                    <a:pt x="76" y="409"/>
                  </a:lnTo>
                  <a:lnTo>
                    <a:pt x="77" y="407"/>
                  </a:lnTo>
                  <a:lnTo>
                    <a:pt x="77" y="405"/>
                  </a:lnTo>
                  <a:lnTo>
                    <a:pt x="74" y="405"/>
                  </a:lnTo>
                  <a:lnTo>
                    <a:pt x="73" y="405"/>
                  </a:lnTo>
                  <a:lnTo>
                    <a:pt x="74" y="404"/>
                  </a:lnTo>
                  <a:lnTo>
                    <a:pt x="76" y="403"/>
                  </a:lnTo>
                  <a:lnTo>
                    <a:pt x="76" y="402"/>
                  </a:lnTo>
                  <a:lnTo>
                    <a:pt x="77" y="403"/>
                  </a:lnTo>
                  <a:lnTo>
                    <a:pt x="77" y="404"/>
                  </a:lnTo>
                  <a:lnTo>
                    <a:pt x="79" y="405"/>
                  </a:lnTo>
                  <a:lnTo>
                    <a:pt x="79" y="404"/>
                  </a:lnTo>
                  <a:lnTo>
                    <a:pt x="80" y="404"/>
                  </a:lnTo>
                  <a:lnTo>
                    <a:pt x="82" y="404"/>
                  </a:lnTo>
                  <a:lnTo>
                    <a:pt x="83" y="405"/>
                  </a:lnTo>
                  <a:lnTo>
                    <a:pt x="84" y="404"/>
                  </a:lnTo>
                  <a:lnTo>
                    <a:pt x="85" y="404"/>
                  </a:lnTo>
                  <a:lnTo>
                    <a:pt x="85" y="407"/>
                  </a:lnTo>
                  <a:lnTo>
                    <a:pt x="86" y="407"/>
                  </a:lnTo>
                  <a:lnTo>
                    <a:pt x="88" y="405"/>
                  </a:lnTo>
                  <a:lnTo>
                    <a:pt x="89" y="407"/>
                  </a:lnTo>
                  <a:lnTo>
                    <a:pt x="90" y="408"/>
                  </a:lnTo>
                  <a:lnTo>
                    <a:pt x="92" y="409"/>
                  </a:lnTo>
                  <a:lnTo>
                    <a:pt x="94" y="410"/>
                  </a:lnTo>
                  <a:lnTo>
                    <a:pt x="99" y="410"/>
                  </a:lnTo>
                  <a:lnTo>
                    <a:pt x="102" y="410"/>
                  </a:lnTo>
                  <a:lnTo>
                    <a:pt x="105" y="410"/>
                  </a:lnTo>
                  <a:lnTo>
                    <a:pt x="108" y="411"/>
                  </a:lnTo>
                  <a:lnTo>
                    <a:pt x="113" y="411"/>
                  </a:lnTo>
                  <a:lnTo>
                    <a:pt x="117" y="411"/>
                  </a:lnTo>
                  <a:lnTo>
                    <a:pt x="120" y="413"/>
                  </a:lnTo>
                  <a:lnTo>
                    <a:pt x="124" y="411"/>
                  </a:lnTo>
                  <a:lnTo>
                    <a:pt x="126" y="413"/>
                  </a:lnTo>
                  <a:lnTo>
                    <a:pt x="129" y="414"/>
                  </a:lnTo>
                  <a:lnTo>
                    <a:pt x="133" y="413"/>
                  </a:lnTo>
                  <a:lnTo>
                    <a:pt x="137" y="413"/>
                  </a:lnTo>
                  <a:lnTo>
                    <a:pt x="138" y="411"/>
                  </a:lnTo>
                  <a:lnTo>
                    <a:pt x="141" y="411"/>
                  </a:lnTo>
                  <a:lnTo>
                    <a:pt x="143" y="409"/>
                  </a:lnTo>
                  <a:lnTo>
                    <a:pt x="143" y="407"/>
                  </a:lnTo>
                  <a:lnTo>
                    <a:pt x="144" y="407"/>
                  </a:lnTo>
                  <a:lnTo>
                    <a:pt x="148" y="407"/>
                  </a:lnTo>
                  <a:lnTo>
                    <a:pt x="150" y="408"/>
                  </a:lnTo>
                  <a:lnTo>
                    <a:pt x="151" y="409"/>
                  </a:lnTo>
                  <a:lnTo>
                    <a:pt x="154" y="409"/>
                  </a:lnTo>
                  <a:lnTo>
                    <a:pt x="155" y="409"/>
                  </a:lnTo>
                  <a:lnTo>
                    <a:pt x="159" y="407"/>
                  </a:lnTo>
                  <a:lnTo>
                    <a:pt x="162" y="404"/>
                  </a:lnTo>
                  <a:lnTo>
                    <a:pt x="166" y="402"/>
                  </a:lnTo>
                  <a:lnTo>
                    <a:pt x="168" y="399"/>
                  </a:lnTo>
                  <a:lnTo>
                    <a:pt x="172" y="397"/>
                  </a:lnTo>
                  <a:lnTo>
                    <a:pt x="174" y="395"/>
                  </a:lnTo>
                  <a:lnTo>
                    <a:pt x="173" y="393"/>
                  </a:lnTo>
                  <a:lnTo>
                    <a:pt x="171" y="393"/>
                  </a:lnTo>
                  <a:lnTo>
                    <a:pt x="171" y="392"/>
                  </a:lnTo>
                  <a:lnTo>
                    <a:pt x="173" y="391"/>
                  </a:lnTo>
                  <a:lnTo>
                    <a:pt x="174" y="390"/>
                  </a:lnTo>
                  <a:lnTo>
                    <a:pt x="176" y="387"/>
                  </a:lnTo>
                  <a:lnTo>
                    <a:pt x="174" y="387"/>
                  </a:lnTo>
                  <a:lnTo>
                    <a:pt x="173" y="389"/>
                  </a:lnTo>
                  <a:lnTo>
                    <a:pt x="172" y="390"/>
                  </a:lnTo>
                  <a:lnTo>
                    <a:pt x="171" y="391"/>
                  </a:lnTo>
                  <a:lnTo>
                    <a:pt x="170" y="390"/>
                  </a:lnTo>
                  <a:lnTo>
                    <a:pt x="168" y="389"/>
                  </a:lnTo>
                  <a:lnTo>
                    <a:pt x="167" y="389"/>
                  </a:lnTo>
                  <a:lnTo>
                    <a:pt x="168" y="390"/>
                  </a:lnTo>
                  <a:lnTo>
                    <a:pt x="167" y="391"/>
                  </a:lnTo>
                  <a:lnTo>
                    <a:pt x="168" y="395"/>
                  </a:lnTo>
                  <a:lnTo>
                    <a:pt x="168" y="396"/>
                  </a:lnTo>
                  <a:lnTo>
                    <a:pt x="167" y="397"/>
                  </a:lnTo>
                  <a:lnTo>
                    <a:pt x="166" y="396"/>
                  </a:lnTo>
                  <a:lnTo>
                    <a:pt x="166" y="393"/>
                  </a:lnTo>
                  <a:lnTo>
                    <a:pt x="164" y="392"/>
                  </a:lnTo>
                  <a:lnTo>
                    <a:pt x="162" y="391"/>
                  </a:lnTo>
                  <a:lnTo>
                    <a:pt x="161" y="390"/>
                  </a:lnTo>
                  <a:lnTo>
                    <a:pt x="160" y="391"/>
                  </a:lnTo>
                  <a:lnTo>
                    <a:pt x="160" y="393"/>
                  </a:lnTo>
                  <a:lnTo>
                    <a:pt x="159" y="396"/>
                  </a:lnTo>
                  <a:lnTo>
                    <a:pt x="158" y="395"/>
                  </a:lnTo>
                  <a:lnTo>
                    <a:pt x="158" y="391"/>
                  </a:lnTo>
                  <a:lnTo>
                    <a:pt x="156" y="390"/>
                  </a:lnTo>
                  <a:lnTo>
                    <a:pt x="156" y="391"/>
                  </a:lnTo>
                  <a:lnTo>
                    <a:pt x="156" y="392"/>
                  </a:lnTo>
                  <a:lnTo>
                    <a:pt x="154" y="390"/>
                  </a:lnTo>
                  <a:lnTo>
                    <a:pt x="154" y="389"/>
                  </a:lnTo>
                  <a:lnTo>
                    <a:pt x="154" y="393"/>
                  </a:lnTo>
                  <a:lnTo>
                    <a:pt x="154" y="396"/>
                  </a:lnTo>
                  <a:lnTo>
                    <a:pt x="153" y="396"/>
                  </a:lnTo>
                  <a:lnTo>
                    <a:pt x="151" y="395"/>
                  </a:lnTo>
                  <a:lnTo>
                    <a:pt x="149" y="391"/>
                  </a:lnTo>
                  <a:lnTo>
                    <a:pt x="148" y="390"/>
                  </a:lnTo>
                  <a:lnTo>
                    <a:pt x="148" y="393"/>
                  </a:lnTo>
                  <a:lnTo>
                    <a:pt x="148" y="397"/>
                  </a:lnTo>
                  <a:lnTo>
                    <a:pt x="147" y="395"/>
                  </a:lnTo>
                  <a:lnTo>
                    <a:pt x="145" y="392"/>
                  </a:lnTo>
                  <a:lnTo>
                    <a:pt x="145" y="390"/>
                  </a:lnTo>
                  <a:lnTo>
                    <a:pt x="143" y="387"/>
                  </a:lnTo>
                  <a:lnTo>
                    <a:pt x="143" y="393"/>
                  </a:lnTo>
                  <a:lnTo>
                    <a:pt x="144" y="396"/>
                  </a:lnTo>
                  <a:lnTo>
                    <a:pt x="142" y="395"/>
                  </a:lnTo>
                  <a:lnTo>
                    <a:pt x="141" y="392"/>
                  </a:lnTo>
                  <a:lnTo>
                    <a:pt x="142" y="396"/>
                  </a:lnTo>
                  <a:lnTo>
                    <a:pt x="142" y="397"/>
                  </a:lnTo>
                  <a:lnTo>
                    <a:pt x="141" y="398"/>
                  </a:lnTo>
                  <a:lnTo>
                    <a:pt x="139" y="397"/>
                  </a:lnTo>
                  <a:lnTo>
                    <a:pt x="139" y="395"/>
                  </a:lnTo>
                  <a:lnTo>
                    <a:pt x="138" y="395"/>
                  </a:lnTo>
                  <a:lnTo>
                    <a:pt x="136" y="393"/>
                  </a:lnTo>
                  <a:lnTo>
                    <a:pt x="136" y="392"/>
                  </a:lnTo>
                  <a:lnTo>
                    <a:pt x="135" y="395"/>
                  </a:lnTo>
                  <a:lnTo>
                    <a:pt x="137" y="397"/>
                  </a:lnTo>
                  <a:lnTo>
                    <a:pt x="137" y="398"/>
                  </a:lnTo>
                  <a:lnTo>
                    <a:pt x="136" y="397"/>
                  </a:lnTo>
                  <a:lnTo>
                    <a:pt x="135" y="396"/>
                  </a:lnTo>
                  <a:lnTo>
                    <a:pt x="132" y="395"/>
                  </a:lnTo>
                  <a:lnTo>
                    <a:pt x="132" y="399"/>
                  </a:lnTo>
                  <a:lnTo>
                    <a:pt x="130" y="401"/>
                  </a:lnTo>
                  <a:lnTo>
                    <a:pt x="130" y="402"/>
                  </a:lnTo>
                  <a:lnTo>
                    <a:pt x="129" y="402"/>
                  </a:lnTo>
                  <a:lnTo>
                    <a:pt x="127" y="402"/>
                  </a:lnTo>
                  <a:lnTo>
                    <a:pt x="126" y="401"/>
                  </a:lnTo>
                  <a:lnTo>
                    <a:pt x="126" y="399"/>
                  </a:lnTo>
                  <a:lnTo>
                    <a:pt x="125" y="399"/>
                  </a:lnTo>
                  <a:lnTo>
                    <a:pt x="125" y="401"/>
                  </a:lnTo>
                  <a:lnTo>
                    <a:pt x="125" y="402"/>
                  </a:lnTo>
                  <a:lnTo>
                    <a:pt x="126" y="403"/>
                  </a:lnTo>
                  <a:lnTo>
                    <a:pt x="126" y="405"/>
                  </a:lnTo>
                  <a:lnTo>
                    <a:pt x="125" y="408"/>
                  </a:lnTo>
                  <a:lnTo>
                    <a:pt x="124" y="407"/>
                  </a:lnTo>
                  <a:lnTo>
                    <a:pt x="124" y="404"/>
                  </a:lnTo>
                  <a:lnTo>
                    <a:pt x="124" y="403"/>
                  </a:lnTo>
                  <a:lnTo>
                    <a:pt x="123" y="401"/>
                  </a:lnTo>
                  <a:lnTo>
                    <a:pt x="123" y="403"/>
                  </a:lnTo>
                  <a:lnTo>
                    <a:pt x="121" y="403"/>
                  </a:lnTo>
                  <a:lnTo>
                    <a:pt x="120" y="403"/>
                  </a:lnTo>
                  <a:lnTo>
                    <a:pt x="120" y="402"/>
                  </a:lnTo>
                  <a:lnTo>
                    <a:pt x="120" y="399"/>
                  </a:lnTo>
                  <a:lnTo>
                    <a:pt x="119" y="397"/>
                  </a:lnTo>
                  <a:lnTo>
                    <a:pt x="119" y="396"/>
                  </a:lnTo>
                  <a:lnTo>
                    <a:pt x="119" y="401"/>
                  </a:lnTo>
                  <a:lnTo>
                    <a:pt x="119" y="404"/>
                  </a:lnTo>
                  <a:lnTo>
                    <a:pt x="119" y="405"/>
                  </a:lnTo>
                  <a:lnTo>
                    <a:pt x="117" y="408"/>
                  </a:lnTo>
                  <a:lnTo>
                    <a:pt x="115" y="408"/>
                  </a:lnTo>
                  <a:lnTo>
                    <a:pt x="113" y="408"/>
                  </a:lnTo>
                  <a:lnTo>
                    <a:pt x="113" y="405"/>
                  </a:lnTo>
                  <a:lnTo>
                    <a:pt x="113" y="403"/>
                  </a:lnTo>
                  <a:lnTo>
                    <a:pt x="113" y="401"/>
                  </a:lnTo>
                  <a:lnTo>
                    <a:pt x="112" y="403"/>
                  </a:lnTo>
                  <a:lnTo>
                    <a:pt x="112" y="404"/>
                  </a:lnTo>
                  <a:lnTo>
                    <a:pt x="111" y="403"/>
                  </a:lnTo>
                  <a:lnTo>
                    <a:pt x="109" y="403"/>
                  </a:lnTo>
                  <a:lnTo>
                    <a:pt x="108" y="405"/>
                  </a:lnTo>
                  <a:lnTo>
                    <a:pt x="107" y="408"/>
                  </a:lnTo>
                  <a:lnTo>
                    <a:pt x="107" y="405"/>
                  </a:lnTo>
                  <a:lnTo>
                    <a:pt x="106" y="404"/>
                  </a:lnTo>
                  <a:lnTo>
                    <a:pt x="102" y="407"/>
                  </a:lnTo>
                  <a:lnTo>
                    <a:pt x="103" y="405"/>
                  </a:lnTo>
                  <a:lnTo>
                    <a:pt x="105" y="404"/>
                  </a:lnTo>
                  <a:lnTo>
                    <a:pt x="103" y="402"/>
                  </a:lnTo>
                  <a:lnTo>
                    <a:pt x="105" y="402"/>
                  </a:lnTo>
                  <a:lnTo>
                    <a:pt x="108" y="402"/>
                  </a:lnTo>
                  <a:lnTo>
                    <a:pt x="109" y="402"/>
                  </a:lnTo>
                  <a:lnTo>
                    <a:pt x="106" y="401"/>
                  </a:lnTo>
                  <a:lnTo>
                    <a:pt x="107" y="399"/>
                  </a:lnTo>
                  <a:lnTo>
                    <a:pt x="109" y="399"/>
                  </a:lnTo>
                  <a:lnTo>
                    <a:pt x="112" y="399"/>
                  </a:lnTo>
                  <a:lnTo>
                    <a:pt x="113" y="398"/>
                  </a:lnTo>
                  <a:lnTo>
                    <a:pt x="112" y="397"/>
                  </a:lnTo>
                  <a:lnTo>
                    <a:pt x="113" y="396"/>
                  </a:lnTo>
                  <a:lnTo>
                    <a:pt x="115" y="395"/>
                  </a:lnTo>
                  <a:lnTo>
                    <a:pt x="118" y="393"/>
                  </a:lnTo>
                  <a:lnTo>
                    <a:pt x="119" y="393"/>
                  </a:lnTo>
                  <a:lnTo>
                    <a:pt x="118" y="392"/>
                  </a:lnTo>
                  <a:lnTo>
                    <a:pt x="119" y="391"/>
                  </a:lnTo>
                  <a:lnTo>
                    <a:pt x="120" y="390"/>
                  </a:lnTo>
                  <a:lnTo>
                    <a:pt x="121" y="389"/>
                  </a:lnTo>
                  <a:lnTo>
                    <a:pt x="124" y="387"/>
                  </a:lnTo>
                  <a:lnTo>
                    <a:pt x="125" y="386"/>
                  </a:lnTo>
                  <a:lnTo>
                    <a:pt x="125" y="384"/>
                  </a:lnTo>
                  <a:lnTo>
                    <a:pt x="124" y="383"/>
                  </a:lnTo>
                  <a:lnTo>
                    <a:pt x="123" y="381"/>
                  </a:lnTo>
                  <a:lnTo>
                    <a:pt x="123" y="383"/>
                  </a:lnTo>
                  <a:lnTo>
                    <a:pt x="121" y="386"/>
                  </a:lnTo>
                  <a:lnTo>
                    <a:pt x="120" y="386"/>
                  </a:lnTo>
                  <a:lnTo>
                    <a:pt x="119" y="389"/>
                  </a:lnTo>
                  <a:lnTo>
                    <a:pt x="119" y="387"/>
                  </a:lnTo>
                  <a:lnTo>
                    <a:pt x="118" y="385"/>
                  </a:lnTo>
                  <a:lnTo>
                    <a:pt x="117" y="386"/>
                  </a:lnTo>
                  <a:lnTo>
                    <a:pt x="117" y="385"/>
                  </a:lnTo>
                  <a:lnTo>
                    <a:pt x="117" y="384"/>
                  </a:lnTo>
                  <a:lnTo>
                    <a:pt x="115" y="383"/>
                  </a:lnTo>
                  <a:lnTo>
                    <a:pt x="118" y="383"/>
                  </a:lnTo>
                  <a:lnTo>
                    <a:pt x="119" y="381"/>
                  </a:lnTo>
                  <a:lnTo>
                    <a:pt x="121" y="379"/>
                  </a:lnTo>
                  <a:lnTo>
                    <a:pt x="119" y="379"/>
                  </a:lnTo>
                  <a:lnTo>
                    <a:pt x="118" y="378"/>
                  </a:lnTo>
                  <a:lnTo>
                    <a:pt x="120" y="378"/>
                  </a:lnTo>
                  <a:lnTo>
                    <a:pt x="123" y="378"/>
                  </a:lnTo>
                  <a:lnTo>
                    <a:pt x="126" y="378"/>
                  </a:lnTo>
                  <a:lnTo>
                    <a:pt x="130" y="377"/>
                  </a:lnTo>
                  <a:lnTo>
                    <a:pt x="135" y="374"/>
                  </a:lnTo>
                  <a:lnTo>
                    <a:pt x="138" y="373"/>
                  </a:lnTo>
                  <a:lnTo>
                    <a:pt x="143" y="371"/>
                  </a:lnTo>
                  <a:lnTo>
                    <a:pt x="147" y="369"/>
                  </a:lnTo>
                  <a:lnTo>
                    <a:pt x="150" y="368"/>
                  </a:lnTo>
                  <a:lnTo>
                    <a:pt x="154" y="368"/>
                  </a:lnTo>
                  <a:lnTo>
                    <a:pt x="158" y="367"/>
                  </a:lnTo>
                  <a:lnTo>
                    <a:pt x="160" y="367"/>
                  </a:lnTo>
                  <a:lnTo>
                    <a:pt x="160" y="365"/>
                  </a:lnTo>
                  <a:lnTo>
                    <a:pt x="159" y="365"/>
                  </a:lnTo>
                  <a:lnTo>
                    <a:pt x="158" y="363"/>
                  </a:lnTo>
                  <a:lnTo>
                    <a:pt x="162" y="362"/>
                  </a:lnTo>
                  <a:lnTo>
                    <a:pt x="165" y="362"/>
                  </a:lnTo>
                  <a:lnTo>
                    <a:pt x="167" y="361"/>
                  </a:lnTo>
                  <a:lnTo>
                    <a:pt x="168" y="361"/>
                  </a:lnTo>
                  <a:lnTo>
                    <a:pt x="170" y="359"/>
                  </a:lnTo>
                  <a:lnTo>
                    <a:pt x="170" y="356"/>
                  </a:lnTo>
                  <a:lnTo>
                    <a:pt x="168" y="354"/>
                  </a:lnTo>
                  <a:lnTo>
                    <a:pt x="167" y="351"/>
                  </a:lnTo>
                  <a:lnTo>
                    <a:pt x="165" y="349"/>
                  </a:lnTo>
                  <a:lnTo>
                    <a:pt x="165" y="351"/>
                  </a:lnTo>
                  <a:lnTo>
                    <a:pt x="165" y="353"/>
                  </a:lnTo>
                  <a:lnTo>
                    <a:pt x="164" y="354"/>
                  </a:lnTo>
                  <a:lnTo>
                    <a:pt x="161" y="353"/>
                  </a:lnTo>
                  <a:lnTo>
                    <a:pt x="161" y="354"/>
                  </a:lnTo>
                  <a:lnTo>
                    <a:pt x="160" y="355"/>
                  </a:lnTo>
                  <a:lnTo>
                    <a:pt x="159" y="355"/>
                  </a:lnTo>
                  <a:lnTo>
                    <a:pt x="158" y="353"/>
                  </a:lnTo>
                  <a:lnTo>
                    <a:pt x="156" y="350"/>
                  </a:lnTo>
                  <a:lnTo>
                    <a:pt x="158" y="355"/>
                  </a:lnTo>
                  <a:lnTo>
                    <a:pt x="155" y="356"/>
                  </a:lnTo>
                  <a:lnTo>
                    <a:pt x="155" y="355"/>
                  </a:lnTo>
                  <a:lnTo>
                    <a:pt x="154" y="353"/>
                  </a:lnTo>
                  <a:lnTo>
                    <a:pt x="153" y="350"/>
                  </a:lnTo>
                  <a:lnTo>
                    <a:pt x="153" y="353"/>
                  </a:lnTo>
                  <a:lnTo>
                    <a:pt x="150" y="355"/>
                  </a:lnTo>
                  <a:lnTo>
                    <a:pt x="150" y="353"/>
                  </a:lnTo>
                  <a:lnTo>
                    <a:pt x="149" y="351"/>
                  </a:lnTo>
                  <a:lnTo>
                    <a:pt x="150" y="355"/>
                  </a:lnTo>
                  <a:lnTo>
                    <a:pt x="150" y="357"/>
                  </a:lnTo>
                  <a:lnTo>
                    <a:pt x="148" y="359"/>
                  </a:lnTo>
                  <a:lnTo>
                    <a:pt x="147" y="359"/>
                  </a:lnTo>
                  <a:lnTo>
                    <a:pt x="147" y="356"/>
                  </a:lnTo>
                  <a:lnTo>
                    <a:pt x="145" y="353"/>
                  </a:lnTo>
                  <a:lnTo>
                    <a:pt x="144" y="354"/>
                  </a:lnTo>
                  <a:lnTo>
                    <a:pt x="144" y="356"/>
                  </a:lnTo>
                  <a:lnTo>
                    <a:pt x="142" y="356"/>
                  </a:lnTo>
                  <a:lnTo>
                    <a:pt x="142" y="355"/>
                  </a:lnTo>
                  <a:lnTo>
                    <a:pt x="141" y="356"/>
                  </a:lnTo>
                  <a:lnTo>
                    <a:pt x="139" y="354"/>
                  </a:lnTo>
                  <a:lnTo>
                    <a:pt x="139" y="353"/>
                  </a:lnTo>
                  <a:lnTo>
                    <a:pt x="138" y="353"/>
                  </a:lnTo>
                  <a:lnTo>
                    <a:pt x="139" y="356"/>
                  </a:lnTo>
                  <a:lnTo>
                    <a:pt x="138" y="356"/>
                  </a:lnTo>
                  <a:lnTo>
                    <a:pt x="136" y="357"/>
                  </a:lnTo>
                  <a:lnTo>
                    <a:pt x="136" y="356"/>
                  </a:lnTo>
                  <a:lnTo>
                    <a:pt x="135" y="356"/>
                  </a:lnTo>
                  <a:lnTo>
                    <a:pt x="136" y="360"/>
                  </a:lnTo>
                  <a:lnTo>
                    <a:pt x="136" y="362"/>
                  </a:lnTo>
                  <a:lnTo>
                    <a:pt x="133" y="362"/>
                  </a:lnTo>
                  <a:lnTo>
                    <a:pt x="132" y="361"/>
                  </a:lnTo>
                  <a:lnTo>
                    <a:pt x="131" y="360"/>
                  </a:lnTo>
                  <a:lnTo>
                    <a:pt x="130" y="356"/>
                  </a:lnTo>
                  <a:lnTo>
                    <a:pt x="129" y="355"/>
                  </a:lnTo>
                  <a:lnTo>
                    <a:pt x="126" y="356"/>
                  </a:lnTo>
                  <a:lnTo>
                    <a:pt x="125" y="355"/>
                  </a:lnTo>
                  <a:lnTo>
                    <a:pt x="123" y="356"/>
                  </a:lnTo>
                  <a:lnTo>
                    <a:pt x="124" y="357"/>
                  </a:lnTo>
                  <a:lnTo>
                    <a:pt x="123" y="356"/>
                  </a:lnTo>
                  <a:lnTo>
                    <a:pt x="120" y="357"/>
                  </a:lnTo>
                  <a:lnTo>
                    <a:pt x="117" y="357"/>
                  </a:lnTo>
                  <a:lnTo>
                    <a:pt x="117" y="356"/>
                  </a:lnTo>
                  <a:lnTo>
                    <a:pt x="121" y="355"/>
                  </a:lnTo>
                  <a:lnTo>
                    <a:pt x="125" y="353"/>
                  </a:lnTo>
                  <a:lnTo>
                    <a:pt x="126" y="350"/>
                  </a:lnTo>
                  <a:lnTo>
                    <a:pt x="127" y="351"/>
                  </a:lnTo>
                  <a:lnTo>
                    <a:pt x="131" y="350"/>
                  </a:lnTo>
                  <a:lnTo>
                    <a:pt x="133" y="349"/>
                  </a:lnTo>
                  <a:lnTo>
                    <a:pt x="135" y="348"/>
                  </a:lnTo>
                  <a:lnTo>
                    <a:pt x="130" y="348"/>
                  </a:lnTo>
                  <a:lnTo>
                    <a:pt x="127" y="349"/>
                  </a:lnTo>
                  <a:lnTo>
                    <a:pt x="130" y="348"/>
                  </a:lnTo>
                  <a:lnTo>
                    <a:pt x="133" y="345"/>
                  </a:lnTo>
                  <a:lnTo>
                    <a:pt x="135" y="345"/>
                  </a:lnTo>
                  <a:lnTo>
                    <a:pt x="131" y="344"/>
                  </a:lnTo>
                  <a:lnTo>
                    <a:pt x="136" y="344"/>
                  </a:lnTo>
                  <a:lnTo>
                    <a:pt x="139" y="343"/>
                  </a:lnTo>
                  <a:lnTo>
                    <a:pt x="139" y="342"/>
                  </a:lnTo>
                  <a:lnTo>
                    <a:pt x="142" y="342"/>
                  </a:lnTo>
                  <a:lnTo>
                    <a:pt x="144" y="340"/>
                  </a:lnTo>
                  <a:lnTo>
                    <a:pt x="143" y="339"/>
                  </a:lnTo>
                  <a:lnTo>
                    <a:pt x="144" y="339"/>
                  </a:lnTo>
                  <a:lnTo>
                    <a:pt x="149" y="339"/>
                  </a:lnTo>
                  <a:lnTo>
                    <a:pt x="150" y="337"/>
                  </a:lnTo>
                  <a:lnTo>
                    <a:pt x="151" y="337"/>
                  </a:lnTo>
                  <a:lnTo>
                    <a:pt x="153" y="338"/>
                  </a:lnTo>
                  <a:lnTo>
                    <a:pt x="155" y="338"/>
                  </a:lnTo>
                  <a:lnTo>
                    <a:pt x="158" y="337"/>
                  </a:lnTo>
                  <a:lnTo>
                    <a:pt x="156" y="334"/>
                  </a:lnTo>
                  <a:lnTo>
                    <a:pt x="159" y="336"/>
                  </a:lnTo>
                  <a:lnTo>
                    <a:pt x="160" y="333"/>
                  </a:lnTo>
                  <a:lnTo>
                    <a:pt x="162" y="333"/>
                  </a:lnTo>
                  <a:lnTo>
                    <a:pt x="165" y="334"/>
                  </a:lnTo>
                  <a:lnTo>
                    <a:pt x="167" y="334"/>
                  </a:lnTo>
                  <a:lnTo>
                    <a:pt x="168" y="333"/>
                  </a:lnTo>
                  <a:lnTo>
                    <a:pt x="174" y="332"/>
                  </a:lnTo>
                  <a:lnTo>
                    <a:pt x="178" y="331"/>
                  </a:lnTo>
                  <a:lnTo>
                    <a:pt x="182" y="330"/>
                  </a:lnTo>
                  <a:lnTo>
                    <a:pt x="183" y="330"/>
                  </a:lnTo>
                  <a:lnTo>
                    <a:pt x="185" y="328"/>
                  </a:lnTo>
                  <a:lnTo>
                    <a:pt x="189" y="328"/>
                  </a:lnTo>
                  <a:lnTo>
                    <a:pt x="191" y="327"/>
                  </a:lnTo>
                  <a:lnTo>
                    <a:pt x="194" y="327"/>
                  </a:lnTo>
                  <a:lnTo>
                    <a:pt x="196" y="327"/>
                  </a:lnTo>
                  <a:lnTo>
                    <a:pt x="198" y="326"/>
                  </a:lnTo>
                  <a:lnTo>
                    <a:pt x="200" y="327"/>
                  </a:lnTo>
                  <a:lnTo>
                    <a:pt x="201" y="325"/>
                  </a:lnTo>
                  <a:lnTo>
                    <a:pt x="202" y="325"/>
                  </a:lnTo>
                  <a:lnTo>
                    <a:pt x="203" y="325"/>
                  </a:lnTo>
                  <a:lnTo>
                    <a:pt x="204" y="325"/>
                  </a:lnTo>
                  <a:lnTo>
                    <a:pt x="207" y="326"/>
                  </a:lnTo>
                  <a:lnTo>
                    <a:pt x="208" y="326"/>
                  </a:lnTo>
                  <a:lnTo>
                    <a:pt x="210" y="325"/>
                  </a:lnTo>
                  <a:lnTo>
                    <a:pt x="212" y="325"/>
                  </a:lnTo>
                  <a:lnTo>
                    <a:pt x="214" y="325"/>
                  </a:lnTo>
                  <a:lnTo>
                    <a:pt x="215" y="324"/>
                  </a:lnTo>
                  <a:lnTo>
                    <a:pt x="219" y="322"/>
                  </a:lnTo>
                  <a:lnTo>
                    <a:pt x="221" y="322"/>
                  </a:lnTo>
                  <a:lnTo>
                    <a:pt x="223" y="322"/>
                  </a:lnTo>
                  <a:lnTo>
                    <a:pt x="223" y="321"/>
                  </a:lnTo>
                  <a:lnTo>
                    <a:pt x="221" y="320"/>
                  </a:lnTo>
                  <a:lnTo>
                    <a:pt x="220" y="321"/>
                  </a:lnTo>
                  <a:lnTo>
                    <a:pt x="218" y="321"/>
                  </a:lnTo>
                  <a:lnTo>
                    <a:pt x="215" y="324"/>
                  </a:lnTo>
                  <a:lnTo>
                    <a:pt x="213" y="324"/>
                  </a:lnTo>
                  <a:lnTo>
                    <a:pt x="210" y="324"/>
                  </a:lnTo>
                  <a:lnTo>
                    <a:pt x="210" y="322"/>
                  </a:lnTo>
                  <a:lnTo>
                    <a:pt x="209" y="324"/>
                  </a:lnTo>
                  <a:lnTo>
                    <a:pt x="209" y="325"/>
                  </a:lnTo>
                  <a:lnTo>
                    <a:pt x="208" y="325"/>
                  </a:lnTo>
                  <a:lnTo>
                    <a:pt x="207" y="325"/>
                  </a:lnTo>
                  <a:lnTo>
                    <a:pt x="204" y="322"/>
                  </a:lnTo>
                  <a:lnTo>
                    <a:pt x="203" y="322"/>
                  </a:lnTo>
                  <a:lnTo>
                    <a:pt x="203" y="324"/>
                  </a:lnTo>
                  <a:lnTo>
                    <a:pt x="202" y="324"/>
                  </a:lnTo>
                  <a:lnTo>
                    <a:pt x="200" y="325"/>
                  </a:lnTo>
                  <a:lnTo>
                    <a:pt x="200" y="324"/>
                  </a:lnTo>
                  <a:lnTo>
                    <a:pt x="200" y="325"/>
                  </a:lnTo>
                  <a:lnTo>
                    <a:pt x="198" y="325"/>
                  </a:lnTo>
                  <a:lnTo>
                    <a:pt x="197" y="325"/>
                  </a:lnTo>
                  <a:lnTo>
                    <a:pt x="196" y="325"/>
                  </a:lnTo>
                  <a:lnTo>
                    <a:pt x="195" y="325"/>
                  </a:lnTo>
                  <a:lnTo>
                    <a:pt x="192" y="326"/>
                  </a:lnTo>
                  <a:lnTo>
                    <a:pt x="190" y="326"/>
                  </a:lnTo>
                  <a:lnTo>
                    <a:pt x="190" y="325"/>
                  </a:lnTo>
                  <a:lnTo>
                    <a:pt x="189" y="324"/>
                  </a:lnTo>
                  <a:lnTo>
                    <a:pt x="190" y="322"/>
                  </a:lnTo>
                  <a:lnTo>
                    <a:pt x="188" y="324"/>
                  </a:lnTo>
                  <a:lnTo>
                    <a:pt x="186" y="325"/>
                  </a:lnTo>
                  <a:lnTo>
                    <a:pt x="185" y="325"/>
                  </a:lnTo>
                  <a:lnTo>
                    <a:pt x="185" y="327"/>
                  </a:lnTo>
                  <a:lnTo>
                    <a:pt x="184" y="327"/>
                  </a:lnTo>
                  <a:lnTo>
                    <a:pt x="184" y="326"/>
                  </a:lnTo>
                  <a:lnTo>
                    <a:pt x="183" y="326"/>
                  </a:lnTo>
                  <a:lnTo>
                    <a:pt x="182" y="327"/>
                  </a:lnTo>
                  <a:lnTo>
                    <a:pt x="182" y="328"/>
                  </a:lnTo>
                  <a:lnTo>
                    <a:pt x="179" y="327"/>
                  </a:lnTo>
                  <a:lnTo>
                    <a:pt x="178" y="326"/>
                  </a:lnTo>
                  <a:lnTo>
                    <a:pt x="179" y="328"/>
                  </a:lnTo>
                  <a:lnTo>
                    <a:pt x="178" y="328"/>
                  </a:lnTo>
                  <a:lnTo>
                    <a:pt x="176" y="330"/>
                  </a:lnTo>
                  <a:lnTo>
                    <a:pt x="173" y="328"/>
                  </a:lnTo>
                  <a:lnTo>
                    <a:pt x="173" y="327"/>
                  </a:lnTo>
                  <a:lnTo>
                    <a:pt x="171" y="331"/>
                  </a:lnTo>
                  <a:lnTo>
                    <a:pt x="171" y="330"/>
                  </a:lnTo>
                  <a:lnTo>
                    <a:pt x="171" y="328"/>
                  </a:lnTo>
                  <a:lnTo>
                    <a:pt x="172" y="326"/>
                  </a:lnTo>
                  <a:lnTo>
                    <a:pt x="171" y="327"/>
                  </a:lnTo>
                  <a:lnTo>
                    <a:pt x="170" y="325"/>
                  </a:lnTo>
                  <a:lnTo>
                    <a:pt x="168" y="325"/>
                  </a:lnTo>
                  <a:lnTo>
                    <a:pt x="168" y="328"/>
                  </a:lnTo>
                  <a:lnTo>
                    <a:pt x="167" y="328"/>
                  </a:lnTo>
                  <a:lnTo>
                    <a:pt x="167" y="330"/>
                  </a:lnTo>
                  <a:lnTo>
                    <a:pt x="166" y="332"/>
                  </a:lnTo>
                  <a:lnTo>
                    <a:pt x="165" y="333"/>
                  </a:lnTo>
                  <a:lnTo>
                    <a:pt x="164" y="332"/>
                  </a:lnTo>
                  <a:lnTo>
                    <a:pt x="165" y="330"/>
                  </a:lnTo>
                  <a:lnTo>
                    <a:pt x="165" y="326"/>
                  </a:lnTo>
                  <a:lnTo>
                    <a:pt x="164" y="326"/>
                  </a:lnTo>
                  <a:lnTo>
                    <a:pt x="164" y="327"/>
                  </a:lnTo>
                  <a:lnTo>
                    <a:pt x="162" y="332"/>
                  </a:lnTo>
                  <a:lnTo>
                    <a:pt x="161" y="332"/>
                  </a:lnTo>
                  <a:lnTo>
                    <a:pt x="161" y="330"/>
                  </a:lnTo>
                  <a:lnTo>
                    <a:pt x="161" y="328"/>
                  </a:lnTo>
                  <a:lnTo>
                    <a:pt x="160" y="327"/>
                  </a:lnTo>
                  <a:lnTo>
                    <a:pt x="160" y="326"/>
                  </a:lnTo>
                  <a:lnTo>
                    <a:pt x="160" y="325"/>
                  </a:lnTo>
                  <a:lnTo>
                    <a:pt x="159" y="328"/>
                  </a:lnTo>
                  <a:lnTo>
                    <a:pt x="159" y="331"/>
                  </a:lnTo>
                  <a:lnTo>
                    <a:pt x="156" y="331"/>
                  </a:lnTo>
                  <a:lnTo>
                    <a:pt x="155" y="332"/>
                  </a:lnTo>
                  <a:lnTo>
                    <a:pt x="154" y="328"/>
                  </a:lnTo>
                  <a:lnTo>
                    <a:pt x="153" y="332"/>
                  </a:lnTo>
                  <a:lnTo>
                    <a:pt x="153" y="333"/>
                  </a:lnTo>
                  <a:lnTo>
                    <a:pt x="154" y="334"/>
                  </a:lnTo>
                  <a:lnTo>
                    <a:pt x="151" y="336"/>
                  </a:lnTo>
                  <a:lnTo>
                    <a:pt x="150" y="336"/>
                  </a:lnTo>
                  <a:lnTo>
                    <a:pt x="150" y="333"/>
                  </a:lnTo>
                  <a:lnTo>
                    <a:pt x="149" y="332"/>
                  </a:lnTo>
                  <a:lnTo>
                    <a:pt x="148" y="331"/>
                  </a:lnTo>
                  <a:lnTo>
                    <a:pt x="148" y="328"/>
                  </a:lnTo>
                  <a:lnTo>
                    <a:pt x="148" y="327"/>
                  </a:lnTo>
                  <a:lnTo>
                    <a:pt x="147" y="328"/>
                  </a:lnTo>
                  <a:lnTo>
                    <a:pt x="145" y="330"/>
                  </a:lnTo>
                  <a:lnTo>
                    <a:pt x="144" y="332"/>
                  </a:lnTo>
                  <a:lnTo>
                    <a:pt x="144" y="331"/>
                  </a:lnTo>
                  <a:lnTo>
                    <a:pt x="143" y="330"/>
                  </a:lnTo>
                  <a:lnTo>
                    <a:pt x="142" y="331"/>
                  </a:lnTo>
                  <a:lnTo>
                    <a:pt x="142" y="333"/>
                  </a:lnTo>
                  <a:lnTo>
                    <a:pt x="141" y="334"/>
                  </a:lnTo>
                  <a:lnTo>
                    <a:pt x="139" y="332"/>
                  </a:lnTo>
                  <a:lnTo>
                    <a:pt x="137" y="332"/>
                  </a:lnTo>
                  <a:lnTo>
                    <a:pt x="137" y="333"/>
                  </a:lnTo>
                  <a:lnTo>
                    <a:pt x="136" y="333"/>
                  </a:lnTo>
                  <a:lnTo>
                    <a:pt x="136" y="331"/>
                  </a:lnTo>
                  <a:lnTo>
                    <a:pt x="135" y="328"/>
                  </a:lnTo>
                  <a:lnTo>
                    <a:pt x="132" y="327"/>
                  </a:lnTo>
                  <a:lnTo>
                    <a:pt x="132" y="328"/>
                  </a:lnTo>
                  <a:lnTo>
                    <a:pt x="131" y="328"/>
                  </a:lnTo>
                  <a:lnTo>
                    <a:pt x="130" y="330"/>
                  </a:lnTo>
                  <a:lnTo>
                    <a:pt x="129" y="332"/>
                  </a:lnTo>
                  <a:lnTo>
                    <a:pt x="127" y="331"/>
                  </a:lnTo>
                  <a:lnTo>
                    <a:pt x="127" y="330"/>
                  </a:lnTo>
                  <a:lnTo>
                    <a:pt x="121" y="332"/>
                  </a:lnTo>
                  <a:lnTo>
                    <a:pt x="123" y="331"/>
                  </a:lnTo>
                  <a:lnTo>
                    <a:pt x="125" y="330"/>
                  </a:lnTo>
                  <a:lnTo>
                    <a:pt x="127" y="328"/>
                  </a:lnTo>
                  <a:lnTo>
                    <a:pt x="125" y="327"/>
                  </a:lnTo>
                  <a:lnTo>
                    <a:pt x="129" y="327"/>
                  </a:lnTo>
                  <a:lnTo>
                    <a:pt x="127" y="326"/>
                  </a:lnTo>
                  <a:lnTo>
                    <a:pt x="127" y="325"/>
                  </a:lnTo>
                  <a:lnTo>
                    <a:pt x="130" y="325"/>
                  </a:lnTo>
                  <a:lnTo>
                    <a:pt x="132" y="324"/>
                  </a:lnTo>
                  <a:lnTo>
                    <a:pt x="135" y="324"/>
                  </a:lnTo>
                  <a:lnTo>
                    <a:pt x="137" y="322"/>
                  </a:lnTo>
                  <a:lnTo>
                    <a:pt x="138" y="321"/>
                  </a:lnTo>
                  <a:lnTo>
                    <a:pt x="141" y="319"/>
                  </a:lnTo>
                  <a:lnTo>
                    <a:pt x="142" y="318"/>
                  </a:lnTo>
                  <a:lnTo>
                    <a:pt x="143" y="316"/>
                  </a:lnTo>
                  <a:lnTo>
                    <a:pt x="142" y="315"/>
                  </a:lnTo>
                  <a:lnTo>
                    <a:pt x="138" y="316"/>
                  </a:lnTo>
                  <a:lnTo>
                    <a:pt x="139" y="315"/>
                  </a:lnTo>
                  <a:lnTo>
                    <a:pt x="141" y="314"/>
                  </a:lnTo>
                  <a:lnTo>
                    <a:pt x="142" y="312"/>
                  </a:lnTo>
                  <a:lnTo>
                    <a:pt x="143" y="313"/>
                  </a:lnTo>
                  <a:lnTo>
                    <a:pt x="143" y="314"/>
                  </a:lnTo>
                  <a:lnTo>
                    <a:pt x="145" y="313"/>
                  </a:lnTo>
                  <a:lnTo>
                    <a:pt x="149" y="314"/>
                  </a:lnTo>
                  <a:lnTo>
                    <a:pt x="156" y="312"/>
                  </a:lnTo>
                  <a:lnTo>
                    <a:pt x="160" y="310"/>
                  </a:lnTo>
                  <a:lnTo>
                    <a:pt x="160" y="309"/>
                  </a:lnTo>
                  <a:lnTo>
                    <a:pt x="161" y="310"/>
                  </a:lnTo>
                  <a:lnTo>
                    <a:pt x="164" y="310"/>
                  </a:lnTo>
                  <a:lnTo>
                    <a:pt x="165" y="309"/>
                  </a:lnTo>
                  <a:lnTo>
                    <a:pt x="166" y="308"/>
                  </a:lnTo>
                  <a:lnTo>
                    <a:pt x="167" y="308"/>
                  </a:lnTo>
                  <a:lnTo>
                    <a:pt x="173" y="307"/>
                  </a:lnTo>
                  <a:lnTo>
                    <a:pt x="177" y="307"/>
                  </a:lnTo>
                  <a:lnTo>
                    <a:pt x="178" y="307"/>
                  </a:lnTo>
                  <a:lnTo>
                    <a:pt x="180" y="306"/>
                  </a:lnTo>
                  <a:lnTo>
                    <a:pt x="182" y="306"/>
                  </a:lnTo>
                  <a:lnTo>
                    <a:pt x="185" y="306"/>
                  </a:lnTo>
                  <a:lnTo>
                    <a:pt x="188" y="304"/>
                  </a:lnTo>
                  <a:lnTo>
                    <a:pt x="156" y="303"/>
                  </a:lnTo>
                  <a:lnTo>
                    <a:pt x="158" y="303"/>
                  </a:lnTo>
                  <a:lnTo>
                    <a:pt x="160" y="302"/>
                  </a:lnTo>
                  <a:lnTo>
                    <a:pt x="165" y="301"/>
                  </a:lnTo>
                  <a:lnTo>
                    <a:pt x="166" y="301"/>
                  </a:lnTo>
                  <a:lnTo>
                    <a:pt x="168" y="301"/>
                  </a:lnTo>
                  <a:lnTo>
                    <a:pt x="172" y="301"/>
                  </a:lnTo>
                  <a:lnTo>
                    <a:pt x="172" y="300"/>
                  </a:lnTo>
                  <a:lnTo>
                    <a:pt x="174" y="300"/>
                  </a:lnTo>
                  <a:lnTo>
                    <a:pt x="176" y="301"/>
                  </a:lnTo>
                  <a:lnTo>
                    <a:pt x="180" y="301"/>
                  </a:lnTo>
                  <a:lnTo>
                    <a:pt x="183" y="301"/>
                  </a:lnTo>
                  <a:lnTo>
                    <a:pt x="186" y="300"/>
                  </a:lnTo>
                  <a:lnTo>
                    <a:pt x="190" y="298"/>
                  </a:lnTo>
                  <a:lnTo>
                    <a:pt x="194" y="298"/>
                  </a:lnTo>
                  <a:lnTo>
                    <a:pt x="198" y="297"/>
                  </a:lnTo>
                  <a:lnTo>
                    <a:pt x="203" y="297"/>
                  </a:lnTo>
                  <a:lnTo>
                    <a:pt x="206" y="295"/>
                  </a:lnTo>
                  <a:lnTo>
                    <a:pt x="208" y="295"/>
                  </a:lnTo>
                  <a:lnTo>
                    <a:pt x="208" y="296"/>
                  </a:lnTo>
                  <a:lnTo>
                    <a:pt x="209" y="297"/>
                  </a:lnTo>
                  <a:lnTo>
                    <a:pt x="210" y="297"/>
                  </a:lnTo>
                  <a:lnTo>
                    <a:pt x="213" y="296"/>
                  </a:lnTo>
                  <a:lnTo>
                    <a:pt x="216" y="295"/>
                  </a:lnTo>
                  <a:lnTo>
                    <a:pt x="218" y="295"/>
                  </a:lnTo>
                  <a:lnTo>
                    <a:pt x="221" y="295"/>
                  </a:lnTo>
                  <a:lnTo>
                    <a:pt x="223" y="296"/>
                  </a:lnTo>
                  <a:lnTo>
                    <a:pt x="225" y="295"/>
                  </a:lnTo>
                  <a:lnTo>
                    <a:pt x="226" y="294"/>
                  </a:lnTo>
                  <a:lnTo>
                    <a:pt x="230" y="294"/>
                  </a:lnTo>
                  <a:lnTo>
                    <a:pt x="233" y="294"/>
                  </a:lnTo>
                  <a:lnTo>
                    <a:pt x="233" y="292"/>
                  </a:lnTo>
                  <a:lnTo>
                    <a:pt x="235" y="290"/>
                  </a:lnTo>
                  <a:lnTo>
                    <a:pt x="238" y="289"/>
                  </a:lnTo>
                  <a:lnTo>
                    <a:pt x="239" y="289"/>
                  </a:lnTo>
                  <a:lnTo>
                    <a:pt x="242" y="288"/>
                  </a:lnTo>
                  <a:lnTo>
                    <a:pt x="244" y="285"/>
                  </a:lnTo>
                  <a:lnTo>
                    <a:pt x="248" y="283"/>
                  </a:lnTo>
                  <a:lnTo>
                    <a:pt x="250" y="282"/>
                  </a:lnTo>
                  <a:lnTo>
                    <a:pt x="250" y="276"/>
                  </a:lnTo>
                  <a:lnTo>
                    <a:pt x="250" y="273"/>
                  </a:lnTo>
                  <a:lnTo>
                    <a:pt x="249" y="273"/>
                  </a:lnTo>
                  <a:lnTo>
                    <a:pt x="248" y="276"/>
                  </a:lnTo>
                  <a:lnTo>
                    <a:pt x="247" y="276"/>
                  </a:lnTo>
                  <a:lnTo>
                    <a:pt x="245" y="274"/>
                  </a:lnTo>
                  <a:lnTo>
                    <a:pt x="247" y="272"/>
                  </a:lnTo>
                  <a:lnTo>
                    <a:pt x="245" y="272"/>
                  </a:lnTo>
                  <a:lnTo>
                    <a:pt x="244" y="273"/>
                  </a:lnTo>
                  <a:lnTo>
                    <a:pt x="245" y="276"/>
                  </a:lnTo>
                  <a:lnTo>
                    <a:pt x="245" y="278"/>
                  </a:lnTo>
                  <a:lnTo>
                    <a:pt x="247" y="280"/>
                  </a:lnTo>
                  <a:lnTo>
                    <a:pt x="247" y="282"/>
                  </a:lnTo>
                  <a:lnTo>
                    <a:pt x="245" y="283"/>
                  </a:lnTo>
                  <a:lnTo>
                    <a:pt x="244" y="283"/>
                  </a:lnTo>
                  <a:lnTo>
                    <a:pt x="243" y="284"/>
                  </a:lnTo>
                  <a:lnTo>
                    <a:pt x="242" y="285"/>
                  </a:lnTo>
                  <a:lnTo>
                    <a:pt x="239" y="288"/>
                  </a:lnTo>
                  <a:lnTo>
                    <a:pt x="238" y="286"/>
                  </a:lnTo>
                  <a:lnTo>
                    <a:pt x="237" y="288"/>
                  </a:lnTo>
                  <a:lnTo>
                    <a:pt x="235" y="288"/>
                  </a:lnTo>
                  <a:lnTo>
                    <a:pt x="233" y="290"/>
                  </a:lnTo>
                  <a:lnTo>
                    <a:pt x="233" y="289"/>
                  </a:lnTo>
                  <a:lnTo>
                    <a:pt x="233" y="288"/>
                  </a:lnTo>
                  <a:lnTo>
                    <a:pt x="235" y="285"/>
                  </a:lnTo>
                  <a:lnTo>
                    <a:pt x="235" y="284"/>
                  </a:lnTo>
                  <a:lnTo>
                    <a:pt x="235" y="282"/>
                  </a:lnTo>
                  <a:lnTo>
                    <a:pt x="236" y="279"/>
                  </a:lnTo>
                  <a:lnTo>
                    <a:pt x="235" y="277"/>
                  </a:lnTo>
                  <a:lnTo>
                    <a:pt x="235" y="274"/>
                  </a:lnTo>
                  <a:lnTo>
                    <a:pt x="233" y="276"/>
                  </a:lnTo>
                  <a:lnTo>
                    <a:pt x="235" y="277"/>
                  </a:lnTo>
                  <a:lnTo>
                    <a:pt x="235" y="278"/>
                  </a:lnTo>
                  <a:lnTo>
                    <a:pt x="233" y="277"/>
                  </a:lnTo>
                  <a:lnTo>
                    <a:pt x="232" y="278"/>
                  </a:lnTo>
                  <a:lnTo>
                    <a:pt x="233" y="279"/>
                  </a:lnTo>
                  <a:lnTo>
                    <a:pt x="232" y="280"/>
                  </a:lnTo>
                  <a:lnTo>
                    <a:pt x="231" y="280"/>
                  </a:lnTo>
                  <a:lnTo>
                    <a:pt x="231" y="279"/>
                  </a:lnTo>
                  <a:lnTo>
                    <a:pt x="231" y="277"/>
                  </a:lnTo>
                  <a:lnTo>
                    <a:pt x="231" y="276"/>
                  </a:lnTo>
                  <a:lnTo>
                    <a:pt x="229" y="276"/>
                  </a:lnTo>
                  <a:lnTo>
                    <a:pt x="229" y="278"/>
                  </a:lnTo>
                  <a:lnTo>
                    <a:pt x="229" y="280"/>
                  </a:lnTo>
                  <a:lnTo>
                    <a:pt x="227" y="282"/>
                  </a:lnTo>
                  <a:lnTo>
                    <a:pt x="226" y="282"/>
                  </a:lnTo>
                  <a:lnTo>
                    <a:pt x="225" y="280"/>
                  </a:lnTo>
                  <a:lnTo>
                    <a:pt x="225" y="282"/>
                  </a:lnTo>
                  <a:lnTo>
                    <a:pt x="225" y="283"/>
                  </a:lnTo>
                  <a:lnTo>
                    <a:pt x="224" y="284"/>
                  </a:lnTo>
                  <a:lnTo>
                    <a:pt x="223" y="283"/>
                  </a:lnTo>
                  <a:lnTo>
                    <a:pt x="223" y="284"/>
                  </a:lnTo>
                  <a:lnTo>
                    <a:pt x="221" y="284"/>
                  </a:lnTo>
                  <a:lnTo>
                    <a:pt x="220" y="283"/>
                  </a:lnTo>
                  <a:lnTo>
                    <a:pt x="219" y="282"/>
                  </a:lnTo>
                  <a:lnTo>
                    <a:pt x="220" y="284"/>
                  </a:lnTo>
                  <a:lnTo>
                    <a:pt x="220" y="288"/>
                  </a:lnTo>
                  <a:lnTo>
                    <a:pt x="219" y="289"/>
                  </a:lnTo>
                  <a:lnTo>
                    <a:pt x="218" y="286"/>
                  </a:lnTo>
                  <a:lnTo>
                    <a:pt x="218" y="285"/>
                  </a:lnTo>
                  <a:lnTo>
                    <a:pt x="218" y="283"/>
                  </a:lnTo>
                  <a:lnTo>
                    <a:pt x="216" y="282"/>
                  </a:lnTo>
                  <a:lnTo>
                    <a:pt x="218" y="285"/>
                  </a:lnTo>
                  <a:lnTo>
                    <a:pt x="218" y="288"/>
                  </a:lnTo>
                  <a:lnTo>
                    <a:pt x="218" y="289"/>
                  </a:lnTo>
                  <a:lnTo>
                    <a:pt x="216" y="289"/>
                  </a:lnTo>
                  <a:lnTo>
                    <a:pt x="216" y="288"/>
                  </a:lnTo>
                  <a:lnTo>
                    <a:pt x="215" y="289"/>
                  </a:lnTo>
                  <a:lnTo>
                    <a:pt x="215" y="290"/>
                  </a:lnTo>
                  <a:lnTo>
                    <a:pt x="214" y="292"/>
                  </a:lnTo>
                  <a:lnTo>
                    <a:pt x="213" y="292"/>
                  </a:lnTo>
                  <a:lnTo>
                    <a:pt x="213" y="289"/>
                  </a:lnTo>
                  <a:lnTo>
                    <a:pt x="213" y="288"/>
                  </a:lnTo>
                  <a:lnTo>
                    <a:pt x="210" y="288"/>
                  </a:lnTo>
                  <a:lnTo>
                    <a:pt x="209" y="286"/>
                  </a:lnTo>
                  <a:lnTo>
                    <a:pt x="208" y="285"/>
                  </a:lnTo>
                  <a:lnTo>
                    <a:pt x="210" y="283"/>
                  </a:lnTo>
                  <a:lnTo>
                    <a:pt x="213" y="280"/>
                  </a:lnTo>
                  <a:lnTo>
                    <a:pt x="213" y="279"/>
                  </a:lnTo>
                  <a:lnTo>
                    <a:pt x="210" y="279"/>
                  </a:lnTo>
                  <a:lnTo>
                    <a:pt x="210" y="282"/>
                  </a:lnTo>
                  <a:lnTo>
                    <a:pt x="208" y="280"/>
                  </a:lnTo>
                  <a:lnTo>
                    <a:pt x="207" y="279"/>
                  </a:lnTo>
                  <a:lnTo>
                    <a:pt x="207" y="278"/>
                  </a:lnTo>
                  <a:lnTo>
                    <a:pt x="207" y="277"/>
                  </a:lnTo>
                  <a:lnTo>
                    <a:pt x="206" y="278"/>
                  </a:lnTo>
                  <a:lnTo>
                    <a:pt x="204" y="279"/>
                  </a:lnTo>
                  <a:lnTo>
                    <a:pt x="203" y="278"/>
                  </a:lnTo>
                  <a:lnTo>
                    <a:pt x="203" y="277"/>
                  </a:lnTo>
                  <a:lnTo>
                    <a:pt x="202" y="276"/>
                  </a:lnTo>
                  <a:lnTo>
                    <a:pt x="202" y="274"/>
                  </a:lnTo>
                  <a:lnTo>
                    <a:pt x="202" y="272"/>
                  </a:lnTo>
                  <a:lnTo>
                    <a:pt x="200" y="273"/>
                  </a:lnTo>
                  <a:lnTo>
                    <a:pt x="198" y="272"/>
                  </a:lnTo>
                  <a:lnTo>
                    <a:pt x="200" y="266"/>
                  </a:lnTo>
                  <a:lnTo>
                    <a:pt x="198" y="262"/>
                  </a:lnTo>
                  <a:lnTo>
                    <a:pt x="198" y="265"/>
                  </a:lnTo>
                  <a:lnTo>
                    <a:pt x="197" y="264"/>
                  </a:lnTo>
                  <a:lnTo>
                    <a:pt x="197" y="261"/>
                  </a:lnTo>
                  <a:lnTo>
                    <a:pt x="230" y="219"/>
                  </a:lnTo>
                  <a:lnTo>
                    <a:pt x="196" y="261"/>
                  </a:lnTo>
                  <a:lnTo>
                    <a:pt x="229" y="218"/>
                  </a:lnTo>
                  <a:lnTo>
                    <a:pt x="226" y="218"/>
                  </a:lnTo>
                  <a:lnTo>
                    <a:pt x="219" y="224"/>
                  </a:lnTo>
                  <a:lnTo>
                    <a:pt x="218" y="225"/>
                  </a:lnTo>
                  <a:lnTo>
                    <a:pt x="218" y="229"/>
                  </a:lnTo>
                  <a:lnTo>
                    <a:pt x="218" y="230"/>
                  </a:lnTo>
                  <a:lnTo>
                    <a:pt x="218" y="229"/>
                  </a:lnTo>
                  <a:lnTo>
                    <a:pt x="216" y="230"/>
                  </a:lnTo>
                  <a:lnTo>
                    <a:pt x="216" y="229"/>
                  </a:lnTo>
                  <a:lnTo>
                    <a:pt x="215" y="226"/>
                  </a:lnTo>
                  <a:lnTo>
                    <a:pt x="216" y="225"/>
                  </a:lnTo>
                  <a:lnTo>
                    <a:pt x="223" y="218"/>
                  </a:lnTo>
                  <a:lnTo>
                    <a:pt x="221" y="217"/>
                  </a:lnTo>
                  <a:lnTo>
                    <a:pt x="220" y="215"/>
                  </a:lnTo>
                  <a:lnTo>
                    <a:pt x="220" y="214"/>
                  </a:lnTo>
                  <a:lnTo>
                    <a:pt x="221" y="212"/>
                  </a:lnTo>
                  <a:lnTo>
                    <a:pt x="220" y="209"/>
                  </a:lnTo>
                  <a:lnTo>
                    <a:pt x="219" y="207"/>
                  </a:lnTo>
                  <a:lnTo>
                    <a:pt x="219" y="209"/>
                  </a:lnTo>
                  <a:lnTo>
                    <a:pt x="215" y="209"/>
                  </a:lnTo>
                  <a:lnTo>
                    <a:pt x="214" y="211"/>
                  </a:lnTo>
                  <a:lnTo>
                    <a:pt x="213" y="209"/>
                  </a:lnTo>
                  <a:lnTo>
                    <a:pt x="213" y="208"/>
                  </a:lnTo>
                  <a:lnTo>
                    <a:pt x="212" y="208"/>
                  </a:lnTo>
                  <a:lnTo>
                    <a:pt x="212" y="213"/>
                  </a:lnTo>
                  <a:lnTo>
                    <a:pt x="213" y="214"/>
                  </a:lnTo>
                  <a:lnTo>
                    <a:pt x="212" y="214"/>
                  </a:lnTo>
                  <a:lnTo>
                    <a:pt x="209" y="214"/>
                  </a:lnTo>
                  <a:lnTo>
                    <a:pt x="209" y="213"/>
                  </a:lnTo>
                  <a:lnTo>
                    <a:pt x="210" y="209"/>
                  </a:lnTo>
                  <a:lnTo>
                    <a:pt x="210" y="206"/>
                  </a:lnTo>
                  <a:lnTo>
                    <a:pt x="209" y="205"/>
                  </a:lnTo>
                  <a:lnTo>
                    <a:pt x="208" y="205"/>
                  </a:lnTo>
                  <a:lnTo>
                    <a:pt x="208" y="202"/>
                  </a:lnTo>
                  <a:lnTo>
                    <a:pt x="206" y="202"/>
                  </a:lnTo>
                  <a:lnTo>
                    <a:pt x="207" y="201"/>
                  </a:lnTo>
                  <a:lnTo>
                    <a:pt x="207" y="199"/>
                  </a:lnTo>
                  <a:lnTo>
                    <a:pt x="206" y="199"/>
                  </a:lnTo>
                  <a:lnTo>
                    <a:pt x="204" y="200"/>
                  </a:lnTo>
                  <a:lnTo>
                    <a:pt x="202" y="200"/>
                  </a:lnTo>
                  <a:lnTo>
                    <a:pt x="201" y="199"/>
                  </a:lnTo>
                  <a:lnTo>
                    <a:pt x="200" y="197"/>
                  </a:lnTo>
                  <a:lnTo>
                    <a:pt x="201" y="195"/>
                  </a:lnTo>
                  <a:lnTo>
                    <a:pt x="201" y="193"/>
                  </a:lnTo>
                  <a:lnTo>
                    <a:pt x="200" y="193"/>
                  </a:lnTo>
                  <a:lnTo>
                    <a:pt x="197" y="194"/>
                  </a:lnTo>
                  <a:lnTo>
                    <a:pt x="197" y="193"/>
                  </a:lnTo>
                  <a:lnTo>
                    <a:pt x="200" y="191"/>
                  </a:lnTo>
                  <a:lnTo>
                    <a:pt x="200" y="189"/>
                  </a:lnTo>
                  <a:lnTo>
                    <a:pt x="201" y="189"/>
                  </a:lnTo>
                  <a:lnTo>
                    <a:pt x="203" y="189"/>
                  </a:lnTo>
                  <a:lnTo>
                    <a:pt x="204" y="188"/>
                  </a:lnTo>
                  <a:lnTo>
                    <a:pt x="203" y="187"/>
                  </a:lnTo>
                  <a:lnTo>
                    <a:pt x="201" y="187"/>
                  </a:lnTo>
                  <a:lnTo>
                    <a:pt x="200" y="187"/>
                  </a:lnTo>
                  <a:lnTo>
                    <a:pt x="200" y="188"/>
                  </a:lnTo>
                  <a:lnTo>
                    <a:pt x="198" y="189"/>
                  </a:lnTo>
                  <a:lnTo>
                    <a:pt x="198" y="190"/>
                  </a:lnTo>
                  <a:lnTo>
                    <a:pt x="197" y="191"/>
                  </a:lnTo>
                  <a:lnTo>
                    <a:pt x="197" y="190"/>
                  </a:lnTo>
                  <a:lnTo>
                    <a:pt x="196" y="191"/>
                  </a:lnTo>
                  <a:lnTo>
                    <a:pt x="195" y="190"/>
                  </a:lnTo>
                  <a:lnTo>
                    <a:pt x="196" y="189"/>
                  </a:lnTo>
                  <a:lnTo>
                    <a:pt x="196" y="188"/>
                  </a:lnTo>
                  <a:lnTo>
                    <a:pt x="195" y="187"/>
                  </a:lnTo>
                  <a:lnTo>
                    <a:pt x="195" y="188"/>
                  </a:lnTo>
                  <a:lnTo>
                    <a:pt x="194" y="188"/>
                  </a:lnTo>
                  <a:lnTo>
                    <a:pt x="192" y="187"/>
                  </a:lnTo>
                  <a:lnTo>
                    <a:pt x="192" y="185"/>
                  </a:lnTo>
                  <a:lnTo>
                    <a:pt x="194" y="185"/>
                  </a:lnTo>
                  <a:lnTo>
                    <a:pt x="195" y="185"/>
                  </a:lnTo>
                  <a:lnTo>
                    <a:pt x="196" y="185"/>
                  </a:lnTo>
                  <a:lnTo>
                    <a:pt x="197" y="184"/>
                  </a:lnTo>
                  <a:lnTo>
                    <a:pt x="198" y="183"/>
                  </a:lnTo>
                  <a:lnTo>
                    <a:pt x="196" y="183"/>
                  </a:lnTo>
                  <a:lnTo>
                    <a:pt x="195" y="182"/>
                  </a:lnTo>
                  <a:lnTo>
                    <a:pt x="198" y="182"/>
                  </a:lnTo>
                  <a:lnTo>
                    <a:pt x="198" y="181"/>
                  </a:lnTo>
                  <a:lnTo>
                    <a:pt x="195" y="181"/>
                  </a:lnTo>
                  <a:lnTo>
                    <a:pt x="194" y="181"/>
                  </a:lnTo>
                  <a:lnTo>
                    <a:pt x="191" y="181"/>
                  </a:lnTo>
                  <a:lnTo>
                    <a:pt x="191" y="179"/>
                  </a:lnTo>
                  <a:lnTo>
                    <a:pt x="190" y="179"/>
                  </a:lnTo>
                  <a:lnTo>
                    <a:pt x="189" y="181"/>
                  </a:lnTo>
                  <a:lnTo>
                    <a:pt x="189" y="179"/>
                  </a:lnTo>
                  <a:lnTo>
                    <a:pt x="190" y="178"/>
                  </a:lnTo>
                  <a:lnTo>
                    <a:pt x="189" y="178"/>
                  </a:lnTo>
                  <a:lnTo>
                    <a:pt x="189" y="177"/>
                  </a:lnTo>
                  <a:lnTo>
                    <a:pt x="188" y="178"/>
                  </a:lnTo>
                  <a:lnTo>
                    <a:pt x="185" y="178"/>
                  </a:lnTo>
                  <a:lnTo>
                    <a:pt x="184" y="178"/>
                  </a:lnTo>
                  <a:lnTo>
                    <a:pt x="188" y="177"/>
                  </a:lnTo>
                  <a:lnTo>
                    <a:pt x="188" y="176"/>
                  </a:lnTo>
                  <a:lnTo>
                    <a:pt x="184" y="176"/>
                  </a:lnTo>
                  <a:lnTo>
                    <a:pt x="183" y="175"/>
                  </a:lnTo>
                  <a:lnTo>
                    <a:pt x="188" y="175"/>
                  </a:lnTo>
                  <a:lnTo>
                    <a:pt x="189" y="175"/>
                  </a:lnTo>
                  <a:lnTo>
                    <a:pt x="190" y="175"/>
                  </a:lnTo>
                  <a:lnTo>
                    <a:pt x="190" y="173"/>
                  </a:lnTo>
                  <a:lnTo>
                    <a:pt x="191" y="172"/>
                  </a:lnTo>
                  <a:lnTo>
                    <a:pt x="191" y="176"/>
                  </a:lnTo>
                  <a:lnTo>
                    <a:pt x="192" y="176"/>
                  </a:lnTo>
                  <a:lnTo>
                    <a:pt x="194" y="176"/>
                  </a:lnTo>
                  <a:lnTo>
                    <a:pt x="194" y="177"/>
                  </a:lnTo>
                  <a:lnTo>
                    <a:pt x="195" y="178"/>
                  </a:lnTo>
                  <a:lnTo>
                    <a:pt x="196" y="178"/>
                  </a:lnTo>
                  <a:lnTo>
                    <a:pt x="197" y="177"/>
                  </a:lnTo>
                  <a:lnTo>
                    <a:pt x="197" y="176"/>
                  </a:lnTo>
                  <a:lnTo>
                    <a:pt x="198" y="176"/>
                  </a:lnTo>
                  <a:lnTo>
                    <a:pt x="198" y="177"/>
                  </a:lnTo>
                  <a:lnTo>
                    <a:pt x="200" y="178"/>
                  </a:lnTo>
                  <a:lnTo>
                    <a:pt x="200" y="179"/>
                  </a:lnTo>
                  <a:lnTo>
                    <a:pt x="200" y="181"/>
                  </a:lnTo>
                  <a:lnTo>
                    <a:pt x="201" y="181"/>
                  </a:lnTo>
                  <a:lnTo>
                    <a:pt x="201" y="182"/>
                  </a:lnTo>
                  <a:lnTo>
                    <a:pt x="202" y="181"/>
                  </a:lnTo>
                  <a:lnTo>
                    <a:pt x="202" y="179"/>
                  </a:lnTo>
                  <a:lnTo>
                    <a:pt x="203" y="178"/>
                  </a:lnTo>
                  <a:lnTo>
                    <a:pt x="204" y="178"/>
                  </a:lnTo>
                  <a:lnTo>
                    <a:pt x="206" y="179"/>
                  </a:lnTo>
                  <a:lnTo>
                    <a:pt x="207" y="178"/>
                  </a:lnTo>
                  <a:lnTo>
                    <a:pt x="207" y="177"/>
                  </a:lnTo>
                  <a:lnTo>
                    <a:pt x="206" y="177"/>
                  </a:lnTo>
                  <a:lnTo>
                    <a:pt x="204" y="177"/>
                  </a:lnTo>
                  <a:lnTo>
                    <a:pt x="203" y="176"/>
                  </a:lnTo>
                  <a:lnTo>
                    <a:pt x="203" y="175"/>
                  </a:lnTo>
                  <a:lnTo>
                    <a:pt x="202" y="175"/>
                  </a:lnTo>
                  <a:lnTo>
                    <a:pt x="201" y="175"/>
                  </a:lnTo>
                  <a:lnTo>
                    <a:pt x="200" y="175"/>
                  </a:lnTo>
                  <a:lnTo>
                    <a:pt x="200" y="173"/>
                  </a:lnTo>
                  <a:lnTo>
                    <a:pt x="200" y="172"/>
                  </a:lnTo>
                  <a:lnTo>
                    <a:pt x="198" y="173"/>
                  </a:lnTo>
                  <a:lnTo>
                    <a:pt x="197" y="173"/>
                  </a:lnTo>
                  <a:lnTo>
                    <a:pt x="198" y="173"/>
                  </a:lnTo>
                  <a:lnTo>
                    <a:pt x="198" y="175"/>
                  </a:lnTo>
                  <a:lnTo>
                    <a:pt x="197" y="175"/>
                  </a:lnTo>
                  <a:lnTo>
                    <a:pt x="196" y="173"/>
                  </a:lnTo>
                  <a:lnTo>
                    <a:pt x="195" y="173"/>
                  </a:lnTo>
                  <a:lnTo>
                    <a:pt x="195" y="175"/>
                  </a:lnTo>
                  <a:lnTo>
                    <a:pt x="195" y="173"/>
                  </a:lnTo>
                  <a:lnTo>
                    <a:pt x="197" y="172"/>
                  </a:lnTo>
                  <a:lnTo>
                    <a:pt x="197" y="171"/>
                  </a:lnTo>
                  <a:lnTo>
                    <a:pt x="195" y="171"/>
                  </a:lnTo>
                  <a:lnTo>
                    <a:pt x="194" y="171"/>
                  </a:lnTo>
                  <a:lnTo>
                    <a:pt x="194" y="170"/>
                  </a:lnTo>
                  <a:lnTo>
                    <a:pt x="192" y="170"/>
                  </a:lnTo>
                  <a:lnTo>
                    <a:pt x="196" y="170"/>
                  </a:lnTo>
                  <a:lnTo>
                    <a:pt x="198" y="171"/>
                  </a:lnTo>
                  <a:lnTo>
                    <a:pt x="202" y="171"/>
                  </a:lnTo>
                  <a:lnTo>
                    <a:pt x="204" y="173"/>
                  </a:lnTo>
                  <a:lnTo>
                    <a:pt x="204" y="175"/>
                  </a:lnTo>
                  <a:lnTo>
                    <a:pt x="206" y="176"/>
                  </a:lnTo>
                  <a:lnTo>
                    <a:pt x="207" y="176"/>
                  </a:lnTo>
                  <a:lnTo>
                    <a:pt x="208" y="175"/>
                  </a:lnTo>
                  <a:lnTo>
                    <a:pt x="208" y="173"/>
                  </a:lnTo>
                  <a:lnTo>
                    <a:pt x="206" y="173"/>
                  </a:lnTo>
                  <a:lnTo>
                    <a:pt x="209" y="173"/>
                  </a:lnTo>
                  <a:lnTo>
                    <a:pt x="209" y="171"/>
                  </a:lnTo>
                  <a:lnTo>
                    <a:pt x="210" y="171"/>
                  </a:lnTo>
                  <a:lnTo>
                    <a:pt x="210" y="173"/>
                  </a:lnTo>
                  <a:lnTo>
                    <a:pt x="210" y="175"/>
                  </a:lnTo>
                  <a:lnTo>
                    <a:pt x="210" y="176"/>
                  </a:lnTo>
                  <a:lnTo>
                    <a:pt x="213" y="178"/>
                  </a:lnTo>
                  <a:lnTo>
                    <a:pt x="214" y="179"/>
                  </a:lnTo>
                  <a:lnTo>
                    <a:pt x="216" y="179"/>
                  </a:lnTo>
                  <a:lnTo>
                    <a:pt x="218" y="179"/>
                  </a:lnTo>
                  <a:lnTo>
                    <a:pt x="219" y="179"/>
                  </a:lnTo>
                  <a:lnTo>
                    <a:pt x="219" y="177"/>
                  </a:lnTo>
                  <a:lnTo>
                    <a:pt x="220" y="178"/>
                  </a:lnTo>
                  <a:lnTo>
                    <a:pt x="221" y="178"/>
                  </a:lnTo>
                  <a:lnTo>
                    <a:pt x="221" y="177"/>
                  </a:lnTo>
                  <a:lnTo>
                    <a:pt x="221" y="176"/>
                  </a:lnTo>
                  <a:lnTo>
                    <a:pt x="223" y="177"/>
                  </a:lnTo>
                  <a:lnTo>
                    <a:pt x="224" y="177"/>
                  </a:lnTo>
                  <a:lnTo>
                    <a:pt x="225" y="176"/>
                  </a:lnTo>
                  <a:lnTo>
                    <a:pt x="226" y="173"/>
                  </a:lnTo>
                  <a:lnTo>
                    <a:pt x="225" y="173"/>
                  </a:lnTo>
                  <a:lnTo>
                    <a:pt x="224" y="173"/>
                  </a:lnTo>
                  <a:lnTo>
                    <a:pt x="223" y="173"/>
                  </a:lnTo>
                  <a:lnTo>
                    <a:pt x="223" y="172"/>
                  </a:lnTo>
                  <a:lnTo>
                    <a:pt x="221" y="171"/>
                  </a:lnTo>
                  <a:lnTo>
                    <a:pt x="220" y="170"/>
                  </a:lnTo>
                  <a:lnTo>
                    <a:pt x="219" y="170"/>
                  </a:lnTo>
                  <a:lnTo>
                    <a:pt x="218" y="170"/>
                  </a:lnTo>
                  <a:lnTo>
                    <a:pt x="216" y="170"/>
                  </a:lnTo>
                  <a:lnTo>
                    <a:pt x="216" y="169"/>
                  </a:lnTo>
                  <a:lnTo>
                    <a:pt x="216" y="167"/>
                  </a:lnTo>
                  <a:lnTo>
                    <a:pt x="215" y="167"/>
                  </a:lnTo>
                  <a:lnTo>
                    <a:pt x="213" y="169"/>
                  </a:lnTo>
                  <a:lnTo>
                    <a:pt x="212" y="169"/>
                  </a:lnTo>
                  <a:lnTo>
                    <a:pt x="212" y="167"/>
                  </a:lnTo>
                  <a:lnTo>
                    <a:pt x="214" y="166"/>
                  </a:lnTo>
                  <a:lnTo>
                    <a:pt x="215" y="166"/>
                  </a:lnTo>
                  <a:lnTo>
                    <a:pt x="215" y="165"/>
                  </a:lnTo>
                  <a:lnTo>
                    <a:pt x="214" y="165"/>
                  </a:lnTo>
                  <a:lnTo>
                    <a:pt x="215" y="165"/>
                  </a:lnTo>
                  <a:lnTo>
                    <a:pt x="216" y="165"/>
                  </a:lnTo>
                  <a:lnTo>
                    <a:pt x="215" y="164"/>
                  </a:lnTo>
                  <a:lnTo>
                    <a:pt x="214" y="161"/>
                  </a:lnTo>
                  <a:lnTo>
                    <a:pt x="215" y="161"/>
                  </a:lnTo>
                  <a:lnTo>
                    <a:pt x="216" y="164"/>
                  </a:lnTo>
                  <a:lnTo>
                    <a:pt x="218" y="164"/>
                  </a:lnTo>
                  <a:lnTo>
                    <a:pt x="220" y="164"/>
                  </a:lnTo>
                  <a:lnTo>
                    <a:pt x="220" y="165"/>
                  </a:lnTo>
                  <a:lnTo>
                    <a:pt x="221" y="165"/>
                  </a:lnTo>
                  <a:lnTo>
                    <a:pt x="221" y="166"/>
                  </a:lnTo>
                  <a:lnTo>
                    <a:pt x="223" y="167"/>
                  </a:lnTo>
                  <a:lnTo>
                    <a:pt x="225" y="167"/>
                  </a:lnTo>
                  <a:lnTo>
                    <a:pt x="226" y="166"/>
                  </a:lnTo>
                  <a:lnTo>
                    <a:pt x="227" y="169"/>
                  </a:lnTo>
                  <a:lnTo>
                    <a:pt x="230" y="169"/>
                  </a:lnTo>
                  <a:lnTo>
                    <a:pt x="230" y="167"/>
                  </a:lnTo>
                  <a:lnTo>
                    <a:pt x="231" y="167"/>
                  </a:lnTo>
                  <a:lnTo>
                    <a:pt x="231" y="170"/>
                  </a:lnTo>
                  <a:lnTo>
                    <a:pt x="232" y="171"/>
                  </a:lnTo>
                  <a:lnTo>
                    <a:pt x="235" y="171"/>
                  </a:lnTo>
                  <a:lnTo>
                    <a:pt x="237" y="170"/>
                  </a:lnTo>
                  <a:lnTo>
                    <a:pt x="238" y="169"/>
                  </a:lnTo>
                  <a:lnTo>
                    <a:pt x="241" y="167"/>
                  </a:lnTo>
                  <a:lnTo>
                    <a:pt x="242" y="165"/>
                  </a:lnTo>
                  <a:lnTo>
                    <a:pt x="242" y="164"/>
                  </a:lnTo>
                  <a:lnTo>
                    <a:pt x="242" y="163"/>
                  </a:lnTo>
                  <a:lnTo>
                    <a:pt x="241" y="163"/>
                  </a:lnTo>
                  <a:lnTo>
                    <a:pt x="243" y="163"/>
                  </a:lnTo>
                  <a:lnTo>
                    <a:pt x="243" y="161"/>
                  </a:lnTo>
                  <a:lnTo>
                    <a:pt x="243" y="160"/>
                  </a:lnTo>
                  <a:lnTo>
                    <a:pt x="241" y="160"/>
                  </a:lnTo>
                  <a:lnTo>
                    <a:pt x="239" y="160"/>
                  </a:lnTo>
                  <a:lnTo>
                    <a:pt x="241" y="160"/>
                  </a:lnTo>
                  <a:lnTo>
                    <a:pt x="241" y="159"/>
                  </a:lnTo>
                  <a:lnTo>
                    <a:pt x="244" y="159"/>
                  </a:lnTo>
                  <a:lnTo>
                    <a:pt x="244" y="158"/>
                  </a:lnTo>
                  <a:lnTo>
                    <a:pt x="244" y="155"/>
                  </a:lnTo>
                  <a:lnTo>
                    <a:pt x="243" y="155"/>
                  </a:lnTo>
                  <a:lnTo>
                    <a:pt x="242" y="155"/>
                  </a:lnTo>
                  <a:lnTo>
                    <a:pt x="242" y="158"/>
                  </a:lnTo>
                  <a:lnTo>
                    <a:pt x="241" y="158"/>
                  </a:lnTo>
                  <a:lnTo>
                    <a:pt x="241" y="157"/>
                  </a:lnTo>
                  <a:lnTo>
                    <a:pt x="239" y="155"/>
                  </a:lnTo>
                  <a:lnTo>
                    <a:pt x="238" y="157"/>
                  </a:lnTo>
                  <a:lnTo>
                    <a:pt x="238" y="155"/>
                  </a:lnTo>
                  <a:lnTo>
                    <a:pt x="238" y="154"/>
                  </a:lnTo>
                  <a:lnTo>
                    <a:pt x="237" y="154"/>
                  </a:lnTo>
                  <a:lnTo>
                    <a:pt x="237" y="155"/>
                  </a:lnTo>
                  <a:lnTo>
                    <a:pt x="237" y="157"/>
                  </a:lnTo>
                  <a:lnTo>
                    <a:pt x="236" y="155"/>
                  </a:lnTo>
                  <a:lnTo>
                    <a:pt x="235" y="154"/>
                  </a:lnTo>
                  <a:lnTo>
                    <a:pt x="235" y="155"/>
                  </a:lnTo>
                  <a:lnTo>
                    <a:pt x="233" y="155"/>
                  </a:lnTo>
                  <a:lnTo>
                    <a:pt x="233" y="154"/>
                  </a:lnTo>
                  <a:lnTo>
                    <a:pt x="232" y="154"/>
                  </a:lnTo>
                  <a:lnTo>
                    <a:pt x="231" y="151"/>
                  </a:lnTo>
                  <a:lnTo>
                    <a:pt x="231" y="152"/>
                  </a:lnTo>
                  <a:lnTo>
                    <a:pt x="231" y="153"/>
                  </a:lnTo>
                  <a:lnTo>
                    <a:pt x="230" y="153"/>
                  </a:lnTo>
                  <a:lnTo>
                    <a:pt x="229" y="153"/>
                  </a:lnTo>
                  <a:lnTo>
                    <a:pt x="229" y="152"/>
                  </a:lnTo>
                  <a:lnTo>
                    <a:pt x="227" y="152"/>
                  </a:lnTo>
                  <a:lnTo>
                    <a:pt x="226" y="151"/>
                  </a:lnTo>
                  <a:lnTo>
                    <a:pt x="225" y="149"/>
                  </a:lnTo>
                  <a:lnTo>
                    <a:pt x="225" y="148"/>
                  </a:lnTo>
                  <a:lnTo>
                    <a:pt x="224" y="147"/>
                  </a:lnTo>
                  <a:lnTo>
                    <a:pt x="223" y="147"/>
                  </a:lnTo>
                  <a:lnTo>
                    <a:pt x="224" y="146"/>
                  </a:lnTo>
                  <a:lnTo>
                    <a:pt x="224" y="145"/>
                  </a:lnTo>
                  <a:lnTo>
                    <a:pt x="221" y="146"/>
                  </a:lnTo>
                  <a:lnTo>
                    <a:pt x="221" y="145"/>
                  </a:lnTo>
                  <a:lnTo>
                    <a:pt x="224" y="143"/>
                  </a:lnTo>
                  <a:lnTo>
                    <a:pt x="224" y="142"/>
                  </a:lnTo>
                  <a:lnTo>
                    <a:pt x="223" y="142"/>
                  </a:lnTo>
                  <a:lnTo>
                    <a:pt x="223" y="143"/>
                  </a:lnTo>
                  <a:lnTo>
                    <a:pt x="221" y="143"/>
                  </a:lnTo>
                  <a:lnTo>
                    <a:pt x="220" y="143"/>
                  </a:lnTo>
                  <a:lnTo>
                    <a:pt x="219" y="143"/>
                  </a:lnTo>
                  <a:lnTo>
                    <a:pt x="219" y="142"/>
                  </a:lnTo>
                  <a:lnTo>
                    <a:pt x="218" y="142"/>
                  </a:lnTo>
                  <a:lnTo>
                    <a:pt x="218" y="143"/>
                  </a:lnTo>
                  <a:lnTo>
                    <a:pt x="216" y="142"/>
                  </a:lnTo>
                  <a:lnTo>
                    <a:pt x="218" y="142"/>
                  </a:lnTo>
                  <a:lnTo>
                    <a:pt x="219" y="141"/>
                  </a:lnTo>
                  <a:lnTo>
                    <a:pt x="220" y="140"/>
                  </a:lnTo>
                  <a:lnTo>
                    <a:pt x="221" y="140"/>
                  </a:lnTo>
                  <a:lnTo>
                    <a:pt x="224" y="139"/>
                  </a:lnTo>
                  <a:lnTo>
                    <a:pt x="220" y="139"/>
                  </a:lnTo>
                  <a:lnTo>
                    <a:pt x="220" y="137"/>
                  </a:lnTo>
                  <a:lnTo>
                    <a:pt x="219" y="137"/>
                  </a:lnTo>
                  <a:lnTo>
                    <a:pt x="216" y="140"/>
                  </a:lnTo>
                  <a:lnTo>
                    <a:pt x="215" y="140"/>
                  </a:lnTo>
                  <a:lnTo>
                    <a:pt x="215" y="139"/>
                  </a:lnTo>
                  <a:lnTo>
                    <a:pt x="218" y="136"/>
                  </a:lnTo>
                  <a:lnTo>
                    <a:pt x="216" y="136"/>
                  </a:lnTo>
                  <a:lnTo>
                    <a:pt x="215" y="136"/>
                  </a:lnTo>
                  <a:lnTo>
                    <a:pt x="212" y="139"/>
                  </a:lnTo>
                  <a:lnTo>
                    <a:pt x="210" y="137"/>
                  </a:lnTo>
                  <a:lnTo>
                    <a:pt x="214" y="135"/>
                  </a:lnTo>
                  <a:lnTo>
                    <a:pt x="212" y="135"/>
                  </a:lnTo>
                  <a:lnTo>
                    <a:pt x="208" y="135"/>
                  </a:lnTo>
                  <a:lnTo>
                    <a:pt x="208" y="136"/>
                  </a:lnTo>
                  <a:lnTo>
                    <a:pt x="207" y="135"/>
                  </a:lnTo>
                  <a:lnTo>
                    <a:pt x="208" y="135"/>
                  </a:lnTo>
                  <a:lnTo>
                    <a:pt x="208" y="134"/>
                  </a:lnTo>
                  <a:lnTo>
                    <a:pt x="207" y="134"/>
                  </a:lnTo>
                  <a:lnTo>
                    <a:pt x="207" y="131"/>
                  </a:lnTo>
                  <a:lnTo>
                    <a:pt x="204" y="131"/>
                  </a:lnTo>
                  <a:lnTo>
                    <a:pt x="203" y="131"/>
                  </a:lnTo>
                  <a:lnTo>
                    <a:pt x="204" y="130"/>
                  </a:lnTo>
                  <a:lnTo>
                    <a:pt x="204" y="129"/>
                  </a:lnTo>
                  <a:lnTo>
                    <a:pt x="203" y="129"/>
                  </a:lnTo>
                  <a:lnTo>
                    <a:pt x="200" y="129"/>
                  </a:lnTo>
                  <a:lnTo>
                    <a:pt x="198" y="130"/>
                  </a:lnTo>
                  <a:lnTo>
                    <a:pt x="197" y="129"/>
                  </a:lnTo>
                  <a:lnTo>
                    <a:pt x="200" y="128"/>
                  </a:lnTo>
                  <a:lnTo>
                    <a:pt x="201" y="128"/>
                  </a:lnTo>
                  <a:lnTo>
                    <a:pt x="200" y="125"/>
                  </a:lnTo>
                  <a:lnTo>
                    <a:pt x="197" y="124"/>
                  </a:lnTo>
                  <a:lnTo>
                    <a:pt x="198" y="124"/>
                  </a:lnTo>
                  <a:lnTo>
                    <a:pt x="200" y="124"/>
                  </a:lnTo>
                  <a:lnTo>
                    <a:pt x="202" y="125"/>
                  </a:lnTo>
                  <a:lnTo>
                    <a:pt x="206" y="127"/>
                  </a:lnTo>
                  <a:lnTo>
                    <a:pt x="207" y="128"/>
                  </a:lnTo>
                  <a:lnTo>
                    <a:pt x="207" y="129"/>
                  </a:lnTo>
                  <a:lnTo>
                    <a:pt x="207" y="130"/>
                  </a:lnTo>
                  <a:lnTo>
                    <a:pt x="208" y="129"/>
                  </a:lnTo>
                  <a:lnTo>
                    <a:pt x="207" y="128"/>
                  </a:lnTo>
                  <a:lnTo>
                    <a:pt x="208" y="128"/>
                  </a:lnTo>
                  <a:lnTo>
                    <a:pt x="209" y="129"/>
                  </a:lnTo>
                  <a:lnTo>
                    <a:pt x="209" y="130"/>
                  </a:lnTo>
                  <a:lnTo>
                    <a:pt x="212" y="130"/>
                  </a:lnTo>
                  <a:lnTo>
                    <a:pt x="212" y="131"/>
                  </a:lnTo>
                  <a:lnTo>
                    <a:pt x="213" y="130"/>
                  </a:lnTo>
                  <a:lnTo>
                    <a:pt x="214" y="129"/>
                  </a:lnTo>
                  <a:lnTo>
                    <a:pt x="214" y="128"/>
                  </a:lnTo>
                  <a:lnTo>
                    <a:pt x="215" y="129"/>
                  </a:lnTo>
                  <a:lnTo>
                    <a:pt x="215" y="131"/>
                  </a:lnTo>
                  <a:lnTo>
                    <a:pt x="215" y="134"/>
                  </a:lnTo>
                  <a:lnTo>
                    <a:pt x="218" y="135"/>
                  </a:lnTo>
                  <a:lnTo>
                    <a:pt x="218" y="133"/>
                  </a:lnTo>
                  <a:lnTo>
                    <a:pt x="219" y="133"/>
                  </a:lnTo>
                  <a:lnTo>
                    <a:pt x="219" y="134"/>
                  </a:lnTo>
                  <a:lnTo>
                    <a:pt x="220" y="134"/>
                  </a:lnTo>
                  <a:lnTo>
                    <a:pt x="220" y="135"/>
                  </a:lnTo>
                  <a:lnTo>
                    <a:pt x="221" y="136"/>
                  </a:lnTo>
                  <a:lnTo>
                    <a:pt x="225" y="136"/>
                  </a:lnTo>
                  <a:lnTo>
                    <a:pt x="226" y="134"/>
                  </a:lnTo>
                  <a:lnTo>
                    <a:pt x="226" y="135"/>
                  </a:lnTo>
                  <a:lnTo>
                    <a:pt x="226" y="136"/>
                  </a:lnTo>
                  <a:lnTo>
                    <a:pt x="233" y="141"/>
                  </a:lnTo>
                  <a:lnTo>
                    <a:pt x="236" y="142"/>
                  </a:lnTo>
                  <a:lnTo>
                    <a:pt x="238" y="142"/>
                  </a:lnTo>
                  <a:lnTo>
                    <a:pt x="239" y="142"/>
                  </a:lnTo>
                  <a:lnTo>
                    <a:pt x="241" y="143"/>
                  </a:lnTo>
                  <a:lnTo>
                    <a:pt x="241" y="145"/>
                  </a:lnTo>
                  <a:lnTo>
                    <a:pt x="242" y="145"/>
                  </a:lnTo>
                  <a:lnTo>
                    <a:pt x="243" y="143"/>
                  </a:lnTo>
                  <a:lnTo>
                    <a:pt x="245" y="143"/>
                  </a:lnTo>
                  <a:lnTo>
                    <a:pt x="245" y="145"/>
                  </a:lnTo>
                  <a:lnTo>
                    <a:pt x="248" y="145"/>
                  </a:lnTo>
                  <a:lnTo>
                    <a:pt x="249" y="143"/>
                  </a:lnTo>
                  <a:lnTo>
                    <a:pt x="251" y="142"/>
                  </a:lnTo>
                  <a:lnTo>
                    <a:pt x="254" y="141"/>
                  </a:lnTo>
                  <a:lnTo>
                    <a:pt x="255" y="141"/>
                  </a:lnTo>
                  <a:lnTo>
                    <a:pt x="256" y="141"/>
                  </a:lnTo>
                  <a:lnTo>
                    <a:pt x="260" y="141"/>
                  </a:lnTo>
                  <a:lnTo>
                    <a:pt x="262" y="141"/>
                  </a:lnTo>
                  <a:lnTo>
                    <a:pt x="262" y="140"/>
                  </a:lnTo>
                  <a:lnTo>
                    <a:pt x="262" y="137"/>
                  </a:lnTo>
                  <a:lnTo>
                    <a:pt x="263" y="136"/>
                  </a:lnTo>
                  <a:lnTo>
                    <a:pt x="262" y="136"/>
                  </a:lnTo>
                  <a:lnTo>
                    <a:pt x="261" y="137"/>
                  </a:lnTo>
                  <a:lnTo>
                    <a:pt x="259" y="139"/>
                  </a:lnTo>
                  <a:lnTo>
                    <a:pt x="257" y="139"/>
                  </a:lnTo>
                  <a:lnTo>
                    <a:pt x="256" y="139"/>
                  </a:lnTo>
                  <a:lnTo>
                    <a:pt x="257" y="137"/>
                  </a:lnTo>
                  <a:lnTo>
                    <a:pt x="260" y="136"/>
                  </a:lnTo>
                  <a:lnTo>
                    <a:pt x="261" y="135"/>
                  </a:lnTo>
                  <a:lnTo>
                    <a:pt x="262" y="135"/>
                  </a:lnTo>
                  <a:lnTo>
                    <a:pt x="262" y="134"/>
                  </a:lnTo>
                  <a:lnTo>
                    <a:pt x="261" y="134"/>
                  </a:lnTo>
                  <a:lnTo>
                    <a:pt x="261" y="133"/>
                  </a:lnTo>
                  <a:lnTo>
                    <a:pt x="262" y="131"/>
                  </a:lnTo>
                  <a:lnTo>
                    <a:pt x="261" y="130"/>
                  </a:lnTo>
                  <a:lnTo>
                    <a:pt x="260" y="130"/>
                  </a:lnTo>
                  <a:lnTo>
                    <a:pt x="259" y="129"/>
                  </a:lnTo>
                  <a:lnTo>
                    <a:pt x="257" y="129"/>
                  </a:lnTo>
                  <a:lnTo>
                    <a:pt x="259" y="129"/>
                  </a:lnTo>
                  <a:lnTo>
                    <a:pt x="261" y="129"/>
                  </a:lnTo>
                  <a:lnTo>
                    <a:pt x="265" y="130"/>
                  </a:lnTo>
                  <a:lnTo>
                    <a:pt x="266" y="130"/>
                  </a:lnTo>
                  <a:lnTo>
                    <a:pt x="271" y="125"/>
                  </a:lnTo>
                  <a:lnTo>
                    <a:pt x="272" y="127"/>
                  </a:lnTo>
                  <a:lnTo>
                    <a:pt x="273" y="125"/>
                  </a:lnTo>
                  <a:lnTo>
                    <a:pt x="273" y="124"/>
                  </a:lnTo>
                  <a:lnTo>
                    <a:pt x="274" y="123"/>
                  </a:lnTo>
                  <a:lnTo>
                    <a:pt x="277" y="123"/>
                  </a:lnTo>
                  <a:lnTo>
                    <a:pt x="277" y="122"/>
                  </a:lnTo>
                  <a:lnTo>
                    <a:pt x="278" y="122"/>
                  </a:lnTo>
                  <a:lnTo>
                    <a:pt x="279" y="120"/>
                  </a:lnTo>
                  <a:lnTo>
                    <a:pt x="279" y="119"/>
                  </a:lnTo>
                  <a:lnTo>
                    <a:pt x="279" y="117"/>
                  </a:lnTo>
                  <a:lnTo>
                    <a:pt x="279" y="116"/>
                  </a:lnTo>
                  <a:lnTo>
                    <a:pt x="278" y="116"/>
                  </a:lnTo>
                  <a:lnTo>
                    <a:pt x="279" y="114"/>
                  </a:lnTo>
                  <a:lnTo>
                    <a:pt x="279" y="113"/>
                  </a:lnTo>
                  <a:lnTo>
                    <a:pt x="277" y="112"/>
                  </a:lnTo>
                  <a:lnTo>
                    <a:pt x="277" y="111"/>
                  </a:lnTo>
                  <a:lnTo>
                    <a:pt x="275" y="112"/>
                  </a:lnTo>
                  <a:lnTo>
                    <a:pt x="275" y="113"/>
                  </a:lnTo>
                  <a:lnTo>
                    <a:pt x="274" y="113"/>
                  </a:lnTo>
                  <a:lnTo>
                    <a:pt x="273" y="114"/>
                  </a:lnTo>
                  <a:lnTo>
                    <a:pt x="272" y="114"/>
                  </a:lnTo>
                  <a:lnTo>
                    <a:pt x="272" y="117"/>
                  </a:lnTo>
                  <a:lnTo>
                    <a:pt x="271" y="116"/>
                  </a:lnTo>
                  <a:lnTo>
                    <a:pt x="271" y="114"/>
                  </a:lnTo>
                  <a:lnTo>
                    <a:pt x="271" y="113"/>
                  </a:lnTo>
                  <a:lnTo>
                    <a:pt x="269" y="113"/>
                  </a:lnTo>
                  <a:lnTo>
                    <a:pt x="267" y="117"/>
                  </a:lnTo>
                  <a:lnTo>
                    <a:pt x="266" y="117"/>
                  </a:lnTo>
                  <a:lnTo>
                    <a:pt x="266" y="116"/>
                  </a:lnTo>
                  <a:lnTo>
                    <a:pt x="269" y="113"/>
                  </a:lnTo>
                  <a:lnTo>
                    <a:pt x="269" y="112"/>
                  </a:lnTo>
                  <a:lnTo>
                    <a:pt x="268" y="112"/>
                  </a:lnTo>
                  <a:lnTo>
                    <a:pt x="267" y="112"/>
                  </a:lnTo>
                  <a:lnTo>
                    <a:pt x="266" y="112"/>
                  </a:lnTo>
                  <a:lnTo>
                    <a:pt x="266" y="113"/>
                  </a:lnTo>
                  <a:lnTo>
                    <a:pt x="265" y="113"/>
                  </a:lnTo>
                  <a:lnTo>
                    <a:pt x="263" y="112"/>
                  </a:lnTo>
                  <a:lnTo>
                    <a:pt x="263" y="111"/>
                  </a:lnTo>
                  <a:lnTo>
                    <a:pt x="263" y="110"/>
                  </a:lnTo>
                  <a:lnTo>
                    <a:pt x="263" y="108"/>
                  </a:lnTo>
                  <a:lnTo>
                    <a:pt x="261" y="108"/>
                  </a:lnTo>
                  <a:lnTo>
                    <a:pt x="262" y="108"/>
                  </a:lnTo>
                  <a:lnTo>
                    <a:pt x="262" y="107"/>
                  </a:lnTo>
                  <a:lnTo>
                    <a:pt x="261" y="107"/>
                  </a:lnTo>
                  <a:lnTo>
                    <a:pt x="261" y="106"/>
                  </a:lnTo>
                  <a:lnTo>
                    <a:pt x="262" y="105"/>
                  </a:lnTo>
                  <a:lnTo>
                    <a:pt x="263" y="105"/>
                  </a:lnTo>
                  <a:lnTo>
                    <a:pt x="263" y="106"/>
                  </a:lnTo>
                  <a:lnTo>
                    <a:pt x="265" y="106"/>
                  </a:lnTo>
                  <a:lnTo>
                    <a:pt x="265" y="105"/>
                  </a:lnTo>
                  <a:lnTo>
                    <a:pt x="263" y="102"/>
                  </a:lnTo>
                  <a:lnTo>
                    <a:pt x="262" y="101"/>
                  </a:lnTo>
                  <a:lnTo>
                    <a:pt x="261" y="100"/>
                  </a:lnTo>
                  <a:lnTo>
                    <a:pt x="260" y="102"/>
                  </a:lnTo>
                  <a:lnTo>
                    <a:pt x="259" y="102"/>
                  </a:lnTo>
                  <a:lnTo>
                    <a:pt x="259" y="101"/>
                  </a:lnTo>
                  <a:lnTo>
                    <a:pt x="260" y="101"/>
                  </a:lnTo>
                  <a:lnTo>
                    <a:pt x="260" y="100"/>
                  </a:lnTo>
                  <a:lnTo>
                    <a:pt x="259" y="100"/>
                  </a:lnTo>
                  <a:lnTo>
                    <a:pt x="259" y="95"/>
                  </a:lnTo>
                  <a:lnTo>
                    <a:pt x="257" y="95"/>
                  </a:lnTo>
                  <a:lnTo>
                    <a:pt x="257" y="96"/>
                  </a:lnTo>
                  <a:lnTo>
                    <a:pt x="256" y="98"/>
                  </a:lnTo>
                  <a:lnTo>
                    <a:pt x="255" y="100"/>
                  </a:lnTo>
                  <a:lnTo>
                    <a:pt x="253" y="99"/>
                  </a:lnTo>
                  <a:lnTo>
                    <a:pt x="254" y="99"/>
                  </a:lnTo>
                  <a:lnTo>
                    <a:pt x="254" y="98"/>
                  </a:lnTo>
                  <a:lnTo>
                    <a:pt x="253" y="96"/>
                  </a:lnTo>
                  <a:lnTo>
                    <a:pt x="254" y="96"/>
                  </a:lnTo>
                  <a:lnTo>
                    <a:pt x="255" y="96"/>
                  </a:lnTo>
                  <a:lnTo>
                    <a:pt x="256" y="95"/>
                  </a:lnTo>
                  <a:lnTo>
                    <a:pt x="255" y="95"/>
                  </a:lnTo>
                  <a:lnTo>
                    <a:pt x="254" y="95"/>
                  </a:lnTo>
                  <a:lnTo>
                    <a:pt x="253" y="94"/>
                  </a:lnTo>
                  <a:lnTo>
                    <a:pt x="256" y="94"/>
                  </a:lnTo>
                  <a:lnTo>
                    <a:pt x="257" y="94"/>
                  </a:lnTo>
                  <a:lnTo>
                    <a:pt x="259" y="93"/>
                  </a:lnTo>
                  <a:lnTo>
                    <a:pt x="256" y="92"/>
                  </a:lnTo>
                  <a:lnTo>
                    <a:pt x="254" y="93"/>
                  </a:lnTo>
                  <a:lnTo>
                    <a:pt x="253" y="92"/>
                  </a:lnTo>
                  <a:lnTo>
                    <a:pt x="255" y="90"/>
                  </a:lnTo>
                  <a:lnTo>
                    <a:pt x="254" y="90"/>
                  </a:lnTo>
                  <a:lnTo>
                    <a:pt x="250" y="92"/>
                  </a:lnTo>
                  <a:lnTo>
                    <a:pt x="249" y="92"/>
                  </a:lnTo>
                  <a:lnTo>
                    <a:pt x="249" y="90"/>
                  </a:lnTo>
                  <a:lnTo>
                    <a:pt x="251" y="89"/>
                  </a:lnTo>
                  <a:lnTo>
                    <a:pt x="251" y="88"/>
                  </a:lnTo>
                  <a:lnTo>
                    <a:pt x="250" y="88"/>
                  </a:lnTo>
                  <a:lnTo>
                    <a:pt x="249" y="88"/>
                  </a:lnTo>
                  <a:lnTo>
                    <a:pt x="250" y="88"/>
                  </a:lnTo>
                  <a:lnTo>
                    <a:pt x="249" y="87"/>
                  </a:lnTo>
                  <a:lnTo>
                    <a:pt x="248" y="88"/>
                  </a:lnTo>
                  <a:lnTo>
                    <a:pt x="245" y="88"/>
                  </a:lnTo>
                  <a:lnTo>
                    <a:pt x="244" y="88"/>
                  </a:lnTo>
                  <a:lnTo>
                    <a:pt x="243" y="89"/>
                  </a:lnTo>
                  <a:lnTo>
                    <a:pt x="242" y="88"/>
                  </a:lnTo>
                  <a:lnTo>
                    <a:pt x="242" y="87"/>
                  </a:lnTo>
                  <a:lnTo>
                    <a:pt x="242" y="86"/>
                  </a:lnTo>
                  <a:lnTo>
                    <a:pt x="243" y="86"/>
                  </a:lnTo>
                  <a:lnTo>
                    <a:pt x="244" y="86"/>
                  </a:lnTo>
                  <a:lnTo>
                    <a:pt x="247" y="86"/>
                  </a:lnTo>
                  <a:lnTo>
                    <a:pt x="247" y="84"/>
                  </a:lnTo>
                  <a:lnTo>
                    <a:pt x="244" y="83"/>
                  </a:lnTo>
                  <a:lnTo>
                    <a:pt x="243" y="84"/>
                  </a:lnTo>
                  <a:lnTo>
                    <a:pt x="242" y="84"/>
                  </a:lnTo>
                  <a:lnTo>
                    <a:pt x="241" y="86"/>
                  </a:lnTo>
                  <a:lnTo>
                    <a:pt x="239" y="84"/>
                  </a:lnTo>
                  <a:lnTo>
                    <a:pt x="241" y="83"/>
                  </a:lnTo>
                  <a:lnTo>
                    <a:pt x="241" y="82"/>
                  </a:lnTo>
                  <a:lnTo>
                    <a:pt x="239" y="83"/>
                  </a:lnTo>
                  <a:lnTo>
                    <a:pt x="237" y="83"/>
                  </a:lnTo>
                  <a:lnTo>
                    <a:pt x="237" y="84"/>
                  </a:lnTo>
                  <a:lnTo>
                    <a:pt x="236" y="83"/>
                  </a:lnTo>
                  <a:lnTo>
                    <a:pt x="237" y="83"/>
                  </a:lnTo>
                  <a:lnTo>
                    <a:pt x="238" y="82"/>
                  </a:lnTo>
                  <a:lnTo>
                    <a:pt x="237" y="81"/>
                  </a:lnTo>
                  <a:lnTo>
                    <a:pt x="236" y="82"/>
                  </a:lnTo>
                  <a:lnTo>
                    <a:pt x="235" y="82"/>
                  </a:lnTo>
                  <a:lnTo>
                    <a:pt x="233" y="82"/>
                  </a:lnTo>
                  <a:lnTo>
                    <a:pt x="232" y="82"/>
                  </a:lnTo>
                  <a:lnTo>
                    <a:pt x="231" y="83"/>
                  </a:lnTo>
                  <a:lnTo>
                    <a:pt x="230" y="82"/>
                  </a:lnTo>
                  <a:lnTo>
                    <a:pt x="232" y="81"/>
                  </a:lnTo>
                  <a:lnTo>
                    <a:pt x="233" y="81"/>
                  </a:lnTo>
                  <a:lnTo>
                    <a:pt x="226" y="76"/>
                  </a:lnTo>
                  <a:lnTo>
                    <a:pt x="225" y="75"/>
                  </a:lnTo>
                  <a:lnTo>
                    <a:pt x="229" y="76"/>
                  </a:lnTo>
                  <a:lnTo>
                    <a:pt x="233" y="78"/>
                  </a:lnTo>
                  <a:lnTo>
                    <a:pt x="235" y="78"/>
                  </a:lnTo>
                  <a:lnTo>
                    <a:pt x="236" y="78"/>
                  </a:lnTo>
                  <a:lnTo>
                    <a:pt x="233" y="77"/>
                  </a:lnTo>
                  <a:lnTo>
                    <a:pt x="233" y="76"/>
                  </a:lnTo>
                  <a:lnTo>
                    <a:pt x="237" y="78"/>
                  </a:lnTo>
                  <a:lnTo>
                    <a:pt x="237" y="80"/>
                  </a:lnTo>
                  <a:lnTo>
                    <a:pt x="238" y="80"/>
                  </a:lnTo>
                  <a:lnTo>
                    <a:pt x="239" y="78"/>
                  </a:lnTo>
                  <a:lnTo>
                    <a:pt x="241" y="80"/>
                  </a:lnTo>
                  <a:lnTo>
                    <a:pt x="241" y="81"/>
                  </a:lnTo>
                  <a:lnTo>
                    <a:pt x="242" y="81"/>
                  </a:lnTo>
                  <a:lnTo>
                    <a:pt x="242" y="80"/>
                  </a:lnTo>
                  <a:lnTo>
                    <a:pt x="243" y="80"/>
                  </a:lnTo>
                  <a:lnTo>
                    <a:pt x="243" y="81"/>
                  </a:lnTo>
                  <a:lnTo>
                    <a:pt x="244" y="82"/>
                  </a:lnTo>
                  <a:lnTo>
                    <a:pt x="244" y="83"/>
                  </a:lnTo>
                  <a:lnTo>
                    <a:pt x="245" y="83"/>
                  </a:lnTo>
                  <a:lnTo>
                    <a:pt x="247" y="83"/>
                  </a:lnTo>
                  <a:lnTo>
                    <a:pt x="248" y="83"/>
                  </a:lnTo>
                  <a:lnTo>
                    <a:pt x="247" y="82"/>
                  </a:lnTo>
                  <a:lnTo>
                    <a:pt x="245" y="82"/>
                  </a:lnTo>
                  <a:lnTo>
                    <a:pt x="245" y="81"/>
                  </a:lnTo>
                  <a:lnTo>
                    <a:pt x="247" y="81"/>
                  </a:lnTo>
                  <a:lnTo>
                    <a:pt x="247" y="80"/>
                  </a:lnTo>
                  <a:lnTo>
                    <a:pt x="248" y="80"/>
                  </a:lnTo>
                  <a:lnTo>
                    <a:pt x="249" y="81"/>
                  </a:lnTo>
                  <a:lnTo>
                    <a:pt x="249" y="82"/>
                  </a:lnTo>
                  <a:lnTo>
                    <a:pt x="250" y="83"/>
                  </a:lnTo>
                  <a:lnTo>
                    <a:pt x="251" y="83"/>
                  </a:lnTo>
                  <a:lnTo>
                    <a:pt x="251" y="84"/>
                  </a:lnTo>
                  <a:lnTo>
                    <a:pt x="253" y="86"/>
                  </a:lnTo>
                  <a:lnTo>
                    <a:pt x="253" y="87"/>
                  </a:lnTo>
                  <a:lnTo>
                    <a:pt x="254" y="88"/>
                  </a:lnTo>
                  <a:lnTo>
                    <a:pt x="255" y="86"/>
                  </a:lnTo>
                  <a:lnTo>
                    <a:pt x="256" y="86"/>
                  </a:lnTo>
                  <a:lnTo>
                    <a:pt x="256" y="87"/>
                  </a:lnTo>
                  <a:lnTo>
                    <a:pt x="255" y="88"/>
                  </a:lnTo>
                  <a:lnTo>
                    <a:pt x="256" y="89"/>
                  </a:lnTo>
                  <a:lnTo>
                    <a:pt x="257" y="89"/>
                  </a:lnTo>
                  <a:lnTo>
                    <a:pt x="257" y="90"/>
                  </a:lnTo>
                  <a:lnTo>
                    <a:pt x="259" y="92"/>
                  </a:lnTo>
                  <a:lnTo>
                    <a:pt x="260" y="92"/>
                  </a:lnTo>
                  <a:lnTo>
                    <a:pt x="261" y="92"/>
                  </a:lnTo>
                  <a:lnTo>
                    <a:pt x="262" y="92"/>
                  </a:lnTo>
                  <a:lnTo>
                    <a:pt x="262" y="89"/>
                  </a:lnTo>
                  <a:lnTo>
                    <a:pt x="261" y="90"/>
                  </a:lnTo>
                  <a:lnTo>
                    <a:pt x="260" y="90"/>
                  </a:lnTo>
                  <a:lnTo>
                    <a:pt x="260" y="89"/>
                  </a:lnTo>
                  <a:lnTo>
                    <a:pt x="261" y="89"/>
                  </a:lnTo>
                  <a:lnTo>
                    <a:pt x="261" y="88"/>
                  </a:lnTo>
                  <a:lnTo>
                    <a:pt x="260" y="87"/>
                  </a:lnTo>
                  <a:lnTo>
                    <a:pt x="261" y="87"/>
                  </a:lnTo>
                  <a:lnTo>
                    <a:pt x="262" y="88"/>
                  </a:lnTo>
                  <a:lnTo>
                    <a:pt x="263" y="89"/>
                  </a:lnTo>
                  <a:lnTo>
                    <a:pt x="263" y="88"/>
                  </a:lnTo>
                  <a:lnTo>
                    <a:pt x="265" y="87"/>
                  </a:lnTo>
                  <a:lnTo>
                    <a:pt x="266" y="87"/>
                  </a:lnTo>
                  <a:lnTo>
                    <a:pt x="266" y="88"/>
                  </a:lnTo>
                  <a:lnTo>
                    <a:pt x="265" y="88"/>
                  </a:lnTo>
                  <a:lnTo>
                    <a:pt x="265" y="89"/>
                  </a:lnTo>
                  <a:lnTo>
                    <a:pt x="266" y="90"/>
                  </a:lnTo>
                  <a:lnTo>
                    <a:pt x="267" y="90"/>
                  </a:lnTo>
                  <a:lnTo>
                    <a:pt x="266" y="90"/>
                  </a:lnTo>
                  <a:lnTo>
                    <a:pt x="265" y="90"/>
                  </a:lnTo>
                  <a:lnTo>
                    <a:pt x="263" y="92"/>
                  </a:lnTo>
                  <a:lnTo>
                    <a:pt x="263" y="93"/>
                  </a:lnTo>
                  <a:lnTo>
                    <a:pt x="262" y="94"/>
                  </a:lnTo>
                  <a:lnTo>
                    <a:pt x="265" y="94"/>
                  </a:lnTo>
                  <a:lnTo>
                    <a:pt x="265" y="95"/>
                  </a:lnTo>
                  <a:lnTo>
                    <a:pt x="267" y="96"/>
                  </a:lnTo>
                  <a:lnTo>
                    <a:pt x="269" y="98"/>
                  </a:lnTo>
                  <a:lnTo>
                    <a:pt x="271" y="99"/>
                  </a:lnTo>
                  <a:lnTo>
                    <a:pt x="273" y="100"/>
                  </a:lnTo>
                  <a:lnTo>
                    <a:pt x="274" y="101"/>
                  </a:lnTo>
                  <a:lnTo>
                    <a:pt x="275" y="101"/>
                  </a:lnTo>
                  <a:lnTo>
                    <a:pt x="278" y="101"/>
                  </a:lnTo>
                  <a:lnTo>
                    <a:pt x="278" y="100"/>
                  </a:lnTo>
                  <a:lnTo>
                    <a:pt x="279" y="98"/>
                  </a:lnTo>
                  <a:lnTo>
                    <a:pt x="280" y="96"/>
                  </a:lnTo>
                  <a:lnTo>
                    <a:pt x="280" y="95"/>
                  </a:lnTo>
                  <a:lnTo>
                    <a:pt x="279" y="95"/>
                  </a:lnTo>
                  <a:lnTo>
                    <a:pt x="279" y="96"/>
                  </a:lnTo>
                  <a:lnTo>
                    <a:pt x="275" y="96"/>
                  </a:lnTo>
                  <a:lnTo>
                    <a:pt x="277" y="95"/>
                  </a:lnTo>
                  <a:lnTo>
                    <a:pt x="278" y="95"/>
                  </a:lnTo>
                  <a:lnTo>
                    <a:pt x="280" y="94"/>
                  </a:lnTo>
                  <a:lnTo>
                    <a:pt x="282" y="94"/>
                  </a:lnTo>
                  <a:lnTo>
                    <a:pt x="282" y="93"/>
                  </a:lnTo>
                  <a:lnTo>
                    <a:pt x="280" y="93"/>
                  </a:lnTo>
                  <a:lnTo>
                    <a:pt x="278" y="93"/>
                  </a:lnTo>
                  <a:lnTo>
                    <a:pt x="277" y="92"/>
                  </a:lnTo>
                  <a:lnTo>
                    <a:pt x="277" y="90"/>
                  </a:lnTo>
                  <a:lnTo>
                    <a:pt x="275" y="89"/>
                  </a:lnTo>
                  <a:lnTo>
                    <a:pt x="277" y="88"/>
                  </a:lnTo>
                  <a:lnTo>
                    <a:pt x="279" y="88"/>
                  </a:lnTo>
                  <a:lnTo>
                    <a:pt x="280" y="88"/>
                  </a:lnTo>
                  <a:lnTo>
                    <a:pt x="283" y="88"/>
                  </a:lnTo>
                  <a:lnTo>
                    <a:pt x="283" y="87"/>
                  </a:lnTo>
                  <a:lnTo>
                    <a:pt x="282" y="86"/>
                  </a:lnTo>
                  <a:lnTo>
                    <a:pt x="280" y="86"/>
                  </a:lnTo>
                  <a:lnTo>
                    <a:pt x="279" y="86"/>
                  </a:lnTo>
                  <a:lnTo>
                    <a:pt x="279" y="84"/>
                  </a:lnTo>
                  <a:lnTo>
                    <a:pt x="279" y="83"/>
                  </a:lnTo>
                  <a:lnTo>
                    <a:pt x="278" y="83"/>
                  </a:lnTo>
                  <a:lnTo>
                    <a:pt x="278" y="84"/>
                  </a:lnTo>
                  <a:lnTo>
                    <a:pt x="275" y="84"/>
                  </a:lnTo>
                  <a:lnTo>
                    <a:pt x="277" y="83"/>
                  </a:lnTo>
                  <a:lnTo>
                    <a:pt x="279" y="83"/>
                  </a:lnTo>
                  <a:lnTo>
                    <a:pt x="279" y="82"/>
                  </a:lnTo>
                  <a:lnTo>
                    <a:pt x="278" y="82"/>
                  </a:lnTo>
                  <a:lnTo>
                    <a:pt x="277" y="81"/>
                  </a:lnTo>
                  <a:lnTo>
                    <a:pt x="277" y="82"/>
                  </a:lnTo>
                  <a:lnTo>
                    <a:pt x="275" y="82"/>
                  </a:lnTo>
                  <a:lnTo>
                    <a:pt x="273" y="82"/>
                  </a:lnTo>
                  <a:lnTo>
                    <a:pt x="272" y="82"/>
                  </a:lnTo>
                  <a:lnTo>
                    <a:pt x="271" y="83"/>
                  </a:lnTo>
                  <a:lnTo>
                    <a:pt x="269" y="84"/>
                  </a:lnTo>
                  <a:lnTo>
                    <a:pt x="269" y="83"/>
                  </a:lnTo>
                  <a:lnTo>
                    <a:pt x="268" y="83"/>
                  </a:lnTo>
                  <a:lnTo>
                    <a:pt x="269" y="82"/>
                  </a:lnTo>
                  <a:lnTo>
                    <a:pt x="272" y="81"/>
                  </a:lnTo>
                  <a:lnTo>
                    <a:pt x="271" y="80"/>
                  </a:lnTo>
                  <a:lnTo>
                    <a:pt x="271" y="81"/>
                  </a:lnTo>
                  <a:lnTo>
                    <a:pt x="269" y="81"/>
                  </a:lnTo>
                  <a:lnTo>
                    <a:pt x="269" y="80"/>
                  </a:lnTo>
                  <a:lnTo>
                    <a:pt x="271" y="78"/>
                  </a:lnTo>
                  <a:lnTo>
                    <a:pt x="271" y="77"/>
                  </a:lnTo>
                  <a:lnTo>
                    <a:pt x="269" y="77"/>
                  </a:lnTo>
                  <a:lnTo>
                    <a:pt x="268" y="77"/>
                  </a:lnTo>
                  <a:lnTo>
                    <a:pt x="268" y="78"/>
                  </a:lnTo>
                  <a:lnTo>
                    <a:pt x="268" y="80"/>
                  </a:lnTo>
                  <a:lnTo>
                    <a:pt x="268" y="81"/>
                  </a:lnTo>
                  <a:lnTo>
                    <a:pt x="267" y="81"/>
                  </a:lnTo>
                  <a:lnTo>
                    <a:pt x="266" y="80"/>
                  </a:lnTo>
                  <a:lnTo>
                    <a:pt x="266" y="78"/>
                  </a:lnTo>
                  <a:lnTo>
                    <a:pt x="265" y="78"/>
                  </a:lnTo>
                  <a:lnTo>
                    <a:pt x="263" y="77"/>
                  </a:lnTo>
                  <a:lnTo>
                    <a:pt x="265" y="77"/>
                  </a:lnTo>
                  <a:lnTo>
                    <a:pt x="267" y="76"/>
                  </a:lnTo>
                  <a:lnTo>
                    <a:pt x="266" y="76"/>
                  </a:lnTo>
                  <a:lnTo>
                    <a:pt x="265" y="76"/>
                  </a:lnTo>
                  <a:lnTo>
                    <a:pt x="265" y="75"/>
                  </a:lnTo>
                  <a:lnTo>
                    <a:pt x="263" y="75"/>
                  </a:lnTo>
                  <a:lnTo>
                    <a:pt x="263" y="74"/>
                  </a:lnTo>
                  <a:lnTo>
                    <a:pt x="261" y="72"/>
                  </a:lnTo>
                  <a:lnTo>
                    <a:pt x="260" y="72"/>
                  </a:lnTo>
                  <a:lnTo>
                    <a:pt x="259" y="72"/>
                  </a:lnTo>
                  <a:lnTo>
                    <a:pt x="257" y="72"/>
                  </a:lnTo>
                  <a:lnTo>
                    <a:pt x="259" y="71"/>
                  </a:lnTo>
                  <a:lnTo>
                    <a:pt x="260" y="70"/>
                  </a:lnTo>
                  <a:lnTo>
                    <a:pt x="261" y="70"/>
                  </a:lnTo>
                  <a:lnTo>
                    <a:pt x="261" y="69"/>
                  </a:lnTo>
                  <a:lnTo>
                    <a:pt x="260" y="69"/>
                  </a:lnTo>
                  <a:lnTo>
                    <a:pt x="259" y="68"/>
                  </a:lnTo>
                  <a:lnTo>
                    <a:pt x="257" y="68"/>
                  </a:lnTo>
                  <a:lnTo>
                    <a:pt x="257" y="69"/>
                  </a:lnTo>
                  <a:lnTo>
                    <a:pt x="254" y="68"/>
                  </a:lnTo>
                  <a:lnTo>
                    <a:pt x="253" y="69"/>
                  </a:lnTo>
                  <a:lnTo>
                    <a:pt x="250" y="69"/>
                  </a:lnTo>
                  <a:lnTo>
                    <a:pt x="249" y="69"/>
                  </a:lnTo>
                  <a:lnTo>
                    <a:pt x="248" y="69"/>
                  </a:lnTo>
                  <a:lnTo>
                    <a:pt x="248" y="68"/>
                  </a:lnTo>
                  <a:lnTo>
                    <a:pt x="249" y="66"/>
                  </a:lnTo>
                  <a:lnTo>
                    <a:pt x="250" y="66"/>
                  </a:lnTo>
                  <a:lnTo>
                    <a:pt x="251" y="66"/>
                  </a:lnTo>
                  <a:lnTo>
                    <a:pt x="253" y="66"/>
                  </a:lnTo>
                  <a:lnTo>
                    <a:pt x="253" y="65"/>
                  </a:lnTo>
                  <a:lnTo>
                    <a:pt x="251" y="65"/>
                  </a:lnTo>
                  <a:lnTo>
                    <a:pt x="250" y="65"/>
                  </a:lnTo>
                  <a:lnTo>
                    <a:pt x="250" y="66"/>
                  </a:lnTo>
                  <a:lnTo>
                    <a:pt x="248" y="68"/>
                  </a:lnTo>
                  <a:lnTo>
                    <a:pt x="247" y="66"/>
                  </a:lnTo>
                  <a:lnTo>
                    <a:pt x="248" y="65"/>
                  </a:lnTo>
                  <a:lnTo>
                    <a:pt x="249" y="65"/>
                  </a:lnTo>
                  <a:lnTo>
                    <a:pt x="250" y="64"/>
                  </a:lnTo>
                  <a:lnTo>
                    <a:pt x="248" y="64"/>
                  </a:lnTo>
                  <a:lnTo>
                    <a:pt x="247" y="64"/>
                  </a:lnTo>
                  <a:lnTo>
                    <a:pt x="245" y="65"/>
                  </a:lnTo>
                  <a:lnTo>
                    <a:pt x="244" y="65"/>
                  </a:lnTo>
                  <a:lnTo>
                    <a:pt x="245" y="64"/>
                  </a:lnTo>
                  <a:lnTo>
                    <a:pt x="245" y="63"/>
                  </a:lnTo>
                  <a:lnTo>
                    <a:pt x="245" y="62"/>
                  </a:lnTo>
                  <a:lnTo>
                    <a:pt x="245" y="63"/>
                  </a:lnTo>
                  <a:lnTo>
                    <a:pt x="244" y="63"/>
                  </a:lnTo>
                  <a:lnTo>
                    <a:pt x="243" y="63"/>
                  </a:lnTo>
                  <a:lnTo>
                    <a:pt x="241" y="64"/>
                  </a:lnTo>
                  <a:lnTo>
                    <a:pt x="239" y="63"/>
                  </a:lnTo>
                  <a:lnTo>
                    <a:pt x="241" y="63"/>
                  </a:lnTo>
                  <a:lnTo>
                    <a:pt x="241" y="62"/>
                  </a:lnTo>
                  <a:lnTo>
                    <a:pt x="242" y="62"/>
                  </a:lnTo>
                  <a:lnTo>
                    <a:pt x="243" y="62"/>
                  </a:lnTo>
                  <a:lnTo>
                    <a:pt x="242" y="60"/>
                  </a:lnTo>
                  <a:lnTo>
                    <a:pt x="237" y="58"/>
                  </a:lnTo>
                  <a:lnTo>
                    <a:pt x="236" y="57"/>
                  </a:lnTo>
                  <a:lnTo>
                    <a:pt x="237" y="57"/>
                  </a:lnTo>
                  <a:lnTo>
                    <a:pt x="239" y="58"/>
                  </a:lnTo>
                  <a:lnTo>
                    <a:pt x="243" y="59"/>
                  </a:lnTo>
                  <a:lnTo>
                    <a:pt x="242" y="58"/>
                  </a:lnTo>
                  <a:lnTo>
                    <a:pt x="241" y="58"/>
                  </a:lnTo>
                  <a:lnTo>
                    <a:pt x="242" y="57"/>
                  </a:lnTo>
                  <a:lnTo>
                    <a:pt x="243" y="57"/>
                  </a:lnTo>
                  <a:lnTo>
                    <a:pt x="244" y="58"/>
                  </a:lnTo>
                  <a:lnTo>
                    <a:pt x="245" y="59"/>
                  </a:lnTo>
                  <a:lnTo>
                    <a:pt x="248" y="60"/>
                  </a:lnTo>
                  <a:lnTo>
                    <a:pt x="249" y="60"/>
                  </a:lnTo>
                  <a:lnTo>
                    <a:pt x="249" y="62"/>
                  </a:lnTo>
                  <a:lnTo>
                    <a:pt x="250" y="62"/>
                  </a:lnTo>
                  <a:lnTo>
                    <a:pt x="250" y="60"/>
                  </a:lnTo>
                  <a:lnTo>
                    <a:pt x="251" y="59"/>
                  </a:lnTo>
                  <a:lnTo>
                    <a:pt x="253" y="60"/>
                  </a:lnTo>
                  <a:lnTo>
                    <a:pt x="253" y="62"/>
                  </a:lnTo>
                  <a:lnTo>
                    <a:pt x="254" y="62"/>
                  </a:lnTo>
                  <a:lnTo>
                    <a:pt x="255" y="63"/>
                  </a:lnTo>
                  <a:lnTo>
                    <a:pt x="256" y="64"/>
                  </a:lnTo>
                  <a:lnTo>
                    <a:pt x="256" y="63"/>
                  </a:lnTo>
                  <a:lnTo>
                    <a:pt x="255" y="62"/>
                  </a:lnTo>
                  <a:lnTo>
                    <a:pt x="255" y="60"/>
                  </a:lnTo>
                  <a:lnTo>
                    <a:pt x="256" y="60"/>
                  </a:lnTo>
                  <a:lnTo>
                    <a:pt x="257" y="60"/>
                  </a:lnTo>
                  <a:lnTo>
                    <a:pt x="259" y="60"/>
                  </a:lnTo>
                  <a:lnTo>
                    <a:pt x="259" y="62"/>
                  </a:lnTo>
                  <a:lnTo>
                    <a:pt x="260" y="63"/>
                  </a:lnTo>
                  <a:lnTo>
                    <a:pt x="260" y="64"/>
                  </a:lnTo>
                  <a:lnTo>
                    <a:pt x="259" y="63"/>
                  </a:lnTo>
                  <a:lnTo>
                    <a:pt x="259" y="64"/>
                  </a:lnTo>
                  <a:lnTo>
                    <a:pt x="260" y="64"/>
                  </a:lnTo>
                  <a:lnTo>
                    <a:pt x="261" y="64"/>
                  </a:lnTo>
                  <a:lnTo>
                    <a:pt x="262" y="65"/>
                  </a:lnTo>
                  <a:lnTo>
                    <a:pt x="263" y="66"/>
                  </a:lnTo>
                  <a:lnTo>
                    <a:pt x="265" y="66"/>
                  </a:lnTo>
                  <a:lnTo>
                    <a:pt x="266" y="68"/>
                  </a:lnTo>
                  <a:lnTo>
                    <a:pt x="267" y="66"/>
                  </a:lnTo>
                  <a:lnTo>
                    <a:pt x="268" y="66"/>
                  </a:lnTo>
                  <a:lnTo>
                    <a:pt x="269" y="68"/>
                  </a:lnTo>
                  <a:lnTo>
                    <a:pt x="271" y="68"/>
                  </a:lnTo>
                  <a:lnTo>
                    <a:pt x="271" y="69"/>
                  </a:lnTo>
                  <a:lnTo>
                    <a:pt x="272" y="70"/>
                  </a:lnTo>
                  <a:lnTo>
                    <a:pt x="273" y="71"/>
                  </a:lnTo>
                  <a:lnTo>
                    <a:pt x="274" y="72"/>
                  </a:lnTo>
                  <a:lnTo>
                    <a:pt x="275" y="72"/>
                  </a:lnTo>
                  <a:lnTo>
                    <a:pt x="277" y="72"/>
                  </a:lnTo>
                  <a:lnTo>
                    <a:pt x="275" y="71"/>
                  </a:lnTo>
                  <a:lnTo>
                    <a:pt x="277" y="71"/>
                  </a:lnTo>
                  <a:lnTo>
                    <a:pt x="277" y="70"/>
                  </a:lnTo>
                  <a:lnTo>
                    <a:pt x="277" y="69"/>
                  </a:lnTo>
                  <a:lnTo>
                    <a:pt x="277" y="68"/>
                  </a:lnTo>
                  <a:lnTo>
                    <a:pt x="272" y="68"/>
                  </a:lnTo>
                  <a:lnTo>
                    <a:pt x="272" y="66"/>
                  </a:lnTo>
                  <a:lnTo>
                    <a:pt x="273" y="66"/>
                  </a:lnTo>
                  <a:lnTo>
                    <a:pt x="271" y="66"/>
                  </a:lnTo>
                  <a:lnTo>
                    <a:pt x="272" y="65"/>
                  </a:lnTo>
                  <a:lnTo>
                    <a:pt x="273" y="65"/>
                  </a:lnTo>
                  <a:lnTo>
                    <a:pt x="277" y="66"/>
                  </a:lnTo>
                  <a:lnTo>
                    <a:pt x="277" y="65"/>
                  </a:lnTo>
                  <a:lnTo>
                    <a:pt x="277" y="64"/>
                  </a:lnTo>
                  <a:lnTo>
                    <a:pt x="278" y="63"/>
                  </a:lnTo>
                  <a:lnTo>
                    <a:pt x="279" y="64"/>
                  </a:lnTo>
                  <a:lnTo>
                    <a:pt x="280" y="64"/>
                  </a:lnTo>
                  <a:lnTo>
                    <a:pt x="283" y="65"/>
                  </a:lnTo>
                  <a:lnTo>
                    <a:pt x="284" y="65"/>
                  </a:lnTo>
                  <a:lnTo>
                    <a:pt x="285" y="65"/>
                  </a:lnTo>
                  <a:lnTo>
                    <a:pt x="286" y="65"/>
                  </a:lnTo>
                  <a:lnTo>
                    <a:pt x="289" y="64"/>
                  </a:lnTo>
                  <a:lnTo>
                    <a:pt x="290" y="64"/>
                  </a:lnTo>
                  <a:lnTo>
                    <a:pt x="289" y="63"/>
                  </a:lnTo>
                  <a:lnTo>
                    <a:pt x="289" y="62"/>
                  </a:lnTo>
                  <a:lnTo>
                    <a:pt x="289" y="60"/>
                  </a:lnTo>
                  <a:lnTo>
                    <a:pt x="290" y="59"/>
                  </a:lnTo>
                  <a:lnTo>
                    <a:pt x="289" y="58"/>
                  </a:lnTo>
                  <a:lnTo>
                    <a:pt x="288" y="59"/>
                  </a:lnTo>
                  <a:lnTo>
                    <a:pt x="286" y="60"/>
                  </a:lnTo>
                  <a:lnTo>
                    <a:pt x="286" y="62"/>
                  </a:lnTo>
                  <a:lnTo>
                    <a:pt x="285" y="62"/>
                  </a:lnTo>
                  <a:lnTo>
                    <a:pt x="284" y="63"/>
                  </a:lnTo>
                  <a:lnTo>
                    <a:pt x="284" y="64"/>
                  </a:lnTo>
                  <a:lnTo>
                    <a:pt x="283" y="64"/>
                  </a:lnTo>
                  <a:lnTo>
                    <a:pt x="283" y="63"/>
                  </a:lnTo>
                  <a:lnTo>
                    <a:pt x="282" y="62"/>
                  </a:lnTo>
                  <a:lnTo>
                    <a:pt x="280" y="63"/>
                  </a:lnTo>
                  <a:lnTo>
                    <a:pt x="279" y="63"/>
                  </a:lnTo>
                  <a:lnTo>
                    <a:pt x="280" y="62"/>
                  </a:lnTo>
                  <a:lnTo>
                    <a:pt x="279" y="60"/>
                  </a:lnTo>
                  <a:lnTo>
                    <a:pt x="278" y="60"/>
                  </a:lnTo>
                  <a:lnTo>
                    <a:pt x="279" y="59"/>
                  </a:lnTo>
                  <a:lnTo>
                    <a:pt x="282" y="59"/>
                  </a:lnTo>
                  <a:lnTo>
                    <a:pt x="283" y="60"/>
                  </a:lnTo>
                  <a:lnTo>
                    <a:pt x="284" y="59"/>
                  </a:lnTo>
                  <a:lnTo>
                    <a:pt x="285" y="58"/>
                  </a:lnTo>
                  <a:lnTo>
                    <a:pt x="286" y="58"/>
                  </a:lnTo>
                  <a:lnTo>
                    <a:pt x="289" y="57"/>
                  </a:lnTo>
                  <a:lnTo>
                    <a:pt x="291" y="56"/>
                  </a:lnTo>
                  <a:lnTo>
                    <a:pt x="294" y="54"/>
                  </a:lnTo>
                  <a:lnTo>
                    <a:pt x="292" y="54"/>
                  </a:lnTo>
                  <a:lnTo>
                    <a:pt x="292" y="53"/>
                  </a:lnTo>
                  <a:lnTo>
                    <a:pt x="294" y="52"/>
                  </a:lnTo>
                  <a:lnTo>
                    <a:pt x="292" y="52"/>
                  </a:lnTo>
                  <a:lnTo>
                    <a:pt x="292" y="51"/>
                  </a:lnTo>
                  <a:lnTo>
                    <a:pt x="291" y="50"/>
                  </a:lnTo>
                  <a:lnTo>
                    <a:pt x="290" y="46"/>
                  </a:lnTo>
                  <a:lnTo>
                    <a:pt x="290" y="45"/>
                  </a:lnTo>
                  <a:lnTo>
                    <a:pt x="289" y="42"/>
                  </a:lnTo>
                  <a:lnTo>
                    <a:pt x="288" y="41"/>
                  </a:lnTo>
                  <a:lnTo>
                    <a:pt x="286" y="41"/>
                  </a:lnTo>
                  <a:lnTo>
                    <a:pt x="288" y="40"/>
                  </a:lnTo>
                  <a:lnTo>
                    <a:pt x="289" y="40"/>
                  </a:lnTo>
                  <a:lnTo>
                    <a:pt x="291" y="40"/>
                  </a:lnTo>
                  <a:lnTo>
                    <a:pt x="290" y="39"/>
                  </a:lnTo>
                  <a:lnTo>
                    <a:pt x="289" y="39"/>
                  </a:lnTo>
                  <a:lnTo>
                    <a:pt x="289" y="38"/>
                  </a:lnTo>
                  <a:lnTo>
                    <a:pt x="288" y="39"/>
                  </a:lnTo>
                  <a:lnTo>
                    <a:pt x="286" y="39"/>
                  </a:lnTo>
                  <a:lnTo>
                    <a:pt x="285" y="39"/>
                  </a:lnTo>
                  <a:lnTo>
                    <a:pt x="285" y="38"/>
                  </a:lnTo>
                  <a:lnTo>
                    <a:pt x="285" y="36"/>
                  </a:lnTo>
                  <a:lnTo>
                    <a:pt x="286" y="36"/>
                  </a:lnTo>
                  <a:lnTo>
                    <a:pt x="285" y="35"/>
                  </a:lnTo>
                  <a:lnTo>
                    <a:pt x="286" y="35"/>
                  </a:lnTo>
                  <a:lnTo>
                    <a:pt x="288" y="35"/>
                  </a:lnTo>
                  <a:lnTo>
                    <a:pt x="290" y="35"/>
                  </a:lnTo>
                  <a:lnTo>
                    <a:pt x="291" y="35"/>
                  </a:lnTo>
                  <a:lnTo>
                    <a:pt x="292" y="35"/>
                  </a:lnTo>
                  <a:lnTo>
                    <a:pt x="294" y="34"/>
                  </a:lnTo>
                  <a:lnTo>
                    <a:pt x="292" y="34"/>
                  </a:lnTo>
                  <a:lnTo>
                    <a:pt x="291" y="33"/>
                  </a:lnTo>
                  <a:lnTo>
                    <a:pt x="289" y="32"/>
                  </a:lnTo>
                  <a:lnTo>
                    <a:pt x="288" y="32"/>
                  </a:lnTo>
                  <a:lnTo>
                    <a:pt x="286" y="33"/>
                  </a:lnTo>
                  <a:lnTo>
                    <a:pt x="285" y="33"/>
                  </a:lnTo>
                  <a:lnTo>
                    <a:pt x="285" y="32"/>
                  </a:lnTo>
                  <a:lnTo>
                    <a:pt x="286" y="32"/>
                  </a:lnTo>
                  <a:lnTo>
                    <a:pt x="285" y="30"/>
                  </a:lnTo>
                  <a:lnTo>
                    <a:pt x="284" y="32"/>
                  </a:lnTo>
                  <a:lnTo>
                    <a:pt x="283" y="32"/>
                  </a:lnTo>
                  <a:lnTo>
                    <a:pt x="283" y="30"/>
                  </a:lnTo>
                  <a:lnTo>
                    <a:pt x="284" y="30"/>
                  </a:lnTo>
                  <a:lnTo>
                    <a:pt x="282" y="30"/>
                  </a:lnTo>
                  <a:lnTo>
                    <a:pt x="280" y="30"/>
                  </a:lnTo>
                  <a:lnTo>
                    <a:pt x="280" y="32"/>
                  </a:lnTo>
                  <a:lnTo>
                    <a:pt x="278" y="32"/>
                  </a:lnTo>
                  <a:lnTo>
                    <a:pt x="278" y="30"/>
                  </a:lnTo>
                  <a:lnTo>
                    <a:pt x="279" y="29"/>
                  </a:lnTo>
                  <a:lnTo>
                    <a:pt x="278" y="29"/>
                  </a:lnTo>
                  <a:lnTo>
                    <a:pt x="275" y="29"/>
                  </a:lnTo>
                  <a:lnTo>
                    <a:pt x="274" y="28"/>
                  </a:lnTo>
                  <a:lnTo>
                    <a:pt x="273" y="28"/>
                  </a:lnTo>
                  <a:lnTo>
                    <a:pt x="273" y="27"/>
                  </a:lnTo>
                  <a:lnTo>
                    <a:pt x="275" y="28"/>
                  </a:lnTo>
                  <a:lnTo>
                    <a:pt x="277" y="28"/>
                  </a:lnTo>
                  <a:lnTo>
                    <a:pt x="275" y="27"/>
                  </a:lnTo>
                  <a:lnTo>
                    <a:pt x="277" y="27"/>
                  </a:lnTo>
                  <a:lnTo>
                    <a:pt x="278" y="27"/>
                  </a:lnTo>
                  <a:lnTo>
                    <a:pt x="280" y="28"/>
                  </a:lnTo>
                  <a:lnTo>
                    <a:pt x="282" y="28"/>
                  </a:lnTo>
                  <a:lnTo>
                    <a:pt x="282" y="27"/>
                  </a:lnTo>
                  <a:lnTo>
                    <a:pt x="282" y="26"/>
                  </a:lnTo>
                  <a:lnTo>
                    <a:pt x="282" y="24"/>
                  </a:lnTo>
                  <a:lnTo>
                    <a:pt x="283" y="26"/>
                  </a:lnTo>
                  <a:lnTo>
                    <a:pt x="283" y="27"/>
                  </a:lnTo>
                  <a:lnTo>
                    <a:pt x="283" y="28"/>
                  </a:lnTo>
                  <a:lnTo>
                    <a:pt x="284" y="28"/>
                  </a:lnTo>
                  <a:lnTo>
                    <a:pt x="285" y="28"/>
                  </a:lnTo>
                  <a:lnTo>
                    <a:pt x="286" y="28"/>
                  </a:lnTo>
                  <a:lnTo>
                    <a:pt x="288" y="29"/>
                  </a:lnTo>
                  <a:lnTo>
                    <a:pt x="288" y="30"/>
                  </a:lnTo>
                  <a:lnTo>
                    <a:pt x="290" y="30"/>
                  </a:lnTo>
                  <a:lnTo>
                    <a:pt x="291" y="30"/>
                  </a:lnTo>
                  <a:lnTo>
                    <a:pt x="291" y="29"/>
                  </a:lnTo>
                  <a:lnTo>
                    <a:pt x="290" y="28"/>
                  </a:lnTo>
                  <a:lnTo>
                    <a:pt x="289" y="29"/>
                  </a:lnTo>
                  <a:lnTo>
                    <a:pt x="288" y="29"/>
                  </a:lnTo>
                  <a:lnTo>
                    <a:pt x="288" y="28"/>
                  </a:lnTo>
                  <a:lnTo>
                    <a:pt x="288" y="27"/>
                  </a:lnTo>
                  <a:lnTo>
                    <a:pt x="288" y="28"/>
                  </a:lnTo>
                  <a:lnTo>
                    <a:pt x="286" y="28"/>
                  </a:lnTo>
                  <a:lnTo>
                    <a:pt x="286" y="27"/>
                  </a:lnTo>
                  <a:lnTo>
                    <a:pt x="288" y="27"/>
                  </a:lnTo>
                  <a:lnTo>
                    <a:pt x="286" y="26"/>
                  </a:lnTo>
                  <a:lnTo>
                    <a:pt x="288" y="26"/>
                  </a:lnTo>
                  <a:lnTo>
                    <a:pt x="289" y="26"/>
                  </a:lnTo>
                  <a:lnTo>
                    <a:pt x="289" y="24"/>
                  </a:lnTo>
                  <a:lnTo>
                    <a:pt x="288" y="24"/>
                  </a:lnTo>
                  <a:lnTo>
                    <a:pt x="288" y="23"/>
                  </a:lnTo>
                  <a:lnTo>
                    <a:pt x="286" y="23"/>
                  </a:lnTo>
                  <a:lnTo>
                    <a:pt x="285" y="23"/>
                  </a:lnTo>
                  <a:lnTo>
                    <a:pt x="282" y="23"/>
                  </a:lnTo>
                  <a:lnTo>
                    <a:pt x="286" y="23"/>
                  </a:lnTo>
                  <a:lnTo>
                    <a:pt x="285" y="22"/>
                  </a:lnTo>
                  <a:lnTo>
                    <a:pt x="284" y="21"/>
                  </a:lnTo>
                  <a:lnTo>
                    <a:pt x="283" y="21"/>
                  </a:lnTo>
                  <a:lnTo>
                    <a:pt x="282" y="21"/>
                  </a:lnTo>
                  <a:lnTo>
                    <a:pt x="282" y="20"/>
                  </a:lnTo>
                  <a:lnTo>
                    <a:pt x="283" y="20"/>
                  </a:lnTo>
                  <a:lnTo>
                    <a:pt x="284" y="20"/>
                  </a:lnTo>
                  <a:lnTo>
                    <a:pt x="285" y="21"/>
                  </a:lnTo>
                  <a:lnTo>
                    <a:pt x="285" y="20"/>
                  </a:lnTo>
                  <a:lnTo>
                    <a:pt x="280" y="16"/>
                  </a:lnTo>
                  <a:lnTo>
                    <a:pt x="279" y="13"/>
                  </a:lnTo>
                  <a:lnTo>
                    <a:pt x="275" y="11"/>
                  </a:lnTo>
                  <a:lnTo>
                    <a:pt x="274" y="10"/>
                  </a:lnTo>
                  <a:lnTo>
                    <a:pt x="274" y="9"/>
                  </a:lnTo>
                  <a:lnTo>
                    <a:pt x="275" y="9"/>
                  </a:lnTo>
                  <a:lnTo>
                    <a:pt x="278" y="10"/>
                  </a:lnTo>
                  <a:lnTo>
                    <a:pt x="279" y="12"/>
                  </a:lnTo>
                  <a:lnTo>
                    <a:pt x="283" y="16"/>
                  </a:lnTo>
                  <a:lnTo>
                    <a:pt x="285" y="17"/>
                  </a:lnTo>
                  <a:lnTo>
                    <a:pt x="286" y="20"/>
                  </a:lnTo>
                  <a:lnTo>
                    <a:pt x="288" y="21"/>
                  </a:lnTo>
                  <a:lnTo>
                    <a:pt x="289" y="22"/>
                  </a:lnTo>
                  <a:lnTo>
                    <a:pt x="290" y="21"/>
                  </a:lnTo>
                  <a:lnTo>
                    <a:pt x="291" y="20"/>
                  </a:lnTo>
                  <a:lnTo>
                    <a:pt x="294" y="17"/>
                  </a:lnTo>
                  <a:lnTo>
                    <a:pt x="295" y="17"/>
                  </a:lnTo>
                  <a:lnTo>
                    <a:pt x="296" y="16"/>
                  </a:lnTo>
                  <a:lnTo>
                    <a:pt x="296" y="18"/>
                  </a:lnTo>
                  <a:lnTo>
                    <a:pt x="295" y="18"/>
                  </a:lnTo>
                  <a:lnTo>
                    <a:pt x="294" y="18"/>
                  </a:lnTo>
                  <a:lnTo>
                    <a:pt x="292" y="18"/>
                  </a:lnTo>
                  <a:lnTo>
                    <a:pt x="292" y="20"/>
                  </a:lnTo>
                  <a:lnTo>
                    <a:pt x="291" y="21"/>
                  </a:lnTo>
                  <a:lnTo>
                    <a:pt x="290" y="22"/>
                  </a:lnTo>
                  <a:lnTo>
                    <a:pt x="290" y="23"/>
                  </a:lnTo>
                  <a:lnTo>
                    <a:pt x="290" y="24"/>
                  </a:lnTo>
                  <a:lnTo>
                    <a:pt x="291" y="24"/>
                  </a:lnTo>
                  <a:lnTo>
                    <a:pt x="292" y="23"/>
                  </a:lnTo>
                  <a:lnTo>
                    <a:pt x="294" y="23"/>
                  </a:lnTo>
                  <a:lnTo>
                    <a:pt x="294" y="24"/>
                  </a:lnTo>
                  <a:lnTo>
                    <a:pt x="292" y="24"/>
                  </a:lnTo>
                  <a:lnTo>
                    <a:pt x="291" y="26"/>
                  </a:lnTo>
                  <a:lnTo>
                    <a:pt x="291" y="27"/>
                  </a:lnTo>
                  <a:lnTo>
                    <a:pt x="292" y="27"/>
                  </a:lnTo>
                  <a:lnTo>
                    <a:pt x="294" y="26"/>
                  </a:lnTo>
                  <a:lnTo>
                    <a:pt x="295" y="26"/>
                  </a:lnTo>
                  <a:lnTo>
                    <a:pt x="295" y="27"/>
                  </a:lnTo>
                  <a:lnTo>
                    <a:pt x="294" y="28"/>
                  </a:lnTo>
                  <a:lnTo>
                    <a:pt x="292" y="29"/>
                  </a:lnTo>
                  <a:lnTo>
                    <a:pt x="292" y="30"/>
                  </a:lnTo>
                  <a:lnTo>
                    <a:pt x="294" y="30"/>
                  </a:lnTo>
                  <a:lnTo>
                    <a:pt x="294" y="29"/>
                  </a:lnTo>
                  <a:lnTo>
                    <a:pt x="295" y="29"/>
                  </a:lnTo>
                  <a:lnTo>
                    <a:pt x="296" y="29"/>
                  </a:lnTo>
                  <a:lnTo>
                    <a:pt x="296" y="28"/>
                  </a:lnTo>
                  <a:lnTo>
                    <a:pt x="297" y="28"/>
                  </a:lnTo>
                  <a:lnTo>
                    <a:pt x="298" y="27"/>
                  </a:lnTo>
                  <a:lnTo>
                    <a:pt x="297" y="26"/>
                  </a:lnTo>
                  <a:lnTo>
                    <a:pt x="296" y="26"/>
                  </a:lnTo>
                  <a:lnTo>
                    <a:pt x="296" y="24"/>
                  </a:lnTo>
                  <a:lnTo>
                    <a:pt x="297" y="23"/>
                  </a:lnTo>
                  <a:lnTo>
                    <a:pt x="297" y="24"/>
                  </a:lnTo>
                  <a:lnTo>
                    <a:pt x="298" y="24"/>
                  </a:lnTo>
                  <a:lnTo>
                    <a:pt x="298" y="22"/>
                  </a:lnTo>
                  <a:lnTo>
                    <a:pt x="297" y="21"/>
                  </a:lnTo>
                  <a:lnTo>
                    <a:pt x="296" y="21"/>
                  </a:lnTo>
                  <a:lnTo>
                    <a:pt x="294" y="21"/>
                  </a:lnTo>
                  <a:lnTo>
                    <a:pt x="292" y="21"/>
                  </a:lnTo>
                  <a:lnTo>
                    <a:pt x="292" y="20"/>
                  </a:lnTo>
                  <a:lnTo>
                    <a:pt x="295" y="20"/>
                  </a:lnTo>
                  <a:lnTo>
                    <a:pt x="297" y="20"/>
                  </a:lnTo>
                  <a:lnTo>
                    <a:pt x="298" y="20"/>
                  </a:lnTo>
                  <a:lnTo>
                    <a:pt x="298" y="18"/>
                  </a:lnTo>
                  <a:lnTo>
                    <a:pt x="300" y="17"/>
                  </a:lnTo>
                  <a:lnTo>
                    <a:pt x="300" y="16"/>
                  </a:lnTo>
                  <a:lnTo>
                    <a:pt x="300" y="13"/>
                  </a:lnTo>
                  <a:lnTo>
                    <a:pt x="300" y="10"/>
                  </a:lnTo>
                  <a:lnTo>
                    <a:pt x="301" y="10"/>
                  </a:lnTo>
                  <a:lnTo>
                    <a:pt x="301" y="11"/>
                  </a:lnTo>
                  <a:lnTo>
                    <a:pt x="301" y="16"/>
                  </a:lnTo>
                  <a:lnTo>
                    <a:pt x="301" y="18"/>
                  </a:lnTo>
                  <a:lnTo>
                    <a:pt x="301" y="22"/>
                  </a:lnTo>
                  <a:lnTo>
                    <a:pt x="301" y="23"/>
                  </a:lnTo>
                  <a:lnTo>
                    <a:pt x="300" y="24"/>
                  </a:lnTo>
                  <a:lnTo>
                    <a:pt x="300" y="26"/>
                  </a:lnTo>
                  <a:lnTo>
                    <a:pt x="301" y="26"/>
                  </a:lnTo>
                  <a:lnTo>
                    <a:pt x="302" y="24"/>
                  </a:lnTo>
                  <a:lnTo>
                    <a:pt x="302" y="26"/>
                  </a:lnTo>
                  <a:lnTo>
                    <a:pt x="303" y="27"/>
                  </a:lnTo>
                  <a:lnTo>
                    <a:pt x="303" y="28"/>
                  </a:lnTo>
                  <a:lnTo>
                    <a:pt x="304" y="28"/>
                  </a:lnTo>
                  <a:lnTo>
                    <a:pt x="306" y="27"/>
                  </a:lnTo>
                  <a:lnTo>
                    <a:pt x="307" y="26"/>
                  </a:lnTo>
                  <a:lnTo>
                    <a:pt x="307" y="24"/>
                  </a:lnTo>
                  <a:lnTo>
                    <a:pt x="306" y="23"/>
                  </a:lnTo>
                  <a:lnTo>
                    <a:pt x="304" y="23"/>
                  </a:lnTo>
                  <a:lnTo>
                    <a:pt x="304" y="22"/>
                  </a:lnTo>
                  <a:lnTo>
                    <a:pt x="306" y="22"/>
                  </a:lnTo>
                  <a:lnTo>
                    <a:pt x="307" y="22"/>
                  </a:lnTo>
                  <a:lnTo>
                    <a:pt x="308" y="23"/>
                  </a:lnTo>
                  <a:lnTo>
                    <a:pt x="307" y="22"/>
                  </a:lnTo>
                  <a:lnTo>
                    <a:pt x="308" y="22"/>
                  </a:lnTo>
                  <a:lnTo>
                    <a:pt x="309" y="21"/>
                  </a:lnTo>
                  <a:lnTo>
                    <a:pt x="308" y="21"/>
                  </a:lnTo>
                  <a:lnTo>
                    <a:pt x="307" y="20"/>
                  </a:lnTo>
                  <a:lnTo>
                    <a:pt x="308" y="18"/>
                  </a:lnTo>
                  <a:lnTo>
                    <a:pt x="309" y="20"/>
                  </a:lnTo>
                  <a:lnTo>
                    <a:pt x="309" y="18"/>
                  </a:lnTo>
                  <a:lnTo>
                    <a:pt x="309" y="17"/>
                  </a:lnTo>
                  <a:lnTo>
                    <a:pt x="307" y="16"/>
                  </a:lnTo>
                  <a:lnTo>
                    <a:pt x="306" y="15"/>
                  </a:lnTo>
                  <a:lnTo>
                    <a:pt x="302" y="12"/>
                  </a:lnTo>
                  <a:lnTo>
                    <a:pt x="302" y="11"/>
                  </a:lnTo>
                  <a:lnTo>
                    <a:pt x="303" y="11"/>
                  </a:lnTo>
                  <a:lnTo>
                    <a:pt x="304" y="12"/>
                  </a:lnTo>
                  <a:lnTo>
                    <a:pt x="308" y="16"/>
                  </a:lnTo>
                  <a:lnTo>
                    <a:pt x="309" y="15"/>
                  </a:lnTo>
                  <a:lnTo>
                    <a:pt x="308" y="15"/>
                  </a:lnTo>
                  <a:lnTo>
                    <a:pt x="308" y="13"/>
                  </a:lnTo>
                  <a:lnTo>
                    <a:pt x="308" y="12"/>
                  </a:lnTo>
                  <a:lnTo>
                    <a:pt x="307" y="11"/>
                  </a:lnTo>
                  <a:lnTo>
                    <a:pt x="307" y="10"/>
                  </a:lnTo>
                  <a:lnTo>
                    <a:pt x="308" y="10"/>
                  </a:lnTo>
                  <a:lnTo>
                    <a:pt x="308" y="11"/>
                  </a:lnTo>
                  <a:lnTo>
                    <a:pt x="309" y="11"/>
                  </a:lnTo>
                  <a:lnTo>
                    <a:pt x="309" y="12"/>
                  </a:lnTo>
                  <a:lnTo>
                    <a:pt x="309" y="10"/>
                  </a:lnTo>
                  <a:lnTo>
                    <a:pt x="309" y="9"/>
                  </a:lnTo>
                  <a:lnTo>
                    <a:pt x="309" y="6"/>
                  </a:lnTo>
                  <a:lnTo>
                    <a:pt x="310" y="6"/>
                  </a:lnTo>
                  <a:lnTo>
                    <a:pt x="310" y="7"/>
                  </a:lnTo>
                  <a:lnTo>
                    <a:pt x="310" y="9"/>
                  </a:lnTo>
                  <a:lnTo>
                    <a:pt x="310" y="12"/>
                  </a:lnTo>
                  <a:lnTo>
                    <a:pt x="310" y="13"/>
                  </a:lnTo>
                  <a:lnTo>
                    <a:pt x="310" y="1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8" name="Freeform 61"/>
            <p:cNvSpPr>
              <a:spLocks/>
            </p:cNvSpPr>
            <p:nvPr userDrawn="1"/>
          </p:nvSpPr>
          <p:spPr bwMode="auto">
            <a:xfrm>
              <a:off x="404813" y="6256338"/>
              <a:ext cx="282575" cy="304800"/>
            </a:xfrm>
            <a:custGeom>
              <a:avLst/>
              <a:gdLst/>
              <a:ahLst/>
              <a:cxnLst>
                <a:cxn ang="0">
                  <a:pos x="102" y="417"/>
                </a:cxn>
                <a:cxn ang="0">
                  <a:pos x="144" y="361"/>
                </a:cxn>
                <a:cxn ang="0">
                  <a:pos x="246" y="330"/>
                </a:cxn>
                <a:cxn ang="0">
                  <a:pos x="243" y="325"/>
                </a:cxn>
                <a:cxn ang="0">
                  <a:pos x="178" y="314"/>
                </a:cxn>
                <a:cxn ang="0">
                  <a:pos x="169" y="275"/>
                </a:cxn>
                <a:cxn ang="0">
                  <a:pos x="195" y="238"/>
                </a:cxn>
                <a:cxn ang="0">
                  <a:pos x="210" y="208"/>
                </a:cxn>
                <a:cxn ang="0">
                  <a:pos x="230" y="149"/>
                </a:cxn>
                <a:cxn ang="0">
                  <a:pos x="281" y="159"/>
                </a:cxn>
                <a:cxn ang="0">
                  <a:pos x="336" y="166"/>
                </a:cxn>
                <a:cxn ang="0">
                  <a:pos x="361" y="169"/>
                </a:cxn>
                <a:cxn ang="0">
                  <a:pos x="401" y="197"/>
                </a:cxn>
                <a:cxn ang="0">
                  <a:pos x="425" y="224"/>
                </a:cxn>
                <a:cxn ang="0">
                  <a:pos x="444" y="203"/>
                </a:cxn>
                <a:cxn ang="0">
                  <a:pos x="403" y="173"/>
                </a:cxn>
                <a:cxn ang="0">
                  <a:pos x="368" y="169"/>
                </a:cxn>
                <a:cxn ang="0">
                  <a:pos x="308" y="123"/>
                </a:cxn>
                <a:cxn ang="0">
                  <a:pos x="325" y="78"/>
                </a:cxn>
                <a:cxn ang="0">
                  <a:pos x="348" y="28"/>
                </a:cxn>
                <a:cxn ang="0">
                  <a:pos x="386" y="17"/>
                </a:cxn>
                <a:cxn ang="0">
                  <a:pos x="434" y="40"/>
                </a:cxn>
                <a:cxn ang="0">
                  <a:pos x="487" y="24"/>
                </a:cxn>
                <a:cxn ang="0">
                  <a:pos x="510" y="40"/>
                </a:cxn>
                <a:cxn ang="0">
                  <a:pos x="543" y="76"/>
                </a:cxn>
                <a:cxn ang="0">
                  <a:pos x="581" y="54"/>
                </a:cxn>
                <a:cxn ang="0">
                  <a:pos x="628" y="70"/>
                </a:cxn>
                <a:cxn ang="0">
                  <a:pos x="622" y="125"/>
                </a:cxn>
                <a:cxn ang="0">
                  <a:pos x="656" y="166"/>
                </a:cxn>
                <a:cxn ang="0">
                  <a:pos x="710" y="209"/>
                </a:cxn>
                <a:cxn ang="0">
                  <a:pos x="729" y="249"/>
                </a:cxn>
                <a:cxn ang="0">
                  <a:pos x="802" y="283"/>
                </a:cxn>
                <a:cxn ang="0">
                  <a:pos x="821" y="389"/>
                </a:cxn>
                <a:cxn ang="0">
                  <a:pos x="750" y="413"/>
                </a:cxn>
                <a:cxn ang="0">
                  <a:pos x="841" y="524"/>
                </a:cxn>
                <a:cxn ang="0">
                  <a:pos x="730" y="457"/>
                </a:cxn>
                <a:cxn ang="0">
                  <a:pos x="694" y="471"/>
                </a:cxn>
                <a:cxn ang="0">
                  <a:pos x="809" y="548"/>
                </a:cxn>
                <a:cxn ang="0">
                  <a:pos x="874" y="660"/>
                </a:cxn>
                <a:cxn ang="0">
                  <a:pos x="786" y="660"/>
                </a:cxn>
                <a:cxn ang="0">
                  <a:pos x="752" y="719"/>
                </a:cxn>
                <a:cxn ang="0">
                  <a:pos x="735" y="737"/>
                </a:cxn>
                <a:cxn ang="0">
                  <a:pos x="684" y="678"/>
                </a:cxn>
                <a:cxn ang="0">
                  <a:pos x="644" y="719"/>
                </a:cxn>
                <a:cxn ang="0">
                  <a:pos x="729" y="806"/>
                </a:cxn>
                <a:cxn ang="0">
                  <a:pos x="633" y="798"/>
                </a:cxn>
                <a:cxn ang="0">
                  <a:pos x="538" y="744"/>
                </a:cxn>
                <a:cxn ang="0">
                  <a:pos x="593" y="795"/>
                </a:cxn>
                <a:cxn ang="0">
                  <a:pos x="373" y="784"/>
                </a:cxn>
                <a:cxn ang="0">
                  <a:pos x="212" y="808"/>
                </a:cxn>
                <a:cxn ang="0">
                  <a:pos x="301" y="771"/>
                </a:cxn>
                <a:cxn ang="0">
                  <a:pos x="403" y="734"/>
                </a:cxn>
                <a:cxn ang="0">
                  <a:pos x="331" y="718"/>
                </a:cxn>
                <a:cxn ang="0">
                  <a:pos x="256" y="737"/>
                </a:cxn>
                <a:cxn ang="0">
                  <a:pos x="196" y="725"/>
                </a:cxn>
                <a:cxn ang="0">
                  <a:pos x="151" y="672"/>
                </a:cxn>
                <a:cxn ang="0">
                  <a:pos x="269" y="619"/>
                </a:cxn>
                <a:cxn ang="0">
                  <a:pos x="244" y="615"/>
                </a:cxn>
                <a:cxn ang="0">
                  <a:pos x="214" y="576"/>
                </a:cxn>
                <a:cxn ang="0">
                  <a:pos x="216" y="554"/>
                </a:cxn>
                <a:cxn ang="0">
                  <a:pos x="127" y="607"/>
                </a:cxn>
                <a:cxn ang="0">
                  <a:pos x="126" y="547"/>
                </a:cxn>
                <a:cxn ang="0">
                  <a:pos x="85" y="508"/>
                </a:cxn>
              </a:cxnLst>
              <a:rect l="0" t="0" r="r" b="b"/>
              <a:pathLst>
                <a:path w="893" h="960">
                  <a:moveTo>
                    <a:pt x="9" y="455"/>
                  </a:moveTo>
                  <a:lnTo>
                    <a:pt x="7" y="452"/>
                  </a:lnTo>
                  <a:lnTo>
                    <a:pt x="9" y="453"/>
                  </a:lnTo>
                  <a:lnTo>
                    <a:pt x="13" y="451"/>
                  </a:lnTo>
                  <a:lnTo>
                    <a:pt x="14" y="453"/>
                  </a:lnTo>
                  <a:lnTo>
                    <a:pt x="16" y="455"/>
                  </a:lnTo>
                  <a:lnTo>
                    <a:pt x="16" y="453"/>
                  </a:lnTo>
                  <a:lnTo>
                    <a:pt x="15" y="452"/>
                  </a:lnTo>
                  <a:lnTo>
                    <a:pt x="15" y="451"/>
                  </a:lnTo>
                  <a:lnTo>
                    <a:pt x="20" y="451"/>
                  </a:lnTo>
                  <a:lnTo>
                    <a:pt x="20" y="453"/>
                  </a:lnTo>
                  <a:lnTo>
                    <a:pt x="21" y="455"/>
                  </a:lnTo>
                  <a:lnTo>
                    <a:pt x="26" y="456"/>
                  </a:lnTo>
                  <a:lnTo>
                    <a:pt x="23" y="453"/>
                  </a:lnTo>
                  <a:lnTo>
                    <a:pt x="21" y="451"/>
                  </a:lnTo>
                  <a:lnTo>
                    <a:pt x="21" y="449"/>
                  </a:lnTo>
                  <a:lnTo>
                    <a:pt x="20" y="446"/>
                  </a:lnTo>
                  <a:lnTo>
                    <a:pt x="23" y="445"/>
                  </a:lnTo>
                  <a:lnTo>
                    <a:pt x="24" y="446"/>
                  </a:lnTo>
                  <a:lnTo>
                    <a:pt x="25" y="447"/>
                  </a:lnTo>
                  <a:lnTo>
                    <a:pt x="27" y="447"/>
                  </a:lnTo>
                  <a:lnTo>
                    <a:pt x="29" y="450"/>
                  </a:lnTo>
                  <a:lnTo>
                    <a:pt x="29" y="451"/>
                  </a:lnTo>
                  <a:lnTo>
                    <a:pt x="29" y="452"/>
                  </a:lnTo>
                  <a:lnTo>
                    <a:pt x="30" y="453"/>
                  </a:lnTo>
                  <a:lnTo>
                    <a:pt x="32" y="453"/>
                  </a:lnTo>
                  <a:lnTo>
                    <a:pt x="33" y="453"/>
                  </a:lnTo>
                  <a:lnTo>
                    <a:pt x="33" y="455"/>
                  </a:lnTo>
                  <a:lnTo>
                    <a:pt x="32" y="455"/>
                  </a:lnTo>
                  <a:lnTo>
                    <a:pt x="33" y="456"/>
                  </a:lnTo>
                  <a:lnTo>
                    <a:pt x="37" y="456"/>
                  </a:lnTo>
                  <a:lnTo>
                    <a:pt x="37" y="451"/>
                  </a:lnTo>
                  <a:lnTo>
                    <a:pt x="38" y="450"/>
                  </a:lnTo>
                  <a:lnTo>
                    <a:pt x="39" y="449"/>
                  </a:lnTo>
                  <a:lnTo>
                    <a:pt x="42" y="451"/>
                  </a:lnTo>
                  <a:lnTo>
                    <a:pt x="42" y="452"/>
                  </a:lnTo>
                  <a:lnTo>
                    <a:pt x="43" y="452"/>
                  </a:lnTo>
                  <a:lnTo>
                    <a:pt x="48" y="452"/>
                  </a:lnTo>
                  <a:lnTo>
                    <a:pt x="47" y="451"/>
                  </a:lnTo>
                  <a:lnTo>
                    <a:pt x="45" y="450"/>
                  </a:lnTo>
                  <a:lnTo>
                    <a:pt x="43" y="449"/>
                  </a:lnTo>
                  <a:lnTo>
                    <a:pt x="43" y="445"/>
                  </a:lnTo>
                  <a:lnTo>
                    <a:pt x="42" y="443"/>
                  </a:lnTo>
                  <a:lnTo>
                    <a:pt x="39" y="439"/>
                  </a:lnTo>
                  <a:lnTo>
                    <a:pt x="39" y="437"/>
                  </a:lnTo>
                  <a:lnTo>
                    <a:pt x="41" y="437"/>
                  </a:lnTo>
                  <a:lnTo>
                    <a:pt x="41" y="435"/>
                  </a:lnTo>
                  <a:lnTo>
                    <a:pt x="43" y="435"/>
                  </a:lnTo>
                  <a:lnTo>
                    <a:pt x="44" y="437"/>
                  </a:lnTo>
                  <a:lnTo>
                    <a:pt x="44" y="438"/>
                  </a:lnTo>
                  <a:lnTo>
                    <a:pt x="45" y="438"/>
                  </a:lnTo>
                  <a:lnTo>
                    <a:pt x="45" y="437"/>
                  </a:lnTo>
                  <a:lnTo>
                    <a:pt x="47" y="438"/>
                  </a:lnTo>
                  <a:lnTo>
                    <a:pt x="48" y="441"/>
                  </a:lnTo>
                  <a:lnTo>
                    <a:pt x="49" y="441"/>
                  </a:lnTo>
                  <a:lnTo>
                    <a:pt x="50" y="441"/>
                  </a:lnTo>
                  <a:lnTo>
                    <a:pt x="51" y="443"/>
                  </a:lnTo>
                  <a:lnTo>
                    <a:pt x="53" y="443"/>
                  </a:lnTo>
                  <a:lnTo>
                    <a:pt x="53" y="445"/>
                  </a:lnTo>
                  <a:lnTo>
                    <a:pt x="54" y="446"/>
                  </a:lnTo>
                  <a:lnTo>
                    <a:pt x="54" y="445"/>
                  </a:lnTo>
                  <a:lnTo>
                    <a:pt x="54" y="444"/>
                  </a:lnTo>
                  <a:lnTo>
                    <a:pt x="54" y="441"/>
                  </a:lnTo>
                  <a:lnTo>
                    <a:pt x="55" y="441"/>
                  </a:lnTo>
                  <a:lnTo>
                    <a:pt x="56" y="441"/>
                  </a:lnTo>
                  <a:lnTo>
                    <a:pt x="60" y="441"/>
                  </a:lnTo>
                  <a:lnTo>
                    <a:pt x="59" y="438"/>
                  </a:lnTo>
                  <a:lnTo>
                    <a:pt x="60" y="438"/>
                  </a:lnTo>
                  <a:lnTo>
                    <a:pt x="61" y="437"/>
                  </a:lnTo>
                  <a:lnTo>
                    <a:pt x="61" y="434"/>
                  </a:lnTo>
                  <a:lnTo>
                    <a:pt x="61" y="433"/>
                  </a:lnTo>
                  <a:lnTo>
                    <a:pt x="63" y="432"/>
                  </a:lnTo>
                  <a:lnTo>
                    <a:pt x="65" y="433"/>
                  </a:lnTo>
                  <a:lnTo>
                    <a:pt x="66" y="434"/>
                  </a:lnTo>
                  <a:lnTo>
                    <a:pt x="67" y="433"/>
                  </a:lnTo>
                  <a:lnTo>
                    <a:pt x="68" y="433"/>
                  </a:lnTo>
                  <a:lnTo>
                    <a:pt x="69" y="432"/>
                  </a:lnTo>
                  <a:lnTo>
                    <a:pt x="69" y="431"/>
                  </a:lnTo>
                  <a:lnTo>
                    <a:pt x="68" y="431"/>
                  </a:lnTo>
                  <a:lnTo>
                    <a:pt x="67" y="429"/>
                  </a:lnTo>
                  <a:lnTo>
                    <a:pt x="68" y="428"/>
                  </a:lnTo>
                  <a:lnTo>
                    <a:pt x="67" y="426"/>
                  </a:lnTo>
                  <a:lnTo>
                    <a:pt x="68" y="425"/>
                  </a:lnTo>
                  <a:lnTo>
                    <a:pt x="69" y="425"/>
                  </a:lnTo>
                  <a:lnTo>
                    <a:pt x="71" y="426"/>
                  </a:lnTo>
                  <a:lnTo>
                    <a:pt x="72" y="427"/>
                  </a:lnTo>
                  <a:lnTo>
                    <a:pt x="72" y="426"/>
                  </a:lnTo>
                  <a:lnTo>
                    <a:pt x="73" y="426"/>
                  </a:lnTo>
                  <a:lnTo>
                    <a:pt x="74" y="426"/>
                  </a:lnTo>
                  <a:lnTo>
                    <a:pt x="74" y="427"/>
                  </a:lnTo>
                  <a:lnTo>
                    <a:pt x="75" y="428"/>
                  </a:lnTo>
                  <a:lnTo>
                    <a:pt x="79" y="428"/>
                  </a:lnTo>
                  <a:lnTo>
                    <a:pt x="79" y="429"/>
                  </a:lnTo>
                  <a:lnTo>
                    <a:pt x="80" y="429"/>
                  </a:lnTo>
                  <a:lnTo>
                    <a:pt x="83" y="429"/>
                  </a:lnTo>
                  <a:lnTo>
                    <a:pt x="83" y="428"/>
                  </a:lnTo>
                  <a:lnTo>
                    <a:pt x="80" y="427"/>
                  </a:lnTo>
                  <a:lnTo>
                    <a:pt x="79" y="427"/>
                  </a:lnTo>
                  <a:lnTo>
                    <a:pt x="79" y="425"/>
                  </a:lnTo>
                  <a:lnTo>
                    <a:pt x="78" y="421"/>
                  </a:lnTo>
                  <a:lnTo>
                    <a:pt x="78" y="420"/>
                  </a:lnTo>
                  <a:lnTo>
                    <a:pt x="79" y="419"/>
                  </a:lnTo>
                  <a:lnTo>
                    <a:pt x="80" y="420"/>
                  </a:lnTo>
                  <a:lnTo>
                    <a:pt x="82" y="422"/>
                  </a:lnTo>
                  <a:lnTo>
                    <a:pt x="83" y="422"/>
                  </a:lnTo>
                  <a:lnTo>
                    <a:pt x="84" y="422"/>
                  </a:lnTo>
                  <a:lnTo>
                    <a:pt x="86" y="423"/>
                  </a:lnTo>
                  <a:lnTo>
                    <a:pt x="89" y="423"/>
                  </a:lnTo>
                  <a:lnTo>
                    <a:pt x="90" y="422"/>
                  </a:lnTo>
                  <a:lnTo>
                    <a:pt x="92" y="421"/>
                  </a:lnTo>
                  <a:lnTo>
                    <a:pt x="92" y="423"/>
                  </a:lnTo>
                  <a:lnTo>
                    <a:pt x="95" y="423"/>
                  </a:lnTo>
                  <a:lnTo>
                    <a:pt x="95" y="425"/>
                  </a:lnTo>
                  <a:lnTo>
                    <a:pt x="98" y="425"/>
                  </a:lnTo>
                  <a:lnTo>
                    <a:pt x="100" y="423"/>
                  </a:lnTo>
                  <a:lnTo>
                    <a:pt x="101" y="423"/>
                  </a:lnTo>
                  <a:lnTo>
                    <a:pt x="102" y="423"/>
                  </a:lnTo>
                  <a:lnTo>
                    <a:pt x="102" y="421"/>
                  </a:lnTo>
                  <a:lnTo>
                    <a:pt x="102" y="420"/>
                  </a:lnTo>
                  <a:lnTo>
                    <a:pt x="102" y="417"/>
                  </a:lnTo>
                  <a:lnTo>
                    <a:pt x="102" y="416"/>
                  </a:lnTo>
                  <a:lnTo>
                    <a:pt x="102" y="415"/>
                  </a:lnTo>
                  <a:lnTo>
                    <a:pt x="103" y="415"/>
                  </a:lnTo>
                  <a:lnTo>
                    <a:pt x="106" y="414"/>
                  </a:lnTo>
                  <a:lnTo>
                    <a:pt x="106" y="415"/>
                  </a:lnTo>
                  <a:lnTo>
                    <a:pt x="107" y="419"/>
                  </a:lnTo>
                  <a:lnTo>
                    <a:pt x="108" y="419"/>
                  </a:lnTo>
                  <a:lnTo>
                    <a:pt x="109" y="420"/>
                  </a:lnTo>
                  <a:lnTo>
                    <a:pt x="112" y="422"/>
                  </a:lnTo>
                  <a:lnTo>
                    <a:pt x="115" y="422"/>
                  </a:lnTo>
                  <a:lnTo>
                    <a:pt x="115" y="421"/>
                  </a:lnTo>
                  <a:lnTo>
                    <a:pt x="114" y="421"/>
                  </a:lnTo>
                  <a:lnTo>
                    <a:pt x="113" y="420"/>
                  </a:lnTo>
                  <a:lnTo>
                    <a:pt x="113" y="417"/>
                  </a:lnTo>
                  <a:lnTo>
                    <a:pt x="112" y="416"/>
                  </a:lnTo>
                  <a:lnTo>
                    <a:pt x="110" y="413"/>
                  </a:lnTo>
                  <a:lnTo>
                    <a:pt x="110" y="410"/>
                  </a:lnTo>
                  <a:lnTo>
                    <a:pt x="109" y="409"/>
                  </a:lnTo>
                  <a:lnTo>
                    <a:pt x="109" y="408"/>
                  </a:lnTo>
                  <a:lnTo>
                    <a:pt x="110" y="407"/>
                  </a:lnTo>
                  <a:lnTo>
                    <a:pt x="113" y="405"/>
                  </a:lnTo>
                  <a:lnTo>
                    <a:pt x="113" y="407"/>
                  </a:lnTo>
                  <a:lnTo>
                    <a:pt x="114" y="407"/>
                  </a:lnTo>
                  <a:lnTo>
                    <a:pt x="116" y="408"/>
                  </a:lnTo>
                  <a:lnTo>
                    <a:pt x="116" y="409"/>
                  </a:lnTo>
                  <a:lnTo>
                    <a:pt x="119" y="411"/>
                  </a:lnTo>
                  <a:lnTo>
                    <a:pt x="120" y="410"/>
                  </a:lnTo>
                  <a:lnTo>
                    <a:pt x="121" y="409"/>
                  </a:lnTo>
                  <a:lnTo>
                    <a:pt x="122" y="409"/>
                  </a:lnTo>
                  <a:lnTo>
                    <a:pt x="122" y="410"/>
                  </a:lnTo>
                  <a:lnTo>
                    <a:pt x="124" y="411"/>
                  </a:lnTo>
                  <a:lnTo>
                    <a:pt x="125" y="410"/>
                  </a:lnTo>
                  <a:lnTo>
                    <a:pt x="127" y="410"/>
                  </a:lnTo>
                  <a:lnTo>
                    <a:pt x="128" y="411"/>
                  </a:lnTo>
                  <a:lnTo>
                    <a:pt x="132" y="411"/>
                  </a:lnTo>
                  <a:lnTo>
                    <a:pt x="134" y="411"/>
                  </a:lnTo>
                  <a:lnTo>
                    <a:pt x="133" y="409"/>
                  </a:lnTo>
                  <a:lnTo>
                    <a:pt x="132" y="408"/>
                  </a:lnTo>
                  <a:lnTo>
                    <a:pt x="132" y="405"/>
                  </a:lnTo>
                  <a:lnTo>
                    <a:pt x="131" y="404"/>
                  </a:lnTo>
                  <a:lnTo>
                    <a:pt x="130" y="403"/>
                  </a:lnTo>
                  <a:lnTo>
                    <a:pt x="127" y="403"/>
                  </a:lnTo>
                  <a:lnTo>
                    <a:pt x="126" y="403"/>
                  </a:lnTo>
                  <a:lnTo>
                    <a:pt x="126" y="402"/>
                  </a:lnTo>
                  <a:lnTo>
                    <a:pt x="127" y="401"/>
                  </a:lnTo>
                  <a:lnTo>
                    <a:pt x="127" y="399"/>
                  </a:lnTo>
                  <a:lnTo>
                    <a:pt x="128" y="397"/>
                  </a:lnTo>
                  <a:lnTo>
                    <a:pt x="127" y="398"/>
                  </a:lnTo>
                  <a:lnTo>
                    <a:pt x="126" y="398"/>
                  </a:lnTo>
                  <a:lnTo>
                    <a:pt x="125" y="399"/>
                  </a:lnTo>
                  <a:lnTo>
                    <a:pt x="122" y="397"/>
                  </a:lnTo>
                  <a:lnTo>
                    <a:pt x="120" y="396"/>
                  </a:lnTo>
                  <a:lnTo>
                    <a:pt x="119" y="395"/>
                  </a:lnTo>
                  <a:lnTo>
                    <a:pt x="116" y="395"/>
                  </a:lnTo>
                  <a:lnTo>
                    <a:pt x="115" y="395"/>
                  </a:lnTo>
                  <a:lnTo>
                    <a:pt x="115" y="393"/>
                  </a:lnTo>
                  <a:lnTo>
                    <a:pt x="114" y="393"/>
                  </a:lnTo>
                  <a:lnTo>
                    <a:pt x="113" y="392"/>
                  </a:lnTo>
                  <a:lnTo>
                    <a:pt x="110" y="391"/>
                  </a:lnTo>
                  <a:lnTo>
                    <a:pt x="110" y="390"/>
                  </a:lnTo>
                  <a:lnTo>
                    <a:pt x="109" y="389"/>
                  </a:lnTo>
                  <a:lnTo>
                    <a:pt x="108" y="387"/>
                  </a:lnTo>
                  <a:lnTo>
                    <a:pt x="109" y="385"/>
                  </a:lnTo>
                  <a:lnTo>
                    <a:pt x="109" y="382"/>
                  </a:lnTo>
                  <a:lnTo>
                    <a:pt x="107" y="379"/>
                  </a:lnTo>
                  <a:lnTo>
                    <a:pt x="106" y="378"/>
                  </a:lnTo>
                  <a:lnTo>
                    <a:pt x="106" y="375"/>
                  </a:lnTo>
                  <a:lnTo>
                    <a:pt x="107" y="375"/>
                  </a:lnTo>
                  <a:lnTo>
                    <a:pt x="107" y="374"/>
                  </a:lnTo>
                  <a:lnTo>
                    <a:pt x="109" y="374"/>
                  </a:lnTo>
                  <a:lnTo>
                    <a:pt x="109" y="375"/>
                  </a:lnTo>
                  <a:lnTo>
                    <a:pt x="110" y="375"/>
                  </a:lnTo>
                  <a:lnTo>
                    <a:pt x="110" y="378"/>
                  </a:lnTo>
                  <a:lnTo>
                    <a:pt x="112" y="376"/>
                  </a:lnTo>
                  <a:lnTo>
                    <a:pt x="113" y="376"/>
                  </a:lnTo>
                  <a:lnTo>
                    <a:pt x="114" y="376"/>
                  </a:lnTo>
                  <a:lnTo>
                    <a:pt x="114" y="375"/>
                  </a:lnTo>
                  <a:lnTo>
                    <a:pt x="113" y="374"/>
                  </a:lnTo>
                  <a:lnTo>
                    <a:pt x="114" y="370"/>
                  </a:lnTo>
                  <a:lnTo>
                    <a:pt x="115" y="370"/>
                  </a:lnTo>
                  <a:lnTo>
                    <a:pt x="116" y="370"/>
                  </a:lnTo>
                  <a:lnTo>
                    <a:pt x="116" y="372"/>
                  </a:lnTo>
                  <a:lnTo>
                    <a:pt x="118" y="373"/>
                  </a:lnTo>
                  <a:lnTo>
                    <a:pt x="120" y="374"/>
                  </a:lnTo>
                  <a:lnTo>
                    <a:pt x="120" y="375"/>
                  </a:lnTo>
                  <a:lnTo>
                    <a:pt x="121" y="376"/>
                  </a:lnTo>
                  <a:lnTo>
                    <a:pt x="122" y="379"/>
                  </a:lnTo>
                  <a:lnTo>
                    <a:pt x="124" y="379"/>
                  </a:lnTo>
                  <a:lnTo>
                    <a:pt x="125" y="379"/>
                  </a:lnTo>
                  <a:lnTo>
                    <a:pt x="126" y="378"/>
                  </a:lnTo>
                  <a:lnTo>
                    <a:pt x="125" y="376"/>
                  </a:lnTo>
                  <a:lnTo>
                    <a:pt x="124" y="375"/>
                  </a:lnTo>
                  <a:lnTo>
                    <a:pt x="124" y="373"/>
                  </a:lnTo>
                  <a:lnTo>
                    <a:pt x="124" y="372"/>
                  </a:lnTo>
                  <a:lnTo>
                    <a:pt x="124" y="370"/>
                  </a:lnTo>
                  <a:lnTo>
                    <a:pt x="126" y="369"/>
                  </a:lnTo>
                  <a:lnTo>
                    <a:pt x="127" y="369"/>
                  </a:lnTo>
                  <a:lnTo>
                    <a:pt x="127" y="372"/>
                  </a:lnTo>
                  <a:lnTo>
                    <a:pt x="127" y="369"/>
                  </a:lnTo>
                  <a:lnTo>
                    <a:pt x="128" y="369"/>
                  </a:lnTo>
                  <a:lnTo>
                    <a:pt x="128" y="370"/>
                  </a:lnTo>
                  <a:lnTo>
                    <a:pt x="131" y="370"/>
                  </a:lnTo>
                  <a:lnTo>
                    <a:pt x="133" y="370"/>
                  </a:lnTo>
                  <a:lnTo>
                    <a:pt x="133" y="372"/>
                  </a:lnTo>
                  <a:lnTo>
                    <a:pt x="134" y="373"/>
                  </a:lnTo>
                  <a:lnTo>
                    <a:pt x="134" y="374"/>
                  </a:lnTo>
                  <a:lnTo>
                    <a:pt x="136" y="375"/>
                  </a:lnTo>
                  <a:lnTo>
                    <a:pt x="138" y="374"/>
                  </a:lnTo>
                  <a:lnTo>
                    <a:pt x="138" y="373"/>
                  </a:lnTo>
                  <a:lnTo>
                    <a:pt x="138" y="370"/>
                  </a:lnTo>
                  <a:lnTo>
                    <a:pt x="139" y="368"/>
                  </a:lnTo>
                  <a:lnTo>
                    <a:pt x="139" y="367"/>
                  </a:lnTo>
                  <a:lnTo>
                    <a:pt x="141" y="366"/>
                  </a:lnTo>
                  <a:lnTo>
                    <a:pt x="144" y="366"/>
                  </a:lnTo>
                  <a:lnTo>
                    <a:pt x="143" y="369"/>
                  </a:lnTo>
                  <a:lnTo>
                    <a:pt x="144" y="370"/>
                  </a:lnTo>
                  <a:lnTo>
                    <a:pt x="147" y="370"/>
                  </a:lnTo>
                  <a:lnTo>
                    <a:pt x="147" y="368"/>
                  </a:lnTo>
                  <a:lnTo>
                    <a:pt x="145" y="366"/>
                  </a:lnTo>
                  <a:lnTo>
                    <a:pt x="144" y="361"/>
                  </a:lnTo>
                  <a:lnTo>
                    <a:pt x="144" y="358"/>
                  </a:lnTo>
                  <a:lnTo>
                    <a:pt x="144" y="357"/>
                  </a:lnTo>
                  <a:lnTo>
                    <a:pt x="145" y="357"/>
                  </a:lnTo>
                  <a:lnTo>
                    <a:pt x="147" y="356"/>
                  </a:lnTo>
                  <a:lnTo>
                    <a:pt x="148" y="357"/>
                  </a:lnTo>
                  <a:lnTo>
                    <a:pt x="150" y="358"/>
                  </a:lnTo>
                  <a:lnTo>
                    <a:pt x="150" y="360"/>
                  </a:lnTo>
                  <a:lnTo>
                    <a:pt x="151" y="358"/>
                  </a:lnTo>
                  <a:lnTo>
                    <a:pt x="151" y="361"/>
                  </a:lnTo>
                  <a:lnTo>
                    <a:pt x="151" y="362"/>
                  </a:lnTo>
                  <a:lnTo>
                    <a:pt x="151" y="363"/>
                  </a:lnTo>
                  <a:lnTo>
                    <a:pt x="153" y="363"/>
                  </a:lnTo>
                  <a:lnTo>
                    <a:pt x="154" y="363"/>
                  </a:lnTo>
                  <a:lnTo>
                    <a:pt x="154" y="362"/>
                  </a:lnTo>
                  <a:lnTo>
                    <a:pt x="155" y="364"/>
                  </a:lnTo>
                  <a:lnTo>
                    <a:pt x="154" y="367"/>
                  </a:lnTo>
                  <a:lnTo>
                    <a:pt x="155" y="367"/>
                  </a:lnTo>
                  <a:lnTo>
                    <a:pt x="156" y="367"/>
                  </a:lnTo>
                  <a:lnTo>
                    <a:pt x="156" y="366"/>
                  </a:lnTo>
                  <a:lnTo>
                    <a:pt x="157" y="366"/>
                  </a:lnTo>
                  <a:lnTo>
                    <a:pt x="159" y="366"/>
                  </a:lnTo>
                  <a:lnTo>
                    <a:pt x="159" y="367"/>
                  </a:lnTo>
                  <a:lnTo>
                    <a:pt x="160" y="368"/>
                  </a:lnTo>
                  <a:lnTo>
                    <a:pt x="163" y="369"/>
                  </a:lnTo>
                  <a:lnTo>
                    <a:pt x="167" y="369"/>
                  </a:lnTo>
                  <a:lnTo>
                    <a:pt x="167" y="372"/>
                  </a:lnTo>
                  <a:lnTo>
                    <a:pt x="168" y="373"/>
                  </a:lnTo>
                  <a:lnTo>
                    <a:pt x="171" y="373"/>
                  </a:lnTo>
                  <a:lnTo>
                    <a:pt x="172" y="372"/>
                  </a:lnTo>
                  <a:lnTo>
                    <a:pt x="169" y="369"/>
                  </a:lnTo>
                  <a:lnTo>
                    <a:pt x="169" y="367"/>
                  </a:lnTo>
                  <a:lnTo>
                    <a:pt x="167" y="366"/>
                  </a:lnTo>
                  <a:lnTo>
                    <a:pt x="167" y="362"/>
                  </a:lnTo>
                  <a:lnTo>
                    <a:pt x="168" y="361"/>
                  </a:lnTo>
                  <a:lnTo>
                    <a:pt x="169" y="360"/>
                  </a:lnTo>
                  <a:lnTo>
                    <a:pt x="171" y="360"/>
                  </a:lnTo>
                  <a:lnTo>
                    <a:pt x="173" y="361"/>
                  </a:lnTo>
                  <a:lnTo>
                    <a:pt x="172" y="361"/>
                  </a:lnTo>
                  <a:lnTo>
                    <a:pt x="172" y="360"/>
                  </a:lnTo>
                  <a:lnTo>
                    <a:pt x="173" y="360"/>
                  </a:lnTo>
                  <a:lnTo>
                    <a:pt x="174" y="358"/>
                  </a:lnTo>
                  <a:lnTo>
                    <a:pt x="174" y="360"/>
                  </a:lnTo>
                  <a:lnTo>
                    <a:pt x="175" y="360"/>
                  </a:lnTo>
                  <a:lnTo>
                    <a:pt x="175" y="358"/>
                  </a:lnTo>
                  <a:lnTo>
                    <a:pt x="178" y="358"/>
                  </a:lnTo>
                  <a:lnTo>
                    <a:pt x="178" y="357"/>
                  </a:lnTo>
                  <a:lnTo>
                    <a:pt x="179" y="356"/>
                  </a:lnTo>
                  <a:lnTo>
                    <a:pt x="184" y="355"/>
                  </a:lnTo>
                  <a:lnTo>
                    <a:pt x="186" y="355"/>
                  </a:lnTo>
                  <a:lnTo>
                    <a:pt x="186" y="356"/>
                  </a:lnTo>
                  <a:lnTo>
                    <a:pt x="187" y="357"/>
                  </a:lnTo>
                  <a:lnTo>
                    <a:pt x="190" y="358"/>
                  </a:lnTo>
                  <a:lnTo>
                    <a:pt x="191" y="360"/>
                  </a:lnTo>
                  <a:lnTo>
                    <a:pt x="192" y="360"/>
                  </a:lnTo>
                  <a:lnTo>
                    <a:pt x="193" y="360"/>
                  </a:lnTo>
                  <a:lnTo>
                    <a:pt x="195" y="357"/>
                  </a:lnTo>
                  <a:lnTo>
                    <a:pt x="196" y="357"/>
                  </a:lnTo>
                  <a:lnTo>
                    <a:pt x="196" y="356"/>
                  </a:lnTo>
                  <a:lnTo>
                    <a:pt x="201" y="356"/>
                  </a:lnTo>
                  <a:lnTo>
                    <a:pt x="201" y="355"/>
                  </a:lnTo>
                  <a:lnTo>
                    <a:pt x="201" y="354"/>
                  </a:lnTo>
                  <a:lnTo>
                    <a:pt x="202" y="354"/>
                  </a:lnTo>
                  <a:lnTo>
                    <a:pt x="203" y="352"/>
                  </a:lnTo>
                  <a:lnTo>
                    <a:pt x="204" y="352"/>
                  </a:lnTo>
                  <a:lnTo>
                    <a:pt x="204" y="354"/>
                  </a:lnTo>
                  <a:lnTo>
                    <a:pt x="204" y="355"/>
                  </a:lnTo>
                  <a:lnTo>
                    <a:pt x="203" y="354"/>
                  </a:lnTo>
                  <a:lnTo>
                    <a:pt x="203" y="355"/>
                  </a:lnTo>
                  <a:lnTo>
                    <a:pt x="204" y="356"/>
                  </a:lnTo>
                  <a:lnTo>
                    <a:pt x="204" y="355"/>
                  </a:lnTo>
                  <a:lnTo>
                    <a:pt x="206" y="354"/>
                  </a:lnTo>
                  <a:lnTo>
                    <a:pt x="208" y="354"/>
                  </a:lnTo>
                  <a:lnTo>
                    <a:pt x="208" y="351"/>
                  </a:lnTo>
                  <a:lnTo>
                    <a:pt x="209" y="350"/>
                  </a:lnTo>
                  <a:lnTo>
                    <a:pt x="208" y="350"/>
                  </a:lnTo>
                  <a:lnTo>
                    <a:pt x="208" y="351"/>
                  </a:lnTo>
                  <a:lnTo>
                    <a:pt x="206" y="351"/>
                  </a:lnTo>
                  <a:lnTo>
                    <a:pt x="207" y="349"/>
                  </a:lnTo>
                  <a:lnTo>
                    <a:pt x="206" y="346"/>
                  </a:lnTo>
                  <a:lnTo>
                    <a:pt x="204" y="345"/>
                  </a:lnTo>
                  <a:lnTo>
                    <a:pt x="206" y="345"/>
                  </a:lnTo>
                  <a:lnTo>
                    <a:pt x="206" y="342"/>
                  </a:lnTo>
                  <a:lnTo>
                    <a:pt x="207" y="339"/>
                  </a:lnTo>
                  <a:lnTo>
                    <a:pt x="208" y="339"/>
                  </a:lnTo>
                  <a:lnTo>
                    <a:pt x="208" y="340"/>
                  </a:lnTo>
                  <a:lnTo>
                    <a:pt x="212" y="339"/>
                  </a:lnTo>
                  <a:lnTo>
                    <a:pt x="213" y="342"/>
                  </a:lnTo>
                  <a:lnTo>
                    <a:pt x="214" y="340"/>
                  </a:lnTo>
                  <a:lnTo>
                    <a:pt x="215" y="342"/>
                  </a:lnTo>
                  <a:lnTo>
                    <a:pt x="216" y="340"/>
                  </a:lnTo>
                  <a:lnTo>
                    <a:pt x="219" y="339"/>
                  </a:lnTo>
                  <a:lnTo>
                    <a:pt x="220" y="337"/>
                  </a:lnTo>
                  <a:lnTo>
                    <a:pt x="222" y="337"/>
                  </a:lnTo>
                  <a:lnTo>
                    <a:pt x="222" y="334"/>
                  </a:lnTo>
                  <a:lnTo>
                    <a:pt x="222" y="333"/>
                  </a:lnTo>
                  <a:lnTo>
                    <a:pt x="224" y="333"/>
                  </a:lnTo>
                  <a:lnTo>
                    <a:pt x="226" y="333"/>
                  </a:lnTo>
                  <a:lnTo>
                    <a:pt x="227" y="332"/>
                  </a:lnTo>
                  <a:lnTo>
                    <a:pt x="226" y="331"/>
                  </a:lnTo>
                  <a:lnTo>
                    <a:pt x="226" y="330"/>
                  </a:lnTo>
                  <a:lnTo>
                    <a:pt x="227" y="330"/>
                  </a:lnTo>
                  <a:lnTo>
                    <a:pt x="227" y="328"/>
                  </a:lnTo>
                  <a:lnTo>
                    <a:pt x="227" y="330"/>
                  </a:lnTo>
                  <a:lnTo>
                    <a:pt x="228" y="330"/>
                  </a:lnTo>
                  <a:lnTo>
                    <a:pt x="230" y="331"/>
                  </a:lnTo>
                  <a:lnTo>
                    <a:pt x="231" y="331"/>
                  </a:lnTo>
                  <a:lnTo>
                    <a:pt x="232" y="333"/>
                  </a:lnTo>
                  <a:lnTo>
                    <a:pt x="233" y="332"/>
                  </a:lnTo>
                  <a:lnTo>
                    <a:pt x="234" y="331"/>
                  </a:lnTo>
                  <a:lnTo>
                    <a:pt x="236" y="331"/>
                  </a:lnTo>
                  <a:lnTo>
                    <a:pt x="237" y="331"/>
                  </a:lnTo>
                  <a:lnTo>
                    <a:pt x="238" y="331"/>
                  </a:lnTo>
                  <a:lnTo>
                    <a:pt x="239" y="331"/>
                  </a:lnTo>
                  <a:lnTo>
                    <a:pt x="240" y="331"/>
                  </a:lnTo>
                  <a:lnTo>
                    <a:pt x="240" y="332"/>
                  </a:lnTo>
                  <a:lnTo>
                    <a:pt x="242" y="332"/>
                  </a:lnTo>
                  <a:lnTo>
                    <a:pt x="244" y="331"/>
                  </a:lnTo>
                  <a:lnTo>
                    <a:pt x="245" y="331"/>
                  </a:lnTo>
                  <a:lnTo>
                    <a:pt x="245" y="330"/>
                  </a:lnTo>
                  <a:lnTo>
                    <a:pt x="246" y="330"/>
                  </a:lnTo>
                  <a:lnTo>
                    <a:pt x="246" y="328"/>
                  </a:lnTo>
                  <a:lnTo>
                    <a:pt x="249" y="328"/>
                  </a:lnTo>
                  <a:lnTo>
                    <a:pt x="249" y="330"/>
                  </a:lnTo>
                  <a:lnTo>
                    <a:pt x="250" y="330"/>
                  </a:lnTo>
                  <a:lnTo>
                    <a:pt x="250" y="331"/>
                  </a:lnTo>
                  <a:lnTo>
                    <a:pt x="250" y="330"/>
                  </a:lnTo>
                  <a:lnTo>
                    <a:pt x="251" y="328"/>
                  </a:lnTo>
                  <a:lnTo>
                    <a:pt x="250" y="327"/>
                  </a:lnTo>
                  <a:lnTo>
                    <a:pt x="251" y="327"/>
                  </a:lnTo>
                  <a:lnTo>
                    <a:pt x="251" y="326"/>
                  </a:lnTo>
                  <a:lnTo>
                    <a:pt x="252" y="326"/>
                  </a:lnTo>
                  <a:lnTo>
                    <a:pt x="255" y="325"/>
                  </a:lnTo>
                  <a:lnTo>
                    <a:pt x="256" y="325"/>
                  </a:lnTo>
                  <a:lnTo>
                    <a:pt x="256" y="326"/>
                  </a:lnTo>
                  <a:lnTo>
                    <a:pt x="257" y="326"/>
                  </a:lnTo>
                  <a:lnTo>
                    <a:pt x="259" y="325"/>
                  </a:lnTo>
                  <a:lnTo>
                    <a:pt x="257" y="324"/>
                  </a:lnTo>
                  <a:lnTo>
                    <a:pt x="256" y="324"/>
                  </a:lnTo>
                  <a:lnTo>
                    <a:pt x="256" y="322"/>
                  </a:lnTo>
                  <a:lnTo>
                    <a:pt x="257" y="322"/>
                  </a:lnTo>
                  <a:lnTo>
                    <a:pt x="256" y="321"/>
                  </a:lnTo>
                  <a:lnTo>
                    <a:pt x="259" y="320"/>
                  </a:lnTo>
                  <a:lnTo>
                    <a:pt x="259" y="321"/>
                  </a:lnTo>
                  <a:lnTo>
                    <a:pt x="260" y="322"/>
                  </a:lnTo>
                  <a:lnTo>
                    <a:pt x="260" y="321"/>
                  </a:lnTo>
                  <a:lnTo>
                    <a:pt x="261" y="321"/>
                  </a:lnTo>
                  <a:lnTo>
                    <a:pt x="260" y="320"/>
                  </a:lnTo>
                  <a:lnTo>
                    <a:pt x="261" y="319"/>
                  </a:lnTo>
                  <a:lnTo>
                    <a:pt x="262" y="319"/>
                  </a:lnTo>
                  <a:lnTo>
                    <a:pt x="261" y="319"/>
                  </a:lnTo>
                  <a:lnTo>
                    <a:pt x="261" y="318"/>
                  </a:lnTo>
                  <a:lnTo>
                    <a:pt x="261" y="316"/>
                  </a:lnTo>
                  <a:lnTo>
                    <a:pt x="261" y="315"/>
                  </a:lnTo>
                  <a:lnTo>
                    <a:pt x="260" y="314"/>
                  </a:lnTo>
                  <a:lnTo>
                    <a:pt x="261" y="314"/>
                  </a:lnTo>
                  <a:lnTo>
                    <a:pt x="261" y="313"/>
                  </a:lnTo>
                  <a:lnTo>
                    <a:pt x="262" y="313"/>
                  </a:lnTo>
                  <a:lnTo>
                    <a:pt x="263" y="313"/>
                  </a:lnTo>
                  <a:lnTo>
                    <a:pt x="262" y="313"/>
                  </a:lnTo>
                  <a:lnTo>
                    <a:pt x="262" y="312"/>
                  </a:lnTo>
                  <a:lnTo>
                    <a:pt x="262" y="310"/>
                  </a:lnTo>
                  <a:lnTo>
                    <a:pt x="265" y="309"/>
                  </a:lnTo>
                  <a:lnTo>
                    <a:pt x="266" y="310"/>
                  </a:lnTo>
                  <a:lnTo>
                    <a:pt x="266" y="309"/>
                  </a:lnTo>
                  <a:lnTo>
                    <a:pt x="267" y="308"/>
                  </a:lnTo>
                  <a:lnTo>
                    <a:pt x="267" y="307"/>
                  </a:lnTo>
                  <a:lnTo>
                    <a:pt x="267" y="306"/>
                  </a:lnTo>
                  <a:lnTo>
                    <a:pt x="268" y="306"/>
                  </a:lnTo>
                  <a:lnTo>
                    <a:pt x="268" y="303"/>
                  </a:lnTo>
                  <a:lnTo>
                    <a:pt x="269" y="303"/>
                  </a:lnTo>
                  <a:lnTo>
                    <a:pt x="271" y="302"/>
                  </a:lnTo>
                  <a:lnTo>
                    <a:pt x="272" y="301"/>
                  </a:lnTo>
                  <a:lnTo>
                    <a:pt x="272" y="300"/>
                  </a:lnTo>
                  <a:lnTo>
                    <a:pt x="271" y="300"/>
                  </a:lnTo>
                  <a:lnTo>
                    <a:pt x="271" y="297"/>
                  </a:lnTo>
                  <a:lnTo>
                    <a:pt x="271" y="295"/>
                  </a:lnTo>
                  <a:lnTo>
                    <a:pt x="272" y="295"/>
                  </a:lnTo>
                  <a:lnTo>
                    <a:pt x="271" y="295"/>
                  </a:lnTo>
                  <a:lnTo>
                    <a:pt x="269" y="295"/>
                  </a:lnTo>
                  <a:lnTo>
                    <a:pt x="268" y="295"/>
                  </a:lnTo>
                  <a:lnTo>
                    <a:pt x="268" y="296"/>
                  </a:lnTo>
                  <a:lnTo>
                    <a:pt x="267" y="295"/>
                  </a:lnTo>
                  <a:lnTo>
                    <a:pt x="265" y="295"/>
                  </a:lnTo>
                  <a:lnTo>
                    <a:pt x="265" y="294"/>
                  </a:lnTo>
                  <a:lnTo>
                    <a:pt x="263" y="294"/>
                  </a:lnTo>
                  <a:lnTo>
                    <a:pt x="263" y="295"/>
                  </a:lnTo>
                  <a:lnTo>
                    <a:pt x="262" y="295"/>
                  </a:lnTo>
                  <a:lnTo>
                    <a:pt x="261" y="295"/>
                  </a:lnTo>
                  <a:lnTo>
                    <a:pt x="261" y="294"/>
                  </a:lnTo>
                  <a:lnTo>
                    <a:pt x="260" y="294"/>
                  </a:lnTo>
                  <a:lnTo>
                    <a:pt x="259" y="294"/>
                  </a:lnTo>
                  <a:lnTo>
                    <a:pt x="257" y="294"/>
                  </a:lnTo>
                  <a:lnTo>
                    <a:pt x="256" y="294"/>
                  </a:lnTo>
                  <a:lnTo>
                    <a:pt x="255" y="295"/>
                  </a:lnTo>
                  <a:lnTo>
                    <a:pt x="254" y="295"/>
                  </a:lnTo>
                  <a:lnTo>
                    <a:pt x="254" y="296"/>
                  </a:lnTo>
                  <a:lnTo>
                    <a:pt x="252" y="296"/>
                  </a:lnTo>
                  <a:lnTo>
                    <a:pt x="251" y="297"/>
                  </a:lnTo>
                  <a:lnTo>
                    <a:pt x="251" y="298"/>
                  </a:lnTo>
                  <a:lnTo>
                    <a:pt x="250" y="298"/>
                  </a:lnTo>
                  <a:lnTo>
                    <a:pt x="250" y="300"/>
                  </a:lnTo>
                  <a:lnTo>
                    <a:pt x="250" y="301"/>
                  </a:lnTo>
                  <a:lnTo>
                    <a:pt x="249" y="301"/>
                  </a:lnTo>
                  <a:lnTo>
                    <a:pt x="250" y="302"/>
                  </a:lnTo>
                  <a:lnTo>
                    <a:pt x="250" y="303"/>
                  </a:lnTo>
                  <a:lnTo>
                    <a:pt x="251" y="303"/>
                  </a:lnTo>
                  <a:lnTo>
                    <a:pt x="251" y="304"/>
                  </a:lnTo>
                  <a:lnTo>
                    <a:pt x="252" y="306"/>
                  </a:lnTo>
                  <a:lnTo>
                    <a:pt x="251" y="307"/>
                  </a:lnTo>
                  <a:lnTo>
                    <a:pt x="250" y="308"/>
                  </a:lnTo>
                  <a:lnTo>
                    <a:pt x="250" y="309"/>
                  </a:lnTo>
                  <a:lnTo>
                    <a:pt x="249" y="309"/>
                  </a:lnTo>
                  <a:lnTo>
                    <a:pt x="249" y="310"/>
                  </a:lnTo>
                  <a:lnTo>
                    <a:pt x="248" y="312"/>
                  </a:lnTo>
                  <a:lnTo>
                    <a:pt x="246" y="312"/>
                  </a:lnTo>
                  <a:lnTo>
                    <a:pt x="246" y="313"/>
                  </a:lnTo>
                  <a:lnTo>
                    <a:pt x="245" y="313"/>
                  </a:lnTo>
                  <a:lnTo>
                    <a:pt x="244" y="314"/>
                  </a:lnTo>
                  <a:lnTo>
                    <a:pt x="243" y="315"/>
                  </a:lnTo>
                  <a:lnTo>
                    <a:pt x="243" y="316"/>
                  </a:lnTo>
                  <a:lnTo>
                    <a:pt x="244" y="316"/>
                  </a:lnTo>
                  <a:lnTo>
                    <a:pt x="245" y="316"/>
                  </a:lnTo>
                  <a:lnTo>
                    <a:pt x="245" y="315"/>
                  </a:lnTo>
                  <a:lnTo>
                    <a:pt x="246" y="315"/>
                  </a:lnTo>
                  <a:lnTo>
                    <a:pt x="248" y="315"/>
                  </a:lnTo>
                  <a:lnTo>
                    <a:pt x="248" y="316"/>
                  </a:lnTo>
                  <a:lnTo>
                    <a:pt x="249" y="316"/>
                  </a:lnTo>
                  <a:lnTo>
                    <a:pt x="250" y="316"/>
                  </a:lnTo>
                  <a:lnTo>
                    <a:pt x="251" y="316"/>
                  </a:lnTo>
                  <a:lnTo>
                    <a:pt x="252" y="319"/>
                  </a:lnTo>
                  <a:lnTo>
                    <a:pt x="251" y="319"/>
                  </a:lnTo>
                  <a:lnTo>
                    <a:pt x="250" y="319"/>
                  </a:lnTo>
                  <a:lnTo>
                    <a:pt x="250" y="320"/>
                  </a:lnTo>
                  <a:lnTo>
                    <a:pt x="249" y="320"/>
                  </a:lnTo>
                  <a:lnTo>
                    <a:pt x="249" y="322"/>
                  </a:lnTo>
                  <a:lnTo>
                    <a:pt x="248" y="322"/>
                  </a:lnTo>
                  <a:lnTo>
                    <a:pt x="246" y="324"/>
                  </a:lnTo>
                  <a:lnTo>
                    <a:pt x="245" y="325"/>
                  </a:lnTo>
                  <a:lnTo>
                    <a:pt x="244" y="325"/>
                  </a:lnTo>
                  <a:lnTo>
                    <a:pt x="243" y="325"/>
                  </a:lnTo>
                  <a:lnTo>
                    <a:pt x="243" y="324"/>
                  </a:lnTo>
                  <a:lnTo>
                    <a:pt x="242" y="324"/>
                  </a:lnTo>
                  <a:lnTo>
                    <a:pt x="242" y="325"/>
                  </a:lnTo>
                  <a:lnTo>
                    <a:pt x="242" y="326"/>
                  </a:lnTo>
                  <a:lnTo>
                    <a:pt x="240" y="325"/>
                  </a:lnTo>
                  <a:lnTo>
                    <a:pt x="240" y="326"/>
                  </a:lnTo>
                  <a:lnTo>
                    <a:pt x="239" y="325"/>
                  </a:lnTo>
                  <a:lnTo>
                    <a:pt x="238" y="325"/>
                  </a:lnTo>
                  <a:lnTo>
                    <a:pt x="238" y="326"/>
                  </a:lnTo>
                  <a:lnTo>
                    <a:pt x="237" y="326"/>
                  </a:lnTo>
                  <a:lnTo>
                    <a:pt x="236" y="326"/>
                  </a:lnTo>
                  <a:lnTo>
                    <a:pt x="237" y="324"/>
                  </a:lnTo>
                  <a:lnTo>
                    <a:pt x="236" y="324"/>
                  </a:lnTo>
                  <a:lnTo>
                    <a:pt x="234" y="322"/>
                  </a:lnTo>
                  <a:lnTo>
                    <a:pt x="232" y="324"/>
                  </a:lnTo>
                  <a:lnTo>
                    <a:pt x="230" y="324"/>
                  </a:lnTo>
                  <a:lnTo>
                    <a:pt x="230" y="322"/>
                  </a:lnTo>
                  <a:lnTo>
                    <a:pt x="228" y="322"/>
                  </a:lnTo>
                  <a:lnTo>
                    <a:pt x="228" y="324"/>
                  </a:lnTo>
                  <a:lnTo>
                    <a:pt x="227" y="324"/>
                  </a:lnTo>
                  <a:lnTo>
                    <a:pt x="227" y="322"/>
                  </a:lnTo>
                  <a:lnTo>
                    <a:pt x="226" y="322"/>
                  </a:lnTo>
                  <a:lnTo>
                    <a:pt x="225" y="322"/>
                  </a:lnTo>
                  <a:lnTo>
                    <a:pt x="225" y="321"/>
                  </a:lnTo>
                  <a:lnTo>
                    <a:pt x="225" y="320"/>
                  </a:lnTo>
                  <a:lnTo>
                    <a:pt x="228" y="319"/>
                  </a:lnTo>
                  <a:lnTo>
                    <a:pt x="228" y="318"/>
                  </a:lnTo>
                  <a:lnTo>
                    <a:pt x="227" y="315"/>
                  </a:lnTo>
                  <a:lnTo>
                    <a:pt x="230" y="315"/>
                  </a:lnTo>
                  <a:lnTo>
                    <a:pt x="230" y="314"/>
                  </a:lnTo>
                  <a:lnTo>
                    <a:pt x="232" y="314"/>
                  </a:lnTo>
                  <a:lnTo>
                    <a:pt x="231" y="313"/>
                  </a:lnTo>
                  <a:lnTo>
                    <a:pt x="231" y="312"/>
                  </a:lnTo>
                  <a:lnTo>
                    <a:pt x="231" y="310"/>
                  </a:lnTo>
                  <a:lnTo>
                    <a:pt x="230" y="310"/>
                  </a:lnTo>
                  <a:lnTo>
                    <a:pt x="228" y="309"/>
                  </a:lnTo>
                  <a:lnTo>
                    <a:pt x="228" y="308"/>
                  </a:lnTo>
                  <a:lnTo>
                    <a:pt x="228" y="307"/>
                  </a:lnTo>
                  <a:lnTo>
                    <a:pt x="230" y="307"/>
                  </a:lnTo>
                  <a:lnTo>
                    <a:pt x="230" y="306"/>
                  </a:lnTo>
                  <a:lnTo>
                    <a:pt x="230" y="304"/>
                  </a:lnTo>
                  <a:lnTo>
                    <a:pt x="230" y="306"/>
                  </a:lnTo>
                  <a:lnTo>
                    <a:pt x="231" y="306"/>
                  </a:lnTo>
                  <a:lnTo>
                    <a:pt x="232" y="304"/>
                  </a:lnTo>
                  <a:lnTo>
                    <a:pt x="232" y="306"/>
                  </a:lnTo>
                  <a:lnTo>
                    <a:pt x="233" y="306"/>
                  </a:lnTo>
                  <a:lnTo>
                    <a:pt x="233" y="303"/>
                  </a:lnTo>
                  <a:lnTo>
                    <a:pt x="233" y="302"/>
                  </a:lnTo>
                  <a:lnTo>
                    <a:pt x="232" y="302"/>
                  </a:lnTo>
                  <a:lnTo>
                    <a:pt x="231" y="303"/>
                  </a:lnTo>
                  <a:lnTo>
                    <a:pt x="232" y="302"/>
                  </a:lnTo>
                  <a:lnTo>
                    <a:pt x="231" y="301"/>
                  </a:lnTo>
                  <a:lnTo>
                    <a:pt x="231" y="302"/>
                  </a:lnTo>
                  <a:lnTo>
                    <a:pt x="228" y="302"/>
                  </a:lnTo>
                  <a:lnTo>
                    <a:pt x="228" y="303"/>
                  </a:lnTo>
                  <a:lnTo>
                    <a:pt x="227" y="304"/>
                  </a:lnTo>
                  <a:lnTo>
                    <a:pt x="226" y="304"/>
                  </a:lnTo>
                  <a:lnTo>
                    <a:pt x="225" y="304"/>
                  </a:lnTo>
                  <a:lnTo>
                    <a:pt x="224" y="306"/>
                  </a:lnTo>
                  <a:lnTo>
                    <a:pt x="222" y="306"/>
                  </a:lnTo>
                  <a:lnTo>
                    <a:pt x="221" y="306"/>
                  </a:lnTo>
                  <a:lnTo>
                    <a:pt x="221" y="307"/>
                  </a:lnTo>
                  <a:lnTo>
                    <a:pt x="220" y="306"/>
                  </a:lnTo>
                  <a:lnTo>
                    <a:pt x="219" y="306"/>
                  </a:lnTo>
                  <a:lnTo>
                    <a:pt x="219" y="307"/>
                  </a:lnTo>
                  <a:lnTo>
                    <a:pt x="218" y="307"/>
                  </a:lnTo>
                  <a:lnTo>
                    <a:pt x="216" y="307"/>
                  </a:lnTo>
                  <a:lnTo>
                    <a:pt x="215" y="306"/>
                  </a:lnTo>
                  <a:lnTo>
                    <a:pt x="215" y="307"/>
                  </a:lnTo>
                  <a:lnTo>
                    <a:pt x="214" y="308"/>
                  </a:lnTo>
                  <a:lnTo>
                    <a:pt x="214" y="309"/>
                  </a:lnTo>
                  <a:lnTo>
                    <a:pt x="213" y="308"/>
                  </a:lnTo>
                  <a:lnTo>
                    <a:pt x="213" y="309"/>
                  </a:lnTo>
                  <a:lnTo>
                    <a:pt x="212" y="309"/>
                  </a:lnTo>
                  <a:lnTo>
                    <a:pt x="212" y="310"/>
                  </a:lnTo>
                  <a:lnTo>
                    <a:pt x="213" y="310"/>
                  </a:lnTo>
                  <a:lnTo>
                    <a:pt x="212" y="310"/>
                  </a:lnTo>
                  <a:lnTo>
                    <a:pt x="212" y="312"/>
                  </a:lnTo>
                  <a:lnTo>
                    <a:pt x="210" y="312"/>
                  </a:lnTo>
                  <a:lnTo>
                    <a:pt x="209" y="310"/>
                  </a:lnTo>
                  <a:lnTo>
                    <a:pt x="209" y="312"/>
                  </a:lnTo>
                  <a:lnTo>
                    <a:pt x="208" y="313"/>
                  </a:lnTo>
                  <a:lnTo>
                    <a:pt x="207" y="312"/>
                  </a:lnTo>
                  <a:lnTo>
                    <a:pt x="206" y="312"/>
                  </a:lnTo>
                  <a:lnTo>
                    <a:pt x="204" y="310"/>
                  </a:lnTo>
                  <a:lnTo>
                    <a:pt x="202" y="310"/>
                  </a:lnTo>
                  <a:lnTo>
                    <a:pt x="202" y="309"/>
                  </a:lnTo>
                  <a:lnTo>
                    <a:pt x="200" y="309"/>
                  </a:lnTo>
                  <a:lnTo>
                    <a:pt x="198" y="309"/>
                  </a:lnTo>
                  <a:lnTo>
                    <a:pt x="198" y="308"/>
                  </a:lnTo>
                  <a:lnTo>
                    <a:pt x="197" y="308"/>
                  </a:lnTo>
                  <a:lnTo>
                    <a:pt x="196" y="307"/>
                  </a:lnTo>
                  <a:lnTo>
                    <a:pt x="196" y="308"/>
                  </a:lnTo>
                  <a:lnTo>
                    <a:pt x="196" y="309"/>
                  </a:lnTo>
                  <a:lnTo>
                    <a:pt x="195" y="308"/>
                  </a:lnTo>
                  <a:lnTo>
                    <a:pt x="195" y="310"/>
                  </a:lnTo>
                  <a:lnTo>
                    <a:pt x="193" y="310"/>
                  </a:lnTo>
                  <a:lnTo>
                    <a:pt x="192" y="312"/>
                  </a:lnTo>
                  <a:lnTo>
                    <a:pt x="191" y="312"/>
                  </a:lnTo>
                  <a:lnTo>
                    <a:pt x="191" y="313"/>
                  </a:lnTo>
                  <a:lnTo>
                    <a:pt x="190" y="314"/>
                  </a:lnTo>
                  <a:lnTo>
                    <a:pt x="190" y="313"/>
                  </a:lnTo>
                  <a:lnTo>
                    <a:pt x="189" y="312"/>
                  </a:lnTo>
                  <a:lnTo>
                    <a:pt x="189" y="310"/>
                  </a:lnTo>
                  <a:lnTo>
                    <a:pt x="187" y="312"/>
                  </a:lnTo>
                  <a:lnTo>
                    <a:pt x="186" y="313"/>
                  </a:lnTo>
                  <a:lnTo>
                    <a:pt x="187" y="313"/>
                  </a:lnTo>
                  <a:lnTo>
                    <a:pt x="186" y="315"/>
                  </a:lnTo>
                  <a:lnTo>
                    <a:pt x="187" y="315"/>
                  </a:lnTo>
                  <a:lnTo>
                    <a:pt x="186" y="315"/>
                  </a:lnTo>
                  <a:lnTo>
                    <a:pt x="186" y="314"/>
                  </a:lnTo>
                  <a:lnTo>
                    <a:pt x="185" y="315"/>
                  </a:lnTo>
                  <a:lnTo>
                    <a:pt x="185" y="316"/>
                  </a:lnTo>
                  <a:lnTo>
                    <a:pt x="184" y="316"/>
                  </a:lnTo>
                  <a:lnTo>
                    <a:pt x="183" y="314"/>
                  </a:lnTo>
                  <a:lnTo>
                    <a:pt x="181" y="313"/>
                  </a:lnTo>
                  <a:lnTo>
                    <a:pt x="181" y="314"/>
                  </a:lnTo>
                  <a:lnTo>
                    <a:pt x="180" y="314"/>
                  </a:lnTo>
                  <a:lnTo>
                    <a:pt x="178" y="315"/>
                  </a:lnTo>
                  <a:lnTo>
                    <a:pt x="178" y="314"/>
                  </a:lnTo>
                  <a:lnTo>
                    <a:pt x="179" y="314"/>
                  </a:lnTo>
                  <a:lnTo>
                    <a:pt x="178" y="313"/>
                  </a:lnTo>
                  <a:lnTo>
                    <a:pt x="178" y="312"/>
                  </a:lnTo>
                  <a:lnTo>
                    <a:pt x="178" y="310"/>
                  </a:lnTo>
                  <a:lnTo>
                    <a:pt x="179" y="310"/>
                  </a:lnTo>
                  <a:lnTo>
                    <a:pt x="179" y="309"/>
                  </a:lnTo>
                  <a:lnTo>
                    <a:pt x="180" y="309"/>
                  </a:lnTo>
                  <a:lnTo>
                    <a:pt x="181" y="309"/>
                  </a:lnTo>
                  <a:lnTo>
                    <a:pt x="183" y="309"/>
                  </a:lnTo>
                  <a:lnTo>
                    <a:pt x="184" y="309"/>
                  </a:lnTo>
                  <a:lnTo>
                    <a:pt x="183" y="308"/>
                  </a:lnTo>
                  <a:lnTo>
                    <a:pt x="184" y="307"/>
                  </a:lnTo>
                  <a:lnTo>
                    <a:pt x="183" y="307"/>
                  </a:lnTo>
                  <a:lnTo>
                    <a:pt x="183" y="306"/>
                  </a:lnTo>
                  <a:lnTo>
                    <a:pt x="185" y="306"/>
                  </a:lnTo>
                  <a:lnTo>
                    <a:pt x="186" y="304"/>
                  </a:lnTo>
                  <a:lnTo>
                    <a:pt x="187" y="306"/>
                  </a:lnTo>
                  <a:lnTo>
                    <a:pt x="189" y="306"/>
                  </a:lnTo>
                  <a:lnTo>
                    <a:pt x="189" y="304"/>
                  </a:lnTo>
                  <a:lnTo>
                    <a:pt x="187" y="304"/>
                  </a:lnTo>
                  <a:lnTo>
                    <a:pt x="186" y="303"/>
                  </a:lnTo>
                  <a:lnTo>
                    <a:pt x="185" y="303"/>
                  </a:lnTo>
                  <a:lnTo>
                    <a:pt x="185" y="302"/>
                  </a:lnTo>
                  <a:lnTo>
                    <a:pt x="183" y="302"/>
                  </a:lnTo>
                  <a:lnTo>
                    <a:pt x="183" y="303"/>
                  </a:lnTo>
                  <a:lnTo>
                    <a:pt x="181" y="304"/>
                  </a:lnTo>
                  <a:lnTo>
                    <a:pt x="179" y="304"/>
                  </a:lnTo>
                  <a:lnTo>
                    <a:pt x="178" y="304"/>
                  </a:lnTo>
                  <a:lnTo>
                    <a:pt x="178" y="306"/>
                  </a:lnTo>
                  <a:lnTo>
                    <a:pt x="178" y="307"/>
                  </a:lnTo>
                  <a:lnTo>
                    <a:pt x="177" y="307"/>
                  </a:lnTo>
                  <a:lnTo>
                    <a:pt x="177" y="306"/>
                  </a:lnTo>
                  <a:lnTo>
                    <a:pt x="177" y="304"/>
                  </a:lnTo>
                  <a:lnTo>
                    <a:pt x="175" y="304"/>
                  </a:lnTo>
                  <a:lnTo>
                    <a:pt x="174" y="306"/>
                  </a:lnTo>
                  <a:lnTo>
                    <a:pt x="173" y="308"/>
                  </a:lnTo>
                  <a:lnTo>
                    <a:pt x="173" y="310"/>
                  </a:lnTo>
                  <a:lnTo>
                    <a:pt x="172" y="307"/>
                  </a:lnTo>
                  <a:lnTo>
                    <a:pt x="171" y="307"/>
                  </a:lnTo>
                  <a:lnTo>
                    <a:pt x="169" y="307"/>
                  </a:lnTo>
                  <a:lnTo>
                    <a:pt x="168" y="307"/>
                  </a:lnTo>
                  <a:lnTo>
                    <a:pt x="168" y="306"/>
                  </a:lnTo>
                  <a:lnTo>
                    <a:pt x="168" y="304"/>
                  </a:lnTo>
                  <a:lnTo>
                    <a:pt x="168" y="306"/>
                  </a:lnTo>
                  <a:lnTo>
                    <a:pt x="167" y="306"/>
                  </a:lnTo>
                  <a:lnTo>
                    <a:pt x="166" y="306"/>
                  </a:lnTo>
                  <a:lnTo>
                    <a:pt x="166" y="304"/>
                  </a:lnTo>
                  <a:lnTo>
                    <a:pt x="165" y="304"/>
                  </a:lnTo>
                  <a:lnTo>
                    <a:pt x="165" y="303"/>
                  </a:lnTo>
                  <a:lnTo>
                    <a:pt x="163" y="303"/>
                  </a:lnTo>
                  <a:lnTo>
                    <a:pt x="163" y="304"/>
                  </a:lnTo>
                  <a:lnTo>
                    <a:pt x="162" y="304"/>
                  </a:lnTo>
                  <a:lnTo>
                    <a:pt x="161" y="303"/>
                  </a:lnTo>
                  <a:lnTo>
                    <a:pt x="162" y="303"/>
                  </a:lnTo>
                  <a:lnTo>
                    <a:pt x="161" y="302"/>
                  </a:lnTo>
                  <a:lnTo>
                    <a:pt x="160" y="302"/>
                  </a:lnTo>
                  <a:lnTo>
                    <a:pt x="160" y="301"/>
                  </a:lnTo>
                  <a:lnTo>
                    <a:pt x="159" y="302"/>
                  </a:lnTo>
                  <a:lnTo>
                    <a:pt x="159" y="301"/>
                  </a:lnTo>
                  <a:lnTo>
                    <a:pt x="157" y="301"/>
                  </a:lnTo>
                  <a:lnTo>
                    <a:pt x="156" y="300"/>
                  </a:lnTo>
                  <a:lnTo>
                    <a:pt x="157" y="300"/>
                  </a:lnTo>
                  <a:lnTo>
                    <a:pt x="159" y="300"/>
                  </a:lnTo>
                  <a:lnTo>
                    <a:pt x="157" y="298"/>
                  </a:lnTo>
                  <a:lnTo>
                    <a:pt x="156" y="297"/>
                  </a:lnTo>
                  <a:lnTo>
                    <a:pt x="155" y="296"/>
                  </a:lnTo>
                  <a:lnTo>
                    <a:pt x="156" y="296"/>
                  </a:lnTo>
                  <a:lnTo>
                    <a:pt x="157" y="296"/>
                  </a:lnTo>
                  <a:lnTo>
                    <a:pt x="157" y="295"/>
                  </a:lnTo>
                  <a:lnTo>
                    <a:pt x="156" y="295"/>
                  </a:lnTo>
                  <a:lnTo>
                    <a:pt x="156" y="294"/>
                  </a:lnTo>
                  <a:lnTo>
                    <a:pt x="157" y="294"/>
                  </a:lnTo>
                  <a:lnTo>
                    <a:pt x="157" y="292"/>
                  </a:lnTo>
                  <a:lnTo>
                    <a:pt x="156" y="294"/>
                  </a:lnTo>
                  <a:lnTo>
                    <a:pt x="156" y="292"/>
                  </a:lnTo>
                  <a:lnTo>
                    <a:pt x="155" y="292"/>
                  </a:lnTo>
                  <a:lnTo>
                    <a:pt x="155" y="291"/>
                  </a:lnTo>
                  <a:lnTo>
                    <a:pt x="153" y="291"/>
                  </a:lnTo>
                  <a:lnTo>
                    <a:pt x="154" y="290"/>
                  </a:lnTo>
                  <a:lnTo>
                    <a:pt x="153" y="290"/>
                  </a:lnTo>
                  <a:lnTo>
                    <a:pt x="153" y="289"/>
                  </a:lnTo>
                  <a:lnTo>
                    <a:pt x="153" y="288"/>
                  </a:lnTo>
                  <a:lnTo>
                    <a:pt x="153" y="286"/>
                  </a:lnTo>
                  <a:lnTo>
                    <a:pt x="151" y="286"/>
                  </a:lnTo>
                  <a:lnTo>
                    <a:pt x="151" y="285"/>
                  </a:lnTo>
                  <a:lnTo>
                    <a:pt x="151" y="284"/>
                  </a:lnTo>
                  <a:lnTo>
                    <a:pt x="151" y="283"/>
                  </a:lnTo>
                  <a:lnTo>
                    <a:pt x="150" y="283"/>
                  </a:lnTo>
                  <a:lnTo>
                    <a:pt x="150" y="282"/>
                  </a:lnTo>
                  <a:lnTo>
                    <a:pt x="150" y="280"/>
                  </a:lnTo>
                  <a:lnTo>
                    <a:pt x="150" y="279"/>
                  </a:lnTo>
                  <a:lnTo>
                    <a:pt x="151" y="279"/>
                  </a:lnTo>
                  <a:lnTo>
                    <a:pt x="151" y="278"/>
                  </a:lnTo>
                  <a:lnTo>
                    <a:pt x="153" y="278"/>
                  </a:lnTo>
                  <a:lnTo>
                    <a:pt x="153" y="279"/>
                  </a:lnTo>
                  <a:lnTo>
                    <a:pt x="154" y="279"/>
                  </a:lnTo>
                  <a:lnTo>
                    <a:pt x="155" y="280"/>
                  </a:lnTo>
                  <a:lnTo>
                    <a:pt x="155" y="282"/>
                  </a:lnTo>
                  <a:lnTo>
                    <a:pt x="156" y="282"/>
                  </a:lnTo>
                  <a:lnTo>
                    <a:pt x="156" y="280"/>
                  </a:lnTo>
                  <a:lnTo>
                    <a:pt x="157" y="280"/>
                  </a:lnTo>
                  <a:lnTo>
                    <a:pt x="159" y="280"/>
                  </a:lnTo>
                  <a:lnTo>
                    <a:pt x="160" y="280"/>
                  </a:lnTo>
                  <a:lnTo>
                    <a:pt x="160" y="279"/>
                  </a:lnTo>
                  <a:lnTo>
                    <a:pt x="161" y="279"/>
                  </a:lnTo>
                  <a:lnTo>
                    <a:pt x="161" y="278"/>
                  </a:lnTo>
                  <a:lnTo>
                    <a:pt x="161" y="277"/>
                  </a:lnTo>
                  <a:lnTo>
                    <a:pt x="162" y="277"/>
                  </a:lnTo>
                  <a:lnTo>
                    <a:pt x="163" y="277"/>
                  </a:lnTo>
                  <a:lnTo>
                    <a:pt x="163" y="278"/>
                  </a:lnTo>
                  <a:lnTo>
                    <a:pt x="165" y="279"/>
                  </a:lnTo>
                  <a:lnTo>
                    <a:pt x="165" y="278"/>
                  </a:lnTo>
                  <a:lnTo>
                    <a:pt x="166" y="278"/>
                  </a:lnTo>
                  <a:lnTo>
                    <a:pt x="166" y="277"/>
                  </a:lnTo>
                  <a:lnTo>
                    <a:pt x="166" y="275"/>
                  </a:lnTo>
                  <a:lnTo>
                    <a:pt x="167" y="275"/>
                  </a:lnTo>
                  <a:lnTo>
                    <a:pt x="167" y="277"/>
                  </a:lnTo>
                  <a:lnTo>
                    <a:pt x="168" y="277"/>
                  </a:lnTo>
                  <a:lnTo>
                    <a:pt x="171" y="277"/>
                  </a:lnTo>
                  <a:lnTo>
                    <a:pt x="169" y="275"/>
                  </a:lnTo>
                  <a:lnTo>
                    <a:pt x="168" y="274"/>
                  </a:lnTo>
                  <a:lnTo>
                    <a:pt x="168" y="273"/>
                  </a:lnTo>
                  <a:lnTo>
                    <a:pt x="168" y="272"/>
                  </a:lnTo>
                  <a:lnTo>
                    <a:pt x="167" y="272"/>
                  </a:lnTo>
                  <a:lnTo>
                    <a:pt x="167" y="271"/>
                  </a:lnTo>
                  <a:lnTo>
                    <a:pt x="166" y="271"/>
                  </a:lnTo>
                  <a:lnTo>
                    <a:pt x="165" y="269"/>
                  </a:lnTo>
                  <a:lnTo>
                    <a:pt x="166" y="268"/>
                  </a:lnTo>
                  <a:lnTo>
                    <a:pt x="166" y="267"/>
                  </a:lnTo>
                  <a:lnTo>
                    <a:pt x="165" y="266"/>
                  </a:lnTo>
                  <a:lnTo>
                    <a:pt x="163" y="266"/>
                  </a:lnTo>
                  <a:lnTo>
                    <a:pt x="163" y="265"/>
                  </a:lnTo>
                  <a:lnTo>
                    <a:pt x="162" y="265"/>
                  </a:lnTo>
                  <a:lnTo>
                    <a:pt x="162" y="263"/>
                  </a:lnTo>
                  <a:lnTo>
                    <a:pt x="161" y="263"/>
                  </a:lnTo>
                  <a:lnTo>
                    <a:pt x="161" y="262"/>
                  </a:lnTo>
                  <a:lnTo>
                    <a:pt x="161" y="261"/>
                  </a:lnTo>
                  <a:lnTo>
                    <a:pt x="161" y="260"/>
                  </a:lnTo>
                  <a:lnTo>
                    <a:pt x="161" y="257"/>
                  </a:lnTo>
                  <a:lnTo>
                    <a:pt x="160" y="257"/>
                  </a:lnTo>
                  <a:lnTo>
                    <a:pt x="160" y="256"/>
                  </a:lnTo>
                  <a:lnTo>
                    <a:pt x="159" y="256"/>
                  </a:lnTo>
                  <a:lnTo>
                    <a:pt x="159" y="255"/>
                  </a:lnTo>
                  <a:lnTo>
                    <a:pt x="159" y="254"/>
                  </a:lnTo>
                  <a:lnTo>
                    <a:pt x="157" y="253"/>
                  </a:lnTo>
                  <a:lnTo>
                    <a:pt x="157" y="251"/>
                  </a:lnTo>
                  <a:lnTo>
                    <a:pt x="157" y="250"/>
                  </a:lnTo>
                  <a:lnTo>
                    <a:pt x="157" y="249"/>
                  </a:lnTo>
                  <a:lnTo>
                    <a:pt x="157" y="248"/>
                  </a:lnTo>
                  <a:lnTo>
                    <a:pt x="157" y="247"/>
                  </a:lnTo>
                  <a:lnTo>
                    <a:pt x="157" y="245"/>
                  </a:lnTo>
                  <a:lnTo>
                    <a:pt x="157" y="244"/>
                  </a:lnTo>
                  <a:lnTo>
                    <a:pt x="157" y="243"/>
                  </a:lnTo>
                  <a:lnTo>
                    <a:pt x="157" y="242"/>
                  </a:lnTo>
                  <a:lnTo>
                    <a:pt x="157" y="239"/>
                  </a:lnTo>
                  <a:lnTo>
                    <a:pt x="156" y="239"/>
                  </a:lnTo>
                  <a:lnTo>
                    <a:pt x="156" y="238"/>
                  </a:lnTo>
                  <a:lnTo>
                    <a:pt x="155" y="238"/>
                  </a:lnTo>
                  <a:lnTo>
                    <a:pt x="155" y="237"/>
                  </a:lnTo>
                  <a:lnTo>
                    <a:pt x="156" y="237"/>
                  </a:lnTo>
                  <a:lnTo>
                    <a:pt x="156" y="236"/>
                  </a:lnTo>
                  <a:lnTo>
                    <a:pt x="157" y="235"/>
                  </a:lnTo>
                  <a:lnTo>
                    <a:pt x="159" y="235"/>
                  </a:lnTo>
                  <a:lnTo>
                    <a:pt x="160" y="235"/>
                  </a:lnTo>
                  <a:lnTo>
                    <a:pt x="160" y="236"/>
                  </a:lnTo>
                  <a:lnTo>
                    <a:pt x="160" y="237"/>
                  </a:lnTo>
                  <a:lnTo>
                    <a:pt x="160" y="238"/>
                  </a:lnTo>
                  <a:lnTo>
                    <a:pt x="161" y="238"/>
                  </a:lnTo>
                  <a:lnTo>
                    <a:pt x="161" y="239"/>
                  </a:lnTo>
                  <a:lnTo>
                    <a:pt x="162" y="239"/>
                  </a:lnTo>
                  <a:lnTo>
                    <a:pt x="163" y="239"/>
                  </a:lnTo>
                  <a:lnTo>
                    <a:pt x="165" y="241"/>
                  </a:lnTo>
                  <a:lnTo>
                    <a:pt x="166" y="241"/>
                  </a:lnTo>
                  <a:lnTo>
                    <a:pt x="166" y="242"/>
                  </a:lnTo>
                  <a:lnTo>
                    <a:pt x="167" y="242"/>
                  </a:lnTo>
                  <a:lnTo>
                    <a:pt x="167" y="243"/>
                  </a:lnTo>
                  <a:lnTo>
                    <a:pt x="167" y="244"/>
                  </a:lnTo>
                  <a:lnTo>
                    <a:pt x="167" y="243"/>
                  </a:lnTo>
                  <a:lnTo>
                    <a:pt x="168" y="243"/>
                  </a:lnTo>
                  <a:lnTo>
                    <a:pt x="168" y="242"/>
                  </a:lnTo>
                  <a:lnTo>
                    <a:pt x="168" y="239"/>
                  </a:lnTo>
                  <a:lnTo>
                    <a:pt x="168" y="238"/>
                  </a:lnTo>
                  <a:lnTo>
                    <a:pt x="169" y="237"/>
                  </a:lnTo>
                  <a:lnTo>
                    <a:pt x="169" y="236"/>
                  </a:lnTo>
                  <a:lnTo>
                    <a:pt x="171" y="236"/>
                  </a:lnTo>
                  <a:lnTo>
                    <a:pt x="171" y="237"/>
                  </a:lnTo>
                  <a:lnTo>
                    <a:pt x="172" y="236"/>
                  </a:lnTo>
                  <a:lnTo>
                    <a:pt x="173" y="238"/>
                  </a:lnTo>
                  <a:lnTo>
                    <a:pt x="173" y="239"/>
                  </a:lnTo>
                  <a:lnTo>
                    <a:pt x="174" y="239"/>
                  </a:lnTo>
                  <a:lnTo>
                    <a:pt x="174" y="241"/>
                  </a:lnTo>
                  <a:lnTo>
                    <a:pt x="174" y="242"/>
                  </a:lnTo>
                  <a:lnTo>
                    <a:pt x="174" y="241"/>
                  </a:lnTo>
                  <a:lnTo>
                    <a:pt x="175" y="241"/>
                  </a:lnTo>
                  <a:lnTo>
                    <a:pt x="175" y="239"/>
                  </a:lnTo>
                  <a:lnTo>
                    <a:pt x="175" y="238"/>
                  </a:lnTo>
                  <a:lnTo>
                    <a:pt x="178" y="238"/>
                  </a:lnTo>
                  <a:lnTo>
                    <a:pt x="179" y="238"/>
                  </a:lnTo>
                  <a:lnTo>
                    <a:pt x="179" y="239"/>
                  </a:lnTo>
                  <a:lnTo>
                    <a:pt x="179" y="241"/>
                  </a:lnTo>
                  <a:lnTo>
                    <a:pt x="180" y="241"/>
                  </a:lnTo>
                  <a:lnTo>
                    <a:pt x="181" y="242"/>
                  </a:lnTo>
                  <a:lnTo>
                    <a:pt x="183" y="242"/>
                  </a:lnTo>
                  <a:lnTo>
                    <a:pt x="183" y="243"/>
                  </a:lnTo>
                  <a:lnTo>
                    <a:pt x="184" y="243"/>
                  </a:lnTo>
                  <a:lnTo>
                    <a:pt x="184" y="244"/>
                  </a:lnTo>
                  <a:lnTo>
                    <a:pt x="184" y="245"/>
                  </a:lnTo>
                  <a:lnTo>
                    <a:pt x="185" y="245"/>
                  </a:lnTo>
                  <a:lnTo>
                    <a:pt x="185" y="247"/>
                  </a:lnTo>
                  <a:lnTo>
                    <a:pt x="186" y="247"/>
                  </a:lnTo>
                  <a:lnTo>
                    <a:pt x="189" y="248"/>
                  </a:lnTo>
                  <a:lnTo>
                    <a:pt x="190" y="247"/>
                  </a:lnTo>
                  <a:lnTo>
                    <a:pt x="190" y="245"/>
                  </a:lnTo>
                  <a:lnTo>
                    <a:pt x="189" y="245"/>
                  </a:lnTo>
                  <a:lnTo>
                    <a:pt x="189" y="244"/>
                  </a:lnTo>
                  <a:lnTo>
                    <a:pt x="187" y="244"/>
                  </a:lnTo>
                  <a:lnTo>
                    <a:pt x="186" y="244"/>
                  </a:lnTo>
                  <a:lnTo>
                    <a:pt x="186" y="243"/>
                  </a:lnTo>
                  <a:lnTo>
                    <a:pt x="186" y="242"/>
                  </a:lnTo>
                  <a:lnTo>
                    <a:pt x="185" y="241"/>
                  </a:lnTo>
                  <a:lnTo>
                    <a:pt x="184" y="241"/>
                  </a:lnTo>
                  <a:lnTo>
                    <a:pt x="184" y="239"/>
                  </a:lnTo>
                  <a:lnTo>
                    <a:pt x="185" y="239"/>
                  </a:lnTo>
                  <a:lnTo>
                    <a:pt x="185" y="238"/>
                  </a:lnTo>
                  <a:lnTo>
                    <a:pt x="185" y="237"/>
                  </a:lnTo>
                  <a:lnTo>
                    <a:pt x="185" y="236"/>
                  </a:lnTo>
                  <a:lnTo>
                    <a:pt x="186" y="236"/>
                  </a:lnTo>
                  <a:lnTo>
                    <a:pt x="186" y="235"/>
                  </a:lnTo>
                  <a:lnTo>
                    <a:pt x="187" y="235"/>
                  </a:lnTo>
                  <a:lnTo>
                    <a:pt x="189" y="236"/>
                  </a:lnTo>
                  <a:lnTo>
                    <a:pt x="190" y="236"/>
                  </a:lnTo>
                  <a:lnTo>
                    <a:pt x="192" y="236"/>
                  </a:lnTo>
                  <a:lnTo>
                    <a:pt x="192" y="235"/>
                  </a:lnTo>
                  <a:lnTo>
                    <a:pt x="195" y="235"/>
                  </a:lnTo>
                  <a:lnTo>
                    <a:pt x="193" y="236"/>
                  </a:lnTo>
                  <a:lnTo>
                    <a:pt x="195" y="236"/>
                  </a:lnTo>
                  <a:lnTo>
                    <a:pt x="195" y="237"/>
                  </a:lnTo>
                  <a:lnTo>
                    <a:pt x="196" y="237"/>
                  </a:lnTo>
                  <a:lnTo>
                    <a:pt x="195" y="237"/>
                  </a:lnTo>
                  <a:lnTo>
                    <a:pt x="195" y="238"/>
                  </a:lnTo>
                  <a:lnTo>
                    <a:pt x="196" y="239"/>
                  </a:lnTo>
                  <a:lnTo>
                    <a:pt x="196" y="238"/>
                  </a:lnTo>
                  <a:lnTo>
                    <a:pt x="197" y="238"/>
                  </a:lnTo>
                  <a:lnTo>
                    <a:pt x="198" y="238"/>
                  </a:lnTo>
                  <a:lnTo>
                    <a:pt x="198" y="239"/>
                  </a:lnTo>
                  <a:lnTo>
                    <a:pt x="201" y="238"/>
                  </a:lnTo>
                  <a:lnTo>
                    <a:pt x="201" y="239"/>
                  </a:lnTo>
                  <a:lnTo>
                    <a:pt x="202" y="239"/>
                  </a:lnTo>
                  <a:lnTo>
                    <a:pt x="203" y="239"/>
                  </a:lnTo>
                  <a:lnTo>
                    <a:pt x="206" y="239"/>
                  </a:lnTo>
                  <a:lnTo>
                    <a:pt x="207" y="237"/>
                  </a:lnTo>
                  <a:lnTo>
                    <a:pt x="208" y="237"/>
                  </a:lnTo>
                  <a:lnTo>
                    <a:pt x="208" y="236"/>
                  </a:lnTo>
                  <a:lnTo>
                    <a:pt x="207" y="235"/>
                  </a:lnTo>
                  <a:lnTo>
                    <a:pt x="208" y="235"/>
                  </a:lnTo>
                  <a:lnTo>
                    <a:pt x="207" y="235"/>
                  </a:lnTo>
                  <a:lnTo>
                    <a:pt x="207" y="236"/>
                  </a:lnTo>
                  <a:lnTo>
                    <a:pt x="207" y="235"/>
                  </a:lnTo>
                  <a:lnTo>
                    <a:pt x="204" y="236"/>
                  </a:lnTo>
                  <a:lnTo>
                    <a:pt x="204" y="235"/>
                  </a:lnTo>
                  <a:lnTo>
                    <a:pt x="203" y="235"/>
                  </a:lnTo>
                  <a:lnTo>
                    <a:pt x="202" y="233"/>
                  </a:lnTo>
                  <a:lnTo>
                    <a:pt x="201" y="233"/>
                  </a:lnTo>
                  <a:lnTo>
                    <a:pt x="201" y="232"/>
                  </a:lnTo>
                  <a:lnTo>
                    <a:pt x="200" y="232"/>
                  </a:lnTo>
                  <a:lnTo>
                    <a:pt x="197" y="232"/>
                  </a:lnTo>
                  <a:lnTo>
                    <a:pt x="197" y="231"/>
                  </a:lnTo>
                  <a:lnTo>
                    <a:pt x="196" y="231"/>
                  </a:lnTo>
                  <a:lnTo>
                    <a:pt x="196" y="230"/>
                  </a:lnTo>
                  <a:lnTo>
                    <a:pt x="196" y="227"/>
                  </a:lnTo>
                  <a:lnTo>
                    <a:pt x="195" y="227"/>
                  </a:lnTo>
                  <a:lnTo>
                    <a:pt x="193" y="227"/>
                  </a:lnTo>
                  <a:lnTo>
                    <a:pt x="193" y="229"/>
                  </a:lnTo>
                  <a:lnTo>
                    <a:pt x="192" y="229"/>
                  </a:lnTo>
                  <a:lnTo>
                    <a:pt x="190" y="229"/>
                  </a:lnTo>
                  <a:lnTo>
                    <a:pt x="189" y="229"/>
                  </a:lnTo>
                  <a:lnTo>
                    <a:pt x="186" y="227"/>
                  </a:lnTo>
                  <a:lnTo>
                    <a:pt x="185" y="227"/>
                  </a:lnTo>
                  <a:lnTo>
                    <a:pt x="184" y="226"/>
                  </a:lnTo>
                  <a:lnTo>
                    <a:pt x="184" y="225"/>
                  </a:lnTo>
                  <a:lnTo>
                    <a:pt x="184" y="224"/>
                  </a:lnTo>
                  <a:lnTo>
                    <a:pt x="183" y="224"/>
                  </a:lnTo>
                  <a:lnTo>
                    <a:pt x="183" y="223"/>
                  </a:lnTo>
                  <a:lnTo>
                    <a:pt x="183" y="221"/>
                  </a:lnTo>
                  <a:lnTo>
                    <a:pt x="181" y="221"/>
                  </a:lnTo>
                  <a:lnTo>
                    <a:pt x="180" y="220"/>
                  </a:lnTo>
                  <a:lnTo>
                    <a:pt x="179" y="221"/>
                  </a:lnTo>
                  <a:lnTo>
                    <a:pt x="178" y="220"/>
                  </a:lnTo>
                  <a:lnTo>
                    <a:pt x="177" y="220"/>
                  </a:lnTo>
                  <a:lnTo>
                    <a:pt x="175" y="219"/>
                  </a:lnTo>
                  <a:lnTo>
                    <a:pt x="177" y="218"/>
                  </a:lnTo>
                  <a:lnTo>
                    <a:pt x="175" y="218"/>
                  </a:lnTo>
                  <a:lnTo>
                    <a:pt x="177" y="217"/>
                  </a:lnTo>
                  <a:lnTo>
                    <a:pt x="177" y="215"/>
                  </a:lnTo>
                  <a:lnTo>
                    <a:pt x="177" y="213"/>
                  </a:lnTo>
                  <a:lnTo>
                    <a:pt x="175" y="213"/>
                  </a:lnTo>
                  <a:lnTo>
                    <a:pt x="174" y="213"/>
                  </a:lnTo>
                  <a:lnTo>
                    <a:pt x="174" y="212"/>
                  </a:lnTo>
                  <a:lnTo>
                    <a:pt x="173" y="211"/>
                  </a:lnTo>
                  <a:lnTo>
                    <a:pt x="172" y="211"/>
                  </a:lnTo>
                  <a:lnTo>
                    <a:pt x="173" y="209"/>
                  </a:lnTo>
                  <a:lnTo>
                    <a:pt x="173" y="208"/>
                  </a:lnTo>
                  <a:lnTo>
                    <a:pt x="174" y="208"/>
                  </a:lnTo>
                  <a:lnTo>
                    <a:pt x="175" y="207"/>
                  </a:lnTo>
                  <a:lnTo>
                    <a:pt x="177" y="207"/>
                  </a:lnTo>
                  <a:lnTo>
                    <a:pt x="177" y="208"/>
                  </a:lnTo>
                  <a:lnTo>
                    <a:pt x="178" y="209"/>
                  </a:lnTo>
                  <a:lnTo>
                    <a:pt x="181" y="209"/>
                  </a:lnTo>
                  <a:lnTo>
                    <a:pt x="183" y="209"/>
                  </a:lnTo>
                  <a:lnTo>
                    <a:pt x="183" y="211"/>
                  </a:lnTo>
                  <a:lnTo>
                    <a:pt x="184" y="212"/>
                  </a:lnTo>
                  <a:lnTo>
                    <a:pt x="185" y="212"/>
                  </a:lnTo>
                  <a:lnTo>
                    <a:pt x="185" y="211"/>
                  </a:lnTo>
                  <a:lnTo>
                    <a:pt x="185" y="209"/>
                  </a:lnTo>
                  <a:lnTo>
                    <a:pt x="185" y="208"/>
                  </a:lnTo>
                  <a:lnTo>
                    <a:pt x="184" y="208"/>
                  </a:lnTo>
                  <a:lnTo>
                    <a:pt x="184" y="207"/>
                  </a:lnTo>
                  <a:lnTo>
                    <a:pt x="184" y="205"/>
                  </a:lnTo>
                  <a:lnTo>
                    <a:pt x="184" y="203"/>
                  </a:lnTo>
                  <a:lnTo>
                    <a:pt x="185" y="203"/>
                  </a:lnTo>
                  <a:lnTo>
                    <a:pt x="186" y="203"/>
                  </a:lnTo>
                  <a:lnTo>
                    <a:pt x="186" y="205"/>
                  </a:lnTo>
                  <a:lnTo>
                    <a:pt x="187" y="206"/>
                  </a:lnTo>
                  <a:lnTo>
                    <a:pt x="189" y="207"/>
                  </a:lnTo>
                  <a:lnTo>
                    <a:pt x="189" y="208"/>
                  </a:lnTo>
                  <a:lnTo>
                    <a:pt x="189" y="207"/>
                  </a:lnTo>
                  <a:lnTo>
                    <a:pt x="190" y="207"/>
                  </a:lnTo>
                  <a:lnTo>
                    <a:pt x="190" y="206"/>
                  </a:lnTo>
                  <a:lnTo>
                    <a:pt x="192" y="206"/>
                  </a:lnTo>
                  <a:lnTo>
                    <a:pt x="192" y="207"/>
                  </a:lnTo>
                  <a:lnTo>
                    <a:pt x="192" y="208"/>
                  </a:lnTo>
                  <a:lnTo>
                    <a:pt x="192" y="212"/>
                  </a:lnTo>
                  <a:lnTo>
                    <a:pt x="192" y="213"/>
                  </a:lnTo>
                  <a:lnTo>
                    <a:pt x="193" y="214"/>
                  </a:lnTo>
                  <a:lnTo>
                    <a:pt x="195" y="214"/>
                  </a:lnTo>
                  <a:lnTo>
                    <a:pt x="196" y="213"/>
                  </a:lnTo>
                  <a:lnTo>
                    <a:pt x="197" y="213"/>
                  </a:lnTo>
                  <a:lnTo>
                    <a:pt x="198" y="213"/>
                  </a:lnTo>
                  <a:lnTo>
                    <a:pt x="198" y="212"/>
                  </a:lnTo>
                  <a:lnTo>
                    <a:pt x="198" y="211"/>
                  </a:lnTo>
                  <a:lnTo>
                    <a:pt x="201" y="211"/>
                  </a:lnTo>
                  <a:lnTo>
                    <a:pt x="203" y="211"/>
                  </a:lnTo>
                  <a:lnTo>
                    <a:pt x="204" y="211"/>
                  </a:lnTo>
                  <a:lnTo>
                    <a:pt x="208" y="212"/>
                  </a:lnTo>
                  <a:lnTo>
                    <a:pt x="208" y="214"/>
                  </a:lnTo>
                  <a:lnTo>
                    <a:pt x="209" y="214"/>
                  </a:lnTo>
                  <a:lnTo>
                    <a:pt x="209" y="215"/>
                  </a:lnTo>
                  <a:lnTo>
                    <a:pt x="209" y="217"/>
                  </a:lnTo>
                  <a:lnTo>
                    <a:pt x="212" y="217"/>
                  </a:lnTo>
                  <a:lnTo>
                    <a:pt x="210" y="215"/>
                  </a:lnTo>
                  <a:lnTo>
                    <a:pt x="210" y="214"/>
                  </a:lnTo>
                  <a:lnTo>
                    <a:pt x="209" y="213"/>
                  </a:lnTo>
                  <a:lnTo>
                    <a:pt x="209" y="212"/>
                  </a:lnTo>
                  <a:lnTo>
                    <a:pt x="208" y="212"/>
                  </a:lnTo>
                  <a:lnTo>
                    <a:pt x="208" y="211"/>
                  </a:lnTo>
                  <a:lnTo>
                    <a:pt x="208" y="208"/>
                  </a:lnTo>
                  <a:lnTo>
                    <a:pt x="208" y="206"/>
                  </a:lnTo>
                  <a:lnTo>
                    <a:pt x="209" y="207"/>
                  </a:lnTo>
                  <a:lnTo>
                    <a:pt x="210" y="207"/>
                  </a:lnTo>
                  <a:lnTo>
                    <a:pt x="210" y="208"/>
                  </a:lnTo>
                  <a:lnTo>
                    <a:pt x="212" y="208"/>
                  </a:lnTo>
                  <a:lnTo>
                    <a:pt x="213" y="208"/>
                  </a:lnTo>
                  <a:lnTo>
                    <a:pt x="213" y="207"/>
                  </a:lnTo>
                  <a:lnTo>
                    <a:pt x="214" y="207"/>
                  </a:lnTo>
                  <a:lnTo>
                    <a:pt x="213" y="206"/>
                  </a:lnTo>
                  <a:lnTo>
                    <a:pt x="213" y="205"/>
                  </a:lnTo>
                  <a:lnTo>
                    <a:pt x="213" y="202"/>
                  </a:lnTo>
                  <a:lnTo>
                    <a:pt x="212" y="201"/>
                  </a:lnTo>
                  <a:lnTo>
                    <a:pt x="210" y="200"/>
                  </a:lnTo>
                  <a:lnTo>
                    <a:pt x="212" y="199"/>
                  </a:lnTo>
                  <a:lnTo>
                    <a:pt x="212" y="197"/>
                  </a:lnTo>
                  <a:lnTo>
                    <a:pt x="214" y="197"/>
                  </a:lnTo>
                  <a:lnTo>
                    <a:pt x="214" y="199"/>
                  </a:lnTo>
                  <a:lnTo>
                    <a:pt x="216" y="199"/>
                  </a:lnTo>
                  <a:lnTo>
                    <a:pt x="218" y="199"/>
                  </a:lnTo>
                  <a:lnTo>
                    <a:pt x="218" y="197"/>
                  </a:lnTo>
                  <a:lnTo>
                    <a:pt x="218" y="199"/>
                  </a:lnTo>
                  <a:lnTo>
                    <a:pt x="219" y="199"/>
                  </a:lnTo>
                  <a:lnTo>
                    <a:pt x="219" y="200"/>
                  </a:lnTo>
                  <a:lnTo>
                    <a:pt x="220" y="201"/>
                  </a:lnTo>
                  <a:lnTo>
                    <a:pt x="222" y="201"/>
                  </a:lnTo>
                  <a:lnTo>
                    <a:pt x="224" y="201"/>
                  </a:lnTo>
                  <a:lnTo>
                    <a:pt x="224" y="200"/>
                  </a:lnTo>
                  <a:lnTo>
                    <a:pt x="225" y="199"/>
                  </a:lnTo>
                  <a:lnTo>
                    <a:pt x="225" y="197"/>
                  </a:lnTo>
                  <a:lnTo>
                    <a:pt x="224" y="196"/>
                  </a:lnTo>
                  <a:lnTo>
                    <a:pt x="225" y="196"/>
                  </a:lnTo>
                  <a:lnTo>
                    <a:pt x="226" y="196"/>
                  </a:lnTo>
                  <a:lnTo>
                    <a:pt x="225" y="194"/>
                  </a:lnTo>
                  <a:lnTo>
                    <a:pt x="224" y="193"/>
                  </a:lnTo>
                  <a:lnTo>
                    <a:pt x="222" y="193"/>
                  </a:lnTo>
                  <a:lnTo>
                    <a:pt x="222" y="191"/>
                  </a:lnTo>
                  <a:lnTo>
                    <a:pt x="224" y="191"/>
                  </a:lnTo>
                  <a:lnTo>
                    <a:pt x="224" y="190"/>
                  </a:lnTo>
                  <a:lnTo>
                    <a:pt x="225" y="189"/>
                  </a:lnTo>
                  <a:lnTo>
                    <a:pt x="227" y="189"/>
                  </a:lnTo>
                  <a:lnTo>
                    <a:pt x="228" y="189"/>
                  </a:lnTo>
                  <a:lnTo>
                    <a:pt x="228" y="190"/>
                  </a:lnTo>
                  <a:lnTo>
                    <a:pt x="230" y="191"/>
                  </a:lnTo>
                  <a:lnTo>
                    <a:pt x="231" y="191"/>
                  </a:lnTo>
                  <a:lnTo>
                    <a:pt x="231" y="189"/>
                  </a:lnTo>
                  <a:lnTo>
                    <a:pt x="232" y="189"/>
                  </a:lnTo>
                  <a:lnTo>
                    <a:pt x="232" y="188"/>
                  </a:lnTo>
                  <a:lnTo>
                    <a:pt x="233" y="188"/>
                  </a:lnTo>
                  <a:lnTo>
                    <a:pt x="233" y="187"/>
                  </a:lnTo>
                  <a:lnTo>
                    <a:pt x="234" y="187"/>
                  </a:lnTo>
                  <a:lnTo>
                    <a:pt x="234" y="185"/>
                  </a:lnTo>
                  <a:lnTo>
                    <a:pt x="233" y="185"/>
                  </a:lnTo>
                  <a:lnTo>
                    <a:pt x="233" y="184"/>
                  </a:lnTo>
                  <a:lnTo>
                    <a:pt x="233" y="183"/>
                  </a:lnTo>
                  <a:lnTo>
                    <a:pt x="232" y="183"/>
                  </a:lnTo>
                  <a:lnTo>
                    <a:pt x="233" y="182"/>
                  </a:lnTo>
                  <a:lnTo>
                    <a:pt x="232" y="181"/>
                  </a:lnTo>
                  <a:lnTo>
                    <a:pt x="232" y="179"/>
                  </a:lnTo>
                  <a:lnTo>
                    <a:pt x="231" y="179"/>
                  </a:lnTo>
                  <a:lnTo>
                    <a:pt x="230" y="179"/>
                  </a:lnTo>
                  <a:lnTo>
                    <a:pt x="230" y="178"/>
                  </a:lnTo>
                  <a:lnTo>
                    <a:pt x="230" y="177"/>
                  </a:lnTo>
                  <a:lnTo>
                    <a:pt x="228" y="176"/>
                  </a:lnTo>
                  <a:lnTo>
                    <a:pt x="228" y="175"/>
                  </a:lnTo>
                  <a:lnTo>
                    <a:pt x="228" y="173"/>
                  </a:lnTo>
                  <a:lnTo>
                    <a:pt x="227" y="173"/>
                  </a:lnTo>
                  <a:lnTo>
                    <a:pt x="226" y="173"/>
                  </a:lnTo>
                  <a:lnTo>
                    <a:pt x="225" y="173"/>
                  </a:lnTo>
                  <a:lnTo>
                    <a:pt x="224" y="173"/>
                  </a:lnTo>
                  <a:lnTo>
                    <a:pt x="224" y="172"/>
                  </a:lnTo>
                  <a:lnTo>
                    <a:pt x="222" y="172"/>
                  </a:lnTo>
                  <a:lnTo>
                    <a:pt x="222" y="171"/>
                  </a:lnTo>
                  <a:lnTo>
                    <a:pt x="221" y="171"/>
                  </a:lnTo>
                  <a:lnTo>
                    <a:pt x="220" y="170"/>
                  </a:lnTo>
                  <a:lnTo>
                    <a:pt x="219" y="169"/>
                  </a:lnTo>
                  <a:lnTo>
                    <a:pt x="219" y="167"/>
                  </a:lnTo>
                  <a:lnTo>
                    <a:pt x="219" y="166"/>
                  </a:lnTo>
                  <a:lnTo>
                    <a:pt x="220" y="165"/>
                  </a:lnTo>
                  <a:lnTo>
                    <a:pt x="220" y="166"/>
                  </a:lnTo>
                  <a:lnTo>
                    <a:pt x="224" y="165"/>
                  </a:lnTo>
                  <a:lnTo>
                    <a:pt x="225" y="165"/>
                  </a:lnTo>
                  <a:lnTo>
                    <a:pt x="224" y="165"/>
                  </a:lnTo>
                  <a:lnTo>
                    <a:pt x="224" y="164"/>
                  </a:lnTo>
                  <a:lnTo>
                    <a:pt x="222" y="164"/>
                  </a:lnTo>
                  <a:lnTo>
                    <a:pt x="221" y="162"/>
                  </a:lnTo>
                  <a:lnTo>
                    <a:pt x="219" y="162"/>
                  </a:lnTo>
                  <a:lnTo>
                    <a:pt x="219" y="164"/>
                  </a:lnTo>
                  <a:lnTo>
                    <a:pt x="218" y="162"/>
                  </a:lnTo>
                  <a:lnTo>
                    <a:pt x="218" y="161"/>
                  </a:lnTo>
                  <a:lnTo>
                    <a:pt x="218" y="159"/>
                  </a:lnTo>
                  <a:lnTo>
                    <a:pt x="215" y="159"/>
                  </a:lnTo>
                  <a:lnTo>
                    <a:pt x="214" y="159"/>
                  </a:lnTo>
                  <a:lnTo>
                    <a:pt x="214" y="158"/>
                  </a:lnTo>
                  <a:lnTo>
                    <a:pt x="213" y="158"/>
                  </a:lnTo>
                  <a:lnTo>
                    <a:pt x="213" y="156"/>
                  </a:lnTo>
                  <a:lnTo>
                    <a:pt x="212" y="156"/>
                  </a:lnTo>
                  <a:lnTo>
                    <a:pt x="213" y="155"/>
                  </a:lnTo>
                  <a:lnTo>
                    <a:pt x="213" y="152"/>
                  </a:lnTo>
                  <a:lnTo>
                    <a:pt x="214" y="150"/>
                  </a:lnTo>
                  <a:lnTo>
                    <a:pt x="214" y="148"/>
                  </a:lnTo>
                  <a:lnTo>
                    <a:pt x="213" y="147"/>
                  </a:lnTo>
                  <a:lnTo>
                    <a:pt x="213" y="144"/>
                  </a:lnTo>
                  <a:lnTo>
                    <a:pt x="213" y="143"/>
                  </a:lnTo>
                  <a:lnTo>
                    <a:pt x="213" y="142"/>
                  </a:lnTo>
                  <a:lnTo>
                    <a:pt x="214" y="141"/>
                  </a:lnTo>
                  <a:lnTo>
                    <a:pt x="215" y="141"/>
                  </a:lnTo>
                  <a:lnTo>
                    <a:pt x="216" y="141"/>
                  </a:lnTo>
                  <a:lnTo>
                    <a:pt x="216" y="142"/>
                  </a:lnTo>
                  <a:lnTo>
                    <a:pt x="218" y="142"/>
                  </a:lnTo>
                  <a:lnTo>
                    <a:pt x="218" y="143"/>
                  </a:lnTo>
                  <a:lnTo>
                    <a:pt x="218" y="144"/>
                  </a:lnTo>
                  <a:lnTo>
                    <a:pt x="219" y="144"/>
                  </a:lnTo>
                  <a:lnTo>
                    <a:pt x="220" y="143"/>
                  </a:lnTo>
                  <a:lnTo>
                    <a:pt x="221" y="143"/>
                  </a:lnTo>
                  <a:lnTo>
                    <a:pt x="225" y="143"/>
                  </a:lnTo>
                  <a:lnTo>
                    <a:pt x="225" y="142"/>
                  </a:lnTo>
                  <a:lnTo>
                    <a:pt x="226" y="142"/>
                  </a:lnTo>
                  <a:lnTo>
                    <a:pt x="226" y="143"/>
                  </a:lnTo>
                  <a:lnTo>
                    <a:pt x="226" y="144"/>
                  </a:lnTo>
                  <a:lnTo>
                    <a:pt x="227" y="144"/>
                  </a:lnTo>
                  <a:lnTo>
                    <a:pt x="227" y="146"/>
                  </a:lnTo>
                  <a:lnTo>
                    <a:pt x="228" y="147"/>
                  </a:lnTo>
                  <a:lnTo>
                    <a:pt x="230" y="148"/>
                  </a:lnTo>
                  <a:lnTo>
                    <a:pt x="230" y="149"/>
                  </a:lnTo>
                  <a:lnTo>
                    <a:pt x="230" y="150"/>
                  </a:lnTo>
                  <a:lnTo>
                    <a:pt x="231" y="152"/>
                  </a:lnTo>
                  <a:lnTo>
                    <a:pt x="232" y="152"/>
                  </a:lnTo>
                  <a:lnTo>
                    <a:pt x="233" y="152"/>
                  </a:lnTo>
                  <a:lnTo>
                    <a:pt x="234" y="152"/>
                  </a:lnTo>
                  <a:lnTo>
                    <a:pt x="236" y="152"/>
                  </a:lnTo>
                  <a:lnTo>
                    <a:pt x="236" y="150"/>
                  </a:lnTo>
                  <a:lnTo>
                    <a:pt x="236" y="149"/>
                  </a:lnTo>
                  <a:lnTo>
                    <a:pt x="237" y="149"/>
                  </a:lnTo>
                  <a:lnTo>
                    <a:pt x="238" y="150"/>
                  </a:lnTo>
                  <a:lnTo>
                    <a:pt x="238" y="153"/>
                  </a:lnTo>
                  <a:lnTo>
                    <a:pt x="239" y="152"/>
                  </a:lnTo>
                  <a:lnTo>
                    <a:pt x="243" y="152"/>
                  </a:lnTo>
                  <a:lnTo>
                    <a:pt x="244" y="150"/>
                  </a:lnTo>
                  <a:lnTo>
                    <a:pt x="245" y="150"/>
                  </a:lnTo>
                  <a:lnTo>
                    <a:pt x="245" y="149"/>
                  </a:lnTo>
                  <a:lnTo>
                    <a:pt x="244" y="149"/>
                  </a:lnTo>
                  <a:lnTo>
                    <a:pt x="243" y="148"/>
                  </a:lnTo>
                  <a:lnTo>
                    <a:pt x="242" y="147"/>
                  </a:lnTo>
                  <a:lnTo>
                    <a:pt x="242" y="146"/>
                  </a:lnTo>
                  <a:lnTo>
                    <a:pt x="240" y="144"/>
                  </a:lnTo>
                  <a:lnTo>
                    <a:pt x="239" y="144"/>
                  </a:lnTo>
                  <a:lnTo>
                    <a:pt x="239" y="143"/>
                  </a:lnTo>
                  <a:lnTo>
                    <a:pt x="239" y="140"/>
                  </a:lnTo>
                  <a:lnTo>
                    <a:pt x="239" y="137"/>
                  </a:lnTo>
                  <a:lnTo>
                    <a:pt x="239" y="136"/>
                  </a:lnTo>
                  <a:lnTo>
                    <a:pt x="240" y="136"/>
                  </a:lnTo>
                  <a:lnTo>
                    <a:pt x="240" y="135"/>
                  </a:lnTo>
                  <a:lnTo>
                    <a:pt x="242" y="135"/>
                  </a:lnTo>
                  <a:lnTo>
                    <a:pt x="243" y="134"/>
                  </a:lnTo>
                  <a:lnTo>
                    <a:pt x="243" y="132"/>
                  </a:lnTo>
                  <a:lnTo>
                    <a:pt x="243" y="131"/>
                  </a:lnTo>
                  <a:lnTo>
                    <a:pt x="242" y="130"/>
                  </a:lnTo>
                  <a:lnTo>
                    <a:pt x="243" y="130"/>
                  </a:lnTo>
                  <a:lnTo>
                    <a:pt x="244" y="129"/>
                  </a:lnTo>
                  <a:lnTo>
                    <a:pt x="246" y="129"/>
                  </a:lnTo>
                  <a:lnTo>
                    <a:pt x="248" y="130"/>
                  </a:lnTo>
                  <a:lnTo>
                    <a:pt x="249" y="130"/>
                  </a:lnTo>
                  <a:lnTo>
                    <a:pt x="249" y="131"/>
                  </a:lnTo>
                  <a:lnTo>
                    <a:pt x="249" y="132"/>
                  </a:lnTo>
                  <a:lnTo>
                    <a:pt x="249" y="134"/>
                  </a:lnTo>
                  <a:lnTo>
                    <a:pt x="250" y="135"/>
                  </a:lnTo>
                  <a:lnTo>
                    <a:pt x="250" y="134"/>
                  </a:lnTo>
                  <a:lnTo>
                    <a:pt x="251" y="131"/>
                  </a:lnTo>
                  <a:lnTo>
                    <a:pt x="251" y="128"/>
                  </a:lnTo>
                  <a:lnTo>
                    <a:pt x="254" y="128"/>
                  </a:lnTo>
                  <a:lnTo>
                    <a:pt x="255" y="131"/>
                  </a:lnTo>
                  <a:lnTo>
                    <a:pt x="255" y="132"/>
                  </a:lnTo>
                  <a:lnTo>
                    <a:pt x="255" y="134"/>
                  </a:lnTo>
                  <a:lnTo>
                    <a:pt x="256" y="134"/>
                  </a:lnTo>
                  <a:lnTo>
                    <a:pt x="257" y="134"/>
                  </a:lnTo>
                  <a:lnTo>
                    <a:pt x="259" y="134"/>
                  </a:lnTo>
                  <a:lnTo>
                    <a:pt x="259" y="135"/>
                  </a:lnTo>
                  <a:lnTo>
                    <a:pt x="259" y="136"/>
                  </a:lnTo>
                  <a:lnTo>
                    <a:pt x="257" y="138"/>
                  </a:lnTo>
                  <a:lnTo>
                    <a:pt x="257" y="142"/>
                  </a:lnTo>
                  <a:lnTo>
                    <a:pt x="256" y="142"/>
                  </a:lnTo>
                  <a:lnTo>
                    <a:pt x="256" y="143"/>
                  </a:lnTo>
                  <a:lnTo>
                    <a:pt x="256" y="144"/>
                  </a:lnTo>
                  <a:lnTo>
                    <a:pt x="255" y="144"/>
                  </a:lnTo>
                  <a:lnTo>
                    <a:pt x="255" y="146"/>
                  </a:lnTo>
                  <a:lnTo>
                    <a:pt x="256" y="148"/>
                  </a:lnTo>
                  <a:lnTo>
                    <a:pt x="256" y="147"/>
                  </a:lnTo>
                  <a:lnTo>
                    <a:pt x="256" y="149"/>
                  </a:lnTo>
                  <a:lnTo>
                    <a:pt x="257" y="149"/>
                  </a:lnTo>
                  <a:lnTo>
                    <a:pt x="259" y="149"/>
                  </a:lnTo>
                  <a:lnTo>
                    <a:pt x="260" y="149"/>
                  </a:lnTo>
                  <a:lnTo>
                    <a:pt x="260" y="148"/>
                  </a:lnTo>
                  <a:lnTo>
                    <a:pt x="262" y="148"/>
                  </a:lnTo>
                  <a:lnTo>
                    <a:pt x="263" y="148"/>
                  </a:lnTo>
                  <a:lnTo>
                    <a:pt x="265" y="148"/>
                  </a:lnTo>
                  <a:lnTo>
                    <a:pt x="265" y="149"/>
                  </a:lnTo>
                  <a:lnTo>
                    <a:pt x="266" y="149"/>
                  </a:lnTo>
                  <a:lnTo>
                    <a:pt x="267" y="149"/>
                  </a:lnTo>
                  <a:lnTo>
                    <a:pt x="267" y="148"/>
                  </a:lnTo>
                  <a:lnTo>
                    <a:pt x="266" y="148"/>
                  </a:lnTo>
                  <a:lnTo>
                    <a:pt x="266" y="147"/>
                  </a:lnTo>
                  <a:lnTo>
                    <a:pt x="265" y="147"/>
                  </a:lnTo>
                  <a:lnTo>
                    <a:pt x="265" y="146"/>
                  </a:lnTo>
                  <a:lnTo>
                    <a:pt x="265" y="143"/>
                  </a:lnTo>
                  <a:lnTo>
                    <a:pt x="263" y="142"/>
                  </a:lnTo>
                  <a:lnTo>
                    <a:pt x="263" y="141"/>
                  </a:lnTo>
                  <a:lnTo>
                    <a:pt x="263" y="140"/>
                  </a:lnTo>
                  <a:lnTo>
                    <a:pt x="263" y="138"/>
                  </a:lnTo>
                  <a:lnTo>
                    <a:pt x="263" y="137"/>
                  </a:lnTo>
                  <a:lnTo>
                    <a:pt x="265" y="136"/>
                  </a:lnTo>
                  <a:lnTo>
                    <a:pt x="265" y="135"/>
                  </a:lnTo>
                  <a:lnTo>
                    <a:pt x="267" y="135"/>
                  </a:lnTo>
                  <a:lnTo>
                    <a:pt x="267" y="136"/>
                  </a:lnTo>
                  <a:lnTo>
                    <a:pt x="267" y="137"/>
                  </a:lnTo>
                  <a:lnTo>
                    <a:pt x="267" y="138"/>
                  </a:lnTo>
                  <a:lnTo>
                    <a:pt x="268" y="138"/>
                  </a:lnTo>
                  <a:lnTo>
                    <a:pt x="268" y="140"/>
                  </a:lnTo>
                  <a:lnTo>
                    <a:pt x="269" y="138"/>
                  </a:lnTo>
                  <a:lnTo>
                    <a:pt x="271" y="138"/>
                  </a:lnTo>
                  <a:lnTo>
                    <a:pt x="272" y="137"/>
                  </a:lnTo>
                  <a:lnTo>
                    <a:pt x="272" y="138"/>
                  </a:lnTo>
                  <a:lnTo>
                    <a:pt x="273" y="141"/>
                  </a:lnTo>
                  <a:lnTo>
                    <a:pt x="273" y="142"/>
                  </a:lnTo>
                  <a:lnTo>
                    <a:pt x="274" y="142"/>
                  </a:lnTo>
                  <a:lnTo>
                    <a:pt x="275" y="143"/>
                  </a:lnTo>
                  <a:lnTo>
                    <a:pt x="277" y="143"/>
                  </a:lnTo>
                  <a:lnTo>
                    <a:pt x="278" y="143"/>
                  </a:lnTo>
                  <a:lnTo>
                    <a:pt x="279" y="143"/>
                  </a:lnTo>
                  <a:lnTo>
                    <a:pt x="279" y="144"/>
                  </a:lnTo>
                  <a:lnTo>
                    <a:pt x="280" y="144"/>
                  </a:lnTo>
                  <a:lnTo>
                    <a:pt x="280" y="146"/>
                  </a:lnTo>
                  <a:lnTo>
                    <a:pt x="281" y="146"/>
                  </a:lnTo>
                  <a:lnTo>
                    <a:pt x="280" y="148"/>
                  </a:lnTo>
                  <a:lnTo>
                    <a:pt x="280" y="149"/>
                  </a:lnTo>
                  <a:lnTo>
                    <a:pt x="279" y="149"/>
                  </a:lnTo>
                  <a:lnTo>
                    <a:pt x="279" y="150"/>
                  </a:lnTo>
                  <a:lnTo>
                    <a:pt x="280" y="153"/>
                  </a:lnTo>
                  <a:lnTo>
                    <a:pt x="279" y="154"/>
                  </a:lnTo>
                  <a:lnTo>
                    <a:pt x="278" y="154"/>
                  </a:lnTo>
                  <a:lnTo>
                    <a:pt x="278" y="155"/>
                  </a:lnTo>
                  <a:lnTo>
                    <a:pt x="279" y="156"/>
                  </a:lnTo>
                  <a:lnTo>
                    <a:pt x="280" y="158"/>
                  </a:lnTo>
                  <a:lnTo>
                    <a:pt x="280" y="159"/>
                  </a:lnTo>
                  <a:lnTo>
                    <a:pt x="281" y="159"/>
                  </a:lnTo>
                  <a:lnTo>
                    <a:pt x="281" y="160"/>
                  </a:lnTo>
                  <a:lnTo>
                    <a:pt x="283" y="161"/>
                  </a:lnTo>
                  <a:lnTo>
                    <a:pt x="284" y="161"/>
                  </a:lnTo>
                  <a:lnTo>
                    <a:pt x="285" y="161"/>
                  </a:lnTo>
                  <a:lnTo>
                    <a:pt x="286" y="161"/>
                  </a:lnTo>
                  <a:lnTo>
                    <a:pt x="286" y="160"/>
                  </a:lnTo>
                  <a:lnTo>
                    <a:pt x="286" y="159"/>
                  </a:lnTo>
                  <a:lnTo>
                    <a:pt x="285" y="158"/>
                  </a:lnTo>
                  <a:lnTo>
                    <a:pt x="285" y="156"/>
                  </a:lnTo>
                  <a:lnTo>
                    <a:pt x="285" y="155"/>
                  </a:lnTo>
                  <a:lnTo>
                    <a:pt x="286" y="155"/>
                  </a:lnTo>
                  <a:lnTo>
                    <a:pt x="286" y="154"/>
                  </a:lnTo>
                  <a:lnTo>
                    <a:pt x="287" y="154"/>
                  </a:lnTo>
                  <a:lnTo>
                    <a:pt x="287" y="153"/>
                  </a:lnTo>
                  <a:lnTo>
                    <a:pt x="286" y="153"/>
                  </a:lnTo>
                  <a:lnTo>
                    <a:pt x="286" y="152"/>
                  </a:lnTo>
                  <a:lnTo>
                    <a:pt x="286" y="150"/>
                  </a:lnTo>
                  <a:lnTo>
                    <a:pt x="285" y="148"/>
                  </a:lnTo>
                  <a:lnTo>
                    <a:pt x="284" y="147"/>
                  </a:lnTo>
                  <a:lnTo>
                    <a:pt x="284" y="146"/>
                  </a:lnTo>
                  <a:lnTo>
                    <a:pt x="285" y="146"/>
                  </a:lnTo>
                  <a:lnTo>
                    <a:pt x="285" y="144"/>
                  </a:lnTo>
                  <a:lnTo>
                    <a:pt x="286" y="144"/>
                  </a:lnTo>
                  <a:lnTo>
                    <a:pt x="287" y="144"/>
                  </a:lnTo>
                  <a:lnTo>
                    <a:pt x="289" y="146"/>
                  </a:lnTo>
                  <a:lnTo>
                    <a:pt x="290" y="146"/>
                  </a:lnTo>
                  <a:lnTo>
                    <a:pt x="291" y="144"/>
                  </a:lnTo>
                  <a:lnTo>
                    <a:pt x="292" y="143"/>
                  </a:lnTo>
                  <a:lnTo>
                    <a:pt x="292" y="141"/>
                  </a:lnTo>
                  <a:lnTo>
                    <a:pt x="291" y="140"/>
                  </a:lnTo>
                  <a:lnTo>
                    <a:pt x="292" y="140"/>
                  </a:lnTo>
                  <a:lnTo>
                    <a:pt x="292" y="138"/>
                  </a:lnTo>
                  <a:lnTo>
                    <a:pt x="295" y="138"/>
                  </a:lnTo>
                  <a:lnTo>
                    <a:pt x="296" y="140"/>
                  </a:lnTo>
                  <a:lnTo>
                    <a:pt x="298" y="140"/>
                  </a:lnTo>
                  <a:lnTo>
                    <a:pt x="299" y="140"/>
                  </a:lnTo>
                  <a:lnTo>
                    <a:pt x="298" y="140"/>
                  </a:lnTo>
                  <a:lnTo>
                    <a:pt x="299" y="140"/>
                  </a:lnTo>
                  <a:lnTo>
                    <a:pt x="299" y="138"/>
                  </a:lnTo>
                  <a:lnTo>
                    <a:pt x="301" y="138"/>
                  </a:lnTo>
                  <a:lnTo>
                    <a:pt x="302" y="138"/>
                  </a:lnTo>
                  <a:lnTo>
                    <a:pt x="303" y="138"/>
                  </a:lnTo>
                  <a:lnTo>
                    <a:pt x="304" y="140"/>
                  </a:lnTo>
                  <a:lnTo>
                    <a:pt x="304" y="141"/>
                  </a:lnTo>
                  <a:lnTo>
                    <a:pt x="304" y="143"/>
                  </a:lnTo>
                  <a:lnTo>
                    <a:pt x="304" y="144"/>
                  </a:lnTo>
                  <a:lnTo>
                    <a:pt x="304" y="146"/>
                  </a:lnTo>
                  <a:lnTo>
                    <a:pt x="304" y="144"/>
                  </a:lnTo>
                  <a:lnTo>
                    <a:pt x="305" y="143"/>
                  </a:lnTo>
                  <a:lnTo>
                    <a:pt x="307" y="143"/>
                  </a:lnTo>
                  <a:lnTo>
                    <a:pt x="307" y="142"/>
                  </a:lnTo>
                  <a:lnTo>
                    <a:pt x="308" y="142"/>
                  </a:lnTo>
                  <a:lnTo>
                    <a:pt x="308" y="144"/>
                  </a:lnTo>
                  <a:lnTo>
                    <a:pt x="309" y="144"/>
                  </a:lnTo>
                  <a:lnTo>
                    <a:pt x="309" y="146"/>
                  </a:lnTo>
                  <a:lnTo>
                    <a:pt x="310" y="146"/>
                  </a:lnTo>
                  <a:lnTo>
                    <a:pt x="310" y="147"/>
                  </a:lnTo>
                  <a:lnTo>
                    <a:pt x="311" y="147"/>
                  </a:lnTo>
                  <a:lnTo>
                    <a:pt x="311" y="148"/>
                  </a:lnTo>
                  <a:lnTo>
                    <a:pt x="313" y="149"/>
                  </a:lnTo>
                  <a:lnTo>
                    <a:pt x="314" y="149"/>
                  </a:lnTo>
                  <a:lnTo>
                    <a:pt x="314" y="150"/>
                  </a:lnTo>
                  <a:lnTo>
                    <a:pt x="315" y="150"/>
                  </a:lnTo>
                  <a:lnTo>
                    <a:pt x="315" y="152"/>
                  </a:lnTo>
                  <a:lnTo>
                    <a:pt x="315" y="153"/>
                  </a:lnTo>
                  <a:lnTo>
                    <a:pt x="315" y="154"/>
                  </a:lnTo>
                  <a:lnTo>
                    <a:pt x="314" y="154"/>
                  </a:lnTo>
                  <a:lnTo>
                    <a:pt x="314" y="155"/>
                  </a:lnTo>
                  <a:lnTo>
                    <a:pt x="313" y="156"/>
                  </a:lnTo>
                  <a:lnTo>
                    <a:pt x="311" y="156"/>
                  </a:lnTo>
                  <a:lnTo>
                    <a:pt x="311" y="158"/>
                  </a:lnTo>
                  <a:lnTo>
                    <a:pt x="311" y="159"/>
                  </a:lnTo>
                  <a:lnTo>
                    <a:pt x="311" y="161"/>
                  </a:lnTo>
                  <a:lnTo>
                    <a:pt x="310" y="161"/>
                  </a:lnTo>
                  <a:lnTo>
                    <a:pt x="311" y="162"/>
                  </a:lnTo>
                  <a:lnTo>
                    <a:pt x="311" y="164"/>
                  </a:lnTo>
                  <a:lnTo>
                    <a:pt x="311" y="165"/>
                  </a:lnTo>
                  <a:lnTo>
                    <a:pt x="311" y="166"/>
                  </a:lnTo>
                  <a:lnTo>
                    <a:pt x="313" y="166"/>
                  </a:lnTo>
                  <a:lnTo>
                    <a:pt x="313" y="167"/>
                  </a:lnTo>
                  <a:lnTo>
                    <a:pt x="314" y="167"/>
                  </a:lnTo>
                  <a:lnTo>
                    <a:pt x="315" y="169"/>
                  </a:lnTo>
                  <a:lnTo>
                    <a:pt x="315" y="167"/>
                  </a:lnTo>
                  <a:lnTo>
                    <a:pt x="314" y="166"/>
                  </a:lnTo>
                  <a:lnTo>
                    <a:pt x="314" y="165"/>
                  </a:lnTo>
                  <a:lnTo>
                    <a:pt x="314" y="164"/>
                  </a:lnTo>
                  <a:lnTo>
                    <a:pt x="316" y="164"/>
                  </a:lnTo>
                  <a:lnTo>
                    <a:pt x="319" y="162"/>
                  </a:lnTo>
                  <a:lnTo>
                    <a:pt x="319" y="161"/>
                  </a:lnTo>
                  <a:lnTo>
                    <a:pt x="320" y="161"/>
                  </a:lnTo>
                  <a:lnTo>
                    <a:pt x="321" y="160"/>
                  </a:lnTo>
                  <a:lnTo>
                    <a:pt x="322" y="160"/>
                  </a:lnTo>
                  <a:lnTo>
                    <a:pt x="322" y="159"/>
                  </a:lnTo>
                  <a:lnTo>
                    <a:pt x="324" y="159"/>
                  </a:lnTo>
                  <a:lnTo>
                    <a:pt x="324" y="158"/>
                  </a:lnTo>
                  <a:lnTo>
                    <a:pt x="324" y="156"/>
                  </a:lnTo>
                  <a:lnTo>
                    <a:pt x="324" y="155"/>
                  </a:lnTo>
                  <a:lnTo>
                    <a:pt x="326" y="155"/>
                  </a:lnTo>
                  <a:lnTo>
                    <a:pt x="328" y="156"/>
                  </a:lnTo>
                  <a:lnTo>
                    <a:pt x="330" y="156"/>
                  </a:lnTo>
                  <a:lnTo>
                    <a:pt x="330" y="158"/>
                  </a:lnTo>
                  <a:lnTo>
                    <a:pt x="331" y="159"/>
                  </a:lnTo>
                  <a:lnTo>
                    <a:pt x="331" y="160"/>
                  </a:lnTo>
                  <a:lnTo>
                    <a:pt x="330" y="160"/>
                  </a:lnTo>
                  <a:lnTo>
                    <a:pt x="331" y="161"/>
                  </a:lnTo>
                  <a:lnTo>
                    <a:pt x="332" y="161"/>
                  </a:lnTo>
                  <a:lnTo>
                    <a:pt x="332" y="160"/>
                  </a:lnTo>
                  <a:lnTo>
                    <a:pt x="332" y="159"/>
                  </a:lnTo>
                  <a:lnTo>
                    <a:pt x="332" y="158"/>
                  </a:lnTo>
                  <a:lnTo>
                    <a:pt x="333" y="158"/>
                  </a:lnTo>
                  <a:lnTo>
                    <a:pt x="334" y="158"/>
                  </a:lnTo>
                  <a:lnTo>
                    <a:pt x="334" y="159"/>
                  </a:lnTo>
                  <a:lnTo>
                    <a:pt x="336" y="160"/>
                  </a:lnTo>
                  <a:lnTo>
                    <a:pt x="336" y="161"/>
                  </a:lnTo>
                  <a:lnTo>
                    <a:pt x="337" y="161"/>
                  </a:lnTo>
                  <a:lnTo>
                    <a:pt x="336" y="162"/>
                  </a:lnTo>
                  <a:lnTo>
                    <a:pt x="336" y="164"/>
                  </a:lnTo>
                  <a:lnTo>
                    <a:pt x="334" y="164"/>
                  </a:lnTo>
                  <a:lnTo>
                    <a:pt x="334" y="165"/>
                  </a:lnTo>
                  <a:lnTo>
                    <a:pt x="336" y="166"/>
                  </a:lnTo>
                  <a:lnTo>
                    <a:pt x="336" y="167"/>
                  </a:lnTo>
                  <a:lnTo>
                    <a:pt x="334" y="167"/>
                  </a:lnTo>
                  <a:lnTo>
                    <a:pt x="334" y="169"/>
                  </a:lnTo>
                  <a:lnTo>
                    <a:pt x="334" y="170"/>
                  </a:lnTo>
                  <a:lnTo>
                    <a:pt x="334" y="171"/>
                  </a:lnTo>
                  <a:lnTo>
                    <a:pt x="336" y="172"/>
                  </a:lnTo>
                  <a:lnTo>
                    <a:pt x="336" y="173"/>
                  </a:lnTo>
                  <a:lnTo>
                    <a:pt x="337" y="173"/>
                  </a:lnTo>
                  <a:lnTo>
                    <a:pt x="338" y="172"/>
                  </a:lnTo>
                  <a:lnTo>
                    <a:pt x="337" y="172"/>
                  </a:lnTo>
                  <a:lnTo>
                    <a:pt x="336" y="172"/>
                  </a:lnTo>
                  <a:lnTo>
                    <a:pt x="336" y="171"/>
                  </a:lnTo>
                  <a:lnTo>
                    <a:pt x="336" y="169"/>
                  </a:lnTo>
                  <a:lnTo>
                    <a:pt x="337" y="167"/>
                  </a:lnTo>
                  <a:lnTo>
                    <a:pt x="338" y="169"/>
                  </a:lnTo>
                  <a:lnTo>
                    <a:pt x="339" y="169"/>
                  </a:lnTo>
                  <a:lnTo>
                    <a:pt x="339" y="170"/>
                  </a:lnTo>
                  <a:lnTo>
                    <a:pt x="339" y="172"/>
                  </a:lnTo>
                  <a:lnTo>
                    <a:pt x="339" y="173"/>
                  </a:lnTo>
                  <a:lnTo>
                    <a:pt x="340" y="173"/>
                  </a:lnTo>
                  <a:lnTo>
                    <a:pt x="340" y="175"/>
                  </a:lnTo>
                  <a:lnTo>
                    <a:pt x="342" y="175"/>
                  </a:lnTo>
                  <a:lnTo>
                    <a:pt x="343" y="176"/>
                  </a:lnTo>
                  <a:lnTo>
                    <a:pt x="344" y="176"/>
                  </a:lnTo>
                  <a:lnTo>
                    <a:pt x="343" y="176"/>
                  </a:lnTo>
                  <a:lnTo>
                    <a:pt x="343" y="175"/>
                  </a:lnTo>
                  <a:lnTo>
                    <a:pt x="342" y="175"/>
                  </a:lnTo>
                  <a:lnTo>
                    <a:pt x="342" y="173"/>
                  </a:lnTo>
                  <a:lnTo>
                    <a:pt x="342" y="171"/>
                  </a:lnTo>
                  <a:lnTo>
                    <a:pt x="343" y="171"/>
                  </a:lnTo>
                  <a:lnTo>
                    <a:pt x="343" y="170"/>
                  </a:lnTo>
                  <a:lnTo>
                    <a:pt x="343" y="167"/>
                  </a:lnTo>
                  <a:lnTo>
                    <a:pt x="344" y="167"/>
                  </a:lnTo>
                  <a:lnTo>
                    <a:pt x="345" y="169"/>
                  </a:lnTo>
                  <a:lnTo>
                    <a:pt x="345" y="170"/>
                  </a:lnTo>
                  <a:lnTo>
                    <a:pt x="345" y="171"/>
                  </a:lnTo>
                  <a:lnTo>
                    <a:pt x="346" y="172"/>
                  </a:lnTo>
                  <a:lnTo>
                    <a:pt x="348" y="172"/>
                  </a:lnTo>
                  <a:lnTo>
                    <a:pt x="348" y="173"/>
                  </a:lnTo>
                  <a:lnTo>
                    <a:pt x="349" y="173"/>
                  </a:lnTo>
                  <a:lnTo>
                    <a:pt x="349" y="172"/>
                  </a:lnTo>
                  <a:lnTo>
                    <a:pt x="349" y="171"/>
                  </a:lnTo>
                  <a:lnTo>
                    <a:pt x="350" y="170"/>
                  </a:lnTo>
                  <a:lnTo>
                    <a:pt x="350" y="171"/>
                  </a:lnTo>
                  <a:lnTo>
                    <a:pt x="351" y="171"/>
                  </a:lnTo>
                  <a:lnTo>
                    <a:pt x="351" y="172"/>
                  </a:lnTo>
                  <a:lnTo>
                    <a:pt x="351" y="173"/>
                  </a:lnTo>
                  <a:lnTo>
                    <a:pt x="352" y="173"/>
                  </a:lnTo>
                  <a:lnTo>
                    <a:pt x="352" y="175"/>
                  </a:lnTo>
                  <a:lnTo>
                    <a:pt x="352" y="176"/>
                  </a:lnTo>
                  <a:lnTo>
                    <a:pt x="351" y="176"/>
                  </a:lnTo>
                  <a:lnTo>
                    <a:pt x="351" y="177"/>
                  </a:lnTo>
                  <a:lnTo>
                    <a:pt x="350" y="177"/>
                  </a:lnTo>
                  <a:lnTo>
                    <a:pt x="349" y="177"/>
                  </a:lnTo>
                  <a:lnTo>
                    <a:pt x="349" y="178"/>
                  </a:lnTo>
                  <a:lnTo>
                    <a:pt x="348" y="178"/>
                  </a:lnTo>
                  <a:lnTo>
                    <a:pt x="346" y="177"/>
                  </a:lnTo>
                  <a:lnTo>
                    <a:pt x="346" y="176"/>
                  </a:lnTo>
                  <a:lnTo>
                    <a:pt x="345" y="176"/>
                  </a:lnTo>
                  <a:lnTo>
                    <a:pt x="345" y="177"/>
                  </a:lnTo>
                  <a:lnTo>
                    <a:pt x="344" y="177"/>
                  </a:lnTo>
                  <a:lnTo>
                    <a:pt x="344" y="178"/>
                  </a:lnTo>
                  <a:lnTo>
                    <a:pt x="344" y="179"/>
                  </a:lnTo>
                  <a:lnTo>
                    <a:pt x="345" y="179"/>
                  </a:lnTo>
                  <a:lnTo>
                    <a:pt x="346" y="179"/>
                  </a:lnTo>
                  <a:lnTo>
                    <a:pt x="348" y="178"/>
                  </a:lnTo>
                  <a:lnTo>
                    <a:pt x="348" y="179"/>
                  </a:lnTo>
                  <a:lnTo>
                    <a:pt x="349" y="179"/>
                  </a:lnTo>
                  <a:lnTo>
                    <a:pt x="349" y="181"/>
                  </a:lnTo>
                  <a:lnTo>
                    <a:pt x="350" y="181"/>
                  </a:lnTo>
                  <a:lnTo>
                    <a:pt x="351" y="181"/>
                  </a:lnTo>
                  <a:lnTo>
                    <a:pt x="352" y="181"/>
                  </a:lnTo>
                  <a:lnTo>
                    <a:pt x="354" y="179"/>
                  </a:lnTo>
                  <a:lnTo>
                    <a:pt x="355" y="179"/>
                  </a:lnTo>
                  <a:lnTo>
                    <a:pt x="354" y="178"/>
                  </a:lnTo>
                  <a:lnTo>
                    <a:pt x="355" y="178"/>
                  </a:lnTo>
                  <a:lnTo>
                    <a:pt x="355" y="177"/>
                  </a:lnTo>
                  <a:lnTo>
                    <a:pt x="356" y="177"/>
                  </a:lnTo>
                  <a:lnTo>
                    <a:pt x="356" y="176"/>
                  </a:lnTo>
                  <a:lnTo>
                    <a:pt x="356" y="175"/>
                  </a:lnTo>
                  <a:lnTo>
                    <a:pt x="355" y="173"/>
                  </a:lnTo>
                  <a:lnTo>
                    <a:pt x="355" y="172"/>
                  </a:lnTo>
                  <a:lnTo>
                    <a:pt x="355" y="171"/>
                  </a:lnTo>
                  <a:lnTo>
                    <a:pt x="354" y="171"/>
                  </a:lnTo>
                  <a:lnTo>
                    <a:pt x="354" y="170"/>
                  </a:lnTo>
                  <a:lnTo>
                    <a:pt x="352" y="170"/>
                  </a:lnTo>
                  <a:lnTo>
                    <a:pt x="352" y="167"/>
                  </a:lnTo>
                  <a:lnTo>
                    <a:pt x="352" y="166"/>
                  </a:lnTo>
                  <a:lnTo>
                    <a:pt x="354" y="165"/>
                  </a:lnTo>
                  <a:lnTo>
                    <a:pt x="352" y="165"/>
                  </a:lnTo>
                  <a:lnTo>
                    <a:pt x="351" y="165"/>
                  </a:lnTo>
                  <a:lnTo>
                    <a:pt x="351" y="164"/>
                  </a:lnTo>
                  <a:lnTo>
                    <a:pt x="351" y="162"/>
                  </a:lnTo>
                  <a:lnTo>
                    <a:pt x="352" y="162"/>
                  </a:lnTo>
                  <a:lnTo>
                    <a:pt x="352" y="164"/>
                  </a:lnTo>
                  <a:lnTo>
                    <a:pt x="354" y="164"/>
                  </a:lnTo>
                  <a:lnTo>
                    <a:pt x="355" y="164"/>
                  </a:lnTo>
                  <a:lnTo>
                    <a:pt x="356" y="164"/>
                  </a:lnTo>
                  <a:lnTo>
                    <a:pt x="357" y="164"/>
                  </a:lnTo>
                  <a:lnTo>
                    <a:pt x="357" y="162"/>
                  </a:lnTo>
                  <a:lnTo>
                    <a:pt x="360" y="161"/>
                  </a:lnTo>
                  <a:lnTo>
                    <a:pt x="360" y="162"/>
                  </a:lnTo>
                  <a:lnTo>
                    <a:pt x="360" y="164"/>
                  </a:lnTo>
                  <a:lnTo>
                    <a:pt x="361" y="164"/>
                  </a:lnTo>
                  <a:lnTo>
                    <a:pt x="361" y="162"/>
                  </a:lnTo>
                  <a:lnTo>
                    <a:pt x="360" y="161"/>
                  </a:lnTo>
                  <a:lnTo>
                    <a:pt x="362" y="161"/>
                  </a:lnTo>
                  <a:lnTo>
                    <a:pt x="361" y="160"/>
                  </a:lnTo>
                  <a:lnTo>
                    <a:pt x="363" y="160"/>
                  </a:lnTo>
                  <a:lnTo>
                    <a:pt x="362" y="161"/>
                  </a:lnTo>
                  <a:lnTo>
                    <a:pt x="363" y="162"/>
                  </a:lnTo>
                  <a:lnTo>
                    <a:pt x="364" y="162"/>
                  </a:lnTo>
                  <a:lnTo>
                    <a:pt x="363" y="164"/>
                  </a:lnTo>
                  <a:lnTo>
                    <a:pt x="363" y="165"/>
                  </a:lnTo>
                  <a:lnTo>
                    <a:pt x="362" y="166"/>
                  </a:lnTo>
                  <a:lnTo>
                    <a:pt x="361" y="166"/>
                  </a:lnTo>
                  <a:lnTo>
                    <a:pt x="362" y="166"/>
                  </a:lnTo>
                  <a:lnTo>
                    <a:pt x="362" y="167"/>
                  </a:lnTo>
                  <a:lnTo>
                    <a:pt x="361" y="167"/>
                  </a:lnTo>
                  <a:lnTo>
                    <a:pt x="361" y="169"/>
                  </a:lnTo>
                  <a:lnTo>
                    <a:pt x="361" y="170"/>
                  </a:lnTo>
                  <a:lnTo>
                    <a:pt x="361" y="171"/>
                  </a:lnTo>
                  <a:lnTo>
                    <a:pt x="360" y="171"/>
                  </a:lnTo>
                  <a:lnTo>
                    <a:pt x="360" y="172"/>
                  </a:lnTo>
                  <a:lnTo>
                    <a:pt x="358" y="172"/>
                  </a:lnTo>
                  <a:lnTo>
                    <a:pt x="358" y="173"/>
                  </a:lnTo>
                  <a:lnTo>
                    <a:pt x="357" y="173"/>
                  </a:lnTo>
                  <a:lnTo>
                    <a:pt x="357" y="172"/>
                  </a:lnTo>
                  <a:lnTo>
                    <a:pt x="356" y="173"/>
                  </a:lnTo>
                  <a:lnTo>
                    <a:pt x="357" y="173"/>
                  </a:lnTo>
                  <a:lnTo>
                    <a:pt x="357" y="175"/>
                  </a:lnTo>
                  <a:lnTo>
                    <a:pt x="357" y="178"/>
                  </a:lnTo>
                  <a:lnTo>
                    <a:pt x="357" y="179"/>
                  </a:lnTo>
                  <a:lnTo>
                    <a:pt x="358" y="181"/>
                  </a:lnTo>
                  <a:lnTo>
                    <a:pt x="358" y="182"/>
                  </a:lnTo>
                  <a:lnTo>
                    <a:pt x="360" y="182"/>
                  </a:lnTo>
                  <a:lnTo>
                    <a:pt x="360" y="181"/>
                  </a:lnTo>
                  <a:lnTo>
                    <a:pt x="361" y="181"/>
                  </a:lnTo>
                  <a:lnTo>
                    <a:pt x="363" y="181"/>
                  </a:lnTo>
                  <a:lnTo>
                    <a:pt x="366" y="181"/>
                  </a:lnTo>
                  <a:lnTo>
                    <a:pt x="366" y="179"/>
                  </a:lnTo>
                  <a:lnTo>
                    <a:pt x="367" y="179"/>
                  </a:lnTo>
                  <a:lnTo>
                    <a:pt x="368" y="179"/>
                  </a:lnTo>
                  <a:lnTo>
                    <a:pt x="369" y="181"/>
                  </a:lnTo>
                  <a:lnTo>
                    <a:pt x="370" y="179"/>
                  </a:lnTo>
                  <a:lnTo>
                    <a:pt x="372" y="179"/>
                  </a:lnTo>
                  <a:lnTo>
                    <a:pt x="373" y="179"/>
                  </a:lnTo>
                  <a:lnTo>
                    <a:pt x="373" y="181"/>
                  </a:lnTo>
                  <a:lnTo>
                    <a:pt x="374" y="181"/>
                  </a:lnTo>
                  <a:lnTo>
                    <a:pt x="376" y="181"/>
                  </a:lnTo>
                  <a:lnTo>
                    <a:pt x="376" y="182"/>
                  </a:lnTo>
                  <a:lnTo>
                    <a:pt x="378" y="181"/>
                  </a:lnTo>
                  <a:lnTo>
                    <a:pt x="378" y="182"/>
                  </a:lnTo>
                  <a:lnTo>
                    <a:pt x="379" y="182"/>
                  </a:lnTo>
                  <a:lnTo>
                    <a:pt x="380" y="182"/>
                  </a:lnTo>
                  <a:lnTo>
                    <a:pt x="381" y="182"/>
                  </a:lnTo>
                  <a:lnTo>
                    <a:pt x="381" y="181"/>
                  </a:lnTo>
                  <a:lnTo>
                    <a:pt x="383" y="181"/>
                  </a:lnTo>
                  <a:lnTo>
                    <a:pt x="383" y="182"/>
                  </a:lnTo>
                  <a:lnTo>
                    <a:pt x="384" y="182"/>
                  </a:lnTo>
                  <a:lnTo>
                    <a:pt x="384" y="183"/>
                  </a:lnTo>
                  <a:lnTo>
                    <a:pt x="385" y="183"/>
                  </a:lnTo>
                  <a:lnTo>
                    <a:pt x="385" y="182"/>
                  </a:lnTo>
                  <a:lnTo>
                    <a:pt x="384" y="181"/>
                  </a:lnTo>
                  <a:lnTo>
                    <a:pt x="384" y="179"/>
                  </a:lnTo>
                  <a:lnTo>
                    <a:pt x="384" y="181"/>
                  </a:lnTo>
                  <a:lnTo>
                    <a:pt x="383" y="179"/>
                  </a:lnTo>
                  <a:lnTo>
                    <a:pt x="384" y="179"/>
                  </a:lnTo>
                  <a:lnTo>
                    <a:pt x="384" y="178"/>
                  </a:lnTo>
                  <a:lnTo>
                    <a:pt x="386" y="178"/>
                  </a:lnTo>
                  <a:lnTo>
                    <a:pt x="386" y="179"/>
                  </a:lnTo>
                  <a:lnTo>
                    <a:pt x="386" y="181"/>
                  </a:lnTo>
                  <a:lnTo>
                    <a:pt x="385" y="181"/>
                  </a:lnTo>
                  <a:lnTo>
                    <a:pt x="386" y="182"/>
                  </a:lnTo>
                  <a:lnTo>
                    <a:pt x="385" y="182"/>
                  </a:lnTo>
                  <a:lnTo>
                    <a:pt x="386" y="182"/>
                  </a:lnTo>
                  <a:lnTo>
                    <a:pt x="385" y="183"/>
                  </a:lnTo>
                  <a:lnTo>
                    <a:pt x="385" y="184"/>
                  </a:lnTo>
                  <a:lnTo>
                    <a:pt x="385" y="185"/>
                  </a:lnTo>
                  <a:lnTo>
                    <a:pt x="384" y="185"/>
                  </a:lnTo>
                  <a:lnTo>
                    <a:pt x="383" y="187"/>
                  </a:lnTo>
                  <a:lnTo>
                    <a:pt x="383" y="188"/>
                  </a:lnTo>
                  <a:lnTo>
                    <a:pt x="383" y="189"/>
                  </a:lnTo>
                  <a:lnTo>
                    <a:pt x="381" y="188"/>
                  </a:lnTo>
                  <a:lnTo>
                    <a:pt x="380" y="189"/>
                  </a:lnTo>
                  <a:lnTo>
                    <a:pt x="381" y="189"/>
                  </a:lnTo>
                  <a:lnTo>
                    <a:pt x="381" y="191"/>
                  </a:lnTo>
                  <a:lnTo>
                    <a:pt x="381" y="194"/>
                  </a:lnTo>
                  <a:lnTo>
                    <a:pt x="381" y="195"/>
                  </a:lnTo>
                  <a:lnTo>
                    <a:pt x="380" y="195"/>
                  </a:lnTo>
                  <a:lnTo>
                    <a:pt x="380" y="194"/>
                  </a:lnTo>
                  <a:lnTo>
                    <a:pt x="379" y="195"/>
                  </a:lnTo>
                  <a:lnTo>
                    <a:pt x="380" y="195"/>
                  </a:lnTo>
                  <a:lnTo>
                    <a:pt x="380" y="196"/>
                  </a:lnTo>
                  <a:lnTo>
                    <a:pt x="379" y="197"/>
                  </a:lnTo>
                  <a:lnTo>
                    <a:pt x="380" y="197"/>
                  </a:lnTo>
                  <a:lnTo>
                    <a:pt x="381" y="197"/>
                  </a:lnTo>
                  <a:lnTo>
                    <a:pt x="381" y="196"/>
                  </a:lnTo>
                  <a:lnTo>
                    <a:pt x="380" y="195"/>
                  </a:lnTo>
                  <a:lnTo>
                    <a:pt x="381" y="194"/>
                  </a:lnTo>
                  <a:lnTo>
                    <a:pt x="383" y="193"/>
                  </a:lnTo>
                  <a:lnTo>
                    <a:pt x="383" y="191"/>
                  </a:lnTo>
                  <a:lnTo>
                    <a:pt x="384" y="191"/>
                  </a:lnTo>
                  <a:lnTo>
                    <a:pt x="384" y="193"/>
                  </a:lnTo>
                  <a:lnTo>
                    <a:pt x="385" y="195"/>
                  </a:lnTo>
                  <a:lnTo>
                    <a:pt x="385" y="194"/>
                  </a:lnTo>
                  <a:lnTo>
                    <a:pt x="385" y="193"/>
                  </a:lnTo>
                  <a:lnTo>
                    <a:pt x="386" y="193"/>
                  </a:lnTo>
                  <a:lnTo>
                    <a:pt x="386" y="191"/>
                  </a:lnTo>
                  <a:lnTo>
                    <a:pt x="387" y="191"/>
                  </a:lnTo>
                  <a:lnTo>
                    <a:pt x="386" y="191"/>
                  </a:lnTo>
                  <a:lnTo>
                    <a:pt x="387" y="193"/>
                  </a:lnTo>
                  <a:lnTo>
                    <a:pt x="387" y="194"/>
                  </a:lnTo>
                  <a:lnTo>
                    <a:pt x="386" y="194"/>
                  </a:lnTo>
                  <a:lnTo>
                    <a:pt x="386" y="195"/>
                  </a:lnTo>
                  <a:lnTo>
                    <a:pt x="385" y="195"/>
                  </a:lnTo>
                  <a:lnTo>
                    <a:pt x="385" y="196"/>
                  </a:lnTo>
                  <a:lnTo>
                    <a:pt x="386" y="196"/>
                  </a:lnTo>
                  <a:lnTo>
                    <a:pt x="386" y="197"/>
                  </a:lnTo>
                  <a:lnTo>
                    <a:pt x="387" y="197"/>
                  </a:lnTo>
                  <a:lnTo>
                    <a:pt x="389" y="197"/>
                  </a:lnTo>
                  <a:lnTo>
                    <a:pt x="390" y="197"/>
                  </a:lnTo>
                  <a:lnTo>
                    <a:pt x="390" y="196"/>
                  </a:lnTo>
                  <a:lnTo>
                    <a:pt x="390" y="195"/>
                  </a:lnTo>
                  <a:lnTo>
                    <a:pt x="391" y="195"/>
                  </a:lnTo>
                  <a:lnTo>
                    <a:pt x="390" y="194"/>
                  </a:lnTo>
                  <a:lnTo>
                    <a:pt x="391" y="194"/>
                  </a:lnTo>
                  <a:lnTo>
                    <a:pt x="392" y="193"/>
                  </a:lnTo>
                  <a:lnTo>
                    <a:pt x="393" y="193"/>
                  </a:lnTo>
                  <a:lnTo>
                    <a:pt x="393" y="194"/>
                  </a:lnTo>
                  <a:lnTo>
                    <a:pt x="396" y="194"/>
                  </a:lnTo>
                  <a:lnTo>
                    <a:pt x="396" y="195"/>
                  </a:lnTo>
                  <a:lnTo>
                    <a:pt x="397" y="195"/>
                  </a:lnTo>
                  <a:lnTo>
                    <a:pt x="397" y="196"/>
                  </a:lnTo>
                  <a:lnTo>
                    <a:pt x="397" y="195"/>
                  </a:lnTo>
                  <a:lnTo>
                    <a:pt x="398" y="195"/>
                  </a:lnTo>
                  <a:lnTo>
                    <a:pt x="398" y="196"/>
                  </a:lnTo>
                  <a:lnTo>
                    <a:pt x="399" y="196"/>
                  </a:lnTo>
                  <a:lnTo>
                    <a:pt x="399" y="197"/>
                  </a:lnTo>
                  <a:lnTo>
                    <a:pt x="401" y="197"/>
                  </a:lnTo>
                  <a:lnTo>
                    <a:pt x="402" y="196"/>
                  </a:lnTo>
                  <a:lnTo>
                    <a:pt x="404" y="196"/>
                  </a:lnTo>
                  <a:lnTo>
                    <a:pt x="405" y="196"/>
                  </a:lnTo>
                  <a:lnTo>
                    <a:pt x="405" y="197"/>
                  </a:lnTo>
                  <a:lnTo>
                    <a:pt x="407" y="197"/>
                  </a:lnTo>
                  <a:lnTo>
                    <a:pt x="407" y="199"/>
                  </a:lnTo>
                  <a:lnTo>
                    <a:pt x="407" y="200"/>
                  </a:lnTo>
                  <a:lnTo>
                    <a:pt x="408" y="200"/>
                  </a:lnTo>
                  <a:lnTo>
                    <a:pt x="408" y="201"/>
                  </a:lnTo>
                  <a:lnTo>
                    <a:pt x="409" y="201"/>
                  </a:lnTo>
                  <a:lnTo>
                    <a:pt x="410" y="201"/>
                  </a:lnTo>
                  <a:lnTo>
                    <a:pt x="411" y="201"/>
                  </a:lnTo>
                  <a:lnTo>
                    <a:pt x="413" y="201"/>
                  </a:lnTo>
                  <a:lnTo>
                    <a:pt x="413" y="200"/>
                  </a:lnTo>
                  <a:lnTo>
                    <a:pt x="414" y="200"/>
                  </a:lnTo>
                  <a:lnTo>
                    <a:pt x="414" y="201"/>
                  </a:lnTo>
                  <a:lnTo>
                    <a:pt x="415" y="201"/>
                  </a:lnTo>
                  <a:lnTo>
                    <a:pt x="416" y="201"/>
                  </a:lnTo>
                  <a:lnTo>
                    <a:pt x="416" y="202"/>
                  </a:lnTo>
                  <a:lnTo>
                    <a:pt x="416" y="205"/>
                  </a:lnTo>
                  <a:lnTo>
                    <a:pt x="417" y="205"/>
                  </a:lnTo>
                  <a:lnTo>
                    <a:pt x="419" y="205"/>
                  </a:lnTo>
                  <a:lnTo>
                    <a:pt x="417" y="205"/>
                  </a:lnTo>
                  <a:lnTo>
                    <a:pt x="417" y="203"/>
                  </a:lnTo>
                  <a:lnTo>
                    <a:pt x="419" y="203"/>
                  </a:lnTo>
                  <a:lnTo>
                    <a:pt x="420" y="203"/>
                  </a:lnTo>
                  <a:lnTo>
                    <a:pt x="421" y="203"/>
                  </a:lnTo>
                  <a:lnTo>
                    <a:pt x="422" y="203"/>
                  </a:lnTo>
                  <a:lnTo>
                    <a:pt x="421" y="205"/>
                  </a:lnTo>
                  <a:lnTo>
                    <a:pt x="420" y="205"/>
                  </a:lnTo>
                  <a:lnTo>
                    <a:pt x="419" y="205"/>
                  </a:lnTo>
                  <a:lnTo>
                    <a:pt x="419" y="206"/>
                  </a:lnTo>
                  <a:lnTo>
                    <a:pt x="417" y="206"/>
                  </a:lnTo>
                  <a:lnTo>
                    <a:pt x="417" y="207"/>
                  </a:lnTo>
                  <a:lnTo>
                    <a:pt x="417" y="206"/>
                  </a:lnTo>
                  <a:lnTo>
                    <a:pt x="419" y="207"/>
                  </a:lnTo>
                  <a:lnTo>
                    <a:pt x="420" y="208"/>
                  </a:lnTo>
                  <a:lnTo>
                    <a:pt x="419" y="208"/>
                  </a:lnTo>
                  <a:lnTo>
                    <a:pt x="419" y="209"/>
                  </a:lnTo>
                  <a:lnTo>
                    <a:pt x="420" y="209"/>
                  </a:lnTo>
                  <a:lnTo>
                    <a:pt x="421" y="208"/>
                  </a:lnTo>
                  <a:lnTo>
                    <a:pt x="421" y="209"/>
                  </a:lnTo>
                  <a:lnTo>
                    <a:pt x="421" y="208"/>
                  </a:lnTo>
                  <a:lnTo>
                    <a:pt x="422" y="209"/>
                  </a:lnTo>
                  <a:lnTo>
                    <a:pt x="423" y="208"/>
                  </a:lnTo>
                  <a:lnTo>
                    <a:pt x="423" y="206"/>
                  </a:lnTo>
                  <a:lnTo>
                    <a:pt x="423" y="205"/>
                  </a:lnTo>
                  <a:lnTo>
                    <a:pt x="423" y="203"/>
                  </a:lnTo>
                  <a:lnTo>
                    <a:pt x="423" y="202"/>
                  </a:lnTo>
                  <a:lnTo>
                    <a:pt x="425" y="203"/>
                  </a:lnTo>
                  <a:lnTo>
                    <a:pt x="425" y="205"/>
                  </a:lnTo>
                  <a:lnTo>
                    <a:pt x="426" y="206"/>
                  </a:lnTo>
                  <a:lnTo>
                    <a:pt x="426" y="207"/>
                  </a:lnTo>
                  <a:lnTo>
                    <a:pt x="425" y="206"/>
                  </a:lnTo>
                  <a:lnTo>
                    <a:pt x="425" y="207"/>
                  </a:lnTo>
                  <a:lnTo>
                    <a:pt x="425" y="208"/>
                  </a:lnTo>
                  <a:lnTo>
                    <a:pt x="426" y="209"/>
                  </a:lnTo>
                  <a:lnTo>
                    <a:pt x="426" y="211"/>
                  </a:lnTo>
                  <a:lnTo>
                    <a:pt x="426" y="209"/>
                  </a:lnTo>
                  <a:lnTo>
                    <a:pt x="428" y="209"/>
                  </a:lnTo>
                  <a:lnTo>
                    <a:pt x="429" y="208"/>
                  </a:lnTo>
                  <a:lnTo>
                    <a:pt x="431" y="209"/>
                  </a:lnTo>
                  <a:lnTo>
                    <a:pt x="433" y="209"/>
                  </a:lnTo>
                  <a:lnTo>
                    <a:pt x="434" y="209"/>
                  </a:lnTo>
                  <a:lnTo>
                    <a:pt x="435" y="211"/>
                  </a:lnTo>
                  <a:lnTo>
                    <a:pt x="437" y="212"/>
                  </a:lnTo>
                  <a:lnTo>
                    <a:pt x="438" y="211"/>
                  </a:lnTo>
                  <a:lnTo>
                    <a:pt x="437" y="211"/>
                  </a:lnTo>
                  <a:lnTo>
                    <a:pt x="437" y="212"/>
                  </a:lnTo>
                  <a:lnTo>
                    <a:pt x="437" y="213"/>
                  </a:lnTo>
                  <a:lnTo>
                    <a:pt x="438" y="214"/>
                  </a:lnTo>
                  <a:lnTo>
                    <a:pt x="438" y="212"/>
                  </a:lnTo>
                  <a:lnTo>
                    <a:pt x="438" y="211"/>
                  </a:lnTo>
                  <a:lnTo>
                    <a:pt x="439" y="211"/>
                  </a:lnTo>
                  <a:lnTo>
                    <a:pt x="439" y="212"/>
                  </a:lnTo>
                  <a:lnTo>
                    <a:pt x="440" y="212"/>
                  </a:lnTo>
                  <a:lnTo>
                    <a:pt x="440" y="213"/>
                  </a:lnTo>
                  <a:lnTo>
                    <a:pt x="440" y="214"/>
                  </a:lnTo>
                  <a:lnTo>
                    <a:pt x="440" y="215"/>
                  </a:lnTo>
                  <a:lnTo>
                    <a:pt x="440" y="217"/>
                  </a:lnTo>
                  <a:lnTo>
                    <a:pt x="442" y="218"/>
                  </a:lnTo>
                  <a:lnTo>
                    <a:pt x="442" y="219"/>
                  </a:lnTo>
                  <a:lnTo>
                    <a:pt x="440" y="220"/>
                  </a:lnTo>
                  <a:lnTo>
                    <a:pt x="440" y="221"/>
                  </a:lnTo>
                  <a:lnTo>
                    <a:pt x="440" y="223"/>
                  </a:lnTo>
                  <a:lnTo>
                    <a:pt x="440" y="224"/>
                  </a:lnTo>
                  <a:lnTo>
                    <a:pt x="439" y="224"/>
                  </a:lnTo>
                  <a:lnTo>
                    <a:pt x="439" y="225"/>
                  </a:lnTo>
                  <a:lnTo>
                    <a:pt x="438" y="225"/>
                  </a:lnTo>
                  <a:lnTo>
                    <a:pt x="437" y="225"/>
                  </a:lnTo>
                  <a:lnTo>
                    <a:pt x="437" y="226"/>
                  </a:lnTo>
                  <a:lnTo>
                    <a:pt x="435" y="226"/>
                  </a:lnTo>
                  <a:lnTo>
                    <a:pt x="434" y="226"/>
                  </a:lnTo>
                  <a:lnTo>
                    <a:pt x="433" y="226"/>
                  </a:lnTo>
                  <a:lnTo>
                    <a:pt x="432" y="227"/>
                  </a:lnTo>
                  <a:lnTo>
                    <a:pt x="431" y="227"/>
                  </a:lnTo>
                  <a:lnTo>
                    <a:pt x="431" y="226"/>
                  </a:lnTo>
                  <a:lnTo>
                    <a:pt x="432" y="226"/>
                  </a:lnTo>
                  <a:lnTo>
                    <a:pt x="432" y="225"/>
                  </a:lnTo>
                  <a:lnTo>
                    <a:pt x="432" y="224"/>
                  </a:lnTo>
                  <a:lnTo>
                    <a:pt x="433" y="224"/>
                  </a:lnTo>
                  <a:lnTo>
                    <a:pt x="432" y="224"/>
                  </a:lnTo>
                  <a:lnTo>
                    <a:pt x="432" y="223"/>
                  </a:lnTo>
                  <a:lnTo>
                    <a:pt x="432" y="225"/>
                  </a:lnTo>
                  <a:lnTo>
                    <a:pt x="431" y="225"/>
                  </a:lnTo>
                  <a:lnTo>
                    <a:pt x="431" y="226"/>
                  </a:lnTo>
                  <a:lnTo>
                    <a:pt x="429" y="226"/>
                  </a:lnTo>
                  <a:lnTo>
                    <a:pt x="431" y="226"/>
                  </a:lnTo>
                  <a:lnTo>
                    <a:pt x="431" y="227"/>
                  </a:lnTo>
                  <a:lnTo>
                    <a:pt x="429" y="227"/>
                  </a:lnTo>
                  <a:lnTo>
                    <a:pt x="429" y="226"/>
                  </a:lnTo>
                  <a:lnTo>
                    <a:pt x="429" y="225"/>
                  </a:lnTo>
                  <a:lnTo>
                    <a:pt x="429" y="224"/>
                  </a:lnTo>
                  <a:lnTo>
                    <a:pt x="429" y="223"/>
                  </a:lnTo>
                  <a:lnTo>
                    <a:pt x="428" y="223"/>
                  </a:lnTo>
                  <a:lnTo>
                    <a:pt x="427" y="223"/>
                  </a:lnTo>
                  <a:lnTo>
                    <a:pt x="426" y="221"/>
                  </a:lnTo>
                  <a:lnTo>
                    <a:pt x="425" y="220"/>
                  </a:lnTo>
                  <a:lnTo>
                    <a:pt x="425" y="221"/>
                  </a:lnTo>
                  <a:lnTo>
                    <a:pt x="425" y="224"/>
                  </a:lnTo>
                  <a:lnTo>
                    <a:pt x="425" y="226"/>
                  </a:lnTo>
                  <a:lnTo>
                    <a:pt x="426" y="226"/>
                  </a:lnTo>
                  <a:lnTo>
                    <a:pt x="426" y="225"/>
                  </a:lnTo>
                  <a:lnTo>
                    <a:pt x="427" y="225"/>
                  </a:lnTo>
                  <a:lnTo>
                    <a:pt x="427" y="224"/>
                  </a:lnTo>
                  <a:lnTo>
                    <a:pt x="427" y="223"/>
                  </a:lnTo>
                  <a:lnTo>
                    <a:pt x="428" y="224"/>
                  </a:lnTo>
                  <a:lnTo>
                    <a:pt x="428" y="225"/>
                  </a:lnTo>
                  <a:lnTo>
                    <a:pt x="428" y="226"/>
                  </a:lnTo>
                  <a:lnTo>
                    <a:pt x="426" y="227"/>
                  </a:lnTo>
                  <a:lnTo>
                    <a:pt x="427" y="227"/>
                  </a:lnTo>
                  <a:lnTo>
                    <a:pt x="432" y="227"/>
                  </a:lnTo>
                  <a:lnTo>
                    <a:pt x="434" y="227"/>
                  </a:lnTo>
                  <a:lnTo>
                    <a:pt x="434" y="229"/>
                  </a:lnTo>
                  <a:lnTo>
                    <a:pt x="434" y="230"/>
                  </a:lnTo>
                  <a:lnTo>
                    <a:pt x="435" y="231"/>
                  </a:lnTo>
                  <a:lnTo>
                    <a:pt x="435" y="232"/>
                  </a:lnTo>
                  <a:lnTo>
                    <a:pt x="435" y="233"/>
                  </a:lnTo>
                  <a:lnTo>
                    <a:pt x="434" y="233"/>
                  </a:lnTo>
                  <a:lnTo>
                    <a:pt x="434" y="236"/>
                  </a:lnTo>
                  <a:lnTo>
                    <a:pt x="435" y="237"/>
                  </a:lnTo>
                  <a:lnTo>
                    <a:pt x="434" y="238"/>
                  </a:lnTo>
                  <a:lnTo>
                    <a:pt x="435" y="238"/>
                  </a:lnTo>
                  <a:lnTo>
                    <a:pt x="435" y="237"/>
                  </a:lnTo>
                  <a:lnTo>
                    <a:pt x="437" y="236"/>
                  </a:lnTo>
                  <a:lnTo>
                    <a:pt x="438" y="236"/>
                  </a:lnTo>
                  <a:lnTo>
                    <a:pt x="438" y="235"/>
                  </a:lnTo>
                  <a:lnTo>
                    <a:pt x="438" y="233"/>
                  </a:lnTo>
                  <a:lnTo>
                    <a:pt x="438" y="232"/>
                  </a:lnTo>
                  <a:lnTo>
                    <a:pt x="437" y="232"/>
                  </a:lnTo>
                  <a:lnTo>
                    <a:pt x="435" y="232"/>
                  </a:lnTo>
                  <a:lnTo>
                    <a:pt x="435" y="231"/>
                  </a:lnTo>
                  <a:lnTo>
                    <a:pt x="435" y="230"/>
                  </a:lnTo>
                  <a:lnTo>
                    <a:pt x="435" y="229"/>
                  </a:lnTo>
                  <a:lnTo>
                    <a:pt x="437" y="227"/>
                  </a:lnTo>
                  <a:lnTo>
                    <a:pt x="437" y="229"/>
                  </a:lnTo>
                  <a:lnTo>
                    <a:pt x="438" y="229"/>
                  </a:lnTo>
                  <a:lnTo>
                    <a:pt x="439" y="230"/>
                  </a:lnTo>
                  <a:lnTo>
                    <a:pt x="440" y="229"/>
                  </a:lnTo>
                  <a:lnTo>
                    <a:pt x="439" y="229"/>
                  </a:lnTo>
                  <a:lnTo>
                    <a:pt x="439" y="227"/>
                  </a:lnTo>
                  <a:lnTo>
                    <a:pt x="440" y="227"/>
                  </a:lnTo>
                  <a:lnTo>
                    <a:pt x="442" y="227"/>
                  </a:lnTo>
                  <a:lnTo>
                    <a:pt x="443" y="227"/>
                  </a:lnTo>
                  <a:lnTo>
                    <a:pt x="443" y="229"/>
                  </a:lnTo>
                  <a:lnTo>
                    <a:pt x="444" y="229"/>
                  </a:lnTo>
                  <a:lnTo>
                    <a:pt x="444" y="230"/>
                  </a:lnTo>
                  <a:lnTo>
                    <a:pt x="444" y="231"/>
                  </a:lnTo>
                  <a:lnTo>
                    <a:pt x="446" y="231"/>
                  </a:lnTo>
                  <a:lnTo>
                    <a:pt x="448" y="231"/>
                  </a:lnTo>
                  <a:lnTo>
                    <a:pt x="448" y="232"/>
                  </a:lnTo>
                  <a:lnTo>
                    <a:pt x="449" y="232"/>
                  </a:lnTo>
                  <a:lnTo>
                    <a:pt x="449" y="235"/>
                  </a:lnTo>
                  <a:lnTo>
                    <a:pt x="450" y="235"/>
                  </a:lnTo>
                  <a:lnTo>
                    <a:pt x="450" y="237"/>
                  </a:lnTo>
                  <a:lnTo>
                    <a:pt x="451" y="237"/>
                  </a:lnTo>
                  <a:lnTo>
                    <a:pt x="451" y="238"/>
                  </a:lnTo>
                  <a:lnTo>
                    <a:pt x="452" y="238"/>
                  </a:lnTo>
                  <a:lnTo>
                    <a:pt x="452" y="239"/>
                  </a:lnTo>
                  <a:lnTo>
                    <a:pt x="452" y="241"/>
                  </a:lnTo>
                  <a:lnTo>
                    <a:pt x="451" y="239"/>
                  </a:lnTo>
                  <a:lnTo>
                    <a:pt x="450" y="241"/>
                  </a:lnTo>
                  <a:lnTo>
                    <a:pt x="450" y="243"/>
                  </a:lnTo>
                  <a:lnTo>
                    <a:pt x="449" y="243"/>
                  </a:lnTo>
                  <a:lnTo>
                    <a:pt x="450" y="243"/>
                  </a:lnTo>
                  <a:lnTo>
                    <a:pt x="451" y="243"/>
                  </a:lnTo>
                  <a:lnTo>
                    <a:pt x="451" y="244"/>
                  </a:lnTo>
                  <a:lnTo>
                    <a:pt x="452" y="243"/>
                  </a:lnTo>
                  <a:lnTo>
                    <a:pt x="452" y="244"/>
                  </a:lnTo>
                  <a:lnTo>
                    <a:pt x="454" y="244"/>
                  </a:lnTo>
                  <a:lnTo>
                    <a:pt x="454" y="245"/>
                  </a:lnTo>
                  <a:lnTo>
                    <a:pt x="455" y="244"/>
                  </a:lnTo>
                  <a:lnTo>
                    <a:pt x="456" y="245"/>
                  </a:lnTo>
                  <a:lnTo>
                    <a:pt x="457" y="247"/>
                  </a:lnTo>
                  <a:lnTo>
                    <a:pt x="457" y="245"/>
                  </a:lnTo>
                  <a:lnTo>
                    <a:pt x="456" y="244"/>
                  </a:lnTo>
                  <a:lnTo>
                    <a:pt x="455" y="243"/>
                  </a:lnTo>
                  <a:lnTo>
                    <a:pt x="454" y="242"/>
                  </a:lnTo>
                  <a:lnTo>
                    <a:pt x="456" y="242"/>
                  </a:lnTo>
                  <a:lnTo>
                    <a:pt x="456" y="241"/>
                  </a:lnTo>
                  <a:lnTo>
                    <a:pt x="456" y="238"/>
                  </a:lnTo>
                  <a:lnTo>
                    <a:pt x="455" y="238"/>
                  </a:lnTo>
                  <a:lnTo>
                    <a:pt x="455" y="237"/>
                  </a:lnTo>
                  <a:lnTo>
                    <a:pt x="454" y="237"/>
                  </a:lnTo>
                  <a:lnTo>
                    <a:pt x="454" y="236"/>
                  </a:lnTo>
                  <a:lnTo>
                    <a:pt x="454" y="235"/>
                  </a:lnTo>
                  <a:lnTo>
                    <a:pt x="452" y="235"/>
                  </a:lnTo>
                  <a:lnTo>
                    <a:pt x="451" y="235"/>
                  </a:lnTo>
                  <a:lnTo>
                    <a:pt x="451" y="233"/>
                  </a:lnTo>
                  <a:lnTo>
                    <a:pt x="452" y="232"/>
                  </a:lnTo>
                  <a:lnTo>
                    <a:pt x="452" y="231"/>
                  </a:lnTo>
                  <a:lnTo>
                    <a:pt x="451" y="231"/>
                  </a:lnTo>
                  <a:lnTo>
                    <a:pt x="451" y="230"/>
                  </a:lnTo>
                  <a:lnTo>
                    <a:pt x="450" y="229"/>
                  </a:lnTo>
                  <a:lnTo>
                    <a:pt x="450" y="227"/>
                  </a:lnTo>
                  <a:lnTo>
                    <a:pt x="449" y="226"/>
                  </a:lnTo>
                  <a:lnTo>
                    <a:pt x="449" y="225"/>
                  </a:lnTo>
                  <a:lnTo>
                    <a:pt x="450" y="225"/>
                  </a:lnTo>
                  <a:lnTo>
                    <a:pt x="449" y="221"/>
                  </a:lnTo>
                  <a:lnTo>
                    <a:pt x="449" y="220"/>
                  </a:lnTo>
                  <a:lnTo>
                    <a:pt x="449" y="219"/>
                  </a:lnTo>
                  <a:lnTo>
                    <a:pt x="449" y="218"/>
                  </a:lnTo>
                  <a:lnTo>
                    <a:pt x="448" y="218"/>
                  </a:lnTo>
                  <a:lnTo>
                    <a:pt x="448" y="217"/>
                  </a:lnTo>
                  <a:lnTo>
                    <a:pt x="448" y="215"/>
                  </a:lnTo>
                  <a:lnTo>
                    <a:pt x="448" y="214"/>
                  </a:lnTo>
                  <a:lnTo>
                    <a:pt x="446" y="214"/>
                  </a:lnTo>
                  <a:lnTo>
                    <a:pt x="446" y="213"/>
                  </a:lnTo>
                  <a:lnTo>
                    <a:pt x="448" y="213"/>
                  </a:lnTo>
                  <a:lnTo>
                    <a:pt x="448" y="212"/>
                  </a:lnTo>
                  <a:lnTo>
                    <a:pt x="446" y="211"/>
                  </a:lnTo>
                  <a:lnTo>
                    <a:pt x="445" y="211"/>
                  </a:lnTo>
                  <a:lnTo>
                    <a:pt x="446" y="211"/>
                  </a:lnTo>
                  <a:lnTo>
                    <a:pt x="446" y="209"/>
                  </a:lnTo>
                  <a:lnTo>
                    <a:pt x="445" y="208"/>
                  </a:lnTo>
                  <a:lnTo>
                    <a:pt x="445" y="207"/>
                  </a:lnTo>
                  <a:lnTo>
                    <a:pt x="444" y="207"/>
                  </a:lnTo>
                  <a:lnTo>
                    <a:pt x="444" y="206"/>
                  </a:lnTo>
                  <a:lnTo>
                    <a:pt x="445" y="205"/>
                  </a:lnTo>
                  <a:lnTo>
                    <a:pt x="444" y="203"/>
                  </a:lnTo>
                  <a:lnTo>
                    <a:pt x="443" y="203"/>
                  </a:lnTo>
                  <a:lnTo>
                    <a:pt x="442" y="203"/>
                  </a:lnTo>
                  <a:lnTo>
                    <a:pt x="442" y="205"/>
                  </a:lnTo>
                  <a:lnTo>
                    <a:pt x="442" y="203"/>
                  </a:lnTo>
                  <a:lnTo>
                    <a:pt x="440" y="203"/>
                  </a:lnTo>
                  <a:lnTo>
                    <a:pt x="439" y="203"/>
                  </a:lnTo>
                  <a:lnTo>
                    <a:pt x="440" y="202"/>
                  </a:lnTo>
                  <a:lnTo>
                    <a:pt x="439" y="202"/>
                  </a:lnTo>
                  <a:lnTo>
                    <a:pt x="439" y="201"/>
                  </a:lnTo>
                  <a:lnTo>
                    <a:pt x="440" y="201"/>
                  </a:lnTo>
                  <a:lnTo>
                    <a:pt x="440" y="200"/>
                  </a:lnTo>
                  <a:lnTo>
                    <a:pt x="439" y="200"/>
                  </a:lnTo>
                  <a:lnTo>
                    <a:pt x="439" y="199"/>
                  </a:lnTo>
                  <a:lnTo>
                    <a:pt x="440" y="199"/>
                  </a:lnTo>
                  <a:lnTo>
                    <a:pt x="442" y="199"/>
                  </a:lnTo>
                  <a:lnTo>
                    <a:pt x="443" y="199"/>
                  </a:lnTo>
                  <a:lnTo>
                    <a:pt x="442" y="199"/>
                  </a:lnTo>
                  <a:lnTo>
                    <a:pt x="440" y="197"/>
                  </a:lnTo>
                  <a:lnTo>
                    <a:pt x="440" y="196"/>
                  </a:lnTo>
                  <a:lnTo>
                    <a:pt x="439" y="196"/>
                  </a:lnTo>
                  <a:lnTo>
                    <a:pt x="438" y="196"/>
                  </a:lnTo>
                  <a:lnTo>
                    <a:pt x="438" y="197"/>
                  </a:lnTo>
                  <a:lnTo>
                    <a:pt x="438" y="196"/>
                  </a:lnTo>
                  <a:lnTo>
                    <a:pt x="437" y="196"/>
                  </a:lnTo>
                  <a:lnTo>
                    <a:pt x="435" y="196"/>
                  </a:lnTo>
                  <a:lnTo>
                    <a:pt x="434" y="197"/>
                  </a:lnTo>
                  <a:lnTo>
                    <a:pt x="433" y="197"/>
                  </a:lnTo>
                  <a:lnTo>
                    <a:pt x="433" y="199"/>
                  </a:lnTo>
                  <a:lnTo>
                    <a:pt x="432" y="199"/>
                  </a:lnTo>
                  <a:lnTo>
                    <a:pt x="432" y="197"/>
                  </a:lnTo>
                  <a:lnTo>
                    <a:pt x="431" y="197"/>
                  </a:lnTo>
                  <a:lnTo>
                    <a:pt x="429" y="196"/>
                  </a:lnTo>
                  <a:lnTo>
                    <a:pt x="428" y="196"/>
                  </a:lnTo>
                  <a:lnTo>
                    <a:pt x="427" y="196"/>
                  </a:lnTo>
                  <a:lnTo>
                    <a:pt x="426" y="196"/>
                  </a:lnTo>
                  <a:lnTo>
                    <a:pt x="426" y="195"/>
                  </a:lnTo>
                  <a:lnTo>
                    <a:pt x="425" y="195"/>
                  </a:lnTo>
                  <a:lnTo>
                    <a:pt x="425" y="194"/>
                  </a:lnTo>
                  <a:lnTo>
                    <a:pt x="426" y="193"/>
                  </a:lnTo>
                  <a:lnTo>
                    <a:pt x="426" y="191"/>
                  </a:lnTo>
                  <a:lnTo>
                    <a:pt x="427" y="190"/>
                  </a:lnTo>
                  <a:lnTo>
                    <a:pt x="427" y="191"/>
                  </a:lnTo>
                  <a:lnTo>
                    <a:pt x="428" y="190"/>
                  </a:lnTo>
                  <a:lnTo>
                    <a:pt x="428" y="191"/>
                  </a:lnTo>
                  <a:lnTo>
                    <a:pt x="429" y="190"/>
                  </a:lnTo>
                  <a:lnTo>
                    <a:pt x="431" y="190"/>
                  </a:lnTo>
                  <a:lnTo>
                    <a:pt x="431" y="189"/>
                  </a:lnTo>
                  <a:lnTo>
                    <a:pt x="432" y="189"/>
                  </a:lnTo>
                  <a:lnTo>
                    <a:pt x="433" y="189"/>
                  </a:lnTo>
                  <a:lnTo>
                    <a:pt x="434" y="189"/>
                  </a:lnTo>
                  <a:lnTo>
                    <a:pt x="434" y="190"/>
                  </a:lnTo>
                  <a:lnTo>
                    <a:pt x="434" y="189"/>
                  </a:lnTo>
                  <a:lnTo>
                    <a:pt x="434" y="188"/>
                  </a:lnTo>
                  <a:lnTo>
                    <a:pt x="433" y="187"/>
                  </a:lnTo>
                  <a:lnTo>
                    <a:pt x="432" y="187"/>
                  </a:lnTo>
                  <a:lnTo>
                    <a:pt x="432" y="185"/>
                  </a:lnTo>
                  <a:lnTo>
                    <a:pt x="431" y="185"/>
                  </a:lnTo>
                  <a:lnTo>
                    <a:pt x="431" y="184"/>
                  </a:lnTo>
                  <a:lnTo>
                    <a:pt x="429" y="184"/>
                  </a:lnTo>
                  <a:lnTo>
                    <a:pt x="429" y="185"/>
                  </a:lnTo>
                  <a:lnTo>
                    <a:pt x="429" y="187"/>
                  </a:lnTo>
                  <a:lnTo>
                    <a:pt x="429" y="188"/>
                  </a:lnTo>
                  <a:lnTo>
                    <a:pt x="429" y="189"/>
                  </a:lnTo>
                  <a:lnTo>
                    <a:pt x="429" y="188"/>
                  </a:lnTo>
                  <a:lnTo>
                    <a:pt x="428" y="189"/>
                  </a:lnTo>
                  <a:lnTo>
                    <a:pt x="425" y="189"/>
                  </a:lnTo>
                  <a:lnTo>
                    <a:pt x="425" y="190"/>
                  </a:lnTo>
                  <a:lnTo>
                    <a:pt x="423" y="189"/>
                  </a:lnTo>
                  <a:lnTo>
                    <a:pt x="422" y="189"/>
                  </a:lnTo>
                  <a:lnTo>
                    <a:pt x="420" y="189"/>
                  </a:lnTo>
                  <a:lnTo>
                    <a:pt x="421" y="187"/>
                  </a:lnTo>
                  <a:lnTo>
                    <a:pt x="420" y="187"/>
                  </a:lnTo>
                  <a:lnTo>
                    <a:pt x="420" y="188"/>
                  </a:lnTo>
                  <a:lnTo>
                    <a:pt x="419" y="188"/>
                  </a:lnTo>
                  <a:lnTo>
                    <a:pt x="417" y="188"/>
                  </a:lnTo>
                  <a:lnTo>
                    <a:pt x="417" y="189"/>
                  </a:lnTo>
                  <a:lnTo>
                    <a:pt x="416" y="189"/>
                  </a:lnTo>
                  <a:lnTo>
                    <a:pt x="415" y="188"/>
                  </a:lnTo>
                  <a:lnTo>
                    <a:pt x="414" y="188"/>
                  </a:lnTo>
                  <a:lnTo>
                    <a:pt x="414" y="187"/>
                  </a:lnTo>
                  <a:lnTo>
                    <a:pt x="413" y="187"/>
                  </a:lnTo>
                  <a:lnTo>
                    <a:pt x="411" y="187"/>
                  </a:lnTo>
                  <a:lnTo>
                    <a:pt x="410" y="187"/>
                  </a:lnTo>
                  <a:lnTo>
                    <a:pt x="409" y="187"/>
                  </a:lnTo>
                  <a:lnTo>
                    <a:pt x="408" y="185"/>
                  </a:lnTo>
                  <a:lnTo>
                    <a:pt x="407" y="185"/>
                  </a:lnTo>
                  <a:lnTo>
                    <a:pt x="404" y="184"/>
                  </a:lnTo>
                  <a:lnTo>
                    <a:pt x="405" y="184"/>
                  </a:lnTo>
                  <a:lnTo>
                    <a:pt x="407" y="183"/>
                  </a:lnTo>
                  <a:lnTo>
                    <a:pt x="405" y="183"/>
                  </a:lnTo>
                  <a:lnTo>
                    <a:pt x="405" y="182"/>
                  </a:lnTo>
                  <a:lnTo>
                    <a:pt x="407" y="182"/>
                  </a:lnTo>
                  <a:lnTo>
                    <a:pt x="407" y="181"/>
                  </a:lnTo>
                  <a:lnTo>
                    <a:pt x="409" y="181"/>
                  </a:lnTo>
                  <a:lnTo>
                    <a:pt x="410" y="182"/>
                  </a:lnTo>
                  <a:lnTo>
                    <a:pt x="413" y="182"/>
                  </a:lnTo>
                  <a:lnTo>
                    <a:pt x="413" y="181"/>
                  </a:lnTo>
                  <a:lnTo>
                    <a:pt x="411" y="179"/>
                  </a:lnTo>
                  <a:lnTo>
                    <a:pt x="410" y="179"/>
                  </a:lnTo>
                  <a:lnTo>
                    <a:pt x="409" y="178"/>
                  </a:lnTo>
                  <a:lnTo>
                    <a:pt x="409" y="179"/>
                  </a:lnTo>
                  <a:lnTo>
                    <a:pt x="408" y="179"/>
                  </a:lnTo>
                  <a:lnTo>
                    <a:pt x="407" y="179"/>
                  </a:lnTo>
                  <a:lnTo>
                    <a:pt x="405" y="179"/>
                  </a:lnTo>
                  <a:lnTo>
                    <a:pt x="404" y="181"/>
                  </a:lnTo>
                  <a:lnTo>
                    <a:pt x="403" y="181"/>
                  </a:lnTo>
                  <a:lnTo>
                    <a:pt x="403" y="182"/>
                  </a:lnTo>
                  <a:lnTo>
                    <a:pt x="402" y="182"/>
                  </a:lnTo>
                  <a:lnTo>
                    <a:pt x="402" y="181"/>
                  </a:lnTo>
                  <a:lnTo>
                    <a:pt x="403" y="181"/>
                  </a:lnTo>
                  <a:lnTo>
                    <a:pt x="403" y="179"/>
                  </a:lnTo>
                  <a:lnTo>
                    <a:pt x="404" y="178"/>
                  </a:lnTo>
                  <a:lnTo>
                    <a:pt x="405" y="178"/>
                  </a:lnTo>
                  <a:lnTo>
                    <a:pt x="403" y="178"/>
                  </a:lnTo>
                  <a:lnTo>
                    <a:pt x="403" y="177"/>
                  </a:lnTo>
                  <a:lnTo>
                    <a:pt x="403" y="176"/>
                  </a:lnTo>
                  <a:lnTo>
                    <a:pt x="404" y="176"/>
                  </a:lnTo>
                  <a:lnTo>
                    <a:pt x="403" y="176"/>
                  </a:lnTo>
                  <a:lnTo>
                    <a:pt x="403" y="175"/>
                  </a:lnTo>
                  <a:lnTo>
                    <a:pt x="403" y="173"/>
                  </a:lnTo>
                  <a:lnTo>
                    <a:pt x="404" y="173"/>
                  </a:lnTo>
                  <a:lnTo>
                    <a:pt x="404" y="172"/>
                  </a:lnTo>
                  <a:lnTo>
                    <a:pt x="403" y="171"/>
                  </a:lnTo>
                  <a:lnTo>
                    <a:pt x="403" y="170"/>
                  </a:lnTo>
                  <a:lnTo>
                    <a:pt x="402" y="170"/>
                  </a:lnTo>
                  <a:lnTo>
                    <a:pt x="402" y="169"/>
                  </a:lnTo>
                  <a:lnTo>
                    <a:pt x="401" y="169"/>
                  </a:lnTo>
                  <a:lnTo>
                    <a:pt x="399" y="170"/>
                  </a:lnTo>
                  <a:lnTo>
                    <a:pt x="398" y="170"/>
                  </a:lnTo>
                  <a:lnTo>
                    <a:pt x="398" y="169"/>
                  </a:lnTo>
                  <a:lnTo>
                    <a:pt x="397" y="169"/>
                  </a:lnTo>
                  <a:lnTo>
                    <a:pt x="397" y="171"/>
                  </a:lnTo>
                  <a:lnTo>
                    <a:pt x="398" y="171"/>
                  </a:lnTo>
                  <a:lnTo>
                    <a:pt x="398" y="172"/>
                  </a:lnTo>
                  <a:lnTo>
                    <a:pt x="397" y="172"/>
                  </a:lnTo>
                  <a:lnTo>
                    <a:pt x="399" y="172"/>
                  </a:lnTo>
                  <a:lnTo>
                    <a:pt x="401" y="172"/>
                  </a:lnTo>
                  <a:lnTo>
                    <a:pt x="401" y="173"/>
                  </a:lnTo>
                  <a:lnTo>
                    <a:pt x="399" y="173"/>
                  </a:lnTo>
                  <a:lnTo>
                    <a:pt x="401" y="173"/>
                  </a:lnTo>
                  <a:lnTo>
                    <a:pt x="401" y="175"/>
                  </a:lnTo>
                  <a:lnTo>
                    <a:pt x="401" y="176"/>
                  </a:lnTo>
                  <a:lnTo>
                    <a:pt x="399" y="175"/>
                  </a:lnTo>
                  <a:lnTo>
                    <a:pt x="398" y="175"/>
                  </a:lnTo>
                  <a:lnTo>
                    <a:pt x="398" y="176"/>
                  </a:lnTo>
                  <a:lnTo>
                    <a:pt x="397" y="176"/>
                  </a:lnTo>
                  <a:lnTo>
                    <a:pt x="396" y="176"/>
                  </a:lnTo>
                  <a:lnTo>
                    <a:pt x="393" y="176"/>
                  </a:lnTo>
                  <a:lnTo>
                    <a:pt x="393" y="177"/>
                  </a:lnTo>
                  <a:lnTo>
                    <a:pt x="392" y="177"/>
                  </a:lnTo>
                  <a:lnTo>
                    <a:pt x="393" y="178"/>
                  </a:lnTo>
                  <a:lnTo>
                    <a:pt x="392" y="178"/>
                  </a:lnTo>
                  <a:lnTo>
                    <a:pt x="392" y="179"/>
                  </a:lnTo>
                  <a:lnTo>
                    <a:pt x="391" y="179"/>
                  </a:lnTo>
                  <a:lnTo>
                    <a:pt x="391" y="181"/>
                  </a:lnTo>
                  <a:lnTo>
                    <a:pt x="390" y="181"/>
                  </a:lnTo>
                  <a:lnTo>
                    <a:pt x="390" y="179"/>
                  </a:lnTo>
                  <a:lnTo>
                    <a:pt x="387" y="179"/>
                  </a:lnTo>
                  <a:lnTo>
                    <a:pt x="389" y="178"/>
                  </a:lnTo>
                  <a:lnTo>
                    <a:pt x="389" y="177"/>
                  </a:lnTo>
                  <a:lnTo>
                    <a:pt x="389" y="176"/>
                  </a:lnTo>
                  <a:lnTo>
                    <a:pt x="387" y="175"/>
                  </a:lnTo>
                  <a:lnTo>
                    <a:pt x="387" y="173"/>
                  </a:lnTo>
                  <a:lnTo>
                    <a:pt x="389" y="173"/>
                  </a:lnTo>
                  <a:lnTo>
                    <a:pt x="390" y="175"/>
                  </a:lnTo>
                  <a:lnTo>
                    <a:pt x="391" y="175"/>
                  </a:lnTo>
                  <a:lnTo>
                    <a:pt x="391" y="176"/>
                  </a:lnTo>
                  <a:lnTo>
                    <a:pt x="390" y="176"/>
                  </a:lnTo>
                  <a:lnTo>
                    <a:pt x="391" y="177"/>
                  </a:lnTo>
                  <a:lnTo>
                    <a:pt x="392" y="176"/>
                  </a:lnTo>
                  <a:lnTo>
                    <a:pt x="392" y="175"/>
                  </a:lnTo>
                  <a:lnTo>
                    <a:pt x="392" y="176"/>
                  </a:lnTo>
                  <a:lnTo>
                    <a:pt x="391" y="175"/>
                  </a:lnTo>
                  <a:lnTo>
                    <a:pt x="391" y="173"/>
                  </a:lnTo>
                  <a:lnTo>
                    <a:pt x="390" y="172"/>
                  </a:lnTo>
                  <a:lnTo>
                    <a:pt x="391" y="172"/>
                  </a:lnTo>
                  <a:lnTo>
                    <a:pt x="391" y="171"/>
                  </a:lnTo>
                  <a:lnTo>
                    <a:pt x="390" y="172"/>
                  </a:lnTo>
                  <a:lnTo>
                    <a:pt x="389" y="172"/>
                  </a:lnTo>
                  <a:lnTo>
                    <a:pt x="390" y="171"/>
                  </a:lnTo>
                  <a:lnTo>
                    <a:pt x="390" y="170"/>
                  </a:lnTo>
                  <a:lnTo>
                    <a:pt x="389" y="169"/>
                  </a:lnTo>
                  <a:lnTo>
                    <a:pt x="389" y="167"/>
                  </a:lnTo>
                  <a:lnTo>
                    <a:pt x="387" y="167"/>
                  </a:lnTo>
                  <a:lnTo>
                    <a:pt x="386" y="167"/>
                  </a:lnTo>
                  <a:lnTo>
                    <a:pt x="386" y="166"/>
                  </a:lnTo>
                  <a:lnTo>
                    <a:pt x="386" y="165"/>
                  </a:lnTo>
                  <a:lnTo>
                    <a:pt x="386" y="166"/>
                  </a:lnTo>
                  <a:lnTo>
                    <a:pt x="385" y="166"/>
                  </a:lnTo>
                  <a:lnTo>
                    <a:pt x="386" y="166"/>
                  </a:lnTo>
                  <a:lnTo>
                    <a:pt x="386" y="167"/>
                  </a:lnTo>
                  <a:lnTo>
                    <a:pt x="386" y="169"/>
                  </a:lnTo>
                  <a:lnTo>
                    <a:pt x="385" y="170"/>
                  </a:lnTo>
                  <a:lnTo>
                    <a:pt x="385" y="169"/>
                  </a:lnTo>
                  <a:lnTo>
                    <a:pt x="385" y="167"/>
                  </a:lnTo>
                  <a:lnTo>
                    <a:pt x="384" y="167"/>
                  </a:lnTo>
                  <a:lnTo>
                    <a:pt x="383" y="167"/>
                  </a:lnTo>
                  <a:lnTo>
                    <a:pt x="381" y="167"/>
                  </a:lnTo>
                  <a:lnTo>
                    <a:pt x="381" y="169"/>
                  </a:lnTo>
                  <a:lnTo>
                    <a:pt x="381" y="167"/>
                  </a:lnTo>
                  <a:lnTo>
                    <a:pt x="380" y="167"/>
                  </a:lnTo>
                  <a:lnTo>
                    <a:pt x="380" y="166"/>
                  </a:lnTo>
                  <a:lnTo>
                    <a:pt x="380" y="165"/>
                  </a:lnTo>
                  <a:lnTo>
                    <a:pt x="379" y="165"/>
                  </a:lnTo>
                  <a:lnTo>
                    <a:pt x="378" y="165"/>
                  </a:lnTo>
                  <a:lnTo>
                    <a:pt x="378" y="164"/>
                  </a:lnTo>
                  <a:lnTo>
                    <a:pt x="376" y="165"/>
                  </a:lnTo>
                  <a:lnTo>
                    <a:pt x="376" y="166"/>
                  </a:lnTo>
                  <a:lnTo>
                    <a:pt x="376" y="169"/>
                  </a:lnTo>
                  <a:lnTo>
                    <a:pt x="376" y="170"/>
                  </a:lnTo>
                  <a:lnTo>
                    <a:pt x="375" y="169"/>
                  </a:lnTo>
                  <a:lnTo>
                    <a:pt x="375" y="167"/>
                  </a:lnTo>
                  <a:lnTo>
                    <a:pt x="375" y="166"/>
                  </a:lnTo>
                  <a:lnTo>
                    <a:pt x="374" y="167"/>
                  </a:lnTo>
                  <a:lnTo>
                    <a:pt x="374" y="169"/>
                  </a:lnTo>
                  <a:lnTo>
                    <a:pt x="373" y="169"/>
                  </a:lnTo>
                  <a:lnTo>
                    <a:pt x="374" y="169"/>
                  </a:lnTo>
                  <a:lnTo>
                    <a:pt x="375" y="169"/>
                  </a:lnTo>
                  <a:lnTo>
                    <a:pt x="375" y="170"/>
                  </a:lnTo>
                  <a:lnTo>
                    <a:pt x="374" y="171"/>
                  </a:lnTo>
                  <a:lnTo>
                    <a:pt x="374" y="172"/>
                  </a:lnTo>
                  <a:lnTo>
                    <a:pt x="373" y="172"/>
                  </a:lnTo>
                  <a:lnTo>
                    <a:pt x="372" y="173"/>
                  </a:lnTo>
                  <a:lnTo>
                    <a:pt x="372" y="175"/>
                  </a:lnTo>
                  <a:lnTo>
                    <a:pt x="372" y="173"/>
                  </a:lnTo>
                  <a:lnTo>
                    <a:pt x="370" y="173"/>
                  </a:lnTo>
                  <a:lnTo>
                    <a:pt x="370" y="175"/>
                  </a:lnTo>
                  <a:lnTo>
                    <a:pt x="369" y="175"/>
                  </a:lnTo>
                  <a:lnTo>
                    <a:pt x="366" y="175"/>
                  </a:lnTo>
                  <a:lnTo>
                    <a:pt x="366" y="172"/>
                  </a:lnTo>
                  <a:lnTo>
                    <a:pt x="367" y="172"/>
                  </a:lnTo>
                  <a:lnTo>
                    <a:pt x="367" y="171"/>
                  </a:lnTo>
                  <a:lnTo>
                    <a:pt x="368" y="171"/>
                  </a:lnTo>
                  <a:lnTo>
                    <a:pt x="368" y="170"/>
                  </a:lnTo>
                  <a:lnTo>
                    <a:pt x="367" y="170"/>
                  </a:lnTo>
                  <a:lnTo>
                    <a:pt x="367" y="171"/>
                  </a:lnTo>
                  <a:lnTo>
                    <a:pt x="366" y="170"/>
                  </a:lnTo>
                  <a:lnTo>
                    <a:pt x="367" y="170"/>
                  </a:lnTo>
                  <a:lnTo>
                    <a:pt x="367" y="169"/>
                  </a:lnTo>
                  <a:lnTo>
                    <a:pt x="368" y="169"/>
                  </a:lnTo>
                  <a:lnTo>
                    <a:pt x="368" y="167"/>
                  </a:lnTo>
                  <a:lnTo>
                    <a:pt x="369" y="167"/>
                  </a:lnTo>
                  <a:lnTo>
                    <a:pt x="369" y="166"/>
                  </a:lnTo>
                  <a:lnTo>
                    <a:pt x="368" y="166"/>
                  </a:lnTo>
                  <a:lnTo>
                    <a:pt x="368" y="165"/>
                  </a:lnTo>
                  <a:lnTo>
                    <a:pt x="369" y="165"/>
                  </a:lnTo>
                  <a:lnTo>
                    <a:pt x="369" y="164"/>
                  </a:lnTo>
                  <a:lnTo>
                    <a:pt x="369" y="162"/>
                  </a:lnTo>
                  <a:lnTo>
                    <a:pt x="369" y="161"/>
                  </a:lnTo>
                  <a:lnTo>
                    <a:pt x="370" y="160"/>
                  </a:lnTo>
                  <a:lnTo>
                    <a:pt x="369" y="160"/>
                  </a:lnTo>
                  <a:lnTo>
                    <a:pt x="367" y="159"/>
                  </a:lnTo>
                  <a:lnTo>
                    <a:pt x="366" y="159"/>
                  </a:lnTo>
                  <a:lnTo>
                    <a:pt x="366" y="160"/>
                  </a:lnTo>
                  <a:lnTo>
                    <a:pt x="364" y="161"/>
                  </a:lnTo>
                  <a:lnTo>
                    <a:pt x="363" y="161"/>
                  </a:lnTo>
                  <a:lnTo>
                    <a:pt x="363" y="160"/>
                  </a:lnTo>
                  <a:lnTo>
                    <a:pt x="364" y="160"/>
                  </a:lnTo>
                  <a:lnTo>
                    <a:pt x="364" y="159"/>
                  </a:lnTo>
                  <a:lnTo>
                    <a:pt x="363" y="159"/>
                  </a:lnTo>
                  <a:lnTo>
                    <a:pt x="362" y="159"/>
                  </a:lnTo>
                  <a:lnTo>
                    <a:pt x="361" y="159"/>
                  </a:lnTo>
                  <a:lnTo>
                    <a:pt x="360" y="158"/>
                  </a:lnTo>
                  <a:lnTo>
                    <a:pt x="357" y="158"/>
                  </a:lnTo>
                  <a:lnTo>
                    <a:pt x="356" y="158"/>
                  </a:lnTo>
                  <a:lnTo>
                    <a:pt x="352" y="158"/>
                  </a:lnTo>
                  <a:lnTo>
                    <a:pt x="354" y="158"/>
                  </a:lnTo>
                  <a:lnTo>
                    <a:pt x="354" y="160"/>
                  </a:lnTo>
                  <a:lnTo>
                    <a:pt x="354" y="161"/>
                  </a:lnTo>
                  <a:lnTo>
                    <a:pt x="352" y="160"/>
                  </a:lnTo>
                  <a:lnTo>
                    <a:pt x="351" y="160"/>
                  </a:lnTo>
                  <a:lnTo>
                    <a:pt x="351" y="159"/>
                  </a:lnTo>
                  <a:lnTo>
                    <a:pt x="352" y="158"/>
                  </a:lnTo>
                  <a:lnTo>
                    <a:pt x="351" y="158"/>
                  </a:lnTo>
                  <a:lnTo>
                    <a:pt x="350" y="158"/>
                  </a:lnTo>
                  <a:lnTo>
                    <a:pt x="349" y="159"/>
                  </a:lnTo>
                  <a:lnTo>
                    <a:pt x="348" y="159"/>
                  </a:lnTo>
                  <a:lnTo>
                    <a:pt x="346" y="159"/>
                  </a:lnTo>
                  <a:lnTo>
                    <a:pt x="346" y="160"/>
                  </a:lnTo>
                  <a:lnTo>
                    <a:pt x="345" y="160"/>
                  </a:lnTo>
                  <a:lnTo>
                    <a:pt x="344" y="160"/>
                  </a:lnTo>
                  <a:lnTo>
                    <a:pt x="345" y="161"/>
                  </a:lnTo>
                  <a:lnTo>
                    <a:pt x="346" y="161"/>
                  </a:lnTo>
                  <a:lnTo>
                    <a:pt x="346" y="162"/>
                  </a:lnTo>
                  <a:lnTo>
                    <a:pt x="344" y="162"/>
                  </a:lnTo>
                  <a:lnTo>
                    <a:pt x="344" y="164"/>
                  </a:lnTo>
                  <a:lnTo>
                    <a:pt x="343" y="165"/>
                  </a:lnTo>
                  <a:lnTo>
                    <a:pt x="343" y="166"/>
                  </a:lnTo>
                  <a:lnTo>
                    <a:pt x="342" y="166"/>
                  </a:lnTo>
                  <a:lnTo>
                    <a:pt x="342" y="165"/>
                  </a:lnTo>
                  <a:lnTo>
                    <a:pt x="340" y="165"/>
                  </a:lnTo>
                  <a:lnTo>
                    <a:pt x="340" y="164"/>
                  </a:lnTo>
                  <a:lnTo>
                    <a:pt x="339" y="162"/>
                  </a:lnTo>
                  <a:lnTo>
                    <a:pt x="338" y="161"/>
                  </a:lnTo>
                  <a:lnTo>
                    <a:pt x="339" y="161"/>
                  </a:lnTo>
                  <a:lnTo>
                    <a:pt x="339" y="162"/>
                  </a:lnTo>
                  <a:lnTo>
                    <a:pt x="340" y="161"/>
                  </a:lnTo>
                  <a:lnTo>
                    <a:pt x="342" y="161"/>
                  </a:lnTo>
                  <a:lnTo>
                    <a:pt x="342" y="160"/>
                  </a:lnTo>
                  <a:lnTo>
                    <a:pt x="343" y="160"/>
                  </a:lnTo>
                  <a:lnTo>
                    <a:pt x="343" y="159"/>
                  </a:lnTo>
                  <a:lnTo>
                    <a:pt x="342" y="159"/>
                  </a:lnTo>
                  <a:lnTo>
                    <a:pt x="343" y="156"/>
                  </a:lnTo>
                  <a:lnTo>
                    <a:pt x="342" y="156"/>
                  </a:lnTo>
                  <a:lnTo>
                    <a:pt x="342" y="155"/>
                  </a:lnTo>
                  <a:lnTo>
                    <a:pt x="340" y="155"/>
                  </a:lnTo>
                  <a:lnTo>
                    <a:pt x="340" y="158"/>
                  </a:lnTo>
                  <a:lnTo>
                    <a:pt x="339" y="158"/>
                  </a:lnTo>
                  <a:lnTo>
                    <a:pt x="339" y="156"/>
                  </a:lnTo>
                  <a:lnTo>
                    <a:pt x="338" y="155"/>
                  </a:lnTo>
                  <a:lnTo>
                    <a:pt x="338" y="154"/>
                  </a:lnTo>
                  <a:lnTo>
                    <a:pt x="337" y="154"/>
                  </a:lnTo>
                  <a:lnTo>
                    <a:pt x="337" y="153"/>
                  </a:lnTo>
                  <a:lnTo>
                    <a:pt x="336" y="153"/>
                  </a:lnTo>
                  <a:lnTo>
                    <a:pt x="336" y="152"/>
                  </a:lnTo>
                  <a:lnTo>
                    <a:pt x="334" y="152"/>
                  </a:lnTo>
                  <a:lnTo>
                    <a:pt x="333" y="152"/>
                  </a:lnTo>
                  <a:lnTo>
                    <a:pt x="332" y="152"/>
                  </a:lnTo>
                  <a:lnTo>
                    <a:pt x="333" y="150"/>
                  </a:lnTo>
                  <a:lnTo>
                    <a:pt x="331" y="150"/>
                  </a:lnTo>
                  <a:lnTo>
                    <a:pt x="331" y="149"/>
                  </a:lnTo>
                  <a:lnTo>
                    <a:pt x="330" y="149"/>
                  </a:lnTo>
                  <a:lnTo>
                    <a:pt x="328" y="149"/>
                  </a:lnTo>
                  <a:lnTo>
                    <a:pt x="328" y="148"/>
                  </a:lnTo>
                  <a:lnTo>
                    <a:pt x="327" y="147"/>
                  </a:lnTo>
                  <a:lnTo>
                    <a:pt x="326" y="147"/>
                  </a:lnTo>
                  <a:lnTo>
                    <a:pt x="325" y="147"/>
                  </a:lnTo>
                  <a:lnTo>
                    <a:pt x="325" y="146"/>
                  </a:lnTo>
                  <a:lnTo>
                    <a:pt x="325" y="144"/>
                  </a:lnTo>
                  <a:lnTo>
                    <a:pt x="324" y="144"/>
                  </a:lnTo>
                  <a:lnTo>
                    <a:pt x="322" y="144"/>
                  </a:lnTo>
                  <a:lnTo>
                    <a:pt x="321" y="143"/>
                  </a:lnTo>
                  <a:lnTo>
                    <a:pt x="319" y="143"/>
                  </a:lnTo>
                  <a:lnTo>
                    <a:pt x="319" y="142"/>
                  </a:lnTo>
                  <a:lnTo>
                    <a:pt x="319" y="141"/>
                  </a:lnTo>
                  <a:lnTo>
                    <a:pt x="318" y="141"/>
                  </a:lnTo>
                  <a:lnTo>
                    <a:pt x="316" y="140"/>
                  </a:lnTo>
                  <a:lnTo>
                    <a:pt x="315" y="137"/>
                  </a:lnTo>
                  <a:lnTo>
                    <a:pt x="316" y="136"/>
                  </a:lnTo>
                  <a:lnTo>
                    <a:pt x="316" y="134"/>
                  </a:lnTo>
                  <a:lnTo>
                    <a:pt x="318" y="132"/>
                  </a:lnTo>
                  <a:lnTo>
                    <a:pt x="316" y="132"/>
                  </a:lnTo>
                  <a:lnTo>
                    <a:pt x="315" y="131"/>
                  </a:lnTo>
                  <a:lnTo>
                    <a:pt x="314" y="131"/>
                  </a:lnTo>
                  <a:lnTo>
                    <a:pt x="314" y="130"/>
                  </a:lnTo>
                  <a:lnTo>
                    <a:pt x="313" y="131"/>
                  </a:lnTo>
                  <a:lnTo>
                    <a:pt x="313" y="130"/>
                  </a:lnTo>
                  <a:lnTo>
                    <a:pt x="311" y="130"/>
                  </a:lnTo>
                  <a:lnTo>
                    <a:pt x="310" y="130"/>
                  </a:lnTo>
                  <a:lnTo>
                    <a:pt x="309" y="130"/>
                  </a:lnTo>
                  <a:lnTo>
                    <a:pt x="308" y="129"/>
                  </a:lnTo>
                  <a:lnTo>
                    <a:pt x="308" y="128"/>
                  </a:lnTo>
                  <a:lnTo>
                    <a:pt x="307" y="128"/>
                  </a:lnTo>
                  <a:lnTo>
                    <a:pt x="307" y="126"/>
                  </a:lnTo>
                  <a:lnTo>
                    <a:pt x="305" y="126"/>
                  </a:lnTo>
                  <a:lnTo>
                    <a:pt x="305" y="125"/>
                  </a:lnTo>
                  <a:lnTo>
                    <a:pt x="305" y="124"/>
                  </a:lnTo>
                  <a:lnTo>
                    <a:pt x="305" y="123"/>
                  </a:lnTo>
                  <a:lnTo>
                    <a:pt x="307" y="123"/>
                  </a:lnTo>
                  <a:lnTo>
                    <a:pt x="308" y="123"/>
                  </a:lnTo>
                  <a:lnTo>
                    <a:pt x="308" y="122"/>
                  </a:lnTo>
                  <a:lnTo>
                    <a:pt x="309" y="122"/>
                  </a:lnTo>
                  <a:lnTo>
                    <a:pt x="310" y="122"/>
                  </a:lnTo>
                  <a:lnTo>
                    <a:pt x="311" y="122"/>
                  </a:lnTo>
                  <a:lnTo>
                    <a:pt x="311" y="120"/>
                  </a:lnTo>
                  <a:lnTo>
                    <a:pt x="311" y="119"/>
                  </a:lnTo>
                  <a:lnTo>
                    <a:pt x="313" y="119"/>
                  </a:lnTo>
                  <a:lnTo>
                    <a:pt x="313" y="118"/>
                  </a:lnTo>
                  <a:lnTo>
                    <a:pt x="314" y="118"/>
                  </a:lnTo>
                  <a:lnTo>
                    <a:pt x="314" y="119"/>
                  </a:lnTo>
                  <a:lnTo>
                    <a:pt x="315" y="119"/>
                  </a:lnTo>
                  <a:lnTo>
                    <a:pt x="319" y="120"/>
                  </a:lnTo>
                  <a:lnTo>
                    <a:pt x="319" y="122"/>
                  </a:lnTo>
                  <a:lnTo>
                    <a:pt x="320" y="122"/>
                  </a:lnTo>
                  <a:lnTo>
                    <a:pt x="320" y="120"/>
                  </a:lnTo>
                  <a:lnTo>
                    <a:pt x="319" y="120"/>
                  </a:lnTo>
                  <a:lnTo>
                    <a:pt x="319" y="119"/>
                  </a:lnTo>
                  <a:lnTo>
                    <a:pt x="319" y="118"/>
                  </a:lnTo>
                  <a:lnTo>
                    <a:pt x="318" y="118"/>
                  </a:lnTo>
                  <a:lnTo>
                    <a:pt x="316" y="118"/>
                  </a:lnTo>
                  <a:lnTo>
                    <a:pt x="315" y="117"/>
                  </a:lnTo>
                  <a:lnTo>
                    <a:pt x="314" y="116"/>
                  </a:lnTo>
                  <a:lnTo>
                    <a:pt x="314" y="117"/>
                  </a:lnTo>
                  <a:lnTo>
                    <a:pt x="313" y="117"/>
                  </a:lnTo>
                  <a:lnTo>
                    <a:pt x="313" y="116"/>
                  </a:lnTo>
                  <a:lnTo>
                    <a:pt x="311" y="116"/>
                  </a:lnTo>
                  <a:lnTo>
                    <a:pt x="311" y="114"/>
                  </a:lnTo>
                  <a:lnTo>
                    <a:pt x="310" y="113"/>
                  </a:lnTo>
                  <a:lnTo>
                    <a:pt x="311" y="112"/>
                  </a:lnTo>
                  <a:lnTo>
                    <a:pt x="310" y="112"/>
                  </a:lnTo>
                  <a:lnTo>
                    <a:pt x="310" y="111"/>
                  </a:lnTo>
                  <a:lnTo>
                    <a:pt x="310" y="110"/>
                  </a:lnTo>
                  <a:lnTo>
                    <a:pt x="309" y="110"/>
                  </a:lnTo>
                  <a:lnTo>
                    <a:pt x="309" y="108"/>
                  </a:lnTo>
                  <a:lnTo>
                    <a:pt x="308" y="108"/>
                  </a:lnTo>
                  <a:lnTo>
                    <a:pt x="308" y="107"/>
                  </a:lnTo>
                  <a:lnTo>
                    <a:pt x="308" y="106"/>
                  </a:lnTo>
                  <a:lnTo>
                    <a:pt x="308" y="105"/>
                  </a:lnTo>
                  <a:lnTo>
                    <a:pt x="308" y="104"/>
                  </a:lnTo>
                  <a:lnTo>
                    <a:pt x="309" y="104"/>
                  </a:lnTo>
                  <a:lnTo>
                    <a:pt x="309" y="102"/>
                  </a:lnTo>
                  <a:lnTo>
                    <a:pt x="310" y="102"/>
                  </a:lnTo>
                  <a:lnTo>
                    <a:pt x="310" y="104"/>
                  </a:lnTo>
                  <a:lnTo>
                    <a:pt x="311" y="104"/>
                  </a:lnTo>
                  <a:lnTo>
                    <a:pt x="311" y="105"/>
                  </a:lnTo>
                  <a:lnTo>
                    <a:pt x="313" y="105"/>
                  </a:lnTo>
                  <a:lnTo>
                    <a:pt x="316" y="105"/>
                  </a:lnTo>
                  <a:lnTo>
                    <a:pt x="318" y="105"/>
                  </a:lnTo>
                  <a:lnTo>
                    <a:pt x="319" y="105"/>
                  </a:lnTo>
                  <a:lnTo>
                    <a:pt x="319" y="106"/>
                  </a:lnTo>
                  <a:lnTo>
                    <a:pt x="319" y="107"/>
                  </a:lnTo>
                  <a:lnTo>
                    <a:pt x="322" y="107"/>
                  </a:lnTo>
                  <a:lnTo>
                    <a:pt x="322" y="106"/>
                  </a:lnTo>
                  <a:lnTo>
                    <a:pt x="324" y="106"/>
                  </a:lnTo>
                  <a:lnTo>
                    <a:pt x="324" y="105"/>
                  </a:lnTo>
                  <a:lnTo>
                    <a:pt x="322" y="105"/>
                  </a:lnTo>
                  <a:lnTo>
                    <a:pt x="322" y="104"/>
                  </a:lnTo>
                  <a:lnTo>
                    <a:pt x="322" y="102"/>
                  </a:lnTo>
                  <a:lnTo>
                    <a:pt x="322" y="101"/>
                  </a:lnTo>
                  <a:lnTo>
                    <a:pt x="321" y="102"/>
                  </a:lnTo>
                  <a:lnTo>
                    <a:pt x="319" y="102"/>
                  </a:lnTo>
                  <a:lnTo>
                    <a:pt x="319" y="101"/>
                  </a:lnTo>
                  <a:lnTo>
                    <a:pt x="318" y="101"/>
                  </a:lnTo>
                  <a:lnTo>
                    <a:pt x="316" y="100"/>
                  </a:lnTo>
                  <a:lnTo>
                    <a:pt x="316" y="101"/>
                  </a:lnTo>
                  <a:lnTo>
                    <a:pt x="315" y="101"/>
                  </a:lnTo>
                  <a:lnTo>
                    <a:pt x="316" y="100"/>
                  </a:lnTo>
                  <a:lnTo>
                    <a:pt x="315" y="100"/>
                  </a:lnTo>
                  <a:lnTo>
                    <a:pt x="314" y="99"/>
                  </a:lnTo>
                  <a:lnTo>
                    <a:pt x="315" y="99"/>
                  </a:lnTo>
                  <a:lnTo>
                    <a:pt x="314" y="98"/>
                  </a:lnTo>
                  <a:lnTo>
                    <a:pt x="314" y="96"/>
                  </a:lnTo>
                  <a:lnTo>
                    <a:pt x="313" y="96"/>
                  </a:lnTo>
                  <a:lnTo>
                    <a:pt x="314" y="95"/>
                  </a:lnTo>
                  <a:lnTo>
                    <a:pt x="313" y="94"/>
                  </a:lnTo>
                  <a:lnTo>
                    <a:pt x="313" y="93"/>
                  </a:lnTo>
                  <a:lnTo>
                    <a:pt x="311" y="93"/>
                  </a:lnTo>
                  <a:lnTo>
                    <a:pt x="311" y="92"/>
                  </a:lnTo>
                  <a:lnTo>
                    <a:pt x="311" y="90"/>
                  </a:lnTo>
                  <a:lnTo>
                    <a:pt x="313" y="90"/>
                  </a:lnTo>
                  <a:lnTo>
                    <a:pt x="313" y="89"/>
                  </a:lnTo>
                  <a:lnTo>
                    <a:pt x="314" y="89"/>
                  </a:lnTo>
                  <a:lnTo>
                    <a:pt x="315" y="89"/>
                  </a:lnTo>
                  <a:lnTo>
                    <a:pt x="315" y="90"/>
                  </a:lnTo>
                  <a:lnTo>
                    <a:pt x="316" y="92"/>
                  </a:lnTo>
                  <a:lnTo>
                    <a:pt x="318" y="93"/>
                  </a:lnTo>
                  <a:lnTo>
                    <a:pt x="319" y="93"/>
                  </a:lnTo>
                  <a:lnTo>
                    <a:pt x="319" y="92"/>
                  </a:lnTo>
                  <a:lnTo>
                    <a:pt x="319" y="90"/>
                  </a:lnTo>
                  <a:lnTo>
                    <a:pt x="320" y="89"/>
                  </a:lnTo>
                  <a:lnTo>
                    <a:pt x="319" y="89"/>
                  </a:lnTo>
                  <a:lnTo>
                    <a:pt x="319" y="88"/>
                  </a:lnTo>
                  <a:lnTo>
                    <a:pt x="320" y="88"/>
                  </a:lnTo>
                  <a:lnTo>
                    <a:pt x="319" y="87"/>
                  </a:lnTo>
                  <a:lnTo>
                    <a:pt x="318" y="86"/>
                  </a:lnTo>
                  <a:lnTo>
                    <a:pt x="318" y="84"/>
                  </a:lnTo>
                  <a:lnTo>
                    <a:pt x="316" y="84"/>
                  </a:lnTo>
                  <a:lnTo>
                    <a:pt x="316" y="83"/>
                  </a:lnTo>
                  <a:lnTo>
                    <a:pt x="316" y="82"/>
                  </a:lnTo>
                  <a:lnTo>
                    <a:pt x="318" y="81"/>
                  </a:lnTo>
                  <a:lnTo>
                    <a:pt x="319" y="80"/>
                  </a:lnTo>
                  <a:lnTo>
                    <a:pt x="319" y="78"/>
                  </a:lnTo>
                  <a:lnTo>
                    <a:pt x="319" y="76"/>
                  </a:lnTo>
                  <a:lnTo>
                    <a:pt x="318" y="76"/>
                  </a:lnTo>
                  <a:lnTo>
                    <a:pt x="318" y="75"/>
                  </a:lnTo>
                  <a:lnTo>
                    <a:pt x="318" y="74"/>
                  </a:lnTo>
                  <a:lnTo>
                    <a:pt x="318" y="72"/>
                  </a:lnTo>
                  <a:lnTo>
                    <a:pt x="319" y="71"/>
                  </a:lnTo>
                  <a:lnTo>
                    <a:pt x="320" y="71"/>
                  </a:lnTo>
                  <a:lnTo>
                    <a:pt x="321" y="71"/>
                  </a:lnTo>
                  <a:lnTo>
                    <a:pt x="322" y="71"/>
                  </a:lnTo>
                  <a:lnTo>
                    <a:pt x="322" y="75"/>
                  </a:lnTo>
                  <a:lnTo>
                    <a:pt x="322" y="77"/>
                  </a:lnTo>
                  <a:lnTo>
                    <a:pt x="324" y="77"/>
                  </a:lnTo>
                  <a:lnTo>
                    <a:pt x="324" y="78"/>
                  </a:lnTo>
                  <a:lnTo>
                    <a:pt x="324" y="80"/>
                  </a:lnTo>
                  <a:lnTo>
                    <a:pt x="324" y="81"/>
                  </a:lnTo>
                  <a:lnTo>
                    <a:pt x="324" y="82"/>
                  </a:lnTo>
                  <a:lnTo>
                    <a:pt x="325" y="80"/>
                  </a:lnTo>
                  <a:lnTo>
                    <a:pt x="325" y="78"/>
                  </a:lnTo>
                  <a:lnTo>
                    <a:pt x="326" y="78"/>
                  </a:lnTo>
                  <a:lnTo>
                    <a:pt x="326" y="77"/>
                  </a:lnTo>
                  <a:lnTo>
                    <a:pt x="327" y="77"/>
                  </a:lnTo>
                  <a:lnTo>
                    <a:pt x="327" y="75"/>
                  </a:lnTo>
                  <a:lnTo>
                    <a:pt x="326" y="75"/>
                  </a:lnTo>
                  <a:lnTo>
                    <a:pt x="326" y="74"/>
                  </a:lnTo>
                  <a:lnTo>
                    <a:pt x="325" y="72"/>
                  </a:lnTo>
                  <a:lnTo>
                    <a:pt x="324" y="71"/>
                  </a:lnTo>
                  <a:lnTo>
                    <a:pt x="325" y="71"/>
                  </a:lnTo>
                  <a:lnTo>
                    <a:pt x="325" y="70"/>
                  </a:lnTo>
                  <a:lnTo>
                    <a:pt x="326" y="69"/>
                  </a:lnTo>
                  <a:lnTo>
                    <a:pt x="326" y="68"/>
                  </a:lnTo>
                  <a:lnTo>
                    <a:pt x="327" y="68"/>
                  </a:lnTo>
                  <a:lnTo>
                    <a:pt x="328" y="68"/>
                  </a:lnTo>
                  <a:lnTo>
                    <a:pt x="328" y="69"/>
                  </a:lnTo>
                  <a:lnTo>
                    <a:pt x="330" y="70"/>
                  </a:lnTo>
                  <a:lnTo>
                    <a:pt x="332" y="70"/>
                  </a:lnTo>
                  <a:lnTo>
                    <a:pt x="333" y="70"/>
                  </a:lnTo>
                  <a:lnTo>
                    <a:pt x="333" y="69"/>
                  </a:lnTo>
                  <a:lnTo>
                    <a:pt x="332" y="69"/>
                  </a:lnTo>
                  <a:lnTo>
                    <a:pt x="330" y="69"/>
                  </a:lnTo>
                  <a:lnTo>
                    <a:pt x="331" y="68"/>
                  </a:lnTo>
                  <a:lnTo>
                    <a:pt x="330" y="68"/>
                  </a:lnTo>
                  <a:lnTo>
                    <a:pt x="330" y="66"/>
                  </a:lnTo>
                  <a:lnTo>
                    <a:pt x="330" y="64"/>
                  </a:lnTo>
                  <a:lnTo>
                    <a:pt x="331" y="63"/>
                  </a:lnTo>
                  <a:lnTo>
                    <a:pt x="332" y="63"/>
                  </a:lnTo>
                  <a:lnTo>
                    <a:pt x="332" y="62"/>
                  </a:lnTo>
                  <a:lnTo>
                    <a:pt x="331" y="60"/>
                  </a:lnTo>
                  <a:lnTo>
                    <a:pt x="331" y="59"/>
                  </a:lnTo>
                  <a:lnTo>
                    <a:pt x="332" y="59"/>
                  </a:lnTo>
                  <a:lnTo>
                    <a:pt x="331" y="58"/>
                  </a:lnTo>
                  <a:lnTo>
                    <a:pt x="330" y="58"/>
                  </a:lnTo>
                  <a:lnTo>
                    <a:pt x="328" y="58"/>
                  </a:lnTo>
                  <a:lnTo>
                    <a:pt x="328" y="57"/>
                  </a:lnTo>
                  <a:lnTo>
                    <a:pt x="326" y="55"/>
                  </a:lnTo>
                  <a:lnTo>
                    <a:pt x="325" y="55"/>
                  </a:lnTo>
                  <a:lnTo>
                    <a:pt x="325" y="54"/>
                  </a:lnTo>
                  <a:lnTo>
                    <a:pt x="327" y="54"/>
                  </a:lnTo>
                  <a:lnTo>
                    <a:pt x="327" y="53"/>
                  </a:lnTo>
                  <a:lnTo>
                    <a:pt x="327" y="51"/>
                  </a:lnTo>
                  <a:lnTo>
                    <a:pt x="328" y="52"/>
                  </a:lnTo>
                  <a:lnTo>
                    <a:pt x="330" y="52"/>
                  </a:lnTo>
                  <a:lnTo>
                    <a:pt x="330" y="51"/>
                  </a:lnTo>
                  <a:lnTo>
                    <a:pt x="328" y="51"/>
                  </a:lnTo>
                  <a:lnTo>
                    <a:pt x="330" y="49"/>
                  </a:lnTo>
                  <a:lnTo>
                    <a:pt x="328" y="49"/>
                  </a:lnTo>
                  <a:lnTo>
                    <a:pt x="328" y="47"/>
                  </a:lnTo>
                  <a:lnTo>
                    <a:pt x="328" y="45"/>
                  </a:lnTo>
                  <a:lnTo>
                    <a:pt x="330" y="45"/>
                  </a:lnTo>
                  <a:lnTo>
                    <a:pt x="331" y="45"/>
                  </a:lnTo>
                  <a:lnTo>
                    <a:pt x="331" y="43"/>
                  </a:lnTo>
                  <a:lnTo>
                    <a:pt x="332" y="45"/>
                  </a:lnTo>
                  <a:lnTo>
                    <a:pt x="333" y="45"/>
                  </a:lnTo>
                  <a:lnTo>
                    <a:pt x="332" y="46"/>
                  </a:lnTo>
                  <a:lnTo>
                    <a:pt x="333" y="47"/>
                  </a:lnTo>
                  <a:lnTo>
                    <a:pt x="333" y="48"/>
                  </a:lnTo>
                  <a:lnTo>
                    <a:pt x="334" y="48"/>
                  </a:lnTo>
                  <a:lnTo>
                    <a:pt x="334" y="49"/>
                  </a:lnTo>
                  <a:lnTo>
                    <a:pt x="336" y="51"/>
                  </a:lnTo>
                  <a:lnTo>
                    <a:pt x="337" y="51"/>
                  </a:lnTo>
                  <a:lnTo>
                    <a:pt x="337" y="49"/>
                  </a:lnTo>
                  <a:lnTo>
                    <a:pt x="338" y="49"/>
                  </a:lnTo>
                  <a:lnTo>
                    <a:pt x="339" y="51"/>
                  </a:lnTo>
                  <a:lnTo>
                    <a:pt x="339" y="52"/>
                  </a:lnTo>
                  <a:lnTo>
                    <a:pt x="339" y="53"/>
                  </a:lnTo>
                  <a:lnTo>
                    <a:pt x="339" y="57"/>
                  </a:lnTo>
                  <a:lnTo>
                    <a:pt x="340" y="57"/>
                  </a:lnTo>
                  <a:lnTo>
                    <a:pt x="343" y="57"/>
                  </a:lnTo>
                  <a:lnTo>
                    <a:pt x="343" y="55"/>
                  </a:lnTo>
                  <a:lnTo>
                    <a:pt x="345" y="57"/>
                  </a:lnTo>
                  <a:lnTo>
                    <a:pt x="345" y="55"/>
                  </a:lnTo>
                  <a:lnTo>
                    <a:pt x="346" y="55"/>
                  </a:lnTo>
                  <a:lnTo>
                    <a:pt x="346" y="54"/>
                  </a:lnTo>
                  <a:lnTo>
                    <a:pt x="348" y="54"/>
                  </a:lnTo>
                  <a:lnTo>
                    <a:pt x="346" y="54"/>
                  </a:lnTo>
                  <a:lnTo>
                    <a:pt x="345" y="54"/>
                  </a:lnTo>
                  <a:lnTo>
                    <a:pt x="345" y="53"/>
                  </a:lnTo>
                  <a:lnTo>
                    <a:pt x="345" y="52"/>
                  </a:lnTo>
                  <a:lnTo>
                    <a:pt x="345" y="51"/>
                  </a:lnTo>
                  <a:lnTo>
                    <a:pt x="344" y="51"/>
                  </a:lnTo>
                  <a:lnTo>
                    <a:pt x="344" y="49"/>
                  </a:lnTo>
                  <a:lnTo>
                    <a:pt x="343" y="48"/>
                  </a:lnTo>
                  <a:lnTo>
                    <a:pt x="344" y="48"/>
                  </a:lnTo>
                  <a:lnTo>
                    <a:pt x="344" y="47"/>
                  </a:lnTo>
                  <a:lnTo>
                    <a:pt x="343" y="47"/>
                  </a:lnTo>
                  <a:lnTo>
                    <a:pt x="343" y="46"/>
                  </a:lnTo>
                  <a:lnTo>
                    <a:pt x="343" y="45"/>
                  </a:lnTo>
                  <a:lnTo>
                    <a:pt x="344" y="43"/>
                  </a:lnTo>
                  <a:lnTo>
                    <a:pt x="343" y="43"/>
                  </a:lnTo>
                  <a:lnTo>
                    <a:pt x="343" y="41"/>
                  </a:lnTo>
                  <a:lnTo>
                    <a:pt x="343" y="40"/>
                  </a:lnTo>
                  <a:lnTo>
                    <a:pt x="342" y="39"/>
                  </a:lnTo>
                  <a:lnTo>
                    <a:pt x="342" y="37"/>
                  </a:lnTo>
                  <a:lnTo>
                    <a:pt x="342" y="36"/>
                  </a:lnTo>
                  <a:lnTo>
                    <a:pt x="339" y="36"/>
                  </a:lnTo>
                  <a:lnTo>
                    <a:pt x="339" y="35"/>
                  </a:lnTo>
                  <a:lnTo>
                    <a:pt x="340" y="34"/>
                  </a:lnTo>
                  <a:lnTo>
                    <a:pt x="339" y="34"/>
                  </a:lnTo>
                  <a:lnTo>
                    <a:pt x="339" y="33"/>
                  </a:lnTo>
                  <a:lnTo>
                    <a:pt x="339" y="31"/>
                  </a:lnTo>
                  <a:lnTo>
                    <a:pt x="339" y="29"/>
                  </a:lnTo>
                  <a:lnTo>
                    <a:pt x="340" y="29"/>
                  </a:lnTo>
                  <a:lnTo>
                    <a:pt x="342" y="29"/>
                  </a:lnTo>
                  <a:lnTo>
                    <a:pt x="342" y="30"/>
                  </a:lnTo>
                  <a:lnTo>
                    <a:pt x="343" y="29"/>
                  </a:lnTo>
                  <a:lnTo>
                    <a:pt x="343" y="27"/>
                  </a:lnTo>
                  <a:lnTo>
                    <a:pt x="343" y="25"/>
                  </a:lnTo>
                  <a:lnTo>
                    <a:pt x="343" y="24"/>
                  </a:lnTo>
                  <a:lnTo>
                    <a:pt x="343" y="23"/>
                  </a:lnTo>
                  <a:lnTo>
                    <a:pt x="343" y="22"/>
                  </a:lnTo>
                  <a:lnTo>
                    <a:pt x="344" y="21"/>
                  </a:lnTo>
                  <a:lnTo>
                    <a:pt x="344" y="22"/>
                  </a:lnTo>
                  <a:lnTo>
                    <a:pt x="348" y="22"/>
                  </a:lnTo>
                  <a:lnTo>
                    <a:pt x="348" y="23"/>
                  </a:lnTo>
                  <a:lnTo>
                    <a:pt x="346" y="24"/>
                  </a:lnTo>
                  <a:lnTo>
                    <a:pt x="348" y="24"/>
                  </a:lnTo>
                  <a:lnTo>
                    <a:pt x="348" y="25"/>
                  </a:lnTo>
                  <a:lnTo>
                    <a:pt x="348" y="27"/>
                  </a:lnTo>
                  <a:lnTo>
                    <a:pt x="348" y="28"/>
                  </a:lnTo>
                  <a:lnTo>
                    <a:pt x="349" y="28"/>
                  </a:lnTo>
                  <a:lnTo>
                    <a:pt x="349" y="30"/>
                  </a:lnTo>
                  <a:lnTo>
                    <a:pt x="349" y="31"/>
                  </a:lnTo>
                  <a:lnTo>
                    <a:pt x="350" y="31"/>
                  </a:lnTo>
                  <a:lnTo>
                    <a:pt x="350" y="30"/>
                  </a:lnTo>
                  <a:lnTo>
                    <a:pt x="351" y="30"/>
                  </a:lnTo>
                  <a:lnTo>
                    <a:pt x="351" y="29"/>
                  </a:lnTo>
                  <a:lnTo>
                    <a:pt x="352" y="29"/>
                  </a:lnTo>
                  <a:lnTo>
                    <a:pt x="354" y="29"/>
                  </a:lnTo>
                  <a:lnTo>
                    <a:pt x="355" y="30"/>
                  </a:lnTo>
                  <a:lnTo>
                    <a:pt x="356" y="30"/>
                  </a:lnTo>
                  <a:lnTo>
                    <a:pt x="356" y="31"/>
                  </a:lnTo>
                  <a:lnTo>
                    <a:pt x="357" y="31"/>
                  </a:lnTo>
                  <a:lnTo>
                    <a:pt x="357" y="30"/>
                  </a:lnTo>
                  <a:lnTo>
                    <a:pt x="358" y="30"/>
                  </a:lnTo>
                  <a:lnTo>
                    <a:pt x="358" y="29"/>
                  </a:lnTo>
                  <a:lnTo>
                    <a:pt x="358" y="28"/>
                  </a:lnTo>
                  <a:lnTo>
                    <a:pt x="358" y="25"/>
                  </a:lnTo>
                  <a:lnTo>
                    <a:pt x="360" y="24"/>
                  </a:lnTo>
                  <a:lnTo>
                    <a:pt x="361" y="25"/>
                  </a:lnTo>
                  <a:lnTo>
                    <a:pt x="362" y="25"/>
                  </a:lnTo>
                  <a:lnTo>
                    <a:pt x="363" y="27"/>
                  </a:lnTo>
                  <a:lnTo>
                    <a:pt x="364" y="27"/>
                  </a:lnTo>
                  <a:lnTo>
                    <a:pt x="364" y="28"/>
                  </a:lnTo>
                  <a:lnTo>
                    <a:pt x="363" y="30"/>
                  </a:lnTo>
                  <a:lnTo>
                    <a:pt x="362" y="31"/>
                  </a:lnTo>
                  <a:lnTo>
                    <a:pt x="362" y="35"/>
                  </a:lnTo>
                  <a:lnTo>
                    <a:pt x="363" y="35"/>
                  </a:lnTo>
                  <a:lnTo>
                    <a:pt x="364" y="36"/>
                  </a:lnTo>
                  <a:lnTo>
                    <a:pt x="363" y="36"/>
                  </a:lnTo>
                  <a:lnTo>
                    <a:pt x="364" y="36"/>
                  </a:lnTo>
                  <a:lnTo>
                    <a:pt x="366" y="37"/>
                  </a:lnTo>
                  <a:lnTo>
                    <a:pt x="364" y="37"/>
                  </a:lnTo>
                  <a:lnTo>
                    <a:pt x="363" y="39"/>
                  </a:lnTo>
                  <a:lnTo>
                    <a:pt x="362" y="40"/>
                  </a:lnTo>
                  <a:lnTo>
                    <a:pt x="361" y="41"/>
                  </a:lnTo>
                  <a:lnTo>
                    <a:pt x="361" y="42"/>
                  </a:lnTo>
                  <a:lnTo>
                    <a:pt x="361" y="43"/>
                  </a:lnTo>
                  <a:lnTo>
                    <a:pt x="360" y="43"/>
                  </a:lnTo>
                  <a:lnTo>
                    <a:pt x="360" y="45"/>
                  </a:lnTo>
                  <a:lnTo>
                    <a:pt x="360" y="46"/>
                  </a:lnTo>
                  <a:lnTo>
                    <a:pt x="361" y="46"/>
                  </a:lnTo>
                  <a:lnTo>
                    <a:pt x="361" y="47"/>
                  </a:lnTo>
                  <a:lnTo>
                    <a:pt x="362" y="48"/>
                  </a:lnTo>
                  <a:lnTo>
                    <a:pt x="362" y="49"/>
                  </a:lnTo>
                  <a:lnTo>
                    <a:pt x="363" y="51"/>
                  </a:lnTo>
                  <a:lnTo>
                    <a:pt x="363" y="49"/>
                  </a:lnTo>
                  <a:lnTo>
                    <a:pt x="364" y="49"/>
                  </a:lnTo>
                  <a:lnTo>
                    <a:pt x="364" y="51"/>
                  </a:lnTo>
                  <a:lnTo>
                    <a:pt x="366" y="51"/>
                  </a:lnTo>
                  <a:lnTo>
                    <a:pt x="366" y="52"/>
                  </a:lnTo>
                  <a:lnTo>
                    <a:pt x="367" y="52"/>
                  </a:lnTo>
                  <a:lnTo>
                    <a:pt x="368" y="53"/>
                  </a:lnTo>
                  <a:lnTo>
                    <a:pt x="368" y="52"/>
                  </a:lnTo>
                  <a:lnTo>
                    <a:pt x="369" y="51"/>
                  </a:lnTo>
                  <a:lnTo>
                    <a:pt x="369" y="48"/>
                  </a:lnTo>
                  <a:lnTo>
                    <a:pt x="370" y="48"/>
                  </a:lnTo>
                  <a:lnTo>
                    <a:pt x="370" y="47"/>
                  </a:lnTo>
                  <a:lnTo>
                    <a:pt x="370" y="46"/>
                  </a:lnTo>
                  <a:lnTo>
                    <a:pt x="370" y="45"/>
                  </a:lnTo>
                  <a:lnTo>
                    <a:pt x="370" y="43"/>
                  </a:lnTo>
                  <a:lnTo>
                    <a:pt x="372" y="43"/>
                  </a:lnTo>
                  <a:lnTo>
                    <a:pt x="373" y="42"/>
                  </a:lnTo>
                  <a:lnTo>
                    <a:pt x="374" y="41"/>
                  </a:lnTo>
                  <a:lnTo>
                    <a:pt x="374" y="37"/>
                  </a:lnTo>
                  <a:lnTo>
                    <a:pt x="374" y="36"/>
                  </a:lnTo>
                  <a:lnTo>
                    <a:pt x="374" y="35"/>
                  </a:lnTo>
                  <a:lnTo>
                    <a:pt x="374" y="34"/>
                  </a:lnTo>
                  <a:lnTo>
                    <a:pt x="376" y="33"/>
                  </a:lnTo>
                  <a:lnTo>
                    <a:pt x="378" y="33"/>
                  </a:lnTo>
                  <a:lnTo>
                    <a:pt x="378" y="34"/>
                  </a:lnTo>
                  <a:lnTo>
                    <a:pt x="379" y="34"/>
                  </a:lnTo>
                  <a:lnTo>
                    <a:pt x="379" y="35"/>
                  </a:lnTo>
                  <a:lnTo>
                    <a:pt x="379" y="36"/>
                  </a:lnTo>
                  <a:lnTo>
                    <a:pt x="379" y="39"/>
                  </a:lnTo>
                  <a:lnTo>
                    <a:pt x="380" y="39"/>
                  </a:lnTo>
                  <a:lnTo>
                    <a:pt x="380" y="40"/>
                  </a:lnTo>
                  <a:lnTo>
                    <a:pt x="381" y="39"/>
                  </a:lnTo>
                  <a:lnTo>
                    <a:pt x="384" y="40"/>
                  </a:lnTo>
                  <a:lnTo>
                    <a:pt x="384" y="41"/>
                  </a:lnTo>
                  <a:lnTo>
                    <a:pt x="384" y="42"/>
                  </a:lnTo>
                  <a:lnTo>
                    <a:pt x="384" y="45"/>
                  </a:lnTo>
                  <a:lnTo>
                    <a:pt x="385" y="45"/>
                  </a:lnTo>
                  <a:lnTo>
                    <a:pt x="386" y="42"/>
                  </a:lnTo>
                  <a:lnTo>
                    <a:pt x="387" y="42"/>
                  </a:lnTo>
                  <a:lnTo>
                    <a:pt x="389" y="42"/>
                  </a:lnTo>
                  <a:lnTo>
                    <a:pt x="390" y="42"/>
                  </a:lnTo>
                  <a:lnTo>
                    <a:pt x="390" y="43"/>
                  </a:lnTo>
                  <a:lnTo>
                    <a:pt x="390" y="45"/>
                  </a:lnTo>
                  <a:lnTo>
                    <a:pt x="391" y="45"/>
                  </a:lnTo>
                  <a:lnTo>
                    <a:pt x="391" y="43"/>
                  </a:lnTo>
                  <a:lnTo>
                    <a:pt x="390" y="43"/>
                  </a:lnTo>
                  <a:lnTo>
                    <a:pt x="390" y="42"/>
                  </a:lnTo>
                  <a:lnTo>
                    <a:pt x="390" y="41"/>
                  </a:lnTo>
                  <a:lnTo>
                    <a:pt x="391" y="40"/>
                  </a:lnTo>
                  <a:lnTo>
                    <a:pt x="392" y="40"/>
                  </a:lnTo>
                  <a:lnTo>
                    <a:pt x="392" y="39"/>
                  </a:lnTo>
                  <a:lnTo>
                    <a:pt x="393" y="39"/>
                  </a:lnTo>
                  <a:lnTo>
                    <a:pt x="393" y="37"/>
                  </a:lnTo>
                  <a:lnTo>
                    <a:pt x="395" y="36"/>
                  </a:lnTo>
                  <a:lnTo>
                    <a:pt x="393" y="35"/>
                  </a:lnTo>
                  <a:lnTo>
                    <a:pt x="393" y="34"/>
                  </a:lnTo>
                  <a:lnTo>
                    <a:pt x="393" y="33"/>
                  </a:lnTo>
                  <a:lnTo>
                    <a:pt x="393" y="31"/>
                  </a:lnTo>
                  <a:lnTo>
                    <a:pt x="392" y="30"/>
                  </a:lnTo>
                  <a:lnTo>
                    <a:pt x="393" y="31"/>
                  </a:lnTo>
                  <a:lnTo>
                    <a:pt x="395" y="30"/>
                  </a:lnTo>
                  <a:lnTo>
                    <a:pt x="392" y="29"/>
                  </a:lnTo>
                  <a:lnTo>
                    <a:pt x="392" y="28"/>
                  </a:lnTo>
                  <a:lnTo>
                    <a:pt x="391" y="28"/>
                  </a:lnTo>
                  <a:lnTo>
                    <a:pt x="390" y="28"/>
                  </a:lnTo>
                  <a:lnTo>
                    <a:pt x="389" y="27"/>
                  </a:lnTo>
                  <a:lnTo>
                    <a:pt x="389" y="25"/>
                  </a:lnTo>
                  <a:lnTo>
                    <a:pt x="390" y="25"/>
                  </a:lnTo>
                  <a:lnTo>
                    <a:pt x="389" y="24"/>
                  </a:lnTo>
                  <a:lnTo>
                    <a:pt x="389" y="22"/>
                  </a:lnTo>
                  <a:lnTo>
                    <a:pt x="387" y="21"/>
                  </a:lnTo>
                  <a:lnTo>
                    <a:pt x="386" y="19"/>
                  </a:lnTo>
                  <a:lnTo>
                    <a:pt x="385" y="18"/>
                  </a:lnTo>
                  <a:lnTo>
                    <a:pt x="386" y="17"/>
                  </a:lnTo>
                  <a:lnTo>
                    <a:pt x="386" y="16"/>
                  </a:lnTo>
                  <a:lnTo>
                    <a:pt x="387" y="16"/>
                  </a:lnTo>
                  <a:lnTo>
                    <a:pt x="389" y="16"/>
                  </a:lnTo>
                  <a:lnTo>
                    <a:pt x="390" y="18"/>
                  </a:lnTo>
                  <a:lnTo>
                    <a:pt x="391" y="18"/>
                  </a:lnTo>
                  <a:lnTo>
                    <a:pt x="391" y="15"/>
                  </a:lnTo>
                  <a:lnTo>
                    <a:pt x="391" y="13"/>
                  </a:lnTo>
                  <a:lnTo>
                    <a:pt x="391" y="11"/>
                  </a:lnTo>
                  <a:lnTo>
                    <a:pt x="392" y="10"/>
                  </a:lnTo>
                  <a:lnTo>
                    <a:pt x="393" y="10"/>
                  </a:lnTo>
                  <a:lnTo>
                    <a:pt x="395" y="10"/>
                  </a:lnTo>
                  <a:lnTo>
                    <a:pt x="396" y="10"/>
                  </a:lnTo>
                  <a:lnTo>
                    <a:pt x="396" y="11"/>
                  </a:lnTo>
                  <a:lnTo>
                    <a:pt x="397" y="11"/>
                  </a:lnTo>
                  <a:lnTo>
                    <a:pt x="397" y="12"/>
                  </a:lnTo>
                  <a:lnTo>
                    <a:pt x="397" y="13"/>
                  </a:lnTo>
                  <a:lnTo>
                    <a:pt x="398" y="13"/>
                  </a:lnTo>
                  <a:lnTo>
                    <a:pt x="398" y="15"/>
                  </a:lnTo>
                  <a:lnTo>
                    <a:pt x="399" y="15"/>
                  </a:lnTo>
                  <a:lnTo>
                    <a:pt x="399" y="16"/>
                  </a:lnTo>
                  <a:lnTo>
                    <a:pt x="401" y="16"/>
                  </a:lnTo>
                  <a:lnTo>
                    <a:pt x="401" y="17"/>
                  </a:lnTo>
                  <a:lnTo>
                    <a:pt x="401" y="18"/>
                  </a:lnTo>
                  <a:lnTo>
                    <a:pt x="401" y="19"/>
                  </a:lnTo>
                  <a:lnTo>
                    <a:pt x="399" y="19"/>
                  </a:lnTo>
                  <a:lnTo>
                    <a:pt x="399" y="21"/>
                  </a:lnTo>
                  <a:lnTo>
                    <a:pt x="398" y="21"/>
                  </a:lnTo>
                  <a:lnTo>
                    <a:pt x="398" y="22"/>
                  </a:lnTo>
                  <a:lnTo>
                    <a:pt x="398" y="23"/>
                  </a:lnTo>
                  <a:lnTo>
                    <a:pt x="397" y="23"/>
                  </a:lnTo>
                  <a:lnTo>
                    <a:pt x="397" y="24"/>
                  </a:lnTo>
                  <a:lnTo>
                    <a:pt x="396" y="25"/>
                  </a:lnTo>
                  <a:lnTo>
                    <a:pt x="397" y="25"/>
                  </a:lnTo>
                  <a:lnTo>
                    <a:pt x="397" y="27"/>
                  </a:lnTo>
                  <a:lnTo>
                    <a:pt x="398" y="27"/>
                  </a:lnTo>
                  <a:lnTo>
                    <a:pt x="401" y="27"/>
                  </a:lnTo>
                  <a:lnTo>
                    <a:pt x="401" y="25"/>
                  </a:lnTo>
                  <a:lnTo>
                    <a:pt x="402" y="25"/>
                  </a:lnTo>
                  <a:lnTo>
                    <a:pt x="403" y="24"/>
                  </a:lnTo>
                  <a:lnTo>
                    <a:pt x="404" y="24"/>
                  </a:lnTo>
                  <a:lnTo>
                    <a:pt x="405" y="24"/>
                  </a:lnTo>
                  <a:lnTo>
                    <a:pt x="407" y="27"/>
                  </a:lnTo>
                  <a:lnTo>
                    <a:pt x="407" y="29"/>
                  </a:lnTo>
                  <a:lnTo>
                    <a:pt x="408" y="29"/>
                  </a:lnTo>
                  <a:lnTo>
                    <a:pt x="409" y="30"/>
                  </a:lnTo>
                  <a:lnTo>
                    <a:pt x="410" y="34"/>
                  </a:lnTo>
                  <a:lnTo>
                    <a:pt x="410" y="30"/>
                  </a:lnTo>
                  <a:lnTo>
                    <a:pt x="411" y="30"/>
                  </a:lnTo>
                  <a:lnTo>
                    <a:pt x="411" y="28"/>
                  </a:lnTo>
                  <a:lnTo>
                    <a:pt x="411" y="27"/>
                  </a:lnTo>
                  <a:lnTo>
                    <a:pt x="410" y="25"/>
                  </a:lnTo>
                  <a:lnTo>
                    <a:pt x="411" y="25"/>
                  </a:lnTo>
                  <a:lnTo>
                    <a:pt x="411" y="22"/>
                  </a:lnTo>
                  <a:lnTo>
                    <a:pt x="410" y="22"/>
                  </a:lnTo>
                  <a:lnTo>
                    <a:pt x="411" y="21"/>
                  </a:lnTo>
                  <a:lnTo>
                    <a:pt x="411" y="19"/>
                  </a:lnTo>
                  <a:lnTo>
                    <a:pt x="411" y="18"/>
                  </a:lnTo>
                  <a:lnTo>
                    <a:pt x="413" y="17"/>
                  </a:lnTo>
                  <a:lnTo>
                    <a:pt x="414" y="17"/>
                  </a:lnTo>
                  <a:lnTo>
                    <a:pt x="416" y="17"/>
                  </a:lnTo>
                  <a:lnTo>
                    <a:pt x="417" y="18"/>
                  </a:lnTo>
                  <a:lnTo>
                    <a:pt x="417" y="17"/>
                  </a:lnTo>
                  <a:lnTo>
                    <a:pt x="417" y="16"/>
                  </a:lnTo>
                  <a:lnTo>
                    <a:pt x="419" y="15"/>
                  </a:lnTo>
                  <a:lnTo>
                    <a:pt x="419" y="13"/>
                  </a:lnTo>
                  <a:lnTo>
                    <a:pt x="420" y="13"/>
                  </a:lnTo>
                  <a:lnTo>
                    <a:pt x="420" y="11"/>
                  </a:lnTo>
                  <a:lnTo>
                    <a:pt x="420" y="10"/>
                  </a:lnTo>
                  <a:lnTo>
                    <a:pt x="419" y="10"/>
                  </a:lnTo>
                  <a:lnTo>
                    <a:pt x="420" y="7"/>
                  </a:lnTo>
                  <a:lnTo>
                    <a:pt x="423" y="7"/>
                  </a:lnTo>
                  <a:lnTo>
                    <a:pt x="423" y="9"/>
                  </a:lnTo>
                  <a:lnTo>
                    <a:pt x="423" y="10"/>
                  </a:lnTo>
                  <a:lnTo>
                    <a:pt x="425" y="11"/>
                  </a:lnTo>
                  <a:lnTo>
                    <a:pt x="425" y="12"/>
                  </a:lnTo>
                  <a:lnTo>
                    <a:pt x="426" y="12"/>
                  </a:lnTo>
                  <a:lnTo>
                    <a:pt x="427" y="11"/>
                  </a:lnTo>
                  <a:lnTo>
                    <a:pt x="427" y="7"/>
                  </a:lnTo>
                  <a:lnTo>
                    <a:pt x="428" y="7"/>
                  </a:lnTo>
                  <a:lnTo>
                    <a:pt x="428" y="6"/>
                  </a:lnTo>
                  <a:lnTo>
                    <a:pt x="429" y="5"/>
                  </a:lnTo>
                  <a:lnTo>
                    <a:pt x="429" y="4"/>
                  </a:lnTo>
                  <a:lnTo>
                    <a:pt x="429" y="1"/>
                  </a:lnTo>
                  <a:lnTo>
                    <a:pt x="431" y="1"/>
                  </a:lnTo>
                  <a:lnTo>
                    <a:pt x="431" y="0"/>
                  </a:lnTo>
                  <a:lnTo>
                    <a:pt x="432" y="0"/>
                  </a:lnTo>
                  <a:lnTo>
                    <a:pt x="434" y="1"/>
                  </a:lnTo>
                  <a:lnTo>
                    <a:pt x="435" y="1"/>
                  </a:lnTo>
                  <a:lnTo>
                    <a:pt x="437" y="3"/>
                  </a:lnTo>
                  <a:lnTo>
                    <a:pt x="435" y="3"/>
                  </a:lnTo>
                  <a:lnTo>
                    <a:pt x="435" y="5"/>
                  </a:lnTo>
                  <a:lnTo>
                    <a:pt x="434" y="6"/>
                  </a:lnTo>
                  <a:lnTo>
                    <a:pt x="434" y="7"/>
                  </a:lnTo>
                  <a:lnTo>
                    <a:pt x="434" y="9"/>
                  </a:lnTo>
                  <a:lnTo>
                    <a:pt x="434" y="10"/>
                  </a:lnTo>
                  <a:lnTo>
                    <a:pt x="435" y="10"/>
                  </a:lnTo>
                  <a:lnTo>
                    <a:pt x="437" y="10"/>
                  </a:lnTo>
                  <a:lnTo>
                    <a:pt x="437" y="11"/>
                  </a:lnTo>
                  <a:lnTo>
                    <a:pt x="437" y="12"/>
                  </a:lnTo>
                  <a:lnTo>
                    <a:pt x="435" y="15"/>
                  </a:lnTo>
                  <a:lnTo>
                    <a:pt x="435" y="17"/>
                  </a:lnTo>
                  <a:lnTo>
                    <a:pt x="434" y="17"/>
                  </a:lnTo>
                  <a:lnTo>
                    <a:pt x="434" y="18"/>
                  </a:lnTo>
                  <a:lnTo>
                    <a:pt x="435" y="18"/>
                  </a:lnTo>
                  <a:lnTo>
                    <a:pt x="437" y="19"/>
                  </a:lnTo>
                  <a:lnTo>
                    <a:pt x="438" y="19"/>
                  </a:lnTo>
                  <a:lnTo>
                    <a:pt x="438" y="21"/>
                  </a:lnTo>
                  <a:lnTo>
                    <a:pt x="438" y="22"/>
                  </a:lnTo>
                  <a:lnTo>
                    <a:pt x="437" y="24"/>
                  </a:lnTo>
                  <a:lnTo>
                    <a:pt x="437" y="25"/>
                  </a:lnTo>
                  <a:lnTo>
                    <a:pt x="435" y="28"/>
                  </a:lnTo>
                  <a:lnTo>
                    <a:pt x="435" y="29"/>
                  </a:lnTo>
                  <a:lnTo>
                    <a:pt x="434" y="29"/>
                  </a:lnTo>
                  <a:lnTo>
                    <a:pt x="435" y="30"/>
                  </a:lnTo>
                  <a:lnTo>
                    <a:pt x="435" y="31"/>
                  </a:lnTo>
                  <a:lnTo>
                    <a:pt x="435" y="34"/>
                  </a:lnTo>
                  <a:lnTo>
                    <a:pt x="434" y="35"/>
                  </a:lnTo>
                  <a:lnTo>
                    <a:pt x="434" y="37"/>
                  </a:lnTo>
                  <a:lnTo>
                    <a:pt x="433" y="39"/>
                  </a:lnTo>
                  <a:lnTo>
                    <a:pt x="434" y="40"/>
                  </a:lnTo>
                  <a:lnTo>
                    <a:pt x="433" y="40"/>
                  </a:lnTo>
                  <a:lnTo>
                    <a:pt x="433" y="41"/>
                  </a:lnTo>
                  <a:lnTo>
                    <a:pt x="434" y="43"/>
                  </a:lnTo>
                  <a:lnTo>
                    <a:pt x="433" y="43"/>
                  </a:lnTo>
                  <a:lnTo>
                    <a:pt x="433" y="45"/>
                  </a:lnTo>
                  <a:lnTo>
                    <a:pt x="434" y="45"/>
                  </a:lnTo>
                  <a:lnTo>
                    <a:pt x="434" y="42"/>
                  </a:lnTo>
                  <a:lnTo>
                    <a:pt x="435" y="42"/>
                  </a:lnTo>
                  <a:lnTo>
                    <a:pt x="437" y="42"/>
                  </a:lnTo>
                  <a:lnTo>
                    <a:pt x="438" y="42"/>
                  </a:lnTo>
                  <a:lnTo>
                    <a:pt x="439" y="43"/>
                  </a:lnTo>
                  <a:lnTo>
                    <a:pt x="439" y="42"/>
                  </a:lnTo>
                  <a:lnTo>
                    <a:pt x="440" y="42"/>
                  </a:lnTo>
                  <a:lnTo>
                    <a:pt x="443" y="42"/>
                  </a:lnTo>
                  <a:lnTo>
                    <a:pt x="444" y="41"/>
                  </a:lnTo>
                  <a:lnTo>
                    <a:pt x="444" y="40"/>
                  </a:lnTo>
                  <a:lnTo>
                    <a:pt x="445" y="40"/>
                  </a:lnTo>
                  <a:lnTo>
                    <a:pt x="445" y="39"/>
                  </a:lnTo>
                  <a:lnTo>
                    <a:pt x="446" y="39"/>
                  </a:lnTo>
                  <a:lnTo>
                    <a:pt x="446" y="40"/>
                  </a:lnTo>
                  <a:lnTo>
                    <a:pt x="448" y="41"/>
                  </a:lnTo>
                  <a:lnTo>
                    <a:pt x="448" y="42"/>
                  </a:lnTo>
                  <a:lnTo>
                    <a:pt x="446" y="45"/>
                  </a:lnTo>
                  <a:lnTo>
                    <a:pt x="446" y="46"/>
                  </a:lnTo>
                  <a:lnTo>
                    <a:pt x="446" y="47"/>
                  </a:lnTo>
                  <a:lnTo>
                    <a:pt x="445" y="47"/>
                  </a:lnTo>
                  <a:lnTo>
                    <a:pt x="445" y="48"/>
                  </a:lnTo>
                  <a:lnTo>
                    <a:pt x="445" y="49"/>
                  </a:lnTo>
                  <a:lnTo>
                    <a:pt x="445" y="51"/>
                  </a:lnTo>
                  <a:lnTo>
                    <a:pt x="445" y="52"/>
                  </a:lnTo>
                  <a:lnTo>
                    <a:pt x="445" y="53"/>
                  </a:lnTo>
                  <a:lnTo>
                    <a:pt x="445" y="54"/>
                  </a:lnTo>
                  <a:lnTo>
                    <a:pt x="445" y="55"/>
                  </a:lnTo>
                  <a:lnTo>
                    <a:pt x="448" y="55"/>
                  </a:lnTo>
                  <a:lnTo>
                    <a:pt x="449" y="54"/>
                  </a:lnTo>
                  <a:lnTo>
                    <a:pt x="449" y="52"/>
                  </a:lnTo>
                  <a:lnTo>
                    <a:pt x="450" y="52"/>
                  </a:lnTo>
                  <a:lnTo>
                    <a:pt x="450" y="51"/>
                  </a:lnTo>
                  <a:lnTo>
                    <a:pt x="450" y="49"/>
                  </a:lnTo>
                  <a:lnTo>
                    <a:pt x="450" y="47"/>
                  </a:lnTo>
                  <a:lnTo>
                    <a:pt x="451" y="47"/>
                  </a:lnTo>
                  <a:lnTo>
                    <a:pt x="455" y="48"/>
                  </a:lnTo>
                  <a:lnTo>
                    <a:pt x="456" y="48"/>
                  </a:lnTo>
                  <a:lnTo>
                    <a:pt x="457" y="48"/>
                  </a:lnTo>
                  <a:lnTo>
                    <a:pt x="457" y="49"/>
                  </a:lnTo>
                  <a:lnTo>
                    <a:pt x="457" y="52"/>
                  </a:lnTo>
                  <a:lnTo>
                    <a:pt x="458" y="52"/>
                  </a:lnTo>
                  <a:lnTo>
                    <a:pt x="458" y="51"/>
                  </a:lnTo>
                  <a:lnTo>
                    <a:pt x="462" y="51"/>
                  </a:lnTo>
                  <a:lnTo>
                    <a:pt x="462" y="49"/>
                  </a:lnTo>
                  <a:lnTo>
                    <a:pt x="461" y="48"/>
                  </a:lnTo>
                  <a:lnTo>
                    <a:pt x="461" y="47"/>
                  </a:lnTo>
                  <a:lnTo>
                    <a:pt x="462" y="47"/>
                  </a:lnTo>
                  <a:lnTo>
                    <a:pt x="463" y="46"/>
                  </a:lnTo>
                  <a:lnTo>
                    <a:pt x="462" y="46"/>
                  </a:lnTo>
                  <a:lnTo>
                    <a:pt x="461" y="45"/>
                  </a:lnTo>
                  <a:lnTo>
                    <a:pt x="460" y="45"/>
                  </a:lnTo>
                  <a:lnTo>
                    <a:pt x="460" y="43"/>
                  </a:lnTo>
                  <a:lnTo>
                    <a:pt x="461" y="40"/>
                  </a:lnTo>
                  <a:lnTo>
                    <a:pt x="461" y="39"/>
                  </a:lnTo>
                  <a:lnTo>
                    <a:pt x="462" y="39"/>
                  </a:lnTo>
                  <a:lnTo>
                    <a:pt x="463" y="39"/>
                  </a:lnTo>
                  <a:lnTo>
                    <a:pt x="463" y="40"/>
                  </a:lnTo>
                  <a:lnTo>
                    <a:pt x="464" y="41"/>
                  </a:lnTo>
                  <a:lnTo>
                    <a:pt x="466" y="42"/>
                  </a:lnTo>
                  <a:lnTo>
                    <a:pt x="467" y="42"/>
                  </a:lnTo>
                  <a:lnTo>
                    <a:pt x="468" y="43"/>
                  </a:lnTo>
                  <a:lnTo>
                    <a:pt x="468" y="42"/>
                  </a:lnTo>
                  <a:lnTo>
                    <a:pt x="468" y="41"/>
                  </a:lnTo>
                  <a:lnTo>
                    <a:pt x="469" y="41"/>
                  </a:lnTo>
                  <a:lnTo>
                    <a:pt x="469" y="40"/>
                  </a:lnTo>
                  <a:lnTo>
                    <a:pt x="469" y="39"/>
                  </a:lnTo>
                  <a:lnTo>
                    <a:pt x="470" y="39"/>
                  </a:lnTo>
                  <a:lnTo>
                    <a:pt x="470" y="37"/>
                  </a:lnTo>
                  <a:lnTo>
                    <a:pt x="470" y="35"/>
                  </a:lnTo>
                  <a:lnTo>
                    <a:pt x="472" y="35"/>
                  </a:lnTo>
                  <a:lnTo>
                    <a:pt x="472" y="34"/>
                  </a:lnTo>
                  <a:lnTo>
                    <a:pt x="473" y="34"/>
                  </a:lnTo>
                  <a:lnTo>
                    <a:pt x="474" y="34"/>
                  </a:lnTo>
                  <a:lnTo>
                    <a:pt x="474" y="33"/>
                  </a:lnTo>
                  <a:lnTo>
                    <a:pt x="475" y="31"/>
                  </a:lnTo>
                  <a:lnTo>
                    <a:pt x="475" y="30"/>
                  </a:lnTo>
                  <a:lnTo>
                    <a:pt x="474" y="30"/>
                  </a:lnTo>
                  <a:lnTo>
                    <a:pt x="474" y="29"/>
                  </a:lnTo>
                  <a:lnTo>
                    <a:pt x="474" y="30"/>
                  </a:lnTo>
                  <a:lnTo>
                    <a:pt x="473" y="29"/>
                  </a:lnTo>
                  <a:lnTo>
                    <a:pt x="470" y="28"/>
                  </a:lnTo>
                  <a:lnTo>
                    <a:pt x="470" y="25"/>
                  </a:lnTo>
                  <a:lnTo>
                    <a:pt x="472" y="25"/>
                  </a:lnTo>
                  <a:lnTo>
                    <a:pt x="473" y="24"/>
                  </a:lnTo>
                  <a:lnTo>
                    <a:pt x="474" y="24"/>
                  </a:lnTo>
                  <a:lnTo>
                    <a:pt x="475" y="25"/>
                  </a:lnTo>
                  <a:lnTo>
                    <a:pt x="476" y="24"/>
                  </a:lnTo>
                  <a:lnTo>
                    <a:pt x="476" y="23"/>
                  </a:lnTo>
                  <a:lnTo>
                    <a:pt x="476" y="22"/>
                  </a:lnTo>
                  <a:lnTo>
                    <a:pt x="476" y="19"/>
                  </a:lnTo>
                  <a:lnTo>
                    <a:pt x="476" y="18"/>
                  </a:lnTo>
                  <a:lnTo>
                    <a:pt x="476" y="17"/>
                  </a:lnTo>
                  <a:lnTo>
                    <a:pt x="476" y="15"/>
                  </a:lnTo>
                  <a:lnTo>
                    <a:pt x="479" y="15"/>
                  </a:lnTo>
                  <a:lnTo>
                    <a:pt x="480" y="15"/>
                  </a:lnTo>
                  <a:lnTo>
                    <a:pt x="480" y="13"/>
                  </a:lnTo>
                  <a:lnTo>
                    <a:pt x="481" y="12"/>
                  </a:lnTo>
                  <a:lnTo>
                    <a:pt x="481" y="11"/>
                  </a:lnTo>
                  <a:lnTo>
                    <a:pt x="482" y="10"/>
                  </a:lnTo>
                  <a:lnTo>
                    <a:pt x="482" y="9"/>
                  </a:lnTo>
                  <a:lnTo>
                    <a:pt x="484" y="10"/>
                  </a:lnTo>
                  <a:lnTo>
                    <a:pt x="485" y="11"/>
                  </a:lnTo>
                  <a:lnTo>
                    <a:pt x="486" y="11"/>
                  </a:lnTo>
                  <a:lnTo>
                    <a:pt x="487" y="12"/>
                  </a:lnTo>
                  <a:lnTo>
                    <a:pt x="486" y="13"/>
                  </a:lnTo>
                  <a:lnTo>
                    <a:pt x="486" y="15"/>
                  </a:lnTo>
                  <a:lnTo>
                    <a:pt x="486" y="17"/>
                  </a:lnTo>
                  <a:lnTo>
                    <a:pt x="486" y="18"/>
                  </a:lnTo>
                  <a:lnTo>
                    <a:pt x="486" y="19"/>
                  </a:lnTo>
                  <a:lnTo>
                    <a:pt x="486" y="22"/>
                  </a:lnTo>
                  <a:lnTo>
                    <a:pt x="486" y="24"/>
                  </a:lnTo>
                  <a:lnTo>
                    <a:pt x="486" y="25"/>
                  </a:lnTo>
                  <a:lnTo>
                    <a:pt x="486" y="24"/>
                  </a:lnTo>
                  <a:lnTo>
                    <a:pt x="487" y="24"/>
                  </a:lnTo>
                  <a:lnTo>
                    <a:pt x="488" y="24"/>
                  </a:lnTo>
                  <a:lnTo>
                    <a:pt x="490" y="23"/>
                  </a:lnTo>
                  <a:lnTo>
                    <a:pt x="488" y="23"/>
                  </a:lnTo>
                  <a:lnTo>
                    <a:pt x="490" y="23"/>
                  </a:lnTo>
                  <a:lnTo>
                    <a:pt x="491" y="24"/>
                  </a:lnTo>
                  <a:lnTo>
                    <a:pt x="492" y="25"/>
                  </a:lnTo>
                  <a:lnTo>
                    <a:pt x="492" y="27"/>
                  </a:lnTo>
                  <a:lnTo>
                    <a:pt x="491" y="27"/>
                  </a:lnTo>
                  <a:lnTo>
                    <a:pt x="491" y="28"/>
                  </a:lnTo>
                  <a:lnTo>
                    <a:pt x="490" y="28"/>
                  </a:lnTo>
                  <a:lnTo>
                    <a:pt x="488" y="29"/>
                  </a:lnTo>
                  <a:lnTo>
                    <a:pt x="487" y="29"/>
                  </a:lnTo>
                  <a:lnTo>
                    <a:pt x="487" y="30"/>
                  </a:lnTo>
                  <a:lnTo>
                    <a:pt x="486" y="30"/>
                  </a:lnTo>
                  <a:lnTo>
                    <a:pt x="485" y="31"/>
                  </a:lnTo>
                  <a:lnTo>
                    <a:pt x="484" y="31"/>
                  </a:lnTo>
                  <a:lnTo>
                    <a:pt x="484" y="33"/>
                  </a:lnTo>
                  <a:lnTo>
                    <a:pt x="482" y="34"/>
                  </a:lnTo>
                  <a:lnTo>
                    <a:pt x="481" y="35"/>
                  </a:lnTo>
                  <a:lnTo>
                    <a:pt x="480" y="35"/>
                  </a:lnTo>
                  <a:lnTo>
                    <a:pt x="480" y="36"/>
                  </a:lnTo>
                  <a:lnTo>
                    <a:pt x="481" y="36"/>
                  </a:lnTo>
                  <a:lnTo>
                    <a:pt x="481" y="37"/>
                  </a:lnTo>
                  <a:lnTo>
                    <a:pt x="481" y="39"/>
                  </a:lnTo>
                  <a:lnTo>
                    <a:pt x="481" y="40"/>
                  </a:lnTo>
                  <a:lnTo>
                    <a:pt x="481" y="41"/>
                  </a:lnTo>
                  <a:lnTo>
                    <a:pt x="481" y="42"/>
                  </a:lnTo>
                  <a:lnTo>
                    <a:pt x="480" y="42"/>
                  </a:lnTo>
                  <a:lnTo>
                    <a:pt x="480" y="43"/>
                  </a:lnTo>
                  <a:lnTo>
                    <a:pt x="480" y="45"/>
                  </a:lnTo>
                  <a:lnTo>
                    <a:pt x="481" y="46"/>
                  </a:lnTo>
                  <a:lnTo>
                    <a:pt x="482" y="46"/>
                  </a:lnTo>
                  <a:lnTo>
                    <a:pt x="482" y="45"/>
                  </a:lnTo>
                  <a:lnTo>
                    <a:pt x="482" y="43"/>
                  </a:lnTo>
                  <a:lnTo>
                    <a:pt x="484" y="43"/>
                  </a:lnTo>
                  <a:lnTo>
                    <a:pt x="485" y="43"/>
                  </a:lnTo>
                  <a:lnTo>
                    <a:pt x="486" y="42"/>
                  </a:lnTo>
                  <a:lnTo>
                    <a:pt x="487" y="42"/>
                  </a:lnTo>
                  <a:lnTo>
                    <a:pt x="487" y="43"/>
                  </a:lnTo>
                  <a:lnTo>
                    <a:pt x="488" y="43"/>
                  </a:lnTo>
                  <a:lnTo>
                    <a:pt x="490" y="45"/>
                  </a:lnTo>
                  <a:lnTo>
                    <a:pt x="490" y="46"/>
                  </a:lnTo>
                  <a:lnTo>
                    <a:pt x="491" y="46"/>
                  </a:lnTo>
                  <a:lnTo>
                    <a:pt x="492" y="46"/>
                  </a:lnTo>
                  <a:lnTo>
                    <a:pt x="492" y="45"/>
                  </a:lnTo>
                  <a:lnTo>
                    <a:pt x="492" y="43"/>
                  </a:lnTo>
                  <a:lnTo>
                    <a:pt x="492" y="42"/>
                  </a:lnTo>
                  <a:lnTo>
                    <a:pt x="493" y="41"/>
                  </a:lnTo>
                  <a:lnTo>
                    <a:pt x="494" y="41"/>
                  </a:lnTo>
                  <a:lnTo>
                    <a:pt x="494" y="40"/>
                  </a:lnTo>
                  <a:lnTo>
                    <a:pt x="496" y="39"/>
                  </a:lnTo>
                  <a:lnTo>
                    <a:pt x="496" y="36"/>
                  </a:lnTo>
                  <a:lnTo>
                    <a:pt x="496" y="34"/>
                  </a:lnTo>
                  <a:lnTo>
                    <a:pt x="494" y="33"/>
                  </a:lnTo>
                  <a:lnTo>
                    <a:pt x="494" y="31"/>
                  </a:lnTo>
                  <a:lnTo>
                    <a:pt x="494" y="30"/>
                  </a:lnTo>
                  <a:lnTo>
                    <a:pt x="493" y="29"/>
                  </a:lnTo>
                  <a:lnTo>
                    <a:pt x="494" y="29"/>
                  </a:lnTo>
                  <a:lnTo>
                    <a:pt x="496" y="28"/>
                  </a:lnTo>
                  <a:lnTo>
                    <a:pt x="497" y="28"/>
                  </a:lnTo>
                  <a:lnTo>
                    <a:pt x="497" y="27"/>
                  </a:lnTo>
                  <a:lnTo>
                    <a:pt x="498" y="25"/>
                  </a:lnTo>
                  <a:lnTo>
                    <a:pt x="498" y="23"/>
                  </a:lnTo>
                  <a:lnTo>
                    <a:pt x="498" y="22"/>
                  </a:lnTo>
                  <a:lnTo>
                    <a:pt x="502" y="22"/>
                  </a:lnTo>
                  <a:lnTo>
                    <a:pt x="502" y="23"/>
                  </a:lnTo>
                  <a:lnTo>
                    <a:pt x="502" y="25"/>
                  </a:lnTo>
                  <a:lnTo>
                    <a:pt x="501" y="25"/>
                  </a:lnTo>
                  <a:lnTo>
                    <a:pt x="501" y="27"/>
                  </a:lnTo>
                  <a:lnTo>
                    <a:pt x="502" y="27"/>
                  </a:lnTo>
                  <a:lnTo>
                    <a:pt x="502" y="29"/>
                  </a:lnTo>
                  <a:lnTo>
                    <a:pt x="503" y="29"/>
                  </a:lnTo>
                  <a:lnTo>
                    <a:pt x="504" y="29"/>
                  </a:lnTo>
                  <a:lnTo>
                    <a:pt x="503" y="28"/>
                  </a:lnTo>
                  <a:lnTo>
                    <a:pt x="503" y="27"/>
                  </a:lnTo>
                  <a:lnTo>
                    <a:pt x="504" y="27"/>
                  </a:lnTo>
                  <a:lnTo>
                    <a:pt x="505" y="25"/>
                  </a:lnTo>
                  <a:lnTo>
                    <a:pt x="505" y="24"/>
                  </a:lnTo>
                  <a:lnTo>
                    <a:pt x="505" y="23"/>
                  </a:lnTo>
                  <a:lnTo>
                    <a:pt x="505" y="22"/>
                  </a:lnTo>
                  <a:lnTo>
                    <a:pt x="507" y="21"/>
                  </a:lnTo>
                  <a:lnTo>
                    <a:pt x="507" y="19"/>
                  </a:lnTo>
                  <a:lnTo>
                    <a:pt x="507" y="18"/>
                  </a:lnTo>
                  <a:lnTo>
                    <a:pt x="508" y="18"/>
                  </a:lnTo>
                  <a:lnTo>
                    <a:pt x="509" y="18"/>
                  </a:lnTo>
                  <a:lnTo>
                    <a:pt x="509" y="19"/>
                  </a:lnTo>
                  <a:lnTo>
                    <a:pt x="510" y="19"/>
                  </a:lnTo>
                  <a:lnTo>
                    <a:pt x="510" y="18"/>
                  </a:lnTo>
                  <a:lnTo>
                    <a:pt x="511" y="17"/>
                  </a:lnTo>
                  <a:lnTo>
                    <a:pt x="510" y="16"/>
                  </a:lnTo>
                  <a:lnTo>
                    <a:pt x="511" y="15"/>
                  </a:lnTo>
                  <a:lnTo>
                    <a:pt x="513" y="13"/>
                  </a:lnTo>
                  <a:lnTo>
                    <a:pt x="513" y="15"/>
                  </a:lnTo>
                  <a:lnTo>
                    <a:pt x="515" y="15"/>
                  </a:lnTo>
                  <a:lnTo>
                    <a:pt x="516" y="15"/>
                  </a:lnTo>
                  <a:lnTo>
                    <a:pt x="516" y="16"/>
                  </a:lnTo>
                  <a:lnTo>
                    <a:pt x="516" y="17"/>
                  </a:lnTo>
                  <a:lnTo>
                    <a:pt x="515" y="18"/>
                  </a:lnTo>
                  <a:lnTo>
                    <a:pt x="515" y="21"/>
                  </a:lnTo>
                  <a:lnTo>
                    <a:pt x="515" y="23"/>
                  </a:lnTo>
                  <a:lnTo>
                    <a:pt x="516" y="23"/>
                  </a:lnTo>
                  <a:lnTo>
                    <a:pt x="516" y="24"/>
                  </a:lnTo>
                  <a:lnTo>
                    <a:pt x="516" y="27"/>
                  </a:lnTo>
                  <a:lnTo>
                    <a:pt x="516" y="28"/>
                  </a:lnTo>
                  <a:lnTo>
                    <a:pt x="515" y="28"/>
                  </a:lnTo>
                  <a:lnTo>
                    <a:pt x="515" y="29"/>
                  </a:lnTo>
                  <a:lnTo>
                    <a:pt x="514" y="30"/>
                  </a:lnTo>
                  <a:lnTo>
                    <a:pt x="513" y="33"/>
                  </a:lnTo>
                  <a:lnTo>
                    <a:pt x="511" y="33"/>
                  </a:lnTo>
                  <a:lnTo>
                    <a:pt x="511" y="34"/>
                  </a:lnTo>
                  <a:lnTo>
                    <a:pt x="509" y="34"/>
                  </a:lnTo>
                  <a:lnTo>
                    <a:pt x="509" y="35"/>
                  </a:lnTo>
                  <a:lnTo>
                    <a:pt x="508" y="36"/>
                  </a:lnTo>
                  <a:lnTo>
                    <a:pt x="505" y="37"/>
                  </a:lnTo>
                  <a:lnTo>
                    <a:pt x="507" y="37"/>
                  </a:lnTo>
                  <a:lnTo>
                    <a:pt x="508" y="37"/>
                  </a:lnTo>
                  <a:lnTo>
                    <a:pt x="508" y="39"/>
                  </a:lnTo>
                  <a:lnTo>
                    <a:pt x="509" y="37"/>
                  </a:lnTo>
                  <a:lnTo>
                    <a:pt x="509" y="39"/>
                  </a:lnTo>
                  <a:lnTo>
                    <a:pt x="510" y="40"/>
                  </a:lnTo>
                  <a:lnTo>
                    <a:pt x="511" y="39"/>
                  </a:lnTo>
                  <a:lnTo>
                    <a:pt x="513" y="37"/>
                  </a:lnTo>
                  <a:lnTo>
                    <a:pt x="514" y="37"/>
                  </a:lnTo>
                  <a:lnTo>
                    <a:pt x="515" y="39"/>
                  </a:lnTo>
                  <a:lnTo>
                    <a:pt x="515" y="41"/>
                  </a:lnTo>
                  <a:lnTo>
                    <a:pt x="516" y="42"/>
                  </a:lnTo>
                  <a:lnTo>
                    <a:pt x="517" y="43"/>
                  </a:lnTo>
                  <a:lnTo>
                    <a:pt x="517" y="46"/>
                  </a:lnTo>
                  <a:lnTo>
                    <a:pt x="517" y="45"/>
                  </a:lnTo>
                  <a:lnTo>
                    <a:pt x="519" y="45"/>
                  </a:lnTo>
                  <a:lnTo>
                    <a:pt x="520" y="43"/>
                  </a:lnTo>
                  <a:lnTo>
                    <a:pt x="520" y="41"/>
                  </a:lnTo>
                  <a:lnTo>
                    <a:pt x="519" y="41"/>
                  </a:lnTo>
                  <a:lnTo>
                    <a:pt x="520" y="39"/>
                  </a:lnTo>
                  <a:lnTo>
                    <a:pt x="521" y="37"/>
                  </a:lnTo>
                  <a:lnTo>
                    <a:pt x="522" y="37"/>
                  </a:lnTo>
                  <a:lnTo>
                    <a:pt x="523" y="40"/>
                  </a:lnTo>
                  <a:lnTo>
                    <a:pt x="523" y="39"/>
                  </a:lnTo>
                  <a:lnTo>
                    <a:pt x="525" y="39"/>
                  </a:lnTo>
                  <a:lnTo>
                    <a:pt x="525" y="37"/>
                  </a:lnTo>
                  <a:lnTo>
                    <a:pt x="526" y="37"/>
                  </a:lnTo>
                  <a:lnTo>
                    <a:pt x="526" y="36"/>
                  </a:lnTo>
                  <a:lnTo>
                    <a:pt x="527" y="36"/>
                  </a:lnTo>
                  <a:lnTo>
                    <a:pt x="528" y="35"/>
                  </a:lnTo>
                  <a:lnTo>
                    <a:pt x="529" y="34"/>
                  </a:lnTo>
                  <a:lnTo>
                    <a:pt x="531" y="34"/>
                  </a:lnTo>
                  <a:lnTo>
                    <a:pt x="531" y="33"/>
                  </a:lnTo>
                  <a:lnTo>
                    <a:pt x="533" y="35"/>
                  </a:lnTo>
                  <a:lnTo>
                    <a:pt x="534" y="37"/>
                  </a:lnTo>
                  <a:lnTo>
                    <a:pt x="533" y="39"/>
                  </a:lnTo>
                  <a:lnTo>
                    <a:pt x="532" y="40"/>
                  </a:lnTo>
                  <a:lnTo>
                    <a:pt x="531" y="41"/>
                  </a:lnTo>
                  <a:lnTo>
                    <a:pt x="529" y="42"/>
                  </a:lnTo>
                  <a:lnTo>
                    <a:pt x="528" y="46"/>
                  </a:lnTo>
                  <a:lnTo>
                    <a:pt x="528" y="49"/>
                  </a:lnTo>
                  <a:lnTo>
                    <a:pt x="527" y="49"/>
                  </a:lnTo>
                  <a:lnTo>
                    <a:pt x="526" y="49"/>
                  </a:lnTo>
                  <a:lnTo>
                    <a:pt x="526" y="51"/>
                  </a:lnTo>
                  <a:lnTo>
                    <a:pt x="525" y="60"/>
                  </a:lnTo>
                  <a:lnTo>
                    <a:pt x="525" y="62"/>
                  </a:lnTo>
                  <a:lnTo>
                    <a:pt x="525" y="63"/>
                  </a:lnTo>
                  <a:lnTo>
                    <a:pt x="526" y="63"/>
                  </a:lnTo>
                  <a:lnTo>
                    <a:pt x="526" y="64"/>
                  </a:lnTo>
                  <a:lnTo>
                    <a:pt x="527" y="63"/>
                  </a:lnTo>
                  <a:lnTo>
                    <a:pt x="528" y="63"/>
                  </a:lnTo>
                  <a:lnTo>
                    <a:pt x="529" y="63"/>
                  </a:lnTo>
                  <a:lnTo>
                    <a:pt x="528" y="65"/>
                  </a:lnTo>
                  <a:lnTo>
                    <a:pt x="528" y="66"/>
                  </a:lnTo>
                  <a:lnTo>
                    <a:pt x="527" y="66"/>
                  </a:lnTo>
                  <a:lnTo>
                    <a:pt x="527" y="68"/>
                  </a:lnTo>
                  <a:lnTo>
                    <a:pt x="527" y="69"/>
                  </a:lnTo>
                  <a:lnTo>
                    <a:pt x="526" y="69"/>
                  </a:lnTo>
                  <a:lnTo>
                    <a:pt x="525" y="70"/>
                  </a:lnTo>
                  <a:lnTo>
                    <a:pt x="526" y="71"/>
                  </a:lnTo>
                  <a:lnTo>
                    <a:pt x="526" y="72"/>
                  </a:lnTo>
                  <a:lnTo>
                    <a:pt x="527" y="72"/>
                  </a:lnTo>
                  <a:lnTo>
                    <a:pt x="526" y="75"/>
                  </a:lnTo>
                  <a:lnTo>
                    <a:pt x="527" y="76"/>
                  </a:lnTo>
                  <a:lnTo>
                    <a:pt x="528" y="77"/>
                  </a:lnTo>
                  <a:lnTo>
                    <a:pt x="531" y="77"/>
                  </a:lnTo>
                  <a:lnTo>
                    <a:pt x="532" y="76"/>
                  </a:lnTo>
                  <a:lnTo>
                    <a:pt x="533" y="75"/>
                  </a:lnTo>
                  <a:lnTo>
                    <a:pt x="533" y="74"/>
                  </a:lnTo>
                  <a:lnTo>
                    <a:pt x="534" y="74"/>
                  </a:lnTo>
                  <a:lnTo>
                    <a:pt x="534" y="71"/>
                  </a:lnTo>
                  <a:lnTo>
                    <a:pt x="533" y="70"/>
                  </a:lnTo>
                  <a:lnTo>
                    <a:pt x="534" y="70"/>
                  </a:lnTo>
                  <a:lnTo>
                    <a:pt x="537" y="70"/>
                  </a:lnTo>
                  <a:lnTo>
                    <a:pt x="537" y="69"/>
                  </a:lnTo>
                  <a:lnTo>
                    <a:pt x="535" y="68"/>
                  </a:lnTo>
                  <a:lnTo>
                    <a:pt x="535" y="66"/>
                  </a:lnTo>
                  <a:lnTo>
                    <a:pt x="534" y="63"/>
                  </a:lnTo>
                  <a:lnTo>
                    <a:pt x="534" y="60"/>
                  </a:lnTo>
                  <a:lnTo>
                    <a:pt x="535" y="60"/>
                  </a:lnTo>
                  <a:lnTo>
                    <a:pt x="535" y="59"/>
                  </a:lnTo>
                  <a:lnTo>
                    <a:pt x="535" y="58"/>
                  </a:lnTo>
                  <a:lnTo>
                    <a:pt x="534" y="57"/>
                  </a:lnTo>
                  <a:lnTo>
                    <a:pt x="535" y="55"/>
                  </a:lnTo>
                  <a:lnTo>
                    <a:pt x="535" y="54"/>
                  </a:lnTo>
                  <a:lnTo>
                    <a:pt x="537" y="54"/>
                  </a:lnTo>
                  <a:lnTo>
                    <a:pt x="538" y="54"/>
                  </a:lnTo>
                  <a:lnTo>
                    <a:pt x="539" y="54"/>
                  </a:lnTo>
                  <a:lnTo>
                    <a:pt x="539" y="53"/>
                  </a:lnTo>
                  <a:lnTo>
                    <a:pt x="540" y="52"/>
                  </a:lnTo>
                  <a:lnTo>
                    <a:pt x="540" y="49"/>
                  </a:lnTo>
                  <a:lnTo>
                    <a:pt x="543" y="48"/>
                  </a:lnTo>
                  <a:lnTo>
                    <a:pt x="543" y="49"/>
                  </a:lnTo>
                  <a:lnTo>
                    <a:pt x="545" y="49"/>
                  </a:lnTo>
                  <a:lnTo>
                    <a:pt x="546" y="51"/>
                  </a:lnTo>
                  <a:lnTo>
                    <a:pt x="545" y="52"/>
                  </a:lnTo>
                  <a:lnTo>
                    <a:pt x="545" y="55"/>
                  </a:lnTo>
                  <a:lnTo>
                    <a:pt x="544" y="57"/>
                  </a:lnTo>
                  <a:lnTo>
                    <a:pt x="543" y="59"/>
                  </a:lnTo>
                  <a:lnTo>
                    <a:pt x="544" y="59"/>
                  </a:lnTo>
                  <a:lnTo>
                    <a:pt x="544" y="60"/>
                  </a:lnTo>
                  <a:lnTo>
                    <a:pt x="544" y="62"/>
                  </a:lnTo>
                  <a:lnTo>
                    <a:pt x="545" y="62"/>
                  </a:lnTo>
                  <a:lnTo>
                    <a:pt x="546" y="62"/>
                  </a:lnTo>
                  <a:lnTo>
                    <a:pt x="546" y="60"/>
                  </a:lnTo>
                  <a:lnTo>
                    <a:pt x="547" y="60"/>
                  </a:lnTo>
                  <a:lnTo>
                    <a:pt x="547" y="62"/>
                  </a:lnTo>
                  <a:lnTo>
                    <a:pt x="549" y="63"/>
                  </a:lnTo>
                  <a:lnTo>
                    <a:pt x="549" y="64"/>
                  </a:lnTo>
                  <a:lnTo>
                    <a:pt x="547" y="64"/>
                  </a:lnTo>
                  <a:lnTo>
                    <a:pt x="546" y="65"/>
                  </a:lnTo>
                  <a:lnTo>
                    <a:pt x="545" y="65"/>
                  </a:lnTo>
                  <a:lnTo>
                    <a:pt x="544" y="66"/>
                  </a:lnTo>
                  <a:lnTo>
                    <a:pt x="544" y="68"/>
                  </a:lnTo>
                  <a:lnTo>
                    <a:pt x="543" y="69"/>
                  </a:lnTo>
                  <a:lnTo>
                    <a:pt x="541" y="69"/>
                  </a:lnTo>
                  <a:lnTo>
                    <a:pt x="540" y="70"/>
                  </a:lnTo>
                  <a:lnTo>
                    <a:pt x="540" y="71"/>
                  </a:lnTo>
                  <a:lnTo>
                    <a:pt x="540" y="72"/>
                  </a:lnTo>
                  <a:lnTo>
                    <a:pt x="541" y="71"/>
                  </a:lnTo>
                  <a:lnTo>
                    <a:pt x="541" y="72"/>
                  </a:lnTo>
                  <a:lnTo>
                    <a:pt x="540" y="72"/>
                  </a:lnTo>
                  <a:lnTo>
                    <a:pt x="541" y="74"/>
                  </a:lnTo>
                  <a:lnTo>
                    <a:pt x="543" y="74"/>
                  </a:lnTo>
                  <a:lnTo>
                    <a:pt x="543" y="75"/>
                  </a:lnTo>
                  <a:lnTo>
                    <a:pt x="543" y="76"/>
                  </a:lnTo>
                  <a:lnTo>
                    <a:pt x="544" y="76"/>
                  </a:lnTo>
                  <a:lnTo>
                    <a:pt x="545" y="75"/>
                  </a:lnTo>
                  <a:lnTo>
                    <a:pt x="546" y="76"/>
                  </a:lnTo>
                  <a:lnTo>
                    <a:pt x="546" y="75"/>
                  </a:lnTo>
                  <a:lnTo>
                    <a:pt x="547" y="75"/>
                  </a:lnTo>
                  <a:lnTo>
                    <a:pt x="547" y="74"/>
                  </a:lnTo>
                  <a:lnTo>
                    <a:pt x="547" y="72"/>
                  </a:lnTo>
                  <a:lnTo>
                    <a:pt x="549" y="72"/>
                  </a:lnTo>
                  <a:lnTo>
                    <a:pt x="549" y="66"/>
                  </a:lnTo>
                  <a:lnTo>
                    <a:pt x="549" y="65"/>
                  </a:lnTo>
                  <a:lnTo>
                    <a:pt x="551" y="65"/>
                  </a:lnTo>
                  <a:lnTo>
                    <a:pt x="551" y="66"/>
                  </a:lnTo>
                  <a:lnTo>
                    <a:pt x="552" y="66"/>
                  </a:lnTo>
                  <a:lnTo>
                    <a:pt x="552" y="65"/>
                  </a:lnTo>
                  <a:lnTo>
                    <a:pt x="553" y="65"/>
                  </a:lnTo>
                  <a:lnTo>
                    <a:pt x="553" y="66"/>
                  </a:lnTo>
                  <a:lnTo>
                    <a:pt x="555" y="65"/>
                  </a:lnTo>
                  <a:lnTo>
                    <a:pt x="556" y="65"/>
                  </a:lnTo>
                  <a:lnTo>
                    <a:pt x="556" y="66"/>
                  </a:lnTo>
                  <a:lnTo>
                    <a:pt x="557" y="68"/>
                  </a:lnTo>
                  <a:lnTo>
                    <a:pt x="558" y="68"/>
                  </a:lnTo>
                  <a:lnTo>
                    <a:pt x="558" y="66"/>
                  </a:lnTo>
                  <a:lnTo>
                    <a:pt x="558" y="65"/>
                  </a:lnTo>
                  <a:lnTo>
                    <a:pt x="557" y="65"/>
                  </a:lnTo>
                  <a:lnTo>
                    <a:pt x="555" y="65"/>
                  </a:lnTo>
                  <a:lnTo>
                    <a:pt x="555" y="64"/>
                  </a:lnTo>
                  <a:lnTo>
                    <a:pt x="553" y="64"/>
                  </a:lnTo>
                  <a:lnTo>
                    <a:pt x="553" y="63"/>
                  </a:lnTo>
                  <a:lnTo>
                    <a:pt x="553" y="62"/>
                  </a:lnTo>
                  <a:lnTo>
                    <a:pt x="553" y="60"/>
                  </a:lnTo>
                  <a:lnTo>
                    <a:pt x="552" y="60"/>
                  </a:lnTo>
                  <a:lnTo>
                    <a:pt x="551" y="59"/>
                  </a:lnTo>
                  <a:lnTo>
                    <a:pt x="551" y="58"/>
                  </a:lnTo>
                  <a:lnTo>
                    <a:pt x="552" y="57"/>
                  </a:lnTo>
                  <a:lnTo>
                    <a:pt x="553" y="55"/>
                  </a:lnTo>
                  <a:lnTo>
                    <a:pt x="553" y="54"/>
                  </a:lnTo>
                  <a:lnTo>
                    <a:pt x="553" y="53"/>
                  </a:lnTo>
                  <a:lnTo>
                    <a:pt x="553" y="52"/>
                  </a:lnTo>
                  <a:lnTo>
                    <a:pt x="556" y="51"/>
                  </a:lnTo>
                  <a:lnTo>
                    <a:pt x="557" y="51"/>
                  </a:lnTo>
                  <a:lnTo>
                    <a:pt x="558" y="51"/>
                  </a:lnTo>
                  <a:lnTo>
                    <a:pt x="558" y="52"/>
                  </a:lnTo>
                  <a:lnTo>
                    <a:pt x="558" y="53"/>
                  </a:lnTo>
                  <a:lnTo>
                    <a:pt x="560" y="53"/>
                  </a:lnTo>
                  <a:lnTo>
                    <a:pt x="560" y="52"/>
                  </a:lnTo>
                  <a:lnTo>
                    <a:pt x="560" y="51"/>
                  </a:lnTo>
                  <a:lnTo>
                    <a:pt x="561" y="51"/>
                  </a:lnTo>
                  <a:lnTo>
                    <a:pt x="561" y="49"/>
                  </a:lnTo>
                  <a:lnTo>
                    <a:pt x="561" y="48"/>
                  </a:lnTo>
                  <a:lnTo>
                    <a:pt x="561" y="47"/>
                  </a:lnTo>
                  <a:lnTo>
                    <a:pt x="561" y="46"/>
                  </a:lnTo>
                  <a:lnTo>
                    <a:pt x="562" y="45"/>
                  </a:lnTo>
                  <a:lnTo>
                    <a:pt x="563" y="43"/>
                  </a:lnTo>
                  <a:lnTo>
                    <a:pt x="564" y="43"/>
                  </a:lnTo>
                  <a:lnTo>
                    <a:pt x="566" y="42"/>
                  </a:lnTo>
                  <a:lnTo>
                    <a:pt x="566" y="40"/>
                  </a:lnTo>
                  <a:lnTo>
                    <a:pt x="566" y="39"/>
                  </a:lnTo>
                  <a:lnTo>
                    <a:pt x="567" y="37"/>
                  </a:lnTo>
                  <a:lnTo>
                    <a:pt x="568" y="37"/>
                  </a:lnTo>
                  <a:lnTo>
                    <a:pt x="569" y="37"/>
                  </a:lnTo>
                  <a:lnTo>
                    <a:pt x="569" y="39"/>
                  </a:lnTo>
                  <a:lnTo>
                    <a:pt x="569" y="40"/>
                  </a:lnTo>
                  <a:lnTo>
                    <a:pt x="570" y="39"/>
                  </a:lnTo>
                  <a:lnTo>
                    <a:pt x="572" y="39"/>
                  </a:lnTo>
                  <a:lnTo>
                    <a:pt x="572" y="40"/>
                  </a:lnTo>
                  <a:lnTo>
                    <a:pt x="573" y="41"/>
                  </a:lnTo>
                  <a:lnTo>
                    <a:pt x="573" y="42"/>
                  </a:lnTo>
                  <a:lnTo>
                    <a:pt x="573" y="43"/>
                  </a:lnTo>
                  <a:lnTo>
                    <a:pt x="573" y="45"/>
                  </a:lnTo>
                  <a:lnTo>
                    <a:pt x="573" y="48"/>
                  </a:lnTo>
                  <a:lnTo>
                    <a:pt x="574" y="48"/>
                  </a:lnTo>
                  <a:lnTo>
                    <a:pt x="574" y="49"/>
                  </a:lnTo>
                  <a:lnTo>
                    <a:pt x="574" y="51"/>
                  </a:lnTo>
                  <a:lnTo>
                    <a:pt x="574" y="52"/>
                  </a:lnTo>
                  <a:lnTo>
                    <a:pt x="574" y="53"/>
                  </a:lnTo>
                  <a:lnTo>
                    <a:pt x="574" y="54"/>
                  </a:lnTo>
                  <a:lnTo>
                    <a:pt x="573" y="54"/>
                  </a:lnTo>
                  <a:lnTo>
                    <a:pt x="572" y="55"/>
                  </a:lnTo>
                  <a:lnTo>
                    <a:pt x="570" y="57"/>
                  </a:lnTo>
                  <a:lnTo>
                    <a:pt x="572" y="57"/>
                  </a:lnTo>
                  <a:lnTo>
                    <a:pt x="573" y="57"/>
                  </a:lnTo>
                  <a:lnTo>
                    <a:pt x="573" y="58"/>
                  </a:lnTo>
                  <a:lnTo>
                    <a:pt x="574" y="58"/>
                  </a:lnTo>
                  <a:lnTo>
                    <a:pt x="574" y="59"/>
                  </a:lnTo>
                  <a:lnTo>
                    <a:pt x="575" y="59"/>
                  </a:lnTo>
                  <a:lnTo>
                    <a:pt x="575" y="60"/>
                  </a:lnTo>
                  <a:lnTo>
                    <a:pt x="576" y="60"/>
                  </a:lnTo>
                  <a:lnTo>
                    <a:pt x="576" y="63"/>
                  </a:lnTo>
                  <a:lnTo>
                    <a:pt x="575" y="64"/>
                  </a:lnTo>
                  <a:lnTo>
                    <a:pt x="575" y="65"/>
                  </a:lnTo>
                  <a:lnTo>
                    <a:pt x="574" y="66"/>
                  </a:lnTo>
                  <a:lnTo>
                    <a:pt x="574" y="69"/>
                  </a:lnTo>
                  <a:lnTo>
                    <a:pt x="573" y="68"/>
                  </a:lnTo>
                  <a:lnTo>
                    <a:pt x="572" y="68"/>
                  </a:lnTo>
                  <a:lnTo>
                    <a:pt x="573" y="70"/>
                  </a:lnTo>
                  <a:lnTo>
                    <a:pt x="572" y="70"/>
                  </a:lnTo>
                  <a:lnTo>
                    <a:pt x="570" y="69"/>
                  </a:lnTo>
                  <a:lnTo>
                    <a:pt x="570" y="70"/>
                  </a:lnTo>
                  <a:lnTo>
                    <a:pt x="570" y="72"/>
                  </a:lnTo>
                  <a:lnTo>
                    <a:pt x="572" y="72"/>
                  </a:lnTo>
                  <a:lnTo>
                    <a:pt x="574" y="71"/>
                  </a:lnTo>
                  <a:lnTo>
                    <a:pt x="575" y="70"/>
                  </a:lnTo>
                  <a:lnTo>
                    <a:pt x="575" y="69"/>
                  </a:lnTo>
                  <a:lnTo>
                    <a:pt x="576" y="68"/>
                  </a:lnTo>
                  <a:lnTo>
                    <a:pt x="578" y="68"/>
                  </a:lnTo>
                  <a:lnTo>
                    <a:pt x="578" y="66"/>
                  </a:lnTo>
                  <a:lnTo>
                    <a:pt x="578" y="65"/>
                  </a:lnTo>
                  <a:lnTo>
                    <a:pt x="578" y="63"/>
                  </a:lnTo>
                  <a:lnTo>
                    <a:pt x="579" y="63"/>
                  </a:lnTo>
                  <a:lnTo>
                    <a:pt x="580" y="63"/>
                  </a:lnTo>
                  <a:lnTo>
                    <a:pt x="581" y="63"/>
                  </a:lnTo>
                  <a:lnTo>
                    <a:pt x="582" y="63"/>
                  </a:lnTo>
                  <a:lnTo>
                    <a:pt x="582" y="60"/>
                  </a:lnTo>
                  <a:lnTo>
                    <a:pt x="582" y="62"/>
                  </a:lnTo>
                  <a:lnTo>
                    <a:pt x="584" y="60"/>
                  </a:lnTo>
                  <a:lnTo>
                    <a:pt x="584" y="58"/>
                  </a:lnTo>
                  <a:lnTo>
                    <a:pt x="582" y="57"/>
                  </a:lnTo>
                  <a:lnTo>
                    <a:pt x="581" y="57"/>
                  </a:lnTo>
                  <a:lnTo>
                    <a:pt x="581" y="55"/>
                  </a:lnTo>
                  <a:lnTo>
                    <a:pt x="581" y="54"/>
                  </a:lnTo>
                  <a:lnTo>
                    <a:pt x="581" y="53"/>
                  </a:lnTo>
                  <a:lnTo>
                    <a:pt x="582" y="53"/>
                  </a:lnTo>
                  <a:lnTo>
                    <a:pt x="582" y="52"/>
                  </a:lnTo>
                  <a:lnTo>
                    <a:pt x="584" y="51"/>
                  </a:lnTo>
                  <a:lnTo>
                    <a:pt x="582" y="49"/>
                  </a:lnTo>
                  <a:lnTo>
                    <a:pt x="584" y="48"/>
                  </a:lnTo>
                  <a:lnTo>
                    <a:pt x="584" y="47"/>
                  </a:lnTo>
                  <a:lnTo>
                    <a:pt x="584" y="46"/>
                  </a:lnTo>
                  <a:lnTo>
                    <a:pt x="585" y="47"/>
                  </a:lnTo>
                  <a:lnTo>
                    <a:pt x="586" y="46"/>
                  </a:lnTo>
                  <a:lnTo>
                    <a:pt x="587" y="46"/>
                  </a:lnTo>
                  <a:lnTo>
                    <a:pt x="587" y="45"/>
                  </a:lnTo>
                  <a:lnTo>
                    <a:pt x="588" y="45"/>
                  </a:lnTo>
                  <a:lnTo>
                    <a:pt x="592" y="45"/>
                  </a:lnTo>
                  <a:lnTo>
                    <a:pt x="593" y="45"/>
                  </a:lnTo>
                  <a:lnTo>
                    <a:pt x="593" y="43"/>
                  </a:lnTo>
                  <a:lnTo>
                    <a:pt x="594" y="43"/>
                  </a:lnTo>
                  <a:lnTo>
                    <a:pt x="594" y="41"/>
                  </a:lnTo>
                  <a:lnTo>
                    <a:pt x="598" y="41"/>
                  </a:lnTo>
                  <a:lnTo>
                    <a:pt x="598" y="40"/>
                  </a:lnTo>
                  <a:lnTo>
                    <a:pt x="599" y="39"/>
                  </a:lnTo>
                  <a:lnTo>
                    <a:pt x="599" y="37"/>
                  </a:lnTo>
                  <a:lnTo>
                    <a:pt x="599" y="36"/>
                  </a:lnTo>
                  <a:lnTo>
                    <a:pt x="600" y="36"/>
                  </a:lnTo>
                  <a:lnTo>
                    <a:pt x="600" y="35"/>
                  </a:lnTo>
                  <a:lnTo>
                    <a:pt x="602" y="35"/>
                  </a:lnTo>
                  <a:lnTo>
                    <a:pt x="603" y="34"/>
                  </a:lnTo>
                  <a:lnTo>
                    <a:pt x="603" y="35"/>
                  </a:lnTo>
                  <a:lnTo>
                    <a:pt x="605" y="35"/>
                  </a:lnTo>
                  <a:lnTo>
                    <a:pt x="606" y="36"/>
                  </a:lnTo>
                  <a:lnTo>
                    <a:pt x="606" y="40"/>
                  </a:lnTo>
                  <a:lnTo>
                    <a:pt x="606" y="41"/>
                  </a:lnTo>
                  <a:lnTo>
                    <a:pt x="605" y="42"/>
                  </a:lnTo>
                  <a:lnTo>
                    <a:pt x="606" y="42"/>
                  </a:lnTo>
                  <a:lnTo>
                    <a:pt x="606" y="43"/>
                  </a:lnTo>
                  <a:lnTo>
                    <a:pt x="608" y="45"/>
                  </a:lnTo>
                  <a:lnTo>
                    <a:pt x="609" y="46"/>
                  </a:lnTo>
                  <a:lnTo>
                    <a:pt x="610" y="46"/>
                  </a:lnTo>
                  <a:lnTo>
                    <a:pt x="610" y="47"/>
                  </a:lnTo>
                  <a:lnTo>
                    <a:pt x="611" y="49"/>
                  </a:lnTo>
                  <a:lnTo>
                    <a:pt x="610" y="51"/>
                  </a:lnTo>
                  <a:lnTo>
                    <a:pt x="609" y="52"/>
                  </a:lnTo>
                  <a:lnTo>
                    <a:pt x="609" y="53"/>
                  </a:lnTo>
                  <a:lnTo>
                    <a:pt x="610" y="53"/>
                  </a:lnTo>
                  <a:lnTo>
                    <a:pt x="612" y="53"/>
                  </a:lnTo>
                  <a:lnTo>
                    <a:pt x="612" y="54"/>
                  </a:lnTo>
                  <a:lnTo>
                    <a:pt x="611" y="55"/>
                  </a:lnTo>
                  <a:lnTo>
                    <a:pt x="612" y="55"/>
                  </a:lnTo>
                  <a:lnTo>
                    <a:pt x="614" y="55"/>
                  </a:lnTo>
                  <a:lnTo>
                    <a:pt x="614" y="54"/>
                  </a:lnTo>
                  <a:lnTo>
                    <a:pt x="616" y="53"/>
                  </a:lnTo>
                  <a:lnTo>
                    <a:pt x="617" y="53"/>
                  </a:lnTo>
                  <a:lnTo>
                    <a:pt x="617" y="52"/>
                  </a:lnTo>
                  <a:lnTo>
                    <a:pt x="619" y="52"/>
                  </a:lnTo>
                  <a:lnTo>
                    <a:pt x="619" y="51"/>
                  </a:lnTo>
                  <a:lnTo>
                    <a:pt x="621" y="51"/>
                  </a:lnTo>
                  <a:lnTo>
                    <a:pt x="621" y="52"/>
                  </a:lnTo>
                  <a:lnTo>
                    <a:pt x="622" y="53"/>
                  </a:lnTo>
                  <a:lnTo>
                    <a:pt x="622" y="54"/>
                  </a:lnTo>
                  <a:lnTo>
                    <a:pt x="623" y="53"/>
                  </a:lnTo>
                  <a:lnTo>
                    <a:pt x="623" y="54"/>
                  </a:lnTo>
                  <a:lnTo>
                    <a:pt x="625" y="55"/>
                  </a:lnTo>
                  <a:lnTo>
                    <a:pt x="626" y="55"/>
                  </a:lnTo>
                  <a:lnTo>
                    <a:pt x="626" y="57"/>
                  </a:lnTo>
                  <a:lnTo>
                    <a:pt x="627" y="58"/>
                  </a:lnTo>
                  <a:lnTo>
                    <a:pt x="626" y="58"/>
                  </a:lnTo>
                  <a:lnTo>
                    <a:pt x="626" y="59"/>
                  </a:lnTo>
                  <a:lnTo>
                    <a:pt x="626" y="60"/>
                  </a:lnTo>
                  <a:lnTo>
                    <a:pt x="625" y="60"/>
                  </a:lnTo>
                  <a:lnTo>
                    <a:pt x="625" y="62"/>
                  </a:lnTo>
                  <a:lnTo>
                    <a:pt x="625" y="63"/>
                  </a:lnTo>
                  <a:lnTo>
                    <a:pt x="623" y="63"/>
                  </a:lnTo>
                  <a:lnTo>
                    <a:pt x="623" y="64"/>
                  </a:lnTo>
                  <a:lnTo>
                    <a:pt x="622" y="65"/>
                  </a:lnTo>
                  <a:lnTo>
                    <a:pt x="622" y="66"/>
                  </a:lnTo>
                  <a:lnTo>
                    <a:pt x="621" y="68"/>
                  </a:lnTo>
                  <a:lnTo>
                    <a:pt x="621" y="70"/>
                  </a:lnTo>
                  <a:lnTo>
                    <a:pt x="620" y="70"/>
                  </a:lnTo>
                  <a:lnTo>
                    <a:pt x="620" y="71"/>
                  </a:lnTo>
                  <a:lnTo>
                    <a:pt x="619" y="72"/>
                  </a:lnTo>
                  <a:lnTo>
                    <a:pt x="617" y="72"/>
                  </a:lnTo>
                  <a:lnTo>
                    <a:pt x="616" y="72"/>
                  </a:lnTo>
                  <a:lnTo>
                    <a:pt x="615" y="72"/>
                  </a:lnTo>
                  <a:lnTo>
                    <a:pt x="615" y="74"/>
                  </a:lnTo>
                  <a:lnTo>
                    <a:pt x="614" y="74"/>
                  </a:lnTo>
                  <a:lnTo>
                    <a:pt x="614" y="75"/>
                  </a:lnTo>
                  <a:lnTo>
                    <a:pt x="612" y="75"/>
                  </a:lnTo>
                  <a:lnTo>
                    <a:pt x="611" y="75"/>
                  </a:lnTo>
                  <a:lnTo>
                    <a:pt x="610" y="75"/>
                  </a:lnTo>
                  <a:lnTo>
                    <a:pt x="608" y="75"/>
                  </a:lnTo>
                  <a:lnTo>
                    <a:pt x="606" y="74"/>
                  </a:lnTo>
                  <a:lnTo>
                    <a:pt x="605" y="76"/>
                  </a:lnTo>
                  <a:lnTo>
                    <a:pt x="605" y="77"/>
                  </a:lnTo>
                  <a:lnTo>
                    <a:pt x="604" y="78"/>
                  </a:lnTo>
                  <a:lnTo>
                    <a:pt x="603" y="80"/>
                  </a:lnTo>
                  <a:lnTo>
                    <a:pt x="602" y="82"/>
                  </a:lnTo>
                  <a:lnTo>
                    <a:pt x="603" y="84"/>
                  </a:lnTo>
                  <a:lnTo>
                    <a:pt x="604" y="84"/>
                  </a:lnTo>
                  <a:lnTo>
                    <a:pt x="605" y="86"/>
                  </a:lnTo>
                  <a:lnTo>
                    <a:pt x="606" y="86"/>
                  </a:lnTo>
                  <a:lnTo>
                    <a:pt x="606" y="84"/>
                  </a:lnTo>
                  <a:lnTo>
                    <a:pt x="608" y="83"/>
                  </a:lnTo>
                  <a:lnTo>
                    <a:pt x="609" y="83"/>
                  </a:lnTo>
                  <a:lnTo>
                    <a:pt x="610" y="83"/>
                  </a:lnTo>
                  <a:lnTo>
                    <a:pt x="612" y="83"/>
                  </a:lnTo>
                  <a:lnTo>
                    <a:pt x="614" y="83"/>
                  </a:lnTo>
                  <a:lnTo>
                    <a:pt x="616" y="83"/>
                  </a:lnTo>
                  <a:lnTo>
                    <a:pt x="616" y="82"/>
                  </a:lnTo>
                  <a:lnTo>
                    <a:pt x="617" y="82"/>
                  </a:lnTo>
                  <a:lnTo>
                    <a:pt x="620" y="82"/>
                  </a:lnTo>
                  <a:lnTo>
                    <a:pt x="620" y="81"/>
                  </a:lnTo>
                  <a:lnTo>
                    <a:pt x="620" y="78"/>
                  </a:lnTo>
                  <a:lnTo>
                    <a:pt x="620" y="76"/>
                  </a:lnTo>
                  <a:lnTo>
                    <a:pt x="621" y="75"/>
                  </a:lnTo>
                  <a:lnTo>
                    <a:pt x="625" y="75"/>
                  </a:lnTo>
                  <a:lnTo>
                    <a:pt x="626" y="75"/>
                  </a:lnTo>
                  <a:lnTo>
                    <a:pt x="627" y="74"/>
                  </a:lnTo>
                  <a:lnTo>
                    <a:pt x="628" y="74"/>
                  </a:lnTo>
                  <a:lnTo>
                    <a:pt x="628" y="71"/>
                  </a:lnTo>
                  <a:lnTo>
                    <a:pt x="628" y="70"/>
                  </a:lnTo>
                  <a:lnTo>
                    <a:pt x="629" y="70"/>
                  </a:lnTo>
                  <a:lnTo>
                    <a:pt x="631" y="70"/>
                  </a:lnTo>
                  <a:lnTo>
                    <a:pt x="631" y="69"/>
                  </a:lnTo>
                  <a:lnTo>
                    <a:pt x="632" y="69"/>
                  </a:lnTo>
                  <a:lnTo>
                    <a:pt x="633" y="69"/>
                  </a:lnTo>
                  <a:lnTo>
                    <a:pt x="633" y="70"/>
                  </a:lnTo>
                  <a:lnTo>
                    <a:pt x="634" y="70"/>
                  </a:lnTo>
                  <a:lnTo>
                    <a:pt x="634" y="71"/>
                  </a:lnTo>
                  <a:lnTo>
                    <a:pt x="637" y="71"/>
                  </a:lnTo>
                  <a:lnTo>
                    <a:pt x="638" y="70"/>
                  </a:lnTo>
                  <a:lnTo>
                    <a:pt x="638" y="69"/>
                  </a:lnTo>
                  <a:lnTo>
                    <a:pt x="639" y="69"/>
                  </a:lnTo>
                  <a:lnTo>
                    <a:pt x="639" y="68"/>
                  </a:lnTo>
                  <a:lnTo>
                    <a:pt x="640" y="68"/>
                  </a:lnTo>
                  <a:lnTo>
                    <a:pt x="641" y="69"/>
                  </a:lnTo>
                  <a:lnTo>
                    <a:pt x="641" y="70"/>
                  </a:lnTo>
                  <a:lnTo>
                    <a:pt x="643" y="70"/>
                  </a:lnTo>
                  <a:lnTo>
                    <a:pt x="643" y="71"/>
                  </a:lnTo>
                  <a:lnTo>
                    <a:pt x="643" y="72"/>
                  </a:lnTo>
                  <a:lnTo>
                    <a:pt x="644" y="72"/>
                  </a:lnTo>
                  <a:lnTo>
                    <a:pt x="644" y="74"/>
                  </a:lnTo>
                  <a:lnTo>
                    <a:pt x="645" y="76"/>
                  </a:lnTo>
                  <a:lnTo>
                    <a:pt x="644" y="80"/>
                  </a:lnTo>
                  <a:lnTo>
                    <a:pt x="645" y="80"/>
                  </a:lnTo>
                  <a:lnTo>
                    <a:pt x="645" y="81"/>
                  </a:lnTo>
                  <a:lnTo>
                    <a:pt x="646" y="80"/>
                  </a:lnTo>
                  <a:lnTo>
                    <a:pt x="647" y="80"/>
                  </a:lnTo>
                  <a:lnTo>
                    <a:pt x="647" y="78"/>
                  </a:lnTo>
                  <a:lnTo>
                    <a:pt x="649" y="78"/>
                  </a:lnTo>
                  <a:lnTo>
                    <a:pt x="650" y="77"/>
                  </a:lnTo>
                  <a:lnTo>
                    <a:pt x="651" y="76"/>
                  </a:lnTo>
                  <a:lnTo>
                    <a:pt x="651" y="75"/>
                  </a:lnTo>
                  <a:lnTo>
                    <a:pt x="651" y="74"/>
                  </a:lnTo>
                  <a:lnTo>
                    <a:pt x="652" y="74"/>
                  </a:lnTo>
                  <a:lnTo>
                    <a:pt x="652" y="72"/>
                  </a:lnTo>
                  <a:lnTo>
                    <a:pt x="653" y="72"/>
                  </a:lnTo>
                  <a:lnTo>
                    <a:pt x="655" y="74"/>
                  </a:lnTo>
                  <a:lnTo>
                    <a:pt x="656" y="75"/>
                  </a:lnTo>
                  <a:lnTo>
                    <a:pt x="657" y="76"/>
                  </a:lnTo>
                  <a:lnTo>
                    <a:pt x="656" y="76"/>
                  </a:lnTo>
                  <a:lnTo>
                    <a:pt x="656" y="77"/>
                  </a:lnTo>
                  <a:lnTo>
                    <a:pt x="655" y="77"/>
                  </a:lnTo>
                  <a:lnTo>
                    <a:pt x="655" y="80"/>
                  </a:lnTo>
                  <a:lnTo>
                    <a:pt x="655" y="81"/>
                  </a:lnTo>
                  <a:lnTo>
                    <a:pt x="655" y="82"/>
                  </a:lnTo>
                  <a:lnTo>
                    <a:pt x="655" y="83"/>
                  </a:lnTo>
                  <a:lnTo>
                    <a:pt x="653" y="84"/>
                  </a:lnTo>
                  <a:lnTo>
                    <a:pt x="653" y="86"/>
                  </a:lnTo>
                  <a:lnTo>
                    <a:pt x="656" y="87"/>
                  </a:lnTo>
                  <a:lnTo>
                    <a:pt x="656" y="88"/>
                  </a:lnTo>
                  <a:lnTo>
                    <a:pt x="657" y="88"/>
                  </a:lnTo>
                  <a:lnTo>
                    <a:pt x="657" y="92"/>
                  </a:lnTo>
                  <a:lnTo>
                    <a:pt x="656" y="94"/>
                  </a:lnTo>
                  <a:lnTo>
                    <a:pt x="655" y="95"/>
                  </a:lnTo>
                  <a:lnTo>
                    <a:pt x="653" y="95"/>
                  </a:lnTo>
                  <a:lnTo>
                    <a:pt x="652" y="96"/>
                  </a:lnTo>
                  <a:lnTo>
                    <a:pt x="651" y="96"/>
                  </a:lnTo>
                  <a:lnTo>
                    <a:pt x="651" y="98"/>
                  </a:lnTo>
                  <a:lnTo>
                    <a:pt x="650" y="99"/>
                  </a:lnTo>
                  <a:lnTo>
                    <a:pt x="650" y="100"/>
                  </a:lnTo>
                  <a:lnTo>
                    <a:pt x="651" y="100"/>
                  </a:lnTo>
                  <a:lnTo>
                    <a:pt x="652" y="100"/>
                  </a:lnTo>
                  <a:lnTo>
                    <a:pt x="652" y="102"/>
                  </a:lnTo>
                  <a:lnTo>
                    <a:pt x="652" y="106"/>
                  </a:lnTo>
                  <a:lnTo>
                    <a:pt x="649" y="106"/>
                  </a:lnTo>
                  <a:lnTo>
                    <a:pt x="647" y="107"/>
                  </a:lnTo>
                  <a:lnTo>
                    <a:pt x="649" y="108"/>
                  </a:lnTo>
                  <a:lnTo>
                    <a:pt x="646" y="108"/>
                  </a:lnTo>
                  <a:lnTo>
                    <a:pt x="645" y="107"/>
                  </a:lnTo>
                  <a:lnTo>
                    <a:pt x="645" y="108"/>
                  </a:lnTo>
                  <a:lnTo>
                    <a:pt x="644" y="110"/>
                  </a:lnTo>
                  <a:lnTo>
                    <a:pt x="644" y="111"/>
                  </a:lnTo>
                  <a:lnTo>
                    <a:pt x="643" y="111"/>
                  </a:lnTo>
                  <a:lnTo>
                    <a:pt x="640" y="111"/>
                  </a:lnTo>
                  <a:lnTo>
                    <a:pt x="639" y="111"/>
                  </a:lnTo>
                  <a:lnTo>
                    <a:pt x="639" y="114"/>
                  </a:lnTo>
                  <a:lnTo>
                    <a:pt x="640" y="114"/>
                  </a:lnTo>
                  <a:lnTo>
                    <a:pt x="640" y="113"/>
                  </a:lnTo>
                  <a:lnTo>
                    <a:pt x="641" y="113"/>
                  </a:lnTo>
                  <a:lnTo>
                    <a:pt x="643" y="113"/>
                  </a:lnTo>
                  <a:lnTo>
                    <a:pt x="641" y="112"/>
                  </a:lnTo>
                  <a:lnTo>
                    <a:pt x="643" y="112"/>
                  </a:lnTo>
                  <a:lnTo>
                    <a:pt x="644" y="111"/>
                  </a:lnTo>
                  <a:lnTo>
                    <a:pt x="645" y="112"/>
                  </a:lnTo>
                  <a:lnTo>
                    <a:pt x="646" y="112"/>
                  </a:lnTo>
                  <a:lnTo>
                    <a:pt x="647" y="112"/>
                  </a:lnTo>
                  <a:lnTo>
                    <a:pt x="649" y="111"/>
                  </a:lnTo>
                  <a:lnTo>
                    <a:pt x="649" y="112"/>
                  </a:lnTo>
                  <a:lnTo>
                    <a:pt x="650" y="112"/>
                  </a:lnTo>
                  <a:lnTo>
                    <a:pt x="650" y="116"/>
                  </a:lnTo>
                  <a:lnTo>
                    <a:pt x="649" y="117"/>
                  </a:lnTo>
                  <a:lnTo>
                    <a:pt x="647" y="117"/>
                  </a:lnTo>
                  <a:lnTo>
                    <a:pt x="647" y="118"/>
                  </a:lnTo>
                  <a:lnTo>
                    <a:pt x="646" y="119"/>
                  </a:lnTo>
                  <a:lnTo>
                    <a:pt x="645" y="119"/>
                  </a:lnTo>
                  <a:lnTo>
                    <a:pt x="645" y="120"/>
                  </a:lnTo>
                  <a:lnTo>
                    <a:pt x="644" y="120"/>
                  </a:lnTo>
                  <a:lnTo>
                    <a:pt x="644" y="122"/>
                  </a:lnTo>
                  <a:lnTo>
                    <a:pt x="643" y="122"/>
                  </a:lnTo>
                  <a:lnTo>
                    <a:pt x="643" y="123"/>
                  </a:lnTo>
                  <a:lnTo>
                    <a:pt x="641" y="122"/>
                  </a:lnTo>
                  <a:lnTo>
                    <a:pt x="638" y="122"/>
                  </a:lnTo>
                  <a:lnTo>
                    <a:pt x="638" y="123"/>
                  </a:lnTo>
                  <a:lnTo>
                    <a:pt x="637" y="124"/>
                  </a:lnTo>
                  <a:lnTo>
                    <a:pt x="633" y="124"/>
                  </a:lnTo>
                  <a:lnTo>
                    <a:pt x="632" y="123"/>
                  </a:lnTo>
                  <a:lnTo>
                    <a:pt x="631" y="123"/>
                  </a:lnTo>
                  <a:lnTo>
                    <a:pt x="629" y="122"/>
                  </a:lnTo>
                  <a:lnTo>
                    <a:pt x="629" y="120"/>
                  </a:lnTo>
                  <a:lnTo>
                    <a:pt x="629" y="119"/>
                  </a:lnTo>
                  <a:lnTo>
                    <a:pt x="628" y="120"/>
                  </a:lnTo>
                  <a:lnTo>
                    <a:pt x="628" y="119"/>
                  </a:lnTo>
                  <a:lnTo>
                    <a:pt x="627" y="120"/>
                  </a:lnTo>
                  <a:lnTo>
                    <a:pt x="628" y="120"/>
                  </a:lnTo>
                  <a:lnTo>
                    <a:pt x="628" y="123"/>
                  </a:lnTo>
                  <a:lnTo>
                    <a:pt x="628" y="124"/>
                  </a:lnTo>
                  <a:lnTo>
                    <a:pt x="627" y="124"/>
                  </a:lnTo>
                  <a:lnTo>
                    <a:pt x="626" y="124"/>
                  </a:lnTo>
                  <a:lnTo>
                    <a:pt x="625" y="124"/>
                  </a:lnTo>
                  <a:lnTo>
                    <a:pt x="622" y="125"/>
                  </a:lnTo>
                  <a:lnTo>
                    <a:pt x="621" y="125"/>
                  </a:lnTo>
                  <a:lnTo>
                    <a:pt x="620" y="125"/>
                  </a:lnTo>
                  <a:lnTo>
                    <a:pt x="620" y="124"/>
                  </a:lnTo>
                  <a:lnTo>
                    <a:pt x="619" y="123"/>
                  </a:lnTo>
                  <a:lnTo>
                    <a:pt x="619" y="120"/>
                  </a:lnTo>
                  <a:lnTo>
                    <a:pt x="620" y="118"/>
                  </a:lnTo>
                  <a:lnTo>
                    <a:pt x="617" y="117"/>
                  </a:lnTo>
                  <a:lnTo>
                    <a:pt x="616" y="119"/>
                  </a:lnTo>
                  <a:lnTo>
                    <a:pt x="615" y="119"/>
                  </a:lnTo>
                  <a:lnTo>
                    <a:pt x="614" y="120"/>
                  </a:lnTo>
                  <a:lnTo>
                    <a:pt x="614" y="122"/>
                  </a:lnTo>
                  <a:lnTo>
                    <a:pt x="612" y="123"/>
                  </a:lnTo>
                  <a:lnTo>
                    <a:pt x="610" y="123"/>
                  </a:lnTo>
                  <a:lnTo>
                    <a:pt x="609" y="124"/>
                  </a:lnTo>
                  <a:lnTo>
                    <a:pt x="609" y="125"/>
                  </a:lnTo>
                  <a:lnTo>
                    <a:pt x="610" y="125"/>
                  </a:lnTo>
                  <a:lnTo>
                    <a:pt x="610" y="126"/>
                  </a:lnTo>
                  <a:lnTo>
                    <a:pt x="611" y="128"/>
                  </a:lnTo>
                  <a:lnTo>
                    <a:pt x="608" y="126"/>
                  </a:lnTo>
                  <a:lnTo>
                    <a:pt x="610" y="128"/>
                  </a:lnTo>
                  <a:lnTo>
                    <a:pt x="610" y="129"/>
                  </a:lnTo>
                  <a:lnTo>
                    <a:pt x="611" y="129"/>
                  </a:lnTo>
                  <a:lnTo>
                    <a:pt x="612" y="131"/>
                  </a:lnTo>
                  <a:lnTo>
                    <a:pt x="614" y="132"/>
                  </a:lnTo>
                  <a:lnTo>
                    <a:pt x="615" y="131"/>
                  </a:lnTo>
                  <a:lnTo>
                    <a:pt x="616" y="131"/>
                  </a:lnTo>
                  <a:lnTo>
                    <a:pt x="617" y="134"/>
                  </a:lnTo>
                  <a:lnTo>
                    <a:pt x="620" y="134"/>
                  </a:lnTo>
                  <a:lnTo>
                    <a:pt x="622" y="132"/>
                  </a:lnTo>
                  <a:lnTo>
                    <a:pt x="623" y="134"/>
                  </a:lnTo>
                  <a:lnTo>
                    <a:pt x="625" y="134"/>
                  </a:lnTo>
                  <a:lnTo>
                    <a:pt x="625" y="136"/>
                  </a:lnTo>
                  <a:lnTo>
                    <a:pt x="625" y="137"/>
                  </a:lnTo>
                  <a:lnTo>
                    <a:pt x="623" y="137"/>
                  </a:lnTo>
                  <a:lnTo>
                    <a:pt x="622" y="138"/>
                  </a:lnTo>
                  <a:lnTo>
                    <a:pt x="622" y="140"/>
                  </a:lnTo>
                  <a:lnTo>
                    <a:pt x="621" y="140"/>
                  </a:lnTo>
                  <a:lnTo>
                    <a:pt x="620" y="140"/>
                  </a:lnTo>
                  <a:lnTo>
                    <a:pt x="620" y="141"/>
                  </a:lnTo>
                  <a:lnTo>
                    <a:pt x="617" y="141"/>
                  </a:lnTo>
                  <a:lnTo>
                    <a:pt x="616" y="140"/>
                  </a:lnTo>
                  <a:lnTo>
                    <a:pt x="616" y="138"/>
                  </a:lnTo>
                  <a:lnTo>
                    <a:pt x="615" y="137"/>
                  </a:lnTo>
                  <a:lnTo>
                    <a:pt x="616" y="137"/>
                  </a:lnTo>
                  <a:lnTo>
                    <a:pt x="615" y="136"/>
                  </a:lnTo>
                  <a:lnTo>
                    <a:pt x="615" y="135"/>
                  </a:lnTo>
                  <a:lnTo>
                    <a:pt x="614" y="134"/>
                  </a:lnTo>
                  <a:lnTo>
                    <a:pt x="612" y="132"/>
                  </a:lnTo>
                  <a:lnTo>
                    <a:pt x="611" y="131"/>
                  </a:lnTo>
                  <a:lnTo>
                    <a:pt x="610" y="130"/>
                  </a:lnTo>
                  <a:lnTo>
                    <a:pt x="609" y="129"/>
                  </a:lnTo>
                  <a:lnTo>
                    <a:pt x="608" y="132"/>
                  </a:lnTo>
                  <a:lnTo>
                    <a:pt x="611" y="132"/>
                  </a:lnTo>
                  <a:lnTo>
                    <a:pt x="611" y="134"/>
                  </a:lnTo>
                  <a:lnTo>
                    <a:pt x="611" y="135"/>
                  </a:lnTo>
                  <a:lnTo>
                    <a:pt x="610" y="135"/>
                  </a:lnTo>
                  <a:lnTo>
                    <a:pt x="610" y="136"/>
                  </a:lnTo>
                  <a:lnTo>
                    <a:pt x="609" y="136"/>
                  </a:lnTo>
                  <a:lnTo>
                    <a:pt x="608" y="137"/>
                  </a:lnTo>
                  <a:lnTo>
                    <a:pt x="608" y="138"/>
                  </a:lnTo>
                  <a:lnTo>
                    <a:pt x="606" y="140"/>
                  </a:lnTo>
                  <a:lnTo>
                    <a:pt x="608" y="141"/>
                  </a:lnTo>
                  <a:lnTo>
                    <a:pt x="609" y="141"/>
                  </a:lnTo>
                  <a:lnTo>
                    <a:pt x="610" y="141"/>
                  </a:lnTo>
                  <a:lnTo>
                    <a:pt x="611" y="141"/>
                  </a:lnTo>
                  <a:lnTo>
                    <a:pt x="612" y="141"/>
                  </a:lnTo>
                  <a:lnTo>
                    <a:pt x="614" y="140"/>
                  </a:lnTo>
                  <a:lnTo>
                    <a:pt x="615" y="141"/>
                  </a:lnTo>
                  <a:lnTo>
                    <a:pt x="615" y="142"/>
                  </a:lnTo>
                  <a:lnTo>
                    <a:pt x="616" y="144"/>
                  </a:lnTo>
                  <a:lnTo>
                    <a:pt x="616" y="146"/>
                  </a:lnTo>
                  <a:lnTo>
                    <a:pt x="616" y="147"/>
                  </a:lnTo>
                  <a:lnTo>
                    <a:pt x="617" y="148"/>
                  </a:lnTo>
                  <a:lnTo>
                    <a:pt x="619" y="148"/>
                  </a:lnTo>
                  <a:lnTo>
                    <a:pt x="620" y="148"/>
                  </a:lnTo>
                  <a:lnTo>
                    <a:pt x="621" y="148"/>
                  </a:lnTo>
                  <a:lnTo>
                    <a:pt x="621" y="146"/>
                  </a:lnTo>
                  <a:lnTo>
                    <a:pt x="622" y="146"/>
                  </a:lnTo>
                  <a:lnTo>
                    <a:pt x="623" y="144"/>
                  </a:lnTo>
                  <a:lnTo>
                    <a:pt x="625" y="144"/>
                  </a:lnTo>
                  <a:lnTo>
                    <a:pt x="626" y="144"/>
                  </a:lnTo>
                  <a:lnTo>
                    <a:pt x="627" y="146"/>
                  </a:lnTo>
                  <a:lnTo>
                    <a:pt x="627" y="148"/>
                  </a:lnTo>
                  <a:lnTo>
                    <a:pt x="627" y="149"/>
                  </a:lnTo>
                  <a:lnTo>
                    <a:pt x="628" y="149"/>
                  </a:lnTo>
                  <a:lnTo>
                    <a:pt x="629" y="149"/>
                  </a:lnTo>
                  <a:lnTo>
                    <a:pt x="631" y="149"/>
                  </a:lnTo>
                  <a:lnTo>
                    <a:pt x="631" y="148"/>
                  </a:lnTo>
                  <a:lnTo>
                    <a:pt x="632" y="148"/>
                  </a:lnTo>
                  <a:lnTo>
                    <a:pt x="632" y="149"/>
                  </a:lnTo>
                  <a:lnTo>
                    <a:pt x="633" y="149"/>
                  </a:lnTo>
                  <a:lnTo>
                    <a:pt x="633" y="152"/>
                  </a:lnTo>
                  <a:lnTo>
                    <a:pt x="635" y="153"/>
                  </a:lnTo>
                  <a:lnTo>
                    <a:pt x="637" y="153"/>
                  </a:lnTo>
                  <a:lnTo>
                    <a:pt x="638" y="153"/>
                  </a:lnTo>
                  <a:lnTo>
                    <a:pt x="639" y="153"/>
                  </a:lnTo>
                  <a:lnTo>
                    <a:pt x="640" y="153"/>
                  </a:lnTo>
                  <a:lnTo>
                    <a:pt x="640" y="154"/>
                  </a:lnTo>
                  <a:lnTo>
                    <a:pt x="641" y="153"/>
                  </a:lnTo>
                  <a:lnTo>
                    <a:pt x="644" y="153"/>
                  </a:lnTo>
                  <a:lnTo>
                    <a:pt x="645" y="153"/>
                  </a:lnTo>
                  <a:lnTo>
                    <a:pt x="645" y="154"/>
                  </a:lnTo>
                  <a:lnTo>
                    <a:pt x="646" y="155"/>
                  </a:lnTo>
                  <a:lnTo>
                    <a:pt x="649" y="155"/>
                  </a:lnTo>
                  <a:lnTo>
                    <a:pt x="649" y="154"/>
                  </a:lnTo>
                  <a:lnTo>
                    <a:pt x="651" y="154"/>
                  </a:lnTo>
                  <a:lnTo>
                    <a:pt x="651" y="155"/>
                  </a:lnTo>
                  <a:lnTo>
                    <a:pt x="651" y="156"/>
                  </a:lnTo>
                  <a:lnTo>
                    <a:pt x="652" y="156"/>
                  </a:lnTo>
                  <a:lnTo>
                    <a:pt x="652" y="158"/>
                  </a:lnTo>
                  <a:lnTo>
                    <a:pt x="652" y="159"/>
                  </a:lnTo>
                  <a:lnTo>
                    <a:pt x="652" y="165"/>
                  </a:lnTo>
                  <a:lnTo>
                    <a:pt x="652" y="169"/>
                  </a:lnTo>
                  <a:lnTo>
                    <a:pt x="653" y="170"/>
                  </a:lnTo>
                  <a:lnTo>
                    <a:pt x="656" y="170"/>
                  </a:lnTo>
                  <a:lnTo>
                    <a:pt x="656" y="169"/>
                  </a:lnTo>
                  <a:lnTo>
                    <a:pt x="657" y="169"/>
                  </a:lnTo>
                  <a:lnTo>
                    <a:pt x="657" y="167"/>
                  </a:lnTo>
                  <a:lnTo>
                    <a:pt x="657" y="166"/>
                  </a:lnTo>
                  <a:lnTo>
                    <a:pt x="656" y="166"/>
                  </a:lnTo>
                  <a:lnTo>
                    <a:pt x="657" y="165"/>
                  </a:lnTo>
                  <a:lnTo>
                    <a:pt x="657" y="164"/>
                  </a:lnTo>
                  <a:lnTo>
                    <a:pt x="658" y="164"/>
                  </a:lnTo>
                  <a:lnTo>
                    <a:pt x="658" y="161"/>
                  </a:lnTo>
                  <a:lnTo>
                    <a:pt x="659" y="160"/>
                  </a:lnTo>
                  <a:lnTo>
                    <a:pt x="661" y="159"/>
                  </a:lnTo>
                  <a:lnTo>
                    <a:pt x="663" y="159"/>
                  </a:lnTo>
                  <a:lnTo>
                    <a:pt x="663" y="160"/>
                  </a:lnTo>
                  <a:lnTo>
                    <a:pt x="663" y="161"/>
                  </a:lnTo>
                  <a:lnTo>
                    <a:pt x="664" y="162"/>
                  </a:lnTo>
                  <a:lnTo>
                    <a:pt x="665" y="164"/>
                  </a:lnTo>
                  <a:lnTo>
                    <a:pt x="667" y="165"/>
                  </a:lnTo>
                  <a:lnTo>
                    <a:pt x="668" y="164"/>
                  </a:lnTo>
                  <a:lnTo>
                    <a:pt x="669" y="162"/>
                  </a:lnTo>
                  <a:lnTo>
                    <a:pt x="670" y="160"/>
                  </a:lnTo>
                  <a:lnTo>
                    <a:pt x="669" y="159"/>
                  </a:lnTo>
                  <a:lnTo>
                    <a:pt x="669" y="158"/>
                  </a:lnTo>
                  <a:lnTo>
                    <a:pt x="670" y="156"/>
                  </a:lnTo>
                  <a:lnTo>
                    <a:pt x="673" y="156"/>
                  </a:lnTo>
                  <a:lnTo>
                    <a:pt x="673" y="158"/>
                  </a:lnTo>
                  <a:lnTo>
                    <a:pt x="674" y="158"/>
                  </a:lnTo>
                  <a:lnTo>
                    <a:pt x="675" y="158"/>
                  </a:lnTo>
                  <a:lnTo>
                    <a:pt x="676" y="158"/>
                  </a:lnTo>
                  <a:lnTo>
                    <a:pt x="678" y="158"/>
                  </a:lnTo>
                  <a:lnTo>
                    <a:pt x="678" y="156"/>
                  </a:lnTo>
                  <a:lnTo>
                    <a:pt x="679" y="155"/>
                  </a:lnTo>
                  <a:lnTo>
                    <a:pt x="679" y="154"/>
                  </a:lnTo>
                  <a:lnTo>
                    <a:pt x="680" y="154"/>
                  </a:lnTo>
                  <a:lnTo>
                    <a:pt x="681" y="155"/>
                  </a:lnTo>
                  <a:lnTo>
                    <a:pt x="682" y="155"/>
                  </a:lnTo>
                  <a:lnTo>
                    <a:pt x="684" y="155"/>
                  </a:lnTo>
                  <a:lnTo>
                    <a:pt x="684" y="158"/>
                  </a:lnTo>
                  <a:lnTo>
                    <a:pt x="682" y="158"/>
                  </a:lnTo>
                  <a:lnTo>
                    <a:pt x="682" y="160"/>
                  </a:lnTo>
                  <a:lnTo>
                    <a:pt x="682" y="161"/>
                  </a:lnTo>
                  <a:lnTo>
                    <a:pt x="681" y="161"/>
                  </a:lnTo>
                  <a:lnTo>
                    <a:pt x="681" y="162"/>
                  </a:lnTo>
                  <a:lnTo>
                    <a:pt x="681" y="165"/>
                  </a:lnTo>
                  <a:lnTo>
                    <a:pt x="681" y="166"/>
                  </a:lnTo>
                  <a:lnTo>
                    <a:pt x="681" y="167"/>
                  </a:lnTo>
                  <a:lnTo>
                    <a:pt x="680" y="169"/>
                  </a:lnTo>
                  <a:lnTo>
                    <a:pt x="679" y="170"/>
                  </a:lnTo>
                  <a:lnTo>
                    <a:pt x="678" y="170"/>
                  </a:lnTo>
                  <a:lnTo>
                    <a:pt x="678" y="171"/>
                  </a:lnTo>
                  <a:lnTo>
                    <a:pt x="676" y="171"/>
                  </a:lnTo>
                  <a:lnTo>
                    <a:pt x="675" y="172"/>
                  </a:lnTo>
                  <a:lnTo>
                    <a:pt x="675" y="176"/>
                  </a:lnTo>
                  <a:lnTo>
                    <a:pt x="675" y="177"/>
                  </a:lnTo>
                  <a:lnTo>
                    <a:pt x="676" y="178"/>
                  </a:lnTo>
                  <a:lnTo>
                    <a:pt x="676" y="179"/>
                  </a:lnTo>
                  <a:lnTo>
                    <a:pt x="676" y="181"/>
                  </a:lnTo>
                  <a:lnTo>
                    <a:pt x="678" y="181"/>
                  </a:lnTo>
                  <a:lnTo>
                    <a:pt x="679" y="181"/>
                  </a:lnTo>
                  <a:lnTo>
                    <a:pt x="680" y="179"/>
                  </a:lnTo>
                  <a:lnTo>
                    <a:pt x="680" y="178"/>
                  </a:lnTo>
                  <a:lnTo>
                    <a:pt x="680" y="177"/>
                  </a:lnTo>
                  <a:lnTo>
                    <a:pt x="681" y="176"/>
                  </a:lnTo>
                  <a:lnTo>
                    <a:pt x="681" y="175"/>
                  </a:lnTo>
                  <a:lnTo>
                    <a:pt x="682" y="173"/>
                  </a:lnTo>
                  <a:lnTo>
                    <a:pt x="685" y="173"/>
                  </a:lnTo>
                  <a:lnTo>
                    <a:pt x="685" y="175"/>
                  </a:lnTo>
                  <a:lnTo>
                    <a:pt x="686" y="175"/>
                  </a:lnTo>
                  <a:lnTo>
                    <a:pt x="686" y="176"/>
                  </a:lnTo>
                  <a:lnTo>
                    <a:pt x="686" y="177"/>
                  </a:lnTo>
                  <a:lnTo>
                    <a:pt x="686" y="178"/>
                  </a:lnTo>
                  <a:lnTo>
                    <a:pt x="686" y="179"/>
                  </a:lnTo>
                  <a:lnTo>
                    <a:pt x="686" y="181"/>
                  </a:lnTo>
                  <a:lnTo>
                    <a:pt x="686" y="183"/>
                  </a:lnTo>
                  <a:lnTo>
                    <a:pt x="685" y="184"/>
                  </a:lnTo>
                  <a:lnTo>
                    <a:pt x="684" y="185"/>
                  </a:lnTo>
                  <a:lnTo>
                    <a:pt x="684" y="188"/>
                  </a:lnTo>
                  <a:lnTo>
                    <a:pt x="682" y="188"/>
                  </a:lnTo>
                  <a:lnTo>
                    <a:pt x="682" y="190"/>
                  </a:lnTo>
                  <a:lnTo>
                    <a:pt x="682" y="191"/>
                  </a:lnTo>
                  <a:lnTo>
                    <a:pt x="681" y="191"/>
                  </a:lnTo>
                  <a:lnTo>
                    <a:pt x="679" y="193"/>
                  </a:lnTo>
                  <a:lnTo>
                    <a:pt x="678" y="191"/>
                  </a:lnTo>
                  <a:lnTo>
                    <a:pt x="676" y="191"/>
                  </a:lnTo>
                  <a:lnTo>
                    <a:pt x="675" y="193"/>
                  </a:lnTo>
                  <a:lnTo>
                    <a:pt x="676" y="194"/>
                  </a:lnTo>
                  <a:lnTo>
                    <a:pt x="678" y="194"/>
                  </a:lnTo>
                  <a:lnTo>
                    <a:pt x="678" y="195"/>
                  </a:lnTo>
                  <a:lnTo>
                    <a:pt x="678" y="196"/>
                  </a:lnTo>
                  <a:lnTo>
                    <a:pt x="679" y="196"/>
                  </a:lnTo>
                  <a:lnTo>
                    <a:pt x="681" y="196"/>
                  </a:lnTo>
                  <a:lnTo>
                    <a:pt x="681" y="195"/>
                  </a:lnTo>
                  <a:lnTo>
                    <a:pt x="684" y="195"/>
                  </a:lnTo>
                  <a:lnTo>
                    <a:pt x="684" y="196"/>
                  </a:lnTo>
                  <a:lnTo>
                    <a:pt x="686" y="196"/>
                  </a:lnTo>
                  <a:lnTo>
                    <a:pt x="688" y="196"/>
                  </a:lnTo>
                  <a:lnTo>
                    <a:pt x="688" y="199"/>
                  </a:lnTo>
                  <a:lnTo>
                    <a:pt x="687" y="200"/>
                  </a:lnTo>
                  <a:lnTo>
                    <a:pt x="688" y="201"/>
                  </a:lnTo>
                  <a:lnTo>
                    <a:pt x="690" y="201"/>
                  </a:lnTo>
                  <a:lnTo>
                    <a:pt x="691" y="199"/>
                  </a:lnTo>
                  <a:lnTo>
                    <a:pt x="692" y="199"/>
                  </a:lnTo>
                  <a:lnTo>
                    <a:pt x="693" y="197"/>
                  </a:lnTo>
                  <a:lnTo>
                    <a:pt x="694" y="199"/>
                  </a:lnTo>
                  <a:lnTo>
                    <a:pt x="696" y="199"/>
                  </a:lnTo>
                  <a:lnTo>
                    <a:pt x="697" y="199"/>
                  </a:lnTo>
                  <a:lnTo>
                    <a:pt x="698" y="197"/>
                  </a:lnTo>
                  <a:lnTo>
                    <a:pt x="699" y="197"/>
                  </a:lnTo>
                  <a:lnTo>
                    <a:pt x="700" y="199"/>
                  </a:lnTo>
                  <a:lnTo>
                    <a:pt x="700" y="200"/>
                  </a:lnTo>
                  <a:lnTo>
                    <a:pt x="700" y="201"/>
                  </a:lnTo>
                  <a:lnTo>
                    <a:pt x="698" y="203"/>
                  </a:lnTo>
                  <a:lnTo>
                    <a:pt x="699" y="203"/>
                  </a:lnTo>
                  <a:lnTo>
                    <a:pt x="700" y="202"/>
                  </a:lnTo>
                  <a:lnTo>
                    <a:pt x="702" y="203"/>
                  </a:lnTo>
                  <a:lnTo>
                    <a:pt x="702" y="207"/>
                  </a:lnTo>
                  <a:lnTo>
                    <a:pt x="703" y="207"/>
                  </a:lnTo>
                  <a:lnTo>
                    <a:pt x="704" y="207"/>
                  </a:lnTo>
                  <a:lnTo>
                    <a:pt x="704" y="206"/>
                  </a:lnTo>
                  <a:lnTo>
                    <a:pt x="706" y="207"/>
                  </a:lnTo>
                  <a:lnTo>
                    <a:pt x="710" y="206"/>
                  </a:lnTo>
                  <a:lnTo>
                    <a:pt x="711" y="206"/>
                  </a:lnTo>
                  <a:lnTo>
                    <a:pt x="711" y="207"/>
                  </a:lnTo>
                  <a:lnTo>
                    <a:pt x="711" y="208"/>
                  </a:lnTo>
                  <a:lnTo>
                    <a:pt x="710" y="208"/>
                  </a:lnTo>
                  <a:lnTo>
                    <a:pt x="710" y="209"/>
                  </a:lnTo>
                  <a:lnTo>
                    <a:pt x="710" y="211"/>
                  </a:lnTo>
                  <a:lnTo>
                    <a:pt x="709" y="211"/>
                  </a:lnTo>
                  <a:lnTo>
                    <a:pt x="709" y="212"/>
                  </a:lnTo>
                  <a:lnTo>
                    <a:pt x="709" y="215"/>
                  </a:lnTo>
                  <a:lnTo>
                    <a:pt x="710" y="217"/>
                  </a:lnTo>
                  <a:lnTo>
                    <a:pt x="711" y="217"/>
                  </a:lnTo>
                  <a:lnTo>
                    <a:pt x="711" y="215"/>
                  </a:lnTo>
                  <a:lnTo>
                    <a:pt x="712" y="215"/>
                  </a:lnTo>
                  <a:lnTo>
                    <a:pt x="714" y="214"/>
                  </a:lnTo>
                  <a:lnTo>
                    <a:pt x="715" y="213"/>
                  </a:lnTo>
                  <a:lnTo>
                    <a:pt x="718" y="212"/>
                  </a:lnTo>
                  <a:lnTo>
                    <a:pt x="720" y="212"/>
                  </a:lnTo>
                  <a:lnTo>
                    <a:pt x="721" y="212"/>
                  </a:lnTo>
                  <a:lnTo>
                    <a:pt x="722" y="212"/>
                  </a:lnTo>
                  <a:lnTo>
                    <a:pt x="723" y="212"/>
                  </a:lnTo>
                  <a:lnTo>
                    <a:pt x="724" y="212"/>
                  </a:lnTo>
                  <a:lnTo>
                    <a:pt x="726" y="212"/>
                  </a:lnTo>
                  <a:lnTo>
                    <a:pt x="726" y="213"/>
                  </a:lnTo>
                  <a:lnTo>
                    <a:pt x="726" y="214"/>
                  </a:lnTo>
                  <a:lnTo>
                    <a:pt x="726" y="215"/>
                  </a:lnTo>
                  <a:lnTo>
                    <a:pt x="724" y="215"/>
                  </a:lnTo>
                  <a:lnTo>
                    <a:pt x="726" y="215"/>
                  </a:lnTo>
                  <a:lnTo>
                    <a:pt x="726" y="217"/>
                  </a:lnTo>
                  <a:lnTo>
                    <a:pt x="727" y="215"/>
                  </a:lnTo>
                  <a:lnTo>
                    <a:pt x="728" y="215"/>
                  </a:lnTo>
                  <a:lnTo>
                    <a:pt x="729" y="214"/>
                  </a:lnTo>
                  <a:lnTo>
                    <a:pt x="729" y="215"/>
                  </a:lnTo>
                  <a:lnTo>
                    <a:pt x="730" y="215"/>
                  </a:lnTo>
                  <a:lnTo>
                    <a:pt x="732" y="215"/>
                  </a:lnTo>
                  <a:lnTo>
                    <a:pt x="732" y="217"/>
                  </a:lnTo>
                  <a:lnTo>
                    <a:pt x="734" y="217"/>
                  </a:lnTo>
                  <a:lnTo>
                    <a:pt x="735" y="217"/>
                  </a:lnTo>
                  <a:lnTo>
                    <a:pt x="736" y="217"/>
                  </a:lnTo>
                  <a:lnTo>
                    <a:pt x="738" y="217"/>
                  </a:lnTo>
                  <a:lnTo>
                    <a:pt x="738" y="215"/>
                  </a:lnTo>
                  <a:lnTo>
                    <a:pt x="739" y="214"/>
                  </a:lnTo>
                  <a:lnTo>
                    <a:pt x="740" y="215"/>
                  </a:lnTo>
                  <a:lnTo>
                    <a:pt x="740" y="217"/>
                  </a:lnTo>
                  <a:lnTo>
                    <a:pt x="741" y="217"/>
                  </a:lnTo>
                  <a:lnTo>
                    <a:pt x="740" y="218"/>
                  </a:lnTo>
                  <a:lnTo>
                    <a:pt x="740" y="219"/>
                  </a:lnTo>
                  <a:lnTo>
                    <a:pt x="739" y="219"/>
                  </a:lnTo>
                  <a:lnTo>
                    <a:pt x="739" y="220"/>
                  </a:lnTo>
                  <a:lnTo>
                    <a:pt x="739" y="221"/>
                  </a:lnTo>
                  <a:lnTo>
                    <a:pt x="739" y="223"/>
                  </a:lnTo>
                  <a:lnTo>
                    <a:pt x="739" y="225"/>
                  </a:lnTo>
                  <a:lnTo>
                    <a:pt x="738" y="225"/>
                  </a:lnTo>
                  <a:lnTo>
                    <a:pt x="736" y="225"/>
                  </a:lnTo>
                  <a:lnTo>
                    <a:pt x="735" y="225"/>
                  </a:lnTo>
                  <a:lnTo>
                    <a:pt x="734" y="226"/>
                  </a:lnTo>
                  <a:lnTo>
                    <a:pt x="733" y="229"/>
                  </a:lnTo>
                  <a:lnTo>
                    <a:pt x="733" y="230"/>
                  </a:lnTo>
                  <a:lnTo>
                    <a:pt x="734" y="231"/>
                  </a:lnTo>
                  <a:lnTo>
                    <a:pt x="735" y="230"/>
                  </a:lnTo>
                  <a:lnTo>
                    <a:pt x="736" y="230"/>
                  </a:lnTo>
                  <a:lnTo>
                    <a:pt x="736" y="229"/>
                  </a:lnTo>
                  <a:lnTo>
                    <a:pt x="741" y="230"/>
                  </a:lnTo>
                  <a:lnTo>
                    <a:pt x="741" y="229"/>
                  </a:lnTo>
                  <a:lnTo>
                    <a:pt x="743" y="229"/>
                  </a:lnTo>
                  <a:lnTo>
                    <a:pt x="743" y="225"/>
                  </a:lnTo>
                  <a:lnTo>
                    <a:pt x="744" y="225"/>
                  </a:lnTo>
                  <a:lnTo>
                    <a:pt x="745" y="224"/>
                  </a:lnTo>
                  <a:lnTo>
                    <a:pt x="745" y="223"/>
                  </a:lnTo>
                  <a:lnTo>
                    <a:pt x="746" y="223"/>
                  </a:lnTo>
                  <a:lnTo>
                    <a:pt x="746" y="224"/>
                  </a:lnTo>
                  <a:lnTo>
                    <a:pt x="747" y="224"/>
                  </a:lnTo>
                  <a:lnTo>
                    <a:pt x="747" y="223"/>
                  </a:lnTo>
                  <a:lnTo>
                    <a:pt x="749" y="223"/>
                  </a:lnTo>
                  <a:lnTo>
                    <a:pt x="750" y="223"/>
                  </a:lnTo>
                  <a:lnTo>
                    <a:pt x="750" y="220"/>
                  </a:lnTo>
                  <a:lnTo>
                    <a:pt x="751" y="220"/>
                  </a:lnTo>
                  <a:lnTo>
                    <a:pt x="752" y="220"/>
                  </a:lnTo>
                  <a:lnTo>
                    <a:pt x="753" y="220"/>
                  </a:lnTo>
                  <a:lnTo>
                    <a:pt x="753" y="221"/>
                  </a:lnTo>
                  <a:lnTo>
                    <a:pt x="752" y="223"/>
                  </a:lnTo>
                  <a:lnTo>
                    <a:pt x="752" y="227"/>
                  </a:lnTo>
                  <a:lnTo>
                    <a:pt x="753" y="227"/>
                  </a:lnTo>
                  <a:lnTo>
                    <a:pt x="755" y="227"/>
                  </a:lnTo>
                  <a:lnTo>
                    <a:pt x="756" y="227"/>
                  </a:lnTo>
                  <a:lnTo>
                    <a:pt x="757" y="227"/>
                  </a:lnTo>
                  <a:lnTo>
                    <a:pt x="758" y="225"/>
                  </a:lnTo>
                  <a:lnTo>
                    <a:pt x="759" y="225"/>
                  </a:lnTo>
                  <a:lnTo>
                    <a:pt x="759" y="226"/>
                  </a:lnTo>
                  <a:lnTo>
                    <a:pt x="761" y="229"/>
                  </a:lnTo>
                  <a:lnTo>
                    <a:pt x="759" y="230"/>
                  </a:lnTo>
                  <a:lnTo>
                    <a:pt x="758" y="230"/>
                  </a:lnTo>
                  <a:lnTo>
                    <a:pt x="758" y="231"/>
                  </a:lnTo>
                  <a:lnTo>
                    <a:pt x="757" y="231"/>
                  </a:lnTo>
                  <a:lnTo>
                    <a:pt x="757" y="232"/>
                  </a:lnTo>
                  <a:lnTo>
                    <a:pt x="757" y="233"/>
                  </a:lnTo>
                  <a:lnTo>
                    <a:pt x="756" y="236"/>
                  </a:lnTo>
                  <a:lnTo>
                    <a:pt x="753" y="236"/>
                  </a:lnTo>
                  <a:lnTo>
                    <a:pt x="751" y="236"/>
                  </a:lnTo>
                  <a:lnTo>
                    <a:pt x="753" y="237"/>
                  </a:lnTo>
                  <a:lnTo>
                    <a:pt x="752" y="237"/>
                  </a:lnTo>
                  <a:lnTo>
                    <a:pt x="750" y="236"/>
                  </a:lnTo>
                  <a:lnTo>
                    <a:pt x="749" y="237"/>
                  </a:lnTo>
                  <a:lnTo>
                    <a:pt x="750" y="237"/>
                  </a:lnTo>
                  <a:lnTo>
                    <a:pt x="751" y="238"/>
                  </a:lnTo>
                  <a:lnTo>
                    <a:pt x="751" y="239"/>
                  </a:lnTo>
                  <a:lnTo>
                    <a:pt x="749" y="239"/>
                  </a:lnTo>
                  <a:lnTo>
                    <a:pt x="747" y="241"/>
                  </a:lnTo>
                  <a:lnTo>
                    <a:pt x="746" y="241"/>
                  </a:lnTo>
                  <a:lnTo>
                    <a:pt x="745" y="241"/>
                  </a:lnTo>
                  <a:lnTo>
                    <a:pt x="745" y="242"/>
                  </a:lnTo>
                  <a:lnTo>
                    <a:pt x="744" y="242"/>
                  </a:lnTo>
                  <a:lnTo>
                    <a:pt x="743" y="242"/>
                  </a:lnTo>
                  <a:lnTo>
                    <a:pt x="741" y="243"/>
                  </a:lnTo>
                  <a:lnTo>
                    <a:pt x="740" y="242"/>
                  </a:lnTo>
                  <a:lnTo>
                    <a:pt x="739" y="242"/>
                  </a:lnTo>
                  <a:lnTo>
                    <a:pt x="738" y="241"/>
                  </a:lnTo>
                  <a:lnTo>
                    <a:pt x="735" y="242"/>
                  </a:lnTo>
                  <a:lnTo>
                    <a:pt x="736" y="243"/>
                  </a:lnTo>
                  <a:lnTo>
                    <a:pt x="736" y="245"/>
                  </a:lnTo>
                  <a:lnTo>
                    <a:pt x="735" y="245"/>
                  </a:lnTo>
                  <a:lnTo>
                    <a:pt x="735" y="247"/>
                  </a:lnTo>
                  <a:lnTo>
                    <a:pt x="734" y="247"/>
                  </a:lnTo>
                  <a:lnTo>
                    <a:pt x="733" y="248"/>
                  </a:lnTo>
                  <a:lnTo>
                    <a:pt x="730" y="249"/>
                  </a:lnTo>
                  <a:lnTo>
                    <a:pt x="729" y="249"/>
                  </a:lnTo>
                  <a:lnTo>
                    <a:pt x="729" y="250"/>
                  </a:lnTo>
                  <a:lnTo>
                    <a:pt x="728" y="251"/>
                  </a:lnTo>
                  <a:lnTo>
                    <a:pt x="727" y="253"/>
                  </a:lnTo>
                  <a:lnTo>
                    <a:pt x="726" y="253"/>
                  </a:lnTo>
                  <a:lnTo>
                    <a:pt x="726" y="254"/>
                  </a:lnTo>
                  <a:lnTo>
                    <a:pt x="724" y="255"/>
                  </a:lnTo>
                  <a:lnTo>
                    <a:pt x="723" y="255"/>
                  </a:lnTo>
                  <a:lnTo>
                    <a:pt x="723" y="256"/>
                  </a:lnTo>
                  <a:lnTo>
                    <a:pt x="722" y="256"/>
                  </a:lnTo>
                  <a:lnTo>
                    <a:pt x="721" y="257"/>
                  </a:lnTo>
                  <a:lnTo>
                    <a:pt x="720" y="257"/>
                  </a:lnTo>
                  <a:lnTo>
                    <a:pt x="721" y="257"/>
                  </a:lnTo>
                  <a:lnTo>
                    <a:pt x="726" y="257"/>
                  </a:lnTo>
                  <a:lnTo>
                    <a:pt x="727" y="256"/>
                  </a:lnTo>
                  <a:lnTo>
                    <a:pt x="728" y="256"/>
                  </a:lnTo>
                  <a:lnTo>
                    <a:pt x="729" y="257"/>
                  </a:lnTo>
                  <a:lnTo>
                    <a:pt x="730" y="259"/>
                  </a:lnTo>
                  <a:lnTo>
                    <a:pt x="732" y="259"/>
                  </a:lnTo>
                  <a:lnTo>
                    <a:pt x="733" y="260"/>
                  </a:lnTo>
                  <a:lnTo>
                    <a:pt x="734" y="261"/>
                  </a:lnTo>
                  <a:lnTo>
                    <a:pt x="735" y="262"/>
                  </a:lnTo>
                  <a:lnTo>
                    <a:pt x="735" y="261"/>
                  </a:lnTo>
                  <a:lnTo>
                    <a:pt x="736" y="261"/>
                  </a:lnTo>
                  <a:lnTo>
                    <a:pt x="738" y="261"/>
                  </a:lnTo>
                  <a:lnTo>
                    <a:pt x="739" y="260"/>
                  </a:lnTo>
                  <a:lnTo>
                    <a:pt x="739" y="261"/>
                  </a:lnTo>
                  <a:lnTo>
                    <a:pt x="740" y="261"/>
                  </a:lnTo>
                  <a:lnTo>
                    <a:pt x="740" y="262"/>
                  </a:lnTo>
                  <a:lnTo>
                    <a:pt x="739" y="263"/>
                  </a:lnTo>
                  <a:lnTo>
                    <a:pt x="740" y="265"/>
                  </a:lnTo>
                  <a:lnTo>
                    <a:pt x="740" y="262"/>
                  </a:lnTo>
                  <a:lnTo>
                    <a:pt x="743" y="262"/>
                  </a:lnTo>
                  <a:lnTo>
                    <a:pt x="744" y="261"/>
                  </a:lnTo>
                  <a:lnTo>
                    <a:pt x="745" y="260"/>
                  </a:lnTo>
                  <a:lnTo>
                    <a:pt x="745" y="259"/>
                  </a:lnTo>
                  <a:lnTo>
                    <a:pt x="749" y="259"/>
                  </a:lnTo>
                  <a:lnTo>
                    <a:pt x="749" y="257"/>
                  </a:lnTo>
                  <a:lnTo>
                    <a:pt x="751" y="257"/>
                  </a:lnTo>
                  <a:lnTo>
                    <a:pt x="752" y="259"/>
                  </a:lnTo>
                  <a:lnTo>
                    <a:pt x="751" y="261"/>
                  </a:lnTo>
                  <a:lnTo>
                    <a:pt x="751" y="263"/>
                  </a:lnTo>
                  <a:lnTo>
                    <a:pt x="752" y="265"/>
                  </a:lnTo>
                  <a:lnTo>
                    <a:pt x="753" y="265"/>
                  </a:lnTo>
                  <a:lnTo>
                    <a:pt x="755" y="265"/>
                  </a:lnTo>
                  <a:lnTo>
                    <a:pt x="756" y="265"/>
                  </a:lnTo>
                  <a:lnTo>
                    <a:pt x="758" y="265"/>
                  </a:lnTo>
                  <a:lnTo>
                    <a:pt x="759" y="265"/>
                  </a:lnTo>
                  <a:lnTo>
                    <a:pt x="761" y="265"/>
                  </a:lnTo>
                  <a:lnTo>
                    <a:pt x="761" y="263"/>
                  </a:lnTo>
                  <a:lnTo>
                    <a:pt x="762" y="263"/>
                  </a:lnTo>
                  <a:lnTo>
                    <a:pt x="763" y="263"/>
                  </a:lnTo>
                  <a:lnTo>
                    <a:pt x="764" y="263"/>
                  </a:lnTo>
                  <a:lnTo>
                    <a:pt x="765" y="265"/>
                  </a:lnTo>
                  <a:lnTo>
                    <a:pt x="767" y="265"/>
                  </a:lnTo>
                  <a:lnTo>
                    <a:pt x="768" y="265"/>
                  </a:lnTo>
                  <a:lnTo>
                    <a:pt x="768" y="266"/>
                  </a:lnTo>
                  <a:lnTo>
                    <a:pt x="769" y="266"/>
                  </a:lnTo>
                  <a:lnTo>
                    <a:pt x="769" y="265"/>
                  </a:lnTo>
                  <a:lnTo>
                    <a:pt x="770" y="263"/>
                  </a:lnTo>
                  <a:lnTo>
                    <a:pt x="773" y="262"/>
                  </a:lnTo>
                  <a:lnTo>
                    <a:pt x="771" y="263"/>
                  </a:lnTo>
                  <a:lnTo>
                    <a:pt x="771" y="265"/>
                  </a:lnTo>
                  <a:lnTo>
                    <a:pt x="773" y="265"/>
                  </a:lnTo>
                  <a:lnTo>
                    <a:pt x="773" y="266"/>
                  </a:lnTo>
                  <a:lnTo>
                    <a:pt x="774" y="266"/>
                  </a:lnTo>
                  <a:lnTo>
                    <a:pt x="775" y="267"/>
                  </a:lnTo>
                  <a:lnTo>
                    <a:pt x="775" y="266"/>
                  </a:lnTo>
                  <a:lnTo>
                    <a:pt x="776" y="265"/>
                  </a:lnTo>
                  <a:lnTo>
                    <a:pt x="776" y="263"/>
                  </a:lnTo>
                  <a:lnTo>
                    <a:pt x="776" y="262"/>
                  </a:lnTo>
                  <a:lnTo>
                    <a:pt x="777" y="262"/>
                  </a:lnTo>
                  <a:lnTo>
                    <a:pt x="779" y="262"/>
                  </a:lnTo>
                  <a:lnTo>
                    <a:pt x="779" y="265"/>
                  </a:lnTo>
                  <a:lnTo>
                    <a:pt x="780" y="265"/>
                  </a:lnTo>
                  <a:lnTo>
                    <a:pt x="780" y="263"/>
                  </a:lnTo>
                  <a:lnTo>
                    <a:pt x="781" y="263"/>
                  </a:lnTo>
                  <a:lnTo>
                    <a:pt x="780" y="265"/>
                  </a:lnTo>
                  <a:lnTo>
                    <a:pt x="779" y="266"/>
                  </a:lnTo>
                  <a:lnTo>
                    <a:pt x="779" y="267"/>
                  </a:lnTo>
                  <a:lnTo>
                    <a:pt x="777" y="268"/>
                  </a:lnTo>
                  <a:lnTo>
                    <a:pt x="777" y="269"/>
                  </a:lnTo>
                  <a:lnTo>
                    <a:pt x="779" y="271"/>
                  </a:lnTo>
                  <a:lnTo>
                    <a:pt x="780" y="272"/>
                  </a:lnTo>
                  <a:lnTo>
                    <a:pt x="780" y="273"/>
                  </a:lnTo>
                  <a:lnTo>
                    <a:pt x="781" y="273"/>
                  </a:lnTo>
                  <a:lnTo>
                    <a:pt x="781" y="274"/>
                  </a:lnTo>
                  <a:lnTo>
                    <a:pt x="782" y="275"/>
                  </a:lnTo>
                  <a:lnTo>
                    <a:pt x="785" y="275"/>
                  </a:lnTo>
                  <a:lnTo>
                    <a:pt x="783" y="277"/>
                  </a:lnTo>
                  <a:lnTo>
                    <a:pt x="783" y="278"/>
                  </a:lnTo>
                  <a:lnTo>
                    <a:pt x="777" y="279"/>
                  </a:lnTo>
                  <a:lnTo>
                    <a:pt x="777" y="283"/>
                  </a:lnTo>
                  <a:lnTo>
                    <a:pt x="776" y="283"/>
                  </a:lnTo>
                  <a:lnTo>
                    <a:pt x="775" y="284"/>
                  </a:lnTo>
                  <a:lnTo>
                    <a:pt x="775" y="286"/>
                  </a:lnTo>
                  <a:lnTo>
                    <a:pt x="777" y="286"/>
                  </a:lnTo>
                  <a:lnTo>
                    <a:pt x="777" y="288"/>
                  </a:lnTo>
                  <a:lnTo>
                    <a:pt x="777" y="289"/>
                  </a:lnTo>
                  <a:lnTo>
                    <a:pt x="776" y="290"/>
                  </a:lnTo>
                  <a:lnTo>
                    <a:pt x="776" y="291"/>
                  </a:lnTo>
                  <a:lnTo>
                    <a:pt x="779" y="291"/>
                  </a:lnTo>
                  <a:lnTo>
                    <a:pt x="781" y="290"/>
                  </a:lnTo>
                  <a:lnTo>
                    <a:pt x="785" y="290"/>
                  </a:lnTo>
                  <a:lnTo>
                    <a:pt x="787" y="289"/>
                  </a:lnTo>
                  <a:lnTo>
                    <a:pt x="787" y="288"/>
                  </a:lnTo>
                  <a:lnTo>
                    <a:pt x="787" y="286"/>
                  </a:lnTo>
                  <a:lnTo>
                    <a:pt x="788" y="286"/>
                  </a:lnTo>
                  <a:lnTo>
                    <a:pt x="788" y="284"/>
                  </a:lnTo>
                  <a:lnTo>
                    <a:pt x="789" y="283"/>
                  </a:lnTo>
                  <a:lnTo>
                    <a:pt x="791" y="282"/>
                  </a:lnTo>
                  <a:lnTo>
                    <a:pt x="793" y="282"/>
                  </a:lnTo>
                  <a:lnTo>
                    <a:pt x="794" y="282"/>
                  </a:lnTo>
                  <a:lnTo>
                    <a:pt x="794" y="280"/>
                  </a:lnTo>
                  <a:lnTo>
                    <a:pt x="795" y="280"/>
                  </a:lnTo>
                  <a:lnTo>
                    <a:pt x="797" y="280"/>
                  </a:lnTo>
                  <a:lnTo>
                    <a:pt x="799" y="279"/>
                  </a:lnTo>
                  <a:lnTo>
                    <a:pt x="802" y="279"/>
                  </a:lnTo>
                  <a:lnTo>
                    <a:pt x="802" y="280"/>
                  </a:lnTo>
                  <a:lnTo>
                    <a:pt x="803" y="282"/>
                  </a:lnTo>
                  <a:lnTo>
                    <a:pt x="802" y="283"/>
                  </a:lnTo>
                  <a:lnTo>
                    <a:pt x="802" y="284"/>
                  </a:lnTo>
                  <a:lnTo>
                    <a:pt x="802" y="286"/>
                  </a:lnTo>
                  <a:lnTo>
                    <a:pt x="800" y="289"/>
                  </a:lnTo>
                  <a:lnTo>
                    <a:pt x="798" y="290"/>
                  </a:lnTo>
                  <a:lnTo>
                    <a:pt x="795" y="291"/>
                  </a:lnTo>
                  <a:lnTo>
                    <a:pt x="793" y="292"/>
                  </a:lnTo>
                  <a:lnTo>
                    <a:pt x="792" y="292"/>
                  </a:lnTo>
                  <a:lnTo>
                    <a:pt x="791" y="292"/>
                  </a:lnTo>
                  <a:lnTo>
                    <a:pt x="789" y="295"/>
                  </a:lnTo>
                  <a:lnTo>
                    <a:pt x="791" y="297"/>
                  </a:lnTo>
                  <a:lnTo>
                    <a:pt x="789" y="297"/>
                  </a:lnTo>
                  <a:lnTo>
                    <a:pt x="788" y="298"/>
                  </a:lnTo>
                  <a:lnTo>
                    <a:pt x="786" y="300"/>
                  </a:lnTo>
                  <a:lnTo>
                    <a:pt x="783" y="302"/>
                  </a:lnTo>
                  <a:lnTo>
                    <a:pt x="782" y="304"/>
                  </a:lnTo>
                  <a:lnTo>
                    <a:pt x="781" y="306"/>
                  </a:lnTo>
                  <a:lnTo>
                    <a:pt x="780" y="306"/>
                  </a:lnTo>
                  <a:lnTo>
                    <a:pt x="780" y="308"/>
                  </a:lnTo>
                  <a:lnTo>
                    <a:pt x="779" y="308"/>
                  </a:lnTo>
                  <a:lnTo>
                    <a:pt x="776" y="308"/>
                  </a:lnTo>
                  <a:lnTo>
                    <a:pt x="775" y="307"/>
                  </a:lnTo>
                  <a:lnTo>
                    <a:pt x="774" y="307"/>
                  </a:lnTo>
                  <a:lnTo>
                    <a:pt x="773" y="306"/>
                  </a:lnTo>
                  <a:lnTo>
                    <a:pt x="770" y="307"/>
                  </a:lnTo>
                  <a:lnTo>
                    <a:pt x="768" y="308"/>
                  </a:lnTo>
                  <a:lnTo>
                    <a:pt x="767" y="309"/>
                  </a:lnTo>
                  <a:lnTo>
                    <a:pt x="764" y="309"/>
                  </a:lnTo>
                  <a:lnTo>
                    <a:pt x="767" y="310"/>
                  </a:lnTo>
                  <a:lnTo>
                    <a:pt x="770" y="312"/>
                  </a:lnTo>
                  <a:lnTo>
                    <a:pt x="770" y="315"/>
                  </a:lnTo>
                  <a:lnTo>
                    <a:pt x="770" y="316"/>
                  </a:lnTo>
                  <a:lnTo>
                    <a:pt x="771" y="315"/>
                  </a:lnTo>
                  <a:lnTo>
                    <a:pt x="773" y="315"/>
                  </a:lnTo>
                  <a:lnTo>
                    <a:pt x="774" y="318"/>
                  </a:lnTo>
                  <a:lnTo>
                    <a:pt x="774" y="319"/>
                  </a:lnTo>
                  <a:lnTo>
                    <a:pt x="775" y="321"/>
                  </a:lnTo>
                  <a:lnTo>
                    <a:pt x="776" y="321"/>
                  </a:lnTo>
                  <a:lnTo>
                    <a:pt x="780" y="320"/>
                  </a:lnTo>
                  <a:lnTo>
                    <a:pt x="782" y="320"/>
                  </a:lnTo>
                  <a:lnTo>
                    <a:pt x="786" y="320"/>
                  </a:lnTo>
                  <a:lnTo>
                    <a:pt x="788" y="320"/>
                  </a:lnTo>
                  <a:lnTo>
                    <a:pt x="788" y="321"/>
                  </a:lnTo>
                  <a:lnTo>
                    <a:pt x="788" y="324"/>
                  </a:lnTo>
                  <a:lnTo>
                    <a:pt x="786" y="325"/>
                  </a:lnTo>
                  <a:lnTo>
                    <a:pt x="786" y="327"/>
                  </a:lnTo>
                  <a:lnTo>
                    <a:pt x="787" y="326"/>
                  </a:lnTo>
                  <a:lnTo>
                    <a:pt x="788" y="326"/>
                  </a:lnTo>
                  <a:lnTo>
                    <a:pt x="788" y="327"/>
                  </a:lnTo>
                  <a:lnTo>
                    <a:pt x="789" y="327"/>
                  </a:lnTo>
                  <a:lnTo>
                    <a:pt x="789" y="328"/>
                  </a:lnTo>
                  <a:lnTo>
                    <a:pt x="787" y="332"/>
                  </a:lnTo>
                  <a:lnTo>
                    <a:pt x="785" y="334"/>
                  </a:lnTo>
                  <a:lnTo>
                    <a:pt x="783" y="336"/>
                  </a:lnTo>
                  <a:lnTo>
                    <a:pt x="782" y="337"/>
                  </a:lnTo>
                  <a:lnTo>
                    <a:pt x="786" y="339"/>
                  </a:lnTo>
                  <a:lnTo>
                    <a:pt x="786" y="340"/>
                  </a:lnTo>
                  <a:lnTo>
                    <a:pt x="786" y="342"/>
                  </a:lnTo>
                  <a:lnTo>
                    <a:pt x="785" y="342"/>
                  </a:lnTo>
                  <a:lnTo>
                    <a:pt x="785" y="343"/>
                  </a:lnTo>
                  <a:lnTo>
                    <a:pt x="786" y="344"/>
                  </a:lnTo>
                  <a:lnTo>
                    <a:pt x="786" y="345"/>
                  </a:lnTo>
                  <a:lnTo>
                    <a:pt x="787" y="348"/>
                  </a:lnTo>
                  <a:lnTo>
                    <a:pt x="786" y="348"/>
                  </a:lnTo>
                  <a:lnTo>
                    <a:pt x="785" y="349"/>
                  </a:lnTo>
                  <a:lnTo>
                    <a:pt x="785" y="350"/>
                  </a:lnTo>
                  <a:lnTo>
                    <a:pt x="787" y="349"/>
                  </a:lnTo>
                  <a:lnTo>
                    <a:pt x="788" y="349"/>
                  </a:lnTo>
                  <a:lnTo>
                    <a:pt x="789" y="349"/>
                  </a:lnTo>
                  <a:lnTo>
                    <a:pt x="789" y="351"/>
                  </a:lnTo>
                  <a:lnTo>
                    <a:pt x="791" y="355"/>
                  </a:lnTo>
                  <a:lnTo>
                    <a:pt x="795" y="355"/>
                  </a:lnTo>
                  <a:lnTo>
                    <a:pt x="797" y="355"/>
                  </a:lnTo>
                  <a:lnTo>
                    <a:pt x="798" y="354"/>
                  </a:lnTo>
                  <a:lnTo>
                    <a:pt x="800" y="354"/>
                  </a:lnTo>
                  <a:lnTo>
                    <a:pt x="803" y="354"/>
                  </a:lnTo>
                  <a:lnTo>
                    <a:pt x="805" y="352"/>
                  </a:lnTo>
                  <a:lnTo>
                    <a:pt x="805" y="355"/>
                  </a:lnTo>
                  <a:lnTo>
                    <a:pt x="808" y="355"/>
                  </a:lnTo>
                  <a:lnTo>
                    <a:pt x="811" y="356"/>
                  </a:lnTo>
                  <a:lnTo>
                    <a:pt x="812" y="357"/>
                  </a:lnTo>
                  <a:lnTo>
                    <a:pt x="816" y="357"/>
                  </a:lnTo>
                  <a:lnTo>
                    <a:pt x="818" y="357"/>
                  </a:lnTo>
                  <a:lnTo>
                    <a:pt x="820" y="358"/>
                  </a:lnTo>
                  <a:lnTo>
                    <a:pt x="823" y="357"/>
                  </a:lnTo>
                  <a:lnTo>
                    <a:pt x="826" y="356"/>
                  </a:lnTo>
                  <a:lnTo>
                    <a:pt x="826" y="358"/>
                  </a:lnTo>
                  <a:lnTo>
                    <a:pt x="823" y="361"/>
                  </a:lnTo>
                  <a:lnTo>
                    <a:pt x="822" y="364"/>
                  </a:lnTo>
                  <a:lnTo>
                    <a:pt x="821" y="368"/>
                  </a:lnTo>
                  <a:lnTo>
                    <a:pt x="824" y="368"/>
                  </a:lnTo>
                  <a:lnTo>
                    <a:pt x="828" y="368"/>
                  </a:lnTo>
                  <a:lnTo>
                    <a:pt x="828" y="367"/>
                  </a:lnTo>
                  <a:lnTo>
                    <a:pt x="833" y="368"/>
                  </a:lnTo>
                  <a:lnTo>
                    <a:pt x="833" y="370"/>
                  </a:lnTo>
                  <a:lnTo>
                    <a:pt x="834" y="369"/>
                  </a:lnTo>
                  <a:lnTo>
                    <a:pt x="836" y="369"/>
                  </a:lnTo>
                  <a:lnTo>
                    <a:pt x="838" y="369"/>
                  </a:lnTo>
                  <a:lnTo>
                    <a:pt x="839" y="369"/>
                  </a:lnTo>
                  <a:lnTo>
                    <a:pt x="840" y="368"/>
                  </a:lnTo>
                  <a:lnTo>
                    <a:pt x="842" y="368"/>
                  </a:lnTo>
                  <a:lnTo>
                    <a:pt x="844" y="368"/>
                  </a:lnTo>
                  <a:lnTo>
                    <a:pt x="845" y="369"/>
                  </a:lnTo>
                  <a:lnTo>
                    <a:pt x="845" y="372"/>
                  </a:lnTo>
                  <a:lnTo>
                    <a:pt x="844" y="373"/>
                  </a:lnTo>
                  <a:lnTo>
                    <a:pt x="842" y="374"/>
                  </a:lnTo>
                  <a:lnTo>
                    <a:pt x="841" y="374"/>
                  </a:lnTo>
                  <a:lnTo>
                    <a:pt x="840" y="375"/>
                  </a:lnTo>
                  <a:lnTo>
                    <a:pt x="840" y="376"/>
                  </a:lnTo>
                  <a:lnTo>
                    <a:pt x="839" y="378"/>
                  </a:lnTo>
                  <a:lnTo>
                    <a:pt x="836" y="379"/>
                  </a:lnTo>
                  <a:lnTo>
                    <a:pt x="836" y="380"/>
                  </a:lnTo>
                  <a:lnTo>
                    <a:pt x="835" y="380"/>
                  </a:lnTo>
                  <a:lnTo>
                    <a:pt x="834" y="380"/>
                  </a:lnTo>
                  <a:lnTo>
                    <a:pt x="833" y="381"/>
                  </a:lnTo>
                  <a:lnTo>
                    <a:pt x="832" y="381"/>
                  </a:lnTo>
                  <a:lnTo>
                    <a:pt x="829" y="384"/>
                  </a:lnTo>
                  <a:lnTo>
                    <a:pt x="827" y="386"/>
                  </a:lnTo>
                  <a:lnTo>
                    <a:pt x="823" y="389"/>
                  </a:lnTo>
                  <a:lnTo>
                    <a:pt x="822" y="389"/>
                  </a:lnTo>
                  <a:lnTo>
                    <a:pt x="821" y="389"/>
                  </a:lnTo>
                  <a:lnTo>
                    <a:pt x="818" y="387"/>
                  </a:lnTo>
                  <a:lnTo>
                    <a:pt x="816" y="389"/>
                  </a:lnTo>
                  <a:lnTo>
                    <a:pt x="815" y="389"/>
                  </a:lnTo>
                  <a:lnTo>
                    <a:pt x="814" y="389"/>
                  </a:lnTo>
                  <a:lnTo>
                    <a:pt x="810" y="389"/>
                  </a:lnTo>
                  <a:lnTo>
                    <a:pt x="808" y="389"/>
                  </a:lnTo>
                  <a:lnTo>
                    <a:pt x="805" y="389"/>
                  </a:lnTo>
                  <a:lnTo>
                    <a:pt x="805" y="387"/>
                  </a:lnTo>
                  <a:lnTo>
                    <a:pt x="804" y="385"/>
                  </a:lnTo>
                  <a:lnTo>
                    <a:pt x="803" y="385"/>
                  </a:lnTo>
                  <a:lnTo>
                    <a:pt x="802" y="384"/>
                  </a:lnTo>
                  <a:lnTo>
                    <a:pt x="800" y="384"/>
                  </a:lnTo>
                  <a:lnTo>
                    <a:pt x="799" y="382"/>
                  </a:lnTo>
                  <a:lnTo>
                    <a:pt x="798" y="381"/>
                  </a:lnTo>
                  <a:lnTo>
                    <a:pt x="797" y="378"/>
                  </a:lnTo>
                  <a:lnTo>
                    <a:pt x="797" y="376"/>
                  </a:lnTo>
                  <a:lnTo>
                    <a:pt x="794" y="376"/>
                  </a:lnTo>
                  <a:lnTo>
                    <a:pt x="793" y="376"/>
                  </a:lnTo>
                  <a:lnTo>
                    <a:pt x="792" y="378"/>
                  </a:lnTo>
                  <a:lnTo>
                    <a:pt x="792" y="379"/>
                  </a:lnTo>
                  <a:lnTo>
                    <a:pt x="794" y="380"/>
                  </a:lnTo>
                  <a:lnTo>
                    <a:pt x="795" y="381"/>
                  </a:lnTo>
                  <a:lnTo>
                    <a:pt x="798" y="384"/>
                  </a:lnTo>
                  <a:lnTo>
                    <a:pt x="798" y="386"/>
                  </a:lnTo>
                  <a:lnTo>
                    <a:pt x="797" y="386"/>
                  </a:lnTo>
                  <a:lnTo>
                    <a:pt x="797" y="387"/>
                  </a:lnTo>
                  <a:lnTo>
                    <a:pt x="794" y="390"/>
                  </a:lnTo>
                  <a:lnTo>
                    <a:pt x="792" y="392"/>
                  </a:lnTo>
                  <a:lnTo>
                    <a:pt x="792" y="391"/>
                  </a:lnTo>
                  <a:lnTo>
                    <a:pt x="791" y="391"/>
                  </a:lnTo>
                  <a:lnTo>
                    <a:pt x="788" y="391"/>
                  </a:lnTo>
                  <a:lnTo>
                    <a:pt x="788" y="390"/>
                  </a:lnTo>
                  <a:lnTo>
                    <a:pt x="787" y="390"/>
                  </a:lnTo>
                  <a:lnTo>
                    <a:pt x="787" y="387"/>
                  </a:lnTo>
                  <a:lnTo>
                    <a:pt x="785" y="387"/>
                  </a:lnTo>
                  <a:lnTo>
                    <a:pt x="786" y="386"/>
                  </a:lnTo>
                  <a:lnTo>
                    <a:pt x="785" y="384"/>
                  </a:lnTo>
                  <a:lnTo>
                    <a:pt x="783" y="384"/>
                  </a:lnTo>
                  <a:lnTo>
                    <a:pt x="782" y="384"/>
                  </a:lnTo>
                  <a:lnTo>
                    <a:pt x="782" y="382"/>
                  </a:lnTo>
                  <a:lnTo>
                    <a:pt x="781" y="382"/>
                  </a:lnTo>
                  <a:lnTo>
                    <a:pt x="781" y="381"/>
                  </a:lnTo>
                  <a:lnTo>
                    <a:pt x="779" y="381"/>
                  </a:lnTo>
                  <a:lnTo>
                    <a:pt x="777" y="382"/>
                  </a:lnTo>
                  <a:lnTo>
                    <a:pt x="776" y="381"/>
                  </a:lnTo>
                  <a:lnTo>
                    <a:pt x="774" y="380"/>
                  </a:lnTo>
                  <a:lnTo>
                    <a:pt x="774" y="379"/>
                  </a:lnTo>
                  <a:lnTo>
                    <a:pt x="773" y="379"/>
                  </a:lnTo>
                  <a:lnTo>
                    <a:pt x="770" y="378"/>
                  </a:lnTo>
                  <a:lnTo>
                    <a:pt x="767" y="376"/>
                  </a:lnTo>
                  <a:lnTo>
                    <a:pt x="765" y="376"/>
                  </a:lnTo>
                  <a:lnTo>
                    <a:pt x="765" y="378"/>
                  </a:lnTo>
                  <a:lnTo>
                    <a:pt x="763" y="380"/>
                  </a:lnTo>
                  <a:lnTo>
                    <a:pt x="762" y="379"/>
                  </a:lnTo>
                  <a:lnTo>
                    <a:pt x="761" y="379"/>
                  </a:lnTo>
                  <a:lnTo>
                    <a:pt x="759" y="380"/>
                  </a:lnTo>
                  <a:lnTo>
                    <a:pt x="758" y="381"/>
                  </a:lnTo>
                  <a:lnTo>
                    <a:pt x="757" y="382"/>
                  </a:lnTo>
                  <a:lnTo>
                    <a:pt x="756" y="382"/>
                  </a:lnTo>
                  <a:lnTo>
                    <a:pt x="755" y="382"/>
                  </a:lnTo>
                  <a:lnTo>
                    <a:pt x="753" y="381"/>
                  </a:lnTo>
                  <a:lnTo>
                    <a:pt x="752" y="378"/>
                  </a:lnTo>
                  <a:lnTo>
                    <a:pt x="750" y="380"/>
                  </a:lnTo>
                  <a:lnTo>
                    <a:pt x="749" y="381"/>
                  </a:lnTo>
                  <a:lnTo>
                    <a:pt x="746" y="382"/>
                  </a:lnTo>
                  <a:lnTo>
                    <a:pt x="744" y="384"/>
                  </a:lnTo>
                  <a:lnTo>
                    <a:pt x="741" y="385"/>
                  </a:lnTo>
                  <a:lnTo>
                    <a:pt x="740" y="386"/>
                  </a:lnTo>
                  <a:lnTo>
                    <a:pt x="739" y="386"/>
                  </a:lnTo>
                  <a:lnTo>
                    <a:pt x="736" y="386"/>
                  </a:lnTo>
                  <a:lnTo>
                    <a:pt x="736" y="385"/>
                  </a:lnTo>
                  <a:lnTo>
                    <a:pt x="735" y="384"/>
                  </a:lnTo>
                  <a:lnTo>
                    <a:pt x="735" y="381"/>
                  </a:lnTo>
                  <a:lnTo>
                    <a:pt x="735" y="379"/>
                  </a:lnTo>
                  <a:lnTo>
                    <a:pt x="734" y="378"/>
                  </a:lnTo>
                  <a:lnTo>
                    <a:pt x="732" y="378"/>
                  </a:lnTo>
                  <a:lnTo>
                    <a:pt x="729" y="379"/>
                  </a:lnTo>
                  <a:lnTo>
                    <a:pt x="728" y="379"/>
                  </a:lnTo>
                  <a:lnTo>
                    <a:pt x="726" y="379"/>
                  </a:lnTo>
                  <a:lnTo>
                    <a:pt x="724" y="380"/>
                  </a:lnTo>
                  <a:lnTo>
                    <a:pt x="724" y="381"/>
                  </a:lnTo>
                  <a:lnTo>
                    <a:pt x="724" y="382"/>
                  </a:lnTo>
                  <a:lnTo>
                    <a:pt x="724" y="384"/>
                  </a:lnTo>
                  <a:lnTo>
                    <a:pt x="724" y="385"/>
                  </a:lnTo>
                  <a:lnTo>
                    <a:pt x="723" y="386"/>
                  </a:lnTo>
                  <a:lnTo>
                    <a:pt x="724" y="386"/>
                  </a:lnTo>
                  <a:lnTo>
                    <a:pt x="726" y="386"/>
                  </a:lnTo>
                  <a:lnTo>
                    <a:pt x="726" y="385"/>
                  </a:lnTo>
                  <a:lnTo>
                    <a:pt x="728" y="384"/>
                  </a:lnTo>
                  <a:lnTo>
                    <a:pt x="728" y="385"/>
                  </a:lnTo>
                  <a:lnTo>
                    <a:pt x="728" y="387"/>
                  </a:lnTo>
                  <a:lnTo>
                    <a:pt x="728" y="390"/>
                  </a:lnTo>
                  <a:lnTo>
                    <a:pt x="729" y="386"/>
                  </a:lnTo>
                  <a:lnTo>
                    <a:pt x="729" y="390"/>
                  </a:lnTo>
                  <a:lnTo>
                    <a:pt x="729" y="393"/>
                  </a:lnTo>
                  <a:lnTo>
                    <a:pt x="730" y="395"/>
                  </a:lnTo>
                  <a:lnTo>
                    <a:pt x="730" y="396"/>
                  </a:lnTo>
                  <a:lnTo>
                    <a:pt x="732" y="396"/>
                  </a:lnTo>
                  <a:lnTo>
                    <a:pt x="733" y="395"/>
                  </a:lnTo>
                  <a:lnTo>
                    <a:pt x="734" y="397"/>
                  </a:lnTo>
                  <a:lnTo>
                    <a:pt x="730" y="397"/>
                  </a:lnTo>
                  <a:lnTo>
                    <a:pt x="730" y="401"/>
                  </a:lnTo>
                  <a:lnTo>
                    <a:pt x="732" y="399"/>
                  </a:lnTo>
                  <a:lnTo>
                    <a:pt x="733" y="401"/>
                  </a:lnTo>
                  <a:lnTo>
                    <a:pt x="734" y="401"/>
                  </a:lnTo>
                  <a:lnTo>
                    <a:pt x="734" y="399"/>
                  </a:lnTo>
                  <a:lnTo>
                    <a:pt x="738" y="399"/>
                  </a:lnTo>
                  <a:lnTo>
                    <a:pt x="738" y="401"/>
                  </a:lnTo>
                  <a:lnTo>
                    <a:pt x="740" y="401"/>
                  </a:lnTo>
                  <a:lnTo>
                    <a:pt x="741" y="401"/>
                  </a:lnTo>
                  <a:lnTo>
                    <a:pt x="741" y="402"/>
                  </a:lnTo>
                  <a:lnTo>
                    <a:pt x="743" y="402"/>
                  </a:lnTo>
                  <a:lnTo>
                    <a:pt x="744" y="403"/>
                  </a:lnTo>
                  <a:lnTo>
                    <a:pt x="745" y="404"/>
                  </a:lnTo>
                  <a:lnTo>
                    <a:pt x="746" y="407"/>
                  </a:lnTo>
                  <a:lnTo>
                    <a:pt x="746" y="408"/>
                  </a:lnTo>
                  <a:lnTo>
                    <a:pt x="747" y="409"/>
                  </a:lnTo>
                  <a:lnTo>
                    <a:pt x="747" y="410"/>
                  </a:lnTo>
                  <a:lnTo>
                    <a:pt x="749" y="410"/>
                  </a:lnTo>
                  <a:lnTo>
                    <a:pt x="750" y="413"/>
                  </a:lnTo>
                  <a:lnTo>
                    <a:pt x="753" y="414"/>
                  </a:lnTo>
                  <a:lnTo>
                    <a:pt x="756" y="417"/>
                  </a:lnTo>
                  <a:lnTo>
                    <a:pt x="758" y="419"/>
                  </a:lnTo>
                  <a:lnTo>
                    <a:pt x="759" y="420"/>
                  </a:lnTo>
                  <a:lnTo>
                    <a:pt x="761" y="421"/>
                  </a:lnTo>
                  <a:lnTo>
                    <a:pt x="762" y="422"/>
                  </a:lnTo>
                  <a:lnTo>
                    <a:pt x="763" y="423"/>
                  </a:lnTo>
                  <a:lnTo>
                    <a:pt x="764" y="422"/>
                  </a:lnTo>
                  <a:lnTo>
                    <a:pt x="768" y="422"/>
                  </a:lnTo>
                  <a:lnTo>
                    <a:pt x="769" y="422"/>
                  </a:lnTo>
                  <a:lnTo>
                    <a:pt x="769" y="423"/>
                  </a:lnTo>
                  <a:lnTo>
                    <a:pt x="770" y="423"/>
                  </a:lnTo>
                  <a:lnTo>
                    <a:pt x="771" y="425"/>
                  </a:lnTo>
                  <a:lnTo>
                    <a:pt x="773" y="425"/>
                  </a:lnTo>
                  <a:lnTo>
                    <a:pt x="773" y="426"/>
                  </a:lnTo>
                  <a:lnTo>
                    <a:pt x="774" y="427"/>
                  </a:lnTo>
                  <a:lnTo>
                    <a:pt x="777" y="428"/>
                  </a:lnTo>
                  <a:lnTo>
                    <a:pt x="779" y="428"/>
                  </a:lnTo>
                  <a:lnTo>
                    <a:pt x="781" y="428"/>
                  </a:lnTo>
                  <a:lnTo>
                    <a:pt x="781" y="429"/>
                  </a:lnTo>
                  <a:lnTo>
                    <a:pt x="782" y="431"/>
                  </a:lnTo>
                  <a:lnTo>
                    <a:pt x="782" y="432"/>
                  </a:lnTo>
                  <a:lnTo>
                    <a:pt x="785" y="433"/>
                  </a:lnTo>
                  <a:lnTo>
                    <a:pt x="787" y="433"/>
                  </a:lnTo>
                  <a:lnTo>
                    <a:pt x="787" y="435"/>
                  </a:lnTo>
                  <a:lnTo>
                    <a:pt x="785" y="435"/>
                  </a:lnTo>
                  <a:lnTo>
                    <a:pt x="785" y="437"/>
                  </a:lnTo>
                  <a:lnTo>
                    <a:pt x="785" y="438"/>
                  </a:lnTo>
                  <a:lnTo>
                    <a:pt x="787" y="439"/>
                  </a:lnTo>
                  <a:lnTo>
                    <a:pt x="787" y="441"/>
                  </a:lnTo>
                  <a:lnTo>
                    <a:pt x="788" y="443"/>
                  </a:lnTo>
                  <a:lnTo>
                    <a:pt x="788" y="444"/>
                  </a:lnTo>
                  <a:lnTo>
                    <a:pt x="791" y="444"/>
                  </a:lnTo>
                  <a:lnTo>
                    <a:pt x="792" y="445"/>
                  </a:lnTo>
                  <a:lnTo>
                    <a:pt x="793" y="446"/>
                  </a:lnTo>
                  <a:lnTo>
                    <a:pt x="794" y="446"/>
                  </a:lnTo>
                  <a:lnTo>
                    <a:pt x="798" y="445"/>
                  </a:lnTo>
                  <a:lnTo>
                    <a:pt x="803" y="444"/>
                  </a:lnTo>
                  <a:lnTo>
                    <a:pt x="803" y="449"/>
                  </a:lnTo>
                  <a:lnTo>
                    <a:pt x="804" y="449"/>
                  </a:lnTo>
                  <a:lnTo>
                    <a:pt x="809" y="449"/>
                  </a:lnTo>
                  <a:lnTo>
                    <a:pt x="812" y="449"/>
                  </a:lnTo>
                  <a:lnTo>
                    <a:pt x="814" y="447"/>
                  </a:lnTo>
                  <a:lnTo>
                    <a:pt x="815" y="447"/>
                  </a:lnTo>
                  <a:lnTo>
                    <a:pt x="815" y="450"/>
                  </a:lnTo>
                  <a:lnTo>
                    <a:pt x="817" y="451"/>
                  </a:lnTo>
                  <a:lnTo>
                    <a:pt x="818" y="450"/>
                  </a:lnTo>
                  <a:lnTo>
                    <a:pt x="820" y="450"/>
                  </a:lnTo>
                  <a:lnTo>
                    <a:pt x="821" y="451"/>
                  </a:lnTo>
                  <a:lnTo>
                    <a:pt x="821" y="452"/>
                  </a:lnTo>
                  <a:lnTo>
                    <a:pt x="818" y="456"/>
                  </a:lnTo>
                  <a:lnTo>
                    <a:pt x="816" y="457"/>
                  </a:lnTo>
                  <a:lnTo>
                    <a:pt x="815" y="458"/>
                  </a:lnTo>
                  <a:lnTo>
                    <a:pt x="814" y="459"/>
                  </a:lnTo>
                  <a:lnTo>
                    <a:pt x="815" y="459"/>
                  </a:lnTo>
                  <a:lnTo>
                    <a:pt x="816" y="459"/>
                  </a:lnTo>
                  <a:lnTo>
                    <a:pt x="817" y="461"/>
                  </a:lnTo>
                  <a:lnTo>
                    <a:pt x="818" y="461"/>
                  </a:lnTo>
                  <a:lnTo>
                    <a:pt x="821" y="462"/>
                  </a:lnTo>
                  <a:lnTo>
                    <a:pt x="822" y="463"/>
                  </a:lnTo>
                  <a:lnTo>
                    <a:pt x="824" y="463"/>
                  </a:lnTo>
                  <a:lnTo>
                    <a:pt x="826" y="463"/>
                  </a:lnTo>
                  <a:lnTo>
                    <a:pt x="827" y="463"/>
                  </a:lnTo>
                  <a:lnTo>
                    <a:pt x="828" y="464"/>
                  </a:lnTo>
                  <a:lnTo>
                    <a:pt x="828" y="465"/>
                  </a:lnTo>
                  <a:lnTo>
                    <a:pt x="827" y="465"/>
                  </a:lnTo>
                  <a:lnTo>
                    <a:pt x="826" y="467"/>
                  </a:lnTo>
                  <a:lnTo>
                    <a:pt x="826" y="468"/>
                  </a:lnTo>
                  <a:lnTo>
                    <a:pt x="827" y="469"/>
                  </a:lnTo>
                  <a:lnTo>
                    <a:pt x="829" y="469"/>
                  </a:lnTo>
                  <a:lnTo>
                    <a:pt x="833" y="471"/>
                  </a:lnTo>
                  <a:lnTo>
                    <a:pt x="834" y="471"/>
                  </a:lnTo>
                  <a:lnTo>
                    <a:pt x="836" y="471"/>
                  </a:lnTo>
                  <a:lnTo>
                    <a:pt x="838" y="471"/>
                  </a:lnTo>
                  <a:lnTo>
                    <a:pt x="839" y="471"/>
                  </a:lnTo>
                  <a:lnTo>
                    <a:pt x="841" y="473"/>
                  </a:lnTo>
                  <a:lnTo>
                    <a:pt x="842" y="471"/>
                  </a:lnTo>
                  <a:lnTo>
                    <a:pt x="846" y="471"/>
                  </a:lnTo>
                  <a:lnTo>
                    <a:pt x="846" y="473"/>
                  </a:lnTo>
                  <a:lnTo>
                    <a:pt x="845" y="475"/>
                  </a:lnTo>
                  <a:lnTo>
                    <a:pt x="842" y="477"/>
                  </a:lnTo>
                  <a:lnTo>
                    <a:pt x="841" y="480"/>
                  </a:lnTo>
                  <a:lnTo>
                    <a:pt x="840" y="481"/>
                  </a:lnTo>
                  <a:lnTo>
                    <a:pt x="838" y="482"/>
                  </a:lnTo>
                  <a:lnTo>
                    <a:pt x="834" y="482"/>
                  </a:lnTo>
                  <a:lnTo>
                    <a:pt x="832" y="485"/>
                  </a:lnTo>
                  <a:lnTo>
                    <a:pt x="836" y="486"/>
                  </a:lnTo>
                  <a:lnTo>
                    <a:pt x="839" y="485"/>
                  </a:lnTo>
                  <a:lnTo>
                    <a:pt x="840" y="485"/>
                  </a:lnTo>
                  <a:lnTo>
                    <a:pt x="841" y="486"/>
                  </a:lnTo>
                  <a:lnTo>
                    <a:pt x="841" y="488"/>
                  </a:lnTo>
                  <a:lnTo>
                    <a:pt x="842" y="489"/>
                  </a:lnTo>
                  <a:lnTo>
                    <a:pt x="844" y="491"/>
                  </a:lnTo>
                  <a:lnTo>
                    <a:pt x="845" y="493"/>
                  </a:lnTo>
                  <a:lnTo>
                    <a:pt x="844" y="494"/>
                  </a:lnTo>
                  <a:lnTo>
                    <a:pt x="842" y="494"/>
                  </a:lnTo>
                  <a:lnTo>
                    <a:pt x="841" y="497"/>
                  </a:lnTo>
                  <a:lnTo>
                    <a:pt x="839" y="499"/>
                  </a:lnTo>
                  <a:lnTo>
                    <a:pt x="840" y="500"/>
                  </a:lnTo>
                  <a:lnTo>
                    <a:pt x="839" y="503"/>
                  </a:lnTo>
                  <a:lnTo>
                    <a:pt x="840" y="504"/>
                  </a:lnTo>
                  <a:lnTo>
                    <a:pt x="840" y="506"/>
                  </a:lnTo>
                  <a:lnTo>
                    <a:pt x="840" y="508"/>
                  </a:lnTo>
                  <a:lnTo>
                    <a:pt x="841" y="509"/>
                  </a:lnTo>
                  <a:lnTo>
                    <a:pt x="842" y="509"/>
                  </a:lnTo>
                  <a:lnTo>
                    <a:pt x="842" y="510"/>
                  </a:lnTo>
                  <a:lnTo>
                    <a:pt x="844" y="511"/>
                  </a:lnTo>
                  <a:lnTo>
                    <a:pt x="844" y="514"/>
                  </a:lnTo>
                  <a:lnTo>
                    <a:pt x="841" y="514"/>
                  </a:lnTo>
                  <a:lnTo>
                    <a:pt x="840" y="515"/>
                  </a:lnTo>
                  <a:lnTo>
                    <a:pt x="838" y="515"/>
                  </a:lnTo>
                  <a:lnTo>
                    <a:pt x="836" y="515"/>
                  </a:lnTo>
                  <a:lnTo>
                    <a:pt x="836" y="516"/>
                  </a:lnTo>
                  <a:lnTo>
                    <a:pt x="834" y="517"/>
                  </a:lnTo>
                  <a:lnTo>
                    <a:pt x="834" y="518"/>
                  </a:lnTo>
                  <a:lnTo>
                    <a:pt x="835" y="520"/>
                  </a:lnTo>
                  <a:lnTo>
                    <a:pt x="838" y="522"/>
                  </a:lnTo>
                  <a:lnTo>
                    <a:pt x="840" y="523"/>
                  </a:lnTo>
                  <a:lnTo>
                    <a:pt x="841" y="526"/>
                  </a:lnTo>
                  <a:lnTo>
                    <a:pt x="841" y="524"/>
                  </a:lnTo>
                  <a:lnTo>
                    <a:pt x="842" y="523"/>
                  </a:lnTo>
                  <a:lnTo>
                    <a:pt x="844" y="524"/>
                  </a:lnTo>
                  <a:lnTo>
                    <a:pt x="845" y="526"/>
                  </a:lnTo>
                  <a:lnTo>
                    <a:pt x="847" y="526"/>
                  </a:lnTo>
                  <a:lnTo>
                    <a:pt x="848" y="526"/>
                  </a:lnTo>
                  <a:lnTo>
                    <a:pt x="848" y="527"/>
                  </a:lnTo>
                  <a:lnTo>
                    <a:pt x="847" y="527"/>
                  </a:lnTo>
                  <a:lnTo>
                    <a:pt x="845" y="529"/>
                  </a:lnTo>
                  <a:lnTo>
                    <a:pt x="842" y="530"/>
                  </a:lnTo>
                  <a:lnTo>
                    <a:pt x="839" y="530"/>
                  </a:lnTo>
                  <a:lnTo>
                    <a:pt x="836" y="532"/>
                  </a:lnTo>
                  <a:lnTo>
                    <a:pt x="835" y="532"/>
                  </a:lnTo>
                  <a:lnTo>
                    <a:pt x="835" y="530"/>
                  </a:lnTo>
                  <a:lnTo>
                    <a:pt x="835" y="529"/>
                  </a:lnTo>
                  <a:lnTo>
                    <a:pt x="832" y="530"/>
                  </a:lnTo>
                  <a:lnTo>
                    <a:pt x="832" y="529"/>
                  </a:lnTo>
                  <a:lnTo>
                    <a:pt x="830" y="529"/>
                  </a:lnTo>
                  <a:lnTo>
                    <a:pt x="830" y="527"/>
                  </a:lnTo>
                  <a:lnTo>
                    <a:pt x="829" y="526"/>
                  </a:lnTo>
                  <a:lnTo>
                    <a:pt x="827" y="526"/>
                  </a:lnTo>
                  <a:lnTo>
                    <a:pt x="824" y="526"/>
                  </a:lnTo>
                  <a:lnTo>
                    <a:pt x="822" y="526"/>
                  </a:lnTo>
                  <a:lnTo>
                    <a:pt x="820" y="522"/>
                  </a:lnTo>
                  <a:lnTo>
                    <a:pt x="818" y="520"/>
                  </a:lnTo>
                  <a:lnTo>
                    <a:pt x="816" y="516"/>
                  </a:lnTo>
                  <a:lnTo>
                    <a:pt x="815" y="512"/>
                  </a:lnTo>
                  <a:lnTo>
                    <a:pt x="812" y="510"/>
                  </a:lnTo>
                  <a:lnTo>
                    <a:pt x="812" y="506"/>
                  </a:lnTo>
                  <a:lnTo>
                    <a:pt x="811" y="506"/>
                  </a:lnTo>
                  <a:lnTo>
                    <a:pt x="810" y="505"/>
                  </a:lnTo>
                  <a:lnTo>
                    <a:pt x="810" y="503"/>
                  </a:lnTo>
                  <a:lnTo>
                    <a:pt x="808" y="500"/>
                  </a:lnTo>
                  <a:lnTo>
                    <a:pt x="805" y="500"/>
                  </a:lnTo>
                  <a:lnTo>
                    <a:pt x="804" y="503"/>
                  </a:lnTo>
                  <a:lnTo>
                    <a:pt x="800" y="503"/>
                  </a:lnTo>
                  <a:lnTo>
                    <a:pt x="798" y="502"/>
                  </a:lnTo>
                  <a:lnTo>
                    <a:pt x="797" y="500"/>
                  </a:lnTo>
                  <a:lnTo>
                    <a:pt x="795" y="502"/>
                  </a:lnTo>
                  <a:lnTo>
                    <a:pt x="793" y="503"/>
                  </a:lnTo>
                  <a:lnTo>
                    <a:pt x="792" y="505"/>
                  </a:lnTo>
                  <a:lnTo>
                    <a:pt x="791" y="505"/>
                  </a:lnTo>
                  <a:lnTo>
                    <a:pt x="789" y="504"/>
                  </a:lnTo>
                  <a:lnTo>
                    <a:pt x="787" y="504"/>
                  </a:lnTo>
                  <a:lnTo>
                    <a:pt x="787" y="503"/>
                  </a:lnTo>
                  <a:lnTo>
                    <a:pt x="787" y="502"/>
                  </a:lnTo>
                  <a:lnTo>
                    <a:pt x="786" y="502"/>
                  </a:lnTo>
                  <a:lnTo>
                    <a:pt x="786" y="500"/>
                  </a:lnTo>
                  <a:lnTo>
                    <a:pt x="786" y="498"/>
                  </a:lnTo>
                  <a:lnTo>
                    <a:pt x="788" y="497"/>
                  </a:lnTo>
                  <a:lnTo>
                    <a:pt x="789" y="494"/>
                  </a:lnTo>
                  <a:lnTo>
                    <a:pt x="791" y="494"/>
                  </a:lnTo>
                  <a:lnTo>
                    <a:pt x="793" y="494"/>
                  </a:lnTo>
                  <a:lnTo>
                    <a:pt x="793" y="492"/>
                  </a:lnTo>
                  <a:lnTo>
                    <a:pt x="792" y="491"/>
                  </a:lnTo>
                  <a:lnTo>
                    <a:pt x="793" y="488"/>
                  </a:lnTo>
                  <a:lnTo>
                    <a:pt x="793" y="489"/>
                  </a:lnTo>
                  <a:lnTo>
                    <a:pt x="794" y="489"/>
                  </a:lnTo>
                  <a:lnTo>
                    <a:pt x="795" y="489"/>
                  </a:lnTo>
                  <a:lnTo>
                    <a:pt x="797" y="489"/>
                  </a:lnTo>
                  <a:lnTo>
                    <a:pt x="799" y="489"/>
                  </a:lnTo>
                  <a:lnTo>
                    <a:pt x="799" y="488"/>
                  </a:lnTo>
                  <a:lnTo>
                    <a:pt x="799" y="486"/>
                  </a:lnTo>
                  <a:lnTo>
                    <a:pt x="795" y="486"/>
                  </a:lnTo>
                  <a:lnTo>
                    <a:pt x="794" y="486"/>
                  </a:lnTo>
                  <a:lnTo>
                    <a:pt x="794" y="485"/>
                  </a:lnTo>
                  <a:lnTo>
                    <a:pt x="792" y="485"/>
                  </a:lnTo>
                  <a:lnTo>
                    <a:pt x="791" y="485"/>
                  </a:lnTo>
                  <a:lnTo>
                    <a:pt x="788" y="485"/>
                  </a:lnTo>
                  <a:lnTo>
                    <a:pt x="786" y="483"/>
                  </a:lnTo>
                  <a:lnTo>
                    <a:pt x="785" y="483"/>
                  </a:lnTo>
                  <a:lnTo>
                    <a:pt x="782" y="482"/>
                  </a:lnTo>
                  <a:lnTo>
                    <a:pt x="779" y="481"/>
                  </a:lnTo>
                  <a:lnTo>
                    <a:pt x="781" y="479"/>
                  </a:lnTo>
                  <a:lnTo>
                    <a:pt x="777" y="479"/>
                  </a:lnTo>
                  <a:lnTo>
                    <a:pt x="776" y="476"/>
                  </a:lnTo>
                  <a:lnTo>
                    <a:pt x="777" y="474"/>
                  </a:lnTo>
                  <a:lnTo>
                    <a:pt x="776" y="473"/>
                  </a:lnTo>
                  <a:lnTo>
                    <a:pt x="775" y="474"/>
                  </a:lnTo>
                  <a:lnTo>
                    <a:pt x="771" y="475"/>
                  </a:lnTo>
                  <a:lnTo>
                    <a:pt x="770" y="475"/>
                  </a:lnTo>
                  <a:lnTo>
                    <a:pt x="768" y="476"/>
                  </a:lnTo>
                  <a:lnTo>
                    <a:pt x="767" y="475"/>
                  </a:lnTo>
                  <a:lnTo>
                    <a:pt x="764" y="474"/>
                  </a:lnTo>
                  <a:lnTo>
                    <a:pt x="764" y="473"/>
                  </a:lnTo>
                  <a:lnTo>
                    <a:pt x="764" y="470"/>
                  </a:lnTo>
                  <a:lnTo>
                    <a:pt x="761" y="471"/>
                  </a:lnTo>
                  <a:lnTo>
                    <a:pt x="759" y="470"/>
                  </a:lnTo>
                  <a:lnTo>
                    <a:pt x="761" y="469"/>
                  </a:lnTo>
                  <a:lnTo>
                    <a:pt x="758" y="468"/>
                  </a:lnTo>
                  <a:lnTo>
                    <a:pt x="756" y="467"/>
                  </a:lnTo>
                  <a:lnTo>
                    <a:pt x="753" y="467"/>
                  </a:lnTo>
                  <a:lnTo>
                    <a:pt x="752" y="467"/>
                  </a:lnTo>
                  <a:lnTo>
                    <a:pt x="751" y="465"/>
                  </a:lnTo>
                  <a:lnTo>
                    <a:pt x="750" y="465"/>
                  </a:lnTo>
                  <a:lnTo>
                    <a:pt x="749" y="464"/>
                  </a:lnTo>
                  <a:lnTo>
                    <a:pt x="747" y="465"/>
                  </a:lnTo>
                  <a:lnTo>
                    <a:pt x="746" y="463"/>
                  </a:lnTo>
                  <a:lnTo>
                    <a:pt x="746" y="462"/>
                  </a:lnTo>
                  <a:lnTo>
                    <a:pt x="745" y="462"/>
                  </a:lnTo>
                  <a:lnTo>
                    <a:pt x="745" y="459"/>
                  </a:lnTo>
                  <a:lnTo>
                    <a:pt x="743" y="459"/>
                  </a:lnTo>
                  <a:lnTo>
                    <a:pt x="744" y="457"/>
                  </a:lnTo>
                  <a:lnTo>
                    <a:pt x="744" y="455"/>
                  </a:lnTo>
                  <a:lnTo>
                    <a:pt x="745" y="455"/>
                  </a:lnTo>
                  <a:lnTo>
                    <a:pt x="743" y="455"/>
                  </a:lnTo>
                  <a:lnTo>
                    <a:pt x="743" y="453"/>
                  </a:lnTo>
                  <a:lnTo>
                    <a:pt x="741" y="452"/>
                  </a:lnTo>
                  <a:lnTo>
                    <a:pt x="741" y="451"/>
                  </a:lnTo>
                  <a:lnTo>
                    <a:pt x="741" y="450"/>
                  </a:lnTo>
                  <a:lnTo>
                    <a:pt x="740" y="450"/>
                  </a:lnTo>
                  <a:lnTo>
                    <a:pt x="739" y="449"/>
                  </a:lnTo>
                  <a:lnTo>
                    <a:pt x="736" y="446"/>
                  </a:lnTo>
                  <a:lnTo>
                    <a:pt x="736" y="449"/>
                  </a:lnTo>
                  <a:lnTo>
                    <a:pt x="736" y="450"/>
                  </a:lnTo>
                  <a:lnTo>
                    <a:pt x="736" y="451"/>
                  </a:lnTo>
                  <a:lnTo>
                    <a:pt x="736" y="453"/>
                  </a:lnTo>
                  <a:lnTo>
                    <a:pt x="735" y="453"/>
                  </a:lnTo>
                  <a:lnTo>
                    <a:pt x="732" y="453"/>
                  </a:lnTo>
                  <a:lnTo>
                    <a:pt x="730" y="455"/>
                  </a:lnTo>
                  <a:lnTo>
                    <a:pt x="730" y="457"/>
                  </a:lnTo>
                  <a:lnTo>
                    <a:pt x="732" y="458"/>
                  </a:lnTo>
                  <a:lnTo>
                    <a:pt x="733" y="458"/>
                  </a:lnTo>
                  <a:lnTo>
                    <a:pt x="734" y="457"/>
                  </a:lnTo>
                  <a:lnTo>
                    <a:pt x="735" y="458"/>
                  </a:lnTo>
                  <a:lnTo>
                    <a:pt x="736" y="457"/>
                  </a:lnTo>
                  <a:lnTo>
                    <a:pt x="739" y="457"/>
                  </a:lnTo>
                  <a:lnTo>
                    <a:pt x="739" y="462"/>
                  </a:lnTo>
                  <a:lnTo>
                    <a:pt x="740" y="462"/>
                  </a:lnTo>
                  <a:lnTo>
                    <a:pt x="740" y="464"/>
                  </a:lnTo>
                  <a:lnTo>
                    <a:pt x="741" y="467"/>
                  </a:lnTo>
                  <a:lnTo>
                    <a:pt x="741" y="468"/>
                  </a:lnTo>
                  <a:lnTo>
                    <a:pt x="744" y="469"/>
                  </a:lnTo>
                  <a:lnTo>
                    <a:pt x="743" y="471"/>
                  </a:lnTo>
                  <a:lnTo>
                    <a:pt x="739" y="470"/>
                  </a:lnTo>
                  <a:lnTo>
                    <a:pt x="738" y="470"/>
                  </a:lnTo>
                  <a:lnTo>
                    <a:pt x="738" y="469"/>
                  </a:lnTo>
                  <a:lnTo>
                    <a:pt x="736" y="469"/>
                  </a:lnTo>
                  <a:lnTo>
                    <a:pt x="735" y="468"/>
                  </a:lnTo>
                  <a:lnTo>
                    <a:pt x="734" y="468"/>
                  </a:lnTo>
                  <a:lnTo>
                    <a:pt x="733" y="467"/>
                  </a:lnTo>
                  <a:lnTo>
                    <a:pt x="730" y="465"/>
                  </a:lnTo>
                  <a:lnTo>
                    <a:pt x="730" y="463"/>
                  </a:lnTo>
                  <a:lnTo>
                    <a:pt x="729" y="464"/>
                  </a:lnTo>
                  <a:lnTo>
                    <a:pt x="728" y="464"/>
                  </a:lnTo>
                  <a:lnTo>
                    <a:pt x="726" y="465"/>
                  </a:lnTo>
                  <a:lnTo>
                    <a:pt x="724" y="464"/>
                  </a:lnTo>
                  <a:lnTo>
                    <a:pt x="723" y="462"/>
                  </a:lnTo>
                  <a:lnTo>
                    <a:pt x="721" y="462"/>
                  </a:lnTo>
                  <a:lnTo>
                    <a:pt x="718" y="462"/>
                  </a:lnTo>
                  <a:lnTo>
                    <a:pt x="717" y="461"/>
                  </a:lnTo>
                  <a:lnTo>
                    <a:pt x="716" y="462"/>
                  </a:lnTo>
                  <a:lnTo>
                    <a:pt x="715" y="461"/>
                  </a:lnTo>
                  <a:lnTo>
                    <a:pt x="712" y="459"/>
                  </a:lnTo>
                  <a:lnTo>
                    <a:pt x="710" y="459"/>
                  </a:lnTo>
                  <a:lnTo>
                    <a:pt x="708" y="459"/>
                  </a:lnTo>
                  <a:lnTo>
                    <a:pt x="703" y="459"/>
                  </a:lnTo>
                  <a:lnTo>
                    <a:pt x="702" y="458"/>
                  </a:lnTo>
                  <a:lnTo>
                    <a:pt x="699" y="458"/>
                  </a:lnTo>
                  <a:lnTo>
                    <a:pt x="700" y="456"/>
                  </a:lnTo>
                  <a:lnTo>
                    <a:pt x="700" y="455"/>
                  </a:lnTo>
                  <a:lnTo>
                    <a:pt x="699" y="455"/>
                  </a:lnTo>
                  <a:lnTo>
                    <a:pt x="697" y="455"/>
                  </a:lnTo>
                  <a:lnTo>
                    <a:pt x="696" y="455"/>
                  </a:lnTo>
                  <a:lnTo>
                    <a:pt x="694" y="453"/>
                  </a:lnTo>
                  <a:lnTo>
                    <a:pt x="691" y="451"/>
                  </a:lnTo>
                  <a:lnTo>
                    <a:pt x="688" y="449"/>
                  </a:lnTo>
                  <a:lnTo>
                    <a:pt x="688" y="447"/>
                  </a:lnTo>
                  <a:lnTo>
                    <a:pt x="688" y="446"/>
                  </a:lnTo>
                  <a:lnTo>
                    <a:pt x="690" y="444"/>
                  </a:lnTo>
                  <a:lnTo>
                    <a:pt x="693" y="440"/>
                  </a:lnTo>
                  <a:lnTo>
                    <a:pt x="693" y="438"/>
                  </a:lnTo>
                  <a:lnTo>
                    <a:pt x="692" y="437"/>
                  </a:lnTo>
                  <a:lnTo>
                    <a:pt x="692" y="438"/>
                  </a:lnTo>
                  <a:lnTo>
                    <a:pt x="691" y="439"/>
                  </a:lnTo>
                  <a:lnTo>
                    <a:pt x="691" y="440"/>
                  </a:lnTo>
                  <a:lnTo>
                    <a:pt x="690" y="443"/>
                  </a:lnTo>
                  <a:lnTo>
                    <a:pt x="687" y="445"/>
                  </a:lnTo>
                  <a:lnTo>
                    <a:pt x="686" y="444"/>
                  </a:lnTo>
                  <a:lnTo>
                    <a:pt x="684" y="443"/>
                  </a:lnTo>
                  <a:lnTo>
                    <a:pt x="682" y="443"/>
                  </a:lnTo>
                  <a:lnTo>
                    <a:pt x="681" y="441"/>
                  </a:lnTo>
                  <a:lnTo>
                    <a:pt x="680" y="441"/>
                  </a:lnTo>
                  <a:lnTo>
                    <a:pt x="678" y="443"/>
                  </a:lnTo>
                  <a:lnTo>
                    <a:pt x="676" y="445"/>
                  </a:lnTo>
                  <a:lnTo>
                    <a:pt x="676" y="446"/>
                  </a:lnTo>
                  <a:lnTo>
                    <a:pt x="675" y="447"/>
                  </a:lnTo>
                  <a:lnTo>
                    <a:pt x="671" y="447"/>
                  </a:lnTo>
                  <a:lnTo>
                    <a:pt x="670" y="447"/>
                  </a:lnTo>
                  <a:lnTo>
                    <a:pt x="669" y="446"/>
                  </a:lnTo>
                  <a:lnTo>
                    <a:pt x="667" y="447"/>
                  </a:lnTo>
                  <a:lnTo>
                    <a:pt x="665" y="449"/>
                  </a:lnTo>
                  <a:lnTo>
                    <a:pt x="665" y="452"/>
                  </a:lnTo>
                  <a:lnTo>
                    <a:pt x="667" y="455"/>
                  </a:lnTo>
                  <a:lnTo>
                    <a:pt x="667" y="453"/>
                  </a:lnTo>
                  <a:lnTo>
                    <a:pt x="669" y="452"/>
                  </a:lnTo>
                  <a:lnTo>
                    <a:pt x="670" y="452"/>
                  </a:lnTo>
                  <a:lnTo>
                    <a:pt x="670" y="453"/>
                  </a:lnTo>
                  <a:lnTo>
                    <a:pt x="671" y="455"/>
                  </a:lnTo>
                  <a:lnTo>
                    <a:pt x="673" y="456"/>
                  </a:lnTo>
                  <a:lnTo>
                    <a:pt x="674" y="452"/>
                  </a:lnTo>
                  <a:lnTo>
                    <a:pt x="675" y="452"/>
                  </a:lnTo>
                  <a:lnTo>
                    <a:pt x="676" y="451"/>
                  </a:lnTo>
                  <a:lnTo>
                    <a:pt x="679" y="452"/>
                  </a:lnTo>
                  <a:lnTo>
                    <a:pt x="679" y="451"/>
                  </a:lnTo>
                  <a:lnTo>
                    <a:pt x="680" y="452"/>
                  </a:lnTo>
                  <a:lnTo>
                    <a:pt x="680" y="453"/>
                  </a:lnTo>
                  <a:lnTo>
                    <a:pt x="681" y="453"/>
                  </a:lnTo>
                  <a:lnTo>
                    <a:pt x="680" y="453"/>
                  </a:lnTo>
                  <a:lnTo>
                    <a:pt x="679" y="455"/>
                  </a:lnTo>
                  <a:lnTo>
                    <a:pt x="679" y="456"/>
                  </a:lnTo>
                  <a:lnTo>
                    <a:pt x="679" y="458"/>
                  </a:lnTo>
                  <a:lnTo>
                    <a:pt x="680" y="462"/>
                  </a:lnTo>
                  <a:lnTo>
                    <a:pt x="680" y="463"/>
                  </a:lnTo>
                  <a:lnTo>
                    <a:pt x="678" y="462"/>
                  </a:lnTo>
                  <a:lnTo>
                    <a:pt x="676" y="462"/>
                  </a:lnTo>
                  <a:lnTo>
                    <a:pt x="675" y="462"/>
                  </a:lnTo>
                  <a:lnTo>
                    <a:pt x="674" y="461"/>
                  </a:lnTo>
                  <a:lnTo>
                    <a:pt x="673" y="459"/>
                  </a:lnTo>
                  <a:lnTo>
                    <a:pt x="673" y="458"/>
                  </a:lnTo>
                  <a:lnTo>
                    <a:pt x="671" y="458"/>
                  </a:lnTo>
                  <a:lnTo>
                    <a:pt x="670" y="462"/>
                  </a:lnTo>
                  <a:lnTo>
                    <a:pt x="671" y="463"/>
                  </a:lnTo>
                  <a:lnTo>
                    <a:pt x="674" y="463"/>
                  </a:lnTo>
                  <a:lnTo>
                    <a:pt x="678" y="463"/>
                  </a:lnTo>
                  <a:lnTo>
                    <a:pt x="678" y="467"/>
                  </a:lnTo>
                  <a:lnTo>
                    <a:pt x="680" y="468"/>
                  </a:lnTo>
                  <a:lnTo>
                    <a:pt x="682" y="468"/>
                  </a:lnTo>
                  <a:lnTo>
                    <a:pt x="682" y="465"/>
                  </a:lnTo>
                  <a:lnTo>
                    <a:pt x="684" y="467"/>
                  </a:lnTo>
                  <a:lnTo>
                    <a:pt x="685" y="467"/>
                  </a:lnTo>
                  <a:lnTo>
                    <a:pt x="688" y="464"/>
                  </a:lnTo>
                  <a:lnTo>
                    <a:pt x="688" y="463"/>
                  </a:lnTo>
                  <a:lnTo>
                    <a:pt x="690" y="463"/>
                  </a:lnTo>
                  <a:lnTo>
                    <a:pt x="693" y="464"/>
                  </a:lnTo>
                  <a:lnTo>
                    <a:pt x="694" y="464"/>
                  </a:lnTo>
                  <a:lnTo>
                    <a:pt x="694" y="465"/>
                  </a:lnTo>
                  <a:lnTo>
                    <a:pt x="693" y="467"/>
                  </a:lnTo>
                  <a:lnTo>
                    <a:pt x="693" y="468"/>
                  </a:lnTo>
                  <a:lnTo>
                    <a:pt x="693" y="470"/>
                  </a:lnTo>
                  <a:lnTo>
                    <a:pt x="694" y="471"/>
                  </a:lnTo>
                  <a:lnTo>
                    <a:pt x="697" y="473"/>
                  </a:lnTo>
                  <a:lnTo>
                    <a:pt x="698" y="474"/>
                  </a:lnTo>
                  <a:lnTo>
                    <a:pt x="698" y="475"/>
                  </a:lnTo>
                  <a:lnTo>
                    <a:pt x="697" y="476"/>
                  </a:lnTo>
                  <a:lnTo>
                    <a:pt x="698" y="476"/>
                  </a:lnTo>
                  <a:lnTo>
                    <a:pt x="697" y="477"/>
                  </a:lnTo>
                  <a:lnTo>
                    <a:pt x="697" y="479"/>
                  </a:lnTo>
                  <a:lnTo>
                    <a:pt x="697" y="480"/>
                  </a:lnTo>
                  <a:lnTo>
                    <a:pt x="699" y="481"/>
                  </a:lnTo>
                  <a:lnTo>
                    <a:pt x="700" y="480"/>
                  </a:lnTo>
                  <a:lnTo>
                    <a:pt x="702" y="481"/>
                  </a:lnTo>
                  <a:lnTo>
                    <a:pt x="703" y="482"/>
                  </a:lnTo>
                  <a:lnTo>
                    <a:pt x="704" y="482"/>
                  </a:lnTo>
                  <a:lnTo>
                    <a:pt x="704" y="483"/>
                  </a:lnTo>
                  <a:lnTo>
                    <a:pt x="703" y="485"/>
                  </a:lnTo>
                  <a:lnTo>
                    <a:pt x="705" y="485"/>
                  </a:lnTo>
                  <a:lnTo>
                    <a:pt x="709" y="485"/>
                  </a:lnTo>
                  <a:lnTo>
                    <a:pt x="712" y="485"/>
                  </a:lnTo>
                  <a:lnTo>
                    <a:pt x="712" y="486"/>
                  </a:lnTo>
                  <a:lnTo>
                    <a:pt x="714" y="487"/>
                  </a:lnTo>
                  <a:lnTo>
                    <a:pt x="714" y="488"/>
                  </a:lnTo>
                  <a:lnTo>
                    <a:pt x="716" y="488"/>
                  </a:lnTo>
                  <a:lnTo>
                    <a:pt x="718" y="491"/>
                  </a:lnTo>
                  <a:lnTo>
                    <a:pt x="720" y="492"/>
                  </a:lnTo>
                  <a:lnTo>
                    <a:pt x="721" y="492"/>
                  </a:lnTo>
                  <a:lnTo>
                    <a:pt x="721" y="491"/>
                  </a:lnTo>
                  <a:lnTo>
                    <a:pt x="724" y="488"/>
                  </a:lnTo>
                  <a:lnTo>
                    <a:pt x="727" y="487"/>
                  </a:lnTo>
                  <a:lnTo>
                    <a:pt x="728" y="487"/>
                  </a:lnTo>
                  <a:lnTo>
                    <a:pt x="730" y="488"/>
                  </a:lnTo>
                  <a:lnTo>
                    <a:pt x="732" y="488"/>
                  </a:lnTo>
                  <a:lnTo>
                    <a:pt x="733" y="488"/>
                  </a:lnTo>
                  <a:lnTo>
                    <a:pt x="735" y="488"/>
                  </a:lnTo>
                  <a:lnTo>
                    <a:pt x="738" y="488"/>
                  </a:lnTo>
                  <a:lnTo>
                    <a:pt x="739" y="488"/>
                  </a:lnTo>
                  <a:lnTo>
                    <a:pt x="738" y="487"/>
                  </a:lnTo>
                  <a:lnTo>
                    <a:pt x="736" y="487"/>
                  </a:lnTo>
                  <a:lnTo>
                    <a:pt x="736" y="486"/>
                  </a:lnTo>
                  <a:lnTo>
                    <a:pt x="736" y="485"/>
                  </a:lnTo>
                  <a:lnTo>
                    <a:pt x="739" y="485"/>
                  </a:lnTo>
                  <a:lnTo>
                    <a:pt x="739" y="486"/>
                  </a:lnTo>
                  <a:lnTo>
                    <a:pt x="740" y="486"/>
                  </a:lnTo>
                  <a:lnTo>
                    <a:pt x="744" y="486"/>
                  </a:lnTo>
                  <a:lnTo>
                    <a:pt x="743" y="487"/>
                  </a:lnTo>
                  <a:lnTo>
                    <a:pt x="746" y="488"/>
                  </a:lnTo>
                  <a:lnTo>
                    <a:pt x="749" y="489"/>
                  </a:lnTo>
                  <a:lnTo>
                    <a:pt x="750" y="489"/>
                  </a:lnTo>
                  <a:lnTo>
                    <a:pt x="752" y="491"/>
                  </a:lnTo>
                  <a:lnTo>
                    <a:pt x="752" y="492"/>
                  </a:lnTo>
                  <a:lnTo>
                    <a:pt x="755" y="492"/>
                  </a:lnTo>
                  <a:lnTo>
                    <a:pt x="755" y="493"/>
                  </a:lnTo>
                  <a:lnTo>
                    <a:pt x="756" y="493"/>
                  </a:lnTo>
                  <a:lnTo>
                    <a:pt x="758" y="494"/>
                  </a:lnTo>
                  <a:lnTo>
                    <a:pt x="758" y="497"/>
                  </a:lnTo>
                  <a:lnTo>
                    <a:pt x="756" y="497"/>
                  </a:lnTo>
                  <a:lnTo>
                    <a:pt x="757" y="498"/>
                  </a:lnTo>
                  <a:lnTo>
                    <a:pt x="756" y="500"/>
                  </a:lnTo>
                  <a:lnTo>
                    <a:pt x="756" y="502"/>
                  </a:lnTo>
                  <a:lnTo>
                    <a:pt x="757" y="502"/>
                  </a:lnTo>
                  <a:lnTo>
                    <a:pt x="757" y="505"/>
                  </a:lnTo>
                  <a:lnTo>
                    <a:pt x="753" y="506"/>
                  </a:lnTo>
                  <a:lnTo>
                    <a:pt x="752" y="506"/>
                  </a:lnTo>
                  <a:lnTo>
                    <a:pt x="751" y="506"/>
                  </a:lnTo>
                  <a:lnTo>
                    <a:pt x="751" y="508"/>
                  </a:lnTo>
                  <a:lnTo>
                    <a:pt x="751" y="510"/>
                  </a:lnTo>
                  <a:lnTo>
                    <a:pt x="752" y="511"/>
                  </a:lnTo>
                  <a:lnTo>
                    <a:pt x="753" y="510"/>
                  </a:lnTo>
                  <a:lnTo>
                    <a:pt x="755" y="508"/>
                  </a:lnTo>
                  <a:lnTo>
                    <a:pt x="757" y="506"/>
                  </a:lnTo>
                  <a:lnTo>
                    <a:pt x="758" y="505"/>
                  </a:lnTo>
                  <a:lnTo>
                    <a:pt x="761" y="504"/>
                  </a:lnTo>
                  <a:lnTo>
                    <a:pt x="763" y="504"/>
                  </a:lnTo>
                  <a:lnTo>
                    <a:pt x="764" y="503"/>
                  </a:lnTo>
                  <a:lnTo>
                    <a:pt x="765" y="504"/>
                  </a:lnTo>
                  <a:lnTo>
                    <a:pt x="765" y="505"/>
                  </a:lnTo>
                  <a:lnTo>
                    <a:pt x="767" y="505"/>
                  </a:lnTo>
                  <a:lnTo>
                    <a:pt x="767" y="506"/>
                  </a:lnTo>
                  <a:lnTo>
                    <a:pt x="769" y="506"/>
                  </a:lnTo>
                  <a:lnTo>
                    <a:pt x="769" y="508"/>
                  </a:lnTo>
                  <a:lnTo>
                    <a:pt x="770" y="510"/>
                  </a:lnTo>
                  <a:lnTo>
                    <a:pt x="770" y="512"/>
                  </a:lnTo>
                  <a:lnTo>
                    <a:pt x="771" y="514"/>
                  </a:lnTo>
                  <a:lnTo>
                    <a:pt x="773" y="514"/>
                  </a:lnTo>
                  <a:lnTo>
                    <a:pt x="774" y="515"/>
                  </a:lnTo>
                  <a:lnTo>
                    <a:pt x="775" y="516"/>
                  </a:lnTo>
                  <a:lnTo>
                    <a:pt x="777" y="518"/>
                  </a:lnTo>
                  <a:lnTo>
                    <a:pt x="779" y="520"/>
                  </a:lnTo>
                  <a:lnTo>
                    <a:pt x="780" y="520"/>
                  </a:lnTo>
                  <a:lnTo>
                    <a:pt x="780" y="521"/>
                  </a:lnTo>
                  <a:lnTo>
                    <a:pt x="782" y="520"/>
                  </a:lnTo>
                  <a:lnTo>
                    <a:pt x="783" y="518"/>
                  </a:lnTo>
                  <a:lnTo>
                    <a:pt x="786" y="517"/>
                  </a:lnTo>
                  <a:lnTo>
                    <a:pt x="786" y="520"/>
                  </a:lnTo>
                  <a:lnTo>
                    <a:pt x="787" y="520"/>
                  </a:lnTo>
                  <a:lnTo>
                    <a:pt x="788" y="520"/>
                  </a:lnTo>
                  <a:lnTo>
                    <a:pt x="789" y="520"/>
                  </a:lnTo>
                  <a:lnTo>
                    <a:pt x="791" y="520"/>
                  </a:lnTo>
                  <a:lnTo>
                    <a:pt x="792" y="521"/>
                  </a:lnTo>
                  <a:lnTo>
                    <a:pt x="792" y="522"/>
                  </a:lnTo>
                  <a:lnTo>
                    <a:pt x="791" y="522"/>
                  </a:lnTo>
                  <a:lnTo>
                    <a:pt x="792" y="527"/>
                  </a:lnTo>
                  <a:lnTo>
                    <a:pt x="793" y="528"/>
                  </a:lnTo>
                  <a:lnTo>
                    <a:pt x="792" y="529"/>
                  </a:lnTo>
                  <a:lnTo>
                    <a:pt x="791" y="530"/>
                  </a:lnTo>
                  <a:lnTo>
                    <a:pt x="791" y="532"/>
                  </a:lnTo>
                  <a:lnTo>
                    <a:pt x="792" y="532"/>
                  </a:lnTo>
                  <a:lnTo>
                    <a:pt x="793" y="534"/>
                  </a:lnTo>
                  <a:lnTo>
                    <a:pt x="793" y="539"/>
                  </a:lnTo>
                  <a:lnTo>
                    <a:pt x="792" y="540"/>
                  </a:lnTo>
                  <a:lnTo>
                    <a:pt x="791" y="540"/>
                  </a:lnTo>
                  <a:lnTo>
                    <a:pt x="792" y="544"/>
                  </a:lnTo>
                  <a:lnTo>
                    <a:pt x="793" y="545"/>
                  </a:lnTo>
                  <a:lnTo>
                    <a:pt x="794" y="546"/>
                  </a:lnTo>
                  <a:lnTo>
                    <a:pt x="795" y="546"/>
                  </a:lnTo>
                  <a:lnTo>
                    <a:pt x="798" y="546"/>
                  </a:lnTo>
                  <a:lnTo>
                    <a:pt x="800" y="546"/>
                  </a:lnTo>
                  <a:lnTo>
                    <a:pt x="803" y="546"/>
                  </a:lnTo>
                  <a:lnTo>
                    <a:pt x="805" y="546"/>
                  </a:lnTo>
                  <a:lnTo>
                    <a:pt x="808" y="547"/>
                  </a:lnTo>
                  <a:lnTo>
                    <a:pt x="809" y="548"/>
                  </a:lnTo>
                  <a:lnTo>
                    <a:pt x="809" y="550"/>
                  </a:lnTo>
                  <a:lnTo>
                    <a:pt x="809" y="551"/>
                  </a:lnTo>
                  <a:lnTo>
                    <a:pt x="810" y="553"/>
                  </a:lnTo>
                  <a:lnTo>
                    <a:pt x="816" y="552"/>
                  </a:lnTo>
                  <a:lnTo>
                    <a:pt x="818" y="553"/>
                  </a:lnTo>
                  <a:lnTo>
                    <a:pt x="820" y="554"/>
                  </a:lnTo>
                  <a:lnTo>
                    <a:pt x="821" y="556"/>
                  </a:lnTo>
                  <a:lnTo>
                    <a:pt x="821" y="557"/>
                  </a:lnTo>
                  <a:lnTo>
                    <a:pt x="821" y="559"/>
                  </a:lnTo>
                  <a:lnTo>
                    <a:pt x="820" y="559"/>
                  </a:lnTo>
                  <a:lnTo>
                    <a:pt x="818" y="560"/>
                  </a:lnTo>
                  <a:lnTo>
                    <a:pt x="818" y="562"/>
                  </a:lnTo>
                  <a:lnTo>
                    <a:pt x="820" y="564"/>
                  </a:lnTo>
                  <a:lnTo>
                    <a:pt x="822" y="564"/>
                  </a:lnTo>
                  <a:lnTo>
                    <a:pt x="823" y="564"/>
                  </a:lnTo>
                  <a:lnTo>
                    <a:pt x="823" y="565"/>
                  </a:lnTo>
                  <a:lnTo>
                    <a:pt x="823" y="566"/>
                  </a:lnTo>
                  <a:lnTo>
                    <a:pt x="824" y="568"/>
                  </a:lnTo>
                  <a:lnTo>
                    <a:pt x="826" y="569"/>
                  </a:lnTo>
                  <a:lnTo>
                    <a:pt x="827" y="569"/>
                  </a:lnTo>
                  <a:lnTo>
                    <a:pt x="829" y="569"/>
                  </a:lnTo>
                  <a:lnTo>
                    <a:pt x="832" y="570"/>
                  </a:lnTo>
                  <a:lnTo>
                    <a:pt x="833" y="572"/>
                  </a:lnTo>
                  <a:lnTo>
                    <a:pt x="833" y="575"/>
                  </a:lnTo>
                  <a:lnTo>
                    <a:pt x="834" y="575"/>
                  </a:lnTo>
                  <a:lnTo>
                    <a:pt x="836" y="575"/>
                  </a:lnTo>
                  <a:lnTo>
                    <a:pt x="836" y="576"/>
                  </a:lnTo>
                  <a:lnTo>
                    <a:pt x="839" y="576"/>
                  </a:lnTo>
                  <a:lnTo>
                    <a:pt x="839" y="577"/>
                  </a:lnTo>
                  <a:lnTo>
                    <a:pt x="838" y="578"/>
                  </a:lnTo>
                  <a:lnTo>
                    <a:pt x="838" y="580"/>
                  </a:lnTo>
                  <a:lnTo>
                    <a:pt x="838" y="581"/>
                  </a:lnTo>
                  <a:lnTo>
                    <a:pt x="838" y="584"/>
                  </a:lnTo>
                  <a:lnTo>
                    <a:pt x="839" y="588"/>
                  </a:lnTo>
                  <a:lnTo>
                    <a:pt x="841" y="588"/>
                  </a:lnTo>
                  <a:lnTo>
                    <a:pt x="841" y="589"/>
                  </a:lnTo>
                  <a:lnTo>
                    <a:pt x="840" y="589"/>
                  </a:lnTo>
                  <a:lnTo>
                    <a:pt x="838" y="590"/>
                  </a:lnTo>
                  <a:lnTo>
                    <a:pt x="840" y="590"/>
                  </a:lnTo>
                  <a:lnTo>
                    <a:pt x="841" y="593"/>
                  </a:lnTo>
                  <a:lnTo>
                    <a:pt x="844" y="595"/>
                  </a:lnTo>
                  <a:lnTo>
                    <a:pt x="845" y="598"/>
                  </a:lnTo>
                  <a:lnTo>
                    <a:pt x="844" y="599"/>
                  </a:lnTo>
                  <a:lnTo>
                    <a:pt x="842" y="600"/>
                  </a:lnTo>
                  <a:lnTo>
                    <a:pt x="842" y="603"/>
                  </a:lnTo>
                  <a:lnTo>
                    <a:pt x="842" y="606"/>
                  </a:lnTo>
                  <a:lnTo>
                    <a:pt x="844" y="605"/>
                  </a:lnTo>
                  <a:lnTo>
                    <a:pt x="847" y="605"/>
                  </a:lnTo>
                  <a:lnTo>
                    <a:pt x="848" y="606"/>
                  </a:lnTo>
                  <a:lnTo>
                    <a:pt x="850" y="607"/>
                  </a:lnTo>
                  <a:lnTo>
                    <a:pt x="851" y="611"/>
                  </a:lnTo>
                  <a:lnTo>
                    <a:pt x="851" y="613"/>
                  </a:lnTo>
                  <a:lnTo>
                    <a:pt x="854" y="613"/>
                  </a:lnTo>
                  <a:lnTo>
                    <a:pt x="854" y="612"/>
                  </a:lnTo>
                  <a:lnTo>
                    <a:pt x="856" y="613"/>
                  </a:lnTo>
                  <a:lnTo>
                    <a:pt x="857" y="615"/>
                  </a:lnTo>
                  <a:lnTo>
                    <a:pt x="859" y="615"/>
                  </a:lnTo>
                  <a:lnTo>
                    <a:pt x="858" y="617"/>
                  </a:lnTo>
                  <a:lnTo>
                    <a:pt x="858" y="618"/>
                  </a:lnTo>
                  <a:lnTo>
                    <a:pt x="858" y="619"/>
                  </a:lnTo>
                  <a:lnTo>
                    <a:pt x="858" y="621"/>
                  </a:lnTo>
                  <a:lnTo>
                    <a:pt x="857" y="621"/>
                  </a:lnTo>
                  <a:lnTo>
                    <a:pt x="856" y="621"/>
                  </a:lnTo>
                  <a:lnTo>
                    <a:pt x="856" y="622"/>
                  </a:lnTo>
                  <a:lnTo>
                    <a:pt x="858" y="623"/>
                  </a:lnTo>
                  <a:lnTo>
                    <a:pt x="858" y="622"/>
                  </a:lnTo>
                  <a:lnTo>
                    <a:pt x="861" y="623"/>
                  </a:lnTo>
                  <a:lnTo>
                    <a:pt x="862" y="623"/>
                  </a:lnTo>
                  <a:lnTo>
                    <a:pt x="863" y="624"/>
                  </a:lnTo>
                  <a:lnTo>
                    <a:pt x="863" y="625"/>
                  </a:lnTo>
                  <a:lnTo>
                    <a:pt x="862" y="625"/>
                  </a:lnTo>
                  <a:lnTo>
                    <a:pt x="862" y="628"/>
                  </a:lnTo>
                  <a:lnTo>
                    <a:pt x="863" y="628"/>
                  </a:lnTo>
                  <a:lnTo>
                    <a:pt x="864" y="629"/>
                  </a:lnTo>
                  <a:lnTo>
                    <a:pt x="865" y="630"/>
                  </a:lnTo>
                  <a:lnTo>
                    <a:pt x="867" y="631"/>
                  </a:lnTo>
                  <a:lnTo>
                    <a:pt x="867" y="630"/>
                  </a:lnTo>
                  <a:lnTo>
                    <a:pt x="869" y="631"/>
                  </a:lnTo>
                  <a:lnTo>
                    <a:pt x="871" y="633"/>
                  </a:lnTo>
                  <a:lnTo>
                    <a:pt x="871" y="634"/>
                  </a:lnTo>
                  <a:lnTo>
                    <a:pt x="870" y="635"/>
                  </a:lnTo>
                  <a:lnTo>
                    <a:pt x="869" y="635"/>
                  </a:lnTo>
                  <a:lnTo>
                    <a:pt x="869" y="636"/>
                  </a:lnTo>
                  <a:lnTo>
                    <a:pt x="871" y="639"/>
                  </a:lnTo>
                  <a:lnTo>
                    <a:pt x="873" y="640"/>
                  </a:lnTo>
                  <a:lnTo>
                    <a:pt x="875" y="641"/>
                  </a:lnTo>
                  <a:lnTo>
                    <a:pt x="876" y="642"/>
                  </a:lnTo>
                  <a:lnTo>
                    <a:pt x="877" y="641"/>
                  </a:lnTo>
                  <a:lnTo>
                    <a:pt x="879" y="641"/>
                  </a:lnTo>
                  <a:lnTo>
                    <a:pt x="880" y="640"/>
                  </a:lnTo>
                  <a:lnTo>
                    <a:pt x="881" y="640"/>
                  </a:lnTo>
                  <a:lnTo>
                    <a:pt x="882" y="639"/>
                  </a:lnTo>
                  <a:lnTo>
                    <a:pt x="883" y="642"/>
                  </a:lnTo>
                  <a:lnTo>
                    <a:pt x="885" y="643"/>
                  </a:lnTo>
                  <a:lnTo>
                    <a:pt x="885" y="642"/>
                  </a:lnTo>
                  <a:lnTo>
                    <a:pt x="886" y="642"/>
                  </a:lnTo>
                  <a:lnTo>
                    <a:pt x="886" y="641"/>
                  </a:lnTo>
                  <a:lnTo>
                    <a:pt x="888" y="641"/>
                  </a:lnTo>
                  <a:lnTo>
                    <a:pt x="889" y="641"/>
                  </a:lnTo>
                  <a:lnTo>
                    <a:pt x="891" y="640"/>
                  </a:lnTo>
                  <a:lnTo>
                    <a:pt x="893" y="641"/>
                  </a:lnTo>
                  <a:lnTo>
                    <a:pt x="891" y="642"/>
                  </a:lnTo>
                  <a:lnTo>
                    <a:pt x="891" y="643"/>
                  </a:lnTo>
                  <a:lnTo>
                    <a:pt x="891" y="646"/>
                  </a:lnTo>
                  <a:lnTo>
                    <a:pt x="891" y="647"/>
                  </a:lnTo>
                  <a:lnTo>
                    <a:pt x="888" y="647"/>
                  </a:lnTo>
                  <a:lnTo>
                    <a:pt x="888" y="646"/>
                  </a:lnTo>
                  <a:lnTo>
                    <a:pt x="887" y="646"/>
                  </a:lnTo>
                  <a:lnTo>
                    <a:pt x="887" y="648"/>
                  </a:lnTo>
                  <a:lnTo>
                    <a:pt x="885" y="649"/>
                  </a:lnTo>
                  <a:lnTo>
                    <a:pt x="881" y="649"/>
                  </a:lnTo>
                  <a:lnTo>
                    <a:pt x="880" y="651"/>
                  </a:lnTo>
                  <a:lnTo>
                    <a:pt x="879" y="649"/>
                  </a:lnTo>
                  <a:lnTo>
                    <a:pt x="879" y="651"/>
                  </a:lnTo>
                  <a:lnTo>
                    <a:pt x="876" y="652"/>
                  </a:lnTo>
                  <a:lnTo>
                    <a:pt x="877" y="654"/>
                  </a:lnTo>
                  <a:lnTo>
                    <a:pt x="877" y="655"/>
                  </a:lnTo>
                  <a:lnTo>
                    <a:pt x="877" y="657"/>
                  </a:lnTo>
                  <a:lnTo>
                    <a:pt x="875" y="659"/>
                  </a:lnTo>
                  <a:lnTo>
                    <a:pt x="874" y="660"/>
                  </a:lnTo>
                  <a:lnTo>
                    <a:pt x="874" y="661"/>
                  </a:lnTo>
                  <a:lnTo>
                    <a:pt x="873" y="661"/>
                  </a:lnTo>
                  <a:lnTo>
                    <a:pt x="873" y="663"/>
                  </a:lnTo>
                  <a:lnTo>
                    <a:pt x="874" y="664"/>
                  </a:lnTo>
                  <a:lnTo>
                    <a:pt x="875" y="667"/>
                  </a:lnTo>
                  <a:lnTo>
                    <a:pt x="871" y="669"/>
                  </a:lnTo>
                  <a:lnTo>
                    <a:pt x="874" y="669"/>
                  </a:lnTo>
                  <a:lnTo>
                    <a:pt x="875" y="670"/>
                  </a:lnTo>
                  <a:lnTo>
                    <a:pt x="876" y="670"/>
                  </a:lnTo>
                  <a:lnTo>
                    <a:pt x="879" y="672"/>
                  </a:lnTo>
                  <a:lnTo>
                    <a:pt x="879" y="673"/>
                  </a:lnTo>
                  <a:lnTo>
                    <a:pt x="880" y="673"/>
                  </a:lnTo>
                  <a:lnTo>
                    <a:pt x="880" y="672"/>
                  </a:lnTo>
                  <a:lnTo>
                    <a:pt x="881" y="673"/>
                  </a:lnTo>
                  <a:lnTo>
                    <a:pt x="882" y="673"/>
                  </a:lnTo>
                  <a:lnTo>
                    <a:pt x="882" y="675"/>
                  </a:lnTo>
                  <a:lnTo>
                    <a:pt x="882" y="676"/>
                  </a:lnTo>
                  <a:lnTo>
                    <a:pt x="881" y="676"/>
                  </a:lnTo>
                  <a:lnTo>
                    <a:pt x="879" y="676"/>
                  </a:lnTo>
                  <a:lnTo>
                    <a:pt x="877" y="677"/>
                  </a:lnTo>
                  <a:lnTo>
                    <a:pt x="876" y="678"/>
                  </a:lnTo>
                  <a:lnTo>
                    <a:pt x="875" y="678"/>
                  </a:lnTo>
                  <a:lnTo>
                    <a:pt x="874" y="677"/>
                  </a:lnTo>
                  <a:lnTo>
                    <a:pt x="871" y="676"/>
                  </a:lnTo>
                  <a:lnTo>
                    <a:pt x="869" y="673"/>
                  </a:lnTo>
                  <a:lnTo>
                    <a:pt x="868" y="672"/>
                  </a:lnTo>
                  <a:lnTo>
                    <a:pt x="867" y="671"/>
                  </a:lnTo>
                  <a:lnTo>
                    <a:pt x="864" y="669"/>
                  </a:lnTo>
                  <a:lnTo>
                    <a:pt x="862" y="669"/>
                  </a:lnTo>
                  <a:lnTo>
                    <a:pt x="861" y="667"/>
                  </a:lnTo>
                  <a:lnTo>
                    <a:pt x="858" y="665"/>
                  </a:lnTo>
                  <a:lnTo>
                    <a:pt x="859" y="664"/>
                  </a:lnTo>
                  <a:lnTo>
                    <a:pt x="859" y="661"/>
                  </a:lnTo>
                  <a:lnTo>
                    <a:pt x="859" y="660"/>
                  </a:lnTo>
                  <a:lnTo>
                    <a:pt x="857" y="660"/>
                  </a:lnTo>
                  <a:lnTo>
                    <a:pt x="854" y="661"/>
                  </a:lnTo>
                  <a:lnTo>
                    <a:pt x="851" y="661"/>
                  </a:lnTo>
                  <a:lnTo>
                    <a:pt x="847" y="660"/>
                  </a:lnTo>
                  <a:lnTo>
                    <a:pt x="844" y="660"/>
                  </a:lnTo>
                  <a:lnTo>
                    <a:pt x="841" y="660"/>
                  </a:lnTo>
                  <a:lnTo>
                    <a:pt x="840" y="660"/>
                  </a:lnTo>
                  <a:lnTo>
                    <a:pt x="841" y="658"/>
                  </a:lnTo>
                  <a:lnTo>
                    <a:pt x="841" y="657"/>
                  </a:lnTo>
                  <a:lnTo>
                    <a:pt x="840" y="655"/>
                  </a:lnTo>
                  <a:lnTo>
                    <a:pt x="841" y="653"/>
                  </a:lnTo>
                  <a:lnTo>
                    <a:pt x="841" y="652"/>
                  </a:lnTo>
                  <a:lnTo>
                    <a:pt x="840" y="652"/>
                  </a:lnTo>
                  <a:lnTo>
                    <a:pt x="840" y="655"/>
                  </a:lnTo>
                  <a:lnTo>
                    <a:pt x="839" y="657"/>
                  </a:lnTo>
                  <a:lnTo>
                    <a:pt x="839" y="658"/>
                  </a:lnTo>
                  <a:lnTo>
                    <a:pt x="835" y="658"/>
                  </a:lnTo>
                  <a:lnTo>
                    <a:pt x="833" y="659"/>
                  </a:lnTo>
                  <a:lnTo>
                    <a:pt x="832" y="660"/>
                  </a:lnTo>
                  <a:lnTo>
                    <a:pt x="830" y="660"/>
                  </a:lnTo>
                  <a:lnTo>
                    <a:pt x="830" y="661"/>
                  </a:lnTo>
                  <a:lnTo>
                    <a:pt x="830" y="664"/>
                  </a:lnTo>
                  <a:lnTo>
                    <a:pt x="830" y="665"/>
                  </a:lnTo>
                  <a:lnTo>
                    <a:pt x="832" y="665"/>
                  </a:lnTo>
                  <a:lnTo>
                    <a:pt x="832" y="664"/>
                  </a:lnTo>
                  <a:lnTo>
                    <a:pt x="833" y="665"/>
                  </a:lnTo>
                  <a:lnTo>
                    <a:pt x="833" y="666"/>
                  </a:lnTo>
                  <a:lnTo>
                    <a:pt x="832" y="667"/>
                  </a:lnTo>
                  <a:lnTo>
                    <a:pt x="833" y="670"/>
                  </a:lnTo>
                  <a:lnTo>
                    <a:pt x="830" y="671"/>
                  </a:lnTo>
                  <a:lnTo>
                    <a:pt x="828" y="672"/>
                  </a:lnTo>
                  <a:lnTo>
                    <a:pt x="827" y="673"/>
                  </a:lnTo>
                  <a:lnTo>
                    <a:pt x="827" y="672"/>
                  </a:lnTo>
                  <a:lnTo>
                    <a:pt x="826" y="672"/>
                  </a:lnTo>
                  <a:lnTo>
                    <a:pt x="823" y="673"/>
                  </a:lnTo>
                  <a:lnTo>
                    <a:pt x="822" y="675"/>
                  </a:lnTo>
                  <a:lnTo>
                    <a:pt x="821" y="673"/>
                  </a:lnTo>
                  <a:lnTo>
                    <a:pt x="822" y="672"/>
                  </a:lnTo>
                  <a:lnTo>
                    <a:pt x="822" y="671"/>
                  </a:lnTo>
                  <a:lnTo>
                    <a:pt x="821" y="671"/>
                  </a:lnTo>
                  <a:lnTo>
                    <a:pt x="821" y="670"/>
                  </a:lnTo>
                  <a:lnTo>
                    <a:pt x="822" y="669"/>
                  </a:lnTo>
                  <a:lnTo>
                    <a:pt x="821" y="669"/>
                  </a:lnTo>
                  <a:lnTo>
                    <a:pt x="820" y="667"/>
                  </a:lnTo>
                  <a:lnTo>
                    <a:pt x="818" y="665"/>
                  </a:lnTo>
                  <a:lnTo>
                    <a:pt x="818" y="663"/>
                  </a:lnTo>
                  <a:lnTo>
                    <a:pt x="816" y="661"/>
                  </a:lnTo>
                  <a:lnTo>
                    <a:pt x="814" y="661"/>
                  </a:lnTo>
                  <a:lnTo>
                    <a:pt x="812" y="660"/>
                  </a:lnTo>
                  <a:lnTo>
                    <a:pt x="810" y="661"/>
                  </a:lnTo>
                  <a:lnTo>
                    <a:pt x="809" y="661"/>
                  </a:lnTo>
                  <a:lnTo>
                    <a:pt x="809" y="659"/>
                  </a:lnTo>
                  <a:lnTo>
                    <a:pt x="808" y="659"/>
                  </a:lnTo>
                  <a:lnTo>
                    <a:pt x="809" y="659"/>
                  </a:lnTo>
                  <a:lnTo>
                    <a:pt x="810" y="657"/>
                  </a:lnTo>
                  <a:lnTo>
                    <a:pt x="808" y="657"/>
                  </a:lnTo>
                  <a:lnTo>
                    <a:pt x="805" y="655"/>
                  </a:lnTo>
                  <a:lnTo>
                    <a:pt x="804" y="655"/>
                  </a:lnTo>
                  <a:lnTo>
                    <a:pt x="803" y="653"/>
                  </a:lnTo>
                  <a:lnTo>
                    <a:pt x="802" y="651"/>
                  </a:lnTo>
                  <a:lnTo>
                    <a:pt x="800" y="648"/>
                  </a:lnTo>
                  <a:lnTo>
                    <a:pt x="798" y="647"/>
                  </a:lnTo>
                  <a:lnTo>
                    <a:pt x="795" y="648"/>
                  </a:lnTo>
                  <a:lnTo>
                    <a:pt x="795" y="649"/>
                  </a:lnTo>
                  <a:lnTo>
                    <a:pt x="795" y="651"/>
                  </a:lnTo>
                  <a:lnTo>
                    <a:pt x="795" y="652"/>
                  </a:lnTo>
                  <a:lnTo>
                    <a:pt x="794" y="652"/>
                  </a:lnTo>
                  <a:lnTo>
                    <a:pt x="792" y="653"/>
                  </a:lnTo>
                  <a:lnTo>
                    <a:pt x="789" y="652"/>
                  </a:lnTo>
                  <a:lnTo>
                    <a:pt x="787" y="649"/>
                  </a:lnTo>
                  <a:lnTo>
                    <a:pt x="783" y="651"/>
                  </a:lnTo>
                  <a:lnTo>
                    <a:pt x="782" y="652"/>
                  </a:lnTo>
                  <a:lnTo>
                    <a:pt x="781" y="653"/>
                  </a:lnTo>
                  <a:lnTo>
                    <a:pt x="780" y="655"/>
                  </a:lnTo>
                  <a:lnTo>
                    <a:pt x="779" y="655"/>
                  </a:lnTo>
                  <a:lnTo>
                    <a:pt x="779" y="657"/>
                  </a:lnTo>
                  <a:lnTo>
                    <a:pt x="777" y="657"/>
                  </a:lnTo>
                  <a:lnTo>
                    <a:pt x="777" y="658"/>
                  </a:lnTo>
                  <a:lnTo>
                    <a:pt x="779" y="659"/>
                  </a:lnTo>
                  <a:lnTo>
                    <a:pt x="781" y="659"/>
                  </a:lnTo>
                  <a:lnTo>
                    <a:pt x="782" y="660"/>
                  </a:lnTo>
                  <a:lnTo>
                    <a:pt x="782" y="661"/>
                  </a:lnTo>
                  <a:lnTo>
                    <a:pt x="783" y="663"/>
                  </a:lnTo>
                  <a:lnTo>
                    <a:pt x="785" y="663"/>
                  </a:lnTo>
                  <a:lnTo>
                    <a:pt x="785" y="661"/>
                  </a:lnTo>
                  <a:lnTo>
                    <a:pt x="786" y="660"/>
                  </a:lnTo>
                  <a:lnTo>
                    <a:pt x="787" y="660"/>
                  </a:lnTo>
                  <a:lnTo>
                    <a:pt x="787" y="661"/>
                  </a:lnTo>
                  <a:lnTo>
                    <a:pt x="788" y="661"/>
                  </a:lnTo>
                  <a:lnTo>
                    <a:pt x="789" y="661"/>
                  </a:lnTo>
                  <a:lnTo>
                    <a:pt x="791" y="661"/>
                  </a:lnTo>
                  <a:lnTo>
                    <a:pt x="791" y="664"/>
                  </a:lnTo>
                  <a:lnTo>
                    <a:pt x="792" y="664"/>
                  </a:lnTo>
                  <a:lnTo>
                    <a:pt x="793" y="663"/>
                  </a:lnTo>
                  <a:lnTo>
                    <a:pt x="795" y="663"/>
                  </a:lnTo>
                  <a:lnTo>
                    <a:pt x="795" y="661"/>
                  </a:lnTo>
                  <a:lnTo>
                    <a:pt x="797" y="661"/>
                  </a:lnTo>
                  <a:lnTo>
                    <a:pt x="798" y="663"/>
                  </a:lnTo>
                  <a:lnTo>
                    <a:pt x="799" y="663"/>
                  </a:lnTo>
                  <a:lnTo>
                    <a:pt x="800" y="665"/>
                  </a:lnTo>
                  <a:lnTo>
                    <a:pt x="803" y="665"/>
                  </a:lnTo>
                  <a:lnTo>
                    <a:pt x="803" y="666"/>
                  </a:lnTo>
                  <a:lnTo>
                    <a:pt x="804" y="667"/>
                  </a:lnTo>
                  <a:lnTo>
                    <a:pt x="804" y="669"/>
                  </a:lnTo>
                  <a:lnTo>
                    <a:pt x="805" y="670"/>
                  </a:lnTo>
                  <a:lnTo>
                    <a:pt x="808" y="670"/>
                  </a:lnTo>
                  <a:lnTo>
                    <a:pt x="808" y="671"/>
                  </a:lnTo>
                  <a:lnTo>
                    <a:pt x="808" y="672"/>
                  </a:lnTo>
                  <a:lnTo>
                    <a:pt x="811" y="675"/>
                  </a:lnTo>
                  <a:lnTo>
                    <a:pt x="811" y="673"/>
                  </a:lnTo>
                  <a:lnTo>
                    <a:pt x="812" y="676"/>
                  </a:lnTo>
                  <a:lnTo>
                    <a:pt x="811" y="676"/>
                  </a:lnTo>
                  <a:lnTo>
                    <a:pt x="811" y="677"/>
                  </a:lnTo>
                  <a:lnTo>
                    <a:pt x="811" y="678"/>
                  </a:lnTo>
                  <a:lnTo>
                    <a:pt x="810" y="678"/>
                  </a:lnTo>
                  <a:lnTo>
                    <a:pt x="811" y="679"/>
                  </a:lnTo>
                  <a:lnTo>
                    <a:pt x="810" y="681"/>
                  </a:lnTo>
                  <a:lnTo>
                    <a:pt x="811" y="681"/>
                  </a:lnTo>
                  <a:lnTo>
                    <a:pt x="810" y="684"/>
                  </a:lnTo>
                  <a:lnTo>
                    <a:pt x="810" y="685"/>
                  </a:lnTo>
                  <a:lnTo>
                    <a:pt x="810" y="687"/>
                  </a:lnTo>
                  <a:lnTo>
                    <a:pt x="809" y="687"/>
                  </a:lnTo>
                  <a:lnTo>
                    <a:pt x="806" y="687"/>
                  </a:lnTo>
                  <a:lnTo>
                    <a:pt x="804" y="687"/>
                  </a:lnTo>
                  <a:lnTo>
                    <a:pt x="803" y="687"/>
                  </a:lnTo>
                  <a:lnTo>
                    <a:pt x="799" y="685"/>
                  </a:lnTo>
                  <a:lnTo>
                    <a:pt x="797" y="685"/>
                  </a:lnTo>
                  <a:lnTo>
                    <a:pt x="795" y="685"/>
                  </a:lnTo>
                  <a:lnTo>
                    <a:pt x="794" y="687"/>
                  </a:lnTo>
                  <a:lnTo>
                    <a:pt x="792" y="687"/>
                  </a:lnTo>
                  <a:lnTo>
                    <a:pt x="789" y="687"/>
                  </a:lnTo>
                  <a:lnTo>
                    <a:pt x="789" y="688"/>
                  </a:lnTo>
                  <a:lnTo>
                    <a:pt x="788" y="689"/>
                  </a:lnTo>
                  <a:lnTo>
                    <a:pt x="788" y="690"/>
                  </a:lnTo>
                  <a:lnTo>
                    <a:pt x="788" y="694"/>
                  </a:lnTo>
                  <a:lnTo>
                    <a:pt x="787" y="693"/>
                  </a:lnTo>
                  <a:lnTo>
                    <a:pt x="787" y="694"/>
                  </a:lnTo>
                  <a:lnTo>
                    <a:pt x="785" y="693"/>
                  </a:lnTo>
                  <a:lnTo>
                    <a:pt x="783" y="691"/>
                  </a:lnTo>
                  <a:lnTo>
                    <a:pt x="782" y="695"/>
                  </a:lnTo>
                  <a:lnTo>
                    <a:pt x="781" y="691"/>
                  </a:lnTo>
                  <a:lnTo>
                    <a:pt x="782" y="694"/>
                  </a:lnTo>
                  <a:lnTo>
                    <a:pt x="781" y="695"/>
                  </a:lnTo>
                  <a:lnTo>
                    <a:pt x="779" y="694"/>
                  </a:lnTo>
                  <a:lnTo>
                    <a:pt x="776" y="693"/>
                  </a:lnTo>
                  <a:lnTo>
                    <a:pt x="775" y="694"/>
                  </a:lnTo>
                  <a:lnTo>
                    <a:pt x="775" y="695"/>
                  </a:lnTo>
                  <a:lnTo>
                    <a:pt x="774" y="695"/>
                  </a:lnTo>
                  <a:lnTo>
                    <a:pt x="771" y="694"/>
                  </a:lnTo>
                  <a:lnTo>
                    <a:pt x="768" y="694"/>
                  </a:lnTo>
                  <a:lnTo>
                    <a:pt x="767" y="693"/>
                  </a:lnTo>
                  <a:lnTo>
                    <a:pt x="765" y="693"/>
                  </a:lnTo>
                  <a:lnTo>
                    <a:pt x="763" y="691"/>
                  </a:lnTo>
                  <a:lnTo>
                    <a:pt x="762" y="691"/>
                  </a:lnTo>
                  <a:lnTo>
                    <a:pt x="761" y="689"/>
                  </a:lnTo>
                  <a:lnTo>
                    <a:pt x="758" y="690"/>
                  </a:lnTo>
                  <a:lnTo>
                    <a:pt x="757" y="689"/>
                  </a:lnTo>
                  <a:lnTo>
                    <a:pt x="757" y="688"/>
                  </a:lnTo>
                  <a:lnTo>
                    <a:pt x="756" y="688"/>
                  </a:lnTo>
                  <a:lnTo>
                    <a:pt x="756" y="685"/>
                  </a:lnTo>
                  <a:lnTo>
                    <a:pt x="755" y="684"/>
                  </a:lnTo>
                  <a:lnTo>
                    <a:pt x="753" y="685"/>
                  </a:lnTo>
                  <a:lnTo>
                    <a:pt x="753" y="688"/>
                  </a:lnTo>
                  <a:lnTo>
                    <a:pt x="755" y="689"/>
                  </a:lnTo>
                  <a:lnTo>
                    <a:pt x="758" y="690"/>
                  </a:lnTo>
                  <a:lnTo>
                    <a:pt x="759" y="690"/>
                  </a:lnTo>
                  <a:lnTo>
                    <a:pt x="761" y="693"/>
                  </a:lnTo>
                  <a:lnTo>
                    <a:pt x="762" y="693"/>
                  </a:lnTo>
                  <a:lnTo>
                    <a:pt x="762" y="694"/>
                  </a:lnTo>
                  <a:lnTo>
                    <a:pt x="761" y="695"/>
                  </a:lnTo>
                  <a:lnTo>
                    <a:pt x="759" y="699"/>
                  </a:lnTo>
                  <a:lnTo>
                    <a:pt x="759" y="695"/>
                  </a:lnTo>
                  <a:lnTo>
                    <a:pt x="758" y="699"/>
                  </a:lnTo>
                  <a:lnTo>
                    <a:pt x="758" y="700"/>
                  </a:lnTo>
                  <a:lnTo>
                    <a:pt x="757" y="701"/>
                  </a:lnTo>
                  <a:lnTo>
                    <a:pt x="759" y="703"/>
                  </a:lnTo>
                  <a:lnTo>
                    <a:pt x="757" y="705"/>
                  </a:lnTo>
                  <a:lnTo>
                    <a:pt x="756" y="705"/>
                  </a:lnTo>
                  <a:lnTo>
                    <a:pt x="755" y="706"/>
                  </a:lnTo>
                  <a:lnTo>
                    <a:pt x="752" y="706"/>
                  </a:lnTo>
                  <a:lnTo>
                    <a:pt x="750" y="706"/>
                  </a:lnTo>
                  <a:lnTo>
                    <a:pt x="749" y="705"/>
                  </a:lnTo>
                  <a:lnTo>
                    <a:pt x="746" y="706"/>
                  </a:lnTo>
                  <a:lnTo>
                    <a:pt x="744" y="707"/>
                  </a:lnTo>
                  <a:lnTo>
                    <a:pt x="744" y="710"/>
                  </a:lnTo>
                  <a:lnTo>
                    <a:pt x="745" y="710"/>
                  </a:lnTo>
                  <a:lnTo>
                    <a:pt x="745" y="711"/>
                  </a:lnTo>
                  <a:lnTo>
                    <a:pt x="744" y="712"/>
                  </a:lnTo>
                  <a:lnTo>
                    <a:pt x="741" y="712"/>
                  </a:lnTo>
                  <a:lnTo>
                    <a:pt x="740" y="710"/>
                  </a:lnTo>
                  <a:lnTo>
                    <a:pt x="738" y="708"/>
                  </a:lnTo>
                  <a:lnTo>
                    <a:pt x="738" y="710"/>
                  </a:lnTo>
                  <a:lnTo>
                    <a:pt x="739" y="712"/>
                  </a:lnTo>
                  <a:lnTo>
                    <a:pt x="739" y="714"/>
                  </a:lnTo>
                  <a:lnTo>
                    <a:pt x="740" y="716"/>
                  </a:lnTo>
                  <a:lnTo>
                    <a:pt x="741" y="717"/>
                  </a:lnTo>
                  <a:lnTo>
                    <a:pt x="740" y="718"/>
                  </a:lnTo>
                  <a:lnTo>
                    <a:pt x="740" y="720"/>
                  </a:lnTo>
                  <a:lnTo>
                    <a:pt x="741" y="720"/>
                  </a:lnTo>
                  <a:lnTo>
                    <a:pt x="741" y="722"/>
                  </a:lnTo>
                  <a:lnTo>
                    <a:pt x="746" y="723"/>
                  </a:lnTo>
                  <a:lnTo>
                    <a:pt x="746" y="722"/>
                  </a:lnTo>
                  <a:lnTo>
                    <a:pt x="749" y="722"/>
                  </a:lnTo>
                  <a:lnTo>
                    <a:pt x="752" y="723"/>
                  </a:lnTo>
                  <a:lnTo>
                    <a:pt x="751" y="720"/>
                  </a:lnTo>
                  <a:lnTo>
                    <a:pt x="752" y="719"/>
                  </a:lnTo>
                  <a:lnTo>
                    <a:pt x="753" y="719"/>
                  </a:lnTo>
                  <a:lnTo>
                    <a:pt x="756" y="719"/>
                  </a:lnTo>
                  <a:lnTo>
                    <a:pt x="755" y="720"/>
                  </a:lnTo>
                  <a:lnTo>
                    <a:pt x="755" y="722"/>
                  </a:lnTo>
                  <a:lnTo>
                    <a:pt x="756" y="723"/>
                  </a:lnTo>
                  <a:lnTo>
                    <a:pt x="757" y="723"/>
                  </a:lnTo>
                  <a:lnTo>
                    <a:pt x="757" y="724"/>
                  </a:lnTo>
                  <a:lnTo>
                    <a:pt x="757" y="725"/>
                  </a:lnTo>
                  <a:lnTo>
                    <a:pt x="758" y="726"/>
                  </a:lnTo>
                  <a:lnTo>
                    <a:pt x="757" y="728"/>
                  </a:lnTo>
                  <a:lnTo>
                    <a:pt x="756" y="730"/>
                  </a:lnTo>
                  <a:lnTo>
                    <a:pt x="757" y="732"/>
                  </a:lnTo>
                  <a:lnTo>
                    <a:pt x="759" y="735"/>
                  </a:lnTo>
                  <a:lnTo>
                    <a:pt x="757" y="737"/>
                  </a:lnTo>
                  <a:lnTo>
                    <a:pt x="755" y="737"/>
                  </a:lnTo>
                  <a:lnTo>
                    <a:pt x="753" y="737"/>
                  </a:lnTo>
                  <a:lnTo>
                    <a:pt x="752" y="737"/>
                  </a:lnTo>
                  <a:lnTo>
                    <a:pt x="752" y="738"/>
                  </a:lnTo>
                  <a:lnTo>
                    <a:pt x="752" y="740"/>
                  </a:lnTo>
                  <a:lnTo>
                    <a:pt x="752" y="741"/>
                  </a:lnTo>
                  <a:lnTo>
                    <a:pt x="750" y="741"/>
                  </a:lnTo>
                  <a:lnTo>
                    <a:pt x="749" y="741"/>
                  </a:lnTo>
                  <a:lnTo>
                    <a:pt x="749" y="742"/>
                  </a:lnTo>
                  <a:lnTo>
                    <a:pt x="751" y="744"/>
                  </a:lnTo>
                  <a:lnTo>
                    <a:pt x="753" y="744"/>
                  </a:lnTo>
                  <a:lnTo>
                    <a:pt x="755" y="743"/>
                  </a:lnTo>
                  <a:lnTo>
                    <a:pt x="756" y="742"/>
                  </a:lnTo>
                  <a:lnTo>
                    <a:pt x="757" y="741"/>
                  </a:lnTo>
                  <a:lnTo>
                    <a:pt x="758" y="741"/>
                  </a:lnTo>
                  <a:lnTo>
                    <a:pt x="758" y="742"/>
                  </a:lnTo>
                  <a:lnTo>
                    <a:pt x="761" y="742"/>
                  </a:lnTo>
                  <a:lnTo>
                    <a:pt x="761" y="743"/>
                  </a:lnTo>
                  <a:lnTo>
                    <a:pt x="761" y="746"/>
                  </a:lnTo>
                  <a:lnTo>
                    <a:pt x="763" y="749"/>
                  </a:lnTo>
                  <a:lnTo>
                    <a:pt x="764" y="752"/>
                  </a:lnTo>
                  <a:lnTo>
                    <a:pt x="765" y="750"/>
                  </a:lnTo>
                  <a:lnTo>
                    <a:pt x="767" y="750"/>
                  </a:lnTo>
                  <a:lnTo>
                    <a:pt x="768" y="753"/>
                  </a:lnTo>
                  <a:lnTo>
                    <a:pt x="769" y="755"/>
                  </a:lnTo>
                  <a:lnTo>
                    <a:pt x="770" y="755"/>
                  </a:lnTo>
                  <a:lnTo>
                    <a:pt x="770" y="756"/>
                  </a:lnTo>
                  <a:lnTo>
                    <a:pt x="769" y="756"/>
                  </a:lnTo>
                  <a:lnTo>
                    <a:pt x="767" y="756"/>
                  </a:lnTo>
                  <a:lnTo>
                    <a:pt x="764" y="760"/>
                  </a:lnTo>
                  <a:lnTo>
                    <a:pt x="765" y="760"/>
                  </a:lnTo>
                  <a:lnTo>
                    <a:pt x="767" y="760"/>
                  </a:lnTo>
                  <a:lnTo>
                    <a:pt x="768" y="760"/>
                  </a:lnTo>
                  <a:lnTo>
                    <a:pt x="767" y="761"/>
                  </a:lnTo>
                  <a:lnTo>
                    <a:pt x="765" y="764"/>
                  </a:lnTo>
                  <a:lnTo>
                    <a:pt x="763" y="764"/>
                  </a:lnTo>
                  <a:lnTo>
                    <a:pt x="761" y="762"/>
                  </a:lnTo>
                  <a:lnTo>
                    <a:pt x="759" y="764"/>
                  </a:lnTo>
                  <a:lnTo>
                    <a:pt x="759" y="765"/>
                  </a:lnTo>
                  <a:lnTo>
                    <a:pt x="758" y="764"/>
                  </a:lnTo>
                  <a:lnTo>
                    <a:pt x="757" y="762"/>
                  </a:lnTo>
                  <a:lnTo>
                    <a:pt x="756" y="762"/>
                  </a:lnTo>
                  <a:lnTo>
                    <a:pt x="756" y="761"/>
                  </a:lnTo>
                  <a:lnTo>
                    <a:pt x="753" y="764"/>
                  </a:lnTo>
                  <a:lnTo>
                    <a:pt x="751" y="762"/>
                  </a:lnTo>
                  <a:lnTo>
                    <a:pt x="750" y="764"/>
                  </a:lnTo>
                  <a:lnTo>
                    <a:pt x="749" y="762"/>
                  </a:lnTo>
                  <a:lnTo>
                    <a:pt x="747" y="761"/>
                  </a:lnTo>
                  <a:lnTo>
                    <a:pt x="746" y="760"/>
                  </a:lnTo>
                  <a:lnTo>
                    <a:pt x="744" y="759"/>
                  </a:lnTo>
                  <a:lnTo>
                    <a:pt x="741" y="759"/>
                  </a:lnTo>
                  <a:lnTo>
                    <a:pt x="739" y="755"/>
                  </a:lnTo>
                  <a:lnTo>
                    <a:pt x="736" y="753"/>
                  </a:lnTo>
                  <a:lnTo>
                    <a:pt x="735" y="754"/>
                  </a:lnTo>
                  <a:lnTo>
                    <a:pt x="734" y="754"/>
                  </a:lnTo>
                  <a:lnTo>
                    <a:pt x="730" y="754"/>
                  </a:lnTo>
                  <a:lnTo>
                    <a:pt x="730" y="750"/>
                  </a:lnTo>
                  <a:lnTo>
                    <a:pt x="734" y="752"/>
                  </a:lnTo>
                  <a:lnTo>
                    <a:pt x="734" y="748"/>
                  </a:lnTo>
                  <a:lnTo>
                    <a:pt x="733" y="747"/>
                  </a:lnTo>
                  <a:lnTo>
                    <a:pt x="734" y="746"/>
                  </a:lnTo>
                  <a:lnTo>
                    <a:pt x="735" y="746"/>
                  </a:lnTo>
                  <a:lnTo>
                    <a:pt x="735" y="744"/>
                  </a:lnTo>
                  <a:lnTo>
                    <a:pt x="736" y="746"/>
                  </a:lnTo>
                  <a:lnTo>
                    <a:pt x="736" y="747"/>
                  </a:lnTo>
                  <a:lnTo>
                    <a:pt x="738" y="750"/>
                  </a:lnTo>
                  <a:lnTo>
                    <a:pt x="740" y="753"/>
                  </a:lnTo>
                  <a:lnTo>
                    <a:pt x="741" y="753"/>
                  </a:lnTo>
                  <a:lnTo>
                    <a:pt x="741" y="754"/>
                  </a:lnTo>
                  <a:lnTo>
                    <a:pt x="744" y="755"/>
                  </a:lnTo>
                  <a:lnTo>
                    <a:pt x="746" y="754"/>
                  </a:lnTo>
                  <a:lnTo>
                    <a:pt x="747" y="754"/>
                  </a:lnTo>
                  <a:lnTo>
                    <a:pt x="750" y="754"/>
                  </a:lnTo>
                  <a:lnTo>
                    <a:pt x="751" y="753"/>
                  </a:lnTo>
                  <a:lnTo>
                    <a:pt x="750" y="749"/>
                  </a:lnTo>
                  <a:lnTo>
                    <a:pt x="749" y="749"/>
                  </a:lnTo>
                  <a:lnTo>
                    <a:pt x="747" y="749"/>
                  </a:lnTo>
                  <a:lnTo>
                    <a:pt x="746" y="752"/>
                  </a:lnTo>
                  <a:lnTo>
                    <a:pt x="746" y="749"/>
                  </a:lnTo>
                  <a:lnTo>
                    <a:pt x="745" y="747"/>
                  </a:lnTo>
                  <a:lnTo>
                    <a:pt x="745" y="744"/>
                  </a:lnTo>
                  <a:lnTo>
                    <a:pt x="743" y="741"/>
                  </a:lnTo>
                  <a:lnTo>
                    <a:pt x="746" y="740"/>
                  </a:lnTo>
                  <a:lnTo>
                    <a:pt x="743" y="738"/>
                  </a:lnTo>
                  <a:lnTo>
                    <a:pt x="743" y="737"/>
                  </a:lnTo>
                  <a:lnTo>
                    <a:pt x="741" y="736"/>
                  </a:lnTo>
                  <a:lnTo>
                    <a:pt x="740" y="735"/>
                  </a:lnTo>
                  <a:lnTo>
                    <a:pt x="739" y="734"/>
                  </a:lnTo>
                  <a:lnTo>
                    <a:pt x="741" y="731"/>
                  </a:lnTo>
                  <a:lnTo>
                    <a:pt x="740" y="730"/>
                  </a:lnTo>
                  <a:lnTo>
                    <a:pt x="739" y="730"/>
                  </a:lnTo>
                  <a:lnTo>
                    <a:pt x="736" y="730"/>
                  </a:lnTo>
                  <a:lnTo>
                    <a:pt x="735" y="731"/>
                  </a:lnTo>
                  <a:lnTo>
                    <a:pt x="735" y="732"/>
                  </a:lnTo>
                  <a:lnTo>
                    <a:pt x="734" y="734"/>
                  </a:lnTo>
                  <a:lnTo>
                    <a:pt x="736" y="735"/>
                  </a:lnTo>
                  <a:lnTo>
                    <a:pt x="736" y="736"/>
                  </a:lnTo>
                  <a:lnTo>
                    <a:pt x="738" y="736"/>
                  </a:lnTo>
                  <a:lnTo>
                    <a:pt x="739" y="736"/>
                  </a:lnTo>
                  <a:lnTo>
                    <a:pt x="741" y="736"/>
                  </a:lnTo>
                  <a:lnTo>
                    <a:pt x="741" y="737"/>
                  </a:lnTo>
                  <a:lnTo>
                    <a:pt x="740" y="737"/>
                  </a:lnTo>
                  <a:lnTo>
                    <a:pt x="739" y="737"/>
                  </a:lnTo>
                  <a:lnTo>
                    <a:pt x="738" y="738"/>
                  </a:lnTo>
                  <a:lnTo>
                    <a:pt x="736" y="740"/>
                  </a:lnTo>
                  <a:lnTo>
                    <a:pt x="735" y="737"/>
                  </a:lnTo>
                  <a:lnTo>
                    <a:pt x="735" y="736"/>
                  </a:lnTo>
                  <a:lnTo>
                    <a:pt x="734" y="736"/>
                  </a:lnTo>
                  <a:lnTo>
                    <a:pt x="732" y="735"/>
                  </a:lnTo>
                  <a:lnTo>
                    <a:pt x="730" y="735"/>
                  </a:lnTo>
                  <a:lnTo>
                    <a:pt x="729" y="734"/>
                  </a:lnTo>
                  <a:lnTo>
                    <a:pt x="728" y="732"/>
                  </a:lnTo>
                  <a:lnTo>
                    <a:pt x="726" y="729"/>
                  </a:lnTo>
                  <a:lnTo>
                    <a:pt x="724" y="729"/>
                  </a:lnTo>
                  <a:lnTo>
                    <a:pt x="722" y="728"/>
                  </a:lnTo>
                  <a:lnTo>
                    <a:pt x="722" y="726"/>
                  </a:lnTo>
                  <a:lnTo>
                    <a:pt x="720" y="725"/>
                  </a:lnTo>
                  <a:lnTo>
                    <a:pt x="718" y="724"/>
                  </a:lnTo>
                  <a:lnTo>
                    <a:pt x="717" y="723"/>
                  </a:lnTo>
                  <a:lnTo>
                    <a:pt x="716" y="722"/>
                  </a:lnTo>
                  <a:lnTo>
                    <a:pt x="716" y="719"/>
                  </a:lnTo>
                  <a:lnTo>
                    <a:pt x="718" y="719"/>
                  </a:lnTo>
                  <a:lnTo>
                    <a:pt x="721" y="719"/>
                  </a:lnTo>
                  <a:lnTo>
                    <a:pt x="721" y="718"/>
                  </a:lnTo>
                  <a:lnTo>
                    <a:pt x="721" y="716"/>
                  </a:lnTo>
                  <a:lnTo>
                    <a:pt x="721" y="714"/>
                  </a:lnTo>
                  <a:lnTo>
                    <a:pt x="720" y="713"/>
                  </a:lnTo>
                  <a:lnTo>
                    <a:pt x="721" y="711"/>
                  </a:lnTo>
                  <a:lnTo>
                    <a:pt x="721" y="707"/>
                  </a:lnTo>
                  <a:lnTo>
                    <a:pt x="720" y="711"/>
                  </a:lnTo>
                  <a:lnTo>
                    <a:pt x="718" y="713"/>
                  </a:lnTo>
                  <a:lnTo>
                    <a:pt x="716" y="713"/>
                  </a:lnTo>
                  <a:lnTo>
                    <a:pt x="714" y="713"/>
                  </a:lnTo>
                  <a:lnTo>
                    <a:pt x="712" y="712"/>
                  </a:lnTo>
                  <a:lnTo>
                    <a:pt x="711" y="711"/>
                  </a:lnTo>
                  <a:lnTo>
                    <a:pt x="709" y="710"/>
                  </a:lnTo>
                  <a:lnTo>
                    <a:pt x="708" y="710"/>
                  </a:lnTo>
                  <a:lnTo>
                    <a:pt x="708" y="707"/>
                  </a:lnTo>
                  <a:lnTo>
                    <a:pt x="706" y="706"/>
                  </a:lnTo>
                  <a:lnTo>
                    <a:pt x="705" y="706"/>
                  </a:lnTo>
                  <a:lnTo>
                    <a:pt x="703" y="707"/>
                  </a:lnTo>
                  <a:lnTo>
                    <a:pt x="702" y="708"/>
                  </a:lnTo>
                  <a:lnTo>
                    <a:pt x="702" y="707"/>
                  </a:lnTo>
                  <a:lnTo>
                    <a:pt x="700" y="706"/>
                  </a:lnTo>
                  <a:lnTo>
                    <a:pt x="699" y="705"/>
                  </a:lnTo>
                  <a:lnTo>
                    <a:pt x="698" y="702"/>
                  </a:lnTo>
                  <a:lnTo>
                    <a:pt x="698" y="699"/>
                  </a:lnTo>
                  <a:lnTo>
                    <a:pt x="697" y="697"/>
                  </a:lnTo>
                  <a:lnTo>
                    <a:pt x="696" y="695"/>
                  </a:lnTo>
                  <a:lnTo>
                    <a:pt x="696" y="694"/>
                  </a:lnTo>
                  <a:lnTo>
                    <a:pt x="697" y="693"/>
                  </a:lnTo>
                  <a:lnTo>
                    <a:pt x="697" y="691"/>
                  </a:lnTo>
                  <a:lnTo>
                    <a:pt x="699" y="693"/>
                  </a:lnTo>
                  <a:lnTo>
                    <a:pt x="699" y="691"/>
                  </a:lnTo>
                  <a:lnTo>
                    <a:pt x="699" y="694"/>
                  </a:lnTo>
                  <a:lnTo>
                    <a:pt x="700" y="694"/>
                  </a:lnTo>
                  <a:lnTo>
                    <a:pt x="702" y="694"/>
                  </a:lnTo>
                  <a:lnTo>
                    <a:pt x="702" y="691"/>
                  </a:lnTo>
                  <a:lnTo>
                    <a:pt x="703" y="689"/>
                  </a:lnTo>
                  <a:lnTo>
                    <a:pt x="704" y="690"/>
                  </a:lnTo>
                  <a:lnTo>
                    <a:pt x="705" y="691"/>
                  </a:lnTo>
                  <a:lnTo>
                    <a:pt x="705" y="690"/>
                  </a:lnTo>
                  <a:lnTo>
                    <a:pt x="705" y="689"/>
                  </a:lnTo>
                  <a:lnTo>
                    <a:pt x="704" y="687"/>
                  </a:lnTo>
                  <a:lnTo>
                    <a:pt x="705" y="687"/>
                  </a:lnTo>
                  <a:lnTo>
                    <a:pt x="704" y="683"/>
                  </a:lnTo>
                  <a:lnTo>
                    <a:pt x="705" y="682"/>
                  </a:lnTo>
                  <a:lnTo>
                    <a:pt x="706" y="679"/>
                  </a:lnTo>
                  <a:lnTo>
                    <a:pt x="706" y="678"/>
                  </a:lnTo>
                  <a:lnTo>
                    <a:pt x="708" y="677"/>
                  </a:lnTo>
                  <a:lnTo>
                    <a:pt x="709" y="679"/>
                  </a:lnTo>
                  <a:lnTo>
                    <a:pt x="710" y="681"/>
                  </a:lnTo>
                  <a:lnTo>
                    <a:pt x="709" y="682"/>
                  </a:lnTo>
                  <a:lnTo>
                    <a:pt x="710" y="684"/>
                  </a:lnTo>
                  <a:lnTo>
                    <a:pt x="710" y="687"/>
                  </a:lnTo>
                  <a:lnTo>
                    <a:pt x="712" y="687"/>
                  </a:lnTo>
                  <a:lnTo>
                    <a:pt x="712" y="685"/>
                  </a:lnTo>
                  <a:lnTo>
                    <a:pt x="714" y="690"/>
                  </a:lnTo>
                  <a:lnTo>
                    <a:pt x="711" y="689"/>
                  </a:lnTo>
                  <a:lnTo>
                    <a:pt x="709" y="690"/>
                  </a:lnTo>
                  <a:lnTo>
                    <a:pt x="710" y="691"/>
                  </a:lnTo>
                  <a:lnTo>
                    <a:pt x="710" y="693"/>
                  </a:lnTo>
                  <a:lnTo>
                    <a:pt x="712" y="693"/>
                  </a:lnTo>
                  <a:lnTo>
                    <a:pt x="712" y="691"/>
                  </a:lnTo>
                  <a:lnTo>
                    <a:pt x="714" y="691"/>
                  </a:lnTo>
                  <a:lnTo>
                    <a:pt x="716" y="690"/>
                  </a:lnTo>
                  <a:lnTo>
                    <a:pt x="717" y="690"/>
                  </a:lnTo>
                  <a:lnTo>
                    <a:pt x="717" y="693"/>
                  </a:lnTo>
                  <a:lnTo>
                    <a:pt x="718" y="694"/>
                  </a:lnTo>
                  <a:lnTo>
                    <a:pt x="721" y="695"/>
                  </a:lnTo>
                  <a:lnTo>
                    <a:pt x="721" y="696"/>
                  </a:lnTo>
                  <a:lnTo>
                    <a:pt x="723" y="696"/>
                  </a:lnTo>
                  <a:lnTo>
                    <a:pt x="723" y="695"/>
                  </a:lnTo>
                  <a:lnTo>
                    <a:pt x="724" y="694"/>
                  </a:lnTo>
                  <a:lnTo>
                    <a:pt x="726" y="691"/>
                  </a:lnTo>
                  <a:lnTo>
                    <a:pt x="726" y="690"/>
                  </a:lnTo>
                  <a:lnTo>
                    <a:pt x="726" y="688"/>
                  </a:lnTo>
                  <a:lnTo>
                    <a:pt x="723" y="687"/>
                  </a:lnTo>
                  <a:lnTo>
                    <a:pt x="726" y="684"/>
                  </a:lnTo>
                  <a:lnTo>
                    <a:pt x="727" y="682"/>
                  </a:lnTo>
                  <a:lnTo>
                    <a:pt x="724" y="678"/>
                  </a:lnTo>
                  <a:lnTo>
                    <a:pt x="723" y="677"/>
                  </a:lnTo>
                  <a:lnTo>
                    <a:pt x="720" y="676"/>
                  </a:lnTo>
                  <a:lnTo>
                    <a:pt x="715" y="676"/>
                  </a:lnTo>
                  <a:lnTo>
                    <a:pt x="711" y="676"/>
                  </a:lnTo>
                  <a:lnTo>
                    <a:pt x="708" y="676"/>
                  </a:lnTo>
                  <a:lnTo>
                    <a:pt x="705" y="677"/>
                  </a:lnTo>
                  <a:lnTo>
                    <a:pt x="704" y="677"/>
                  </a:lnTo>
                  <a:lnTo>
                    <a:pt x="703" y="677"/>
                  </a:lnTo>
                  <a:lnTo>
                    <a:pt x="702" y="677"/>
                  </a:lnTo>
                  <a:lnTo>
                    <a:pt x="700" y="678"/>
                  </a:lnTo>
                  <a:lnTo>
                    <a:pt x="698" y="676"/>
                  </a:lnTo>
                  <a:lnTo>
                    <a:pt x="696" y="673"/>
                  </a:lnTo>
                  <a:lnTo>
                    <a:pt x="693" y="672"/>
                  </a:lnTo>
                  <a:lnTo>
                    <a:pt x="692" y="672"/>
                  </a:lnTo>
                  <a:lnTo>
                    <a:pt x="690" y="672"/>
                  </a:lnTo>
                  <a:lnTo>
                    <a:pt x="687" y="672"/>
                  </a:lnTo>
                  <a:lnTo>
                    <a:pt x="686" y="672"/>
                  </a:lnTo>
                  <a:lnTo>
                    <a:pt x="687" y="673"/>
                  </a:lnTo>
                  <a:lnTo>
                    <a:pt x="687" y="675"/>
                  </a:lnTo>
                  <a:lnTo>
                    <a:pt x="690" y="675"/>
                  </a:lnTo>
                  <a:lnTo>
                    <a:pt x="691" y="675"/>
                  </a:lnTo>
                  <a:lnTo>
                    <a:pt x="690" y="676"/>
                  </a:lnTo>
                  <a:lnTo>
                    <a:pt x="690" y="677"/>
                  </a:lnTo>
                  <a:lnTo>
                    <a:pt x="686" y="677"/>
                  </a:lnTo>
                  <a:lnTo>
                    <a:pt x="684" y="678"/>
                  </a:lnTo>
                  <a:lnTo>
                    <a:pt x="681" y="682"/>
                  </a:lnTo>
                  <a:lnTo>
                    <a:pt x="680" y="683"/>
                  </a:lnTo>
                  <a:lnTo>
                    <a:pt x="679" y="682"/>
                  </a:lnTo>
                  <a:lnTo>
                    <a:pt x="678" y="681"/>
                  </a:lnTo>
                  <a:lnTo>
                    <a:pt x="676" y="681"/>
                  </a:lnTo>
                  <a:lnTo>
                    <a:pt x="673" y="682"/>
                  </a:lnTo>
                  <a:lnTo>
                    <a:pt x="671" y="681"/>
                  </a:lnTo>
                  <a:lnTo>
                    <a:pt x="671" y="679"/>
                  </a:lnTo>
                  <a:lnTo>
                    <a:pt x="669" y="678"/>
                  </a:lnTo>
                  <a:lnTo>
                    <a:pt x="668" y="678"/>
                  </a:lnTo>
                  <a:lnTo>
                    <a:pt x="665" y="678"/>
                  </a:lnTo>
                  <a:lnTo>
                    <a:pt x="664" y="679"/>
                  </a:lnTo>
                  <a:lnTo>
                    <a:pt x="662" y="679"/>
                  </a:lnTo>
                  <a:lnTo>
                    <a:pt x="662" y="681"/>
                  </a:lnTo>
                  <a:lnTo>
                    <a:pt x="661" y="681"/>
                  </a:lnTo>
                  <a:lnTo>
                    <a:pt x="659" y="684"/>
                  </a:lnTo>
                  <a:lnTo>
                    <a:pt x="656" y="684"/>
                  </a:lnTo>
                  <a:lnTo>
                    <a:pt x="655" y="683"/>
                  </a:lnTo>
                  <a:lnTo>
                    <a:pt x="655" y="682"/>
                  </a:lnTo>
                  <a:lnTo>
                    <a:pt x="651" y="681"/>
                  </a:lnTo>
                  <a:lnTo>
                    <a:pt x="650" y="682"/>
                  </a:lnTo>
                  <a:lnTo>
                    <a:pt x="649" y="684"/>
                  </a:lnTo>
                  <a:lnTo>
                    <a:pt x="647" y="684"/>
                  </a:lnTo>
                  <a:lnTo>
                    <a:pt x="647" y="683"/>
                  </a:lnTo>
                  <a:lnTo>
                    <a:pt x="646" y="682"/>
                  </a:lnTo>
                  <a:lnTo>
                    <a:pt x="645" y="681"/>
                  </a:lnTo>
                  <a:lnTo>
                    <a:pt x="645" y="678"/>
                  </a:lnTo>
                  <a:lnTo>
                    <a:pt x="644" y="675"/>
                  </a:lnTo>
                  <a:lnTo>
                    <a:pt x="644" y="673"/>
                  </a:lnTo>
                  <a:lnTo>
                    <a:pt x="643" y="672"/>
                  </a:lnTo>
                  <a:lnTo>
                    <a:pt x="641" y="672"/>
                  </a:lnTo>
                  <a:lnTo>
                    <a:pt x="639" y="673"/>
                  </a:lnTo>
                  <a:lnTo>
                    <a:pt x="637" y="673"/>
                  </a:lnTo>
                  <a:lnTo>
                    <a:pt x="626" y="676"/>
                  </a:lnTo>
                  <a:lnTo>
                    <a:pt x="621" y="677"/>
                  </a:lnTo>
                  <a:lnTo>
                    <a:pt x="619" y="677"/>
                  </a:lnTo>
                  <a:lnTo>
                    <a:pt x="616" y="678"/>
                  </a:lnTo>
                  <a:lnTo>
                    <a:pt x="614" y="679"/>
                  </a:lnTo>
                  <a:lnTo>
                    <a:pt x="611" y="679"/>
                  </a:lnTo>
                  <a:lnTo>
                    <a:pt x="605" y="679"/>
                  </a:lnTo>
                  <a:lnTo>
                    <a:pt x="602" y="681"/>
                  </a:lnTo>
                  <a:lnTo>
                    <a:pt x="600" y="683"/>
                  </a:lnTo>
                  <a:lnTo>
                    <a:pt x="594" y="683"/>
                  </a:lnTo>
                  <a:lnTo>
                    <a:pt x="592" y="681"/>
                  </a:lnTo>
                  <a:lnTo>
                    <a:pt x="588" y="681"/>
                  </a:lnTo>
                  <a:lnTo>
                    <a:pt x="584" y="682"/>
                  </a:lnTo>
                  <a:lnTo>
                    <a:pt x="574" y="682"/>
                  </a:lnTo>
                  <a:lnTo>
                    <a:pt x="572" y="682"/>
                  </a:lnTo>
                  <a:lnTo>
                    <a:pt x="572" y="683"/>
                  </a:lnTo>
                  <a:lnTo>
                    <a:pt x="572" y="688"/>
                  </a:lnTo>
                  <a:lnTo>
                    <a:pt x="573" y="687"/>
                  </a:lnTo>
                  <a:lnTo>
                    <a:pt x="574" y="688"/>
                  </a:lnTo>
                  <a:lnTo>
                    <a:pt x="574" y="690"/>
                  </a:lnTo>
                  <a:lnTo>
                    <a:pt x="575" y="691"/>
                  </a:lnTo>
                  <a:lnTo>
                    <a:pt x="575" y="690"/>
                  </a:lnTo>
                  <a:lnTo>
                    <a:pt x="576" y="690"/>
                  </a:lnTo>
                  <a:lnTo>
                    <a:pt x="578" y="691"/>
                  </a:lnTo>
                  <a:lnTo>
                    <a:pt x="579" y="690"/>
                  </a:lnTo>
                  <a:lnTo>
                    <a:pt x="580" y="690"/>
                  </a:lnTo>
                  <a:lnTo>
                    <a:pt x="582" y="690"/>
                  </a:lnTo>
                  <a:lnTo>
                    <a:pt x="585" y="690"/>
                  </a:lnTo>
                  <a:lnTo>
                    <a:pt x="585" y="691"/>
                  </a:lnTo>
                  <a:lnTo>
                    <a:pt x="586" y="690"/>
                  </a:lnTo>
                  <a:lnTo>
                    <a:pt x="587" y="690"/>
                  </a:lnTo>
                  <a:lnTo>
                    <a:pt x="588" y="694"/>
                  </a:lnTo>
                  <a:lnTo>
                    <a:pt x="588" y="691"/>
                  </a:lnTo>
                  <a:lnTo>
                    <a:pt x="591" y="693"/>
                  </a:lnTo>
                  <a:lnTo>
                    <a:pt x="591" y="694"/>
                  </a:lnTo>
                  <a:lnTo>
                    <a:pt x="591" y="695"/>
                  </a:lnTo>
                  <a:lnTo>
                    <a:pt x="592" y="695"/>
                  </a:lnTo>
                  <a:lnTo>
                    <a:pt x="591" y="696"/>
                  </a:lnTo>
                  <a:lnTo>
                    <a:pt x="593" y="697"/>
                  </a:lnTo>
                  <a:lnTo>
                    <a:pt x="597" y="699"/>
                  </a:lnTo>
                  <a:lnTo>
                    <a:pt x="597" y="701"/>
                  </a:lnTo>
                  <a:lnTo>
                    <a:pt x="596" y="701"/>
                  </a:lnTo>
                  <a:lnTo>
                    <a:pt x="596" y="705"/>
                  </a:lnTo>
                  <a:lnTo>
                    <a:pt x="596" y="707"/>
                  </a:lnTo>
                  <a:lnTo>
                    <a:pt x="597" y="707"/>
                  </a:lnTo>
                  <a:lnTo>
                    <a:pt x="596" y="711"/>
                  </a:lnTo>
                  <a:lnTo>
                    <a:pt x="596" y="713"/>
                  </a:lnTo>
                  <a:lnTo>
                    <a:pt x="597" y="714"/>
                  </a:lnTo>
                  <a:lnTo>
                    <a:pt x="594" y="716"/>
                  </a:lnTo>
                  <a:lnTo>
                    <a:pt x="591" y="717"/>
                  </a:lnTo>
                  <a:lnTo>
                    <a:pt x="590" y="718"/>
                  </a:lnTo>
                  <a:lnTo>
                    <a:pt x="587" y="718"/>
                  </a:lnTo>
                  <a:lnTo>
                    <a:pt x="586" y="719"/>
                  </a:lnTo>
                  <a:lnTo>
                    <a:pt x="585" y="719"/>
                  </a:lnTo>
                  <a:lnTo>
                    <a:pt x="580" y="719"/>
                  </a:lnTo>
                  <a:lnTo>
                    <a:pt x="582" y="720"/>
                  </a:lnTo>
                  <a:lnTo>
                    <a:pt x="586" y="723"/>
                  </a:lnTo>
                  <a:lnTo>
                    <a:pt x="587" y="723"/>
                  </a:lnTo>
                  <a:lnTo>
                    <a:pt x="588" y="723"/>
                  </a:lnTo>
                  <a:lnTo>
                    <a:pt x="592" y="723"/>
                  </a:lnTo>
                  <a:lnTo>
                    <a:pt x="606" y="723"/>
                  </a:lnTo>
                  <a:lnTo>
                    <a:pt x="606" y="722"/>
                  </a:lnTo>
                  <a:lnTo>
                    <a:pt x="610" y="722"/>
                  </a:lnTo>
                  <a:lnTo>
                    <a:pt x="610" y="724"/>
                  </a:lnTo>
                  <a:lnTo>
                    <a:pt x="612" y="724"/>
                  </a:lnTo>
                  <a:lnTo>
                    <a:pt x="616" y="724"/>
                  </a:lnTo>
                  <a:lnTo>
                    <a:pt x="623" y="725"/>
                  </a:lnTo>
                  <a:lnTo>
                    <a:pt x="626" y="726"/>
                  </a:lnTo>
                  <a:lnTo>
                    <a:pt x="628" y="726"/>
                  </a:lnTo>
                  <a:lnTo>
                    <a:pt x="631" y="725"/>
                  </a:lnTo>
                  <a:lnTo>
                    <a:pt x="631" y="723"/>
                  </a:lnTo>
                  <a:lnTo>
                    <a:pt x="631" y="722"/>
                  </a:lnTo>
                  <a:lnTo>
                    <a:pt x="628" y="722"/>
                  </a:lnTo>
                  <a:lnTo>
                    <a:pt x="627" y="722"/>
                  </a:lnTo>
                  <a:lnTo>
                    <a:pt x="627" y="720"/>
                  </a:lnTo>
                  <a:lnTo>
                    <a:pt x="626" y="718"/>
                  </a:lnTo>
                  <a:lnTo>
                    <a:pt x="627" y="717"/>
                  </a:lnTo>
                  <a:lnTo>
                    <a:pt x="629" y="717"/>
                  </a:lnTo>
                  <a:lnTo>
                    <a:pt x="633" y="717"/>
                  </a:lnTo>
                  <a:lnTo>
                    <a:pt x="635" y="717"/>
                  </a:lnTo>
                  <a:lnTo>
                    <a:pt x="637" y="718"/>
                  </a:lnTo>
                  <a:lnTo>
                    <a:pt x="637" y="717"/>
                  </a:lnTo>
                  <a:lnTo>
                    <a:pt x="640" y="717"/>
                  </a:lnTo>
                  <a:lnTo>
                    <a:pt x="639" y="719"/>
                  </a:lnTo>
                  <a:lnTo>
                    <a:pt x="640" y="720"/>
                  </a:lnTo>
                  <a:lnTo>
                    <a:pt x="641" y="720"/>
                  </a:lnTo>
                  <a:lnTo>
                    <a:pt x="644" y="719"/>
                  </a:lnTo>
                  <a:lnTo>
                    <a:pt x="644" y="717"/>
                  </a:lnTo>
                  <a:lnTo>
                    <a:pt x="647" y="717"/>
                  </a:lnTo>
                  <a:lnTo>
                    <a:pt x="649" y="716"/>
                  </a:lnTo>
                  <a:lnTo>
                    <a:pt x="650" y="714"/>
                  </a:lnTo>
                  <a:lnTo>
                    <a:pt x="649" y="713"/>
                  </a:lnTo>
                  <a:lnTo>
                    <a:pt x="651" y="713"/>
                  </a:lnTo>
                  <a:lnTo>
                    <a:pt x="652" y="713"/>
                  </a:lnTo>
                  <a:lnTo>
                    <a:pt x="653" y="713"/>
                  </a:lnTo>
                  <a:lnTo>
                    <a:pt x="653" y="712"/>
                  </a:lnTo>
                  <a:lnTo>
                    <a:pt x="655" y="712"/>
                  </a:lnTo>
                  <a:lnTo>
                    <a:pt x="656" y="711"/>
                  </a:lnTo>
                  <a:lnTo>
                    <a:pt x="657" y="711"/>
                  </a:lnTo>
                  <a:lnTo>
                    <a:pt x="658" y="711"/>
                  </a:lnTo>
                  <a:lnTo>
                    <a:pt x="658" y="710"/>
                  </a:lnTo>
                  <a:lnTo>
                    <a:pt x="663" y="710"/>
                  </a:lnTo>
                  <a:lnTo>
                    <a:pt x="663" y="711"/>
                  </a:lnTo>
                  <a:lnTo>
                    <a:pt x="664" y="711"/>
                  </a:lnTo>
                  <a:lnTo>
                    <a:pt x="665" y="711"/>
                  </a:lnTo>
                  <a:lnTo>
                    <a:pt x="668" y="711"/>
                  </a:lnTo>
                  <a:lnTo>
                    <a:pt x="668" y="712"/>
                  </a:lnTo>
                  <a:lnTo>
                    <a:pt x="671" y="714"/>
                  </a:lnTo>
                  <a:lnTo>
                    <a:pt x="671" y="716"/>
                  </a:lnTo>
                  <a:lnTo>
                    <a:pt x="674" y="716"/>
                  </a:lnTo>
                  <a:lnTo>
                    <a:pt x="674" y="718"/>
                  </a:lnTo>
                  <a:lnTo>
                    <a:pt x="675" y="718"/>
                  </a:lnTo>
                  <a:lnTo>
                    <a:pt x="676" y="718"/>
                  </a:lnTo>
                  <a:lnTo>
                    <a:pt x="676" y="719"/>
                  </a:lnTo>
                  <a:lnTo>
                    <a:pt x="678" y="719"/>
                  </a:lnTo>
                  <a:lnTo>
                    <a:pt x="678" y="720"/>
                  </a:lnTo>
                  <a:lnTo>
                    <a:pt x="678" y="722"/>
                  </a:lnTo>
                  <a:lnTo>
                    <a:pt x="680" y="720"/>
                  </a:lnTo>
                  <a:lnTo>
                    <a:pt x="679" y="725"/>
                  </a:lnTo>
                  <a:lnTo>
                    <a:pt x="681" y="725"/>
                  </a:lnTo>
                  <a:lnTo>
                    <a:pt x="685" y="726"/>
                  </a:lnTo>
                  <a:lnTo>
                    <a:pt x="686" y="730"/>
                  </a:lnTo>
                  <a:lnTo>
                    <a:pt x="687" y="730"/>
                  </a:lnTo>
                  <a:lnTo>
                    <a:pt x="688" y="730"/>
                  </a:lnTo>
                  <a:lnTo>
                    <a:pt x="690" y="729"/>
                  </a:lnTo>
                  <a:lnTo>
                    <a:pt x="691" y="726"/>
                  </a:lnTo>
                  <a:lnTo>
                    <a:pt x="694" y="726"/>
                  </a:lnTo>
                  <a:lnTo>
                    <a:pt x="694" y="728"/>
                  </a:lnTo>
                  <a:lnTo>
                    <a:pt x="697" y="728"/>
                  </a:lnTo>
                  <a:lnTo>
                    <a:pt x="700" y="728"/>
                  </a:lnTo>
                  <a:lnTo>
                    <a:pt x="702" y="730"/>
                  </a:lnTo>
                  <a:lnTo>
                    <a:pt x="702" y="731"/>
                  </a:lnTo>
                  <a:lnTo>
                    <a:pt x="702" y="732"/>
                  </a:lnTo>
                  <a:lnTo>
                    <a:pt x="703" y="735"/>
                  </a:lnTo>
                  <a:lnTo>
                    <a:pt x="704" y="736"/>
                  </a:lnTo>
                  <a:lnTo>
                    <a:pt x="705" y="736"/>
                  </a:lnTo>
                  <a:lnTo>
                    <a:pt x="705" y="738"/>
                  </a:lnTo>
                  <a:lnTo>
                    <a:pt x="704" y="741"/>
                  </a:lnTo>
                  <a:lnTo>
                    <a:pt x="705" y="743"/>
                  </a:lnTo>
                  <a:lnTo>
                    <a:pt x="703" y="744"/>
                  </a:lnTo>
                  <a:lnTo>
                    <a:pt x="704" y="744"/>
                  </a:lnTo>
                  <a:lnTo>
                    <a:pt x="705" y="744"/>
                  </a:lnTo>
                  <a:lnTo>
                    <a:pt x="705" y="746"/>
                  </a:lnTo>
                  <a:lnTo>
                    <a:pt x="710" y="749"/>
                  </a:lnTo>
                  <a:lnTo>
                    <a:pt x="711" y="749"/>
                  </a:lnTo>
                  <a:lnTo>
                    <a:pt x="712" y="749"/>
                  </a:lnTo>
                  <a:lnTo>
                    <a:pt x="714" y="749"/>
                  </a:lnTo>
                  <a:lnTo>
                    <a:pt x="714" y="748"/>
                  </a:lnTo>
                  <a:lnTo>
                    <a:pt x="716" y="748"/>
                  </a:lnTo>
                  <a:lnTo>
                    <a:pt x="716" y="749"/>
                  </a:lnTo>
                  <a:lnTo>
                    <a:pt x="718" y="749"/>
                  </a:lnTo>
                  <a:lnTo>
                    <a:pt x="718" y="752"/>
                  </a:lnTo>
                  <a:lnTo>
                    <a:pt x="721" y="755"/>
                  </a:lnTo>
                  <a:lnTo>
                    <a:pt x="721" y="756"/>
                  </a:lnTo>
                  <a:lnTo>
                    <a:pt x="720" y="756"/>
                  </a:lnTo>
                  <a:lnTo>
                    <a:pt x="718" y="758"/>
                  </a:lnTo>
                  <a:lnTo>
                    <a:pt x="718" y="760"/>
                  </a:lnTo>
                  <a:lnTo>
                    <a:pt x="717" y="761"/>
                  </a:lnTo>
                  <a:lnTo>
                    <a:pt x="720" y="760"/>
                  </a:lnTo>
                  <a:lnTo>
                    <a:pt x="720" y="759"/>
                  </a:lnTo>
                  <a:lnTo>
                    <a:pt x="722" y="759"/>
                  </a:lnTo>
                  <a:lnTo>
                    <a:pt x="722" y="760"/>
                  </a:lnTo>
                  <a:lnTo>
                    <a:pt x="723" y="760"/>
                  </a:lnTo>
                  <a:lnTo>
                    <a:pt x="723" y="761"/>
                  </a:lnTo>
                  <a:lnTo>
                    <a:pt x="724" y="762"/>
                  </a:lnTo>
                  <a:lnTo>
                    <a:pt x="723" y="762"/>
                  </a:lnTo>
                  <a:lnTo>
                    <a:pt x="723" y="765"/>
                  </a:lnTo>
                  <a:lnTo>
                    <a:pt x="724" y="768"/>
                  </a:lnTo>
                  <a:lnTo>
                    <a:pt x="724" y="771"/>
                  </a:lnTo>
                  <a:lnTo>
                    <a:pt x="726" y="771"/>
                  </a:lnTo>
                  <a:lnTo>
                    <a:pt x="727" y="773"/>
                  </a:lnTo>
                  <a:lnTo>
                    <a:pt x="727" y="772"/>
                  </a:lnTo>
                  <a:lnTo>
                    <a:pt x="728" y="773"/>
                  </a:lnTo>
                  <a:lnTo>
                    <a:pt x="730" y="774"/>
                  </a:lnTo>
                  <a:lnTo>
                    <a:pt x="730" y="777"/>
                  </a:lnTo>
                  <a:lnTo>
                    <a:pt x="727" y="774"/>
                  </a:lnTo>
                  <a:lnTo>
                    <a:pt x="728" y="777"/>
                  </a:lnTo>
                  <a:lnTo>
                    <a:pt x="728" y="778"/>
                  </a:lnTo>
                  <a:lnTo>
                    <a:pt x="726" y="777"/>
                  </a:lnTo>
                  <a:lnTo>
                    <a:pt x="723" y="774"/>
                  </a:lnTo>
                  <a:lnTo>
                    <a:pt x="723" y="778"/>
                  </a:lnTo>
                  <a:lnTo>
                    <a:pt x="723" y="779"/>
                  </a:lnTo>
                  <a:lnTo>
                    <a:pt x="724" y="779"/>
                  </a:lnTo>
                  <a:lnTo>
                    <a:pt x="726" y="780"/>
                  </a:lnTo>
                  <a:lnTo>
                    <a:pt x="726" y="783"/>
                  </a:lnTo>
                  <a:lnTo>
                    <a:pt x="727" y="784"/>
                  </a:lnTo>
                  <a:lnTo>
                    <a:pt x="727" y="785"/>
                  </a:lnTo>
                  <a:lnTo>
                    <a:pt x="728" y="785"/>
                  </a:lnTo>
                  <a:lnTo>
                    <a:pt x="728" y="783"/>
                  </a:lnTo>
                  <a:lnTo>
                    <a:pt x="729" y="784"/>
                  </a:lnTo>
                  <a:lnTo>
                    <a:pt x="730" y="786"/>
                  </a:lnTo>
                  <a:lnTo>
                    <a:pt x="732" y="789"/>
                  </a:lnTo>
                  <a:lnTo>
                    <a:pt x="733" y="790"/>
                  </a:lnTo>
                  <a:lnTo>
                    <a:pt x="735" y="791"/>
                  </a:lnTo>
                  <a:lnTo>
                    <a:pt x="735" y="792"/>
                  </a:lnTo>
                  <a:lnTo>
                    <a:pt x="736" y="794"/>
                  </a:lnTo>
                  <a:lnTo>
                    <a:pt x="739" y="795"/>
                  </a:lnTo>
                  <a:lnTo>
                    <a:pt x="739" y="797"/>
                  </a:lnTo>
                  <a:lnTo>
                    <a:pt x="738" y="798"/>
                  </a:lnTo>
                  <a:lnTo>
                    <a:pt x="736" y="801"/>
                  </a:lnTo>
                  <a:lnTo>
                    <a:pt x="738" y="802"/>
                  </a:lnTo>
                  <a:lnTo>
                    <a:pt x="736" y="804"/>
                  </a:lnTo>
                  <a:lnTo>
                    <a:pt x="735" y="806"/>
                  </a:lnTo>
                  <a:lnTo>
                    <a:pt x="733" y="806"/>
                  </a:lnTo>
                  <a:lnTo>
                    <a:pt x="732" y="807"/>
                  </a:lnTo>
                  <a:lnTo>
                    <a:pt x="730" y="806"/>
                  </a:lnTo>
                  <a:lnTo>
                    <a:pt x="729" y="806"/>
                  </a:lnTo>
                  <a:lnTo>
                    <a:pt x="728" y="806"/>
                  </a:lnTo>
                  <a:lnTo>
                    <a:pt x="727" y="806"/>
                  </a:lnTo>
                  <a:lnTo>
                    <a:pt x="726" y="803"/>
                  </a:lnTo>
                  <a:lnTo>
                    <a:pt x="724" y="802"/>
                  </a:lnTo>
                  <a:lnTo>
                    <a:pt x="723" y="802"/>
                  </a:lnTo>
                  <a:lnTo>
                    <a:pt x="721" y="801"/>
                  </a:lnTo>
                  <a:lnTo>
                    <a:pt x="720" y="801"/>
                  </a:lnTo>
                  <a:lnTo>
                    <a:pt x="720" y="800"/>
                  </a:lnTo>
                  <a:lnTo>
                    <a:pt x="718" y="798"/>
                  </a:lnTo>
                  <a:lnTo>
                    <a:pt x="715" y="797"/>
                  </a:lnTo>
                  <a:lnTo>
                    <a:pt x="714" y="797"/>
                  </a:lnTo>
                  <a:lnTo>
                    <a:pt x="712" y="797"/>
                  </a:lnTo>
                  <a:lnTo>
                    <a:pt x="712" y="796"/>
                  </a:lnTo>
                  <a:lnTo>
                    <a:pt x="710" y="795"/>
                  </a:lnTo>
                  <a:lnTo>
                    <a:pt x="709" y="792"/>
                  </a:lnTo>
                  <a:lnTo>
                    <a:pt x="709" y="790"/>
                  </a:lnTo>
                  <a:lnTo>
                    <a:pt x="708" y="790"/>
                  </a:lnTo>
                  <a:lnTo>
                    <a:pt x="708" y="791"/>
                  </a:lnTo>
                  <a:lnTo>
                    <a:pt x="706" y="792"/>
                  </a:lnTo>
                  <a:lnTo>
                    <a:pt x="709" y="794"/>
                  </a:lnTo>
                  <a:lnTo>
                    <a:pt x="709" y="795"/>
                  </a:lnTo>
                  <a:lnTo>
                    <a:pt x="705" y="792"/>
                  </a:lnTo>
                  <a:lnTo>
                    <a:pt x="706" y="795"/>
                  </a:lnTo>
                  <a:lnTo>
                    <a:pt x="706" y="796"/>
                  </a:lnTo>
                  <a:lnTo>
                    <a:pt x="705" y="796"/>
                  </a:lnTo>
                  <a:lnTo>
                    <a:pt x="703" y="798"/>
                  </a:lnTo>
                  <a:lnTo>
                    <a:pt x="702" y="798"/>
                  </a:lnTo>
                  <a:lnTo>
                    <a:pt x="700" y="798"/>
                  </a:lnTo>
                  <a:lnTo>
                    <a:pt x="699" y="797"/>
                  </a:lnTo>
                  <a:lnTo>
                    <a:pt x="700" y="796"/>
                  </a:lnTo>
                  <a:lnTo>
                    <a:pt x="704" y="796"/>
                  </a:lnTo>
                  <a:lnTo>
                    <a:pt x="703" y="795"/>
                  </a:lnTo>
                  <a:lnTo>
                    <a:pt x="703" y="794"/>
                  </a:lnTo>
                  <a:lnTo>
                    <a:pt x="702" y="792"/>
                  </a:lnTo>
                  <a:lnTo>
                    <a:pt x="700" y="790"/>
                  </a:lnTo>
                  <a:lnTo>
                    <a:pt x="700" y="791"/>
                  </a:lnTo>
                  <a:lnTo>
                    <a:pt x="699" y="790"/>
                  </a:lnTo>
                  <a:lnTo>
                    <a:pt x="697" y="792"/>
                  </a:lnTo>
                  <a:lnTo>
                    <a:pt x="694" y="791"/>
                  </a:lnTo>
                  <a:lnTo>
                    <a:pt x="697" y="790"/>
                  </a:lnTo>
                  <a:lnTo>
                    <a:pt x="696" y="789"/>
                  </a:lnTo>
                  <a:lnTo>
                    <a:pt x="693" y="788"/>
                  </a:lnTo>
                  <a:lnTo>
                    <a:pt x="692" y="788"/>
                  </a:lnTo>
                  <a:lnTo>
                    <a:pt x="690" y="786"/>
                  </a:lnTo>
                  <a:lnTo>
                    <a:pt x="690" y="788"/>
                  </a:lnTo>
                  <a:lnTo>
                    <a:pt x="687" y="788"/>
                  </a:lnTo>
                  <a:lnTo>
                    <a:pt x="685" y="786"/>
                  </a:lnTo>
                  <a:lnTo>
                    <a:pt x="684" y="786"/>
                  </a:lnTo>
                  <a:lnTo>
                    <a:pt x="685" y="785"/>
                  </a:lnTo>
                  <a:lnTo>
                    <a:pt x="684" y="783"/>
                  </a:lnTo>
                  <a:lnTo>
                    <a:pt x="682" y="784"/>
                  </a:lnTo>
                  <a:lnTo>
                    <a:pt x="681" y="784"/>
                  </a:lnTo>
                  <a:lnTo>
                    <a:pt x="680" y="784"/>
                  </a:lnTo>
                  <a:lnTo>
                    <a:pt x="680" y="785"/>
                  </a:lnTo>
                  <a:lnTo>
                    <a:pt x="678" y="785"/>
                  </a:lnTo>
                  <a:lnTo>
                    <a:pt x="678" y="786"/>
                  </a:lnTo>
                  <a:lnTo>
                    <a:pt x="679" y="788"/>
                  </a:lnTo>
                  <a:lnTo>
                    <a:pt x="680" y="789"/>
                  </a:lnTo>
                  <a:lnTo>
                    <a:pt x="681" y="790"/>
                  </a:lnTo>
                  <a:lnTo>
                    <a:pt x="682" y="791"/>
                  </a:lnTo>
                  <a:lnTo>
                    <a:pt x="685" y="794"/>
                  </a:lnTo>
                  <a:lnTo>
                    <a:pt x="684" y="794"/>
                  </a:lnTo>
                  <a:lnTo>
                    <a:pt x="682" y="792"/>
                  </a:lnTo>
                  <a:lnTo>
                    <a:pt x="681" y="791"/>
                  </a:lnTo>
                  <a:lnTo>
                    <a:pt x="680" y="792"/>
                  </a:lnTo>
                  <a:lnTo>
                    <a:pt x="678" y="792"/>
                  </a:lnTo>
                  <a:lnTo>
                    <a:pt x="676" y="792"/>
                  </a:lnTo>
                  <a:lnTo>
                    <a:pt x="675" y="792"/>
                  </a:lnTo>
                  <a:lnTo>
                    <a:pt x="675" y="794"/>
                  </a:lnTo>
                  <a:lnTo>
                    <a:pt x="674" y="794"/>
                  </a:lnTo>
                  <a:lnTo>
                    <a:pt x="671" y="797"/>
                  </a:lnTo>
                  <a:lnTo>
                    <a:pt x="669" y="798"/>
                  </a:lnTo>
                  <a:lnTo>
                    <a:pt x="668" y="798"/>
                  </a:lnTo>
                  <a:lnTo>
                    <a:pt x="665" y="800"/>
                  </a:lnTo>
                  <a:lnTo>
                    <a:pt x="664" y="798"/>
                  </a:lnTo>
                  <a:lnTo>
                    <a:pt x="663" y="798"/>
                  </a:lnTo>
                  <a:lnTo>
                    <a:pt x="663" y="800"/>
                  </a:lnTo>
                  <a:lnTo>
                    <a:pt x="664" y="801"/>
                  </a:lnTo>
                  <a:lnTo>
                    <a:pt x="665" y="802"/>
                  </a:lnTo>
                  <a:lnTo>
                    <a:pt x="669" y="803"/>
                  </a:lnTo>
                  <a:lnTo>
                    <a:pt x="669" y="804"/>
                  </a:lnTo>
                  <a:lnTo>
                    <a:pt x="669" y="806"/>
                  </a:lnTo>
                  <a:lnTo>
                    <a:pt x="668" y="806"/>
                  </a:lnTo>
                  <a:lnTo>
                    <a:pt x="663" y="803"/>
                  </a:lnTo>
                  <a:lnTo>
                    <a:pt x="663" y="806"/>
                  </a:lnTo>
                  <a:lnTo>
                    <a:pt x="662" y="806"/>
                  </a:lnTo>
                  <a:lnTo>
                    <a:pt x="661" y="804"/>
                  </a:lnTo>
                  <a:lnTo>
                    <a:pt x="657" y="806"/>
                  </a:lnTo>
                  <a:lnTo>
                    <a:pt x="656" y="803"/>
                  </a:lnTo>
                  <a:lnTo>
                    <a:pt x="653" y="803"/>
                  </a:lnTo>
                  <a:lnTo>
                    <a:pt x="652" y="804"/>
                  </a:lnTo>
                  <a:lnTo>
                    <a:pt x="651" y="804"/>
                  </a:lnTo>
                  <a:lnTo>
                    <a:pt x="650" y="802"/>
                  </a:lnTo>
                  <a:lnTo>
                    <a:pt x="645" y="801"/>
                  </a:lnTo>
                  <a:lnTo>
                    <a:pt x="644" y="801"/>
                  </a:lnTo>
                  <a:lnTo>
                    <a:pt x="643" y="802"/>
                  </a:lnTo>
                  <a:lnTo>
                    <a:pt x="643" y="803"/>
                  </a:lnTo>
                  <a:lnTo>
                    <a:pt x="643" y="804"/>
                  </a:lnTo>
                  <a:lnTo>
                    <a:pt x="644" y="807"/>
                  </a:lnTo>
                  <a:lnTo>
                    <a:pt x="645" y="808"/>
                  </a:lnTo>
                  <a:lnTo>
                    <a:pt x="645" y="809"/>
                  </a:lnTo>
                  <a:lnTo>
                    <a:pt x="644" y="809"/>
                  </a:lnTo>
                  <a:lnTo>
                    <a:pt x="643" y="808"/>
                  </a:lnTo>
                  <a:lnTo>
                    <a:pt x="641" y="808"/>
                  </a:lnTo>
                  <a:lnTo>
                    <a:pt x="641" y="809"/>
                  </a:lnTo>
                  <a:lnTo>
                    <a:pt x="639" y="808"/>
                  </a:lnTo>
                  <a:lnTo>
                    <a:pt x="637" y="812"/>
                  </a:lnTo>
                  <a:lnTo>
                    <a:pt x="635" y="809"/>
                  </a:lnTo>
                  <a:lnTo>
                    <a:pt x="634" y="809"/>
                  </a:lnTo>
                  <a:lnTo>
                    <a:pt x="632" y="810"/>
                  </a:lnTo>
                  <a:lnTo>
                    <a:pt x="631" y="810"/>
                  </a:lnTo>
                  <a:lnTo>
                    <a:pt x="631" y="809"/>
                  </a:lnTo>
                  <a:lnTo>
                    <a:pt x="631" y="808"/>
                  </a:lnTo>
                  <a:lnTo>
                    <a:pt x="629" y="804"/>
                  </a:lnTo>
                  <a:lnTo>
                    <a:pt x="631" y="802"/>
                  </a:lnTo>
                  <a:lnTo>
                    <a:pt x="634" y="803"/>
                  </a:lnTo>
                  <a:lnTo>
                    <a:pt x="634" y="801"/>
                  </a:lnTo>
                  <a:lnTo>
                    <a:pt x="635" y="798"/>
                  </a:lnTo>
                  <a:lnTo>
                    <a:pt x="634" y="797"/>
                  </a:lnTo>
                  <a:lnTo>
                    <a:pt x="633" y="798"/>
                  </a:lnTo>
                  <a:lnTo>
                    <a:pt x="632" y="802"/>
                  </a:lnTo>
                  <a:lnTo>
                    <a:pt x="629" y="798"/>
                  </a:lnTo>
                  <a:lnTo>
                    <a:pt x="627" y="797"/>
                  </a:lnTo>
                  <a:lnTo>
                    <a:pt x="627" y="795"/>
                  </a:lnTo>
                  <a:lnTo>
                    <a:pt x="625" y="796"/>
                  </a:lnTo>
                  <a:lnTo>
                    <a:pt x="623" y="792"/>
                  </a:lnTo>
                  <a:lnTo>
                    <a:pt x="625" y="790"/>
                  </a:lnTo>
                  <a:lnTo>
                    <a:pt x="627" y="791"/>
                  </a:lnTo>
                  <a:lnTo>
                    <a:pt x="627" y="790"/>
                  </a:lnTo>
                  <a:lnTo>
                    <a:pt x="628" y="790"/>
                  </a:lnTo>
                  <a:lnTo>
                    <a:pt x="629" y="790"/>
                  </a:lnTo>
                  <a:lnTo>
                    <a:pt x="635" y="791"/>
                  </a:lnTo>
                  <a:lnTo>
                    <a:pt x="635" y="790"/>
                  </a:lnTo>
                  <a:lnTo>
                    <a:pt x="634" y="790"/>
                  </a:lnTo>
                  <a:lnTo>
                    <a:pt x="634" y="789"/>
                  </a:lnTo>
                  <a:lnTo>
                    <a:pt x="637" y="789"/>
                  </a:lnTo>
                  <a:lnTo>
                    <a:pt x="637" y="786"/>
                  </a:lnTo>
                  <a:lnTo>
                    <a:pt x="639" y="785"/>
                  </a:lnTo>
                  <a:lnTo>
                    <a:pt x="641" y="785"/>
                  </a:lnTo>
                  <a:lnTo>
                    <a:pt x="640" y="782"/>
                  </a:lnTo>
                  <a:lnTo>
                    <a:pt x="639" y="780"/>
                  </a:lnTo>
                  <a:lnTo>
                    <a:pt x="640" y="778"/>
                  </a:lnTo>
                  <a:lnTo>
                    <a:pt x="640" y="777"/>
                  </a:lnTo>
                  <a:lnTo>
                    <a:pt x="641" y="774"/>
                  </a:lnTo>
                  <a:lnTo>
                    <a:pt x="643" y="771"/>
                  </a:lnTo>
                  <a:lnTo>
                    <a:pt x="643" y="770"/>
                  </a:lnTo>
                  <a:lnTo>
                    <a:pt x="644" y="770"/>
                  </a:lnTo>
                  <a:lnTo>
                    <a:pt x="645" y="768"/>
                  </a:lnTo>
                  <a:lnTo>
                    <a:pt x="646" y="767"/>
                  </a:lnTo>
                  <a:lnTo>
                    <a:pt x="646" y="766"/>
                  </a:lnTo>
                  <a:lnTo>
                    <a:pt x="645" y="766"/>
                  </a:lnTo>
                  <a:lnTo>
                    <a:pt x="643" y="767"/>
                  </a:lnTo>
                  <a:lnTo>
                    <a:pt x="641" y="768"/>
                  </a:lnTo>
                  <a:lnTo>
                    <a:pt x="641" y="765"/>
                  </a:lnTo>
                  <a:lnTo>
                    <a:pt x="638" y="765"/>
                  </a:lnTo>
                  <a:lnTo>
                    <a:pt x="635" y="765"/>
                  </a:lnTo>
                  <a:lnTo>
                    <a:pt x="633" y="764"/>
                  </a:lnTo>
                  <a:lnTo>
                    <a:pt x="634" y="760"/>
                  </a:lnTo>
                  <a:lnTo>
                    <a:pt x="634" y="759"/>
                  </a:lnTo>
                  <a:lnTo>
                    <a:pt x="635" y="759"/>
                  </a:lnTo>
                  <a:lnTo>
                    <a:pt x="638" y="760"/>
                  </a:lnTo>
                  <a:lnTo>
                    <a:pt x="639" y="759"/>
                  </a:lnTo>
                  <a:lnTo>
                    <a:pt x="640" y="759"/>
                  </a:lnTo>
                  <a:lnTo>
                    <a:pt x="639" y="758"/>
                  </a:lnTo>
                  <a:lnTo>
                    <a:pt x="638" y="758"/>
                  </a:lnTo>
                  <a:lnTo>
                    <a:pt x="638" y="755"/>
                  </a:lnTo>
                  <a:lnTo>
                    <a:pt x="637" y="755"/>
                  </a:lnTo>
                  <a:lnTo>
                    <a:pt x="637" y="754"/>
                  </a:lnTo>
                  <a:lnTo>
                    <a:pt x="638" y="753"/>
                  </a:lnTo>
                  <a:lnTo>
                    <a:pt x="638" y="754"/>
                  </a:lnTo>
                  <a:lnTo>
                    <a:pt x="638" y="752"/>
                  </a:lnTo>
                  <a:lnTo>
                    <a:pt x="638" y="750"/>
                  </a:lnTo>
                  <a:lnTo>
                    <a:pt x="638" y="748"/>
                  </a:lnTo>
                  <a:lnTo>
                    <a:pt x="639" y="748"/>
                  </a:lnTo>
                  <a:lnTo>
                    <a:pt x="640" y="748"/>
                  </a:lnTo>
                  <a:lnTo>
                    <a:pt x="643" y="748"/>
                  </a:lnTo>
                  <a:lnTo>
                    <a:pt x="640" y="747"/>
                  </a:lnTo>
                  <a:lnTo>
                    <a:pt x="638" y="746"/>
                  </a:lnTo>
                  <a:lnTo>
                    <a:pt x="638" y="743"/>
                  </a:lnTo>
                  <a:lnTo>
                    <a:pt x="635" y="741"/>
                  </a:lnTo>
                  <a:lnTo>
                    <a:pt x="635" y="740"/>
                  </a:lnTo>
                  <a:lnTo>
                    <a:pt x="634" y="738"/>
                  </a:lnTo>
                  <a:lnTo>
                    <a:pt x="635" y="737"/>
                  </a:lnTo>
                  <a:lnTo>
                    <a:pt x="637" y="736"/>
                  </a:lnTo>
                  <a:lnTo>
                    <a:pt x="638" y="736"/>
                  </a:lnTo>
                  <a:lnTo>
                    <a:pt x="638" y="735"/>
                  </a:lnTo>
                  <a:lnTo>
                    <a:pt x="634" y="734"/>
                  </a:lnTo>
                  <a:lnTo>
                    <a:pt x="632" y="734"/>
                  </a:lnTo>
                  <a:lnTo>
                    <a:pt x="632" y="735"/>
                  </a:lnTo>
                  <a:lnTo>
                    <a:pt x="632" y="737"/>
                  </a:lnTo>
                  <a:lnTo>
                    <a:pt x="631" y="737"/>
                  </a:lnTo>
                  <a:lnTo>
                    <a:pt x="629" y="737"/>
                  </a:lnTo>
                  <a:lnTo>
                    <a:pt x="628" y="736"/>
                  </a:lnTo>
                  <a:lnTo>
                    <a:pt x="628" y="732"/>
                  </a:lnTo>
                  <a:lnTo>
                    <a:pt x="625" y="731"/>
                  </a:lnTo>
                  <a:lnTo>
                    <a:pt x="617" y="730"/>
                  </a:lnTo>
                  <a:lnTo>
                    <a:pt x="610" y="729"/>
                  </a:lnTo>
                  <a:lnTo>
                    <a:pt x="606" y="729"/>
                  </a:lnTo>
                  <a:lnTo>
                    <a:pt x="604" y="728"/>
                  </a:lnTo>
                  <a:lnTo>
                    <a:pt x="600" y="728"/>
                  </a:lnTo>
                  <a:lnTo>
                    <a:pt x="598" y="728"/>
                  </a:lnTo>
                  <a:lnTo>
                    <a:pt x="596" y="728"/>
                  </a:lnTo>
                  <a:lnTo>
                    <a:pt x="594" y="729"/>
                  </a:lnTo>
                  <a:lnTo>
                    <a:pt x="593" y="730"/>
                  </a:lnTo>
                  <a:lnTo>
                    <a:pt x="596" y="732"/>
                  </a:lnTo>
                  <a:lnTo>
                    <a:pt x="593" y="732"/>
                  </a:lnTo>
                  <a:lnTo>
                    <a:pt x="592" y="732"/>
                  </a:lnTo>
                  <a:lnTo>
                    <a:pt x="591" y="731"/>
                  </a:lnTo>
                  <a:lnTo>
                    <a:pt x="588" y="732"/>
                  </a:lnTo>
                  <a:lnTo>
                    <a:pt x="587" y="732"/>
                  </a:lnTo>
                  <a:lnTo>
                    <a:pt x="586" y="731"/>
                  </a:lnTo>
                  <a:lnTo>
                    <a:pt x="585" y="732"/>
                  </a:lnTo>
                  <a:lnTo>
                    <a:pt x="586" y="735"/>
                  </a:lnTo>
                  <a:lnTo>
                    <a:pt x="586" y="736"/>
                  </a:lnTo>
                  <a:lnTo>
                    <a:pt x="585" y="736"/>
                  </a:lnTo>
                  <a:lnTo>
                    <a:pt x="582" y="736"/>
                  </a:lnTo>
                  <a:lnTo>
                    <a:pt x="580" y="736"/>
                  </a:lnTo>
                  <a:lnTo>
                    <a:pt x="579" y="735"/>
                  </a:lnTo>
                  <a:lnTo>
                    <a:pt x="575" y="736"/>
                  </a:lnTo>
                  <a:lnTo>
                    <a:pt x="574" y="737"/>
                  </a:lnTo>
                  <a:lnTo>
                    <a:pt x="574" y="738"/>
                  </a:lnTo>
                  <a:lnTo>
                    <a:pt x="573" y="740"/>
                  </a:lnTo>
                  <a:lnTo>
                    <a:pt x="572" y="740"/>
                  </a:lnTo>
                  <a:lnTo>
                    <a:pt x="570" y="741"/>
                  </a:lnTo>
                  <a:lnTo>
                    <a:pt x="569" y="747"/>
                  </a:lnTo>
                  <a:lnTo>
                    <a:pt x="568" y="747"/>
                  </a:lnTo>
                  <a:lnTo>
                    <a:pt x="567" y="748"/>
                  </a:lnTo>
                  <a:lnTo>
                    <a:pt x="564" y="748"/>
                  </a:lnTo>
                  <a:lnTo>
                    <a:pt x="564" y="747"/>
                  </a:lnTo>
                  <a:lnTo>
                    <a:pt x="561" y="748"/>
                  </a:lnTo>
                  <a:lnTo>
                    <a:pt x="562" y="744"/>
                  </a:lnTo>
                  <a:lnTo>
                    <a:pt x="558" y="744"/>
                  </a:lnTo>
                  <a:lnTo>
                    <a:pt x="557" y="742"/>
                  </a:lnTo>
                  <a:lnTo>
                    <a:pt x="555" y="741"/>
                  </a:lnTo>
                  <a:lnTo>
                    <a:pt x="553" y="741"/>
                  </a:lnTo>
                  <a:lnTo>
                    <a:pt x="552" y="740"/>
                  </a:lnTo>
                  <a:lnTo>
                    <a:pt x="547" y="741"/>
                  </a:lnTo>
                  <a:lnTo>
                    <a:pt x="544" y="742"/>
                  </a:lnTo>
                  <a:lnTo>
                    <a:pt x="539" y="743"/>
                  </a:lnTo>
                  <a:lnTo>
                    <a:pt x="538" y="744"/>
                  </a:lnTo>
                  <a:lnTo>
                    <a:pt x="537" y="746"/>
                  </a:lnTo>
                  <a:lnTo>
                    <a:pt x="541" y="747"/>
                  </a:lnTo>
                  <a:lnTo>
                    <a:pt x="543" y="746"/>
                  </a:lnTo>
                  <a:lnTo>
                    <a:pt x="544" y="744"/>
                  </a:lnTo>
                  <a:lnTo>
                    <a:pt x="549" y="747"/>
                  </a:lnTo>
                  <a:lnTo>
                    <a:pt x="549" y="748"/>
                  </a:lnTo>
                  <a:lnTo>
                    <a:pt x="547" y="749"/>
                  </a:lnTo>
                  <a:lnTo>
                    <a:pt x="545" y="752"/>
                  </a:lnTo>
                  <a:lnTo>
                    <a:pt x="547" y="753"/>
                  </a:lnTo>
                  <a:lnTo>
                    <a:pt x="547" y="758"/>
                  </a:lnTo>
                  <a:lnTo>
                    <a:pt x="547" y="760"/>
                  </a:lnTo>
                  <a:lnTo>
                    <a:pt x="546" y="761"/>
                  </a:lnTo>
                  <a:lnTo>
                    <a:pt x="547" y="761"/>
                  </a:lnTo>
                  <a:lnTo>
                    <a:pt x="549" y="760"/>
                  </a:lnTo>
                  <a:lnTo>
                    <a:pt x="550" y="761"/>
                  </a:lnTo>
                  <a:lnTo>
                    <a:pt x="549" y="765"/>
                  </a:lnTo>
                  <a:lnTo>
                    <a:pt x="549" y="767"/>
                  </a:lnTo>
                  <a:lnTo>
                    <a:pt x="547" y="767"/>
                  </a:lnTo>
                  <a:lnTo>
                    <a:pt x="545" y="766"/>
                  </a:lnTo>
                  <a:lnTo>
                    <a:pt x="544" y="766"/>
                  </a:lnTo>
                  <a:lnTo>
                    <a:pt x="544" y="768"/>
                  </a:lnTo>
                  <a:lnTo>
                    <a:pt x="546" y="768"/>
                  </a:lnTo>
                  <a:lnTo>
                    <a:pt x="547" y="770"/>
                  </a:lnTo>
                  <a:lnTo>
                    <a:pt x="549" y="772"/>
                  </a:lnTo>
                  <a:lnTo>
                    <a:pt x="549" y="773"/>
                  </a:lnTo>
                  <a:lnTo>
                    <a:pt x="547" y="774"/>
                  </a:lnTo>
                  <a:lnTo>
                    <a:pt x="546" y="776"/>
                  </a:lnTo>
                  <a:lnTo>
                    <a:pt x="544" y="774"/>
                  </a:lnTo>
                  <a:lnTo>
                    <a:pt x="543" y="773"/>
                  </a:lnTo>
                  <a:lnTo>
                    <a:pt x="539" y="773"/>
                  </a:lnTo>
                  <a:lnTo>
                    <a:pt x="539" y="774"/>
                  </a:lnTo>
                  <a:lnTo>
                    <a:pt x="538" y="776"/>
                  </a:lnTo>
                  <a:lnTo>
                    <a:pt x="538" y="777"/>
                  </a:lnTo>
                  <a:lnTo>
                    <a:pt x="539" y="777"/>
                  </a:lnTo>
                  <a:lnTo>
                    <a:pt x="541" y="776"/>
                  </a:lnTo>
                  <a:lnTo>
                    <a:pt x="544" y="776"/>
                  </a:lnTo>
                  <a:lnTo>
                    <a:pt x="545" y="776"/>
                  </a:lnTo>
                  <a:lnTo>
                    <a:pt x="545" y="777"/>
                  </a:lnTo>
                  <a:lnTo>
                    <a:pt x="546" y="777"/>
                  </a:lnTo>
                  <a:lnTo>
                    <a:pt x="546" y="778"/>
                  </a:lnTo>
                  <a:lnTo>
                    <a:pt x="543" y="779"/>
                  </a:lnTo>
                  <a:lnTo>
                    <a:pt x="540" y="782"/>
                  </a:lnTo>
                  <a:lnTo>
                    <a:pt x="539" y="780"/>
                  </a:lnTo>
                  <a:lnTo>
                    <a:pt x="539" y="782"/>
                  </a:lnTo>
                  <a:lnTo>
                    <a:pt x="540" y="783"/>
                  </a:lnTo>
                  <a:lnTo>
                    <a:pt x="537" y="784"/>
                  </a:lnTo>
                  <a:lnTo>
                    <a:pt x="539" y="785"/>
                  </a:lnTo>
                  <a:lnTo>
                    <a:pt x="540" y="786"/>
                  </a:lnTo>
                  <a:lnTo>
                    <a:pt x="540" y="788"/>
                  </a:lnTo>
                  <a:lnTo>
                    <a:pt x="540" y="789"/>
                  </a:lnTo>
                  <a:lnTo>
                    <a:pt x="539" y="789"/>
                  </a:lnTo>
                  <a:lnTo>
                    <a:pt x="538" y="788"/>
                  </a:lnTo>
                  <a:lnTo>
                    <a:pt x="535" y="788"/>
                  </a:lnTo>
                  <a:lnTo>
                    <a:pt x="534" y="785"/>
                  </a:lnTo>
                  <a:lnTo>
                    <a:pt x="534" y="783"/>
                  </a:lnTo>
                  <a:lnTo>
                    <a:pt x="533" y="783"/>
                  </a:lnTo>
                  <a:lnTo>
                    <a:pt x="533" y="784"/>
                  </a:lnTo>
                  <a:lnTo>
                    <a:pt x="533" y="785"/>
                  </a:lnTo>
                  <a:lnTo>
                    <a:pt x="532" y="785"/>
                  </a:lnTo>
                  <a:lnTo>
                    <a:pt x="532" y="784"/>
                  </a:lnTo>
                  <a:lnTo>
                    <a:pt x="528" y="786"/>
                  </a:lnTo>
                  <a:lnTo>
                    <a:pt x="528" y="785"/>
                  </a:lnTo>
                  <a:lnTo>
                    <a:pt x="527" y="784"/>
                  </a:lnTo>
                  <a:lnTo>
                    <a:pt x="527" y="783"/>
                  </a:lnTo>
                  <a:lnTo>
                    <a:pt x="528" y="782"/>
                  </a:lnTo>
                  <a:lnTo>
                    <a:pt x="525" y="779"/>
                  </a:lnTo>
                  <a:lnTo>
                    <a:pt x="527" y="779"/>
                  </a:lnTo>
                  <a:lnTo>
                    <a:pt x="528" y="780"/>
                  </a:lnTo>
                  <a:lnTo>
                    <a:pt x="529" y="779"/>
                  </a:lnTo>
                  <a:lnTo>
                    <a:pt x="529" y="780"/>
                  </a:lnTo>
                  <a:lnTo>
                    <a:pt x="531" y="782"/>
                  </a:lnTo>
                  <a:lnTo>
                    <a:pt x="533" y="782"/>
                  </a:lnTo>
                  <a:lnTo>
                    <a:pt x="532" y="780"/>
                  </a:lnTo>
                  <a:lnTo>
                    <a:pt x="531" y="779"/>
                  </a:lnTo>
                  <a:lnTo>
                    <a:pt x="529" y="777"/>
                  </a:lnTo>
                  <a:lnTo>
                    <a:pt x="528" y="777"/>
                  </a:lnTo>
                  <a:lnTo>
                    <a:pt x="527" y="777"/>
                  </a:lnTo>
                  <a:lnTo>
                    <a:pt x="526" y="776"/>
                  </a:lnTo>
                  <a:lnTo>
                    <a:pt x="527" y="776"/>
                  </a:lnTo>
                  <a:lnTo>
                    <a:pt x="528" y="774"/>
                  </a:lnTo>
                  <a:lnTo>
                    <a:pt x="529" y="772"/>
                  </a:lnTo>
                  <a:lnTo>
                    <a:pt x="531" y="771"/>
                  </a:lnTo>
                  <a:lnTo>
                    <a:pt x="529" y="771"/>
                  </a:lnTo>
                  <a:lnTo>
                    <a:pt x="528" y="772"/>
                  </a:lnTo>
                  <a:lnTo>
                    <a:pt x="526" y="774"/>
                  </a:lnTo>
                  <a:lnTo>
                    <a:pt x="523" y="776"/>
                  </a:lnTo>
                  <a:lnTo>
                    <a:pt x="521" y="779"/>
                  </a:lnTo>
                  <a:lnTo>
                    <a:pt x="517" y="783"/>
                  </a:lnTo>
                  <a:lnTo>
                    <a:pt x="511" y="790"/>
                  </a:lnTo>
                  <a:lnTo>
                    <a:pt x="509" y="794"/>
                  </a:lnTo>
                  <a:lnTo>
                    <a:pt x="509" y="797"/>
                  </a:lnTo>
                  <a:lnTo>
                    <a:pt x="510" y="800"/>
                  </a:lnTo>
                  <a:lnTo>
                    <a:pt x="511" y="801"/>
                  </a:lnTo>
                  <a:lnTo>
                    <a:pt x="514" y="802"/>
                  </a:lnTo>
                  <a:lnTo>
                    <a:pt x="515" y="803"/>
                  </a:lnTo>
                  <a:lnTo>
                    <a:pt x="520" y="802"/>
                  </a:lnTo>
                  <a:lnTo>
                    <a:pt x="525" y="801"/>
                  </a:lnTo>
                  <a:lnTo>
                    <a:pt x="529" y="800"/>
                  </a:lnTo>
                  <a:lnTo>
                    <a:pt x="535" y="798"/>
                  </a:lnTo>
                  <a:lnTo>
                    <a:pt x="540" y="798"/>
                  </a:lnTo>
                  <a:lnTo>
                    <a:pt x="546" y="797"/>
                  </a:lnTo>
                  <a:lnTo>
                    <a:pt x="551" y="796"/>
                  </a:lnTo>
                  <a:lnTo>
                    <a:pt x="556" y="794"/>
                  </a:lnTo>
                  <a:lnTo>
                    <a:pt x="567" y="794"/>
                  </a:lnTo>
                  <a:lnTo>
                    <a:pt x="579" y="792"/>
                  </a:lnTo>
                  <a:lnTo>
                    <a:pt x="591" y="791"/>
                  </a:lnTo>
                  <a:lnTo>
                    <a:pt x="593" y="791"/>
                  </a:lnTo>
                  <a:lnTo>
                    <a:pt x="594" y="789"/>
                  </a:lnTo>
                  <a:lnTo>
                    <a:pt x="597" y="786"/>
                  </a:lnTo>
                  <a:lnTo>
                    <a:pt x="597" y="785"/>
                  </a:lnTo>
                  <a:lnTo>
                    <a:pt x="598" y="786"/>
                  </a:lnTo>
                  <a:lnTo>
                    <a:pt x="597" y="789"/>
                  </a:lnTo>
                  <a:lnTo>
                    <a:pt x="598" y="790"/>
                  </a:lnTo>
                  <a:lnTo>
                    <a:pt x="600" y="790"/>
                  </a:lnTo>
                  <a:lnTo>
                    <a:pt x="603" y="790"/>
                  </a:lnTo>
                  <a:lnTo>
                    <a:pt x="604" y="790"/>
                  </a:lnTo>
                  <a:lnTo>
                    <a:pt x="603" y="791"/>
                  </a:lnTo>
                  <a:lnTo>
                    <a:pt x="599" y="794"/>
                  </a:lnTo>
                  <a:lnTo>
                    <a:pt x="597" y="795"/>
                  </a:lnTo>
                  <a:lnTo>
                    <a:pt x="593" y="795"/>
                  </a:lnTo>
                  <a:lnTo>
                    <a:pt x="587" y="797"/>
                  </a:lnTo>
                  <a:lnTo>
                    <a:pt x="581" y="797"/>
                  </a:lnTo>
                  <a:lnTo>
                    <a:pt x="574" y="797"/>
                  </a:lnTo>
                  <a:lnTo>
                    <a:pt x="570" y="798"/>
                  </a:lnTo>
                  <a:lnTo>
                    <a:pt x="567" y="800"/>
                  </a:lnTo>
                  <a:lnTo>
                    <a:pt x="560" y="800"/>
                  </a:lnTo>
                  <a:lnTo>
                    <a:pt x="553" y="801"/>
                  </a:lnTo>
                  <a:lnTo>
                    <a:pt x="549" y="802"/>
                  </a:lnTo>
                  <a:lnTo>
                    <a:pt x="543" y="804"/>
                  </a:lnTo>
                  <a:lnTo>
                    <a:pt x="539" y="806"/>
                  </a:lnTo>
                  <a:lnTo>
                    <a:pt x="535" y="807"/>
                  </a:lnTo>
                  <a:lnTo>
                    <a:pt x="531" y="808"/>
                  </a:lnTo>
                  <a:lnTo>
                    <a:pt x="527" y="809"/>
                  </a:lnTo>
                  <a:lnTo>
                    <a:pt x="523" y="812"/>
                  </a:lnTo>
                  <a:lnTo>
                    <a:pt x="520" y="813"/>
                  </a:lnTo>
                  <a:lnTo>
                    <a:pt x="515" y="814"/>
                  </a:lnTo>
                  <a:lnTo>
                    <a:pt x="513" y="815"/>
                  </a:lnTo>
                  <a:lnTo>
                    <a:pt x="511" y="817"/>
                  </a:lnTo>
                  <a:lnTo>
                    <a:pt x="511" y="818"/>
                  </a:lnTo>
                  <a:lnTo>
                    <a:pt x="511" y="819"/>
                  </a:lnTo>
                  <a:lnTo>
                    <a:pt x="513" y="823"/>
                  </a:lnTo>
                  <a:lnTo>
                    <a:pt x="514" y="826"/>
                  </a:lnTo>
                  <a:lnTo>
                    <a:pt x="515" y="830"/>
                  </a:lnTo>
                  <a:lnTo>
                    <a:pt x="515" y="833"/>
                  </a:lnTo>
                  <a:lnTo>
                    <a:pt x="515" y="837"/>
                  </a:lnTo>
                  <a:lnTo>
                    <a:pt x="513" y="842"/>
                  </a:lnTo>
                  <a:lnTo>
                    <a:pt x="511" y="847"/>
                  </a:lnTo>
                  <a:lnTo>
                    <a:pt x="510" y="853"/>
                  </a:lnTo>
                  <a:lnTo>
                    <a:pt x="510" y="857"/>
                  </a:lnTo>
                  <a:lnTo>
                    <a:pt x="509" y="861"/>
                  </a:lnTo>
                  <a:lnTo>
                    <a:pt x="509" y="869"/>
                  </a:lnTo>
                  <a:lnTo>
                    <a:pt x="510" y="877"/>
                  </a:lnTo>
                  <a:lnTo>
                    <a:pt x="510" y="884"/>
                  </a:lnTo>
                  <a:lnTo>
                    <a:pt x="511" y="891"/>
                  </a:lnTo>
                  <a:lnTo>
                    <a:pt x="511" y="926"/>
                  </a:lnTo>
                  <a:lnTo>
                    <a:pt x="511" y="937"/>
                  </a:lnTo>
                  <a:lnTo>
                    <a:pt x="510" y="946"/>
                  </a:lnTo>
                  <a:lnTo>
                    <a:pt x="510" y="950"/>
                  </a:lnTo>
                  <a:lnTo>
                    <a:pt x="509" y="952"/>
                  </a:lnTo>
                  <a:lnTo>
                    <a:pt x="508" y="955"/>
                  </a:lnTo>
                  <a:lnTo>
                    <a:pt x="505" y="957"/>
                  </a:lnTo>
                  <a:lnTo>
                    <a:pt x="501" y="958"/>
                  </a:lnTo>
                  <a:lnTo>
                    <a:pt x="497" y="960"/>
                  </a:lnTo>
                  <a:lnTo>
                    <a:pt x="492" y="960"/>
                  </a:lnTo>
                  <a:lnTo>
                    <a:pt x="487" y="960"/>
                  </a:lnTo>
                  <a:lnTo>
                    <a:pt x="481" y="958"/>
                  </a:lnTo>
                  <a:lnTo>
                    <a:pt x="478" y="958"/>
                  </a:lnTo>
                  <a:lnTo>
                    <a:pt x="473" y="957"/>
                  </a:lnTo>
                  <a:lnTo>
                    <a:pt x="472" y="956"/>
                  </a:lnTo>
                  <a:lnTo>
                    <a:pt x="470" y="955"/>
                  </a:lnTo>
                  <a:lnTo>
                    <a:pt x="469" y="954"/>
                  </a:lnTo>
                  <a:lnTo>
                    <a:pt x="468" y="952"/>
                  </a:lnTo>
                  <a:lnTo>
                    <a:pt x="469" y="946"/>
                  </a:lnTo>
                  <a:lnTo>
                    <a:pt x="470" y="942"/>
                  </a:lnTo>
                  <a:lnTo>
                    <a:pt x="470" y="940"/>
                  </a:lnTo>
                  <a:lnTo>
                    <a:pt x="472" y="937"/>
                  </a:lnTo>
                  <a:lnTo>
                    <a:pt x="472" y="932"/>
                  </a:lnTo>
                  <a:lnTo>
                    <a:pt x="472" y="928"/>
                  </a:lnTo>
                  <a:lnTo>
                    <a:pt x="473" y="924"/>
                  </a:lnTo>
                  <a:lnTo>
                    <a:pt x="473" y="904"/>
                  </a:lnTo>
                  <a:lnTo>
                    <a:pt x="473" y="901"/>
                  </a:lnTo>
                  <a:lnTo>
                    <a:pt x="472" y="896"/>
                  </a:lnTo>
                  <a:lnTo>
                    <a:pt x="472" y="892"/>
                  </a:lnTo>
                  <a:lnTo>
                    <a:pt x="472" y="889"/>
                  </a:lnTo>
                  <a:lnTo>
                    <a:pt x="474" y="881"/>
                  </a:lnTo>
                  <a:lnTo>
                    <a:pt x="474" y="878"/>
                  </a:lnTo>
                  <a:lnTo>
                    <a:pt x="474" y="873"/>
                  </a:lnTo>
                  <a:lnTo>
                    <a:pt x="474" y="865"/>
                  </a:lnTo>
                  <a:lnTo>
                    <a:pt x="474" y="860"/>
                  </a:lnTo>
                  <a:lnTo>
                    <a:pt x="475" y="855"/>
                  </a:lnTo>
                  <a:lnTo>
                    <a:pt x="475" y="850"/>
                  </a:lnTo>
                  <a:lnTo>
                    <a:pt x="476" y="847"/>
                  </a:lnTo>
                  <a:lnTo>
                    <a:pt x="475" y="837"/>
                  </a:lnTo>
                  <a:lnTo>
                    <a:pt x="475" y="833"/>
                  </a:lnTo>
                  <a:lnTo>
                    <a:pt x="475" y="831"/>
                  </a:lnTo>
                  <a:lnTo>
                    <a:pt x="473" y="830"/>
                  </a:lnTo>
                  <a:lnTo>
                    <a:pt x="472" y="827"/>
                  </a:lnTo>
                  <a:lnTo>
                    <a:pt x="469" y="826"/>
                  </a:lnTo>
                  <a:lnTo>
                    <a:pt x="464" y="825"/>
                  </a:lnTo>
                  <a:lnTo>
                    <a:pt x="456" y="821"/>
                  </a:lnTo>
                  <a:lnTo>
                    <a:pt x="449" y="818"/>
                  </a:lnTo>
                  <a:lnTo>
                    <a:pt x="444" y="815"/>
                  </a:lnTo>
                  <a:lnTo>
                    <a:pt x="440" y="813"/>
                  </a:lnTo>
                  <a:lnTo>
                    <a:pt x="434" y="808"/>
                  </a:lnTo>
                  <a:lnTo>
                    <a:pt x="432" y="807"/>
                  </a:lnTo>
                  <a:lnTo>
                    <a:pt x="431" y="807"/>
                  </a:lnTo>
                  <a:lnTo>
                    <a:pt x="426" y="806"/>
                  </a:lnTo>
                  <a:lnTo>
                    <a:pt x="420" y="806"/>
                  </a:lnTo>
                  <a:lnTo>
                    <a:pt x="415" y="806"/>
                  </a:lnTo>
                  <a:lnTo>
                    <a:pt x="409" y="806"/>
                  </a:lnTo>
                  <a:lnTo>
                    <a:pt x="408" y="806"/>
                  </a:lnTo>
                  <a:lnTo>
                    <a:pt x="405" y="804"/>
                  </a:lnTo>
                  <a:lnTo>
                    <a:pt x="396" y="803"/>
                  </a:lnTo>
                  <a:lnTo>
                    <a:pt x="386" y="801"/>
                  </a:lnTo>
                  <a:lnTo>
                    <a:pt x="381" y="801"/>
                  </a:lnTo>
                  <a:lnTo>
                    <a:pt x="376" y="801"/>
                  </a:lnTo>
                  <a:lnTo>
                    <a:pt x="374" y="801"/>
                  </a:lnTo>
                  <a:lnTo>
                    <a:pt x="372" y="801"/>
                  </a:lnTo>
                  <a:lnTo>
                    <a:pt x="370" y="801"/>
                  </a:lnTo>
                  <a:lnTo>
                    <a:pt x="368" y="802"/>
                  </a:lnTo>
                  <a:lnTo>
                    <a:pt x="364" y="804"/>
                  </a:lnTo>
                  <a:lnTo>
                    <a:pt x="361" y="807"/>
                  </a:lnTo>
                  <a:lnTo>
                    <a:pt x="360" y="808"/>
                  </a:lnTo>
                  <a:lnTo>
                    <a:pt x="357" y="809"/>
                  </a:lnTo>
                  <a:lnTo>
                    <a:pt x="352" y="812"/>
                  </a:lnTo>
                  <a:lnTo>
                    <a:pt x="348" y="813"/>
                  </a:lnTo>
                  <a:lnTo>
                    <a:pt x="346" y="812"/>
                  </a:lnTo>
                  <a:lnTo>
                    <a:pt x="346" y="810"/>
                  </a:lnTo>
                  <a:lnTo>
                    <a:pt x="348" y="808"/>
                  </a:lnTo>
                  <a:lnTo>
                    <a:pt x="350" y="807"/>
                  </a:lnTo>
                  <a:lnTo>
                    <a:pt x="355" y="806"/>
                  </a:lnTo>
                  <a:lnTo>
                    <a:pt x="358" y="802"/>
                  </a:lnTo>
                  <a:lnTo>
                    <a:pt x="362" y="800"/>
                  </a:lnTo>
                  <a:lnTo>
                    <a:pt x="364" y="796"/>
                  </a:lnTo>
                  <a:lnTo>
                    <a:pt x="368" y="794"/>
                  </a:lnTo>
                  <a:lnTo>
                    <a:pt x="372" y="791"/>
                  </a:lnTo>
                  <a:lnTo>
                    <a:pt x="373" y="790"/>
                  </a:lnTo>
                  <a:lnTo>
                    <a:pt x="374" y="789"/>
                  </a:lnTo>
                  <a:lnTo>
                    <a:pt x="374" y="786"/>
                  </a:lnTo>
                  <a:lnTo>
                    <a:pt x="373" y="784"/>
                  </a:lnTo>
                  <a:lnTo>
                    <a:pt x="372" y="783"/>
                  </a:lnTo>
                  <a:lnTo>
                    <a:pt x="370" y="782"/>
                  </a:lnTo>
                  <a:lnTo>
                    <a:pt x="368" y="782"/>
                  </a:lnTo>
                  <a:lnTo>
                    <a:pt x="366" y="783"/>
                  </a:lnTo>
                  <a:lnTo>
                    <a:pt x="364" y="784"/>
                  </a:lnTo>
                  <a:lnTo>
                    <a:pt x="362" y="784"/>
                  </a:lnTo>
                  <a:lnTo>
                    <a:pt x="357" y="784"/>
                  </a:lnTo>
                  <a:lnTo>
                    <a:pt x="352" y="785"/>
                  </a:lnTo>
                  <a:lnTo>
                    <a:pt x="348" y="785"/>
                  </a:lnTo>
                  <a:lnTo>
                    <a:pt x="345" y="784"/>
                  </a:lnTo>
                  <a:lnTo>
                    <a:pt x="344" y="784"/>
                  </a:lnTo>
                  <a:lnTo>
                    <a:pt x="327" y="785"/>
                  </a:lnTo>
                  <a:lnTo>
                    <a:pt x="316" y="786"/>
                  </a:lnTo>
                  <a:lnTo>
                    <a:pt x="311" y="786"/>
                  </a:lnTo>
                  <a:lnTo>
                    <a:pt x="309" y="788"/>
                  </a:lnTo>
                  <a:lnTo>
                    <a:pt x="307" y="788"/>
                  </a:lnTo>
                  <a:lnTo>
                    <a:pt x="303" y="788"/>
                  </a:lnTo>
                  <a:lnTo>
                    <a:pt x="301" y="788"/>
                  </a:lnTo>
                  <a:lnTo>
                    <a:pt x="298" y="786"/>
                  </a:lnTo>
                  <a:lnTo>
                    <a:pt x="297" y="786"/>
                  </a:lnTo>
                  <a:lnTo>
                    <a:pt x="296" y="788"/>
                  </a:lnTo>
                  <a:lnTo>
                    <a:pt x="297" y="791"/>
                  </a:lnTo>
                  <a:lnTo>
                    <a:pt x="297" y="794"/>
                  </a:lnTo>
                  <a:lnTo>
                    <a:pt x="296" y="795"/>
                  </a:lnTo>
                  <a:lnTo>
                    <a:pt x="292" y="797"/>
                  </a:lnTo>
                  <a:lnTo>
                    <a:pt x="289" y="797"/>
                  </a:lnTo>
                  <a:lnTo>
                    <a:pt x="285" y="797"/>
                  </a:lnTo>
                  <a:lnTo>
                    <a:pt x="283" y="796"/>
                  </a:lnTo>
                  <a:lnTo>
                    <a:pt x="283" y="797"/>
                  </a:lnTo>
                  <a:lnTo>
                    <a:pt x="284" y="797"/>
                  </a:lnTo>
                  <a:lnTo>
                    <a:pt x="284" y="798"/>
                  </a:lnTo>
                  <a:lnTo>
                    <a:pt x="284" y="801"/>
                  </a:lnTo>
                  <a:lnTo>
                    <a:pt x="283" y="803"/>
                  </a:lnTo>
                  <a:lnTo>
                    <a:pt x="279" y="804"/>
                  </a:lnTo>
                  <a:lnTo>
                    <a:pt x="277" y="806"/>
                  </a:lnTo>
                  <a:lnTo>
                    <a:pt x="275" y="808"/>
                  </a:lnTo>
                  <a:lnTo>
                    <a:pt x="274" y="809"/>
                  </a:lnTo>
                  <a:lnTo>
                    <a:pt x="273" y="810"/>
                  </a:lnTo>
                  <a:lnTo>
                    <a:pt x="272" y="809"/>
                  </a:lnTo>
                  <a:lnTo>
                    <a:pt x="269" y="810"/>
                  </a:lnTo>
                  <a:lnTo>
                    <a:pt x="268" y="809"/>
                  </a:lnTo>
                  <a:lnTo>
                    <a:pt x="267" y="809"/>
                  </a:lnTo>
                  <a:lnTo>
                    <a:pt x="266" y="809"/>
                  </a:lnTo>
                  <a:lnTo>
                    <a:pt x="266" y="810"/>
                  </a:lnTo>
                  <a:lnTo>
                    <a:pt x="265" y="810"/>
                  </a:lnTo>
                  <a:lnTo>
                    <a:pt x="263" y="810"/>
                  </a:lnTo>
                  <a:lnTo>
                    <a:pt x="263" y="809"/>
                  </a:lnTo>
                  <a:lnTo>
                    <a:pt x="263" y="807"/>
                  </a:lnTo>
                  <a:lnTo>
                    <a:pt x="259" y="807"/>
                  </a:lnTo>
                  <a:lnTo>
                    <a:pt x="257" y="806"/>
                  </a:lnTo>
                  <a:lnTo>
                    <a:pt x="254" y="804"/>
                  </a:lnTo>
                  <a:lnTo>
                    <a:pt x="252" y="803"/>
                  </a:lnTo>
                  <a:lnTo>
                    <a:pt x="251" y="806"/>
                  </a:lnTo>
                  <a:lnTo>
                    <a:pt x="250" y="807"/>
                  </a:lnTo>
                  <a:lnTo>
                    <a:pt x="249" y="808"/>
                  </a:lnTo>
                  <a:lnTo>
                    <a:pt x="248" y="808"/>
                  </a:lnTo>
                  <a:lnTo>
                    <a:pt x="248" y="810"/>
                  </a:lnTo>
                  <a:lnTo>
                    <a:pt x="246" y="812"/>
                  </a:lnTo>
                  <a:lnTo>
                    <a:pt x="244" y="815"/>
                  </a:lnTo>
                  <a:lnTo>
                    <a:pt x="243" y="818"/>
                  </a:lnTo>
                  <a:lnTo>
                    <a:pt x="244" y="819"/>
                  </a:lnTo>
                  <a:lnTo>
                    <a:pt x="243" y="820"/>
                  </a:lnTo>
                  <a:lnTo>
                    <a:pt x="240" y="819"/>
                  </a:lnTo>
                  <a:lnTo>
                    <a:pt x="240" y="821"/>
                  </a:lnTo>
                  <a:lnTo>
                    <a:pt x="239" y="823"/>
                  </a:lnTo>
                  <a:lnTo>
                    <a:pt x="238" y="823"/>
                  </a:lnTo>
                  <a:lnTo>
                    <a:pt x="238" y="824"/>
                  </a:lnTo>
                  <a:lnTo>
                    <a:pt x="236" y="823"/>
                  </a:lnTo>
                  <a:lnTo>
                    <a:pt x="234" y="821"/>
                  </a:lnTo>
                  <a:lnTo>
                    <a:pt x="233" y="818"/>
                  </a:lnTo>
                  <a:lnTo>
                    <a:pt x="231" y="818"/>
                  </a:lnTo>
                  <a:lnTo>
                    <a:pt x="230" y="819"/>
                  </a:lnTo>
                  <a:lnTo>
                    <a:pt x="228" y="818"/>
                  </a:lnTo>
                  <a:lnTo>
                    <a:pt x="227" y="817"/>
                  </a:lnTo>
                  <a:lnTo>
                    <a:pt x="226" y="818"/>
                  </a:lnTo>
                  <a:lnTo>
                    <a:pt x="225" y="818"/>
                  </a:lnTo>
                  <a:lnTo>
                    <a:pt x="224" y="818"/>
                  </a:lnTo>
                  <a:lnTo>
                    <a:pt x="221" y="818"/>
                  </a:lnTo>
                  <a:lnTo>
                    <a:pt x="219" y="820"/>
                  </a:lnTo>
                  <a:lnTo>
                    <a:pt x="219" y="819"/>
                  </a:lnTo>
                  <a:lnTo>
                    <a:pt x="218" y="820"/>
                  </a:lnTo>
                  <a:lnTo>
                    <a:pt x="218" y="818"/>
                  </a:lnTo>
                  <a:lnTo>
                    <a:pt x="216" y="818"/>
                  </a:lnTo>
                  <a:lnTo>
                    <a:pt x="218" y="815"/>
                  </a:lnTo>
                  <a:lnTo>
                    <a:pt x="218" y="813"/>
                  </a:lnTo>
                  <a:lnTo>
                    <a:pt x="218" y="814"/>
                  </a:lnTo>
                  <a:lnTo>
                    <a:pt x="216" y="814"/>
                  </a:lnTo>
                  <a:lnTo>
                    <a:pt x="216" y="813"/>
                  </a:lnTo>
                  <a:lnTo>
                    <a:pt x="214" y="813"/>
                  </a:lnTo>
                  <a:lnTo>
                    <a:pt x="214" y="812"/>
                  </a:lnTo>
                  <a:lnTo>
                    <a:pt x="213" y="813"/>
                  </a:lnTo>
                  <a:lnTo>
                    <a:pt x="210" y="812"/>
                  </a:lnTo>
                  <a:lnTo>
                    <a:pt x="207" y="815"/>
                  </a:lnTo>
                  <a:lnTo>
                    <a:pt x="206" y="817"/>
                  </a:lnTo>
                  <a:lnTo>
                    <a:pt x="203" y="817"/>
                  </a:lnTo>
                  <a:lnTo>
                    <a:pt x="200" y="815"/>
                  </a:lnTo>
                  <a:lnTo>
                    <a:pt x="198" y="814"/>
                  </a:lnTo>
                  <a:lnTo>
                    <a:pt x="200" y="813"/>
                  </a:lnTo>
                  <a:lnTo>
                    <a:pt x="201" y="813"/>
                  </a:lnTo>
                  <a:lnTo>
                    <a:pt x="203" y="812"/>
                  </a:lnTo>
                  <a:lnTo>
                    <a:pt x="202" y="810"/>
                  </a:lnTo>
                  <a:lnTo>
                    <a:pt x="201" y="810"/>
                  </a:lnTo>
                  <a:lnTo>
                    <a:pt x="200" y="809"/>
                  </a:lnTo>
                  <a:lnTo>
                    <a:pt x="197" y="808"/>
                  </a:lnTo>
                  <a:lnTo>
                    <a:pt x="196" y="806"/>
                  </a:lnTo>
                  <a:lnTo>
                    <a:pt x="193" y="804"/>
                  </a:lnTo>
                  <a:lnTo>
                    <a:pt x="193" y="803"/>
                  </a:lnTo>
                  <a:lnTo>
                    <a:pt x="195" y="802"/>
                  </a:lnTo>
                  <a:lnTo>
                    <a:pt x="196" y="800"/>
                  </a:lnTo>
                  <a:lnTo>
                    <a:pt x="197" y="802"/>
                  </a:lnTo>
                  <a:lnTo>
                    <a:pt x="198" y="803"/>
                  </a:lnTo>
                  <a:lnTo>
                    <a:pt x="200" y="804"/>
                  </a:lnTo>
                  <a:lnTo>
                    <a:pt x="201" y="804"/>
                  </a:lnTo>
                  <a:lnTo>
                    <a:pt x="203" y="804"/>
                  </a:lnTo>
                  <a:lnTo>
                    <a:pt x="204" y="806"/>
                  </a:lnTo>
                  <a:lnTo>
                    <a:pt x="204" y="804"/>
                  </a:lnTo>
                  <a:lnTo>
                    <a:pt x="207" y="804"/>
                  </a:lnTo>
                  <a:lnTo>
                    <a:pt x="208" y="806"/>
                  </a:lnTo>
                  <a:lnTo>
                    <a:pt x="210" y="808"/>
                  </a:lnTo>
                  <a:lnTo>
                    <a:pt x="212" y="808"/>
                  </a:lnTo>
                  <a:lnTo>
                    <a:pt x="213" y="807"/>
                  </a:lnTo>
                  <a:lnTo>
                    <a:pt x="213" y="806"/>
                  </a:lnTo>
                  <a:lnTo>
                    <a:pt x="213" y="804"/>
                  </a:lnTo>
                  <a:lnTo>
                    <a:pt x="209" y="804"/>
                  </a:lnTo>
                  <a:lnTo>
                    <a:pt x="209" y="802"/>
                  </a:lnTo>
                  <a:lnTo>
                    <a:pt x="209" y="800"/>
                  </a:lnTo>
                  <a:lnTo>
                    <a:pt x="210" y="796"/>
                  </a:lnTo>
                  <a:lnTo>
                    <a:pt x="209" y="796"/>
                  </a:lnTo>
                  <a:lnTo>
                    <a:pt x="209" y="795"/>
                  </a:lnTo>
                  <a:lnTo>
                    <a:pt x="209" y="794"/>
                  </a:lnTo>
                  <a:lnTo>
                    <a:pt x="212" y="794"/>
                  </a:lnTo>
                  <a:lnTo>
                    <a:pt x="213" y="791"/>
                  </a:lnTo>
                  <a:lnTo>
                    <a:pt x="215" y="792"/>
                  </a:lnTo>
                  <a:lnTo>
                    <a:pt x="216" y="790"/>
                  </a:lnTo>
                  <a:lnTo>
                    <a:pt x="218" y="789"/>
                  </a:lnTo>
                  <a:lnTo>
                    <a:pt x="218" y="786"/>
                  </a:lnTo>
                  <a:lnTo>
                    <a:pt x="219" y="784"/>
                  </a:lnTo>
                  <a:lnTo>
                    <a:pt x="220" y="784"/>
                  </a:lnTo>
                  <a:lnTo>
                    <a:pt x="222" y="785"/>
                  </a:lnTo>
                  <a:lnTo>
                    <a:pt x="225" y="784"/>
                  </a:lnTo>
                  <a:lnTo>
                    <a:pt x="226" y="785"/>
                  </a:lnTo>
                  <a:lnTo>
                    <a:pt x="227" y="785"/>
                  </a:lnTo>
                  <a:lnTo>
                    <a:pt x="230" y="788"/>
                  </a:lnTo>
                  <a:lnTo>
                    <a:pt x="231" y="788"/>
                  </a:lnTo>
                  <a:lnTo>
                    <a:pt x="231" y="786"/>
                  </a:lnTo>
                  <a:lnTo>
                    <a:pt x="231" y="785"/>
                  </a:lnTo>
                  <a:lnTo>
                    <a:pt x="231" y="784"/>
                  </a:lnTo>
                  <a:lnTo>
                    <a:pt x="230" y="783"/>
                  </a:lnTo>
                  <a:lnTo>
                    <a:pt x="228" y="783"/>
                  </a:lnTo>
                  <a:lnTo>
                    <a:pt x="227" y="783"/>
                  </a:lnTo>
                  <a:lnTo>
                    <a:pt x="228" y="782"/>
                  </a:lnTo>
                  <a:lnTo>
                    <a:pt x="226" y="782"/>
                  </a:lnTo>
                  <a:lnTo>
                    <a:pt x="226" y="780"/>
                  </a:lnTo>
                  <a:lnTo>
                    <a:pt x="226" y="778"/>
                  </a:lnTo>
                  <a:lnTo>
                    <a:pt x="226" y="777"/>
                  </a:lnTo>
                  <a:lnTo>
                    <a:pt x="225" y="776"/>
                  </a:lnTo>
                  <a:lnTo>
                    <a:pt x="226" y="774"/>
                  </a:lnTo>
                  <a:lnTo>
                    <a:pt x="226" y="771"/>
                  </a:lnTo>
                  <a:lnTo>
                    <a:pt x="224" y="768"/>
                  </a:lnTo>
                  <a:lnTo>
                    <a:pt x="226" y="767"/>
                  </a:lnTo>
                  <a:lnTo>
                    <a:pt x="227" y="766"/>
                  </a:lnTo>
                  <a:lnTo>
                    <a:pt x="228" y="766"/>
                  </a:lnTo>
                  <a:lnTo>
                    <a:pt x="230" y="766"/>
                  </a:lnTo>
                  <a:lnTo>
                    <a:pt x="230" y="768"/>
                  </a:lnTo>
                  <a:lnTo>
                    <a:pt x="231" y="770"/>
                  </a:lnTo>
                  <a:lnTo>
                    <a:pt x="232" y="771"/>
                  </a:lnTo>
                  <a:lnTo>
                    <a:pt x="234" y="772"/>
                  </a:lnTo>
                  <a:lnTo>
                    <a:pt x="236" y="771"/>
                  </a:lnTo>
                  <a:lnTo>
                    <a:pt x="236" y="773"/>
                  </a:lnTo>
                  <a:lnTo>
                    <a:pt x="238" y="773"/>
                  </a:lnTo>
                  <a:lnTo>
                    <a:pt x="242" y="773"/>
                  </a:lnTo>
                  <a:lnTo>
                    <a:pt x="242" y="774"/>
                  </a:lnTo>
                  <a:lnTo>
                    <a:pt x="244" y="774"/>
                  </a:lnTo>
                  <a:lnTo>
                    <a:pt x="244" y="777"/>
                  </a:lnTo>
                  <a:lnTo>
                    <a:pt x="245" y="777"/>
                  </a:lnTo>
                  <a:lnTo>
                    <a:pt x="245" y="778"/>
                  </a:lnTo>
                  <a:lnTo>
                    <a:pt x="246" y="778"/>
                  </a:lnTo>
                  <a:lnTo>
                    <a:pt x="249" y="778"/>
                  </a:lnTo>
                  <a:lnTo>
                    <a:pt x="250" y="776"/>
                  </a:lnTo>
                  <a:lnTo>
                    <a:pt x="250" y="774"/>
                  </a:lnTo>
                  <a:lnTo>
                    <a:pt x="251" y="774"/>
                  </a:lnTo>
                  <a:lnTo>
                    <a:pt x="251" y="776"/>
                  </a:lnTo>
                  <a:lnTo>
                    <a:pt x="255" y="774"/>
                  </a:lnTo>
                  <a:lnTo>
                    <a:pt x="256" y="777"/>
                  </a:lnTo>
                  <a:lnTo>
                    <a:pt x="257" y="777"/>
                  </a:lnTo>
                  <a:lnTo>
                    <a:pt x="259" y="777"/>
                  </a:lnTo>
                  <a:lnTo>
                    <a:pt x="257" y="774"/>
                  </a:lnTo>
                  <a:lnTo>
                    <a:pt x="259" y="773"/>
                  </a:lnTo>
                  <a:lnTo>
                    <a:pt x="257" y="772"/>
                  </a:lnTo>
                  <a:lnTo>
                    <a:pt x="260" y="772"/>
                  </a:lnTo>
                  <a:lnTo>
                    <a:pt x="260" y="771"/>
                  </a:lnTo>
                  <a:lnTo>
                    <a:pt x="261" y="771"/>
                  </a:lnTo>
                  <a:lnTo>
                    <a:pt x="262" y="771"/>
                  </a:lnTo>
                  <a:lnTo>
                    <a:pt x="263" y="772"/>
                  </a:lnTo>
                  <a:lnTo>
                    <a:pt x="263" y="771"/>
                  </a:lnTo>
                  <a:lnTo>
                    <a:pt x="265" y="772"/>
                  </a:lnTo>
                  <a:lnTo>
                    <a:pt x="266" y="772"/>
                  </a:lnTo>
                  <a:lnTo>
                    <a:pt x="267" y="772"/>
                  </a:lnTo>
                  <a:lnTo>
                    <a:pt x="269" y="771"/>
                  </a:lnTo>
                  <a:lnTo>
                    <a:pt x="271" y="773"/>
                  </a:lnTo>
                  <a:lnTo>
                    <a:pt x="272" y="773"/>
                  </a:lnTo>
                  <a:lnTo>
                    <a:pt x="273" y="773"/>
                  </a:lnTo>
                  <a:lnTo>
                    <a:pt x="273" y="770"/>
                  </a:lnTo>
                  <a:lnTo>
                    <a:pt x="274" y="770"/>
                  </a:lnTo>
                  <a:lnTo>
                    <a:pt x="274" y="768"/>
                  </a:lnTo>
                  <a:lnTo>
                    <a:pt x="273" y="768"/>
                  </a:lnTo>
                  <a:lnTo>
                    <a:pt x="272" y="768"/>
                  </a:lnTo>
                  <a:lnTo>
                    <a:pt x="271" y="766"/>
                  </a:lnTo>
                  <a:lnTo>
                    <a:pt x="268" y="765"/>
                  </a:lnTo>
                  <a:lnTo>
                    <a:pt x="268" y="764"/>
                  </a:lnTo>
                  <a:lnTo>
                    <a:pt x="269" y="764"/>
                  </a:lnTo>
                  <a:lnTo>
                    <a:pt x="272" y="764"/>
                  </a:lnTo>
                  <a:lnTo>
                    <a:pt x="274" y="761"/>
                  </a:lnTo>
                  <a:lnTo>
                    <a:pt x="278" y="764"/>
                  </a:lnTo>
                  <a:lnTo>
                    <a:pt x="279" y="766"/>
                  </a:lnTo>
                  <a:lnTo>
                    <a:pt x="281" y="765"/>
                  </a:lnTo>
                  <a:lnTo>
                    <a:pt x="281" y="764"/>
                  </a:lnTo>
                  <a:lnTo>
                    <a:pt x="280" y="761"/>
                  </a:lnTo>
                  <a:lnTo>
                    <a:pt x="280" y="758"/>
                  </a:lnTo>
                  <a:lnTo>
                    <a:pt x="281" y="758"/>
                  </a:lnTo>
                  <a:lnTo>
                    <a:pt x="283" y="758"/>
                  </a:lnTo>
                  <a:lnTo>
                    <a:pt x="284" y="758"/>
                  </a:lnTo>
                  <a:lnTo>
                    <a:pt x="286" y="756"/>
                  </a:lnTo>
                  <a:lnTo>
                    <a:pt x="287" y="760"/>
                  </a:lnTo>
                  <a:lnTo>
                    <a:pt x="287" y="761"/>
                  </a:lnTo>
                  <a:lnTo>
                    <a:pt x="290" y="761"/>
                  </a:lnTo>
                  <a:lnTo>
                    <a:pt x="290" y="762"/>
                  </a:lnTo>
                  <a:lnTo>
                    <a:pt x="289" y="765"/>
                  </a:lnTo>
                  <a:lnTo>
                    <a:pt x="290" y="765"/>
                  </a:lnTo>
                  <a:lnTo>
                    <a:pt x="290" y="766"/>
                  </a:lnTo>
                  <a:lnTo>
                    <a:pt x="291" y="766"/>
                  </a:lnTo>
                  <a:lnTo>
                    <a:pt x="291" y="765"/>
                  </a:lnTo>
                  <a:lnTo>
                    <a:pt x="295" y="766"/>
                  </a:lnTo>
                  <a:lnTo>
                    <a:pt x="293" y="768"/>
                  </a:lnTo>
                  <a:lnTo>
                    <a:pt x="296" y="768"/>
                  </a:lnTo>
                  <a:lnTo>
                    <a:pt x="296" y="771"/>
                  </a:lnTo>
                  <a:lnTo>
                    <a:pt x="297" y="771"/>
                  </a:lnTo>
                  <a:lnTo>
                    <a:pt x="298" y="771"/>
                  </a:lnTo>
                  <a:lnTo>
                    <a:pt x="301" y="770"/>
                  </a:lnTo>
                  <a:lnTo>
                    <a:pt x="301" y="771"/>
                  </a:lnTo>
                  <a:lnTo>
                    <a:pt x="302" y="771"/>
                  </a:lnTo>
                  <a:lnTo>
                    <a:pt x="303" y="771"/>
                  </a:lnTo>
                  <a:lnTo>
                    <a:pt x="302" y="773"/>
                  </a:lnTo>
                  <a:lnTo>
                    <a:pt x="301" y="774"/>
                  </a:lnTo>
                  <a:lnTo>
                    <a:pt x="301" y="776"/>
                  </a:lnTo>
                  <a:lnTo>
                    <a:pt x="299" y="776"/>
                  </a:lnTo>
                  <a:lnTo>
                    <a:pt x="299" y="778"/>
                  </a:lnTo>
                  <a:lnTo>
                    <a:pt x="299" y="779"/>
                  </a:lnTo>
                  <a:lnTo>
                    <a:pt x="302" y="780"/>
                  </a:lnTo>
                  <a:lnTo>
                    <a:pt x="301" y="780"/>
                  </a:lnTo>
                  <a:lnTo>
                    <a:pt x="299" y="782"/>
                  </a:lnTo>
                  <a:lnTo>
                    <a:pt x="301" y="783"/>
                  </a:lnTo>
                  <a:lnTo>
                    <a:pt x="302" y="782"/>
                  </a:lnTo>
                  <a:lnTo>
                    <a:pt x="304" y="782"/>
                  </a:lnTo>
                  <a:lnTo>
                    <a:pt x="305" y="780"/>
                  </a:lnTo>
                  <a:lnTo>
                    <a:pt x="309" y="780"/>
                  </a:lnTo>
                  <a:lnTo>
                    <a:pt x="310" y="779"/>
                  </a:lnTo>
                  <a:lnTo>
                    <a:pt x="313" y="779"/>
                  </a:lnTo>
                  <a:lnTo>
                    <a:pt x="313" y="780"/>
                  </a:lnTo>
                  <a:lnTo>
                    <a:pt x="314" y="782"/>
                  </a:lnTo>
                  <a:lnTo>
                    <a:pt x="315" y="783"/>
                  </a:lnTo>
                  <a:lnTo>
                    <a:pt x="316" y="783"/>
                  </a:lnTo>
                  <a:lnTo>
                    <a:pt x="319" y="782"/>
                  </a:lnTo>
                  <a:lnTo>
                    <a:pt x="320" y="782"/>
                  </a:lnTo>
                  <a:lnTo>
                    <a:pt x="324" y="780"/>
                  </a:lnTo>
                  <a:lnTo>
                    <a:pt x="333" y="780"/>
                  </a:lnTo>
                  <a:lnTo>
                    <a:pt x="338" y="780"/>
                  </a:lnTo>
                  <a:lnTo>
                    <a:pt x="343" y="779"/>
                  </a:lnTo>
                  <a:lnTo>
                    <a:pt x="348" y="779"/>
                  </a:lnTo>
                  <a:lnTo>
                    <a:pt x="350" y="778"/>
                  </a:lnTo>
                  <a:lnTo>
                    <a:pt x="351" y="779"/>
                  </a:lnTo>
                  <a:lnTo>
                    <a:pt x="352" y="778"/>
                  </a:lnTo>
                  <a:lnTo>
                    <a:pt x="354" y="779"/>
                  </a:lnTo>
                  <a:lnTo>
                    <a:pt x="358" y="779"/>
                  </a:lnTo>
                  <a:lnTo>
                    <a:pt x="363" y="779"/>
                  </a:lnTo>
                  <a:lnTo>
                    <a:pt x="367" y="777"/>
                  </a:lnTo>
                  <a:lnTo>
                    <a:pt x="375" y="774"/>
                  </a:lnTo>
                  <a:lnTo>
                    <a:pt x="379" y="772"/>
                  </a:lnTo>
                  <a:lnTo>
                    <a:pt x="380" y="770"/>
                  </a:lnTo>
                  <a:lnTo>
                    <a:pt x="381" y="768"/>
                  </a:lnTo>
                  <a:lnTo>
                    <a:pt x="384" y="768"/>
                  </a:lnTo>
                  <a:lnTo>
                    <a:pt x="385" y="768"/>
                  </a:lnTo>
                  <a:lnTo>
                    <a:pt x="386" y="771"/>
                  </a:lnTo>
                  <a:lnTo>
                    <a:pt x="389" y="772"/>
                  </a:lnTo>
                  <a:lnTo>
                    <a:pt x="392" y="772"/>
                  </a:lnTo>
                  <a:lnTo>
                    <a:pt x="395" y="772"/>
                  </a:lnTo>
                  <a:lnTo>
                    <a:pt x="397" y="771"/>
                  </a:lnTo>
                  <a:lnTo>
                    <a:pt x="399" y="770"/>
                  </a:lnTo>
                  <a:lnTo>
                    <a:pt x="402" y="768"/>
                  </a:lnTo>
                  <a:lnTo>
                    <a:pt x="403" y="767"/>
                  </a:lnTo>
                  <a:lnTo>
                    <a:pt x="404" y="766"/>
                  </a:lnTo>
                  <a:lnTo>
                    <a:pt x="405" y="765"/>
                  </a:lnTo>
                  <a:lnTo>
                    <a:pt x="405" y="764"/>
                  </a:lnTo>
                  <a:lnTo>
                    <a:pt x="405" y="760"/>
                  </a:lnTo>
                  <a:lnTo>
                    <a:pt x="407" y="760"/>
                  </a:lnTo>
                  <a:lnTo>
                    <a:pt x="409" y="761"/>
                  </a:lnTo>
                  <a:lnTo>
                    <a:pt x="411" y="761"/>
                  </a:lnTo>
                  <a:lnTo>
                    <a:pt x="414" y="760"/>
                  </a:lnTo>
                  <a:lnTo>
                    <a:pt x="414" y="759"/>
                  </a:lnTo>
                  <a:lnTo>
                    <a:pt x="415" y="759"/>
                  </a:lnTo>
                  <a:lnTo>
                    <a:pt x="416" y="758"/>
                  </a:lnTo>
                  <a:lnTo>
                    <a:pt x="421" y="756"/>
                  </a:lnTo>
                  <a:lnTo>
                    <a:pt x="423" y="756"/>
                  </a:lnTo>
                  <a:lnTo>
                    <a:pt x="425" y="756"/>
                  </a:lnTo>
                  <a:lnTo>
                    <a:pt x="426" y="756"/>
                  </a:lnTo>
                  <a:lnTo>
                    <a:pt x="427" y="755"/>
                  </a:lnTo>
                  <a:lnTo>
                    <a:pt x="429" y="753"/>
                  </a:lnTo>
                  <a:lnTo>
                    <a:pt x="432" y="752"/>
                  </a:lnTo>
                  <a:lnTo>
                    <a:pt x="432" y="750"/>
                  </a:lnTo>
                  <a:lnTo>
                    <a:pt x="433" y="749"/>
                  </a:lnTo>
                  <a:lnTo>
                    <a:pt x="431" y="750"/>
                  </a:lnTo>
                  <a:lnTo>
                    <a:pt x="431" y="749"/>
                  </a:lnTo>
                  <a:lnTo>
                    <a:pt x="427" y="749"/>
                  </a:lnTo>
                  <a:lnTo>
                    <a:pt x="428" y="744"/>
                  </a:lnTo>
                  <a:lnTo>
                    <a:pt x="428" y="742"/>
                  </a:lnTo>
                  <a:lnTo>
                    <a:pt x="427" y="742"/>
                  </a:lnTo>
                  <a:lnTo>
                    <a:pt x="427" y="740"/>
                  </a:lnTo>
                  <a:lnTo>
                    <a:pt x="425" y="738"/>
                  </a:lnTo>
                  <a:lnTo>
                    <a:pt x="423" y="738"/>
                  </a:lnTo>
                  <a:lnTo>
                    <a:pt x="423" y="740"/>
                  </a:lnTo>
                  <a:lnTo>
                    <a:pt x="425" y="741"/>
                  </a:lnTo>
                  <a:lnTo>
                    <a:pt x="425" y="742"/>
                  </a:lnTo>
                  <a:lnTo>
                    <a:pt x="426" y="743"/>
                  </a:lnTo>
                  <a:lnTo>
                    <a:pt x="426" y="744"/>
                  </a:lnTo>
                  <a:lnTo>
                    <a:pt x="425" y="744"/>
                  </a:lnTo>
                  <a:lnTo>
                    <a:pt x="425" y="746"/>
                  </a:lnTo>
                  <a:lnTo>
                    <a:pt x="423" y="747"/>
                  </a:lnTo>
                  <a:lnTo>
                    <a:pt x="423" y="752"/>
                  </a:lnTo>
                  <a:lnTo>
                    <a:pt x="422" y="750"/>
                  </a:lnTo>
                  <a:lnTo>
                    <a:pt x="421" y="752"/>
                  </a:lnTo>
                  <a:lnTo>
                    <a:pt x="422" y="753"/>
                  </a:lnTo>
                  <a:lnTo>
                    <a:pt x="417" y="753"/>
                  </a:lnTo>
                  <a:lnTo>
                    <a:pt x="415" y="750"/>
                  </a:lnTo>
                  <a:lnTo>
                    <a:pt x="414" y="749"/>
                  </a:lnTo>
                  <a:lnTo>
                    <a:pt x="414" y="748"/>
                  </a:lnTo>
                  <a:lnTo>
                    <a:pt x="415" y="748"/>
                  </a:lnTo>
                  <a:lnTo>
                    <a:pt x="415" y="747"/>
                  </a:lnTo>
                  <a:lnTo>
                    <a:pt x="413" y="747"/>
                  </a:lnTo>
                  <a:lnTo>
                    <a:pt x="411" y="748"/>
                  </a:lnTo>
                  <a:lnTo>
                    <a:pt x="409" y="749"/>
                  </a:lnTo>
                  <a:lnTo>
                    <a:pt x="407" y="750"/>
                  </a:lnTo>
                  <a:lnTo>
                    <a:pt x="404" y="748"/>
                  </a:lnTo>
                  <a:lnTo>
                    <a:pt x="403" y="747"/>
                  </a:lnTo>
                  <a:lnTo>
                    <a:pt x="402" y="747"/>
                  </a:lnTo>
                  <a:lnTo>
                    <a:pt x="399" y="749"/>
                  </a:lnTo>
                  <a:lnTo>
                    <a:pt x="398" y="752"/>
                  </a:lnTo>
                  <a:lnTo>
                    <a:pt x="395" y="753"/>
                  </a:lnTo>
                  <a:lnTo>
                    <a:pt x="393" y="753"/>
                  </a:lnTo>
                  <a:lnTo>
                    <a:pt x="393" y="752"/>
                  </a:lnTo>
                  <a:lnTo>
                    <a:pt x="393" y="748"/>
                  </a:lnTo>
                  <a:lnTo>
                    <a:pt x="393" y="746"/>
                  </a:lnTo>
                  <a:lnTo>
                    <a:pt x="397" y="746"/>
                  </a:lnTo>
                  <a:lnTo>
                    <a:pt x="397" y="743"/>
                  </a:lnTo>
                  <a:lnTo>
                    <a:pt x="397" y="738"/>
                  </a:lnTo>
                  <a:lnTo>
                    <a:pt x="397" y="737"/>
                  </a:lnTo>
                  <a:lnTo>
                    <a:pt x="397" y="735"/>
                  </a:lnTo>
                  <a:lnTo>
                    <a:pt x="399" y="732"/>
                  </a:lnTo>
                  <a:lnTo>
                    <a:pt x="401" y="731"/>
                  </a:lnTo>
                  <a:lnTo>
                    <a:pt x="402" y="734"/>
                  </a:lnTo>
                  <a:lnTo>
                    <a:pt x="403" y="734"/>
                  </a:lnTo>
                  <a:lnTo>
                    <a:pt x="404" y="732"/>
                  </a:lnTo>
                  <a:lnTo>
                    <a:pt x="404" y="731"/>
                  </a:lnTo>
                  <a:lnTo>
                    <a:pt x="403" y="731"/>
                  </a:lnTo>
                  <a:lnTo>
                    <a:pt x="399" y="729"/>
                  </a:lnTo>
                  <a:lnTo>
                    <a:pt x="398" y="730"/>
                  </a:lnTo>
                  <a:lnTo>
                    <a:pt x="397" y="730"/>
                  </a:lnTo>
                  <a:lnTo>
                    <a:pt x="395" y="730"/>
                  </a:lnTo>
                  <a:lnTo>
                    <a:pt x="393" y="729"/>
                  </a:lnTo>
                  <a:lnTo>
                    <a:pt x="390" y="729"/>
                  </a:lnTo>
                  <a:lnTo>
                    <a:pt x="390" y="726"/>
                  </a:lnTo>
                  <a:lnTo>
                    <a:pt x="391" y="724"/>
                  </a:lnTo>
                  <a:lnTo>
                    <a:pt x="391" y="723"/>
                  </a:lnTo>
                  <a:lnTo>
                    <a:pt x="390" y="723"/>
                  </a:lnTo>
                  <a:lnTo>
                    <a:pt x="387" y="722"/>
                  </a:lnTo>
                  <a:lnTo>
                    <a:pt x="386" y="720"/>
                  </a:lnTo>
                  <a:lnTo>
                    <a:pt x="387" y="724"/>
                  </a:lnTo>
                  <a:lnTo>
                    <a:pt x="387" y="726"/>
                  </a:lnTo>
                  <a:lnTo>
                    <a:pt x="386" y="726"/>
                  </a:lnTo>
                  <a:lnTo>
                    <a:pt x="384" y="724"/>
                  </a:lnTo>
                  <a:lnTo>
                    <a:pt x="383" y="723"/>
                  </a:lnTo>
                  <a:lnTo>
                    <a:pt x="381" y="724"/>
                  </a:lnTo>
                  <a:lnTo>
                    <a:pt x="381" y="725"/>
                  </a:lnTo>
                  <a:lnTo>
                    <a:pt x="378" y="724"/>
                  </a:lnTo>
                  <a:lnTo>
                    <a:pt x="378" y="725"/>
                  </a:lnTo>
                  <a:lnTo>
                    <a:pt x="378" y="726"/>
                  </a:lnTo>
                  <a:lnTo>
                    <a:pt x="378" y="729"/>
                  </a:lnTo>
                  <a:lnTo>
                    <a:pt x="376" y="729"/>
                  </a:lnTo>
                  <a:lnTo>
                    <a:pt x="374" y="729"/>
                  </a:lnTo>
                  <a:lnTo>
                    <a:pt x="374" y="730"/>
                  </a:lnTo>
                  <a:lnTo>
                    <a:pt x="374" y="731"/>
                  </a:lnTo>
                  <a:lnTo>
                    <a:pt x="373" y="734"/>
                  </a:lnTo>
                  <a:lnTo>
                    <a:pt x="368" y="736"/>
                  </a:lnTo>
                  <a:lnTo>
                    <a:pt x="367" y="736"/>
                  </a:lnTo>
                  <a:lnTo>
                    <a:pt x="367" y="737"/>
                  </a:lnTo>
                  <a:lnTo>
                    <a:pt x="366" y="740"/>
                  </a:lnTo>
                  <a:lnTo>
                    <a:pt x="364" y="742"/>
                  </a:lnTo>
                  <a:lnTo>
                    <a:pt x="363" y="743"/>
                  </a:lnTo>
                  <a:lnTo>
                    <a:pt x="363" y="744"/>
                  </a:lnTo>
                  <a:lnTo>
                    <a:pt x="366" y="742"/>
                  </a:lnTo>
                  <a:lnTo>
                    <a:pt x="366" y="741"/>
                  </a:lnTo>
                  <a:lnTo>
                    <a:pt x="368" y="742"/>
                  </a:lnTo>
                  <a:lnTo>
                    <a:pt x="368" y="743"/>
                  </a:lnTo>
                  <a:lnTo>
                    <a:pt x="368" y="747"/>
                  </a:lnTo>
                  <a:lnTo>
                    <a:pt x="367" y="747"/>
                  </a:lnTo>
                  <a:lnTo>
                    <a:pt x="367" y="746"/>
                  </a:lnTo>
                  <a:lnTo>
                    <a:pt x="366" y="746"/>
                  </a:lnTo>
                  <a:lnTo>
                    <a:pt x="366" y="747"/>
                  </a:lnTo>
                  <a:lnTo>
                    <a:pt x="368" y="747"/>
                  </a:lnTo>
                  <a:lnTo>
                    <a:pt x="370" y="746"/>
                  </a:lnTo>
                  <a:lnTo>
                    <a:pt x="369" y="748"/>
                  </a:lnTo>
                  <a:lnTo>
                    <a:pt x="369" y="749"/>
                  </a:lnTo>
                  <a:lnTo>
                    <a:pt x="368" y="752"/>
                  </a:lnTo>
                  <a:lnTo>
                    <a:pt x="368" y="753"/>
                  </a:lnTo>
                  <a:lnTo>
                    <a:pt x="369" y="752"/>
                  </a:lnTo>
                  <a:lnTo>
                    <a:pt x="370" y="754"/>
                  </a:lnTo>
                  <a:lnTo>
                    <a:pt x="370" y="755"/>
                  </a:lnTo>
                  <a:lnTo>
                    <a:pt x="368" y="755"/>
                  </a:lnTo>
                  <a:lnTo>
                    <a:pt x="367" y="756"/>
                  </a:lnTo>
                  <a:lnTo>
                    <a:pt x="366" y="756"/>
                  </a:lnTo>
                  <a:lnTo>
                    <a:pt x="364" y="759"/>
                  </a:lnTo>
                  <a:lnTo>
                    <a:pt x="363" y="759"/>
                  </a:lnTo>
                  <a:lnTo>
                    <a:pt x="360" y="759"/>
                  </a:lnTo>
                  <a:lnTo>
                    <a:pt x="357" y="759"/>
                  </a:lnTo>
                  <a:lnTo>
                    <a:pt x="360" y="756"/>
                  </a:lnTo>
                  <a:lnTo>
                    <a:pt x="360" y="754"/>
                  </a:lnTo>
                  <a:lnTo>
                    <a:pt x="358" y="753"/>
                  </a:lnTo>
                  <a:lnTo>
                    <a:pt x="357" y="755"/>
                  </a:lnTo>
                  <a:lnTo>
                    <a:pt x="357" y="758"/>
                  </a:lnTo>
                  <a:lnTo>
                    <a:pt x="356" y="758"/>
                  </a:lnTo>
                  <a:lnTo>
                    <a:pt x="352" y="759"/>
                  </a:lnTo>
                  <a:lnTo>
                    <a:pt x="351" y="755"/>
                  </a:lnTo>
                  <a:lnTo>
                    <a:pt x="350" y="756"/>
                  </a:lnTo>
                  <a:lnTo>
                    <a:pt x="349" y="756"/>
                  </a:lnTo>
                  <a:lnTo>
                    <a:pt x="349" y="758"/>
                  </a:lnTo>
                  <a:lnTo>
                    <a:pt x="348" y="759"/>
                  </a:lnTo>
                  <a:lnTo>
                    <a:pt x="345" y="758"/>
                  </a:lnTo>
                  <a:lnTo>
                    <a:pt x="345" y="760"/>
                  </a:lnTo>
                  <a:lnTo>
                    <a:pt x="343" y="759"/>
                  </a:lnTo>
                  <a:lnTo>
                    <a:pt x="343" y="758"/>
                  </a:lnTo>
                  <a:lnTo>
                    <a:pt x="338" y="756"/>
                  </a:lnTo>
                  <a:lnTo>
                    <a:pt x="338" y="754"/>
                  </a:lnTo>
                  <a:lnTo>
                    <a:pt x="339" y="754"/>
                  </a:lnTo>
                  <a:lnTo>
                    <a:pt x="340" y="752"/>
                  </a:lnTo>
                  <a:lnTo>
                    <a:pt x="342" y="750"/>
                  </a:lnTo>
                  <a:lnTo>
                    <a:pt x="345" y="748"/>
                  </a:lnTo>
                  <a:lnTo>
                    <a:pt x="345" y="747"/>
                  </a:lnTo>
                  <a:lnTo>
                    <a:pt x="345" y="744"/>
                  </a:lnTo>
                  <a:lnTo>
                    <a:pt x="344" y="746"/>
                  </a:lnTo>
                  <a:lnTo>
                    <a:pt x="343" y="747"/>
                  </a:lnTo>
                  <a:lnTo>
                    <a:pt x="342" y="749"/>
                  </a:lnTo>
                  <a:lnTo>
                    <a:pt x="338" y="749"/>
                  </a:lnTo>
                  <a:lnTo>
                    <a:pt x="337" y="748"/>
                  </a:lnTo>
                  <a:lnTo>
                    <a:pt x="334" y="748"/>
                  </a:lnTo>
                  <a:lnTo>
                    <a:pt x="332" y="746"/>
                  </a:lnTo>
                  <a:lnTo>
                    <a:pt x="332" y="744"/>
                  </a:lnTo>
                  <a:lnTo>
                    <a:pt x="333" y="744"/>
                  </a:lnTo>
                  <a:lnTo>
                    <a:pt x="333" y="742"/>
                  </a:lnTo>
                  <a:lnTo>
                    <a:pt x="332" y="742"/>
                  </a:lnTo>
                  <a:lnTo>
                    <a:pt x="331" y="742"/>
                  </a:lnTo>
                  <a:lnTo>
                    <a:pt x="331" y="743"/>
                  </a:lnTo>
                  <a:lnTo>
                    <a:pt x="330" y="742"/>
                  </a:lnTo>
                  <a:lnTo>
                    <a:pt x="330" y="740"/>
                  </a:lnTo>
                  <a:lnTo>
                    <a:pt x="331" y="736"/>
                  </a:lnTo>
                  <a:lnTo>
                    <a:pt x="331" y="734"/>
                  </a:lnTo>
                  <a:lnTo>
                    <a:pt x="331" y="732"/>
                  </a:lnTo>
                  <a:lnTo>
                    <a:pt x="328" y="730"/>
                  </a:lnTo>
                  <a:lnTo>
                    <a:pt x="327" y="728"/>
                  </a:lnTo>
                  <a:lnTo>
                    <a:pt x="327" y="723"/>
                  </a:lnTo>
                  <a:lnTo>
                    <a:pt x="328" y="722"/>
                  </a:lnTo>
                  <a:lnTo>
                    <a:pt x="330" y="724"/>
                  </a:lnTo>
                  <a:lnTo>
                    <a:pt x="331" y="724"/>
                  </a:lnTo>
                  <a:lnTo>
                    <a:pt x="331" y="723"/>
                  </a:lnTo>
                  <a:lnTo>
                    <a:pt x="331" y="720"/>
                  </a:lnTo>
                  <a:lnTo>
                    <a:pt x="334" y="718"/>
                  </a:lnTo>
                  <a:lnTo>
                    <a:pt x="339" y="718"/>
                  </a:lnTo>
                  <a:lnTo>
                    <a:pt x="338" y="716"/>
                  </a:lnTo>
                  <a:lnTo>
                    <a:pt x="336" y="716"/>
                  </a:lnTo>
                  <a:lnTo>
                    <a:pt x="334" y="716"/>
                  </a:lnTo>
                  <a:lnTo>
                    <a:pt x="333" y="717"/>
                  </a:lnTo>
                  <a:lnTo>
                    <a:pt x="331" y="718"/>
                  </a:lnTo>
                  <a:lnTo>
                    <a:pt x="330" y="717"/>
                  </a:lnTo>
                  <a:lnTo>
                    <a:pt x="328" y="716"/>
                  </a:lnTo>
                  <a:lnTo>
                    <a:pt x="326" y="716"/>
                  </a:lnTo>
                  <a:lnTo>
                    <a:pt x="325" y="716"/>
                  </a:lnTo>
                  <a:lnTo>
                    <a:pt x="324" y="718"/>
                  </a:lnTo>
                  <a:lnTo>
                    <a:pt x="322" y="720"/>
                  </a:lnTo>
                  <a:lnTo>
                    <a:pt x="324" y="722"/>
                  </a:lnTo>
                  <a:lnTo>
                    <a:pt x="325" y="722"/>
                  </a:lnTo>
                  <a:lnTo>
                    <a:pt x="322" y="725"/>
                  </a:lnTo>
                  <a:lnTo>
                    <a:pt x="321" y="726"/>
                  </a:lnTo>
                  <a:lnTo>
                    <a:pt x="321" y="729"/>
                  </a:lnTo>
                  <a:lnTo>
                    <a:pt x="320" y="729"/>
                  </a:lnTo>
                  <a:lnTo>
                    <a:pt x="319" y="728"/>
                  </a:lnTo>
                  <a:lnTo>
                    <a:pt x="321" y="723"/>
                  </a:lnTo>
                  <a:lnTo>
                    <a:pt x="318" y="723"/>
                  </a:lnTo>
                  <a:lnTo>
                    <a:pt x="316" y="724"/>
                  </a:lnTo>
                  <a:lnTo>
                    <a:pt x="316" y="725"/>
                  </a:lnTo>
                  <a:lnTo>
                    <a:pt x="315" y="726"/>
                  </a:lnTo>
                  <a:lnTo>
                    <a:pt x="313" y="726"/>
                  </a:lnTo>
                  <a:lnTo>
                    <a:pt x="310" y="725"/>
                  </a:lnTo>
                  <a:lnTo>
                    <a:pt x="308" y="726"/>
                  </a:lnTo>
                  <a:lnTo>
                    <a:pt x="307" y="726"/>
                  </a:lnTo>
                  <a:lnTo>
                    <a:pt x="308" y="726"/>
                  </a:lnTo>
                  <a:lnTo>
                    <a:pt x="308" y="728"/>
                  </a:lnTo>
                  <a:lnTo>
                    <a:pt x="307" y="729"/>
                  </a:lnTo>
                  <a:lnTo>
                    <a:pt x="305" y="730"/>
                  </a:lnTo>
                  <a:lnTo>
                    <a:pt x="305" y="729"/>
                  </a:lnTo>
                  <a:lnTo>
                    <a:pt x="303" y="729"/>
                  </a:lnTo>
                  <a:lnTo>
                    <a:pt x="302" y="730"/>
                  </a:lnTo>
                  <a:lnTo>
                    <a:pt x="301" y="731"/>
                  </a:lnTo>
                  <a:lnTo>
                    <a:pt x="299" y="731"/>
                  </a:lnTo>
                  <a:lnTo>
                    <a:pt x="299" y="730"/>
                  </a:lnTo>
                  <a:lnTo>
                    <a:pt x="297" y="731"/>
                  </a:lnTo>
                  <a:lnTo>
                    <a:pt x="296" y="730"/>
                  </a:lnTo>
                  <a:lnTo>
                    <a:pt x="295" y="730"/>
                  </a:lnTo>
                  <a:lnTo>
                    <a:pt x="295" y="731"/>
                  </a:lnTo>
                  <a:lnTo>
                    <a:pt x="293" y="731"/>
                  </a:lnTo>
                  <a:lnTo>
                    <a:pt x="292" y="730"/>
                  </a:lnTo>
                  <a:lnTo>
                    <a:pt x="292" y="729"/>
                  </a:lnTo>
                  <a:lnTo>
                    <a:pt x="291" y="729"/>
                  </a:lnTo>
                  <a:lnTo>
                    <a:pt x="290" y="729"/>
                  </a:lnTo>
                  <a:lnTo>
                    <a:pt x="287" y="728"/>
                  </a:lnTo>
                  <a:lnTo>
                    <a:pt x="286" y="726"/>
                  </a:lnTo>
                  <a:lnTo>
                    <a:pt x="285" y="725"/>
                  </a:lnTo>
                  <a:lnTo>
                    <a:pt x="286" y="723"/>
                  </a:lnTo>
                  <a:lnTo>
                    <a:pt x="284" y="723"/>
                  </a:lnTo>
                  <a:lnTo>
                    <a:pt x="281" y="723"/>
                  </a:lnTo>
                  <a:lnTo>
                    <a:pt x="280" y="722"/>
                  </a:lnTo>
                  <a:lnTo>
                    <a:pt x="279" y="723"/>
                  </a:lnTo>
                  <a:lnTo>
                    <a:pt x="278" y="724"/>
                  </a:lnTo>
                  <a:lnTo>
                    <a:pt x="277" y="725"/>
                  </a:lnTo>
                  <a:lnTo>
                    <a:pt x="275" y="724"/>
                  </a:lnTo>
                  <a:lnTo>
                    <a:pt x="272" y="724"/>
                  </a:lnTo>
                  <a:lnTo>
                    <a:pt x="269" y="723"/>
                  </a:lnTo>
                  <a:lnTo>
                    <a:pt x="269" y="720"/>
                  </a:lnTo>
                  <a:lnTo>
                    <a:pt x="268" y="720"/>
                  </a:lnTo>
                  <a:lnTo>
                    <a:pt x="267" y="720"/>
                  </a:lnTo>
                  <a:lnTo>
                    <a:pt x="267" y="722"/>
                  </a:lnTo>
                  <a:lnTo>
                    <a:pt x="266" y="723"/>
                  </a:lnTo>
                  <a:lnTo>
                    <a:pt x="265" y="724"/>
                  </a:lnTo>
                  <a:lnTo>
                    <a:pt x="262" y="723"/>
                  </a:lnTo>
                  <a:lnTo>
                    <a:pt x="261" y="722"/>
                  </a:lnTo>
                  <a:lnTo>
                    <a:pt x="260" y="722"/>
                  </a:lnTo>
                  <a:lnTo>
                    <a:pt x="259" y="722"/>
                  </a:lnTo>
                  <a:lnTo>
                    <a:pt x="256" y="722"/>
                  </a:lnTo>
                  <a:lnTo>
                    <a:pt x="255" y="722"/>
                  </a:lnTo>
                  <a:lnTo>
                    <a:pt x="254" y="722"/>
                  </a:lnTo>
                  <a:lnTo>
                    <a:pt x="252" y="720"/>
                  </a:lnTo>
                  <a:lnTo>
                    <a:pt x="250" y="722"/>
                  </a:lnTo>
                  <a:lnTo>
                    <a:pt x="248" y="722"/>
                  </a:lnTo>
                  <a:lnTo>
                    <a:pt x="244" y="723"/>
                  </a:lnTo>
                  <a:lnTo>
                    <a:pt x="244" y="724"/>
                  </a:lnTo>
                  <a:lnTo>
                    <a:pt x="243" y="726"/>
                  </a:lnTo>
                  <a:lnTo>
                    <a:pt x="244" y="728"/>
                  </a:lnTo>
                  <a:lnTo>
                    <a:pt x="245" y="725"/>
                  </a:lnTo>
                  <a:lnTo>
                    <a:pt x="248" y="725"/>
                  </a:lnTo>
                  <a:lnTo>
                    <a:pt x="248" y="726"/>
                  </a:lnTo>
                  <a:lnTo>
                    <a:pt x="250" y="726"/>
                  </a:lnTo>
                  <a:lnTo>
                    <a:pt x="251" y="726"/>
                  </a:lnTo>
                  <a:lnTo>
                    <a:pt x="252" y="726"/>
                  </a:lnTo>
                  <a:lnTo>
                    <a:pt x="254" y="728"/>
                  </a:lnTo>
                  <a:lnTo>
                    <a:pt x="255" y="725"/>
                  </a:lnTo>
                  <a:lnTo>
                    <a:pt x="255" y="723"/>
                  </a:lnTo>
                  <a:lnTo>
                    <a:pt x="255" y="724"/>
                  </a:lnTo>
                  <a:lnTo>
                    <a:pt x="256" y="724"/>
                  </a:lnTo>
                  <a:lnTo>
                    <a:pt x="256" y="726"/>
                  </a:lnTo>
                  <a:lnTo>
                    <a:pt x="257" y="725"/>
                  </a:lnTo>
                  <a:lnTo>
                    <a:pt x="260" y="725"/>
                  </a:lnTo>
                  <a:lnTo>
                    <a:pt x="260" y="726"/>
                  </a:lnTo>
                  <a:lnTo>
                    <a:pt x="261" y="724"/>
                  </a:lnTo>
                  <a:lnTo>
                    <a:pt x="262" y="724"/>
                  </a:lnTo>
                  <a:lnTo>
                    <a:pt x="263" y="725"/>
                  </a:lnTo>
                  <a:lnTo>
                    <a:pt x="265" y="725"/>
                  </a:lnTo>
                  <a:lnTo>
                    <a:pt x="265" y="726"/>
                  </a:lnTo>
                  <a:lnTo>
                    <a:pt x="265" y="725"/>
                  </a:lnTo>
                  <a:lnTo>
                    <a:pt x="265" y="726"/>
                  </a:lnTo>
                  <a:lnTo>
                    <a:pt x="265" y="728"/>
                  </a:lnTo>
                  <a:lnTo>
                    <a:pt x="266" y="729"/>
                  </a:lnTo>
                  <a:lnTo>
                    <a:pt x="267" y="729"/>
                  </a:lnTo>
                  <a:lnTo>
                    <a:pt x="267" y="730"/>
                  </a:lnTo>
                  <a:lnTo>
                    <a:pt x="267" y="729"/>
                  </a:lnTo>
                  <a:lnTo>
                    <a:pt x="268" y="729"/>
                  </a:lnTo>
                  <a:lnTo>
                    <a:pt x="268" y="726"/>
                  </a:lnTo>
                  <a:lnTo>
                    <a:pt x="268" y="725"/>
                  </a:lnTo>
                  <a:lnTo>
                    <a:pt x="269" y="724"/>
                  </a:lnTo>
                  <a:lnTo>
                    <a:pt x="272" y="725"/>
                  </a:lnTo>
                  <a:lnTo>
                    <a:pt x="272" y="729"/>
                  </a:lnTo>
                  <a:lnTo>
                    <a:pt x="271" y="728"/>
                  </a:lnTo>
                  <a:lnTo>
                    <a:pt x="269" y="731"/>
                  </a:lnTo>
                  <a:lnTo>
                    <a:pt x="271" y="734"/>
                  </a:lnTo>
                  <a:lnTo>
                    <a:pt x="267" y="734"/>
                  </a:lnTo>
                  <a:lnTo>
                    <a:pt x="266" y="734"/>
                  </a:lnTo>
                  <a:lnTo>
                    <a:pt x="268" y="734"/>
                  </a:lnTo>
                  <a:lnTo>
                    <a:pt x="268" y="737"/>
                  </a:lnTo>
                  <a:lnTo>
                    <a:pt x="267" y="736"/>
                  </a:lnTo>
                  <a:lnTo>
                    <a:pt x="266" y="736"/>
                  </a:lnTo>
                  <a:lnTo>
                    <a:pt x="263" y="736"/>
                  </a:lnTo>
                  <a:lnTo>
                    <a:pt x="262" y="736"/>
                  </a:lnTo>
                  <a:lnTo>
                    <a:pt x="260" y="737"/>
                  </a:lnTo>
                  <a:lnTo>
                    <a:pt x="256" y="737"/>
                  </a:lnTo>
                  <a:lnTo>
                    <a:pt x="255" y="740"/>
                  </a:lnTo>
                  <a:lnTo>
                    <a:pt x="255" y="741"/>
                  </a:lnTo>
                  <a:lnTo>
                    <a:pt x="254" y="743"/>
                  </a:lnTo>
                  <a:lnTo>
                    <a:pt x="252" y="744"/>
                  </a:lnTo>
                  <a:lnTo>
                    <a:pt x="252" y="746"/>
                  </a:lnTo>
                  <a:lnTo>
                    <a:pt x="249" y="746"/>
                  </a:lnTo>
                  <a:lnTo>
                    <a:pt x="246" y="744"/>
                  </a:lnTo>
                  <a:lnTo>
                    <a:pt x="248" y="743"/>
                  </a:lnTo>
                  <a:lnTo>
                    <a:pt x="248" y="742"/>
                  </a:lnTo>
                  <a:lnTo>
                    <a:pt x="246" y="742"/>
                  </a:lnTo>
                  <a:lnTo>
                    <a:pt x="245" y="740"/>
                  </a:lnTo>
                  <a:lnTo>
                    <a:pt x="244" y="736"/>
                  </a:lnTo>
                  <a:lnTo>
                    <a:pt x="242" y="736"/>
                  </a:lnTo>
                  <a:lnTo>
                    <a:pt x="242" y="737"/>
                  </a:lnTo>
                  <a:lnTo>
                    <a:pt x="243" y="738"/>
                  </a:lnTo>
                  <a:lnTo>
                    <a:pt x="244" y="741"/>
                  </a:lnTo>
                  <a:lnTo>
                    <a:pt x="245" y="742"/>
                  </a:lnTo>
                  <a:lnTo>
                    <a:pt x="244" y="743"/>
                  </a:lnTo>
                  <a:lnTo>
                    <a:pt x="242" y="744"/>
                  </a:lnTo>
                  <a:lnTo>
                    <a:pt x="243" y="741"/>
                  </a:lnTo>
                  <a:lnTo>
                    <a:pt x="242" y="741"/>
                  </a:lnTo>
                  <a:lnTo>
                    <a:pt x="240" y="742"/>
                  </a:lnTo>
                  <a:lnTo>
                    <a:pt x="240" y="744"/>
                  </a:lnTo>
                  <a:lnTo>
                    <a:pt x="243" y="747"/>
                  </a:lnTo>
                  <a:lnTo>
                    <a:pt x="239" y="747"/>
                  </a:lnTo>
                  <a:lnTo>
                    <a:pt x="239" y="748"/>
                  </a:lnTo>
                  <a:lnTo>
                    <a:pt x="240" y="749"/>
                  </a:lnTo>
                  <a:lnTo>
                    <a:pt x="240" y="750"/>
                  </a:lnTo>
                  <a:lnTo>
                    <a:pt x="238" y="749"/>
                  </a:lnTo>
                  <a:lnTo>
                    <a:pt x="238" y="752"/>
                  </a:lnTo>
                  <a:lnTo>
                    <a:pt x="238" y="753"/>
                  </a:lnTo>
                  <a:lnTo>
                    <a:pt x="239" y="753"/>
                  </a:lnTo>
                  <a:lnTo>
                    <a:pt x="239" y="754"/>
                  </a:lnTo>
                  <a:lnTo>
                    <a:pt x="238" y="754"/>
                  </a:lnTo>
                  <a:lnTo>
                    <a:pt x="237" y="755"/>
                  </a:lnTo>
                  <a:lnTo>
                    <a:pt x="240" y="756"/>
                  </a:lnTo>
                  <a:lnTo>
                    <a:pt x="243" y="755"/>
                  </a:lnTo>
                  <a:lnTo>
                    <a:pt x="243" y="756"/>
                  </a:lnTo>
                  <a:lnTo>
                    <a:pt x="244" y="756"/>
                  </a:lnTo>
                  <a:lnTo>
                    <a:pt x="244" y="761"/>
                  </a:lnTo>
                  <a:lnTo>
                    <a:pt x="243" y="764"/>
                  </a:lnTo>
                  <a:lnTo>
                    <a:pt x="243" y="766"/>
                  </a:lnTo>
                  <a:lnTo>
                    <a:pt x="242" y="766"/>
                  </a:lnTo>
                  <a:lnTo>
                    <a:pt x="239" y="767"/>
                  </a:lnTo>
                  <a:lnTo>
                    <a:pt x="239" y="766"/>
                  </a:lnTo>
                  <a:lnTo>
                    <a:pt x="237" y="766"/>
                  </a:lnTo>
                  <a:lnTo>
                    <a:pt x="236" y="765"/>
                  </a:lnTo>
                  <a:lnTo>
                    <a:pt x="233" y="764"/>
                  </a:lnTo>
                  <a:lnTo>
                    <a:pt x="230" y="761"/>
                  </a:lnTo>
                  <a:lnTo>
                    <a:pt x="228" y="761"/>
                  </a:lnTo>
                  <a:lnTo>
                    <a:pt x="226" y="761"/>
                  </a:lnTo>
                  <a:lnTo>
                    <a:pt x="224" y="761"/>
                  </a:lnTo>
                  <a:lnTo>
                    <a:pt x="221" y="761"/>
                  </a:lnTo>
                  <a:lnTo>
                    <a:pt x="219" y="762"/>
                  </a:lnTo>
                  <a:lnTo>
                    <a:pt x="214" y="762"/>
                  </a:lnTo>
                  <a:lnTo>
                    <a:pt x="212" y="762"/>
                  </a:lnTo>
                  <a:lnTo>
                    <a:pt x="210" y="762"/>
                  </a:lnTo>
                  <a:lnTo>
                    <a:pt x="208" y="762"/>
                  </a:lnTo>
                  <a:lnTo>
                    <a:pt x="207" y="761"/>
                  </a:lnTo>
                  <a:lnTo>
                    <a:pt x="206" y="762"/>
                  </a:lnTo>
                  <a:lnTo>
                    <a:pt x="204" y="764"/>
                  </a:lnTo>
                  <a:lnTo>
                    <a:pt x="203" y="764"/>
                  </a:lnTo>
                  <a:lnTo>
                    <a:pt x="202" y="765"/>
                  </a:lnTo>
                  <a:lnTo>
                    <a:pt x="198" y="768"/>
                  </a:lnTo>
                  <a:lnTo>
                    <a:pt x="198" y="770"/>
                  </a:lnTo>
                  <a:lnTo>
                    <a:pt x="197" y="771"/>
                  </a:lnTo>
                  <a:lnTo>
                    <a:pt x="196" y="770"/>
                  </a:lnTo>
                  <a:lnTo>
                    <a:pt x="195" y="771"/>
                  </a:lnTo>
                  <a:lnTo>
                    <a:pt x="192" y="771"/>
                  </a:lnTo>
                  <a:lnTo>
                    <a:pt x="190" y="768"/>
                  </a:lnTo>
                  <a:lnTo>
                    <a:pt x="187" y="765"/>
                  </a:lnTo>
                  <a:lnTo>
                    <a:pt x="189" y="764"/>
                  </a:lnTo>
                  <a:lnTo>
                    <a:pt x="187" y="762"/>
                  </a:lnTo>
                  <a:lnTo>
                    <a:pt x="186" y="760"/>
                  </a:lnTo>
                  <a:lnTo>
                    <a:pt x="185" y="759"/>
                  </a:lnTo>
                  <a:lnTo>
                    <a:pt x="183" y="760"/>
                  </a:lnTo>
                  <a:lnTo>
                    <a:pt x="181" y="760"/>
                  </a:lnTo>
                  <a:lnTo>
                    <a:pt x="180" y="759"/>
                  </a:lnTo>
                  <a:lnTo>
                    <a:pt x="179" y="756"/>
                  </a:lnTo>
                  <a:lnTo>
                    <a:pt x="177" y="753"/>
                  </a:lnTo>
                  <a:lnTo>
                    <a:pt x="174" y="750"/>
                  </a:lnTo>
                  <a:lnTo>
                    <a:pt x="175" y="750"/>
                  </a:lnTo>
                  <a:lnTo>
                    <a:pt x="175" y="749"/>
                  </a:lnTo>
                  <a:lnTo>
                    <a:pt x="175" y="748"/>
                  </a:lnTo>
                  <a:lnTo>
                    <a:pt x="177" y="749"/>
                  </a:lnTo>
                  <a:lnTo>
                    <a:pt x="178" y="749"/>
                  </a:lnTo>
                  <a:lnTo>
                    <a:pt x="179" y="750"/>
                  </a:lnTo>
                  <a:lnTo>
                    <a:pt x="181" y="750"/>
                  </a:lnTo>
                  <a:lnTo>
                    <a:pt x="183" y="752"/>
                  </a:lnTo>
                  <a:lnTo>
                    <a:pt x="185" y="750"/>
                  </a:lnTo>
                  <a:lnTo>
                    <a:pt x="184" y="748"/>
                  </a:lnTo>
                  <a:lnTo>
                    <a:pt x="184" y="747"/>
                  </a:lnTo>
                  <a:lnTo>
                    <a:pt x="184" y="746"/>
                  </a:lnTo>
                  <a:lnTo>
                    <a:pt x="186" y="746"/>
                  </a:lnTo>
                  <a:lnTo>
                    <a:pt x="189" y="747"/>
                  </a:lnTo>
                  <a:lnTo>
                    <a:pt x="189" y="746"/>
                  </a:lnTo>
                  <a:lnTo>
                    <a:pt x="191" y="746"/>
                  </a:lnTo>
                  <a:lnTo>
                    <a:pt x="192" y="744"/>
                  </a:lnTo>
                  <a:lnTo>
                    <a:pt x="191" y="744"/>
                  </a:lnTo>
                  <a:lnTo>
                    <a:pt x="190" y="743"/>
                  </a:lnTo>
                  <a:lnTo>
                    <a:pt x="187" y="741"/>
                  </a:lnTo>
                  <a:lnTo>
                    <a:pt x="187" y="737"/>
                  </a:lnTo>
                  <a:lnTo>
                    <a:pt x="190" y="738"/>
                  </a:lnTo>
                  <a:lnTo>
                    <a:pt x="191" y="740"/>
                  </a:lnTo>
                  <a:lnTo>
                    <a:pt x="192" y="740"/>
                  </a:lnTo>
                  <a:lnTo>
                    <a:pt x="195" y="738"/>
                  </a:lnTo>
                  <a:lnTo>
                    <a:pt x="197" y="736"/>
                  </a:lnTo>
                  <a:lnTo>
                    <a:pt x="198" y="736"/>
                  </a:lnTo>
                  <a:lnTo>
                    <a:pt x="198" y="735"/>
                  </a:lnTo>
                  <a:lnTo>
                    <a:pt x="195" y="732"/>
                  </a:lnTo>
                  <a:lnTo>
                    <a:pt x="193" y="731"/>
                  </a:lnTo>
                  <a:lnTo>
                    <a:pt x="192" y="730"/>
                  </a:lnTo>
                  <a:lnTo>
                    <a:pt x="192" y="728"/>
                  </a:lnTo>
                  <a:lnTo>
                    <a:pt x="190" y="728"/>
                  </a:lnTo>
                  <a:lnTo>
                    <a:pt x="189" y="726"/>
                  </a:lnTo>
                  <a:lnTo>
                    <a:pt x="190" y="725"/>
                  </a:lnTo>
                  <a:lnTo>
                    <a:pt x="191" y="725"/>
                  </a:lnTo>
                  <a:lnTo>
                    <a:pt x="192" y="724"/>
                  </a:lnTo>
                  <a:lnTo>
                    <a:pt x="192" y="723"/>
                  </a:lnTo>
                  <a:lnTo>
                    <a:pt x="196" y="725"/>
                  </a:lnTo>
                  <a:lnTo>
                    <a:pt x="197" y="724"/>
                  </a:lnTo>
                  <a:lnTo>
                    <a:pt x="195" y="723"/>
                  </a:lnTo>
                  <a:lnTo>
                    <a:pt x="196" y="719"/>
                  </a:lnTo>
                  <a:lnTo>
                    <a:pt x="196" y="717"/>
                  </a:lnTo>
                  <a:lnTo>
                    <a:pt x="195" y="716"/>
                  </a:lnTo>
                  <a:lnTo>
                    <a:pt x="193" y="717"/>
                  </a:lnTo>
                  <a:lnTo>
                    <a:pt x="190" y="717"/>
                  </a:lnTo>
                  <a:lnTo>
                    <a:pt x="187" y="716"/>
                  </a:lnTo>
                  <a:lnTo>
                    <a:pt x="186" y="716"/>
                  </a:lnTo>
                  <a:lnTo>
                    <a:pt x="185" y="716"/>
                  </a:lnTo>
                  <a:lnTo>
                    <a:pt x="183" y="716"/>
                  </a:lnTo>
                  <a:lnTo>
                    <a:pt x="181" y="717"/>
                  </a:lnTo>
                  <a:lnTo>
                    <a:pt x="179" y="718"/>
                  </a:lnTo>
                  <a:lnTo>
                    <a:pt x="178" y="719"/>
                  </a:lnTo>
                  <a:lnTo>
                    <a:pt x="178" y="718"/>
                  </a:lnTo>
                  <a:lnTo>
                    <a:pt x="177" y="717"/>
                  </a:lnTo>
                  <a:lnTo>
                    <a:pt x="175" y="718"/>
                  </a:lnTo>
                  <a:lnTo>
                    <a:pt x="173" y="718"/>
                  </a:lnTo>
                  <a:lnTo>
                    <a:pt x="172" y="718"/>
                  </a:lnTo>
                  <a:lnTo>
                    <a:pt x="169" y="717"/>
                  </a:lnTo>
                  <a:lnTo>
                    <a:pt x="168" y="717"/>
                  </a:lnTo>
                  <a:lnTo>
                    <a:pt x="166" y="716"/>
                  </a:lnTo>
                  <a:lnTo>
                    <a:pt x="163" y="717"/>
                  </a:lnTo>
                  <a:lnTo>
                    <a:pt x="161" y="717"/>
                  </a:lnTo>
                  <a:lnTo>
                    <a:pt x="161" y="718"/>
                  </a:lnTo>
                  <a:lnTo>
                    <a:pt x="160" y="718"/>
                  </a:lnTo>
                  <a:lnTo>
                    <a:pt x="159" y="719"/>
                  </a:lnTo>
                  <a:lnTo>
                    <a:pt x="157" y="722"/>
                  </a:lnTo>
                  <a:lnTo>
                    <a:pt x="155" y="720"/>
                  </a:lnTo>
                  <a:lnTo>
                    <a:pt x="149" y="720"/>
                  </a:lnTo>
                  <a:lnTo>
                    <a:pt x="147" y="720"/>
                  </a:lnTo>
                  <a:lnTo>
                    <a:pt x="143" y="719"/>
                  </a:lnTo>
                  <a:lnTo>
                    <a:pt x="141" y="723"/>
                  </a:lnTo>
                  <a:lnTo>
                    <a:pt x="138" y="722"/>
                  </a:lnTo>
                  <a:lnTo>
                    <a:pt x="137" y="720"/>
                  </a:lnTo>
                  <a:lnTo>
                    <a:pt x="136" y="719"/>
                  </a:lnTo>
                  <a:lnTo>
                    <a:pt x="133" y="719"/>
                  </a:lnTo>
                  <a:lnTo>
                    <a:pt x="131" y="717"/>
                  </a:lnTo>
                  <a:lnTo>
                    <a:pt x="128" y="717"/>
                  </a:lnTo>
                  <a:lnTo>
                    <a:pt x="128" y="716"/>
                  </a:lnTo>
                  <a:lnTo>
                    <a:pt x="131" y="713"/>
                  </a:lnTo>
                  <a:lnTo>
                    <a:pt x="132" y="713"/>
                  </a:lnTo>
                  <a:lnTo>
                    <a:pt x="132" y="714"/>
                  </a:lnTo>
                  <a:lnTo>
                    <a:pt x="136" y="714"/>
                  </a:lnTo>
                  <a:lnTo>
                    <a:pt x="137" y="714"/>
                  </a:lnTo>
                  <a:lnTo>
                    <a:pt x="138" y="714"/>
                  </a:lnTo>
                  <a:lnTo>
                    <a:pt x="138" y="713"/>
                  </a:lnTo>
                  <a:lnTo>
                    <a:pt x="136" y="712"/>
                  </a:lnTo>
                  <a:lnTo>
                    <a:pt x="136" y="710"/>
                  </a:lnTo>
                  <a:lnTo>
                    <a:pt x="133" y="708"/>
                  </a:lnTo>
                  <a:lnTo>
                    <a:pt x="132" y="708"/>
                  </a:lnTo>
                  <a:lnTo>
                    <a:pt x="131" y="708"/>
                  </a:lnTo>
                  <a:lnTo>
                    <a:pt x="131" y="707"/>
                  </a:lnTo>
                  <a:lnTo>
                    <a:pt x="128" y="707"/>
                  </a:lnTo>
                  <a:lnTo>
                    <a:pt x="130" y="701"/>
                  </a:lnTo>
                  <a:lnTo>
                    <a:pt x="133" y="697"/>
                  </a:lnTo>
                  <a:lnTo>
                    <a:pt x="134" y="697"/>
                  </a:lnTo>
                  <a:lnTo>
                    <a:pt x="136" y="697"/>
                  </a:lnTo>
                  <a:lnTo>
                    <a:pt x="136" y="696"/>
                  </a:lnTo>
                  <a:lnTo>
                    <a:pt x="138" y="695"/>
                  </a:lnTo>
                  <a:lnTo>
                    <a:pt x="139" y="697"/>
                  </a:lnTo>
                  <a:lnTo>
                    <a:pt x="143" y="699"/>
                  </a:lnTo>
                  <a:lnTo>
                    <a:pt x="143" y="696"/>
                  </a:lnTo>
                  <a:lnTo>
                    <a:pt x="143" y="694"/>
                  </a:lnTo>
                  <a:lnTo>
                    <a:pt x="144" y="694"/>
                  </a:lnTo>
                  <a:lnTo>
                    <a:pt x="145" y="694"/>
                  </a:lnTo>
                  <a:lnTo>
                    <a:pt x="149" y="693"/>
                  </a:lnTo>
                  <a:lnTo>
                    <a:pt x="150" y="693"/>
                  </a:lnTo>
                  <a:lnTo>
                    <a:pt x="150" y="691"/>
                  </a:lnTo>
                  <a:lnTo>
                    <a:pt x="147" y="688"/>
                  </a:lnTo>
                  <a:lnTo>
                    <a:pt x="145" y="688"/>
                  </a:lnTo>
                  <a:lnTo>
                    <a:pt x="144" y="689"/>
                  </a:lnTo>
                  <a:lnTo>
                    <a:pt x="143" y="690"/>
                  </a:lnTo>
                  <a:lnTo>
                    <a:pt x="143" y="689"/>
                  </a:lnTo>
                  <a:lnTo>
                    <a:pt x="141" y="689"/>
                  </a:lnTo>
                  <a:lnTo>
                    <a:pt x="139" y="689"/>
                  </a:lnTo>
                  <a:lnTo>
                    <a:pt x="138" y="688"/>
                  </a:lnTo>
                  <a:lnTo>
                    <a:pt x="137" y="688"/>
                  </a:lnTo>
                  <a:lnTo>
                    <a:pt x="137" y="687"/>
                  </a:lnTo>
                  <a:lnTo>
                    <a:pt x="133" y="685"/>
                  </a:lnTo>
                  <a:lnTo>
                    <a:pt x="128" y="683"/>
                  </a:lnTo>
                  <a:lnTo>
                    <a:pt x="127" y="682"/>
                  </a:lnTo>
                  <a:lnTo>
                    <a:pt x="126" y="681"/>
                  </a:lnTo>
                  <a:lnTo>
                    <a:pt x="126" y="678"/>
                  </a:lnTo>
                  <a:lnTo>
                    <a:pt x="125" y="677"/>
                  </a:lnTo>
                  <a:lnTo>
                    <a:pt x="124" y="676"/>
                  </a:lnTo>
                  <a:lnTo>
                    <a:pt x="122" y="675"/>
                  </a:lnTo>
                  <a:lnTo>
                    <a:pt x="125" y="673"/>
                  </a:lnTo>
                  <a:lnTo>
                    <a:pt x="125" y="672"/>
                  </a:lnTo>
                  <a:lnTo>
                    <a:pt x="126" y="672"/>
                  </a:lnTo>
                  <a:lnTo>
                    <a:pt x="127" y="673"/>
                  </a:lnTo>
                  <a:lnTo>
                    <a:pt x="127" y="675"/>
                  </a:lnTo>
                  <a:lnTo>
                    <a:pt x="130" y="675"/>
                  </a:lnTo>
                  <a:lnTo>
                    <a:pt x="130" y="676"/>
                  </a:lnTo>
                  <a:lnTo>
                    <a:pt x="132" y="677"/>
                  </a:lnTo>
                  <a:lnTo>
                    <a:pt x="133" y="677"/>
                  </a:lnTo>
                  <a:lnTo>
                    <a:pt x="134" y="678"/>
                  </a:lnTo>
                  <a:lnTo>
                    <a:pt x="134" y="677"/>
                  </a:lnTo>
                  <a:lnTo>
                    <a:pt x="133" y="675"/>
                  </a:lnTo>
                  <a:lnTo>
                    <a:pt x="134" y="672"/>
                  </a:lnTo>
                  <a:lnTo>
                    <a:pt x="137" y="670"/>
                  </a:lnTo>
                  <a:lnTo>
                    <a:pt x="138" y="672"/>
                  </a:lnTo>
                  <a:lnTo>
                    <a:pt x="139" y="675"/>
                  </a:lnTo>
                  <a:lnTo>
                    <a:pt x="141" y="676"/>
                  </a:lnTo>
                  <a:lnTo>
                    <a:pt x="141" y="677"/>
                  </a:lnTo>
                  <a:lnTo>
                    <a:pt x="144" y="677"/>
                  </a:lnTo>
                  <a:lnTo>
                    <a:pt x="145" y="677"/>
                  </a:lnTo>
                  <a:lnTo>
                    <a:pt x="145" y="678"/>
                  </a:lnTo>
                  <a:lnTo>
                    <a:pt x="145" y="679"/>
                  </a:lnTo>
                  <a:lnTo>
                    <a:pt x="147" y="681"/>
                  </a:lnTo>
                  <a:lnTo>
                    <a:pt x="149" y="682"/>
                  </a:lnTo>
                  <a:lnTo>
                    <a:pt x="149" y="681"/>
                  </a:lnTo>
                  <a:lnTo>
                    <a:pt x="150" y="681"/>
                  </a:lnTo>
                  <a:lnTo>
                    <a:pt x="153" y="682"/>
                  </a:lnTo>
                  <a:lnTo>
                    <a:pt x="155" y="682"/>
                  </a:lnTo>
                  <a:lnTo>
                    <a:pt x="157" y="682"/>
                  </a:lnTo>
                  <a:lnTo>
                    <a:pt x="155" y="678"/>
                  </a:lnTo>
                  <a:lnTo>
                    <a:pt x="154" y="676"/>
                  </a:lnTo>
                  <a:lnTo>
                    <a:pt x="153" y="673"/>
                  </a:lnTo>
                  <a:lnTo>
                    <a:pt x="151" y="672"/>
                  </a:lnTo>
                  <a:lnTo>
                    <a:pt x="153" y="672"/>
                  </a:lnTo>
                  <a:lnTo>
                    <a:pt x="153" y="671"/>
                  </a:lnTo>
                  <a:lnTo>
                    <a:pt x="154" y="670"/>
                  </a:lnTo>
                  <a:lnTo>
                    <a:pt x="155" y="671"/>
                  </a:lnTo>
                  <a:lnTo>
                    <a:pt x="157" y="672"/>
                  </a:lnTo>
                  <a:lnTo>
                    <a:pt x="159" y="673"/>
                  </a:lnTo>
                  <a:lnTo>
                    <a:pt x="160" y="675"/>
                  </a:lnTo>
                  <a:lnTo>
                    <a:pt x="161" y="676"/>
                  </a:lnTo>
                  <a:lnTo>
                    <a:pt x="162" y="673"/>
                  </a:lnTo>
                  <a:lnTo>
                    <a:pt x="161" y="672"/>
                  </a:lnTo>
                  <a:lnTo>
                    <a:pt x="160" y="670"/>
                  </a:lnTo>
                  <a:lnTo>
                    <a:pt x="160" y="669"/>
                  </a:lnTo>
                  <a:lnTo>
                    <a:pt x="159" y="667"/>
                  </a:lnTo>
                  <a:lnTo>
                    <a:pt x="157" y="664"/>
                  </a:lnTo>
                  <a:lnTo>
                    <a:pt x="161" y="664"/>
                  </a:lnTo>
                  <a:lnTo>
                    <a:pt x="163" y="664"/>
                  </a:lnTo>
                  <a:lnTo>
                    <a:pt x="163" y="665"/>
                  </a:lnTo>
                  <a:lnTo>
                    <a:pt x="163" y="666"/>
                  </a:lnTo>
                  <a:lnTo>
                    <a:pt x="166" y="666"/>
                  </a:lnTo>
                  <a:lnTo>
                    <a:pt x="168" y="666"/>
                  </a:lnTo>
                  <a:lnTo>
                    <a:pt x="168" y="667"/>
                  </a:lnTo>
                  <a:lnTo>
                    <a:pt x="171" y="669"/>
                  </a:lnTo>
                  <a:lnTo>
                    <a:pt x="171" y="667"/>
                  </a:lnTo>
                  <a:lnTo>
                    <a:pt x="171" y="666"/>
                  </a:lnTo>
                  <a:lnTo>
                    <a:pt x="171" y="665"/>
                  </a:lnTo>
                  <a:lnTo>
                    <a:pt x="172" y="663"/>
                  </a:lnTo>
                  <a:lnTo>
                    <a:pt x="175" y="664"/>
                  </a:lnTo>
                  <a:lnTo>
                    <a:pt x="175" y="665"/>
                  </a:lnTo>
                  <a:lnTo>
                    <a:pt x="177" y="666"/>
                  </a:lnTo>
                  <a:lnTo>
                    <a:pt x="178" y="665"/>
                  </a:lnTo>
                  <a:lnTo>
                    <a:pt x="179" y="665"/>
                  </a:lnTo>
                  <a:lnTo>
                    <a:pt x="179" y="663"/>
                  </a:lnTo>
                  <a:lnTo>
                    <a:pt x="181" y="661"/>
                  </a:lnTo>
                  <a:lnTo>
                    <a:pt x="184" y="661"/>
                  </a:lnTo>
                  <a:lnTo>
                    <a:pt x="184" y="660"/>
                  </a:lnTo>
                  <a:lnTo>
                    <a:pt x="183" y="659"/>
                  </a:lnTo>
                  <a:lnTo>
                    <a:pt x="181" y="659"/>
                  </a:lnTo>
                  <a:lnTo>
                    <a:pt x="181" y="658"/>
                  </a:lnTo>
                  <a:lnTo>
                    <a:pt x="180" y="657"/>
                  </a:lnTo>
                  <a:lnTo>
                    <a:pt x="179" y="655"/>
                  </a:lnTo>
                  <a:lnTo>
                    <a:pt x="179" y="652"/>
                  </a:lnTo>
                  <a:lnTo>
                    <a:pt x="181" y="651"/>
                  </a:lnTo>
                  <a:lnTo>
                    <a:pt x="183" y="649"/>
                  </a:lnTo>
                  <a:lnTo>
                    <a:pt x="181" y="652"/>
                  </a:lnTo>
                  <a:lnTo>
                    <a:pt x="184" y="653"/>
                  </a:lnTo>
                  <a:lnTo>
                    <a:pt x="185" y="654"/>
                  </a:lnTo>
                  <a:lnTo>
                    <a:pt x="186" y="653"/>
                  </a:lnTo>
                  <a:lnTo>
                    <a:pt x="187" y="654"/>
                  </a:lnTo>
                  <a:lnTo>
                    <a:pt x="189" y="655"/>
                  </a:lnTo>
                  <a:lnTo>
                    <a:pt x="190" y="655"/>
                  </a:lnTo>
                  <a:lnTo>
                    <a:pt x="190" y="654"/>
                  </a:lnTo>
                  <a:lnTo>
                    <a:pt x="190" y="652"/>
                  </a:lnTo>
                  <a:lnTo>
                    <a:pt x="189" y="651"/>
                  </a:lnTo>
                  <a:lnTo>
                    <a:pt x="191" y="651"/>
                  </a:lnTo>
                  <a:lnTo>
                    <a:pt x="191" y="649"/>
                  </a:lnTo>
                  <a:lnTo>
                    <a:pt x="193" y="652"/>
                  </a:lnTo>
                  <a:lnTo>
                    <a:pt x="195" y="653"/>
                  </a:lnTo>
                  <a:lnTo>
                    <a:pt x="196" y="653"/>
                  </a:lnTo>
                  <a:lnTo>
                    <a:pt x="196" y="652"/>
                  </a:lnTo>
                  <a:lnTo>
                    <a:pt x="195" y="651"/>
                  </a:lnTo>
                  <a:lnTo>
                    <a:pt x="193" y="649"/>
                  </a:lnTo>
                  <a:lnTo>
                    <a:pt x="193" y="648"/>
                  </a:lnTo>
                  <a:lnTo>
                    <a:pt x="195" y="647"/>
                  </a:lnTo>
                  <a:lnTo>
                    <a:pt x="196" y="648"/>
                  </a:lnTo>
                  <a:lnTo>
                    <a:pt x="197" y="648"/>
                  </a:lnTo>
                  <a:lnTo>
                    <a:pt x="200" y="648"/>
                  </a:lnTo>
                  <a:lnTo>
                    <a:pt x="197" y="646"/>
                  </a:lnTo>
                  <a:lnTo>
                    <a:pt x="195" y="642"/>
                  </a:lnTo>
                  <a:lnTo>
                    <a:pt x="197" y="641"/>
                  </a:lnTo>
                  <a:lnTo>
                    <a:pt x="198" y="642"/>
                  </a:lnTo>
                  <a:lnTo>
                    <a:pt x="200" y="642"/>
                  </a:lnTo>
                  <a:lnTo>
                    <a:pt x="202" y="641"/>
                  </a:lnTo>
                  <a:lnTo>
                    <a:pt x="203" y="641"/>
                  </a:lnTo>
                  <a:lnTo>
                    <a:pt x="204" y="641"/>
                  </a:lnTo>
                  <a:lnTo>
                    <a:pt x="206" y="640"/>
                  </a:lnTo>
                  <a:lnTo>
                    <a:pt x="207" y="640"/>
                  </a:lnTo>
                  <a:lnTo>
                    <a:pt x="209" y="639"/>
                  </a:lnTo>
                  <a:lnTo>
                    <a:pt x="210" y="640"/>
                  </a:lnTo>
                  <a:lnTo>
                    <a:pt x="212" y="641"/>
                  </a:lnTo>
                  <a:lnTo>
                    <a:pt x="214" y="641"/>
                  </a:lnTo>
                  <a:lnTo>
                    <a:pt x="216" y="641"/>
                  </a:lnTo>
                  <a:lnTo>
                    <a:pt x="218" y="643"/>
                  </a:lnTo>
                  <a:lnTo>
                    <a:pt x="220" y="643"/>
                  </a:lnTo>
                  <a:lnTo>
                    <a:pt x="221" y="643"/>
                  </a:lnTo>
                  <a:lnTo>
                    <a:pt x="221" y="642"/>
                  </a:lnTo>
                  <a:lnTo>
                    <a:pt x="225" y="643"/>
                  </a:lnTo>
                  <a:lnTo>
                    <a:pt x="226" y="643"/>
                  </a:lnTo>
                  <a:lnTo>
                    <a:pt x="228" y="642"/>
                  </a:lnTo>
                  <a:lnTo>
                    <a:pt x="227" y="640"/>
                  </a:lnTo>
                  <a:lnTo>
                    <a:pt x="227" y="637"/>
                  </a:lnTo>
                  <a:lnTo>
                    <a:pt x="230" y="639"/>
                  </a:lnTo>
                  <a:lnTo>
                    <a:pt x="234" y="640"/>
                  </a:lnTo>
                  <a:lnTo>
                    <a:pt x="237" y="637"/>
                  </a:lnTo>
                  <a:lnTo>
                    <a:pt x="238" y="634"/>
                  </a:lnTo>
                  <a:lnTo>
                    <a:pt x="238" y="633"/>
                  </a:lnTo>
                  <a:lnTo>
                    <a:pt x="239" y="631"/>
                  </a:lnTo>
                  <a:lnTo>
                    <a:pt x="243" y="629"/>
                  </a:lnTo>
                  <a:lnTo>
                    <a:pt x="245" y="628"/>
                  </a:lnTo>
                  <a:lnTo>
                    <a:pt x="246" y="628"/>
                  </a:lnTo>
                  <a:lnTo>
                    <a:pt x="248" y="627"/>
                  </a:lnTo>
                  <a:lnTo>
                    <a:pt x="249" y="624"/>
                  </a:lnTo>
                  <a:lnTo>
                    <a:pt x="250" y="623"/>
                  </a:lnTo>
                  <a:lnTo>
                    <a:pt x="251" y="622"/>
                  </a:lnTo>
                  <a:lnTo>
                    <a:pt x="250" y="622"/>
                  </a:lnTo>
                  <a:lnTo>
                    <a:pt x="249" y="621"/>
                  </a:lnTo>
                  <a:lnTo>
                    <a:pt x="250" y="619"/>
                  </a:lnTo>
                  <a:lnTo>
                    <a:pt x="251" y="621"/>
                  </a:lnTo>
                  <a:lnTo>
                    <a:pt x="252" y="619"/>
                  </a:lnTo>
                  <a:lnTo>
                    <a:pt x="254" y="621"/>
                  </a:lnTo>
                  <a:lnTo>
                    <a:pt x="255" y="619"/>
                  </a:lnTo>
                  <a:lnTo>
                    <a:pt x="256" y="619"/>
                  </a:lnTo>
                  <a:lnTo>
                    <a:pt x="257" y="617"/>
                  </a:lnTo>
                  <a:lnTo>
                    <a:pt x="260" y="618"/>
                  </a:lnTo>
                  <a:lnTo>
                    <a:pt x="260" y="619"/>
                  </a:lnTo>
                  <a:lnTo>
                    <a:pt x="262" y="618"/>
                  </a:lnTo>
                  <a:lnTo>
                    <a:pt x="263" y="618"/>
                  </a:lnTo>
                  <a:lnTo>
                    <a:pt x="266" y="618"/>
                  </a:lnTo>
                  <a:lnTo>
                    <a:pt x="267" y="617"/>
                  </a:lnTo>
                  <a:lnTo>
                    <a:pt x="268" y="619"/>
                  </a:lnTo>
                  <a:lnTo>
                    <a:pt x="269" y="619"/>
                  </a:lnTo>
                  <a:lnTo>
                    <a:pt x="269" y="618"/>
                  </a:lnTo>
                  <a:lnTo>
                    <a:pt x="272" y="618"/>
                  </a:lnTo>
                  <a:lnTo>
                    <a:pt x="272" y="617"/>
                  </a:lnTo>
                  <a:lnTo>
                    <a:pt x="271" y="616"/>
                  </a:lnTo>
                  <a:lnTo>
                    <a:pt x="272" y="615"/>
                  </a:lnTo>
                  <a:lnTo>
                    <a:pt x="273" y="615"/>
                  </a:lnTo>
                  <a:lnTo>
                    <a:pt x="273" y="616"/>
                  </a:lnTo>
                  <a:lnTo>
                    <a:pt x="273" y="617"/>
                  </a:lnTo>
                  <a:lnTo>
                    <a:pt x="277" y="617"/>
                  </a:lnTo>
                  <a:lnTo>
                    <a:pt x="275" y="615"/>
                  </a:lnTo>
                  <a:lnTo>
                    <a:pt x="277" y="613"/>
                  </a:lnTo>
                  <a:lnTo>
                    <a:pt x="280" y="613"/>
                  </a:lnTo>
                  <a:lnTo>
                    <a:pt x="281" y="611"/>
                  </a:lnTo>
                  <a:lnTo>
                    <a:pt x="281" y="612"/>
                  </a:lnTo>
                  <a:lnTo>
                    <a:pt x="284" y="612"/>
                  </a:lnTo>
                  <a:lnTo>
                    <a:pt x="285" y="611"/>
                  </a:lnTo>
                  <a:lnTo>
                    <a:pt x="283" y="611"/>
                  </a:lnTo>
                  <a:lnTo>
                    <a:pt x="284" y="610"/>
                  </a:lnTo>
                  <a:lnTo>
                    <a:pt x="285" y="609"/>
                  </a:lnTo>
                  <a:lnTo>
                    <a:pt x="287" y="609"/>
                  </a:lnTo>
                  <a:lnTo>
                    <a:pt x="289" y="607"/>
                  </a:lnTo>
                  <a:lnTo>
                    <a:pt x="289" y="609"/>
                  </a:lnTo>
                  <a:lnTo>
                    <a:pt x="290" y="609"/>
                  </a:lnTo>
                  <a:lnTo>
                    <a:pt x="289" y="610"/>
                  </a:lnTo>
                  <a:lnTo>
                    <a:pt x="289" y="611"/>
                  </a:lnTo>
                  <a:lnTo>
                    <a:pt x="290" y="611"/>
                  </a:lnTo>
                  <a:lnTo>
                    <a:pt x="290" y="610"/>
                  </a:lnTo>
                  <a:lnTo>
                    <a:pt x="291" y="611"/>
                  </a:lnTo>
                  <a:lnTo>
                    <a:pt x="293" y="613"/>
                  </a:lnTo>
                  <a:lnTo>
                    <a:pt x="297" y="613"/>
                  </a:lnTo>
                  <a:lnTo>
                    <a:pt x="296" y="611"/>
                  </a:lnTo>
                  <a:lnTo>
                    <a:pt x="296" y="610"/>
                  </a:lnTo>
                  <a:lnTo>
                    <a:pt x="293" y="610"/>
                  </a:lnTo>
                  <a:lnTo>
                    <a:pt x="292" y="609"/>
                  </a:lnTo>
                  <a:lnTo>
                    <a:pt x="293" y="609"/>
                  </a:lnTo>
                  <a:lnTo>
                    <a:pt x="295" y="609"/>
                  </a:lnTo>
                  <a:lnTo>
                    <a:pt x="295" y="607"/>
                  </a:lnTo>
                  <a:lnTo>
                    <a:pt x="296" y="607"/>
                  </a:lnTo>
                  <a:lnTo>
                    <a:pt x="296" y="606"/>
                  </a:lnTo>
                  <a:lnTo>
                    <a:pt x="296" y="605"/>
                  </a:lnTo>
                  <a:lnTo>
                    <a:pt x="298" y="606"/>
                  </a:lnTo>
                  <a:lnTo>
                    <a:pt x="298" y="605"/>
                  </a:lnTo>
                  <a:lnTo>
                    <a:pt x="297" y="604"/>
                  </a:lnTo>
                  <a:lnTo>
                    <a:pt x="298" y="603"/>
                  </a:lnTo>
                  <a:lnTo>
                    <a:pt x="299" y="603"/>
                  </a:lnTo>
                  <a:lnTo>
                    <a:pt x="299" y="601"/>
                  </a:lnTo>
                  <a:lnTo>
                    <a:pt x="298" y="601"/>
                  </a:lnTo>
                  <a:lnTo>
                    <a:pt x="299" y="601"/>
                  </a:lnTo>
                  <a:lnTo>
                    <a:pt x="297" y="601"/>
                  </a:lnTo>
                  <a:lnTo>
                    <a:pt x="297" y="600"/>
                  </a:lnTo>
                  <a:lnTo>
                    <a:pt x="296" y="600"/>
                  </a:lnTo>
                  <a:lnTo>
                    <a:pt x="296" y="603"/>
                  </a:lnTo>
                  <a:lnTo>
                    <a:pt x="295" y="601"/>
                  </a:lnTo>
                  <a:lnTo>
                    <a:pt x="293" y="603"/>
                  </a:lnTo>
                  <a:lnTo>
                    <a:pt x="293" y="604"/>
                  </a:lnTo>
                  <a:lnTo>
                    <a:pt x="292" y="604"/>
                  </a:lnTo>
                  <a:lnTo>
                    <a:pt x="291" y="605"/>
                  </a:lnTo>
                  <a:lnTo>
                    <a:pt x="290" y="605"/>
                  </a:lnTo>
                  <a:lnTo>
                    <a:pt x="289" y="600"/>
                  </a:lnTo>
                  <a:lnTo>
                    <a:pt x="289" y="599"/>
                  </a:lnTo>
                  <a:lnTo>
                    <a:pt x="289" y="598"/>
                  </a:lnTo>
                  <a:lnTo>
                    <a:pt x="285" y="598"/>
                  </a:lnTo>
                  <a:lnTo>
                    <a:pt x="284" y="596"/>
                  </a:lnTo>
                  <a:lnTo>
                    <a:pt x="283" y="596"/>
                  </a:lnTo>
                  <a:lnTo>
                    <a:pt x="283" y="595"/>
                  </a:lnTo>
                  <a:lnTo>
                    <a:pt x="281" y="599"/>
                  </a:lnTo>
                  <a:lnTo>
                    <a:pt x="281" y="601"/>
                  </a:lnTo>
                  <a:lnTo>
                    <a:pt x="277" y="600"/>
                  </a:lnTo>
                  <a:lnTo>
                    <a:pt x="275" y="601"/>
                  </a:lnTo>
                  <a:lnTo>
                    <a:pt x="274" y="601"/>
                  </a:lnTo>
                  <a:lnTo>
                    <a:pt x="273" y="601"/>
                  </a:lnTo>
                  <a:lnTo>
                    <a:pt x="272" y="601"/>
                  </a:lnTo>
                  <a:lnTo>
                    <a:pt x="272" y="604"/>
                  </a:lnTo>
                  <a:lnTo>
                    <a:pt x="272" y="605"/>
                  </a:lnTo>
                  <a:lnTo>
                    <a:pt x="271" y="605"/>
                  </a:lnTo>
                  <a:lnTo>
                    <a:pt x="271" y="604"/>
                  </a:lnTo>
                  <a:lnTo>
                    <a:pt x="269" y="604"/>
                  </a:lnTo>
                  <a:lnTo>
                    <a:pt x="268" y="604"/>
                  </a:lnTo>
                  <a:lnTo>
                    <a:pt x="268" y="605"/>
                  </a:lnTo>
                  <a:lnTo>
                    <a:pt x="266" y="605"/>
                  </a:lnTo>
                  <a:lnTo>
                    <a:pt x="265" y="605"/>
                  </a:lnTo>
                  <a:lnTo>
                    <a:pt x="265" y="606"/>
                  </a:lnTo>
                  <a:lnTo>
                    <a:pt x="266" y="606"/>
                  </a:lnTo>
                  <a:lnTo>
                    <a:pt x="266" y="607"/>
                  </a:lnTo>
                  <a:lnTo>
                    <a:pt x="263" y="607"/>
                  </a:lnTo>
                  <a:lnTo>
                    <a:pt x="262" y="606"/>
                  </a:lnTo>
                  <a:lnTo>
                    <a:pt x="261" y="605"/>
                  </a:lnTo>
                  <a:lnTo>
                    <a:pt x="260" y="603"/>
                  </a:lnTo>
                  <a:lnTo>
                    <a:pt x="261" y="604"/>
                  </a:lnTo>
                  <a:lnTo>
                    <a:pt x="262" y="604"/>
                  </a:lnTo>
                  <a:lnTo>
                    <a:pt x="261" y="603"/>
                  </a:lnTo>
                  <a:lnTo>
                    <a:pt x="261" y="601"/>
                  </a:lnTo>
                  <a:lnTo>
                    <a:pt x="259" y="601"/>
                  </a:lnTo>
                  <a:lnTo>
                    <a:pt x="257" y="601"/>
                  </a:lnTo>
                  <a:lnTo>
                    <a:pt x="256" y="601"/>
                  </a:lnTo>
                  <a:lnTo>
                    <a:pt x="256" y="603"/>
                  </a:lnTo>
                  <a:lnTo>
                    <a:pt x="254" y="604"/>
                  </a:lnTo>
                  <a:lnTo>
                    <a:pt x="252" y="606"/>
                  </a:lnTo>
                  <a:lnTo>
                    <a:pt x="254" y="605"/>
                  </a:lnTo>
                  <a:lnTo>
                    <a:pt x="255" y="605"/>
                  </a:lnTo>
                  <a:lnTo>
                    <a:pt x="255" y="607"/>
                  </a:lnTo>
                  <a:lnTo>
                    <a:pt x="252" y="607"/>
                  </a:lnTo>
                  <a:lnTo>
                    <a:pt x="250" y="607"/>
                  </a:lnTo>
                  <a:lnTo>
                    <a:pt x="250" y="609"/>
                  </a:lnTo>
                  <a:lnTo>
                    <a:pt x="249" y="609"/>
                  </a:lnTo>
                  <a:lnTo>
                    <a:pt x="249" y="610"/>
                  </a:lnTo>
                  <a:lnTo>
                    <a:pt x="246" y="610"/>
                  </a:lnTo>
                  <a:lnTo>
                    <a:pt x="246" y="611"/>
                  </a:lnTo>
                  <a:lnTo>
                    <a:pt x="245" y="612"/>
                  </a:lnTo>
                  <a:lnTo>
                    <a:pt x="246" y="612"/>
                  </a:lnTo>
                  <a:lnTo>
                    <a:pt x="248" y="613"/>
                  </a:lnTo>
                  <a:lnTo>
                    <a:pt x="249" y="615"/>
                  </a:lnTo>
                  <a:lnTo>
                    <a:pt x="248" y="616"/>
                  </a:lnTo>
                  <a:lnTo>
                    <a:pt x="244" y="617"/>
                  </a:lnTo>
                  <a:lnTo>
                    <a:pt x="245" y="615"/>
                  </a:lnTo>
                  <a:lnTo>
                    <a:pt x="244" y="616"/>
                  </a:lnTo>
                  <a:lnTo>
                    <a:pt x="243" y="617"/>
                  </a:lnTo>
                  <a:lnTo>
                    <a:pt x="243" y="616"/>
                  </a:lnTo>
                  <a:lnTo>
                    <a:pt x="243" y="615"/>
                  </a:lnTo>
                  <a:lnTo>
                    <a:pt x="244" y="615"/>
                  </a:lnTo>
                  <a:lnTo>
                    <a:pt x="245" y="613"/>
                  </a:lnTo>
                  <a:lnTo>
                    <a:pt x="245" y="612"/>
                  </a:lnTo>
                  <a:lnTo>
                    <a:pt x="244" y="613"/>
                  </a:lnTo>
                  <a:lnTo>
                    <a:pt x="242" y="612"/>
                  </a:lnTo>
                  <a:lnTo>
                    <a:pt x="242" y="613"/>
                  </a:lnTo>
                  <a:lnTo>
                    <a:pt x="242" y="615"/>
                  </a:lnTo>
                  <a:lnTo>
                    <a:pt x="242" y="616"/>
                  </a:lnTo>
                  <a:lnTo>
                    <a:pt x="242" y="617"/>
                  </a:lnTo>
                  <a:lnTo>
                    <a:pt x="244" y="618"/>
                  </a:lnTo>
                  <a:lnTo>
                    <a:pt x="243" y="619"/>
                  </a:lnTo>
                  <a:lnTo>
                    <a:pt x="240" y="621"/>
                  </a:lnTo>
                  <a:lnTo>
                    <a:pt x="240" y="622"/>
                  </a:lnTo>
                  <a:lnTo>
                    <a:pt x="239" y="622"/>
                  </a:lnTo>
                  <a:lnTo>
                    <a:pt x="236" y="621"/>
                  </a:lnTo>
                  <a:lnTo>
                    <a:pt x="233" y="618"/>
                  </a:lnTo>
                  <a:lnTo>
                    <a:pt x="234" y="618"/>
                  </a:lnTo>
                  <a:lnTo>
                    <a:pt x="236" y="618"/>
                  </a:lnTo>
                  <a:lnTo>
                    <a:pt x="237" y="617"/>
                  </a:lnTo>
                  <a:lnTo>
                    <a:pt x="236" y="616"/>
                  </a:lnTo>
                  <a:lnTo>
                    <a:pt x="234" y="616"/>
                  </a:lnTo>
                  <a:lnTo>
                    <a:pt x="233" y="616"/>
                  </a:lnTo>
                  <a:lnTo>
                    <a:pt x="233" y="615"/>
                  </a:lnTo>
                  <a:lnTo>
                    <a:pt x="234" y="613"/>
                  </a:lnTo>
                  <a:lnTo>
                    <a:pt x="234" y="612"/>
                  </a:lnTo>
                  <a:lnTo>
                    <a:pt x="234" y="611"/>
                  </a:lnTo>
                  <a:lnTo>
                    <a:pt x="236" y="611"/>
                  </a:lnTo>
                  <a:lnTo>
                    <a:pt x="236" y="610"/>
                  </a:lnTo>
                  <a:lnTo>
                    <a:pt x="237" y="610"/>
                  </a:lnTo>
                  <a:lnTo>
                    <a:pt x="237" y="609"/>
                  </a:lnTo>
                  <a:lnTo>
                    <a:pt x="236" y="606"/>
                  </a:lnTo>
                  <a:lnTo>
                    <a:pt x="234" y="606"/>
                  </a:lnTo>
                  <a:lnTo>
                    <a:pt x="233" y="607"/>
                  </a:lnTo>
                  <a:lnTo>
                    <a:pt x="234" y="610"/>
                  </a:lnTo>
                  <a:lnTo>
                    <a:pt x="233" y="611"/>
                  </a:lnTo>
                  <a:lnTo>
                    <a:pt x="232" y="611"/>
                  </a:lnTo>
                  <a:lnTo>
                    <a:pt x="230" y="613"/>
                  </a:lnTo>
                  <a:lnTo>
                    <a:pt x="230" y="616"/>
                  </a:lnTo>
                  <a:lnTo>
                    <a:pt x="227" y="616"/>
                  </a:lnTo>
                  <a:lnTo>
                    <a:pt x="227" y="615"/>
                  </a:lnTo>
                  <a:lnTo>
                    <a:pt x="226" y="616"/>
                  </a:lnTo>
                  <a:lnTo>
                    <a:pt x="222" y="615"/>
                  </a:lnTo>
                  <a:lnTo>
                    <a:pt x="221" y="616"/>
                  </a:lnTo>
                  <a:lnTo>
                    <a:pt x="221" y="615"/>
                  </a:lnTo>
                  <a:lnTo>
                    <a:pt x="220" y="616"/>
                  </a:lnTo>
                  <a:lnTo>
                    <a:pt x="216" y="616"/>
                  </a:lnTo>
                  <a:lnTo>
                    <a:pt x="216" y="613"/>
                  </a:lnTo>
                  <a:lnTo>
                    <a:pt x="215" y="613"/>
                  </a:lnTo>
                  <a:lnTo>
                    <a:pt x="214" y="612"/>
                  </a:lnTo>
                  <a:lnTo>
                    <a:pt x="215" y="610"/>
                  </a:lnTo>
                  <a:lnTo>
                    <a:pt x="215" y="611"/>
                  </a:lnTo>
                  <a:lnTo>
                    <a:pt x="216" y="610"/>
                  </a:lnTo>
                  <a:lnTo>
                    <a:pt x="216" y="609"/>
                  </a:lnTo>
                  <a:lnTo>
                    <a:pt x="218" y="609"/>
                  </a:lnTo>
                  <a:lnTo>
                    <a:pt x="219" y="610"/>
                  </a:lnTo>
                  <a:lnTo>
                    <a:pt x="219" y="607"/>
                  </a:lnTo>
                  <a:lnTo>
                    <a:pt x="219" y="606"/>
                  </a:lnTo>
                  <a:lnTo>
                    <a:pt x="220" y="606"/>
                  </a:lnTo>
                  <a:lnTo>
                    <a:pt x="220" y="605"/>
                  </a:lnTo>
                  <a:lnTo>
                    <a:pt x="220" y="601"/>
                  </a:lnTo>
                  <a:lnTo>
                    <a:pt x="221" y="601"/>
                  </a:lnTo>
                  <a:lnTo>
                    <a:pt x="222" y="600"/>
                  </a:lnTo>
                  <a:lnTo>
                    <a:pt x="225" y="599"/>
                  </a:lnTo>
                  <a:lnTo>
                    <a:pt x="226" y="598"/>
                  </a:lnTo>
                  <a:lnTo>
                    <a:pt x="228" y="596"/>
                  </a:lnTo>
                  <a:lnTo>
                    <a:pt x="228" y="594"/>
                  </a:lnTo>
                  <a:lnTo>
                    <a:pt x="230" y="594"/>
                  </a:lnTo>
                  <a:lnTo>
                    <a:pt x="231" y="593"/>
                  </a:lnTo>
                  <a:lnTo>
                    <a:pt x="232" y="593"/>
                  </a:lnTo>
                  <a:lnTo>
                    <a:pt x="234" y="593"/>
                  </a:lnTo>
                  <a:lnTo>
                    <a:pt x="233" y="590"/>
                  </a:lnTo>
                  <a:lnTo>
                    <a:pt x="232" y="588"/>
                  </a:lnTo>
                  <a:lnTo>
                    <a:pt x="230" y="588"/>
                  </a:lnTo>
                  <a:lnTo>
                    <a:pt x="228" y="588"/>
                  </a:lnTo>
                  <a:lnTo>
                    <a:pt x="228" y="589"/>
                  </a:lnTo>
                  <a:lnTo>
                    <a:pt x="227" y="592"/>
                  </a:lnTo>
                  <a:lnTo>
                    <a:pt x="225" y="593"/>
                  </a:lnTo>
                  <a:lnTo>
                    <a:pt x="222" y="592"/>
                  </a:lnTo>
                  <a:lnTo>
                    <a:pt x="221" y="593"/>
                  </a:lnTo>
                  <a:lnTo>
                    <a:pt x="220" y="593"/>
                  </a:lnTo>
                  <a:lnTo>
                    <a:pt x="219" y="593"/>
                  </a:lnTo>
                  <a:lnTo>
                    <a:pt x="219" y="590"/>
                  </a:lnTo>
                  <a:lnTo>
                    <a:pt x="216" y="592"/>
                  </a:lnTo>
                  <a:lnTo>
                    <a:pt x="215" y="592"/>
                  </a:lnTo>
                  <a:lnTo>
                    <a:pt x="214" y="593"/>
                  </a:lnTo>
                  <a:lnTo>
                    <a:pt x="213" y="594"/>
                  </a:lnTo>
                  <a:lnTo>
                    <a:pt x="212" y="594"/>
                  </a:lnTo>
                  <a:lnTo>
                    <a:pt x="212" y="593"/>
                  </a:lnTo>
                  <a:lnTo>
                    <a:pt x="210" y="594"/>
                  </a:lnTo>
                  <a:lnTo>
                    <a:pt x="210" y="595"/>
                  </a:lnTo>
                  <a:lnTo>
                    <a:pt x="209" y="595"/>
                  </a:lnTo>
                  <a:lnTo>
                    <a:pt x="209" y="593"/>
                  </a:lnTo>
                  <a:lnTo>
                    <a:pt x="208" y="595"/>
                  </a:lnTo>
                  <a:lnTo>
                    <a:pt x="206" y="595"/>
                  </a:lnTo>
                  <a:lnTo>
                    <a:pt x="204" y="595"/>
                  </a:lnTo>
                  <a:lnTo>
                    <a:pt x="204" y="596"/>
                  </a:lnTo>
                  <a:lnTo>
                    <a:pt x="202" y="595"/>
                  </a:lnTo>
                  <a:lnTo>
                    <a:pt x="200" y="594"/>
                  </a:lnTo>
                  <a:lnTo>
                    <a:pt x="201" y="593"/>
                  </a:lnTo>
                  <a:lnTo>
                    <a:pt x="201" y="592"/>
                  </a:lnTo>
                  <a:lnTo>
                    <a:pt x="203" y="592"/>
                  </a:lnTo>
                  <a:lnTo>
                    <a:pt x="203" y="589"/>
                  </a:lnTo>
                  <a:lnTo>
                    <a:pt x="204" y="588"/>
                  </a:lnTo>
                  <a:lnTo>
                    <a:pt x="206" y="588"/>
                  </a:lnTo>
                  <a:lnTo>
                    <a:pt x="206" y="589"/>
                  </a:lnTo>
                  <a:lnTo>
                    <a:pt x="208" y="589"/>
                  </a:lnTo>
                  <a:lnTo>
                    <a:pt x="208" y="588"/>
                  </a:lnTo>
                  <a:lnTo>
                    <a:pt x="209" y="588"/>
                  </a:lnTo>
                  <a:lnTo>
                    <a:pt x="208" y="588"/>
                  </a:lnTo>
                  <a:lnTo>
                    <a:pt x="208" y="587"/>
                  </a:lnTo>
                  <a:lnTo>
                    <a:pt x="207" y="587"/>
                  </a:lnTo>
                  <a:lnTo>
                    <a:pt x="206" y="586"/>
                  </a:lnTo>
                  <a:lnTo>
                    <a:pt x="203" y="584"/>
                  </a:lnTo>
                  <a:lnTo>
                    <a:pt x="203" y="581"/>
                  </a:lnTo>
                  <a:lnTo>
                    <a:pt x="204" y="580"/>
                  </a:lnTo>
                  <a:lnTo>
                    <a:pt x="204" y="577"/>
                  </a:lnTo>
                  <a:lnTo>
                    <a:pt x="207" y="575"/>
                  </a:lnTo>
                  <a:lnTo>
                    <a:pt x="207" y="577"/>
                  </a:lnTo>
                  <a:lnTo>
                    <a:pt x="209" y="576"/>
                  </a:lnTo>
                  <a:lnTo>
                    <a:pt x="212" y="576"/>
                  </a:lnTo>
                  <a:lnTo>
                    <a:pt x="214" y="576"/>
                  </a:lnTo>
                  <a:lnTo>
                    <a:pt x="218" y="575"/>
                  </a:lnTo>
                  <a:lnTo>
                    <a:pt x="219" y="575"/>
                  </a:lnTo>
                  <a:lnTo>
                    <a:pt x="219" y="572"/>
                  </a:lnTo>
                  <a:lnTo>
                    <a:pt x="219" y="570"/>
                  </a:lnTo>
                  <a:lnTo>
                    <a:pt x="219" y="566"/>
                  </a:lnTo>
                  <a:lnTo>
                    <a:pt x="221" y="565"/>
                  </a:lnTo>
                  <a:lnTo>
                    <a:pt x="224" y="565"/>
                  </a:lnTo>
                  <a:lnTo>
                    <a:pt x="225" y="564"/>
                  </a:lnTo>
                  <a:lnTo>
                    <a:pt x="226" y="564"/>
                  </a:lnTo>
                  <a:lnTo>
                    <a:pt x="226" y="563"/>
                  </a:lnTo>
                  <a:lnTo>
                    <a:pt x="227" y="563"/>
                  </a:lnTo>
                  <a:lnTo>
                    <a:pt x="228" y="560"/>
                  </a:lnTo>
                  <a:lnTo>
                    <a:pt x="230" y="559"/>
                  </a:lnTo>
                  <a:lnTo>
                    <a:pt x="230" y="558"/>
                  </a:lnTo>
                  <a:lnTo>
                    <a:pt x="230" y="554"/>
                  </a:lnTo>
                  <a:lnTo>
                    <a:pt x="232" y="554"/>
                  </a:lnTo>
                  <a:lnTo>
                    <a:pt x="233" y="556"/>
                  </a:lnTo>
                  <a:lnTo>
                    <a:pt x="234" y="554"/>
                  </a:lnTo>
                  <a:lnTo>
                    <a:pt x="237" y="553"/>
                  </a:lnTo>
                  <a:lnTo>
                    <a:pt x="238" y="553"/>
                  </a:lnTo>
                  <a:lnTo>
                    <a:pt x="238" y="552"/>
                  </a:lnTo>
                  <a:lnTo>
                    <a:pt x="239" y="550"/>
                  </a:lnTo>
                  <a:lnTo>
                    <a:pt x="238" y="547"/>
                  </a:lnTo>
                  <a:lnTo>
                    <a:pt x="239" y="545"/>
                  </a:lnTo>
                  <a:lnTo>
                    <a:pt x="242" y="547"/>
                  </a:lnTo>
                  <a:lnTo>
                    <a:pt x="243" y="547"/>
                  </a:lnTo>
                  <a:lnTo>
                    <a:pt x="243" y="546"/>
                  </a:lnTo>
                  <a:lnTo>
                    <a:pt x="243" y="545"/>
                  </a:lnTo>
                  <a:lnTo>
                    <a:pt x="244" y="544"/>
                  </a:lnTo>
                  <a:lnTo>
                    <a:pt x="245" y="544"/>
                  </a:lnTo>
                  <a:lnTo>
                    <a:pt x="245" y="545"/>
                  </a:lnTo>
                  <a:lnTo>
                    <a:pt x="246" y="546"/>
                  </a:lnTo>
                  <a:lnTo>
                    <a:pt x="248" y="546"/>
                  </a:lnTo>
                  <a:lnTo>
                    <a:pt x="249" y="546"/>
                  </a:lnTo>
                  <a:lnTo>
                    <a:pt x="249" y="545"/>
                  </a:lnTo>
                  <a:lnTo>
                    <a:pt x="249" y="544"/>
                  </a:lnTo>
                  <a:lnTo>
                    <a:pt x="251" y="541"/>
                  </a:lnTo>
                  <a:lnTo>
                    <a:pt x="252" y="542"/>
                  </a:lnTo>
                  <a:lnTo>
                    <a:pt x="252" y="544"/>
                  </a:lnTo>
                  <a:lnTo>
                    <a:pt x="254" y="542"/>
                  </a:lnTo>
                  <a:lnTo>
                    <a:pt x="257" y="541"/>
                  </a:lnTo>
                  <a:lnTo>
                    <a:pt x="257" y="544"/>
                  </a:lnTo>
                  <a:lnTo>
                    <a:pt x="259" y="541"/>
                  </a:lnTo>
                  <a:lnTo>
                    <a:pt x="261" y="540"/>
                  </a:lnTo>
                  <a:lnTo>
                    <a:pt x="262" y="538"/>
                  </a:lnTo>
                  <a:lnTo>
                    <a:pt x="263" y="538"/>
                  </a:lnTo>
                  <a:lnTo>
                    <a:pt x="265" y="538"/>
                  </a:lnTo>
                  <a:lnTo>
                    <a:pt x="265" y="536"/>
                  </a:lnTo>
                  <a:lnTo>
                    <a:pt x="267" y="536"/>
                  </a:lnTo>
                  <a:lnTo>
                    <a:pt x="266" y="535"/>
                  </a:lnTo>
                  <a:lnTo>
                    <a:pt x="267" y="533"/>
                  </a:lnTo>
                  <a:lnTo>
                    <a:pt x="267" y="532"/>
                  </a:lnTo>
                  <a:lnTo>
                    <a:pt x="268" y="532"/>
                  </a:lnTo>
                  <a:lnTo>
                    <a:pt x="268" y="533"/>
                  </a:lnTo>
                  <a:lnTo>
                    <a:pt x="269" y="533"/>
                  </a:lnTo>
                  <a:lnTo>
                    <a:pt x="269" y="532"/>
                  </a:lnTo>
                  <a:lnTo>
                    <a:pt x="269" y="530"/>
                  </a:lnTo>
                  <a:lnTo>
                    <a:pt x="271" y="530"/>
                  </a:lnTo>
                  <a:lnTo>
                    <a:pt x="273" y="529"/>
                  </a:lnTo>
                  <a:lnTo>
                    <a:pt x="272" y="528"/>
                  </a:lnTo>
                  <a:lnTo>
                    <a:pt x="271" y="527"/>
                  </a:lnTo>
                  <a:lnTo>
                    <a:pt x="271" y="526"/>
                  </a:lnTo>
                  <a:lnTo>
                    <a:pt x="272" y="526"/>
                  </a:lnTo>
                  <a:lnTo>
                    <a:pt x="273" y="528"/>
                  </a:lnTo>
                  <a:lnTo>
                    <a:pt x="274" y="526"/>
                  </a:lnTo>
                  <a:lnTo>
                    <a:pt x="277" y="526"/>
                  </a:lnTo>
                  <a:lnTo>
                    <a:pt x="275" y="526"/>
                  </a:lnTo>
                  <a:lnTo>
                    <a:pt x="274" y="524"/>
                  </a:lnTo>
                  <a:lnTo>
                    <a:pt x="273" y="522"/>
                  </a:lnTo>
                  <a:lnTo>
                    <a:pt x="275" y="521"/>
                  </a:lnTo>
                  <a:lnTo>
                    <a:pt x="277" y="521"/>
                  </a:lnTo>
                  <a:lnTo>
                    <a:pt x="277" y="520"/>
                  </a:lnTo>
                  <a:lnTo>
                    <a:pt x="274" y="520"/>
                  </a:lnTo>
                  <a:lnTo>
                    <a:pt x="273" y="521"/>
                  </a:lnTo>
                  <a:lnTo>
                    <a:pt x="272" y="521"/>
                  </a:lnTo>
                  <a:lnTo>
                    <a:pt x="268" y="522"/>
                  </a:lnTo>
                  <a:lnTo>
                    <a:pt x="268" y="523"/>
                  </a:lnTo>
                  <a:lnTo>
                    <a:pt x="266" y="522"/>
                  </a:lnTo>
                  <a:lnTo>
                    <a:pt x="263" y="522"/>
                  </a:lnTo>
                  <a:lnTo>
                    <a:pt x="260" y="523"/>
                  </a:lnTo>
                  <a:lnTo>
                    <a:pt x="257" y="523"/>
                  </a:lnTo>
                  <a:lnTo>
                    <a:pt x="254" y="524"/>
                  </a:lnTo>
                  <a:lnTo>
                    <a:pt x="251" y="526"/>
                  </a:lnTo>
                  <a:lnTo>
                    <a:pt x="249" y="527"/>
                  </a:lnTo>
                  <a:lnTo>
                    <a:pt x="248" y="528"/>
                  </a:lnTo>
                  <a:lnTo>
                    <a:pt x="248" y="527"/>
                  </a:lnTo>
                  <a:lnTo>
                    <a:pt x="245" y="527"/>
                  </a:lnTo>
                  <a:lnTo>
                    <a:pt x="243" y="528"/>
                  </a:lnTo>
                  <a:lnTo>
                    <a:pt x="242" y="529"/>
                  </a:lnTo>
                  <a:lnTo>
                    <a:pt x="239" y="529"/>
                  </a:lnTo>
                  <a:lnTo>
                    <a:pt x="239" y="530"/>
                  </a:lnTo>
                  <a:lnTo>
                    <a:pt x="237" y="530"/>
                  </a:lnTo>
                  <a:lnTo>
                    <a:pt x="236" y="530"/>
                  </a:lnTo>
                  <a:lnTo>
                    <a:pt x="234" y="532"/>
                  </a:lnTo>
                  <a:lnTo>
                    <a:pt x="230" y="533"/>
                  </a:lnTo>
                  <a:lnTo>
                    <a:pt x="228" y="533"/>
                  </a:lnTo>
                  <a:lnTo>
                    <a:pt x="227" y="534"/>
                  </a:lnTo>
                  <a:lnTo>
                    <a:pt x="225" y="536"/>
                  </a:lnTo>
                  <a:lnTo>
                    <a:pt x="222" y="536"/>
                  </a:lnTo>
                  <a:lnTo>
                    <a:pt x="218" y="540"/>
                  </a:lnTo>
                  <a:lnTo>
                    <a:pt x="215" y="542"/>
                  </a:lnTo>
                  <a:lnTo>
                    <a:pt x="213" y="544"/>
                  </a:lnTo>
                  <a:lnTo>
                    <a:pt x="210" y="545"/>
                  </a:lnTo>
                  <a:lnTo>
                    <a:pt x="209" y="547"/>
                  </a:lnTo>
                  <a:lnTo>
                    <a:pt x="209" y="548"/>
                  </a:lnTo>
                  <a:lnTo>
                    <a:pt x="210" y="547"/>
                  </a:lnTo>
                  <a:lnTo>
                    <a:pt x="210" y="546"/>
                  </a:lnTo>
                  <a:lnTo>
                    <a:pt x="213" y="547"/>
                  </a:lnTo>
                  <a:lnTo>
                    <a:pt x="215" y="548"/>
                  </a:lnTo>
                  <a:lnTo>
                    <a:pt x="215" y="550"/>
                  </a:lnTo>
                  <a:lnTo>
                    <a:pt x="214" y="550"/>
                  </a:lnTo>
                  <a:lnTo>
                    <a:pt x="213" y="550"/>
                  </a:lnTo>
                  <a:lnTo>
                    <a:pt x="214" y="550"/>
                  </a:lnTo>
                  <a:lnTo>
                    <a:pt x="216" y="551"/>
                  </a:lnTo>
                  <a:lnTo>
                    <a:pt x="216" y="552"/>
                  </a:lnTo>
                  <a:lnTo>
                    <a:pt x="218" y="552"/>
                  </a:lnTo>
                  <a:lnTo>
                    <a:pt x="218" y="553"/>
                  </a:lnTo>
                  <a:lnTo>
                    <a:pt x="216" y="553"/>
                  </a:lnTo>
                  <a:lnTo>
                    <a:pt x="218" y="554"/>
                  </a:lnTo>
                  <a:lnTo>
                    <a:pt x="216" y="554"/>
                  </a:lnTo>
                  <a:lnTo>
                    <a:pt x="215" y="554"/>
                  </a:lnTo>
                  <a:lnTo>
                    <a:pt x="215" y="556"/>
                  </a:lnTo>
                  <a:lnTo>
                    <a:pt x="215" y="557"/>
                  </a:lnTo>
                  <a:lnTo>
                    <a:pt x="214" y="557"/>
                  </a:lnTo>
                  <a:lnTo>
                    <a:pt x="214" y="558"/>
                  </a:lnTo>
                  <a:lnTo>
                    <a:pt x="216" y="558"/>
                  </a:lnTo>
                  <a:lnTo>
                    <a:pt x="218" y="559"/>
                  </a:lnTo>
                  <a:lnTo>
                    <a:pt x="219" y="560"/>
                  </a:lnTo>
                  <a:lnTo>
                    <a:pt x="216" y="560"/>
                  </a:lnTo>
                  <a:lnTo>
                    <a:pt x="218" y="563"/>
                  </a:lnTo>
                  <a:lnTo>
                    <a:pt x="218" y="564"/>
                  </a:lnTo>
                  <a:lnTo>
                    <a:pt x="218" y="565"/>
                  </a:lnTo>
                  <a:lnTo>
                    <a:pt x="216" y="565"/>
                  </a:lnTo>
                  <a:lnTo>
                    <a:pt x="216" y="566"/>
                  </a:lnTo>
                  <a:lnTo>
                    <a:pt x="218" y="568"/>
                  </a:lnTo>
                  <a:lnTo>
                    <a:pt x="215" y="568"/>
                  </a:lnTo>
                  <a:lnTo>
                    <a:pt x="214" y="568"/>
                  </a:lnTo>
                  <a:lnTo>
                    <a:pt x="213" y="569"/>
                  </a:lnTo>
                  <a:lnTo>
                    <a:pt x="213" y="570"/>
                  </a:lnTo>
                  <a:lnTo>
                    <a:pt x="210" y="570"/>
                  </a:lnTo>
                  <a:lnTo>
                    <a:pt x="210" y="568"/>
                  </a:lnTo>
                  <a:lnTo>
                    <a:pt x="209" y="566"/>
                  </a:lnTo>
                  <a:lnTo>
                    <a:pt x="208" y="565"/>
                  </a:lnTo>
                  <a:lnTo>
                    <a:pt x="206" y="566"/>
                  </a:lnTo>
                  <a:lnTo>
                    <a:pt x="204" y="568"/>
                  </a:lnTo>
                  <a:lnTo>
                    <a:pt x="204" y="569"/>
                  </a:lnTo>
                  <a:lnTo>
                    <a:pt x="204" y="572"/>
                  </a:lnTo>
                  <a:lnTo>
                    <a:pt x="204" y="575"/>
                  </a:lnTo>
                  <a:lnTo>
                    <a:pt x="203" y="576"/>
                  </a:lnTo>
                  <a:lnTo>
                    <a:pt x="203" y="578"/>
                  </a:lnTo>
                  <a:lnTo>
                    <a:pt x="202" y="578"/>
                  </a:lnTo>
                  <a:lnTo>
                    <a:pt x="201" y="581"/>
                  </a:lnTo>
                  <a:lnTo>
                    <a:pt x="198" y="581"/>
                  </a:lnTo>
                  <a:lnTo>
                    <a:pt x="200" y="581"/>
                  </a:lnTo>
                  <a:lnTo>
                    <a:pt x="198" y="583"/>
                  </a:lnTo>
                  <a:lnTo>
                    <a:pt x="197" y="584"/>
                  </a:lnTo>
                  <a:lnTo>
                    <a:pt x="196" y="586"/>
                  </a:lnTo>
                  <a:lnTo>
                    <a:pt x="195" y="586"/>
                  </a:lnTo>
                  <a:lnTo>
                    <a:pt x="195" y="584"/>
                  </a:lnTo>
                  <a:lnTo>
                    <a:pt x="192" y="584"/>
                  </a:lnTo>
                  <a:lnTo>
                    <a:pt x="192" y="587"/>
                  </a:lnTo>
                  <a:lnTo>
                    <a:pt x="191" y="587"/>
                  </a:lnTo>
                  <a:lnTo>
                    <a:pt x="190" y="588"/>
                  </a:lnTo>
                  <a:lnTo>
                    <a:pt x="189" y="588"/>
                  </a:lnTo>
                  <a:lnTo>
                    <a:pt x="189" y="587"/>
                  </a:lnTo>
                  <a:lnTo>
                    <a:pt x="187" y="587"/>
                  </a:lnTo>
                  <a:lnTo>
                    <a:pt x="187" y="588"/>
                  </a:lnTo>
                  <a:lnTo>
                    <a:pt x="185" y="588"/>
                  </a:lnTo>
                  <a:lnTo>
                    <a:pt x="184" y="587"/>
                  </a:lnTo>
                  <a:lnTo>
                    <a:pt x="183" y="587"/>
                  </a:lnTo>
                  <a:lnTo>
                    <a:pt x="181" y="584"/>
                  </a:lnTo>
                  <a:lnTo>
                    <a:pt x="183" y="582"/>
                  </a:lnTo>
                  <a:lnTo>
                    <a:pt x="184" y="582"/>
                  </a:lnTo>
                  <a:lnTo>
                    <a:pt x="184" y="581"/>
                  </a:lnTo>
                  <a:lnTo>
                    <a:pt x="184" y="582"/>
                  </a:lnTo>
                  <a:lnTo>
                    <a:pt x="184" y="580"/>
                  </a:lnTo>
                  <a:lnTo>
                    <a:pt x="185" y="580"/>
                  </a:lnTo>
                  <a:lnTo>
                    <a:pt x="185" y="578"/>
                  </a:lnTo>
                  <a:lnTo>
                    <a:pt x="185" y="576"/>
                  </a:lnTo>
                  <a:lnTo>
                    <a:pt x="181" y="575"/>
                  </a:lnTo>
                  <a:lnTo>
                    <a:pt x="181" y="574"/>
                  </a:lnTo>
                  <a:lnTo>
                    <a:pt x="180" y="574"/>
                  </a:lnTo>
                  <a:lnTo>
                    <a:pt x="179" y="574"/>
                  </a:lnTo>
                  <a:lnTo>
                    <a:pt x="178" y="572"/>
                  </a:lnTo>
                  <a:lnTo>
                    <a:pt x="177" y="574"/>
                  </a:lnTo>
                  <a:lnTo>
                    <a:pt x="175" y="574"/>
                  </a:lnTo>
                  <a:lnTo>
                    <a:pt x="175" y="575"/>
                  </a:lnTo>
                  <a:lnTo>
                    <a:pt x="174" y="576"/>
                  </a:lnTo>
                  <a:lnTo>
                    <a:pt x="173" y="577"/>
                  </a:lnTo>
                  <a:lnTo>
                    <a:pt x="172" y="577"/>
                  </a:lnTo>
                  <a:lnTo>
                    <a:pt x="171" y="580"/>
                  </a:lnTo>
                  <a:lnTo>
                    <a:pt x="171" y="582"/>
                  </a:lnTo>
                  <a:lnTo>
                    <a:pt x="171" y="583"/>
                  </a:lnTo>
                  <a:lnTo>
                    <a:pt x="171" y="584"/>
                  </a:lnTo>
                  <a:lnTo>
                    <a:pt x="169" y="586"/>
                  </a:lnTo>
                  <a:lnTo>
                    <a:pt x="168" y="586"/>
                  </a:lnTo>
                  <a:lnTo>
                    <a:pt x="167" y="587"/>
                  </a:lnTo>
                  <a:lnTo>
                    <a:pt x="165" y="590"/>
                  </a:lnTo>
                  <a:lnTo>
                    <a:pt x="165" y="592"/>
                  </a:lnTo>
                  <a:lnTo>
                    <a:pt x="166" y="594"/>
                  </a:lnTo>
                  <a:lnTo>
                    <a:pt x="163" y="596"/>
                  </a:lnTo>
                  <a:lnTo>
                    <a:pt x="161" y="596"/>
                  </a:lnTo>
                  <a:lnTo>
                    <a:pt x="160" y="598"/>
                  </a:lnTo>
                  <a:lnTo>
                    <a:pt x="159" y="599"/>
                  </a:lnTo>
                  <a:lnTo>
                    <a:pt x="155" y="599"/>
                  </a:lnTo>
                  <a:lnTo>
                    <a:pt x="153" y="598"/>
                  </a:lnTo>
                  <a:lnTo>
                    <a:pt x="153" y="596"/>
                  </a:lnTo>
                  <a:lnTo>
                    <a:pt x="153" y="595"/>
                  </a:lnTo>
                  <a:lnTo>
                    <a:pt x="151" y="595"/>
                  </a:lnTo>
                  <a:lnTo>
                    <a:pt x="149" y="594"/>
                  </a:lnTo>
                  <a:lnTo>
                    <a:pt x="149" y="593"/>
                  </a:lnTo>
                  <a:lnTo>
                    <a:pt x="148" y="592"/>
                  </a:lnTo>
                  <a:lnTo>
                    <a:pt x="147" y="595"/>
                  </a:lnTo>
                  <a:lnTo>
                    <a:pt x="144" y="595"/>
                  </a:lnTo>
                  <a:lnTo>
                    <a:pt x="143" y="595"/>
                  </a:lnTo>
                  <a:lnTo>
                    <a:pt x="143" y="596"/>
                  </a:lnTo>
                  <a:lnTo>
                    <a:pt x="142" y="599"/>
                  </a:lnTo>
                  <a:lnTo>
                    <a:pt x="142" y="601"/>
                  </a:lnTo>
                  <a:lnTo>
                    <a:pt x="143" y="603"/>
                  </a:lnTo>
                  <a:lnTo>
                    <a:pt x="141" y="603"/>
                  </a:lnTo>
                  <a:lnTo>
                    <a:pt x="141" y="604"/>
                  </a:lnTo>
                  <a:lnTo>
                    <a:pt x="142" y="605"/>
                  </a:lnTo>
                  <a:lnTo>
                    <a:pt x="143" y="605"/>
                  </a:lnTo>
                  <a:lnTo>
                    <a:pt x="141" y="605"/>
                  </a:lnTo>
                  <a:lnTo>
                    <a:pt x="143" y="606"/>
                  </a:lnTo>
                  <a:lnTo>
                    <a:pt x="141" y="607"/>
                  </a:lnTo>
                  <a:lnTo>
                    <a:pt x="139" y="607"/>
                  </a:lnTo>
                  <a:lnTo>
                    <a:pt x="137" y="606"/>
                  </a:lnTo>
                  <a:lnTo>
                    <a:pt x="136" y="607"/>
                  </a:lnTo>
                  <a:lnTo>
                    <a:pt x="138" y="610"/>
                  </a:lnTo>
                  <a:lnTo>
                    <a:pt x="136" y="610"/>
                  </a:lnTo>
                  <a:lnTo>
                    <a:pt x="134" y="611"/>
                  </a:lnTo>
                  <a:lnTo>
                    <a:pt x="134" y="610"/>
                  </a:lnTo>
                  <a:lnTo>
                    <a:pt x="131" y="611"/>
                  </a:lnTo>
                  <a:lnTo>
                    <a:pt x="128" y="610"/>
                  </a:lnTo>
                  <a:lnTo>
                    <a:pt x="133" y="607"/>
                  </a:lnTo>
                  <a:lnTo>
                    <a:pt x="131" y="606"/>
                  </a:lnTo>
                  <a:lnTo>
                    <a:pt x="130" y="606"/>
                  </a:lnTo>
                  <a:lnTo>
                    <a:pt x="128" y="605"/>
                  </a:lnTo>
                  <a:lnTo>
                    <a:pt x="127" y="607"/>
                  </a:lnTo>
                  <a:lnTo>
                    <a:pt x="126" y="609"/>
                  </a:lnTo>
                  <a:lnTo>
                    <a:pt x="125" y="610"/>
                  </a:lnTo>
                  <a:lnTo>
                    <a:pt x="124" y="612"/>
                  </a:lnTo>
                  <a:lnTo>
                    <a:pt x="120" y="612"/>
                  </a:lnTo>
                  <a:lnTo>
                    <a:pt x="121" y="615"/>
                  </a:lnTo>
                  <a:lnTo>
                    <a:pt x="120" y="616"/>
                  </a:lnTo>
                  <a:lnTo>
                    <a:pt x="119" y="617"/>
                  </a:lnTo>
                  <a:lnTo>
                    <a:pt x="121" y="618"/>
                  </a:lnTo>
                  <a:lnTo>
                    <a:pt x="122" y="618"/>
                  </a:lnTo>
                  <a:lnTo>
                    <a:pt x="122" y="621"/>
                  </a:lnTo>
                  <a:lnTo>
                    <a:pt x="118" y="622"/>
                  </a:lnTo>
                  <a:lnTo>
                    <a:pt x="118" y="624"/>
                  </a:lnTo>
                  <a:lnTo>
                    <a:pt x="116" y="627"/>
                  </a:lnTo>
                  <a:lnTo>
                    <a:pt x="115" y="629"/>
                  </a:lnTo>
                  <a:lnTo>
                    <a:pt x="114" y="629"/>
                  </a:lnTo>
                  <a:lnTo>
                    <a:pt x="113" y="628"/>
                  </a:lnTo>
                  <a:lnTo>
                    <a:pt x="110" y="627"/>
                  </a:lnTo>
                  <a:lnTo>
                    <a:pt x="109" y="625"/>
                  </a:lnTo>
                  <a:lnTo>
                    <a:pt x="108" y="625"/>
                  </a:lnTo>
                  <a:lnTo>
                    <a:pt x="107" y="624"/>
                  </a:lnTo>
                  <a:lnTo>
                    <a:pt x="106" y="623"/>
                  </a:lnTo>
                  <a:lnTo>
                    <a:pt x="108" y="622"/>
                  </a:lnTo>
                  <a:lnTo>
                    <a:pt x="107" y="621"/>
                  </a:lnTo>
                  <a:lnTo>
                    <a:pt x="104" y="621"/>
                  </a:lnTo>
                  <a:lnTo>
                    <a:pt x="100" y="622"/>
                  </a:lnTo>
                  <a:lnTo>
                    <a:pt x="100" y="624"/>
                  </a:lnTo>
                  <a:lnTo>
                    <a:pt x="100" y="625"/>
                  </a:lnTo>
                  <a:lnTo>
                    <a:pt x="98" y="625"/>
                  </a:lnTo>
                  <a:lnTo>
                    <a:pt x="97" y="623"/>
                  </a:lnTo>
                  <a:lnTo>
                    <a:pt x="96" y="622"/>
                  </a:lnTo>
                  <a:lnTo>
                    <a:pt x="94" y="623"/>
                  </a:lnTo>
                  <a:lnTo>
                    <a:pt x="92" y="623"/>
                  </a:lnTo>
                  <a:lnTo>
                    <a:pt x="90" y="623"/>
                  </a:lnTo>
                  <a:lnTo>
                    <a:pt x="89" y="622"/>
                  </a:lnTo>
                  <a:lnTo>
                    <a:pt x="88" y="619"/>
                  </a:lnTo>
                  <a:lnTo>
                    <a:pt x="86" y="619"/>
                  </a:lnTo>
                  <a:lnTo>
                    <a:pt x="86" y="621"/>
                  </a:lnTo>
                  <a:lnTo>
                    <a:pt x="84" y="618"/>
                  </a:lnTo>
                  <a:lnTo>
                    <a:pt x="85" y="618"/>
                  </a:lnTo>
                  <a:lnTo>
                    <a:pt x="85" y="617"/>
                  </a:lnTo>
                  <a:lnTo>
                    <a:pt x="85" y="615"/>
                  </a:lnTo>
                  <a:lnTo>
                    <a:pt x="83" y="615"/>
                  </a:lnTo>
                  <a:lnTo>
                    <a:pt x="82" y="613"/>
                  </a:lnTo>
                  <a:lnTo>
                    <a:pt x="77" y="611"/>
                  </a:lnTo>
                  <a:lnTo>
                    <a:pt x="77" y="610"/>
                  </a:lnTo>
                  <a:lnTo>
                    <a:pt x="78" y="609"/>
                  </a:lnTo>
                  <a:lnTo>
                    <a:pt x="85" y="609"/>
                  </a:lnTo>
                  <a:lnTo>
                    <a:pt x="84" y="607"/>
                  </a:lnTo>
                  <a:lnTo>
                    <a:pt x="84" y="606"/>
                  </a:lnTo>
                  <a:lnTo>
                    <a:pt x="83" y="605"/>
                  </a:lnTo>
                  <a:lnTo>
                    <a:pt x="80" y="605"/>
                  </a:lnTo>
                  <a:lnTo>
                    <a:pt x="80" y="604"/>
                  </a:lnTo>
                  <a:lnTo>
                    <a:pt x="80" y="603"/>
                  </a:lnTo>
                  <a:lnTo>
                    <a:pt x="78" y="600"/>
                  </a:lnTo>
                  <a:lnTo>
                    <a:pt x="77" y="599"/>
                  </a:lnTo>
                  <a:lnTo>
                    <a:pt x="75" y="598"/>
                  </a:lnTo>
                  <a:lnTo>
                    <a:pt x="75" y="596"/>
                  </a:lnTo>
                  <a:lnTo>
                    <a:pt x="77" y="595"/>
                  </a:lnTo>
                  <a:lnTo>
                    <a:pt x="79" y="595"/>
                  </a:lnTo>
                  <a:lnTo>
                    <a:pt x="80" y="595"/>
                  </a:lnTo>
                  <a:lnTo>
                    <a:pt x="80" y="596"/>
                  </a:lnTo>
                  <a:lnTo>
                    <a:pt x="83" y="595"/>
                  </a:lnTo>
                  <a:lnTo>
                    <a:pt x="84" y="594"/>
                  </a:lnTo>
                  <a:lnTo>
                    <a:pt x="88" y="594"/>
                  </a:lnTo>
                  <a:lnTo>
                    <a:pt x="88" y="593"/>
                  </a:lnTo>
                  <a:lnTo>
                    <a:pt x="90" y="593"/>
                  </a:lnTo>
                  <a:lnTo>
                    <a:pt x="90" y="590"/>
                  </a:lnTo>
                  <a:lnTo>
                    <a:pt x="88" y="592"/>
                  </a:lnTo>
                  <a:lnTo>
                    <a:pt x="86" y="592"/>
                  </a:lnTo>
                  <a:lnTo>
                    <a:pt x="85" y="592"/>
                  </a:lnTo>
                  <a:lnTo>
                    <a:pt x="85" y="590"/>
                  </a:lnTo>
                  <a:lnTo>
                    <a:pt x="84" y="588"/>
                  </a:lnTo>
                  <a:lnTo>
                    <a:pt x="82" y="586"/>
                  </a:lnTo>
                  <a:lnTo>
                    <a:pt x="80" y="584"/>
                  </a:lnTo>
                  <a:lnTo>
                    <a:pt x="83" y="584"/>
                  </a:lnTo>
                  <a:lnTo>
                    <a:pt x="84" y="582"/>
                  </a:lnTo>
                  <a:lnTo>
                    <a:pt x="85" y="584"/>
                  </a:lnTo>
                  <a:lnTo>
                    <a:pt x="86" y="583"/>
                  </a:lnTo>
                  <a:lnTo>
                    <a:pt x="89" y="583"/>
                  </a:lnTo>
                  <a:lnTo>
                    <a:pt x="90" y="583"/>
                  </a:lnTo>
                  <a:lnTo>
                    <a:pt x="91" y="584"/>
                  </a:lnTo>
                  <a:lnTo>
                    <a:pt x="92" y="584"/>
                  </a:lnTo>
                  <a:lnTo>
                    <a:pt x="90" y="581"/>
                  </a:lnTo>
                  <a:lnTo>
                    <a:pt x="90" y="580"/>
                  </a:lnTo>
                  <a:lnTo>
                    <a:pt x="90" y="578"/>
                  </a:lnTo>
                  <a:lnTo>
                    <a:pt x="91" y="577"/>
                  </a:lnTo>
                  <a:lnTo>
                    <a:pt x="95" y="578"/>
                  </a:lnTo>
                  <a:lnTo>
                    <a:pt x="97" y="580"/>
                  </a:lnTo>
                  <a:lnTo>
                    <a:pt x="98" y="578"/>
                  </a:lnTo>
                  <a:lnTo>
                    <a:pt x="98" y="576"/>
                  </a:lnTo>
                  <a:lnTo>
                    <a:pt x="100" y="574"/>
                  </a:lnTo>
                  <a:lnTo>
                    <a:pt x="100" y="571"/>
                  </a:lnTo>
                  <a:lnTo>
                    <a:pt x="100" y="570"/>
                  </a:lnTo>
                  <a:lnTo>
                    <a:pt x="102" y="569"/>
                  </a:lnTo>
                  <a:lnTo>
                    <a:pt x="104" y="569"/>
                  </a:lnTo>
                  <a:lnTo>
                    <a:pt x="104" y="568"/>
                  </a:lnTo>
                  <a:lnTo>
                    <a:pt x="104" y="566"/>
                  </a:lnTo>
                  <a:lnTo>
                    <a:pt x="107" y="568"/>
                  </a:lnTo>
                  <a:lnTo>
                    <a:pt x="108" y="569"/>
                  </a:lnTo>
                  <a:lnTo>
                    <a:pt x="109" y="569"/>
                  </a:lnTo>
                  <a:lnTo>
                    <a:pt x="109" y="563"/>
                  </a:lnTo>
                  <a:lnTo>
                    <a:pt x="107" y="562"/>
                  </a:lnTo>
                  <a:lnTo>
                    <a:pt x="104" y="559"/>
                  </a:lnTo>
                  <a:lnTo>
                    <a:pt x="103" y="556"/>
                  </a:lnTo>
                  <a:lnTo>
                    <a:pt x="103" y="554"/>
                  </a:lnTo>
                  <a:lnTo>
                    <a:pt x="104" y="554"/>
                  </a:lnTo>
                  <a:lnTo>
                    <a:pt x="106" y="554"/>
                  </a:lnTo>
                  <a:lnTo>
                    <a:pt x="107" y="553"/>
                  </a:lnTo>
                  <a:lnTo>
                    <a:pt x="107" y="552"/>
                  </a:lnTo>
                  <a:lnTo>
                    <a:pt x="108" y="553"/>
                  </a:lnTo>
                  <a:lnTo>
                    <a:pt x="108" y="554"/>
                  </a:lnTo>
                  <a:lnTo>
                    <a:pt x="110" y="554"/>
                  </a:lnTo>
                  <a:lnTo>
                    <a:pt x="113" y="552"/>
                  </a:lnTo>
                  <a:lnTo>
                    <a:pt x="114" y="553"/>
                  </a:lnTo>
                  <a:lnTo>
                    <a:pt x="115" y="553"/>
                  </a:lnTo>
                  <a:lnTo>
                    <a:pt x="116" y="551"/>
                  </a:lnTo>
                  <a:lnTo>
                    <a:pt x="118" y="550"/>
                  </a:lnTo>
                  <a:lnTo>
                    <a:pt x="121" y="550"/>
                  </a:lnTo>
                  <a:lnTo>
                    <a:pt x="124" y="547"/>
                  </a:lnTo>
                  <a:lnTo>
                    <a:pt x="126" y="547"/>
                  </a:lnTo>
                  <a:lnTo>
                    <a:pt x="125" y="546"/>
                  </a:lnTo>
                  <a:lnTo>
                    <a:pt x="125" y="545"/>
                  </a:lnTo>
                  <a:lnTo>
                    <a:pt x="125" y="544"/>
                  </a:lnTo>
                  <a:lnTo>
                    <a:pt x="124" y="542"/>
                  </a:lnTo>
                  <a:lnTo>
                    <a:pt x="121" y="541"/>
                  </a:lnTo>
                  <a:lnTo>
                    <a:pt x="121" y="539"/>
                  </a:lnTo>
                  <a:lnTo>
                    <a:pt x="121" y="538"/>
                  </a:lnTo>
                  <a:lnTo>
                    <a:pt x="122" y="538"/>
                  </a:lnTo>
                  <a:lnTo>
                    <a:pt x="124" y="538"/>
                  </a:lnTo>
                  <a:lnTo>
                    <a:pt x="125" y="538"/>
                  </a:lnTo>
                  <a:lnTo>
                    <a:pt x="127" y="538"/>
                  </a:lnTo>
                  <a:lnTo>
                    <a:pt x="128" y="538"/>
                  </a:lnTo>
                  <a:lnTo>
                    <a:pt x="130" y="539"/>
                  </a:lnTo>
                  <a:lnTo>
                    <a:pt x="130" y="538"/>
                  </a:lnTo>
                  <a:lnTo>
                    <a:pt x="131" y="538"/>
                  </a:lnTo>
                  <a:lnTo>
                    <a:pt x="132" y="538"/>
                  </a:lnTo>
                  <a:lnTo>
                    <a:pt x="132" y="536"/>
                  </a:lnTo>
                  <a:lnTo>
                    <a:pt x="133" y="535"/>
                  </a:lnTo>
                  <a:lnTo>
                    <a:pt x="134" y="535"/>
                  </a:lnTo>
                  <a:lnTo>
                    <a:pt x="136" y="538"/>
                  </a:lnTo>
                  <a:lnTo>
                    <a:pt x="137" y="538"/>
                  </a:lnTo>
                  <a:lnTo>
                    <a:pt x="139" y="538"/>
                  </a:lnTo>
                  <a:lnTo>
                    <a:pt x="139" y="541"/>
                  </a:lnTo>
                  <a:lnTo>
                    <a:pt x="139" y="539"/>
                  </a:lnTo>
                  <a:lnTo>
                    <a:pt x="143" y="536"/>
                  </a:lnTo>
                  <a:lnTo>
                    <a:pt x="142" y="535"/>
                  </a:lnTo>
                  <a:lnTo>
                    <a:pt x="143" y="534"/>
                  </a:lnTo>
                  <a:lnTo>
                    <a:pt x="144" y="533"/>
                  </a:lnTo>
                  <a:lnTo>
                    <a:pt x="145" y="533"/>
                  </a:lnTo>
                  <a:lnTo>
                    <a:pt x="145" y="532"/>
                  </a:lnTo>
                  <a:lnTo>
                    <a:pt x="144" y="530"/>
                  </a:lnTo>
                  <a:lnTo>
                    <a:pt x="144" y="528"/>
                  </a:lnTo>
                  <a:lnTo>
                    <a:pt x="145" y="527"/>
                  </a:lnTo>
                  <a:lnTo>
                    <a:pt x="147" y="526"/>
                  </a:lnTo>
                  <a:lnTo>
                    <a:pt x="148" y="524"/>
                  </a:lnTo>
                  <a:lnTo>
                    <a:pt x="149" y="522"/>
                  </a:lnTo>
                  <a:lnTo>
                    <a:pt x="150" y="520"/>
                  </a:lnTo>
                  <a:lnTo>
                    <a:pt x="151" y="518"/>
                  </a:lnTo>
                  <a:lnTo>
                    <a:pt x="151" y="517"/>
                  </a:lnTo>
                  <a:lnTo>
                    <a:pt x="155" y="517"/>
                  </a:lnTo>
                  <a:lnTo>
                    <a:pt x="155" y="514"/>
                  </a:lnTo>
                  <a:lnTo>
                    <a:pt x="156" y="512"/>
                  </a:lnTo>
                  <a:lnTo>
                    <a:pt x="157" y="510"/>
                  </a:lnTo>
                  <a:lnTo>
                    <a:pt x="159" y="510"/>
                  </a:lnTo>
                  <a:lnTo>
                    <a:pt x="159" y="508"/>
                  </a:lnTo>
                  <a:lnTo>
                    <a:pt x="162" y="508"/>
                  </a:lnTo>
                  <a:lnTo>
                    <a:pt x="162" y="506"/>
                  </a:lnTo>
                  <a:lnTo>
                    <a:pt x="160" y="505"/>
                  </a:lnTo>
                  <a:lnTo>
                    <a:pt x="160" y="503"/>
                  </a:lnTo>
                  <a:lnTo>
                    <a:pt x="161" y="503"/>
                  </a:lnTo>
                  <a:lnTo>
                    <a:pt x="161" y="502"/>
                  </a:lnTo>
                  <a:lnTo>
                    <a:pt x="159" y="503"/>
                  </a:lnTo>
                  <a:lnTo>
                    <a:pt x="156" y="502"/>
                  </a:lnTo>
                  <a:lnTo>
                    <a:pt x="157" y="500"/>
                  </a:lnTo>
                  <a:lnTo>
                    <a:pt x="159" y="498"/>
                  </a:lnTo>
                  <a:lnTo>
                    <a:pt x="160" y="497"/>
                  </a:lnTo>
                  <a:lnTo>
                    <a:pt x="157" y="496"/>
                  </a:lnTo>
                  <a:lnTo>
                    <a:pt x="155" y="496"/>
                  </a:lnTo>
                  <a:lnTo>
                    <a:pt x="155" y="493"/>
                  </a:lnTo>
                  <a:lnTo>
                    <a:pt x="153" y="492"/>
                  </a:lnTo>
                  <a:lnTo>
                    <a:pt x="151" y="492"/>
                  </a:lnTo>
                  <a:lnTo>
                    <a:pt x="147" y="491"/>
                  </a:lnTo>
                  <a:lnTo>
                    <a:pt x="148" y="488"/>
                  </a:lnTo>
                  <a:lnTo>
                    <a:pt x="145" y="486"/>
                  </a:lnTo>
                  <a:lnTo>
                    <a:pt x="144" y="486"/>
                  </a:lnTo>
                  <a:lnTo>
                    <a:pt x="144" y="485"/>
                  </a:lnTo>
                  <a:lnTo>
                    <a:pt x="142" y="485"/>
                  </a:lnTo>
                  <a:lnTo>
                    <a:pt x="139" y="485"/>
                  </a:lnTo>
                  <a:lnTo>
                    <a:pt x="137" y="483"/>
                  </a:lnTo>
                  <a:lnTo>
                    <a:pt x="137" y="482"/>
                  </a:lnTo>
                  <a:lnTo>
                    <a:pt x="136" y="481"/>
                  </a:lnTo>
                  <a:lnTo>
                    <a:pt x="136" y="480"/>
                  </a:lnTo>
                  <a:lnTo>
                    <a:pt x="137" y="479"/>
                  </a:lnTo>
                  <a:lnTo>
                    <a:pt x="139" y="479"/>
                  </a:lnTo>
                  <a:lnTo>
                    <a:pt x="139" y="477"/>
                  </a:lnTo>
                  <a:lnTo>
                    <a:pt x="138" y="477"/>
                  </a:lnTo>
                  <a:lnTo>
                    <a:pt x="137" y="477"/>
                  </a:lnTo>
                  <a:lnTo>
                    <a:pt x="136" y="479"/>
                  </a:lnTo>
                  <a:lnTo>
                    <a:pt x="134" y="477"/>
                  </a:lnTo>
                  <a:lnTo>
                    <a:pt x="133" y="476"/>
                  </a:lnTo>
                  <a:lnTo>
                    <a:pt x="132" y="476"/>
                  </a:lnTo>
                  <a:lnTo>
                    <a:pt x="132" y="479"/>
                  </a:lnTo>
                  <a:lnTo>
                    <a:pt x="132" y="480"/>
                  </a:lnTo>
                  <a:lnTo>
                    <a:pt x="131" y="482"/>
                  </a:lnTo>
                  <a:lnTo>
                    <a:pt x="133" y="482"/>
                  </a:lnTo>
                  <a:lnTo>
                    <a:pt x="132" y="485"/>
                  </a:lnTo>
                  <a:lnTo>
                    <a:pt x="130" y="486"/>
                  </a:lnTo>
                  <a:lnTo>
                    <a:pt x="132" y="485"/>
                  </a:lnTo>
                  <a:lnTo>
                    <a:pt x="132" y="487"/>
                  </a:lnTo>
                  <a:lnTo>
                    <a:pt x="130" y="488"/>
                  </a:lnTo>
                  <a:lnTo>
                    <a:pt x="131" y="488"/>
                  </a:lnTo>
                  <a:lnTo>
                    <a:pt x="130" y="489"/>
                  </a:lnTo>
                  <a:lnTo>
                    <a:pt x="128" y="491"/>
                  </a:lnTo>
                  <a:lnTo>
                    <a:pt x="127" y="491"/>
                  </a:lnTo>
                  <a:lnTo>
                    <a:pt x="126" y="494"/>
                  </a:lnTo>
                  <a:lnTo>
                    <a:pt x="125" y="496"/>
                  </a:lnTo>
                  <a:lnTo>
                    <a:pt x="122" y="494"/>
                  </a:lnTo>
                  <a:lnTo>
                    <a:pt x="122" y="496"/>
                  </a:lnTo>
                  <a:lnTo>
                    <a:pt x="121" y="494"/>
                  </a:lnTo>
                  <a:lnTo>
                    <a:pt x="118" y="496"/>
                  </a:lnTo>
                  <a:lnTo>
                    <a:pt x="116" y="494"/>
                  </a:lnTo>
                  <a:lnTo>
                    <a:pt x="115" y="496"/>
                  </a:lnTo>
                  <a:lnTo>
                    <a:pt x="114" y="498"/>
                  </a:lnTo>
                  <a:lnTo>
                    <a:pt x="113" y="499"/>
                  </a:lnTo>
                  <a:lnTo>
                    <a:pt x="113" y="500"/>
                  </a:lnTo>
                  <a:lnTo>
                    <a:pt x="112" y="500"/>
                  </a:lnTo>
                  <a:lnTo>
                    <a:pt x="110" y="500"/>
                  </a:lnTo>
                  <a:lnTo>
                    <a:pt x="108" y="502"/>
                  </a:lnTo>
                  <a:lnTo>
                    <a:pt x="103" y="503"/>
                  </a:lnTo>
                  <a:lnTo>
                    <a:pt x="101" y="506"/>
                  </a:lnTo>
                  <a:lnTo>
                    <a:pt x="100" y="504"/>
                  </a:lnTo>
                  <a:lnTo>
                    <a:pt x="98" y="506"/>
                  </a:lnTo>
                  <a:lnTo>
                    <a:pt x="97" y="506"/>
                  </a:lnTo>
                  <a:lnTo>
                    <a:pt x="96" y="508"/>
                  </a:lnTo>
                  <a:lnTo>
                    <a:pt x="94" y="508"/>
                  </a:lnTo>
                  <a:lnTo>
                    <a:pt x="91" y="509"/>
                  </a:lnTo>
                  <a:lnTo>
                    <a:pt x="89" y="508"/>
                  </a:lnTo>
                  <a:lnTo>
                    <a:pt x="86" y="509"/>
                  </a:lnTo>
                  <a:lnTo>
                    <a:pt x="86" y="508"/>
                  </a:lnTo>
                  <a:lnTo>
                    <a:pt x="85" y="508"/>
                  </a:lnTo>
                  <a:lnTo>
                    <a:pt x="84" y="509"/>
                  </a:lnTo>
                  <a:lnTo>
                    <a:pt x="82" y="509"/>
                  </a:lnTo>
                  <a:lnTo>
                    <a:pt x="80" y="510"/>
                  </a:lnTo>
                  <a:lnTo>
                    <a:pt x="77" y="509"/>
                  </a:lnTo>
                  <a:lnTo>
                    <a:pt x="73" y="510"/>
                  </a:lnTo>
                  <a:lnTo>
                    <a:pt x="73" y="508"/>
                  </a:lnTo>
                  <a:lnTo>
                    <a:pt x="72" y="506"/>
                  </a:lnTo>
                  <a:lnTo>
                    <a:pt x="71" y="506"/>
                  </a:lnTo>
                  <a:lnTo>
                    <a:pt x="71" y="504"/>
                  </a:lnTo>
                  <a:lnTo>
                    <a:pt x="69" y="504"/>
                  </a:lnTo>
                  <a:lnTo>
                    <a:pt x="68" y="504"/>
                  </a:lnTo>
                  <a:lnTo>
                    <a:pt x="68" y="503"/>
                  </a:lnTo>
                  <a:lnTo>
                    <a:pt x="67" y="503"/>
                  </a:lnTo>
                  <a:lnTo>
                    <a:pt x="66" y="503"/>
                  </a:lnTo>
                  <a:lnTo>
                    <a:pt x="66" y="500"/>
                  </a:lnTo>
                  <a:lnTo>
                    <a:pt x="66" y="499"/>
                  </a:lnTo>
                  <a:lnTo>
                    <a:pt x="65" y="499"/>
                  </a:lnTo>
                  <a:lnTo>
                    <a:pt x="63" y="499"/>
                  </a:lnTo>
                  <a:lnTo>
                    <a:pt x="63" y="498"/>
                  </a:lnTo>
                  <a:lnTo>
                    <a:pt x="62" y="498"/>
                  </a:lnTo>
                  <a:lnTo>
                    <a:pt x="61" y="499"/>
                  </a:lnTo>
                  <a:lnTo>
                    <a:pt x="61" y="498"/>
                  </a:lnTo>
                  <a:lnTo>
                    <a:pt x="60" y="498"/>
                  </a:lnTo>
                  <a:lnTo>
                    <a:pt x="59" y="498"/>
                  </a:lnTo>
                  <a:lnTo>
                    <a:pt x="57" y="499"/>
                  </a:lnTo>
                  <a:lnTo>
                    <a:pt x="55" y="498"/>
                  </a:lnTo>
                  <a:lnTo>
                    <a:pt x="56" y="498"/>
                  </a:lnTo>
                  <a:lnTo>
                    <a:pt x="53" y="497"/>
                  </a:lnTo>
                  <a:lnTo>
                    <a:pt x="54" y="496"/>
                  </a:lnTo>
                  <a:lnTo>
                    <a:pt x="51" y="492"/>
                  </a:lnTo>
                  <a:lnTo>
                    <a:pt x="50" y="491"/>
                  </a:lnTo>
                  <a:lnTo>
                    <a:pt x="49" y="491"/>
                  </a:lnTo>
                  <a:lnTo>
                    <a:pt x="48" y="491"/>
                  </a:lnTo>
                  <a:lnTo>
                    <a:pt x="47" y="492"/>
                  </a:lnTo>
                  <a:lnTo>
                    <a:pt x="44" y="491"/>
                  </a:lnTo>
                  <a:lnTo>
                    <a:pt x="43" y="491"/>
                  </a:lnTo>
                  <a:lnTo>
                    <a:pt x="42" y="491"/>
                  </a:lnTo>
                  <a:lnTo>
                    <a:pt x="41" y="489"/>
                  </a:lnTo>
                  <a:lnTo>
                    <a:pt x="38" y="488"/>
                  </a:lnTo>
                  <a:lnTo>
                    <a:pt x="37" y="487"/>
                  </a:lnTo>
                  <a:lnTo>
                    <a:pt x="36" y="486"/>
                  </a:lnTo>
                  <a:lnTo>
                    <a:pt x="37" y="486"/>
                  </a:lnTo>
                  <a:lnTo>
                    <a:pt x="35" y="485"/>
                  </a:lnTo>
                  <a:lnTo>
                    <a:pt x="33" y="485"/>
                  </a:lnTo>
                  <a:lnTo>
                    <a:pt x="32" y="483"/>
                  </a:lnTo>
                  <a:lnTo>
                    <a:pt x="35" y="483"/>
                  </a:lnTo>
                  <a:lnTo>
                    <a:pt x="35" y="480"/>
                  </a:lnTo>
                  <a:lnTo>
                    <a:pt x="37" y="482"/>
                  </a:lnTo>
                  <a:lnTo>
                    <a:pt x="37" y="481"/>
                  </a:lnTo>
                  <a:lnTo>
                    <a:pt x="38" y="480"/>
                  </a:lnTo>
                  <a:lnTo>
                    <a:pt x="38" y="477"/>
                  </a:lnTo>
                  <a:lnTo>
                    <a:pt x="37" y="475"/>
                  </a:lnTo>
                  <a:lnTo>
                    <a:pt x="35" y="474"/>
                  </a:lnTo>
                  <a:lnTo>
                    <a:pt x="33" y="473"/>
                  </a:lnTo>
                  <a:lnTo>
                    <a:pt x="35" y="471"/>
                  </a:lnTo>
                  <a:lnTo>
                    <a:pt x="37" y="471"/>
                  </a:lnTo>
                  <a:lnTo>
                    <a:pt x="41" y="470"/>
                  </a:lnTo>
                  <a:lnTo>
                    <a:pt x="42" y="469"/>
                  </a:lnTo>
                  <a:lnTo>
                    <a:pt x="37" y="469"/>
                  </a:lnTo>
                  <a:lnTo>
                    <a:pt x="35" y="470"/>
                  </a:lnTo>
                  <a:lnTo>
                    <a:pt x="32" y="471"/>
                  </a:lnTo>
                  <a:lnTo>
                    <a:pt x="31" y="475"/>
                  </a:lnTo>
                  <a:lnTo>
                    <a:pt x="30" y="475"/>
                  </a:lnTo>
                  <a:lnTo>
                    <a:pt x="30" y="476"/>
                  </a:lnTo>
                  <a:lnTo>
                    <a:pt x="27" y="479"/>
                  </a:lnTo>
                  <a:lnTo>
                    <a:pt x="26" y="479"/>
                  </a:lnTo>
                  <a:lnTo>
                    <a:pt x="24" y="479"/>
                  </a:lnTo>
                  <a:lnTo>
                    <a:pt x="20" y="477"/>
                  </a:lnTo>
                  <a:lnTo>
                    <a:pt x="20" y="479"/>
                  </a:lnTo>
                  <a:lnTo>
                    <a:pt x="19" y="479"/>
                  </a:lnTo>
                  <a:lnTo>
                    <a:pt x="16" y="477"/>
                  </a:lnTo>
                  <a:lnTo>
                    <a:pt x="16" y="479"/>
                  </a:lnTo>
                  <a:lnTo>
                    <a:pt x="14" y="476"/>
                  </a:lnTo>
                  <a:lnTo>
                    <a:pt x="12" y="476"/>
                  </a:lnTo>
                  <a:lnTo>
                    <a:pt x="13" y="475"/>
                  </a:lnTo>
                  <a:lnTo>
                    <a:pt x="12" y="474"/>
                  </a:lnTo>
                  <a:lnTo>
                    <a:pt x="10" y="473"/>
                  </a:lnTo>
                  <a:lnTo>
                    <a:pt x="10" y="471"/>
                  </a:lnTo>
                  <a:lnTo>
                    <a:pt x="8" y="470"/>
                  </a:lnTo>
                  <a:lnTo>
                    <a:pt x="9" y="470"/>
                  </a:lnTo>
                  <a:lnTo>
                    <a:pt x="8" y="467"/>
                  </a:lnTo>
                  <a:lnTo>
                    <a:pt x="6" y="464"/>
                  </a:lnTo>
                  <a:lnTo>
                    <a:pt x="3" y="463"/>
                  </a:lnTo>
                  <a:lnTo>
                    <a:pt x="3" y="461"/>
                  </a:lnTo>
                  <a:lnTo>
                    <a:pt x="3" y="459"/>
                  </a:lnTo>
                  <a:lnTo>
                    <a:pt x="4" y="458"/>
                  </a:lnTo>
                  <a:lnTo>
                    <a:pt x="3" y="457"/>
                  </a:lnTo>
                  <a:lnTo>
                    <a:pt x="2" y="456"/>
                  </a:lnTo>
                  <a:lnTo>
                    <a:pt x="0" y="452"/>
                  </a:lnTo>
                  <a:lnTo>
                    <a:pt x="0" y="451"/>
                  </a:lnTo>
                  <a:lnTo>
                    <a:pt x="0" y="450"/>
                  </a:lnTo>
                  <a:lnTo>
                    <a:pt x="1" y="450"/>
                  </a:lnTo>
                  <a:lnTo>
                    <a:pt x="3" y="449"/>
                  </a:lnTo>
                  <a:lnTo>
                    <a:pt x="6" y="451"/>
                  </a:lnTo>
                  <a:lnTo>
                    <a:pt x="6" y="452"/>
                  </a:lnTo>
                  <a:lnTo>
                    <a:pt x="8" y="453"/>
                  </a:lnTo>
                  <a:lnTo>
                    <a:pt x="8" y="455"/>
                  </a:lnTo>
                  <a:lnTo>
                    <a:pt x="9" y="45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79" name="Freeform 62"/>
            <p:cNvSpPr>
              <a:spLocks/>
            </p:cNvSpPr>
            <p:nvPr userDrawn="1"/>
          </p:nvSpPr>
          <p:spPr bwMode="auto">
            <a:xfrm>
              <a:off x="3551238" y="6235701"/>
              <a:ext cx="344488" cy="290513"/>
            </a:xfrm>
            <a:custGeom>
              <a:avLst/>
              <a:gdLst/>
              <a:ahLst/>
              <a:cxnLst>
                <a:cxn ang="0">
                  <a:pos x="359" y="802"/>
                </a:cxn>
                <a:cxn ang="0">
                  <a:pos x="313" y="812"/>
                </a:cxn>
                <a:cxn ang="0">
                  <a:pos x="287" y="782"/>
                </a:cxn>
                <a:cxn ang="0">
                  <a:pos x="235" y="795"/>
                </a:cxn>
                <a:cxn ang="0">
                  <a:pos x="249" y="769"/>
                </a:cxn>
                <a:cxn ang="0">
                  <a:pos x="120" y="806"/>
                </a:cxn>
                <a:cxn ang="0">
                  <a:pos x="140" y="771"/>
                </a:cxn>
                <a:cxn ang="0">
                  <a:pos x="95" y="757"/>
                </a:cxn>
                <a:cxn ang="0">
                  <a:pos x="75" y="677"/>
                </a:cxn>
                <a:cxn ang="0">
                  <a:pos x="17" y="613"/>
                </a:cxn>
                <a:cxn ang="0">
                  <a:pos x="82" y="626"/>
                </a:cxn>
                <a:cxn ang="0">
                  <a:pos x="123" y="594"/>
                </a:cxn>
                <a:cxn ang="0">
                  <a:pos x="218" y="557"/>
                </a:cxn>
                <a:cxn ang="0">
                  <a:pos x="173" y="539"/>
                </a:cxn>
                <a:cxn ang="0">
                  <a:pos x="90" y="540"/>
                </a:cxn>
                <a:cxn ang="0">
                  <a:pos x="112" y="480"/>
                </a:cxn>
                <a:cxn ang="0">
                  <a:pos x="137" y="379"/>
                </a:cxn>
                <a:cxn ang="0">
                  <a:pos x="181" y="367"/>
                </a:cxn>
                <a:cxn ang="0">
                  <a:pos x="205" y="331"/>
                </a:cxn>
                <a:cxn ang="0">
                  <a:pos x="257" y="277"/>
                </a:cxn>
                <a:cxn ang="0">
                  <a:pos x="259" y="239"/>
                </a:cxn>
                <a:cxn ang="0">
                  <a:pos x="165" y="231"/>
                </a:cxn>
                <a:cxn ang="0">
                  <a:pos x="165" y="183"/>
                </a:cxn>
                <a:cxn ang="0">
                  <a:pos x="181" y="126"/>
                </a:cxn>
                <a:cxn ang="0">
                  <a:pos x="225" y="107"/>
                </a:cxn>
                <a:cxn ang="0">
                  <a:pos x="276" y="40"/>
                </a:cxn>
                <a:cxn ang="0">
                  <a:pos x="359" y="14"/>
                </a:cxn>
                <a:cxn ang="0">
                  <a:pos x="460" y="24"/>
                </a:cxn>
                <a:cxn ang="0">
                  <a:pos x="488" y="90"/>
                </a:cxn>
                <a:cxn ang="0">
                  <a:pos x="538" y="87"/>
                </a:cxn>
                <a:cxn ang="0">
                  <a:pos x="554" y="121"/>
                </a:cxn>
                <a:cxn ang="0">
                  <a:pos x="638" y="109"/>
                </a:cxn>
                <a:cxn ang="0">
                  <a:pos x="721" y="124"/>
                </a:cxn>
                <a:cxn ang="0">
                  <a:pos x="821" y="147"/>
                </a:cxn>
                <a:cxn ang="0">
                  <a:pos x="891" y="162"/>
                </a:cxn>
                <a:cxn ang="0">
                  <a:pos x="860" y="198"/>
                </a:cxn>
                <a:cxn ang="0">
                  <a:pos x="883" y="256"/>
                </a:cxn>
                <a:cxn ang="0">
                  <a:pos x="838" y="271"/>
                </a:cxn>
                <a:cxn ang="0">
                  <a:pos x="832" y="293"/>
                </a:cxn>
                <a:cxn ang="0">
                  <a:pos x="902" y="355"/>
                </a:cxn>
                <a:cxn ang="0">
                  <a:pos x="962" y="370"/>
                </a:cxn>
                <a:cxn ang="0">
                  <a:pos x="943" y="424"/>
                </a:cxn>
                <a:cxn ang="0">
                  <a:pos x="1003" y="444"/>
                </a:cxn>
                <a:cxn ang="0">
                  <a:pos x="1055" y="448"/>
                </a:cxn>
                <a:cxn ang="0">
                  <a:pos x="1068" y="521"/>
                </a:cxn>
                <a:cxn ang="0">
                  <a:pos x="1058" y="522"/>
                </a:cxn>
                <a:cxn ang="0">
                  <a:pos x="1080" y="578"/>
                </a:cxn>
                <a:cxn ang="0">
                  <a:pos x="1078" y="624"/>
                </a:cxn>
                <a:cxn ang="0">
                  <a:pos x="973" y="638"/>
                </a:cxn>
                <a:cxn ang="0">
                  <a:pos x="926" y="664"/>
                </a:cxn>
                <a:cxn ang="0">
                  <a:pos x="915" y="695"/>
                </a:cxn>
                <a:cxn ang="0">
                  <a:pos x="952" y="745"/>
                </a:cxn>
                <a:cxn ang="0">
                  <a:pos x="902" y="782"/>
                </a:cxn>
                <a:cxn ang="0">
                  <a:pos x="856" y="757"/>
                </a:cxn>
                <a:cxn ang="0">
                  <a:pos x="778" y="759"/>
                </a:cxn>
                <a:cxn ang="0">
                  <a:pos x="759" y="780"/>
                </a:cxn>
                <a:cxn ang="0">
                  <a:pos x="718" y="780"/>
                </a:cxn>
                <a:cxn ang="0">
                  <a:pos x="769" y="819"/>
                </a:cxn>
                <a:cxn ang="0">
                  <a:pos x="707" y="840"/>
                </a:cxn>
                <a:cxn ang="0">
                  <a:pos x="654" y="842"/>
                </a:cxn>
                <a:cxn ang="0">
                  <a:pos x="618" y="804"/>
                </a:cxn>
                <a:cxn ang="0">
                  <a:pos x="552" y="840"/>
                </a:cxn>
                <a:cxn ang="0">
                  <a:pos x="539" y="786"/>
                </a:cxn>
              </a:cxnLst>
              <a:rect l="0" t="0" r="r" b="b"/>
              <a:pathLst>
                <a:path w="1086" h="917">
                  <a:moveTo>
                    <a:pt x="511" y="917"/>
                  </a:moveTo>
                  <a:lnTo>
                    <a:pt x="354" y="917"/>
                  </a:lnTo>
                  <a:lnTo>
                    <a:pt x="358" y="911"/>
                  </a:lnTo>
                  <a:lnTo>
                    <a:pt x="361" y="898"/>
                  </a:lnTo>
                  <a:lnTo>
                    <a:pt x="362" y="889"/>
                  </a:lnTo>
                  <a:lnTo>
                    <a:pt x="365" y="884"/>
                  </a:lnTo>
                  <a:lnTo>
                    <a:pt x="367" y="879"/>
                  </a:lnTo>
                  <a:lnTo>
                    <a:pt x="372" y="872"/>
                  </a:lnTo>
                  <a:lnTo>
                    <a:pt x="375" y="863"/>
                  </a:lnTo>
                  <a:lnTo>
                    <a:pt x="372" y="849"/>
                  </a:lnTo>
                  <a:lnTo>
                    <a:pt x="375" y="838"/>
                  </a:lnTo>
                  <a:lnTo>
                    <a:pt x="379" y="832"/>
                  </a:lnTo>
                  <a:lnTo>
                    <a:pt x="382" y="826"/>
                  </a:lnTo>
                  <a:lnTo>
                    <a:pt x="383" y="815"/>
                  </a:lnTo>
                  <a:lnTo>
                    <a:pt x="384" y="808"/>
                  </a:lnTo>
                  <a:lnTo>
                    <a:pt x="383" y="806"/>
                  </a:lnTo>
                  <a:lnTo>
                    <a:pt x="381" y="806"/>
                  </a:lnTo>
                  <a:lnTo>
                    <a:pt x="375" y="813"/>
                  </a:lnTo>
                  <a:lnTo>
                    <a:pt x="370" y="813"/>
                  </a:lnTo>
                  <a:lnTo>
                    <a:pt x="369" y="812"/>
                  </a:lnTo>
                  <a:lnTo>
                    <a:pt x="365" y="812"/>
                  </a:lnTo>
                  <a:lnTo>
                    <a:pt x="358" y="813"/>
                  </a:lnTo>
                  <a:lnTo>
                    <a:pt x="356" y="809"/>
                  </a:lnTo>
                  <a:lnTo>
                    <a:pt x="359" y="802"/>
                  </a:lnTo>
                  <a:lnTo>
                    <a:pt x="359" y="800"/>
                  </a:lnTo>
                  <a:lnTo>
                    <a:pt x="356" y="801"/>
                  </a:lnTo>
                  <a:lnTo>
                    <a:pt x="353" y="800"/>
                  </a:lnTo>
                  <a:lnTo>
                    <a:pt x="350" y="798"/>
                  </a:lnTo>
                  <a:lnTo>
                    <a:pt x="350" y="796"/>
                  </a:lnTo>
                  <a:lnTo>
                    <a:pt x="349" y="790"/>
                  </a:lnTo>
                  <a:lnTo>
                    <a:pt x="348" y="789"/>
                  </a:lnTo>
                  <a:lnTo>
                    <a:pt x="348" y="792"/>
                  </a:lnTo>
                  <a:lnTo>
                    <a:pt x="349" y="798"/>
                  </a:lnTo>
                  <a:lnTo>
                    <a:pt x="347" y="800"/>
                  </a:lnTo>
                  <a:lnTo>
                    <a:pt x="346" y="798"/>
                  </a:lnTo>
                  <a:lnTo>
                    <a:pt x="343" y="800"/>
                  </a:lnTo>
                  <a:lnTo>
                    <a:pt x="336" y="800"/>
                  </a:lnTo>
                  <a:lnTo>
                    <a:pt x="334" y="801"/>
                  </a:lnTo>
                  <a:lnTo>
                    <a:pt x="331" y="802"/>
                  </a:lnTo>
                  <a:lnTo>
                    <a:pt x="330" y="804"/>
                  </a:lnTo>
                  <a:lnTo>
                    <a:pt x="331" y="807"/>
                  </a:lnTo>
                  <a:lnTo>
                    <a:pt x="331" y="809"/>
                  </a:lnTo>
                  <a:lnTo>
                    <a:pt x="328" y="809"/>
                  </a:lnTo>
                  <a:lnTo>
                    <a:pt x="325" y="808"/>
                  </a:lnTo>
                  <a:lnTo>
                    <a:pt x="324" y="812"/>
                  </a:lnTo>
                  <a:lnTo>
                    <a:pt x="320" y="809"/>
                  </a:lnTo>
                  <a:lnTo>
                    <a:pt x="317" y="810"/>
                  </a:lnTo>
                  <a:lnTo>
                    <a:pt x="313" y="812"/>
                  </a:lnTo>
                  <a:lnTo>
                    <a:pt x="316" y="813"/>
                  </a:lnTo>
                  <a:lnTo>
                    <a:pt x="311" y="814"/>
                  </a:lnTo>
                  <a:lnTo>
                    <a:pt x="302" y="813"/>
                  </a:lnTo>
                  <a:lnTo>
                    <a:pt x="297" y="812"/>
                  </a:lnTo>
                  <a:lnTo>
                    <a:pt x="294" y="809"/>
                  </a:lnTo>
                  <a:lnTo>
                    <a:pt x="291" y="806"/>
                  </a:lnTo>
                  <a:lnTo>
                    <a:pt x="289" y="802"/>
                  </a:lnTo>
                  <a:lnTo>
                    <a:pt x="289" y="798"/>
                  </a:lnTo>
                  <a:lnTo>
                    <a:pt x="289" y="796"/>
                  </a:lnTo>
                  <a:lnTo>
                    <a:pt x="291" y="795"/>
                  </a:lnTo>
                  <a:lnTo>
                    <a:pt x="297" y="794"/>
                  </a:lnTo>
                  <a:lnTo>
                    <a:pt x="299" y="791"/>
                  </a:lnTo>
                  <a:lnTo>
                    <a:pt x="297" y="786"/>
                  </a:lnTo>
                  <a:lnTo>
                    <a:pt x="299" y="785"/>
                  </a:lnTo>
                  <a:lnTo>
                    <a:pt x="305" y="783"/>
                  </a:lnTo>
                  <a:lnTo>
                    <a:pt x="308" y="780"/>
                  </a:lnTo>
                  <a:lnTo>
                    <a:pt x="308" y="778"/>
                  </a:lnTo>
                  <a:lnTo>
                    <a:pt x="307" y="774"/>
                  </a:lnTo>
                  <a:lnTo>
                    <a:pt x="303" y="772"/>
                  </a:lnTo>
                  <a:lnTo>
                    <a:pt x="300" y="771"/>
                  </a:lnTo>
                  <a:lnTo>
                    <a:pt x="297" y="773"/>
                  </a:lnTo>
                  <a:lnTo>
                    <a:pt x="293" y="777"/>
                  </a:lnTo>
                  <a:lnTo>
                    <a:pt x="289" y="779"/>
                  </a:lnTo>
                  <a:lnTo>
                    <a:pt x="287" y="782"/>
                  </a:lnTo>
                  <a:lnTo>
                    <a:pt x="284" y="786"/>
                  </a:lnTo>
                  <a:lnTo>
                    <a:pt x="281" y="786"/>
                  </a:lnTo>
                  <a:lnTo>
                    <a:pt x="277" y="783"/>
                  </a:lnTo>
                  <a:lnTo>
                    <a:pt x="276" y="783"/>
                  </a:lnTo>
                  <a:lnTo>
                    <a:pt x="275" y="786"/>
                  </a:lnTo>
                  <a:lnTo>
                    <a:pt x="273" y="796"/>
                  </a:lnTo>
                  <a:lnTo>
                    <a:pt x="272" y="797"/>
                  </a:lnTo>
                  <a:lnTo>
                    <a:pt x="271" y="798"/>
                  </a:lnTo>
                  <a:lnTo>
                    <a:pt x="264" y="798"/>
                  </a:lnTo>
                  <a:lnTo>
                    <a:pt x="264" y="802"/>
                  </a:lnTo>
                  <a:lnTo>
                    <a:pt x="263" y="803"/>
                  </a:lnTo>
                  <a:lnTo>
                    <a:pt x="261" y="804"/>
                  </a:lnTo>
                  <a:lnTo>
                    <a:pt x="255" y="806"/>
                  </a:lnTo>
                  <a:lnTo>
                    <a:pt x="254" y="806"/>
                  </a:lnTo>
                  <a:lnTo>
                    <a:pt x="252" y="803"/>
                  </a:lnTo>
                  <a:lnTo>
                    <a:pt x="248" y="801"/>
                  </a:lnTo>
                  <a:lnTo>
                    <a:pt x="249" y="797"/>
                  </a:lnTo>
                  <a:lnTo>
                    <a:pt x="255" y="788"/>
                  </a:lnTo>
                  <a:lnTo>
                    <a:pt x="254" y="785"/>
                  </a:lnTo>
                  <a:lnTo>
                    <a:pt x="251" y="785"/>
                  </a:lnTo>
                  <a:lnTo>
                    <a:pt x="243" y="791"/>
                  </a:lnTo>
                  <a:lnTo>
                    <a:pt x="238" y="794"/>
                  </a:lnTo>
                  <a:lnTo>
                    <a:pt x="241" y="795"/>
                  </a:lnTo>
                  <a:lnTo>
                    <a:pt x="235" y="795"/>
                  </a:lnTo>
                  <a:lnTo>
                    <a:pt x="226" y="795"/>
                  </a:lnTo>
                  <a:lnTo>
                    <a:pt x="220" y="790"/>
                  </a:lnTo>
                  <a:lnTo>
                    <a:pt x="211" y="785"/>
                  </a:lnTo>
                  <a:lnTo>
                    <a:pt x="208" y="783"/>
                  </a:lnTo>
                  <a:lnTo>
                    <a:pt x="207" y="782"/>
                  </a:lnTo>
                  <a:lnTo>
                    <a:pt x="210" y="780"/>
                  </a:lnTo>
                  <a:lnTo>
                    <a:pt x="211" y="780"/>
                  </a:lnTo>
                  <a:lnTo>
                    <a:pt x="212" y="778"/>
                  </a:lnTo>
                  <a:lnTo>
                    <a:pt x="213" y="772"/>
                  </a:lnTo>
                  <a:lnTo>
                    <a:pt x="216" y="771"/>
                  </a:lnTo>
                  <a:lnTo>
                    <a:pt x="216" y="768"/>
                  </a:lnTo>
                  <a:lnTo>
                    <a:pt x="218" y="769"/>
                  </a:lnTo>
                  <a:lnTo>
                    <a:pt x="222" y="773"/>
                  </a:lnTo>
                  <a:lnTo>
                    <a:pt x="223" y="774"/>
                  </a:lnTo>
                  <a:lnTo>
                    <a:pt x="225" y="774"/>
                  </a:lnTo>
                  <a:lnTo>
                    <a:pt x="225" y="772"/>
                  </a:lnTo>
                  <a:lnTo>
                    <a:pt x="228" y="771"/>
                  </a:lnTo>
                  <a:lnTo>
                    <a:pt x="231" y="771"/>
                  </a:lnTo>
                  <a:lnTo>
                    <a:pt x="235" y="772"/>
                  </a:lnTo>
                  <a:lnTo>
                    <a:pt x="236" y="772"/>
                  </a:lnTo>
                  <a:lnTo>
                    <a:pt x="240" y="771"/>
                  </a:lnTo>
                  <a:lnTo>
                    <a:pt x="242" y="769"/>
                  </a:lnTo>
                  <a:lnTo>
                    <a:pt x="244" y="768"/>
                  </a:lnTo>
                  <a:lnTo>
                    <a:pt x="249" y="769"/>
                  </a:lnTo>
                  <a:lnTo>
                    <a:pt x="249" y="766"/>
                  </a:lnTo>
                  <a:lnTo>
                    <a:pt x="246" y="760"/>
                  </a:lnTo>
                  <a:lnTo>
                    <a:pt x="242" y="757"/>
                  </a:lnTo>
                  <a:lnTo>
                    <a:pt x="236" y="762"/>
                  </a:lnTo>
                  <a:lnTo>
                    <a:pt x="232" y="765"/>
                  </a:lnTo>
                  <a:lnTo>
                    <a:pt x="228" y="766"/>
                  </a:lnTo>
                  <a:lnTo>
                    <a:pt x="210" y="766"/>
                  </a:lnTo>
                  <a:lnTo>
                    <a:pt x="195" y="766"/>
                  </a:lnTo>
                  <a:lnTo>
                    <a:pt x="188" y="765"/>
                  </a:lnTo>
                  <a:lnTo>
                    <a:pt x="184" y="765"/>
                  </a:lnTo>
                  <a:lnTo>
                    <a:pt x="184" y="767"/>
                  </a:lnTo>
                  <a:lnTo>
                    <a:pt x="188" y="774"/>
                  </a:lnTo>
                  <a:lnTo>
                    <a:pt x="189" y="778"/>
                  </a:lnTo>
                  <a:lnTo>
                    <a:pt x="188" y="780"/>
                  </a:lnTo>
                  <a:lnTo>
                    <a:pt x="177" y="784"/>
                  </a:lnTo>
                  <a:lnTo>
                    <a:pt x="176" y="783"/>
                  </a:lnTo>
                  <a:lnTo>
                    <a:pt x="171" y="782"/>
                  </a:lnTo>
                  <a:lnTo>
                    <a:pt x="165" y="783"/>
                  </a:lnTo>
                  <a:lnTo>
                    <a:pt x="160" y="782"/>
                  </a:lnTo>
                  <a:lnTo>
                    <a:pt x="157" y="776"/>
                  </a:lnTo>
                  <a:lnTo>
                    <a:pt x="151" y="779"/>
                  </a:lnTo>
                  <a:lnTo>
                    <a:pt x="143" y="785"/>
                  </a:lnTo>
                  <a:lnTo>
                    <a:pt x="135" y="794"/>
                  </a:lnTo>
                  <a:lnTo>
                    <a:pt x="120" y="806"/>
                  </a:lnTo>
                  <a:lnTo>
                    <a:pt x="113" y="809"/>
                  </a:lnTo>
                  <a:lnTo>
                    <a:pt x="107" y="810"/>
                  </a:lnTo>
                  <a:lnTo>
                    <a:pt x="102" y="810"/>
                  </a:lnTo>
                  <a:lnTo>
                    <a:pt x="110" y="809"/>
                  </a:lnTo>
                  <a:lnTo>
                    <a:pt x="117" y="806"/>
                  </a:lnTo>
                  <a:lnTo>
                    <a:pt x="125" y="800"/>
                  </a:lnTo>
                  <a:lnTo>
                    <a:pt x="137" y="789"/>
                  </a:lnTo>
                  <a:lnTo>
                    <a:pt x="140" y="785"/>
                  </a:lnTo>
                  <a:lnTo>
                    <a:pt x="113" y="798"/>
                  </a:lnTo>
                  <a:lnTo>
                    <a:pt x="96" y="806"/>
                  </a:lnTo>
                  <a:lnTo>
                    <a:pt x="125" y="791"/>
                  </a:lnTo>
                  <a:lnTo>
                    <a:pt x="143" y="779"/>
                  </a:lnTo>
                  <a:lnTo>
                    <a:pt x="145" y="778"/>
                  </a:lnTo>
                  <a:lnTo>
                    <a:pt x="140" y="774"/>
                  </a:lnTo>
                  <a:lnTo>
                    <a:pt x="134" y="769"/>
                  </a:lnTo>
                  <a:lnTo>
                    <a:pt x="131" y="769"/>
                  </a:lnTo>
                  <a:lnTo>
                    <a:pt x="125" y="774"/>
                  </a:lnTo>
                  <a:lnTo>
                    <a:pt x="114" y="784"/>
                  </a:lnTo>
                  <a:lnTo>
                    <a:pt x="111" y="785"/>
                  </a:lnTo>
                  <a:lnTo>
                    <a:pt x="116" y="782"/>
                  </a:lnTo>
                  <a:lnTo>
                    <a:pt x="123" y="776"/>
                  </a:lnTo>
                  <a:lnTo>
                    <a:pt x="129" y="767"/>
                  </a:lnTo>
                  <a:lnTo>
                    <a:pt x="134" y="767"/>
                  </a:lnTo>
                  <a:lnTo>
                    <a:pt x="140" y="771"/>
                  </a:lnTo>
                  <a:lnTo>
                    <a:pt x="147" y="777"/>
                  </a:lnTo>
                  <a:lnTo>
                    <a:pt x="151" y="777"/>
                  </a:lnTo>
                  <a:lnTo>
                    <a:pt x="153" y="773"/>
                  </a:lnTo>
                  <a:lnTo>
                    <a:pt x="155" y="771"/>
                  </a:lnTo>
                  <a:lnTo>
                    <a:pt x="153" y="768"/>
                  </a:lnTo>
                  <a:lnTo>
                    <a:pt x="151" y="765"/>
                  </a:lnTo>
                  <a:lnTo>
                    <a:pt x="147" y="762"/>
                  </a:lnTo>
                  <a:lnTo>
                    <a:pt x="141" y="762"/>
                  </a:lnTo>
                  <a:lnTo>
                    <a:pt x="134" y="761"/>
                  </a:lnTo>
                  <a:lnTo>
                    <a:pt x="127" y="762"/>
                  </a:lnTo>
                  <a:lnTo>
                    <a:pt x="122" y="765"/>
                  </a:lnTo>
                  <a:lnTo>
                    <a:pt x="119" y="769"/>
                  </a:lnTo>
                  <a:lnTo>
                    <a:pt x="118" y="772"/>
                  </a:lnTo>
                  <a:lnTo>
                    <a:pt x="116" y="774"/>
                  </a:lnTo>
                  <a:lnTo>
                    <a:pt x="112" y="776"/>
                  </a:lnTo>
                  <a:lnTo>
                    <a:pt x="111" y="773"/>
                  </a:lnTo>
                  <a:lnTo>
                    <a:pt x="108" y="767"/>
                  </a:lnTo>
                  <a:lnTo>
                    <a:pt x="111" y="763"/>
                  </a:lnTo>
                  <a:lnTo>
                    <a:pt x="111" y="762"/>
                  </a:lnTo>
                  <a:lnTo>
                    <a:pt x="107" y="762"/>
                  </a:lnTo>
                  <a:lnTo>
                    <a:pt x="100" y="767"/>
                  </a:lnTo>
                  <a:lnTo>
                    <a:pt x="98" y="767"/>
                  </a:lnTo>
                  <a:lnTo>
                    <a:pt x="98" y="763"/>
                  </a:lnTo>
                  <a:lnTo>
                    <a:pt x="95" y="757"/>
                  </a:lnTo>
                  <a:lnTo>
                    <a:pt x="96" y="753"/>
                  </a:lnTo>
                  <a:lnTo>
                    <a:pt x="101" y="747"/>
                  </a:lnTo>
                  <a:lnTo>
                    <a:pt x="102" y="745"/>
                  </a:lnTo>
                  <a:lnTo>
                    <a:pt x="101" y="743"/>
                  </a:lnTo>
                  <a:lnTo>
                    <a:pt x="96" y="738"/>
                  </a:lnTo>
                  <a:lnTo>
                    <a:pt x="95" y="733"/>
                  </a:lnTo>
                  <a:lnTo>
                    <a:pt x="93" y="730"/>
                  </a:lnTo>
                  <a:lnTo>
                    <a:pt x="93" y="725"/>
                  </a:lnTo>
                  <a:lnTo>
                    <a:pt x="99" y="719"/>
                  </a:lnTo>
                  <a:lnTo>
                    <a:pt x="101" y="717"/>
                  </a:lnTo>
                  <a:lnTo>
                    <a:pt x="102" y="715"/>
                  </a:lnTo>
                  <a:lnTo>
                    <a:pt x="96" y="712"/>
                  </a:lnTo>
                  <a:lnTo>
                    <a:pt x="95" y="711"/>
                  </a:lnTo>
                  <a:lnTo>
                    <a:pt x="98" y="707"/>
                  </a:lnTo>
                  <a:lnTo>
                    <a:pt x="105" y="703"/>
                  </a:lnTo>
                  <a:lnTo>
                    <a:pt x="107" y="701"/>
                  </a:lnTo>
                  <a:lnTo>
                    <a:pt x="108" y="699"/>
                  </a:lnTo>
                  <a:lnTo>
                    <a:pt x="110" y="690"/>
                  </a:lnTo>
                  <a:lnTo>
                    <a:pt x="111" y="685"/>
                  </a:lnTo>
                  <a:lnTo>
                    <a:pt x="113" y="679"/>
                  </a:lnTo>
                  <a:lnTo>
                    <a:pt x="93" y="681"/>
                  </a:lnTo>
                  <a:lnTo>
                    <a:pt x="84" y="682"/>
                  </a:lnTo>
                  <a:lnTo>
                    <a:pt x="80" y="681"/>
                  </a:lnTo>
                  <a:lnTo>
                    <a:pt x="75" y="677"/>
                  </a:lnTo>
                  <a:lnTo>
                    <a:pt x="74" y="676"/>
                  </a:lnTo>
                  <a:lnTo>
                    <a:pt x="70" y="677"/>
                  </a:lnTo>
                  <a:lnTo>
                    <a:pt x="68" y="682"/>
                  </a:lnTo>
                  <a:lnTo>
                    <a:pt x="60" y="681"/>
                  </a:lnTo>
                  <a:lnTo>
                    <a:pt x="51" y="677"/>
                  </a:lnTo>
                  <a:lnTo>
                    <a:pt x="45" y="677"/>
                  </a:lnTo>
                  <a:lnTo>
                    <a:pt x="39" y="678"/>
                  </a:lnTo>
                  <a:lnTo>
                    <a:pt x="34" y="676"/>
                  </a:lnTo>
                  <a:lnTo>
                    <a:pt x="25" y="669"/>
                  </a:lnTo>
                  <a:lnTo>
                    <a:pt x="21" y="660"/>
                  </a:lnTo>
                  <a:lnTo>
                    <a:pt x="16" y="656"/>
                  </a:lnTo>
                  <a:lnTo>
                    <a:pt x="15" y="654"/>
                  </a:lnTo>
                  <a:lnTo>
                    <a:pt x="15" y="652"/>
                  </a:lnTo>
                  <a:lnTo>
                    <a:pt x="17" y="643"/>
                  </a:lnTo>
                  <a:lnTo>
                    <a:pt x="16" y="646"/>
                  </a:lnTo>
                  <a:lnTo>
                    <a:pt x="11" y="640"/>
                  </a:lnTo>
                  <a:lnTo>
                    <a:pt x="4" y="624"/>
                  </a:lnTo>
                  <a:lnTo>
                    <a:pt x="0" y="617"/>
                  </a:lnTo>
                  <a:lnTo>
                    <a:pt x="0" y="614"/>
                  </a:lnTo>
                  <a:lnTo>
                    <a:pt x="4" y="614"/>
                  </a:lnTo>
                  <a:lnTo>
                    <a:pt x="9" y="613"/>
                  </a:lnTo>
                  <a:lnTo>
                    <a:pt x="11" y="611"/>
                  </a:lnTo>
                  <a:lnTo>
                    <a:pt x="13" y="611"/>
                  </a:lnTo>
                  <a:lnTo>
                    <a:pt x="17" y="613"/>
                  </a:lnTo>
                  <a:lnTo>
                    <a:pt x="21" y="619"/>
                  </a:lnTo>
                  <a:lnTo>
                    <a:pt x="25" y="622"/>
                  </a:lnTo>
                  <a:lnTo>
                    <a:pt x="30" y="624"/>
                  </a:lnTo>
                  <a:lnTo>
                    <a:pt x="31" y="626"/>
                  </a:lnTo>
                  <a:lnTo>
                    <a:pt x="35" y="636"/>
                  </a:lnTo>
                  <a:lnTo>
                    <a:pt x="35" y="638"/>
                  </a:lnTo>
                  <a:lnTo>
                    <a:pt x="37" y="637"/>
                  </a:lnTo>
                  <a:lnTo>
                    <a:pt x="40" y="634"/>
                  </a:lnTo>
                  <a:lnTo>
                    <a:pt x="42" y="629"/>
                  </a:lnTo>
                  <a:lnTo>
                    <a:pt x="46" y="628"/>
                  </a:lnTo>
                  <a:lnTo>
                    <a:pt x="51" y="629"/>
                  </a:lnTo>
                  <a:lnTo>
                    <a:pt x="55" y="629"/>
                  </a:lnTo>
                  <a:lnTo>
                    <a:pt x="61" y="626"/>
                  </a:lnTo>
                  <a:lnTo>
                    <a:pt x="59" y="625"/>
                  </a:lnTo>
                  <a:lnTo>
                    <a:pt x="57" y="622"/>
                  </a:lnTo>
                  <a:lnTo>
                    <a:pt x="53" y="618"/>
                  </a:lnTo>
                  <a:lnTo>
                    <a:pt x="54" y="614"/>
                  </a:lnTo>
                  <a:lnTo>
                    <a:pt x="60" y="612"/>
                  </a:lnTo>
                  <a:lnTo>
                    <a:pt x="66" y="611"/>
                  </a:lnTo>
                  <a:lnTo>
                    <a:pt x="70" y="613"/>
                  </a:lnTo>
                  <a:lnTo>
                    <a:pt x="70" y="620"/>
                  </a:lnTo>
                  <a:lnTo>
                    <a:pt x="78" y="624"/>
                  </a:lnTo>
                  <a:lnTo>
                    <a:pt x="76" y="625"/>
                  </a:lnTo>
                  <a:lnTo>
                    <a:pt x="82" y="626"/>
                  </a:lnTo>
                  <a:lnTo>
                    <a:pt x="92" y="630"/>
                  </a:lnTo>
                  <a:lnTo>
                    <a:pt x="94" y="631"/>
                  </a:lnTo>
                  <a:lnTo>
                    <a:pt x="95" y="629"/>
                  </a:lnTo>
                  <a:lnTo>
                    <a:pt x="96" y="624"/>
                  </a:lnTo>
                  <a:lnTo>
                    <a:pt x="102" y="626"/>
                  </a:lnTo>
                  <a:lnTo>
                    <a:pt x="116" y="634"/>
                  </a:lnTo>
                  <a:lnTo>
                    <a:pt x="118" y="635"/>
                  </a:lnTo>
                  <a:lnTo>
                    <a:pt x="120" y="632"/>
                  </a:lnTo>
                  <a:lnTo>
                    <a:pt x="123" y="628"/>
                  </a:lnTo>
                  <a:lnTo>
                    <a:pt x="125" y="626"/>
                  </a:lnTo>
                  <a:lnTo>
                    <a:pt x="127" y="628"/>
                  </a:lnTo>
                  <a:lnTo>
                    <a:pt x="131" y="628"/>
                  </a:lnTo>
                  <a:lnTo>
                    <a:pt x="140" y="625"/>
                  </a:lnTo>
                  <a:lnTo>
                    <a:pt x="147" y="625"/>
                  </a:lnTo>
                  <a:lnTo>
                    <a:pt x="149" y="624"/>
                  </a:lnTo>
                  <a:lnTo>
                    <a:pt x="146" y="622"/>
                  </a:lnTo>
                  <a:lnTo>
                    <a:pt x="136" y="614"/>
                  </a:lnTo>
                  <a:lnTo>
                    <a:pt x="135" y="610"/>
                  </a:lnTo>
                  <a:lnTo>
                    <a:pt x="133" y="607"/>
                  </a:lnTo>
                  <a:lnTo>
                    <a:pt x="129" y="607"/>
                  </a:lnTo>
                  <a:lnTo>
                    <a:pt x="127" y="605"/>
                  </a:lnTo>
                  <a:lnTo>
                    <a:pt x="124" y="601"/>
                  </a:lnTo>
                  <a:lnTo>
                    <a:pt x="122" y="599"/>
                  </a:lnTo>
                  <a:lnTo>
                    <a:pt x="123" y="594"/>
                  </a:lnTo>
                  <a:lnTo>
                    <a:pt x="129" y="590"/>
                  </a:lnTo>
                  <a:lnTo>
                    <a:pt x="130" y="587"/>
                  </a:lnTo>
                  <a:lnTo>
                    <a:pt x="133" y="583"/>
                  </a:lnTo>
                  <a:lnTo>
                    <a:pt x="139" y="582"/>
                  </a:lnTo>
                  <a:lnTo>
                    <a:pt x="145" y="578"/>
                  </a:lnTo>
                  <a:lnTo>
                    <a:pt x="152" y="572"/>
                  </a:lnTo>
                  <a:lnTo>
                    <a:pt x="157" y="568"/>
                  </a:lnTo>
                  <a:lnTo>
                    <a:pt x="159" y="566"/>
                  </a:lnTo>
                  <a:lnTo>
                    <a:pt x="159" y="564"/>
                  </a:lnTo>
                  <a:lnTo>
                    <a:pt x="160" y="562"/>
                  </a:lnTo>
                  <a:lnTo>
                    <a:pt x="163" y="562"/>
                  </a:lnTo>
                  <a:lnTo>
                    <a:pt x="173" y="568"/>
                  </a:lnTo>
                  <a:lnTo>
                    <a:pt x="183" y="564"/>
                  </a:lnTo>
                  <a:lnTo>
                    <a:pt x="188" y="563"/>
                  </a:lnTo>
                  <a:lnTo>
                    <a:pt x="192" y="560"/>
                  </a:lnTo>
                  <a:lnTo>
                    <a:pt x="196" y="554"/>
                  </a:lnTo>
                  <a:lnTo>
                    <a:pt x="201" y="552"/>
                  </a:lnTo>
                  <a:lnTo>
                    <a:pt x="202" y="551"/>
                  </a:lnTo>
                  <a:lnTo>
                    <a:pt x="204" y="547"/>
                  </a:lnTo>
                  <a:lnTo>
                    <a:pt x="205" y="547"/>
                  </a:lnTo>
                  <a:lnTo>
                    <a:pt x="206" y="551"/>
                  </a:lnTo>
                  <a:lnTo>
                    <a:pt x="211" y="558"/>
                  </a:lnTo>
                  <a:lnTo>
                    <a:pt x="216" y="558"/>
                  </a:lnTo>
                  <a:lnTo>
                    <a:pt x="218" y="557"/>
                  </a:lnTo>
                  <a:lnTo>
                    <a:pt x="220" y="554"/>
                  </a:lnTo>
                  <a:lnTo>
                    <a:pt x="224" y="549"/>
                  </a:lnTo>
                  <a:lnTo>
                    <a:pt x="226" y="547"/>
                  </a:lnTo>
                  <a:lnTo>
                    <a:pt x="226" y="542"/>
                  </a:lnTo>
                  <a:lnTo>
                    <a:pt x="226" y="540"/>
                  </a:lnTo>
                  <a:lnTo>
                    <a:pt x="223" y="537"/>
                  </a:lnTo>
                  <a:lnTo>
                    <a:pt x="219" y="539"/>
                  </a:lnTo>
                  <a:lnTo>
                    <a:pt x="216" y="543"/>
                  </a:lnTo>
                  <a:lnTo>
                    <a:pt x="214" y="543"/>
                  </a:lnTo>
                  <a:lnTo>
                    <a:pt x="212" y="541"/>
                  </a:lnTo>
                  <a:lnTo>
                    <a:pt x="210" y="537"/>
                  </a:lnTo>
                  <a:lnTo>
                    <a:pt x="208" y="535"/>
                  </a:lnTo>
                  <a:lnTo>
                    <a:pt x="206" y="534"/>
                  </a:lnTo>
                  <a:lnTo>
                    <a:pt x="201" y="535"/>
                  </a:lnTo>
                  <a:lnTo>
                    <a:pt x="199" y="539"/>
                  </a:lnTo>
                  <a:lnTo>
                    <a:pt x="199" y="542"/>
                  </a:lnTo>
                  <a:lnTo>
                    <a:pt x="196" y="543"/>
                  </a:lnTo>
                  <a:lnTo>
                    <a:pt x="193" y="541"/>
                  </a:lnTo>
                  <a:lnTo>
                    <a:pt x="185" y="537"/>
                  </a:lnTo>
                  <a:lnTo>
                    <a:pt x="179" y="535"/>
                  </a:lnTo>
                  <a:lnTo>
                    <a:pt x="173" y="533"/>
                  </a:lnTo>
                  <a:lnTo>
                    <a:pt x="171" y="534"/>
                  </a:lnTo>
                  <a:lnTo>
                    <a:pt x="171" y="536"/>
                  </a:lnTo>
                  <a:lnTo>
                    <a:pt x="173" y="539"/>
                  </a:lnTo>
                  <a:lnTo>
                    <a:pt x="179" y="545"/>
                  </a:lnTo>
                  <a:lnTo>
                    <a:pt x="179" y="546"/>
                  </a:lnTo>
                  <a:lnTo>
                    <a:pt x="176" y="546"/>
                  </a:lnTo>
                  <a:lnTo>
                    <a:pt x="166" y="543"/>
                  </a:lnTo>
                  <a:lnTo>
                    <a:pt x="161" y="543"/>
                  </a:lnTo>
                  <a:lnTo>
                    <a:pt x="157" y="551"/>
                  </a:lnTo>
                  <a:lnTo>
                    <a:pt x="154" y="552"/>
                  </a:lnTo>
                  <a:lnTo>
                    <a:pt x="151" y="551"/>
                  </a:lnTo>
                  <a:lnTo>
                    <a:pt x="146" y="549"/>
                  </a:lnTo>
                  <a:lnTo>
                    <a:pt x="145" y="543"/>
                  </a:lnTo>
                  <a:lnTo>
                    <a:pt x="147" y="537"/>
                  </a:lnTo>
                  <a:lnTo>
                    <a:pt x="143" y="536"/>
                  </a:lnTo>
                  <a:lnTo>
                    <a:pt x="130" y="536"/>
                  </a:lnTo>
                  <a:lnTo>
                    <a:pt x="130" y="539"/>
                  </a:lnTo>
                  <a:lnTo>
                    <a:pt x="129" y="541"/>
                  </a:lnTo>
                  <a:lnTo>
                    <a:pt x="124" y="543"/>
                  </a:lnTo>
                  <a:lnTo>
                    <a:pt x="119" y="543"/>
                  </a:lnTo>
                  <a:lnTo>
                    <a:pt x="118" y="540"/>
                  </a:lnTo>
                  <a:lnTo>
                    <a:pt x="116" y="540"/>
                  </a:lnTo>
                  <a:lnTo>
                    <a:pt x="107" y="545"/>
                  </a:lnTo>
                  <a:lnTo>
                    <a:pt x="104" y="547"/>
                  </a:lnTo>
                  <a:lnTo>
                    <a:pt x="101" y="548"/>
                  </a:lnTo>
                  <a:lnTo>
                    <a:pt x="98" y="545"/>
                  </a:lnTo>
                  <a:lnTo>
                    <a:pt x="90" y="540"/>
                  </a:lnTo>
                  <a:lnTo>
                    <a:pt x="88" y="537"/>
                  </a:lnTo>
                  <a:lnTo>
                    <a:pt x="88" y="535"/>
                  </a:lnTo>
                  <a:lnTo>
                    <a:pt x="90" y="531"/>
                  </a:lnTo>
                  <a:lnTo>
                    <a:pt x="88" y="529"/>
                  </a:lnTo>
                  <a:lnTo>
                    <a:pt x="82" y="527"/>
                  </a:lnTo>
                  <a:lnTo>
                    <a:pt x="78" y="523"/>
                  </a:lnTo>
                  <a:lnTo>
                    <a:pt x="76" y="515"/>
                  </a:lnTo>
                  <a:lnTo>
                    <a:pt x="78" y="512"/>
                  </a:lnTo>
                  <a:lnTo>
                    <a:pt x="83" y="512"/>
                  </a:lnTo>
                  <a:lnTo>
                    <a:pt x="90" y="513"/>
                  </a:lnTo>
                  <a:lnTo>
                    <a:pt x="95" y="517"/>
                  </a:lnTo>
                  <a:lnTo>
                    <a:pt x="101" y="522"/>
                  </a:lnTo>
                  <a:lnTo>
                    <a:pt x="102" y="521"/>
                  </a:lnTo>
                  <a:lnTo>
                    <a:pt x="101" y="516"/>
                  </a:lnTo>
                  <a:lnTo>
                    <a:pt x="100" y="515"/>
                  </a:lnTo>
                  <a:lnTo>
                    <a:pt x="102" y="512"/>
                  </a:lnTo>
                  <a:lnTo>
                    <a:pt x="106" y="507"/>
                  </a:lnTo>
                  <a:lnTo>
                    <a:pt x="110" y="501"/>
                  </a:lnTo>
                  <a:lnTo>
                    <a:pt x="116" y="498"/>
                  </a:lnTo>
                  <a:lnTo>
                    <a:pt x="122" y="493"/>
                  </a:lnTo>
                  <a:lnTo>
                    <a:pt x="123" y="488"/>
                  </a:lnTo>
                  <a:lnTo>
                    <a:pt x="124" y="486"/>
                  </a:lnTo>
                  <a:lnTo>
                    <a:pt x="123" y="485"/>
                  </a:lnTo>
                  <a:lnTo>
                    <a:pt x="112" y="480"/>
                  </a:lnTo>
                  <a:lnTo>
                    <a:pt x="108" y="476"/>
                  </a:lnTo>
                  <a:lnTo>
                    <a:pt x="107" y="468"/>
                  </a:lnTo>
                  <a:lnTo>
                    <a:pt x="107" y="452"/>
                  </a:lnTo>
                  <a:lnTo>
                    <a:pt x="108" y="447"/>
                  </a:lnTo>
                  <a:lnTo>
                    <a:pt x="110" y="442"/>
                  </a:lnTo>
                  <a:lnTo>
                    <a:pt x="104" y="440"/>
                  </a:lnTo>
                  <a:lnTo>
                    <a:pt x="100" y="438"/>
                  </a:lnTo>
                  <a:lnTo>
                    <a:pt x="96" y="433"/>
                  </a:lnTo>
                  <a:lnTo>
                    <a:pt x="94" y="424"/>
                  </a:lnTo>
                  <a:lnTo>
                    <a:pt x="98" y="418"/>
                  </a:lnTo>
                  <a:lnTo>
                    <a:pt x="104" y="412"/>
                  </a:lnTo>
                  <a:lnTo>
                    <a:pt x="106" y="406"/>
                  </a:lnTo>
                  <a:lnTo>
                    <a:pt x="104" y="402"/>
                  </a:lnTo>
                  <a:lnTo>
                    <a:pt x="104" y="396"/>
                  </a:lnTo>
                  <a:lnTo>
                    <a:pt x="108" y="390"/>
                  </a:lnTo>
                  <a:lnTo>
                    <a:pt x="112" y="385"/>
                  </a:lnTo>
                  <a:lnTo>
                    <a:pt x="111" y="378"/>
                  </a:lnTo>
                  <a:lnTo>
                    <a:pt x="111" y="376"/>
                  </a:lnTo>
                  <a:lnTo>
                    <a:pt x="113" y="375"/>
                  </a:lnTo>
                  <a:lnTo>
                    <a:pt x="119" y="378"/>
                  </a:lnTo>
                  <a:lnTo>
                    <a:pt x="125" y="380"/>
                  </a:lnTo>
                  <a:lnTo>
                    <a:pt x="133" y="378"/>
                  </a:lnTo>
                  <a:lnTo>
                    <a:pt x="135" y="378"/>
                  </a:lnTo>
                  <a:lnTo>
                    <a:pt x="137" y="379"/>
                  </a:lnTo>
                  <a:lnTo>
                    <a:pt x="141" y="382"/>
                  </a:lnTo>
                  <a:lnTo>
                    <a:pt x="146" y="385"/>
                  </a:lnTo>
                  <a:lnTo>
                    <a:pt x="151" y="382"/>
                  </a:lnTo>
                  <a:lnTo>
                    <a:pt x="152" y="382"/>
                  </a:lnTo>
                  <a:lnTo>
                    <a:pt x="153" y="385"/>
                  </a:lnTo>
                  <a:lnTo>
                    <a:pt x="154" y="393"/>
                  </a:lnTo>
                  <a:lnTo>
                    <a:pt x="155" y="396"/>
                  </a:lnTo>
                  <a:lnTo>
                    <a:pt x="159" y="398"/>
                  </a:lnTo>
                  <a:lnTo>
                    <a:pt x="164" y="399"/>
                  </a:lnTo>
                  <a:lnTo>
                    <a:pt x="166" y="396"/>
                  </a:lnTo>
                  <a:lnTo>
                    <a:pt x="169" y="391"/>
                  </a:lnTo>
                  <a:lnTo>
                    <a:pt x="167" y="387"/>
                  </a:lnTo>
                  <a:lnTo>
                    <a:pt x="163" y="384"/>
                  </a:lnTo>
                  <a:lnTo>
                    <a:pt x="152" y="379"/>
                  </a:lnTo>
                  <a:lnTo>
                    <a:pt x="148" y="378"/>
                  </a:lnTo>
                  <a:lnTo>
                    <a:pt x="148" y="374"/>
                  </a:lnTo>
                  <a:lnTo>
                    <a:pt x="151" y="366"/>
                  </a:lnTo>
                  <a:lnTo>
                    <a:pt x="153" y="361"/>
                  </a:lnTo>
                  <a:lnTo>
                    <a:pt x="152" y="356"/>
                  </a:lnTo>
                  <a:lnTo>
                    <a:pt x="155" y="355"/>
                  </a:lnTo>
                  <a:lnTo>
                    <a:pt x="161" y="356"/>
                  </a:lnTo>
                  <a:lnTo>
                    <a:pt x="169" y="357"/>
                  </a:lnTo>
                  <a:lnTo>
                    <a:pt x="176" y="363"/>
                  </a:lnTo>
                  <a:lnTo>
                    <a:pt x="181" y="367"/>
                  </a:lnTo>
                  <a:lnTo>
                    <a:pt x="185" y="366"/>
                  </a:lnTo>
                  <a:lnTo>
                    <a:pt x="185" y="364"/>
                  </a:lnTo>
                  <a:lnTo>
                    <a:pt x="183" y="362"/>
                  </a:lnTo>
                  <a:lnTo>
                    <a:pt x="173" y="351"/>
                  </a:lnTo>
                  <a:lnTo>
                    <a:pt x="166" y="349"/>
                  </a:lnTo>
                  <a:lnTo>
                    <a:pt x="166" y="344"/>
                  </a:lnTo>
                  <a:lnTo>
                    <a:pt x="171" y="332"/>
                  </a:lnTo>
                  <a:lnTo>
                    <a:pt x="175" y="331"/>
                  </a:lnTo>
                  <a:lnTo>
                    <a:pt x="179" y="331"/>
                  </a:lnTo>
                  <a:lnTo>
                    <a:pt x="183" y="328"/>
                  </a:lnTo>
                  <a:lnTo>
                    <a:pt x="188" y="331"/>
                  </a:lnTo>
                  <a:lnTo>
                    <a:pt x="193" y="331"/>
                  </a:lnTo>
                  <a:lnTo>
                    <a:pt x="195" y="332"/>
                  </a:lnTo>
                  <a:lnTo>
                    <a:pt x="196" y="337"/>
                  </a:lnTo>
                  <a:lnTo>
                    <a:pt x="196" y="345"/>
                  </a:lnTo>
                  <a:lnTo>
                    <a:pt x="198" y="348"/>
                  </a:lnTo>
                  <a:lnTo>
                    <a:pt x="200" y="345"/>
                  </a:lnTo>
                  <a:lnTo>
                    <a:pt x="206" y="343"/>
                  </a:lnTo>
                  <a:lnTo>
                    <a:pt x="208" y="339"/>
                  </a:lnTo>
                  <a:lnTo>
                    <a:pt x="211" y="335"/>
                  </a:lnTo>
                  <a:lnTo>
                    <a:pt x="210" y="333"/>
                  </a:lnTo>
                  <a:lnTo>
                    <a:pt x="207" y="332"/>
                  </a:lnTo>
                  <a:lnTo>
                    <a:pt x="206" y="332"/>
                  </a:lnTo>
                  <a:lnTo>
                    <a:pt x="205" y="331"/>
                  </a:lnTo>
                  <a:lnTo>
                    <a:pt x="204" y="327"/>
                  </a:lnTo>
                  <a:lnTo>
                    <a:pt x="204" y="317"/>
                  </a:lnTo>
                  <a:lnTo>
                    <a:pt x="202" y="315"/>
                  </a:lnTo>
                  <a:lnTo>
                    <a:pt x="200" y="314"/>
                  </a:lnTo>
                  <a:lnTo>
                    <a:pt x="189" y="314"/>
                  </a:lnTo>
                  <a:lnTo>
                    <a:pt x="182" y="309"/>
                  </a:lnTo>
                  <a:lnTo>
                    <a:pt x="178" y="305"/>
                  </a:lnTo>
                  <a:lnTo>
                    <a:pt x="178" y="304"/>
                  </a:lnTo>
                  <a:lnTo>
                    <a:pt x="182" y="297"/>
                  </a:lnTo>
                  <a:lnTo>
                    <a:pt x="188" y="291"/>
                  </a:lnTo>
                  <a:lnTo>
                    <a:pt x="193" y="289"/>
                  </a:lnTo>
                  <a:lnTo>
                    <a:pt x="195" y="286"/>
                  </a:lnTo>
                  <a:lnTo>
                    <a:pt x="200" y="287"/>
                  </a:lnTo>
                  <a:lnTo>
                    <a:pt x="210" y="291"/>
                  </a:lnTo>
                  <a:lnTo>
                    <a:pt x="218" y="291"/>
                  </a:lnTo>
                  <a:lnTo>
                    <a:pt x="225" y="291"/>
                  </a:lnTo>
                  <a:lnTo>
                    <a:pt x="232" y="290"/>
                  </a:lnTo>
                  <a:lnTo>
                    <a:pt x="240" y="291"/>
                  </a:lnTo>
                  <a:lnTo>
                    <a:pt x="243" y="291"/>
                  </a:lnTo>
                  <a:lnTo>
                    <a:pt x="247" y="291"/>
                  </a:lnTo>
                  <a:lnTo>
                    <a:pt x="249" y="289"/>
                  </a:lnTo>
                  <a:lnTo>
                    <a:pt x="252" y="284"/>
                  </a:lnTo>
                  <a:lnTo>
                    <a:pt x="253" y="280"/>
                  </a:lnTo>
                  <a:lnTo>
                    <a:pt x="257" y="277"/>
                  </a:lnTo>
                  <a:lnTo>
                    <a:pt x="263" y="272"/>
                  </a:lnTo>
                  <a:lnTo>
                    <a:pt x="264" y="269"/>
                  </a:lnTo>
                  <a:lnTo>
                    <a:pt x="263" y="268"/>
                  </a:lnTo>
                  <a:lnTo>
                    <a:pt x="258" y="268"/>
                  </a:lnTo>
                  <a:lnTo>
                    <a:pt x="254" y="268"/>
                  </a:lnTo>
                  <a:lnTo>
                    <a:pt x="248" y="272"/>
                  </a:lnTo>
                  <a:lnTo>
                    <a:pt x="246" y="266"/>
                  </a:lnTo>
                  <a:lnTo>
                    <a:pt x="242" y="263"/>
                  </a:lnTo>
                  <a:lnTo>
                    <a:pt x="237" y="262"/>
                  </a:lnTo>
                  <a:lnTo>
                    <a:pt x="238" y="261"/>
                  </a:lnTo>
                  <a:lnTo>
                    <a:pt x="236" y="257"/>
                  </a:lnTo>
                  <a:lnTo>
                    <a:pt x="226" y="251"/>
                  </a:lnTo>
                  <a:lnTo>
                    <a:pt x="223" y="248"/>
                  </a:lnTo>
                  <a:lnTo>
                    <a:pt x="230" y="247"/>
                  </a:lnTo>
                  <a:lnTo>
                    <a:pt x="236" y="248"/>
                  </a:lnTo>
                  <a:lnTo>
                    <a:pt x="237" y="250"/>
                  </a:lnTo>
                  <a:lnTo>
                    <a:pt x="242" y="250"/>
                  </a:lnTo>
                  <a:lnTo>
                    <a:pt x="246" y="250"/>
                  </a:lnTo>
                  <a:lnTo>
                    <a:pt x="247" y="249"/>
                  </a:lnTo>
                  <a:lnTo>
                    <a:pt x="248" y="248"/>
                  </a:lnTo>
                  <a:lnTo>
                    <a:pt x="251" y="244"/>
                  </a:lnTo>
                  <a:lnTo>
                    <a:pt x="254" y="236"/>
                  </a:lnTo>
                  <a:lnTo>
                    <a:pt x="255" y="239"/>
                  </a:lnTo>
                  <a:lnTo>
                    <a:pt x="259" y="239"/>
                  </a:lnTo>
                  <a:lnTo>
                    <a:pt x="260" y="242"/>
                  </a:lnTo>
                  <a:lnTo>
                    <a:pt x="263" y="248"/>
                  </a:lnTo>
                  <a:lnTo>
                    <a:pt x="267" y="251"/>
                  </a:lnTo>
                  <a:lnTo>
                    <a:pt x="269" y="253"/>
                  </a:lnTo>
                  <a:lnTo>
                    <a:pt x="271" y="249"/>
                  </a:lnTo>
                  <a:lnTo>
                    <a:pt x="279" y="238"/>
                  </a:lnTo>
                  <a:lnTo>
                    <a:pt x="284" y="235"/>
                  </a:lnTo>
                  <a:lnTo>
                    <a:pt x="284" y="231"/>
                  </a:lnTo>
                  <a:lnTo>
                    <a:pt x="277" y="227"/>
                  </a:lnTo>
                  <a:lnTo>
                    <a:pt x="273" y="225"/>
                  </a:lnTo>
                  <a:lnTo>
                    <a:pt x="265" y="225"/>
                  </a:lnTo>
                  <a:lnTo>
                    <a:pt x="255" y="227"/>
                  </a:lnTo>
                  <a:lnTo>
                    <a:pt x="251" y="227"/>
                  </a:lnTo>
                  <a:lnTo>
                    <a:pt x="248" y="226"/>
                  </a:lnTo>
                  <a:lnTo>
                    <a:pt x="244" y="225"/>
                  </a:lnTo>
                  <a:lnTo>
                    <a:pt x="241" y="225"/>
                  </a:lnTo>
                  <a:lnTo>
                    <a:pt x="235" y="222"/>
                  </a:lnTo>
                  <a:lnTo>
                    <a:pt x="217" y="218"/>
                  </a:lnTo>
                  <a:lnTo>
                    <a:pt x="214" y="215"/>
                  </a:lnTo>
                  <a:lnTo>
                    <a:pt x="206" y="215"/>
                  </a:lnTo>
                  <a:lnTo>
                    <a:pt x="194" y="221"/>
                  </a:lnTo>
                  <a:lnTo>
                    <a:pt x="185" y="226"/>
                  </a:lnTo>
                  <a:lnTo>
                    <a:pt x="173" y="228"/>
                  </a:lnTo>
                  <a:lnTo>
                    <a:pt x="165" y="231"/>
                  </a:lnTo>
                  <a:lnTo>
                    <a:pt x="147" y="232"/>
                  </a:lnTo>
                  <a:lnTo>
                    <a:pt x="143" y="235"/>
                  </a:lnTo>
                  <a:lnTo>
                    <a:pt x="140" y="238"/>
                  </a:lnTo>
                  <a:lnTo>
                    <a:pt x="134" y="238"/>
                  </a:lnTo>
                  <a:lnTo>
                    <a:pt x="130" y="236"/>
                  </a:lnTo>
                  <a:lnTo>
                    <a:pt x="125" y="236"/>
                  </a:lnTo>
                  <a:lnTo>
                    <a:pt x="118" y="233"/>
                  </a:lnTo>
                  <a:lnTo>
                    <a:pt x="111" y="230"/>
                  </a:lnTo>
                  <a:lnTo>
                    <a:pt x="108" y="225"/>
                  </a:lnTo>
                  <a:lnTo>
                    <a:pt x="111" y="219"/>
                  </a:lnTo>
                  <a:lnTo>
                    <a:pt x="116" y="215"/>
                  </a:lnTo>
                  <a:lnTo>
                    <a:pt x="119" y="214"/>
                  </a:lnTo>
                  <a:lnTo>
                    <a:pt x="120" y="209"/>
                  </a:lnTo>
                  <a:lnTo>
                    <a:pt x="118" y="203"/>
                  </a:lnTo>
                  <a:lnTo>
                    <a:pt x="123" y="203"/>
                  </a:lnTo>
                  <a:lnTo>
                    <a:pt x="133" y="203"/>
                  </a:lnTo>
                  <a:lnTo>
                    <a:pt x="137" y="201"/>
                  </a:lnTo>
                  <a:lnTo>
                    <a:pt x="142" y="202"/>
                  </a:lnTo>
                  <a:lnTo>
                    <a:pt x="147" y="200"/>
                  </a:lnTo>
                  <a:lnTo>
                    <a:pt x="147" y="195"/>
                  </a:lnTo>
                  <a:lnTo>
                    <a:pt x="151" y="192"/>
                  </a:lnTo>
                  <a:lnTo>
                    <a:pt x="154" y="188"/>
                  </a:lnTo>
                  <a:lnTo>
                    <a:pt x="157" y="185"/>
                  </a:lnTo>
                  <a:lnTo>
                    <a:pt x="165" y="183"/>
                  </a:lnTo>
                  <a:lnTo>
                    <a:pt x="167" y="182"/>
                  </a:lnTo>
                  <a:lnTo>
                    <a:pt x="169" y="179"/>
                  </a:lnTo>
                  <a:lnTo>
                    <a:pt x="163" y="173"/>
                  </a:lnTo>
                  <a:lnTo>
                    <a:pt x="155" y="170"/>
                  </a:lnTo>
                  <a:lnTo>
                    <a:pt x="155" y="173"/>
                  </a:lnTo>
                  <a:lnTo>
                    <a:pt x="154" y="174"/>
                  </a:lnTo>
                  <a:lnTo>
                    <a:pt x="149" y="173"/>
                  </a:lnTo>
                  <a:lnTo>
                    <a:pt x="139" y="172"/>
                  </a:lnTo>
                  <a:lnTo>
                    <a:pt x="136" y="172"/>
                  </a:lnTo>
                  <a:lnTo>
                    <a:pt x="136" y="168"/>
                  </a:lnTo>
                  <a:lnTo>
                    <a:pt x="139" y="162"/>
                  </a:lnTo>
                  <a:lnTo>
                    <a:pt x="142" y="159"/>
                  </a:lnTo>
                  <a:lnTo>
                    <a:pt x="143" y="155"/>
                  </a:lnTo>
                  <a:lnTo>
                    <a:pt x="143" y="150"/>
                  </a:lnTo>
                  <a:lnTo>
                    <a:pt x="142" y="144"/>
                  </a:lnTo>
                  <a:lnTo>
                    <a:pt x="145" y="141"/>
                  </a:lnTo>
                  <a:lnTo>
                    <a:pt x="145" y="137"/>
                  </a:lnTo>
                  <a:lnTo>
                    <a:pt x="149" y="137"/>
                  </a:lnTo>
                  <a:lnTo>
                    <a:pt x="157" y="140"/>
                  </a:lnTo>
                  <a:lnTo>
                    <a:pt x="164" y="138"/>
                  </a:lnTo>
                  <a:lnTo>
                    <a:pt x="171" y="137"/>
                  </a:lnTo>
                  <a:lnTo>
                    <a:pt x="173" y="134"/>
                  </a:lnTo>
                  <a:lnTo>
                    <a:pt x="176" y="128"/>
                  </a:lnTo>
                  <a:lnTo>
                    <a:pt x="181" y="126"/>
                  </a:lnTo>
                  <a:lnTo>
                    <a:pt x="185" y="130"/>
                  </a:lnTo>
                  <a:lnTo>
                    <a:pt x="190" y="130"/>
                  </a:lnTo>
                  <a:lnTo>
                    <a:pt x="198" y="129"/>
                  </a:lnTo>
                  <a:lnTo>
                    <a:pt x="202" y="126"/>
                  </a:lnTo>
                  <a:lnTo>
                    <a:pt x="204" y="125"/>
                  </a:lnTo>
                  <a:lnTo>
                    <a:pt x="205" y="123"/>
                  </a:lnTo>
                  <a:lnTo>
                    <a:pt x="200" y="123"/>
                  </a:lnTo>
                  <a:lnTo>
                    <a:pt x="192" y="125"/>
                  </a:lnTo>
                  <a:lnTo>
                    <a:pt x="189" y="121"/>
                  </a:lnTo>
                  <a:lnTo>
                    <a:pt x="188" y="113"/>
                  </a:lnTo>
                  <a:lnTo>
                    <a:pt x="184" y="112"/>
                  </a:lnTo>
                  <a:lnTo>
                    <a:pt x="183" y="111"/>
                  </a:lnTo>
                  <a:lnTo>
                    <a:pt x="185" y="108"/>
                  </a:lnTo>
                  <a:lnTo>
                    <a:pt x="190" y="103"/>
                  </a:lnTo>
                  <a:lnTo>
                    <a:pt x="192" y="100"/>
                  </a:lnTo>
                  <a:lnTo>
                    <a:pt x="195" y="96"/>
                  </a:lnTo>
                  <a:lnTo>
                    <a:pt x="202" y="97"/>
                  </a:lnTo>
                  <a:lnTo>
                    <a:pt x="211" y="99"/>
                  </a:lnTo>
                  <a:lnTo>
                    <a:pt x="213" y="99"/>
                  </a:lnTo>
                  <a:lnTo>
                    <a:pt x="214" y="101"/>
                  </a:lnTo>
                  <a:lnTo>
                    <a:pt x="214" y="106"/>
                  </a:lnTo>
                  <a:lnTo>
                    <a:pt x="219" y="107"/>
                  </a:lnTo>
                  <a:lnTo>
                    <a:pt x="224" y="107"/>
                  </a:lnTo>
                  <a:lnTo>
                    <a:pt x="225" y="107"/>
                  </a:lnTo>
                  <a:lnTo>
                    <a:pt x="226" y="111"/>
                  </a:lnTo>
                  <a:lnTo>
                    <a:pt x="229" y="108"/>
                  </a:lnTo>
                  <a:lnTo>
                    <a:pt x="232" y="97"/>
                  </a:lnTo>
                  <a:lnTo>
                    <a:pt x="241" y="89"/>
                  </a:lnTo>
                  <a:lnTo>
                    <a:pt x="246" y="85"/>
                  </a:lnTo>
                  <a:lnTo>
                    <a:pt x="249" y="85"/>
                  </a:lnTo>
                  <a:lnTo>
                    <a:pt x="253" y="87"/>
                  </a:lnTo>
                  <a:lnTo>
                    <a:pt x="257" y="84"/>
                  </a:lnTo>
                  <a:lnTo>
                    <a:pt x="263" y="79"/>
                  </a:lnTo>
                  <a:lnTo>
                    <a:pt x="264" y="79"/>
                  </a:lnTo>
                  <a:lnTo>
                    <a:pt x="267" y="78"/>
                  </a:lnTo>
                  <a:lnTo>
                    <a:pt x="275" y="72"/>
                  </a:lnTo>
                  <a:lnTo>
                    <a:pt x="279" y="71"/>
                  </a:lnTo>
                  <a:lnTo>
                    <a:pt x="281" y="70"/>
                  </a:lnTo>
                  <a:lnTo>
                    <a:pt x="279" y="67"/>
                  </a:lnTo>
                  <a:lnTo>
                    <a:pt x="277" y="65"/>
                  </a:lnTo>
                  <a:lnTo>
                    <a:pt x="273" y="60"/>
                  </a:lnTo>
                  <a:lnTo>
                    <a:pt x="272" y="60"/>
                  </a:lnTo>
                  <a:lnTo>
                    <a:pt x="272" y="57"/>
                  </a:lnTo>
                  <a:lnTo>
                    <a:pt x="275" y="49"/>
                  </a:lnTo>
                  <a:lnTo>
                    <a:pt x="278" y="45"/>
                  </a:lnTo>
                  <a:lnTo>
                    <a:pt x="281" y="45"/>
                  </a:lnTo>
                  <a:lnTo>
                    <a:pt x="281" y="42"/>
                  </a:lnTo>
                  <a:lnTo>
                    <a:pt x="276" y="40"/>
                  </a:lnTo>
                  <a:lnTo>
                    <a:pt x="276" y="35"/>
                  </a:lnTo>
                  <a:lnTo>
                    <a:pt x="281" y="30"/>
                  </a:lnTo>
                  <a:lnTo>
                    <a:pt x="283" y="28"/>
                  </a:lnTo>
                  <a:lnTo>
                    <a:pt x="288" y="29"/>
                  </a:lnTo>
                  <a:lnTo>
                    <a:pt x="295" y="27"/>
                  </a:lnTo>
                  <a:lnTo>
                    <a:pt x="297" y="24"/>
                  </a:lnTo>
                  <a:lnTo>
                    <a:pt x="294" y="21"/>
                  </a:lnTo>
                  <a:lnTo>
                    <a:pt x="293" y="19"/>
                  </a:lnTo>
                  <a:lnTo>
                    <a:pt x="296" y="18"/>
                  </a:lnTo>
                  <a:lnTo>
                    <a:pt x="305" y="18"/>
                  </a:lnTo>
                  <a:lnTo>
                    <a:pt x="312" y="19"/>
                  </a:lnTo>
                  <a:lnTo>
                    <a:pt x="317" y="18"/>
                  </a:lnTo>
                  <a:lnTo>
                    <a:pt x="322" y="19"/>
                  </a:lnTo>
                  <a:lnTo>
                    <a:pt x="324" y="19"/>
                  </a:lnTo>
                  <a:lnTo>
                    <a:pt x="328" y="17"/>
                  </a:lnTo>
                  <a:lnTo>
                    <a:pt x="331" y="12"/>
                  </a:lnTo>
                  <a:lnTo>
                    <a:pt x="334" y="10"/>
                  </a:lnTo>
                  <a:lnTo>
                    <a:pt x="335" y="7"/>
                  </a:lnTo>
                  <a:lnTo>
                    <a:pt x="335" y="6"/>
                  </a:lnTo>
                  <a:lnTo>
                    <a:pt x="338" y="6"/>
                  </a:lnTo>
                  <a:lnTo>
                    <a:pt x="346" y="6"/>
                  </a:lnTo>
                  <a:lnTo>
                    <a:pt x="352" y="10"/>
                  </a:lnTo>
                  <a:lnTo>
                    <a:pt x="355" y="14"/>
                  </a:lnTo>
                  <a:lnTo>
                    <a:pt x="359" y="14"/>
                  </a:lnTo>
                  <a:lnTo>
                    <a:pt x="361" y="14"/>
                  </a:lnTo>
                  <a:lnTo>
                    <a:pt x="365" y="12"/>
                  </a:lnTo>
                  <a:lnTo>
                    <a:pt x="375" y="4"/>
                  </a:lnTo>
                  <a:lnTo>
                    <a:pt x="388" y="0"/>
                  </a:lnTo>
                  <a:lnTo>
                    <a:pt x="390" y="0"/>
                  </a:lnTo>
                  <a:lnTo>
                    <a:pt x="393" y="2"/>
                  </a:lnTo>
                  <a:lnTo>
                    <a:pt x="401" y="8"/>
                  </a:lnTo>
                  <a:lnTo>
                    <a:pt x="406" y="14"/>
                  </a:lnTo>
                  <a:lnTo>
                    <a:pt x="409" y="16"/>
                  </a:lnTo>
                  <a:lnTo>
                    <a:pt x="414" y="11"/>
                  </a:lnTo>
                  <a:lnTo>
                    <a:pt x="419" y="13"/>
                  </a:lnTo>
                  <a:lnTo>
                    <a:pt x="423" y="19"/>
                  </a:lnTo>
                  <a:lnTo>
                    <a:pt x="425" y="21"/>
                  </a:lnTo>
                  <a:lnTo>
                    <a:pt x="429" y="22"/>
                  </a:lnTo>
                  <a:lnTo>
                    <a:pt x="428" y="24"/>
                  </a:lnTo>
                  <a:lnTo>
                    <a:pt x="430" y="23"/>
                  </a:lnTo>
                  <a:lnTo>
                    <a:pt x="435" y="18"/>
                  </a:lnTo>
                  <a:lnTo>
                    <a:pt x="438" y="16"/>
                  </a:lnTo>
                  <a:lnTo>
                    <a:pt x="440" y="11"/>
                  </a:lnTo>
                  <a:lnTo>
                    <a:pt x="442" y="10"/>
                  </a:lnTo>
                  <a:lnTo>
                    <a:pt x="447" y="12"/>
                  </a:lnTo>
                  <a:lnTo>
                    <a:pt x="454" y="19"/>
                  </a:lnTo>
                  <a:lnTo>
                    <a:pt x="458" y="22"/>
                  </a:lnTo>
                  <a:lnTo>
                    <a:pt x="460" y="24"/>
                  </a:lnTo>
                  <a:lnTo>
                    <a:pt x="461" y="28"/>
                  </a:lnTo>
                  <a:lnTo>
                    <a:pt x="462" y="35"/>
                  </a:lnTo>
                  <a:lnTo>
                    <a:pt x="465" y="45"/>
                  </a:lnTo>
                  <a:lnTo>
                    <a:pt x="461" y="51"/>
                  </a:lnTo>
                  <a:lnTo>
                    <a:pt x="458" y="54"/>
                  </a:lnTo>
                  <a:lnTo>
                    <a:pt x="456" y="58"/>
                  </a:lnTo>
                  <a:lnTo>
                    <a:pt x="456" y="61"/>
                  </a:lnTo>
                  <a:lnTo>
                    <a:pt x="458" y="66"/>
                  </a:lnTo>
                  <a:lnTo>
                    <a:pt x="462" y="71"/>
                  </a:lnTo>
                  <a:lnTo>
                    <a:pt x="466" y="70"/>
                  </a:lnTo>
                  <a:lnTo>
                    <a:pt x="468" y="67"/>
                  </a:lnTo>
                  <a:lnTo>
                    <a:pt x="472" y="65"/>
                  </a:lnTo>
                  <a:lnTo>
                    <a:pt x="473" y="69"/>
                  </a:lnTo>
                  <a:lnTo>
                    <a:pt x="473" y="75"/>
                  </a:lnTo>
                  <a:lnTo>
                    <a:pt x="470" y="79"/>
                  </a:lnTo>
                  <a:lnTo>
                    <a:pt x="466" y="83"/>
                  </a:lnTo>
                  <a:lnTo>
                    <a:pt x="465" y="85"/>
                  </a:lnTo>
                  <a:lnTo>
                    <a:pt x="466" y="87"/>
                  </a:lnTo>
                  <a:lnTo>
                    <a:pt x="470" y="87"/>
                  </a:lnTo>
                  <a:lnTo>
                    <a:pt x="472" y="88"/>
                  </a:lnTo>
                  <a:lnTo>
                    <a:pt x="476" y="90"/>
                  </a:lnTo>
                  <a:lnTo>
                    <a:pt x="479" y="93"/>
                  </a:lnTo>
                  <a:lnTo>
                    <a:pt x="483" y="94"/>
                  </a:lnTo>
                  <a:lnTo>
                    <a:pt x="488" y="90"/>
                  </a:lnTo>
                  <a:lnTo>
                    <a:pt x="495" y="88"/>
                  </a:lnTo>
                  <a:lnTo>
                    <a:pt x="496" y="85"/>
                  </a:lnTo>
                  <a:lnTo>
                    <a:pt x="497" y="83"/>
                  </a:lnTo>
                  <a:lnTo>
                    <a:pt x="499" y="82"/>
                  </a:lnTo>
                  <a:lnTo>
                    <a:pt x="495" y="81"/>
                  </a:lnTo>
                  <a:lnTo>
                    <a:pt x="489" y="76"/>
                  </a:lnTo>
                  <a:lnTo>
                    <a:pt x="487" y="72"/>
                  </a:lnTo>
                  <a:lnTo>
                    <a:pt x="488" y="67"/>
                  </a:lnTo>
                  <a:lnTo>
                    <a:pt x="490" y="66"/>
                  </a:lnTo>
                  <a:lnTo>
                    <a:pt x="499" y="69"/>
                  </a:lnTo>
                  <a:lnTo>
                    <a:pt x="503" y="72"/>
                  </a:lnTo>
                  <a:lnTo>
                    <a:pt x="503" y="76"/>
                  </a:lnTo>
                  <a:lnTo>
                    <a:pt x="505" y="79"/>
                  </a:lnTo>
                  <a:lnTo>
                    <a:pt x="507" y="79"/>
                  </a:lnTo>
                  <a:lnTo>
                    <a:pt x="509" y="76"/>
                  </a:lnTo>
                  <a:lnTo>
                    <a:pt x="512" y="75"/>
                  </a:lnTo>
                  <a:lnTo>
                    <a:pt x="518" y="72"/>
                  </a:lnTo>
                  <a:lnTo>
                    <a:pt x="525" y="69"/>
                  </a:lnTo>
                  <a:lnTo>
                    <a:pt x="529" y="69"/>
                  </a:lnTo>
                  <a:lnTo>
                    <a:pt x="532" y="71"/>
                  </a:lnTo>
                  <a:lnTo>
                    <a:pt x="533" y="76"/>
                  </a:lnTo>
                  <a:lnTo>
                    <a:pt x="535" y="82"/>
                  </a:lnTo>
                  <a:lnTo>
                    <a:pt x="536" y="85"/>
                  </a:lnTo>
                  <a:lnTo>
                    <a:pt x="538" y="87"/>
                  </a:lnTo>
                  <a:lnTo>
                    <a:pt x="541" y="83"/>
                  </a:lnTo>
                  <a:lnTo>
                    <a:pt x="547" y="81"/>
                  </a:lnTo>
                  <a:lnTo>
                    <a:pt x="555" y="82"/>
                  </a:lnTo>
                  <a:lnTo>
                    <a:pt x="555" y="85"/>
                  </a:lnTo>
                  <a:lnTo>
                    <a:pt x="555" y="90"/>
                  </a:lnTo>
                  <a:lnTo>
                    <a:pt x="558" y="91"/>
                  </a:lnTo>
                  <a:lnTo>
                    <a:pt x="560" y="94"/>
                  </a:lnTo>
                  <a:lnTo>
                    <a:pt x="558" y="97"/>
                  </a:lnTo>
                  <a:lnTo>
                    <a:pt x="559" y="100"/>
                  </a:lnTo>
                  <a:lnTo>
                    <a:pt x="558" y="102"/>
                  </a:lnTo>
                  <a:lnTo>
                    <a:pt x="554" y="102"/>
                  </a:lnTo>
                  <a:lnTo>
                    <a:pt x="554" y="106"/>
                  </a:lnTo>
                  <a:lnTo>
                    <a:pt x="554" y="113"/>
                  </a:lnTo>
                  <a:lnTo>
                    <a:pt x="553" y="115"/>
                  </a:lnTo>
                  <a:lnTo>
                    <a:pt x="544" y="115"/>
                  </a:lnTo>
                  <a:lnTo>
                    <a:pt x="542" y="114"/>
                  </a:lnTo>
                  <a:lnTo>
                    <a:pt x="539" y="115"/>
                  </a:lnTo>
                  <a:lnTo>
                    <a:pt x="537" y="118"/>
                  </a:lnTo>
                  <a:lnTo>
                    <a:pt x="535" y="120"/>
                  </a:lnTo>
                  <a:lnTo>
                    <a:pt x="536" y="125"/>
                  </a:lnTo>
                  <a:lnTo>
                    <a:pt x="536" y="124"/>
                  </a:lnTo>
                  <a:lnTo>
                    <a:pt x="539" y="121"/>
                  </a:lnTo>
                  <a:lnTo>
                    <a:pt x="548" y="121"/>
                  </a:lnTo>
                  <a:lnTo>
                    <a:pt x="554" y="121"/>
                  </a:lnTo>
                  <a:lnTo>
                    <a:pt x="555" y="124"/>
                  </a:lnTo>
                  <a:lnTo>
                    <a:pt x="556" y="128"/>
                  </a:lnTo>
                  <a:lnTo>
                    <a:pt x="559" y="126"/>
                  </a:lnTo>
                  <a:lnTo>
                    <a:pt x="561" y="120"/>
                  </a:lnTo>
                  <a:lnTo>
                    <a:pt x="562" y="117"/>
                  </a:lnTo>
                  <a:lnTo>
                    <a:pt x="567" y="115"/>
                  </a:lnTo>
                  <a:lnTo>
                    <a:pt x="572" y="114"/>
                  </a:lnTo>
                  <a:lnTo>
                    <a:pt x="576" y="115"/>
                  </a:lnTo>
                  <a:lnTo>
                    <a:pt x="582" y="119"/>
                  </a:lnTo>
                  <a:lnTo>
                    <a:pt x="588" y="121"/>
                  </a:lnTo>
                  <a:lnTo>
                    <a:pt x="598" y="121"/>
                  </a:lnTo>
                  <a:lnTo>
                    <a:pt x="602" y="121"/>
                  </a:lnTo>
                  <a:lnTo>
                    <a:pt x="603" y="124"/>
                  </a:lnTo>
                  <a:lnTo>
                    <a:pt x="603" y="126"/>
                  </a:lnTo>
                  <a:lnTo>
                    <a:pt x="603" y="129"/>
                  </a:lnTo>
                  <a:lnTo>
                    <a:pt x="606" y="130"/>
                  </a:lnTo>
                  <a:lnTo>
                    <a:pt x="609" y="130"/>
                  </a:lnTo>
                  <a:lnTo>
                    <a:pt x="612" y="129"/>
                  </a:lnTo>
                  <a:lnTo>
                    <a:pt x="614" y="120"/>
                  </a:lnTo>
                  <a:lnTo>
                    <a:pt x="618" y="115"/>
                  </a:lnTo>
                  <a:lnTo>
                    <a:pt x="621" y="113"/>
                  </a:lnTo>
                  <a:lnTo>
                    <a:pt x="626" y="113"/>
                  </a:lnTo>
                  <a:lnTo>
                    <a:pt x="633" y="113"/>
                  </a:lnTo>
                  <a:lnTo>
                    <a:pt x="638" y="109"/>
                  </a:lnTo>
                  <a:lnTo>
                    <a:pt x="641" y="107"/>
                  </a:lnTo>
                  <a:lnTo>
                    <a:pt x="647" y="109"/>
                  </a:lnTo>
                  <a:lnTo>
                    <a:pt x="653" y="109"/>
                  </a:lnTo>
                  <a:lnTo>
                    <a:pt x="656" y="109"/>
                  </a:lnTo>
                  <a:lnTo>
                    <a:pt x="660" y="113"/>
                  </a:lnTo>
                  <a:lnTo>
                    <a:pt x="663" y="113"/>
                  </a:lnTo>
                  <a:lnTo>
                    <a:pt x="667" y="111"/>
                  </a:lnTo>
                  <a:lnTo>
                    <a:pt x="671" y="111"/>
                  </a:lnTo>
                  <a:lnTo>
                    <a:pt x="674" y="114"/>
                  </a:lnTo>
                  <a:lnTo>
                    <a:pt x="680" y="114"/>
                  </a:lnTo>
                  <a:lnTo>
                    <a:pt x="690" y="108"/>
                  </a:lnTo>
                  <a:lnTo>
                    <a:pt x="696" y="105"/>
                  </a:lnTo>
                  <a:lnTo>
                    <a:pt x="702" y="103"/>
                  </a:lnTo>
                  <a:lnTo>
                    <a:pt x="708" y="103"/>
                  </a:lnTo>
                  <a:lnTo>
                    <a:pt x="709" y="107"/>
                  </a:lnTo>
                  <a:lnTo>
                    <a:pt x="707" y="112"/>
                  </a:lnTo>
                  <a:lnTo>
                    <a:pt x="707" y="114"/>
                  </a:lnTo>
                  <a:lnTo>
                    <a:pt x="709" y="117"/>
                  </a:lnTo>
                  <a:lnTo>
                    <a:pt x="715" y="119"/>
                  </a:lnTo>
                  <a:lnTo>
                    <a:pt x="718" y="120"/>
                  </a:lnTo>
                  <a:lnTo>
                    <a:pt x="716" y="124"/>
                  </a:lnTo>
                  <a:lnTo>
                    <a:pt x="716" y="125"/>
                  </a:lnTo>
                  <a:lnTo>
                    <a:pt x="720" y="126"/>
                  </a:lnTo>
                  <a:lnTo>
                    <a:pt x="721" y="124"/>
                  </a:lnTo>
                  <a:lnTo>
                    <a:pt x="724" y="121"/>
                  </a:lnTo>
                  <a:lnTo>
                    <a:pt x="727" y="121"/>
                  </a:lnTo>
                  <a:lnTo>
                    <a:pt x="731" y="129"/>
                  </a:lnTo>
                  <a:lnTo>
                    <a:pt x="733" y="132"/>
                  </a:lnTo>
                  <a:lnTo>
                    <a:pt x="736" y="136"/>
                  </a:lnTo>
                  <a:lnTo>
                    <a:pt x="737" y="140"/>
                  </a:lnTo>
                  <a:lnTo>
                    <a:pt x="741" y="141"/>
                  </a:lnTo>
                  <a:lnTo>
                    <a:pt x="743" y="138"/>
                  </a:lnTo>
                  <a:lnTo>
                    <a:pt x="747" y="137"/>
                  </a:lnTo>
                  <a:lnTo>
                    <a:pt x="754" y="141"/>
                  </a:lnTo>
                  <a:lnTo>
                    <a:pt x="760" y="143"/>
                  </a:lnTo>
                  <a:lnTo>
                    <a:pt x="762" y="137"/>
                  </a:lnTo>
                  <a:lnTo>
                    <a:pt x="765" y="136"/>
                  </a:lnTo>
                  <a:lnTo>
                    <a:pt x="767" y="138"/>
                  </a:lnTo>
                  <a:lnTo>
                    <a:pt x="773" y="143"/>
                  </a:lnTo>
                  <a:lnTo>
                    <a:pt x="777" y="146"/>
                  </a:lnTo>
                  <a:lnTo>
                    <a:pt x="784" y="147"/>
                  </a:lnTo>
                  <a:lnTo>
                    <a:pt x="791" y="148"/>
                  </a:lnTo>
                  <a:lnTo>
                    <a:pt x="797" y="147"/>
                  </a:lnTo>
                  <a:lnTo>
                    <a:pt x="798" y="143"/>
                  </a:lnTo>
                  <a:lnTo>
                    <a:pt x="803" y="143"/>
                  </a:lnTo>
                  <a:lnTo>
                    <a:pt x="810" y="148"/>
                  </a:lnTo>
                  <a:lnTo>
                    <a:pt x="816" y="148"/>
                  </a:lnTo>
                  <a:lnTo>
                    <a:pt x="821" y="147"/>
                  </a:lnTo>
                  <a:lnTo>
                    <a:pt x="826" y="147"/>
                  </a:lnTo>
                  <a:lnTo>
                    <a:pt x="837" y="148"/>
                  </a:lnTo>
                  <a:lnTo>
                    <a:pt x="845" y="149"/>
                  </a:lnTo>
                  <a:lnTo>
                    <a:pt x="850" y="148"/>
                  </a:lnTo>
                  <a:lnTo>
                    <a:pt x="854" y="144"/>
                  </a:lnTo>
                  <a:lnTo>
                    <a:pt x="855" y="144"/>
                  </a:lnTo>
                  <a:lnTo>
                    <a:pt x="855" y="148"/>
                  </a:lnTo>
                  <a:lnTo>
                    <a:pt x="853" y="160"/>
                  </a:lnTo>
                  <a:lnTo>
                    <a:pt x="851" y="165"/>
                  </a:lnTo>
                  <a:lnTo>
                    <a:pt x="854" y="166"/>
                  </a:lnTo>
                  <a:lnTo>
                    <a:pt x="857" y="166"/>
                  </a:lnTo>
                  <a:lnTo>
                    <a:pt x="860" y="168"/>
                  </a:lnTo>
                  <a:lnTo>
                    <a:pt x="865" y="170"/>
                  </a:lnTo>
                  <a:lnTo>
                    <a:pt x="869" y="170"/>
                  </a:lnTo>
                  <a:lnTo>
                    <a:pt x="871" y="170"/>
                  </a:lnTo>
                  <a:lnTo>
                    <a:pt x="871" y="167"/>
                  </a:lnTo>
                  <a:lnTo>
                    <a:pt x="867" y="164"/>
                  </a:lnTo>
                  <a:lnTo>
                    <a:pt x="867" y="162"/>
                  </a:lnTo>
                  <a:lnTo>
                    <a:pt x="871" y="160"/>
                  </a:lnTo>
                  <a:lnTo>
                    <a:pt x="880" y="158"/>
                  </a:lnTo>
                  <a:lnTo>
                    <a:pt x="883" y="156"/>
                  </a:lnTo>
                  <a:lnTo>
                    <a:pt x="885" y="159"/>
                  </a:lnTo>
                  <a:lnTo>
                    <a:pt x="890" y="165"/>
                  </a:lnTo>
                  <a:lnTo>
                    <a:pt x="891" y="162"/>
                  </a:lnTo>
                  <a:lnTo>
                    <a:pt x="891" y="165"/>
                  </a:lnTo>
                  <a:lnTo>
                    <a:pt x="892" y="177"/>
                  </a:lnTo>
                  <a:lnTo>
                    <a:pt x="889" y="183"/>
                  </a:lnTo>
                  <a:lnTo>
                    <a:pt x="890" y="185"/>
                  </a:lnTo>
                  <a:lnTo>
                    <a:pt x="886" y="185"/>
                  </a:lnTo>
                  <a:lnTo>
                    <a:pt x="880" y="185"/>
                  </a:lnTo>
                  <a:lnTo>
                    <a:pt x="879" y="189"/>
                  </a:lnTo>
                  <a:lnTo>
                    <a:pt x="879" y="191"/>
                  </a:lnTo>
                  <a:lnTo>
                    <a:pt x="875" y="191"/>
                  </a:lnTo>
                  <a:lnTo>
                    <a:pt x="866" y="189"/>
                  </a:lnTo>
                  <a:lnTo>
                    <a:pt x="867" y="192"/>
                  </a:lnTo>
                  <a:lnTo>
                    <a:pt x="867" y="197"/>
                  </a:lnTo>
                  <a:lnTo>
                    <a:pt x="862" y="197"/>
                  </a:lnTo>
                  <a:lnTo>
                    <a:pt x="859" y="194"/>
                  </a:lnTo>
                  <a:lnTo>
                    <a:pt x="856" y="194"/>
                  </a:lnTo>
                  <a:lnTo>
                    <a:pt x="851" y="195"/>
                  </a:lnTo>
                  <a:lnTo>
                    <a:pt x="844" y="197"/>
                  </a:lnTo>
                  <a:lnTo>
                    <a:pt x="843" y="197"/>
                  </a:lnTo>
                  <a:lnTo>
                    <a:pt x="843" y="200"/>
                  </a:lnTo>
                  <a:lnTo>
                    <a:pt x="844" y="202"/>
                  </a:lnTo>
                  <a:lnTo>
                    <a:pt x="849" y="201"/>
                  </a:lnTo>
                  <a:lnTo>
                    <a:pt x="855" y="197"/>
                  </a:lnTo>
                  <a:lnTo>
                    <a:pt x="857" y="197"/>
                  </a:lnTo>
                  <a:lnTo>
                    <a:pt x="860" y="198"/>
                  </a:lnTo>
                  <a:lnTo>
                    <a:pt x="868" y="202"/>
                  </a:lnTo>
                  <a:lnTo>
                    <a:pt x="871" y="206"/>
                  </a:lnTo>
                  <a:lnTo>
                    <a:pt x="877" y="207"/>
                  </a:lnTo>
                  <a:lnTo>
                    <a:pt x="879" y="212"/>
                  </a:lnTo>
                  <a:lnTo>
                    <a:pt x="880" y="216"/>
                  </a:lnTo>
                  <a:lnTo>
                    <a:pt x="883" y="219"/>
                  </a:lnTo>
                  <a:lnTo>
                    <a:pt x="889" y="220"/>
                  </a:lnTo>
                  <a:lnTo>
                    <a:pt x="895" y="222"/>
                  </a:lnTo>
                  <a:lnTo>
                    <a:pt x="897" y="226"/>
                  </a:lnTo>
                  <a:lnTo>
                    <a:pt x="902" y="231"/>
                  </a:lnTo>
                  <a:lnTo>
                    <a:pt x="908" y="231"/>
                  </a:lnTo>
                  <a:lnTo>
                    <a:pt x="908" y="236"/>
                  </a:lnTo>
                  <a:lnTo>
                    <a:pt x="901" y="248"/>
                  </a:lnTo>
                  <a:lnTo>
                    <a:pt x="895" y="250"/>
                  </a:lnTo>
                  <a:lnTo>
                    <a:pt x="891" y="250"/>
                  </a:lnTo>
                  <a:lnTo>
                    <a:pt x="890" y="248"/>
                  </a:lnTo>
                  <a:lnTo>
                    <a:pt x="887" y="247"/>
                  </a:lnTo>
                  <a:lnTo>
                    <a:pt x="883" y="247"/>
                  </a:lnTo>
                  <a:lnTo>
                    <a:pt x="880" y="249"/>
                  </a:lnTo>
                  <a:lnTo>
                    <a:pt x="878" y="249"/>
                  </a:lnTo>
                  <a:lnTo>
                    <a:pt x="869" y="248"/>
                  </a:lnTo>
                  <a:lnTo>
                    <a:pt x="873" y="250"/>
                  </a:lnTo>
                  <a:lnTo>
                    <a:pt x="878" y="253"/>
                  </a:lnTo>
                  <a:lnTo>
                    <a:pt x="883" y="256"/>
                  </a:lnTo>
                  <a:lnTo>
                    <a:pt x="884" y="262"/>
                  </a:lnTo>
                  <a:lnTo>
                    <a:pt x="884" y="267"/>
                  </a:lnTo>
                  <a:lnTo>
                    <a:pt x="884" y="271"/>
                  </a:lnTo>
                  <a:lnTo>
                    <a:pt x="881" y="271"/>
                  </a:lnTo>
                  <a:lnTo>
                    <a:pt x="872" y="267"/>
                  </a:lnTo>
                  <a:lnTo>
                    <a:pt x="867" y="265"/>
                  </a:lnTo>
                  <a:lnTo>
                    <a:pt x="862" y="265"/>
                  </a:lnTo>
                  <a:lnTo>
                    <a:pt x="857" y="262"/>
                  </a:lnTo>
                  <a:lnTo>
                    <a:pt x="855" y="261"/>
                  </a:lnTo>
                  <a:lnTo>
                    <a:pt x="855" y="265"/>
                  </a:lnTo>
                  <a:lnTo>
                    <a:pt x="853" y="265"/>
                  </a:lnTo>
                  <a:lnTo>
                    <a:pt x="849" y="261"/>
                  </a:lnTo>
                  <a:lnTo>
                    <a:pt x="843" y="253"/>
                  </a:lnTo>
                  <a:lnTo>
                    <a:pt x="839" y="250"/>
                  </a:lnTo>
                  <a:lnTo>
                    <a:pt x="837" y="248"/>
                  </a:lnTo>
                  <a:lnTo>
                    <a:pt x="833" y="248"/>
                  </a:lnTo>
                  <a:lnTo>
                    <a:pt x="832" y="250"/>
                  </a:lnTo>
                  <a:lnTo>
                    <a:pt x="830" y="251"/>
                  </a:lnTo>
                  <a:lnTo>
                    <a:pt x="822" y="251"/>
                  </a:lnTo>
                  <a:lnTo>
                    <a:pt x="818" y="251"/>
                  </a:lnTo>
                  <a:lnTo>
                    <a:pt x="819" y="257"/>
                  </a:lnTo>
                  <a:lnTo>
                    <a:pt x="822" y="263"/>
                  </a:lnTo>
                  <a:lnTo>
                    <a:pt x="830" y="265"/>
                  </a:lnTo>
                  <a:lnTo>
                    <a:pt x="838" y="271"/>
                  </a:lnTo>
                  <a:lnTo>
                    <a:pt x="838" y="272"/>
                  </a:lnTo>
                  <a:lnTo>
                    <a:pt x="839" y="274"/>
                  </a:lnTo>
                  <a:lnTo>
                    <a:pt x="847" y="281"/>
                  </a:lnTo>
                  <a:lnTo>
                    <a:pt x="848" y="284"/>
                  </a:lnTo>
                  <a:lnTo>
                    <a:pt x="847" y="285"/>
                  </a:lnTo>
                  <a:lnTo>
                    <a:pt x="842" y="286"/>
                  </a:lnTo>
                  <a:lnTo>
                    <a:pt x="830" y="284"/>
                  </a:lnTo>
                  <a:lnTo>
                    <a:pt x="827" y="284"/>
                  </a:lnTo>
                  <a:lnTo>
                    <a:pt x="826" y="284"/>
                  </a:lnTo>
                  <a:lnTo>
                    <a:pt x="824" y="284"/>
                  </a:lnTo>
                  <a:lnTo>
                    <a:pt x="822" y="280"/>
                  </a:lnTo>
                  <a:lnTo>
                    <a:pt x="822" y="273"/>
                  </a:lnTo>
                  <a:lnTo>
                    <a:pt x="815" y="268"/>
                  </a:lnTo>
                  <a:lnTo>
                    <a:pt x="802" y="263"/>
                  </a:lnTo>
                  <a:lnTo>
                    <a:pt x="800" y="263"/>
                  </a:lnTo>
                  <a:lnTo>
                    <a:pt x="802" y="266"/>
                  </a:lnTo>
                  <a:lnTo>
                    <a:pt x="807" y="272"/>
                  </a:lnTo>
                  <a:lnTo>
                    <a:pt x="808" y="277"/>
                  </a:lnTo>
                  <a:lnTo>
                    <a:pt x="809" y="283"/>
                  </a:lnTo>
                  <a:lnTo>
                    <a:pt x="812" y="281"/>
                  </a:lnTo>
                  <a:lnTo>
                    <a:pt x="815" y="285"/>
                  </a:lnTo>
                  <a:lnTo>
                    <a:pt x="824" y="291"/>
                  </a:lnTo>
                  <a:lnTo>
                    <a:pt x="830" y="293"/>
                  </a:lnTo>
                  <a:lnTo>
                    <a:pt x="832" y="293"/>
                  </a:lnTo>
                  <a:lnTo>
                    <a:pt x="837" y="298"/>
                  </a:lnTo>
                  <a:lnTo>
                    <a:pt x="844" y="304"/>
                  </a:lnTo>
                  <a:lnTo>
                    <a:pt x="847" y="308"/>
                  </a:lnTo>
                  <a:lnTo>
                    <a:pt x="848" y="313"/>
                  </a:lnTo>
                  <a:lnTo>
                    <a:pt x="851" y="317"/>
                  </a:lnTo>
                  <a:lnTo>
                    <a:pt x="854" y="323"/>
                  </a:lnTo>
                  <a:lnTo>
                    <a:pt x="859" y="325"/>
                  </a:lnTo>
                  <a:lnTo>
                    <a:pt x="867" y="323"/>
                  </a:lnTo>
                  <a:lnTo>
                    <a:pt x="871" y="325"/>
                  </a:lnTo>
                  <a:lnTo>
                    <a:pt x="872" y="326"/>
                  </a:lnTo>
                  <a:lnTo>
                    <a:pt x="872" y="333"/>
                  </a:lnTo>
                  <a:lnTo>
                    <a:pt x="873" y="335"/>
                  </a:lnTo>
                  <a:lnTo>
                    <a:pt x="875" y="337"/>
                  </a:lnTo>
                  <a:lnTo>
                    <a:pt x="880" y="334"/>
                  </a:lnTo>
                  <a:lnTo>
                    <a:pt x="881" y="333"/>
                  </a:lnTo>
                  <a:lnTo>
                    <a:pt x="884" y="334"/>
                  </a:lnTo>
                  <a:lnTo>
                    <a:pt x="887" y="341"/>
                  </a:lnTo>
                  <a:lnTo>
                    <a:pt x="890" y="341"/>
                  </a:lnTo>
                  <a:lnTo>
                    <a:pt x="891" y="346"/>
                  </a:lnTo>
                  <a:lnTo>
                    <a:pt x="890" y="355"/>
                  </a:lnTo>
                  <a:lnTo>
                    <a:pt x="891" y="357"/>
                  </a:lnTo>
                  <a:lnTo>
                    <a:pt x="893" y="357"/>
                  </a:lnTo>
                  <a:lnTo>
                    <a:pt x="898" y="357"/>
                  </a:lnTo>
                  <a:lnTo>
                    <a:pt x="902" y="355"/>
                  </a:lnTo>
                  <a:lnTo>
                    <a:pt x="904" y="351"/>
                  </a:lnTo>
                  <a:lnTo>
                    <a:pt x="907" y="350"/>
                  </a:lnTo>
                  <a:lnTo>
                    <a:pt x="913" y="350"/>
                  </a:lnTo>
                  <a:lnTo>
                    <a:pt x="918" y="349"/>
                  </a:lnTo>
                  <a:lnTo>
                    <a:pt x="919" y="346"/>
                  </a:lnTo>
                  <a:lnTo>
                    <a:pt x="919" y="345"/>
                  </a:lnTo>
                  <a:lnTo>
                    <a:pt x="924" y="344"/>
                  </a:lnTo>
                  <a:lnTo>
                    <a:pt x="933" y="344"/>
                  </a:lnTo>
                  <a:lnTo>
                    <a:pt x="936" y="345"/>
                  </a:lnTo>
                  <a:lnTo>
                    <a:pt x="937" y="348"/>
                  </a:lnTo>
                  <a:lnTo>
                    <a:pt x="936" y="354"/>
                  </a:lnTo>
                  <a:lnTo>
                    <a:pt x="934" y="358"/>
                  </a:lnTo>
                  <a:lnTo>
                    <a:pt x="937" y="360"/>
                  </a:lnTo>
                  <a:lnTo>
                    <a:pt x="940" y="360"/>
                  </a:lnTo>
                  <a:lnTo>
                    <a:pt x="944" y="357"/>
                  </a:lnTo>
                  <a:lnTo>
                    <a:pt x="951" y="357"/>
                  </a:lnTo>
                  <a:lnTo>
                    <a:pt x="952" y="358"/>
                  </a:lnTo>
                  <a:lnTo>
                    <a:pt x="955" y="356"/>
                  </a:lnTo>
                  <a:lnTo>
                    <a:pt x="960" y="352"/>
                  </a:lnTo>
                  <a:lnTo>
                    <a:pt x="962" y="352"/>
                  </a:lnTo>
                  <a:lnTo>
                    <a:pt x="963" y="354"/>
                  </a:lnTo>
                  <a:lnTo>
                    <a:pt x="962" y="361"/>
                  </a:lnTo>
                  <a:lnTo>
                    <a:pt x="962" y="368"/>
                  </a:lnTo>
                  <a:lnTo>
                    <a:pt x="962" y="370"/>
                  </a:lnTo>
                  <a:lnTo>
                    <a:pt x="966" y="374"/>
                  </a:lnTo>
                  <a:lnTo>
                    <a:pt x="974" y="372"/>
                  </a:lnTo>
                  <a:lnTo>
                    <a:pt x="979" y="367"/>
                  </a:lnTo>
                  <a:lnTo>
                    <a:pt x="981" y="366"/>
                  </a:lnTo>
                  <a:lnTo>
                    <a:pt x="984" y="366"/>
                  </a:lnTo>
                  <a:lnTo>
                    <a:pt x="985" y="370"/>
                  </a:lnTo>
                  <a:lnTo>
                    <a:pt x="987" y="374"/>
                  </a:lnTo>
                  <a:lnTo>
                    <a:pt x="993" y="380"/>
                  </a:lnTo>
                  <a:lnTo>
                    <a:pt x="997" y="386"/>
                  </a:lnTo>
                  <a:lnTo>
                    <a:pt x="996" y="388"/>
                  </a:lnTo>
                  <a:lnTo>
                    <a:pt x="992" y="391"/>
                  </a:lnTo>
                  <a:lnTo>
                    <a:pt x="981" y="392"/>
                  </a:lnTo>
                  <a:lnTo>
                    <a:pt x="978" y="391"/>
                  </a:lnTo>
                  <a:lnTo>
                    <a:pt x="975" y="393"/>
                  </a:lnTo>
                  <a:lnTo>
                    <a:pt x="973" y="397"/>
                  </a:lnTo>
                  <a:lnTo>
                    <a:pt x="968" y="400"/>
                  </a:lnTo>
                  <a:lnTo>
                    <a:pt x="967" y="400"/>
                  </a:lnTo>
                  <a:lnTo>
                    <a:pt x="962" y="404"/>
                  </a:lnTo>
                  <a:lnTo>
                    <a:pt x="956" y="409"/>
                  </a:lnTo>
                  <a:lnTo>
                    <a:pt x="950" y="410"/>
                  </a:lnTo>
                  <a:lnTo>
                    <a:pt x="945" y="411"/>
                  </a:lnTo>
                  <a:lnTo>
                    <a:pt x="944" y="414"/>
                  </a:lnTo>
                  <a:lnTo>
                    <a:pt x="942" y="420"/>
                  </a:lnTo>
                  <a:lnTo>
                    <a:pt x="943" y="424"/>
                  </a:lnTo>
                  <a:lnTo>
                    <a:pt x="948" y="429"/>
                  </a:lnTo>
                  <a:lnTo>
                    <a:pt x="945" y="432"/>
                  </a:lnTo>
                  <a:lnTo>
                    <a:pt x="933" y="432"/>
                  </a:lnTo>
                  <a:lnTo>
                    <a:pt x="928" y="432"/>
                  </a:lnTo>
                  <a:lnTo>
                    <a:pt x="926" y="435"/>
                  </a:lnTo>
                  <a:lnTo>
                    <a:pt x="926" y="441"/>
                  </a:lnTo>
                  <a:lnTo>
                    <a:pt x="928" y="442"/>
                  </a:lnTo>
                  <a:lnTo>
                    <a:pt x="943" y="442"/>
                  </a:lnTo>
                  <a:lnTo>
                    <a:pt x="943" y="440"/>
                  </a:lnTo>
                  <a:lnTo>
                    <a:pt x="945" y="440"/>
                  </a:lnTo>
                  <a:lnTo>
                    <a:pt x="951" y="442"/>
                  </a:lnTo>
                  <a:lnTo>
                    <a:pt x="962" y="447"/>
                  </a:lnTo>
                  <a:lnTo>
                    <a:pt x="967" y="446"/>
                  </a:lnTo>
                  <a:lnTo>
                    <a:pt x="967" y="442"/>
                  </a:lnTo>
                  <a:lnTo>
                    <a:pt x="968" y="441"/>
                  </a:lnTo>
                  <a:lnTo>
                    <a:pt x="973" y="442"/>
                  </a:lnTo>
                  <a:lnTo>
                    <a:pt x="981" y="446"/>
                  </a:lnTo>
                  <a:lnTo>
                    <a:pt x="985" y="445"/>
                  </a:lnTo>
                  <a:lnTo>
                    <a:pt x="992" y="439"/>
                  </a:lnTo>
                  <a:lnTo>
                    <a:pt x="996" y="433"/>
                  </a:lnTo>
                  <a:lnTo>
                    <a:pt x="999" y="434"/>
                  </a:lnTo>
                  <a:lnTo>
                    <a:pt x="1005" y="440"/>
                  </a:lnTo>
                  <a:lnTo>
                    <a:pt x="1005" y="441"/>
                  </a:lnTo>
                  <a:lnTo>
                    <a:pt x="1003" y="444"/>
                  </a:lnTo>
                  <a:lnTo>
                    <a:pt x="996" y="447"/>
                  </a:lnTo>
                  <a:lnTo>
                    <a:pt x="995" y="448"/>
                  </a:lnTo>
                  <a:lnTo>
                    <a:pt x="997" y="450"/>
                  </a:lnTo>
                  <a:lnTo>
                    <a:pt x="1010" y="455"/>
                  </a:lnTo>
                  <a:lnTo>
                    <a:pt x="1014" y="456"/>
                  </a:lnTo>
                  <a:lnTo>
                    <a:pt x="1016" y="458"/>
                  </a:lnTo>
                  <a:lnTo>
                    <a:pt x="1019" y="461"/>
                  </a:lnTo>
                  <a:lnTo>
                    <a:pt x="1022" y="462"/>
                  </a:lnTo>
                  <a:lnTo>
                    <a:pt x="1023" y="461"/>
                  </a:lnTo>
                  <a:lnTo>
                    <a:pt x="1023" y="459"/>
                  </a:lnTo>
                  <a:lnTo>
                    <a:pt x="1026" y="462"/>
                  </a:lnTo>
                  <a:lnTo>
                    <a:pt x="1030" y="465"/>
                  </a:lnTo>
                  <a:lnTo>
                    <a:pt x="1031" y="469"/>
                  </a:lnTo>
                  <a:lnTo>
                    <a:pt x="1033" y="470"/>
                  </a:lnTo>
                  <a:lnTo>
                    <a:pt x="1036" y="469"/>
                  </a:lnTo>
                  <a:lnTo>
                    <a:pt x="1043" y="464"/>
                  </a:lnTo>
                  <a:lnTo>
                    <a:pt x="1042" y="462"/>
                  </a:lnTo>
                  <a:lnTo>
                    <a:pt x="1042" y="458"/>
                  </a:lnTo>
                  <a:lnTo>
                    <a:pt x="1043" y="452"/>
                  </a:lnTo>
                  <a:lnTo>
                    <a:pt x="1043" y="450"/>
                  </a:lnTo>
                  <a:lnTo>
                    <a:pt x="1042" y="448"/>
                  </a:lnTo>
                  <a:lnTo>
                    <a:pt x="1046" y="447"/>
                  </a:lnTo>
                  <a:lnTo>
                    <a:pt x="1054" y="446"/>
                  </a:lnTo>
                  <a:lnTo>
                    <a:pt x="1055" y="448"/>
                  </a:lnTo>
                  <a:lnTo>
                    <a:pt x="1055" y="453"/>
                  </a:lnTo>
                  <a:lnTo>
                    <a:pt x="1058" y="455"/>
                  </a:lnTo>
                  <a:lnTo>
                    <a:pt x="1063" y="453"/>
                  </a:lnTo>
                  <a:lnTo>
                    <a:pt x="1067" y="455"/>
                  </a:lnTo>
                  <a:lnTo>
                    <a:pt x="1072" y="459"/>
                  </a:lnTo>
                  <a:lnTo>
                    <a:pt x="1076" y="465"/>
                  </a:lnTo>
                  <a:lnTo>
                    <a:pt x="1079" y="473"/>
                  </a:lnTo>
                  <a:lnTo>
                    <a:pt x="1074" y="475"/>
                  </a:lnTo>
                  <a:lnTo>
                    <a:pt x="1069" y="477"/>
                  </a:lnTo>
                  <a:lnTo>
                    <a:pt x="1061" y="479"/>
                  </a:lnTo>
                  <a:lnTo>
                    <a:pt x="1061" y="482"/>
                  </a:lnTo>
                  <a:lnTo>
                    <a:pt x="1062" y="481"/>
                  </a:lnTo>
                  <a:lnTo>
                    <a:pt x="1066" y="483"/>
                  </a:lnTo>
                  <a:lnTo>
                    <a:pt x="1076" y="492"/>
                  </a:lnTo>
                  <a:lnTo>
                    <a:pt x="1079" y="492"/>
                  </a:lnTo>
                  <a:lnTo>
                    <a:pt x="1079" y="493"/>
                  </a:lnTo>
                  <a:lnTo>
                    <a:pt x="1076" y="497"/>
                  </a:lnTo>
                  <a:lnTo>
                    <a:pt x="1069" y="501"/>
                  </a:lnTo>
                  <a:lnTo>
                    <a:pt x="1070" y="506"/>
                  </a:lnTo>
                  <a:lnTo>
                    <a:pt x="1074" y="516"/>
                  </a:lnTo>
                  <a:lnTo>
                    <a:pt x="1076" y="519"/>
                  </a:lnTo>
                  <a:lnTo>
                    <a:pt x="1075" y="521"/>
                  </a:lnTo>
                  <a:lnTo>
                    <a:pt x="1070" y="521"/>
                  </a:lnTo>
                  <a:lnTo>
                    <a:pt x="1068" y="521"/>
                  </a:lnTo>
                  <a:lnTo>
                    <a:pt x="1066" y="518"/>
                  </a:lnTo>
                  <a:lnTo>
                    <a:pt x="1064" y="513"/>
                  </a:lnTo>
                  <a:lnTo>
                    <a:pt x="1061" y="512"/>
                  </a:lnTo>
                  <a:lnTo>
                    <a:pt x="1056" y="512"/>
                  </a:lnTo>
                  <a:lnTo>
                    <a:pt x="1054" y="511"/>
                  </a:lnTo>
                  <a:lnTo>
                    <a:pt x="1054" y="509"/>
                  </a:lnTo>
                  <a:lnTo>
                    <a:pt x="1056" y="509"/>
                  </a:lnTo>
                  <a:lnTo>
                    <a:pt x="1050" y="507"/>
                  </a:lnTo>
                  <a:lnTo>
                    <a:pt x="1038" y="507"/>
                  </a:lnTo>
                  <a:lnTo>
                    <a:pt x="1033" y="509"/>
                  </a:lnTo>
                  <a:lnTo>
                    <a:pt x="1028" y="512"/>
                  </a:lnTo>
                  <a:lnTo>
                    <a:pt x="1030" y="513"/>
                  </a:lnTo>
                  <a:lnTo>
                    <a:pt x="1028" y="518"/>
                  </a:lnTo>
                  <a:lnTo>
                    <a:pt x="1023" y="521"/>
                  </a:lnTo>
                  <a:lnTo>
                    <a:pt x="1025" y="522"/>
                  </a:lnTo>
                  <a:lnTo>
                    <a:pt x="1027" y="523"/>
                  </a:lnTo>
                  <a:lnTo>
                    <a:pt x="1032" y="525"/>
                  </a:lnTo>
                  <a:lnTo>
                    <a:pt x="1036" y="530"/>
                  </a:lnTo>
                  <a:lnTo>
                    <a:pt x="1037" y="530"/>
                  </a:lnTo>
                  <a:lnTo>
                    <a:pt x="1038" y="528"/>
                  </a:lnTo>
                  <a:lnTo>
                    <a:pt x="1042" y="521"/>
                  </a:lnTo>
                  <a:lnTo>
                    <a:pt x="1045" y="517"/>
                  </a:lnTo>
                  <a:lnTo>
                    <a:pt x="1050" y="518"/>
                  </a:lnTo>
                  <a:lnTo>
                    <a:pt x="1058" y="522"/>
                  </a:lnTo>
                  <a:lnTo>
                    <a:pt x="1064" y="524"/>
                  </a:lnTo>
                  <a:lnTo>
                    <a:pt x="1069" y="525"/>
                  </a:lnTo>
                  <a:lnTo>
                    <a:pt x="1078" y="524"/>
                  </a:lnTo>
                  <a:lnTo>
                    <a:pt x="1082" y="523"/>
                  </a:lnTo>
                  <a:lnTo>
                    <a:pt x="1084" y="524"/>
                  </a:lnTo>
                  <a:lnTo>
                    <a:pt x="1085" y="525"/>
                  </a:lnTo>
                  <a:lnTo>
                    <a:pt x="1086" y="531"/>
                  </a:lnTo>
                  <a:lnTo>
                    <a:pt x="1084" y="537"/>
                  </a:lnTo>
                  <a:lnTo>
                    <a:pt x="1079" y="543"/>
                  </a:lnTo>
                  <a:lnTo>
                    <a:pt x="1076" y="546"/>
                  </a:lnTo>
                  <a:lnTo>
                    <a:pt x="1074" y="546"/>
                  </a:lnTo>
                  <a:lnTo>
                    <a:pt x="1070" y="542"/>
                  </a:lnTo>
                  <a:lnTo>
                    <a:pt x="1069" y="541"/>
                  </a:lnTo>
                  <a:lnTo>
                    <a:pt x="1067" y="542"/>
                  </a:lnTo>
                  <a:lnTo>
                    <a:pt x="1063" y="548"/>
                  </a:lnTo>
                  <a:lnTo>
                    <a:pt x="1061" y="549"/>
                  </a:lnTo>
                  <a:lnTo>
                    <a:pt x="1057" y="549"/>
                  </a:lnTo>
                  <a:lnTo>
                    <a:pt x="1056" y="551"/>
                  </a:lnTo>
                  <a:lnTo>
                    <a:pt x="1057" y="553"/>
                  </a:lnTo>
                  <a:lnTo>
                    <a:pt x="1064" y="557"/>
                  </a:lnTo>
                  <a:lnTo>
                    <a:pt x="1069" y="560"/>
                  </a:lnTo>
                  <a:lnTo>
                    <a:pt x="1076" y="569"/>
                  </a:lnTo>
                  <a:lnTo>
                    <a:pt x="1080" y="574"/>
                  </a:lnTo>
                  <a:lnTo>
                    <a:pt x="1080" y="578"/>
                  </a:lnTo>
                  <a:lnTo>
                    <a:pt x="1072" y="588"/>
                  </a:lnTo>
                  <a:lnTo>
                    <a:pt x="1072" y="590"/>
                  </a:lnTo>
                  <a:lnTo>
                    <a:pt x="1070" y="592"/>
                  </a:lnTo>
                  <a:lnTo>
                    <a:pt x="1066" y="598"/>
                  </a:lnTo>
                  <a:lnTo>
                    <a:pt x="1061" y="598"/>
                  </a:lnTo>
                  <a:lnTo>
                    <a:pt x="1054" y="598"/>
                  </a:lnTo>
                  <a:lnTo>
                    <a:pt x="1050" y="596"/>
                  </a:lnTo>
                  <a:lnTo>
                    <a:pt x="1046" y="596"/>
                  </a:lnTo>
                  <a:lnTo>
                    <a:pt x="1042" y="596"/>
                  </a:lnTo>
                  <a:lnTo>
                    <a:pt x="1042" y="598"/>
                  </a:lnTo>
                  <a:lnTo>
                    <a:pt x="1044" y="600"/>
                  </a:lnTo>
                  <a:lnTo>
                    <a:pt x="1049" y="602"/>
                  </a:lnTo>
                  <a:lnTo>
                    <a:pt x="1050" y="605"/>
                  </a:lnTo>
                  <a:lnTo>
                    <a:pt x="1046" y="612"/>
                  </a:lnTo>
                  <a:lnTo>
                    <a:pt x="1046" y="614"/>
                  </a:lnTo>
                  <a:lnTo>
                    <a:pt x="1048" y="617"/>
                  </a:lnTo>
                  <a:lnTo>
                    <a:pt x="1052" y="618"/>
                  </a:lnTo>
                  <a:lnTo>
                    <a:pt x="1058" y="618"/>
                  </a:lnTo>
                  <a:lnTo>
                    <a:pt x="1064" y="619"/>
                  </a:lnTo>
                  <a:lnTo>
                    <a:pt x="1067" y="620"/>
                  </a:lnTo>
                  <a:lnTo>
                    <a:pt x="1070" y="620"/>
                  </a:lnTo>
                  <a:lnTo>
                    <a:pt x="1075" y="618"/>
                  </a:lnTo>
                  <a:lnTo>
                    <a:pt x="1078" y="619"/>
                  </a:lnTo>
                  <a:lnTo>
                    <a:pt x="1078" y="624"/>
                  </a:lnTo>
                  <a:lnTo>
                    <a:pt x="1074" y="630"/>
                  </a:lnTo>
                  <a:lnTo>
                    <a:pt x="1067" y="637"/>
                  </a:lnTo>
                  <a:lnTo>
                    <a:pt x="1049" y="643"/>
                  </a:lnTo>
                  <a:lnTo>
                    <a:pt x="1044" y="650"/>
                  </a:lnTo>
                  <a:lnTo>
                    <a:pt x="1043" y="650"/>
                  </a:lnTo>
                  <a:lnTo>
                    <a:pt x="1038" y="649"/>
                  </a:lnTo>
                  <a:lnTo>
                    <a:pt x="1036" y="647"/>
                  </a:lnTo>
                  <a:lnTo>
                    <a:pt x="1033" y="642"/>
                  </a:lnTo>
                  <a:lnTo>
                    <a:pt x="1031" y="650"/>
                  </a:lnTo>
                  <a:lnTo>
                    <a:pt x="1031" y="652"/>
                  </a:lnTo>
                  <a:lnTo>
                    <a:pt x="1027" y="650"/>
                  </a:lnTo>
                  <a:lnTo>
                    <a:pt x="1021" y="649"/>
                  </a:lnTo>
                  <a:lnTo>
                    <a:pt x="1015" y="644"/>
                  </a:lnTo>
                  <a:lnTo>
                    <a:pt x="1013" y="640"/>
                  </a:lnTo>
                  <a:lnTo>
                    <a:pt x="1010" y="634"/>
                  </a:lnTo>
                  <a:lnTo>
                    <a:pt x="1004" y="630"/>
                  </a:lnTo>
                  <a:lnTo>
                    <a:pt x="1002" y="626"/>
                  </a:lnTo>
                  <a:lnTo>
                    <a:pt x="998" y="625"/>
                  </a:lnTo>
                  <a:lnTo>
                    <a:pt x="990" y="628"/>
                  </a:lnTo>
                  <a:lnTo>
                    <a:pt x="979" y="628"/>
                  </a:lnTo>
                  <a:lnTo>
                    <a:pt x="974" y="626"/>
                  </a:lnTo>
                  <a:lnTo>
                    <a:pt x="973" y="629"/>
                  </a:lnTo>
                  <a:lnTo>
                    <a:pt x="974" y="636"/>
                  </a:lnTo>
                  <a:lnTo>
                    <a:pt x="973" y="638"/>
                  </a:lnTo>
                  <a:lnTo>
                    <a:pt x="971" y="640"/>
                  </a:lnTo>
                  <a:lnTo>
                    <a:pt x="964" y="641"/>
                  </a:lnTo>
                  <a:lnTo>
                    <a:pt x="961" y="640"/>
                  </a:lnTo>
                  <a:lnTo>
                    <a:pt x="957" y="634"/>
                  </a:lnTo>
                  <a:lnTo>
                    <a:pt x="952" y="630"/>
                  </a:lnTo>
                  <a:lnTo>
                    <a:pt x="948" y="630"/>
                  </a:lnTo>
                  <a:lnTo>
                    <a:pt x="944" y="632"/>
                  </a:lnTo>
                  <a:lnTo>
                    <a:pt x="937" y="636"/>
                  </a:lnTo>
                  <a:lnTo>
                    <a:pt x="921" y="647"/>
                  </a:lnTo>
                  <a:lnTo>
                    <a:pt x="918" y="650"/>
                  </a:lnTo>
                  <a:lnTo>
                    <a:pt x="925" y="656"/>
                  </a:lnTo>
                  <a:lnTo>
                    <a:pt x="932" y="660"/>
                  </a:lnTo>
                  <a:lnTo>
                    <a:pt x="936" y="662"/>
                  </a:lnTo>
                  <a:lnTo>
                    <a:pt x="938" y="667"/>
                  </a:lnTo>
                  <a:lnTo>
                    <a:pt x="948" y="671"/>
                  </a:lnTo>
                  <a:lnTo>
                    <a:pt x="963" y="677"/>
                  </a:lnTo>
                  <a:lnTo>
                    <a:pt x="948" y="676"/>
                  </a:lnTo>
                  <a:lnTo>
                    <a:pt x="940" y="673"/>
                  </a:lnTo>
                  <a:lnTo>
                    <a:pt x="937" y="672"/>
                  </a:lnTo>
                  <a:lnTo>
                    <a:pt x="942" y="681"/>
                  </a:lnTo>
                  <a:lnTo>
                    <a:pt x="931" y="672"/>
                  </a:lnTo>
                  <a:lnTo>
                    <a:pt x="931" y="667"/>
                  </a:lnTo>
                  <a:lnTo>
                    <a:pt x="930" y="665"/>
                  </a:lnTo>
                  <a:lnTo>
                    <a:pt x="926" y="664"/>
                  </a:lnTo>
                  <a:lnTo>
                    <a:pt x="915" y="658"/>
                  </a:lnTo>
                  <a:lnTo>
                    <a:pt x="903" y="650"/>
                  </a:lnTo>
                  <a:lnTo>
                    <a:pt x="887" y="640"/>
                  </a:lnTo>
                  <a:lnTo>
                    <a:pt x="890" y="641"/>
                  </a:lnTo>
                  <a:lnTo>
                    <a:pt x="890" y="643"/>
                  </a:lnTo>
                  <a:lnTo>
                    <a:pt x="886" y="646"/>
                  </a:lnTo>
                  <a:lnTo>
                    <a:pt x="883" y="647"/>
                  </a:lnTo>
                  <a:lnTo>
                    <a:pt x="881" y="649"/>
                  </a:lnTo>
                  <a:lnTo>
                    <a:pt x="879" y="650"/>
                  </a:lnTo>
                  <a:lnTo>
                    <a:pt x="878" y="654"/>
                  </a:lnTo>
                  <a:lnTo>
                    <a:pt x="879" y="660"/>
                  </a:lnTo>
                  <a:lnTo>
                    <a:pt x="884" y="666"/>
                  </a:lnTo>
                  <a:lnTo>
                    <a:pt x="889" y="672"/>
                  </a:lnTo>
                  <a:lnTo>
                    <a:pt x="891" y="676"/>
                  </a:lnTo>
                  <a:lnTo>
                    <a:pt x="893" y="682"/>
                  </a:lnTo>
                  <a:lnTo>
                    <a:pt x="896" y="683"/>
                  </a:lnTo>
                  <a:lnTo>
                    <a:pt x="898" y="683"/>
                  </a:lnTo>
                  <a:lnTo>
                    <a:pt x="902" y="685"/>
                  </a:lnTo>
                  <a:lnTo>
                    <a:pt x="905" y="688"/>
                  </a:lnTo>
                  <a:lnTo>
                    <a:pt x="908" y="683"/>
                  </a:lnTo>
                  <a:lnTo>
                    <a:pt x="909" y="682"/>
                  </a:lnTo>
                  <a:lnTo>
                    <a:pt x="910" y="683"/>
                  </a:lnTo>
                  <a:lnTo>
                    <a:pt x="913" y="693"/>
                  </a:lnTo>
                  <a:lnTo>
                    <a:pt x="915" y="695"/>
                  </a:lnTo>
                  <a:lnTo>
                    <a:pt x="918" y="695"/>
                  </a:lnTo>
                  <a:lnTo>
                    <a:pt x="919" y="697"/>
                  </a:lnTo>
                  <a:lnTo>
                    <a:pt x="916" y="702"/>
                  </a:lnTo>
                  <a:lnTo>
                    <a:pt x="918" y="703"/>
                  </a:lnTo>
                  <a:lnTo>
                    <a:pt x="922" y="701"/>
                  </a:lnTo>
                  <a:lnTo>
                    <a:pt x="926" y="700"/>
                  </a:lnTo>
                  <a:lnTo>
                    <a:pt x="927" y="702"/>
                  </a:lnTo>
                  <a:lnTo>
                    <a:pt x="931" y="706"/>
                  </a:lnTo>
                  <a:lnTo>
                    <a:pt x="933" y="707"/>
                  </a:lnTo>
                  <a:lnTo>
                    <a:pt x="933" y="703"/>
                  </a:lnTo>
                  <a:lnTo>
                    <a:pt x="938" y="705"/>
                  </a:lnTo>
                  <a:lnTo>
                    <a:pt x="943" y="707"/>
                  </a:lnTo>
                  <a:lnTo>
                    <a:pt x="944" y="709"/>
                  </a:lnTo>
                  <a:lnTo>
                    <a:pt x="943" y="715"/>
                  </a:lnTo>
                  <a:lnTo>
                    <a:pt x="944" y="717"/>
                  </a:lnTo>
                  <a:lnTo>
                    <a:pt x="946" y="717"/>
                  </a:lnTo>
                  <a:lnTo>
                    <a:pt x="951" y="714"/>
                  </a:lnTo>
                  <a:lnTo>
                    <a:pt x="952" y="713"/>
                  </a:lnTo>
                  <a:lnTo>
                    <a:pt x="954" y="715"/>
                  </a:lnTo>
                  <a:lnTo>
                    <a:pt x="954" y="724"/>
                  </a:lnTo>
                  <a:lnTo>
                    <a:pt x="955" y="733"/>
                  </a:lnTo>
                  <a:lnTo>
                    <a:pt x="949" y="733"/>
                  </a:lnTo>
                  <a:lnTo>
                    <a:pt x="957" y="742"/>
                  </a:lnTo>
                  <a:lnTo>
                    <a:pt x="952" y="745"/>
                  </a:lnTo>
                  <a:lnTo>
                    <a:pt x="949" y="747"/>
                  </a:lnTo>
                  <a:lnTo>
                    <a:pt x="950" y="748"/>
                  </a:lnTo>
                  <a:lnTo>
                    <a:pt x="946" y="750"/>
                  </a:lnTo>
                  <a:lnTo>
                    <a:pt x="939" y="751"/>
                  </a:lnTo>
                  <a:lnTo>
                    <a:pt x="937" y="751"/>
                  </a:lnTo>
                  <a:lnTo>
                    <a:pt x="934" y="756"/>
                  </a:lnTo>
                  <a:lnTo>
                    <a:pt x="931" y="757"/>
                  </a:lnTo>
                  <a:lnTo>
                    <a:pt x="928" y="759"/>
                  </a:lnTo>
                  <a:lnTo>
                    <a:pt x="928" y="761"/>
                  </a:lnTo>
                  <a:lnTo>
                    <a:pt x="930" y="762"/>
                  </a:lnTo>
                  <a:lnTo>
                    <a:pt x="932" y="767"/>
                  </a:lnTo>
                  <a:lnTo>
                    <a:pt x="932" y="772"/>
                  </a:lnTo>
                  <a:lnTo>
                    <a:pt x="927" y="774"/>
                  </a:lnTo>
                  <a:lnTo>
                    <a:pt x="925" y="774"/>
                  </a:lnTo>
                  <a:lnTo>
                    <a:pt x="924" y="772"/>
                  </a:lnTo>
                  <a:lnTo>
                    <a:pt x="922" y="771"/>
                  </a:lnTo>
                  <a:lnTo>
                    <a:pt x="920" y="771"/>
                  </a:lnTo>
                  <a:lnTo>
                    <a:pt x="918" y="772"/>
                  </a:lnTo>
                  <a:lnTo>
                    <a:pt x="914" y="771"/>
                  </a:lnTo>
                  <a:lnTo>
                    <a:pt x="912" y="769"/>
                  </a:lnTo>
                  <a:lnTo>
                    <a:pt x="912" y="771"/>
                  </a:lnTo>
                  <a:lnTo>
                    <a:pt x="912" y="777"/>
                  </a:lnTo>
                  <a:lnTo>
                    <a:pt x="909" y="782"/>
                  </a:lnTo>
                  <a:lnTo>
                    <a:pt x="902" y="782"/>
                  </a:lnTo>
                  <a:lnTo>
                    <a:pt x="898" y="779"/>
                  </a:lnTo>
                  <a:lnTo>
                    <a:pt x="893" y="778"/>
                  </a:lnTo>
                  <a:lnTo>
                    <a:pt x="891" y="777"/>
                  </a:lnTo>
                  <a:lnTo>
                    <a:pt x="893" y="777"/>
                  </a:lnTo>
                  <a:lnTo>
                    <a:pt x="891" y="774"/>
                  </a:lnTo>
                  <a:lnTo>
                    <a:pt x="884" y="768"/>
                  </a:lnTo>
                  <a:lnTo>
                    <a:pt x="883" y="768"/>
                  </a:lnTo>
                  <a:lnTo>
                    <a:pt x="883" y="765"/>
                  </a:lnTo>
                  <a:lnTo>
                    <a:pt x="887" y="761"/>
                  </a:lnTo>
                  <a:lnTo>
                    <a:pt x="887" y="759"/>
                  </a:lnTo>
                  <a:lnTo>
                    <a:pt x="886" y="755"/>
                  </a:lnTo>
                  <a:lnTo>
                    <a:pt x="884" y="750"/>
                  </a:lnTo>
                  <a:lnTo>
                    <a:pt x="883" y="745"/>
                  </a:lnTo>
                  <a:lnTo>
                    <a:pt x="881" y="744"/>
                  </a:lnTo>
                  <a:lnTo>
                    <a:pt x="879" y="745"/>
                  </a:lnTo>
                  <a:lnTo>
                    <a:pt x="875" y="751"/>
                  </a:lnTo>
                  <a:lnTo>
                    <a:pt x="874" y="755"/>
                  </a:lnTo>
                  <a:lnTo>
                    <a:pt x="872" y="757"/>
                  </a:lnTo>
                  <a:lnTo>
                    <a:pt x="868" y="757"/>
                  </a:lnTo>
                  <a:lnTo>
                    <a:pt x="862" y="760"/>
                  </a:lnTo>
                  <a:lnTo>
                    <a:pt x="862" y="759"/>
                  </a:lnTo>
                  <a:lnTo>
                    <a:pt x="861" y="757"/>
                  </a:lnTo>
                  <a:lnTo>
                    <a:pt x="860" y="756"/>
                  </a:lnTo>
                  <a:lnTo>
                    <a:pt x="856" y="757"/>
                  </a:lnTo>
                  <a:lnTo>
                    <a:pt x="849" y="762"/>
                  </a:lnTo>
                  <a:lnTo>
                    <a:pt x="849" y="763"/>
                  </a:lnTo>
                  <a:lnTo>
                    <a:pt x="845" y="762"/>
                  </a:lnTo>
                  <a:lnTo>
                    <a:pt x="842" y="762"/>
                  </a:lnTo>
                  <a:lnTo>
                    <a:pt x="840" y="761"/>
                  </a:lnTo>
                  <a:lnTo>
                    <a:pt x="839" y="754"/>
                  </a:lnTo>
                  <a:lnTo>
                    <a:pt x="838" y="751"/>
                  </a:lnTo>
                  <a:lnTo>
                    <a:pt x="836" y="753"/>
                  </a:lnTo>
                  <a:lnTo>
                    <a:pt x="831" y="756"/>
                  </a:lnTo>
                  <a:lnTo>
                    <a:pt x="826" y="756"/>
                  </a:lnTo>
                  <a:lnTo>
                    <a:pt x="824" y="754"/>
                  </a:lnTo>
                  <a:lnTo>
                    <a:pt x="819" y="754"/>
                  </a:lnTo>
                  <a:lnTo>
                    <a:pt x="803" y="759"/>
                  </a:lnTo>
                  <a:lnTo>
                    <a:pt x="804" y="763"/>
                  </a:lnTo>
                  <a:lnTo>
                    <a:pt x="804" y="765"/>
                  </a:lnTo>
                  <a:lnTo>
                    <a:pt x="802" y="765"/>
                  </a:lnTo>
                  <a:lnTo>
                    <a:pt x="795" y="761"/>
                  </a:lnTo>
                  <a:lnTo>
                    <a:pt x="791" y="756"/>
                  </a:lnTo>
                  <a:lnTo>
                    <a:pt x="789" y="754"/>
                  </a:lnTo>
                  <a:lnTo>
                    <a:pt x="789" y="756"/>
                  </a:lnTo>
                  <a:lnTo>
                    <a:pt x="789" y="762"/>
                  </a:lnTo>
                  <a:lnTo>
                    <a:pt x="786" y="762"/>
                  </a:lnTo>
                  <a:lnTo>
                    <a:pt x="781" y="759"/>
                  </a:lnTo>
                  <a:lnTo>
                    <a:pt x="778" y="759"/>
                  </a:lnTo>
                  <a:lnTo>
                    <a:pt x="774" y="757"/>
                  </a:lnTo>
                  <a:lnTo>
                    <a:pt x="773" y="755"/>
                  </a:lnTo>
                  <a:lnTo>
                    <a:pt x="769" y="755"/>
                  </a:lnTo>
                  <a:lnTo>
                    <a:pt x="767" y="757"/>
                  </a:lnTo>
                  <a:lnTo>
                    <a:pt x="765" y="760"/>
                  </a:lnTo>
                  <a:lnTo>
                    <a:pt x="765" y="761"/>
                  </a:lnTo>
                  <a:lnTo>
                    <a:pt x="771" y="763"/>
                  </a:lnTo>
                  <a:lnTo>
                    <a:pt x="775" y="765"/>
                  </a:lnTo>
                  <a:lnTo>
                    <a:pt x="779" y="766"/>
                  </a:lnTo>
                  <a:lnTo>
                    <a:pt x="784" y="767"/>
                  </a:lnTo>
                  <a:lnTo>
                    <a:pt x="788" y="772"/>
                  </a:lnTo>
                  <a:lnTo>
                    <a:pt x="790" y="777"/>
                  </a:lnTo>
                  <a:lnTo>
                    <a:pt x="788" y="778"/>
                  </a:lnTo>
                  <a:lnTo>
                    <a:pt x="783" y="776"/>
                  </a:lnTo>
                  <a:lnTo>
                    <a:pt x="780" y="776"/>
                  </a:lnTo>
                  <a:lnTo>
                    <a:pt x="778" y="779"/>
                  </a:lnTo>
                  <a:lnTo>
                    <a:pt x="774" y="779"/>
                  </a:lnTo>
                  <a:lnTo>
                    <a:pt x="771" y="777"/>
                  </a:lnTo>
                  <a:lnTo>
                    <a:pt x="769" y="778"/>
                  </a:lnTo>
                  <a:lnTo>
                    <a:pt x="768" y="782"/>
                  </a:lnTo>
                  <a:lnTo>
                    <a:pt x="765" y="783"/>
                  </a:lnTo>
                  <a:lnTo>
                    <a:pt x="762" y="780"/>
                  </a:lnTo>
                  <a:lnTo>
                    <a:pt x="761" y="780"/>
                  </a:lnTo>
                  <a:lnTo>
                    <a:pt x="759" y="780"/>
                  </a:lnTo>
                  <a:lnTo>
                    <a:pt x="756" y="778"/>
                  </a:lnTo>
                  <a:lnTo>
                    <a:pt x="753" y="773"/>
                  </a:lnTo>
                  <a:lnTo>
                    <a:pt x="750" y="769"/>
                  </a:lnTo>
                  <a:lnTo>
                    <a:pt x="747" y="768"/>
                  </a:lnTo>
                  <a:lnTo>
                    <a:pt x="741" y="769"/>
                  </a:lnTo>
                  <a:lnTo>
                    <a:pt x="733" y="768"/>
                  </a:lnTo>
                  <a:lnTo>
                    <a:pt x="725" y="769"/>
                  </a:lnTo>
                  <a:lnTo>
                    <a:pt x="720" y="768"/>
                  </a:lnTo>
                  <a:lnTo>
                    <a:pt x="714" y="763"/>
                  </a:lnTo>
                  <a:lnTo>
                    <a:pt x="709" y="761"/>
                  </a:lnTo>
                  <a:lnTo>
                    <a:pt x="704" y="761"/>
                  </a:lnTo>
                  <a:lnTo>
                    <a:pt x="700" y="761"/>
                  </a:lnTo>
                  <a:lnTo>
                    <a:pt x="697" y="759"/>
                  </a:lnTo>
                  <a:lnTo>
                    <a:pt x="694" y="756"/>
                  </a:lnTo>
                  <a:lnTo>
                    <a:pt x="691" y="756"/>
                  </a:lnTo>
                  <a:lnTo>
                    <a:pt x="695" y="765"/>
                  </a:lnTo>
                  <a:lnTo>
                    <a:pt x="698" y="772"/>
                  </a:lnTo>
                  <a:lnTo>
                    <a:pt x="702" y="776"/>
                  </a:lnTo>
                  <a:lnTo>
                    <a:pt x="704" y="776"/>
                  </a:lnTo>
                  <a:lnTo>
                    <a:pt x="707" y="778"/>
                  </a:lnTo>
                  <a:lnTo>
                    <a:pt x="708" y="778"/>
                  </a:lnTo>
                  <a:lnTo>
                    <a:pt x="712" y="779"/>
                  </a:lnTo>
                  <a:lnTo>
                    <a:pt x="714" y="782"/>
                  </a:lnTo>
                  <a:lnTo>
                    <a:pt x="718" y="780"/>
                  </a:lnTo>
                  <a:lnTo>
                    <a:pt x="724" y="780"/>
                  </a:lnTo>
                  <a:lnTo>
                    <a:pt x="727" y="779"/>
                  </a:lnTo>
                  <a:lnTo>
                    <a:pt x="730" y="779"/>
                  </a:lnTo>
                  <a:lnTo>
                    <a:pt x="735" y="783"/>
                  </a:lnTo>
                  <a:lnTo>
                    <a:pt x="739" y="785"/>
                  </a:lnTo>
                  <a:lnTo>
                    <a:pt x="744" y="786"/>
                  </a:lnTo>
                  <a:lnTo>
                    <a:pt x="748" y="786"/>
                  </a:lnTo>
                  <a:lnTo>
                    <a:pt x="749" y="789"/>
                  </a:lnTo>
                  <a:lnTo>
                    <a:pt x="753" y="794"/>
                  </a:lnTo>
                  <a:lnTo>
                    <a:pt x="754" y="796"/>
                  </a:lnTo>
                  <a:lnTo>
                    <a:pt x="751" y="802"/>
                  </a:lnTo>
                  <a:lnTo>
                    <a:pt x="754" y="803"/>
                  </a:lnTo>
                  <a:lnTo>
                    <a:pt x="760" y="801"/>
                  </a:lnTo>
                  <a:lnTo>
                    <a:pt x="762" y="797"/>
                  </a:lnTo>
                  <a:lnTo>
                    <a:pt x="762" y="792"/>
                  </a:lnTo>
                  <a:lnTo>
                    <a:pt x="767" y="791"/>
                  </a:lnTo>
                  <a:lnTo>
                    <a:pt x="774" y="792"/>
                  </a:lnTo>
                  <a:lnTo>
                    <a:pt x="774" y="796"/>
                  </a:lnTo>
                  <a:lnTo>
                    <a:pt x="772" y="800"/>
                  </a:lnTo>
                  <a:lnTo>
                    <a:pt x="771" y="802"/>
                  </a:lnTo>
                  <a:lnTo>
                    <a:pt x="772" y="806"/>
                  </a:lnTo>
                  <a:lnTo>
                    <a:pt x="773" y="810"/>
                  </a:lnTo>
                  <a:lnTo>
                    <a:pt x="773" y="816"/>
                  </a:lnTo>
                  <a:lnTo>
                    <a:pt x="769" y="819"/>
                  </a:lnTo>
                  <a:lnTo>
                    <a:pt x="766" y="818"/>
                  </a:lnTo>
                  <a:lnTo>
                    <a:pt x="762" y="815"/>
                  </a:lnTo>
                  <a:lnTo>
                    <a:pt x="760" y="814"/>
                  </a:lnTo>
                  <a:lnTo>
                    <a:pt x="759" y="815"/>
                  </a:lnTo>
                  <a:lnTo>
                    <a:pt x="756" y="814"/>
                  </a:lnTo>
                  <a:lnTo>
                    <a:pt x="748" y="810"/>
                  </a:lnTo>
                  <a:lnTo>
                    <a:pt x="744" y="812"/>
                  </a:lnTo>
                  <a:lnTo>
                    <a:pt x="744" y="814"/>
                  </a:lnTo>
                  <a:lnTo>
                    <a:pt x="743" y="815"/>
                  </a:lnTo>
                  <a:lnTo>
                    <a:pt x="743" y="820"/>
                  </a:lnTo>
                  <a:lnTo>
                    <a:pt x="747" y="830"/>
                  </a:lnTo>
                  <a:lnTo>
                    <a:pt x="744" y="837"/>
                  </a:lnTo>
                  <a:lnTo>
                    <a:pt x="744" y="843"/>
                  </a:lnTo>
                  <a:lnTo>
                    <a:pt x="744" y="845"/>
                  </a:lnTo>
                  <a:lnTo>
                    <a:pt x="743" y="845"/>
                  </a:lnTo>
                  <a:lnTo>
                    <a:pt x="733" y="840"/>
                  </a:lnTo>
                  <a:lnTo>
                    <a:pt x="727" y="837"/>
                  </a:lnTo>
                  <a:lnTo>
                    <a:pt x="729" y="839"/>
                  </a:lnTo>
                  <a:lnTo>
                    <a:pt x="727" y="842"/>
                  </a:lnTo>
                  <a:lnTo>
                    <a:pt x="725" y="844"/>
                  </a:lnTo>
                  <a:lnTo>
                    <a:pt x="722" y="845"/>
                  </a:lnTo>
                  <a:lnTo>
                    <a:pt x="718" y="846"/>
                  </a:lnTo>
                  <a:lnTo>
                    <a:pt x="713" y="845"/>
                  </a:lnTo>
                  <a:lnTo>
                    <a:pt x="707" y="840"/>
                  </a:lnTo>
                  <a:lnTo>
                    <a:pt x="703" y="834"/>
                  </a:lnTo>
                  <a:lnTo>
                    <a:pt x="700" y="832"/>
                  </a:lnTo>
                  <a:lnTo>
                    <a:pt x="700" y="830"/>
                  </a:lnTo>
                  <a:lnTo>
                    <a:pt x="700" y="824"/>
                  </a:lnTo>
                  <a:lnTo>
                    <a:pt x="694" y="818"/>
                  </a:lnTo>
                  <a:lnTo>
                    <a:pt x="694" y="819"/>
                  </a:lnTo>
                  <a:lnTo>
                    <a:pt x="696" y="825"/>
                  </a:lnTo>
                  <a:lnTo>
                    <a:pt x="691" y="826"/>
                  </a:lnTo>
                  <a:lnTo>
                    <a:pt x="684" y="825"/>
                  </a:lnTo>
                  <a:lnTo>
                    <a:pt x="682" y="825"/>
                  </a:lnTo>
                  <a:lnTo>
                    <a:pt x="677" y="828"/>
                  </a:lnTo>
                  <a:lnTo>
                    <a:pt x="673" y="830"/>
                  </a:lnTo>
                  <a:lnTo>
                    <a:pt x="682" y="832"/>
                  </a:lnTo>
                  <a:lnTo>
                    <a:pt x="685" y="832"/>
                  </a:lnTo>
                  <a:lnTo>
                    <a:pt x="690" y="833"/>
                  </a:lnTo>
                  <a:lnTo>
                    <a:pt x="691" y="838"/>
                  </a:lnTo>
                  <a:lnTo>
                    <a:pt x="692" y="842"/>
                  </a:lnTo>
                  <a:lnTo>
                    <a:pt x="695" y="845"/>
                  </a:lnTo>
                  <a:lnTo>
                    <a:pt x="694" y="848"/>
                  </a:lnTo>
                  <a:lnTo>
                    <a:pt x="682" y="850"/>
                  </a:lnTo>
                  <a:lnTo>
                    <a:pt x="674" y="848"/>
                  </a:lnTo>
                  <a:lnTo>
                    <a:pt x="670" y="845"/>
                  </a:lnTo>
                  <a:lnTo>
                    <a:pt x="659" y="842"/>
                  </a:lnTo>
                  <a:lnTo>
                    <a:pt x="654" y="842"/>
                  </a:lnTo>
                  <a:lnTo>
                    <a:pt x="651" y="839"/>
                  </a:lnTo>
                  <a:lnTo>
                    <a:pt x="648" y="837"/>
                  </a:lnTo>
                  <a:lnTo>
                    <a:pt x="647" y="834"/>
                  </a:lnTo>
                  <a:lnTo>
                    <a:pt x="649" y="830"/>
                  </a:lnTo>
                  <a:lnTo>
                    <a:pt x="649" y="826"/>
                  </a:lnTo>
                  <a:lnTo>
                    <a:pt x="648" y="825"/>
                  </a:lnTo>
                  <a:lnTo>
                    <a:pt x="645" y="824"/>
                  </a:lnTo>
                  <a:lnTo>
                    <a:pt x="643" y="824"/>
                  </a:lnTo>
                  <a:lnTo>
                    <a:pt x="642" y="827"/>
                  </a:lnTo>
                  <a:lnTo>
                    <a:pt x="641" y="828"/>
                  </a:lnTo>
                  <a:lnTo>
                    <a:pt x="638" y="828"/>
                  </a:lnTo>
                  <a:lnTo>
                    <a:pt x="632" y="827"/>
                  </a:lnTo>
                  <a:lnTo>
                    <a:pt x="631" y="824"/>
                  </a:lnTo>
                  <a:lnTo>
                    <a:pt x="631" y="815"/>
                  </a:lnTo>
                  <a:lnTo>
                    <a:pt x="627" y="809"/>
                  </a:lnTo>
                  <a:lnTo>
                    <a:pt x="627" y="812"/>
                  </a:lnTo>
                  <a:lnTo>
                    <a:pt x="626" y="809"/>
                  </a:lnTo>
                  <a:lnTo>
                    <a:pt x="621" y="801"/>
                  </a:lnTo>
                  <a:lnTo>
                    <a:pt x="621" y="798"/>
                  </a:lnTo>
                  <a:lnTo>
                    <a:pt x="619" y="796"/>
                  </a:lnTo>
                  <a:lnTo>
                    <a:pt x="614" y="796"/>
                  </a:lnTo>
                  <a:lnTo>
                    <a:pt x="611" y="795"/>
                  </a:lnTo>
                  <a:lnTo>
                    <a:pt x="612" y="797"/>
                  </a:lnTo>
                  <a:lnTo>
                    <a:pt x="618" y="804"/>
                  </a:lnTo>
                  <a:lnTo>
                    <a:pt x="621" y="814"/>
                  </a:lnTo>
                  <a:lnTo>
                    <a:pt x="625" y="818"/>
                  </a:lnTo>
                  <a:lnTo>
                    <a:pt x="626" y="822"/>
                  </a:lnTo>
                  <a:lnTo>
                    <a:pt x="624" y="827"/>
                  </a:lnTo>
                  <a:lnTo>
                    <a:pt x="624" y="831"/>
                  </a:lnTo>
                  <a:lnTo>
                    <a:pt x="625" y="840"/>
                  </a:lnTo>
                  <a:lnTo>
                    <a:pt x="625" y="844"/>
                  </a:lnTo>
                  <a:lnTo>
                    <a:pt x="624" y="846"/>
                  </a:lnTo>
                  <a:lnTo>
                    <a:pt x="617" y="848"/>
                  </a:lnTo>
                  <a:lnTo>
                    <a:pt x="611" y="851"/>
                  </a:lnTo>
                  <a:lnTo>
                    <a:pt x="608" y="854"/>
                  </a:lnTo>
                  <a:lnTo>
                    <a:pt x="606" y="854"/>
                  </a:lnTo>
                  <a:lnTo>
                    <a:pt x="597" y="855"/>
                  </a:lnTo>
                  <a:lnTo>
                    <a:pt x="585" y="857"/>
                  </a:lnTo>
                  <a:lnTo>
                    <a:pt x="582" y="857"/>
                  </a:lnTo>
                  <a:lnTo>
                    <a:pt x="578" y="855"/>
                  </a:lnTo>
                  <a:lnTo>
                    <a:pt x="574" y="845"/>
                  </a:lnTo>
                  <a:lnTo>
                    <a:pt x="574" y="838"/>
                  </a:lnTo>
                  <a:lnTo>
                    <a:pt x="570" y="836"/>
                  </a:lnTo>
                  <a:lnTo>
                    <a:pt x="565" y="834"/>
                  </a:lnTo>
                  <a:lnTo>
                    <a:pt x="562" y="836"/>
                  </a:lnTo>
                  <a:lnTo>
                    <a:pt x="561" y="839"/>
                  </a:lnTo>
                  <a:lnTo>
                    <a:pt x="558" y="840"/>
                  </a:lnTo>
                  <a:lnTo>
                    <a:pt x="552" y="840"/>
                  </a:lnTo>
                  <a:lnTo>
                    <a:pt x="548" y="840"/>
                  </a:lnTo>
                  <a:lnTo>
                    <a:pt x="547" y="844"/>
                  </a:lnTo>
                  <a:lnTo>
                    <a:pt x="543" y="844"/>
                  </a:lnTo>
                  <a:lnTo>
                    <a:pt x="535" y="840"/>
                  </a:lnTo>
                  <a:lnTo>
                    <a:pt x="535" y="833"/>
                  </a:lnTo>
                  <a:lnTo>
                    <a:pt x="537" y="830"/>
                  </a:lnTo>
                  <a:lnTo>
                    <a:pt x="536" y="827"/>
                  </a:lnTo>
                  <a:lnTo>
                    <a:pt x="533" y="826"/>
                  </a:lnTo>
                  <a:lnTo>
                    <a:pt x="533" y="824"/>
                  </a:lnTo>
                  <a:lnTo>
                    <a:pt x="530" y="822"/>
                  </a:lnTo>
                  <a:lnTo>
                    <a:pt x="524" y="824"/>
                  </a:lnTo>
                  <a:lnTo>
                    <a:pt x="521" y="821"/>
                  </a:lnTo>
                  <a:lnTo>
                    <a:pt x="519" y="819"/>
                  </a:lnTo>
                  <a:lnTo>
                    <a:pt x="519" y="814"/>
                  </a:lnTo>
                  <a:lnTo>
                    <a:pt x="517" y="809"/>
                  </a:lnTo>
                  <a:lnTo>
                    <a:pt x="519" y="808"/>
                  </a:lnTo>
                  <a:lnTo>
                    <a:pt x="529" y="808"/>
                  </a:lnTo>
                  <a:lnTo>
                    <a:pt x="533" y="802"/>
                  </a:lnTo>
                  <a:lnTo>
                    <a:pt x="537" y="803"/>
                  </a:lnTo>
                  <a:lnTo>
                    <a:pt x="538" y="802"/>
                  </a:lnTo>
                  <a:lnTo>
                    <a:pt x="539" y="800"/>
                  </a:lnTo>
                  <a:lnTo>
                    <a:pt x="543" y="791"/>
                  </a:lnTo>
                  <a:lnTo>
                    <a:pt x="542" y="788"/>
                  </a:lnTo>
                  <a:lnTo>
                    <a:pt x="539" y="786"/>
                  </a:lnTo>
                  <a:lnTo>
                    <a:pt x="533" y="788"/>
                  </a:lnTo>
                  <a:lnTo>
                    <a:pt x="527" y="791"/>
                  </a:lnTo>
                  <a:lnTo>
                    <a:pt x="523" y="792"/>
                  </a:lnTo>
                  <a:lnTo>
                    <a:pt x="520" y="794"/>
                  </a:lnTo>
                  <a:lnTo>
                    <a:pt x="519" y="792"/>
                  </a:lnTo>
                  <a:lnTo>
                    <a:pt x="515" y="789"/>
                  </a:lnTo>
                  <a:lnTo>
                    <a:pt x="513" y="789"/>
                  </a:lnTo>
                  <a:lnTo>
                    <a:pt x="511" y="792"/>
                  </a:lnTo>
                  <a:lnTo>
                    <a:pt x="506" y="798"/>
                  </a:lnTo>
                  <a:lnTo>
                    <a:pt x="497" y="806"/>
                  </a:lnTo>
                  <a:lnTo>
                    <a:pt x="493" y="812"/>
                  </a:lnTo>
                  <a:lnTo>
                    <a:pt x="490" y="820"/>
                  </a:lnTo>
                  <a:lnTo>
                    <a:pt x="490" y="837"/>
                  </a:lnTo>
                  <a:lnTo>
                    <a:pt x="493" y="864"/>
                  </a:lnTo>
                  <a:lnTo>
                    <a:pt x="493" y="879"/>
                  </a:lnTo>
                  <a:lnTo>
                    <a:pt x="494" y="885"/>
                  </a:lnTo>
                  <a:lnTo>
                    <a:pt x="499" y="891"/>
                  </a:lnTo>
                  <a:lnTo>
                    <a:pt x="505" y="899"/>
                  </a:lnTo>
                  <a:lnTo>
                    <a:pt x="508" y="909"/>
                  </a:lnTo>
                  <a:lnTo>
                    <a:pt x="511" y="91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0" name="Freeform 63"/>
            <p:cNvSpPr>
              <a:spLocks/>
            </p:cNvSpPr>
            <p:nvPr userDrawn="1"/>
          </p:nvSpPr>
          <p:spPr bwMode="auto">
            <a:xfrm>
              <a:off x="4319588" y="6208713"/>
              <a:ext cx="287338" cy="350838"/>
            </a:xfrm>
            <a:custGeom>
              <a:avLst/>
              <a:gdLst/>
              <a:ahLst/>
              <a:cxnLst>
                <a:cxn ang="0">
                  <a:pos x="422" y="709"/>
                </a:cxn>
                <a:cxn ang="0">
                  <a:pos x="410" y="667"/>
                </a:cxn>
                <a:cxn ang="0">
                  <a:pos x="390" y="629"/>
                </a:cxn>
                <a:cxn ang="0">
                  <a:pos x="430" y="603"/>
                </a:cxn>
                <a:cxn ang="0">
                  <a:pos x="355" y="668"/>
                </a:cxn>
                <a:cxn ang="0">
                  <a:pos x="387" y="737"/>
                </a:cxn>
                <a:cxn ang="0">
                  <a:pos x="371" y="696"/>
                </a:cxn>
                <a:cxn ang="0">
                  <a:pos x="319" y="703"/>
                </a:cxn>
                <a:cxn ang="0">
                  <a:pos x="273" y="707"/>
                </a:cxn>
                <a:cxn ang="0">
                  <a:pos x="231" y="682"/>
                </a:cxn>
                <a:cxn ang="0">
                  <a:pos x="207" y="703"/>
                </a:cxn>
                <a:cxn ang="0">
                  <a:pos x="175" y="722"/>
                </a:cxn>
                <a:cxn ang="0">
                  <a:pos x="130" y="698"/>
                </a:cxn>
                <a:cxn ang="0">
                  <a:pos x="21" y="722"/>
                </a:cxn>
                <a:cxn ang="0">
                  <a:pos x="80" y="649"/>
                </a:cxn>
                <a:cxn ang="0">
                  <a:pos x="23" y="611"/>
                </a:cxn>
                <a:cxn ang="0">
                  <a:pos x="9" y="560"/>
                </a:cxn>
                <a:cxn ang="0">
                  <a:pos x="9" y="490"/>
                </a:cxn>
                <a:cxn ang="0">
                  <a:pos x="116" y="494"/>
                </a:cxn>
                <a:cxn ang="0">
                  <a:pos x="125" y="454"/>
                </a:cxn>
                <a:cxn ang="0">
                  <a:pos x="149" y="383"/>
                </a:cxn>
                <a:cxn ang="0">
                  <a:pos x="86" y="381"/>
                </a:cxn>
                <a:cxn ang="0">
                  <a:pos x="51" y="358"/>
                </a:cxn>
                <a:cxn ang="0">
                  <a:pos x="62" y="328"/>
                </a:cxn>
                <a:cxn ang="0">
                  <a:pos x="88" y="275"/>
                </a:cxn>
                <a:cxn ang="0">
                  <a:pos x="125" y="203"/>
                </a:cxn>
                <a:cxn ang="0">
                  <a:pos x="165" y="155"/>
                </a:cxn>
                <a:cxn ang="0">
                  <a:pos x="207" y="149"/>
                </a:cxn>
                <a:cxn ang="0">
                  <a:pos x="246" y="179"/>
                </a:cxn>
                <a:cxn ang="0">
                  <a:pos x="332" y="174"/>
                </a:cxn>
                <a:cxn ang="0">
                  <a:pos x="348" y="105"/>
                </a:cxn>
                <a:cxn ang="0">
                  <a:pos x="353" y="108"/>
                </a:cxn>
                <a:cxn ang="0">
                  <a:pos x="385" y="155"/>
                </a:cxn>
                <a:cxn ang="0">
                  <a:pos x="454" y="126"/>
                </a:cxn>
                <a:cxn ang="0">
                  <a:pos x="501" y="156"/>
                </a:cxn>
                <a:cxn ang="0">
                  <a:pos x="556" y="210"/>
                </a:cxn>
                <a:cxn ang="0">
                  <a:pos x="541" y="141"/>
                </a:cxn>
                <a:cxn ang="0">
                  <a:pos x="503" y="89"/>
                </a:cxn>
                <a:cxn ang="0">
                  <a:pos x="490" y="18"/>
                </a:cxn>
                <a:cxn ang="0">
                  <a:pos x="562" y="41"/>
                </a:cxn>
                <a:cxn ang="0">
                  <a:pos x="631" y="86"/>
                </a:cxn>
                <a:cxn ang="0">
                  <a:pos x="648" y="139"/>
                </a:cxn>
                <a:cxn ang="0">
                  <a:pos x="678" y="171"/>
                </a:cxn>
                <a:cxn ang="0">
                  <a:pos x="730" y="171"/>
                </a:cxn>
                <a:cxn ang="0">
                  <a:pos x="780" y="141"/>
                </a:cxn>
                <a:cxn ang="0">
                  <a:pos x="816" y="169"/>
                </a:cxn>
                <a:cxn ang="0">
                  <a:pos x="779" y="222"/>
                </a:cxn>
                <a:cxn ang="0">
                  <a:pos x="755" y="250"/>
                </a:cxn>
                <a:cxn ang="0">
                  <a:pos x="794" y="273"/>
                </a:cxn>
                <a:cxn ang="0">
                  <a:pos x="860" y="298"/>
                </a:cxn>
                <a:cxn ang="0">
                  <a:pos x="902" y="356"/>
                </a:cxn>
                <a:cxn ang="0">
                  <a:pos x="847" y="407"/>
                </a:cxn>
                <a:cxn ang="0">
                  <a:pos x="838" y="446"/>
                </a:cxn>
                <a:cxn ang="0">
                  <a:pos x="771" y="477"/>
                </a:cxn>
                <a:cxn ang="0">
                  <a:pos x="842" y="551"/>
                </a:cxn>
                <a:cxn ang="0">
                  <a:pos x="774" y="549"/>
                </a:cxn>
                <a:cxn ang="0">
                  <a:pos x="768" y="601"/>
                </a:cxn>
                <a:cxn ang="0">
                  <a:pos x="786" y="694"/>
                </a:cxn>
                <a:cxn ang="0">
                  <a:pos x="757" y="742"/>
                </a:cxn>
                <a:cxn ang="0">
                  <a:pos x="686" y="786"/>
                </a:cxn>
                <a:cxn ang="0">
                  <a:pos x="619" y="773"/>
                </a:cxn>
                <a:cxn ang="0">
                  <a:pos x="544" y="777"/>
                </a:cxn>
                <a:cxn ang="0">
                  <a:pos x="483" y="722"/>
                </a:cxn>
              </a:cxnLst>
              <a:rect l="0" t="0" r="r" b="b"/>
              <a:pathLst>
                <a:path w="906" h="1106">
                  <a:moveTo>
                    <a:pt x="472" y="1106"/>
                  </a:moveTo>
                  <a:lnTo>
                    <a:pt x="442" y="1106"/>
                  </a:lnTo>
                  <a:lnTo>
                    <a:pt x="440" y="1077"/>
                  </a:lnTo>
                  <a:lnTo>
                    <a:pt x="437" y="1060"/>
                  </a:lnTo>
                  <a:lnTo>
                    <a:pt x="437" y="1022"/>
                  </a:lnTo>
                  <a:lnTo>
                    <a:pt x="436" y="1017"/>
                  </a:lnTo>
                  <a:lnTo>
                    <a:pt x="438" y="1009"/>
                  </a:lnTo>
                  <a:lnTo>
                    <a:pt x="444" y="958"/>
                  </a:lnTo>
                  <a:lnTo>
                    <a:pt x="452" y="912"/>
                  </a:lnTo>
                  <a:lnTo>
                    <a:pt x="455" y="892"/>
                  </a:lnTo>
                  <a:lnTo>
                    <a:pt x="461" y="873"/>
                  </a:lnTo>
                  <a:lnTo>
                    <a:pt x="462" y="868"/>
                  </a:lnTo>
                  <a:lnTo>
                    <a:pt x="462" y="862"/>
                  </a:lnTo>
                  <a:lnTo>
                    <a:pt x="461" y="849"/>
                  </a:lnTo>
                  <a:lnTo>
                    <a:pt x="461" y="823"/>
                  </a:lnTo>
                  <a:lnTo>
                    <a:pt x="459" y="802"/>
                  </a:lnTo>
                  <a:lnTo>
                    <a:pt x="460" y="791"/>
                  </a:lnTo>
                  <a:lnTo>
                    <a:pt x="461" y="780"/>
                  </a:lnTo>
                  <a:lnTo>
                    <a:pt x="461" y="768"/>
                  </a:lnTo>
                  <a:lnTo>
                    <a:pt x="460" y="756"/>
                  </a:lnTo>
                  <a:lnTo>
                    <a:pt x="458" y="748"/>
                  </a:lnTo>
                  <a:lnTo>
                    <a:pt x="454" y="740"/>
                  </a:lnTo>
                  <a:lnTo>
                    <a:pt x="452" y="738"/>
                  </a:lnTo>
                  <a:lnTo>
                    <a:pt x="452" y="734"/>
                  </a:lnTo>
                  <a:lnTo>
                    <a:pt x="452" y="728"/>
                  </a:lnTo>
                  <a:lnTo>
                    <a:pt x="446" y="714"/>
                  </a:lnTo>
                  <a:lnTo>
                    <a:pt x="444" y="708"/>
                  </a:lnTo>
                  <a:lnTo>
                    <a:pt x="442" y="710"/>
                  </a:lnTo>
                  <a:lnTo>
                    <a:pt x="446" y="715"/>
                  </a:lnTo>
                  <a:lnTo>
                    <a:pt x="444" y="718"/>
                  </a:lnTo>
                  <a:lnTo>
                    <a:pt x="443" y="724"/>
                  </a:lnTo>
                  <a:lnTo>
                    <a:pt x="443" y="728"/>
                  </a:lnTo>
                  <a:lnTo>
                    <a:pt x="441" y="726"/>
                  </a:lnTo>
                  <a:lnTo>
                    <a:pt x="440" y="728"/>
                  </a:lnTo>
                  <a:lnTo>
                    <a:pt x="437" y="728"/>
                  </a:lnTo>
                  <a:lnTo>
                    <a:pt x="435" y="726"/>
                  </a:lnTo>
                  <a:lnTo>
                    <a:pt x="432" y="728"/>
                  </a:lnTo>
                  <a:lnTo>
                    <a:pt x="429" y="731"/>
                  </a:lnTo>
                  <a:lnTo>
                    <a:pt x="426" y="734"/>
                  </a:lnTo>
                  <a:lnTo>
                    <a:pt x="425" y="728"/>
                  </a:lnTo>
                  <a:lnTo>
                    <a:pt x="425" y="726"/>
                  </a:lnTo>
                  <a:lnTo>
                    <a:pt x="423" y="727"/>
                  </a:lnTo>
                  <a:lnTo>
                    <a:pt x="420" y="727"/>
                  </a:lnTo>
                  <a:lnTo>
                    <a:pt x="418" y="732"/>
                  </a:lnTo>
                  <a:lnTo>
                    <a:pt x="408" y="734"/>
                  </a:lnTo>
                  <a:lnTo>
                    <a:pt x="406" y="736"/>
                  </a:lnTo>
                  <a:lnTo>
                    <a:pt x="410" y="732"/>
                  </a:lnTo>
                  <a:lnTo>
                    <a:pt x="412" y="728"/>
                  </a:lnTo>
                  <a:lnTo>
                    <a:pt x="413" y="725"/>
                  </a:lnTo>
                  <a:lnTo>
                    <a:pt x="417" y="724"/>
                  </a:lnTo>
                  <a:lnTo>
                    <a:pt x="414" y="722"/>
                  </a:lnTo>
                  <a:lnTo>
                    <a:pt x="411" y="725"/>
                  </a:lnTo>
                  <a:lnTo>
                    <a:pt x="411" y="721"/>
                  </a:lnTo>
                  <a:lnTo>
                    <a:pt x="416" y="719"/>
                  </a:lnTo>
                  <a:lnTo>
                    <a:pt x="417" y="719"/>
                  </a:lnTo>
                  <a:lnTo>
                    <a:pt x="417" y="718"/>
                  </a:lnTo>
                  <a:lnTo>
                    <a:pt x="416" y="715"/>
                  </a:lnTo>
                  <a:lnTo>
                    <a:pt x="419" y="714"/>
                  </a:lnTo>
                  <a:lnTo>
                    <a:pt x="420" y="716"/>
                  </a:lnTo>
                  <a:lnTo>
                    <a:pt x="420" y="719"/>
                  </a:lnTo>
                  <a:lnTo>
                    <a:pt x="419" y="720"/>
                  </a:lnTo>
                  <a:lnTo>
                    <a:pt x="420" y="722"/>
                  </a:lnTo>
                  <a:lnTo>
                    <a:pt x="424" y="720"/>
                  </a:lnTo>
                  <a:lnTo>
                    <a:pt x="425" y="719"/>
                  </a:lnTo>
                  <a:lnTo>
                    <a:pt x="425" y="718"/>
                  </a:lnTo>
                  <a:lnTo>
                    <a:pt x="424" y="715"/>
                  </a:lnTo>
                  <a:lnTo>
                    <a:pt x="423" y="713"/>
                  </a:lnTo>
                  <a:lnTo>
                    <a:pt x="422" y="709"/>
                  </a:lnTo>
                  <a:lnTo>
                    <a:pt x="423" y="708"/>
                  </a:lnTo>
                  <a:lnTo>
                    <a:pt x="422" y="708"/>
                  </a:lnTo>
                  <a:lnTo>
                    <a:pt x="424" y="703"/>
                  </a:lnTo>
                  <a:lnTo>
                    <a:pt x="428" y="701"/>
                  </a:lnTo>
                  <a:lnTo>
                    <a:pt x="434" y="701"/>
                  </a:lnTo>
                  <a:lnTo>
                    <a:pt x="435" y="702"/>
                  </a:lnTo>
                  <a:lnTo>
                    <a:pt x="440" y="696"/>
                  </a:lnTo>
                  <a:lnTo>
                    <a:pt x="444" y="686"/>
                  </a:lnTo>
                  <a:lnTo>
                    <a:pt x="449" y="683"/>
                  </a:lnTo>
                  <a:lnTo>
                    <a:pt x="449" y="680"/>
                  </a:lnTo>
                  <a:lnTo>
                    <a:pt x="449" y="678"/>
                  </a:lnTo>
                  <a:lnTo>
                    <a:pt x="448" y="680"/>
                  </a:lnTo>
                  <a:lnTo>
                    <a:pt x="448" y="678"/>
                  </a:lnTo>
                  <a:lnTo>
                    <a:pt x="446" y="679"/>
                  </a:lnTo>
                  <a:lnTo>
                    <a:pt x="442" y="682"/>
                  </a:lnTo>
                  <a:lnTo>
                    <a:pt x="438" y="682"/>
                  </a:lnTo>
                  <a:lnTo>
                    <a:pt x="438" y="679"/>
                  </a:lnTo>
                  <a:lnTo>
                    <a:pt x="436" y="680"/>
                  </a:lnTo>
                  <a:lnTo>
                    <a:pt x="435" y="682"/>
                  </a:lnTo>
                  <a:lnTo>
                    <a:pt x="435" y="678"/>
                  </a:lnTo>
                  <a:lnTo>
                    <a:pt x="436" y="676"/>
                  </a:lnTo>
                  <a:lnTo>
                    <a:pt x="437" y="673"/>
                  </a:lnTo>
                  <a:lnTo>
                    <a:pt x="441" y="670"/>
                  </a:lnTo>
                  <a:lnTo>
                    <a:pt x="435" y="674"/>
                  </a:lnTo>
                  <a:lnTo>
                    <a:pt x="434" y="671"/>
                  </a:lnTo>
                  <a:lnTo>
                    <a:pt x="434" y="668"/>
                  </a:lnTo>
                  <a:lnTo>
                    <a:pt x="436" y="667"/>
                  </a:lnTo>
                  <a:lnTo>
                    <a:pt x="435" y="666"/>
                  </a:lnTo>
                  <a:lnTo>
                    <a:pt x="432" y="667"/>
                  </a:lnTo>
                  <a:lnTo>
                    <a:pt x="430" y="670"/>
                  </a:lnTo>
                  <a:lnTo>
                    <a:pt x="430" y="666"/>
                  </a:lnTo>
                  <a:lnTo>
                    <a:pt x="429" y="664"/>
                  </a:lnTo>
                  <a:lnTo>
                    <a:pt x="428" y="660"/>
                  </a:lnTo>
                  <a:lnTo>
                    <a:pt x="425" y="665"/>
                  </a:lnTo>
                  <a:lnTo>
                    <a:pt x="423" y="666"/>
                  </a:lnTo>
                  <a:lnTo>
                    <a:pt x="422" y="668"/>
                  </a:lnTo>
                  <a:lnTo>
                    <a:pt x="423" y="672"/>
                  </a:lnTo>
                  <a:lnTo>
                    <a:pt x="420" y="673"/>
                  </a:lnTo>
                  <a:lnTo>
                    <a:pt x="420" y="674"/>
                  </a:lnTo>
                  <a:lnTo>
                    <a:pt x="425" y="676"/>
                  </a:lnTo>
                  <a:lnTo>
                    <a:pt x="425" y="678"/>
                  </a:lnTo>
                  <a:lnTo>
                    <a:pt x="426" y="680"/>
                  </a:lnTo>
                  <a:lnTo>
                    <a:pt x="425" y="684"/>
                  </a:lnTo>
                  <a:lnTo>
                    <a:pt x="424" y="683"/>
                  </a:lnTo>
                  <a:lnTo>
                    <a:pt x="422" y="680"/>
                  </a:lnTo>
                  <a:lnTo>
                    <a:pt x="420" y="683"/>
                  </a:lnTo>
                  <a:lnTo>
                    <a:pt x="420" y="684"/>
                  </a:lnTo>
                  <a:lnTo>
                    <a:pt x="418" y="679"/>
                  </a:lnTo>
                  <a:lnTo>
                    <a:pt x="416" y="677"/>
                  </a:lnTo>
                  <a:lnTo>
                    <a:pt x="414" y="678"/>
                  </a:lnTo>
                  <a:lnTo>
                    <a:pt x="412" y="680"/>
                  </a:lnTo>
                  <a:lnTo>
                    <a:pt x="411" y="680"/>
                  </a:lnTo>
                  <a:lnTo>
                    <a:pt x="408" y="682"/>
                  </a:lnTo>
                  <a:lnTo>
                    <a:pt x="406" y="686"/>
                  </a:lnTo>
                  <a:lnTo>
                    <a:pt x="402" y="688"/>
                  </a:lnTo>
                  <a:lnTo>
                    <a:pt x="399" y="691"/>
                  </a:lnTo>
                  <a:lnTo>
                    <a:pt x="399" y="688"/>
                  </a:lnTo>
                  <a:lnTo>
                    <a:pt x="402" y="685"/>
                  </a:lnTo>
                  <a:lnTo>
                    <a:pt x="405" y="683"/>
                  </a:lnTo>
                  <a:lnTo>
                    <a:pt x="403" y="683"/>
                  </a:lnTo>
                  <a:lnTo>
                    <a:pt x="403" y="682"/>
                  </a:lnTo>
                  <a:lnTo>
                    <a:pt x="406" y="679"/>
                  </a:lnTo>
                  <a:lnTo>
                    <a:pt x="405" y="678"/>
                  </a:lnTo>
                  <a:lnTo>
                    <a:pt x="402" y="678"/>
                  </a:lnTo>
                  <a:lnTo>
                    <a:pt x="400" y="678"/>
                  </a:lnTo>
                  <a:lnTo>
                    <a:pt x="401" y="674"/>
                  </a:lnTo>
                  <a:lnTo>
                    <a:pt x="403" y="668"/>
                  </a:lnTo>
                  <a:lnTo>
                    <a:pt x="410" y="667"/>
                  </a:lnTo>
                  <a:lnTo>
                    <a:pt x="412" y="670"/>
                  </a:lnTo>
                  <a:lnTo>
                    <a:pt x="413" y="670"/>
                  </a:lnTo>
                  <a:lnTo>
                    <a:pt x="411" y="666"/>
                  </a:lnTo>
                  <a:lnTo>
                    <a:pt x="412" y="665"/>
                  </a:lnTo>
                  <a:lnTo>
                    <a:pt x="417" y="665"/>
                  </a:lnTo>
                  <a:lnTo>
                    <a:pt x="418" y="668"/>
                  </a:lnTo>
                  <a:lnTo>
                    <a:pt x="419" y="666"/>
                  </a:lnTo>
                  <a:lnTo>
                    <a:pt x="422" y="665"/>
                  </a:lnTo>
                  <a:lnTo>
                    <a:pt x="425" y="662"/>
                  </a:lnTo>
                  <a:lnTo>
                    <a:pt x="426" y="659"/>
                  </a:lnTo>
                  <a:lnTo>
                    <a:pt x="426" y="655"/>
                  </a:lnTo>
                  <a:lnTo>
                    <a:pt x="425" y="655"/>
                  </a:lnTo>
                  <a:lnTo>
                    <a:pt x="423" y="656"/>
                  </a:lnTo>
                  <a:lnTo>
                    <a:pt x="418" y="656"/>
                  </a:lnTo>
                  <a:lnTo>
                    <a:pt x="422" y="654"/>
                  </a:lnTo>
                  <a:lnTo>
                    <a:pt x="422" y="650"/>
                  </a:lnTo>
                  <a:lnTo>
                    <a:pt x="422" y="647"/>
                  </a:lnTo>
                  <a:lnTo>
                    <a:pt x="424" y="642"/>
                  </a:lnTo>
                  <a:lnTo>
                    <a:pt x="423" y="642"/>
                  </a:lnTo>
                  <a:lnTo>
                    <a:pt x="418" y="643"/>
                  </a:lnTo>
                  <a:lnTo>
                    <a:pt x="414" y="646"/>
                  </a:lnTo>
                  <a:lnTo>
                    <a:pt x="411" y="648"/>
                  </a:lnTo>
                  <a:lnTo>
                    <a:pt x="408" y="652"/>
                  </a:lnTo>
                  <a:lnTo>
                    <a:pt x="406" y="655"/>
                  </a:lnTo>
                  <a:lnTo>
                    <a:pt x="405" y="654"/>
                  </a:lnTo>
                  <a:lnTo>
                    <a:pt x="405" y="649"/>
                  </a:lnTo>
                  <a:lnTo>
                    <a:pt x="407" y="648"/>
                  </a:lnTo>
                  <a:lnTo>
                    <a:pt x="412" y="647"/>
                  </a:lnTo>
                  <a:lnTo>
                    <a:pt x="417" y="642"/>
                  </a:lnTo>
                  <a:lnTo>
                    <a:pt x="418" y="637"/>
                  </a:lnTo>
                  <a:lnTo>
                    <a:pt x="416" y="638"/>
                  </a:lnTo>
                  <a:lnTo>
                    <a:pt x="412" y="644"/>
                  </a:lnTo>
                  <a:lnTo>
                    <a:pt x="410" y="644"/>
                  </a:lnTo>
                  <a:lnTo>
                    <a:pt x="414" y="637"/>
                  </a:lnTo>
                  <a:lnTo>
                    <a:pt x="414" y="632"/>
                  </a:lnTo>
                  <a:lnTo>
                    <a:pt x="418" y="629"/>
                  </a:lnTo>
                  <a:lnTo>
                    <a:pt x="420" y="626"/>
                  </a:lnTo>
                  <a:lnTo>
                    <a:pt x="417" y="626"/>
                  </a:lnTo>
                  <a:lnTo>
                    <a:pt x="416" y="627"/>
                  </a:lnTo>
                  <a:lnTo>
                    <a:pt x="416" y="630"/>
                  </a:lnTo>
                  <a:lnTo>
                    <a:pt x="413" y="632"/>
                  </a:lnTo>
                  <a:lnTo>
                    <a:pt x="413" y="630"/>
                  </a:lnTo>
                  <a:lnTo>
                    <a:pt x="413" y="626"/>
                  </a:lnTo>
                  <a:lnTo>
                    <a:pt x="411" y="625"/>
                  </a:lnTo>
                  <a:lnTo>
                    <a:pt x="408" y="623"/>
                  </a:lnTo>
                  <a:lnTo>
                    <a:pt x="405" y="623"/>
                  </a:lnTo>
                  <a:lnTo>
                    <a:pt x="410" y="626"/>
                  </a:lnTo>
                  <a:lnTo>
                    <a:pt x="410" y="629"/>
                  </a:lnTo>
                  <a:lnTo>
                    <a:pt x="408" y="630"/>
                  </a:lnTo>
                  <a:lnTo>
                    <a:pt x="408" y="632"/>
                  </a:lnTo>
                  <a:lnTo>
                    <a:pt x="406" y="630"/>
                  </a:lnTo>
                  <a:lnTo>
                    <a:pt x="405" y="632"/>
                  </a:lnTo>
                  <a:lnTo>
                    <a:pt x="406" y="633"/>
                  </a:lnTo>
                  <a:lnTo>
                    <a:pt x="406" y="636"/>
                  </a:lnTo>
                  <a:lnTo>
                    <a:pt x="401" y="641"/>
                  </a:lnTo>
                  <a:lnTo>
                    <a:pt x="399" y="643"/>
                  </a:lnTo>
                  <a:lnTo>
                    <a:pt x="397" y="639"/>
                  </a:lnTo>
                  <a:lnTo>
                    <a:pt x="397" y="635"/>
                  </a:lnTo>
                  <a:lnTo>
                    <a:pt x="396" y="635"/>
                  </a:lnTo>
                  <a:lnTo>
                    <a:pt x="397" y="631"/>
                  </a:lnTo>
                  <a:lnTo>
                    <a:pt x="397" y="629"/>
                  </a:lnTo>
                  <a:lnTo>
                    <a:pt x="397" y="630"/>
                  </a:lnTo>
                  <a:lnTo>
                    <a:pt x="396" y="631"/>
                  </a:lnTo>
                  <a:lnTo>
                    <a:pt x="396" y="627"/>
                  </a:lnTo>
                  <a:lnTo>
                    <a:pt x="395" y="631"/>
                  </a:lnTo>
                  <a:lnTo>
                    <a:pt x="391" y="631"/>
                  </a:lnTo>
                  <a:lnTo>
                    <a:pt x="389" y="633"/>
                  </a:lnTo>
                  <a:lnTo>
                    <a:pt x="390" y="629"/>
                  </a:lnTo>
                  <a:lnTo>
                    <a:pt x="393" y="626"/>
                  </a:lnTo>
                  <a:lnTo>
                    <a:pt x="393" y="624"/>
                  </a:lnTo>
                  <a:lnTo>
                    <a:pt x="388" y="625"/>
                  </a:lnTo>
                  <a:lnTo>
                    <a:pt x="389" y="621"/>
                  </a:lnTo>
                  <a:lnTo>
                    <a:pt x="389" y="619"/>
                  </a:lnTo>
                  <a:lnTo>
                    <a:pt x="389" y="615"/>
                  </a:lnTo>
                  <a:lnTo>
                    <a:pt x="389" y="613"/>
                  </a:lnTo>
                  <a:lnTo>
                    <a:pt x="389" y="612"/>
                  </a:lnTo>
                  <a:lnTo>
                    <a:pt x="391" y="609"/>
                  </a:lnTo>
                  <a:lnTo>
                    <a:pt x="393" y="613"/>
                  </a:lnTo>
                  <a:lnTo>
                    <a:pt x="394" y="617"/>
                  </a:lnTo>
                  <a:lnTo>
                    <a:pt x="394" y="619"/>
                  </a:lnTo>
                  <a:lnTo>
                    <a:pt x="395" y="620"/>
                  </a:lnTo>
                  <a:lnTo>
                    <a:pt x="397" y="620"/>
                  </a:lnTo>
                  <a:lnTo>
                    <a:pt x="400" y="617"/>
                  </a:lnTo>
                  <a:lnTo>
                    <a:pt x="403" y="617"/>
                  </a:lnTo>
                  <a:lnTo>
                    <a:pt x="406" y="618"/>
                  </a:lnTo>
                  <a:lnTo>
                    <a:pt x="407" y="620"/>
                  </a:lnTo>
                  <a:lnTo>
                    <a:pt x="411" y="621"/>
                  </a:lnTo>
                  <a:lnTo>
                    <a:pt x="413" y="621"/>
                  </a:lnTo>
                  <a:lnTo>
                    <a:pt x="416" y="621"/>
                  </a:lnTo>
                  <a:lnTo>
                    <a:pt x="416" y="618"/>
                  </a:lnTo>
                  <a:lnTo>
                    <a:pt x="418" y="617"/>
                  </a:lnTo>
                  <a:lnTo>
                    <a:pt x="422" y="617"/>
                  </a:lnTo>
                  <a:lnTo>
                    <a:pt x="423" y="617"/>
                  </a:lnTo>
                  <a:lnTo>
                    <a:pt x="424" y="619"/>
                  </a:lnTo>
                  <a:lnTo>
                    <a:pt x="425" y="620"/>
                  </a:lnTo>
                  <a:lnTo>
                    <a:pt x="426" y="619"/>
                  </a:lnTo>
                  <a:lnTo>
                    <a:pt x="428" y="618"/>
                  </a:lnTo>
                  <a:lnTo>
                    <a:pt x="426" y="617"/>
                  </a:lnTo>
                  <a:lnTo>
                    <a:pt x="425" y="615"/>
                  </a:lnTo>
                  <a:lnTo>
                    <a:pt x="423" y="614"/>
                  </a:lnTo>
                  <a:lnTo>
                    <a:pt x="422" y="614"/>
                  </a:lnTo>
                  <a:lnTo>
                    <a:pt x="419" y="615"/>
                  </a:lnTo>
                  <a:lnTo>
                    <a:pt x="417" y="615"/>
                  </a:lnTo>
                  <a:lnTo>
                    <a:pt x="414" y="618"/>
                  </a:lnTo>
                  <a:lnTo>
                    <a:pt x="412" y="619"/>
                  </a:lnTo>
                  <a:lnTo>
                    <a:pt x="411" y="618"/>
                  </a:lnTo>
                  <a:lnTo>
                    <a:pt x="410" y="617"/>
                  </a:lnTo>
                  <a:lnTo>
                    <a:pt x="408" y="614"/>
                  </a:lnTo>
                  <a:lnTo>
                    <a:pt x="411" y="613"/>
                  </a:lnTo>
                  <a:lnTo>
                    <a:pt x="412" y="612"/>
                  </a:lnTo>
                  <a:lnTo>
                    <a:pt x="416" y="611"/>
                  </a:lnTo>
                  <a:lnTo>
                    <a:pt x="417" y="612"/>
                  </a:lnTo>
                  <a:lnTo>
                    <a:pt x="419" y="611"/>
                  </a:lnTo>
                  <a:lnTo>
                    <a:pt x="418" y="611"/>
                  </a:lnTo>
                  <a:lnTo>
                    <a:pt x="419" y="608"/>
                  </a:lnTo>
                  <a:lnTo>
                    <a:pt x="419" y="607"/>
                  </a:lnTo>
                  <a:lnTo>
                    <a:pt x="420" y="607"/>
                  </a:lnTo>
                  <a:lnTo>
                    <a:pt x="423" y="606"/>
                  </a:lnTo>
                  <a:lnTo>
                    <a:pt x="418" y="606"/>
                  </a:lnTo>
                  <a:lnTo>
                    <a:pt x="414" y="608"/>
                  </a:lnTo>
                  <a:lnTo>
                    <a:pt x="406" y="608"/>
                  </a:lnTo>
                  <a:lnTo>
                    <a:pt x="410" y="606"/>
                  </a:lnTo>
                  <a:lnTo>
                    <a:pt x="413" y="602"/>
                  </a:lnTo>
                  <a:lnTo>
                    <a:pt x="419" y="602"/>
                  </a:lnTo>
                  <a:lnTo>
                    <a:pt x="423" y="602"/>
                  </a:lnTo>
                  <a:lnTo>
                    <a:pt x="426" y="603"/>
                  </a:lnTo>
                  <a:lnTo>
                    <a:pt x="425" y="607"/>
                  </a:lnTo>
                  <a:lnTo>
                    <a:pt x="426" y="609"/>
                  </a:lnTo>
                  <a:lnTo>
                    <a:pt x="426" y="611"/>
                  </a:lnTo>
                  <a:lnTo>
                    <a:pt x="429" y="612"/>
                  </a:lnTo>
                  <a:lnTo>
                    <a:pt x="429" y="611"/>
                  </a:lnTo>
                  <a:lnTo>
                    <a:pt x="431" y="609"/>
                  </a:lnTo>
                  <a:lnTo>
                    <a:pt x="430" y="607"/>
                  </a:lnTo>
                  <a:lnTo>
                    <a:pt x="429" y="607"/>
                  </a:lnTo>
                  <a:lnTo>
                    <a:pt x="429" y="606"/>
                  </a:lnTo>
                  <a:lnTo>
                    <a:pt x="430" y="603"/>
                  </a:lnTo>
                  <a:lnTo>
                    <a:pt x="430" y="601"/>
                  </a:lnTo>
                  <a:lnTo>
                    <a:pt x="429" y="600"/>
                  </a:lnTo>
                  <a:lnTo>
                    <a:pt x="429" y="597"/>
                  </a:lnTo>
                  <a:lnTo>
                    <a:pt x="429" y="596"/>
                  </a:lnTo>
                  <a:lnTo>
                    <a:pt x="428" y="594"/>
                  </a:lnTo>
                  <a:lnTo>
                    <a:pt x="429" y="594"/>
                  </a:lnTo>
                  <a:lnTo>
                    <a:pt x="425" y="593"/>
                  </a:lnTo>
                  <a:lnTo>
                    <a:pt x="405" y="593"/>
                  </a:lnTo>
                  <a:lnTo>
                    <a:pt x="366" y="599"/>
                  </a:lnTo>
                  <a:lnTo>
                    <a:pt x="355" y="600"/>
                  </a:lnTo>
                  <a:lnTo>
                    <a:pt x="348" y="602"/>
                  </a:lnTo>
                  <a:lnTo>
                    <a:pt x="330" y="611"/>
                  </a:lnTo>
                  <a:lnTo>
                    <a:pt x="325" y="611"/>
                  </a:lnTo>
                  <a:lnTo>
                    <a:pt x="334" y="617"/>
                  </a:lnTo>
                  <a:lnTo>
                    <a:pt x="342" y="621"/>
                  </a:lnTo>
                  <a:lnTo>
                    <a:pt x="346" y="626"/>
                  </a:lnTo>
                  <a:lnTo>
                    <a:pt x="351" y="631"/>
                  </a:lnTo>
                  <a:lnTo>
                    <a:pt x="354" y="633"/>
                  </a:lnTo>
                  <a:lnTo>
                    <a:pt x="349" y="631"/>
                  </a:lnTo>
                  <a:lnTo>
                    <a:pt x="347" y="636"/>
                  </a:lnTo>
                  <a:lnTo>
                    <a:pt x="346" y="638"/>
                  </a:lnTo>
                  <a:lnTo>
                    <a:pt x="346" y="642"/>
                  </a:lnTo>
                  <a:lnTo>
                    <a:pt x="349" y="648"/>
                  </a:lnTo>
                  <a:lnTo>
                    <a:pt x="353" y="652"/>
                  </a:lnTo>
                  <a:lnTo>
                    <a:pt x="355" y="655"/>
                  </a:lnTo>
                  <a:lnTo>
                    <a:pt x="357" y="656"/>
                  </a:lnTo>
                  <a:lnTo>
                    <a:pt x="358" y="655"/>
                  </a:lnTo>
                  <a:lnTo>
                    <a:pt x="358" y="658"/>
                  </a:lnTo>
                  <a:lnTo>
                    <a:pt x="355" y="658"/>
                  </a:lnTo>
                  <a:lnTo>
                    <a:pt x="358" y="659"/>
                  </a:lnTo>
                  <a:lnTo>
                    <a:pt x="360" y="661"/>
                  </a:lnTo>
                  <a:lnTo>
                    <a:pt x="363" y="664"/>
                  </a:lnTo>
                  <a:lnTo>
                    <a:pt x="364" y="661"/>
                  </a:lnTo>
                  <a:lnTo>
                    <a:pt x="363" y="660"/>
                  </a:lnTo>
                  <a:lnTo>
                    <a:pt x="361" y="656"/>
                  </a:lnTo>
                  <a:lnTo>
                    <a:pt x="366" y="659"/>
                  </a:lnTo>
                  <a:lnTo>
                    <a:pt x="370" y="664"/>
                  </a:lnTo>
                  <a:lnTo>
                    <a:pt x="367" y="662"/>
                  </a:lnTo>
                  <a:lnTo>
                    <a:pt x="365" y="664"/>
                  </a:lnTo>
                  <a:lnTo>
                    <a:pt x="366" y="667"/>
                  </a:lnTo>
                  <a:lnTo>
                    <a:pt x="369" y="670"/>
                  </a:lnTo>
                  <a:lnTo>
                    <a:pt x="369" y="674"/>
                  </a:lnTo>
                  <a:lnTo>
                    <a:pt x="366" y="672"/>
                  </a:lnTo>
                  <a:lnTo>
                    <a:pt x="365" y="668"/>
                  </a:lnTo>
                  <a:lnTo>
                    <a:pt x="364" y="671"/>
                  </a:lnTo>
                  <a:lnTo>
                    <a:pt x="365" y="677"/>
                  </a:lnTo>
                  <a:lnTo>
                    <a:pt x="365" y="680"/>
                  </a:lnTo>
                  <a:lnTo>
                    <a:pt x="364" y="673"/>
                  </a:lnTo>
                  <a:lnTo>
                    <a:pt x="363" y="677"/>
                  </a:lnTo>
                  <a:lnTo>
                    <a:pt x="361" y="679"/>
                  </a:lnTo>
                  <a:lnTo>
                    <a:pt x="363" y="673"/>
                  </a:lnTo>
                  <a:lnTo>
                    <a:pt x="360" y="676"/>
                  </a:lnTo>
                  <a:lnTo>
                    <a:pt x="363" y="671"/>
                  </a:lnTo>
                  <a:lnTo>
                    <a:pt x="361" y="668"/>
                  </a:lnTo>
                  <a:lnTo>
                    <a:pt x="363" y="667"/>
                  </a:lnTo>
                  <a:lnTo>
                    <a:pt x="364" y="666"/>
                  </a:lnTo>
                  <a:lnTo>
                    <a:pt x="359" y="662"/>
                  </a:lnTo>
                  <a:lnTo>
                    <a:pt x="355" y="658"/>
                  </a:lnTo>
                  <a:lnTo>
                    <a:pt x="352" y="652"/>
                  </a:lnTo>
                  <a:lnTo>
                    <a:pt x="349" y="649"/>
                  </a:lnTo>
                  <a:lnTo>
                    <a:pt x="351" y="658"/>
                  </a:lnTo>
                  <a:lnTo>
                    <a:pt x="352" y="662"/>
                  </a:lnTo>
                  <a:lnTo>
                    <a:pt x="353" y="666"/>
                  </a:lnTo>
                  <a:lnTo>
                    <a:pt x="353" y="664"/>
                  </a:lnTo>
                  <a:lnTo>
                    <a:pt x="357" y="662"/>
                  </a:lnTo>
                  <a:lnTo>
                    <a:pt x="355" y="666"/>
                  </a:lnTo>
                  <a:lnTo>
                    <a:pt x="354" y="667"/>
                  </a:lnTo>
                  <a:lnTo>
                    <a:pt x="355" y="668"/>
                  </a:lnTo>
                  <a:lnTo>
                    <a:pt x="358" y="667"/>
                  </a:lnTo>
                  <a:lnTo>
                    <a:pt x="357" y="671"/>
                  </a:lnTo>
                  <a:lnTo>
                    <a:pt x="355" y="672"/>
                  </a:lnTo>
                  <a:lnTo>
                    <a:pt x="358" y="676"/>
                  </a:lnTo>
                  <a:lnTo>
                    <a:pt x="363" y="682"/>
                  </a:lnTo>
                  <a:lnTo>
                    <a:pt x="366" y="685"/>
                  </a:lnTo>
                  <a:lnTo>
                    <a:pt x="365" y="683"/>
                  </a:lnTo>
                  <a:lnTo>
                    <a:pt x="369" y="684"/>
                  </a:lnTo>
                  <a:lnTo>
                    <a:pt x="370" y="689"/>
                  </a:lnTo>
                  <a:lnTo>
                    <a:pt x="372" y="690"/>
                  </a:lnTo>
                  <a:lnTo>
                    <a:pt x="375" y="689"/>
                  </a:lnTo>
                  <a:lnTo>
                    <a:pt x="376" y="686"/>
                  </a:lnTo>
                  <a:lnTo>
                    <a:pt x="376" y="684"/>
                  </a:lnTo>
                  <a:lnTo>
                    <a:pt x="377" y="682"/>
                  </a:lnTo>
                  <a:lnTo>
                    <a:pt x="381" y="680"/>
                  </a:lnTo>
                  <a:lnTo>
                    <a:pt x="383" y="679"/>
                  </a:lnTo>
                  <a:lnTo>
                    <a:pt x="384" y="683"/>
                  </a:lnTo>
                  <a:lnTo>
                    <a:pt x="382" y="686"/>
                  </a:lnTo>
                  <a:lnTo>
                    <a:pt x="381" y="690"/>
                  </a:lnTo>
                  <a:lnTo>
                    <a:pt x="382" y="692"/>
                  </a:lnTo>
                  <a:lnTo>
                    <a:pt x="385" y="692"/>
                  </a:lnTo>
                  <a:lnTo>
                    <a:pt x="387" y="691"/>
                  </a:lnTo>
                  <a:lnTo>
                    <a:pt x="389" y="688"/>
                  </a:lnTo>
                  <a:lnTo>
                    <a:pt x="388" y="686"/>
                  </a:lnTo>
                  <a:lnTo>
                    <a:pt x="389" y="682"/>
                  </a:lnTo>
                  <a:lnTo>
                    <a:pt x="390" y="685"/>
                  </a:lnTo>
                  <a:lnTo>
                    <a:pt x="390" y="688"/>
                  </a:lnTo>
                  <a:lnTo>
                    <a:pt x="388" y="691"/>
                  </a:lnTo>
                  <a:lnTo>
                    <a:pt x="387" y="692"/>
                  </a:lnTo>
                  <a:lnTo>
                    <a:pt x="387" y="694"/>
                  </a:lnTo>
                  <a:lnTo>
                    <a:pt x="389" y="695"/>
                  </a:lnTo>
                  <a:lnTo>
                    <a:pt x="390" y="696"/>
                  </a:lnTo>
                  <a:lnTo>
                    <a:pt x="395" y="698"/>
                  </a:lnTo>
                  <a:lnTo>
                    <a:pt x="395" y="702"/>
                  </a:lnTo>
                  <a:lnTo>
                    <a:pt x="393" y="701"/>
                  </a:lnTo>
                  <a:lnTo>
                    <a:pt x="391" y="702"/>
                  </a:lnTo>
                  <a:lnTo>
                    <a:pt x="391" y="703"/>
                  </a:lnTo>
                  <a:lnTo>
                    <a:pt x="394" y="709"/>
                  </a:lnTo>
                  <a:lnTo>
                    <a:pt x="390" y="708"/>
                  </a:lnTo>
                  <a:lnTo>
                    <a:pt x="388" y="702"/>
                  </a:lnTo>
                  <a:lnTo>
                    <a:pt x="390" y="700"/>
                  </a:lnTo>
                  <a:lnTo>
                    <a:pt x="388" y="698"/>
                  </a:lnTo>
                  <a:lnTo>
                    <a:pt x="387" y="696"/>
                  </a:lnTo>
                  <a:lnTo>
                    <a:pt x="385" y="695"/>
                  </a:lnTo>
                  <a:lnTo>
                    <a:pt x="384" y="694"/>
                  </a:lnTo>
                  <a:lnTo>
                    <a:pt x="381" y="692"/>
                  </a:lnTo>
                  <a:lnTo>
                    <a:pt x="379" y="695"/>
                  </a:lnTo>
                  <a:lnTo>
                    <a:pt x="383" y="698"/>
                  </a:lnTo>
                  <a:lnTo>
                    <a:pt x="384" y="704"/>
                  </a:lnTo>
                  <a:lnTo>
                    <a:pt x="388" y="707"/>
                  </a:lnTo>
                  <a:lnTo>
                    <a:pt x="388" y="712"/>
                  </a:lnTo>
                  <a:lnTo>
                    <a:pt x="389" y="720"/>
                  </a:lnTo>
                  <a:lnTo>
                    <a:pt x="393" y="725"/>
                  </a:lnTo>
                  <a:lnTo>
                    <a:pt x="395" y="727"/>
                  </a:lnTo>
                  <a:lnTo>
                    <a:pt x="397" y="728"/>
                  </a:lnTo>
                  <a:lnTo>
                    <a:pt x="400" y="728"/>
                  </a:lnTo>
                  <a:lnTo>
                    <a:pt x="402" y="733"/>
                  </a:lnTo>
                  <a:lnTo>
                    <a:pt x="399" y="732"/>
                  </a:lnTo>
                  <a:lnTo>
                    <a:pt x="400" y="734"/>
                  </a:lnTo>
                  <a:lnTo>
                    <a:pt x="397" y="737"/>
                  </a:lnTo>
                  <a:lnTo>
                    <a:pt x="396" y="737"/>
                  </a:lnTo>
                  <a:lnTo>
                    <a:pt x="396" y="738"/>
                  </a:lnTo>
                  <a:lnTo>
                    <a:pt x="394" y="736"/>
                  </a:lnTo>
                  <a:lnTo>
                    <a:pt x="393" y="737"/>
                  </a:lnTo>
                  <a:lnTo>
                    <a:pt x="390" y="742"/>
                  </a:lnTo>
                  <a:lnTo>
                    <a:pt x="388" y="739"/>
                  </a:lnTo>
                  <a:lnTo>
                    <a:pt x="387" y="738"/>
                  </a:lnTo>
                  <a:lnTo>
                    <a:pt x="387" y="737"/>
                  </a:lnTo>
                  <a:lnTo>
                    <a:pt x="387" y="734"/>
                  </a:lnTo>
                  <a:lnTo>
                    <a:pt x="388" y="732"/>
                  </a:lnTo>
                  <a:lnTo>
                    <a:pt x="387" y="728"/>
                  </a:lnTo>
                  <a:lnTo>
                    <a:pt x="389" y="722"/>
                  </a:lnTo>
                  <a:lnTo>
                    <a:pt x="387" y="713"/>
                  </a:lnTo>
                  <a:lnTo>
                    <a:pt x="385" y="714"/>
                  </a:lnTo>
                  <a:lnTo>
                    <a:pt x="384" y="714"/>
                  </a:lnTo>
                  <a:lnTo>
                    <a:pt x="385" y="718"/>
                  </a:lnTo>
                  <a:lnTo>
                    <a:pt x="382" y="716"/>
                  </a:lnTo>
                  <a:lnTo>
                    <a:pt x="377" y="714"/>
                  </a:lnTo>
                  <a:lnTo>
                    <a:pt x="376" y="713"/>
                  </a:lnTo>
                  <a:lnTo>
                    <a:pt x="375" y="714"/>
                  </a:lnTo>
                  <a:lnTo>
                    <a:pt x="376" y="716"/>
                  </a:lnTo>
                  <a:lnTo>
                    <a:pt x="375" y="722"/>
                  </a:lnTo>
                  <a:lnTo>
                    <a:pt x="375" y="724"/>
                  </a:lnTo>
                  <a:lnTo>
                    <a:pt x="372" y="720"/>
                  </a:lnTo>
                  <a:lnTo>
                    <a:pt x="371" y="716"/>
                  </a:lnTo>
                  <a:lnTo>
                    <a:pt x="373" y="714"/>
                  </a:lnTo>
                  <a:lnTo>
                    <a:pt x="375" y="712"/>
                  </a:lnTo>
                  <a:lnTo>
                    <a:pt x="377" y="709"/>
                  </a:lnTo>
                  <a:lnTo>
                    <a:pt x="378" y="707"/>
                  </a:lnTo>
                  <a:lnTo>
                    <a:pt x="378" y="704"/>
                  </a:lnTo>
                  <a:lnTo>
                    <a:pt x="376" y="704"/>
                  </a:lnTo>
                  <a:lnTo>
                    <a:pt x="375" y="707"/>
                  </a:lnTo>
                  <a:lnTo>
                    <a:pt x="375" y="706"/>
                  </a:lnTo>
                  <a:lnTo>
                    <a:pt x="373" y="703"/>
                  </a:lnTo>
                  <a:lnTo>
                    <a:pt x="370" y="708"/>
                  </a:lnTo>
                  <a:lnTo>
                    <a:pt x="366" y="715"/>
                  </a:lnTo>
                  <a:lnTo>
                    <a:pt x="363" y="722"/>
                  </a:lnTo>
                  <a:lnTo>
                    <a:pt x="364" y="725"/>
                  </a:lnTo>
                  <a:lnTo>
                    <a:pt x="365" y="726"/>
                  </a:lnTo>
                  <a:lnTo>
                    <a:pt x="367" y="725"/>
                  </a:lnTo>
                  <a:lnTo>
                    <a:pt x="369" y="728"/>
                  </a:lnTo>
                  <a:lnTo>
                    <a:pt x="367" y="728"/>
                  </a:lnTo>
                  <a:lnTo>
                    <a:pt x="367" y="733"/>
                  </a:lnTo>
                  <a:lnTo>
                    <a:pt x="366" y="734"/>
                  </a:lnTo>
                  <a:lnTo>
                    <a:pt x="369" y="737"/>
                  </a:lnTo>
                  <a:lnTo>
                    <a:pt x="369" y="739"/>
                  </a:lnTo>
                  <a:lnTo>
                    <a:pt x="367" y="738"/>
                  </a:lnTo>
                  <a:lnTo>
                    <a:pt x="369" y="744"/>
                  </a:lnTo>
                  <a:lnTo>
                    <a:pt x="367" y="748"/>
                  </a:lnTo>
                  <a:lnTo>
                    <a:pt x="364" y="743"/>
                  </a:lnTo>
                  <a:lnTo>
                    <a:pt x="361" y="739"/>
                  </a:lnTo>
                  <a:lnTo>
                    <a:pt x="360" y="743"/>
                  </a:lnTo>
                  <a:lnTo>
                    <a:pt x="355" y="746"/>
                  </a:lnTo>
                  <a:lnTo>
                    <a:pt x="355" y="744"/>
                  </a:lnTo>
                  <a:lnTo>
                    <a:pt x="354" y="742"/>
                  </a:lnTo>
                  <a:lnTo>
                    <a:pt x="352" y="744"/>
                  </a:lnTo>
                  <a:lnTo>
                    <a:pt x="351" y="738"/>
                  </a:lnTo>
                  <a:lnTo>
                    <a:pt x="352" y="734"/>
                  </a:lnTo>
                  <a:lnTo>
                    <a:pt x="349" y="736"/>
                  </a:lnTo>
                  <a:lnTo>
                    <a:pt x="349" y="732"/>
                  </a:lnTo>
                  <a:lnTo>
                    <a:pt x="354" y="726"/>
                  </a:lnTo>
                  <a:lnTo>
                    <a:pt x="354" y="724"/>
                  </a:lnTo>
                  <a:lnTo>
                    <a:pt x="351" y="725"/>
                  </a:lnTo>
                  <a:lnTo>
                    <a:pt x="347" y="730"/>
                  </a:lnTo>
                  <a:lnTo>
                    <a:pt x="346" y="730"/>
                  </a:lnTo>
                  <a:lnTo>
                    <a:pt x="346" y="727"/>
                  </a:lnTo>
                  <a:lnTo>
                    <a:pt x="348" y="721"/>
                  </a:lnTo>
                  <a:lnTo>
                    <a:pt x="351" y="719"/>
                  </a:lnTo>
                  <a:lnTo>
                    <a:pt x="355" y="721"/>
                  </a:lnTo>
                  <a:lnTo>
                    <a:pt x="360" y="720"/>
                  </a:lnTo>
                  <a:lnTo>
                    <a:pt x="363" y="718"/>
                  </a:lnTo>
                  <a:lnTo>
                    <a:pt x="366" y="713"/>
                  </a:lnTo>
                  <a:lnTo>
                    <a:pt x="371" y="704"/>
                  </a:lnTo>
                  <a:lnTo>
                    <a:pt x="373" y="700"/>
                  </a:lnTo>
                  <a:lnTo>
                    <a:pt x="371" y="700"/>
                  </a:lnTo>
                  <a:lnTo>
                    <a:pt x="371" y="696"/>
                  </a:lnTo>
                  <a:lnTo>
                    <a:pt x="370" y="695"/>
                  </a:lnTo>
                  <a:lnTo>
                    <a:pt x="370" y="696"/>
                  </a:lnTo>
                  <a:lnTo>
                    <a:pt x="369" y="698"/>
                  </a:lnTo>
                  <a:lnTo>
                    <a:pt x="365" y="700"/>
                  </a:lnTo>
                  <a:lnTo>
                    <a:pt x="361" y="700"/>
                  </a:lnTo>
                  <a:lnTo>
                    <a:pt x="360" y="701"/>
                  </a:lnTo>
                  <a:lnTo>
                    <a:pt x="359" y="702"/>
                  </a:lnTo>
                  <a:lnTo>
                    <a:pt x="353" y="702"/>
                  </a:lnTo>
                  <a:lnTo>
                    <a:pt x="355" y="700"/>
                  </a:lnTo>
                  <a:lnTo>
                    <a:pt x="358" y="697"/>
                  </a:lnTo>
                  <a:lnTo>
                    <a:pt x="359" y="695"/>
                  </a:lnTo>
                  <a:lnTo>
                    <a:pt x="360" y="694"/>
                  </a:lnTo>
                  <a:lnTo>
                    <a:pt x="365" y="694"/>
                  </a:lnTo>
                  <a:lnTo>
                    <a:pt x="367" y="695"/>
                  </a:lnTo>
                  <a:lnTo>
                    <a:pt x="367" y="692"/>
                  </a:lnTo>
                  <a:lnTo>
                    <a:pt x="370" y="691"/>
                  </a:lnTo>
                  <a:lnTo>
                    <a:pt x="370" y="690"/>
                  </a:lnTo>
                  <a:lnTo>
                    <a:pt x="367" y="690"/>
                  </a:lnTo>
                  <a:lnTo>
                    <a:pt x="364" y="688"/>
                  </a:lnTo>
                  <a:lnTo>
                    <a:pt x="364" y="685"/>
                  </a:lnTo>
                  <a:lnTo>
                    <a:pt x="364" y="688"/>
                  </a:lnTo>
                  <a:lnTo>
                    <a:pt x="360" y="688"/>
                  </a:lnTo>
                  <a:lnTo>
                    <a:pt x="357" y="686"/>
                  </a:lnTo>
                  <a:lnTo>
                    <a:pt x="354" y="686"/>
                  </a:lnTo>
                  <a:lnTo>
                    <a:pt x="351" y="685"/>
                  </a:lnTo>
                  <a:lnTo>
                    <a:pt x="348" y="680"/>
                  </a:lnTo>
                  <a:lnTo>
                    <a:pt x="347" y="683"/>
                  </a:lnTo>
                  <a:lnTo>
                    <a:pt x="351" y="688"/>
                  </a:lnTo>
                  <a:lnTo>
                    <a:pt x="352" y="690"/>
                  </a:lnTo>
                  <a:lnTo>
                    <a:pt x="349" y="691"/>
                  </a:lnTo>
                  <a:lnTo>
                    <a:pt x="349" y="695"/>
                  </a:lnTo>
                  <a:lnTo>
                    <a:pt x="351" y="698"/>
                  </a:lnTo>
                  <a:lnTo>
                    <a:pt x="347" y="697"/>
                  </a:lnTo>
                  <a:lnTo>
                    <a:pt x="347" y="700"/>
                  </a:lnTo>
                  <a:lnTo>
                    <a:pt x="347" y="703"/>
                  </a:lnTo>
                  <a:lnTo>
                    <a:pt x="346" y="702"/>
                  </a:lnTo>
                  <a:lnTo>
                    <a:pt x="344" y="698"/>
                  </a:lnTo>
                  <a:lnTo>
                    <a:pt x="343" y="698"/>
                  </a:lnTo>
                  <a:lnTo>
                    <a:pt x="342" y="701"/>
                  </a:lnTo>
                  <a:lnTo>
                    <a:pt x="341" y="698"/>
                  </a:lnTo>
                  <a:lnTo>
                    <a:pt x="340" y="701"/>
                  </a:lnTo>
                  <a:lnTo>
                    <a:pt x="340" y="707"/>
                  </a:lnTo>
                  <a:lnTo>
                    <a:pt x="338" y="702"/>
                  </a:lnTo>
                  <a:lnTo>
                    <a:pt x="336" y="702"/>
                  </a:lnTo>
                  <a:lnTo>
                    <a:pt x="332" y="704"/>
                  </a:lnTo>
                  <a:lnTo>
                    <a:pt x="334" y="698"/>
                  </a:lnTo>
                  <a:lnTo>
                    <a:pt x="334" y="694"/>
                  </a:lnTo>
                  <a:lnTo>
                    <a:pt x="336" y="689"/>
                  </a:lnTo>
                  <a:lnTo>
                    <a:pt x="334" y="688"/>
                  </a:lnTo>
                  <a:lnTo>
                    <a:pt x="331" y="685"/>
                  </a:lnTo>
                  <a:lnTo>
                    <a:pt x="331" y="686"/>
                  </a:lnTo>
                  <a:lnTo>
                    <a:pt x="329" y="685"/>
                  </a:lnTo>
                  <a:lnTo>
                    <a:pt x="325" y="685"/>
                  </a:lnTo>
                  <a:lnTo>
                    <a:pt x="325" y="688"/>
                  </a:lnTo>
                  <a:lnTo>
                    <a:pt x="329" y="690"/>
                  </a:lnTo>
                  <a:lnTo>
                    <a:pt x="329" y="695"/>
                  </a:lnTo>
                  <a:lnTo>
                    <a:pt x="326" y="695"/>
                  </a:lnTo>
                  <a:lnTo>
                    <a:pt x="326" y="698"/>
                  </a:lnTo>
                  <a:lnTo>
                    <a:pt x="324" y="697"/>
                  </a:lnTo>
                  <a:lnTo>
                    <a:pt x="322" y="692"/>
                  </a:lnTo>
                  <a:lnTo>
                    <a:pt x="320" y="690"/>
                  </a:lnTo>
                  <a:lnTo>
                    <a:pt x="318" y="691"/>
                  </a:lnTo>
                  <a:lnTo>
                    <a:pt x="318" y="694"/>
                  </a:lnTo>
                  <a:lnTo>
                    <a:pt x="320" y="696"/>
                  </a:lnTo>
                  <a:lnTo>
                    <a:pt x="323" y="698"/>
                  </a:lnTo>
                  <a:lnTo>
                    <a:pt x="324" y="703"/>
                  </a:lnTo>
                  <a:lnTo>
                    <a:pt x="323" y="709"/>
                  </a:lnTo>
                  <a:lnTo>
                    <a:pt x="319" y="703"/>
                  </a:lnTo>
                  <a:lnTo>
                    <a:pt x="317" y="698"/>
                  </a:lnTo>
                  <a:lnTo>
                    <a:pt x="316" y="700"/>
                  </a:lnTo>
                  <a:lnTo>
                    <a:pt x="314" y="702"/>
                  </a:lnTo>
                  <a:lnTo>
                    <a:pt x="313" y="700"/>
                  </a:lnTo>
                  <a:lnTo>
                    <a:pt x="312" y="700"/>
                  </a:lnTo>
                  <a:lnTo>
                    <a:pt x="310" y="703"/>
                  </a:lnTo>
                  <a:lnTo>
                    <a:pt x="310" y="706"/>
                  </a:lnTo>
                  <a:lnTo>
                    <a:pt x="310" y="709"/>
                  </a:lnTo>
                  <a:lnTo>
                    <a:pt x="313" y="710"/>
                  </a:lnTo>
                  <a:lnTo>
                    <a:pt x="317" y="710"/>
                  </a:lnTo>
                  <a:lnTo>
                    <a:pt x="318" y="712"/>
                  </a:lnTo>
                  <a:lnTo>
                    <a:pt x="316" y="712"/>
                  </a:lnTo>
                  <a:lnTo>
                    <a:pt x="312" y="712"/>
                  </a:lnTo>
                  <a:lnTo>
                    <a:pt x="311" y="710"/>
                  </a:lnTo>
                  <a:lnTo>
                    <a:pt x="311" y="713"/>
                  </a:lnTo>
                  <a:lnTo>
                    <a:pt x="312" y="716"/>
                  </a:lnTo>
                  <a:lnTo>
                    <a:pt x="311" y="715"/>
                  </a:lnTo>
                  <a:lnTo>
                    <a:pt x="311" y="718"/>
                  </a:lnTo>
                  <a:lnTo>
                    <a:pt x="308" y="720"/>
                  </a:lnTo>
                  <a:lnTo>
                    <a:pt x="307" y="718"/>
                  </a:lnTo>
                  <a:lnTo>
                    <a:pt x="308" y="712"/>
                  </a:lnTo>
                  <a:lnTo>
                    <a:pt x="308" y="709"/>
                  </a:lnTo>
                  <a:lnTo>
                    <a:pt x="307" y="713"/>
                  </a:lnTo>
                  <a:lnTo>
                    <a:pt x="306" y="715"/>
                  </a:lnTo>
                  <a:lnTo>
                    <a:pt x="305" y="713"/>
                  </a:lnTo>
                  <a:lnTo>
                    <a:pt x="304" y="715"/>
                  </a:lnTo>
                  <a:lnTo>
                    <a:pt x="302" y="714"/>
                  </a:lnTo>
                  <a:lnTo>
                    <a:pt x="301" y="712"/>
                  </a:lnTo>
                  <a:lnTo>
                    <a:pt x="301" y="709"/>
                  </a:lnTo>
                  <a:lnTo>
                    <a:pt x="300" y="706"/>
                  </a:lnTo>
                  <a:lnTo>
                    <a:pt x="300" y="708"/>
                  </a:lnTo>
                  <a:lnTo>
                    <a:pt x="298" y="709"/>
                  </a:lnTo>
                  <a:lnTo>
                    <a:pt x="299" y="712"/>
                  </a:lnTo>
                  <a:lnTo>
                    <a:pt x="299" y="716"/>
                  </a:lnTo>
                  <a:lnTo>
                    <a:pt x="293" y="721"/>
                  </a:lnTo>
                  <a:lnTo>
                    <a:pt x="295" y="716"/>
                  </a:lnTo>
                  <a:lnTo>
                    <a:pt x="298" y="712"/>
                  </a:lnTo>
                  <a:lnTo>
                    <a:pt x="296" y="709"/>
                  </a:lnTo>
                  <a:lnTo>
                    <a:pt x="294" y="710"/>
                  </a:lnTo>
                  <a:lnTo>
                    <a:pt x="292" y="712"/>
                  </a:lnTo>
                  <a:lnTo>
                    <a:pt x="290" y="713"/>
                  </a:lnTo>
                  <a:lnTo>
                    <a:pt x="287" y="712"/>
                  </a:lnTo>
                  <a:lnTo>
                    <a:pt x="287" y="714"/>
                  </a:lnTo>
                  <a:lnTo>
                    <a:pt x="290" y="718"/>
                  </a:lnTo>
                  <a:lnTo>
                    <a:pt x="289" y="722"/>
                  </a:lnTo>
                  <a:lnTo>
                    <a:pt x="289" y="724"/>
                  </a:lnTo>
                  <a:lnTo>
                    <a:pt x="288" y="724"/>
                  </a:lnTo>
                  <a:lnTo>
                    <a:pt x="284" y="722"/>
                  </a:lnTo>
                  <a:lnTo>
                    <a:pt x="284" y="725"/>
                  </a:lnTo>
                  <a:lnTo>
                    <a:pt x="282" y="727"/>
                  </a:lnTo>
                  <a:lnTo>
                    <a:pt x="281" y="728"/>
                  </a:lnTo>
                  <a:lnTo>
                    <a:pt x="278" y="728"/>
                  </a:lnTo>
                  <a:lnTo>
                    <a:pt x="277" y="725"/>
                  </a:lnTo>
                  <a:lnTo>
                    <a:pt x="276" y="722"/>
                  </a:lnTo>
                  <a:lnTo>
                    <a:pt x="272" y="724"/>
                  </a:lnTo>
                  <a:lnTo>
                    <a:pt x="271" y="724"/>
                  </a:lnTo>
                  <a:lnTo>
                    <a:pt x="273" y="720"/>
                  </a:lnTo>
                  <a:lnTo>
                    <a:pt x="275" y="718"/>
                  </a:lnTo>
                  <a:lnTo>
                    <a:pt x="275" y="714"/>
                  </a:lnTo>
                  <a:lnTo>
                    <a:pt x="276" y="713"/>
                  </a:lnTo>
                  <a:lnTo>
                    <a:pt x="273" y="712"/>
                  </a:lnTo>
                  <a:lnTo>
                    <a:pt x="272" y="712"/>
                  </a:lnTo>
                  <a:lnTo>
                    <a:pt x="275" y="709"/>
                  </a:lnTo>
                  <a:lnTo>
                    <a:pt x="276" y="707"/>
                  </a:lnTo>
                  <a:lnTo>
                    <a:pt x="276" y="706"/>
                  </a:lnTo>
                  <a:lnTo>
                    <a:pt x="273" y="703"/>
                  </a:lnTo>
                  <a:lnTo>
                    <a:pt x="273" y="704"/>
                  </a:lnTo>
                  <a:lnTo>
                    <a:pt x="273" y="707"/>
                  </a:lnTo>
                  <a:lnTo>
                    <a:pt x="272" y="708"/>
                  </a:lnTo>
                  <a:lnTo>
                    <a:pt x="269" y="710"/>
                  </a:lnTo>
                  <a:lnTo>
                    <a:pt x="267" y="709"/>
                  </a:lnTo>
                  <a:lnTo>
                    <a:pt x="265" y="707"/>
                  </a:lnTo>
                  <a:lnTo>
                    <a:pt x="267" y="703"/>
                  </a:lnTo>
                  <a:lnTo>
                    <a:pt x="266" y="700"/>
                  </a:lnTo>
                  <a:lnTo>
                    <a:pt x="265" y="701"/>
                  </a:lnTo>
                  <a:lnTo>
                    <a:pt x="264" y="701"/>
                  </a:lnTo>
                  <a:lnTo>
                    <a:pt x="263" y="700"/>
                  </a:lnTo>
                  <a:lnTo>
                    <a:pt x="263" y="697"/>
                  </a:lnTo>
                  <a:lnTo>
                    <a:pt x="261" y="698"/>
                  </a:lnTo>
                  <a:lnTo>
                    <a:pt x="259" y="698"/>
                  </a:lnTo>
                  <a:lnTo>
                    <a:pt x="258" y="700"/>
                  </a:lnTo>
                  <a:lnTo>
                    <a:pt x="259" y="701"/>
                  </a:lnTo>
                  <a:lnTo>
                    <a:pt x="263" y="701"/>
                  </a:lnTo>
                  <a:lnTo>
                    <a:pt x="264" y="703"/>
                  </a:lnTo>
                  <a:lnTo>
                    <a:pt x="263" y="703"/>
                  </a:lnTo>
                  <a:lnTo>
                    <a:pt x="260" y="706"/>
                  </a:lnTo>
                  <a:lnTo>
                    <a:pt x="260" y="708"/>
                  </a:lnTo>
                  <a:lnTo>
                    <a:pt x="258" y="706"/>
                  </a:lnTo>
                  <a:lnTo>
                    <a:pt x="255" y="704"/>
                  </a:lnTo>
                  <a:lnTo>
                    <a:pt x="257" y="702"/>
                  </a:lnTo>
                  <a:lnTo>
                    <a:pt x="254" y="702"/>
                  </a:lnTo>
                  <a:lnTo>
                    <a:pt x="253" y="704"/>
                  </a:lnTo>
                  <a:lnTo>
                    <a:pt x="253" y="702"/>
                  </a:lnTo>
                  <a:lnTo>
                    <a:pt x="252" y="701"/>
                  </a:lnTo>
                  <a:lnTo>
                    <a:pt x="253" y="700"/>
                  </a:lnTo>
                  <a:lnTo>
                    <a:pt x="257" y="698"/>
                  </a:lnTo>
                  <a:lnTo>
                    <a:pt x="257" y="697"/>
                  </a:lnTo>
                  <a:lnTo>
                    <a:pt x="255" y="697"/>
                  </a:lnTo>
                  <a:lnTo>
                    <a:pt x="257" y="696"/>
                  </a:lnTo>
                  <a:lnTo>
                    <a:pt x="259" y="695"/>
                  </a:lnTo>
                  <a:lnTo>
                    <a:pt x="260" y="694"/>
                  </a:lnTo>
                  <a:lnTo>
                    <a:pt x="265" y="691"/>
                  </a:lnTo>
                  <a:lnTo>
                    <a:pt x="267" y="689"/>
                  </a:lnTo>
                  <a:lnTo>
                    <a:pt x="266" y="688"/>
                  </a:lnTo>
                  <a:lnTo>
                    <a:pt x="266" y="689"/>
                  </a:lnTo>
                  <a:lnTo>
                    <a:pt x="265" y="690"/>
                  </a:lnTo>
                  <a:lnTo>
                    <a:pt x="263" y="689"/>
                  </a:lnTo>
                  <a:lnTo>
                    <a:pt x="259" y="689"/>
                  </a:lnTo>
                  <a:lnTo>
                    <a:pt x="261" y="686"/>
                  </a:lnTo>
                  <a:lnTo>
                    <a:pt x="264" y="685"/>
                  </a:lnTo>
                  <a:lnTo>
                    <a:pt x="264" y="684"/>
                  </a:lnTo>
                  <a:lnTo>
                    <a:pt x="263" y="683"/>
                  </a:lnTo>
                  <a:lnTo>
                    <a:pt x="261" y="684"/>
                  </a:lnTo>
                  <a:lnTo>
                    <a:pt x="257" y="688"/>
                  </a:lnTo>
                  <a:lnTo>
                    <a:pt x="257" y="685"/>
                  </a:lnTo>
                  <a:lnTo>
                    <a:pt x="259" y="683"/>
                  </a:lnTo>
                  <a:lnTo>
                    <a:pt x="260" y="680"/>
                  </a:lnTo>
                  <a:lnTo>
                    <a:pt x="257" y="682"/>
                  </a:lnTo>
                  <a:lnTo>
                    <a:pt x="255" y="684"/>
                  </a:lnTo>
                  <a:lnTo>
                    <a:pt x="251" y="686"/>
                  </a:lnTo>
                  <a:lnTo>
                    <a:pt x="251" y="682"/>
                  </a:lnTo>
                  <a:lnTo>
                    <a:pt x="249" y="682"/>
                  </a:lnTo>
                  <a:lnTo>
                    <a:pt x="248" y="683"/>
                  </a:lnTo>
                  <a:lnTo>
                    <a:pt x="248" y="686"/>
                  </a:lnTo>
                  <a:lnTo>
                    <a:pt x="245" y="683"/>
                  </a:lnTo>
                  <a:lnTo>
                    <a:pt x="242" y="682"/>
                  </a:lnTo>
                  <a:lnTo>
                    <a:pt x="241" y="684"/>
                  </a:lnTo>
                  <a:lnTo>
                    <a:pt x="240" y="685"/>
                  </a:lnTo>
                  <a:lnTo>
                    <a:pt x="237" y="683"/>
                  </a:lnTo>
                  <a:lnTo>
                    <a:pt x="235" y="682"/>
                  </a:lnTo>
                  <a:lnTo>
                    <a:pt x="235" y="678"/>
                  </a:lnTo>
                  <a:lnTo>
                    <a:pt x="236" y="677"/>
                  </a:lnTo>
                  <a:lnTo>
                    <a:pt x="239" y="676"/>
                  </a:lnTo>
                  <a:lnTo>
                    <a:pt x="235" y="676"/>
                  </a:lnTo>
                  <a:lnTo>
                    <a:pt x="233" y="678"/>
                  </a:lnTo>
                  <a:lnTo>
                    <a:pt x="231" y="682"/>
                  </a:lnTo>
                  <a:lnTo>
                    <a:pt x="230" y="683"/>
                  </a:lnTo>
                  <a:lnTo>
                    <a:pt x="230" y="685"/>
                  </a:lnTo>
                  <a:lnTo>
                    <a:pt x="233" y="688"/>
                  </a:lnTo>
                  <a:lnTo>
                    <a:pt x="235" y="689"/>
                  </a:lnTo>
                  <a:lnTo>
                    <a:pt x="237" y="691"/>
                  </a:lnTo>
                  <a:lnTo>
                    <a:pt x="241" y="692"/>
                  </a:lnTo>
                  <a:lnTo>
                    <a:pt x="240" y="694"/>
                  </a:lnTo>
                  <a:lnTo>
                    <a:pt x="239" y="695"/>
                  </a:lnTo>
                  <a:lnTo>
                    <a:pt x="236" y="695"/>
                  </a:lnTo>
                  <a:lnTo>
                    <a:pt x="236" y="696"/>
                  </a:lnTo>
                  <a:lnTo>
                    <a:pt x="241" y="697"/>
                  </a:lnTo>
                  <a:lnTo>
                    <a:pt x="243" y="702"/>
                  </a:lnTo>
                  <a:lnTo>
                    <a:pt x="241" y="702"/>
                  </a:lnTo>
                  <a:lnTo>
                    <a:pt x="237" y="700"/>
                  </a:lnTo>
                  <a:lnTo>
                    <a:pt x="236" y="701"/>
                  </a:lnTo>
                  <a:lnTo>
                    <a:pt x="235" y="702"/>
                  </a:lnTo>
                  <a:lnTo>
                    <a:pt x="229" y="700"/>
                  </a:lnTo>
                  <a:lnTo>
                    <a:pt x="228" y="700"/>
                  </a:lnTo>
                  <a:lnTo>
                    <a:pt x="227" y="701"/>
                  </a:lnTo>
                  <a:lnTo>
                    <a:pt x="224" y="707"/>
                  </a:lnTo>
                  <a:lnTo>
                    <a:pt x="223" y="707"/>
                  </a:lnTo>
                  <a:lnTo>
                    <a:pt x="223" y="704"/>
                  </a:lnTo>
                  <a:lnTo>
                    <a:pt x="220" y="700"/>
                  </a:lnTo>
                  <a:lnTo>
                    <a:pt x="220" y="696"/>
                  </a:lnTo>
                  <a:lnTo>
                    <a:pt x="219" y="700"/>
                  </a:lnTo>
                  <a:lnTo>
                    <a:pt x="218" y="703"/>
                  </a:lnTo>
                  <a:lnTo>
                    <a:pt x="219" y="704"/>
                  </a:lnTo>
                  <a:lnTo>
                    <a:pt x="217" y="703"/>
                  </a:lnTo>
                  <a:lnTo>
                    <a:pt x="214" y="701"/>
                  </a:lnTo>
                  <a:lnTo>
                    <a:pt x="216" y="704"/>
                  </a:lnTo>
                  <a:lnTo>
                    <a:pt x="216" y="708"/>
                  </a:lnTo>
                  <a:lnTo>
                    <a:pt x="216" y="710"/>
                  </a:lnTo>
                  <a:lnTo>
                    <a:pt x="218" y="712"/>
                  </a:lnTo>
                  <a:lnTo>
                    <a:pt x="220" y="713"/>
                  </a:lnTo>
                  <a:lnTo>
                    <a:pt x="220" y="715"/>
                  </a:lnTo>
                  <a:lnTo>
                    <a:pt x="220" y="719"/>
                  </a:lnTo>
                  <a:lnTo>
                    <a:pt x="222" y="719"/>
                  </a:lnTo>
                  <a:lnTo>
                    <a:pt x="223" y="718"/>
                  </a:lnTo>
                  <a:lnTo>
                    <a:pt x="223" y="712"/>
                  </a:lnTo>
                  <a:lnTo>
                    <a:pt x="224" y="710"/>
                  </a:lnTo>
                  <a:lnTo>
                    <a:pt x="227" y="715"/>
                  </a:lnTo>
                  <a:lnTo>
                    <a:pt x="228" y="720"/>
                  </a:lnTo>
                  <a:lnTo>
                    <a:pt x="224" y="725"/>
                  </a:lnTo>
                  <a:lnTo>
                    <a:pt x="224" y="722"/>
                  </a:lnTo>
                  <a:lnTo>
                    <a:pt x="222" y="720"/>
                  </a:lnTo>
                  <a:lnTo>
                    <a:pt x="223" y="725"/>
                  </a:lnTo>
                  <a:lnTo>
                    <a:pt x="222" y="726"/>
                  </a:lnTo>
                  <a:lnTo>
                    <a:pt x="219" y="724"/>
                  </a:lnTo>
                  <a:lnTo>
                    <a:pt x="216" y="722"/>
                  </a:lnTo>
                  <a:lnTo>
                    <a:pt x="218" y="721"/>
                  </a:lnTo>
                  <a:lnTo>
                    <a:pt x="219" y="719"/>
                  </a:lnTo>
                  <a:lnTo>
                    <a:pt x="219" y="718"/>
                  </a:lnTo>
                  <a:lnTo>
                    <a:pt x="217" y="719"/>
                  </a:lnTo>
                  <a:lnTo>
                    <a:pt x="214" y="720"/>
                  </a:lnTo>
                  <a:lnTo>
                    <a:pt x="214" y="716"/>
                  </a:lnTo>
                  <a:lnTo>
                    <a:pt x="212" y="715"/>
                  </a:lnTo>
                  <a:lnTo>
                    <a:pt x="206" y="716"/>
                  </a:lnTo>
                  <a:lnTo>
                    <a:pt x="207" y="713"/>
                  </a:lnTo>
                  <a:lnTo>
                    <a:pt x="210" y="710"/>
                  </a:lnTo>
                  <a:lnTo>
                    <a:pt x="213" y="710"/>
                  </a:lnTo>
                  <a:lnTo>
                    <a:pt x="213" y="709"/>
                  </a:lnTo>
                  <a:lnTo>
                    <a:pt x="210" y="709"/>
                  </a:lnTo>
                  <a:lnTo>
                    <a:pt x="210" y="708"/>
                  </a:lnTo>
                  <a:lnTo>
                    <a:pt x="211" y="706"/>
                  </a:lnTo>
                  <a:lnTo>
                    <a:pt x="210" y="703"/>
                  </a:lnTo>
                  <a:lnTo>
                    <a:pt x="210" y="702"/>
                  </a:lnTo>
                  <a:lnTo>
                    <a:pt x="208" y="701"/>
                  </a:lnTo>
                  <a:lnTo>
                    <a:pt x="207" y="703"/>
                  </a:lnTo>
                  <a:lnTo>
                    <a:pt x="206" y="703"/>
                  </a:lnTo>
                  <a:lnTo>
                    <a:pt x="205" y="706"/>
                  </a:lnTo>
                  <a:lnTo>
                    <a:pt x="205" y="709"/>
                  </a:lnTo>
                  <a:lnTo>
                    <a:pt x="202" y="706"/>
                  </a:lnTo>
                  <a:lnTo>
                    <a:pt x="200" y="702"/>
                  </a:lnTo>
                  <a:lnTo>
                    <a:pt x="200" y="700"/>
                  </a:lnTo>
                  <a:lnTo>
                    <a:pt x="198" y="697"/>
                  </a:lnTo>
                  <a:lnTo>
                    <a:pt x="200" y="695"/>
                  </a:lnTo>
                  <a:lnTo>
                    <a:pt x="200" y="692"/>
                  </a:lnTo>
                  <a:lnTo>
                    <a:pt x="198" y="694"/>
                  </a:lnTo>
                  <a:lnTo>
                    <a:pt x="198" y="692"/>
                  </a:lnTo>
                  <a:lnTo>
                    <a:pt x="196" y="691"/>
                  </a:lnTo>
                  <a:lnTo>
                    <a:pt x="194" y="691"/>
                  </a:lnTo>
                  <a:lnTo>
                    <a:pt x="193" y="690"/>
                  </a:lnTo>
                  <a:lnTo>
                    <a:pt x="192" y="689"/>
                  </a:lnTo>
                  <a:lnTo>
                    <a:pt x="192" y="686"/>
                  </a:lnTo>
                  <a:lnTo>
                    <a:pt x="190" y="690"/>
                  </a:lnTo>
                  <a:lnTo>
                    <a:pt x="192" y="691"/>
                  </a:lnTo>
                  <a:lnTo>
                    <a:pt x="195" y="692"/>
                  </a:lnTo>
                  <a:lnTo>
                    <a:pt x="194" y="695"/>
                  </a:lnTo>
                  <a:lnTo>
                    <a:pt x="193" y="696"/>
                  </a:lnTo>
                  <a:lnTo>
                    <a:pt x="193" y="698"/>
                  </a:lnTo>
                  <a:lnTo>
                    <a:pt x="190" y="701"/>
                  </a:lnTo>
                  <a:lnTo>
                    <a:pt x="194" y="701"/>
                  </a:lnTo>
                  <a:lnTo>
                    <a:pt x="196" y="701"/>
                  </a:lnTo>
                  <a:lnTo>
                    <a:pt x="198" y="704"/>
                  </a:lnTo>
                  <a:lnTo>
                    <a:pt x="196" y="707"/>
                  </a:lnTo>
                  <a:lnTo>
                    <a:pt x="195" y="707"/>
                  </a:lnTo>
                  <a:lnTo>
                    <a:pt x="194" y="708"/>
                  </a:lnTo>
                  <a:lnTo>
                    <a:pt x="193" y="709"/>
                  </a:lnTo>
                  <a:lnTo>
                    <a:pt x="190" y="710"/>
                  </a:lnTo>
                  <a:lnTo>
                    <a:pt x="189" y="709"/>
                  </a:lnTo>
                  <a:lnTo>
                    <a:pt x="189" y="704"/>
                  </a:lnTo>
                  <a:lnTo>
                    <a:pt x="188" y="703"/>
                  </a:lnTo>
                  <a:lnTo>
                    <a:pt x="187" y="707"/>
                  </a:lnTo>
                  <a:lnTo>
                    <a:pt x="186" y="712"/>
                  </a:lnTo>
                  <a:lnTo>
                    <a:pt x="186" y="708"/>
                  </a:lnTo>
                  <a:lnTo>
                    <a:pt x="184" y="709"/>
                  </a:lnTo>
                  <a:lnTo>
                    <a:pt x="182" y="712"/>
                  </a:lnTo>
                  <a:lnTo>
                    <a:pt x="182" y="707"/>
                  </a:lnTo>
                  <a:lnTo>
                    <a:pt x="181" y="704"/>
                  </a:lnTo>
                  <a:lnTo>
                    <a:pt x="180" y="704"/>
                  </a:lnTo>
                  <a:lnTo>
                    <a:pt x="178" y="706"/>
                  </a:lnTo>
                  <a:lnTo>
                    <a:pt x="178" y="707"/>
                  </a:lnTo>
                  <a:lnTo>
                    <a:pt x="180" y="709"/>
                  </a:lnTo>
                  <a:lnTo>
                    <a:pt x="177" y="713"/>
                  </a:lnTo>
                  <a:lnTo>
                    <a:pt x="175" y="715"/>
                  </a:lnTo>
                  <a:lnTo>
                    <a:pt x="174" y="713"/>
                  </a:lnTo>
                  <a:lnTo>
                    <a:pt x="171" y="710"/>
                  </a:lnTo>
                  <a:lnTo>
                    <a:pt x="170" y="714"/>
                  </a:lnTo>
                  <a:lnTo>
                    <a:pt x="171" y="718"/>
                  </a:lnTo>
                  <a:lnTo>
                    <a:pt x="172" y="718"/>
                  </a:lnTo>
                  <a:lnTo>
                    <a:pt x="176" y="718"/>
                  </a:lnTo>
                  <a:lnTo>
                    <a:pt x="177" y="720"/>
                  </a:lnTo>
                  <a:lnTo>
                    <a:pt x="178" y="720"/>
                  </a:lnTo>
                  <a:lnTo>
                    <a:pt x="180" y="716"/>
                  </a:lnTo>
                  <a:lnTo>
                    <a:pt x="181" y="712"/>
                  </a:lnTo>
                  <a:lnTo>
                    <a:pt x="181" y="714"/>
                  </a:lnTo>
                  <a:lnTo>
                    <a:pt x="182" y="714"/>
                  </a:lnTo>
                  <a:lnTo>
                    <a:pt x="187" y="715"/>
                  </a:lnTo>
                  <a:lnTo>
                    <a:pt x="184" y="719"/>
                  </a:lnTo>
                  <a:lnTo>
                    <a:pt x="182" y="720"/>
                  </a:lnTo>
                  <a:lnTo>
                    <a:pt x="182" y="721"/>
                  </a:lnTo>
                  <a:lnTo>
                    <a:pt x="183" y="722"/>
                  </a:lnTo>
                  <a:lnTo>
                    <a:pt x="181" y="724"/>
                  </a:lnTo>
                  <a:lnTo>
                    <a:pt x="180" y="722"/>
                  </a:lnTo>
                  <a:lnTo>
                    <a:pt x="175" y="721"/>
                  </a:lnTo>
                  <a:lnTo>
                    <a:pt x="175" y="722"/>
                  </a:lnTo>
                  <a:lnTo>
                    <a:pt x="176" y="725"/>
                  </a:lnTo>
                  <a:lnTo>
                    <a:pt x="174" y="727"/>
                  </a:lnTo>
                  <a:lnTo>
                    <a:pt x="174" y="730"/>
                  </a:lnTo>
                  <a:lnTo>
                    <a:pt x="171" y="726"/>
                  </a:lnTo>
                  <a:lnTo>
                    <a:pt x="169" y="721"/>
                  </a:lnTo>
                  <a:lnTo>
                    <a:pt x="166" y="721"/>
                  </a:lnTo>
                  <a:lnTo>
                    <a:pt x="164" y="724"/>
                  </a:lnTo>
                  <a:lnTo>
                    <a:pt x="165" y="720"/>
                  </a:lnTo>
                  <a:lnTo>
                    <a:pt x="163" y="722"/>
                  </a:lnTo>
                  <a:lnTo>
                    <a:pt x="161" y="726"/>
                  </a:lnTo>
                  <a:lnTo>
                    <a:pt x="160" y="725"/>
                  </a:lnTo>
                  <a:lnTo>
                    <a:pt x="155" y="728"/>
                  </a:lnTo>
                  <a:lnTo>
                    <a:pt x="154" y="731"/>
                  </a:lnTo>
                  <a:lnTo>
                    <a:pt x="152" y="728"/>
                  </a:lnTo>
                  <a:lnTo>
                    <a:pt x="149" y="727"/>
                  </a:lnTo>
                  <a:lnTo>
                    <a:pt x="146" y="731"/>
                  </a:lnTo>
                  <a:lnTo>
                    <a:pt x="145" y="734"/>
                  </a:lnTo>
                  <a:lnTo>
                    <a:pt x="142" y="730"/>
                  </a:lnTo>
                  <a:lnTo>
                    <a:pt x="140" y="726"/>
                  </a:lnTo>
                  <a:lnTo>
                    <a:pt x="139" y="724"/>
                  </a:lnTo>
                  <a:lnTo>
                    <a:pt x="137" y="725"/>
                  </a:lnTo>
                  <a:lnTo>
                    <a:pt x="139" y="721"/>
                  </a:lnTo>
                  <a:lnTo>
                    <a:pt x="142" y="716"/>
                  </a:lnTo>
                  <a:lnTo>
                    <a:pt x="146" y="715"/>
                  </a:lnTo>
                  <a:lnTo>
                    <a:pt x="148" y="716"/>
                  </a:lnTo>
                  <a:lnTo>
                    <a:pt x="151" y="716"/>
                  </a:lnTo>
                  <a:lnTo>
                    <a:pt x="149" y="714"/>
                  </a:lnTo>
                  <a:lnTo>
                    <a:pt x="148" y="713"/>
                  </a:lnTo>
                  <a:lnTo>
                    <a:pt x="146" y="714"/>
                  </a:lnTo>
                  <a:lnTo>
                    <a:pt x="141" y="714"/>
                  </a:lnTo>
                  <a:lnTo>
                    <a:pt x="139" y="713"/>
                  </a:lnTo>
                  <a:lnTo>
                    <a:pt x="136" y="713"/>
                  </a:lnTo>
                  <a:lnTo>
                    <a:pt x="131" y="715"/>
                  </a:lnTo>
                  <a:lnTo>
                    <a:pt x="127" y="720"/>
                  </a:lnTo>
                  <a:lnTo>
                    <a:pt x="127" y="716"/>
                  </a:lnTo>
                  <a:lnTo>
                    <a:pt x="128" y="713"/>
                  </a:lnTo>
                  <a:lnTo>
                    <a:pt x="130" y="709"/>
                  </a:lnTo>
                  <a:lnTo>
                    <a:pt x="134" y="709"/>
                  </a:lnTo>
                  <a:lnTo>
                    <a:pt x="136" y="709"/>
                  </a:lnTo>
                  <a:lnTo>
                    <a:pt x="141" y="707"/>
                  </a:lnTo>
                  <a:lnTo>
                    <a:pt x="135" y="706"/>
                  </a:lnTo>
                  <a:lnTo>
                    <a:pt x="130" y="707"/>
                  </a:lnTo>
                  <a:lnTo>
                    <a:pt x="127" y="707"/>
                  </a:lnTo>
                  <a:lnTo>
                    <a:pt x="125" y="708"/>
                  </a:lnTo>
                  <a:lnTo>
                    <a:pt x="124" y="709"/>
                  </a:lnTo>
                  <a:lnTo>
                    <a:pt x="125" y="707"/>
                  </a:lnTo>
                  <a:lnTo>
                    <a:pt x="122" y="708"/>
                  </a:lnTo>
                  <a:lnTo>
                    <a:pt x="121" y="709"/>
                  </a:lnTo>
                  <a:lnTo>
                    <a:pt x="122" y="706"/>
                  </a:lnTo>
                  <a:lnTo>
                    <a:pt x="124" y="702"/>
                  </a:lnTo>
                  <a:lnTo>
                    <a:pt x="133" y="702"/>
                  </a:lnTo>
                  <a:lnTo>
                    <a:pt x="136" y="703"/>
                  </a:lnTo>
                  <a:lnTo>
                    <a:pt x="140" y="706"/>
                  </a:lnTo>
                  <a:lnTo>
                    <a:pt x="143" y="706"/>
                  </a:lnTo>
                  <a:lnTo>
                    <a:pt x="147" y="703"/>
                  </a:lnTo>
                  <a:lnTo>
                    <a:pt x="153" y="702"/>
                  </a:lnTo>
                  <a:lnTo>
                    <a:pt x="154" y="701"/>
                  </a:lnTo>
                  <a:lnTo>
                    <a:pt x="153" y="701"/>
                  </a:lnTo>
                  <a:lnTo>
                    <a:pt x="152" y="702"/>
                  </a:lnTo>
                  <a:lnTo>
                    <a:pt x="149" y="701"/>
                  </a:lnTo>
                  <a:lnTo>
                    <a:pt x="146" y="702"/>
                  </a:lnTo>
                  <a:lnTo>
                    <a:pt x="143" y="703"/>
                  </a:lnTo>
                  <a:lnTo>
                    <a:pt x="137" y="702"/>
                  </a:lnTo>
                  <a:lnTo>
                    <a:pt x="139" y="700"/>
                  </a:lnTo>
                  <a:lnTo>
                    <a:pt x="136" y="700"/>
                  </a:lnTo>
                  <a:lnTo>
                    <a:pt x="137" y="697"/>
                  </a:lnTo>
                  <a:lnTo>
                    <a:pt x="134" y="698"/>
                  </a:lnTo>
                  <a:lnTo>
                    <a:pt x="130" y="698"/>
                  </a:lnTo>
                  <a:lnTo>
                    <a:pt x="127" y="698"/>
                  </a:lnTo>
                  <a:lnTo>
                    <a:pt x="121" y="700"/>
                  </a:lnTo>
                  <a:lnTo>
                    <a:pt x="121" y="696"/>
                  </a:lnTo>
                  <a:lnTo>
                    <a:pt x="122" y="694"/>
                  </a:lnTo>
                  <a:lnTo>
                    <a:pt x="121" y="692"/>
                  </a:lnTo>
                  <a:lnTo>
                    <a:pt x="118" y="691"/>
                  </a:lnTo>
                  <a:lnTo>
                    <a:pt x="118" y="688"/>
                  </a:lnTo>
                  <a:lnTo>
                    <a:pt x="116" y="689"/>
                  </a:lnTo>
                  <a:lnTo>
                    <a:pt x="115" y="686"/>
                  </a:lnTo>
                  <a:lnTo>
                    <a:pt x="113" y="688"/>
                  </a:lnTo>
                  <a:lnTo>
                    <a:pt x="112" y="689"/>
                  </a:lnTo>
                  <a:lnTo>
                    <a:pt x="110" y="688"/>
                  </a:lnTo>
                  <a:lnTo>
                    <a:pt x="107" y="689"/>
                  </a:lnTo>
                  <a:lnTo>
                    <a:pt x="105" y="695"/>
                  </a:lnTo>
                  <a:lnTo>
                    <a:pt x="101" y="702"/>
                  </a:lnTo>
                  <a:lnTo>
                    <a:pt x="99" y="706"/>
                  </a:lnTo>
                  <a:lnTo>
                    <a:pt x="98" y="702"/>
                  </a:lnTo>
                  <a:lnTo>
                    <a:pt x="95" y="698"/>
                  </a:lnTo>
                  <a:lnTo>
                    <a:pt x="93" y="700"/>
                  </a:lnTo>
                  <a:lnTo>
                    <a:pt x="92" y="701"/>
                  </a:lnTo>
                  <a:lnTo>
                    <a:pt x="93" y="703"/>
                  </a:lnTo>
                  <a:lnTo>
                    <a:pt x="92" y="704"/>
                  </a:lnTo>
                  <a:lnTo>
                    <a:pt x="92" y="707"/>
                  </a:lnTo>
                  <a:lnTo>
                    <a:pt x="89" y="708"/>
                  </a:lnTo>
                  <a:lnTo>
                    <a:pt x="93" y="708"/>
                  </a:lnTo>
                  <a:lnTo>
                    <a:pt x="95" y="709"/>
                  </a:lnTo>
                  <a:lnTo>
                    <a:pt x="95" y="710"/>
                  </a:lnTo>
                  <a:lnTo>
                    <a:pt x="94" y="716"/>
                  </a:lnTo>
                  <a:lnTo>
                    <a:pt x="92" y="715"/>
                  </a:lnTo>
                  <a:lnTo>
                    <a:pt x="87" y="714"/>
                  </a:lnTo>
                  <a:lnTo>
                    <a:pt x="86" y="712"/>
                  </a:lnTo>
                  <a:lnTo>
                    <a:pt x="84" y="712"/>
                  </a:lnTo>
                  <a:lnTo>
                    <a:pt x="86" y="716"/>
                  </a:lnTo>
                  <a:lnTo>
                    <a:pt x="82" y="713"/>
                  </a:lnTo>
                  <a:lnTo>
                    <a:pt x="81" y="710"/>
                  </a:lnTo>
                  <a:lnTo>
                    <a:pt x="78" y="713"/>
                  </a:lnTo>
                  <a:lnTo>
                    <a:pt x="78" y="715"/>
                  </a:lnTo>
                  <a:lnTo>
                    <a:pt x="75" y="716"/>
                  </a:lnTo>
                  <a:lnTo>
                    <a:pt x="72" y="716"/>
                  </a:lnTo>
                  <a:lnTo>
                    <a:pt x="71" y="716"/>
                  </a:lnTo>
                  <a:lnTo>
                    <a:pt x="69" y="720"/>
                  </a:lnTo>
                  <a:lnTo>
                    <a:pt x="66" y="724"/>
                  </a:lnTo>
                  <a:lnTo>
                    <a:pt x="65" y="721"/>
                  </a:lnTo>
                  <a:lnTo>
                    <a:pt x="62" y="721"/>
                  </a:lnTo>
                  <a:lnTo>
                    <a:pt x="59" y="719"/>
                  </a:lnTo>
                  <a:lnTo>
                    <a:pt x="53" y="722"/>
                  </a:lnTo>
                  <a:lnTo>
                    <a:pt x="48" y="724"/>
                  </a:lnTo>
                  <a:lnTo>
                    <a:pt x="47" y="727"/>
                  </a:lnTo>
                  <a:lnTo>
                    <a:pt x="46" y="730"/>
                  </a:lnTo>
                  <a:lnTo>
                    <a:pt x="45" y="732"/>
                  </a:lnTo>
                  <a:lnTo>
                    <a:pt x="42" y="731"/>
                  </a:lnTo>
                  <a:lnTo>
                    <a:pt x="41" y="728"/>
                  </a:lnTo>
                  <a:lnTo>
                    <a:pt x="42" y="727"/>
                  </a:lnTo>
                  <a:lnTo>
                    <a:pt x="39" y="727"/>
                  </a:lnTo>
                  <a:lnTo>
                    <a:pt x="37" y="727"/>
                  </a:lnTo>
                  <a:lnTo>
                    <a:pt x="40" y="725"/>
                  </a:lnTo>
                  <a:lnTo>
                    <a:pt x="37" y="726"/>
                  </a:lnTo>
                  <a:lnTo>
                    <a:pt x="37" y="722"/>
                  </a:lnTo>
                  <a:lnTo>
                    <a:pt x="36" y="725"/>
                  </a:lnTo>
                  <a:lnTo>
                    <a:pt x="36" y="724"/>
                  </a:lnTo>
                  <a:lnTo>
                    <a:pt x="31" y="724"/>
                  </a:lnTo>
                  <a:lnTo>
                    <a:pt x="27" y="726"/>
                  </a:lnTo>
                  <a:lnTo>
                    <a:pt x="27" y="725"/>
                  </a:lnTo>
                  <a:lnTo>
                    <a:pt x="23" y="727"/>
                  </a:lnTo>
                  <a:lnTo>
                    <a:pt x="19" y="728"/>
                  </a:lnTo>
                  <a:lnTo>
                    <a:pt x="23" y="724"/>
                  </a:lnTo>
                  <a:lnTo>
                    <a:pt x="23" y="722"/>
                  </a:lnTo>
                  <a:lnTo>
                    <a:pt x="21" y="722"/>
                  </a:lnTo>
                  <a:lnTo>
                    <a:pt x="24" y="716"/>
                  </a:lnTo>
                  <a:lnTo>
                    <a:pt x="28" y="712"/>
                  </a:lnTo>
                  <a:lnTo>
                    <a:pt x="31" y="710"/>
                  </a:lnTo>
                  <a:lnTo>
                    <a:pt x="29" y="709"/>
                  </a:lnTo>
                  <a:lnTo>
                    <a:pt x="22" y="714"/>
                  </a:lnTo>
                  <a:lnTo>
                    <a:pt x="19" y="719"/>
                  </a:lnTo>
                  <a:lnTo>
                    <a:pt x="24" y="710"/>
                  </a:lnTo>
                  <a:lnTo>
                    <a:pt x="23" y="706"/>
                  </a:lnTo>
                  <a:lnTo>
                    <a:pt x="22" y="703"/>
                  </a:lnTo>
                  <a:lnTo>
                    <a:pt x="27" y="698"/>
                  </a:lnTo>
                  <a:lnTo>
                    <a:pt x="23" y="698"/>
                  </a:lnTo>
                  <a:lnTo>
                    <a:pt x="21" y="701"/>
                  </a:lnTo>
                  <a:lnTo>
                    <a:pt x="16" y="703"/>
                  </a:lnTo>
                  <a:lnTo>
                    <a:pt x="15" y="701"/>
                  </a:lnTo>
                  <a:lnTo>
                    <a:pt x="15" y="695"/>
                  </a:lnTo>
                  <a:lnTo>
                    <a:pt x="17" y="691"/>
                  </a:lnTo>
                  <a:lnTo>
                    <a:pt x="19" y="690"/>
                  </a:lnTo>
                  <a:lnTo>
                    <a:pt x="22" y="691"/>
                  </a:lnTo>
                  <a:lnTo>
                    <a:pt x="25" y="690"/>
                  </a:lnTo>
                  <a:lnTo>
                    <a:pt x="30" y="688"/>
                  </a:lnTo>
                  <a:lnTo>
                    <a:pt x="33" y="686"/>
                  </a:lnTo>
                  <a:lnTo>
                    <a:pt x="35" y="684"/>
                  </a:lnTo>
                  <a:lnTo>
                    <a:pt x="36" y="684"/>
                  </a:lnTo>
                  <a:lnTo>
                    <a:pt x="37" y="689"/>
                  </a:lnTo>
                  <a:lnTo>
                    <a:pt x="39" y="686"/>
                  </a:lnTo>
                  <a:lnTo>
                    <a:pt x="42" y="686"/>
                  </a:lnTo>
                  <a:lnTo>
                    <a:pt x="45" y="685"/>
                  </a:lnTo>
                  <a:lnTo>
                    <a:pt x="52" y="682"/>
                  </a:lnTo>
                  <a:lnTo>
                    <a:pt x="58" y="683"/>
                  </a:lnTo>
                  <a:lnTo>
                    <a:pt x="54" y="684"/>
                  </a:lnTo>
                  <a:lnTo>
                    <a:pt x="52" y="686"/>
                  </a:lnTo>
                  <a:lnTo>
                    <a:pt x="48" y="688"/>
                  </a:lnTo>
                  <a:lnTo>
                    <a:pt x="48" y="691"/>
                  </a:lnTo>
                  <a:lnTo>
                    <a:pt x="47" y="692"/>
                  </a:lnTo>
                  <a:lnTo>
                    <a:pt x="48" y="692"/>
                  </a:lnTo>
                  <a:lnTo>
                    <a:pt x="53" y="691"/>
                  </a:lnTo>
                  <a:lnTo>
                    <a:pt x="54" y="689"/>
                  </a:lnTo>
                  <a:lnTo>
                    <a:pt x="56" y="686"/>
                  </a:lnTo>
                  <a:lnTo>
                    <a:pt x="57" y="685"/>
                  </a:lnTo>
                  <a:lnTo>
                    <a:pt x="58" y="685"/>
                  </a:lnTo>
                  <a:lnTo>
                    <a:pt x="62" y="685"/>
                  </a:lnTo>
                  <a:lnTo>
                    <a:pt x="65" y="684"/>
                  </a:lnTo>
                  <a:lnTo>
                    <a:pt x="63" y="683"/>
                  </a:lnTo>
                  <a:lnTo>
                    <a:pt x="60" y="684"/>
                  </a:lnTo>
                  <a:lnTo>
                    <a:pt x="60" y="682"/>
                  </a:lnTo>
                  <a:lnTo>
                    <a:pt x="63" y="676"/>
                  </a:lnTo>
                  <a:lnTo>
                    <a:pt x="66" y="673"/>
                  </a:lnTo>
                  <a:lnTo>
                    <a:pt x="68" y="671"/>
                  </a:lnTo>
                  <a:lnTo>
                    <a:pt x="69" y="670"/>
                  </a:lnTo>
                  <a:lnTo>
                    <a:pt x="65" y="671"/>
                  </a:lnTo>
                  <a:lnTo>
                    <a:pt x="64" y="674"/>
                  </a:lnTo>
                  <a:lnTo>
                    <a:pt x="64" y="670"/>
                  </a:lnTo>
                  <a:lnTo>
                    <a:pt x="62" y="670"/>
                  </a:lnTo>
                  <a:lnTo>
                    <a:pt x="56" y="674"/>
                  </a:lnTo>
                  <a:lnTo>
                    <a:pt x="60" y="666"/>
                  </a:lnTo>
                  <a:lnTo>
                    <a:pt x="63" y="662"/>
                  </a:lnTo>
                  <a:lnTo>
                    <a:pt x="68" y="660"/>
                  </a:lnTo>
                  <a:lnTo>
                    <a:pt x="66" y="656"/>
                  </a:lnTo>
                  <a:lnTo>
                    <a:pt x="68" y="654"/>
                  </a:lnTo>
                  <a:lnTo>
                    <a:pt x="64" y="653"/>
                  </a:lnTo>
                  <a:lnTo>
                    <a:pt x="58" y="654"/>
                  </a:lnTo>
                  <a:lnTo>
                    <a:pt x="63" y="649"/>
                  </a:lnTo>
                  <a:lnTo>
                    <a:pt x="68" y="647"/>
                  </a:lnTo>
                  <a:lnTo>
                    <a:pt x="66" y="647"/>
                  </a:lnTo>
                  <a:lnTo>
                    <a:pt x="72" y="646"/>
                  </a:lnTo>
                  <a:lnTo>
                    <a:pt x="76" y="648"/>
                  </a:lnTo>
                  <a:lnTo>
                    <a:pt x="78" y="649"/>
                  </a:lnTo>
                  <a:lnTo>
                    <a:pt x="80" y="649"/>
                  </a:lnTo>
                  <a:lnTo>
                    <a:pt x="83" y="649"/>
                  </a:lnTo>
                  <a:lnTo>
                    <a:pt x="86" y="649"/>
                  </a:lnTo>
                  <a:lnTo>
                    <a:pt x="84" y="648"/>
                  </a:lnTo>
                  <a:lnTo>
                    <a:pt x="78" y="647"/>
                  </a:lnTo>
                  <a:lnTo>
                    <a:pt x="77" y="644"/>
                  </a:lnTo>
                  <a:lnTo>
                    <a:pt x="80" y="643"/>
                  </a:lnTo>
                  <a:lnTo>
                    <a:pt x="82" y="641"/>
                  </a:lnTo>
                  <a:lnTo>
                    <a:pt x="81" y="638"/>
                  </a:lnTo>
                  <a:lnTo>
                    <a:pt x="78" y="638"/>
                  </a:lnTo>
                  <a:lnTo>
                    <a:pt x="76" y="642"/>
                  </a:lnTo>
                  <a:lnTo>
                    <a:pt x="76" y="639"/>
                  </a:lnTo>
                  <a:lnTo>
                    <a:pt x="75" y="636"/>
                  </a:lnTo>
                  <a:lnTo>
                    <a:pt x="77" y="633"/>
                  </a:lnTo>
                  <a:lnTo>
                    <a:pt x="75" y="633"/>
                  </a:lnTo>
                  <a:lnTo>
                    <a:pt x="75" y="631"/>
                  </a:lnTo>
                  <a:lnTo>
                    <a:pt x="74" y="633"/>
                  </a:lnTo>
                  <a:lnTo>
                    <a:pt x="70" y="635"/>
                  </a:lnTo>
                  <a:lnTo>
                    <a:pt x="69" y="638"/>
                  </a:lnTo>
                  <a:lnTo>
                    <a:pt x="69" y="633"/>
                  </a:lnTo>
                  <a:lnTo>
                    <a:pt x="70" y="631"/>
                  </a:lnTo>
                  <a:lnTo>
                    <a:pt x="68" y="635"/>
                  </a:lnTo>
                  <a:lnTo>
                    <a:pt x="70" y="629"/>
                  </a:lnTo>
                  <a:lnTo>
                    <a:pt x="71" y="626"/>
                  </a:lnTo>
                  <a:lnTo>
                    <a:pt x="75" y="624"/>
                  </a:lnTo>
                  <a:lnTo>
                    <a:pt x="78" y="619"/>
                  </a:lnTo>
                  <a:lnTo>
                    <a:pt x="82" y="615"/>
                  </a:lnTo>
                  <a:lnTo>
                    <a:pt x="80" y="615"/>
                  </a:lnTo>
                  <a:lnTo>
                    <a:pt x="78" y="617"/>
                  </a:lnTo>
                  <a:lnTo>
                    <a:pt x="77" y="615"/>
                  </a:lnTo>
                  <a:lnTo>
                    <a:pt x="76" y="617"/>
                  </a:lnTo>
                  <a:lnTo>
                    <a:pt x="75" y="619"/>
                  </a:lnTo>
                  <a:lnTo>
                    <a:pt x="75" y="617"/>
                  </a:lnTo>
                  <a:lnTo>
                    <a:pt x="74" y="620"/>
                  </a:lnTo>
                  <a:lnTo>
                    <a:pt x="71" y="618"/>
                  </a:lnTo>
                  <a:lnTo>
                    <a:pt x="70" y="618"/>
                  </a:lnTo>
                  <a:lnTo>
                    <a:pt x="68" y="623"/>
                  </a:lnTo>
                  <a:lnTo>
                    <a:pt x="68" y="619"/>
                  </a:lnTo>
                  <a:lnTo>
                    <a:pt x="69" y="615"/>
                  </a:lnTo>
                  <a:lnTo>
                    <a:pt x="66" y="614"/>
                  </a:lnTo>
                  <a:lnTo>
                    <a:pt x="64" y="612"/>
                  </a:lnTo>
                  <a:lnTo>
                    <a:pt x="63" y="609"/>
                  </a:lnTo>
                  <a:lnTo>
                    <a:pt x="64" y="607"/>
                  </a:lnTo>
                  <a:lnTo>
                    <a:pt x="63" y="606"/>
                  </a:lnTo>
                  <a:lnTo>
                    <a:pt x="60" y="602"/>
                  </a:lnTo>
                  <a:lnTo>
                    <a:pt x="52" y="608"/>
                  </a:lnTo>
                  <a:lnTo>
                    <a:pt x="50" y="618"/>
                  </a:lnTo>
                  <a:lnTo>
                    <a:pt x="46" y="625"/>
                  </a:lnTo>
                  <a:lnTo>
                    <a:pt x="42" y="629"/>
                  </a:lnTo>
                  <a:lnTo>
                    <a:pt x="45" y="625"/>
                  </a:lnTo>
                  <a:lnTo>
                    <a:pt x="48" y="619"/>
                  </a:lnTo>
                  <a:lnTo>
                    <a:pt x="48" y="613"/>
                  </a:lnTo>
                  <a:lnTo>
                    <a:pt x="45" y="615"/>
                  </a:lnTo>
                  <a:lnTo>
                    <a:pt x="40" y="617"/>
                  </a:lnTo>
                  <a:lnTo>
                    <a:pt x="45" y="614"/>
                  </a:lnTo>
                  <a:lnTo>
                    <a:pt x="50" y="611"/>
                  </a:lnTo>
                  <a:lnTo>
                    <a:pt x="50" y="608"/>
                  </a:lnTo>
                  <a:lnTo>
                    <a:pt x="41" y="613"/>
                  </a:lnTo>
                  <a:lnTo>
                    <a:pt x="34" y="619"/>
                  </a:lnTo>
                  <a:lnTo>
                    <a:pt x="39" y="613"/>
                  </a:lnTo>
                  <a:lnTo>
                    <a:pt x="33" y="614"/>
                  </a:lnTo>
                  <a:lnTo>
                    <a:pt x="31" y="613"/>
                  </a:lnTo>
                  <a:lnTo>
                    <a:pt x="36" y="613"/>
                  </a:lnTo>
                  <a:lnTo>
                    <a:pt x="34" y="611"/>
                  </a:lnTo>
                  <a:lnTo>
                    <a:pt x="30" y="612"/>
                  </a:lnTo>
                  <a:lnTo>
                    <a:pt x="28" y="613"/>
                  </a:lnTo>
                  <a:lnTo>
                    <a:pt x="25" y="613"/>
                  </a:lnTo>
                  <a:lnTo>
                    <a:pt x="25" y="611"/>
                  </a:lnTo>
                  <a:lnTo>
                    <a:pt x="23" y="611"/>
                  </a:lnTo>
                  <a:lnTo>
                    <a:pt x="21" y="612"/>
                  </a:lnTo>
                  <a:lnTo>
                    <a:pt x="21" y="607"/>
                  </a:lnTo>
                  <a:lnTo>
                    <a:pt x="23" y="605"/>
                  </a:lnTo>
                  <a:lnTo>
                    <a:pt x="22" y="605"/>
                  </a:lnTo>
                  <a:lnTo>
                    <a:pt x="23" y="602"/>
                  </a:lnTo>
                  <a:lnTo>
                    <a:pt x="22" y="601"/>
                  </a:lnTo>
                  <a:lnTo>
                    <a:pt x="22" y="600"/>
                  </a:lnTo>
                  <a:lnTo>
                    <a:pt x="23" y="599"/>
                  </a:lnTo>
                  <a:lnTo>
                    <a:pt x="24" y="597"/>
                  </a:lnTo>
                  <a:lnTo>
                    <a:pt x="29" y="596"/>
                  </a:lnTo>
                  <a:lnTo>
                    <a:pt x="33" y="595"/>
                  </a:lnTo>
                  <a:lnTo>
                    <a:pt x="34" y="595"/>
                  </a:lnTo>
                  <a:lnTo>
                    <a:pt x="33" y="594"/>
                  </a:lnTo>
                  <a:lnTo>
                    <a:pt x="34" y="593"/>
                  </a:lnTo>
                  <a:lnTo>
                    <a:pt x="33" y="591"/>
                  </a:lnTo>
                  <a:lnTo>
                    <a:pt x="34" y="589"/>
                  </a:lnTo>
                  <a:lnTo>
                    <a:pt x="36" y="588"/>
                  </a:lnTo>
                  <a:lnTo>
                    <a:pt x="30" y="589"/>
                  </a:lnTo>
                  <a:lnTo>
                    <a:pt x="28" y="587"/>
                  </a:lnTo>
                  <a:lnTo>
                    <a:pt x="23" y="585"/>
                  </a:lnTo>
                  <a:lnTo>
                    <a:pt x="25" y="584"/>
                  </a:lnTo>
                  <a:lnTo>
                    <a:pt x="29" y="582"/>
                  </a:lnTo>
                  <a:lnTo>
                    <a:pt x="33" y="582"/>
                  </a:lnTo>
                  <a:lnTo>
                    <a:pt x="37" y="582"/>
                  </a:lnTo>
                  <a:lnTo>
                    <a:pt x="39" y="585"/>
                  </a:lnTo>
                  <a:lnTo>
                    <a:pt x="43" y="588"/>
                  </a:lnTo>
                  <a:lnTo>
                    <a:pt x="47" y="588"/>
                  </a:lnTo>
                  <a:lnTo>
                    <a:pt x="47" y="585"/>
                  </a:lnTo>
                  <a:lnTo>
                    <a:pt x="51" y="585"/>
                  </a:lnTo>
                  <a:lnTo>
                    <a:pt x="53" y="585"/>
                  </a:lnTo>
                  <a:lnTo>
                    <a:pt x="56" y="583"/>
                  </a:lnTo>
                  <a:lnTo>
                    <a:pt x="58" y="583"/>
                  </a:lnTo>
                  <a:lnTo>
                    <a:pt x="60" y="582"/>
                  </a:lnTo>
                  <a:lnTo>
                    <a:pt x="63" y="581"/>
                  </a:lnTo>
                  <a:lnTo>
                    <a:pt x="63" y="578"/>
                  </a:lnTo>
                  <a:lnTo>
                    <a:pt x="65" y="577"/>
                  </a:lnTo>
                  <a:lnTo>
                    <a:pt x="65" y="575"/>
                  </a:lnTo>
                  <a:lnTo>
                    <a:pt x="66" y="571"/>
                  </a:lnTo>
                  <a:lnTo>
                    <a:pt x="63" y="573"/>
                  </a:lnTo>
                  <a:lnTo>
                    <a:pt x="57" y="577"/>
                  </a:lnTo>
                  <a:lnTo>
                    <a:pt x="56" y="579"/>
                  </a:lnTo>
                  <a:lnTo>
                    <a:pt x="54" y="573"/>
                  </a:lnTo>
                  <a:lnTo>
                    <a:pt x="52" y="569"/>
                  </a:lnTo>
                  <a:lnTo>
                    <a:pt x="52" y="565"/>
                  </a:lnTo>
                  <a:lnTo>
                    <a:pt x="48" y="565"/>
                  </a:lnTo>
                  <a:lnTo>
                    <a:pt x="43" y="569"/>
                  </a:lnTo>
                  <a:lnTo>
                    <a:pt x="42" y="571"/>
                  </a:lnTo>
                  <a:lnTo>
                    <a:pt x="41" y="566"/>
                  </a:lnTo>
                  <a:lnTo>
                    <a:pt x="39" y="566"/>
                  </a:lnTo>
                  <a:lnTo>
                    <a:pt x="36" y="565"/>
                  </a:lnTo>
                  <a:lnTo>
                    <a:pt x="33" y="564"/>
                  </a:lnTo>
                  <a:lnTo>
                    <a:pt x="33" y="565"/>
                  </a:lnTo>
                  <a:lnTo>
                    <a:pt x="31" y="563"/>
                  </a:lnTo>
                  <a:lnTo>
                    <a:pt x="31" y="555"/>
                  </a:lnTo>
                  <a:lnTo>
                    <a:pt x="28" y="559"/>
                  </a:lnTo>
                  <a:lnTo>
                    <a:pt x="29" y="565"/>
                  </a:lnTo>
                  <a:lnTo>
                    <a:pt x="29" y="573"/>
                  </a:lnTo>
                  <a:lnTo>
                    <a:pt x="28" y="577"/>
                  </a:lnTo>
                  <a:lnTo>
                    <a:pt x="22" y="567"/>
                  </a:lnTo>
                  <a:lnTo>
                    <a:pt x="19" y="566"/>
                  </a:lnTo>
                  <a:lnTo>
                    <a:pt x="17" y="567"/>
                  </a:lnTo>
                  <a:lnTo>
                    <a:pt x="15" y="570"/>
                  </a:lnTo>
                  <a:lnTo>
                    <a:pt x="15" y="565"/>
                  </a:lnTo>
                  <a:lnTo>
                    <a:pt x="15" y="564"/>
                  </a:lnTo>
                  <a:lnTo>
                    <a:pt x="13" y="563"/>
                  </a:lnTo>
                  <a:lnTo>
                    <a:pt x="11" y="563"/>
                  </a:lnTo>
                  <a:lnTo>
                    <a:pt x="9" y="564"/>
                  </a:lnTo>
                  <a:lnTo>
                    <a:pt x="9" y="560"/>
                  </a:lnTo>
                  <a:lnTo>
                    <a:pt x="10" y="555"/>
                  </a:lnTo>
                  <a:lnTo>
                    <a:pt x="15" y="552"/>
                  </a:lnTo>
                  <a:lnTo>
                    <a:pt x="13" y="551"/>
                  </a:lnTo>
                  <a:lnTo>
                    <a:pt x="15" y="547"/>
                  </a:lnTo>
                  <a:lnTo>
                    <a:pt x="16" y="543"/>
                  </a:lnTo>
                  <a:lnTo>
                    <a:pt x="18" y="540"/>
                  </a:lnTo>
                  <a:lnTo>
                    <a:pt x="18" y="542"/>
                  </a:lnTo>
                  <a:lnTo>
                    <a:pt x="21" y="541"/>
                  </a:lnTo>
                  <a:lnTo>
                    <a:pt x="21" y="540"/>
                  </a:lnTo>
                  <a:lnTo>
                    <a:pt x="24" y="535"/>
                  </a:lnTo>
                  <a:lnTo>
                    <a:pt x="27" y="530"/>
                  </a:lnTo>
                  <a:lnTo>
                    <a:pt x="28" y="532"/>
                  </a:lnTo>
                  <a:lnTo>
                    <a:pt x="29" y="531"/>
                  </a:lnTo>
                  <a:lnTo>
                    <a:pt x="31" y="530"/>
                  </a:lnTo>
                  <a:lnTo>
                    <a:pt x="34" y="529"/>
                  </a:lnTo>
                  <a:lnTo>
                    <a:pt x="36" y="528"/>
                  </a:lnTo>
                  <a:lnTo>
                    <a:pt x="39" y="526"/>
                  </a:lnTo>
                  <a:lnTo>
                    <a:pt x="29" y="523"/>
                  </a:lnTo>
                  <a:lnTo>
                    <a:pt x="21" y="518"/>
                  </a:lnTo>
                  <a:lnTo>
                    <a:pt x="19" y="520"/>
                  </a:lnTo>
                  <a:lnTo>
                    <a:pt x="19" y="525"/>
                  </a:lnTo>
                  <a:lnTo>
                    <a:pt x="17" y="525"/>
                  </a:lnTo>
                  <a:lnTo>
                    <a:pt x="15" y="529"/>
                  </a:lnTo>
                  <a:lnTo>
                    <a:pt x="12" y="530"/>
                  </a:lnTo>
                  <a:lnTo>
                    <a:pt x="11" y="531"/>
                  </a:lnTo>
                  <a:lnTo>
                    <a:pt x="11" y="528"/>
                  </a:lnTo>
                  <a:lnTo>
                    <a:pt x="11" y="524"/>
                  </a:lnTo>
                  <a:lnTo>
                    <a:pt x="13" y="523"/>
                  </a:lnTo>
                  <a:lnTo>
                    <a:pt x="13" y="520"/>
                  </a:lnTo>
                  <a:lnTo>
                    <a:pt x="15" y="517"/>
                  </a:lnTo>
                  <a:lnTo>
                    <a:pt x="16" y="518"/>
                  </a:lnTo>
                  <a:lnTo>
                    <a:pt x="19" y="518"/>
                  </a:lnTo>
                  <a:lnTo>
                    <a:pt x="15" y="514"/>
                  </a:lnTo>
                  <a:lnTo>
                    <a:pt x="11" y="513"/>
                  </a:lnTo>
                  <a:lnTo>
                    <a:pt x="10" y="511"/>
                  </a:lnTo>
                  <a:lnTo>
                    <a:pt x="13" y="512"/>
                  </a:lnTo>
                  <a:lnTo>
                    <a:pt x="17" y="514"/>
                  </a:lnTo>
                  <a:lnTo>
                    <a:pt x="27" y="520"/>
                  </a:lnTo>
                  <a:lnTo>
                    <a:pt x="42" y="524"/>
                  </a:lnTo>
                  <a:lnTo>
                    <a:pt x="34" y="518"/>
                  </a:lnTo>
                  <a:lnTo>
                    <a:pt x="33" y="517"/>
                  </a:lnTo>
                  <a:lnTo>
                    <a:pt x="33" y="520"/>
                  </a:lnTo>
                  <a:lnTo>
                    <a:pt x="29" y="517"/>
                  </a:lnTo>
                  <a:lnTo>
                    <a:pt x="28" y="513"/>
                  </a:lnTo>
                  <a:lnTo>
                    <a:pt x="21" y="507"/>
                  </a:lnTo>
                  <a:lnTo>
                    <a:pt x="16" y="504"/>
                  </a:lnTo>
                  <a:lnTo>
                    <a:pt x="16" y="506"/>
                  </a:lnTo>
                  <a:lnTo>
                    <a:pt x="17" y="511"/>
                  </a:lnTo>
                  <a:lnTo>
                    <a:pt x="15" y="508"/>
                  </a:lnTo>
                  <a:lnTo>
                    <a:pt x="12" y="508"/>
                  </a:lnTo>
                  <a:lnTo>
                    <a:pt x="12" y="505"/>
                  </a:lnTo>
                  <a:lnTo>
                    <a:pt x="12" y="504"/>
                  </a:lnTo>
                  <a:lnTo>
                    <a:pt x="11" y="506"/>
                  </a:lnTo>
                  <a:lnTo>
                    <a:pt x="5" y="508"/>
                  </a:lnTo>
                  <a:lnTo>
                    <a:pt x="0" y="508"/>
                  </a:lnTo>
                  <a:lnTo>
                    <a:pt x="4" y="506"/>
                  </a:lnTo>
                  <a:lnTo>
                    <a:pt x="5" y="504"/>
                  </a:lnTo>
                  <a:lnTo>
                    <a:pt x="5" y="502"/>
                  </a:lnTo>
                  <a:lnTo>
                    <a:pt x="10" y="502"/>
                  </a:lnTo>
                  <a:lnTo>
                    <a:pt x="13" y="504"/>
                  </a:lnTo>
                  <a:lnTo>
                    <a:pt x="16" y="502"/>
                  </a:lnTo>
                  <a:lnTo>
                    <a:pt x="9" y="494"/>
                  </a:lnTo>
                  <a:lnTo>
                    <a:pt x="6" y="493"/>
                  </a:lnTo>
                  <a:lnTo>
                    <a:pt x="1" y="490"/>
                  </a:lnTo>
                  <a:lnTo>
                    <a:pt x="0" y="488"/>
                  </a:lnTo>
                  <a:lnTo>
                    <a:pt x="4" y="489"/>
                  </a:lnTo>
                  <a:lnTo>
                    <a:pt x="6" y="490"/>
                  </a:lnTo>
                  <a:lnTo>
                    <a:pt x="9" y="490"/>
                  </a:lnTo>
                  <a:lnTo>
                    <a:pt x="11" y="489"/>
                  </a:lnTo>
                  <a:lnTo>
                    <a:pt x="13" y="492"/>
                  </a:lnTo>
                  <a:lnTo>
                    <a:pt x="16" y="494"/>
                  </a:lnTo>
                  <a:lnTo>
                    <a:pt x="17" y="498"/>
                  </a:lnTo>
                  <a:lnTo>
                    <a:pt x="16" y="496"/>
                  </a:lnTo>
                  <a:lnTo>
                    <a:pt x="16" y="498"/>
                  </a:lnTo>
                  <a:lnTo>
                    <a:pt x="12" y="494"/>
                  </a:lnTo>
                  <a:lnTo>
                    <a:pt x="10" y="493"/>
                  </a:lnTo>
                  <a:lnTo>
                    <a:pt x="16" y="501"/>
                  </a:lnTo>
                  <a:lnTo>
                    <a:pt x="28" y="512"/>
                  </a:lnTo>
                  <a:lnTo>
                    <a:pt x="30" y="511"/>
                  </a:lnTo>
                  <a:lnTo>
                    <a:pt x="34" y="510"/>
                  </a:lnTo>
                  <a:lnTo>
                    <a:pt x="36" y="511"/>
                  </a:lnTo>
                  <a:lnTo>
                    <a:pt x="34" y="513"/>
                  </a:lnTo>
                  <a:lnTo>
                    <a:pt x="34" y="516"/>
                  </a:lnTo>
                  <a:lnTo>
                    <a:pt x="42" y="524"/>
                  </a:lnTo>
                  <a:lnTo>
                    <a:pt x="46" y="524"/>
                  </a:lnTo>
                  <a:lnTo>
                    <a:pt x="48" y="519"/>
                  </a:lnTo>
                  <a:lnTo>
                    <a:pt x="50" y="519"/>
                  </a:lnTo>
                  <a:lnTo>
                    <a:pt x="50" y="517"/>
                  </a:lnTo>
                  <a:lnTo>
                    <a:pt x="50" y="513"/>
                  </a:lnTo>
                  <a:lnTo>
                    <a:pt x="52" y="513"/>
                  </a:lnTo>
                  <a:lnTo>
                    <a:pt x="57" y="517"/>
                  </a:lnTo>
                  <a:lnTo>
                    <a:pt x="58" y="519"/>
                  </a:lnTo>
                  <a:lnTo>
                    <a:pt x="62" y="520"/>
                  </a:lnTo>
                  <a:lnTo>
                    <a:pt x="63" y="520"/>
                  </a:lnTo>
                  <a:lnTo>
                    <a:pt x="63" y="514"/>
                  </a:lnTo>
                  <a:lnTo>
                    <a:pt x="63" y="512"/>
                  </a:lnTo>
                  <a:lnTo>
                    <a:pt x="65" y="510"/>
                  </a:lnTo>
                  <a:lnTo>
                    <a:pt x="70" y="505"/>
                  </a:lnTo>
                  <a:lnTo>
                    <a:pt x="74" y="502"/>
                  </a:lnTo>
                  <a:lnTo>
                    <a:pt x="80" y="502"/>
                  </a:lnTo>
                  <a:lnTo>
                    <a:pt x="82" y="505"/>
                  </a:lnTo>
                  <a:lnTo>
                    <a:pt x="86" y="505"/>
                  </a:lnTo>
                  <a:lnTo>
                    <a:pt x="89" y="507"/>
                  </a:lnTo>
                  <a:lnTo>
                    <a:pt x="86" y="507"/>
                  </a:lnTo>
                  <a:lnTo>
                    <a:pt x="86" y="511"/>
                  </a:lnTo>
                  <a:lnTo>
                    <a:pt x="89" y="511"/>
                  </a:lnTo>
                  <a:lnTo>
                    <a:pt x="92" y="512"/>
                  </a:lnTo>
                  <a:lnTo>
                    <a:pt x="94" y="512"/>
                  </a:lnTo>
                  <a:lnTo>
                    <a:pt x="94" y="511"/>
                  </a:lnTo>
                  <a:lnTo>
                    <a:pt x="94" y="507"/>
                  </a:lnTo>
                  <a:lnTo>
                    <a:pt x="92" y="508"/>
                  </a:lnTo>
                  <a:lnTo>
                    <a:pt x="89" y="508"/>
                  </a:lnTo>
                  <a:lnTo>
                    <a:pt x="92" y="507"/>
                  </a:lnTo>
                  <a:lnTo>
                    <a:pt x="92" y="506"/>
                  </a:lnTo>
                  <a:lnTo>
                    <a:pt x="92" y="505"/>
                  </a:lnTo>
                  <a:lnTo>
                    <a:pt x="89" y="504"/>
                  </a:lnTo>
                  <a:lnTo>
                    <a:pt x="88" y="502"/>
                  </a:lnTo>
                  <a:lnTo>
                    <a:pt x="92" y="500"/>
                  </a:lnTo>
                  <a:lnTo>
                    <a:pt x="93" y="499"/>
                  </a:lnTo>
                  <a:lnTo>
                    <a:pt x="94" y="496"/>
                  </a:lnTo>
                  <a:lnTo>
                    <a:pt x="89" y="498"/>
                  </a:lnTo>
                  <a:lnTo>
                    <a:pt x="86" y="495"/>
                  </a:lnTo>
                  <a:lnTo>
                    <a:pt x="89" y="495"/>
                  </a:lnTo>
                  <a:lnTo>
                    <a:pt x="89" y="493"/>
                  </a:lnTo>
                  <a:lnTo>
                    <a:pt x="93" y="494"/>
                  </a:lnTo>
                  <a:lnTo>
                    <a:pt x="95" y="494"/>
                  </a:lnTo>
                  <a:lnTo>
                    <a:pt x="93" y="493"/>
                  </a:lnTo>
                  <a:lnTo>
                    <a:pt x="98" y="493"/>
                  </a:lnTo>
                  <a:lnTo>
                    <a:pt x="102" y="494"/>
                  </a:lnTo>
                  <a:lnTo>
                    <a:pt x="106" y="493"/>
                  </a:lnTo>
                  <a:lnTo>
                    <a:pt x="107" y="488"/>
                  </a:lnTo>
                  <a:lnTo>
                    <a:pt x="109" y="489"/>
                  </a:lnTo>
                  <a:lnTo>
                    <a:pt x="111" y="493"/>
                  </a:lnTo>
                  <a:lnTo>
                    <a:pt x="111" y="498"/>
                  </a:lnTo>
                  <a:lnTo>
                    <a:pt x="113" y="496"/>
                  </a:lnTo>
                  <a:lnTo>
                    <a:pt x="116" y="494"/>
                  </a:lnTo>
                  <a:lnTo>
                    <a:pt x="116" y="492"/>
                  </a:lnTo>
                  <a:lnTo>
                    <a:pt x="117" y="489"/>
                  </a:lnTo>
                  <a:lnTo>
                    <a:pt x="118" y="487"/>
                  </a:lnTo>
                  <a:lnTo>
                    <a:pt x="116" y="486"/>
                  </a:lnTo>
                  <a:lnTo>
                    <a:pt x="118" y="486"/>
                  </a:lnTo>
                  <a:lnTo>
                    <a:pt x="118" y="483"/>
                  </a:lnTo>
                  <a:lnTo>
                    <a:pt x="121" y="483"/>
                  </a:lnTo>
                  <a:lnTo>
                    <a:pt x="125" y="482"/>
                  </a:lnTo>
                  <a:lnTo>
                    <a:pt x="124" y="484"/>
                  </a:lnTo>
                  <a:lnTo>
                    <a:pt x="124" y="487"/>
                  </a:lnTo>
                  <a:lnTo>
                    <a:pt x="127" y="486"/>
                  </a:lnTo>
                  <a:lnTo>
                    <a:pt x="129" y="483"/>
                  </a:lnTo>
                  <a:lnTo>
                    <a:pt x="133" y="480"/>
                  </a:lnTo>
                  <a:lnTo>
                    <a:pt x="135" y="477"/>
                  </a:lnTo>
                  <a:lnTo>
                    <a:pt x="135" y="475"/>
                  </a:lnTo>
                  <a:lnTo>
                    <a:pt x="133" y="474"/>
                  </a:lnTo>
                  <a:lnTo>
                    <a:pt x="129" y="474"/>
                  </a:lnTo>
                  <a:lnTo>
                    <a:pt x="124" y="475"/>
                  </a:lnTo>
                  <a:lnTo>
                    <a:pt x="121" y="475"/>
                  </a:lnTo>
                  <a:lnTo>
                    <a:pt x="122" y="472"/>
                  </a:lnTo>
                  <a:lnTo>
                    <a:pt x="125" y="470"/>
                  </a:lnTo>
                  <a:lnTo>
                    <a:pt x="125" y="468"/>
                  </a:lnTo>
                  <a:lnTo>
                    <a:pt x="124" y="464"/>
                  </a:lnTo>
                  <a:lnTo>
                    <a:pt x="117" y="459"/>
                  </a:lnTo>
                  <a:lnTo>
                    <a:pt x="115" y="460"/>
                  </a:lnTo>
                  <a:lnTo>
                    <a:pt x="112" y="463"/>
                  </a:lnTo>
                  <a:lnTo>
                    <a:pt x="113" y="459"/>
                  </a:lnTo>
                  <a:lnTo>
                    <a:pt x="116" y="458"/>
                  </a:lnTo>
                  <a:lnTo>
                    <a:pt x="112" y="456"/>
                  </a:lnTo>
                  <a:lnTo>
                    <a:pt x="111" y="456"/>
                  </a:lnTo>
                  <a:lnTo>
                    <a:pt x="109" y="458"/>
                  </a:lnTo>
                  <a:lnTo>
                    <a:pt x="105" y="459"/>
                  </a:lnTo>
                  <a:lnTo>
                    <a:pt x="106" y="458"/>
                  </a:lnTo>
                  <a:lnTo>
                    <a:pt x="109" y="456"/>
                  </a:lnTo>
                  <a:lnTo>
                    <a:pt x="107" y="454"/>
                  </a:lnTo>
                  <a:lnTo>
                    <a:pt x="109" y="452"/>
                  </a:lnTo>
                  <a:lnTo>
                    <a:pt x="105" y="453"/>
                  </a:lnTo>
                  <a:lnTo>
                    <a:pt x="101" y="458"/>
                  </a:lnTo>
                  <a:lnTo>
                    <a:pt x="100" y="456"/>
                  </a:lnTo>
                  <a:lnTo>
                    <a:pt x="98" y="457"/>
                  </a:lnTo>
                  <a:lnTo>
                    <a:pt x="93" y="457"/>
                  </a:lnTo>
                  <a:lnTo>
                    <a:pt x="99" y="456"/>
                  </a:lnTo>
                  <a:lnTo>
                    <a:pt x="100" y="452"/>
                  </a:lnTo>
                  <a:lnTo>
                    <a:pt x="104" y="452"/>
                  </a:lnTo>
                  <a:lnTo>
                    <a:pt x="107" y="451"/>
                  </a:lnTo>
                  <a:lnTo>
                    <a:pt x="102" y="445"/>
                  </a:lnTo>
                  <a:lnTo>
                    <a:pt x="102" y="444"/>
                  </a:lnTo>
                  <a:lnTo>
                    <a:pt x="104" y="441"/>
                  </a:lnTo>
                  <a:lnTo>
                    <a:pt x="106" y="441"/>
                  </a:lnTo>
                  <a:lnTo>
                    <a:pt x="109" y="440"/>
                  </a:lnTo>
                  <a:lnTo>
                    <a:pt x="112" y="441"/>
                  </a:lnTo>
                  <a:lnTo>
                    <a:pt x="110" y="445"/>
                  </a:lnTo>
                  <a:lnTo>
                    <a:pt x="107" y="447"/>
                  </a:lnTo>
                  <a:lnTo>
                    <a:pt x="106" y="446"/>
                  </a:lnTo>
                  <a:lnTo>
                    <a:pt x="104" y="445"/>
                  </a:lnTo>
                  <a:lnTo>
                    <a:pt x="107" y="451"/>
                  </a:lnTo>
                  <a:lnTo>
                    <a:pt x="110" y="451"/>
                  </a:lnTo>
                  <a:lnTo>
                    <a:pt x="112" y="452"/>
                  </a:lnTo>
                  <a:lnTo>
                    <a:pt x="115" y="450"/>
                  </a:lnTo>
                  <a:lnTo>
                    <a:pt x="113" y="453"/>
                  </a:lnTo>
                  <a:lnTo>
                    <a:pt x="118" y="458"/>
                  </a:lnTo>
                  <a:lnTo>
                    <a:pt x="127" y="464"/>
                  </a:lnTo>
                  <a:lnTo>
                    <a:pt x="128" y="466"/>
                  </a:lnTo>
                  <a:lnTo>
                    <a:pt x="129" y="463"/>
                  </a:lnTo>
                  <a:lnTo>
                    <a:pt x="128" y="462"/>
                  </a:lnTo>
                  <a:lnTo>
                    <a:pt x="128" y="460"/>
                  </a:lnTo>
                  <a:lnTo>
                    <a:pt x="128" y="458"/>
                  </a:lnTo>
                  <a:lnTo>
                    <a:pt x="125" y="454"/>
                  </a:lnTo>
                  <a:lnTo>
                    <a:pt x="127" y="451"/>
                  </a:lnTo>
                  <a:lnTo>
                    <a:pt x="133" y="452"/>
                  </a:lnTo>
                  <a:lnTo>
                    <a:pt x="129" y="450"/>
                  </a:lnTo>
                  <a:lnTo>
                    <a:pt x="124" y="452"/>
                  </a:lnTo>
                  <a:lnTo>
                    <a:pt x="121" y="458"/>
                  </a:lnTo>
                  <a:lnTo>
                    <a:pt x="121" y="453"/>
                  </a:lnTo>
                  <a:lnTo>
                    <a:pt x="122" y="451"/>
                  </a:lnTo>
                  <a:lnTo>
                    <a:pt x="122" y="447"/>
                  </a:lnTo>
                  <a:lnTo>
                    <a:pt x="123" y="445"/>
                  </a:lnTo>
                  <a:lnTo>
                    <a:pt x="124" y="440"/>
                  </a:lnTo>
                  <a:lnTo>
                    <a:pt x="128" y="438"/>
                  </a:lnTo>
                  <a:lnTo>
                    <a:pt x="125" y="436"/>
                  </a:lnTo>
                  <a:lnTo>
                    <a:pt x="129" y="435"/>
                  </a:lnTo>
                  <a:lnTo>
                    <a:pt x="131" y="432"/>
                  </a:lnTo>
                  <a:lnTo>
                    <a:pt x="131" y="429"/>
                  </a:lnTo>
                  <a:lnTo>
                    <a:pt x="129" y="430"/>
                  </a:lnTo>
                  <a:lnTo>
                    <a:pt x="129" y="428"/>
                  </a:lnTo>
                  <a:lnTo>
                    <a:pt x="128" y="427"/>
                  </a:lnTo>
                  <a:lnTo>
                    <a:pt x="130" y="424"/>
                  </a:lnTo>
                  <a:lnTo>
                    <a:pt x="131" y="422"/>
                  </a:lnTo>
                  <a:lnTo>
                    <a:pt x="133" y="419"/>
                  </a:lnTo>
                  <a:lnTo>
                    <a:pt x="133" y="416"/>
                  </a:lnTo>
                  <a:lnTo>
                    <a:pt x="129" y="418"/>
                  </a:lnTo>
                  <a:lnTo>
                    <a:pt x="125" y="422"/>
                  </a:lnTo>
                  <a:lnTo>
                    <a:pt x="127" y="416"/>
                  </a:lnTo>
                  <a:lnTo>
                    <a:pt x="128" y="412"/>
                  </a:lnTo>
                  <a:lnTo>
                    <a:pt x="129" y="411"/>
                  </a:lnTo>
                  <a:lnTo>
                    <a:pt x="127" y="410"/>
                  </a:lnTo>
                  <a:lnTo>
                    <a:pt x="130" y="409"/>
                  </a:lnTo>
                  <a:lnTo>
                    <a:pt x="134" y="406"/>
                  </a:lnTo>
                  <a:lnTo>
                    <a:pt x="131" y="406"/>
                  </a:lnTo>
                  <a:lnTo>
                    <a:pt x="130" y="405"/>
                  </a:lnTo>
                  <a:lnTo>
                    <a:pt x="125" y="406"/>
                  </a:lnTo>
                  <a:lnTo>
                    <a:pt x="128" y="403"/>
                  </a:lnTo>
                  <a:lnTo>
                    <a:pt x="133" y="399"/>
                  </a:lnTo>
                  <a:lnTo>
                    <a:pt x="133" y="398"/>
                  </a:lnTo>
                  <a:lnTo>
                    <a:pt x="135" y="398"/>
                  </a:lnTo>
                  <a:lnTo>
                    <a:pt x="139" y="398"/>
                  </a:lnTo>
                  <a:lnTo>
                    <a:pt x="141" y="395"/>
                  </a:lnTo>
                  <a:lnTo>
                    <a:pt x="142" y="395"/>
                  </a:lnTo>
                  <a:lnTo>
                    <a:pt x="146" y="395"/>
                  </a:lnTo>
                  <a:lnTo>
                    <a:pt x="149" y="393"/>
                  </a:lnTo>
                  <a:lnTo>
                    <a:pt x="149" y="397"/>
                  </a:lnTo>
                  <a:lnTo>
                    <a:pt x="153" y="398"/>
                  </a:lnTo>
                  <a:lnTo>
                    <a:pt x="154" y="395"/>
                  </a:lnTo>
                  <a:lnTo>
                    <a:pt x="157" y="397"/>
                  </a:lnTo>
                  <a:lnTo>
                    <a:pt x="159" y="395"/>
                  </a:lnTo>
                  <a:lnTo>
                    <a:pt x="158" y="394"/>
                  </a:lnTo>
                  <a:lnTo>
                    <a:pt x="157" y="393"/>
                  </a:lnTo>
                  <a:lnTo>
                    <a:pt x="157" y="392"/>
                  </a:lnTo>
                  <a:lnTo>
                    <a:pt x="159" y="386"/>
                  </a:lnTo>
                  <a:lnTo>
                    <a:pt x="161" y="385"/>
                  </a:lnTo>
                  <a:lnTo>
                    <a:pt x="163" y="385"/>
                  </a:lnTo>
                  <a:lnTo>
                    <a:pt x="161" y="388"/>
                  </a:lnTo>
                  <a:lnTo>
                    <a:pt x="164" y="389"/>
                  </a:lnTo>
                  <a:lnTo>
                    <a:pt x="166" y="387"/>
                  </a:lnTo>
                  <a:lnTo>
                    <a:pt x="168" y="388"/>
                  </a:lnTo>
                  <a:lnTo>
                    <a:pt x="168" y="386"/>
                  </a:lnTo>
                  <a:lnTo>
                    <a:pt x="164" y="382"/>
                  </a:lnTo>
                  <a:lnTo>
                    <a:pt x="159" y="382"/>
                  </a:lnTo>
                  <a:lnTo>
                    <a:pt x="155" y="387"/>
                  </a:lnTo>
                  <a:lnTo>
                    <a:pt x="154" y="383"/>
                  </a:lnTo>
                  <a:lnTo>
                    <a:pt x="154" y="382"/>
                  </a:lnTo>
                  <a:lnTo>
                    <a:pt x="155" y="380"/>
                  </a:lnTo>
                  <a:lnTo>
                    <a:pt x="154" y="377"/>
                  </a:lnTo>
                  <a:lnTo>
                    <a:pt x="153" y="380"/>
                  </a:lnTo>
                  <a:lnTo>
                    <a:pt x="151" y="379"/>
                  </a:lnTo>
                  <a:lnTo>
                    <a:pt x="149" y="383"/>
                  </a:lnTo>
                  <a:lnTo>
                    <a:pt x="145" y="386"/>
                  </a:lnTo>
                  <a:lnTo>
                    <a:pt x="143" y="387"/>
                  </a:lnTo>
                  <a:lnTo>
                    <a:pt x="143" y="383"/>
                  </a:lnTo>
                  <a:lnTo>
                    <a:pt x="139" y="381"/>
                  </a:lnTo>
                  <a:lnTo>
                    <a:pt x="142" y="381"/>
                  </a:lnTo>
                  <a:lnTo>
                    <a:pt x="142" y="379"/>
                  </a:lnTo>
                  <a:lnTo>
                    <a:pt x="143" y="377"/>
                  </a:lnTo>
                  <a:lnTo>
                    <a:pt x="142" y="374"/>
                  </a:lnTo>
                  <a:lnTo>
                    <a:pt x="141" y="375"/>
                  </a:lnTo>
                  <a:lnTo>
                    <a:pt x="140" y="371"/>
                  </a:lnTo>
                  <a:lnTo>
                    <a:pt x="135" y="370"/>
                  </a:lnTo>
                  <a:lnTo>
                    <a:pt x="130" y="376"/>
                  </a:lnTo>
                  <a:lnTo>
                    <a:pt x="128" y="380"/>
                  </a:lnTo>
                  <a:lnTo>
                    <a:pt x="129" y="374"/>
                  </a:lnTo>
                  <a:lnTo>
                    <a:pt x="128" y="368"/>
                  </a:lnTo>
                  <a:lnTo>
                    <a:pt x="125" y="374"/>
                  </a:lnTo>
                  <a:lnTo>
                    <a:pt x="123" y="371"/>
                  </a:lnTo>
                  <a:lnTo>
                    <a:pt x="121" y="373"/>
                  </a:lnTo>
                  <a:lnTo>
                    <a:pt x="119" y="373"/>
                  </a:lnTo>
                  <a:lnTo>
                    <a:pt x="118" y="374"/>
                  </a:lnTo>
                  <a:lnTo>
                    <a:pt x="116" y="379"/>
                  </a:lnTo>
                  <a:lnTo>
                    <a:pt x="116" y="381"/>
                  </a:lnTo>
                  <a:lnTo>
                    <a:pt x="115" y="382"/>
                  </a:lnTo>
                  <a:lnTo>
                    <a:pt x="111" y="385"/>
                  </a:lnTo>
                  <a:lnTo>
                    <a:pt x="110" y="386"/>
                  </a:lnTo>
                  <a:lnTo>
                    <a:pt x="107" y="383"/>
                  </a:lnTo>
                  <a:lnTo>
                    <a:pt x="107" y="382"/>
                  </a:lnTo>
                  <a:lnTo>
                    <a:pt x="105" y="386"/>
                  </a:lnTo>
                  <a:lnTo>
                    <a:pt x="105" y="393"/>
                  </a:lnTo>
                  <a:lnTo>
                    <a:pt x="102" y="389"/>
                  </a:lnTo>
                  <a:lnTo>
                    <a:pt x="101" y="385"/>
                  </a:lnTo>
                  <a:lnTo>
                    <a:pt x="100" y="389"/>
                  </a:lnTo>
                  <a:lnTo>
                    <a:pt x="99" y="391"/>
                  </a:lnTo>
                  <a:lnTo>
                    <a:pt x="98" y="389"/>
                  </a:lnTo>
                  <a:lnTo>
                    <a:pt x="94" y="391"/>
                  </a:lnTo>
                  <a:lnTo>
                    <a:pt x="93" y="394"/>
                  </a:lnTo>
                  <a:lnTo>
                    <a:pt x="90" y="397"/>
                  </a:lnTo>
                  <a:lnTo>
                    <a:pt x="89" y="399"/>
                  </a:lnTo>
                  <a:lnTo>
                    <a:pt x="90" y="393"/>
                  </a:lnTo>
                  <a:lnTo>
                    <a:pt x="92" y="388"/>
                  </a:lnTo>
                  <a:lnTo>
                    <a:pt x="88" y="388"/>
                  </a:lnTo>
                  <a:lnTo>
                    <a:pt x="88" y="387"/>
                  </a:lnTo>
                  <a:lnTo>
                    <a:pt x="87" y="387"/>
                  </a:lnTo>
                  <a:lnTo>
                    <a:pt x="89" y="386"/>
                  </a:lnTo>
                  <a:lnTo>
                    <a:pt x="92" y="382"/>
                  </a:lnTo>
                  <a:lnTo>
                    <a:pt x="94" y="379"/>
                  </a:lnTo>
                  <a:lnTo>
                    <a:pt x="98" y="379"/>
                  </a:lnTo>
                  <a:lnTo>
                    <a:pt x="102" y="379"/>
                  </a:lnTo>
                  <a:lnTo>
                    <a:pt x="106" y="379"/>
                  </a:lnTo>
                  <a:lnTo>
                    <a:pt x="106" y="376"/>
                  </a:lnTo>
                  <a:lnTo>
                    <a:pt x="104" y="374"/>
                  </a:lnTo>
                  <a:lnTo>
                    <a:pt x="101" y="374"/>
                  </a:lnTo>
                  <a:lnTo>
                    <a:pt x="98" y="376"/>
                  </a:lnTo>
                  <a:lnTo>
                    <a:pt x="96" y="376"/>
                  </a:lnTo>
                  <a:lnTo>
                    <a:pt x="98" y="373"/>
                  </a:lnTo>
                  <a:lnTo>
                    <a:pt x="99" y="370"/>
                  </a:lnTo>
                  <a:lnTo>
                    <a:pt x="96" y="368"/>
                  </a:lnTo>
                  <a:lnTo>
                    <a:pt x="94" y="370"/>
                  </a:lnTo>
                  <a:lnTo>
                    <a:pt x="93" y="368"/>
                  </a:lnTo>
                  <a:lnTo>
                    <a:pt x="92" y="370"/>
                  </a:lnTo>
                  <a:lnTo>
                    <a:pt x="89" y="371"/>
                  </a:lnTo>
                  <a:lnTo>
                    <a:pt x="89" y="374"/>
                  </a:lnTo>
                  <a:lnTo>
                    <a:pt x="93" y="374"/>
                  </a:lnTo>
                  <a:lnTo>
                    <a:pt x="94" y="376"/>
                  </a:lnTo>
                  <a:lnTo>
                    <a:pt x="90" y="380"/>
                  </a:lnTo>
                  <a:lnTo>
                    <a:pt x="89" y="382"/>
                  </a:lnTo>
                  <a:lnTo>
                    <a:pt x="89" y="380"/>
                  </a:lnTo>
                  <a:lnTo>
                    <a:pt x="86" y="381"/>
                  </a:lnTo>
                  <a:lnTo>
                    <a:pt x="80" y="385"/>
                  </a:lnTo>
                  <a:lnTo>
                    <a:pt x="82" y="380"/>
                  </a:lnTo>
                  <a:lnTo>
                    <a:pt x="81" y="376"/>
                  </a:lnTo>
                  <a:lnTo>
                    <a:pt x="80" y="376"/>
                  </a:lnTo>
                  <a:lnTo>
                    <a:pt x="81" y="374"/>
                  </a:lnTo>
                  <a:lnTo>
                    <a:pt x="82" y="371"/>
                  </a:lnTo>
                  <a:lnTo>
                    <a:pt x="83" y="370"/>
                  </a:lnTo>
                  <a:lnTo>
                    <a:pt x="80" y="370"/>
                  </a:lnTo>
                  <a:lnTo>
                    <a:pt x="82" y="367"/>
                  </a:lnTo>
                  <a:lnTo>
                    <a:pt x="82" y="365"/>
                  </a:lnTo>
                  <a:lnTo>
                    <a:pt x="83" y="365"/>
                  </a:lnTo>
                  <a:lnTo>
                    <a:pt x="87" y="367"/>
                  </a:lnTo>
                  <a:lnTo>
                    <a:pt x="88" y="364"/>
                  </a:lnTo>
                  <a:lnTo>
                    <a:pt x="83" y="363"/>
                  </a:lnTo>
                  <a:lnTo>
                    <a:pt x="80" y="364"/>
                  </a:lnTo>
                  <a:lnTo>
                    <a:pt x="74" y="364"/>
                  </a:lnTo>
                  <a:lnTo>
                    <a:pt x="77" y="362"/>
                  </a:lnTo>
                  <a:lnTo>
                    <a:pt x="81" y="359"/>
                  </a:lnTo>
                  <a:lnTo>
                    <a:pt x="83" y="361"/>
                  </a:lnTo>
                  <a:lnTo>
                    <a:pt x="87" y="362"/>
                  </a:lnTo>
                  <a:lnTo>
                    <a:pt x="92" y="364"/>
                  </a:lnTo>
                  <a:lnTo>
                    <a:pt x="94" y="364"/>
                  </a:lnTo>
                  <a:lnTo>
                    <a:pt x="98" y="362"/>
                  </a:lnTo>
                  <a:lnTo>
                    <a:pt x="99" y="359"/>
                  </a:lnTo>
                  <a:lnTo>
                    <a:pt x="99" y="356"/>
                  </a:lnTo>
                  <a:lnTo>
                    <a:pt x="95" y="356"/>
                  </a:lnTo>
                  <a:lnTo>
                    <a:pt x="90" y="358"/>
                  </a:lnTo>
                  <a:lnTo>
                    <a:pt x="89" y="361"/>
                  </a:lnTo>
                  <a:lnTo>
                    <a:pt x="86" y="359"/>
                  </a:lnTo>
                  <a:lnTo>
                    <a:pt x="86" y="356"/>
                  </a:lnTo>
                  <a:lnTo>
                    <a:pt x="89" y="352"/>
                  </a:lnTo>
                  <a:lnTo>
                    <a:pt x="89" y="349"/>
                  </a:lnTo>
                  <a:lnTo>
                    <a:pt x="86" y="347"/>
                  </a:lnTo>
                  <a:lnTo>
                    <a:pt x="84" y="345"/>
                  </a:lnTo>
                  <a:lnTo>
                    <a:pt x="86" y="343"/>
                  </a:lnTo>
                  <a:lnTo>
                    <a:pt x="82" y="339"/>
                  </a:lnTo>
                  <a:lnTo>
                    <a:pt x="78" y="337"/>
                  </a:lnTo>
                  <a:lnTo>
                    <a:pt x="80" y="341"/>
                  </a:lnTo>
                  <a:lnTo>
                    <a:pt x="78" y="344"/>
                  </a:lnTo>
                  <a:lnTo>
                    <a:pt x="76" y="340"/>
                  </a:lnTo>
                  <a:lnTo>
                    <a:pt x="74" y="340"/>
                  </a:lnTo>
                  <a:lnTo>
                    <a:pt x="75" y="343"/>
                  </a:lnTo>
                  <a:lnTo>
                    <a:pt x="72" y="344"/>
                  </a:lnTo>
                  <a:lnTo>
                    <a:pt x="72" y="345"/>
                  </a:lnTo>
                  <a:lnTo>
                    <a:pt x="75" y="347"/>
                  </a:lnTo>
                  <a:lnTo>
                    <a:pt x="76" y="349"/>
                  </a:lnTo>
                  <a:lnTo>
                    <a:pt x="74" y="351"/>
                  </a:lnTo>
                  <a:lnTo>
                    <a:pt x="72" y="355"/>
                  </a:lnTo>
                  <a:lnTo>
                    <a:pt x="76" y="358"/>
                  </a:lnTo>
                  <a:lnTo>
                    <a:pt x="72" y="356"/>
                  </a:lnTo>
                  <a:lnTo>
                    <a:pt x="71" y="359"/>
                  </a:lnTo>
                  <a:lnTo>
                    <a:pt x="70" y="356"/>
                  </a:lnTo>
                  <a:lnTo>
                    <a:pt x="68" y="351"/>
                  </a:lnTo>
                  <a:lnTo>
                    <a:pt x="63" y="351"/>
                  </a:lnTo>
                  <a:lnTo>
                    <a:pt x="64" y="358"/>
                  </a:lnTo>
                  <a:lnTo>
                    <a:pt x="60" y="359"/>
                  </a:lnTo>
                  <a:lnTo>
                    <a:pt x="57" y="361"/>
                  </a:lnTo>
                  <a:lnTo>
                    <a:pt x="59" y="364"/>
                  </a:lnTo>
                  <a:lnTo>
                    <a:pt x="56" y="369"/>
                  </a:lnTo>
                  <a:lnTo>
                    <a:pt x="52" y="374"/>
                  </a:lnTo>
                  <a:lnTo>
                    <a:pt x="53" y="370"/>
                  </a:lnTo>
                  <a:lnTo>
                    <a:pt x="54" y="365"/>
                  </a:lnTo>
                  <a:lnTo>
                    <a:pt x="56" y="365"/>
                  </a:lnTo>
                  <a:lnTo>
                    <a:pt x="57" y="363"/>
                  </a:lnTo>
                  <a:lnTo>
                    <a:pt x="56" y="362"/>
                  </a:lnTo>
                  <a:lnTo>
                    <a:pt x="54" y="361"/>
                  </a:lnTo>
                  <a:lnTo>
                    <a:pt x="52" y="362"/>
                  </a:lnTo>
                  <a:lnTo>
                    <a:pt x="51" y="358"/>
                  </a:lnTo>
                  <a:lnTo>
                    <a:pt x="47" y="357"/>
                  </a:lnTo>
                  <a:lnTo>
                    <a:pt x="43" y="362"/>
                  </a:lnTo>
                  <a:lnTo>
                    <a:pt x="45" y="356"/>
                  </a:lnTo>
                  <a:lnTo>
                    <a:pt x="41" y="361"/>
                  </a:lnTo>
                  <a:lnTo>
                    <a:pt x="40" y="362"/>
                  </a:lnTo>
                  <a:lnTo>
                    <a:pt x="39" y="362"/>
                  </a:lnTo>
                  <a:lnTo>
                    <a:pt x="40" y="359"/>
                  </a:lnTo>
                  <a:lnTo>
                    <a:pt x="39" y="358"/>
                  </a:lnTo>
                  <a:lnTo>
                    <a:pt x="39" y="356"/>
                  </a:lnTo>
                  <a:lnTo>
                    <a:pt x="36" y="356"/>
                  </a:lnTo>
                  <a:lnTo>
                    <a:pt x="41" y="352"/>
                  </a:lnTo>
                  <a:lnTo>
                    <a:pt x="45" y="352"/>
                  </a:lnTo>
                  <a:lnTo>
                    <a:pt x="46" y="350"/>
                  </a:lnTo>
                  <a:lnTo>
                    <a:pt x="50" y="347"/>
                  </a:lnTo>
                  <a:lnTo>
                    <a:pt x="50" y="345"/>
                  </a:lnTo>
                  <a:lnTo>
                    <a:pt x="45" y="344"/>
                  </a:lnTo>
                  <a:lnTo>
                    <a:pt x="41" y="343"/>
                  </a:lnTo>
                  <a:lnTo>
                    <a:pt x="41" y="345"/>
                  </a:lnTo>
                  <a:lnTo>
                    <a:pt x="40" y="346"/>
                  </a:lnTo>
                  <a:lnTo>
                    <a:pt x="36" y="343"/>
                  </a:lnTo>
                  <a:lnTo>
                    <a:pt x="33" y="344"/>
                  </a:lnTo>
                  <a:lnTo>
                    <a:pt x="36" y="347"/>
                  </a:lnTo>
                  <a:lnTo>
                    <a:pt x="33" y="352"/>
                  </a:lnTo>
                  <a:lnTo>
                    <a:pt x="29" y="355"/>
                  </a:lnTo>
                  <a:lnTo>
                    <a:pt x="27" y="356"/>
                  </a:lnTo>
                  <a:lnTo>
                    <a:pt x="24" y="351"/>
                  </a:lnTo>
                  <a:lnTo>
                    <a:pt x="25" y="345"/>
                  </a:lnTo>
                  <a:lnTo>
                    <a:pt x="28" y="345"/>
                  </a:lnTo>
                  <a:lnTo>
                    <a:pt x="31" y="344"/>
                  </a:lnTo>
                  <a:lnTo>
                    <a:pt x="35" y="341"/>
                  </a:lnTo>
                  <a:lnTo>
                    <a:pt x="37" y="340"/>
                  </a:lnTo>
                  <a:lnTo>
                    <a:pt x="34" y="340"/>
                  </a:lnTo>
                  <a:lnTo>
                    <a:pt x="30" y="339"/>
                  </a:lnTo>
                  <a:lnTo>
                    <a:pt x="30" y="338"/>
                  </a:lnTo>
                  <a:lnTo>
                    <a:pt x="29" y="338"/>
                  </a:lnTo>
                  <a:lnTo>
                    <a:pt x="28" y="338"/>
                  </a:lnTo>
                  <a:lnTo>
                    <a:pt x="27" y="338"/>
                  </a:lnTo>
                  <a:lnTo>
                    <a:pt x="22" y="340"/>
                  </a:lnTo>
                  <a:lnTo>
                    <a:pt x="23" y="338"/>
                  </a:lnTo>
                  <a:lnTo>
                    <a:pt x="24" y="333"/>
                  </a:lnTo>
                  <a:lnTo>
                    <a:pt x="23" y="334"/>
                  </a:lnTo>
                  <a:lnTo>
                    <a:pt x="22" y="333"/>
                  </a:lnTo>
                  <a:lnTo>
                    <a:pt x="22" y="332"/>
                  </a:lnTo>
                  <a:lnTo>
                    <a:pt x="27" y="331"/>
                  </a:lnTo>
                  <a:lnTo>
                    <a:pt x="28" y="334"/>
                  </a:lnTo>
                  <a:lnTo>
                    <a:pt x="31" y="337"/>
                  </a:lnTo>
                  <a:lnTo>
                    <a:pt x="34" y="337"/>
                  </a:lnTo>
                  <a:lnTo>
                    <a:pt x="33" y="332"/>
                  </a:lnTo>
                  <a:lnTo>
                    <a:pt x="30" y="331"/>
                  </a:lnTo>
                  <a:lnTo>
                    <a:pt x="31" y="326"/>
                  </a:lnTo>
                  <a:lnTo>
                    <a:pt x="34" y="328"/>
                  </a:lnTo>
                  <a:lnTo>
                    <a:pt x="34" y="334"/>
                  </a:lnTo>
                  <a:lnTo>
                    <a:pt x="36" y="335"/>
                  </a:lnTo>
                  <a:lnTo>
                    <a:pt x="36" y="333"/>
                  </a:lnTo>
                  <a:lnTo>
                    <a:pt x="35" y="332"/>
                  </a:lnTo>
                  <a:lnTo>
                    <a:pt x="36" y="331"/>
                  </a:lnTo>
                  <a:lnTo>
                    <a:pt x="39" y="329"/>
                  </a:lnTo>
                  <a:lnTo>
                    <a:pt x="41" y="331"/>
                  </a:lnTo>
                  <a:lnTo>
                    <a:pt x="42" y="332"/>
                  </a:lnTo>
                  <a:lnTo>
                    <a:pt x="47" y="331"/>
                  </a:lnTo>
                  <a:lnTo>
                    <a:pt x="48" y="333"/>
                  </a:lnTo>
                  <a:lnTo>
                    <a:pt x="53" y="334"/>
                  </a:lnTo>
                  <a:lnTo>
                    <a:pt x="59" y="338"/>
                  </a:lnTo>
                  <a:lnTo>
                    <a:pt x="59" y="337"/>
                  </a:lnTo>
                  <a:lnTo>
                    <a:pt x="58" y="335"/>
                  </a:lnTo>
                  <a:lnTo>
                    <a:pt x="56" y="334"/>
                  </a:lnTo>
                  <a:lnTo>
                    <a:pt x="59" y="331"/>
                  </a:lnTo>
                  <a:lnTo>
                    <a:pt x="62" y="328"/>
                  </a:lnTo>
                  <a:lnTo>
                    <a:pt x="64" y="325"/>
                  </a:lnTo>
                  <a:lnTo>
                    <a:pt x="65" y="322"/>
                  </a:lnTo>
                  <a:lnTo>
                    <a:pt x="62" y="326"/>
                  </a:lnTo>
                  <a:lnTo>
                    <a:pt x="58" y="329"/>
                  </a:lnTo>
                  <a:lnTo>
                    <a:pt x="52" y="331"/>
                  </a:lnTo>
                  <a:lnTo>
                    <a:pt x="53" y="327"/>
                  </a:lnTo>
                  <a:lnTo>
                    <a:pt x="56" y="322"/>
                  </a:lnTo>
                  <a:lnTo>
                    <a:pt x="58" y="320"/>
                  </a:lnTo>
                  <a:lnTo>
                    <a:pt x="60" y="317"/>
                  </a:lnTo>
                  <a:lnTo>
                    <a:pt x="60" y="320"/>
                  </a:lnTo>
                  <a:lnTo>
                    <a:pt x="63" y="319"/>
                  </a:lnTo>
                  <a:lnTo>
                    <a:pt x="66" y="317"/>
                  </a:lnTo>
                  <a:lnTo>
                    <a:pt x="63" y="314"/>
                  </a:lnTo>
                  <a:lnTo>
                    <a:pt x="60" y="316"/>
                  </a:lnTo>
                  <a:lnTo>
                    <a:pt x="57" y="316"/>
                  </a:lnTo>
                  <a:lnTo>
                    <a:pt x="53" y="316"/>
                  </a:lnTo>
                  <a:lnTo>
                    <a:pt x="52" y="317"/>
                  </a:lnTo>
                  <a:lnTo>
                    <a:pt x="52" y="314"/>
                  </a:lnTo>
                  <a:lnTo>
                    <a:pt x="46" y="308"/>
                  </a:lnTo>
                  <a:lnTo>
                    <a:pt x="52" y="306"/>
                  </a:lnTo>
                  <a:lnTo>
                    <a:pt x="54" y="302"/>
                  </a:lnTo>
                  <a:lnTo>
                    <a:pt x="50" y="304"/>
                  </a:lnTo>
                  <a:lnTo>
                    <a:pt x="51" y="299"/>
                  </a:lnTo>
                  <a:lnTo>
                    <a:pt x="56" y="293"/>
                  </a:lnTo>
                  <a:lnTo>
                    <a:pt x="60" y="291"/>
                  </a:lnTo>
                  <a:lnTo>
                    <a:pt x="54" y="290"/>
                  </a:lnTo>
                  <a:lnTo>
                    <a:pt x="45" y="293"/>
                  </a:lnTo>
                  <a:lnTo>
                    <a:pt x="35" y="303"/>
                  </a:lnTo>
                  <a:lnTo>
                    <a:pt x="30" y="310"/>
                  </a:lnTo>
                  <a:lnTo>
                    <a:pt x="30" y="306"/>
                  </a:lnTo>
                  <a:lnTo>
                    <a:pt x="31" y="303"/>
                  </a:lnTo>
                  <a:lnTo>
                    <a:pt x="33" y="298"/>
                  </a:lnTo>
                  <a:lnTo>
                    <a:pt x="29" y="300"/>
                  </a:lnTo>
                  <a:lnTo>
                    <a:pt x="31" y="292"/>
                  </a:lnTo>
                  <a:lnTo>
                    <a:pt x="34" y="287"/>
                  </a:lnTo>
                  <a:lnTo>
                    <a:pt x="35" y="287"/>
                  </a:lnTo>
                  <a:lnTo>
                    <a:pt x="40" y="288"/>
                  </a:lnTo>
                  <a:lnTo>
                    <a:pt x="39" y="285"/>
                  </a:lnTo>
                  <a:lnTo>
                    <a:pt x="40" y="285"/>
                  </a:lnTo>
                  <a:lnTo>
                    <a:pt x="43" y="281"/>
                  </a:lnTo>
                  <a:lnTo>
                    <a:pt x="45" y="278"/>
                  </a:lnTo>
                  <a:lnTo>
                    <a:pt x="33" y="276"/>
                  </a:lnTo>
                  <a:lnTo>
                    <a:pt x="24" y="274"/>
                  </a:lnTo>
                  <a:lnTo>
                    <a:pt x="30" y="274"/>
                  </a:lnTo>
                  <a:lnTo>
                    <a:pt x="33" y="274"/>
                  </a:lnTo>
                  <a:lnTo>
                    <a:pt x="33" y="272"/>
                  </a:lnTo>
                  <a:lnTo>
                    <a:pt x="35" y="272"/>
                  </a:lnTo>
                  <a:lnTo>
                    <a:pt x="35" y="270"/>
                  </a:lnTo>
                  <a:lnTo>
                    <a:pt x="39" y="272"/>
                  </a:lnTo>
                  <a:lnTo>
                    <a:pt x="37" y="269"/>
                  </a:lnTo>
                  <a:lnTo>
                    <a:pt x="41" y="270"/>
                  </a:lnTo>
                  <a:lnTo>
                    <a:pt x="42" y="268"/>
                  </a:lnTo>
                  <a:lnTo>
                    <a:pt x="46" y="272"/>
                  </a:lnTo>
                  <a:lnTo>
                    <a:pt x="47" y="274"/>
                  </a:lnTo>
                  <a:lnTo>
                    <a:pt x="50" y="278"/>
                  </a:lnTo>
                  <a:lnTo>
                    <a:pt x="51" y="280"/>
                  </a:lnTo>
                  <a:lnTo>
                    <a:pt x="53" y="280"/>
                  </a:lnTo>
                  <a:lnTo>
                    <a:pt x="54" y="278"/>
                  </a:lnTo>
                  <a:lnTo>
                    <a:pt x="54" y="276"/>
                  </a:lnTo>
                  <a:lnTo>
                    <a:pt x="56" y="275"/>
                  </a:lnTo>
                  <a:lnTo>
                    <a:pt x="58" y="275"/>
                  </a:lnTo>
                  <a:lnTo>
                    <a:pt x="64" y="273"/>
                  </a:lnTo>
                  <a:lnTo>
                    <a:pt x="69" y="275"/>
                  </a:lnTo>
                  <a:lnTo>
                    <a:pt x="71" y="275"/>
                  </a:lnTo>
                  <a:lnTo>
                    <a:pt x="75" y="275"/>
                  </a:lnTo>
                  <a:lnTo>
                    <a:pt x="81" y="275"/>
                  </a:lnTo>
                  <a:lnTo>
                    <a:pt x="83" y="275"/>
                  </a:lnTo>
                  <a:lnTo>
                    <a:pt x="88" y="275"/>
                  </a:lnTo>
                  <a:lnTo>
                    <a:pt x="88" y="272"/>
                  </a:lnTo>
                  <a:lnTo>
                    <a:pt x="90" y="273"/>
                  </a:lnTo>
                  <a:lnTo>
                    <a:pt x="92" y="274"/>
                  </a:lnTo>
                  <a:lnTo>
                    <a:pt x="92" y="275"/>
                  </a:lnTo>
                  <a:lnTo>
                    <a:pt x="95" y="274"/>
                  </a:lnTo>
                  <a:lnTo>
                    <a:pt x="100" y="275"/>
                  </a:lnTo>
                  <a:lnTo>
                    <a:pt x="105" y="276"/>
                  </a:lnTo>
                  <a:lnTo>
                    <a:pt x="109" y="279"/>
                  </a:lnTo>
                  <a:lnTo>
                    <a:pt x="112" y="280"/>
                  </a:lnTo>
                  <a:lnTo>
                    <a:pt x="116" y="280"/>
                  </a:lnTo>
                  <a:lnTo>
                    <a:pt x="117" y="275"/>
                  </a:lnTo>
                  <a:lnTo>
                    <a:pt x="117" y="272"/>
                  </a:lnTo>
                  <a:lnTo>
                    <a:pt x="118" y="269"/>
                  </a:lnTo>
                  <a:lnTo>
                    <a:pt x="115" y="272"/>
                  </a:lnTo>
                  <a:lnTo>
                    <a:pt x="112" y="270"/>
                  </a:lnTo>
                  <a:lnTo>
                    <a:pt x="111" y="273"/>
                  </a:lnTo>
                  <a:lnTo>
                    <a:pt x="111" y="269"/>
                  </a:lnTo>
                  <a:lnTo>
                    <a:pt x="106" y="268"/>
                  </a:lnTo>
                  <a:lnTo>
                    <a:pt x="105" y="267"/>
                  </a:lnTo>
                  <a:lnTo>
                    <a:pt x="105" y="266"/>
                  </a:lnTo>
                  <a:lnTo>
                    <a:pt x="102" y="267"/>
                  </a:lnTo>
                  <a:lnTo>
                    <a:pt x="100" y="268"/>
                  </a:lnTo>
                  <a:lnTo>
                    <a:pt x="101" y="264"/>
                  </a:lnTo>
                  <a:lnTo>
                    <a:pt x="101" y="258"/>
                  </a:lnTo>
                  <a:lnTo>
                    <a:pt x="96" y="261"/>
                  </a:lnTo>
                  <a:lnTo>
                    <a:pt x="93" y="263"/>
                  </a:lnTo>
                  <a:lnTo>
                    <a:pt x="92" y="262"/>
                  </a:lnTo>
                  <a:lnTo>
                    <a:pt x="88" y="260"/>
                  </a:lnTo>
                  <a:lnTo>
                    <a:pt x="86" y="263"/>
                  </a:lnTo>
                  <a:lnTo>
                    <a:pt x="86" y="260"/>
                  </a:lnTo>
                  <a:lnTo>
                    <a:pt x="88" y="256"/>
                  </a:lnTo>
                  <a:lnTo>
                    <a:pt x="86" y="254"/>
                  </a:lnTo>
                  <a:lnTo>
                    <a:pt x="89" y="254"/>
                  </a:lnTo>
                  <a:lnTo>
                    <a:pt x="93" y="254"/>
                  </a:lnTo>
                  <a:lnTo>
                    <a:pt x="95" y="255"/>
                  </a:lnTo>
                  <a:lnTo>
                    <a:pt x="98" y="252"/>
                  </a:lnTo>
                  <a:lnTo>
                    <a:pt x="95" y="250"/>
                  </a:lnTo>
                  <a:lnTo>
                    <a:pt x="93" y="248"/>
                  </a:lnTo>
                  <a:lnTo>
                    <a:pt x="93" y="245"/>
                  </a:lnTo>
                  <a:lnTo>
                    <a:pt x="89" y="248"/>
                  </a:lnTo>
                  <a:lnTo>
                    <a:pt x="90" y="244"/>
                  </a:lnTo>
                  <a:lnTo>
                    <a:pt x="95" y="240"/>
                  </a:lnTo>
                  <a:lnTo>
                    <a:pt x="100" y="242"/>
                  </a:lnTo>
                  <a:lnTo>
                    <a:pt x="101" y="243"/>
                  </a:lnTo>
                  <a:lnTo>
                    <a:pt x="104" y="240"/>
                  </a:lnTo>
                  <a:lnTo>
                    <a:pt x="107" y="238"/>
                  </a:lnTo>
                  <a:lnTo>
                    <a:pt x="109" y="236"/>
                  </a:lnTo>
                  <a:lnTo>
                    <a:pt x="115" y="233"/>
                  </a:lnTo>
                  <a:lnTo>
                    <a:pt x="113" y="230"/>
                  </a:lnTo>
                  <a:lnTo>
                    <a:pt x="110" y="227"/>
                  </a:lnTo>
                  <a:lnTo>
                    <a:pt x="110" y="226"/>
                  </a:lnTo>
                  <a:lnTo>
                    <a:pt x="111" y="227"/>
                  </a:lnTo>
                  <a:lnTo>
                    <a:pt x="113" y="228"/>
                  </a:lnTo>
                  <a:lnTo>
                    <a:pt x="116" y="226"/>
                  </a:lnTo>
                  <a:lnTo>
                    <a:pt x="116" y="224"/>
                  </a:lnTo>
                  <a:lnTo>
                    <a:pt x="121" y="222"/>
                  </a:lnTo>
                  <a:lnTo>
                    <a:pt x="124" y="221"/>
                  </a:lnTo>
                  <a:lnTo>
                    <a:pt x="128" y="219"/>
                  </a:lnTo>
                  <a:lnTo>
                    <a:pt x="130" y="218"/>
                  </a:lnTo>
                  <a:lnTo>
                    <a:pt x="128" y="213"/>
                  </a:lnTo>
                  <a:lnTo>
                    <a:pt x="127" y="210"/>
                  </a:lnTo>
                  <a:lnTo>
                    <a:pt x="123" y="215"/>
                  </a:lnTo>
                  <a:lnTo>
                    <a:pt x="118" y="219"/>
                  </a:lnTo>
                  <a:lnTo>
                    <a:pt x="119" y="215"/>
                  </a:lnTo>
                  <a:lnTo>
                    <a:pt x="125" y="209"/>
                  </a:lnTo>
                  <a:lnTo>
                    <a:pt x="128" y="207"/>
                  </a:lnTo>
                  <a:lnTo>
                    <a:pt x="125" y="207"/>
                  </a:lnTo>
                  <a:lnTo>
                    <a:pt x="125" y="203"/>
                  </a:lnTo>
                  <a:lnTo>
                    <a:pt x="125" y="202"/>
                  </a:lnTo>
                  <a:lnTo>
                    <a:pt x="121" y="203"/>
                  </a:lnTo>
                  <a:lnTo>
                    <a:pt x="115" y="205"/>
                  </a:lnTo>
                  <a:lnTo>
                    <a:pt x="109" y="208"/>
                  </a:lnTo>
                  <a:lnTo>
                    <a:pt x="111" y="202"/>
                  </a:lnTo>
                  <a:lnTo>
                    <a:pt x="113" y="199"/>
                  </a:lnTo>
                  <a:lnTo>
                    <a:pt x="116" y="196"/>
                  </a:lnTo>
                  <a:lnTo>
                    <a:pt x="119" y="195"/>
                  </a:lnTo>
                  <a:lnTo>
                    <a:pt x="125" y="196"/>
                  </a:lnTo>
                  <a:lnTo>
                    <a:pt x="125" y="193"/>
                  </a:lnTo>
                  <a:lnTo>
                    <a:pt x="111" y="192"/>
                  </a:lnTo>
                  <a:lnTo>
                    <a:pt x="110" y="190"/>
                  </a:lnTo>
                  <a:lnTo>
                    <a:pt x="113" y="189"/>
                  </a:lnTo>
                  <a:lnTo>
                    <a:pt x="117" y="187"/>
                  </a:lnTo>
                  <a:lnTo>
                    <a:pt x="119" y="186"/>
                  </a:lnTo>
                  <a:lnTo>
                    <a:pt x="122" y="185"/>
                  </a:lnTo>
                  <a:lnTo>
                    <a:pt x="127" y="186"/>
                  </a:lnTo>
                  <a:lnTo>
                    <a:pt x="129" y="190"/>
                  </a:lnTo>
                  <a:lnTo>
                    <a:pt x="129" y="189"/>
                  </a:lnTo>
                  <a:lnTo>
                    <a:pt x="130" y="186"/>
                  </a:lnTo>
                  <a:lnTo>
                    <a:pt x="134" y="187"/>
                  </a:lnTo>
                  <a:lnTo>
                    <a:pt x="135" y="185"/>
                  </a:lnTo>
                  <a:lnTo>
                    <a:pt x="134" y="183"/>
                  </a:lnTo>
                  <a:lnTo>
                    <a:pt x="129" y="180"/>
                  </a:lnTo>
                  <a:lnTo>
                    <a:pt x="128" y="178"/>
                  </a:lnTo>
                  <a:lnTo>
                    <a:pt x="127" y="177"/>
                  </a:lnTo>
                  <a:lnTo>
                    <a:pt x="125" y="174"/>
                  </a:lnTo>
                  <a:lnTo>
                    <a:pt x="125" y="171"/>
                  </a:lnTo>
                  <a:lnTo>
                    <a:pt x="127" y="168"/>
                  </a:lnTo>
                  <a:lnTo>
                    <a:pt x="127" y="166"/>
                  </a:lnTo>
                  <a:lnTo>
                    <a:pt x="129" y="168"/>
                  </a:lnTo>
                  <a:lnTo>
                    <a:pt x="130" y="167"/>
                  </a:lnTo>
                  <a:lnTo>
                    <a:pt x="133" y="171"/>
                  </a:lnTo>
                  <a:lnTo>
                    <a:pt x="135" y="171"/>
                  </a:lnTo>
                  <a:lnTo>
                    <a:pt x="136" y="177"/>
                  </a:lnTo>
                  <a:lnTo>
                    <a:pt x="136" y="181"/>
                  </a:lnTo>
                  <a:lnTo>
                    <a:pt x="137" y="186"/>
                  </a:lnTo>
                  <a:lnTo>
                    <a:pt x="140" y="189"/>
                  </a:lnTo>
                  <a:lnTo>
                    <a:pt x="145" y="190"/>
                  </a:lnTo>
                  <a:lnTo>
                    <a:pt x="148" y="191"/>
                  </a:lnTo>
                  <a:lnTo>
                    <a:pt x="153" y="189"/>
                  </a:lnTo>
                  <a:lnTo>
                    <a:pt x="155" y="189"/>
                  </a:lnTo>
                  <a:lnTo>
                    <a:pt x="155" y="187"/>
                  </a:lnTo>
                  <a:lnTo>
                    <a:pt x="158" y="186"/>
                  </a:lnTo>
                  <a:lnTo>
                    <a:pt x="159" y="187"/>
                  </a:lnTo>
                  <a:lnTo>
                    <a:pt x="160" y="185"/>
                  </a:lnTo>
                  <a:lnTo>
                    <a:pt x="163" y="184"/>
                  </a:lnTo>
                  <a:lnTo>
                    <a:pt x="165" y="181"/>
                  </a:lnTo>
                  <a:lnTo>
                    <a:pt x="166" y="179"/>
                  </a:lnTo>
                  <a:lnTo>
                    <a:pt x="168" y="178"/>
                  </a:lnTo>
                  <a:lnTo>
                    <a:pt x="166" y="178"/>
                  </a:lnTo>
                  <a:lnTo>
                    <a:pt x="166" y="174"/>
                  </a:lnTo>
                  <a:lnTo>
                    <a:pt x="166" y="173"/>
                  </a:lnTo>
                  <a:lnTo>
                    <a:pt x="165" y="171"/>
                  </a:lnTo>
                  <a:lnTo>
                    <a:pt x="165" y="167"/>
                  </a:lnTo>
                  <a:lnTo>
                    <a:pt x="168" y="168"/>
                  </a:lnTo>
                  <a:lnTo>
                    <a:pt x="169" y="169"/>
                  </a:lnTo>
                  <a:lnTo>
                    <a:pt x="170" y="168"/>
                  </a:lnTo>
                  <a:lnTo>
                    <a:pt x="169" y="167"/>
                  </a:lnTo>
                  <a:lnTo>
                    <a:pt x="172" y="166"/>
                  </a:lnTo>
                  <a:lnTo>
                    <a:pt x="175" y="166"/>
                  </a:lnTo>
                  <a:lnTo>
                    <a:pt x="174" y="162"/>
                  </a:lnTo>
                  <a:lnTo>
                    <a:pt x="172" y="155"/>
                  </a:lnTo>
                  <a:lnTo>
                    <a:pt x="171" y="156"/>
                  </a:lnTo>
                  <a:lnTo>
                    <a:pt x="169" y="155"/>
                  </a:lnTo>
                  <a:lnTo>
                    <a:pt x="168" y="157"/>
                  </a:lnTo>
                  <a:lnTo>
                    <a:pt x="166" y="157"/>
                  </a:lnTo>
                  <a:lnTo>
                    <a:pt x="165" y="155"/>
                  </a:lnTo>
                  <a:lnTo>
                    <a:pt x="165" y="154"/>
                  </a:lnTo>
                  <a:lnTo>
                    <a:pt x="164" y="151"/>
                  </a:lnTo>
                  <a:lnTo>
                    <a:pt x="166" y="151"/>
                  </a:lnTo>
                  <a:lnTo>
                    <a:pt x="170" y="154"/>
                  </a:lnTo>
                  <a:lnTo>
                    <a:pt x="170" y="150"/>
                  </a:lnTo>
                  <a:lnTo>
                    <a:pt x="169" y="147"/>
                  </a:lnTo>
                  <a:lnTo>
                    <a:pt x="170" y="147"/>
                  </a:lnTo>
                  <a:lnTo>
                    <a:pt x="171" y="144"/>
                  </a:lnTo>
                  <a:lnTo>
                    <a:pt x="172" y="143"/>
                  </a:lnTo>
                  <a:lnTo>
                    <a:pt x="174" y="143"/>
                  </a:lnTo>
                  <a:lnTo>
                    <a:pt x="175" y="143"/>
                  </a:lnTo>
                  <a:lnTo>
                    <a:pt x="175" y="147"/>
                  </a:lnTo>
                  <a:lnTo>
                    <a:pt x="177" y="147"/>
                  </a:lnTo>
                  <a:lnTo>
                    <a:pt x="178" y="148"/>
                  </a:lnTo>
                  <a:lnTo>
                    <a:pt x="178" y="149"/>
                  </a:lnTo>
                  <a:lnTo>
                    <a:pt x="175" y="150"/>
                  </a:lnTo>
                  <a:lnTo>
                    <a:pt x="174" y="154"/>
                  </a:lnTo>
                  <a:lnTo>
                    <a:pt x="174" y="157"/>
                  </a:lnTo>
                  <a:lnTo>
                    <a:pt x="175" y="161"/>
                  </a:lnTo>
                  <a:lnTo>
                    <a:pt x="177" y="160"/>
                  </a:lnTo>
                  <a:lnTo>
                    <a:pt x="176" y="157"/>
                  </a:lnTo>
                  <a:lnTo>
                    <a:pt x="176" y="154"/>
                  </a:lnTo>
                  <a:lnTo>
                    <a:pt x="176" y="153"/>
                  </a:lnTo>
                  <a:lnTo>
                    <a:pt x="177" y="153"/>
                  </a:lnTo>
                  <a:lnTo>
                    <a:pt x="178" y="153"/>
                  </a:lnTo>
                  <a:lnTo>
                    <a:pt x="181" y="153"/>
                  </a:lnTo>
                  <a:lnTo>
                    <a:pt x="182" y="153"/>
                  </a:lnTo>
                  <a:lnTo>
                    <a:pt x="182" y="154"/>
                  </a:lnTo>
                  <a:lnTo>
                    <a:pt x="180" y="159"/>
                  </a:lnTo>
                  <a:lnTo>
                    <a:pt x="182" y="161"/>
                  </a:lnTo>
                  <a:lnTo>
                    <a:pt x="184" y="162"/>
                  </a:lnTo>
                  <a:lnTo>
                    <a:pt x="184" y="163"/>
                  </a:lnTo>
                  <a:lnTo>
                    <a:pt x="180" y="167"/>
                  </a:lnTo>
                  <a:lnTo>
                    <a:pt x="182" y="167"/>
                  </a:lnTo>
                  <a:lnTo>
                    <a:pt x="183" y="166"/>
                  </a:lnTo>
                  <a:lnTo>
                    <a:pt x="186" y="165"/>
                  </a:lnTo>
                  <a:lnTo>
                    <a:pt x="188" y="163"/>
                  </a:lnTo>
                  <a:lnTo>
                    <a:pt x="190" y="161"/>
                  </a:lnTo>
                  <a:lnTo>
                    <a:pt x="188" y="160"/>
                  </a:lnTo>
                  <a:lnTo>
                    <a:pt x="183" y="159"/>
                  </a:lnTo>
                  <a:lnTo>
                    <a:pt x="183" y="155"/>
                  </a:lnTo>
                  <a:lnTo>
                    <a:pt x="182" y="150"/>
                  </a:lnTo>
                  <a:lnTo>
                    <a:pt x="183" y="150"/>
                  </a:lnTo>
                  <a:lnTo>
                    <a:pt x="184" y="149"/>
                  </a:lnTo>
                  <a:lnTo>
                    <a:pt x="186" y="149"/>
                  </a:lnTo>
                  <a:lnTo>
                    <a:pt x="188" y="149"/>
                  </a:lnTo>
                  <a:lnTo>
                    <a:pt x="189" y="151"/>
                  </a:lnTo>
                  <a:lnTo>
                    <a:pt x="192" y="149"/>
                  </a:lnTo>
                  <a:lnTo>
                    <a:pt x="195" y="150"/>
                  </a:lnTo>
                  <a:lnTo>
                    <a:pt x="195" y="151"/>
                  </a:lnTo>
                  <a:lnTo>
                    <a:pt x="198" y="153"/>
                  </a:lnTo>
                  <a:lnTo>
                    <a:pt x="196" y="156"/>
                  </a:lnTo>
                  <a:lnTo>
                    <a:pt x="199" y="157"/>
                  </a:lnTo>
                  <a:lnTo>
                    <a:pt x="201" y="155"/>
                  </a:lnTo>
                  <a:lnTo>
                    <a:pt x="200" y="159"/>
                  </a:lnTo>
                  <a:lnTo>
                    <a:pt x="201" y="161"/>
                  </a:lnTo>
                  <a:lnTo>
                    <a:pt x="202" y="157"/>
                  </a:lnTo>
                  <a:lnTo>
                    <a:pt x="204" y="160"/>
                  </a:lnTo>
                  <a:lnTo>
                    <a:pt x="206" y="159"/>
                  </a:lnTo>
                  <a:lnTo>
                    <a:pt x="208" y="156"/>
                  </a:lnTo>
                  <a:lnTo>
                    <a:pt x="206" y="157"/>
                  </a:lnTo>
                  <a:lnTo>
                    <a:pt x="205" y="157"/>
                  </a:lnTo>
                  <a:lnTo>
                    <a:pt x="205" y="155"/>
                  </a:lnTo>
                  <a:lnTo>
                    <a:pt x="204" y="154"/>
                  </a:lnTo>
                  <a:lnTo>
                    <a:pt x="204" y="153"/>
                  </a:lnTo>
                  <a:lnTo>
                    <a:pt x="206" y="153"/>
                  </a:lnTo>
                  <a:lnTo>
                    <a:pt x="206" y="150"/>
                  </a:lnTo>
                  <a:lnTo>
                    <a:pt x="207" y="149"/>
                  </a:lnTo>
                  <a:lnTo>
                    <a:pt x="208" y="149"/>
                  </a:lnTo>
                  <a:lnTo>
                    <a:pt x="211" y="149"/>
                  </a:lnTo>
                  <a:lnTo>
                    <a:pt x="212" y="151"/>
                  </a:lnTo>
                  <a:lnTo>
                    <a:pt x="213" y="149"/>
                  </a:lnTo>
                  <a:lnTo>
                    <a:pt x="214" y="148"/>
                  </a:lnTo>
                  <a:lnTo>
                    <a:pt x="214" y="147"/>
                  </a:lnTo>
                  <a:lnTo>
                    <a:pt x="214" y="138"/>
                  </a:lnTo>
                  <a:lnTo>
                    <a:pt x="217" y="142"/>
                  </a:lnTo>
                  <a:lnTo>
                    <a:pt x="217" y="145"/>
                  </a:lnTo>
                  <a:lnTo>
                    <a:pt x="219" y="145"/>
                  </a:lnTo>
                  <a:lnTo>
                    <a:pt x="219" y="148"/>
                  </a:lnTo>
                  <a:lnTo>
                    <a:pt x="218" y="149"/>
                  </a:lnTo>
                  <a:lnTo>
                    <a:pt x="217" y="151"/>
                  </a:lnTo>
                  <a:lnTo>
                    <a:pt x="218" y="155"/>
                  </a:lnTo>
                  <a:lnTo>
                    <a:pt x="220" y="157"/>
                  </a:lnTo>
                  <a:lnTo>
                    <a:pt x="222" y="155"/>
                  </a:lnTo>
                  <a:lnTo>
                    <a:pt x="224" y="157"/>
                  </a:lnTo>
                  <a:lnTo>
                    <a:pt x="225" y="162"/>
                  </a:lnTo>
                  <a:lnTo>
                    <a:pt x="229" y="160"/>
                  </a:lnTo>
                  <a:lnTo>
                    <a:pt x="231" y="161"/>
                  </a:lnTo>
                  <a:lnTo>
                    <a:pt x="234" y="161"/>
                  </a:lnTo>
                  <a:lnTo>
                    <a:pt x="234" y="163"/>
                  </a:lnTo>
                  <a:lnTo>
                    <a:pt x="236" y="165"/>
                  </a:lnTo>
                  <a:lnTo>
                    <a:pt x="237" y="168"/>
                  </a:lnTo>
                  <a:lnTo>
                    <a:pt x="240" y="172"/>
                  </a:lnTo>
                  <a:lnTo>
                    <a:pt x="241" y="173"/>
                  </a:lnTo>
                  <a:lnTo>
                    <a:pt x="233" y="168"/>
                  </a:lnTo>
                  <a:lnTo>
                    <a:pt x="225" y="165"/>
                  </a:lnTo>
                  <a:lnTo>
                    <a:pt x="223" y="161"/>
                  </a:lnTo>
                  <a:lnTo>
                    <a:pt x="223" y="165"/>
                  </a:lnTo>
                  <a:lnTo>
                    <a:pt x="225" y="168"/>
                  </a:lnTo>
                  <a:lnTo>
                    <a:pt x="225" y="171"/>
                  </a:lnTo>
                  <a:lnTo>
                    <a:pt x="227" y="173"/>
                  </a:lnTo>
                  <a:lnTo>
                    <a:pt x="230" y="174"/>
                  </a:lnTo>
                  <a:lnTo>
                    <a:pt x="234" y="175"/>
                  </a:lnTo>
                  <a:lnTo>
                    <a:pt x="229" y="177"/>
                  </a:lnTo>
                  <a:lnTo>
                    <a:pt x="231" y="186"/>
                  </a:lnTo>
                  <a:lnTo>
                    <a:pt x="234" y="191"/>
                  </a:lnTo>
                  <a:lnTo>
                    <a:pt x="236" y="190"/>
                  </a:lnTo>
                  <a:lnTo>
                    <a:pt x="237" y="191"/>
                  </a:lnTo>
                  <a:lnTo>
                    <a:pt x="239" y="195"/>
                  </a:lnTo>
                  <a:lnTo>
                    <a:pt x="240" y="195"/>
                  </a:lnTo>
                  <a:lnTo>
                    <a:pt x="241" y="193"/>
                  </a:lnTo>
                  <a:lnTo>
                    <a:pt x="242" y="195"/>
                  </a:lnTo>
                  <a:lnTo>
                    <a:pt x="242" y="199"/>
                  </a:lnTo>
                  <a:lnTo>
                    <a:pt x="242" y="203"/>
                  </a:lnTo>
                  <a:lnTo>
                    <a:pt x="243" y="204"/>
                  </a:lnTo>
                  <a:lnTo>
                    <a:pt x="246" y="203"/>
                  </a:lnTo>
                  <a:lnTo>
                    <a:pt x="247" y="203"/>
                  </a:lnTo>
                  <a:lnTo>
                    <a:pt x="247" y="199"/>
                  </a:lnTo>
                  <a:lnTo>
                    <a:pt x="249" y="197"/>
                  </a:lnTo>
                  <a:lnTo>
                    <a:pt x="252" y="196"/>
                  </a:lnTo>
                  <a:lnTo>
                    <a:pt x="257" y="195"/>
                  </a:lnTo>
                  <a:lnTo>
                    <a:pt x="253" y="193"/>
                  </a:lnTo>
                  <a:lnTo>
                    <a:pt x="247" y="195"/>
                  </a:lnTo>
                  <a:lnTo>
                    <a:pt x="245" y="193"/>
                  </a:lnTo>
                  <a:lnTo>
                    <a:pt x="245" y="191"/>
                  </a:lnTo>
                  <a:lnTo>
                    <a:pt x="247" y="190"/>
                  </a:lnTo>
                  <a:lnTo>
                    <a:pt x="248" y="187"/>
                  </a:lnTo>
                  <a:lnTo>
                    <a:pt x="249" y="186"/>
                  </a:lnTo>
                  <a:lnTo>
                    <a:pt x="253" y="185"/>
                  </a:lnTo>
                  <a:lnTo>
                    <a:pt x="255" y="184"/>
                  </a:lnTo>
                  <a:lnTo>
                    <a:pt x="257" y="183"/>
                  </a:lnTo>
                  <a:lnTo>
                    <a:pt x="255" y="180"/>
                  </a:lnTo>
                  <a:lnTo>
                    <a:pt x="254" y="177"/>
                  </a:lnTo>
                  <a:lnTo>
                    <a:pt x="248" y="181"/>
                  </a:lnTo>
                  <a:lnTo>
                    <a:pt x="246" y="183"/>
                  </a:lnTo>
                  <a:lnTo>
                    <a:pt x="246" y="179"/>
                  </a:lnTo>
                  <a:lnTo>
                    <a:pt x="245" y="178"/>
                  </a:lnTo>
                  <a:lnTo>
                    <a:pt x="245" y="177"/>
                  </a:lnTo>
                  <a:lnTo>
                    <a:pt x="245" y="173"/>
                  </a:lnTo>
                  <a:lnTo>
                    <a:pt x="243" y="171"/>
                  </a:lnTo>
                  <a:lnTo>
                    <a:pt x="245" y="169"/>
                  </a:lnTo>
                  <a:lnTo>
                    <a:pt x="241" y="162"/>
                  </a:lnTo>
                  <a:lnTo>
                    <a:pt x="245" y="165"/>
                  </a:lnTo>
                  <a:lnTo>
                    <a:pt x="248" y="163"/>
                  </a:lnTo>
                  <a:lnTo>
                    <a:pt x="251" y="165"/>
                  </a:lnTo>
                  <a:lnTo>
                    <a:pt x="254" y="166"/>
                  </a:lnTo>
                  <a:lnTo>
                    <a:pt x="257" y="160"/>
                  </a:lnTo>
                  <a:lnTo>
                    <a:pt x="255" y="157"/>
                  </a:lnTo>
                  <a:lnTo>
                    <a:pt x="252" y="159"/>
                  </a:lnTo>
                  <a:lnTo>
                    <a:pt x="249" y="159"/>
                  </a:lnTo>
                  <a:lnTo>
                    <a:pt x="248" y="155"/>
                  </a:lnTo>
                  <a:lnTo>
                    <a:pt x="247" y="153"/>
                  </a:lnTo>
                  <a:lnTo>
                    <a:pt x="252" y="153"/>
                  </a:lnTo>
                  <a:lnTo>
                    <a:pt x="255" y="154"/>
                  </a:lnTo>
                  <a:lnTo>
                    <a:pt x="258" y="153"/>
                  </a:lnTo>
                  <a:lnTo>
                    <a:pt x="259" y="151"/>
                  </a:lnTo>
                  <a:lnTo>
                    <a:pt x="261" y="151"/>
                  </a:lnTo>
                  <a:lnTo>
                    <a:pt x="261" y="148"/>
                  </a:lnTo>
                  <a:lnTo>
                    <a:pt x="263" y="149"/>
                  </a:lnTo>
                  <a:lnTo>
                    <a:pt x="264" y="153"/>
                  </a:lnTo>
                  <a:lnTo>
                    <a:pt x="265" y="156"/>
                  </a:lnTo>
                  <a:lnTo>
                    <a:pt x="267" y="155"/>
                  </a:lnTo>
                  <a:lnTo>
                    <a:pt x="267" y="157"/>
                  </a:lnTo>
                  <a:lnTo>
                    <a:pt x="269" y="160"/>
                  </a:lnTo>
                  <a:lnTo>
                    <a:pt x="270" y="160"/>
                  </a:lnTo>
                  <a:lnTo>
                    <a:pt x="272" y="162"/>
                  </a:lnTo>
                  <a:lnTo>
                    <a:pt x="275" y="163"/>
                  </a:lnTo>
                  <a:lnTo>
                    <a:pt x="275" y="165"/>
                  </a:lnTo>
                  <a:lnTo>
                    <a:pt x="276" y="171"/>
                  </a:lnTo>
                  <a:lnTo>
                    <a:pt x="277" y="173"/>
                  </a:lnTo>
                  <a:lnTo>
                    <a:pt x="278" y="177"/>
                  </a:lnTo>
                  <a:lnTo>
                    <a:pt x="279" y="174"/>
                  </a:lnTo>
                  <a:lnTo>
                    <a:pt x="281" y="177"/>
                  </a:lnTo>
                  <a:lnTo>
                    <a:pt x="284" y="174"/>
                  </a:lnTo>
                  <a:lnTo>
                    <a:pt x="287" y="174"/>
                  </a:lnTo>
                  <a:lnTo>
                    <a:pt x="287" y="169"/>
                  </a:lnTo>
                  <a:lnTo>
                    <a:pt x="290" y="172"/>
                  </a:lnTo>
                  <a:lnTo>
                    <a:pt x="294" y="175"/>
                  </a:lnTo>
                  <a:lnTo>
                    <a:pt x="295" y="177"/>
                  </a:lnTo>
                  <a:lnTo>
                    <a:pt x="298" y="178"/>
                  </a:lnTo>
                  <a:lnTo>
                    <a:pt x="300" y="180"/>
                  </a:lnTo>
                  <a:lnTo>
                    <a:pt x="300" y="184"/>
                  </a:lnTo>
                  <a:lnTo>
                    <a:pt x="304" y="184"/>
                  </a:lnTo>
                  <a:lnTo>
                    <a:pt x="307" y="181"/>
                  </a:lnTo>
                  <a:lnTo>
                    <a:pt x="304" y="181"/>
                  </a:lnTo>
                  <a:lnTo>
                    <a:pt x="305" y="179"/>
                  </a:lnTo>
                  <a:lnTo>
                    <a:pt x="305" y="177"/>
                  </a:lnTo>
                  <a:lnTo>
                    <a:pt x="306" y="175"/>
                  </a:lnTo>
                  <a:lnTo>
                    <a:pt x="310" y="175"/>
                  </a:lnTo>
                  <a:lnTo>
                    <a:pt x="310" y="174"/>
                  </a:lnTo>
                  <a:lnTo>
                    <a:pt x="311" y="172"/>
                  </a:lnTo>
                  <a:lnTo>
                    <a:pt x="313" y="171"/>
                  </a:lnTo>
                  <a:lnTo>
                    <a:pt x="314" y="172"/>
                  </a:lnTo>
                  <a:lnTo>
                    <a:pt x="317" y="174"/>
                  </a:lnTo>
                  <a:lnTo>
                    <a:pt x="319" y="174"/>
                  </a:lnTo>
                  <a:lnTo>
                    <a:pt x="322" y="174"/>
                  </a:lnTo>
                  <a:lnTo>
                    <a:pt x="322" y="175"/>
                  </a:lnTo>
                  <a:lnTo>
                    <a:pt x="322" y="179"/>
                  </a:lnTo>
                  <a:lnTo>
                    <a:pt x="324" y="178"/>
                  </a:lnTo>
                  <a:lnTo>
                    <a:pt x="324" y="177"/>
                  </a:lnTo>
                  <a:lnTo>
                    <a:pt x="326" y="175"/>
                  </a:lnTo>
                  <a:lnTo>
                    <a:pt x="328" y="174"/>
                  </a:lnTo>
                  <a:lnTo>
                    <a:pt x="331" y="177"/>
                  </a:lnTo>
                  <a:lnTo>
                    <a:pt x="332" y="174"/>
                  </a:lnTo>
                  <a:lnTo>
                    <a:pt x="329" y="173"/>
                  </a:lnTo>
                  <a:lnTo>
                    <a:pt x="326" y="173"/>
                  </a:lnTo>
                  <a:lnTo>
                    <a:pt x="325" y="172"/>
                  </a:lnTo>
                  <a:lnTo>
                    <a:pt x="325" y="167"/>
                  </a:lnTo>
                  <a:lnTo>
                    <a:pt x="328" y="168"/>
                  </a:lnTo>
                  <a:lnTo>
                    <a:pt x="330" y="167"/>
                  </a:lnTo>
                  <a:lnTo>
                    <a:pt x="332" y="165"/>
                  </a:lnTo>
                  <a:lnTo>
                    <a:pt x="334" y="163"/>
                  </a:lnTo>
                  <a:lnTo>
                    <a:pt x="335" y="163"/>
                  </a:lnTo>
                  <a:lnTo>
                    <a:pt x="337" y="165"/>
                  </a:lnTo>
                  <a:lnTo>
                    <a:pt x="340" y="168"/>
                  </a:lnTo>
                  <a:lnTo>
                    <a:pt x="342" y="166"/>
                  </a:lnTo>
                  <a:lnTo>
                    <a:pt x="343" y="165"/>
                  </a:lnTo>
                  <a:lnTo>
                    <a:pt x="342" y="162"/>
                  </a:lnTo>
                  <a:lnTo>
                    <a:pt x="342" y="161"/>
                  </a:lnTo>
                  <a:lnTo>
                    <a:pt x="343" y="160"/>
                  </a:lnTo>
                  <a:lnTo>
                    <a:pt x="346" y="159"/>
                  </a:lnTo>
                  <a:lnTo>
                    <a:pt x="346" y="157"/>
                  </a:lnTo>
                  <a:lnTo>
                    <a:pt x="348" y="155"/>
                  </a:lnTo>
                  <a:lnTo>
                    <a:pt x="351" y="154"/>
                  </a:lnTo>
                  <a:lnTo>
                    <a:pt x="344" y="155"/>
                  </a:lnTo>
                  <a:lnTo>
                    <a:pt x="341" y="156"/>
                  </a:lnTo>
                  <a:lnTo>
                    <a:pt x="340" y="157"/>
                  </a:lnTo>
                  <a:lnTo>
                    <a:pt x="340" y="156"/>
                  </a:lnTo>
                  <a:lnTo>
                    <a:pt x="343" y="151"/>
                  </a:lnTo>
                  <a:lnTo>
                    <a:pt x="344" y="148"/>
                  </a:lnTo>
                  <a:lnTo>
                    <a:pt x="346" y="147"/>
                  </a:lnTo>
                  <a:lnTo>
                    <a:pt x="348" y="144"/>
                  </a:lnTo>
                  <a:lnTo>
                    <a:pt x="349" y="142"/>
                  </a:lnTo>
                  <a:lnTo>
                    <a:pt x="352" y="141"/>
                  </a:lnTo>
                  <a:lnTo>
                    <a:pt x="357" y="141"/>
                  </a:lnTo>
                  <a:lnTo>
                    <a:pt x="358" y="142"/>
                  </a:lnTo>
                  <a:lnTo>
                    <a:pt x="359" y="142"/>
                  </a:lnTo>
                  <a:lnTo>
                    <a:pt x="361" y="142"/>
                  </a:lnTo>
                  <a:lnTo>
                    <a:pt x="361" y="141"/>
                  </a:lnTo>
                  <a:lnTo>
                    <a:pt x="364" y="141"/>
                  </a:lnTo>
                  <a:lnTo>
                    <a:pt x="361" y="133"/>
                  </a:lnTo>
                  <a:lnTo>
                    <a:pt x="360" y="135"/>
                  </a:lnTo>
                  <a:lnTo>
                    <a:pt x="359" y="137"/>
                  </a:lnTo>
                  <a:lnTo>
                    <a:pt x="359" y="133"/>
                  </a:lnTo>
                  <a:lnTo>
                    <a:pt x="359" y="131"/>
                  </a:lnTo>
                  <a:lnTo>
                    <a:pt x="354" y="130"/>
                  </a:lnTo>
                  <a:lnTo>
                    <a:pt x="348" y="131"/>
                  </a:lnTo>
                  <a:lnTo>
                    <a:pt x="341" y="131"/>
                  </a:lnTo>
                  <a:lnTo>
                    <a:pt x="343" y="130"/>
                  </a:lnTo>
                  <a:lnTo>
                    <a:pt x="344" y="127"/>
                  </a:lnTo>
                  <a:lnTo>
                    <a:pt x="348" y="127"/>
                  </a:lnTo>
                  <a:lnTo>
                    <a:pt x="353" y="125"/>
                  </a:lnTo>
                  <a:lnTo>
                    <a:pt x="354" y="127"/>
                  </a:lnTo>
                  <a:lnTo>
                    <a:pt x="360" y="130"/>
                  </a:lnTo>
                  <a:lnTo>
                    <a:pt x="361" y="130"/>
                  </a:lnTo>
                  <a:lnTo>
                    <a:pt x="357" y="118"/>
                  </a:lnTo>
                  <a:lnTo>
                    <a:pt x="353" y="111"/>
                  </a:lnTo>
                  <a:lnTo>
                    <a:pt x="352" y="113"/>
                  </a:lnTo>
                  <a:lnTo>
                    <a:pt x="348" y="114"/>
                  </a:lnTo>
                  <a:lnTo>
                    <a:pt x="347" y="115"/>
                  </a:lnTo>
                  <a:lnTo>
                    <a:pt x="347" y="112"/>
                  </a:lnTo>
                  <a:lnTo>
                    <a:pt x="347" y="108"/>
                  </a:lnTo>
                  <a:lnTo>
                    <a:pt x="349" y="109"/>
                  </a:lnTo>
                  <a:lnTo>
                    <a:pt x="349" y="106"/>
                  </a:lnTo>
                  <a:lnTo>
                    <a:pt x="346" y="106"/>
                  </a:lnTo>
                  <a:lnTo>
                    <a:pt x="342" y="108"/>
                  </a:lnTo>
                  <a:lnTo>
                    <a:pt x="338" y="112"/>
                  </a:lnTo>
                  <a:lnTo>
                    <a:pt x="338" y="106"/>
                  </a:lnTo>
                  <a:lnTo>
                    <a:pt x="340" y="103"/>
                  </a:lnTo>
                  <a:lnTo>
                    <a:pt x="342" y="102"/>
                  </a:lnTo>
                  <a:lnTo>
                    <a:pt x="346" y="102"/>
                  </a:lnTo>
                  <a:lnTo>
                    <a:pt x="348" y="105"/>
                  </a:lnTo>
                  <a:lnTo>
                    <a:pt x="344" y="97"/>
                  </a:lnTo>
                  <a:lnTo>
                    <a:pt x="338" y="97"/>
                  </a:lnTo>
                  <a:lnTo>
                    <a:pt x="334" y="100"/>
                  </a:lnTo>
                  <a:lnTo>
                    <a:pt x="332" y="105"/>
                  </a:lnTo>
                  <a:lnTo>
                    <a:pt x="330" y="106"/>
                  </a:lnTo>
                  <a:lnTo>
                    <a:pt x="330" y="103"/>
                  </a:lnTo>
                  <a:lnTo>
                    <a:pt x="328" y="100"/>
                  </a:lnTo>
                  <a:lnTo>
                    <a:pt x="329" y="96"/>
                  </a:lnTo>
                  <a:lnTo>
                    <a:pt x="330" y="95"/>
                  </a:lnTo>
                  <a:lnTo>
                    <a:pt x="334" y="96"/>
                  </a:lnTo>
                  <a:lnTo>
                    <a:pt x="340" y="96"/>
                  </a:lnTo>
                  <a:lnTo>
                    <a:pt x="342" y="95"/>
                  </a:lnTo>
                  <a:lnTo>
                    <a:pt x="338" y="95"/>
                  </a:lnTo>
                  <a:lnTo>
                    <a:pt x="335" y="95"/>
                  </a:lnTo>
                  <a:lnTo>
                    <a:pt x="335" y="92"/>
                  </a:lnTo>
                  <a:lnTo>
                    <a:pt x="338" y="91"/>
                  </a:lnTo>
                  <a:lnTo>
                    <a:pt x="338" y="90"/>
                  </a:lnTo>
                  <a:lnTo>
                    <a:pt x="335" y="90"/>
                  </a:lnTo>
                  <a:lnTo>
                    <a:pt x="334" y="91"/>
                  </a:lnTo>
                  <a:lnTo>
                    <a:pt x="331" y="92"/>
                  </a:lnTo>
                  <a:lnTo>
                    <a:pt x="330" y="90"/>
                  </a:lnTo>
                  <a:lnTo>
                    <a:pt x="334" y="89"/>
                  </a:lnTo>
                  <a:lnTo>
                    <a:pt x="338" y="89"/>
                  </a:lnTo>
                  <a:lnTo>
                    <a:pt x="336" y="86"/>
                  </a:lnTo>
                  <a:lnTo>
                    <a:pt x="332" y="86"/>
                  </a:lnTo>
                  <a:lnTo>
                    <a:pt x="329" y="89"/>
                  </a:lnTo>
                  <a:lnTo>
                    <a:pt x="325" y="85"/>
                  </a:lnTo>
                  <a:lnTo>
                    <a:pt x="326" y="84"/>
                  </a:lnTo>
                  <a:lnTo>
                    <a:pt x="330" y="83"/>
                  </a:lnTo>
                  <a:lnTo>
                    <a:pt x="332" y="85"/>
                  </a:lnTo>
                  <a:lnTo>
                    <a:pt x="335" y="85"/>
                  </a:lnTo>
                  <a:lnTo>
                    <a:pt x="331" y="82"/>
                  </a:lnTo>
                  <a:lnTo>
                    <a:pt x="328" y="82"/>
                  </a:lnTo>
                  <a:lnTo>
                    <a:pt x="324" y="80"/>
                  </a:lnTo>
                  <a:lnTo>
                    <a:pt x="319" y="77"/>
                  </a:lnTo>
                  <a:lnTo>
                    <a:pt x="323" y="77"/>
                  </a:lnTo>
                  <a:lnTo>
                    <a:pt x="328" y="78"/>
                  </a:lnTo>
                  <a:lnTo>
                    <a:pt x="332" y="80"/>
                  </a:lnTo>
                  <a:lnTo>
                    <a:pt x="337" y="85"/>
                  </a:lnTo>
                  <a:lnTo>
                    <a:pt x="338" y="85"/>
                  </a:lnTo>
                  <a:lnTo>
                    <a:pt x="340" y="82"/>
                  </a:lnTo>
                  <a:lnTo>
                    <a:pt x="337" y="78"/>
                  </a:lnTo>
                  <a:lnTo>
                    <a:pt x="335" y="77"/>
                  </a:lnTo>
                  <a:lnTo>
                    <a:pt x="329" y="76"/>
                  </a:lnTo>
                  <a:lnTo>
                    <a:pt x="326" y="73"/>
                  </a:lnTo>
                  <a:lnTo>
                    <a:pt x="337" y="73"/>
                  </a:lnTo>
                  <a:lnTo>
                    <a:pt x="338" y="77"/>
                  </a:lnTo>
                  <a:lnTo>
                    <a:pt x="340" y="79"/>
                  </a:lnTo>
                  <a:lnTo>
                    <a:pt x="342" y="77"/>
                  </a:lnTo>
                  <a:lnTo>
                    <a:pt x="344" y="76"/>
                  </a:lnTo>
                  <a:lnTo>
                    <a:pt x="346" y="72"/>
                  </a:lnTo>
                  <a:lnTo>
                    <a:pt x="346" y="71"/>
                  </a:lnTo>
                  <a:lnTo>
                    <a:pt x="347" y="70"/>
                  </a:lnTo>
                  <a:lnTo>
                    <a:pt x="351" y="70"/>
                  </a:lnTo>
                  <a:lnTo>
                    <a:pt x="354" y="70"/>
                  </a:lnTo>
                  <a:lnTo>
                    <a:pt x="358" y="68"/>
                  </a:lnTo>
                  <a:lnTo>
                    <a:pt x="354" y="74"/>
                  </a:lnTo>
                  <a:lnTo>
                    <a:pt x="348" y="74"/>
                  </a:lnTo>
                  <a:lnTo>
                    <a:pt x="344" y="78"/>
                  </a:lnTo>
                  <a:lnTo>
                    <a:pt x="344" y="80"/>
                  </a:lnTo>
                  <a:lnTo>
                    <a:pt x="343" y="83"/>
                  </a:lnTo>
                  <a:lnTo>
                    <a:pt x="347" y="84"/>
                  </a:lnTo>
                  <a:lnTo>
                    <a:pt x="346" y="86"/>
                  </a:lnTo>
                  <a:lnTo>
                    <a:pt x="344" y="92"/>
                  </a:lnTo>
                  <a:lnTo>
                    <a:pt x="346" y="90"/>
                  </a:lnTo>
                  <a:lnTo>
                    <a:pt x="348" y="94"/>
                  </a:lnTo>
                  <a:lnTo>
                    <a:pt x="348" y="97"/>
                  </a:lnTo>
                  <a:lnTo>
                    <a:pt x="353" y="108"/>
                  </a:lnTo>
                  <a:lnTo>
                    <a:pt x="361" y="127"/>
                  </a:lnTo>
                  <a:lnTo>
                    <a:pt x="364" y="127"/>
                  </a:lnTo>
                  <a:lnTo>
                    <a:pt x="367" y="125"/>
                  </a:lnTo>
                  <a:lnTo>
                    <a:pt x="366" y="121"/>
                  </a:lnTo>
                  <a:lnTo>
                    <a:pt x="367" y="120"/>
                  </a:lnTo>
                  <a:lnTo>
                    <a:pt x="367" y="118"/>
                  </a:lnTo>
                  <a:lnTo>
                    <a:pt x="370" y="119"/>
                  </a:lnTo>
                  <a:lnTo>
                    <a:pt x="372" y="120"/>
                  </a:lnTo>
                  <a:lnTo>
                    <a:pt x="373" y="121"/>
                  </a:lnTo>
                  <a:lnTo>
                    <a:pt x="373" y="120"/>
                  </a:lnTo>
                  <a:lnTo>
                    <a:pt x="372" y="115"/>
                  </a:lnTo>
                  <a:lnTo>
                    <a:pt x="375" y="115"/>
                  </a:lnTo>
                  <a:lnTo>
                    <a:pt x="377" y="117"/>
                  </a:lnTo>
                  <a:lnTo>
                    <a:pt x="378" y="117"/>
                  </a:lnTo>
                  <a:lnTo>
                    <a:pt x="381" y="114"/>
                  </a:lnTo>
                  <a:lnTo>
                    <a:pt x="382" y="112"/>
                  </a:lnTo>
                  <a:lnTo>
                    <a:pt x="383" y="112"/>
                  </a:lnTo>
                  <a:lnTo>
                    <a:pt x="387" y="114"/>
                  </a:lnTo>
                  <a:lnTo>
                    <a:pt x="389" y="115"/>
                  </a:lnTo>
                  <a:lnTo>
                    <a:pt x="387" y="117"/>
                  </a:lnTo>
                  <a:lnTo>
                    <a:pt x="387" y="118"/>
                  </a:lnTo>
                  <a:lnTo>
                    <a:pt x="390" y="118"/>
                  </a:lnTo>
                  <a:lnTo>
                    <a:pt x="390" y="120"/>
                  </a:lnTo>
                  <a:lnTo>
                    <a:pt x="393" y="123"/>
                  </a:lnTo>
                  <a:lnTo>
                    <a:pt x="393" y="124"/>
                  </a:lnTo>
                  <a:lnTo>
                    <a:pt x="394" y="125"/>
                  </a:lnTo>
                  <a:lnTo>
                    <a:pt x="395" y="126"/>
                  </a:lnTo>
                  <a:lnTo>
                    <a:pt x="387" y="124"/>
                  </a:lnTo>
                  <a:lnTo>
                    <a:pt x="379" y="123"/>
                  </a:lnTo>
                  <a:lnTo>
                    <a:pt x="378" y="124"/>
                  </a:lnTo>
                  <a:lnTo>
                    <a:pt x="378" y="126"/>
                  </a:lnTo>
                  <a:lnTo>
                    <a:pt x="378" y="127"/>
                  </a:lnTo>
                  <a:lnTo>
                    <a:pt x="379" y="131"/>
                  </a:lnTo>
                  <a:lnTo>
                    <a:pt x="379" y="135"/>
                  </a:lnTo>
                  <a:lnTo>
                    <a:pt x="383" y="132"/>
                  </a:lnTo>
                  <a:lnTo>
                    <a:pt x="383" y="133"/>
                  </a:lnTo>
                  <a:lnTo>
                    <a:pt x="387" y="133"/>
                  </a:lnTo>
                  <a:lnTo>
                    <a:pt x="385" y="135"/>
                  </a:lnTo>
                  <a:lnTo>
                    <a:pt x="388" y="135"/>
                  </a:lnTo>
                  <a:lnTo>
                    <a:pt x="391" y="133"/>
                  </a:lnTo>
                  <a:lnTo>
                    <a:pt x="391" y="135"/>
                  </a:lnTo>
                  <a:lnTo>
                    <a:pt x="394" y="135"/>
                  </a:lnTo>
                  <a:lnTo>
                    <a:pt x="395" y="137"/>
                  </a:lnTo>
                  <a:lnTo>
                    <a:pt x="400" y="137"/>
                  </a:lnTo>
                  <a:lnTo>
                    <a:pt x="395" y="138"/>
                  </a:lnTo>
                  <a:lnTo>
                    <a:pt x="394" y="139"/>
                  </a:lnTo>
                  <a:lnTo>
                    <a:pt x="394" y="141"/>
                  </a:lnTo>
                  <a:lnTo>
                    <a:pt x="393" y="143"/>
                  </a:lnTo>
                  <a:lnTo>
                    <a:pt x="394" y="148"/>
                  </a:lnTo>
                  <a:lnTo>
                    <a:pt x="394" y="151"/>
                  </a:lnTo>
                  <a:lnTo>
                    <a:pt x="393" y="153"/>
                  </a:lnTo>
                  <a:lnTo>
                    <a:pt x="391" y="151"/>
                  </a:lnTo>
                  <a:lnTo>
                    <a:pt x="390" y="148"/>
                  </a:lnTo>
                  <a:lnTo>
                    <a:pt x="389" y="147"/>
                  </a:lnTo>
                  <a:lnTo>
                    <a:pt x="387" y="147"/>
                  </a:lnTo>
                  <a:lnTo>
                    <a:pt x="381" y="148"/>
                  </a:lnTo>
                  <a:lnTo>
                    <a:pt x="378" y="145"/>
                  </a:lnTo>
                  <a:lnTo>
                    <a:pt x="376" y="144"/>
                  </a:lnTo>
                  <a:lnTo>
                    <a:pt x="369" y="147"/>
                  </a:lnTo>
                  <a:lnTo>
                    <a:pt x="371" y="155"/>
                  </a:lnTo>
                  <a:lnTo>
                    <a:pt x="372" y="156"/>
                  </a:lnTo>
                  <a:lnTo>
                    <a:pt x="373" y="156"/>
                  </a:lnTo>
                  <a:lnTo>
                    <a:pt x="375" y="154"/>
                  </a:lnTo>
                  <a:lnTo>
                    <a:pt x="376" y="153"/>
                  </a:lnTo>
                  <a:lnTo>
                    <a:pt x="379" y="151"/>
                  </a:lnTo>
                  <a:lnTo>
                    <a:pt x="383" y="154"/>
                  </a:lnTo>
                  <a:lnTo>
                    <a:pt x="383" y="156"/>
                  </a:lnTo>
                  <a:lnTo>
                    <a:pt x="385" y="155"/>
                  </a:lnTo>
                  <a:lnTo>
                    <a:pt x="389" y="154"/>
                  </a:lnTo>
                  <a:lnTo>
                    <a:pt x="390" y="156"/>
                  </a:lnTo>
                  <a:lnTo>
                    <a:pt x="393" y="157"/>
                  </a:lnTo>
                  <a:lnTo>
                    <a:pt x="396" y="157"/>
                  </a:lnTo>
                  <a:lnTo>
                    <a:pt x="399" y="160"/>
                  </a:lnTo>
                  <a:lnTo>
                    <a:pt x="397" y="162"/>
                  </a:lnTo>
                  <a:lnTo>
                    <a:pt x="400" y="162"/>
                  </a:lnTo>
                  <a:lnTo>
                    <a:pt x="403" y="160"/>
                  </a:lnTo>
                  <a:lnTo>
                    <a:pt x="405" y="157"/>
                  </a:lnTo>
                  <a:lnTo>
                    <a:pt x="406" y="160"/>
                  </a:lnTo>
                  <a:lnTo>
                    <a:pt x="407" y="159"/>
                  </a:lnTo>
                  <a:lnTo>
                    <a:pt x="408" y="160"/>
                  </a:lnTo>
                  <a:lnTo>
                    <a:pt x="410" y="161"/>
                  </a:lnTo>
                  <a:lnTo>
                    <a:pt x="413" y="161"/>
                  </a:lnTo>
                  <a:lnTo>
                    <a:pt x="413" y="160"/>
                  </a:lnTo>
                  <a:lnTo>
                    <a:pt x="414" y="160"/>
                  </a:lnTo>
                  <a:lnTo>
                    <a:pt x="414" y="159"/>
                  </a:lnTo>
                  <a:lnTo>
                    <a:pt x="414" y="156"/>
                  </a:lnTo>
                  <a:lnTo>
                    <a:pt x="416" y="155"/>
                  </a:lnTo>
                  <a:lnTo>
                    <a:pt x="420" y="151"/>
                  </a:lnTo>
                  <a:lnTo>
                    <a:pt x="422" y="150"/>
                  </a:lnTo>
                  <a:lnTo>
                    <a:pt x="423" y="148"/>
                  </a:lnTo>
                  <a:lnTo>
                    <a:pt x="425" y="145"/>
                  </a:lnTo>
                  <a:lnTo>
                    <a:pt x="428" y="143"/>
                  </a:lnTo>
                  <a:lnTo>
                    <a:pt x="424" y="139"/>
                  </a:lnTo>
                  <a:lnTo>
                    <a:pt x="420" y="130"/>
                  </a:lnTo>
                  <a:lnTo>
                    <a:pt x="422" y="131"/>
                  </a:lnTo>
                  <a:lnTo>
                    <a:pt x="423" y="135"/>
                  </a:lnTo>
                  <a:lnTo>
                    <a:pt x="424" y="132"/>
                  </a:lnTo>
                  <a:lnTo>
                    <a:pt x="426" y="131"/>
                  </a:lnTo>
                  <a:lnTo>
                    <a:pt x="428" y="130"/>
                  </a:lnTo>
                  <a:lnTo>
                    <a:pt x="429" y="130"/>
                  </a:lnTo>
                  <a:lnTo>
                    <a:pt x="429" y="132"/>
                  </a:lnTo>
                  <a:lnTo>
                    <a:pt x="428" y="133"/>
                  </a:lnTo>
                  <a:lnTo>
                    <a:pt x="424" y="137"/>
                  </a:lnTo>
                  <a:lnTo>
                    <a:pt x="425" y="139"/>
                  </a:lnTo>
                  <a:lnTo>
                    <a:pt x="426" y="137"/>
                  </a:lnTo>
                  <a:lnTo>
                    <a:pt x="429" y="136"/>
                  </a:lnTo>
                  <a:lnTo>
                    <a:pt x="431" y="136"/>
                  </a:lnTo>
                  <a:lnTo>
                    <a:pt x="431" y="139"/>
                  </a:lnTo>
                  <a:lnTo>
                    <a:pt x="428" y="141"/>
                  </a:lnTo>
                  <a:lnTo>
                    <a:pt x="430" y="144"/>
                  </a:lnTo>
                  <a:lnTo>
                    <a:pt x="434" y="145"/>
                  </a:lnTo>
                  <a:lnTo>
                    <a:pt x="438" y="145"/>
                  </a:lnTo>
                  <a:lnTo>
                    <a:pt x="435" y="142"/>
                  </a:lnTo>
                  <a:lnTo>
                    <a:pt x="436" y="141"/>
                  </a:lnTo>
                  <a:lnTo>
                    <a:pt x="440" y="141"/>
                  </a:lnTo>
                  <a:lnTo>
                    <a:pt x="440" y="144"/>
                  </a:lnTo>
                  <a:lnTo>
                    <a:pt x="442" y="147"/>
                  </a:lnTo>
                  <a:lnTo>
                    <a:pt x="444" y="144"/>
                  </a:lnTo>
                  <a:lnTo>
                    <a:pt x="444" y="141"/>
                  </a:lnTo>
                  <a:lnTo>
                    <a:pt x="442" y="139"/>
                  </a:lnTo>
                  <a:lnTo>
                    <a:pt x="441" y="136"/>
                  </a:lnTo>
                  <a:lnTo>
                    <a:pt x="443" y="138"/>
                  </a:lnTo>
                  <a:lnTo>
                    <a:pt x="442" y="136"/>
                  </a:lnTo>
                  <a:lnTo>
                    <a:pt x="441" y="135"/>
                  </a:lnTo>
                  <a:lnTo>
                    <a:pt x="442" y="135"/>
                  </a:lnTo>
                  <a:lnTo>
                    <a:pt x="444" y="132"/>
                  </a:lnTo>
                  <a:lnTo>
                    <a:pt x="446" y="130"/>
                  </a:lnTo>
                  <a:lnTo>
                    <a:pt x="447" y="129"/>
                  </a:lnTo>
                  <a:lnTo>
                    <a:pt x="447" y="126"/>
                  </a:lnTo>
                  <a:lnTo>
                    <a:pt x="449" y="126"/>
                  </a:lnTo>
                  <a:lnTo>
                    <a:pt x="452" y="125"/>
                  </a:lnTo>
                  <a:lnTo>
                    <a:pt x="452" y="130"/>
                  </a:lnTo>
                  <a:lnTo>
                    <a:pt x="452" y="131"/>
                  </a:lnTo>
                  <a:lnTo>
                    <a:pt x="454" y="131"/>
                  </a:lnTo>
                  <a:lnTo>
                    <a:pt x="456" y="130"/>
                  </a:lnTo>
                  <a:lnTo>
                    <a:pt x="454" y="126"/>
                  </a:lnTo>
                  <a:lnTo>
                    <a:pt x="456" y="125"/>
                  </a:lnTo>
                  <a:lnTo>
                    <a:pt x="456" y="124"/>
                  </a:lnTo>
                  <a:lnTo>
                    <a:pt x="456" y="123"/>
                  </a:lnTo>
                  <a:lnTo>
                    <a:pt x="456" y="124"/>
                  </a:lnTo>
                  <a:lnTo>
                    <a:pt x="458" y="133"/>
                  </a:lnTo>
                  <a:lnTo>
                    <a:pt x="460" y="132"/>
                  </a:lnTo>
                  <a:lnTo>
                    <a:pt x="462" y="136"/>
                  </a:lnTo>
                  <a:lnTo>
                    <a:pt x="465" y="133"/>
                  </a:lnTo>
                  <a:lnTo>
                    <a:pt x="462" y="131"/>
                  </a:lnTo>
                  <a:lnTo>
                    <a:pt x="461" y="130"/>
                  </a:lnTo>
                  <a:lnTo>
                    <a:pt x="461" y="129"/>
                  </a:lnTo>
                  <a:lnTo>
                    <a:pt x="462" y="126"/>
                  </a:lnTo>
                  <a:lnTo>
                    <a:pt x="462" y="124"/>
                  </a:lnTo>
                  <a:lnTo>
                    <a:pt x="464" y="121"/>
                  </a:lnTo>
                  <a:lnTo>
                    <a:pt x="462" y="119"/>
                  </a:lnTo>
                  <a:lnTo>
                    <a:pt x="465" y="118"/>
                  </a:lnTo>
                  <a:lnTo>
                    <a:pt x="465" y="117"/>
                  </a:lnTo>
                  <a:lnTo>
                    <a:pt x="466" y="115"/>
                  </a:lnTo>
                  <a:lnTo>
                    <a:pt x="470" y="113"/>
                  </a:lnTo>
                  <a:lnTo>
                    <a:pt x="471" y="117"/>
                  </a:lnTo>
                  <a:lnTo>
                    <a:pt x="472" y="120"/>
                  </a:lnTo>
                  <a:lnTo>
                    <a:pt x="473" y="121"/>
                  </a:lnTo>
                  <a:lnTo>
                    <a:pt x="473" y="124"/>
                  </a:lnTo>
                  <a:lnTo>
                    <a:pt x="472" y="124"/>
                  </a:lnTo>
                  <a:lnTo>
                    <a:pt x="472" y="126"/>
                  </a:lnTo>
                  <a:lnTo>
                    <a:pt x="473" y="132"/>
                  </a:lnTo>
                  <a:lnTo>
                    <a:pt x="475" y="133"/>
                  </a:lnTo>
                  <a:lnTo>
                    <a:pt x="472" y="135"/>
                  </a:lnTo>
                  <a:lnTo>
                    <a:pt x="469" y="133"/>
                  </a:lnTo>
                  <a:lnTo>
                    <a:pt x="469" y="136"/>
                  </a:lnTo>
                  <a:lnTo>
                    <a:pt x="472" y="137"/>
                  </a:lnTo>
                  <a:lnTo>
                    <a:pt x="473" y="138"/>
                  </a:lnTo>
                  <a:lnTo>
                    <a:pt x="475" y="139"/>
                  </a:lnTo>
                  <a:lnTo>
                    <a:pt x="476" y="142"/>
                  </a:lnTo>
                  <a:lnTo>
                    <a:pt x="476" y="143"/>
                  </a:lnTo>
                  <a:lnTo>
                    <a:pt x="477" y="143"/>
                  </a:lnTo>
                  <a:lnTo>
                    <a:pt x="481" y="142"/>
                  </a:lnTo>
                  <a:lnTo>
                    <a:pt x="482" y="142"/>
                  </a:lnTo>
                  <a:lnTo>
                    <a:pt x="483" y="143"/>
                  </a:lnTo>
                  <a:lnTo>
                    <a:pt x="483" y="147"/>
                  </a:lnTo>
                  <a:lnTo>
                    <a:pt x="485" y="147"/>
                  </a:lnTo>
                  <a:lnTo>
                    <a:pt x="488" y="149"/>
                  </a:lnTo>
                  <a:lnTo>
                    <a:pt x="490" y="150"/>
                  </a:lnTo>
                  <a:lnTo>
                    <a:pt x="489" y="154"/>
                  </a:lnTo>
                  <a:lnTo>
                    <a:pt x="491" y="156"/>
                  </a:lnTo>
                  <a:lnTo>
                    <a:pt x="494" y="156"/>
                  </a:lnTo>
                  <a:lnTo>
                    <a:pt x="496" y="157"/>
                  </a:lnTo>
                  <a:lnTo>
                    <a:pt x="497" y="154"/>
                  </a:lnTo>
                  <a:lnTo>
                    <a:pt x="499" y="150"/>
                  </a:lnTo>
                  <a:lnTo>
                    <a:pt x="499" y="145"/>
                  </a:lnTo>
                  <a:lnTo>
                    <a:pt x="499" y="142"/>
                  </a:lnTo>
                  <a:lnTo>
                    <a:pt x="499" y="141"/>
                  </a:lnTo>
                  <a:lnTo>
                    <a:pt x="500" y="141"/>
                  </a:lnTo>
                  <a:lnTo>
                    <a:pt x="500" y="139"/>
                  </a:lnTo>
                  <a:lnTo>
                    <a:pt x="499" y="139"/>
                  </a:lnTo>
                  <a:lnTo>
                    <a:pt x="497" y="133"/>
                  </a:lnTo>
                  <a:lnTo>
                    <a:pt x="500" y="131"/>
                  </a:lnTo>
                  <a:lnTo>
                    <a:pt x="501" y="132"/>
                  </a:lnTo>
                  <a:lnTo>
                    <a:pt x="502" y="133"/>
                  </a:lnTo>
                  <a:lnTo>
                    <a:pt x="503" y="135"/>
                  </a:lnTo>
                  <a:lnTo>
                    <a:pt x="501" y="139"/>
                  </a:lnTo>
                  <a:lnTo>
                    <a:pt x="501" y="141"/>
                  </a:lnTo>
                  <a:lnTo>
                    <a:pt x="503" y="139"/>
                  </a:lnTo>
                  <a:lnTo>
                    <a:pt x="502" y="143"/>
                  </a:lnTo>
                  <a:lnTo>
                    <a:pt x="500" y="148"/>
                  </a:lnTo>
                  <a:lnTo>
                    <a:pt x="499" y="156"/>
                  </a:lnTo>
                  <a:lnTo>
                    <a:pt x="499" y="159"/>
                  </a:lnTo>
                  <a:lnTo>
                    <a:pt x="501" y="156"/>
                  </a:lnTo>
                  <a:lnTo>
                    <a:pt x="505" y="154"/>
                  </a:lnTo>
                  <a:lnTo>
                    <a:pt x="506" y="156"/>
                  </a:lnTo>
                  <a:lnTo>
                    <a:pt x="506" y="159"/>
                  </a:lnTo>
                  <a:lnTo>
                    <a:pt x="508" y="156"/>
                  </a:lnTo>
                  <a:lnTo>
                    <a:pt x="511" y="155"/>
                  </a:lnTo>
                  <a:lnTo>
                    <a:pt x="512" y="153"/>
                  </a:lnTo>
                  <a:lnTo>
                    <a:pt x="514" y="151"/>
                  </a:lnTo>
                  <a:lnTo>
                    <a:pt x="515" y="153"/>
                  </a:lnTo>
                  <a:lnTo>
                    <a:pt x="517" y="154"/>
                  </a:lnTo>
                  <a:lnTo>
                    <a:pt x="520" y="153"/>
                  </a:lnTo>
                  <a:lnTo>
                    <a:pt x="523" y="154"/>
                  </a:lnTo>
                  <a:lnTo>
                    <a:pt x="526" y="154"/>
                  </a:lnTo>
                  <a:lnTo>
                    <a:pt x="519" y="156"/>
                  </a:lnTo>
                  <a:lnTo>
                    <a:pt x="513" y="156"/>
                  </a:lnTo>
                  <a:lnTo>
                    <a:pt x="508" y="161"/>
                  </a:lnTo>
                  <a:lnTo>
                    <a:pt x="503" y="165"/>
                  </a:lnTo>
                  <a:lnTo>
                    <a:pt x="499" y="167"/>
                  </a:lnTo>
                  <a:lnTo>
                    <a:pt x="495" y="172"/>
                  </a:lnTo>
                  <a:lnTo>
                    <a:pt x="495" y="174"/>
                  </a:lnTo>
                  <a:lnTo>
                    <a:pt x="497" y="172"/>
                  </a:lnTo>
                  <a:lnTo>
                    <a:pt x="499" y="169"/>
                  </a:lnTo>
                  <a:lnTo>
                    <a:pt x="501" y="168"/>
                  </a:lnTo>
                  <a:lnTo>
                    <a:pt x="507" y="166"/>
                  </a:lnTo>
                  <a:lnTo>
                    <a:pt x="502" y="173"/>
                  </a:lnTo>
                  <a:lnTo>
                    <a:pt x="500" y="175"/>
                  </a:lnTo>
                  <a:lnTo>
                    <a:pt x="505" y="178"/>
                  </a:lnTo>
                  <a:lnTo>
                    <a:pt x="508" y="180"/>
                  </a:lnTo>
                  <a:lnTo>
                    <a:pt x="511" y="179"/>
                  </a:lnTo>
                  <a:lnTo>
                    <a:pt x="514" y="178"/>
                  </a:lnTo>
                  <a:lnTo>
                    <a:pt x="517" y="178"/>
                  </a:lnTo>
                  <a:lnTo>
                    <a:pt x="519" y="179"/>
                  </a:lnTo>
                  <a:lnTo>
                    <a:pt x="519" y="180"/>
                  </a:lnTo>
                  <a:lnTo>
                    <a:pt x="520" y="183"/>
                  </a:lnTo>
                  <a:lnTo>
                    <a:pt x="521" y="184"/>
                  </a:lnTo>
                  <a:lnTo>
                    <a:pt x="521" y="187"/>
                  </a:lnTo>
                  <a:lnTo>
                    <a:pt x="523" y="190"/>
                  </a:lnTo>
                  <a:lnTo>
                    <a:pt x="521" y="192"/>
                  </a:lnTo>
                  <a:lnTo>
                    <a:pt x="521" y="195"/>
                  </a:lnTo>
                  <a:lnTo>
                    <a:pt x="524" y="197"/>
                  </a:lnTo>
                  <a:lnTo>
                    <a:pt x="525" y="193"/>
                  </a:lnTo>
                  <a:lnTo>
                    <a:pt x="526" y="191"/>
                  </a:lnTo>
                  <a:lnTo>
                    <a:pt x="530" y="187"/>
                  </a:lnTo>
                  <a:lnTo>
                    <a:pt x="530" y="186"/>
                  </a:lnTo>
                  <a:lnTo>
                    <a:pt x="531" y="192"/>
                  </a:lnTo>
                  <a:lnTo>
                    <a:pt x="531" y="196"/>
                  </a:lnTo>
                  <a:lnTo>
                    <a:pt x="534" y="192"/>
                  </a:lnTo>
                  <a:lnTo>
                    <a:pt x="535" y="197"/>
                  </a:lnTo>
                  <a:lnTo>
                    <a:pt x="535" y="199"/>
                  </a:lnTo>
                  <a:lnTo>
                    <a:pt x="537" y="198"/>
                  </a:lnTo>
                  <a:lnTo>
                    <a:pt x="540" y="197"/>
                  </a:lnTo>
                  <a:lnTo>
                    <a:pt x="540" y="201"/>
                  </a:lnTo>
                  <a:lnTo>
                    <a:pt x="542" y="198"/>
                  </a:lnTo>
                  <a:lnTo>
                    <a:pt x="543" y="199"/>
                  </a:lnTo>
                  <a:lnTo>
                    <a:pt x="544" y="198"/>
                  </a:lnTo>
                  <a:lnTo>
                    <a:pt x="548" y="202"/>
                  </a:lnTo>
                  <a:lnTo>
                    <a:pt x="542" y="202"/>
                  </a:lnTo>
                  <a:lnTo>
                    <a:pt x="536" y="202"/>
                  </a:lnTo>
                  <a:lnTo>
                    <a:pt x="534" y="202"/>
                  </a:lnTo>
                  <a:lnTo>
                    <a:pt x="535" y="205"/>
                  </a:lnTo>
                  <a:lnTo>
                    <a:pt x="536" y="205"/>
                  </a:lnTo>
                  <a:lnTo>
                    <a:pt x="538" y="205"/>
                  </a:lnTo>
                  <a:lnTo>
                    <a:pt x="540" y="207"/>
                  </a:lnTo>
                  <a:lnTo>
                    <a:pt x="542" y="205"/>
                  </a:lnTo>
                  <a:lnTo>
                    <a:pt x="544" y="205"/>
                  </a:lnTo>
                  <a:lnTo>
                    <a:pt x="548" y="207"/>
                  </a:lnTo>
                  <a:lnTo>
                    <a:pt x="552" y="208"/>
                  </a:lnTo>
                  <a:lnTo>
                    <a:pt x="554" y="208"/>
                  </a:lnTo>
                  <a:lnTo>
                    <a:pt x="556" y="210"/>
                  </a:lnTo>
                  <a:lnTo>
                    <a:pt x="558" y="205"/>
                  </a:lnTo>
                  <a:lnTo>
                    <a:pt x="559" y="204"/>
                  </a:lnTo>
                  <a:lnTo>
                    <a:pt x="560" y="202"/>
                  </a:lnTo>
                  <a:lnTo>
                    <a:pt x="562" y="198"/>
                  </a:lnTo>
                  <a:lnTo>
                    <a:pt x="564" y="198"/>
                  </a:lnTo>
                  <a:lnTo>
                    <a:pt x="561" y="202"/>
                  </a:lnTo>
                  <a:lnTo>
                    <a:pt x="562" y="203"/>
                  </a:lnTo>
                  <a:lnTo>
                    <a:pt x="564" y="202"/>
                  </a:lnTo>
                  <a:lnTo>
                    <a:pt x="567" y="202"/>
                  </a:lnTo>
                  <a:lnTo>
                    <a:pt x="566" y="201"/>
                  </a:lnTo>
                  <a:lnTo>
                    <a:pt x="565" y="198"/>
                  </a:lnTo>
                  <a:lnTo>
                    <a:pt x="565" y="196"/>
                  </a:lnTo>
                  <a:lnTo>
                    <a:pt x="565" y="195"/>
                  </a:lnTo>
                  <a:lnTo>
                    <a:pt x="564" y="193"/>
                  </a:lnTo>
                  <a:lnTo>
                    <a:pt x="559" y="195"/>
                  </a:lnTo>
                  <a:lnTo>
                    <a:pt x="554" y="196"/>
                  </a:lnTo>
                  <a:lnTo>
                    <a:pt x="555" y="192"/>
                  </a:lnTo>
                  <a:lnTo>
                    <a:pt x="556" y="190"/>
                  </a:lnTo>
                  <a:lnTo>
                    <a:pt x="559" y="189"/>
                  </a:lnTo>
                  <a:lnTo>
                    <a:pt x="562" y="189"/>
                  </a:lnTo>
                  <a:lnTo>
                    <a:pt x="565" y="190"/>
                  </a:lnTo>
                  <a:lnTo>
                    <a:pt x="566" y="192"/>
                  </a:lnTo>
                  <a:lnTo>
                    <a:pt x="567" y="192"/>
                  </a:lnTo>
                  <a:lnTo>
                    <a:pt x="568" y="191"/>
                  </a:lnTo>
                  <a:lnTo>
                    <a:pt x="572" y="190"/>
                  </a:lnTo>
                  <a:lnTo>
                    <a:pt x="574" y="190"/>
                  </a:lnTo>
                  <a:lnTo>
                    <a:pt x="576" y="187"/>
                  </a:lnTo>
                  <a:lnTo>
                    <a:pt x="577" y="185"/>
                  </a:lnTo>
                  <a:lnTo>
                    <a:pt x="579" y="184"/>
                  </a:lnTo>
                  <a:lnTo>
                    <a:pt x="580" y="183"/>
                  </a:lnTo>
                  <a:lnTo>
                    <a:pt x="583" y="184"/>
                  </a:lnTo>
                  <a:lnTo>
                    <a:pt x="583" y="181"/>
                  </a:lnTo>
                  <a:lnTo>
                    <a:pt x="580" y="181"/>
                  </a:lnTo>
                  <a:lnTo>
                    <a:pt x="577" y="184"/>
                  </a:lnTo>
                  <a:lnTo>
                    <a:pt x="577" y="180"/>
                  </a:lnTo>
                  <a:lnTo>
                    <a:pt x="578" y="178"/>
                  </a:lnTo>
                  <a:lnTo>
                    <a:pt x="576" y="181"/>
                  </a:lnTo>
                  <a:lnTo>
                    <a:pt x="573" y="185"/>
                  </a:lnTo>
                  <a:lnTo>
                    <a:pt x="571" y="187"/>
                  </a:lnTo>
                  <a:lnTo>
                    <a:pt x="570" y="186"/>
                  </a:lnTo>
                  <a:lnTo>
                    <a:pt x="568" y="183"/>
                  </a:lnTo>
                  <a:lnTo>
                    <a:pt x="570" y="179"/>
                  </a:lnTo>
                  <a:lnTo>
                    <a:pt x="574" y="177"/>
                  </a:lnTo>
                  <a:lnTo>
                    <a:pt x="574" y="174"/>
                  </a:lnTo>
                  <a:lnTo>
                    <a:pt x="576" y="173"/>
                  </a:lnTo>
                  <a:lnTo>
                    <a:pt x="578" y="169"/>
                  </a:lnTo>
                  <a:lnTo>
                    <a:pt x="576" y="167"/>
                  </a:lnTo>
                  <a:lnTo>
                    <a:pt x="568" y="161"/>
                  </a:lnTo>
                  <a:lnTo>
                    <a:pt x="561" y="153"/>
                  </a:lnTo>
                  <a:lnTo>
                    <a:pt x="552" y="130"/>
                  </a:lnTo>
                  <a:lnTo>
                    <a:pt x="550" y="132"/>
                  </a:lnTo>
                  <a:lnTo>
                    <a:pt x="552" y="138"/>
                  </a:lnTo>
                  <a:lnTo>
                    <a:pt x="553" y="145"/>
                  </a:lnTo>
                  <a:lnTo>
                    <a:pt x="552" y="143"/>
                  </a:lnTo>
                  <a:lnTo>
                    <a:pt x="550" y="139"/>
                  </a:lnTo>
                  <a:lnTo>
                    <a:pt x="549" y="144"/>
                  </a:lnTo>
                  <a:lnTo>
                    <a:pt x="550" y="143"/>
                  </a:lnTo>
                  <a:lnTo>
                    <a:pt x="552" y="145"/>
                  </a:lnTo>
                  <a:lnTo>
                    <a:pt x="550" y="149"/>
                  </a:lnTo>
                  <a:lnTo>
                    <a:pt x="549" y="154"/>
                  </a:lnTo>
                  <a:lnTo>
                    <a:pt x="549" y="156"/>
                  </a:lnTo>
                  <a:lnTo>
                    <a:pt x="548" y="151"/>
                  </a:lnTo>
                  <a:lnTo>
                    <a:pt x="546" y="148"/>
                  </a:lnTo>
                  <a:lnTo>
                    <a:pt x="543" y="147"/>
                  </a:lnTo>
                  <a:lnTo>
                    <a:pt x="543" y="149"/>
                  </a:lnTo>
                  <a:lnTo>
                    <a:pt x="542" y="147"/>
                  </a:lnTo>
                  <a:lnTo>
                    <a:pt x="542" y="144"/>
                  </a:lnTo>
                  <a:lnTo>
                    <a:pt x="541" y="141"/>
                  </a:lnTo>
                  <a:lnTo>
                    <a:pt x="540" y="141"/>
                  </a:lnTo>
                  <a:lnTo>
                    <a:pt x="537" y="143"/>
                  </a:lnTo>
                  <a:lnTo>
                    <a:pt x="534" y="144"/>
                  </a:lnTo>
                  <a:lnTo>
                    <a:pt x="531" y="147"/>
                  </a:lnTo>
                  <a:lnTo>
                    <a:pt x="530" y="148"/>
                  </a:lnTo>
                  <a:lnTo>
                    <a:pt x="531" y="143"/>
                  </a:lnTo>
                  <a:lnTo>
                    <a:pt x="532" y="138"/>
                  </a:lnTo>
                  <a:lnTo>
                    <a:pt x="531" y="137"/>
                  </a:lnTo>
                  <a:lnTo>
                    <a:pt x="529" y="139"/>
                  </a:lnTo>
                  <a:lnTo>
                    <a:pt x="526" y="142"/>
                  </a:lnTo>
                  <a:lnTo>
                    <a:pt x="525" y="144"/>
                  </a:lnTo>
                  <a:lnTo>
                    <a:pt x="525" y="138"/>
                  </a:lnTo>
                  <a:lnTo>
                    <a:pt x="524" y="137"/>
                  </a:lnTo>
                  <a:lnTo>
                    <a:pt x="525" y="136"/>
                  </a:lnTo>
                  <a:lnTo>
                    <a:pt x="526" y="132"/>
                  </a:lnTo>
                  <a:lnTo>
                    <a:pt x="525" y="131"/>
                  </a:lnTo>
                  <a:lnTo>
                    <a:pt x="526" y="131"/>
                  </a:lnTo>
                  <a:lnTo>
                    <a:pt x="526" y="130"/>
                  </a:lnTo>
                  <a:lnTo>
                    <a:pt x="528" y="127"/>
                  </a:lnTo>
                  <a:lnTo>
                    <a:pt x="532" y="127"/>
                  </a:lnTo>
                  <a:lnTo>
                    <a:pt x="534" y="125"/>
                  </a:lnTo>
                  <a:lnTo>
                    <a:pt x="532" y="126"/>
                  </a:lnTo>
                  <a:lnTo>
                    <a:pt x="534" y="125"/>
                  </a:lnTo>
                  <a:lnTo>
                    <a:pt x="536" y="120"/>
                  </a:lnTo>
                  <a:lnTo>
                    <a:pt x="537" y="119"/>
                  </a:lnTo>
                  <a:lnTo>
                    <a:pt x="535" y="120"/>
                  </a:lnTo>
                  <a:lnTo>
                    <a:pt x="531" y="123"/>
                  </a:lnTo>
                  <a:lnTo>
                    <a:pt x="532" y="119"/>
                  </a:lnTo>
                  <a:lnTo>
                    <a:pt x="530" y="119"/>
                  </a:lnTo>
                  <a:lnTo>
                    <a:pt x="528" y="118"/>
                  </a:lnTo>
                  <a:lnTo>
                    <a:pt x="525" y="119"/>
                  </a:lnTo>
                  <a:lnTo>
                    <a:pt x="524" y="119"/>
                  </a:lnTo>
                  <a:lnTo>
                    <a:pt x="520" y="118"/>
                  </a:lnTo>
                  <a:lnTo>
                    <a:pt x="521" y="117"/>
                  </a:lnTo>
                  <a:lnTo>
                    <a:pt x="520" y="115"/>
                  </a:lnTo>
                  <a:lnTo>
                    <a:pt x="515" y="114"/>
                  </a:lnTo>
                  <a:lnTo>
                    <a:pt x="515" y="111"/>
                  </a:lnTo>
                  <a:lnTo>
                    <a:pt x="518" y="112"/>
                  </a:lnTo>
                  <a:lnTo>
                    <a:pt x="520" y="109"/>
                  </a:lnTo>
                  <a:lnTo>
                    <a:pt x="519" y="107"/>
                  </a:lnTo>
                  <a:lnTo>
                    <a:pt x="523" y="105"/>
                  </a:lnTo>
                  <a:lnTo>
                    <a:pt x="525" y="106"/>
                  </a:lnTo>
                  <a:lnTo>
                    <a:pt x="528" y="106"/>
                  </a:lnTo>
                  <a:lnTo>
                    <a:pt x="526" y="103"/>
                  </a:lnTo>
                  <a:lnTo>
                    <a:pt x="525" y="101"/>
                  </a:lnTo>
                  <a:lnTo>
                    <a:pt x="524" y="100"/>
                  </a:lnTo>
                  <a:lnTo>
                    <a:pt x="524" y="103"/>
                  </a:lnTo>
                  <a:lnTo>
                    <a:pt x="521" y="100"/>
                  </a:lnTo>
                  <a:lnTo>
                    <a:pt x="520" y="96"/>
                  </a:lnTo>
                  <a:lnTo>
                    <a:pt x="519" y="94"/>
                  </a:lnTo>
                  <a:lnTo>
                    <a:pt x="517" y="95"/>
                  </a:lnTo>
                  <a:lnTo>
                    <a:pt x="515" y="95"/>
                  </a:lnTo>
                  <a:lnTo>
                    <a:pt x="515" y="89"/>
                  </a:lnTo>
                  <a:lnTo>
                    <a:pt x="517" y="85"/>
                  </a:lnTo>
                  <a:lnTo>
                    <a:pt x="517" y="83"/>
                  </a:lnTo>
                  <a:lnTo>
                    <a:pt x="517" y="80"/>
                  </a:lnTo>
                  <a:lnTo>
                    <a:pt x="517" y="78"/>
                  </a:lnTo>
                  <a:lnTo>
                    <a:pt x="514" y="83"/>
                  </a:lnTo>
                  <a:lnTo>
                    <a:pt x="514" y="85"/>
                  </a:lnTo>
                  <a:lnTo>
                    <a:pt x="512" y="90"/>
                  </a:lnTo>
                  <a:lnTo>
                    <a:pt x="511" y="88"/>
                  </a:lnTo>
                  <a:lnTo>
                    <a:pt x="509" y="84"/>
                  </a:lnTo>
                  <a:lnTo>
                    <a:pt x="509" y="80"/>
                  </a:lnTo>
                  <a:lnTo>
                    <a:pt x="508" y="79"/>
                  </a:lnTo>
                  <a:lnTo>
                    <a:pt x="507" y="79"/>
                  </a:lnTo>
                  <a:lnTo>
                    <a:pt x="507" y="84"/>
                  </a:lnTo>
                  <a:lnTo>
                    <a:pt x="506" y="88"/>
                  </a:lnTo>
                  <a:lnTo>
                    <a:pt x="503" y="89"/>
                  </a:lnTo>
                  <a:lnTo>
                    <a:pt x="503" y="91"/>
                  </a:lnTo>
                  <a:lnTo>
                    <a:pt x="502" y="92"/>
                  </a:lnTo>
                  <a:lnTo>
                    <a:pt x="501" y="95"/>
                  </a:lnTo>
                  <a:lnTo>
                    <a:pt x="500" y="94"/>
                  </a:lnTo>
                  <a:lnTo>
                    <a:pt x="500" y="96"/>
                  </a:lnTo>
                  <a:lnTo>
                    <a:pt x="499" y="97"/>
                  </a:lnTo>
                  <a:lnTo>
                    <a:pt x="497" y="95"/>
                  </a:lnTo>
                  <a:lnTo>
                    <a:pt x="497" y="90"/>
                  </a:lnTo>
                  <a:lnTo>
                    <a:pt x="496" y="89"/>
                  </a:lnTo>
                  <a:lnTo>
                    <a:pt x="496" y="88"/>
                  </a:lnTo>
                  <a:lnTo>
                    <a:pt x="496" y="89"/>
                  </a:lnTo>
                  <a:lnTo>
                    <a:pt x="494" y="90"/>
                  </a:lnTo>
                  <a:lnTo>
                    <a:pt x="493" y="90"/>
                  </a:lnTo>
                  <a:lnTo>
                    <a:pt x="489" y="92"/>
                  </a:lnTo>
                  <a:lnTo>
                    <a:pt x="488" y="95"/>
                  </a:lnTo>
                  <a:lnTo>
                    <a:pt x="487" y="96"/>
                  </a:lnTo>
                  <a:lnTo>
                    <a:pt x="487" y="91"/>
                  </a:lnTo>
                  <a:lnTo>
                    <a:pt x="488" y="85"/>
                  </a:lnTo>
                  <a:lnTo>
                    <a:pt x="489" y="83"/>
                  </a:lnTo>
                  <a:lnTo>
                    <a:pt x="489" y="82"/>
                  </a:lnTo>
                  <a:lnTo>
                    <a:pt x="488" y="82"/>
                  </a:lnTo>
                  <a:lnTo>
                    <a:pt x="487" y="82"/>
                  </a:lnTo>
                  <a:lnTo>
                    <a:pt x="487" y="79"/>
                  </a:lnTo>
                  <a:lnTo>
                    <a:pt x="488" y="74"/>
                  </a:lnTo>
                  <a:lnTo>
                    <a:pt x="489" y="72"/>
                  </a:lnTo>
                  <a:lnTo>
                    <a:pt x="491" y="70"/>
                  </a:lnTo>
                  <a:lnTo>
                    <a:pt x="493" y="66"/>
                  </a:lnTo>
                  <a:lnTo>
                    <a:pt x="494" y="64"/>
                  </a:lnTo>
                  <a:lnTo>
                    <a:pt x="494" y="61"/>
                  </a:lnTo>
                  <a:lnTo>
                    <a:pt x="491" y="65"/>
                  </a:lnTo>
                  <a:lnTo>
                    <a:pt x="490" y="66"/>
                  </a:lnTo>
                  <a:lnTo>
                    <a:pt x="490" y="62"/>
                  </a:lnTo>
                  <a:lnTo>
                    <a:pt x="487" y="66"/>
                  </a:lnTo>
                  <a:lnTo>
                    <a:pt x="484" y="66"/>
                  </a:lnTo>
                  <a:lnTo>
                    <a:pt x="483" y="64"/>
                  </a:lnTo>
                  <a:lnTo>
                    <a:pt x="477" y="66"/>
                  </a:lnTo>
                  <a:lnTo>
                    <a:pt x="475" y="67"/>
                  </a:lnTo>
                  <a:lnTo>
                    <a:pt x="470" y="77"/>
                  </a:lnTo>
                  <a:lnTo>
                    <a:pt x="466" y="79"/>
                  </a:lnTo>
                  <a:lnTo>
                    <a:pt x="465" y="82"/>
                  </a:lnTo>
                  <a:lnTo>
                    <a:pt x="462" y="79"/>
                  </a:lnTo>
                  <a:lnTo>
                    <a:pt x="464" y="73"/>
                  </a:lnTo>
                  <a:lnTo>
                    <a:pt x="466" y="67"/>
                  </a:lnTo>
                  <a:lnTo>
                    <a:pt x="465" y="65"/>
                  </a:lnTo>
                  <a:lnTo>
                    <a:pt x="467" y="61"/>
                  </a:lnTo>
                  <a:lnTo>
                    <a:pt x="470" y="60"/>
                  </a:lnTo>
                  <a:lnTo>
                    <a:pt x="473" y="61"/>
                  </a:lnTo>
                  <a:lnTo>
                    <a:pt x="478" y="61"/>
                  </a:lnTo>
                  <a:lnTo>
                    <a:pt x="483" y="58"/>
                  </a:lnTo>
                  <a:lnTo>
                    <a:pt x="488" y="55"/>
                  </a:lnTo>
                  <a:lnTo>
                    <a:pt x="488" y="53"/>
                  </a:lnTo>
                  <a:lnTo>
                    <a:pt x="487" y="50"/>
                  </a:lnTo>
                  <a:lnTo>
                    <a:pt x="487" y="46"/>
                  </a:lnTo>
                  <a:lnTo>
                    <a:pt x="484" y="46"/>
                  </a:lnTo>
                  <a:lnTo>
                    <a:pt x="485" y="40"/>
                  </a:lnTo>
                  <a:lnTo>
                    <a:pt x="484" y="38"/>
                  </a:lnTo>
                  <a:lnTo>
                    <a:pt x="483" y="41"/>
                  </a:lnTo>
                  <a:lnTo>
                    <a:pt x="478" y="48"/>
                  </a:lnTo>
                  <a:lnTo>
                    <a:pt x="477" y="49"/>
                  </a:lnTo>
                  <a:lnTo>
                    <a:pt x="475" y="44"/>
                  </a:lnTo>
                  <a:lnTo>
                    <a:pt x="475" y="37"/>
                  </a:lnTo>
                  <a:lnTo>
                    <a:pt x="476" y="35"/>
                  </a:lnTo>
                  <a:lnTo>
                    <a:pt x="473" y="35"/>
                  </a:lnTo>
                  <a:lnTo>
                    <a:pt x="476" y="28"/>
                  </a:lnTo>
                  <a:lnTo>
                    <a:pt x="481" y="25"/>
                  </a:lnTo>
                  <a:lnTo>
                    <a:pt x="483" y="23"/>
                  </a:lnTo>
                  <a:lnTo>
                    <a:pt x="487" y="20"/>
                  </a:lnTo>
                  <a:lnTo>
                    <a:pt x="490" y="18"/>
                  </a:lnTo>
                  <a:lnTo>
                    <a:pt x="490" y="14"/>
                  </a:lnTo>
                  <a:lnTo>
                    <a:pt x="484" y="12"/>
                  </a:lnTo>
                  <a:lnTo>
                    <a:pt x="479" y="11"/>
                  </a:lnTo>
                  <a:lnTo>
                    <a:pt x="484" y="11"/>
                  </a:lnTo>
                  <a:lnTo>
                    <a:pt x="487" y="8"/>
                  </a:lnTo>
                  <a:lnTo>
                    <a:pt x="490" y="7"/>
                  </a:lnTo>
                  <a:lnTo>
                    <a:pt x="490" y="5"/>
                  </a:lnTo>
                  <a:lnTo>
                    <a:pt x="490" y="2"/>
                  </a:lnTo>
                  <a:lnTo>
                    <a:pt x="491" y="1"/>
                  </a:lnTo>
                  <a:lnTo>
                    <a:pt x="495" y="0"/>
                  </a:lnTo>
                  <a:lnTo>
                    <a:pt x="497" y="0"/>
                  </a:lnTo>
                  <a:lnTo>
                    <a:pt x="501" y="0"/>
                  </a:lnTo>
                  <a:lnTo>
                    <a:pt x="501" y="1"/>
                  </a:lnTo>
                  <a:lnTo>
                    <a:pt x="502" y="1"/>
                  </a:lnTo>
                  <a:lnTo>
                    <a:pt x="502" y="4"/>
                  </a:lnTo>
                  <a:lnTo>
                    <a:pt x="505" y="2"/>
                  </a:lnTo>
                  <a:lnTo>
                    <a:pt x="506" y="2"/>
                  </a:lnTo>
                  <a:lnTo>
                    <a:pt x="507" y="2"/>
                  </a:lnTo>
                  <a:lnTo>
                    <a:pt x="509" y="2"/>
                  </a:lnTo>
                  <a:lnTo>
                    <a:pt x="511" y="1"/>
                  </a:lnTo>
                  <a:lnTo>
                    <a:pt x="513" y="0"/>
                  </a:lnTo>
                  <a:lnTo>
                    <a:pt x="511" y="6"/>
                  </a:lnTo>
                  <a:lnTo>
                    <a:pt x="508" y="16"/>
                  </a:lnTo>
                  <a:lnTo>
                    <a:pt x="508" y="18"/>
                  </a:lnTo>
                  <a:lnTo>
                    <a:pt x="511" y="14"/>
                  </a:lnTo>
                  <a:lnTo>
                    <a:pt x="512" y="16"/>
                  </a:lnTo>
                  <a:lnTo>
                    <a:pt x="513" y="20"/>
                  </a:lnTo>
                  <a:lnTo>
                    <a:pt x="512" y="26"/>
                  </a:lnTo>
                  <a:lnTo>
                    <a:pt x="514" y="31"/>
                  </a:lnTo>
                  <a:lnTo>
                    <a:pt x="514" y="29"/>
                  </a:lnTo>
                  <a:lnTo>
                    <a:pt x="518" y="30"/>
                  </a:lnTo>
                  <a:lnTo>
                    <a:pt x="518" y="28"/>
                  </a:lnTo>
                  <a:lnTo>
                    <a:pt x="518" y="23"/>
                  </a:lnTo>
                  <a:lnTo>
                    <a:pt x="523" y="22"/>
                  </a:lnTo>
                  <a:lnTo>
                    <a:pt x="528" y="24"/>
                  </a:lnTo>
                  <a:lnTo>
                    <a:pt x="530" y="28"/>
                  </a:lnTo>
                  <a:lnTo>
                    <a:pt x="531" y="32"/>
                  </a:lnTo>
                  <a:lnTo>
                    <a:pt x="529" y="34"/>
                  </a:lnTo>
                  <a:lnTo>
                    <a:pt x="526" y="32"/>
                  </a:lnTo>
                  <a:lnTo>
                    <a:pt x="526" y="34"/>
                  </a:lnTo>
                  <a:lnTo>
                    <a:pt x="524" y="32"/>
                  </a:lnTo>
                  <a:lnTo>
                    <a:pt x="523" y="31"/>
                  </a:lnTo>
                  <a:lnTo>
                    <a:pt x="523" y="35"/>
                  </a:lnTo>
                  <a:lnTo>
                    <a:pt x="524" y="37"/>
                  </a:lnTo>
                  <a:lnTo>
                    <a:pt x="526" y="40"/>
                  </a:lnTo>
                  <a:lnTo>
                    <a:pt x="529" y="42"/>
                  </a:lnTo>
                  <a:lnTo>
                    <a:pt x="530" y="46"/>
                  </a:lnTo>
                  <a:lnTo>
                    <a:pt x="531" y="49"/>
                  </a:lnTo>
                  <a:lnTo>
                    <a:pt x="534" y="50"/>
                  </a:lnTo>
                  <a:lnTo>
                    <a:pt x="536" y="49"/>
                  </a:lnTo>
                  <a:lnTo>
                    <a:pt x="537" y="52"/>
                  </a:lnTo>
                  <a:lnTo>
                    <a:pt x="538" y="50"/>
                  </a:lnTo>
                  <a:lnTo>
                    <a:pt x="540" y="49"/>
                  </a:lnTo>
                  <a:lnTo>
                    <a:pt x="541" y="49"/>
                  </a:lnTo>
                  <a:lnTo>
                    <a:pt x="544" y="49"/>
                  </a:lnTo>
                  <a:lnTo>
                    <a:pt x="547" y="52"/>
                  </a:lnTo>
                  <a:lnTo>
                    <a:pt x="547" y="49"/>
                  </a:lnTo>
                  <a:lnTo>
                    <a:pt x="544" y="46"/>
                  </a:lnTo>
                  <a:lnTo>
                    <a:pt x="546" y="41"/>
                  </a:lnTo>
                  <a:lnTo>
                    <a:pt x="546" y="37"/>
                  </a:lnTo>
                  <a:lnTo>
                    <a:pt x="548" y="37"/>
                  </a:lnTo>
                  <a:lnTo>
                    <a:pt x="550" y="35"/>
                  </a:lnTo>
                  <a:lnTo>
                    <a:pt x="554" y="36"/>
                  </a:lnTo>
                  <a:lnTo>
                    <a:pt x="556" y="38"/>
                  </a:lnTo>
                  <a:lnTo>
                    <a:pt x="559" y="41"/>
                  </a:lnTo>
                  <a:lnTo>
                    <a:pt x="562" y="41"/>
                  </a:lnTo>
                  <a:lnTo>
                    <a:pt x="566" y="38"/>
                  </a:lnTo>
                  <a:lnTo>
                    <a:pt x="562" y="41"/>
                  </a:lnTo>
                  <a:lnTo>
                    <a:pt x="561" y="44"/>
                  </a:lnTo>
                  <a:lnTo>
                    <a:pt x="559" y="43"/>
                  </a:lnTo>
                  <a:lnTo>
                    <a:pt x="556" y="43"/>
                  </a:lnTo>
                  <a:lnTo>
                    <a:pt x="552" y="50"/>
                  </a:lnTo>
                  <a:lnTo>
                    <a:pt x="556" y="50"/>
                  </a:lnTo>
                  <a:lnTo>
                    <a:pt x="561" y="53"/>
                  </a:lnTo>
                  <a:lnTo>
                    <a:pt x="566" y="55"/>
                  </a:lnTo>
                  <a:lnTo>
                    <a:pt x="562" y="56"/>
                  </a:lnTo>
                  <a:lnTo>
                    <a:pt x="562" y="61"/>
                  </a:lnTo>
                  <a:lnTo>
                    <a:pt x="561" y="62"/>
                  </a:lnTo>
                  <a:lnTo>
                    <a:pt x="560" y="61"/>
                  </a:lnTo>
                  <a:lnTo>
                    <a:pt x="559" y="53"/>
                  </a:lnTo>
                  <a:lnTo>
                    <a:pt x="555" y="52"/>
                  </a:lnTo>
                  <a:lnTo>
                    <a:pt x="550" y="53"/>
                  </a:lnTo>
                  <a:lnTo>
                    <a:pt x="549" y="58"/>
                  </a:lnTo>
                  <a:lnTo>
                    <a:pt x="548" y="61"/>
                  </a:lnTo>
                  <a:lnTo>
                    <a:pt x="549" y="67"/>
                  </a:lnTo>
                  <a:lnTo>
                    <a:pt x="553" y="66"/>
                  </a:lnTo>
                  <a:lnTo>
                    <a:pt x="556" y="68"/>
                  </a:lnTo>
                  <a:lnTo>
                    <a:pt x="558" y="71"/>
                  </a:lnTo>
                  <a:lnTo>
                    <a:pt x="559" y="73"/>
                  </a:lnTo>
                  <a:lnTo>
                    <a:pt x="558" y="76"/>
                  </a:lnTo>
                  <a:lnTo>
                    <a:pt x="561" y="78"/>
                  </a:lnTo>
                  <a:lnTo>
                    <a:pt x="561" y="84"/>
                  </a:lnTo>
                  <a:lnTo>
                    <a:pt x="561" y="88"/>
                  </a:lnTo>
                  <a:lnTo>
                    <a:pt x="562" y="90"/>
                  </a:lnTo>
                  <a:lnTo>
                    <a:pt x="562" y="94"/>
                  </a:lnTo>
                  <a:lnTo>
                    <a:pt x="561" y="97"/>
                  </a:lnTo>
                  <a:lnTo>
                    <a:pt x="562" y="100"/>
                  </a:lnTo>
                  <a:lnTo>
                    <a:pt x="566" y="100"/>
                  </a:lnTo>
                  <a:lnTo>
                    <a:pt x="570" y="97"/>
                  </a:lnTo>
                  <a:lnTo>
                    <a:pt x="573" y="96"/>
                  </a:lnTo>
                  <a:lnTo>
                    <a:pt x="574" y="95"/>
                  </a:lnTo>
                  <a:lnTo>
                    <a:pt x="578" y="94"/>
                  </a:lnTo>
                  <a:lnTo>
                    <a:pt x="578" y="91"/>
                  </a:lnTo>
                  <a:lnTo>
                    <a:pt x="580" y="91"/>
                  </a:lnTo>
                  <a:lnTo>
                    <a:pt x="583" y="91"/>
                  </a:lnTo>
                  <a:lnTo>
                    <a:pt x="584" y="92"/>
                  </a:lnTo>
                  <a:lnTo>
                    <a:pt x="587" y="92"/>
                  </a:lnTo>
                  <a:lnTo>
                    <a:pt x="584" y="95"/>
                  </a:lnTo>
                  <a:lnTo>
                    <a:pt x="587" y="94"/>
                  </a:lnTo>
                  <a:lnTo>
                    <a:pt x="589" y="94"/>
                  </a:lnTo>
                  <a:lnTo>
                    <a:pt x="590" y="95"/>
                  </a:lnTo>
                  <a:lnTo>
                    <a:pt x="594" y="95"/>
                  </a:lnTo>
                  <a:lnTo>
                    <a:pt x="596" y="92"/>
                  </a:lnTo>
                  <a:lnTo>
                    <a:pt x="599" y="90"/>
                  </a:lnTo>
                  <a:lnTo>
                    <a:pt x="600" y="91"/>
                  </a:lnTo>
                  <a:lnTo>
                    <a:pt x="601" y="94"/>
                  </a:lnTo>
                  <a:lnTo>
                    <a:pt x="603" y="95"/>
                  </a:lnTo>
                  <a:lnTo>
                    <a:pt x="607" y="94"/>
                  </a:lnTo>
                  <a:lnTo>
                    <a:pt x="606" y="94"/>
                  </a:lnTo>
                  <a:lnTo>
                    <a:pt x="606" y="95"/>
                  </a:lnTo>
                  <a:lnTo>
                    <a:pt x="611" y="96"/>
                  </a:lnTo>
                  <a:lnTo>
                    <a:pt x="613" y="100"/>
                  </a:lnTo>
                  <a:lnTo>
                    <a:pt x="615" y="97"/>
                  </a:lnTo>
                  <a:lnTo>
                    <a:pt x="618" y="97"/>
                  </a:lnTo>
                  <a:lnTo>
                    <a:pt x="618" y="96"/>
                  </a:lnTo>
                  <a:lnTo>
                    <a:pt x="619" y="95"/>
                  </a:lnTo>
                  <a:lnTo>
                    <a:pt x="621" y="94"/>
                  </a:lnTo>
                  <a:lnTo>
                    <a:pt x="623" y="92"/>
                  </a:lnTo>
                  <a:lnTo>
                    <a:pt x="625" y="95"/>
                  </a:lnTo>
                  <a:lnTo>
                    <a:pt x="626" y="95"/>
                  </a:lnTo>
                  <a:lnTo>
                    <a:pt x="627" y="97"/>
                  </a:lnTo>
                  <a:lnTo>
                    <a:pt x="630" y="96"/>
                  </a:lnTo>
                  <a:lnTo>
                    <a:pt x="630" y="92"/>
                  </a:lnTo>
                  <a:lnTo>
                    <a:pt x="629" y="91"/>
                  </a:lnTo>
                  <a:lnTo>
                    <a:pt x="630" y="89"/>
                  </a:lnTo>
                  <a:lnTo>
                    <a:pt x="631" y="86"/>
                  </a:lnTo>
                  <a:lnTo>
                    <a:pt x="633" y="84"/>
                  </a:lnTo>
                  <a:lnTo>
                    <a:pt x="637" y="83"/>
                  </a:lnTo>
                  <a:lnTo>
                    <a:pt x="639" y="84"/>
                  </a:lnTo>
                  <a:lnTo>
                    <a:pt x="642" y="85"/>
                  </a:lnTo>
                  <a:lnTo>
                    <a:pt x="644" y="85"/>
                  </a:lnTo>
                  <a:lnTo>
                    <a:pt x="644" y="86"/>
                  </a:lnTo>
                  <a:lnTo>
                    <a:pt x="645" y="86"/>
                  </a:lnTo>
                  <a:lnTo>
                    <a:pt x="645" y="77"/>
                  </a:lnTo>
                  <a:lnTo>
                    <a:pt x="642" y="74"/>
                  </a:lnTo>
                  <a:lnTo>
                    <a:pt x="639" y="71"/>
                  </a:lnTo>
                  <a:lnTo>
                    <a:pt x="641" y="68"/>
                  </a:lnTo>
                  <a:lnTo>
                    <a:pt x="641" y="67"/>
                  </a:lnTo>
                  <a:lnTo>
                    <a:pt x="642" y="66"/>
                  </a:lnTo>
                  <a:lnTo>
                    <a:pt x="643" y="67"/>
                  </a:lnTo>
                  <a:lnTo>
                    <a:pt x="643" y="65"/>
                  </a:lnTo>
                  <a:lnTo>
                    <a:pt x="645" y="65"/>
                  </a:lnTo>
                  <a:lnTo>
                    <a:pt x="648" y="65"/>
                  </a:lnTo>
                  <a:lnTo>
                    <a:pt x="649" y="65"/>
                  </a:lnTo>
                  <a:lnTo>
                    <a:pt x="652" y="65"/>
                  </a:lnTo>
                  <a:lnTo>
                    <a:pt x="650" y="68"/>
                  </a:lnTo>
                  <a:lnTo>
                    <a:pt x="652" y="71"/>
                  </a:lnTo>
                  <a:lnTo>
                    <a:pt x="655" y="71"/>
                  </a:lnTo>
                  <a:lnTo>
                    <a:pt x="661" y="71"/>
                  </a:lnTo>
                  <a:lnTo>
                    <a:pt x="658" y="73"/>
                  </a:lnTo>
                  <a:lnTo>
                    <a:pt x="654" y="76"/>
                  </a:lnTo>
                  <a:lnTo>
                    <a:pt x="652" y="78"/>
                  </a:lnTo>
                  <a:lnTo>
                    <a:pt x="650" y="79"/>
                  </a:lnTo>
                  <a:lnTo>
                    <a:pt x="653" y="78"/>
                  </a:lnTo>
                  <a:lnTo>
                    <a:pt x="656" y="77"/>
                  </a:lnTo>
                  <a:lnTo>
                    <a:pt x="654" y="79"/>
                  </a:lnTo>
                  <a:lnTo>
                    <a:pt x="656" y="82"/>
                  </a:lnTo>
                  <a:lnTo>
                    <a:pt x="658" y="83"/>
                  </a:lnTo>
                  <a:lnTo>
                    <a:pt x="654" y="83"/>
                  </a:lnTo>
                  <a:lnTo>
                    <a:pt x="650" y="85"/>
                  </a:lnTo>
                  <a:lnTo>
                    <a:pt x="654" y="85"/>
                  </a:lnTo>
                  <a:lnTo>
                    <a:pt x="659" y="84"/>
                  </a:lnTo>
                  <a:lnTo>
                    <a:pt x="664" y="85"/>
                  </a:lnTo>
                  <a:lnTo>
                    <a:pt x="667" y="84"/>
                  </a:lnTo>
                  <a:lnTo>
                    <a:pt x="662" y="88"/>
                  </a:lnTo>
                  <a:lnTo>
                    <a:pt x="659" y="90"/>
                  </a:lnTo>
                  <a:lnTo>
                    <a:pt x="656" y="92"/>
                  </a:lnTo>
                  <a:lnTo>
                    <a:pt x="653" y="95"/>
                  </a:lnTo>
                  <a:lnTo>
                    <a:pt x="653" y="98"/>
                  </a:lnTo>
                  <a:lnTo>
                    <a:pt x="655" y="98"/>
                  </a:lnTo>
                  <a:lnTo>
                    <a:pt x="659" y="98"/>
                  </a:lnTo>
                  <a:lnTo>
                    <a:pt x="662" y="96"/>
                  </a:lnTo>
                  <a:lnTo>
                    <a:pt x="665" y="96"/>
                  </a:lnTo>
                  <a:lnTo>
                    <a:pt x="668" y="97"/>
                  </a:lnTo>
                  <a:lnTo>
                    <a:pt x="667" y="97"/>
                  </a:lnTo>
                  <a:lnTo>
                    <a:pt x="666" y="98"/>
                  </a:lnTo>
                  <a:lnTo>
                    <a:pt x="666" y="103"/>
                  </a:lnTo>
                  <a:lnTo>
                    <a:pt x="668" y="106"/>
                  </a:lnTo>
                  <a:lnTo>
                    <a:pt x="670" y="109"/>
                  </a:lnTo>
                  <a:lnTo>
                    <a:pt x="666" y="111"/>
                  </a:lnTo>
                  <a:lnTo>
                    <a:pt x="667" y="113"/>
                  </a:lnTo>
                  <a:lnTo>
                    <a:pt x="667" y="118"/>
                  </a:lnTo>
                  <a:lnTo>
                    <a:pt x="666" y="120"/>
                  </a:lnTo>
                  <a:lnTo>
                    <a:pt x="665" y="118"/>
                  </a:lnTo>
                  <a:lnTo>
                    <a:pt x="664" y="120"/>
                  </a:lnTo>
                  <a:lnTo>
                    <a:pt x="662" y="125"/>
                  </a:lnTo>
                  <a:lnTo>
                    <a:pt x="661" y="127"/>
                  </a:lnTo>
                  <a:lnTo>
                    <a:pt x="661" y="132"/>
                  </a:lnTo>
                  <a:lnTo>
                    <a:pt x="659" y="133"/>
                  </a:lnTo>
                  <a:lnTo>
                    <a:pt x="656" y="137"/>
                  </a:lnTo>
                  <a:lnTo>
                    <a:pt x="653" y="137"/>
                  </a:lnTo>
                  <a:lnTo>
                    <a:pt x="653" y="139"/>
                  </a:lnTo>
                  <a:lnTo>
                    <a:pt x="648" y="142"/>
                  </a:lnTo>
                  <a:lnTo>
                    <a:pt x="648" y="139"/>
                  </a:lnTo>
                  <a:lnTo>
                    <a:pt x="645" y="138"/>
                  </a:lnTo>
                  <a:lnTo>
                    <a:pt x="645" y="137"/>
                  </a:lnTo>
                  <a:lnTo>
                    <a:pt x="644" y="141"/>
                  </a:lnTo>
                  <a:lnTo>
                    <a:pt x="642" y="144"/>
                  </a:lnTo>
                  <a:lnTo>
                    <a:pt x="643" y="137"/>
                  </a:lnTo>
                  <a:lnTo>
                    <a:pt x="641" y="142"/>
                  </a:lnTo>
                  <a:lnTo>
                    <a:pt x="638" y="138"/>
                  </a:lnTo>
                  <a:lnTo>
                    <a:pt x="636" y="141"/>
                  </a:lnTo>
                  <a:lnTo>
                    <a:pt x="637" y="144"/>
                  </a:lnTo>
                  <a:lnTo>
                    <a:pt x="639" y="145"/>
                  </a:lnTo>
                  <a:lnTo>
                    <a:pt x="633" y="147"/>
                  </a:lnTo>
                  <a:lnTo>
                    <a:pt x="630" y="148"/>
                  </a:lnTo>
                  <a:lnTo>
                    <a:pt x="627" y="151"/>
                  </a:lnTo>
                  <a:lnTo>
                    <a:pt x="629" y="153"/>
                  </a:lnTo>
                  <a:lnTo>
                    <a:pt x="631" y="154"/>
                  </a:lnTo>
                  <a:lnTo>
                    <a:pt x="635" y="154"/>
                  </a:lnTo>
                  <a:lnTo>
                    <a:pt x="636" y="157"/>
                  </a:lnTo>
                  <a:lnTo>
                    <a:pt x="633" y="159"/>
                  </a:lnTo>
                  <a:lnTo>
                    <a:pt x="629" y="157"/>
                  </a:lnTo>
                  <a:lnTo>
                    <a:pt x="629" y="155"/>
                  </a:lnTo>
                  <a:lnTo>
                    <a:pt x="627" y="155"/>
                  </a:lnTo>
                  <a:lnTo>
                    <a:pt x="627" y="160"/>
                  </a:lnTo>
                  <a:lnTo>
                    <a:pt x="630" y="160"/>
                  </a:lnTo>
                  <a:lnTo>
                    <a:pt x="633" y="161"/>
                  </a:lnTo>
                  <a:lnTo>
                    <a:pt x="633" y="166"/>
                  </a:lnTo>
                  <a:lnTo>
                    <a:pt x="635" y="167"/>
                  </a:lnTo>
                  <a:lnTo>
                    <a:pt x="641" y="165"/>
                  </a:lnTo>
                  <a:lnTo>
                    <a:pt x="645" y="161"/>
                  </a:lnTo>
                  <a:lnTo>
                    <a:pt x="644" y="160"/>
                  </a:lnTo>
                  <a:lnTo>
                    <a:pt x="643" y="157"/>
                  </a:lnTo>
                  <a:lnTo>
                    <a:pt x="645" y="154"/>
                  </a:lnTo>
                  <a:lnTo>
                    <a:pt x="648" y="150"/>
                  </a:lnTo>
                  <a:lnTo>
                    <a:pt x="650" y="148"/>
                  </a:lnTo>
                  <a:lnTo>
                    <a:pt x="652" y="150"/>
                  </a:lnTo>
                  <a:lnTo>
                    <a:pt x="654" y="149"/>
                  </a:lnTo>
                  <a:lnTo>
                    <a:pt x="655" y="149"/>
                  </a:lnTo>
                  <a:lnTo>
                    <a:pt x="656" y="148"/>
                  </a:lnTo>
                  <a:lnTo>
                    <a:pt x="659" y="148"/>
                  </a:lnTo>
                  <a:lnTo>
                    <a:pt x="661" y="147"/>
                  </a:lnTo>
                  <a:lnTo>
                    <a:pt x="660" y="150"/>
                  </a:lnTo>
                  <a:lnTo>
                    <a:pt x="659" y="153"/>
                  </a:lnTo>
                  <a:lnTo>
                    <a:pt x="660" y="154"/>
                  </a:lnTo>
                  <a:lnTo>
                    <a:pt x="660" y="155"/>
                  </a:lnTo>
                  <a:lnTo>
                    <a:pt x="661" y="154"/>
                  </a:lnTo>
                  <a:lnTo>
                    <a:pt x="661" y="156"/>
                  </a:lnTo>
                  <a:lnTo>
                    <a:pt x="662" y="157"/>
                  </a:lnTo>
                  <a:lnTo>
                    <a:pt x="665" y="156"/>
                  </a:lnTo>
                  <a:lnTo>
                    <a:pt x="662" y="153"/>
                  </a:lnTo>
                  <a:lnTo>
                    <a:pt x="664" y="148"/>
                  </a:lnTo>
                  <a:lnTo>
                    <a:pt x="666" y="149"/>
                  </a:lnTo>
                  <a:lnTo>
                    <a:pt x="670" y="147"/>
                  </a:lnTo>
                  <a:lnTo>
                    <a:pt x="671" y="148"/>
                  </a:lnTo>
                  <a:lnTo>
                    <a:pt x="673" y="150"/>
                  </a:lnTo>
                  <a:lnTo>
                    <a:pt x="676" y="151"/>
                  </a:lnTo>
                  <a:lnTo>
                    <a:pt x="676" y="155"/>
                  </a:lnTo>
                  <a:lnTo>
                    <a:pt x="672" y="157"/>
                  </a:lnTo>
                  <a:lnTo>
                    <a:pt x="672" y="154"/>
                  </a:lnTo>
                  <a:lnTo>
                    <a:pt x="668" y="156"/>
                  </a:lnTo>
                  <a:lnTo>
                    <a:pt x="660" y="162"/>
                  </a:lnTo>
                  <a:lnTo>
                    <a:pt x="662" y="165"/>
                  </a:lnTo>
                  <a:lnTo>
                    <a:pt x="665" y="163"/>
                  </a:lnTo>
                  <a:lnTo>
                    <a:pt x="664" y="167"/>
                  </a:lnTo>
                  <a:lnTo>
                    <a:pt x="670" y="169"/>
                  </a:lnTo>
                  <a:lnTo>
                    <a:pt x="671" y="172"/>
                  </a:lnTo>
                  <a:lnTo>
                    <a:pt x="672" y="173"/>
                  </a:lnTo>
                  <a:lnTo>
                    <a:pt x="673" y="172"/>
                  </a:lnTo>
                  <a:lnTo>
                    <a:pt x="676" y="173"/>
                  </a:lnTo>
                  <a:lnTo>
                    <a:pt x="678" y="171"/>
                  </a:lnTo>
                  <a:lnTo>
                    <a:pt x="676" y="177"/>
                  </a:lnTo>
                  <a:lnTo>
                    <a:pt x="674" y="179"/>
                  </a:lnTo>
                  <a:lnTo>
                    <a:pt x="674" y="183"/>
                  </a:lnTo>
                  <a:lnTo>
                    <a:pt x="674" y="184"/>
                  </a:lnTo>
                  <a:lnTo>
                    <a:pt x="677" y="184"/>
                  </a:lnTo>
                  <a:lnTo>
                    <a:pt x="679" y="184"/>
                  </a:lnTo>
                  <a:lnTo>
                    <a:pt x="682" y="183"/>
                  </a:lnTo>
                  <a:lnTo>
                    <a:pt x="684" y="178"/>
                  </a:lnTo>
                  <a:lnTo>
                    <a:pt x="685" y="175"/>
                  </a:lnTo>
                  <a:lnTo>
                    <a:pt x="683" y="173"/>
                  </a:lnTo>
                  <a:lnTo>
                    <a:pt x="684" y="169"/>
                  </a:lnTo>
                  <a:lnTo>
                    <a:pt x="685" y="167"/>
                  </a:lnTo>
                  <a:lnTo>
                    <a:pt x="688" y="165"/>
                  </a:lnTo>
                  <a:lnTo>
                    <a:pt x="689" y="163"/>
                  </a:lnTo>
                  <a:lnTo>
                    <a:pt x="691" y="163"/>
                  </a:lnTo>
                  <a:lnTo>
                    <a:pt x="694" y="163"/>
                  </a:lnTo>
                  <a:lnTo>
                    <a:pt x="695" y="166"/>
                  </a:lnTo>
                  <a:lnTo>
                    <a:pt x="697" y="166"/>
                  </a:lnTo>
                  <a:lnTo>
                    <a:pt x="697" y="167"/>
                  </a:lnTo>
                  <a:lnTo>
                    <a:pt x="697" y="171"/>
                  </a:lnTo>
                  <a:lnTo>
                    <a:pt x="698" y="172"/>
                  </a:lnTo>
                  <a:lnTo>
                    <a:pt x="697" y="173"/>
                  </a:lnTo>
                  <a:lnTo>
                    <a:pt x="694" y="174"/>
                  </a:lnTo>
                  <a:lnTo>
                    <a:pt x="696" y="177"/>
                  </a:lnTo>
                  <a:lnTo>
                    <a:pt x="694" y="178"/>
                  </a:lnTo>
                  <a:lnTo>
                    <a:pt x="694" y="180"/>
                  </a:lnTo>
                  <a:lnTo>
                    <a:pt x="695" y="183"/>
                  </a:lnTo>
                  <a:lnTo>
                    <a:pt x="696" y="183"/>
                  </a:lnTo>
                  <a:lnTo>
                    <a:pt x="697" y="183"/>
                  </a:lnTo>
                  <a:lnTo>
                    <a:pt x="697" y="181"/>
                  </a:lnTo>
                  <a:lnTo>
                    <a:pt x="698" y="180"/>
                  </a:lnTo>
                  <a:lnTo>
                    <a:pt x="701" y="180"/>
                  </a:lnTo>
                  <a:lnTo>
                    <a:pt x="701" y="183"/>
                  </a:lnTo>
                  <a:lnTo>
                    <a:pt x="702" y="180"/>
                  </a:lnTo>
                  <a:lnTo>
                    <a:pt x="706" y="179"/>
                  </a:lnTo>
                  <a:lnTo>
                    <a:pt x="708" y="177"/>
                  </a:lnTo>
                  <a:lnTo>
                    <a:pt x="711" y="175"/>
                  </a:lnTo>
                  <a:lnTo>
                    <a:pt x="712" y="174"/>
                  </a:lnTo>
                  <a:lnTo>
                    <a:pt x="712" y="173"/>
                  </a:lnTo>
                  <a:lnTo>
                    <a:pt x="711" y="173"/>
                  </a:lnTo>
                  <a:lnTo>
                    <a:pt x="709" y="172"/>
                  </a:lnTo>
                  <a:lnTo>
                    <a:pt x="713" y="169"/>
                  </a:lnTo>
                  <a:lnTo>
                    <a:pt x="714" y="169"/>
                  </a:lnTo>
                  <a:lnTo>
                    <a:pt x="714" y="173"/>
                  </a:lnTo>
                  <a:lnTo>
                    <a:pt x="717" y="172"/>
                  </a:lnTo>
                  <a:lnTo>
                    <a:pt x="715" y="169"/>
                  </a:lnTo>
                  <a:lnTo>
                    <a:pt x="709" y="165"/>
                  </a:lnTo>
                  <a:lnTo>
                    <a:pt x="706" y="166"/>
                  </a:lnTo>
                  <a:lnTo>
                    <a:pt x="701" y="165"/>
                  </a:lnTo>
                  <a:lnTo>
                    <a:pt x="701" y="162"/>
                  </a:lnTo>
                  <a:lnTo>
                    <a:pt x="702" y="162"/>
                  </a:lnTo>
                  <a:lnTo>
                    <a:pt x="704" y="162"/>
                  </a:lnTo>
                  <a:lnTo>
                    <a:pt x="704" y="161"/>
                  </a:lnTo>
                  <a:lnTo>
                    <a:pt x="706" y="161"/>
                  </a:lnTo>
                  <a:lnTo>
                    <a:pt x="707" y="159"/>
                  </a:lnTo>
                  <a:lnTo>
                    <a:pt x="708" y="160"/>
                  </a:lnTo>
                  <a:lnTo>
                    <a:pt x="709" y="159"/>
                  </a:lnTo>
                  <a:lnTo>
                    <a:pt x="711" y="161"/>
                  </a:lnTo>
                  <a:lnTo>
                    <a:pt x="713" y="166"/>
                  </a:lnTo>
                  <a:lnTo>
                    <a:pt x="718" y="169"/>
                  </a:lnTo>
                  <a:lnTo>
                    <a:pt x="719" y="169"/>
                  </a:lnTo>
                  <a:lnTo>
                    <a:pt x="721" y="168"/>
                  </a:lnTo>
                  <a:lnTo>
                    <a:pt x="721" y="167"/>
                  </a:lnTo>
                  <a:lnTo>
                    <a:pt x="723" y="165"/>
                  </a:lnTo>
                  <a:lnTo>
                    <a:pt x="725" y="165"/>
                  </a:lnTo>
                  <a:lnTo>
                    <a:pt x="726" y="167"/>
                  </a:lnTo>
                  <a:lnTo>
                    <a:pt x="727" y="168"/>
                  </a:lnTo>
                  <a:lnTo>
                    <a:pt x="730" y="171"/>
                  </a:lnTo>
                  <a:lnTo>
                    <a:pt x="730" y="169"/>
                  </a:lnTo>
                  <a:lnTo>
                    <a:pt x="732" y="168"/>
                  </a:lnTo>
                  <a:lnTo>
                    <a:pt x="733" y="166"/>
                  </a:lnTo>
                  <a:lnTo>
                    <a:pt x="736" y="167"/>
                  </a:lnTo>
                  <a:lnTo>
                    <a:pt x="737" y="168"/>
                  </a:lnTo>
                  <a:lnTo>
                    <a:pt x="737" y="161"/>
                  </a:lnTo>
                  <a:lnTo>
                    <a:pt x="729" y="160"/>
                  </a:lnTo>
                  <a:lnTo>
                    <a:pt x="720" y="159"/>
                  </a:lnTo>
                  <a:lnTo>
                    <a:pt x="720" y="156"/>
                  </a:lnTo>
                  <a:lnTo>
                    <a:pt x="723" y="155"/>
                  </a:lnTo>
                  <a:lnTo>
                    <a:pt x="725" y="154"/>
                  </a:lnTo>
                  <a:lnTo>
                    <a:pt x="726" y="154"/>
                  </a:lnTo>
                  <a:lnTo>
                    <a:pt x="726" y="153"/>
                  </a:lnTo>
                  <a:lnTo>
                    <a:pt x="730" y="151"/>
                  </a:lnTo>
                  <a:lnTo>
                    <a:pt x="732" y="151"/>
                  </a:lnTo>
                  <a:lnTo>
                    <a:pt x="733" y="149"/>
                  </a:lnTo>
                  <a:lnTo>
                    <a:pt x="735" y="151"/>
                  </a:lnTo>
                  <a:lnTo>
                    <a:pt x="736" y="150"/>
                  </a:lnTo>
                  <a:lnTo>
                    <a:pt x="736" y="151"/>
                  </a:lnTo>
                  <a:lnTo>
                    <a:pt x="736" y="156"/>
                  </a:lnTo>
                  <a:lnTo>
                    <a:pt x="738" y="161"/>
                  </a:lnTo>
                  <a:lnTo>
                    <a:pt x="741" y="163"/>
                  </a:lnTo>
                  <a:lnTo>
                    <a:pt x="743" y="162"/>
                  </a:lnTo>
                  <a:lnTo>
                    <a:pt x="747" y="159"/>
                  </a:lnTo>
                  <a:lnTo>
                    <a:pt x="748" y="156"/>
                  </a:lnTo>
                  <a:lnTo>
                    <a:pt x="749" y="153"/>
                  </a:lnTo>
                  <a:lnTo>
                    <a:pt x="753" y="151"/>
                  </a:lnTo>
                  <a:lnTo>
                    <a:pt x="754" y="153"/>
                  </a:lnTo>
                  <a:lnTo>
                    <a:pt x="754" y="154"/>
                  </a:lnTo>
                  <a:lnTo>
                    <a:pt x="754" y="156"/>
                  </a:lnTo>
                  <a:lnTo>
                    <a:pt x="756" y="156"/>
                  </a:lnTo>
                  <a:lnTo>
                    <a:pt x="757" y="154"/>
                  </a:lnTo>
                  <a:lnTo>
                    <a:pt x="760" y="154"/>
                  </a:lnTo>
                  <a:lnTo>
                    <a:pt x="762" y="154"/>
                  </a:lnTo>
                  <a:lnTo>
                    <a:pt x="761" y="156"/>
                  </a:lnTo>
                  <a:lnTo>
                    <a:pt x="762" y="159"/>
                  </a:lnTo>
                  <a:lnTo>
                    <a:pt x="766" y="160"/>
                  </a:lnTo>
                  <a:lnTo>
                    <a:pt x="762" y="161"/>
                  </a:lnTo>
                  <a:lnTo>
                    <a:pt x="759" y="161"/>
                  </a:lnTo>
                  <a:lnTo>
                    <a:pt x="756" y="162"/>
                  </a:lnTo>
                  <a:lnTo>
                    <a:pt x="754" y="162"/>
                  </a:lnTo>
                  <a:lnTo>
                    <a:pt x="755" y="163"/>
                  </a:lnTo>
                  <a:lnTo>
                    <a:pt x="751" y="163"/>
                  </a:lnTo>
                  <a:lnTo>
                    <a:pt x="754" y="167"/>
                  </a:lnTo>
                  <a:lnTo>
                    <a:pt x="756" y="172"/>
                  </a:lnTo>
                  <a:lnTo>
                    <a:pt x="759" y="171"/>
                  </a:lnTo>
                  <a:lnTo>
                    <a:pt x="760" y="172"/>
                  </a:lnTo>
                  <a:lnTo>
                    <a:pt x="762" y="171"/>
                  </a:lnTo>
                  <a:lnTo>
                    <a:pt x="766" y="171"/>
                  </a:lnTo>
                  <a:lnTo>
                    <a:pt x="762" y="168"/>
                  </a:lnTo>
                  <a:lnTo>
                    <a:pt x="761" y="163"/>
                  </a:lnTo>
                  <a:lnTo>
                    <a:pt x="763" y="165"/>
                  </a:lnTo>
                  <a:lnTo>
                    <a:pt x="766" y="162"/>
                  </a:lnTo>
                  <a:lnTo>
                    <a:pt x="768" y="160"/>
                  </a:lnTo>
                  <a:lnTo>
                    <a:pt x="770" y="156"/>
                  </a:lnTo>
                  <a:lnTo>
                    <a:pt x="771" y="154"/>
                  </a:lnTo>
                  <a:lnTo>
                    <a:pt x="772" y="154"/>
                  </a:lnTo>
                  <a:lnTo>
                    <a:pt x="776" y="154"/>
                  </a:lnTo>
                  <a:lnTo>
                    <a:pt x="777" y="153"/>
                  </a:lnTo>
                  <a:lnTo>
                    <a:pt x="776" y="153"/>
                  </a:lnTo>
                  <a:lnTo>
                    <a:pt x="776" y="150"/>
                  </a:lnTo>
                  <a:lnTo>
                    <a:pt x="776" y="147"/>
                  </a:lnTo>
                  <a:lnTo>
                    <a:pt x="774" y="147"/>
                  </a:lnTo>
                  <a:lnTo>
                    <a:pt x="776" y="144"/>
                  </a:lnTo>
                  <a:lnTo>
                    <a:pt x="778" y="143"/>
                  </a:lnTo>
                  <a:lnTo>
                    <a:pt x="776" y="142"/>
                  </a:lnTo>
                  <a:lnTo>
                    <a:pt x="778" y="141"/>
                  </a:lnTo>
                  <a:lnTo>
                    <a:pt x="780" y="141"/>
                  </a:lnTo>
                  <a:lnTo>
                    <a:pt x="779" y="138"/>
                  </a:lnTo>
                  <a:lnTo>
                    <a:pt x="780" y="135"/>
                  </a:lnTo>
                  <a:lnTo>
                    <a:pt x="783" y="132"/>
                  </a:lnTo>
                  <a:lnTo>
                    <a:pt x="785" y="133"/>
                  </a:lnTo>
                  <a:lnTo>
                    <a:pt x="789" y="133"/>
                  </a:lnTo>
                  <a:lnTo>
                    <a:pt x="789" y="130"/>
                  </a:lnTo>
                  <a:lnTo>
                    <a:pt x="786" y="129"/>
                  </a:lnTo>
                  <a:lnTo>
                    <a:pt x="782" y="130"/>
                  </a:lnTo>
                  <a:lnTo>
                    <a:pt x="784" y="127"/>
                  </a:lnTo>
                  <a:lnTo>
                    <a:pt x="786" y="125"/>
                  </a:lnTo>
                  <a:lnTo>
                    <a:pt x="790" y="127"/>
                  </a:lnTo>
                  <a:lnTo>
                    <a:pt x="792" y="127"/>
                  </a:lnTo>
                  <a:lnTo>
                    <a:pt x="794" y="130"/>
                  </a:lnTo>
                  <a:lnTo>
                    <a:pt x="797" y="131"/>
                  </a:lnTo>
                  <a:lnTo>
                    <a:pt x="797" y="132"/>
                  </a:lnTo>
                  <a:lnTo>
                    <a:pt x="803" y="127"/>
                  </a:lnTo>
                  <a:lnTo>
                    <a:pt x="803" y="126"/>
                  </a:lnTo>
                  <a:lnTo>
                    <a:pt x="803" y="124"/>
                  </a:lnTo>
                  <a:lnTo>
                    <a:pt x="806" y="121"/>
                  </a:lnTo>
                  <a:lnTo>
                    <a:pt x="807" y="120"/>
                  </a:lnTo>
                  <a:lnTo>
                    <a:pt x="809" y="120"/>
                  </a:lnTo>
                  <a:lnTo>
                    <a:pt x="808" y="125"/>
                  </a:lnTo>
                  <a:lnTo>
                    <a:pt x="810" y="124"/>
                  </a:lnTo>
                  <a:lnTo>
                    <a:pt x="813" y="120"/>
                  </a:lnTo>
                  <a:lnTo>
                    <a:pt x="815" y="121"/>
                  </a:lnTo>
                  <a:lnTo>
                    <a:pt x="816" y="123"/>
                  </a:lnTo>
                  <a:lnTo>
                    <a:pt x="820" y="123"/>
                  </a:lnTo>
                  <a:lnTo>
                    <a:pt x="821" y="124"/>
                  </a:lnTo>
                  <a:lnTo>
                    <a:pt x="816" y="126"/>
                  </a:lnTo>
                  <a:lnTo>
                    <a:pt x="810" y="129"/>
                  </a:lnTo>
                  <a:lnTo>
                    <a:pt x="813" y="132"/>
                  </a:lnTo>
                  <a:lnTo>
                    <a:pt x="815" y="130"/>
                  </a:lnTo>
                  <a:lnTo>
                    <a:pt x="821" y="125"/>
                  </a:lnTo>
                  <a:lnTo>
                    <a:pt x="822" y="126"/>
                  </a:lnTo>
                  <a:lnTo>
                    <a:pt x="818" y="131"/>
                  </a:lnTo>
                  <a:lnTo>
                    <a:pt x="820" y="135"/>
                  </a:lnTo>
                  <a:lnTo>
                    <a:pt x="816" y="136"/>
                  </a:lnTo>
                  <a:lnTo>
                    <a:pt x="815" y="137"/>
                  </a:lnTo>
                  <a:lnTo>
                    <a:pt x="818" y="139"/>
                  </a:lnTo>
                  <a:lnTo>
                    <a:pt x="820" y="139"/>
                  </a:lnTo>
                  <a:lnTo>
                    <a:pt x="824" y="142"/>
                  </a:lnTo>
                  <a:lnTo>
                    <a:pt x="825" y="141"/>
                  </a:lnTo>
                  <a:lnTo>
                    <a:pt x="826" y="142"/>
                  </a:lnTo>
                  <a:lnTo>
                    <a:pt x="830" y="143"/>
                  </a:lnTo>
                  <a:lnTo>
                    <a:pt x="831" y="144"/>
                  </a:lnTo>
                  <a:lnTo>
                    <a:pt x="831" y="145"/>
                  </a:lnTo>
                  <a:lnTo>
                    <a:pt x="832" y="145"/>
                  </a:lnTo>
                  <a:lnTo>
                    <a:pt x="832" y="149"/>
                  </a:lnTo>
                  <a:lnTo>
                    <a:pt x="827" y="149"/>
                  </a:lnTo>
                  <a:lnTo>
                    <a:pt x="830" y="151"/>
                  </a:lnTo>
                  <a:lnTo>
                    <a:pt x="831" y="154"/>
                  </a:lnTo>
                  <a:lnTo>
                    <a:pt x="832" y="155"/>
                  </a:lnTo>
                  <a:lnTo>
                    <a:pt x="836" y="153"/>
                  </a:lnTo>
                  <a:lnTo>
                    <a:pt x="836" y="155"/>
                  </a:lnTo>
                  <a:lnTo>
                    <a:pt x="837" y="161"/>
                  </a:lnTo>
                  <a:lnTo>
                    <a:pt x="838" y="162"/>
                  </a:lnTo>
                  <a:lnTo>
                    <a:pt x="837" y="165"/>
                  </a:lnTo>
                  <a:lnTo>
                    <a:pt x="837" y="168"/>
                  </a:lnTo>
                  <a:lnTo>
                    <a:pt x="835" y="173"/>
                  </a:lnTo>
                  <a:lnTo>
                    <a:pt x="833" y="165"/>
                  </a:lnTo>
                  <a:lnTo>
                    <a:pt x="832" y="157"/>
                  </a:lnTo>
                  <a:lnTo>
                    <a:pt x="827" y="156"/>
                  </a:lnTo>
                  <a:lnTo>
                    <a:pt x="821" y="154"/>
                  </a:lnTo>
                  <a:lnTo>
                    <a:pt x="821" y="156"/>
                  </a:lnTo>
                  <a:lnTo>
                    <a:pt x="822" y="161"/>
                  </a:lnTo>
                  <a:lnTo>
                    <a:pt x="821" y="165"/>
                  </a:lnTo>
                  <a:lnTo>
                    <a:pt x="820" y="167"/>
                  </a:lnTo>
                  <a:lnTo>
                    <a:pt x="816" y="169"/>
                  </a:lnTo>
                  <a:lnTo>
                    <a:pt x="813" y="169"/>
                  </a:lnTo>
                  <a:lnTo>
                    <a:pt x="812" y="168"/>
                  </a:lnTo>
                  <a:lnTo>
                    <a:pt x="808" y="169"/>
                  </a:lnTo>
                  <a:lnTo>
                    <a:pt x="802" y="172"/>
                  </a:lnTo>
                  <a:lnTo>
                    <a:pt x="796" y="172"/>
                  </a:lnTo>
                  <a:lnTo>
                    <a:pt x="794" y="172"/>
                  </a:lnTo>
                  <a:lnTo>
                    <a:pt x="792" y="174"/>
                  </a:lnTo>
                  <a:lnTo>
                    <a:pt x="792" y="175"/>
                  </a:lnTo>
                  <a:lnTo>
                    <a:pt x="792" y="177"/>
                  </a:lnTo>
                  <a:lnTo>
                    <a:pt x="797" y="174"/>
                  </a:lnTo>
                  <a:lnTo>
                    <a:pt x="796" y="177"/>
                  </a:lnTo>
                  <a:lnTo>
                    <a:pt x="800" y="175"/>
                  </a:lnTo>
                  <a:lnTo>
                    <a:pt x="804" y="172"/>
                  </a:lnTo>
                  <a:lnTo>
                    <a:pt x="813" y="173"/>
                  </a:lnTo>
                  <a:lnTo>
                    <a:pt x="818" y="173"/>
                  </a:lnTo>
                  <a:lnTo>
                    <a:pt x="821" y="173"/>
                  </a:lnTo>
                  <a:lnTo>
                    <a:pt x="824" y="177"/>
                  </a:lnTo>
                  <a:lnTo>
                    <a:pt x="820" y="177"/>
                  </a:lnTo>
                  <a:lnTo>
                    <a:pt x="818" y="178"/>
                  </a:lnTo>
                  <a:lnTo>
                    <a:pt x="819" y="179"/>
                  </a:lnTo>
                  <a:lnTo>
                    <a:pt x="816" y="179"/>
                  </a:lnTo>
                  <a:lnTo>
                    <a:pt x="814" y="183"/>
                  </a:lnTo>
                  <a:lnTo>
                    <a:pt x="814" y="184"/>
                  </a:lnTo>
                  <a:lnTo>
                    <a:pt x="810" y="183"/>
                  </a:lnTo>
                  <a:lnTo>
                    <a:pt x="813" y="187"/>
                  </a:lnTo>
                  <a:lnTo>
                    <a:pt x="816" y="190"/>
                  </a:lnTo>
                  <a:lnTo>
                    <a:pt x="816" y="191"/>
                  </a:lnTo>
                  <a:lnTo>
                    <a:pt x="815" y="195"/>
                  </a:lnTo>
                  <a:lnTo>
                    <a:pt x="814" y="196"/>
                  </a:lnTo>
                  <a:lnTo>
                    <a:pt x="813" y="192"/>
                  </a:lnTo>
                  <a:lnTo>
                    <a:pt x="812" y="193"/>
                  </a:lnTo>
                  <a:lnTo>
                    <a:pt x="810" y="193"/>
                  </a:lnTo>
                  <a:lnTo>
                    <a:pt x="807" y="190"/>
                  </a:lnTo>
                  <a:lnTo>
                    <a:pt x="806" y="184"/>
                  </a:lnTo>
                  <a:lnTo>
                    <a:pt x="806" y="181"/>
                  </a:lnTo>
                  <a:lnTo>
                    <a:pt x="803" y="179"/>
                  </a:lnTo>
                  <a:lnTo>
                    <a:pt x="800" y="179"/>
                  </a:lnTo>
                  <a:lnTo>
                    <a:pt x="798" y="183"/>
                  </a:lnTo>
                  <a:lnTo>
                    <a:pt x="797" y="186"/>
                  </a:lnTo>
                  <a:lnTo>
                    <a:pt x="795" y="189"/>
                  </a:lnTo>
                  <a:lnTo>
                    <a:pt x="789" y="196"/>
                  </a:lnTo>
                  <a:lnTo>
                    <a:pt x="789" y="192"/>
                  </a:lnTo>
                  <a:lnTo>
                    <a:pt x="789" y="189"/>
                  </a:lnTo>
                  <a:lnTo>
                    <a:pt x="786" y="192"/>
                  </a:lnTo>
                  <a:lnTo>
                    <a:pt x="779" y="199"/>
                  </a:lnTo>
                  <a:lnTo>
                    <a:pt x="780" y="195"/>
                  </a:lnTo>
                  <a:lnTo>
                    <a:pt x="782" y="192"/>
                  </a:lnTo>
                  <a:lnTo>
                    <a:pt x="782" y="190"/>
                  </a:lnTo>
                  <a:lnTo>
                    <a:pt x="777" y="190"/>
                  </a:lnTo>
                  <a:lnTo>
                    <a:pt x="774" y="193"/>
                  </a:lnTo>
                  <a:lnTo>
                    <a:pt x="774" y="197"/>
                  </a:lnTo>
                  <a:lnTo>
                    <a:pt x="773" y="199"/>
                  </a:lnTo>
                  <a:lnTo>
                    <a:pt x="771" y="203"/>
                  </a:lnTo>
                  <a:lnTo>
                    <a:pt x="770" y="205"/>
                  </a:lnTo>
                  <a:lnTo>
                    <a:pt x="767" y="208"/>
                  </a:lnTo>
                  <a:lnTo>
                    <a:pt x="768" y="208"/>
                  </a:lnTo>
                  <a:lnTo>
                    <a:pt x="771" y="207"/>
                  </a:lnTo>
                  <a:lnTo>
                    <a:pt x="772" y="208"/>
                  </a:lnTo>
                  <a:lnTo>
                    <a:pt x="774" y="205"/>
                  </a:lnTo>
                  <a:lnTo>
                    <a:pt x="774" y="210"/>
                  </a:lnTo>
                  <a:lnTo>
                    <a:pt x="771" y="215"/>
                  </a:lnTo>
                  <a:lnTo>
                    <a:pt x="770" y="219"/>
                  </a:lnTo>
                  <a:lnTo>
                    <a:pt x="772" y="219"/>
                  </a:lnTo>
                  <a:lnTo>
                    <a:pt x="770" y="221"/>
                  </a:lnTo>
                  <a:lnTo>
                    <a:pt x="770" y="225"/>
                  </a:lnTo>
                  <a:lnTo>
                    <a:pt x="772" y="224"/>
                  </a:lnTo>
                  <a:lnTo>
                    <a:pt x="777" y="224"/>
                  </a:lnTo>
                  <a:lnTo>
                    <a:pt x="779" y="222"/>
                  </a:lnTo>
                  <a:lnTo>
                    <a:pt x="784" y="224"/>
                  </a:lnTo>
                  <a:lnTo>
                    <a:pt x="786" y="225"/>
                  </a:lnTo>
                  <a:lnTo>
                    <a:pt x="785" y="226"/>
                  </a:lnTo>
                  <a:lnTo>
                    <a:pt x="786" y="227"/>
                  </a:lnTo>
                  <a:lnTo>
                    <a:pt x="784" y="228"/>
                  </a:lnTo>
                  <a:lnTo>
                    <a:pt x="784" y="231"/>
                  </a:lnTo>
                  <a:lnTo>
                    <a:pt x="783" y="232"/>
                  </a:lnTo>
                  <a:lnTo>
                    <a:pt x="782" y="237"/>
                  </a:lnTo>
                  <a:lnTo>
                    <a:pt x="779" y="233"/>
                  </a:lnTo>
                  <a:lnTo>
                    <a:pt x="776" y="232"/>
                  </a:lnTo>
                  <a:lnTo>
                    <a:pt x="774" y="231"/>
                  </a:lnTo>
                  <a:lnTo>
                    <a:pt x="773" y="230"/>
                  </a:lnTo>
                  <a:lnTo>
                    <a:pt x="772" y="228"/>
                  </a:lnTo>
                  <a:lnTo>
                    <a:pt x="770" y="230"/>
                  </a:lnTo>
                  <a:lnTo>
                    <a:pt x="767" y="232"/>
                  </a:lnTo>
                  <a:lnTo>
                    <a:pt x="772" y="232"/>
                  </a:lnTo>
                  <a:lnTo>
                    <a:pt x="767" y="233"/>
                  </a:lnTo>
                  <a:lnTo>
                    <a:pt x="767" y="236"/>
                  </a:lnTo>
                  <a:lnTo>
                    <a:pt x="771" y="237"/>
                  </a:lnTo>
                  <a:lnTo>
                    <a:pt x="776" y="237"/>
                  </a:lnTo>
                  <a:lnTo>
                    <a:pt x="779" y="236"/>
                  </a:lnTo>
                  <a:lnTo>
                    <a:pt x="780" y="238"/>
                  </a:lnTo>
                  <a:lnTo>
                    <a:pt x="782" y="238"/>
                  </a:lnTo>
                  <a:lnTo>
                    <a:pt x="780" y="239"/>
                  </a:lnTo>
                  <a:lnTo>
                    <a:pt x="782" y="240"/>
                  </a:lnTo>
                  <a:lnTo>
                    <a:pt x="782" y="243"/>
                  </a:lnTo>
                  <a:lnTo>
                    <a:pt x="780" y="243"/>
                  </a:lnTo>
                  <a:lnTo>
                    <a:pt x="783" y="245"/>
                  </a:lnTo>
                  <a:lnTo>
                    <a:pt x="780" y="248"/>
                  </a:lnTo>
                  <a:lnTo>
                    <a:pt x="778" y="244"/>
                  </a:lnTo>
                  <a:lnTo>
                    <a:pt x="774" y="239"/>
                  </a:lnTo>
                  <a:lnTo>
                    <a:pt x="773" y="240"/>
                  </a:lnTo>
                  <a:lnTo>
                    <a:pt x="774" y="244"/>
                  </a:lnTo>
                  <a:lnTo>
                    <a:pt x="772" y="245"/>
                  </a:lnTo>
                  <a:lnTo>
                    <a:pt x="772" y="248"/>
                  </a:lnTo>
                  <a:lnTo>
                    <a:pt x="772" y="254"/>
                  </a:lnTo>
                  <a:lnTo>
                    <a:pt x="771" y="248"/>
                  </a:lnTo>
                  <a:lnTo>
                    <a:pt x="770" y="250"/>
                  </a:lnTo>
                  <a:lnTo>
                    <a:pt x="768" y="246"/>
                  </a:lnTo>
                  <a:lnTo>
                    <a:pt x="768" y="242"/>
                  </a:lnTo>
                  <a:lnTo>
                    <a:pt x="767" y="242"/>
                  </a:lnTo>
                  <a:lnTo>
                    <a:pt x="763" y="239"/>
                  </a:lnTo>
                  <a:lnTo>
                    <a:pt x="765" y="243"/>
                  </a:lnTo>
                  <a:lnTo>
                    <a:pt x="763" y="251"/>
                  </a:lnTo>
                  <a:lnTo>
                    <a:pt x="761" y="250"/>
                  </a:lnTo>
                  <a:lnTo>
                    <a:pt x="760" y="248"/>
                  </a:lnTo>
                  <a:lnTo>
                    <a:pt x="759" y="243"/>
                  </a:lnTo>
                  <a:lnTo>
                    <a:pt x="759" y="244"/>
                  </a:lnTo>
                  <a:lnTo>
                    <a:pt x="757" y="252"/>
                  </a:lnTo>
                  <a:lnTo>
                    <a:pt x="762" y="256"/>
                  </a:lnTo>
                  <a:lnTo>
                    <a:pt x="762" y="261"/>
                  </a:lnTo>
                  <a:lnTo>
                    <a:pt x="761" y="263"/>
                  </a:lnTo>
                  <a:lnTo>
                    <a:pt x="761" y="264"/>
                  </a:lnTo>
                  <a:lnTo>
                    <a:pt x="759" y="264"/>
                  </a:lnTo>
                  <a:lnTo>
                    <a:pt x="759" y="267"/>
                  </a:lnTo>
                  <a:lnTo>
                    <a:pt x="757" y="268"/>
                  </a:lnTo>
                  <a:lnTo>
                    <a:pt x="757" y="273"/>
                  </a:lnTo>
                  <a:lnTo>
                    <a:pt x="755" y="270"/>
                  </a:lnTo>
                  <a:lnTo>
                    <a:pt x="754" y="268"/>
                  </a:lnTo>
                  <a:lnTo>
                    <a:pt x="754" y="267"/>
                  </a:lnTo>
                  <a:lnTo>
                    <a:pt x="753" y="264"/>
                  </a:lnTo>
                  <a:lnTo>
                    <a:pt x="751" y="262"/>
                  </a:lnTo>
                  <a:lnTo>
                    <a:pt x="750" y="262"/>
                  </a:lnTo>
                  <a:lnTo>
                    <a:pt x="750" y="258"/>
                  </a:lnTo>
                  <a:lnTo>
                    <a:pt x="753" y="255"/>
                  </a:lnTo>
                  <a:lnTo>
                    <a:pt x="756" y="252"/>
                  </a:lnTo>
                  <a:lnTo>
                    <a:pt x="757" y="248"/>
                  </a:lnTo>
                  <a:lnTo>
                    <a:pt x="755" y="250"/>
                  </a:lnTo>
                  <a:lnTo>
                    <a:pt x="753" y="251"/>
                  </a:lnTo>
                  <a:lnTo>
                    <a:pt x="754" y="246"/>
                  </a:lnTo>
                  <a:lnTo>
                    <a:pt x="750" y="249"/>
                  </a:lnTo>
                  <a:lnTo>
                    <a:pt x="748" y="250"/>
                  </a:lnTo>
                  <a:lnTo>
                    <a:pt x="745" y="252"/>
                  </a:lnTo>
                  <a:lnTo>
                    <a:pt x="745" y="249"/>
                  </a:lnTo>
                  <a:lnTo>
                    <a:pt x="744" y="250"/>
                  </a:lnTo>
                  <a:lnTo>
                    <a:pt x="739" y="249"/>
                  </a:lnTo>
                  <a:lnTo>
                    <a:pt x="737" y="249"/>
                  </a:lnTo>
                  <a:lnTo>
                    <a:pt x="741" y="251"/>
                  </a:lnTo>
                  <a:lnTo>
                    <a:pt x="738" y="255"/>
                  </a:lnTo>
                  <a:lnTo>
                    <a:pt x="736" y="256"/>
                  </a:lnTo>
                  <a:lnTo>
                    <a:pt x="733" y="258"/>
                  </a:lnTo>
                  <a:lnTo>
                    <a:pt x="733" y="263"/>
                  </a:lnTo>
                  <a:lnTo>
                    <a:pt x="736" y="263"/>
                  </a:lnTo>
                  <a:lnTo>
                    <a:pt x="738" y="266"/>
                  </a:lnTo>
                  <a:lnTo>
                    <a:pt x="737" y="269"/>
                  </a:lnTo>
                  <a:lnTo>
                    <a:pt x="738" y="268"/>
                  </a:lnTo>
                  <a:lnTo>
                    <a:pt x="739" y="272"/>
                  </a:lnTo>
                  <a:lnTo>
                    <a:pt x="741" y="274"/>
                  </a:lnTo>
                  <a:lnTo>
                    <a:pt x="744" y="276"/>
                  </a:lnTo>
                  <a:lnTo>
                    <a:pt x="748" y="275"/>
                  </a:lnTo>
                  <a:lnTo>
                    <a:pt x="744" y="273"/>
                  </a:lnTo>
                  <a:lnTo>
                    <a:pt x="742" y="270"/>
                  </a:lnTo>
                  <a:lnTo>
                    <a:pt x="748" y="269"/>
                  </a:lnTo>
                  <a:lnTo>
                    <a:pt x="751" y="270"/>
                  </a:lnTo>
                  <a:lnTo>
                    <a:pt x="751" y="274"/>
                  </a:lnTo>
                  <a:lnTo>
                    <a:pt x="754" y="274"/>
                  </a:lnTo>
                  <a:lnTo>
                    <a:pt x="756" y="275"/>
                  </a:lnTo>
                  <a:lnTo>
                    <a:pt x="760" y="274"/>
                  </a:lnTo>
                  <a:lnTo>
                    <a:pt x="763" y="272"/>
                  </a:lnTo>
                  <a:lnTo>
                    <a:pt x="767" y="270"/>
                  </a:lnTo>
                  <a:lnTo>
                    <a:pt x="770" y="269"/>
                  </a:lnTo>
                  <a:lnTo>
                    <a:pt x="770" y="272"/>
                  </a:lnTo>
                  <a:lnTo>
                    <a:pt x="770" y="275"/>
                  </a:lnTo>
                  <a:lnTo>
                    <a:pt x="772" y="275"/>
                  </a:lnTo>
                  <a:lnTo>
                    <a:pt x="772" y="274"/>
                  </a:lnTo>
                  <a:lnTo>
                    <a:pt x="771" y="273"/>
                  </a:lnTo>
                  <a:lnTo>
                    <a:pt x="772" y="272"/>
                  </a:lnTo>
                  <a:lnTo>
                    <a:pt x="776" y="272"/>
                  </a:lnTo>
                  <a:lnTo>
                    <a:pt x="778" y="270"/>
                  </a:lnTo>
                  <a:lnTo>
                    <a:pt x="780" y="272"/>
                  </a:lnTo>
                  <a:lnTo>
                    <a:pt x="779" y="273"/>
                  </a:lnTo>
                  <a:lnTo>
                    <a:pt x="782" y="272"/>
                  </a:lnTo>
                  <a:lnTo>
                    <a:pt x="778" y="266"/>
                  </a:lnTo>
                  <a:lnTo>
                    <a:pt x="773" y="266"/>
                  </a:lnTo>
                  <a:lnTo>
                    <a:pt x="770" y="268"/>
                  </a:lnTo>
                  <a:lnTo>
                    <a:pt x="770" y="266"/>
                  </a:lnTo>
                  <a:lnTo>
                    <a:pt x="767" y="264"/>
                  </a:lnTo>
                  <a:lnTo>
                    <a:pt x="766" y="262"/>
                  </a:lnTo>
                  <a:lnTo>
                    <a:pt x="772" y="261"/>
                  </a:lnTo>
                  <a:lnTo>
                    <a:pt x="778" y="262"/>
                  </a:lnTo>
                  <a:lnTo>
                    <a:pt x="782" y="262"/>
                  </a:lnTo>
                  <a:lnTo>
                    <a:pt x="780" y="262"/>
                  </a:lnTo>
                  <a:lnTo>
                    <a:pt x="779" y="264"/>
                  </a:lnTo>
                  <a:lnTo>
                    <a:pt x="782" y="269"/>
                  </a:lnTo>
                  <a:lnTo>
                    <a:pt x="784" y="269"/>
                  </a:lnTo>
                  <a:lnTo>
                    <a:pt x="786" y="269"/>
                  </a:lnTo>
                  <a:lnTo>
                    <a:pt x="786" y="267"/>
                  </a:lnTo>
                  <a:lnTo>
                    <a:pt x="788" y="266"/>
                  </a:lnTo>
                  <a:lnTo>
                    <a:pt x="790" y="264"/>
                  </a:lnTo>
                  <a:lnTo>
                    <a:pt x="790" y="263"/>
                  </a:lnTo>
                  <a:lnTo>
                    <a:pt x="791" y="263"/>
                  </a:lnTo>
                  <a:lnTo>
                    <a:pt x="792" y="266"/>
                  </a:lnTo>
                  <a:lnTo>
                    <a:pt x="795" y="267"/>
                  </a:lnTo>
                  <a:lnTo>
                    <a:pt x="794" y="270"/>
                  </a:lnTo>
                  <a:lnTo>
                    <a:pt x="791" y="273"/>
                  </a:lnTo>
                  <a:lnTo>
                    <a:pt x="794" y="273"/>
                  </a:lnTo>
                  <a:lnTo>
                    <a:pt x="796" y="272"/>
                  </a:lnTo>
                  <a:lnTo>
                    <a:pt x="800" y="269"/>
                  </a:lnTo>
                  <a:lnTo>
                    <a:pt x="803" y="267"/>
                  </a:lnTo>
                  <a:lnTo>
                    <a:pt x="807" y="266"/>
                  </a:lnTo>
                  <a:lnTo>
                    <a:pt x="801" y="274"/>
                  </a:lnTo>
                  <a:lnTo>
                    <a:pt x="797" y="278"/>
                  </a:lnTo>
                  <a:lnTo>
                    <a:pt x="796" y="287"/>
                  </a:lnTo>
                  <a:lnTo>
                    <a:pt x="797" y="288"/>
                  </a:lnTo>
                  <a:lnTo>
                    <a:pt x="798" y="282"/>
                  </a:lnTo>
                  <a:lnTo>
                    <a:pt x="802" y="280"/>
                  </a:lnTo>
                  <a:lnTo>
                    <a:pt x="803" y="278"/>
                  </a:lnTo>
                  <a:lnTo>
                    <a:pt x="804" y="274"/>
                  </a:lnTo>
                  <a:lnTo>
                    <a:pt x="807" y="276"/>
                  </a:lnTo>
                  <a:lnTo>
                    <a:pt x="809" y="278"/>
                  </a:lnTo>
                  <a:lnTo>
                    <a:pt x="809" y="279"/>
                  </a:lnTo>
                  <a:lnTo>
                    <a:pt x="810" y="280"/>
                  </a:lnTo>
                  <a:lnTo>
                    <a:pt x="810" y="281"/>
                  </a:lnTo>
                  <a:lnTo>
                    <a:pt x="810" y="284"/>
                  </a:lnTo>
                  <a:lnTo>
                    <a:pt x="808" y="287"/>
                  </a:lnTo>
                  <a:lnTo>
                    <a:pt x="808" y="290"/>
                  </a:lnTo>
                  <a:lnTo>
                    <a:pt x="810" y="287"/>
                  </a:lnTo>
                  <a:lnTo>
                    <a:pt x="814" y="287"/>
                  </a:lnTo>
                  <a:lnTo>
                    <a:pt x="819" y="287"/>
                  </a:lnTo>
                  <a:lnTo>
                    <a:pt x="821" y="287"/>
                  </a:lnTo>
                  <a:lnTo>
                    <a:pt x="825" y="286"/>
                  </a:lnTo>
                  <a:lnTo>
                    <a:pt x="825" y="288"/>
                  </a:lnTo>
                  <a:lnTo>
                    <a:pt x="827" y="288"/>
                  </a:lnTo>
                  <a:lnTo>
                    <a:pt x="824" y="292"/>
                  </a:lnTo>
                  <a:lnTo>
                    <a:pt x="819" y="293"/>
                  </a:lnTo>
                  <a:lnTo>
                    <a:pt x="814" y="293"/>
                  </a:lnTo>
                  <a:lnTo>
                    <a:pt x="809" y="293"/>
                  </a:lnTo>
                  <a:lnTo>
                    <a:pt x="809" y="297"/>
                  </a:lnTo>
                  <a:lnTo>
                    <a:pt x="812" y="296"/>
                  </a:lnTo>
                  <a:lnTo>
                    <a:pt x="815" y="294"/>
                  </a:lnTo>
                  <a:lnTo>
                    <a:pt x="816" y="296"/>
                  </a:lnTo>
                  <a:lnTo>
                    <a:pt x="819" y="296"/>
                  </a:lnTo>
                  <a:lnTo>
                    <a:pt x="822" y="294"/>
                  </a:lnTo>
                  <a:lnTo>
                    <a:pt x="825" y="297"/>
                  </a:lnTo>
                  <a:lnTo>
                    <a:pt x="826" y="297"/>
                  </a:lnTo>
                  <a:lnTo>
                    <a:pt x="829" y="298"/>
                  </a:lnTo>
                  <a:lnTo>
                    <a:pt x="829" y="296"/>
                  </a:lnTo>
                  <a:lnTo>
                    <a:pt x="829" y="290"/>
                  </a:lnTo>
                  <a:lnTo>
                    <a:pt x="832" y="287"/>
                  </a:lnTo>
                  <a:lnTo>
                    <a:pt x="833" y="284"/>
                  </a:lnTo>
                  <a:lnTo>
                    <a:pt x="831" y="284"/>
                  </a:lnTo>
                  <a:lnTo>
                    <a:pt x="829" y="282"/>
                  </a:lnTo>
                  <a:lnTo>
                    <a:pt x="831" y="281"/>
                  </a:lnTo>
                  <a:lnTo>
                    <a:pt x="832" y="275"/>
                  </a:lnTo>
                  <a:lnTo>
                    <a:pt x="836" y="276"/>
                  </a:lnTo>
                  <a:lnTo>
                    <a:pt x="839" y="273"/>
                  </a:lnTo>
                  <a:lnTo>
                    <a:pt x="839" y="275"/>
                  </a:lnTo>
                  <a:lnTo>
                    <a:pt x="839" y="279"/>
                  </a:lnTo>
                  <a:lnTo>
                    <a:pt x="839" y="280"/>
                  </a:lnTo>
                  <a:lnTo>
                    <a:pt x="841" y="284"/>
                  </a:lnTo>
                  <a:lnTo>
                    <a:pt x="842" y="287"/>
                  </a:lnTo>
                  <a:lnTo>
                    <a:pt x="844" y="290"/>
                  </a:lnTo>
                  <a:lnTo>
                    <a:pt x="845" y="291"/>
                  </a:lnTo>
                  <a:lnTo>
                    <a:pt x="845" y="292"/>
                  </a:lnTo>
                  <a:lnTo>
                    <a:pt x="848" y="293"/>
                  </a:lnTo>
                  <a:lnTo>
                    <a:pt x="851" y="296"/>
                  </a:lnTo>
                  <a:lnTo>
                    <a:pt x="853" y="296"/>
                  </a:lnTo>
                  <a:lnTo>
                    <a:pt x="853" y="293"/>
                  </a:lnTo>
                  <a:lnTo>
                    <a:pt x="855" y="292"/>
                  </a:lnTo>
                  <a:lnTo>
                    <a:pt x="860" y="292"/>
                  </a:lnTo>
                  <a:lnTo>
                    <a:pt x="856" y="296"/>
                  </a:lnTo>
                  <a:lnTo>
                    <a:pt x="855" y="297"/>
                  </a:lnTo>
                  <a:lnTo>
                    <a:pt x="857" y="297"/>
                  </a:lnTo>
                  <a:lnTo>
                    <a:pt x="860" y="298"/>
                  </a:lnTo>
                  <a:lnTo>
                    <a:pt x="862" y="299"/>
                  </a:lnTo>
                  <a:lnTo>
                    <a:pt x="861" y="303"/>
                  </a:lnTo>
                  <a:lnTo>
                    <a:pt x="859" y="306"/>
                  </a:lnTo>
                  <a:lnTo>
                    <a:pt x="859" y="309"/>
                  </a:lnTo>
                  <a:lnTo>
                    <a:pt x="854" y="305"/>
                  </a:lnTo>
                  <a:lnTo>
                    <a:pt x="850" y="308"/>
                  </a:lnTo>
                  <a:lnTo>
                    <a:pt x="849" y="311"/>
                  </a:lnTo>
                  <a:lnTo>
                    <a:pt x="851" y="311"/>
                  </a:lnTo>
                  <a:lnTo>
                    <a:pt x="850" y="314"/>
                  </a:lnTo>
                  <a:lnTo>
                    <a:pt x="848" y="319"/>
                  </a:lnTo>
                  <a:lnTo>
                    <a:pt x="845" y="321"/>
                  </a:lnTo>
                  <a:lnTo>
                    <a:pt x="844" y="320"/>
                  </a:lnTo>
                  <a:lnTo>
                    <a:pt x="844" y="325"/>
                  </a:lnTo>
                  <a:lnTo>
                    <a:pt x="847" y="328"/>
                  </a:lnTo>
                  <a:lnTo>
                    <a:pt x="850" y="327"/>
                  </a:lnTo>
                  <a:lnTo>
                    <a:pt x="855" y="325"/>
                  </a:lnTo>
                  <a:lnTo>
                    <a:pt x="859" y="323"/>
                  </a:lnTo>
                  <a:lnTo>
                    <a:pt x="863" y="322"/>
                  </a:lnTo>
                  <a:lnTo>
                    <a:pt x="857" y="326"/>
                  </a:lnTo>
                  <a:lnTo>
                    <a:pt x="854" y="329"/>
                  </a:lnTo>
                  <a:lnTo>
                    <a:pt x="855" y="331"/>
                  </a:lnTo>
                  <a:lnTo>
                    <a:pt x="855" y="332"/>
                  </a:lnTo>
                  <a:lnTo>
                    <a:pt x="857" y="333"/>
                  </a:lnTo>
                  <a:lnTo>
                    <a:pt x="862" y="332"/>
                  </a:lnTo>
                  <a:lnTo>
                    <a:pt x="868" y="333"/>
                  </a:lnTo>
                  <a:lnTo>
                    <a:pt x="869" y="331"/>
                  </a:lnTo>
                  <a:lnTo>
                    <a:pt x="872" y="327"/>
                  </a:lnTo>
                  <a:lnTo>
                    <a:pt x="874" y="325"/>
                  </a:lnTo>
                  <a:lnTo>
                    <a:pt x="878" y="321"/>
                  </a:lnTo>
                  <a:lnTo>
                    <a:pt x="883" y="321"/>
                  </a:lnTo>
                  <a:lnTo>
                    <a:pt x="881" y="321"/>
                  </a:lnTo>
                  <a:lnTo>
                    <a:pt x="883" y="322"/>
                  </a:lnTo>
                  <a:lnTo>
                    <a:pt x="886" y="322"/>
                  </a:lnTo>
                  <a:lnTo>
                    <a:pt x="886" y="323"/>
                  </a:lnTo>
                  <a:lnTo>
                    <a:pt x="884" y="325"/>
                  </a:lnTo>
                  <a:lnTo>
                    <a:pt x="879" y="326"/>
                  </a:lnTo>
                  <a:lnTo>
                    <a:pt x="878" y="328"/>
                  </a:lnTo>
                  <a:lnTo>
                    <a:pt x="878" y="331"/>
                  </a:lnTo>
                  <a:lnTo>
                    <a:pt x="879" y="333"/>
                  </a:lnTo>
                  <a:lnTo>
                    <a:pt x="881" y="334"/>
                  </a:lnTo>
                  <a:lnTo>
                    <a:pt x="884" y="338"/>
                  </a:lnTo>
                  <a:lnTo>
                    <a:pt x="883" y="340"/>
                  </a:lnTo>
                  <a:lnTo>
                    <a:pt x="885" y="343"/>
                  </a:lnTo>
                  <a:lnTo>
                    <a:pt x="885" y="346"/>
                  </a:lnTo>
                  <a:lnTo>
                    <a:pt x="884" y="347"/>
                  </a:lnTo>
                  <a:lnTo>
                    <a:pt x="883" y="352"/>
                  </a:lnTo>
                  <a:lnTo>
                    <a:pt x="883" y="356"/>
                  </a:lnTo>
                  <a:lnTo>
                    <a:pt x="885" y="357"/>
                  </a:lnTo>
                  <a:lnTo>
                    <a:pt x="886" y="356"/>
                  </a:lnTo>
                  <a:lnTo>
                    <a:pt x="889" y="352"/>
                  </a:lnTo>
                  <a:lnTo>
                    <a:pt x="892" y="350"/>
                  </a:lnTo>
                  <a:lnTo>
                    <a:pt x="889" y="350"/>
                  </a:lnTo>
                  <a:lnTo>
                    <a:pt x="888" y="350"/>
                  </a:lnTo>
                  <a:lnTo>
                    <a:pt x="888" y="349"/>
                  </a:lnTo>
                  <a:lnTo>
                    <a:pt x="889" y="347"/>
                  </a:lnTo>
                  <a:lnTo>
                    <a:pt x="894" y="345"/>
                  </a:lnTo>
                  <a:lnTo>
                    <a:pt x="897" y="345"/>
                  </a:lnTo>
                  <a:lnTo>
                    <a:pt x="898" y="341"/>
                  </a:lnTo>
                  <a:lnTo>
                    <a:pt x="898" y="337"/>
                  </a:lnTo>
                  <a:lnTo>
                    <a:pt x="903" y="333"/>
                  </a:lnTo>
                  <a:lnTo>
                    <a:pt x="901" y="340"/>
                  </a:lnTo>
                  <a:lnTo>
                    <a:pt x="902" y="343"/>
                  </a:lnTo>
                  <a:lnTo>
                    <a:pt x="904" y="341"/>
                  </a:lnTo>
                  <a:lnTo>
                    <a:pt x="902" y="345"/>
                  </a:lnTo>
                  <a:lnTo>
                    <a:pt x="901" y="350"/>
                  </a:lnTo>
                  <a:lnTo>
                    <a:pt x="902" y="352"/>
                  </a:lnTo>
                  <a:lnTo>
                    <a:pt x="902" y="353"/>
                  </a:lnTo>
                  <a:lnTo>
                    <a:pt x="902" y="356"/>
                  </a:lnTo>
                  <a:lnTo>
                    <a:pt x="904" y="362"/>
                  </a:lnTo>
                  <a:lnTo>
                    <a:pt x="901" y="365"/>
                  </a:lnTo>
                  <a:lnTo>
                    <a:pt x="897" y="365"/>
                  </a:lnTo>
                  <a:lnTo>
                    <a:pt x="891" y="364"/>
                  </a:lnTo>
                  <a:lnTo>
                    <a:pt x="886" y="364"/>
                  </a:lnTo>
                  <a:lnTo>
                    <a:pt x="879" y="367"/>
                  </a:lnTo>
                  <a:lnTo>
                    <a:pt x="877" y="370"/>
                  </a:lnTo>
                  <a:lnTo>
                    <a:pt x="880" y="369"/>
                  </a:lnTo>
                  <a:lnTo>
                    <a:pt x="886" y="370"/>
                  </a:lnTo>
                  <a:lnTo>
                    <a:pt x="886" y="374"/>
                  </a:lnTo>
                  <a:lnTo>
                    <a:pt x="889" y="374"/>
                  </a:lnTo>
                  <a:lnTo>
                    <a:pt x="891" y="375"/>
                  </a:lnTo>
                  <a:lnTo>
                    <a:pt x="895" y="376"/>
                  </a:lnTo>
                  <a:lnTo>
                    <a:pt x="898" y="377"/>
                  </a:lnTo>
                  <a:lnTo>
                    <a:pt x="902" y="377"/>
                  </a:lnTo>
                  <a:lnTo>
                    <a:pt x="904" y="376"/>
                  </a:lnTo>
                  <a:lnTo>
                    <a:pt x="906" y="379"/>
                  </a:lnTo>
                  <a:lnTo>
                    <a:pt x="906" y="381"/>
                  </a:lnTo>
                  <a:lnTo>
                    <a:pt x="904" y="382"/>
                  </a:lnTo>
                  <a:lnTo>
                    <a:pt x="901" y="383"/>
                  </a:lnTo>
                  <a:lnTo>
                    <a:pt x="906" y="387"/>
                  </a:lnTo>
                  <a:lnTo>
                    <a:pt x="902" y="387"/>
                  </a:lnTo>
                  <a:lnTo>
                    <a:pt x="902" y="388"/>
                  </a:lnTo>
                  <a:lnTo>
                    <a:pt x="901" y="392"/>
                  </a:lnTo>
                  <a:lnTo>
                    <a:pt x="900" y="393"/>
                  </a:lnTo>
                  <a:lnTo>
                    <a:pt x="897" y="392"/>
                  </a:lnTo>
                  <a:lnTo>
                    <a:pt x="898" y="397"/>
                  </a:lnTo>
                  <a:lnTo>
                    <a:pt x="896" y="395"/>
                  </a:lnTo>
                  <a:lnTo>
                    <a:pt x="894" y="399"/>
                  </a:lnTo>
                  <a:lnTo>
                    <a:pt x="891" y="398"/>
                  </a:lnTo>
                  <a:lnTo>
                    <a:pt x="891" y="399"/>
                  </a:lnTo>
                  <a:lnTo>
                    <a:pt x="889" y="401"/>
                  </a:lnTo>
                  <a:lnTo>
                    <a:pt x="888" y="401"/>
                  </a:lnTo>
                  <a:lnTo>
                    <a:pt x="884" y="399"/>
                  </a:lnTo>
                  <a:lnTo>
                    <a:pt x="883" y="400"/>
                  </a:lnTo>
                  <a:lnTo>
                    <a:pt x="881" y="397"/>
                  </a:lnTo>
                  <a:lnTo>
                    <a:pt x="880" y="399"/>
                  </a:lnTo>
                  <a:lnTo>
                    <a:pt x="881" y="401"/>
                  </a:lnTo>
                  <a:lnTo>
                    <a:pt x="885" y="401"/>
                  </a:lnTo>
                  <a:lnTo>
                    <a:pt x="889" y="405"/>
                  </a:lnTo>
                  <a:lnTo>
                    <a:pt x="891" y="412"/>
                  </a:lnTo>
                  <a:lnTo>
                    <a:pt x="890" y="415"/>
                  </a:lnTo>
                  <a:lnTo>
                    <a:pt x="888" y="410"/>
                  </a:lnTo>
                  <a:lnTo>
                    <a:pt x="885" y="406"/>
                  </a:lnTo>
                  <a:lnTo>
                    <a:pt x="883" y="409"/>
                  </a:lnTo>
                  <a:lnTo>
                    <a:pt x="881" y="410"/>
                  </a:lnTo>
                  <a:lnTo>
                    <a:pt x="880" y="407"/>
                  </a:lnTo>
                  <a:lnTo>
                    <a:pt x="879" y="407"/>
                  </a:lnTo>
                  <a:lnTo>
                    <a:pt x="879" y="405"/>
                  </a:lnTo>
                  <a:lnTo>
                    <a:pt x="879" y="403"/>
                  </a:lnTo>
                  <a:lnTo>
                    <a:pt x="875" y="405"/>
                  </a:lnTo>
                  <a:lnTo>
                    <a:pt x="873" y="407"/>
                  </a:lnTo>
                  <a:lnTo>
                    <a:pt x="872" y="406"/>
                  </a:lnTo>
                  <a:lnTo>
                    <a:pt x="869" y="409"/>
                  </a:lnTo>
                  <a:lnTo>
                    <a:pt x="868" y="411"/>
                  </a:lnTo>
                  <a:lnTo>
                    <a:pt x="866" y="405"/>
                  </a:lnTo>
                  <a:lnTo>
                    <a:pt x="866" y="400"/>
                  </a:lnTo>
                  <a:lnTo>
                    <a:pt x="863" y="401"/>
                  </a:lnTo>
                  <a:lnTo>
                    <a:pt x="862" y="399"/>
                  </a:lnTo>
                  <a:lnTo>
                    <a:pt x="863" y="393"/>
                  </a:lnTo>
                  <a:lnTo>
                    <a:pt x="863" y="389"/>
                  </a:lnTo>
                  <a:lnTo>
                    <a:pt x="860" y="391"/>
                  </a:lnTo>
                  <a:lnTo>
                    <a:pt x="854" y="395"/>
                  </a:lnTo>
                  <a:lnTo>
                    <a:pt x="847" y="400"/>
                  </a:lnTo>
                  <a:lnTo>
                    <a:pt x="847" y="403"/>
                  </a:lnTo>
                  <a:lnTo>
                    <a:pt x="848" y="403"/>
                  </a:lnTo>
                  <a:lnTo>
                    <a:pt x="848" y="405"/>
                  </a:lnTo>
                  <a:lnTo>
                    <a:pt x="847" y="407"/>
                  </a:lnTo>
                  <a:lnTo>
                    <a:pt x="851" y="413"/>
                  </a:lnTo>
                  <a:lnTo>
                    <a:pt x="854" y="415"/>
                  </a:lnTo>
                  <a:lnTo>
                    <a:pt x="862" y="423"/>
                  </a:lnTo>
                  <a:lnTo>
                    <a:pt x="865" y="421"/>
                  </a:lnTo>
                  <a:lnTo>
                    <a:pt x="866" y="418"/>
                  </a:lnTo>
                  <a:lnTo>
                    <a:pt x="867" y="415"/>
                  </a:lnTo>
                  <a:lnTo>
                    <a:pt x="869" y="415"/>
                  </a:lnTo>
                  <a:lnTo>
                    <a:pt x="871" y="416"/>
                  </a:lnTo>
                  <a:lnTo>
                    <a:pt x="871" y="419"/>
                  </a:lnTo>
                  <a:lnTo>
                    <a:pt x="877" y="422"/>
                  </a:lnTo>
                  <a:lnTo>
                    <a:pt x="875" y="428"/>
                  </a:lnTo>
                  <a:lnTo>
                    <a:pt x="877" y="433"/>
                  </a:lnTo>
                  <a:lnTo>
                    <a:pt x="886" y="433"/>
                  </a:lnTo>
                  <a:lnTo>
                    <a:pt x="886" y="429"/>
                  </a:lnTo>
                  <a:lnTo>
                    <a:pt x="884" y="429"/>
                  </a:lnTo>
                  <a:lnTo>
                    <a:pt x="888" y="424"/>
                  </a:lnTo>
                  <a:lnTo>
                    <a:pt x="894" y="423"/>
                  </a:lnTo>
                  <a:lnTo>
                    <a:pt x="896" y="419"/>
                  </a:lnTo>
                  <a:lnTo>
                    <a:pt x="898" y="421"/>
                  </a:lnTo>
                  <a:lnTo>
                    <a:pt x="897" y="425"/>
                  </a:lnTo>
                  <a:lnTo>
                    <a:pt x="892" y="429"/>
                  </a:lnTo>
                  <a:lnTo>
                    <a:pt x="889" y="433"/>
                  </a:lnTo>
                  <a:lnTo>
                    <a:pt x="888" y="434"/>
                  </a:lnTo>
                  <a:lnTo>
                    <a:pt x="878" y="435"/>
                  </a:lnTo>
                  <a:lnTo>
                    <a:pt x="877" y="438"/>
                  </a:lnTo>
                  <a:lnTo>
                    <a:pt x="874" y="438"/>
                  </a:lnTo>
                  <a:lnTo>
                    <a:pt x="874" y="441"/>
                  </a:lnTo>
                  <a:lnTo>
                    <a:pt x="878" y="441"/>
                  </a:lnTo>
                  <a:lnTo>
                    <a:pt x="875" y="447"/>
                  </a:lnTo>
                  <a:lnTo>
                    <a:pt x="874" y="448"/>
                  </a:lnTo>
                  <a:lnTo>
                    <a:pt x="872" y="445"/>
                  </a:lnTo>
                  <a:lnTo>
                    <a:pt x="871" y="440"/>
                  </a:lnTo>
                  <a:lnTo>
                    <a:pt x="871" y="436"/>
                  </a:lnTo>
                  <a:lnTo>
                    <a:pt x="868" y="439"/>
                  </a:lnTo>
                  <a:lnTo>
                    <a:pt x="868" y="442"/>
                  </a:lnTo>
                  <a:lnTo>
                    <a:pt x="863" y="445"/>
                  </a:lnTo>
                  <a:lnTo>
                    <a:pt x="862" y="442"/>
                  </a:lnTo>
                  <a:lnTo>
                    <a:pt x="861" y="436"/>
                  </a:lnTo>
                  <a:lnTo>
                    <a:pt x="859" y="440"/>
                  </a:lnTo>
                  <a:lnTo>
                    <a:pt x="856" y="445"/>
                  </a:lnTo>
                  <a:lnTo>
                    <a:pt x="854" y="447"/>
                  </a:lnTo>
                  <a:lnTo>
                    <a:pt x="853" y="444"/>
                  </a:lnTo>
                  <a:lnTo>
                    <a:pt x="851" y="440"/>
                  </a:lnTo>
                  <a:lnTo>
                    <a:pt x="853" y="435"/>
                  </a:lnTo>
                  <a:lnTo>
                    <a:pt x="850" y="434"/>
                  </a:lnTo>
                  <a:lnTo>
                    <a:pt x="848" y="435"/>
                  </a:lnTo>
                  <a:lnTo>
                    <a:pt x="843" y="436"/>
                  </a:lnTo>
                  <a:lnTo>
                    <a:pt x="844" y="433"/>
                  </a:lnTo>
                  <a:lnTo>
                    <a:pt x="845" y="428"/>
                  </a:lnTo>
                  <a:lnTo>
                    <a:pt x="842" y="428"/>
                  </a:lnTo>
                  <a:lnTo>
                    <a:pt x="843" y="424"/>
                  </a:lnTo>
                  <a:lnTo>
                    <a:pt x="843" y="422"/>
                  </a:lnTo>
                  <a:lnTo>
                    <a:pt x="842" y="419"/>
                  </a:lnTo>
                  <a:lnTo>
                    <a:pt x="841" y="419"/>
                  </a:lnTo>
                  <a:lnTo>
                    <a:pt x="838" y="423"/>
                  </a:lnTo>
                  <a:lnTo>
                    <a:pt x="837" y="422"/>
                  </a:lnTo>
                  <a:lnTo>
                    <a:pt x="838" y="417"/>
                  </a:lnTo>
                  <a:lnTo>
                    <a:pt x="835" y="418"/>
                  </a:lnTo>
                  <a:lnTo>
                    <a:pt x="833" y="422"/>
                  </a:lnTo>
                  <a:lnTo>
                    <a:pt x="833" y="424"/>
                  </a:lnTo>
                  <a:lnTo>
                    <a:pt x="835" y="428"/>
                  </a:lnTo>
                  <a:lnTo>
                    <a:pt x="835" y="432"/>
                  </a:lnTo>
                  <a:lnTo>
                    <a:pt x="833" y="433"/>
                  </a:lnTo>
                  <a:lnTo>
                    <a:pt x="836" y="435"/>
                  </a:lnTo>
                  <a:lnTo>
                    <a:pt x="836" y="441"/>
                  </a:lnTo>
                  <a:lnTo>
                    <a:pt x="835" y="442"/>
                  </a:lnTo>
                  <a:lnTo>
                    <a:pt x="835" y="444"/>
                  </a:lnTo>
                  <a:lnTo>
                    <a:pt x="838" y="446"/>
                  </a:lnTo>
                  <a:lnTo>
                    <a:pt x="837" y="446"/>
                  </a:lnTo>
                  <a:lnTo>
                    <a:pt x="836" y="447"/>
                  </a:lnTo>
                  <a:lnTo>
                    <a:pt x="842" y="451"/>
                  </a:lnTo>
                  <a:lnTo>
                    <a:pt x="842" y="452"/>
                  </a:lnTo>
                  <a:lnTo>
                    <a:pt x="843" y="452"/>
                  </a:lnTo>
                  <a:lnTo>
                    <a:pt x="845" y="447"/>
                  </a:lnTo>
                  <a:lnTo>
                    <a:pt x="849" y="446"/>
                  </a:lnTo>
                  <a:lnTo>
                    <a:pt x="851" y="451"/>
                  </a:lnTo>
                  <a:lnTo>
                    <a:pt x="855" y="452"/>
                  </a:lnTo>
                  <a:lnTo>
                    <a:pt x="851" y="454"/>
                  </a:lnTo>
                  <a:lnTo>
                    <a:pt x="856" y="456"/>
                  </a:lnTo>
                  <a:lnTo>
                    <a:pt x="855" y="458"/>
                  </a:lnTo>
                  <a:lnTo>
                    <a:pt x="851" y="459"/>
                  </a:lnTo>
                  <a:lnTo>
                    <a:pt x="844" y="456"/>
                  </a:lnTo>
                  <a:lnTo>
                    <a:pt x="841" y="457"/>
                  </a:lnTo>
                  <a:lnTo>
                    <a:pt x="839" y="456"/>
                  </a:lnTo>
                  <a:lnTo>
                    <a:pt x="835" y="454"/>
                  </a:lnTo>
                  <a:lnTo>
                    <a:pt x="830" y="457"/>
                  </a:lnTo>
                  <a:lnTo>
                    <a:pt x="825" y="462"/>
                  </a:lnTo>
                  <a:lnTo>
                    <a:pt x="824" y="457"/>
                  </a:lnTo>
                  <a:lnTo>
                    <a:pt x="820" y="462"/>
                  </a:lnTo>
                  <a:lnTo>
                    <a:pt x="820" y="456"/>
                  </a:lnTo>
                  <a:lnTo>
                    <a:pt x="814" y="453"/>
                  </a:lnTo>
                  <a:lnTo>
                    <a:pt x="814" y="457"/>
                  </a:lnTo>
                  <a:lnTo>
                    <a:pt x="815" y="459"/>
                  </a:lnTo>
                  <a:lnTo>
                    <a:pt x="813" y="459"/>
                  </a:lnTo>
                  <a:lnTo>
                    <a:pt x="812" y="460"/>
                  </a:lnTo>
                  <a:lnTo>
                    <a:pt x="812" y="463"/>
                  </a:lnTo>
                  <a:lnTo>
                    <a:pt x="814" y="465"/>
                  </a:lnTo>
                  <a:lnTo>
                    <a:pt x="812" y="466"/>
                  </a:lnTo>
                  <a:lnTo>
                    <a:pt x="810" y="469"/>
                  </a:lnTo>
                  <a:lnTo>
                    <a:pt x="809" y="465"/>
                  </a:lnTo>
                  <a:lnTo>
                    <a:pt x="808" y="460"/>
                  </a:lnTo>
                  <a:lnTo>
                    <a:pt x="807" y="463"/>
                  </a:lnTo>
                  <a:lnTo>
                    <a:pt x="807" y="459"/>
                  </a:lnTo>
                  <a:lnTo>
                    <a:pt x="804" y="460"/>
                  </a:lnTo>
                  <a:lnTo>
                    <a:pt x="803" y="463"/>
                  </a:lnTo>
                  <a:lnTo>
                    <a:pt x="802" y="462"/>
                  </a:lnTo>
                  <a:lnTo>
                    <a:pt x="801" y="462"/>
                  </a:lnTo>
                  <a:lnTo>
                    <a:pt x="798" y="459"/>
                  </a:lnTo>
                  <a:lnTo>
                    <a:pt x="796" y="459"/>
                  </a:lnTo>
                  <a:lnTo>
                    <a:pt x="796" y="457"/>
                  </a:lnTo>
                  <a:lnTo>
                    <a:pt x="794" y="456"/>
                  </a:lnTo>
                  <a:lnTo>
                    <a:pt x="791" y="459"/>
                  </a:lnTo>
                  <a:lnTo>
                    <a:pt x="788" y="463"/>
                  </a:lnTo>
                  <a:lnTo>
                    <a:pt x="785" y="466"/>
                  </a:lnTo>
                  <a:lnTo>
                    <a:pt x="785" y="469"/>
                  </a:lnTo>
                  <a:lnTo>
                    <a:pt x="784" y="464"/>
                  </a:lnTo>
                  <a:lnTo>
                    <a:pt x="780" y="463"/>
                  </a:lnTo>
                  <a:lnTo>
                    <a:pt x="777" y="464"/>
                  </a:lnTo>
                  <a:lnTo>
                    <a:pt x="774" y="465"/>
                  </a:lnTo>
                  <a:lnTo>
                    <a:pt x="774" y="463"/>
                  </a:lnTo>
                  <a:lnTo>
                    <a:pt x="768" y="464"/>
                  </a:lnTo>
                  <a:lnTo>
                    <a:pt x="766" y="466"/>
                  </a:lnTo>
                  <a:lnTo>
                    <a:pt x="765" y="471"/>
                  </a:lnTo>
                  <a:lnTo>
                    <a:pt x="763" y="470"/>
                  </a:lnTo>
                  <a:lnTo>
                    <a:pt x="762" y="466"/>
                  </a:lnTo>
                  <a:lnTo>
                    <a:pt x="761" y="469"/>
                  </a:lnTo>
                  <a:lnTo>
                    <a:pt x="760" y="471"/>
                  </a:lnTo>
                  <a:lnTo>
                    <a:pt x="760" y="474"/>
                  </a:lnTo>
                  <a:lnTo>
                    <a:pt x="762" y="474"/>
                  </a:lnTo>
                  <a:lnTo>
                    <a:pt x="760" y="477"/>
                  </a:lnTo>
                  <a:lnTo>
                    <a:pt x="762" y="478"/>
                  </a:lnTo>
                  <a:lnTo>
                    <a:pt x="763" y="480"/>
                  </a:lnTo>
                  <a:lnTo>
                    <a:pt x="766" y="480"/>
                  </a:lnTo>
                  <a:lnTo>
                    <a:pt x="767" y="478"/>
                  </a:lnTo>
                  <a:lnTo>
                    <a:pt x="770" y="480"/>
                  </a:lnTo>
                  <a:lnTo>
                    <a:pt x="771" y="477"/>
                  </a:lnTo>
                  <a:lnTo>
                    <a:pt x="771" y="472"/>
                  </a:lnTo>
                  <a:lnTo>
                    <a:pt x="774" y="475"/>
                  </a:lnTo>
                  <a:lnTo>
                    <a:pt x="777" y="478"/>
                  </a:lnTo>
                  <a:lnTo>
                    <a:pt x="780" y="478"/>
                  </a:lnTo>
                  <a:lnTo>
                    <a:pt x="782" y="482"/>
                  </a:lnTo>
                  <a:lnTo>
                    <a:pt x="779" y="482"/>
                  </a:lnTo>
                  <a:lnTo>
                    <a:pt x="778" y="482"/>
                  </a:lnTo>
                  <a:lnTo>
                    <a:pt x="778" y="483"/>
                  </a:lnTo>
                  <a:lnTo>
                    <a:pt x="780" y="487"/>
                  </a:lnTo>
                  <a:lnTo>
                    <a:pt x="778" y="486"/>
                  </a:lnTo>
                  <a:lnTo>
                    <a:pt x="776" y="486"/>
                  </a:lnTo>
                  <a:lnTo>
                    <a:pt x="774" y="487"/>
                  </a:lnTo>
                  <a:lnTo>
                    <a:pt x="777" y="489"/>
                  </a:lnTo>
                  <a:lnTo>
                    <a:pt x="779" y="490"/>
                  </a:lnTo>
                  <a:lnTo>
                    <a:pt x="782" y="489"/>
                  </a:lnTo>
                  <a:lnTo>
                    <a:pt x="783" y="487"/>
                  </a:lnTo>
                  <a:lnTo>
                    <a:pt x="784" y="490"/>
                  </a:lnTo>
                  <a:lnTo>
                    <a:pt x="783" y="494"/>
                  </a:lnTo>
                  <a:lnTo>
                    <a:pt x="780" y="494"/>
                  </a:lnTo>
                  <a:lnTo>
                    <a:pt x="778" y="495"/>
                  </a:lnTo>
                  <a:lnTo>
                    <a:pt x="779" y="496"/>
                  </a:lnTo>
                  <a:lnTo>
                    <a:pt x="783" y="496"/>
                  </a:lnTo>
                  <a:lnTo>
                    <a:pt x="785" y="498"/>
                  </a:lnTo>
                  <a:lnTo>
                    <a:pt x="789" y="499"/>
                  </a:lnTo>
                  <a:lnTo>
                    <a:pt x="790" y="500"/>
                  </a:lnTo>
                  <a:lnTo>
                    <a:pt x="790" y="501"/>
                  </a:lnTo>
                  <a:lnTo>
                    <a:pt x="790" y="506"/>
                  </a:lnTo>
                  <a:lnTo>
                    <a:pt x="792" y="508"/>
                  </a:lnTo>
                  <a:lnTo>
                    <a:pt x="795" y="508"/>
                  </a:lnTo>
                  <a:lnTo>
                    <a:pt x="797" y="508"/>
                  </a:lnTo>
                  <a:lnTo>
                    <a:pt x="800" y="510"/>
                  </a:lnTo>
                  <a:lnTo>
                    <a:pt x="801" y="508"/>
                  </a:lnTo>
                  <a:lnTo>
                    <a:pt x="801" y="505"/>
                  </a:lnTo>
                  <a:lnTo>
                    <a:pt x="803" y="502"/>
                  </a:lnTo>
                  <a:lnTo>
                    <a:pt x="804" y="501"/>
                  </a:lnTo>
                  <a:lnTo>
                    <a:pt x="809" y="501"/>
                  </a:lnTo>
                  <a:lnTo>
                    <a:pt x="807" y="505"/>
                  </a:lnTo>
                  <a:lnTo>
                    <a:pt x="806" y="506"/>
                  </a:lnTo>
                  <a:lnTo>
                    <a:pt x="807" y="506"/>
                  </a:lnTo>
                  <a:lnTo>
                    <a:pt x="808" y="506"/>
                  </a:lnTo>
                  <a:lnTo>
                    <a:pt x="807" y="510"/>
                  </a:lnTo>
                  <a:lnTo>
                    <a:pt x="809" y="514"/>
                  </a:lnTo>
                  <a:lnTo>
                    <a:pt x="810" y="518"/>
                  </a:lnTo>
                  <a:lnTo>
                    <a:pt x="810" y="519"/>
                  </a:lnTo>
                  <a:lnTo>
                    <a:pt x="812" y="516"/>
                  </a:lnTo>
                  <a:lnTo>
                    <a:pt x="814" y="519"/>
                  </a:lnTo>
                  <a:lnTo>
                    <a:pt x="814" y="525"/>
                  </a:lnTo>
                  <a:lnTo>
                    <a:pt x="813" y="530"/>
                  </a:lnTo>
                  <a:lnTo>
                    <a:pt x="816" y="530"/>
                  </a:lnTo>
                  <a:lnTo>
                    <a:pt x="819" y="528"/>
                  </a:lnTo>
                  <a:lnTo>
                    <a:pt x="821" y="528"/>
                  </a:lnTo>
                  <a:lnTo>
                    <a:pt x="824" y="530"/>
                  </a:lnTo>
                  <a:lnTo>
                    <a:pt x="827" y="530"/>
                  </a:lnTo>
                  <a:lnTo>
                    <a:pt x="825" y="529"/>
                  </a:lnTo>
                  <a:lnTo>
                    <a:pt x="827" y="528"/>
                  </a:lnTo>
                  <a:lnTo>
                    <a:pt x="829" y="526"/>
                  </a:lnTo>
                  <a:lnTo>
                    <a:pt x="830" y="525"/>
                  </a:lnTo>
                  <a:lnTo>
                    <a:pt x="832" y="526"/>
                  </a:lnTo>
                  <a:lnTo>
                    <a:pt x="833" y="529"/>
                  </a:lnTo>
                  <a:lnTo>
                    <a:pt x="832" y="530"/>
                  </a:lnTo>
                  <a:lnTo>
                    <a:pt x="832" y="531"/>
                  </a:lnTo>
                  <a:lnTo>
                    <a:pt x="836" y="532"/>
                  </a:lnTo>
                  <a:lnTo>
                    <a:pt x="842" y="537"/>
                  </a:lnTo>
                  <a:lnTo>
                    <a:pt x="839" y="537"/>
                  </a:lnTo>
                  <a:lnTo>
                    <a:pt x="838" y="540"/>
                  </a:lnTo>
                  <a:lnTo>
                    <a:pt x="841" y="542"/>
                  </a:lnTo>
                  <a:lnTo>
                    <a:pt x="842" y="542"/>
                  </a:lnTo>
                  <a:lnTo>
                    <a:pt x="842" y="551"/>
                  </a:lnTo>
                  <a:lnTo>
                    <a:pt x="839" y="555"/>
                  </a:lnTo>
                  <a:lnTo>
                    <a:pt x="836" y="554"/>
                  </a:lnTo>
                  <a:lnTo>
                    <a:pt x="836" y="557"/>
                  </a:lnTo>
                  <a:lnTo>
                    <a:pt x="833" y="561"/>
                  </a:lnTo>
                  <a:lnTo>
                    <a:pt x="830" y="564"/>
                  </a:lnTo>
                  <a:lnTo>
                    <a:pt x="825" y="564"/>
                  </a:lnTo>
                  <a:lnTo>
                    <a:pt x="824" y="567"/>
                  </a:lnTo>
                  <a:lnTo>
                    <a:pt x="821" y="567"/>
                  </a:lnTo>
                  <a:lnTo>
                    <a:pt x="819" y="569"/>
                  </a:lnTo>
                  <a:lnTo>
                    <a:pt x="824" y="572"/>
                  </a:lnTo>
                  <a:lnTo>
                    <a:pt x="827" y="575"/>
                  </a:lnTo>
                  <a:lnTo>
                    <a:pt x="833" y="575"/>
                  </a:lnTo>
                  <a:lnTo>
                    <a:pt x="841" y="575"/>
                  </a:lnTo>
                  <a:lnTo>
                    <a:pt x="843" y="577"/>
                  </a:lnTo>
                  <a:lnTo>
                    <a:pt x="847" y="581"/>
                  </a:lnTo>
                  <a:lnTo>
                    <a:pt x="848" y="587"/>
                  </a:lnTo>
                  <a:lnTo>
                    <a:pt x="844" y="584"/>
                  </a:lnTo>
                  <a:lnTo>
                    <a:pt x="841" y="582"/>
                  </a:lnTo>
                  <a:lnTo>
                    <a:pt x="836" y="581"/>
                  </a:lnTo>
                  <a:lnTo>
                    <a:pt x="835" y="579"/>
                  </a:lnTo>
                  <a:lnTo>
                    <a:pt x="835" y="577"/>
                  </a:lnTo>
                  <a:lnTo>
                    <a:pt x="829" y="576"/>
                  </a:lnTo>
                  <a:lnTo>
                    <a:pt x="822" y="573"/>
                  </a:lnTo>
                  <a:lnTo>
                    <a:pt x="821" y="573"/>
                  </a:lnTo>
                  <a:lnTo>
                    <a:pt x="820" y="576"/>
                  </a:lnTo>
                  <a:lnTo>
                    <a:pt x="820" y="578"/>
                  </a:lnTo>
                  <a:lnTo>
                    <a:pt x="819" y="579"/>
                  </a:lnTo>
                  <a:lnTo>
                    <a:pt x="818" y="582"/>
                  </a:lnTo>
                  <a:lnTo>
                    <a:pt x="815" y="585"/>
                  </a:lnTo>
                  <a:lnTo>
                    <a:pt x="813" y="585"/>
                  </a:lnTo>
                  <a:lnTo>
                    <a:pt x="810" y="588"/>
                  </a:lnTo>
                  <a:lnTo>
                    <a:pt x="809" y="589"/>
                  </a:lnTo>
                  <a:lnTo>
                    <a:pt x="810" y="582"/>
                  </a:lnTo>
                  <a:lnTo>
                    <a:pt x="810" y="578"/>
                  </a:lnTo>
                  <a:lnTo>
                    <a:pt x="812" y="573"/>
                  </a:lnTo>
                  <a:lnTo>
                    <a:pt x="816" y="572"/>
                  </a:lnTo>
                  <a:lnTo>
                    <a:pt x="816" y="569"/>
                  </a:lnTo>
                  <a:lnTo>
                    <a:pt x="813" y="569"/>
                  </a:lnTo>
                  <a:lnTo>
                    <a:pt x="812" y="570"/>
                  </a:lnTo>
                  <a:lnTo>
                    <a:pt x="810" y="573"/>
                  </a:lnTo>
                  <a:lnTo>
                    <a:pt x="809" y="576"/>
                  </a:lnTo>
                  <a:lnTo>
                    <a:pt x="807" y="578"/>
                  </a:lnTo>
                  <a:lnTo>
                    <a:pt x="808" y="572"/>
                  </a:lnTo>
                  <a:lnTo>
                    <a:pt x="809" y="569"/>
                  </a:lnTo>
                  <a:lnTo>
                    <a:pt x="808" y="567"/>
                  </a:lnTo>
                  <a:lnTo>
                    <a:pt x="806" y="569"/>
                  </a:lnTo>
                  <a:lnTo>
                    <a:pt x="806" y="571"/>
                  </a:lnTo>
                  <a:lnTo>
                    <a:pt x="803" y="573"/>
                  </a:lnTo>
                  <a:lnTo>
                    <a:pt x="802" y="573"/>
                  </a:lnTo>
                  <a:lnTo>
                    <a:pt x="801" y="570"/>
                  </a:lnTo>
                  <a:lnTo>
                    <a:pt x="800" y="567"/>
                  </a:lnTo>
                  <a:lnTo>
                    <a:pt x="798" y="566"/>
                  </a:lnTo>
                  <a:lnTo>
                    <a:pt x="796" y="565"/>
                  </a:lnTo>
                  <a:lnTo>
                    <a:pt x="795" y="565"/>
                  </a:lnTo>
                  <a:lnTo>
                    <a:pt x="791" y="563"/>
                  </a:lnTo>
                  <a:lnTo>
                    <a:pt x="792" y="560"/>
                  </a:lnTo>
                  <a:lnTo>
                    <a:pt x="789" y="561"/>
                  </a:lnTo>
                  <a:lnTo>
                    <a:pt x="786" y="564"/>
                  </a:lnTo>
                  <a:lnTo>
                    <a:pt x="786" y="560"/>
                  </a:lnTo>
                  <a:lnTo>
                    <a:pt x="788" y="557"/>
                  </a:lnTo>
                  <a:lnTo>
                    <a:pt x="786" y="555"/>
                  </a:lnTo>
                  <a:lnTo>
                    <a:pt x="783" y="555"/>
                  </a:lnTo>
                  <a:lnTo>
                    <a:pt x="780" y="554"/>
                  </a:lnTo>
                  <a:lnTo>
                    <a:pt x="780" y="551"/>
                  </a:lnTo>
                  <a:lnTo>
                    <a:pt x="778" y="551"/>
                  </a:lnTo>
                  <a:lnTo>
                    <a:pt x="776" y="552"/>
                  </a:lnTo>
                  <a:lnTo>
                    <a:pt x="774" y="551"/>
                  </a:lnTo>
                  <a:lnTo>
                    <a:pt x="774" y="549"/>
                  </a:lnTo>
                  <a:lnTo>
                    <a:pt x="779" y="548"/>
                  </a:lnTo>
                  <a:lnTo>
                    <a:pt x="780" y="548"/>
                  </a:lnTo>
                  <a:lnTo>
                    <a:pt x="779" y="547"/>
                  </a:lnTo>
                  <a:lnTo>
                    <a:pt x="776" y="545"/>
                  </a:lnTo>
                  <a:lnTo>
                    <a:pt x="778" y="542"/>
                  </a:lnTo>
                  <a:lnTo>
                    <a:pt x="776" y="543"/>
                  </a:lnTo>
                  <a:lnTo>
                    <a:pt x="773" y="542"/>
                  </a:lnTo>
                  <a:lnTo>
                    <a:pt x="772" y="539"/>
                  </a:lnTo>
                  <a:lnTo>
                    <a:pt x="767" y="539"/>
                  </a:lnTo>
                  <a:lnTo>
                    <a:pt x="768" y="546"/>
                  </a:lnTo>
                  <a:lnTo>
                    <a:pt x="770" y="559"/>
                  </a:lnTo>
                  <a:lnTo>
                    <a:pt x="771" y="560"/>
                  </a:lnTo>
                  <a:lnTo>
                    <a:pt x="771" y="564"/>
                  </a:lnTo>
                  <a:lnTo>
                    <a:pt x="771" y="569"/>
                  </a:lnTo>
                  <a:lnTo>
                    <a:pt x="770" y="566"/>
                  </a:lnTo>
                  <a:lnTo>
                    <a:pt x="768" y="561"/>
                  </a:lnTo>
                  <a:lnTo>
                    <a:pt x="767" y="554"/>
                  </a:lnTo>
                  <a:lnTo>
                    <a:pt x="765" y="557"/>
                  </a:lnTo>
                  <a:lnTo>
                    <a:pt x="761" y="563"/>
                  </a:lnTo>
                  <a:lnTo>
                    <a:pt x="761" y="566"/>
                  </a:lnTo>
                  <a:lnTo>
                    <a:pt x="762" y="569"/>
                  </a:lnTo>
                  <a:lnTo>
                    <a:pt x="762" y="571"/>
                  </a:lnTo>
                  <a:lnTo>
                    <a:pt x="760" y="576"/>
                  </a:lnTo>
                  <a:lnTo>
                    <a:pt x="753" y="581"/>
                  </a:lnTo>
                  <a:lnTo>
                    <a:pt x="751" y="584"/>
                  </a:lnTo>
                  <a:lnTo>
                    <a:pt x="759" y="593"/>
                  </a:lnTo>
                  <a:lnTo>
                    <a:pt x="763" y="595"/>
                  </a:lnTo>
                  <a:lnTo>
                    <a:pt x="763" y="593"/>
                  </a:lnTo>
                  <a:lnTo>
                    <a:pt x="768" y="594"/>
                  </a:lnTo>
                  <a:lnTo>
                    <a:pt x="771" y="596"/>
                  </a:lnTo>
                  <a:lnTo>
                    <a:pt x="770" y="597"/>
                  </a:lnTo>
                  <a:lnTo>
                    <a:pt x="771" y="599"/>
                  </a:lnTo>
                  <a:lnTo>
                    <a:pt x="773" y="597"/>
                  </a:lnTo>
                  <a:lnTo>
                    <a:pt x="776" y="597"/>
                  </a:lnTo>
                  <a:lnTo>
                    <a:pt x="777" y="595"/>
                  </a:lnTo>
                  <a:lnTo>
                    <a:pt x="778" y="590"/>
                  </a:lnTo>
                  <a:lnTo>
                    <a:pt x="780" y="588"/>
                  </a:lnTo>
                  <a:lnTo>
                    <a:pt x="783" y="589"/>
                  </a:lnTo>
                  <a:lnTo>
                    <a:pt x="785" y="591"/>
                  </a:lnTo>
                  <a:lnTo>
                    <a:pt x="780" y="599"/>
                  </a:lnTo>
                  <a:lnTo>
                    <a:pt x="782" y="602"/>
                  </a:lnTo>
                  <a:lnTo>
                    <a:pt x="784" y="599"/>
                  </a:lnTo>
                  <a:lnTo>
                    <a:pt x="785" y="599"/>
                  </a:lnTo>
                  <a:lnTo>
                    <a:pt x="786" y="602"/>
                  </a:lnTo>
                  <a:lnTo>
                    <a:pt x="788" y="600"/>
                  </a:lnTo>
                  <a:lnTo>
                    <a:pt x="791" y="600"/>
                  </a:lnTo>
                  <a:lnTo>
                    <a:pt x="790" y="603"/>
                  </a:lnTo>
                  <a:lnTo>
                    <a:pt x="784" y="605"/>
                  </a:lnTo>
                  <a:lnTo>
                    <a:pt x="783" y="607"/>
                  </a:lnTo>
                  <a:lnTo>
                    <a:pt x="786" y="609"/>
                  </a:lnTo>
                  <a:lnTo>
                    <a:pt x="789" y="611"/>
                  </a:lnTo>
                  <a:lnTo>
                    <a:pt x="790" y="615"/>
                  </a:lnTo>
                  <a:lnTo>
                    <a:pt x="788" y="619"/>
                  </a:lnTo>
                  <a:lnTo>
                    <a:pt x="786" y="617"/>
                  </a:lnTo>
                  <a:lnTo>
                    <a:pt x="786" y="620"/>
                  </a:lnTo>
                  <a:lnTo>
                    <a:pt x="784" y="625"/>
                  </a:lnTo>
                  <a:lnTo>
                    <a:pt x="782" y="623"/>
                  </a:lnTo>
                  <a:lnTo>
                    <a:pt x="779" y="621"/>
                  </a:lnTo>
                  <a:lnTo>
                    <a:pt x="778" y="620"/>
                  </a:lnTo>
                  <a:lnTo>
                    <a:pt x="780" y="614"/>
                  </a:lnTo>
                  <a:lnTo>
                    <a:pt x="780" y="609"/>
                  </a:lnTo>
                  <a:lnTo>
                    <a:pt x="779" y="611"/>
                  </a:lnTo>
                  <a:lnTo>
                    <a:pt x="776" y="613"/>
                  </a:lnTo>
                  <a:lnTo>
                    <a:pt x="774" y="612"/>
                  </a:lnTo>
                  <a:lnTo>
                    <a:pt x="774" y="606"/>
                  </a:lnTo>
                  <a:lnTo>
                    <a:pt x="772" y="607"/>
                  </a:lnTo>
                  <a:lnTo>
                    <a:pt x="768" y="606"/>
                  </a:lnTo>
                  <a:lnTo>
                    <a:pt x="768" y="601"/>
                  </a:lnTo>
                  <a:lnTo>
                    <a:pt x="767" y="599"/>
                  </a:lnTo>
                  <a:lnTo>
                    <a:pt x="767" y="601"/>
                  </a:lnTo>
                  <a:lnTo>
                    <a:pt x="767" y="603"/>
                  </a:lnTo>
                  <a:lnTo>
                    <a:pt x="760" y="602"/>
                  </a:lnTo>
                  <a:lnTo>
                    <a:pt x="761" y="600"/>
                  </a:lnTo>
                  <a:lnTo>
                    <a:pt x="763" y="599"/>
                  </a:lnTo>
                  <a:lnTo>
                    <a:pt x="763" y="597"/>
                  </a:lnTo>
                  <a:lnTo>
                    <a:pt x="762" y="596"/>
                  </a:lnTo>
                  <a:lnTo>
                    <a:pt x="757" y="593"/>
                  </a:lnTo>
                  <a:lnTo>
                    <a:pt x="751" y="588"/>
                  </a:lnTo>
                  <a:lnTo>
                    <a:pt x="751" y="591"/>
                  </a:lnTo>
                  <a:lnTo>
                    <a:pt x="753" y="595"/>
                  </a:lnTo>
                  <a:lnTo>
                    <a:pt x="754" y="600"/>
                  </a:lnTo>
                  <a:lnTo>
                    <a:pt x="756" y="603"/>
                  </a:lnTo>
                  <a:lnTo>
                    <a:pt x="756" y="605"/>
                  </a:lnTo>
                  <a:lnTo>
                    <a:pt x="754" y="612"/>
                  </a:lnTo>
                  <a:lnTo>
                    <a:pt x="751" y="615"/>
                  </a:lnTo>
                  <a:lnTo>
                    <a:pt x="750" y="620"/>
                  </a:lnTo>
                  <a:lnTo>
                    <a:pt x="748" y="624"/>
                  </a:lnTo>
                  <a:lnTo>
                    <a:pt x="749" y="626"/>
                  </a:lnTo>
                  <a:lnTo>
                    <a:pt x="750" y="629"/>
                  </a:lnTo>
                  <a:lnTo>
                    <a:pt x="753" y="630"/>
                  </a:lnTo>
                  <a:lnTo>
                    <a:pt x="755" y="626"/>
                  </a:lnTo>
                  <a:lnTo>
                    <a:pt x="757" y="624"/>
                  </a:lnTo>
                  <a:lnTo>
                    <a:pt x="760" y="624"/>
                  </a:lnTo>
                  <a:lnTo>
                    <a:pt x="761" y="625"/>
                  </a:lnTo>
                  <a:lnTo>
                    <a:pt x="761" y="630"/>
                  </a:lnTo>
                  <a:lnTo>
                    <a:pt x="765" y="629"/>
                  </a:lnTo>
                  <a:lnTo>
                    <a:pt x="766" y="629"/>
                  </a:lnTo>
                  <a:lnTo>
                    <a:pt x="770" y="631"/>
                  </a:lnTo>
                  <a:lnTo>
                    <a:pt x="772" y="633"/>
                  </a:lnTo>
                  <a:lnTo>
                    <a:pt x="774" y="632"/>
                  </a:lnTo>
                  <a:lnTo>
                    <a:pt x="776" y="630"/>
                  </a:lnTo>
                  <a:lnTo>
                    <a:pt x="780" y="627"/>
                  </a:lnTo>
                  <a:lnTo>
                    <a:pt x="784" y="630"/>
                  </a:lnTo>
                  <a:lnTo>
                    <a:pt x="778" y="630"/>
                  </a:lnTo>
                  <a:lnTo>
                    <a:pt x="777" y="633"/>
                  </a:lnTo>
                  <a:lnTo>
                    <a:pt x="776" y="636"/>
                  </a:lnTo>
                  <a:lnTo>
                    <a:pt x="778" y="637"/>
                  </a:lnTo>
                  <a:lnTo>
                    <a:pt x="783" y="637"/>
                  </a:lnTo>
                  <a:lnTo>
                    <a:pt x="786" y="636"/>
                  </a:lnTo>
                  <a:lnTo>
                    <a:pt x="789" y="635"/>
                  </a:lnTo>
                  <a:lnTo>
                    <a:pt x="791" y="635"/>
                  </a:lnTo>
                  <a:lnTo>
                    <a:pt x="795" y="633"/>
                  </a:lnTo>
                  <a:lnTo>
                    <a:pt x="795" y="631"/>
                  </a:lnTo>
                  <a:lnTo>
                    <a:pt x="796" y="635"/>
                  </a:lnTo>
                  <a:lnTo>
                    <a:pt x="797" y="638"/>
                  </a:lnTo>
                  <a:lnTo>
                    <a:pt x="794" y="644"/>
                  </a:lnTo>
                  <a:lnTo>
                    <a:pt x="795" y="647"/>
                  </a:lnTo>
                  <a:lnTo>
                    <a:pt x="796" y="647"/>
                  </a:lnTo>
                  <a:lnTo>
                    <a:pt x="797" y="649"/>
                  </a:lnTo>
                  <a:lnTo>
                    <a:pt x="795" y="658"/>
                  </a:lnTo>
                  <a:lnTo>
                    <a:pt x="792" y="664"/>
                  </a:lnTo>
                  <a:lnTo>
                    <a:pt x="790" y="665"/>
                  </a:lnTo>
                  <a:lnTo>
                    <a:pt x="789" y="670"/>
                  </a:lnTo>
                  <a:lnTo>
                    <a:pt x="788" y="672"/>
                  </a:lnTo>
                  <a:lnTo>
                    <a:pt x="791" y="673"/>
                  </a:lnTo>
                  <a:lnTo>
                    <a:pt x="791" y="682"/>
                  </a:lnTo>
                  <a:lnTo>
                    <a:pt x="790" y="684"/>
                  </a:lnTo>
                  <a:lnTo>
                    <a:pt x="788" y="683"/>
                  </a:lnTo>
                  <a:lnTo>
                    <a:pt x="785" y="684"/>
                  </a:lnTo>
                  <a:lnTo>
                    <a:pt x="785" y="685"/>
                  </a:lnTo>
                  <a:lnTo>
                    <a:pt x="786" y="689"/>
                  </a:lnTo>
                  <a:lnTo>
                    <a:pt x="785" y="691"/>
                  </a:lnTo>
                  <a:lnTo>
                    <a:pt x="784" y="690"/>
                  </a:lnTo>
                  <a:lnTo>
                    <a:pt x="784" y="689"/>
                  </a:lnTo>
                  <a:lnTo>
                    <a:pt x="784" y="692"/>
                  </a:lnTo>
                  <a:lnTo>
                    <a:pt x="786" y="694"/>
                  </a:lnTo>
                  <a:lnTo>
                    <a:pt x="788" y="695"/>
                  </a:lnTo>
                  <a:lnTo>
                    <a:pt x="788" y="690"/>
                  </a:lnTo>
                  <a:lnTo>
                    <a:pt x="788" y="688"/>
                  </a:lnTo>
                  <a:lnTo>
                    <a:pt x="791" y="688"/>
                  </a:lnTo>
                  <a:lnTo>
                    <a:pt x="792" y="691"/>
                  </a:lnTo>
                  <a:lnTo>
                    <a:pt x="794" y="694"/>
                  </a:lnTo>
                  <a:lnTo>
                    <a:pt x="792" y="696"/>
                  </a:lnTo>
                  <a:lnTo>
                    <a:pt x="792" y="698"/>
                  </a:lnTo>
                  <a:lnTo>
                    <a:pt x="795" y="700"/>
                  </a:lnTo>
                  <a:lnTo>
                    <a:pt x="796" y="702"/>
                  </a:lnTo>
                  <a:lnTo>
                    <a:pt x="798" y="703"/>
                  </a:lnTo>
                  <a:lnTo>
                    <a:pt x="798" y="704"/>
                  </a:lnTo>
                  <a:lnTo>
                    <a:pt x="798" y="706"/>
                  </a:lnTo>
                  <a:lnTo>
                    <a:pt x="798" y="708"/>
                  </a:lnTo>
                  <a:lnTo>
                    <a:pt x="800" y="709"/>
                  </a:lnTo>
                  <a:lnTo>
                    <a:pt x="802" y="710"/>
                  </a:lnTo>
                  <a:lnTo>
                    <a:pt x="803" y="710"/>
                  </a:lnTo>
                  <a:lnTo>
                    <a:pt x="806" y="710"/>
                  </a:lnTo>
                  <a:lnTo>
                    <a:pt x="807" y="712"/>
                  </a:lnTo>
                  <a:lnTo>
                    <a:pt x="812" y="716"/>
                  </a:lnTo>
                  <a:lnTo>
                    <a:pt x="807" y="716"/>
                  </a:lnTo>
                  <a:lnTo>
                    <a:pt x="804" y="716"/>
                  </a:lnTo>
                  <a:lnTo>
                    <a:pt x="803" y="716"/>
                  </a:lnTo>
                  <a:lnTo>
                    <a:pt x="808" y="720"/>
                  </a:lnTo>
                  <a:lnTo>
                    <a:pt x="810" y="721"/>
                  </a:lnTo>
                  <a:lnTo>
                    <a:pt x="812" y="722"/>
                  </a:lnTo>
                  <a:lnTo>
                    <a:pt x="810" y="728"/>
                  </a:lnTo>
                  <a:lnTo>
                    <a:pt x="806" y="725"/>
                  </a:lnTo>
                  <a:lnTo>
                    <a:pt x="803" y="721"/>
                  </a:lnTo>
                  <a:lnTo>
                    <a:pt x="802" y="722"/>
                  </a:lnTo>
                  <a:lnTo>
                    <a:pt x="800" y="722"/>
                  </a:lnTo>
                  <a:lnTo>
                    <a:pt x="798" y="725"/>
                  </a:lnTo>
                  <a:lnTo>
                    <a:pt x="795" y="730"/>
                  </a:lnTo>
                  <a:lnTo>
                    <a:pt x="790" y="731"/>
                  </a:lnTo>
                  <a:lnTo>
                    <a:pt x="788" y="733"/>
                  </a:lnTo>
                  <a:lnTo>
                    <a:pt x="789" y="727"/>
                  </a:lnTo>
                  <a:lnTo>
                    <a:pt x="788" y="726"/>
                  </a:lnTo>
                  <a:lnTo>
                    <a:pt x="790" y="721"/>
                  </a:lnTo>
                  <a:lnTo>
                    <a:pt x="791" y="720"/>
                  </a:lnTo>
                  <a:lnTo>
                    <a:pt x="791" y="718"/>
                  </a:lnTo>
                  <a:lnTo>
                    <a:pt x="790" y="715"/>
                  </a:lnTo>
                  <a:lnTo>
                    <a:pt x="789" y="719"/>
                  </a:lnTo>
                  <a:lnTo>
                    <a:pt x="786" y="719"/>
                  </a:lnTo>
                  <a:lnTo>
                    <a:pt x="784" y="713"/>
                  </a:lnTo>
                  <a:lnTo>
                    <a:pt x="782" y="710"/>
                  </a:lnTo>
                  <a:lnTo>
                    <a:pt x="783" y="713"/>
                  </a:lnTo>
                  <a:lnTo>
                    <a:pt x="783" y="716"/>
                  </a:lnTo>
                  <a:lnTo>
                    <a:pt x="779" y="718"/>
                  </a:lnTo>
                  <a:lnTo>
                    <a:pt x="779" y="722"/>
                  </a:lnTo>
                  <a:lnTo>
                    <a:pt x="779" y="725"/>
                  </a:lnTo>
                  <a:lnTo>
                    <a:pt x="777" y="722"/>
                  </a:lnTo>
                  <a:lnTo>
                    <a:pt x="778" y="725"/>
                  </a:lnTo>
                  <a:lnTo>
                    <a:pt x="780" y="728"/>
                  </a:lnTo>
                  <a:lnTo>
                    <a:pt x="777" y="726"/>
                  </a:lnTo>
                  <a:lnTo>
                    <a:pt x="776" y="728"/>
                  </a:lnTo>
                  <a:lnTo>
                    <a:pt x="774" y="730"/>
                  </a:lnTo>
                  <a:lnTo>
                    <a:pt x="772" y="733"/>
                  </a:lnTo>
                  <a:lnTo>
                    <a:pt x="770" y="737"/>
                  </a:lnTo>
                  <a:lnTo>
                    <a:pt x="766" y="740"/>
                  </a:lnTo>
                  <a:lnTo>
                    <a:pt x="765" y="737"/>
                  </a:lnTo>
                  <a:lnTo>
                    <a:pt x="765" y="733"/>
                  </a:lnTo>
                  <a:lnTo>
                    <a:pt x="763" y="738"/>
                  </a:lnTo>
                  <a:lnTo>
                    <a:pt x="762" y="740"/>
                  </a:lnTo>
                  <a:lnTo>
                    <a:pt x="760" y="736"/>
                  </a:lnTo>
                  <a:lnTo>
                    <a:pt x="759" y="736"/>
                  </a:lnTo>
                  <a:lnTo>
                    <a:pt x="760" y="740"/>
                  </a:lnTo>
                  <a:lnTo>
                    <a:pt x="760" y="744"/>
                  </a:lnTo>
                  <a:lnTo>
                    <a:pt x="757" y="742"/>
                  </a:lnTo>
                  <a:lnTo>
                    <a:pt x="754" y="744"/>
                  </a:lnTo>
                  <a:lnTo>
                    <a:pt x="754" y="746"/>
                  </a:lnTo>
                  <a:lnTo>
                    <a:pt x="751" y="745"/>
                  </a:lnTo>
                  <a:lnTo>
                    <a:pt x="750" y="746"/>
                  </a:lnTo>
                  <a:lnTo>
                    <a:pt x="748" y="748"/>
                  </a:lnTo>
                  <a:lnTo>
                    <a:pt x="747" y="746"/>
                  </a:lnTo>
                  <a:lnTo>
                    <a:pt x="745" y="748"/>
                  </a:lnTo>
                  <a:lnTo>
                    <a:pt x="744" y="748"/>
                  </a:lnTo>
                  <a:lnTo>
                    <a:pt x="743" y="744"/>
                  </a:lnTo>
                  <a:lnTo>
                    <a:pt x="743" y="740"/>
                  </a:lnTo>
                  <a:lnTo>
                    <a:pt x="743" y="737"/>
                  </a:lnTo>
                  <a:lnTo>
                    <a:pt x="739" y="736"/>
                  </a:lnTo>
                  <a:lnTo>
                    <a:pt x="739" y="739"/>
                  </a:lnTo>
                  <a:lnTo>
                    <a:pt x="738" y="743"/>
                  </a:lnTo>
                  <a:lnTo>
                    <a:pt x="738" y="748"/>
                  </a:lnTo>
                  <a:lnTo>
                    <a:pt x="742" y="753"/>
                  </a:lnTo>
                  <a:lnTo>
                    <a:pt x="743" y="757"/>
                  </a:lnTo>
                  <a:lnTo>
                    <a:pt x="745" y="760"/>
                  </a:lnTo>
                  <a:lnTo>
                    <a:pt x="742" y="761"/>
                  </a:lnTo>
                  <a:lnTo>
                    <a:pt x="739" y="757"/>
                  </a:lnTo>
                  <a:lnTo>
                    <a:pt x="736" y="757"/>
                  </a:lnTo>
                  <a:lnTo>
                    <a:pt x="735" y="757"/>
                  </a:lnTo>
                  <a:lnTo>
                    <a:pt x="735" y="759"/>
                  </a:lnTo>
                  <a:lnTo>
                    <a:pt x="736" y="763"/>
                  </a:lnTo>
                  <a:lnTo>
                    <a:pt x="733" y="767"/>
                  </a:lnTo>
                  <a:lnTo>
                    <a:pt x="733" y="769"/>
                  </a:lnTo>
                  <a:lnTo>
                    <a:pt x="732" y="768"/>
                  </a:lnTo>
                  <a:lnTo>
                    <a:pt x="729" y="771"/>
                  </a:lnTo>
                  <a:lnTo>
                    <a:pt x="726" y="774"/>
                  </a:lnTo>
                  <a:lnTo>
                    <a:pt x="726" y="779"/>
                  </a:lnTo>
                  <a:lnTo>
                    <a:pt x="729" y="786"/>
                  </a:lnTo>
                  <a:lnTo>
                    <a:pt x="731" y="792"/>
                  </a:lnTo>
                  <a:lnTo>
                    <a:pt x="730" y="795"/>
                  </a:lnTo>
                  <a:lnTo>
                    <a:pt x="729" y="797"/>
                  </a:lnTo>
                  <a:lnTo>
                    <a:pt x="726" y="801"/>
                  </a:lnTo>
                  <a:lnTo>
                    <a:pt x="723" y="805"/>
                  </a:lnTo>
                  <a:lnTo>
                    <a:pt x="719" y="810"/>
                  </a:lnTo>
                  <a:lnTo>
                    <a:pt x="718" y="814"/>
                  </a:lnTo>
                  <a:lnTo>
                    <a:pt x="717" y="809"/>
                  </a:lnTo>
                  <a:lnTo>
                    <a:pt x="715" y="804"/>
                  </a:lnTo>
                  <a:lnTo>
                    <a:pt x="714" y="802"/>
                  </a:lnTo>
                  <a:lnTo>
                    <a:pt x="714" y="799"/>
                  </a:lnTo>
                  <a:lnTo>
                    <a:pt x="712" y="801"/>
                  </a:lnTo>
                  <a:lnTo>
                    <a:pt x="708" y="802"/>
                  </a:lnTo>
                  <a:lnTo>
                    <a:pt x="708" y="798"/>
                  </a:lnTo>
                  <a:lnTo>
                    <a:pt x="706" y="798"/>
                  </a:lnTo>
                  <a:lnTo>
                    <a:pt x="703" y="802"/>
                  </a:lnTo>
                  <a:lnTo>
                    <a:pt x="703" y="807"/>
                  </a:lnTo>
                  <a:lnTo>
                    <a:pt x="702" y="801"/>
                  </a:lnTo>
                  <a:lnTo>
                    <a:pt x="701" y="797"/>
                  </a:lnTo>
                  <a:lnTo>
                    <a:pt x="702" y="792"/>
                  </a:lnTo>
                  <a:lnTo>
                    <a:pt x="704" y="791"/>
                  </a:lnTo>
                  <a:lnTo>
                    <a:pt x="707" y="793"/>
                  </a:lnTo>
                  <a:lnTo>
                    <a:pt x="709" y="792"/>
                  </a:lnTo>
                  <a:lnTo>
                    <a:pt x="712" y="786"/>
                  </a:lnTo>
                  <a:lnTo>
                    <a:pt x="712" y="780"/>
                  </a:lnTo>
                  <a:lnTo>
                    <a:pt x="712" y="777"/>
                  </a:lnTo>
                  <a:lnTo>
                    <a:pt x="709" y="775"/>
                  </a:lnTo>
                  <a:lnTo>
                    <a:pt x="706" y="774"/>
                  </a:lnTo>
                  <a:lnTo>
                    <a:pt x="702" y="778"/>
                  </a:lnTo>
                  <a:lnTo>
                    <a:pt x="702" y="774"/>
                  </a:lnTo>
                  <a:lnTo>
                    <a:pt x="704" y="772"/>
                  </a:lnTo>
                  <a:lnTo>
                    <a:pt x="700" y="774"/>
                  </a:lnTo>
                  <a:lnTo>
                    <a:pt x="697" y="775"/>
                  </a:lnTo>
                  <a:lnTo>
                    <a:pt x="697" y="778"/>
                  </a:lnTo>
                  <a:lnTo>
                    <a:pt x="694" y="785"/>
                  </a:lnTo>
                  <a:lnTo>
                    <a:pt x="691" y="786"/>
                  </a:lnTo>
                  <a:lnTo>
                    <a:pt x="686" y="786"/>
                  </a:lnTo>
                  <a:lnTo>
                    <a:pt x="686" y="784"/>
                  </a:lnTo>
                  <a:lnTo>
                    <a:pt x="686" y="783"/>
                  </a:lnTo>
                  <a:lnTo>
                    <a:pt x="683" y="785"/>
                  </a:lnTo>
                  <a:lnTo>
                    <a:pt x="682" y="789"/>
                  </a:lnTo>
                  <a:lnTo>
                    <a:pt x="680" y="791"/>
                  </a:lnTo>
                  <a:lnTo>
                    <a:pt x="680" y="795"/>
                  </a:lnTo>
                  <a:lnTo>
                    <a:pt x="679" y="798"/>
                  </a:lnTo>
                  <a:lnTo>
                    <a:pt x="677" y="802"/>
                  </a:lnTo>
                  <a:lnTo>
                    <a:pt x="674" y="804"/>
                  </a:lnTo>
                  <a:lnTo>
                    <a:pt x="673" y="807"/>
                  </a:lnTo>
                  <a:lnTo>
                    <a:pt x="672" y="810"/>
                  </a:lnTo>
                  <a:lnTo>
                    <a:pt x="671" y="810"/>
                  </a:lnTo>
                  <a:lnTo>
                    <a:pt x="670" y="813"/>
                  </a:lnTo>
                  <a:lnTo>
                    <a:pt x="667" y="816"/>
                  </a:lnTo>
                  <a:lnTo>
                    <a:pt x="666" y="820"/>
                  </a:lnTo>
                  <a:lnTo>
                    <a:pt x="666" y="814"/>
                  </a:lnTo>
                  <a:lnTo>
                    <a:pt x="664" y="816"/>
                  </a:lnTo>
                  <a:lnTo>
                    <a:pt x="660" y="816"/>
                  </a:lnTo>
                  <a:lnTo>
                    <a:pt x="658" y="817"/>
                  </a:lnTo>
                  <a:lnTo>
                    <a:pt x="658" y="814"/>
                  </a:lnTo>
                  <a:lnTo>
                    <a:pt x="660" y="810"/>
                  </a:lnTo>
                  <a:lnTo>
                    <a:pt x="659" y="807"/>
                  </a:lnTo>
                  <a:lnTo>
                    <a:pt x="658" y="805"/>
                  </a:lnTo>
                  <a:lnTo>
                    <a:pt x="661" y="804"/>
                  </a:lnTo>
                  <a:lnTo>
                    <a:pt x="659" y="803"/>
                  </a:lnTo>
                  <a:lnTo>
                    <a:pt x="661" y="802"/>
                  </a:lnTo>
                  <a:lnTo>
                    <a:pt x="662" y="799"/>
                  </a:lnTo>
                  <a:lnTo>
                    <a:pt x="660" y="799"/>
                  </a:lnTo>
                  <a:lnTo>
                    <a:pt x="661" y="796"/>
                  </a:lnTo>
                  <a:lnTo>
                    <a:pt x="664" y="792"/>
                  </a:lnTo>
                  <a:lnTo>
                    <a:pt x="661" y="787"/>
                  </a:lnTo>
                  <a:lnTo>
                    <a:pt x="660" y="775"/>
                  </a:lnTo>
                  <a:lnTo>
                    <a:pt x="662" y="757"/>
                  </a:lnTo>
                  <a:lnTo>
                    <a:pt x="661" y="740"/>
                  </a:lnTo>
                  <a:lnTo>
                    <a:pt x="658" y="746"/>
                  </a:lnTo>
                  <a:lnTo>
                    <a:pt x="654" y="756"/>
                  </a:lnTo>
                  <a:lnTo>
                    <a:pt x="656" y="759"/>
                  </a:lnTo>
                  <a:lnTo>
                    <a:pt x="653" y="756"/>
                  </a:lnTo>
                  <a:lnTo>
                    <a:pt x="643" y="759"/>
                  </a:lnTo>
                  <a:lnTo>
                    <a:pt x="653" y="756"/>
                  </a:lnTo>
                  <a:lnTo>
                    <a:pt x="659" y="742"/>
                  </a:lnTo>
                  <a:lnTo>
                    <a:pt x="654" y="743"/>
                  </a:lnTo>
                  <a:lnTo>
                    <a:pt x="649" y="743"/>
                  </a:lnTo>
                  <a:lnTo>
                    <a:pt x="645" y="740"/>
                  </a:lnTo>
                  <a:lnTo>
                    <a:pt x="643" y="743"/>
                  </a:lnTo>
                  <a:lnTo>
                    <a:pt x="639" y="744"/>
                  </a:lnTo>
                  <a:lnTo>
                    <a:pt x="636" y="743"/>
                  </a:lnTo>
                  <a:lnTo>
                    <a:pt x="633" y="739"/>
                  </a:lnTo>
                  <a:lnTo>
                    <a:pt x="635" y="738"/>
                  </a:lnTo>
                  <a:lnTo>
                    <a:pt x="637" y="734"/>
                  </a:lnTo>
                  <a:lnTo>
                    <a:pt x="635" y="733"/>
                  </a:lnTo>
                  <a:lnTo>
                    <a:pt x="632" y="736"/>
                  </a:lnTo>
                  <a:lnTo>
                    <a:pt x="630" y="737"/>
                  </a:lnTo>
                  <a:lnTo>
                    <a:pt x="627" y="737"/>
                  </a:lnTo>
                  <a:lnTo>
                    <a:pt x="625" y="736"/>
                  </a:lnTo>
                  <a:lnTo>
                    <a:pt x="620" y="738"/>
                  </a:lnTo>
                  <a:lnTo>
                    <a:pt x="621" y="744"/>
                  </a:lnTo>
                  <a:lnTo>
                    <a:pt x="621" y="749"/>
                  </a:lnTo>
                  <a:lnTo>
                    <a:pt x="624" y="751"/>
                  </a:lnTo>
                  <a:lnTo>
                    <a:pt x="625" y="753"/>
                  </a:lnTo>
                  <a:lnTo>
                    <a:pt x="623" y="754"/>
                  </a:lnTo>
                  <a:lnTo>
                    <a:pt x="623" y="757"/>
                  </a:lnTo>
                  <a:lnTo>
                    <a:pt x="624" y="763"/>
                  </a:lnTo>
                  <a:lnTo>
                    <a:pt x="626" y="769"/>
                  </a:lnTo>
                  <a:lnTo>
                    <a:pt x="623" y="761"/>
                  </a:lnTo>
                  <a:lnTo>
                    <a:pt x="620" y="762"/>
                  </a:lnTo>
                  <a:lnTo>
                    <a:pt x="618" y="766"/>
                  </a:lnTo>
                  <a:lnTo>
                    <a:pt x="619" y="773"/>
                  </a:lnTo>
                  <a:lnTo>
                    <a:pt x="614" y="780"/>
                  </a:lnTo>
                  <a:lnTo>
                    <a:pt x="611" y="785"/>
                  </a:lnTo>
                  <a:lnTo>
                    <a:pt x="615" y="775"/>
                  </a:lnTo>
                  <a:lnTo>
                    <a:pt x="617" y="771"/>
                  </a:lnTo>
                  <a:lnTo>
                    <a:pt x="614" y="767"/>
                  </a:lnTo>
                  <a:lnTo>
                    <a:pt x="612" y="768"/>
                  </a:lnTo>
                  <a:lnTo>
                    <a:pt x="612" y="772"/>
                  </a:lnTo>
                  <a:lnTo>
                    <a:pt x="612" y="774"/>
                  </a:lnTo>
                  <a:lnTo>
                    <a:pt x="612" y="777"/>
                  </a:lnTo>
                  <a:lnTo>
                    <a:pt x="609" y="778"/>
                  </a:lnTo>
                  <a:lnTo>
                    <a:pt x="608" y="775"/>
                  </a:lnTo>
                  <a:lnTo>
                    <a:pt x="608" y="774"/>
                  </a:lnTo>
                  <a:lnTo>
                    <a:pt x="607" y="774"/>
                  </a:lnTo>
                  <a:lnTo>
                    <a:pt x="606" y="777"/>
                  </a:lnTo>
                  <a:lnTo>
                    <a:pt x="607" y="785"/>
                  </a:lnTo>
                  <a:lnTo>
                    <a:pt x="608" y="786"/>
                  </a:lnTo>
                  <a:lnTo>
                    <a:pt x="605" y="793"/>
                  </a:lnTo>
                  <a:lnTo>
                    <a:pt x="601" y="796"/>
                  </a:lnTo>
                  <a:lnTo>
                    <a:pt x="605" y="789"/>
                  </a:lnTo>
                  <a:lnTo>
                    <a:pt x="606" y="784"/>
                  </a:lnTo>
                  <a:lnTo>
                    <a:pt x="605" y="774"/>
                  </a:lnTo>
                  <a:lnTo>
                    <a:pt x="603" y="778"/>
                  </a:lnTo>
                  <a:lnTo>
                    <a:pt x="602" y="783"/>
                  </a:lnTo>
                  <a:lnTo>
                    <a:pt x="601" y="789"/>
                  </a:lnTo>
                  <a:lnTo>
                    <a:pt x="599" y="791"/>
                  </a:lnTo>
                  <a:lnTo>
                    <a:pt x="596" y="791"/>
                  </a:lnTo>
                  <a:lnTo>
                    <a:pt x="594" y="795"/>
                  </a:lnTo>
                  <a:lnTo>
                    <a:pt x="593" y="795"/>
                  </a:lnTo>
                  <a:lnTo>
                    <a:pt x="591" y="792"/>
                  </a:lnTo>
                  <a:lnTo>
                    <a:pt x="591" y="790"/>
                  </a:lnTo>
                  <a:lnTo>
                    <a:pt x="590" y="791"/>
                  </a:lnTo>
                  <a:lnTo>
                    <a:pt x="587" y="795"/>
                  </a:lnTo>
                  <a:lnTo>
                    <a:pt x="583" y="798"/>
                  </a:lnTo>
                  <a:lnTo>
                    <a:pt x="579" y="796"/>
                  </a:lnTo>
                  <a:lnTo>
                    <a:pt x="578" y="790"/>
                  </a:lnTo>
                  <a:lnTo>
                    <a:pt x="578" y="785"/>
                  </a:lnTo>
                  <a:lnTo>
                    <a:pt x="580" y="784"/>
                  </a:lnTo>
                  <a:lnTo>
                    <a:pt x="584" y="784"/>
                  </a:lnTo>
                  <a:lnTo>
                    <a:pt x="584" y="779"/>
                  </a:lnTo>
                  <a:lnTo>
                    <a:pt x="583" y="778"/>
                  </a:lnTo>
                  <a:lnTo>
                    <a:pt x="583" y="775"/>
                  </a:lnTo>
                  <a:lnTo>
                    <a:pt x="587" y="771"/>
                  </a:lnTo>
                  <a:lnTo>
                    <a:pt x="583" y="772"/>
                  </a:lnTo>
                  <a:lnTo>
                    <a:pt x="580" y="775"/>
                  </a:lnTo>
                  <a:lnTo>
                    <a:pt x="578" y="783"/>
                  </a:lnTo>
                  <a:lnTo>
                    <a:pt x="577" y="786"/>
                  </a:lnTo>
                  <a:lnTo>
                    <a:pt x="576" y="792"/>
                  </a:lnTo>
                  <a:lnTo>
                    <a:pt x="574" y="791"/>
                  </a:lnTo>
                  <a:lnTo>
                    <a:pt x="571" y="795"/>
                  </a:lnTo>
                  <a:lnTo>
                    <a:pt x="570" y="795"/>
                  </a:lnTo>
                  <a:lnTo>
                    <a:pt x="570" y="789"/>
                  </a:lnTo>
                  <a:lnTo>
                    <a:pt x="568" y="791"/>
                  </a:lnTo>
                  <a:lnTo>
                    <a:pt x="567" y="785"/>
                  </a:lnTo>
                  <a:lnTo>
                    <a:pt x="565" y="780"/>
                  </a:lnTo>
                  <a:lnTo>
                    <a:pt x="561" y="781"/>
                  </a:lnTo>
                  <a:lnTo>
                    <a:pt x="559" y="783"/>
                  </a:lnTo>
                  <a:lnTo>
                    <a:pt x="555" y="787"/>
                  </a:lnTo>
                  <a:lnTo>
                    <a:pt x="550" y="789"/>
                  </a:lnTo>
                  <a:lnTo>
                    <a:pt x="552" y="784"/>
                  </a:lnTo>
                  <a:lnTo>
                    <a:pt x="553" y="779"/>
                  </a:lnTo>
                  <a:lnTo>
                    <a:pt x="549" y="779"/>
                  </a:lnTo>
                  <a:lnTo>
                    <a:pt x="549" y="781"/>
                  </a:lnTo>
                  <a:lnTo>
                    <a:pt x="546" y="787"/>
                  </a:lnTo>
                  <a:lnTo>
                    <a:pt x="542" y="791"/>
                  </a:lnTo>
                  <a:lnTo>
                    <a:pt x="540" y="792"/>
                  </a:lnTo>
                  <a:lnTo>
                    <a:pt x="541" y="786"/>
                  </a:lnTo>
                  <a:lnTo>
                    <a:pt x="543" y="781"/>
                  </a:lnTo>
                  <a:lnTo>
                    <a:pt x="544" y="777"/>
                  </a:lnTo>
                  <a:lnTo>
                    <a:pt x="548" y="773"/>
                  </a:lnTo>
                  <a:lnTo>
                    <a:pt x="547" y="772"/>
                  </a:lnTo>
                  <a:lnTo>
                    <a:pt x="544" y="774"/>
                  </a:lnTo>
                  <a:lnTo>
                    <a:pt x="544" y="771"/>
                  </a:lnTo>
                  <a:lnTo>
                    <a:pt x="540" y="771"/>
                  </a:lnTo>
                  <a:lnTo>
                    <a:pt x="540" y="766"/>
                  </a:lnTo>
                  <a:lnTo>
                    <a:pt x="537" y="768"/>
                  </a:lnTo>
                  <a:lnTo>
                    <a:pt x="534" y="768"/>
                  </a:lnTo>
                  <a:lnTo>
                    <a:pt x="535" y="763"/>
                  </a:lnTo>
                  <a:lnTo>
                    <a:pt x="532" y="766"/>
                  </a:lnTo>
                  <a:lnTo>
                    <a:pt x="529" y="768"/>
                  </a:lnTo>
                  <a:lnTo>
                    <a:pt x="530" y="763"/>
                  </a:lnTo>
                  <a:lnTo>
                    <a:pt x="529" y="763"/>
                  </a:lnTo>
                  <a:lnTo>
                    <a:pt x="526" y="759"/>
                  </a:lnTo>
                  <a:lnTo>
                    <a:pt x="526" y="756"/>
                  </a:lnTo>
                  <a:lnTo>
                    <a:pt x="526" y="755"/>
                  </a:lnTo>
                  <a:lnTo>
                    <a:pt x="523" y="757"/>
                  </a:lnTo>
                  <a:lnTo>
                    <a:pt x="517" y="761"/>
                  </a:lnTo>
                  <a:lnTo>
                    <a:pt x="520" y="756"/>
                  </a:lnTo>
                  <a:lnTo>
                    <a:pt x="524" y="754"/>
                  </a:lnTo>
                  <a:lnTo>
                    <a:pt x="528" y="751"/>
                  </a:lnTo>
                  <a:lnTo>
                    <a:pt x="530" y="750"/>
                  </a:lnTo>
                  <a:lnTo>
                    <a:pt x="526" y="749"/>
                  </a:lnTo>
                  <a:lnTo>
                    <a:pt x="524" y="750"/>
                  </a:lnTo>
                  <a:lnTo>
                    <a:pt x="521" y="749"/>
                  </a:lnTo>
                  <a:lnTo>
                    <a:pt x="521" y="750"/>
                  </a:lnTo>
                  <a:lnTo>
                    <a:pt x="519" y="749"/>
                  </a:lnTo>
                  <a:lnTo>
                    <a:pt x="517" y="749"/>
                  </a:lnTo>
                  <a:lnTo>
                    <a:pt x="515" y="750"/>
                  </a:lnTo>
                  <a:lnTo>
                    <a:pt x="514" y="753"/>
                  </a:lnTo>
                  <a:lnTo>
                    <a:pt x="512" y="750"/>
                  </a:lnTo>
                  <a:lnTo>
                    <a:pt x="509" y="744"/>
                  </a:lnTo>
                  <a:lnTo>
                    <a:pt x="509" y="740"/>
                  </a:lnTo>
                  <a:lnTo>
                    <a:pt x="509" y="736"/>
                  </a:lnTo>
                  <a:lnTo>
                    <a:pt x="512" y="733"/>
                  </a:lnTo>
                  <a:lnTo>
                    <a:pt x="515" y="733"/>
                  </a:lnTo>
                  <a:lnTo>
                    <a:pt x="517" y="731"/>
                  </a:lnTo>
                  <a:lnTo>
                    <a:pt x="515" y="727"/>
                  </a:lnTo>
                  <a:lnTo>
                    <a:pt x="515" y="724"/>
                  </a:lnTo>
                  <a:lnTo>
                    <a:pt x="512" y="726"/>
                  </a:lnTo>
                  <a:lnTo>
                    <a:pt x="509" y="727"/>
                  </a:lnTo>
                  <a:lnTo>
                    <a:pt x="508" y="724"/>
                  </a:lnTo>
                  <a:lnTo>
                    <a:pt x="507" y="725"/>
                  </a:lnTo>
                  <a:lnTo>
                    <a:pt x="506" y="726"/>
                  </a:lnTo>
                  <a:lnTo>
                    <a:pt x="503" y="731"/>
                  </a:lnTo>
                  <a:lnTo>
                    <a:pt x="502" y="730"/>
                  </a:lnTo>
                  <a:lnTo>
                    <a:pt x="502" y="733"/>
                  </a:lnTo>
                  <a:lnTo>
                    <a:pt x="499" y="736"/>
                  </a:lnTo>
                  <a:lnTo>
                    <a:pt x="495" y="739"/>
                  </a:lnTo>
                  <a:lnTo>
                    <a:pt x="495" y="736"/>
                  </a:lnTo>
                  <a:lnTo>
                    <a:pt x="495" y="733"/>
                  </a:lnTo>
                  <a:lnTo>
                    <a:pt x="493" y="734"/>
                  </a:lnTo>
                  <a:lnTo>
                    <a:pt x="493" y="733"/>
                  </a:lnTo>
                  <a:lnTo>
                    <a:pt x="490" y="733"/>
                  </a:lnTo>
                  <a:lnTo>
                    <a:pt x="488" y="731"/>
                  </a:lnTo>
                  <a:lnTo>
                    <a:pt x="485" y="732"/>
                  </a:lnTo>
                  <a:lnTo>
                    <a:pt x="481" y="734"/>
                  </a:lnTo>
                  <a:lnTo>
                    <a:pt x="481" y="732"/>
                  </a:lnTo>
                  <a:lnTo>
                    <a:pt x="483" y="730"/>
                  </a:lnTo>
                  <a:lnTo>
                    <a:pt x="483" y="728"/>
                  </a:lnTo>
                  <a:lnTo>
                    <a:pt x="484" y="728"/>
                  </a:lnTo>
                  <a:lnTo>
                    <a:pt x="485" y="727"/>
                  </a:lnTo>
                  <a:lnTo>
                    <a:pt x="489" y="728"/>
                  </a:lnTo>
                  <a:lnTo>
                    <a:pt x="490" y="726"/>
                  </a:lnTo>
                  <a:lnTo>
                    <a:pt x="489" y="724"/>
                  </a:lnTo>
                  <a:lnTo>
                    <a:pt x="488" y="724"/>
                  </a:lnTo>
                  <a:lnTo>
                    <a:pt x="484" y="724"/>
                  </a:lnTo>
                  <a:lnTo>
                    <a:pt x="483" y="722"/>
                  </a:lnTo>
                  <a:lnTo>
                    <a:pt x="481" y="722"/>
                  </a:lnTo>
                  <a:lnTo>
                    <a:pt x="477" y="724"/>
                  </a:lnTo>
                  <a:lnTo>
                    <a:pt x="476" y="721"/>
                  </a:lnTo>
                  <a:lnTo>
                    <a:pt x="476" y="719"/>
                  </a:lnTo>
                  <a:lnTo>
                    <a:pt x="478" y="716"/>
                  </a:lnTo>
                  <a:lnTo>
                    <a:pt x="481" y="715"/>
                  </a:lnTo>
                  <a:lnTo>
                    <a:pt x="484" y="714"/>
                  </a:lnTo>
                  <a:lnTo>
                    <a:pt x="485" y="713"/>
                  </a:lnTo>
                  <a:lnTo>
                    <a:pt x="484" y="712"/>
                  </a:lnTo>
                  <a:lnTo>
                    <a:pt x="482" y="712"/>
                  </a:lnTo>
                  <a:lnTo>
                    <a:pt x="479" y="714"/>
                  </a:lnTo>
                  <a:lnTo>
                    <a:pt x="475" y="716"/>
                  </a:lnTo>
                  <a:lnTo>
                    <a:pt x="471" y="719"/>
                  </a:lnTo>
                  <a:lnTo>
                    <a:pt x="472" y="724"/>
                  </a:lnTo>
                  <a:lnTo>
                    <a:pt x="477" y="736"/>
                  </a:lnTo>
                  <a:lnTo>
                    <a:pt x="482" y="749"/>
                  </a:lnTo>
                  <a:lnTo>
                    <a:pt x="484" y="759"/>
                  </a:lnTo>
                  <a:lnTo>
                    <a:pt x="483" y="774"/>
                  </a:lnTo>
                  <a:lnTo>
                    <a:pt x="483" y="790"/>
                  </a:lnTo>
                  <a:lnTo>
                    <a:pt x="497" y="817"/>
                  </a:lnTo>
                  <a:lnTo>
                    <a:pt x="505" y="833"/>
                  </a:lnTo>
                  <a:lnTo>
                    <a:pt x="506" y="839"/>
                  </a:lnTo>
                  <a:lnTo>
                    <a:pt x="505" y="846"/>
                  </a:lnTo>
                  <a:lnTo>
                    <a:pt x="497" y="860"/>
                  </a:lnTo>
                  <a:lnTo>
                    <a:pt x="493" y="869"/>
                  </a:lnTo>
                  <a:lnTo>
                    <a:pt x="487" y="884"/>
                  </a:lnTo>
                  <a:lnTo>
                    <a:pt x="484" y="893"/>
                  </a:lnTo>
                  <a:lnTo>
                    <a:pt x="483" y="903"/>
                  </a:lnTo>
                  <a:lnTo>
                    <a:pt x="481" y="922"/>
                  </a:lnTo>
                  <a:lnTo>
                    <a:pt x="479" y="941"/>
                  </a:lnTo>
                  <a:lnTo>
                    <a:pt x="478" y="959"/>
                  </a:lnTo>
                  <a:lnTo>
                    <a:pt x="477" y="975"/>
                  </a:lnTo>
                  <a:lnTo>
                    <a:pt x="477" y="993"/>
                  </a:lnTo>
                  <a:lnTo>
                    <a:pt x="481" y="1041"/>
                  </a:lnTo>
                  <a:lnTo>
                    <a:pt x="479" y="1069"/>
                  </a:lnTo>
                  <a:lnTo>
                    <a:pt x="476" y="1088"/>
                  </a:lnTo>
                  <a:lnTo>
                    <a:pt x="472" y="110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1" name="Freeform 64"/>
            <p:cNvSpPr>
              <a:spLocks/>
            </p:cNvSpPr>
            <p:nvPr userDrawn="1"/>
          </p:nvSpPr>
          <p:spPr bwMode="auto">
            <a:xfrm>
              <a:off x="4610100" y="6411913"/>
              <a:ext cx="65088" cy="107950"/>
            </a:xfrm>
            <a:custGeom>
              <a:avLst/>
              <a:gdLst/>
              <a:ahLst/>
              <a:cxnLst>
                <a:cxn ang="0">
                  <a:pos x="106" y="18"/>
                </a:cxn>
                <a:cxn ang="0">
                  <a:pos x="118" y="40"/>
                </a:cxn>
                <a:cxn ang="0">
                  <a:pos x="122" y="58"/>
                </a:cxn>
                <a:cxn ang="0">
                  <a:pos x="136" y="71"/>
                </a:cxn>
                <a:cxn ang="0">
                  <a:pos x="132" y="81"/>
                </a:cxn>
                <a:cxn ang="0">
                  <a:pos x="140" y="88"/>
                </a:cxn>
                <a:cxn ang="0">
                  <a:pos x="155" y="112"/>
                </a:cxn>
                <a:cxn ang="0">
                  <a:pos x="141" y="113"/>
                </a:cxn>
                <a:cxn ang="0">
                  <a:pos x="158" y="131"/>
                </a:cxn>
                <a:cxn ang="0">
                  <a:pos x="161" y="140"/>
                </a:cxn>
                <a:cxn ang="0">
                  <a:pos x="176" y="149"/>
                </a:cxn>
                <a:cxn ang="0">
                  <a:pos x="165" y="155"/>
                </a:cxn>
                <a:cxn ang="0">
                  <a:pos x="173" y="164"/>
                </a:cxn>
                <a:cxn ang="0">
                  <a:pos x="183" y="171"/>
                </a:cxn>
                <a:cxn ang="0">
                  <a:pos x="182" y="183"/>
                </a:cxn>
                <a:cxn ang="0">
                  <a:pos x="175" y="195"/>
                </a:cxn>
                <a:cxn ang="0">
                  <a:pos x="170" y="204"/>
                </a:cxn>
                <a:cxn ang="0">
                  <a:pos x="157" y="203"/>
                </a:cxn>
                <a:cxn ang="0">
                  <a:pos x="145" y="202"/>
                </a:cxn>
                <a:cxn ang="0">
                  <a:pos x="165" y="218"/>
                </a:cxn>
                <a:cxn ang="0">
                  <a:pos x="180" y="225"/>
                </a:cxn>
                <a:cxn ang="0">
                  <a:pos x="183" y="236"/>
                </a:cxn>
                <a:cxn ang="0">
                  <a:pos x="198" y="241"/>
                </a:cxn>
                <a:cxn ang="0">
                  <a:pos x="186" y="247"/>
                </a:cxn>
                <a:cxn ang="0">
                  <a:pos x="193" y="257"/>
                </a:cxn>
                <a:cxn ang="0">
                  <a:pos x="194" y="265"/>
                </a:cxn>
                <a:cxn ang="0">
                  <a:pos x="191" y="271"/>
                </a:cxn>
                <a:cxn ang="0">
                  <a:pos x="180" y="277"/>
                </a:cxn>
                <a:cxn ang="0">
                  <a:pos x="167" y="296"/>
                </a:cxn>
                <a:cxn ang="0">
                  <a:pos x="145" y="301"/>
                </a:cxn>
                <a:cxn ang="0">
                  <a:pos x="112" y="320"/>
                </a:cxn>
                <a:cxn ang="0">
                  <a:pos x="76" y="308"/>
                </a:cxn>
                <a:cxn ang="0">
                  <a:pos x="49" y="320"/>
                </a:cxn>
                <a:cxn ang="0">
                  <a:pos x="17" y="307"/>
                </a:cxn>
                <a:cxn ang="0">
                  <a:pos x="22" y="284"/>
                </a:cxn>
                <a:cxn ang="0">
                  <a:pos x="23" y="265"/>
                </a:cxn>
                <a:cxn ang="0">
                  <a:pos x="33" y="256"/>
                </a:cxn>
                <a:cxn ang="0">
                  <a:pos x="28" y="245"/>
                </a:cxn>
                <a:cxn ang="0">
                  <a:pos x="15" y="236"/>
                </a:cxn>
                <a:cxn ang="0">
                  <a:pos x="23" y="221"/>
                </a:cxn>
                <a:cxn ang="0">
                  <a:pos x="29" y="217"/>
                </a:cxn>
                <a:cxn ang="0">
                  <a:pos x="52" y="207"/>
                </a:cxn>
                <a:cxn ang="0">
                  <a:pos x="40" y="207"/>
                </a:cxn>
                <a:cxn ang="0">
                  <a:pos x="31" y="194"/>
                </a:cxn>
                <a:cxn ang="0">
                  <a:pos x="28" y="189"/>
                </a:cxn>
                <a:cxn ang="0">
                  <a:pos x="17" y="180"/>
                </a:cxn>
                <a:cxn ang="0">
                  <a:pos x="29" y="164"/>
                </a:cxn>
                <a:cxn ang="0">
                  <a:pos x="27" y="150"/>
                </a:cxn>
                <a:cxn ang="0">
                  <a:pos x="51" y="138"/>
                </a:cxn>
                <a:cxn ang="0">
                  <a:pos x="40" y="138"/>
                </a:cxn>
                <a:cxn ang="0">
                  <a:pos x="45" y="125"/>
                </a:cxn>
                <a:cxn ang="0">
                  <a:pos x="68" y="112"/>
                </a:cxn>
                <a:cxn ang="0">
                  <a:pos x="46" y="111"/>
                </a:cxn>
                <a:cxn ang="0">
                  <a:pos x="92" y="95"/>
                </a:cxn>
                <a:cxn ang="0">
                  <a:pos x="74" y="85"/>
                </a:cxn>
                <a:cxn ang="0">
                  <a:pos x="67" y="69"/>
                </a:cxn>
                <a:cxn ang="0">
                  <a:pos x="76" y="59"/>
                </a:cxn>
                <a:cxn ang="0">
                  <a:pos x="87" y="54"/>
                </a:cxn>
                <a:cxn ang="0">
                  <a:pos x="82" y="35"/>
                </a:cxn>
                <a:cxn ang="0">
                  <a:pos x="93" y="39"/>
                </a:cxn>
                <a:cxn ang="0">
                  <a:pos x="81" y="23"/>
                </a:cxn>
                <a:cxn ang="0">
                  <a:pos x="97" y="13"/>
                </a:cxn>
                <a:cxn ang="0">
                  <a:pos x="97" y="9"/>
                </a:cxn>
              </a:cxnLst>
              <a:rect l="0" t="0" r="r" b="b"/>
              <a:pathLst>
                <a:path w="206" h="338">
                  <a:moveTo>
                    <a:pt x="103" y="6"/>
                  </a:moveTo>
                  <a:lnTo>
                    <a:pt x="104" y="4"/>
                  </a:lnTo>
                  <a:lnTo>
                    <a:pt x="105" y="0"/>
                  </a:lnTo>
                  <a:lnTo>
                    <a:pt x="105" y="3"/>
                  </a:lnTo>
                  <a:lnTo>
                    <a:pt x="104" y="4"/>
                  </a:lnTo>
                  <a:lnTo>
                    <a:pt x="103" y="6"/>
                  </a:lnTo>
                  <a:lnTo>
                    <a:pt x="104" y="7"/>
                  </a:lnTo>
                  <a:lnTo>
                    <a:pt x="104" y="5"/>
                  </a:lnTo>
                  <a:lnTo>
                    <a:pt x="105" y="5"/>
                  </a:lnTo>
                  <a:lnTo>
                    <a:pt x="104" y="7"/>
                  </a:lnTo>
                  <a:lnTo>
                    <a:pt x="106" y="6"/>
                  </a:lnTo>
                  <a:lnTo>
                    <a:pt x="108" y="6"/>
                  </a:lnTo>
                  <a:lnTo>
                    <a:pt x="103" y="9"/>
                  </a:lnTo>
                  <a:lnTo>
                    <a:pt x="104" y="9"/>
                  </a:lnTo>
                  <a:lnTo>
                    <a:pt x="105" y="9"/>
                  </a:lnTo>
                  <a:lnTo>
                    <a:pt x="104" y="10"/>
                  </a:lnTo>
                  <a:lnTo>
                    <a:pt x="106" y="10"/>
                  </a:lnTo>
                  <a:lnTo>
                    <a:pt x="104" y="10"/>
                  </a:lnTo>
                  <a:lnTo>
                    <a:pt x="104" y="11"/>
                  </a:lnTo>
                  <a:lnTo>
                    <a:pt x="104" y="12"/>
                  </a:lnTo>
                  <a:lnTo>
                    <a:pt x="105" y="12"/>
                  </a:lnTo>
                  <a:lnTo>
                    <a:pt x="104" y="12"/>
                  </a:lnTo>
                  <a:lnTo>
                    <a:pt x="105" y="12"/>
                  </a:lnTo>
                  <a:lnTo>
                    <a:pt x="104" y="12"/>
                  </a:lnTo>
                  <a:lnTo>
                    <a:pt x="104" y="13"/>
                  </a:lnTo>
                  <a:lnTo>
                    <a:pt x="104" y="12"/>
                  </a:lnTo>
                  <a:lnTo>
                    <a:pt x="105" y="13"/>
                  </a:lnTo>
                  <a:lnTo>
                    <a:pt x="106" y="11"/>
                  </a:lnTo>
                  <a:lnTo>
                    <a:pt x="105" y="13"/>
                  </a:lnTo>
                  <a:lnTo>
                    <a:pt x="106" y="13"/>
                  </a:lnTo>
                  <a:lnTo>
                    <a:pt x="106" y="12"/>
                  </a:lnTo>
                  <a:lnTo>
                    <a:pt x="106" y="13"/>
                  </a:lnTo>
                  <a:lnTo>
                    <a:pt x="105" y="13"/>
                  </a:lnTo>
                  <a:lnTo>
                    <a:pt x="106" y="13"/>
                  </a:lnTo>
                  <a:lnTo>
                    <a:pt x="105" y="15"/>
                  </a:lnTo>
                  <a:lnTo>
                    <a:pt x="106" y="16"/>
                  </a:lnTo>
                  <a:lnTo>
                    <a:pt x="106" y="15"/>
                  </a:lnTo>
                  <a:lnTo>
                    <a:pt x="109" y="13"/>
                  </a:lnTo>
                  <a:lnTo>
                    <a:pt x="108" y="15"/>
                  </a:lnTo>
                  <a:lnTo>
                    <a:pt x="109" y="15"/>
                  </a:lnTo>
                  <a:lnTo>
                    <a:pt x="110" y="15"/>
                  </a:lnTo>
                  <a:lnTo>
                    <a:pt x="109" y="15"/>
                  </a:lnTo>
                  <a:lnTo>
                    <a:pt x="108" y="15"/>
                  </a:lnTo>
                  <a:lnTo>
                    <a:pt x="109" y="16"/>
                  </a:lnTo>
                  <a:lnTo>
                    <a:pt x="108" y="16"/>
                  </a:lnTo>
                  <a:lnTo>
                    <a:pt x="106" y="16"/>
                  </a:lnTo>
                  <a:lnTo>
                    <a:pt x="108" y="16"/>
                  </a:lnTo>
                  <a:lnTo>
                    <a:pt x="106" y="16"/>
                  </a:lnTo>
                  <a:lnTo>
                    <a:pt x="105" y="16"/>
                  </a:lnTo>
                  <a:lnTo>
                    <a:pt x="106" y="17"/>
                  </a:lnTo>
                  <a:lnTo>
                    <a:pt x="105" y="16"/>
                  </a:lnTo>
                  <a:lnTo>
                    <a:pt x="103" y="17"/>
                  </a:lnTo>
                  <a:lnTo>
                    <a:pt x="103" y="18"/>
                  </a:lnTo>
                  <a:lnTo>
                    <a:pt x="104" y="18"/>
                  </a:lnTo>
                  <a:lnTo>
                    <a:pt x="105" y="18"/>
                  </a:lnTo>
                  <a:lnTo>
                    <a:pt x="106" y="18"/>
                  </a:lnTo>
                  <a:lnTo>
                    <a:pt x="106" y="17"/>
                  </a:lnTo>
                  <a:lnTo>
                    <a:pt x="108" y="17"/>
                  </a:lnTo>
                  <a:lnTo>
                    <a:pt x="106" y="18"/>
                  </a:lnTo>
                  <a:lnTo>
                    <a:pt x="108" y="18"/>
                  </a:lnTo>
                  <a:lnTo>
                    <a:pt x="108" y="19"/>
                  </a:lnTo>
                  <a:lnTo>
                    <a:pt x="106" y="19"/>
                  </a:lnTo>
                  <a:lnTo>
                    <a:pt x="108" y="21"/>
                  </a:lnTo>
                  <a:lnTo>
                    <a:pt x="105" y="19"/>
                  </a:lnTo>
                  <a:lnTo>
                    <a:pt x="104" y="19"/>
                  </a:lnTo>
                  <a:lnTo>
                    <a:pt x="105" y="19"/>
                  </a:lnTo>
                  <a:lnTo>
                    <a:pt x="105" y="21"/>
                  </a:lnTo>
                  <a:lnTo>
                    <a:pt x="106" y="21"/>
                  </a:lnTo>
                  <a:lnTo>
                    <a:pt x="105" y="22"/>
                  </a:lnTo>
                  <a:lnTo>
                    <a:pt x="106" y="23"/>
                  </a:lnTo>
                  <a:lnTo>
                    <a:pt x="105" y="23"/>
                  </a:lnTo>
                  <a:lnTo>
                    <a:pt x="105" y="24"/>
                  </a:lnTo>
                  <a:lnTo>
                    <a:pt x="106" y="24"/>
                  </a:lnTo>
                  <a:lnTo>
                    <a:pt x="105" y="24"/>
                  </a:lnTo>
                  <a:lnTo>
                    <a:pt x="105" y="25"/>
                  </a:lnTo>
                  <a:lnTo>
                    <a:pt x="106" y="25"/>
                  </a:lnTo>
                  <a:lnTo>
                    <a:pt x="106" y="24"/>
                  </a:lnTo>
                  <a:lnTo>
                    <a:pt x="106" y="25"/>
                  </a:lnTo>
                  <a:lnTo>
                    <a:pt x="106" y="27"/>
                  </a:lnTo>
                  <a:lnTo>
                    <a:pt x="106" y="25"/>
                  </a:lnTo>
                  <a:lnTo>
                    <a:pt x="105" y="25"/>
                  </a:lnTo>
                  <a:lnTo>
                    <a:pt x="105" y="27"/>
                  </a:lnTo>
                  <a:lnTo>
                    <a:pt x="106" y="27"/>
                  </a:lnTo>
                  <a:lnTo>
                    <a:pt x="109" y="28"/>
                  </a:lnTo>
                  <a:lnTo>
                    <a:pt x="111" y="30"/>
                  </a:lnTo>
                  <a:lnTo>
                    <a:pt x="112" y="30"/>
                  </a:lnTo>
                  <a:lnTo>
                    <a:pt x="111" y="30"/>
                  </a:lnTo>
                  <a:lnTo>
                    <a:pt x="112" y="30"/>
                  </a:lnTo>
                  <a:lnTo>
                    <a:pt x="114" y="31"/>
                  </a:lnTo>
                  <a:lnTo>
                    <a:pt x="111" y="31"/>
                  </a:lnTo>
                  <a:lnTo>
                    <a:pt x="111" y="33"/>
                  </a:lnTo>
                  <a:lnTo>
                    <a:pt x="111" y="31"/>
                  </a:lnTo>
                  <a:lnTo>
                    <a:pt x="111" y="30"/>
                  </a:lnTo>
                  <a:lnTo>
                    <a:pt x="110" y="30"/>
                  </a:lnTo>
                  <a:lnTo>
                    <a:pt x="110" y="31"/>
                  </a:lnTo>
                  <a:lnTo>
                    <a:pt x="110" y="30"/>
                  </a:lnTo>
                  <a:lnTo>
                    <a:pt x="109" y="30"/>
                  </a:lnTo>
                  <a:lnTo>
                    <a:pt x="110" y="31"/>
                  </a:lnTo>
                  <a:lnTo>
                    <a:pt x="109" y="33"/>
                  </a:lnTo>
                  <a:lnTo>
                    <a:pt x="109" y="34"/>
                  </a:lnTo>
                  <a:lnTo>
                    <a:pt x="110" y="34"/>
                  </a:lnTo>
                  <a:lnTo>
                    <a:pt x="111" y="34"/>
                  </a:lnTo>
                  <a:lnTo>
                    <a:pt x="110" y="35"/>
                  </a:lnTo>
                  <a:lnTo>
                    <a:pt x="110" y="34"/>
                  </a:lnTo>
                  <a:lnTo>
                    <a:pt x="110" y="35"/>
                  </a:lnTo>
                  <a:lnTo>
                    <a:pt x="111" y="35"/>
                  </a:lnTo>
                  <a:lnTo>
                    <a:pt x="112" y="36"/>
                  </a:lnTo>
                  <a:lnTo>
                    <a:pt x="111" y="36"/>
                  </a:lnTo>
                  <a:lnTo>
                    <a:pt x="111" y="37"/>
                  </a:lnTo>
                  <a:lnTo>
                    <a:pt x="112" y="36"/>
                  </a:lnTo>
                  <a:lnTo>
                    <a:pt x="114" y="36"/>
                  </a:lnTo>
                  <a:lnTo>
                    <a:pt x="114" y="37"/>
                  </a:lnTo>
                  <a:lnTo>
                    <a:pt x="115" y="39"/>
                  </a:lnTo>
                  <a:lnTo>
                    <a:pt x="116" y="39"/>
                  </a:lnTo>
                  <a:lnTo>
                    <a:pt x="117" y="39"/>
                  </a:lnTo>
                  <a:lnTo>
                    <a:pt x="118" y="40"/>
                  </a:lnTo>
                  <a:lnTo>
                    <a:pt x="120" y="40"/>
                  </a:lnTo>
                  <a:lnTo>
                    <a:pt x="118" y="40"/>
                  </a:lnTo>
                  <a:lnTo>
                    <a:pt x="120" y="40"/>
                  </a:lnTo>
                  <a:lnTo>
                    <a:pt x="121" y="40"/>
                  </a:lnTo>
                  <a:lnTo>
                    <a:pt x="121" y="41"/>
                  </a:lnTo>
                  <a:lnTo>
                    <a:pt x="123" y="42"/>
                  </a:lnTo>
                  <a:lnTo>
                    <a:pt x="124" y="42"/>
                  </a:lnTo>
                  <a:lnTo>
                    <a:pt x="124" y="43"/>
                  </a:lnTo>
                  <a:lnTo>
                    <a:pt x="126" y="43"/>
                  </a:lnTo>
                  <a:lnTo>
                    <a:pt x="126" y="45"/>
                  </a:lnTo>
                  <a:lnTo>
                    <a:pt x="127" y="45"/>
                  </a:lnTo>
                  <a:lnTo>
                    <a:pt x="128" y="47"/>
                  </a:lnTo>
                  <a:lnTo>
                    <a:pt x="127" y="46"/>
                  </a:lnTo>
                  <a:lnTo>
                    <a:pt x="127" y="47"/>
                  </a:lnTo>
                  <a:lnTo>
                    <a:pt x="126" y="46"/>
                  </a:lnTo>
                  <a:lnTo>
                    <a:pt x="126" y="45"/>
                  </a:lnTo>
                  <a:lnTo>
                    <a:pt x="123" y="43"/>
                  </a:lnTo>
                  <a:lnTo>
                    <a:pt x="124" y="45"/>
                  </a:lnTo>
                  <a:lnTo>
                    <a:pt x="123" y="45"/>
                  </a:lnTo>
                  <a:lnTo>
                    <a:pt x="123" y="46"/>
                  </a:lnTo>
                  <a:lnTo>
                    <a:pt x="123" y="45"/>
                  </a:lnTo>
                  <a:lnTo>
                    <a:pt x="123" y="43"/>
                  </a:lnTo>
                  <a:lnTo>
                    <a:pt x="123" y="45"/>
                  </a:lnTo>
                  <a:lnTo>
                    <a:pt x="123" y="46"/>
                  </a:lnTo>
                  <a:lnTo>
                    <a:pt x="122" y="46"/>
                  </a:lnTo>
                  <a:lnTo>
                    <a:pt x="122" y="47"/>
                  </a:lnTo>
                  <a:lnTo>
                    <a:pt x="123" y="47"/>
                  </a:lnTo>
                  <a:lnTo>
                    <a:pt x="123" y="48"/>
                  </a:lnTo>
                  <a:lnTo>
                    <a:pt x="123" y="49"/>
                  </a:lnTo>
                  <a:lnTo>
                    <a:pt x="123" y="51"/>
                  </a:lnTo>
                  <a:lnTo>
                    <a:pt x="123" y="52"/>
                  </a:lnTo>
                  <a:lnTo>
                    <a:pt x="122" y="52"/>
                  </a:lnTo>
                  <a:lnTo>
                    <a:pt x="123" y="52"/>
                  </a:lnTo>
                  <a:lnTo>
                    <a:pt x="123" y="53"/>
                  </a:lnTo>
                  <a:lnTo>
                    <a:pt x="124" y="53"/>
                  </a:lnTo>
                  <a:lnTo>
                    <a:pt x="126" y="53"/>
                  </a:lnTo>
                  <a:lnTo>
                    <a:pt x="124" y="53"/>
                  </a:lnTo>
                  <a:lnTo>
                    <a:pt x="126" y="54"/>
                  </a:lnTo>
                  <a:lnTo>
                    <a:pt x="126" y="53"/>
                  </a:lnTo>
                  <a:lnTo>
                    <a:pt x="127" y="53"/>
                  </a:lnTo>
                  <a:lnTo>
                    <a:pt x="127" y="54"/>
                  </a:lnTo>
                  <a:lnTo>
                    <a:pt x="128" y="54"/>
                  </a:lnTo>
                  <a:lnTo>
                    <a:pt x="127" y="54"/>
                  </a:lnTo>
                  <a:lnTo>
                    <a:pt x="129" y="54"/>
                  </a:lnTo>
                  <a:lnTo>
                    <a:pt x="128" y="55"/>
                  </a:lnTo>
                  <a:lnTo>
                    <a:pt x="127" y="54"/>
                  </a:lnTo>
                  <a:lnTo>
                    <a:pt x="128" y="57"/>
                  </a:lnTo>
                  <a:lnTo>
                    <a:pt x="127" y="54"/>
                  </a:lnTo>
                  <a:lnTo>
                    <a:pt x="127" y="55"/>
                  </a:lnTo>
                  <a:lnTo>
                    <a:pt x="126" y="55"/>
                  </a:lnTo>
                  <a:lnTo>
                    <a:pt x="126" y="54"/>
                  </a:lnTo>
                  <a:lnTo>
                    <a:pt x="124" y="54"/>
                  </a:lnTo>
                  <a:lnTo>
                    <a:pt x="124" y="55"/>
                  </a:lnTo>
                  <a:lnTo>
                    <a:pt x="124" y="58"/>
                  </a:lnTo>
                  <a:lnTo>
                    <a:pt x="123" y="58"/>
                  </a:lnTo>
                  <a:lnTo>
                    <a:pt x="123" y="57"/>
                  </a:lnTo>
                  <a:lnTo>
                    <a:pt x="123" y="58"/>
                  </a:lnTo>
                  <a:lnTo>
                    <a:pt x="123" y="57"/>
                  </a:lnTo>
                  <a:lnTo>
                    <a:pt x="122" y="58"/>
                  </a:lnTo>
                  <a:lnTo>
                    <a:pt x="122" y="57"/>
                  </a:lnTo>
                  <a:lnTo>
                    <a:pt x="122" y="58"/>
                  </a:lnTo>
                  <a:lnTo>
                    <a:pt x="121" y="58"/>
                  </a:lnTo>
                  <a:lnTo>
                    <a:pt x="121" y="57"/>
                  </a:lnTo>
                  <a:lnTo>
                    <a:pt x="121" y="55"/>
                  </a:lnTo>
                  <a:lnTo>
                    <a:pt x="120" y="55"/>
                  </a:lnTo>
                  <a:lnTo>
                    <a:pt x="120" y="57"/>
                  </a:lnTo>
                  <a:lnTo>
                    <a:pt x="120" y="58"/>
                  </a:lnTo>
                  <a:lnTo>
                    <a:pt x="120" y="59"/>
                  </a:lnTo>
                  <a:lnTo>
                    <a:pt x="121" y="59"/>
                  </a:lnTo>
                  <a:lnTo>
                    <a:pt x="122" y="60"/>
                  </a:lnTo>
                  <a:lnTo>
                    <a:pt x="123" y="60"/>
                  </a:lnTo>
                  <a:lnTo>
                    <a:pt x="124" y="61"/>
                  </a:lnTo>
                  <a:lnTo>
                    <a:pt x="126" y="61"/>
                  </a:lnTo>
                  <a:lnTo>
                    <a:pt x="127" y="61"/>
                  </a:lnTo>
                  <a:lnTo>
                    <a:pt x="128" y="61"/>
                  </a:lnTo>
                  <a:lnTo>
                    <a:pt x="129" y="61"/>
                  </a:lnTo>
                  <a:lnTo>
                    <a:pt x="129" y="60"/>
                  </a:lnTo>
                  <a:lnTo>
                    <a:pt x="129" y="61"/>
                  </a:lnTo>
                  <a:lnTo>
                    <a:pt x="130" y="61"/>
                  </a:lnTo>
                  <a:lnTo>
                    <a:pt x="132" y="60"/>
                  </a:lnTo>
                  <a:lnTo>
                    <a:pt x="133" y="60"/>
                  </a:lnTo>
                  <a:lnTo>
                    <a:pt x="130" y="61"/>
                  </a:lnTo>
                  <a:lnTo>
                    <a:pt x="134" y="61"/>
                  </a:lnTo>
                  <a:lnTo>
                    <a:pt x="132" y="63"/>
                  </a:lnTo>
                  <a:lnTo>
                    <a:pt x="130" y="63"/>
                  </a:lnTo>
                  <a:lnTo>
                    <a:pt x="132" y="63"/>
                  </a:lnTo>
                  <a:lnTo>
                    <a:pt x="130" y="61"/>
                  </a:lnTo>
                  <a:lnTo>
                    <a:pt x="129" y="61"/>
                  </a:lnTo>
                  <a:lnTo>
                    <a:pt x="129" y="63"/>
                  </a:lnTo>
                  <a:lnTo>
                    <a:pt x="129" y="64"/>
                  </a:lnTo>
                  <a:lnTo>
                    <a:pt x="129" y="65"/>
                  </a:lnTo>
                  <a:lnTo>
                    <a:pt x="128" y="65"/>
                  </a:lnTo>
                  <a:lnTo>
                    <a:pt x="129" y="65"/>
                  </a:lnTo>
                  <a:lnTo>
                    <a:pt x="129" y="66"/>
                  </a:lnTo>
                  <a:lnTo>
                    <a:pt x="130" y="67"/>
                  </a:lnTo>
                  <a:lnTo>
                    <a:pt x="130" y="66"/>
                  </a:lnTo>
                  <a:lnTo>
                    <a:pt x="132" y="66"/>
                  </a:lnTo>
                  <a:lnTo>
                    <a:pt x="132" y="67"/>
                  </a:lnTo>
                  <a:lnTo>
                    <a:pt x="134" y="66"/>
                  </a:lnTo>
                  <a:lnTo>
                    <a:pt x="134" y="65"/>
                  </a:lnTo>
                  <a:lnTo>
                    <a:pt x="136" y="64"/>
                  </a:lnTo>
                  <a:lnTo>
                    <a:pt x="135" y="65"/>
                  </a:lnTo>
                  <a:lnTo>
                    <a:pt x="136" y="65"/>
                  </a:lnTo>
                  <a:lnTo>
                    <a:pt x="136" y="66"/>
                  </a:lnTo>
                  <a:lnTo>
                    <a:pt x="135" y="66"/>
                  </a:lnTo>
                  <a:lnTo>
                    <a:pt x="135" y="67"/>
                  </a:lnTo>
                  <a:lnTo>
                    <a:pt x="135" y="66"/>
                  </a:lnTo>
                  <a:lnTo>
                    <a:pt x="134" y="66"/>
                  </a:lnTo>
                  <a:lnTo>
                    <a:pt x="135" y="67"/>
                  </a:lnTo>
                  <a:lnTo>
                    <a:pt x="134" y="67"/>
                  </a:lnTo>
                  <a:lnTo>
                    <a:pt x="133" y="67"/>
                  </a:lnTo>
                  <a:lnTo>
                    <a:pt x="134" y="67"/>
                  </a:lnTo>
                  <a:lnTo>
                    <a:pt x="135" y="69"/>
                  </a:lnTo>
                  <a:lnTo>
                    <a:pt x="134" y="69"/>
                  </a:lnTo>
                  <a:lnTo>
                    <a:pt x="133" y="69"/>
                  </a:lnTo>
                  <a:lnTo>
                    <a:pt x="132" y="69"/>
                  </a:lnTo>
                  <a:lnTo>
                    <a:pt x="132" y="70"/>
                  </a:lnTo>
                  <a:lnTo>
                    <a:pt x="133" y="71"/>
                  </a:lnTo>
                  <a:lnTo>
                    <a:pt x="134" y="71"/>
                  </a:lnTo>
                  <a:lnTo>
                    <a:pt x="136" y="71"/>
                  </a:lnTo>
                  <a:lnTo>
                    <a:pt x="135" y="71"/>
                  </a:lnTo>
                  <a:lnTo>
                    <a:pt x="135" y="72"/>
                  </a:lnTo>
                  <a:lnTo>
                    <a:pt x="136" y="73"/>
                  </a:lnTo>
                  <a:lnTo>
                    <a:pt x="135" y="72"/>
                  </a:lnTo>
                  <a:lnTo>
                    <a:pt x="134" y="72"/>
                  </a:lnTo>
                  <a:lnTo>
                    <a:pt x="134" y="73"/>
                  </a:lnTo>
                  <a:lnTo>
                    <a:pt x="134" y="72"/>
                  </a:lnTo>
                  <a:lnTo>
                    <a:pt x="133" y="73"/>
                  </a:lnTo>
                  <a:lnTo>
                    <a:pt x="132" y="73"/>
                  </a:lnTo>
                  <a:lnTo>
                    <a:pt x="133" y="73"/>
                  </a:lnTo>
                  <a:lnTo>
                    <a:pt x="132" y="73"/>
                  </a:lnTo>
                  <a:lnTo>
                    <a:pt x="132" y="75"/>
                  </a:lnTo>
                  <a:lnTo>
                    <a:pt x="133" y="75"/>
                  </a:lnTo>
                  <a:lnTo>
                    <a:pt x="134" y="76"/>
                  </a:lnTo>
                  <a:lnTo>
                    <a:pt x="134" y="77"/>
                  </a:lnTo>
                  <a:lnTo>
                    <a:pt x="135" y="77"/>
                  </a:lnTo>
                  <a:lnTo>
                    <a:pt x="135" y="78"/>
                  </a:lnTo>
                  <a:lnTo>
                    <a:pt x="136" y="78"/>
                  </a:lnTo>
                  <a:lnTo>
                    <a:pt x="138" y="78"/>
                  </a:lnTo>
                  <a:lnTo>
                    <a:pt x="139" y="78"/>
                  </a:lnTo>
                  <a:lnTo>
                    <a:pt x="139" y="79"/>
                  </a:lnTo>
                  <a:lnTo>
                    <a:pt x="138" y="79"/>
                  </a:lnTo>
                  <a:lnTo>
                    <a:pt x="139" y="79"/>
                  </a:lnTo>
                  <a:lnTo>
                    <a:pt x="139" y="81"/>
                  </a:lnTo>
                  <a:lnTo>
                    <a:pt x="138" y="81"/>
                  </a:lnTo>
                  <a:lnTo>
                    <a:pt x="138" y="79"/>
                  </a:lnTo>
                  <a:lnTo>
                    <a:pt x="138" y="81"/>
                  </a:lnTo>
                  <a:lnTo>
                    <a:pt x="138" y="79"/>
                  </a:lnTo>
                  <a:lnTo>
                    <a:pt x="136" y="79"/>
                  </a:lnTo>
                  <a:lnTo>
                    <a:pt x="135" y="78"/>
                  </a:lnTo>
                  <a:lnTo>
                    <a:pt x="135" y="79"/>
                  </a:lnTo>
                  <a:lnTo>
                    <a:pt x="135" y="81"/>
                  </a:lnTo>
                  <a:lnTo>
                    <a:pt x="135" y="82"/>
                  </a:lnTo>
                  <a:lnTo>
                    <a:pt x="135" y="81"/>
                  </a:lnTo>
                  <a:lnTo>
                    <a:pt x="135" y="79"/>
                  </a:lnTo>
                  <a:lnTo>
                    <a:pt x="134" y="81"/>
                  </a:lnTo>
                  <a:lnTo>
                    <a:pt x="134" y="82"/>
                  </a:lnTo>
                  <a:lnTo>
                    <a:pt x="133" y="81"/>
                  </a:lnTo>
                  <a:lnTo>
                    <a:pt x="133" y="79"/>
                  </a:lnTo>
                  <a:lnTo>
                    <a:pt x="133" y="81"/>
                  </a:lnTo>
                  <a:lnTo>
                    <a:pt x="132" y="81"/>
                  </a:lnTo>
                  <a:lnTo>
                    <a:pt x="132" y="79"/>
                  </a:lnTo>
                  <a:lnTo>
                    <a:pt x="132" y="78"/>
                  </a:lnTo>
                  <a:lnTo>
                    <a:pt x="130" y="79"/>
                  </a:lnTo>
                  <a:lnTo>
                    <a:pt x="130" y="78"/>
                  </a:lnTo>
                  <a:lnTo>
                    <a:pt x="130" y="77"/>
                  </a:lnTo>
                  <a:lnTo>
                    <a:pt x="129" y="77"/>
                  </a:lnTo>
                  <a:lnTo>
                    <a:pt x="129" y="78"/>
                  </a:lnTo>
                  <a:lnTo>
                    <a:pt x="129" y="79"/>
                  </a:lnTo>
                  <a:lnTo>
                    <a:pt x="129" y="78"/>
                  </a:lnTo>
                  <a:lnTo>
                    <a:pt x="129" y="77"/>
                  </a:lnTo>
                  <a:lnTo>
                    <a:pt x="129" y="76"/>
                  </a:lnTo>
                  <a:lnTo>
                    <a:pt x="128" y="76"/>
                  </a:lnTo>
                  <a:lnTo>
                    <a:pt x="128" y="77"/>
                  </a:lnTo>
                  <a:lnTo>
                    <a:pt x="128" y="78"/>
                  </a:lnTo>
                  <a:lnTo>
                    <a:pt x="129" y="78"/>
                  </a:lnTo>
                  <a:lnTo>
                    <a:pt x="129" y="79"/>
                  </a:lnTo>
                  <a:lnTo>
                    <a:pt x="130" y="81"/>
                  </a:lnTo>
                  <a:lnTo>
                    <a:pt x="132" y="81"/>
                  </a:lnTo>
                  <a:lnTo>
                    <a:pt x="132" y="82"/>
                  </a:lnTo>
                  <a:lnTo>
                    <a:pt x="133" y="82"/>
                  </a:lnTo>
                  <a:lnTo>
                    <a:pt x="134" y="83"/>
                  </a:lnTo>
                  <a:lnTo>
                    <a:pt x="135" y="82"/>
                  </a:lnTo>
                  <a:lnTo>
                    <a:pt x="136" y="82"/>
                  </a:lnTo>
                  <a:lnTo>
                    <a:pt x="138" y="82"/>
                  </a:lnTo>
                  <a:lnTo>
                    <a:pt x="139" y="82"/>
                  </a:lnTo>
                  <a:lnTo>
                    <a:pt x="139" y="81"/>
                  </a:lnTo>
                  <a:lnTo>
                    <a:pt x="140" y="79"/>
                  </a:lnTo>
                  <a:lnTo>
                    <a:pt x="140" y="78"/>
                  </a:lnTo>
                  <a:lnTo>
                    <a:pt x="141" y="78"/>
                  </a:lnTo>
                  <a:lnTo>
                    <a:pt x="140" y="77"/>
                  </a:lnTo>
                  <a:lnTo>
                    <a:pt x="141" y="77"/>
                  </a:lnTo>
                  <a:lnTo>
                    <a:pt x="141" y="78"/>
                  </a:lnTo>
                  <a:lnTo>
                    <a:pt x="144" y="76"/>
                  </a:lnTo>
                  <a:lnTo>
                    <a:pt x="145" y="76"/>
                  </a:lnTo>
                  <a:lnTo>
                    <a:pt x="144" y="76"/>
                  </a:lnTo>
                  <a:lnTo>
                    <a:pt x="146" y="76"/>
                  </a:lnTo>
                  <a:lnTo>
                    <a:pt x="145" y="77"/>
                  </a:lnTo>
                  <a:lnTo>
                    <a:pt x="144" y="77"/>
                  </a:lnTo>
                  <a:lnTo>
                    <a:pt x="145" y="78"/>
                  </a:lnTo>
                  <a:lnTo>
                    <a:pt x="144" y="77"/>
                  </a:lnTo>
                  <a:lnTo>
                    <a:pt x="142" y="78"/>
                  </a:lnTo>
                  <a:lnTo>
                    <a:pt x="144" y="79"/>
                  </a:lnTo>
                  <a:lnTo>
                    <a:pt x="142" y="78"/>
                  </a:lnTo>
                  <a:lnTo>
                    <a:pt x="142" y="79"/>
                  </a:lnTo>
                  <a:lnTo>
                    <a:pt x="141" y="79"/>
                  </a:lnTo>
                  <a:lnTo>
                    <a:pt x="141" y="81"/>
                  </a:lnTo>
                  <a:lnTo>
                    <a:pt x="142" y="82"/>
                  </a:lnTo>
                  <a:lnTo>
                    <a:pt x="141" y="81"/>
                  </a:lnTo>
                  <a:lnTo>
                    <a:pt x="140" y="81"/>
                  </a:lnTo>
                  <a:lnTo>
                    <a:pt x="141" y="82"/>
                  </a:lnTo>
                  <a:lnTo>
                    <a:pt x="142" y="82"/>
                  </a:lnTo>
                  <a:lnTo>
                    <a:pt x="141" y="83"/>
                  </a:lnTo>
                  <a:lnTo>
                    <a:pt x="142" y="83"/>
                  </a:lnTo>
                  <a:lnTo>
                    <a:pt x="142" y="84"/>
                  </a:lnTo>
                  <a:lnTo>
                    <a:pt x="141" y="84"/>
                  </a:lnTo>
                  <a:lnTo>
                    <a:pt x="142" y="85"/>
                  </a:lnTo>
                  <a:lnTo>
                    <a:pt x="141" y="85"/>
                  </a:lnTo>
                  <a:lnTo>
                    <a:pt x="140" y="84"/>
                  </a:lnTo>
                  <a:lnTo>
                    <a:pt x="140" y="83"/>
                  </a:lnTo>
                  <a:lnTo>
                    <a:pt x="140" y="84"/>
                  </a:lnTo>
                  <a:lnTo>
                    <a:pt x="140" y="85"/>
                  </a:lnTo>
                  <a:lnTo>
                    <a:pt x="139" y="85"/>
                  </a:lnTo>
                  <a:lnTo>
                    <a:pt x="139" y="87"/>
                  </a:lnTo>
                  <a:lnTo>
                    <a:pt x="140" y="87"/>
                  </a:lnTo>
                  <a:lnTo>
                    <a:pt x="140" y="85"/>
                  </a:lnTo>
                  <a:lnTo>
                    <a:pt x="140" y="87"/>
                  </a:lnTo>
                  <a:lnTo>
                    <a:pt x="141" y="87"/>
                  </a:lnTo>
                  <a:lnTo>
                    <a:pt x="142" y="87"/>
                  </a:lnTo>
                  <a:lnTo>
                    <a:pt x="144" y="88"/>
                  </a:lnTo>
                  <a:lnTo>
                    <a:pt x="142" y="88"/>
                  </a:lnTo>
                  <a:lnTo>
                    <a:pt x="141" y="88"/>
                  </a:lnTo>
                  <a:lnTo>
                    <a:pt x="142" y="88"/>
                  </a:lnTo>
                  <a:lnTo>
                    <a:pt x="142" y="89"/>
                  </a:lnTo>
                  <a:lnTo>
                    <a:pt x="141" y="88"/>
                  </a:lnTo>
                  <a:lnTo>
                    <a:pt x="141" y="89"/>
                  </a:lnTo>
                  <a:lnTo>
                    <a:pt x="141" y="88"/>
                  </a:lnTo>
                  <a:lnTo>
                    <a:pt x="140" y="88"/>
                  </a:lnTo>
                  <a:lnTo>
                    <a:pt x="141" y="89"/>
                  </a:lnTo>
                  <a:lnTo>
                    <a:pt x="140" y="90"/>
                  </a:lnTo>
                  <a:lnTo>
                    <a:pt x="140" y="89"/>
                  </a:lnTo>
                  <a:lnTo>
                    <a:pt x="139" y="89"/>
                  </a:lnTo>
                  <a:lnTo>
                    <a:pt x="139" y="88"/>
                  </a:lnTo>
                  <a:lnTo>
                    <a:pt x="139" y="89"/>
                  </a:lnTo>
                  <a:lnTo>
                    <a:pt x="138" y="89"/>
                  </a:lnTo>
                  <a:lnTo>
                    <a:pt x="138" y="90"/>
                  </a:lnTo>
                  <a:lnTo>
                    <a:pt x="138" y="91"/>
                  </a:lnTo>
                  <a:lnTo>
                    <a:pt x="139" y="90"/>
                  </a:lnTo>
                  <a:lnTo>
                    <a:pt x="139" y="91"/>
                  </a:lnTo>
                  <a:lnTo>
                    <a:pt x="138" y="91"/>
                  </a:lnTo>
                  <a:lnTo>
                    <a:pt x="140" y="91"/>
                  </a:lnTo>
                  <a:lnTo>
                    <a:pt x="140" y="93"/>
                  </a:lnTo>
                  <a:lnTo>
                    <a:pt x="141" y="93"/>
                  </a:lnTo>
                  <a:lnTo>
                    <a:pt x="141" y="94"/>
                  </a:lnTo>
                  <a:lnTo>
                    <a:pt x="142" y="95"/>
                  </a:lnTo>
                  <a:lnTo>
                    <a:pt x="142" y="94"/>
                  </a:lnTo>
                  <a:lnTo>
                    <a:pt x="144" y="95"/>
                  </a:lnTo>
                  <a:lnTo>
                    <a:pt x="145" y="94"/>
                  </a:lnTo>
                  <a:lnTo>
                    <a:pt x="145" y="95"/>
                  </a:lnTo>
                  <a:lnTo>
                    <a:pt x="145" y="96"/>
                  </a:lnTo>
                  <a:lnTo>
                    <a:pt x="144" y="96"/>
                  </a:lnTo>
                  <a:lnTo>
                    <a:pt x="144" y="95"/>
                  </a:lnTo>
                  <a:lnTo>
                    <a:pt x="144" y="96"/>
                  </a:lnTo>
                  <a:lnTo>
                    <a:pt x="142" y="96"/>
                  </a:lnTo>
                  <a:lnTo>
                    <a:pt x="144" y="96"/>
                  </a:lnTo>
                  <a:lnTo>
                    <a:pt x="144" y="97"/>
                  </a:lnTo>
                  <a:lnTo>
                    <a:pt x="144" y="99"/>
                  </a:lnTo>
                  <a:lnTo>
                    <a:pt x="144" y="100"/>
                  </a:lnTo>
                  <a:lnTo>
                    <a:pt x="145" y="100"/>
                  </a:lnTo>
                  <a:lnTo>
                    <a:pt x="145" y="101"/>
                  </a:lnTo>
                  <a:lnTo>
                    <a:pt x="146" y="101"/>
                  </a:lnTo>
                  <a:lnTo>
                    <a:pt x="147" y="101"/>
                  </a:lnTo>
                  <a:lnTo>
                    <a:pt x="146" y="101"/>
                  </a:lnTo>
                  <a:lnTo>
                    <a:pt x="148" y="103"/>
                  </a:lnTo>
                  <a:lnTo>
                    <a:pt x="150" y="106"/>
                  </a:lnTo>
                  <a:lnTo>
                    <a:pt x="151" y="106"/>
                  </a:lnTo>
                  <a:lnTo>
                    <a:pt x="152" y="106"/>
                  </a:lnTo>
                  <a:lnTo>
                    <a:pt x="151" y="106"/>
                  </a:lnTo>
                  <a:lnTo>
                    <a:pt x="151" y="107"/>
                  </a:lnTo>
                  <a:lnTo>
                    <a:pt x="153" y="108"/>
                  </a:lnTo>
                  <a:lnTo>
                    <a:pt x="152" y="108"/>
                  </a:lnTo>
                  <a:lnTo>
                    <a:pt x="151" y="107"/>
                  </a:lnTo>
                  <a:lnTo>
                    <a:pt x="152" y="110"/>
                  </a:lnTo>
                  <a:lnTo>
                    <a:pt x="153" y="108"/>
                  </a:lnTo>
                  <a:lnTo>
                    <a:pt x="153" y="110"/>
                  </a:lnTo>
                  <a:lnTo>
                    <a:pt x="155" y="111"/>
                  </a:lnTo>
                  <a:lnTo>
                    <a:pt x="153" y="111"/>
                  </a:lnTo>
                  <a:lnTo>
                    <a:pt x="155" y="111"/>
                  </a:lnTo>
                  <a:lnTo>
                    <a:pt x="156" y="111"/>
                  </a:lnTo>
                  <a:lnTo>
                    <a:pt x="157" y="112"/>
                  </a:lnTo>
                  <a:lnTo>
                    <a:pt x="156" y="113"/>
                  </a:lnTo>
                  <a:lnTo>
                    <a:pt x="158" y="114"/>
                  </a:lnTo>
                  <a:lnTo>
                    <a:pt x="156" y="113"/>
                  </a:lnTo>
                  <a:lnTo>
                    <a:pt x="156" y="114"/>
                  </a:lnTo>
                  <a:lnTo>
                    <a:pt x="155" y="114"/>
                  </a:lnTo>
                  <a:lnTo>
                    <a:pt x="155" y="113"/>
                  </a:lnTo>
                  <a:lnTo>
                    <a:pt x="155" y="112"/>
                  </a:lnTo>
                  <a:lnTo>
                    <a:pt x="153" y="113"/>
                  </a:lnTo>
                  <a:lnTo>
                    <a:pt x="153" y="111"/>
                  </a:lnTo>
                  <a:lnTo>
                    <a:pt x="153" y="114"/>
                  </a:lnTo>
                  <a:lnTo>
                    <a:pt x="152" y="113"/>
                  </a:lnTo>
                  <a:lnTo>
                    <a:pt x="152" y="114"/>
                  </a:lnTo>
                  <a:lnTo>
                    <a:pt x="151" y="114"/>
                  </a:lnTo>
                  <a:lnTo>
                    <a:pt x="151" y="113"/>
                  </a:lnTo>
                  <a:lnTo>
                    <a:pt x="151" y="112"/>
                  </a:lnTo>
                  <a:lnTo>
                    <a:pt x="150" y="111"/>
                  </a:lnTo>
                  <a:lnTo>
                    <a:pt x="148" y="111"/>
                  </a:lnTo>
                  <a:lnTo>
                    <a:pt x="148" y="112"/>
                  </a:lnTo>
                  <a:lnTo>
                    <a:pt x="148" y="111"/>
                  </a:lnTo>
                  <a:lnTo>
                    <a:pt x="148" y="110"/>
                  </a:lnTo>
                  <a:lnTo>
                    <a:pt x="147" y="110"/>
                  </a:lnTo>
                  <a:lnTo>
                    <a:pt x="146" y="110"/>
                  </a:lnTo>
                  <a:lnTo>
                    <a:pt x="146" y="111"/>
                  </a:lnTo>
                  <a:lnTo>
                    <a:pt x="147" y="112"/>
                  </a:lnTo>
                  <a:lnTo>
                    <a:pt x="148" y="112"/>
                  </a:lnTo>
                  <a:lnTo>
                    <a:pt x="148" y="114"/>
                  </a:lnTo>
                  <a:lnTo>
                    <a:pt x="150" y="114"/>
                  </a:lnTo>
                  <a:lnTo>
                    <a:pt x="150" y="116"/>
                  </a:lnTo>
                  <a:lnTo>
                    <a:pt x="152" y="117"/>
                  </a:lnTo>
                  <a:lnTo>
                    <a:pt x="153" y="118"/>
                  </a:lnTo>
                  <a:lnTo>
                    <a:pt x="152" y="118"/>
                  </a:lnTo>
                  <a:lnTo>
                    <a:pt x="153" y="119"/>
                  </a:lnTo>
                  <a:lnTo>
                    <a:pt x="152" y="118"/>
                  </a:lnTo>
                  <a:lnTo>
                    <a:pt x="151" y="119"/>
                  </a:lnTo>
                  <a:lnTo>
                    <a:pt x="151" y="118"/>
                  </a:lnTo>
                  <a:lnTo>
                    <a:pt x="151" y="117"/>
                  </a:lnTo>
                  <a:lnTo>
                    <a:pt x="150" y="117"/>
                  </a:lnTo>
                  <a:lnTo>
                    <a:pt x="150" y="118"/>
                  </a:lnTo>
                  <a:lnTo>
                    <a:pt x="150" y="116"/>
                  </a:lnTo>
                  <a:lnTo>
                    <a:pt x="148" y="118"/>
                  </a:lnTo>
                  <a:lnTo>
                    <a:pt x="148" y="119"/>
                  </a:lnTo>
                  <a:lnTo>
                    <a:pt x="148" y="118"/>
                  </a:lnTo>
                  <a:lnTo>
                    <a:pt x="148" y="117"/>
                  </a:lnTo>
                  <a:lnTo>
                    <a:pt x="147" y="117"/>
                  </a:lnTo>
                  <a:lnTo>
                    <a:pt x="148" y="114"/>
                  </a:lnTo>
                  <a:lnTo>
                    <a:pt x="148" y="113"/>
                  </a:lnTo>
                  <a:lnTo>
                    <a:pt x="148" y="114"/>
                  </a:lnTo>
                  <a:lnTo>
                    <a:pt x="147" y="117"/>
                  </a:lnTo>
                  <a:lnTo>
                    <a:pt x="147" y="116"/>
                  </a:lnTo>
                  <a:lnTo>
                    <a:pt x="147" y="113"/>
                  </a:lnTo>
                  <a:lnTo>
                    <a:pt x="147" y="114"/>
                  </a:lnTo>
                  <a:lnTo>
                    <a:pt x="147" y="116"/>
                  </a:lnTo>
                  <a:lnTo>
                    <a:pt x="147" y="112"/>
                  </a:lnTo>
                  <a:lnTo>
                    <a:pt x="146" y="114"/>
                  </a:lnTo>
                  <a:lnTo>
                    <a:pt x="146" y="116"/>
                  </a:lnTo>
                  <a:lnTo>
                    <a:pt x="145" y="116"/>
                  </a:lnTo>
                  <a:lnTo>
                    <a:pt x="145" y="113"/>
                  </a:lnTo>
                  <a:lnTo>
                    <a:pt x="144" y="113"/>
                  </a:lnTo>
                  <a:lnTo>
                    <a:pt x="144" y="112"/>
                  </a:lnTo>
                  <a:lnTo>
                    <a:pt x="144" y="111"/>
                  </a:lnTo>
                  <a:lnTo>
                    <a:pt x="144" y="112"/>
                  </a:lnTo>
                  <a:lnTo>
                    <a:pt x="144" y="113"/>
                  </a:lnTo>
                  <a:lnTo>
                    <a:pt x="142" y="113"/>
                  </a:lnTo>
                  <a:lnTo>
                    <a:pt x="142" y="112"/>
                  </a:lnTo>
                  <a:lnTo>
                    <a:pt x="141" y="112"/>
                  </a:lnTo>
                  <a:lnTo>
                    <a:pt x="141" y="113"/>
                  </a:lnTo>
                  <a:lnTo>
                    <a:pt x="142" y="114"/>
                  </a:lnTo>
                  <a:lnTo>
                    <a:pt x="141" y="114"/>
                  </a:lnTo>
                  <a:lnTo>
                    <a:pt x="142" y="114"/>
                  </a:lnTo>
                  <a:lnTo>
                    <a:pt x="142" y="116"/>
                  </a:lnTo>
                  <a:lnTo>
                    <a:pt x="144" y="117"/>
                  </a:lnTo>
                  <a:lnTo>
                    <a:pt x="145" y="117"/>
                  </a:lnTo>
                  <a:lnTo>
                    <a:pt x="146" y="118"/>
                  </a:lnTo>
                  <a:lnTo>
                    <a:pt x="145" y="118"/>
                  </a:lnTo>
                  <a:lnTo>
                    <a:pt x="146" y="118"/>
                  </a:lnTo>
                  <a:lnTo>
                    <a:pt x="147" y="119"/>
                  </a:lnTo>
                  <a:lnTo>
                    <a:pt x="146" y="119"/>
                  </a:lnTo>
                  <a:lnTo>
                    <a:pt x="147" y="120"/>
                  </a:lnTo>
                  <a:lnTo>
                    <a:pt x="147" y="119"/>
                  </a:lnTo>
                  <a:lnTo>
                    <a:pt x="148" y="119"/>
                  </a:lnTo>
                  <a:lnTo>
                    <a:pt x="148" y="120"/>
                  </a:lnTo>
                  <a:lnTo>
                    <a:pt x="150" y="120"/>
                  </a:lnTo>
                  <a:lnTo>
                    <a:pt x="148" y="120"/>
                  </a:lnTo>
                  <a:lnTo>
                    <a:pt x="148" y="122"/>
                  </a:lnTo>
                  <a:lnTo>
                    <a:pt x="150" y="122"/>
                  </a:lnTo>
                  <a:lnTo>
                    <a:pt x="148" y="122"/>
                  </a:lnTo>
                  <a:lnTo>
                    <a:pt x="150" y="123"/>
                  </a:lnTo>
                  <a:lnTo>
                    <a:pt x="151" y="123"/>
                  </a:lnTo>
                  <a:lnTo>
                    <a:pt x="152" y="123"/>
                  </a:lnTo>
                  <a:lnTo>
                    <a:pt x="151" y="124"/>
                  </a:lnTo>
                  <a:lnTo>
                    <a:pt x="152" y="125"/>
                  </a:lnTo>
                  <a:lnTo>
                    <a:pt x="151" y="124"/>
                  </a:lnTo>
                  <a:lnTo>
                    <a:pt x="150" y="124"/>
                  </a:lnTo>
                  <a:lnTo>
                    <a:pt x="150" y="125"/>
                  </a:lnTo>
                  <a:lnTo>
                    <a:pt x="151" y="125"/>
                  </a:lnTo>
                  <a:lnTo>
                    <a:pt x="152" y="125"/>
                  </a:lnTo>
                  <a:lnTo>
                    <a:pt x="153" y="126"/>
                  </a:lnTo>
                  <a:lnTo>
                    <a:pt x="153" y="125"/>
                  </a:lnTo>
                  <a:lnTo>
                    <a:pt x="155" y="126"/>
                  </a:lnTo>
                  <a:lnTo>
                    <a:pt x="153" y="126"/>
                  </a:lnTo>
                  <a:lnTo>
                    <a:pt x="155" y="126"/>
                  </a:lnTo>
                  <a:lnTo>
                    <a:pt x="155" y="128"/>
                  </a:lnTo>
                  <a:lnTo>
                    <a:pt x="153" y="128"/>
                  </a:lnTo>
                  <a:lnTo>
                    <a:pt x="152" y="128"/>
                  </a:lnTo>
                  <a:lnTo>
                    <a:pt x="152" y="129"/>
                  </a:lnTo>
                  <a:lnTo>
                    <a:pt x="152" y="128"/>
                  </a:lnTo>
                  <a:lnTo>
                    <a:pt x="152" y="126"/>
                  </a:lnTo>
                  <a:lnTo>
                    <a:pt x="152" y="128"/>
                  </a:lnTo>
                  <a:lnTo>
                    <a:pt x="151" y="128"/>
                  </a:lnTo>
                  <a:lnTo>
                    <a:pt x="151" y="126"/>
                  </a:lnTo>
                  <a:lnTo>
                    <a:pt x="151" y="128"/>
                  </a:lnTo>
                  <a:lnTo>
                    <a:pt x="151" y="129"/>
                  </a:lnTo>
                  <a:lnTo>
                    <a:pt x="152" y="129"/>
                  </a:lnTo>
                  <a:lnTo>
                    <a:pt x="151" y="129"/>
                  </a:lnTo>
                  <a:lnTo>
                    <a:pt x="152" y="129"/>
                  </a:lnTo>
                  <a:lnTo>
                    <a:pt x="153" y="129"/>
                  </a:lnTo>
                  <a:lnTo>
                    <a:pt x="155" y="128"/>
                  </a:lnTo>
                  <a:lnTo>
                    <a:pt x="155" y="129"/>
                  </a:lnTo>
                  <a:lnTo>
                    <a:pt x="156" y="129"/>
                  </a:lnTo>
                  <a:lnTo>
                    <a:pt x="157" y="130"/>
                  </a:lnTo>
                  <a:lnTo>
                    <a:pt x="156" y="130"/>
                  </a:lnTo>
                  <a:lnTo>
                    <a:pt x="155" y="130"/>
                  </a:lnTo>
                  <a:lnTo>
                    <a:pt x="156" y="131"/>
                  </a:lnTo>
                  <a:lnTo>
                    <a:pt x="157" y="131"/>
                  </a:lnTo>
                  <a:lnTo>
                    <a:pt x="158" y="131"/>
                  </a:lnTo>
                  <a:lnTo>
                    <a:pt x="159" y="131"/>
                  </a:lnTo>
                  <a:lnTo>
                    <a:pt x="161" y="131"/>
                  </a:lnTo>
                  <a:lnTo>
                    <a:pt x="161" y="132"/>
                  </a:lnTo>
                  <a:lnTo>
                    <a:pt x="162" y="132"/>
                  </a:lnTo>
                  <a:lnTo>
                    <a:pt x="163" y="134"/>
                  </a:lnTo>
                  <a:lnTo>
                    <a:pt x="164" y="134"/>
                  </a:lnTo>
                  <a:lnTo>
                    <a:pt x="164" y="132"/>
                  </a:lnTo>
                  <a:lnTo>
                    <a:pt x="165" y="132"/>
                  </a:lnTo>
                  <a:lnTo>
                    <a:pt x="165" y="134"/>
                  </a:lnTo>
                  <a:lnTo>
                    <a:pt x="164" y="134"/>
                  </a:lnTo>
                  <a:lnTo>
                    <a:pt x="164" y="135"/>
                  </a:lnTo>
                  <a:lnTo>
                    <a:pt x="165" y="135"/>
                  </a:lnTo>
                  <a:lnTo>
                    <a:pt x="167" y="135"/>
                  </a:lnTo>
                  <a:lnTo>
                    <a:pt x="168" y="135"/>
                  </a:lnTo>
                  <a:lnTo>
                    <a:pt x="167" y="136"/>
                  </a:lnTo>
                  <a:lnTo>
                    <a:pt x="167" y="135"/>
                  </a:lnTo>
                  <a:lnTo>
                    <a:pt x="165" y="135"/>
                  </a:lnTo>
                  <a:lnTo>
                    <a:pt x="165" y="136"/>
                  </a:lnTo>
                  <a:lnTo>
                    <a:pt x="167" y="137"/>
                  </a:lnTo>
                  <a:lnTo>
                    <a:pt x="168" y="137"/>
                  </a:lnTo>
                  <a:lnTo>
                    <a:pt x="170" y="137"/>
                  </a:lnTo>
                  <a:lnTo>
                    <a:pt x="171" y="137"/>
                  </a:lnTo>
                  <a:lnTo>
                    <a:pt x="170" y="138"/>
                  </a:lnTo>
                  <a:lnTo>
                    <a:pt x="171" y="138"/>
                  </a:lnTo>
                  <a:lnTo>
                    <a:pt x="171" y="140"/>
                  </a:lnTo>
                  <a:lnTo>
                    <a:pt x="170" y="138"/>
                  </a:lnTo>
                  <a:lnTo>
                    <a:pt x="169" y="138"/>
                  </a:lnTo>
                  <a:lnTo>
                    <a:pt x="170" y="140"/>
                  </a:lnTo>
                  <a:lnTo>
                    <a:pt x="169" y="140"/>
                  </a:lnTo>
                  <a:lnTo>
                    <a:pt x="169" y="138"/>
                  </a:lnTo>
                  <a:lnTo>
                    <a:pt x="168" y="137"/>
                  </a:lnTo>
                  <a:lnTo>
                    <a:pt x="168" y="138"/>
                  </a:lnTo>
                  <a:lnTo>
                    <a:pt x="169" y="140"/>
                  </a:lnTo>
                  <a:lnTo>
                    <a:pt x="171" y="141"/>
                  </a:lnTo>
                  <a:lnTo>
                    <a:pt x="170" y="141"/>
                  </a:lnTo>
                  <a:lnTo>
                    <a:pt x="169" y="141"/>
                  </a:lnTo>
                  <a:lnTo>
                    <a:pt x="169" y="142"/>
                  </a:lnTo>
                  <a:lnTo>
                    <a:pt x="169" y="141"/>
                  </a:lnTo>
                  <a:lnTo>
                    <a:pt x="169" y="140"/>
                  </a:lnTo>
                  <a:lnTo>
                    <a:pt x="168" y="140"/>
                  </a:lnTo>
                  <a:lnTo>
                    <a:pt x="168" y="142"/>
                  </a:lnTo>
                  <a:lnTo>
                    <a:pt x="168" y="143"/>
                  </a:lnTo>
                  <a:lnTo>
                    <a:pt x="167" y="143"/>
                  </a:lnTo>
                  <a:lnTo>
                    <a:pt x="167" y="142"/>
                  </a:lnTo>
                  <a:lnTo>
                    <a:pt x="165" y="142"/>
                  </a:lnTo>
                  <a:lnTo>
                    <a:pt x="165" y="141"/>
                  </a:lnTo>
                  <a:lnTo>
                    <a:pt x="164" y="141"/>
                  </a:lnTo>
                  <a:lnTo>
                    <a:pt x="164" y="142"/>
                  </a:lnTo>
                  <a:lnTo>
                    <a:pt x="164" y="143"/>
                  </a:lnTo>
                  <a:lnTo>
                    <a:pt x="163" y="143"/>
                  </a:lnTo>
                  <a:lnTo>
                    <a:pt x="163" y="141"/>
                  </a:lnTo>
                  <a:lnTo>
                    <a:pt x="163" y="142"/>
                  </a:lnTo>
                  <a:lnTo>
                    <a:pt x="162" y="141"/>
                  </a:lnTo>
                  <a:lnTo>
                    <a:pt x="161" y="141"/>
                  </a:lnTo>
                  <a:lnTo>
                    <a:pt x="162" y="141"/>
                  </a:lnTo>
                  <a:lnTo>
                    <a:pt x="162" y="140"/>
                  </a:lnTo>
                  <a:lnTo>
                    <a:pt x="162" y="138"/>
                  </a:lnTo>
                  <a:lnTo>
                    <a:pt x="161" y="138"/>
                  </a:lnTo>
                  <a:lnTo>
                    <a:pt x="161" y="140"/>
                  </a:lnTo>
                  <a:lnTo>
                    <a:pt x="162" y="140"/>
                  </a:lnTo>
                  <a:lnTo>
                    <a:pt x="161" y="141"/>
                  </a:lnTo>
                  <a:lnTo>
                    <a:pt x="161" y="142"/>
                  </a:lnTo>
                  <a:lnTo>
                    <a:pt x="161" y="143"/>
                  </a:lnTo>
                  <a:lnTo>
                    <a:pt x="161" y="142"/>
                  </a:lnTo>
                  <a:lnTo>
                    <a:pt x="159" y="142"/>
                  </a:lnTo>
                  <a:lnTo>
                    <a:pt x="159" y="140"/>
                  </a:lnTo>
                  <a:lnTo>
                    <a:pt x="159" y="141"/>
                  </a:lnTo>
                  <a:lnTo>
                    <a:pt x="158" y="141"/>
                  </a:lnTo>
                  <a:lnTo>
                    <a:pt x="158" y="142"/>
                  </a:lnTo>
                  <a:lnTo>
                    <a:pt x="158" y="143"/>
                  </a:lnTo>
                  <a:lnTo>
                    <a:pt x="159" y="143"/>
                  </a:lnTo>
                  <a:lnTo>
                    <a:pt x="161" y="144"/>
                  </a:lnTo>
                  <a:lnTo>
                    <a:pt x="159" y="144"/>
                  </a:lnTo>
                  <a:lnTo>
                    <a:pt x="159" y="143"/>
                  </a:lnTo>
                  <a:lnTo>
                    <a:pt x="159" y="144"/>
                  </a:lnTo>
                  <a:lnTo>
                    <a:pt x="159" y="146"/>
                  </a:lnTo>
                  <a:lnTo>
                    <a:pt x="161" y="146"/>
                  </a:lnTo>
                  <a:lnTo>
                    <a:pt x="161" y="144"/>
                  </a:lnTo>
                  <a:lnTo>
                    <a:pt x="161" y="146"/>
                  </a:lnTo>
                  <a:lnTo>
                    <a:pt x="162" y="146"/>
                  </a:lnTo>
                  <a:lnTo>
                    <a:pt x="163" y="144"/>
                  </a:lnTo>
                  <a:lnTo>
                    <a:pt x="164" y="144"/>
                  </a:lnTo>
                  <a:lnTo>
                    <a:pt x="167" y="144"/>
                  </a:lnTo>
                  <a:lnTo>
                    <a:pt x="168" y="144"/>
                  </a:lnTo>
                  <a:lnTo>
                    <a:pt x="168" y="146"/>
                  </a:lnTo>
                  <a:lnTo>
                    <a:pt x="168" y="144"/>
                  </a:lnTo>
                  <a:lnTo>
                    <a:pt x="169" y="144"/>
                  </a:lnTo>
                  <a:lnTo>
                    <a:pt x="170" y="144"/>
                  </a:lnTo>
                  <a:lnTo>
                    <a:pt x="170" y="146"/>
                  </a:lnTo>
                  <a:lnTo>
                    <a:pt x="171" y="146"/>
                  </a:lnTo>
                  <a:lnTo>
                    <a:pt x="173" y="146"/>
                  </a:lnTo>
                  <a:lnTo>
                    <a:pt x="174" y="146"/>
                  </a:lnTo>
                  <a:lnTo>
                    <a:pt x="175" y="146"/>
                  </a:lnTo>
                  <a:lnTo>
                    <a:pt x="175" y="147"/>
                  </a:lnTo>
                  <a:lnTo>
                    <a:pt x="176" y="147"/>
                  </a:lnTo>
                  <a:lnTo>
                    <a:pt x="177" y="147"/>
                  </a:lnTo>
                  <a:lnTo>
                    <a:pt x="177" y="148"/>
                  </a:lnTo>
                  <a:lnTo>
                    <a:pt x="179" y="148"/>
                  </a:lnTo>
                  <a:lnTo>
                    <a:pt x="180" y="148"/>
                  </a:lnTo>
                  <a:lnTo>
                    <a:pt x="181" y="148"/>
                  </a:lnTo>
                  <a:lnTo>
                    <a:pt x="182" y="148"/>
                  </a:lnTo>
                  <a:lnTo>
                    <a:pt x="181" y="148"/>
                  </a:lnTo>
                  <a:lnTo>
                    <a:pt x="181" y="149"/>
                  </a:lnTo>
                  <a:lnTo>
                    <a:pt x="183" y="149"/>
                  </a:lnTo>
                  <a:lnTo>
                    <a:pt x="182" y="150"/>
                  </a:lnTo>
                  <a:lnTo>
                    <a:pt x="181" y="149"/>
                  </a:lnTo>
                  <a:lnTo>
                    <a:pt x="181" y="150"/>
                  </a:lnTo>
                  <a:lnTo>
                    <a:pt x="180" y="150"/>
                  </a:lnTo>
                  <a:lnTo>
                    <a:pt x="180" y="149"/>
                  </a:lnTo>
                  <a:lnTo>
                    <a:pt x="179" y="149"/>
                  </a:lnTo>
                  <a:lnTo>
                    <a:pt x="179" y="150"/>
                  </a:lnTo>
                  <a:lnTo>
                    <a:pt x="179" y="152"/>
                  </a:lnTo>
                  <a:lnTo>
                    <a:pt x="177" y="152"/>
                  </a:lnTo>
                  <a:lnTo>
                    <a:pt x="177" y="153"/>
                  </a:lnTo>
                  <a:lnTo>
                    <a:pt x="176" y="153"/>
                  </a:lnTo>
                  <a:lnTo>
                    <a:pt x="176" y="152"/>
                  </a:lnTo>
                  <a:lnTo>
                    <a:pt x="176" y="150"/>
                  </a:lnTo>
                  <a:lnTo>
                    <a:pt x="176" y="149"/>
                  </a:lnTo>
                  <a:lnTo>
                    <a:pt x="176" y="148"/>
                  </a:lnTo>
                  <a:lnTo>
                    <a:pt x="175" y="148"/>
                  </a:lnTo>
                  <a:lnTo>
                    <a:pt x="176" y="148"/>
                  </a:lnTo>
                  <a:lnTo>
                    <a:pt x="176" y="149"/>
                  </a:lnTo>
                  <a:lnTo>
                    <a:pt x="175" y="149"/>
                  </a:lnTo>
                  <a:lnTo>
                    <a:pt x="176" y="150"/>
                  </a:lnTo>
                  <a:lnTo>
                    <a:pt x="176" y="152"/>
                  </a:lnTo>
                  <a:lnTo>
                    <a:pt x="175" y="152"/>
                  </a:lnTo>
                  <a:lnTo>
                    <a:pt x="175" y="150"/>
                  </a:lnTo>
                  <a:lnTo>
                    <a:pt x="174" y="150"/>
                  </a:lnTo>
                  <a:lnTo>
                    <a:pt x="174" y="149"/>
                  </a:lnTo>
                  <a:lnTo>
                    <a:pt x="174" y="150"/>
                  </a:lnTo>
                  <a:lnTo>
                    <a:pt x="174" y="152"/>
                  </a:lnTo>
                  <a:lnTo>
                    <a:pt x="174" y="153"/>
                  </a:lnTo>
                  <a:lnTo>
                    <a:pt x="173" y="153"/>
                  </a:lnTo>
                  <a:lnTo>
                    <a:pt x="173" y="152"/>
                  </a:lnTo>
                  <a:lnTo>
                    <a:pt x="173" y="150"/>
                  </a:lnTo>
                  <a:lnTo>
                    <a:pt x="173" y="149"/>
                  </a:lnTo>
                  <a:lnTo>
                    <a:pt x="171" y="150"/>
                  </a:lnTo>
                  <a:lnTo>
                    <a:pt x="171" y="149"/>
                  </a:lnTo>
                  <a:lnTo>
                    <a:pt x="171" y="148"/>
                  </a:lnTo>
                  <a:lnTo>
                    <a:pt x="171" y="149"/>
                  </a:lnTo>
                  <a:lnTo>
                    <a:pt x="171" y="150"/>
                  </a:lnTo>
                  <a:lnTo>
                    <a:pt x="171" y="152"/>
                  </a:lnTo>
                  <a:lnTo>
                    <a:pt x="171" y="150"/>
                  </a:lnTo>
                  <a:lnTo>
                    <a:pt x="170" y="150"/>
                  </a:lnTo>
                  <a:lnTo>
                    <a:pt x="170" y="152"/>
                  </a:lnTo>
                  <a:lnTo>
                    <a:pt x="170" y="150"/>
                  </a:lnTo>
                  <a:lnTo>
                    <a:pt x="169" y="150"/>
                  </a:lnTo>
                  <a:lnTo>
                    <a:pt x="169" y="152"/>
                  </a:lnTo>
                  <a:lnTo>
                    <a:pt x="169" y="153"/>
                  </a:lnTo>
                  <a:lnTo>
                    <a:pt x="169" y="154"/>
                  </a:lnTo>
                  <a:lnTo>
                    <a:pt x="168" y="154"/>
                  </a:lnTo>
                  <a:lnTo>
                    <a:pt x="168" y="153"/>
                  </a:lnTo>
                  <a:lnTo>
                    <a:pt x="168" y="152"/>
                  </a:lnTo>
                  <a:lnTo>
                    <a:pt x="167" y="152"/>
                  </a:lnTo>
                  <a:lnTo>
                    <a:pt x="167" y="150"/>
                  </a:lnTo>
                  <a:lnTo>
                    <a:pt x="167" y="152"/>
                  </a:lnTo>
                  <a:lnTo>
                    <a:pt x="165" y="152"/>
                  </a:lnTo>
                  <a:lnTo>
                    <a:pt x="165" y="153"/>
                  </a:lnTo>
                  <a:lnTo>
                    <a:pt x="165" y="154"/>
                  </a:lnTo>
                  <a:lnTo>
                    <a:pt x="165" y="153"/>
                  </a:lnTo>
                  <a:lnTo>
                    <a:pt x="164" y="153"/>
                  </a:lnTo>
                  <a:lnTo>
                    <a:pt x="164" y="154"/>
                  </a:lnTo>
                  <a:lnTo>
                    <a:pt x="163" y="154"/>
                  </a:lnTo>
                  <a:lnTo>
                    <a:pt x="163" y="153"/>
                  </a:lnTo>
                  <a:lnTo>
                    <a:pt x="163" y="152"/>
                  </a:lnTo>
                  <a:lnTo>
                    <a:pt x="163" y="153"/>
                  </a:lnTo>
                  <a:lnTo>
                    <a:pt x="163" y="154"/>
                  </a:lnTo>
                  <a:lnTo>
                    <a:pt x="162" y="154"/>
                  </a:lnTo>
                  <a:lnTo>
                    <a:pt x="162" y="153"/>
                  </a:lnTo>
                  <a:lnTo>
                    <a:pt x="161" y="153"/>
                  </a:lnTo>
                  <a:lnTo>
                    <a:pt x="161" y="154"/>
                  </a:lnTo>
                  <a:lnTo>
                    <a:pt x="162" y="154"/>
                  </a:lnTo>
                  <a:lnTo>
                    <a:pt x="163" y="154"/>
                  </a:lnTo>
                  <a:lnTo>
                    <a:pt x="164" y="154"/>
                  </a:lnTo>
                  <a:lnTo>
                    <a:pt x="167" y="154"/>
                  </a:lnTo>
                  <a:lnTo>
                    <a:pt x="165" y="154"/>
                  </a:lnTo>
                  <a:lnTo>
                    <a:pt x="165" y="155"/>
                  </a:lnTo>
                  <a:lnTo>
                    <a:pt x="165" y="156"/>
                  </a:lnTo>
                  <a:lnTo>
                    <a:pt x="164" y="155"/>
                  </a:lnTo>
                  <a:lnTo>
                    <a:pt x="163" y="155"/>
                  </a:lnTo>
                  <a:lnTo>
                    <a:pt x="163" y="154"/>
                  </a:lnTo>
                  <a:lnTo>
                    <a:pt x="162" y="154"/>
                  </a:lnTo>
                  <a:lnTo>
                    <a:pt x="162" y="155"/>
                  </a:lnTo>
                  <a:lnTo>
                    <a:pt x="163" y="155"/>
                  </a:lnTo>
                  <a:lnTo>
                    <a:pt x="163" y="156"/>
                  </a:lnTo>
                  <a:lnTo>
                    <a:pt x="163" y="158"/>
                  </a:lnTo>
                  <a:lnTo>
                    <a:pt x="162" y="156"/>
                  </a:lnTo>
                  <a:lnTo>
                    <a:pt x="162" y="155"/>
                  </a:lnTo>
                  <a:lnTo>
                    <a:pt x="161" y="155"/>
                  </a:lnTo>
                  <a:lnTo>
                    <a:pt x="161" y="156"/>
                  </a:lnTo>
                  <a:lnTo>
                    <a:pt x="161" y="155"/>
                  </a:lnTo>
                  <a:lnTo>
                    <a:pt x="159" y="155"/>
                  </a:lnTo>
                  <a:lnTo>
                    <a:pt x="161" y="156"/>
                  </a:lnTo>
                  <a:lnTo>
                    <a:pt x="159" y="156"/>
                  </a:lnTo>
                  <a:lnTo>
                    <a:pt x="159" y="158"/>
                  </a:lnTo>
                  <a:lnTo>
                    <a:pt x="159" y="156"/>
                  </a:lnTo>
                  <a:lnTo>
                    <a:pt x="158" y="156"/>
                  </a:lnTo>
                  <a:lnTo>
                    <a:pt x="158" y="155"/>
                  </a:lnTo>
                  <a:lnTo>
                    <a:pt x="158" y="154"/>
                  </a:lnTo>
                  <a:lnTo>
                    <a:pt x="158" y="153"/>
                  </a:lnTo>
                  <a:lnTo>
                    <a:pt x="158" y="152"/>
                  </a:lnTo>
                  <a:lnTo>
                    <a:pt x="158" y="153"/>
                  </a:lnTo>
                  <a:lnTo>
                    <a:pt x="158" y="154"/>
                  </a:lnTo>
                  <a:lnTo>
                    <a:pt x="158" y="155"/>
                  </a:lnTo>
                  <a:lnTo>
                    <a:pt x="158" y="156"/>
                  </a:lnTo>
                  <a:lnTo>
                    <a:pt x="158" y="158"/>
                  </a:lnTo>
                  <a:lnTo>
                    <a:pt x="157" y="158"/>
                  </a:lnTo>
                  <a:lnTo>
                    <a:pt x="157" y="156"/>
                  </a:lnTo>
                  <a:lnTo>
                    <a:pt x="157" y="158"/>
                  </a:lnTo>
                  <a:lnTo>
                    <a:pt x="156" y="158"/>
                  </a:lnTo>
                  <a:lnTo>
                    <a:pt x="155" y="158"/>
                  </a:lnTo>
                  <a:lnTo>
                    <a:pt x="155" y="159"/>
                  </a:lnTo>
                  <a:lnTo>
                    <a:pt x="156" y="159"/>
                  </a:lnTo>
                  <a:lnTo>
                    <a:pt x="156" y="160"/>
                  </a:lnTo>
                  <a:lnTo>
                    <a:pt x="155" y="160"/>
                  </a:lnTo>
                  <a:lnTo>
                    <a:pt x="153" y="159"/>
                  </a:lnTo>
                  <a:lnTo>
                    <a:pt x="153" y="160"/>
                  </a:lnTo>
                  <a:lnTo>
                    <a:pt x="153" y="161"/>
                  </a:lnTo>
                  <a:lnTo>
                    <a:pt x="155" y="161"/>
                  </a:lnTo>
                  <a:lnTo>
                    <a:pt x="156" y="161"/>
                  </a:lnTo>
                  <a:lnTo>
                    <a:pt x="157" y="161"/>
                  </a:lnTo>
                  <a:lnTo>
                    <a:pt x="158" y="161"/>
                  </a:lnTo>
                  <a:lnTo>
                    <a:pt x="158" y="162"/>
                  </a:lnTo>
                  <a:lnTo>
                    <a:pt x="159" y="162"/>
                  </a:lnTo>
                  <a:lnTo>
                    <a:pt x="159" y="161"/>
                  </a:lnTo>
                  <a:lnTo>
                    <a:pt x="161" y="162"/>
                  </a:lnTo>
                  <a:lnTo>
                    <a:pt x="162" y="162"/>
                  </a:lnTo>
                  <a:lnTo>
                    <a:pt x="164" y="162"/>
                  </a:lnTo>
                  <a:lnTo>
                    <a:pt x="165" y="162"/>
                  </a:lnTo>
                  <a:lnTo>
                    <a:pt x="167" y="162"/>
                  </a:lnTo>
                  <a:lnTo>
                    <a:pt x="168" y="162"/>
                  </a:lnTo>
                  <a:lnTo>
                    <a:pt x="169" y="162"/>
                  </a:lnTo>
                  <a:lnTo>
                    <a:pt x="170" y="162"/>
                  </a:lnTo>
                  <a:lnTo>
                    <a:pt x="170" y="164"/>
                  </a:lnTo>
                  <a:lnTo>
                    <a:pt x="171" y="164"/>
                  </a:lnTo>
                  <a:lnTo>
                    <a:pt x="173" y="164"/>
                  </a:lnTo>
                  <a:lnTo>
                    <a:pt x="173" y="162"/>
                  </a:lnTo>
                  <a:lnTo>
                    <a:pt x="173" y="164"/>
                  </a:lnTo>
                  <a:lnTo>
                    <a:pt x="174" y="165"/>
                  </a:lnTo>
                  <a:lnTo>
                    <a:pt x="174" y="164"/>
                  </a:lnTo>
                  <a:lnTo>
                    <a:pt x="174" y="165"/>
                  </a:lnTo>
                  <a:lnTo>
                    <a:pt x="175" y="164"/>
                  </a:lnTo>
                  <a:lnTo>
                    <a:pt x="176" y="164"/>
                  </a:lnTo>
                  <a:lnTo>
                    <a:pt x="177" y="164"/>
                  </a:lnTo>
                  <a:lnTo>
                    <a:pt x="179" y="164"/>
                  </a:lnTo>
                  <a:lnTo>
                    <a:pt x="179" y="165"/>
                  </a:lnTo>
                  <a:lnTo>
                    <a:pt x="177" y="165"/>
                  </a:lnTo>
                  <a:lnTo>
                    <a:pt x="176" y="165"/>
                  </a:lnTo>
                  <a:lnTo>
                    <a:pt x="176" y="166"/>
                  </a:lnTo>
                  <a:lnTo>
                    <a:pt x="175" y="166"/>
                  </a:lnTo>
                  <a:lnTo>
                    <a:pt x="175" y="165"/>
                  </a:lnTo>
                  <a:lnTo>
                    <a:pt x="174" y="165"/>
                  </a:lnTo>
                  <a:lnTo>
                    <a:pt x="174" y="166"/>
                  </a:lnTo>
                  <a:lnTo>
                    <a:pt x="174" y="165"/>
                  </a:lnTo>
                  <a:lnTo>
                    <a:pt x="173" y="165"/>
                  </a:lnTo>
                  <a:lnTo>
                    <a:pt x="173" y="166"/>
                  </a:lnTo>
                  <a:lnTo>
                    <a:pt x="173" y="167"/>
                  </a:lnTo>
                  <a:lnTo>
                    <a:pt x="173" y="168"/>
                  </a:lnTo>
                  <a:lnTo>
                    <a:pt x="174" y="168"/>
                  </a:lnTo>
                  <a:lnTo>
                    <a:pt x="175" y="168"/>
                  </a:lnTo>
                  <a:lnTo>
                    <a:pt x="176" y="168"/>
                  </a:lnTo>
                  <a:lnTo>
                    <a:pt x="177" y="168"/>
                  </a:lnTo>
                  <a:lnTo>
                    <a:pt x="179" y="168"/>
                  </a:lnTo>
                  <a:lnTo>
                    <a:pt x="180" y="167"/>
                  </a:lnTo>
                  <a:lnTo>
                    <a:pt x="180" y="168"/>
                  </a:lnTo>
                  <a:lnTo>
                    <a:pt x="181" y="168"/>
                  </a:lnTo>
                  <a:lnTo>
                    <a:pt x="182" y="167"/>
                  </a:lnTo>
                  <a:lnTo>
                    <a:pt x="183" y="167"/>
                  </a:lnTo>
                  <a:lnTo>
                    <a:pt x="182" y="167"/>
                  </a:lnTo>
                  <a:lnTo>
                    <a:pt x="182" y="168"/>
                  </a:lnTo>
                  <a:lnTo>
                    <a:pt x="183" y="168"/>
                  </a:lnTo>
                  <a:lnTo>
                    <a:pt x="185" y="168"/>
                  </a:lnTo>
                  <a:lnTo>
                    <a:pt x="185" y="170"/>
                  </a:lnTo>
                  <a:lnTo>
                    <a:pt x="183" y="170"/>
                  </a:lnTo>
                  <a:lnTo>
                    <a:pt x="185" y="170"/>
                  </a:lnTo>
                  <a:lnTo>
                    <a:pt x="185" y="171"/>
                  </a:lnTo>
                  <a:lnTo>
                    <a:pt x="185" y="170"/>
                  </a:lnTo>
                  <a:lnTo>
                    <a:pt x="186" y="170"/>
                  </a:lnTo>
                  <a:lnTo>
                    <a:pt x="187" y="170"/>
                  </a:lnTo>
                  <a:lnTo>
                    <a:pt x="186" y="170"/>
                  </a:lnTo>
                  <a:lnTo>
                    <a:pt x="186" y="171"/>
                  </a:lnTo>
                  <a:lnTo>
                    <a:pt x="187" y="171"/>
                  </a:lnTo>
                  <a:lnTo>
                    <a:pt x="186" y="171"/>
                  </a:lnTo>
                  <a:lnTo>
                    <a:pt x="185" y="171"/>
                  </a:lnTo>
                  <a:lnTo>
                    <a:pt x="185" y="172"/>
                  </a:lnTo>
                  <a:lnTo>
                    <a:pt x="185" y="173"/>
                  </a:lnTo>
                  <a:lnTo>
                    <a:pt x="183" y="173"/>
                  </a:lnTo>
                  <a:lnTo>
                    <a:pt x="183" y="172"/>
                  </a:lnTo>
                  <a:lnTo>
                    <a:pt x="183" y="173"/>
                  </a:lnTo>
                  <a:lnTo>
                    <a:pt x="183" y="172"/>
                  </a:lnTo>
                  <a:lnTo>
                    <a:pt x="183" y="171"/>
                  </a:lnTo>
                  <a:lnTo>
                    <a:pt x="182" y="171"/>
                  </a:lnTo>
                  <a:lnTo>
                    <a:pt x="182" y="170"/>
                  </a:lnTo>
                  <a:lnTo>
                    <a:pt x="182" y="171"/>
                  </a:lnTo>
                  <a:lnTo>
                    <a:pt x="183" y="171"/>
                  </a:lnTo>
                  <a:lnTo>
                    <a:pt x="183" y="172"/>
                  </a:lnTo>
                  <a:lnTo>
                    <a:pt x="182" y="172"/>
                  </a:lnTo>
                  <a:lnTo>
                    <a:pt x="182" y="173"/>
                  </a:lnTo>
                  <a:lnTo>
                    <a:pt x="183" y="173"/>
                  </a:lnTo>
                  <a:lnTo>
                    <a:pt x="182" y="173"/>
                  </a:lnTo>
                  <a:lnTo>
                    <a:pt x="182" y="174"/>
                  </a:lnTo>
                  <a:lnTo>
                    <a:pt x="182" y="176"/>
                  </a:lnTo>
                  <a:lnTo>
                    <a:pt x="182" y="174"/>
                  </a:lnTo>
                  <a:lnTo>
                    <a:pt x="182" y="172"/>
                  </a:lnTo>
                  <a:lnTo>
                    <a:pt x="182" y="173"/>
                  </a:lnTo>
                  <a:lnTo>
                    <a:pt x="181" y="173"/>
                  </a:lnTo>
                  <a:lnTo>
                    <a:pt x="182" y="173"/>
                  </a:lnTo>
                  <a:lnTo>
                    <a:pt x="181" y="174"/>
                  </a:lnTo>
                  <a:lnTo>
                    <a:pt x="182" y="174"/>
                  </a:lnTo>
                  <a:lnTo>
                    <a:pt x="181" y="174"/>
                  </a:lnTo>
                  <a:lnTo>
                    <a:pt x="181" y="177"/>
                  </a:lnTo>
                  <a:lnTo>
                    <a:pt x="181" y="176"/>
                  </a:lnTo>
                  <a:lnTo>
                    <a:pt x="181" y="173"/>
                  </a:lnTo>
                  <a:lnTo>
                    <a:pt x="180" y="174"/>
                  </a:lnTo>
                  <a:lnTo>
                    <a:pt x="180" y="173"/>
                  </a:lnTo>
                  <a:lnTo>
                    <a:pt x="179" y="173"/>
                  </a:lnTo>
                  <a:lnTo>
                    <a:pt x="179" y="172"/>
                  </a:lnTo>
                  <a:lnTo>
                    <a:pt x="179" y="171"/>
                  </a:lnTo>
                  <a:lnTo>
                    <a:pt x="179" y="172"/>
                  </a:lnTo>
                  <a:lnTo>
                    <a:pt x="177" y="172"/>
                  </a:lnTo>
                  <a:lnTo>
                    <a:pt x="177" y="173"/>
                  </a:lnTo>
                  <a:lnTo>
                    <a:pt x="179" y="173"/>
                  </a:lnTo>
                  <a:lnTo>
                    <a:pt x="179" y="174"/>
                  </a:lnTo>
                  <a:lnTo>
                    <a:pt x="177" y="174"/>
                  </a:lnTo>
                  <a:lnTo>
                    <a:pt x="179" y="174"/>
                  </a:lnTo>
                  <a:lnTo>
                    <a:pt x="177" y="174"/>
                  </a:lnTo>
                  <a:lnTo>
                    <a:pt x="177" y="176"/>
                  </a:lnTo>
                  <a:lnTo>
                    <a:pt x="177" y="174"/>
                  </a:lnTo>
                  <a:lnTo>
                    <a:pt x="176" y="174"/>
                  </a:lnTo>
                  <a:lnTo>
                    <a:pt x="176" y="176"/>
                  </a:lnTo>
                  <a:lnTo>
                    <a:pt x="177" y="176"/>
                  </a:lnTo>
                  <a:lnTo>
                    <a:pt x="177" y="177"/>
                  </a:lnTo>
                  <a:lnTo>
                    <a:pt x="177" y="178"/>
                  </a:lnTo>
                  <a:lnTo>
                    <a:pt x="179" y="179"/>
                  </a:lnTo>
                  <a:lnTo>
                    <a:pt x="180" y="179"/>
                  </a:lnTo>
                  <a:lnTo>
                    <a:pt x="180" y="180"/>
                  </a:lnTo>
                  <a:lnTo>
                    <a:pt x="181" y="180"/>
                  </a:lnTo>
                  <a:lnTo>
                    <a:pt x="182" y="182"/>
                  </a:lnTo>
                  <a:lnTo>
                    <a:pt x="183" y="182"/>
                  </a:lnTo>
                  <a:lnTo>
                    <a:pt x="185" y="180"/>
                  </a:lnTo>
                  <a:lnTo>
                    <a:pt x="185" y="182"/>
                  </a:lnTo>
                  <a:lnTo>
                    <a:pt x="183" y="182"/>
                  </a:lnTo>
                  <a:lnTo>
                    <a:pt x="185" y="182"/>
                  </a:lnTo>
                  <a:lnTo>
                    <a:pt x="186" y="182"/>
                  </a:lnTo>
                  <a:lnTo>
                    <a:pt x="185" y="182"/>
                  </a:lnTo>
                  <a:lnTo>
                    <a:pt x="185" y="183"/>
                  </a:lnTo>
                  <a:lnTo>
                    <a:pt x="185" y="182"/>
                  </a:lnTo>
                  <a:lnTo>
                    <a:pt x="183" y="182"/>
                  </a:lnTo>
                  <a:lnTo>
                    <a:pt x="183" y="183"/>
                  </a:lnTo>
                  <a:lnTo>
                    <a:pt x="185" y="183"/>
                  </a:lnTo>
                  <a:lnTo>
                    <a:pt x="183" y="183"/>
                  </a:lnTo>
                  <a:lnTo>
                    <a:pt x="182" y="183"/>
                  </a:lnTo>
                  <a:lnTo>
                    <a:pt x="182" y="182"/>
                  </a:lnTo>
                  <a:lnTo>
                    <a:pt x="182" y="183"/>
                  </a:lnTo>
                  <a:lnTo>
                    <a:pt x="182" y="184"/>
                  </a:lnTo>
                  <a:lnTo>
                    <a:pt x="183" y="184"/>
                  </a:lnTo>
                  <a:lnTo>
                    <a:pt x="183" y="185"/>
                  </a:lnTo>
                  <a:lnTo>
                    <a:pt x="185" y="184"/>
                  </a:lnTo>
                  <a:lnTo>
                    <a:pt x="186" y="184"/>
                  </a:lnTo>
                  <a:lnTo>
                    <a:pt x="187" y="183"/>
                  </a:lnTo>
                  <a:lnTo>
                    <a:pt x="187" y="184"/>
                  </a:lnTo>
                  <a:lnTo>
                    <a:pt x="188" y="184"/>
                  </a:lnTo>
                  <a:lnTo>
                    <a:pt x="187" y="184"/>
                  </a:lnTo>
                  <a:lnTo>
                    <a:pt x="187" y="185"/>
                  </a:lnTo>
                  <a:lnTo>
                    <a:pt x="186" y="185"/>
                  </a:lnTo>
                  <a:lnTo>
                    <a:pt x="186" y="186"/>
                  </a:lnTo>
                  <a:lnTo>
                    <a:pt x="186" y="185"/>
                  </a:lnTo>
                  <a:lnTo>
                    <a:pt x="185" y="185"/>
                  </a:lnTo>
                  <a:lnTo>
                    <a:pt x="185" y="186"/>
                  </a:lnTo>
                  <a:lnTo>
                    <a:pt x="185" y="185"/>
                  </a:lnTo>
                  <a:lnTo>
                    <a:pt x="183" y="185"/>
                  </a:lnTo>
                  <a:lnTo>
                    <a:pt x="183" y="186"/>
                  </a:lnTo>
                  <a:lnTo>
                    <a:pt x="185" y="188"/>
                  </a:lnTo>
                  <a:lnTo>
                    <a:pt x="186" y="188"/>
                  </a:lnTo>
                  <a:lnTo>
                    <a:pt x="185" y="188"/>
                  </a:lnTo>
                  <a:lnTo>
                    <a:pt x="185" y="189"/>
                  </a:lnTo>
                  <a:lnTo>
                    <a:pt x="186" y="189"/>
                  </a:lnTo>
                  <a:lnTo>
                    <a:pt x="187" y="189"/>
                  </a:lnTo>
                  <a:lnTo>
                    <a:pt x="186" y="189"/>
                  </a:lnTo>
                  <a:lnTo>
                    <a:pt x="185" y="189"/>
                  </a:lnTo>
                  <a:lnTo>
                    <a:pt x="186" y="189"/>
                  </a:lnTo>
                  <a:lnTo>
                    <a:pt x="186" y="190"/>
                  </a:lnTo>
                  <a:lnTo>
                    <a:pt x="185" y="190"/>
                  </a:lnTo>
                  <a:lnTo>
                    <a:pt x="185" y="191"/>
                  </a:lnTo>
                  <a:lnTo>
                    <a:pt x="185" y="190"/>
                  </a:lnTo>
                  <a:lnTo>
                    <a:pt x="183" y="190"/>
                  </a:lnTo>
                  <a:lnTo>
                    <a:pt x="183" y="191"/>
                  </a:lnTo>
                  <a:lnTo>
                    <a:pt x="183" y="194"/>
                  </a:lnTo>
                  <a:lnTo>
                    <a:pt x="182" y="194"/>
                  </a:lnTo>
                  <a:lnTo>
                    <a:pt x="182" y="192"/>
                  </a:lnTo>
                  <a:lnTo>
                    <a:pt x="182" y="194"/>
                  </a:lnTo>
                  <a:lnTo>
                    <a:pt x="182" y="192"/>
                  </a:lnTo>
                  <a:lnTo>
                    <a:pt x="181" y="192"/>
                  </a:lnTo>
                  <a:lnTo>
                    <a:pt x="181" y="191"/>
                  </a:lnTo>
                  <a:lnTo>
                    <a:pt x="181" y="192"/>
                  </a:lnTo>
                  <a:lnTo>
                    <a:pt x="180" y="192"/>
                  </a:lnTo>
                  <a:lnTo>
                    <a:pt x="180" y="191"/>
                  </a:lnTo>
                  <a:lnTo>
                    <a:pt x="180" y="192"/>
                  </a:lnTo>
                  <a:lnTo>
                    <a:pt x="180" y="194"/>
                  </a:lnTo>
                  <a:lnTo>
                    <a:pt x="180" y="195"/>
                  </a:lnTo>
                  <a:lnTo>
                    <a:pt x="180" y="194"/>
                  </a:lnTo>
                  <a:lnTo>
                    <a:pt x="179" y="194"/>
                  </a:lnTo>
                  <a:lnTo>
                    <a:pt x="180" y="195"/>
                  </a:lnTo>
                  <a:lnTo>
                    <a:pt x="179" y="195"/>
                  </a:lnTo>
                  <a:lnTo>
                    <a:pt x="179" y="194"/>
                  </a:lnTo>
                  <a:lnTo>
                    <a:pt x="177" y="194"/>
                  </a:lnTo>
                  <a:lnTo>
                    <a:pt x="177" y="192"/>
                  </a:lnTo>
                  <a:lnTo>
                    <a:pt x="177" y="194"/>
                  </a:lnTo>
                  <a:lnTo>
                    <a:pt x="176" y="194"/>
                  </a:lnTo>
                  <a:lnTo>
                    <a:pt x="176" y="195"/>
                  </a:lnTo>
                  <a:lnTo>
                    <a:pt x="176" y="194"/>
                  </a:lnTo>
                  <a:lnTo>
                    <a:pt x="175" y="194"/>
                  </a:lnTo>
                  <a:lnTo>
                    <a:pt x="175" y="195"/>
                  </a:lnTo>
                  <a:lnTo>
                    <a:pt x="175" y="196"/>
                  </a:lnTo>
                  <a:lnTo>
                    <a:pt x="175" y="195"/>
                  </a:lnTo>
                  <a:lnTo>
                    <a:pt x="174" y="195"/>
                  </a:lnTo>
                  <a:lnTo>
                    <a:pt x="174" y="196"/>
                  </a:lnTo>
                  <a:lnTo>
                    <a:pt x="173" y="197"/>
                  </a:lnTo>
                  <a:lnTo>
                    <a:pt x="174" y="198"/>
                  </a:lnTo>
                  <a:lnTo>
                    <a:pt x="175" y="198"/>
                  </a:lnTo>
                  <a:lnTo>
                    <a:pt x="175" y="197"/>
                  </a:lnTo>
                  <a:lnTo>
                    <a:pt x="175" y="198"/>
                  </a:lnTo>
                  <a:lnTo>
                    <a:pt x="176" y="198"/>
                  </a:lnTo>
                  <a:lnTo>
                    <a:pt x="176" y="197"/>
                  </a:lnTo>
                  <a:lnTo>
                    <a:pt x="177" y="197"/>
                  </a:lnTo>
                  <a:lnTo>
                    <a:pt x="179" y="197"/>
                  </a:lnTo>
                  <a:lnTo>
                    <a:pt x="180" y="197"/>
                  </a:lnTo>
                  <a:lnTo>
                    <a:pt x="179" y="197"/>
                  </a:lnTo>
                  <a:lnTo>
                    <a:pt x="179" y="198"/>
                  </a:lnTo>
                  <a:lnTo>
                    <a:pt x="177" y="198"/>
                  </a:lnTo>
                  <a:lnTo>
                    <a:pt x="176" y="198"/>
                  </a:lnTo>
                  <a:lnTo>
                    <a:pt x="177" y="198"/>
                  </a:lnTo>
                  <a:lnTo>
                    <a:pt x="177" y="200"/>
                  </a:lnTo>
                  <a:lnTo>
                    <a:pt x="176" y="200"/>
                  </a:lnTo>
                  <a:lnTo>
                    <a:pt x="176" y="198"/>
                  </a:lnTo>
                  <a:lnTo>
                    <a:pt x="175" y="198"/>
                  </a:lnTo>
                  <a:lnTo>
                    <a:pt x="175" y="200"/>
                  </a:lnTo>
                  <a:lnTo>
                    <a:pt x="176" y="200"/>
                  </a:lnTo>
                  <a:lnTo>
                    <a:pt x="176" y="201"/>
                  </a:lnTo>
                  <a:lnTo>
                    <a:pt x="175" y="201"/>
                  </a:lnTo>
                  <a:lnTo>
                    <a:pt x="176" y="202"/>
                  </a:lnTo>
                  <a:lnTo>
                    <a:pt x="175" y="202"/>
                  </a:lnTo>
                  <a:lnTo>
                    <a:pt x="175" y="203"/>
                  </a:lnTo>
                  <a:lnTo>
                    <a:pt x="175" y="202"/>
                  </a:lnTo>
                  <a:lnTo>
                    <a:pt x="175" y="201"/>
                  </a:lnTo>
                  <a:lnTo>
                    <a:pt x="175" y="200"/>
                  </a:lnTo>
                  <a:lnTo>
                    <a:pt x="174" y="200"/>
                  </a:lnTo>
                  <a:lnTo>
                    <a:pt x="174" y="198"/>
                  </a:lnTo>
                  <a:lnTo>
                    <a:pt x="174" y="200"/>
                  </a:lnTo>
                  <a:lnTo>
                    <a:pt x="174" y="198"/>
                  </a:lnTo>
                  <a:lnTo>
                    <a:pt x="174" y="200"/>
                  </a:lnTo>
                  <a:lnTo>
                    <a:pt x="174" y="201"/>
                  </a:lnTo>
                  <a:lnTo>
                    <a:pt x="174" y="202"/>
                  </a:lnTo>
                  <a:lnTo>
                    <a:pt x="174" y="203"/>
                  </a:lnTo>
                  <a:lnTo>
                    <a:pt x="173" y="203"/>
                  </a:lnTo>
                  <a:lnTo>
                    <a:pt x="173" y="202"/>
                  </a:lnTo>
                  <a:lnTo>
                    <a:pt x="173" y="201"/>
                  </a:lnTo>
                  <a:lnTo>
                    <a:pt x="173" y="200"/>
                  </a:lnTo>
                  <a:lnTo>
                    <a:pt x="173" y="198"/>
                  </a:lnTo>
                  <a:lnTo>
                    <a:pt x="173" y="200"/>
                  </a:lnTo>
                  <a:lnTo>
                    <a:pt x="173" y="201"/>
                  </a:lnTo>
                  <a:lnTo>
                    <a:pt x="171" y="201"/>
                  </a:lnTo>
                  <a:lnTo>
                    <a:pt x="171" y="202"/>
                  </a:lnTo>
                  <a:lnTo>
                    <a:pt x="173" y="202"/>
                  </a:lnTo>
                  <a:lnTo>
                    <a:pt x="173" y="203"/>
                  </a:lnTo>
                  <a:lnTo>
                    <a:pt x="171" y="203"/>
                  </a:lnTo>
                  <a:lnTo>
                    <a:pt x="171" y="202"/>
                  </a:lnTo>
                  <a:lnTo>
                    <a:pt x="170" y="202"/>
                  </a:lnTo>
                  <a:lnTo>
                    <a:pt x="170" y="203"/>
                  </a:lnTo>
                  <a:lnTo>
                    <a:pt x="171" y="203"/>
                  </a:lnTo>
                  <a:lnTo>
                    <a:pt x="170" y="203"/>
                  </a:lnTo>
                  <a:lnTo>
                    <a:pt x="170" y="204"/>
                  </a:lnTo>
                  <a:lnTo>
                    <a:pt x="170" y="203"/>
                  </a:lnTo>
                  <a:lnTo>
                    <a:pt x="170" y="202"/>
                  </a:lnTo>
                  <a:lnTo>
                    <a:pt x="169" y="202"/>
                  </a:lnTo>
                  <a:lnTo>
                    <a:pt x="169" y="203"/>
                  </a:lnTo>
                  <a:lnTo>
                    <a:pt x="168" y="202"/>
                  </a:lnTo>
                  <a:lnTo>
                    <a:pt x="168" y="203"/>
                  </a:lnTo>
                  <a:lnTo>
                    <a:pt x="168" y="204"/>
                  </a:lnTo>
                  <a:lnTo>
                    <a:pt x="168" y="206"/>
                  </a:lnTo>
                  <a:lnTo>
                    <a:pt x="168" y="207"/>
                  </a:lnTo>
                  <a:lnTo>
                    <a:pt x="168" y="206"/>
                  </a:lnTo>
                  <a:lnTo>
                    <a:pt x="167" y="204"/>
                  </a:lnTo>
                  <a:lnTo>
                    <a:pt x="165" y="204"/>
                  </a:lnTo>
                  <a:lnTo>
                    <a:pt x="165" y="206"/>
                  </a:lnTo>
                  <a:lnTo>
                    <a:pt x="167" y="206"/>
                  </a:lnTo>
                  <a:lnTo>
                    <a:pt x="167" y="207"/>
                  </a:lnTo>
                  <a:lnTo>
                    <a:pt x="165" y="207"/>
                  </a:lnTo>
                  <a:lnTo>
                    <a:pt x="165" y="206"/>
                  </a:lnTo>
                  <a:lnTo>
                    <a:pt x="164" y="206"/>
                  </a:lnTo>
                  <a:lnTo>
                    <a:pt x="164" y="204"/>
                  </a:lnTo>
                  <a:lnTo>
                    <a:pt x="164" y="203"/>
                  </a:lnTo>
                  <a:lnTo>
                    <a:pt x="164" y="202"/>
                  </a:lnTo>
                  <a:lnTo>
                    <a:pt x="163" y="202"/>
                  </a:lnTo>
                  <a:lnTo>
                    <a:pt x="164" y="203"/>
                  </a:lnTo>
                  <a:lnTo>
                    <a:pt x="164" y="204"/>
                  </a:lnTo>
                  <a:lnTo>
                    <a:pt x="164" y="206"/>
                  </a:lnTo>
                  <a:lnTo>
                    <a:pt x="164" y="204"/>
                  </a:lnTo>
                  <a:lnTo>
                    <a:pt x="163" y="204"/>
                  </a:lnTo>
                  <a:lnTo>
                    <a:pt x="163" y="206"/>
                  </a:lnTo>
                  <a:lnTo>
                    <a:pt x="164" y="207"/>
                  </a:lnTo>
                  <a:lnTo>
                    <a:pt x="164" y="208"/>
                  </a:lnTo>
                  <a:lnTo>
                    <a:pt x="163" y="208"/>
                  </a:lnTo>
                  <a:lnTo>
                    <a:pt x="163" y="207"/>
                  </a:lnTo>
                  <a:lnTo>
                    <a:pt x="163" y="208"/>
                  </a:lnTo>
                  <a:lnTo>
                    <a:pt x="162" y="208"/>
                  </a:lnTo>
                  <a:lnTo>
                    <a:pt x="162" y="207"/>
                  </a:lnTo>
                  <a:lnTo>
                    <a:pt x="161" y="207"/>
                  </a:lnTo>
                  <a:lnTo>
                    <a:pt x="161" y="208"/>
                  </a:lnTo>
                  <a:lnTo>
                    <a:pt x="161" y="209"/>
                  </a:lnTo>
                  <a:lnTo>
                    <a:pt x="161" y="208"/>
                  </a:lnTo>
                  <a:lnTo>
                    <a:pt x="161" y="207"/>
                  </a:lnTo>
                  <a:lnTo>
                    <a:pt x="159" y="207"/>
                  </a:lnTo>
                  <a:lnTo>
                    <a:pt x="159" y="206"/>
                  </a:lnTo>
                  <a:lnTo>
                    <a:pt x="159" y="204"/>
                  </a:lnTo>
                  <a:lnTo>
                    <a:pt x="159" y="206"/>
                  </a:lnTo>
                  <a:lnTo>
                    <a:pt x="159" y="207"/>
                  </a:lnTo>
                  <a:lnTo>
                    <a:pt x="158" y="207"/>
                  </a:lnTo>
                  <a:lnTo>
                    <a:pt x="158" y="208"/>
                  </a:lnTo>
                  <a:lnTo>
                    <a:pt x="158" y="207"/>
                  </a:lnTo>
                  <a:lnTo>
                    <a:pt x="158" y="206"/>
                  </a:lnTo>
                  <a:lnTo>
                    <a:pt x="158" y="204"/>
                  </a:lnTo>
                  <a:lnTo>
                    <a:pt x="158" y="206"/>
                  </a:lnTo>
                  <a:lnTo>
                    <a:pt x="158" y="207"/>
                  </a:lnTo>
                  <a:lnTo>
                    <a:pt x="157" y="207"/>
                  </a:lnTo>
                  <a:lnTo>
                    <a:pt x="157" y="206"/>
                  </a:lnTo>
                  <a:lnTo>
                    <a:pt x="157" y="204"/>
                  </a:lnTo>
                  <a:lnTo>
                    <a:pt x="157" y="203"/>
                  </a:lnTo>
                  <a:lnTo>
                    <a:pt x="156" y="202"/>
                  </a:lnTo>
                  <a:lnTo>
                    <a:pt x="156" y="203"/>
                  </a:lnTo>
                  <a:lnTo>
                    <a:pt x="157" y="203"/>
                  </a:lnTo>
                  <a:lnTo>
                    <a:pt x="157" y="204"/>
                  </a:lnTo>
                  <a:lnTo>
                    <a:pt x="156" y="204"/>
                  </a:lnTo>
                  <a:lnTo>
                    <a:pt x="157" y="204"/>
                  </a:lnTo>
                  <a:lnTo>
                    <a:pt x="156" y="204"/>
                  </a:lnTo>
                  <a:lnTo>
                    <a:pt x="157" y="204"/>
                  </a:lnTo>
                  <a:lnTo>
                    <a:pt x="157" y="206"/>
                  </a:lnTo>
                  <a:lnTo>
                    <a:pt x="157" y="207"/>
                  </a:lnTo>
                  <a:lnTo>
                    <a:pt x="157" y="206"/>
                  </a:lnTo>
                  <a:lnTo>
                    <a:pt x="156" y="206"/>
                  </a:lnTo>
                  <a:lnTo>
                    <a:pt x="156" y="207"/>
                  </a:lnTo>
                  <a:lnTo>
                    <a:pt x="156" y="208"/>
                  </a:lnTo>
                  <a:lnTo>
                    <a:pt x="156" y="209"/>
                  </a:lnTo>
                  <a:lnTo>
                    <a:pt x="156" y="210"/>
                  </a:lnTo>
                  <a:lnTo>
                    <a:pt x="156" y="209"/>
                  </a:lnTo>
                  <a:lnTo>
                    <a:pt x="155" y="209"/>
                  </a:lnTo>
                  <a:lnTo>
                    <a:pt x="155" y="210"/>
                  </a:lnTo>
                  <a:lnTo>
                    <a:pt x="155" y="212"/>
                  </a:lnTo>
                  <a:lnTo>
                    <a:pt x="153" y="212"/>
                  </a:lnTo>
                  <a:lnTo>
                    <a:pt x="153" y="210"/>
                  </a:lnTo>
                  <a:lnTo>
                    <a:pt x="153" y="209"/>
                  </a:lnTo>
                  <a:lnTo>
                    <a:pt x="153" y="208"/>
                  </a:lnTo>
                  <a:lnTo>
                    <a:pt x="153" y="207"/>
                  </a:lnTo>
                  <a:lnTo>
                    <a:pt x="153" y="206"/>
                  </a:lnTo>
                  <a:lnTo>
                    <a:pt x="152" y="206"/>
                  </a:lnTo>
                  <a:lnTo>
                    <a:pt x="152" y="208"/>
                  </a:lnTo>
                  <a:lnTo>
                    <a:pt x="152" y="209"/>
                  </a:lnTo>
                  <a:lnTo>
                    <a:pt x="152" y="210"/>
                  </a:lnTo>
                  <a:lnTo>
                    <a:pt x="152" y="212"/>
                  </a:lnTo>
                  <a:lnTo>
                    <a:pt x="152" y="210"/>
                  </a:lnTo>
                  <a:lnTo>
                    <a:pt x="152" y="209"/>
                  </a:lnTo>
                  <a:lnTo>
                    <a:pt x="151" y="208"/>
                  </a:lnTo>
                  <a:lnTo>
                    <a:pt x="151" y="207"/>
                  </a:lnTo>
                  <a:lnTo>
                    <a:pt x="151" y="208"/>
                  </a:lnTo>
                  <a:lnTo>
                    <a:pt x="150" y="208"/>
                  </a:lnTo>
                  <a:lnTo>
                    <a:pt x="150" y="209"/>
                  </a:lnTo>
                  <a:lnTo>
                    <a:pt x="151" y="209"/>
                  </a:lnTo>
                  <a:lnTo>
                    <a:pt x="151" y="210"/>
                  </a:lnTo>
                  <a:lnTo>
                    <a:pt x="151" y="212"/>
                  </a:lnTo>
                  <a:lnTo>
                    <a:pt x="150" y="212"/>
                  </a:lnTo>
                  <a:lnTo>
                    <a:pt x="150" y="210"/>
                  </a:lnTo>
                  <a:lnTo>
                    <a:pt x="150" y="208"/>
                  </a:lnTo>
                  <a:lnTo>
                    <a:pt x="150" y="207"/>
                  </a:lnTo>
                  <a:lnTo>
                    <a:pt x="150" y="206"/>
                  </a:lnTo>
                  <a:lnTo>
                    <a:pt x="150" y="204"/>
                  </a:lnTo>
                  <a:lnTo>
                    <a:pt x="148" y="204"/>
                  </a:lnTo>
                  <a:lnTo>
                    <a:pt x="148" y="203"/>
                  </a:lnTo>
                  <a:lnTo>
                    <a:pt x="148" y="204"/>
                  </a:lnTo>
                  <a:lnTo>
                    <a:pt x="147" y="204"/>
                  </a:lnTo>
                  <a:lnTo>
                    <a:pt x="147" y="206"/>
                  </a:lnTo>
                  <a:lnTo>
                    <a:pt x="147" y="207"/>
                  </a:lnTo>
                  <a:lnTo>
                    <a:pt x="146" y="206"/>
                  </a:lnTo>
                  <a:lnTo>
                    <a:pt x="146" y="204"/>
                  </a:lnTo>
                  <a:lnTo>
                    <a:pt x="146" y="203"/>
                  </a:lnTo>
                  <a:lnTo>
                    <a:pt x="146" y="202"/>
                  </a:lnTo>
                  <a:lnTo>
                    <a:pt x="146" y="201"/>
                  </a:lnTo>
                  <a:lnTo>
                    <a:pt x="146" y="203"/>
                  </a:lnTo>
                  <a:lnTo>
                    <a:pt x="145" y="202"/>
                  </a:lnTo>
                  <a:lnTo>
                    <a:pt x="145" y="201"/>
                  </a:lnTo>
                  <a:lnTo>
                    <a:pt x="145" y="202"/>
                  </a:lnTo>
                  <a:lnTo>
                    <a:pt x="144" y="201"/>
                  </a:lnTo>
                  <a:lnTo>
                    <a:pt x="144" y="200"/>
                  </a:lnTo>
                  <a:lnTo>
                    <a:pt x="144" y="198"/>
                  </a:lnTo>
                  <a:lnTo>
                    <a:pt x="144" y="197"/>
                  </a:lnTo>
                  <a:lnTo>
                    <a:pt x="142" y="197"/>
                  </a:lnTo>
                  <a:lnTo>
                    <a:pt x="142" y="198"/>
                  </a:lnTo>
                  <a:lnTo>
                    <a:pt x="144" y="200"/>
                  </a:lnTo>
                  <a:lnTo>
                    <a:pt x="144" y="201"/>
                  </a:lnTo>
                  <a:lnTo>
                    <a:pt x="144" y="202"/>
                  </a:lnTo>
                  <a:lnTo>
                    <a:pt x="144" y="203"/>
                  </a:lnTo>
                  <a:lnTo>
                    <a:pt x="142" y="203"/>
                  </a:lnTo>
                  <a:lnTo>
                    <a:pt x="142" y="204"/>
                  </a:lnTo>
                  <a:lnTo>
                    <a:pt x="144" y="204"/>
                  </a:lnTo>
                  <a:lnTo>
                    <a:pt x="145" y="204"/>
                  </a:lnTo>
                  <a:lnTo>
                    <a:pt x="146" y="206"/>
                  </a:lnTo>
                  <a:lnTo>
                    <a:pt x="145" y="206"/>
                  </a:lnTo>
                  <a:lnTo>
                    <a:pt x="144" y="206"/>
                  </a:lnTo>
                  <a:lnTo>
                    <a:pt x="144" y="207"/>
                  </a:lnTo>
                  <a:lnTo>
                    <a:pt x="144" y="208"/>
                  </a:lnTo>
                  <a:lnTo>
                    <a:pt x="145" y="209"/>
                  </a:lnTo>
                  <a:lnTo>
                    <a:pt x="145" y="210"/>
                  </a:lnTo>
                  <a:lnTo>
                    <a:pt x="146" y="212"/>
                  </a:lnTo>
                  <a:lnTo>
                    <a:pt x="147" y="212"/>
                  </a:lnTo>
                  <a:lnTo>
                    <a:pt x="148" y="212"/>
                  </a:lnTo>
                  <a:lnTo>
                    <a:pt x="148" y="213"/>
                  </a:lnTo>
                  <a:lnTo>
                    <a:pt x="150" y="213"/>
                  </a:lnTo>
                  <a:lnTo>
                    <a:pt x="151" y="213"/>
                  </a:lnTo>
                  <a:lnTo>
                    <a:pt x="152" y="213"/>
                  </a:lnTo>
                  <a:lnTo>
                    <a:pt x="153" y="213"/>
                  </a:lnTo>
                  <a:lnTo>
                    <a:pt x="155" y="214"/>
                  </a:lnTo>
                  <a:lnTo>
                    <a:pt x="156" y="214"/>
                  </a:lnTo>
                  <a:lnTo>
                    <a:pt x="157" y="214"/>
                  </a:lnTo>
                  <a:lnTo>
                    <a:pt x="158" y="215"/>
                  </a:lnTo>
                  <a:lnTo>
                    <a:pt x="157" y="215"/>
                  </a:lnTo>
                  <a:lnTo>
                    <a:pt x="156" y="214"/>
                  </a:lnTo>
                  <a:lnTo>
                    <a:pt x="156" y="215"/>
                  </a:lnTo>
                  <a:lnTo>
                    <a:pt x="155" y="214"/>
                  </a:lnTo>
                  <a:lnTo>
                    <a:pt x="155" y="215"/>
                  </a:lnTo>
                  <a:lnTo>
                    <a:pt x="156" y="215"/>
                  </a:lnTo>
                  <a:lnTo>
                    <a:pt x="155" y="215"/>
                  </a:lnTo>
                  <a:lnTo>
                    <a:pt x="153" y="215"/>
                  </a:lnTo>
                  <a:lnTo>
                    <a:pt x="153" y="217"/>
                  </a:lnTo>
                  <a:lnTo>
                    <a:pt x="152" y="215"/>
                  </a:lnTo>
                  <a:lnTo>
                    <a:pt x="152" y="217"/>
                  </a:lnTo>
                  <a:lnTo>
                    <a:pt x="153" y="217"/>
                  </a:lnTo>
                  <a:lnTo>
                    <a:pt x="155" y="217"/>
                  </a:lnTo>
                  <a:lnTo>
                    <a:pt x="156" y="217"/>
                  </a:lnTo>
                  <a:lnTo>
                    <a:pt x="157" y="218"/>
                  </a:lnTo>
                  <a:lnTo>
                    <a:pt x="158" y="217"/>
                  </a:lnTo>
                  <a:lnTo>
                    <a:pt x="158" y="218"/>
                  </a:lnTo>
                  <a:lnTo>
                    <a:pt x="159" y="218"/>
                  </a:lnTo>
                  <a:lnTo>
                    <a:pt x="158" y="218"/>
                  </a:lnTo>
                  <a:lnTo>
                    <a:pt x="159" y="219"/>
                  </a:lnTo>
                  <a:lnTo>
                    <a:pt x="161" y="219"/>
                  </a:lnTo>
                  <a:lnTo>
                    <a:pt x="161" y="218"/>
                  </a:lnTo>
                  <a:lnTo>
                    <a:pt x="162" y="218"/>
                  </a:lnTo>
                  <a:lnTo>
                    <a:pt x="163" y="218"/>
                  </a:lnTo>
                  <a:lnTo>
                    <a:pt x="164" y="218"/>
                  </a:lnTo>
                  <a:lnTo>
                    <a:pt x="165" y="218"/>
                  </a:lnTo>
                  <a:lnTo>
                    <a:pt x="167" y="217"/>
                  </a:lnTo>
                  <a:lnTo>
                    <a:pt x="168" y="217"/>
                  </a:lnTo>
                  <a:lnTo>
                    <a:pt x="168" y="215"/>
                  </a:lnTo>
                  <a:lnTo>
                    <a:pt x="168" y="217"/>
                  </a:lnTo>
                  <a:lnTo>
                    <a:pt x="169" y="217"/>
                  </a:lnTo>
                  <a:lnTo>
                    <a:pt x="169" y="215"/>
                  </a:lnTo>
                  <a:lnTo>
                    <a:pt x="170" y="215"/>
                  </a:lnTo>
                  <a:lnTo>
                    <a:pt x="171" y="215"/>
                  </a:lnTo>
                  <a:lnTo>
                    <a:pt x="173" y="215"/>
                  </a:lnTo>
                  <a:lnTo>
                    <a:pt x="171" y="214"/>
                  </a:lnTo>
                  <a:lnTo>
                    <a:pt x="173" y="214"/>
                  </a:lnTo>
                  <a:lnTo>
                    <a:pt x="174" y="214"/>
                  </a:lnTo>
                  <a:lnTo>
                    <a:pt x="175" y="214"/>
                  </a:lnTo>
                  <a:lnTo>
                    <a:pt x="176" y="214"/>
                  </a:lnTo>
                  <a:lnTo>
                    <a:pt x="177" y="214"/>
                  </a:lnTo>
                  <a:lnTo>
                    <a:pt x="179" y="213"/>
                  </a:lnTo>
                  <a:lnTo>
                    <a:pt x="180" y="213"/>
                  </a:lnTo>
                  <a:lnTo>
                    <a:pt x="179" y="213"/>
                  </a:lnTo>
                  <a:lnTo>
                    <a:pt x="179" y="214"/>
                  </a:lnTo>
                  <a:lnTo>
                    <a:pt x="180" y="214"/>
                  </a:lnTo>
                  <a:lnTo>
                    <a:pt x="180" y="213"/>
                  </a:lnTo>
                  <a:lnTo>
                    <a:pt x="180" y="214"/>
                  </a:lnTo>
                  <a:lnTo>
                    <a:pt x="181" y="214"/>
                  </a:lnTo>
                  <a:lnTo>
                    <a:pt x="180" y="214"/>
                  </a:lnTo>
                  <a:lnTo>
                    <a:pt x="179" y="214"/>
                  </a:lnTo>
                  <a:lnTo>
                    <a:pt x="179" y="215"/>
                  </a:lnTo>
                  <a:lnTo>
                    <a:pt x="177" y="215"/>
                  </a:lnTo>
                  <a:lnTo>
                    <a:pt x="177" y="214"/>
                  </a:lnTo>
                  <a:lnTo>
                    <a:pt x="177" y="215"/>
                  </a:lnTo>
                  <a:lnTo>
                    <a:pt x="176" y="214"/>
                  </a:lnTo>
                  <a:lnTo>
                    <a:pt x="176" y="215"/>
                  </a:lnTo>
                  <a:lnTo>
                    <a:pt x="177" y="217"/>
                  </a:lnTo>
                  <a:lnTo>
                    <a:pt x="177" y="218"/>
                  </a:lnTo>
                  <a:lnTo>
                    <a:pt x="176" y="219"/>
                  </a:lnTo>
                  <a:lnTo>
                    <a:pt x="176" y="220"/>
                  </a:lnTo>
                  <a:lnTo>
                    <a:pt x="176" y="219"/>
                  </a:lnTo>
                  <a:lnTo>
                    <a:pt x="176" y="218"/>
                  </a:lnTo>
                  <a:lnTo>
                    <a:pt x="175" y="218"/>
                  </a:lnTo>
                  <a:lnTo>
                    <a:pt x="175" y="219"/>
                  </a:lnTo>
                  <a:lnTo>
                    <a:pt x="176" y="220"/>
                  </a:lnTo>
                  <a:lnTo>
                    <a:pt x="175" y="220"/>
                  </a:lnTo>
                  <a:lnTo>
                    <a:pt x="175" y="221"/>
                  </a:lnTo>
                  <a:lnTo>
                    <a:pt x="174" y="221"/>
                  </a:lnTo>
                  <a:lnTo>
                    <a:pt x="174" y="223"/>
                  </a:lnTo>
                  <a:lnTo>
                    <a:pt x="175" y="221"/>
                  </a:lnTo>
                  <a:lnTo>
                    <a:pt x="176" y="221"/>
                  </a:lnTo>
                  <a:lnTo>
                    <a:pt x="177" y="221"/>
                  </a:lnTo>
                  <a:lnTo>
                    <a:pt x="179" y="221"/>
                  </a:lnTo>
                  <a:lnTo>
                    <a:pt x="179" y="223"/>
                  </a:lnTo>
                  <a:lnTo>
                    <a:pt x="177" y="223"/>
                  </a:lnTo>
                  <a:lnTo>
                    <a:pt x="176" y="223"/>
                  </a:lnTo>
                  <a:lnTo>
                    <a:pt x="176" y="224"/>
                  </a:lnTo>
                  <a:lnTo>
                    <a:pt x="175" y="223"/>
                  </a:lnTo>
                  <a:lnTo>
                    <a:pt x="175" y="224"/>
                  </a:lnTo>
                  <a:lnTo>
                    <a:pt x="176" y="224"/>
                  </a:lnTo>
                  <a:lnTo>
                    <a:pt x="177" y="224"/>
                  </a:lnTo>
                  <a:lnTo>
                    <a:pt x="179" y="224"/>
                  </a:lnTo>
                  <a:lnTo>
                    <a:pt x="180" y="224"/>
                  </a:lnTo>
                  <a:lnTo>
                    <a:pt x="180" y="225"/>
                  </a:lnTo>
                  <a:lnTo>
                    <a:pt x="179" y="225"/>
                  </a:lnTo>
                  <a:lnTo>
                    <a:pt x="180" y="225"/>
                  </a:lnTo>
                  <a:lnTo>
                    <a:pt x="181" y="225"/>
                  </a:lnTo>
                  <a:lnTo>
                    <a:pt x="182" y="224"/>
                  </a:lnTo>
                  <a:lnTo>
                    <a:pt x="183" y="224"/>
                  </a:lnTo>
                  <a:lnTo>
                    <a:pt x="183" y="225"/>
                  </a:lnTo>
                  <a:lnTo>
                    <a:pt x="183" y="224"/>
                  </a:lnTo>
                  <a:lnTo>
                    <a:pt x="185" y="224"/>
                  </a:lnTo>
                  <a:lnTo>
                    <a:pt x="186" y="223"/>
                  </a:lnTo>
                  <a:lnTo>
                    <a:pt x="186" y="224"/>
                  </a:lnTo>
                  <a:lnTo>
                    <a:pt x="187" y="223"/>
                  </a:lnTo>
                  <a:lnTo>
                    <a:pt x="188" y="223"/>
                  </a:lnTo>
                  <a:lnTo>
                    <a:pt x="187" y="224"/>
                  </a:lnTo>
                  <a:lnTo>
                    <a:pt x="187" y="225"/>
                  </a:lnTo>
                  <a:lnTo>
                    <a:pt x="188" y="225"/>
                  </a:lnTo>
                  <a:lnTo>
                    <a:pt x="187" y="225"/>
                  </a:lnTo>
                  <a:lnTo>
                    <a:pt x="186" y="224"/>
                  </a:lnTo>
                  <a:lnTo>
                    <a:pt x="185" y="224"/>
                  </a:lnTo>
                  <a:lnTo>
                    <a:pt x="186" y="225"/>
                  </a:lnTo>
                  <a:lnTo>
                    <a:pt x="186" y="226"/>
                  </a:lnTo>
                  <a:lnTo>
                    <a:pt x="186" y="225"/>
                  </a:lnTo>
                  <a:lnTo>
                    <a:pt x="185" y="225"/>
                  </a:lnTo>
                  <a:lnTo>
                    <a:pt x="183" y="225"/>
                  </a:lnTo>
                  <a:lnTo>
                    <a:pt x="185" y="226"/>
                  </a:lnTo>
                  <a:lnTo>
                    <a:pt x="185" y="227"/>
                  </a:lnTo>
                  <a:lnTo>
                    <a:pt x="186" y="227"/>
                  </a:lnTo>
                  <a:lnTo>
                    <a:pt x="187" y="227"/>
                  </a:lnTo>
                  <a:lnTo>
                    <a:pt x="187" y="226"/>
                  </a:lnTo>
                  <a:lnTo>
                    <a:pt x="187" y="227"/>
                  </a:lnTo>
                  <a:lnTo>
                    <a:pt x="188" y="227"/>
                  </a:lnTo>
                  <a:lnTo>
                    <a:pt x="189" y="227"/>
                  </a:lnTo>
                  <a:lnTo>
                    <a:pt x="188" y="227"/>
                  </a:lnTo>
                  <a:lnTo>
                    <a:pt x="187" y="227"/>
                  </a:lnTo>
                  <a:lnTo>
                    <a:pt x="187" y="229"/>
                  </a:lnTo>
                  <a:lnTo>
                    <a:pt x="188" y="229"/>
                  </a:lnTo>
                  <a:lnTo>
                    <a:pt x="187" y="229"/>
                  </a:lnTo>
                  <a:lnTo>
                    <a:pt x="186" y="227"/>
                  </a:lnTo>
                  <a:lnTo>
                    <a:pt x="186" y="229"/>
                  </a:lnTo>
                  <a:lnTo>
                    <a:pt x="186" y="230"/>
                  </a:lnTo>
                  <a:lnTo>
                    <a:pt x="186" y="229"/>
                  </a:lnTo>
                  <a:lnTo>
                    <a:pt x="185" y="229"/>
                  </a:lnTo>
                  <a:lnTo>
                    <a:pt x="186" y="230"/>
                  </a:lnTo>
                  <a:lnTo>
                    <a:pt x="185" y="230"/>
                  </a:lnTo>
                  <a:lnTo>
                    <a:pt x="185" y="229"/>
                  </a:lnTo>
                  <a:lnTo>
                    <a:pt x="183" y="229"/>
                  </a:lnTo>
                  <a:lnTo>
                    <a:pt x="185" y="230"/>
                  </a:lnTo>
                  <a:lnTo>
                    <a:pt x="183" y="230"/>
                  </a:lnTo>
                  <a:lnTo>
                    <a:pt x="183" y="229"/>
                  </a:lnTo>
                  <a:lnTo>
                    <a:pt x="183" y="230"/>
                  </a:lnTo>
                  <a:lnTo>
                    <a:pt x="183" y="231"/>
                  </a:lnTo>
                  <a:lnTo>
                    <a:pt x="182" y="231"/>
                  </a:lnTo>
                  <a:lnTo>
                    <a:pt x="182" y="232"/>
                  </a:lnTo>
                  <a:lnTo>
                    <a:pt x="182" y="233"/>
                  </a:lnTo>
                  <a:lnTo>
                    <a:pt x="181" y="232"/>
                  </a:lnTo>
                  <a:lnTo>
                    <a:pt x="181" y="233"/>
                  </a:lnTo>
                  <a:lnTo>
                    <a:pt x="182" y="233"/>
                  </a:lnTo>
                  <a:lnTo>
                    <a:pt x="181" y="235"/>
                  </a:lnTo>
                  <a:lnTo>
                    <a:pt x="182" y="235"/>
                  </a:lnTo>
                  <a:lnTo>
                    <a:pt x="183" y="236"/>
                  </a:lnTo>
                  <a:lnTo>
                    <a:pt x="182" y="236"/>
                  </a:lnTo>
                  <a:lnTo>
                    <a:pt x="181" y="235"/>
                  </a:lnTo>
                  <a:lnTo>
                    <a:pt x="181" y="236"/>
                  </a:lnTo>
                  <a:lnTo>
                    <a:pt x="181" y="235"/>
                  </a:lnTo>
                  <a:lnTo>
                    <a:pt x="180" y="235"/>
                  </a:lnTo>
                  <a:lnTo>
                    <a:pt x="180" y="236"/>
                  </a:lnTo>
                  <a:lnTo>
                    <a:pt x="181" y="236"/>
                  </a:lnTo>
                  <a:lnTo>
                    <a:pt x="182" y="236"/>
                  </a:lnTo>
                  <a:lnTo>
                    <a:pt x="183" y="236"/>
                  </a:lnTo>
                  <a:lnTo>
                    <a:pt x="185" y="236"/>
                  </a:lnTo>
                  <a:lnTo>
                    <a:pt x="186" y="236"/>
                  </a:lnTo>
                  <a:lnTo>
                    <a:pt x="187" y="236"/>
                  </a:lnTo>
                  <a:lnTo>
                    <a:pt x="188" y="236"/>
                  </a:lnTo>
                  <a:lnTo>
                    <a:pt x="187" y="237"/>
                  </a:lnTo>
                  <a:lnTo>
                    <a:pt x="186" y="237"/>
                  </a:lnTo>
                  <a:lnTo>
                    <a:pt x="186" y="238"/>
                  </a:lnTo>
                  <a:lnTo>
                    <a:pt x="186" y="237"/>
                  </a:lnTo>
                  <a:lnTo>
                    <a:pt x="185" y="237"/>
                  </a:lnTo>
                  <a:lnTo>
                    <a:pt x="185" y="238"/>
                  </a:lnTo>
                  <a:lnTo>
                    <a:pt x="186" y="238"/>
                  </a:lnTo>
                  <a:lnTo>
                    <a:pt x="186" y="239"/>
                  </a:lnTo>
                  <a:lnTo>
                    <a:pt x="186" y="241"/>
                  </a:lnTo>
                  <a:lnTo>
                    <a:pt x="185" y="242"/>
                  </a:lnTo>
                  <a:lnTo>
                    <a:pt x="185" y="241"/>
                  </a:lnTo>
                  <a:lnTo>
                    <a:pt x="185" y="239"/>
                  </a:lnTo>
                  <a:lnTo>
                    <a:pt x="185" y="238"/>
                  </a:lnTo>
                  <a:lnTo>
                    <a:pt x="183" y="238"/>
                  </a:lnTo>
                  <a:lnTo>
                    <a:pt x="183" y="239"/>
                  </a:lnTo>
                  <a:lnTo>
                    <a:pt x="182" y="239"/>
                  </a:lnTo>
                  <a:lnTo>
                    <a:pt x="182" y="238"/>
                  </a:lnTo>
                  <a:lnTo>
                    <a:pt x="182" y="239"/>
                  </a:lnTo>
                  <a:lnTo>
                    <a:pt x="182" y="241"/>
                  </a:lnTo>
                  <a:lnTo>
                    <a:pt x="183" y="241"/>
                  </a:lnTo>
                  <a:lnTo>
                    <a:pt x="183" y="242"/>
                  </a:lnTo>
                  <a:lnTo>
                    <a:pt x="182" y="242"/>
                  </a:lnTo>
                  <a:lnTo>
                    <a:pt x="183" y="242"/>
                  </a:lnTo>
                  <a:lnTo>
                    <a:pt x="185" y="242"/>
                  </a:lnTo>
                  <a:lnTo>
                    <a:pt x="186" y="242"/>
                  </a:lnTo>
                  <a:lnTo>
                    <a:pt x="186" y="241"/>
                  </a:lnTo>
                  <a:lnTo>
                    <a:pt x="187" y="241"/>
                  </a:lnTo>
                  <a:lnTo>
                    <a:pt x="188" y="241"/>
                  </a:lnTo>
                  <a:lnTo>
                    <a:pt x="189" y="241"/>
                  </a:lnTo>
                  <a:lnTo>
                    <a:pt x="191" y="241"/>
                  </a:lnTo>
                  <a:lnTo>
                    <a:pt x="192" y="241"/>
                  </a:lnTo>
                  <a:lnTo>
                    <a:pt x="192" y="239"/>
                  </a:lnTo>
                  <a:lnTo>
                    <a:pt x="193" y="239"/>
                  </a:lnTo>
                  <a:lnTo>
                    <a:pt x="194" y="239"/>
                  </a:lnTo>
                  <a:lnTo>
                    <a:pt x="194" y="241"/>
                  </a:lnTo>
                  <a:lnTo>
                    <a:pt x="195" y="239"/>
                  </a:lnTo>
                  <a:lnTo>
                    <a:pt x="197" y="239"/>
                  </a:lnTo>
                  <a:lnTo>
                    <a:pt x="197" y="238"/>
                  </a:lnTo>
                  <a:lnTo>
                    <a:pt x="197" y="239"/>
                  </a:lnTo>
                  <a:lnTo>
                    <a:pt x="199" y="239"/>
                  </a:lnTo>
                  <a:lnTo>
                    <a:pt x="198" y="239"/>
                  </a:lnTo>
                  <a:lnTo>
                    <a:pt x="197" y="239"/>
                  </a:lnTo>
                  <a:lnTo>
                    <a:pt x="197" y="241"/>
                  </a:lnTo>
                  <a:lnTo>
                    <a:pt x="198" y="241"/>
                  </a:lnTo>
                  <a:lnTo>
                    <a:pt x="198" y="242"/>
                  </a:lnTo>
                  <a:lnTo>
                    <a:pt x="198" y="241"/>
                  </a:lnTo>
                  <a:lnTo>
                    <a:pt x="197" y="241"/>
                  </a:lnTo>
                  <a:lnTo>
                    <a:pt x="195" y="241"/>
                  </a:lnTo>
                  <a:lnTo>
                    <a:pt x="195" y="242"/>
                  </a:lnTo>
                  <a:lnTo>
                    <a:pt x="195" y="241"/>
                  </a:lnTo>
                  <a:lnTo>
                    <a:pt x="194" y="241"/>
                  </a:lnTo>
                  <a:lnTo>
                    <a:pt x="194" y="242"/>
                  </a:lnTo>
                  <a:lnTo>
                    <a:pt x="195" y="242"/>
                  </a:lnTo>
                  <a:lnTo>
                    <a:pt x="195" y="243"/>
                  </a:lnTo>
                  <a:lnTo>
                    <a:pt x="195" y="244"/>
                  </a:lnTo>
                  <a:lnTo>
                    <a:pt x="194" y="244"/>
                  </a:lnTo>
                  <a:lnTo>
                    <a:pt x="194" y="245"/>
                  </a:lnTo>
                  <a:lnTo>
                    <a:pt x="193" y="244"/>
                  </a:lnTo>
                  <a:lnTo>
                    <a:pt x="193" y="243"/>
                  </a:lnTo>
                  <a:lnTo>
                    <a:pt x="193" y="244"/>
                  </a:lnTo>
                  <a:lnTo>
                    <a:pt x="193" y="243"/>
                  </a:lnTo>
                  <a:lnTo>
                    <a:pt x="192" y="242"/>
                  </a:lnTo>
                  <a:lnTo>
                    <a:pt x="192" y="243"/>
                  </a:lnTo>
                  <a:lnTo>
                    <a:pt x="192" y="242"/>
                  </a:lnTo>
                  <a:lnTo>
                    <a:pt x="191" y="242"/>
                  </a:lnTo>
                  <a:lnTo>
                    <a:pt x="192" y="243"/>
                  </a:lnTo>
                  <a:lnTo>
                    <a:pt x="192" y="244"/>
                  </a:lnTo>
                  <a:lnTo>
                    <a:pt x="191" y="243"/>
                  </a:lnTo>
                  <a:lnTo>
                    <a:pt x="191" y="244"/>
                  </a:lnTo>
                  <a:lnTo>
                    <a:pt x="192" y="245"/>
                  </a:lnTo>
                  <a:lnTo>
                    <a:pt x="192" y="247"/>
                  </a:lnTo>
                  <a:lnTo>
                    <a:pt x="191" y="247"/>
                  </a:lnTo>
                  <a:lnTo>
                    <a:pt x="191" y="245"/>
                  </a:lnTo>
                  <a:lnTo>
                    <a:pt x="191" y="244"/>
                  </a:lnTo>
                  <a:lnTo>
                    <a:pt x="189" y="244"/>
                  </a:lnTo>
                  <a:lnTo>
                    <a:pt x="189" y="245"/>
                  </a:lnTo>
                  <a:lnTo>
                    <a:pt x="188" y="245"/>
                  </a:lnTo>
                  <a:lnTo>
                    <a:pt x="188" y="244"/>
                  </a:lnTo>
                  <a:lnTo>
                    <a:pt x="188" y="245"/>
                  </a:lnTo>
                  <a:lnTo>
                    <a:pt x="189" y="247"/>
                  </a:lnTo>
                  <a:lnTo>
                    <a:pt x="188" y="247"/>
                  </a:lnTo>
                  <a:lnTo>
                    <a:pt x="188" y="245"/>
                  </a:lnTo>
                  <a:lnTo>
                    <a:pt x="188" y="247"/>
                  </a:lnTo>
                  <a:lnTo>
                    <a:pt x="188" y="248"/>
                  </a:lnTo>
                  <a:lnTo>
                    <a:pt x="189" y="248"/>
                  </a:lnTo>
                  <a:lnTo>
                    <a:pt x="191" y="249"/>
                  </a:lnTo>
                  <a:lnTo>
                    <a:pt x="192" y="249"/>
                  </a:lnTo>
                  <a:lnTo>
                    <a:pt x="191" y="249"/>
                  </a:lnTo>
                  <a:lnTo>
                    <a:pt x="191" y="250"/>
                  </a:lnTo>
                  <a:lnTo>
                    <a:pt x="189" y="250"/>
                  </a:lnTo>
                  <a:lnTo>
                    <a:pt x="189" y="249"/>
                  </a:lnTo>
                  <a:lnTo>
                    <a:pt x="188" y="249"/>
                  </a:lnTo>
                  <a:lnTo>
                    <a:pt x="189" y="249"/>
                  </a:lnTo>
                  <a:lnTo>
                    <a:pt x="189" y="250"/>
                  </a:lnTo>
                  <a:lnTo>
                    <a:pt x="188" y="250"/>
                  </a:lnTo>
                  <a:lnTo>
                    <a:pt x="187" y="250"/>
                  </a:lnTo>
                  <a:lnTo>
                    <a:pt x="187" y="249"/>
                  </a:lnTo>
                  <a:lnTo>
                    <a:pt x="188" y="249"/>
                  </a:lnTo>
                  <a:lnTo>
                    <a:pt x="187" y="248"/>
                  </a:lnTo>
                  <a:lnTo>
                    <a:pt x="187" y="249"/>
                  </a:lnTo>
                  <a:lnTo>
                    <a:pt x="187" y="248"/>
                  </a:lnTo>
                  <a:lnTo>
                    <a:pt x="186" y="248"/>
                  </a:lnTo>
                  <a:lnTo>
                    <a:pt x="186" y="249"/>
                  </a:lnTo>
                  <a:lnTo>
                    <a:pt x="186" y="248"/>
                  </a:lnTo>
                  <a:lnTo>
                    <a:pt x="186" y="247"/>
                  </a:lnTo>
                  <a:lnTo>
                    <a:pt x="186" y="245"/>
                  </a:lnTo>
                  <a:lnTo>
                    <a:pt x="185" y="247"/>
                  </a:lnTo>
                  <a:lnTo>
                    <a:pt x="185" y="248"/>
                  </a:lnTo>
                  <a:lnTo>
                    <a:pt x="185" y="249"/>
                  </a:lnTo>
                  <a:lnTo>
                    <a:pt x="186" y="249"/>
                  </a:lnTo>
                  <a:lnTo>
                    <a:pt x="185" y="250"/>
                  </a:lnTo>
                  <a:lnTo>
                    <a:pt x="186" y="250"/>
                  </a:lnTo>
                  <a:lnTo>
                    <a:pt x="187" y="251"/>
                  </a:lnTo>
                  <a:lnTo>
                    <a:pt x="188" y="251"/>
                  </a:lnTo>
                  <a:lnTo>
                    <a:pt x="189" y="251"/>
                  </a:lnTo>
                  <a:lnTo>
                    <a:pt x="191" y="251"/>
                  </a:lnTo>
                  <a:lnTo>
                    <a:pt x="191" y="253"/>
                  </a:lnTo>
                  <a:lnTo>
                    <a:pt x="189" y="253"/>
                  </a:lnTo>
                  <a:lnTo>
                    <a:pt x="188" y="251"/>
                  </a:lnTo>
                  <a:lnTo>
                    <a:pt x="188" y="253"/>
                  </a:lnTo>
                  <a:lnTo>
                    <a:pt x="188" y="254"/>
                  </a:lnTo>
                  <a:lnTo>
                    <a:pt x="187" y="253"/>
                  </a:lnTo>
                  <a:lnTo>
                    <a:pt x="187" y="251"/>
                  </a:lnTo>
                  <a:lnTo>
                    <a:pt x="186" y="251"/>
                  </a:lnTo>
                  <a:lnTo>
                    <a:pt x="186" y="253"/>
                  </a:lnTo>
                  <a:lnTo>
                    <a:pt x="186" y="254"/>
                  </a:lnTo>
                  <a:lnTo>
                    <a:pt x="186" y="255"/>
                  </a:lnTo>
                  <a:lnTo>
                    <a:pt x="186" y="254"/>
                  </a:lnTo>
                  <a:lnTo>
                    <a:pt x="186" y="253"/>
                  </a:lnTo>
                  <a:lnTo>
                    <a:pt x="186" y="254"/>
                  </a:lnTo>
                  <a:lnTo>
                    <a:pt x="185" y="253"/>
                  </a:lnTo>
                  <a:lnTo>
                    <a:pt x="185" y="251"/>
                  </a:lnTo>
                  <a:lnTo>
                    <a:pt x="185" y="253"/>
                  </a:lnTo>
                  <a:lnTo>
                    <a:pt x="185" y="254"/>
                  </a:lnTo>
                  <a:lnTo>
                    <a:pt x="185" y="253"/>
                  </a:lnTo>
                  <a:lnTo>
                    <a:pt x="183" y="253"/>
                  </a:lnTo>
                  <a:lnTo>
                    <a:pt x="183" y="251"/>
                  </a:lnTo>
                  <a:lnTo>
                    <a:pt x="183" y="253"/>
                  </a:lnTo>
                  <a:lnTo>
                    <a:pt x="183" y="254"/>
                  </a:lnTo>
                  <a:lnTo>
                    <a:pt x="183" y="255"/>
                  </a:lnTo>
                  <a:lnTo>
                    <a:pt x="183" y="256"/>
                  </a:lnTo>
                  <a:lnTo>
                    <a:pt x="183" y="257"/>
                  </a:lnTo>
                  <a:lnTo>
                    <a:pt x="185" y="259"/>
                  </a:lnTo>
                  <a:lnTo>
                    <a:pt x="183" y="257"/>
                  </a:lnTo>
                  <a:lnTo>
                    <a:pt x="183" y="259"/>
                  </a:lnTo>
                  <a:lnTo>
                    <a:pt x="185" y="259"/>
                  </a:lnTo>
                  <a:lnTo>
                    <a:pt x="186" y="259"/>
                  </a:lnTo>
                  <a:lnTo>
                    <a:pt x="187" y="259"/>
                  </a:lnTo>
                  <a:lnTo>
                    <a:pt x="187" y="257"/>
                  </a:lnTo>
                  <a:lnTo>
                    <a:pt x="188" y="257"/>
                  </a:lnTo>
                  <a:lnTo>
                    <a:pt x="189" y="256"/>
                  </a:lnTo>
                  <a:lnTo>
                    <a:pt x="191" y="256"/>
                  </a:lnTo>
                  <a:lnTo>
                    <a:pt x="191" y="255"/>
                  </a:lnTo>
                  <a:lnTo>
                    <a:pt x="192" y="255"/>
                  </a:lnTo>
                  <a:lnTo>
                    <a:pt x="192" y="254"/>
                  </a:lnTo>
                  <a:lnTo>
                    <a:pt x="192" y="255"/>
                  </a:lnTo>
                  <a:lnTo>
                    <a:pt x="193" y="255"/>
                  </a:lnTo>
                  <a:lnTo>
                    <a:pt x="193" y="256"/>
                  </a:lnTo>
                  <a:lnTo>
                    <a:pt x="192" y="256"/>
                  </a:lnTo>
                  <a:lnTo>
                    <a:pt x="191" y="257"/>
                  </a:lnTo>
                  <a:lnTo>
                    <a:pt x="191" y="259"/>
                  </a:lnTo>
                  <a:lnTo>
                    <a:pt x="192" y="259"/>
                  </a:lnTo>
                  <a:lnTo>
                    <a:pt x="192" y="257"/>
                  </a:lnTo>
                  <a:lnTo>
                    <a:pt x="193" y="257"/>
                  </a:lnTo>
                  <a:lnTo>
                    <a:pt x="194" y="257"/>
                  </a:lnTo>
                  <a:lnTo>
                    <a:pt x="195" y="257"/>
                  </a:lnTo>
                  <a:lnTo>
                    <a:pt x="195" y="256"/>
                  </a:lnTo>
                  <a:lnTo>
                    <a:pt x="197" y="256"/>
                  </a:lnTo>
                  <a:lnTo>
                    <a:pt x="198" y="255"/>
                  </a:lnTo>
                  <a:lnTo>
                    <a:pt x="199" y="254"/>
                  </a:lnTo>
                  <a:lnTo>
                    <a:pt x="201" y="253"/>
                  </a:lnTo>
                  <a:lnTo>
                    <a:pt x="203" y="253"/>
                  </a:lnTo>
                  <a:lnTo>
                    <a:pt x="203" y="251"/>
                  </a:lnTo>
                  <a:lnTo>
                    <a:pt x="204" y="251"/>
                  </a:lnTo>
                  <a:lnTo>
                    <a:pt x="205" y="251"/>
                  </a:lnTo>
                  <a:lnTo>
                    <a:pt x="206" y="250"/>
                  </a:lnTo>
                  <a:lnTo>
                    <a:pt x="206" y="251"/>
                  </a:lnTo>
                  <a:lnTo>
                    <a:pt x="205" y="251"/>
                  </a:lnTo>
                  <a:lnTo>
                    <a:pt x="205" y="253"/>
                  </a:lnTo>
                  <a:lnTo>
                    <a:pt x="204" y="251"/>
                  </a:lnTo>
                  <a:lnTo>
                    <a:pt x="204" y="253"/>
                  </a:lnTo>
                  <a:lnTo>
                    <a:pt x="205" y="253"/>
                  </a:lnTo>
                  <a:lnTo>
                    <a:pt x="204" y="253"/>
                  </a:lnTo>
                  <a:lnTo>
                    <a:pt x="203" y="254"/>
                  </a:lnTo>
                  <a:lnTo>
                    <a:pt x="204" y="254"/>
                  </a:lnTo>
                  <a:lnTo>
                    <a:pt x="203" y="254"/>
                  </a:lnTo>
                  <a:lnTo>
                    <a:pt x="203" y="255"/>
                  </a:lnTo>
                  <a:lnTo>
                    <a:pt x="201" y="254"/>
                  </a:lnTo>
                  <a:lnTo>
                    <a:pt x="201" y="255"/>
                  </a:lnTo>
                  <a:lnTo>
                    <a:pt x="201" y="256"/>
                  </a:lnTo>
                  <a:lnTo>
                    <a:pt x="203" y="256"/>
                  </a:lnTo>
                  <a:lnTo>
                    <a:pt x="201" y="256"/>
                  </a:lnTo>
                  <a:lnTo>
                    <a:pt x="200" y="256"/>
                  </a:lnTo>
                  <a:lnTo>
                    <a:pt x="200" y="255"/>
                  </a:lnTo>
                  <a:lnTo>
                    <a:pt x="200" y="256"/>
                  </a:lnTo>
                  <a:lnTo>
                    <a:pt x="200" y="257"/>
                  </a:lnTo>
                  <a:lnTo>
                    <a:pt x="200" y="256"/>
                  </a:lnTo>
                  <a:lnTo>
                    <a:pt x="199" y="256"/>
                  </a:lnTo>
                  <a:lnTo>
                    <a:pt x="200" y="257"/>
                  </a:lnTo>
                  <a:lnTo>
                    <a:pt x="200" y="259"/>
                  </a:lnTo>
                  <a:lnTo>
                    <a:pt x="200" y="260"/>
                  </a:lnTo>
                  <a:lnTo>
                    <a:pt x="200" y="261"/>
                  </a:lnTo>
                  <a:lnTo>
                    <a:pt x="200" y="260"/>
                  </a:lnTo>
                  <a:lnTo>
                    <a:pt x="199" y="260"/>
                  </a:lnTo>
                  <a:lnTo>
                    <a:pt x="199" y="259"/>
                  </a:lnTo>
                  <a:lnTo>
                    <a:pt x="199" y="260"/>
                  </a:lnTo>
                  <a:lnTo>
                    <a:pt x="199" y="261"/>
                  </a:lnTo>
                  <a:lnTo>
                    <a:pt x="199" y="262"/>
                  </a:lnTo>
                  <a:lnTo>
                    <a:pt x="199" y="261"/>
                  </a:lnTo>
                  <a:lnTo>
                    <a:pt x="198" y="261"/>
                  </a:lnTo>
                  <a:lnTo>
                    <a:pt x="198" y="262"/>
                  </a:lnTo>
                  <a:lnTo>
                    <a:pt x="198" y="263"/>
                  </a:lnTo>
                  <a:lnTo>
                    <a:pt x="197" y="263"/>
                  </a:lnTo>
                  <a:lnTo>
                    <a:pt x="197" y="262"/>
                  </a:lnTo>
                  <a:lnTo>
                    <a:pt x="197" y="261"/>
                  </a:lnTo>
                  <a:lnTo>
                    <a:pt x="197" y="262"/>
                  </a:lnTo>
                  <a:lnTo>
                    <a:pt x="195" y="261"/>
                  </a:lnTo>
                  <a:lnTo>
                    <a:pt x="195" y="262"/>
                  </a:lnTo>
                  <a:lnTo>
                    <a:pt x="195" y="263"/>
                  </a:lnTo>
                  <a:lnTo>
                    <a:pt x="195" y="265"/>
                  </a:lnTo>
                  <a:lnTo>
                    <a:pt x="195" y="266"/>
                  </a:lnTo>
                  <a:lnTo>
                    <a:pt x="194" y="266"/>
                  </a:lnTo>
                  <a:lnTo>
                    <a:pt x="194" y="265"/>
                  </a:lnTo>
                  <a:lnTo>
                    <a:pt x="194" y="263"/>
                  </a:lnTo>
                  <a:lnTo>
                    <a:pt x="194" y="265"/>
                  </a:lnTo>
                  <a:lnTo>
                    <a:pt x="194" y="263"/>
                  </a:lnTo>
                  <a:lnTo>
                    <a:pt x="193" y="263"/>
                  </a:lnTo>
                  <a:lnTo>
                    <a:pt x="193" y="265"/>
                  </a:lnTo>
                  <a:lnTo>
                    <a:pt x="193" y="263"/>
                  </a:lnTo>
                  <a:lnTo>
                    <a:pt x="192" y="263"/>
                  </a:lnTo>
                  <a:lnTo>
                    <a:pt x="192" y="265"/>
                  </a:lnTo>
                  <a:lnTo>
                    <a:pt x="193" y="265"/>
                  </a:lnTo>
                  <a:lnTo>
                    <a:pt x="193" y="266"/>
                  </a:lnTo>
                  <a:lnTo>
                    <a:pt x="194" y="266"/>
                  </a:lnTo>
                  <a:lnTo>
                    <a:pt x="195" y="267"/>
                  </a:lnTo>
                  <a:lnTo>
                    <a:pt x="197" y="267"/>
                  </a:lnTo>
                  <a:lnTo>
                    <a:pt x="199" y="267"/>
                  </a:lnTo>
                  <a:lnTo>
                    <a:pt x="198" y="267"/>
                  </a:lnTo>
                  <a:lnTo>
                    <a:pt x="197" y="268"/>
                  </a:lnTo>
                  <a:lnTo>
                    <a:pt x="198" y="268"/>
                  </a:lnTo>
                  <a:lnTo>
                    <a:pt x="199" y="269"/>
                  </a:lnTo>
                  <a:lnTo>
                    <a:pt x="198" y="269"/>
                  </a:lnTo>
                  <a:lnTo>
                    <a:pt x="198" y="268"/>
                  </a:lnTo>
                  <a:lnTo>
                    <a:pt x="198" y="269"/>
                  </a:lnTo>
                  <a:lnTo>
                    <a:pt x="197" y="269"/>
                  </a:lnTo>
                  <a:lnTo>
                    <a:pt x="197" y="268"/>
                  </a:lnTo>
                  <a:lnTo>
                    <a:pt x="197" y="269"/>
                  </a:lnTo>
                  <a:lnTo>
                    <a:pt x="195" y="269"/>
                  </a:lnTo>
                  <a:lnTo>
                    <a:pt x="195" y="268"/>
                  </a:lnTo>
                  <a:lnTo>
                    <a:pt x="194" y="268"/>
                  </a:lnTo>
                  <a:lnTo>
                    <a:pt x="194" y="269"/>
                  </a:lnTo>
                  <a:lnTo>
                    <a:pt x="195" y="269"/>
                  </a:lnTo>
                  <a:lnTo>
                    <a:pt x="195" y="271"/>
                  </a:lnTo>
                  <a:lnTo>
                    <a:pt x="194" y="271"/>
                  </a:lnTo>
                  <a:lnTo>
                    <a:pt x="195" y="272"/>
                  </a:lnTo>
                  <a:lnTo>
                    <a:pt x="194" y="271"/>
                  </a:lnTo>
                  <a:lnTo>
                    <a:pt x="193" y="269"/>
                  </a:lnTo>
                  <a:lnTo>
                    <a:pt x="193" y="268"/>
                  </a:lnTo>
                  <a:lnTo>
                    <a:pt x="192" y="268"/>
                  </a:lnTo>
                  <a:lnTo>
                    <a:pt x="192" y="269"/>
                  </a:lnTo>
                  <a:lnTo>
                    <a:pt x="191" y="269"/>
                  </a:lnTo>
                  <a:lnTo>
                    <a:pt x="192" y="271"/>
                  </a:lnTo>
                  <a:lnTo>
                    <a:pt x="192" y="272"/>
                  </a:lnTo>
                  <a:lnTo>
                    <a:pt x="193" y="272"/>
                  </a:lnTo>
                  <a:lnTo>
                    <a:pt x="194" y="272"/>
                  </a:lnTo>
                  <a:lnTo>
                    <a:pt x="194" y="273"/>
                  </a:lnTo>
                  <a:lnTo>
                    <a:pt x="195" y="274"/>
                  </a:lnTo>
                  <a:lnTo>
                    <a:pt x="194" y="274"/>
                  </a:lnTo>
                  <a:lnTo>
                    <a:pt x="193" y="274"/>
                  </a:lnTo>
                  <a:lnTo>
                    <a:pt x="193" y="273"/>
                  </a:lnTo>
                  <a:lnTo>
                    <a:pt x="193" y="272"/>
                  </a:lnTo>
                  <a:lnTo>
                    <a:pt x="192" y="272"/>
                  </a:lnTo>
                  <a:lnTo>
                    <a:pt x="192" y="273"/>
                  </a:lnTo>
                  <a:lnTo>
                    <a:pt x="193" y="274"/>
                  </a:lnTo>
                  <a:lnTo>
                    <a:pt x="192" y="274"/>
                  </a:lnTo>
                  <a:lnTo>
                    <a:pt x="192" y="273"/>
                  </a:lnTo>
                  <a:lnTo>
                    <a:pt x="192" y="274"/>
                  </a:lnTo>
                  <a:lnTo>
                    <a:pt x="191" y="274"/>
                  </a:lnTo>
                  <a:lnTo>
                    <a:pt x="191" y="273"/>
                  </a:lnTo>
                  <a:lnTo>
                    <a:pt x="191" y="272"/>
                  </a:lnTo>
                  <a:lnTo>
                    <a:pt x="189" y="272"/>
                  </a:lnTo>
                  <a:lnTo>
                    <a:pt x="191" y="271"/>
                  </a:lnTo>
                  <a:lnTo>
                    <a:pt x="189" y="271"/>
                  </a:lnTo>
                  <a:lnTo>
                    <a:pt x="188" y="269"/>
                  </a:lnTo>
                  <a:lnTo>
                    <a:pt x="188" y="271"/>
                  </a:lnTo>
                  <a:lnTo>
                    <a:pt x="188" y="272"/>
                  </a:lnTo>
                  <a:lnTo>
                    <a:pt x="189" y="273"/>
                  </a:lnTo>
                  <a:lnTo>
                    <a:pt x="189" y="274"/>
                  </a:lnTo>
                  <a:lnTo>
                    <a:pt x="189" y="275"/>
                  </a:lnTo>
                  <a:lnTo>
                    <a:pt x="188" y="275"/>
                  </a:lnTo>
                  <a:lnTo>
                    <a:pt x="188" y="274"/>
                  </a:lnTo>
                  <a:lnTo>
                    <a:pt x="188" y="273"/>
                  </a:lnTo>
                  <a:lnTo>
                    <a:pt x="187" y="273"/>
                  </a:lnTo>
                  <a:lnTo>
                    <a:pt x="187" y="274"/>
                  </a:lnTo>
                  <a:lnTo>
                    <a:pt x="187" y="275"/>
                  </a:lnTo>
                  <a:lnTo>
                    <a:pt x="187" y="277"/>
                  </a:lnTo>
                  <a:lnTo>
                    <a:pt x="186" y="277"/>
                  </a:lnTo>
                  <a:lnTo>
                    <a:pt x="186" y="275"/>
                  </a:lnTo>
                  <a:lnTo>
                    <a:pt x="186" y="274"/>
                  </a:lnTo>
                  <a:lnTo>
                    <a:pt x="186" y="272"/>
                  </a:lnTo>
                  <a:lnTo>
                    <a:pt x="186" y="274"/>
                  </a:lnTo>
                  <a:lnTo>
                    <a:pt x="186" y="273"/>
                  </a:lnTo>
                  <a:lnTo>
                    <a:pt x="186" y="272"/>
                  </a:lnTo>
                  <a:lnTo>
                    <a:pt x="185" y="272"/>
                  </a:lnTo>
                  <a:lnTo>
                    <a:pt x="185" y="271"/>
                  </a:lnTo>
                  <a:lnTo>
                    <a:pt x="185" y="269"/>
                  </a:lnTo>
                  <a:lnTo>
                    <a:pt x="185" y="271"/>
                  </a:lnTo>
                  <a:lnTo>
                    <a:pt x="185" y="272"/>
                  </a:lnTo>
                  <a:lnTo>
                    <a:pt x="185" y="273"/>
                  </a:lnTo>
                  <a:lnTo>
                    <a:pt x="185" y="274"/>
                  </a:lnTo>
                  <a:lnTo>
                    <a:pt x="186" y="275"/>
                  </a:lnTo>
                  <a:lnTo>
                    <a:pt x="186" y="277"/>
                  </a:lnTo>
                  <a:lnTo>
                    <a:pt x="185" y="277"/>
                  </a:lnTo>
                  <a:lnTo>
                    <a:pt x="185" y="275"/>
                  </a:lnTo>
                  <a:lnTo>
                    <a:pt x="185" y="274"/>
                  </a:lnTo>
                  <a:lnTo>
                    <a:pt x="183" y="274"/>
                  </a:lnTo>
                  <a:lnTo>
                    <a:pt x="185" y="274"/>
                  </a:lnTo>
                  <a:lnTo>
                    <a:pt x="183" y="273"/>
                  </a:lnTo>
                  <a:lnTo>
                    <a:pt x="183" y="274"/>
                  </a:lnTo>
                  <a:lnTo>
                    <a:pt x="183" y="275"/>
                  </a:lnTo>
                  <a:lnTo>
                    <a:pt x="183" y="274"/>
                  </a:lnTo>
                  <a:lnTo>
                    <a:pt x="183" y="273"/>
                  </a:lnTo>
                  <a:lnTo>
                    <a:pt x="182" y="273"/>
                  </a:lnTo>
                  <a:lnTo>
                    <a:pt x="182" y="272"/>
                  </a:lnTo>
                  <a:lnTo>
                    <a:pt x="182" y="273"/>
                  </a:lnTo>
                  <a:lnTo>
                    <a:pt x="182" y="274"/>
                  </a:lnTo>
                  <a:lnTo>
                    <a:pt x="182" y="275"/>
                  </a:lnTo>
                  <a:lnTo>
                    <a:pt x="182" y="277"/>
                  </a:lnTo>
                  <a:lnTo>
                    <a:pt x="183" y="278"/>
                  </a:lnTo>
                  <a:lnTo>
                    <a:pt x="182" y="278"/>
                  </a:lnTo>
                  <a:lnTo>
                    <a:pt x="182" y="279"/>
                  </a:lnTo>
                  <a:lnTo>
                    <a:pt x="181" y="279"/>
                  </a:lnTo>
                  <a:lnTo>
                    <a:pt x="181" y="278"/>
                  </a:lnTo>
                  <a:lnTo>
                    <a:pt x="180" y="277"/>
                  </a:lnTo>
                  <a:lnTo>
                    <a:pt x="180" y="274"/>
                  </a:lnTo>
                  <a:lnTo>
                    <a:pt x="180" y="273"/>
                  </a:lnTo>
                  <a:lnTo>
                    <a:pt x="180" y="272"/>
                  </a:lnTo>
                  <a:lnTo>
                    <a:pt x="180" y="273"/>
                  </a:lnTo>
                  <a:lnTo>
                    <a:pt x="180" y="274"/>
                  </a:lnTo>
                  <a:lnTo>
                    <a:pt x="180" y="275"/>
                  </a:lnTo>
                  <a:lnTo>
                    <a:pt x="180" y="277"/>
                  </a:lnTo>
                  <a:lnTo>
                    <a:pt x="180" y="278"/>
                  </a:lnTo>
                  <a:lnTo>
                    <a:pt x="181" y="278"/>
                  </a:lnTo>
                  <a:lnTo>
                    <a:pt x="181" y="279"/>
                  </a:lnTo>
                  <a:lnTo>
                    <a:pt x="181" y="280"/>
                  </a:lnTo>
                  <a:lnTo>
                    <a:pt x="181" y="281"/>
                  </a:lnTo>
                  <a:lnTo>
                    <a:pt x="181" y="283"/>
                  </a:lnTo>
                  <a:lnTo>
                    <a:pt x="182" y="284"/>
                  </a:lnTo>
                  <a:lnTo>
                    <a:pt x="183" y="283"/>
                  </a:lnTo>
                  <a:lnTo>
                    <a:pt x="185" y="283"/>
                  </a:lnTo>
                  <a:lnTo>
                    <a:pt x="186" y="281"/>
                  </a:lnTo>
                  <a:lnTo>
                    <a:pt x="187" y="281"/>
                  </a:lnTo>
                  <a:lnTo>
                    <a:pt x="188" y="281"/>
                  </a:lnTo>
                  <a:lnTo>
                    <a:pt x="188" y="283"/>
                  </a:lnTo>
                  <a:lnTo>
                    <a:pt x="187" y="283"/>
                  </a:lnTo>
                  <a:lnTo>
                    <a:pt x="188" y="283"/>
                  </a:lnTo>
                  <a:lnTo>
                    <a:pt x="187" y="284"/>
                  </a:lnTo>
                  <a:lnTo>
                    <a:pt x="187" y="283"/>
                  </a:lnTo>
                  <a:lnTo>
                    <a:pt x="186" y="283"/>
                  </a:lnTo>
                  <a:lnTo>
                    <a:pt x="187" y="284"/>
                  </a:lnTo>
                  <a:lnTo>
                    <a:pt x="186" y="285"/>
                  </a:lnTo>
                  <a:lnTo>
                    <a:pt x="186" y="284"/>
                  </a:lnTo>
                  <a:lnTo>
                    <a:pt x="186" y="285"/>
                  </a:lnTo>
                  <a:lnTo>
                    <a:pt x="186" y="286"/>
                  </a:lnTo>
                  <a:lnTo>
                    <a:pt x="185" y="286"/>
                  </a:lnTo>
                  <a:lnTo>
                    <a:pt x="185" y="287"/>
                  </a:lnTo>
                  <a:lnTo>
                    <a:pt x="183" y="287"/>
                  </a:lnTo>
                  <a:lnTo>
                    <a:pt x="185" y="289"/>
                  </a:lnTo>
                  <a:lnTo>
                    <a:pt x="183" y="289"/>
                  </a:lnTo>
                  <a:lnTo>
                    <a:pt x="182" y="289"/>
                  </a:lnTo>
                  <a:lnTo>
                    <a:pt x="182" y="287"/>
                  </a:lnTo>
                  <a:lnTo>
                    <a:pt x="181" y="287"/>
                  </a:lnTo>
                  <a:lnTo>
                    <a:pt x="182" y="289"/>
                  </a:lnTo>
                  <a:lnTo>
                    <a:pt x="182" y="290"/>
                  </a:lnTo>
                  <a:lnTo>
                    <a:pt x="181" y="290"/>
                  </a:lnTo>
                  <a:lnTo>
                    <a:pt x="180" y="291"/>
                  </a:lnTo>
                  <a:lnTo>
                    <a:pt x="180" y="290"/>
                  </a:lnTo>
                  <a:lnTo>
                    <a:pt x="180" y="291"/>
                  </a:lnTo>
                  <a:lnTo>
                    <a:pt x="179" y="291"/>
                  </a:lnTo>
                  <a:lnTo>
                    <a:pt x="179" y="290"/>
                  </a:lnTo>
                  <a:lnTo>
                    <a:pt x="179" y="291"/>
                  </a:lnTo>
                  <a:lnTo>
                    <a:pt x="177" y="291"/>
                  </a:lnTo>
                  <a:lnTo>
                    <a:pt x="177" y="290"/>
                  </a:lnTo>
                  <a:lnTo>
                    <a:pt x="176" y="290"/>
                  </a:lnTo>
                  <a:lnTo>
                    <a:pt x="175" y="290"/>
                  </a:lnTo>
                  <a:lnTo>
                    <a:pt x="174" y="290"/>
                  </a:lnTo>
                  <a:lnTo>
                    <a:pt x="174" y="291"/>
                  </a:lnTo>
                  <a:lnTo>
                    <a:pt x="173" y="291"/>
                  </a:lnTo>
                  <a:lnTo>
                    <a:pt x="171" y="290"/>
                  </a:lnTo>
                  <a:lnTo>
                    <a:pt x="171" y="291"/>
                  </a:lnTo>
                  <a:lnTo>
                    <a:pt x="170" y="291"/>
                  </a:lnTo>
                  <a:lnTo>
                    <a:pt x="169" y="291"/>
                  </a:lnTo>
                  <a:lnTo>
                    <a:pt x="169" y="292"/>
                  </a:lnTo>
                  <a:lnTo>
                    <a:pt x="168" y="292"/>
                  </a:lnTo>
                  <a:lnTo>
                    <a:pt x="168" y="293"/>
                  </a:lnTo>
                  <a:lnTo>
                    <a:pt x="167" y="293"/>
                  </a:lnTo>
                  <a:lnTo>
                    <a:pt x="168" y="293"/>
                  </a:lnTo>
                  <a:lnTo>
                    <a:pt x="167" y="293"/>
                  </a:lnTo>
                  <a:lnTo>
                    <a:pt x="167" y="295"/>
                  </a:lnTo>
                  <a:lnTo>
                    <a:pt x="167" y="296"/>
                  </a:lnTo>
                  <a:lnTo>
                    <a:pt x="167" y="295"/>
                  </a:lnTo>
                  <a:lnTo>
                    <a:pt x="165" y="295"/>
                  </a:lnTo>
                  <a:lnTo>
                    <a:pt x="165" y="296"/>
                  </a:lnTo>
                  <a:lnTo>
                    <a:pt x="165" y="297"/>
                  </a:lnTo>
                  <a:lnTo>
                    <a:pt x="164" y="296"/>
                  </a:lnTo>
                  <a:lnTo>
                    <a:pt x="164" y="297"/>
                  </a:lnTo>
                  <a:lnTo>
                    <a:pt x="165" y="297"/>
                  </a:lnTo>
                  <a:lnTo>
                    <a:pt x="165" y="298"/>
                  </a:lnTo>
                  <a:lnTo>
                    <a:pt x="164" y="297"/>
                  </a:lnTo>
                  <a:lnTo>
                    <a:pt x="164" y="296"/>
                  </a:lnTo>
                  <a:lnTo>
                    <a:pt x="164" y="297"/>
                  </a:lnTo>
                  <a:lnTo>
                    <a:pt x="164" y="298"/>
                  </a:lnTo>
                  <a:lnTo>
                    <a:pt x="164" y="299"/>
                  </a:lnTo>
                  <a:lnTo>
                    <a:pt x="164" y="301"/>
                  </a:lnTo>
                  <a:lnTo>
                    <a:pt x="165" y="301"/>
                  </a:lnTo>
                  <a:lnTo>
                    <a:pt x="165" y="302"/>
                  </a:lnTo>
                  <a:lnTo>
                    <a:pt x="165" y="303"/>
                  </a:lnTo>
                  <a:lnTo>
                    <a:pt x="167" y="303"/>
                  </a:lnTo>
                  <a:lnTo>
                    <a:pt x="167" y="304"/>
                  </a:lnTo>
                  <a:lnTo>
                    <a:pt x="167" y="305"/>
                  </a:lnTo>
                  <a:lnTo>
                    <a:pt x="167" y="307"/>
                  </a:lnTo>
                  <a:lnTo>
                    <a:pt x="165" y="307"/>
                  </a:lnTo>
                  <a:lnTo>
                    <a:pt x="165" y="308"/>
                  </a:lnTo>
                  <a:lnTo>
                    <a:pt x="165" y="307"/>
                  </a:lnTo>
                  <a:lnTo>
                    <a:pt x="164" y="307"/>
                  </a:lnTo>
                  <a:lnTo>
                    <a:pt x="164" y="305"/>
                  </a:lnTo>
                  <a:lnTo>
                    <a:pt x="163" y="305"/>
                  </a:lnTo>
                  <a:lnTo>
                    <a:pt x="162" y="307"/>
                  </a:lnTo>
                  <a:lnTo>
                    <a:pt x="161" y="307"/>
                  </a:lnTo>
                  <a:lnTo>
                    <a:pt x="161" y="308"/>
                  </a:lnTo>
                  <a:lnTo>
                    <a:pt x="159" y="308"/>
                  </a:lnTo>
                  <a:lnTo>
                    <a:pt x="159" y="309"/>
                  </a:lnTo>
                  <a:lnTo>
                    <a:pt x="158" y="309"/>
                  </a:lnTo>
                  <a:lnTo>
                    <a:pt x="158" y="310"/>
                  </a:lnTo>
                  <a:lnTo>
                    <a:pt x="157" y="310"/>
                  </a:lnTo>
                  <a:lnTo>
                    <a:pt x="157" y="309"/>
                  </a:lnTo>
                  <a:lnTo>
                    <a:pt x="157" y="308"/>
                  </a:lnTo>
                  <a:lnTo>
                    <a:pt x="157" y="307"/>
                  </a:lnTo>
                  <a:lnTo>
                    <a:pt x="157" y="305"/>
                  </a:lnTo>
                  <a:lnTo>
                    <a:pt x="157" y="304"/>
                  </a:lnTo>
                  <a:lnTo>
                    <a:pt x="158" y="304"/>
                  </a:lnTo>
                  <a:lnTo>
                    <a:pt x="157" y="303"/>
                  </a:lnTo>
                  <a:lnTo>
                    <a:pt x="157" y="302"/>
                  </a:lnTo>
                  <a:lnTo>
                    <a:pt x="156" y="302"/>
                  </a:lnTo>
                  <a:lnTo>
                    <a:pt x="155" y="302"/>
                  </a:lnTo>
                  <a:lnTo>
                    <a:pt x="153" y="302"/>
                  </a:lnTo>
                  <a:lnTo>
                    <a:pt x="152" y="302"/>
                  </a:lnTo>
                  <a:lnTo>
                    <a:pt x="151" y="302"/>
                  </a:lnTo>
                  <a:lnTo>
                    <a:pt x="151" y="301"/>
                  </a:lnTo>
                  <a:lnTo>
                    <a:pt x="150" y="301"/>
                  </a:lnTo>
                  <a:lnTo>
                    <a:pt x="150" y="299"/>
                  </a:lnTo>
                  <a:lnTo>
                    <a:pt x="148" y="299"/>
                  </a:lnTo>
                  <a:lnTo>
                    <a:pt x="147" y="299"/>
                  </a:lnTo>
                  <a:lnTo>
                    <a:pt x="147" y="301"/>
                  </a:lnTo>
                  <a:lnTo>
                    <a:pt x="146" y="299"/>
                  </a:lnTo>
                  <a:lnTo>
                    <a:pt x="146" y="298"/>
                  </a:lnTo>
                  <a:lnTo>
                    <a:pt x="146" y="299"/>
                  </a:lnTo>
                  <a:lnTo>
                    <a:pt x="146" y="301"/>
                  </a:lnTo>
                  <a:lnTo>
                    <a:pt x="145" y="301"/>
                  </a:lnTo>
                  <a:lnTo>
                    <a:pt x="144" y="301"/>
                  </a:lnTo>
                  <a:lnTo>
                    <a:pt x="144" y="302"/>
                  </a:lnTo>
                  <a:lnTo>
                    <a:pt x="142" y="302"/>
                  </a:lnTo>
                  <a:lnTo>
                    <a:pt x="142" y="303"/>
                  </a:lnTo>
                  <a:lnTo>
                    <a:pt x="142" y="301"/>
                  </a:lnTo>
                  <a:lnTo>
                    <a:pt x="141" y="302"/>
                  </a:lnTo>
                  <a:lnTo>
                    <a:pt x="141" y="303"/>
                  </a:lnTo>
                  <a:lnTo>
                    <a:pt x="140" y="303"/>
                  </a:lnTo>
                  <a:lnTo>
                    <a:pt x="140" y="302"/>
                  </a:lnTo>
                  <a:lnTo>
                    <a:pt x="140" y="303"/>
                  </a:lnTo>
                  <a:lnTo>
                    <a:pt x="139" y="303"/>
                  </a:lnTo>
                  <a:lnTo>
                    <a:pt x="138" y="303"/>
                  </a:lnTo>
                  <a:lnTo>
                    <a:pt x="136" y="302"/>
                  </a:lnTo>
                  <a:lnTo>
                    <a:pt x="135" y="303"/>
                  </a:lnTo>
                  <a:lnTo>
                    <a:pt x="134" y="304"/>
                  </a:lnTo>
                  <a:lnTo>
                    <a:pt x="133" y="304"/>
                  </a:lnTo>
                  <a:lnTo>
                    <a:pt x="134" y="305"/>
                  </a:lnTo>
                  <a:lnTo>
                    <a:pt x="133" y="305"/>
                  </a:lnTo>
                  <a:lnTo>
                    <a:pt x="133" y="307"/>
                  </a:lnTo>
                  <a:lnTo>
                    <a:pt x="132" y="307"/>
                  </a:lnTo>
                  <a:lnTo>
                    <a:pt x="133" y="308"/>
                  </a:lnTo>
                  <a:lnTo>
                    <a:pt x="132" y="307"/>
                  </a:lnTo>
                  <a:lnTo>
                    <a:pt x="130" y="307"/>
                  </a:lnTo>
                  <a:lnTo>
                    <a:pt x="129" y="305"/>
                  </a:lnTo>
                  <a:lnTo>
                    <a:pt x="128" y="305"/>
                  </a:lnTo>
                  <a:lnTo>
                    <a:pt x="127" y="305"/>
                  </a:lnTo>
                  <a:lnTo>
                    <a:pt x="126" y="305"/>
                  </a:lnTo>
                  <a:lnTo>
                    <a:pt x="124" y="305"/>
                  </a:lnTo>
                  <a:lnTo>
                    <a:pt x="124" y="304"/>
                  </a:lnTo>
                  <a:lnTo>
                    <a:pt x="124" y="303"/>
                  </a:lnTo>
                  <a:lnTo>
                    <a:pt x="123" y="304"/>
                  </a:lnTo>
                  <a:lnTo>
                    <a:pt x="123" y="305"/>
                  </a:lnTo>
                  <a:lnTo>
                    <a:pt x="123" y="307"/>
                  </a:lnTo>
                  <a:lnTo>
                    <a:pt x="123" y="308"/>
                  </a:lnTo>
                  <a:lnTo>
                    <a:pt x="122" y="308"/>
                  </a:lnTo>
                  <a:lnTo>
                    <a:pt x="122" y="309"/>
                  </a:lnTo>
                  <a:lnTo>
                    <a:pt x="122" y="310"/>
                  </a:lnTo>
                  <a:lnTo>
                    <a:pt x="122" y="311"/>
                  </a:lnTo>
                  <a:lnTo>
                    <a:pt x="122" y="313"/>
                  </a:lnTo>
                  <a:lnTo>
                    <a:pt x="121" y="313"/>
                  </a:lnTo>
                  <a:lnTo>
                    <a:pt x="121" y="314"/>
                  </a:lnTo>
                  <a:lnTo>
                    <a:pt x="120" y="314"/>
                  </a:lnTo>
                  <a:lnTo>
                    <a:pt x="120" y="315"/>
                  </a:lnTo>
                  <a:lnTo>
                    <a:pt x="118" y="315"/>
                  </a:lnTo>
                  <a:lnTo>
                    <a:pt x="118" y="314"/>
                  </a:lnTo>
                  <a:lnTo>
                    <a:pt x="118" y="315"/>
                  </a:lnTo>
                  <a:lnTo>
                    <a:pt x="118" y="314"/>
                  </a:lnTo>
                  <a:lnTo>
                    <a:pt x="117" y="314"/>
                  </a:lnTo>
                  <a:lnTo>
                    <a:pt x="116" y="314"/>
                  </a:lnTo>
                  <a:lnTo>
                    <a:pt x="116" y="313"/>
                  </a:lnTo>
                  <a:lnTo>
                    <a:pt x="115" y="313"/>
                  </a:lnTo>
                  <a:lnTo>
                    <a:pt x="115" y="314"/>
                  </a:lnTo>
                  <a:lnTo>
                    <a:pt x="114" y="314"/>
                  </a:lnTo>
                  <a:lnTo>
                    <a:pt x="114" y="315"/>
                  </a:lnTo>
                  <a:lnTo>
                    <a:pt x="114" y="316"/>
                  </a:lnTo>
                  <a:lnTo>
                    <a:pt x="114" y="317"/>
                  </a:lnTo>
                  <a:lnTo>
                    <a:pt x="112" y="317"/>
                  </a:lnTo>
                  <a:lnTo>
                    <a:pt x="112" y="319"/>
                  </a:lnTo>
                  <a:lnTo>
                    <a:pt x="112" y="320"/>
                  </a:lnTo>
                  <a:lnTo>
                    <a:pt x="112" y="322"/>
                  </a:lnTo>
                  <a:lnTo>
                    <a:pt x="112" y="327"/>
                  </a:lnTo>
                  <a:lnTo>
                    <a:pt x="112" y="331"/>
                  </a:lnTo>
                  <a:lnTo>
                    <a:pt x="112" y="334"/>
                  </a:lnTo>
                  <a:lnTo>
                    <a:pt x="112" y="336"/>
                  </a:lnTo>
                  <a:lnTo>
                    <a:pt x="112" y="337"/>
                  </a:lnTo>
                  <a:lnTo>
                    <a:pt x="111" y="338"/>
                  </a:lnTo>
                  <a:lnTo>
                    <a:pt x="110" y="338"/>
                  </a:lnTo>
                  <a:lnTo>
                    <a:pt x="103" y="337"/>
                  </a:lnTo>
                  <a:lnTo>
                    <a:pt x="103" y="331"/>
                  </a:lnTo>
                  <a:lnTo>
                    <a:pt x="103" y="325"/>
                  </a:lnTo>
                  <a:lnTo>
                    <a:pt x="103" y="317"/>
                  </a:lnTo>
                  <a:lnTo>
                    <a:pt x="102" y="316"/>
                  </a:lnTo>
                  <a:lnTo>
                    <a:pt x="102" y="315"/>
                  </a:lnTo>
                  <a:lnTo>
                    <a:pt x="100" y="315"/>
                  </a:lnTo>
                  <a:lnTo>
                    <a:pt x="99" y="315"/>
                  </a:lnTo>
                  <a:lnTo>
                    <a:pt x="99" y="314"/>
                  </a:lnTo>
                  <a:lnTo>
                    <a:pt x="98" y="314"/>
                  </a:lnTo>
                  <a:lnTo>
                    <a:pt x="98" y="313"/>
                  </a:lnTo>
                  <a:lnTo>
                    <a:pt x="99" y="313"/>
                  </a:lnTo>
                  <a:lnTo>
                    <a:pt x="99" y="311"/>
                  </a:lnTo>
                  <a:lnTo>
                    <a:pt x="99" y="310"/>
                  </a:lnTo>
                  <a:lnTo>
                    <a:pt x="99" y="311"/>
                  </a:lnTo>
                  <a:lnTo>
                    <a:pt x="99" y="310"/>
                  </a:lnTo>
                  <a:lnTo>
                    <a:pt x="100" y="310"/>
                  </a:lnTo>
                  <a:lnTo>
                    <a:pt x="99" y="310"/>
                  </a:lnTo>
                  <a:lnTo>
                    <a:pt x="99" y="309"/>
                  </a:lnTo>
                  <a:lnTo>
                    <a:pt x="99" y="308"/>
                  </a:lnTo>
                  <a:lnTo>
                    <a:pt x="98" y="308"/>
                  </a:lnTo>
                  <a:lnTo>
                    <a:pt x="97" y="308"/>
                  </a:lnTo>
                  <a:lnTo>
                    <a:pt x="96" y="308"/>
                  </a:lnTo>
                  <a:lnTo>
                    <a:pt x="96" y="309"/>
                  </a:lnTo>
                  <a:lnTo>
                    <a:pt x="94" y="309"/>
                  </a:lnTo>
                  <a:lnTo>
                    <a:pt x="94" y="308"/>
                  </a:lnTo>
                  <a:lnTo>
                    <a:pt x="94" y="309"/>
                  </a:lnTo>
                  <a:lnTo>
                    <a:pt x="93" y="309"/>
                  </a:lnTo>
                  <a:lnTo>
                    <a:pt x="92" y="310"/>
                  </a:lnTo>
                  <a:lnTo>
                    <a:pt x="91" y="311"/>
                  </a:lnTo>
                  <a:lnTo>
                    <a:pt x="91" y="313"/>
                  </a:lnTo>
                  <a:lnTo>
                    <a:pt x="91" y="311"/>
                  </a:lnTo>
                  <a:lnTo>
                    <a:pt x="89" y="313"/>
                  </a:lnTo>
                  <a:lnTo>
                    <a:pt x="89" y="314"/>
                  </a:lnTo>
                  <a:lnTo>
                    <a:pt x="88" y="314"/>
                  </a:lnTo>
                  <a:lnTo>
                    <a:pt x="87" y="314"/>
                  </a:lnTo>
                  <a:lnTo>
                    <a:pt x="86" y="314"/>
                  </a:lnTo>
                  <a:lnTo>
                    <a:pt x="85" y="313"/>
                  </a:lnTo>
                  <a:lnTo>
                    <a:pt x="83" y="311"/>
                  </a:lnTo>
                  <a:lnTo>
                    <a:pt x="83" y="313"/>
                  </a:lnTo>
                  <a:lnTo>
                    <a:pt x="82" y="313"/>
                  </a:lnTo>
                  <a:lnTo>
                    <a:pt x="81" y="313"/>
                  </a:lnTo>
                  <a:lnTo>
                    <a:pt x="81" y="311"/>
                  </a:lnTo>
                  <a:lnTo>
                    <a:pt x="80" y="311"/>
                  </a:lnTo>
                  <a:lnTo>
                    <a:pt x="80" y="310"/>
                  </a:lnTo>
                  <a:lnTo>
                    <a:pt x="79" y="310"/>
                  </a:lnTo>
                  <a:lnTo>
                    <a:pt x="79" y="309"/>
                  </a:lnTo>
                  <a:lnTo>
                    <a:pt x="77" y="309"/>
                  </a:lnTo>
                  <a:lnTo>
                    <a:pt x="77" y="308"/>
                  </a:lnTo>
                  <a:lnTo>
                    <a:pt x="76" y="307"/>
                  </a:lnTo>
                  <a:lnTo>
                    <a:pt x="76" y="308"/>
                  </a:lnTo>
                  <a:lnTo>
                    <a:pt x="75" y="308"/>
                  </a:lnTo>
                  <a:lnTo>
                    <a:pt x="75" y="307"/>
                  </a:lnTo>
                  <a:lnTo>
                    <a:pt x="75" y="308"/>
                  </a:lnTo>
                  <a:lnTo>
                    <a:pt x="74" y="308"/>
                  </a:lnTo>
                  <a:lnTo>
                    <a:pt x="73" y="308"/>
                  </a:lnTo>
                  <a:lnTo>
                    <a:pt x="71" y="308"/>
                  </a:lnTo>
                  <a:lnTo>
                    <a:pt x="70" y="309"/>
                  </a:lnTo>
                  <a:lnTo>
                    <a:pt x="69" y="310"/>
                  </a:lnTo>
                  <a:lnTo>
                    <a:pt x="69" y="311"/>
                  </a:lnTo>
                  <a:lnTo>
                    <a:pt x="68" y="311"/>
                  </a:lnTo>
                  <a:lnTo>
                    <a:pt x="67" y="311"/>
                  </a:lnTo>
                  <a:lnTo>
                    <a:pt x="65" y="311"/>
                  </a:lnTo>
                  <a:lnTo>
                    <a:pt x="65" y="310"/>
                  </a:lnTo>
                  <a:lnTo>
                    <a:pt x="65" y="309"/>
                  </a:lnTo>
                  <a:lnTo>
                    <a:pt x="65" y="308"/>
                  </a:lnTo>
                  <a:lnTo>
                    <a:pt x="65" y="309"/>
                  </a:lnTo>
                  <a:lnTo>
                    <a:pt x="65" y="310"/>
                  </a:lnTo>
                  <a:lnTo>
                    <a:pt x="64" y="310"/>
                  </a:lnTo>
                  <a:lnTo>
                    <a:pt x="64" y="309"/>
                  </a:lnTo>
                  <a:lnTo>
                    <a:pt x="64" y="308"/>
                  </a:lnTo>
                  <a:lnTo>
                    <a:pt x="64" y="309"/>
                  </a:lnTo>
                  <a:lnTo>
                    <a:pt x="64" y="310"/>
                  </a:lnTo>
                  <a:lnTo>
                    <a:pt x="63" y="310"/>
                  </a:lnTo>
                  <a:lnTo>
                    <a:pt x="63" y="311"/>
                  </a:lnTo>
                  <a:lnTo>
                    <a:pt x="63" y="310"/>
                  </a:lnTo>
                  <a:lnTo>
                    <a:pt x="63" y="309"/>
                  </a:lnTo>
                  <a:lnTo>
                    <a:pt x="62" y="310"/>
                  </a:lnTo>
                  <a:lnTo>
                    <a:pt x="62" y="311"/>
                  </a:lnTo>
                  <a:lnTo>
                    <a:pt x="62" y="310"/>
                  </a:lnTo>
                  <a:lnTo>
                    <a:pt x="62" y="309"/>
                  </a:lnTo>
                  <a:lnTo>
                    <a:pt x="61" y="309"/>
                  </a:lnTo>
                  <a:lnTo>
                    <a:pt x="61" y="310"/>
                  </a:lnTo>
                  <a:lnTo>
                    <a:pt x="59" y="310"/>
                  </a:lnTo>
                  <a:lnTo>
                    <a:pt x="58" y="310"/>
                  </a:lnTo>
                  <a:lnTo>
                    <a:pt x="58" y="311"/>
                  </a:lnTo>
                  <a:lnTo>
                    <a:pt x="58" y="310"/>
                  </a:lnTo>
                  <a:lnTo>
                    <a:pt x="58" y="311"/>
                  </a:lnTo>
                  <a:lnTo>
                    <a:pt x="58" y="313"/>
                  </a:lnTo>
                  <a:lnTo>
                    <a:pt x="57" y="313"/>
                  </a:lnTo>
                  <a:lnTo>
                    <a:pt x="57" y="314"/>
                  </a:lnTo>
                  <a:lnTo>
                    <a:pt x="56" y="314"/>
                  </a:lnTo>
                  <a:lnTo>
                    <a:pt x="56" y="315"/>
                  </a:lnTo>
                  <a:lnTo>
                    <a:pt x="56" y="316"/>
                  </a:lnTo>
                  <a:lnTo>
                    <a:pt x="55" y="316"/>
                  </a:lnTo>
                  <a:lnTo>
                    <a:pt x="55" y="317"/>
                  </a:lnTo>
                  <a:lnTo>
                    <a:pt x="55" y="319"/>
                  </a:lnTo>
                  <a:lnTo>
                    <a:pt x="53" y="319"/>
                  </a:lnTo>
                  <a:lnTo>
                    <a:pt x="53" y="320"/>
                  </a:lnTo>
                  <a:lnTo>
                    <a:pt x="52" y="320"/>
                  </a:lnTo>
                  <a:lnTo>
                    <a:pt x="52" y="319"/>
                  </a:lnTo>
                  <a:lnTo>
                    <a:pt x="52" y="317"/>
                  </a:lnTo>
                  <a:lnTo>
                    <a:pt x="51" y="319"/>
                  </a:lnTo>
                  <a:lnTo>
                    <a:pt x="51" y="320"/>
                  </a:lnTo>
                  <a:lnTo>
                    <a:pt x="51" y="321"/>
                  </a:lnTo>
                  <a:lnTo>
                    <a:pt x="50" y="321"/>
                  </a:lnTo>
                  <a:lnTo>
                    <a:pt x="49" y="321"/>
                  </a:lnTo>
                  <a:lnTo>
                    <a:pt x="49" y="320"/>
                  </a:lnTo>
                  <a:lnTo>
                    <a:pt x="49" y="321"/>
                  </a:lnTo>
                  <a:lnTo>
                    <a:pt x="49" y="320"/>
                  </a:lnTo>
                  <a:lnTo>
                    <a:pt x="47" y="319"/>
                  </a:lnTo>
                  <a:lnTo>
                    <a:pt x="46" y="320"/>
                  </a:lnTo>
                  <a:lnTo>
                    <a:pt x="47" y="320"/>
                  </a:lnTo>
                  <a:lnTo>
                    <a:pt x="47" y="321"/>
                  </a:lnTo>
                  <a:lnTo>
                    <a:pt x="46" y="321"/>
                  </a:lnTo>
                  <a:lnTo>
                    <a:pt x="47" y="321"/>
                  </a:lnTo>
                  <a:lnTo>
                    <a:pt x="47" y="322"/>
                  </a:lnTo>
                  <a:lnTo>
                    <a:pt x="47" y="324"/>
                  </a:lnTo>
                  <a:lnTo>
                    <a:pt x="46" y="324"/>
                  </a:lnTo>
                  <a:lnTo>
                    <a:pt x="46" y="325"/>
                  </a:lnTo>
                  <a:lnTo>
                    <a:pt x="45" y="325"/>
                  </a:lnTo>
                  <a:lnTo>
                    <a:pt x="45" y="326"/>
                  </a:lnTo>
                  <a:lnTo>
                    <a:pt x="44" y="326"/>
                  </a:lnTo>
                  <a:lnTo>
                    <a:pt x="43" y="327"/>
                  </a:lnTo>
                  <a:lnTo>
                    <a:pt x="43" y="326"/>
                  </a:lnTo>
                  <a:lnTo>
                    <a:pt x="43" y="325"/>
                  </a:lnTo>
                  <a:lnTo>
                    <a:pt x="43" y="324"/>
                  </a:lnTo>
                  <a:lnTo>
                    <a:pt x="41" y="324"/>
                  </a:lnTo>
                  <a:lnTo>
                    <a:pt x="40" y="324"/>
                  </a:lnTo>
                  <a:lnTo>
                    <a:pt x="40" y="322"/>
                  </a:lnTo>
                  <a:lnTo>
                    <a:pt x="39" y="322"/>
                  </a:lnTo>
                  <a:lnTo>
                    <a:pt x="39" y="321"/>
                  </a:lnTo>
                  <a:lnTo>
                    <a:pt x="38" y="321"/>
                  </a:lnTo>
                  <a:lnTo>
                    <a:pt x="37" y="321"/>
                  </a:lnTo>
                  <a:lnTo>
                    <a:pt x="35" y="321"/>
                  </a:lnTo>
                  <a:lnTo>
                    <a:pt x="34" y="321"/>
                  </a:lnTo>
                  <a:lnTo>
                    <a:pt x="33" y="321"/>
                  </a:lnTo>
                  <a:lnTo>
                    <a:pt x="33" y="320"/>
                  </a:lnTo>
                  <a:lnTo>
                    <a:pt x="32" y="320"/>
                  </a:lnTo>
                  <a:lnTo>
                    <a:pt x="32" y="319"/>
                  </a:lnTo>
                  <a:lnTo>
                    <a:pt x="31" y="319"/>
                  </a:lnTo>
                  <a:lnTo>
                    <a:pt x="29" y="319"/>
                  </a:lnTo>
                  <a:lnTo>
                    <a:pt x="29" y="317"/>
                  </a:lnTo>
                  <a:lnTo>
                    <a:pt x="29" y="316"/>
                  </a:lnTo>
                  <a:lnTo>
                    <a:pt x="29" y="315"/>
                  </a:lnTo>
                  <a:lnTo>
                    <a:pt x="29" y="316"/>
                  </a:lnTo>
                  <a:lnTo>
                    <a:pt x="29" y="315"/>
                  </a:lnTo>
                  <a:lnTo>
                    <a:pt x="28" y="316"/>
                  </a:lnTo>
                  <a:lnTo>
                    <a:pt x="28" y="315"/>
                  </a:lnTo>
                  <a:lnTo>
                    <a:pt x="28" y="314"/>
                  </a:lnTo>
                  <a:lnTo>
                    <a:pt x="27" y="314"/>
                  </a:lnTo>
                  <a:lnTo>
                    <a:pt x="27" y="313"/>
                  </a:lnTo>
                  <a:lnTo>
                    <a:pt x="26" y="313"/>
                  </a:lnTo>
                  <a:lnTo>
                    <a:pt x="26" y="311"/>
                  </a:lnTo>
                  <a:lnTo>
                    <a:pt x="24" y="311"/>
                  </a:lnTo>
                  <a:lnTo>
                    <a:pt x="24" y="310"/>
                  </a:lnTo>
                  <a:lnTo>
                    <a:pt x="26" y="309"/>
                  </a:lnTo>
                  <a:lnTo>
                    <a:pt x="24" y="309"/>
                  </a:lnTo>
                  <a:lnTo>
                    <a:pt x="24" y="308"/>
                  </a:lnTo>
                  <a:lnTo>
                    <a:pt x="24" y="309"/>
                  </a:lnTo>
                  <a:lnTo>
                    <a:pt x="23" y="309"/>
                  </a:lnTo>
                  <a:lnTo>
                    <a:pt x="23" y="308"/>
                  </a:lnTo>
                  <a:lnTo>
                    <a:pt x="22" y="307"/>
                  </a:lnTo>
                  <a:lnTo>
                    <a:pt x="22" y="308"/>
                  </a:lnTo>
                  <a:lnTo>
                    <a:pt x="21" y="308"/>
                  </a:lnTo>
                  <a:lnTo>
                    <a:pt x="21" y="307"/>
                  </a:lnTo>
                  <a:lnTo>
                    <a:pt x="20" y="307"/>
                  </a:lnTo>
                  <a:lnTo>
                    <a:pt x="18" y="307"/>
                  </a:lnTo>
                  <a:lnTo>
                    <a:pt x="17" y="307"/>
                  </a:lnTo>
                  <a:lnTo>
                    <a:pt x="17" y="305"/>
                  </a:lnTo>
                  <a:lnTo>
                    <a:pt x="17" y="304"/>
                  </a:lnTo>
                  <a:lnTo>
                    <a:pt x="16" y="303"/>
                  </a:lnTo>
                  <a:lnTo>
                    <a:pt x="15" y="303"/>
                  </a:lnTo>
                  <a:lnTo>
                    <a:pt x="14" y="303"/>
                  </a:lnTo>
                  <a:lnTo>
                    <a:pt x="12" y="303"/>
                  </a:lnTo>
                  <a:lnTo>
                    <a:pt x="11" y="303"/>
                  </a:lnTo>
                  <a:lnTo>
                    <a:pt x="11" y="302"/>
                  </a:lnTo>
                  <a:lnTo>
                    <a:pt x="11" y="301"/>
                  </a:lnTo>
                  <a:lnTo>
                    <a:pt x="10" y="301"/>
                  </a:lnTo>
                  <a:lnTo>
                    <a:pt x="10" y="302"/>
                  </a:lnTo>
                  <a:lnTo>
                    <a:pt x="10" y="301"/>
                  </a:lnTo>
                  <a:lnTo>
                    <a:pt x="10" y="299"/>
                  </a:lnTo>
                  <a:lnTo>
                    <a:pt x="9" y="299"/>
                  </a:lnTo>
                  <a:lnTo>
                    <a:pt x="8" y="299"/>
                  </a:lnTo>
                  <a:lnTo>
                    <a:pt x="8" y="298"/>
                  </a:lnTo>
                  <a:lnTo>
                    <a:pt x="6" y="298"/>
                  </a:lnTo>
                  <a:lnTo>
                    <a:pt x="5" y="298"/>
                  </a:lnTo>
                  <a:lnTo>
                    <a:pt x="4" y="298"/>
                  </a:lnTo>
                  <a:lnTo>
                    <a:pt x="4" y="297"/>
                  </a:lnTo>
                  <a:lnTo>
                    <a:pt x="5" y="297"/>
                  </a:lnTo>
                  <a:lnTo>
                    <a:pt x="4" y="297"/>
                  </a:lnTo>
                  <a:lnTo>
                    <a:pt x="4" y="296"/>
                  </a:lnTo>
                  <a:lnTo>
                    <a:pt x="4" y="295"/>
                  </a:lnTo>
                  <a:lnTo>
                    <a:pt x="4" y="293"/>
                  </a:lnTo>
                  <a:lnTo>
                    <a:pt x="4" y="292"/>
                  </a:lnTo>
                  <a:lnTo>
                    <a:pt x="4" y="291"/>
                  </a:lnTo>
                  <a:lnTo>
                    <a:pt x="4" y="290"/>
                  </a:lnTo>
                  <a:lnTo>
                    <a:pt x="4" y="289"/>
                  </a:lnTo>
                  <a:lnTo>
                    <a:pt x="3" y="289"/>
                  </a:lnTo>
                  <a:lnTo>
                    <a:pt x="4" y="289"/>
                  </a:lnTo>
                  <a:lnTo>
                    <a:pt x="3" y="289"/>
                  </a:lnTo>
                  <a:lnTo>
                    <a:pt x="3" y="287"/>
                  </a:lnTo>
                  <a:lnTo>
                    <a:pt x="2" y="287"/>
                  </a:lnTo>
                  <a:lnTo>
                    <a:pt x="0" y="286"/>
                  </a:lnTo>
                  <a:lnTo>
                    <a:pt x="0" y="285"/>
                  </a:lnTo>
                  <a:lnTo>
                    <a:pt x="2" y="285"/>
                  </a:lnTo>
                  <a:lnTo>
                    <a:pt x="3" y="286"/>
                  </a:lnTo>
                  <a:lnTo>
                    <a:pt x="4" y="286"/>
                  </a:lnTo>
                  <a:lnTo>
                    <a:pt x="5" y="287"/>
                  </a:lnTo>
                  <a:lnTo>
                    <a:pt x="6" y="287"/>
                  </a:lnTo>
                  <a:lnTo>
                    <a:pt x="9" y="289"/>
                  </a:lnTo>
                  <a:lnTo>
                    <a:pt x="10" y="289"/>
                  </a:lnTo>
                  <a:lnTo>
                    <a:pt x="11" y="289"/>
                  </a:lnTo>
                  <a:lnTo>
                    <a:pt x="12" y="289"/>
                  </a:lnTo>
                  <a:lnTo>
                    <a:pt x="15" y="290"/>
                  </a:lnTo>
                  <a:lnTo>
                    <a:pt x="16" y="290"/>
                  </a:lnTo>
                  <a:lnTo>
                    <a:pt x="17" y="290"/>
                  </a:lnTo>
                  <a:lnTo>
                    <a:pt x="20" y="289"/>
                  </a:lnTo>
                  <a:lnTo>
                    <a:pt x="21" y="289"/>
                  </a:lnTo>
                  <a:lnTo>
                    <a:pt x="24" y="289"/>
                  </a:lnTo>
                  <a:lnTo>
                    <a:pt x="26" y="287"/>
                  </a:lnTo>
                  <a:lnTo>
                    <a:pt x="26" y="286"/>
                  </a:lnTo>
                  <a:lnTo>
                    <a:pt x="27" y="285"/>
                  </a:lnTo>
                  <a:lnTo>
                    <a:pt x="26" y="285"/>
                  </a:lnTo>
                  <a:lnTo>
                    <a:pt x="24" y="285"/>
                  </a:lnTo>
                  <a:lnTo>
                    <a:pt x="24" y="284"/>
                  </a:lnTo>
                  <a:lnTo>
                    <a:pt x="23" y="284"/>
                  </a:lnTo>
                  <a:lnTo>
                    <a:pt x="22" y="284"/>
                  </a:lnTo>
                  <a:lnTo>
                    <a:pt x="21" y="284"/>
                  </a:lnTo>
                  <a:lnTo>
                    <a:pt x="21" y="283"/>
                  </a:lnTo>
                  <a:lnTo>
                    <a:pt x="21" y="281"/>
                  </a:lnTo>
                  <a:lnTo>
                    <a:pt x="20" y="283"/>
                  </a:lnTo>
                  <a:lnTo>
                    <a:pt x="20" y="281"/>
                  </a:lnTo>
                  <a:lnTo>
                    <a:pt x="20" y="283"/>
                  </a:lnTo>
                  <a:lnTo>
                    <a:pt x="18" y="283"/>
                  </a:lnTo>
                  <a:lnTo>
                    <a:pt x="17" y="281"/>
                  </a:lnTo>
                  <a:lnTo>
                    <a:pt x="17" y="280"/>
                  </a:lnTo>
                  <a:lnTo>
                    <a:pt x="16" y="279"/>
                  </a:lnTo>
                  <a:lnTo>
                    <a:pt x="16" y="278"/>
                  </a:lnTo>
                  <a:lnTo>
                    <a:pt x="15" y="278"/>
                  </a:lnTo>
                  <a:lnTo>
                    <a:pt x="15" y="277"/>
                  </a:lnTo>
                  <a:lnTo>
                    <a:pt x="15" y="275"/>
                  </a:lnTo>
                  <a:lnTo>
                    <a:pt x="16" y="277"/>
                  </a:lnTo>
                  <a:lnTo>
                    <a:pt x="18" y="277"/>
                  </a:lnTo>
                  <a:lnTo>
                    <a:pt x="20" y="277"/>
                  </a:lnTo>
                  <a:lnTo>
                    <a:pt x="21" y="277"/>
                  </a:lnTo>
                  <a:lnTo>
                    <a:pt x="22" y="277"/>
                  </a:lnTo>
                  <a:lnTo>
                    <a:pt x="23" y="275"/>
                  </a:lnTo>
                  <a:lnTo>
                    <a:pt x="23" y="274"/>
                  </a:lnTo>
                  <a:lnTo>
                    <a:pt x="22" y="274"/>
                  </a:lnTo>
                  <a:lnTo>
                    <a:pt x="22" y="273"/>
                  </a:lnTo>
                  <a:lnTo>
                    <a:pt x="21" y="273"/>
                  </a:lnTo>
                  <a:lnTo>
                    <a:pt x="21" y="272"/>
                  </a:lnTo>
                  <a:lnTo>
                    <a:pt x="20" y="272"/>
                  </a:lnTo>
                  <a:lnTo>
                    <a:pt x="18" y="272"/>
                  </a:lnTo>
                  <a:lnTo>
                    <a:pt x="17" y="271"/>
                  </a:lnTo>
                  <a:lnTo>
                    <a:pt x="16" y="271"/>
                  </a:lnTo>
                  <a:lnTo>
                    <a:pt x="16" y="269"/>
                  </a:lnTo>
                  <a:lnTo>
                    <a:pt x="15" y="269"/>
                  </a:lnTo>
                  <a:lnTo>
                    <a:pt x="15" y="268"/>
                  </a:lnTo>
                  <a:lnTo>
                    <a:pt x="14" y="268"/>
                  </a:lnTo>
                  <a:lnTo>
                    <a:pt x="14" y="267"/>
                  </a:lnTo>
                  <a:lnTo>
                    <a:pt x="14" y="266"/>
                  </a:lnTo>
                  <a:lnTo>
                    <a:pt x="14" y="265"/>
                  </a:lnTo>
                  <a:lnTo>
                    <a:pt x="12" y="265"/>
                  </a:lnTo>
                  <a:lnTo>
                    <a:pt x="12" y="263"/>
                  </a:lnTo>
                  <a:lnTo>
                    <a:pt x="14" y="263"/>
                  </a:lnTo>
                  <a:lnTo>
                    <a:pt x="14" y="265"/>
                  </a:lnTo>
                  <a:lnTo>
                    <a:pt x="15" y="265"/>
                  </a:lnTo>
                  <a:lnTo>
                    <a:pt x="14" y="263"/>
                  </a:lnTo>
                  <a:lnTo>
                    <a:pt x="14" y="262"/>
                  </a:lnTo>
                  <a:lnTo>
                    <a:pt x="15" y="262"/>
                  </a:lnTo>
                  <a:lnTo>
                    <a:pt x="14" y="262"/>
                  </a:lnTo>
                  <a:lnTo>
                    <a:pt x="14" y="261"/>
                  </a:lnTo>
                  <a:lnTo>
                    <a:pt x="15" y="261"/>
                  </a:lnTo>
                  <a:lnTo>
                    <a:pt x="14" y="261"/>
                  </a:lnTo>
                  <a:lnTo>
                    <a:pt x="14" y="260"/>
                  </a:lnTo>
                  <a:lnTo>
                    <a:pt x="15" y="260"/>
                  </a:lnTo>
                  <a:lnTo>
                    <a:pt x="16" y="260"/>
                  </a:lnTo>
                  <a:lnTo>
                    <a:pt x="16" y="261"/>
                  </a:lnTo>
                  <a:lnTo>
                    <a:pt x="17" y="261"/>
                  </a:lnTo>
                  <a:lnTo>
                    <a:pt x="17" y="262"/>
                  </a:lnTo>
                  <a:lnTo>
                    <a:pt x="18" y="263"/>
                  </a:lnTo>
                  <a:lnTo>
                    <a:pt x="20" y="263"/>
                  </a:lnTo>
                  <a:lnTo>
                    <a:pt x="21" y="265"/>
                  </a:lnTo>
                  <a:lnTo>
                    <a:pt x="22" y="265"/>
                  </a:lnTo>
                  <a:lnTo>
                    <a:pt x="23" y="265"/>
                  </a:lnTo>
                  <a:lnTo>
                    <a:pt x="22" y="263"/>
                  </a:lnTo>
                  <a:lnTo>
                    <a:pt x="23" y="263"/>
                  </a:lnTo>
                  <a:lnTo>
                    <a:pt x="23" y="262"/>
                  </a:lnTo>
                  <a:lnTo>
                    <a:pt x="22" y="262"/>
                  </a:lnTo>
                  <a:lnTo>
                    <a:pt x="22" y="261"/>
                  </a:lnTo>
                  <a:lnTo>
                    <a:pt x="22" y="260"/>
                  </a:lnTo>
                  <a:lnTo>
                    <a:pt x="23" y="260"/>
                  </a:lnTo>
                  <a:lnTo>
                    <a:pt x="24" y="260"/>
                  </a:lnTo>
                  <a:lnTo>
                    <a:pt x="24" y="261"/>
                  </a:lnTo>
                  <a:lnTo>
                    <a:pt x="26" y="261"/>
                  </a:lnTo>
                  <a:lnTo>
                    <a:pt x="24" y="260"/>
                  </a:lnTo>
                  <a:lnTo>
                    <a:pt x="24" y="259"/>
                  </a:lnTo>
                  <a:lnTo>
                    <a:pt x="26" y="257"/>
                  </a:lnTo>
                  <a:lnTo>
                    <a:pt x="26" y="259"/>
                  </a:lnTo>
                  <a:lnTo>
                    <a:pt x="27" y="259"/>
                  </a:lnTo>
                  <a:lnTo>
                    <a:pt x="27" y="260"/>
                  </a:lnTo>
                  <a:lnTo>
                    <a:pt x="27" y="259"/>
                  </a:lnTo>
                  <a:lnTo>
                    <a:pt x="28" y="260"/>
                  </a:lnTo>
                  <a:lnTo>
                    <a:pt x="27" y="260"/>
                  </a:lnTo>
                  <a:lnTo>
                    <a:pt x="28" y="261"/>
                  </a:lnTo>
                  <a:lnTo>
                    <a:pt x="27" y="261"/>
                  </a:lnTo>
                  <a:lnTo>
                    <a:pt x="28" y="261"/>
                  </a:lnTo>
                  <a:lnTo>
                    <a:pt x="28" y="262"/>
                  </a:lnTo>
                  <a:lnTo>
                    <a:pt x="29" y="262"/>
                  </a:lnTo>
                  <a:lnTo>
                    <a:pt x="28" y="263"/>
                  </a:lnTo>
                  <a:lnTo>
                    <a:pt x="29" y="263"/>
                  </a:lnTo>
                  <a:lnTo>
                    <a:pt x="29" y="265"/>
                  </a:lnTo>
                  <a:lnTo>
                    <a:pt x="31" y="265"/>
                  </a:lnTo>
                  <a:lnTo>
                    <a:pt x="32" y="265"/>
                  </a:lnTo>
                  <a:lnTo>
                    <a:pt x="33" y="265"/>
                  </a:lnTo>
                  <a:lnTo>
                    <a:pt x="34" y="265"/>
                  </a:lnTo>
                  <a:lnTo>
                    <a:pt x="35" y="265"/>
                  </a:lnTo>
                  <a:lnTo>
                    <a:pt x="37" y="265"/>
                  </a:lnTo>
                  <a:lnTo>
                    <a:pt x="38" y="265"/>
                  </a:lnTo>
                  <a:lnTo>
                    <a:pt x="38" y="263"/>
                  </a:lnTo>
                  <a:lnTo>
                    <a:pt x="38" y="262"/>
                  </a:lnTo>
                  <a:lnTo>
                    <a:pt x="37" y="262"/>
                  </a:lnTo>
                  <a:lnTo>
                    <a:pt x="37" y="263"/>
                  </a:lnTo>
                  <a:lnTo>
                    <a:pt x="35" y="265"/>
                  </a:lnTo>
                  <a:lnTo>
                    <a:pt x="35" y="263"/>
                  </a:lnTo>
                  <a:lnTo>
                    <a:pt x="37" y="263"/>
                  </a:lnTo>
                  <a:lnTo>
                    <a:pt x="37" y="262"/>
                  </a:lnTo>
                  <a:lnTo>
                    <a:pt x="37" y="261"/>
                  </a:lnTo>
                  <a:lnTo>
                    <a:pt x="37" y="262"/>
                  </a:lnTo>
                  <a:lnTo>
                    <a:pt x="37" y="261"/>
                  </a:lnTo>
                  <a:lnTo>
                    <a:pt x="35" y="261"/>
                  </a:lnTo>
                  <a:lnTo>
                    <a:pt x="35" y="262"/>
                  </a:lnTo>
                  <a:lnTo>
                    <a:pt x="35" y="261"/>
                  </a:lnTo>
                  <a:lnTo>
                    <a:pt x="35" y="260"/>
                  </a:lnTo>
                  <a:lnTo>
                    <a:pt x="37" y="260"/>
                  </a:lnTo>
                  <a:lnTo>
                    <a:pt x="35" y="259"/>
                  </a:lnTo>
                  <a:lnTo>
                    <a:pt x="35" y="260"/>
                  </a:lnTo>
                  <a:lnTo>
                    <a:pt x="34" y="260"/>
                  </a:lnTo>
                  <a:lnTo>
                    <a:pt x="33" y="260"/>
                  </a:lnTo>
                  <a:lnTo>
                    <a:pt x="33" y="259"/>
                  </a:lnTo>
                  <a:lnTo>
                    <a:pt x="33" y="257"/>
                  </a:lnTo>
                  <a:lnTo>
                    <a:pt x="34" y="257"/>
                  </a:lnTo>
                  <a:lnTo>
                    <a:pt x="34" y="256"/>
                  </a:lnTo>
                  <a:lnTo>
                    <a:pt x="33" y="256"/>
                  </a:lnTo>
                  <a:lnTo>
                    <a:pt x="33" y="257"/>
                  </a:lnTo>
                  <a:lnTo>
                    <a:pt x="32" y="257"/>
                  </a:lnTo>
                  <a:lnTo>
                    <a:pt x="31" y="257"/>
                  </a:lnTo>
                  <a:lnTo>
                    <a:pt x="31" y="256"/>
                  </a:lnTo>
                  <a:lnTo>
                    <a:pt x="32" y="256"/>
                  </a:lnTo>
                  <a:lnTo>
                    <a:pt x="33" y="255"/>
                  </a:lnTo>
                  <a:lnTo>
                    <a:pt x="33" y="254"/>
                  </a:lnTo>
                  <a:lnTo>
                    <a:pt x="33" y="255"/>
                  </a:lnTo>
                  <a:lnTo>
                    <a:pt x="32" y="255"/>
                  </a:lnTo>
                  <a:lnTo>
                    <a:pt x="31" y="255"/>
                  </a:lnTo>
                  <a:lnTo>
                    <a:pt x="32" y="254"/>
                  </a:lnTo>
                  <a:lnTo>
                    <a:pt x="33" y="254"/>
                  </a:lnTo>
                  <a:lnTo>
                    <a:pt x="34" y="254"/>
                  </a:lnTo>
                  <a:lnTo>
                    <a:pt x="34" y="253"/>
                  </a:lnTo>
                  <a:lnTo>
                    <a:pt x="33" y="253"/>
                  </a:lnTo>
                  <a:lnTo>
                    <a:pt x="33" y="254"/>
                  </a:lnTo>
                  <a:lnTo>
                    <a:pt x="32" y="254"/>
                  </a:lnTo>
                  <a:lnTo>
                    <a:pt x="31" y="254"/>
                  </a:lnTo>
                  <a:lnTo>
                    <a:pt x="32" y="253"/>
                  </a:lnTo>
                  <a:lnTo>
                    <a:pt x="32" y="251"/>
                  </a:lnTo>
                  <a:lnTo>
                    <a:pt x="31" y="253"/>
                  </a:lnTo>
                  <a:lnTo>
                    <a:pt x="32" y="251"/>
                  </a:lnTo>
                  <a:lnTo>
                    <a:pt x="31" y="251"/>
                  </a:lnTo>
                  <a:lnTo>
                    <a:pt x="31" y="250"/>
                  </a:lnTo>
                  <a:lnTo>
                    <a:pt x="32" y="250"/>
                  </a:lnTo>
                  <a:lnTo>
                    <a:pt x="33" y="250"/>
                  </a:lnTo>
                  <a:lnTo>
                    <a:pt x="33" y="249"/>
                  </a:lnTo>
                  <a:lnTo>
                    <a:pt x="34" y="248"/>
                  </a:lnTo>
                  <a:lnTo>
                    <a:pt x="35" y="248"/>
                  </a:lnTo>
                  <a:lnTo>
                    <a:pt x="34" y="245"/>
                  </a:lnTo>
                  <a:lnTo>
                    <a:pt x="34" y="247"/>
                  </a:lnTo>
                  <a:lnTo>
                    <a:pt x="34" y="248"/>
                  </a:lnTo>
                  <a:lnTo>
                    <a:pt x="34" y="247"/>
                  </a:lnTo>
                  <a:lnTo>
                    <a:pt x="33" y="248"/>
                  </a:lnTo>
                  <a:lnTo>
                    <a:pt x="33" y="247"/>
                  </a:lnTo>
                  <a:lnTo>
                    <a:pt x="33" y="245"/>
                  </a:lnTo>
                  <a:lnTo>
                    <a:pt x="33" y="248"/>
                  </a:lnTo>
                  <a:lnTo>
                    <a:pt x="32" y="248"/>
                  </a:lnTo>
                  <a:lnTo>
                    <a:pt x="32" y="249"/>
                  </a:lnTo>
                  <a:lnTo>
                    <a:pt x="32" y="248"/>
                  </a:lnTo>
                  <a:lnTo>
                    <a:pt x="32" y="247"/>
                  </a:lnTo>
                  <a:lnTo>
                    <a:pt x="32" y="245"/>
                  </a:lnTo>
                  <a:lnTo>
                    <a:pt x="33" y="245"/>
                  </a:lnTo>
                  <a:lnTo>
                    <a:pt x="33" y="244"/>
                  </a:lnTo>
                  <a:lnTo>
                    <a:pt x="33" y="243"/>
                  </a:lnTo>
                  <a:lnTo>
                    <a:pt x="32" y="243"/>
                  </a:lnTo>
                  <a:lnTo>
                    <a:pt x="32" y="244"/>
                  </a:lnTo>
                  <a:lnTo>
                    <a:pt x="32" y="245"/>
                  </a:lnTo>
                  <a:lnTo>
                    <a:pt x="32" y="247"/>
                  </a:lnTo>
                  <a:lnTo>
                    <a:pt x="31" y="247"/>
                  </a:lnTo>
                  <a:lnTo>
                    <a:pt x="31" y="245"/>
                  </a:lnTo>
                  <a:lnTo>
                    <a:pt x="31" y="244"/>
                  </a:lnTo>
                  <a:lnTo>
                    <a:pt x="31" y="243"/>
                  </a:lnTo>
                  <a:lnTo>
                    <a:pt x="32" y="243"/>
                  </a:lnTo>
                  <a:lnTo>
                    <a:pt x="31" y="243"/>
                  </a:lnTo>
                  <a:lnTo>
                    <a:pt x="31" y="244"/>
                  </a:lnTo>
                  <a:lnTo>
                    <a:pt x="29" y="244"/>
                  </a:lnTo>
                  <a:lnTo>
                    <a:pt x="29" y="245"/>
                  </a:lnTo>
                  <a:lnTo>
                    <a:pt x="28" y="245"/>
                  </a:lnTo>
                  <a:lnTo>
                    <a:pt x="28" y="244"/>
                  </a:lnTo>
                  <a:lnTo>
                    <a:pt x="27" y="244"/>
                  </a:lnTo>
                  <a:lnTo>
                    <a:pt x="27" y="247"/>
                  </a:lnTo>
                  <a:lnTo>
                    <a:pt x="27" y="245"/>
                  </a:lnTo>
                  <a:lnTo>
                    <a:pt x="26" y="244"/>
                  </a:lnTo>
                  <a:lnTo>
                    <a:pt x="26" y="245"/>
                  </a:lnTo>
                  <a:lnTo>
                    <a:pt x="24" y="245"/>
                  </a:lnTo>
                  <a:lnTo>
                    <a:pt x="24" y="247"/>
                  </a:lnTo>
                  <a:lnTo>
                    <a:pt x="24" y="245"/>
                  </a:lnTo>
                  <a:lnTo>
                    <a:pt x="24" y="244"/>
                  </a:lnTo>
                  <a:lnTo>
                    <a:pt x="23" y="244"/>
                  </a:lnTo>
                  <a:lnTo>
                    <a:pt x="23" y="243"/>
                  </a:lnTo>
                  <a:lnTo>
                    <a:pt x="24" y="242"/>
                  </a:lnTo>
                  <a:lnTo>
                    <a:pt x="23" y="242"/>
                  </a:lnTo>
                  <a:lnTo>
                    <a:pt x="22" y="242"/>
                  </a:lnTo>
                  <a:lnTo>
                    <a:pt x="22" y="243"/>
                  </a:lnTo>
                  <a:lnTo>
                    <a:pt x="22" y="242"/>
                  </a:lnTo>
                  <a:lnTo>
                    <a:pt x="21" y="243"/>
                  </a:lnTo>
                  <a:lnTo>
                    <a:pt x="20" y="243"/>
                  </a:lnTo>
                  <a:lnTo>
                    <a:pt x="18" y="243"/>
                  </a:lnTo>
                  <a:lnTo>
                    <a:pt x="20" y="243"/>
                  </a:lnTo>
                  <a:lnTo>
                    <a:pt x="20" y="242"/>
                  </a:lnTo>
                  <a:lnTo>
                    <a:pt x="21" y="242"/>
                  </a:lnTo>
                  <a:lnTo>
                    <a:pt x="22" y="241"/>
                  </a:lnTo>
                  <a:lnTo>
                    <a:pt x="23" y="239"/>
                  </a:lnTo>
                  <a:lnTo>
                    <a:pt x="24" y="238"/>
                  </a:lnTo>
                  <a:lnTo>
                    <a:pt x="23" y="238"/>
                  </a:lnTo>
                  <a:lnTo>
                    <a:pt x="23" y="239"/>
                  </a:lnTo>
                  <a:lnTo>
                    <a:pt x="22" y="239"/>
                  </a:lnTo>
                  <a:lnTo>
                    <a:pt x="21" y="239"/>
                  </a:lnTo>
                  <a:lnTo>
                    <a:pt x="21" y="238"/>
                  </a:lnTo>
                  <a:lnTo>
                    <a:pt x="21" y="239"/>
                  </a:lnTo>
                  <a:lnTo>
                    <a:pt x="21" y="241"/>
                  </a:lnTo>
                  <a:lnTo>
                    <a:pt x="21" y="242"/>
                  </a:lnTo>
                  <a:lnTo>
                    <a:pt x="20" y="242"/>
                  </a:lnTo>
                  <a:lnTo>
                    <a:pt x="20" y="241"/>
                  </a:lnTo>
                  <a:lnTo>
                    <a:pt x="20" y="239"/>
                  </a:lnTo>
                  <a:lnTo>
                    <a:pt x="20" y="241"/>
                  </a:lnTo>
                  <a:lnTo>
                    <a:pt x="20" y="242"/>
                  </a:lnTo>
                  <a:lnTo>
                    <a:pt x="18" y="242"/>
                  </a:lnTo>
                  <a:lnTo>
                    <a:pt x="18" y="241"/>
                  </a:lnTo>
                  <a:lnTo>
                    <a:pt x="18" y="239"/>
                  </a:lnTo>
                  <a:lnTo>
                    <a:pt x="18" y="238"/>
                  </a:lnTo>
                  <a:lnTo>
                    <a:pt x="18" y="239"/>
                  </a:lnTo>
                  <a:lnTo>
                    <a:pt x="17" y="239"/>
                  </a:lnTo>
                  <a:lnTo>
                    <a:pt x="17" y="241"/>
                  </a:lnTo>
                  <a:lnTo>
                    <a:pt x="17" y="242"/>
                  </a:lnTo>
                  <a:lnTo>
                    <a:pt x="17" y="241"/>
                  </a:lnTo>
                  <a:lnTo>
                    <a:pt x="17" y="239"/>
                  </a:lnTo>
                  <a:lnTo>
                    <a:pt x="17" y="238"/>
                  </a:lnTo>
                  <a:lnTo>
                    <a:pt x="16" y="237"/>
                  </a:lnTo>
                  <a:lnTo>
                    <a:pt x="17" y="237"/>
                  </a:lnTo>
                  <a:lnTo>
                    <a:pt x="17" y="236"/>
                  </a:lnTo>
                  <a:lnTo>
                    <a:pt x="16" y="236"/>
                  </a:lnTo>
                  <a:lnTo>
                    <a:pt x="16" y="237"/>
                  </a:lnTo>
                  <a:lnTo>
                    <a:pt x="16" y="238"/>
                  </a:lnTo>
                  <a:lnTo>
                    <a:pt x="15" y="238"/>
                  </a:lnTo>
                  <a:lnTo>
                    <a:pt x="15" y="237"/>
                  </a:lnTo>
                  <a:lnTo>
                    <a:pt x="15" y="236"/>
                  </a:lnTo>
                  <a:lnTo>
                    <a:pt x="14" y="238"/>
                  </a:lnTo>
                  <a:lnTo>
                    <a:pt x="12" y="238"/>
                  </a:lnTo>
                  <a:lnTo>
                    <a:pt x="12" y="237"/>
                  </a:lnTo>
                  <a:lnTo>
                    <a:pt x="12" y="238"/>
                  </a:lnTo>
                  <a:lnTo>
                    <a:pt x="12" y="239"/>
                  </a:lnTo>
                  <a:lnTo>
                    <a:pt x="12" y="241"/>
                  </a:lnTo>
                  <a:lnTo>
                    <a:pt x="11" y="239"/>
                  </a:lnTo>
                  <a:lnTo>
                    <a:pt x="11" y="238"/>
                  </a:lnTo>
                  <a:lnTo>
                    <a:pt x="11" y="239"/>
                  </a:lnTo>
                  <a:lnTo>
                    <a:pt x="10" y="239"/>
                  </a:lnTo>
                  <a:lnTo>
                    <a:pt x="10" y="238"/>
                  </a:lnTo>
                  <a:lnTo>
                    <a:pt x="10" y="237"/>
                  </a:lnTo>
                  <a:lnTo>
                    <a:pt x="9" y="237"/>
                  </a:lnTo>
                  <a:lnTo>
                    <a:pt x="10" y="236"/>
                  </a:lnTo>
                  <a:lnTo>
                    <a:pt x="11" y="235"/>
                  </a:lnTo>
                  <a:lnTo>
                    <a:pt x="14" y="233"/>
                  </a:lnTo>
                  <a:lnTo>
                    <a:pt x="15" y="232"/>
                  </a:lnTo>
                  <a:lnTo>
                    <a:pt x="17" y="232"/>
                  </a:lnTo>
                  <a:lnTo>
                    <a:pt x="18" y="232"/>
                  </a:lnTo>
                  <a:lnTo>
                    <a:pt x="20" y="232"/>
                  </a:lnTo>
                  <a:lnTo>
                    <a:pt x="21" y="232"/>
                  </a:lnTo>
                  <a:lnTo>
                    <a:pt x="22" y="232"/>
                  </a:lnTo>
                  <a:lnTo>
                    <a:pt x="23" y="231"/>
                  </a:lnTo>
                  <a:lnTo>
                    <a:pt x="24" y="231"/>
                  </a:lnTo>
                  <a:lnTo>
                    <a:pt x="24" y="230"/>
                  </a:lnTo>
                  <a:lnTo>
                    <a:pt x="23" y="230"/>
                  </a:lnTo>
                  <a:lnTo>
                    <a:pt x="22" y="231"/>
                  </a:lnTo>
                  <a:lnTo>
                    <a:pt x="22" y="230"/>
                  </a:lnTo>
                  <a:lnTo>
                    <a:pt x="23" y="230"/>
                  </a:lnTo>
                  <a:lnTo>
                    <a:pt x="22" y="229"/>
                  </a:lnTo>
                  <a:lnTo>
                    <a:pt x="23" y="230"/>
                  </a:lnTo>
                  <a:lnTo>
                    <a:pt x="23" y="229"/>
                  </a:lnTo>
                  <a:lnTo>
                    <a:pt x="24" y="230"/>
                  </a:lnTo>
                  <a:lnTo>
                    <a:pt x="26" y="230"/>
                  </a:lnTo>
                  <a:lnTo>
                    <a:pt x="27" y="231"/>
                  </a:lnTo>
                  <a:lnTo>
                    <a:pt x="28" y="231"/>
                  </a:lnTo>
                  <a:lnTo>
                    <a:pt x="31" y="230"/>
                  </a:lnTo>
                  <a:lnTo>
                    <a:pt x="32" y="229"/>
                  </a:lnTo>
                  <a:lnTo>
                    <a:pt x="33" y="230"/>
                  </a:lnTo>
                  <a:lnTo>
                    <a:pt x="33" y="229"/>
                  </a:lnTo>
                  <a:lnTo>
                    <a:pt x="33" y="227"/>
                  </a:lnTo>
                  <a:lnTo>
                    <a:pt x="33" y="226"/>
                  </a:lnTo>
                  <a:lnTo>
                    <a:pt x="32" y="226"/>
                  </a:lnTo>
                  <a:lnTo>
                    <a:pt x="32" y="227"/>
                  </a:lnTo>
                  <a:lnTo>
                    <a:pt x="32" y="226"/>
                  </a:lnTo>
                  <a:lnTo>
                    <a:pt x="31" y="226"/>
                  </a:lnTo>
                  <a:lnTo>
                    <a:pt x="29" y="226"/>
                  </a:lnTo>
                  <a:lnTo>
                    <a:pt x="28" y="225"/>
                  </a:lnTo>
                  <a:lnTo>
                    <a:pt x="27" y="224"/>
                  </a:lnTo>
                  <a:lnTo>
                    <a:pt x="26" y="224"/>
                  </a:lnTo>
                  <a:lnTo>
                    <a:pt x="26" y="223"/>
                  </a:lnTo>
                  <a:lnTo>
                    <a:pt x="24" y="223"/>
                  </a:lnTo>
                  <a:lnTo>
                    <a:pt x="24" y="221"/>
                  </a:lnTo>
                  <a:lnTo>
                    <a:pt x="26" y="221"/>
                  </a:lnTo>
                  <a:lnTo>
                    <a:pt x="24" y="221"/>
                  </a:lnTo>
                  <a:lnTo>
                    <a:pt x="24" y="223"/>
                  </a:lnTo>
                  <a:lnTo>
                    <a:pt x="23" y="224"/>
                  </a:lnTo>
                  <a:lnTo>
                    <a:pt x="23" y="223"/>
                  </a:lnTo>
                  <a:lnTo>
                    <a:pt x="23" y="221"/>
                  </a:lnTo>
                  <a:lnTo>
                    <a:pt x="23" y="223"/>
                  </a:lnTo>
                  <a:lnTo>
                    <a:pt x="23" y="224"/>
                  </a:lnTo>
                  <a:lnTo>
                    <a:pt x="23" y="225"/>
                  </a:lnTo>
                  <a:lnTo>
                    <a:pt x="22" y="224"/>
                  </a:lnTo>
                  <a:lnTo>
                    <a:pt x="22" y="223"/>
                  </a:lnTo>
                  <a:lnTo>
                    <a:pt x="22" y="221"/>
                  </a:lnTo>
                  <a:lnTo>
                    <a:pt x="23" y="220"/>
                  </a:lnTo>
                  <a:lnTo>
                    <a:pt x="22" y="220"/>
                  </a:lnTo>
                  <a:lnTo>
                    <a:pt x="22" y="219"/>
                  </a:lnTo>
                  <a:lnTo>
                    <a:pt x="21" y="219"/>
                  </a:lnTo>
                  <a:lnTo>
                    <a:pt x="21" y="220"/>
                  </a:lnTo>
                  <a:lnTo>
                    <a:pt x="21" y="219"/>
                  </a:lnTo>
                  <a:lnTo>
                    <a:pt x="21" y="218"/>
                  </a:lnTo>
                  <a:lnTo>
                    <a:pt x="21" y="217"/>
                  </a:lnTo>
                  <a:lnTo>
                    <a:pt x="21" y="215"/>
                  </a:lnTo>
                  <a:lnTo>
                    <a:pt x="20" y="215"/>
                  </a:lnTo>
                  <a:lnTo>
                    <a:pt x="20" y="217"/>
                  </a:lnTo>
                  <a:lnTo>
                    <a:pt x="20" y="218"/>
                  </a:lnTo>
                  <a:lnTo>
                    <a:pt x="20" y="219"/>
                  </a:lnTo>
                  <a:lnTo>
                    <a:pt x="20" y="220"/>
                  </a:lnTo>
                  <a:lnTo>
                    <a:pt x="20" y="219"/>
                  </a:lnTo>
                  <a:lnTo>
                    <a:pt x="20" y="218"/>
                  </a:lnTo>
                  <a:lnTo>
                    <a:pt x="20" y="219"/>
                  </a:lnTo>
                  <a:lnTo>
                    <a:pt x="18" y="219"/>
                  </a:lnTo>
                  <a:lnTo>
                    <a:pt x="18" y="218"/>
                  </a:lnTo>
                  <a:lnTo>
                    <a:pt x="18" y="217"/>
                  </a:lnTo>
                  <a:lnTo>
                    <a:pt x="18" y="218"/>
                  </a:lnTo>
                  <a:lnTo>
                    <a:pt x="18" y="219"/>
                  </a:lnTo>
                  <a:lnTo>
                    <a:pt x="18" y="220"/>
                  </a:lnTo>
                  <a:lnTo>
                    <a:pt x="17" y="218"/>
                  </a:lnTo>
                  <a:lnTo>
                    <a:pt x="17" y="219"/>
                  </a:lnTo>
                  <a:lnTo>
                    <a:pt x="17" y="220"/>
                  </a:lnTo>
                  <a:lnTo>
                    <a:pt x="17" y="219"/>
                  </a:lnTo>
                  <a:lnTo>
                    <a:pt x="17" y="218"/>
                  </a:lnTo>
                  <a:lnTo>
                    <a:pt x="16" y="218"/>
                  </a:lnTo>
                  <a:lnTo>
                    <a:pt x="15" y="218"/>
                  </a:lnTo>
                  <a:lnTo>
                    <a:pt x="15" y="219"/>
                  </a:lnTo>
                  <a:lnTo>
                    <a:pt x="15" y="220"/>
                  </a:lnTo>
                  <a:lnTo>
                    <a:pt x="15" y="219"/>
                  </a:lnTo>
                  <a:lnTo>
                    <a:pt x="15" y="218"/>
                  </a:lnTo>
                  <a:lnTo>
                    <a:pt x="14" y="219"/>
                  </a:lnTo>
                  <a:lnTo>
                    <a:pt x="14" y="218"/>
                  </a:lnTo>
                  <a:lnTo>
                    <a:pt x="14" y="217"/>
                  </a:lnTo>
                  <a:lnTo>
                    <a:pt x="15" y="217"/>
                  </a:lnTo>
                  <a:lnTo>
                    <a:pt x="15" y="218"/>
                  </a:lnTo>
                  <a:lnTo>
                    <a:pt x="16" y="217"/>
                  </a:lnTo>
                  <a:lnTo>
                    <a:pt x="17" y="217"/>
                  </a:lnTo>
                  <a:lnTo>
                    <a:pt x="17" y="215"/>
                  </a:lnTo>
                  <a:lnTo>
                    <a:pt x="18" y="215"/>
                  </a:lnTo>
                  <a:lnTo>
                    <a:pt x="20" y="215"/>
                  </a:lnTo>
                  <a:lnTo>
                    <a:pt x="21" y="215"/>
                  </a:lnTo>
                  <a:lnTo>
                    <a:pt x="22" y="215"/>
                  </a:lnTo>
                  <a:lnTo>
                    <a:pt x="23" y="215"/>
                  </a:lnTo>
                  <a:lnTo>
                    <a:pt x="24" y="215"/>
                  </a:lnTo>
                  <a:lnTo>
                    <a:pt x="26" y="215"/>
                  </a:lnTo>
                  <a:lnTo>
                    <a:pt x="27" y="215"/>
                  </a:lnTo>
                  <a:lnTo>
                    <a:pt x="28" y="215"/>
                  </a:lnTo>
                  <a:lnTo>
                    <a:pt x="28" y="217"/>
                  </a:lnTo>
                  <a:lnTo>
                    <a:pt x="29" y="217"/>
                  </a:lnTo>
                  <a:lnTo>
                    <a:pt x="32" y="217"/>
                  </a:lnTo>
                  <a:lnTo>
                    <a:pt x="33" y="217"/>
                  </a:lnTo>
                  <a:lnTo>
                    <a:pt x="34" y="217"/>
                  </a:lnTo>
                  <a:lnTo>
                    <a:pt x="35" y="217"/>
                  </a:lnTo>
                  <a:lnTo>
                    <a:pt x="37" y="217"/>
                  </a:lnTo>
                  <a:lnTo>
                    <a:pt x="38" y="217"/>
                  </a:lnTo>
                  <a:lnTo>
                    <a:pt x="39" y="217"/>
                  </a:lnTo>
                  <a:lnTo>
                    <a:pt x="40" y="217"/>
                  </a:lnTo>
                  <a:lnTo>
                    <a:pt x="41" y="217"/>
                  </a:lnTo>
                  <a:lnTo>
                    <a:pt x="43" y="215"/>
                  </a:lnTo>
                  <a:lnTo>
                    <a:pt x="44" y="215"/>
                  </a:lnTo>
                  <a:lnTo>
                    <a:pt x="45" y="214"/>
                  </a:lnTo>
                  <a:lnTo>
                    <a:pt x="46" y="214"/>
                  </a:lnTo>
                  <a:lnTo>
                    <a:pt x="46" y="213"/>
                  </a:lnTo>
                  <a:lnTo>
                    <a:pt x="46" y="214"/>
                  </a:lnTo>
                  <a:lnTo>
                    <a:pt x="45" y="214"/>
                  </a:lnTo>
                  <a:lnTo>
                    <a:pt x="46" y="213"/>
                  </a:lnTo>
                  <a:lnTo>
                    <a:pt x="45" y="213"/>
                  </a:lnTo>
                  <a:lnTo>
                    <a:pt x="44" y="213"/>
                  </a:lnTo>
                  <a:lnTo>
                    <a:pt x="46" y="213"/>
                  </a:lnTo>
                  <a:lnTo>
                    <a:pt x="46" y="212"/>
                  </a:lnTo>
                  <a:lnTo>
                    <a:pt x="47" y="212"/>
                  </a:lnTo>
                  <a:lnTo>
                    <a:pt x="47" y="213"/>
                  </a:lnTo>
                  <a:lnTo>
                    <a:pt x="49" y="213"/>
                  </a:lnTo>
                  <a:lnTo>
                    <a:pt x="49" y="214"/>
                  </a:lnTo>
                  <a:lnTo>
                    <a:pt x="50" y="213"/>
                  </a:lnTo>
                  <a:lnTo>
                    <a:pt x="52" y="212"/>
                  </a:lnTo>
                  <a:lnTo>
                    <a:pt x="53" y="213"/>
                  </a:lnTo>
                  <a:lnTo>
                    <a:pt x="55" y="213"/>
                  </a:lnTo>
                  <a:lnTo>
                    <a:pt x="56" y="212"/>
                  </a:lnTo>
                  <a:lnTo>
                    <a:pt x="57" y="212"/>
                  </a:lnTo>
                  <a:lnTo>
                    <a:pt x="58" y="212"/>
                  </a:lnTo>
                  <a:lnTo>
                    <a:pt x="58" y="210"/>
                  </a:lnTo>
                  <a:lnTo>
                    <a:pt x="59" y="208"/>
                  </a:lnTo>
                  <a:lnTo>
                    <a:pt x="61" y="208"/>
                  </a:lnTo>
                  <a:lnTo>
                    <a:pt x="61" y="207"/>
                  </a:lnTo>
                  <a:lnTo>
                    <a:pt x="59" y="206"/>
                  </a:lnTo>
                  <a:lnTo>
                    <a:pt x="59" y="204"/>
                  </a:lnTo>
                  <a:lnTo>
                    <a:pt x="58" y="206"/>
                  </a:lnTo>
                  <a:lnTo>
                    <a:pt x="57" y="206"/>
                  </a:lnTo>
                  <a:lnTo>
                    <a:pt x="57" y="207"/>
                  </a:lnTo>
                  <a:lnTo>
                    <a:pt x="57" y="208"/>
                  </a:lnTo>
                  <a:lnTo>
                    <a:pt x="57" y="209"/>
                  </a:lnTo>
                  <a:lnTo>
                    <a:pt x="56" y="209"/>
                  </a:lnTo>
                  <a:lnTo>
                    <a:pt x="56" y="208"/>
                  </a:lnTo>
                  <a:lnTo>
                    <a:pt x="56" y="207"/>
                  </a:lnTo>
                  <a:lnTo>
                    <a:pt x="55" y="207"/>
                  </a:lnTo>
                  <a:lnTo>
                    <a:pt x="56" y="208"/>
                  </a:lnTo>
                  <a:lnTo>
                    <a:pt x="55" y="208"/>
                  </a:lnTo>
                  <a:lnTo>
                    <a:pt x="55" y="207"/>
                  </a:lnTo>
                  <a:lnTo>
                    <a:pt x="55" y="206"/>
                  </a:lnTo>
                  <a:lnTo>
                    <a:pt x="53" y="206"/>
                  </a:lnTo>
                  <a:lnTo>
                    <a:pt x="52" y="206"/>
                  </a:lnTo>
                  <a:lnTo>
                    <a:pt x="53" y="204"/>
                  </a:lnTo>
                  <a:lnTo>
                    <a:pt x="52" y="204"/>
                  </a:lnTo>
                  <a:lnTo>
                    <a:pt x="52" y="206"/>
                  </a:lnTo>
                  <a:lnTo>
                    <a:pt x="52" y="207"/>
                  </a:lnTo>
                  <a:lnTo>
                    <a:pt x="52" y="208"/>
                  </a:lnTo>
                  <a:lnTo>
                    <a:pt x="52" y="207"/>
                  </a:lnTo>
                  <a:lnTo>
                    <a:pt x="52" y="206"/>
                  </a:lnTo>
                  <a:lnTo>
                    <a:pt x="52" y="204"/>
                  </a:lnTo>
                  <a:lnTo>
                    <a:pt x="52" y="203"/>
                  </a:lnTo>
                  <a:lnTo>
                    <a:pt x="52" y="204"/>
                  </a:lnTo>
                  <a:lnTo>
                    <a:pt x="51" y="204"/>
                  </a:lnTo>
                  <a:lnTo>
                    <a:pt x="51" y="206"/>
                  </a:lnTo>
                  <a:lnTo>
                    <a:pt x="51" y="207"/>
                  </a:lnTo>
                  <a:lnTo>
                    <a:pt x="51" y="208"/>
                  </a:lnTo>
                  <a:lnTo>
                    <a:pt x="50" y="207"/>
                  </a:lnTo>
                  <a:lnTo>
                    <a:pt x="50" y="206"/>
                  </a:lnTo>
                  <a:lnTo>
                    <a:pt x="50" y="204"/>
                  </a:lnTo>
                  <a:lnTo>
                    <a:pt x="51" y="203"/>
                  </a:lnTo>
                  <a:lnTo>
                    <a:pt x="50" y="203"/>
                  </a:lnTo>
                  <a:lnTo>
                    <a:pt x="50" y="206"/>
                  </a:lnTo>
                  <a:lnTo>
                    <a:pt x="50" y="204"/>
                  </a:lnTo>
                  <a:lnTo>
                    <a:pt x="49" y="206"/>
                  </a:lnTo>
                  <a:lnTo>
                    <a:pt x="49" y="207"/>
                  </a:lnTo>
                  <a:lnTo>
                    <a:pt x="49" y="206"/>
                  </a:lnTo>
                  <a:lnTo>
                    <a:pt x="49" y="204"/>
                  </a:lnTo>
                  <a:lnTo>
                    <a:pt x="49" y="202"/>
                  </a:lnTo>
                  <a:lnTo>
                    <a:pt x="47" y="203"/>
                  </a:lnTo>
                  <a:lnTo>
                    <a:pt x="47" y="204"/>
                  </a:lnTo>
                  <a:lnTo>
                    <a:pt x="47" y="206"/>
                  </a:lnTo>
                  <a:lnTo>
                    <a:pt x="49" y="207"/>
                  </a:lnTo>
                  <a:lnTo>
                    <a:pt x="47" y="208"/>
                  </a:lnTo>
                  <a:lnTo>
                    <a:pt x="47" y="207"/>
                  </a:lnTo>
                  <a:lnTo>
                    <a:pt x="47" y="206"/>
                  </a:lnTo>
                  <a:lnTo>
                    <a:pt x="47" y="207"/>
                  </a:lnTo>
                  <a:lnTo>
                    <a:pt x="46" y="207"/>
                  </a:lnTo>
                  <a:lnTo>
                    <a:pt x="46" y="206"/>
                  </a:lnTo>
                  <a:lnTo>
                    <a:pt x="46" y="204"/>
                  </a:lnTo>
                  <a:lnTo>
                    <a:pt x="46" y="203"/>
                  </a:lnTo>
                  <a:lnTo>
                    <a:pt x="46" y="204"/>
                  </a:lnTo>
                  <a:lnTo>
                    <a:pt x="46" y="206"/>
                  </a:lnTo>
                  <a:lnTo>
                    <a:pt x="46" y="207"/>
                  </a:lnTo>
                  <a:lnTo>
                    <a:pt x="45" y="207"/>
                  </a:lnTo>
                  <a:lnTo>
                    <a:pt x="45" y="206"/>
                  </a:lnTo>
                  <a:lnTo>
                    <a:pt x="45" y="207"/>
                  </a:lnTo>
                  <a:lnTo>
                    <a:pt x="45" y="208"/>
                  </a:lnTo>
                  <a:lnTo>
                    <a:pt x="44" y="209"/>
                  </a:lnTo>
                  <a:lnTo>
                    <a:pt x="44" y="208"/>
                  </a:lnTo>
                  <a:lnTo>
                    <a:pt x="44" y="207"/>
                  </a:lnTo>
                  <a:lnTo>
                    <a:pt x="44" y="206"/>
                  </a:lnTo>
                  <a:lnTo>
                    <a:pt x="43" y="206"/>
                  </a:lnTo>
                  <a:lnTo>
                    <a:pt x="43" y="207"/>
                  </a:lnTo>
                  <a:lnTo>
                    <a:pt x="44" y="207"/>
                  </a:lnTo>
                  <a:lnTo>
                    <a:pt x="44" y="208"/>
                  </a:lnTo>
                  <a:lnTo>
                    <a:pt x="44" y="209"/>
                  </a:lnTo>
                  <a:lnTo>
                    <a:pt x="43" y="209"/>
                  </a:lnTo>
                  <a:lnTo>
                    <a:pt x="43" y="208"/>
                  </a:lnTo>
                  <a:lnTo>
                    <a:pt x="43" y="207"/>
                  </a:lnTo>
                  <a:lnTo>
                    <a:pt x="41" y="207"/>
                  </a:lnTo>
                  <a:lnTo>
                    <a:pt x="41" y="208"/>
                  </a:lnTo>
                  <a:lnTo>
                    <a:pt x="41" y="209"/>
                  </a:lnTo>
                  <a:lnTo>
                    <a:pt x="41" y="208"/>
                  </a:lnTo>
                  <a:lnTo>
                    <a:pt x="40" y="207"/>
                  </a:lnTo>
                  <a:lnTo>
                    <a:pt x="39" y="208"/>
                  </a:lnTo>
                  <a:lnTo>
                    <a:pt x="39" y="207"/>
                  </a:lnTo>
                  <a:lnTo>
                    <a:pt x="40" y="207"/>
                  </a:lnTo>
                  <a:lnTo>
                    <a:pt x="40" y="206"/>
                  </a:lnTo>
                  <a:lnTo>
                    <a:pt x="41" y="206"/>
                  </a:lnTo>
                  <a:lnTo>
                    <a:pt x="43" y="206"/>
                  </a:lnTo>
                  <a:lnTo>
                    <a:pt x="43" y="204"/>
                  </a:lnTo>
                  <a:lnTo>
                    <a:pt x="44" y="204"/>
                  </a:lnTo>
                  <a:lnTo>
                    <a:pt x="44" y="203"/>
                  </a:lnTo>
                  <a:lnTo>
                    <a:pt x="45" y="203"/>
                  </a:lnTo>
                  <a:lnTo>
                    <a:pt x="49" y="201"/>
                  </a:lnTo>
                  <a:lnTo>
                    <a:pt x="47" y="201"/>
                  </a:lnTo>
                  <a:lnTo>
                    <a:pt x="46" y="202"/>
                  </a:lnTo>
                  <a:lnTo>
                    <a:pt x="45" y="202"/>
                  </a:lnTo>
                  <a:lnTo>
                    <a:pt x="45" y="201"/>
                  </a:lnTo>
                  <a:lnTo>
                    <a:pt x="45" y="200"/>
                  </a:lnTo>
                  <a:lnTo>
                    <a:pt x="46" y="198"/>
                  </a:lnTo>
                  <a:lnTo>
                    <a:pt x="46" y="197"/>
                  </a:lnTo>
                  <a:lnTo>
                    <a:pt x="46" y="196"/>
                  </a:lnTo>
                  <a:lnTo>
                    <a:pt x="45" y="196"/>
                  </a:lnTo>
                  <a:lnTo>
                    <a:pt x="45" y="197"/>
                  </a:lnTo>
                  <a:lnTo>
                    <a:pt x="45" y="198"/>
                  </a:lnTo>
                  <a:lnTo>
                    <a:pt x="45" y="197"/>
                  </a:lnTo>
                  <a:lnTo>
                    <a:pt x="44" y="197"/>
                  </a:lnTo>
                  <a:lnTo>
                    <a:pt x="43" y="197"/>
                  </a:lnTo>
                  <a:lnTo>
                    <a:pt x="43" y="198"/>
                  </a:lnTo>
                  <a:lnTo>
                    <a:pt x="43" y="197"/>
                  </a:lnTo>
                  <a:lnTo>
                    <a:pt x="41" y="197"/>
                  </a:lnTo>
                  <a:lnTo>
                    <a:pt x="43" y="197"/>
                  </a:lnTo>
                  <a:lnTo>
                    <a:pt x="43" y="196"/>
                  </a:lnTo>
                  <a:lnTo>
                    <a:pt x="44" y="196"/>
                  </a:lnTo>
                  <a:lnTo>
                    <a:pt x="44" y="195"/>
                  </a:lnTo>
                  <a:lnTo>
                    <a:pt x="43" y="195"/>
                  </a:lnTo>
                  <a:lnTo>
                    <a:pt x="43" y="196"/>
                  </a:lnTo>
                  <a:lnTo>
                    <a:pt x="41" y="197"/>
                  </a:lnTo>
                  <a:lnTo>
                    <a:pt x="41" y="196"/>
                  </a:lnTo>
                  <a:lnTo>
                    <a:pt x="40" y="197"/>
                  </a:lnTo>
                  <a:lnTo>
                    <a:pt x="40" y="198"/>
                  </a:lnTo>
                  <a:lnTo>
                    <a:pt x="40" y="197"/>
                  </a:lnTo>
                  <a:lnTo>
                    <a:pt x="40" y="196"/>
                  </a:lnTo>
                  <a:lnTo>
                    <a:pt x="40" y="195"/>
                  </a:lnTo>
                  <a:lnTo>
                    <a:pt x="39" y="195"/>
                  </a:lnTo>
                  <a:lnTo>
                    <a:pt x="38" y="195"/>
                  </a:lnTo>
                  <a:lnTo>
                    <a:pt x="38" y="196"/>
                  </a:lnTo>
                  <a:lnTo>
                    <a:pt x="38" y="198"/>
                  </a:lnTo>
                  <a:lnTo>
                    <a:pt x="37" y="196"/>
                  </a:lnTo>
                  <a:lnTo>
                    <a:pt x="37" y="195"/>
                  </a:lnTo>
                  <a:lnTo>
                    <a:pt x="37" y="196"/>
                  </a:lnTo>
                  <a:lnTo>
                    <a:pt x="37" y="197"/>
                  </a:lnTo>
                  <a:lnTo>
                    <a:pt x="37" y="196"/>
                  </a:lnTo>
                  <a:lnTo>
                    <a:pt x="35" y="196"/>
                  </a:lnTo>
                  <a:lnTo>
                    <a:pt x="35" y="195"/>
                  </a:lnTo>
                  <a:lnTo>
                    <a:pt x="35" y="196"/>
                  </a:lnTo>
                  <a:lnTo>
                    <a:pt x="34" y="196"/>
                  </a:lnTo>
                  <a:lnTo>
                    <a:pt x="34" y="195"/>
                  </a:lnTo>
                  <a:lnTo>
                    <a:pt x="33" y="196"/>
                  </a:lnTo>
                  <a:lnTo>
                    <a:pt x="33" y="195"/>
                  </a:lnTo>
                  <a:lnTo>
                    <a:pt x="32" y="196"/>
                  </a:lnTo>
                  <a:lnTo>
                    <a:pt x="32" y="195"/>
                  </a:lnTo>
                  <a:lnTo>
                    <a:pt x="32" y="196"/>
                  </a:lnTo>
                  <a:lnTo>
                    <a:pt x="31" y="195"/>
                  </a:lnTo>
                  <a:lnTo>
                    <a:pt x="31" y="194"/>
                  </a:lnTo>
                  <a:lnTo>
                    <a:pt x="31" y="192"/>
                  </a:lnTo>
                  <a:lnTo>
                    <a:pt x="29" y="192"/>
                  </a:lnTo>
                  <a:lnTo>
                    <a:pt x="29" y="194"/>
                  </a:lnTo>
                  <a:lnTo>
                    <a:pt x="29" y="195"/>
                  </a:lnTo>
                  <a:lnTo>
                    <a:pt x="29" y="197"/>
                  </a:lnTo>
                  <a:lnTo>
                    <a:pt x="29" y="196"/>
                  </a:lnTo>
                  <a:lnTo>
                    <a:pt x="29" y="195"/>
                  </a:lnTo>
                  <a:lnTo>
                    <a:pt x="28" y="194"/>
                  </a:lnTo>
                  <a:lnTo>
                    <a:pt x="28" y="195"/>
                  </a:lnTo>
                  <a:lnTo>
                    <a:pt x="28" y="196"/>
                  </a:lnTo>
                  <a:lnTo>
                    <a:pt x="28" y="197"/>
                  </a:lnTo>
                  <a:lnTo>
                    <a:pt x="28" y="196"/>
                  </a:lnTo>
                  <a:lnTo>
                    <a:pt x="28" y="195"/>
                  </a:lnTo>
                  <a:lnTo>
                    <a:pt x="27" y="195"/>
                  </a:lnTo>
                  <a:lnTo>
                    <a:pt x="27" y="196"/>
                  </a:lnTo>
                  <a:lnTo>
                    <a:pt x="27" y="197"/>
                  </a:lnTo>
                  <a:lnTo>
                    <a:pt x="27" y="198"/>
                  </a:lnTo>
                  <a:lnTo>
                    <a:pt x="27" y="200"/>
                  </a:lnTo>
                  <a:lnTo>
                    <a:pt x="26" y="198"/>
                  </a:lnTo>
                  <a:lnTo>
                    <a:pt x="26" y="197"/>
                  </a:lnTo>
                  <a:lnTo>
                    <a:pt x="24" y="197"/>
                  </a:lnTo>
                  <a:lnTo>
                    <a:pt x="24" y="196"/>
                  </a:lnTo>
                  <a:lnTo>
                    <a:pt x="26" y="196"/>
                  </a:lnTo>
                  <a:lnTo>
                    <a:pt x="26" y="195"/>
                  </a:lnTo>
                  <a:lnTo>
                    <a:pt x="27" y="194"/>
                  </a:lnTo>
                  <a:lnTo>
                    <a:pt x="26" y="194"/>
                  </a:lnTo>
                  <a:lnTo>
                    <a:pt x="27" y="194"/>
                  </a:lnTo>
                  <a:lnTo>
                    <a:pt x="27" y="192"/>
                  </a:lnTo>
                  <a:lnTo>
                    <a:pt x="28" y="192"/>
                  </a:lnTo>
                  <a:lnTo>
                    <a:pt x="29" y="192"/>
                  </a:lnTo>
                  <a:lnTo>
                    <a:pt x="29" y="191"/>
                  </a:lnTo>
                  <a:lnTo>
                    <a:pt x="31" y="190"/>
                  </a:lnTo>
                  <a:lnTo>
                    <a:pt x="33" y="190"/>
                  </a:lnTo>
                  <a:lnTo>
                    <a:pt x="34" y="190"/>
                  </a:lnTo>
                  <a:lnTo>
                    <a:pt x="35" y="190"/>
                  </a:lnTo>
                  <a:lnTo>
                    <a:pt x="34" y="189"/>
                  </a:lnTo>
                  <a:lnTo>
                    <a:pt x="35" y="189"/>
                  </a:lnTo>
                  <a:lnTo>
                    <a:pt x="37" y="189"/>
                  </a:lnTo>
                  <a:lnTo>
                    <a:pt x="38" y="189"/>
                  </a:lnTo>
                  <a:lnTo>
                    <a:pt x="38" y="188"/>
                  </a:lnTo>
                  <a:lnTo>
                    <a:pt x="37" y="186"/>
                  </a:lnTo>
                  <a:lnTo>
                    <a:pt x="35" y="186"/>
                  </a:lnTo>
                  <a:lnTo>
                    <a:pt x="35" y="188"/>
                  </a:lnTo>
                  <a:lnTo>
                    <a:pt x="35" y="186"/>
                  </a:lnTo>
                  <a:lnTo>
                    <a:pt x="34" y="188"/>
                  </a:lnTo>
                  <a:lnTo>
                    <a:pt x="34" y="186"/>
                  </a:lnTo>
                  <a:lnTo>
                    <a:pt x="34" y="188"/>
                  </a:lnTo>
                  <a:lnTo>
                    <a:pt x="33" y="189"/>
                  </a:lnTo>
                  <a:lnTo>
                    <a:pt x="33" y="190"/>
                  </a:lnTo>
                  <a:lnTo>
                    <a:pt x="33" y="189"/>
                  </a:lnTo>
                  <a:lnTo>
                    <a:pt x="33" y="188"/>
                  </a:lnTo>
                  <a:lnTo>
                    <a:pt x="32" y="188"/>
                  </a:lnTo>
                  <a:lnTo>
                    <a:pt x="32" y="186"/>
                  </a:lnTo>
                  <a:lnTo>
                    <a:pt x="31" y="188"/>
                  </a:lnTo>
                  <a:lnTo>
                    <a:pt x="31" y="189"/>
                  </a:lnTo>
                  <a:lnTo>
                    <a:pt x="29" y="189"/>
                  </a:lnTo>
                  <a:lnTo>
                    <a:pt x="28" y="189"/>
                  </a:lnTo>
                  <a:lnTo>
                    <a:pt x="28" y="190"/>
                  </a:lnTo>
                  <a:lnTo>
                    <a:pt x="28" y="189"/>
                  </a:lnTo>
                  <a:lnTo>
                    <a:pt x="28" y="188"/>
                  </a:lnTo>
                  <a:lnTo>
                    <a:pt x="27" y="188"/>
                  </a:lnTo>
                  <a:lnTo>
                    <a:pt x="27" y="186"/>
                  </a:lnTo>
                  <a:lnTo>
                    <a:pt x="27" y="188"/>
                  </a:lnTo>
                  <a:lnTo>
                    <a:pt x="27" y="189"/>
                  </a:lnTo>
                  <a:lnTo>
                    <a:pt x="26" y="189"/>
                  </a:lnTo>
                  <a:lnTo>
                    <a:pt x="26" y="190"/>
                  </a:lnTo>
                  <a:lnTo>
                    <a:pt x="26" y="191"/>
                  </a:lnTo>
                  <a:lnTo>
                    <a:pt x="26" y="190"/>
                  </a:lnTo>
                  <a:lnTo>
                    <a:pt x="26" y="189"/>
                  </a:lnTo>
                  <a:lnTo>
                    <a:pt x="24" y="188"/>
                  </a:lnTo>
                  <a:lnTo>
                    <a:pt x="24" y="189"/>
                  </a:lnTo>
                  <a:lnTo>
                    <a:pt x="24" y="190"/>
                  </a:lnTo>
                  <a:lnTo>
                    <a:pt x="23" y="189"/>
                  </a:lnTo>
                  <a:lnTo>
                    <a:pt x="23" y="188"/>
                  </a:lnTo>
                  <a:lnTo>
                    <a:pt x="22" y="188"/>
                  </a:lnTo>
                  <a:lnTo>
                    <a:pt x="22" y="189"/>
                  </a:lnTo>
                  <a:lnTo>
                    <a:pt x="21" y="189"/>
                  </a:lnTo>
                  <a:lnTo>
                    <a:pt x="20" y="190"/>
                  </a:lnTo>
                  <a:lnTo>
                    <a:pt x="20" y="191"/>
                  </a:lnTo>
                  <a:lnTo>
                    <a:pt x="18" y="191"/>
                  </a:lnTo>
                  <a:lnTo>
                    <a:pt x="18" y="190"/>
                  </a:lnTo>
                  <a:lnTo>
                    <a:pt x="18" y="189"/>
                  </a:lnTo>
                  <a:lnTo>
                    <a:pt x="18" y="190"/>
                  </a:lnTo>
                  <a:lnTo>
                    <a:pt x="17" y="190"/>
                  </a:lnTo>
                  <a:lnTo>
                    <a:pt x="18" y="189"/>
                  </a:lnTo>
                  <a:lnTo>
                    <a:pt x="18" y="188"/>
                  </a:lnTo>
                  <a:lnTo>
                    <a:pt x="20" y="186"/>
                  </a:lnTo>
                  <a:lnTo>
                    <a:pt x="20" y="185"/>
                  </a:lnTo>
                  <a:lnTo>
                    <a:pt x="20" y="184"/>
                  </a:lnTo>
                  <a:lnTo>
                    <a:pt x="20" y="186"/>
                  </a:lnTo>
                  <a:lnTo>
                    <a:pt x="18" y="185"/>
                  </a:lnTo>
                  <a:lnTo>
                    <a:pt x="18" y="184"/>
                  </a:lnTo>
                  <a:lnTo>
                    <a:pt x="18" y="183"/>
                  </a:lnTo>
                  <a:lnTo>
                    <a:pt x="20" y="182"/>
                  </a:lnTo>
                  <a:lnTo>
                    <a:pt x="20" y="180"/>
                  </a:lnTo>
                  <a:lnTo>
                    <a:pt x="18" y="180"/>
                  </a:lnTo>
                  <a:lnTo>
                    <a:pt x="17" y="180"/>
                  </a:lnTo>
                  <a:lnTo>
                    <a:pt x="17" y="183"/>
                  </a:lnTo>
                  <a:lnTo>
                    <a:pt x="17" y="185"/>
                  </a:lnTo>
                  <a:lnTo>
                    <a:pt x="17" y="184"/>
                  </a:lnTo>
                  <a:lnTo>
                    <a:pt x="17" y="183"/>
                  </a:lnTo>
                  <a:lnTo>
                    <a:pt x="17" y="182"/>
                  </a:lnTo>
                  <a:lnTo>
                    <a:pt x="16" y="182"/>
                  </a:lnTo>
                  <a:lnTo>
                    <a:pt x="17" y="183"/>
                  </a:lnTo>
                  <a:lnTo>
                    <a:pt x="16" y="184"/>
                  </a:lnTo>
                  <a:lnTo>
                    <a:pt x="16" y="185"/>
                  </a:lnTo>
                  <a:lnTo>
                    <a:pt x="16" y="186"/>
                  </a:lnTo>
                  <a:lnTo>
                    <a:pt x="15" y="185"/>
                  </a:lnTo>
                  <a:lnTo>
                    <a:pt x="15" y="184"/>
                  </a:lnTo>
                  <a:lnTo>
                    <a:pt x="15" y="183"/>
                  </a:lnTo>
                  <a:lnTo>
                    <a:pt x="14" y="183"/>
                  </a:lnTo>
                  <a:lnTo>
                    <a:pt x="12" y="183"/>
                  </a:lnTo>
                  <a:lnTo>
                    <a:pt x="12" y="182"/>
                  </a:lnTo>
                  <a:lnTo>
                    <a:pt x="14" y="182"/>
                  </a:lnTo>
                  <a:lnTo>
                    <a:pt x="15" y="182"/>
                  </a:lnTo>
                  <a:lnTo>
                    <a:pt x="15" y="180"/>
                  </a:lnTo>
                  <a:lnTo>
                    <a:pt x="16" y="180"/>
                  </a:lnTo>
                  <a:lnTo>
                    <a:pt x="17" y="180"/>
                  </a:lnTo>
                  <a:lnTo>
                    <a:pt x="20" y="179"/>
                  </a:lnTo>
                  <a:lnTo>
                    <a:pt x="21" y="179"/>
                  </a:lnTo>
                  <a:lnTo>
                    <a:pt x="22" y="179"/>
                  </a:lnTo>
                  <a:lnTo>
                    <a:pt x="23" y="178"/>
                  </a:lnTo>
                  <a:lnTo>
                    <a:pt x="24" y="178"/>
                  </a:lnTo>
                  <a:lnTo>
                    <a:pt x="26" y="178"/>
                  </a:lnTo>
                  <a:lnTo>
                    <a:pt x="27" y="178"/>
                  </a:lnTo>
                  <a:lnTo>
                    <a:pt x="29" y="177"/>
                  </a:lnTo>
                  <a:lnTo>
                    <a:pt x="32" y="177"/>
                  </a:lnTo>
                  <a:lnTo>
                    <a:pt x="33" y="177"/>
                  </a:lnTo>
                  <a:lnTo>
                    <a:pt x="34" y="177"/>
                  </a:lnTo>
                  <a:lnTo>
                    <a:pt x="34" y="176"/>
                  </a:lnTo>
                  <a:lnTo>
                    <a:pt x="34" y="174"/>
                  </a:lnTo>
                  <a:lnTo>
                    <a:pt x="35" y="174"/>
                  </a:lnTo>
                  <a:lnTo>
                    <a:pt x="34" y="173"/>
                  </a:lnTo>
                  <a:lnTo>
                    <a:pt x="34" y="172"/>
                  </a:lnTo>
                  <a:lnTo>
                    <a:pt x="33" y="172"/>
                  </a:lnTo>
                  <a:lnTo>
                    <a:pt x="33" y="173"/>
                  </a:lnTo>
                  <a:lnTo>
                    <a:pt x="32" y="176"/>
                  </a:lnTo>
                  <a:lnTo>
                    <a:pt x="31" y="176"/>
                  </a:lnTo>
                  <a:lnTo>
                    <a:pt x="31" y="174"/>
                  </a:lnTo>
                  <a:lnTo>
                    <a:pt x="31" y="176"/>
                  </a:lnTo>
                  <a:lnTo>
                    <a:pt x="29" y="174"/>
                  </a:lnTo>
                  <a:lnTo>
                    <a:pt x="28" y="174"/>
                  </a:lnTo>
                  <a:lnTo>
                    <a:pt x="29" y="173"/>
                  </a:lnTo>
                  <a:lnTo>
                    <a:pt x="29" y="172"/>
                  </a:lnTo>
                  <a:lnTo>
                    <a:pt x="29" y="171"/>
                  </a:lnTo>
                  <a:lnTo>
                    <a:pt x="28" y="170"/>
                  </a:lnTo>
                  <a:lnTo>
                    <a:pt x="28" y="171"/>
                  </a:lnTo>
                  <a:lnTo>
                    <a:pt x="27" y="170"/>
                  </a:lnTo>
                  <a:lnTo>
                    <a:pt x="26" y="168"/>
                  </a:lnTo>
                  <a:lnTo>
                    <a:pt x="27" y="170"/>
                  </a:lnTo>
                  <a:lnTo>
                    <a:pt x="27" y="171"/>
                  </a:lnTo>
                  <a:lnTo>
                    <a:pt x="27" y="172"/>
                  </a:lnTo>
                  <a:lnTo>
                    <a:pt x="26" y="173"/>
                  </a:lnTo>
                  <a:lnTo>
                    <a:pt x="26" y="174"/>
                  </a:lnTo>
                  <a:lnTo>
                    <a:pt x="24" y="174"/>
                  </a:lnTo>
                  <a:lnTo>
                    <a:pt x="23" y="174"/>
                  </a:lnTo>
                  <a:lnTo>
                    <a:pt x="23" y="173"/>
                  </a:lnTo>
                  <a:lnTo>
                    <a:pt x="22" y="173"/>
                  </a:lnTo>
                  <a:lnTo>
                    <a:pt x="21" y="173"/>
                  </a:lnTo>
                  <a:lnTo>
                    <a:pt x="22" y="172"/>
                  </a:lnTo>
                  <a:lnTo>
                    <a:pt x="23" y="172"/>
                  </a:lnTo>
                  <a:lnTo>
                    <a:pt x="23" y="171"/>
                  </a:lnTo>
                  <a:lnTo>
                    <a:pt x="24" y="170"/>
                  </a:lnTo>
                  <a:lnTo>
                    <a:pt x="24" y="168"/>
                  </a:lnTo>
                  <a:lnTo>
                    <a:pt x="24" y="167"/>
                  </a:lnTo>
                  <a:lnTo>
                    <a:pt x="26" y="167"/>
                  </a:lnTo>
                  <a:lnTo>
                    <a:pt x="27" y="167"/>
                  </a:lnTo>
                  <a:lnTo>
                    <a:pt x="27" y="166"/>
                  </a:lnTo>
                  <a:lnTo>
                    <a:pt x="28" y="166"/>
                  </a:lnTo>
                  <a:lnTo>
                    <a:pt x="29" y="166"/>
                  </a:lnTo>
                  <a:lnTo>
                    <a:pt x="32" y="165"/>
                  </a:lnTo>
                  <a:lnTo>
                    <a:pt x="33" y="164"/>
                  </a:lnTo>
                  <a:lnTo>
                    <a:pt x="32" y="164"/>
                  </a:lnTo>
                  <a:lnTo>
                    <a:pt x="32" y="162"/>
                  </a:lnTo>
                  <a:lnTo>
                    <a:pt x="31" y="162"/>
                  </a:lnTo>
                  <a:lnTo>
                    <a:pt x="31" y="164"/>
                  </a:lnTo>
                  <a:lnTo>
                    <a:pt x="29" y="164"/>
                  </a:lnTo>
                  <a:lnTo>
                    <a:pt x="31" y="162"/>
                  </a:lnTo>
                  <a:lnTo>
                    <a:pt x="29" y="162"/>
                  </a:lnTo>
                  <a:lnTo>
                    <a:pt x="28" y="162"/>
                  </a:lnTo>
                  <a:lnTo>
                    <a:pt x="29" y="162"/>
                  </a:lnTo>
                  <a:lnTo>
                    <a:pt x="29" y="161"/>
                  </a:lnTo>
                  <a:lnTo>
                    <a:pt x="31" y="161"/>
                  </a:lnTo>
                  <a:lnTo>
                    <a:pt x="32" y="161"/>
                  </a:lnTo>
                  <a:lnTo>
                    <a:pt x="33" y="161"/>
                  </a:lnTo>
                  <a:lnTo>
                    <a:pt x="34" y="161"/>
                  </a:lnTo>
                  <a:lnTo>
                    <a:pt x="34" y="160"/>
                  </a:lnTo>
                  <a:lnTo>
                    <a:pt x="35" y="160"/>
                  </a:lnTo>
                  <a:lnTo>
                    <a:pt x="35" y="159"/>
                  </a:lnTo>
                  <a:lnTo>
                    <a:pt x="37" y="159"/>
                  </a:lnTo>
                  <a:lnTo>
                    <a:pt x="37" y="158"/>
                  </a:lnTo>
                  <a:lnTo>
                    <a:pt x="37" y="156"/>
                  </a:lnTo>
                  <a:lnTo>
                    <a:pt x="38" y="156"/>
                  </a:lnTo>
                  <a:lnTo>
                    <a:pt x="39" y="154"/>
                  </a:lnTo>
                  <a:lnTo>
                    <a:pt x="40" y="153"/>
                  </a:lnTo>
                  <a:lnTo>
                    <a:pt x="39" y="152"/>
                  </a:lnTo>
                  <a:lnTo>
                    <a:pt x="39" y="153"/>
                  </a:lnTo>
                  <a:lnTo>
                    <a:pt x="38" y="153"/>
                  </a:lnTo>
                  <a:lnTo>
                    <a:pt x="38" y="154"/>
                  </a:lnTo>
                  <a:lnTo>
                    <a:pt x="38" y="155"/>
                  </a:lnTo>
                  <a:lnTo>
                    <a:pt x="37" y="154"/>
                  </a:lnTo>
                  <a:lnTo>
                    <a:pt x="37" y="153"/>
                  </a:lnTo>
                  <a:lnTo>
                    <a:pt x="35" y="153"/>
                  </a:lnTo>
                  <a:lnTo>
                    <a:pt x="35" y="154"/>
                  </a:lnTo>
                  <a:lnTo>
                    <a:pt x="35" y="155"/>
                  </a:lnTo>
                  <a:lnTo>
                    <a:pt x="35" y="154"/>
                  </a:lnTo>
                  <a:lnTo>
                    <a:pt x="35" y="153"/>
                  </a:lnTo>
                  <a:lnTo>
                    <a:pt x="35" y="154"/>
                  </a:lnTo>
                  <a:lnTo>
                    <a:pt x="34" y="154"/>
                  </a:lnTo>
                  <a:lnTo>
                    <a:pt x="34" y="153"/>
                  </a:lnTo>
                  <a:lnTo>
                    <a:pt x="34" y="154"/>
                  </a:lnTo>
                  <a:lnTo>
                    <a:pt x="33" y="154"/>
                  </a:lnTo>
                  <a:lnTo>
                    <a:pt x="33" y="153"/>
                  </a:lnTo>
                  <a:lnTo>
                    <a:pt x="32" y="153"/>
                  </a:lnTo>
                  <a:lnTo>
                    <a:pt x="33" y="154"/>
                  </a:lnTo>
                  <a:lnTo>
                    <a:pt x="33" y="156"/>
                  </a:lnTo>
                  <a:lnTo>
                    <a:pt x="32" y="156"/>
                  </a:lnTo>
                  <a:lnTo>
                    <a:pt x="32" y="158"/>
                  </a:lnTo>
                  <a:lnTo>
                    <a:pt x="31" y="158"/>
                  </a:lnTo>
                  <a:lnTo>
                    <a:pt x="31" y="156"/>
                  </a:lnTo>
                  <a:lnTo>
                    <a:pt x="31" y="155"/>
                  </a:lnTo>
                  <a:lnTo>
                    <a:pt x="32" y="154"/>
                  </a:lnTo>
                  <a:lnTo>
                    <a:pt x="32" y="153"/>
                  </a:lnTo>
                  <a:lnTo>
                    <a:pt x="32" y="150"/>
                  </a:lnTo>
                  <a:lnTo>
                    <a:pt x="32" y="149"/>
                  </a:lnTo>
                  <a:lnTo>
                    <a:pt x="31" y="149"/>
                  </a:lnTo>
                  <a:lnTo>
                    <a:pt x="31" y="150"/>
                  </a:lnTo>
                  <a:lnTo>
                    <a:pt x="29" y="150"/>
                  </a:lnTo>
                  <a:lnTo>
                    <a:pt x="29" y="149"/>
                  </a:lnTo>
                  <a:lnTo>
                    <a:pt x="29" y="148"/>
                  </a:lnTo>
                  <a:lnTo>
                    <a:pt x="29" y="150"/>
                  </a:lnTo>
                  <a:lnTo>
                    <a:pt x="28" y="150"/>
                  </a:lnTo>
                  <a:lnTo>
                    <a:pt x="28" y="149"/>
                  </a:lnTo>
                  <a:lnTo>
                    <a:pt x="27" y="148"/>
                  </a:lnTo>
                  <a:lnTo>
                    <a:pt x="27" y="149"/>
                  </a:lnTo>
                  <a:lnTo>
                    <a:pt x="27" y="150"/>
                  </a:lnTo>
                  <a:lnTo>
                    <a:pt x="27" y="152"/>
                  </a:lnTo>
                  <a:lnTo>
                    <a:pt x="27" y="150"/>
                  </a:lnTo>
                  <a:lnTo>
                    <a:pt x="27" y="149"/>
                  </a:lnTo>
                  <a:lnTo>
                    <a:pt x="27" y="148"/>
                  </a:lnTo>
                  <a:lnTo>
                    <a:pt x="26" y="147"/>
                  </a:lnTo>
                  <a:lnTo>
                    <a:pt x="27" y="146"/>
                  </a:lnTo>
                  <a:lnTo>
                    <a:pt x="26" y="146"/>
                  </a:lnTo>
                  <a:lnTo>
                    <a:pt x="26" y="144"/>
                  </a:lnTo>
                  <a:lnTo>
                    <a:pt x="24" y="144"/>
                  </a:lnTo>
                  <a:lnTo>
                    <a:pt x="24" y="143"/>
                  </a:lnTo>
                  <a:lnTo>
                    <a:pt x="26" y="143"/>
                  </a:lnTo>
                  <a:lnTo>
                    <a:pt x="27" y="144"/>
                  </a:lnTo>
                  <a:lnTo>
                    <a:pt x="27" y="143"/>
                  </a:lnTo>
                  <a:lnTo>
                    <a:pt x="27" y="144"/>
                  </a:lnTo>
                  <a:lnTo>
                    <a:pt x="28" y="144"/>
                  </a:lnTo>
                  <a:lnTo>
                    <a:pt x="28" y="143"/>
                  </a:lnTo>
                  <a:lnTo>
                    <a:pt x="28" y="144"/>
                  </a:lnTo>
                  <a:lnTo>
                    <a:pt x="29" y="144"/>
                  </a:lnTo>
                  <a:lnTo>
                    <a:pt x="31" y="146"/>
                  </a:lnTo>
                  <a:lnTo>
                    <a:pt x="33" y="146"/>
                  </a:lnTo>
                  <a:lnTo>
                    <a:pt x="34" y="146"/>
                  </a:lnTo>
                  <a:lnTo>
                    <a:pt x="35" y="147"/>
                  </a:lnTo>
                  <a:lnTo>
                    <a:pt x="37" y="147"/>
                  </a:lnTo>
                  <a:lnTo>
                    <a:pt x="38" y="147"/>
                  </a:lnTo>
                  <a:lnTo>
                    <a:pt x="39" y="147"/>
                  </a:lnTo>
                  <a:lnTo>
                    <a:pt x="40" y="147"/>
                  </a:lnTo>
                  <a:lnTo>
                    <a:pt x="41" y="147"/>
                  </a:lnTo>
                  <a:lnTo>
                    <a:pt x="43" y="148"/>
                  </a:lnTo>
                  <a:lnTo>
                    <a:pt x="45" y="147"/>
                  </a:lnTo>
                  <a:lnTo>
                    <a:pt x="46" y="147"/>
                  </a:lnTo>
                  <a:lnTo>
                    <a:pt x="47" y="147"/>
                  </a:lnTo>
                  <a:lnTo>
                    <a:pt x="47" y="146"/>
                  </a:lnTo>
                  <a:lnTo>
                    <a:pt x="47" y="144"/>
                  </a:lnTo>
                  <a:lnTo>
                    <a:pt x="49" y="144"/>
                  </a:lnTo>
                  <a:lnTo>
                    <a:pt x="50" y="146"/>
                  </a:lnTo>
                  <a:lnTo>
                    <a:pt x="51" y="146"/>
                  </a:lnTo>
                  <a:lnTo>
                    <a:pt x="52" y="144"/>
                  </a:lnTo>
                  <a:lnTo>
                    <a:pt x="53" y="144"/>
                  </a:lnTo>
                  <a:lnTo>
                    <a:pt x="55" y="143"/>
                  </a:lnTo>
                  <a:lnTo>
                    <a:pt x="56" y="142"/>
                  </a:lnTo>
                  <a:lnTo>
                    <a:pt x="57" y="141"/>
                  </a:lnTo>
                  <a:lnTo>
                    <a:pt x="58" y="140"/>
                  </a:lnTo>
                  <a:lnTo>
                    <a:pt x="57" y="140"/>
                  </a:lnTo>
                  <a:lnTo>
                    <a:pt x="58" y="138"/>
                  </a:lnTo>
                  <a:lnTo>
                    <a:pt x="58" y="137"/>
                  </a:lnTo>
                  <a:lnTo>
                    <a:pt x="57" y="137"/>
                  </a:lnTo>
                  <a:lnTo>
                    <a:pt x="57" y="138"/>
                  </a:lnTo>
                  <a:lnTo>
                    <a:pt x="56" y="137"/>
                  </a:lnTo>
                  <a:lnTo>
                    <a:pt x="56" y="138"/>
                  </a:lnTo>
                  <a:lnTo>
                    <a:pt x="56" y="141"/>
                  </a:lnTo>
                  <a:lnTo>
                    <a:pt x="55" y="140"/>
                  </a:lnTo>
                  <a:lnTo>
                    <a:pt x="55" y="138"/>
                  </a:lnTo>
                  <a:lnTo>
                    <a:pt x="53" y="138"/>
                  </a:lnTo>
                  <a:lnTo>
                    <a:pt x="53" y="140"/>
                  </a:lnTo>
                  <a:lnTo>
                    <a:pt x="53" y="141"/>
                  </a:lnTo>
                  <a:lnTo>
                    <a:pt x="52" y="140"/>
                  </a:lnTo>
                  <a:lnTo>
                    <a:pt x="52" y="138"/>
                  </a:lnTo>
                  <a:lnTo>
                    <a:pt x="52" y="140"/>
                  </a:lnTo>
                  <a:lnTo>
                    <a:pt x="51" y="138"/>
                  </a:lnTo>
                  <a:lnTo>
                    <a:pt x="51" y="137"/>
                  </a:lnTo>
                  <a:lnTo>
                    <a:pt x="51" y="140"/>
                  </a:lnTo>
                  <a:lnTo>
                    <a:pt x="51" y="141"/>
                  </a:lnTo>
                  <a:lnTo>
                    <a:pt x="51" y="140"/>
                  </a:lnTo>
                  <a:lnTo>
                    <a:pt x="50" y="138"/>
                  </a:lnTo>
                  <a:lnTo>
                    <a:pt x="49" y="138"/>
                  </a:lnTo>
                  <a:lnTo>
                    <a:pt x="49" y="140"/>
                  </a:lnTo>
                  <a:lnTo>
                    <a:pt x="50" y="141"/>
                  </a:lnTo>
                  <a:lnTo>
                    <a:pt x="49" y="141"/>
                  </a:lnTo>
                  <a:lnTo>
                    <a:pt x="49" y="140"/>
                  </a:lnTo>
                  <a:lnTo>
                    <a:pt x="49" y="138"/>
                  </a:lnTo>
                  <a:lnTo>
                    <a:pt x="47" y="137"/>
                  </a:lnTo>
                  <a:lnTo>
                    <a:pt x="47" y="140"/>
                  </a:lnTo>
                  <a:lnTo>
                    <a:pt x="49" y="141"/>
                  </a:lnTo>
                  <a:lnTo>
                    <a:pt x="47" y="140"/>
                  </a:lnTo>
                  <a:lnTo>
                    <a:pt x="47" y="138"/>
                  </a:lnTo>
                  <a:lnTo>
                    <a:pt x="47" y="141"/>
                  </a:lnTo>
                  <a:lnTo>
                    <a:pt x="46" y="141"/>
                  </a:lnTo>
                  <a:lnTo>
                    <a:pt x="46" y="140"/>
                  </a:lnTo>
                  <a:lnTo>
                    <a:pt x="45" y="140"/>
                  </a:lnTo>
                  <a:lnTo>
                    <a:pt x="45" y="141"/>
                  </a:lnTo>
                  <a:lnTo>
                    <a:pt x="44" y="140"/>
                  </a:lnTo>
                  <a:lnTo>
                    <a:pt x="44" y="142"/>
                  </a:lnTo>
                  <a:lnTo>
                    <a:pt x="43" y="143"/>
                  </a:lnTo>
                  <a:lnTo>
                    <a:pt x="43" y="142"/>
                  </a:lnTo>
                  <a:lnTo>
                    <a:pt x="41" y="142"/>
                  </a:lnTo>
                  <a:lnTo>
                    <a:pt x="41" y="144"/>
                  </a:lnTo>
                  <a:lnTo>
                    <a:pt x="41" y="143"/>
                  </a:lnTo>
                  <a:lnTo>
                    <a:pt x="40" y="142"/>
                  </a:lnTo>
                  <a:lnTo>
                    <a:pt x="40" y="143"/>
                  </a:lnTo>
                  <a:lnTo>
                    <a:pt x="40" y="142"/>
                  </a:lnTo>
                  <a:lnTo>
                    <a:pt x="39" y="141"/>
                  </a:lnTo>
                  <a:lnTo>
                    <a:pt x="39" y="142"/>
                  </a:lnTo>
                  <a:lnTo>
                    <a:pt x="39" y="143"/>
                  </a:lnTo>
                  <a:lnTo>
                    <a:pt x="39" y="144"/>
                  </a:lnTo>
                  <a:lnTo>
                    <a:pt x="39" y="146"/>
                  </a:lnTo>
                  <a:lnTo>
                    <a:pt x="38" y="146"/>
                  </a:lnTo>
                  <a:lnTo>
                    <a:pt x="38" y="144"/>
                  </a:lnTo>
                  <a:lnTo>
                    <a:pt x="38" y="143"/>
                  </a:lnTo>
                  <a:lnTo>
                    <a:pt x="38" y="142"/>
                  </a:lnTo>
                  <a:lnTo>
                    <a:pt x="37" y="143"/>
                  </a:lnTo>
                  <a:lnTo>
                    <a:pt x="37" y="144"/>
                  </a:lnTo>
                  <a:lnTo>
                    <a:pt x="37" y="143"/>
                  </a:lnTo>
                  <a:lnTo>
                    <a:pt x="37" y="144"/>
                  </a:lnTo>
                  <a:lnTo>
                    <a:pt x="35" y="146"/>
                  </a:lnTo>
                  <a:lnTo>
                    <a:pt x="35" y="144"/>
                  </a:lnTo>
                  <a:lnTo>
                    <a:pt x="35" y="143"/>
                  </a:lnTo>
                  <a:lnTo>
                    <a:pt x="34" y="144"/>
                  </a:lnTo>
                  <a:lnTo>
                    <a:pt x="34" y="143"/>
                  </a:lnTo>
                  <a:lnTo>
                    <a:pt x="35" y="143"/>
                  </a:lnTo>
                  <a:lnTo>
                    <a:pt x="37" y="143"/>
                  </a:lnTo>
                  <a:lnTo>
                    <a:pt x="35" y="142"/>
                  </a:lnTo>
                  <a:lnTo>
                    <a:pt x="37" y="142"/>
                  </a:lnTo>
                  <a:lnTo>
                    <a:pt x="38" y="142"/>
                  </a:lnTo>
                  <a:lnTo>
                    <a:pt x="38" y="141"/>
                  </a:lnTo>
                  <a:lnTo>
                    <a:pt x="38" y="140"/>
                  </a:lnTo>
                  <a:lnTo>
                    <a:pt x="39" y="140"/>
                  </a:lnTo>
                  <a:lnTo>
                    <a:pt x="39" y="138"/>
                  </a:lnTo>
                  <a:lnTo>
                    <a:pt x="40" y="138"/>
                  </a:lnTo>
                  <a:lnTo>
                    <a:pt x="40" y="137"/>
                  </a:lnTo>
                  <a:lnTo>
                    <a:pt x="41" y="137"/>
                  </a:lnTo>
                  <a:lnTo>
                    <a:pt x="41" y="136"/>
                  </a:lnTo>
                  <a:lnTo>
                    <a:pt x="41" y="135"/>
                  </a:lnTo>
                  <a:lnTo>
                    <a:pt x="40" y="136"/>
                  </a:lnTo>
                  <a:lnTo>
                    <a:pt x="40" y="137"/>
                  </a:lnTo>
                  <a:lnTo>
                    <a:pt x="39" y="137"/>
                  </a:lnTo>
                  <a:lnTo>
                    <a:pt x="39" y="136"/>
                  </a:lnTo>
                  <a:lnTo>
                    <a:pt x="39" y="137"/>
                  </a:lnTo>
                  <a:lnTo>
                    <a:pt x="39" y="136"/>
                  </a:lnTo>
                  <a:lnTo>
                    <a:pt x="39" y="135"/>
                  </a:lnTo>
                  <a:lnTo>
                    <a:pt x="40" y="135"/>
                  </a:lnTo>
                  <a:lnTo>
                    <a:pt x="40" y="134"/>
                  </a:lnTo>
                  <a:lnTo>
                    <a:pt x="39" y="134"/>
                  </a:lnTo>
                  <a:lnTo>
                    <a:pt x="40" y="134"/>
                  </a:lnTo>
                  <a:lnTo>
                    <a:pt x="43" y="134"/>
                  </a:lnTo>
                  <a:lnTo>
                    <a:pt x="44" y="132"/>
                  </a:lnTo>
                  <a:lnTo>
                    <a:pt x="45" y="132"/>
                  </a:lnTo>
                  <a:lnTo>
                    <a:pt x="46" y="131"/>
                  </a:lnTo>
                  <a:lnTo>
                    <a:pt x="47" y="130"/>
                  </a:lnTo>
                  <a:lnTo>
                    <a:pt x="49" y="130"/>
                  </a:lnTo>
                  <a:lnTo>
                    <a:pt x="50" y="130"/>
                  </a:lnTo>
                  <a:lnTo>
                    <a:pt x="51" y="130"/>
                  </a:lnTo>
                  <a:lnTo>
                    <a:pt x="52" y="129"/>
                  </a:lnTo>
                  <a:lnTo>
                    <a:pt x="53" y="129"/>
                  </a:lnTo>
                  <a:lnTo>
                    <a:pt x="53" y="128"/>
                  </a:lnTo>
                  <a:lnTo>
                    <a:pt x="52" y="128"/>
                  </a:lnTo>
                  <a:lnTo>
                    <a:pt x="53" y="128"/>
                  </a:lnTo>
                  <a:lnTo>
                    <a:pt x="55" y="128"/>
                  </a:lnTo>
                  <a:lnTo>
                    <a:pt x="56" y="126"/>
                  </a:lnTo>
                  <a:lnTo>
                    <a:pt x="56" y="125"/>
                  </a:lnTo>
                  <a:lnTo>
                    <a:pt x="56" y="124"/>
                  </a:lnTo>
                  <a:lnTo>
                    <a:pt x="56" y="123"/>
                  </a:lnTo>
                  <a:lnTo>
                    <a:pt x="55" y="122"/>
                  </a:lnTo>
                  <a:lnTo>
                    <a:pt x="55" y="123"/>
                  </a:lnTo>
                  <a:lnTo>
                    <a:pt x="55" y="124"/>
                  </a:lnTo>
                  <a:lnTo>
                    <a:pt x="53" y="124"/>
                  </a:lnTo>
                  <a:lnTo>
                    <a:pt x="52" y="124"/>
                  </a:lnTo>
                  <a:lnTo>
                    <a:pt x="52" y="123"/>
                  </a:lnTo>
                  <a:lnTo>
                    <a:pt x="52" y="124"/>
                  </a:lnTo>
                  <a:lnTo>
                    <a:pt x="52" y="125"/>
                  </a:lnTo>
                  <a:lnTo>
                    <a:pt x="51" y="124"/>
                  </a:lnTo>
                  <a:lnTo>
                    <a:pt x="51" y="123"/>
                  </a:lnTo>
                  <a:lnTo>
                    <a:pt x="51" y="124"/>
                  </a:lnTo>
                  <a:lnTo>
                    <a:pt x="50" y="124"/>
                  </a:lnTo>
                  <a:lnTo>
                    <a:pt x="50" y="123"/>
                  </a:lnTo>
                  <a:lnTo>
                    <a:pt x="50" y="124"/>
                  </a:lnTo>
                  <a:lnTo>
                    <a:pt x="50" y="125"/>
                  </a:lnTo>
                  <a:lnTo>
                    <a:pt x="50" y="126"/>
                  </a:lnTo>
                  <a:lnTo>
                    <a:pt x="49" y="126"/>
                  </a:lnTo>
                  <a:lnTo>
                    <a:pt x="49" y="125"/>
                  </a:lnTo>
                  <a:lnTo>
                    <a:pt x="49" y="124"/>
                  </a:lnTo>
                  <a:lnTo>
                    <a:pt x="49" y="125"/>
                  </a:lnTo>
                  <a:lnTo>
                    <a:pt x="47" y="125"/>
                  </a:lnTo>
                  <a:lnTo>
                    <a:pt x="47" y="124"/>
                  </a:lnTo>
                  <a:lnTo>
                    <a:pt x="46" y="125"/>
                  </a:lnTo>
                  <a:lnTo>
                    <a:pt x="46" y="124"/>
                  </a:lnTo>
                  <a:lnTo>
                    <a:pt x="46" y="125"/>
                  </a:lnTo>
                  <a:lnTo>
                    <a:pt x="45" y="125"/>
                  </a:lnTo>
                  <a:lnTo>
                    <a:pt x="45" y="126"/>
                  </a:lnTo>
                  <a:lnTo>
                    <a:pt x="45" y="128"/>
                  </a:lnTo>
                  <a:lnTo>
                    <a:pt x="44" y="128"/>
                  </a:lnTo>
                  <a:lnTo>
                    <a:pt x="44" y="126"/>
                  </a:lnTo>
                  <a:lnTo>
                    <a:pt x="44" y="125"/>
                  </a:lnTo>
                  <a:lnTo>
                    <a:pt x="43" y="125"/>
                  </a:lnTo>
                  <a:lnTo>
                    <a:pt x="41" y="125"/>
                  </a:lnTo>
                  <a:lnTo>
                    <a:pt x="41" y="124"/>
                  </a:lnTo>
                  <a:lnTo>
                    <a:pt x="41" y="125"/>
                  </a:lnTo>
                  <a:lnTo>
                    <a:pt x="40" y="125"/>
                  </a:lnTo>
                  <a:lnTo>
                    <a:pt x="39" y="125"/>
                  </a:lnTo>
                  <a:lnTo>
                    <a:pt x="40" y="124"/>
                  </a:lnTo>
                  <a:lnTo>
                    <a:pt x="41" y="123"/>
                  </a:lnTo>
                  <a:lnTo>
                    <a:pt x="43" y="123"/>
                  </a:lnTo>
                  <a:lnTo>
                    <a:pt x="44" y="123"/>
                  </a:lnTo>
                  <a:lnTo>
                    <a:pt x="45" y="122"/>
                  </a:lnTo>
                  <a:lnTo>
                    <a:pt x="44" y="122"/>
                  </a:lnTo>
                  <a:lnTo>
                    <a:pt x="43" y="122"/>
                  </a:lnTo>
                  <a:lnTo>
                    <a:pt x="45" y="120"/>
                  </a:lnTo>
                  <a:lnTo>
                    <a:pt x="44" y="120"/>
                  </a:lnTo>
                  <a:lnTo>
                    <a:pt x="45" y="120"/>
                  </a:lnTo>
                  <a:lnTo>
                    <a:pt x="46" y="119"/>
                  </a:lnTo>
                  <a:lnTo>
                    <a:pt x="47" y="119"/>
                  </a:lnTo>
                  <a:lnTo>
                    <a:pt x="47" y="118"/>
                  </a:lnTo>
                  <a:lnTo>
                    <a:pt x="49" y="118"/>
                  </a:lnTo>
                  <a:lnTo>
                    <a:pt x="50" y="118"/>
                  </a:lnTo>
                  <a:lnTo>
                    <a:pt x="50" y="117"/>
                  </a:lnTo>
                  <a:lnTo>
                    <a:pt x="51" y="118"/>
                  </a:lnTo>
                  <a:lnTo>
                    <a:pt x="52" y="118"/>
                  </a:lnTo>
                  <a:lnTo>
                    <a:pt x="52" y="117"/>
                  </a:lnTo>
                  <a:lnTo>
                    <a:pt x="53" y="117"/>
                  </a:lnTo>
                  <a:lnTo>
                    <a:pt x="53" y="116"/>
                  </a:lnTo>
                  <a:lnTo>
                    <a:pt x="55" y="117"/>
                  </a:lnTo>
                  <a:lnTo>
                    <a:pt x="56" y="117"/>
                  </a:lnTo>
                  <a:lnTo>
                    <a:pt x="56" y="116"/>
                  </a:lnTo>
                  <a:lnTo>
                    <a:pt x="58" y="116"/>
                  </a:lnTo>
                  <a:lnTo>
                    <a:pt x="59" y="114"/>
                  </a:lnTo>
                  <a:lnTo>
                    <a:pt x="61" y="114"/>
                  </a:lnTo>
                  <a:lnTo>
                    <a:pt x="62" y="114"/>
                  </a:lnTo>
                  <a:lnTo>
                    <a:pt x="63" y="114"/>
                  </a:lnTo>
                  <a:lnTo>
                    <a:pt x="64" y="113"/>
                  </a:lnTo>
                  <a:lnTo>
                    <a:pt x="65" y="113"/>
                  </a:lnTo>
                  <a:lnTo>
                    <a:pt x="67" y="113"/>
                  </a:lnTo>
                  <a:lnTo>
                    <a:pt x="68" y="112"/>
                  </a:lnTo>
                  <a:lnTo>
                    <a:pt x="68" y="113"/>
                  </a:lnTo>
                  <a:lnTo>
                    <a:pt x="69" y="113"/>
                  </a:lnTo>
                  <a:lnTo>
                    <a:pt x="70" y="113"/>
                  </a:lnTo>
                  <a:lnTo>
                    <a:pt x="70" y="112"/>
                  </a:lnTo>
                  <a:lnTo>
                    <a:pt x="71" y="112"/>
                  </a:lnTo>
                  <a:lnTo>
                    <a:pt x="73" y="112"/>
                  </a:lnTo>
                  <a:lnTo>
                    <a:pt x="74" y="112"/>
                  </a:lnTo>
                  <a:lnTo>
                    <a:pt x="74" y="111"/>
                  </a:lnTo>
                  <a:lnTo>
                    <a:pt x="73" y="111"/>
                  </a:lnTo>
                  <a:lnTo>
                    <a:pt x="73" y="112"/>
                  </a:lnTo>
                  <a:lnTo>
                    <a:pt x="71" y="112"/>
                  </a:lnTo>
                  <a:lnTo>
                    <a:pt x="70" y="112"/>
                  </a:lnTo>
                  <a:lnTo>
                    <a:pt x="69" y="112"/>
                  </a:lnTo>
                  <a:lnTo>
                    <a:pt x="69" y="113"/>
                  </a:lnTo>
                  <a:lnTo>
                    <a:pt x="68" y="112"/>
                  </a:lnTo>
                  <a:lnTo>
                    <a:pt x="67" y="112"/>
                  </a:lnTo>
                  <a:lnTo>
                    <a:pt x="65" y="112"/>
                  </a:lnTo>
                  <a:lnTo>
                    <a:pt x="65" y="113"/>
                  </a:lnTo>
                  <a:lnTo>
                    <a:pt x="64" y="113"/>
                  </a:lnTo>
                  <a:lnTo>
                    <a:pt x="63" y="113"/>
                  </a:lnTo>
                  <a:lnTo>
                    <a:pt x="63" y="112"/>
                  </a:lnTo>
                  <a:lnTo>
                    <a:pt x="62" y="113"/>
                  </a:lnTo>
                  <a:lnTo>
                    <a:pt x="61" y="113"/>
                  </a:lnTo>
                  <a:lnTo>
                    <a:pt x="61" y="114"/>
                  </a:lnTo>
                  <a:lnTo>
                    <a:pt x="59" y="113"/>
                  </a:lnTo>
                  <a:lnTo>
                    <a:pt x="59" y="114"/>
                  </a:lnTo>
                  <a:lnTo>
                    <a:pt x="58" y="114"/>
                  </a:lnTo>
                  <a:lnTo>
                    <a:pt x="57" y="113"/>
                  </a:lnTo>
                  <a:lnTo>
                    <a:pt x="57" y="114"/>
                  </a:lnTo>
                  <a:lnTo>
                    <a:pt x="57" y="113"/>
                  </a:lnTo>
                  <a:lnTo>
                    <a:pt x="56" y="112"/>
                  </a:lnTo>
                  <a:lnTo>
                    <a:pt x="56" y="113"/>
                  </a:lnTo>
                  <a:lnTo>
                    <a:pt x="56" y="114"/>
                  </a:lnTo>
                  <a:lnTo>
                    <a:pt x="55" y="116"/>
                  </a:lnTo>
                  <a:lnTo>
                    <a:pt x="55" y="114"/>
                  </a:lnTo>
                  <a:lnTo>
                    <a:pt x="55" y="113"/>
                  </a:lnTo>
                  <a:lnTo>
                    <a:pt x="53" y="116"/>
                  </a:lnTo>
                  <a:lnTo>
                    <a:pt x="53" y="114"/>
                  </a:lnTo>
                  <a:lnTo>
                    <a:pt x="53" y="113"/>
                  </a:lnTo>
                  <a:lnTo>
                    <a:pt x="53" y="112"/>
                  </a:lnTo>
                  <a:lnTo>
                    <a:pt x="52" y="114"/>
                  </a:lnTo>
                  <a:lnTo>
                    <a:pt x="52" y="116"/>
                  </a:lnTo>
                  <a:lnTo>
                    <a:pt x="51" y="116"/>
                  </a:lnTo>
                  <a:lnTo>
                    <a:pt x="51" y="114"/>
                  </a:lnTo>
                  <a:lnTo>
                    <a:pt x="51" y="116"/>
                  </a:lnTo>
                  <a:lnTo>
                    <a:pt x="51" y="117"/>
                  </a:lnTo>
                  <a:lnTo>
                    <a:pt x="50" y="117"/>
                  </a:lnTo>
                  <a:lnTo>
                    <a:pt x="50" y="116"/>
                  </a:lnTo>
                  <a:lnTo>
                    <a:pt x="49" y="114"/>
                  </a:lnTo>
                  <a:lnTo>
                    <a:pt x="49" y="113"/>
                  </a:lnTo>
                  <a:lnTo>
                    <a:pt x="49" y="114"/>
                  </a:lnTo>
                  <a:lnTo>
                    <a:pt x="49" y="116"/>
                  </a:lnTo>
                  <a:lnTo>
                    <a:pt x="47" y="116"/>
                  </a:lnTo>
                  <a:lnTo>
                    <a:pt x="47" y="114"/>
                  </a:lnTo>
                  <a:lnTo>
                    <a:pt x="47" y="116"/>
                  </a:lnTo>
                  <a:lnTo>
                    <a:pt x="47" y="117"/>
                  </a:lnTo>
                  <a:lnTo>
                    <a:pt x="46" y="117"/>
                  </a:lnTo>
                  <a:lnTo>
                    <a:pt x="46" y="116"/>
                  </a:lnTo>
                  <a:lnTo>
                    <a:pt x="45" y="116"/>
                  </a:lnTo>
                  <a:lnTo>
                    <a:pt x="45" y="114"/>
                  </a:lnTo>
                  <a:lnTo>
                    <a:pt x="44" y="113"/>
                  </a:lnTo>
                  <a:lnTo>
                    <a:pt x="44" y="114"/>
                  </a:lnTo>
                  <a:lnTo>
                    <a:pt x="43" y="116"/>
                  </a:lnTo>
                  <a:lnTo>
                    <a:pt x="43" y="114"/>
                  </a:lnTo>
                  <a:lnTo>
                    <a:pt x="40" y="116"/>
                  </a:lnTo>
                  <a:lnTo>
                    <a:pt x="40" y="114"/>
                  </a:lnTo>
                  <a:lnTo>
                    <a:pt x="41" y="114"/>
                  </a:lnTo>
                  <a:lnTo>
                    <a:pt x="43" y="114"/>
                  </a:lnTo>
                  <a:lnTo>
                    <a:pt x="41" y="113"/>
                  </a:lnTo>
                  <a:lnTo>
                    <a:pt x="43" y="113"/>
                  </a:lnTo>
                  <a:lnTo>
                    <a:pt x="44" y="113"/>
                  </a:lnTo>
                  <a:lnTo>
                    <a:pt x="44" y="112"/>
                  </a:lnTo>
                  <a:lnTo>
                    <a:pt x="45" y="112"/>
                  </a:lnTo>
                  <a:lnTo>
                    <a:pt x="46" y="111"/>
                  </a:lnTo>
                  <a:lnTo>
                    <a:pt x="47" y="110"/>
                  </a:lnTo>
                  <a:lnTo>
                    <a:pt x="46" y="110"/>
                  </a:lnTo>
                  <a:lnTo>
                    <a:pt x="46" y="108"/>
                  </a:lnTo>
                  <a:lnTo>
                    <a:pt x="47" y="108"/>
                  </a:lnTo>
                  <a:lnTo>
                    <a:pt x="47" y="107"/>
                  </a:lnTo>
                  <a:lnTo>
                    <a:pt x="47" y="108"/>
                  </a:lnTo>
                  <a:lnTo>
                    <a:pt x="49" y="108"/>
                  </a:lnTo>
                  <a:lnTo>
                    <a:pt x="50" y="108"/>
                  </a:lnTo>
                  <a:lnTo>
                    <a:pt x="52" y="107"/>
                  </a:lnTo>
                  <a:lnTo>
                    <a:pt x="53" y="107"/>
                  </a:lnTo>
                  <a:lnTo>
                    <a:pt x="53" y="106"/>
                  </a:lnTo>
                  <a:lnTo>
                    <a:pt x="53" y="107"/>
                  </a:lnTo>
                  <a:lnTo>
                    <a:pt x="55" y="107"/>
                  </a:lnTo>
                  <a:lnTo>
                    <a:pt x="55" y="106"/>
                  </a:lnTo>
                  <a:lnTo>
                    <a:pt x="56" y="106"/>
                  </a:lnTo>
                  <a:lnTo>
                    <a:pt x="57" y="106"/>
                  </a:lnTo>
                  <a:lnTo>
                    <a:pt x="59" y="106"/>
                  </a:lnTo>
                  <a:lnTo>
                    <a:pt x="59" y="105"/>
                  </a:lnTo>
                  <a:lnTo>
                    <a:pt x="61" y="105"/>
                  </a:lnTo>
                  <a:lnTo>
                    <a:pt x="62" y="105"/>
                  </a:lnTo>
                  <a:lnTo>
                    <a:pt x="63" y="103"/>
                  </a:lnTo>
                  <a:lnTo>
                    <a:pt x="64" y="103"/>
                  </a:lnTo>
                  <a:lnTo>
                    <a:pt x="65" y="102"/>
                  </a:lnTo>
                  <a:lnTo>
                    <a:pt x="67" y="102"/>
                  </a:lnTo>
                  <a:lnTo>
                    <a:pt x="68" y="102"/>
                  </a:lnTo>
                  <a:lnTo>
                    <a:pt x="69" y="102"/>
                  </a:lnTo>
                  <a:lnTo>
                    <a:pt x="71" y="102"/>
                  </a:lnTo>
                  <a:lnTo>
                    <a:pt x="73" y="102"/>
                  </a:lnTo>
                  <a:lnTo>
                    <a:pt x="74" y="101"/>
                  </a:lnTo>
                  <a:lnTo>
                    <a:pt x="75" y="101"/>
                  </a:lnTo>
                  <a:lnTo>
                    <a:pt x="76" y="101"/>
                  </a:lnTo>
                  <a:lnTo>
                    <a:pt x="79" y="101"/>
                  </a:lnTo>
                  <a:lnTo>
                    <a:pt x="80" y="100"/>
                  </a:lnTo>
                  <a:lnTo>
                    <a:pt x="81" y="101"/>
                  </a:lnTo>
                  <a:lnTo>
                    <a:pt x="82" y="101"/>
                  </a:lnTo>
                  <a:lnTo>
                    <a:pt x="82" y="100"/>
                  </a:lnTo>
                  <a:lnTo>
                    <a:pt x="83" y="100"/>
                  </a:lnTo>
                  <a:lnTo>
                    <a:pt x="85" y="100"/>
                  </a:lnTo>
                  <a:lnTo>
                    <a:pt x="86" y="100"/>
                  </a:lnTo>
                  <a:lnTo>
                    <a:pt x="87" y="100"/>
                  </a:lnTo>
                  <a:lnTo>
                    <a:pt x="88" y="100"/>
                  </a:lnTo>
                  <a:lnTo>
                    <a:pt x="88" y="99"/>
                  </a:lnTo>
                  <a:lnTo>
                    <a:pt x="89" y="99"/>
                  </a:lnTo>
                  <a:lnTo>
                    <a:pt x="89" y="97"/>
                  </a:lnTo>
                  <a:lnTo>
                    <a:pt x="91" y="97"/>
                  </a:lnTo>
                  <a:lnTo>
                    <a:pt x="92" y="97"/>
                  </a:lnTo>
                  <a:lnTo>
                    <a:pt x="92" y="96"/>
                  </a:lnTo>
                  <a:lnTo>
                    <a:pt x="93" y="95"/>
                  </a:lnTo>
                  <a:lnTo>
                    <a:pt x="94" y="95"/>
                  </a:lnTo>
                  <a:lnTo>
                    <a:pt x="94" y="93"/>
                  </a:lnTo>
                  <a:lnTo>
                    <a:pt x="94" y="91"/>
                  </a:lnTo>
                  <a:lnTo>
                    <a:pt x="93" y="93"/>
                  </a:lnTo>
                  <a:lnTo>
                    <a:pt x="93" y="91"/>
                  </a:lnTo>
                  <a:lnTo>
                    <a:pt x="93" y="90"/>
                  </a:lnTo>
                  <a:lnTo>
                    <a:pt x="92" y="91"/>
                  </a:lnTo>
                  <a:lnTo>
                    <a:pt x="93" y="93"/>
                  </a:lnTo>
                  <a:lnTo>
                    <a:pt x="93" y="94"/>
                  </a:lnTo>
                  <a:lnTo>
                    <a:pt x="93" y="95"/>
                  </a:lnTo>
                  <a:lnTo>
                    <a:pt x="92" y="95"/>
                  </a:lnTo>
                  <a:lnTo>
                    <a:pt x="92" y="96"/>
                  </a:lnTo>
                  <a:lnTo>
                    <a:pt x="91" y="97"/>
                  </a:lnTo>
                  <a:lnTo>
                    <a:pt x="91" y="96"/>
                  </a:lnTo>
                  <a:lnTo>
                    <a:pt x="89" y="97"/>
                  </a:lnTo>
                  <a:lnTo>
                    <a:pt x="88" y="97"/>
                  </a:lnTo>
                  <a:lnTo>
                    <a:pt x="89" y="96"/>
                  </a:lnTo>
                  <a:lnTo>
                    <a:pt x="89" y="95"/>
                  </a:lnTo>
                  <a:lnTo>
                    <a:pt x="89" y="94"/>
                  </a:lnTo>
                  <a:lnTo>
                    <a:pt x="89" y="93"/>
                  </a:lnTo>
                  <a:lnTo>
                    <a:pt x="89" y="91"/>
                  </a:lnTo>
                  <a:lnTo>
                    <a:pt x="88" y="93"/>
                  </a:lnTo>
                  <a:lnTo>
                    <a:pt x="89" y="93"/>
                  </a:lnTo>
                  <a:lnTo>
                    <a:pt x="88" y="93"/>
                  </a:lnTo>
                  <a:lnTo>
                    <a:pt x="88" y="94"/>
                  </a:lnTo>
                  <a:lnTo>
                    <a:pt x="88" y="93"/>
                  </a:lnTo>
                  <a:lnTo>
                    <a:pt x="87" y="93"/>
                  </a:lnTo>
                  <a:lnTo>
                    <a:pt x="87" y="94"/>
                  </a:lnTo>
                  <a:lnTo>
                    <a:pt x="87" y="95"/>
                  </a:lnTo>
                  <a:lnTo>
                    <a:pt x="86" y="95"/>
                  </a:lnTo>
                  <a:lnTo>
                    <a:pt x="86" y="94"/>
                  </a:lnTo>
                  <a:lnTo>
                    <a:pt x="86" y="95"/>
                  </a:lnTo>
                  <a:lnTo>
                    <a:pt x="85" y="95"/>
                  </a:lnTo>
                  <a:lnTo>
                    <a:pt x="85" y="96"/>
                  </a:lnTo>
                  <a:lnTo>
                    <a:pt x="85" y="95"/>
                  </a:lnTo>
                  <a:lnTo>
                    <a:pt x="83" y="95"/>
                  </a:lnTo>
                  <a:lnTo>
                    <a:pt x="85" y="96"/>
                  </a:lnTo>
                  <a:lnTo>
                    <a:pt x="85" y="97"/>
                  </a:lnTo>
                  <a:lnTo>
                    <a:pt x="83" y="97"/>
                  </a:lnTo>
                  <a:lnTo>
                    <a:pt x="83" y="96"/>
                  </a:lnTo>
                  <a:lnTo>
                    <a:pt x="83" y="95"/>
                  </a:lnTo>
                  <a:lnTo>
                    <a:pt x="83" y="96"/>
                  </a:lnTo>
                  <a:lnTo>
                    <a:pt x="83" y="97"/>
                  </a:lnTo>
                  <a:lnTo>
                    <a:pt x="82" y="97"/>
                  </a:lnTo>
                  <a:lnTo>
                    <a:pt x="82" y="99"/>
                  </a:lnTo>
                  <a:lnTo>
                    <a:pt x="82" y="97"/>
                  </a:lnTo>
                  <a:lnTo>
                    <a:pt x="81" y="97"/>
                  </a:lnTo>
                  <a:lnTo>
                    <a:pt x="81" y="96"/>
                  </a:lnTo>
                  <a:lnTo>
                    <a:pt x="80" y="96"/>
                  </a:lnTo>
                  <a:lnTo>
                    <a:pt x="81" y="95"/>
                  </a:lnTo>
                  <a:lnTo>
                    <a:pt x="81" y="94"/>
                  </a:lnTo>
                  <a:lnTo>
                    <a:pt x="81" y="95"/>
                  </a:lnTo>
                  <a:lnTo>
                    <a:pt x="80" y="94"/>
                  </a:lnTo>
                  <a:lnTo>
                    <a:pt x="80" y="93"/>
                  </a:lnTo>
                  <a:lnTo>
                    <a:pt x="79" y="94"/>
                  </a:lnTo>
                  <a:lnTo>
                    <a:pt x="79" y="93"/>
                  </a:lnTo>
                  <a:lnTo>
                    <a:pt x="79" y="91"/>
                  </a:lnTo>
                  <a:lnTo>
                    <a:pt x="77" y="91"/>
                  </a:lnTo>
                  <a:lnTo>
                    <a:pt x="77" y="88"/>
                  </a:lnTo>
                  <a:lnTo>
                    <a:pt x="77" y="87"/>
                  </a:lnTo>
                  <a:lnTo>
                    <a:pt x="77" y="88"/>
                  </a:lnTo>
                  <a:lnTo>
                    <a:pt x="76" y="88"/>
                  </a:lnTo>
                  <a:lnTo>
                    <a:pt x="76" y="87"/>
                  </a:lnTo>
                  <a:lnTo>
                    <a:pt x="75" y="87"/>
                  </a:lnTo>
                  <a:lnTo>
                    <a:pt x="75" y="88"/>
                  </a:lnTo>
                  <a:lnTo>
                    <a:pt x="75" y="89"/>
                  </a:lnTo>
                  <a:lnTo>
                    <a:pt x="74" y="89"/>
                  </a:lnTo>
                  <a:lnTo>
                    <a:pt x="74" y="88"/>
                  </a:lnTo>
                  <a:lnTo>
                    <a:pt x="74" y="87"/>
                  </a:lnTo>
                  <a:lnTo>
                    <a:pt x="74" y="85"/>
                  </a:lnTo>
                  <a:lnTo>
                    <a:pt x="73" y="85"/>
                  </a:lnTo>
                  <a:lnTo>
                    <a:pt x="73" y="84"/>
                  </a:lnTo>
                  <a:lnTo>
                    <a:pt x="74" y="83"/>
                  </a:lnTo>
                  <a:lnTo>
                    <a:pt x="74" y="82"/>
                  </a:lnTo>
                  <a:lnTo>
                    <a:pt x="73" y="82"/>
                  </a:lnTo>
                  <a:lnTo>
                    <a:pt x="73" y="83"/>
                  </a:lnTo>
                  <a:lnTo>
                    <a:pt x="71" y="83"/>
                  </a:lnTo>
                  <a:lnTo>
                    <a:pt x="70" y="82"/>
                  </a:lnTo>
                  <a:lnTo>
                    <a:pt x="70" y="84"/>
                  </a:lnTo>
                  <a:lnTo>
                    <a:pt x="70" y="83"/>
                  </a:lnTo>
                  <a:lnTo>
                    <a:pt x="70" y="82"/>
                  </a:lnTo>
                  <a:lnTo>
                    <a:pt x="69" y="81"/>
                  </a:lnTo>
                  <a:lnTo>
                    <a:pt x="69" y="79"/>
                  </a:lnTo>
                  <a:lnTo>
                    <a:pt x="69" y="78"/>
                  </a:lnTo>
                  <a:lnTo>
                    <a:pt x="68" y="78"/>
                  </a:lnTo>
                  <a:lnTo>
                    <a:pt x="68" y="79"/>
                  </a:lnTo>
                  <a:lnTo>
                    <a:pt x="67" y="79"/>
                  </a:lnTo>
                  <a:lnTo>
                    <a:pt x="67" y="78"/>
                  </a:lnTo>
                  <a:lnTo>
                    <a:pt x="67" y="77"/>
                  </a:lnTo>
                  <a:lnTo>
                    <a:pt x="67" y="76"/>
                  </a:lnTo>
                  <a:lnTo>
                    <a:pt x="65" y="76"/>
                  </a:lnTo>
                  <a:lnTo>
                    <a:pt x="67" y="76"/>
                  </a:lnTo>
                  <a:lnTo>
                    <a:pt x="67" y="75"/>
                  </a:lnTo>
                  <a:lnTo>
                    <a:pt x="68" y="75"/>
                  </a:lnTo>
                  <a:lnTo>
                    <a:pt x="68" y="73"/>
                  </a:lnTo>
                  <a:lnTo>
                    <a:pt x="67" y="73"/>
                  </a:lnTo>
                  <a:lnTo>
                    <a:pt x="65" y="75"/>
                  </a:lnTo>
                  <a:lnTo>
                    <a:pt x="65" y="76"/>
                  </a:lnTo>
                  <a:lnTo>
                    <a:pt x="65" y="75"/>
                  </a:lnTo>
                  <a:lnTo>
                    <a:pt x="65" y="76"/>
                  </a:lnTo>
                  <a:lnTo>
                    <a:pt x="65" y="75"/>
                  </a:lnTo>
                  <a:lnTo>
                    <a:pt x="65" y="73"/>
                  </a:lnTo>
                  <a:lnTo>
                    <a:pt x="64" y="73"/>
                  </a:lnTo>
                  <a:lnTo>
                    <a:pt x="65" y="73"/>
                  </a:lnTo>
                  <a:lnTo>
                    <a:pt x="65" y="72"/>
                  </a:lnTo>
                  <a:lnTo>
                    <a:pt x="67" y="72"/>
                  </a:lnTo>
                  <a:lnTo>
                    <a:pt x="65" y="72"/>
                  </a:lnTo>
                  <a:lnTo>
                    <a:pt x="64" y="72"/>
                  </a:lnTo>
                  <a:lnTo>
                    <a:pt x="65" y="72"/>
                  </a:lnTo>
                  <a:lnTo>
                    <a:pt x="65" y="71"/>
                  </a:lnTo>
                  <a:lnTo>
                    <a:pt x="64" y="71"/>
                  </a:lnTo>
                  <a:lnTo>
                    <a:pt x="63" y="71"/>
                  </a:lnTo>
                  <a:lnTo>
                    <a:pt x="63" y="70"/>
                  </a:lnTo>
                  <a:lnTo>
                    <a:pt x="62" y="70"/>
                  </a:lnTo>
                  <a:lnTo>
                    <a:pt x="62" y="71"/>
                  </a:lnTo>
                  <a:lnTo>
                    <a:pt x="62" y="70"/>
                  </a:lnTo>
                  <a:lnTo>
                    <a:pt x="61" y="70"/>
                  </a:lnTo>
                  <a:lnTo>
                    <a:pt x="61" y="69"/>
                  </a:lnTo>
                  <a:lnTo>
                    <a:pt x="63" y="69"/>
                  </a:lnTo>
                  <a:lnTo>
                    <a:pt x="64" y="70"/>
                  </a:lnTo>
                  <a:lnTo>
                    <a:pt x="65" y="70"/>
                  </a:lnTo>
                  <a:lnTo>
                    <a:pt x="67" y="70"/>
                  </a:lnTo>
                  <a:lnTo>
                    <a:pt x="67" y="71"/>
                  </a:lnTo>
                  <a:lnTo>
                    <a:pt x="68" y="71"/>
                  </a:lnTo>
                  <a:lnTo>
                    <a:pt x="69" y="71"/>
                  </a:lnTo>
                  <a:lnTo>
                    <a:pt x="69" y="70"/>
                  </a:lnTo>
                  <a:lnTo>
                    <a:pt x="68" y="70"/>
                  </a:lnTo>
                  <a:lnTo>
                    <a:pt x="68" y="69"/>
                  </a:lnTo>
                  <a:lnTo>
                    <a:pt x="67" y="69"/>
                  </a:lnTo>
                  <a:lnTo>
                    <a:pt x="65" y="69"/>
                  </a:lnTo>
                  <a:lnTo>
                    <a:pt x="64" y="69"/>
                  </a:lnTo>
                  <a:lnTo>
                    <a:pt x="65" y="67"/>
                  </a:lnTo>
                  <a:lnTo>
                    <a:pt x="64" y="67"/>
                  </a:lnTo>
                  <a:lnTo>
                    <a:pt x="65" y="67"/>
                  </a:lnTo>
                  <a:lnTo>
                    <a:pt x="67" y="67"/>
                  </a:lnTo>
                  <a:lnTo>
                    <a:pt x="68" y="67"/>
                  </a:lnTo>
                  <a:lnTo>
                    <a:pt x="68" y="69"/>
                  </a:lnTo>
                  <a:lnTo>
                    <a:pt x="69" y="70"/>
                  </a:lnTo>
                  <a:lnTo>
                    <a:pt x="69" y="69"/>
                  </a:lnTo>
                  <a:lnTo>
                    <a:pt x="68" y="69"/>
                  </a:lnTo>
                  <a:lnTo>
                    <a:pt x="69" y="69"/>
                  </a:lnTo>
                  <a:lnTo>
                    <a:pt x="69" y="67"/>
                  </a:lnTo>
                  <a:lnTo>
                    <a:pt x="70" y="67"/>
                  </a:lnTo>
                  <a:lnTo>
                    <a:pt x="70" y="69"/>
                  </a:lnTo>
                  <a:lnTo>
                    <a:pt x="70" y="70"/>
                  </a:lnTo>
                  <a:lnTo>
                    <a:pt x="71" y="71"/>
                  </a:lnTo>
                  <a:lnTo>
                    <a:pt x="73" y="71"/>
                  </a:lnTo>
                  <a:lnTo>
                    <a:pt x="73" y="70"/>
                  </a:lnTo>
                  <a:lnTo>
                    <a:pt x="74" y="70"/>
                  </a:lnTo>
                  <a:lnTo>
                    <a:pt x="75" y="70"/>
                  </a:lnTo>
                  <a:lnTo>
                    <a:pt x="75" y="69"/>
                  </a:lnTo>
                  <a:lnTo>
                    <a:pt x="74" y="69"/>
                  </a:lnTo>
                  <a:lnTo>
                    <a:pt x="74" y="67"/>
                  </a:lnTo>
                  <a:lnTo>
                    <a:pt x="73" y="67"/>
                  </a:lnTo>
                  <a:lnTo>
                    <a:pt x="71" y="67"/>
                  </a:lnTo>
                  <a:lnTo>
                    <a:pt x="71" y="66"/>
                  </a:lnTo>
                  <a:lnTo>
                    <a:pt x="70" y="66"/>
                  </a:lnTo>
                  <a:lnTo>
                    <a:pt x="71" y="66"/>
                  </a:lnTo>
                  <a:lnTo>
                    <a:pt x="71" y="65"/>
                  </a:lnTo>
                  <a:lnTo>
                    <a:pt x="71" y="64"/>
                  </a:lnTo>
                  <a:lnTo>
                    <a:pt x="73" y="65"/>
                  </a:lnTo>
                  <a:lnTo>
                    <a:pt x="74" y="65"/>
                  </a:lnTo>
                  <a:lnTo>
                    <a:pt x="74" y="66"/>
                  </a:lnTo>
                  <a:lnTo>
                    <a:pt x="75" y="66"/>
                  </a:lnTo>
                  <a:lnTo>
                    <a:pt x="75" y="65"/>
                  </a:lnTo>
                  <a:lnTo>
                    <a:pt x="75" y="66"/>
                  </a:lnTo>
                  <a:lnTo>
                    <a:pt x="76" y="66"/>
                  </a:lnTo>
                  <a:lnTo>
                    <a:pt x="77" y="67"/>
                  </a:lnTo>
                  <a:lnTo>
                    <a:pt x="79" y="66"/>
                  </a:lnTo>
                  <a:lnTo>
                    <a:pt x="80" y="66"/>
                  </a:lnTo>
                  <a:lnTo>
                    <a:pt x="80" y="65"/>
                  </a:lnTo>
                  <a:lnTo>
                    <a:pt x="81" y="65"/>
                  </a:lnTo>
                  <a:lnTo>
                    <a:pt x="80" y="64"/>
                  </a:lnTo>
                  <a:lnTo>
                    <a:pt x="81" y="64"/>
                  </a:lnTo>
                  <a:lnTo>
                    <a:pt x="80" y="64"/>
                  </a:lnTo>
                  <a:lnTo>
                    <a:pt x="80" y="63"/>
                  </a:lnTo>
                  <a:lnTo>
                    <a:pt x="81" y="63"/>
                  </a:lnTo>
                  <a:lnTo>
                    <a:pt x="81" y="61"/>
                  </a:lnTo>
                  <a:lnTo>
                    <a:pt x="80" y="61"/>
                  </a:lnTo>
                  <a:lnTo>
                    <a:pt x="80" y="63"/>
                  </a:lnTo>
                  <a:lnTo>
                    <a:pt x="80" y="61"/>
                  </a:lnTo>
                  <a:lnTo>
                    <a:pt x="79" y="61"/>
                  </a:lnTo>
                  <a:lnTo>
                    <a:pt x="80" y="61"/>
                  </a:lnTo>
                  <a:lnTo>
                    <a:pt x="79" y="61"/>
                  </a:lnTo>
                  <a:lnTo>
                    <a:pt x="77" y="61"/>
                  </a:lnTo>
                  <a:lnTo>
                    <a:pt x="77" y="60"/>
                  </a:lnTo>
                  <a:lnTo>
                    <a:pt x="77" y="59"/>
                  </a:lnTo>
                  <a:lnTo>
                    <a:pt x="76" y="59"/>
                  </a:lnTo>
                  <a:lnTo>
                    <a:pt x="76" y="60"/>
                  </a:lnTo>
                  <a:lnTo>
                    <a:pt x="75" y="60"/>
                  </a:lnTo>
                  <a:lnTo>
                    <a:pt x="75" y="59"/>
                  </a:lnTo>
                  <a:lnTo>
                    <a:pt x="75" y="58"/>
                  </a:lnTo>
                  <a:lnTo>
                    <a:pt x="74" y="58"/>
                  </a:lnTo>
                  <a:lnTo>
                    <a:pt x="74" y="57"/>
                  </a:lnTo>
                  <a:lnTo>
                    <a:pt x="74" y="58"/>
                  </a:lnTo>
                  <a:lnTo>
                    <a:pt x="74" y="57"/>
                  </a:lnTo>
                  <a:lnTo>
                    <a:pt x="74" y="55"/>
                  </a:lnTo>
                  <a:lnTo>
                    <a:pt x="74" y="57"/>
                  </a:lnTo>
                  <a:lnTo>
                    <a:pt x="73" y="57"/>
                  </a:lnTo>
                  <a:lnTo>
                    <a:pt x="71" y="57"/>
                  </a:lnTo>
                  <a:lnTo>
                    <a:pt x="73" y="57"/>
                  </a:lnTo>
                  <a:lnTo>
                    <a:pt x="73" y="55"/>
                  </a:lnTo>
                  <a:lnTo>
                    <a:pt x="74" y="55"/>
                  </a:lnTo>
                  <a:lnTo>
                    <a:pt x="74" y="54"/>
                  </a:lnTo>
                  <a:lnTo>
                    <a:pt x="73" y="54"/>
                  </a:lnTo>
                  <a:lnTo>
                    <a:pt x="71" y="55"/>
                  </a:lnTo>
                  <a:lnTo>
                    <a:pt x="73" y="54"/>
                  </a:lnTo>
                  <a:lnTo>
                    <a:pt x="71" y="53"/>
                  </a:lnTo>
                  <a:lnTo>
                    <a:pt x="70" y="54"/>
                  </a:lnTo>
                  <a:lnTo>
                    <a:pt x="71" y="53"/>
                  </a:lnTo>
                  <a:lnTo>
                    <a:pt x="70" y="53"/>
                  </a:lnTo>
                  <a:lnTo>
                    <a:pt x="69" y="53"/>
                  </a:lnTo>
                  <a:lnTo>
                    <a:pt x="69" y="52"/>
                  </a:lnTo>
                  <a:lnTo>
                    <a:pt x="68" y="52"/>
                  </a:lnTo>
                  <a:lnTo>
                    <a:pt x="68" y="51"/>
                  </a:lnTo>
                  <a:lnTo>
                    <a:pt x="67" y="51"/>
                  </a:lnTo>
                  <a:lnTo>
                    <a:pt x="65" y="51"/>
                  </a:lnTo>
                  <a:lnTo>
                    <a:pt x="67" y="51"/>
                  </a:lnTo>
                  <a:lnTo>
                    <a:pt x="67" y="49"/>
                  </a:lnTo>
                  <a:lnTo>
                    <a:pt x="65" y="49"/>
                  </a:lnTo>
                  <a:lnTo>
                    <a:pt x="67" y="49"/>
                  </a:lnTo>
                  <a:lnTo>
                    <a:pt x="68" y="51"/>
                  </a:lnTo>
                  <a:lnTo>
                    <a:pt x="69" y="51"/>
                  </a:lnTo>
                  <a:lnTo>
                    <a:pt x="69" y="52"/>
                  </a:lnTo>
                  <a:lnTo>
                    <a:pt x="70" y="52"/>
                  </a:lnTo>
                  <a:lnTo>
                    <a:pt x="71" y="52"/>
                  </a:lnTo>
                  <a:lnTo>
                    <a:pt x="71" y="51"/>
                  </a:lnTo>
                  <a:lnTo>
                    <a:pt x="71" y="52"/>
                  </a:lnTo>
                  <a:lnTo>
                    <a:pt x="71" y="53"/>
                  </a:lnTo>
                  <a:lnTo>
                    <a:pt x="73" y="53"/>
                  </a:lnTo>
                  <a:lnTo>
                    <a:pt x="73" y="52"/>
                  </a:lnTo>
                  <a:lnTo>
                    <a:pt x="73" y="53"/>
                  </a:lnTo>
                  <a:lnTo>
                    <a:pt x="74" y="53"/>
                  </a:lnTo>
                  <a:lnTo>
                    <a:pt x="75" y="54"/>
                  </a:lnTo>
                  <a:lnTo>
                    <a:pt x="75" y="53"/>
                  </a:lnTo>
                  <a:lnTo>
                    <a:pt x="75" y="54"/>
                  </a:lnTo>
                  <a:lnTo>
                    <a:pt x="77" y="55"/>
                  </a:lnTo>
                  <a:lnTo>
                    <a:pt x="79" y="55"/>
                  </a:lnTo>
                  <a:lnTo>
                    <a:pt x="79" y="57"/>
                  </a:lnTo>
                  <a:lnTo>
                    <a:pt x="80" y="57"/>
                  </a:lnTo>
                  <a:lnTo>
                    <a:pt x="81" y="57"/>
                  </a:lnTo>
                  <a:lnTo>
                    <a:pt x="82" y="57"/>
                  </a:lnTo>
                  <a:lnTo>
                    <a:pt x="83" y="57"/>
                  </a:lnTo>
                  <a:lnTo>
                    <a:pt x="85" y="55"/>
                  </a:lnTo>
                  <a:lnTo>
                    <a:pt x="86" y="55"/>
                  </a:lnTo>
                  <a:lnTo>
                    <a:pt x="87" y="55"/>
                  </a:lnTo>
                  <a:lnTo>
                    <a:pt x="87" y="54"/>
                  </a:lnTo>
                  <a:lnTo>
                    <a:pt x="86" y="54"/>
                  </a:lnTo>
                  <a:lnTo>
                    <a:pt x="85" y="54"/>
                  </a:lnTo>
                  <a:lnTo>
                    <a:pt x="86" y="54"/>
                  </a:lnTo>
                  <a:lnTo>
                    <a:pt x="87" y="53"/>
                  </a:lnTo>
                  <a:lnTo>
                    <a:pt x="87" y="52"/>
                  </a:lnTo>
                  <a:lnTo>
                    <a:pt x="86" y="52"/>
                  </a:lnTo>
                  <a:lnTo>
                    <a:pt x="86" y="51"/>
                  </a:lnTo>
                  <a:lnTo>
                    <a:pt x="87" y="51"/>
                  </a:lnTo>
                  <a:lnTo>
                    <a:pt x="88" y="52"/>
                  </a:lnTo>
                  <a:lnTo>
                    <a:pt x="89" y="49"/>
                  </a:lnTo>
                  <a:lnTo>
                    <a:pt x="91" y="49"/>
                  </a:lnTo>
                  <a:lnTo>
                    <a:pt x="91" y="48"/>
                  </a:lnTo>
                  <a:lnTo>
                    <a:pt x="92" y="48"/>
                  </a:lnTo>
                  <a:lnTo>
                    <a:pt x="93" y="47"/>
                  </a:lnTo>
                  <a:lnTo>
                    <a:pt x="93" y="46"/>
                  </a:lnTo>
                  <a:lnTo>
                    <a:pt x="92" y="46"/>
                  </a:lnTo>
                  <a:lnTo>
                    <a:pt x="93" y="46"/>
                  </a:lnTo>
                  <a:lnTo>
                    <a:pt x="93" y="45"/>
                  </a:lnTo>
                  <a:lnTo>
                    <a:pt x="92" y="45"/>
                  </a:lnTo>
                  <a:lnTo>
                    <a:pt x="91" y="45"/>
                  </a:lnTo>
                  <a:lnTo>
                    <a:pt x="91" y="46"/>
                  </a:lnTo>
                  <a:lnTo>
                    <a:pt x="91" y="45"/>
                  </a:lnTo>
                  <a:lnTo>
                    <a:pt x="91" y="46"/>
                  </a:lnTo>
                  <a:lnTo>
                    <a:pt x="89" y="46"/>
                  </a:lnTo>
                  <a:lnTo>
                    <a:pt x="89" y="45"/>
                  </a:lnTo>
                  <a:lnTo>
                    <a:pt x="88" y="46"/>
                  </a:lnTo>
                  <a:lnTo>
                    <a:pt x="89" y="45"/>
                  </a:lnTo>
                  <a:lnTo>
                    <a:pt x="88" y="45"/>
                  </a:lnTo>
                  <a:lnTo>
                    <a:pt x="87" y="45"/>
                  </a:lnTo>
                  <a:lnTo>
                    <a:pt x="87" y="43"/>
                  </a:lnTo>
                  <a:lnTo>
                    <a:pt x="87" y="42"/>
                  </a:lnTo>
                  <a:lnTo>
                    <a:pt x="87" y="41"/>
                  </a:lnTo>
                  <a:lnTo>
                    <a:pt x="88" y="42"/>
                  </a:lnTo>
                  <a:lnTo>
                    <a:pt x="88" y="41"/>
                  </a:lnTo>
                  <a:lnTo>
                    <a:pt x="87" y="41"/>
                  </a:lnTo>
                  <a:lnTo>
                    <a:pt x="87" y="40"/>
                  </a:lnTo>
                  <a:lnTo>
                    <a:pt x="86" y="41"/>
                  </a:lnTo>
                  <a:lnTo>
                    <a:pt x="86" y="40"/>
                  </a:lnTo>
                  <a:lnTo>
                    <a:pt x="87" y="40"/>
                  </a:lnTo>
                  <a:lnTo>
                    <a:pt x="86" y="40"/>
                  </a:lnTo>
                  <a:lnTo>
                    <a:pt x="86" y="37"/>
                  </a:lnTo>
                  <a:lnTo>
                    <a:pt x="86" y="39"/>
                  </a:lnTo>
                  <a:lnTo>
                    <a:pt x="85" y="39"/>
                  </a:lnTo>
                  <a:lnTo>
                    <a:pt x="85" y="40"/>
                  </a:lnTo>
                  <a:lnTo>
                    <a:pt x="85" y="39"/>
                  </a:lnTo>
                  <a:lnTo>
                    <a:pt x="83" y="39"/>
                  </a:lnTo>
                  <a:lnTo>
                    <a:pt x="85" y="39"/>
                  </a:lnTo>
                  <a:lnTo>
                    <a:pt x="85" y="37"/>
                  </a:lnTo>
                  <a:lnTo>
                    <a:pt x="83" y="37"/>
                  </a:lnTo>
                  <a:lnTo>
                    <a:pt x="85" y="37"/>
                  </a:lnTo>
                  <a:lnTo>
                    <a:pt x="86" y="37"/>
                  </a:lnTo>
                  <a:lnTo>
                    <a:pt x="86" y="36"/>
                  </a:lnTo>
                  <a:lnTo>
                    <a:pt x="85" y="36"/>
                  </a:lnTo>
                  <a:lnTo>
                    <a:pt x="83" y="36"/>
                  </a:lnTo>
                  <a:lnTo>
                    <a:pt x="85" y="36"/>
                  </a:lnTo>
                  <a:lnTo>
                    <a:pt x="83" y="36"/>
                  </a:lnTo>
                  <a:lnTo>
                    <a:pt x="82" y="36"/>
                  </a:lnTo>
                  <a:lnTo>
                    <a:pt x="83" y="35"/>
                  </a:lnTo>
                  <a:lnTo>
                    <a:pt x="82" y="35"/>
                  </a:lnTo>
                  <a:lnTo>
                    <a:pt x="83" y="35"/>
                  </a:lnTo>
                  <a:lnTo>
                    <a:pt x="82" y="35"/>
                  </a:lnTo>
                  <a:lnTo>
                    <a:pt x="81" y="35"/>
                  </a:lnTo>
                  <a:lnTo>
                    <a:pt x="80" y="35"/>
                  </a:lnTo>
                  <a:lnTo>
                    <a:pt x="80" y="34"/>
                  </a:lnTo>
                  <a:lnTo>
                    <a:pt x="81" y="34"/>
                  </a:lnTo>
                  <a:lnTo>
                    <a:pt x="82" y="34"/>
                  </a:lnTo>
                  <a:lnTo>
                    <a:pt x="81" y="33"/>
                  </a:lnTo>
                  <a:lnTo>
                    <a:pt x="81" y="34"/>
                  </a:lnTo>
                  <a:lnTo>
                    <a:pt x="80" y="34"/>
                  </a:lnTo>
                  <a:lnTo>
                    <a:pt x="80" y="33"/>
                  </a:lnTo>
                  <a:lnTo>
                    <a:pt x="79" y="33"/>
                  </a:lnTo>
                  <a:lnTo>
                    <a:pt x="79" y="34"/>
                  </a:lnTo>
                  <a:lnTo>
                    <a:pt x="79" y="33"/>
                  </a:lnTo>
                  <a:lnTo>
                    <a:pt x="77" y="33"/>
                  </a:lnTo>
                  <a:lnTo>
                    <a:pt x="76" y="33"/>
                  </a:lnTo>
                  <a:lnTo>
                    <a:pt x="77" y="33"/>
                  </a:lnTo>
                  <a:lnTo>
                    <a:pt x="77" y="31"/>
                  </a:lnTo>
                  <a:lnTo>
                    <a:pt x="75" y="30"/>
                  </a:lnTo>
                  <a:lnTo>
                    <a:pt x="76" y="30"/>
                  </a:lnTo>
                  <a:lnTo>
                    <a:pt x="77" y="31"/>
                  </a:lnTo>
                  <a:lnTo>
                    <a:pt x="79" y="31"/>
                  </a:lnTo>
                  <a:lnTo>
                    <a:pt x="77" y="30"/>
                  </a:lnTo>
                  <a:lnTo>
                    <a:pt x="79" y="31"/>
                  </a:lnTo>
                  <a:lnTo>
                    <a:pt x="80" y="31"/>
                  </a:lnTo>
                  <a:lnTo>
                    <a:pt x="80" y="33"/>
                  </a:lnTo>
                  <a:lnTo>
                    <a:pt x="81" y="31"/>
                  </a:lnTo>
                  <a:lnTo>
                    <a:pt x="81" y="33"/>
                  </a:lnTo>
                  <a:lnTo>
                    <a:pt x="82" y="33"/>
                  </a:lnTo>
                  <a:lnTo>
                    <a:pt x="81" y="33"/>
                  </a:lnTo>
                  <a:lnTo>
                    <a:pt x="82" y="33"/>
                  </a:lnTo>
                  <a:lnTo>
                    <a:pt x="82" y="31"/>
                  </a:lnTo>
                  <a:lnTo>
                    <a:pt x="82" y="33"/>
                  </a:lnTo>
                  <a:lnTo>
                    <a:pt x="83" y="33"/>
                  </a:lnTo>
                  <a:lnTo>
                    <a:pt x="83" y="34"/>
                  </a:lnTo>
                  <a:lnTo>
                    <a:pt x="85" y="35"/>
                  </a:lnTo>
                  <a:lnTo>
                    <a:pt x="85" y="34"/>
                  </a:lnTo>
                  <a:lnTo>
                    <a:pt x="85" y="35"/>
                  </a:lnTo>
                  <a:lnTo>
                    <a:pt x="86" y="35"/>
                  </a:lnTo>
                  <a:lnTo>
                    <a:pt x="86" y="36"/>
                  </a:lnTo>
                  <a:lnTo>
                    <a:pt x="87" y="36"/>
                  </a:lnTo>
                  <a:lnTo>
                    <a:pt x="87" y="35"/>
                  </a:lnTo>
                  <a:lnTo>
                    <a:pt x="87" y="36"/>
                  </a:lnTo>
                  <a:lnTo>
                    <a:pt x="86" y="36"/>
                  </a:lnTo>
                  <a:lnTo>
                    <a:pt x="87" y="35"/>
                  </a:lnTo>
                  <a:lnTo>
                    <a:pt x="87" y="34"/>
                  </a:lnTo>
                  <a:lnTo>
                    <a:pt x="87" y="35"/>
                  </a:lnTo>
                  <a:lnTo>
                    <a:pt x="88" y="35"/>
                  </a:lnTo>
                  <a:lnTo>
                    <a:pt x="88" y="34"/>
                  </a:lnTo>
                  <a:lnTo>
                    <a:pt x="88" y="35"/>
                  </a:lnTo>
                  <a:lnTo>
                    <a:pt x="88" y="36"/>
                  </a:lnTo>
                  <a:lnTo>
                    <a:pt x="87" y="36"/>
                  </a:lnTo>
                  <a:lnTo>
                    <a:pt x="87" y="37"/>
                  </a:lnTo>
                  <a:lnTo>
                    <a:pt x="88" y="37"/>
                  </a:lnTo>
                  <a:lnTo>
                    <a:pt x="88" y="39"/>
                  </a:lnTo>
                  <a:lnTo>
                    <a:pt x="89" y="39"/>
                  </a:lnTo>
                  <a:lnTo>
                    <a:pt x="91" y="40"/>
                  </a:lnTo>
                  <a:lnTo>
                    <a:pt x="92" y="40"/>
                  </a:lnTo>
                  <a:lnTo>
                    <a:pt x="93" y="39"/>
                  </a:lnTo>
                  <a:lnTo>
                    <a:pt x="93" y="37"/>
                  </a:lnTo>
                  <a:lnTo>
                    <a:pt x="93" y="39"/>
                  </a:lnTo>
                  <a:lnTo>
                    <a:pt x="92" y="37"/>
                  </a:lnTo>
                  <a:lnTo>
                    <a:pt x="93" y="37"/>
                  </a:lnTo>
                  <a:lnTo>
                    <a:pt x="93" y="36"/>
                  </a:lnTo>
                  <a:lnTo>
                    <a:pt x="92" y="36"/>
                  </a:lnTo>
                  <a:lnTo>
                    <a:pt x="92" y="35"/>
                  </a:lnTo>
                  <a:lnTo>
                    <a:pt x="93" y="35"/>
                  </a:lnTo>
                  <a:lnTo>
                    <a:pt x="94" y="35"/>
                  </a:lnTo>
                  <a:lnTo>
                    <a:pt x="94" y="34"/>
                  </a:lnTo>
                  <a:lnTo>
                    <a:pt x="93" y="34"/>
                  </a:lnTo>
                  <a:lnTo>
                    <a:pt x="92" y="34"/>
                  </a:lnTo>
                  <a:lnTo>
                    <a:pt x="92" y="33"/>
                  </a:lnTo>
                  <a:lnTo>
                    <a:pt x="93" y="33"/>
                  </a:lnTo>
                  <a:lnTo>
                    <a:pt x="92" y="33"/>
                  </a:lnTo>
                  <a:lnTo>
                    <a:pt x="91" y="33"/>
                  </a:lnTo>
                  <a:lnTo>
                    <a:pt x="89" y="33"/>
                  </a:lnTo>
                  <a:lnTo>
                    <a:pt x="89" y="34"/>
                  </a:lnTo>
                  <a:lnTo>
                    <a:pt x="89" y="33"/>
                  </a:lnTo>
                  <a:lnTo>
                    <a:pt x="91" y="31"/>
                  </a:lnTo>
                  <a:lnTo>
                    <a:pt x="89" y="31"/>
                  </a:lnTo>
                  <a:lnTo>
                    <a:pt x="89" y="30"/>
                  </a:lnTo>
                  <a:lnTo>
                    <a:pt x="89" y="31"/>
                  </a:lnTo>
                  <a:lnTo>
                    <a:pt x="89" y="33"/>
                  </a:lnTo>
                  <a:lnTo>
                    <a:pt x="88" y="33"/>
                  </a:lnTo>
                  <a:lnTo>
                    <a:pt x="88" y="31"/>
                  </a:lnTo>
                  <a:lnTo>
                    <a:pt x="87" y="30"/>
                  </a:lnTo>
                  <a:lnTo>
                    <a:pt x="88" y="30"/>
                  </a:lnTo>
                  <a:lnTo>
                    <a:pt x="88" y="29"/>
                  </a:lnTo>
                  <a:lnTo>
                    <a:pt x="87" y="29"/>
                  </a:lnTo>
                  <a:lnTo>
                    <a:pt x="86" y="29"/>
                  </a:lnTo>
                  <a:lnTo>
                    <a:pt x="86" y="28"/>
                  </a:lnTo>
                  <a:lnTo>
                    <a:pt x="87" y="28"/>
                  </a:lnTo>
                  <a:lnTo>
                    <a:pt x="86" y="27"/>
                  </a:lnTo>
                  <a:lnTo>
                    <a:pt x="85" y="27"/>
                  </a:lnTo>
                  <a:lnTo>
                    <a:pt x="83" y="27"/>
                  </a:lnTo>
                  <a:lnTo>
                    <a:pt x="83" y="28"/>
                  </a:lnTo>
                  <a:lnTo>
                    <a:pt x="82" y="28"/>
                  </a:lnTo>
                  <a:lnTo>
                    <a:pt x="82" y="27"/>
                  </a:lnTo>
                  <a:lnTo>
                    <a:pt x="83" y="27"/>
                  </a:lnTo>
                  <a:lnTo>
                    <a:pt x="83" y="25"/>
                  </a:lnTo>
                  <a:lnTo>
                    <a:pt x="83" y="27"/>
                  </a:lnTo>
                  <a:lnTo>
                    <a:pt x="82" y="27"/>
                  </a:lnTo>
                  <a:lnTo>
                    <a:pt x="83" y="25"/>
                  </a:lnTo>
                  <a:lnTo>
                    <a:pt x="82" y="25"/>
                  </a:lnTo>
                  <a:lnTo>
                    <a:pt x="81" y="27"/>
                  </a:lnTo>
                  <a:lnTo>
                    <a:pt x="81" y="25"/>
                  </a:lnTo>
                  <a:lnTo>
                    <a:pt x="81" y="24"/>
                  </a:lnTo>
                  <a:lnTo>
                    <a:pt x="81" y="25"/>
                  </a:lnTo>
                  <a:lnTo>
                    <a:pt x="80" y="25"/>
                  </a:lnTo>
                  <a:lnTo>
                    <a:pt x="80" y="24"/>
                  </a:lnTo>
                  <a:lnTo>
                    <a:pt x="81" y="24"/>
                  </a:lnTo>
                  <a:lnTo>
                    <a:pt x="80" y="24"/>
                  </a:lnTo>
                  <a:lnTo>
                    <a:pt x="79" y="23"/>
                  </a:lnTo>
                  <a:lnTo>
                    <a:pt x="80" y="23"/>
                  </a:lnTo>
                  <a:lnTo>
                    <a:pt x="81" y="24"/>
                  </a:lnTo>
                  <a:lnTo>
                    <a:pt x="81" y="23"/>
                  </a:lnTo>
                  <a:lnTo>
                    <a:pt x="80" y="23"/>
                  </a:lnTo>
                  <a:lnTo>
                    <a:pt x="81" y="23"/>
                  </a:lnTo>
                  <a:lnTo>
                    <a:pt x="82" y="23"/>
                  </a:lnTo>
                  <a:lnTo>
                    <a:pt x="82" y="24"/>
                  </a:lnTo>
                  <a:lnTo>
                    <a:pt x="83" y="24"/>
                  </a:lnTo>
                  <a:lnTo>
                    <a:pt x="85" y="24"/>
                  </a:lnTo>
                  <a:lnTo>
                    <a:pt x="85" y="25"/>
                  </a:lnTo>
                  <a:lnTo>
                    <a:pt x="85" y="24"/>
                  </a:lnTo>
                  <a:lnTo>
                    <a:pt x="86" y="24"/>
                  </a:lnTo>
                  <a:lnTo>
                    <a:pt x="86" y="25"/>
                  </a:lnTo>
                  <a:lnTo>
                    <a:pt x="87" y="25"/>
                  </a:lnTo>
                  <a:lnTo>
                    <a:pt x="87" y="27"/>
                  </a:lnTo>
                  <a:lnTo>
                    <a:pt x="88" y="27"/>
                  </a:lnTo>
                  <a:lnTo>
                    <a:pt x="89" y="27"/>
                  </a:lnTo>
                  <a:lnTo>
                    <a:pt x="91" y="28"/>
                  </a:lnTo>
                  <a:lnTo>
                    <a:pt x="92" y="29"/>
                  </a:lnTo>
                  <a:lnTo>
                    <a:pt x="92" y="28"/>
                  </a:lnTo>
                  <a:lnTo>
                    <a:pt x="92" y="27"/>
                  </a:lnTo>
                  <a:lnTo>
                    <a:pt x="91" y="27"/>
                  </a:lnTo>
                  <a:lnTo>
                    <a:pt x="89" y="27"/>
                  </a:lnTo>
                  <a:lnTo>
                    <a:pt x="91" y="25"/>
                  </a:lnTo>
                  <a:lnTo>
                    <a:pt x="91" y="27"/>
                  </a:lnTo>
                  <a:lnTo>
                    <a:pt x="92" y="27"/>
                  </a:lnTo>
                  <a:lnTo>
                    <a:pt x="92" y="25"/>
                  </a:lnTo>
                  <a:lnTo>
                    <a:pt x="93" y="25"/>
                  </a:lnTo>
                  <a:lnTo>
                    <a:pt x="94" y="25"/>
                  </a:lnTo>
                  <a:lnTo>
                    <a:pt x="96" y="25"/>
                  </a:lnTo>
                  <a:lnTo>
                    <a:pt x="97" y="25"/>
                  </a:lnTo>
                  <a:lnTo>
                    <a:pt x="96" y="25"/>
                  </a:lnTo>
                  <a:lnTo>
                    <a:pt x="96" y="24"/>
                  </a:lnTo>
                  <a:lnTo>
                    <a:pt x="97" y="23"/>
                  </a:lnTo>
                  <a:lnTo>
                    <a:pt x="96" y="23"/>
                  </a:lnTo>
                  <a:lnTo>
                    <a:pt x="96" y="24"/>
                  </a:lnTo>
                  <a:lnTo>
                    <a:pt x="94" y="24"/>
                  </a:lnTo>
                  <a:lnTo>
                    <a:pt x="94" y="25"/>
                  </a:lnTo>
                  <a:lnTo>
                    <a:pt x="94" y="24"/>
                  </a:lnTo>
                  <a:lnTo>
                    <a:pt x="93" y="25"/>
                  </a:lnTo>
                  <a:lnTo>
                    <a:pt x="93" y="24"/>
                  </a:lnTo>
                  <a:lnTo>
                    <a:pt x="92" y="24"/>
                  </a:lnTo>
                  <a:lnTo>
                    <a:pt x="93" y="24"/>
                  </a:lnTo>
                  <a:lnTo>
                    <a:pt x="94" y="24"/>
                  </a:lnTo>
                  <a:lnTo>
                    <a:pt x="94" y="23"/>
                  </a:lnTo>
                  <a:lnTo>
                    <a:pt x="96" y="23"/>
                  </a:lnTo>
                  <a:lnTo>
                    <a:pt x="97" y="22"/>
                  </a:lnTo>
                  <a:lnTo>
                    <a:pt x="98" y="22"/>
                  </a:lnTo>
                  <a:lnTo>
                    <a:pt x="97" y="22"/>
                  </a:lnTo>
                  <a:lnTo>
                    <a:pt x="97" y="21"/>
                  </a:lnTo>
                  <a:lnTo>
                    <a:pt x="98" y="21"/>
                  </a:lnTo>
                  <a:lnTo>
                    <a:pt x="97" y="21"/>
                  </a:lnTo>
                  <a:lnTo>
                    <a:pt x="97" y="19"/>
                  </a:lnTo>
                  <a:lnTo>
                    <a:pt x="97" y="18"/>
                  </a:lnTo>
                  <a:lnTo>
                    <a:pt x="96" y="17"/>
                  </a:lnTo>
                  <a:lnTo>
                    <a:pt x="96" y="16"/>
                  </a:lnTo>
                  <a:lnTo>
                    <a:pt x="97" y="16"/>
                  </a:lnTo>
                  <a:lnTo>
                    <a:pt x="96" y="15"/>
                  </a:lnTo>
                  <a:lnTo>
                    <a:pt x="96" y="16"/>
                  </a:lnTo>
                  <a:lnTo>
                    <a:pt x="94" y="15"/>
                  </a:lnTo>
                  <a:lnTo>
                    <a:pt x="96" y="15"/>
                  </a:lnTo>
                  <a:lnTo>
                    <a:pt x="94" y="15"/>
                  </a:lnTo>
                  <a:lnTo>
                    <a:pt x="96" y="15"/>
                  </a:lnTo>
                  <a:lnTo>
                    <a:pt x="97" y="13"/>
                  </a:lnTo>
                  <a:lnTo>
                    <a:pt x="97" y="15"/>
                  </a:lnTo>
                  <a:lnTo>
                    <a:pt x="97" y="13"/>
                  </a:lnTo>
                  <a:lnTo>
                    <a:pt x="98" y="13"/>
                  </a:lnTo>
                  <a:lnTo>
                    <a:pt x="97" y="13"/>
                  </a:lnTo>
                  <a:lnTo>
                    <a:pt x="96" y="13"/>
                  </a:lnTo>
                  <a:lnTo>
                    <a:pt x="96" y="12"/>
                  </a:lnTo>
                  <a:lnTo>
                    <a:pt x="96" y="13"/>
                  </a:lnTo>
                  <a:lnTo>
                    <a:pt x="94" y="13"/>
                  </a:lnTo>
                  <a:lnTo>
                    <a:pt x="94" y="12"/>
                  </a:lnTo>
                  <a:lnTo>
                    <a:pt x="96" y="12"/>
                  </a:lnTo>
                  <a:lnTo>
                    <a:pt x="94" y="12"/>
                  </a:lnTo>
                  <a:lnTo>
                    <a:pt x="94" y="13"/>
                  </a:lnTo>
                  <a:lnTo>
                    <a:pt x="94" y="12"/>
                  </a:lnTo>
                  <a:lnTo>
                    <a:pt x="93" y="12"/>
                  </a:lnTo>
                  <a:lnTo>
                    <a:pt x="93" y="13"/>
                  </a:lnTo>
                  <a:lnTo>
                    <a:pt x="92" y="12"/>
                  </a:lnTo>
                  <a:lnTo>
                    <a:pt x="93" y="12"/>
                  </a:lnTo>
                  <a:lnTo>
                    <a:pt x="92" y="12"/>
                  </a:lnTo>
                  <a:lnTo>
                    <a:pt x="92" y="11"/>
                  </a:lnTo>
                  <a:lnTo>
                    <a:pt x="91" y="11"/>
                  </a:lnTo>
                  <a:lnTo>
                    <a:pt x="92" y="11"/>
                  </a:lnTo>
                  <a:lnTo>
                    <a:pt x="93" y="11"/>
                  </a:lnTo>
                  <a:lnTo>
                    <a:pt x="94" y="11"/>
                  </a:lnTo>
                  <a:lnTo>
                    <a:pt x="93" y="11"/>
                  </a:lnTo>
                  <a:lnTo>
                    <a:pt x="93" y="10"/>
                  </a:lnTo>
                  <a:lnTo>
                    <a:pt x="94" y="10"/>
                  </a:lnTo>
                  <a:lnTo>
                    <a:pt x="94" y="11"/>
                  </a:lnTo>
                  <a:lnTo>
                    <a:pt x="96" y="11"/>
                  </a:lnTo>
                  <a:lnTo>
                    <a:pt x="96" y="12"/>
                  </a:lnTo>
                  <a:lnTo>
                    <a:pt x="97" y="12"/>
                  </a:lnTo>
                  <a:lnTo>
                    <a:pt x="97" y="11"/>
                  </a:lnTo>
                  <a:lnTo>
                    <a:pt x="96" y="12"/>
                  </a:lnTo>
                  <a:lnTo>
                    <a:pt x="96" y="11"/>
                  </a:lnTo>
                  <a:lnTo>
                    <a:pt x="96" y="10"/>
                  </a:lnTo>
                  <a:lnTo>
                    <a:pt x="94" y="10"/>
                  </a:lnTo>
                  <a:lnTo>
                    <a:pt x="93" y="10"/>
                  </a:lnTo>
                  <a:lnTo>
                    <a:pt x="93" y="9"/>
                  </a:lnTo>
                  <a:lnTo>
                    <a:pt x="96" y="9"/>
                  </a:lnTo>
                  <a:lnTo>
                    <a:pt x="94" y="9"/>
                  </a:lnTo>
                  <a:lnTo>
                    <a:pt x="93" y="9"/>
                  </a:lnTo>
                  <a:lnTo>
                    <a:pt x="93" y="7"/>
                  </a:lnTo>
                  <a:lnTo>
                    <a:pt x="94" y="7"/>
                  </a:lnTo>
                  <a:lnTo>
                    <a:pt x="94" y="9"/>
                  </a:lnTo>
                  <a:lnTo>
                    <a:pt x="93" y="6"/>
                  </a:lnTo>
                  <a:lnTo>
                    <a:pt x="92" y="5"/>
                  </a:lnTo>
                  <a:lnTo>
                    <a:pt x="91" y="4"/>
                  </a:lnTo>
                  <a:lnTo>
                    <a:pt x="92" y="4"/>
                  </a:lnTo>
                  <a:lnTo>
                    <a:pt x="93" y="5"/>
                  </a:lnTo>
                  <a:lnTo>
                    <a:pt x="94" y="6"/>
                  </a:lnTo>
                  <a:lnTo>
                    <a:pt x="94" y="7"/>
                  </a:lnTo>
                  <a:lnTo>
                    <a:pt x="96" y="7"/>
                  </a:lnTo>
                  <a:lnTo>
                    <a:pt x="96" y="9"/>
                  </a:lnTo>
                  <a:lnTo>
                    <a:pt x="97" y="9"/>
                  </a:lnTo>
                  <a:lnTo>
                    <a:pt x="97" y="7"/>
                  </a:lnTo>
                  <a:lnTo>
                    <a:pt x="98" y="7"/>
                  </a:lnTo>
                  <a:lnTo>
                    <a:pt x="98" y="6"/>
                  </a:lnTo>
                  <a:lnTo>
                    <a:pt x="98" y="7"/>
                  </a:lnTo>
                  <a:lnTo>
                    <a:pt x="97" y="7"/>
                  </a:lnTo>
                  <a:lnTo>
                    <a:pt x="97" y="9"/>
                  </a:lnTo>
                  <a:lnTo>
                    <a:pt x="97" y="10"/>
                  </a:lnTo>
                  <a:lnTo>
                    <a:pt x="98" y="10"/>
                  </a:lnTo>
                  <a:lnTo>
                    <a:pt x="98" y="9"/>
                  </a:lnTo>
                  <a:lnTo>
                    <a:pt x="98" y="10"/>
                  </a:lnTo>
                  <a:lnTo>
                    <a:pt x="97" y="10"/>
                  </a:lnTo>
                  <a:lnTo>
                    <a:pt x="97" y="11"/>
                  </a:lnTo>
                  <a:lnTo>
                    <a:pt x="98" y="11"/>
                  </a:lnTo>
                  <a:lnTo>
                    <a:pt x="98" y="10"/>
                  </a:lnTo>
                  <a:lnTo>
                    <a:pt x="98" y="11"/>
                  </a:lnTo>
                  <a:lnTo>
                    <a:pt x="97" y="12"/>
                  </a:lnTo>
                  <a:lnTo>
                    <a:pt x="98" y="12"/>
                  </a:lnTo>
                  <a:lnTo>
                    <a:pt x="98" y="11"/>
                  </a:lnTo>
                  <a:lnTo>
                    <a:pt x="99" y="11"/>
                  </a:lnTo>
                  <a:lnTo>
                    <a:pt x="99" y="10"/>
                  </a:lnTo>
                  <a:lnTo>
                    <a:pt x="98" y="10"/>
                  </a:lnTo>
                  <a:lnTo>
                    <a:pt x="99" y="10"/>
                  </a:lnTo>
                  <a:lnTo>
                    <a:pt x="99" y="9"/>
                  </a:lnTo>
                  <a:lnTo>
                    <a:pt x="98" y="9"/>
                  </a:lnTo>
                  <a:lnTo>
                    <a:pt x="97" y="9"/>
                  </a:lnTo>
                  <a:lnTo>
                    <a:pt x="98" y="9"/>
                  </a:lnTo>
                  <a:lnTo>
                    <a:pt x="99" y="9"/>
                  </a:lnTo>
                  <a:lnTo>
                    <a:pt x="99" y="7"/>
                  </a:lnTo>
                  <a:lnTo>
                    <a:pt x="99" y="6"/>
                  </a:lnTo>
                  <a:lnTo>
                    <a:pt x="99" y="5"/>
                  </a:lnTo>
                  <a:lnTo>
                    <a:pt x="99" y="4"/>
                  </a:lnTo>
                  <a:lnTo>
                    <a:pt x="100" y="4"/>
                  </a:lnTo>
                  <a:lnTo>
                    <a:pt x="100" y="5"/>
                  </a:lnTo>
                  <a:lnTo>
                    <a:pt x="100" y="6"/>
                  </a:lnTo>
                  <a:lnTo>
                    <a:pt x="100" y="7"/>
                  </a:lnTo>
                  <a:lnTo>
                    <a:pt x="100" y="9"/>
                  </a:lnTo>
                  <a:lnTo>
                    <a:pt x="99" y="10"/>
                  </a:lnTo>
                  <a:lnTo>
                    <a:pt x="99" y="11"/>
                  </a:lnTo>
                  <a:lnTo>
                    <a:pt x="100" y="10"/>
                  </a:lnTo>
                  <a:lnTo>
                    <a:pt x="100" y="11"/>
                  </a:lnTo>
                  <a:lnTo>
                    <a:pt x="102" y="11"/>
                  </a:lnTo>
                  <a:lnTo>
                    <a:pt x="102" y="10"/>
                  </a:lnTo>
                  <a:lnTo>
                    <a:pt x="102" y="9"/>
                  </a:lnTo>
                  <a:lnTo>
                    <a:pt x="103" y="10"/>
                  </a:lnTo>
                  <a:lnTo>
                    <a:pt x="102" y="9"/>
                  </a:lnTo>
                  <a:lnTo>
                    <a:pt x="103" y="9"/>
                  </a:lnTo>
                  <a:lnTo>
                    <a:pt x="102" y="7"/>
                  </a:lnTo>
                  <a:lnTo>
                    <a:pt x="103" y="7"/>
                  </a:lnTo>
                  <a:lnTo>
                    <a:pt x="102" y="6"/>
                  </a:lnTo>
                  <a:lnTo>
                    <a:pt x="100" y="5"/>
                  </a:lnTo>
                  <a:lnTo>
                    <a:pt x="102" y="5"/>
                  </a:lnTo>
                  <a:lnTo>
                    <a:pt x="103" y="6"/>
                  </a:lnTo>
                  <a:lnTo>
                    <a:pt x="103" y="5"/>
                  </a:lnTo>
                  <a:lnTo>
                    <a:pt x="102" y="5"/>
                  </a:lnTo>
                  <a:lnTo>
                    <a:pt x="103" y="4"/>
                  </a:lnTo>
                  <a:lnTo>
                    <a:pt x="103" y="5"/>
                  </a:lnTo>
                  <a:lnTo>
                    <a:pt x="103" y="4"/>
                  </a:lnTo>
                  <a:lnTo>
                    <a:pt x="103" y="3"/>
                  </a:lnTo>
                  <a:lnTo>
                    <a:pt x="103" y="4"/>
                  </a:lnTo>
                  <a:lnTo>
                    <a:pt x="103" y="5"/>
                  </a:lnTo>
                  <a:lnTo>
                    <a:pt x="103" y="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2" name="Freeform 65"/>
            <p:cNvSpPr>
              <a:spLocks/>
            </p:cNvSpPr>
            <p:nvPr userDrawn="1"/>
          </p:nvSpPr>
          <p:spPr bwMode="auto">
            <a:xfrm>
              <a:off x="4665663" y="6424613"/>
              <a:ext cx="95250" cy="114300"/>
            </a:xfrm>
            <a:custGeom>
              <a:avLst/>
              <a:gdLst/>
              <a:ahLst/>
              <a:cxnLst>
                <a:cxn ang="0">
                  <a:pos x="168" y="253"/>
                </a:cxn>
                <a:cxn ang="0">
                  <a:pos x="170" y="248"/>
                </a:cxn>
                <a:cxn ang="0">
                  <a:pos x="170" y="279"/>
                </a:cxn>
                <a:cxn ang="0">
                  <a:pos x="182" y="274"/>
                </a:cxn>
                <a:cxn ang="0">
                  <a:pos x="197" y="272"/>
                </a:cxn>
                <a:cxn ang="0">
                  <a:pos x="183" y="295"/>
                </a:cxn>
                <a:cxn ang="0">
                  <a:pos x="197" y="308"/>
                </a:cxn>
                <a:cxn ang="0">
                  <a:pos x="235" y="311"/>
                </a:cxn>
                <a:cxn ang="0">
                  <a:pos x="244" y="290"/>
                </a:cxn>
                <a:cxn ang="0">
                  <a:pos x="248" y="273"/>
                </a:cxn>
                <a:cxn ang="0">
                  <a:pos x="222" y="262"/>
                </a:cxn>
                <a:cxn ang="0">
                  <a:pos x="239" y="258"/>
                </a:cxn>
                <a:cxn ang="0">
                  <a:pos x="238" y="246"/>
                </a:cxn>
                <a:cxn ang="0">
                  <a:pos x="226" y="228"/>
                </a:cxn>
                <a:cxn ang="0">
                  <a:pos x="220" y="202"/>
                </a:cxn>
                <a:cxn ang="0">
                  <a:pos x="215" y="188"/>
                </a:cxn>
                <a:cxn ang="0">
                  <a:pos x="260" y="189"/>
                </a:cxn>
                <a:cxn ang="0">
                  <a:pos x="274" y="158"/>
                </a:cxn>
                <a:cxn ang="0">
                  <a:pos x="269" y="139"/>
                </a:cxn>
                <a:cxn ang="0">
                  <a:pos x="260" y="109"/>
                </a:cxn>
                <a:cxn ang="0">
                  <a:pos x="272" y="92"/>
                </a:cxn>
                <a:cxn ang="0">
                  <a:pos x="263" y="70"/>
                </a:cxn>
                <a:cxn ang="0">
                  <a:pos x="253" y="56"/>
                </a:cxn>
                <a:cxn ang="0">
                  <a:pos x="224" y="26"/>
                </a:cxn>
                <a:cxn ang="0">
                  <a:pos x="197" y="14"/>
                </a:cxn>
                <a:cxn ang="0">
                  <a:pos x="186" y="28"/>
                </a:cxn>
                <a:cxn ang="0">
                  <a:pos x="182" y="50"/>
                </a:cxn>
                <a:cxn ang="0">
                  <a:pos x="170" y="54"/>
                </a:cxn>
                <a:cxn ang="0">
                  <a:pos x="170" y="33"/>
                </a:cxn>
                <a:cxn ang="0">
                  <a:pos x="155" y="14"/>
                </a:cxn>
                <a:cxn ang="0">
                  <a:pos x="126" y="15"/>
                </a:cxn>
                <a:cxn ang="0">
                  <a:pos x="132" y="36"/>
                </a:cxn>
                <a:cxn ang="0">
                  <a:pos x="99" y="22"/>
                </a:cxn>
                <a:cxn ang="0">
                  <a:pos x="87" y="40"/>
                </a:cxn>
                <a:cxn ang="0">
                  <a:pos x="97" y="52"/>
                </a:cxn>
                <a:cxn ang="0">
                  <a:pos x="71" y="59"/>
                </a:cxn>
                <a:cxn ang="0">
                  <a:pos x="102" y="76"/>
                </a:cxn>
                <a:cxn ang="0">
                  <a:pos x="116" y="75"/>
                </a:cxn>
                <a:cxn ang="0">
                  <a:pos x="111" y="92"/>
                </a:cxn>
                <a:cxn ang="0">
                  <a:pos x="85" y="111"/>
                </a:cxn>
                <a:cxn ang="0">
                  <a:pos x="58" y="95"/>
                </a:cxn>
                <a:cxn ang="0">
                  <a:pos x="37" y="99"/>
                </a:cxn>
                <a:cxn ang="0">
                  <a:pos x="53" y="134"/>
                </a:cxn>
                <a:cxn ang="0">
                  <a:pos x="50" y="148"/>
                </a:cxn>
                <a:cxn ang="0">
                  <a:pos x="26" y="154"/>
                </a:cxn>
                <a:cxn ang="0">
                  <a:pos x="5" y="161"/>
                </a:cxn>
                <a:cxn ang="0">
                  <a:pos x="2" y="178"/>
                </a:cxn>
                <a:cxn ang="0">
                  <a:pos x="30" y="188"/>
                </a:cxn>
                <a:cxn ang="0">
                  <a:pos x="57" y="192"/>
                </a:cxn>
                <a:cxn ang="0">
                  <a:pos x="68" y="201"/>
                </a:cxn>
                <a:cxn ang="0">
                  <a:pos x="32" y="222"/>
                </a:cxn>
                <a:cxn ang="0">
                  <a:pos x="33" y="240"/>
                </a:cxn>
                <a:cxn ang="0">
                  <a:pos x="71" y="235"/>
                </a:cxn>
                <a:cxn ang="0">
                  <a:pos x="71" y="244"/>
                </a:cxn>
                <a:cxn ang="0">
                  <a:pos x="55" y="266"/>
                </a:cxn>
                <a:cxn ang="0">
                  <a:pos x="91" y="271"/>
                </a:cxn>
                <a:cxn ang="0">
                  <a:pos x="97" y="250"/>
                </a:cxn>
                <a:cxn ang="0">
                  <a:pos x="103" y="230"/>
                </a:cxn>
                <a:cxn ang="0">
                  <a:pos x="123" y="262"/>
                </a:cxn>
                <a:cxn ang="0">
                  <a:pos x="120" y="232"/>
                </a:cxn>
                <a:cxn ang="0">
                  <a:pos x="126" y="237"/>
                </a:cxn>
                <a:cxn ang="0">
                  <a:pos x="140" y="229"/>
                </a:cxn>
                <a:cxn ang="0">
                  <a:pos x="151" y="232"/>
                </a:cxn>
              </a:cxnLst>
              <a:rect l="0" t="0" r="r" b="b"/>
              <a:pathLst>
                <a:path w="297" h="363">
                  <a:moveTo>
                    <a:pt x="197" y="360"/>
                  </a:moveTo>
                  <a:lnTo>
                    <a:pt x="195" y="360"/>
                  </a:lnTo>
                  <a:lnTo>
                    <a:pt x="182" y="361"/>
                  </a:lnTo>
                  <a:lnTo>
                    <a:pt x="175" y="360"/>
                  </a:lnTo>
                  <a:lnTo>
                    <a:pt x="174" y="355"/>
                  </a:lnTo>
                  <a:lnTo>
                    <a:pt x="174" y="350"/>
                  </a:lnTo>
                  <a:lnTo>
                    <a:pt x="174" y="348"/>
                  </a:lnTo>
                  <a:lnTo>
                    <a:pt x="173" y="339"/>
                  </a:lnTo>
                  <a:lnTo>
                    <a:pt x="170" y="313"/>
                  </a:lnTo>
                  <a:lnTo>
                    <a:pt x="170" y="308"/>
                  </a:lnTo>
                  <a:lnTo>
                    <a:pt x="169" y="301"/>
                  </a:lnTo>
                  <a:lnTo>
                    <a:pt x="169" y="295"/>
                  </a:lnTo>
                  <a:lnTo>
                    <a:pt x="168" y="290"/>
                  </a:lnTo>
                  <a:lnTo>
                    <a:pt x="168" y="285"/>
                  </a:lnTo>
                  <a:lnTo>
                    <a:pt x="167" y="280"/>
                  </a:lnTo>
                  <a:lnTo>
                    <a:pt x="167" y="278"/>
                  </a:lnTo>
                  <a:lnTo>
                    <a:pt x="168" y="278"/>
                  </a:lnTo>
                  <a:lnTo>
                    <a:pt x="169" y="279"/>
                  </a:lnTo>
                  <a:lnTo>
                    <a:pt x="170" y="279"/>
                  </a:lnTo>
                  <a:lnTo>
                    <a:pt x="170" y="278"/>
                  </a:lnTo>
                  <a:lnTo>
                    <a:pt x="169" y="277"/>
                  </a:lnTo>
                  <a:lnTo>
                    <a:pt x="169" y="276"/>
                  </a:lnTo>
                  <a:lnTo>
                    <a:pt x="168" y="277"/>
                  </a:lnTo>
                  <a:lnTo>
                    <a:pt x="168" y="276"/>
                  </a:lnTo>
                  <a:lnTo>
                    <a:pt x="168" y="274"/>
                  </a:lnTo>
                  <a:lnTo>
                    <a:pt x="169" y="274"/>
                  </a:lnTo>
                  <a:lnTo>
                    <a:pt x="170" y="274"/>
                  </a:lnTo>
                  <a:lnTo>
                    <a:pt x="170" y="273"/>
                  </a:lnTo>
                  <a:lnTo>
                    <a:pt x="171" y="272"/>
                  </a:lnTo>
                  <a:lnTo>
                    <a:pt x="171" y="271"/>
                  </a:lnTo>
                  <a:lnTo>
                    <a:pt x="170" y="271"/>
                  </a:lnTo>
                  <a:lnTo>
                    <a:pt x="170" y="272"/>
                  </a:lnTo>
                  <a:lnTo>
                    <a:pt x="169" y="273"/>
                  </a:lnTo>
                  <a:lnTo>
                    <a:pt x="168" y="273"/>
                  </a:lnTo>
                  <a:lnTo>
                    <a:pt x="167" y="273"/>
                  </a:lnTo>
                  <a:lnTo>
                    <a:pt x="167" y="271"/>
                  </a:lnTo>
                  <a:lnTo>
                    <a:pt x="167" y="264"/>
                  </a:lnTo>
                  <a:lnTo>
                    <a:pt x="167" y="261"/>
                  </a:lnTo>
                  <a:lnTo>
                    <a:pt x="168" y="261"/>
                  </a:lnTo>
                  <a:lnTo>
                    <a:pt x="168" y="260"/>
                  </a:lnTo>
                  <a:lnTo>
                    <a:pt x="168" y="259"/>
                  </a:lnTo>
                  <a:lnTo>
                    <a:pt x="167" y="258"/>
                  </a:lnTo>
                  <a:lnTo>
                    <a:pt x="167" y="255"/>
                  </a:lnTo>
                  <a:lnTo>
                    <a:pt x="167" y="253"/>
                  </a:lnTo>
                  <a:lnTo>
                    <a:pt x="165" y="252"/>
                  </a:lnTo>
                  <a:lnTo>
                    <a:pt x="167" y="252"/>
                  </a:lnTo>
                  <a:lnTo>
                    <a:pt x="167" y="250"/>
                  </a:lnTo>
                  <a:lnTo>
                    <a:pt x="167" y="248"/>
                  </a:lnTo>
                  <a:lnTo>
                    <a:pt x="167" y="247"/>
                  </a:lnTo>
                  <a:lnTo>
                    <a:pt x="167" y="246"/>
                  </a:lnTo>
                  <a:lnTo>
                    <a:pt x="165" y="246"/>
                  </a:lnTo>
                  <a:lnTo>
                    <a:pt x="167" y="243"/>
                  </a:lnTo>
                  <a:lnTo>
                    <a:pt x="167" y="244"/>
                  </a:lnTo>
                  <a:lnTo>
                    <a:pt x="167" y="246"/>
                  </a:lnTo>
                  <a:lnTo>
                    <a:pt x="168" y="244"/>
                  </a:lnTo>
                  <a:lnTo>
                    <a:pt x="168" y="243"/>
                  </a:lnTo>
                  <a:lnTo>
                    <a:pt x="167" y="242"/>
                  </a:lnTo>
                  <a:lnTo>
                    <a:pt x="167" y="238"/>
                  </a:lnTo>
                  <a:lnTo>
                    <a:pt x="167" y="236"/>
                  </a:lnTo>
                  <a:lnTo>
                    <a:pt x="167" y="235"/>
                  </a:lnTo>
                  <a:lnTo>
                    <a:pt x="168" y="234"/>
                  </a:lnTo>
                  <a:lnTo>
                    <a:pt x="168" y="232"/>
                  </a:lnTo>
                  <a:lnTo>
                    <a:pt x="169" y="231"/>
                  </a:lnTo>
                  <a:lnTo>
                    <a:pt x="170" y="231"/>
                  </a:lnTo>
                  <a:lnTo>
                    <a:pt x="170" y="232"/>
                  </a:lnTo>
                  <a:lnTo>
                    <a:pt x="170" y="234"/>
                  </a:lnTo>
                  <a:lnTo>
                    <a:pt x="170" y="235"/>
                  </a:lnTo>
                  <a:lnTo>
                    <a:pt x="169" y="236"/>
                  </a:lnTo>
                  <a:lnTo>
                    <a:pt x="169" y="237"/>
                  </a:lnTo>
                  <a:lnTo>
                    <a:pt x="169" y="241"/>
                  </a:lnTo>
                  <a:lnTo>
                    <a:pt x="169" y="244"/>
                  </a:lnTo>
                  <a:lnTo>
                    <a:pt x="169" y="247"/>
                  </a:lnTo>
                  <a:lnTo>
                    <a:pt x="169" y="249"/>
                  </a:lnTo>
                  <a:lnTo>
                    <a:pt x="169" y="250"/>
                  </a:lnTo>
                  <a:lnTo>
                    <a:pt x="168" y="253"/>
                  </a:lnTo>
                  <a:lnTo>
                    <a:pt x="169" y="253"/>
                  </a:lnTo>
                  <a:lnTo>
                    <a:pt x="169" y="254"/>
                  </a:lnTo>
                  <a:lnTo>
                    <a:pt x="168" y="254"/>
                  </a:lnTo>
                  <a:lnTo>
                    <a:pt x="169" y="254"/>
                  </a:lnTo>
                  <a:lnTo>
                    <a:pt x="169" y="255"/>
                  </a:lnTo>
                  <a:lnTo>
                    <a:pt x="169" y="256"/>
                  </a:lnTo>
                  <a:lnTo>
                    <a:pt x="169" y="258"/>
                  </a:lnTo>
                  <a:lnTo>
                    <a:pt x="169" y="259"/>
                  </a:lnTo>
                  <a:lnTo>
                    <a:pt x="169" y="260"/>
                  </a:lnTo>
                  <a:lnTo>
                    <a:pt x="169" y="261"/>
                  </a:lnTo>
                  <a:lnTo>
                    <a:pt x="169" y="262"/>
                  </a:lnTo>
                  <a:lnTo>
                    <a:pt x="169" y="264"/>
                  </a:lnTo>
                  <a:lnTo>
                    <a:pt x="169" y="265"/>
                  </a:lnTo>
                  <a:lnTo>
                    <a:pt x="169" y="266"/>
                  </a:lnTo>
                  <a:lnTo>
                    <a:pt x="168" y="267"/>
                  </a:lnTo>
                  <a:lnTo>
                    <a:pt x="168" y="268"/>
                  </a:lnTo>
                  <a:lnTo>
                    <a:pt x="169" y="270"/>
                  </a:lnTo>
                  <a:lnTo>
                    <a:pt x="169" y="271"/>
                  </a:lnTo>
                  <a:lnTo>
                    <a:pt x="170" y="271"/>
                  </a:lnTo>
                  <a:lnTo>
                    <a:pt x="170" y="270"/>
                  </a:lnTo>
                  <a:lnTo>
                    <a:pt x="170" y="268"/>
                  </a:lnTo>
                  <a:lnTo>
                    <a:pt x="170" y="267"/>
                  </a:lnTo>
                  <a:lnTo>
                    <a:pt x="170" y="268"/>
                  </a:lnTo>
                  <a:lnTo>
                    <a:pt x="170" y="270"/>
                  </a:lnTo>
                  <a:lnTo>
                    <a:pt x="171" y="268"/>
                  </a:lnTo>
                  <a:lnTo>
                    <a:pt x="171" y="267"/>
                  </a:lnTo>
                  <a:lnTo>
                    <a:pt x="171" y="266"/>
                  </a:lnTo>
                  <a:lnTo>
                    <a:pt x="171" y="265"/>
                  </a:lnTo>
                  <a:lnTo>
                    <a:pt x="171" y="264"/>
                  </a:lnTo>
                  <a:lnTo>
                    <a:pt x="170" y="264"/>
                  </a:lnTo>
                  <a:lnTo>
                    <a:pt x="170" y="262"/>
                  </a:lnTo>
                  <a:lnTo>
                    <a:pt x="171" y="264"/>
                  </a:lnTo>
                  <a:lnTo>
                    <a:pt x="173" y="264"/>
                  </a:lnTo>
                  <a:lnTo>
                    <a:pt x="174" y="265"/>
                  </a:lnTo>
                  <a:lnTo>
                    <a:pt x="173" y="266"/>
                  </a:lnTo>
                  <a:lnTo>
                    <a:pt x="173" y="267"/>
                  </a:lnTo>
                  <a:lnTo>
                    <a:pt x="174" y="266"/>
                  </a:lnTo>
                  <a:lnTo>
                    <a:pt x="174" y="267"/>
                  </a:lnTo>
                  <a:lnTo>
                    <a:pt x="175" y="268"/>
                  </a:lnTo>
                  <a:lnTo>
                    <a:pt x="176" y="268"/>
                  </a:lnTo>
                  <a:lnTo>
                    <a:pt x="177" y="267"/>
                  </a:lnTo>
                  <a:lnTo>
                    <a:pt x="176" y="266"/>
                  </a:lnTo>
                  <a:lnTo>
                    <a:pt x="175" y="266"/>
                  </a:lnTo>
                  <a:lnTo>
                    <a:pt x="176" y="266"/>
                  </a:lnTo>
                  <a:lnTo>
                    <a:pt x="177" y="266"/>
                  </a:lnTo>
                  <a:lnTo>
                    <a:pt x="179" y="265"/>
                  </a:lnTo>
                  <a:lnTo>
                    <a:pt x="179" y="264"/>
                  </a:lnTo>
                  <a:lnTo>
                    <a:pt x="177" y="262"/>
                  </a:lnTo>
                  <a:lnTo>
                    <a:pt x="177" y="264"/>
                  </a:lnTo>
                  <a:lnTo>
                    <a:pt x="176" y="264"/>
                  </a:lnTo>
                  <a:lnTo>
                    <a:pt x="175" y="264"/>
                  </a:lnTo>
                  <a:lnTo>
                    <a:pt x="174" y="264"/>
                  </a:lnTo>
                  <a:lnTo>
                    <a:pt x="175" y="262"/>
                  </a:lnTo>
                  <a:lnTo>
                    <a:pt x="175" y="261"/>
                  </a:lnTo>
                  <a:lnTo>
                    <a:pt x="174" y="261"/>
                  </a:lnTo>
                  <a:lnTo>
                    <a:pt x="173" y="262"/>
                  </a:lnTo>
                  <a:lnTo>
                    <a:pt x="173" y="261"/>
                  </a:lnTo>
                  <a:lnTo>
                    <a:pt x="171" y="260"/>
                  </a:lnTo>
                  <a:lnTo>
                    <a:pt x="170" y="259"/>
                  </a:lnTo>
                  <a:lnTo>
                    <a:pt x="170" y="258"/>
                  </a:lnTo>
                  <a:lnTo>
                    <a:pt x="170" y="256"/>
                  </a:lnTo>
                  <a:lnTo>
                    <a:pt x="171" y="256"/>
                  </a:lnTo>
                  <a:lnTo>
                    <a:pt x="171" y="258"/>
                  </a:lnTo>
                  <a:lnTo>
                    <a:pt x="171" y="259"/>
                  </a:lnTo>
                  <a:lnTo>
                    <a:pt x="171" y="258"/>
                  </a:lnTo>
                  <a:lnTo>
                    <a:pt x="171" y="256"/>
                  </a:lnTo>
                  <a:lnTo>
                    <a:pt x="171" y="255"/>
                  </a:lnTo>
                  <a:lnTo>
                    <a:pt x="171" y="254"/>
                  </a:lnTo>
                  <a:lnTo>
                    <a:pt x="170" y="254"/>
                  </a:lnTo>
                  <a:lnTo>
                    <a:pt x="170" y="253"/>
                  </a:lnTo>
                  <a:lnTo>
                    <a:pt x="170" y="252"/>
                  </a:lnTo>
                  <a:lnTo>
                    <a:pt x="169" y="250"/>
                  </a:lnTo>
                  <a:lnTo>
                    <a:pt x="169" y="249"/>
                  </a:lnTo>
                  <a:lnTo>
                    <a:pt x="169" y="248"/>
                  </a:lnTo>
                  <a:lnTo>
                    <a:pt x="170" y="248"/>
                  </a:lnTo>
                  <a:lnTo>
                    <a:pt x="171" y="248"/>
                  </a:lnTo>
                  <a:lnTo>
                    <a:pt x="171" y="249"/>
                  </a:lnTo>
                  <a:lnTo>
                    <a:pt x="173" y="250"/>
                  </a:lnTo>
                  <a:lnTo>
                    <a:pt x="174" y="252"/>
                  </a:lnTo>
                  <a:lnTo>
                    <a:pt x="175" y="253"/>
                  </a:lnTo>
                  <a:lnTo>
                    <a:pt x="174" y="254"/>
                  </a:lnTo>
                  <a:lnTo>
                    <a:pt x="174" y="253"/>
                  </a:lnTo>
                  <a:lnTo>
                    <a:pt x="173" y="253"/>
                  </a:lnTo>
                  <a:lnTo>
                    <a:pt x="173" y="254"/>
                  </a:lnTo>
                  <a:lnTo>
                    <a:pt x="174" y="255"/>
                  </a:lnTo>
                  <a:lnTo>
                    <a:pt x="173" y="256"/>
                  </a:lnTo>
                  <a:lnTo>
                    <a:pt x="173" y="258"/>
                  </a:lnTo>
                  <a:lnTo>
                    <a:pt x="174" y="256"/>
                  </a:lnTo>
                  <a:lnTo>
                    <a:pt x="175" y="255"/>
                  </a:lnTo>
                  <a:lnTo>
                    <a:pt x="176" y="255"/>
                  </a:lnTo>
                  <a:lnTo>
                    <a:pt x="176" y="256"/>
                  </a:lnTo>
                  <a:lnTo>
                    <a:pt x="175" y="256"/>
                  </a:lnTo>
                  <a:lnTo>
                    <a:pt x="173" y="258"/>
                  </a:lnTo>
                  <a:lnTo>
                    <a:pt x="173" y="259"/>
                  </a:lnTo>
                  <a:lnTo>
                    <a:pt x="174" y="259"/>
                  </a:lnTo>
                  <a:lnTo>
                    <a:pt x="174" y="258"/>
                  </a:lnTo>
                  <a:lnTo>
                    <a:pt x="175" y="258"/>
                  </a:lnTo>
                  <a:lnTo>
                    <a:pt x="176" y="258"/>
                  </a:lnTo>
                  <a:lnTo>
                    <a:pt x="177" y="258"/>
                  </a:lnTo>
                  <a:lnTo>
                    <a:pt x="179" y="258"/>
                  </a:lnTo>
                  <a:lnTo>
                    <a:pt x="180" y="256"/>
                  </a:lnTo>
                  <a:lnTo>
                    <a:pt x="181" y="258"/>
                  </a:lnTo>
                  <a:lnTo>
                    <a:pt x="180" y="258"/>
                  </a:lnTo>
                  <a:lnTo>
                    <a:pt x="179" y="259"/>
                  </a:lnTo>
                  <a:lnTo>
                    <a:pt x="177" y="259"/>
                  </a:lnTo>
                  <a:lnTo>
                    <a:pt x="176" y="259"/>
                  </a:lnTo>
                  <a:lnTo>
                    <a:pt x="177" y="260"/>
                  </a:lnTo>
                  <a:lnTo>
                    <a:pt x="179" y="260"/>
                  </a:lnTo>
                  <a:lnTo>
                    <a:pt x="180" y="260"/>
                  </a:lnTo>
                  <a:lnTo>
                    <a:pt x="179" y="261"/>
                  </a:lnTo>
                  <a:lnTo>
                    <a:pt x="177" y="260"/>
                  </a:lnTo>
                  <a:lnTo>
                    <a:pt x="176" y="260"/>
                  </a:lnTo>
                  <a:lnTo>
                    <a:pt x="175" y="260"/>
                  </a:lnTo>
                  <a:lnTo>
                    <a:pt x="174" y="260"/>
                  </a:lnTo>
                  <a:lnTo>
                    <a:pt x="173" y="260"/>
                  </a:lnTo>
                  <a:lnTo>
                    <a:pt x="174" y="261"/>
                  </a:lnTo>
                  <a:lnTo>
                    <a:pt x="175" y="261"/>
                  </a:lnTo>
                  <a:lnTo>
                    <a:pt x="176" y="261"/>
                  </a:lnTo>
                  <a:lnTo>
                    <a:pt x="176" y="262"/>
                  </a:lnTo>
                  <a:lnTo>
                    <a:pt x="177" y="262"/>
                  </a:lnTo>
                  <a:lnTo>
                    <a:pt x="179" y="262"/>
                  </a:lnTo>
                  <a:lnTo>
                    <a:pt x="179" y="264"/>
                  </a:lnTo>
                  <a:lnTo>
                    <a:pt x="179" y="265"/>
                  </a:lnTo>
                  <a:lnTo>
                    <a:pt x="179" y="266"/>
                  </a:lnTo>
                  <a:lnTo>
                    <a:pt x="180" y="266"/>
                  </a:lnTo>
                  <a:lnTo>
                    <a:pt x="180" y="265"/>
                  </a:lnTo>
                  <a:lnTo>
                    <a:pt x="180" y="264"/>
                  </a:lnTo>
                  <a:lnTo>
                    <a:pt x="181" y="262"/>
                  </a:lnTo>
                  <a:lnTo>
                    <a:pt x="182" y="262"/>
                  </a:lnTo>
                  <a:lnTo>
                    <a:pt x="183" y="261"/>
                  </a:lnTo>
                  <a:lnTo>
                    <a:pt x="183" y="262"/>
                  </a:lnTo>
                  <a:lnTo>
                    <a:pt x="182" y="264"/>
                  </a:lnTo>
                  <a:lnTo>
                    <a:pt x="181" y="264"/>
                  </a:lnTo>
                  <a:lnTo>
                    <a:pt x="182" y="265"/>
                  </a:lnTo>
                  <a:lnTo>
                    <a:pt x="181" y="265"/>
                  </a:lnTo>
                  <a:lnTo>
                    <a:pt x="181" y="264"/>
                  </a:lnTo>
                  <a:lnTo>
                    <a:pt x="180" y="265"/>
                  </a:lnTo>
                  <a:lnTo>
                    <a:pt x="180" y="266"/>
                  </a:lnTo>
                  <a:lnTo>
                    <a:pt x="180" y="267"/>
                  </a:lnTo>
                  <a:lnTo>
                    <a:pt x="180" y="268"/>
                  </a:lnTo>
                  <a:lnTo>
                    <a:pt x="179" y="270"/>
                  </a:lnTo>
                  <a:lnTo>
                    <a:pt x="176" y="271"/>
                  </a:lnTo>
                  <a:lnTo>
                    <a:pt x="175" y="272"/>
                  </a:lnTo>
                  <a:lnTo>
                    <a:pt x="175" y="274"/>
                  </a:lnTo>
                  <a:lnTo>
                    <a:pt x="175" y="276"/>
                  </a:lnTo>
                  <a:lnTo>
                    <a:pt x="174" y="276"/>
                  </a:lnTo>
                  <a:lnTo>
                    <a:pt x="174" y="278"/>
                  </a:lnTo>
                  <a:lnTo>
                    <a:pt x="173" y="279"/>
                  </a:lnTo>
                  <a:lnTo>
                    <a:pt x="171" y="279"/>
                  </a:lnTo>
                  <a:lnTo>
                    <a:pt x="170" y="279"/>
                  </a:lnTo>
                  <a:lnTo>
                    <a:pt x="170" y="280"/>
                  </a:lnTo>
                  <a:lnTo>
                    <a:pt x="170" y="282"/>
                  </a:lnTo>
                  <a:lnTo>
                    <a:pt x="170" y="283"/>
                  </a:lnTo>
                  <a:lnTo>
                    <a:pt x="170" y="284"/>
                  </a:lnTo>
                  <a:lnTo>
                    <a:pt x="169" y="285"/>
                  </a:lnTo>
                  <a:lnTo>
                    <a:pt x="168" y="287"/>
                  </a:lnTo>
                  <a:lnTo>
                    <a:pt x="169" y="287"/>
                  </a:lnTo>
                  <a:lnTo>
                    <a:pt x="169" y="285"/>
                  </a:lnTo>
                  <a:lnTo>
                    <a:pt x="169" y="288"/>
                  </a:lnTo>
                  <a:lnTo>
                    <a:pt x="169" y="289"/>
                  </a:lnTo>
                  <a:lnTo>
                    <a:pt x="169" y="290"/>
                  </a:lnTo>
                  <a:lnTo>
                    <a:pt x="169" y="291"/>
                  </a:lnTo>
                  <a:lnTo>
                    <a:pt x="169" y="293"/>
                  </a:lnTo>
                  <a:lnTo>
                    <a:pt x="170" y="290"/>
                  </a:lnTo>
                  <a:lnTo>
                    <a:pt x="170" y="289"/>
                  </a:lnTo>
                  <a:lnTo>
                    <a:pt x="170" y="287"/>
                  </a:lnTo>
                  <a:lnTo>
                    <a:pt x="171" y="287"/>
                  </a:lnTo>
                  <a:lnTo>
                    <a:pt x="171" y="285"/>
                  </a:lnTo>
                  <a:lnTo>
                    <a:pt x="171" y="284"/>
                  </a:lnTo>
                  <a:lnTo>
                    <a:pt x="173" y="282"/>
                  </a:lnTo>
                  <a:lnTo>
                    <a:pt x="173" y="283"/>
                  </a:lnTo>
                  <a:lnTo>
                    <a:pt x="173" y="284"/>
                  </a:lnTo>
                  <a:lnTo>
                    <a:pt x="173" y="285"/>
                  </a:lnTo>
                  <a:lnTo>
                    <a:pt x="174" y="287"/>
                  </a:lnTo>
                  <a:lnTo>
                    <a:pt x="174" y="285"/>
                  </a:lnTo>
                  <a:lnTo>
                    <a:pt x="175" y="285"/>
                  </a:lnTo>
                  <a:lnTo>
                    <a:pt x="176" y="284"/>
                  </a:lnTo>
                  <a:lnTo>
                    <a:pt x="175" y="284"/>
                  </a:lnTo>
                  <a:lnTo>
                    <a:pt x="175" y="283"/>
                  </a:lnTo>
                  <a:lnTo>
                    <a:pt x="175" y="282"/>
                  </a:lnTo>
                  <a:lnTo>
                    <a:pt x="175" y="280"/>
                  </a:lnTo>
                  <a:lnTo>
                    <a:pt x="175" y="279"/>
                  </a:lnTo>
                  <a:lnTo>
                    <a:pt x="175" y="278"/>
                  </a:lnTo>
                  <a:lnTo>
                    <a:pt x="175" y="277"/>
                  </a:lnTo>
                  <a:lnTo>
                    <a:pt x="176" y="276"/>
                  </a:lnTo>
                  <a:lnTo>
                    <a:pt x="176" y="274"/>
                  </a:lnTo>
                  <a:lnTo>
                    <a:pt x="177" y="273"/>
                  </a:lnTo>
                  <a:lnTo>
                    <a:pt x="179" y="273"/>
                  </a:lnTo>
                  <a:lnTo>
                    <a:pt x="179" y="272"/>
                  </a:lnTo>
                  <a:lnTo>
                    <a:pt x="179" y="273"/>
                  </a:lnTo>
                  <a:lnTo>
                    <a:pt x="177" y="274"/>
                  </a:lnTo>
                  <a:lnTo>
                    <a:pt x="177" y="276"/>
                  </a:lnTo>
                  <a:lnTo>
                    <a:pt x="177" y="277"/>
                  </a:lnTo>
                  <a:lnTo>
                    <a:pt x="176" y="277"/>
                  </a:lnTo>
                  <a:lnTo>
                    <a:pt x="175" y="279"/>
                  </a:lnTo>
                  <a:lnTo>
                    <a:pt x="175" y="282"/>
                  </a:lnTo>
                  <a:lnTo>
                    <a:pt x="175" y="283"/>
                  </a:lnTo>
                  <a:lnTo>
                    <a:pt x="176" y="283"/>
                  </a:lnTo>
                  <a:lnTo>
                    <a:pt x="176" y="280"/>
                  </a:lnTo>
                  <a:lnTo>
                    <a:pt x="177" y="283"/>
                  </a:lnTo>
                  <a:lnTo>
                    <a:pt x="177" y="282"/>
                  </a:lnTo>
                  <a:lnTo>
                    <a:pt x="179" y="280"/>
                  </a:lnTo>
                  <a:lnTo>
                    <a:pt x="177" y="279"/>
                  </a:lnTo>
                  <a:lnTo>
                    <a:pt x="176" y="279"/>
                  </a:lnTo>
                  <a:lnTo>
                    <a:pt x="176" y="278"/>
                  </a:lnTo>
                  <a:lnTo>
                    <a:pt x="176" y="277"/>
                  </a:lnTo>
                  <a:lnTo>
                    <a:pt x="177" y="277"/>
                  </a:lnTo>
                  <a:lnTo>
                    <a:pt x="177" y="276"/>
                  </a:lnTo>
                  <a:lnTo>
                    <a:pt x="179" y="274"/>
                  </a:lnTo>
                  <a:lnTo>
                    <a:pt x="180" y="273"/>
                  </a:lnTo>
                  <a:lnTo>
                    <a:pt x="180" y="272"/>
                  </a:lnTo>
                  <a:lnTo>
                    <a:pt x="181" y="271"/>
                  </a:lnTo>
                  <a:lnTo>
                    <a:pt x="181" y="272"/>
                  </a:lnTo>
                  <a:lnTo>
                    <a:pt x="180" y="273"/>
                  </a:lnTo>
                  <a:lnTo>
                    <a:pt x="181" y="273"/>
                  </a:lnTo>
                  <a:lnTo>
                    <a:pt x="181" y="274"/>
                  </a:lnTo>
                  <a:lnTo>
                    <a:pt x="180" y="276"/>
                  </a:lnTo>
                  <a:lnTo>
                    <a:pt x="180" y="277"/>
                  </a:lnTo>
                  <a:lnTo>
                    <a:pt x="180" y="279"/>
                  </a:lnTo>
                  <a:lnTo>
                    <a:pt x="180" y="280"/>
                  </a:lnTo>
                  <a:lnTo>
                    <a:pt x="181" y="279"/>
                  </a:lnTo>
                  <a:lnTo>
                    <a:pt x="181" y="277"/>
                  </a:lnTo>
                  <a:lnTo>
                    <a:pt x="181" y="276"/>
                  </a:lnTo>
                  <a:lnTo>
                    <a:pt x="182" y="276"/>
                  </a:lnTo>
                  <a:lnTo>
                    <a:pt x="182" y="274"/>
                  </a:lnTo>
                  <a:lnTo>
                    <a:pt x="182" y="273"/>
                  </a:lnTo>
                  <a:lnTo>
                    <a:pt x="182" y="272"/>
                  </a:lnTo>
                  <a:lnTo>
                    <a:pt x="182" y="271"/>
                  </a:lnTo>
                  <a:lnTo>
                    <a:pt x="182" y="268"/>
                  </a:lnTo>
                  <a:lnTo>
                    <a:pt x="182" y="270"/>
                  </a:lnTo>
                  <a:lnTo>
                    <a:pt x="182" y="271"/>
                  </a:lnTo>
                  <a:lnTo>
                    <a:pt x="183" y="271"/>
                  </a:lnTo>
                  <a:lnTo>
                    <a:pt x="183" y="272"/>
                  </a:lnTo>
                  <a:lnTo>
                    <a:pt x="183" y="273"/>
                  </a:lnTo>
                  <a:lnTo>
                    <a:pt x="183" y="272"/>
                  </a:lnTo>
                  <a:lnTo>
                    <a:pt x="185" y="272"/>
                  </a:lnTo>
                  <a:lnTo>
                    <a:pt x="183" y="273"/>
                  </a:lnTo>
                  <a:lnTo>
                    <a:pt x="183" y="274"/>
                  </a:lnTo>
                  <a:lnTo>
                    <a:pt x="183" y="276"/>
                  </a:lnTo>
                  <a:lnTo>
                    <a:pt x="185" y="276"/>
                  </a:lnTo>
                  <a:lnTo>
                    <a:pt x="186" y="276"/>
                  </a:lnTo>
                  <a:lnTo>
                    <a:pt x="186" y="274"/>
                  </a:lnTo>
                  <a:lnTo>
                    <a:pt x="187" y="276"/>
                  </a:lnTo>
                  <a:lnTo>
                    <a:pt x="187" y="277"/>
                  </a:lnTo>
                  <a:lnTo>
                    <a:pt x="188" y="277"/>
                  </a:lnTo>
                  <a:lnTo>
                    <a:pt x="189" y="278"/>
                  </a:lnTo>
                  <a:lnTo>
                    <a:pt x="189" y="277"/>
                  </a:lnTo>
                  <a:lnTo>
                    <a:pt x="189" y="276"/>
                  </a:lnTo>
                  <a:lnTo>
                    <a:pt x="188" y="276"/>
                  </a:lnTo>
                  <a:lnTo>
                    <a:pt x="189" y="276"/>
                  </a:lnTo>
                  <a:lnTo>
                    <a:pt x="191" y="276"/>
                  </a:lnTo>
                  <a:lnTo>
                    <a:pt x="192" y="276"/>
                  </a:lnTo>
                  <a:lnTo>
                    <a:pt x="193" y="276"/>
                  </a:lnTo>
                  <a:lnTo>
                    <a:pt x="193" y="274"/>
                  </a:lnTo>
                  <a:lnTo>
                    <a:pt x="192" y="274"/>
                  </a:lnTo>
                  <a:lnTo>
                    <a:pt x="191" y="274"/>
                  </a:lnTo>
                  <a:lnTo>
                    <a:pt x="189" y="274"/>
                  </a:lnTo>
                  <a:lnTo>
                    <a:pt x="189" y="273"/>
                  </a:lnTo>
                  <a:lnTo>
                    <a:pt x="188" y="273"/>
                  </a:lnTo>
                  <a:lnTo>
                    <a:pt x="187" y="272"/>
                  </a:lnTo>
                  <a:lnTo>
                    <a:pt x="186" y="271"/>
                  </a:lnTo>
                  <a:lnTo>
                    <a:pt x="186" y="270"/>
                  </a:lnTo>
                  <a:lnTo>
                    <a:pt x="185" y="270"/>
                  </a:lnTo>
                  <a:lnTo>
                    <a:pt x="183" y="268"/>
                  </a:lnTo>
                  <a:lnTo>
                    <a:pt x="183" y="267"/>
                  </a:lnTo>
                  <a:lnTo>
                    <a:pt x="185" y="266"/>
                  </a:lnTo>
                  <a:lnTo>
                    <a:pt x="187" y="266"/>
                  </a:lnTo>
                  <a:lnTo>
                    <a:pt x="187" y="265"/>
                  </a:lnTo>
                  <a:lnTo>
                    <a:pt x="188" y="264"/>
                  </a:lnTo>
                  <a:lnTo>
                    <a:pt x="189" y="262"/>
                  </a:lnTo>
                  <a:lnTo>
                    <a:pt x="192" y="261"/>
                  </a:lnTo>
                  <a:lnTo>
                    <a:pt x="193" y="264"/>
                  </a:lnTo>
                  <a:lnTo>
                    <a:pt x="193" y="265"/>
                  </a:lnTo>
                  <a:lnTo>
                    <a:pt x="193" y="267"/>
                  </a:lnTo>
                  <a:lnTo>
                    <a:pt x="191" y="268"/>
                  </a:lnTo>
                  <a:lnTo>
                    <a:pt x="191" y="270"/>
                  </a:lnTo>
                  <a:lnTo>
                    <a:pt x="188" y="271"/>
                  </a:lnTo>
                  <a:lnTo>
                    <a:pt x="187" y="271"/>
                  </a:lnTo>
                  <a:lnTo>
                    <a:pt x="188" y="271"/>
                  </a:lnTo>
                  <a:lnTo>
                    <a:pt x="191" y="270"/>
                  </a:lnTo>
                  <a:lnTo>
                    <a:pt x="192" y="268"/>
                  </a:lnTo>
                  <a:lnTo>
                    <a:pt x="193" y="268"/>
                  </a:lnTo>
                  <a:lnTo>
                    <a:pt x="193" y="267"/>
                  </a:lnTo>
                  <a:lnTo>
                    <a:pt x="193" y="270"/>
                  </a:lnTo>
                  <a:lnTo>
                    <a:pt x="193" y="271"/>
                  </a:lnTo>
                  <a:lnTo>
                    <a:pt x="193" y="273"/>
                  </a:lnTo>
                  <a:lnTo>
                    <a:pt x="193" y="271"/>
                  </a:lnTo>
                  <a:lnTo>
                    <a:pt x="193" y="270"/>
                  </a:lnTo>
                  <a:lnTo>
                    <a:pt x="194" y="268"/>
                  </a:lnTo>
                  <a:lnTo>
                    <a:pt x="194" y="267"/>
                  </a:lnTo>
                  <a:lnTo>
                    <a:pt x="195" y="267"/>
                  </a:lnTo>
                  <a:lnTo>
                    <a:pt x="195" y="266"/>
                  </a:lnTo>
                  <a:lnTo>
                    <a:pt x="195" y="265"/>
                  </a:lnTo>
                  <a:lnTo>
                    <a:pt x="194" y="264"/>
                  </a:lnTo>
                  <a:lnTo>
                    <a:pt x="195" y="264"/>
                  </a:lnTo>
                  <a:lnTo>
                    <a:pt x="197" y="266"/>
                  </a:lnTo>
                  <a:lnTo>
                    <a:pt x="198" y="266"/>
                  </a:lnTo>
                  <a:lnTo>
                    <a:pt x="198" y="267"/>
                  </a:lnTo>
                  <a:lnTo>
                    <a:pt x="198" y="270"/>
                  </a:lnTo>
                  <a:lnTo>
                    <a:pt x="197" y="272"/>
                  </a:lnTo>
                  <a:lnTo>
                    <a:pt x="194" y="276"/>
                  </a:lnTo>
                  <a:lnTo>
                    <a:pt x="192" y="278"/>
                  </a:lnTo>
                  <a:lnTo>
                    <a:pt x="191" y="280"/>
                  </a:lnTo>
                  <a:lnTo>
                    <a:pt x="189" y="280"/>
                  </a:lnTo>
                  <a:lnTo>
                    <a:pt x="189" y="282"/>
                  </a:lnTo>
                  <a:lnTo>
                    <a:pt x="188" y="282"/>
                  </a:lnTo>
                  <a:lnTo>
                    <a:pt x="187" y="282"/>
                  </a:lnTo>
                  <a:lnTo>
                    <a:pt x="186" y="282"/>
                  </a:lnTo>
                  <a:lnTo>
                    <a:pt x="185" y="282"/>
                  </a:lnTo>
                  <a:lnTo>
                    <a:pt x="183" y="280"/>
                  </a:lnTo>
                  <a:lnTo>
                    <a:pt x="183" y="279"/>
                  </a:lnTo>
                  <a:lnTo>
                    <a:pt x="182" y="278"/>
                  </a:lnTo>
                  <a:lnTo>
                    <a:pt x="182" y="277"/>
                  </a:lnTo>
                  <a:lnTo>
                    <a:pt x="182" y="278"/>
                  </a:lnTo>
                  <a:lnTo>
                    <a:pt x="182" y="279"/>
                  </a:lnTo>
                  <a:lnTo>
                    <a:pt x="182" y="280"/>
                  </a:lnTo>
                  <a:lnTo>
                    <a:pt x="183" y="280"/>
                  </a:lnTo>
                  <a:lnTo>
                    <a:pt x="185" y="282"/>
                  </a:lnTo>
                  <a:lnTo>
                    <a:pt x="185" y="283"/>
                  </a:lnTo>
                  <a:lnTo>
                    <a:pt x="186" y="283"/>
                  </a:lnTo>
                  <a:lnTo>
                    <a:pt x="187" y="284"/>
                  </a:lnTo>
                  <a:lnTo>
                    <a:pt x="187" y="285"/>
                  </a:lnTo>
                  <a:lnTo>
                    <a:pt x="186" y="284"/>
                  </a:lnTo>
                  <a:lnTo>
                    <a:pt x="185" y="283"/>
                  </a:lnTo>
                  <a:lnTo>
                    <a:pt x="183" y="283"/>
                  </a:lnTo>
                  <a:lnTo>
                    <a:pt x="182" y="283"/>
                  </a:lnTo>
                  <a:lnTo>
                    <a:pt x="183" y="284"/>
                  </a:lnTo>
                  <a:lnTo>
                    <a:pt x="183" y="285"/>
                  </a:lnTo>
                  <a:lnTo>
                    <a:pt x="182" y="284"/>
                  </a:lnTo>
                  <a:lnTo>
                    <a:pt x="181" y="284"/>
                  </a:lnTo>
                  <a:lnTo>
                    <a:pt x="182" y="285"/>
                  </a:lnTo>
                  <a:lnTo>
                    <a:pt x="182" y="287"/>
                  </a:lnTo>
                  <a:lnTo>
                    <a:pt x="182" y="288"/>
                  </a:lnTo>
                  <a:lnTo>
                    <a:pt x="181" y="288"/>
                  </a:lnTo>
                  <a:lnTo>
                    <a:pt x="180" y="288"/>
                  </a:lnTo>
                  <a:lnTo>
                    <a:pt x="180" y="289"/>
                  </a:lnTo>
                  <a:lnTo>
                    <a:pt x="177" y="290"/>
                  </a:lnTo>
                  <a:lnTo>
                    <a:pt x="176" y="291"/>
                  </a:lnTo>
                  <a:lnTo>
                    <a:pt x="175" y="293"/>
                  </a:lnTo>
                  <a:lnTo>
                    <a:pt x="174" y="294"/>
                  </a:lnTo>
                  <a:lnTo>
                    <a:pt x="174" y="295"/>
                  </a:lnTo>
                  <a:lnTo>
                    <a:pt x="174" y="297"/>
                  </a:lnTo>
                  <a:lnTo>
                    <a:pt x="175" y="296"/>
                  </a:lnTo>
                  <a:lnTo>
                    <a:pt x="175" y="295"/>
                  </a:lnTo>
                  <a:lnTo>
                    <a:pt x="176" y="294"/>
                  </a:lnTo>
                  <a:lnTo>
                    <a:pt x="176" y="293"/>
                  </a:lnTo>
                  <a:lnTo>
                    <a:pt x="177" y="291"/>
                  </a:lnTo>
                  <a:lnTo>
                    <a:pt x="179" y="291"/>
                  </a:lnTo>
                  <a:lnTo>
                    <a:pt x="180" y="290"/>
                  </a:lnTo>
                  <a:lnTo>
                    <a:pt x="181" y="289"/>
                  </a:lnTo>
                  <a:lnTo>
                    <a:pt x="182" y="288"/>
                  </a:lnTo>
                  <a:lnTo>
                    <a:pt x="183" y="287"/>
                  </a:lnTo>
                  <a:lnTo>
                    <a:pt x="183" y="288"/>
                  </a:lnTo>
                  <a:lnTo>
                    <a:pt x="185" y="288"/>
                  </a:lnTo>
                  <a:lnTo>
                    <a:pt x="183" y="290"/>
                  </a:lnTo>
                  <a:lnTo>
                    <a:pt x="183" y="291"/>
                  </a:lnTo>
                  <a:lnTo>
                    <a:pt x="185" y="290"/>
                  </a:lnTo>
                  <a:lnTo>
                    <a:pt x="185" y="289"/>
                  </a:lnTo>
                  <a:lnTo>
                    <a:pt x="186" y="289"/>
                  </a:lnTo>
                  <a:lnTo>
                    <a:pt x="187" y="288"/>
                  </a:lnTo>
                  <a:lnTo>
                    <a:pt x="187" y="287"/>
                  </a:lnTo>
                  <a:lnTo>
                    <a:pt x="188" y="287"/>
                  </a:lnTo>
                  <a:lnTo>
                    <a:pt x="189" y="287"/>
                  </a:lnTo>
                  <a:lnTo>
                    <a:pt x="189" y="288"/>
                  </a:lnTo>
                  <a:lnTo>
                    <a:pt x="189" y="289"/>
                  </a:lnTo>
                  <a:lnTo>
                    <a:pt x="188" y="289"/>
                  </a:lnTo>
                  <a:lnTo>
                    <a:pt x="187" y="289"/>
                  </a:lnTo>
                  <a:lnTo>
                    <a:pt x="186" y="290"/>
                  </a:lnTo>
                  <a:lnTo>
                    <a:pt x="185" y="290"/>
                  </a:lnTo>
                  <a:lnTo>
                    <a:pt x="185" y="291"/>
                  </a:lnTo>
                  <a:lnTo>
                    <a:pt x="183" y="293"/>
                  </a:lnTo>
                  <a:lnTo>
                    <a:pt x="183" y="294"/>
                  </a:lnTo>
                  <a:lnTo>
                    <a:pt x="182" y="293"/>
                  </a:lnTo>
                  <a:lnTo>
                    <a:pt x="182" y="294"/>
                  </a:lnTo>
                  <a:lnTo>
                    <a:pt x="183" y="295"/>
                  </a:lnTo>
                  <a:lnTo>
                    <a:pt x="185" y="295"/>
                  </a:lnTo>
                  <a:lnTo>
                    <a:pt x="186" y="294"/>
                  </a:lnTo>
                  <a:lnTo>
                    <a:pt x="187" y="293"/>
                  </a:lnTo>
                  <a:lnTo>
                    <a:pt x="188" y="291"/>
                  </a:lnTo>
                  <a:lnTo>
                    <a:pt x="189" y="291"/>
                  </a:lnTo>
                  <a:lnTo>
                    <a:pt x="188" y="294"/>
                  </a:lnTo>
                  <a:lnTo>
                    <a:pt x="187" y="294"/>
                  </a:lnTo>
                  <a:lnTo>
                    <a:pt x="186" y="295"/>
                  </a:lnTo>
                  <a:lnTo>
                    <a:pt x="183" y="296"/>
                  </a:lnTo>
                  <a:lnTo>
                    <a:pt x="185" y="296"/>
                  </a:lnTo>
                  <a:lnTo>
                    <a:pt x="186" y="297"/>
                  </a:lnTo>
                  <a:lnTo>
                    <a:pt x="187" y="299"/>
                  </a:lnTo>
                  <a:lnTo>
                    <a:pt x="188" y="300"/>
                  </a:lnTo>
                  <a:lnTo>
                    <a:pt x="189" y="301"/>
                  </a:lnTo>
                  <a:lnTo>
                    <a:pt x="189" y="302"/>
                  </a:lnTo>
                  <a:lnTo>
                    <a:pt x="188" y="302"/>
                  </a:lnTo>
                  <a:lnTo>
                    <a:pt x="188" y="301"/>
                  </a:lnTo>
                  <a:lnTo>
                    <a:pt x="187" y="300"/>
                  </a:lnTo>
                  <a:lnTo>
                    <a:pt x="186" y="300"/>
                  </a:lnTo>
                  <a:lnTo>
                    <a:pt x="187" y="301"/>
                  </a:lnTo>
                  <a:lnTo>
                    <a:pt x="186" y="302"/>
                  </a:lnTo>
                  <a:lnTo>
                    <a:pt x="185" y="302"/>
                  </a:lnTo>
                  <a:lnTo>
                    <a:pt x="185" y="303"/>
                  </a:lnTo>
                  <a:lnTo>
                    <a:pt x="185" y="305"/>
                  </a:lnTo>
                  <a:lnTo>
                    <a:pt x="186" y="305"/>
                  </a:lnTo>
                  <a:lnTo>
                    <a:pt x="186" y="306"/>
                  </a:lnTo>
                  <a:lnTo>
                    <a:pt x="187" y="306"/>
                  </a:lnTo>
                  <a:lnTo>
                    <a:pt x="188" y="306"/>
                  </a:lnTo>
                  <a:lnTo>
                    <a:pt x="189" y="305"/>
                  </a:lnTo>
                  <a:lnTo>
                    <a:pt x="191" y="305"/>
                  </a:lnTo>
                  <a:lnTo>
                    <a:pt x="191" y="303"/>
                  </a:lnTo>
                  <a:lnTo>
                    <a:pt x="191" y="302"/>
                  </a:lnTo>
                  <a:lnTo>
                    <a:pt x="192" y="302"/>
                  </a:lnTo>
                  <a:lnTo>
                    <a:pt x="192" y="301"/>
                  </a:lnTo>
                  <a:lnTo>
                    <a:pt x="193" y="300"/>
                  </a:lnTo>
                  <a:lnTo>
                    <a:pt x="194" y="300"/>
                  </a:lnTo>
                  <a:lnTo>
                    <a:pt x="195" y="300"/>
                  </a:lnTo>
                  <a:lnTo>
                    <a:pt x="197" y="299"/>
                  </a:lnTo>
                  <a:lnTo>
                    <a:pt x="198" y="299"/>
                  </a:lnTo>
                  <a:lnTo>
                    <a:pt x="198" y="300"/>
                  </a:lnTo>
                  <a:lnTo>
                    <a:pt x="197" y="300"/>
                  </a:lnTo>
                  <a:lnTo>
                    <a:pt x="197" y="301"/>
                  </a:lnTo>
                  <a:lnTo>
                    <a:pt x="197" y="302"/>
                  </a:lnTo>
                  <a:lnTo>
                    <a:pt x="195" y="301"/>
                  </a:lnTo>
                  <a:lnTo>
                    <a:pt x="194" y="301"/>
                  </a:lnTo>
                  <a:lnTo>
                    <a:pt x="193" y="302"/>
                  </a:lnTo>
                  <a:lnTo>
                    <a:pt x="193" y="303"/>
                  </a:lnTo>
                  <a:lnTo>
                    <a:pt x="194" y="305"/>
                  </a:lnTo>
                  <a:lnTo>
                    <a:pt x="195" y="305"/>
                  </a:lnTo>
                  <a:lnTo>
                    <a:pt x="197" y="303"/>
                  </a:lnTo>
                  <a:lnTo>
                    <a:pt x="198" y="303"/>
                  </a:lnTo>
                  <a:lnTo>
                    <a:pt x="197" y="305"/>
                  </a:lnTo>
                  <a:lnTo>
                    <a:pt x="195" y="305"/>
                  </a:lnTo>
                  <a:lnTo>
                    <a:pt x="195" y="306"/>
                  </a:lnTo>
                  <a:lnTo>
                    <a:pt x="195" y="307"/>
                  </a:lnTo>
                  <a:lnTo>
                    <a:pt x="195" y="308"/>
                  </a:lnTo>
                  <a:lnTo>
                    <a:pt x="194" y="308"/>
                  </a:lnTo>
                  <a:lnTo>
                    <a:pt x="193" y="308"/>
                  </a:lnTo>
                  <a:lnTo>
                    <a:pt x="193" y="306"/>
                  </a:lnTo>
                  <a:lnTo>
                    <a:pt x="192" y="306"/>
                  </a:lnTo>
                  <a:lnTo>
                    <a:pt x="192" y="307"/>
                  </a:lnTo>
                  <a:lnTo>
                    <a:pt x="192" y="308"/>
                  </a:lnTo>
                  <a:lnTo>
                    <a:pt x="191" y="309"/>
                  </a:lnTo>
                  <a:lnTo>
                    <a:pt x="191" y="311"/>
                  </a:lnTo>
                  <a:lnTo>
                    <a:pt x="192" y="312"/>
                  </a:lnTo>
                  <a:lnTo>
                    <a:pt x="192" y="313"/>
                  </a:lnTo>
                  <a:lnTo>
                    <a:pt x="192" y="312"/>
                  </a:lnTo>
                  <a:lnTo>
                    <a:pt x="193" y="311"/>
                  </a:lnTo>
                  <a:lnTo>
                    <a:pt x="194" y="311"/>
                  </a:lnTo>
                  <a:lnTo>
                    <a:pt x="195" y="309"/>
                  </a:lnTo>
                  <a:lnTo>
                    <a:pt x="197" y="309"/>
                  </a:lnTo>
                  <a:lnTo>
                    <a:pt x="197" y="311"/>
                  </a:lnTo>
                  <a:lnTo>
                    <a:pt x="198" y="311"/>
                  </a:lnTo>
                  <a:lnTo>
                    <a:pt x="198" y="309"/>
                  </a:lnTo>
                  <a:lnTo>
                    <a:pt x="197" y="308"/>
                  </a:lnTo>
                  <a:lnTo>
                    <a:pt x="198" y="308"/>
                  </a:lnTo>
                  <a:lnTo>
                    <a:pt x="198" y="307"/>
                  </a:lnTo>
                  <a:lnTo>
                    <a:pt x="199" y="308"/>
                  </a:lnTo>
                  <a:lnTo>
                    <a:pt x="199" y="311"/>
                  </a:lnTo>
                  <a:lnTo>
                    <a:pt x="200" y="311"/>
                  </a:lnTo>
                  <a:lnTo>
                    <a:pt x="200" y="309"/>
                  </a:lnTo>
                  <a:lnTo>
                    <a:pt x="199" y="307"/>
                  </a:lnTo>
                  <a:lnTo>
                    <a:pt x="200" y="307"/>
                  </a:lnTo>
                  <a:lnTo>
                    <a:pt x="201" y="307"/>
                  </a:lnTo>
                  <a:lnTo>
                    <a:pt x="203" y="307"/>
                  </a:lnTo>
                  <a:lnTo>
                    <a:pt x="204" y="307"/>
                  </a:lnTo>
                  <a:lnTo>
                    <a:pt x="205" y="308"/>
                  </a:lnTo>
                  <a:lnTo>
                    <a:pt x="205" y="309"/>
                  </a:lnTo>
                  <a:lnTo>
                    <a:pt x="204" y="311"/>
                  </a:lnTo>
                  <a:lnTo>
                    <a:pt x="203" y="311"/>
                  </a:lnTo>
                  <a:lnTo>
                    <a:pt x="201" y="311"/>
                  </a:lnTo>
                  <a:lnTo>
                    <a:pt x="201" y="312"/>
                  </a:lnTo>
                  <a:lnTo>
                    <a:pt x="203" y="312"/>
                  </a:lnTo>
                  <a:lnTo>
                    <a:pt x="204" y="312"/>
                  </a:lnTo>
                  <a:lnTo>
                    <a:pt x="205" y="312"/>
                  </a:lnTo>
                  <a:lnTo>
                    <a:pt x="205" y="313"/>
                  </a:lnTo>
                  <a:lnTo>
                    <a:pt x="205" y="314"/>
                  </a:lnTo>
                  <a:lnTo>
                    <a:pt x="204" y="314"/>
                  </a:lnTo>
                  <a:lnTo>
                    <a:pt x="203" y="314"/>
                  </a:lnTo>
                  <a:lnTo>
                    <a:pt x="203" y="315"/>
                  </a:lnTo>
                  <a:lnTo>
                    <a:pt x="204" y="317"/>
                  </a:lnTo>
                  <a:lnTo>
                    <a:pt x="205" y="317"/>
                  </a:lnTo>
                  <a:lnTo>
                    <a:pt x="206" y="318"/>
                  </a:lnTo>
                  <a:lnTo>
                    <a:pt x="207" y="317"/>
                  </a:lnTo>
                  <a:lnTo>
                    <a:pt x="207" y="315"/>
                  </a:lnTo>
                  <a:lnTo>
                    <a:pt x="207" y="313"/>
                  </a:lnTo>
                  <a:lnTo>
                    <a:pt x="209" y="312"/>
                  </a:lnTo>
                  <a:lnTo>
                    <a:pt x="210" y="312"/>
                  </a:lnTo>
                  <a:lnTo>
                    <a:pt x="211" y="311"/>
                  </a:lnTo>
                  <a:lnTo>
                    <a:pt x="212" y="311"/>
                  </a:lnTo>
                  <a:lnTo>
                    <a:pt x="214" y="309"/>
                  </a:lnTo>
                  <a:lnTo>
                    <a:pt x="215" y="309"/>
                  </a:lnTo>
                  <a:lnTo>
                    <a:pt x="215" y="308"/>
                  </a:lnTo>
                  <a:lnTo>
                    <a:pt x="216" y="309"/>
                  </a:lnTo>
                  <a:lnTo>
                    <a:pt x="216" y="312"/>
                  </a:lnTo>
                  <a:lnTo>
                    <a:pt x="217" y="313"/>
                  </a:lnTo>
                  <a:lnTo>
                    <a:pt x="218" y="314"/>
                  </a:lnTo>
                  <a:lnTo>
                    <a:pt x="220" y="313"/>
                  </a:lnTo>
                  <a:lnTo>
                    <a:pt x="221" y="312"/>
                  </a:lnTo>
                  <a:lnTo>
                    <a:pt x="221" y="311"/>
                  </a:lnTo>
                  <a:lnTo>
                    <a:pt x="221" y="309"/>
                  </a:lnTo>
                  <a:lnTo>
                    <a:pt x="222" y="309"/>
                  </a:lnTo>
                  <a:lnTo>
                    <a:pt x="222" y="308"/>
                  </a:lnTo>
                  <a:lnTo>
                    <a:pt x="222" y="311"/>
                  </a:lnTo>
                  <a:lnTo>
                    <a:pt x="222" y="313"/>
                  </a:lnTo>
                  <a:lnTo>
                    <a:pt x="223" y="312"/>
                  </a:lnTo>
                  <a:lnTo>
                    <a:pt x="224" y="312"/>
                  </a:lnTo>
                  <a:lnTo>
                    <a:pt x="224" y="313"/>
                  </a:lnTo>
                  <a:lnTo>
                    <a:pt x="224" y="315"/>
                  </a:lnTo>
                  <a:lnTo>
                    <a:pt x="226" y="318"/>
                  </a:lnTo>
                  <a:lnTo>
                    <a:pt x="227" y="318"/>
                  </a:lnTo>
                  <a:lnTo>
                    <a:pt x="228" y="318"/>
                  </a:lnTo>
                  <a:lnTo>
                    <a:pt x="228" y="317"/>
                  </a:lnTo>
                  <a:lnTo>
                    <a:pt x="228" y="315"/>
                  </a:lnTo>
                  <a:lnTo>
                    <a:pt x="227" y="315"/>
                  </a:lnTo>
                  <a:lnTo>
                    <a:pt x="226" y="315"/>
                  </a:lnTo>
                  <a:lnTo>
                    <a:pt x="226" y="314"/>
                  </a:lnTo>
                  <a:lnTo>
                    <a:pt x="224" y="313"/>
                  </a:lnTo>
                  <a:lnTo>
                    <a:pt x="226" y="313"/>
                  </a:lnTo>
                  <a:lnTo>
                    <a:pt x="227" y="313"/>
                  </a:lnTo>
                  <a:lnTo>
                    <a:pt x="228" y="314"/>
                  </a:lnTo>
                  <a:lnTo>
                    <a:pt x="229" y="314"/>
                  </a:lnTo>
                  <a:lnTo>
                    <a:pt x="230" y="314"/>
                  </a:lnTo>
                  <a:lnTo>
                    <a:pt x="232" y="314"/>
                  </a:lnTo>
                  <a:lnTo>
                    <a:pt x="232" y="313"/>
                  </a:lnTo>
                  <a:lnTo>
                    <a:pt x="233" y="313"/>
                  </a:lnTo>
                  <a:lnTo>
                    <a:pt x="233" y="312"/>
                  </a:lnTo>
                  <a:lnTo>
                    <a:pt x="232" y="311"/>
                  </a:lnTo>
                  <a:lnTo>
                    <a:pt x="233" y="311"/>
                  </a:lnTo>
                  <a:lnTo>
                    <a:pt x="235" y="311"/>
                  </a:lnTo>
                  <a:lnTo>
                    <a:pt x="236" y="311"/>
                  </a:lnTo>
                  <a:lnTo>
                    <a:pt x="236" y="309"/>
                  </a:lnTo>
                  <a:lnTo>
                    <a:pt x="238" y="308"/>
                  </a:lnTo>
                  <a:lnTo>
                    <a:pt x="239" y="308"/>
                  </a:lnTo>
                  <a:lnTo>
                    <a:pt x="240" y="307"/>
                  </a:lnTo>
                  <a:lnTo>
                    <a:pt x="240" y="306"/>
                  </a:lnTo>
                  <a:lnTo>
                    <a:pt x="241" y="305"/>
                  </a:lnTo>
                  <a:lnTo>
                    <a:pt x="242" y="306"/>
                  </a:lnTo>
                  <a:lnTo>
                    <a:pt x="244" y="305"/>
                  </a:lnTo>
                  <a:lnTo>
                    <a:pt x="245" y="303"/>
                  </a:lnTo>
                  <a:lnTo>
                    <a:pt x="245" y="306"/>
                  </a:lnTo>
                  <a:lnTo>
                    <a:pt x="244" y="307"/>
                  </a:lnTo>
                  <a:lnTo>
                    <a:pt x="245" y="308"/>
                  </a:lnTo>
                  <a:lnTo>
                    <a:pt x="246" y="309"/>
                  </a:lnTo>
                  <a:lnTo>
                    <a:pt x="247" y="309"/>
                  </a:lnTo>
                  <a:lnTo>
                    <a:pt x="248" y="308"/>
                  </a:lnTo>
                  <a:lnTo>
                    <a:pt x="247" y="309"/>
                  </a:lnTo>
                  <a:lnTo>
                    <a:pt x="247" y="311"/>
                  </a:lnTo>
                  <a:lnTo>
                    <a:pt x="247" y="312"/>
                  </a:lnTo>
                  <a:lnTo>
                    <a:pt x="248" y="312"/>
                  </a:lnTo>
                  <a:lnTo>
                    <a:pt x="250" y="312"/>
                  </a:lnTo>
                  <a:lnTo>
                    <a:pt x="250" y="311"/>
                  </a:lnTo>
                  <a:lnTo>
                    <a:pt x="251" y="311"/>
                  </a:lnTo>
                  <a:lnTo>
                    <a:pt x="252" y="311"/>
                  </a:lnTo>
                  <a:lnTo>
                    <a:pt x="253" y="309"/>
                  </a:lnTo>
                  <a:lnTo>
                    <a:pt x="254" y="308"/>
                  </a:lnTo>
                  <a:lnTo>
                    <a:pt x="256" y="307"/>
                  </a:lnTo>
                  <a:lnTo>
                    <a:pt x="257" y="306"/>
                  </a:lnTo>
                  <a:lnTo>
                    <a:pt x="256" y="306"/>
                  </a:lnTo>
                  <a:lnTo>
                    <a:pt x="257" y="305"/>
                  </a:lnTo>
                  <a:lnTo>
                    <a:pt x="258" y="305"/>
                  </a:lnTo>
                  <a:lnTo>
                    <a:pt x="259" y="305"/>
                  </a:lnTo>
                  <a:lnTo>
                    <a:pt x="259" y="303"/>
                  </a:lnTo>
                  <a:lnTo>
                    <a:pt x="259" y="302"/>
                  </a:lnTo>
                  <a:lnTo>
                    <a:pt x="259" y="301"/>
                  </a:lnTo>
                  <a:lnTo>
                    <a:pt x="259" y="300"/>
                  </a:lnTo>
                  <a:lnTo>
                    <a:pt x="259" y="299"/>
                  </a:lnTo>
                  <a:lnTo>
                    <a:pt x="260" y="299"/>
                  </a:lnTo>
                  <a:lnTo>
                    <a:pt x="262" y="297"/>
                  </a:lnTo>
                  <a:lnTo>
                    <a:pt x="262" y="296"/>
                  </a:lnTo>
                  <a:lnTo>
                    <a:pt x="260" y="296"/>
                  </a:lnTo>
                  <a:lnTo>
                    <a:pt x="260" y="295"/>
                  </a:lnTo>
                  <a:lnTo>
                    <a:pt x="259" y="295"/>
                  </a:lnTo>
                  <a:lnTo>
                    <a:pt x="258" y="296"/>
                  </a:lnTo>
                  <a:lnTo>
                    <a:pt x="257" y="297"/>
                  </a:lnTo>
                  <a:lnTo>
                    <a:pt x="257" y="296"/>
                  </a:lnTo>
                  <a:lnTo>
                    <a:pt x="257" y="295"/>
                  </a:lnTo>
                  <a:lnTo>
                    <a:pt x="256" y="295"/>
                  </a:lnTo>
                  <a:lnTo>
                    <a:pt x="256" y="294"/>
                  </a:lnTo>
                  <a:lnTo>
                    <a:pt x="254" y="295"/>
                  </a:lnTo>
                  <a:lnTo>
                    <a:pt x="254" y="296"/>
                  </a:lnTo>
                  <a:lnTo>
                    <a:pt x="253" y="299"/>
                  </a:lnTo>
                  <a:lnTo>
                    <a:pt x="253" y="297"/>
                  </a:lnTo>
                  <a:lnTo>
                    <a:pt x="252" y="296"/>
                  </a:lnTo>
                  <a:lnTo>
                    <a:pt x="252" y="297"/>
                  </a:lnTo>
                  <a:lnTo>
                    <a:pt x="251" y="297"/>
                  </a:lnTo>
                  <a:lnTo>
                    <a:pt x="251" y="299"/>
                  </a:lnTo>
                  <a:lnTo>
                    <a:pt x="250" y="299"/>
                  </a:lnTo>
                  <a:lnTo>
                    <a:pt x="251" y="297"/>
                  </a:lnTo>
                  <a:lnTo>
                    <a:pt x="251" y="296"/>
                  </a:lnTo>
                  <a:lnTo>
                    <a:pt x="250" y="296"/>
                  </a:lnTo>
                  <a:lnTo>
                    <a:pt x="250" y="295"/>
                  </a:lnTo>
                  <a:lnTo>
                    <a:pt x="248" y="295"/>
                  </a:lnTo>
                  <a:lnTo>
                    <a:pt x="248" y="296"/>
                  </a:lnTo>
                  <a:lnTo>
                    <a:pt x="247" y="297"/>
                  </a:lnTo>
                  <a:lnTo>
                    <a:pt x="245" y="297"/>
                  </a:lnTo>
                  <a:lnTo>
                    <a:pt x="246" y="296"/>
                  </a:lnTo>
                  <a:lnTo>
                    <a:pt x="247" y="295"/>
                  </a:lnTo>
                  <a:lnTo>
                    <a:pt x="246" y="294"/>
                  </a:lnTo>
                  <a:lnTo>
                    <a:pt x="246" y="293"/>
                  </a:lnTo>
                  <a:lnTo>
                    <a:pt x="245" y="293"/>
                  </a:lnTo>
                  <a:lnTo>
                    <a:pt x="245" y="291"/>
                  </a:lnTo>
                  <a:lnTo>
                    <a:pt x="244" y="290"/>
                  </a:lnTo>
                  <a:lnTo>
                    <a:pt x="244" y="291"/>
                  </a:lnTo>
                  <a:lnTo>
                    <a:pt x="244" y="290"/>
                  </a:lnTo>
                  <a:lnTo>
                    <a:pt x="242" y="289"/>
                  </a:lnTo>
                  <a:lnTo>
                    <a:pt x="241" y="288"/>
                  </a:lnTo>
                  <a:lnTo>
                    <a:pt x="240" y="288"/>
                  </a:lnTo>
                  <a:lnTo>
                    <a:pt x="238" y="288"/>
                  </a:lnTo>
                  <a:lnTo>
                    <a:pt x="236" y="287"/>
                  </a:lnTo>
                  <a:lnTo>
                    <a:pt x="236" y="285"/>
                  </a:lnTo>
                  <a:lnTo>
                    <a:pt x="235" y="284"/>
                  </a:lnTo>
                  <a:lnTo>
                    <a:pt x="234" y="284"/>
                  </a:lnTo>
                  <a:lnTo>
                    <a:pt x="234" y="283"/>
                  </a:lnTo>
                  <a:lnTo>
                    <a:pt x="234" y="282"/>
                  </a:lnTo>
                  <a:lnTo>
                    <a:pt x="235" y="282"/>
                  </a:lnTo>
                  <a:lnTo>
                    <a:pt x="235" y="283"/>
                  </a:lnTo>
                  <a:lnTo>
                    <a:pt x="236" y="283"/>
                  </a:lnTo>
                  <a:lnTo>
                    <a:pt x="236" y="284"/>
                  </a:lnTo>
                  <a:lnTo>
                    <a:pt x="238" y="285"/>
                  </a:lnTo>
                  <a:lnTo>
                    <a:pt x="238" y="287"/>
                  </a:lnTo>
                  <a:lnTo>
                    <a:pt x="239" y="288"/>
                  </a:lnTo>
                  <a:lnTo>
                    <a:pt x="240" y="287"/>
                  </a:lnTo>
                  <a:lnTo>
                    <a:pt x="240" y="285"/>
                  </a:lnTo>
                  <a:lnTo>
                    <a:pt x="240" y="284"/>
                  </a:lnTo>
                  <a:lnTo>
                    <a:pt x="239" y="284"/>
                  </a:lnTo>
                  <a:lnTo>
                    <a:pt x="238" y="283"/>
                  </a:lnTo>
                  <a:lnTo>
                    <a:pt x="236" y="282"/>
                  </a:lnTo>
                  <a:lnTo>
                    <a:pt x="236" y="280"/>
                  </a:lnTo>
                  <a:lnTo>
                    <a:pt x="235" y="280"/>
                  </a:lnTo>
                  <a:lnTo>
                    <a:pt x="234" y="280"/>
                  </a:lnTo>
                  <a:lnTo>
                    <a:pt x="234" y="279"/>
                  </a:lnTo>
                  <a:lnTo>
                    <a:pt x="235" y="279"/>
                  </a:lnTo>
                  <a:lnTo>
                    <a:pt x="235" y="278"/>
                  </a:lnTo>
                  <a:lnTo>
                    <a:pt x="236" y="279"/>
                  </a:lnTo>
                  <a:lnTo>
                    <a:pt x="238" y="279"/>
                  </a:lnTo>
                  <a:lnTo>
                    <a:pt x="238" y="280"/>
                  </a:lnTo>
                  <a:lnTo>
                    <a:pt x="240" y="282"/>
                  </a:lnTo>
                  <a:lnTo>
                    <a:pt x="241" y="283"/>
                  </a:lnTo>
                  <a:lnTo>
                    <a:pt x="240" y="284"/>
                  </a:lnTo>
                  <a:lnTo>
                    <a:pt x="241" y="284"/>
                  </a:lnTo>
                  <a:lnTo>
                    <a:pt x="242" y="284"/>
                  </a:lnTo>
                  <a:lnTo>
                    <a:pt x="242" y="283"/>
                  </a:lnTo>
                  <a:lnTo>
                    <a:pt x="244" y="283"/>
                  </a:lnTo>
                  <a:lnTo>
                    <a:pt x="244" y="284"/>
                  </a:lnTo>
                  <a:lnTo>
                    <a:pt x="245" y="283"/>
                  </a:lnTo>
                  <a:lnTo>
                    <a:pt x="246" y="283"/>
                  </a:lnTo>
                  <a:lnTo>
                    <a:pt x="247" y="284"/>
                  </a:lnTo>
                  <a:lnTo>
                    <a:pt x="250" y="284"/>
                  </a:lnTo>
                  <a:lnTo>
                    <a:pt x="251" y="284"/>
                  </a:lnTo>
                  <a:lnTo>
                    <a:pt x="251" y="283"/>
                  </a:lnTo>
                  <a:lnTo>
                    <a:pt x="250" y="282"/>
                  </a:lnTo>
                  <a:lnTo>
                    <a:pt x="251" y="280"/>
                  </a:lnTo>
                  <a:lnTo>
                    <a:pt x="250" y="280"/>
                  </a:lnTo>
                  <a:lnTo>
                    <a:pt x="248" y="280"/>
                  </a:lnTo>
                  <a:lnTo>
                    <a:pt x="248" y="279"/>
                  </a:lnTo>
                  <a:lnTo>
                    <a:pt x="248" y="278"/>
                  </a:lnTo>
                  <a:lnTo>
                    <a:pt x="250" y="279"/>
                  </a:lnTo>
                  <a:lnTo>
                    <a:pt x="251" y="279"/>
                  </a:lnTo>
                  <a:lnTo>
                    <a:pt x="251" y="278"/>
                  </a:lnTo>
                  <a:lnTo>
                    <a:pt x="251" y="277"/>
                  </a:lnTo>
                  <a:lnTo>
                    <a:pt x="250" y="276"/>
                  </a:lnTo>
                  <a:lnTo>
                    <a:pt x="251" y="276"/>
                  </a:lnTo>
                  <a:lnTo>
                    <a:pt x="251" y="274"/>
                  </a:lnTo>
                  <a:lnTo>
                    <a:pt x="250" y="274"/>
                  </a:lnTo>
                  <a:lnTo>
                    <a:pt x="248" y="274"/>
                  </a:lnTo>
                  <a:lnTo>
                    <a:pt x="248" y="276"/>
                  </a:lnTo>
                  <a:lnTo>
                    <a:pt x="247" y="276"/>
                  </a:lnTo>
                  <a:lnTo>
                    <a:pt x="246" y="276"/>
                  </a:lnTo>
                  <a:lnTo>
                    <a:pt x="246" y="277"/>
                  </a:lnTo>
                  <a:lnTo>
                    <a:pt x="245" y="277"/>
                  </a:lnTo>
                  <a:lnTo>
                    <a:pt x="244" y="277"/>
                  </a:lnTo>
                  <a:lnTo>
                    <a:pt x="242" y="277"/>
                  </a:lnTo>
                  <a:lnTo>
                    <a:pt x="242" y="276"/>
                  </a:lnTo>
                  <a:lnTo>
                    <a:pt x="244" y="274"/>
                  </a:lnTo>
                  <a:lnTo>
                    <a:pt x="245" y="274"/>
                  </a:lnTo>
                  <a:lnTo>
                    <a:pt x="247" y="274"/>
                  </a:lnTo>
                  <a:lnTo>
                    <a:pt x="246" y="273"/>
                  </a:lnTo>
                  <a:lnTo>
                    <a:pt x="247" y="273"/>
                  </a:lnTo>
                  <a:lnTo>
                    <a:pt x="248" y="273"/>
                  </a:lnTo>
                  <a:lnTo>
                    <a:pt x="250" y="272"/>
                  </a:lnTo>
                  <a:lnTo>
                    <a:pt x="251" y="272"/>
                  </a:lnTo>
                  <a:lnTo>
                    <a:pt x="252" y="272"/>
                  </a:lnTo>
                  <a:lnTo>
                    <a:pt x="253" y="271"/>
                  </a:lnTo>
                  <a:lnTo>
                    <a:pt x="254" y="271"/>
                  </a:lnTo>
                  <a:lnTo>
                    <a:pt x="254" y="270"/>
                  </a:lnTo>
                  <a:lnTo>
                    <a:pt x="253" y="268"/>
                  </a:lnTo>
                  <a:lnTo>
                    <a:pt x="252" y="267"/>
                  </a:lnTo>
                  <a:lnTo>
                    <a:pt x="251" y="267"/>
                  </a:lnTo>
                  <a:lnTo>
                    <a:pt x="250" y="267"/>
                  </a:lnTo>
                  <a:lnTo>
                    <a:pt x="250" y="268"/>
                  </a:lnTo>
                  <a:lnTo>
                    <a:pt x="248" y="270"/>
                  </a:lnTo>
                  <a:lnTo>
                    <a:pt x="247" y="271"/>
                  </a:lnTo>
                  <a:lnTo>
                    <a:pt x="246" y="272"/>
                  </a:lnTo>
                  <a:lnTo>
                    <a:pt x="245" y="273"/>
                  </a:lnTo>
                  <a:lnTo>
                    <a:pt x="244" y="273"/>
                  </a:lnTo>
                  <a:lnTo>
                    <a:pt x="241" y="274"/>
                  </a:lnTo>
                  <a:lnTo>
                    <a:pt x="240" y="276"/>
                  </a:lnTo>
                  <a:lnTo>
                    <a:pt x="239" y="276"/>
                  </a:lnTo>
                  <a:lnTo>
                    <a:pt x="238" y="276"/>
                  </a:lnTo>
                  <a:lnTo>
                    <a:pt x="238" y="274"/>
                  </a:lnTo>
                  <a:lnTo>
                    <a:pt x="239" y="273"/>
                  </a:lnTo>
                  <a:lnTo>
                    <a:pt x="240" y="273"/>
                  </a:lnTo>
                  <a:lnTo>
                    <a:pt x="240" y="272"/>
                  </a:lnTo>
                  <a:lnTo>
                    <a:pt x="239" y="272"/>
                  </a:lnTo>
                  <a:lnTo>
                    <a:pt x="239" y="271"/>
                  </a:lnTo>
                  <a:lnTo>
                    <a:pt x="238" y="271"/>
                  </a:lnTo>
                  <a:lnTo>
                    <a:pt x="238" y="272"/>
                  </a:lnTo>
                  <a:lnTo>
                    <a:pt x="235" y="272"/>
                  </a:lnTo>
                  <a:lnTo>
                    <a:pt x="234" y="273"/>
                  </a:lnTo>
                  <a:lnTo>
                    <a:pt x="234" y="272"/>
                  </a:lnTo>
                  <a:lnTo>
                    <a:pt x="235" y="271"/>
                  </a:lnTo>
                  <a:lnTo>
                    <a:pt x="236" y="271"/>
                  </a:lnTo>
                  <a:lnTo>
                    <a:pt x="235" y="270"/>
                  </a:lnTo>
                  <a:lnTo>
                    <a:pt x="234" y="271"/>
                  </a:lnTo>
                  <a:lnTo>
                    <a:pt x="234" y="272"/>
                  </a:lnTo>
                  <a:lnTo>
                    <a:pt x="234" y="273"/>
                  </a:lnTo>
                  <a:lnTo>
                    <a:pt x="233" y="273"/>
                  </a:lnTo>
                  <a:lnTo>
                    <a:pt x="233" y="272"/>
                  </a:lnTo>
                  <a:lnTo>
                    <a:pt x="232" y="272"/>
                  </a:lnTo>
                  <a:lnTo>
                    <a:pt x="230" y="272"/>
                  </a:lnTo>
                  <a:lnTo>
                    <a:pt x="230" y="273"/>
                  </a:lnTo>
                  <a:lnTo>
                    <a:pt x="230" y="274"/>
                  </a:lnTo>
                  <a:lnTo>
                    <a:pt x="229" y="276"/>
                  </a:lnTo>
                  <a:lnTo>
                    <a:pt x="229" y="274"/>
                  </a:lnTo>
                  <a:lnTo>
                    <a:pt x="228" y="273"/>
                  </a:lnTo>
                  <a:lnTo>
                    <a:pt x="228" y="274"/>
                  </a:lnTo>
                  <a:lnTo>
                    <a:pt x="227" y="273"/>
                  </a:lnTo>
                  <a:lnTo>
                    <a:pt x="226" y="272"/>
                  </a:lnTo>
                  <a:lnTo>
                    <a:pt x="227" y="272"/>
                  </a:lnTo>
                  <a:lnTo>
                    <a:pt x="227" y="271"/>
                  </a:lnTo>
                  <a:lnTo>
                    <a:pt x="229" y="270"/>
                  </a:lnTo>
                  <a:lnTo>
                    <a:pt x="228" y="268"/>
                  </a:lnTo>
                  <a:lnTo>
                    <a:pt x="227" y="268"/>
                  </a:lnTo>
                  <a:lnTo>
                    <a:pt x="226" y="268"/>
                  </a:lnTo>
                  <a:lnTo>
                    <a:pt x="226" y="270"/>
                  </a:lnTo>
                  <a:lnTo>
                    <a:pt x="226" y="271"/>
                  </a:lnTo>
                  <a:lnTo>
                    <a:pt x="224" y="270"/>
                  </a:lnTo>
                  <a:lnTo>
                    <a:pt x="223" y="270"/>
                  </a:lnTo>
                  <a:lnTo>
                    <a:pt x="222" y="270"/>
                  </a:lnTo>
                  <a:lnTo>
                    <a:pt x="221" y="268"/>
                  </a:lnTo>
                  <a:lnTo>
                    <a:pt x="220" y="271"/>
                  </a:lnTo>
                  <a:lnTo>
                    <a:pt x="218" y="270"/>
                  </a:lnTo>
                  <a:lnTo>
                    <a:pt x="217" y="270"/>
                  </a:lnTo>
                  <a:lnTo>
                    <a:pt x="217" y="268"/>
                  </a:lnTo>
                  <a:lnTo>
                    <a:pt x="218" y="268"/>
                  </a:lnTo>
                  <a:lnTo>
                    <a:pt x="220" y="268"/>
                  </a:lnTo>
                  <a:lnTo>
                    <a:pt x="221" y="267"/>
                  </a:lnTo>
                  <a:lnTo>
                    <a:pt x="222" y="266"/>
                  </a:lnTo>
                  <a:lnTo>
                    <a:pt x="221" y="266"/>
                  </a:lnTo>
                  <a:lnTo>
                    <a:pt x="221" y="265"/>
                  </a:lnTo>
                  <a:lnTo>
                    <a:pt x="222" y="264"/>
                  </a:lnTo>
                  <a:lnTo>
                    <a:pt x="223" y="264"/>
                  </a:lnTo>
                  <a:lnTo>
                    <a:pt x="223" y="262"/>
                  </a:lnTo>
                  <a:lnTo>
                    <a:pt x="222" y="262"/>
                  </a:lnTo>
                  <a:lnTo>
                    <a:pt x="221" y="262"/>
                  </a:lnTo>
                  <a:lnTo>
                    <a:pt x="220" y="262"/>
                  </a:lnTo>
                  <a:lnTo>
                    <a:pt x="220" y="261"/>
                  </a:lnTo>
                  <a:lnTo>
                    <a:pt x="221" y="261"/>
                  </a:lnTo>
                  <a:lnTo>
                    <a:pt x="222" y="261"/>
                  </a:lnTo>
                  <a:lnTo>
                    <a:pt x="223" y="262"/>
                  </a:lnTo>
                  <a:lnTo>
                    <a:pt x="224" y="261"/>
                  </a:lnTo>
                  <a:lnTo>
                    <a:pt x="226" y="262"/>
                  </a:lnTo>
                  <a:lnTo>
                    <a:pt x="227" y="262"/>
                  </a:lnTo>
                  <a:lnTo>
                    <a:pt x="228" y="265"/>
                  </a:lnTo>
                  <a:lnTo>
                    <a:pt x="228" y="266"/>
                  </a:lnTo>
                  <a:lnTo>
                    <a:pt x="228" y="267"/>
                  </a:lnTo>
                  <a:lnTo>
                    <a:pt x="229" y="267"/>
                  </a:lnTo>
                  <a:lnTo>
                    <a:pt x="230" y="266"/>
                  </a:lnTo>
                  <a:lnTo>
                    <a:pt x="232" y="266"/>
                  </a:lnTo>
                  <a:lnTo>
                    <a:pt x="233" y="266"/>
                  </a:lnTo>
                  <a:lnTo>
                    <a:pt x="234" y="266"/>
                  </a:lnTo>
                  <a:lnTo>
                    <a:pt x="236" y="266"/>
                  </a:lnTo>
                  <a:lnTo>
                    <a:pt x="238" y="266"/>
                  </a:lnTo>
                  <a:lnTo>
                    <a:pt x="238" y="265"/>
                  </a:lnTo>
                  <a:lnTo>
                    <a:pt x="238" y="264"/>
                  </a:lnTo>
                  <a:lnTo>
                    <a:pt x="236" y="264"/>
                  </a:lnTo>
                  <a:lnTo>
                    <a:pt x="235" y="265"/>
                  </a:lnTo>
                  <a:lnTo>
                    <a:pt x="234" y="265"/>
                  </a:lnTo>
                  <a:lnTo>
                    <a:pt x="233" y="265"/>
                  </a:lnTo>
                  <a:lnTo>
                    <a:pt x="233" y="264"/>
                  </a:lnTo>
                  <a:lnTo>
                    <a:pt x="230" y="264"/>
                  </a:lnTo>
                  <a:lnTo>
                    <a:pt x="230" y="262"/>
                  </a:lnTo>
                  <a:lnTo>
                    <a:pt x="229" y="262"/>
                  </a:lnTo>
                  <a:lnTo>
                    <a:pt x="228" y="261"/>
                  </a:lnTo>
                  <a:lnTo>
                    <a:pt x="227" y="261"/>
                  </a:lnTo>
                  <a:lnTo>
                    <a:pt x="228" y="261"/>
                  </a:lnTo>
                  <a:lnTo>
                    <a:pt x="229" y="260"/>
                  </a:lnTo>
                  <a:lnTo>
                    <a:pt x="228" y="259"/>
                  </a:lnTo>
                  <a:lnTo>
                    <a:pt x="227" y="259"/>
                  </a:lnTo>
                  <a:lnTo>
                    <a:pt x="227" y="258"/>
                  </a:lnTo>
                  <a:lnTo>
                    <a:pt x="227" y="256"/>
                  </a:lnTo>
                  <a:lnTo>
                    <a:pt x="226" y="256"/>
                  </a:lnTo>
                  <a:lnTo>
                    <a:pt x="224" y="256"/>
                  </a:lnTo>
                  <a:lnTo>
                    <a:pt x="223" y="256"/>
                  </a:lnTo>
                  <a:lnTo>
                    <a:pt x="222" y="255"/>
                  </a:lnTo>
                  <a:lnTo>
                    <a:pt x="222" y="254"/>
                  </a:lnTo>
                  <a:lnTo>
                    <a:pt x="222" y="253"/>
                  </a:lnTo>
                  <a:lnTo>
                    <a:pt x="222" y="254"/>
                  </a:lnTo>
                  <a:lnTo>
                    <a:pt x="223" y="255"/>
                  </a:lnTo>
                  <a:lnTo>
                    <a:pt x="224" y="256"/>
                  </a:lnTo>
                  <a:lnTo>
                    <a:pt x="226" y="255"/>
                  </a:lnTo>
                  <a:lnTo>
                    <a:pt x="224" y="255"/>
                  </a:lnTo>
                  <a:lnTo>
                    <a:pt x="224" y="254"/>
                  </a:lnTo>
                  <a:lnTo>
                    <a:pt x="226" y="255"/>
                  </a:lnTo>
                  <a:lnTo>
                    <a:pt x="227" y="255"/>
                  </a:lnTo>
                  <a:lnTo>
                    <a:pt x="228" y="256"/>
                  </a:lnTo>
                  <a:lnTo>
                    <a:pt x="229" y="258"/>
                  </a:lnTo>
                  <a:lnTo>
                    <a:pt x="230" y="258"/>
                  </a:lnTo>
                  <a:lnTo>
                    <a:pt x="230" y="259"/>
                  </a:lnTo>
                  <a:lnTo>
                    <a:pt x="232" y="260"/>
                  </a:lnTo>
                  <a:lnTo>
                    <a:pt x="232" y="261"/>
                  </a:lnTo>
                  <a:lnTo>
                    <a:pt x="232" y="260"/>
                  </a:lnTo>
                  <a:lnTo>
                    <a:pt x="230" y="260"/>
                  </a:lnTo>
                  <a:lnTo>
                    <a:pt x="230" y="261"/>
                  </a:lnTo>
                  <a:lnTo>
                    <a:pt x="232" y="261"/>
                  </a:lnTo>
                  <a:lnTo>
                    <a:pt x="232" y="262"/>
                  </a:lnTo>
                  <a:lnTo>
                    <a:pt x="234" y="262"/>
                  </a:lnTo>
                  <a:lnTo>
                    <a:pt x="234" y="264"/>
                  </a:lnTo>
                  <a:lnTo>
                    <a:pt x="235" y="262"/>
                  </a:lnTo>
                  <a:lnTo>
                    <a:pt x="236" y="262"/>
                  </a:lnTo>
                  <a:lnTo>
                    <a:pt x="238" y="262"/>
                  </a:lnTo>
                  <a:lnTo>
                    <a:pt x="236" y="261"/>
                  </a:lnTo>
                  <a:lnTo>
                    <a:pt x="238" y="260"/>
                  </a:lnTo>
                  <a:lnTo>
                    <a:pt x="239" y="261"/>
                  </a:lnTo>
                  <a:lnTo>
                    <a:pt x="241" y="261"/>
                  </a:lnTo>
                  <a:lnTo>
                    <a:pt x="242" y="259"/>
                  </a:lnTo>
                  <a:lnTo>
                    <a:pt x="241" y="259"/>
                  </a:lnTo>
                  <a:lnTo>
                    <a:pt x="240" y="259"/>
                  </a:lnTo>
                  <a:lnTo>
                    <a:pt x="239" y="258"/>
                  </a:lnTo>
                  <a:lnTo>
                    <a:pt x="238" y="258"/>
                  </a:lnTo>
                  <a:lnTo>
                    <a:pt x="236" y="258"/>
                  </a:lnTo>
                  <a:lnTo>
                    <a:pt x="235" y="256"/>
                  </a:lnTo>
                  <a:lnTo>
                    <a:pt x="233" y="256"/>
                  </a:lnTo>
                  <a:lnTo>
                    <a:pt x="232" y="256"/>
                  </a:lnTo>
                  <a:lnTo>
                    <a:pt x="230" y="255"/>
                  </a:lnTo>
                  <a:lnTo>
                    <a:pt x="229" y="255"/>
                  </a:lnTo>
                  <a:lnTo>
                    <a:pt x="228" y="254"/>
                  </a:lnTo>
                  <a:lnTo>
                    <a:pt x="227" y="253"/>
                  </a:lnTo>
                  <a:lnTo>
                    <a:pt x="227" y="252"/>
                  </a:lnTo>
                  <a:lnTo>
                    <a:pt x="226" y="250"/>
                  </a:lnTo>
                  <a:lnTo>
                    <a:pt x="224" y="249"/>
                  </a:lnTo>
                  <a:lnTo>
                    <a:pt x="223" y="249"/>
                  </a:lnTo>
                  <a:lnTo>
                    <a:pt x="222" y="249"/>
                  </a:lnTo>
                  <a:lnTo>
                    <a:pt x="222" y="248"/>
                  </a:lnTo>
                  <a:lnTo>
                    <a:pt x="222" y="247"/>
                  </a:lnTo>
                  <a:lnTo>
                    <a:pt x="222" y="246"/>
                  </a:lnTo>
                  <a:lnTo>
                    <a:pt x="223" y="247"/>
                  </a:lnTo>
                  <a:lnTo>
                    <a:pt x="224" y="247"/>
                  </a:lnTo>
                  <a:lnTo>
                    <a:pt x="226" y="247"/>
                  </a:lnTo>
                  <a:lnTo>
                    <a:pt x="227" y="249"/>
                  </a:lnTo>
                  <a:lnTo>
                    <a:pt x="227" y="250"/>
                  </a:lnTo>
                  <a:lnTo>
                    <a:pt x="228" y="250"/>
                  </a:lnTo>
                  <a:lnTo>
                    <a:pt x="228" y="252"/>
                  </a:lnTo>
                  <a:lnTo>
                    <a:pt x="229" y="253"/>
                  </a:lnTo>
                  <a:lnTo>
                    <a:pt x="230" y="254"/>
                  </a:lnTo>
                  <a:lnTo>
                    <a:pt x="233" y="254"/>
                  </a:lnTo>
                  <a:lnTo>
                    <a:pt x="234" y="255"/>
                  </a:lnTo>
                  <a:lnTo>
                    <a:pt x="235" y="256"/>
                  </a:lnTo>
                  <a:lnTo>
                    <a:pt x="236" y="256"/>
                  </a:lnTo>
                  <a:lnTo>
                    <a:pt x="238" y="255"/>
                  </a:lnTo>
                  <a:lnTo>
                    <a:pt x="239" y="256"/>
                  </a:lnTo>
                  <a:lnTo>
                    <a:pt x="240" y="258"/>
                  </a:lnTo>
                  <a:lnTo>
                    <a:pt x="241" y="258"/>
                  </a:lnTo>
                  <a:lnTo>
                    <a:pt x="242" y="258"/>
                  </a:lnTo>
                  <a:lnTo>
                    <a:pt x="242" y="256"/>
                  </a:lnTo>
                  <a:lnTo>
                    <a:pt x="241" y="256"/>
                  </a:lnTo>
                  <a:lnTo>
                    <a:pt x="239" y="255"/>
                  </a:lnTo>
                  <a:lnTo>
                    <a:pt x="240" y="254"/>
                  </a:lnTo>
                  <a:lnTo>
                    <a:pt x="241" y="254"/>
                  </a:lnTo>
                  <a:lnTo>
                    <a:pt x="242" y="254"/>
                  </a:lnTo>
                  <a:lnTo>
                    <a:pt x="244" y="252"/>
                  </a:lnTo>
                  <a:lnTo>
                    <a:pt x="244" y="250"/>
                  </a:lnTo>
                  <a:lnTo>
                    <a:pt x="242" y="250"/>
                  </a:lnTo>
                  <a:lnTo>
                    <a:pt x="242" y="249"/>
                  </a:lnTo>
                  <a:lnTo>
                    <a:pt x="242" y="250"/>
                  </a:lnTo>
                  <a:lnTo>
                    <a:pt x="241" y="252"/>
                  </a:lnTo>
                  <a:lnTo>
                    <a:pt x="239" y="252"/>
                  </a:lnTo>
                  <a:lnTo>
                    <a:pt x="239" y="250"/>
                  </a:lnTo>
                  <a:lnTo>
                    <a:pt x="238" y="250"/>
                  </a:lnTo>
                  <a:lnTo>
                    <a:pt x="238" y="252"/>
                  </a:lnTo>
                  <a:lnTo>
                    <a:pt x="238" y="253"/>
                  </a:lnTo>
                  <a:lnTo>
                    <a:pt x="236" y="253"/>
                  </a:lnTo>
                  <a:lnTo>
                    <a:pt x="236" y="252"/>
                  </a:lnTo>
                  <a:lnTo>
                    <a:pt x="235" y="252"/>
                  </a:lnTo>
                  <a:lnTo>
                    <a:pt x="234" y="250"/>
                  </a:lnTo>
                  <a:lnTo>
                    <a:pt x="234" y="249"/>
                  </a:lnTo>
                  <a:lnTo>
                    <a:pt x="233" y="249"/>
                  </a:lnTo>
                  <a:lnTo>
                    <a:pt x="233" y="248"/>
                  </a:lnTo>
                  <a:lnTo>
                    <a:pt x="232" y="247"/>
                  </a:lnTo>
                  <a:lnTo>
                    <a:pt x="230" y="247"/>
                  </a:lnTo>
                  <a:lnTo>
                    <a:pt x="230" y="246"/>
                  </a:lnTo>
                  <a:lnTo>
                    <a:pt x="232" y="246"/>
                  </a:lnTo>
                  <a:lnTo>
                    <a:pt x="233" y="246"/>
                  </a:lnTo>
                  <a:lnTo>
                    <a:pt x="234" y="246"/>
                  </a:lnTo>
                  <a:lnTo>
                    <a:pt x="235" y="247"/>
                  </a:lnTo>
                  <a:lnTo>
                    <a:pt x="238" y="248"/>
                  </a:lnTo>
                  <a:lnTo>
                    <a:pt x="240" y="248"/>
                  </a:lnTo>
                  <a:lnTo>
                    <a:pt x="240" y="247"/>
                  </a:lnTo>
                  <a:lnTo>
                    <a:pt x="240" y="246"/>
                  </a:lnTo>
                  <a:lnTo>
                    <a:pt x="239" y="246"/>
                  </a:lnTo>
                  <a:lnTo>
                    <a:pt x="238" y="246"/>
                  </a:lnTo>
                  <a:lnTo>
                    <a:pt x="235" y="244"/>
                  </a:lnTo>
                  <a:lnTo>
                    <a:pt x="236" y="244"/>
                  </a:lnTo>
                  <a:lnTo>
                    <a:pt x="238" y="246"/>
                  </a:lnTo>
                  <a:lnTo>
                    <a:pt x="238" y="244"/>
                  </a:lnTo>
                  <a:lnTo>
                    <a:pt x="239" y="244"/>
                  </a:lnTo>
                  <a:lnTo>
                    <a:pt x="239" y="243"/>
                  </a:lnTo>
                  <a:lnTo>
                    <a:pt x="240" y="244"/>
                  </a:lnTo>
                  <a:lnTo>
                    <a:pt x="240" y="246"/>
                  </a:lnTo>
                  <a:lnTo>
                    <a:pt x="241" y="246"/>
                  </a:lnTo>
                  <a:lnTo>
                    <a:pt x="242" y="246"/>
                  </a:lnTo>
                  <a:lnTo>
                    <a:pt x="242" y="244"/>
                  </a:lnTo>
                  <a:lnTo>
                    <a:pt x="242" y="243"/>
                  </a:lnTo>
                  <a:lnTo>
                    <a:pt x="242" y="242"/>
                  </a:lnTo>
                  <a:lnTo>
                    <a:pt x="241" y="242"/>
                  </a:lnTo>
                  <a:lnTo>
                    <a:pt x="240" y="242"/>
                  </a:lnTo>
                  <a:lnTo>
                    <a:pt x="240" y="241"/>
                  </a:lnTo>
                  <a:lnTo>
                    <a:pt x="240" y="242"/>
                  </a:lnTo>
                  <a:lnTo>
                    <a:pt x="239" y="242"/>
                  </a:lnTo>
                  <a:lnTo>
                    <a:pt x="238" y="242"/>
                  </a:lnTo>
                  <a:lnTo>
                    <a:pt x="236" y="242"/>
                  </a:lnTo>
                  <a:lnTo>
                    <a:pt x="236" y="241"/>
                  </a:lnTo>
                  <a:lnTo>
                    <a:pt x="238" y="240"/>
                  </a:lnTo>
                  <a:lnTo>
                    <a:pt x="236" y="240"/>
                  </a:lnTo>
                  <a:lnTo>
                    <a:pt x="234" y="240"/>
                  </a:lnTo>
                  <a:lnTo>
                    <a:pt x="233" y="241"/>
                  </a:lnTo>
                  <a:lnTo>
                    <a:pt x="232" y="241"/>
                  </a:lnTo>
                  <a:lnTo>
                    <a:pt x="233" y="238"/>
                  </a:lnTo>
                  <a:lnTo>
                    <a:pt x="234" y="238"/>
                  </a:lnTo>
                  <a:lnTo>
                    <a:pt x="235" y="238"/>
                  </a:lnTo>
                  <a:lnTo>
                    <a:pt x="236" y="237"/>
                  </a:lnTo>
                  <a:lnTo>
                    <a:pt x="236" y="236"/>
                  </a:lnTo>
                  <a:lnTo>
                    <a:pt x="239" y="236"/>
                  </a:lnTo>
                  <a:lnTo>
                    <a:pt x="240" y="235"/>
                  </a:lnTo>
                  <a:lnTo>
                    <a:pt x="241" y="235"/>
                  </a:lnTo>
                  <a:lnTo>
                    <a:pt x="241" y="234"/>
                  </a:lnTo>
                  <a:lnTo>
                    <a:pt x="241" y="232"/>
                  </a:lnTo>
                  <a:lnTo>
                    <a:pt x="240" y="232"/>
                  </a:lnTo>
                  <a:lnTo>
                    <a:pt x="240" y="231"/>
                  </a:lnTo>
                  <a:lnTo>
                    <a:pt x="239" y="232"/>
                  </a:lnTo>
                  <a:lnTo>
                    <a:pt x="238" y="232"/>
                  </a:lnTo>
                  <a:lnTo>
                    <a:pt x="238" y="231"/>
                  </a:lnTo>
                  <a:lnTo>
                    <a:pt x="236" y="231"/>
                  </a:lnTo>
                  <a:lnTo>
                    <a:pt x="235" y="232"/>
                  </a:lnTo>
                  <a:lnTo>
                    <a:pt x="235" y="234"/>
                  </a:lnTo>
                  <a:lnTo>
                    <a:pt x="235" y="232"/>
                  </a:lnTo>
                  <a:lnTo>
                    <a:pt x="235" y="231"/>
                  </a:lnTo>
                  <a:lnTo>
                    <a:pt x="234" y="231"/>
                  </a:lnTo>
                  <a:lnTo>
                    <a:pt x="233" y="232"/>
                  </a:lnTo>
                  <a:lnTo>
                    <a:pt x="232" y="234"/>
                  </a:lnTo>
                  <a:lnTo>
                    <a:pt x="230" y="234"/>
                  </a:lnTo>
                  <a:lnTo>
                    <a:pt x="232" y="232"/>
                  </a:lnTo>
                  <a:lnTo>
                    <a:pt x="233" y="232"/>
                  </a:lnTo>
                  <a:lnTo>
                    <a:pt x="233" y="231"/>
                  </a:lnTo>
                  <a:lnTo>
                    <a:pt x="232" y="230"/>
                  </a:lnTo>
                  <a:lnTo>
                    <a:pt x="232" y="229"/>
                  </a:lnTo>
                  <a:lnTo>
                    <a:pt x="230" y="229"/>
                  </a:lnTo>
                  <a:lnTo>
                    <a:pt x="232" y="228"/>
                  </a:lnTo>
                  <a:lnTo>
                    <a:pt x="232" y="229"/>
                  </a:lnTo>
                  <a:lnTo>
                    <a:pt x="233" y="229"/>
                  </a:lnTo>
                  <a:lnTo>
                    <a:pt x="234" y="229"/>
                  </a:lnTo>
                  <a:lnTo>
                    <a:pt x="234" y="228"/>
                  </a:lnTo>
                  <a:lnTo>
                    <a:pt x="235" y="228"/>
                  </a:lnTo>
                  <a:lnTo>
                    <a:pt x="235" y="226"/>
                  </a:lnTo>
                  <a:lnTo>
                    <a:pt x="234" y="225"/>
                  </a:lnTo>
                  <a:lnTo>
                    <a:pt x="233" y="224"/>
                  </a:lnTo>
                  <a:lnTo>
                    <a:pt x="232" y="224"/>
                  </a:lnTo>
                  <a:lnTo>
                    <a:pt x="232" y="225"/>
                  </a:lnTo>
                  <a:lnTo>
                    <a:pt x="230" y="225"/>
                  </a:lnTo>
                  <a:lnTo>
                    <a:pt x="229" y="225"/>
                  </a:lnTo>
                  <a:lnTo>
                    <a:pt x="228" y="225"/>
                  </a:lnTo>
                  <a:lnTo>
                    <a:pt x="227" y="226"/>
                  </a:lnTo>
                  <a:lnTo>
                    <a:pt x="227" y="228"/>
                  </a:lnTo>
                  <a:lnTo>
                    <a:pt x="228" y="228"/>
                  </a:lnTo>
                  <a:lnTo>
                    <a:pt x="228" y="229"/>
                  </a:lnTo>
                  <a:lnTo>
                    <a:pt x="228" y="230"/>
                  </a:lnTo>
                  <a:lnTo>
                    <a:pt x="227" y="229"/>
                  </a:lnTo>
                  <a:lnTo>
                    <a:pt x="226" y="229"/>
                  </a:lnTo>
                  <a:lnTo>
                    <a:pt x="226" y="228"/>
                  </a:lnTo>
                  <a:lnTo>
                    <a:pt x="224" y="228"/>
                  </a:lnTo>
                  <a:lnTo>
                    <a:pt x="224" y="226"/>
                  </a:lnTo>
                  <a:lnTo>
                    <a:pt x="226" y="225"/>
                  </a:lnTo>
                  <a:lnTo>
                    <a:pt x="226" y="224"/>
                  </a:lnTo>
                  <a:lnTo>
                    <a:pt x="226" y="223"/>
                  </a:lnTo>
                  <a:lnTo>
                    <a:pt x="224" y="223"/>
                  </a:lnTo>
                  <a:lnTo>
                    <a:pt x="222" y="223"/>
                  </a:lnTo>
                  <a:lnTo>
                    <a:pt x="222" y="224"/>
                  </a:lnTo>
                  <a:lnTo>
                    <a:pt x="222" y="225"/>
                  </a:lnTo>
                  <a:lnTo>
                    <a:pt x="221" y="226"/>
                  </a:lnTo>
                  <a:lnTo>
                    <a:pt x="220" y="225"/>
                  </a:lnTo>
                  <a:lnTo>
                    <a:pt x="221" y="224"/>
                  </a:lnTo>
                  <a:lnTo>
                    <a:pt x="221" y="223"/>
                  </a:lnTo>
                  <a:lnTo>
                    <a:pt x="222" y="223"/>
                  </a:lnTo>
                  <a:lnTo>
                    <a:pt x="224" y="222"/>
                  </a:lnTo>
                  <a:lnTo>
                    <a:pt x="224" y="220"/>
                  </a:lnTo>
                  <a:lnTo>
                    <a:pt x="223" y="220"/>
                  </a:lnTo>
                  <a:lnTo>
                    <a:pt x="223" y="219"/>
                  </a:lnTo>
                  <a:lnTo>
                    <a:pt x="224" y="219"/>
                  </a:lnTo>
                  <a:lnTo>
                    <a:pt x="226" y="219"/>
                  </a:lnTo>
                  <a:lnTo>
                    <a:pt x="227" y="219"/>
                  </a:lnTo>
                  <a:lnTo>
                    <a:pt x="227" y="218"/>
                  </a:lnTo>
                  <a:lnTo>
                    <a:pt x="228" y="217"/>
                  </a:lnTo>
                  <a:lnTo>
                    <a:pt x="228" y="216"/>
                  </a:lnTo>
                  <a:lnTo>
                    <a:pt x="229" y="216"/>
                  </a:lnTo>
                  <a:lnTo>
                    <a:pt x="229" y="214"/>
                  </a:lnTo>
                  <a:lnTo>
                    <a:pt x="229" y="213"/>
                  </a:lnTo>
                  <a:lnTo>
                    <a:pt x="228" y="213"/>
                  </a:lnTo>
                  <a:lnTo>
                    <a:pt x="227" y="214"/>
                  </a:lnTo>
                  <a:lnTo>
                    <a:pt x="227" y="213"/>
                  </a:lnTo>
                  <a:lnTo>
                    <a:pt x="226" y="213"/>
                  </a:lnTo>
                  <a:lnTo>
                    <a:pt x="226" y="214"/>
                  </a:lnTo>
                  <a:lnTo>
                    <a:pt x="224" y="214"/>
                  </a:lnTo>
                  <a:lnTo>
                    <a:pt x="223" y="216"/>
                  </a:lnTo>
                  <a:lnTo>
                    <a:pt x="222" y="214"/>
                  </a:lnTo>
                  <a:lnTo>
                    <a:pt x="224" y="213"/>
                  </a:lnTo>
                  <a:lnTo>
                    <a:pt x="226" y="212"/>
                  </a:lnTo>
                  <a:lnTo>
                    <a:pt x="224" y="211"/>
                  </a:lnTo>
                  <a:lnTo>
                    <a:pt x="223" y="212"/>
                  </a:lnTo>
                  <a:lnTo>
                    <a:pt x="222" y="211"/>
                  </a:lnTo>
                  <a:lnTo>
                    <a:pt x="222" y="210"/>
                  </a:lnTo>
                  <a:lnTo>
                    <a:pt x="222" y="208"/>
                  </a:lnTo>
                  <a:lnTo>
                    <a:pt x="221" y="211"/>
                  </a:lnTo>
                  <a:lnTo>
                    <a:pt x="220" y="210"/>
                  </a:lnTo>
                  <a:lnTo>
                    <a:pt x="218" y="210"/>
                  </a:lnTo>
                  <a:lnTo>
                    <a:pt x="217" y="210"/>
                  </a:lnTo>
                  <a:lnTo>
                    <a:pt x="217" y="208"/>
                  </a:lnTo>
                  <a:lnTo>
                    <a:pt x="216" y="208"/>
                  </a:lnTo>
                  <a:lnTo>
                    <a:pt x="215" y="207"/>
                  </a:lnTo>
                  <a:lnTo>
                    <a:pt x="215" y="206"/>
                  </a:lnTo>
                  <a:lnTo>
                    <a:pt x="214" y="206"/>
                  </a:lnTo>
                  <a:lnTo>
                    <a:pt x="215" y="206"/>
                  </a:lnTo>
                  <a:lnTo>
                    <a:pt x="216" y="207"/>
                  </a:lnTo>
                  <a:lnTo>
                    <a:pt x="217" y="207"/>
                  </a:lnTo>
                  <a:lnTo>
                    <a:pt x="218" y="207"/>
                  </a:lnTo>
                  <a:lnTo>
                    <a:pt x="218" y="208"/>
                  </a:lnTo>
                  <a:lnTo>
                    <a:pt x="220" y="208"/>
                  </a:lnTo>
                  <a:lnTo>
                    <a:pt x="221" y="206"/>
                  </a:lnTo>
                  <a:lnTo>
                    <a:pt x="221" y="207"/>
                  </a:lnTo>
                  <a:lnTo>
                    <a:pt x="222" y="207"/>
                  </a:lnTo>
                  <a:lnTo>
                    <a:pt x="223" y="207"/>
                  </a:lnTo>
                  <a:lnTo>
                    <a:pt x="223" y="206"/>
                  </a:lnTo>
                  <a:lnTo>
                    <a:pt x="224" y="206"/>
                  </a:lnTo>
                  <a:lnTo>
                    <a:pt x="226" y="205"/>
                  </a:lnTo>
                  <a:lnTo>
                    <a:pt x="227" y="205"/>
                  </a:lnTo>
                  <a:lnTo>
                    <a:pt x="228" y="205"/>
                  </a:lnTo>
                  <a:lnTo>
                    <a:pt x="228" y="204"/>
                  </a:lnTo>
                  <a:lnTo>
                    <a:pt x="227" y="202"/>
                  </a:lnTo>
                  <a:lnTo>
                    <a:pt x="227" y="201"/>
                  </a:lnTo>
                  <a:lnTo>
                    <a:pt x="226" y="202"/>
                  </a:lnTo>
                  <a:lnTo>
                    <a:pt x="224" y="202"/>
                  </a:lnTo>
                  <a:lnTo>
                    <a:pt x="223" y="202"/>
                  </a:lnTo>
                  <a:lnTo>
                    <a:pt x="222" y="202"/>
                  </a:lnTo>
                  <a:lnTo>
                    <a:pt x="221" y="202"/>
                  </a:lnTo>
                  <a:lnTo>
                    <a:pt x="220" y="202"/>
                  </a:lnTo>
                  <a:lnTo>
                    <a:pt x="220" y="201"/>
                  </a:lnTo>
                  <a:lnTo>
                    <a:pt x="217" y="201"/>
                  </a:lnTo>
                  <a:lnTo>
                    <a:pt x="216" y="201"/>
                  </a:lnTo>
                  <a:lnTo>
                    <a:pt x="216" y="200"/>
                  </a:lnTo>
                  <a:lnTo>
                    <a:pt x="215" y="200"/>
                  </a:lnTo>
                  <a:lnTo>
                    <a:pt x="214" y="200"/>
                  </a:lnTo>
                  <a:lnTo>
                    <a:pt x="214" y="199"/>
                  </a:lnTo>
                  <a:lnTo>
                    <a:pt x="212" y="199"/>
                  </a:lnTo>
                  <a:lnTo>
                    <a:pt x="211" y="199"/>
                  </a:lnTo>
                  <a:lnTo>
                    <a:pt x="210" y="199"/>
                  </a:lnTo>
                  <a:lnTo>
                    <a:pt x="210" y="198"/>
                  </a:lnTo>
                  <a:lnTo>
                    <a:pt x="209" y="196"/>
                  </a:lnTo>
                  <a:lnTo>
                    <a:pt x="207" y="196"/>
                  </a:lnTo>
                  <a:lnTo>
                    <a:pt x="206" y="198"/>
                  </a:lnTo>
                  <a:lnTo>
                    <a:pt x="204" y="198"/>
                  </a:lnTo>
                  <a:lnTo>
                    <a:pt x="205" y="196"/>
                  </a:lnTo>
                  <a:lnTo>
                    <a:pt x="206" y="196"/>
                  </a:lnTo>
                  <a:lnTo>
                    <a:pt x="207" y="196"/>
                  </a:lnTo>
                  <a:lnTo>
                    <a:pt x="209" y="196"/>
                  </a:lnTo>
                  <a:lnTo>
                    <a:pt x="210" y="196"/>
                  </a:lnTo>
                  <a:lnTo>
                    <a:pt x="209" y="195"/>
                  </a:lnTo>
                  <a:lnTo>
                    <a:pt x="207" y="194"/>
                  </a:lnTo>
                  <a:lnTo>
                    <a:pt x="206" y="193"/>
                  </a:lnTo>
                  <a:lnTo>
                    <a:pt x="206" y="194"/>
                  </a:lnTo>
                  <a:lnTo>
                    <a:pt x="205" y="195"/>
                  </a:lnTo>
                  <a:lnTo>
                    <a:pt x="205" y="194"/>
                  </a:lnTo>
                  <a:lnTo>
                    <a:pt x="204" y="193"/>
                  </a:lnTo>
                  <a:lnTo>
                    <a:pt x="205" y="193"/>
                  </a:lnTo>
                  <a:lnTo>
                    <a:pt x="205" y="192"/>
                  </a:lnTo>
                  <a:lnTo>
                    <a:pt x="205" y="190"/>
                  </a:lnTo>
                  <a:lnTo>
                    <a:pt x="206" y="190"/>
                  </a:lnTo>
                  <a:lnTo>
                    <a:pt x="206" y="192"/>
                  </a:lnTo>
                  <a:lnTo>
                    <a:pt x="207" y="192"/>
                  </a:lnTo>
                  <a:lnTo>
                    <a:pt x="207" y="190"/>
                  </a:lnTo>
                  <a:lnTo>
                    <a:pt x="206" y="189"/>
                  </a:lnTo>
                  <a:lnTo>
                    <a:pt x="206" y="188"/>
                  </a:lnTo>
                  <a:lnTo>
                    <a:pt x="205" y="188"/>
                  </a:lnTo>
                  <a:lnTo>
                    <a:pt x="205" y="187"/>
                  </a:lnTo>
                  <a:lnTo>
                    <a:pt x="206" y="187"/>
                  </a:lnTo>
                  <a:lnTo>
                    <a:pt x="207" y="186"/>
                  </a:lnTo>
                  <a:lnTo>
                    <a:pt x="206" y="186"/>
                  </a:lnTo>
                  <a:lnTo>
                    <a:pt x="206" y="187"/>
                  </a:lnTo>
                  <a:lnTo>
                    <a:pt x="205" y="186"/>
                  </a:lnTo>
                  <a:lnTo>
                    <a:pt x="204" y="186"/>
                  </a:lnTo>
                  <a:lnTo>
                    <a:pt x="203" y="187"/>
                  </a:lnTo>
                  <a:lnTo>
                    <a:pt x="201" y="186"/>
                  </a:lnTo>
                  <a:lnTo>
                    <a:pt x="200" y="184"/>
                  </a:lnTo>
                  <a:lnTo>
                    <a:pt x="200" y="183"/>
                  </a:lnTo>
                  <a:lnTo>
                    <a:pt x="201" y="183"/>
                  </a:lnTo>
                  <a:lnTo>
                    <a:pt x="203" y="183"/>
                  </a:lnTo>
                  <a:lnTo>
                    <a:pt x="204" y="182"/>
                  </a:lnTo>
                  <a:lnTo>
                    <a:pt x="205" y="182"/>
                  </a:lnTo>
                  <a:lnTo>
                    <a:pt x="206" y="183"/>
                  </a:lnTo>
                  <a:lnTo>
                    <a:pt x="209" y="183"/>
                  </a:lnTo>
                  <a:lnTo>
                    <a:pt x="209" y="182"/>
                  </a:lnTo>
                  <a:lnTo>
                    <a:pt x="210" y="183"/>
                  </a:lnTo>
                  <a:lnTo>
                    <a:pt x="211" y="183"/>
                  </a:lnTo>
                  <a:lnTo>
                    <a:pt x="212" y="183"/>
                  </a:lnTo>
                  <a:lnTo>
                    <a:pt x="214" y="182"/>
                  </a:lnTo>
                  <a:lnTo>
                    <a:pt x="212" y="183"/>
                  </a:lnTo>
                  <a:lnTo>
                    <a:pt x="212" y="184"/>
                  </a:lnTo>
                  <a:lnTo>
                    <a:pt x="212" y="186"/>
                  </a:lnTo>
                  <a:lnTo>
                    <a:pt x="212" y="187"/>
                  </a:lnTo>
                  <a:lnTo>
                    <a:pt x="211" y="187"/>
                  </a:lnTo>
                  <a:lnTo>
                    <a:pt x="210" y="186"/>
                  </a:lnTo>
                  <a:lnTo>
                    <a:pt x="210" y="187"/>
                  </a:lnTo>
                  <a:lnTo>
                    <a:pt x="209" y="187"/>
                  </a:lnTo>
                  <a:lnTo>
                    <a:pt x="209" y="188"/>
                  </a:lnTo>
                  <a:lnTo>
                    <a:pt x="210" y="188"/>
                  </a:lnTo>
                  <a:lnTo>
                    <a:pt x="212" y="188"/>
                  </a:lnTo>
                  <a:lnTo>
                    <a:pt x="214" y="187"/>
                  </a:lnTo>
                  <a:lnTo>
                    <a:pt x="211" y="188"/>
                  </a:lnTo>
                  <a:lnTo>
                    <a:pt x="211" y="189"/>
                  </a:lnTo>
                  <a:lnTo>
                    <a:pt x="214" y="188"/>
                  </a:lnTo>
                  <a:lnTo>
                    <a:pt x="215" y="188"/>
                  </a:lnTo>
                  <a:lnTo>
                    <a:pt x="214" y="189"/>
                  </a:lnTo>
                  <a:lnTo>
                    <a:pt x="212" y="190"/>
                  </a:lnTo>
                  <a:lnTo>
                    <a:pt x="212" y="192"/>
                  </a:lnTo>
                  <a:lnTo>
                    <a:pt x="214" y="192"/>
                  </a:lnTo>
                  <a:lnTo>
                    <a:pt x="215" y="190"/>
                  </a:lnTo>
                  <a:lnTo>
                    <a:pt x="216" y="192"/>
                  </a:lnTo>
                  <a:lnTo>
                    <a:pt x="217" y="192"/>
                  </a:lnTo>
                  <a:lnTo>
                    <a:pt x="217" y="193"/>
                  </a:lnTo>
                  <a:lnTo>
                    <a:pt x="218" y="193"/>
                  </a:lnTo>
                  <a:lnTo>
                    <a:pt x="220" y="192"/>
                  </a:lnTo>
                  <a:lnTo>
                    <a:pt x="221" y="193"/>
                  </a:lnTo>
                  <a:lnTo>
                    <a:pt x="222" y="193"/>
                  </a:lnTo>
                  <a:lnTo>
                    <a:pt x="223" y="193"/>
                  </a:lnTo>
                  <a:lnTo>
                    <a:pt x="224" y="192"/>
                  </a:lnTo>
                  <a:lnTo>
                    <a:pt x="224" y="190"/>
                  </a:lnTo>
                  <a:lnTo>
                    <a:pt x="226" y="192"/>
                  </a:lnTo>
                  <a:lnTo>
                    <a:pt x="227" y="193"/>
                  </a:lnTo>
                  <a:lnTo>
                    <a:pt x="227" y="194"/>
                  </a:lnTo>
                  <a:lnTo>
                    <a:pt x="228" y="195"/>
                  </a:lnTo>
                  <a:lnTo>
                    <a:pt x="230" y="198"/>
                  </a:lnTo>
                  <a:lnTo>
                    <a:pt x="230" y="196"/>
                  </a:lnTo>
                  <a:lnTo>
                    <a:pt x="230" y="194"/>
                  </a:lnTo>
                  <a:lnTo>
                    <a:pt x="229" y="194"/>
                  </a:lnTo>
                  <a:lnTo>
                    <a:pt x="229" y="193"/>
                  </a:lnTo>
                  <a:lnTo>
                    <a:pt x="230" y="193"/>
                  </a:lnTo>
                  <a:lnTo>
                    <a:pt x="232" y="193"/>
                  </a:lnTo>
                  <a:lnTo>
                    <a:pt x="233" y="194"/>
                  </a:lnTo>
                  <a:lnTo>
                    <a:pt x="234" y="194"/>
                  </a:lnTo>
                  <a:lnTo>
                    <a:pt x="235" y="196"/>
                  </a:lnTo>
                  <a:lnTo>
                    <a:pt x="236" y="199"/>
                  </a:lnTo>
                  <a:lnTo>
                    <a:pt x="235" y="200"/>
                  </a:lnTo>
                  <a:lnTo>
                    <a:pt x="238" y="201"/>
                  </a:lnTo>
                  <a:lnTo>
                    <a:pt x="239" y="201"/>
                  </a:lnTo>
                  <a:lnTo>
                    <a:pt x="239" y="202"/>
                  </a:lnTo>
                  <a:lnTo>
                    <a:pt x="240" y="202"/>
                  </a:lnTo>
                  <a:lnTo>
                    <a:pt x="242" y="204"/>
                  </a:lnTo>
                  <a:lnTo>
                    <a:pt x="244" y="202"/>
                  </a:lnTo>
                  <a:lnTo>
                    <a:pt x="244" y="201"/>
                  </a:lnTo>
                  <a:lnTo>
                    <a:pt x="242" y="201"/>
                  </a:lnTo>
                  <a:lnTo>
                    <a:pt x="242" y="200"/>
                  </a:lnTo>
                  <a:lnTo>
                    <a:pt x="241" y="199"/>
                  </a:lnTo>
                  <a:lnTo>
                    <a:pt x="240" y="199"/>
                  </a:lnTo>
                  <a:lnTo>
                    <a:pt x="240" y="198"/>
                  </a:lnTo>
                  <a:lnTo>
                    <a:pt x="239" y="196"/>
                  </a:lnTo>
                  <a:lnTo>
                    <a:pt x="240" y="196"/>
                  </a:lnTo>
                  <a:lnTo>
                    <a:pt x="241" y="195"/>
                  </a:lnTo>
                  <a:lnTo>
                    <a:pt x="241" y="194"/>
                  </a:lnTo>
                  <a:lnTo>
                    <a:pt x="239" y="194"/>
                  </a:lnTo>
                  <a:lnTo>
                    <a:pt x="238" y="193"/>
                  </a:lnTo>
                  <a:lnTo>
                    <a:pt x="238" y="192"/>
                  </a:lnTo>
                  <a:lnTo>
                    <a:pt x="236" y="190"/>
                  </a:lnTo>
                  <a:lnTo>
                    <a:pt x="235" y="189"/>
                  </a:lnTo>
                  <a:lnTo>
                    <a:pt x="235" y="188"/>
                  </a:lnTo>
                  <a:lnTo>
                    <a:pt x="236" y="189"/>
                  </a:lnTo>
                  <a:lnTo>
                    <a:pt x="238" y="190"/>
                  </a:lnTo>
                  <a:lnTo>
                    <a:pt x="240" y="192"/>
                  </a:lnTo>
                  <a:lnTo>
                    <a:pt x="241" y="193"/>
                  </a:lnTo>
                  <a:lnTo>
                    <a:pt x="242" y="193"/>
                  </a:lnTo>
                  <a:lnTo>
                    <a:pt x="244" y="190"/>
                  </a:lnTo>
                  <a:lnTo>
                    <a:pt x="244" y="193"/>
                  </a:lnTo>
                  <a:lnTo>
                    <a:pt x="245" y="194"/>
                  </a:lnTo>
                  <a:lnTo>
                    <a:pt x="246" y="194"/>
                  </a:lnTo>
                  <a:lnTo>
                    <a:pt x="246" y="193"/>
                  </a:lnTo>
                  <a:lnTo>
                    <a:pt x="247" y="193"/>
                  </a:lnTo>
                  <a:lnTo>
                    <a:pt x="248" y="194"/>
                  </a:lnTo>
                  <a:lnTo>
                    <a:pt x="251" y="194"/>
                  </a:lnTo>
                  <a:lnTo>
                    <a:pt x="253" y="194"/>
                  </a:lnTo>
                  <a:lnTo>
                    <a:pt x="253" y="193"/>
                  </a:lnTo>
                  <a:lnTo>
                    <a:pt x="254" y="193"/>
                  </a:lnTo>
                  <a:lnTo>
                    <a:pt x="254" y="192"/>
                  </a:lnTo>
                  <a:lnTo>
                    <a:pt x="256" y="190"/>
                  </a:lnTo>
                  <a:lnTo>
                    <a:pt x="258" y="190"/>
                  </a:lnTo>
                  <a:lnTo>
                    <a:pt x="258" y="189"/>
                  </a:lnTo>
                  <a:lnTo>
                    <a:pt x="259" y="189"/>
                  </a:lnTo>
                  <a:lnTo>
                    <a:pt x="260" y="189"/>
                  </a:lnTo>
                  <a:lnTo>
                    <a:pt x="260" y="188"/>
                  </a:lnTo>
                  <a:lnTo>
                    <a:pt x="263" y="188"/>
                  </a:lnTo>
                  <a:lnTo>
                    <a:pt x="264" y="188"/>
                  </a:lnTo>
                  <a:lnTo>
                    <a:pt x="265" y="187"/>
                  </a:lnTo>
                  <a:lnTo>
                    <a:pt x="265" y="186"/>
                  </a:lnTo>
                  <a:lnTo>
                    <a:pt x="266" y="186"/>
                  </a:lnTo>
                  <a:lnTo>
                    <a:pt x="268" y="187"/>
                  </a:lnTo>
                  <a:lnTo>
                    <a:pt x="269" y="187"/>
                  </a:lnTo>
                  <a:lnTo>
                    <a:pt x="269" y="186"/>
                  </a:lnTo>
                  <a:lnTo>
                    <a:pt x="268" y="184"/>
                  </a:lnTo>
                  <a:lnTo>
                    <a:pt x="268" y="183"/>
                  </a:lnTo>
                  <a:lnTo>
                    <a:pt x="269" y="182"/>
                  </a:lnTo>
                  <a:lnTo>
                    <a:pt x="271" y="183"/>
                  </a:lnTo>
                  <a:lnTo>
                    <a:pt x="272" y="182"/>
                  </a:lnTo>
                  <a:lnTo>
                    <a:pt x="274" y="181"/>
                  </a:lnTo>
                  <a:lnTo>
                    <a:pt x="275" y="181"/>
                  </a:lnTo>
                  <a:lnTo>
                    <a:pt x="276" y="181"/>
                  </a:lnTo>
                  <a:lnTo>
                    <a:pt x="277" y="181"/>
                  </a:lnTo>
                  <a:lnTo>
                    <a:pt x="277" y="180"/>
                  </a:lnTo>
                  <a:lnTo>
                    <a:pt x="277" y="178"/>
                  </a:lnTo>
                  <a:lnTo>
                    <a:pt x="277" y="177"/>
                  </a:lnTo>
                  <a:lnTo>
                    <a:pt x="277" y="176"/>
                  </a:lnTo>
                  <a:lnTo>
                    <a:pt x="275" y="176"/>
                  </a:lnTo>
                  <a:lnTo>
                    <a:pt x="272" y="176"/>
                  </a:lnTo>
                  <a:lnTo>
                    <a:pt x="271" y="176"/>
                  </a:lnTo>
                  <a:lnTo>
                    <a:pt x="269" y="177"/>
                  </a:lnTo>
                  <a:lnTo>
                    <a:pt x="269" y="176"/>
                  </a:lnTo>
                  <a:lnTo>
                    <a:pt x="268" y="177"/>
                  </a:lnTo>
                  <a:lnTo>
                    <a:pt x="266" y="177"/>
                  </a:lnTo>
                  <a:lnTo>
                    <a:pt x="266" y="176"/>
                  </a:lnTo>
                  <a:lnTo>
                    <a:pt x="268" y="175"/>
                  </a:lnTo>
                  <a:lnTo>
                    <a:pt x="269" y="173"/>
                  </a:lnTo>
                  <a:lnTo>
                    <a:pt x="269" y="172"/>
                  </a:lnTo>
                  <a:lnTo>
                    <a:pt x="268" y="172"/>
                  </a:lnTo>
                  <a:lnTo>
                    <a:pt x="265" y="173"/>
                  </a:lnTo>
                  <a:lnTo>
                    <a:pt x="264" y="172"/>
                  </a:lnTo>
                  <a:lnTo>
                    <a:pt x="265" y="172"/>
                  </a:lnTo>
                  <a:lnTo>
                    <a:pt x="268" y="171"/>
                  </a:lnTo>
                  <a:lnTo>
                    <a:pt x="266" y="171"/>
                  </a:lnTo>
                  <a:lnTo>
                    <a:pt x="268" y="171"/>
                  </a:lnTo>
                  <a:lnTo>
                    <a:pt x="269" y="170"/>
                  </a:lnTo>
                  <a:lnTo>
                    <a:pt x="270" y="169"/>
                  </a:lnTo>
                  <a:lnTo>
                    <a:pt x="270" y="167"/>
                  </a:lnTo>
                  <a:lnTo>
                    <a:pt x="271" y="166"/>
                  </a:lnTo>
                  <a:lnTo>
                    <a:pt x="271" y="167"/>
                  </a:lnTo>
                  <a:lnTo>
                    <a:pt x="271" y="169"/>
                  </a:lnTo>
                  <a:lnTo>
                    <a:pt x="274" y="169"/>
                  </a:lnTo>
                  <a:lnTo>
                    <a:pt x="275" y="169"/>
                  </a:lnTo>
                  <a:lnTo>
                    <a:pt x="276" y="167"/>
                  </a:lnTo>
                  <a:lnTo>
                    <a:pt x="276" y="166"/>
                  </a:lnTo>
                  <a:lnTo>
                    <a:pt x="275" y="166"/>
                  </a:lnTo>
                  <a:lnTo>
                    <a:pt x="274" y="166"/>
                  </a:lnTo>
                  <a:lnTo>
                    <a:pt x="272" y="166"/>
                  </a:lnTo>
                  <a:lnTo>
                    <a:pt x="272" y="165"/>
                  </a:lnTo>
                  <a:lnTo>
                    <a:pt x="272" y="164"/>
                  </a:lnTo>
                  <a:lnTo>
                    <a:pt x="274" y="164"/>
                  </a:lnTo>
                  <a:lnTo>
                    <a:pt x="274" y="163"/>
                  </a:lnTo>
                  <a:lnTo>
                    <a:pt x="274" y="161"/>
                  </a:lnTo>
                  <a:lnTo>
                    <a:pt x="274" y="163"/>
                  </a:lnTo>
                  <a:lnTo>
                    <a:pt x="275" y="164"/>
                  </a:lnTo>
                  <a:lnTo>
                    <a:pt x="276" y="164"/>
                  </a:lnTo>
                  <a:lnTo>
                    <a:pt x="277" y="165"/>
                  </a:lnTo>
                  <a:lnTo>
                    <a:pt x="280" y="165"/>
                  </a:lnTo>
                  <a:lnTo>
                    <a:pt x="281" y="165"/>
                  </a:lnTo>
                  <a:lnTo>
                    <a:pt x="282" y="164"/>
                  </a:lnTo>
                  <a:lnTo>
                    <a:pt x="282" y="163"/>
                  </a:lnTo>
                  <a:lnTo>
                    <a:pt x="282" y="161"/>
                  </a:lnTo>
                  <a:lnTo>
                    <a:pt x="280" y="163"/>
                  </a:lnTo>
                  <a:lnTo>
                    <a:pt x="279" y="161"/>
                  </a:lnTo>
                  <a:lnTo>
                    <a:pt x="277" y="161"/>
                  </a:lnTo>
                  <a:lnTo>
                    <a:pt x="276" y="160"/>
                  </a:lnTo>
                  <a:lnTo>
                    <a:pt x="276" y="161"/>
                  </a:lnTo>
                  <a:lnTo>
                    <a:pt x="275" y="160"/>
                  </a:lnTo>
                  <a:lnTo>
                    <a:pt x="275" y="159"/>
                  </a:lnTo>
                  <a:lnTo>
                    <a:pt x="274" y="158"/>
                  </a:lnTo>
                  <a:lnTo>
                    <a:pt x="275" y="157"/>
                  </a:lnTo>
                  <a:lnTo>
                    <a:pt x="276" y="157"/>
                  </a:lnTo>
                  <a:lnTo>
                    <a:pt x="277" y="158"/>
                  </a:lnTo>
                  <a:lnTo>
                    <a:pt x="277" y="159"/>
                  </a:lnTo>
                  <a:lnTo>
                    <a:pt x="279" y="160"/>
                  </a:lnTo>
                  <a:lnTo>
                    <a:pt x="280" y="160"/>
                  </a:lnTo>
                  <a:lnTo>
                    <a:pt x="281" y="160"/>
                  </a:lnTo>
                  <a:lnTo>
                    <a:pt x="281" y="159"/>
                  </a:lnTo>
                  <a:lnTo>
                    <a:pt x="282" y="159"/>
                  </a:lnTo>
                  <a:lnTo>
                    <a:pt x="282" y="160"/>
                  </a:lnTo>
                  <a:lnTo>
                    <a:pt x="285" y="160"/>
                  </a:lnTo>
                  <a:lnTo>
                    <a:pt x="285" y="159"/>
                  </a:lnTo>
                  <a:lnTo>
                    <a:pt x="285" y="158"/>
                  </a:lnTo>
                  <a:lnTo>
                    <a:pt x="283" y="158"/>
                  </a:lnTo>
                  <a:lnTo>
                    <a:pt x="282" y="158"/>
                  </a:lnTo>
                  <a:lnTo>
                    <a:pt x="280" y="157"/>
                  </a:lnTo>
                  <a:lnTo>
                    <a:pt x="281" y="155"/>
                  </a:lnTo>
                  <a:lnTo>
                    <a:pt x="282" y="155"/>
                  </a:lnTo>
                  <a:lnTo>
                    <a:pt x="283" y="157"/>
                  </a:lnTo>
                  <a:lnTo>
                    <a:pt x="285" y="158"/>
                  </a:lnTo>
                  <a:lnTo>
                    <a:pt x="286" y="159"/>
                  </a:lnTo>
                  <a:lnTo>
                    <a:pt x="286" y="160"/>
                  </a:lnTo>
                  <a:lnTo>
                    <a:pt x="288" y="159"/>
                  </a:lnTo>
                  <a:lnTo>
                    <a:pt x="289" y="159"/>
                  </a:lnTo>
                  <a:lnTo>
                    <a:pt x="289" y="158"/>
                  </a:lnTo>
                  <a:lnTo>
                    <a:pt x="289" y="157"/>
                  </a:lnTo>
                  <a:lnTo>
                    <a:pt x="287" y="157"/>
                  </a:lnTo>
                  <a:lnTo>
                    <a:pt x="286" y="158"/>
                  </a:lnTo>
                  <a:lnTo>
                    <a:pt x="285" y="158"/>
                  </a:lnTo>
                  <a:lnTo>
                    <a:pt x="285" y="157"/>
                  </a:lnTo>
                  <a:lnTo>
                    <a:pt x="286" y="155"/>
                  </a:lnTo>
                  <a:lnTo>
                    <a:pt x="288" y="154"/>
                  </a:lnTo>
                  <a:lnTo>
                    <a:pt x="288" y="153"/>
                  </a:lnTo>
                  <a:lnTo>
                    <a:pt x="289" y="152"/>
                  </a:lnTo>
                  <a:lnTo>
                    <a:pt x="291" y="153"/>
                  </a:lnTo>
                  <a:lnTo>
                    <a:pt x="292" y="152"/>
                  </a:lnTo>
                  <a:lnTo>
                    <a:pt x="293" y="152"/>
                  </a:lnTo>
                  <a:lnTo>
                    <a:pt x="292" y="149"/>
                  </a:lnTo>
                  <a:lnTo>
                    <a:pt x="293" y="148"/>
                  </a:lnTo>
                  <a:lnTo>
                    <a:pt x="294" y="148"/>
                  </a:lnTo>
                  <a:lnTo>
                    <a:pt x="295" y="147"/>
                  </a:lnTo>
                  <a:lnTo>
                    <a:pt x="295" y="146"/>
                  </a:lnTo>
                  <a:lnTo>
                    <a:pt x="297" y="145"/>
                  </a:lnTo>
                  <a:lnTo>
                    <a:pt x="297" y="143"/>
                  </a:lnTo>
                  <a:lnTo>
                    <a:pt x="295" y="142"/>
                  </a:lnTo>
                  <a:lnTo>
                    <a:pt x="294" y="143"/>
                  </a:lnTo>
                  <a:lnTo>
                    <a:pt x="293" y="145"/>
                  </a:lnTo>
                  <a:lnTo>
                    <a:pt x="293" y="146"/>
                  </a:lnTo>
                  <a:lnTo>
                    <a:pt x="292" y="146"/>
                  </a:lnTo>
                  <a:lnTo>
                    <a:pt x="292" y="145"/>
                  </a:lnTo>
                  <a:lnTo>
                    <a:pt x="292" y="143"/>
                  </a:lnTo>
                  <a:lnTo>
                    <a:pt x="291" y="143"/>
                  </a:lnTo>
                  <a:lnTo>
                    <a:pt x="289" y="142"/>
                  </a:lnTo>
                  <a:lnTo>
                    <a:pt x="288" y="142"/>
                  </a:lnTo>
                  <a:lnTo>
                    <a:pt x="288" y="141"/>
                  </a:lnTo>
                  <a:lnTo>
                    <a:pt x="288" y="140"/>
                  </a:lnTo>
                  <a:lnTo>
                    <a:pt x="287" y="140"/>
                  </a:lnTo>
                  <a:lnTo>
                    <a:pt x="286" y="141"/>
                  </a:lnTo>
                  <a:lnTo>
                    <a:pt x="285" y="142"/>
                  </a:lnTo>
                  <a:lnTo>
                    <a:pt x="282" y="142"/>
                  </a:lnTo>
                  <a:lnTo>
                    <a:pt x="281" y="142"/>
                  </a:lnTo>
                  <a:lnTo>
                    <a:pt x="281" y="141"/>
                  </a:lnTo>
                  <a:lnTo>
                    <a:pt x="280" y="142"/>
                  </a:lnTo>
                  <a:lnTo>
                    <a:pt x="279" y="142"/>
                  </a:lnTo>
                  <a:lnTo>
                    <a:pt x="277" y="142"/>
                  </a:lnTo>
                  <a:lnTo>
                    <a:pt x="276" y="141"/>
                  </a:lnTo>
                  <a:lnTo>
                    <a:pt x="275" y="140"/>
                  </a:lnTo>
                  <a:lnTo>
                    <a:pt x="275" y="142"/>
                  </a:lnTo>
                  <a:lnTo>
                    <a:pt x="274" y="142"/>
                  </a:lnTo>
                  <a:lnTo>
                    <a:pt x="272" y="142"/>
                  </a:lnTo>
                  <a:lnTo>
                    <a:pt x="270" y="142"/>
                  </a:lnTo>
                  <a:lnTo>
                    <a:pt x="269" y="141"/>
                  </a:lnTo>
                  <a:lnTo>
                    <a:pt x="268" y="141"/>
                  </a:lnTo>
                  <a:lnTo>
                    <a:pt x="268" y="140"/>
                  </a:lnTo>
                  <a:lnTo>
                    <a:pt x="269" y="139"/>
                  </a:lnTo>
                  <a:lnTo>
                    <a:pt x="268" y="139"/>
                  </a:lnTo>
                  <a:lnTo>
                    <a:pt x="266" y="139"/>
                  </a:lnTo>
                  <a:lnTo>
                    <a:pt x="265" y="139"/>
                  </a:lnTo>
                  <a:lnTo>
                    <a:pt x="264" y="139"/>
                  </a:lnTo>
                  <a:lnTo>
                    <a:pt x="263" y="139"/>
                  </a:lnTo>
                  <a:lnTo>
                    <a:pt x="262" y="139"/>
                  </a:lnTo>
                  <a:lnTo>
                    <a:pt x="262" y="137"/>
                  </a:lnTo>
                  <a:lnTo>
                    <a:pt x="260" y="136"/>
                  </a:lnTo>
                  <a:lnTo>
                    <a:pt x="259" y="136"/>
                  </a:lnTo>
                  <a:lnTo>
                    <a:pt x="259" y="137"/>
                  </a:lnTo>
                  <a:lnTo>
                    <a:pt x="258" y="137"/>
                  </a:lnTo>
                  <a:lnTo>
                    <a:pt x="257" y="137"/>
                  </a:lnTo>
                  <a:lnTo>
                    <a:pt x="257" y="139"/>
                  </a:lnTo>
                  <a:lnTo>
                    <a:pt x="256" y="137"/>
                  </a:lnTo>
                  <a:lnTo>
                    <a:pt x="256" y="136"/>
                  </a:lnTo>
                  <a:lnTo>
                    <a:pt x="257" y="135"/>
                  </a:lnTo>
                  <a:lnTo>
                    <a:pt x="256" y="135"/>
                  </a:lnTo>
                  <a:lnTo>
                    <a:pt x="254" y="135"/>
                  </a:lnTo>
                  <a:lnTo>
                    <a:pt x="253" y="135"/>
                  </a:lnTo>
                  <a:lnTo>
                    <a:pt x="253" y="134"/>
                  </a:lnTo>
                  <a:lnTo>
                    <a:pt x="254" y="133"/>
                  </a:lnTo>
                  <a:lnTo>
                    <a:pt x="256" y="134"/>
                  </a:lnTo>
                  <a:lnTo>
                    <a:pt x="257" y="134"/>
                  </a:lnTo>
                  <a:lnTo>
                    <a:pt x="259" y="133"/>
                  </a:lnTo>
                  <a:lnTo>
                    <a:pt x="258" y="131"/>
                  </a:lnTo>
                  <a:lnTo>
                    <a:pt x="257" y="131"/>
                  </a:lnTo>
                  <a:lnTo>
                    <a:pt x="258" y="131"/>
                  </a:lnTo>
                  <a:lnTo>
                    <a:pt x="259" y="131"/>
                  </a:lnTo>
                  <a:lnTo>
                    <a:pt x="259" y="130"/>
                  </a:lnTo>
                  <a:lnTo>
                    <a:pt x="262" y="130"/>
                  </a:lnTo>
                  <a:lnTo>
                    <a:pt x="262" y="131"/>
                  </a:lnTo>
                  <a:lnTo>
                    <a:pt x="263" y="131"/>
                  </a:lnTo>
                  <a:lnTo>
                    <a:pt x="265" y="131"/>
                  </a:lnTo>
                  <a:lnTo>
                    <a:pt x="265" y="130"/>
                  </a:lnTo>
                  <a:lnTo>
                    <a:pt x="265" y="129"/>
                  </a:lnTo>
                  <a:lnTo>
                    <a:pt x="266" y="129"/>
                  </a:lnTo>
                  <a:lnTo>
                    <a:pt x="268" y="129"/>
                  </a:lnTo>
                  <a:lnTo>
                    <a:pt x="269" y="128"/>
                  </a:lnTo>
                  <a:lnTo>
                    <a:pt x="270" y="127"/>
                  </a:lnTo>
                  <a:lnTo>
                    <a:pt x="270" y="125"/>
                  </a:lnTo>
                  <a:lnTo>
                    <a:pt x="269" y="125"/>
                  </a:lnTo>
                  <a:lnTo>
                    <a:pt x="269" y="124"/>
                  </a:lnTo>
                  <a:lnTo>
                    <a:pt x="268" y="125"/>
                  </a:lnTo>
                  <a:lnTo>
                    <a:pt x="266" y="125"/>
                  </a:lnTo>
                  <a:lnTo>
                    <a:pt x="264" y="127"/>
                  </a:lnTo>
                  <a:lnTo>
                    <a:pt x="264" y="125"/>
                  </a:lnTo>
                  <a:lnTo>
                    <a:pt x="263" y="125"/>
                  </a:lnTo>
                  <a:lnTo>
                    <a:pt x="262" y="127"/>
                  </a:lnTo>
                  <a:lnTo>
                    <a:pt x="260" y="125"/>
                  </a:lnTo>
                  <a:lnTo>
                    <a:pt x="259" y="124"/>
                  </a:lnTo>
                  <a:lnTo>
                    <a:pt x="258" y="125"/>
                  </a:lnTo>
                  <a:lnTo>
                    <a:pt x="257" y="124"/>
                  </a:lnTo>
                  <a:lnTo>
                    <a:pt x="259" y="124"/>
                  </a:lnTo>
                  <a:lnTo>
                    <a:pt x="259" y="123"/>
                  </a:lnTo>
                  <a:lnTo>
                    <a:pt x="258" y="122"/>
                  </a:lnTo>
                  <a:lnTo>
                    <a:pt x="257" y="122"/>
                  </a:lnTo>
                  <a:lnTo>
                    <a:pt x="257" y="121"/>
                  </a:lnTo>
                  <a:lnTo>
                    <a:pt x="259" y="119"/>
                  </a:lnTo>
                  <a:lnTo>
                    <a:pt x="260" y="118"/>
                  </a:lnTo>
                  <a:lnTo>
                    <a:pt x="260" y="116"/>
                  </a:lnTo>
                  <a:lnTo>
                    <a:pt x="259" y="116"/>
                  </a:lnTo>
                  <a:lnTo>
                    <a:pt x="259" y="115"/>
                  </a:lnTo>
                  <a:lnTo>
                    <a:pt x="259" y="113"/>
                  </a:lnTo>
                  <a:lnTo>
                    <a:pt x="260" y="113"/>
                  </a:lnTo>
                  <a:lnTo>
                    <a:pt x="263" y="112"/>
                  </a:lnTo>
                  <a:lnTo>
                    <a:pt x="264" y="112"/>
                  </a:lnTo>
                  <a:lnTo>
                    <a:pt x="265" y="111"/>
                  </a:lnTo>
                  <a:lnTo>
                    <a:pt x="266" y="110"/>
                  </a:lnTo>
                  <a:lnTo>
                    <a:pt x="265" y="109"/>
                  </a:lnTo>
                  <a:lnTo>
                    <a:pt x="265" y="107"/>
                  </a:lnTo>
                  <a:lnTo>
                    <a:pt x="264" y="106"/>
                  </a:lnTo>
                  <a:lnTo>
                    <a:pt x="263" y="107"/>
                  </a:lnTo>
                  <a:lnTo>
                    <a:pt x="263" y="109"/>
                  </a:lnTo>
                  <a:lnTo>
                    <a:pt x="262" y="109"/>
                  </a:lnTo>
                  <a:lnTo>
                    <a:pt x="260" y="109"/>
                  </a:lnTo>
                  <a:lnTo>
                    <a:pt x="259" y="109"/>
                  </a:lnTo>
                  <a:lnTo>
                    <a:pt x="259" y="107"/>
                  </a:lnTo>
                  <a:lnTo>
                    <a:pt x="259" y="106"/>
                  </a:lnTo>
                  <a:lnTo>
                    <a:pt x="259" y="105"/>
                  </a:lnTo>
                  <a:lnTo>
                    <a:pt x="259" y="106"/>
                  </a:lnTo>
                  <a:lnTo>
                    <a:pt x="258" y="106"/>
                  </a:lnTo>
                  <a:lnTo>
                    <a:pt x="257" y="106"/>
                  </a:lnTo>
                  <a:lnTo>
                    <a:pt x="256" y="106"/>
                  </a:lnTo>
                  <a:lnTo>
                    <a:pt x="254" y="106"/>
                  </a:lnTo>
                  <a:lnTo>
                    <a:pt x="254" y="105"/>
                  </a:lnTo>
                  <a:lnTo>
                    <a:pt x="253" y="104"/>
                  </a:lnTo>
                  <a:lnTo>
                    <a:pt x="252" y="104"/>
                  </a:lnTo>
                  <a:lnTo>
                    <a:pt x="252" y="105"/>
                  </a:lnTo>
                  <a:lnTo>
                    <a:pt x="251" y="105"/>
                  </a:lnTo>
                  <a:lnTo>
                    <a:pt x="251" y="104"/>
                  </a:lnTo>
                  <a:lnTo>
                    <a:pt x="250" y="104"/>
                  </a:lnTo>
                  <a:lnTo>
                    <a:pt x="248" y="105"/>
                  </a:lnTo>
                  <a:lnTo>
                    <a:pt x="248" y="104"/>
                  </a:lnTo>
                  <a:lnTo>
                    <a:pt x="250" y="103"/>
                  </a:lnTo>
                  <a:lnTo>
                    <a:pt x="248" y="103"/>
                  </a:lnTo>
                  <a:lnTo>
                    <a:pt x="247" y="103"/>
                  </a:lnTo>
                  <a:lnTo>
                    <a:pt x="246" y="103"/>
                  </a:lnTo>
                  <a:lnTo>
                    <a:pt x="245" y="101"/>
                  </a:lnTo>
                  <a:lnTo>
                    <a:pt x="246" y="101"/>
                  </a:lnTo>
                  <a:lnTo>
                    <a:pt x="247" y="101"/>
                  </a:lnTo>
                  <a:lnTo>
                    <a:pt x="246" y="100"/>
                  </a:lnTo>
                  <a:lnTo>
                    <a:pt x="246" y="98"/>
                  </a:lnTo>
                  <a:lnTo>
                    <a:pt x="247" y="98"/>
                  </a:lnTo>
                  <a:lnTo>
                    <a:pt x="247" y="100"/>
                  </a:lnTo>
                  <a:lnTo>
                    <a:pt x="248" y="100"/>
                  </a:lnTo>
                  <a:lnTo>
                    <a:pt x="248" y="101"/>
                  </a:lnTo>
                  <a:lnTo>
                    <a:pt x="250" y="101"/>
                  </a:lnTo>
                  <a:lnTo>
                    <a:pt x="250" y="99"/>
                  </a:lnTo>
                  <a:lnTo>
                    <a:pt x="250" y="98"/>
                  </a:lnTo>
                  <a:lnTo>
                    <a:pt x="251" y="100"/>
                  </a:lnTo>
                  <a:lnTo>
                    <a:pt x="252" y="100"/>
                  </a:lnTo>
                  <a:lnTo>
                    <a:pt x="252" y="101"/>
                  </a:lnTo>
                  <a:lnTo>
                    <a:pt x="252" y="103"/>
                  </a:lnTo>
                  <a:lnTo>
                    <a:pt x="254" y="103"/>
                  </a:lnTo>
                  <a:lnTo>
                    <a:pt x="256" y="103"/>
                  </a:lnTo>
                  <a:lnTo>
                    <a:pt x="256" y="101"/>
                  </a:lnTo>
                  <a:lnTo>
                    <a:pt x="254" y="101"/>
                  </a:lnTo>
                  <a:lnTo>
                    <a:pt x="254" y="100"/>
                  </a:lnTo>
                  <a:lnTo>
                    <a:pt x="254" y="99"/>
                  </a:lnTo>
                  <a:lnTo>
                    <a:pt x="253" y="99"/>
                  </a:lnTo>
                  <a:lnTo>
                    <a:pt x="253" y="98"/>
                  </a:lnTo>
                  <a:lnTo>
                    <a:pt x="252" y="98"/>
                  </a:lnTo>
                  <a:lnTo>
                    <a:pt x="252" y="97"/>
                  </a:lnTo>
                  <a:lnTo>
                    <a:pt x="251" y="97"/>
                  </a:lnTo>
                  <a:lnTo>
                    <a:pt x="251" y="95"/>
                  </a:lnTo>
                  <a:lnTo>
                    <a:pt x="252" y="94"/>
                  </a:lnTo>
                  <a:lnTo>
                    <a:pt x="252" y="95"/>
                  </a:lnTo>
                  <a:lnTo>
                    <a:pt x="253" y="97"/>
                  </a:lnTo>
                  <a:lnTo>
                    <a:pt x="256" y="97"/>
                  </a:lnTo>
                  <a:lnTo>
                    <a:pt x="254" y="95"/>
                  </a:lnTo>
                  <a:lnTo>
                    <a:pt x="256" y="95"/>
                  </a:lnTo>
                  <a:lnTo>
                    <a:pt x="256" y="97"/>
                  </a:lnTo>
                  <a:lnTo>
                    <a:pt x="256" y="98"/>
                  </a:lnTo>
                  <a:lnTo>
                    <a:pt x="257" y="98"/>
                  </a:lnTo>
                  <a:lnTo>
                    <a:pt x="258" y="98"/>
                  </a:lnTo>
                  <a:lnTo>
                    <a:pt x="259" y="97"/>
                  </a:lnTo>
                  <a:lnTo>
                    <a:pt x="260" y="97"/>
                  </a:lnTo>
                  <a:lnTo>
                    <a:pt x="262" y="97"/>
                  </a:lnTo>
                  <a:lnTo>
                    <a:pt x="263" y="95"/>
                  </a:lnTo>
                  <a:lnTo>
                    <a:pt x="264" y="95"/>
                  </a:lnTo>
                  <a:lnTo>
                    <a:pt x="264" y="98"/>
                  </a:lnTo>
                  <a:lnTo>
                    <a:pt x="266" y="99"/>
                  </a:lnTo>
                  <a:lnTo>
                    <a:pt x="268" y="98"/>
                  </a:lnTo>
                  <a:lnTo>
                    <a:pt x="270" y="97"/>
                  </a:lnTo>
                  <a:lnTo>
                    <a:pt x="271" y="95"/>
                  </a:lnTo>
                  <a:lnTo>
                    <a:pt x="271" y="94"/>
                  </a:lnTo>
                  <a:lnTo>
                    <a:pt x="270" y="94"/>
                  </a:lnTo>
                  <a:lnTo>
                    <a:pt x="271" y="93"/>
                  </a:lnTo>
                  <a:lnTo>
                    <a:pt x="271" y="92"/>
                  </a:lnTo>
                  <a:lnTo>
                    <a:pt x="272" y="92"/>
                  </a:lnTo>
                  <a:lnTo>
                    <a:pt x="274" y="91"/>
                  </a:lnTo>
                  <a:lnTo>
                    <a:pt x="276" y="91"/>
                  </a:lnTo>
                  <a:lnTo>
                    <a:pt x="277" y="89"/>
                  </a:lnTo>
                  <a:lnTo>
                    <a:pt x="277" y="88"/>
                  </a:lnTo>
                  <a:lnTo>
                    <a:pt x="279" y="87"/>
                  </a:lnTo>
                  <a:lnTo>
                    <a:pt x="280" y="86"/>
                  </a:lnTo>
                  <a:lnTo>
                    <a:pt x="281" y="85"/>
                  </a:lnTo>
                  <a:lnTo>
                    <a:pt x="280" y="83"/>
                  </a:lnTo>
                  <a:lnTo>
                    <a:pt x="277" y="83"/>
                  </a:lnTo>
                  <a:lnTo>
                    <a:pt x="276" y="85"/>
                  </a:lnTo>
                  <a:lnTo>
                    <a:pt x="275" y="83"/>
                  </a:lnTo>
                  <a:lnTo>
                    <a:pt x="274" y="85"/>
                  </a:lnTo>
                  <a:lnTo>
                    <a:pt x="271" y="85"/>
                  </a:lnTo>
                  <a:lnTo>
                    <a:pt x="274" y="83"/>
                  </a:lnTo>
                  <a:lnTo>
                    <a:pt x="274" y="82"/>
                  </a:lnTo>
                  <a:lnTo>
                    <a:pt x="272" y="81"/>
                  </a:lnTo>
                  <a:lnTo>
                    <a:pt x="274" y="80"/>
                  </a:lnTo>
                  <a:lnTo>
                    <a:pt x="275" y="80"/>
                  </a:lnTo>
                  <a:lnTo>
                    <a:pt x="275" y="77"/>
                  </a:lnTo>
                  <a:lnTo>
                    <a:pt x="274" y="77"/>
                  </a:lnTo>
                  <a:lnTo>
                    <a:pt x="272" y="77"/>
                  </a:lnTo>
                  <a:lnTo>
                    <a:pt x="272" y="79"/>
                  </a:lnTo>
                  <a:lnTo>
                    <a:pt x="271" y="79"/>
                  </a:lnTo>
                  <a:lnTo>
                    <a:pt x="270" y="79"/>
                  </a:lnTo>
                  <a:lnTo>
                    <a:pt x="269" y="80"/>
                  </a:lnTo>
                  <a:lnTo>
                    <a:pt x="269" y="79"/>
                  </a:lnTo>
                  <a:lnTo>
                    <a:pt x="270" y="77"/>
                  </a:lnTo>
                  <a:lnTo>
                    <a:pt x="271" y="77"/>
                  </a:lnTo>
                  <a:lnTo>
                    <a:pt x="271" y="76"/>
                  </a:lnTo>
                  <a:lnTo>
                    <a:pt x="272" y="76"/>
                  </a:lnTo>
                  <a:lnTo>
                    <a:pt x="274" y="75"/>
                  </a:lnTo>
                  <a:lnTo>
                    <a:pt x="272" y="74"/>
                  </a:lnTo>
                  <a:lnTo>
                    <a:pt x="270" y="74"/>
                  </a:lnTo>
                  <a:lnTo>
                    <a:pt x="269" y="75"/>
                  </a:lnTo>
                  <a:lnTo>
                    <a:pt x="269" y="74"/>
                  </a:lnTo>
                  <a:lnTo>
                    <a:pt x="272" y="73"/>
                  </a:lnTo>
                  <a:lnTo>
                    <a:pt x="274" y="71"/>
                  </a:lnTo>
                  <a:lnTo>
                    <a:pt x="275" y="71"/>
                  </a:lnTo>
                  <a:lnTo>
                    <a:pt x="275" y="70"/>
                  </a:lnTo>
                  <a:lnTo>
                    <a:pt x="276" y="69"/>
                  </a:lnTo>
                  <a:lnTo>
                    <a:pt x="275" y="68"/>
                  </a:lnTo>
                  <a:lnTo>
                    <a:pt x="274" y="68"/>
                  </a:lnTo>
                  <a:lnTo>
                    <a:pt x="274" y="69"/>
                  </a:lnTo>
                  <a:lnTo>
                    <a:pt x="272" y="69"/>
                  </a:lnTo>
                  <a:lnTo>
                    <a:pt x="271" y="69"/>
                  </a:lnTo>
                  <a:lnTo>
                    <a:pt x="270" y="70"/>
                  </a:lnTo>
                  <a:lnTo>
                    <a:pt x="269" y="70"/>
                  </a:lnTo>
                  <a:lnTo>
                    <a:pt x="266" y="70"/>
                  </a:lnTo>
                  <a:lnTo>
                    <a:pt x="266" y="71"/>
                  </a:lnTo>
                  <a:lnTo>
                    <a:pt x="265" y="71"/>
                  </a:lnTo>
                  <a:lnTo>
                    <a:pt x="265" y="70"/>
                  </a:lnTo>
                  <a:lnTo>
                    <a:pt x="266" y="70"/>
                  </a:lnTo>
                  <a:lnTo>
                    <a:pt x="266" y="69"/>
                  </a:lnTo>
                  <a:lnTo>
                    <a:pt x="269" y="69"/>
                  </a:lnTo>
                  <a:lnTo>
                    <a:pt x="270" y="69"/>
                  </a:lnTo>
                  <a:lnTo>
                    <a:pt x="271" y="68"/>
                  </a:lnTo>
                  <a:lnTo>
                    <a:pt x="271" y="65"/>
                  </a:lnTo>
                  <a:lnTo>
                    <a:pt x="272" y="64"/>
                  </a:lnTo>
                  <a:lnTo>
                    <a:pt x="272" y="63"/>
                  </a:lnTo>
                  <a:lnTo>
                    <a:pt x="272" y="62"/>
                  </a:lnTo>
                  <a:lnTo>
                    <a:pt x="271" y="60"/>
                  </a:lnTo>
                  <a:lnTo>
                    <a:pt x="270" y="60"/>
                  </a:lnTo>
                  <a:lnTo>
                    <a:pt x="269" y="60"/>
                  </a:lnTo>
                  <a:lnTo>
                    <a:pt x="269" y="62"/>
                  </a:lnTo>
                  <a:lnTo>
                    <a:pt x="270" y="63"/>
                  </a:lnTo>
                  <a:lnTo>
                    <a:pt x="269" y="64"/>
                  </a:lnTo>
                  <a:lnTo>
                    <a:pt x="268" y="65"/>
                  </a:lnTo>
                  <a:lnTo>
                    <a:pt x="266" y="65"/>
                  </a:lnTo>
                  <a:lnTo>
                    <a:pt x="265" y="64"/>
                  </a:lnTo>
                  <a:lnTo>
                    <a:pt x="264" y="64"/>
                  </a:lnTo>
                  <a:lnTo>
                    <a:pt x="263" y="65"/>
                  </a:lnTo>
                  <a:lnTo>
                    <a:pt x="263" y="66"/>
                  </a:lnTo>
                  <a:lnTo>
                    <a:pt x="263" y="68"/>
                  </a:lnTo>
                  <a:lnTo>
                    <a:pt x="264" y="70"/>
                  </a:lnTo>
                  <a:lnTo>
                    <a:pt x="263" y="70"/>
                  </a:lnTo>
                  <a:lnTo>
                    <a:pt x="263" y="69"/>
                  </a:lnTo>
                  <a:lnTo>
                    <a:pt x="262" y="68"/>
                  </a:lnTo>
                  <a:lnTo>
                    <a:pt x="260" y="66"/>
                  </a:lnTo>
                  <a:lnTo>
                    <a:pt x="259" y="66"/>
                  </a:lnTo>
                  <a:lnTo>
                    <a:pt x="258" y="66"/>
                  </a:lnTo>
                  <a:lnTo>
                    <a:pt x="258" y="68"/>
                  </a:lnTo>
                  <a:lnTo>
                    <a:pt x="257" y="69"/>
                  </a:lnTo>
                  <a:lnTo>
                    <a:pt x="257" y="70"/>
                  </a:lnTo>
                  <a:lnTo>
                    <a:pt x="257" y="71"/>
                  </a:lnTo>
                  <a:lnTo>
                    <a:pt x="256" y="71"/>
                  </a:lnTo>
                  <a:lnTo>
                    <a:pt x="254" y="70"/>
                  </a:lnTo>
                  <a:lnTo>
                    <a:pt x="254" y="71"/>
                  </a:lnTo>
                  <a:lnTo>
                    <a:pt x="253" y="71"/>
                  </a:lnTo>
                  <a:lnTo>
                    <a:pt x="252" y="73"/>
                  </a:lnTo>
                  <a:lnTo>
                    <a:pt x="251" y="74"/>
                  </a:lnTo>
                  <a:lnTo>
                    <a:pt x="250" y="74"/>
                  </a:lnTo>
                  <a:lnTo>
                    <a:pt x="248" y="74"/>
                  </a:lnTo>
                  <a:lnTo>
                    <a:pt x="247" y="73"/>
                  </a:lnTo>
                  <a:lnTo>
                    <a:pt x="247" y="71"/>
                  </a:lnTo>
                  <a:lnTo>
                    <a:pt x="246" y="70"/>
                  </a:lnTo>
                  <a:lnTo>
                    <a:pt x="244" y="70"/>
                  </a:lnTo>
                  <a:lnTo>
                    <a:pt x="245" y="69"/>
                  </a:lnTo>
                  <a:lnTo>
                    <a:pt x="246" y="70"/>
                  </a:lnTo>
                  <a:lnTo>
                    <a:pt x="246" y="69"/>
                  </a:lnTo>
                  <a:lnTo>
                    <a:pt x="247" y="68"/>
                  </a:lnTo>
                  <a:lnTo>
                    <a:pt x="248" y="68"/>
                  </a:lnTo>
                  <a:lnTo>
                    <a:pt x="250" y="66"/>
                  </a:lnTo>
                  <a:lnTo>
                    <a:pt x="248" y="65"/>
                  </a:lnTo>
                  <a:lnTo>
                    <a:pt x="248" y="64"/>
                  </a:lnTo>
                  <a:lnTo>
                    <a:pt x="248" y="62"/>
                  </a:lnTo>
                  <a:lnTo>
                    <a:pt x="250" y="60"/>
                  </a:lnTo>
                  <a:lnTo>
                    <a:pt x="251" y="59"/>
                  </a:lnTo>
                  <a:lnTo>
                    <a:pt x="253" y="59"/>
                  </a:lnTo>
                  <a:lnTo>
                    <a:pt x="254" y="60"/>
                  </a:lnTo>
                  <a:lnTo>
                    <a:pt x="253" y="60"/>
                  </a:lnTo>
                  <a:lnTo>
                    <a:pt x="251" y="62"/>
                  </a:lnTo>
                  <a:lnTo>
                    <a:pt x="250" y="63"/>
                  </a:lnTo>
                  <a:lnTo>
                    <a:pt x="250" y="64"/>
                  </a:lnTo>
                  <a:lnTo>
                    <a:pt x="251" y="65"/>
                  </a:lnTo>
                  <a:lnTo>
                    <a:pt x="253" y="66"/>
                  </a:lnTo>
                  <a:lnTo>
                    <a:pt x="253" y="65"/>
                  </a:lnTo>
                  <a:lnTo>
                    <a:pt x="254" y="65"/>
                  </a:lnTo>
                  <a:lnTo>
                    <a:pt x="256" y="65"/>
                  </a:lnTo>
                  <a:lnTo>
                    <a:pt x="256" y="64"/>
                  </a:lnTo>
                  <a:lnTo>
                    <a:pt x="257" y="65"/>
                  </a:lnTo>
                  <a:lnTo>
                    <a:pt x="258" y="64"/>
                  </a:lnTo>
                  <a:lnTo>
                    <a:pt x="259" y="64"/>
                  </a:lnTo>
                  <a:lnTo>
                    <a:pt x="259" y="63"/>
                  </a:lnTo>
                  <a:lnTo>
                    <a:pt x="258" y="62"/>
                  </a:lnTo>
                  <a:lnTo>
                    <a:pt x="258" y="60"/>
                  </a:lnTo>
                  <a:lnTo>
                    <a:pt x="259" y="59"/>
                  </a:lnTo>
                  <a:lnTo>
                    <a:pt x="260" y="60"/>
                  </a:lnTo>
                  <a:lnTo>
                    <a:pt x="262" y="60"/>
                  </a:lnTo>
                  <a:lnTo>
                    <a:pt x="263" y="59"/>
                  </a:lnTo>
                  <a:lnTo>
                    <a:pt x="264" y="58"/>
                  </a:lnTo>
                  <a:lnTo>
                    <a:pt x="265" y="58"/>
                  </a:lnTo>
                  <a:lnTo>
                    <a:pt x="264" y="57"/>
                  </a:lnTo>
                  <a:lnTo>
                    <a:pt x="263" y="56"/>
                  </a:lnTo>
                  <a:lnTo>
                    <a:pt x="264" y="54"/>
                  </a:lnTo>
                  <a:lnTo>
                    <a:pt x="264" y="53"/>
                  </a:lnTo>
                  <a:lnTo>
                    <a:pt x="263" y="53"/>
                  </a:lnTo>
                  <a:lnTo>
                    <a:pt x="263" y="52"/>
                  </a:lnTo>
                  <a:lnTo>
                    <a:pt x="262" y="51"/>
                  </a:lnTo>
                  <a:lnTo>
                    <a:pt x="262" y="53"/>
                  </a:lnTo>
                  <a:lnTo>
                    <a:pt x="262" y="54"/>
                  </a:lnTo>
                  <a:lnTo>
                    <a:pt x="260" y="53"/>
                  </a:lnTo>
                  <a:lnTo>
                    <a:pt x="259" y="53"/>
                  </a:lnTo>
                  <a:lnTo>
                    <a:pt x="259" y="56"/>
                  </a:lnTo>
                  <a:lnTo>
                    <a:pt x="260" y="57"/>
                  </a:lnTo>
                  <a:lnTo>
                    <a:pt x="259" y="57"/>
                  </a:lnTo>
                  <a:lnTo>
                    <a:pt x="259" y="56"/>
                  </a:lnTo>
                  <a:lnTo>
                    <a:pt x="258" y="54"/>
                  </a:lnTo>
                  <a:lnTo>
                    <a:pt x="257" y="54"/>
                  </a:lnTo>
                  <a:lnTo>
                    <a:pt x="256" y="54"/>
                  </a:lnTo>
                  <a:lnTo>
                    <a:pt x="253" y="56"/>
                  </a:lnTo>
                  <a:lnTo>
                    <a:pt x="252" y="56"/>
                  </a:lnTo>
                  <a:lnTo>
                    <a:pt x="252" y="57"/>
                  </a:lnTo>
                  <a:lnTo>
                    <a:pt x="252" y="54"/>
                  </a:lnTo>
                  <a:lnTo>
                    <a:pt x="251" y="53"/>
                  </a:lnTo>
                  <a:lnTo>
                    <a:pt x="251" y="52"/>
                  </a:lnTo>
                  <a:lnTo>
                    <a:pt x="250" y="52"/>
                  </a:lnTo>
                  <a:lnTo>
                    <a:pt x="250" y="54"/>
                  </a:lnTo>
                  <a:lnTo>
                    <a:pt x="248" y="54"/>
                  </a:lnTo>
                  <a:lnTo>
                    <a:pt x="248" y="53"/>
                  </a:lnTo>
                  <a:lnTo>
                    <a:pt x="248" y="52"/>
                  </a:lnTo>
                  <a:lnTo>
                    <a:pt x="248" y="51"/>
                  </a:lnTo>
                  <a:lnTo>
                    <a:pt x="247" y="50"/>
                  </a:lnTo>
                  <a:lnTo>
                    <a:pt x="246" y="51"/>
                  </a:lnTo>
                  <a:lnTo>
                    <a:pt x="245" y="50"/>
                  </a:lnTo>
                  <a:lnTo>
                    <a:pt x="242" y="48"/>
                  </a:lnTo>
                  <a:lnTo>
                    <a:pt x="242" y="47"/>
                  </a:lnTo>
                  <a:lnTo>
                    <a:pt x="242" y="46"/>
                  </a:lnTo>
                  <a:lnTo>
                    <a:pt x="242" y="45"/>
                  </a:lnTo>
                  <a:lnTo>
                    <a:pt x="241" y="45"/>
                  </a:lnTo>
                  <a:lnTo>
                    <a:pt x="240" y="44"/>
                  </a:lnTo>
                  <a:lnTo>
                    <a:pt x="240" y="42"/>
                  </a:lnTo>
                  <a:lnTo>
                    <a:pt x="241" y="44"/>
                  </a:lnTo>
                  <a:lnTo>
                    <a:pt x="242" y="44"/>
                  </a:lnTo>
                  <a:lnTo>
                    <a:pt x="244" y="42"/>
                  </a:lnTo>
                  <a:lnTo>
                    <a:pt x="244" y="41"/>
                  </a:lnTo>
                  <a:lnTo>
                    <a:pt x="244" y="40"/>
                  </a:lnTo>
                  <a:lnTo>
                    <a:pt x="245" y="39"/>
                  </a:lnTo>
                  <a:lnTo>
                    <a:pt x="245" y="38"/>
                  </a:lnTo>
                  <a:lnTo>
                    <a:pt x="244" y="38"/>
                  </a:lnTo>
                  <a:lnTo>
                    <a:pt x="242" y="38"/>
                  </a:lnTo>
                  <a:lnTo>
                    <a:pt x="242" y="39"/>
                  </a:lnTo>
                  <a:lnTo>
                    <a:pt x="241" y="39"/>
                  </a:lnTo>
                  <a:lnTo>
                    <a:pt x="240" y="39"/>
                  </a:lnTo>
                  <a:lnTo>
                    <a:pt x="239" y="40"/>
                  </a:lnTo>
                  <a:lnTo>
                    <a:pt x="239" y="41"/>
                  </a:lnTo>
                  <a:lnTo>
                    <a:pt x="239" y="42"/>
                  </a:lnTo>
                  <a:lnTo>
                    <a:pt x="238" y="42"/>
                  </a:lnTo>
                  <a:lnTo>
                    <a:pt x="238" y="41"/>
                  </a:lnTo>
                  <a:lnTo>
                    <a:pt x="238" y="40"/>
                  </a:lnTo>
                  <a:lnTo>
                    <a:pt x="239" y="38"/>
                  </a:lnTo>
                  <a:lnTo>
                    <a:pt x="238" y="36"/>
                  </a:lnTo>
                  <a:lnTo>
                    <a:pt x="236" y="36"/>
                  </a:lnTo>
                  <a:lnTo>
                    <a:pt x="235" y="39"/>
                  </a:lnTo>
                  <a:lnTo>
                    <a:pt x="234" y="40"/>
                  </a:lnTo>
                  <a:lnTo>
                    <a:pt x="235" y="38"/>
                  </a:lnTo>
                  <a:lnTo>
                    <a:pt x="235" y="36"/>
                  </a:lnTo>
                  <a:lnTo>
                    <a:pt x="236" y="35"/>
                  </a:lnTo>
                  <a:lnTo>
                    <a:pt x="235" y="34"/>
                  </a:lnTo>
                  <a:lnTo>
                    <a:pt x="234" y="34"/>
                  </a:lnTo>
                  <a:lnTo>
                    <a:pt x="233" y="35"/>
                  </a:lnTo>
                  <a:lnTo>
                    <a:pt x="232" y="35"/>
                  </a:lnTo>
                  <a:lnTo>
                    <a:pt x="232" y="36"/>
                  </a:lnTo>
                  <a:lnTo>
                    <a:pt x="230" y="38"/>
                  </a:lnTo>
                  <a:lnTo>
                    <a:pt x="229" y="38"/>
                  </a:lnTo>
                  <a:lnTo>
                    <a:pt x="228" y="38"/>
                  </a:lnTo>
                  <a:lnTo>
                    <a:pt x="229" y="36"/>
                  </a:lnTo>
                  <a:lnTo>
                    <a:pt x="228" y="36"/>
                  </a:lnTo>
                  <a:lnTo>
                    <a:pt x="227" y="35"/>
                  </a:lnTo>
                  <a:lnTo>
                    <a:pt x="226" y="35"/>
                  </a:lnTo>
                  <a:lnTo>
                    <a:pt x="226" y="34"/>
                  </a:lnTo>
                  <a:lnTo>
                    <a:pt x="227" y="33"/>
                  </a:lnTo>
                  <a:lnTo>
                    <a:pt x="228" y="33"/>
                  </a:lnTo>
                  <a:lnTo>
                    <a:pt x="228" y="32"/>
                  </a:lnTo>
                  <a:lnTo>
                    <a:pt x="226" y="32"/>
                  </a:lnTo>
                  <a:lnTo>
                    <a:pt x="224" y="32"/>
                  </a:lnTo>
                  <a:lnTo>
                    <a:pt x="224" y="30"/>
                  </a:lnTo>
                  <a:lnTo>
                    <a:pt x="226" y="30"/>
                  </a:lnTo>
                  <a:lnTo>
                    <a:pt x="227" y="29"/>
                  </a:lnTo>
                  <a:lnTo>
                    <a:pt x="228" y="28"/>
                  </a:lnTo>
                  <a:lnTo>
                    <a:pt x="228" y="27"/>
                  </a:lnTo>
                  <a:lnTo>
                    <a:pt x="228" y="26"/>
                  </a:lnTo>
                  <a:lnTo>
                    <a:pt x="226" y="27"/>
                  </a:lnTo>
                  <a:lnTo>
                    <a:pt x="226" y="28"/>
                  </a:lnTo>
                  <a:lnTo>
                    <a:pt x="224" y="28"/>
                  </a:lnTo>
                  <a:lnTo>
                    <a:pt x="224" y="26"/>
                  </a:lnTo>
                  <a:lnTo>
                    <a:pt x="226" y="24"/>
                  </a:lnTo>
                  <a:lnTo>
                    <a:pt x="224" y="23"/>
                  </a:lnTo>
                  <a:lnTo>
                    <a:pt x="224" y="22"/>
                  </a:lnTo>
                  <a:lnTo>
                    <a:pt x="222" y="22"/>
                  </a:lnTo>
                  <a:lnTo>
                    <a:pt x="222" y="21"/>
                  </a:lnTo>
                  <a:lnTo>
                    <a:pt x="224" y="21"/>
                  </a:lnTo>
                  <a:lnTo>
                    <a:pt x="224" y="20"/>
                  </a:lnTo>
                  <a:lnTo>
                    <a:pt x="224" y="18"/>
                  </a:lnTo>
                  <a:lnTo>
                    <a:pt x="223" y="18"/>
                  </a:lnTo>
                  <a:lnTo>
                    <a:pt x="222" y="18"/>
                  </a:lnTo>
                  <a:lnTo>
                    <a:pt x="221" y="20"/>
                  </a:lnTo>
                  <a:lnTo>
                    <a:pt x="220" y="20"/>
                  </a:lnTo>
                  <a:lnTo>
                    <a:pt x="220" y="18"/>
                  </a:lnTo>
                  <a:lnTo>
                    <a:pt x="218" y="17"/>
                  </a:lnTo>
                  <a:lnTo>
                    <a:pt x="217" y="18"/>
                  </a:lnTo>
                  <a:lnTo>
                    <a:pt x="215" y="18"/>
                  </a:lnTo>
                  <a:lnTo>
                    <a:pt x="214" y="18"/>
                  </a:lnTo>
                  <a:lnTo>
                    <a:pt x="216" y="17"/>
                  </a:lnTo>
                  <a:lnTo>
                    <a:pt x="216" y="16"/>
                  </a:lnTo>
                  <a:lnTo>
                    <a:pt x="218" y="16"/>
                  </a:lnTo>
                  <a:lnTo>
                    <a:pt x="220" y="15"/>
                  </a:lnTo>
                  <a:lnTo>
                    <a:pt x="221" y="15"/>
                  </a:lnTo>
                  <a:lnTo>
                    <a:pt x="222" y="14"/>
                  </a:lnTo>
                  <a:lnTo>
                    <a:pt x="221" y="12"/>
                  </a:lnTo>
                  <a:lnTo>
                    <a:pt x="218" y="12"/>
                  </a:lnTo>
                  <a:lnTo>
                    <a:pt x="218" y="11"/>
                  </a:lnTo>
                  <a:lnTo>
                    <a:pt x="218" y="10"/>
                  </a:lnTo>
                  <a:lnTo>
                    <a:pt x="216" y="10"/>
                  </a:lnTo>
                  <a:lnTo>
                    <a:pt x="216" y="12"/>
                  </a:lnTo>
                  <a:lnTo>
                    <a:pt x="214" y="12"/>
                  </a:lnTo>
                  <a:lnTo>
                    <a:pt x="215" y="11"/>
                  </a:lnTo>
                  <a:lnTo>
                    <a:pt x="214" y="10"/>
                  </a:lnTo>
                  <a:lnTo>
                    <a:pt x="212" y="10"/>
                  </a:lnTo>
                  <a:lnTo>
                    <a:pt x="211" y="12"/>
                  </a:lnTo>
                  <a:lnTo>
                    <a:pt x="211" y="10"/>
                  </a:lnTo>
                  <a:lnTo>
                    <a:pt x="210" y="9"/>
                  </a:lnTo>
                  <a:lnTo>
                    <a:pt x="210" y="8"/>
                  </a:lnTo>
                  <a:lnTo>
                    <a:pt x="210" y="6"/>
                  </a:lnTo>
                  <a:lnTo>
                    <a:pt x="209" y="6"/>
                  </a:lnTo>
                  <a:lnTo>
                    <a:pt x="207" y="6"/>
                  </a:lnTo>
                  <a:lnTo>
                    <a:pt x="206" y="6"/>
                  </a:lnTo>
                  <a:lnTo>
                    <a:pt x="205" y="6"/>
                  </a:lnTo>
                  <a:lnTo>
                    <a:pt x="205" y="5"/>
                  </a:lnTo>
                  <a:lnTo>
                    <a:pt x="206" y="4"/>
                  </a:lnTo>
                  <a:lnTo>
                    <a:pt x="206" y="3"/>
                  </a:lnTo>
                  <a:lnTo>
                    <a:pt x="206" y="2"/>
                  </a:lnTo>
                  <a:lnTo>
                    <a:pt x="206" y="0"/>
                  </a:lnTo>
                  <a:lnTo>
                    <a:pt x="205" y="0"/>
                  </a:lnTo>
                  <a:lnTo>
                    <a:pt x="204" y="2"/>
                  </a:lnTo>
                  <a:lnTo>
                    <a:pt x="204" y="3"/>
                  </a:lnTo>
                  <a:lnTo>
                    <a:pt x="203" y="3"/>
                  </a:lnTo>
                  <a:lnTo>
                    <a:pt x="203" y="2"/>
                  </a:lnTo>
                  <a:lnTo>
                    <a:pt x="203" y="0"/>
                  </a:lnTo>
                  <a:lnTo>
                    <a:pt x="201" y="0"/>
                  </a:lnTo>
                  <a:lnTo>
                    <a:pt x="201" y="2"/>
                  </a:lnTo>
                  <a:lnTo>
                    <a:pt x="200" y="3"/>
                  </a:lnTo>
                  <a:lnTo>
                    <a:pt x="199" y="4"/>
                  </a:lnTo>
                  <a:lnTo>
                    <a:pt x="199" y="5"/>
                  </a:lnTo>
                  <a:lnTo>
                    <a:pt x="200" y="6"/>
                  </a:lnTo>
                  <a:lnTo>
                    <a:pt x="199" y="6"/>
                  </a:lnTo>
                  <a:lnTo>
                    <a:pt x="198" y="8"/>
                  </a:lnTo>
                  <a:lnTo>
                    <a:pt x="198" y="9"/>
                  </a:lnTo>
                  <a:lnTo>
                    <a:pt x="198" y="10"/>
                  </a:lnTo>
                  <a:lnTo>
                    <a:pt x="197" y="10"/>
                  </a:lnTo>
                  <a:lnTo>
                    <a:pt x="197" y="9"/>
                  </a:lnTo>
                  <a:lnTo>
                    <a:pt x="195" y="9"/>
                  </a:lnTo>
                  <a:lnTo>
                    <a:pt x="194" y="10"/>
                  </a:lnTo>
                  <a:lnTo>
                    <a:pt x="195" y="11"/>
                  </a:lnTo>
                  <a:lnTo>
                    <a:pt x="195" y="12"/>
                  </a:lnTo>
                  <a:lnTo>
                    <a:pt x="197" y="12"/>
                  </a:lnTo>
                  <a:lnTo>
                    <a:pt x="198" y="12"/>
                  </a:lnTo>
                  <a:lnTo>
                    <a:pt x="199" y="14"/>
                  </a:lnTo>
                  <a:lnTo>
                    <a:pt x="198" y="15"/>
                  </a:lnTo>
                  <a:lnTo>
                    <a:pt x="197" y="15"/>
                  </a:lnTo>
                  <a:lnTo>
                    <a:pt x="197" y="14"/>
                  </a:lnTo>
                  <a:lnTo>
                    <a:pt x="195" y="14"/>
                  </a:lnTo>
                  <a:lnTo>
                    <a:pt x="195" y="12"/>
                  </a:lnTo>
                  <a:lnTo>
                    <a:pt x="194" y="12"/>
                  </a:lnTo>
                  <a:lnTo>
                    <a:pt x="194" y="10"/>
                  </a:lnTo>
                  <a:lnTo>
                    <a:pt x="193" y="10"/>
                  </a:lnTo>
                  <a:lnTo>
                    <a:pt x="192" y="10"/>
                  </a:lnTo>
                  <a:lnTo>
                    <a:pt x="191" y="11"/>
                  </a:lnTo>
                  <a:lnTo>
                    <a:pt x="192" y="12"/>
                  </a:lnTo>
                  <a:lnTo>
                    <a:pt x="192" y="14"/>
                  </a:lnTo>
                  <a:lnTo>
                    <a:pt x="193" y="15"/>
                  </a:lnTo>
                  <a:lnTo>
                    <a:pt x="194" y="16"/>
                  </a:lnTo>
                  <a:lnTo>
                    <a:pt x="194" y="17"/>
                  </a:lnTo>
                  <a:lnTo>
                    <a:pt x="193" y="17"/>
                  </a:lnTo>
                  <a:lnTo>
                    <a:pt x="194" y="18"/>
                  </a:lnTo>
                  <a:lnTo>
                    <a:pt x="195" y="18"/>
                  </a:lnTo>
                  <a:lnTo>
                    <a:pt x="195" y="17"/>
                  </a:lnTo>
                  <a:lnTo>
                    <a:pt x="197" y="17"/>
                  </a:lnTo>
                  <a:lnTo>
                    <a:pt x="197" y="18"/>
                  </a:lnTo>
                  <a:lnTo>
                    <a:pt x="195" y="20"/>
                  </a:lnTo>
                  <a:lnTo>
                    <a:pt x="197" y="20"/>
                  </a:lnTo>
                  <a:lnTo>
                    <a:pt x="197" y="21"/>
                  </a:lnTo>
                  <a:lnTo>
                    <a:pt x="195" y="21"/>
                  </a:lnTo>
                  <a:lnTo>
                    <a:pt x="194" y="21"/>
                  </a:lnTo>
                  <a:lnTo>
                    <a:pt x="193" y="20"/>
                  </a:lnTo>
                  <a:lnTo>
                    <a:pt x="192" y="20"/>
                  </a:lnTo>
                  <a:lnTo>
                    <a:pt x="192" y="21"/>
                  </a:lnTo>
                  <a:lnTo>
                    <a:pt x="193" y="22"/>
                  </a:lnTo>
                  <a:lnTo>
                    <a:pt x="193" y="23"/>
                  </a:lnTo>
                  <a:lnTo>
                    <a:pt x="194" y="23"/>
                  </a:lnTo>
                  <a:lnTo>
                    <a:pt x="195" y="24"/>
                  </a:lnTo>
                  <a:lnTo>
                    <a:pt x="195" y="23"/>
                  </a:lnTo>
                  <a:lnTo>
                    <a:pt x="197" y="23"/>
                  </a:lnTo>
                  <a:lnTo>
                    <a:pt x="198" y="22"/>
                  </a:lnTo>
                  <a:lnTo>
                    <a:pt x="199" y="22"/>
                  </a:lnTo>
                  <a:lnTo>
                    <a:pt x="200" y="22"/>
                  </a:lnTo>
                  <a:lnTo>
                    <a:pt x="199" y="23"/>
                  </a:lnTo>
                  <a:lnTo>
                    <a:pt x="198" y="23"/>
                  </a:lnTo>
                  <a:lnTo>
                    <a:pt x="197" y="23"/>
                  </a:lnTo>
                  <a:lnTo>
                    <a:pt x="198" y="24"/>
                  </a:lnTo>
                  <a:lnTo>
                    <a:pt x="199" y="24"/>
                  </a:lnTo>
                  <a:lnTo>
                    <a:pt x="199" y="26"/>
                  </a:lnTo>
                  <a:lnTo>
                    <a:pt x="200" y="26"/>
                  </a:lnTo>
                  <a:lnTo>
                    <a:pt x="201" y="26"/>
                  </a:lnTo>
                  <a:lnTo>
                    <a:pt x="200" y="24"/>
                  </a:lnTo>
                  <a:lnTo>
                    <a:pt x="201" y="23"/>
                  </a:lnTo>
                  <a:lnTo>
                    <a:pt x="203" y="23"/>
                  </a:lnTo>
                  <a:lnTo>
                    <a:pt x="203" y="24"/>
                  </a:lnTo>
                  <a:lnTo>
                    <a:pt x="201" y="24"/>
                  </a:lnTo>
                  <a:lnTo>
                    <a:pt x="201" y="26"/>
                  </a:lnTo>
                  <a:lnTo>
                    <a:pt x="200" y="27"/>
                  </a:lnTo>
                  <a:lnTo>
                    <a:pt x="199" y="27"/>
                  </a:lnTo>
                  <a:lnTo>
                    <a:pt x="199" y="28"/>
                  </a:lnTo>
                  <a:lnTo>
                    <a:pt x="200" y="28"/>
                  </a:lnTo>
                  <a:lnTo>
                    <a:pt x="200" y="29"/>
                  </a:lnTo>
                  <a:lnTo>
                    <a:pt x="199" y="29"/>
                  </a:lnTo>
                  <a:lnTo>
                    <a:pt x="198" y="28"/>
                  </a:lnTo>
                  <a:lnTo>
                    <a:pt x="198" y="29"/>
                  </a:lnTo>
                  <a:lnTo>
                    <a:pt x="198" y="30"/>
                  </a:lnTo>
                  <a:lnTo>
                    <a:pt x="198" y="29"/>
                  </a:lnTo>
                  <a:lnTo>
                    <a:pt x="197" y="29"/>
                  </a:lnTo>
                  <a:lnTo>
                    <a:pt x="195" y="30"/>
                  </a:lnTo>
                  <a:lnTo>
                    <a:pt x="195" y="29"/>
                  </a:lnTo>
                  <a:lnTo>
                    <a:pt x="194" y="28"/>
                  </a:lnTo>
                  <a:lnTo>
                    <a:pt x="194" y="29"/>
                  </a:lnTo>
                  <a:lnTo>
                    <a:pt x="193" y="29"/>
                  </a:lnTo>
                  <a:lnTo>
                    <a:pt x="192" y="29"/>
                  </a:lnTo>
                  <a:lnTo>
                    <a:pt x="191" y="29"/>
                  </a:lnTo>
                  <a:lnTo>
                    <a:pt x="191" y="28"/>
                  </a:lnTo>
                  <a:lnTo>
                    <a:pt x="189" y="28"/>
                  </a:lnTo>
                  <a:lnTo>
                    <a:pt x="189" y="27"/>
                  </a:lnTo>
                  <a:lnTo>
                    <a:pt x="188" y="27"/>
                  </a:lnTo>
                  <a:lnTo>
                    <a:pt x="188" y="28"/>
                  </a:lnTo>
                  <a:lnTo>
                    <a:pt x="187" y="28"/>
                  </a:lnTo>
                  <a:lnTo>
                    <a:pt x="187" y="29"/>
                  </a:lnTo>
                  <a:lnTo>
                    <a:pt x="186" y="28"/>
                  </a:lnTo>
                  <a:lnTo>
                    <a:pt x="185" y="29"/>
                  </a:lnTo>
                  <a:lnTo>
                    <a:pt x="185" y="30"/>
                  </a:lnTo>
                  <a:lnTo>
                    <a:pt x="186" y="32"/>
                  </a:lnTo>
                  <a:lnTo>
                    <a:pt x="186" y="33"/>
                  </a:lnTo>
                  <a:lnTo>
                    <a:pt x="187" y="33"/>
                  </a:lnTo>
                  <a:lnTo>
                    <a:pt x="187" y="32"/>
                  </a:lnTo>
                  <a:lnTo>
                    <a:pt x="188" y="33"/>
                  </a:lnTo>
                  <a:lnTo>
                    <a:pt x="189" y="34"/>
                  </a:lnTo>
                  <a:lnTo>
                    <a:pt x="191" y="35"/>
                  </a:lnTo>
                  <a:lnTo>
                    <a:pt x="192" y="35"/>
                  </a:lnTo>
                  <a:lnTo>
                    <a:pt x="193" y="35"/>
                  </a:lnTo>
                  <a:lnTo>
                    <a:pt x="194" y="35"/>
                  </a:lnTo>
                  <a:lnTo>
                    <a:pt x="194" y="36"/>
                  </a:lnTo>
                  <a:lnTo>
                    <a:pt x="194" y="38"/>
                  </a:lnTo>
                  <a:lnTo>
                    <a:pt x="195" y="38"/>
                  </a:lnTo>
                  <a:lnTo>
                    <a:pt x="197" y="36"/>
                  </a:lnTo>
                  <a:lnTo>
                    <a:pt x="197" y="35"/>
                  </a:lnTo>
                  <a:lnTo>
                    <a:pt x="195" y="35"/>
                  </a:lnTo>
                  <a:lnTo>
                    <a:pt x="197" y="35"/>
                  </a:lnTo>
                  <a:lnTo>
                    <a:pt x="198" y="35"/>
                  </a:lnTo>
                  <a:lnTo>
                    <a:pt x="198" y="36"/>
                  </a:lnTo>
                  <a:lnTo>
                    <a:pt x="199" y="36"/>
                  </a:lnTo>
                  <a:lnTo>
                    <a:pt x="199" y="38"/>
                  </a:lnTo>
                  <a:lnTo>
                    <a:pt x="198" y="38"/>
                  </a:lnTo>
                  <a:lnTo>
                    <a:pt x="198" y="36"/>
                  </a:lnTo>
                  <a:lnTo>
                    <a:pt x="197" y="38"/>
                  </a:lnTo>
                  <a:lnTo>
                    <a:pt x="195" y="38"/>
                  </a:lnTo>
                  <a:lnTo>
                    <a:pt x="195" y="39"/>
                  </a:lnTo>
                  <a:lnTo>
                    <a:pt x="195" y="40"/>
                  </a:lnTo>
                  <a:lnTo>
                    <a:pt x="197" y="41"/>
                  </a:lnTo>
                  <a:lnTo>
                    <a:pt x="197" y="42"/>
                  </a:lnTo>
                  <a:lnTo>
                    <a:pt x="195" y="42"/>
                  </a:lnTo>
                  <a:lnTo>
                    <a:pt x="195" y="41"/>
                  </a:lnTo>
                  <a:lnTo>
                    <a:pt x="194" y="42"/>
                  </a:lnTo>
                  <a:lnTo>
                    <a:pt x="193" y="42"/>
                  </a:lnTo>
                  <a:lnTo>
                    <a:pt x="193" y="41"/>
                  </a:lnTo>
                  <a:lnTo>
                    <a:pt x="193" y="42"/>
                  </a:lnTo>
                  <a:lnTo>
                    <a:pt x="192" y="42"/>
                  </a:lnTo>
                  <a:lnTo>
                    <a:pt x="192" y="41"/>
                  </a:lnTo>
                  <a:lnTo>
                    <a:pt x="191" y="40"/>
                  </a:lnTo>
                  <a:lnTo>
                    <a:pt x="191" y="41"/>
                  </a:lnTo>
                  <a:lnTo>
                    <a:pt x="189" y="41"/>
                  </a:lnTo>
                  <a:lnTo>
                    <a:pt x="189" y="40"/>
                  </a:lnTo>
                  <a:lnTo>
                    <a:pt x="191" y="39"/>
                  </a:lnTo>
                  <a:lnTo>
                    <a:pt x="191" y="38"/>
                  </a:lnTo>
                  <a:lnTo>
                    <a:pt x="191" y="36"/>
                  </a:lnTo>
                  <a:lnTo>
                    <a:pt x="189" y="36"/>
                  </a:lnTo>
                  <a:lnTo>
                    <a:pt x="188" y="35"/>
                  </a:lnTo>
                  <a:lnTo>
                    <a:pt x="188" y="36"/>
                  </a:lnTo>
                  <a:lnTo>
                    <a:pt x="188" y="38"/>
                  </a:lnTo>
                  <a:lnTo>
                    <a:pt x="187" y="39"/>
                  </a:lnTo>
                  <a:lnTo>
                    <a:pt x="187" y="40"/>
                  </a:lnTo>
                  <a:lnTo>
                    <a:pt x="187" y="41"/>
                  </a:lnTo>
                  <a:lnTo>
                    <a:pt x="187" y="40"/>
                  </a:lnTo>
                  <a:lnTo>
                    <a:pt x="187" y="39"/>
                  </a:lnTo>
                  <a:lnTo>
                    <a:pt x="187" y="38"/>
                  </a:lnTo>
                  <a:lnTo>
                    <a:pt x="187" y="36"/>
                  </a:lnTo>
                  <a:lnTo>
                    <a:pt x="187" y="35"/>
                  </a:lnTo>
                  <a:lnTo>
                    <a:pt x="186" y="35"/>
                  </a:lnTo>
                  <a:lnTo>
                    <a:pt x="185" y="36"/>
                  </a:lnTo>
                  <a:lnTo>
                    <a:pt x="183" y="36"/>
                  </a:lnTo>
                  <a:lnTo>
                    <a:pt x="182" y="36"/>
                  </a:lnTo>
                  <a:lnTo>
                    <a:pt x="182" y="38"/>
                  </a:lnTo>
                  <a:lnTo>
                    <a:pt x="182" y="39"/>
                  </a:lnTo>
                  <a:lnTo>
                    <a:pt x="182" y="40"/>
                  </a:lnTo>
                  <a:lnTo>
                    <a:pt x="183" y="41"/>
                  </a:lnTo>
                  <a:lnTo>
                    <a:pt x="183" y="42"/>
                  </a:lnTo>
                  <a:lnTo>
                    <a:pt x="183" y="44"/>
                  </a:lnTo>
                  <a:lnTo>
                    <a:pt x="185" y="44"/>
                  </a:lnTo>
                  <a:lnTo>
                    <a:pt x="185" y="45"/>
                  </a:lnTo>
                  <a:lnTo>
                    <a:pt x="183" y="45"/>
                  </a:lnTo>
                  <a:lnTo>
                    <a:pt x="183" y="46"/>
                  </a:lnTo>
                  <a:lnTo>
                    <a:pt x="183" y="48"/>
                  </a:lnTo>
                  <a:lnTo>
                    <a:pt x="183" y="50"/>
                  </a:lnTo>
                  <a:lnTo>
                    <a:pt x="182" y="50"/>
                  </a:lnTo>
                  <a:lnTo>
                    <a:pt x="182" y="48"/>
                  </a:lnTo>
                  <a:lnTo>
                    <a:pt x="182" y="47"/>
                  </a:lnTo>
                  <a:lnTo>
                    <a:pt x="182" y="46"/>
                  </a:lnTo>
                  <a:lnTo>
                    <a:pt x="182" y="45"/>
                  </a:lnTo>
                  <a:lnTo>
                    <a:pt x="181" y="45"/>
                  </a:lnTo>
                  <a:lnTo>
                    <a:pt x="181" y="46"/>
                  </a:lnTo>
                  <a:lnTo>
                    <a:pt x="181" y="47"/>
                  </a:lnTo>
                  <a:lnTo>
                    <a:pt x="180" y="47"/>
                  </a:lnTo>
                  <a:lnTo>
                    <a:pt x="180" y="46"/>
                  </a:lnTo>
                  <a:lnTo>
                    <a:pt x="181" y="46"/>
                  </a:lnTo>
                  <a:lnTo>
                    <a:pt x="181" y="45"/>
                  </a:lnTo>
                  <a:lnTo>
                    <a:pt x="180" y="45"/>
                  </a:lnTo>
                  <a:lnTo>
                    <a:pt x="180" y="44"/>
                  </a:lnTo>
                  <a:lnTo>
                    <a:pt x="179" y="44"/>
                  </a:lnTo>
                  <a:lnTo>
                    <a:pt x="179" y="45"/>
                  </a:lnTo>
                  <a:lnTo>
                    <a:pt x="177" y="45"/>
                  </a:lnTo>
                  <a:lnTo>
                    <a:pt x="177" y="44"/>
                  </a:lnTo>
                  <a:lnTo>
                    <a:pt x="176" y="42"/>
                  </a:lnTo>
                  <a:lnTo>
                    <a:pt x="175" y="42"/>
                  </a:lnTo>
                  <a:lnTo>
                    <a:pt x="174" y="44"/>
                  </a:lnTo>
                  <a:lnTo>
                    <a:pt x="175" y="45"/>
                  </a:lnTo>
                  <a:lnTo>
                    <a:pt x="175" y="46"/>
                  </a:lnTo>
                  <a:lnTo>
                    <a:pt x="174" y="46"/>
                  </a:lnTo>
                  <a:lnTo>
                    <a:pt x="174" y="47"/>
                  </a:lnTo>
                  <a:lnTo>
                    <a:pt x="175" y="48"/>
                  </a:lnTo>
                  <a:lnTo>
                    <a:pt x="175" y="50"/>
                  </a:lnTo>
                  <a:lnTo>
                    <a:pt x="176" y="50"/>
                  </a:lnTo>
                  <a:lnTo>
                    <a:pt x="177" y="50"/>
                  </a:lnTo>
                  <a:lnTo>
                    <a:pt x="177" y="51"/>
                  </a:lnTo>
                  <a:lnTo>
                    <a:pt x="177" y="52"/>
                  </a:lnTo>
                  <a:lnTo>
                    <a:pt x="179" y="52"/>
                  </a:lnTo>
                  <a:lnTo>
                    <a:pt x="179" y="53"/>
                  </a:lnTo>
                  <a:lnTo>
                    <a:pt x="179" y="54"/>
                  </a:lnTo>
                  <a:lnTo>
                    <a:pt x="180" y="54"/>
                  </a:lnTo>
                  <a:lnTo>
                    <a:pt x="180" y="53"/>
                  </a:lnTo>
                  <a:lnTo>
                    <a:pt x="181" y="53"/>
                  </a:lnTo>
                  <a:lnTo>
                    <a:pt x="181" y="54"/>
                  </a:lnTo>
                  <a:lnTo>
                    <a:pt x="181" y="56"/>
                  </a:lnTo>
                  <a:lnTo>
                    <a:pt x="180" y="56"/>
                  </a:lnTo>
                  <a:lnTo>
                    <a:pt x="179" y="56"/>
                  </a:lnTo>
                  <a:lnTo>
                    <a:pt x="179" y="54"/>
                  </a:lnTo>
                  <a:lnTo>
                    <a:pt x="179" y="53"/>
                  </a:lnTo>
                  <a:lnTo>
                    <a:pt x="177" y="53"/>
                  </a:lnTo>
                  <a:lnTo>
                    <a:pt x="177" y="52"/>
                  </a:lnTo>
                  <a:lnTo>
                    <a:pt x="176" y="52"/>
                  </a:lnTo>
                  <a:lnTo>
                    <a:pt x="176" y="51"/>
                  </a:lnTo>
                  <a:lnTo>
                    <a:pt x="176" y="50"/>
                  </a:lnTo>
                  <a:lnTo>
                    <a:pt x="175" y="50"/>
                  </a:lnTo>
                  <a:lnTo>
                    <a:pt x="175" y="51"/>
                  </a:lnTo>
                  <a:lnTo>
                    <a:pt x="175" y="52"/>
                  </a:lnTo>
                  <a:lnTo>
                    <a:pt x="175" y="53"/>
                  </a:lnTo>
                  <a:lnTo>
                    <a:pt x="176" y="54"/>
                  </a:lnTo>
                  <a:lnTo>
                    <a:pt x="175" y="54"/>
                  </a:lnTo>
                  <a:lnTo>
                    <a:pt x="175" y="53"/>
                  </a:lnTo>
                  <a:lnTo>
                    <a:pt x="174" y="52"/>
                  </a:lnTo>
                  <a:lnTo>
                    <a:pt x="174" y="51"/>
                  </a:lnTo>
                  <a:lnTo>
                    <a:pt x="174" y="50"/>
                  </a:lnTo>
                  <a:lnTo>
                    <a:pt x="174" y="48"/>
                  </a:lnTo>
                  <a:lnTo>
                    <a:pt x="173" y="48"/>
                  </a:lnTo>
                  <a:lnTo>
                    <a:pt x="171" y="48"/>
                  </a:lnTo>
                  <a:lnTo>
                    <a:pt x="171" y="50"/>
                  </a:lnTo>
                  <a:lnTo>
                    <a:pt x="173" y="51"/>
                  </a:lnTo>
                  <a:lnTo>
                    <a:pt x="173" y="52"/>
                  </a:lnTo>
                  <a:lnTo>
                    <a:pt x="173" y="53"/>
                  </a:lnTo>
                  <a:lnTo>
                    <a:pt x="173" y="54"/>
                  </a:lnTo>
                  <a:lnTo>
                    <a:pt x="171" y="54"/>
                  </a:lnTo>
                  <a:lnTo>
                    <a:pt x="171" y="53"/>
                  </a:lnTo>
                  <a:lnTo>
                    <a:pt x="170" y="53"/>
                  </a:lnTo>
                  <a:lnTo>
                    <a:pt x="170" y="52"/>
                  </a:lnTo>
                  <a:lnTo>
                    <a:pt x="171" y="52"/>
                  </a:lnTo>
                  <a:lnTo>
                    <a:pt x="170" y="51"/>
                  </a:lnTo>
                  <a:lnTo>
                    <a:pt x="169" y="51"/>
                  </a:lnTo>
                  <a:lnTo>
                    <a:pt x="169" y="52"/>
                  </a:lnTo>
                  <a:lnTo>
                    <a:pt x="169" y="53"/>
                  </a:lnTo>
                  <a:lnTo>
                    <a:pt x="170" y="54"/>
                  </a:lnTo>
                  <a:lnTo>
                    <a:pt x="169" y="54"/>
                  </a:lnTo>
                  <a:lnTo>
                    <a:pt x="169" y="53"/>
                  </a:lnTo>
                  <a:lnTo>
                    <a:pt x="169" y="52"/>
                  </a:lnTo>
                  <a:lnTo>
                    <a:pt x="168" y="52"/>
                  </a:lnTo>
                  <a:lnTo>
                    <a:pt x="168" y="51"/>
                  </a:lnTo>
                  <a:lnTo>
                    <a:pt x="167" y="52"/>
                  </a:lnTo>
                  <a:lnTo>
                    <a:pt x="165" y="52"/>
                  </a:lnTo>
                  <a:lnTo>
                    <a:pt x="165" y="51"/>
                  </a:lnTo>
                  <a:lnTo>
                    <a:pt x="167" y="51"/>
                  </a:lnTo>
                  <a:lnTo>
                    <a:pt x="167" y="50"/>
                  </a:lnTo>
                  <a:lnTo>
                    <a:pt x="167" y="48"/>
                  </a:lnTo>
                  <a:lnTo>
                    <a:pt x="168" y="48"/>
                  </a:lnTo>
                  <a:lnTo>
                    <a:pt x="168" y="47"/>
                  </a:lnTo>
                  <a:lnTo>
                    <a:pt x="167" y="46"/>
                  </a:lnTo>
                  <a:lnTo>
                    <a:pt x="165" y="47"/>
                  </a:lnTo>
                  <a:lnTo>
                    <a:pt x="165" y="46"/>
                  </a:lnTo>
                  <a:lnTo>
                    <a:pt x="167" y="46"/>
                  </a:lnTo>
                  <a:lnTo>
                    <a:pt x="168" y="46"/>
                  </a:lnTo>
                  <a:lnTo>
                    <a:pt x="168" y="45"/>
                  </a:lnTo>
                  <a:lnTo>
                    <a:pt x="168" y="46"/>
                  </a:lnTo>
                  <a:lnTo>
                    <a:pt x="169" y="46"/>
                  </a:lnTo>
                  <a:lnTo>
                    <a:pt x="170" y="46"/>
                  </a:lnTo>
                  <a:lnTo>
                    <a:pt x="170" y="45"/>
                  </a:lnTo>
                  <a:lnTo>
                    <a:pt x="171" y="45"/>
                  </a:lnTo>
                  <a:lnTo>
                    <a:pt x="171" y="44"/>
                  </a:lnTo>
                  <a:lnTo>
                    <a:pt x="170" y="44"/>
                  </a:lnTo>
                  <a:lnTo>
                    <a:pt x="170" y="42"/>
                  </a:lnTo>
                  <a:lnTo>
                    <a:pt x="170" y="44"/>
                  </a:lnTo>
                  <a:lnTo>
                    <a:pt x="169" y="44"/>
                  </a:lnTo>
                  <a:lnTo>
                    <a:pt x="168" y="42"/>
                  </a:lnTo>
                  <a:lnTo>
                    <a:pt x="167" y="42"/>
                  </a:lnTo>
                  <a:lnTo>
                    <a:pt x="168" y="41"/>
                  </a:lnTo>
                  <a:lnTo>
                    <a:pt x="169" y="40"/>
                  </a:lnTo>
                  <a:lnTo>
                    <a:pt x="170" y="40"/>
                  </a:lnTo>
                  <a:lnTo>
                    <a:pt x="170" y="39"/>
                  </a:lnTo>
                  <a:lnTo>
                    <a:pt x="171" y="39"/>
                  </a:lnTo>
                  <a:lnTo>
                    <a:pt x="173" y="39"/>
                  </a:lnTo>
                  <a:lnTo>
                    <a:pt x="174" y="38"/>
                  </a:lnTo>
                  <a:lnTo>
                    <a:pt x="174" y="39"/>
                  </a:lnTo>
                  <a:lnTo>
                    <a:pt x="175" y="39"/>
                  </a:lnTo>
                  <a:lnTo>
                    <a:pt x="175" y="38"/>
                  </a:lnTo>
                  <a:lnTo>
                    <a:pt x="176" y="38"/>
                  </a:lnTo>
                  <a:lnTo>
                    <a:pt x="176" y="39"/>
                  </a:lnTo>
                  <a:lnTo>
                    <a:pt x="177" y="39"/>
                  </a:lnTo>
                  <a:lnTo>
                    <a:pt x="179" y="38"/>
                  </a:lnTo>
                  <a:lnTo>
                    <a:pt x="180" y="36"/>
                  </a:lnTo>
                  <a:lnTo>
                    <a:pt x="180" y="35"/>
                  </a:lnTo>
                  <a:lnTo>
                    <a:pt x="180" y="34"/>
                  </a:lnTo>
                  <a:lnTo>
                    <a:pt x="179" y="34"/>
                  </a:lnTo>
                  <a:lnTo>
                    <a:pt x="177" y="34"/>
                  </a:lnTo>
                  <a:lnTo>
                    <a:pt x="177" y="35"/>
                  </a:lnTo>
                  <a:lnTo>
                    <a:pt x="176" y="36"/>
                  </a:lnTo>
                  <a:lnTo>
                    <a:pt x="175" y="36"/>
                  </a:lnTo>
                  <a:lnTo>
                    <a:pt x="176" y="35"/>
                  </a:lnTo>
                  <a:lnTo>
                    <a:pt x="176" y="34"/>
                  </a:lnTo>
                  <a:lnTo>
                    <a:pt x="175" y="34"/>
                  </a:lnTo>
                  <a:lnTo>
                    <a:pt x="175" y="35"/>
                  </a:lnTo>
                  <a:lnTo>
                    <a:pt x="174" y="35"/>
                  </a:lnTo>
                  <a:lnTo>
                    <a:pt x="173" y="35"/>
                  </a:lnTo>
                  <a:lnTo>
                    <a:pt x="171" y="35"/>
                  </a:lnTo>
                  <a:lnTo>
                    <a:pt x="173" y="34"/>
                  </a:lnTo>
                  <a:lnTo>
                    <a:pt x="174" y="34"/>
                  </a:lnTo>
                  <a:lnTo>
                    <a:pt x="174" y="33"/>
                  </a:lnTo>
                  <a:lnTo>
                    <a:pt x="174" y="32"/>
                  </a:lnTo>
                  <a:lnTo>
                    <a:pt x="174" y="30"/>
                  </a:lnTo>
                  <a:lnTo>
                    <a:pt x="173" y="30"/>
                  </a:lnTo>
                  <a:lnTo>
                    <a:pt x="171" y="30"/>
                  </a:lnTo>
                  <a:lnTo>
                    <a:pt x="171" y="32"/>
                  </a:lnTo>
                  <a:lnTo>
                    <a:pt x="171" y="33"/>
                  </a:lnTo>
                  <a:lnTo>
                    <a:pt x="170" y="33"/>
                  </a:lnTo>
                  <a:lnTo>
                    <a:pt x="170" y="34"/>
                  </a:lnTo>
                  <a:lnTo>
                    <a:pt x="169" y="34"/>
                  </a:lnTo>
                  <a:lnTo>
                    <a:pt x="169" y="35"/>
                  </a:lnTo>
                  <a:lnTo>
                    <a:pt x="169" y="34"/>
                  </a:lnTo>
                  <a:lnTo>
                    <a:pt x="170" y="33"/>
                  </a:lnTo>
                  <a:lnTo>
                    <a:pt x="170" y="32"/>
                  </a:lnTo>
                  <a:lnTo>
                    <a:pt x="170" y="30"/>
                  </a:lnTo>
                  <a:lnTo>
                    <a:pt x="169" y="30"/>
                  </a:lnTo>
                  <a:lnTo>
                    <a:pt x="168" y="32"/>
                  </a:lnTo>
                  <a:lnTo>
                    <a:pt x="167" y="32"/>
                  </a:lnTo>
                  <a:lnTo>
                    <a:pt x="165" y="32"/>
                  </a:lnTo>
                  <a:lnTo>
                    <a:pt x="165" y="33"/>
                  </a:lnTo>
                  <a:lnTo>
                    <a:pt x="164" y="33"/>
                  </a:lnTo>
                  <a:lnTo>
                    <a:pt x="163" y="33"/>
                  </a:lnTo>
                  <a:lnTo>
                    <a:pt x="163" y="32"/>
                  </a:lnTo>
                  <a:lnTo>
                    <a:pt x="162" y="32"/>
                  </a:lnTo>
                  <a:lnTo>
                    <a:pt x="163" y="30"/>
                  </a:lnTo>
                  <a:lnTo>
                    <a:pt x="163" y="29"/>
                  </a:lnTo>
                  <a:lnTo>
                    <a:pt x="163" y="28"/>
                  </a:lnTo>
                  <a:lnTo>
                    <a:pt x="162" y="28"/>
                  </a:lnTo>
                  <a:lnTo>
                    <a:pt x="161" y="29"/>
                  </a:lnTo>
                  <a:lnTo>
                    <a:pt x="161" y="30"/>
                  </a:lnTo>
                  <a:lnTo>
                    <a:pt x="159" y="32"/>
                  </a:lnTo>
                  <a:lnTo>
                    <a:pt x="157" y="32"/>
                  </a:lnTo>
                  <a:lnTo>
                    <a:pt x="156" y="32"/>
                  </a:lnTo>
                  <a:lnTo>
                    <a:pt x="156" y="30"/>
                  </a:lnTo>
                  <a:lnTo>
                    <a:pt x="157" y="30"/>
                  </a:lnTo>
                  <a:lnTo>
                    <a:pt x="157" y="29"/>
                  </a:lnTo>
                  <a:lnTo>
                    <a:pt x="157" y="28"/>
                  </a:lnTo>
                  <a:lnTo>
                    <a:pt x="157" y="27"/>
                  </a:lnTo>
                  <a:lnTo>
                    <a:pt x="156" y="26"/>
                  </a:lnTo>
                  <a:lnTo>
                    <a:pt x="156" y="24"/>
                  </a:lnTo>
                  <a:lnTo>
                    <a:pt x="155" y="24"/>
                  </a:lnTo>
                  <a:lnTo>
                    <a:pt x="153" y="26"/>
                  </a:lnTo>
                  <a:lnTo>
                    <a:pt x="152" y="26"/>
                  </a:lnTo>
                  <a:lnTo>
                    <a:pt x="151" y="27"/>
                  </a:lnTo>
                  <a:lnTo>
                    <a:pt x="150" y="27"/>
                  </a:lnTo>
                  <a:lnTo>
                    <a:pt x="150" y="26"/>
                  </a:lnTo>
                  <a:lnTo>
                    <a:pt x="150" y="24"/>
                  </a:lnTo>
                  <a:lnTo>
                    <a:pt x="148" y="24"/>
                  </a:lnTo>
                  <a:lnTo>
                    <a:pt x="148" y="26"/>
                  </a:lnTo>
                  <a:lnTo>
                    <a:pt x="147" y="27"/>
                  </a:lnTo>
                  <a:lnTo>
                    <a:pt x="147" y="26"/>
                  </a:lnTo>
                  <a:lnTo>
                    <a:pt x="146" y="26"/>
                  </a:lnTo>
                  <a:lnTo>
                    <a:pt x="146" y="24"/>
                  </a:lnTo>
                  <a:lnTo>
                    <a:pt x="145" y="24"/>
                  </a:lnTo>
                  <a:lnTo>
                    <a:pt x="144" y="26"/>
                  </a:lnTo>
                  <a:lnTo>
                    <a:pt x="144" y="24"/>
                  </a:lnTo>
                  <a:lnTo>
                    <a:pt x="142" y="24"/>
                  </a:lnTo>
                  <a:lnTo>
                    <a:pt x="141" y="24"/>
                  </a:lnTo>
                  <a:lnTo>
                    <a:pt x="141" y="23"/>
                  </a:lnTo>
                  <a:lnTo>
                    <a:pt x="142" y="23"/>
                  </a:lnTo>
                  <a:lnTo>
                    <a:pt x="144" y="23"/>
                  </a:lnTo>
                  <a:lnTo>
                    <a:pt x="145" y="23"/>
                  </a:lnTo>
                  <a:lnTo>
                    <a:pt x="146" y="23"/>
                  </a:lnTo>
                  <a:lnTo>
                    <a:pt x="147" y="23"/>
                  </a:lnTo>
                  <a:lnTo>
                    <a:pt x="148" y="23"/>
                  </a:lnTo>
                  <a:lnTo>
                    <a:pt x="150" y="23"/>
                  </a:lnTo>
                  <a:lnTo>
                    <a:pt x="151" y="22"/>
                  </a:lnTo>
                  <a:lnTo>
                    <a:pt x="151" y="21"/>
                  </a:lnTo>
                  <a:lnTo>
                    <a:pt x="150" y="20"/>
                  </a:lnTo>
                  <a:lnTo>
                    <a:pt x="150" y="21"/>
                  </a:lnTo>
                  <a:lnTo>
                    <a:pt x="148" y="21"/>
                  </a:lnTo>
                  <a:lnTo>
                    <a:pt x="147" y="21"/>
                  </a:lnTo>
                  <a:lnTo>
                    <a:pt x="148" y="21"/>
                  </a:lnTo>
                  <a:lnTo>
                    <a:pt x="148" y="20"/>
                  </a:lnTo>
                  <a:lnTo>
                    <a:pt x="147" y="20"/>
                  </a:lnTo>
                  <a:lnTo>
                    <a:pt x="147" y="18"/>
                  </a:lnTo>
                  <a:lnTo>
                    <a:pt x="148" y="20"/>
                  </a:lnTo>
                  <a:lnTo>
                    <a:pt x="150" y="20"/>
                  </a:lnTo>
                  <a:lnTo>
                    <a:pt x="151" y="18"/>
                  </a:lnTo>
                  <a:lnTo>
                    <a:pt x="152" y="18"/>
                  </a:lnTo>
                  <a:lnTo>
                    <a:pt x="153" y="18"/>
                  </a:lnTo>
                  <a:lnTo>
                    <a:pt x="153" y="17"/>
                  </a:lnTo>
                  <a:lnTo>
                    <a:pt x="155" y="17"/>
                  </a:lnTo>
                  <a:lnTo>
                    <a:pt x="155" y="16"/>
                  </a:lnTo>
                  <a:lnTo>
                    <a:pt x="156" y="16"/>
                  </a:lnTo>
                  <a:lnTo>
                    <a:pt x="156" y="15"/>
                  </a:lnTo>
                  <a:lnTo>
                    <a:pt x="155" y="15"/>
                  </a:lnTo>
                  <a:lnTo>
                    <a:pt x="155" y="14"/>
                  </a:lnTo>
                  <a:lnTo>
                    <a:pt x="153" y="15"/>
                  </a:lnTo>
                  <a:lnTo>
                    <a:pt x="152" y="16"/>
                  </a:lnTo>
                  <a:lnTo>
                    <a:pt x="152" y="15"/>
                  </a:lnTo>
                  <a:lnTo>
                    <a:pt x="152" y="14"/>
                  </a:lnTo>
                  <a:lnTo>
                    <a:pt x="153" y="12"/>
                  </a:lnTo>
                  <a:lnTo>
                    <a:pt x="153" y="10"/>
                  </a:lnTo>
                  <a:lnTo>
                    <a:pt x="152" y="10"/>
                  </a:lnTo>
                  <a:lnTo>
                    <a:pt x="151" y="10"/>
                  </a:lnTo>
                  <a:lnTo>
                    <a:pt x="150" y="11"/>
                  </a:lnTo>
                  <a:lnTo>
                    <a:pt x="150" y="12"/>
                  </a:lnTo>
                  <a:lnTo>
                    <a:pt x="150" y="14"/>
                  </a:lnTo>
                  <a:lnTo>
                    <a:pt x="148" y="12"/>
                  </a:lnTo>
                  <a:lnTo>
                    <a:pt x="148" y="11"/>
                  </a:lnTo>
                  <a:lnTo>
                    <a:pt x="148" y="10"/>
                  </a:lnTo>
                  <a:lnTo>
                    <a:pt x="147" y="10"/>
                  </a:lnTo>
                  <a:lnTo>
                    <a:pt x="147" y="11"/>
                  </a:lnTo>
                  <a:lnTo>
                    <a:pt x="146" y="11"/>
                  </a:lnTo>
                  <a:lnTo>
                    <a:pt x="146" y="12"/>
                  </a:lnTo>
                  <a:lnTo>
                    <a:pt x="145" y="12"/>
                  </a:lnTo>
                  <a:lnTo>
                    <a:pt x="144" y="12"/>
                  </a:lnTo>
                  <a:lnTo>
                    <a:pt x="144" y="14"/>
                  </a:lnTo>
                  <a:lnTo>
                    <a:pt x="142" y="14"/>
                  </a:lnTo>
                  <a:lnTo>
                    <a:pt x="144" y="15"/>
                  </a:lnTo>
                  <a:lnTo>
                    <a:pt x="142" y="15"/>
                  </a:lnTo>
                  <a:lnTo>
                    <a:pt x="142" y="16"/>
                  </a:lnTo>
                  <a:lnTo>
                    <a:pt x="141" y="15"/>
                  </a:lnTo>
                  <a:lnTo>
                    <a:pt x="141" y="14"/>
                  </a:lnTo>
                  <a:lnTo>
                    <a:pt x="140" y="14"/>
                  </a:lnTo>
                  <a:lnTo>
                    <a:pt x="140" y="12"/>
                  </a:lnTo>
                  <a:lnTo>
                    <a:pt x="140" y="11"/>
                  </a:lnTo>
                  <a:lnTo>
                    <a:pt x="139" y="11"/>
                  </a:lnTo>
                  <a:lnTo>
                    <a:pt x="138" y="11"/>
                  </a:lnTo>
                  <a:lnTo>
                    <a:pt x="138" y="12"/>
                  </a:lnTo>
                  <a:lnTo>
                    <a:pt x="136" y="12"/>
                  </a:lnTo>
                  <a:lnTo>
                    <a:pt x="136" y="11"/>
                  </a:lnTo>
                  <a:lnTo>
                    <a:pt x="136" y="10"/>
                  </a:lnTo>
                  <a:lnTo>
                    <a:pt x="136" y="9"/>
                  </a:lnTo>
                  <a:lnTo>
                    <a:pt x="136" y="8"/>
                  </a:lnTo>
                  <a:lnTo>
                    <a:pt x="135" y="6"/>
                  </a:lnTo>
                  <a:lnTo>
                    <a:pt x="134" y="6"/>
                  </a:lnTo>
                  <a:lnTo>
                    <a:pt x="134" y="8"/>
                  </a:lnTo>
                  <a:lnTo>
                    <a:pt x="133" y="9"/>
                  </a:lnTo>
                  <a:lnTo>
                    <a:pt x="133" y="10"/>
                  </a:lnTo>
                  <a:lnTo>
                    <a:pt x="133" y="11"/>
                  </a:lnTo>
                  <a:lnTo>
                    <a:pt x="133" y="10"/>
                  </a:lnTo>
                  <a:lnTo>
                    <a:pt x="132" y="9"/>
                  </a:lnTo>
                  <a:lnTo>
                    <a:pt x="132" y="8"/>
                  </a:lnTo>
                  <a:lnTo>
                    <a:pt x="130" y="6"/>
                  </a:lnTo>
                  <a:lnTo>
                    <a:pt x="132" y="6"/>
                  </a:lnTo>
                  <a:lnTo>
                    <a:pt x="132" y="5"/>
                  </a:lnTo>
                  <a:lnTo>
                    <a:pt x="129" y="4"/>
                  </a:lnTo>
                  <a:lnTo>
                    <a:pt x="129" y="5"/>
                  </a:lnTo>
                  <a:lnTo>
                    <a:pt x="128" y="5"/>
                  </a:lnTo>
                  <a:lnTo>
                    <a:pt x="128" y="6"/>
                  </a:lnTo>
                  <a:lnTo>
                    <a:pt x="127" y="8"/>
                  </a:lnTo>
                  <a:lnTo>
                    <a:pt x="127" y="9"/>
                  </a:lnTo>
                  <a:lnTo>
                    <a:pt x="126" y="9"/>
                  </a:lnTo>
                  <a:lnTo>
                    <a:pt x="127" y="10"/>
                  </a:lnTo>
                  <a:lnTo>
                    <a:pt x="128" y="10"/>
                  </a:lnTo>
                  <a:lnTo>
                    <a:pt x="128" y="11"/>
                  </a:lnTo>
                  <a:lnTo>
                    <a:pt x="129" y="11"/>
                  </a:lnTo>
                  <a:lnTo>
                    <a:pt x="129" y="12"/>
                  </a:lnTo>
                  <a:lnTo>
                    <a:pt x="128" y="12"/>
                  </a:lnTo>
                  <a:lnTo>
                    <a:pt x="128" y="14"/>
                  </a:lnTo>
                  <a:lnTo>
                    <a:pt x="127" y="12"/>
                  </a:lnTo>
                  <a:lnTo>
                    <a:pt x="126" y="11"/>
                  </a:lnTo>
                  <a:lnTo>
                    <a:pt x="124" y="10"/>
                  </a:lnTo>
                  <a:lnTo>
                    <a:pt x="123" y="10"/>
                  </a:lnTo>
                  <a:lnTo>
                    <a:pt x="122" y="10"/>
                  </a:lnTo>
                  <a:lnTo>
                    <a:pt x="122" y="11"/>
                  </a:lnTo>
                  <a:lnTo>
                    <a:pt x="122" y="12"/>
                  </a:lnTo>
                  <a:lnTo>
                    <a:pt x="122" y="14"/>
                  </a:lnTo>
                  <a:lnTo>
                    <a:pt x="123" y="15"/>
                  </a:lnTo>
                  <a:lnTo>
                    <a:pt x="124" y="15"/>
                  </a:lnTo>
                  <a:lnTo>
                    <a:pt x="126" y="15"/>
                  </a:lnTo>
                  <a:lnTo>
                    <a:pt x="124" y="15"/>
                  </a:lnTo>
                  <a:lnTo>
                    <a:pt x="124" y="16"/>
                  </a:lnTo>
                  <a:lnTo>
                    <a:pt x="126" y="16"/>
                  </a:lnTo>
                  <a:lnTo>
                    <a:pt x="127" y="17"/>
                  </a:lnTo>
                  <a:lnTo>
                    <a:pt x="128" y="17"/>
                  </a:lnTo>
                  <a:lnTo>
                    <a:pt x="129" y="18"/>
                  </a:lnTo>
                  <a:lnTo>
                    <a:pt x="128" y="20"/>
                  </a:lnTo>
                  <a:lnTo>
                    <a:pt x="127" y="20"/>
                  </a:lnTo>
                  <a:lnTo>
                    <a:pt x="127" y="18"/>
                  </a:lnTo>
                  <a:lnTo>
                    <a:pt x="126" y="17"/>
                  </a:lnTo>
                  <a:lnTo>
                    <a:pt x="124" y="17"/>
                  </a:lnTo>
                  <a:lnTo>
                    <a:pt x="124" y="18"/>
                  </a:lnTo>
                  <a:lnTo>
                    <a:pt x="123" y="18"/>
                  </a:lnTo>
                  <a:lnTo>
                    <a:pt x="122" y="18"/>
                  </a:lnTo>
                  <a:lnTo>
                    <a:pt x="121" y="18"/>
                  </a:lnTo>
                  <a:lnTo>
                    <a:pt x="121" y="17"/>
                  </a:lnTo>
                  <a:lnTo>
                    <a:pt x="120" y="17"/>
                  </a:lnTo>
                  <a:lnTo>
                    <a:pt x="120" y="18"/>
                  </a:lnTo>
                  <a:lnTo>
                    <a:pt x="120" y="20"/>
                  </a:lnTo>
                  <a:lnTo>
                    <a:pt x="121" y="21"/>
                  </a:lnTo>
                  <a:lnTo>
                    <a:pt x="121" y="22"/>
                  </a:lnTo>
                  <a:lnTo>
                    <a:pt x="122" y="22"/>
                  </a:lnTo>
                  <a:lnTo>
                    <a:pt x="123" y="22"/>
                  </a:lnTo>
                  <a:lnTo>
                    <a:pt x="124" y="22"/>
                  </a:lnTo>
                  <a:lnTo>
                    <a:pt x="126" y="22"/>
                  </a:lnTo>
                  <a:lnTo>
                    <a:pt x="126" y="23"/>
                  </a:lnTo>
                  <a:lnTo>
                    <a:pt x="127" y="23"/>
                  </a:lnTo>
                  <a:lnTo>
                    <a:pt x="126" y="23"/>
                  </a:lnTo>
                  <a:lnTo>
                    <a:pt x="124" y="23"/>
                  </a:lnTo>
                  <a:lnTo>
                    <a:pt x="124" y="24"/>
                  </a:lnTo>
                  <a:lnTo>
                    <a:pt x="124" y="26"/>
                  </a:lnTo>
                  <a:lnTo>
                    <a:pt x="123" y="26"/>
                  </a:lnTo>
                  <a:lnTo>
                    <a:pt x="122" y="26"/>
                  </a:lnTo>
                  <a:lnTo>
                    <a:pt x="123" y="28"/>
                  </a:lnTo>
                  <a:lnTo>
                    <a:pt x="124" y="28"/>
                  </a:lnTo>
                  <a:lnTo>
                    <a:pt x="126" y="29"/>
                  </a:lnTo>
                  <a:lnTo>
                    <a:pt x="127" y="29"/>
                  </a:lnTo>
                  <a:lnTo>
                    <a:pt x="127" y="30"/>
                  </a:lnTo>
                  <a:lnTo>
                    <a:pt x="128" y="30"/>
                  </a:lnTo>
                  <a:lnTo>
                    <a:pt x="129" y="29"/>
                  </a:lnTo>
                  <a:lnTo>
                    <a:pt x="129" y="28"/>
                  </a:lnTo>
                  <a:lnTo>
                    <a:pt x="129" y="27"/>
                  </a:lnTo>
                  <a:lnTo>
                    <a:pt x="130" y="28"/>
                  </a:lnTo>
                  <a:lnTo>
                    <a:pt x="132" y="28"/>
                  </a:lnTo>
                  <a:lnTo>
                    <a:pt x="132" y="27"/>
                  </a:lnTo>
                  <a:lnTo>
                    <a:pt x="133" y="28"/>
                  </a:lnTo>
                  <a:lnTo>
                    <a:pt x="133" y="29"/>
                  </a:lnTo>
                  <a:lnTo>
                    <a:pt x="132" y="29"/>
                  </a:lnTo>
                  <a:lnTo>
                    <a:pt x="130" y="29"/>
                  </a:lnTo>
                  <a:lnTo>
                    <a:pt x="129" y="30"/>
                  </a:lnTo>
                  <a:lnTo>
                    <a:pt x="129" y="32"/>
                  </a:lnTo>
                  <a:lnTo>
                    <a:pt x="130" y="33"/>
                  </a:lnTo>
                  <a:lnTo>
                    <a:pt x="132" y="34"/>
                  </a:lnTo>
                  <a:lnTo>
                    <a:pt x="133" y="33"/>
                  </a:lnTo>
                  <a:lnTo>
                    <a:pt x="134" y="33"/>
                  </a:lnTo>
                  <a:lnTo>
                    <a:pt x="134" y="32"/>
                  </a:lnTo>
                  <a:lnTo>
                    <a:pt x="134" y="30"/>
                  </a:lnTo>
                  <a:lnTo>
                    <a:pt x="135" y="32"/>
                  </a:lnTo>
                  <a:lnTo>
                    <a:pt x="136" y="32"/>
                  </a:lnTo>
                  <a:lnTo>
                    <a:pt x="136" y="33"/>
                  </a:lnTo>
                  <a:lnTo>
                    <a:pt x="135" y="33"/>
                  </a:lnTo>
                  <a:lnTo>
                    <a:pt x="134" y="34"/>
                  </a:lnTo>
                  <a:lnTo>
                    <a:pt x="134" y="35"/>
                  </a:lnTo>
                  <a:lnTo>
                    <a:pt x="134" y="36"/>
                  </a:lnTo>
                  <a:lnTo>
                    <a:pt x="135" y="38"/>
                  </a:lnTo>
                  <a:lnTo>
                    <a:pt x="135" y="39"/>
                  </a:lnTo>
                  <a:lnTo>
                    <a:pt x="136" y="40"/>
                  </a:lnTo>
                  <a:lnTo>
                    <a:pt x="136" y="41"/>
                  </a:lnTo>
                  <a:lnTo>
                    <a:pt x="135" y="41"/>
                  </a:lnTo>
                  <a:lnTo>
                    <a:pt x="135" y="40"/>
                  </a:lnTo>
                  <a:lnTo>
                    <a:pt x="135" y="39"/>
                  </a:lnTo>
                  <a:lnTo>
                    <a:pt x="134" y="39"/>
                  </a:lnTo>
                  <a:lnTo>
                    <a:pt x="134" y="38"/>
                  </a:lnTo>
                  <a:lnTo>
                    <a:pt x="133" y="36"/>
                  </a:lnTo>
                  <a:lnTo>
                    <a:pt x="132" y="36"/>
                  </a:lnTo>
                  <a:lnTo>
                    <a:pt x="132" y="38"/>
                  </a:lnTo>
                  <a:lnTo>
                    <a:pt x="132" y="39"/>
                  </a:lnTo>
                  <a:lnTo>
                    <a:pt x="130" y="39"/>
                  </a:lnTo>
                  <a:lnTo>
                    <a:pt x="130" y="40"/>
                  </a:lnTo>
                  <a:lnTo>
                    <a:pt x="129" y="40"/>
                  </a:lnTo>
                  <a:lnTo>
                    <a:pt x="129" y="39"/>
                  </a:lnTo>
                  <a:lnTo>
                    <a:pt x="129" y="38"/>
                  </a:lnTo>
                  <a:lnTo>
                    <a:pt x="128" y="39"/>
                  </a:lnTo>
                  <a:lnTo>
                    <a:pt x="128" y="40"/>
                  </a:lnTo>
                  <a:lnTo>
                    <a:pt x="127" y="40"/>
                  </a:lnTo>
                  <a:lnTo>
                    <a:pt x="127" y="39"/>
                  </a:lnTo>
                  <a:lnTo>
                    <a:pt x="127" y="38"/>
                  </a:lnTo>
                  <a:lnTo>
                    <a:pt x="127" y="36"/>
                  </a:lnTo>
                  <a:lnTo>
                    <a:pt x="126" y="36"/>
                  </a:lnTo>
                  <a:lnTo>
                    <a:pt x="126" y="35"/>
                  </a:lnTo>
                  <a:lnTo>
                    <a:pt x="124" y="35"/>
                  </a:lnTo>
                  <a:lnTo>
                    <a:pt x="123" y="36"/>
                  </a:lnTo>
                  <a:lnTo>
                    <a:pt x="123" y="38"/>
                  </a:lnTo>
                  <a:lnTo>
                    <a:pt x="123" y="39"/>
                  </a:lnTo>
                  <a:lnTo>
                    <a:pt x="123" y="40"/>
                  </a:lnTo>
                  <a:lnTo>
                    <a:pt x="122" y="40"/>
                  </a:lnTo>
                  <a:lnTo>
                    <a:pt x="122" y="39"/>
                  </a:lnTo>
                  <a:lnTo>
                    <a:pt x="121" y="39"/>
                  </a:lnTo>
                  <a:lnTo>
                    <a:pt x="121" y="40"/>
                  </a:lnTo>
                  <a:lnTo>
                    <a:pt x="120" y="40"/>
                  </a:lnTo>
                  <a:lnTo>
                    <a:pt x="118" y="39"/>
                  </a:lnTo>
                  <a:lnTo>
                    <a:pt x="118" y="38"/>
                  </a:lnTo>
                  <a:lnTo>
                    <a:pt x="117" y="38"/>
                  </a:lnTo>
                  <a:lnTo>
                    <a:pt x="117" y="36"/>
                  </a:lnTo>
                  <a:lnTo>
                    <a:pt x="117" y="35"/>
                  </a:lnTo>
                  <a:lnTo>
                    <a:pt x="117" y="34"/>
                  </a:lnTo>
                  <a:lnTo>
                    <a:pt x="116" y="33"/>
                  </a:lnTo>
                  <a:lnTo>
                    <a:pt x="115" y="34"/>
                  </a:lnTo>
                  <a:lnTo>
                    <a:pt x="114" y="35"/>
                  </a:lnTo>
                  <a:lnTo>
                    <a:pt x="112" y="36"/>
                  </a:lnTo>
                  <a:lnTo>
                    <a:pt x="112" y="35"/>
                  </a:lnTo>
                  <a:lnTo>
                    <a:pt x="112" y="34"/>
                  </a:lnTo>
                  <a:lnTo>
                    <a:pt x="111" y="33"/>
                  </a:lnTo>
                  <a:lnTo>
                    <a:pt x="110" y="33"/>
                  </a:lnTo>
                  <a:lnTo>
                    <a:pt x="110" y="34"/>
                  </a:lnTo>
                  <a:lnTo>
                    <a:pt x="109" y="35"/>
                  </a:lnTo>
                  <a:lnTo>
                    <a:pt x="109" y="36"/>
                  </a:lnTo>
                  <a:lnTo>
                    <a:pt x="108" y="35"/>
                  </a:lnTo>
                  <a:lnTo>
                    <a:pt x="108" y="34"/>
                  </a:lnTo>
                  <a:lnTo>
                    <a:pt x="109" y="33"/>
                  </a:lnTo>
                  <a:lnTo>
                    <a:pt x="109" y="32"/>
                  </a:lnTo>
                  <a:lnTo>
                    <a:pt x="108" y="32"/>
                  </a:lnTo>
                  <a:lnTo>
                    <a:pt x="109" y="32"/>
                  </a:lnTo>
                  <a:lnTo>
                    <a:pt x="109" y="30"/>
                  </a:lnTo>
                  <a:lnTo>
                    <a:pt x="108" y="29"/>
                  </a:lnTo>
                  <a:lnTo>
                    <a:pt x="106" y="29"/>
                  </a:lnTo>
                  <a:lnTo>
                    <a:pt x="105" y="29"/>
                  </a:lnTo>
                  <a:lnTo>
                    <a:pt x="105" y="28"/>
                  </a:lnTo>
                  <a:lnTo>
                    <a:pt x="105" y="27"/>
                  </a:lnTo>
                  <a:lnTo>
                    <a:pt x="104" y="26"/>
                  </a:lnTo>
                  <a:lnTo>
                    <a:pt x="103" y="24"/>
                  </a:lnTo>
                  <a:lnTo>
                    <a:pt x="103" y="26"/>
                  </a:lnTo>
                  <a:lnTo>
                    <a:pt x="102" y="27"/>
                  </a:lnTo>
                  <a:lnTo>
                    <a:pt x="100" y="28"/>
                  </a:lnTo>
                  <a:lnTo>
                    <a:pt x="99" y="29"/>
                  </a:lnTo>
                  <a:lnTo>
                    <a:pt x="99" y="28"/>
                  </a:lnTo>
                  <a:lnTo>
                    <a:pt x="99" y="27"/>
                  </a:lnTo>
                  <a:lnTo>
                    <a:pt x="100" y="26"/>
                  </a:lnTo>
                  <a:lnTo>
                    <a:pt x="99" y="26"/>
                  </a:lnTo>
                  <a:lnTo>
                    <a:pt x="100" y="26"/>
                  </a:lnTo>
                  <a:lnTo>
                    <a:pt x="100" y="24"/>
                  </a:lnTo>
                  <a:lnTo>
                    <a:pt x="102" y="24"/>
                  </a:lnTo>
                  <a:lnTo>
                    <a:pt x="102" y="23"/>
                  </a:lnTo>
                  <a:lnTo>
                    <a:pt x="102" y="22"/>
                  </a:lnTo>
                  <a:lnTo>
                    <a:pt x="103" y="21"/>
                  </a:lnTo>
                  <a:lnTo>
                    <a:pt x="102" y="20"/>
                  </a:lnTo>
                  <a:lnTo>
                    <a:pt x="100" y="20"/>
                  </a:lnTo>
                  <a:lnTo>
                    <a:pt x="99" y="20"/>
                  </a:lnTo>
                  <a:lnTo>
                    <a:pt x="100" y="21"/>
                  </a:lnTo>
                  <a:lnTo>
                    <a:pt x="99" y="22"/>
                  </a:lnTo>
                  <a:lnTo>
                    <a:pt x="99" y="21"/>
                  </a:lnTo>
                  <a:lnTo>
                    <a:pt x="98" y="22"/>
                  </a:lnTo>
                  <a:lnTo>
                    <a:pt x="98" y="23"/>
                  </a:lnTo>
                  <a:lnTo>
                    <a:pt x="98" y="24"/>
                  </a:lnTo>
                  <a:lnTo>
                    <a:pt x="97" y="24"/>
                  </a:lnTo>
                  <a:lnTo>
                    <a:pt x="97" y="23"/>
                  </a:lnTo>
                  <a:lnTo>
                    <a:pt x="97" y="22"/>
                  </a:lnTo>
                  <a:lnTo>
                    <a:pt x="97" y="21"/>
                  </a:lnTo>
                  <a:lnTo>
                    <a:pt x="98" y="20"/>
                  </a:lnTo>
                  <a:lnTo>
                    <a:pt x="97" y="18"/>
                  </a:lnTo>
                  <a:lnTo>
                    <a:pt x="96" y="17"/>
                  </a:lnTo>
                  <a:lnTo>
                    <a:pt x="96" y="18"/>
                  </a:lnTo>
                  <a:lnTo>
                    <a:pt x="94" y="20"/>
                  </a:lnTo>
                  <a:lnTo>
                    <a:pt x="94" y="18"/>
                  </a:lnTo>
                  <a:lnTo>
                    <a:pt x="94" y="17"/>
                  </a:lnTo>
                  <a:lnTo>
                    <a:pt x="93" y="18"/>
                  </a:lnTo>
                  <a:lnTo>
                    <a:pt x="93" y="17"/>
                  </a:lnTo>
                  <a:lnTo>
                    <a:pt x="92" y="17"/>
                  </a:lnTo>
                  <a:lnTo>
                    <a:pt x="92" y="16"/>
                  </a:lnTo>
                  <a:lnTo>
                    <a:pt x="92" y="15"/>
                  </a:lnTo>
                  <a:lnTo>
                    <a:pt x="91" y="15"/>
                  </a:lnTo>
                  <a:lnTo>
                    <a:pt x="89" y="15"/>
                  </a:lnTo>
                  <a:lnTo>
                    <a:pt x="89" y="16"/>
                  </a:lnTo>
                  <a:lnTo>
                    <a:pt x="89" y="17"/>
                  </a:lnTo>
                  <a:lnTo>
                    <a:pt x="91" y="18"/>
                  </a:lnTo>
                  <a:lnTo>
                    <a:pt x="89" y="18"/>
                  </a:lnTo>
                  <a:lnTo>
                    <a:pt x="88" y="18"/>
                  </a:lnTo>
                  <a:lnTo>
                    <a:pt x="89" y="20"/>
                  </a:lnTo>
                  <a:lnTo>
                    <a:pt x="91" y="21"/>
                  </a:lnTo>
                  <a:lnTo>
                    <a:pt x="92" y="22"/>
                  </a:lnTo>
                  <a:lnTo>
                    <a:pt x="92" y="23"/>
                  </a:lnTo>
                  <a:lnTo>
                    <a:pt x="93" y="23"/>
                  </a:lnTo>
                  <a:lnTo>
                    <a:pt x="92" y="23"/>
                  </a:lnTo>
                  <a:lnTo>
                    <a:pt x="91" y="22"/>
                  </a:lnTo>
                  <a:lnTo>
                    <a:pt x="89" y="22"/>
                  </a:lnTo>
                  <a:lnTo>
                    <a:pt x="88" y="23"/>
                  </a:lnTo>
                  <a:lnTo>
                    <a:pt x="89" y="23"/>
                  </a:lnTo>
                  <a:lnTo>
                    <a:pt x="89" y="24"/>
                  </a:lnTo>
                  <a:lnTo>
                    <a:pt x="91" y="26"/>
                  </a:lnTo>
                  <a:lnTo>
                    <a:pt x="91" y="27"/>
                  </a:lnTo>
                  <a:lnTo>
                    <a:pt x="91" y="28"/>
                  </a:lnTo>
                  <a:lnTo>
                    <a:pt x="89" y="28"/>
                  </a:lnTo>
                  <a:lnTo>
                    <a:pt x="88" y="27"/>
                  </a:lnTo>
                  <a:lnTo>
                    <a:pt x="86" y="27"/>
                  </a:lnTo>
                  <a:lnTo>
                    <a:pt x="85" y="28"/>
                  </a:lnTo>
                  <a:lnTo>
                    <a:pt x="85" y="29"/>
                  </a:lnTo>
                  <a:lnTo>
                    <a:pt x="86" y="30"/>
                  </a:lnTo>
                  <a:lnTo>
                    <a:pt x="86" y="32"/>
                  </a:lnTo>
                  <a:lnTo>
                    <a:pt x="87" y="32"/>
                  </a:lnTo>
                  <a:lnTo>
                    <a:pt x="88" y="33"/>
                  </a:lnTo>
                  <a:lnTo>
                    <a:pt x="89" y="34"/>
                  </a:lnTo>
                  <a:lnTo>
                    <a:pt x="91" y="35"/>
                  </a:lnTo>
                  <a:lnTo>
                    <a:pt x="92" y="34"/>
                  </a:lnTo>
                  <a:lnTo>
                    <a:pt x="93" y="34"/>
                  </a:lnTo>
                  <a:lnTo>
                    <a:pt x="94" y="35"/>
                  </a:lnTo>
                  <a:lnTo>
                    <a:pt x="93" y="36"/>
                  </a:lnTo>
                  <a:lnTo>
                    <a:pt x="93" y="35"/>
                  </a:lnTo>
                  <a:lnTo>
                    <a:pt x="92" y="35"/>
                  </a:lnTo>
                  <a:lnTo>
                    <a:pt x="91" y="35"/>
                  </a:lnTo>
                  <a:lnTo>
                    <a:pt x="89" y="35"/>
                  </a:lnTo>
                  <a:lnTo>
                    <a:pt x="88" y="35"/>
                  </a:lnTo>
                  <a:lnTo>
                    <a:pt x="88" y="34"/>
                  </a:lnTo>
                  <a:lnTo>
                    <a:pt x="87" y="34"/>
                  </a:lnTo>
                  <a:lnTo>
                    <a:pt x="87" y="35"/>
                  </a:lnTo>
                  <a:lnTo>
                    <a:pt x="86" y="35"/>
                  </a:lnTo>
                  <a:lnTo>
                    <a:pt x="87" y="36"/>
                  </a:lnTo>
                  <a:lnTo>
                    <a:pt x="88" y="36"/>
                  </a:lnTo>
                  <a:lnTo>
                    <a:pt x="88" y="38"/>
                  </a:lnTo>
                  <a:lnTo>
                    <a:pt x="88" y="39"/>
                  </a:lnTo>
                  <a:lnTo>
                    <a:pt x="88" y="40"/>
                  </a:lnTo>
                  <a:lnTo>
                    <a:pt x="89" y="40"/>
                  </a:lnTo>
                  <a:lnTo>
                    <a:pt x="89" y="41"/>
                  </a:lnTo>
                  <a:lnTo>
                    <a:pt x="88" y="41"/>
                  </a:lnTo>
                  <a:lnTo>
                    <a:pt x="88" y="40"/>
                  </a:lnTo>
                  <a:lnTo>
                    <a:pt x="87" y="40"/>
                  </a:lnTo>
                  <a:lnTo>
                    <a:pt x="87" y="41"/>
                  </a:lnTo>
                  <a:lnTo>
                    <a:pt x="87" y="42"/>
                  </a:lnTo>
                  <a:lnTo>
                    <a:pt x="87" y="41"/>
                  </a:lnTo>
                  <a:lnTo>
                    <a:pt x="86" y="42"/>
                  </a:lnTo>
                  <a:lnTo>
                    <a:pt x="87" y="44"/>
                  </a:lnTo>
                  <a:lnTo>
                    <a:pt x="88" y="44"/>
                  </a:lnTo>
                  <a:lnTo>
                    <a:pt x="89" y="44"/>
                  </a:lnTo>
                  <a:lnTo>
                    <a:pt x="91" y="44"/>
                  </a:lnTo>
                  <a:lnTo>
                    <a:pt x="92" y="44"/>
                  </a:lnTo>
                  <a:lnTo>
                    <a:pt x="93" y="44"/>
                  </a:lnTo>
                  <a:lnTo>
                    <a:pt x="94" y="44"/>
                  </a:lnTo>
                  <a:lnTo>
                    <a:pt x="96" y="44"/>
                  </a:lnTo>
                  <a:lnTo>
                    <a:pt x="96" y="45"/>
                  </a:lnTo>
                  <a:lnTo>
                    <a:pt x="97" y="45"/>
                  </a:lnTo>
                  <a:lnTo>
                    <a:pt x="98" y="45"/>
                  </a:lnTo>
                  <a:lnTo>
                    <a:pt x="99" y="45"/>
                  </a:lnTo>
                  <a:lnTo>
                    <a:pt x="100" y="45"/>
                  </a:lnTo>
                  <a:lnTo>
                    <a:pt x="102" y="46"/>
                  </a:lnTo>
                  <a:lnTo>
                    <a:pt x="100" y="46"/>
                  </a:lnTo>
                  <a:lnTo>
                    <a:pt x="99" y="46"/>
                  </a:lnTo>
                  <a:lnTo>
                    <a:pt x="98" y="46"/>
                  </a:lnTo>
                  <a:lnTo>
                    <a:pt x="97" y="47"/>
                  </a:lnTo>
                  <a:lnTo>
                    <a:pt x="96" y="46"/>
                  </a:lnTo>
                  <a:lnTo>
                    <a:pt x="96" y="47"/>
                  </a:lnTo>
                  <a:lnTo>
                    <a:pt x="94" y="47"/>
                  </a:lnTo>
                  <a:lnTo>
                    <a:pt x="94" y="46"/>
                  </a:lnTo>
                  <a:lnTo>
                    <a:pt x="93" y="45"/>
                  </a:lnTo>
                  <a:lnTo>
                    <a:pt x="93" y="46"/>
                  </a:lnTo>
                  <a:lnTo>
                    <a:pt x="92" y="46"/>
                  </a:lnTo>
                  <a:lnTo>
                    <a:pt x="92" y="47"/>
                  </a:lnTo>
                  <a:lnTo>
                    <a:pt x="93" y="47"/>
                  </a:lnTo>
                  <a:lnTo>
                    <a:pt x="92" y="48"/>
                  </a:lnTo>
                  <a:lnTo>
                    <a:pt x="92" y="47"/>
                  </a:lnTo>
                  <a:lnTo>
                    <a:pt x="91" y="46"/>
                  </a:lnTo>
                  <a:lnTo>
                    <a:pt x="91" y="47"/>
                  </a:lnTo>
                  <a:lnTo>
                    <a:pt x="89" y="47"/>
                  </a:lnTo>
                  <a:lnTo>
                    <a:pt x="89" y="46"/>
                  </a:lnTo>
                  <a:lnTo>
                    <a:pt x="89" y="45"/>
                  </a:lnTo>
                  <a:lnTo>
                    <a:pt x="88" y="45"/>
                  </a:lnTo>
                  <a:lnTo>
                    <a:pt x="87" y="45"/>
                  </a:lnTo>
                  <a:lnTo>
                    <a:pt x="86" y="45"/>
                  </a:lnTo>
                  <a:lnTo>
                    <a:pt x="86" y="46"/>
                  </a:lnTo>
                  <a:lnTo>
                    <a:pt x="85" y="46"/>
                  </a:lnTo>
                  <a:lnTo>
                    <a:pt x="86" y="46"/>
                  </a:lnTo>
                  <a:lnTo>
                    <a:pt x="86" y="48"/>
                  </a:lnTo>
                  <a:lnTo>
                    <a:pt x="87" y="48"/>
                  </a:lnTo>
                  <a:lnTo>
                    <a:pt x="87" y="50"/>
                  </a:lnTo>
                  <a:lnTo>
                    <a:pt x="88" y="50"/>
                  </a:lnTo>
                  <a:lnTo>
                    <a:pt x="88" y="51"/>
                  </a:lnTo>
                  <a:lnTo>
                    <a:pt x="89" y="51"/>
                  </a:lnTo>
                  <a:lnTo>
                    <a:pt x="89" y="52"/>
                  </a:lnTo>
                  <a:lnTo>
                    <a:pt x="88" y="52"/>
                  </a:lnTo>
                  <a:lnTo>
                    <a:pt x="87" y="51"/>
                  </a:lnTo>
                  <a:lnTo>
                    <a:pt x="87" y="52"/>
                  </a:lnTo>
                  <a:lnTo>
                    <a:pt x="86" y="52"/>
                  </a:lnTo>
                  <a:lnTo>
                    <a:pt x="85" y="52"/>
                  </a:lnTo>
                  <a:lnTo>
                    <a:pt x="85" y="51"/>
                  </a:lnTo>
                  <a:lnTo>
                    <a:pt x="83" y="51"/>
                  </a:lnTo>
                  <a:lnTo>
                    <a:pt x="82" y="52"/>
                  </a:lnTo>
                  <a:lnTo>
                    <a:pt x="82" y="53"/>
                  </a:lnTo>
                  <a:lnTo>
                    <a:pt x="83" y="53"/>
                  </a:lnTo>
                  <a:lnTo>
                    <a:pt x="85" y="54"/>
                  </a:lnTo>
                  <a:lnTo>
                    <a:pt x="86" y="54"/>
                  </a:lnTo>
                  <a:lnTo>
                    <a:pt x="87" y="54"/>
                  </a:lnTo>
                  <a:lnTo>
                    <a:pt x="88" y="54"/>
                  </a:lnTo>
                  <a:lnTo>
                    <a:pt x="89" y="54"/>
                  </a:lnTo>
                  <a:lnTo>
                    <a:pt x="91" y="53"/>
                  </a:lnTo>
                  <a:lnTo>
                    <a:pt x="91" y="52"/>
                  </a:lnTo>
                  <a:lnTo>
                    <a:pt x="92" y="52"/>
                  </a:lnTo>
                  <a:lnTo>
                    <a:pt x="93" y="52"/>
                  </a:lnTo>
                  <a:lnTo>
                    <a:pt x="94" y="51"/>
                  </a:lnTo>
                  <a:lnTo>
                    <a:pt x="96" y="50"/>
                  </a:lnTo>
                  <a:lnTo>
                    <a:pt x="97" y="50"/>
                  </a:lnTo>
                  <a:lnTo>
                    <a:pt x="98" y="51"/>
                  </a:lnTo>
                  <a:lnTo>
                    <a:pt x="97" y="52"/>
                  </a:lnTo>
                  <a:lnTo>
                    <a:pt x="97" y="51"/>
                  </a:lnTo>
                  <a:lnTo>
                    <a:pt x="96" y="51"/>
                  </a:lnTo>
                  <a:lnTo>
                    <a:pt x="94" y="52"/>
                  </a:lnTo>
                  <a:lnTo>
                    <a:pt x="94" y="53"/>
                  </a:lnTo>
                  <a:lnTo>
                    <a:pt x="94" y="54"/>
                  </a:lnTo>
                  <a:lnTo>
                    <a:pt x="93" y="54"/>
                  </a:lnTo>
                  <a:lnTo>
                    <a:pt x="93" y="53"/>
                  </a:lnTo>
                  <a:lnTo>
                    <a:pt x="92" y="53"/>
                  </a:lnTo>
                  <a:lnTo>
                    <a:pt x="92" y="54"/>
                  </a:lnTo>
                  <a:lnTo>
                    <a:pt x="92" y="56"/>
                  </a:lnTo>
                  <a:lnTo>
                    <a:pt x="91" y="56"/>
                  </a:lnTo>
                  <a:lnTo>
                    <a:pt x="91" y="57"/>
                  </a:lnTo>
                  <a:lnTo>
                    <a:pt x="89" y="57"/>
                  </a:lnTo>
                  <a:lnTo>
                    <a:pt x="89" y="56"/>
                  </a:lnTo>
                  <a:lnTo>
                    <a:pt x="88" y="56"/>
                  </a:lnTo>
                  <a:lnTo>
                    <a:pt x="88" y="57"/>
                  </a:lnTo>
                  <a:lnTo>
                    <a:pt x="87" y="57"/>
                  </a:lnTo>
                  <a:lnTo>
                    <a:pt x="87" y="56"/>
                  </a:lnTo>
                  <a:lnTo>
                    <a:pt x="86" y="56"/>
                  </a:lnTo>
                  <a:lnTo>
                    <a:pt x="85" y="56"/>
                  </a:lnTo>
                  <a:lnTo>
                    <a:pt x="83" y="56"/>
                  </a:lnTo>
                  <a:lnTo>
                    <a:pt x="83" y="54"/>
                  </a:lnTo>
                  <a:lnTo>
                    <a:pt x="82" y="54"/>
                  </a:lnTo>
                  <a:lnTo>
                    <a:pt x="81" y="54"/>
                  </a:lnTo>
                  <a:lnTo>
                    <a:pt x="80" y="53"/>
                  </a:lnTo>
                  <a:lnTo>
                    <a:pt x="80" y="52"/>
                  </a:lnTo>
                  <a:lnTo>
                    <a:pt x="79" y="51"/>
                  </a:lnTo>
                  <a:lnTo>
                    <a:pt x="77" y="51"/>
                  </a:lnTo>
                  <a:lnTo>
                    <a:pt x="77" y="50"/>
                  </a:lnTo>
                  <a:lnTo>
                    <a:pt x="76" y="50"/>
                  </a:lnTo>
                  <a:lnTo>
                    <a:pt x="75" y="50"/>
                  </a:lnTo>
                  <a:lnTo>
                    <a:pt x="75" y="51"/>
                  </a:lnTo>
                  <a:lnTo>
                    <a:pt x="76" y="51"/>
                  </a:lnTo>
                  <a:lnTo>
                    <a:pt x="76" y="53"/>
                  </a:lnTo>
                  <a:lnTo>
                    <a:pt x="75" y="53"/>
                  </a:lnTo>
                  <a:lnTo>
                    <a:pt x="74" y="52"/>
                  </a:lnTo>
                  <a:lnTo>
                    <a:pt x="73" y="52"/>
                  </a:lnTo>
                  <a:lnTo>
                    <a:pt x="71" y="52"/>
                  </a:lnTo>
                  <a:lnTo>
                    <a:pt x="70" y="52"/>
                  </a:lnTo>
                  <a:lnTo>
                    <a:pt x="70" y="51"/>
                  </a:lnTo>
                  <a:lnTo>
                    <a:pt x="69" y="51"/>
                  </a:lnTo>
                  <a:lnTo>
                    <a:pt x="68" y="51"/>
                  </a:lnTo>
                  <a:lnTo>
                    <a:pt x="67" y="50"/>
                  </a:lnTo>
                  <a:lnTo>
                    <a:pt x="67" y="48"/>
                  </a:lnTo>
                  <a:lnTo>
                    <a:pt x="65" y="48"/>
                  </a:lnTo>
                  <a:lnTo>
                    <a:pt x="64" y="48"/>
                  </a:lnTo>
                  <a:lnTo>
                    <a:pt x="64" y="50"/>
                  </a:lnTo>
                  <a:lnTo>
                    <a:pt x="65" y="51"/>
                  </a:lnTo>
                  <a:lnTo>
                    <a:pt x="64" y="52"/>
                  </a:lnTo>
                  <a:lnTo>
                    <a:pt x="63" y="52"/>
                  </a:lnTo>
                  <a:lnTo>
                    <a:pt x="63" y="51"/>
                  </a:lnTo>
                  <a:lnTo>
                    <a:pt x="63" y="50"/>
                  </a:lnTo>
                  <a:lnTo>
                    <a:pt x="62" y="50"/>
                  </a:lnTo>
                  <a:lnTo>
                    <a:pt x="61" y="51"/>
                  </a:lnTo>
                  <a:lnTo>
                    <a:pt x="59" y="51"/>
                  </a:lnTo>
                  <a:lnTo>
                    <a:pt x="61" y="52"/>
                  </a:lnTo>
                  <a:lnTo>
                    <a:pt x="62" y="53"/>
                  </a:lnTo>
                  <a:lnTo>
                    <a:pt x="62" y="54"/>
                  </a:lnTo>
                  <a:lnTo>
                    <a:pt x="63" y="54"/>
                  </a:lnTo>
                  <a:lnTo>
                    <a:pt x="64" y="54"/>
                  </a:lnTo>
                  <a:lnTo>
                    <a:pt x="64" y="56"/>
                  </a:lnTo>
                  <a:lnTo>
                    <a:pt x="63" y="56"/>
                  </a:lnTo>
                  <a:lnTo>
                    <a:pt x="62" y="56"/>
                  </a:lnTo>
                  <a:lnTo>
                    <a:pt x="62" y="57"/>
                  </a:lnTo>
                  <a:lnTo>
                    <a:pt x="63" y="57"/>
                  </a:lnTo>
                  <a:lnTo>
                    <a:pt x="64" y="58"/>
                  </a:lnTo>
                  <a:lnTo>
                    <a:pt x="65" y="58"/>
                  </a:lnTo>
                  <a:lnTo>
                    <a:pt x="67" y="58"/>
                  </a:lnTo>
                  <a:lnTo>
                    <a:pt x="68" y="58"/>
                  </a:lnTo>
                  <a:lnTo>
                    <a:pt x="69" y="58"/>
                  </a:lnTo>
                  <a:lnTo>
                    <a:pt x="69" y="59"/>
                  </a:lnTo>
                  <a:lnTo>
                    <a:pt x="69" y="60"/>
                  </a:lnTo>
                  <a:lnTo>
                    <a:pt x="70" y="60"/>
                  </a:lnTo>
                  <a:lnTo>
                    <a:pt x="71" y="60"/>
                  </a:lnTo>
                  <a:lnTo>
                    <a:pt x="71" y="59"/>
                  </a:lnTo>
                  <a:lnTo>
                    <a:pt x="73" y="60"/>
                  </a:lnTo>
                  <a:lnTo>
                    <a:pt x="74" y="60"/>
                  </a:lnTo>
                  <a:lnTo>
                    <a:pt x="75" y="60"/>
                  </a:lnTo>
                  <a:lnTo>
                    <a:pt x="75" y="59"/>
                  </a:lnTo>
                  <a:lnTo>
                    <a:pt x="76" y="58"/>
                  </a:lnTo>
                  <a:lnTo>
                    <a:pt x="76" y="59"/>
                  </a:lnTo>
                  <a:lnTo>
                    <a:pt x="77" y="59"/>
                  </a:lnTo>
                  <a:lnTo>
                    <a:pt x="79" y="60"/>
                  </a:lnTo>
                  <a:lnTo>
                    <a:pt x="77" y="60"/>
                  </a:lnTo>
                  <a:lnTo>
                    <a:pt x="77" y="62"/>
                  </a:lnTo>
                  <a:lnTo>
                    <a:pt x="79" y="62"/>
                  </a:lnTo>
                  <a:lnTo>
                    <a:pt x="77" y="63"/>
                  </a:lnTo>
                  <a:lnTo>
                    <a:pt x="76" y="63"/>
                  </a:lnTo>
                  <a:lnTo>
                    <a:pt x="75" y="64"/>
                  </a:lnTo>
                  <a:lnTo>
                    <a:pt x="76" y="65"/>
                  </a:lnTo>
                  <a:lnTo>
                    <a:pt x="77" y="65"/>
                  </a:lnTo>
                  <a:lnTo>
                    <a:pt x="77" y="66"/>
                  </a:lnTo>
                  <a:lnTo>
                    <a:pt x="79" y="66"/>
                  </a:lnTo>
                  <a:lnTo>
                    <a:pt x="79" y="68"/>
                  </a:lnTo>
                  <a:lnTo>
                    <a:pt x="77" y="68"/>
                  </a:lnTo>
                  <a:lnTo>
                    <a:pt x="79" y="69"/>
                  </a:lnTo>
                  <a:lnTo>
                    <a:pt x="80" y="69"/>
                  </a:lnTo>
                  <a:lnTo>
                    <a:pt x="81" y="69"/>
                  </a:lnTo>
                  <a:lnTo>
                    <a:pt x="80" y="70"/>
                  </a:lnTo>
                  <a:lnTo>
                    <a:pt x="80" y="71"/>
                  </a:lnTo>
                  <a:lnTo>
                    <a:pt x="79" y="71"/>
                  </a:lnTo>
                  <a:lnTo>
                    <a:pt x="77" y="71"/>
                  </a:lnTo>
                  <a:lnTo>
                    <a:pt x="77" y="73"/>
                  </a:lnTo>
                  <a:lnTo>
                    <a:pt x="79" y="74"/>
                  </a:lnTo>
                  <a:lnTo>
                    <a:pt x="80" y="74"/>
                  </a:lnTo>
                  <a:lnTo>
                    <a:pt x="80" y="75"/>
                  </a:lnTo>
                  <a:lnTo>
                    <a:pt x="81" y="74"/>
                  </a:lnTo>
                  <a:lnTo>
                    <a:pt x="81" y="75"/>
                  </a:lnTo>
                  <a:lnTo>
                    <a:pt x="82" y="76"/>
                  </a:lnTo>
                  <a:lnTo>
                    <a:pt x="83" y="76"/>
                  </a:lnTo>
                  <a:lnTo>
                    <a:pt x="85" y="76"/>
                  </a:lnTo>
                  <a:lnTo>
                    <a:pt x="85" y="75"/>
                  </a:lnTo>
                  <a:lnTo>
                    <a:pt x="86" y="75"/>
                  </a:lnTo>
                  <a:lnTo>
                    <a:pt x="87" y="75"/>
                  </a:lnTo>
                  <a:lnTo>
                    <a:pt x="87" y="74"/>
                  </a:lnTo>
                  <a:lnTo>
                    <a:pt x="88" y="74"/>
                  </a:lnTo>
                  <a:lnTo>
                    <a:pt x="89" y="74"/>
                  </a:lnTo>
                  <a:lnTo>
                    <a:pt x="91" y="74"/>
                  </a:lnTo>
                  <a:lnTo>
                    <a:pt x="92" y="74"/>
                  </a:lnTo>
                  <a:lnTo>
                    <a:pt x="92" y="75"/>
                  </a:lnTo>
                  <a:lnTo>
                    <a:pt x="93" y="75"/>
                  </a:lnTo>
                  <a:lnTo>
                    <a:pt x="94" y="74"/>
                  </a:lnTo>
                  <a:lnTo>
                    <a:pt x="94" y="73"/>
                  </a:lnTo>
                  <a:lnTo>
                    <a:pt x="94" y="74"/>
                  </a:lnTo>
                  <a:lnTo>
                    <a:pt x="96" y="74"/>
                  </a:lnTo>
                  <a:lnTo>
                    <a:pt x="97" y="74"/>
                  </a:lnTo>
                  <a:lnTo>
                    <a:pt x="97" y="73"/>
                  </a:lnTo>
                  <a:lnTo>
                    <a:pt x="98" y="71"/>
                  </a:lnTo>
                  <a:lnTo>
                    <a:pt x="99" y="70"/>
                  </a:lnTo>
                  <a:lnTo>
                    <a:pt x="100" y="71"/>
                  </a:lnTo>
                  <a:lnTo>
                    <a:pt x="102" y="71"/>
                  </a:lnTo>
                  <a:lnTo>
                    <a:pt x="103" y="71"/>
                  </a:lnTo>
                  <a:lnTo>
                    <a:pt x="104" y="71"/>
                  </a:lnTo>
                  <a:lnTo>
                    <a:pt x="105" y="71"/>
                  </a:lnTo>
                  <a:lnTo>
                    <a:pt x="105" y="73"/>
                  </a:lnTo>
                  <a:lnTo>
                    <a:pt x="104" y="73"/>
                  </a:lnTo>
                  <a:lnTo>
                    <a:pt x="103" y="73"/>
                  </a:lnTo>
                  <a:lnTo>
                    <a:pt x="103" y="74"/>
                  </a:lnTo>
                  <a:lnTo>
                    <a:pt x="103" y="75"/>
                  </a:lnTo>
                  <a:lnTo>
                    <a:pt x="102" y="75"/>
                  </a:lnTo>
                  <a:lnTo>
                    <a:pt x="100" y="75"/>
                  </a:lnTo>
                  <a:lnTo>
                    <a:pt x="99" y="76"/>
                  </a:lnTo>
                  <a:lnTo>
                    <a:pt x="98" y="76"/>
                  </a:lnTo>
                  <a:lnTo>
                    <a:pt x="98" y="77"/>
                  </a:lnTo>
                  <a:lnTo>
                    <a:pt x="98" y="79"/>
                  </a:lnTo>
                  <a:lnTo>
                    <a:pt x="99" y="79"/>
                  </a:lnTo>
                  <a:lnTo>
                    <a:pt x="100" y="79"/>
                  </a:lnTo>
                  <a:lnTo>
                    <a:pt x="100" y="77"/>
                  </a:lnTo>
                  <a:lnTo>
                    <a:pt x="102" y="77"/>
                  </a:lnTo>
                  <a:lnTo>
                    <a:pt x="102" y="76"/>
                  </a:lnTo>
                  <a:lnTo>
                    <a:pt x="103" y="76"/>
                  </a:lnTo>
                  <a:lnTo>
                    <a:pt x="104" y="76"/>
                  </a:lnTo>
                  <a:lnTo>
                    <a:pt x="104" y="75"/>
                  </a:lnTo>
                  <a:lnTo>
                    <a:pt x="105" y="75"/>
                  </a:lnTo>
                  <a:lnTo>
                    <a:pt x="106" y="74"/>
                  </a:lnTo>
                  <a:lnTo>
                    <a:pt x="106" y="75"/>
                  </a:lnTo>
                  <a:lnTo>
                    <a:pt x="105" y="75"/>
                  </a:lnTo>
                  <a:lnTo>
                    <a:pt x="104" y="76"/>
                  </a:lnTo>
                  <a:lnTo>
                    <a:pt x="105" y="76"/>
                  </a:lnTo>
                  <a:lnTo>
                    <a:pt x="106" y="76"/>
                  </a:lnTo>
                  <a:lnTo>
                    <a:pt x="106" y="75"/>
                  </a:lnTo>
                  <a:lnTo>
                    <a:pt x="108" y="75"/>
                  </a:lnTo>
                  <a:lnTo>
                    <a:pt x="108" y="74"/>
                  </a:lnTo>
                  <a:lnTo>
                    <a:pt x="109" y="75"/>
                  </a:lnTo>
                  <a:lnTo>
                    <a:pt x="108" y="76"/>
                  </a:lnTo>
                  <a:lnTo>
                    <a:pt x="106" y="76"/>
                  </a:lnTo>
                  <a:lnTo>
                    <a:pt x="106" y="77"/>
                  </a:lnTo>
                  <a:lnTo>
                    <a:pt x="108" y="77"/>
                  </a:lnTo>
                  <a:lnTo>
                    <a:pt x="106" y="79"/>
                  </a:lnTo>
                  <a:lnTo>
                    <a:pt x="105" y="79"/>
                  </a:lnTo>
                  <a:lnTo>
                    <a:pt x="104" y="80"/>
                  </a:lnTo>
                  <a:lnTo>
                    <a:pt x="104" y="79"/>
                  </a:lnTo>
                  <a:lnTo>
                    <a:pt x="103" y="79"/>
                  </a:lnTo>
                  <a:lnTo>
                    <a:pt x="103" y="80"/>
                  </a:lnTo>
                  <a:lnTo>
                    <a:pt x="104" y="81"/>
                  </a:lnTo>
                  <a:lnTo>
                    <a:pt x="103" y="81"/>
                  </a:lnTo>
                  <a:lnTo>
                    <a:pt x="103" y="82"/>
                  </a:lnTo>
                  <a:lnTo>
                    <a:pt x="102" y="83"/>
                  </a:lnTo>
                  <a:lnTo>
                    <a:pt x="102" y="85"/>
                  </a:lnTo>
                  <a:lnTo>
                    <a:pt x="103" y="85"/>
                  </a:lnTo>
                  <a:lnTo>
                    <a:pt x="104" y="85"/>
                  </a:lnTo>
                  <a:lnTo>
                    <a:pt x="105" y="85"/>
                  </a:lnTo>
                  <a:lnTo>
                    <a:pt x="106" y="85"/>
                  </a:lnTo>
                  <a:lnTo>
                    <a:pt x="108" y="83"/>
                  </a:lnTo>
                  <a:lnTo>
                    <a:pt x="109" y="83"/>
                  </a:lnTo>
                  <a:lnTo>
                    <a:pt x="109" y="82"/>
                  </a:lnTo>
                  <a:lnTo>
                    <a:pt x="108" y="81"/>
                  </a:lnTo>
                  <a:lnTo>
                    <a:pt x="108" y="80"/>
                  </a:lnTo>
                  <a:lnTo>
                    <a:pt x="109" y="80"/>
                  </a:lnTo>
                  <a:lnTo>
                    <a:pt x="109" y="79"/>
                  </a:lnTo>
                  <a:lnTo>
                    <a:pt x="109" y="77"/>
                  </a:lnTo>
                  <a:lnTo>
                    <a:pt x="110" y="77"/>
                  </a:lnTo>
                  <a:lnTo>
                    <a:pt x="110" y="76"/>
                  </a:lnTo>
                  <a:lnTo>
                    <a:pt x="110" y="75"/>
                  </a:lnTo>
                  <a:lnTo>
                    <a:pt x="110" y="74"/>
                  </a:lnTo>
                  <a:lnTo>
                    <a:pt x="111" y="74"/>
                  </a:lnTo>
                  <a:lnTo>
                    <a:pt x="111" y="73"/>
                  </a:lnTo>
                  <a:lnTo>
                    <a:pt x="110" y="71"/>
                  </a:lnTo>
                  <a:lnTo>
                    <a:pt x="111" y="70"/>
                  </a:lnTo>
                  <a:lnTo>
                    <a:pt x="112" y="70"/>
                  </a:lnTo>
                  <a:lnTo>
                    <a:pt x="114" y="70"/>
                  </a:lnTo>
                  <a:lnTo>
                    <a:pt x="115" y="69"/>
                  </a:lnTo>
                  <a:lnTo>
                    <a:pt x="116" y="69"/>
                  </a:lnTo>
                  <a:lnTo>
                    <a:pt x="118" y="69"/>
                  </a:lnTo>
                  <a:lnTo>
                    <a:pt x="120" y="69"/>
                  </a:lnTo>
                  <a:lnTo>
                    <a:pt x="120" y="70"/>
                  </a:lnTo>
                  <a:lnTo>
                    <a:pt x="121" y="70"/>
                  </a:lnTo>
                  <a:lnTo>
                    <a:pt x="122" y="70"/>
                  </a:lnTo>
                  <a:lnTo>
                    <a:pt x="123" y="70"/>
                  </a:lnTo>
                  <a:lnTo>
                    <a:pt x="122" y="71"/>
                  </a:lnTo>
                  <a:lnTo>
                    <a:pt x="121" y="71"/>
                  </a:lnTo>
                  <a:lnTo>
                    <a:pt x="121" y="73"/>
                  </a:lnTo>
                  <a:lnTo>
                    <a:pt x="122" y="73"/>
                  </a:lnTo>
                  <a:lnTo>
                    <a:pt x="123" y="73"/>
                  </a:lnTo>
                  <a:lnTo>
                    <a:pt x="124" y="73"/>
                  </a:lnTo>
                  <a:lnTo>
                    <a:pt x="123" y="74"/>
                  </a:lnTo>
                  <a:lnTo>
                    <a:pt x="122" y="75"/>
                  </a:lnTo>
                  <a:lnTo>
                    <a:pt x="121" y="75"/>
                  </a:lnTo>
                  <a:lnTo>
                    <a:pt x="120" y="75"/>
                  </a:lnTo>
                  <a:lnTo>
                    <a:pt x="120" y="76"/>
                  </a:lnTo>
                  <a:lnTo>
                    <a:pt x="120" y="77"/>
                  </a:lnTo>
                  <a:lnTo>
                    <a:pt x="118" y="76"/>
                  </a:lnTo>
                  <a:lnTo>
                    <a:pt x="117" y="77"/>
                  </a:lnTo>
                  <a:lnTo>
                    <a:pt x="117" y="76"/>
                  </a:lnTo>
                  <a:lnTo>
                    <a:pt x="116" y="75"/>
                  </a:lnTo>
                  <a:lnTo>
                    <a:pt x="115" y="76"/>
                  </a:lnTo>
                  <a:lnTo>
                    <a:pt x="114" y="75"/>
                  </a:lnTo>
                  <a:lnTo>
                    <a:pt x="112" y="75"/>
                  </a:lnTo>
                  <a:lnTo>
                    <a:pt x="112" y="76"/>
                  </a:lnTo>
                  <a:lnTo>
                    <a:pt x="114" y="76"/>
                  </a:lnTo>
                  <a:lnTo>
                    <a:pt x="114" y="77"/>
                  </a:lnTo>
                  <a:lnTo>
                    <a:pt x="115" y="77"/>
                  </a:lnTo>
                  <a:lnTo>
                    <a:pt x="116" y="77"/>
                  </a:lnTo>
                  <a:lnTo>
                    <a:pt x="115" y="79"/>
                  </a:lnTo>
                  <a:lnTo>
                    <a:pt x="114" y="79"/>
                  </a:lnTo>
                  <a:lnTo>
                    <a:pt x="112" y="79"/>
                  </a:lnTo>
                  <a:lnTo>
                    <a:pt x="112" y="80"/>
                  </a:lnTo>
                  <a:lnTo>
                    <a:pt x="114" y="80"/>
                  </a:lnTo>
                  <a:lnTo>
                    <a:pt x="115" y="80"/>
                  </a:lnTo>
                  <a:lnTo>
                    <a:pt x="116" y="80"/>
                  </a:lnTo>
                  <a:lnTo>
                    <a:pt x="117" y="79"/>
                  </a:lnTo>
                  <a:lnTo>
                    <a:pt x="118" y="79"/>
                  </a:lnTo>
                  <a:lnTo>
                    <a:pt x="118" y="80"/>
                  </a:lnTo>
                  <a:lnTo>
                    <a:pt x="120" y="80"/>
                  </a:lnTo>
                  <a:lnTo>
                    <a:pt x="120" y="79"/>
                  </a:lnTo>
                  <a:lnTo>
                    <a:pt x="121" y="79"/>
                  </a:lnTo>
                  <a:lnTo>
                    <a:pt x="122" y="79"/>
                  </a:lnTo>
                  <a:lnTo>
                    <a:pt x="122" y="77"/>
                  </a:lnTo>
                  <a:lnTo>
                    <a:pt x="122" y="76"/>
                  </a:lnTo>
                  <a:lnTo>
                    <a:pt x="123" y="75"/>
                  </a:lnTo>
                  <a:lnTo>
                    <a:pt x="124" y="74"/>
                  </a:lnTo>
                  <a:lnTo>
                    <a:pt x="126" y="73"/>
                  </a:lnTo>
                  <a:lnTo>
                    <a:pt x="127" y="73"/>
                  </a:lnTo>
                  <a:lnTo>
                    <a:pt x="126" y="74"/>
                  </a:lnTo>
                  <a:lnTo>
                    <a:pt x="126" y="75"/>
                  </a:lnTo>
                  <a:lnTo>
                    <a:pt x="126" y="76"/>
                  </a:lnTo>
                  <a:lnTo>
                    <a:pt x="126" y="77"/>
                  </a:lnTo>
                  <a:lnTo>
                    <a:pt x="127" y="77"/>
                  </a:lnTo>
                  <a:lnTo>
                    <a:pt x="128" y="79"/>
                  </a:lnTo>
                  <a:lnTo>
                    <a:pt x="130" y="79"/>
                  </a:lnTo>
                  <a:lnTo>
                    <a:pt x="130" y="80"/>
                  </a:lnTo>
                  <a:lnTo>
                    <a:pt x="129" y="80"/>
                  </a:lnTo>
                  <a:lnTo>
                    <a:pt x="128" y="80"/>
                  </a:lnTo>
                  <a:lnTo>
                    <a:pt x="127" y="80"/>
                  </a:lnTo>
                  <a:lnTo>
                    <a:pt x="126" y="81"/>
                  </a:lnTo>
                  <a:lnTo>
                    <a:pt x="124" y="81"/>
                  </a:lnTo>
                  <a:lnTo>
                    <a:pt x="126" y="82"/>
                  </a:lnTo>
                  <a:lnTo>
                    <a:pt x="127" y="81"/>
                  </a:lnTo>
                  <a:lnTo>
                    <a:pt x="128" y="81"/>
                  </a:lnTo>
                  <a:lnTo>
                    <a:pt x="127" y="82"/>
                  </a:lnTo>
                  <a:lnTo>
                    <a:pt x="126" y="82"/>
                  </a:lnTo>
                  <a:lnTo>
                    <a:pt x="124" y="83"/>
                  </a:lnTo>
                  <a:lnTo>
                    <a:pt x="123" y="83"/>
                  </a:lnTo>
                  <a:lnTo>
                    <a:pt x="122" y="85"/>
                  </a:lnTo>
                  <a:lnTo>
                    <a:pt x="121" y="86"/>
                  </a:lnTo>
                  <a:lnTo>
                    <a:pt x="120" y="87"/>
                  </a:lnTo>
                  <a:lnTo>
                    <a:pt x="120" y="88"/>
                  </a:lnTo>
                  <a:lnTo>
                    <a:pt x="118" y="88"/>
                  </a:lnTo>
                  <a:lnTo>
                    <a:pt x="118" y="87"/>
                  </a:lnTo>
                  <a:lnTo>
                    <a:pt x="117" y="87"/>
                  </a:lnTo>
                  <a:lnTo>
                    <a:pt x="116" y="87"/>
                  </a:lnTo>
                  <a:lnTo>
                    <a:pt x="116" y="88"/>
                  </a:lnTo>
                  <a:lnTo>
                    <a:pt x="116" y="89"/>
                  </a:lnTo>
                  <a:lnTo>
                    <a:pt x="117" y="89"/>
                  </a:lnTo>
                  <a:lnTo>
                    <a:pt x="116" y="91"/>
                  </a:lnTo>
                  <a:lnTo>
                    <a:pt x="115" y="91"/>
                  </a:lnTo>
                  <a:lnTo>
                    <a:pt x="114" y="91"/>
                  </a:lnTo>
                  <a:lnTo>
                    <a:pt x="112" y="89"/>
                  </a:lnTo>
                  <a:lnTo>
                    <a:pt x="112" y="88"/>
                  </a:lnTo>
                  <a:lnTo>
                    <a:pt x="111" y="88"/>
                  </a:lnTo>
                  <a:lnTo>
                    <a:pt x="111" y="89"/>
                  </a:lnTo>
                  <a:lnTo>
                    <a:pt x="110" y="89"/>
                  </a:lnTo>
                  <a:lnTo>
                    <a:pt x="109" y="89"/>
                  </a:lnTo>
                  <a:lnTo>
                    <a:pt x="109" y="91"/>
                  </a:lnTo>
                  <a:lnTo>
                    <a:pt x="110" y="92"/>
                  </a:lnTo>
                  <a:lnTo>
                    <a:pt x="111" y="92"/>
                  </a:lnTo>
                  <a:lnTo>
                    <a:pt x="114" y="92"/>
                  </a:lnTo>
                  <a:lnTo>
                    <a:pt x="115" y="92"/>
                  </a:lnTo>
                  <a:lnTo>
                    <a:pt x="112" y="92"/>
                  </a:lnTo>
                  <a:lnTo>
                    <a:pt x="111" y="92"/>
                  </a:lnTo>
                  <a:lnTo>
                    <a:pt x="110" y="93"/>
                  </a:lnTo>
                  <a:lnTo>
                    <a:pt x="110" y="94"/>
                  </a:lnTo>
                  <a:lnTo>
                    <a:pt x="109" y="94"/>
                  </a:lnTo>
                  <a:lnTo>
                    <a:pt x="110" y="94"/>
                  </a:lnTo>
                  <a:lnTo>
                    <a:pt x="111" y="94"/>
                  </a:lnTo>
                  <a:lnTo>
                    <a:pt x="112" y="94"/>
                  </a:lnTo>
                  <a:lnTo>
                    <a:pt x="114" y="94"/>
                  </a:lnTo>
                  <a:lnTo>
                    <a:pt x="114" y="95"/>
                  </a:lnTo>
                  <a:lnTo>
                    <a:pt x="112" y="95"/>
                  </a:lnTo>
                  <a:lnTo>
                    <a:pt x="111" y="95"/>
                  </a:lnTo>
                  <a:lnTo>
                    <a:pt x="110" y="95"/>
                  </a:lnTo>
                  <a:lnTo>
                    <a:pt x="109" y="95"/>
                  </a:lnTo>
                  <a:lnTo>
                    <a:pt x="109" y="97"/>
                  </a:lnTo>
                  <a:lnTo>
                    <a:pt x="110" y="97"/>
                  </a:lnTo>
                  <a:lnTo>
                    <a:pt x="110" y="98"/>
                  </a:lnTo>
                  <a:lnTo>
                    <a:pt x="111" y="98"/>
                  </a:lnTo>
                  <a:lnTo>
                    <a:pt x="110" y="99"/>
                  </a:lnTo>
                  <a:lnTo>
                    <a:pt x="110" y="100"/>
                  </a:lnTo>
                  <a:lnTo>
                    <a:pt x="109" y="100"/>
                  </a:lnTo>
                  <a:lnTo>
                    <a:pt x="109" y="101"/>
                  </a:lnTo>
                  <a:lnTo>
                    <a:pt x="108" y="101"/>
                  </a:lnTo>
                  <a:lnTo>
                    <a:pt x="108" y="103"/>
                  </a:lnTo>
                  <a:lnTo>
                    <a:pt x="106" y="103"/>
                  </a:lnTo>
                  <a:lnTo>
                    <a:pt x="106" y="101"/>
                  </a:lnTo>
                  <a:lnTo>
                    <a:pt x="105" y="101"/>
                  </a:lnTo>
                  <a:lnTo>
                    <a:pt x="104" y="101"/>
                  </a:lnTo>
                  <a:lnTo>
                    <a:pt x="104" y="103"/>
                  </a:lnTo>
                  <a:lnTo>
                    <a:pt x="103" y="103"/>
                  </a:lnTo>
                  <a:lnTo>
                    <a:pt x="103" y="101"/>
                  </a:lnTo>
                  <a:lnTo>
                    <a:pt x="103" y="103"/>
                  </a:lnTo>
                  <a:lnTo>
                    <a:pt x="102" y="103"/>
                  </a:lnTo>
                  <a:lnTo>
                    <a:pt x="102" y="104"/>
                  </a:lnTo>
                  <a:lnTo>
                    <a:pt x="102" y="103"/>
                  </a:lnTo>
                  <a:lnTo>
                    <a:pt x="100" y="103"/>
                  </a:lnTo>
                  <a:lnTo>
                    <a:pt x="99" y="103"/>
                  </a:lnTo>
                  <a:lnTo>
                    <a:pt x="99" y="104"/>
                  </a:lnTo>
                  <a:lnTo>
                    <a:pt x="98" y="104"/>
                  </a:lnTo>
                  <a:lnTo>
                    <a:pt x="97" y="104"/>
                  </a:lnTo>
                  <a:lnTo>
                    <a:pt x="97" y="105"/>
                  </a:lnTo>
                  <a:lnTo>
                    <a:pt x="96" y="104"/>
                  </a:lnTo>
                  <a:lnTo>
                    <a:pt x="94" y="104"/>
                  </a:lnTo>
                  <a:lnTo>
                    <a:pt x="93" y="104"/>
                  </a:lnTo>
                  <a:lnTo>
                    <a:pt x="92" y="104"/>
                  </a:lnTo>
                  <a:lnTo>
                    <a:pt x="91" y="104"/>
                  </a:lnTo>
                  <a:lnTo>
                    <a:pt x="91" y="105"/>
                  </a:lnTo>
                  <a:lnTo>
                    <a:pt x="91" y="106"/>
                  </a:lnTo>
                  <a:lnTo>
                    <a:pt x="92" y="106"/>
                  </a:lnTo>
                  <a:lnTo>
                    <a:pt x="92" y="107"/>
                  </a:lnTo>
                  <a:lnTo>
                    <a:pt x="92" y="109"/>
                  </a:lnTo>
                  <a:lnTo>
                    <a:pt x="93" y="110"/>
                  </a:lnTo>
                  <a:lnTo>
                    <a:pt x="94" y="110"/>
                  </a:lnTo>
                  <a:lnTo>
                    <a:pt x="94" y="111"/>
                  </a:lnTo>
                  <a:lnTo>
                    <a:pt x="93" y="111"/>
                  </a:lnTo>
                  <a:lnTo>
                    <a:pt x="92" y="111"/>
                  </a:lnTo>
                  <a:lnTo>
                    <a:pt x="91" y="111"/>
                  </a:lnTo>
                  <a:lnTo>
                    <a:pt x="91" y="110"/>
                  </a:lnTo>
                  <a:lnTo>
                    <a:pt x="92" y="110"/>
                  </a:lnTo>
                  <a:lnTo>
                    <a:pt x="92" y="109"/>
                  </a:lnTo>
                  <a:lnTo>
                    <a:pt x="91" y="109"/>
                  </a:lnTo>
                  <a:lnTo>
                    <a:pt x="89" y="109"/>
                  </a:lnTo>
                  <a:lnTo>
                    <a:pt x="91" y="107"/>
                  </a:lnTo>
                  <a:lnTo>
                    <a:pt x="91" y="106"/>
                  </a:lnTo>
                  <a:lnTo>
                    <a:pt x="89" y="106"/>
                  </a:lnTo>
                  <a:lnTo>
                    <a:pt x="89" y="107"/>
                  </a:lnTo>
                  <a:lnTo>
                    <a:pt x="88" y="107"/>
                  </a:lnTo>
                  <a:lnTo>
                    <a:pt x="87" y="107"/>
                  </a:lnTo>
                  <a:lnTo>
                    <a:pt x="87" y="109"/>
                  </a:lnTo>
                  <a:lnTo>
                    <a:pt x="86" y="109"/>
                  </a:lnTo>
                  <a:lnTo>
                    <a:pt x="86" y="107"/>
                  </a:lnTo>
                  <a:lnTo>
                    <a:pt x="85" y="107"/>
                  </a:lnTo>
                  <a:lnTo>
                    <a:pt x="83" y="107"/>
                  </a:lnTo>
                  <a:lnTo>
                    <a:pt x="83" y="109"/>
                  </a:lnTo>
                  <a:lnTo>
                    <a:pt x="82" y="110"/>
                  </a:lnTo>
                  <a:lnTo>
                    <a:pt x="83" y="111"/>
                  </a:lnTo>
                  <a:lnTo>
                    <a:pt x="85" y="111"/>
                  </a:lnTo>
                  <a:lnTo>
                    <a:pt x="85" y="112"/>
                  </a:lnTo>
                  <a:lnTo>
                    <a:pt x="86" y="112"/>
                  </a:lnTo>
                  <a:lnTo>
                    <a:pt x="85" y="112"/>
                  </a:lnTo>
                  <a:lnTo>
                    <a:pt x="83" y="111"/>
                  </a:lnTo>
                  <a:lnTo>
                    <a:pt x="82" y="111"/>
                  </a:lnTo>
                  <a:lnTo>
                    <a:pt x="82" y="110"/>
                  </a:lnTo>
                  <a:lnTo>
                    <a:pt x="82" y="109"/>
                  </a:lnTo>
                  <a:lnTo>
                    <a:pt x="83" y="107"/>
                  </a:lnTo>
                  <a:lnTo>
                    <a:pt x="83" y="106"/>
                  </a:lnTo>
                  <a:lnTo>
                    <a:pt x="82" y="105"/>
                  </a:lnTo>
                  <a:lnTo>
                    <a:pt x="82" y="104"/>
                  </a:lnTo>
                  <a:lnTo>
                    <a:pt x="82" y="103"/>
                  </a:lnTo>
                  <a:lnTo>
                    <a:pt x="82" y="101"/>
                  </a:lnTo>
                  <a:lnTo>
                    <a:pt x="80" y="103"/>
                  </a:lnTo>
                  <a:lnTo>
                    <a:pt x="80" y="104"/>
                  </a:lnTo>
                  <a:lnTo>
                    <a:pt x="79" y="104"/>
                  </a:lnTo>
                  <a:lnTo>
                    <a:pt x="79" y="103"/>
                  </a:lnTo>
                  <a:lnTo>
                    <a:pt x="77" y="103"/>
                  </a:lnTo>
                  <a:lnTo>
                    <a:pt x="77" y="101"/>
                  </a:lnTo>
                  <a:lnTo>
                    <a:pt x="76" y="101"/>
                  </a:lnTo>
                  <a:lnTo>
                    <a:pt x="75" y="101"/>
                  </a:lnTo>
                  <a:lnTo>
                    <a:pt x="75" y="100"/>
                  </a:lnTo>
                  <a:lnTo>
                    <a:pt x="76" y="100"/>
                  </a:lnTo>
                  <a:lnTo>
                    <a:pt x="76" y="99"/>
                  </a:lnTo>
                  <a:lnTo>
                    <a:pt x="76" y="98"/>
                  </a:lnTo>
                  <a:lnTo>
                    <a:pt x="75" y="97"/>
                  </a:lnTo>
                  <a:lnTo>
                    <a:pt x="74" y="97"/>
                  </a:lnTo>
                  <a:lnTo>
                    <a:pt x="73" y="97"/>
                  </a:lnTo>
                  <a:lnTo>
                    <a:pt x="73" y="98"/>
                  </a:lnTo>
                  <a:lnTo>
                    <a:pt x="71" y="98"/>
                  </a:lnTo>
                  <a:lnTo>
                    <a:pt x="73" y="99"/>
                  </a:lnTo>
                  <a:lnTo>
                    <a:pt x="71" y="100"/>
                  </a:lnTo>
                  <a:lnTo>
                    <a:pt x="73" y="101"/>
                  </a:lnTo>
                  <a:lnTo>
                    <a:pt x="73" y="103"/>
                  </a:lnTo>
                  <a:lnTo>
                    <a:pt x="73" y="104"/>
                  </a:lnTo>
                  <a:lnTo>
                    <a:pt x="73" y="105"/>
                  </a:lnTo>
                  <a:lnTo>
                    <a:pt x="74" y="105"/>
                  </a:lnTo>
                  <a:lnTo>
                    <a:pt x="74" y="106"/>
                  </a:lnTo>
                  <a:lnTo>
                    <a:pt x="74" y="107"/>
                  </a:lnTo>
                  <a:lnTo>
                    <a:pt x="73" y="107"/>
                  </a:lnTo>
                  <a:lnTo>
                    <a:pt x="73" y="106"/>
                  </a:lnTo>
                  <a:lnTo>
                    <a:pt x="73" y="105"/>
                  </a:lnTo>
                  <a:lnTo>
                    <a:pt x="71" y="105"/>
                  </a:lnTo>
                  <a:lnTo>
                    <a:pt x="71" y="104"/>
                  </a:lnTo>
                  <a:lnTo>
                    <a:pt x="71" y="103"/>
                  </a:lnTo>
                  <a:lnTo>
                    <a:pt x="70" y="103"/>
                  </a:lnTo>
                  <a:lnTo>
                    <a:pt x="70" y="101"/>
                  </a:lnTo>
                  <a:lnTo>
                    <a:pt x="69" y="101"/>
                  </a:lnTo>
                  <a:lnTo>
                    <a:pt x="68" y="103"/>
                  </a:lnTo>
                  <a:lnTo>
                    <a:pt x="68" y="104"/>
                  </a:lnTo>
                  <a:lnTo>
                    <a:pt x="69" y="104"/>
                  </a:lnTo>
                  <a:lnTo>
                    <a:pt x="69" y="105"/>
                  </a:lnTo>
                  <a:lnTo>
                    <a:pt x="70" y="105"/>
                  </a:lnTo>
                  <a:lnTo>
                    <a:pt x="70" y="106"/>
                  </a:lnTo>
                  <a:lnTo>
                    <a:pt x="69" y="106"/>
                  </a:lnTo>
                  <a:lnTo>
                    <a:pt x="69" y="105"/>
                  </a:lnTo>
                  <a:lnTo>
                    <a:pt x="68" y="105"/>
                  </a:lnTo>
                  <a:lnTo>
                    <a:pt x="68" y="104"/>
                  </a:lnTo>
                  <a:lnTo>
                    <a:pt x="67" y="104"/>
                  </a:lnTo>
                  <a:lnTo>
                    <a:pt x="67" y="103"/>
                  </a:lnTo>
                  <a:lnTo>
                    <a:pt x="67" y="101"/>
                  </a:lnTo>
                  <a:lnTo>
                    <a:pt x="65" y="101"/>
                  </a:lnTo>
                  <a:lnTo>
                    <a:pt x="67" y="100"/>
                  </a:lnTo>
                  <a:lnTo>
                    <a:pt x="67" y="99"/>
                  </a:lnTo>
                  <a:lnTo>
                    <a:pt x="65" y="99"/>
                  </a:lnTo>
                  <a:lnTo>
                    <a:pt x="64" y="99"/>
                  </a:lnTo>
                  <a:lnTo>
                    <a:pt x="63" y="99"/>
                  </a:lnTo>
                  <a:lnTo>
                    <a:pt x="63" y="98"/>
                  </a:lnTo>
                  <a:lnTo>
                    <a:pt x="62" y="97"/>
                  </a:lnTo>
                  <a:lnTo>
                    <a:pt x="62" y="95"/>
                  </a:lnTo>
                  <a:lnTo>
                    <a:pt x="61" y="95"/>
                  </a:lnTo>
                  <a:lnTo>
                    <a:pt x="61" y="94"/>
                  </a:lnTo>
                  <a:lnTo>
                    <a:pt x="59" y="94"/>
                  </a:lnTo>
                  <a:lnTo>
                    <a:pt x="58" y="94"/>
                  </a:lnTo>
                  <a:lnTo>
                    <a:pt x="58" y="95"/>
                  </a:lnTo>
                  <a:lnTo>
                    <a:pt x="57" y="97"/>
                  </a:lnTo>
                  <a:lnTo>
                    <a:pt x="58" y="97"/>
                  </a:lnTo>
                  <a:lnTo>
                    <a:pt x="58" y="98"/>
                  </a:lnTo>
                  <a:lnTo>
                    <a:pt x="59" y="99"/>
                  </a:lnTo>
                  <a:lnTo>
                    <a:pt x="61" y="99"/>
                  </a:lnTo>
                  <a:lnTo>
                    <a:pt x="62" y="100"/>
                  </a:lnTo>
                  <a:lnTo>
                    <a:pt x="62" y="101"/>
                  </a:lnTo>
                  <a:lnTo>
                    <a:pt x="61" y="100"/>
                  </a:lnTo>
                  <a:lnTo>
                    <a:pt x="59" y="99"/>
                  </a:lnTo>
                  <a:lnTo>
                    <a:pt x="59" y="100"/>
                  </a:lnTo>
                  <a:lnTo>
                    <a:pt x="58" y="100"/>
                  </a:lnTo>
                  <a:lnTo>
                    <a:pt x="58" y="99"/>
                  </a:lnTo>
                  <a:lnTo>
                    <a:pt x="57" y="98"/>
                  </a:lnTo>
                  <a:lnTo>
                    <a:pt x="57" y="99"/>
                  </a:lnTo>
                  <a:lnTo>
                    <a:pt x="56" y="99"/>
                  </a:lnTo>
                  <a:lnTo>
                    <a:pt x="56" y="98"/>
                  </a:lnTo>
                  <a:lnTo>
                    <a:pt x="55" y="97"/>
                  </a:lnTo>
                  <a:lnTo>
                    <a:pt x="53" y="97"/>
                  </a:lnTo>
                  <a:lnTo>
                    <a:pt x="53" y="98"/>
                  </a:lnTo>
                  <a:lnTo>
                    <a:pt x="52" y="97"/>
                  </a:lnTo>
                  <a:lnTo>
                    <a:pt x="53" y="95"/>
                  </a:lnTo>
                  <a:lnTo>
                    <a:pt x="53" y="94"/>
                  </a:lnTo>
                  <a:lnTo>
                    <a:pt x="52" y="94"/>
                  </a:lnTo>
                  <a:lnTo>
                    <a:pt x="51" y="94"/>
                  </a:lnTo>
                  <a:lnTo>
                    <a:pt x="50" y="94"/>
                  </a:lnTo>
                  <a:lnTo>
                    <a:pt x="49" y="94"/>
                  </a:lnTo>
                  <a:lnTo>
                    <a:pt x="47" y="94"/>
                  </a:lnTo>
                  <a:lnTo>
                    <a:pt x="47" y="93"/>
                  </a:lnTo>
                  <a:lnTo>
                    <a:pt x="46" y="93"/>
                  </a:lnTo>
                  <a:lnTo>
                    <a:pt x="44" y="93"/>
                  </a:lnTo>
                  <a:lnTo>
                    <a:pt x="44" y="94"/>
                  </a:lnTo>
                  <a:lnTo>
                    <a:pt x="43" y="94"/>
                  </a:lnTo>
                  <a:lnTo>
                    <a:pt x="43" y="93"/>
                  </a:lnTo>
                  <a:lnTo>
                    <a:pt x="43" y="92"/>
                  </a:lnTo>
                  <a:lnTo>
                    <a:pt x="43" y="91"/>
                  </a:lnTo>
                  <a:lnTo>
                    <a:pt x="41" y="91"/>
                  </a:lnTo>
                  <a:lnTo>
                    <a:pt x="40" y="91"/>
                  </a:lnTo>
                  <a:lnTo>
                    <a:pt x="40" y="89"/>
                  </a:lnTo>
                  <a:lnTo>
                    <a:pt x="40" y="88"/>
                  </a:lnTo>
                  <a:lnTo>
                    <a:pt x="39" y="88"/>
                  </a:lnTo>
                  <a:lnTo>
                    <a:pt x="38" y="88"/>
                  </a:lnTo>
                  <a:lnTo>
                    <a:pt x="39" y="88"/>
                  </a:lnTo>
                  <a:lnTo>
                    <a:pt x="39" y="89"/>
                  </a:lnTo>
                  <a:lnTo>
                    <a:pt x="38" y="89"/>
                  </a:lnTo>
                  <a:lnTo>
                    <a:pt x="38" y="88"/>
                  </a:lnTo>
                  <a:lnTo>
                    <a:pt x="37" y="88"/>
                  </a:lnTo>
                  <a:lnTo>
                    <a:pt x="35" y="87"/>
                  </a:lnTo>
                  <a:lnTo>
                    <a:pt x="34" y="87"/>
                  </a:lnTo>
                  <a:lnTo>
                    <a:pt x="33" y="87"/>
                  </a:lnTo>
                  <a:lnTo>
                    <a:pt x="33" y="89"/>
                  </a:lnTo>
                  <a:lnTo>
                    <a:pt x="34" y="89"/>
                  </a:lnTo>
                  <a:lnTo>
                    <a:pt x="34" y="91"/>
                  </a:lnTo>
                  <a:lnTo>
                    <a:pt x="35" y="92"/>
                  </a:lnTo>
                  <a:lnTo>
                    <a:pt x="34" y="92"/>
                  </a:lnTo>
                  <a:lnTo>
                    <a:pt x="34" y="93"/>
                  </a:lnTo>
                  <a:lnTo>
                    <a:pt x="34" y="94"/>
                  </a:lnTo>
                  <a:lnTo>
                    <a:pt x="35" y="94"/>
                  </a:lnTo>
                  <a:lnTo>
                    <a:pt x="37" y="95"/>
                  </a:lnTo>
                  <a:lnTo>
                    <a:pt x="38" y="95"/>
                  </a:lnTo>
                  <a:lnTo>
                    <a:pt x="39" y="95"/>
                  </a:lnTo>
                  <a:lnTo>
                    <a:pt x="39" y="97"/>
                  </a:lnTo>
                  <a:lnTo>
                    <a:pt x="38" y="97"/>
                  </a:lnTo>
                  <a:lnTo>
                    <a:pt x="37" y="97"/>
                  </a:lnTo>
                  <a:lnTo>
                    <a:pt x="37" y="98"/>
                  </a:lnTo>
                  <a:lnTo>
                    <a:pt x="38" y="98"/>
                  </a:lnTo>
                  <a:lnTo>
                    <a:pt x="38" y="99"/>
                  </a:lnTo>
                  <a:lnTo>
                    <a:pt x="39" y="100"/>
                  </a:lnTo>
                  <a:lnTo>
                    <a:pt x="40" y="100"/>
                  </a:lnTo>
                  <a:lnTo>
                    <a:pt x="41" y="100"/>
                  </a:lnTo>
                  <a:lnTo>
                    <a:pt x="41" y="101"/>
                  </a:lnTo>
                  <a:lnTo>
                    <a:pt x="40" y="101"/>
                  </a:lnTo>
                  <a:lnTo>
                    <a:pt x="39" y="100"/>
                  </a:lnTo>
                  <a:lnTo>
                    <a:pt x="38" y="100"/>
                  </a:lnTo>
                  <a:lnTo>
                    <a:pt x="38" y="99"/>
                  </a:lnTo>
                  <a:lnTo>
                    <a:pt x="37" y="99"/>
                  </a:lnTo>
                  <a:lnTo>
                    <a:pt x="37" y="100"/>
                  </a:lnTo>
                  <a:lnTo>
                    <a:pt x="35" y="100"/>
                  </a:lnTo>
                  <a:lnTo>
                    <a:pt x="35" y="99"/>
                  </a:lnTo>
                  <a:lnTo>
                    <a:pt x="34" y="100"/>
                  </a:lnTo>
                  <a:lnTo>
                    <a:pt x="33" y="100"/>
                  </a:lnTo>
                  <a:lnTo>
                    <a:pt x="32" y="101"/>
                  </a:lnTo>
                  <a:lnTo>
                    <a:pt x="32" y="103"/>
                  </a:lnTo>
                  <a:lnTo>
                    <a:pt x="33" y="103"/>
                  </a:lnTo>
                  <a:lnTo>
                    <a:pt x="34" y="103"/>
                  </a:lnTo>
                  <a:lnTo>
                    <a:pt x="34" y="104"/>
                  </a:lnTo>
                  <a:lnTo>
                    <a:pt x="35" y="105"/>
                  </a:lnTo>
                  <a:lnTo>
                    <a:pt x="37" y="105"/>
                  </a:lnTo>
                  <a:lnTo>
                    <a:pt x="38" y="105"/>
                  </a:lnTo>
                  <a:lnTo>
                    <a:pt x="39" y="105"/>
                  </a:lnTo>
                  <a:lnTo>
                    <a:pt x="39" y="106"/>
                  </a:lnTo>
                  <a:lnTo>
                    <a:pt x="40" y="107"/>
                  </a:lnTo>
                  <a:lnTo>
                    <a:pt x="41" y="107"/>
                  </a:lnTo>
                  <a:lnTo>
                    <a:pt x="43" y="107"/>
                  </a:lnTo>
                  <a:lnTo>
                    <a:pt x="44" y="107"/>
                  </a:lnTo>
                  <a:lnTo>
                    <a:pt x="45" y="109"/>
                  </a:lnTo>
                  <a:lnTo>
                    <a:pt x="46" y="109"/>
                  </a:lnTo>
                  <a:lnTo>
                    <a:pt x="47" y="109"/>
                  </a:lnTo>
                  <a:lnTo>
                    <a:pt x="49" y="110"/>
                  </a:lnTo>
                  <a:lnTo>
                    <a:pt x="47" y="111"/>
                  </a:lnTo>
                  <a:lnTo>
                    <a:pt x="46" y="111"/>
                  </a:lnTo>
                  <a:lnTo>
                    <a:pt x="45" y="111"/>
                  </a:lnTo>
                  <a:lnTo>
                    <a:pt x="45" y="112"/>
                  </a:lnTo>
                  <a:lnTo>
                    <a:pt x="46" y="113"/>
                  </a:lnTo>
                  <a:lnTo>
                    <a:pt x="47" y="113"/>
                  </a:lnTo>
                  <a:lnTo>
                    <a:pt x="49" y="113"/>
                  </a:lnTo>
                  <a:lnTo>
                    <a:pt x="50" y="112"/>
                  </a:lnTo>
                  <a:lnTo>
                    <a:pt x="51" y="112"/>
                  </a:lnTo>
                  <a:lnTo>
                    <a:pt x="51" y="113"/>
                  </a:lnTo>
                  <a:lnTo>
                    <a:pt x="52" y="113"/>
                  </a:lnTo>
                  <a:lnTo>
                    <a:pt x="53" y="113"/>
                  </a:lnTo>
                  <a:lnTo>
                    <a:pt x="55" y="113"/>
                  </a:lnTo>
                  <a:lnTo>
                    <a:pt x="55" y="115"/>
                  </a:lnTo>
                  <a:lnTo>
                    <a:pt x="53" y="116"/>
                  </a:lnTo>
                  <a:lnTo>
                    <a:pt x="52" y="115"/>
                  </a:lnTo>
                  <a:lnTo>
                    <a:pt x="51" y="115"/>
                  </a:lnTo>
                  <a:lnTo>
                    <a:pt x="51" y="116"/>
                  </a:lnTo>
                  <a:lnTo>
                    <a:pt x="50" y="116"/>
                  </a:lnTo>
                  <a:lnTo>
                    <a:pt x="49" y="116"/>
                  </a:lnTo>
                  <a:lnTo>
                    <a:pt x="47" y="116"/>
                  </a:lnTo>
                  <a:lnTo>
                    <a:pt x="46" y="117"/>
                  </a:lnTo>
                  <a:lnTo>
                    <a:pt x="46" y="118"/>
                  </a:lnTo>
                  <a:lnTo>
                    <a:pt x="46" y="119"/>
                  </a:lnTo>
                  <a:lnTo>
                    <a:pt x="47" y="119"/>
                  </a:lnTo>
                  <a:lnTo>
                    <a:pt x="49" y="119"/>
                  </a:lnTo>
                  <a:lnTo>
                    <a:pt x="50" y="119"/>
                  </a:lnTo>
                  <a:lnTo>
                    <a:pt x="51" y="119"/>
                  </a:lnTo>
                  <a:lnTo>
                    <a:pt x="51" y="118"/>
                  </a:lnTo>
                  <a:lnTo>
                    <a:pt x="52" y="118"/>
                  </a:lnTo>
                  <a:lnTo>
                    <a:pt x="53" y="118"/>
                  </a:lnTo>
                  <a:lnTo>
                    <a:pt x="53" y="119"/>
                  </a:lnTo>
                  <a:lnTo>
                    <a:pt x="52" y="119"/>
                  </a:lnTo>
                  <a:lnTo>
                    <a:pt x="51" y="121"/>
                  </a:lnTo>
                  <a:lnTo>
                    <a:pt x="52" y="121"/>
                  </a:lnTo>
                  <a:lnTo>
                    <a:pt x="52" y="122"/>
                  </a:lnTo>
                  <a:lnTo>
                    <a:pt x="53" y="122"/>
                  </a:lnTo>
                  <a:lnTo>
                    <a:pt x="55" y="123"/>
                  </a:lnTo>
                  <a:lnTo>
                    <a:pt x="56" y="123"/>
                  </a:lnTo>
                  <a:lnTo>
                    <a:pt x="56" y="124"/>
                  </a:lnTo>
                  <a:lnTo>
                    <a:pt x="55" y="124"/>
                  </a:lnTo>
                  <a:lnTo>
                    <a:pt x="53" y="124"/>
                  </a:lnTo>
                  <a:lnTo>
                    <a:pt x="52" y="124"/>
                  </a:lnTo>
                  <a:lnTo>
                    <a:pt x="52" y="125"/>
                  </a:lnTo>
                  <a:lnTo>
                    <a:pt x="52" y="127"/>
                  </a:lnTo>
                  <a:lnTo>
                    <a:pt x="52" y="128"/>
                  </a:lnTo>
                  <a:lnTo>
                    <a:pt x="51" y="129"/>
                  </a:lnTo>
                  <a:lnTo>
                    <a:pt x="52" y="130"/>
                  </a:lnTo>
                  <a:lnTo>
                    <a:pt x="53" y="130"/>
                  </a:lnTo>
                  <a:lnTo>
                    <a:pt x="55" y="131"/>
                  </a:lnTo>
                  <a:lnTo>
                    <a:pt x="55" y="133"/>
                  </a:lnTo>
                  <a:lnTo>
                    <a:pt x="53" y="134"/>
                  </a:lnTo>
                  <a:lnTo>
                    <a:pt x="52" y="134"/>
                  </a:lnTo>
                  <a:lnTo>
                    <a:pt x="53" y="134"/>
                  </a:lnTo>
                  <a:lnTo>
                    <a:pt x="55" y="134"/>
                  </a:lnTo>
                  <a:lnTo>
                    <a:pt x="56" y="135"/>
                  </a:lnTo>
                  <a:lnTo>
                    <a:pt x="58" y="136"/>
                  </a:lnTo>
                  <a:lnTo>
                    <a:pt x="57" y="137"/>
                  </a:lnTo>
                  <a:lnTo>
                    <a:pt x="56" y="137"/>
                  </a:lnTo>
                  <a:lnTo>
                    <a:pt x="56" y="139"/>
                  </a:lnTo>
                  <a:lnTo>
                    <a:pt x="55" y="139"/>
                  </a:lnTo>
                  <a:lnTo>
                    <a:pt x="53" y="140"/>
                  </a:lnTo>
                  <a:lnTo>
                    <a:pt x="52" y="140"/>
                  </a:lnTo>
                  <a:lnTo>
                    <a:pt x="52" y="139"/>
                  </a:lnTo>
                  <a:lnTo>
                    <a:pt x="51" y="140"/>
                  </a:lnTo>
                  <a:lnTo>
                    <a:pt x="51" y="141"/>
                  </a:lnTo>
                  <a:lnTo>
                    <a:pt x="52" y="141"/>
                  </a:lnTo>
                  <a:lnTo>
                    <a:pt x="51" y="142"/>
                  </a:lnTo>
                  <a:lnTo>
                    <a:pt x="51" y="143"/>
                  </a:lnTo>
                  <a:lnTo>
                    <a:pt x="50" y="143"/>
                  </a:lnTo>
                  <a:lnTo>
                    <a:pt x="50" y="142"/>
                  </a:lnTo>
                  <a:lnTo>
                    <a:pt x="49" y="142"/>
                  </a:lnTo>
                  <a:lnTo>
                    <a:pt x="49" y="143"/>
                  </a:lnTo>
                  <a:lnTo>
                    <a:pt x="49" y="145"/>
                  </a:lnTo>
                  <a:lnTo>
                    <a:pt x="47" y="145"/>
                  </a:lnTo>
                  <a:lnTo>
                    <a:pt x="46" y="143"/>
                  </a:lnTo>
                  <a:lnTo>
                    <a:pt x="45" y="143"/>
                  </a:lnTo>
                  <a:lnTo>
                    <a:pt x="45" y="145"/>
                  </a:lnTo>
                  <a:lnTo>
                    <a:pt x="44" y="145"/>
                  </a:lnTo>
                  <a:lnTo>
                    <a:pt x="44" y="146"/>
                  </a:lnTo>
                  <a:lnTo>
                    <a:pt x="41" y="146"/>
                  </a:lnTo>
                  <a:lnTo>
                    <a:pt x="40" y="146"/>
                  </a:lnTo>
                  <a:lnTo>
                    <a:pt x="39" y="146"/>
                  </a:lnTo>
                  <a:lnTo>
                    <a:pt x="39" y="145"/>
                  </a:lnTo>
                  <a:lnTo>
                    <a:pt x="38" y="145"/>
                  </a:lnTo>
                  <a:lnTo>
                    <a:pt x="37" y="145"/>
                  </a:lnTo>
                  <a:lnTo>
                    <a:pt x="37" y="146"/>
                  </a:lnTo>
                  <a:lnTo>
                    <a:pt x="38" y="146"/>
                  </a:lnTo>
                  <a:lnTo>
                    <a:pt x="38" y="147"/>
                  </a:lnTo>
                  <a:lnTo>
                    <a:pt x="38" y="148"/>
                  </a:lnTo>
                  <a:lnTo>
                    <a:pt x="39" y="148"/>
                  </a:lnTo>
                  <a:lnTo>
                    <a:pt x="40" y="149"/>
                  </a:lnTo>
                  <a:lnTo>
                    <a:pt x="39" y="149"/>
                  </a:lnTo>
                  <a:lnTo>
                    <a:pt x="38" y="151"/>
                  </a:lnTo>
                  <a:lnTo>
                    <a:pt x="38" y="152"/>
                  </a:lnTo>
                  <a:lnTo>
                    <a:pt x="39" y="151"/>
                  </a:lnTo>
                  <a:lnTo>
                    <a:pt x="39" y="152"/>
                  </a:lnTo>
                  <a:lnTo>
                    <a:pt x="40" y="152"/>
                  </a:lnTo>
                  <a:lnTo>
                    <a:pt x="41" y="152"/>
                  </a:lnTo>
                  <a:lnTo>
                    <a:pt x="43" y="152"/>
                  </a:lnTo>
                  <a:lnTo>
                    <a:pt x="44" y="151"/>
                  </a:lnTo>
                  <a:lnTo>
                    <a:pt x="43" y="149"/>
                  </a:lnTo>
                  <a:lnTo>
                    <a:pt x="41" y="149"/>
                  </a:lnTo>
                  <a:lnTo>
                    <a:pt x="43" y="148"/>
                  </a:lnTo>
                  <a:lnTo>
                    <a:pt x="43" y="149"/>
                  </a:lnTo>
                  <a:lnTo>
                    <a:pt x="44" y="148"/>
                  </a:lnTo>
                  <a:lnTo>
                    <a:pt x="45" y="147"/>
                  </a:lnTo>
                  <a:lnTo>
                    <a:pt x="46" y="146"/>
                  </a:lnTo>
                  <a:lnTo>
                    <a:pt x="47" y="146"/>
                  </a:lnTo>
                  <a:lnTo>
                    <a:pt x="49" y="146"/>
                  </a:lnTo>
                  <a:lnTo>
                    <a:pt x="50" y="146"/>
                  </a:lnTo>
                  <a:lnTo>
                    <a:pt x="51" y="146"/>
                  </a:lnTo>
                  <a:lnTo>
                    <a:pt x="52" y="146"/>
                  </a:lnTo>
                  <a:lnTo>
                    <a:pt x="52" y="145"/>
                  </a:lnTo>
                  <a:lnTo>
                    <a:pt x="53" y="145"/>
                  </a:lnTo>
                  <a:lnTo>
                    <a:pt x="53" y="146"/>
                  </a:lnTo>
                  <a:lnTo>
                    <a:pt x="55" y="146"/>
                  </a:lnTo>
                  <a:lnTo>
                    <a:pt x="56" y="147"/>
                  </a:lnTo>
                  <a:lnTo>
                    <a:pt x="57" y="147"/>
                  </a:lnTo>
                  <a:lnTo>
                    <a:pt x="57" y="148"/>
                  </a:lnTo>
                  <a:lnTo>
                    <a:pt x="56" y="148"/>
                  </a:lnTo>
                  <a:lnTo>
                    <a:pt x="55" y="148"/>
                  </a:lnTo>
                  <a:lnTo>
                    <a:pt x="53" y="148"/>
                  </a:lnTo>
                  <a:lnTo>
                    <a:pt x="52" y="148"/>
                  </a:lnTo>
                  <a:lnTo>
                    <a:pt x="51" y="149"/>
                  </a:lnTo>
                  <a:lnTo>
                    <a:pt x="51" y="148"/>
                  </a:lnTo>
                  <a:lnTo>
                    <a:pt x="50" y="148"/>
                  </a:lnTo>
                  <a:lnTo>
                    <a:pt x="49" y="147"/>
                  </a:lnTo>
                  <a:lnTo>
                    <a:pt x="49" y="148"/>
                  </a:lnTo>
                  <a:lnTo>
                    <a:pt x="47" y="148"/>
                  </a:lnTo>
                  <a:lnTo>
                    <a:pt x="46" y="148"/>
                  </a:lnTo>
                  <a:lnTo>
                    <a:pt x="45" y="148"/>
                  </a:lnTo>
                  <a:lnTo>
                    <a:pt x="44" y="149"/>
                  </a:lnTo>
                  <a:lnTo>
                    <a:pt x="44" y="151"/>
                  </a:lnTo>
                  <a:lnTo>
                    <a:pt x="45" y="151"/>
                  </a:lnTo>
                  <a:lnTo>
                    <a:pt x="46" y="151"/>
                  </a:lnTo>
                  <a:lnTo>
                    <a:pt x="47" y="151"/>
                  </a:lnTo>
                  <a:lnTo>
                    <a:pt x="47" y="149"/>
                  </a:lnTo>
                  <a:lnTo>
                    <a:pt x="47" y="151"/>
                  </a:lnTo>
                  <a:lnTo>
                    <a:pt x="49" y="151"/>
                  </a:lnTo>
                  <a:lnTo>
                    <a:pt x="47" y="151"/>
                  </a:lnTo>
                  <a:lnTo>
                    <a:pt x="47" y="152"/>
                  </a:lnTo>
                  <a:lnTo>
                    <a:pt x="47" y="153"/>
                  </a:lnTo>
                  <a:lnTo>
                    <a:pt x="46" y="152"/>
                  </a:lnTo>
                  <a:lnTo>
                    <a:pt x="46" y="151"/>
                  </a:lnTo>
                  <a:lnTo>
                    <a:pt x="45" y="151"/>
                  </a:lnTo>
                  <a:lnTo>
                    <a:pt x="45" y="152"/>
                  </a:lnTo>
                  <a:lnTo>
                    <a:pt x="45" y="153"/>
                  </a:lnTo>
                  <a:lnTo>
                    <a:pt x="44" y="153"/>
                  </a:lnTo>
                  <a:lnTo>
                    <a:pt x="45" y="154"/>
                  </a:lnTo>
                  <a:lnTo>
                    <a:pt x="45" y="155"/>
                  </a:lnTo>
                  <a:lnTo>
                    <a:pt x="44" y="155"/>
                  </a:lnTo>
                  <a:lnTo>
                    <a:pt x="43" y="157"/>
                  </a:lnTo>
                  <a:lnTo>
                    <a:pt x="43" y="155"/>
                  </a:lnTo>
                  <a:lnTo>
                    <a:pt x="41" y="154"/>
                  </a:lnTo>
                  <a:lnTo>
                    <a:pt x="40" y="154"/>
                  </a:lnTo>
                  <a:lnTo>
                    <a:pt x="40" y="155"/>
                  </a:lnTo>
                  <a:lnTo>
                    <a:pt x="40" y="157"/>
                  </a:lnTo>
                  <a:lnTo>
                    <a:pt x="39" y="155"/>
                  </a:lnTo>
                  <a:lnTo>
                    <a:pt x="39" y="154"/>
                  </a:lnTo>
                  <a:lnTo>
                    <a:pt x="39" y="153"/>
                  </a:lnTo>
                  <a:lnTo>
                    <a:pt x="38" y="153"/>
                  </a:lnTo>
                  <a:lnTo>
                    <a:pt x="37" y="154"/>
                  </a:lnTo>
                  <a:lnTo>
                    <a:pt x="35" y="154"/>
                  </a:lnTo>
                  <a:lnTo>
                    <a:pt x="35" y="155"/>
                  </a:lnTo>
                  <a:lnTo>
                    <a:pt x="34" y="154"/>
                  </a:lnTo>
                  <a:lnTo>
                    <a:pt x="35" y="153"/>
                  </a:lnTo>
                  <a:lnTo>
                    <a:pt x="37" y="153"/>
                  </a:lnTo>
                  <a:lnTo>
                    <a:pt x="35" y="152"/>
                  </a:lnTo>
                  <a:lnTo>
                    <a:pt x="34" y="152"/>
                  </a:lnTo>
                  <a:lnTo>
                    <a:pt x="34" y="151"/>
                  </a:lnTo>
                  <a:lnTo>
                    <a:pt x="33" y="151"/>
                  </a:lnTo>
                  <a:lnTo>
                    <a:pt x="33" y="149"/>
                  </a:lnTo>
                  <a:lnTo>
                    <a:pt x="32" y="151"/>
                  </a:lnTo>
                  <a:lnTo>
                    <a:pt x="30" y="151"/>
                  </a:lnTo>
                  <a:lnTo>
                    <a:pt x="32" y="152"/>
                  </a:lnTo>
                  <a:lnTo>
                    <a:pt x="32" y="153"/>
                  </a:lnTo>
                  <a:lnTo>
                    <a:pt x="30" y="153"/>
                  </a:lnTo>
                  <a:lnTo>
                    <a:pt x="32" y="153"/>
                  </a:lnTo>
                  <a:lnTo>
                    <a:pt x="30" y="154"/>
                  </a:lnTo>
                  <a:lnTo>
                    <a:pt x="29" y="153"/>
                  </a:lnTo>
                  <a:lnTo>
                    <a:pt x="29" y="152"/>
                  </a:lnTo>
                  <a:lnTo>
                    <a:pt x="28" y="152"/>
                  </a:lnTo>
                  <a:lnTo>
                    <a:pt x="28" y="151"/>
                  </a:lnTo>
                  <a:lnTo>
                    <a:pt x="29" y="151"/>
                  </a:lnTo>
                  <a:lnTo>
                    <a:pt x="29" y="149"/>
                  </a:lnTo>
                  <a:lnTo>
                    <a:pt x="28" y="148"/>
                  </a:lnTo>
                  <a:lnTo>
                    <a:pt x="27" y="149"/>
                  </a:lnTo>
                  <a:lnTo>
                    <a:pt x="27" y="148"/>
                  </a:lnTo>
                  <a:lnTo>
                    <a:pt x="27" y="147"/>
                  </a:lnTo>
                  <a:lnTo>
                    <a:pt x="26" y="146"/>
                  </a:lnTo>
                  <a:lnTo>
                    <a:pt x="24" y="146"/>
                  </a:lnTo>
                  <a:lnTo>
                    <a:pt x="24" y="147"/>
                  </a:lnTo>
                  <a:lnTo>
                    <a:pt x="24" y="148"/>
                  </a:lnTo>
                  <a:lnTo>
                    <a:pt x="24" y="149"/>
                  </a:lnTo>
                  <a:lnTo>
                    <a:pt x="23" y="149"/>
                  </a:lnTo>
                  <a:lnTo>
                    <a:pt x="23" y="151"/>
                  </a:lnTo>
                  <a:lnTo>
                    <a:pt x="24" y="151"/>
                  </a:lnTo>
                  <a:lnTo>
                    <a:pt x="24" y="152"/>
                  </a:lnTo>
                  <a:lnTo>
                    <a:pt x="26" y="152"/>
                  </a:lnTo>
                  <a:lnTo>
                    <a:pt x="27" y="153"/>
                  </a:lnTo>
                  <a:lnTo>
                    <a:pt x="26" y="154"/>
                  </a:lnTo>
                  <a:lnTo>
                    <a:pt x="27" y="154"/>
                  </a:lnTo>
                  <a:lnTo>
                    <a:pt x="27" y="155"/>
                  </a:lnTo>
                  <a:lnTo>
                    <a:pt x="26" y="155"/>
                  </a:lnTo>
                  <a:lnTo>
                    <a:pt x="26" y="154"/>
                  </a:lnTo>
                  <a:lnTo>
                    <a:pt x="24" y="154"/>
                  </a:lnTo>
                  <a:lnTo>
                    <a:pt x="26" y="155"/>
                  </a:lnTo>
                  <a:lnTo>
                    <a:pt x="26" y="157"/>
                  </a:lnTo>
                  <a:lnTo>
                    <a:pt x="27" y="158"/>
                  </a:lnTo>
                  <a:lnTo>
                    <a:pt x="26" y="158"/>
                  </a:lnTo>
                  <a:lnTo>
                    <a:pt x="26" y="157"/>
                  </a:lnTo>
                  <a:lnTo>
                    <a:pt x="24" y="157"/>
                  </a:lnTo>
                  <a:lnTo>
                    <a:pt x="24" y="158"/>
                  </a:lnTo>
                  <a:lnTo>
                    <a:pt x="23" y="158"/>
                  </a:lnTo>
                  <a:lnTo>
                    <a:pt x="23" y="157"/>
                  </a:lnTo>
                  <a:lnTo>
                    <a:pt x="23" y="155"/>
                  </a:lnTo>
                  <a:lnTo>
                    <a:pt x="23" y="154"/>
                  </a:lnTo>
                  <a:lnTo>
                    <a:pt x="22" y="154"/>
                  </a:lnTo>
                  <a:lnTo>
                    <a:pt x="22" y="153"/>
                  </a:lnTo>
                  <a:lnTo>
                    <a:pt x="21" y="153"/>
                  </a:lnTo>
                  <a:lnTo>
                    <a:pt x="21" y="154"/>
                  </a:lnTo>
                  <a:lnTo>
                    <a:pt x="20" y="154"/>
                  </a:lnTo>
                  <a:lnTo>
                    <a:pt x="20" y="155"/>
                  </a:lnTo>
                  <a:lnTo>
                    <a:pt x="18" y="155"/>
                  </a:lnTo>
                  <a:lnTo>
                    <a:pt x="17" y="155"/>
                  </a:lnTo>
                  <a:lnTo>
                    <a:pt x="16" y="155"/>
                  </a:lnTo>
                  <a:lnTo>
                    <a:pt x="16" y="154"/>
                  </a:lnTo>
                  <a:lnTo>
                    <a:pt x="17" y="154"/>
                  </a:lnTo>
                  <a:lnTo>
                    <a:pt x="17" y="153"/>
                  </a:lnTo>
                  <a:lnTo>
                    <a:pt x="16" y="152"/>
                  </a:lnTo>
                  <a:lnTo>
                    <a:pt x="15" y="153"/>
                  </a:lnTo>
                  <a:lnTo>
                    <a:pt x="15" y="154"/>
                  </a:lnTo>
                  <a:lnTo>
                    <a:pt x="15" y="153"/>
                  </a:lnTo>
                  <a:lnTo>
                    <a:pt x="14" y="153"/>
                  </a:lnTo>
                  <a:lnTo>
                    <a:pt x="14" y="152"/>
                  </a:lnTo>
                  <a:lnTo>
                    <a:pt x="12" y="151"/>
                  </a:lnTo>
                  <a:lnTo>
                    <a:pt x="11" y="152"/>
                  </a:lnTo>
                  <a:lnTo>
                    <a:pt x="10" y="152"/>
                  </a:lnTo>
                  <a:lnTo>
                    <a:pt x="10" y="153"/>
                  </a:lnTo>
                  <a:lnTo>
                    <a:pt x="11" y="154"/>
                  </a:lnTo>
                  <a:lnTo>
                    <a:pt x="12" y="154"/>
                  </a:lnTo>
                  <a:lnTo>
                    <a:pt x="12" y="155"/>
                  </a:lnTo>
                  <a:lnTo>
                    <a:pt x="12" y="157"/>
                  </a:lnTo>
                  <a:lnTo>
                    <a:pt x="11" y="157"/>
                  </a:lnTo>
                  <a:lnTo>
                    <a:pt x="11" y="155"/>
                  </a:lnTo>
                  <a:lnTo>
                    <a:pt x="11" y="154"/>
                  </a:lnTo>
                  <a:lnTo>
                    <a:pt x="10" y="153"/>
                  </a:lnTo>
                  <a:lnTo>
                    <a:pt x="9" y="153"/>
                  </a:lnTo>
                  <a:lnTo>
                    <a:pt x="8" y="154"/>
                  </a:lnTo>
                  <a:lnTo>
                    <a:pt x="8" y="153"/>
                  </a:lnTo>
                  <a:lnTo>
                    <a:pt x="9" y="152"/>
                  </a:lnTo>
                  <a:lnTo>
                    <a:pt x="9" y="151"/>
                  </a:lnTo>
                  <a:lnTo>
                    <a:pt x="8" y="151"/>
                  </a:lnTo>
                  <a:lnTo>
                    <a:pt x="6" y="151"/>
                  </a:lnTo>
                  <a:lnTo>
                    <a:pt x="6" y="152"/>
                  </a:lnTo>
                  <a:lnTo>
                    <a:pt x="6" y="153"/>
                  </a:lnTo>
                  <a:lnTo>
                    <a:pt x="5" y="153"/>
                  </a:lnTo>
                  <a:lnTo>
                    <a:pt x="5" y="152"/>
                  </a:lnTo>
                  <a:lnTo>
                    <a:pt x="5" y="151"/>
                  </a:lnTo>
                  <a:lnTo>
                    <a:pt x="4" y="151"/>
                  </a:lnTo>
                  <a:lnTo>
                    <a:pt x="3" y="151"/>
                  </a:lnTo>
                  <a:lnTo>
                    <a:pt x="2" y="151"/>
                  </a:lnTo>
                  <a:lnTo>
                    <a:pt x="0" y="151"/>
                  </a:lnTo>
                  <a:lnTo>
                    <a:pt x="0" y="152"/>
                  </a:lnTo>
                  <a:lnTo>
                    <a:pt x="2" y="153"/>
                  </a:lnTo>
                  <a:lnTo>
                    <a:pt x="2" y="154"/>
                  </a:lnTo>
                  <a:lnTo>
                    <a:pt x="3" y="154"/>
                  </a:lnTo>
                  <a:lnTo>
                    <a:pt x="4" y="154"/>
                  </a:lnTo>
                  <a:lnTo>
                    <a:pt x="4" y="155"/>
                  </a:lnTo>
                  <a:lnTo>
                    <a:pt x="5" y="157"/>
                  </a:lnTo>
                  <a:lnTo>
                    <a:pt x="5" y="158"/>
                  </a:lnTo>
                  <a:lnTo>
                    <a:pt x="4" y="158"/>
                  </a:lnTo>
                  <a:lnTo>
                    <a:pt x="5" y="159"/>
                  </a:lnTo>
                  <a:lnTo>
                    <a:pt x="4" y="159"/>
                  </a:lnTo>
                  <a:lnTo>
                    <a:pt x="4" y="160"/>
                  </a:lnTo>
                  <a:lnTo>
                    <a:pt x="5" y="161"/>
                  </a:lnTo>
                  <a:lnTo>
                    <a:pt x="5" y="163"/>
                  </a:lnTo>
                  <a:lnTo>
                    <a:pt x="6" y="163"/>
                  </a:lnTo>
                  <a:lnTo>
                    <a:pt x="8" y="164"/>
                  </a:lnTo>
                  <a:lnTo>
                    <a:pt x="9" y="164"/>
                  </a:lnTo>
                  <a:lnTo>
                    <a:pt x="10" y="164"/>
                  </a:lnTo>
                  <a:lnTo>
                    <a:pt x="11" y="163"/>
                  </a:lnTo>
                  <a:lnTo>
                    <a:pt x="12" y="163"/>
                  </a:lnTo>
                  <a:lnTo>
                    <a:pt x="12" y="164"/>
                  </a:lnTo>
                  <a:lnTo>
                    <a:pt x="14" y="164"/>
                  </a:lnTo>
                  <a:lnTo>
                    <a:pt x="15" y="164"/>
                  </a:lnTo>
                  <a:lnTo>
                    <a:pt x="15" y="163"/>
                  </a:lnTo>
                  <a:lnTo>
                    <a:pt x="16" y="164"/>
                  </a:lnTo>
                  <a:lnTo>
                    <a:pt x="17" y="164"/>
                  </a:lnTo>
                  <a:lnTo>
                    <a:pt x="16" y="164"/>
                  </a:lnTo>
                  <a:lnTo>
                    <a:pt x="15" y="164"/>
                  </a:lnTo>
                  <a:lnTo>
                    <a:pt x="14" y="165"/>
                  </a:lnTo>
                  <a:lnTo>
                    <a:pt x="14" y="164"/>
                  </a:lnTo>
                  <a:lnTo>
                    <a:pt x="12" y="164"/>
                  </a:lnTo>
                  <a:lnTo>
                    <a:pt x="11" y="164"/>
                  </a:lnTo>
                  <a:lnTo>
                    <a:pt x="10" y="165"/>
                  </a:lnTo>
                  <a:lnTo>
                    <a:pt x="9" y="165"/>
                  </a:lnTo>
                  <a:lnTo>
                    <a:pt x="8" y="165"/>
                  </a:lnTo>
                  <a:lnTo>
                    <a:pt x="8" y="164"/>
                  </a:lnTo>
                  <a:lnTo>
                    <a:pt x="8" y="165"/>
                  </a:lnTo>
                  <a:lnTo>
                    <a:pt x="6" y="166"/>
                  </a:lnTo>
                  <a:lnTo>
                    <a:pt x="8" y="166"/>
                  </a:lnTo>
                  <a:lnTo>
                    <a:pt x="8" y="167"/>
                  </a:lnTo>
                  <a:lnTo>
                    <a:pt x="9" y="167"/>
                  </a:lnTo>
                  <a:lnTo>
                    <a:pt x="10" y="167"/>
                  </a:lnTo>
                  <a:lnTo>
                    <a:pt x="10" y="166"/>
                  </a:lnTo>
                  <a:lnTo>
                    <a:pt x="11" y="167"/>
                  </a:lnTo>
                  <a:lnTo>
                    <a:pt x="12" y="167"/>
                  </a:lnTo>
                  <a:lnTo>
                    <a:pt x="14" y="167"/>
                  </a:lnTo>
                  <a:lnTo>
                    <a:pt x="15" y="167"/>
                  </a:lnTo>
                  <a:lnTo>
                    <a:pt x="16" y="167"/>
                  </a:lnTo>
                  <a:lnTo>
                    <a:pt x="17" y="167"/>
                  </a:lnTo>
                  <a:lnTo>
                    <a:pt x="16" y="169"/>
                  </a:lnTo>
                  <a:lnTo>
                    <a:pt x="16" y="167"/>
                  </a:lnTo>
                  <a:lnTo>
                    <a:pt x="15" y="167"/>
                  </a:lnTo>
                  <a:lnTo>
                    <a:pt x="14" y="167"/>
                  </a:lnTo>
                  <a:lnTo>
                    <a:pt x="14" y="169"/>
                  </a:lnTo>
                  <a:lnTo>
                    <a:pt x="15" y="169"/>
                  </a:lnTo>
                  <a:lnTo>
                    <a:pt x="15" y="170"/>
                  </a:lnTo>
                  <a:lnTo>
                    <a:pt x="15" y="171"/>
                  </a:lnTo>
                  <a:lnTo>
                    <a:pt x="14" y="171"/>
                  </a:lnTo>
                  <a:lnTo>
                    <a:pt x="14" y="170"/>
                  </a:lnTo>
                  <a:lnTo>
                    <a:pt x="12" y="170"/>
                  </a:lnTo>
                  <a:lnTo>
                    <a:pt x="11" y="170"/>
                  </a:lnTo>
                  <a:lnTo>
                    <a:pt x="10" y="170"/>
                  </a:lnTo>
                  <a:lnTo>
                    <a:pt x="10" y="171"/>
                  </a:lnTo>
                  <a:lnTo>
                    <a:pt x="9" y="171"/>
                  </a:lnTo>
                  <a:lnTo>
                    <a:pt x="10" y="172"/>
                  </a:lnTo>
                  <a:lnTo>
                    <a:pt x="11" y="172"/>
                  </a:lnTo>
                  <a:lnTo>
                    <a:pt x="11" y="173"/>
                  </a:lnTo>
                  <a:lnTo>
                    <a:pt x="12" y="173"/>
                  </a:lnTo>
                  <a:lnTo>
                    <a:pt x="11" y="173"/>
                  </a:lnTo>
                  <a:lnTo>
                    <a:pt x="10" y="173"/>
                  </a:lnTo>
                  <a:lnTo>
                    <a:pt x="9" y="173"/>
                  </a:lnTo>
                  <a:lnTo>
                    <a:pt x="9" y="175"/>
                  </a:lnTo>
                  <a:lnTo>
                    <a:pt x="10" y="176"/>
                  </a:lnTo>
                  <a:lnTo>
                    <a:pt x="9" y="176"/>
                  </a:lnTo>
                  <a:lnTo>
                    <a:pt x="8" y="176"/>
                  </a:lnTo>
                  <a:lnTo>
                    <a:pt x="8" y="177"/>
                  </a:lnTo>
                  <a:lnTo>
                    <a:pt x="9" y="178"/>
                  </a:lnTo>
                  <a:lnTo>
                    <a:pt x="8" y="178"/>
                  </a:lnTo>
                  <a:lnTo>
                    <a:pt x="8" y="177"/>
                  </a:lnTo>
                  <a:lnTo>
                    <a:pt x="8" y="176"/>
                  </a:lnTo>
                  <a:lnTo>
                    <a:pt x="6" y="176"/>
                  </a:lnTo>
                  <a:lnTo>
                    <a:pt x="6" y="177"/>
                  </a:lnTo>
                  <a:lnTo>
                    <a:pt x="5" y="177"/>
                  </a:lnTo>
                  <a:lnTo>
                    <a:pt x="5" y="178"/>
                  </a:lnTo>
                  <a:lnTo>
                    <a:pt x="5" y="177"/>
                  </a:lnTo>
                  <a:lnTo>
                    <a:pt x="4" y="177"/>
                  </a:lnTo>
                  <a:lnTo>
                    <a:pt x="3" y="177"/>
                  </a:lnTo>
                  <a:lnTo>
                    <a:pt x="2" y="178"/>
                  </a:lnTo>
                  <a:lnTo>
                    <a:pt x="2" y="180"/>
                  </a:lnTo>
                  <a:lnTo>
                    <a:pt x="2" y="181"/>
                  </a:lnTo>
                  <a:lnTo>
                    <a:pt x="3" y="181"/>
                  </a:lnTo>
                  <a:lnTo>
                    <a:pt x="4" y="183"/>
                  </a:lnTo>
                  <a:lnTo>
                    <a:pt x="5" y="183"/>
                  </a:lnTo>
                  <a:lnTo>
                    <a:pt x="8" y="183"/>
                  </a:lnTo>
                  <a:lnTo>
                    <a:pt x="6" y="184"/>
                  </a:lnTo>
                  <a:lnTo>
                    <a:pt x="5" y="184"/>
                  </a:lnTo>
                  <a:lnTo>
                    <a:pt x="4" y="184"/>
                  </a:lnTo>
                  <a:lnTo>
                    <a:pt x="4" y="186"/>
                  </a:lnTo>
                  <a:lnTo>
                    <a:pt x="3" y="186"/>
                  </a:lnTo>
                  <a:lnTo>
                    <a:pt x="5" y="188"/>
                  </a:lnTo>
                  <a:lnTo>
                    <a:pt x="5" y="187"/>
                  </a:lnTo>
                  <a:lnTo>
                    <a:pt x="6" y="188"/>
                  </a:lnTo>
                  <a:lnTo>
                    <a:pt x="8" y="188"/>
                  </a:lnTo>
                  <a:lnTo>
                    <a:pt x="9" y="188"/>
                  </a:lnTo>
                  <a:lnTo>
                    <a:pt x="10" y="187"/>
                  </a:lnTo>
                  <a:lnTo>
                    <a:pt x="11" y="186"/>
                  </a:lnTo>
                  <a:lnTo>
                    <a:pt x="12" y="186"/>
                  </a:lnTo>
                  <a:lnTo>
                    <a:pt x="14" y="186"/>
                  </a:lnTo>
                  <a:lnTo>
                    <a:pt x="15" y="186"/>
                  </a:lnTo>
                  <a:lnTo>
                    <a:pt x="14" y="187"/>
                  </a:lnTo>
                  <a:lnTo>
                    <a:pt x="12" y="187"/>
                  </a:lnTo>
                  <a:lnTo>
                    <a:pt x="11" y="187"/>
                  </a:lnTo>
                  <a:lnTo>
                    <a:pt x="10" y="188"/>
                  </a:lnTo>
                  <a:lnTo>
                    <a:pt x="11" y="189"/>
                  </a:lnTo>
                  <a:lnTo>
                    <a:pt x="12" y="189"/>
                  </a:lnTo>
                  <a:lnTo>
                    <a:pt x="14" y="189"/>
                  </a:lnTo>
                  <a:lnTo>
                    <a:pt x="15" y="189"/>
                  </a:lnTo>
                  <a:lnTo>
                    <a:pt x="15" y="188"/>
                  </a:lnTo>
                  <a:lnTo>
                    <a:pt x="16" y="189"/>
                  </a:lnTo>
                  <a:lnTo>
                    <a:pt x="17" y="189"/>
                  </a:lnTo>
                  <a:lnTo>
                    <a:pt x="18" y="188"/>
                  </a:lnTo>
                  <a:lnTo>
                    <a:pt x="20" y="188"/>
                  </a:lnTo>
                  <a:lnTo>
                    <a:pt x="21" y="188"/>
                  </a:lnTo>
                  <a:lnTo>
                    <a:pt x="21" y="189"/>
                  </a:lnTo>
                  <a:lnTo>
                    <a:pt x="21" y="190"/>
                  </a:lnTo>
                  <a:lnTo>
                    <a:pt x="20" y="192"/>
                  </a:lnTo>
                  <a:lnTo>
                    <a:pt x="18" y="193"/>
                  </a:lnTo>
                  <a:lnTo>
                    <a:pt x="17" y="193"/>
                  </a:lnTo>
                  <a:lnTo>
                    <a:pt x="17" y="192"/>
                  </a:lnTo>
                  <a:lnTo>
                    <a:pt x="16" y="192"/>
                  </a:lnTo>
                  <a:lnTo>
                    <a:pt x="16" y="193"/>
                  </a:lnTo>
                  <a:lnTo>
                    <a:pt x="16" y="194"/>
                  </a:lnTo>
                  <a:lnTo>
                    <a:pt x="15" y="194"/>
                  </a:lnTo>
                  <a:lnTo>
                    <a:pt x="15" y="195"/>
                  </a:lnTo>
                  <a:lnTo>
                    <a:pt x="14" y="194"/>
                  </a:lnTo>
                  <a:lnTo>
                    <a:pt x="12" y="195"/>
                  </a:lnTo>
                  <a:lnTo>
                    <a:pt x="12" y="198"/>
                  </a:lnTo>
                  <a:lnTo>
                    <a:pt x="14" y="198"/>
                  </a:lnTo>
                  <a:lnTo>
                    <a:pt x="15" y="196"/>
                  </a:lnTo>
                  <a:lnTo>
                    <a:pt x="15" y="198"/>
                  </a:lnTo>
                  <a:lnTo>
                    <a:pt x="16" y="198"/>
                  </a:lnTo>
                  <a:lnTo>
                    <a:pt x="17" y="198"/>
                  </a:lnTo>
                  <a:lnTo>
                    <a:pt x="18" y="196"/>
                  </a:lnTo>
                  <a:lnTo>
                    <a:pt x="20" y="195"/>
                  </a:lnTo>
                  <a:lnTo>
                    <a:pt x="21" y="194"/>
                  </a:lnTo>
                  <a:lnTo>
                    <a:pt x="21" y="193"/>
                  </a:lnTo>
                  <a:lnTo>
                    <a:pt x="21" y="192"/>
                  </a:lnTo>
                  <a:lnTo>
                    <a:pt x="22" y="190"/>
                  </a:lnTo>
                  <a:lnTo>
                    <a:pt x="22" y="192"/>
                  </a:lnTo>
                  <a:lnTo>
                    <a:pt x="22" y="193"/>
                  </a:lnTo>
                  <a:lnTo>
                    <a:pt x="23" y="193"/>
                  </a:lnTo>
                  <a:lnTo>
                    <a:pt x="24" y="193"/>
                  </a:lnTo>
                  <a:lnTo>
                    <a:pt x="24" y="192"/>
                  </a:lnTo>
                  <a:lnTo>
                    <a:pt x="24" y="190"/>
                  </a:lnTo>
                  <a:lnTo>
                    <a:pt x="26" y="189"/>
                  </a:lnTo>
                  <a:lnTo>
                    <a:pt x="27" y="188"/>
                  </a:lnTo>
                  <a:lnTo>
                    <a:pt x="27" y="187"/>
                  </a:lnTo>
                  <a:lnTo>
                    <a:pt x="28" y="187"/>
                  </a:lnTo>
                  <a:lnTo>
                    <a:pt x="28" y="188"/>
                  </a:lnTo>
                  <a:lnTo>
                    <a:pt x="29" y="188"/>
                  </a:lnTo>
                  <a:lnTo>
                    <a:pt x="30" y="187"/>
                  </a:lnTo>
                  <a:lnTo>
                    <a:pt x="32" y="187"/>
                  </a:lnTo>
                  <a:lnTo>
                    <a:pt x="30" y="188"/>
                  </a:lnTo>
                  <a:lnTo>
                    <a:pt x="30" y="189"/>
                  </a:lnTo>
                  <a:lnTo>
                    <a:pt x="29" y="189"/>
                  </a:lnTo>
                  <a:lnTo>
                    <a:pt x="28" y="190"/>
                  </a:lnTo>
                  <a:lnTo>
                    <a:pt x="28" y="189"/>
                  </a:lnTo>
                  <a:lnTo>
                    <a:pt x="28" y="188"/>
                  </a:lnTo>
                  <a:lnTo>
                    <a:pt x="27" y="188"/>
                  </a:lnTo>
                  <a:lnTo>
                    <a:pt x="27" y="189"/>
                  </a:lnTo>
                  <a:lnTo>
                    <a:pt x="26" y="190"/>
                  </a:lnTo>
                  <a:lnTo>
                    <a:pt x="27" y="192"/>
                  </a:lnTo>
                  <a:lnTo>
                    <a:pt x="28" y="192"/>
                  </a:lnTo>
                  <a:lnTo>
                    <a:pt x="28" y="193"/>
                  </a:lnTo>
                  <a:lnTo>
                    <a:pt x="29" y="193"/>
                  </a:lnTo>
                  <a:lnTo>
                    <a:pt x="30" y="193"/>
                  </a:lnTo>
                  <a:lnTo>
                    <a:pt x="32" y="193"/>
                  </a:lnTo>
                  <a:lnTo>
                    <a:pt x="32" y="192"/>
                  </a:lnTo>
                  <a:lnTo>
                    <a:pt x="33" y="192"/>
                  </a:lnTo>
                  <a:lnTo>
                    <a:pt x="34" y="190"/>
                  </a:lnTo>
                  <a:lnTo>
                    <a:pt x="35" y="189"/>
                  </a:lnTo>
                  <a:lnTo>
                    <a:pt x="37" y="188"/>
                  </a:lnTo>
                  <a:lnTo>
                    <a:pt x="38" y="187"/>
                  </a:lnTo>
                  <a:lnTo>
                    <a:pt x="38" y="188"/>
                  </a:lnTo>
                  <a:lnTo>
                    <a:pt x="37" y="188"/>
                  </a:lnTo>
                  <a:lnTo>
                    <a:pt x="37" y="189"/>
                  </a:lnTo>
                  <a:lnTo>
                    <a:pt x="35" y="189"/>
                  </a:lnTo>
                  <a:lnTo>
                    <a:pt x="34" y="190"/>
                  </a:lnTo>
                  <a:lnTo>
                    <a:pt x="34" y="192"/>
                  </a:lnTo>
                  <a:lnTo>
                    <a:pt x="35" y="192"/>
                  </a:lnTo>
                  <a:lnTo>
                    <a:pt x="37" y="192"/>
                  </a:lnTo>
                  <a:lnTo>
                    <a:pt x="38" y="193"/>
                  </a:lnTo>
                  <a:lnTo>
                    <a:pt x="39" y="193"/>
                  </a:lnTo>
                  <a:lnTo>
                    <a:pt x="39" y="194"/>
                  </a:lnTo>
                  <a:lnTo>
                    <a:pt x="40" y="194"/>
                  </a:lnTo>
                  <a:lnTo>
                    <a:pt x="40" y="195"/>
                  </a:lnTo>
                  <a:lnTo>
                    <a:pt x="39" y="195"/>
                  </a:lnTo>
                  <a:lnTo>
                    <a:pt x="38" y="195"/>
                  </a:lnTo>
                  <a:lnTo>
                    <a:pt x="37" y="196"/>
                  </a:lnTo>
                  <a:lnTo>
                    <a:pt x="35" y="196"/>
                  </a:lnTo>
                  <a:lnTo>
                    <a:pt x="35" y="198"/>
                  </a:lnTo>
                  <a:lnTo>
                    <a:pt x="35" y="199"/>
                  </a:lnTo>
                  <a:lnTo>
                    <a:pt x="37" y="199"/>
                  </a:lnTo>
                  <a:lnTo>
                    <a:pt x="38" y="199"/>
                  </a:lnTo>
                  <a:lnTo>
                    <a:pt x="39" y="199"/>
                  </a:lnTo>
                  <a:lnTo>
                    <a:pt x="39" y="198"/>
                  </a:lnTo>
                  <a:lnTo>
                    <a:pt x="40" y="196"/>
                  </a:lnTo>
                  <a:lnTo>
                    <a:pt x="40" y="198"/>
                  </a:lnTo>
                  <a:lnTo>
                    <a:pt x="41" y="198"/>
                  </a:lnTo>
                  <a:lnTo>
                    <a:pt x="41" y="196"/>
                  </a:lnTo>
                  <a:lnTo>
                    <a:pt x="41" y="195"/>
                  </a:lnTo>
                  <a:lnTo>
                    <a:pt x="43" y="194"/>
                  </a:lnTo>
                  <a:lnTo>
                    <a:pt x="43" y="193"/>
                  </a:lnTo>
                  <a:lnTo>
                    <a:pt x="43" y="192"/>
                  </a:lnTo>
                  <a:lnTo>
                    <a:pt x="44" y="192"/>
                  </a:lnTo>
                  <a:lnTo>
                    <a:pt x="44" y="193"/>
                  </a:lnTo>
                  <a:lnTo>
                    <a:pt x="45" y="193"/>
                  </a:lnTo>
                  <a:lnTo>
                    <a:pt x="46" y="193"/>
                  </a:lnTo>
                  <a:lnTo>
                    <a:pt x="47" y="192"/>
                  </a:lnTo>
                  <a:lnTo>
                    <a:pt x="49" y="190"/>
                  </a:lnTo>
                  <a:lnTo>
                    <a:pt x="49" y="192"/>
                  </a:lnTo>
                  <a:lnTo>
                    <a:pt x="47" y="192"/>
                  </a:lnTo>
                  <a:lnTo>
                    <a:pt x="46" y="193"/>
                  </a:lnTo>
                  <a:lnTo>
                    <a:pt x="45" y="194"/>
                  </a:lnTo>
                  <a:lnTo>
                    <a:pt x="44" y="194"/>
                  </a:lnTo>
                  <a:lnTo>
                    <a:pt x="45" y="195"/>
                  </a:lnTo>
                  <a:lnTo>
                    <a:pt x="46" y="195"/>
                  </a:lnTo>
                  <a:lnTo>
                    <a:pt x="47" y="194"/>
                  </a:lnTo>
                  <a:lnTo>
                    <a:pt x="49" y="193"/>
                  </a:lnTo>
                  <a:lnTo>
                    <a:pt x="50" y="193"/>
                  </a:lnTo>
                  <a:lnTo>
                    <a:pt x="51" y="193"/>
                  </a:lnTo>
                  <a:lnTo>
                    <a:pt x="51" y="194"/>
                  </a:lnTo>
                  <a:lnTo>
                    <a:pt x="52" y="193"/>
                  </a:lnTo>
                  <a:lnTo>
                    <a:pt x="52" y="192"/>
                  </a:lnTo>
                  <a:lnTo>
                    <a:pt x="53" y="192"/>
                  </a:lnTo>
                  <a:lnTo>
                    <a:pt x="55" y="193"/>
                  </a:lnTo>
                  <a:lnTo>
                    <a:pt x="56" y="193"/>
                  </a:lnTo>
                  <a:lnTo>
                    <a:pt x="57" y="192"/>
                  </a:lnTo>
                  <a:lnTo>
                    <a:pt x="57" y="190"/>
                  </a:lnTo>
                  <a:lnTo>
                    <a:pt x="57" y="189"/>
                  </a:lnTo>
                  <a:lnTo>
                    <a:pt x="56" y="189"/>
                  </a:lnTo>
                  <a:lnTo>
                    <a:pt x="55" y="189"/>
                  </a:lnTo>
                  <a:lnTo>
                    <a:pt x="53" y="189"/>
                  </a:lnTo>
                  <a:lnTo>
                    <a:pt x="52" y="188"/>
                  </a:lnTo>
                  <a:lnTo>
                    <a:pt x="53" y="188"/>
                  </a:lnTo>
                  <a:lnTo>
                    <a:pt x="55" y="188"/>
                  </a:lnTo>
                  <a:lnTo>
                    <a:pt x="55" y="189"/>
                  </a:lnTo>
                  <a:lnTo>
                    <a:pt x="56" y="189"/>
                  </a:lnTo>
                  <a:lnTo>
                    <a:pt x="56" y="188"/>
                  </a:lnTo>
                  <a:lnTo>
                    <a:pt x="56" y="187"/>
                  </a:lnTo>
                  <a:lnTo>
                    <a:pt x="56" y="186"/>
                  </a:lnTo>
                  <a:lnTo>
                    <a:pt x="53" y="186"/>
                  </a:lnTo>
                  <a:lnTo>
                    <a:pt x="53" y="184"/>
                  </a:lnTo>
                  <a:lnTo>
                    <a:pt x="55" y="184"/>
                  </a:lnTo>
                  <a:lnTo>
                    <a:pt x="55" y="183"/>
                  </a:lnTo>
                  <a:lnTo>
                    <a:pt x="56" y="184"/>
                  </a:lnTo>
                  <a:lnTo>
                    <a:pt x="56" y="186"/>
                  </a:lnTo>
                  <a:lnTo>
                    <a:pt x="57" y="186"/>
                  </a:lnTo>
                  <a:lnTo>
                    <a:pt x="58" y="187"/>
                  </a:lnTo>
                  <a:lnTo>
                    <a:pt x="59" y="187"/>
                  </a:lnTo>
                  <a:lnTo>
                    <a:pt x="61" y="187"/>
                  </a:lnTo>
                  <a:lnTo>
                    <a:pt x="61" y="188"/>
                  </a:lnTo>
                  <a:lnTo>
                    <a:pt x="59" y="188"/>
                  </a:lnTo>
                  <a:lnTo>
                    <a:pt x="59" y="189"/>
                  </a:lnTo>
                  <a:lnTo>
                    <a:pt x="61" y="189"/>
                  </a:lnTo>
                  <a:lnTo>
                    <a:pt x="62" y="190"/>
                  </a:lnTo>
                  <a:lnTo>
                    <a:pt x="62" y="192"/>
                  </a:lnTo>
                  <a:lnTo>
                    <a:pt x="62" y="193"/>
                  </a:lnTo>
                  <a:lnTo>
                    <a:pt x="62" y="194"/>
                  </a:lnTo>
                  <a:lnTo>
                    <a:pt x="61" y="193"/>
                  </a:lnTo>
                  <a:lnTo>
                    <a:pt x="61" y="192"/>
                  </a:lnTo>
                  <a:lnTo>
                    <a:pt x="59" y="192"/>
                  </a:lnTo>
                  <a:lnTo>
                    <a:pt x="61" y="193"/>
                  </a:lnTo>
                  <a:lnTo>
                    <a:pt x="61" y="194"/>
                  </a:lnTo>
                  <a:lnTo>
                    <a:pt x="59" y="194"/>
                  </a:lnTo>
                  <a:lnTo>
                    <a:pt x="59" y="195"/>
                  </a:lnTo>
                  <a:lnTo>
                    <a:pt x="61" y="196"/>
                  </a:lnTo>
                  <a:lnTo>
                    <a:pt x="61" y="195"/>
                  </a:lnTo>
                  <a:lnTo>
                    <a:pt x="62" y="195"/>
                  </a:lnTo>
                  <a:lnTo>
                    <a:pt x="62" y="196"/>
                  </a:lnTo>
                  <a:lnTo>
                    <a:pt x="61" y="196"/>
                  </a:lnTo>
                  <a:lnTo>
                    <a:pt x="59" y="196"/>
                  </a:lnTo>
                  <a:lnTo>
                    <a:pt x="58" y="198"/>
                  </a:lnTo>
                  <a:lnTo>
                    <a:pt x="58" y="199"/>
                  </a:lnTo>
                  <a:lnTo>
                    <a:pt x="59" y="199"/>
                  </a:lnTo>
                  <a:lnTo>
                    <a:pt x="58" y="200"/>
                  </a:lnTo>
                  <a:lnTo>
                    <a:pt x="57" y="200"/>
                  </a:lnTo>
                  <a:lnTo>
                    <a:pt x="57" y="199"/>
                  </a:lnTo>
                  <a:lnTo>
                    <a:pt x="56" y="199"/>
                  </a:lnTo>
                  <a:lnTo>
                    <a:pt x="56" y="200"/>
                  </a:lnTo>
                  <a:lnTo>
                    <a:pt x="56" y="201"/>
                  </a:lnTo>
                  <a:lnTo>
                    <a:pt x="56" y="202"/>
                  </a:lnTo>
                  <a:lnTo>
                    <a:pt x="57" y="202"/>
                  </a:lnTo>
                  <a:lnTo>
                    <a:pt x="58" y="202"/>
                  </a:lnTo>
                  <a:lnTo>
                    <a:pt x="58" y="201"/>
                  </a:lnTo>
                  <a:lnTo>
                    <a:pt x="59" y="201"/>
                  </a:lnTo>
                  <a:lnTo>
                    <a:pt x="62" y="202"/>
                  </a:lnTo>
                  <a:lnTo>
                    <a:pt x="62" y="201"/>
                  </a:lnTo>
                  <a:lnTo>
                    <a:pt x="62" y="202"/>
                  </a:lnTo>
                  <a:lnTo>
                    <a:pt x="63" y="202"/>
                  </a:lnTo>
                  <a:lnTo>
                    <a:pt x="64" y="202"/>
                  </a:lnTo>
                  <a:lnTo>
                    <a:pt x="64" y="201"/>
                  </a:lnTo>
                  <a:lnTo>
                    <a:pt x="67" y="200"/>
                  </a:lnTo>
                  <a:lnTo>
                    <a:pt x="65" y="200"/>
                  </a:lnTo>
                  <a:lnTo>
                    <a:pt x="64" y="200"/>
                  </a:lnTo>
                  <a:lnTo>
                    <a:pt x="63" y="200"/>
                  </a:lnTo>
                  <a:lnTo>
                    <a:pt x="64" y="199"/>
                  </a:lnTo>
                  <a:lnTo>
                    <a:pt x="65" y="199"/>
                  </a:lnTo>
                  <a:lnTo>
                    <a:pt x="65" y="198"/>
                  </a:lnTo>
                  <a:lnTo>
                    <a:pt x="67" y="199"/>
                  </a:lnTo>
                  <a:lnTo>
                    <a:pt x="67" y="200"/>
                  </a:lnTo>
                  <a:lnTo>
                    <a:pt x="68" y="200"/>
                  </a:lnTo>
                  <a:lnTo>
                    <a:pt x="68" y="201"/>
                  </a:lnTo>
                  <a:lnTo>
                    <a:pt x="67" y="201"/>
                  </a:lnTo>
                  <a:lnTo>
                    <a:pt x="65" y="201"/>
                  </a:lnTo>
                  <a:lnTo>
                    <a:pt x="65" y="202"/>
                  </a:lnTo>
                  <a:lnTo>
                    <a:pt x="64" y="202"/>
                  </a:lnTo>
                  <a:lnTo>
                    <a:pt x="64" y="204"/>
                  </a:lnTo>
                  <a:lnTo>
                    <a:pt x="62" y="204"/>
                  </a:lnTo>
                  <a:lnTo>
                    <a:pt x="62" y="202"/>
                  </a:lnTo>
                  <a:lnTo>
                    <a:pt x="62" y="204"/>
                  </a:lnTo>
                  <a:lnTo>
                    <a:pt x="61" y="202"/>
                  </a:lnTo>
                  <a:lnTo>
                    <a:pt x="59" y="202"/>
                  </a:lnTo>
                  <a:lnTo>
                    <a:pt x="59" y="204"/>
                  </a:lnTo>
                  <a:lnTo>
                    <a:pt x="58" y="204"/>
                  </a:lnTo>
                  <a:lnTo>
                    <a:pt x="57" y="202"/>
                  </a:lnTo>
                  <a:lnTo>
                    <a:pt x="57" y="204"/>
                  </a:lnTo>
                  <a:lnTo>
                    <a:pt x="56" y="204"/>
                  </a:lnTo>
                  <a:lnTo>
                    <a:pt x="55" y="204"/>
                  </a:lnTo>
                  <a:lnTo>
                    <a:pt x="55" y="202"/>
                  </a:lnTo>
                  <a:lnTo>
                    <a:pt x="53" y="202"/>
                  </a:lnTo>
                  <a:lnTo>
                    <a:pt x="52" y="202"/>
                  </a:lnTo>
                  <a:lnTo>
                    <a:pt x="52" y="204"/>
                  </a:lnTo>
                  <a:lnTo>
                    <a:pt x="51" y="205"/>
                  </a:lnTo>
                  <a:lnTo>
                    <a:pt x="50" y="205"/>
                  </a:lnTo>
                  <a:lnTo>
                    <a:pt x="49" y="205"/>
                  </a:lnTo>
                  <a:lnTo>
                    <a:pt x="50" y="206"/>
                  </a:lnTo>
                  <a:lnTo>
                    <a:pt x="47" y="206"/>
                  </a:lnTo>
                  <a:lnTo>
                    <a:pt x="49" y="206"/>
                  </a:lnTo>
                  <a:lnTo>
                    <a:pt x="49" y="207"/>
                  </a:lnTo>
                  <a:lnTo>
                    <a:pt x="50" y="207"/>
                  </a:lnTo>
                  <a:lnTo>
                    <a:pt x="50" y="208"/>
                  </a:lnTo>
                  <a:lnTo>
                    <a:pt x="51" y="208"/>
                  </a:lnTo>
                  <a:lnTo>
                    <a:pt x="52" y="207"/>
                  </a:lnTo>
                  <a:lnTo>
                    <a:pt x="53" y="207"/>
                  </a:lnTo>
                  <a:lnTo>
                    <a:pt x="53" y="206"/>
                  </a:lnTo>
                  <a:lnTo>
                    <a:pt x="55" y="207"/>
                  </a:lnTo>
                  <a:lnTo>
                    <a:pt x="56" y="206"/>
                  </a:lnTo>
                  <a:lnTo>
                    <a:pt x="56" y="207"/>
                  </a:lnTo>
                  <a:lnTo>
                    <a:pt x="55" y="207"/>
                  </a:lnTo>
                  <a:lnTo>
                    <a:pt x="55" y="208"/>
                  </a:lnTo>
                  <a:lnTo>
                    <a:pt x="53" y="208"/>
                  </a:lnTo>
                  <a:lnTo>
                    <a:pt x="52" y="208"/>
                  </a:lnTo>
                  <a:lnTo>
                    <a:pt x="51" y="210"/>
                  </a:lnTo>
                  <a:lnTo>
                    <a:pt x="50" y="210"/>
                  </a:lnTo>
                  <a:lnTo>
                    <a:pt x="50" y="211"/>
                  </a:lnTo>
                  <a:lnTo>
                    <a:pt x="49" y="211"/>
                  </a:lnTo>
                  <a:lnTo>
                    <a:pt x="49" y="210"/>
                  </a:lnTo>
                  <a:lnTo>
                    <a:pt x="47" y="211"/>
                  </a:lnTo>
                  <a:lnTo>
                    <a:pt x="46" y="211"/>
                  </a:lnTo>
                  <a:lnTo>
                    <a:pt x="45" y="212"/>
                  </a:lnTo>
                  <a:lnTo>
                    <a:pt x="44" y="212"/>
                  </a:lnTo>
                  <a:lnTo>
                    <a:pt x="41" y="212"/>
                  </a:lnTo>
                  <a:lnTo>
                    <a:pt x="41" y="213"/>
                  </a:lnTo>
                  <a:lnTo>
                    <a:pt x="41" y="214"/>
                  </a:lnTo>
                  <a:lnTo>
                    <a:pt x="40" y="214"/>
                  </a:lnTo>
                  <a:lnTo>
                    <a:pt x="39" y="214"/>
                  </a:lnTo>
                  <a:lnTo>
                    <a:pt x="39" y="216"/>
                  </a:lnTo>
                  <a:lnTo>
                    <a:pt x="38" y="216"/>
                  </a:lnTo>
                  <a:lnTo>
                    <a:pt x="37" y="214"/>
                  </a:lnTo>
                  <a:lnTo>
                    <a:pt x="35" y="216"/>
                  </a:lnTo>
                  <a:lnTo>
                    <a:pt x="34" y="216"/>
                  </a:lnTo>
                  <a:lnTo>
                    <a:pt x="33" y="216"/>
                  </a:lnTo>
                  <a:lnTo>
                    <a:pt x="32" y="216"/>
                  </a:lnTo>
                  <a:lnTo>
                    <a:pt x="32" y="217"/>
                  </a:lnTo>
                  <a:lnTo>
                    <a:pt x="30" y="216"/>
                  </a:lnTo>
                  <a:lnTo>
                    <a:pt x="29" y="216"/>
                  </a:lnTo>
                  <a:lnTo>
                    <a:pt x="28" y="214"/>
                  </a:lnTo>
                  <a:lnTo>
                    <a:pt x="27" y="216"/>
                  </a:lnTo>
                  <a:lnTo>
                    <a:pt x="27" y="217"/>
                  </a:lnTo>
                  <a:lnTo>
                    <a:pt x="27" y="218"/>
                  </a:lnTo>
                  <a:lnTo>
                    <a:pt x="28" y="219"/>
                  </a:lnTo>
                  <a:lnTo>
                    <a:pt x="27" y="220"/>
                  </a:lnTo>
                  <a:lnTo>
                    <a:pt x="28" y="220"/>
                  </a:lnTo>
                  <a:lnTo>
                    <a:pt x="29" y="220"/>
                  </a:lnTo>
                  <a:lnTo>
                    <a:pt x="29" y="222"/>
                  </a:lnTo>
                  <a:lnTo>
                    <a:pt x="30" y="222"/>
                  </a:lnTo>
                  <a:lnTo>
                    <a:pt x="32" y="222"/>
                  </a:lnTo>
                  <a:lnTo>
                    <a:pt x="33" y="220"/>
                  </a:lnTo>
                  <a:lnTo>
                    <a:pt x="34" y="220"/>
                  </a:lnTo>
                  <a:lnTo>
                    <a:pt x="37" y="222"/>
                  </a:lnTo>
                  <a:lnTo>
                    <a:pt x="37" y="223"/>
                  </a:lnTo>
                  <a:lnTo>
                    <a:pt x="35" y="223"/>
                  </a:lnTo>
                  <a:lnTo>
                    <a:pt x="34" y="223"/>
                  </a:lnTo>
                  <a:lnTo>
                    <a:pt x="33" y="223"/>
                  </a:lnTo>
                  <a:lnTo>
                    <a:pt x="32" y="223"/>
                  </a:lnTo>
                  <a:lnTo>
                    <a:pt x="30" y="223"/>
                  </a:lnTo>
                  <a:lnTo>
                    <a:pt x="32" y="224"/>
                  </a:lnTo>
                  <a:lnTo>
                    <a:pt x="32" y="225"/>
                  </a:lnTo>
                  <a:lnTo>
                    <a:pt x="33" y="225"/>
                  </a:lnTo>
                  <a:lnTo>
                    <a:pt x="34" y="226"/>
                  </a:lnTo>
                  <a:lnTo>
                    <a:pt x="33" y="228"/>
                  </a:lnTo>
                  <a:lnTo>
                    <a:pt x="35" y="228"/>
                  </a:lnTo>
                  <a:lnTo>
                    <a:pt x="35" y="226"/>
                  </a:lnTo>
                  <a:lnTo>
                    <a:pt x="37" y="226"/>
                  </a:lnTo>
                  <a:lnTo>
                    <a:pt x="37" y="225"/>
                  </a:lnTo>
                  <a:lnTo>
                    <a:pt x="37" y="226"/>
                  </a:lnTo>
                  <a:lnTo>
                    <a:pt x="35" y="228"/>
                  </a:lnTo>
                  <a:lnTo>
                    <a:pt x="35" y="229"/>
                  </a:lnTo>
                  <a:lnTo>
                    <a:pt x="34" y="229"/>
                  </a:lnTo>
                  <a:lnTo>
                    <a:pt x="33" y="229"/>
                  </a:lnTo>
                  <a:lnTo>
                    <a:pt x="32" y="229"/>
                  </a:lnTo>
                  <a:lnTo>
                    <a:pt x="32" y="228"/>
                  </a:lnTo>
                  <a:lnTo>
                    <a:pt x="32" y="226"/>
                  </a:lnTo>
                  <a:lnTo>
                    <a:pt x="32" y="225"/>
                  </a:lnTo>
                  <a:lnTo>
                    <a:pt x="30" y="225"/>
                  </a:lnTo>
                  <a:lnTo>
                    <a:pt x="30" y="224"/>
                  </a:lnTo>
                  <a:lnTo>
                    <a:pt x="29" y="223"/>
                  </a:lnTo>
                  <a:lnTo>
                    <a:pt x="28" y="224"/>
                  </a:lnTo>
                  <a:lnTo>
                    <a:pt x="27" y="224"/>
                  </a:lnTo>
                  <a:lnTo>
                    <a:pt x="26" y="225"/>
                  </a:lnTo>
                  <a:lnTo>
                    <a:pt x="24" y="225"/>
                  </a:lnTo>
                  <a:lnTo>
                    <a:pt x="24" y="226"/>
                  </a:lnTo>
                  <a:lnTo>
                    <a:pt x="24" y="228"/>
                  </a:lnTo>
                  <a:lnTo>
                    <a:pt x="26" y="228"/>
                  </a:lnTo>
                  <a:lnTo>
                    <a:pt x="27" y="229"/>
                  </a:lnTo>
                  <a:lnTo>
                    <a:pt x="27" y="230"/>
                  </a:lnTo>
                  <a:lnTo>
                    <a:pt x="26" y="230"/>
                  </a:lnTo>
                  <a:lnTo>
                    <a:pt x="27" y="231"/>
                  </a:lnTo>
                  <a:lnTo>
                    <a:pt x="28" y="232"/>
                  </a:lnTo>
                  <a:lnTo>
                    <a:pt x="29" y="234"/>
                  </a:lnTo>
                  <a:lnTo>
                    <a:pt x="30" y="234"/>
                  </a:lnTo>
                  <a:lnTo>
                    <a:pt x="33" y="234"/>
                  </a:lnTo>
                  <a:lnTo>
                    <a:pt x="34" y="234"/>
                  </a:lnTo>
                  <a:lnTo>
                    <a:pt x="35" y="234"/>
                  </a:lnTo>
                  <a:lnTo>
                    <a:pt x="37" y="232"/>
                  </a:lnTo>
                  <a:lnTo>
                    <a:pt x="37" y="231"/>
                  </a:lnTo>
                  <a:lnTo>
                    <a:pt x="38" y="231"/>
                  </a:lnTo>
                  <a:lnTo>
                    <a:pt x="39" y="231"/>
                  </a:lnTo>
                  <a:lnTo>
                    <a:pt x="40" y="231"/>
                  </a:lnTo>
                  <a:lnTo>
                    <a:pt x="39" y="231"/>
                  </a:lnTo>
                  <a:lnTo>
                    <a:pt x="38" y="232"/>
                  </a:lnTo>
                  <a:lnTo>
                    <a:pt x="37" y="232"/>
                  </a:lnTo>
                  <a:lnTo>
                    <a:pt x="37" y="234"/>
                  </a:lnTo>
                  <a:lnTo>
                    <a:pt x="37" y="235"/>
                  </a:lnTo>
                  <a:lnTo>
                    <a:pt x="38" y="235"/>
                  </a:lnTo>
                  <a:lnTo>
                    <a:pt x="35" y="235"/>
                  </a:lnTo>
                  <a:lnTo>
                    <a:pt x="34" y="236"/>
                  </a:lnTo>
                  <a:lnTo>
                    <a:pt x="33" y="237"/>
                  </a:lnTo>
                  <a:lnTo>
                    <a:pt x="34" y="237"/>
                  </a:lnTo>
                  <a:lnTo>
                    <a:pt x="35" y="237"/>
                  </a:lnTo>
                  <a:lnTo>
                    <a:pt x="35" y="238"/>
                  </a:lnTo>
                  <a:lnTo>
                    <a:pt x="34" y="238"/>
                  </a:lnTo>
                  <a:lnTo>
                    <a:pt x="33" y="238"/>
                  </a:lnTo>
                  <a:lnTo>
                    <a:pt x="33" y="237"/>
                  </a:lnTo>
                  <a:lnTo>
                    <a:pt x="32" y="236"/>
                  </a:lnTo>
                  <a:lnTo>
                    <a:pt x="32" y="237"/>
                  </a:lnTo>
                  <a:lnTo>
                    <a:pt x="32" y="238"/>
                  </a:lnTo>
                  <a:lnTo>
                    <a:pt x="30" y="238"/>
                  </a:lnTo>
                  <a:lnTo>
                    <a:pt x="29" y="240"/>
                  </a:lnTo>
                  <a:lnTo>
                    <a:pt x="30" y="241"/>
                  </a:lnTo>
                  <a:lnTo>
                    <a:pt x="32" y="241"/>
                  </a:lnTo>
                  <a:lnTo>
                    <a:pt x="33" y="240"/>
                  </a:lnTo>
                  <a:lnTo>
                    <a:pt x="33" y="241"/>
                  </a:lnTo>
                  <a:lnTo>
                    <a:pt x="34" y="241"/>
                  </a:lnTo>
                  <a:lnTo>
                    <a:pt x="35" y="241"/>
                  </a:lnTo>
                  <a:lnTo>
                    <a:pt x="35" y="240"/>
                  </a:lnTo>
                  <a:lnTo>
                    <a:pt x="37" y="240"/>
                  </a:lnTo>
                  <a:lnTo>
                    <a:pt x="38" y="238"/>
                  </a:lnTo>
                  <a:lnTo>
                    <a:pt x="39" y="238"/>
                  </a:lnTo>
                  <a:lnTo>
                    <a:pt x="39" y="241"/>
                  </a:lnTo>
                  <a:lnTo>
                    <a:pt x="40" y="242"/>
                  </a:lnTo>
                  <a:lnTo>
                    <a:pt x="41" y="242"/>
                  </a:lnTo>
                  <a:lnTo>
                    <a:pt x="44" y="241"/>
                  </a:lnTo>
                  <a:lnTo>
                    <a:pt x="44" y="240"/>
                  </a:lnTo>
                  <a:lnTo>
                    <a:pt x="43" y="241"/>
                  </a:lnTo>
                  <a:lnTo>
                    <a:pt x="41" y="241"/>
                  </a:lnTo>
                  <a:lnTo>
                    <a:pt x="41" y="240"/>
                  </a:lnTo>
                  <a:lnTo>
                    <a:pt x="43" y="240"/>
                  </a:lnTo>
                  <a:lnTo>
                    <a:pt x="44" y="238"/>
                  </a:lnTo>
                  <a:lnTo>
                    <a:pt x="45" y="238"/>
                  </a:lnTo>
                  <a:lnTo>
                    <a:pt x="45" y="237"/>
                  </a:lnTo>
                  <a:lnTo>
                    <a:pt x="44" y="237"/>
                  </a:lnTo>
                  <a:lnTo>
                    <a:pt x="43" y="237"/>
                  </a:lnTo>
                  <a:lnTo>
                    <a:pt x="43" y="236"/>
                  </a:lnTo>
                  <a:lnTo>
                    <a:pt x="45" y="237"/>
                  </a:lnTo>
                  <a:lnTo>
                    <a:pt x="45" y="236"/>
                  </a:lnTo>
                  <a:lnTo>
                    <a:pt x="46" y="236"/>
                  </a:lnTo>
                  <a:lnTo>
                    <a:pt x="46" y="235"/>
                  </a:lnTo>
                  <a:lnTo>
                    <a:pt x="45" y="234"/>
                  </a:lnTo>
                  <a:lnTo>
                    <a:pt x="45" y="232"/>
                  </a:lnTo>
                  <a:lnTo>
                    <a:pt x="45" y="231"/>
                  </a:lnTo>
                  <a:lnTo>
                    <a:pt x="46" y="230"/>
                  </a:lnTo>
                  <a:lnTo>
                    <a:pt x="45" y="231"/>
                  </a:lnTo>
                  <a:lnTo>
                    <a:pt x="46" y="231"/>
                  </a:lnTo>
                  <a:lnTo>
                    <a:pt x="46" y="232"/>
                  </a:lnTo>
                  <a:lnTo>
                    <a:pt x="47" y="232"/>
                  </a:lnTo>
                  <a:lnTo>
                    <a:pt x="47" y="234"/>
                  </a:lnTo>
                  <a:lnTo>
                    <a:pt x="49" y="232"/>
                  </a:lnTo>
                  <a:lnTo>
                    <a:pt x="49" y="234"/>
                  </a:lnTo>
                  <a:lnTo>
                    <a:pt x="50" y="234"/>
                  </a:lnTo>
                  <a:lnTo>
                    <a:pt x="51" y="234"/>
                  </a:lnTo>
                  <a:lnTo>
                    <a:pt x="52" y="232"/>
                  </a:lnTo>
                  <a:lnTo>
                    <a:pt x="52" y="231"/>
                  </a:lnTo>
                  <a:lnTo>
                    <a:pt x="52" y="230"/>
                  </a:lnTo>
                  <a:lnTo>
                    <a:pt x="53" y="229"/>
                  </a:lnTo>
                  <a:lnTo>
                    <a:pt x="53" y="230"/>
                  </a:lnTo>
                  <a:lnTo>
                    <a:pt x="53" y="231"/>
                  </a:lnTo>
                  <a:lnTo>
                    <a:pt x="53" y="234"/>
                  </a:lnTo>
                  <a:lnTo>
                    <a:pt x="55" y="234"/>
                  </a:lnTo>
                  <a:lnTo>
                    <a:pt x="56" y="234"/>
                  </a:lnTo>
                  <a:lnTo>
                    <a:pt x="56" y="232"/>
                  </a:lnTo>
                  <a:lnTo>
                    <a:pt x="56" y="231"/>
                  </a:lnTo>
                  <a:lnTo>
                    <a:pt x="56" y="232"/>
                  </a:lnTo>
                  <a:lnTo>
                    <a:pt x="56" y="235"/>
                  </a:lnTo>
                  <a:lnTo>
                    <a:pt x="56" y="236"/>
                  </a:lnTo>
                  <a:lnTo>
                    <a:pt x="57" y="236"/>
                  </a:lnTo>
                  <a:lnTo>
                    <a:pt x="57" y="235"/>
                  </a:lnTo>
                  <a:lnTo>
                    <a:pt x="58" y="235"/>
                  </a:lnTo>
                  <a:lnTo>
                    <a:pt x="58" y="234"/>
                  </a:lnTo>
                  <a:lnTo>
                    <a:pt x="59" y="234"/>
                  </a:lnTo>
                  <a:lnTo>
                    <a:pt x="61" y="235"/>
                  </a:lnTo>
                  <a:lnTo>
                    <a:pt x="62" y="235"/>
                  </a:lnTo>
                  <a:lnTo>
                    <a:pt x="62" y="234"/>
                  </a:lnTo>
                  <a:lnTo>
                    <a:pt x="63" y="234"/>
                  </a:lnTo>
                  <a:lnTo>
                    <a:pt x="63" y="232"/>
                  </a:lnTo>
                  <a:lnTo>
                    <a:pt x="64" y="232"/>
                  </a:lnTo>
                  <a:lnTo>
                    <a:pt x="65" y="234"/>
                  </a:lnTo>
                  <a:lnTo>
                    <a:pt x="65" y="232"/>
                  </a:lnTo>
                  <a:lnTo>
                    <a:pt x="67" y="232"/>
                  </a:lnTo>
                  <a:lnTo>
                    <a:pt x="68" y="232"/>
                  </a:lnTo>
                  <a:lnTo>
                    <a:pt x="68" y="231"/>
                  </a:lnTo>
                  <a:lnTo>
                    <a:pt x="69" y="231"/>
                  </a:lnTo>
                  <a:lnTo>
                    <a:pt x="70" y="231"/>
                  </a:lnTo>
                  <a:lnTo>
                    <a:pt x="70" y="232"/>
                  </a:lnTo>
                  <a:lnTo>
                    <a:pt x="71" y="232"/>
                  </a:lnTo>
                  <a:lnTo>
                    <a:pt x="71" y="234"/>
                  </a:lnTo>
                  <a:lnTo>
                    <a:pt x="71" y="235"/>
                  </a:lnTo>
                  <a:lnTo>
                    <a:pt x="71" y="236"/>
                  </a:lnTo>
                  <a:lnTo>
                    <a:pt x="70" y="236"/>
                  </a:lnTo>
                  <a:lnTo>
                    <a:pt x="69" y="236"/>
                  </a:lnTo>
                  <a:lnTo>
                    <a:pt x="69" y="235"/>
                  </a:lnTo>
                  <a:lnTo>
                    <a:pt x="68" y="235"/>
                  </a:lnTo>
                  <a:lnTo>
                    <a:pt x="68" y="236"/>
                  </a:lnTo>
                  <a:lnTo>
                    <a:pt x="68" y="237"/>
                  </a:lnTo>
                  <a:lnTo>
                    <a:pt x="69" y="237"/>
                  </a:lnTo>
                  <a:lnTo>
                    <a:pt x="68" y="237"/>
                  </a:lnTo>
                  <a:lnTo>
                    <a:pt x="68" y="236"/>
                  </a:lnTo>
                  <a:lnTo>
                    <a:pt x="67" y="236"/>
                  </a:lnTo>
                  <a:lnTo>
                    <a:pt x="65" y="237"/>
                  </a:lnTo>
                  <a:lnTo>
                    <a:pt x="65" y="238"/>
                  </a:lnTo>
                  <a:lnTo>
                    <a:pt x="67" y="238"/>
                  </a:lnTo>
                  <a:lnTo>
                    <a:pt x="65" y="238"/>
                  </a:lnTo>
                  <a:lnTo>
                    <a:pt x="64" y="238"/>
                  </a:lnTo>
                  <a:lnTo>
                    <a:pt x="64" y="240"/>
                  </a:lnTo>
                  <a:lnTo>
                    <a:pt x="67" y="241"/>
                  </a:lnTo>
                  <a:lnTo>
                    <a:pt x="68" y="240"/>
                  </a:lnTo>
                  <a:lnTo>
                    <a:pt x="69" y="240"/>
                  </a:lnTo>
                  <a:lnTo>
                    <a:pt x="69" y="238"/>
                  </a:lnTo>
                  <a:lnTo>
                    <a:pt x="70" y="238"/>
                  </a:lnTo>
                  <a:lnTo>
                    <a:pt x="71" y="238"/>
                  </a:lnTo>
                  <a:lnTo>
                    <a:pt x="73" y="238"/>
                  </a:lnTo>
                  <a:lnTo>
                    <a:pt x="74" y="238"/>
                  </a:lnTo>
                  <a:lnTo>
                    <a:pt x="74" y="237"/>
                  </a:lnTo>
                  <a:lnTo>
                    <a:pt x="74" y="236"/>
                  </a:lnTo>
                  <a:lnTo>
                    <a:pt x="75" y="235"/>
                  </a:lnTo>
                  <a:lnTo>
                    <a:pt x="77" y="235"/>
                  </a:lnTo>
                  <a:lnTo>
                    <a:pt x="79" y="235"/>
                  </a:lnTo>
                  <a:lnTo>
                    <a:pt x="80" y="235"/>
                  </a:lnTo>
                  <a:lnTo>
                    <a:pt x="80" y="236"/>
                  </a:lnTo>
                  <a:lnTo>
                    <a:pt x="79" y="236"/>
                  </a:lnTo>
                  <a:lnTo>
                    <a:pt x="79" y="237"/>
                  </a:lnTo>
                  <a:lnTo>
                    <a:pt x="77" y="236"/>
                  </a:lnTo>
                  <a:lnTo>
                    <a:pt x="77" y="237"/>
                  </a:lnTo>
                  <a:lnTo>
                    <a:pt x="76" y="237"/>
                  </a:lnTo>
                  <a:lnTo>
                    <a:pt x="75" y="238"/>
                  </a:lnTo>
                  <a:lnTo>
                    <a:pt x="76" y="240"/>
                  </a:lnTo>
                  <a:lnTo>
                    <a:pt x="76" y="241"/>
                  </a:lnTo>
                  <a:lnTo>
                    <a:pt x="77" y="241"/>
                  </a:lnTo>
                  <a:lnTo>
                    <a:pt x="79" y="241"/>
                  </a:lnTo>
                  <a:lnTo>
                    <a:pt x="79" y="240"/>
                  </a:lnTo>
                  <a:lnTo>
                    <a:pt x="80" y="238"/>
                  </a:lnTo>
                  <a:lnTo>
                    <a:pt x="80" y="237"/>
                  </a:lnTo>
                  <a:lnTo>
                    <a:pt x="81" y="237"/>
                  </a:lnTo>
                  <a:lnTo>
                    <a:pt x="82" y="236"/>
                  </a:lnTo>
                  <a:lnTo>
                    <a:pt x="83" y="236"/>
                  </a:lnTo>
                  <a:lnTo>
                    <a:pt x="82" y="237"/>
                  </a:lnTo>
                  <a:lnTo>
                    <a:pt x="82" y="238"/>
                  </a:lnTo>
                  <a:lnTo>
                    <a:pt x="83" y="238"/>
                  </a:lnTo>
                  <a:lnTo>
                    <a:pt x="85" y="237"/>
                  </a:lnTo>
                  <a:lnTo>
                    <a:pt x="83" y="238"/>
                  </a:lnTo>
                  <a:lnTo>
                    <a:pt x="83" y="240"/>
                  </a:lnTo>
                  <a:lnTo>
                    <a:pt x="82" y="240"/>
                  </a:lnTo>
                  <a:lnTo>
                    <a:pt x="81" y="241"/>
                  </a:lnTo>
                  <a:lnTo>
                    <a:pt x="80" y="241"/>
                  </a:lnTo>
                  <a:lnTo>
                    <a:pt x="79" y="241"/>
                  </a:lnTo>
                  <a:lnTo>
                    <a:pt x="79" y="242"/>
                  </a:lnTo>
                  <a:lnTo>
                    <a:pt x="79" y="243"/>
                  </a:lnTo>
                  <a:lnTo>
                    <a:pt x="77" y="243"/>
                  </a:lnTo>
                  <a:lnTo>
                    <a:pt x="76" y="243"/>
                  </a:lnTo>
                  <a:lnTo>
                    <a:pt x="75" y="243"/>
                  </a:lnTo>
                  <a:lnTo>
                    <a:pt x="75" y="242"/>
                  </a:lnTo>
                  <a:lnTo>
                    <a:pt x="74" y="242"/>
                  </a:lnTo>
                  <a:lnTo>
                    <a:pt x="73" y="242"/>
                  </a:lnTo>
                  <a:lnTo>
                    <a:pt x="73" y="243"/>
                  </a:lnTo>
                  <a:lnTo>
                    <a:pt x="74" y="243"/>
                  </a:lnTo>
                  <a:lnTo>
                    <a:pt x="74" y="244"/>
                  </a:lnTo>
                  <a:lnTo>
                    <a:pt x="75" y="244"/>
                  </a:lnTo>
                  <a:lnTo>
                    <a:pt x="75" y="246"/>
                  </a:lnTo>
                  <a:lnTo>
                    <a:pt x="75" y="247"/>
                  </a:lnTo>
                  <a:lnTo>
                    <a:pt x="74" y="246"/>
                  </a:lnTo>
                  <a:lnTo>
                    <a:pt x="74" y="244"/>
                  </a:lnTo>
                  <a:lnTo>
                    <a:pt x="71" y="244"/>
                  </a:lnTo>
                  <a:lnTo>
                    <a:pt x="70" y="246"/>
                  </a:lnTo>
                  <a:lnTo>
                    <a:pt x="69" y="246"/>
                  </a:lnTo>
                  <a:lnTo>
                    <a:pt x="69" y="244"/>
                  </a:lnTo>
                  <a:lnTo>
                    <a:pt x="68" y="246"/>
                  </a:lnTo>
                  <a:lnTo>
                    <a:pt x="68" y="244"/>
                  </a:lnTo>
                  <a:lnTo>
                    <a:pt x="67" y="246"/>
                  </a:lnTo>
                  <a:lnTo>
                    <a:pt x="67" y="247"/>
                  </a:lnTo>
                  <a:lnTo>
                    <a:pt x="67" y="248"/>
                  </a:lnTo>
                  <a:lnTo>
                    <a:pt x="65" y="249"/>
                  </a:lnTo>
                  <a:lnTo>
                    <a:pt x="65" y="248"/>
                  </a:lnTo>
                  <a:lnTo>
                    <a:pt x="65" y="247"/>
                  </a:lnTo>
                  <a:lnTo>
                    <a:pt x="64" y="247"/>
                  </a:lnTo>
                  <a:lnTo>
                    <a:pt x="63" y="247"/>
                  </a:lnTo>
                  <a:lnTo>
                    <a:pt x="63" y="246"/>
                  </a:lnTo>
                  <a:lnTo>
                    <a:pt x="62" y="246"/>
                  </a:lnTo>
                  <a:lnTo>
                    <a:pt x="61" y="247"/>
                  </a:lnTo>
                  <a:lnTo>
                    <a:pt x="59" y="247"/>
                  </a:lnTo>
                  <a:lnTo>
                    <a:pt x="58" y="247"/>
                  </a:lnTo>
                  <a:lnTo>
                    <a:pt x="57" y="248"/>
                  </a:lnTo>
                  <a:lnTo>
                    <a:pt x="57" y="247"/>
                  </a:lnTo>
                  <a:lnTo>
                    <a:pt x="56" y="247"/>
                  </a:lnTo>
                  <a:lnTo>
                    <a:pt x="55" y="247"/>
                  </a:lnTo>
                  <a:lnTo>
                    <a:pt x="55" y="248"/>
                  </a:lnTo>
                  <a:lnTo>
                    <a:pt x="53" y="248"/>
                  </a:lnTo>
                  <a:lnTo>
                    <a:pt x="55" y="249"/>
                  </a:lnTo>
                  <a:lnTo>
                    <a:pt x="56" y="249"/>
                  </a:lnTo>
                  <a:lnTo>
                    <a:pt x="56" y="250"/>
                  </a:lnTo>
                  <a:lnTo>
                    <a:pt x="57" y="250"/>
                  </a:lnTo>
                  <a:lnTo>
                    <a:pt x="58" y="252"/>
                  </a:lnTo>
                  <a:lnTo>
                    <a:pt x="57" y="252"/>
                  </a:lnTo>
                  <a:lnTo>
                    <a:pt x="57" y="253"/>
                  </a:lnTo>
                  <a:lnTo>
                    <a:pt x="58" y="253"/>
                  </a:lnTo>
                  <a:lnTo>
                    <a:pt x="59" y="253"/>
                  </a:lnTo>
                  <a:lnTo>
                    <a:pt x="59" y="252"/>
                  </a:lnTo>
                  <a:lnTo>
                    <a:pt x="59" y="250"/>
                  </a:lnTo>
                  <a:lnTo>
                    <a:pt x="61" y="250"/>
                  </a:lnTo>
                  <a:lnTo>
                    <a:pt x="61" y="252"/>
                  </a:lnTo>
                  <a:lnTo>
                    <a:pt x="62" y="252"/>
                  </a:lnTo>
                  <a:lnTo>
                    <a:pt x="63" y="252"/>
                  </a:lnTo>
                  <a:lnTo>
                    <a:pt x="64" y="252"/>
                  </a:lnTo>
                  <a:lnTo>
                    <a:pt x="63" y="253"/>
                  </a:lnTo>
                  <a:lnTo>
                    <a:pt x="62" y="253"/>
                  </a:lnTo>
                  <a:lnTo>
                    <a:pt x="61" y="254"/>
                  </a:lnTo>
                  <a:lnTo>
                    <a:pt x="62" y="254"/>
                  </a:lnTo>
                  <a:lnTo>
                    <a:pt x="63" y="254"/>
                  </a:lnTo>
                  <a:lnTo>
                    <a:pt x="63" y="255"/>
                  </a:lnTo>
                  <a:lnTo>
                    <a:pt x="64" y="254"/>
                  </a:lnTo>
                  <a:lnTo>
                    <a:pt x="65" y="254"/>
                  </a:lnTo>
                  <a:lnTo>
                    <a:pt x="65" y="253"/>
                  </a:lnTo>
                  <a:lnTo>
                    <a:pt x="67" y="253"/>
                  </a:lnTo>
                  <a:lnTo>
                    <a:pt x="68" y="253"/>
                  </a:lnTo>
                  <a:lnTo>
                    <a:pt x="68" y="254"/>
                  </a:lnTo>
                  <a:lnTo>
                    <a:pt x="67" y="254"/>
                  </a:lnTo>
                  <a:lnTo>
                    <a:pt x="65" y="255"/>
                  </a:lnTo>
                  <a:lnTo>
                    <a:pt x="64" y="256"/>
                  </a:lnTo>
                  <a:lnTo>
                    <a:pt x="64" y="258"/>
                  </a:lnTo>
                  <a:lnTo>
                    <a:pt x="65" y="258"/>
                  </a:lnTo>
                  <a:lnTo>
                    <a:pt x="64" y="259"/>
                  </a:lnTo>
                  <a:lnTo>
                    <a:pt x="63" y="259"/>
                  </a:lnTo>
                  <a:lnTo>
                    <a:pt x="63" y="258"/>
                  </a:lnTo>
                  <a:lnTo>
                    <a:pt x="62" y="259"/>
                  </a:lnTo>
                  <a:lnTo>
                    <a:pt x="62" y="260"/>
                  </a:lnTo>
                  <a:lnTo>
                    <a:pt x="63" y="260"/>
                  </a:lnTo>
                  <a:lnTo>
                    <a:pt x="62" y="261"/>
                  </a:lnTo>
                  <a:lnTo>
                    <a:pt x="61" y="261"/>
                  </a:lnTo>
                  <a:lnTo>
                    <a:pt x="61" y="262"/>
                  </a:lnTo>
                  <a:lnTo>
                    <a:pt x="59" y="262"/>
                  </a:lnTo>
                  <a:lnTo>
                    <a:pt x="58" y="262"/>
                  </a:lnTo>
                  <a:lnTo>
                    <a:pt x="58" y="264"/>
                  </a:lnTo>
                  <a:lnTo>
                    <a:pt x="59" y="266"/>
                  </a:lnTo>
                  <a:lnTo>
                    <a:pt x="59" y="267"/>
                  </a:lnTo>
                  <a:lnTo>
                    <a:pt x="58" y="266"/>
                  </a:lnTo>
                  <a:lnTo>
                    <a:pt x="57" y="266"/>
                  </a:lnTo>
                  <a:lnTo>
                    <a:pt x="56" y="266"/>
                  </a:lnTo>
                  <a:lnTo>
                    <a:pt x="55" y="266"/>
                  </a:lnTo>
                  <a:lnTo>
                    <a:pt x="55" y="267"/>
                  </a:lnTo>
                  <a:lnTo>
                    <a:pt x="55" y="268"/>
                  </a:lnTo>
                  <a:lnTo>
                    <a:pt x="56" y="267"/>
                  </a:lnTo>
                  <a:lnTo>
                    <a:pt x="56" y="268"/>
                  </a:lnTo>
                  <a:lnTo>
                    <a:pt x="56" y="270"/>
                  </a:lnTo>
                  <a:lnTo>
                    <a:pt x="57" y="270"/>
                  </a:lnTo>
                  <a:lnTo>
                    <a:pt x="58" y="270"/>
                  </a:lnTo>
                  <a:lnTo>
                    <a:pt x="58" y="268"/>
                  </a:lnTo>
                  <a:lnTo>
                    <a:pt x="59" y="268"/>
                  </a:lnTo>
                  <a:lnTo>
                    <a:pt x="61" y="270"/>
                  </a:lnTo>
                  <a:lnTo>
                    <a:pt x="62" y="268"/>
                  </a:lnTo>
                  <a:lnTo>
                    <a:pt x="63" y="270"/>
                  </a:lnTo>
                  <a:lnTo>
                    <a:pt x="64" y="270"/>
                  </a:lnTo>
                  <a:lnTo>
                    <a:pt x="65" y="271"/>
                  </a:lnTo>
                  <a:lnTo>
                    <a:pt x="67" y="270"/>
                  </a:lnTo>
                  <a:lnTo>
                    <a:pt x="68" y="270"/>
                  </a:lnTo>
                  <a:lnTo>
                    <a:pt x="69" y="270"/>
                  </a:lnTo>
                  <a:lnTo>
                    <a:pt x="69" y="268"/>
                  </a:lnTo>
                  <a:lnTo>
                    <a:pt x="70" y="270"/>
                  </a:lnTo>
                  <a:lnTo>
                    <a:pt x="69" y="271"/>
                  </a:lnTo>
                  <a:lnTo>
                    <a:pt x="69" y="272"/>
                  </a:lnTo>
                  <a:lnTo>
                    <a:pt x="70" y="272"/>
                  </a:lnTo>
                  <a:lnTo>
                    <a:pt x="70" y="273"/>
                  </a:lnTo>
                  <a:lnTo>
                    <a:pt x="69" y="273"/>
                  </a:lnTo>
                  <a:lnTo>
                    <a:pt x="68" y="273"/>
                  </a:lnTo>
                  <a:lnTo>
                    <a:pt x="67" y="273"/>
                  </a:lnTo>
                  <a:lnTo>
                    <a:pt x="67" y="274"/>
                  </a:lnTo>
                  <a:lnTo>
                    <a:pt x="65" y="274"/>
                  </a:lnTo>
                  <a:lnTo>
                    <a:pt x="65" y="276"/>
                  </a:lnTo>
                  <a:lnTo>
                    <a:pt x="67" y="276"/>
                  </a:lnTo>
                  <a:lnTo>
                    <a:pt x="67" y="277"/>
                  </a:lnTo>
                  <a:lnTo>
                    <a:pt x="68" y="277"/>
                  </a:lnTo>
                  <a:lnTo>
                    <a:pt x="69" y="278"/>
                  </a:lnTo>
                  <a:lnTo>
                    <a:pt x="70" y="277"/>
                  </a:lnTo>
                  <a:lnTo>
                    <a:pt x="71" y="277"/>
                  </a:lnTo>
                  <a:lnTo>
                    <a:pt x="73" y="276"/>
                  </a:lnTo>
                  <a:lnTo>
                    <a:pt x="73" y="274"/>
                  </a:lnTo>
                  <a:lnTo>
                    <a:pt x="74" y="274"/>
                  </a:lnTo>
                  <a:lnTo>
                    <a:pt x="74" y="273"/>
                  </a:lnTo>
                  <a:lnTo>
                    <a:pt x="75" y="272"/>
                  </a:lnTo>
                  <a:lnTo>
                    <a:pt x="75" y="271"/>
                  </a:lnTo>
                  <a:lnTo>
                    <a:pt x="76" y="270"/>
                  </a:lnTo>
                  <a:lnTo>
                    <a:pt x="76" y="268"/>
                  </a:lnTo>
                  <a:lnTo>
                    <a:pt x="76" y="267"/>
                  </a:lnTo>
                  <a:lnTo>
                    <a:pt x="77" y="267"/>
                  </a:lnTo>
                  <a:lnTo>
                    <a:pt x="77" y="268"/>
                  </a:lnTo>
                  <a:lnTo>
                    <a:pt x="77" y="270"/>
                  </a:lnTo>
                  <a:lnTo>
                    <a:pt x="77" y="271"/>
                  </a:lnTo>
                  <a:lnTo>
                    <a:pt x="76" y="272"/>
                  </a:lnTo>
                  <a:lnTo>
                    <a:pt x="76" y="273"/>
                  </a:lnTo>
                  <a:lnTo>
                    <a:pt x="77" y="273"/>
                  </a:lnTo>
                  <a:lnTo>
                    <a:pt x="79" y="273"/>
                  </a:lnTo>
                  <a:lnTo>
                    <a:pt x="79" y="274"/>
                  </a:lnTo>
                  <a:lnTo>
                    <a:pt x="80" y="274"/>
                  </a:lnTo>
                  <a:lnTo>
                    <a:pt x="81" y="273"/>
                  </a:lnTo>
                  <a:lnTo>
                    <a:pt x="81" y="272"/>
                  </a:lnTo>
                  <a:lnTo>
                    <a:pt x="80" y="272"/>
                  </a:lnTo>
                  <a:lnTo>
                    <a:pt x="81" y="272"/>
                  </a:lnTo>
                  <a:lnTo>
                    <a:pt x="82" y="272"/>
                  </a:lnTo>
                  <a:lnTo>
                    <a:pt x="83" y="273"/>
                  </a:lnTo>
                  <a:lnTo>
                    <a:pt x="83" y="274"/>
                  </a:lnTo>
                  <a:lnTo>
                    <a:pt x="83" y="276"/>
                  </a:lnTo>
                  <a:lnTo>
                    <a:pt x="85" y="276"/>
                  </a:lnTo>
                  <a:lnTo>
                    <a:pt x="86" y="276"/>
                  </a:lnTo>
                  <a:lnTo>
                    <a:pt x="86" y="274"/>
                  </a:lnTo>
                  <a:lnTo>
                    <a:pt x="87" y="274"/>
                  </a:lnTo>
                  <a:lnTo>
                    <a:pt x="88" y="274"/>
                  </a:lnTo>
                  <a:lnTo>
                    <a:pt x="88" y="273"/>
                  </a:lnTo>
                  <a:lnTo>
                    <a:pt x="89" y="272"/>
                  </a:lnTo>
                  <a:lnTo>
                    <a:pt x="88" y="272"/>
                  </a:lnTo>
                  <a:lnTo>
                    <a:pt x="87" y="273"/>
                  </a:lnTo>
                  <a:lnTo>
                    <a:pt x="87" y="272"/>
                  </a:lnTo>
                  <a:lnTo>
                    <a:pt x="88" y="271"/>
                  </a:lnTo>
                  <a:lnTo>
                    <a:pt x="89" y="271"/>
                  </a:lnTo>
                  <a:lnTo>
                    <a:pt x="91" y="271"/>
                  </a:lnTo>
                  <a:lnTo>
                    <a:pt x="91" y="270"/>
                  </a:lnTo>
                  <a:lnTo>
                    <a:pt x="91" y="268"/>
                  </a:lnTo>
                  <a:lnTo>
                    <a:pt x="89" y="268"/>
                  </a:lnTo>
                  <a:lnTo>
                    <a:pt x="91" y="267"/>
                  </a:lnTo>
                  <a:lnTo>
                    <a:pt x="91" y="266"/>
                  </a:lnTo>
                  <a:lnTo>
                    <a:pt x="91" y="265"/>
                  </a:lnTo>
                  <a:lnTo>
                    <a:pt x="92" y="265"/>
                  </a:lnTo>
                  <a:lnTo>
                    <a:pt x="92" y="264"/>
                  </a:lnTo>
                  <a:lnTo>
                    <a:pt x="93" y="264"/>
                  </a:lnTo>
                  <a:lnTo>
                    <a:pt x="93" y="262"/>
                  </a:lnTo>
                  <a:lnTo>
                    <a:pt x="92" y="262"/>
                  </a:lnTo>
                  <a:lnTo>
                    <a:pt x="92" y="261"/>
                  </a:lnTo>
                  <a:lnTo>
                    <a:pt x="92" y="260"/>
                  </a:lnTo>
                  <a:lnTo>
                    <a:pt x="93" y="261"/>
                  </a:lnTo>
                  <a:lnTo>
                    <a:pt x="94" y="261"/>
                  </a:lnTo>
                  <a:lnTo>
                    <a:pt x="94" y="262"/>
                  </a:lnTo>
                  <a:lnTo>
                    <a:pt x="94" y="264"/>
                  </a:lnTo>
                  <a:lnTo>
                    <a:pt x="94" y="265"/>
                  </a:lnTo>
                  <a:lnTo>
                    <a:pt x="96" y="265"/>
                  </a:lnTo>
                  <a:lnTo>
                    <a:pt x="96" y="266"/>
                  </a:lnTo>
                  <a:lnTo>
                    <a:pt x="98" y="266"/>
                  </a:lnTo>
                  <a:lnTo>
                    <a:pt x="99" y="266"/>
                  </a:lnTo>
                  <a:lnTo>
                    <a:pt x="99" y="265"/>
                  </a:lnTo>
                  <a:lnTo>
                    <a:pt x="99" y="264"/>
                  </a:lnTo>
                  <a:lnTo>
                    <a:pt x="98" y="262"/>
                  </a:lnTo>
                  <a:lnTo>
                    <a:pt x="97" y="262"/>
                  </a:lnTo>
                  <a:lnTo>
                    <a:pt x="96" y="261"/>
                  </a:lnTo>
                  <a:lnTo>
                    <a:pt x="94" y="260"/>
                  </a:lnTo>
                  <a:lnTo>
                    <a:pt x="94" y="259"/>
                  </a:lnTo>
                  <a:lnTo>
                    <a:pt x="96" y="259"/>
                  </a:lnTo>
                  <a:lnTo>
                    <a:pt x="96" y="258"/>
                  </a:lnTo>
                  <a:lnTo>
                    <a:pt x="97" y="258"/>
                  </a:lnTo>
                  <a:lnTo>
                    <a:pt x="98" y="256"/>
                  </a:lnTo>
                  <a:lnTo>
                    <a:pt x="99" y="256"/>
                  </a:lnTo>
                  <a:lnTo>
                    <a:pt x="99" y="255"/>
                  </a:lnTo>
                  <a:lnTo>
                    <a:pt x="98" y="256"/>
                  </a:lnTo>
                  <a:lnTo>
                    <a:pt x="97" y="256"/>
                  </a:lnTo>
                  <a:lnTo>
                    <a:pt x="97" y="255"/>
                  </a:lnTo>
                  <a:lnTo>
                    <a:pt x="98" y="255"/>
                  </a:lnTo>
                  <a:lnTo>
                    <a:pt x="99" y="255"/>
                  </a:lnTo>
                  <a:lnTo>
                    <a:pt x="100" y="255"/>
                  </a:lnTo>
                  <a:lnTo>
                    <a:pt x="102" y="255"/>
                  </a:lnTo>
                  <a:lnTo>
                    <a:pt x="103" y="255"/>
                  </a:lnTo>
                  <a:lnTo>
                    <a:pt x="103" y="254"/>
                  </a:lnTo>
                  <a:lnTo>
                    <a:pt x="102" y="254"/>
                  </a:lnTo>
                  <a:lnTo>
                    <a:pt x="100" y="254"/>
                  </a:lnTo>
                  <a:lnTo>
                    <a:pt x="102" y="253"/>
                  </a:lnTo>
                  <a:lnTo>
                    <a:pt x="103" y="254"/>
                  </a:lnTo>
                  <a:lnTo>
                    <a:pt x="104" y="255"/>
                  </a:lnTo>
                  <a:lnTo>
                    <a:pt x="105" y="255"/>
                  </a:lnTo>
                  <a:lnTo>
                    <a:pt x="106" y="254"/>
                  </a:lnTo>
                  <a:lnTo>
                    <a:pt x="106" y="253"/>
                  </a:lnTo>
                  <a:lnTo>
                    <a:pt x="105" y="253"/>
                  </a:lnTo>
                  <a:lnTo>
                    <a:pt x="105" y="252"/>
                  </a:lnTo>
                  <a:lnTo>
                    <a:pt x="104" y="252"/>
                  </a:lnTo>
                  <a:lnTo>
                    <a:pt x="103" y="252"/>
                  </a:lnTo>
                  <a:lnTo>
                    <a:pt x="102" y="252"/>
                  </a:lnTo>
                  <a:lnTo>
                    <a:pt x="100" y="252"/>
                  </a:lnTo>
                  <a:lnTo>
                    <a:pt x="99" y="250"/>
                  </a:lnTo>
                  <a:lnTo>
                    <a:pt x="99" y="249"/>
                  </a:lnTo>
                  <a:lnTo>
                    <a:pt x="99" y="250"/>
                  </a:lnTo>
                  <a:lnTo>
                    <a:pt x="102" y="250"/>
                  </a:lnTo>
                  <a:lnTo>
                    <a:pt x="103" y="250"/>
                  </a:lnTo>
                  <a:lnTo>
                    <a:pt x="104" y="249"/>
                  </a:lnTo>
                  <a:lnTo>
                    <a:pt x="104" y="248"/>
                  </a:lnTo>
                  <a:lnTo>
                    <a:pt x="104" y="247"/>
                  </a:lnTo>
                  <a:lnTo>
                    <a:pt x="103" y="247"/>
                  </a:lnTo>
                  <a:lnTo>
                    <a:pt x="103" y="248"/>
                  </a:lnTo>
                  <a:lnTo>
                    <a:pt x="102" y="247"/>
                  </a:lnTo>
                  <a:lnTo>
                    <a:pt x="102" y="248"/>
                  </a:lnTo>
                  <a:lnTo>
                    <a:pt x="100" y="248"/>
                  </a:lnTo>
                  <a:lnTo>
                    <a:pt x="99" y="248"/>
                  </a:lnTo>
                  <a:lnTo>
                    <a:pt x="98" y="249"/>
                  </a:lnTo>
                  <a:lnTo>
                    <a:pt x="98" y="250"/>
                  </a:lnTo>
                  <a:lnTo>
                    <a:pt x="97" y="250"/>
                  </a:lnTo>
                  <a:lnTo>
                    <a:pt x="98" y="249"/>
                  </a:lnTo>
                  <a:lnTo>
                    <a:pt x="98" y="248"/>
                  </a:lnTo>
                  <a:lnTo>
                    <a:pt x="99" y="247"/>
                  </a:lnTo>
                  <a:lnTo>
                    <a:pt x="100" y="247"/>
                  </a:lnTo>
                  <a:lnTo>
                    <a:pt x="99" y="246"/>
                  </a:lnTo>
                  <a:lnTo>
                    <a:pt x="98" y="247"/>
                  </a:lnTo>
                  <a:lnTo>
                    <a:pt x="98" y="246"/>
                  </a:lnTo>
                  <a:lnTo>
                    <a:pt x="97" y="244"/>
                  </a:lnTo>
                  <a:lnTo>
                    <a:pt x="97" y="246"/>
                  </a:lnTo>
                  <a:lnTo>
                    <a:pt x="97" y="247"/>
                  </a:lnTo>
                  <a:lnTo>
                    <a:pt x="96" y="247"/>
                  </a:lnTo>
                  <a:lnTo>
                    <a:pt x="96" y="246"/>
                  </a:lnTo>
                  <a:lnTo>
                    <a:pt x="96" y="244"/>
                  </a:lnTo>
                  <a:lnTo>
                    <a:pt x="94" y="244"/>
                  </a:lnTo>
                  <a:lnTo>
                    <a:pt x="94" y="243"/>
                  </a:lnTo>
                  <a:lnTo>
                    <a:pt x="93" y="242"/>
                  </a:lnTo>
                  <a:lnTo>
                    <a:pt x="93" y="241"/>
                  </a:lnTo>
                  <a:lnTo>
                    <a:pt x="94" y="240"/>
                  </a:lnTo>
                  <a:lnTo>
                    <a:pt x="96" y="241"/>
                  </a:lnTo>
                  <a:lnTo>
                    <a:pt x="97" y="241"/>
                  </a:lnTo>
                  <a:lnTo>
                    <a:pt x="97" y="242"/>
                  </a:lnTo>
                  <a:lnTo>
                    <a:pt x="98" y="242"/>
                  </a:lnTo>
                  <a:lnTo>
                    <a:pt x="99" y="242"/>
                  </a:lnTo>
                  <a:lnTo>
                    <a:pt x="99" y="241"/>
                  </a:lnTo>
                  <a:lnTo>
                    <a:pt x="99" y="240"/>
                  </a:lnTo>
                  <a:lnTo>
                    <a:pt x="100" y="240"/>
                  </a:lnTo>
                  <a:lnTo>
                    <a:pt x="99" y="240"/>
                  </a:lnTo>
                  <a:lnTo>
                    <a:pt x="98" y="240"/>
                  </a:lnTo>
                  <a:lnTo>
                    <a:pt x="97" y="240"/>
                  </a:lnTo>
                  <a:lnTo>
                    <a:pt x="96" y="240"/>
                  </a:lnTo>
                  <a:lnTo>
                    <a:pt x="94" y="238"/>
                  </a:lnTo>
                  <a:lnTo>
                    <a:pt x="93" y="237"/>
                  </a:lnTo>
                  <a:lnTo>
                    <a:pt x="93" y="236"/>
                  </a:lnTo>
                  <a:lnTo>
                    <a:pt x="93" y="235"/>
                  </a:lnTo>
                  <a:lnTo>
                    <a:pt x="92" y="235"/>
                  </a:lnTo>
                  <a:lnTo>
                    <a:pt x="91" y="234"/>
                  </a:lnTo>
                  <a:lnTo>
                    <a:pt x="91" y="232"/>
                  </a:lnTo>
                  <a:lnTo>
                    <a:pt x="91" y="231"/>
                  </a:lnTo>
                  <a:lnTo>
                    <a:pt x="91" y="230"/>
                  </a:lnTo>
                  <a:lnTo>
                    <a:pt x="91" y="229"/>
                  </a:lnTo>
                  <a:lnTo>
                    <a:pt x="92" y="228"/>
                  </a:lnTo>
                  <a:lnTo>
                    <a:pt x="92" y="226"/>
                  </a:lnTo>
                  <a:lnTo>
                    <a:pt x="93" y="225"/>
                  </a:lnTo>
                  <a:lnTo>
                    <a:pt x="94" y="226"/>
                  </a:lnTo>
                  <a:lnTo>
                    <a:pt x="96" y="228"/>
                  </a:lnTo>
                  <a:lnTo>
                    <a:pt x="94" y="229"/>
                  </a:lnTo>
                  <a:lnTo>
                    <a:pt x="94" y="228"/>
                  </a:lnTo>
                  <a:lnTo>
                    <a:pt x="93" y="228"/>
                  </a:lnTo>
                  <a:lnTo>
                    <a:pt x="93" y="229"/>
                  </a:lnTo>
                  <a:lnTo>
                    <a:pt x="92" y="229"/>
                  </a:lnTo>
                  <a:lnTo>
                    <a:pt x="93" y="229"/>
                  </a:lnTo>
                  <a:lnTo>
                    <a:pt x="93" y="230"/>
                  </a:lnTo>
                  <a:lnTo>
                    <a:pt x="93" y="231"/>
                  </a:lnTo>
                  <a:lnTo>
                    <a:pt x="94" y="231"/>
                  </a:lnTo>
                  <a:lnTo>
                    <a:pt x="94" y="230"/>
                  </a:lnTo>
                  <a:lnTo>
                    <a:pt x="96" y="229"/>
                  </a:lnTo>
                  <a:lnTo>
                    <a:pt x="97" y="229"/>
                  </a:lnTo>
                  <a:lnTo>
                    <a:pt x="98" y="229"/>
                  </a:lnTo>
                  <a:lnTo>
                    <a:pt x="99" y="229"/>
                  </a:lnTo>
                  <a:lnTo>
                    <a:pt x="100" y="229"/>
                  </a:lnTo>
                  <a:lnTo>
                    <a:pt x="100" y="230"/>
                  </a:lnTo>
                  <a:lnTo>
                    <a:pt x="100" y="231"/>
                  </a:lnTo>
                  <a:lnTo>
                    <a:pt x="99" y="231"/>
                  </a:lnTo>
                  <a:lnTo>
                    <a:pt x="98" y="231"/>
                  </a:lnTo>
                  <a:lnTo>
                    <a:pt x="97" y="231"/>
                  </a:lnTo>
                  <a:lnTo>
                    <a:pt x="97" y="232"/>
                  </a:lnTo>
                  <a:lnTo>
                    <a:pt x="98" y="234"/>
                  </a:lnTo>
                  <a:lnTo>
                    <a:pt x="99" y="235"/>
                  </a:lnTo>
                  <a:lnTo>
                    <a:pt x="100" y="235"/>
                  </a:lnTo>
                  <a:lnTo>
                    <a:pt x="102" y="235"/>
                  </a:lnTo>
                  <a:lnTo>
                    <a:pt x="100" y="234"/>
                  </a:lnTo>
                  <a:lnTo>
                    <a:pt x="102" y="234"/>
                  </a:lnTo>
                  <a:lnTo>
                    <a:pt x="102" y="232"/>
                  </a:lnTo>
                  <a:lnTo>
                    <a:pt x="102" y="231"/>
                  </a:lnTo>
                  <a:lnTo>
                    <a:pt x="103" y="230"/>
                  </a:lnTo>
                  <a:lnTo>
                    <a:pt x="104" y="231"/>
                  </a:lnTo>
                  <a:lnTo>
                    <a:pt x="105" y="231"/>
                  </a:lnTo>
                  <a:lnTo>
                    <a:pt x="106" y="231"/>
                  </a:lnTo>
                  <a:lnTo>
                    <a:pt x="108" y="231"/>
                  </a:lnTo>
                  <a:lnTo>
                    <a:pt x="108" y="230"/>
                  </a:lnTo>
                  <a:lnTo>
                    <a:pt x="108" y="229"/>
                  </a:lnTo>
                  <a:lnTo>
                    <a:pt x="106" y="229"/>
                  </a:lnTo>
                  <a:lnTo>
                    <a:pt x="105" y="229"/>
                  </a:lnTo>
                  <a:lnTo>
                    <a:pt x="106" y="229"/>
                  </a:lnTo>
                  <a:lnTo>
                    <a:pt x="108" y="229"/>
                  </a:lnTo>
                  <a:lnTo>
                    <a:pt x="109" y="229"/>
                  </a:lnTo>
                  <a:lnTo>
                    <a:pt x="110" y="228"/>
                  </a:lnTo>
                  <a:lnTo>
                    <a:pt x="111" y="229"/>
                  </a:lnTo>
                  <a:lnTo>
                    <a:pt x="112" y="228"/>
                  </a:lnTo>
                  <a:lnTo>
                    <a:pt x="111" y="228"/>
                  </a:lnTo>
                  <a:lnTo>
                    <a:pt x="111" y="226"/>
                  </a:lnTo>
                  <a:lnTo>
                    <a:pt x="112" y="226"/>
                  </a:lnTo>
                  <a:lnTo>
                    <a:pt x="114" y="226"/>
                  </a:lnTo>
                  <a:lnTo>
                    <a:pt x="114" y="228"/>
                  </a:lnTo>
                  <a:lnTo>
                    <a:pt x="112" y="229"/>
                  </a:lnTo>
                  <a:lnTo>
                    <a:pt x="114" y="229"/>
                  </a:lnTo>
                  <a:lnTo>
                    <a:pt x="115" y="228"/>
                  </a:lnTo>
                  <a:lnTo>
                    <a:pt x="115" y="226"/>
                  </a:lnTo>
                  <a:lnTo>
                    <a:pt x="115" y="225"/>
                  </a:lnTo>
                  <a:lnTo>
                    <a:pt x="115" y="226"/>
                  </a:lnTo>
                  <a:lnTo>
                    <a:pt x="116" y="226"/>
                  </a:lnTo>
                  <a:lnTo>
                    <a:pt x="115" y="228"/>
                  </a:lnTo>
                  <a:lnTo>
                    <a:pt x="115" y="229"/>
                  </a:lnTo>
                  <a:lnTo>
                    <a:pt x="114" y="229"/>
                  </a:lnTo>
                  <a:lnTo>
                    <a:pt x="114" y="230"/>
                  </a:lnTo>
                  <a:lnTo>
                    <a:pt x="112" y="231"/>
                  </a:lnTo>
                  <a:lnTo>
                    <a:pt x="114" y="231"/>
                  </a:lnTo>
                  <a:lnTo>
                    <a:pt x="115" y="230"/>
                  </a:lnTo>
                  <a:lnTo>
                    <a:pt x="115" y="231"/>
                  </a:lnTo>
                  <a:lnTo>
                    <a:pt x="114" y="232"/>
                  </a:lnTo>
                  <a:lnTo>
                    <a:pt x="115" y="232"/>
                  </a:lnTo>
                  <a:lnTo>
                    <a:pt x="115" y="234"/>
                  </a:lnTo>
                  <a:lnTo>
                    <a:pt x="114" y="238"/>
                  </a:lnTo>
                  <a:lnTo>
                    <a:pt x="114" y="240"/>
                  </a:lnTo>
                  <a:lnTo>
                    <a:pt x="114" y="241"/>
                  </a:lnTo>
                  <a:lnTo>
                    <a:pt x="114" y="242"/>
                  </a:lnTo>
                  <a:lnTo>
                    <a:pt x="114" y="243"/>
                  </a:lnTo>
                  <a:lnTo>
                    <a:pt x="115" y="244"/>
                  </a:lnTo>
                  <a:lnTo>
                    <a:pt x="114" y="244"/>
                  </a:lnTo>
                  <a:lnTo>
                    <a:pt x="115" y="246"/>
                  </a:lnTo>
                  <a:lnTo>
                    <a:pt x="116" y="246"/>
                  </a:lnTo>
                  <a:lnTo>
                    <a:pt x="116" y="247"/>
                  </a:lnTo>
                  <a:lnTo>
                    <a:pt x="116" y="248"/>
                  </a:lnTo>
                  <a:lnTo>
                    <a:pt x="117" y="248"/>
                  </a:lnTo>
                  <a:lnTo>
                    <a:pt x="117" y="250"/>
                  </a:lnTo>
                  <a:lnTo>
                    <a:pt x="117" y="252"/>
                  </a:lnTo>
                  <a:lnTo>
                    <a:pt x="117" y="254"/>
                  </a:lnTo>
                  <a:lnTo>
                    <a:pt x="117" y="255"/>
                  </a:lnTo>
                  <a:lnTo>
                    <a:pt x="116" y="258"/>
                  </a:lnTo>
                  <a:lnTo>
                    <a:pt x="116" y="259"/>
                  </a:lnTo>
                  <a:lnTo>
                    <a:pt x="116" y="260"/>
                  </a:lnTo>
                  <a:lnTo>
                    <a:pt x="117" y="260"/>
                  </a:lnTo>
                  <a:lnTo>
                    <a:pt x="117" y="259"/>
                  </a:lnTo>
                  <a:lnTo>
                    <a:pt x="117" y="258"/>
                  </a:lnTo>
                  <a:lnTo>
                    <a:pt x="117" y="256"/>
                  </a:lnTo>
                  <a:lnTo>
                    <a:pt x="118" y="255"/>
                  </a:lnTo>
                  <a:lnTo>
                    <a:pt x="120" y="256"/>
                  </a:lnTo>
                  <a:lnTo>
                    <a:pt x="120" y="258"/>
                  </a:lnTo>
                  <a:lnTo>
                    <a:pt x="121" y="259"/>
                  </a:lnTo>
                  <a:lnTo>
                    <a:pt x="121" y="260"/>
                  </a:lnTo>
                  <a:lnTo>
                    <a:pt x="121" y="261"/>
                  </a:lnTo>
                  <a:lnTo>
                    <a:pt x="122" y="262"/>
                  </a:lnTo>
                  <a:lnTo>
                    <a:pt x="122" y="264"/>
                  </a:lnTo>
                  <a:lnTo>
                    <a:pt x="123" y="265"/>
                  </a:lnTo>
                  <a:lnTo>
                    <a:pt x="124" y="266"/>
                  </a:lnTo>
                  <a:lnTo>
                    <a:pt x="124" y="267"/>
                  </a:lnTo>
                  <a:lnTo>
                    <a:pt x="126" y="268"/>
                  </a:lnTo>
                  <a:lnTo>
                    <a:pt x="126" y="267"/>
                  </a:lnTo>
                  <a:lnTo>
                    <a:pt x="126" y="266"/>
                  </a:lnTo>
                  <a:lnTo>
                    <a:pt x="123" y="262"/>
                  </a:lnTo>
                  <a:lnTo>
                    <a:pt x="122" y="260"/>
                  </a:lnTo>
                  <a:lnTo>
                    <a:pt x="122" y="259"/>
                  </a:lnTo>
                  <a:lnTo>
                    <a:pt x="121" y="258"/>
                  </a:lnTo>
                  <a:lnTo>
                    <a:pt x="120" y="256"/>
                  </a:lnTo>
                  <a:lnTo>
                    <a:pt x="120" y="255"/>
                  </a:lnTo>
                  <a:lnTo>
                    <a:pt x="118" y="253"/>
                  </a:lnTo>
                  <a:lnTo>
                    <a:pt x="118" y="252"/>
                  </a:lnTo>
                  <a:lnTo>
                    <a:pt x="118" y="248"/>
                  </a:lnTo>
                  <a:lnTo>
                    <a:pt x="117" y="246"/>
                  </a:lnTo>
                  <a:lnTo>
                    <a:pt x="116" y="243"/>
                  </a:lnTo>
                  <a:lnTo>
                    <a:pt x="115" y="242"/>
                  </a:lnTo>
                  <a:lnTo>
                    <a:pt x="115" y="240"/>
                  </a:lnTo>
                  <a:lnTo>
                    <a:pt x="115" y="238"/>
                  </a:lnTo>
                  <a:lnTo>
                    <a:pt x="116" y="235"/>
                  </a:lnTo>
                  <a:lnTo>
                    <a:pt x="117" y="232"/>
                  </a:lnTo>
                  <a:lnTo>
                    <a:pt x="117" y="230"/>
                  </a:lnTo>
                  <a:lnTo>
                    <a:pt x="117" y="226"/>
                  </a:lnTo>
                  <a:lnTo>
                    <a:pt x="117" y="225"/>
                  </a:lnTo>
                  <a:lnTo>
                    <a:pt x="117" y="224"/>
                  </a:lnTo>
                  <a:lnTo>
                    <a:pt x="118" y="220"/>
                  </a:lnTo>
                  <a:lnTo>
                    <a:pt x="118" y="219"/>
                  </a:lnTo>
                  <a:lnTo>
                    <a:pt x="120" y="219"/>
                  </a:lnTo>
                  <a:lnTo>
                    <a:pt x="120" y="220"/>
                  </a:lnTo>
                  <a:lnTo>
                    <a:pt x="120" y="222"/>
                  </a:lnTo>
                  <a:lnTo>
                    <a:pt x="120" y="223"/>
                  </a:lnTo>
                  <a:lnTo>
                    <a:pt x="118" y="224"/>
                  </a:lnTo>
                  <a:lnTo>
                    <a:pt x="118" y="225"/>
                  </a:lnTo>
                  <a:lnTo>
                    <a:pt x="117" y="226"/>
                  </a:lnTo>
                  <a:lnTo>
                    <a:pt x="117" y="228"/>
                  </a:lnTo>
                  <a:lnTo>
                    <a:pt x="117" y="230"/>
                  </a:lnTo>
                  <a:lnTo>
                    <a:pt x="117" y="231"/>
                  </a:lnTo>
                  <a:lnTo>
                    <a:pt x="117" y="232"/>
                  </a:lnTo>
                  <a:lnTo>
                    <a:pt x="117" y="234"/>
                  </a:lnTo>
                  <a:lnTo>
                    <a:pt x="117" y="236"/>
                  </a:lnTo>
                  <a:lnTo>
                    <a:pt x="117" y="237"/>
                  </a:lnTo>
                  <a:lnTo>
                    <a:pt x="116" y="238"/>
                  </a:lnTo>
                  <a:lnTo>
                    <a:pt x="116" y="240"/>
                  </a:lnTo>
                  <a:lnTo>
                    <a:pt x="116" y="241"/>
                  </a:lnTo>
                  <a:lnTo>
                    <a:pt x="117" y="242"/>
                  </a:lnTo>
                  <a:lnTo>
                    <a:pt x="116" y="243"/>
                  </a:lnTo>
                  <a:lnTo>
                    <a:pt x="117" y="243"/>
                  </a:lnTo>
                  <a:lnTo>
                    <a:pt x="118" y="243"/>
                  </a:lnTo>
                  <a:lnTo>
                    <a:pt x="120" y="243"/>
                  </a:lnTo>
                  <a:lnTo>
                    <a:pt x="118" y="243"/>
                  </a:lnTo>
                  <a:lnTo>
                    <a:pt x="118" y="242"/>
                  </a:lnTo>
                  <a:lnTo>
                    <a:pt x="120" y="242"/>
                  </a:lnTo>
                  <a:lnTo>
                    <a:pt x="118" y="241"/>
                  </a:lnTo>
                  <a:lnTo>
                    <a:pt x="120" y="241"/>
                  </a:lnTo>
                  <a:lnTo>
                    <a:pt x="121" y="241"/>
                  </a:lnTo>
                  <a:lnTo>
                    <a:pt x="120" y="241"/>
                  </a:lnTo>
                  <a:lnTo>
                    <a:pt x="118" y="240"/>
                  </a:lnTo>
                  <a:lnTo>
                    <a:pt x="120" y="240"/>
                  </a:lnTo>
                  <a:lnTo>
                    <a:pt x="120" y="238"/>
                  </a:lnTo>
                  <a:lnTo>
                    <a:pt x="118" y="238"/>
                  </a:lnTo>
                  <a:lnTo>
                    <a:pt x="118" y="237"/>
                  </a:lnTo>
                  <a:lnTo>
                    <a:pt x="118" y="236"/>
                  </a:lnTo>
                  <a:lnTo>
                    <a:pt x="118" y="235"/>
                  </a:lnTo>
                  <a:lnTo>
                    <a:pt x="118" y="234"/>
                  </a:lnTo>
                  <a:lnTo>
                    <a:pt x="118" y="231"/>
                  </a:lnTo>
                  <a:lnTo>
                    <a:pt x="118" y="230"/>
                  </a:lnTo>
                  <a:lnTo>
                    <a:pt x="118" y="228"/>
                  </a:lnTo>
                  <a:lnTo>
                    <a:pt x="118" y="225"/>
                  </a:lnTo>
                  <a:lnTo>
                    <a:pt x="120" y="225"/>
                  </a:lnTo>
                  <a:lnTo>
                    <a:pt x="120" y="224"/>
                  </a:lnTo>
                  <a:lnTo>
                    <a:pt x="121" y="225"/>
                  </a:lnTo>
                  <a:lnTo>
                    <a:pt x="121" y="226"/>
                  </a:lnTo>
                  <a:lnTo>
                    <a:pt x="121" y="228"/>
                  </a:lnTo>
                  <a:lnTo>
                    <a:pt x="121" y="229"/>
                  </a:lnTo>
                  <a:lnTo>
                    <a:pt x="121" y="228"/>
                  </a:lnTo>
                  <a:lnTo>
                    <a:pt x="121" y="226"/>
                  </a:lnTo>
                  <a:lnTo>
                    <a:pt x="121" y="229"/>
                  </a:lnTo>
                  <a:lnTo>
                    <a:pt x="121" y="230"/>
                  </a:lnTo>
                  <a:lnTo>
                    <a:pt x="121" y="231"/>
                  </a:lnTo>
                  <a:lnTo>
                    <a:pt x="121" y="232"/>
                  </a:lnTo>
                  <a:lnTo>
                    <a:pt x="120" y="232"/>
                  </a:lnTo>
                  <a:lnTo>
                    <a:pt x="121" y="234"/>
                  </a:lnTo>
                  <a:lnTo>
                    <a:pt x="122" y="232"/>
                  </a:lnTo>
                  <a:lnTo>
                    <a:pt x="122" y="231"/>
                  </a:lnTo>
                  <a:lnTo>
                    <a:pt x="123" y="231"/>
                  </a:lnTo>
                  <a:lnTo>
                    <a:pt x="123" y="232"/>
                  </a:lnTo>
                  <a:lnTo>
                    <a:pt x="123" y="234"/>
                  </a:lnTo>
                  <a:lnTo>
                    <a:pt x="123" y="235"/>
                  </a:lnTo>
                  <a:lnTo>
                    <a:pt x="123" y="234"/>
                  </a:lnTo>
                  <a:lnTo>
                    <a:pt x="124" y="232"/>
                  </a:lnTo>
                  <a:lnTo>
                    <a:pt x="124" y="231"/>
                  </a:lnTo>
                  <a:lnTo>
                    <a:pt x="123" y="231"/>
                  </a:lnTo>
                  <a:lnTo>
                    <a:pt x="122" y="230"/>
                  </a:lnTo>
                  <a:lnTo>
                    <a:pt x="122" y="229"/>
                  </a:lnTo>
                  <a:lnTo>
                    <a:pt x="122" y="228"/>
                  </a:lnTo>
                  <a:lnTo>
                    <a:pt x="122" y="226"/>
                  </a:lnTo>
                  <a:lnTo>
                    <a:pt x="122" y="225"/>
                  </a:lnTo>
                  <a:lnTo>
                    <a:pt x="122" y="224"/>
                  </a:lnTo>
                  <a:lnTo>
                    <a:pt x="121" y="224"/>
                  </a:lnTo>
                  <a:lnTo>
                    <a:pt x="121" y="223"/>
                  </a:lnTo>
                  <a:lnTo>
                    <a:pt x="121" y="222"/>
                  </a:lnTo>
                  <a:lnTo>
                    <a:pt x="121" y="220"/>
                  </a:lnTo>
                  <a:lnTo>
                    <a:pt x="122" y="222"/>
                  </a:lnTo>
                  <a:lnTo>
                    <a:pt x="122" y="223"/>
                  </a:lnTo>
                  <a:lnTo>
                    <a:pt x="122" y="224"/>
                  </a:lnTo>
                  <a:lnTo>
                    <a:pt x="123" y="224"/>
                  </a:lnTo>
                  <a:lnTo>
                    <a:pt x="124" y="224"/>
                  </a:lnTo>
                  <a:lnTo>
                    <a:pt x="124" y="223"/>
                  </a:lnTo>
                  <a:lnTo>
                    <a:pt x="123" y="222"/>
                  </a:lnTo>
                  <a:lnTo>
                    <a:pt x="124" y="222"/>
                  </a:lnTo>
                  <a:lnTo>
                    <a:pt x="124" y="223"/>
                  </a:lnTo>
                  <a:lnTo>
                    <a:pt x="126" y="224"/>
                  </a:lnTo>
                  <a:lnTo>
                    <a:pt x="124" y="224"/>
                  </a:lnTo>
                  <a:lnTo>
                    <a:pt x="123" y="224"/>
                  </a:lnTo>
                  <a:lnTo>
                    <a:pt x="123" y="225"/>
                  </a:lnTo>
                  <a:lnTo>
                    <a:pt x="124" y="226"/>
                  </a:lnTo>
                  <a:lnTo>
                    <a:pt x="126" y="226"/>
                  </a:lnTo>
                  <a:lnTo>
                    <a:pt x="127" y="225"/>
                  </a:lnTo>
                  <a:lnTo>
                    <a:pt x="129" y="225"/>
                  </a:lnTo>
                  <a:lnTo>
                    <a:pt x="129" y="224"/>
                  </a:lnTo>
                  <a:lnTo>
                    <a:pt x="130" y="224"/>
                  </a:lnTo>
                  <a:lnTo>
                    <a:pt x="130" y="225"/>
                  </a:lnTo>
                  <a:lnTo>
                    <a:pt x="132" y="225"/>
                  </a:lnTo>
                  <a:lnTo>
                    <a:pt x="130" y="225"/>
                  </a:lnTo>
                  <a:lnTo>
                    <a:pt x="130" y="226"/>
                  </a:lnTo>
                  <a:lnTo>
                    <a:pt x="129" y="226"/>
                  </a:lnTo>
                  <a:lnTo>
                    <a:pt x="128" y="226"/>
                  </a:lnTo>
                  <a:lnTo>
                    <a:pt x="129" y="226"/>
                  </a:lnTo>
                  <a:lnTo>
                    <a:pt x="129" y="228"/>
                  </a:lnTo>
                  <a:lnTo>
                    <a:pt x="129" y="229"/>
                  </a:lnTo>
                  <a:lnTo>
                    <a:pt x="128" y="229"/>
                  </a:lnTo>
                  <a:lnTo>
                    <a:pt x="128" y="230"/>
                  </a:lnTo>
                  <a:lnTo>
                    <a:pt x="128" y="229"/>
                  </a:lnTo>
                  <a:lnTo>
                    <a:pt x="127" y="229"/>
                  </a:lnTo>
                  <a:lnTo>
                    <a:pt x="126" y="230"/>
                  </a:lnTo>
                  <a:lnTo>
                    <a:pt x="126" y="231"/>
                  </a:lnTo>
                  <a:lnTo>
                    <a:pt x="127" y="231"/>
                  </a:lnTo>
                  <a:lnTo>
                    <a:pt x="128" y="232"/>
                  </a:lnTo>
                  <a:lnTo>
                    <a:pt x="128" y="234"/>
                  </a:lnTo>
                  <a:lnTo>
                    <a:pt x="127" y="234"/>
                  </a:lnTo>
                  <a:lnTo>
                    <a:pt x="126" y="234"/>
                  </a:lnTo>
                  <a:lnTo>
                    <a:pt x="124" y="234"/>
                  </a:lnTo>
                  <a:lnTo>
                    <a:pt x="124" y="235"/>
                  </a:lnTo>
                  <a:lnTo>
                    <a:pt x="123" y="235"/>
                  </a:lnTo>
                  <a:lnTo>
                    <a:pt x="122" y="235"/>
                  </a:lnTo>
                  <a:lnTo>
                    <a:pt x="122" y="236"/>
                  </a:lnTo>
                  <a:lnTo>
                    <a:pt x="122" y="237"/>
                  </a:lnTo>
                  <a:lnTo>
                    <a:pt x="123" y="237"/>
                  </a:lnTo>
                  <a:lnTo>
                    <a:pt x="124" y="237"/>
                  </a:lnTo>
                  <a:lnTo>
                    <a:pt x="123" y="237"/>
                  </a:lnTo>
                  <a:lnTo>
                    <a:pt x="123" y="238"/>
                  </a:lnTo>
                  <a:lnTo>
                    <a:pt x="123" y="240"/>
                  </a:lnTo>
                  <a:lnTo>
                    <a:pt x="124" y="240"/>
                  </a:lnTo>
                  <a:lnTo>
                    <a:pt x="126" y="240"/>
                  </a:lnTo>
                  <a:lnTo>
                    <a:pt x="126" y="238"/>
                  </a:lnTo>
                  <a:lnTo>
                    <a:pt x="126" y="237"/>
                  </a:lnTo>
                  <a:lnTo>
                    <a:pt x="127" y="237"/>
                  </a:lnTo>
                  <a:lnTo>
                    <a:pt x="128" y="236"/>
                  </a:lnTo>
                  <a:lnTo>
                    <a:pt x="129" y="236"/>
                  </a:lnTo>
                  <a:lnTo>
                    <a:pt x="129" y="235"/>
                  </a:lnTo>
                  <a:lnTo>
                    <a:pt x="129" y="234"/>
                  </a:lnTo>
                  <a:lnTo>
                    <a:pt x="130" y="232"/>
                  </a:lnTo>
                  <a:lnTo>
                    <a:pt x="132" y="231"/>
                  </a:lnTo>
                  <a:lnTo>
                    <a:pt x="132" y="230"/>
                  </a:lnTo>
                  <a:lnTo>
                    <a:pt x="132" y="229"/>
                  </a:lnTo>
                  <a:lnTo>
                    <a:pt x="132" y="228"/>
                  </a:lnTo>
                  <a:lnTo>
                    <a:pt x="133" y="228"/>
                  </a:lnTo>
                  <a:lnTo>
                    <a:pt x="134" y="226"/>
                  </a:lnTo>
                  <a:lnTo>
                    <a:pt x="134" y="228"/>
                  </a:lnTo>
                  <a:lnTo>
                    <a:pt x="135" y="229"/>
                  </a:lnTo>
                  <a:lnTo>
                    <a:pt x="134" y="229"/>
                  </a:lnTo>
                  <a:lnTo>
                    <a:pt x="134" y="228"/>
                  </a:lnTo>
                  <a:lnTo>
                    <a:pt x="133" y="228"/>
                  </a:lnTo>
                  <a:lnTo>
                    <a:pt x="132" y="229"/>
                  </a:lnTo>
                  <a:lnTo>
                    <a:pt x="133" y="229"/>
                  </a:lnTo>
                  <a:lnTo>
                    <a:pt x="132" y="230"/>
                  </a:lnTo>
                  <a:lnTo>
                    <a:pt x="132" y="231"/>
                  </a:lnTo>
                  <a:lnTo>
                    <a:pt x="132" y="232"/>
                  </a:lnTo>
                  <a:lnTo>
                    <a:pt x="132" y="234"/>
                  </a:lnTo>
                  <a:lnTo>
                    <a:pt x="130" y="234"/>
                  </a:lnTo>
                  <a:lnTo>
                    <a:pt x="130" y="236"/>
                  </a:lnTo>
                  <a:lnTo>
                    <a:pt x="129" y="237"/>
                  </a:lnTo>
                  <a:lnTo>
                    <a:pt x="129" y="238"/>
                  </a:lnTo>
                  <a:lnTo>
                    <a:pt x="130" y="238"/>
                  </a:lnTo>
                  <a:lnTo>
                    <a:pt x="132" y="238"/>
                  </a:lnTo>
                  <a:lnTo>
                    <a:pt x="132" y="237"/>
                  </a:lnTo>
                  <a:lnTo>
                    <a:pt x="133" y="237"/>
                  </a:lnTo>
                  <a:lnTo>
                    <a:pt x="134" y="237"/>
                  </a:lnTo>
                  <a:lnTo>
                    <a:pt x="133" y="237"/>
                  </a:lnTo>
                  <a:lnTo>
                    <a:pt x="134" y="238"/>
                  </a:lnTo>
                  <a:lnTo>
                    <a:pt x="134" y="237"/>
                  </a:lnTo>
                  <a:lnTo>
                    <a:pt x="135" y="237"/>
                  </a:lnTo>
                  <a:lnTo>
                    <a:pt x="135" y="236"/>
                  </a:lnTo>
                  <a:lnTo>
                    <a:pt x="136" y="236"/>
                  </a:lnTo>
                  <a:lnTo>
                    <a:pt x="136" y="235"/>
                  </a:lnTo>
                  <a:lnTo>
                    <a:pt x="138" y="235"/>
                  </a:lnTo>
                  <a:lnTo>
                    <a:pt x="139" y="234"/>
                  </a:lnTo>
                  <a:lnTo>
                    <a:pt x="139" y="232"/>
                  </a:lnTo>
                  <a:lnTo>
                    <a:pt x="139" y="231"/>
                  </a:lnTo>
                  <a:lnTo>
                    <a:pt x="139" y="232"/>
                  </a:lnTo>
                  <a:lnTo>
                    <a:pt x="139" y="234"/>
                  </a:lnTo>
                  <a:lnTo>
                    <a:pt x="139" y="236"/>
                  </a:lnTo>
                  <a:lnTo>
                    <a:pt x="140" y="236"/>
                  </a:lnTo>
                  <a:lnTo>
                    <a:pt x="141" y="236"/>
                  </a:lnTo>
                  <a:lnTo>
                    <a:pt x="141" y="235"/>
                  </a:lnTo>
                  <a:lnTo>
                    <a:pt x="141" y="234"/>
                  </a:lnTo>
                  <a:lnTo>
                    <a:pt x="142" y="235"/>
                  </a:lnTo>
                  <a:lnTo>
                    <a:pt x="142" y="236"/>
                  </a:lnTo>
                  <a:lnTo>
                    <a:pt x="142" y="235"/>
                  </a:lnTo>
                  <a:lnTo>
                    <a:pt x="142" y="234"/>
                  </a:lnTo>
                  <a:lnTo>
                    <a:pt x="144" y="234"/>
                  </a:lnTo>
                  <a:lnTo>
                    <a:pt x="145" y="234"/>
                  </a:lnTo>
                  <a:lnTo>
                    <a:pt x="146" y="232"/>
                  </a:lnTo>
                  <a:lnTo>
                    <a:pt x="146" y="231"/>
                  </a:lnTo>
                  <a:lnTo>
                    <a:pt x="146" y="230"/>
                  </a:lnTo>
                  <a:lnTo>
                    <a:pt x="145" y="230"/>
                  </a:lnTo>
                  <a:lnTo>
                    <a:pt x="145" y="231"/>
                  </a:lnTo>
                  <a:lnTo>
                    <a:pt x="144" y="230"/>
                  </a:lnTo>
                  <a:lnTo>
                    <a:pt x="144" y="231"/>
                  </a:lnTo>
                  <a:lnTo>
                    <a:pt x="142" y="231"/>
                  </a:lnTo>
                  <a:lnTo>
                    <a:pt x="141" y="231"/>
                  </a:lnTo>
                  <a:lnTo>
                    <a:pt x="141" y="230"/>
                  </a:lnTo>
                  <a:lnTo>
                    <a:pt x="142" y="229"/>
                  </a:lnTo>
                  <a:lnTo>
                    <a:pt x="144" y="229"/>
                  </a:lnTo>
                  <a:lnTo>
                    <a:pt x="144" y="226"/>
                  </a:lnTo>
                  <a:lnTo>
                    <a:pt x="144" y="225"/>
                  </a:lnTo>
                  <a:lnTo>
                    <a:pt x="142" y="225"/>
                  </a:lnTo>
                  <a:lnTo>
                    <a:pt x="142" y="226"/>
                  </a:lnTo>
                  <a:lnTo>
                    <a:pt x="141" y="228"/>
                  </a:lnTo>
                  <a:lnTo>
                    <a:pt x="141" y="229"/>
                  </a:lnTo>
                  <a:lnTo>
                    <a:pt x="140" y="229"/>
                  </a:lnTo>
                  <a:lnTo>
                    <a:pt x="140" y="228"/>
                  </a:lnTo>
                  <a:lnTo>
                    <a:pt x="141" y="226"/>
                  </a:lnTo>
                  <a:lnTo>
                    <a:pt x="142" y="225"/>
                  </a:lnTo>
                  <a:lnTo>
                    <a:pt x="144" y="225"/>
                  </a:lnTo>
                  <a:lnTo>
                    <a:pt x="145" y="224"/>
                  </a:lnTo>
                  <a:lnTo>
                    <a:pt x="146" y="224"/>
                  </a:lnTo>
                  <a:lnTo>
                    <a:pt x="146" y="225"/>
                  </a:lnTo>
                  <a:lnTo>
                    <a:pt x="146" y="226"/>
                  </a:lnTo>
                  <a:lnTo>
                    <a:pt x="145" y="228"/>
                  </a:lnTo>
                  <a:lnTo>
                    <a:pt x="145" y="229"/>
                  </a:lnTo>
                  <a:lnTo>
                    <a:pt x="146" y="228"/>
                  </a:lnTo>
                  <a:lnTo>
                    <a:pt x="146" y="226"/>
                  </a:lnTo>
                  <a:lnTo>
                    <a:pt x="147" y="225"/>
                  </a:lnTo>
                  <a:lnTo>
                    <a:pt x="147" y="224"/>
                  </a:lnTo>
                  <a:lnTo>
                    <a:pt x="148" y="224"/>
                  </a:lnTo>
                  <a:lnTo>
                    <a:pt x="150" y="223"/>
                  </a:lnTo>
                  <a:lnTo>
                    <a:pt x="151" y="222"/>
                  </a:lnTo>
                  <a:lnTo>
                    <a:pt x="152" y="222"/>
                  </a:lnTo>
                  <a:lnTo>
                    <a:pt x="152" y="220"/>
                  </a:lnTo>
                  <a:lnTo>
                    <a:pt x="153" y="220"/>
                  </a:lnTo>
                  <a:lnTo>
                    <a:pt x="153" y="222"/>
                  </a:lnTo>
                  <a:lnTo>
                    <a:pt x="153" y="223"/>
                  </a:lnTo>
                  <a:lnTo>
                    <a:pt x="153" y="224"/>
                  </a:lnTo>
                  <a:lnTo>
                    <a:pt x="152" y="224"/>
                  </a:lnTo>
                  <a:lnTo>
                    <a:pt x="151" y="224"/>
                  </a:lnTo>
                  <a:lnTo>
                    <a:pt x="151" y="223"/>
                  </a:lnTo>
                  <a:lnTo>
                    <a:pt x="150" y="223"/>
                  </a:lnTo>
                  <a:lnTo>
                    <a:pt x="151" y="224"/>
                  </a:lnTo>
                  <a:lnTo>
                    <a:pt x="151" y="225"/>
                  </a:lnTo>
                  <a:lnTo>
                    <a:pt x="152" y="225"/>
                  </a:lnTo>
                  <a:lnTo>
                    <a:pt x="153" y="225"/>
                  </a:lnTo>
                  <a:lnTo>
                    <a:pt x="152" y="226"/>
                  </a:lnTo>
                  <a:lnTo>
                    <a:pt x="151" y="228"/>
                  </a:lnTo>
                  <a:lnTo>
                    <a:pt x="151" y="229"/>
                  </a:lnTo>
                  <a:lnTo>
                    <a:pt x="150" y="230"/>
                  </a:lnTo>
                  <a:lnTo>
                    <a:pt x="150" y="231"/>
                  </a:lnTo>
                  <a:lnTo>
                    <a:pt x="148" y="231"/>
                  </a:lnTo>
                  <a:lnTo>
                    <a:pt x="148" y="232"/>
                  </a:lnTo>
                  <a:lnTo>
                    <a:pt x="148" y="234"/>
                  </a:lnTo>
                  <a:lnTo>
                    <a:pt x="147" y="235"/>
                  </a:lnTo>
                  <a:lnTo>
                    <a:pt x="146" y="235"/>
                  </a:lnTo>
                  <a:lnTo>
                    <a:pt x="145" y="236"/>
                  </a:lnTo>
                  <a:lnTo>
                    <a:pt x="145" y="235"/>
                  </a:lnTo>
                  <a:lnTo>
                    <a:pt x="144" y="235"/>
                  </a:lnTo>
                  <a:lnTo>
                    <a:pt x="144" y="236"/>
                  </a:lnTo>
                  <a:lnTo>
                    <a:pt x="142" y="236"/>
                  </a:lnTo>
                  <a:lnTo>
                    <a:pt x="142" y="237"/>
                  </a:lnTo>
                  <a:lnTo>
                    <a:pt x="144" y="238"/>
                  </a:lnTo>
                  <a:lnTo>
                    <a:pt x="144" y="237"/>
                  </a:lnTo>
                  <a:lnTo>
                    <a:pt x="145" y="236"/>
                  </a:lnTo>
                  <a:lnTo>
                    <a:pt x="146" y="236"/>
                  </a:lnTo>
                  <a:lnTo>
                    <a:pt x="147" y="236"/>
                  </a:lnTo>
                  <a:lnTo>
                    <a:pt x="148" y="235"/>
                  </a:lnTo>
                  <a:lnTo>
                    <a:pt x="150" y="234"/>
                  </a:lnTo>
                  <a:lnTo>
                    <a:pt x="148" y="235"/>
                  </a:lnTo>
                  <a:lnTo>
                    <a:pt x="148" y="236"/>
                  </a:lnTo>
                  <a:lnTo>
                    <a:pt x="147" y="237"/>
                  </a:lnTo>
                  <a:lnTo>
                    <a:pt x="147" y="238"/>
                  </a:lnTo>
                  <a:lnTo>
                    <a:pt x="146" y="241"/>
                  </a:lnTo>
                  <a:lnTo>
                    <a:pt x="145" y="241"/>
                  </a:lnTo>
                  <a:lnTo>
                    <a:pt x="146" y="242"/>
                  </a:lnTo>
                  <a:lnTo>
                    <a:pt x="147" y="241"/>
                  </a:lnTo>
                  <a:lnTo>
                    <a:pt x="147" y="240"/>
                  </a:lnTo>
                  <a:lnTo>
                    <a:pt x="148" y="238"/>
                  </a:lnTo>
                  <a:lnTo>
                    <a:pt x="148" y="237"/>
                  </a:lnTo>
                  <a:lnTo>
                    <a:pt x="150" y="236"/>
                  </a:lnTo>
                  <a:lnTo>
                    <a:pt x="150" y="235"/>
                  </a:lnTo>
                  <a:lnTo>
                    <a:pt x="150" y="237"/>
                  </a:lnTo>
                  <a:lnTo>
                    <a:pt x="151" y="238"/>
                  </a:lnTo>
                  <a:lnTo>
                    <a:pt x="151" y="237"/>
                  </a:lnTo>
                  <a:lnTo>
                    <a:pt x="151" y="236"/>
                  </a:lnTo>
                  <a:lnTo>
                    <a:pt x="151" y="235"/>
                  </a:lnTo>
                  <a:lnTo>
                    <a:pt x="150" y="234"/>
                  </a:lnTo>
                  <a:lnTo>
                    <a:pt x="150" y="232"/>
                  </a:lnTo>
                  <a:lnTo>
                    <a:pt x="151" y="232"/>
                  </a:lnTo>
                  <a:lnTo>
                    <a:pt x="152" y="234"/>
                  </a:lnTo>
                  <a:lnTo>
                    <a:pt x="153" y="235"/>
                  </a:lnTo>
                  <a:lnTo>
                    <a:pt x="153" y="234"/>
                  </a:lnTo>
                  <a:lnTo>
                    <a:pt x="152" y="232"/>
                  </a:lnTo>
                  <a:lnTo>
                    <a:pt x="151" y="232"/>
                  </a:lnTo>
                  <a:lnTo>
                    <a:pt x="151" y="231"/>
                  </a:lnTo>
                  <a:lnTo>
                    <a:pt x="151" y="230"/>
                  </a:lnTo>
                  <a:lnTo>
                    <a:pt x="152" y="229"/>
                  </a:lnTo>
                  <a:lnTo>
                    <a:pt x="152" y="228"/>
                  </a:lnTo>
                  <a:lnTo>
                    <a:pt x="153" y="228"/>
                  </a:lnTo>
                  <a:lnTo>
                    <a:pt x="155" y="228"/>
                  </a:lnTo>
                  <a:lnTo>
                    <a:pt x="155" y="232"/>
                  </a:lnTo>
                  <a:lnTo>
                    <a:pt x="155" y="238"/>
                  </a:lnTo>
                  <a:lnTo>
                    <a:pt x="155" y="244"/>
                  </a:lnTo>
                  <a:lnTo>
                    <a:pt x="155" y="252"/>
                  </a:lnTo>
                  <a:lnTo>
                    <a:pt x="155" y="256"/>
                  </a:lnTo>
                  <a:lnTo>
                    <a:pt x="155" y="255"/>
                  </a:lnTo>
                  <a:lnTo>
                    <a:pt x="153" y="255"/>
                  </a:lnTo>
                  <a:lnTo>
                    <a:pt x="153" y="254"/>
                  </a:lnTo>
                  <a:lnTo>
                    <a:pt x="152" y="254"/>
                  </a:lnTo>
                  <a:lnTo>
                    <a:pt x="151" y="254"/>
                  </a:lnTo>
                  <a:lnTo>
                    <a:pt x="151" y="255"/>
                  </a:lnTo>
                  <a:lnTo>
                    <a:pt x="150" y="254"/>
                  </a:lnTo>
                  <a:lnTo>
                    <a:pt x="150" y="255"/>
                  </a:lnTo>
                  <a:lnTo>
                    <a:pt x="148" y="254"/>
                  </a:lnTo>
                  <a:lnTo>
                    <a:pt x="148" y="255"/>
                  </a:lnTo>
                  <a:lnTo>
                    <a:pt x="147" y="255"/>
                  </a:lnTo>
                  <a:lnTo>
                    <a:pt x="147" y="256"/>
                  </a:lnTo>
                  <a:lnTo>
                    <a:pt x="146" y="256"/>
                  </a:lnTo>
                  <a:lnTo>
                    <a:pt x="146" y="258"/>
                  </a:lnTo>
                  <a:lnTo>
                    <a:pt x="148" y="259"/>
                  </a:lnTo>
                  <a:lnTo>
                    <a:pt x="150" y="259"/>
                  </a:lnTo>
                  <a:lnTo>
                    <a:pt x="151" y="258"/>
                  </a:lnTo>
                  <a:lnTo>
                    <a:pt x="152" y="258"/>
                  </a:lnTo>
                  <a:lnTo>
                    <a:pt x="152" y="259"/>
                  </a:lnTo>
                  <a:lnTo>
                    <a:pt x="153" y="260"/>
                  </a:lnTo>
                  <a:lnTo>
                    <a:pt x="155" y="261"/>
                  </a:lnTo>
                  <a:lnTo>
                    <a:pt x="155" y="264"/>
                  </a:lnTo>
                  <a:lnTo>
                    <a:pt x="155" y="270"/>
                  </a:lnTo>
                  <a:lnTo>
                    <a:pt x="155" y="276"/>
                  </a:lnTo>
                  <a:lnTo>
                    <a:pt x="155" y="284"/>
                  </a:lnTo>
                  <a:lnTo>
                    <a:pt x="156" y="291"/>
                  </a:lnTo>
                  <a:lnTo>
                    <a:pt x="156" y="300"/>
                  </a:lnTo>
                  <a:lnTo>
                    <a:pt x="156" y="308"/>
                  </a:lnTo>
                  <a:lnTo>
                    <a:pt x="157" y="317"/>
                  </a:lnTo>
                  <a:lnTo>
                    <a:pt x="157" y="337"/>
                  </a:lnTo>
                  <a:lnTo>
                    <a:pt x="157" y="348"/>
                  </a:lnTo>
                  <a:lnTo>
                    <a:pt x="158" y="359"/>
                  </a:lnTo>
                  <a:lnTo>
                    <a:pt x="156" y="360"/>
                  </a:lnTo>
                  <a:lnTo>
                    <a:pt x="148" y="362"/>
                  </a:lnTo>
                  <a:lnTo>
                    <a:pt x="141" y="362"/>
                  </a:lnTo>
                  <a:lnTo>
                    <a:pt x="142" y="363"/>
                  </a:lnTo>
                  <a:lnTo>
                    <a:pt x="140" y="363"/>
                  </a:lnTo>
                  <a:lnTo>
                    <a:pt x="153" y="362"/>
                  </a:lnTo>
                  <a:lnTo>
                    <a:pt x="161" y="362"/>
                  </a:lnTo>
                  <a:lnTo>
                    <a:pt x="165" y="362"/>
                  </a:lnTo>
                  <a:lnTo>
                    <a:pt x="168" y="362"/>
                  </a:lnTo>
                  <a:lnTo>
                    <a:pt x="173" y="361"/>
                  </a:lnTo>
                  <a:lnTo>
                    <a:pt x="177" y="362"/>
                  </a:lnTo>
                  <a:lnTo>
                    <a:pt x="189" y="362"/>
                  </a:lnTo>
                  <a:lnTo>
                    <a:pt x="195" y="362"/>
                  </a:lnTo>
                  <a:lnTo>
                    <a:pt x="198" y="361"/>
                  </a:lnTo>
                  <a:lnTo>
                    <a:pt x="197" y="36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3" name="Freeform 66"/>
            <p:cNvSpPr>
              <a:spLocks/>
            </p:cNvSpPr>
            <p:nvPr userDrawn="1"/>
          </p:nvSpPr>
          <p:spPr bwMode="auto">
            <a:xfrm>
              <a:off x="4795838" y="6443663"/>
              <a:ext cx="60325" cy="85725"/>
            </a:xfrm>
            <a:custGeom>
              <a:avLst/>
              <a:gdLst/>
              <a:ahLst/>
              <a:cxnLst>
                <a:cxn ang="0">
                  <a:pos x="146" y="147"/>
                </a:cxn>
                <a:cxn ang="0">
                  <a:pos x="148" y="144"/>
                </a:cxn>
                <a:cxn ang="0">
                  <a:pos x="166" y="142"/>
                </a:cxn>
                <a:cxn ang="0">
                  <a:pos x="168" y="124"/>
                </a:cxn>
                <a:cxn ang="0">
                  <a:pos x="175" y="130"/>
                </a:cxn>
                <a:cxn ang="0">
                  <a:pos x="180" y="124"/>
                </a:cxn>
                <a:cxn ang="0">
                  <a:pos x="184" y="113"/>
                </a:cxn>
                <a:cxn ang="0">
                  <a:pos x="170" y="103"/>
                </a:cxn>
                <a:cxn ang="0">
                  <a:pos x="160" y="89"/>
                </a:cxn>
                <a:cxn ang="0">
                  <a:pos x="180" y="88"/>
                </a:cxn>
                <a:cxn ang="0">
                  <a:pos x="182" y="82"/>
                </a:cxn>
                <a:cxn ang="0">
                  <a:pos x="175" y="78"/>
                </a:cxn>
                <a:cxn ang="0">
                  <a:pos x="187" y="72"/>
                </a:cxn>
                <a:cxn ang="0">
                  <a:pos x="189" y="67"/>
                </a:cxn>
                <a:cxn ang="0">
                  <a:pos x="174" y="73"/>
                </a:cxn>
                <a:cxn ang="0">
                  <a:pos x="168" y="72"/>
                </a:cxn>
                <a:cxn ang="0">
                  <a:pos x="158" y="65"/>
                </a:cxn>
                <a:cxn ang="0">
                  <a:pos x="158" y="53"/>
                </a:cxn>
                <a:cxn ang="0">
                  <a:pos x="143" y="54"/>
                </a:cxn>
                <a:cxn ang="0">
                  <a:pos x="143" y="43"/>
                </a:cxn>
                <a:cxn ang="0">
                  <a:pos x="137" y="41"/>
                </a:cxn>
                <a:cxn ang="0">
                  <a:pos x="135" y="40"/>
                </a:cxn>
                <a:cxn ang="0">
                  <a:pos x="124" y="30"/>
                </a:cxn>
                <a:cxn ang="0">
                  <a:pos x="116" y="34"/>
                </a:cxn>
                <a:cxn ang="0">
                  <a:pos x="110" y="34"/>
                </a:cxn>
                <a:cxn ang="0">
                  <a:pos x="102" y="11"/>
                </a:cxn>
                <a:cxn ang="0">
                  <a:pos x="93" y="2"/>
                </a:cxn>
                <a:cxn ang="0">
                  <a:pos x="88" y="6"/>
                </a:cxn>
                <a:cxn ang="0">
                  <a:pos x="95" y="30"/>
                </a:cxn>
                <a:cxn ang="0">
                  <a:pos x="89" y="30"/>
                </a:cxn>
                <a:cxn ang="0">
                  <a:pos x="86" y="43"/>
                </a:cxn>
                <a:cxn ang="0">
                  <a:pos x="74" y="52"/>
                </a:cxn>
                <a:cxn ang="0">
                  <a:pos x="68" y="59"/>
                </a:cxn>
                <a:cxn ang="0">
                  <a:pos x="59" y="50"/>
                </a:cxn>
                <a:cxn ang="0">
                  <a:pos x="58" y="38"/>
                </a:cxn>
                <a:cxn ang="0">
                  <a:pos x="52" y="42"/>
                </a:cxn>
                <a:cxn ang="0">
                  <a:pos x="48" y="46"/>
                </a:cxn>
                <a:cxn ang="0">
                  <a:pos x="37" y="55"/>
                </a:cxn>
                <a:cxn ang="0">
                  <a:pos x="33" y="60"/>
                </a:cxn>
                <a:cxn ang="0">
                  <a:pos x="28" y="65"/>
                </a:cxn>
                <a:cxn ang="0">
                  <a:pos x="30" y="70"/>
                </a:cxn>
                <a:cxn ang="0">
                  <a:pos x="39" y="76"/>
                </a:cxn>
                <a:cxn ang="0">
                  <a:pos x="25" y="73"/>
                </a:cxn>
                <a:cxn ang="0">
                  <a:pos x="31" y="79"/>
                </a:cxn>
                <a:cxn ang="0">
                  <a:pos x="10" y="84"/>
                </a:cxn>
                <a:cxn ang="0">
                  <a:pos x="3" y="83"/>
                </a:cxn>
                <a:cxn ang="0">
                  <a:pos x="4" y="90"/>
                </a:cxn>
                <a:cxn ang="0">
                  <a:pos x="28" y="102"/>
                </a:cxn>
                <a:cxn ang="0">
                  <a:pos x="23" y="114"/>
                </a:cxn>
                <a:cxn ang="0">
                  <a:pos x="4" y="123"/>
                </a:cxn>
                <a:cxn ang="0">
                  <a:pos x="16" y="137"/>
                </a:cxn>
                <a:cxn ang="0">
                  <a:pos x="17" y="160"/>
                </a:cxn>
                <a:cxn ang="0">
                  <a:pos x="39" y="155"/>
                </a:cxn>
                <a:cxn ang="0">
                  <a:pos x="27" y="172"/>
                </a:cxn>
                <a:cxn ang="0">
                  <a:pos x="36" y="174"/>
                </a:cxn>
                <a:cxn ang="0">
                  <a:pos x="43" y="178"/>
                </a:cxn>
                <a:cxn ang="0">
                  <a:pos x="57" y="171"/>
                </a:cxn>
                <a:cxn ang="0">
                  <a:pos x="63" y="177"/>
                </a:cxn>
                <a:cxn ang="0">
                  <a:pos x="70" y="168"/>
                </a:cxn>
                <a:cxn ang="0">
                  <a:pos x="86" y="165"/>
                </a:cxn>
                <a:cxn ang="0">
                  <a:pos x="94" y="167"/>
                </a:cxn>
                <a:cxn ang="0">
                  <a:pos x="96" y="171"/>
                </a:cxn>
                <a:cxn ang="0">
                  <a:pos x="105" y="166"/>
                </a:cxn>
              </a:cxnLst>
              <a:rect l="0" t="0" r="r" b="b"/>
              <a:pathLst>
                <a:path w="193" h="268">
                  <a:moveTo>
                    <a:pt x="133" y="268"/>
                  </a:moveTo>
                  <a:lnTo>
                    <a:pt x="129" y="262"/>
                  </a:lnTo>
                  <a:lnTo>
                    <a:pt x="131" y="245"/>
                  </a:lnTo>
                  <a:lnTo>
                    <a:pt x="130" y="232"/>
                  </a:lnTo>
                  <a:lnTo>
                    <a:pt x="134" y="215"/>
                  </a:lnTo>
                  <a:lnTo>
                    <a:pt x="134" y="204"/>
                  </a:lnTo>
                  <a:lnTo>
                    <a:pt x="140" y="179"/>
                  </a:lnTo>
                  <a:lnTo>
                    <a:pt x="142" y="168"/>
                  </a:lnTo>
                  <a:lnTo>
                    <a:pt x="141" y="155"/>
                  </a:lnTo>
                  <a:lnTo>
                    <a:pt x="136" y="149"/>
                  </a:lnTo>
                  <a:lnTo>
                    <a:pt x="136" y="145"/>
                  </a:lnTo>
                  <a:lnTo>
                    <a:pt x="136" y="144"/>
                  </a:lnTo>
                  <a:lnTo>
                    <a:pt x="137" y="143"/>
                  </a:lnTo>
                  <a:lnTo>
                    <a:pt x="139" y="144"/>
                  </a:lnTo>
                  <a:lnTo>
                    <a:pt x="140" y="145"/>
                  </a:lnTo>
                  <a:lnTo>
                    <a:pt x="140" y="147"/>
                  </a:lnTo>
                  <a:lnTo>
                    <a:pt x="141" y="147"/>
                  </a:lnTo>
                  <a:lnTo>
                    <a:pt x="140" y="147"/>
                  </a:lnTo>
                  <a:lnTo>
                    <a:pt x="140" y="148"/>
                  </a:lnTo>
                  <a:lnTo>
                    <a:pt x="141" y="148"/>
                  </a:lnTo>
                  <a:lnTo>
                    <a:pt x="142" y="147"/>
                  </a:lnTo>
                  <a:lnTo>
                    <a:pt x="143" y="148"/>
                  </a:lnTo>
                  <a:lnTo>
                    <a:pt x="143" y="147"/>
                  </a:lnTo>
                  <a:lnTo>
                    <a:pt x="145" y="148"/>
                  </a:lnTo>
                  <a:lnTo>
                    <a:pt x="143" y="147"/>
                  </a:lnTo>
                  <a:lnTo>
                    <a:pt x="143" y="145"/>
                  </a:lnTo>
                  <a:lnTo>
                    <a:pt x="142" y="145"/>
                  </a:lnTo>
                  <a:lnTo>
                    <a:pt x="141" y="144"/>
                  </a:lnTo>
                  <a:lnTo>
                    <a:pt x="140" y="144"/>
                  </a:lnTo>
                  <a:lnTo>
                    <a:pt x="140" y="145"/>
                  </a:lnTo>
                  <a:lnTo>
                    <a:pt x="139" y="145"/>
                  </a:lnTo>
                  <a:lnTo>
                    <a:pt x="139" y="143"/>
                  </a:lnTo>
                  <a:lnTo>
                    <a:pt x="141" y="143"/>
                  </a:lnTo>
                  <a:lnTo>
                    <a:pt x="146" y="147"/>
                  </a:lnTo>
                  <a:lnTo>
                    <a:pt x="147" y="149"/>
                  </a:lnTo>
                  <a:lnTo>
                    <a:pt x="148" y="149"/>
                  </a:lnTo>
                  <a:lnTo>
                    <a:pt x="148" y="151"/>
                  </a:lnTo>
                  <a:lnTo>
                    <a:pt x="148" y="153"/>
                  </a:lnTo>
                  <a:lnTo>
                    <a:pt x="148" y="150"/>
                  </a:lnTo>
                  <a:lnTo>
                    <a:pt x="148" y="149"/>
                  </a:lnTo>
                  <a:lnTo>
                    <a:pt x="149" y="149"/>
                  </a:lnTo>
                  <a:lnTo>
                    <a:pt x="151" y="151"/>
                  </a:lnTo>
                  <a:lnTo>
                    <a:pt x="152" y="151"/>
                  </a:lnTo>
                  <a:lnTo>
                    <a:pt x="151" y="150"/>
                  </a:lnTo>
                  <a:lnTo>
                    <a:pt x="149" y="149"/>
                  </a:lnTo>
                  <a:lnTo>
                    <a:pt x="148" y="149"/>
                  </a:lnTo>
                  <a:lnTo>
                    <a:pt x="147" y="147"/>
                  </a:lnTo>
                  <a:lnTo>
                    <a:pt x="145" y="144"/>
                  </a:lnTo>
                  <a:lnTo>
                    <a:pt x="140" y="142"/>
                  </a:lnTo>
                  <a:lnTo>
                    <a:pt x="139" y="142"/>
                  </a:lnTo>
                  <a:lnTo>
                    <a:pt x="139" y="141"/>
                  </a:lnTo>
                  <a:lnTo>
                    <a:pt x="139" y="139"/>
                  </a:lnTo>
                  <a:lnTo>
                    <a:pt x="140" y="139"/>
                  </a:lnTo>
                  <a:lnTo>
                    <a:pt x="139" y="139"/>
                  </a:lnTo>
                  <a:lnTo>
                    <a:pt x="140" y="139"/>
                  </a:lnTo>
                  <a:lnTo>
                    <a:pt x="141" y="138"/>
                  </a:lnTo>
                  <a:lnTo>
                    <a:pt x="141" y="139"/>
                  </a:lnTo>
                  <a:lnTo>
                    <a:pt x="142" y="139"/>
                  </a:lnTo>
                  <a:lnTo>
                    <a:pt x="143" y="141"/>
                  </a:lnTo>
                  <a:lnTo>
                    <a:pt x="143" y="142"/>
                  </a:lnTo>
                  <a:lnTo>
                    <a:pt x="143" y="143"/>
                  </a:lnTo>
                  <a:lnTo>
                    <a:pt x="145" y="142"/>
                  </a:lnTo>
                  <a:lnTo>
                    <a:pt x="145" y="143"/>
                  </a:lnTo>
                  <a:lnTo>
                    <a:pt x="146" y="143"/>
                  </a:lnTo>
                  <a:lnTo>
                    <a:pt x="146" y="142"/>
                  </a:lnTo>
                  <a:lnTo>
                    <a:pt x="147" y="143"/>
                  </a:lnTo>
                  <a:lnTo>
                    <a:pt x="147" y="144"/>
                  </a:lnTo>
                  <a:lnTo>
                    <a:pt x="148" y="144"/>
                  </a:lnTo>
                  <a:lnTo>
                    <a:pt x="148" y="143"/>
                  </a:lnTo>
                  <a:lnTo>
                    <a:pt x="149" y="144"/>
                  </a:lnTo>
                  <a:lnTo>
                    <a:pt x="153" y="147"/>
                  </a:lnTo>
                  <a:lnTo>
                    <a:pt x="154" y="149"/>
                  </a:lnTo>
                  <a:lnTo>
                    <a:pt x="154" y="148"/>
                  </a:lnTo>
                  <a:lnTo>
                    <a:pt x="155" y="149"/>
                  </a:lnTo>
                  <a:lnTo>
                    <a:pt x="155" y="150"/>
                  </a:lnTo>
                  <a:lnTo>
                    <a:pt x="157" y="151"/>
                  </a:lnTo>
                  <a:lnTo>
                    <a:pt x="157" y="154"/>
                  </a:lnTo>
                  <a:lnTo>
                    <a:pt x="157" y="153"/>
                  </a:lnTo>
                  <a:lnTo>
                    <a:pt x="158" y="154"/>
                  </a:lnTo>
                  <a:lnTo>
                    <a:pt x="157" y="151"/>
                  </a:lnTo>
                  <a:lnTo>
                    <a:pt x="155" y="149"/>
                  </a:lnTo>
                  <a:lnTo>
                    <a:pt x="155" y="148"/>
                  </a:lnTo>
                  <a:lnTo>
                    <a:pt x="155" y="147"/>
                  </a:lnTo>
                  <a:lnTo>
                    <a:pt x="157" y="148"/>
                  </a:lnTo>
                  <a:lnTo>
                    <a:pt x="159" y="149"/>
                  </a:lnTo>
                  <a:lnTo>
                    <a:pt x="159" y="150"/>
                  </a:lnTo>
                  <a:lnTo>
                    <a:pt x="160" y="151"/>
                  </a:lnTo>
                  <a:lnTo>
                    <a:pt x="161" y="150"/>
                  </a:lnTo>
                  <a:lnTo>
                    <a:pt x="161" y="151"/>
                  </a:lnTo>
                  <a:lnTo>
                    <a:pt x="163" y="151"/>
                  </a:lnTo>
                  <a:lnTo>
                    <a:pt x="164" y="150"/>
                  </a:lnTo>
                  <a:lnTo>
                    <a:pt x="164" y="149"/>
                  </a:lnTo>
                  <a:lnTo>
                    <a:pt x="165" y="149"/>
                  </a:lnTo>
                  <a:lnTo>
                    <a:pt x="165" y="147"/>
                  </a:lnTo>
                  <a:lnTo>
                    <a:pt x="165" y="145"/>
                  </a:lnTo>
                  <a:lnTo>
                    <a:pt x="164" y="145"/>
                  </a:lnTo>
                  <a:lnTo>
                    <a:pt x="164" y="144"/>
                  </a:lnTo>
                  <a:lnTo>
                    <a:pt x="165" y="145"/>
                  </a:lnTo>
                  <a:lnTo>
                    <a:pt x="165" y="144"/>
                  </a:lnTo>
                  <a:lnTo>
                    <a:pt x="166" y="144"/>
                  </a:lnTo>
                  <a:lnTo>
                    <a:pt x="166" y="143"/>
                  </a:lnTo>
                  <a:lnTo>
                    <a:pt x="166" y="142"/>
                  </a:lnTo>
                  <a:lnTo>
                    <a:pt x="168" y="141"/>
                  </a:lnTo>
                  <a:lnTo>
                    <a:pt x="168" y="139"/>
                  </a:lnTo>
                  <a:lnTo>
                    <a:pt x="168" y="138"/>
                  </a:lnTo>
                  <a:lnTo>
                    <a:pt x="169" y="137"/>
                  </a:lnTo>
                  <a:lnTo>
                    <a:pt x="168" y="137"/>
                  </a:lnTo>
                  <a:lnTo>
                    <a:pt x="168" y="136"/>
                  </a:lnTo>
                  <a:lnTo>
                    <a:pt x="166" y="136"/>
                  </a:lnTo>
                  <a:lnTo>
                    <a:pt x="166" y="135"/>
                  </a:lnTo>
                  <a:lnTo>
                    <a:pt x="166" y="133"/>
                  </a:lnTo>
                  <a:lnTo>
                    <a:pt x="165" y="133"/>
                  </a:lnTo>
                  <a:lnTo>
                    <a:pt x="165" y="135"/>
                  </a:lnTo>
                  <a:lnTo>
                    <a:pt x="165" y="133"/>
                  </a:lnTo>
                  <a:lnTo>
                    <a:pt x="164" y="133"/>
                  </a:lnTo>
                  <a:lnTo>
                    <a:pt x="165" y="132"/>
                  </a:lnTo>
                  <a:lnTo>
                    <a:pt x="164" y="132"/>
                  </a:lnTo>
                  <a:lnTo>
                    <a:pt x="163" y="131"/>
                  </a:lnTo>
                  <a:lnTo>
                    <a:pt x="164" y="131"/>
                  </a:lnTo>
                  <a:lnTo>
                    <a:pt x="164" y="130"/>
                  </a:lnTo>
                  <a:lnTo>
                    <a:pt x="164" y="129"/>
                  </a:lnTo>
                  <a:lnTo>
                    <a:pt x="164" y="127"/>
                  </a:lnTo>
                  <a:lnTo>
                    <a:pt x="165" y="127"/>
                  </a:lnTo>
                  <a:lnTo>
                    <a:pt x="166" y="127"/>
                  </a:lnTo>
                  <a:lnTo>
                    <a:pt x="168" y="129"/>
                  </a:lnTo>
                  <a:lnTo>
                    <a:pt x="168" y="130"/>
                  </a:lnTo>
                  <a:lnTo>
                    <a:pt x="169" y="129"/>
                  </a:lnTo>
                  <a:lnTo>
                    <a:pt x="169" y="130"/>
                  </a:lnTo>
                  <a:lnTo>
                    <a:pt x="169" y="129"/>
                  </a:lnTo>
                  <a:lnTo>
                    <a:pt x="169" y="127"/>
                  </a:lnTo>
                  <a:lnTo>
                    <a:pt x="169" y="126"/>
                  </a:lnTo>
                  <a:lnTo>
                    <a:pt x="168" y="126"/>
                  </a:lnTo>
                  <a:lnTo>
                    <a:pt x="168" y="125"/>
                  </a:lnTo>
                  <a:lnTo>
                    <a:pt x="168" y="124"/>
                  </a:lnTo>
                  <a:lnTo>
                    <a:pt x="168" y="125"/>
                  </a:lnTo>
                  <a:lnTo>
                    <a:pt x="168" y="124"/>
                  </a:lnTo>
                  <a:lnTo>
                    <a:pt x="166" y="125"/>
                  </a:lnTo>
                  <a:lnTo>
                    <a:pt x="165" y="125"/>
                  </a:lnTo>
                  <a:lnTo>
                    <a:pt x="166" y="124"/>
                  </a:lnTo>
                  <a:lnTo>
                    <a:pt x="166" y="123"/>
                  </a:lnTo>
                  <a:lnTo>
                    <a:pt x="165" y="123"/>
                  </a:lnTo>
                  <a:lnTo>
                    <a:pt x="165" y="120"/>
                  </a:lnTo>
                  <a:lnTo>
                    <a:pt x="166" y="120"/>
                  </a:lnTo>
                  <a:lnTo>
                    <a:pt x="168" y="121"/>
                  </a:lnTo>
                  <a:lnTo>
                    <a:pt x="168" y="120"/>
                  </a:lnTo>
                  <a:lnTo>
                    <a:pt x="168" y="121"/>
                  </a:lnTo>
                  <a:lnTo>
                    <a:pt x="169" y="121"/>
                  </a:lnTo>
                  <a:lnTo>
                    <a:pt x="169" y="123"/>
                  </a:lnTo>
                  <a:lnTo>
                    <a:pt x="170" y="123"/>
                  </a:lnTo>
                  <a:lnTo>
                    <a:pt x="170" y="124"/>
                  </a:lnTo>
                  <a:lnTo>
                    <a:pt x="169" y="124"/>
                  </a:lnTo>
                  <a:lnTo>
                    <a:pt x="169" y="125"/>
                  </a:lnTo>
                  <a:lnTo>
                    <a:pt x="169" y="124"/>
                  </a:lnTo>
                  <a:lnTo>
                    <a:pt x="170" y="124"/>
                  </a:lnTo>
                  <a:lnTo>
                    <a:pt x="170" y="125"/>
                  </a:lnTo>
                  <a:lnTo>
                    <a:pt x="169" y="125"/>
                  </a:lnTo>
                  <a:lnTo>
                    <a:pt x="169" y="126"/>
                  </a:lnTo>
                  <a:lnTo>
                    <a:pt x="169" y="127"/>
                  </a:lnTo>
                  <a:lnTo>
                    <a:pt x="170" y="126"/>
                  </a:lnTo>
                  <a:lnTo>
                    <a:pt x="170" y="127"/>
                  </a:lnTo>
                  <a:lnTo>
                    <a:pt x="171" y="127"/>
                  </a:lnTo>
                  <a:lnTo>
                    <a:pt x="172" y="127"/>
                  </a:lnTo>
                  <a:lnTo>
                    <a:pt x="172" y="129"/>
                  </a:lnTo>
                  <a:lnTo>
                    <a:pt x="172" y="130"/>
                  </a:lnTo>
                  <a:lnTo>
                    <a:pt x="172" y="129"/>
                  </a:lnTo>
                  <a:lnTo>
                    <a:pt x="174" y="129"/>
                  </a:lnTo>
                  <a:lnTo>
                    <a:pt x="174" y="130"/>
                  </a:lnTo>
                  <a:lnTo>
                    <a:pt x="175" y="130"/>
                  </a:lnTo>
                  <a:lnTo>
                    <a:pt x="175" y="129"/>
                  </a:lnTo>
                  <a:lnTo>
                    <a:pt x="175" y="130"/>
                  </a:lnTo>
                  <a:lnTo>
                    <a:pt x="175" y="129"/>
                  </a:lnTo>
                  <a:lnTo>
                    <a:pt x="174" y="129"/>
                  </a:lnTo>
                  <a:lnTo>
                    <a:pt x="174" y="127"/>
                  </a:lnTo>
                  <a:lnTo>
                    <a:pt x="175" y="127"/>
                  </a:lnTo>
                  <a:lnTo>
                    <a:pt x="174" y="127"/>
                  </a:lnTo>
                  <a:lnTo>
                    <a:pt x="172" y="127"/>
                  </a:lnTo>
                  <a:lnTo>
                    <a:pt x="174" y="127"/>
                  </a:lnTo>
                  <a:lnTo>
                    <a:pt x="172" y="127"/>
                  </a:lnTo>
                  <a:lnTo>
                    <a:pt x="172" y="126"/>
                  </a:lnTo>
                  <a:lnTo>
                    <a:pt x="171" y="126"/>
                  </a:lnTo>
                  <a:lnTo>
                    <a:pt x="171" y="125"/>
                  </a:lnTo>
                  <a:lnTo>
                    <a:pt x="171" y="123"/>
                  </a:lnTo>
                  <a:lnTo>
                    <a:pt x="171" y="124"/>
                  </a:lnTo>
                  <a:lnTo>
                    <a:pt x="172" y="124"/>
                  </a:lnTo>
                  <a:lnTo>
                    <a:pt x="172" y="125"/>
                  </a:lnTo>
                  <a:lnTo>
                    <a:pt x="171" y="125"/>
                  </a:lnTo>
                  <a:lnTo>
                    <a:pt x="172" y="126"/>
                  </a:lnTo>
                  <a:lnTo>
                    <a:pt x="172" y="125"/>
                  </a:lnTo>
                  <a:lnTo>
                    <a:pt x="174" y="125"/>
                  </a:lnTo>
                  <a:lnTo>
                    <a:pt x="174" y="124"/>
                  </a:lnTo>
                  <a:lnTo>
                    <a:pt x="175" y="124"/>
                  </a:lnTo>
                  <a:lnTo>
                    <a:pt x="175" y="125"/>
                  </a:lnTo>
                  <a:lnTo>
                    <a:pt x="176" y="125"/>
                  </a:lnTo>
                  <a:lnTo>
                    <a:pt x="177" y="125"/>
                  </a:lnTo>
                  <a:lnTo>
                    <a:pt x="177" y="126"/>
                  </a:lnTo>
                  <a:lnTo>
                    <a:pt x="176" y="126"/>
                  </a:lnTo>
                  <a:lnTo>
                    <a:pt x="176" y="127"/>
                  </a:lnTo>
                  <a:lnTo>
                    <a:pt x="177" y="129"/>
                  </a:lnTo>
                  <a:lnTo>
                    <a:pt x="178" y="127"/>
                  </a:lnTo>
                  <a:lnTo>
                    <a:pt x="178" y="126"/>
                  </a:lnTo>
                  <a:lnTo>
                    <a:pt x="180" y="125"/>
                  </a:lnTo>
                  <a:lnTo>
                    <a:pt x="178" y="125"/>
                  </a:lnTo>
                  <a:lnTo>
                    <a:pt x="180" y="125"/>
                  </a:lnTo>
                  <a:lnTo>
                    <a:pt x="180" y="124"/>
                  </a:lnTo>
                  <a:lnTo>
                    <a:pt x="180" y="123"/>
                  </a:lnTo>
                  <a:lnTo>
                    <a:pt x="180" y="124"/>
                  </a:lnTo>
                  <a:lnTo>
                    <a:pt x="180" y="123"/>
                  </a:lnTo>
                  <a:lnTo>
                    <a:pt x="180" y="121"/>
                  </a:lnTo>
                  <a:lnTo>
                    <a:pt x="180" y="120"/>
                  </a:lnTo>
                  <a:lnTo>
                    <a:pt x="178" y="120"/>
                  </a:lnTo>
                  <a:lnTo>
                    <a:pt x="177" y="119"/>
                  </a:lnTo>
                  <a:lnTo>
                    <a:pt x="177" y="118"/>
                  </a:lnTo>
                  <a:lnTo>
                    <a:pt x="177" y="117"/>
                  </a:lnTo>
                  <a:lnTo>
                    <a:pt x="176" y="117"/>
                  </a:lnTo>
                  <a:lnTo>
                    <a:pt x="175" y="115"/>
                  </a:lnTo>
                  <a:lnTo>
                    <a:pt x="176" y="115"/>
                  </a:lnTo>
                  <a:lnTo>
                    <a:pt x="177" y="115"/>
                  </a:lnTo>
                  <a:lnTo>
                    <a:pt x="180" y="115"/>
                  </a:lnTo>
                  <a:lnTo>
                    <a:pt x="182" y="115"/>
                  </a:lnTo>
                  <a:lnTo>
                    <a:pt x="181" y="115"/>
                  </a:lnTo>
                  <a:lnTo>
                    <a:pt x="182" y="117"/>
                  </a:lnTo>
                  <a:lnTo>
                    <a:pt x="182" y="115"/>
                  </a:lnTo>
                  <a:lnTo>
                    <a:pt x="182" y="114"/>
                  </a:lnTo>
                  <a:lnTo>
                    <a:pt x="183" y="114"/>
                  </a:lnTo>
                  <a:lnTo>
                    <a:pt x="183" y="115"/>
                  </a:lnTo>
                  <a:lnTo>
                    <a:pt x="184" y="115"/>
                  </a:lnTo>
                  <a:lnTo>
                    <a:pt x="184" y="117"/>
                  </a:lnTo>
                  <a:lnTo>
                    <a:pt x="184" y="115"/>
                  </a:lnTo>
                  <a:lnTo>
                    <a:pt x="184" y="114"/>
                  </a:lnTo>
                  <a:lnTo>
                    <a:pt x="186" y="114"/>
                  </a:lnTo>
                  <a:lnTo>
                    <a:pt x="184" y="115"/>
                  </a:lnTo>
                  <a:lnTo>
                    <a:pt x="186" y="117"/>
                  </a:lnTo>
                  <a:lnTo>
                    <a:pt x="186" y="115"/>
                  </a:lnTo>
                  <a:lnTo>
                    <a:pt x="186" y="114"/>
                  </a:lnTo>
                  <a:lnTo>
                    <a:pt x="184" y="114"/>
                  </a:lnTo>
                  <a:lnTo>
                    <a:pt x="184" y="113"/>
                  </a:lnTo>
                  <a:lnTo>
                    <a:pt x="186" y="113"/>
                  </a:lnTo>
                  <a:lnTo>
                    <a:pt x="184" y="113"/>
                  </a:lnTo>
                  <a:lnTo>
                    <a:pt x="183" y="113"/>
                  </a:lnTo>
                  <a:lnTo>
                    <a:pt x="182" y="112"/>
                  </a:lnTo>
                  <a:lnTo>
                    <a:pt x="182" y="113"/>
                  </a:lnTo>
                  <a:lnTo>
                    <a:pt x="182" y="114"/>
                  </a:lnTo>
                  <a:lnTo>
                    <a:pt x="182" y="113"/>
                  </a:lnTo>
                  <a:lnTo>
                    <a:pt x="182" y="114"/>
                  </a:lnTo>
                  <a:lnTo>
                    <a:pt x="183" y="113"/>
                  </a:lnTo>
                  <a:lnTo>
                    <a:pt x="183" y="114"/>
                  </a:lnTo>
                  <a:lnTo>
                    <a:pt x="181" y="115"/>
                  </a:lnTo>
                  <a:lnTo>
                    <a:pt x="177" y="115"/>
                  </a:lnTo>
                  <a:lnTo>
                    <a:pt x="177" y="114"/>
                  </a:lnTo>
                  <a:lnTo>
                    <a:pt x="177" y="113"/>
                  </a:lnTo>
                  <a:lnTo>
                    <a:pt x="177" y="114"/>
                  </a:lnTo>
                  <a:lnTo>
                    <a:pt x="176" y="114"/>
                  </a:lnTo>
                  <a:lnTo>
                    <a:pt x="177" y="113"/>
                  </a:lnTo>
                  <a:lnTo>
                    <a:pt x="176" y="112"/>
                  </a:lnTo>
                  <a:lnTo>
                    <a:pt x="177" y="112"/>
                  </a:lnTo>
                  <a:lnTo>
                    <a:pt x="177" y="110"/>
                  </a:lnTo>
                  <a:lnTo>
                    <a:pt x="177" y="109"/>
                  </a:lnTo>
                  <a:lnTo>
                    <a:pt x="177" y="108"/>
                  </a:lnTo>
                  <a:lnTo>
                    <a:pt x="176" y="109"/>
                  </a:lnTo>
                  <a:lnTo>
                    <a:pt x="177" y="108"/>
                  </a:lnTo>
                  <a:lnTo>
                    <a:pt x="177" y="107"/>
                  </a:lnTo>
                  <a:lnTo>
                    <a:pt x="177" y="106"/>
                  </a:lnTo>
                  <a:lnTo>
                    <a:pt x="176" y="106"/>
                  </a:lnTo>
                  <a:lnTo>
                    <a:pt x="175" y="106"/>
                  </a:lnTo>
                  <a:lnTo>
                    <a:pt x="175" y="104"/>
                  </a:lnTo>
                  <a:lnTo>
                    <a:pt x="174" y="104"/>
                  </a:lnTo>
                  <a:lnTo>
                    <a:pt x="174" y="103"/>
                  </a:lnTo>
                  <a:lnTo>
                    <a:pt x="172" y="102"/>
                  </a:lnTo>
                  <a:lnTo>
                    <a:pt x="171" y="102"/>
                  </a:lnTo>
                  <a:lnTo>
                    <a:pt x="172" y="103"/>
                  </a:lnTo>
                  <a:lnTo>
                    <a:pt x="171" y="103"/>
                  </a:lnTo>
                  <a:lnTo>
                    <a:pt x="170" y="103"/>
                  </a:lnTo>
                  <a:lnTo>
                    <a:pt x="169" y="103"/>
                  </a:lnTo>
                  <a:lnTo>
                    <a:pt x="168" y="102"/>
                  </a:lnTo>
                  <a:lnTo>
                    <a:pt x="168" y="101"/>
                  </a:lnTo>
                  <a:lnTo>
                    <a:pt x="169" y="101"/>
                  </a:lnTo>
                  <a:lnTo>
                    <a:pt x="168" y="100"/>
                  </a:lnTo>
                  <a:lnTo>
                    <a:pt x="169" y="100"/>
                  </a:lnTo>
                  <a:lnTo>
                    <a:pt x="169" y="101"/>
                  </a:lnTo>
                  <a:lnTo>
                    <a:pt x="169" y="102"/>
                  </a:lnTo>
                  <a:lnTo>
                    <a:pt x="170" y="101"/>
                  </a:lnTo>
                  <a:lnTo>
                    <a:pt x="169" y="100"/>
                  </a:lnTo>
                  <a:lnTo>
                    <a:pt x="170" y="100"/>
                  </a:lnTo>
                  <a:lnTo>
                    <a:pt x="169" y="98"/>
                  </a:lnTo>
                  <a:lnTo>
                    <a:pt x="169" y="97"/>
                  </a:lnTo>
                  <a:lnTo>
                    <a:pt x="170" y="97"/>
                  </a:lnTo>
                  <a:lnTo>
                    <a:pt x="170" y="98"/>
                  </a:lnTo>
                  <a:lnTo>
                    <a:pt x="170" y="100"/>
                  </a:lnTo>
                  <a:lnTo>
                    <a:pt x="170" y="98"/>
                  </a:lnTo>
                  <a:lnTo>
                    <a:pt x="170" y="97"/>
                  </a:lnTo>
                  <a:lnTo>
                    <a:pt x="169" y="96"/>
                  </a:lnTo>
                  <a:lnTo>
                    <a:pt x="169" y="95"/>
                  </a:lnTo>
                  <a:lnTo>
                    <a:pt x="166" y="94"/>
                  </a:lnTo>
                  <a:lnTo>
                    <a:pt x="165" y="94"/>
                  </a:lnTo>
                  <a:lnTo>
                    <a:pt x="164" y="94"/>
                  </a:lnTo>
                  <a:lnTo>
                    <a:pt x="164" y="92"/>
                  </a:lnTo>
                  <a:lnTo>
                    <a:pt x="164" y="94"/>
                  </a:lnTo>
                  <a:lnTo>
                    <a:pt x="163" y="92"/>
                  </a:lnTo>
                  <a:lnTo>
                    <a:pt x="161" y="91"/>
                  </a:lnTo>
                  <a:lnTo>
                    <a:pt x="163" y="91"/>
                  </a:lnTo>
                  <a:lnTo>
                    <a:pt x="163" y="90"/>
                  </a:lnTo>
                  <a:lnTo>
                    <a:pt x="163" y="89"/>
                  </a:lnTo>
                  <a:lnTo>
                    <a:pt x="161" y="89"/>
                  </a:lnTo>
                  <a:lnTo>
                    <a:pt x="163" y="89"/>
                  </a:lnTo>
                  <a:lnTo>
                    <a:pt x="161" y="89"/>
                  </a:lnTo>
                  <a:lnTo>
                    <a:pt x="160" y="89"/>
                  </a:lnTo>
                  <a:lnTo>
                    <a:pt x="160" y="88"/>
                  </a:lnTo>
                  <a:lnTo>
                    <a:pt x="163" y="86"/>
                  </a:lnTo>
                  <a:lnTo>
                    <a:pt x="163" y="88"/>
                  </a:lnTo>
                  <a:lnTo>
                    <a:pt x="163" y="86"/>
                  </a:lnTo>
                  <a:lnTo>
                    <a:pt x="164" y="88"/>
                  </a:lnTo>
                  <a:lnTo>
                    <a:pt x="165" y="88"/>
                  </a:lnTo>
                  <a:lnTo>
                    <a:pt x="165" y="86"/>
                  </a:lnTo>
                  <a:lnTo>
                    <a:pt x="165" y="85"/>
                  </a:lnTo>
                  <a:lnTo>
                    <a:pt x="165" y="86"/>
                  </a:lnTo>
                  <a:lnTo>
                    <a:pt x="166" y="85"/>
                  </a:lnTo>
                  <a:lnTo>
                    <a:pt x="168" y="85"/>
                  </a:lnTo>
                  <a:lnTo>
                    <a:pt x="168" y="86"/>
                  </a:lnTo>
                  <a:lnTo>
                    <a:pt x="169" y="86"/>
                  </a:lnTo>
                  <a:lnTo>
                    <a:pt x="169" y="85"/>
                  </a:lnTo>
                  <a:lnTo>
                    <a:pt x="168" y="85"/>
                  </a:lnTo>
                  <a:lnTo>
                    <a:pt x="168" y="84"/>
                  </a:lnTo>
                  <a:lnTo>
                    <a:pt x="170" y="85"/>
                  </a:lnTo>
                  <a:lnTo>
                    <a:pt x="171" y="85"/>
                  </a:lnTo>
                  <a:lnTo>
                    <a:pt x="171" y="84"/>
                  </a:lnTo>
                  <a:lnTo>
                    <a:pt x="171" y="85"/>
                  </a:lnTo>
                  <a:lnTo>
                    <a:pt x="172" y="84"/>
                  </a:lnTo>
                  <a:lnTo>
                    <a:pt x="175" y="85"/>
                  </a:lnTo>
                  <a:lnTo>
                    <a:pt x="175" y="86"/>
                  </a:lnTo>
                  <a:lnTo>
                    <a:pt x="175" y="88"/>
                  </a:lnTo>
                  <a:lnTo>
                    <a:pt x="176" y="86"/>
                  </a:lnTo>
                  <a:lnTo>
                    <a:pt x="176" y="85"/>
                  </a:lnTo>
                  <a:lnTo>
                    <a:pt x="175" y="84"/>
                  </a:lnTo>
                  <a:lnTo>
                    <a:pt x="176" y="85"/>
                  </a:lnTo>
                  <a:lnTo>
                    <a:pt x="177" y="85"/>
                  </a:lnTo>
                  <a:lnTo>
                    <a:pt x="177" y="88"/>
                  </a:lnTo>
                  <a:lnTo>
                    <a:pt x="178" y="86"/>
                  </a:lnTo>
                  <a:lnTo>
                    <a:pt x="178" y="88"/>
                  </a:lnTo>
                  <a:lnTo>
                    <a:pt x="178" y="89"/>
                  </a:lnTo>
                  <a:lnTo>
                    <a:pt x="180" y="88"/>
                  </a:lnTo>
                  <a:lnTo>
                    <a:pt x="180" y="86"/>
                  </a:lnTo>
                  <a:lnTo>
                    <a:pt x="181" y="86"/>
                  </a:lnTo>
                  <a:lnTo>
                    <a:pt x="181" y="88"/>
                  </a:lnTo>
                  <a:lnTo>
                    <a:pt x="181" y="86"/>
                  </a:lnTo>
                  <a:lnTo>
                    <a:pt x="182" y="85"/>
                  </a:lnTo>
                  <a:lnTo>
                    <a:pt x="182" y="86"/>
                  </a:lnTo>
                  <a:lnTo>
                    <a:pt x="182" y="88"/>
                  </a:lnTo>
                  <a:lnTo>
                    <a:pt x="182" y="86"/>
                  </a:lnTo>
                  <a:lnTo>
                    <a:pt x="182" y="85"/>
                  </a:lnTo>
                  <a:lnTo>
                    <a:pt x="183" y="85"/>
                  </a:lnTo>
                  <a:lnTo>
                    <a:pt x="183" y="86"/>
                  </a:lnTo>
                  <a:lnTo>
                    <a:pt x="184" y="88"/>
                  </a:lnTo>
                  <a:lnTo>
                    <a:pt x="184" y="86"/>
                  </a:lnTo>
                  <a:lnTo>
                    <a:pt x="184" y="85"/>
                  </a:lnTo>
                  <a:lnTo>
                    <a:pt x="184" y="84"/>
                  </a:lnTo>
                  <a:lnTo>
                    <a:pt x="186" y="84"/>
                  </a:lnTo>
                  <a:lnTo>
                    <a:pt x="186" y="85"/>
                  </a:lnTo>
                  <a:lnTo>
                    <a:pt x="187" y="85"/>
                  </a:lnTo>
                  <a:lnTo>
                    <a:pt x="187" y="86"/>
                  </a:lnTo>
                  <a:lnTo>
                    <a:pt x="188" y="85"/>
                  </a:lnTo>
                  <a:lnTo>
                    <a:pt x="187" y="84"/>
                  </a:lnTo>
                  <a:lnTo>
                    <a:pt x="188" y="84"/>
                  </a:lnTo>
                  <a:lnTo>
                    <a:pt x="189" y="84"/>
                  </a:lnTo>
                  <a:lnTo>
                    <a:pt x="189" y="85"/>
                  </a:lnTo>
                  <a:lnTo>
                    <a:pt x="190" y="84"/>
                  </a:lnTo>
                  <a:lnTo>
                    <a:pt x="189" y="83"/>
                  </a:lnTo>
                  <a:lnTo>
                    <a:pt x="189" y="82"/>
                  </a:lnTo>
                  <a:lnTo>
                    <a:pt x="188" y="82"/>
                  </a:lnTo>
                  <a:lnTo>
                    <a:pt x="187" y="83"/>
                  </a:lnTo>
                  <a:lnTo>
                    <a:pt x="186" y="83"/>
                  </a:lnTo>
                  <a:lnTo>
                    <a:pt x="184" y="83"/>
                  </a:lnTo>
                  <a:lnTo>
                    <a:pt x="183" y="83"/>
                  </a:lnTo>
                  <a:lnTo>
                    <a:pt x="183" y="82"/>
                  </a:lnTo>
                  <a:lnTo>
                    <a:pt x="182" y="82"/>
                  </a:lnTo>
                  <a:lnTo>
                    <a:pt x="182" y="83"/>
                  </a:lnTo>
                  <a:lnTo>
                    <a:pt x="181" y="83"/>
                  </a:lnTo>
                  <a:lnTo>
                    <a:pt x="181" y="82"/>
                  </a:lnTo>
                  <a:lnTo>
                    <a:pt x="181" y="83"/>
                  </a:lnTo>
                  <a:lnTo>
                    <a:pt x="180" y="83"/>
                  </a:lnTo>
                  <a:lnTo>
                    <a:pt x="178" y="83"/>
                  </a:lnTo>
                  <a:lnTo>
                    <a:pt x="178" y="82"/>
                  </a:lnTo>
                  <a:lnTo>
                    <a:pt x="177" y="82"/>
                  </a:lnTo>
                  <a:lnTo>
                    <a:pt x="177" y="83"/>
                  </a:lnTo>
                  <a:lnTo>
                    <a:pt x="176" y="83"/>
                  </a:lnTo>
                  <a:lnTo>
                    <a:pt x="177" y="82"/>
                  </a:lnTo>
                  <a:lnTo>
                    <a:pt x="176" y="83"/>
                  </a:lnTo>
                  <a:lnTo>
                    <a:pt x="176" y="82"/>
                  </a:lnTo>
                  <a:lnTo>
                    <a:pt x="175" y="82"/>
                  </a:lnTo>
                  <a:lnTo>
                    <a:pt x="176" y="82"/>
                  </a:lnTo>
                  <a:lnTo>
                    <a:pt x="176" y="80"/>
                  </a:lnTo>
                  <a:lnTo>
                    <a:pt x="175" y="82"/>
                  </a:lnTo>
                  <a:lnTo>
                    <a:pt x="174" y="82"/>
                  </a:lnTo>
                  <a:lnTo>
                    <a:pt x="172" y="82"/>
                  </a:lnTo>
                  <a:lnTo>
                    <a:pt x="172" y="83"/>
                  </a:lnTo>
                  <a:lnTo>
                    <a:pt x="172" y="82"/>
                  </a:lnTo>
                  <a:lnTo>
                    <a:pt x="171" y="82"/>
                  </a:lnTo>
                  <a:lnTo>
                    <a:pt x="170" y="82"/>
                  </a:lnTo>
                  <a:lnTo>
                    <a:pt x="170" y="80"/>
                  </a:lnTo>
                  <a:lnTo>
                    <a:pt x="169" y="79"/>
                  </a:lnTo>
                  <a:lnTo>
                    <a:pt x="170" y="79"/>
                  </a:lnTo>
                  <a:lnTo>
                    <a:pt x="171" y="79"/>
                  </a:lnTo>
                  <a:lnTo>
                    <a:pt x="171" y="78"/>
                  </a:lnTo>
                  <a:lnTo>
                    <a:pt x="172" y="78"/>
                  </a:lnTo>
                  <a:lnTo>
                    <a:pt x="172" y="79"/>
                  </a:lnTo>
                  <a:lnTo>
                    <a:pt x="172" y="78"/>
                  </a:lnTo>
                  <a:lnTo>
                    <a:pt x="172" y="77"/>
                  </a:lnTo>
                  <a:lnTo>
                    <a:pt x="174" y="77"/>
                  </a:lnTo>
                  <a:lnTo>
                    <a:pt x="175" y="78"/>
                  </a:lnTo>
                  <a:lnTo>
                    <a:pt x="176" y="77"/>
                  </a:lnTo>
                  <a:lnTo>
                    <a:pt x="176" y="78"/>
                  </a:lnTo>
                  <a:lnTo>
                    <a:pt x="177" y="78"/>
                  </a:lnTo>
                  <a:lnTo>
                    <a:pt x="177" y="77"/>
                  </a:lnTo>
                  <a:lnTo>
                    <a:pt x="178" y="78"/>
                  </a:lnTo>
                  <a:lnTo>
                    <a:pt x="180" y="78"/>
                  </a:lnTo>
                  <a:lnTo>
                    <a:pt x="180" y="77"/>
                  </a:lnTo>
                  <a:lnTo>
                    <a:pt x="181" y="77"/>
                  </a:lnTo>
                  <a:lnTo>
                    <a:pt x="182" y="77"/>
                  </a:lnTo>
                  <a:lnTo>
                    <a:pt x="183" y="77"/>
                  </a:lnTo>
                  <a:lnTo>
                    <a:pt x="184" y="78"/>
                  </a:lnTo>
                  <a:lnTo>
                    <a:pt x="184" y="79"/>
                  </a:lnTo>
                  <a:lnTo>
                    <a:pt x="184" y="78"/>
                  </a:lnTo>
                  <a:lnTo>
                    <a:pt x="184" y="77"/>
                  </a:lnTo>
                  <a:lnTo>
                    <a:pt x="183" y="77"/>
                  </a:lnTo>
                  <a:lnTo>
                    <a:pt x="183" y="76"/>
                  </a:lnTo>
                  <a:lnTo>
                    <a:pt x="182" y="74"/>
                  </a:lnTo>
                  <a:lnTo>
                    <a:pt x="182" y="76"/>
                  </a:lnTo>
                  <a:lnTo>
                    <a:pt x="182" y="77"/>
                  </a:lnTo>
                  <a:lnTo>
                    <a:pt x="182" y="76"/>
                  </a:lnTo>
                  <a:lnTo>
                    <a:pt x="181" y="77"/>
                  </a:lnTo>
                  <a:lnTo>
                    <a:pt x="180" y="76"/>
                  </a:lnTo>
                  <a:lnTo>
                    <a:pt x="178" y="76"/>
                  </a:lnTo>
                  <a:lnTo>
                    <a:pt x="177" y="76"/>
                  </a:lnTo>
                  <a:lnTo>
                    <a:pt x="177" y="77"/>
                  </a:lnTo>
                  <a:lnTo>
                    <a:pt x="177" y="76"/>
                  </a:lnTo>
                  <a:lnTo>
                    <a:pt x="177" y="74"/>
                  </a:lnTo>
                  <a:lnTo>
                    <a:pt x="180" y="73"/>
                  </a:lnTo>
                  <a:lnTo>
                    <a:pt x="183" y="73"/>
                  </a:lnTo>
                  <a:lnTo>
                    <a:pt x="184" y="73"/>
                  </a:lnTo>
                  <a:lnTo>
                    <a:pt x="186" y="73"/>
                  </a:lnTo>
                  <a:lnTo>
                    <a:pt x="184" y="73"/>
                  </a:lnTo>
                  <a:lnTo>
                    <a:pt x="184" y="72"/>
                  </a:lnTo>
                  <a:lnTo>
                    <a:pt x="187" y="72"/>
                  </a:lnTo>
                  <a:lnTo>
                    <a:pt x="188" y="72"/>
                  </a:lnTo>
                  <a:lnTo>
                    <a:pt x="188" y="73"/>
                  </a:lnTo>
                  <a:lnTo>
                    <a:pt x="188" y="72"/>
                  </a:lnTo>
                  <a:lnTo>
                    <a:pt x="189" y="72"/>
                  </a:lnTo>
                  <a:lnTo>
                    <a:pt x="190" y="72"/>
                  </a:lnTo>
                  <a:lnTo>
                    <a:pt x="190" y="73"/>
                  </a:lnTo>
                  <a:lnTo>
                    <a:pt x="190" y="74"/>
                  </a:lnTo>
                  <a:lnTo>
                    <a:pt x="190" y="73"/>
                  </a:lnTo>
                  <a:lnTo>
                    <a:pt x="189" y="72"/>
                  </a:lnTo>
                  <a:lnTo>
                    <a:pt x="190" y="72"/>
                  </a:lnTo>
                  <a:lnTo>
                    <a:pt x="192" y="72"/>
                  </a:lnTo>
                  <a:lnTo>
                    <a:pt x="192" y="74"/>
                  </a:lnTo>
                  <a:lnTo>
                    <a:pt x="192" y="73"/>
                  </a:lnTo>
                  <a:lnTo>
                    <a:pt x="192" y="74"/>
                  </a:lnTo>
                  <a:lnTo>
                    <a:pt x="192" y="73"/>
                  </a:lnTo>
                  <a:lnTo>
                    <a:pt x="192" y="72"/>
                  </a:lnTo>
                  <a:lnTo>
                    <a:pt x="193" y="71"/>
                  </a:lnTo>
                  <a:lnTo>
                    <a:pt x="190" y="72"/>
                  </a:lnTo>
                  <a:lnTo>
                    <a:pt x="189" y="72"/>
                  </a:lnTo>
                  <a:lnTo>
                    <a:pt x="189" y="71"/>
                  </a:lnTo>
                  <a:lnTo>
                    <a:pt x="189" y="72"/>
                  </a:lnTo>
                  <a:lnTo>
                    <a:pt x="189" y="71"/>
                  </a:lnTo>
                  <a:lnTo>
                    <a:pt x="188" y="72"/>
                  </a:lnTo>
                  <a:lnTo>
                    <a:pt x="187" y="72"/>
                  </a:lnTo>
                  <a:lnTo>
                    <a:pt x="184" y="72"/>
                  </a:lnTo>
                  <a:lnTo>
                    <a:pt x="187" y="70"/>
                  </a:lnTo>
                  <a:lnTo>
                    <a:pt x="188" y="70"/>
                  </a:lnTo>
                  <a:lnTo>
                    <a:pt x="188" y="68"/>
                  </a:lnTo>
                  <a:lnTo>
                    <a:pt x="189" y="68"/>
                  </a:lnTo>
                  <a:lnTo>
                    <a:pt x="190" y="68"/>
                  </a:lnTo>
                  <a:lnTo>
                    <a:pt x="192" y="68"/>
                  </a:lnTo>
                  <a:lnTo>
                    <a:pt x="192" y="67"/>
                  </a:lnTo>
                  <a:lnTo>
                    <a:pt x="190" y="67"/>
                  </a:lnTo>
                  <a:lnTo>
                    <a:pt x="189" y="67"/>
                  </a:lnTo>
                  <a:lnTo>
                    <a:pt x="189" y="68"/>
                  </a:lnTo>
                  <a:lnTo>
                    <a:pt x="189" y="67"/>
                  </a:lnTo>
                  <a:lnTo>
                    <a:pt x="188" y="68"/>
                  </a:lnTo>
                  <a:lnTo>
                    <a:pt x="188" y="67"/>
                  </a:lnTo>
                  <a:lnTo>
                    <a:pt x="187" y="67"/>
                  </a:lnTo>
                  <a:lnTo>
                    <a:pt x="187" y="66"/>
                  </a:lnTo>
                  <a:lnTo>
                    <a:pt x="187" y="67"/>
                  </a:lnTo>
                  <a:lnTo>
                    <a:pt x="187" y="68"/>
                  </a:lnTo>
                  <a:lnTo>
                    <a:pt x="187" y="67"/>
                  </a:lnTo>
                  <a:lnTo>
                    <a:pt x="186" y="66"/>
                  </a:lnTo>
                  <a:lnTo>
                    <a:pt x="186" y="67"/>
                  </a:lnTo>
                  <a:lnTo>
                    <a:pt x="187" y="68"/>
                  </a:lnTo>
                  <a:lnTo>
                    <a:pt x="186" y="70"/>
                  </a:lnTo>
                  <a:lnTo>
                    <a:pt x="184" y="70"/>
                  </a:lnTo>
                  <a:lnTo>
                    <a:pt x="184" y="71"/>
                  </a:lnTo>
                  <a:lnTo>
                    <a:pt x="184" y="72"/>
                  </a:lnTo>
                  <a:lnTo>
                    <a:pt x="183" y="72"/>
                  </a:lnTo>
                  <a:lnTo>
                    <a:pt x="183" y="71"/>
                  </a:lnTo>
                  <a:lnTo>
                    <a:pt x="183" y="72"/>
                  </a:lnTo>
                  <a:lnTo>
                    <a:pt x="182" y="71"/>
                  </a:lnTo>
                  <a:lnTo>
                    <a:pt x="182" y="72"/>
                  </a:lnTo>
                  <a:lnTo>
                    <a:pt x="181" y="73"/>
                  </a:lnTo>
                  <a:lnTo>
                    <a:pt x="181" y="72"/>
                  </a:lnTo>
                  <a:lnTo>
                    <a:pt x="182" y="72"/>
                  </a:lnTo>
                  <a:lnTo>
                    <a:pt x="182" y="71"/>
                  </a:lnTo>
                  <a:lnTo>
                    <a:pt x="181" y="72"/>
                  </a:lnTo>
                  <a:lnTo>
                    <a:pt x="181" y="73"/>
                  </a:lnTo>
                  <a:lnTo>
                    <a:pt x="178" y="73"/>
                  </a:lnTo>
                  <a:lnTo>
                    <a:pt x="177" y="74"/>
                  </a:lnTo>
                  <a:lnTo>
                    <a:pt x="177" y="73"/>
                  </a:lnTo>
                  <a:lnTo>
                    <a:pt x="176" y="74"/>
                  </a:lnTo>
                  <a:lnTo>
                    <a:pt x="175" y="74"/>
                  </a:lnTo>
                  <a:lnTo>
                    <a:pt x="174" y="74"/>
                  </a:lnTo>
                  <a:lnTo>
                    <a:pt x="174" y="73"/>
                  </a:lnTo>
                  <a:lnTo>
                    <a:pt x="175" y="73"/>
                  </a:lnTo>
                  <a:lnTo>
                    <a:pt x="175" y="72"/>
                  </a:lnTo>
                  <a:lnTo>
                    <a:pt x="175" y="73"/>
                  </a:lnTo>
                  <a:lnTo>
                    <a:pt x="174" y="73"/>
                  </a:lnTo>
                  <a:lnTo>
                    <a:pt x="172" y="73"/>
                  </a:lnTo>
                  <a:lnTo>
                    <a:pt x="172" y="74"/>
                  </a:lnTo>
                  <a:lnTo>
                    <a:pt x="171" y="74"/>
                  </a:lnTo>
                  <a:lnTo>
                    <a:pt x="171" y="76"/>
                  </a:lnTo>
                  <a:lnTo>
                    <a:pt x="171" y="74"/>
                  </a:lnTo>
                  <a:lnTo>
                    <a:pt x="170" y="76"/>
                  </a:lnTo>
                  <a:lnTo>
                    <a:pt x="170" y="77"/>
                  </a:lnTo>
                  <a:lnTo>
                    <a:pt x="169" y="77"/>
                  </a:lnTo>
                  <a:lnTo>
                    <a:pt x="168" y="78"/>
                  </a:lnTo>
                  <a:lnTo>
                    <a:pt x="168" y="77"/>
                  </a:lnTo>
                  <a:lnTo>
                    <a:pt x="168" y="76"/>
                  </a:lnTo>
                  <a:lnTo>
                    <a:pt x="169" y="74"/>
                  </a:lnTo>
                  <a:lnTo>
                    <a:pt x="169" y="73"/>
                  </a:lnTo>
                  <a:lnTo>
                    <a:pt x="170" y="73"/>
                  </a:lnTo>
                  <a:lnTo>
                    <a:pt x="170" y="72"/>
                  </a:lnTo>
                  <a:lnTo>
                    <a:pt x="171" y="72"/>
                  </a:lnTo>
                  <a:lnTo>
                    <a:pt x="170" y="73"/>
                  </a:lnTo>
                  <a:lnTo>
                    <a:pt x="170" y="74"/>
                  </a:lnTo>
                  <a:lnTo>
                    <a:pt x="171" y="73"/>
                  </a:lnTo>
                  <a:lnTo>
                    <a:pt x="171" y="72"/>
                  </a:lnTo>
                  <a:lnTo>
                    <a:pt x="172" y="71"/>
                  </a:lnTo>
                  <a:lnTo>
                    <a:pt x="171" y="71"/>
                  </a:lnTo>
                  <a:lnTo>
                    <a:pt x="170" y="72"/>
                  </a:lnTo>
                  <a:lnTo>
                    <a:pt x="170" y="73"/>
                  </a:lnTo>
                  <a:lnTo>
                    <a:pt x="169" y="73"/>
                  </a:lnTo>
                  <a:lnTo>
                    <a:pt x="169" y="72"/>
                  </a:lnTo>
                  <a:lnTo>
                    <a:pt x="170" y="72"/>
                  </a:lnTo>
                  <a:lnTo>
                    <a:pt x="169" y="71"/>
                  </a:lnTo>
                  <a:lnTo>
                    <a:pt x="169" y="72"/>
                  </a:lnTo>
                  <a:lnTo>
                    <a:pt x="168" y="72"/>
                  </a:lnTo>
                  <a:lnTo>
                    <a:pt x="168" y="73"/>
                  </a:lnTo>
                  <a:lnTo>
                    <a:pt x="169" y="73"/>
                  </a:lnTo>
                  <a:lnTo>
                    <a:pt x="168" y="74"/>
                  </a:lnTo>
                  <a:lnTo>
                    <a:pt x="168" y="73"/>
                  </a:lnTo>
                  <a:lnTo>
                    <a:pt x="166" y="73"/>
                  </a:lnTo>
                  <a:lnTo>
                    <a:pt x="168" y="72"/>
                  </a:lnTo>
                  <a:lnTo>
                    <a:pt x="169" y="71"/>
                  </a:lnTo>
                  <a:lnTo>
                    <a:pt x="168" y="71"/>
                  </a:lnTo>
                  <a:lnTo>
                    <a:pt x="168" y="72"/>
                  </a:lnTo>
                  <a:lnTo>
                    <a:pt x="166" y="72"/>
                  </a:lnTo>
                  <a:lnTo>
                    <a:pt x="166" y="71"/>
                  </a:lnTo>
                  <a:lnTo>
                    <a:pt x="166" y="72"/>
                  </a:lnTo>
                  <a:lnTo>
                    <a:pt x="168" y="74"/>
                  </a:lnTo>
                  <a:lnTo>
                    <a:pt x="168" y="76"/>
                  </a:lnTo>
                  <a:lnTo>
                    <a:pt x="166" y="74"/>
                  </a:lnTo>
                  <a:lnTo>
                    <a:pt x="165" y="76"/>
                  </a:lnTo>
                  <a:lnTo>
                    <a:pt x="165" y="74"/>
                  </a:lnTo>
                  <a:lnTo>
                    <a:pt x="164" y="74"/>
                  </a:lnTo>
                  <a:lnTo>
                    <a:pt x="164" y="76"/>
                  </a:lnTo>
                  <a:lnTo>
                    <a:pt x="163" y="77"/>
                  </a:lnTo>
                  <a:lnTo>
                    <a:pt x="161" y="73"/>
                  </a:lnTo>
                  <a:lnTo>
                    <a:pt x="159" y="70"/>
                  </a:lnTo>
                  <a:lnTo>
                    <a:pt x="159" y="68"/>
                  </a:lnTo>
                  <a:lnTo>
                    <a:pt x="160" y="67"/>
                  </a:lnTo>
                  <a:lnTo>
                    <a:pt x="161" y="65"/>
                  </a:lnTo>
                  <a:lnTo>
                    <a:pt x="163" y="65"/>
                  </a:lnTo>
                  <a:lnTo>
                    <a:pt x="163" y="64"/>
                  </a:lnTo>
                  <a:lnTo>
                    <a:pt x="161" y="64"/>
                  </a:lnTo>
                  <a:lnTo>
                    <a:pt x="160" y="64"/>
                  </a:lnTo>
                  <a:lnTo>
                    <a:pt x="161" y="62"/>
                  </a:lnTo>
                  <a:lnTo>
                    <a:pt x="160" y="64"/>
                  </a:lnTo>
                  <a:lnTo>
                    <a:pt x="160" y="62"/>
                  </a:lnTo>
                  <a:lnTo>
                    <a:pt x="159" y="65"/>
                  </a:lnTo>
                  <a:lnTo>
                    <a:pt x="158" y="65"/>
                  </a:lnTo>
                  <a:lnTo>
                    <a:pt x="157" y="66"/>
                  </a:lnTo>
                  <a:lnTo>
                    <a:pt x="155" y="66"/>
                  </a:lnTo>
                  <a:lnTo>
                    <a:pt x="155" y="65"/>
                  </a:lnTo>
                  <a:lnTo>
                    <a:pt x="155" y="66"/>
                  </a:lnTo>
                  <a:lnTo>
                    <a:pt x="153" y="66"/>
                  </a:lnTo>
                  <a:lnTo>
                    <a:pt x="151" y="66"/>
                  </a:lnTo>
                  <a:lnTo>
                    <a:pt x="149" y="66"/>
                  </a:lnTo>
                  <a:lnTo>
                    <a:pt x="149" y="65"/>
                  </a:lnTo>
                  <a:lnTo>
                    <a:pt x="148" y="64"/>
                  </a:lnTo>
                  <a:lnTo>
                    <a:pt x="147" y="64"/>
                  </a:lnTo>
                  <a:lnTo>
                    <a:pt x="147" y="62"/>
                  </a:lnTo>
                  <a:lnTo>
                    <a:pt x="148" y="61"/>
                  </a:lnTo>
                  <a:lnTo>
                    <a:pt x="151" y="61"/>
                  </a:lnTo>
                  <a:lnTo>
                    <a:pt x="153" y="60"/>
                  </a:lnTo>
                  <a:lnTo>
                    <a:pt x="155" y="60"/>
                  </a:lnTo>
                  <a:lnTo>
                    <a:pt x="154" y="60"/>
                  </a:lnTo>
                  <a:lnTo>
                    <a:pt x="153" y="60"/>
                  </a:lnTo>
                  <a:lnTo>
                    <a:pt x="157" y="59"/>
                  </a:lnTo>
                  <a:lnTo>
                    <a:pt x="158" y="59"/>
                  </a:lnTo>
                  <a:lnTo>
                    <a:pt x="159" y="59"/>
                  </a:lnTo>
                  <a:lnTo>
                    <a:pt x="159" y="60"/>
                  </a:lnTo>
                  <a:lnTo>
                    <a:pt x="159" y="59"/>
                  </a:lnTo>
                  <a:lnTo>
                    <a:pt x="160" y="60"/>
                  </a:lnTo>
                  <a:lnTo>
                    <a:pt x="160" y="59"/>
                  </a:lnTo>
                  <a:lnTo>
                    <a:pt x="161" y="59"/>
                  </a:lnTo>
                  <a:lnTo>
                    <a:pt x="160" y="59"/>
                  </a:lnTo>
                  <a:lnTo>
                    <a:pt x="160" y="58"/>
                  </a:lnTo>
                  <a:lnTo>
                    <a:pt x="161" y="58"/>
                  </a:lnTo>
                  <a:lnTo>
                    <a:pt x="161" y="56"/>
                  </a:lnTo>
                  <a:lnTo>
                    <a:pt x="161" y="55"/>
                  </a:lnTo>
                  <a:lnTo>
                    <a:pt x="160" y="55"/>
                  </a:lnTo>
                  <a:lnTo>
                    <a:pt x="159" y="55"/>
                  </a:lnTo>
                  <a:lnTo>
                    <a:pt x="159" y="54"/>
                  </a:lnTo>
                  <a:lnTo>
                    <a:pt x="158" y="53"/>
                  </a:lnTo>
                  <a:lnTo>
                    <a:pt x="159" y="53"/>
                  </a:lnTo>
                  <a:lnTo>
                    <a:pt x="160" y="54"/>
                  </a:lnTo>
                  <a:lnTo>
                    <a:pt x="160" y="53"/>
                  </a:lnTo>
                  <a:lnTo>
                    <a:pt x="160" y="52"/>
                  </a:lnTo>
                  <a:lnTo>
                    <a:pt x="159" y="52"/>
                  </a:lnTo>
                  <a:lnTo>
                    <a:pt x="159" y="50"/>
                  </a:lnTo>
                  <a:lnTo>
                    <a:pt x="158" y="50"/>
                  </a:lnTo>
                  <a:lnTo>
                    <a:pt x="158" y="52"/>
                  </a:lnTo>
                  <a:lnTo>
                    <a:pt x="157" y="52"/>
                  </a:lnTo>
                  <a:lnTo>
                    <a:pt x="157" y="50"/>
                  </a:lnTo>
                  <a:lnTo>
                    <a:pt x="155" y="50"/>
                  </a:lnTo>
                  <a:lnTo>
                    <a:pt x="155" y="52"/>
                  </a:lnTo>
                  <a:lnTo>
                    <a:pt x="154" y="52"/>
                  </a:lnTo>
                  <a:lnTo>
                    <a:pt x="154" y="50"/>
                  </a:lnTo>
                  <a:lnTo>
                    <a:pt x="154" y="52"/>
                  </a:lnTo>
                  <a:lnTo>
                    <a:pt x="153" y="53"/>
                  </a:lnTo>
                  <a:lnTo>
                    <a:pt x="152" y="53"/>
                  </a:lnTo>
                  <a:lnTo>
                    <a:pt x="151" y="53"/>
                  </a:lnTo>
                  <a:lnTo>
                    <a:pt x="151" y="52"/>
                  </a:lnTo>
                  <a:lnTo>
                    <a:pt x="149" y="52"/>
                  </a:lnTo>
                  <a:lnTo>
                    <a:pt x="149" y="53"/>
                  </a:lnTo>
                  <a:lnTo>
                    <a:pt x="149" y="54"/>
                  </a:lnTo>
                  <a:lnTo>
                    <a:pt x="149" y="55"/>
                  </a:lnTo>
                  <a:lnTo>
                    <a:pt x="148" y="54"/>
                  </a:lnTo>
                  <a:lnTo>
                    <a:pt x="148" y="53"/>
                  </a:lnTo>
                  <a:lnTo>
                    <a:pt x="148" y="52"/>
                  </a:lnTo>
                  <a:lnTo>
                    <a:pt x="147" y="52"/>
                  </a:lnTo>
                  <a:lnTo>
                    <a:pt x="146" y="52"/>
                  </a:lnTo>
                  <a:lnTo>
                    <a:pt x="146" y="50"/>
                  </a:lnTo>
                  <a:lnTo>
                    <a:pt x="145" y="50"/>
                  </a:lnTo>
                  <a:lnTo>
                    <a:pt x="143" y="52"/>
                  </a:lnTo>
                  <a:lnTo>
                    <a:pt x="145" y="53"/>
                  </a:lnTo>
                  <a:lnTo>
                    <a:pt x="143" y="53"/>
                  </a:lnTo>
                  <a:lnTo>
                    <a:pt x="143" y="54"/>
                  </a:lnTo>
                  <a:lnTo>
                    <a:pt x="142" y="54"/>
                  </a:lnTo>
                  <a:lnTo>
                    <a:pt x="142" y="53"/>
                  </a:lnTo>
                  <a:lnTo>
                    <a:pt x="141" y="53"/>
                  </a:lnTo>
                  <a:lnTo>
                    <a:pt x="141" y="50"/>
                  </a:lnTo>
                  <a:lnTo>
                    <a:pt x="141" y="49"/>
                  </a:lnTo>
                  <a:lnTo>
                    <a:pt x="141" y="50"/>
                  </a:lnTo>
                  <a:lnTo>
                    <a:pt x="141" y="49"/>
                  </a:lnTo>
                  <a:lnTo>
                    <a:pt x="141" y="48"/>
                  </a:lnTo>
                  <a:lnTo>
                    <a:pt x="142" y="48"/>
                  </a:lnTo>
                  <a:lnTo>
                    <a:pt x="143" y="48"/>
                  </a:lnTo>
                  <a:lnTo>
                    <a:pt x="143" y="49"/>
                  </a:lnTo>
                  <a:lnTo>
                    <a:pt x="143" y="48"/>
                  </a:lnTo>
                  <a:lnTo>
                    <a:pt x="143" y="47"/>
                  </a:lnTo>
                  <a:lnTo>
                    <a:pt x="142" y="48"/>
                  </a:lnTo>
                  <a:lnTo>
                    <a:pt x="141" y="48"/>
                  </a:lnTo>
                  <a:lnTo>
                    <a:pt x="141" y="47"/>
                  </a:lnTo>
                  <a:lnTo>
                    <a:pt x="141" y="46"/>
                  </a:lnTo>
                  <a:lnTo>
                    <a:pt x="142" y="46"/>
                  </a:lnTo>
                  <a:lnTo>
                    <a:pt x="142" y="47"/>
                  </a:lnTo>
                  <a:lnTo>
                    <a:pt x="143" y="47"/>
                  </a:lnTo>
                  <a:lnTo>
                    <a:pt x="143" y="46"/>
                  </a:lnTo>
                  <a:lnTo>
                    <a:pt x="142" y="46"/>
                  </a:lnTo>
                  <a:lnTo>
                    <a:pt x="143" y="44"/>
                  </a:lnTo>
                  <a:lnTo>
                    <a:pt x="145" y="44"/>
                  </a:lnTo>
                  <a:lnTo>
                    <a:pt x="146" y="43"/>
                  </a:lnTo>
                  <a:lnTo>
                    <a:pt x="147" y="43"/>
                  </a:lnTo>
                  <a:lnTo>
                    <a:pt x="147" y="44"/>
                  </a:lnTo>
                  <a:lnTo>
                    <a:pt x="148" y="43"/>
                  </a:lnTo>
                  <a:lnTo>
                    <a:pt x="148" y="42"/>
                  </a:lnTo>
                  <a:lnTo>
                    <a:pt x="147" y="42"/>
                  </a:lnTo>
                  <a:lnTo>
                    <a:pt x="146" y="42"/>
                  </a:lnTo>
                  <a:lnTo>
                    <a:pt x="146" y="43"/>
                  </a:lnTo>
                  <a:lnTo>
                    <a:pt x="145" y="43"/>
                  </a:lnTo>
                  <a:lnTo>
                    <a:pt x="143" y="43"/>
                  </a:lnTo>
                  <a:lnTo>
                    <a:pt x="142" y="44"/>
                  </a:lnTo>
                  <a:lnTo>
                    <a:pt x="143" y="43"/>
                  </a:lnTo>
                  <a:lnTo>
                    <a:pt x="142" y="42"/>
                  </a:lnTo>
                  <a:lnTo>
                    <a:pt x="142" y="43"/>
                  </a:lnTo>
                  <a:lnTo>
                    <a:pt x="141" y="42"/>
                  </a:lnTo>
                  <a:lnTo>
                    <a:pt x="140" y="42"/>
                  </a:lnTo>
                  <a:lnTo>
                    <a:pt x="140" y="43"/>
                  </a:lnTo>
                  <a:lnTo>
                    <a:pt x="139" y="44"/>
                  </a:lnTo>
                  <a:lnTo>
                    <a:pt x="139" y="43"/>
                  </a:lnTo>
                  <a:lnTo>
                    <a:pt x="137" y="43"/>
                  </a:lnTo>
                  <a:lnTo>
                    <a:pt x="137" y="44"/>
                  </a:lnTo>
                  <a:lnTo>
                    <a:pt x="137" y="46"/>
                  </a:lnTo>
                  <a:lnTo>
                    <a:pt x="136" y="46"/>
                  </a:lnTo>
                  <a:lnTo>
                    <a:pt x="137" y="46"/>
                  </a:lnTo>
                  <a:lnTo>
                    <a:pt x="137" y="44"/>
                  </a:lnTo>
                  <a:lnTo>
                    <a:pt x="136" y="44"/>
                  </a:lnTo>
                  <a:lnTo>
                    <a:pt x="135" y="46"/>
                  </a:lnTo>
                  <a:lnTo>
                    <a:pt x="135" y="47"/>
                  </a:lnTo>
                  <a:lnTo>
                    <a:pt x="135" y="48"/>
                  </a:lnTo>
                  <a:lnTo>
                    <a:pt x="135" y="47"/>
                  </a:lnTo>
                  <a:lnTo>
                    <a:pt x="136" y="47"/>
                  </a:lnTo>
                  <a:lnTo>
                    <a:pt x="136" y="48"/>
                  </a:lnTo>
                  <a:lnTo>
                    <a:pt x="134" y="49"/>
                  </a:lnTo>
                  <a:lnTo>
                    <a:pt x="133" y="50"/>
                  </a:lnTo>
                  <a:lnTo>
                    <a:pt x="133" y="49"/>
                  </a:lnTo>
                  <a:lnTo>
                    <a:pt x="133" y="47"/>
                  </a:lnTo>
                  <a:lnTo>
                    <a:pt x="134" y="47"/>
                  </a:lnTo>
                  <a:lnTo>
                    <a:pt x="134" y="46"/>
                  </a:lnTo>
                  <a:lnTo>
                    <a:pt x="135" y="44"/>
                  </a:lnTo>
                  <a:lnTo>
                    <a:pt x="134" y="44"/>
                  </a:lnTo>
                  <a:lnTo>
                    <a:pt x="135" y="40"/>
                  </a:lnTo>
                  <a:lnTo>
                    <a:pt x="136" y="40"/>
                  </a:lnTo>
                  <a:lnTo>
                    <a:pt x="136" y="41"/>
                  </a:lnTo>
                  <a:lnTo>
                    <a:pt x="137" y="41"/>
                  </a:lnTo>
                  <a:lnTo>
                    <a:pt x="137" y="40"/>
                  </a:lnTo>
                  <a:lnTo>
                    <a:pt x="139" y="40"/>
                  </a:lnTo>
                  <a:lnTo>
                    <a:pt x="140" y="40"/>
                  </a:lnTo>
                  <a:lnTo>
                    <a:pt x="141" y="40"/>
                  </a:lnTo>
                  <a:lnTo>
                    <a:pt x="142" y="40"/>
                  </a:lnTo>
                  <a:lnTo>
                    <a:pt x="143" y="40"/>
                  </a:lnTo>
                  <a:lnTo>
                    <a:pt x="143" y="41"/>
                  </a:lnTo>
                  <a:lnTo>
                    <a:pt x="143" y="40"/>
                  </a:lnTo>
                  <a:lnTo>
                    <a:pt x="143" y="38"/>
                  </a:lnTo>
                  <a:lnTo>
                    <a:pt x="142" y="38"/>
                  </a:lnTo>
                  <a:lnTo>
                    <a:pt x="142" y="37"/>
                  </a:lnTo>
                  <a:lnTo>
                    <a:pt x="141" y="38"/>
                  </a:lnTo>
                  <a:lnTo>
                    <a:pt x="141" y="37"/>
                  </a:lnTo>
                  <a:lnTo>
                    <a:pt x="140" y="38"/>
                  </a:lnTo>
                  <a:lnTo>
                    <a:pt x="139" y="38"/>
                  </a:lnTo>
                  <a:lnTo>
                    <a:pt x="140" y="38"/>
                  </a:lnTo>
                  <a:lnTo>
                    <a:pt x="139" y="38"/>
                  </a:lnTo>
                  <a:lnTo>
                    <a:pt x="139" y="37"/>
                  </a:lnTo>
                  <a:lnTo>
                    <a:pt x="137" y="37"/>
                  </a:lnTo>
                  <a:lnTo>
                    <a:pt x="137" y="38"/>
                  </a:lnTo>
                  <a:lnTo>
                    <a:pt x="136" y="38"/>
                  </a:lnTo>
                  <a:lnTo>
                    <a:pt x="137" y="37"/>
                  </a:lnTo>
                  <a:lnTo>
                    <a:pt x="139" y="36"/>
                  </a:lnTo>
                  <a:lnTo>
                    <a:pt x="137" y="36"/>
                  </a:lnTo>
                  <a:lnTo>
                    <a:pt x="137" y="35"/>
                  </a:lnTo>
                  <a:lnTo>
                    <a:pt x="137" y="36"/>
                  </a:lnTo>
                  <a:lnTo>
                    <a:pt x="136" y="36"/>
                  </a:lnTo>
                  <a:lnTo>
                    <a:pt x="136" y="37"/>
                  </a:lnTo>
                  <a:lnTo>
                    <a:pt x="136" y="35"/>
                  </a:lnTo>
                  <a:lnTo>
                    <a:pt x="135" y="36"/>
                  </a:lnTo>
                  <a:lnTo>
                    <a:pt x="134" y="36"/>
                  </a:lnTo>
                  <a:lnTo>
                    <a:pt x="134" y="37"/>
                  </a:lnTo>
                  <a:lnTo>
                    <a:pt x="134" y="38"/>
                  </a:lnTo>
                  <a:lnTo>
                    <a:pt x="135" y="40"/>
                  </a:lnTo>
                  <a:lnTo>
                    <a:pt x="134" y="38"/>
                  </a:lnTo>
                  <a:lnTo>
                    <a:pt x="135" y="40"/>
                  </a:lnTo>
                  <a:lnTo>
                    <a:pt x="134" y="43"/>
                  </a:lnTo>
                  <a:lnTo>
                    <a:pt x="133" y="43"/>
                  </a:lnTo>
                  <a:lnTo>
                    <a:pt x="133" y="44"/>
                  </a:lnTo>
                  <a:lnTo>
                    <a:pt x="131" y="44"/>
                  </a:lnTo>
                  <a:lnTo>
                    <a:pt x="131" y="43"/>
                  </a:lnTo>
                  <a:lnTo>
                    <a:pt x="130" y="44"/>
                  </a:lnTo>
                  <a:lnTo>
                    <a:pt x="130" y="43"/>
                  </a:lnTo>
                  <a:lnTo>
                    <a:pt x="129" y="43"/>
                  </a:lnTo>
                  <a:lnTo>
                    <a:pt x="128" y="43"/>
                  </a:lnTo>
                  <a:lnTo>
                    <a:pt x="129" y="43"/>
                  </a:lnTo>
                  <a:lnTo>
                    <a:pt x="129" y="42"/>
                  </a:lnTo>
                  <a:lnTo>
                    <a:pt x="128" y="42"/>
                  </a:lnTo>
                  <a:lnTo>
                    <a:pt x="127" y="42"/>
                  </a:lnTo>
                  <a:lnTo>
                    <a:pt x="127" y="43"/>
                  </a:lnTo>
                  <a:lnTo>
                    <a:pt x="125" y="43"/>
                  </a:lnTo>
                  <a:lnTo>
                    <a:pt x="124" y="43"/>
                  </a:lnTo>
                  <a:lnTo>
                    <a:pt x="124" y="40"/>
                  </a:lnTo>
                  <a:lnTo>
                    <a:pt x="125" y="38"/>
                  </a:lnTo>
                  <a:lnTo>
                    <a:pt x="125" y="40"/>
                  </a:lnTo>
                  <a:lnTo>
                    <a:pt x="125" y="38"/>
                  </a:lnTo>
                  <a:lnTo>
                    <a:pt x="127" y="38"/>
                  </a:lnTo>
                  <a:lnTo>
                    <a:pt x="128" y="38"/>
                  </a:lnTo>
                  <a:lnTo>
                    <a:pt x="127" y="37"/>
                  </a:lnTo>
                  <a:lnTo>
                    <a:pt x="127" y="36"/>
                  </a:lnTo>
                  <a:lnTo>
                    <a:pt x="128" y="35"/>
                  </a:lnTo>
                  <a:lnTo>
                    <a:pt x="127" y="34"/>
                  </a:lnTo>
                  <a:lnTo>
                    <a:pt x="127" y="32"/>
                  </a:lnTo>
                  <a:lnTo>
                    <a:pt x="125" y="34"/>
                  </a:lnTo>
                  <a:lnTo>
                    <a:pt x="125" y="32"/>
                  </a:lnTo>
                  <a:lnTo>
                    <a:pt x="125" y="31"/>
                  </a:lnTo>
                  <a:lnTo>
                    <a:pt x="125" y="30"/>
                  </a:lnTo>
                  <a:lnTo>
                    <a:pt x="124" y="30"/>
                  </a:lnTo>
                  <a:lnTo>
                    <a:pt x="124" y="31"/>
                  </a:lnTo>
                  <a:lnTo>
                    <a:pt x="123" y="31"/>
                  </a:lnTo>
                  <a:lnTo>
                    <a:pt x="124" y="32"/>
                  </a:lnTo>
                  <a:lnTo>
                    <a:pt x="124" y="31"/>
                  </a:lnTo>
                  <a:lnTo>
                    <a:pt x="124" y="32"/>
                  </a:lnTo>
                  <a:lnTo>
                    <a:pt x="124" y="34"/>
                  </a:lnTo>
                  <a:lnTo>
                    <a:pt x="124" y="35"/>
                  </a:lnTo>
                  <a:lnTo>
                    <a:pt x="125" y="35"/>
                  </a:lnTo>
                  <a:lnTo>
                    <a:pt x="124" y="36"/>
                  </a:lnTo>
                  <a:lnTo>
                    <a:pt x="124" y="37"/>
                  </a:lnTo>
                  <a:lnTo>
                    <a:pt x="123" y="37"/>
                  </a:lnTo>
                  <a:lnTo>
                    <a:pt x="124" y="38"/>
                  </a:lnTo>
                  <a:lnTo>
                    <a:pt x="123" y="37"/>
                  </a:lnTo>
                  <a:lnTo>
                    <a:pt x="123" y="38"/>
                  </a:lnTo>
                  <a:lnTo>
                    <a:pt x="122" y="38"/>
                  </a:lnTo>
                  <a:lnTo>
                    <a:pt x="123" y="38"/>
                  </a:lnTo>
                  <a:lnTo>
                    <a:pt x="123" y="40"/>
                  </a:lnTo>
                  <a:lnTo>
                    <a:pt x="123" y="41"/>
                  </a:lnTo>
                  <a:lnTo>
                    <a:pt x="122" y="42"/>
                  </a:lnTo>
                  <a:lnTo>
                    <a:pt x="121" y="42"/>
                  </a:lnTo>
                  <a:lnTo>
                    <a:pt x="119" y="42"/>
                  </a:lnTo>
                  <a:lnTo>
                    <a:pt x="119" y="41"/>
                  </a:lnTo>
                  <a:lnTo>
                    <a:pt x="118" y="41"/>
                  </a:lnTo>
                  <a:lnTo>
                    <a:pt x="117" y="41"/>
                  </a:lnTo>
                  <a:lnTo>
                    <a:pt x="118" y="40"/>
                  </a:lnTo>
                  <a:lnTo>
                    <a:pt x="118" y="38"/>
                  </a:lnTo>
                  <a:lnTo>
                    <a:pt x="119" y="38"/>
                  </a:lnTo>
                  <a:lnTo>
                    <a:pt x="119" y="37"/>
                  </a:lnTo>
                  <a:lnTo>
                    <a:pt x="119" y="36"/>
                  </a:lnTo>
                  <a:lnTo>
                    <a:pt x="119" y="35"/>
                  </a:lnTo>
                  <a:lnTo>
                    <a:pt x="119" y="34"/>
                  </a:lnTo>
                  <a:lnTo>
                    <a:pt x="118" y="34"/>
                  </a:lnTo>
                  <a:lnTo>
                    <a:pt x="117" y="34"/>
                  </a:lnTo>
                  <a:lnTo>
                    <a:pt x="116" y="34"/>
                  </a:lnTo>
                  <a:lnTo>
                    <a:pt x="116" y="35"/>
                  </a:lnTo>
                  <a:lnTo>
                    <a:pt x="115" y="35"/>
                  </a:lnTo>
                  <a:lnTo>
                    <a:pt x="115" y="36"/>
                  </a:lnTo>
                  <a:lnTo>
                    <a:pt x="113" y="36"/>
                  </a:lnTo>
                  <a:lnTo>
                    <a:pt x="112" y="36"/>
                  </a:lnTo>
                  <a:lnTo>
                    <a:pt x="112" y="37"/>
                  </a:lnTo>
                  <a:lnTo>
                    <a:pt x="113" y="37"/>
                  </a:lnTo>
                  <a:lnTo>
                    <a:pt x="115" y="37"/>
                  </a:lnTo>
                  <a:lnTo>
                    <a:pt x="115" y="38"/>
                  </a:lnTo>
                  <a:lnTo>
                    <a:pt x="115" y="40"/>
                  </a:lnTo>
                  <a:lnTo>
                    <a:pt x="113" y="41"/>
                  </a:lnTo>
                  <a:lnTo>
                    <a:pt x="115" y="41"/>
                  </a:lnTo>
                  <a:lnTo>
                    <a:pt x="115" y="42"/>
                  </a:lnTo>
                  <a:lnTo>
                    <a:pt x="113" y="42"/>
                  </a:lnTo>
                  <a:lnTo>
                    <a:pt x="113" y="41"/>
                  </a:lnTo>
                  <a:lnTo>
                    <a:pt x="113" y="40"/>
                  </a:lnTo>
                  <a:lnTo>
                    <a:pt x="112" y="41"/>
                  </a:lnTo>
                  <a:lnTo>
                    <a:pt x="112" y="42"/>
                  </a:lnTo>
                  <a:lnTo>
                    <a:pt x="111" y="42"/>
                  </a:lnTo>
                  <a:lnTo>
                    <a:pt x="111" y="41"/>
                  </a:lnTo>
                  <a:lnTo>
                    <a:pt x="110" y="41"/>
                  </a:lnTo>
                  <a:lnTo>
                    <a:pt x="110" y="40"/>
                  </a:lnTo>
                  <a:lnTo>
                    <a:pt x="110" y="38"/>
                  </a:lnTo>
                  <a:lnTo>
                    <a:pt x="109" y="38"/>
                  </a:lnTo>
                  <a:lnTo>
                    <a:pt x="109" y="40"/>
                  </a:lnTo>
                  <a:lnTo>
                    <a:pt x="107" y="40"/>
                  </a:lnTo>
                  <a:lnTo>
                    <a:pt x="109" y="38"/>
                  </a:lnTo>
                  <a:lnTo>
                    <a:pt x="107" y="37"/>
                  </a:lnTo>
                  <a:lnTo>
                    <a:pt x="107" y="36"/>
                  </a:lnTo>
                  <a:lnTo>
                    <a:pt x="107" y="37"/>
                  </a:lnTo>
                  <a:lnTo>
                    <a:pt x="109" y="36"/>
                  </a:lnTo>
                  <a:lnTo>
                    <a:pt x="109" y="35"/>
                  </a:lnTo>
                  <a:lnTo>
                    <a:pt x="110" y="35"/>
                  </a:lnTo>
                  <a:lnTo>
                    <a:pt x="110" y="34"/>
                  </a:lnTo>
                  <a:lnTo>
                    <a:pt x="110" y="32"/>
                  </a:lnTo>
                  <a:lnTo>
                    <a:pt x="110" y="31"/>
                  </a:lnTo>
                  <a:lnTo>
                    <a:pt x="110" y="32"/>
                  </a:lnTo>
                  <a:lnTo>
                    <a:pt x="109" y="32"/>
                  </a:lnTo>
                  <a:lnTo>
                    <a:pt x="109" y="31"/>
                  </a:lnTo>
                  <a:lnTo>
                    <a:pt x="109" y="30"/>
                  </a:lnTo>
                  <a:lnTo>
                    <a:pt x="109" y="29"/>
                  </a:lnTo>
                  <a:lnTo>
                    <a:pt x="107" y="29"/>
                  </a:lnTo>
                  <a:lnTo>
                    <a:pt x="107" y="30"/>
                  </a:lnTo>
                  <a:lnTo>
                    <a:pt x="107" y="29"/>
                  </a:lnTo>
                  <a:lnTo>
                    <a:pt x="106" y="29"/>
                  </a:lnTo>
                  <a:lnTo>
                    <a:pt x="106" y="28"/>
                  </a:lnTo>
                  <a:lnTo>
                    <a:pt x="105" y="29"/>
                  </a:lnTo>
                  <a:lnTo>
                    <a:pt x="105" y="28"/>
                  </a:lnTo>
                  <a:lnTo>
                    <a:pt x="104" y="28"/>
                  </a:lnTo>
                  <a:lnTo>
                    <a:pt x="104" y="29"/>
                  </a:lnTo>
                  <a:lnTo>
                    <a:pt x="102" y="31"/>
                  </a:lnTo>
                  <a:lnTo>
                    <a:pt x="101" y="31"/>
                  </a:lnTo>
                  <a:lnTo>
                    <a:pt x="101" y="30"/>
                  </a:lnTo>
                  <a:lnTo>
                    <a:pt x="100" y="29"/>
                  </a:lnTo>
                  <a:lnTo>
                    <a:pt x="100" y="28"/>
                  </a:lnTo>
                  <a:lnTo>
                    <a:pt x="101" y="29"/>
                  </a:lnTo>
                  <a:lnTo>
                    <a:pt x="101" y="26"/>
                  </a:lnTo>
                  <a:lnTo>
                    <a:pt x="100" y="26"/>
                  </a:lnTo>
                  <a:lnTo>
                    <a:pt x="100" y="25"/>
                  </a:lnTo>
                  <a:lnTo>
                    <a:pt x="100" y="24"/>
                  </a:lnTo>
                  <a:lnTo>
                    <a:pt x="99" y="18"/>
                  </a:lnTo>
                  <a:lnTo>
                    <a:pt x="99" y="14"/>
                  </a:lnTo>
                  <a:lnTo>
                    <a:pt x="100" y="13"/>
                  </a:lnTo>
                  <a:lnTo>
                    <a:pt x="101" y="13"/>
                  </a:lnTo>
                  <a:lnTo>
                    <a:pt x="104" y="13"/>
                  </a:lnTo>
                  <a:lnTo>
                    <a:pt x="104" y="12"/>
                  </a:lnTo>
                  <a:lnTo>
                    <a:pt x="104" y="11"/>
                  </a:lnTo>
                  <a:lnTo>
                    <a:pt x="102" y="11"/>
                  </a:lnTo>
                  <a:lnTo>
                    <a:pt x="101" y="11"/>
                  </a:lnTo>
                  <a:lnTo>
                    <a:pt x="102" y="11"/>
                  </a:lnTo>
                  <a:lnTo>
                    <a:pt x="101" y="10"/>
                  </a:lnTo>
                  <a:lnTo>
                    <a:pt x="101" y="11"/>
                  </a:lnTo>
                  <a:lnTo>
                    <a:pt x="101" y="12"/>
                  </a:lnTo>
                  <a:lnTo>
                    <a:pt x="101" y="13"/>
                  </a:lnTo>
                  <a:lnTo>
                    <a:pt x="100" y="13"/>
                  </a:lnTo>
                  <a:lnTo>
                    <a:pt x="99" y="13"/>
                  </a:lnTo>
                  <a:lnTo>
                    <a:pt x="99" y="14"/>
                  </a:lnTo>
                  <a:lnTo>
                    <a:pt x="99" y="13"/>
                  </a:lnTo>
                  <a:lnTo>
                    <a:pt x="99" y="12"/>
                  </a:lnTo>
                  <a:lnTo>
                    <a:pt x="98" y="13"/>
                  </a:lnTo>
                  <a:lnTo>
                    <a:pt x="98" y="11"/>
                  </a:lnTo>
                  <a:lnTo>
                    <a:pt x="96" y="10"/>
                  </a:lnTo>
                  <a:lnTo>
                    <a:pt x="96" y="8"/>
                  </a:lnTo>
                  <a:lnTo>
                    <a:pt x="96" y="7"/>
                  </a:lnTo>
                  <a:lnTo>
                    <a:pt x="96" y="8"/>
                  </a:lnTo>
                  <a:lnTo>
                    <a:pt x="96" y="7"/>
                  </a:lnTo>
                  <a:lnTo>
                    <a:pt x="95" y="7"/>
                  </a:lnTo>
                  <a:lnTo>
                    <a:pt x="95" y="8"/>
                  </a:lnTo>
                  <a:lnTo>
                    <a:pt x="95" y="7"/>
                  </a:lnTo>
                  <a:lnTo>
                    <a:pt x="94" y="7"/>
                  </a:lnTo>
                  <a:lnTo>
                    <a:pt x="94" y="8"/>
                  </a:lnTo>
                  <a:lnTo>
                    <a:pt x="94" y="7"/>
                  </a:lnTo>
                  <a:lnTo>
                    <a:pt x="93" y="7"/>
                  </a:lnTo>
                  <a:lnTo>
                    <a:pt x="93" y="6"/>
                  </a:lnTo>
                  <a:lnTo>
                    <a:pt x="93" y="5"/>
                  </a:lnTo>
                  <a:lnTo>
                    <a:pt x="93" y="3"/>
                  </a:lnTo>
                  <a:lnTo>
                    <a:pt x="93" y="5"/>
                  </a:lnTo>
                  <a:lnTo>
                    <a:pt x="93" y="3"/>
                  </a:lnTo>
                  <a:lnTo>
                    <a:pt x="93" y="5"/>
                  </a:lnTo>
                  <a:lnTo>
                    <a:pt x="92" y="5"/>
                  </a:lnTo>
                  <a:lnTo>
                    <a:pt x="92" y="3"/>
                  </a:lnTo>
                  <a:lnTo>
                    <a:pt x="93" y="2"/>
                  </a:lnTo>
                  <a:lnTo>
                    <a:pt x="92" y="3"/>
                  </a:lnTo>
                  <a:lnTo>
                    <a:pt x="92" y="5"/>
                  </a:lnTo>
                  <a:lnTo>
                    <a:pt x="92" y="3"/>
                  </a:lnTo>
                  <a:lnTo>
                    <a:pt x="92" y="2"/>
                  </a:lnTo>
                  <a:lnTo>
                    <a:pt x="92" y="0"/>
                  </a:lnTo>
                  <a:lnTo>
                    <a:pt x="92" y="1"/>
                  </a:lnTo>
                  <a:lnTo>
                    <a:pt x="90" y="0"/>
                  </a:lnTo>
                  <a:lnTo>
                    <a:pt x="92" y="2"/>
                  </a:lnTo>
                  <a:lnTo>
                    <a:pt x="90" y="1"/>
                  </a:lnTo>
                  <a:lnTo>
                    <a:pt x="92" y="2"/>
                  </a:lnTo>
                  <a:lnTo>
                    <a:pt x="90" y="2"/>
                  </a:lnTo>
                  <a:lnTo>
                    <a:pt x="92" y="3"/>
                  </a:lnTo>
                  <a:lnTo>
                    <a:pt x="92" y="5"/>
                  </a:lnTo>
                  <a:lnTo>
                    <a:pt x="90" y="3"/>
                  </a:lnTo>
                  <a:lnTo>
                    <a:pt x="92" y="5"/>
                  </a:lnTo>
                  <a:lnTo>
                    <a:pt x="93" y="6"/>
                  </a:lnTo>
                  <a:lnTo>
                    <a:pt x="92" y="6"/>
                  </a:lnTo>
                  <a:lnTo>
                    <a:pt x="92" y="5"/>
                  </a:lnTo>
                  <a:lnTo>
                    <a:pt x="90" y="6"/>
                  </a:lnTo>
                  <a:lnTo>
                    <a:pt x="90" y="5"/>
                  </a:lnTo>
                  <a:lnTo>
                    <a:pt x="90" y="3"/>
                  </a:lnTo>
                  <a:lnTo>
                    <a:pt x="90" y="2"/>
                  </a:lnTo>
                  <a:lnTo>
                    <a:pt x="90" y="1"/>
                  </a:lnTo>
                  <a:lnTo>
                    <a:pt x="90" y="0"/>
                  </a:lnTo>
                  <a:lnTo>
                    <a:pt x="89" y="0"/>
                  </a:lnTo>
                  <a:lnTo>
                    <a:pt x="90" y="1"/>
                  </a:lnTo>
                  <a:lnTo>
                    <a:pt x="89" y="1"/>
                  </a:lnTo>
                  <a:lnTo>
                    <a:pt x="89" y="2"/>
                  </a:lnTo>
                  <a:lnTo>
                    <a:pt x="89" y="3"/>
                  </a:lnTo>
                  <a:lnTo>
                    <a:pt x="89" y="5"/>
                  </a:lnTo>
                  <a:lnTo>
                    <a:pt x="89" y="6"/>
                  </a:lnTo>
                  <a:lnTo>
                    <a:pt x="89" y="5"/>
                  </a:lnTo>
                  <a:lnTo>
                    <a:pt x="88" y="5"/>
                  </a:lnTo>
                  <a:lnTo>
                    <a:pt x="88" y="6"/>
                  </a:lnTo>
                  <a:lnTo>
                    <a:pt x="87" y="5"/>
                  </a:lnTo>
                  <a:lnTo>
                    <a:pt x="87" y="6"/>
                  </a:lnTo>
                  <a:lnTo>
                    <a:pt x="88" y="6"/>
                  </a:lnTo>
                  <a:lnTo>
                    <a:pt x="88" y="7"/>
                  </a:lnTo>
                  <a:lnTo>
                    <a:pt x="88" y="8"/>
                  </a:lnTo>
                  <a:lnTo>
                    <a:pt x="88" y="7"/>
                  </a:lnTo>
                  <a:lnTo>
                    <a:pt x="89" y="8"/>
                  </a:lnTo>
                  <a:lnTo>
                    <a:pt x="90" y="11"/>
                  </a:lnTo>
                  <a:lnTo>
                    <a:pt x="93" y="17"/>
                  </a:lnTo>
                  <a:lnTo>
                    <a:pt x="94" y="20"/>
                  </a:lnTo>
                  <a:lnTo>
                    <a:pt x="94" y="19"/>
                  </a:lnTo>
                  <a:lnTo>
                    <a:pt x="94" y="20"/>
                  </a:lnTo>
                  <a:lnTo>
                    <a:pt x="93" y="20"/>
                  </a:lnTo>
                  <a:lnTo>
                    <a:pt x="93" y="19"/>
                  </a:lnTo>
                  <a:lnTo>
                    <a:pt x="94" y="20"/>
                  </a:lnTo>
                  <a:lnTo>
                    <a:pt x="95" y="22"/>
                  </a:lnTo>
                  <a:lnTo>
                    <a:pt x="94" y="22"/>
                  </a:lnTo>
                  <a:lnTo>
                    <a:pt x="93" y="20"/>
                  </a:lnTo>
                  <a:lnTo>
                    <a:pt x="93" y="22"/>
                  </a:lnTo>
                  <a:lnTo>
                    <a:pt x="92" y="20"/>
                  </a:lnTo>
                  <a:lnTo>
                    <a:pt x="93" y="22"/>
                  </a:lnTo>
                  <a:lnTo>
                    <a:pt x="92" y="22"/>
                  </a:lnTo>
                  <a:lnTo>
                    <a:pt x="94" y="22"/>
                  </a:lnTo>
                  <a:lnTo>
                    <a:pt x="95" y="22"/>
                  </a:lnTo>
                  <a:lnTo>
                    <a:pt x="95" y="23"/>
                  </a:lnTo>
                  <a:lnTo>
                    <a:pt x="94" y="23"/>
                  </a:lnTo>
                  <a:lnTo>
                    <a:pt x="93" y="24"/>
                  </a:lnTo>
                  <a:lnTo>
                    <a:pt x="94" y="24"/>
                  </a:lnTo>
                  <a:lnTo>
                    <a:pt x="95" y="24"/>
                  </a:lnTo>
                  <a:lnTo>
                    <a:pt x="98" y="26"/>
                  </a:lnTo>
                  <a:lnTo>
                    <a:pt x="96" y="28"/>
                  </a:lnTo>
                  <a:lnTo>
                    <a:pt x="96" y="29"/>
                  </a:lnTo>
                  <a:lnTo>
                    <a:pt x="95" y="29"/>
                  </a:lnTo>
                  <a:lnTo>
                    <a:pt x="95" y="30"/>
                  </a:lnTo>
                  <a:lnTo>
                    <a:pt x="95" y="31"/>
                  </a:lnTo>
                  <a:lnTo>
                    <a:pt x="96" y="32"/>
                  </a:lnTo>
                  <a:lnTo>
                    <a:pt x="96" y="34"/>
                  </a:lnTo>
                  <a:lnTo>
                    <a:pt x="96" y="35"/>
                  </a:lnTo>
                  <a:lnTo>
                    <a:pt x="96" y="36"/>
                  </a:lnTo>
                  <a:lnTo>
                    <a:pt x="96" y="37"/>
                  </a:lnTo>
                  <a:lnTo>
                    <a:pt x="98" y="38"/>
                  </a:lnTo>
                  <a:lnTo>
                    <a:pt x="96" y="38"/>
                  </a:lnTo>
                  <a:lnTo>
                    <a:pt x="95" y="38"/>
                  </a:lnTo>
                  <a:lnTo>
                    <a:pt x="95" y="40"/>
                  </a:lnTo>
                  <a:lnTo>
                    <a:pt x="95" y="41"/>
                  </a:lnTo>
                  <a:lnTo>
                    <a:pt x="94" y="40"/>
                  </a:lnTo>
                  <a:lnTo>
                    <a:pt x="94" y="41"/>
                  </a:lnTo>
                  <a:lnTo>
                    <a:pt x="94" y="40"/>
                  </a:lnTo>
                  <a:lnTo>
                    <a:pt x="93" y="38"/>
                  </a:lnTo>
                  <a:lnTo>
                    <a:pt x="93" y="40"/>
                  </a:lnTo>
                  <a:lnTo>
                    <a:pt x="93" y="38"/>
                  </a:lnTo>
                  <a:lnTo>
                    <a:pt x="92" y="38"/>
                  </a:lnTo>
                  <a:lnTo>
                    <a:pt x="90" y="38"/>
                  </a:lnTo>
                  <a:lnTo>
                    <a:pt x="92" y="38"/>
                  </a:lnTo>
                  <a:lnTo>
                    <a:pt x="92" y="40"/>
                  </a:lnTo>
                  <a:lnTo>
                    <a:pt x="90" y="38"/>
                  </a:lnTo>
                  <a:lnTo>
                    <a:pt x="90" y="37"/>
                  </a:lnTo>
                  <a:lnTo>
                    <a:pt x="90" y="36"/>
                  </a:lnTo>
                  <a:lnTo>
                    <a:pt x="89" y="36"/>
                  </a:lnTo>
                  <a:lnTo>
                    <a:pt x="89" y="35"/>
                  </a:lnTo>
                  <a:lnTo>
                    <a:pt x="90" y="34"/>
                  </a:lnTo>
                  <a:lnTo>
                    <a:pt x="89" y="35"/>
                  </a:lnTo>
                  <a:lnTo>
                    <a:pt x="89" y="34"/>
                  </a:lnTo>
                  <a:lnTo>
                    <a:pt x="90" y="34"/>
                  </a:lnTo>
                  <a:lnTo>
                    <a:pt x="90" y="32"/>
                  </a:lnTo>
                  <a:lnTo>
                    <a:pt x="89" y="32"/>
                  </a:lnTo>
                  <a:lnTo>
                    <a:pt x="89" y="31"/>
                  </a:lnTo>
                  <a:lnTo>
                    <a:pt x="89" y="30"/>
                  </a:lnTo>
                  <a:lnTo>
                    <a:pt x="89" y="31"/>
                  </a:lnTo>
                  <a:lnTo>
                    <a:pt x="88" y="34"/>
                  </a:lnTo>
                  <a:lnTo>
                    <a:pt x="88" y="32"/>
                  </a:lnTo>
                  <a:lnTo>
                    <a:pt x="88" y="31"/>
                  </a:lnTo>
                  <a:lnTo>
                    <a:pt x="87" y="31"/>
                  </a:lnTo>
                  <a:lnTo>
                    <a:pt x="88" y="31"/>
                  </a:lnTo>
                  <a:lnTo>
                    <a:pt x="87" y="31"/>
                  </a:lnTo>
                  <a:lnTo>
                    <a:pt x="86" y="31"/>
                  </a:lnTo>
                  <a:lnTo>
                    <a:pt x="86" y="30"/>
                  </a:lnTo>
                  <a:lnTo>
                    <a:pt x="86" y="31"/>
                  </a:lnTo>
                  <a:lnTo>
                    <a:pt x="84" y="32"/>
                  </a:lnTo>
                  <a:lnTo>
                    <a:pt x="86" y="31"/>
                  </a:lnTo>
                  <a:lnTo>
                    <a:pt x="86" y="32"/>
                  </a:lnTo>
                  <a:lnTo>
                    <a:pt x="86" y="34"/>
                  </a:lnTo>
                  <a:lnTo>
                    <a:pt x="86" y="35"/>
                  </a:lnTo>
                  <a:lnTo>
                    <a:pt x="87" y="35"/>
                  </a:lnTo>
                  <a:lnTo>
                    <a:pt x="88" y="35"/>
                  </a:lnTo>
                  <a:lnTo>
                    <a:pt x="88" y="36"/>
                  </a:lnTo>
                  <a:lnTo>
                    <a:pt x="87" y="36"/>
                  </a:lnTo>
                  <a:lnTo>
                    <a:pt x="87" y="37"/>
                  </a:lnTo>
                  <a:lnTo>
                    <a:pt x="87" y="38"/>
                  </a:lnTo>
                  <a:lnTo>
                    <a:pt x="88" y="38"/>
                  </a:lnTo>
                  <a:lnTo>
                    <a:pt x="89" y="41"/>
                  </a:lnTo>
                  <a:lnTo>
                    <a:pt x="89" y="42"/>
                  </a:lnTo>
                  <a:lnTo>
                    <a:pt x="89" y="43"/>
                  </a:lnTo>
                  <a:lnTo>
                    <a:pt x="89" y="42"/>
                  </a:lnTo>
                  <a:lnTo>
                    <a:pt x="88" y="42"/>
                  </a:lnTo>
                  <a:lnTo>
                    <a:pt x="88" y="43"/>
                  </a:lnTo>
                  <a:lnTo>
                    <a:pt x="89" y="43"/>
                  </a:lnTo>
                  <a:lnTo>
                    <a:pt x="89" y="44"/>
                  </a:lnTo>
                  <a:lnTo>
                    <a:pt x="88" y="44"/>
                  </a:lnTo>
                  <a:lnTo>
                    <a:pt x="87" y="44"/>
                  </a:lnTo>
                  <a:lnTo>
                    <a:pt x="87" y="43"/>
                  </a:lnTo>
                  <a:lnTo>
                    <a:pt x="86" y="43"/>
                  </a:lnTo>
                  <a:lnTo>
                    <a:pt x="84" y="46"/>
                  </a:lnTo>
                  <a:lnTo>
                    <a:pt x="84" y="44"/>
                  </a:lnTo>
                  <a:lnTo>
                    <a:pt x="83" y="44"/>
                  </a:lnTo>
                  <a:lnTo>
                    <a:pt x="83" y="43"/>
                  </a:lnTo>
                  <a:lnTo>
                    <a:pt x="82" y="43"/>
                  </a:lnTo>
                  <a:lnTo>
                    <a:pt x="82" y="44"/>
                  </a:lnTo>
                  <a:lnTo>
                    <a:pt x="81" y="44"/>
                  </a:lnTo>
                  <a:lnTo>
                    <a:pt x="81" y="43"/>
                  </a:lnTo>
                  <a:lnTo>
                    <a:pt x="81" y="44"/>
                  </a:lnTo>
                  <a:lnTo>
                    <a:pt x="81" y="46"/>
                  </a:lnTo>
                  <a:lnTo>
                    <a:pt x="80" y="47"/>
                  </a:lnTo>
                  <a:lnTo>
                    <a:pt x="80" y="48"/>
                  </a:lnTo>
                  <a:lnTo>
                    <a:pt x="78" y="48"/>
                  </a:lnTo>
                  <a:lnTo>
                    <a:pt x="78" y="47"/>
                  </a:lnTo>
                  <a:lnTo>
                    <a:pt x="78" y="48"/>
                  </a:lnTo>
                  <a:lnTo>
                    <a:pt x="77" y="48"/>
                  </a:lnTo>
                  <a:lnTo>
                    <a:pt x="76" y="48"/>
                  </a:lnTo>
                  <a:lnTo>
                    <a:pt x="77" y="48"/>
                  </a:lnTo>
                  <a:lnTo>
                    <a:pt x="77" y="47"/>
                  </a:lnTo>
                  <a:lnTo>
                    <a:pt x="77" y="46"/>
                  </a:lnTo>
                  <a:lnTo>
                    <a:pt x="76" y="46"/>
                  </a:lnTo>
                  <a:lnTo>
                    <a:pt x="76" y="47"/>
                  </a:lnTo>
                  <a:lnTo>
                    <a:pt x="76" y="48"/>
                  </a:lnTo>
                  <a:lnTo>
                    <a:pt x="76" y="49"/>
                  </a:lnTo>
                  <a:lnTo>
                    <a:pt x="75" y="49"/>
                  </a:lnTo>
                  <a:lnTo>
                    <a:pt x="74" y="49"/>
                  </a:lnTo>
                  <a:lnTo>
                    <a:pt x="74" y="48"/>
                  </a:lnTo>
                  <a:lnTo>
                    <a:pt x="72" y="48"/>
                  </a:lnTo>
                  <a:lnTo>
                    <a:pt x="74" y="50"/>
                  </a:lnTo>
                  <a:lnTo>
                    <a:pt x="75" y="52"/>
                  </a:lnTo>
                  <a:lnTo>
                    <a:pt x="76" y="52"/>
                  </a:lnTo>
                  <a:lnTo>
                    <a:pt x="76" y="53"/>
                  </a:lnTo>
                  <a:lnTo>
                    <a:pt x="75" y="53"/>
                  </a:lnTo>
                  <a:lnTo>
                    <a:pt x="74" y="52"/>
                  </a:lnTo>
                  <a:lnTo>
                    <a:pt x="74" y="50"/>
                  </a:lnTo>
                  <a:lnTo>
                    <a:pt x="74" y="49"/>
                  </a:lnTo>
                  <a:lnTo>
                    <a:pt x="72" y="50"/>
                  </a:lnTo>
                  <a:lnTo>
                    <a:pt x="72" y="52"/>
                  </a:lnTo>
                  <a:lnTo>
                    <a:pt x="71" y="52"/>
                  </a:lnTo>
                  <a:lnTo>
                    <a:pt x="72" y="52"/>
                  </a:lnTo>
                  <a:lnTo>
                    <a:pt x="71" y="53"/>
                  </a:lnTo>
                  <a:lnTo>
                    <a:pt x="71" y="52"/>
                  </a:lnTo>
                  <a:lnTo>
                    <a:pt x="71" y="50"/>
                  </a:lnTo>
                  <a:lnTo>
                    <a:pt x="71" y="49"/>
                  </a:lnTo>
                  <a:lnTo>
                    <a:pt x="71" y="50"/>
                  </a:lnTo>
                  <a:lnTo>
                    <a:pt x="70" y="50"/>
                  </a:lnTo>
                  <a:lnTo>
                    <a:pt x="71" y="49"/>
                  </a:lnTo>
                  <a:lnTo>
                    <a:pt x="70" y="49"/>
                  </a:lnTo>
                  <a:lnTo>
                    <a:pt x="70" y="50"/>
                  </a:lnTo>
                  <a:lnTo>
                    <a:pt x="70" y="49"/>
                  </a:lnTo>
                  <a:lnTo>
                    <a:pt x="70" y="50"/>
                  </a:lnTo>
                  <a:lnTo>
                    <a:pt x="70" y="52"/>
                  </a:lnTo>
                  <a:lnTo>
                    <a:pt x="70" y="53"/>
                  </a:lnTo>
                  <a:lnTo>
                    <a:pt x="69" y="53"/>
                  </a:lnTo>
                  <a:lnTo>
                    <a:pt x="68" y="53"/>
                  </a:lnTo>
                  <a:lnTo>
                    <a:pt x="68" y="54"/>
                  </a:lnTo>
                  <a:lnTo>
                    <a:pt x="66" y="54"/>
                  </a:lnTo>
                  <a:lnTo>
                    <a:pt x="65" y="54"/>
                  </a:lnTo>
                  <a:lnTo>
                    <a:pt x="65" y="55"/>
                  </a:lnTo>
                  <a:lnTo>
                    <a:pt x="64" y="55"/>
                  </a:lnTo>
                  <a:lnTo>
                    <a:pt x="65" y="56"/>
                  </a:lnTo>
                  <a:lnTo>
                    <a:pt x="65" y="58"/>
                  </a:lnTo>
                  <a:lnTo>
                    <a:pt x="66" y="58"/>
                  </a:lnTo>
                  <a:lnTo>
                    <a:pt x="66" y="56"/>
                  </a:lnTo>
                  <a:lnTo>
                    <a:pt x="66" y="58"/>
                  </a:lnTo>
                  <a:lnTo>
                    <a:pt x="68" y="58"/>
                  </a:lnTo>
                  <a:lnTo>
                    <a:pt x="66" y="59"/>
                  </a:lnTo>
                  <a:lnTo>
                    <a:pt x="68" y="59"/>
                  </a:lnTo>
                  <a:lnTo>
                    <a:pt x="68" y="60"/>
                  </a:lnTo>
                  <a:lnTo>
                    <a:pt x="68" y="61"/>
                  </a:lnTo>
                  <a:lnTo>
                    <a:pt x="68" y="60"/>
                  </a:lnTo>
                  <a:lnTo>
                    <a:pt x="69" y="61"/>
                  </a:lnTo>
                  <a:lnTo>
                    <a:pt x="68" y="61"/>
                  </a:lnTo>
                  <a:lnTo>
                    <a:pt x="66" y="60"/>
                  </a:lnTo>
                  <a:lnTo>
                    <a:pt x="66" y="61"/>
                  </a:lnTo>
                  <a:lnTo>
                    <a:pt x="65" y="60"/>
                  </a:lnTo>
                  <a:lnTo>
                    <a:pt x="65" y="59"/>
                  </a:lnTo>
                  <a:lnTo>
                    <a:pt x="65" y="60"/>
                  </a:lnTo>
                  <a:lnTo>
                    <a:pt x="65" y="61"/>
                  </a:lnTo>
                  <a:lnTo>
                    <a:pt x="63" y="60"/>
                  </a:lnTo>
                  <a:lnTo>
                    <a:pt x="64" y="59"/>
                  </a:lnTo>
                  <a:lnTo>
                    <a:pt x="63" y="60"/>
                  </a:lnTo>
                  <a:lnTo>
                    <a:pt x="63" y="59"/>
                  </a:lnTo>
                  <a:lnTo>
                    <a:pt x="62" y="60"/>
                  </a:lnTo>
                  <a:lnTo>
                    <a:pt x="59" y="58"/>
                  </a:lnTo>
                  <a:lnTo>
                    <a:pt x="56" y="56"/>
                  </a:lnTo>
                  <a:lnTo>
                    <a:pt x="57" y="55"/>
                  </a:lnTo>
                  <a:lnTo>
                    <a:pt x="57" y="56"/>
                  </a:lnTo>
                  <a:lnTo>
                    <a:pt x="58" y="56"/>
                  </a:lnTo>
                  <a:lnTo>
                    <a:pt x="58" y="55"/>
                  </a:lnTo>
                  <a:lnTo>
                    <a:pt x="59" y="56"/>
                  </a:lnTo>
                  <a:lnTo>
                    <a:pt x="58" y="55"/>
                  </a:lnTo>
                  <a:lnTo>
                    <a:pt x="57" y="55"/>
                  </a:lnTo>
                  <a:lnTo>
                    <a:pt x="57" y="54"/>
                  </a:lnTo>
                  <a:lnTo>
                    <a:pt x="57" y="53"/>
                  </a:lnTo>
                  <a:lnTo>
                    <a:pt x="58" y="52"/>
                  </a:lnTo>
                  <a:lnTo>
                    <a:pt x="58" y="50"/>
                  </a:lnTo>
                  <a:lnTo>
                    <a:pt x="59" y="50"/>
                  </a:lnTo>
                  <a:lnTo>
                    <a:pt x="59" y="52"/>
                  </a:lnTo>
                  <a:lnTo>
                    <a:pt x="58" y="53"/>
                  </a:lnTo>
                  <a:lnTo>
                    <a:pt x="59" y="52"/>
                  </a:lnTo>
                  <a:lnTo>
                    <a:pt x="59" y="50"/>
                  </a:lnTo>
                  <a:lnTo>
                    <a:pt x="58" y="50"/>
                  </a:lnTo>
                  <a:lnTo>
                    <a:pt x="57" y="50"/>
                  </a:lnTo>
                  <a:lnTo>
                    <a:pt x="57" y="48"/>
                  </a:lnTo>
                  <a:lnTo>
                    <a:pt x="58" y="48"/>
                  </a:lnTo>
                  <a:lnTo>
                    <a:pt x="58" y="47"/>
                  </a:lnTo>
                  <a:lnTo>
                    <a:pt x="58" y="46"/>
                  </a:lnTo>
                  <a:lnTo>
                    <a:pt x="58" y="44"/>
                  </a:lnTo>
                  <a:lnTo>
                    <a:pt x="59" y="44"/>
                  </a:lnTo>
                  <a:lnTo>
                    <a:pt x="58" y="44"/>
                  </a:lnTo>
                  <a:lnTo>
                    <a:pt x="59" y="43"/>
                  </a:lnTo>
                  <a:lnTo>
                    <a:pt x="59" y="42"/>
                  </a:lnTo>
                  <a:lnTo>
                    <a:pt x="60" y="42"/>
                  </a:lnTo>
                  <a:lnTo>
                    <a:pt x="60" y="41"/>
                  </a:lnTo>
                  <a:lnTo>
                    <a:pt x="62" y="41"/>
                  </a:lnTo>
                  <a:lnTo>
                    <a:pt x="62" y="42"/>
                  </a:lnTo>
                  <a:lnTo>
                    <a:pt x="62" y="43"/>
                  </a:lnTo>
                  <a:lnTo>
                    <a:pt x="62" y="42"/>
                  </a:lnTo>
                  <a:lnTo>
                    <a:pt x="63" y="42"/>
                  </a:lnTo>
                  <a:lnTo>
                    <a:pt x="62" y="41"/>
                  </a:lnTo>
                  <a:lnTo>
                    <a:pt x="60" y="40"/>
                  </a:lnTo>
                  <a:lnTo>
                    <a:pt x="60" y="38"/>
                  </a:lnTo>
                  <a:lnTo>
                    <a:pt x="62" y="38"/>
                  </a:lnTo>
                  <a:lnTo>
                    <a:pt x="62" y="40"/>
                  </a:lnTo>
                  <a:lnTo>
                    <a:pt x="63" y="40"/>
                  </a:lnTo>
                  <a:lnTo>
                    <a:pt x="62" y="38"/>
                  </a:lnTo>
                  <a:lnTo>
                    <a:pt x="60" y="38"/>
                  </a:lnTo>
                  <a:lnTo>
                    <a:pt x="62" y="37"/>
                  </a:lnTo>
                  <a:lnTo>
                    <a:pt x="60" y="37"/>
                  </a:lnTo>
                  <a:lnTo>
                    <a:pt x="60" y="36"/>
                  </a:lnTo>
                  <a:lnTo>
                    <a:pt x="62" y="35"/>
                  </a:lnTo>
                  <a:lnTo>
                    <a:pt x="60" y="37"/>
                  </a:lnTo>
                  <a:lnTo>
                    <a:pt x="59" y="37"/>
                  </a:lnTo>
                  <a:lnTo>
                    <a:pt x="59" y="38"/>
                  </a:lnTo>
                  <a:lnTo>
                    <a:pt x="58" y="38"/>
                  </a:lnTo>
                  <a:lnTo>
                    <a:pt x="58" y="37"/>
                  </a:lnTo>
                  <a:lnTo>
                    <a:pt x="58" y="38"/>
                  </a:lnTo>
                  <a:lnTo>
                    <a:pt x="59" y="38"/>
                  </a:lnTo>
                  <a:lnTo>
                    <a:pt x="59" y="40"/>
                  </a:lnTo>
                  <a:lnTo>
                    <a:pt x="58" y="38"/>
                  </a:lnTo>
                  <a:lnTo>
                    <a:pt x="59" y="40"/>
                  </a:lnTo>
                  <a:lnTo>
                    <a:pt x="59" y="41"/>
                  </a:lnTo>
                  <a:lnTo>
                    <a:pt x="58" y="41"/>
                  </a:lnTo>
                  <a:lnTo>
                    <a:pt x="57" y="42"/>
                  </a:lnTo>
                  <a:lnTo>
                    <a:pt x="57" y="43"/>
                  </a:lnTo>
                  <a:lnTo>
                    <a:pt x="58" y="42"/>
                  </a:lnTo>
                  <a:lnTo>
                    <a:pt x="58" y="43"/>
                  </a:lnTo>
                  <a:lnTo>
                    <a:pt x="58" y="44"/>
                  </a:lnTo>
                  <a:lnTo>
                    <a:pt x="57" y="47"/>
                  </a:lnTo>
                  <a:lnTo>
                    <a:pt x="57" y="50"/>
                  </a:lnTo>
                  <a:lnTo>
                    <a:pt x="56" y="50"/>
                  </a:lnTo>
                  <a:lnTo>
                    <a:pt x="56" y="52"/>
                  </a:lnTo>
                  <a:lnTo>
                    <a:pt x="54" y="52"/>
                  </a:lnTo>
                  <a:lnTo>
                    <a:pt x="54" y="53"/>
                  </a:lnTo>
                  <a:lnTo>
                    <a:pt x="54" y="52"/>
                  </a:lnTo>
                  <a:lnTo>
                    <a:pt x="53" y="49"/>
                  </a:lnTo>
                  <a:lnTo>
                    <a:pt x="52" y="47"/>
                  </a:lnTo>
                  <a:lnTo>
                    <a:pt x="53" y="47"/>
                  </a:lnTo>
                  <a:lnTo>
                    <a:pt x="52" y="47"/>
                  </a:lnTo>
                  <a:lnTo>
                    <a:pt x="52" y="46"/>
                  </a:lnTo>
                  <a:lnTo>
                    <a:pt x="53" y="46"/>
                  </a:lnTo>
                  <a:lnTo>
                    <a:pt x="52" y="46"/>
                  </a:lnTo>
                  <a:lnTo>
                    <a:pt x="53" y="44"/>
                  </a:lnTo>
                  <a:lnTo>
                    <a:pt x="53" y="43"/>
                  </a:lnTo>
                  <a:lnTo>
                    <a:pt x="53" y="44"/>
                  </a:lnTo>
                  <a:lnTo>
                    <a:pt x="52" y="44"/>
                  </a:lnTo>
                  <a:lnTo>
                    <a:pt x="52" y="46"/>
                  </a:lnTo>
                  <a:lnTo>
                    <a:pt x="51" y="43"/>
                  </a:lnTo>
                  <a:lnTo>
                    <a:pt x="52" y="42"/>
                  </a:lnTo>
                  <a:lnTo>
                    <a:pt x="53" y="42"/>
                  </a:lnTo>
                  <a:lnTo>
                    <a:pt x="52" y="42"/>
                  </a:lnTo>
                  <a:lnTo>
                    <a:pt x="53" y="41"/>
                  </a:lnTo>
                  <a:lnTo>
                    <a:pt x="52" y="42"/>
                  </a:lnTo>
                  <a:lnTo>
                    <a:pt x="52" y="41"/>
                  </a:lnTo>
                  <a:lnTo>
                    <a:pt x="52" y="42"/>
                  </a:lnTo>
                  <a:lnTo>
                    <a:pt x="51" y="42"/>
                  </a:lnTo>
                  <a:lnTo>
                    <a:pt x="51" y="41"/>
                  </a:lnTo>
                  <a:lnTo>
                    <a:pt x="51" y="40"/>
                  </a:lnTo>
                  <a:lnTo>
                    <a:pt x="51" y="38"/>
                  </a:lnTo>
                  <a:lnTo>
                    <a:pt x="50" y="38"/>
                  </a:lnTo>
                  <a:lnTo>
                    <a:pt x="50" y="40"/>
                  </a:lnTo>
                  <a:lnTo>
                    <a:pt x="48" y="40"/>
                  </a:lnTo>
                  <a:lnTo>
                    <a:pt x="48" y="38"/>
                  </a:lnTo>
                  <a:lnTo>
                    <a:pt x="48" y="40"/>
                  </a:lnTo>
                  <a:lnTo>
                    <a:pt x="48" y="41"/>
                  </a:lnTo>
                  <a:lnTo>
                    <a:pt x="48" y="42"/>
                  </a:lnTo>
                  <a:lnTo>
                    <a:pt x="48" y="43"/>
                  </a:lnTo>
                  <a:lnTo>
                    <a:pt x="48" y="42"/>
                  </a:lnTo>
                  <a:lnTo>
                    <a:pt x="47" y="42"/>
                  </a:lnTo>
                  <a:lnTo>
                    <a:pt x="46" y="42"/>
                  </a:lnTo>
                  <a:lnTo>
                    <a:pt x="45" y="42"/>
                  </a:lnTo>
                  <a:lnTo>
                    <a:pt x="45" y="41"/>
                  </a:lnTo>
                  <a:lnTo>
                    <a:pt x="45" y="42"/>
                  </a:lnTo>
                  <a:lnTo>
                    <a:pt x="45" y="43"/>
                  </a:lnTo>
                  <a:lnTo>
                    <a:pt x="45" y="44"/>
                  </a:lnTo>
                  <a:lnTo>
                    <a:pt x="45" y="43"/>
                  </a:lnTo>
                  <a:lnTo>
                    <a:pt x="46" y="42"/>
                  </a:lnTo>
                  <a:lnTo>
                    <a:pt x="46" y="43"/>
                  </a:lnTo>
                  <a:lnTo>
                    <a:pt x="47" y="44"/>
                  </a:lnTo>
                  <a:lnTo>
                    <a:pt x="46" y="43"/>
                  </a:lnTo>
                  <a:lnTo>
                    <a:pt x="46" y="44"/>
                  </a:lnTo>
                  <a:lnTo>
                    <a:pt x="47" y="44"/>
                  </a:lnTo>
                  <a:lnTo>
                    <a:pt x="48" y="46"/>
                  </a:lnTo>
                  <a:lnTo>
                    <a:pt x="47" y="52"/>
                  </a:lnTo>
                  <a:lnTo>
                    <a:pt x="47" y="50"/>
                  </a:lnTo>
                  <a:lnTo>
                    <a:pt x="46" y="50"/>
                  </a:lnTo>
                  <a:lnTo>
                    <a:pt x="46" y="52"/>
                  </a:lnTo>
                  <a:lnTo>
                    <a:pt x="46" y="53"/>
                  </a:lnTo>
                  <a:lnTo>
                    <a:pt x="45" y="52"/>
                  </a:lnTo>
                  <a:lnTo>
                    <a:pt x="43" y="52"/>
                  </a:lnTo>
                  <a:lnTo>
                    <a:pt x="43" y="53"/>
                  </a:lnTo>
                  <a:lnTo>
                    <a:pt x="43" y="54"/>
                  </a:lnTo>
                  <a:lnTo>
                    <a:pt x="45" y="54"/>
                  </a:lnTo>
                  <a:lnTo>
                    <a:pt x="45" y="55"/>
                  </a:lnTo>
                  <a:lnTo>
                    <a:pt x="45" y="56"/>
                  </a:lnTo>
                  <a:lnTo>
                    <a:pt x="46" y="56"/>
                  </a:lnTo>
                  <a:lnTo>
                    <a:pt x="46" y="58"/>
                  </a:lnTo>
                  <a:lnTo>
                    <a:pt x="45" y="58"/>
                  </a:lnTo>
                  <a:lnTo>
                    <a:pt x="43" y="56"/>
                  </a:lnTo>
                  <a:lnTo>
                    <a:pt x="42" y="55"/>
                  </a:lnTo>
                  <a:lnTo>
                    <a:pt x="43" y="56"/>
                  </a:lnTo>
                  <a:lnTo>
                    <a:pt x="43" y="58"/>
                  </a:lnTo>
                  <a:lnTo>
                    <a:pt x="42" y="58"/>
                  </a:lnTo>
                  <a:lnTo>
                    <a:pt x="42" y="56"/>
                  </a:lnTo>
                  <a:lnTo>
                    <a:pt x="41" y="58"/>
                  </a:lnTo>
                  <a:lnTo>
                    <a:pt x="41" y="59"/>
                  </a:lnTo>
                  <a:lnTo>
                    <a:pt x="42" y="60"/>
                  </a:lnTo>
                  <a:lnTo>
                    <a:pt x="41" y="59"/>
                  </a:lnTo>
                  <a:lnTo>
                    <a:pt x="40" y="59"/>
                  </a:lnTo>
                  <a:lnTo>
                    <a:pt x="40" y="58"/>
                  </a:lnTo>
                  <a:lnTo>
                    <a:pt x="39" y="56"/>
                  </a:lnTo>
                  <a:lnTo>
                    <a:pt x="40" y="55"/>
                  </a:lnTo>
                  <a:lnTo>
                    <a:pt x="39" y="55"/>
                  </a:lnTo>
                  <a:lnTo>
                    <a:pt x="37" y="55"/>
                  </a:lnTo>
                  <a:lnTo>
                    <a:pt x="39" y="56"/>
                  </a:lnTo>
                  <a:lnTo>
                    <a:pt x="37" y="56"/>
                  </a:lnTo>
                  <a:lnTo>
                    <a:pt x="37" y="55"/>
                  </a:lnTo>
                  <a:lnTo>
                    <a:pt x="37" y="53"/>
                  </a:lnTo>
                  <a:lnTo>
                    <a:pt x="36" y="53"/>
                  </a:lnTo>
                  <a:lnTo>
                    <a:pt x="35" y="53"/>
                  </a:lnTo>
                  <a:lnTo>
                    <a:pt x="34" y="53"/>
                  </a:lnTo>
                  <a:lnTo>
                    <a:pt x="34" y="52"/>
                  </a:lnTo>
                  <a:lnTo>
                    <a:pt x="33" y="49"/>
                  </a:lnTo>
                  <a:lnTo>
                    <a:pt x="31" y="49"/>
                  </a:lnTo>
                  <a:lnTo>
                    <a:pt x="31" y="50"/>
                  </a:lnTo>
                  <a:lnTo>
                    <a:pt x="33" y="49"/>
                  </a:lnTo>
                  <a:lnTo>
                    <a:pt x="33" y="50"/>
                  </a:lnTo>
                  <a:lnTo>
                    <a:pt x="34" y="53"/>
                  </a:lnTo>
                  <a:lnTo>
                    <a:pt x="33" y="53"/>
                  </a:lnTo>
                  <a:lnTo>
                    <a:pt x="33" y="52"/>
                  </a:lnTo>
                  <a:lnTo>
                    <a:pt x="31" y="52"/>
                  </a:lnTo>
                  <a:lnTo>
                    <a:pt x="31" y="53"/>
                  </a:lnTo>
                  <a:lnTo>
                    <a:pt x="33" y="52"/>
                  </a:lnTo>
                  <a:lnTo>
                    <a:pt x="33" y="53"/>
                  </a:lnTo>
                  <a:lnTo>
                    <a:pt x="31" y="54"/>
                  </a:lnTo>
                  <a:lnTo>
                    <a:pt x="30" y="54"/>
                  </a:lnTo>
                  <a:lnTo>
                    <a:pt x="30" y="55"/>
                  </a:lnTo>
                  <a:lnTo>
                    <a:pt x="30" y="56"/>
                  </a:lnTo>
                  <a:lnTo>
                    <a:pt x="31" y="56"/>
                  </a:lnTo>
                  <a:lnTo>
                    <a:pt x="33" y="56"/>
                  </a:lnTo>
                  <a:lnTo>
                    <a:pt x="33" y="58"/>
                  </a:lnTo>
                  <a:lnTo>
                    <a:pt x="31" y="56"/>
                  </a:lnTo>
                  <a:lnTo>
                    <a:pt x="33" y="58"/>
                  </a:lnTo>
                  <a:lnTo>
                    <a:pt x="31" y="58"/>
                  </a:lnTo>
                  <a:lnTo>
                    <a:pt x="33" y="58"/>
                  </a:lnTo>
                  <a:lnTo>
                    <a:pt x="34" y="58"/>
                  </a:lnTo>
                  <a:lnTo>
                    <a:pt x="33" y="58"/>
                  </a:lnTo>
                  <a:lnTo>
                    <a:pt x="33" y="59"/>
                  </a:lnTo>
                  <a:lnTo>
                    <a:pt x="34" y="60"/>
                  </a:lnTo>
                  <a:lnTo>
                    <a:pt x="34" y="61"/>
                  </a:lnTo>
                  <a:lnTo>
                    <a:pt x="33" y="60"/>
                  </a:lnTo>
                  <a:lnTo>
                    <a:pt x="31" y="60"/>
                  </a:lnTo>
                  <a:lnTo>
                    <a:pt x="31" y="59"/>
                  </a:lnTo>
                  <a:lnTo>
                    <a:pt x="30" y="58"/>
                  </a:lnTo>
                  <a:lnTo>
                    <a:pt x="30" y="59"/>
                  </a:lnTo>
                  <a:lnTo>
                    <a:pt x="30" y="60"/>
                  </a:lnTo>
                  <a:lnTo>
                    <a:pt x="29" y="60"/>
                  </a:lnTo>
                  <a:lnTo>
                    <a:pt x="28" y="60"/>
                  </a:lnTo>
                  <a:lnTo>
                    <a:pt x="27" y="60"/>
                  </a:lnTo>
                  <a:lnTo>
                    <a:pt x="27" y="62"/>
                  </a:lnTo>
                  <a:lnTo>
                    <a:pt x="27" y="61"/>
                  </a:lnTo>
                  <a:lnTo>
                    <a:pt x="27" y="60"/>
                  </a:lnTo>
                  <a:lnTo>
                    <a:pt x="25" y="59"/>
                  </a:lnTo>
                  <a:lnTo>
                    <a:pt x="25" y="60"/>
                  </a:lnTo>
                  <a:lnTo>
                    <a:pt x="25" y="61"/>
                  </a:lnTo>
                  <a:lnTo>
                    <a:pt x="24" y="61"/>
                  </a:lnTo>
                  <a:lnTo>
                    <a:pt x="24" y="60"/>
                  </a:lnTo>
                  <a:lnTo>
                    <a:pt x="23" y="60"/>
                  </a:lnTo>
                  <a:lnTo>
                    <a:pt x="22" y="60"/>
                  </a:lnTo>
                  <a:lnTo>
                    <a:pt x="22" y="59"/>
                  </a:lnTo>
                  <a:lnTo>
                    <a:pt x="22" y="58"/>
                  </a:lnTo>
                  <a:lnTo>
                    <a:pt x="21" y="58"/>
                  </a:lnTo>
                  <a:lnTo>
                    <a:pt x="21" y="59"/>
                  </a:lnTo>
                  <a:lnTo>
                    <a:pt x="22" y="59"/>
                  </a:lnTo>
                  <a:lnTo>
                    <a:pt x="22" y="60"/>
                  </a:lnTo>
                  <a:lnTo>
                    <a:pt x="22" y="61"/>
                  </a:lnTo>
                  <a:lnTo>
                    <a:pt x="23" y="60"/>
                  </a:lnTo>
                  <a:lnTo>
                    <a:pt x="23" y="61"/>
                  </a:lnTo>
                  <a:lnTo>
                    <a:pt x="23" y="62"/>
                  </a:lnTo>
                  <a:lnTo>
                    <a:pt x="24" y="61"/>
                  </a:lnTo>
                  <a:lnTo>
                    <a:pt x="25" y="62"/>
                  </a:lnTo>
                  <a:lnTo>
                    <a:pt x="27" y="62"/>
                  </a:lnTo>
                  <a:lnTo>
                    <a:pt x="28" y="64"/>
                  </a:lnTo>
                  <a:lnTo>
                    <a:pt x="27" y="64"/>
                  </a:lnTo>
                  <a:lnTo>
                    <a:pt x="28" y="65"/>
                  </a:lnTo>
                  <a:lnTo>
                    <a:pt x="28" y="64"/>
                  </a:lnTo>
                  <a:lnTo>
                    <a:pt x="29" y="64"/>
                  </a:lnTo>
                  <a:lnTo>
                    <a:pt x="29" y="65"/>
                  </a:lnTo>
                  <a:lnTo>
                    <a:pt x="29" y="66"/>
                  </a:lnTo>
                  <a:lnTo>
                    <a:pt x="30" y="66"/>
                  </a:lnTo>
                  <a:lnTo>
                    <a:pt x="33" y="68"/>
                  </a:lnTo>
                  <a:lnTo>
                    <a:pt x="33" y="70"/>
                  </a:lnTo>
                  <a:lnTo>
                    <a:pt x="30" y="70"/>
                  </a:lnTo>
                  <a:lnTo>
                    <a:pt x="28" y="68"/>
                  </a:lnTo>
                  <a:lnTo>
                    <a:pt x="25" y="67"/>
                  </a:lnTo>
                  <a:lnTo>
                    <a:pt x="28" y="68"/>
                  </a:lnTo>
                  <a:lnTo>
                    <a:pt x="25" y="68"/>
                  </a:lnTo>
                  <a:lnTo>
                    <a:pt x="24" y="67"/>
                  </a:lnTo>
                  <a:lnTo>
                    <a:pt x="23" y="67"/>
                  </a:lnTo>
                  <a:lnTo>
                    <a:pt x="23" y="66"/>
                  </a:lnTo>
                  <a:lnTo>
                    <a:pt x="21" y="65"/>
                  </a:lnTo>
                  <a:lnTo>
                    <a:pt x="22" y="67"/>
                  </a:lnTo>
                  <a:lnTo>
                    <a:pt x="23" y="67"/>
                  </a:lnTo>
                  <a:lnTo>
                    <a:pt x="22" y="67"/>
                  </a:lnTo>
                  <a:lnTo>
                    <a:pt x="19" y="66"/>
                  </a:lnTo>
                  <a:lnTo>
                    <a:pt x="18" y="65"/>
                  </a:lnTo>
                  <a:lnTo>
                    <a:pt x="21" y="66"/>
                  </a:lnTo>
                  <a:lnTo>
                    <a:pt x="22" y="67"/>
                  </a:lnTo>
                  <a:lnTo>
                    <a:pt x="22" y="68"/>
                  </a:lnTo>
                  <a:lnTo>
                    <a:pt x="23" y="70"/>
                  </a:lnTo>
                  <a:lnTo>
                    <a:pt x="23" y="68"/>
                  </a:lnTo>
                  <a:lnTo>
                    <a:pt x="23" y="67"/>
                  </a:lnTo>
                  <a:lnTo>
                    <a:pt x="24" y="68"/>
                  </a:lnTo>
                  <a:lnTo>
                    <a:pt x="27" y="68"/>
                  </a:lnTo>
                  <a:lnTo>
                    <a:pt x="28" y="71"/>
                  </a:lnTo>
                  <a:lnTo>
                    <a:pt x="28" y="68"/>
                  </a:lnTo>
                  <a:lnTo>
                    <a:pt x="30" y="70"/>
                  </a:lnTo>
                  <a:lnTo>
                    <a:pt x="31" y="70"/>
                  </a:lnTo>
                  <a:lnTo>
                    <a:pt x="30" y="70"/>
                  </a:lnTo>
                  <a:lnTo>
                    <a:pt x="30" y="71"/>
                  </a:lnTo>
                  <a:lnTo>
                    <a:pt x="31" y="71"/>
                  </a:lnTo>
                  <a:lnTo>
                    <a:pt x="33" y="72"/>
                  </a:lnTo>
                  <a:lnTo>
                    <a:pt x="31" y="71"/>
                  </a:lnTo>
                  <a:lnTo>
                    <a:pt x="33" y="71"/>
                  </a:lnTo>
                  <a:lnTo>
                    <a:pt x="34" y="71"/>
                  </a:lnTo>
                  <a:lnTo>
                    <a:pt x="35" y="71"/>
                  </a:lnTo>
                  <a:lnTo>
                    <a:pt x="35" y="72"/>
                  </a:lnTo>
                  <a:lnTo>
                    <a:pt x="36" y="72"/>
                  </a:lnTo>
                  <a:lnTo>
                    <a:pt x="36" y="73"/>
                  </a:lnTo>
                  <a:lnTo>
                    <a:pt x="36" y="72"/>
                  </a:lnTo>
                  <a:lnTo>
                    <a:pt x="37" y="72"/>
                  </a:lnTo>
                  <a:lnTo>
                    <a:pt x="39" y="73"/>
                  </a:lnTo>
                  <a:lnTo>
                    <a:pt x="39" y="74"/>
                  </a:lnTo>
                  <a:lnTo>
                    <a:pt x="39" y="73"/>
                  </a:lnTo>
                  <a:lnTo>
                    <a:pt x="39" y="74"/>
                  </a:lnTo>
                  <a:lnTo>
                    <a:pt x="40" y="76"/>
                  </a:lnTo>
                  <a:lnTo>
                    <a:pt x="40" y="74"/>
                  </a:lnTo>
                  <a:lnTo>
                    <a:pt x="41" y="74"/>
                  </a:lnTo>
                  <a:lnTo>
                    <a:pt x="41" y="76"/>
                  </a:lnTo>
                  <a:lnTo>
                    <a:pt x="42" y="76"/>
                  </a:lnTo>
                  <a:lnTo>
                    <a:pt x="42" y="77"/>
                  </a:lnTo>
                  <a:lnTo>
                    <a:pt x="42" y="78"/>
                  </a:lnTo>
                  <a:lnTo>
                    <a:pt x="41" y="79"/>
                  </a:lnTo>
                  <a:lnTo>
                    <a:pt x="41" y="78"/>
                  </a:lnTo>
                  <a:lnTo>
                    <a:pt x="40" y="79"/>
                  </a:lnTo>
                  <a:lnTo>
                    <a:pt x="40" y="78"/>
                  </a:lnTo>
                  <a:lnTo>
                    <a:pt x="39" y="77"/>
                  </a:lnTo>
                  <a:lnTo>
                    <a:pt x="39" y="78"/>
                  </a:lnTo>
                  <a:lnTo>
                    <a:pt x="37" y="78"/>
                  </a:lnTo>
                  <a:lnTo>
                    <a:pt x="36" y="78"/>
                  </a:lnTo>
                  <a:lnTo>
                    <a:pt x="37" y="77"/>
                  </a:lnTo>
                  <a:lnTo>
                    <a:pt x="39" y="77"/>
                  </a:lnTo>
                  <a:lnTo>
                    <a:pt x="39" y="76"/>
                  </a:lnTo>
                  <a:lnTo>
                    <a:pt x="37" y="76"/>
                  </a:lnTo>
                  <a:lnTo>
                    <a:pt x="37" y="77"/>
                  </a:lnTo>
                  <a:lnTo>
                    <a:pt x="36" y="77"/>
                  </a:lnTo>
                  <a:lnTo>
                    <a:pt x="36" y="76"/>
                  </a:lnTo>
                  <a:lnTo>
                    <a:pt x="36" y="74"/>
                  </a:lnTo>
                  <a:lnTo>
                    <a:pt x="36" y="73"/>
                  </a:lnTo>
                  <a:lnTo>
                    <a:pt x="35" y="73"/>
                  </a:lnTo>
                  <a:lnTo>
                    <a:pt x="34" y="73"/>
                  </a:lnTo>
                  <a:lnTo>
                    <a:pt x="34" y="74"/>
                  </a:lnTo>
                  <a:lnTo>
                    <a:pt x="34" y="73"/>
                  </a:lnTo>
                  <a:lnTo>
                    <a:pt x="33" y="74"/>
                  </a:lnTo>
                  <a:lnTo>
                    <a:pt x="33" y="76"/>
                  </a:lnTo>
                  <a:lnTo>
                    <a:pt x="33" y="77"/>
                  </a:lnTo>
                  <a:lnTo>
                    <a:pt x="33" y="78"/>
                  </a:lnTo>
                  <a:lnTo>
                    <a:pt x="31" y="78"/>
                  </a:lnTo>
                  <a:lnTo>
                    <a:pt x="30" y="78"/>
                  </a:lnTo>
                  <a:lnTo>
                    <a:pt x="31" y="78"/>
                  </a:lnTo>
                  <a:lnTo>
                    <a:pt x="30" y="77"/>
                  </a:lnTo>
                  <a:lnTo>
                    <a:pt x="30" y="76"/>
                  </a:lnTo>
                  <a:lnTo>
                    <a:pt x="31" y="76"/>
                  </a:lnTo>
                  <a:lnTo>
                    <a:pt x="30" y="74"/>
                  </a:lnTo>
                  <a:lnTo>
                    <a:pt x="30" y="76"/>
                  </a:lnTo>
                  <a:lnTo>
                    <a:pt x="29" y="78"/>
                  </a:lnTo>
                  <a:lnTo>
                    <a:pt x="28" y="76"/>
                  </a:lnTo>
                  <a:lnTo>
                    <a:pt x="28" y="74"/>
                  </a:lnTo>
                  <a:lnTo>
                    <a:pt x="29" y="74"/>
                  </a:lnTo>
                  <a:lnTo>
                    <a:pt x="29" y="73"/>
                  </a:lnTo>
                  <a:lnTo>
                    <a:pt x="28" y="73"/>
                  </a:lnTo>
                  <a:lnTo>
                    <a:pt x="28" y="74"/>
                  </a:lnTo>
                  <a:lnTo>
                    <a:pt x="27" y="72"/>
                  </a:lnTo>
                  <a:lnTo>
                    <a:pt x="27" y="74"/>
                  </a:lnTo>
                  <a:lnTo>
                    <a:pt x="28" y="74"/>
                  </a:lnTo>
                  <a:lnTo>
                    <a:pt x="28" y="76"/>
                  </a:lnTo>
                  <a:lnTo>
                    <a:pt x="25" y="73"/>
                  </a:lnTo>
                  <a:lnTo>
                    <a:pt x="28" y="76"/>
                  </a:lnTo>
                  <a:lnTo>
                    <a:pt x="27" y="76"/>
                  </a:lnTo>
                  <a:lnTo>
                    <a:pt x="25" y="76"/>
                  </a:lnTo>
                  <a:lnTo>
                    <a:pt x="25" y="77"/>
                  </a:lnTo>
                  <a:lnTo>
                    <a:pt x="24" y="76"/>
                  </a:lnTo>
                  <a:lnTo>
                    <a:pt x="23" y="76"/>
                  </a:lnTo>
                  <a:lnTo>
                    <a:pt x="23" y="77"/>
                  </a:lnTo>
                  <a:lnTo>
                    <a:pt x="22" y="77"/>
                  </a:lnTo>
                  <a:lnTo>
                    <a:pt x="22" y="76"/>
                  </a:lnTo>
                  <a:lnTo>
                    <a:pt x="21" y="76"/>
                  </a:lnTo>
                  <a:lnTo>
                    <a:pt x="19" y="76"/>
                  </a:lnTo>
                  <a:lnTo>
                    <a:pt x="19" y="74"/>
                  </a:lnTo>
                  <a:lnTo>
                    <a:pt x="19" y="73"/>
                  </a:lnTo>
                  <a:lnTo>
                    <a:pt x="18" y="74"/>
                  </a:lnTo>
                  <a:lnTo>
                    <a:pt x="18" y="76"/>
                  </a:lnTo>
                  <a:lnTo>
                    <a:pt x="18" y="74"/>
                  </a:lnTo>
                  <a:lnTo>
                    <a:pt x="17" y="74"/>
                  </a:lnTo>
                  <a:lnTo>
                    <a:pt x="17" y="73"/>
                  </a:lnTo>
                  <a:lnTo>
                    <a:pt x="17" y="74"/>
                  </a:lnTo>
                  <a:lnTo>
                    <a:pt x="17" y="76"/>
                  </a:lnTo>
                  <a:lnTo>
                    <a:pt x="18" y="76"/>
                  </a:lnTo>
                  <a:lnTo>
                    <a:pt x="19" y="76"/>
                  </a:lnTo>
                  <a:lnTo>
                    <a:pt x="24" y="78"/>
                  </a:lnTo>
                  <a:lnTo>
                    <a:pt x="27" y="78"/>
                  </a:lnTo>
                  <a:lnTo>
                    <a:pt x="25" y="80"/>
                  </a:lnTo>
                  <a:lnTo>
                    <a:pt x="27" y="80"/>
                  </a:lnTo>
                  <a:lnTo>
                    <a:pt x="27" y="79"/>
                  </a:lnTo>
                  <a:lnTo>
                    <a:pt x="28" y="79"/>
                  </a:lnTo>
                  <a:lnTo>
                    <a:pt x="28" y="80"/>
                  </a:lnTo>
                  <a:lnTo>
                    <a:pt x="28" y="79"/>
                  </a:lnTo>
                  <a:lnTo>
                    <a:pt x="29" y="80"/>
                  </a:lnTo>
                  <a:lnTo>
                    <a:pt x="29" y="79"/>
                  </a:lnTo>
                  <a:lnTo>
                    <a:pt x="29" y="78"/>
                  </a:lnTo>
                  <a:lnTo>
                    <a:pt x="31" y="79"/>
                  </a:lnTo>
                  <a:lnTo>
                    <a:pt x="33" y="79"/>
                  </a:lnTo>
                  <a:lnTo>
                    <a:pt x="33" y="80"/>
                  </a:lnTo>
                  <a:lnTo>
                    <a:pt x="31" y="83"/>
                  </a:lnTo>
                  <a:lnTo>
                    <a:pt x="30" y="84"/>
                  </a:lnTo>
                  <a:lnTo>
                    <a:pt x="29" y="84"/>
                  </a:lnTo>
                  <a:lnTo>
                    <a:pt x="28" y="84"/>
                  </a:lnTo>
                  <a:lnTo>
                    <a:pt x="27" y="83"/>
                  </a:lnTo>
                  <a:lnTo>
                    <a:pt x="25" y="84"/>
                  </a:lnTo>
                  <a:lnTo>
                    <a:pt x="24" y="84"/>
                  </a:lnTo>
                  <a:lnTo>
                    <a:pt x="25" y="85"/>
                  </a:lnTo>
                  <a:lnTo>
                    <a:pt x="24" y="86"/>
                  </a:lnTo>
                  <a:lnTo>
                    <a:pt x="23" y="88"/>
                  </a:lnTo>
                  <a:lnTo>
                    <a:pt x="23" y="89"/>
                  </a:lnTo>
                  <a:lnTo>
                    <a:pt x="22" y="89"/>
                  </a:lnTo>
                  <a:lnTo>
                    <a:pt x="21" y="89"/>
                  </a:lnTo>
                  <a:lnTo>
                    <a:pt x="19" y="89"/>
                  </a:lnTo>
                  <a:lnTo>
                    <a:pt x="19" y="90"/>
                  </a:lnTo>
                  <a:lnTo>
                    <a:pt x="18" y="90"/>
                  </a:lnTo>
                  <a:lnTo>
                    <a:pt x="17" y="89"/>
                  </a:lnTo>
                  <a:lnTo>
                    <a:pt x="18" y="91"/>
                  </a:lnTo>
                  <a:lnTo>
                    <a:pt x="17" y="91"/>
                  </a:lnTo>
                  <a:lnTo>
                    <a:pt x="17" y="92"/>
                  </a:lnTo>
                  <a:lnTo>
                    <a:pt x="16" y="92"/>
                  </a:lnTo>
                  <a:lnTo>
                    <a:pt x="13" y="91"/>
                  </a:lnTo>
                  <a:lnTo>
                    <a:pt x="13" y="90"/>
                  </a:lnTo>
                  <a:lnTo>
                    <a:pt x="13" y="89"/>
                  </a:lnTo>
                  <a:lnTo>
                    <a:pt x="13" y="90"/>
                  </a:lnTo>
                  <a:lnTo>
                    <a:pt x="12" y="90"/>
                  </a:lnTo>
                  <a:lnTo>
                    <a:pt x="11" y="89"/>
                  </a:lnTo>
                  <a:lnTo>
                    <a:pt x="9" y="88"/>
                  </a:lnTo>
                  <a:lnTo>
                    <a:pt x="10" y="88"/>
                  </a:lnTo>
                  <a:lnTo>
                    <a:pt x="11" y="86"/>
                  </a:lnTo>
                  <a:lnTo>
                    <a:pt x="11" y="85"/>
                  </a:lnTo>
                  <a:lnTo>
                    <a:pt x="10" y="84"/>
                  </a:lnTo>
                  <a:lnTo>
                    <a:pt x="10" y="86"/>
                  </a:lnTo>
                  <a:lnTo>
                    <a:pt x="9" y="88"/>
                  </a:lnTo>
                  <a:lnTo>
                    <a:pt x="9" y="86"/>
                  </a:lnTo>
                  <a:lnTo>
                    <a:pt x="10" y="85"/>
                  </a:lnTo>
                  <a:lnTo>
                    <a:pt x="9" y="86"/>
                  </a:lnTo>
                  <a:lnTo>
                    <a:pt x="7" y="86"/>
                  </a:lnTo>
                  <a:lnTo>
                    <a:pt x="9" y="85"/>
                  </a:lnTo>
                  <a:lnTo>
                    <a:pt x="9" y="84"/>
                  </a:lnTo>
                  <a:lnTo>
                    <a:pt x="9" y="85"/>
                  </a:lnTo>
                  <a:lnTo>
                    <a:pt x="10" y="84"/>
                  </a:lnTo>
                  <a:lnTo>
                    <a:pt x="9" y="83"/>
                  </a:lnTo>
                  <a:lnTo>
                    <a:pt x="7" y="84"/>
                  </a:lnTo>
                  <a:lnTo>
                    <a:pt x="7" y="85"/>
                  </a:lnTo>
                  <a:lnTo>
                    <a:pt x="7" y="84"/>
                  </a:lnTo>
                  <a:lnTo>
                    <a:pt x="9" y="83"/>
                  </a:lnTo>
                  <a:lnTo>
                    <a:pt x="9" y="82"/>
                  </a:lnTo>
                  <a:lnTo>
                    <a:pt x="9" y="83"/>
                  </a:lnTo>
                  <a:lnTo>
                    <a:pt x="9" y="82"/>
                  </a:lnTo>
                  <a:lnTo>
                    <a:pt x="9" y="80"/>
                  </a:lnTo>
                  <a:lnTo>
                    <a:pt x="10" y="79"/>
                  </a:lnTo>
                  <a:lnTo>
                    <a:pt x="7" y="80"/>
                  </a:lnTo>
                  <a:lnTo>
                    <a:pt x="7" y="79"/>
                  </a:lnTo>
                  <a:lnTo>
                    <a:pt x="7" y="78"/>
                  </a:lnTo>
                  <a:lnTo>
                    <a:pt x="6" y="78"/>
                  </a:lnTo>
                  <a:lnTo>
                    <a:pt x="7" y="79"/>
                  </a:lnTo>
                  <a:lnTo>
                    <a:pt x="6" y="79"/>
                  </a:lnTo>
                  <a:lnTo>
                    <a:pt x="5" y="79"/>
                  </a:lnTo>
                  <a:lnTo>
                    <a:pt x="5" y="80"/>
                  </a:lnTo>
                  <a:lnTo>
                    <a:pt x="5" y="82"/>
                  </a:lnTo>
                  <a:lnTo>
                    <a:pt x="4" y="82"/>
                  </a:lnTo>
                  <a:lnTo>
                    <a:pt x="3" y="82"/>
                  </a:lnTo>
                  <a:lnTo>
                    <a:pt x="4" y="82"/>
                  </a:lnTo>
                  <a:lnTo>
                    <a:pt x="4" y="83"/>
                  </a:lnTo>
                  <a:lnTo>
                    <a:pt x="3" y="83"/>
                  </a:lnTo>
                  <a:lnTo>
                    <a:pt x="1" y="82"/>
                  </a:lnTo>
                  <a:lnTo>
                    <a:pt x="0" y="83"/>
                  </a:lnTo>
                  <a:lnTo>
                    <a:pt x="0" y="84"/>
                  </a:lnTo>
                  <a:lnTo>
                    <a:pt x="1" y="83"/>
                  </a:lnTo>
                  <a:lnTo>
                    <a:pt x="1" y="84"/>
                  </a:lnTo>
                  <a:lnTo>
                    <a:pt x="3" y="84"/>
                  </a:lnTo>
                  <a:lnTo>
                    <a:pt x="3" y="83"/>
                  </a:lnTo>
                  <a:lnTo>
                    <a:pt x="4" y="84"/>
                  </a:lnTo>
                  <a:lnTo>
                    <a:pt x="5" y="84"/>
                  </a:lnTo>
                  <a:lnTo>
                    <a:pt x="6" y="85"/>
                  </a:lnTo>
                  <a:lnTo>
                    <a:pt x="5" y="85"/>
                  </a:lnTo>
                  <a:lnTo>
                    <a:pt x="5" y="86"/>
                  </a:lnTo>
                  <a:lnTo>
                    <a:pt x="6" y="86"/>
                  </a:lnTo>
                  <a:lnTo>
                    <a:pt x="7" y="86"/>
                  </a:lnTo>
                  <a:lnTo>
                    <a:pt x="9" y="86"/>
                  </a:lnTo>
                  <a:lnTo>
                    <a:pt x="7" y="86"/>
                  </a:lnTo>
                  <a:lnTo>
                    <a:pt x="6" y="86"/>
                  </a:lnTo>
                  <a:lnTo>
                    <a:pt x="7" y="86"/>
                  </a:lnTo>
                  <a:lnTo>
                    <a:pt x="7" y="88"/>
                  </a:lnTo>
                  <a:lnTo>
                    <a:pt x="7" y="89"/>
                  </a:lnTo>
                  <a:lnTo>
                    <a:pt x="6" y="88"/>
                  </a:lnTo>
                  <a:lnTo>
                    <a:pt x="6" y="89"/>
                  </a:lnTo>
                  <a:lnTo>
                    <a:pt x="5" y="89"/>
                  </a:lnTo>
                  <a:lnTo>
                    <a:pt x="5" y="88"/>
                  </a:lnTo>
                  <a:lnTo>
                    <a:pt x="4" y="88"/>
                  </a:lnTo>
                  <a:lnTo>
                    <a:pt x="5" y="88"/>
                  </a:lnTo>
                  <a:lnTo>
                    <a:pt x="4" y="88"/>
                  </a:lnTo>
                  <a:lnTo>
                    <a:pt x="4" y="89"/>
                  </a:lnTo>
                  <a:lnTo>
                    <a:pt x="3" y="89"/>
                  </a:lnTo>
                  <a:lnTo>
                    <a:pt x="4" y="90"/>
                  </a:lnTo>
                  <a:lnTo>
                    <a:pt x="4" y="91"/>
                  </a:lnTo>
                  <a:lnTo>
                    <a:pt x="4" y="92"/>
                  </a:lnTo>
                  <a:lnTo>
                    <a:pt x="4" y="91"/>
                  </a:lnTo>
                  <a:lnTo>
                    <a:pt x="4" y="90"/>
                  </a:lnTo>
                  <a:lnTo>
                    <a:pt x="5" y="90"/>
                  </a:lnTo>
                  <a:lnTo>
                    <a:pt x="5" y="91"/>
                  </a:lnTo>
                  <a:lnTo>
                    <a:pt x="6" y="90"/>
                  </a:lnTo>
                  <a:lnTo>
                    <a:pt x="6" y="91"/>
                  </a:lnTo>
                  <a:lnTo>
                    <a:pt x="7" y="91"/>
                  </a:lnTo>
                  <a:lnTo>
                    <a:pt x="6" y="92"/>
                  </a:lnTo>
                  <a:lnTo>
                    <a:pt x="7" y="92"/>
                  </a:lnTo>
                  <a:lnTo>
                    <a:pt x="7" y="91"/>
                  </a:lnTo>
                  <a:lnTo>
                    <a:pt x="9" y="91"/>
                  </a:lnTo>
                  <a:lnTo>
                    <a:pt x="11" y="91"/>
                  </a:lnTo>
                  <a:lnTo>
                    <a:pt x="12" y="92"/>
                  </a:lnTo>
                  <a:lnTo>
                    <a:pt x="15" y="92"/>
                  </a:lnTo>
                  <a:lnTo>
                    <a:pt x="16" y="94"/>
                  </a:lnTo>
                  <a:lnTo>
                    <a:pt x="17" y="95"/>
                  </a:lnTo>
                  <a:lnTo>
                    <a:pt x="17" y="96"/>
                  </a:lnTo>
                  <a:lnTo>
                    <a:pt x="18" y="97"/>
                  </a:lnTo>
                  <a:lnTo>
                    <a:pt x="18" y="96"/>
                  </a:lnTo>
                  <a:lnTo>
                    <a:pt x="18" y="95"/>
                  </a:lnTo>
                  <a:lnTo>
                    <a:pt x="18" y="96"/>
                  </a:lnTo>
                  <a:lnTo>
                    <a:pt x="19" y="95"/>
                  </a:lnTo>
                  <a:lnTo>
                    <a:pt x="21" y="95"/>
                  </a:lnTo>
                  <a:lnTo>
                    <a:pt x="21" y="96"/>
                  </a:lnTo>
                  <a:lnTo>
                    <a:pt x="22" y="95"/>
                  </a:lnTo>
                  <a:lnTo>
                    <a:pt x="22" y="96"/>
                  </a:lnTo>
                  <a:lnTo>
                    <a:pt x="22" y="97"/>
                  </a:lnTo>
                  <a:lnTo>
                    <a:pt x="23" y="96"/>
                  </a:lnTo>
                  <a:lnTo>
                    <a:pt x="23" y="97"/>
                  </a:lnTo>
                  <a:lnTo>
                    <a:pt x="24" y="97"/>
                  </a:lnTo>
                  <a:lnTo>
                    <a:pt x="24" y="98"/>
                  </a:lnTo>
                  <a:lnTo>
                    <a:pt x="25" y="97"/>
                  </a:lnTo>
                  <a:lnTo>
                    <a:pt x="27" y="97"/>
                  </a:lnTo>
                  <a:lnTo>
                    <a:pt x="27" y="98"/>
                  </a:lnTo>
                  <a:lnTo>
                    <a:pt x="27" y="100"/>
                  </a:lnTo>
                  <a:lnTo>
                    <a:pt x="28" y="102"/>
                  </a:lnTo>
                  <a:lnTo>
                    <a:pt x="27" y="102"/>
                  </a:lnTo>
                  <a:lnTo>
                    <a:pt x="25" y="101"/>
                  </a:lnTo>
                  <a:lnTo>
                    <a:pt x="27" y="101"/>
                  </a:lnTo>
                  <a:lnTo>
                    <a:pt x="25" y="101"/>
                  </a:lnTo>
                  <a:lnTo>
                    <a:pt x="25" y="102"/>
                  </a:lnTo>
                  <a:lnTo>
                    <a:pt x="24" y="102"/>
                  </a:lnTo>
                  <a:lnTo>
                    <a:pt x="24" y="103"/>
                  </a:lnTo>
                  <a:lnTo>
                    <a:pt x="25" y="104"/>
                  </a:lnTo>
                  <a:lnTo>
                    <a:pt x="24" y="106"/>
                  </a:lnTo>
                  <a:lnTo>
                    <a:pt x="23" y="107"/>
                  </a:lnTo>
                  <a:lnTo>
                    <a:pt x="23" y="108"/>
                  </a:lnTo>
                  <a:lnTo>
                    <a:pt x="22" y="107"/>
                  </a:lnTo>
                  <a:lnTo>
                    <a:pt x="22" y="108"/>
                  </a:lnTo>
                  <a:lnTo>
                    <a:pt x="21" y="108"/>
                  </a:lnTo>
                  <a:lnTo>
                    <a:pt x="21" y="109"/>
                  </a:lnTo>
                  <a:lnTo>
                    <a:pt x="19" y="109"/>
                  </a:lnTo>
                  <a:lnTo>
                    <a:pt x="18" y="109"/>
                  </a:lnTo>
                  <a:lnTo>
                    <a:pt x="17" y="109"/>
                  </a:lnTo>
                  <a:lnTo>
                    <a:pt x="16" y="110"/>
                  </a:lnTo>
                  <a:lnTo>
                    <a:pt x="17" y="110"/>
                  </a:lnTo>
                  <a:lnTo>
                    <a:pt x="17" y="112"/>
                  </a:lnTo>
                  <a:lnTo>
                    <a:pt x="17" y="110"/>
                  </a:lnTo>
                  <a:lnTo>
                    <a:pt x="17" y="112"/>
                  </a:lnTo>
                  <a:lnTo>
                    <a:pt x="17" y="113"/>
                  </a:lnTo>
                  <a:lnTo>
                    <a:pt x="18" y="112"/>
                  </a:lnTo>
                  <a:lnTo>
                    <a:pt x="19" y="112"/>
                  </a:lnTo>
                  <a:lnTo>
                    <a:pt x="19" y="113"/>
                  </a:lnTo>
                  <a:lnTo>
                    <a:pt x="19" y="114"/>
                  </a:lnTo>
                  <a:lnTo>
                    <a:pt x="21" y="113"/>
                  </a:lnTo>
                  <a:lnTo>
                    <a:pt x="21" y="114"/>
                  </a:lnTo>
                  <a:lnTo>
                    <a:pt x="21" y="115"/>
                  </a:lnTo>
                  <a:lnTo>
                    <a:pt x="22" y="114"/>
                  </a:lnTo>
                  <a:lnTo>
                    <a:pt x="23" y="113"/>
                  </a:lnTo>
                  <a:lnTo>
                    <a:pt x="23" y="114"/>
                  </a:lnTo>
                  <a:lnTo>
                    <a:pt x="23" y="115"/>
                  </a:lnTo>
                  <a:lnTo>
                    <a:pt x="22" y="115"/>
                  </a:lnTo>
                  <a:lnTo>
                    <a:pt x="23" y="115"/>
                  </a:lnTo>
                  <a:lnTo>
                    <a:pt x="24" y="115"/>
                  </a:lnTo>
                  <a:lnTo>
                    <a:pt x="23" y="117"/>
                  </a:lnTo>
                  <a:lnTo>
                    <a:pt x="23" y="118"/>
                  </a:lnTo>
                  <a:lnTo>
                    <a:pt x="21" y="118"/>
                  </a:lnTo>
                  <a:lnTo>
                    <a:pt x="19" y="117"/>
                  </a:lnTo>
                  <a:lnTo>
                    <a:pt x="18" y="117"/>
                  </a:lnTo>
                  <a:lnTo>
                    <a:pt x="18" y="115"/>
                  </a:lnTo>
                  <a:lnTo>
                    <a:pt x="17" y="115"/>
                  </a:lnTo>
                  <a:lnTo>
                    <a:pt x="16" y="115"/>
                  </a:lnTo>
                  <a:lnTo>
                    <a:pt x="15" y="115"/>
                  </a:lnTo>
                  <a:lnTo>
                    <a:pt x="13" y="115"/>
                  </a:lnTo>
                  <a:lnTo>
                    <a:pt x="13" y="117"/>
                  </a:lnTo>
                  <a:lnTo>
                    <a:pt x="12" y="118"/>
                  </a:lnTo>
                  <a:lnTo>
                    <a:pt x="13" y="117"/>
                  </a:lnTo>
                  <a:lnTo>
                    <a:pt x="12" y="117"/>
                  </a:lnTo>
                  <a:lnTo>
                    <a:pt x="11" y="117"/>
                  </a:lnTo>
                  <a:lnTo>
                    <a:pt x="11" y="118"/>
                  </a:lnTo>
                  <a:lnTo>
                    <a:pt x="10" y="119"/>
                  </a:lnTo>
                  <a:lnTo>
                    <a:pt x="10" y="120"/>
                  </a:lnTo>
                  <a:lnTo>
                    <a:pt x="9" y="120"/>
                  </a:lnTo>
                  <a:lnTo>
                    <a:pt x="9" y="119"/>
                  </a:lnTo>
                  <a:lnTo>
                    <a:pt x="9" y="118"/>
                  </a:lnTo>
                  <a:lnTo>
                    <a:pt x="9" y="119"/>
                  </a:lnTo>
                  <a:lnTo>
                    <a:pt x="7" y="119"/>
                  </a:lnTo>
                  <a:lnTo>
                    <a:pt x="7" y="118"/>
                  </a:lnTo>
                  <a:lnTo>
                    <a:pt x="6" y="118"/>
                  </a:lnTo>
                  <a:lnTo>
                    <a:pt x="5" y="119"/>
                  </a:lnTo>
                  <a:lnTo>
                    <a:pt x="5" y="120"/>
                  </a:lnTo>
                  <a:lnTo>
                    <a:pt x="4" y="120"/>
                  </a:lnTo>
                  <a:lnTo>
                    <a:pt x="4" y="121"/>
                  </a:lnTo>
                  <a:lnTo>
                    <a:pt x="4" y="123"/>
                  </a:lnTo>
                  <a:lnTo>
                    <a:pt x="4" y="124"/>
                  </a:lnTo>
                  <a:lnTo>
                    <a:pt x="4" y="123"/>
                  </a:lnTo>
                  <a:lnTo>
                    <a:pt x="5" y="123"/>
                  </a:lnTo>
                  <a:lnTo>
                    <a:pt x="5" y="125"/>
                  </a:lnTo>
                  <a:lnTo>
                    <a:pt x="5" y="126"/>
                  </a:lnTo>
                  <a:lnTo>
                    <a:pt x="6" y="127"/>
                  </a:lnTo>
                  <a:lnTo>
                    <a:pt x="6" y="130"/>
                  </a:lnTo>
                  <a:lnTo>
                    <a:pt x="6" y="129"/>
                  </a:lnTo>
                  <a:lnTo>
                    <a:pt x="7" y="127"/>
                  </a:lnTo>
                  <a:lnTo>
                    <a:pt x="7" y="129"/>
                  </a:lnTo>
                  <a:lnTo>
                    <a:pt x="9" y="129"/>
                  </a:lnTo>
                  <a:lnTo>
                    <a:pt x="10" y="127"/>
                  </a:lnTo>
                  <a:lnTo>
                    <a:pt x="10" y="126"/>
                  </a:lnTo>
                  <a:lnTo>
                    <a:pt x="10" y="127"/>
                  </a:lnTo>
                  <a:lnTo>
                    <a:pt x="11" y="126"/>
                  </a:lnTo>
                  <a:lnTo>
                    <a:pt x="11" y="129"/>
                  </a:lnTo>
                  <a:lnTo>
                    <a:pt x="12" y="127"/>
                  </a:lnTo>
                  <a:lnTo>
                    <a:pt x="12" y="129"/>
                  </a:lnTo>
                  <a:lnTo>
                    <a:pt x="12" y="130"/>
                  </a:lnTo>
                  <a:lnTo>
                    <a:pt x="13" y="129"/>
                  </a:lnTo>
                  <a:lnTo>
                    <a:pt x="13" y="130"/>
                  </a:lnTo>
                  <a:lnTo>
                    <a:pt x="15" y="130"/>
                  </a:lnTo>
                  <a:lnTo>
                    <a:pt x="15" y="131"/>
                  </a:lnTo>
                  <a:lnTo>
                    <a:pt x="16" y="130"/>
                  </a:lnTo>
                  <a:lnTo>
                    <a:pt x="16" y="132"/>
                  </a:lnTo>
                  <a:lnTo>
                    <a:pt x="17" y="133"/>
                  </a:lnTo>
                  <a:lnTo>
                    <a:pt x="17" y="135"/>
                  </a:lnTo>
                  <a:lnTo>
                    <a:pt x="16" y="135"/>
                  </a:lnTo>
                  <a:lnTo>
                    <a:pt x="15" y="136"/>
                  </a:lnTo>
                  <a:lnTo>
                    <a:pt x="15" y="138"/>
                  </a:lnTo>
                  <a:lnTo>
                    <a:pt x="15" y="139"/>
                  </a:lnTo>
                  <a:lnTo>
                    <a:pt x="15" y="137"/>
                  </a:lnTo>
                  <a:lnTo>
                    <a:pt x="16" y="136"/>
                  </a:lnTo>
                  <a:lnTo>
                    <a:pt x="16" y="137"/>
                  </a:lnTo>
                  <a:lnTo>
                    <a:pt x="16" y="138"/>
                  </a:lnTo>
                  <a:lnTo>
                    <a:pt x="17" y="138"/>
                  </a:lnTo>
                  <a:lnTo>
                    <a:pt x="16" y="139"/>
                  </a:lnTo>
                  <a:lnTo>
                    <a:pt x="15" y="139"/>
                  </a:lnTo>
                  <a:lnTo>
                    <a:pt x="13" y="141"/>
                  </a:lnTo>
                  <a:lnTo>
                    <a:pt x="13" y="143"/>
                  </a:lnTo>
                  <a:lnTo>
                    <a:pt x="13" y="142"/>
                  </a:lnTo>
                  <a:lnTo>
                    <a:pt x="15" y="141"/>
                  </a:lnTo>
                  <a:lnTo>
                    <a:pt x="15" y="142"/>
                  </a:lnTo>
                  <a:lnTo>
                    <a:pt x="16" y="142"/>
                  </a:lnTo>
                  <a:lnTo>
                    <a:pt x="16" y="141"/>
                  </a:lnTo>
                  <a:lnTo>
                    <a:pt x="16" y="143"/>
                  </a:lnTo>
                  <a:lnTo>
                    <a:pt x="17" y="142"/>
                  </a:lnTo>
                  <a:lnTo>
                    <a:pt x="17" y="144"/>
                  </a:lnTo>
                  <a:lnTo>
                    <a:pt x="17" y="145"/>
                  </a:lnTo>
                  <a:lnTo>
                    <a:pt x="16" y="147"/>
                  </a:lnTo>
                  <a:lnTo>
                    <a:pt x="17" y="145"/>
                  </a:lnTo>
                  <a:lnTo>
                    <a:pt x="17" y="148"/>
                  </a:lnTo>
                  <a:lnTo>
                    <a:pt x="18" y="149"/>
                  </a:lnTo>
                  <a:lnTo>
                    <a:pt x="17" y="150"/>
                  </a:lnTo>
                  <a:lnTo>
                    <a:pt x="18" y="150"/>
                  </a:lnTo>
                  <a:lnTo>
                    <a:pt x="18" y="151"/>
                  </a:lnTo>
                  <a:lnTo>
                    <a:pt x="18" y="153"/>
                  </a:lnTo>
                  <a:lnTo>
                    <a:pt x="19" y="153"/>
                  </a:lnTo>
                  <a:lnTo>
                    <a:pt x="19" y="155"/>
                  </a:lnTo>
                  <a:lnTo>
                    <a:pt x="19" y="153"/>
                  </a:lnTo>
                  <a:lnTo>
                    <a:pt x="21" y="154"/>
                  </a:lnTo>
                  <a:lnTo>
                    <a:pt x="19" y="154"/>
                  </a:lnTo>
                  <a:lnTo>
                    <a:pt x="21" y="156"/>
                  </a:lnTo>
                  <a:lnTo>
                    <a:pt x="19" y="156"/>
                  </a:lnTo>
                  <a:lnTo>
                    <a:pt x="18" y="157"/>
                  </a:lnTo>
                  <a:lnTo>
                    <a:pt x="17" y="156"/>
                  </a:lnTo>
                  <a:lnTo>
                    <a:pt x="17" y="159"/>
                  </a:lnTo>
                  <a:lnTo>
                    <a:pt x="17" y="160"/>
                  </a:lnTo>
                  <a:lnTo>
                    <a:pt x="17" y="159"/>
                  </a:lnTo>
                  <a:lnTo>
                    <a:pt x="18" y="160"/>
                  </a:lnTo>
                  <a:lnTo>
                    <a:pt x="19" y="160"/>
                  </a:lnTo>
                  <a:lnTo>
                    <a:pt x="19" y="159"/>
                  </a:lnTo>
                  <a:lnTo>
                    <a:pt x="19" y="160"/>
                  </a:lnTo>
                  <a:lnTo>
                    <a:pt x="21" y="161"/>
                  </a:lnTo>
                  <a:lnTo>
                    <a:pt x="22" y="160"/>
                  </a:lnTo>
                  <a:lnTo>
                    <a:pt x="23" y="160"/>
                  </a:lnTo>
                  <a:lnTo>
                    <a:pt x="24" y="159"/>
                  </a:lnTo>
                  <a:lnTo>
                    <a:pt x="24" y="157"/>
                  </a:lnTo>
                  <a:lnTo>
                    <a:pt x="24" y="160"/>
                  </a:lnTo>
                  <a:lnTo>
                    <a:pt x="25" y="161"/>
                  </a:lnTo>
                  <a:lnTo>
                    <a:pt x="27" y="161"/>
                  </a:lnTo>
                  <a:lnTo>
                    <a:pt x="28" y="160"/>
                  </a:lnTo>
                  <a:lnTo>
                    <a:pt x="28" y="161"/>
                  </a:lnTo>
                  <a:lnTo>
                    <a:pt x="28" y="162"/>
                  </a:lnTo>
                  <a:lnTo>
                    <a:pt x="29" y="160"/>
                  </a:lnTo>
                  <a:lnTo>
                    <a:pt x="30" y="159"/>
                  </a:lnTo>
                  <a:lnTo>
                    <a:pt x="30" y="157"/>
                  </a:lnTo>
                  <a:lnTo>
                    <a:pt x="30" y="156"/>
                  </a:lnTo>
                  <a:lnTo>
                    <a:pt x="31" y="157"/>
                  </a:lnTo>
                  <a:lnTo>
                    <a:pt x="30" y="160"/>
                  </a:lnTo>
                  <a:lnTo>
                    <a:pt x="30" y="161"/>
                  </a:lnTo>
                  <a:lnTo>
                    <a:pt x="30" y="160"/>
                  </a:lnTo>
                  <a:lnTo>
                    <a:pt x="31" y="159"/>
                  </a:lnTo>
                  <a:lnTo>
                    <a:pt x="31" y="157"/>
                  </a:lnTo>
                  <a:lnTo>
                    <a:pt x="33" y="157"/>
                  </a:lnTo>
                  <a:lnTo>
                    <a:pt x="33" y="156"/>
                  </a:lnTo>
                  <a:lnTo>
                    <a:pt x="34" y="156"/>
                  </a:lnTo>
                  <a:lnTo>
                    <a:pt x="34" y="155"/>
                  </a:lnTo>
                  <a:lnTo>
                    <a:pt x="35" y="155"/>
                  </a:lnTo>
                  <a:lnTo>
                    <a:pt x="37" y="154"/>
                  </a:lnTo>
                  <a:lnTo>
                    <a:pt x="39" y="154"/>
                  </a:lnTo>
                  <a:lnTo>
                    <a:pt x="39" y="155"/>
                  </a:lnTo>
                  <a:lnTo>
                    <a:pt x="39" y="156"/>
                  </a:lnTo>
                  <a:lnTo>
                    <a:pt x="40" y="157"/>
                  </a:lnTo>
                  <a:lnTo>
                    <a:pt x="39" y="157"/>
                  </a:lnTo>
                  <a:lnTo>
                    <a:pt x="37" y="157"/>
                  </a:lnTo>
                  <a:lnTo>
                    <a:pt x="36" y="157"/>
                  </a:lnTo>
                  <a:lnTo>
                    <a:pt x="35" y="157"/>
                  </a:lnTo>
                  <a:lnTo>
                    <a:pt x="35" y="156"/>
                  </a:lnTo>
                  <a:lnTo>
                    <a:pt x="34" y="156"/>
                  </a:lnTo>
                  <a:lnTo>
                    <a:pt x="34" y="157"/>
                  </a:lnTo>
                  <a:lnTo>
                    <a:pt x="35" y="157"/>
                  </a:lnTo>
                  <a:lnTo>
                    <a:pt x="34" y="159"/>
                  </a:lnTo>
                  <a:lnTo>
                    <a:pt x="33" y="159"/>
                  </a:lnTo>
                  <a:lnTo>
                    <a:pt x="31" y="159"/>
                  </a:lnTo>
                  <a:lnTo>
                    <a:pt x="31" y="160"/>
                  </a:lnTo>
                  <a:lnTo>
                    <a:pt x="31" y="161"/>
                  </a:lnTo>
                  <a:lnTo>
                    <a:pt x="31" y="163"/>
                  </a:lnTo>
                  <a:lnTo>
                    <a:pt x="29" y="165"/>
                  </a:lnTo>
                  <a:lnTo>
                    <a:pt x="28" y="165"/>
                  </a:lnTo>
                  <a:lnTo>
                    <a:pt x="28" y="163"/>
                  </a:lnTo>
                  <a:lnTo>
                    <a:pt x="27" y="163"/>
                  </a:lnTo>
                  <a:lnTo>
                    <a:pt x="25" y="163"/>
                  </a:lnTo>
                  <a:lnTo>
                    <a:pt x="27" y="165"/>
                  </a:lnTo>
                  <a:lnTo>
                    <a:pt x="28" y="165"/>
                  </a:lnTo>
                  <a:lnTo>
                    <a:pt x="27" y="165"/>
                  </a:lnTo>
                  <a:lnTo>
                    <a:pt x="25" y="166"/>
                  </a:lnTo>
                  <a:lnTo>
                    <a:pt x="24" y="166"/>
                  </a:lnTo>
                  <a:lnTo>
                    <a:pt x="23" y="167"/>
                  </a:lnTo>
                  <a:lnTo>
                    <a:pt x="23" y="169"/>
                  </a:lnTo>
                  <a:lnTo>
                    <a:pt x="24" y="171"/>
                  </a:lnTo>
                  <a:lnTo>
                    <a:pt x="25" y="171"/>
                  </a:lnTo>
                  <a:lnTo>
                    <a:pt x="25" y="172"/>
                  </a:lnTo>
                  <a:lnTo>
                    <a:pt x="25" y="171"/>
                  </a:lnTo>
                  <a:lnTo>
                    <a:pt x="27" y="171"/>
                  </a:lnTo>
                  <a:lnTo>
                    <a:pt x="27" y="172"/>
                  </a:lnTo>
                  <a:lnTo>
                    <a:pt x="28" y="171"/>
                  </a:lnTo>
                  <a:lnTo>
                    <a:pt x="28" y="172"/>
                  </a:lnTo>
                  <a:lnTo>
                    <a:pt x="29" y="173"/>
                  </a:lnTo>
                  <a:lnTo>
                    <a:pt x="30" y="173"/>
                  </a:lnTo>
                  <a:lnTo>
                    <a:pt x="29" y="174"/>
                  </a:lnTo>
                  <a:lnTo>
                    <a:pt x="29" y="173"/>
                  </a:lnTo>
                  <a:lnTo>
                    <a:pt x="28" y="174"/>
                  </a:lnTo>
                  <a:lnTo>
                    <a:pt x="27" y="177"/>
                  </a:lnTo>
                  <a:lnTo>
                    <a:pt x="28" y="177"/>
                  </a:lnTo>
                  <a:lnTo>
                    <a:pt x="28" y="178"/>
                  </a:lnTo>
                  <a:lnTo>
                    <a:pt x="27" y="178"/>
                  </a:lnTo>
                  <a:lnTo>
                    <a:pt x="27" y="179"/>
                  </a:lnTo>
                  <a:lnTo>
                    <a:pt x="27" y="180"/>
                  </a:lnTo>
                  <a:lnTo>
                    <a:pt x="27" y="179"/>
                  </a:lnTo>
                  <a:lnTo>
                    <a:pt x="28" y="178"/>
                  </a:lnTo>
                  <a:lnTo>
                    <a:pt x="28" y="179"/>
                  </a:lnTo>
                  <a:lnTo>
                    <a:pt x="29" y="180"/>
                  </a:lnTo>
                  <a:lnTo>
                    <a:pt x="29" y="181"/>
                  </a:lnTo>
                  <a:lnTo>
                    <a:pt x="30" y="183"/>
                  </a:lnTo>
                  <a:lnTo>
                    <a:pt x="30" y="181"/>
                  </a:lnTo>
                  <a:lnTo>
                    <a:pt x="31" y="180"/>
                  </a:lnTo>
                  <a:lnTo>
                    <a:pt x="33" y="179"/>
                  </a:lnTo>
                  <a:lnTo>
                    <a:pt x="33" y="180"/>
                  </a:lnTo>
                  <a:lnTo>
                    <a:pt x="34" y="179"/>
                  </a:lnTo>
                  <a:lnTo>
                    <a:pt x="34" y="180"/>
                  </a:lnTo>
                  <a:lnTo>
                    <a:pt x="35" y="180"/>
                  </a:lnTo>
                  <a:lnTo>
                    <a:pt x="35" y="178"/>
                  </a:lnTo>
                  <a:lnTo>
                    <a:pt x="34" y="178"/>
                  </a:lnTo>
                  <a:lnTo>
                    <a:pt x="35" y="177"/>
                  </a:lnTo>
                  <a:lnTo>
                    <a:pt x="36" y="177"/>
                  </a:lnTo>
                  <a:lnTo>
                    <a:pt x="36" y="178"/>
                  </a:lnTo>
                  <a:lnTo>
                    <a:pt x="36" y="177"/>
                  </a:lnTo>
                  <a:lnTo>
                    <a:pt x="36" y="175"/>
                  </a:lnTo>
                  <a:lnTo>
                    <a:pt x="36" y="174"/>
                  </a:lnTo>
                  <a:lnTo>
                    <a:pt x="37" y="174"/>
                  </a:lnTo>
                  <a:lnTo>
                    <a:pt x="37" y="175"/>
                  </a:lnTo>
                  <a:lnTo>
                    <a:pt x="39" y="174"/>
                  </a:lnTo>
                  <a:lnTo>
                    <a:pt x="40" y="173"/>
                  </a:lnTo>
                  <a:lnTo>
                    <a:pt x="41" y="172"/>
                  </a:lnTo>
                  <a:lnTo>
                    <a:pt x="41" y="171"/>
                  </a:lnTo>
                  <a:lnTo>
                    <a:pt x="41" y="169"/>
                  </a:lnTo>
                  <a:lnTo>
                    <a:pt x="41" y="171"/>
                  </a:lnTo>
                  <a:lnTo>
                    <a:pt x="41" y="169"/>
                  </a:lnTo>
                  <a:lnTo>
                    <a:pt x="42" y="169"/>
                  </a:lnTo>
                  <a:lnTo>
                    <a:pt x="43" y="168"/>
                  </a:lnTo>
                  <a:lnTo>
                    <a:pt x="43" y="169"/>
                  </a:lnTo>
                  <a:lnTo>
                    <a:pt x="43" y="171"/>
                  </a:lnTo>
                  <a:lnTo>
                    <a:pt x="45" y="169"/>
                  </a:lnTo>
                  <a:lnTo>
                    <a:pt x="45" y="171"/>
                  </a:lnTo>
                  <a:lnTo>
                    <a:pt x="45" y="169"/>
                  </a:lnTo>
                  <a:lnTo>
                    <a:pt x="46" y="171"/>
                  </a:lnTo>
                  <a:lnTo>
                    <a:pt x="46" y="169"/>
                  </a:lnTo>
                  <a:lnTo>
                    <a:pt x="47" y="169"/>
                  </a:lnTo>
                  <a:lnTo>
                    <a:pt x="47" y="171"/>
                  </a:lnTo>
                  <a:lnTo>
                    <a:pt x="47" y="172"/>
                  </a:lnTo>
                  <a:lnTo>
                    <a:pt x="48" y="173"/>
                  </a:lnTo>
                  <a:lnTo>
                    <a:pt x="48" y="174"/>
                  </a:lnTo>
                  <a:lnTo>
                    <a:pt x="48" y="175"/>
                  </a:lnTo>
                  <a:lnTo>
                    <a:pt x="48" y="174"/>
                  </a:lnTo>
                  <a:lnTo>
                    <a:pt x="47" y="174"/>
                  </a:lnTo>
                  <a:lnTo>
                    <a:pt x="47" y="175"/>
                  </a:lnTo>
                  <a:lnTo>
                    <a:pt x="46" y="177"/>
                  </a:lnTo>
                  <a:lnTo>
                    <a:pt x="46" y="175"/>
                  </a:lnTo>
                  <a:lnTo>
                    <a:pt x="46" y="174"/>
                  </a:lnTo>
                  <a:lnTo>
                    <a:pt x="46" y="175"/>
                  </a:lnTo>
                  <a:lnTo>
                    <a:pt x="45" y="175"/>
                  </a:lnTo>
                  <a:lnTo>
                    <a:pt x="45" y="177"/>
                  </a:lnTo>
                  <a:lnTo>
                    <a:pt x="43" y="178"/>
                  </a:lnTo>
                  <a:lnTo>
                    <a:pt x="45" y="179"/>
                  </a:lnTo>
                  <a:lnTo>
                    <a:pt x="43" y="180"/>
                  </a:lnTo>
                  <a:lnTo>
                    <a:pt x="43" y="181"/>
                  </a:lnTo>
                  <a:lnTo>
                    <a:pt x="45" y="180"/>
                  </a:lnTo>
                  <a:lnTo>
                    <a:pt x="45" y="181"/>
                  </a:lnTo>
                  <a:lnTo>
                    <a:pt x="46" y="180"/>
                  </a:lnTo>
                  <a:lnTo>
                    <a:pt x="47" y="181"/>
                  </a:lnTo>
                  <a:lnTo>
                    <a:pt x="47" y="180"/>
                  </a:lnTo>
                  <a:lnTo>
                    <a:pt x="47" y="181"/>
                  </a:lnTo>
                  <a:lnTo>
                    <a:pt x="48" y="181"/>
                  </a:lnTo>
                  <a:lnTo>
                    <a:pt x="48" y="183"/>
                  </a:lnTo>
                  <a:lnTo>
                    <a:pt x="50" y="181"/>
                  </a:lnTo>
                  <a:lnTo>
                    <a:pt x="50" y="180"/>
                  </a:lnTo>
                  <a:lnTo>
                    <a:pt x="51" y="179"/>
                  </a:lnTo>
                  <a:lnTo>
                    <a:pt x="51" y="178"/>
                  </a:lnTo>
                  <a:lnTo>
                    <a:pt x="51" y="179"/>
                  </a:lnTo>
                  <a:lnTo>
                    <a:pt x="51" y="180"/>
                  </a:lnTo>
                  <a:lnTo>
                    <a:pt x="52" y="180"/>
                  </a:lnTo>
                  <a:lnTo>
                    <a:pt x="52" y="178"/>
                  </a:lnTo>
                  <a:lnTo>
                    <a:pt x="52" y="179"/>
                  </a:lnTo>
                  <a:lnTo>
                    <a:pt x="53" y="179"/>
                  </a:lnTo>
                  <a:lnTo>
                    <a:pt x="53" y="180"/>
                  </a:lnTo>
                  <a:lnTo>
                    <a:pt x="53" y="179"/>
                  </a:lnTo>
                  <a:lnTo>
                    <a:pt x="54" y="178"/>
                  </a:lnTo>
                  <a:lnTo>
                    <a:pt x="54" y="177"/>
                  </a:lnTo>
                  <a:lnTo>
                    <a:pt x="54" y="179"/>
                  </a:lnTo>
                  <a:lnTo>
                    <a:pt x="54" y="177"/>
                  </a:lnTo>
                  <a:lnTo>
                    <a:pt x="54" y="175"/>
                  </a:lnTo>
                  <a:lnTo>
                    <a:pt x="54" y="174"/>
                  </a:lnTo>
                  <a:lnTo>
                    <a:pt x="54" y="173"/>
                  </a:lnTo>
                  <a:lnTo>
                    <a:pt x="54" y="172"/>
                  </a:lnTo>
                  <a:lnTo>
                    <a:pt x="56" y="171"/>
                  </a:lnTo>
                  <a:lnTo>
                    <a:pt x="57" y="169"/>
                  </a:lnTo>
                  <a:lnTo>
                    <a:pt x="57" y="171"/>
                  </a:lnTo>
                  <a:lnTo>
                    <a:pt x="57" y="169"/>
                  </a:lnTo>
                  <a:lnTo>
                    <a:pt x="57" y="168"/>
                  </a:lnTo>
                  <a:lnTo>
                    <a:pt x="58" y="167"/>
                  </a:lnTo>
                  <a:lnTo>
                    <a:pt x="59" y="166"/>
                  </a:lnTo>
                  <a:lnTo>
                    <a:pt x="59" y="165"/>
                  </a:lnTo>
                  <a:lnTo>
                    <a:pt x="60" y="165"/>
                  </a:lnTo>
                  <a:lnTo>
                    <a:pt x="60" y="163"/>
                  </a:lnTo>
                  <a:lnTo>
                    <a:pt x="62" y="162"/>
                  </a:lnTo>
                  <a:lnTo>
                    <a:pt x="63" y="163"/>
                  </a:lnTo>
                  <a:lnTo>
                    <a:pt x="64" y="163"/>
                  </a:lnTo>
                  <a:lnTo>
                    <a:pt x="64" y="162"/>
                  </a:lnTo>
                  <a:lnTo>
                    <a:pt x="65" y="162"/>
                  </a:lnTo>
                  <a:lnTo>
                    <a:pt x="65" y="163"/>
                  </a:lnTo>
                  <a:lnTo>
                    <a:pt x="64" y="166"/>
                  </a:lnTo>
                  <a:lnTo>
                    <a:pt x="63" y="167"/>
                  </a:lnTo>
                  <a:lnTo>
                    <a:pt x="63" y="168"/>
                  </a:lnTo>
                  <a:lnTo>
                    <a:pt x="62" y="171"/>
                  </a:lnTo>
                  <a:lnTo>
                    <a:pt x="60" y="172"/>
                  </a:lnTo>
                  <a:lnTo>
                    <a:pt x="60" y="173"/>
                  </a:lnTo>
                  <a:lnTo>
                    <a:pt x="60" y="174"/>
                  </a:lnTo>
                  <a:lnTo>
                    <a:pt x="60" y="175"/>
                  </a:lnTo>
                  <a:lnTo>
                    <a:pt x="60" y="174"/>
                  </a:lnTo>
                  <a:lnTo>
                    <a:pt x="62" y="174"/>
                  </a:lnTo>
                  <a:lnTo>
                    <a:pt x="62" y="175"/>
                  </a:lnTo>
                  <a:lnTo>
                    <a:pt x="62" y="178"/>
                  </a:lnTo>
                  <a:lnTo>
                    <a:pt x="62" y="179"/>
                  </a:lnTo>
                  <a:lnTo>
                    <a:pt x="62" y="180"/>
                  </a:lnTo>
                  <a:lnTo>
                    <a:pt x="62" y="179"/>
                  </a:lnTo>
                  <a:lnTo>
                    <a:pt x="62" y="178"/>
                  </a:lnTo>
                  <a:lnTo>
                    <a:pt x="63" y="178"/>
                  </a:lnTo>
                  <a:lnTo>
                    <a:pt x="63" y="179"/>
                  </a:lnTo>
                  <a:lnTo>
                    <a:pt x="64" y="179"/>
                  </a:lnTo>
                  <a:lnTo>
                    <a:pt x="63" y="178"/>
                  </a:lnTo>
                  <a:lnTo>
                    <a:pt x="63" y="177"/>
                  </a:lnTo>
                  <a:lnTo>
                    <a:pt x="64" y="177"/>
                  </a:lnTo>
                  <a:lnTo>
                    <a:pt x="64" y="178"/>
                  </a:lnTo>
                  <a:lnTo>
                    <a:pt x="65" y="177"/>
                  </a:lnTo>
                  <a:lnTo>
                    <a:pt x="65" y="178"/>
                  </a:lnTo>
                  <a:lnTo>
                    <a:pt x="66" y="179"/>
                  </a:lnTo>
                  <a:lnTo>
                    <a:pt x="66" y="180"/>
                  </a:lnTo>
                  <a:lnTo>
                    <a:pt x="66" y="179"/>
                  </a:lnTo>
                  <a:lnTo>
                    <a:pt x="68" y="179"/>
                  </a:lnTo>
                  <a:lnTo>
                    <a:pt x="69" y="179"/>
                  </a:lnTo>
                  <a:lnTo>
                    <a:pt x="68" y="180"/>
                  </a:lnTo>
                  <a:lnTo>
                    <a:pt x="68" y="181"/>
                  </a:lnTo>
                  <a:lnTo>
                    <a:pt x="68" y="183"/>
                  </a:lnTo>
                  <a:lnTo>
                    <a:pt x="69" y="181"/>
                  </a:lnTo>
                  <a:lnTo>
                    <a:pt x="69" y="180"/>
                  </a:lnTo>
                  <a:lnTo>
                    <a:pt x="70" y="183"/>
                  </a:lnTo>
                  <a:lnTo>
                    <a:pt x="70" y="181"/>
                  </a:lnTo>
                  <a:lnTo>
                    <a:pt x="70" y="180"/>
                  </a:lnTo>
                  <a:lnTo>
                    <a:pt x="70" y="179"/>
                  </a:lnTo>
                  <a:lnTo>
                    <a:pt x="70" y="178"/>
                  </a:lnTo>
                  <a:lnTo>
                    <a:pt x="70" y="177"/>
                  </a:lnTo>
                  <a:lnTo>
                    <a:pt x="70" y="175"/>
                  </a:lnTo>
                  <a:lnTo>
                    <a:pt x="69" y="175"/>
                  </a:lnTo>
                  <a:lnTo>
                    <a:pt x="69" y="174"/>
                  </a:lnTo>
                  <a:lnTo>
                    <a:pt x="69" y="173"/>
                  </a:lnTo>
                  <a:lnTo>
                    <a:pt x="69" y="172"/>
                  </a:lnTo>
                  <a:lnTo>
                    <a:pt x="68" y="172"/>
                  </a:lnTo>
                  <a:lnTo>
                    <a:pt x="66" y="171"/>
                  </a:lnTo>
                  <a:lnTo>
                    <a:pt x="66" y="169"/>
                  </a:lnTo>
                  <a:lnTo>
                    <a:pt x="68" y="168"/>
                  </a:lnTo>
                  <a:lnTo>
                    <a:pt x="68" y="169"/>
                  </a:lnTo>
                  <a:lnTo>
                    <a:pt x="69" y="171"/>
                  </a:lnTo>
                  <a:lnTo>
                    <a:pt x="70" y="169"/>
                  </a:lnTo>
                  <a:lnTo>
                    <a:pt x="69" y="168"/>
                  </a:lnTo>
                  <a:lnTo>
                    <a:pt x="70" y="168"/>
                  </a:lnTo>
                  <a:lnTo>
                    <a:pt x="70" y="167"/>
                  </a:lnTo>
                  <a:lnTo>
                    <a:pt x="69" y="167"/>
                  </a:lnTo>
                  <a:lnTo>
                    <a:pt x="70" y="166"/>
                  </a:lnTo>
                  <a:lnTo>
                    <a:pt x="71" y="167"/>
                  </a:lnTo>
                  <a:lnTo>
                    <a:pt x="70" y="168"/>
                  </a:lnTo>
                  <a:lnTo>
                    <a:pt x="71" y="167"/>
                  </a:lnTo>
                  <a:lnTo>
                    <a:pt x="71" y="168"/>
                  </a:lnTo>
                  <a:lnTo>
                    <a:pt x="72" y="171"/>
                  </a:lnTo>
                  <a:lnTo>
                    <a:pt x="72" y="169"/>
                  </a:lnTo>
                  <a:lnTo>
                    <a:pt x="74" y="168"/>
                  </a:lnTo>
                  <a:lnTo>
                    <a:pt x="74" y="169"/>
                  </a:lnTo>
                  <a:lnTo>
                    <a:pt x="75" y="168"/>
                  </a:lnTo>
                  <a:lnTo>
                    <a:pt x="74" y="167"/>
                  </a:lnTo>
                  <a:lnTo>
                    <a:pt x="74" y="166"/>
                  </a:lnTo>
                  <a:lnTo>
                    <a:pt x="75" y="167"/>
                  </a:lnTo>
                  <a:lnTo>
                    <a:pt x="75" y="166"/>
                  </a:lnTo>
                  <a:lnTo>
                    <a:pt x="76" y="166"/>
                  </a:lnTo>
                  <a:lnTo>
                    <a:pt x="77" y="167"/>
                  </a:lnTo>
                  <a:lnTo>
                    <a:pt x="77" y="166"/>
                  </a:lnTo>
                  <a:lnTo>
                    <a:pt x="78" y="165"/>
                  </a:lnTo>
                  <a:lnTo>
                    <a:pt x="78" y="166"/>
                  </a:lnTo>
                  <a:lnTo>
                    <a:pt x="78" y="167"/>
                  </a:lnTo>
                  <a:lnTo>
                    <a:pt x="80" y="168"/>
                  </a:lnTo>
                  <a:lnTo>
                    <a:pt x="80" y="167"/>
                  </a:lnTo>
                  <a:lnTo>
                    <a:pt x="80" y="168"/>
                  </a:lnTo>
                  <a:lnTo>
                    <a:pt x="81" y="167"/>
                  </a:lnTo>
                  <a:lnTo>
                    <a:pt x="81" y="166"/>
                  </a:lnTo>
                  <a:lnTo>
                    <a:pt x="81" y="165"/>
                  </a:lnTo>
                  <a:lnTo>
                    <a:pt x="82" y="166"/>
                  </a:lnTo>
                  <a:lnTo>
                    <a:pt x="82" y="165"/>
                  </a:lnTo>
                  <a:lnTo>
                    <a:pt x="82" y="163"/>
                  </a:lnTo>
                  <a:lnTo>
                    <a:pt x="83" y="165"/>
                  </a:lnTo>
                  <a:lnTo>
                    <a:pt x="84" y="163"/>
                  </a:lnTo>
                  <a:lnTo>
                    <a:pt x="86" y="165"/>
                  </a:lnTo>
                  <a:lnTo>
                    <a:pt x="84" y="167"/>
                  </a:lnTo>
                  <a:lnTo>
                    <a:pt x="86" y="167"/>
                  </a:lnTo>
                  <a:lnTo>
                    <a:pt x="87" y="166"/>
                  </a:lnTo>
                  <a:lnTo>
                    <a:pt x="87" y="165"/>
                  </a:lnTo>
                  <a:lnTo>
                    <a:pt x="88" y="165"/>
                  </a:lnTo>
                  <a:lnTo>
                    <a:pt x="88" y="163"/>
                  </a:lnTo>
                  <a:lnTo>
                    <a:pt x="88" y="166"/>
                  </a:lnTo>
                  <a:lnTo>
                    <a:pt x="88" y="167"/>
                  </a:lnTo>
                  <a:lnTo>
                    <a:pt x="88" y="168"/>
                  </a:lnTo>
                  <a:lnTo>
                    <a:pt x="88" y="167"/>
                  </a:lnTo>
                  <a:lnTo>
                    <a:pt x="89" y="167"/>
                  </a:lnTo>
                  <a:lnTo>
                    <a:pt x="89" y="168"/>
                  </a:lnTo>
                  <a:lnTo>
                    <a:pt x="90" y="167"/>
                  </a:lnTo>
                  <a:lnTo>
                    <a:pt x="90" y="166"/>
                  </a:lnTo>
                  <a:lnTo>
                    <a:pt x="90" y="165"/>
                  </a:lnTo>
                  <a:lnTo>
                    <a:pt x="90" y="166"/>
                  </a:lnTo>
                  <a:lnTo>
                    <a:pt x="89" y="166"/>
                  </a:lnTo>
                  <a:lnTo>
                    <a:pt x="88" y="166"/>
                  </a:lnTo>
                  <a:lnTo>
                    <a:pt x="88" y="163"/>
                  </a:lnTo>
                  <a:lnTo>
                    <a:pt x="89" y="163"/>
                  </a:lnTo>
                  <a:lnTo>
                    <a:pt x="89" y="162"/>
                  </a:lnTo>
                  <a:lnTo>
                    <a:pt x="90" y="162"/>
                  </a:lnTo>
                  <a:lnTo>
                    <a:pt x="90" y="161"/>
                  </a:lnTo>
                  <a:lnTo>
                    <a:pt x="92" y="160"/>
                  </a:lnTo>
                  <a:lnTo>
                    <a:pt x="92" y="161"/>
                  </a:lnTo>
                  <a:lnTo>
                    <a:pt x="92" y="163"/>
                  </a:lnTo>
                  <a:lnTo>
                    <a:pt x="92" y="162"/>
                  </a:lnTo>
                  <a:lnTo>
                    <a:pt x="92" y="163"/>
                  </a:lnTo>
                  <a:lnTo>
                    <a:pt x="93" y="165"/>
                  </a:lnTo>
                  <a:lnTo>
                    <a:pt x="92" y="166"/>
                  </a:lnTo>
                  <a:lnTo>
                    <a:pt x="92" y="167"/>
                  </a:lnTo>
                  <a:lnTo>
                    <a:pt x="92" y="168"/>
                  </a:lnTo>
                  <a:lnTo>
                    <a:pt x="93" y="167"/>
                  </a:lnTo>
                  <a:lnTo>
                    <a:pt x="94" y="167"/>
                  </a:lnTo>
                  <a:lnTo>
                    <a:pt x="95" y="167"/>
                  </a:lnTo>
                  <a:lnTo>
                    <a:pt x="96" y="165"/>
                  </a:lnTo>
                  <a:lnTo>
                    <a:pt x="96" y="163"/>
                  </a:lnTo>
                  <a:lnTo>
                    <a:pt x="98" y="163"/>
                  </a:lnTo>
                  <a:lnTo>
                    <a:pt x="98" y="162"/>
                  </a:lnTo>
                  <a:lnTo>
                    <a:pt x="99" y="162"/>
                  </a:lnTo>
                  <a:lnTo>
                    <a:pt x="99" y="163"/>
                  </a:lnTo>
                  <a:lnTo>
                    <a:pt x="99" y="165"/>
                  </a:lnTo>
                  <a:lnTo>
                    <a:pt x="100" y="166"/>
                  </a:lnTo>
                  <a:lnTo>
                    <a:pt x="101" y="165"/>
                  </a:lnTo>
                  <a:lnTo>
                    <a:pt x="100" y="163"/>
                  </a:lnTo>
                  <a:lnTo>
                    <a:pt x="100" y="162"/>
                  </a:lnTo>
                  <a:lnTo>
                    <a:pt x="101" y="163"/>
                  </a:lnTo>
                  <a:lnTo>
                    <a:pt x="104" y="165"/>
                  </a:lnTo>
                  <a:lnTo>
                    <a:pt x="105" y="166"/>
                  </a:lnTo>
                  <a:lnTo>
                    <a:pt x="105" y="167"/>
                  </a:lnTo>
                  <a:lnTo>
                    <a:pt x="104" y="166"/>
                  </a:lnTo>
                  <a:lnTo>
                    <a:pt x="104" y="165"/>
                  </a:lnTo>
                  <a:lnTo>
                    <a:pt x="102" y="166"/>
                  </a:lnTo>
                  <a:lnTo>
                    <a:pt x="102" y="167"/>
                  </a:lnTo>
                  <a:lnTo>
                    <a:pt x="101" y="167"/>
                  </a:lnTo>
                  <a:lnTo>
                    <a:pt x="100" y="167"/>
                  </a:lnTo>
                  <a:lnTo>
                    <a:pt x="100" y="166"/>
                  </a:lnTo>
                  <a:lnTo>
                    <a:pt x="100" y="167"/>
                  </a:lnTo>
                  <a:lnTo>
                    <a:pt x="99" y="168"/>
                  </a:lnTo>
                  <a:lnTo>
                    <a:pt x="99" y="167"/>
                  </a:lnTo>
                  <a:lnTo>
                    <a:pt x="98" y="167"/>
                  </a:lnTo>
                  <a:lnTo>
                    <a:pt x="96" y="167"/>
                  </a:lnTo>
                  <a:lnTo>
                    <a:pt x="96" y="168"/>
                  </a:lnTo>
                  <a:lnTo>
                    <a:pt x="98" y="168"/>
                  </a:lnTo>
                  <a:lnTo>
                    <a:pt x="98" y="169"/>
                  </a:lnTo>
                  <a:lnTo>
                    <a:pt x="96" y="171"/>
                  </a:lnTo>
                  <a:lnTo>
                    <a:pt x="95" y="171"/>
                  </a:lnTo>
                  <a:lnTo>
                    <a:pt x="96" y="171"/>
                  </a:lnTo>
                  <a:lnTo>
                    <a:pt x="96" y="172"/>
                  </a:lnTo>
                  <a:lnTo>
                    <a:pt x="98" y="171"/>
                  </a:lnTo>
                  <a:lnTo>
                    <a:pt x="98" y="169"/>
                  </a:lnTo>
                  <a:lnTo>
                    <a:pt x="99" y="171"/>
                  </a:lnTo>
                  <a:lnTo>
                    <a:pt x="99" y="172"/>
                  </a:lnTo>
                  <a:lnTo>
                    <a:pt x="100" y="171"/>
                  </a:lnTo>
                  <a:lnTo>
                    <a:pt x="100" y="172"/>
                  </a:lnTo>
                  <a:lnTo>
                    <a:pt x="101" y="171"/>
                  </a:lnTo>
                  <a:lnTo>
                    <a:pt x="102" y="171"/>
                  </a:lnTo>
                  <a:lnTo>
                    <a:pt x="104" y="171"/>
                  </a:lnTo>
                  <a:lnTo>
                    <a:pt x="104" y="172"/>
                  </a:lnTo>
                  <a:lnTo>
                    <a:pt x="102" y="172"/>
                  </a:lnTo>
                  <a:lnTo>
                    <a:pt x="101" y="172"/>
                  </a:lnTo>
                  <a:lnTo>
                    <a:pt x="100" y="173"/>
                  </a:lnTo>
                  <a:lnTo>
                    <a:pt x="100" y="174"/>
                  </a:lnTo>
                  <a:lnTo>
                    <a:pt x="101" y="173"/>
                  </a:lnTo>
                  <a:lnTo>
                    <a:pt x="101" y="174"/>
                  </a:lnTo>
                  <a:lnTo>
                    <a:pt x="101" y="175"/>
                  </a:lnTo>
                  <a:lnTo>
                    <a:pt x="102" y="174"/>
                  </a:lnTo>
                  <a:lnTo>
                    <a:pt x="102" y="173"/>
                  </a:lnTo>
                  <a:lnTo>
                    <a:pt x="102" y="174"/>
                  </a:lnTo>
                  <a:lnTo>
                    <a:pt x="102" y="175"/>
                  </a:lnTo>
                  <a:lnTo>
                    <a:pt x="102" y="177"/>
                  </a:lnTo>
                  <a:lnTo>
                    <a:pt x="102" y="178"/>
                  </a:lnTo>
                  <a:lnTo>
                    <a:pt x="104" y="178"/>
                  </a:lnTo>
                  <a:lnTo>
                    <a:pt x="104" y="179"/>
                  </a:lnTo>
                  <a:lnTo>
                    <a:pt x="104" y="178"/>
                  </a:lnTo>
                  <a:lnTo>
                    <a:pt x="105" y="177"/>
                  </a:lnTo>
                  <a:lnTo>
                    <a:pt x="105" y="175"/>
                  </a:lnTo>
                  <a:lnTo>
                    <a:pt x="105" y="174"/>
                  </a:lnTo>
                  <a:lnTo>
                    <a:pt x="105" y="173"/>
                  </a:lnTo>
                  <a:lnTo>
                    <a:pt x="105" y="171"/>
                  </a:lnTo>
                  <a:lnTo>
                    <a:pt x="105" y="167"/>
                  </a:lnTo>
                  <a:lnTo>
                    <a:pt x="105" y="166"/>
                  </a:lnTo>
                  <a:lnTo>
                    <a:pt x="107" y="168"/>
                  </a:lnTo>
                  <a:lnTo>
                    <a:pt x="113" y="172"/>
                  </a:lnTo>
                  <a:lnTo>
                    <a:pt x="116" y="183"/>
                  </a:lnTo>
                  <a:lnTo>
                    <a:pt x="118" y="195"/>
                  </a:lnTo>
                  <a:lnTo>
                    <a:pt x="119" y="207"/>
                  </a:lnTo>
                  <a:lnTo>
                    <a:pt x="119" y="213"/>
                  </a:lnTo>
                  <a:lnTo>
                    <a:pt x="121" y="222"/>
                  </a:lnTo>
                  <a:lnTo>
                    <a:pt x="123" y="227"/>
                  </a:lnTo>
                  <a:lnTo>
                    <a:pt x="123" y="233"/>
                  </a:lnTo>
                  <a:lnTo>
                    <a:pt x="122" y="234"/>
                  </a:lnTo>
                  <a:lnTo>
                    <a:pt x="123" y="237"/>
                  </a:lnTo>
                  <a:lnTo>
                    <a:pt x="122" y="243"/>
                  </a:lnTo>
                  <a:lnTo>
                    <a:pt x="119" y="252"/>
                  </a:lnTo>
                  <a:lnTo>
                    <a:pt x="118" y="260"/>
                  </a:lnTo>
                  <a:lnTo>
                    <a:pt x="117" y="266"/>
                  </a:lnTo>
                  <a:lnTo>
                    <a:pt x="133" y="26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4" name="Freeform 67"/>
            <p:cNvSpPr>
              <a:spLocks/>
            </p:cNvSpPr>
            <p:nvPr userDrawn="1"/>
          </p:nvSpPr>
          <p:spPr bwMode="auto">
            <a:xfrm>
              <a:off x="6640513" y="6230938"/>
              <a:ext cx="80963" cy="246063"/>
            </a:xfrm>
            <a:custGeom>
              <a:avLst/>
              <a:gdLst/>
              <a:ahLst/>
              <a:cxnLst>
                <a:cxn ang="0">
                  <a:pos x="228" y="160"/>
                </a:cxn>
                <a:cxn ang="0">
                  <a:pos x="227" y="154"/>
                </a:cxn>
                <a:cxn ang="0">
                  <a:pos x="195" y="150"/>
                </a:cxn>
                <a:cxn ang="0">
                  <a:pos x="193" y="143"/>
                </a:cxn>
                <a:cxn ang="0">
                  <a:pos x="203" y="102"/>
                </a:cxn>
                <a:cxn ang="0">
                  <a:pos x="196" y="89"/>
                </a:cxn>
                <a:cxn ang="0">
                  <a:pos x="163" y="83"/>
                </a:cxn>
                <a:cxn ang="0">
                  <a:pos x="163" y="64"/>
                </a:cxn>
                <a:cxn ang="0">
                  <a:pos x="160" y="63"/>
                </a:cxn>
                <a:cxn ang="0">
                  <a:pos x="167" y="51"/>
                </a:cxn>
                <a:cxn ang="0">
                  <a:pos x="169" y="37"/>
                </a:cxn>
                <a:cxn ang="0">
                  <a:pos x="166" y="23"/>
                </a:cxn>
                <a:cxn ang="0">
                  <a:pos x="158" y="11"/>
                </a:cxn>
                <a:cxn ang="0">
                  <a:pos x="146" y="2"/>
                </a:cxn>
                <a:cxn ang="0">
                  <a:pos x="139" y="1"/>
                </a:cxn>
                <a:cxn ang="0">
                  <a:pos x="132" y="0"/>
                </a:cxn>
                <a:cxn ang="0">
                  <a:pos x="118" y="2"/>
                </a:cxn>
                <a:cxn ang="0">
                  <a:pos x="105" y="11"/>
                </a:cxn>
                <a:cxn ang="0">
                  <a:pos x="97" y="23"/>
                </a:cxn>
                <a:cxn ang="0">
                  <a:pos x="95" y="30"/>
                </a:cxn>
                <a:cxn ang="0">
                  <a:pos x="95" y="37"/>
                </a:cxn>
                <a:cxn ang="0">
                  <a:pos x="97" y="51"/>
                </a:cxn>
                <a:cxn ang="0">
                  <a:pos x="99" y="57"/>
                </a:cxn>
                <a:cxn ang="0">
                  <a:pos x="103" y="61"/>
                </a:cxn>
                <a:cxn ang="0">
                  <a:pos x="95" y="64"/>
                </a:cxn>
                <a:cxn ang="0">
                  <a:pos x="95" y="83"/>
                </a:cxn>
                <a:cxn ang="0">
                  <a:pos x="62" y="89"/>
                </a:cxn>
                <a:cxn ang="0">
                  <a:pos x="55" y="102"/>
                </a:cxn>
                <a:cxn ang="0">
                  <a:pos x="66" y="143"/>
                </a:cxn>
                <a:cxn ang="0">
                  <a:pos x="63" y="150"/>
                </a:cxn>
                <a:cxn ang="0">
                  <a:pos x="31" y="154"/>
                </a:cxn>
                <a:cxn ang="0">
                  <a:pos x="31" y="160"/>
                </a:cxn>
                <a:cxn ang="0">
                  <a:pos x="10" y="162"/>
                </a:cxn>
                <a:cxn ang="0">
                  <a:pos x="0" y="166"/>
                </a:cxn>
                <a:cxn ang="0">
                  <a:pos x="0" y="186"/>
                </a:cxn>
                <a:cxn ang="0">
                  <a:pos x="0" y="190"/>
                </a:cxn>
                <a:cxn ang="0">
                  <a:pos x="48" y="272"/>
                </a:cxn>
                <a:cxn ang="0">
                  <a:pos x="91" y="272"/>
                </a:cxn>
                <a:cxn ang="0">
                  <a:pos x="95" y="483"/>
                </a:cxn>
                <a:cxn ang="0">
                  <a:pos x="95" y="629"/>
                </a:cxn>
                <a:cxn ang="0">
                  <a:pos x="93" y="678"/>
                </a:cxn>
                <a:cxn ang="0">
                  <a:pos x="92" y="691"/>
                </a:cxn>
                <a:cxn ang="0">
                  <a:pos x="91" y="696"/>
                </a:cxn>
                <a:cxn ang="0">
                  <a:pos x="86" y="699"/>
                </a:cxn>
                <a:cxn ang="0">
                  <a:pos x="83" y="701"/>
                </a:cxn>
                <a:cxn ang="0">
                  <a:pos x="80" y="706"/>
                </a:cxn>
                <a:cxn ang="0">
                  <a:pos x="80" y="774"/>
                </a:cxn>
                <a:cxn ang="0">
                  <a:pos x="130" y="774"/>
                </a:cxn>
                <a:cxn ang="0">
                  <a:pos x="179" y="774"/>
                </a:cxn>
                <a:cxn ang="0">
                  <a:pos x="179" y="706"/>
                </a:cxn>
                <a:cxn ang="0">
                  <a:pos x="175" y="701"/>
                </a:cxn>
                <a:cxn ang="0">
                  <a:pos x="172" y="699"/>
                </a:cxn>
                <a:cxn ang="0">
                  <a:pos x="167" y="696"/>
                </a:cxn>
                <a:cxn ang="0">
                  <a:pos x="164" y="678"/>
                </a:cxn>
                <a:cxn ang="0">
                  <a:pos x="163" y="629"/>
                </a:cxn>
                <a:cxn ang="0">
                  <a:pos x="164" y="483"/>
                </a:cxn>
                <a:cxn ang="0">
                  <a:pos x="167" y="272"/>
                </a:cxn>
                <a:cxn ang="0">
                  <a:pos x="210" y="272"/>
                </a:cxn>
                <a:cxn ang="0">
                  <a:pos x="258" y="190"/>
                </a:cxn>
                <a:cxn ang="0">
                  <a:pos x="258" y="186"/>
                </a:cxn>
                <a:cxn ang="0">
                  <a:pos x="258" y="166"/>
                </a:cxn>
                <a:cxn ang="0">
                  <a:pos x="248" y="162"/>
                </a:cxn>
                <a:cxn ang="0">
                  <a:pos x="228" y="160"/>
                </a:cxn>
              </a:cxnLst>
              <a:rect l="0" t="0" r="r" b="b"/>
              <a:pathLst>
                <a:path w="258" h="774">
                  <a:moveTo>
                    <a:pt x="228" y="160"/>
                  </a:moveTo>
                  <a:lnTo>
                    <a:pt x="227" y="154"/>
                  </a:lnTo>
                  <a:lnTo>
                    <a:pt x="195" y="150"/>
                  </a:lnTo>
                  <a:lnTo>
                    <a:pt x="193" y="143"/>
                  </a:lnTo>
                  <a:lnTo>
                    <a:pt x="203" y="102"/>
                  </a:lnTo>
                  <a:lnTo>
                    <a:pt x="196" y="89"/>
                  </a:lnTo>
                  <a:lnTo>
                    <a:pt x="163" y="83"/>
                  </a:lnTo>
                  <a:lnTo>
                    <a:pt x="163" y="64"/>
                  </a:lnTo>
                  <a:lnTo>
                    <a:pt x="160" y="63"/>
                  </a:lnTo>
                  <a:lnTo>
                    <a:pt x="167" y="51"/>
                  </a:lnTo>
                  <a:lnTo>
                    <a:pt x="169" y="37"/>
                  </a:lnTo>
                  <a:lnTo>
                    <a:pt x="166" y="23"/>
                  </a:lnTo>
                  <a:lnTo>
                    <a:pt x="158" y="11"/>
                  </a:lnTo>
                  <a:lnTo>
                    <a:pt x="146" y="2"/>
                  </a:lnTo>
                  <a:lnTo>
                    <a:pt x="139" y="1"/>
                  </a:lnTo>
                  <a:lnTo>
                    <a:pt x="132" y="0"/>
                  </a:lnTo>
                  <a:lnTo>
                    <a:pt x="118" y="2"/>
                  </a:lnTo>
                  <a:lnTo>
                    <a:pt x="105" y="11"/>
                  </a:lnTo>
                  <a:lnTo>
                    <a:pt x="97" y="23"/>
                  </a:lnTo>
                  <a:lnTo>
                    <a:pt x="95" y="30"/>
                  </a:lnTo>
                  <a:lnTo>
                    <a:pt x="95" y="37"/>
                  </a:lnTo>
                  <a:lnTo>
                    <a:pt x="97" y="51"/>
                  </a:lnTo>
                  <a:lnTo>
                    <a:pt x="99" y="57"/>
                  </a:lnTo>
                  <a:lnTo>
                    <a:pt x="103" y="61"/>
                  </a:lnTo>
                  <a:lnTo>
                    <a:pt x="95" y="64"/>
                  </a:lnTo>
                  <a:lnTo>
                    <a:pt x="95" y="83"/>
                  </a:lnTo>
                  <a:lnTo>
                    <a:pt x="62" y="89"/>
                  </a:lnTo>
                  <a:lnTo>
                    <a:pt x="55" y="102"/>
                  </a:lnTo>
                  <a:lnTo>
                    <a:pt x="66" y="143"/>
                  </a:lnTo>
                  <a:lnTo>
                    <a:pt x="63" y="150"/>
                  </a:lnTo>
                  <a:lnTo>
                    <a:pt x="31" y="154"/>
                  </a:lnTo>
                  <a:lnTo>
                    <a:pt x="31" y="160"/>
                  </a:lnTo>
                  <a:lnTo>
                    <a:pt x="10" y="162"/>
                  </a:lnTo>
                  <a:lnTo>
                    <a:pt x="0" y="166"/>
                  </a:lnTo>
                  <a:lnTo>
                    <a:pt x="0" y="186"/>
                  </a:lnTo>
                  <a:lnTo>
                    <a:pt x="0" y="190"/>
                  </a:lnTo>
                  <a:lnTo>
                    <a:pt x="48" y="272"/>
                  </a:lnTo>
                  <a:lnTo>
                    <a:pt x="91" y="272"/>
                  </a:lnTo>
                  <a:lnTo>
                    <a:pt x="95" y="483"/>
                  </a:lnTo>
                  <a:lnTo>
                    <a:pt x="95" y="629"/>
                  </a:lnTo>
                  <a:lnTo>
                    <a:pt x="93" y="678"/>
                  </a:lnTo>
                  <a:lnTo>
                    <a:pt x="92" y="691"/>
                  </a:lnTo>
                  <a:lnTo>
                    <a:pt x="91" y="696"/>
                  </a:lnTo>
                  <a:lnTo>
                    <a:pt x="86" y="699"/>
                  </a:lnTo>
                  <a:lnTo>
                    <a:pt x="83" y="701"/>
                  </a:lnTo>
                  <a:lnTo>
                    <a:pt x="80" y="706"/>
                  </a:lnTo>
                  <a:lnTo>
                    <a:pt x="80" y="774"/>
                  </a:lnTo>
                  <a:lnTo>
                    <a:pt x="130" y="774"/>
                  </a:lnTo>
                  <a:lnTo>
                    <a:pt x="179" y="774"/>
                  </a:lnTo>
                  <a:lnTo>
                    <a:pt x="179" y="706"/>
                  </a:lnTo>
                  <a:lnTo>
                    <a:pt x="175" y="701"/>
                  </a:lnTo>
                  <a:lnTo>
                    <a:pt x="172" y="699"/>
                  </a:lnTo>
                  <a:lnTo>
                    <a:pt x="167" y="696"/>
                  </a:lnTo>
                  <a:lnTo>
                    <a:pt x="164" y="678"/>
                  </a:lnTo>
                  <a:lnTo>
                    <a:pt x="163" y="629"/>
                  </a:lnTo>
                  <a:lnTo>
                    <a:pt x="164" y="483"/>
                  </a:lnTo>
                  <a:lnTo>
                    <a:pt x="167" y="272"/>
                  </a:lnTo>
                  <a:lnTo>
                    <a:pt x="210" y="272"/>
                  </a:lnTo>
                  <a:lnTo>
                    <a:pt x="258" y="190"/>
                  </a:lnTo>
                  <a:lnTo>
                    <a:pt x="258" y="186"/>
                  </a:lnTo>
                  <a:lnTo>
                    <a:pt x="258" y="166"/>
                  </a:lnTo>
                  <a:lnTo>
                    <a:pt x="248" y="162"/>
                  </a:lnTo>
                  <a:lnTo>
                    <a:pt x="228" y="160"/>
                  </a:ln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5" name="Freeform 68"/>
            <p:cNvSpPr>
              <a:spLocks/>
            </p:cNvSpPr>
            <p:nvPr userDrawn="1"/>
          </p:nvSpPr>
          <p:spPr bwMode="auto">
            <a:xfrm>
              <a:off x="5983288" y="6507163"/>
              <a:ext cx="96838" cy="104775"/>
            </a:xfrm>
            <a:custGeom>
              <a:avLst/>
              <a:gdLst/>
              <a:ahLst/>
              <a:cxnLst>
                <a:cxn ang="0">
                  <a:pos x="274" y="146"/>
                </a:cxn>
                <a:cxn ang="0">
                  <a:pos x="258" y="129"/>
                </a:cxn>
                <a:cxn ang="0">
                  <a:pos x="228" y="113"/>
                </a:cxn>
                <a:cxn ang="0">
                  <a:pos x="221" y="109"/>
                </a:cxn>
                <a:cxn ang="0">
                  <a:pos x="241" y="107"/>
                </a:cxn>
                <a:cxn ang="0">
                  <a:pos x="248" y="92"/>
                </a:cxn>
                <a:cxn ang="0">
                  <a:pos x="244" y="77"/>
                </a:cxn>
                <a:cxn ang="0">
                  <a:pos x="228" y="61"/>
                </a:cxn>
                <a:cxn ang="0">
                  <a:pos x="215" y="50"/>
                </a:cxn>
                <a:cxn ang="0">
                  <a:pos x="195" y="55"/>
                </a:cxn>
                <a:cxn ang="0">
                  <a:pos x="182" y="58"/>
                </a:cxn>
                <a:cxn ang="0">
                  <a:pos x="162" y="71"/>
                </a:cxn>
                <a:cxn ang="0">
                  <a:pos x="150" y="83"/>
                </a:cxn>
                <a:cxn ang="0">
                  <a:pos x="164" y="65"/>
                </a:cxn>
                <a:cxn ang="0">
                  <a:pos x="179" y="59"/>
                </a:cxn>
                <a:cxn ang="0">
                  <a:pos x="200" y="45"/>
                </a:cxn>
                <a:cxn ang="0">
                  <a:pos x="192" y="23"/>
                </a:cxn>
                <a:cxn ang="0">
                  <a:pos x="181" y="14"/>
                </a:cxn>
                <a:cxn ang="0">
                  <a:pos x="165" y="10"/>
                </a:cxn>
                <a:cxn ang="0">
                  <a:pos x="147" y="16"/>
                </a:cxn>
                <a:cxn ang="0">
                  <a:pos x="134" y="9"/>
                </a:cxn>
                <a:cxn ang="0">
                  <a:pos x="122" y="18"/>
                </a:cxn>
                <a:cxn ang="0">
                  <a:pos x="109" y="23"/>
                </a:cxn>
                <a:cxn ang="0">
                  <a:pos x="97" y="29"/>
                </a:cxn>
                <a:cxn ang="0">
                  <a:pos x="93" y="40"/>
                </a:cxn>
                <a:cxn ang="0">
                  <a:pos x="80" y="57"/>
                </a:cxn>
                <a:cxn ang="0">
                  <a:pos x="62" y="71"/>
                </a:cxn>
                <a:cxn ang="0">
                  <a:pos x="52" y="83"/>
                </a:cxn>
                <a:cxn ang="0">
                  <a:pos x="32" y="97"/>
                </a:cxn>
                <a:cxn ang="0">
                  <a:pos x="23" y="127"/>
                </a:cxn>
                <a:cxn ang="0">
                  <a:pos x="56" y="130"/>
                </a:cxn>
                <a:cxn ang="0">
                  <a:pos x="25" y="159"/>
                </a:cxn>
                <a:cxn ang="0">
                  <a:pos x="34" y="170"/>
                </a:cxn>
                <a:cxn ang="0">
                  <a:pos x="63" y="158"/>
                </a:cxn>
                <a:cxn ang="0">
                  <a:pos x="56" y="168"/>
                </a:cxn>
                <a:cxn ang="0">
                  <a:pos x="23" y="194"/>
                </a:cxn>
                <a:cxn ang="0">
                  <a:pos x="6" y="232"/>
                </a:cxn>
                <a:cxn ang="0">
                  <a:pos x="31" y="230"/>
                </a:cxn>
                <a:cxn ang="0">
                  <a:pos x="46" y="249"/>
                </a:cxn>
                <a:cxn ang="0">
                  <a:pos x="52" y="251"/>
                </a:cxn>
                <a:cxn ang="0">
                  <a:pos x="57" y="238"/>
                </a:cxn>
                <a:cxn ang="0">
                  <a:pos x="103" y="238"/>
                </a:cxn>
                <a:cxn ang="0">
                  <a:pos x="63" y="257"/>
                </a:cxn>
                <a:cxn ang="0">
                  <a:pos x="71" y="271"/>
                </a:cxn>
                <a:cxn ang="0">
                  <a:pos x="87" y="258"/>
                </a:cxn>
                <a:cxn ang="0">
                  <a:pos x="118" y="267"/>
                </a:cxn>
                <a:cxn ang="0">
                  <a:pos x="129" y="288"/>
                </a:cxn>
                <a:cxn ang="0">
                  <a:pos x="199" y="270"/>
                </a:cxn>
                <a:cxn ang="0">
                  <a:pos x="233" y="272"/>
                </a:cxn>
                <a:cxn ang="0">
                  <a:pos x="198" y="269"/>
                </a:cxn>
                <a:cxn ang="0">
                  <a:pos x="173" y="251"/>
                </a:cxn>
                <a:cxn ang="0">
                  <a:pos x="189" y="247"/>
                </a:cxn>
                <a:cxn ang="0">
                  <a:pos x="216" y="253"/>
                </a:cxn>
                <a:cxn ang="0">
                  <a:pos x="238" y="252"/>
                </a:cxn>
                <a:cxn ang="0">
                  <a:pos x="263" y="231"/>
                </a:cxn>
                <a:cxn ang="0">
                  <a:pos x="232" y="219"/>
                </a:cxn>
                <a:cxn ang="0">
                  <a:pos x="209" y="204"/>
                </a:cxn>
                <a:cxn ang="0">
                  <a:pos x="226" y="204"/>
                </a:cxn>
                <a:cxn ang="0">
                  <a:pos x="211" y="181"/>
                </a:cxn>
                <a:cxn ang="0">
                  <a:pos x="242" y="198"/>
                </a:cxn>
                <a:cxn ang="0">
                  <a:pos x="277" y="212"/>
                </a:cxn>
                <a:cxn ang="0">
                  <a:pos x="257" y="182"/>
                </a:cxn>
                <a:cxn ang="0">
                  <a:pos x="283" y="172"/>
                </a:cxn>
              </a:cxnLst>
              <a:rect l="0" t="0" r="r" b="b"/>
              <a:pathLst>
                <a:path w="305" h="329">
                  <a:moveTo>
                    <a:pt x="303" y="156"/>
                  </a:moveTo>
                  <a:lnTo>
                    <a:pt x="304" y="156"/>
                  </a:lnTo>
                  <a:lnTo>
                    <a:pt x="303" y="156"/>
                  </a:lnTo>
                  <a:lnTo>
                    <a:pt x="301" y="156"/>
                  </a:lnTo>
                  <a:lnTo>
                    <a:pt x="300" y="156"/>
                  </a:lnTo>
                  <a:lnTo>
                    <a:pt x="300" y="154"/>
                  </a:lnTo>
                  <a:lnTo>
                    <a:pt x="299" y="154"/>
                  </a:lnTo>
                  <a:lnTo>
                    <a:pt x="299" y="156"/>
                  </a:lnTo>
                  <a:lnTo>
                    <a:pt x="299" y="157"/>
                  </a:lnTo>
                  <a:lnTo>
                    <a:pt x="297" y="157"/>
                  </a:lnTo>
                  <a:lnTo>
                    <a:pt x="298" y="156"/>
                  </a:lnTo>
                  <a:lnTo>
                    <a:pt x="298" y="154"/>
                  </a:lnTo>
                  <a:lnTo>
                    <a:pt x="299" y="153"/>
                  </a:lnTo>
                  <a:lnTo>
                    <a:pt x="298" y="153"/>
                  </a:lnTo>
                  <a:lnTo>
                    <a:pt x="297" y="153"/>
                  </a:lnTo>
                  <a:lnTo>
                    <a:pt x="297" y="154"/>
                  </a:lnTo>
                  <a:lnTo>
                    <a:pt x="295" y="156"/>
                  </a:lnTo>
                  <a:lnTo>
                    <a:pt x="294" y="156"/>
                  </a:lnTo>
                  <a:lnTo>
                    <a:pt x="294" y="157"/>
                  </a:lnTo>
                  <a:lnTo>
                    <a:pt x="293" y="157"/>
                  </a:lnTo>
                  <a:lnTo>
                    <a:pt x="293" y="156"/>
                  </a:lnTo>
                  <a:lnTo>
                    <a:pt x="292" y="154"/>
                  </a:lnTo>
                  <a:lnTo>
                    <a:pt x="291" y="156"/>
                  </a:lnTo>
                  <a:lnTo>
                    <a:pt x="289" y="156"/>
                  </a:lnTo>
                  <a:lnTo>
                    <a:pt x="291" y="154"/>
                  </a:lnTo>
                  <a:lnTo>
                    <a:pt x="291" y="153"/>
                  </a:lnTo>
                  <a:lnTo>
                    <a:pt x="292" y="152"/>
                  </a:lnTo>
                  <a:lnTo>
                    <a:pt x="292" y="150"/>
                  </a:lnTo>
                  <a:lnTo>
                    <a:pt x="291" y="151"/>
                  </a:lnTo>
                  <a:lnTo>
                    <a:pt x="291" y="150"/>
                  </a:lnTo>
                  <a:lnTo>
                    <a:pt x="289" y="151"/>
                  </a:lnTo>
                  <a:lnTo>
                    <a:pt x="289" y="152"/>
                  </a:lnTo>
                  <a:lnTo>
                    <a:pt x="288" y="152"/>
                  </a:lnTo>
                  <a:lnTo>
                    <a:pt x="287" y="153"/>
                  </a:lnTo>
                  <a:lnTo>
                    <a:pt x="287" y="152"/>
                  </a:lnTo>
                  <a:lnTo>
                    <a:pt x="286" y="152"/>
                  </a:lnTo>
                  <a:lnTo>
                    <a:pt x="286" y="151"/>
                  </a:lnTo>
                  <a:lnTo>
                    <a:pt x="285" y="148"/>
                  </a:lnTo>
                  <a:lnTo>
                    <a:pt x="283" y="148"/>
                  </a:lnTo>
                  <a:lnTo>
                    <a:pt x="282" y="148"/>
                  </a:lnTo>
                  <a:lnTo>
                    <a:pt x="282" y="147"/>
                  </a:lnTo>
                  <a:lnTo>
                    <a:pt x="283" y="146"/>
                  </a:lnTo>
                  <a:lnTo>
                    <a:pt x="282" y="146"/>
                  </a:lnTo>
                  <a:lnTo>
                    <a:pt x="281" y="146"/>
                  </a:lnTo>
                  <a:lnTo>
                    <a:pt x="281" y="147"/>
                  </a:lnTo>
                  <a:lnTo>
                    <a:pt x="280" y="147"/>
                  </a:lnTo>
                  <a:lnTo>
                    <a:pt x="279" y="147"/>
                  </a:lnTo>
                  <a:lnTo>
                    <a:pt x="277" y="147"/>
                  </a:lnTo>
                  <a:lnTo>
                    <a:pt x="279" y="147"/>
                  </a:lnTo>
                  <a:lnTo>
                    <a:pt x="279" y="146"/>
                  </a:lnTo>
                  <a:lnTo>
                    <a:pt x="279" y="145"/>
                  </a:lnTo>
                  <a:lnTo>
                    <a:pt x="279" y="144"/>
                  </a:lnTo>
                  <a:lnTo>
                    <a:pt x="277" y="145"/>
                  </a:lnTo>
                  <a:lnTo>
                    <a:pt x="276" y="145"/>
                  </a:lnTo>
                  <a:lnTo>
                    <a:pt x="276" y="146"/>
                  </a:lnTo>
                  <a:lnTo>
                    <a:pt x="275" y="145"/>
                  </a:lnTo>
                  <a:lnTo>
                    <a:pt x="274" y="145"/>
                  </a:lnTo>
                  <a:lnTo>
                    <a:pt x="274" y="146"/>
                  </a:lnTo>
                  <a:lnTo>
                    <a:pt x="273" y="146"/>
                  </a:lnTo>
                  <a:lnTo>
                    <a:pt x="271" y="145"/>
                  </a:lnTo>
                  <a:lnTo>
                    <a:pt x="271" y="144"/>
                  </a:lnTo>
                  <a:lnTo>
                    <a:pt x="271" y="142"/>
                  </a:lnTo>
                  <a:lnTo>
                    <a:pt x="270" y="142"/>
                  </a:lnTo>
                  <a:lnTo>
                    <a:pt x="269" y="144"/>
                  </a:lnTo>
                  <a:lnTo>
                    <a:pt x="268" y="145"/>
                  </a:lnTo>
                  <a:lnTo>
                    <a:pt x="267" y="145"/>
                  </a:lnTo>
                  <a:lnTo>
                    <a:pt x="267" y="144"/>
                  </a:lnTo>
                  <a:lnTo>
                    <a:pt x="268" y="144"/>
                  </a:lnTo>
                  <a:lnTo>
                    <a:pt x="268" y="142"/>
                  </a:lnTo>
                  <a:lnTo>
                    <a:pt x="268" y="141"/>
                  </a:lnTo>
                  <a:lnTo>
                    <a:pt x="269" y="140"/>
                  </a:lnTo>
                  <a:lnTo>
                    <a:pt x="268" y="140"/>
                  </a:lnTo>
                  <a:lnTo>
                    <a:pt x="268" y="139"/>
                  </a:lnTo>
                  <a:lnTo>
                    <a:pt x="268" y="140"/>
                  </a:lnTo>
                  <a:lnTo>
                    <a:pt x="267" y="140"/>
                  </a:lnTo>
                  <a:lnTo>
                    <a:pt x="265" y="141"/>
                  </a:lnTo>
                  <a:lnTo>
                    <a:pt x="264" y="140"/>
                  </a:lnTo>
                  <a:lnTo>
                    <a:pt x="264" y="141"/>
                  </a:lnTo>
                  <a:lnTo>
                    <a:pt x="263" y="141"/>
                  </a:lnTo>
                  <a:lnTo>
                    <a:pt x="262" y="141"/>
                  </a:lnTo>
                  <a:lnTo>
                    <a:pt x="260" y="141"/>
                  </a:lnTo>
                  <a:lnTo>
                    <a:pt x="259" y="141"/>
                  </a:lnTo>
                  <a:lnTo>
                    <a:pt x="260" y="141"/>
                  </a:lnTo>
                  <a:lnTo>
                    <a:pt x="260" y="140"/>
                  </a:lnTo>
                  <a:lnTo>
                    <a:pt x="262" y="139"/>
                  </a:lnTo>
                  <a:lnTo>
                    <a:pt x="263" y="138"/>
                  </a:lnTo>
                  <a:lnTo>
                    <a:pt x="262" y="138"/>
                  </a:lnTo>
                  <a:lnTo>
                    <a:pt x="262" y="136"/>
                  </a:lnTo>
                  <a:lnTo>
                    <a:pt x="263" y="136"/>
                  </a:lnTo>
                  <a:lnTo>
                    <a:pt x="263" y="138"/>
                  </a:lnTo>
                  <a:lnTo>
                    <a:pt x="264" y="136"/>
                  </a:lnTo>
                  <a:lnTo>
                    <a:pt x="267" y="135"/>
                  </a:lnTo>
                  <a:lnTo>
                    <a:pt x="268" y="134"/>
                  </a:lnTo>
                  <a:lnTo>
                    <a:pt x="269" y="134"/>
                  </a:lnTo>
                  <a:lnTo>
                    <a:pt x="269" y="133"/>
                  </a:lnTo>
                  <a:lnTo>
                    <a:pt x="269" y="132"/>
                  </a:lnTo>
                  <a:lnTo>
                    <a:pt x="269" y="130"/>
                  </a:lnTo>
                  <a:lnTo>
                    <a:pt x="270" y="129"/>
                  </a:lnTo>
                  <a:lnTo>
                    <a:pt x="269" y="129"/>
                  </a:lnTo>
                  <a:lnTo>
                    <a:pt x="268" y="129"/>
                  </a:lnTo>
                  <a:lnTo>
                    <a:pt x="267" y="128"/>
                  </a:lnTo>
                  <a:lnTo>
                    <a:pt x="267" y="127"/>
                  </a:lnTo>
                  <a:lnTo>
                    <a:pt x="265" y="128"/>
                  </a:lnTo>
                  <a:lnTo>
                    <a:pt x="264" y="129"/>
                  </a:lnTo>
                  <a:lnTo>
                    <a:pt x="264" y="130"/>
                  </a:lnTo>
                  <a:lnTo>
                    <a:pt x="263" y="130"/>
                  </a:lnTo>
                  <a:lnTo>
                    <a:pt x="263" y="128"/>
                  </a:lnTo>
                  <a:lnTo>
                    <a:pt x="264" y="128"/>
                  </a:lnTo>
                  <a:lnTo>
                    <a:pt x="263" y="127"/>
                  </a:lnTo>
                  <a:lnTo>
                    <a:pt x="263" y="128"/>
                  </a:lnTo>
                  <a:lnTo>
                    <a:pt x="262" y="127"/>
                  </a:lnTo>
                  <a:lnTo>
                    <a:pt x="262" y="128"/>
                  </a:lnTo>
                  <a:lnTo>
                    <a:pt x="260" y="128"/>
                  </a:lnTo>
                  <a:lnTo>
                    <a:pt x="259" y="128"/>
                  </a:lnTo>
                  <a:lnTo>
                    <a:pt x="259" y="129"/>
                  </a:lnTo>
                  <a:lnTo>
                    <a:pt x="258" y="129"/>
                  </a:lnTo>
                  <a:lnTo>
                    <a:pt x="258" y="128"/>
                  </a:lnTo>
                  <a:lnTo>
                    <a:pt x="258" y="127"/>
                  </a:lnTo>
                  <a:lnTo>
                    <a:pt x="257" y="125"/>
                  </a:lnTo>
                  <a:lnTo>
                    <a:pt x="257" y="127"/>
                  </a:lnTo>
                  <a:lnTo>
                    <a:pt x="256" y="127"/>
                  </a:lnTo>
                  <a:lnTo>
                    <a:pt x="256" y="125"/>
                  </a:lnTo>
                  <a:lnTo>
                    <a:pt x="257" y="124"/>
                  </a:lnTo>
                  <a:lnTo>
                    <a:pt x="256" y="123"/>
                  </a:lnTo>
                  <a:lnTo>
                    <a:pt x="256" y="122"/>
                  </a:lnTo>
                  <a:lnTo>
                    <a:pt x="256" y="123"/>
                  </a:lnTo>
                  <a:lnTo>
                    <a:pt x="254" y="123"/>
                  </a:lnTo>
                  <a:lnTo>
                    <a:pt x="254" y="124"/>
                  </a:lnTo>
                  <a:lnTo>
                    <a:pt x="253" y="124"/>
                  </a:lnTo>
                  <a:lnTo>
                    <a:pt x="253" y="125"/>
                  </a:lnTo>
                  <a:lnTo>
                    <a:pt x="252" y="125"/>
                  </a:lnTo>
                  <a:lnTo>
                    <a:pt x="251" y="125"/>
                  </a:lnTo>
                  <a:lnTo>
                    <a:pt x="251" y="127"/>
                  </a:lnTo>
                  <a:lnTo>
                    <a:pt x="250" y="127"/>
                  </a:lnTo>
                  <a:lnTo>
                    <a:pt x="248" y="127"/>
                  </a:lnTo>
                  <a:lnTo>
                    <a:pt x="248" y="128"/>
                  </a:lnTo>
                  <a:lnTo>
                    <a:pt x="247" y="128"/>
                  </a:lnTo>
                  <a:lnTo>
                    <a:pt x="247" y="127"/>
                  </a:lnTo>
                  <a:lnTo>
                    <a:pt x="248" y="127"/>
                  </a:lnTo>
                  <a:lnTo>
                    <a:pt x="248" y="125"/>
                  </a:lnTo>
                  <a:lnTo>
                    <a:pt x="248" y="124"/>
                  </a:lnTo>
                  <a:lnTo>
                    <a:pt x="247" y="123"/>
                  </a:lnTo>
                  <a:lnTo>
                    <a:pt x="247" y="124"/>
                  </a:lnTo>
                  <a:lnTo>
                    <a:pt x="247" y="123"/>
                  </a:lnTo>
                  <a:lnTo>
                    <a:pt x="246" y="123"/>
                  </a:lnTo>
                  <a:lnTo>
                    <a:pt x="245" y="123"/>
                  </a:lnTo>
                  <a:lnTo>
                    <a:pt x="245" y="122"/>
                  </a:lnTo>
                  <a:lnTo>
                    <a:pt x="242" y="122"/>
                  </a:lnTo>
                  <a:lnTo>
                    <a:pt x="241" y="123"/>
                  </a:lnTo>
                  <a:lnTo>
                    <a:pt x="240" y="123"/>
                  </a:lnTo>
                  <a:lnTo>
                    <a:pt x="240" y="124"/>
                  </a:lnTo>
                  <a:lnTo>
                    <a:pt x="240" y="123"/>
                  </a:lnTo>
                  <a:lnTo>
                    <a:pt x="239" y="124"/>
                  </a:lnTo>
                  <a:lnTo>
                    <a:pt x="239" y="123"/>
                  </a:lnTo>
                  <a:lnTo>
                    <a:pt x="239" y="122"/>
                  </a:lnTo>
                  <a:lnTo>
                    <a:pt x="238" y="122"/>
                  </a:lnTo>
                  <a:lnTo>
                    <a:pt x="236" y="122"/>
                  </a:lnTo>
                  <a:lnTo>
                    <a:pt x="236" y="121"/>
                  </a:lnTo>
                  <a:lnTo>
                    <a:pt x="235" y="121"/>
                  </a:lnTo>
                  <a:lnTo>
                    <a:pt x="235" y="122"/>
                  </a:lnTo>
                  <a:lnTo>
                    <a:pt x="236" y="122"/>
                  </a:lnTo>
                  <a:lnTo>
                    <a:pt x="235" y="122"/>
                  </a:lnTo>
                  <a:lnTo>
                    <a:pt x="234" y="121"/>
                  </a:lnTo>
                  <a:lnTo>
                    <a:pt x="235" y="119"/>
                  </a:lnTo>
                  <a:lnTo>
                    <a:pt x="235" y="118"/>
                  </a:lnTo>
                  <a:lnTo>
                    <a:pt x="235" y="117"/>
                  </a:lnTo>
                  <a:lnTo>
                    <a:pt x="235" y="116"/>
                  </a:lnTo>
                  <a:lnTo>
                    <a:pt x="235" y="117"/>
                  </a:lnTo>
                  <a:lnTo>
                    <a:pt x="234" y="117"/>
                  </a:lnTo>
                  <a:lnTo>
                    <a:pt x="233" y="117"/>
                  </a:lnTo>
                  <a:lnTo>
                    <a:pt x="229" y="116"/>
                  </a:lnTo>
                  <a:lnTo>
                    <a:pt x="229" y="115"/>
                  </a:lnTo>
                  <a:lnTo>
                    <a:pt x="228" y="115"/>
                  </a:lnTo>
                  <a:lnTo>
                    <a:pt x="228" y="113"/>
                  </a:lnTo>
                  <a:lnTo>
                    <a:pt x="227" y="113"/>
                  </a:lnTo>
                  <a:lnTo>
                    <a:pt x="227" y="115"/>
                  </a:lnTo>
                  <a:lnTo>
                    <a:pt x="226" y="113"/>
                  </a:lnTo>
                  <a:lnTo>
                    <a:pt x="224" y="113"/>
                  </a:lnTo>
                  <a:lnTo>
                    <a:pt x="223" y="113"/>
                  </a:lnTo>
                  <a:lnTo>
                    <a:pt x="222" y="113"/>
                  </a:lnTo>
                  <a:lnTo>
                    <a:pt x="221" y="113"/>
                  </a:lnTo>
                  <a:lnTo>
                    <a:pt x="220" y="113"/>
                  </a:lnTo>
                  <a:lnTo>
                    <a:pt x="220" y="112"/>
                  </a:lnTo>
                  <a:lnTo>
                    <a:pt x="218" y="111"/>
                  </a:lnTo>
                  <a:lnTo>
                    <a:pt x="218" y="112"/>
                  </a:lnTo>
                  <a:lnTo>
                    <a:pt x="217" y="112"/>
                  </a:lnTo>
                  <a:lnTo>
                    <a:pt x="217" y="111"/>
                  </a:lnTo>
                  <a:lnTo>
                    <a:pt x="218" y="111"/>
                  </a:lnTo>
                  <a:lnTo>
                    <a:pt x="217" y="110"/>
                  </a:lnTo>
                  <a:lnTo>
                    <a:pt x="217" y="111"/>
                  </a:lnTo>
                  <a:lnTo>
                    <a:pt x="216" y="110"/>
                  </a:lnTo>
                  <a:lnTo>
                    <a:pt x="217" y="110"/>
                  </a:lnTo>
                  <a:lnTo>
                    <a:pt x="216" y="110"/>
                  </a:lnTo>
                  <a:lnTo>
                    <a:pt x="216" y="109"/>
                  </a:lnTo>
                  <a:lnTo>
                    <a:pt x="217" y="107"/>
                  </a:lnTo>
                  <a:lnTo>
                    <a:pt x="216" y="107"/>
                  </a:lnTo>
                  <a:lnTo>
                    <a:pt x="216" y="106"/>
                  </a:lnTo>
                  <a:lnTo>
                    <a:pt x="215" y="106"/>
                  </a:lnTo>
                  <a:lnTo>
                    <a:pt x="215" y="105"/>
                  </a:lnTo>
                  <a:lnTo>
                    <a:pt x="214" y="105"/>
                  </a:lnTo>
                  <a:lnTo>
                    <a:pt x="214" y="104"/>
                  </a:lnTo>
                  <a:lnTo>
                    <a:pt x="212" y="104"/>
                  </a:lnTo>
                  <a:lnTo>
                    <a:pt x="212" y="103"/>
                  </a:lnTo>
                  <a:lnTo>
                    <a:pt x="214" y="103"/>
                  </a:lnTo>
                  <a:lnTo>
                    <a:pt x="214" y="101"/>
                  </a:lnTo>
                  <a:lnTo>
                    <a:pt x="212" y="101"/>
                  </a:lnTo>
                  <a:lnTo>
                    <a:pt x="214" y="101"/>
                  </a:lnTo>
                  <a:lnTo>
                    <a:pt x="215" y="101"/>
                  </a:lnTo>
                  <a:lnTo>
                    <a:pt x="215" y="100"/>
                  </a:lnTo>
                  <a:lnTo>
                    <a:pt x="216" y="100"/>
                  </a:lnTo>
                  <a:lnTo>
                    <a:pt x="216" y="101"/>
                  </a:lnTo>
                  <a:lnTo>
                    <a:pt x="216" y="100"/>
                  </a:lnTo>
                  <a:lnTo>
                    <a:pt x="217" y="100"/>
                  </a:lnTo>
                  <a:lnTo>
                    <a:pt x="217" y="101"/>
                  </a:lnTo>
                  <a:lnTo>
                    <a:pt x="217" y="100"/>
                  </a:lnTo>
                  <a:lnTo>
                    <a:pt x="218" y="100"/>
                  </a:lnTo>
                  <a:lnTo>
                    <a:pt x="218" y="101"/>
                  </a:lnTo>
                  <a:lnTo>
                    <a:pt x="220" y="101"/>
                  </a:lnTo>
                  <a:lnTo>
                    <a:pt x="220" y="103"/>
                  </a:lnTo>
                  <a:lnTo>
                    <a:pt x="221" y="104"/>
                  </a:lnTo>
                  <a:lnTo>
                    <a:pt x="220" y="104"/>
                  </a:lnTo>
                  <a:lnTo>
                    <a:pt x="220" y="105"/>
                  </a:lnTo>
                  <a:lnTo>
                    <a:pt x="220" y="106"/>
                  </a:lnTo>
                  <a:lnTo>
                    <a:pt x="221" y="106"/>
                  </a:lnTo>
                  <a:lnTo>
                    <a:pt x="221" y="107"/>
                  </a:lnTo>
                  <a:lnTo>
                    <a:pt x="222" y="107"/>
                  </a:lnTo>
                  <a:lnTo>
                    <a:pt x="222" y="109"/>
                  </a:lnTo>
                  <a:lnTo>
                    <a:pt x="223" y="109"/>
                  </a:lnTo>
                  <a:lnTo>
                    <a:pt x="222" y="109"/>
                  </a:lnTo>
                  <a:lnTo>
                    <a:pt x="223" y="109"/>
                  </a:lnTo>
                  <a:lnTo>
                    <a:pt x="222" y="109"/>
                  </a:lnTo>
                  <a:lnTo>
                    <a:pt x="221" y="109"/>
                  </a:lnTo>
                  <a:lnTo>
                    <a:pt x="220" y="109"/>
                  </a:lnTo>
                  <a:lnTo>
                    <a:pt x="220" y="110"/>
                  </a:lnTo>
                  <a:lnTo>
                    <a:pt x="221" y="110"/>
                  </a:lnTo>
                  <a:lnTo>
                    <a:pt x="220" y="110"/>
                  </a:lnTo>
                  <a:lnTo>
                    <a:pt x="221" y="110"/>
                  </a:lnTo>
                  <a:lnTo>
                    <a:pt x="221" y="111"/>
                  </a:lnTo>
                  <a:lnTo>
                    <a:pt x="222" y="111"/>
                  </a:lnTo>
                  <a:lnTo>
                    <a:pt x="222" y="112"/>
                  </a:lnTo>
                  <a:lnTo>
                    <a:pt x="222" y="111"/>
                  </a:lnTo>
                  <a:lnTo>
                    <a:pt x="223" y="111"/>
                  </a:lnTo>
                  <a:lnTo>
                    <a:pt x="223" y="112"/>
                  </a:lnTo>
                  <a:lnTo>
                    <a:pt x="223" y="111"/>
                  </a:lnTo>
                  <a:lnTo>
                    <a:pt x="223" y="112"/>
                  </a:lnTo>
                  <a:lnTo>
                    <a:pt x="224" y="112"/>
                  </a:lnTo>
                  <a:lnTo>
                    <a:pt x="224" y="111"/>
                  </a:lnTo>
                  <a:lnTo>
                    <a:pt x="224" y="112"/>
                  </a:lnTo>
                  <a:lnTo>
                    <a:pt x="224" y="111"/>
                  </a:lnTo>
                  <a:lnTo>
                    <a:pt x="226" y="111"/>
                  </a:lnTo>
                  <a:lnTo>
                    <a:pt x="227" y="111"/>
                  </a:lnTo>
                  <a:lnTo>
                    <a:pt x="228" y="111"/>
                  </a:lnTo>
                  <a:lnTo>
                    <a:pt x="229" y="111"/>
                  </a:lnTo>
                  <a:lnTo>
                    <a:pt x="229" y="110"/>
                  </a:lnTo>
                  <a:lnTo>
                    <a:pt x="228" y="110"/>
                  </a:lnTo>
                  <a:lnTo>
                    <a:pt x="228" y="109"/>
                  </a:lnTo>
                  <a:lnTo>
                    <a:pt x="227" y="109"/>
                  </a:lnTo>
                  <a:lnTo>
                    <a:pt x="227" y="107"/>
                  </a:lnTo>
                  <a:lnTo>
                    <a:pt x="227" y="106"/>
                  </a:lnTo>
                  <a:lnTo>
                    <a:pt x="228" y="106"/>
                  </a:lnTo>
                  <a:lnTo>
                    <a:pt x="228" y="105"/>
                  </a:lnTo>
                  <a:lnTo>
                    <a:pt x="227" y="105"/>
                  </a:lnTo>
                  <a:lnTo>
                    <a:pt x="226" y="105"/>
                  </a:lnTo>
                  <a:lnTo>
                    <a:pt x="226" y="104"/>
                  </a:lnTo>
                  <a:lnTo>
                    <a:pt x="227" y="104"/>
                  </a:lnTo>
                  <a:lnTo>
                    <a:pt x="226" y="104"/>
                  </a:lnTo>
                  <a:lnTo>
                    <a:pt x="227" y="104"/>
                  </a:lnTo>
                  <a:lnTo>
                    <a:pt x="228" y="104"/>
                  </a:lnTo>
                  <a:lnTo>
                    <a:pt x="228" y="105"/>
                  </a:lnTo>
                  <a:lnTo>
                    <a:pt x="229" y="105"/>
                  </a:lnTo>
                  <a:lnTo>
                    <a:pt x="230" y="105"/>
                  </a:lnTo>
                  <a:lnTo>
                    <a:pt x="232" y="105"/>
                  </a:lnTo>
                  <a:lnTo>
                    <a:pt x="233" y="105"/>
                  </a:lnTo>
                  <a:lnTo>
                    <a:pt x="233" y="106"/>
                  </a:lnTo>
                  <a:lnTo>
                    <a:pt x="234" y="107"/>
                  </a:lnTo>
                  <a:lnTo>
                    <a:pt x="234" y="106"/>
                  </a:lnTo>
                  <a:lnTo>
                    <a:pt x="234" y="107"/>
                  </a:lnTo>
                  <a:lnTo>
                    <a:pt x="235" y="107"/>
                  </a:lnTo>
                  <a:lnTo>
                    <a:pt x="236" y="106"/>
                  </a:lnTo>
                  <a:lnTo>
                    <a:pt x="238" y="106"/>
                  </a:lnTo>
                  <a:lnTo>
                    <a:pt x="239" y="106"/>
                  </a:lnTo>
                  <a:lnTo>
                    <a:pt x="239" y="105"/>
                  </a:lnTo>
                  <a:lnTo>
                    <a:pt x="239" y="106"/>
                  </a:lnTo>
                  <a:lnTo>
                    <a:pt x="240" y="106"/>
                  </a:lnTo>
                  <a:lnTo>
                    <a:pt x="240" y="107"/>
                  </a:lnTo>
                  <a:lnTo>
                    <a:pt x="241" y="107"/>
                  </a:lnTo>
                  <a:lnTo>
                    <a:pt x="241" y="106"/>
                  </a:lnTo>
                  <a:lnTo>
                    <a:pt x="241" y="107"/>
                  </a:lnTo>
                  <a:lnTo>
                    <a:pt x="242" y="107"/>
                  </a:lnTo>
                  <a:lnTo>
                    <a:pt x="241" y="107"/>
                  </a:lnTo>
                  <a:lnTo>
                    <a:pt x="241" y="109"/>
                  </a:lnTo>
                  <a:lnTo>
                    <a:pt x="242" y="109"/>
                  </a:lnTo>
                  <a:lnTo>
                    <a:pt x="242" y="107"/>
                  </a:lnTo>
                  <a:lnTo>
                    <a:pt x="242" y="109"/>
                  </a:lnTo>
                  <a:lnTo>
                    <a:pt x="244" y="107"/>
                  </a:lnTo>
                  <a:lnTo>
                    <a:pt x="245" y="109"/>
                  </a:lnTo>
                  <a:lnTo>
                    <a:pt x="245" y="107"/>
                  </a:lnTo>
                  <a:lnTo>
                    <a:pt x="245" y="106"/>
                  </a:lnTo>
                  <a:lnTo>
                    <a:pt x="244" y="106"/>
                  </a:lnTo>
                  <a:lnTo>
                    <a:pt x="242" y="106"/>
                  </a:lnTo>
                  <a:lnTo>
                    <a:pt x="244" y="106"/>
                  </a:lnTo>
                  <a:lnTo>
                    <a:pt x="242" y="106"/>
                  </a:lnTo>
                  <a:lnTo>
                    <a:pt x="242" y="105"/>
                  </a:lnTo>
                  <a:lnTo>
                    <a:pt x="244" y="105"/>
                  </a:lnTo>
                  <a:lnTo>
                    <a:pt x="242" y="105"/>
                  </a:lnTo>
                  <a:lnTo>
                    <a:pt x="241" y="105"/>
                  </a:lnTo>
                  <a:lnTo>
                    <a:pt x="241" y="104"/>
                  </a:lnTo>
                  <a:lnTo>
                    <a:pt x="242" y="104"/>
                  </a:lnTo>
                  <a:lnTo>
                    <a:pt x="244" y="104"/>
                  </a:lnTo>
                  <a:lnTo>
                    <a:pt x="244" y="105"/>
                  </a:lnTo>
                  <a:lnTo>
                    <a:pt x="245" y="105"/>
                  </a:lnTo>
                  <a:lnTo>
                    <a:pt x="246" y="105"/>
                  </a:lnTo>
                  <a:lnTo>
                    <a:pt x="245" y="105"/>
                  </a:lnTo>
                  <a:lnTo>
                    <a:pt x="246" y="105"/>
                  </a:lnTo>
                  <a:lnTo>
                    <a:pt x="246" y="106"/>
                  </a:lnTo>
                  <a:lnTo>
                    <a:pt x="247" y="106"/>
                  </a:lnTo>
                  <a:lnTo>
                    <a:pt x="247" y="105"/>
                  </a:lnTo>
                  <a:lnTo>
                    <a:pt x="248" y="105"/>
                  </a:lnTo>
                  <a:lnTo>
                    <a:pt x="250" y="105"/>
                  </a:lnTo>
                  <a:lnTo>
                    <a:pt x="250" y="104"/>
                  </a:lnTo>
                  <a:lnTo>
                    <a:pt x="250" y="105"/>
                  </a:lnTo>
                  <a:lnTo>
                    <a:pt x="251" y="104"/>
                  </a:lnTo>
                  <a:lnTo>
                    <a:pt x="252" y="104"/>
                  </a:lnTo>
                  <a:lnTo>
                    <a:pt x="252" y="103"/>
                  </a:lnTo>
                  <a:lnTo>
                    <a:pt x="252" y="101"/>
                  </a:lnTo>
                  <a:lnTo>
                    <a:pt x="252" y="100"/>
                  </a:lnTo>
                  <a:lnTo>
                    <a:pt x="253" y="100"/>
                  </a:lnTo>
                  <a:lnTo>
                    <a:pt x="253" y="99"/>
                  </a:lnTo>
                  <a:lnTo>
                    <a:pt x="253" y="98"/>
                  </a:lnTo>
                  <a:lnTo>
                    <a:pt x="254" y="98"/>
                  </a:lnTo>
                  <a:lnTo>
                    <a:pt x="254" y="97"/>
                  </a:lnTo>
                  <a:lnTo>
                    <a:pt x="254" y="95"/>
                  </a:lnTo>
                  <a:lnTo>
                    <a:pt x="253" y="95"/>
                  </a:lnTo>
                  <a:lnTo>
                    <a:pt x="253" y="97"/>
                  </a:lnTo>
                  <a:lnTo>
                    <a:pt x="252" y="97"/>
                  </a:lnTo>
                  <a:lnTo>
                    <a:pt x="251" y="97"/>
                  </a:lnTo>
                  <a:lnTo>
                    <a:pt x="251" y="95"/>
                  </a:lnTo>
                  <a:lnTo>
                    <a:pt x="250" y="95"/>
                  </a:lnTo>
                  <a:lnTo>
                    <a:pt x="248" y="95"/>
                  </a:lnTo>
                  <a:lnTo>
                    <a:pt x="248" y="94"/>
                  </a:lnTo>
                  <a:lnTo>
                    <a:pt x="248" y="95"/>
                  </a:lnTo>
                  <a:lnTo>
                    <a:pt x="247" y="95"/>
                  </a:lnTo>
                  <a:lnTo>
                    <a:pt x="247" y="94"/>
                  </a:lnTo>
                  <a:lnTo>
                    <a:pt x="248" y="94"/>
                  </a:lnTo>
                  <a:lnTo>
                    <a:pt x="248" y="93"/>
                  </a:lnTo>
                  <a:lnTo>
                    <a:pt x="250" y="93"/>
                  </a:lnTo>
                  <a:lnTo>
                    <a:pt x="250" y="92"/>
                  </a:lnTo>
                  <a:lnTo>
                    <a:pt x="248" y="92"/>
                  </a:lnTo>
                  <a:lnTo>
                    <a:pt x="250" y="92"/>
                  </a:lnTo>
                  <a:lnTo>
                    <a:pt x="250" y="91"/>
                  </a:lnTo>
                  <a:lnTo>
                    <a:pt x="251" y="91"/>
                  </a:lnTo>
                  <a:lnTo>
                    <a:pt x="251" y="89"/>
                  </a:lnTo>
                  <a:lnTo>
                    <a:pt x="251" y="88"/>
                  </a:lnTo>
                  <a:lnTo>
                    <a:pt x="252" y="88"/>
                  </a:lnTo>
                  <a:lnTo>
                    <a:pt x="251" y="87"/>
                  </a:lnTo>
                  <a:lnTo>
                    <a:pt x="252" y="87"/>
                  </a:lnTo>
                  <a:lnTo>
                    <a:pt x="252" y="86"/>
                  </a:lnTo>
                  <a:lnTo>
                    <a:pt x="252" y="85"/>
                  </a:lnTo>
                  <a:lnTo>
                    <a:pt x="252" y="83"/>
                  </a:lnTo>
                  <a:lnTo>
                    <a:pt x="252" y="82"/>
                  </a:lnTo>
                  <a:lnTo>
                    <a:pt x="252" y="81"/>
                  </a:lnTo>
                  <a:lnTo>
                    <a:pt x="251" y="81"/>
                  </a:lnTo>
                  <a:lnTo>
                    <a:pt x="251" y="82"/>
                  </a:lnTo>
                  <a:lnTo>
                    <a:pt x="250" y="82"/>
                  </a:lnTo>
                  <a:lnTo>
                    <a:pt x="250" y="83"/>
                  </a:lnTo>
                  <a:lnTo>
                    <a:pt x="248" y="83"/>
                  </a:lnTo>
                  <a:lnTo>
                    <a:pt x="248" y="82"/>
                  </a:lnTo>
                  <a:lnTo>
                    <a:pt x="248" y="81"/>
                  </a:lnTo>
                  <a:lnTo>
                    <a:pt x="247" y="81"/>
                  </a:lnTo>
                  <a:lnTo>
                    <a:pt x="247" y="82"/>
                  </a:lnTo>
                  <a:lnTo>
                    <a:pt x="246" y="82"/>
                  </a:lnTo>
                  <a:lnTo>
                    <a:pt x="246" y="83"/>
                  </a:lnTo>
                  <a:lnTo>
                    <a:pt x="246" y="82"/>
                  </a:lnTo>
                  <a:lnTo>
                    <a:pt x="245" y="82"/>
                  </a:lnTo>
                  <a:lnTo>
                    <a:pt x="244" y="83"/>
                  </a:lnTo>
                  <a:lnTo>
                    <a:pt x="242" y="83"/>
                  </a:lnTo>
                  <a:lnTo>
                    <a:pt x="242" y="85"/>
                  </a:lnTo>
                  <a:lnTo>
                    <a:pt x="241" y="85"/>
                  </a:lnTo>
                  <a:lnTo>
                    <a:pt x="240" y="85"/>
                  </a:lnTo>
                  <a:lnTo>
                    <a:pt x="241" y="85"/>
                  </a:lnTo>
                  <a:lnTo>
                    <a:pt x="241" y="83"/>
                  </a:lnTo>
                  <a:lnTo>
                    <a:pt x="242" y="83"/>
                  </a:lnTo>
                  <a:lnTo>
                    <a:pt x="242" y="82"/>
                  </a:lnTo>
                  <a:lnTo>
                    <a:pt x="242" y="81"/>
                  </a:lnTo>
                  <a:lnTo>
                    <a:pt x="241" y="81"/>
                  </a:lnTo>
                  <a:lnTo>
                    <a:pt x="240" y="81"/>
                  </a:lnTo>
                  <a:lnTo>
                    <a:pt x="241" y="81"/>
                  </a:lnTo>
                  <a:lnTo>
                    <a:pt x="240" y="81"/>
                  </a:lnTo>
                  <a:lnTo>
                    <a:pt x="239" y="81"/>
                  </a:lnTo>
                  <a:lnTo>
                    <a:pt x="239" y="82"/>
                  </a:lnTo>
                  <a:lnTo>
                    <a:pt x="238" y="82"/>
                  </a:lnTo>
                  <a:lnTo>
                    <a:pt x="236" y="82"/>
                  </a:lnTo>
                  <a:lnTo>
                    <a:pt x="235" y="82"/>
                  </a:lnTo>
                  <a:lnTo>
                    <a:pt x="235" y="81"/>
                  </a:lnTo>
                  <a:lnTo>
                    <a:pt x="234" y="81"/>
                  </a:lnTo>
                  <a:lnTo>
                    <a:pt x="235" y="81"/>
                  </a:lnTo>
                  <a:lnTo>
                    <a:pt x="236" y="81"/>
                  </a:lnTo>
                  <a:lnTo>
                    <a:pt x="236" y="80"/>
                  </a:lnTo>
                  <a:lnTo>
                    <a:pt x="238" y="80"/>
                  </a:lnTo>
                  <a:lnTo>
                    <a:pt x="239" y="80"/>
                  </a:lnTo>
                  <a:lnTo>
                    <a:pt x="239" y="79"/>
                  </a:lnTo>
                  <a:lnTo>
                    <a:pt x="240" y="79"/>
                  </a:lnTo>
                  <a:lnTo>
                    <a:pt x="241" y="79"/>
                  </a:lnTo>
                  <a:lnTo>
                    <a:pt x="242" y="79"/>
                  </a:lnTo>
                  <a:lnTo>
                    <a:pt x="242" y="77"/>
                  </a:lnTo>
                  <a:lnTo>
                    <a:pt x="244" y="77"/>
                  </a:lnTo>
                  <a:lnTo>
                    <a:pt x="244" y="76"/>
                  </a:lnTo>
                  <a:lnTo>
                    <a:pt x="245" y="76"/>
                  </a:lnTo>
                  <a:lnTo>
                    <a:pt x="246" y="75"/>
                  </a:lnTo>
                  <a:lnTo>
                    <a:pt x="245" y="75"/>
                  </a:lnTo>
                  <a:lnTo>
                    <a:pt x="246" y="75"/>
                  </a:lnTo>
                  <a:lnTo>
                    <a:pt x="245" y="75"/>
                  </a:lnTo>
                  <a:lnTo>
                    <a:pt x="245" y="74"/>
                  </a:lnTo>
                  <a:lnTo>
                    <a:pt x="246" y="74"/>
                  </a:lnTo>
                  <a:lnTo>
                    <a:pt x="246" y="73"/>
                  </a:lnTo>
                  <a:lnTo>
                    <a:pt x="247" y="73"/>
                  </a:lnTo>
                  <a:lnTo>
                    <a:pt x="246" y="71"/>
                  </a:lnTo>
                  <a:lnTo>
                    <a:pt x="245" y="71"/>
                  </a:lnTo>
                  <a:lnTo>
                    <a:pt x="245" y="73"/>
                  </a:lnTo>
                  <a:lnTo>
                    <a:pt x="245" y="71"/>
                  </a:lnTo>
                  <a:lnTo>
                    <a:pt x="244" y="71"/>
                  </a:lnTo>
                  <a:lnTo>
                    <a:pt x="244" y="73"/>
                  </a:lnTo>
                  <a:lnTo>
                    <a:pt x="242" y="73"/>
                  </a:lnTo>
                  <a:lnTo>
                    <a:pt x="242" y="71"/>
                  </a:lnTo>
                  <a:lnTo>
                    <a:pt x="242" y="70"/>
                  </a:lnTo>
                  <a:lnTo>
                    <a:pt x="241" y="71"/>
                  </a:lnTo>
                  <a:lnTo>
                    <a:pt x="240" y="71"/>
                  </a:lnTo>
                  <a:lnTo>
                    <a:pt x="240" y="73"/>
                  </a:lnTo>
                  <a:lnTo>
                    <a:pt x="240" y="74"/>
                  </a:lnTo>
                  <a:lnTo>
                    <a:pt x="239" y="74"/>
                  </a:lnTo>
                  <a:lnTo>
                    <a:pt x="239" y="73"/>
                  </a:lnTo>
                  <a:lnTo>
                    <a:pt x="238" y="73"/>
                  </a:lnTo>
                  <a:lnTo>
                    <a:pt x="236" y="73"/>
                  </a:lnTo>
                  <a:lnTo>
                    <a:pt x="235" y="73"/>
                  </a:lnTo>
                  <a:lnTo>
                    <a:pt x="234" y="74"/>
                  </a:lnTo>
                  <a:lnTo>
                    <a:pt x="234" y="75"/>
                  </a:lnTo>
                  <a:lnTo>
                    <a:pt x="233" y="75"/>
                  </a:lnTo>
                  <a:lnTo>
                    <a:pt x="234" y="74"/>
                  </a:lnTo>
                  <a:lnTo>
                    <a:pt x="234" y="73"/>
                  </a:lnTo>
                  <a:lnTo>
                    <a:pt x="234" y="71"/>
                  </a:lnTo>
                  <a:lnTo>
                    <a:pt x="233" y="71"/>
                  </a:lnTo>
                  <a:lnTo>
                    <a:pt x="233" y="70"/>
                  </a:lnTo>
                  <a:lnTo>
                    <a:pt x="233" y="69"/>
                  </a:lnTo>
                  <a:lnTo>
                    <a:pt x="234" y="69"/>
                  </a:lnTo>
                  <a:lnTo>
                    <a:pt x="234" y="68"/>
                  </a:lnTo>
                  <a:lnTo>
                    <a:pt x="233" y="68"/>
                  </a:lnTo>
                  <a:lnTo>
                    <a:pt x="233" y="69"/>
                  </a:lnTo>
                  <a:lnTo>
                    <a:pt x="233" y="68"/>
                  </a:lnTo>
                  <a:lnTo>
                    <a:pt x="232" y="68"/>
                  </a:lnTo>
                  <a:lnTo>
                    <a:pt x="230" y="68"/>
                  </a:lnTo>
                  <a:lnTo>
                    <a:pt x="230" y="69"/>
                  </a:lnTo>
                  <a:lnTo>
                    <a:pt x="229" y="69"/>
                  </a:lnTo>
                  <a:lnTo>
                    <a:pt x="229" y="68"/>
                  </a:lnTo>
                  <a:lnTo>
                    <a:pt x="228" y="68"/>
                  </a:lnTo>
                  <a:lnTo>
                    <a:pt x="229" y="67"/>
                  </a:lnTo>
                  <a:lnTo>
                    <a:pt x="229" y="65"/>
                  </a:lnTo>
                  <a:lnTo>
                    <a:pt x="228" y="65"/>
                  </a:lnTo>
                  <a:lnTo>
                    <a:pt x="227" y="65"/>
                  </a:lnTo>
                  <a:lnTo>
                    <a:pt x="226" y="64"/>
                  </a:lnTo>
                  <a:lnTo>
                    <a:pt x="226" y="63"/>
                  </a:lnTo>
                  <a:lnTo>
                    <a:pt x="226" y="62"/>
                  </a:lnTo>
                  <a:lnTo>
                    <a:pt x="227" y="62"/>
                  </a:lnTo>
                  <a:lnTo>
                    <a:pt x="227" y="61"/>
                  </a:lnTo>
                  <a:lnTo>
                    <a:pt x="228" y="61"/>
                  </a:lnTo>
                  <a:lnTo>
                    <a:pt x="227" y="61"/>
                  </a:lnTo>
                  <a:lnTo>
                    <a:pt x="228" y="59"/>
                  </a:lnTo>
                  <a:lnTo>
                    <a:pt x="229" y="59"/>
                  </a:lnTo>
                  <a:lnTo>
                    <a:pt x="230" y="59"/>
                  </a:lnTo>
                  <a:lnTo>
                    <a:pt x="230" y="58"/>
                  </a:lnTo>
                  <a:lnTo>
                    <a:pt x="230" y="57"/>
                  </a:lnTo>
                  <a:lnTo>
                    <a:pt x="229" y="57"/>
                  </a:lnTo>
                  <a:lnTo>
                    <a:pt x="230" y="56"/>
                  </a:lnTo>
                  <a:lnTo>
                    <a:pt x="232" y="56"/>
                  </a:lnTo>
                  <a:lnTo>
                    <a:pt x="232" y="55"/>
                  </a:lnTo>
                  <a:lnTo>
                    <a:pt x="233" y="55"/>
                  </a:lnTo>
                  <a:lnTo>
                    <a:pt x="233" y="53"/>
                  </a:lnTo>
                  <a:lnTo>
                    <a:pt x="233" y="52"/>
                  </a:lnTo>
                  <a:lnTo>
                    <a:pt x="233" y="51"/>
                  </a:lnTo>
                  <a:lnTo>
                    <a:pt x="233" y="50"/>
                  </a:lnTo>
                  <a:lnTo>
                    <a:pt x="233" y="49"/>
                  </a:lnTo>
                  <a:lnTo>
                    <a:pt x="232" y="49"/>
                  </a:lnTo>
                  <a:lnTo>
                    <a:pt x="232" y="50"/>
                  </a:lnTo>
                  <a:lnTo>
                    <a:pt x="230" y="50"/>
                  </a:lnTo>
                  <a:lnTo>
                    <a:pt x="229" y="50"/>
                  </a:lnTo>
                  <a:lnTo>
                    <a:pt x="228" y="50"/>
                  </a:lnTo>
                  <a:lnTo>
                    <a:pt x="228" y="51"/>
                  </a:lnTo>
                  <a:lnTo>
                    <a:pt x="227" y="51"/>
                  </a:lnTo>
                  <a:lnTo>
                    <a:pt x="227" y="52"/>
                  </a:lnTo>
                  <a:lnTo>
                    <a:pt x="226" y="52"/>
                  </a:lnTo>
                  <a:lnTo>
                    <a:pt x="224" y="52"/>
                  </a:lnTo>
                  <a:lnTo>
                    <a:pt x="223" y="52"/>
                  </a:lnTo>
                  <a:lnTo>
                    <a:pt x="222" y="52"/>
                  </a:lnTo>
                  <a:lnTo>
                    <a:pt x="222" y="51"/>
                  </a:lnTo>
                  <a:lnTo>
                    <a:pt x="223" y="51"/>
                  </a:lnTo>
                  <a:lnTo>
                    <a:pt x="223" y="50"/>
                  </a:lnTo>
                  <a:lnTo>
                    <a:pt x="224" y="50"/>
                  </a:lnTo>
                  <a:lnTo>
                    <a:pt x="223" y="50"/>
                  </a:lnTo>
                  <a:lnTo>
                    <a:pt x="223" y="49"/>
                  </a:lnTo>
                  <a:lnTo>
                    <a:pt x="223" y="47"/>
                  </a:lnTo>
                  <a:lnTo>
                    <a:pt x="223" y="46"/>
                  </a:lnTo>
                  <a:lnTo>
                    <a:pt x="223" y="45"/>
                  </a:lnTo>
                  <a:lnTo>
                    <a:pt x="222" y="45"/>
                  </a:lnTo>
                  <a:lnTo>
                    <a:pt x="221" y="45"/>
                  </a:lnTo>
                  <a:lnTo>
                    <a:pt x="221" y="46"/>
                  </a:lnTo>
                  <a:lnTo>
                    <a:pt x="220" y="46"/>
                  </a:lnTo>
                  <a:lnTo>
                    <a:pt x="220" y="45"/>
                  </a:lnTo>
                  <a:lnTo>
                    <a:pt x="220" y="44"/>
                  </a:lnTo>
                  <a:lnTo>
                    <a:pt x="218" y="44"/>
                  </a:lnTo>
                  <a:lnTo>
                    <a:pt x="218" y="45"/>
                  </a:lnTo>
                  <a:lnTo>
                    <a:pt x="218" y="46"/>
                  </a:lnTo>
                  <a:lnTo>
                    <a:pt x="217" y="46"/>
                  </a:lnTo>
                  <a:lnTo>
                    <a:pt x="217" y="47"/>
                  </a:lnTo>
                  <a:lnTo>
                    <a:pt x="217" y="49"/>
                  </a:lnTo>
                  <a:lnTo>
                    <a:pt x="218" y="49"/>
                  </a:lnTo>
                  <a:lnTo>
                    <a:pt x="218" y="50"/>
                  </a:lnTo>
                  <a:lnTo>
                    <a:pt x="218" y="51"/>
                  </a:lnTo>
                  <a:lnTo>
                    <a:pt x="217" y="51"/>
                  </a:lnTo>
                  <a:lnTo>
                    <a:pt x="216" y="51"/>
                  </a:lnTo>
                  <a:lnTo>
                    <a:pt x="215" y="51"/>
                  </a:lnTo>
                  <a:lnTo>
                    <a:pt x="215" y="52"/>
                  </a:lnTo>
                  <a:lnTo>
                    <a:pt x="215" y="51"/>
                  </a:lnTo>
                  <a:lnTo>
                    <a:pt x="215" y="50"/>
                  </a:lnTo>
                  <a:lnTo>
                    <a:pt x="216" y="50"/>
                  </a:lnTo>
                  <a:lnTo>
                    <a:pt x="216" y="49"/>
                  </a:lnTo>
                  <a:lnTo>
                    <a:pt x="216" y="47"/>
                  </a:lnTo>
                  <a:lnTo>
                    <a:pt x="215" y="46"/>
                  </a:lnTo>
                  <a:lnTo>
                    <a:pt x="215" y="47"/>
                  </a:lnTo>
                  <a:lnTo>
                    <a:pt x="214" y="49"/>
                  </a:lnTo>
                  <a:lnTo>
                    <a:pt x="214" y="47"/>
                  </a:lnTo>
                  <a:lnTo>
                    <a:pt x="212" y="47"/>
                  </a:lnTo>
                  <a:lnTo>
                    <a:pt x="212" y="49"/>
                  </a:lnTo>
                  <a:lnTo>
                    <a:pt x="211" y="50"/>
                  </a:lnTo>
                  <a:lnTo>
                    <a:pt x="210" y="50"/>
                  </a:lnTo>
                  <a:lnTo>
                    <a:pt x="210" y="51"/>
                  </a:lnTo>
                  <a:lnTo>
                    <a:pt x="210" y="52"/>
                  </a:lnTo>
                  <a:lnTo>
                    <a:pt x="210" y="53"/>
                  </a:lnTo>
                  <a:lnTo>
                    <a:pt x="210" y="55"/>
                  </a:lnTo>
                  <a:lnTo>
                    <a:pt x="209" y="56"/>
                  </a:lnTo>
                  <a:lnTo>
                    <a:pt x="208" y="56"/>
                  </a:lnTo>
                  <a:lnTo>
                    <a:pt x="208" y="55"/>
                  </a:lnTo>
                  <a:lnTo>
                    <a:pt x="209" y="55"/>
                  </a:lnTo>
                  <a:lnTo>
                    <a:pt x="208" y="53"/>
                  </a:lnTo>
                  <a:lnTo>
                    <a:pt x="208" y="52"/>
                  </a:lnTo>
                  <a:lnTo>
                    <a:pt x="208" y="51"/>
                  </a:lnTo>
                  <a:lnTo>
                    <a:pt x="209" y="51"/>
                  </a:lnTo>
                  <a:lnTo>
                    <a:pt x="209" y="50"/>
                  </a:lnTo>
                  <a:lnTo>
                    <a:pt x="208" y="50"/>
                  </a:lnTo>
                  <a:lnTo>
                    <a:pt x="206" y="51"/>
                  </a:lnTo>
                  <a:lnTo>
                    <a:pt x="206" y="50"/>
                  </a:lnTo>
                  <a:lnTo>
                    <a:pt x="206" y="49"/>
                  </a:lnTo>
                  <a:lnTo>
                    <a:pt x="205" y="49"/>
                  </a:lnTo>
                  <a:lnTo>
                    <a:pt x="205" y="47"/>
                  </a:lnTo>
                  <a:lnTo>
                    <a:pt x="205" y="49"/>
                  </a:lnTo>
                  <a:lnTo>
                    <a:pt x="204" y="49"/>
                  </a:lnTo>
                  <a:lnTo>
                    <a:pt x="203" y="49"/>
                  </a:lnTo>
                  <a:lnTo>
                    <a:pt x="203" y="47"/>
                  </a:lnTo>
                  <a:lnTo>
                    <a:pt x="201" y="47"/>
                  </a:lnTo>
                  <a:lnTo>
                    <a:pt x="201" y="49"/>
                  </a:lnTo>
                  <a:lnTo>
                    <a:pt x="201" y="50"/>
                  </a:lnTo>
                  <a:lnTo>
                    <a:pt x="200" y="49"/>
                  </a:lnTo>
                  <a:lnTo>
                    <a:pt x="200" y="50"/>
                  </a:lnTo>
                  <a:lnTo>
                    <a:pt x="199" y="50"/>
                  </a:lnTo>
                  <a:lnTo>
                    <a:pt x="199" y="51"/>
                  </a:lnTo>
                  <a:lnTo>
                    <a:pt x="198" y="51"/>
                  </a:lnTo>
                  <a:lnTo>
                    <a:pt x="198" y="52"/>
                  </a:lnTo>
                  <a:lnTo>
                    <a:pt x="198" y="53"/>
                  </a:lnTo>
                  <a:lnTo>
                    <a:pt x="199" y="53"/>
                  </a:lnTo>
                  <a:lnTo>
                    <a:pt x="199" y="55"/>
                  </a:lnTo>
                  <a:lnTo>
                    <a:pt x="199" y="53"/>
                  </a:lnTo>
                  <a:lnTo>
                    <a:pt x="199" y="55"/>
                  </a:lnTo>
                  <a:lnTo>
                    <a:pt x="199" y="56"/>
                  </a:lnTo>
                  <a:lnTo>
                    <a:pt x="199" y="57"/>
                  </a:lnTo>
                  <a:lnTo>
                    <a:pt x="199" y="58"/>
                  </a:lnTo>
                  <a:lnTo>
                    <a:pt x="198" y="58"/>
                  </a:lnTo>
                  <a:lnTo>
                    <a:pt x="198" y="57"/>
                  </a:lnTo>
                  <a:lnTo>
                    <a:pt x="198" y="56"/>
                  </a:lnTo>
                  <a:lnTo>
                    <a:pt x="197" y="56"/>
                  </a:lnTo>
                  <a:lnTo>
                    <a:pt x="195" y="55"/>
                  </a:lnTo>
                  <a:lnTo>
                    <a:pt x="195" y="56"/>
                  </a:lnTo>
                  <a:lnTo>
                    <a:pt x="195" y="55"/>
                  </a:lnTo>
                  <a:lnTo>
                    <a:pt x="194" y="53"/>
                  </a:lnTo>
                  <a:lnTo>
                    <a:pt x="193" y="53"/>
                  </a:lnTo>
                  <a:lnTo>
                    <a:pt x="193" y="55"/>
                  </a:lnTo>
                  <a:lnTo>
                    <a:pt x="193" y="56"/>
                  </a:lnTo>
                  <a:lnTo>
                    <a:pt x="192" y="56"/>
                  </a:lnTo>
                  <a:lnTo>
                    <a:pt x="192" y="55"/>
                  </a:lnTo>
                  <a:lnTo>
                    <a:pt x="191" y="55"/>
                  </a:lnTo>
                  <a:lnTo>
                    <a:pt x="191" y="56"/>
                  </a:lnTo>
                  <a:lnTo>
                    <a:pt x="191" y="57"/>
                  </a:lnTo>
                  <a:lnTo>
                    <a:pt x="192" y="57"/>
                  </a:lnTo>
                  <a:lnTo>
                    <a:pt x="191" y="57"/>
                  </a:lnTo>
                  <a:lnTo>
                    <a:pt x="192" y="58"/>
                  </a:lnTo>
                  <a:lnTo>
                    <a:pt x="191" y="58"/>
                  </a:lnTo>
                  <a:lnTo>
                    <a:pt x="191" y="59"/>
                  </a:lnTo>
                  <a:lnTo>
                    <a:pt x="191" y="58"/>
                  </a:lnTo>
                  <a:lnTo>
                    <a:pt x="189" y="58"/>
                  </a:lnTo>
                  <a:lnTo>
                    <a:pt x="189" y="59"/>
                  </a:lnTo>
                  <a:lnTo>
                    <a:pt x="189" y="61"/>
                  </a:lnTo>
                  <a:lnTo>
                    <a:pt x="188" y="61"/>
                  </a:lnTo>
                  <a:lnTo>
                    <a:pt x="188" y="59"/>
                  </a:lnTo>
                  <a:lnTo>
                    <a:pt x="188" y="58"/>
                  </a:lnTo>
                  <a:lnTo>
                    <a:pt x="187" y="58"/>
                  </a:lnTo>
                  <a:lnTo>
                    <a:pt x="187" y="59"/>
                  </a:lnTo>
                  <a:lnTo>
                    <a:pt x="186" y="59"/>
                  </a:lnTo>
                  <a:lnTo>
                    <a:pt x="186" y="58"/>
                  </a:lnTo>
                  <a:lnTo>
                    <a:pt x="186" y="59"/>
                  </a:lnTo>
                  <a:lnTo>
                    <a:pt x="185" y="59"/>
                  </a:lnTo>
                  <a:lnTo>
                    <a:pt x="185" y="61"/>
                  </a:lnTo>
                  <a:lnTo>
                    <a:pt x="186" y="61"/>
                  </a:lnTo>
                  <a:lnTo>
                    <a:pt x="186" y="62"/>
                  </a:lnTo>
                  <a:lnTo>
                    <a:pt x="187" y="62"/>
                  </a:lnTo>
                  <a:lnTo>
                    <a:pt x="187" y="61"/>
                  </a:lnTo>
                  <a:lnTo>
                    <a:pt x="188" y="61"/>
                  </a:lnTo>
                  <a:lnTo>
                    <a:pt x="188" y="62"/>
                  </a:lnTo>
                  <a:lnTo>
                    <a:pt x="187" y="62"/>
                  </a:lnTo>
                  <a:lnTo>
                    <a:pt x="186" y="62"/>
                  </a:lnTo>
                  <a:lnTo>
                    <a:pt x="185" y="62"/>
                  </a:lnTo>
                  <a:lnTo>
                    <a:pt x="185" y="61"/>
                  </a:lnTo>
                  <a:lnTo>
                    <a:pt x="183" y="61"/>
                  </a:lnTo>
                  <a:lnTo>
                    <a:pt x="185" y="59"/>
                  </a:lnTo>
                  <a:lnTo>
                    <a:pt x="185" y="58"/>
                  </a:lnTo>
                  <a:lnTo>
                    <a:pt x="186" y="58"/>
                  </a:lnTo>
                  <a:lnTo>
                    <a:pt x="185" y="57"/>
                  </a:lnTo>
                  <a:lnTo>
                    <a:pt x="186" y="57"/>
                  </a:lnTo>
                  <a:lnTo>
                    <a:pt x="186" y="56"/>
                  </a:lnTo>
                  <a:lnTo>
                    <a:pt x="185" y="56"/>
                  </a:lnTo>
                  <a:lnTo>
                    <a:pt x="185" y="57"/>
                  </a:lnTo>
                  <a:lnTo>
                    <a:pt x="183" y="57"/>
                  </a:lnTo>
                  <a:lnTo>
                    <a:pt x="183" y="56"/>
                  </a:lnTo>
                  <a:lnTo>
                    <a:pt x="182" y="56"/>
                  </a:lnTo>
                  <a:lnTo>
                    <a:pt x="182" y="57"/>
                  </a:lnTo>
                  <a:lnTo>
                    <a:pt x="182" y="56"/>
                  </a:lnTo>
                  <a:lnTo>
                    <a:pt x="181" y="56"/>
                  </a:lnTo>
                  <a:lnTo>
                    <a:pt x="182" y="56"/>
                  </a:lnTo>
                  <a:lnTo>
                    <a:pt x="181" y="56"/>
                  </a:lnTo>
                  <a:lnTo>
                    <a:pt x="181" y="57"/>
                  </a:lnTo>
                  <a:lnTo>
                    <a:pt x="182" y="57"/>
                  </a:lnTo>
                  <a:lnTo>
                    <a:pt x="182" y="58"/>
                  </a:lnTo>
                  <a:lnTo>
                    <a:pt x="182" y="59"/>
                  </a:lnTo>
                  <a:lnTo>
                    <a:pt x="183" y="59"/>
                  </a:lnTo>
                  <a:lnTo>
                    <a:pt x="183" y="61"/>
                  </a:lnTo>
                  <a:lnTo>
                    <a:pt x="183" y="62"/>
                  </a:lnTo>
                  <a:lnTo>
                    <a:pt x="182" y="63"/>
                  </a:lnTo>
                  <a:lnTo>
                    <a:pt x="182" y="62"/>
                  </a:lnTo>
                  <a:lnTo>
                    <a:pt x="181" y="62"/>
                  </a:lnTo>
                  <a:lnTo>
                    <a:pt x="180" y="62"/>
                  </a:lnTo>
                  <a:lnTo>
                    <a:pt x="179" y="62"/>
                  </a:lnTo>
                  <a:lnTo>
                    <a:pt x="177" y="62"/>
                  </a:lnTo>
                  <a:lnTo>
                    <a:pt x="176" y="63"/>
                  </a:lnTo>
                  <a:lnTo>
                    <a:pt x="176" y="62"/>
                  </a:lnTo>
                  <a:lnTo>
                    <a:pt x="176" y="63"/>
                  </a:lnTo>
                  <a:lnTo>
                    <a:pt x="175" y="63"/>
                  </a:lnTo>
                  <a:lnTo>
                    <a:pt x="175" y="62"/>
                  </a:lnTo>
                  <a:lnTo>
                    <a:pt x="175" y="63"/>
                  </a:lnTo>
                  <a:lnTo>
                    <a:pt x="174" y="63"/>
                  </a:lnTo>
                  <a:lnTo>
                    <a:pt x="174" y="62"/>
                  </a:lnTo>
                  <a:lnTo>
                    <a:pt x="175" y="62"/>
                  </a:lnTo>
                  <a:lnTo>
                    <a:pt x="174" y="62"/>
                  </a:lnTo>
                  <a:lnTo>
                    <a:pt x="174" y="63"/>
                  </a:lnTo>
                  <a:lnTo>
                    <a:pt x="174" y="64"/>
                  </a:lnTo>
                  <a:lnTo>
                    <a:pt x="175" y="64"/>
                  </a:lnTo>
                  <a:lnTo>
                    <a:pt x="175" y="65"/>
                  </a:lnTo>
                  <a:lnTo>
                    <a:pt x="175" y="64"/>
                  </a:lnTo>
                  <a:lnTo>
                    <a:pt x="175" y="65"/>
                  </a:lnTo>
                  <a:lnTo>
                    <a:pt x="175" y="67"/>
                  </a:lnTo>
                  <a:lnTo>
                    <a:pt x="176" y="67"/>
                  </a:lnTo>
                  <a:lnTo>
                    <a:pt x="176" y="68"/>
                  </a:lnTo>
                  <a:lnTo>
                    <a:pt x="175" y="68"/>
                  </a:lnTo>
                  <a:lnTo>
                    <a:pt x="175" y="67"/>
                  </a:lnTo>
                  <a:lnTo>
                    <a:pt x="175" y="65"/>
                  </a:lnTo>
                  <a:lnTo>
                    <a:pt x="174" y="65"/>
                  </a:lnTo>
                  <a:lnTo>
                    <a:pt x="174" y="67"/>
                  </a:lnTo>
                  <a:lnTo>
                    <a:pt x="174" y="65"/>
                  </a:lnTo>
                  <a:lnTo>
                    <a:pt x="174" y="67"/>
                  </a:lnTo>
                  <a:lnTo>
                    <a:pt x="174" y="68"/>
                  </a:lnTo>
                  <a:lnTo>
                    <a:pt x="173" y="68"/>
                  </a:lnTo>
                  <a:lnTo>
                    <a:pt x="173" y="67"/>
                  </a:lnTo>
                  <a:lnTo>
                    <a:pt x="171" y="67"/>
                  </a:lnTo>
                  <a:lnTo>
                    <a:pt x="170" y="67"/>
                  </a:lnTo>
                  <a:lnTo>
                    <a:pt x="170" y="68"/>
                  </a:lnTo>
                  <a:lnTo>
                    <a:pt x="169" y="68"/>
                  </a:lnTo>
                  <a:lnTo>
                    <a:pt x="168" y="68"/>
                  </a:lnTo>
                  <a:lnTo>
                    <a:pt x="167" y="68"/>
                  </a:lnTo>
                  <a:lnTo>
                    <a:pt x="167" y="69"/>
                  </a:lnTo>
                  <a:lnTo>
                    <a:pt x="165" y="69"/>
                  </a:lnTo>
                  <a:lnTo>
                    <a:pt x="164" y="69"/>
                  </a:lnTo>
                  <a:lnTo>
                    <a:pt x="163" y="69"/>
                  </a:lnTo>
                  <a:lnTo>
                    <a:pt x="163" y="70"/>
                  </a:lnTo>
                  <a:lnTo>
                    <a:pt x="162" y="70"/>
                  </a:lnTo>
                  <a:lnTo>
                    <a:pt x="161" y="70"/>
                  </a:lnTo>
                  <a:lnTo>
                    <a:pt x="162" y="70"/>
                  </a:lnTo>
                  <a:lnTo>
                    <a:pt x="163" y="70"/>
                  </a:lnTo>
                  <a:lnTo>
                    <a:pt x="163" y="71"/>
                  </a:lnTo>
                  <a:lnTo>
                    <a:pt x="162" y="71"/>
                  </a:lnTo>
                  <a:lnTo>
                    <a:pt x="163" y="71"/>
                  </a:lnTo>
                  <a:lnTo>
                    <a:pt x="162" y="71"/>
                  </a:lnTo>
                  <a:lnTo>
                    <a:pt x="161" y="73"/>
                  </a:lnTo>
                  <a:lnTo>
                    <a:pt x="161" y="71"/>
                  </a:lnTo>
                  <a:lnTo>
                    <a:pt x="161" y="70"/>
                  </a:lnTo>
                  <a:lnTo>
                    <a:pt x="161" y="71"/>
                  </a:lnTo>
                  <a:lnTo>
                    <a:pt x="161" y="73"/>
                  </a:lnTo>
                  <a:lnTo>
                    <a:pt x="159" y="73"/>
                  </a:lnTo>
                  <a:lnTo>
                    <a:pt x="159" y="71"/>
                  </a:lnTo>
                  <a:lnTo>
                    <a:pt x="158" y="71"/>
                  </a:lnTo>
                  <a:lnTo>
                    <a:pt x="158" y="73"/>
                  </a:lnTo>
                  <a:lnTo>
                    <a:pt x="157" y="73"/>
                  </a:lnTo>
                  <a:lnTo>
                    <a:pt x="156" y="73"/>
                  </a:lnTo>
                  <a:lnTo>
                    <a:pt x="156" y="74"/>
                  </a:lnTo>
                  <a:lnTo>
                    <a:pt x="156" y="73"/>
                  </a:lnTo>
                  <a:lnTo>
                    <a:pt x="155" y="73"/>
                  </a:lnTo>
                  <a:lnTo>
                    <a:pt x="155" y="74"/>
                  </a:lnTo>
                  <a:lnTo>
                    <a:pt x="155" y="75"/>
                  </a:lnTo>
                  <a:lnTo>
                    <a:pt x="155" y="76"/>
                  </a:lnTo>
                  <a:lnTo>
                    <a:pt x="155" y="77"/>
                  </a:lnTo>
                  <a:lnTo>
                    <a:pt x="156" y="77"/>
                  </a:lnTo>
                  <a:lnTo>
                    <a:pt x="157" y="77"/>
                  </a:lnTo>
                  <a:lnTo>
                    <a:pt x="157" y="79"/>
                  </a:lnTo>
                  <a:lnTo>
                    <a:pt x="158" y="79"/>
                  </a:lnTo>
                  <a:lnTo>
                    <a:pt x="158" y="77"/>
                  </a:lnTo>
                  <a:lnTo>
                    <a:pt x="158" y="76"/>
                  </a:lnTo>
                  <a:lnTo>
                    <a:pt x="158" y="77"/>
                  </a:lnTo>
                  <a:lnTo>
                    <a:pt x="158" y="79"/>
                  </a:lnTo>
                  <a:lnTo>
                    <a:pt x="158" y="77"/>
                  </a:lnTo>
                  <a:lnTo>
                    <a:pt x="159" y="76"/>
                  </a:lnTo>
                  <a:lnTo>
                    <a:pt x="161" y="76"/>
                  </a:lnTo>
                  <a:lnTo>
                    <a:pt x="161" y="77"/>
                  </a:lnTo>
                  <a:lnTo>
                    <a:pt x="159" y="77"/>
                  </a:lnTo>
                  <a:lnTo>
                    <a:pt x="159" y="79"/>
                  </a:lnTo>
                  <a:lnTo>
                    <a:pt x="158" y="79"/>
                  </a:lnTo>
                  <a:lnTo>
                    <a:pt x="157" y="79"/>
                  </a:lnTo>
                  <a:lnTo>
                    <a:pt x="157" y="80"/>
                  </a:lnTo>
                  <a:lnTo>
                    <a:pt x="157" y="81"/>
                  </a:lnTo>
                  <a:lnTo>
                    <a:pt x="157" y="82"/>
                  </a:lnTo>
                  <a:lnTo>
                    <a:pt x="157" y="81"/>
                  </a:lnTo>
                  <a:lnTo>
                    <a:pt x="156" y="81"/>
                  </a:lnTo>
                  <a:lnTo>
                    <a:pt x="156" y="80"/>
                  </a:lnTo>
                  <a:lnTo>
                    <a:pt x="157" y="80"/>
                  </a:lnTo>
                  <a:lnTo>
                    <a:pt x="157" y="79"/>
                  </a:lnTo>
                  <a:lnTo>
                    <a:pt x="156" y="79"/>
                  </a:lnTo>
                  <a:lnTo>
                    <a:pt x="156" y="80"/>
                  </a:lnTo>
                  <a:lnTo>
                    <a:pt x="156" y="79"/>
                  </a:lnTo>
                  <a:lnTo>
                    <a:pt x="155" y="79"/>
                  </a:lnTo>
                  <a:lnTo>
                    <a:pt x="153" y="79"/>
                  </a:lnTo>
                  <a:lnTo>
                    <a:pt x="153" y="80"/>
                  </a:lnTo>
                  <a:lnTo>
                    <a:pt x="152" y="80"/>
                  </a:lnTo>
                  <a:lnTo>
                    <a:pt x="152" y="81"/>
                  </a:lnTo>
                  <a:lnTo>
                    <a:pt x="152" y="82"/>
                  </a:lnTo>
                  <a:lnTo>
                    <a:pt x="151" y="82"/>
                  </a:lnTo>
                  <a:lnTo>
                    <a:pt x="151" y="83"/>
                  </a:lnTo>
                  <a:lnTo>
                    <a:pt x="152" y="83"/>
                  </a:lnTo>
                  <a:lnTo>
                    <a:pt x="151" y="83"/>
                  </a:lnTo>
                  <a:lnTo>
                    <a:pt x="151" y="85"/>
                  </a:lnTo>
                  <a:lnTo>
                    <a:pt x="150" y="85"/>
                  </a:lnTo>
                  <a:lnTo>
                    <a:pt x="150" y="83"/>
                  </a:lnTo>
                  <a:lnTo>
                    <a:pt x="150" y="85"/>
                  </a:lnTo>
                  <a:lnTo>
                    <a:pt x="149" y="85"/>
                  </a:lnTo>
                  <a:lnTo>
                    <a:pt x="150" y="85"/>
                  </a:lnTo>
                  <a:lnTo>
                    <a:pt x="150" y="83"/>
                  </a:lnTo>
                  <a:lnTo>
                    <a:pt x="151" y="83"/>
                  </a:lnTo>
                  <a:lnTo>
                    <a:pt x="150" y="83"/>
                  </a:lnTo>
                  <a:lnTo>
                    <a:pt x="150" y="82"/>
                  </a:lnTo>
                  <a:lnTo>
                    <a:pt x="150" y="81"/>
                  </a:lnTo>
                  <a:lnTo>
                    <a:pt x="151" y="81"/>
                  </a:lnTo>
                  <a:lnTo>
                    <a:pt x="151" y="80"/>
                  </a:lnTo>
                  <a:lnTo>
                    <a:pt x="151" y="79"/>
                  </a:lnTo>
                  <a:lnTo>
                    <a:pt x="152" y="79"/>
                  </a:lnTo>
                  <a:lnTo>
                    <a:pt x="152" y="77"/>
                  </a:lnTo>
                  <a:lnTo>
                    <a:pt x="152" y="76"/>
                  </a:lnTo>
                  <a:lnTo>
                    <a:pt x="152" y="75"/>
                  </a:lnTo>
                  <a:lnTo>
                    <a:pt x="152" y="74"/>
                  </a:lnTo>
                  <a:lnTo>
                    <a:pt x="153" y="74"/>
                  </a:lnTo>
                  <a:lnTo>
                    <a:pt x="152" y="74"/>
                  </a:lnTo>
                  <a:lnTo>
                    <a:pt x="152" y="73"/>
                  </a:lnTo>
                  <a:lnTo>
                    <a:pt x="153" y="73"/>
                  </a:lnTo>
                  <a:lnTo>
                    <a:pt x="153" y="71"/>
                  </a:lnTo>
                  <a:lnTo>
                    <a:pt x="153" y="70"/>
                  </a:lnTo>
                  <a:lnTo>
                    <a:pt x="155" y="70"/>
                  </a:lnTo>
                  <a:lnTo>
                    <a:pt x="156" y="70"/>
                  </a:lnTo>
                  <a:lnTo>
                    <a:pt x="155" y="70"/>
                  </a:lnTo>
                  <a:lnTo>
                    <a:pt x="156" y="70"/>
                  </a:lnTo>
                  <a:lnTo>
                    <a:pt x="156" y="69"/>
                  </a:lnTo>
                  <a:lnTo>
                    <a:pt x="155" y="69"/>
                  </a:lnTo>
                  <a:lnTo>
                    <a:pt x="156" y="69"/>
                  </a:lnTo>
                  <a:lnTo>
                    <a:pt x="156" y="68"/>
                  </a:lnTo>
                  <a:lnTo>
                    <a:pt x="156" y="69"/>
                  </a:lnTo>
                  <a:lnTo>
                    <a:pt x="155" y="68"/>
                  </a:lnTo>
                  <a:lnTo>
                    <a:pt x="155" y="69"/>
                  </a:lnTo>
                  <a:lnTo>
                    <a:pt x="155" y="68"/>
                  </a:lnTo>
                  <a:lnTo>
                    <a:pt x="156" y="68"/>
                  </a:lnTo>
                  <a:lnTo>
                    <a:pt x="157" y="68"/>
                  </a:lnTo>
                  <a:lnTo>
                    <a:pt x="158" y="68"/>
                  </a:lnTo>
                  <a:lnTo>
                    <a:pt x="159" y="68"/>
                  </a:lnTo>
                  <a:lnTo>
                    <a:pt x="161" y="68"/>
                  </a:lnTo>
                  <a:lnTo>
                    <a:pt x="161" y="67"/>
                  </a:lnTo>
                  <a:lnTo>
                    <a:pt x="161" y="65"/>
                  </a:lnTo>
                  <a:lnTo>
                    <a:pt x="159" y="65"/>
                  </a:lnTo>
                  <a:lnTo>
                    <a:pt x="158" y="65"/>
                  </a:lnTo>
                  <a:lnTo>
                    <a:pt x="157" y="65"/>
                  </a:lnTo>
                  <a:lnTo>
                    <a:pt x="157" y="64"/>
                  </a:lnTo>
                  <a:lnTo>
                    <a:pt x="158" y="64"/>
                  </a:lnTo>
                  <a:lnTo>
                    <a:pt x="158" y="63"/>
                  </a:lnTo>
                  <a:lnTo>
                    <a:pt x="158" y="64"/>
                  </a:lnTo>
                  <a:lnTo>
                    <a:pt x="158" y="65"/>
                  </a:lnTo>
                  <a:lnTo>
                    <a:pt x="159" y="65"/>
                  </a:lnTo>
                  <a:lnTo>
                    <a:pt x="161" y="65"/>
                  </a:lnTo>
                  <a:lnTo>
                    <a:pt x="162" y="65"/>
                  </a:lnTo>
                  <a:lnTo>
                    <a:pt x="162" y="64"/>
                  </a:lnTo>
                  <a:lnTo>
                    <a:pt x="162" y="65"/>
                  </a:lnTo>
                  <a:lnTo>
                    <a:pt x="162" y="64"/>
                  </a:lnTo>
                  <a:lnTo>
                    <a:pt x="163" y="64"/>
                  </a:lnTo>
                  <a:lnTo>
                    <a:pt x="163" y="65"/>
                  </a:lnTo>
                  <a:lnTo>
                    <a:pt x="164" y="65"/>
                  </a:lnTo>
                  <a:lnTo>
                    <a:pt x="164" y="64"/>
                  </a:lnTo>
                  <a:lnTo>
                    <a:pt x="165" y="64"/>
                  </a:lnTo>
                  <a:lnTo>
                    <a:pt x="167" y="64"/>
                  </a:lnTo>
                  <a:lnTo>
                    <a:pt x="168" y="63"/>
                  </a:lnTo>
                  <a:lnTo>
                    <a:pt x="167" y="63"/>
                  </a:lnTo>
                  <a:lnTo>
                    <a:pt x="167" y="62"/>
                  </a:lnTo>
                  <a:lnTo>
                    <a:pt x="165" y="62"/>
                  </a:lnTo>
                  <a:lnTo>
                    <a:pt x="165" y="63"/>
                  </a:lnTo>
                  <a:lnTo>
                    <a:pt x="164" y="63"/>
                  </a:lnTo>
                  <a:lnTo>
                    <a:pt x="164" y="62"/>
                  </a:lnTo>
                  <a:lnTo>
                    <a:pt x="165" y="62"/>
                  </a:lnTo>
                  <a:lnTo>
                    <a:pt x="167" y="62"/>
                  </a:lnTo>
                  <a:lnTo>
                    <a:pt x="168" y="62"/>
                  </a:lnTo>
                  <a:lnTo>
                    <a:pt x="168" y="63"/>
                  </a:lnTo>
                  <a:lnTo>
                    <a:pt x="168" y="62"/>
                  </a:lnTo>
                  <a:lnTo>
                    <a:pt x="167" y="62"/>
                  </a:lnTo>
                  <a:lnTo>
                    <a:pt x="168" y="62"/>
                  </a:lnTo>
                  <a:lnTo>
                    <a:pt x="168" y="61"/>
                  </a:lnTo>
                  <a:lnTo>
                    <a:pt x="168" y="59"/>
                  </a:lnTo>
                  <a:lnTo>
                    <a:pt x="168" y="58"/>
                  </a:lnTo>
                  <a:lnTo>
                    <a:pt x="169" y="58"/>
                  </a:lnTo>
                  <a:lnTo>
                    <a:pt x="170" y="58"/>
                  </a:lnTo>
                  <a:lnTo>
                    <a:pt x="170" y="59"/>
                  </a:lnTo>
                  <a:lnTo>
                    <a:pt x="169" y="59"/>
                  </a:lnTo>
                  <a:lnTo>
                    <a:pt x="169" y="58"/>
                  </a:lnTo>
                  <a:lnTo>
                    <a:pt x="169" y="59"/>
                  </a:lnTo>
                  <a:lnTo>
                    <a:pt x="170" y="59"/>
                  </a:lnTo>
                  <a:lnTo>
                    <a:pt x="169" y="59"/>
                  </a:lnTo>
                  <a:lnTo>
                    <a:pt x="169" y="61"/>
                  </a:lnTo>
                  <a:lnTo>
                    <a:pt x="169" y="59"/>
                  </a:lnTo>
                  <a:lnTo>
                    <a:pt x="168" y="59"/>
                  </a:lnTo>
                  <a:lnTo>
                    <a:pt x="169" y="61"/>
                  </a:lnTo>
                  <a:lnTo>
                    <a:pt x="170" y="61"/>
                  </a:lnTo>
                  <a:lnTo>
                    <a:pt x="171" y="61"/>
                  </a:lnTo>
                  <a:lnTo>
                    <a:pt x="171" y="62"/>
                  </a:lnTo>
                  <a:lnTo>
                    <a:pt x="173" y="62"/>
                  </a:lnTo>
                  <a:lnTo>
                    <a:pt x="173" y="61"/>
                  </a:lnTo>
                  <a:lnTo>
                    <a:pt x="173" y="59"/>
                  </a:lnTo>
                  <a:lnTo>
                    <a:pt x="173" y="61"/>
                  </a:lnTo>
                  <a:lnTo>
                    <a:pt x="171" y="61"/>
                  </a:lnTo>
                  <a:lnTo>
                    <a:pt x="173" y="61"/>
                  </a:lnTo>
                  <a:lnTo>
                    <a:pt x="171" y="61"/>
                  </a:lnTo>
                  <a:lnTo>
                    <a:pt x="171" y="59"/>
                  </a:lnTo>
                  <a:lnTo>
                    <a:pt x="173" y="59"/>
                  </a:lnTo>
                  <a:lnTo>
                    <a:pt x="171" y="59"/>
                  </a:lnTo>
                  <a:lnTo>
                    <a:pt x="173" y="59"/>
                  </a:lnTo>
                  <a:lnTo>
                    <a:pt x="173" y="58"/>
                  </a:lnTo>
                  <a:lnTo>
                    <a:pt x="174" y="58"/>
                  </a:lnTo>
                  <a:lnTo>
                    <a:pt x="174" y="57"/>
                  </a:lnTo>
                  <a:lnTo>
                    <a:pt x="174" y="58"/>
                  </a:lnTo>
                  <a:lnTo>
                    <a:pt x="175" y="58"/>
                  </a:lnTo>
                  <a:lnTo>
                    <a:pt x="175" y="57"/>
                  </a:lnTo>
                  <a:lnTo>
                    <a:pt x="176" y="57"/>
                  </a:lnTo>
                  <a:lnTo>
                    <a:pt x="177" y="58"/>
                  </a:lnTo>
                  <a:lnTo>
                    <a:pt x="177" y="57"/>
                  </a:lnTo>
                  <a:lnTo>
                    <a:pt x="177" y="58"/>
                  </a:lnTo>
                  <a:lnTo>
                    <a:pt x="177" y="59"/>
                  </a:lnTo>
                  <a:lnTo>
                    <a:pt x="179" y="59"/>
                  </a:lnTo>
                  <a:lnTo>
                    <a:pt x="179" y="61"/>
                  </a:lnTo>
                  <a:lnTo>
                    <a:pt x="180" y="59"/>
                  </a:lnTo>
                  <a:lnTo>
                    <a:pt x="180" y="61"/>
                  </a:lnTo>
                  <a:lnTo>
                    <a:pt x="181" y="59"/>
                  </a:lnTo>
                  <a:lnTo>
                    <a:pt x="180" y="59"/>
                  </a:lnTo>
                  <a:lnTo>
                    <a:pt x="180" y="58"/>
                  </a:lnTo>
                  <a:lnTo>
                    <a:pt x="180" y="59"/>
                  </a:lnTo>
                  <a:lnTo>
                    <a:pt x="180" y="58"/>
                  </a:lnTo>
                  <a:lnTo>
                    <a:pt x="180" y="57"/>
                  </a:lnTo>
                  <a:lnTo>
                    <a:pt x="179" y="57"/>
                  </a:lnTo>
                  <a:lnTo>
                    <a:pt x="179" y="56"/>
                  </a:lnTo>
                  <a:lnTo>
                    <a:pt x="180" y="56"/>
                  </a:lnTo>
                  <a:lnTo>
                    <a:pt x="179" y="56"/>
                  </a:lnTo>
                  <a:lnTo>
                    <a:pt x="179" y="55"/>
                  </a:lnTo>
                  <a:lnTo>
                    <a:pt x="180" y="55"/>
                  </a:lnTo>
                  <a:lnTo>
                    <a:pt x="181" y="55"/>
                  </a:lnTo>
                  <a:lnTo>
                    <a:pt x="181" y="56"/>
                  </a:lnTo>
                  <a:lnTo>
                    <a:pt x="181" y="55"/>
                  </a:lnTo>
                  <a:lnTo>
                    <a:pt x="182" y="55"/>
                  </a:lnTo>
                  <a:lnTo>
                    <a:pt x="183" y="55"/>
                  </a:lnTo>
                  <a:lnTo>
                    <a:pt x="185" y="55"/>
                  </a:lnTo>
                  <a:lnTo>
                    <a:pt x="185" y="56"/>
                  </a:lnTo>
                  <a:lnTo>
                    <a:pt x="186" y="56"/>
                  </a:lnTo>
                  <a:lnTo>
                    <a:pt x="186" y="55"/>
                  </a:lnTo>
                  <a:lnTo>
                    <a:pt x="185" y="55"/>
                  </a:lnTo>
                  <a:lnTo>
                    <a:pt x="186" y="55"/>
                  </a:lnTo>
                  <a:lnTo>
                    <a:pt x="187" y="55"/>
                  </a:lnTo>
                  <a:lnTo>
                    <a:pt x="188" y="56"/>
                  </a:lnTo>
                  <a:lnTo>
                    <a:pt x="187" y="56"/>
                  </a:lnTo>
                  <a:lnTo>
                    <a:pt x="188" y="56"/>
                  </a:lnTo>
                  <a:lnTo>
                    <a:pt x="188" y="57"/>
                  </a:lnTo>
                  <a:lnTo>
                    <a:pt x="189" y="57"/>
                  </a:lnTo>
                  <a:lnTo>
                    <a:pt x="189" y="56"/>
                  </a:lnTo>
                  <a:lnTo>
                    <a:pt x="188" y="56"/>
                  </a:lnTo>
                  <a:lnTo>
                    <a:pt x="189" y="56"/>
                  </a:lnTo>
                  <a:lnTo>
                    <a:pt x="188" y="55"/>
                  </a:lnTo>
                  <a:lnTo>
                    <a:pt x="188" y="53"/>
                  </a:lnTo>
                  <a:lnTo>
                    <a:pt x="189" y="53"/>
                  </a:lnTo>
                  <a:lnTo>
                    <a:pt x="189" y="55"/>
                  </a:lnTo>
                  <a:lnTo>
                    <a:pt x="189" y="53"/>
                  </a:lnTo>
                  <a:lnTo>
                    <a:pt x="191" y="53"/>
                  </a:lnTo>
                  <a:lnTo>
                    <a:pt x="191" y="52"/>
                  </a:lnTo>
                  <a:lnTo>
                    <a:pt x="192" y="52"/>
                  </a:lnTo>
                  <a:lnTo>
                    <a:pt x="193" y="52"/>
                  </a:lnTo>
                  <a:lnTo>
                    <a:pt x="193" y="51"/>
                  </a:lnTo>
                  <a:lnTo>
                    <a:pt x="194" y="51"/>
                  </a:lnTo>
                  <a:lnTo>
                    <a:pt x="194" y="50"/>
                  </a:lnTo>
                  <a:lnTo>
                    <a:pt x="195" y="50"/>
                  </a:lnTo>
                  <a:lnTo>
                    <a:pt x="197" y="50"/>
                  </a:lnTo>
                  <a:lnTo>
                    <a:pt x="197" y="49"/>
                  </a:lnTo>
                  <a:lnTo>
                    <a:pt x="198" y="49"/>
                  </a:lnTo>
                  <a:lnTo>
                    <a:pt x="198" y="47"/>
                  </a:lnTo>
                  <a:lnTo>
                    <a:pt x="198" y="46"/>
                  </a:lnTo>
                  <a:lnTo>
                    <a:pt x="197" y="46"/>
                  </a:lnTo>
                  <a:lnTo>
                    <a:pt x="198" y="46"/>
                  </a:lnTo>
                  <a:lnTo>
                    <a:pt x="198" y="45"/>
                  </a:lnTo>
                  <a:lnTo>
                    <a:pt x="199" y="45"/>
                  </a:lnTo>
                  <a:lnTo>
                    <a:pt x="200" y="45"/>
                  </a:lnTo>
                  <a:lnTo>
                    <a:pt x="200" y="44"/>
                  </a:lnTo>
                  <a:lnTo>
                    <a:pt x="201" y="44"/>
                  </a:lnTo>
                  <a:lnTo>
                    <a:pt x="201" y="43"/>
                  </a:lnTo>
                  <a:lnTo>
                    <a:pt x="200" y="43"/>
                  </a:lnTo>
                  <a:lnTo>
                    <a:pt x="199" y="43"/>
                  </a:lnTo>
                  <a:lnTo>
                    <a:pt x="199" y="41"/>
                  </a:lnTo>
                  <a:lnTo>
                    <a:pt x="198" y="41"/>
                  </a:lnTo>
                  <a:lnTo>
                    <a:pt x="197" y="41"/>
                  </a:lnTo>
                  <a:lnTo>
                    <a:pt x="197" y="43"/>
                  </a:lnTo>
                  <a:lnTo>
                    <a:pt x="197" y="41"/>
                  </a:lnTo>
                  <a:lnTo>
                    <a:pt x="198" y="41"/>
                  </a:lnTo>
                  <a:lnTo>
                    <a:pt x="198" y="40"/>
                  </a:lnTo>
                  <a:lnTo>
                    <a:pt x="199" y="40"/>
                  </a:lnTo>
                  <a:lnTo>
                    <a:pt x="199" y="39"/>
                  </a:lnTo>
                  <a:lnTo>
                    <a:pt x="199" y="38"/>
                  </a:lnTo>
                  <a:lnTo>
                    <a:pt x="200" y="38"/>
                  </a:lnTo>
                  <a:lnTo>
                    <a:pt x="200" y="37"/>
                  </a:lnTo>
                  <a:lnTo>
                    <a:pt x="200" y="35"/>
                  </a:lnTo>
                  <a:lnTo>
                    <a:pt x="199" y="35"/>
                  </a:lnTo>
                  <a:lnTo>
                    <a:pt x="199" y="37"/>
                  </a:lnTo>
                  <a:lnTo>
                    <a:pt x="198" y="37"/>
                  </a:lnTo>
                  <a:lnTo>
                    <a:pt x="197" y="37"/>
                  </a:lnTo>
                  <a:lnTo>
                    <a:pt x="195" y="37"/>
                  </a:lnTo>
                  <a:lnTo>
                    <a:pt x="195" y="35"/>
                  </a:lnTo>
                  <a:lnTo>
                    <a:pt x="197" y="35"/>
                  </a:lnTo>
                  <a:lnTo>
                    <a:pt x="198" y="35"/>
                  </a:lnTo>
                  <a:lnTo>
                    <a:pt x="198" y="34"/>
                  </a:lnTo>
                  <a:lnTo>
                    <a:pt x="198" y="33"/>
                  </a:lnTo>
                  <a:lnTo>
                    <a:pt x="199" y="33"/>
                  </a:lnTo>
                  <a:lnTo>
                    <a:pt x="198" y="33"/>
                  </a:lnTo>
                  <a:lnTo>
                    <a:pt x="199" y="33"/>
                  </a:lnTo>
                  <a:lnTo>
                    <a:pt x="199" y="32"/>
                  </a:lnTo>
                  <a:lnTo>
                    <a:pt x="199" y="31"/>
                  </a:lnTo>
                  <a:lnTo>
                    <a:pt x="198" y="31"/>
                  </a:lnTo>
                  <a:lnTo>
                    <a:pt x="198" y="32"/>
                  </a:lnTo>
                  <a:lnTo>
                    <a:pt x="197" y="32"/>
                  </a:lnTo>
                  <a:lnTo>
                    <a:pt x="197" y="31"/>
                  </a:lnTo>
                  <a:lnTo>
                    <a:pt x="197" y="29"/>
                  </a:lnTo>
                  <a:lnTo>
                    <a:pt x="198" y="29"/>
                  </a:lnTo>
                  <a:lnTo>
                    <a:pt x="197" y="29"/>
                  </a:lnTo>
                  <a:lnTo>
                    <a:pt x="197" y="28"/>
                  </a:lnTo>
                  <a:lnTo>
                    <a:pt x="197" y="27"/>
                  </a:lnTo>
                  <a:lnTo>
                    <a:pt x="197" y="26"/>
                  </a:lnTo>
                  <a:lnTo>
                    <a:pt x="197" y="25"/>
                  </a:lnTo>
                  <a:lnTo>
                    <a:pt x="195" y="25"/>
                  </a:lnTo>
                  <a:lnTo>
                    <a:pt x="195" y="26"/>
                  </a:lnTo>
                  <a:lnTo>
                    <a:pt x="195" y="27"/>
                  </a:lnTo>
                  <a:lnTo>
                    <a:pt x="195" y="28"/>
                  </a:lnTo>
                  <a:lnTo>
                    <a:pt x="194" y="28"/>
                  </a:lnTo>
                  <a:lnTo>
                    <a:pt x="194" y="27"/>
                  </a:lnTo>
                  <a:lnTo>
                    <a:pt x="193" y="26"/>
                  </a:lnTo>
                  <a:lnTo>
                    <a:pt x="194" y="26"/>
                  </a:lnTo>
                  <a:lnTo>
                    <a:pt x="194" y="25"/>
                  </a:lnTo>
                  <a:lnTo>
                    <a:pt x="194" y="23"/>
                  </a:lnTo>
                  <a:lnTo>
                    <a:pt x="193" y="23"/>
                  </a:lnTo>
                  <a:lnTo>
                    <a:pt x="193" y="25"/>
                  </a:lnTo>
                  <a:lnTo>
                    <a:pt x="192" y="25"/>
                  </a:lnTo>
                  <a:lnTo>
                    <a:pt x="192" y="23"/>
                  </a:lnTo>
                  <a:lnTo>
                    <a:pt x="193" y="23"/>
                  </a:lnTo>
                  <a:lnTo>
                    <a:pt x="192" y="23"/>
                  </a:lnTo>
                  <a:lnTo>
                    <a:pt x="193" y="23"/>
                  </a:lnTo>
                  <a:lnTo>
                    <a:pt x="193" y="22"/>
                  </a:lnTo>
                  <a:lnTo>
                    <a:pt x="192" y="22"/>
                  </a:lnTo>
                  <a:lnTo>
                    <a:pt x="192" y="21"/>
                  </a:lnTo>
                  <a:lnTo>
                    <a:pt x="193" y="21"/>
                  </a:lnTo>
                  <a:lnTo>
                    <a:pt x="192" y="21"/>
                  </a:lnTo>
                  <a:lnTo>
                    <a:pt x="193" y="20"/>
                  </a:lnTo>
                  <a:lnTo>
                    <a:pt x="193" y="21"/>
                  </a:lnTo>
                  <a:lnTo>
                    <a:pt x="193" y="20"/>
                  </a:lnTo>
                  <a:lnTo>
                    <a:pt x="194" y="20"/>
                  </a:lnTo>
                  <a:lnTo>
                    <a:pt x="194" y="18"/>
                  </a:lnTo>
                  <a:lnTo>
                    <a:pt x="193" y="17"/>
                  </a:lnTo>
                  <a:lnTo>
                    <a:pt x="193" y="18"/>
                  </a:lnTo>
                  <a:lnTo>
                    <a:pt x="193" y="17"/>
                  </a:lnTo>
                  <a:lnTo>
                    <a:pt x="193" y="16"/>
                  </a:lnTo>
                  <a:lnTo>
                    <a:pt x="192" y="15"/>
                  </a:lnTo>
                  <a:lnTo>
                    <a:pt x="192" y="16"/>
                  </a:lnTo>
                  <a:lnTo>
                    <a:pt x="192" y="17"/>
                  </a:lnTo>
                  <a:lnTo>
                    <a:pt x="191" y="17"/>
                  </a:lnTo>
                  <a:lnTo>
                    <a:pt x="189" y="17"/>
                  </a:lnTo>
                  <a:lnTo>
                    <a:pt x="189" y="18"/>
                  </a:lnTo>
                  <a:lnTo>
                    <a:pt x="189" y="20"/>
                  </a:lnTo>
                  <a:lnTo>
                    <a:pt x="188" y="20"/>
                  </a:lnTo>
                  <a:lnTo>
                    <a:pt x="187" y="20"/>
                  </a:lnTo>
                  <a:lnTo>
                    <a:pt x="187" y="18"/>
                  </a:lnTo>
                  <a:lnTo>
                    <a:pt x="188" y="18"/>
                  </a:lnTo>
                  <a:lnTo>
                    <a:pt x="187" y="18"/>
                  </a:lnTo>
                  <a:lnTo>
                    <a:pt x="188" y="17"/>
                  </a:lnTo>
                  <a:lnTo>
                    <a:pt x="188" y="16"/>
                  </a:lnTo>
                  <a:lnTo>
                    <a:pt x="188" y="15"/>
                  </a:lnTo>
                  <a:lnTo>
                    <a:pt x="188" y="14"/>
                  </a:lnTo>
                  <a:lnTo>
                    <a:pt x="189" y="12"/>
                  </a:lnTo>
                  <a:lnTo>
                    <a:pt x="189" y="11"/>
                  </a:lnTo>
                  <a:lnTo>
                    <a:pt x="189" y="10"/>
                  </a:lnTo>
                  <a:lnTo>
                    <a:pt x="188" y="10"/>
                  </a:lnTo>
                  <a:lnTo>
                    <a:pt x="188" y="9"/>
                  </a:lnTo>
                  <a:lnTo>
                    <a:pt x="188" y="8"/>
                  </a:lnTo>
                  <a:lnTo>
                    <a:pt x="187" y="8"/>
                  </a:lnTo>
                  <a:lnTo>
                    <a:pt x="187" y="9"/>
                  </a:lnTo>
                  <a:lnTo>
                    <a:pt x="187" y="10"/>
                  </a:lnTo>
                  <a:lnTo>
                    <a:pt x="186" y="10"/>
                  </a:lnTo>
                  <a:lnTo>
                    <a:pt x="186" y="11"/>
                  </a:lnTo>
                  <a:lnTo>
                    <a:pt x="186" y="10"/>
                  </a:lnTo>
                  <a:lnTo>
                    <a:pt x="185" y="10"/>
                  </a:lnTo>
                  <a:lnTo>
                    <a:pt x="183" y="10"/>
                  </a:lnTo>
                  <a:lnTo>
                    <a:pt x="183" y="11"/>
                  </a:lnTo>
                  <a:lnTo>
                    <a:pt x="183" y="10"/>
                  </a:lnTo>
                  <a:lnTo>
                    <a:pt x="183" y="9"/>
                  </a:lnTo>
                  <a:lnTo>
                    <a:pt x="182" y="9"/>
                  </a:lnTo>
                  <a:lnTo>
                    <a:pt x="181" y="9"/>
                  </a:lnTo>
                  <a:lnTo>
                    <a:pt x="181" y="10"/>
                  </a:lnTo>
                  <a:lnTo>
                    <a:pt x="181" y="11"/>
                  </a:lnTo>
                  <a:lnTo>
                    <a:pt x="182" y="11"/>
                  </a:lnTo>
                  <a:lnTo>
                    <a:pt x="182" y="12"/>
                  </a:lnTo>
                  <a:lnTo>
                    <a:pt x="181" y="12"/>
                  </a:lnTo>
                  <a:lnTo>
                    <a:pt x="181" y="14"/>
                  </a:lnTo>
                  <a:lnTo>
                    <a:pt x="182" y="14"/>
                  </a:lnTo>
                  <a:lnTo>
                    <a:pt x="182" y="15"/>
                  </a:lnTo>
                  <a:lnTo>
                    <a:pt x="182" y="16"/>
                  </a:lnTo>
                  <a:lnTo>
                    <a:pt x="182" y="17"/>
                  </a:lnTo>
                  <a:lnTo>
                    <a:pt x="181" y="17"/>
                  </a:lnTo>
                  <a:lnTo>
                    <a:pt x="181" y="18"/>
                  </a:lnTo>
                  <a:lnTo>
                    <a:pt x="180" y="18"/>
                  </a:lnTo>
                  <a:lnTo>
                    <a:pt x="180" y="17"/>
                  </a:lnTo>
                  <a:lnTo>
                    <a:pt x="179" y="17"/>
                  </a:lnTo>
                  <a:lnTo>
                    <a:pt x="179" y="16"/>
                  </a:lnTo>
                  <a:lnTo>
                    <a:pt x="179" y="15"/>
                  </a:lnTo>
                  <a:lnTo>
                    <a:pt x="177" y="15"/>
                  </a:lnTo>
                  <a:lnTo>
                    <a:pt x="177" y="14"/>
                  </a:lnTo>
                  <a:lnTo>
                    <a:pt x="177" y="12"/>
                  </a:lnTo>
                  <a:lnTo>
                    <a:pt x="177" y="11"/>
                  </a:lnTo>
                  <a:lnTo>
                    <a:pt x="176" y="11"/>
                  </a:lnTo>
                  <a:lnTo>
                    <a:pt x="176" y="12"/>
                  </a:lnTo>
                  <a:lnTo>
                    <a:pt x="176" y="14"/>
                  </a:lnTo>
                  <a:lnTo>
                    <a:pt x="175" y="14"/>
                  </a:lnTo>
                  <a:lnTo>
                    <a:pt x="174" y="14"/>
                  </a:lnTo>
                  <a:lnTo>
                    <a:pt x="174" y="15"/>
                  </a:lnTo>
                  <a:lnTo>
                    <a:pt x="174" y="16"/>
                  </a:lnTo>
                  <a:lnTo>
                    <a:pt x="174" y="15"/>
                  </a:lnTo>
                  <a:lnTo>
                    <a:pt x="173" y="15"/>
                  </a:lnTo>
                  <a:lnTo>
                    <a:pt x="173" y="16"/>
                  </a:lnTo>
                  <a:lnTo>
                    <a:pt x="171" y="16"/>
                  </a:lnTo>
                  <a:lnTo>
                    <a:pt x="171" y="15"/>
                  </a:lnTo>
                  <a:lnTo>
                    <a:pt x="173" y="15"/>
                  </a:lnTo>
                  <a:lnTo>
                    <a:pt x="171" y="14"/>
                  </a:lnTo>
                  <a:lnTo>
                    <a:pt x="171" y="12"/>
                  </a:lnTo>
                  <a:lnTo>
                    <a:pt x="170" y="12"/>
                  </a:lnTo>
                  <a:lnTo>
                    <a:pt x="171" y="12"/>
                  </a:lnTo>
                  <a:lnTo>
                    <a:pt x="171" y="11"/>
                  </a:lnTo>
                  <a:lnTo>
                    <a:pt x="170" y="11"/>
                  </a:lnTo>
                  <a:lnTo>
                    <a:pt x="171" y="10"/>
                  </a:lnTo>
                  <a:lnTo>
                    <a:pt x="173" y="10"/>
                  </a:lnTo>
                  <a:lnTo>
                    <a:pt x="173" y="9"/>
                  </a:lnTo>
                  <a:lnTo>
                    <a:pt x="173" y="8"/>
                  </a:lnTo>
                  <a:lnTo>
                    <a:pt x="174" y="6"/>
                  </a:lnTo>
                  <a:lnTo>
                    <a:pt x="173" y="5"/>
                  </a:lnTo>
                  <a:lnTo>
                    <a:pt x="173" y="6"/>
                  </a:lnTo>
                  <a:lnTo>
                    <a:pt x="171" y="5"/>
                  </a:lnTo>
                  <a:lnTo>
                    <a:pt x="171" y="4"/>
                  </a:lnTo>
                  <a:lnTo>
                    <a:pt x="170" y="4"/>
                  </a:lnTo>
                  <a:lnTo>
                    <a:pt x="170" y="5"/>
                  </a:lnTo>
                  <a:lnTo>
                    <a:pt x="169" y="5"/>
                  </a:lnTo>
                  <a:lnTo>
                    <a:pt x="169" y="6"/>
                  </a:lnTo>
                  <a:lnTo>
                    <a:pt x="169" y="8"/>
                  </a:lnTo>
                  <a:lnTo>
                    <a:pt x="170" y="8"/>
                  </a:lnTo>
                  <a:lnTo>
                    <a:pt x="170" y="9"/>
                  </a:lnTo>
                  <a:lnTo>
                    <a:pt x="169" y="9"/>
                  </a:lnTo>
                  <a:lnTo>
                    <a:pt x="169" y="10"/>
                  </a:lnTo>
                  <a:lnTo>
                    <a:pt x="169" y="9"/>
                  </a:lnTo>
                  <a:lnTo>
                    <a:pt x="168" y="9"/>
                  </a:lnTo>
                  <a:lnTo>
                    <a:pt x="167" y="9"/>
                  </a:lnTo>
                  <a:lnTo>
                    <a:pt x="167" y="10"/>
                  </a:lnTo>
                  <a:lnTo>
                    <a:pt x="165" y="11"/>
                  </a:lnTo>
                  <a:lnTo>
                    <a:pt x="165" y="10"/>
                  </a:lnTo>
                  <a:lnTo>
                    <a:pt x="165" y="9"/>
                  </a:lnTo>
                  <a:lnTo>
                    <a:pt x="164" y="9"/>
                  </a:lnTo>
                  <a:lnTo>
                    <a:pt x="165" y="8"/>
                  </a:lnTo>
                  <a:lnTo>
                    <a:pt x="165" y="6"/>
                  </a:lnTo>
                  <a:lnTo>
                    <a:pt x="164" y="6"/>
                  </a:lnTo>
                  <a:lnTo>
                    <a:pt x="163" y="6"/>
                  </a:lnTo>
                  <a:lnTo>
                    <a:pt x="163" y="5"/>
                  </a:lnTo>
                  <a:lnTo>
                    <a:pt x="162" y="5"/>
                  </a:lnTo>
                  <a:lnTo>
                    <a:pt x="162" y="4"/>
                  </a:lnTo>
                  <a:lnTo>
                    <a:pt x="162" y="3"/>
                  </a:lnTo>
                  <a:lnTo>
                    <a:pt x="161" y="3"/>
                  </a:lnTo>
                  <a:lnTo>
                    <a:pt x="161" y="4"/>
                  </a:lnTo>
                  <a:lnTo>
                    <a:pt x="159" y="5"/>
                  </a:lnTo>
                  <a:lnTo>
                    <a:pt x="159" y="4"/>
                  </a:lnTo>
                  <a:lnTo>
                    <a:pt x="159" y="3"/>
                  </a:lnTo>
                  <a:lnTo>
                    <a:pt x="159" y="2"/>
                  </a:lnTo>
                  <a:lnTo>
                    <a:pt x="158" y="2"/>
                  </a:lnTo>
                  <a:lnTo>
                    <a:pt x="158" y="0"/>
                  </a:lnTo>
                  <a:lnTo>
                    <a:pt x="157" y="0"/>
                  </a:lnTo>
                  <a:lnTo>
                    <a:pt x="157" y="2"/>
                  </a:lnTo>
                  <a:lnTo>
                    <a:pt x="157" y="3"/>
                  </a:lnTo>
                  <a:lnTo>
                    <a:pt x="157" y="4"/>
                  </a:lnTo>
                  <a:lnTo>
                    <a:pt x="156" y="4"/>
                  </a:lnTo>
                  <a:lnTo>
                    <a:pt x="157" y="5"/>
                  </a:lnTo>
                  <a:lnTo>
                    <a:pt x="157" y="6"/>
                  </a:lnTo>
                  <a:lnTo>
                    <a:pt x="156" y="6"/>
                  </a:lnTo>
                  <a:lnTo>
                    <a:pt x="156" y="8"/>
                  </a:lnTo>
                  <a:lnTo>
                    <a:pt x="156" y="9"/>
                  </a:lnTo>
                  <a:lnTo>
                    <a:pt x="157" y="9"/>
                  </a:lnTo>
                  <a:lnTo>
                    <a:pt x="157" y="10"/>
                  </a:lnTo>
                  <a:lnTo>
                    <a:pt x="157" y="11"/>
                  </a:lnTo>
                  <a:lnTo>
                    <a:pt x="157" y="12"/>
                  </a:lnTo>
                  <a:lnTo>
                    <a:pt x="157" y="14"/>
                  </a:lnTo>
                  <a:lnTo>
                    <a:pt x="157" y="15"/>
                  </a:lnTo>
                  <a:lnTo>
                    <a:pt x="157" y="16"/>
                  </a:lnTo>
                  <a:lnTo>
                    <a:pt x="157" y="15"/>
                  </a:lnTo>
                  <a:lnTo>
                    <a:pt x="156" y="15"/>
                  </a:lnTo>
                  <a:lnTo>
                    <a:pt x="155" y="15"/>
                  </a:lnTo>
                  <a:lnTo>
                    <a:pt x="153" y="15"/>
                  </a:lnTo>
                  <a:lnTo>
                    <a:pt x="153" y="14"/>
                  </a:lnTo>
                  <a:lnTo>
                    <a:pt x="152" y="14"/>
                  </a:lnTo>
                  <a:lnTo>
                    <a:pt x="152" y="15"/>
                  </a:lnTo>
                  <a:lnTo>
                    <a:pt x="153" y="16"/>
                  </a:lnTo>
                  <a:lnTo>
                    <a:pt x="153" y="17"/>
                  </a:lnTo>
                  <a:lnTo>
                    <a:pt x="153" y="18"/>
                  </a:lnTo>
                  <a:lnTo>
                    <a:pt x="153" y="20"/>
                  </a:lnTo>
                  <a:lnTo>
                    <a:pt x="152" y="20"/>
                  </a:lnTo>
                  <a:lnTo>
                    <a:pt x="152" y="18"/>
                  </a:lnTo>
                  <a:lnTo>
                    <a:pt x="152" y="17"/>
                  </a:lnTo>
                  <a:lnTo>
                    <a:pt x="152" y="16"/>
                  </a:lnTo>
                  <a:lnTo>
                    <a:pt x="151" y="16"/>
                  </a:lnTo>
                  <a:lnTo>
                    <a:pt x="150" y="17"/>
                  </a:lnTo>
                  <a:lnTo>
                    <a:pt x="149" y="17"/>
                  </a:lnTo>
                  <a:lnTo>
                    <a:pt x="150" y="18"/>
                  </a:lnTo>
                  <a:lnTo>
                    <a:pt x="149" y="18"/>
                  </a:lnTo>
                  <a:lnTo>
                    <a:pt x="149" y="17"/>
                  </a:lnTo>
                  <a:lnTo>
                    <a:pt x="147" y="17"/>
                  </a:lnTo>
                  <a:lnTo>
                    <a:pt x="147" y="16"/>
                  </a:lnTo>
                  <a:lnTo>
                    <a:pt x="149" y="16"/>
                  </a:lnTo>
                  <a:lnTo>
                    <a:pt x="149" y="15"/>
                  </a:lnTo>
                  <a:lnTo>
                    <a:pt x="149" y="14"/>
                  </a:lnTo>
                  <a:lnTo>
                    <a:pt x="147" y="14"/>
                  </a:lnTo>
                  <a:lnTo>
                    <a:pt x="147" y="15"/>
                  </a:lnTo>
                  <a:lnTo>
                    <a:pt x="146" y="15"/>
                  </a:lnTo>
                  <a:lnTo>
                    <a:pt x="145" y="15"/>
                  </a:lnTo>
                  <a:lnTo>
                    <a:pt x="146" y="15"/>
                  </a:lnTo>
                  <a:lnTo>
                    <a:pt x="145" y="15"/>
                  </a:lnTo>
                  <a:lnTo>
                    <a:pt x="145" y="14"/>
                  </a:lnTo>
                  <a:lnTo>
                    <a:pt x="145" y="12"/>
                  </a:lnTo>
                  <a:lnTo>
                    <a:pt x="144" y="12"/>
                  </a:lnTo>
                  <a:lnTo>
                    <a:pt x="144" y="11"/>
                  </a:lnTo>
                  <a:lnTo>
                    <a:pt x="142" y="11"/>
                  </a:lnTo>
                  <a:lnTo>
                    <a:pt x="144" y="11"/>
                  </a:lnTo>
                  <a:lnTo>
                    <a:pt x="144" y="10"/>
                  </a:lnTo>
                  <a:lnTo>
                    <a:pt x="145" y="10"/>
                  </a:lnTo>
                  <a:lnTo>
                    <a:pt x="145" y="9"/>
                  </a:lnTo>
                  <a:lnTo>
                    <a:pt x="144" y="9"/>
                  </a:lnTo>
                  <a:lnTo>
                    <a:pt x="142" y="9"/>
                  </a:lnTo>
                  <a:lnTo>
                    <a:pt x="142" y="8"/>
                  </a:lnTo>
                  <a:lnTo>
                    <a:pt x="142" y="6"/>
                  </a:lnTo>
                  <a:lnTo>
                    <a:pt x="142" y="5"/>
                  </a:lnTo>
                  <a:lnTo>
                    <a:pt x="141" y="5"/>
                  </a:lnTo>
                  <a:lnTo>
                    <a:pt x="141" y="4"/>
                  </a:lnTo>
                  <a:lnTo>
                    <a:pt x="140" y="3"/>
                  </a:lnTo>
                  <a:lnTo>
                    <a:pt x="140" y="4"/>
                  </a:lnTo>
                  <a:lnTo>
                    <a:pt x="139" y="4"/>
                  </a:lnTo>
                  <a:lnTo>
                    <a:pt x="139" y="5"/>
                  </a:lnTo>
                  <a:lnTo>
                    <a:pt x="139" y="6"/>
                  </a:lnTo>
                  <a:lnTo>
                    <a:pt x="139" y="8"/>
                  </a:lnTo>
                  <a:lnTo>
                    <a:pt x="139" y="9"/>
                  </a:lnTo>
                  <a:lnTo>
                    <a:pt x="138" y="9"/>
                  </a:lnTo>
                  <a:lnTo>
                    <a:pt x="138" y="8"/>
                  </a:lnTo>
                  <a:lnTo>
                    <a:pt x="138" y="9"/>
                  </a:lnTo>
                  <a:lnTo>
                    <a:pt x="138" y="10"/>
                  </a:lnTo>
                  <a:lnTo>
                    <a:pt x="139" y="10"/>
                  </a:lnTo>
                  <a:lnTo>
                    <a:pt x="140" y="11"/>
                  </a:lnTo>
                  <a:lnTo>
                    <a:pt x="140" y="12"/>
                  </a:lnTo>
                  <a:lnTo>
                    <a:pt x="141" y="12"/>
                  </a:lnTo>
                  <a:lnTo>
                    <a:pt x="141" y="14"/>
                  </a:lnTo>
                  <a:lnTo>
                    <a:pt x="141" y="15"/>
                  </a:lnTo>
                  <a:lnTo>
                    <a:pt x="141" y="16"/>
                  </a:lnTo>
                  <a:lnTo>
                    <a:pt x="140" y="16"/>
                  </a:lnTo>
                  <a:lnTo>
                    <a:pt x="140" y="15"/>
                  </a:lnTo>
                  <a:lnTo>
                    <a:pt x="139" y="15"/>
                  </a:lnTo>
                  <a:lnTo>
                    <a:pt x="138" y="16"/>
                  </a:lnTo>
                  <a:lnTo>
                    <a:pt x="138" y="15"/>
                  </a:lnTo>
                  <a:lnTo>
                    <a:pt x="136" y="15"/>
                  </a:lnTo>
                  <a:lnTo>
                    <a:pt x="136" y="14"/>
                  </a:lnTo>
                  <a:lnTo>
                    <a:pt x="136" y="12"/>
                  </a:lnTo>
                  <a:lnTo>
                    <a:pt x="136" y="11"/>
                  </a:lnTo>
                  <a:lnTo>
                    <a:pt x="136" y="10"/>
                  </a:lnTo>
                  <a:lnTo>
                    <a:pt x="135" y="10"/>
                  </a:lnTo>
                  <a:lnTo>
                    <a:pt x="135" y="9"/>
                  </a:lnTo>
                  <a:lnTo>
                    <a:pt x="135" y="8"/>
                  </a:lnTo>
                  <a:lnTo>
                    <a:pt x="134" y="8"/>
                  </a:lnTo>
                  <a:lnTo>
                    <a:pt x="134" y="9"/>
                  </a:lnTo>
                  <a:lnTo>
                    <a:pt x="134" y="10"/>
                  </a:lnTo>
                  <a:lnTo>
                    <a:pt x="133" y="10"/>
                  </a:lnTo>
                  <a:lnTo>
                    <a:pt x="133" y="9"/>
                  </a:lnTo>
                  <a:lnTo>
                    <a:pt x="133" y="8"/>
                  </a:lnTo>
                  <a:lnTo>
                    <a:pt x="132" y="6"/>
                  </a:lnTo>
                  <a:lnTo>
                    <a:pt x="132" y="8"/>
                  </a:lnTo>
                  <a:lnTo>
                    <a:pt x="132" y="6"/>
                  </a:lnTo>
                  <a:lnTo>
                    <a:pt x="130" y="6"/>
                  </a:lnTo>
                  <a:lnTo>
                    <a:pt x="130" y="5"/>
                  </a:lnTo>
                  <a:lnTo>
                    <a:pt x="129" y="5"/>
                  </a:lnTo>
                  <a:lnTo>
                    <a:pt x="129" y="6"/>
                  </a:lnTo>
                  <a:lnTo>
                    <a:pt x="129" y="8"/>
                  </a:lnTo>
                  <a:lnTo>
                    <a:pt x="129" y="9"/>
                  </a:lnTo>
                  <a:lnTo>
                    <a:pt x="129" y="10"/>
                  </a:lnTo>
                  <a:lnTo>
                    <a:pt x="130" y="11"/>
                  </a:lnTo>
                  <a:lnTo>
                    <a:pt x="130" y="12"/>
                  </a:lnTo>
                  <a:lnTo>
                    <a:pt x="132" y="12"/>
                  </a:lnTo>
                  <a:lnTo>
                    <a:pt x="133" y="12"/>
                  </a:lnTo>
                  <a:lnTo>
                    <a:pt x="132" y="14"/>
                  </a:lnTo>
                  <a:lnTo>
                    <a:pt x="130" y="14"/>
                  </a:lnTo>
                  <a:lnTo>
                    <a:pt x="129" y="14"/>
                  </a:lnTo>
                  <a:lnTo>
                    <a:pt x="129" y="15"/>
                  </a:lnTo>
                  <a:lnTo>
                    <a:pt x="129" y="16"/>
                  </a:lnTo>
                  <a:lnTo>
                    <a:pt x="128" y="16"/>
                  </a:lnTo>
                  <a:lnTo>
                    <a:pt x="128" y="15"/>
                  </a:lnTo>
                  <a:lnTo>
                    <a:pt x="128" y="14"/>
                  </a:lnTo>
                  <a:lnTo>
                    <a:pt x="127" y="12"/>
                  </a:lnTo>
                  <a:lnTo>
                    <a:pt x="127" y="14"/>
                  </a:lnTo>
                  <a:lnTo>
                    <a:pt x="126" y="14"/>
                  </a:lnTo>
                  <a:lnTo>
                    <a:pt x="126" y="12"/>
                  </a:lnTo>
                  <a:lnTo>
                    <a:pt x="124" y="12"/>
                  </a:lnTo>
                  <a:lnTo>
                    <a:pt x="124" y="11"/>
                  </a:lnTo>
                  <a:lnTo>
                    <a:pt x="123" y="12"/>
                  </a:lnTo>
                  <a:lnTo>
                    <a:pt x="123" y="14"/>
                  </a:lnTo>
                  <a:lnTo>
                    <a:pt x="124" y="15"/>
                  </a:lnTo>
                  <a:lnTo>
                    <a:pt x="124" y="16"/>
                  </a:lnTo>
                  <a:lnTo>
                    <a:pt x="124" y="17"/>
                  </a:lnTo>
                  <a:lnTo>
                    <a:pt x="126" y="17"/>
                  </a:lnTo>
                  <a:lnTo>
                    <a:pt x="126" y="21"/>
                  </a:lnTo>
                  <a:lnTo>
                    <a:pt x="126" y="22"/>
                  </a:lnTo>
                  <a:lnTo>
                    <a:pt x="124" y="22"/>
                  </a:lnTo>
                  <a:lnTo>
                    <a:pt x="124" y="23"/>
                  </a:lnTo>
                  <a:lnTo>
                    <a:pt x="126" y="23"/>
                  </a:lnTo>
                  <a:lnTo>
                    <a:pt x="126" y="25"/>
                  </a:lnTo>
                  <a:lnTo>
                    <a:pt x="126" y="26"/>
                  </a:lnTo>
                  <a:lnTo>
                    <a:pt x="126" y="25"/>
                  </a:lnTo>
                  <a:lnTo>
                    <a:pt x="126" y="26"/>
                  </a:lnTo>
                  <a:lnTo>
                    <a:pt x="126" y="27"/>
                  </a:lnTo>
                  <a:lnTo>
                    <a:pt x="124" y="27"/>
                  </a:lnTo>
                  <a:lnTo>
                    <a:pt x="123" y="27"/>
                  </a:lnTo>
                  <a:lnTo>
                    <a:pt x="123" y="26"/>
                  </a:lnTo>
                  <a:lnTo>
                    <a:pt x="123" y="25"/>
                  </a:lnTo>
                  <a:lnTo>
                    <a:pt x="122" y="25"/>
                  </a:lnTo>
                  <a:lnTo>
                    <a:pt x="122" y="23"/>
                  </a:lnTo>
                  <a:lnTo>
                    <a:pt x="122" y="22"/>
                  </a:lnTo>
                  <a:lnTo>
                    <a:pt x="122" y="21"/>
                  </a:lnTo>
                  <a:lnTo>
                    <a:pt x="122" y="20"/>
                  </a:lnTo>
                  <a:lnTo>
                    <a:pt x="122" y="18"/>
                  </a:lnTo>
                  <a:lnTo>
                    <a:pt x="122" y="20"/>
                  </a:lnTo>
                  <a:lnTo>
                    <a:pt x="121" y="18"/>
                  </a:lnTo>
                  <a:lnTo>
                    <a:pt x="121" y="17"/>
                  </a:lnTo>
                  <a:lnTo>
                    <a:pt x="120" y="17"/>
                  </a:lnTo>
                  <a:lnTo>
                    <a:pt x="118" y="17"/>
                  </a:lnTo>
                  <a:lnTo>
                    <a:pt x="118" y="18"/>
                  </a:lnTo>
                  <a:lnTo>
                    <a:pt x="120" y="20"/>
                  </a:lnTo>
                  <a:lnTo>
                    <a:pt x="120" y="21"/>
                  </a:lnTo>
                  <a:lnTo>
                    <a:pt x="118" y="21"/>
                  </a:lnTo>
                  <a:lnTo>
                    <a:pt x="118" y="22"/>
                  </a:lnTo>
                  <a:lnTo>
                    <a:pt x="118" y="23"/>
                  </a:lnTo>
                  <a:lnTo>
                    <a:pt x="120" y="23"/>
                  </a:lnTo>
                  <a:lnTo>
                    <a:pt x="120" y="25"/>
                  </a:lnTo>
                  <a:lnTo>
                    <a:pt x="121" y="25"/>
                  </a:lnTo>
                  <a:lnTo>
                    <a:pt x="121" y="26"/>
                  </a:lnTo>
                  <a:lnTo>
                    <a:pt x="120" y="26"/>
                  </a:lnTo>
                  <a:lnTo>
                    <a:pt x="120" y="27"/>
                  </a:lnTo>
                  <a:lnTo>
                    <a:pt x="120" y="26"/>
                  </a:lnTo>
                  <a:lnTo>
                    <a:pt x="118" y="26"/>
                  </a:lnTo>
                  <a:lnTo>
                    <a:pt x="118" y="27"/>
                  </a:lnTo>
                  <a:lnTo>
                    <a:pt x="118" y="26"/>
                  </a:lnTo>
                  <a:lnTo>
                    <a:pt x="118" y="25"/>
                  </a:lnTo>
                  <a:lnTo>
                    <a:pt x="118" y="23"/>
                  </a:lnTo>
                  <a:lnTo>
                    <a:pt x="117" y="23"/>
                  </a:lnTo>
                  <a:lnTo>
                    <a:pt x="117" y="22"/>
                  </a:lnTo>
                  <a:lnTo>
                    <a:pt x="117" y="23"/>
                  </a:lnTo>
                  <a:lnTo>
                    <a:pt x="116" y="23"/>
                  </a:lnTo>
                  <a:lnTo>
                    <a:pt x="115" y="23"/>
                  </a:lnTo>
                  <a:lnTo>
                    <a:pt x="115" y="22"/>
                  </a:lnTo>
                  <a:lnTo>
                    <a:pt x="116" y="22"/>
                  </a:lnTo>
                  <a:lnTo>
                    <a:pt x="116" y="21"/>
                  </a:lnTo>
                  <a:lnTo>
                    <a:pt x="117" y="21"/>
                  </a:lnTo>
                  <a:lnTo>
                    <a:pt x="117" y="20"/>
                  </a:lnTo>
                  <a:lnTo>
                    <a:pt x="116" y="20"/>
                  </a:lnTo>
                  <a:lnTo>
                    <a:pt x="116" y="18"/>
                  </a:lnTo>
                  <a:lnTo>
                    <a:pt x="116" y="17"/>
                  </a:lnTo>
                  <a:lnTo>
                    <a:pt x="115" y="17"/>
                  </a:lnTo>
                  <a:lnTo>
                    <a:pt x="115" y="18"/>
                  </a:lnTo>
                  <a:lnTo>
                    <a:pt x="114" y="18"/>
                  </a:lnTo>
                  <a:lnTo>
                    <a:pt x="114" y="17"/>
                  </a:lnTo>
                  <a:lnTo>
                    <a:pt x="114" y="16"/>
                  </a:lnTo>
                  <a:lnTo>
                    <a:pt x="114" y="15"/>
                  </a:lnTo>
                  <a:lnTo>
                    <a:pt x="112" y="15"/>
                  </a:lnTo>
                  <a:lnTo>
                    <a:pt x="112" y="14"/>
                  </a:lnTo>
                  <a:lnTo>
                    <a:pt x="111" y="14"/>
                  </a:lnTo>
                  <a:lnTo>
                    <a:pt x="111" y="12"/>
                  </a:lnTo>
                  <a:lnTo>
                    <a:pt x="111" y="14"/>
                  </a:lnTo>
                  <a:lnTo>
                    <a:pt x="110" y="14"/>
                  </a:lnTo>
                  <a:lnTo>
                    <a:pt x="110" y="15"/>
                  </a:lnTo>
                  <a:lnTo>
                    <a:pt x="110" y="16"/>
                  </a:lnTo>
                  <a:lnTo>
                    <a:pt x="109" y="17"/>
                  </a:lnTo>
                  <a:lnTo>
                    <a:pt x="109" y="18"/>
                  </a:lnTo>
                  <a:lnTo>
                    <a:pt x="110" y="18"/>
                  </a:lnTo>
                  <a:lnTo>
                    <a:pt x="110" y="20"/>
                  </a:lnTo>
                  <a:lnTo>
                    <a:pt x="109" y="20"/>
                  </a:lnTo>
                  <a:lnTo>
                    <a:pt x="109" y="21"/>
                  </a:lnTo>
                  <a:lnTo>
                    <a:pt x="109" y="22"/>
                  </a:lnTo>
                  <a:lnTo>
                    <a:pt x="109" y="23"/>
                  </a:lnTo>
                  <a:lnTo>
                    <a:pt x="110" y="23"/>
                  </a:lnTo>
                  <a:lnTo>
                    <a:pt x="110" y="25"/>
                  </a:lnTo>
                  <a:lnTo>
                    <a:pt x="110" y="23"/>
                  </a:lnTo>
                  <a:lnTo>
                    <a:pt x="110" y="25"/>
                  </a:lnTo>
                  <a:lnTo>
                    <a:pt x="110" y="26"/>
                  </a:lnTo>
                  <a:lnTo>
                    <a:pt x="109" y="25"/>
                  </a:lnTo>
                  <a:lnTo>
                    <a:pt x="109" y="23"/>
                  </a:lnTo>
                  <a:lnTo>
                    <a:pt x="108" y="23"/>
                  </a:lnTo>
                  <a:lnTo>
                    <a:pt x="108" y="22"/>
                  </a:lnTo>
                  <a:lnTo>
                    <a:pt x="106" y="22"/>
                  </a:lnTo>
                  <a:lnTo>
                    <a:pt x="106" y="21"/>
                  </a:lnTo>
                  <a:lnTo>
                    <a:pt x="106" y="20"/>
                  </a:lnTo>
                  <a:lnTo>
                    <a:pt x="106" y="18"/>
                  </a:lnTo>
                  <a:lnTo>
                    <a:pt x="106" y="17"/>
                  </a:lnTo>
                  <a:lnTo>
                    <a:pt x="106" y="16"/>
                  </a:lnTo>
                  <a:lnTo>
                    <a:pt x="105" y="16"/>
                  </a:lnTo>
                  <a:lnTo>
                    <a:pt x="104" y="16"/>
                  </a:lnTo>
                  <a:lnTo>
                    <a:pt x="103" y="16"/>
                  </a:lnTo>
                  <a:lnTo>
                    <a:pt x="103" y="15"/>
                  </a:lnTo>
                  <a:lnTo>
                    <a:pt x="102" y="15"/>
                  </a:lnTo>
                  <a:lnTo>
                    <a:pt x="100" y="14"/>
                  </a:lnTo>
                  <a:lnTo>
                    <a:pt x="100" y="12"/>
                  </a:lnTo>
                  <a:lnTo>
                    <a:pt x="99" y="12"/>
                  </a:lnTo>
                  <a:lnTo>
                    <a:pt x="98" y="12"/>
                  </a:lnTo>
                  <a:lnTo>
                    <a:pt x="98" y="14"/>
                  </a:lnTo>
                  <a:lnTo>
                    <a:pt x="98" y="15"/>
                  </a:lnTo>
                  <a:lnTo>
                    <a:pt x="98" y="16"/>
                  </a:lnTo>
                  <a:lnTo>
                    <a:pt x="97" y="16"/>
                  </a:lnTo>
                  <a:lnTo>
                    <a:pt x="97" y="17"/>
                  </a:lnTo>
                  <a:lnTo>
                    <a:pt x="97" y="18"/>
                  </a:lnTo>
                  <a:lnTo>
                    <a:pt x="98" y="18"/>
                  </a:lnTo>
                  <a:lnTo>
                    <a:pt x="97" y="18"/>
                  </a:lnTo>
                  <a:lnTo>
                    <a:pt x="96" y="18"/>
                  </a:lnTo>
                  <a:lnTo>
                    <a:pt x="97" y="20"/>
                  </a:lnTo>
                  <a:lnTo>
                    <a:pt x="96" y="20"/>
                  </a:lnTo>
                  <a:lnTo>
                    <a:pt x="96" y="18"/>
                  </a:lnTo>
                  <a:lnTo>
                    <a:pt x="94" y="18"/>
                  </a:lnTo>
                  <a:lnTo>
                    <a:pt x="93" y="17"/>
                  </a:lnTo>
                  <a:lnTo>
                    <a:pt x="93" y="18"/>
                  </a:lnTo>
                  <a:lnTo>
                    <a:pt x="92" y="18"/>
                  </a:lnTo>
                  <a:lnTo>
                    <a:pt x="92" y="20"/>
                  </a:lnTo>
                  <a:lnTo>
                    <a:pt x="91" y="20"/>
                  </a:lnTo>
                  <a:lnTo>
                    <a:pt x="92" y="20"/>
                  </a:lnTo>
                  <a:lnTo>
                    <a:pt x="92" y="21"/>
                  </a:lnTo>
                  <a:lnTo>
                    <a:pt x="92" y="22"/>
                  </a:lnTo>
                  <a:lnTo>
                    <a:pt x="93" y="23"/>
                  </a:lnTo>
                  <a:lnTo>
                    <a:pt x="93" y="25"/>
                  </a:lnTo>
                  <a:lnTo>
                    <a:pt x="94" y="25"/>
                  </a:lnTo>
                  <a:lnTo>
                    <a:pt x="94" y="26"/>
                  </a:lnTo>
                  <a:lnTo>
                    <a:pt x="96" y="26"/>
                  </a:lnTo>
                  <a:lnTo>
                    <a:pt x="97" y="26"/>
                  </a:lnTo>
                  <a:lnTo>
                    <a:pt x="98" y="26"/>
                  </a:lnTo>
                  <a:lnTo>
                    <a:pt x="98" y="27"/>
                  </a:lnTo>
                  <a:lnTo>
                    <a:pt x="99" y="27"/>
                  </a:lnTo>
                  <a:lnTo>
                    <a:pt x="99" y="28"/>
                  </a:lnTo>
                  <a:lnTo>
                    <a:pt x="99" y="29"/>
                  </a:lnTo>
                  <a:lnTo>
                    <a:pt x="98" y="29"/>
                  </a:lnTo>
                  <a:lnTo>
                    <a:pt x="97" y="29"/>
                  </a:lnTo>
                  <a:lnTo>
                    <a:pt x="96" y="29"/>
                  </a:lnTo>
                  <a:lnTo>
                    <a:pt x="94" y="29"/>
                  </a:lnTo>
                  <a:lnTo>
                    <a:pt x="94" y="28"/>
                  </a:lnTo>
                  <a:lnTo>
                    <a:pt x="93" y="28"/>
                  </a:lnTo>
                  <a:lnTo>
                    <a:pt x="93" y="27"/>
                  </a:lnTo>
                  <a:lnTo>
                    <a:pt x="93" y="26"/>
                  </a:lnTo>
                  <a:lnTo>
                    <a:pt x="92" y="26"/>
                  </a:lnTo>
                  <a:lnTo>
                    <a:pt x="91" y="26"/>
                  </a:lnTo>
                  <a:lnTo>
                    <a:pt x="91" y="25"/>
                  </a:lnTo>
                  <a:lnTo>
                    <a:pt x="90" y="25"/>
                  </a:lnTo>
                  <a:lnTo>
                    <a:pt x="88" y="25"/>
                  </a:lnTo>
                  <a:lnTo>
                    <a:pt x="87" y="25"/>
                  </a:lnTo>
                  <a:lnTo>
                    <a:pt x="87" y="23"/>
                  </a:lnTo>
                  <a:lnTo>
                    <a:pt x="86" y="23"/>
                  </a:lnTo>
                  <a:lnTo>
                    <a:pt x="86" y="25"/>
                  </a:lnTo>
                  <a:lnTo>
                    <a:pt x="86" y="26"/>
                  </a:lnTo>
                  <a:lnTo>
                    <a:pt x="85" y="26"/>
                  </a:lnTo>
                  <a:lnTo>
                    <a:pt x="85" y="28"/>
                  </a:lnTo>
                  <a:lnTo>
                    <a:pt x="83" y="28"/>
                  </a:lnTo>
                  <a:lnTo>
                    <a:pt x="83" y="27"/>
                  </a:lnTo>
                  <a:lnTo>
                    <a:pt x="82" y="27"/>
                  </a:lnTo>
                  <a:lnTo>
                    <a:pt x="82" y="26"/>
                  </a:lnTo>
                  <a:lnTo>
                    <a:pt x="81" y="26"/>
                  </a:lnTo>
                  <a:lnTo>
                    <a:pt x="81" y="27"/>
                  </a:lnTo>
                  <a:lnTo>
                    <a:pt x="81" y="28"/>
                  </a:lnTo>
                  <a:lnTo>
                    <a:pt x="82" y="29"/>
                  </a:lnTo>
                  <a:lnTo>
                    <a:pt x="81" y="31"/>
                  </a:lnTo>
                  <a:lnTo>
                    <a:pt x="81" y="32"/>
                  </a:lnTo>
                  <a:lnTo>
                    <a:pt x="81" y="33"/>
                  </a:lnTo>
                  <a:lnTo>
                    <a:pt x="82" y="33"/>
                  </a:lnTo>
                  <a:lnTo>
                    <a:pt x="82" y="34"/>
                  </a:lnTo>
                  <a:lnTo>
                    <a:pt x="83" y="34"/>
                  </a:lnTo>
                  <a:lnTo>
                    <a:pt x="82" y="34"/>
                  </a:lnTo>
                  <a:lnTo>
                    <a:pt x="82" y="35"/>
                  </a:lnTo>
                  <a:lnTo>
                    <a:pt x="82" y="37"/>
                  </a:lnTo>
                  <a:lnTo>
                    <a:pt x="83" y="37"/>
                  </a:lnTo>
                  <a:lnTo>
                    <a:pt x="83" y="38"/>
                  </a:lnTo>
                  <a:lnTo>
                    <a:pt x="85" y="38"/>
                  </a:lnTo>
                  <a:lnTo>
                    <a:pt x="86" y="38"/>
                  </a:lnTo>
                  <a:lnTo>
                    <a:pt x="87" y="38"/>
                  </a:lnTo>
                  <a:lnTo>
                    <a:pt x="87" y="39"/>
                  </a:lnTo>
                  <a:lnTo>
                    <a:pt x="86" y="39"/>
                  </a:lnTo>
                  <a:lnTo>
                    <a:pt x="85" y="39"/>
                  </a:lnTo>
                  <a:lnTo>
                    <a:pt x="83" y="39"/>
                  </a:lnTo>
                  <a:lnTo>
                    <a:pt x="83" y="40"/>
                  </a:lnTo>
                  <a:lnTo>
                    <a:pt x="85" y="41"/>
                  </a:lnTo>
                  <a:lnTo>
                    <a:pt x="86" y="43"/>
                  </a:lnTo>
                  <a:lnTo>
                    <a:pt x="87" y="43"/>
                  </a:lnTo>
                  <a:lnTo>
                    <a:pt x="90" y="43"/>
                  </a:lnTo>
                  <a:lnTo>
                    <a:pt x="91" y="43"/>
                  </a:lnTo>
                  <a:lnTo>
                    <a:pt x="91" y="41"/>
                  </a:lnTo>
                  <a:lnTo>
                    <a:pt x="91" y="43"/>
                  </a:lnTo>
                  <a:lnTo>
                    <a:pt x="92" y="43"/>
                  </a:lnTo>
                  <a:lnTo>
                    <a:pt x="93" y="44"/>
                  </a:lnTo>
                  <a:lnTo>
                    <a:pt x="93" y="43"/>
                  </a:lnTo>
                  <a:lnTo>
                    <a:pt x="94" y="43"/>
                  </a:lnTo>
                  <a:lnTo>
                    <a:pt x="94" y="41"/>
                  </a:lnTo>
                  <a:lnTo>
                    <a:pt x="93" y="40"/>
                  </a:lnTo>
                  <a:lnTo>
                    <a:pt x="94" y="40"/>
                  </a:lnTo>
                  <a:lnTo>
                    <a:pt x="94" y="41"/>
                  </a:lnTo>
                  <a:lnTo>
                    <a:pt x="96" y="41"/>
                  </a:lnTo>
                  <a:lnTo>
                    <a:pt x="96" y="43"/>
                  </a:lnTo>
                  <a:lnTo>
                    <a:pt x="97" y="43"/>
                  </a:lnTo>
                  <a:lnTo>
                    <a:pt x="97" y="44"/>
                  </a:lnTo>
                  <a:lnTo>
                    <a:pt x="98" y="44"/>
                  </a:lnTo>
                  <a:lnTo>
                    <a:pt x="97" y="44"/>
                  </a:lnTo>
                  <a:lnTo>
                    <a:pt x="97" y="45"/>
                  </a:lnTo>
                  <a:lnTo>
                    <a:pt x="96" y="45"/>
                  </a:lnTo>
                  <a:lnTo>
                    <a:pt x="96" y="46"/>
                  </a:lnTo>
                  <a:lnTo>
                    <a:pt x="96" y="45"/>
                  </a:lnTo>
                  <a:lnTo>
                    <a:pt x="94" y="45"/>
                  </a:lnTo>
                  <a:lnTo>
                    <a:pt x="94" y="46"/>
                  </a:lnTo>
                  <a:lnTo>
                    <a:pt x="93" y="46"/>
                  </a:lnTo>
                  <a:lnTo>
                    <a:pt x="92" y="46"/>
                  </a:lnTo>
                  <a:lnTo>
                    <a:pt x="92" y="47"/>
                  </a:lnTo>
                  <a:lnTo>
                    <a:pt x="93" y="47"/>
                  </a:lnTo>
                  <a:lnTo>
                    <a:pt x="93" y="49"/>
                  </a:lnTo>
                  <a:lnTo>
                    <a:pt x="94" y="49"/>
                  </a:lnTo>
                  <a:lnTo>
                    <a:pt x="94" y="47"/>
                  </a:lnTo>
                  <a:lnTo>
                    <a:pt x="96" y="47"/>
                  </a:lnTo>
                  <a:lnTo>
                    <a:pt x="94" y="47"/>
                  </a:lnTo>
                  <a:lnTo>
                    <a:pt x="96" y="47"/>
                  </a:lnTo>
                  <a:lnTo>
                    <a:pt x="96" y="46"/>
                  </a:lnTo>
                  <a:lnTo>
                    <a:pt x="97" y="45"/>
                  </a:lnTo>
                  <a:lnTo>
                    <a:pt x="98" y="46"/>
                  </a:lnTo>
                  <a:lnTo>
                    <a:pt x="97" y="46"/>
                  </a:lnTo>
                  <a:lnTo>
                    <a:pt x="97" y="47"/>
                  </a:lnTo>
                  <a:lnTo>
                    <a:pt x="98" y="47"/>
                  </a:lnTo>
                  <a:lnTo>
                    <a:pt x="98" y="49"/>
                  </a:lnTo>
                  <a:lnTo>
                    <a:pt x="97" y="49"/>
                  </a:lnTo>
                  <a:lnTo>
                    <a:pt x="96" y="49"/>
                  </a:lnTo>
                  <a:lnTo>
                    <a:pt x="96" y="50"/>
                  </a:lnTo>
                  <a:lnTo>
                    <a:pt x="94" y="50"/>
                  </a:lnTo>
                  <a:lnTo>
                    <a:pt x="94" y="51"/>
                  </a:lnTo>
                  <a:lnTo>
                    <a:pt x="93" y="51"/>
                  </a:lnTo>
                  <a:lnTo>
                    <a:pt x="93" y="50"/>
                  </a:lnTo>
                  <a:lnTo>
                    <a:pt x="92" y="50"/>
                  </a:lnTo>
                  <a:lnTo>
                    <a:pt x="91" y="50"/>
                  </a:lnTo>
                  <a:lnTo>
                    <a:pt x="91" y="52"/>
                  </a:lnTo>
                  <a:lnTo>
                    <a:pt x="91" y="51"/>
                  </a:lnTo>
                  <a:lnTo>
                    <a:pt x="90" y="51"/>
                  </a:lnTo>
                  <a:lnTo>
                    <a:pt x="90" y="52"/>
                  </a:lnTo>
                  <a:lnTo>
                    <a:pt x="88" y="52"/>
                  </a:lnTo>
                  <a:lnTo>
                    <a:pt x="87" y="52"/>
                  </a:lnTo>
                  <a:lnTo>
                    <a:pt x="87" y="53"/>
                  </a:lnTo>
                  <a:lnTo>
                    <a:pt x="86" y="53"/>
                  </a:lnTo>
                  <a:lnTo>
                    <a:pt x="86" y="52"/>
                  </a:lnTo>
                  <a:lnTo>
                    <a:pt x="85" y="53"/>
                  </a:lnTo>
                  <a:lnTo>
                    <a:pt x="83" y="53"/>
                  </a:lnTo>
                  <a:lnTo>
                    <a:pt x="82" y="53"/>
                  </a:lnTo>
                  <a:lnTo>
                    <a:pt x="82" y="55"/>
                  </a:lnTo>
                  <a:lnTo>
                    <a:pt x="82" y="57"/>
                  </a:lnTo>
                  <a:lnTo>
                    <a:pt x="82" y="58"/>
                  </a:lnTo>
                  <a:lnTo>
                    <a:pt x="81" y="58"/>
                  </a:lnTo>
                  <a:lnTo>
                    <a:pt x="81" y="57"/>
                  </a:lnTo>
                  <a:lnTo>
                    <a:pt x="80" y="57"/>
                  </a:lnTo>
                  <a:lnTo>
                    <a:pt x="80" y="56"/>
                  </a:lnTo>
                  <a:lnTo>
                    <a:pt x="80" y="55"/>
                  </a:lnTo>
                  <a:lnTo>
                    <a:pt x="79" y="55"/>
                  </a:lnTo>
                  <a:lnTo>
                    <a:pt x="79" y="56"/>
                  </a:lnTo>
                  <a:lnTo>
                    <a:pt x="77" y="57"/>
                  </a:lnTo>
                  <a:lnTo>
                    <a:pt x="76" y="57"/>
                  </a:lnTo>
                  <a:lnTo>
                    <a:pt x="76" y="56"/>
                  </a:lnTo>
                  <a:lnTo>
                    <a:pt x="76" y="55"/>
                  </a:lnTo>
                  <a:lnTo>
                    <a:pt x="75" y="53"/>
                  </a:lnTo>
                  <a:lnTo>
                    <a:pt x="75" y="55"/>
                  </a:lnTo>
                  <a:lnTo>
                    <a:pt x="74" y="55"/>
                  </a:lnTo>
                  <a:lnTo>
                    <a:pt x="74" y="53"/>
                  </a:lnTo>
                  <a:lnTo>
                    <a:pt x="73" y="53"/>
                  </a:lnTo>
                  <a:lnTo>
                    <a:pt x="71" y="53"/>
                  </a:lnTo>
                  <a:lnTo>
                    <a:pt x="71" y="55"/>
                  </a:lnTo>
                  <a:lnTo>
                    <a:pt x="73" y="56"/>
                  </a:lnTo>
                  <a:lnTo>
                    <a:pt x="73" y="57"/>
                  </a:lnTo>
                  <a:lnTo>
                    <a:pt x="73" y="58"/>
                  </a:lnTo>
                  <a:lnTo>
                    <a:pt x="74" y="58"/>
                  </a:lnTo>
                  <a:lnTo>
                    <a:pt x="74" y="59"/>
                  </a:lnTo>
                  <a:lnTo>
                    <a:pt x="75" y="61"/>
                  </a:lnTo>
                  <a:lnTo>
                    <a:pt x="74" y="61"/>
                  </a:lnTo>
                  <a:lnTo>
                    <a:pt x="74" y="62"/>
                  </a:lnTo>
                  <a:lnTo>
                    <a:pt x="73" y="62"/>
                  </a:lnTo>
                  <a:lnTo>
                    <a:pt x="73" y="61"/>
                  </a:lnTo>
                  <a:lnTo>
                    <a:pt x="73" y="59"/>
                  </a:lnTo>
                  <a:lnTo>
                    <a:pt x="71" y="59"/>
                  </a:lnTo>
                  <a:lnTo>
                    <a:pt x="71" y="61"/>
                  </a:lnTo>
                  <a:lnTo>
                    <a:pt x="70" y="61"/>
                  </a:lnTo>
                  <a:lnTo>
                    <a:pt x="71" y="61"/>
                  </a:lnTo>
                  <a:lnTo>
                    <a:pt x="70" y="62"/>
                  </a:lnTo>
                  <a:lnTo>
                    <a:pt x="70" y="63"/>
                  </a:lnTo>
                  <a:lnTo>
                    <a:pt x="71" y="63"/>
                  </a:lnTo>
                  <a:lnTo>
                    <a:pt x="71" y="64"/>
                  </a:lnTo>
                  <a:lnTo>
                    <a:pt x="71" y="65"/>
                  </a:lnTo>
                  <a:lnTo>
                    <a:pt x="73" y="65"/>
                  </a:lnTo>
                  <a:lnTo>
                    <a:pt x="73" y="67"/>
                  </a:lnTo>
                  <a:lnTo>
                    <a:pt x="74" y="67"/>
                  </a:lnTo>
                  <a:lnTo>
                    <a:pt x="74" y="65"/>
                  </a:lnTo>
                  <a:lnTo>
                    <a:pt x="74" y="67"/>
                  </a:lnTo>
                  <a:lnTo>
                    <a:pt x="74" y="68"/>
                  </a:lnTo>
                  <a:lnTo>
                    <a:pt x="73" y="68"/>
                  </a:lnTo>
                  <a:lnTo>
                    <a:pt x="73" y="67"/>
                  </a:lnTo>
                  <a:lnTo>
                    <a:pt x="71" y="68"/>
                  </a:lnTo>
                  <a:lnTo>
                    <a:pt x="70" y="68"/>
                  </a:lnTo>
                  <a:lnTo>
                    <a:pt x="70" y="69"/>
                  </a:lnTo>
                  <a:lnTo>
                    <a:pt x="69" y="69"/>
                  </a:lnTo>
                  <a:lnTo>
                    <a:pt x="69" y="68"/>
                  </a:lnTo>
                  <a:lnTo>
                    <a:pt x="68" y="68"/>
                  </a:lnTo>
                  <a:lnTo>
                    <a:pt x="67" y="68"/>
                  </a:lnTo>
                  <a:lnTo>
                    <a:pt x="65" y="69"/>
                  </a:lnTo>
                  <a:lnTo>
                    <a:pt x="67" y="69"/>
                  </a:lnTo>
                  <a:lnTo>
                    <a:pt x="67" y="70"/>
                  </a:lnTo>
                  <a:lnTo>
                    <a:pt x="65" y="70"/>
                  </a:lnTo>
                  <a:lnTo>
                    <a:pt x="65" y="71"/>
                  </a:lnTo>
                  <a:lnTo>
                    <a:pt x="64" y="71"/>
                  </a:lnTo>
                  <a:lnTo>
                    <a:pt x="63" y="71"/>
                  </a:lnTo>
                  <a:lnTo>
                    <a:pt x="62" y="71"/>
                  </a:lnTo>
                  <a:lnTo>
                    <a:pt x="63" y="71"/>
                  </a:lnTo>
                  <a:lnTo>
                    <a:pt x="63" y="73"/>
                  </a:lnTo>
                  <a:lnTo>
                    <a:pt x="63" y="74"/>
                  </a:lnTo>
                  <a:lnTo>
                    <a:pt x="62" y="75"/>
                  </a:lnTo>
                  <a:lnTo>
                    <a:pt x="62" y="74"/>
                  </a:lnTo>
                  <a:lnTo>
                    <a:pt x="61" y="74"/>
                  </a:lnTo>
                  <a:lnTo>
                    <a:pt x="59" y="73"/>
                  </a:lnTo>
                  <a:lnTo>
                    <a:pt x="58" y="73"/>
                  </a:lnTo>
                  <a:lnTo>
                    <a:pt x="57" y="73"/>
                  </a:lnTo>
                  <a:lnTo>
                    <a:pt x="57" y="74"/>
                  </a:lnTo>
                  <a:lnTo>
                    <a:pt x="57" y="75"/>
                  </a:lnTo>
                  <a:lnTo>
                    <a:pt x="57" y="74"/>
                  </a:lnTo>
                  <a:lnTo>
                    <a:pt x="56" y="74"/>
                  </a:lnTo>
                  <a:lnTo>
                    <a:pt x="55" y="74"/>
                  </a:lnTo>
                  <a:lnTo>
                    <a:pt x="55" y="75"/>
                  </a:lnTo>
                  <a:lnTo>
                    <a:pt x="53" y="75"/>
                  </a:lnTo>
                  <a:lnTo>
                    <a:pt x="53" y="74"/>
                  </a:lnTo>
                  <a:lnTo>
                    <a:pt x="52" y="74"/>
                  </a:lnTo>
                  <a:lnTo>
                    <a:pt x="52" y="75"/>
                  </a:lnTo>
                  <a:lnTo>
                    <a:pt x="52" y="76"/>
                  </a:lnTo>
                  <a:lnTo>
                    <a:pt x="53" y="76"/>
                  </a:lnTo>
                  <a:lnTo>
                    <a:pt x="52" y="77"/>
                  </a:lnTo>
                  <a:lnTo>
                    <a:pt x="53" y="77"/>
                  </a:lnTo>
                  <a:lnTo>
                    <a:pt x="55" y="77"/>
                  </a:lnTo>
                  <a:lnTo>
                    <a:pt x="55" y="79"/>
                  </a:lnTo>
                  <a:lnTo>
                    <a:pt x="55" y="80"/>
                  </a:lnTo>
                  <a:lnTo>
                    <a:pt x="53" y="80"/>
                  </a:lnTo>
                  <a:lnTo>
                    <a:pt x="53" y="79"/>
                  </a:lnTo>
                  <a:lnTo>
                    <a:pt x="52" y="79"/>
                  </a:lnTo>
                  <a:lnTo>
                    <a:pt x="51" y="79"/>
                  </a:lnTo>
                  <a:lnTo>
                    <a:pt x="51" y="77"/>
                  </a:lnTo>
                  <a:lnTo>
                    <a:pt x="51" y="76"/>
                  </a:lnTo>
                  <a:lnTo>
                    <a:pt x="50" y="76"/>
                  </a:lnTo>
                  <a:lnTo>
                    <a:pt x="50" y="77"/>
                  </a:lnTo>
                  <a:lnTo>
                    <a:pt x="50" y="76"/>
                  </a:lnTo>
                  <a:lnTo>
                    <a:pt x="49" y="76"/>
                  </a:lnTo>
                  <a:lnTo>
                    <a:pt x="49" y="75"/>
                  </a:lnTo>
                  <a:lnTo>
                    <a:pt x="49" y="76"/>
                  </a:lnTo>
                  <a:lnTo>
                    <a:pt x="47" y="76"/>
                  </a:lnTo>
                  <a:lnTo>
                    <a:pt x="49" y="76"/>
                  </a:lnTo>
                  <a:lnTo>
                    <a:pt x="49" y="79"/>
                  </a:lnTo>
                  <a:lnTo>
                    <a:pt x="47" y="79"/>
                  </a:lnTo>
                  <a:lnTo>
                    <a:pt x="46" y="79"/>
                  </a:lnTo>
                  <a:lnTo>
                    <a:pt x="46" y="77"/>
                  </a:lnTo>
                  <a:lnTo>
                    <a:pt x="45" y="79"/>
                  </a:lnTo>
                  <a:lnTo>
                    <a:pt x="46" y="79"/>
                  </a:lnTo>
                  <a:lnTo>
                    <a:pt x="46" y="80"/>
                  </a:lnTo>
                  <a:lnTo>
                    <a:pt x="46" y="81"/>
                  </a:lnTo>
                  <a:lnTo>
                    <a:pt x="47" y="81"/>
                  </a:lnTo>
                  <a:lnTo>
                    <a:pt x="49" y="81"/>
                  </a:lnTo>
                  <a:lnTo>
                    <a:pt x="47" y="82"/>
                  </a:lnTo>
                  <a:lnTo>
                    <a:pt x="49" y="82"/>
                  </a:lnTo>
                  <a:lnTo>
                    <a:pt x="49" y="81"/>
                  </a:lnTo>
                  <a:lnTo>
                    <a:pt x="50" y="81"/>
                  </a:lnTo>
                  <a:lnTo>
                    <a:pt x="49" y="82"/>
                  </a:lnTo>
                  <a:lnTo>
                    <a:pt x="50" y="82"/>
                  </a:lnTo>
                  <a:lnTo>
                    <a:pt x="51" y="83"/>
                  </a:lnTo>
                  <a:lnTo>
                    <a:pt x="52" y="83"/>
                  </a:lnTo>
                  <a:lnTo>
                    <a:pt x="53" y="83"/>
                  </a:lnTo>
                  <a:lnTo>
                    <a:pt x="53" y="85"/>
                  </a:lnTo>
                  <a:lnTo>
                    <a:pt x="55" y="85"/>
                  </a:lnTo>
                  <a:lnTo>
                    <a:pt x="55" y="86"/>
                  </a:lnTo>
                  <a:lnTo>
                    <a:pt x="56" y="86"/>
                  </a:lnTo>
                  <a:lnTo>
                    <a:pt x="57" y="87"/>
                  </a:lnTo>
                  <a:lnTo>
                    <a:pt x="58" y="87"/>
                  </a:lnTo>
                  <a:lnTo>
                    <a:pt x="58" y="88"/>
                  </a:lnTo>
                  <a:lnTo>
                    <a:pt x="59" y="88"/>
                  </a:lnTo>
                  <a:lnTo>
                    <a:pt x="57" y="88"/>
                  </a:lnTo>
                  <a:lnTo>
                    <a:pt x="56" y="88"/>
                  </a:lnTo>
                  <a:lnTo>
                    <a:pt x="55" y="89"/>
                  </a:lnTo>
                  <a:lnTo>
                    <a:pt x="53" y="91"/>
                  </a:lnTo>
                  <a:lnTo>
                    <a:pt x="53" y="89"/>
                  </a:lnTo>
                  <a:lnTo>
                    <a:pt x="52" y="89"/>
                  </a:lnTo>
                  <a:lnTo>
                    <a:pt x="52" y="91"/>
                  </a:lnTo>
                  <a:lnTo>
                    <a:pt x="51" y="91"/>
                  </a:lnTo>
                  <a:lnTo>
                    <a:pt x="51" y="89"/>
                  </a:lnTo>
                  <a:lnTo>
                    <a:pt x="50" y="89"/>
                  </a:lnTo>
                  <a:lnTo>
                    <a:pt x="50" y="88"/>
                  </a:lnTo>
                  <a:lnTo>
                    <a:pt x="49" y="88"/>
                  </a:lnTo>
                  <a:lnTo>
                    <a:pt x="49" y="89"/>
                  </a:lnTo>
                  <a:lnTo>
                    <a:pt x="49" y="91"/>
                  </a:lnTo>
                  <a:lnTo>
                    <a:pt x="47" y="91"/>
                  </a:lnTo>
                  <a:lnTo>
                    <a:pt x="46" y="91"/>
                  </a:lnTo>
                  <a:lnTo>
                    <a:pt x="45" y="91"/>
                  </a:lnTo>
                  <a:lnTo>
                    <a:pt x="44" y="91"/>
                  </a:lnTo>
                  <a:lnTo>
                    <a:pt x="43" y="91"/>
                  </a:lnTo>
                  <a:lnTo>
                    <a:pt x="43" y="92"/>
                  </a:lnTo>
                  <a:lnTo>
                    <a:pt x="43" y="91"/>
                  </a:lnTo>
                  <a:lnTo>
                    <a:pt x="41" y="91"/>
                  </a:lnTo>
                  <a:lnTo>
                    <a:pt x="41" y="92"/>
                  </a:lnTo>
                  <a:lnTo>
                    <a:pt x="40" y="92"/>
                  </a:lnTo>
                  <a:lnTo>
                    <a:pt x="40" y="91"/>
                  </a:lnTo>
                  <a:lnTo>
                    <a:pt x="39" y="91"/>
                  </a:lnTo>
                  <a:lnTo>
                    <a:pt x="38" y="91"/>
                  </a:lnTo>
                  <a:lnTo>
                    <a:pt x="39" y="91"/>
                  </a:lnTo>
                  <a:lnTo>
                    <a:pt x="39" y="92"/>
                  </a:lnTo>
                  <a:lnTo>
                    <a:pt x="39" y="93"/>
                  </a:lnTo>
                  <a:lnTo>
                    <a:pt x="39" y="94"/>
                  </a:lnTo>
                  <a:lnTo>
                    <a:pt x="38" y="94"/>
                  </a:lnTo>
                  <a:lnTo>
                    <a:pt x="37" y="95"/>
                  </a:lnTo>
                  <a:lnTo>
                    <a:pt x="38" y="95"/>
                  </a:lnTo>
                  <a:lnTo>
                    <a:pt x="39" y="97"/>
                  </a:lnTo>
                  <a:lnTo>
                    <a:pt x="40" y="98"/>
                  </a:lnTo>
                  <a:lnTo>
                    <a:pt x="40" y="99"/>
                  </a:lnTo>
                  <a:lnTo>
                    <a:pt x="39" y="99"/>
                  </a:lnTo>
                  <a:lnTo>
                    <a:pt x="40" y="99"/>
                  </a:lnTo>
                  <a:lnTo>
                    <a:pt x="39" y="100"/>
                  </a:lnTo>
                  <a:lnTo>
                    <a:pt x="38" y="100"/>
                  </a:lnTo>
                  <a:lnTo>
                    <a:pt x="37" y="99"/>
                  </a:lnTo>
                  <a:lnTo>
                    <a:pt x="37" y="98"/>
                  </a:lnTo>
                  <a:lnTo>
                    <a:pt x="35" y="99"/>
                  </a:lnTo>
                  <a:lnTo>
                    <a:pt x="35" y="98"/>
                  </a:lnTo>
                  <a:lnTo>
                    <a:pt x="35" y="97"/>
                  </a:lnTo>
                  <a:lnTo>
                    <a:pt x="34" y="97"/>
                  </a:lnTo>
                  <a:lnTo>
                    <a:pt x="33" y="97"/>
                  </a:lnTo>
                  <a:lnTo>
                    <a:pt x="32" y="97"/>
                  </a:lnTo>
                  <a:lnTo>
                    <a:pt x="32" y="95"/>
                  </a:lnTo>
                  <a:lnTo>
                    <a:pt x="31" y="97"/>
                  </a:lnTo>
                  <a:lnTo>
                    <a:pt x="31" y="98"/>
                  </a:lnTo>
                  <a:lnTo>
                    <a:pt x="32" y="98"/>
                  </a:lnTo>
                  <a:lnTo>
                    <a:pt x="32" y="99"/>
                  </a:lnTo>
                  <a:lnTo>
                    <a:pt x="33" y="100"/>
                  </a:lnTo>
                  <a:lnTo>
                    <a:pt x="35" y="100"/>
                  </a:lnTo>
                  <a:lnTo>
                    <a:pt x="35" y="101"/>
                  </a:lnTo>
                  <a:lnTo>
                    <a:pt x="35" y="103"/>
                  </a:lnTo>
                  <a:lnTo>
                    <a:pt x="37" y="103"/>
                  </a:lnTo>
                  <a:lnTo>
                    <a:pt x="38" y="104"/>
                  </a:lnTo>
                  <a:lnTo>
                    <a:pt x="38" y="105"/>
                  </a:lnTo>
                  <a:lnTo>
                    <a:pt x="39" y="105"/>
                  </a:lnTo>
                  <a:lnTo>
                    <a:pt x="39" y="106"/>
                  </a:lnTo>
                  <a:lnTo>
                    <a:pt x="40" y="106"/>
                  </a:lnTo>
                  <a:lnTo>
                    <a:pt x="40" y="105"/>
                  </a:lnTo>
                  <a:lnTo>
                    <a:pt x="41" y="105"/>
                  </a:lnTo>
                  <a:lnTo>
                    <a:pt x="43" y="105"/>
                  </a:lnTo>
                  <a:lnTo>
                    <a:pt x="44" y="106"/>
                  </a:lnTo>
                  <a:lnTo>
                    <a:pt x="43" y="106"/>
                  </a:lnTo>
                  <a:lnTo>
                    <a:pt x="41" y="107"/>
                  </a:lnTo>
                  <a:lnTo>
                    <a:pt x="41" y="109"/>
                  </a:lnTo>
                  <a:lnTo>
                    <a:pt x="40" y="109"/>
                  </a:lnTo>
                  <a:lnTo>
                    <a:pt x="40" y="110"/>
                  </a:lnTo>
                  <a:lnTo>
                    <a:pt x="39" y="110"/>
                  </a:lnTo>
                  <a:lnTo>
                    <a:pt x="38" y="110"/>
                  </a:lnTo>
                  <a:lnTo>
                    <a:pt x="37" y="110"/>
                  </a:lnTo>
                  <a:lnTo>
                    <a:pt x="35" y="110"/>
                  </a:lnTo>
                  <a:lnTo>
                    <a:pt x="35" y="111"/>
                  </a:lnTo>
                  <a:lnTo>
                    <a:pt x="37" y="111"/>
                  </a:lnTo>
                  <a:lnTo>
                    <a:pt x="37" y="112"/>
                  </a:lnTo>
                  <a:lnTo>
                    <a:pt x="35" y="112"/>
                  </a:lnTo>
                  <a:lnTo>
                    <a:pt x="37" y="113"/>
                  </a:lnTo>
                  <a:lnTo>
                    <a:pt x="38" y="116"/>
                  </a:lnTo>
                  <a:lnTo>
                    <a:pt x="37" y="117"/>
                  </a:lnTo>
                  <a:lnTo>
                    <a:pt x="37" y="118"/>
                  </a:lnTo>
                  <a:lnTo>
                    <a:pt x="37" y="119"/>
                  </a:lnTo>
                  <a:lnTo>
                    <a:pt x="37" y="121"/>
                  </a:lnTo>
                  <a:lnTo>
                    <a:pt x="35" y="119"/>
                  </a:lnTo>
                  <a:lnTo>
                    <a:pt x="35" y="121"/>
                  </a:lnTo>
                  <a:lnTo>
                    <a:pt x="35" y="122"/>
                  </a:lnTo>
                  <a:lnTo>
                    <a:pt x="33" y="122"/>
                  </a:lnTo>
                  <a:lnTo>
                    <a:pt x="32" y="122"/>
                  </a:lnTo>
                  <a:lnTo>
                    <a:pt x="31" y="122"/>
                  </a:lnTo>
                  <a:lnTo>
                    <a:pt x="31" y="121"/>
                  </a:lnTo>
                  <a:lnTo>
                    <a:pt x="31" y="122"/>
                  </a:lnTo>
                  <a:lnTo>
                    <a:pt x="29" y="122"/>
                  </a:lnTo>
                  <a:lnTo>
                    <a:pt x="28" y="122"/>
                  </a:lnTo>
                  <a:lnTo>
                    <a:pt x="27" y="123"/>
                  </a:lnTo>
                  <a:lnTo>
                    <a:pt x="26" y="123"/>
                  </a:lnTo>
                  <a:lnTo>
                    <a:pt x="25" y="123"/>
                  </a:lnTo>
                  <a:lnTo>
                    <a:pt x="23" y="123"/>
                  </a:lnTo>
                  <a:lnTo>
                    <a:pt x="23" y="122"/>
                  </a:lnTo>
                  <a:lnTo>
                    <a:pt x="23" y="123"/>
                  </a:lnTo>
                  <a:lnTo>
                    <a:pt x="23" y="124"/>
                  </a:lnTo>
                  <a:lnTo>
                    <a:pt x="25" y="125"/>
                  </a:lnTo>
                  <a:lnTo>
                    <a:pt x="25" y="127"/>
                  </a:lnTo>
                  <a:lnTo>
                    <a:pt x="23" y="127"/>
                  </a:lnTo>
                  <a:lnTo>
                    <a:pt x="22" y="127"/>
                  </a:lnTo>
                  <a:lnTo>
                    <a:pt x="21" y="127"/>
                  </a:lnTo>
                  <a:lnTo>
                    <a:pt x="20" y="127"/>
                  </a:lnTo>
                  <a:lnTo>
                    <a:pt x="18" y="127"/>
                  </a:lnTo>
                  <a:lnTo>
                    <a:pt x="16" y="127"/>
                  </a:lnTo>
                  <a:lnTo>
                    <a:pt x="16" y="128"/>
                  </a:lnTo>
                  <a:lnTo>
                    <a:pt x="17" y="128"/>
                  </a:lnTo>
                  <a:lnTo>
                    <a:pt x="17" y="129"/>
                  </a:lnTo>
                  <a:lnTo>
                    <a:pt x="20" y="130"/>
                  </a:lnTo>
                  <a:lnTo>
                    <a:pt x="21" y="130"/>
                  </a:lnTo>
                  <a:lnTo>
                    <a:pt x="21" y="132"/>
                  </a:lnTo>
                  <a:lnTo>
                    <a:pt x="22" y="132"/>
                  </a:lnTo>
                  <a:lnTo>
                    <a:pt x="22" y="133"/>
                  </a:lnTo>
                  <a:lnTo>
                    <a:pt x="23" y="134"/>
                  </a:lnTo>
                  <a:lnTo>
                    <a:pt x="25" y="134"/>
                  </a:lnTo>
                  <a:lnTo>
                    <a:pt x="26" y="133"/>
                  </a:lnTo>
                  <a:lnTo>
                    <a:pt x="26" y="134"/>
                  </a:lnTo>
                  <a:lnTo>
                    <a:pt x="27" y="133"/>
                  </a:lnTo>
                  <a:lnTo>
                    <a:pt x="27" y="134"/>
                  </a:lnTo>
                  <a:lnTo>
                    <a:pt x="28" y="133"/>
                  </a:lnTo>
                  <a:lnTo>
                    <a:pt x="29" y="134"/>
                  </a:lnTo>
                  <a:lnTo>
                    <a:pt x="31" y="133"/>
                  </a:lnTo>
                  <a:lnTo>
                    <a:pt x="31" y="132"/>
                  </a:lnTo>
                  <a:lnTo>
                    <a:pt x="32" y="132"/>
                  </a:lnTo>
                  <a:lnTo>
                    <a:pt x="33" y="132"/>
                  </a:lnTo>
                  <a:lnTo>
                    <a:pt x="33" y="130"/>
                  </a:lnTo>
                  <a:lnTo>
                    <a:pt x="33" y="129"/>
                  </a:lnTo>
                  <a:lnTo>
                    <a:pt x="34" y="129"/>
                  </a:lnTo>
                  <a:lnTo>
                    <a:pt x="34" y="130"/>
                  </a:lnTo>
                  <a:lnTo>
                    <a:pt x="33" y="132"/>
                  </a:lnTo>
                  <a:lnTo>
                    <a:pt x="33" y="133"/>
                  </a:lnTo>
                  <a:lnTo>
                    <a:pt x="34" y="134"/>
                  </a:lnTo>
                  <a:lnTo>
                    <a:pt x="34" y="135"/>
                  </a:lnTo>
                  <a:lnTo>
                    <a:pt x="35" y="134"/>
                  </a:lnTo>
                  <a:lnTo>
                    <a:pt x="37" y="134"/>
                  </a:lnTo>
                  <a:lnTo>
                    <a:pt x="37" y="133"/>
                  </a:lnTo>
                  <a:lnTo>
                    <a:pt x="37" y="132"/>
                  </a:lnTo>
                  <a:lnTo>
                    <a:pt x="38" y="132"/>
                  </a:lnTo>
                  <a:lnTo>
                    <a:pt x="39" y="130"/>
                  </a:lnTo>
                  <a:lnTo>
                    <a:pt x="39" y="132"/>
                  </a:lnTo>
                  <a:lnTo>
                    <a:pt x="40" y="132"/>
                  </a:lnTo>
                  <a:lnTo>
                    <a:pt x="41" y="130"/>
                  </a:lnTo>
                  <a:lnTo>
                    <a:pt x="43" y="130"/>
                  </a:lnTo>
                  <a:lnTo>
                    <a:pt x="44" y="130"/>
                  </a:lnTo>
                  <a:lnTo>
                    <a:pt x="45" y="130"/>
                  </a:lnTo>
                  <a:lnTo>
                    <a:pt x="46" y="132"/>
                  </a:lnTo>
                  <a:lnTo>
                    <a:pt x="47" y="132"/>
                  </a:lnTo>
                  <a:lnTo>
                    <a:pt x="49" y="130"/>
                  </a:lnTo>
                  <a:lnTo>
                    <a:pt x="50" y="130"/>
                  </a:lnTo>
                  <a:lnTo>
                    <a:pt x="50" y="132"/>
                  </a:lnTo>
                  <a:lnTo>
                    <a:pt x="51" y="132"/>
                  </a:lnTo>
                  <a:lnTo>
                    <a:pt x="52" y="133"/>
                  </a:lnTo>
                  <a:lnTo>
                    <a:pt x="53" y="132"/>
                  </a:lnTo>
                  <a:lnTo>
                    <a:pt x="55" y="132"/>
                  </a:lnTo>
                  <a:lnTo>
                    <a:pt x="53" y="130"/>
                  </a:lnTo>
                  <a:lnTo>
                    <a:pt x="55" y="129"/>
                  </a:lnTo>
                  <a:lnTo>
                    <a:pt x="55" y="130"/>
                  </a:lnTo>
                  <a:lnTo>
                    <a:pt x="56" y="130"/>
                  </a:lnTo>
                  <a:lnTo>
                    <a:pt x="57" y="130"/>
                  </a:lnTo>
                  <a:lnTo>
                    <a:pt x="58" y="130"/>
                  </a:lnTo>
                  <a:lnTo>
                    <a:pt x="58" y="132"/>
                  </a:lnTo>
                  <a:lnTo>
                    <a:pt x="58" y="133"/>
                  </a:lnTo>
                  <a:lnTo>
                    <a:pt x="57" y="133"/>
                  </a:lnTo>
                  <a:lnTo>
                    <a:pt x="57" y="132"/>
                  </a:lnTo>
                  <a:lnTo>
                    <a:pt x="57" y="133"/>
                  </a:lnTo>
                  <a:lnTo>
                    <a:pt x="56" y="133"/>
                  </a:lnTo>
                  <a:lnTo>
                    <a:pt x="56" y="134"/>
                  </a:lnTo>
                  <a:lnTo>
                    <a:pt x="56" y="133"/>
                  </a:lnTo>
                  <a:lnTo>
                    <a:pt x="56" y="134"/>
                  </a:lnTo>
                  <a:lnTo>
                    <a:pt x="56" y="135"/>
                  </a:lnTo>
                  <a:lnTo>
                    <a:pt x="56" y="136"/>
                  </a:lnTo>
                  <a:lnTo>
                    <a:pt x="55" y="135"/>
                  </a:lnTo>
                  <a:lnTo>
                    <a:pt x="55" y="136"/>
                  </a:lnTo>
                  <a:lnTo>
                    <a:pt x="56" y="136"/>
                  </a:lnTo>
                  <a:lnTo>
                    <a:pt x="56" y="138"/>
                  </a:lnTo>
                  <a:lnTo>
                    <a:pt x="55" y="138"/>
                  </a:lnTo>
                  <a:lnTo>
                    <a:pt x="53" y="138"/>
                  </a:lnTo>
                  <a:lnTo>
                    <a:pt x="52" y="138"/>
                  </a:lnTo>
                  <a:lnTo>
                    <a:pt x="51" y="139"/>
                  </a:lnTo>
                  <a:lnTo>
                    <a:pt x="50" y="140"/>
                  </a:lnTo>
                  <a:lnTo>
                    <a:pt x="50" y="141"/>
                  </a:lnTo>
                  <a:lnTo>
                    <a:pt x="49" y="141"/>
                  </a:lnTo>
                  <a:lnTo>
                    <a:pt x="47" y="142"/>
                  </a:lnTo>
                  <a:lnTo>
                    <a:pt x="47" y="144"/>
                  </a:lnTo>
                  <a:lnTo>
                    <a:pt x="46" y="144"/>
                  </a:lnTo>
                  <a:lnTo>
                    <a:pt x="45" y="145"/>
                  </a:lnTo>
                  <a:lnTo>
                    <a:pt x="44" y="146"/>
                  </a:lnTo>
                  <a:lnTo>
                    <a:pt x="44" y="145"/>
                  </a:lnTo>
                  <a:lnTo>
                    <a:pt x="43" y="146"/>
                  </a:lnTo>
                  <a:lnTo>
                    <a:pt x="41" y="146"/>
                  </a:lnTo>
                  <a:lnTo>
                    <a:pt x="41" y="147"/>
                  </a:lnTo>
                  <a:lnTo>
                    <a:pt x="40" y="147"/>
                  </a:lnTo>
                  <a:lnTo>
                    <a:pt x="39" y="147"/>
                  </a:lnTo>
                  <a:lnTo>
                    <a:pt x="38" y="147"/>
                  </a:lnTo>
                  <a:lnTo>
                    <a:pt x="38" y="148"/>
                  </a:lnTo>
                  <a:lnTo>
                    <a:pt x="37" y="148"/>
                  </a:lnTo>
                  <a:lnTo>
                    <a:pt x="37" y="150"/>
                  </a:lnTo>
                  <a:lnTo>
                    <a:pt x="37" y="151"/>
                  </a:lnTo>
                  <a:lnTo>
                    <a:pt x="37" y="152"/>
                  </a:lnTo>
                  <a:lnTo>
                    <a:pt x="35" y="152"/>
                  </a:lnTo>
                  <a:lnTo>
                    <a:pt x="37" y="152"/>
                  </a:lnTo>
                  <a:lnTo>
                    <a:pt x="35" y="152"/>
                  </a:lnTo>
                  <a:lnTo>
                    <a:pt x="34" y="153"/>
                  </a:lnTo>
                  <a:lnTo>
                    <a:pt x="33" y="153"/>
                  </a:lnTo>
                  <a:lnTo>
                    <a:pt x="31" y="153"/>
                  </a:lnTo>
                  <a:lnTo>
                    <a:pt x="31" y="154"/>
                  </a:lnTo>
                  <a:lnTo>
                    <a:pt x="28" y="154"/>
                  </a:lnTo>
                  <a:lnTo>
                    <a:pt x="27" y="153"/>
                  </a:lnTo>
                  <a:lnTo>
                    <a:pt x="27" y="154"/>
                  </a:lnTo>
                  <a:lnTo>
                    <a:pt x="26" y="154"/>
                  </a:lnTo>
                  <a:lnTo>
                    <a:pt x="25" y="154"/>
                  </a:lnTo>
                  <a:lnTo>
                    <a:pt x="26" y="157"/>
                  </a:lnTo>
                  <a:lnTo>
                    <a:pt x="27" y="157"/>
                  </a:lnTo>
                  <a:lnTo>
                    <a:pt x="26" y="158"/>
                  </a:lnTo>
                  <a:lnTo>
                    <a:pt x="25" y="158"/>
                  </a:lnTo>
                  <a:lnTo>
                    <a:pt x="25" y="159"/>
                  </a:lnTo>
                  <a:lnTo>
                    <a:pt x="23" y="159"/>
                  </a:lnTo>
                  <a:lnTo>
                    <a:pt x="22" y="159"/>
                  </a:lnTo>
                  <a:lnTo>
                    <a:pt x="23" y="160"/>
                  </a:lnTo>
                  <a:lnTo>
                    <a:pt x="22" y="162"/>
                  </a:lnTo>
                  <a:lnTo>
                    <a:pt x="21" y="162"/>
                  </a:lnTo>
                  <a:lnTo>
                    <a:pt x="20" y="162"/>
                  </a:lnTo>
                  <a:lnTo>
                    <a:pt x="18" y="162"/>
                  </a:lnTo>
                  <a:lnTo>
                    <a:pt x="17" y="162"/>
                  </a:lnTo>
                  <a:lnTo>
                    <a:pt x="16" y="162"/>
                  </a:lnTo>
                  <a:lnTo>
                    <a:pt x="17" y="164"/>
                  </a:lnTo>
                  <a:lnTo>
                    <a:pt x="17" y="165"/>
                  </a:lnTo>
                  <a:lnTo>
                    <a:pt x="18" y="165"/>
                  </a:lnTo>
                  <a:lnTo>
                    <a:pt x="20" y="165"/>
                  </a:lnTo>
                  <a:lnTo>
                    <a:pt x="21" y="166"/>
                  </a:lnTo>
                  <a:lnTo>
                    <a:pt x="20" y="166"/>
                  </a:lnTo>
                  <a:lnTo>
                    <a:pt x="18" y="166"/>
                  </a:lnTo>
                  <a:lnTo>
                    <a:pt x="17" y="168"/>
                  </a:lnTo>
                  <a:lnTo>
                    <a:pt x="17" y="170"/>
                  </a:lnTo>
                  <a:lnTo>
                    <a:pt x="18" y="171"/>
                  </a:lnTo>
                  <a:lnTo>
                    <a:pt x="18" y="172"/>
                  </a:lnTo>
                  <a:lnTo>
                    <a:pt x="18" y="174"/>
                  </a:lnTo>
                  <a:lnTo>
                    <a:pt x="17" y="175"/>
                  </a:lnTo>
                  <a:lnTo>
                    <a:pt x="17" y="176"/>
                  </a:lnTo>
                  <a:lnTo>
                    <a:pt x="18" y="177"/>
                  </a:lnTo>
                  <a:lnTo>
                    <a:pt x="20" y="177"/>
                  </a:lnTo>
                  <a:lnTo>
                    <a:pt x="18" y="178"/>
                  </a:lnTo>
                  <a:lnTo>
                    <a:pt x="18" y="180"/>
                  </a:lnTo>
                  <a:lnTo>
                    <a:pt x="17" y="181"/>
                  </a:lnTo>
                  <a:lnTo>
                    <a:pt x="17" y="180"/>
                  </a:lnTo>
                  <a:lnTo>
                    <a:pt x="16" y="180"/>
                  </a:lnTo>
                  <a:lnTo>
                    <a:pt x="16" y="181"/>
                  </a:lnTo>
                  <a:lnTo>
                    <a:pt x="15" y="181"/>
                  </a:lnTo>
                  <a:lnTo>
                    <a:pt x="16" y="181"/>
                  </a:lnTo>
                  <a:lnTo>
                    <a:pt x="16" y="182"/>
                  </a:lnTo>
                  <a:lnTo>
                    <a:pt x="17" y="182"/>
                  </a:lnTo>
                  <a:lnTo>
                    <a:pt x="18" y="182"/>
                  </a:lnTo>
                  <a:lnTo>
                    <a:pt x="20" y="182"/>
                  </a:lnTo>
                  <a:lnTo>
                    <a:pt x="21" y="182"/>
                  </a:lnTo>
                  <a:lnTo>
                    <a:pt x="21" y="181"/>
                  </a:lnTo>
                  <a:lnTo>
                    <a:pt x="25" y="181"/>
                  </a:lnTo>
                  <a:lnTo>
                    <a:pt x="25" y="180"/>
                  </a:lnTo>
                  <a:lnTo>
                    <a:pt x="26" y="178"/>
                  </a:lnTo>
                  <a:lnTo>
                    <a:pt x="27" y="177"/>
                  </a:lnTo>
                  <a:lnTo>
                    <a:pt x="27" y="176"/>
                  </a:lnTo>
                  <a:lnTo>
                    <a:pt x="27" y="175"/>
                  </a:lnTo>
                  <a:lnTo>
                    <a:pt x="28" y="174"/>
                  </a:lnTo>
                  <a:lnTo>
                    <a:pt x="28" y="172"/>
                  </a:lnTo>
                  <a:lnTo>
                    <a:pt x="29" y="171"/>
                  </a:lnTo>
                  <a:lnTo>
                    <a:pt x="31" y="172"/>
                  </a:lnTo>
                  <a:lnTo>
                    <a:pt x="32" y="172"/>
                  </a:lnTo>
                  <a:lnTo>
                    <a:pt x="33" y="171"/>
                  </a:lnTo>
                  <a:lnTo>
                    <a:pt x="33" y="172"/>
                  </a:lnTo>
                  <a:lnTo>
                    <a:pt x="34" y="172"/>
                  </a:lnTo>
                  <a:lnTo>
                    <a:pt x="35" y="174"/>
                  </a:lnTo>
                  <a:lnTo>
                    <a:pt x="37" y="172"/>
                  </a:lnTo>
                  <a:lnTo>
                    <a:pt x="37" y="171"/>
                  </a:lnTo>
                  <a:lnTo>
                    <a:pt x="35" y="170"/>
                  </a:lnTo>
                  <a:lnTo>
                    <a:pt x="34" y="170"/>
                  </a:lnTo>
                  <a:lnTo>
                    <a:pt x="34" y="169"/>
                  </a:lnTo>
                  <a:lnTo>
                    <a:pt x="34" y="168"/>
                  </a:lnTo>
                  <a:lnTo>
                    <a:pt x="33" y="168"/>
                  </a:lnTo>
                  <a:lnTo>
                    <a:pt x="32" y="168"/>
                  </a:lnTo>
                  <a:lnTo>
                    <a:pt x="32" y="166"/>
                  </a:lnTo>
                  <a:lnTo>
                    <a:pt x="33" y="166"/>
                  </a:lnTo>
                  <a:lnTo>
                    <a:pt x="34" y="166"/>
                  </a:lnTo>
                  <a:lnTo>
                    <a:pt x="35" y="166"/>
                  </a:lnTo>
                  <a:lnTo>
                    <a:pt x="37" y="166"/>
                  </a:lnTo>
                  <a:lnTo>
                    <a:pt x="38" y="165"/>
                  </a:lnTo>
                  <a:lnTo>
                    <a:pt x="39" y="165"/>
                  </a:lnTo>
                  <a:lnTo>
                    <a:pt x="38" y="164"/>
                  </a:lnTo>
                  <a:lnTo>
                    <a:pt x="39" y="164"/>
                  </a:lnTo>
                  <a:lnTo>
                    <a:pt x="40" y="164"/>
                  </a:lnTo>
                  <a:lnTo>
                    <a:pt x="39" y="163"/>
                  </a:lnTo>
                  <a:lnTo>
                    <a:pt x="40" y="163"/>
                  </a:lnTo>
                  <a:lnTo>
                    <a:pt x="41" y="163"/>
                  </a:lnTo>
                  <a:lnTo>
                    <a:pt x="43" y="163"/>
                  </a:lnTo>
                  <a:lnTo>
                    <a:pt x="43" y="164"/>
                  </a:lnTo>
                  <a:lnTo>
                    <a:pt x="44" y="163"/>
                  </a:lnTo>
                  <a:lnTo>
                    <a:pt x="44" y="162"/>
                  </a:lnTo>
                  <a:lnTo>
                    <a:pt x="45" y="162"/>
                  </a:lnTo>
                  <a:lnTo>
                    <a:pt x="46" y="162"/>
                  </a:lnTo>
                  <a:lnTo>
                    <a:pt x="45" y="160"/>
                  </a:lnTo>
                  <a:lnTo>
                    <a:pt x="46" y="160"/>
                  </a:lnTo>
                  <a:lnTo>
                    <a:pt x="47" y="160"/>
                  </a:lnTo>
                  <a:lnTo>
                    <a:pt x="49" y="160"/>
                  </a:lnTo>
                  <a:lnTo>
                    <a:pt x="49" y="159"/>
                  </a:lnTo>
                  <a:lnTo>
                    <a:pt x="50" y="159"/>
                  </a:lnTo>
                  <a:lnTo>
                    <a:pt x="51" y="159"/>
                  </a:lnTo>
                  <a:lnTo>
                    <a:pt x="51" y="158"/>
                  </a:lnTo>
                  <a:lnTo>
                    <a:pt x="51" y="157"/>
                  </a:lnTo>
                  <a:lnTo>
                    <a:pt x="51" y="156"/>
                  </a:lnTo>
                  <a:lnTo>
                    <a:pt x="52" y="154"/>
                  </a:lnTo>
                  <a:lnTo>
                    <a:pt x="53" y="153"/>
                  </a:lnTo>
                  <a:lnTo>
                    <a:pt x="53" y="154"/>
                  </a:lnTo>
                  <a:lnTo>
                    <a:pt x="53" y="156"/>
                  </a:lnTo>
                  <a:lnTo>
                    <a:pt x="55" y="156"/>
                  </a:lnTo>
                  <a:lnTo>
                    <a:pt x="55" y="158"/>
                  </a:lnTo>
                  <a:lnTo>
                    <a:pt x="55" y="157"/>
                  </a:lnTo>
                  <a:lnTo>
                    <a:pt x="53" y="157"/>
                  </a:lnTo>
                  <a:lnTo>
                    <a:pt x="52" y="158"/>
                  </a:lnTo>
                  <a:lnTo>
                    <a:pt x="52" y="159"/>
                  </a:lnTo>
                  <a:lnTo>
                    <a:pt x="52" y="160"/>
                  </a:lnTo>
                  <a:lnTo>
                    <a:pt x="51" y="160"/>
                  </a:lnTo>
                  <a:lnTo>
                    <a:pt x="51" y="162"/>
                  </a:lnTo>
                  <a:lnTo>
                    <a:pt x="52" y="162"/>
                  </a:lnTo>
                  <a:lnTo>
                    <a:pt x="53" y="162"/>
                  </a:lnTo>
                  <a:lnTo>
                    <a:pt x="55" y="160"/>
                  </a:lnTo>
                  <a:lnTo>
                    <a:pt x="56" y="160"/>
                  </a:lnTo>
                  <a:lnTo>
                    <a:pt x="56" y="159"/>
                  </a:lnTo>
                  <a:lnTo>
                    <a:pt x="57" y="159"/>
                  </a:lnTo>
                  <a:lnTo>
                    <a:pt x="58" y="159"/>
                  </a:lnTo>
                  <a:lnTo>
                    <a:pt x="59" y="159"/>
                  </a:lnTo>
                  <a:lnTo>
                    <a:pt x="59" y="158"/>
                  </a:lnTo>
                  <a:lnTo>
                    <a:pt x="61" y="158"/>
                  </a:lnTo>
                  <a:lnTo>
                    <a:pt x="62" y="158"/>
                  </a:lnTo>
                  <a:lnTo>
                    <a:pt x="63" y="158"/>
                  </a:lnTo>
                  <a:lnTo>
                    <a:pt x="65" y="158"/>
                  </a:lnTo>
                  <a:lnTo>
                    <a:pt x="67" y="157"/>
                  </a:lnTo>
                  <a:lnTo>
                    <a:pt x="65" y="157"/>
                  </a:lnTo>
                  <a:lnTo>
                    <a:pt x="67" y="156"/>
                  </a:lnTo>
                  <a:lnTo>
                    <a:pt x="68" y="156"/>
                  </a:lnTo>
                  <a:lnTo>
                    <a:pt x="70" y="154"/>
                  </a:lnTo>
                  <a:lnTo>
                    <a:pt x="69" y="152"/>
                  </a:lnTo>
                  <a:lnTo>
                    <a:pt x="69" y="151"/>
                  </a:lnTo>
                  <a:lnTo>
                    <a:pt x="68" y="151"/>
                  </a:lnTo>
                  <a:lnTo>
                    <a:pt x="69" y="150"/>
                  </a:lnTo>
                  <a:lnTo>
                    <a:pt x="69" y="151"/>
                  </a:lnTo>
                  <a:lnTo>
                    <a:pt x="69" y="152"/>
                  </a:lnTo>
                  <a:lnTo>
                    <a:pt x="70" y="153"/>
                  </a:lnTo>
                  <a:lnTo>
                    <a:pt x="71" y="152"/>
                  </a:lnTo>
                  <a:lnTo>
                    <a:pt x="73" y="152"/>
                  </a:lnTo>
                  <a:lnTo>
                    <a:pt x="74" y="152"/>
                  </a:lnTo>
                  <a:lnTo>
                    <a:pt x="75" y="153"/>
                  </a:lnTo>
                  <a:lnTo>
                    <a:pt x="76" y="153"/>
                  </a:lnTo>
                  <a:lnTo>
                    <a:pt x="77" y="153"/>
                  </a:lnTo>
                  <a:lnTo>
                    <a:pt x="77" y="154"/>
                  </a:lnTo>
                  <a:lnTo>
                    <a:pt x="77" y="157"/>
                  </a:lnTo>
                  <a:lnTo>
                    <a:pt x="77" y="156"/>
                  </a:lnTo>
                  <a:lnTo>
                    <a:pt x="76" y="156"/>
                  </a:lnTo>
                  <a:lnTo>
                    <a:pt x="75" y="157"/>
                  </a:lnTo>
                  <a:lnTo>
                    <a:pt x="75" y="156"/>
                  </a:lnTo>
                  <a:lnTo>
                    <a:pt x="74" y="156"/>
                  </a:lnTo>
                  <a:lnTo>
                    <a:pt x="73" y="156"/>
                  </a:lnTo>
                  <a:lnTo>
                    <a:pt x="73" y="157"/>
                  </a:lnTo>
                  <a:lnTo>
                    <a:pt x="74" y="157"/>
                  </a:lnTo>
                  <a:lnTo>
                    <a:pt x="74" y="158"/>
                  </a:lnTo>
                  <a:lnTo>
                    <a:pt x="73" y="158"/>
                  </a:lnTo>
                  <a:lnTo>
                    <a:pt x="73" y="159"/>
                  </a:lnTo>
                  <a:lnTo>
                    <a:pt x="74" y="158"/>
                  </a:lnTo>
                  <a:lnTo>
                    <a:pt x="75" y="158"/>
                  </a:lnTo>
                  <a:lnTo>
                    <a:pt x="76" y="158"/>
                  </a:lnTo>
                  <a:lnTo>
                    <a:pt x="75" y="159"/>
                  </a:lnTo>
                  <a:lnTo>
                    <a:pt x="74" y="159"/>
                  </a:lnTo>
                  <a:lnTo>
                    <a:pt x="74" y="160"/>
                  </a:lnTo>
                  <a:lnTo>
                    <a:pt x="73" y="160"/>
                  </a:lnTo>
                  <a:lnTo>
                    <a:pt x="71" y="160"/>
                  </a:lnTo>
                  <a:lnTo>
                    <a:pt x="70" y="159"/>
                  </a:lnTo>
                  <a:lnTo>
                    <a:pt x="69" y="159"/>
                  </a:lnTo>
                  <a:lnTo>
                    <a:pt x="68" y="159"/>
                  </a:lnTo>
                  <a:lnTo>
                    <a:pt x="68" y="160"/>
                  </a:lnTo>
                  <a:lnTo>
                    <a:pt x="68" y="162"/>
                  </a:lnTo>
                  <a:lnTo>
                    <a:pt x="67" y="163"/>
                  </a:lnTo>
                  <a:lnTo>
                    <a:pt x="67" y="164"/>
                  </a:lnTo>
                  <a:lnTo>
                    <a:pt x="67" y="165"/>
                  </a:lnTo>
                  <a:lnTo>
                    <a:pt x="65" y="165"/>
                  </a:lnTo>
                  <a:lnTo>
                    <a:pt x="64" y="166"/>
                  </a:lnTo>
                  <a:lnTo>
                    <a:pt x="65" y="166"/>
                  </a:lnTo>
                  <a:lnTo>
                    <a:pt x="64" y="166"/>
                  </a:lnTo>
                  <a:lnTo>
                    <a:pt x="62" y="166"/>
                  </a:lnTo>
                  <a:lnTo>
                    <a:pt x="62" y="168"/>
                  </a:lnTo>
                  <a:lnTo>
                    <a:pt x="61" y="168"/>
                  </a:lnTo>
                  <a:lnTo>
                    <a:pt x="58" y="169"/>
                  </a:lnTo>
                  <a:lnTo>
                    <a:pt x="57" y="168"/>
                  </a:lnTo>
                  <a:lnTo>
                    <a:pt x="56" y="168"/>
                  </a:lnTo>
                  <a:lnTo>
                    <a:pt x="55" y="168"/>
                  </a:lnTo>
                  <a:lnTo>
                    <a:pt x="53" y="168"/>
                  </a:lnTo>
                  <a:lnTo>
                    <a:pt x="53" y="166"/>
                  </a:lnTo>
                  <a:lnTo>
                    <a:pt x="52" y="166"/>
                  </a:lnTo>
                  <a:lnTo>
                    <a:pt x="51" y="168"/>
                  </a:lnTo>
                  <a:lnTo>
                    <a:pt x="50" y="168"/>
                  </a:lnTo>
                  <a:lnTo>
                    <a:pt x="49" y="169"/>
                  </a:lnTo>
                  <a:lnTo>
                    <a:pt x="47" y="170"/>
                  </a:lnTo>
                  <a:lnTo>
                    <a:pt x="46" y="170"/>
                  </a:lnTo>
                  <a:lnTo>
                    <a:pt x="47" y="170"/>
                  </a:lnTo>
                  <a:lnTo>
                    <a:pt x="46" y="171"/>
                  </a:lnTo>
                  <a:lnTo>
                    <a:pt x="47" y="172"/>
                  </a:lnTo>
                  <a:lnTo>
                    <a:pt x="46" y="172"/>
                  </a:lnTo>
                  <a:lnTo>
                    <a:pt x="46" y="174"/>
                  </a:lnTo>
                  <a:lnTo>
                    <a:pt x="47" y="174"/>
                  </a:lnTo>
                  <a:lnTo>
                    <a:pt x="49" y="175"/>
                  </a:lnTo>
                  <a:lnTo>
                    <a:pt x="47" y="175"/>
                  </a:lnTo>
                  <a:lnTo>
                    <a:pt x="46" y="174"/>
                  </a:lnTo>
                  <a:lnTo>
                    <a:pt x="45" y="174"/>
                  </a:lnTo>
                  <a:lnTo>
                    <a:pt x="44" y="172"/>
                  </a:lnTo>
                  <a:lnTo>
                    <a:pt x="44" y="174"/>
                  </a:lnTo>
                  <a:lnTo>
                    <a:pt x="43" y="174"/>
                  </a:lnTo>
                  <a:lnTo>
                    <a:pt x="43" y="175"/>
                  </a:lnTo>
                  <a:lnTo>
                    <a:pt x="43" y="176"/>
                  </a:lnTo>
                  <a:lnTo>
                    <a:pt x="41" y="176"/>
                  </a:lnTo>
                  <a:lnTo>
                    <a:pt x="40" y="178"/>
                  </a:lnTo>
                  <a:lnTo>
                    <a:pt x="39" y="178"/>
                  </a:lnTo>
                  <a:lnTo>
                    <a:pt x="38" y="178"/>
                  </a:lnTo>
                  <a:lnTo>
                    <a:pt x="37" y="177"/>
                  </a:lnTo>
                  <a:lnTo>
                    <a:pt x="37" y="178"/>
                  </a:lnTo>
                  <a:lnTo>
                    <a:pt x="35" y="178"/>
                  </a:lnTo>
                  <a:lnTo>
                    <a:pt x="34" y="178"/>
                  </a:lnTo>
                  <a:lnTo>
                    <a:pt x="34" y="180"/>
                  </a:lnTo>
                  <a:lnTo>
                    <a:pt x="35" y="180"/>
                  </a:lnTo>
                  <a:lnTo>
                    <a:pt x="34" y="181"/>
                  </a:lnTo>
                  <a:lnTo>
                    <a:pt x="35" y="182"/>
                  </a:lnTo>
                  <a:lnTo>
                    <a:pt x="34" y="182"/>
                  </a:lnTo>
                  <a:lnTo>
                    <a:pt x="34" y="183"/>
                  </a:lnTo>
                  <a:lnTo>
                    <a:pt x="34" y="184"/>
                  </a:lnTo>
                  <a:lnTo>
                    <a:pt x="34" y="186"/>
                  </a:lnTo>
                  <a:lnTo>
                    <a:pt x="35" y="186"/>
                  </a:lnTo>
                  <a:lnTo>
                    <a:pt x="34" y="187"/>
                  </a:lnTo>
                  <a:lnTo>
                    <a:pt x="34" y="188"/>
                  </a:lnTo>
                  <a:lnTo>
                    <a:pt x="33" y="188"/>
                  </a:lnTo>
                  <a:lnTo>
                    <a:pt x="33" y="187"/>
                  </a:lnTo>
                  <a:lnTo>
                    <a:pt x="32" y="187"/>
                  </a:lnTo>
                  <a:lnTo>
                    <a:pt x="32" y="188"/>
                  </a:lnTo>
                  <a:lnTo>
                    <a:pt x="31" y="188"/>
                  </a:lnTo>
                  <a:lnTo>
                    <a:pt x="29" y="188"/>
                  </a:lnTo>
                  <a:lnTo>
                    <a:pt x="28" y="189"/>
                  </a:lnTo>
                  <a:lnTo>
                    <a:pt x="28" y="190"/>
                  </a:lnTo>
                  <a:lnTo>
                    <a:pt x="27" y="189"/>
                  </a:lnTo>
                  <a:lnTo>
                    <a:pt x="26" y="190"/>
                  </a:lnTo>
                  <a:lnTo>
                    <a:pt x="25" y="190"/>
                  </a:lnTo>
                  <a:lnTo>
                    <a:pt x="25" y="192"/>
                  </a:lnTo>
                  <a:lnTo>
                    <a:pt x="26" y="193"/>
                  </a:lnTo>
                  <a:lnTo>
                    <a:pt x="25" y="194"/>
                  </a:lnTo>
                  <a:lnTo>
                    <a:pt x="23" y="194"/>
                  </a:lnTo>
                  <a:lnTo>
                    <a:pt x="23" y="195"/>
                  </a:lnTo>
                  <a:lnTo>
                    <a:pt x="21" y="195"/>
                  </a:lnTo>
                  <a:lnTo>
                    <a:pt x="21" y="196"/>
                  </a:lnTo>
                  <a:lnTo>
                    <a:pt x="20" y="198"/>
                  </a:lnTo>
                  <a:lnTo>
                    <a:pt x="18" y="198"/>
                  </a:lnTo>
                  <a:lnTo>
                    <a:pt x="18" y="199"/>
                  </a:lnTo>
                  <a:lnTo>
                    <a:pt x="18" y="200"/>
                  </a:lnTo>
                  <a:lnTo>
                    <a:pt x="18" y="201"/>
                  </a:lnTo>
                  <a:lnTo>
                    <a:pt x="17" y="201"/>
                  </a:lnTo>
                  <a:lnTo>
                    <a:pt x="18" y="202"/>
                  </a:lnTo>
                  <a:lnTo>
                    <a:pt x="17" y="204"/>
                  </a:lnTo>
                  <a:lnTo>
                    <a:pt x="17" y="205"/>
                  </a:lnTo>
                  <a:lnTo>
                    <a:pt x="16" y="205"/>
                  </a:lnTo>
                  <a:lnTo>
                    <a:pt x="17" y="206"/>
                  </a:lnTo>
                  <a:lnTo>
                    <a:pt x="17" y="207"/>
                  </a:lnTo>
                  <a:lnTo>
                    <a:pt x="17" y="208"/>
                  </a:lnTo>
                  <a:lnTo>
                    <a:pt x="17" y="207"/>
                  </a:lnTo>
                  <a:lnTo>
                    <a:pt x="16" y="207"/>
                  </a:lnTo>
                  <a:lnTo>
                    <a:pt x="15" y="210"/>
                  </a:lnTo>
                  <a:lnTo>
                    <a:pt x="14" y="211"/>
                  </a:lnTo>
                  <a:lnTo>
                    <a:pt x="12" y="211"/>
                  </a:lnTo>
                  <a:lnTo>
                    <a:pt x="11" y="211"/>
                  </a:lnTo>
                  <a:lnTo>
                    <a:pt x="12" y="212"/>
                  </a:lnTo>
                  <a:lnTo>
                    <a:pt x="12" y="213"/>
                  </a:lnTo>
                  <a:lnTo>
                    <a:pt x="11" y="213"/>
                  </a:lnTo>
                  <a:lnTo>
                    <a:pt x="10" y="213"/>
                  </a:lnTo>
                  <a:lnTo>
                    <a:pt x="10" y="214"/>
                  </a:lnTo>
                  <a:lnTo>
                    <a:pt x="10" y="216"/>
                  </a:lnTo>
                  <a:lnTo>
                    <a:pt x="9" y="217"/>
                  </a:lnTo>
                  <a:lnTo>
                    <a:pt x="8" y="217"/>
                  </a:lnTo>
                  <a:lnTo>
                    <a:pt x="8" y="218"/>
                  </a:lnTo>
                  <a:lnTo>
                    <a:pt x="8" y="219"/>
                  </a:lnTo>
                  <a:lnTo>
                    <a:pt x="6" y="219"/>
                  </a:lnTo>
                  <a:lnTo>
                    <a:pt x="6" y="220"/>
                  </a:lnTo>
                  <a:lnTo>
                    <a:pt x="6" y="219"/>
                  </a:lnTo>
                  <a:lnTo>
                    <a:pt x="5" y="220"/>
                  </a:lnTo>
                  <a:lnTo>
                    <a:pt x="4" y="219"/>
                  </a:lnTo>
                  <a:lnTo>
                    <a:pt x="3" y="220"/>
                  </a:lnTo>
                  <a:lnTo>
                    <a:pt x="3" y="219"/>
                  </a:lnTo>
                  <a:lnTo>
                    <a:pt x="0" y="219"/>
                  </a:lnTo>
                  <a:lnTo>
                    <a:pt x="0" y="220"/>
                  </a:lnTo>
                  <a:lnTo>
                    <a:pt x="2" y="222"/>
                  </a:lnTo>
                  <a:lnTo>
                    <a:pt x="2" y="223"/>
                  </a:lnTo>
                  <a:lnTo>
                    <a:pt x="3" y="223"/>
                  </a:lnTo>
                  <a:lnTo>
                    <a:pt x="4" y="223"/>
                  </a:lnTo>
                  <a:lnTo>
                    <a:pt x="5" y="223"/>
                  </a:lnTo>
                  <a:lnTo>
                    <a:pt x="5" y="224"/>
                  </a:lnTo>
                  <a:lnTo>
                    <a:pt x="6" y="226"/>
                  </a:lnTo>
                  <a:lnTo>
                    <a:pt x="6" y="228"/>
                  </a:lnTo>
                  <a:lnTo>
                    <a:pt x="6" y="229"/>
                  </a:lnTo>
                  <a:lnTo>
                    <a:pt x="8" y="229"/>
                  </a:lnTo>
                  <a:lnTo>
                    <a:pt x="5" y="230"/>
                  </a:lnTo>
                  <a:lnTo>
                    <a:pt x="5" y="231"/>
                  </a:lnTo>
                  <a:lnTo>
                    <a:pt x="4" y="230"/>
                  </a:lnTo>
                  <a:lnTo>
                    <a:pt x="4" y="231"/>
                  </a:lnTo>
                  <a:lnTo>
                    <a:pt x="4" y="232"/>
                  </a:lnTo>
                  <a:lnTo>
                    <a:pt x="5" y="232"/>
                  </a:lnTo>
                  <a:lnTo>
                    <a:pt x="6" y="232"/>
                  </a:lnTo>
                  <a:lnTo>
                    <a:pt x="8" y="232"/>
                  </a:lnTo>
                  <a:lnTo>
                    <a:pt x="9" y="231"/>
                  </a:lnTo>
                  <a:lnTo>
                    <a:pt x="9" y="230"/>
                  </a:lnTo>
                  <a:lnTo>
                    <a:pt x="10" y="229"/>
                  </a:lnTo>
                  <a:lnTo>
                    <a:pt x="11" y="229"/>
                  </a:lnTo>
                  <a:lnTo>
                    <a:pt x="11" y="228"/>
                  </a:lnTo>
                  <a:lnTo>
                    <a:pt x="11" y="226"/>
                  </a:lnTo>
                  <a:lnTo>
                    <a:pt x="12" y="226"/>
                  </a:lnTo>
                  <a:lnTo>
                    <a:pt x="14" y="226"/>
                  </a:lnTo>
                  <a:lnTo>
                    <a:pt x="15" y="226"/>
                  </a:lnTo>
                  <a:lnTo>
                    <a:pt x="16" y="226"/>
                  </a:lnTo>
                  <a:lnTo>
                    <a:pt x="18" y="226"/>
                  </a:lnTo>
                  <a:lnTo>
                    <a:pt x="17" y="225"/>
                  </a:lnTo>
                  <a:lnTo>
                    <a:pt x="17" y="224"/>
                  </a:lnTo>
                  <a:lnTo>
                    <a:pt x="18" y="225"/>
                  </a:lnTo>
                  <a:lnTo>
                    <a:pt x="20" y="225"/>
                  </a:lnTo>
                  <a:lnTo>
                    <a:pt x="21" y="226"/>
                  </a:lnTo>
                  <a:lnTo>
                    <a:pt x="21" y="228"/>
                  </a:lnTo>
                  <a:lnTo>
                    <a:pt x="21" y="229"/>
                  </a:lnTo>
                  <a:lnTo>
                    <a:pt x="21" y="230"/>
                  </a:lnTo>
                  <a:lnTo>
                    <a:pt x="22" y="230"/>
                  </a:lnTo>
                  <a:lnTo>
                    <a:pt x="22" y="231"/>
                  </a:lnTo>
                  <a:lnTo>
                    <a:pt x="22" y="230"/>
                  </a:lnTo>
                  <a:lnTo>
                    <a:pt x="23" y="231"/>
                  </a:lnTo>
                  <a:lnTo>
                    <a:pt x="25" y="231"/>
                  </a:lnTo>
                  <a:lnTo>
                    <a:pt x="25" y="230"/>
                  </a:lnTo>
                  <a:lnTo>
                    <a:pt x="25" y="229"/>
                  </a:lnTo>
                  <a:lnTo>
                    <a:pt x="26" y="228"/>
                  </a:lnTo>
                  <a:lnTo>
                    <a:pt x="26" y="226"/>
                  </a:lnTo>
                  <a:lnTo>
                    <a:pt x="27" y="226"/>
                  </a:lnTo>
                  <a:lnTo>
                    <a:pt x="28" y="226"/>
                  </a:lnTo>
                  <a:lnTo>
                    <a:pt x="29" y="226"/>
                  </a:lnTo>
                  <a:lnTo>
                    <a:pt x="28" y="226"/>
                  </a:lnTo>
                  <a:lnTo>
                    <a:pt x="28" y="225"/>
                  </a:lnTo>
                  <a:lnTo>
                    <a:pt x="29" y="225"/>
                  </a:lnTo>
                  <a:lnTo>
                    <a:pt x="31" y="225"/>
                  </a:lnTo>
                  <a:lnTo>
                    <a:pt x="31" y="224"/>
                  </a:lnTo>
                  <a:lnTo>
                    <a:pt x="31" y="223"/>
                  </a:lnTo>
                  <a:lnTo>
                    <a:pt x="32" y="223"/>
                  </a:lnTo>
                  <a:lnTo>
                    <a:pt x="32" y="222"/>
                  </a:lnTo>
                  <a:lnTo>
                    <a:pt x="33" y="222"/>
                  </a:lnTo>
                  <a:lnTo>
                    <a:pt x="34" y="224"/>
                  </a:lnTo>
                  <a:lnTo>
                    <a:pt x="35" y="224"/>
                  </a:lnTo>
                  <a:lnTo>
                    <a:pt x="37" y="223"/>
                  </a:lnTo>
                  <a:lnTo>
                    <a:pt x="38" y="223"/>
                  </a:lnTo>
                  <a:lnTo>
                    <a:pt x="38" y="224"/>
                  </a:lnTo>
                  <a:lnTo>
                    <a:pt x="39" y="225"/>
                  </a:lnTo>
                  <a:lnTo>
                    <a:pt x="38" y="226"/>
                  </a:lnTo>
                  <a:lnTo>
                    <a:pt x="37" y="228"/>
                  </a:lnTo>
                  <a:lnTo>
                    <a:pt x="38" y="226"/>
                  </a:lnTo>
                  <a:lnTo>
                    <a:pt x="37" y="226"/>
                  </a:lnTo>
                  <a:lnTo>
                    <a:pt x="35" y="226"/>
                  </a:lnTo>
                  <a:lnTo>
                    <a:pt x="34" y="228"/>
                  </a:lnTo>
                  <a:lnTo>
                    <a:pt x="33" y="228"/>
                  </a:lnTo>
                  <a:lnTo>
                    <a:pt x="32" y="228"/>
                  </a:lnTo>
                  <a:lnTo>
                    <a:pt x="31" y="228"/>
                  </a:lnTo>
                  <a:lnTo>
                    <a:pt x="31" y="229"/>
                  </a:lnTo>
                  <a:lnTo>
                    <a:pt x="31" y="230"/>
                  </a:lnTo>
                  <a:lnTo>
                    <a:pt x="29" y="230"/>
                  </a:lnTo>
                  <a:lnTo>
                    <a:pt x="29" y="231"/>
                  </a:lnTo>
                  <a:lnTo>
                    <a:pt x="28" y="231"/>
                  </a:lnTo>
                  <a:lnTo>
                    <a:pt x="28" y="232"/>
                  </a:lnTo>
                  <a:lnTo>
                    <a:pt x="28" y="234"/>
                  </a:lnTo>
                  <a:lnTo>
                    <a:pt x="28" y="235"/>
                  </a:lnTo>
                  <a:lnTo>
                    <a:pt x="29" y="236"/>
                  </a:lnTo>
                  <a:lnTo>
                    <a:pt x="31" y="236"/>
                  </a:lnTo>
                  <a:lnTo>
                    <a:pt x="31" y="235"/>
                  </a:lnTo>
                  <a:lnTo>
                    <a:pt x="32" y="235"/>
                  </a:lnTo>
                  <a:lnTo>
                    <a:pt x="33" y="235"/>
                  </a:lnTo>
                  <a:lnTo>
                    <a:pt x="33" y="236"/>
                  </a:lnTo>
                  <a:lnTo>
                    <a:pt x="34" y="235"/>
                  </a:lnTo>
                  <a:lnTo>
                    <a:pt x="35" y="236"/>
                  </a:lnTo>
                  <a:lnTo>
                    <a:pt x="35" y="237"/>
                  </a:lnTo>
                  <a:lnTo>
                    <a:pt x="35" y="238"/>
                  </a:lnTo>
                  <a:lnTo>
                    <a:pt x="37" y="237"/>
                  </a:lnTo>
                  <a:lnTo>
                    <a:pt x="38" y="237"/>
                  </a:lnTo>
                  <a:lnTo>
                    <a:pt x="38" y="238"/>
                  </a:lnTo>
                  <a:lnTo>
                    <a:pt x="38" y="237"/>
                  </a:lnTo>
                  <a:lnTo>
                    <a:pt x="39" y="238"/>
                  </a:lnTo>
                  <a:lnTo>
                    <a:pt x="40" y="237"/>
                  </a:lnTo>
                  <a:lnTo>
                    <a:pt x="40" y="238"/>
                  </a:lnTo>
                  <a:lnTo>
                    <a:pt x="41" y="238"/>
                  </a:lnTo>
                  <a:lnTo>
                    <a:pt x="43" y="238"/>
                  </a:lnTo>
                  <a:lnTo>
                    <a:pt x="45" y="237"/>
                  </a:lnTo>
                  <a:lnTo>
                    <a:pt x="45" y="236"/>
                  </a:lnTo>
                  <a:lnTo>
                    <a:pt x="46" y="236"/>
                  </a:lnTo>
                  <a:lnTo>
                    <a:pt x="47" y="236"/>
                  </a:lnTo>
                  <a:lnTo>
                    <a:pt x="47" y="235"/>
                  </a:lnTo>
                  <a:lnTo>
                    <a:pt x="47" y="236"/>
                  </a:lnTo>
                  <a:lnTo>
                    <a:pt x="46" y="237"/>
                  </a:lnTo>
                  <a:lnTo>
                    <a:pt x="45" y="237"/>
                  </a:lnTo>
                  <a:lnTo>
                    <a:pt x="45" y="238"/>
                  </a:lnTo>
                  <a:lnTo>
                    <a:pt x="45" y="240"/>
                  </a:lnTo>
                  <a:lnTo>
                    <a:pt x="46" y="238"/>
                  </a:lnTo>
                  <a:lnTo>
                    <a:pt x="46" y="240"/>
                  </a:lnTo>
                  <a:lnTo>
                    <a:pt x="46" y="241"/>
                  </a:lnTo>
                  <a:lnTo>
                    <a:pt x="45" y="241"/>
                  </a:lnTo>
                  <a:lnTo>
                    <a:pt x="46" y="242"/>
                  </a:lnTo>
                  <a:lnTo>
                    <a:pt x="47" y="242"/>
                  </a:lnTo>
                  <a:lnTo>
                    <a:pt x="49" y="242"/>
                  </a:lnTo>
                  <a:lnTo>
                    <a:pt x="50" y="242"/>
                  </a:lnTo>
                  <a:lnTo>
                    <a:pt x="51" y="242"/>
                  </a:lnTo>
                  <a:lnTo>
                    <a:pt x="51" y="243"/>
                  </a:lnTo>
                  <a:lnTo>
                    <a:pt x="52" y="245"/>
                  </a:lnTo>
                  <a:lnTo>
                    <a:pt x="52" y="243"/>
                  </a:lnTo>
                  <a:lnTo>
                    <a:pt x="53" y="243"/>
                  </a:lnTo>
                  <a:lnTo>
                    <a:pt x="53" y="245"/>
                  </a:lnTo>
                  <a:lnTo>
                    <a:pt x="52" y="246"/>
                  </a:lnTo>
                  <a:lnTo>
                    <a:pt x="52" y="247"/>
                  </a:lnTo>
                  <a:lnTo>
                    <a:pt x="50" y="248"/>
                  </a:lnTo>
                  <a:lnTo>
                    <a:pt x="49" y="248"/>
                  </a:lnTo>
                  <a:lnTo>
                    <a:pt x="49" y="247"/>
                  </a:lnTo>
                  <a:lnTo>
                    <a:pt x="47" y="247"/>
                  </a:lnTo>
                  <a:lnTo>
                    <a:pt x="47" y="248"/>
                  </a:lnTo>
                  <a:lnTo>
                    <a:pt x="46" y="248"/>
                  </a:lnTo>
                  <a:lnTo>
                    <a:pt x="46" y="249"/>
                  </a:lnTo>
                  <a:lnTo>
                    <a:pt x="46" y="251"/>
                  </a:lnTo>
                  <a:lnTo>
                    <a:pt x="46" y="252"/>
                  </a:lnTo>
                  <a:lnTo>
                    <a:pt x="46" y="253"/>
                  </a:lnTo>
                  <a:lnTo>
                    <a:pt x="47" y="253"/>
                  </a:lnTo>
                  <a:lnTo>
                    <a:pt x="49" y="253"/>
                  </a:lnTo>
                  <a:lnTo>
                    <a:pt x="49" y="254"/>
                  </a:lnTo>
                  <a:lnTo>
                    <a:pt x="50" y="254"/>
                  </a:lnTo>
                  <a:lnTo>
                    <a:pt x="49" y="255"/>
                  </a:lnTo>
                  <a:lnTo>
                    <a:pt x="47" y="255"/>
                  </a:lnTo>
                  <a:lnTo>
                    <a:pt x="46" y="254"/>
                  </a:lnTo>
                  <a:lnTo>
                    <a:pt x="45" y="254"/>
                  </a:lnTo>
                  <a:lnTo>
                    <a:pt x="45" y="255"/>
                  </a:lnTo>
                  <a:lnTo>
                    <a:pt x="44" y="257"/>
                  </a:lnTo>
                  <a:lnTo>
                    <a:pt x="44" y="258"/>
                  </a:lnTo>
                  <a:lnTo>
                    <a:pt x="43" y="258"/>
                  </a:lnTo>
                  <a:lnTo>
                    <a:pt x="43" y="259"/>
                  </a:lnTo>
                  <a:lnTo>
                    <a:pt x="43" y="258"/>
                  </a:lnTo>
                  <a:lnTo>
                    <a:pt x="43" y="259"/>
                  </a:lnTo>
                  <a:lnTo>
                    <a:pt x="43" y="260"/>
                  </a:lnTo>
                  <a:lnTo>
                    <a:pt x="44" y="260"/>
                  </a:lnTo>
                  <a:lnTo>
                    <a:pt x="43" y="260"/>
                  </a:lnTo>
                  <a:lnTo>
                    <a:pt x="43" y="261"/>
                  </a:lnTo>
                  <a:lnTo>
                    <a:pt x="44" y="263"/>
                  </a:lnTo>
                  <a:lnTo>
                    <a:pt x="45" y="263"/>
                  </a:lnTo>
                  <a:lnTo>
                    <a:pt x="45" y="261"/>
                  </a:lnTo>
                  <a:lnTo>
                    <a:pt x="46" y="263"/>
                  </a:lnTo>
                  <a:lnTo>
                    <a:pt x="47" y="261"/>
                  </a:lnTo>
                  <a:lnTo>
                    <a:pt x="47" y="263"/>
                  </a:lnTo>
                  <a:lnTo>
                    <a:pt x="49" y="261"/>
                  </a:lnTo>
                  <a:lnTo>
                    <a:pt x="50" y="261"/>
                  </a:lnTo>
                  <a:lnTo>
                    <a:pt x="50" y="260"/>
                  </a:lnTo>
                  <a:lnTo>
                    <a:pt x="51" y="260"/>
                  </a:lnTo>
                  <a:lnTo>
                    <a:pt x="52" y="260"/>
                  </a:lnTo>
                  <a:lnTo>
                    <a:pt x="52" y="259"/>
                  </a:lnTo>
                  <a:lnTo>
                    <a:pt x="53" y="258"/>
                  </a:lnTo>
                  <a:lnTo>
                    <a:pt x="55" y="259"/>
                  </a:lnTo>
                  <a:lnTo>
                    <a:pt x="56" y="259"/>
                  </a:lnTo>
                  <a:lnTo>
                    <a:pt x="56" y="258"/>
                  </a:lnTo>
                  <a:lnTo>
                    <a:pt x="55" y="258"/>
                  </a:lnTo>
                  <a:lnTo>
                    <a:pt x="55" y="255"/>
                  </a:lnTo>
                  <a:lnTo>
                    <a:pt x="53" y="257"/>
                  </a:lnTo>
                  <a:lnTo>
                    <a:pt x="53" y="258"/>
                  </a:lnTo>
                  <a:lnTo>
                    <a:pt x="52" y="258"/>
                  </a:lnTo>
                  <a:lnTo>
                    <a:pt x="52" y="259"/>
                  </a:lnTo>
                  <a:lnTo>
                    <a:pt x="51" y="259"/>
                  </a:lnTo>
                  <a:lnTo>
                    <a:pt x="50" y="259"/>
                  </a:lnTo>
                  <a:lnTo>
                    <a:pt x="49" y="259"/>
                  </a:lnTo>
                  <a:lnTo>
                    <a:pt x="49" y="258"/>
                  </a:lnTo>
                  <a:lnTo>
                    <a:pt x="50" y="257"/>
                  </a:lnTo>
                  <a:lnTo>
                    <a:pt x="50" y="258"/>
                  </a:lnTo>
                  <a:lnTo>
                    <a:pt x="50" y="257"/>
                  </a:lnTo>
                  <a:lnTo>
                    <a:pt x="51" y="257"/>
                  </a:lnTo>
                  <a:lnTo>
                    <a:pt x="51" y="255"/>
                  </a:lnTo>
                  <a:lnTo>
                    <a:pt x="51" y="254"/>
                  </a:lnTo>
                  <a:lnTo>
                    <a:pt x="50" y="254"/>
                  </a:lnTo>
                  <a:lnTo>
                    <a:pt x="51" y="253"/>
                  </a:lnTo>
                  <a:lnTo>
                    <a:pt x="52" y="252"/>
                  </a:lnTo>
                  <a:lnTo>
                    <a:pt x="52" y="251"/>
                  </a:lnTo>
                  <a:lnTo>
                    <a:pt x="53" y="251"/>
                  </a:lnTo>
                  <a:lnTo>
                    <a:pt x="53" y="252"/>
                  </a:lnTo>
                  <a:lnTo>
                    <a:pt x="55" y="252"/>
                  </a:lnTo>
                  <a:lnTo>
                    <a:pt x="53" y="252"/>
                  </a:lnTo>
                  <a:lnTo>
                    <a:pt x="52" y="253"/>
                  </a:lnTo>
                  <a:lnTo>
                    <a:pt x="53" y="253"/>
                  </a:lnTo>
                  <a:lnTo>
                    <a:pt x="55" y="253"/>
                  </a:lnTo>
                  <a:lnTo>
                    <a:pt x="55" y="252"/>
                  </a:lnTo>
                  <a:lnTo>
                    <a:pt x="56" y="252"/>
                  </a:lnTo>
                  <a:lnTo>
                    <a:pt x="56" y="251"/>
                  </a:lnTo>
                  <a:lnTo>
                    <a:pt x="57" y="251"/>
                  </a:lnTo>
                  <a:lnTo>
                    <a:pt x="58" y="249"/>
                  </a:lnTo>
                  <a:lnTo>
                    <a:pt x="59" y="248"/>
                  </a:lnTo>
                  <a:lnTo>
                    <a:pt x="61" y="248"/>
                  </a:lnTo>
                  <a:lnTo>
                    <a:pt x="61" y="247"/>
                  </a:lnTo>
                  <a:lnTo>
                    <a:pt x="59" y="247"/>
                  </a:lnTo>
                  <a:lnTo>
                    <a:pt x="59" y="246"/>
                  </a:lnTo>
                  <a:lnTo>
                    <a:pt x="58" y="245"/>
                  </a:lnTo>
                  <a:lnTo>
                    <a:pt x="59" y="245"/>
                  </a:lnTo>
                  <a:lnTo>
                    <a:pt x="58" y="243"/>
                  </a:lnTo>
                  <a:lnTo>
                    <a:pt x="59" y="243"/>
                  </a:lnTo>
                  <a:lnTo>
                    <a:pt x="59" y="245"/>
                  </a:lnTo>
                  <a:lnTo>
                    <a:pt x="62" y="245"/>
                  </a:lnTo>
                  <a:lnTo>
                    <a:pt x="62" y="243"/>
                  </a:lnTo>
                  <a:lnTo>
                    <a:pt x="63" y="243"/>
                  </a:lnTo>
                  <a:lnTo>
                    <a:pt x="64" y="242"/>
                  </a:lnTo>
                  <a:lnTo>
                    <a:pt x="65" y="242"/>
                  </a:lnTo>
                  <a:lnTo>
                    <a:pt x="67" y="242"/>
                  </a:lnTo>
                  <a:lnTo>
                    <a:pt x="67" y="241"/>
                  </a:lnTo>
                  <a:lnTo>
                    <a:pt x="67" y="240"/>
                  </a:lnTo>
                  <a:lnTo>
                    <a:pt x="68" y="238"/>
                  </a:lnTo>
                  <a:lnTo>
                    <a:pt x="67" y="237"/>
                  </a:lnTo>
                  <a:lnTo>
                    <a:pt x="67" y="238"/>
                  </a:lnTo>
                  <a:lnTo>
                    <a:pt x="65" y="237"/>
                  </a:lnTo>
                  <a:lnTo>
                    <a:pt x="64" y="236"/>
                  </a:lnTo>
                  <a:lnTo>
                    <a:pt x="64" y="237"/>
                  </a:lnTo>
                  <a:lnTo>
                    <a:pt x="64" y="236"/>
                  </a:lnTo>
                  <a:lnTo>
                    <a:pt x="64" y="235"/>
                  </a:lnTo>
                  <a:lnTo>
                    <a:pt x="64" y="236"/>
                  </a:lnTo>
                  <a:lnTo>
                    <a:pt x="64" y="235"/>
                  </a:lnTo>
                  <a:lnTo>
                    <a:pt x="64" y="234"/>
                  </a:lnTo>
                  <a:lnTo>
                    <a:pt x="63" y="232"/>
                  </a:lnTo>
                  <a:lnTo>
                    <a:pt x="63" y="234"/>
                  </a:lnTo>
                  <a:lnTo>
                    <a:pt x="63" y="235"/>
                  </a:lnTo>
                  <a:lnTo>
                    <a:pt x="63" y="236"/>
                  </a:lnTo>
                  <a:lnTo>
                    <a:pt x="62" y="236"/>
                  </a:lnTo>
                  <a:lnTo>
                    <a:pt x="62" y="235"/>
                  </a:lnTo>
                  <a:lnTo>
                    <a:pt x="62" y="236"/>
                  </a:lnTo>
                  <a:lnTo>
                    <a:pt x="63" y="236"/>
                  </a:lnTo>
                  <a:lnTo>
                    <a:pt x="63" y="237"/>
                  </a:lnTo>
                  <a:lnTo>
                    <a:pt x="62" y="237"/>
                  </a:lnTo>
                  <a:lnTo>
                    <a:pt x="61" y="237"/>
                  </a:lnTo>
                  <a:lnTo>
                    <a:pt x="61" y="236"/>
                  </a:lnTo>
                  <a:lnTo>
                    <a:pt x="59" y="237"/>
                  </a:lnTo>
                  <a:lnTo>
                    <a:pt x="61" y="237"/>
                  </a:lnTo>
                  <a:lnTo>
                    <a:pt x="59" y="238"/>
                  </a:lnTo>
                  <a:lnTo>
                    <a:pt x="58" y="238"/>
                  </a:lnTo>
                  <a:lnTo>
                    <a:pt x="57" y="238"/>
                  </a:lnTo>
                  <a:lnTo>
                    <a:pt x="57" y="236"/>
                  </a:lnTo>
                  <a:lnTo>
                    <a:pt x="58" y="236"/>
                  </a:lnTo>
                  <a:lnTo>
                    <a:pt x="57" y="235"/>
                  </a:lnTo>
                  <a:lnTo>
                    <a:pt x="57" y="234"/>
                  </a:lnTo>
                  <a:lnTo>
                    <a:pt x="57" y="232"/>
                  </a:lnTo>
                  <a:lnTo>
                    <a:pt x="58" y="232"/>
                  </a:lnTo>
                  <a:lnTo>
                    <a:pt x="59" y="232"/>
                  </a:lnTo>
                  <a:lnTo>
                    <a:pt x="61" y="232"/>
                  </a:lnTo>
                  <a:lnTo>
                    <a:pt x="62" y="232"/>
                  </a:lnTo>
                  <a:lnTo>
                    <a:pt x="63" y="232"/>
                  </a:lnTo>
                  <a:lnTo>
                    <a:pt x="64" y="232"/>
                  </a:lnTo>
                  <a:lnTo>
                    <a:pt x="65" y="232"/>
                  </a:lnTo>
                  <a:lnTo>
                    <a:pt x="67" y="231"/>
                  </a:lnTo>
                  <a:lnTo>
                    <a:pt x="69" y="230"/>
                  </a:lnTo>
                  <a:lnTo>
                    <a:pt x="70" y="230"/>
                  </a:lnTo>
                  <a:lnTo>
                    <a:pt x="70" y="231"/>
                  </a:lnTo>
                  <a:lnTo>
                    <a:pt x="69" y="231"/>
                  </a:lnTo>
                  <a:lnTo>
                    <a:pt x="70" y="232"/>
                  </a:lnTo>
                  <a:lnTo>
                    <a:pt x="71" y="232"/>
                  </a:lnTo>
                  <a:lnTo>
                    <a:pt x="73" y="234"/>
                  </a:lnTo>
                  <a:lnTo>
                    <a:pt x="74" y="234"/>
                  </a:lnTo>
                  <a:lnTo>
                    <a:pt x="75" y="234"/>
                  </a:lnTo>
                  <a:lnTo>
                    <a:pt x="76" y="234"/>
                  </a:lnTo>
                  <a:lnTo>
                    <a:pt x="76" y="232"/>
                  </a:lnTo>
                  <a:lnTo>
                    <a:pt x="77" y="232"/>
                  </a:lnTo>
                  <a:lnTo>
                    <a:pt x="79" y="234"/>
                  </a:lnTo>
                  <a:lnTo>
                    <a:pt x="80" y="234"/>
                  </a:lnTo>
                  <a:lnTo>
                    <a:pt x="80" y="235"/>
                  </a:lnTo>
                  <a:lnTo>
                    <a:pt x="81" y="235"/>
                  </a:lnTo>
                  <a:lnTo>
                    <a:pt x="81" y="234"/>
                  </a:lnTo>
                  <a:lnTo>
                    <a:pt x="82" y="234"/>
                  </a:lnTo>
                  <a:lnTo>
                    <a:pt x="83" y="235"/>
                  </a:lnTo>
                  <a:lnTo>
                    <a:pt x="85" y="234"/>
                  </a:lnTo>
                  <a:lnTo>
                    <a:pt x="85" y="231"/>
                  </a:lnTo>
                  <a:lnTo>
                    <a:pt x="86" y="231"/>
                  </a:lnTo>
                  <a:lnTo>
                    <a:pt x="87" y="231"/>
                  </a:lnTo>
                  <a:lnTo>
                    <a:pt x="88" y="231"/>
                  </a:lnTo>
                  <a:lnTo>
                    <a:pt x="92" y="232"/>
                  </a:lnTo>
                  <a:lnTo>
                    <a:pt x="93" y="232"/>
                  </a:lnTo>
                  <a:lnTo>
                    <a:pt x="94" y="232"/>
                  </a:lnTo>
                  <a:lnTo>
                    <a:pt x="97" y="232"/>
                  </a:lnTo>
                  <a:lnTo>
                    <a:pt x="98" y="234"/>
                  </a:lnTo>
                  <a:lnTo>
                    <a:pt x="100" y="234"/>
                  </a:lnTo>
                  <a:lnTo>
                    <a:pt x="102" y="234"/>
                  </a:lnTo>
                  <a:lnTo>
                    <a:pt x="103" y="234"/>
                  </a:lnTo>
                  <a:lnTo>
                    <a:pt x="105" y="234"/>
                  </a:lnTo>
                  <a:lnTo>
                    <a:pt x="109" y="234"/>
                  </a:lnTo>
                  <a:lnTo>
                    <a:pt x="110" y="235"/>
                  </a:lnTo>
                  <a:lnTo>
                    <a:pt x="110" y="236"/>
                  </a:lnTo>
                  <a:lnTo>
                    <a:pt x="109" y="236"/>
                  </a:lnTo>
                  <a:lnTo>
                    <a:pt x="109" y="237"/>
                  </a:lnTo>
                  <a:lnTo>
                    <a:pt x="109" y="236"/>
                  </a:lnTo>
                  <a:lnTo>
                    <a:pt x="108" y="237"/>
                  </a:lnTo>
                  <a:lnTo>
                    <a:pt x="106" y="237"/>
                  </a:lnTo>
                  <a:lnTo>
                    <a:pt x="105" y="236"/>
                  </a:lnTo>
                  <a:lnTo>
                    <a:pt x="105" y="237"/>
                  </a:lnTo>
                  <a:lnTo>
                    <a:pt x="104" y="237"/>
                  </a:lnTo>
                  <a:lnTo>
                    <a:pt x="103" y="238"/>
                  </a:lnTo>
                  <a:lnTo>
                    <a:pt x="103" y="240"/>
                  </a:lnTo>
                  <a:lnTo>
                    <a:pt x="102" y="240"/>
                  </a:lnTo>
                  <a:lnTo>
                    <a:pt x="102" y="241"/>
                  </a:lnTo>
                  <a:lnTo>
                    <a:pt x="102" y="242"/>
                  </a:lnTo>
                  <a:lnTo>
                    <a:pt x="102" y="243"/>
                  </a:lnTo>
                  <a:lnTo>
                    <a:pt x="102" y="245"/>
                  </a:lnTo>
                  <a:lnTo>
                    <a:pt x="103" y="246"/>
                  </a:lnTo>
                  <a:lnTo>
                    <a:pt x="104" y="246"/>
                  </a:lnTo>
                  <a:lnTo>
                    <a:pt x="105" y="247"/>
                  </a:lnTo>
                  <a:lnTo>
                    <a:pt x="108" y="247"/>
                  </a:lnTo>
                  <a:lnTo>
                    <a:pt x="106" y="247"/>
                  </a:lnTo>
                  <a:lnTo>
                    <a:pt x="105" y="248"/>
                  </a:lnTo>
                  <a:lnTo>
                    <a:pt x="103" y="248"/>
                  </a:lnTo>
                  <a:lnTo>
                    <a:pt x="98" y="248"/>
                  </a:lnTo>
                  <a:lnTo>
                    <a:pt x="97" y="248"/>
                  </a:lnTo>
                  <a:lnTo>
                    <a:pt x="94" y="248"/>
                  </a:lnTo>
                  <a:lnTo>
                    <a:pt x="92" y="249"/>
                  </a:lnTo>
                  <a:lnTo>
                    <a:pt x="91" y="249"/>
                  </a:lnTo>
                  <a:lnTo>
                    <a:pt x="90" y="249"/>
                  </a:lnTo>
                  <a:lnTo>
                    <a:pt x="90" y="248"/>
                  </a:lnTo>
                  <a:lnTo>
                    <a:pt x="90" y="247"/>
                  </a:lnTo>
                  <a:lnTo>
                    <a:pt x="91" y="248"/>
                  </a:lnTo>
                  <a:lnTo>
                    <a:pt x="91" y="247"/>
                  </a:lnTo>
                  <a:lnTo>
                    <a:pt x="92" y="246"/>
                  </a:lnTo>
                  <a:lnTo>
                    <a:pt x="91" y="246"/>
                  </a:lnTo>
                  <a:lnTo>
                    <a:pt x="88" y="246"/>
                  </a:lnTo>
                  <a:lnTo>
                    <a:pt x="87" y="246"/>
                  </a:lnTo>
                  <a:lnTo>
                    <a:pt x="87" y="247"/>
                  </a:lnTo>
                  <a:lnTo>
                    <a:pt x="86" y="247"/>
                  </a:lnTo>
                  <a:lnTo>
                    <a:pt x="85" y="246"/>
                  </a:lnTo>
                  <a:lnTo>
                    <a:pt x="83" y="246"/>
                  </a:lnTo>
                  <a:lnTo>
                    <a:pt x="83" y="245"/>
                  </a:lnTo>
                  <a:lnTo>
                    <a:pt x="82" y="245"/>
                  </a:lnTo>
                  <a:lnTo>
                    <a:pt x="81" y="243"/>
                  </a:lnTo>
                  <a:lnTo>
                    <a:pt x="80" y="243"/>
                  </a:lnTo>
                  <a:lnTo>
                    <a:pt x="79" y="243"/>
                  </a:lnTo>
                  <a:lnTo>
                    <a:pt x="77" y="243"/>
                  </a:lnTo>
                  <a:lnTo>
                    <a:pt x="76" y="245"/>
                  </a:lnTo>
                  <a:lnTo>
                    <a:pt x="75" y="246"/>
                  </a:lnTo>
                  <a:lnTo>
                    <a:pt x="74" y="247"/>
                  </a:lnTo>
                  <a:lnTo>
                    <a:pt x="74" y="248"/>
                  </a:lnTo>
                  <a:lnTo>
                    <a:pt x="73" y="247"/>
                  </a:lnTo>
                  <a:lnTo>
                    <a:pt x="73" y="248"/>
                  </a:lnTo>
                  <a:lnTo>
                    <a:pt x="71" y="249"/>
                  </a:lnTo>
                  <a:lnTo>
                    <a:pt x="70" y="251"/>
                  </a:lnTo>
                  <a:lnTo>
                    <a:pt x="70" y="249"/>
                  </a:lnTo>
                  <a:lnTo>
                    <a:pt x="69" y="249"/>
                  </a:lnTo>
                  <a:lnTo>
                    <a:pt x="68" y="249"/>
                  </a:lnTo>
                  <a:lnTo>
                    <a:pt x="67" y="249"/>
                  </a:lnTo>
                  <a:lnTo>
                    <a:pt x="65" y="249"/>
                  </a:lnTo>
                  <a:lnTo>
                    <a:pt x="65" y="251"/>
                  </a:lnTo>
                  <a:lnTo>
                    <a:pt x="65" y="252"/>
                  </a:lnTo>
                  <a:lnTo>
                    <a:pt x="64" y="253"/>
                  </a:lnTo>
                  <a:lnTo>
                    <a:pt x="64" y="254"/>
                  </a:lnTo>
                  <a:lnTo>
                    <a:pt x="64" y="255"/>
                  </a:lnTo>
                  <a:lnTo>
                    <a:pt x="65" y="255"/>
                  </a:lnTo>
                  <a:lnTo>
                    <a:pt x="64" y="255"/>
                  </a:lnTo>
                  <a:lnTo>
                    <a:pt x="63" y="257"/>
                  </a:lnTo>
                  <a:lnTo>
                    <a:pt x="62" y="257"/>
                  </a:lnTo>
                  <a:lnTo>
                    <a:pt x="61" y="257"/>
                  </a:lnTo>
                  <a:lnTo>
                    <a:pt x="59" y="258"/>
                  </a:lnTo>
                  <a:lnTo>
                    <a:pt x="59" y="259"/>
                  </a:lnTo>
                  <a:lnTo>
                    <a:pt x="59" y="260"/>
                  </a:lnTo>
                  <a:lnTo>
                    <a:pt x="61" y="261"/>
                  </a:lnTo>
                  <a:lnTo>
                    <a:pt x="59" y="260"/>
                  </a:lnTo>
                  <a:lnTo>
                    <a:pt x="58" y="260"/>
                  </a:lnTo>
                  <a:lnTo>
                    <a:pt x="58" y="261"/>
                  </a:lnTo>
                  <a:lnTo>
                    <a:pt x="58" y="263"/>
                  </a:lnTo>
                  <a:lnTo>
                    <a:pt x="58" y="264"/>
                  </a:lnTo>
                  <a:lnTo>
                    <a:pt x="57" y="265"/>
                  </a:lnTo>
                  <a:lnTo>
                    <a:pt x="56" y="266"/>
                  </a:lnTo>
                  <a:lnTo>
                    <a:pt x="57" y="266"/>
                  </a:lnTo>
                  <a:lnTo>
                    <a:pt x="58" y="266"/>
                  </a:lnTo>
                  <a:lnTo>
                    <a:pt x="58" y="267"/>
                  </a:lnTo>
                  <a:lnTo>
                    <a:pt x="57" y="267"/>
                  </a:lnTo>
                  <a:lnTo>
                    <a:pt x="56" y="270"/>
                  </a:lnTo>
                  <a:lnTo>
                    <a:pt x="57" y="269"/>
                  </a:lnTo>
                  <a:lnTo>
                    <a:pt x="56" y="269"/>
                  </a:lnTo>
                  <a:lnTo>
                    <a:pt x="56" y="270"/>
                  </a:lnTo>
                  <a:lnTo>
                    <a:pt x="55" y="271"/>
                  </a:lnTo>
                  <a:lnTo>
                    <a:pt x="53" y="272"/>
                  </a:lnTo>
                  <a:lnTo>
                    <a:pt x="52" y="272"/>
                  </a:lnTo>
                  <a:lnTo>
                    <a:pt x="52" y="273"/>
                  </a:lnTo>
                  <a:lnTo>
                    <a:pt x="53" y="276"/>
                  </a:lnTo>
                  <a:lnTo>
                    <a:pt x="55" y="277"/>
                  </a:lnTo>
                  <a:lnTo>
                    <a:pt x="56" y="276"/>
                  </a:lnTo>
                  <a:lnTo>
                    <a:pt x="57" y="276"/>
                  </a:lnTo>
                  <a:lnTo>
                    <a:pt x="57" y="275"/>
                  </a:lnTo>
                  <a:lnTo>
                    <a:pt x="58" y="275"/>
                  </a:lnTo>
                  <a:lnTo>
                    <a:pt x="59" y="275"/>
                  </a:lnTo>
                  <a:lnTo>
                    <a:pt x="59" y="273"/>
                  </a:lnTo>
                  <a:lnTo>
                    <a:pt x="61" y="273"/>
                  </a:lnTo>
                  <a:lnTo>
                    <a:pt x="62" y="273"/>
                  </a:lnTo>
                  <a:lnTo>
                    <a:pt x="63" y="272"/>
                  </a:lnTo>
                  <a:lnTo>
                    <a:pt x="63" y="271"/>
                  </a:lnTo>
                  <a:lnTo>
                    <a:pt x="64" y="272"/>
                  </a:lnTo>
                  <a:lnTo>
                    <a:pt x="63" y="272"/>
                  </a:lnTo>
                  <a:lnTo>
                    <a:pt x="64" y="272"/>
                  </a:lnTo>
                  <a:lnTo>
                    <a:pt x="64" y="273"/>
                  </a:lnTo>
                  <a:lnTo>
                    <a:pt x="65" y="273"/>
                  </a:lnTo>
                  <a:lnTo>
                    <a:pt x="64" y="273"/>
                  </a:lnTo>
                  <a:lnTo>
                    <a:pt x="65" y="271"/>
                  </a:lnTo>
                  <a:lnTo>
                    <a:pt x="67" y="271"/>
                  </a:lnTo>
                  <a:lnTo>
                    <a:pt x="67" y="272"/>
                  </a:lnTo>
                  <a:lnTo>
                    <a:pt x="68" y="271"/>
                  </a:lnTo>
                  <a:lnTo>
                    <a:pt x="67" y="271"/>
                  </a:lnTo>
                  <a:lnTo>
                    <a:pt x="68" y="270"/>
                  </a:lnTo>
                  <a:lnTo>
                    <a:pt x="69" y="270"/>
                  </a:lnTo>
                  <a:lnTo>
                    <a:pt x="70" y="270"/>
                  </a:lnTo>
                  <a:lnTo>
                    <a:pt x="71" y="270"/>
                  </a:lnTo>
                  <a:lnTo>
                    <a:pt x="71" y="269"/>
                  </a:lnTo>
                  <a:lnTo>
                    <a:pt x="73" y="269"/>
                  </a:lnTo>
                  <a:lnTo>
                    <a:pt x="73" y="270"/>
                  </a:lnTo>
                  <a:lnTo>
                    <a:pt x="74" y="270"/>
                  </a:lnTo>
                  <a:lnTo>
                    <a:pt x="73" y="271"/>
                  </a:lnTo>
                  <a:lnTo>
                    <a:pt x="71" y="271"/>
                  </a:lnTo>
                  <a:lnTo>
                    <a:pt x="71" y="272"/>
                  </a:lnTo>
                  <a:lnTo>
                    <a:pt x="73" y="271"/>
                  </a:lnTo>
                  <a:lnTo>
                    <a:pt x="73" y="272"/>
                  </a:lnTo>
                  <a:lnTo>
                    <a:pt x="74" y="272"/>
                  </a:lnTo>
                  <a:lnTo>
                    <a:pt x="75" y="272"/>
                  </a:lnTo>
                  <a:lnTo>
                    <a:pt x="76" y="273"/>
                  </a:lnTo>
                  <a:lnTo>
                    <a:pt x="77" y="273"/>
                  </a:lnTo>
                  <a:lnTo>
                    <a:pt x="77" y="275"/>
                  </a:lnTo>
                  <a:lnTo>
                    <a:pt x="79" y="275"/>
                  </a:lnTo>
                  <a:lnTo>
                    <a:pt x="79" y="273"/>
                  </a:lnTo>
                  <a:lnTo>
                    <a:pt x="79" y="275"/>
                  </a:lnTo>
                  <a:lnTo>
                    <a:pt x="77" y="275"/>
                  </a:lnTo>
                  <a:lnTo>
                    <a:pt x="76" y="276"/>
                  </a:lnTo>
                  <a:lnTo>
                    <a:pt x="79" y="276"/>
                  </a:lnTo>
                  <a:lnTo>
                    <a:pt x="80" y="276"/>
                  </a:lnTo>
                  <a:lnTo>
                    <a:pt x="81" y="276"/>
                  </a:lnTo>
                  <a:lnTo>
                    <a:pt x="82" y="276"/>
                  </a:lnTo>
                  <a:lnTo>
                    <a:pt x="83" y="276"/>
                  </a:lnTo>
                  <a:lnTo>
                    <a:pt x="85" y="275"/>
                  </a:lnTo>
                  <a:lnTo>
                    <a:pt x="86" y="276"/>
                  </a:lnTo>
                  <a:lnTo>
                    <a:pt x="85" y="277"/>
                  </a:lnTo>
                  <a:lnTo>
                    <a:pt x="85" y="278"/>
                  </a:lnTo>
                  <a:lnTo>
                    <a:pt x="86" y="277"/>
                  </a:lnTo>
                  <a:lnTo>
                    <a:pt x="87" y="277"/>
                  </a:lnTo>
                  <a:lnTo>
                    <a:pt x="87" y="278"/>
                  </a:lnTo>
                  <a:lnTo>
                    <a:pt x="88" y="278"/>
                  </a:lnTo>
                  <a:lnTo>
                    <a:pt x="88" y="277"/>
                  </a:lnTo>
                  <a:lnTo>
                    <a:pt x="90" y="278"/>
                  </a:lnTo>
                  <a:lnTo>
                    <a:pt x="90" y="277"/>
                  </a:lnTo>
                  <a:lnTo>
                    <a:pt x="90" y="276"/>
                  </a:lnTo>
                  <a:lnTo>
                    <a:pt x="88" y="276"/>
                  </a:lnTo>
                  <a:lnTo>
                    <a:pt x="88" y="275"/>
                  </a:lnTo>
                  <a:lnTo>
                    <a:pt x="88" y="273"/>
                  </a:lnTo>
                  <a:lnTo>
                    <a:pt x="90" y="275"/>
                  </a:lnTo>
                  <a:lnTo>
                    <a:pt x="91" y="275"/>
                  </a:lnTo>
                  <a:lnTo>
                    <a:pt x="91" y="273"/>
                  </a:lnTo>
                  <a:lnTo>
                    <a:pt x="92" y="273"/>
                  </a:lnTo>
                  <a:lnTo>
                    <a:pt x="92" y="272"/>
                  </a:lnTo>
                  <a:lnTo>
                    <a:pt x="92" y="271"/>
                  </a:lnTo>
                  <a:lnTo>
                    <a:pt x="91" y="271"/>
                  </a:lnTo>
                  <a:lnTo>
                    <a:pt x="90" y="271"/>
                  </a:lnTo>
                  <a:lnTo>
                    <a:pt x="88" y="271"/>
                  </a:lnTo>
                  <a:lnTo>
                    <a:pt x="87" y="270"/>
                  </a:lnTo>
                  <a:lnTo>
                    <a:pt x="86" y="270"/>
                  </a:lnTo>
                  <a:lnTo>
                    <a:pt x="86" y="269"/>
                  </a:lnTo>
                  <a:lnTo>
                    <a:pt x="87" y="267"/>
                  </a:lnTo>
                  <a:lnTo>
                    <a:pt x="87" y="266"/>
                  </a:lnTo>
                  <a:lnTo>
                    <a:pt x="86" y="266"/>
                  </a:lnTo>
                  <a:lnTo>
                    <a:pt x="86" y="265"/>
                  </a:lnTo>
                  <a:lnTo>
                    <a:pt x="85" y="264"/>
                  </a:lnTo>
                  <a:lnTo>
                    <a:pt x="86" y="264"/>
                  </a:lnTo>
                  <a:lnTo>
                    <a:pt x="86" y="263"/>
                  </a:lnTo>
                  <a:lnTo>
                    <a:pt x="87" y="263"/>
                  </a:lnTo>
                  <a:lnTo>
                    <a:pt x="88" y="263"/>
                  </a:lnTo>
                  <a:lnTo>
                    <a:pt x="88" y="261"/>
                  </a:lnTo>
                  <a:lnTo>
                    <a:pt x="87" y="260"/>
                  </a:lnTo>
                  <a:lnTo>
                    <a:pt x="87" y="259"/>
                  </a:lnTo>
                  <a:lnTo>
                    <a:pt x="87" y="258"/>
                  </a:lnTo>
                  <a:lnTo>
                    <a:pt x="87" y="259"/>
                  </a:lnTo>
                  <a:lnTo>
                    <a:pt x="87" y="258"/>
                  </a:lnTo>
                  <a:lnTo>
                    <a:pt x="87" y="257"/>
                  </a:lnTo>
                  <a:lnTo>
                    <a:pt x="86" y="257"/>
                  </a:lnTo>
                  <a:lnTo>
                    <a:pt x="87" y="255"/>
                  </a:lnTo>
                  <a:lnTo>
                    <a:pt x="88" y="253"/>
                  </a:lnTo>
                  <a:lnTo>
                    <a:pt x="87" y="252"/>
                  </a:lnTo>
                  <a:lnTo>
                    <a:pt x="88" y="252"/>
                  </a:lnTo>
                  <a:lnTo>
                    <a:pt x="90" y="252"/>
                  </a:lnTo>
                  <a:lnTo>
                    <a:pt x="90" y="253"/>
                  </a:lnTo>
                  <a:lnTo>
                    <a:pt x="91" y="253"/>
                  </a:lnTo>
                  <a:lnTo>
                    <a:pt x="91" y="252"/>
                  </a:lnTo>
                  <a:lnTo>
                    <a:pt x="92" y="251"/>
                  </a:lnTo>
                  <a:lnTo>
                    <a:pt x="97" y="251"/>
                  </a:lnTo>
                  <a:lnTo>
                    <a:pt x="98" y="251"/>
                  </a:lnTo>
                  <a:lnTo>
                    <a:pt x="99" y="249"/>
                  </a:lnTo>
                  <a:lnTo>
                    <a:pt x="102" y="249"/>
                  </a:lnTo>
                  <a:lnTo>
                    <a:pt x="103" y="251"/>
                  </a:lnTo>
                  <a:lnTo>
                    <a:pt x="102" y="251"/>
                  </a:lnTo>
                  <a:lnTo>
                    <a:pt x="103" y="252"/>
                  </a:lnTo>
                  <a:lnTo>
                    <a:pt x="103" y="251"/>
                  </a:lnTo>
                  <a:lnTo>
                    <a:pt x="104" y="252"/>
                  </a:lnTo>
                  <a:lnTo>
                    <a:pt x="105" y="251"/>
                  </a:lnTo>
                  <a:lnTo>
                    <a:pt x="105" y="252"/>
                  </a:lnTo>
                  <a:lnTo>
                    <a:pt x="106" y="253"/>
                  </a:lnTo>
                  <a:lnTo>
                    <a:pt x="108" y="252"/>
                  </a:lnTo>
                  <a:lnTo>
                    <a:pt x="109" y="253"/>
                  </a:lnTo>
                  <a:lnTo>
                    <a:pt x="110" y="254"/>
                  </a:lnTo>
                  <a:lnTo>
                    <a:pt x="111" y="257"/>
                  </a:lnTo>
                  <a:lnTo>
                    <a:pt x="112" y="257"/>
                  </a:lnTo>
                  <a:lnTo>
                    <a:pt x="114" y="257"/>
                  </a:lnTo>
                  <a:lnTo>
                    <a:pt x="114" y="255"/>
                  </a:lnTo>
                  <a:lnTo>
                    <a:pt x="115" y="255"/>
                  </a:lnTo>
                  <a:lnTo>
                    <a:pt x="115" y="254"/>
                  </a:lnTo>
                  <a:lnTo>
                    <a:pt x="116" y="254"/>
                  </a:lnTo>
                  <a:lnTo>
                    <a:pt x="118" y="254"/>
                  </a:lnTo>
                  <a:lnTo>
                    <a:pt x="120" y="254"/>
                  </a:lnTo>
                  <a:lnTo>
                    <a:pt x="122" y="255"/>
                  </a:lnTo>
                  <a:lnTo>
                    <a:pt x="121" y="257"/>
                  </a:lnTo>
                  <a:lnTo>
                    <a:pt x="120" y="255"/>
                  </a:lnTo>
                  <a:lnTo>
                    <a:pt x="118" y="257"/>
                  </a:lnTo>
                  <a:lnTo>
                    <a:pt x="117" y="257"/>
                  </a:lnTo>
                  <a:lnTo>
                    <a:pt x="118" y="257"/>
                  </a:lnTo>
                  <a:lnTo>
                    <a:pt x="118" y="258"/>
                  </a:lnTo>
                  <a:lnTo>
                    <a:pt x="118" y="260"/>
                  </a:lnTo>
                  <a:lnTo>
                    <a:pt x="118" y="261"/>
                  </a:lnTo>
                  <a:lnTo>
                    <a:pt x="117" y="261"/>
                  </a:lnTo>
                  <a:lnTo>
                    <a:pt x="118" y="263"/>
                  </a:lnTo>
                  <a:lnTo>
                    <a:pt x="120" y="264"/>
                  </a:lnTo>
                  <a:lnTo>
                    <a:pt x="118" y="265"/>
                  </a:lnTo>
                  <a:lnTo>
                    <a:pt x="120" y="266"/>
                  </a:lnTo>
                  <a:lnTo>
                    <a:pt x="120" y="265"/>
                  </a:lnTo>
                  <a:lnTo>
                    <a:pt x="121" y="265"/>
                  </a:lnTo>
                  <a:lnTo>
                    <a:pt x="121" y="266"/>
                  </a:lnTo>
                  <a:lnTo>
                    <a:pt x="122" y="266"/>
                  </a:lnTo>
                  <a:lnTo>
                    <a:pt x="120" y="266"/>
                  </a:lnTo>
                  <a:lnTo>
                    <a:pt x="118" y="266"/>
                  </a:lnTo>
                  <a:lnTo>
                    <a:pt x="118" y="267"/>
                  </a:lnTo>
                  <a:lnTo>
                    <a:pt x="120" y="267"/>
                  </a:lnTo>
                  <a:lnTo>
                    <a:pt x="121" y="267"/>
                  </a:lnTo>
                  <a:lnTo>
                    <a:pt x="121" y="269"/>
                  </a:lnTo>
                  <a:lnTo>
                    <a:pt x="122" y="269"/>
                  </a:lnTo>
                  <a:lnTo>
                    <a:pt x="121" y="270"/>
                  </a:lnTo>
                  <a:lnTo>
                    <a:pt x="121" y="271"/>
                  </a:lnTo>
                  <a:lnTo>
                    <a:pt x="122" y="270"/>
                  </a:lnTo>
                  <a:lnTo>
                    <a:pt x="123" y="269"/>
                  </a:lnTo>
                  <a:lnTo>
                    <a:pt x="123" y="270"/>
                  </a:lnTo>
                  <a:lnTo>
                    <a:pt x="123" y="269"/>
                  </a:lnTo>
                  <a:lnTo>
                    <a:pt x="124" y="270"/>
                  </a:lnTo>
                  <a:lnTo>
                    <a:pt x="124" y="269"/>
                  </a:lnTo>
                  <a:lnTo>
                    <a:pt x="126" y="267"/>
                  </a:lnTo>
                  <a:lnTo>
                    <a:pt x="124" y="267"/>
                  </a:lnTo>
                  <a:lnTo>
                    <a:pt x="123" y="269"/>
                  </a:lnTo>
                  <a:lnTo>
                    <a:pt x="124" y="267"/>
                  </a:lnTo>
                  <a:lnTo>
                    <a:pt x="124" y="266"/>
                  </a:lnTo>
                  <a:lnTo>
                    <a:pt x="126" y="266"/>
                  </a:lnTo>
                  <a:lnTo>
                    <a:pt x="124" y="266"/>
                  </a:lnTo>
                  <a:lnTo>
                    <a:pt x="124" y="265"/>
                  </a:lnTo>
                  <a:lnTo>
                    <a:pt x="124" y="264"/>
                  </a:lnTo>
                  <a:lnTo>
                    <a:pt x="126" y="266"/>
                  </a:lnTo>
                  <a:lnTo>
                    <a:pt x="127" y="266"/>
                  </a:lnTo>
                  <a:lnTo>
                    <a:pt x="127" y="267"/>
                  </a:lnTo>
                  <a:lnTo>
                    <a:pt x="129" y="269"/>
                  </a:lnTo>
                  <a:lnTo>
                    <a:pt x="130" y="271"/>
                  </a:lnTo>
                  <a:lnTo>
                    <a:pt x="132" y="273"/>
                  </a:lnTo>
                  <a:lnTo>
                    <a:pt x="129" y="276"/>
                  </a:lnTo>
                  <a:lnTo>
                    <a:pt x="126" y="275"/>
                  </a:lnTo>
                  <a:lnTo>
                    <a:pt x="124" y="275"/>
                  </a:lnTo>
                  <a:lnTo>
                    <a:pt x="122" y="273"/>
                  </a:lnTo>
                  <a:lnTo>
                    <a:pt x="121" y="273"/>
                  </a:lnTo>
                  <a:lnTo>
                    <a:pt x="118" y="273"/>
                  </a:lnTo>
                  <a:lnTo>
                    <a:pt x="115" y="272"/>
                  </a:lnTo>
                  <a:lnTo>
                    <a:pt x="108" y="272"/>
                  </a:lnTo>
                  <a:lnTo>
                    <a:pt x="103" y="271"/>
                  </a:lnTo>
                  <a:lnTo>
                    <a:pt x="102" y="271"/>
                  </a:lnTo>
                  <a:lnTo>
                    <a:pt x="102" y="270"/>
                  </a:lnTo>
                  <a:lnTo>
                    <a:pt x="102" y="271"/>
                  </a:lnTo>
                  <a:lnTo>
                    <a:pt x="100" y="271"/>
                  </a:lnTo>
                  <a:lnTo>
                    <a:pt x="99" y="271"/>
                  </a:lnTo>
                  <a:lnTo>
                    <a:pt x="100" y="272"/>
                  </a:lnTo>
                  <a:lnTo>
                    <a:pt x="103" y="273"/>
                  </a:lnTo>
                  <a:lnTo>
                    <a:pt x="104" y="273"/>
                  </a:lnTo>
                  <a:lnTo>
                    <a:pt x="109" y="273"/>
                  </a:lnTo>
                  <a:lnTo>
                    <a:pt x="111" y="275"/>
                  </a:lnTo>
                  <a:lnTo>
                    <a:pt x="114" y="275"/>
                  </a:lnTo>
                  <a:lnTo>
                    <a:pt x="116" y="275"/>
                  </a:lnTo>
                  <a:lnTo>
                    <a:pt x="118" y="275"/>
                  </a:lnTo>
                  <a:lnTo>
                    <a:pt x="120" y="276"/>
                  </a:lnTo>
                  <a:lnTo>
                    <a:pt x="122" y="277"/>
                  </a:lnTo>
                  <a:lnTo>
                    <a:pt x="126" y="278"/>
                  </a:lnTo>
                  <a:lnTo>
                    <a:pt x="128" y="278"/>
                  </a:lnTo>
                  <a:lnTo>
                    <a:pt x="130" y="279"/>
                  </a:lnTo>
                  <a:lnTo>
                    <a:pt x="130" y="282"/>
                  </a:lnTo>
                  <a:lnTo>
                    <a:pt x="129" y="283"/>
                  </a:lnTo>
                  <a:lnTo>
                    <a:pt x="129" y="284"/>
                  </a:lnTo>
                  <a:lnTo>
                    <a:pt x="129" y="288"/>
                  </a:lnTo>
                  <a:lnTo>
                    <a:pt x="130" y="289"/>
                  </a:lnTo>
                  <a:lnTo>
                    <a:pt x="130" y="293"/>
                  </a:lnTo>
                  <a:lnTo>
                    <a:pt x="132" y="295"/>
                  </a:lnTo>
                  <a:lnTo>
                    <a:pt x="132" y="299"/>
                  </a:lnTo>
                  <a:lnTo>
                    <a:pt x="130" y="303"/>
                  </a:lnTo>
                  <a:lnTo>
                    <a:pt x="130" y="306"/>
                  </a:lnTo>
                  <a:lnTo>
                    <a:pt x="130" y="318"/>
                  </a:lnTo>
                  <a:lnTo>
                    <a:pt x="130" y="321"/>
                  </a:lnTo>
                  <a:lnTo>
                    <a:pt x="130" y="324"/>
                  </a:lnTo>
                  <a:lnTo>
                    <a:pt x="130" y="326"/>
                  </a:lnTo>
                  <a:lnTo>
                    <a:pt x="132" y="327"/>
                  </a:lnTo>
                  <a:lnTo>
                    <a:pt x="133" y="329"/>
                  </a:lnTo>
                  <a:lnTo>
                    <a:pt x="134" y="329"/>
                  </a:lnTo>
                  <a:lnTo>
                    <a:pt x="136" y="329"/>
                  </a:lnTo>
                  <a:lnTo>
                    <a:pt x="141" y="329"/>
                  </a:lnTo>
                  <a:lnTo>
                    <a:pt x="144" y="327"/>
                  </a:lnTo>
                  <a:lnTo>
                    <a:pt x="145" y="326"/>
                  </a:lnTo>
                  <a:lnTo>
                    <a:pt x="145" y="323"/>
                  </a:lnTo>
                  <a:lnTo>
                    <a:pt x="145" y="320"/>
                  </a:lnTo>
                  <a:lnTo>
                    <a:pt x="144" y="317"/>
                  </a:lnTo>
                  <a:lnTo>
                    <a:pt x="144" y="311"/>
                  </a:lnTo>
                  <a:lnTo>
                    <a:pt x="144" y="308"/>
                  </a:lnTo>
                  <a:lnTo>
                    <a:pt x="145" y="307"/>
                  </a:lnTo>
                  <a:lnTo>
                    <a:pt x="144" y="302"/>
                  </a:lnTo>
                  <a:lnTo>
                    <a:pt x="144" y="300"/>
                  </a:lnTo>
                  <a:lnTo>
                    <a:pt x="142" y="294"/>
                  </a:lnTo>
                  <a:lnTo>
                    <a:pt x="142" y="287"/>
                  </a:lnTo>
                  <a:lnTo>
                    <a:pt x="144" y="284"/>
                  </a:lnTo>
                  <a:lnTo>
                    <a:pt x="146" y="283"/>
                  </a:lnTo>
                  <a:lnTo>
                    <a:pt x="152" y="281"/>
                  </a:lnTo>
                  <a:lnTo>
                    <a:pt x="155" y="279"/>
                  </a:lnTo>
                  <a:lnTo>
                    <a:pt x="157" y="277"/>
                  </a:lnTo>
                  <a:lnTo>
                    <a:pt x="161" y="277"/>
                  </a:lnTo>
                  <a:lnTo>
                    <a:pt x="164" y="277"/>
                  </a:lnTo>
                  <a:lnTo>
                    <a:pt x="165" y="277"/>
                  </a:lnTo>
                  <a:lnTo>
                    <a:pt x="167" y="276"/>
                  </a:lnTo>
                  <a:lnTo>
                    <a:pt x="170" y="276"/>
                  </a:lnTo>
                  <a:lnTo>
                    <a:pt x="174" y="275"/>
                  </a:lnTo>
                  <a:lnTo>
                    <a:pt x="176" y="275"/>
                  </a:lnTo>
                  <a:lnTo>
                    <a:pt x="179" y="275"/>
                  </a:lnTo>
                  <a:lnTo>
                    <a:pt x="180" y="275"/>
                  </a:lnTo>
                  <a:lnTo>
                    <a:pt x="181" y="276"/>
                  </a:lnTo>
                  <a:lnTo>
                    <a:pt x="182" y="277"/>
                  </a:lnTo>
                  <a:lnTo>
                    <a:pt x="183" y="278"/>
                  </a:lnTo>
                  <a:lnTo>
                    <a:pt x="185" y="278"/>
                  </a:lnTo>
                  <a:lnTo>
                    <a:pt x="187" y="278"/>
                  </a:lnTo>
                  <a:lnTo>
                    <a:pt x="185" y="276"/>
                  </a:lnTo>
                  <a:lnTo>
                    <a:pt x="181" y="275"/>
                  </a:lnTo>
                  <a:lnTo>
                    <a:pt x="180" y="272"/>
                  </a:lnTo>
                  <a:lnTo>
                    <a:pt x="177" y="271"/>
                  </a:lnTo>
                  <a:lnTo>
                    <a:pt x="179" y="269"/>
                  </a:lnTo>
                  <a:lnTo>
                    <a:pt x="182" y="269"/>
                  </a:lnTo>
                  <a:lnTo>
                    <a:pt x="185" y="270"/>
                  </a:lnTo>
                  <a:lnTo>
                    <a:pt x="187" y="270"/>
                  </a:lnTo>
                  <a:lnTo>
                    <a:pt x="188" y="269"/>
                  </a:lnTo>
                  <a:lnTo>
                    <a:pt x="194" y="270"/>
                  </a:lnTo>
                  <a:lnTo>
                    <a:pt x="198" y="270"/>
                  </a:lnTo>
                  <a:lnTo>
                    <a:pt x="199" y="270"/>
                  </a:lnTo>
                  <a:lnTo>
                    <a:pt x="200" y="270"/>
                  </a:lnTo>
                  <a:lnTo>
                    <a:pt x="201" y="270"/>
                  </a:lnTo>
                  <a:lnTo>
                    <a:pt x="203" y="270"/>
                  </a:lnTo>
                  <a:lnTo>
                    <a:pt x="204" y="270"/>
                  </a:lnTo>
                  <a:lnTo>
                    <a:pt x="204" y="271"/>
                  </a:lnTo>
                  <a:lnTo>
                    <a:pt x="204" y="272"/>
                  </a:lnTo>
                  <a:lnTo>
                    <a:pt x="205" y="273"/>
                  </a:lnTo>
                  <a:lnTo>
                    <a:pt x="208" y="273"/>
                  </a:lnTo>
                  <a:lnTo>
                    <a:pt x="209" y="273"/>
                  </a:lnTo>
                  <a:lnTo>
                    <a:pt x="209" y="275"/>
                  </a:lnTo>
                  <a:lnTo>
                    <a:pt x="209" y="276"/>
                  </a:lnTo>
                  <a:lnTo>
                    <a:pt x="210" y="276"/>
                  </a:lnTo>
                  <a:lnTo>
                    <a:pt x="211" y="277"/>
                  </a:lnTo>
                  <a:lnTo>
                    <a:pt x="212" y="277"/>
                  </a:lnTo>
                  <a:lnTo>
                    <a:pt x="214" y="278"/>
                  </a:lnTo>
                  <a:lnTo>
                    <a:pt x="215" y="278"/>
                  </a:lnTo>
                  <a:lnTo>
                    <a:pt x="216" y="277"/>
                  </a:lnTo>
                  <a:lnTo>
                    <a:pt x="217" y="277"/>
                  </a:lnTo>
                  <a:lnTo>
                    <a:pt x="217" y="276"/>
                  </a:lnTo>
                  <a:lnTo>
                    <a:pt x="220" y="276"/>
                  </a:lnTo>
                  <a:lnTo>
                    <a:pt x="221" y="277"/>
                  </a:lnTo>
                  <a:lnTo>
                    <a:pt x="221" y="278"/>
                  </a:lnTo>
                  <a:lnTo>
                    <a:pt x="222" y="279"/>
                  </a:lnTo>
                  <a:lnTo>
                    <a:pt x="222" y="281"/>
                  </a:lnTo>
                  <a:lnTo>
                    <a:pt x="223" y="281"/>
                  </a:lnTo>
                  <a:lnTo>
                    <a:pt x="224" y="282"/>
                  </a:lnTo>
                  <a:lnTo>
                    <a:pt x="226" y="282"/>
                  </a:lnTo>
                  <a:lnTo>
                    <a:pt x="227" y="281"/>
                  </a:lnTo>
                  <a:lnTo>
                    <a:pt x="228" y="281"/>
                  </a:lnTo>
                  <a:lnTo>
                    <a:pt x="230" y="281"/>
                  </a:lnTo>
                  <a:lnTo>
                    <a:pt x="232" y="282"/>
                  </a:lnTo>
                  <a:lnTo>
                    <a:pt x="232" y="281"/>
                  </a:lnTo>
                  <a:lnTo>
                    <a:pt x="232" y="279"/>
                  </a:lnTo>
                  <a:lnTo>
                    <a:pt x="232" y="278"/>
                  </a:lnTo>
                  <a:lnTo>
                    <a:pt x="232" y="279"/>
                  </a:lnTo>
                  <a:lnTo>
                    <a:pt x="233" y="279"/>
                  </a:lnTo>
                  <a:lnTo>
                    <a:pt x="233" y="278"/>
                  </a:lnTo>
                  <a:lnTo>
                    <a:pt x="233" y="279"/>
                  </a:lnTo>
                  <a:lnTo>
                    <a:pt x="234" y="278"/>
                  </a:lnTo>
                  <a:lnTo>
                    <a:pt x="235" y="279"/>
                  </a:lnTo>
                  <a:lnTo>
                    <a:pt x="236" y="279"/>
                  </a:lnTo>
                  <a:lnTo>
                    <a:pt x="238" y="279"/>
                  </a:lnTo>
                  <a:lnTo>
                    <a:pt x="236" y="278"/>
                  </a:lnTo>
                  <a:lnTo>
                    <a:pt x="238" y="278"/>
                  </a:lnTo>
                  <a:lnTo>
                    <a:pt x="238" y="277"/>
                  </a:lnTo>
                  <a:lnTo>
                    <a:pt x="239" y="277"/>
                  </a:lnTo>
                  <a:lnTo>
                    <a:pt x="240" y="276"/>
                  </a:lnTo>
                  <a:lnTo>
                    <a:pt x="239" y="275"/>
                  </a:lnTo>
                  <a:lnTo>
                    <a:pt x="238" y="276"/>
                  </a:lnTo>
                  <a:lnTo>
                    <a:pt x="236" y="276"/>
                  </a:lnTo>
                  <a:lnTo>
                    <a:pt x="235" y="276"/>
                  </a:lnTo>
                  <a:lnTo>
                    <a:pt x="234" y="277"/>
                  </a:lnTo>
                  <a:lnTo>
                    <a:pt x="233" y="276"/>
                  </a:lnTo>
                  <a:lnTo>
                    <a:pt x="234" y="276"/>
                  </a:lnTo>
                  <a:lnTo>
                    <a:pt x="234" y="275"/>
                  </a:lnTo>
                  <a:lnTo>
                    <a:pt x="234" y="273"/>
                  </a:lnTo>
                  <a:lnTo>
                    <a:pt x="234" y="272"/>
                  </a:lnTo>
                  <a:lnTo>
                    <a:pt x="233" y="272"/>
                  </a:lnTo>
                  <a:lnTo>
                    <a:pt x="233" y="271"/>
                  </a:lnTo>
                  <a:lnTo>
                    <a:pt x="232" y="272"/>
                  </a:lnTo>
                  <a:lnTo>
                    <a:pt x="232" y="271"/>
                  </a:lnTo>
                  <a:lnTo>
                    <a:pt x="230" y="269"/>
                  </a:lnTo>
                  <a:lnTo>
                    <a:pt x="229" y="270"/>
                  </a:lnTo>
                  <a:lnTo>
                    <a:pt x="229" y="269"/>
                  </a:lnTo>
                  <a:lnTo>
                    <a:pt x="227" y="270"/>
                  </a:lnTo>
                  <a:lnTo>
                    <a:pt x="227" y="269"/>
                  </a:lnTo>
                  <a:lnTo>
                    <a:pt x="228" y="269"/>
                  </a:lnTo>
                  <a:lnTo>
                    <a:pt x="228" y="266"/>
                  </a:lnTo>
                  <a:lnTo>
                    <a:pt x="229" y="266"/>
                  </a:lnTo>
                  <a:lnTo>
                    <a:pt x="228" y="266"/>
                  </a:lnTo>
                  <a:lnTo>
                    <a:pt x="228" y="264"/>
                  </a:lnTo>
                  <a:lnTo>
                    <a:pt x="229" y="264"/>
                  </a:lnTo>
                  <a:lnTo>
                    <a:pt x="228" y="263"/>
                  </a:lnTo>
                  <a:lnTo>
                    <a:pt x="227" y="264"/>
                  </a:lnTo>
                  <a:lnTo>
                    <a:pt x="226" y="265"/>
                  </a:lnTo>
                  <a:lnTo>
                    <a:pt x="223" y="265"/>
                  </a:lnTo>
                  <a:lnTo>
                    <a:pt x="222" y="266"/>
                  </a:lnTo>
                  <a:lnTo>
                    <a:pt x="221" y="267"/>
                  </a:lnTo>
                  <a:lnTo>
                    <a:pt x="220" y="266"/>
                  </a:lnTo>
                  <a:lnTo>
                    <a:pt x="221" y="266"/>
                  </a:lnTo>
                  <a:lnTo>
                    <a:pt x="220" y="266"/>
                  </a:lnTo>
                  <a:lnTo>
                    <a:pt x="218" y="265"/>
                  </a:lnTo>
                  <a:lnTo>
                    <a:pt x="217" y="266"/>
                  </a:lnTo>
                  <a:lnTo>
                    <a:pt x="217" y="265"/>
                  </a:lnTo>
                  <a:lnTo>
                    <a:pt x="216" y="265"/>
                  </a:lnTo>
                  <a:lnTo>
                    <a:pt x="215" y="265"/>
                  </a:lnTo>
                  <a:lnTo>
                    <a:pt x="214" y="264"/>
                  </a:lnTo>
                  <a:lnTo>
                    <a:pt x="212" y="265"/>
                  </a:lnTo>
                  <a:lnTo>
                    <a:pt x="212" y="264"/>
                  </a:lnTo>
                  <a:lnTo>
                    <a:pt x="214" y="263"/>
                  </a:lnTo>
                  <a:lnTo>
                    <a:pt x="212" y="261"/>
                  </a:lnTo>
                  <a:lnTo>
                    <a:pt x="211" y="261"/>
                  </a:lnTo>
                  <a:lnTo>
                    <a:pt x="210" y="263"/>
                  </a:lnTo>
                  <a:lnTo>
                    <a:pt x="210" y="261"/>
                  </a:lnTo>
                  <a:lnTo>
                    <a:pt x="210" y="260"/>
                  </a:lnTo>
                  <a:lnTo>
                    <a:pt x="209" y="260"/>
                  </a:lnTo>
                  <a:lnTo>
                    <a:pt x="208" y="259"/>
                  </a:lnTo>
                  <a:lnTo>
                    <a:pt x="206" y="261"/>
                  </a:lnTo>
                  <a:lnTo>
                    <a:pt x="206" y="263"/>
                  </a:lnTo>
                  <a:lnTo>
                    <a:pt x="205" y="263"/>
                  </a:lnTo>
                  <a:lnTo>
                    <a:pt x="205" y="264"/>
                  </a:lnTo>
                  <a:lnTo>
                    <a:pt x="204" y="264"/>
                  </a:lnTo>
                  <a:lnTo>
                    <a:pt x="205" y="265"/>
                  </a:lnTo>
                  <a:lnTo>
                    <a:pt x="204" y="265"/>
                  </a:lnTo>
                  <a:lnTo>
                    <a:pt x="203" y="264"/>
                  </a:lnTo>
                  <a:lnTo>
                    <a:pt x="201" y="265"/>
                  </a:lnTo>
                  <a:lnTo>
                    <a:pt x="203" y="265"/>
                  </a:lnTo>
                  <a:lnTo>
                    <a:pt x="203" y="266"/>
                  </a:lnTo>
                  <a:lnTo>
                    <a:pt x="204" y="266"/>
                  </a:lnTo>
                  <a:lnTo>
                    <a:pt x="204" y="267"/>
                  </a:lnTo>
                  <a:lnTo>
                    <a:pt x="203" y="267"/>
                  </a:lnTo>
                  <a:lnTo>
                    <a:pt x="203" y="269"/>
                  </a:lnTo>
                  <a:lnTo>
                    <a:pt x="201" y="269"/>
                  </a:lnTo>
                  <a:lnTo>
                    <a:pt x="201" y="267"/>
                  </a:lnTo>
                  <a:lnTo>
                    <a:pt x="199" y="267"/>
                  </a:lnTo>
                  <a:lnTo>
                    <a:pt x="198" y="269"/>
                  </a:lnTo>
                  <a:lnTo>
                    <a:pt x="194" y="267"/>
                  </a:lnTo>
                  <a:lnTo>
                    <a:pt x="192" y="267"/>
                  </a:lnTo>
                  <a:lnTo>
                    <a:pt x="188" y="267"/>
                  </a:lnTo>
                  <a:lnTo>
                    <a:pt x="187" y="267"/>
                  </a:lnTo>
                  <a:lnTo>
                    <a:pt x="186" y="267"/>
                  </a:lnTo>
                  <a:lnTo>
                    <a:pt x="185" y="267"/>
                  </a:lnTo>
                  <a:lnTo>
                    <a:pt x="183" y="267"/>
                  </a:lnTo>
                  <a:lnTo>
                    <a:pt x="181" y="267"/>
                  </a:lnTo>
                  <a:lnTo>
                    <a:pt x="180" y="266"/>
                  </a:lnTo>
                  <a:lnTo>
                    <a:pt x="177" y="266"/>
                  </a:lnTo>
                  <a:lnTo>
                    <a:pt x="176" y="265"/>
                  </a:lnTo>
                  <a:lnTo>
                    <a:pt x="175" y="264"/>
                  </a:lnTo>
                  <a:lnTo>
                    <a:pt x="174" y="264"/>
                  </a:lnTo>
                  <a:lnTo>
                    <a:pt x="171" y="265"/>
                  </a:lnTo>
                  <a:lnTo>
                    <a:pt x="170" y="264"/>
                  </a:lnTo>
                  <a:lnTo>
                    <a:pt x="168" y="264"/>
                  </a:lnTo>
                  <a:lnTo>
                    <a:pt x="167" y="261"/>
                  </a:lnTo>
                  <a:lnTo>
                    <a:pt x="167" y="260"/>
                  </a:lnTo>
                  <a:lnTo>
                    <a:pt x="165" y="261"/>
                  </a:lnTo>
                  <a:lnTo>
                    <a:pt x="164" y="260"/>
                  </a:lnTo>
                  <a:lnTo>
                    <a:pt x="163" y="260"/>
                  </a:lnTo>
                  <a:lnTo>
                    <a:pt x="162" y="260"/>
                  </a:lnTo>
                  <a:lnTo>
                    <a:pt x="159" y="259"/>
                  </a:lnTo>
                  <a:lnTo>
                    <a:pt x="158" y="257"/>
                  </a:lnTo>
                  <a:lnTo>
                    <a:pt x="158" y="258"/>
                  </a:lnTo>
                  <a:lnTo>
                    <a:pt x="158" y="257"/>
                  </a:lnTo>
                  <a:lnTo>
                    <a:pt x="159" y="257"/>
                  </a:lnTo>
                  <a:lnTo>
                    <a:pt x="159" y="255"/>
                  </a:lnTo>
                  <a:lnTo>
                    <a:pt x="159" y="254"/>
                  </a:lnTo>
                  <a:lnTo>
                    <a:pt x="161" y="254"/>
                  </a:lnTo>
                  <a:lnTo>
                    <a:pt x="159" y="255"/>
                  </a:lnTo>
                  <a:lnTo>
                    <a:pt x="161" y="255"/>
                  </a:lnTo>
                  <a:lnTo>
                    <a:pt x="161" y="257"/>
                  </a:lnTo>
                  <a:lnTo>
                    <a:pt x="161" y="258"/>
                  </a:lnTo>
                  <a:lnTo>
                    <a:pt x="162" y="258"/>
                  </a:lnTo>
                  <a:lnTo>
                    <a:pt x="163" y="258"/>
                  </a:lnTo>
                  <a:lnTo>
                    <a:pt x="164" y="258"/>
                  </a:lnTo>
                  <a:lnTo>
                    <a:pt x="164" y="257"/>
                  </a:lnTo>
                  <a:lnTo>
                    <a:pt x="165" y="257"/>
                  </a:lnTo>
                  <a:lnTo>
                    <a:pt x="167" y="258"/>
                  </a:lnTo>
                  <a:lnTo>
                    <a:pt x="168" y="257"/>
                  </a:lnTo>
                  <a:lnTo>
                    <a:pt x="169" y="257"/>
                  </a:lnTo>
                  <a:lnTo>
                    <a:pt x="169" y="258"/>
                  </a:lnTo>
                  <a:lnTo>
                    <a:pt x="170" y="258"/>
                  </a:lnTo>
                  <a:lnTo>
                    <a:pt x="171" y="258"/>
                  </a:lnTo>
                  <a:lnTo>
                    <a:pt x="171" y="257"/>
                  </a:lnTo>
                  <a:lnTo>
                    <a:pt x="171" y="255"/>
                  </a:lnTo>
                  <a:lnTo>
                    <a:pt x="170" y="255"/>
                  </a:lnTo>
                  <a:lnTo>
                    <a:pt x="170" y="253"/>
                  </a:lnTo>
                  <a:lnTo>
                    <a:pt x="170" y="252"/>
                  </a:lnTo>
                  <a:lnTo>
                    <a:pt x="169" y="252"/>
                  </a:lnTo>
                  <a:lnTo>
                    <a:pt x="169" y="251"/>
                  </a:lnTo>
                  <a:lnTo>
                    <a:pt x="168" y="252"/>
                  </a:lnTo>
                  <a:lnTo>
                    <a:pt x="168" y="251"/>
                  </a:lnTo>
                  <a:lnTo>
                    <a:pt x="169" y="251"/>
                  </a:lnTo>
                  <a:lnTo>
                    <a:pt x="170" y="251"/>
                  </a:lnTo>
                  <a:lnTo>
                    <a:pt x="171" y="251"/>
                  </a:lnTo>
                  <a:lnTo>
                    <a:pt x="173" y="251"/>
                  </a:lnTo>
                  <a:lnTo>
                    <a:pt x="173" y="249"/>
                  </a:lnTo>
                  <a:lnTo>
                    <a:pt x="171" y="248"/>
                  </a:lnTo>
                  <a:lnTo>
                    <a:pt x="173" y="248"/>
                  </a:lnTo>
                  <a:lnTo>
                    <a:pt x="174" y="247"/>
                  </a:lnTo>
                  <a:lnTo>
                    <a:pt x="173" y="248"/>
                  </a:lnTo>
                  <a:lnTo>
                    <a:pt x="174" y="249"/>
                  </a:lnTo>
                  <a:lnTo>
                    <a:pt x="174" y="248"/>
                  </a:lnTo>
                  <a:lnTo>
                    <a:pt x="175" y="248"/>
                  </a:lnTo>
                  <a:lnTo>
                    <a:pt x="176" y="248"/>
                  </a:lnTo>
                  <a:lnTo>
                    <a:pt x="176" y="251"/>
                  </a:lnTo>
                  <a:lnTo>
                    <a:pt x="177" y="249"/>
                  </a:lnTo>
                  <a:lnTo>
                    <a:pt x="177" y="251"/>
                  </a:lnTo>
                  <a:lnTo>
                    <a:pt x="180" y="252"/>
                  </a:lnTo>
                  <a:lnTo>
                    <a:pt x="181" y="254"/>
                  </a:lnTo>
                  <a:lnTo>
                    <a:pt x="181" y="255"/>
                  </a:lnTo>
                  <a:lnTo>
                    <a:pt x="181" y="254"/>
                  </a:lnTo>
                  <a:lnTo>
                    <a:pt x="180" y="254"/>
                  </a:lnTo>
                  <a:lnTo>
                    <a:pt x="180" y="255"/>
                  </a:lnTo>
                  <a:lnTo>
                    <a:pt x="180" y="257"/>
                  </a:lnTo>
                  <a:lnTo>
                    <a:pt x="181" y="257"/>
                  </a:lnTo>
                  <a:lnTo>
                    <a:pt x="180" y="257"/>
                  </a:lnTo>
                  <a:lnTo>
                    <a:pt x="179" y="255"/>
                  </a:lnTo>
                  <a:lnTo>
                    <a:pt x="179" y="257"/>
                  </a:lnTo>
                  <a:lnTo>
                    <a:pt x="180" y="257"/>
                  </a:lnTo>
                  <a:lnTo>
                    <a:pt x="180" y="258"/>
                  </a:lnTo>
                  <a:lnTo>
                    <a:pt x="179" y="258"/>
                  </a:lnTo>
                  <a:lnTo>
                    <a:pt x="179" y="259"/>
                  </a:lnTo>
                  <a:lnTo>
                    <a:pt x="180" y="259"/>
                  </a:lnTo>
                  <a:lnTo>
                    <a:pt x="181" y="259"/>
                  </a:lnTo>
                  <a:lnTo>
                    <a:pt x="182" y="260"/>
                  </a:lnTo>
                  <a:lnTo>
                    <a:pt x="183" y="260"/>
                  </a:lnTo>
                  <a:lnTo>
                    <a:pt x="182" y="260"/>
                  </a:lnTo>
                  <a:lnTo>
                    <a:pt x="182" y="259"/>
                  </a:lnTo>
                  <a:lnTo>
                    <a:pt x="183" y="258"/>
                  </a:lnTo>
                  <a:lnTo>
                    <a:pt x="183" y="260"/>
                  </a:lnTo>
                  <a:lnTo>
                    <a:pt x="185" y="260"/>
                  </a:lnTo>
                  <a:lnTo>
                    <a:pt x="186" y="259"/>
                  </a:lnTo>
                  <a:lnTo>
                    <a:pt x="186" y="260"/>
                  </a:lnTo>
                  <a:lnTo>
                    <a:pt x="187" y="260"/>
                  </a:lnTo>
                  <a:lnTo>
                    <a:pt x="188" y="260"/>
                  </a:lnTo>
                  <a:lnTo>
                    <a:pt x="189" y="260"/>
                  </a:lnTo>
                  <a:lnTo>
                    <a:pt x="189" y="259"/>
                  </a:lnTo>
                  <a:lnTo>
                    <a:pt x="188" y="258"/>
                  </a:lnTo>
                  <a:lnTo>
                    <a:pt x="187" y="255"/>
                  </a:lnTo>
                  <a:lnTo>
                    <a:pt x="188" y="257"/>
                  </a:lnTo>
                  <a:lnTo>
                    <a:pt x="189" y="257"/>
                  </a:lnTo>
                  <a:lnTo>
                    <a:pt x="191" y="257"/>
                  </a:lnTo>
                  <a:lnTo>
                    <a:pt x="192" y="257"/>
                  </a:lnTo>
                  <a:lnTo>
                    <a:pt x="192" y="255"/>
                  </a:lnTo>
                  <a:lnTo>
                    <a:pt x="193" y="253"/>
                  </a:lnTo>
                  <a:lnTo>
                    <a:pt x="193" y="252"/>
                  </a:lnTo>
                  <a:lnTo>
                    <a:pt x="194" y="249"/>
                  </a:lnTo>
                  <a:lnTo>
                    <a:pt x="194" y="248"/>
                  </a:lnTo>
                  <a:lnTo>
                    <a:pt x="193" y="247"/>
                  </a:lnTo>
                  <a:lnTo>
                    <a:pt x="193" y="248"/>
                  </a:lnTo>
                  <a:lnTo>
                    <a:pt x="192" y="247"/>
                  </a:lnTo>
                  <a:lnTo>
                    <a:pt x="191" y="246"/>
                  </a:lnTo>
                  <a:lnTo>
                    <a:pt x="189" y="247"/>
                  </a:lnTo>
                  <a:lnTo>
                    <a:pt x="189" y="246"/>
                  </a:lnTo>
                  <a:lnTo>
                    <a:pt x="191" y="246"/>
                  </a:lnTo>
                  <a:lnTo>
                    <a:pt x="192" y="246"/>
                  </a:lnTo>
                  <a:lnTo>
                    <a:pt x="193" y="246"/>
                  </a:lnTo>
                  <a:lnTo>
                    <a:pt x="195" y="246"/>
                  </a:lnTo>
                  <a:lnTo>
                    <a:pt x="195" y="247"/>
                  </a:lnTo>
                  <a:lnTo>
                    <a:pt x="194" y="248"/>
                  </a:lnTo>
                  <a:lnTo>
                    <a:pt x="195" y="248"/>
                  </a:lnTo>
                  <a:lnTo>
                    <a:pt x="195" y="249"/>
                  </a:lnTo>
                  <a:lnTo>
                    <a:pt x="197" y="249"/>
                  </a:lnTo>
                  <a:lnTo>
                    <a:pt x="195" y="248"/>
                  </a:lnTo>
                  <a:lnTo>
                    <a:pt x="197" y="248"/>
                  </a:lnTo>
                  <a:lnTo>
                    <a:pt x="198" y="249"/>
                  </a:lnTo>
                  <a:lnTo>
                    <a:pt x="199" y="249"/>
                  </a:lnTo>
                  <a:lnTo>
                    <a:pt x="200" y="249"/>
                  </a:lnTo>
                  <a:lnTo>
                    <a:pt x="200" y="251"/>
                  </a:lnTo>
                  <a:lnTo>
                    <a:pt x="201" y="249"/>
                  </a:lnTo>
                  <a:lnTo>
                    <a:pt x="203" y="251"/>
                  </a:lnTo>
                  <a:lnTo>
                    <a:pt x="204" y="251"/>
                  </a:lnTo>
                  <a:lnTo>
                    <a:pt x="205" y="251"/>
                  </a:lnTo>
                  <a:lnTo>
                    <a:pt x="206" y="249"/>
                  </a:lnTo>
                  <a:lnTo>
                    <a:pt x="208" y="248"/>
                  </a:lnTo>
                  <a:lnTo>
                    <a:pt x="209" y="248"/>
                  </a:lnTo>
                  <a:lnTo>
                    <a:pt x="210" y="248"/>
                  </a:lnTo>
                  <a:lnTo>
                    <a:pt x="211" y="248"/>
                  </a:lnTo>
                  <a:lnTo>
                    <a:pt x="214" y="248"/>
                  </a:lnTo>
                  <a:lnTo>
                    <a:pt x="215" y="247"/>
                  </a:lnTo>
                  <a:lnTo>
                    <a:pt x="216" y="248"/>
                  </a:lnTo>
                  <a:lnTo>
                    <a:pt x="217" y="247"/>
                  </a:lnTo>
                  <a:lnTo>
                    <a:pt x="217" y="248"/>
                  </a:lnTo>
                  <a:lnTo>
                    <a:pt x="218" y="248"/>
                  </a:lnTo>
                  <a:lnTo>
                    <a:pt x="220" y="247"/>
                  </a:lnTo>
                  <a:lnTo>
                    <a:pt x="220" y="248"/>
                  </a:lnTo>
                  <a:lnTo>
                    <a:pt x="221" y="247"/>
                  </a:lnTo>
                  <a:lnTo>
                    <a:pt x="222" y="248"/>
                  </a:lnTo>
                  <a:lnTo>
                    <a:pt x="222" y="249"/>
                  </a:lnTo>
                  <a:lnTo>
                    <a:pt x="221" y="249"/>
                  </a:lnTo>
                  <a:lnTo>
                    <a:pt x="220" y="249"/>
                  </a:lnTo>
                  <a:lnTo>
                    <a:pt x="218" y="249"/>
                  </a:lnTo>
                  <a:lnTo>
                    <a:pt x="218" y="248"/>
                  </a:lnTo>
                  <a:lnTo>
                    <a:pt x="218" y="249"/>
                  </a:lnTo>
                  <a:lnTo>
                    <a:pt x="217" y="248"/>
                  </a:lnTo>
                  <a:lnTo>
                    <a:pt x="217" y="249"/>
                  </a:lnTo>
                  <a:lnTo>
                    <a:pt x="216" y="248"/>
                  </a:lnTo>
                  <a:lnTo>
                    <a:pt x="216" y="249"/>
                  </a:lnTo>
                  <a:lnTo>
                    <a:pt x="215" y="248"/>
                  </a:lnTo>
                  <a:lnTo>
                    <a:pt x="215" y="249"/>
                  </a:lnTo>
                  <a:lnTo>
                    <a:pt x="215" y="251"/>
                  </a:lnTo>
                  <a:lnTo>
                    <a:pt x="214" y="248"/>
                  </a:lnTo>
                  <a:lnTo>
                    <a:pt x="212" y="249"/>
                  </a:lnTo>
                  <a:lnTo>
                    <a:pt x="214" y="249"/>
                  </a:lnTo>
                  <a:lnTo>
                    <a:pt x="214" y="252"/>
                  </a:lnTo>
                  <a:lnTo>
                    <a:pt x="215" y="252"/>
                  </a:lnTo>
                  <a:lnTo>
                    <a:pt x="214" y="252"/>
                  </a:lnTo>
                  <a:lnTo>
                    <a:pt x="214" y="253"/>
                  </a:lnTo>
                  <a:lnTo>
                    <a:pt x="215" y="253"/>
                  </a:lnTo>
                  <a:lnTo>
                    <a:pt x="215" y="252"/>
                  </a:lnTo>
                  <a:lnTo>
                    <a:pt x="216" y="253"/>
                  </a:lnTo>
                  <a:lnTo>
                    <a:pt x="216" y="252"/>
                  </a:lnTo>
                  <a:lnTo>
                    <a:pt x="217" y="253"/>
                  </a:lnTo>
                  <a:lnTo>
                    <a:pt x="218" y="253"/>
                  </a:lnTo>
                  <a:lnTo>
                    <a:pt x="220" y="255"/>
                  </a:lnTo>
                  <a:lnTo>
                    <a:pt x="221" y="255"/>
                  </a:lnTo>
                  <a:lnTo>
                    <a:pt x="222" y="254"/>
                  </a:lnTo>
                  <a:lnTo>
                    <a:pt x="222" y="253"/>
                  </a:lnTo>
                  <a:lnTo>
                    <a:pt x="223" y="253"/>
                  </a:lnTo>
                  <a:lnTo>
                    <a:pt x="222" y="254"/>
                  </a:lnTo>
                  <a:lnTo>
                    <a:pt x="223" y="255"/>
                  </a:lnTo>
                  <a:lnTo>
                    <a:pt x="223" y="254"/>
                  </a:lnTo>
                  <a:lnTo>
                    <a:pt x="223" y="255"/>
                  </a:lnTo>
                  <a:lnTo>
                    <a:pt x="222" y="257"/>
                  </a:lnTo>
                  <a:lnTo>
                    <a:pt x="224" y="257"/>
                  </a:lnTo>
                  <a:lnTo>
                    <a:pt x="223" y="258"/>
                  </a:lnTo>
                  <a:lnTo>
                    <a:pt x="224" y="258"/>
                  </a:lnTo>
                  <a:lnTo>
                    <a:pt x="223" y="259"/>
                  </a:lnTo>
                  <a:lnTo>
                    <a:pt x="224" y="259"/>
                  </a:lnTo>
                  <a:lnTo>
                    <a:pt x="223" y="259"/>
                  </a:lnTo>
                  <a:lnTo>
                    <a:pt x="222" y="260"/>
                  </a:lnTo>
                  <a:lnTo>
                    <a:pt x="222" y="261"/>
                  </a:lnTo>
                  <a:lnTo>
                    <a:pt x="222" y="263"/>
                  </a:lnTo>
                  <a:lnTo>
                    <a:pt x="223" y="263"/>
                  </a:lnTo>
                  <a:lnTo>
                    <a:pt x="224" y="263"/>
                  </a:lnTo>
                  <a:lnTo>
                    <a:pt x="226" y="263"/>
                  </a:lnTo>
                  <a:lnTo>
                    <a:pt x="226" y="261"/>
                  </a:lnTo>
                  <a:lnTo>
                    <a:pt x="228" y="261"/>
                  </a:lnTo>
                  <a:lnTo>
                    <a:pt x="229" y="261"/>
                  </a:lnTo>
                  <a:lnTo>
                    <a:pt x="230" y="261"/>
                  </a:lnTo>
                  <a:lnTo>
                    <a:pt x="232" y="261"/>
                  </a:lnTo>
                  <a:lnTo>
                    <a:pt x="234" y="261"/>
                  </a:lnTo>
                  <a:lnTo>
                    <a:pt x="235" y="261"/>
                  </a:lnTo>
                  <a:lnTo>
                    <a:pt x="236" y="261"/>
                  </a:lnTo>
                  <a:lnTo>
                    <a:pt x="236" y="263"/>
                  </a:lnTo>
                  <a:lnTo>
                    <a:pt x="238" y="264"/>
                  </a:lnTo>
                  <a:lnTo>
                    <a:pt x="239" y="264"/>
                  </a:lnTo>
                  <a:lnTo>
                    <a:pt x="240" y="264"/>
                  </a:lnTo>
                  <a:lnTo>
                    <a:pt x="241" y="264"/>
                  </a:lnTo>
                  <a:lnTo>
                    <a:pt x="241" y="263"/>
                  </a:lnTo>
                  <a:lnTo>
                    <a:pt x="241" y="261"/>
                  </a:lnTo>
                  <a:lnTo>
                    <a:pt x="242" y="260"/>
                  </a:lnTo>
                  <a:lnTo>
                    <a:pt x="244" y="260"/>
                  </a:lnTo>
                  <a:lnTo>
                    <a:pt x="245" y="259"/>
                  </a:lnTo>
                  <a:lnTo>
                    <a:pt x="246" y="258"/>
                  </a:lnTo>
                  <a:lnTo>
                    <a:pt x="246" y="257"/>
                  </a:lnTo>
                  <a:lnTo>
                    <a:pt x="245" y="257"/>
                  </a:lnTo>
                  <a:lnTo>
                    <a:pt x="245" y="258"/>
                  </a:lnTo>
                  <a:lnTo>
                    <a:pt x="244" y="258"/>
                  </a:lnTo>
                  <a:lnTo>
                    <a:pt x="242" y="258"/>
                  </a:lnTo>
                  <a:lnTo>
                    <a:pt x="242" y="257"/>
                  </a:lnTo>
                  <a:lnTo>
                    <a:pt x="242" y="255"/>
                  </a:lnTo>
                  <a:lnTo>
                    <a:pt x="241" y="257"/>
                  </a:lnTo>
                  <a:lnTo>
                    <a:pt x="241" y="255"/>
                  </a:lnTo>
                  <a:lnTo>
                    <a:pt x="240" y="255"/>
                  </a:lnTo>
                  <a:lnTo>
                    <a:pt x="241" y="254"/>
                  </a:lnTo>
                  <a:lnTo>
                    <a:pt x="241" y="253"/>
                  </a:lnTo>
                  <a:lnTo>
                    <a:pt x="239" y="253"/>
                  </a:lnTo>
                  <a:lnTo>
                    <a:pt x="238" y="252"/>
                  </a:lnTo>
                  <a:lnTo>
                    <a:pt x="239" y="251"/>
                  </a:lnTo>
                  <a:lnTo>
                    <a:pt x="240" y="251"/>
                  </a:lnTo>
                  <a:lnTo>
                    <a:pt x="240" y="249"/>
                  </a:lnTo>
                  <a:lnTo>
                    <a:pt x="241" y="249"/>
                  </a:lnTo>
                  <a:lnTo>
                    <a:pt x="240" y="248"/>
                  </a:lnTo>
                  <a:lnTo>
                    <a:pt x="239" y="248"/>
                  </a:lnTo>
                  <a:lnTo>
                    <a:pt x="239" y="247"/>
                  </a:lnTo>
                  <a:lnTo>
                    <a:pt x="239" y="246"/>
                  </a:lnTo>
                  <a:lnTo>
                    <a:pt x="240" y="246"/>
                  </a:lnTo>
                  <a:lnTo>
                    <a:pt x="241" y="246"/>
                  </a:lnTo>
                  <a:lnTo>
                    <a:pt x="242" y="246"/>
                  </a:lnTo>
                  <a:lnTo>
                    <a:pt x="244" y="246"/>
                  </a:lnTo>
                  <a:lnTo>
                    <a:pt x="245" y="247"/>
                  </a:lnTo>
                  <a:lnTo>
                    <a:pt x="245" y="246"/>
                  </a:lnTo>
                  <a:lnTo>
                    <a:pt x="246" y="246"/>
                  </a:lnTo>
                  <a:lnTo>
                    <a:pt x="247" y="246"/>
                  </a:lnTo>
                  <a:lnTo>
                    <a:pt x="248" y="246"/>
                  </a:lnTo>
                  <a:lnTo>
                    <a:pt x="250" y="246"/>
                  </a:lnTo>
                  <a:lnTo>
                    <a:pt x="251" y="246"/>
                  </a:lnTo>
                  <a:lnTo>
                    <a:pt x="252" y="247"/>
                  </a:lnTo>
                  <a:lnTo>
                    <a:pt x="253" y="247"/>
                  </a:lnTo>
                  <a:lnTo>
                    <a:pt x="257" y="247"/>
                  </a:lnTo>
                  <a:lnTo>
                    <a:pt x="258" y="248"/>
                  </a:lnTo>
                  <a:lnTo>
                    <a:pt x="258" y="247"/>
                  </a:lnTo>
                  <a:lnTo>
                    <a:pt x="259" y="247"/>
                  </a:lnTo>
                  <a:lnTo>
                    <a:pt x="260" y="247"/>
                  </a:lnTo>
                  <a:lnTo>
                    <a:pt x="262" y="246"/>
                  </a:lnTo>
                  <a:lnTo>
                    <a:pt x="260" y="245"/>
                  </a:lnTo>
                  <a:lnTo>
                    <a:pt x="259" y="245"/>
                  </a:lnTo>
                  <a:lnTo>
                    <a:pt x="258" y="245"/>
                  </a:lnTo>
                  <a:lnTo>
                    <a:pt x="259" y="245"/>
                  </a:lnTo>
                  <a:lnTo>
                    <a:pt x="259" y="243"/>
                  </a:lnTo>
                  <a:lnTo>
                    <a:pt x="260" y="243"/>
                  </a:lnTo>
                  <a:lnTo>
                    <a:pt x="260" y="242"/>
                  </a:lnTo>
                  <a:lnTo>
                    <a:pt x="262" y="242"/>
                  </a:lnTo>
                  <a:lnTo>
                    <a:pt x="262" y="241"/>
                  </a:lnTo>
                  <a:lnTo>
                    <a:pt x="260" y="240"/>
                  </a:lnTo>
                  <a:lnTo>
                    <a:pt x="259" y="240"/>
                  </a:lnTo>
                  <a:lnTo>
                    <a:pt x="259" y="238"/>
                  </a:lnTo>
                  <a:lnTo>
                    <a:pt x="258" y="238"/>
                  </a:lnTo>
                  <a:lnTo>
                    <a:pt x="258" y="240"/>
                  </a:lnTo>
                  <a:lnTo>
                    <a:pt x="257" y="240"/>
                  </a:lnTo>
                  <a:lnTo>
                    <a:pt x="257" y="238"/>
                  </a:lnTo>
                  <a:lnTo>
                    <a:pt x="256" y="238"/>
                  </a:lnTo>
                  <a:lnTo>
                    <a:pt x="254" y="237"/>
                  </a:lnTo>
                  <a:lnTo>
                    <a:pt x="256" y="236"/>
                  </a:lnTo>
                  <a:lnTo>
                    <a:pt x="257" y="236"/>
                  </a:lnTo>
                  <a:lnTo>
                    <a:pt x="258" y="236"/>
                  </a:lnTo>
                  <a:lnTo>
                    <a:pt x="259" y="236"/>
                  </a:lnTo>
                  <a:lnTo>
                    <a:pt x="260" y="235"/>
                  </a:lnTo>
                  <a:lnTo>
                    <a:pt x="262" y="235"/>
                  </a:lnTo>
                  <a:lnTo>
                    <a:pt x="262" y="234"/>
                  </a:lnTo>
                  <a:lnTo>
                    <a:pt x="263" y="234"/>
                  </a:lnTo>
                  <a:lnTo>
                    <a:pt x="263" y="232"/>
                  </a:lnTo>
                  <a:lnTo>
                    <a:pt x="264" y="231"/>
                  </a:lnTo>
                  <a:lnTo>
                    <a:pt x="263" y="231"/>
                  </a:lnTo>
                  <a:lnTo>
                    <a:pt x="263" y="230"/>
                  </a:lnTo>
                  <a:lnTo>
                    <a:pt x="263" y="231"/>
                  </a:lnTo>
                  <a:lnTo>
                    <a:pt x="262" y="231"/>
                  </a:lnTo>
                  <a:lnTo>
                    <a:pt x="260" y="232"/>
                  </a:lnTo>
                  <a:lnTo>
                    <a:pt x="259" y="232"/>
                  </a:lnTo>
                  <a:lnTo>
                    <a:pt x="260" y="231"/>
                  </a:lnTo>
                  <a:lnTo>
                    <a:pt x="259" y="230"/>
                  </a:lnTo>
                  <a:lnTo>
                    <a:pt x="258" y="231"/>
                  </a:lnTo>
                  <a:lnTo>
                    <a:pt x="257" y="232"/>
                  </a:lnTo>
                  <a:lnTo>
                    <a:pt x="256" y="234"/>
                  </a:lnTo>
                  <a:lnTo>
                    <a:pt x="254" y="234"/>
                  </a:lnTo>
                  <a:lnTo>
                    <a:pt x="252" y="234"/>
                  </a:lnTo>
                  <a:lnTo>
                    <a:pt x="253" y="232"/>
                  </a:lnTo>
                  <a:lnTo>
                    <a:pt x="253" y="231"/>
                  </a:lnTo>
                  <a:lnTo>
                    <a:pt x="253" y="230"/>
                  </a:lnTo>
                  <a:lnTo>
                    <a:pt x="252" y="230"/>
                  </a:lnTo>
                  <a:lnTo>
                    <a:pt x="252" y="231"/>
                  </a:lnTo>
                  <a:lnTo>
                    <a:pt x="251" y="231"/>
                  </a:lnTo>
                  <a:lnTo>
                    <a:pt x="251" y="230"/>
                  </a:lnTo>
                  <a:lnTo>
                    <a:pt x="251" y="229"/>
                  </a:lnTo>
                  <a:lnTo>
                    <a:pt x="252" y="228"/>
                  </a:lnTo>
                  <a:lnTo>
                    <a:pt x="251" y="228"/>
                  </a:lnTo>
                  <a:lnTo>
                    <a:pt x="250" y="228"/>
                  </a:lnTo>
                  <a:lnTo>
                    <a:pt x="248" y="229"/>
                  </a:lnTo>
                  <a:lnTo>
                    <a:pt x="247" y="229"/>
                  </a:lnTo>
                  <a:lnTo>
                    <a:pt x="247" y="228"/>
                  </a:lnTo>
                  <a:lnTo>
                    <a:pt x="246" y="228"/>
                  </a:lnTo>
                  <a:lnTo>
                    <a:pt x="246" y="229"/>
                  </a:lnTo>
                  <a:lnTo>
                    <a:pt x="245" y="229"/>
                  </a:lnTo>
                  <a:lnTo>
                    <a:pt x="245" y="228"/>
                  </a:lnTo>
                  <a:lnTo>
                    <a:pt x="244" y="226"/>
                  </a:lnTo>
                  <a:lnTo>
                    <a:pt x="242" y="226"/>
                  </a:lnTo>
                  <a:lnTo>
                    <a:pt x="244" y="226"/>
                  </a:lnTo>
                  <a:lnTo>
                    <a:pt x="244" y="225"/>
                  </a:lnTo>
                  <a:lnTo>
                    <a:pt x="245" y="225"/>
                  </a:lnTo>
                  <a:lnTo>
                    <a:pt x="245" y="224"/>
                  </a:lnTo>
                  <a:lnTo>
                    <a:pt x="244" y="223"/>
                  </a:lnTo>
                  <a:lnTo>
                    <a:pt x="244" y="224"/>
                  </a:lnTo>
                  <a:lnTo>
                    <a:pt x="242" y="224"/>
                  </a:lnTo>
                  <a:lnTo>
                    <a:pt x="241" y="224"/>
                  </a:lnTo>
                  <a:lnTo>
                    <a:pt x="241" y="225"/>
                  </a:lnTo>
                  <a:lnTo>
                    <a:pt x="241" y="224"/>
                  </a:lnTo>
                  <a:lnTo>
                    <a:pt x="241" y="223"/>
                  </a:lnTo>
                  <a:lnTo>
                    <a:pt x="240" y="223"/>
                  </a:lnTo>
                  <a:lnTo>
                    <a:pt x="240" y="224"/>
                  </a:lnTo>
                  <a:lnTo>
                    <a:pt x="239" y="224"/>
                  </a:lnTo>
                  <a:lnTo>
                    <a:pt x="239" y="223"/>
                  </a:lnTo>
                  <a:lnTo>
                    <a:pt x="240" y="223"/>
                  </a:lnTo>
                  <a:lnTo>
                    <a:pt x="240" y="222"/>
                  </a:lnTo>
                  <a:lnTo>
                    <a:pt x="239" y="222"/>
                  </a:lnTo>
                  <a:lnTo>
                    <a:pt x="239" y="223"/>
                  </a:lnTo>
                  <a:lnTo>
                    <a:pt x="238" y="223"/>
                  </a:lnTo>
                  <a:lnTo>
                    <a:pt x="239" y="222"/>
                  </a:lnTo>
                  <a:lnTo>
                    <a:pt x="239" y="220"/>
                  </a:lnTo>
                  <a:lnTo>
                    <a:pt x="238" y="220"/>
                  </a:lnTo>
                  <a:lnTo>
                    <a:pt x="236" y="220"/>
                  </a:lnTo>
                  <a:lnTo>
                    <a:pt x="236" y="219"/>
                  </a:lnTo>
                  <a:lnTo>
                    <a:pt x="235" y="219"/>
                  </a:lnTo>
                  <a:lnTo>
                    <a:pt x="234" y="219"/>
                  </a:lnTo>
                  <a:lnTo>
                    <a:pt x="232" y="219"/>
                  </a:lnTo>
                  <a:lnTo>
                    <a:pt x="232" y="220"/>
                  </a:lnTo>
                  <a:lnTo>
                    <a:pt x="230" y="220"/>
                  </a:lnTo>
                  <a:lnTo>
                    <a:pt x="229" y="220"/>
                  </a:lnTo>
                  <a:lnTo>
                    <a:pt x="228" y="220"/>
                  </a:lnTo>
                  <a:lnTo>
                    <a:pt x="228" y="219"/>
                  </a:lnTo>
                  <a:lnTo>
                    <a:pt x="227" y="219"/>
                  </a:lnTo>
                  <a:lnTo>
                    <a:pt x="226" y="219"/>
                  </a:lnTo>
                  <a:lnTo>
                    <a:pt x="224" y="219"/>
                  </a:lnTo>
                  <a:lnTo>
                    <a:pt x="224" y="218"/>
                  </a:lnTo>
                  <a:lnTo>
                    <a:pt x="224" y="217"/>
                  </a:lnTo>
                  <a:lnTo>
                    <a:pt x="223" y="217"/>
                  </a:lnTo>
                  <a:lnTo>
                    <a:pt x="223" y="216"/>
                  </a:lnTo>
                  <a:lnTo>
                    <a:pt x="221" y="214"/>
                  </a:lnTo>
                  <a:lnTo>
                    <a:pt x="220" y="213"/>
                  </a:lnTo>
                  <a:lnTo>
                    <a:pt x="221" y="212"/>
                  </a:lnTo>
                  <a:lnTo>
                    <a:pt x="220" y="213"/>
                  </a:lnTo>
                  <a:lnTo>
                    <a:pt x="220" y="212"/>
                  </a:lnTo>
                  <a:lnTo>
                    <a:pt x="218" y="213"/>
                  </a:lnTo>
                  <a:lnTo>
                    <a:pt x="218" y="212"/>
                  </a:lnTo>
                  <a:lnTo>
                    <a:pt x="217" y="212"/>
                  </a:lnTo>
                  <a:lnTo>
                    <a:pt x="216" y="212"/>
                  </a:lnTo>
                  <a:lnTo>
                    <a:pt x="215" y="212"/>
                  </a:lnTo>
                  <a:lnTo>
                    <a:pt x="214" y="212"/>
                  </a:lnTo>
                  <a:lnTo>
                    <a:pt x="212" y="212"/>
                  </a:lnTo>
                  <a:lnTo>
                    <a:pt x="214" y="211"/>
                  </a:lnTo>
                  <a:lnTo>
                    <a:pt x="212" y="211"/>
                  </a:lnTo>
                  <a:lnTo>
                    <a:pt x="212" y="212"/>
                  </a:lnTo>
                  <a:lnTo>
                    <a:pt x="211" y="212"/>
                  </a:lnTo>
                  <a:lnTo>
                    <a:pt x="211" y="211"/>
                  </a:lnTo>
                  <a:lnTo>
                    <a:pt x="210" y="211"/>
                  </a:lnTo>
                  <a:lnTo>
                    <a:pt x="210" y="210"/>
                  </a:lnTo>
                  <a:lnTo>
                    <a:pt x="209" y="210"/>
                  </a:lnTo>
                  <a:lnTo>
                    <a:pt x="208" y="210"/>
                  </a:lnTo>
                  <a:lnTo>
                    <a:pt x="209" y="210"/>
                  </a:lnTo>
                  <a:lnTo>
                    <a:pt x="208" y="208"/>
                  </a:lnTo>
                  <a:lnTo>
                    <a:pt x="206" y="208"/>
                  </a:lnTo>
                  <a:lnTo>
                    <a:pt x="206" y="210"/>
                  </a:lnTo>
                  <a:lnTo>
                    <a:pt x="208" y="210"/>
                  </a:lnTo>
                  <a:lnTo>
                    <a:pt x="206" y="210"/>
                  </a:lnTo>
                  <a:lnTo>
                    <a:pt x="205" y="210"/>
                  </a:lnTo>
                  <a:lnTo>
                    <a:pt x="204" y="211"/>
                  </a:lnTo>
                  <a:lnTo>
                    <a:pt x="204" y="210"/>
                  </a:lnTo>
                  <a:lnTo>
                    <a:pt x="205" y="210"/>
                  </a:lnTo>
                  <a:lnTo>
                    <a:pt x="205" y="208"/>
                  </a:lnTo>
                  <a:lnTo>
                    <a:pt x="204" y="208"/>
                  </a:lnTo>
                  <a:lnTo>
                    <a:pt x="205" y="207"/>
                  </a:lnTo>
                  <a:lnTo>
                    <a:pt x="204" y="207"/>
                  </a:lnTo>
                  <a:lnTo>
                    <a:pt x="204" y="208"/>
                  </a:lnTo>
                  <a:lnTo>
                    <a:pt x="204" y="207"/>
                  </a:lnTo>
                  <a:lnTo>
                    <a:pt x="203" y="206"/>
                  </a:lnTo>
                  <a:lnTo>
                    <a:pt x="204" y="206"/>
                  </a:lnTo>
                  <a:lnTo>
                    <a:pt x="205" y="206"/>
                  </a:lnTo>
                  <a:lnTo>
                    <a:pt x="205" y="207"/>
                  </a:lnTo>
                  <a:lnTo>
                    <a:pt x="206" y="207"/>
                  </a:lnTo>
                  <a:lnTo>
                    <a:pt x="208" y="206"/>
                  </a:lnTo>
                  <a:lnTo>
                    <a:pt x="208" y="205"/>
                  </a:lnTo>
                  <a:lnTo>
                    <a:pt x="209" y="205"/>
                  </a:lnTo>
                  <a:lnTo>
                    <a:pt x="209" y="204"/>
                  </a:lnTo>
                  <a:lnTo>
                    <a:pt x="209" y="205"/>
                  </a:lnTo>
                  <a:lnTo>
                    <a:pt x="210" y="206"/>
                  </a:lnTo>
                  <a:lnTo>
                    <a:pt x="211" y="206"/>
                  </a:lnTo>
                  <a:lnTo>
                    <a:pt x="212" y="206"/>
                  </a:lnTo>
                  <a:lnTo>
                    <a:pt x="214" y="207"/>
                  </a:lnTo>
                  <a:lnTo>
                    <a:pt x="215" y="208"/>
                  </a:lnTo>
                  <a:lnTo>
                    <a:pt x="216" y="208"/>
                  </a:lnTo>
                  <a:lnTo>
                    <a:pt x="216" y="207"/>
                  </a:lnTo>
                  <a:lnTo>
                    <a:pt x="217" y="207"/>
                  </a:lnTo>
                  <a:lnTo>
                    <a:pt x="216" y="207"/>
                  </a:lnTo>
                  <a:lnTo>
                    <a:pt x="216" y="206"/>
                  </a:lnTo>
                  <a:lnTo>
                    <a:pt x="217" y="206"/>
                  </a:lnTo>
                  <a:lnTo>
                    <a:pt x="218" y="206"/>
                  </a:lnTo>
                  <a:lnTo>
                    <a:pt x="220" y="207"/>
                  </a:lnTo>
                  <a:lnTo>
                    <a:pt x="218" y="207"/>
                  </a:lnTo>
                  <a:lnTo>
                    <a:pt x="218" y="208"/>
                  </a:lnTo>
                  <a:lnTo>
                    <a:pt x="220" y="208"/>
                  </a:lnTo>
                  <a:lnTo>
                    <a:pt x="221" y="208"/>
                  </a:lnTo>
                  <a:lnTo>
                    <a:pt x="221" y="210"/>
                  </a:lnTo>
                  <a:lnTo>
                    <a:pt x="222" y="210"/>
                  </a:lnTo>
                  <a:lnTo>
                    <a:pt x="221" y="210"/>
                  </a:lnTo>
                  <a:lnTo>
                    <a:pt x="221" y="211"/>
                  </a:lnTo>
                  <a:lnTo>
                    <a:pt x="222" y="212"/>
                  </a:lnTo>
                  <a:lnTo>
                    <a:pt x="222" y="211"/>
                  </a:lnTo>
                  <a:lnTo>
                    <a:pt x="223" y="211"/>
                  </a:lnTo>
                  <a:lnTo>
                    <a:pt x="222" y="210"/>
                  </a:lnTo>
                  <a:lnTo>
                    <a:pt x="222" y="211"/>
                  </a:lnTo>
                  <a:lnTo>
                    <a:pt x="223" y="210"/>
                  </a:lnTo>
                  <a:lnTo>
                    <a:pt x="223" y="212"/>
                  </a:lnTo>
                  <a:lnTo>
                    <a:pt x="222" y="212"/>
                  </a:lnTo>
                  <a:lnTo>
                    <a:pt x="223" y="213"/>
                  </a:lnTo>
                  <a:lnTo>
                    <a:pt x="224" y="213"/>
                  </a:lnTo>
                  <a:lnTo>
                    <a:pt x="226" y="213"/>
                  </a:lnTo>
                  <a:lnTo>
                    <a:pt x="226" y="212"/>
                  </a:lnTo>
                  <a:lnTo>
                    <a:pt x="224" y="212"/>
                  </a:lnTo>
                  <a:lnTo>
                    <a:pt x="226" y="211"/>
                  </a:lnTo>
                  <a:lnTo>
                    <a:pt x="226" y="210"/>
                  </a:lnTo>
                  <a:lnTo>
                    <a:pt x="224" y="208"/>
                  </a:lnTo>
                  <a:lnTo>
                    <a:pt x="226" y="208"/>
                  </a:lnTo>
                  <a:lnTo>
                    <a:pt x="226" y="210"/>
                  </a:lnTo>
                  <a:lnTo>
                    <a:pt x="227" y="210"/>
                  </a:lnTo>
                  <a:lnTo>
                    <a:pt x="227" y="211"/>
                  </a:lnTo>
                  <a:lnTo>
                    <a:pt x="228" y="211"/>
                  </a:lnTo>
                  <a:lnTo>
                    <a:pt x="229" y="211"/>
                  </a:lnTo>
                  <a:lnTo>
                    <a:pt x="230" y="211"/>
                  </a:lnTo>
                  <a:lnTo>
                    <a:pt x="232" y="211"/>
                  </a:lnTo>
                  <a:lnTo>
                    <a:pt x="233" y="210"/>
                  </a:lnTo>
                  <a:lnTo>
                    <a:pt x="232" y="210"/>
                  </a:lnTo>
                  <a:lnTo>
                    <a:pt x="232" y="208"/>
                  </a:lnTo>
                  <a:lnTo>
                    <a:pt x="230" y="210"/>
                  </a:lnTo>
                  <a:lnTo>
                    <a:pt x="230" y="208"/>
                  </a:lnTo>
                  <a:lnTo>
                    <a:pt x="230" y="207"/>
                  </a:lnTo>
                  <a:lnTo>
                    <a:pt x="230" y="206"/>
                  </a:lnTo>
                  <a:lnTo>
                    <a:pt x="229" y="206"/>
                  </a:lnTo>
                  <a:lnTo>
                    <a:pt x="228" y="205"/>
                  </a:lnTo>
                  <a:lnTo>
                    <a:pt x="228" y="204"/>
                  </a:lnTo>
                  <a:lnTo>
                    <a:pt x="227" y="204"/>
                  </a:lnTo>
                  <a:lnTo>
                    <a:pt x="226" y="204"/>
                  </a:lnTo>
                  <a:lnTo>
                    <a:pt x="226" y="202"/>
                  </a:lnTo>
                  <a:lnTo>
                    <a:pt x="227" y="201"/>
                  </a:lnTo>
                  <a:lnTo>
                    <a:pt x="228" y="201"/>
                  </a:lnTo>
                  <a:lnTo>
                    <a:pt x="228" y="202"/>
                  </a:lnTo>
                  <a:lnTo>
                    <a:pt x="228" y="204"/>
                  </a:lnTo>
                  <a:lnTo>
                    <a:pt x="229" y="204"/>
                  </a:lnTo>
                  <a:lnTo>
                    <a:pt x="230" y="204"/>
                  </a:lnTo>
                  <a:lnTo>
                    <a:pt x="230" y="202"/>
                  </a:lnTo>
                  <a:lnTo>
                    <a:pt x="232" y="202"/>
                  </a:lnTo>
                  <a:lnTo>
                    <a:pt x="233" y="204"/>
                  </a:lnTo>
                  <a:lnTo>
                    <a:pt x="234" y="204"/>
                  </a:lnTo>
                  <a:lnTo>
                    <a:pt x="234" y="205"/>
                  </a:lnTo>
                  <a:lnTo>
                    <a:pt x="235" y="205"/>
                  </a:lnTo>
                  <a:lnTo>
                    <a:pt x="236" y="205"/>
                  </a:lnTo>
                  <a:lnTo>
                    <a:pt x="236" y="204"/>
                  </a:lnTo>
                  <a:lnTo>
                    <a:pt x="238" y="202"/>
                  </a:lnTo>
                  <a:lnTo>
                    <a:pt x="236" y="204"/>
                  </a:lnTo>
                  <a:lnTo>
                    <a:pt x="236" y="202"/>
                  </a:lnTo>
                  <a:lnTo>
                    <a:pt x="235" y="201"/>
                  </a:lnTo>
                  <a:lnTo>
                    <a:pt x="235" y="202"/>
                  </a:lnTo>
                  <a:lnTo>
                    <a:pt x="234" y="201"/>
                  </a:lnTo>
                  <a:lnTo>
                    <a:pt x="235" y="201"/>
                  </a:lnTo>
                  <a:lnTo>
                    <a:pt x="236" y="200"/>
                  </a:lnTo>
                  <a:lnTo>
                    <a:pt x="236" y="199"/>
                  </a:lnTo>
                  <a:lnTo>
                    <a:pt x="236" y="198"/>
                  </a:lnTo>
                  <a:lnTo>
                    <a:pt x="235" y="198"/>
                  </a:lnTo>
                  <a:lnTo>
                    <a:pt x="234" y="198"/>
                  </a:lnTo>
                  <a:lnTo>
                    <a:pt x="233" y="198"/>
                  </a:lnTo>
                  <a:lnTo>
                    <a:pt x="230" y="196"/>
                  </a:lnTo>
                  <a:lnTo>
                    <a:pt x="230" y="195"/>
                  </a:lnTo>
                  <a:lnTo>
                    <a:pt x="230" y="194"/>
                  </a:lnTo>
                  <a:lnTo>
                    <a:pt x="229" y="194"/>
                  </a:lnTo>
                  <a:lnTo>
                    <a:pt x="228" y="193"/>
                  </a:lnTo>
                  <a:lnTo>
                    <a:pt x="227" y="192"/>
                  </a:lnTo>
                  <a:lnTo>
                    <a:pt x="227" y="190"/>
                  </a:lnTo>
                  <a:lnTo>
                    <a:pt x="226" y="190"/>
                  </a:lnTo>
                  <a:lnTo>
                    <a:pt x="224" y="190"/>
                  </a:lnTo>
                  <a:lnTo>
                    <a:pt x="224" y="188"/>
                  </a:lnTo>
                  <a:lnTo>
                    <a:pt x="223" y="187"/>
                  </a:lnTo>
                  <a:lnTo>
                    <a:pt x="223" y="188"/>
                  </a:lnTo>
                  <a:lnTo>
                    <a:pt x="222" y="187"/>
                  </a:lnTo>
                  <a:lnTo>
                    <a:pt x="222" y="188"/>
                  </a:lnTo>
                  <a:lnTo>
                    <a:pt x="221" y="187"/>
                  </a:lnTo>
                  <a:lnTo>
                    <a:pt x="220" y="186"/>
                  </a:lnTo>
                  <a:lnTo>
                    <a:pt x="220" y="187"/>
                  </a:lnTo>
                  <a:lnTo>
                    <a:pt x="218" y="187"/>
                  </a:lnTo>
                  <a:lnTo>
                    <a:pt x="217" y="186"/>
                  </a:lnTo>
                  <a:lnTo>
                    <a:pt x="217" y="187"/>
                  </a:lnTo>
                  <a:lnTo>
                    <a:pt x="217" y="186"/>
                  </a:lnTo>
                  <a:lnTo>
                    <a:pt x="216" y="184"/>
                  </a:lnTo>
                  <a:lnTo>
                    <a:pt x="215" y="184"/>
                  </a:lnTo>
                  <a:lnTo>
                    <a:pt x="215" y="183"/>
                  </a:lnTo>
                  <a:lnTo>
                    <a:pt x="214" y="182"/>
                  </a:lnTo>
                  <a:lnTo>
                    <a:pt x="214" y="183"/>
                  </a:lnTo>
                  <a:lnTo>
                    <a:pt x="214" y="182"/>
                  </a:lnTo>
                  <a:lnTo>
                    <a:pt x="212" y="182"/>
                  </a:lnTo>
                  <a:lnTo>
                    <a:pt x="212" y="181"/>
                  </a:lnTo>
                  <a:lnTo>
                    <a:pt x="211" y="181"/>
                  </a:lnTo>
                  <a:lnTo>
                    <a:pt x="212" y="180"/>
                  </a:lnTo>
                  <a:lnTo>
                    <a:pt x="211" y="178"/>
                  </a:lnTo>
                  <a:lnTo>
                    <a:pt x="212" y="178"/>
                  </a:lnTo>
                  <a:lnTo>
                    <a:pt x="214" y="178"/>
                  </a:lnTo>
                  <a:lnTo>
                    <a:pt x="214" y="180"/>
                  </a:lnTo>
                  <a:lnTo>
                    <a:pt x="215" y="180"/>
                  </a:lnTo>
                  <a:lnTo>
                    <a:pt x="216" y="180"/>
                  </a:lnTo>
                  <a:lnTo>
                    <a:pt x="217" y="180"/>
                  </a:lnTo>
                  <a:lnTo>
                    <a:pt x="218" y="180"/>
                  </a:lnTo>
                  <a:lnTo>
                    <a:pt x="220" y="181"/>
                  </a:lnTo>
                  <a:lnTo>
                    <a:pt x="221" y="181"/>
                  </a:lnTo>
                  <a:lnTo>
                    <a:pt x="222" y="181"/>
                  </a:lnTo>
                  <a:lnTo>
                    <a:pt x="223" y="181"/>
                  </a:lnTo>
                  <a:lnTo>
                    <a:pt x="223" y="182"/>
                  </a:lnTo>
                  <a:lnTo>
                    <a:pt x="224" y="182"/>
                  </a:lnTo>
                  <a:lnTo>
                    <a:pt x="226" y="182"/>
                  </a:lnTo>
                  <a:lnTo>
                    <a:pt x="227" y="183"/>
                  </a:lnTo>
                  <a:lnTo>
                    <a:pt x="228" y="183"/>
                  </a:lnTo>
                  <a:lnTo>
                    <a:pt x="229" y="184"/>
                  </a:lnTo>
                  <a:lnTo>
                    <a:pt x="232" y="186"/>
                  </a:lnTo>
                  <a:lnTo>
                    <a:pt x="233" y="187"/>
                  </a:lnTo>
                  <a:lnTo>
                    <a:pt x="234" y="188"/>
                  </a:lnTo>
                  <a:lnTo>
                    <a:pt x="233" y="188"/>
                  </a:lnTo>
                  <a:lnTo>
                    <a:pt x="232" y="188"/>
                  </a:lnTo>
                  <a:lnTo>
                    <a:pt x="233" y="188"/>
                  </a:lnTo>
                  <a:lnTo>
                    <a:pt x="233" y="189"/>
                  </a:lnTo>
                  <a:lnTo>
                    <a:pt x="232" y="189"/>
                  </a:lnTo>
                  <a:lnTo>
                    <a:pt x="232" y="190"/>
                  </a:lnTo>
                  <a:lnTo>
                    <a:pt x="233" y="192"/>
                  </a:lnTo>
                  <a:lnTo>
                    <a:pt x="232" y="192"/>
                  </a:lnTo>
                  <a:lnTo>
                    <a:pt x="232" y="193"/>
                  </a:lnTo>
                  <a:lnTo>
                    <a:pt x="232" y="194"/>
                  </a:lnTo>
                  <a:lnTo>
                    <a:pt x="232" y="195"/>
                  </a:lnTo>
                  <a:lnTo>
                    <a:pt x="233" y="195"/>
                  </a:lnTo>
                  <a:lnTo>
                    <a:pt x="234" y="195"/>
                  </a:lnTo>
                  <a:lnTo>
                    <a:pt x="234" y="194"/>
                  </a:lnTo>
                  <a:lnTo>
                    <a:pt x="235" y="194"/>
                  </a:lnTo>
                  <a:lnTo>
                    <a:pt x="235" y="196"/>
                  </a:lnTo>
                  <a:lnTo>
                    <a:pt x="235" y="198"/>
                  </a:lnTo>
                  <a:lnTo>
                    <a:pt x="236" y="198"/>
                  </a:lnTo>
                  <a:lnTo>
                    <a:pt x="236" y="199"/>
                  </a:lnTo>
                  <a:lnTo>
                    <a:pt x="238" y="199"/>
                  </a:lnTo>
                  <a:lnTo>
                    <a:pt x="236" y="199"/>
                  </a:lnTo>
                  <a:lnTo>
                    <a:pt x="238" y="199"/>
                  </a:lnTo>
                  <a:lnTo>
                    <a:pt x="238" y="200"/>
                  </a:lnTo>
                  <a:lnTo>
                    <a:pt x="238" y="201"/>
                  </a:lnTo>
                  <a:lnTo>
                    <a:pt x="239" y="200"/>
                  </a:lnTo>
                  <a:lnTo>
                    <a:pt x="240" y="201"/>
                  </a:lnTo>
                  <a:lnTo>
                    <a:pt x="241" y="201"/>
                  </a:lnTo>
                  <a:lnTo>
                    <a:pt x="241" y="202"/>
                  </a:lnTo>
                  <a:lnTo>
                    <a:pt x="242" y="201"/>
                  </a:lnTo>
                  <a:lnTo>
                    <a:pt x="244" y="201"/>
                  </a:lnTo>
                  <a:lnTo>
                    <a:pt x="244" y="200"/>
                  </a:lnTo>
                  <a:lnTo>
                    <a:pt x="242" y="200"/>
                  </a:lnTo>
                  <a:lnTo>
                    <a:pt x="242" y="199"/>
                  </a:lnTo>
                  <a:lnTo>
                    <a:pt x="242" y="200"/>
                  </a:lnTo>
                  <a:lnTo>
                    <a:pt x="242" y="199"/>
                  </a:lnTo>
                  <a:lnTo>
                    <a:pt x="242" y="198"/>
                  </a:lnTo>
                  <a:lnTo>
                    <a:pt x="244" y="198"/>
                  </a:lnTo>
                  <a:lnTo>
                    <a:pt x="245" y="196"/>
                  </a:lnTo>
                  <a:lnTo>
                    <a:pt x="246" y="196"/>
                  </a:lnTo>
                  <a:lnTo>
                    <a:pt x="246" y="198"/>
                  </a:lnTo>
                  <a:lnTo>
                    <a:pt x="247" y="199"/>
                  </a:lnTo>
                  <a:lnTo>
                    <a:pt x="247" y="201"/>
                  </a:lnTo>
                  <a:lnTo>
                    <a:pt x="248" y="201"/>
                  </a:lnTo>
                  <a:lnTo>
                    <a:pt x="250" y="202"/>
                  </a:lnTo>
                  <a:lnTo>
                    <a:pt x="250" y="204"/>
                  </a:lnTo>
                  <a:lnTo>
                    <a:pt x="250" y="205"/>
                  </a:lnTo>
                  <a:lnTo>
                    <a:pt x="251" y="205"/>
                  </a:lnTo>
                  <a:lnTo>
                    <a:pt x="252" y="206"/>
                  </a:lnTo>
                  <a:lnTo>
                    <a:pt x="253" y="206"/>
                  </a:lnTo>
                  <a:lnTo>
                    <a:pt x="253" y="205"/>
                  </a:lnTo>
                  <a:lnTo>
                    <a:pt x="254" y="204"/>
                  </a:lnTo>
                  <a:lnTo>
                    <a:pt x="256" y="204"/>
                  </a:lnTo>
                  <a:lnTo>
                    <a:pt x="257" y="205"/>
                  </a:lnTo>
                  <a:lnTo>
                    <a:pt x="257" y="206"/>
                  </a:lnTo>
                  <a:lnTo>
                    <a:pt x="258" y="206"/>
                  </a:lnTo>
                  <a:lnTo>
                    <a:pt x="258" y="207"/>
                  </a:lnTo>
                  <a:lnTo>
                    <a:pt x="257" y="207"/>
                  </a:lnTo>
                  <a:lnTo>
                    <a:pt x="258" y="207"/>
                  </a:lnTo>
                  <a:lnTo>
                    <a:pt x="257" y="208"/>
                  </a:lnTo>
                  <a:lnTo>
                    <a:pt x="258" y="208"/>
                  </a:lnTo>
                  <a:lnTo>
                    <a:pt x="259" y="207"/>
                  </a:lnTo>
                  <a:lnTo>
                    <a:pt x="259" y="208"/>
                  </a:lnTo>
                  <a:lnTo>
                    <a:pt x="258" y="210"/>
                  </a:lnTo>
                  <a:lnTo>
                    <a:pt x="259" y="210"/>
                  </a:lnTo>
                  <a:lnTo>
                    <a:pt x="260" y="210"/>
                  </a:lnTo>
                  <a:lnTo>
                    <a:pt x="262" y="208"/>
                  </a:lnTo>
                  <a:lnTo>
                    <a:pt x="260" y="208"/>
                  </a:lnTo>
                  <a:lnTo>
                    <a:pt x="262" y="208"/>
                  </a:lnTo>
                  <a:lnTo>
                    <a:pt x="262" y="207"/>
                  </a:lnTo>
                  <a:lnTo>
                    <a:pt x="262" y="208"/>
                  </a:lnTo>
                  <a:lnTo>
                    <a:pt x="263" y="208"/>
                  </a:lnTo>
                  <a:lnTo>
                    <a:pt x="263" y="210"/>
                  </a:lnTo>
                  <a:lnTo>
                    <a:pt x="264" y="210"/>
                  </a:lnTo>
                  <a:lnTo>
                    <a:pt x="264" y="211"/>
                  </a:lnTo>
                  <a:lnTo>
                    <a:pt x="265" y="212"/>
                  </a:lnTo>
                  <a:lnTo>
                    <a:pt x="264" y="212"/>
                  </a:lnTo>
                  <a:lnTo>
                    <a:pt x="264" y="213"/>
                  </a:lnTo>
                  <a:lnTo>
                    <a:pt x="265" y="213"/>
                  </a:lnTo>
                  <a:lnTo>
                    <a:pt x="265" y="214"/>
                  </a:lnTo>
                  <a:lnTo>
                    <a:pt x="267" y="216"/>
                  </a:lnTo>
                  <a:lnTo>
                    <a:pt x="268" y="216"/>
                  </a:lnTo>
                  <a:lnTo>
                    <a:pt x="268" y="214"/>
                  </a:lnTo>
                  <a:lnTo>
                    <a:pt x="269" y="214"/>
                  </a:lnTo>
                  <a:lnTo>
                    <a:pt x="270" y="213"/>
                  </a:lnTo>
                  <a:lnTo>
                    <a:pt x="269" y="213"/>
                  </a:lnTo>
                  <a:lnTo>
                    <a:pt x="270" y="213"/>
                  </a:lnTo>
                  <a:lnTo>
                    <a:pt x="271" y="213"/>
                  </a:lnTo>
                  <a:lnTo>
                    <a:pt x="273" y="214"/>
                  </a:lnTo>
                  <a:lnTo>
                    <a:pt x="273" y="213"/>
                  </a:lnTo>
                  <a:lnTo>
                    <a:pt x="274" y="213"/>
                  </a:lnTo>
                  <a:lnTo>
                    <a:pt x="275" y="213"/>
                  </a:lnTo>
                  <a:lnTo>
                    <a:pt x="276" y="212"/>
                  </a:lnTo>
                  <a:lnTo>
                    <a:pt x="276" y="213"/>
                  </a:lnTo>
                  <a:lnTo>
                    <a:pt x="277" y="212"/>
                  </a:lnTo>
                  <a:lnTo>
                    <a:pt x="276" y="212"/>
                  </a:lnTo>
                  <a:lnTo>
                    <a:pt x="276" y="211"/>
                  </a:lnTo>
                  <a:lnTo>
                    <a:pt x="277" y="211"/>
                  </a:lnTo>
                  <a:lnTo>
                    <a:pt x="280" y="210"/>
                  </a:lnTo>
                  <a:lnTo>
                    <a:pt x="279" y="208"/>
                  </a:lnTo>
                  <a:lnTo>
                    <a:pt x="277" y="208"/>
                  </a:lnTo>
                  <a:lnTo>
                    <a:pt x="279" y="207"/>
                  </a:lnTo>
                  <a:lnTo>
                    <a:pt x="279" y="206"/>
                  </a:lnTo>
                  <a:lnTo>
                    <a:pt x="280" y="205"/>
                  </a:lnTo>
                  <a:lnTo>
                    <a:pt x="279" y="205"/>
                  </a:lnTo>
                  <a:lnTo>
                    <a:pt x="279" y="204"/>
                  </a:lnTo>
                  <a:lnTo>
                    <a:pt x="279" y="205"/>
                  </a:lnTo>
                  <a:lnTo>
                    <a:pt x="277" y="204"/>
                  </a:lnTo>
                  <a:lnTo>
                    <a:pt x="276" y="204"/>
                  </a:lnTo>
                  <a:lnTo>
                    <a:pt x="275" y="204"/>
                  </a:lnTo>
                  <a:lnTo>
                    <a:pt x="275" y="202"/>
                  </a:lnTo>
                  <a:lnTo>
                    <a:pt x="276" y="204"/>
                  </a:lnTo>
                  <a:lnTo>
                    <a:pt x="276" y="202"/>
                  </a:lnTo>
                  <a:lnTo>
                    <a:pt x="277" y="202"/>
                  </a:lnTo>
                  <a:lnTo>
                    <a:pt x="279" y="201"/>
                  </a:lnTo>
                  <a:lnTo>
                    <a:pt x="277" y="200"/>
                  </a:lnTo>
                  <a:lnTo>
                    <a:pt x="276" y="200"/>
                  </a:lnTo>
                  <a:lnTo>
                    <a:pt x="274" y="200"/>
                  </a:lnTo>
                  <a:lnTo>
                    <a:pt x="275" y="199"/>
                  </a:lnTo>
                  <a:lnTo>
                    <a:pt x="275" y="198"/>
                  </a:lnTo>
                  <a:lnTo>
                    <a:pt x="274" y="199"/>
                  </a:lnTo>
                  <a:lnTo>
                    <a:pt x="273" y="199"/>
                  </a:lnTo>
                  <a:lnTo>
                    <a:pt x="271" y="196"/>
                  </a:lnTo>
                  <a:lnTo>
                    <a:pt x="271" y="195"/>
                  </a:lnTo>
                  <a:lnTo>
                    <a:pt x="270" y="194"/>
                  </a:lnTo>
                  <a:lnTo>
                    <a:pt x="269" y="195"/>
                  </a:lnTo>
                  <a:lnTo>
                    <a:pt x="269" y="193"/>
                  </a:lnTo>
                  <a:lnTo>
                    <a:pt x="270" y="192"/>
                  </a:lnTo>
                  <a:lnTo>
                    <a:pt x="270" y="190"/>
                  </a:lnTo>
                  <a:lnTo>
                    <a:pt x="269" y="189"/>
                  </a:lnTo>
                  <a:lnTo>
                    <a:pt x="269" y="190"/>
                  </a:lnTo>
                  <a:lnTo>
                    <a:pt x="268" y="190"/>
                  </a:lnTo>
                  <a:lnTo>
                    <a:pt x="267" y="189"/>
                  </a:lnTo>
                  <a:lnTo>
                    <a:pt x="265" y="188"/>
                  </a:lnTo>
                  <a:lnTo>
                    <a:pt x="264" y="188"/>
                  </a:lnTo>
                  <a:lnTo>
                    <a:pt x="263" y="188"/>
                  </a:lnTo>
                  <a:lnTo>
                    <a:pt x="263" y="187"/>
                  </a:lnTo>
                  <a:lnTo>
                    <a:pt x="264" y="186"/>
                  </a:lnTo>
                  <a:lnTo>
                    <a:pt x="264" y="184"/>
                  </a:lnTo>
                  <a:lnTo>
                    <a:pt x="263" y="184"/>
                  </a:lnTo>
                  <a:lnTo>
                    <a:pt x="262" y="184"/>
                  </a:lnTo>
                  <a:lnTo>
                    <a:pt x="262" y="186"/>
                  </a:lnTo>
                  <a:lnTo>
                    <a:pt x="262" y="184"/>
                  </a:lnTo>
                  <a:lnTo>
                    <a:pt x="260" y="184"/>
                  </a:lnTo>
                  <a:lnTo>
                    <a:pt x="259" y="184"/>
                  </a:lnTo>
                  <a:lnTo>
                    <a:pt x="258" y="184"/>
                  </a:lnTo>
                  <a:lnTo>
                    <a:pt x="258" y="186"/>
                  </a:lnTo>
                  <a:lnTo>
                    <a:pt x="258" y="184"/>
                  </a:lnTo>
                  <a:lnTo>
                    <a:pt x="257" y="184"/>
                  </a:lnTo>
                  <a:lnTo>
                    <a:pt x="257" y="183"/>
                  </a:lnTo>
                  <a:lnTo>
                    <a:pt x="256" y="183"/>
                  </a:lnTo>
                  <a:lnTo>
                    <a:pt x="256" y="182"/>
                  </a:lnTo>
                  <a:lnTo>
                    <a:pt x="257" y="182"/>
                  </a:lnTo>
                  <a:lnTo>
                    <a:pt x="257" y="181"/>
                  </a:lnTo>
                  <a:lnTo>
                    <a:pt x="256" y="181"/>
                  </a:lnTo>
                  <a:lnTo>
                    <a:pt x="256" y="180"/>
                  </a:lnTo>
                  <a:lnTo>
                    <a:pt x="254" y="180"/>
                  </a:lnTo>
                  <a:lnTo>
                    <a:pt x="254" y="178"/>
                  </a:lnTo>
                  <a:lnTo>
                    <a:pt x="253" y="177"/>
                  </a:lnTo>
                  <a:lnTo>
                    <a:pt x="252" y="176"/>
                  </a:lnTo>
                  <a:lnTo>
                    <a:pt x="252" y="175"/>
                  </a:lnTo>
                  <a:lnTo>
                    <a:pt x="251" y="175"/>
                  </a:lnTo>
                  <a:lnTo>
                    <a:pt x="250" y="174"/>
                  </a:lnTo>
                  <a:lnTo>
                    <a:pt x="251" y="174"/>
                  </a:lnTo>
                  <a:lnTo>
                    <a:pt x="251" y="172"/>
                  </a:lnTo>
                  <a:lnTo>
                    <a:pt x="252" y="172"/>
                  </a:lnTo>
                  <a:lnTo>
                    <a:pt x="252" y="171"/>
                  </a:lnTo>
                  <a:lnTo>
                    <a:pt x="251" y="170"/>
                  </a:lnTo>
                  <a:lnTo>
                    <a:pt x="252" y="170"/>
                  </a:lnTo>
                  <a:lnTo>
                    <a:pt x="253" y="170"/>
                  </a:lnTo>
                  <a:lnTo>
                    <a:pt x="253" y="169"/>
                  </a:lnTo>
                  <a:lnTo>
                    <a:pt x="254" y="169"/>
                  </a:lnTo>
                  <a:lnTo>
                    <a:pt x="256" y="169"/>
                  </a:lnTo>
                  <a:lnTo>
                    <a:pt x="256" y="168"/>
                  </a:lnTo>
                  <a:lnTo>
                    <a:pt x="256" y="166"/>
                  </a:lnTo>
                  <a:lnTo>
                    <a:pt x="257" y="166"/>
                  </a:lnTo>
                  <a:lnTo>
                    <a:pt x="258" y="166"/>
                  </a:lnTo>
                  <a:lnTo>
                    <a:pt x="259" y="166"/>
                  </a:lnTo>
                  <a:lnTo>
                    <a:pt x="259" y="165"/>
                  </a:lnTo>
                  <a:lnTo>
                    <a:pt x="259" y="164"/>
                  </a:lnTo>
                  <a:lnTo>
                    <a:pt x="258" y="164"/>
                  </a:lnTo>
                  <a:lnTo>
                    <a:pt x="259" y="164"/>
                  </a:lnTo>
                  <a:lnTo>
                    <a:pt x="260" y="164"/>
                  </a:lnTo>
                  <a:lnTo>
                    <a:pt x="260" y="165"/>
                  </a:lnTo>
                  <a:lnTo>
                    <a:pt x="260" y="166"/>
                  </a:lnTo>
                  <a:lnTo>
                    <a:pt x="262" y="166"/>
                  </a:lnTo>
                  <a:lnTo>
                    <a:pt x="260" y="166"/>
                  </a:lnTo>
                  <a:lnTo>
                    <a:pt x="260" y="168"/>
                  </a:lnTo>
                  <a:lnTo>
                    <a:pt x="262" y="168"/>
                  </a:lnTo>
                  <a:lnTo>
                    <a:pt x="262" y="169"/>
                  </a:lnTo>
                  <a:lnTo>
                    <a:pt x="263" y="170"/>
                  </a:lnTo>
                  <a:lnTo>
                    <a:pt x="264" y="170"/>
                  </a:lnTo>
                  <a:lnTo>
                    <a:pt x="265" y="170"/>
                  </a:lnTo>
                  <a:lnTo>
                    <a:pt x="267" y="170"/>
                  </a:lnTo>
                  <a:lnTo>
                    <a:pt x="267" y="171"/>
                  </a:lnTo>
                  <a:lnTo>
                    <a:pt x="268" y="172"/>
                  </a:lnTo>
                  <a:lnTo>
                    <a:pt x="268" y="171"/>
                  </a:lnTo>
                  <a:lnTo>
                    <a:pt x="268" y="172"/>
                  </a:lnTo>
                  <a:lnTo>
                    <a:pt x="269" y="172"/>
                  </a:lnTo>
                  <a:lnTo>
                    <a:pt x="270" y="172"/>
                  </a:lnTo>
                  <a:lnTo>
                    <a:pt x="271" y="174"/>
                  </a:lnTo>
                  <a:lnTo>
                    <a:pt x="274" y="175"/>
                  </a:lnTo>
                  <a:lnTo>
                    <a:pt x="275" y="175"/>
                  </a:lnTo>
                  <a:lnTo>
                    <a:pt x="276" y="175"/>
                  </a:lnTo>
                  <a:lnTo>
                    <a:pt x="277" y="175"/>
                  </a:lnTo>
                  <a:lnTo>
                    <a:pt x="279" y="175"/>
                  </a:lnTo>
                  <a:lnTo>
                    <a:pt x="280" y="175"/>
                  </a:lnTo>
                  <a:lnTo>
                    <a:pt x="281" y="175"/>
                  </a:lnTo>
                  <a:lnTo>
                    <a:pt x="281" y="174"/>
                  </a:lnTo>
                  <a:lnTo>
                    <a:pt x="282" y="172"/>
                  </a:lnTo>
                  <a:lnTo>
                    <a:pt x="283" y="172"/>
                  </a:lnTo>
                  <a:lnTo>
                    <a:pt x="285" y="171"/>
                  </a:lnTo>
                  <a:lnTo>
                    <a:pt x="286" y="171"/>
                  </a:lnTo>
                  <a:lnTo>
                    <a:pt x="287" y="171"/>
                  </a:lnTo>
                  <a:lnTo>
                    <a:pt x="288" y="171"/>
                  </a:lnTo>
                  <a:lnTo>
                    <a:pt x="287" y="170"/>
                  </a:lnTo>
                  <a:lnTo>
                    <a:pt x="288" y="169"/>
                  </a:lnTo>
                  <a:lnTo>
                    <a:pt x="289" y="169"/>
                  </a:lnTo>
                  <a:lnTo>
                    <a:pt x="291" y="169"/>
                  </a:lnTo>
                  <a:lnTo>
                    <a:pt x="292" y="169"/>
                  </a:lnTo>
                  <a:lnTo>
                    <a:pt x="292" y="168"/>
                  </a:lnTo>
                  <a:lnTo>
                    <a:pt x="293" y="168"/>
                  </a:lnTo>
                  <a:lnTo>
                    <a:pt x="293" y="166"/>
                  </a:lnTo>
                  <a:lnTo>
                    <a:pt x="294" y="166"/>
                  </a:lnTo>
                  <a:lnTo>
                    <a:pt x="294" y="165"/>
                  </a:lnTo>
                  <a:lnTo>
                    <a:pt x="293" y="165"/>
                  </a:lnTo>
                  <a:lnTo>
                    <a:pt x="293" y="164"/>
                  </a:lnTo>
                  <a:lnTo>
                    <a:pt x="293" y="163"/>
                  </a:lnTo>
                  <a:lnTo>
                    <a:pt x="294" y="163"/>
                  </a:lnTo>
                  <a:lnTo>
                    <a:pt x="293" y="162"/>
                  </a:lnTo>
                  <a:lnTo>
                    <a:pt x="292" y="162"/>
                  </a:lnTo>
                  <a:lnTo>
                    <a:pt x="293" y="162"/>
                  </a:lnTo>
                  <a:lnTo>
                    <a:pt x="294" y="162"/>
                  </a:lnTo>
                  <a:lnTo>
                    <a:pt x="295" y="163"/>
                  </a:lnTo>
                  <a:lnTo>
                    <a:pt x="295" y="164"/>
                  </a:lnTo>
                  <a:lnTo>
                    <a:pt x="297" y="164"/>
                  </a:lnTo>
                  <a:lnTo>
                    <a:pt x="298" y="164"/>
                  </a:lnTo>
                  <a:lnTo>
                    <a:pt x="299" y="164"/>
                  </a:lnTo>
                  <a:lnTo>
                    <a:pt x="300" y="164"/>
                  </a:lnTo>
                  <a:lnTo>
                    <a:pt x="301" y="164"/>
                  </a:lnTo>
                  <a:lnTo>
                    <a:pt x="303" y="162"/>
                  </a:lnTo>
                  <a:lnTo>
                    <a:pt x="303" y="160"/>
                  </a:lnTo>
                  <a:lnTo>
                    <a:pt x="305" y="158"/>
                  </a:lnTo>
                  <a:lnTo>
                    <a:pt x="304" y="158"/>
                  </a:lnTo>
                  <a:lnTo>
                    <a:pt x="305" y="157"/>
                  </a:lnTo>
                  <a:lnTo>
                    <a:pt x="305" y="154"/>
                  </a:lnTo>
                  <a:lnTo>
                    <a:pt x="304" y="154"/>
                  </a:lnTo>
                  <a:lnTo>
                    <a:pt x="303" y="15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6" name="Freeform 69"/>
            <p:cNvSpPr>
              <a:spLocks/>
            </p:cNvSpPr>
            <p:nvPr userDrawn="1"/>
          </p:nvSpPr>
          <p:spPr bwMode="auto">
            <a:xfrm>
              <a:off x="5962650" y="6515101"/>
              <a:ext cx="2976563" cy="144463"/>
            </a:xfrm>
            <a:custGeom>
              <a:avLst/>
              <a:gdLst/>
              <a:ahLst/>
              <a:cxnLst>
                <a:cxn ang="0">
                  <a:pos x="25" y="436"/>
                </a:cxn>
                <a:cxn ang="0">
                  <a:pos x="154" y="358"/>
                </a:cxn>
                <a:cxn ang="0">
                  <a:pos x="302" y="286"/>
                </a:cxn>
                <a:cxn ang="0">
                  <a:pos x="395" y="246"/>
                </a:cxn>
                <a:cxn ang="0">
                  <a:pos x="556" y="188"/>
                </a:cxn>
                <a:cxn ang="0">
                  <a:pos x="680" y="150"/>
                </a:cxn>
                <a:cxn ang="0">
                  <a:pos x="888" y="99"/>
                </a:cxn>
                <a:cxn ang="0">
                  <a:pos x="1042" y="71"/>
                </a:cxn>
                <a:cxn ang="0">
                  <a:pos x="1208" y="47"/>
                </a:cxn>
                <a:cxn ang="0">
                  <a:pos x="1387" y="30"/>
                </a:cxn>
                <a:cxn ang="0">
                  <a:pos x="1577" y="21"/>
                </a:cxn>
                <a:cxn ang="0">
                  <a:pos x="2005" y="19"/>
                </a:cxn>
                <a:cxn ang="0">
                  <a:pos x="2476" y="27"/>
                </a:cxn>
                <a:cxn ang="0">
                  <a:pos x="2960" y="44"/>
                </a:cxn>
                <a:cxn ang="0">
                  <a:pos x="3842" y="86"/>
                </a:cxn>
                <a:cxn ang="0">
                  <a:pos x="4485" y="126"/>
                </a:cxn>
                <a:cxn ang="0">
                  <a:pos x="4908" y="114"/>
                </a:cxn>
                <a:cxn ang="0">
                  <a:pos x="5281" y="99"/>
                </a:cxn>
                <a:cxn ang="0">
                  <a:pos x="5621" y="78"/>
                </a:cxn>
                <a:cxn ang="0">
                  <a:pos x="6421" y="17"/>
                </a:cxn>
                <a:cxn ang="0">
                  <a:pos x="6840" y="0"/>
                </a:cxn>
                <a:cxn ang="0">
                  <a:pos x="7011" y="1"/>
                </a:cxn>
                <a:cxn ang="0">
                  <a:pos x="7112" y="8"/>
                </a:cxn>
                <a:cxn ang="0">
                  <a:pos x="7541" y="77"/>
                </a:cxn>
                <a:cxn ang="0">
                  <a:pos x="8314" y="210"/>
                </a:cxn>
                <a:cxn ang="0">
                  <a:pos x="8947" y="326"/>
                </a:cxn>
                <a:cxn ang="0">
                  <a:pos x="9373" y="407"/>
                </a:cxn>
                <a:cxn ang="0">
                  <a:pos x="8201" y="412"/>
                </a:cxn>
                <a:cxn ang="0">
                  <a:pos x="7029" y="418"/>
                </a:cxn>
                <a:cxn ang="0">
                  <a:pos x="5858" y="424"/>
                </a:cxn>
                <a:cxn ang="0">
                  <a:pos x="4686" y="430"/>
                </a:cxn>
                <a:cxn ang="0">
                  <a:pos x="3515" y="435"/>
                </a:cxn>
                <a:cxn ang="0">
                  <a:pos x="2343" y="441"/>
                </a:cxn>
                <a:cxn ang="0">
                  <a:pos x="1172" y="447"/>
                </a:cxn>
                <a:cxn ang="0">
                  <a:pos x="0" y="453"/>
                </a:cxn>
              </a:cxnLst>
              <a:rect l="0" t="0" r="r" b="b"/>
              <a:pathLst>
                <a:path w="9373" h="453">
                  <a:moveTo>
                    <a:pt x="0" y="453"/>
                  </a:moveTo>
                  <a:lnTo>
                    <a:pt x="25" y="436"/>
                  </a:lnTo>
                  <a:lnTo>
                    <a:pt x="99" y="389"/>
                  </a:lnTo>
                  <a:lnTo>
                    <a:pt x="154" y="358"/>
                  </a:lnTo>
                  <a:lnTo>
                    <a:pt x="223" y="323"/>
                  </a:lnTo>
                  <a:lnTo>
                    <a:pt x="302" y="286"/>
                  </a:lnTo>
                  <a:lnTo>
                    <a:pt x="347" y="267"/>
                  </a:lnTo>
                  <a:lnTo>
                    <a:pt x="395" y="246"/>
                  </a:lnTo>
                  <a:lnTo>
                    <a:pt x="500" y="208"/>
                  </a:lnTo>
                  <a:lnTo>
                    <a:pt x="556" y="188"/>
                  </a:lnTo>
                  <a:lnTo>
                    <a:pt x="617" y="169"/>
                  </a:lnTo>
                  <a:lnTo>
                    <a:pt x="680" y="150"/>
                  </a:lnTo>
                  <a:lnTo>
                    <a:pt x="747" y="132"/>
                  </a:lnTo>
                  <a:lnTo>
                    <a:pt x="888" y="99"/>
                  </a:lnTo>
                  <a:lnTo>
                    <a:pt x="963" y="84"/>
                  </a:lnTo>
                  <a:lnTo>
                    <a:pt x="1042" y="71"/>
                  </a:lnTo>
                  <a:lnTo>
                    <a:pt x="1124" y="57"/>
                  </a:lnTo>
                  <a:lnTo>
                    <a:pt x="1208" y="47"/>
                  </a:lnTo>
                  <a:lnTo>
                    <a:pt x="1296" y="38"/>
                  </a:lnTo>
                  <a:lnTo>
                    <a:pt x="1387" y="30"/>
                  </a:lnTo>
                  <a:lnTo>
                    <a:pt x="1481" y="25"/>
                  </a:lnTo>
                  <a:lnTo>
                    <a:pt x="1577" y="21"/>
                  </a:lnTo>
                  <a:lnTo>
                    <a:pt x="1783" y="19"/>
                  </a:lnTo>
                  <a:lnTo>
                    <a:pt x="2005" y="19"/>
                  </a:lnTo>
                  <a:lnTo>
                    <a:pt x="2236" y="23"/>
                  </a:lnTo>
                  <a:lnTo>
                    <a:pt x="2476" y="27"/>
                  </a:lnTo>
                  <a:lnTo>
                    <a:pt x="2718" y="35"/>
                  </a:lnTo>
                  <a:lnTo>
                    <a:pt x="2960" y="44"/>
                  </a:lnTo>
                  <a:lnTo>
                    <a:pt x="3426" y="65"/>
                  </a:lnTo>
                  <a:lnTo>
                    <a:pt x="3842" y="86"/>
                  </a:lnTo>
                  <a:lnTo>
                    <a:pt x="4178" y="107"/>
                  </a:lnTo>
                  <a:lnTo>
                    <a:pt x="4485" y="126"/>
                  </a:lnTo>
                  <a:lnTo>
                    <a:pt x="4608" y="124"/>
                  </a:lnTo>
                  <a:lnTo>
                    <a:pt x="4908" y="114"/>
                  </a:lnTo>
                  <a:lnTo>
                    <a:pt x="5092" y="108"/>
                  </a:lnTo>
                  <a:lnTo>
                    <a:pt x="5281" y="99"/>
                  </a:lnTo>
                  <a:lnTo>
                    <a:pt x="5462" y="89"/>
                  </a:lnTo>
                  <a:lnTo>
                    <a:pt x="5621" y="78"/>
                  </a:lnTo>
                  <a:lnTo>
                    <a:pt x="5982" y="47"/>
                  </a:lnTo>
                  <a:lnTo>
                    <a:pt x="6421" y="17"/>
                  </a:lnTo>
                  <a:lnTo>
                    <a:pt x="6639" y="5"/>
                  </a:lnTo>
                  <a:lnTo>
                    <a:pt x="6840" y="0"/>
                  </a:lnTo>
                  <a:lnTo>
                    <a:pt x="6929" y="0"/>
                  </a:lnTo>
                  <a:lnTo>
                    <a:pt x="7011" y="1"/>
                  </a:lnTo>
                  <a:lnTo>
                    <a:pt x="7081" y="6"/>
                  </a:lnTo>
                  <a:lnTo>
                    <a:pt x="7112" y="8"/>
                  </a:lnTo>
                  <a:lnTo>
                    <a:pt x="7140" y="12"/>
                  </a:lnTo>
                  <a:lnTo>
                    <a:pt x="7541" y="77"/>
                  </a:lnTo>
                  <a:lnTo>
                    <a:pt x="7937" y="144"/>
                  </a:lnTo>
                  <a:lnTo>
                    <a:pt x="8314" y="210"/>
                  </a:lnTo>
                  <a:lnTo>
                    <a:pt x="8656" y="271"/>
                  </a:lnTo>
                  <a:lnTo>
                    <a:pt x="8947" y="326"/>
                  </a:lnTo>
                  <a:lnTo>
                    <a:pt x="9175" y="369"/>
                  </a:lnTo>
                  <a:lnTo>
                    <a:pt x="9373" y="407"/>
                  </a:lnTo>
                  <a:lnTo>
                    <a:pt x="8787" y="410"/>
                  </a:lnTo>
                  <a:lnTo>
                    <a:pt x="8201" y="412"/>
                  </a:lnTo>
                  <a:lnTo>
                    <a:pt x="7614" y="414"/>
                  </a:lnTo>
                  <a:lnTo>
                    <a:pt x="7029" y="418"/>
                  </a:lnTo>
                  <a:lnTo>
                    <a:pt x="6443" y="420"/>
                  </a:lnTo>
                  <a:lnTo>
                    <a:pt x="5858" y="424"/>
                  </a:lnTo>
                  <a:lnTo>
                    <a:pt x="5271" y="426"/>
                  </a:lnTo>
                  <a:lnTo>
                    <a:pt x="4686" y="430"/>
                  </a:lnTo>
                  <a:lnTo>
                    <a:pt x="4100" y="433"/>
                  </a:lnTo>
                  <a:lnTo>
                    <a:pt x="3515" y="435"/>
                  </a:lnTo>
                  <a:lnTo>
                    <a:pt x="2928" y="437"/>
                  </a:lnTo>
                  <a:lnTo>
                    <a:pt x="2343" y="441"/>
                  </a:lnTo>
                  <a:lnTo>
                    <a:pt x="1757" y="443"/>
                  </a:lnTo>
                  <a:lnTo>
                    <a:pt x="1172" y="447"/>
                  </a:lnTo>
                  <a:lnTo>
                    <a:pt x="585" y="449"/>
                  </a:lnTo>
                  <a:lnTo>
                    <a:pt x="0" y="45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7" name="Freeform 70"/>
            <p:cNvSpPr>
              <a:spLocks/>
            </p:cNvSpPr>
            <p:nvPr userDrawn="1"/>
          </p:nvSpPr>
          <p:spPr bwMode="auto">
            <a:xfrm>
              <a:off x="6608763" y="6438901"/>
              <a:ext cx="2020888" cy="225425"/>
            </a:xfrm>
            <a:custGeom>
              <a:avLst/>
              <a:gdLst/>
              <a:ahLst/>
              <a:cxnLst>
                <a:cxn ang="0">
                  <a:pos x="53" y="521"/>
                </a:cxn>
                <a:cxn ang="0">
                  <a:pos x="115" y="517"/>
                </a:cxn>
                <a:cxn ang="0">
                  <a:pos x="205" y="489"/>
                </a:cxn>
                <a:cxn ang="0">
                  <a:pos x="323" y="427"/>
                </a:cxn>
                <a:cxn ang="0">
                  <a:pos x="416" y="380"/>
                </a:cxn>
                <a:cxn ang="0">
                  <a:pos x="480" y="354"/>
                </a:cxn>
                <a:cxn ang="0">
                  <a:pos x="554" y="337"/>
                </a:cxn>
                <a:cxn ang="0">
                  <a:pos x="673" y="330"/>
                </a:cxn>
                <a:cxn ang="0">
                  <a:pos x="923" y="330"/>
                </a:cxn>
                <a:cxn ang="0">
                  <a:pos x="1322" y="341"/>
                </a:cxn>
                <a:cxn ang="0">
                  <a:pos x="1705" y="346"/>
                </a:cxn>
                <a:cxn ang="0">
                  <a:pos x="1948" y="330"/>
                </a:cxn>
                <a:cxn ang="0">
                  <a:pos x="2194" y="296"/>
                </a:cxn>
                <a:cxn ang="0">
                  <a:pos x="3062" y="160"/>
                </a:cxn>
                <a:cxn ang="0">
                  <a:pos x="3779" y="52"/>
                </a:cxn>
                <a:cxn ang="0">
                  <a:pos x="4065" y="16"/>
                </a:cxn>
                <a:cxn ang="0">
                  <a:pos x="4267" y="0"/>
                </a:cxn>
                <a:cxn ang="0">
                  <a:pos x="4399" y="9"/>
                </a:cxn>
                <a:cxn ang="0">
                  <a:pos x="4573" y="35"/>
                </a:cxn>
                <a:cxn ang="0">
                  <a:pos x="4854" y="89"/>
                </a:cxn>
                <a:cxn ang="0">
                  <a:pos x="5322" y="193"/>
                </a:cxn>
                <a:cxn ang="0">
                  <a:pos x="6010" y="349"/>
                </a:cxn>
                <a:cxn ang="0">
                  <a:pos x="6141" y="372"/>
                </a:cxn>
                <a:cxn ang="0">
                  <a:pos x="6197" y="378"/>
                </a:cxn>
                <a:cxn ang="0">
                  <a:pos x="6283" y="374"/>
                </a:cxn>
                <a:cxn ang="0">
                  <a:pos x="6327" y="379"/>
                </a:cxn>
                <a:cxn ang="0">
                  <a:pos x="6354" y="392"/>
                </a:cxn>
                <a:cxn ang="0">
                  <a:pos x="6365" y="412"/>
                </a:cxn>
                <a:cxn ang="0">
                  <a:pos x="6360" y="436"/>
                </a:cxn>
                <a:cxn ang="0">
                  <a:pos x="6344" y="463"/>
                </a:cxn>
                <a:cxn ang="0">
                  <a:pos x="6287" y="526"/>
                </a:cxn>
                <a:cxn ang="0">
                  <a:pos x="6211" y="591"/>
                </a:cxn>
                <a:cxn ang="0">
                  <a:pos x="6048" y="706"/>
                </a:cxn>
                <a:cxn ang="0">
                  <a:pos x="4390" y="691"/>
                </a:cxn>
                <a:cxn ang="0">
                  <a:pos x="2732" y="676"/>
                </a:cxn>
                <a:cxn ang="0">
                  <a:pos x="1739" y="680"/>
                </a:cxn>
                <a:cxn ang="0">
                  <a:pos x="747" y="685"/>
                </a:cxn>
                <a:cxn ang="0">
                  <a:pos x="62" y="529"/>
                </a:cxn>
                <a:cxn ang="0">
                  <a:pos x="0" y="513"/>
                </a:cxn>
              </a:cxnLst>
              <a:rect l="0" t="0" r="r" b="b"/>
              <a:pathLst>
                <a:path w="6365" h="706">
                  <a:moveTo>
                    <a:pt x="21" y="516"/>
                  </a:moveTo>
                  <a:lnTo>
                    <a:pt x="53" y="521"/>
                  </a:lnTo>
                  <a:lnTo>
                    <a:pt x="85" y="521"/>
                  </a:lnTo>
                  <a:lnTo>
                    <a:pt x="115" y="517"/>
                  </a:lnTo>
                  <a:lnTo>
                    <a:pt x="145" y="510"/>
                  </a:lnTo>
                  <a:lnTo>
                    <a:pt x="205" y="489"/>
                  </a:lnTo>
                  <a:lnTo>
                    <a:pt x="264" y="460"/>
                  </a:lnTo>
                  <a:lnTo>
                    <a:pt x="323" y="427"/>
                  </a:lnTo>
                  <a:lnTo>
                    <a:pt x="384" y="395"/>
                  </a:lnTo>
                  <a:lnTo>
                    <a:pt x="416" y="380"/>
                  </a:lnTo>
                  <a:lnTo>
                    <a:pt x="447" y="366"/>
                  </a:lnTo>
                  <a:lnTo>
                    <a:pt x="480" y="354"/>
                  </a:lnTo>
                  <a:lnTo>
                    <a:pt x="513" y="344"/>
                  </a:lnTo>
                  <a:lnTo>
                    <a:pt x="554" y="337"/>
                  </a:lnTo>
                  <a:lnTo>
                    <a:pt x="608" y="332"/>
                  </a:lnTo>
                  <a:lnTo>
                    <a:pt x="673" y="330"/>
                  </a:lnTo>
                  <a:lnTo>
                    <a:pt x="749" y="329"/>
                  </a:lnTo>
                  <a:lnTo>
                    <a:pt x="923" y="330"/>
                  </a:lnTo>
                  <a:lnTo>
                    <a:pt x="1118" y="336"/>
                  </a:lnTo>
                  <a:lnTo>
                    <a:pt x="1322" y="341"/>
                  </a:lnTo>
                  <a:lnTo>
                    <a:pt x="1522" y="346"/>
                  </a:lnTo>
                  <a:lnTo>
                    <a:pt x="1705" y="346"/>
                  </a:lnTo>
                  <a:lnTo>
                    <a:pt x="1861" y="338"/>
                  </a:lnTo>
                  <a:lnTo>
                    <a:pt x="1948" y="330"/>
                  </a:lnTo>
                  <a:lnTo>
                    <a:pt x="2060" y="315"/>
                  </a:lnTo>
                  <a:lnTo>
                    <a:pt x="2194" y="296"/>
                  </a:lnTo>
                  <a:lnTo>
                    <a:pt x="2347" y="273"/>
                  </a:lnTo>
                  <a:lnTo>
                    <a:pt x="3062" y="160"/>
                  </a:lnTo>
                  <a:lnTo>
                    <a:pt x="3434" y="103"/>
                  </a:lnTo>
                  <a:lnTo>
                    <a:pt x="3779" y="52"/>
                  </a:lnTo>
                  <a:lnTo>
                    <a:pt x="3930" y="32"/>
                  </a:lnTo>
                  <a:lnTo>
                    <a:pt x="4065" y="16"/>
                  </a:lnTo>
                  <a:lnTo>
                    <a:pt x="4180" y="5"/>
                  </a:lnTo>
                  <a:lnTo>
                    <a:pt x="4267" y="0"/>
                  </a:lnTo>
                  <a:lnTo>
                    <a:pt x="4349" y="4"/>
                  </a:lnTo>
                  <a:lnTo>
                    <a:pt x="4399" y="9"/>
                  </a:lnTo>
                  <a:lnTo>
                    <a:pt x="4452" y="16"/>
                  </a:lnTo>
                  <a:lnTo>
                    <a:pt x="4573" y="35"/>
                  </a:lnTo>
                  <a:lnTo>
                    <a:pt x="4708" y="59"/>
                  </a:lnTo>
                  <a:lnTo>
                    <a:pt x="4854" y="89"/>
                  </a:lnTo>
                  <a:lnTo>
                    <a:pt x="5007" y="122"/>
                  </a:lnTo>
                  <a:lnTo>
                    <a:pt x="5322" y="193"/>
                  </a:lnTo>
                  <a:lnTo>
                    <a:pt x="5898" y="325"/>
                  </a:lnTo>
                  <a:lnTo>
                    <a:pt x="6010" y="349"/>
                  </a:lnTo>
                  <a:lnTo>
                    <a:pt x="6102" y="366"/>
                  </a:lnTo>
                  <a:lnTo>
                    <a:pt x="6141" y="372"/>
                  </a:lnTo>
                  <a:lnTo>
                    <a:pt x="6172" y="376"/>
                  </a:lnTo>
                  <a:lnTo>
                    <a:pt x="6197" y="378"/>
                  </a:lnTo>
                  <a:lnTo>
                    <a:pt x="6217" y="378"/>
                  </a:lnTo>
                  <a:lnTo>
                    <a:pt x="6283" y="374"/>
                  </a:lnTo>
                  <a:lnTo>
                    <a:pt x="6307" y="376"/>
                  </a:lnTo>
                  <a:lnTo>
                    <a:pt x="6327" y="379"/>
                  </a:lnTo>
                  <a:lnTo>
                    <a:pt x="6343" y="385"/>
                  </a:lnTo>
                  <a:lnTo>
                    <a:pt x="6354" y="392"/>
                  </a:lnTo>
                  <a:lnTo>
                    <a:pt x="6361" y="401"/>
                  </a:lnTo>
                  <a:lnTo>
                    <a:pt x="6365" y="412"/>
                  </a:lnTo>
                  <a:lnTo>
                    <a:pt x="6364" y="422"/>
                  </a:lnTo>
                  <a:lnTo>
                    <a:pt x="6360" y="436"/>
                  </a:lnTo>
                  <a:lnTo>
                    <a:pt x="6354" y="449"/>
                  </a:lnTo>
                  <a:lnTo>
                    <a:pt x="6344" y="463"/>
                  </a:lnTo>
                  <a:lnTo>
                    <a:pt x="6319" y="493"/>
                  </a:lnTo>
                  <a:lnTo>
                    <a:pt x="6287" y="526"/>
                  </a:lnTo>
                  <a:lnTo>
                    <a:pt x="6250" y="559"/>
                  </a:lnTo>
                  <a:lnTo>
                    <a:pt x="6211" y="591"/>
                  </a:lnTo>
                  <a:lnTo>
                    <a:pt x="6132" y="648"/>
                  </a:lnTo>
                  <a:lnTo>
                    <a:pt x="6048" y="706"/>
                  </a:lnTo>
                  <a:lnTo>
                    <a:pt x="5219" y="698"/>
                  </a:lnTo>
                  <a:lnTo>
                    <a:pt x="4390" y="691"/>
                  </a:lnTo>
                  <a:lnTo>
                    <a:pt x="3561" y="683"/>
                  </a:lnTo>
                  <a:lnTo>
                    <a:pt x="2732" y="676"/>
                  </a:lnTo>
                  <a:lnTo>
                    <a:pt x="2235" y="677"/>
                  </a:lnTo>
                  <a:lnTo>
                    <a:pt x="1739" y="680"/>
                  </a:lnTo>
                  <a:lnTo>
                    <a:pt x="1243" y="682"/>
                  </a:lnTo>
                  <a:lnTo>
                    <a:pt x="747" y="685"/>
                  </a:lnTo>
                  <a:lnTo>
                    <a:pt x="319" y="588"/>
                  </a:lnTo>
                  <a:lnTo>
                    <a:pt x="62" y="529"/>
                  </a:lnTo>
                  <a:lnTo>
                    <a:pt x="3" y="515"/>
                  </a:lnTo>
                  <a:lnTo>
                    <a:pt x="0" y="513"/>
                  </a:lnTo>
                  <a:lnTo>
                    <a:pt x="21" y="51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8" name="Freeform 71"/>
            <p:cNvSpPr>
              <a:spLocks/>
            </p:cNvSpPr>
            <p:nvPr userDrawn="1"/>
          </p:nvSpPr>
          <p:spPr bwMode="auto">
            <a:xfrm>
              <a:off x="6940550" y="6437313"/>
              <a:ext cx="165100" cy="203200"/>
            </a:xfrm>
            <a:custGeom>
              <a:avLst/>
              <a:gdLst/>
              <a:ahLst/>
              <a:cxnLst>
                <a:cxn ang="0">
                  <a:pos x="243" y="410"/>
                </a:cxn>
                <a:cxn ang="0">
                  <a:pos x="230" y="392"/>
                </a:cxn>
                <a:cxn ang="0">
                  <a:pos x="227" y="366"/>
                </a:cxn>
                <a:cxn ang="0">
                  <a:pos x="248" y="352"/>
                </a:cxn>
                <a:cxn ang="0">
                  <a:pos x="206" y="384"/>
                </a:cxn>
                <a:cxn ang="0">
                  <a:pos x="225" y="430"/>
                </a:cxn>
                <a:cxn ang="0">
                  <a:pos x="215" y="404"/>
                </a:cxn>
                <a:cxn ang="0">
                  <a:pos x="186" y="412"/>
                </a:cxn>
                <a:cxn ang="0">
                  <a:pos x="157" y="408"/>
                </a:cxn>
                <a:cxn ang="0">
                  <a:pos x="132" y="397"/>
                </a:cxn>
                <a:cxn ang="0">
                  <a:pos x="118" y="409"/>
                </a:cxn>
                <a:cxn ang="0">
                  <a:pos x="100" y="421"/>
                </a:cxn>
                <a:cxn ang="0">
                  <a:pos x="77" y="404"/>
                </a:cxn>
                <a:cxn ang="0">
                  <a:pos x="13" y="419"/>
                </a:cxn>
                <a:cxn ang="0">
                  <a:pos x="43" y="376"/>
                </a:cxn>
                <a:cxn ang="0">
                  <a:pos x="19" y="354"/>
                </a:cxn>
                <a:cxn ang="0">
                  <a:pos x="9" y="329"/>
                </a:cxn>
                <a:cxn ang="0">
                  <a:pos x="6" y="291"/>
                </a:cxn>
                <a:cxn ang="0">
                  <a:pos x="53" y="285"/>
                </a:cxn>
                <a:cxn ang="0">
                  <a:pos x="63" y="261"/>
                </a:cxn>
                <a:cxn ang="0">
                  <a:pos x="96" y="225"/>
                </a:cxn>
                <a:cxn ang="0">
                  <a:pos x="56" y="217"/>
                </a:cxn>
                <a:cxn ang="0">
                  <a:pos x="35" y="208"/>
                </a:cxn>
                <a:cxn ang="0">
                  <a:pos x="27" y="193"/>
                </a:cxn>
                <a:cxn ang="0">
                  <a:pos x="32" y="160"/>
                </a:cxn>
                <a:cxn ang="0">
                  <a:pos x="73" y="124"/>
                </a:cxn>
                <a:cxn ang="0">
                  <a:pos x="97" y="91"/>
                </a:cxn>
                <a:cxn ang="0">
                  <a:pos x="120" y="87"/>
                </a:cxn>
                <a:cxn ang="0">
                  <a:pos x="141" y="100"/>
                </a:cxn>
                <a:cxn ang="0">
                  <a:pos x="191" y="97"/>
                </a:cxn>
                <a:cxn ang="0">
                  <a:pos x="189" y="57"/>
                </a:cxn>
                <a:cxn ang="0">
                  <a:pos x="212" y="69"/>
                </a:cxn>
                <a:cxn ang="0">
                  <a:pos x="232" y="93"/>
                </a:cxn>
                <a:cxn ang="0">
                  <a:pos x="267" y="73"/>
                </a:cxn>
                <a:cxn ang="0">
                  <a:pos x="303" y="89"/>
                </a:cxn>
                <a:cxn ang="0">
                  <a:pos x="320" y="112"/>
                </a:cxn>
                <a:cxn ang="0">
                  <a:pos x="304" y="75"/>
                </a:cxn>
                <a:cxn ang="0">
                  <a:pos x="280" y="49"/>
                </a:cxn>
                <a:cxn ang="0">
                  <a:pos x="292" y="2"/>
                </a:cxn>
                <a:cxn ang="0">
                  <a:pos x="316" y="34"/>
                </a:cxn>
                <a:cxn ang="0">
                  <a:pos x="370" y="39"/>
                </a:cxn>
                <a:cxn ang="0">
                  <a:pos x="362" y="88"/>
                </a:cxn>
                <a:cxn ang="0">
                  <a:pos x="395" y="101"/>
                </a:cxn>
                <a:cxn ang="0">
                  <a:pos x="423" y="87"/>
                </a:cxn>
                <a:cxn ang="0">
                  <a:pos x="467" y="70"/>
                </a:cxn>
                <a:cxn ang="0">
                  <a:pos x="473" y="104"/>
                </a:cxn>
                <a:cxn ang="0">
                  <a:pos x="443" y="136"/>
                </a:cxn>
                <a:cxn ang="0">
                  <a:pos x="425" y="153"/>
                </a:cxn>
                <a:cxn ang="0">
                  <a:pos x="466" y="160"/>
                </a:cxn>
                <a:cxn ang="0">
                  <a:pos x="487" y="186"/>
                </a:cxn>
                <a:cxn ang="0">
                  <a:pos x="522" y="220"/>
                </a:cxn>
                <a:cxn ang="0">
                  <a:pos x="513" y="246"/>
                </a:cxn>
                <a:cxn ang="0">
                  <a:pos x="481" y="264"/>
                </a:cxn>
                <a:cxn ang="0">
                  <a:pos x="451" y="282"/>
                </a:cxn>
                <a:cxn ang="0">
                  <a:pos x="482" y="336"/>
                </a:cxn>
                <a:cxn ang="0">
                  <a:pos x="440" y="331"/>
                </a:cxn>
                <a:cxn ang="0">
                  <a:pos x="434" y="365"/>
                </a:cxn>
                <a:cxn ang="0">
                  <a:pos x="466" y="418"/>
                </a:cxn>
                <a:cxn ang="0">
                  <a:pos x="425" y="442"/>
                </a:cxn>
                <a:cxn ang="0">
                  <a:pos x="380" y="467"/>
                </a:cxn>
                <a:cxn ang="0">
                  <a:pos x="349" y="450"/>
                </a:cxn>
                <a:cxn ang="0">
                  <a:pos x="299" y="438"/>
                </a:cxn>
                <a:cxn ang="0">
                  <a:pos x="279" y="457"/>
                </a:cxn>
              </a:cxnLst>
              <a:rect l="0" t="0" r="r" b="b"/>
              <a:pathLst>
                <a:path w="523" h="640">
                  <a:moveTo>
                    <a:pt x="272" y="640"/>
                  </a:moveTo>
                  <a:lnTo>
                    <a:pt x="255" y="640"/>
                  </a:lnTo>
                  <a:lnTo>
                    <a:pt x="254" y="623"/>
                  </a:lnTo>
                  <a:lnTo>
                    <a:pt x="253" y="614"/>
                  </a:lnTo>
                  <a:lnTo>
                    <a:pt x="253" y="592"/>
                  </a:lnTo>
                  <a:lnTo>
                    <a:pt x="251" y="588"/>
                  </a:lnTo>
                  <a:lnTo>
                    <a:pt x="253" y="584"/>
                  </a:lnTo>
                  <a:lnTo>
                    <a:pt x="256" y="555"/>
                  </a:lnTo>
                  <a:lnTo>
                    <a:pt x="259" y="540"/>
                  </a:lnTo>
                  <a:lnTo>
                    <a:pt x="261" y="525"/>
                  </a:lnTo>
                  <a:lnTo>
                    <a:pt x="263" y="511"/>
                  </a:lnTo>
                  <a:lnTo>
                    <a:pt x="266" y="502"/>
                  </a:lnTo>
                  <a:lnTo>
                    <a:pt x="272" y="490"/>
                  </a:lnTo>
                  <a:lnTo>
                    <a:pt x="274" y="485"/>
                  </a:lnTo>
                  <a:lnTo>
                    <a:pt x="269" y="471"/>
                  </a:lnTo>
                  <a:lnTo>
                    <a:pt x="265" y="461"/>
                  </a:lnTo>
                  <a:lnTo>
                    <a:pt x="266" y="451"/>
                  </a:lnTo>
                  <a:lnTo>
                    <a:pt x="266" y="445"/>
                  </a:lnTo>
                  <a:lnTo>
                    <a:pt x="265" y="438"/>
                  </a:lnTo>
                  <a:lnTo>
                    <a:pt x="265" y="432"/>
                  </a:lnTo>
                  <a:lnTo>
                    <a:pt x="262" y="428"/>
                  </a:lnTo>
                  <a:lnTo>
                    <a:pt x="260" y="426"/>
                  </a:lnTo>
                  <a:lnTo>
                    <a:pt x="260" y="422"/>
                  </a:lnTo>
                  <a:lnTo>
                    <a:pt x="257" y="413"/>
                  </a:lnTo>
                  <a:lnTo>
                    <a:pt x="256" y="410"/>
                  </a:lnTo>
                  <a:lnTo>
                    <a:pt x="255" y="412"/>
                  </a:lnTo>
                  <a:lnTo>
                    <a:pt x="257" y="414"/>
                  </a:lnTo>
                  <a:lnTo>
                    <a:pt x="256" y="415"/>
                  </a:lnTo>
                  <a:lnTo>
                    <a:pt x="256" y="419"/>
                  </a:lnTo>
                  <a:lnTo>
                    <a:pt x="255" y="422"/>
                  </a:lnTo>
                  <a:lnTo>
                    <a:pt x="254" y="420"/>
                  </a:lnTo>
                  <a:lnTo>
                    <a:pt x="254" y="422"/>
                  </a:lnTo>
                  <a:lnTo>
                    <a:pt x="251" y="421"/>
                  </a:lnTo>
                  <a:lnTo>
                    <a:pt x="250" y="421"/>
                  </a:lnTo>
                  <a:lnTo>
                    <a:pt x="249" y="421"/>
                  </a:lnTo>
                  <a:lnTo>
                    <a:pt x="246" y="424"/>
                  </a:lnTo>
                  <a:lnTo>
                    <a:pt x="245" y="425"/>
                  </a:lnTo>
                  <a:lnTo>
                    <a:pt x="245" y="422"/>
                  </a:lnTo>
                  <a:lnTo>
                    <a:pt x="245" y="421"/>
                  </a:lnTo>
                  <a:lnTo>
                    <a:pt x="244" y="421"/>
                  </a:lnTo>
                  <a:lnTo>
                    <a:pt x="243" y="421"/>
                  </a:lnTo>
                  <a:lnTo>
                    <a:pt x="240" y="424"/>
                  </a:lnTo>
                  <a:lnTo>
                    <a:pt x="236" y="426"/>
                  </a:lnTo>
                  <a:lnTo>
                    <a:pt x="234" y="426"/>
                  </a:lnTo>
                  <a:lnTo>
                    <a:pt x="236" y="424"/>
                  </a:lnTo>
                  <a:lnTo>
                    <a:pt x="237" y="421"/>
                  </a:lnTo>
                  <a:lnTo>
                    <a:pt x="238" y="420"/>
                  </a:lnTo>
                  <a:lnTo>
                    <a:pt x="240" y="419"/>
                  </a:lnTo>
                  <a:lnTo>
                    <a:pt x="239" y="419"/>
                  </a:lnTo>
                  <a:lnTo>
                    <a:pt x="237" y="420"/>
                  </a:lnTo>
                  <a:lnTo>
                    <a:pt x="237" y="418"/>
                  </a:lnTo>
                  <a:lnTo>
                    <a:pt x="239" y="416"/>
                  </a:lnTo>
                  <a:lnTo>
                    <a:pt x="240" y="415"/>
                  </a:lnTo>
                  <a:lnTo>
                    <a:pt x="239" y="414"/>
                  </a:lnTo>
                  <a:lnTo>
                    <a:pt x="242" y="414"/>
                  </a:lnTo>
                  <a:lnTo>
                    <a:pt x="243" y="416"/>
                  </a:lnTo>
                  <a:lnTo>
                    <a:pt x="242" y="418"/>
                  </a:lnTo>
                  <a:lnTo>
                    <a:pt x="243" y="419"/>
                  </a:lnTo>
                  <a:lnTo>
                    <a:pt x="244" y="416"/>
                  </a:lnTo>
                  <a:lnTo>
                    <a:pt x="245" y="415"/>
                  </a:lnTo>
                  <a:lnTo>
                    <a:pt x="244" y="414"/>
                  </a:lnTo>
                  <a:lnTo>
                    <a:pt x="244" y="413"/>
                  </a:lnTo>
                  <a:lnTo>
                    <a:pt x="243" y="410"/>
                  </a:lnTo>
                  <a:lnTo>
                    <a:pt x="244" y="409"/>
                  </a:lnTo>
                  <a:lnTo>
                    <a:pt x="243" y="409"/>
                  </a:lnTo>
                  <a:lnTo>
                    <a:pt x="244" y="408"/>
                  </a:lnTo>
                  <a:lnTo>
                    <a:pt x="246" y="406"/>
                  </a:lnTo>
                  <a:lnTo>
                    <a:pt x="250" y="406"/>
                  </a:lnTo>
                  <a:lnTo>
                    <a:pt x="251" y="407"/>
                  </a:lnTo>
                  <a:lnTo>
                    <a:pt x="254" y="403"/>
                  </a:lnTo>
                  <a:lnTo>
                    <a:pt x="256" y="397"/>
                  </a:lnTo>
                  <a:lnTo>
                    <a:pt x="259" y="395"/>
                  </a:lnTo>
                  <a:lnTo>
                    <a:pt x="259" y="394"/>
                  </a:lnTo>
                  <a:lnTo>
                    <a:pt x="260" y="392"/>
                  </a:lnTo>
                  <a:lnTo>
                    <a:pt x="259" y="394"/>
                  </a:lnTo>
                  <a:lnTo>
                    <a:pt x="259" y="392"/>
                  </a:lnTo>
                  <a:lnTo>
                    <a:pt x="257" y="394"/>
                  </a:lnTo>
                  <a:lnTo>
                    <a:pt x="255" y="395"/>
                  </a:lnTo>
                  <a:lnTo>
                    <a:pt x="253" y="395"/>
                  </a:lnTo>
                  <a:lnTo>
                    <a:pt x="253" y="394"/>
                  </a:lnTo>
                  <a:lnTo>
                    <a:pt x="251" y="394"/>
                  </a:lnTo>
                  <a:lnTo>
                    <a:pt x="250" y="395"/>
                  </a:lnTo>
                  <a:lnTo>
                    <a:pt x="251" y="392"/>
                  </a:lnTo>
                  <a:lnTo>
                    <a:pt x="251" y="391"/>
                  </a:lnTo>
                  <a:lnTo>
                    <a:pt x="251" y="390"/>
                  </a:lnTo>
                  <a:lnTo>
                    <a:pt x="254" y="388"/>
                  </a:lnTo>
                  <a:lnTo>
                    <a:pt x="250" y="390"/>
                  </a:lnTo>
                  <a:lnTo>
                    <a:pt x="250" y="389"/>
                  </a:lnTo>
                  <a:lnTo>
                    <a:pt x="250" y="388"/>
                  </a:lnTo>
                  <a:lnTo>
                    <a:pt x="251" y="386"/>
                  </a:lnTo>
                  <a:lnTo>
                    <a:pt x="249" y="386"/>
                  </a:lnTo>
                  <a:lnTo>
                    <a:pt x="248" y="388"/>
                  </a:lnTo>
                  <a:lnTo>
                    <a:pt x="248" y="386"/>
                  </a:lnTo>
                  <a:lnTo>
                    <a:pt x="246" y="384"/>
                  </a:lnTo>
                  <a:lnTo>
                    <a:pt x="246" y="383"/>
                  </a:lnTo>
                  <a:lnTo>
                    <a:pt x="245" y="385"/>
                  </a:lnTo>
                  <a:lnTo>
                    <a:pt x="244" y="386"/>
                  </a:lnTo>
                  <a:lnTo>
                    <a:pt x="243" y="388"/>
                  </a:lnTo>
                  <a:lnTo>
                    <a:pt x="243" y="389"/>
                  </a:lnTo>
                  <a:lnTo>
                    <a:pt x="242" y="390"/>
                  </a:lnTo>
                  <a:lnTo>
                    <a:pt x="243" y="391"/>
                  </a:lnTo>
                  <a:lnTo>
                    <a:pt x="245" y="391"/>
                  </a:lnTo>
                  <a:lnTo>
                    <a:pt x="245" y="392"/>
                  </a:lnTo>
                  <a:lnTo>
                    <a:pt x="245" y="394"/>
                  </a:lnTo>
                  <a:lnTo>
                    <a:pt x="245" y="396"/>
                  </a:lnTo>
                  <a:lnTo>
                    <a:pt x="244" y="395"/>
                  </a:lnTo>
                  <a:lnTo>
                    <a:pt x="243" y="395"/>
                  </a:lnTo>
                  <a:lnTo>
                    <a:pt x="242" y="395"/>
                  </a:lnTo>
                  <a:lnTo>
                    <a:pt x="242" y="396"/>
                  </a:lnTo>
                  <a:lnTo>
                    <a:pt x="240" y="394"/>
                  </a:lnTo>
                  <a:lnTo>
                    <a:pt x="239" y="392"/>
                  </a:lnTo>
                  <a:lnTo>
                    <a:pt x="237" y="394"/>
                  </a:lnTo>
                  <a:lnTo>
                    <a:pt x="237" y="395"/>
                  </a:lnTo>
                  <a:lnTo>
                    <a:pt x="234" y="395"/>
                  </a:lnTo>
                  <a:lnTo>
                    <a:pt x="234" y="397"/>
                  </a:lnTo>
                  <a:lnTo>
                    <a:pt x="232" y="398"/>
                  </a:lnTo>
                  <a:lnTo>
                    <a:pt x="230" y="400"/>
                  </a:lnTo>
                  <a:lnTo>
                    <a:pt x="230" y="398"/>
                  </a:lnTo>
                  <a:lnTo>
                    <a:pt x="232" y="397"/>
                  </a:lnTo>
                  <a:lnTo>
                    <a:pt x="233" y="396"/>
                  </a:lnTo>
                  <a:lnTo>
                    <a:pt x="232" y="396"/>
                  </a:lnTo>
                  <a:lnTo>
                    <a:pt x="232" y="395"/>
                  </a:lnTo>
                  <a:lnTo>
                    <a:pt x="234" y="394"/>
                  </a:lnTo>
                  <a:lnTo>
                    <a:pt x="233" y="392"/>
                  </a:lnTo>
                  <a:lnTo>
                    <a:pt x="232" y="392"/>
                  </a:lnTo>
                  <a:lnTo>
                    <a:pt x="230" y="392"/>
                  </a:lnTo>
                  <a:lnTo>
                    <a:pt x="231" y="390"/>
                  </a:lnTo>
                  <a:lnTo>
                    <a:pt x="232" y="388"/>
                  </a:lnTo>
                  <a:lnTo>
                    <a:pt x="236" y="386"/>
                  </a:lnTo>
                  <a:lnTo>
                    <a:pt x="238" y="388"/>
                  </a:lnTo>
                  <a:lnTo>
                    <a:pt x="237" y="386"/>
                  </a:lnTo>
                  <a:lnTo>
                    <a:pt x="237" y="385"/>
                  </a:lnTo>
                  <a:lnTo>
                    <a:pt x="240" y="385"/>
                  </a:lnTo>
                  <a:lnTo>
                    <a:pt x="240" y="388"/>
                  </a:lnTo>
                  <a:lnTo>
                    <a:pt x="242" y="386"/>
                  </a:lnTo>
                  <a:lnTo>
                    <a:pt x="243" y="385"/>
                  </a:lnTo>
                  <a:lnTo>
                    <a:pt x="245" y="384"/>
                  </a:lnTo>
                  <a:lnTo>
                    <a:pt x="246" y="382"/>
                  </a:lnTo>
                  <a:lnTo>
                    <a:pt x="246" y="379"/>
                  </a:lnTo>
                  <a:lnTo>
                    <a:pt x="245" y="379"/>
                  </a:lnTo>
                  <a:lnTo>
                    <a:pt x="244" y="380"/>
                  </a:lnTo>
                  <a:lnTo>
                    <a:pt x="242" y="380"/>
                  </a:lnTo>
                  <a:lnTo>
                    <a:pt x="243" y="379"/>
                  </a:lnTo>
                  <a:lnTo>
                    <a:pt x="243" y="377"/>
                  </a:lnTo>
                  <a:lnTo>
                    <a:pt x="243" y="374"/>
                  </a:lnTo>
                  <a:lnTo>
                    <a:pt x="244" y="372"/>
                  </a:lnTo>
                  <a:lnTo>
                    <a:pt x="240" y="373"/>
                  </a:lnTo>
                  <a:lnTo>
                    <a:pt x="238" y="374"/>
                  </a:lnTo>
                  <a:lnTo>
                    <a:pt x="237" y="376"/>
                  </a:lnTo>
                  <a:lnTo>
                    <a:pt x="236" y="377"/>
                  </a:lnTo>
                  <a:lnTo>
                    <a:pt x="234" y="380"/>
                  </a:lnTo>
                  <a:lnTo>
                    <a:pt x="233" y="379"/>
                  </a:lnTo>
                  <a:lnTo>
                    <a:pt x="233" y="376"/>
                  </a:lnTo>
                  <a:lnTo>
                    <a:pt x="234" y="376"/>
                  </a:lnTo>
                  <a:lnTo>
                    <a:pt x="237" y="374"/>
                  </a:lnTo>
                  <a:lnTo>
                    <a:pt x="240" y="372"/>
                  </a:lnTo>
                  <a:lnTo>
                    <a:pt x="240" y="370"/>
                  </a:lnTo>
                  <a:lnTo>
                    <a:pt x="239" y="370"/>
                  </a:lnTo>
                  <a:lnTo>
                    <a:pt x="237" y="373"/>
                  </a:lnTo>
                  <a:lnTo>
                    <a:pt x="236" y="373"/>
                  </a:lnTo>
                  <a:lnTo>
                    <a:pt x="238" y="368"/>
                  </a:lnTo>
                  <a:lnTo>
                    <a:pt x="239" y="366"/>
                  </a:lnTo>
                  <a:lnTo>
                    <a:pt x="240" y="364"/>
                  </a:lnTo>
                  <a:lnTo>
                    <a:pt x="242" y="362"/>
                  </a:lnTo>
                  <a:lnTo>
                    <a:pt x="240" y="362"/>
                  </a:lnTo>
                  <a:lnTo>
                    <a:pt x="239" y="364"/>
                  </a:lnTo>
                  <a:lnTo>
                    <a:pt x="239" y="365"/>
                  </a:lnTo>
                  <a:lnTo>
                    <a:pt x="238" y="366"/>
                  </a:lnTo>
                  <a:lnTo>
                    <a:pt x="238" y="365"/>
                  </a:lnTo>
                  <a:lnTo>
                    <a:pt x="238" y="364"/>
                  </a:lnTo>
                  <a:lnTo>
                    <a:pt x="237" y="362"/>
                  </a:lnTo>
                  <a:lnTo>
                    <a:pt x="236" y="361"/>
                  </a:lnTo>
                  <a:lnTo>
                    <a:pt x="233" y="361"/>
                  </a:lnTo>
                  <a:lnTo>
                    <a:pt x="236" y="362"/>
                  </a:lnTo>
                  <a:lnTo>
                    <a:pt x="236" y="365"/>
                  </a:lnTo>
                  <a:lnTo>
                    <a:pt x="234" y="366"/>
                  </a:lnTo>
                  <a:lnTo>
                    <a:pt x="234" y="365"/>
                  </a:lnTo>
                  <a:lnTo>
                    <a:pt x="233" y="366"/>
                  </a:lnTo>
                  <a:lnTo>
                    <a:pt x="233" y="368"/>
                  </a:lnTo>
                  <a:lnTo>
                    <a:pt x="231" y="371"/>
                  </a:lnTo>
                  <a:lnTo>
                    <a:pt x="230" y="373"/>
                  </a:lnTo>
                  <a:lnTo>
                    <a:pt x="230" y="371"/>
                  </a:lnTo>
                  <a:lnTo>
                    <a:pt x="228" y="367"/>
                  </a:lnTo>
                  <a:lnTo>
                    <a:pt x="228" y="368"/>
                  </a:lnTo>
                  <a:lnTo>
                    <a:pt x="230" y="366"/>
                  </a:lnTo>
                  <a:lnTo>
                    <a:pt x="230" y="365"/>
                  </a:lnTo>
                  <a:lnTo>
                    <a:pt x="228" y="366"/>
                  </a:lnTo>
                  <a:lnTo>
                    <a:pt x="228" y="364"/>
                  </a:lnTo>
                  <a:lnTo>
                    <a:pt x="227" y="366"/>
                  </a:lnTo>
                  <a:lnTo>
                    <a:pt x="226" y="366"/>
                  </a:lnTo>
                  <a:lnTo>
                    <a:pt x="225" y="367"/>
                  </a:lnTo>
                  <a:lnTo>
                    <a:pt x="225" y="365"/>
                  </a:lnTo>
                  <a:lnTo>
                    <a:pt x="226" y="362"/>
                  </a:lnTo>
                  <a:lnTo>
                    <a:pt x="224" y="362"/>
                  </a:lnTo>
                  <a:lnTo>
                    <a:pt x="224" y="360"/>
                  </a:lnTo>
                  <a:lnTo>
                    <a:pt x="224" y="359"/>
                  </a:lnTo>
                  <a:lnTo>
                    <a:pt x="224" y="356"/>
                  </a:lnTo>
                  <a:lnTo>
                    <a:pt x="224" y="355"/>
                  </a:lnTo>
                  <a:lnTo>
                    <a:pt x="226" y="353"/>
                  </a:lnTo>
                  <a:lnTo>
                    <a:pt x="226" y="355"/>
                  </a:lnTo>
                  <a:lnTo>
                    <a:pt x="227" y="358"/>
                  </a:lnTo>
                  <a:lnTo>
                    <a:pt x="227" y="359"/>
                  </a:lnTo>
                  <a:lnTo>
                    <a:pt x="227" y="360"/>
                  </a:lnTo>
                  <a:lnTo>
                    <a:pt x="230" y="359"/>
                  </a:lnTo>
                  <a:lnTo>
                    <a:pt x="231" y="358"/>
                  </a:lnTo>
                  <a:lnTo>
                    <a:pt x="232" y="358"/>
                  </a:lnTo>
                  <a:lnTo>
                    <a:pt x="234" y="358"/>
                  </a:lnTo>
                  <a:lnTo>
                    <a:pt x="234" y="359"/>
                  </a:lnTo>
                  <a:lnTo>
                    <a:pt x="237" y="360"/>
                  </a:lnTo>
                  <a:lnTo>
                    <a:pt x="238" y="360"/>
                  </a:lnTo>
                  <a:lnTo>
                    <a:pt x="239" y="360"/>
                  </a:lnTo>
                  <a:lnTo>
                    <a:pt x="239" y="359"/>
                  </a:lnTo>
                  <a:lnTo>
                    <a:pt x="240" y="358"/>
                  </a:lnTo>
                  <a:lnTo>
                    <a:pt x="243" y="358"/>
                  </a:lnTo>
                  <a:lnTo>
                    <a:pt x="244" y="358"/>
                  </a:lnTo>
                  <a:lnTo>
                    <a:pt x="244" y="359"/>
                  </a:lnTo>
                  <a:lnTo>
                    <a:pt x="245" y="359"/>
                  </a:lnTo>
                  <a:lnTo>
                    <a:pt x="246" y="359"/>
                  </a:lnTo>
                  <a:lnTo>
                    <a:pt x="246" y="358"/>
                  </a:lnTo>
                  <a:lnTo>
                    <a:pt x="245" y="356"/>
                  </a:lnTo>
                  <a:lnTo>
                    <a:pt x="244" y="356"/>
                  </a:lnTo>
                  <a:lnTo>
                    <a:pt x="243" y="355"/>
                  </a:lnTo>
                  <a:lnTo>
                    <a:pt x="242" y="356"/>
                  </a:lnTo>
                  <a:lnTo>
                    <a:pt x="240" y="356"/>
                  </a:lnTo>
                  <a:lnTo>
                    <a:pt x="239" y="358"/>
                  </a:lnTo>
                  <a:lnTo>
                    <a:pt x="238" y="359"/>
                  </a:lnTo>
                  <a:lnTo>
                    <a:pt x="237" y="359"/>
                  </a:lnTo>
                  <a:lnTo>
                    <a:pt x="236" y="358"/>
                  </a:lnTo>
                  <a:lnTo>
                    <a:pt x="236" y="356"/>
                  </a:lnTo>
                  <a:lnTo>
                    <a:pt x="237" y="355"/>
                  </a:lnTo>
                  <a:lnTo>
                    <a:pt x="237" y="354"/>
                  </a:lnTo>
                  <a:lnTo>
                    <a:pt x="239" y="354"/>
                  </a:lnTo>
                  <a:lnTo>
                    <a:pt x="240" y="355"/>
                  </a:lnTo>
                  <a:lnTo>
                    <a:pt x="242" y="354"/>
                  </a:lnTo>
                  <a:lnTo>
                    <a:pt x="240" y="354"/>
                  </a:lnTo>
                  <a:lnTo>
                    <a:pt x="242" y="353"/>
                  </a:lnTo>
                  <a:lnTo>
                    <a:pt x="243" y="352"/>
                  </a:lnTo>
                  <a:lnTo>
                    <a:pt x="242" y="352"/>
                  </a:lnTo>
                  <a:lnTo>
                    <a:pt x="239" y="353"/>
                  </a:lnTo>
                  <a:lnTo>
                    <a:pt x="234" y="353"/>
                  </a:lnTo>
                  <a:lnTo>
                    <a:pt x="236" y="352"/>
                  </a:lnTo>
                  <a:lnTo>
                    <a:pt x="238" y="349"/>
                  </a:lnTo>
                  <a:lnTo>
                    <a:pt x="242" y="349"/>
                  </a:lnTo>
                  <a:lnTo>
                    <a:pt x="244" y="349"/>
                  </a:lnTo>
                  <a:lnTo>
                    <a:pt x="245" y="350"/>
                  </a:lnTo>
                  <a:lnTo>
                    <a:pt x="245" y="352"/>
                  </a:lnTo>
                  <a:lnTo>
                    <a:pt x="246" y="353"/>
                  </a:lnTo>
                  <a:lnTo>
                    <a:pt x="245" y="354"/>
                  </a:lnTo>
                  <a:lnTo>
                    <a:pt x="246" y="355"/>
                  </a:lnTo>
                  <a:lnTo>
                    <a:pt x="248" y="354"/>
                  </a:lnTo>
                  <a:lnTo>
                    <a:pt x="249" y="353"/>
                  </a:lnTo>
                  <a:lnTo>
                    <a:pt x="248" y="352"/>
                  </a:lnTo>
                  <a:lnTo>
                    <a:pt x="246" y="352"/>
                  </a:lnTo>
                  <a:lnTo>
                    <a:pt x="248" y="349"/>
                  </a:lnTo>
                  <a:lnTo>
                    <a:pt x="248" y="348"/>
                  </a:lnTo>
                  <a:lnTo>
                    <a:pt x="248" y="347"/>
                  </a:lnTo>
                  <a:lnTo>
                    <a:pt x="246" y="345"/>
                  </a:lnTo>
                  <a:lnTo>
                    <a:pt x="246" y="344"/>
                  </a:lnTo>
                  <a:lnTo>
                    <a:pt x="248" y="344"/>
                  </a:lnTo>
                  <a:lnTo>
                    <a:pt x="245" y="343"/>
                  </a:lnTo>
                  <a:lnTo>
                    <a:pt x="233" y="343"/>
                  </a:lnTo>
                  <a:lnTo>
                    <a:pt x="212" y="347"/>
                  </a:lnTo>
                  <a:lnTo>
                    <a:pt x="201" y="349"/>
                  </a:lnTo>
                  <a:lnTo>
                    <a:pt x="191" y="354"/>
                  </a:lnTo>
                  <a:lnTo>
                    <a:pt x="187" y="354"/>
                  </a:lnTo>
                  <a:lnTo>
                    <a:pt x="192" y="358"/>
                  </a:lnTo>
                  <a:lnTo>
                    <a:pt x="197" y="360"/>
                  </a:lnTo>
                  <a:lnTo>
                    <a:pt x="200" y="364"/>
                  </a:lnTo>
                  <a:lnTo>
                    <a:pt x="202" y="366"/>
                  </a:lnTo>
                  <a:lnTo>
                    <a:pt x="204" y="367"/>
                  </a:lnTo>
                  <a:lnTo>
                    <a:pt x="201" y="366"/>
                  </a:lnTo>
                  <a:lnTo>
                    <a:pt x="200" y="368"/>
                  </a:lnTo>
                  <a:lnTo>
                    <a:pt x="200" y="372"/>
                  </a:lnTo>
                  <a:lnTo>
                    <a:pt x="201" y="376"/>
                  </a:lnTo>
                  <a:lnTo>
                    <a:pt x="203" y="378"/>
                  </a:lnTo>
                  <a:lnTo>
                    <a:pt x="204" y="379"/>
                  </a:lnTo>
                  <a:lnTo>
                    <a:pt x="206" y="380"/>
                  </a:lnTo>
                  <a:lnTo>
                    <a:pt x="207" y="379"/>
                  </a:lnTo>
                  <a:lnTo>
                    <a:pt x="206" y="380"/>
                  </a:lnTo>
                  <a:lnTo>
                    <a:pt x="206" y="382"/>
                  </a:lnTo>
                  <a:lnTo>
                    <a:pt x="207" y="383"/>
                  </a:lnTo>
                  <a:lnTo>
                    <a:pt x="209" y="384"/>
                  </a:lnTo>
                  <a:lnTo>
                    <a:pt x="209" y="383"/>
                  </a:lnTo>
                  <a:lnTo>
                    <a:pt x="209" y="382"/>
                  </a:lnTo>
                  <a:lnTo>
                    <a:pt x="209" y="380"/>
                  </a:lnTo>
                  <a:lnTo>
                    <a:pt x="210" y="382"/>
                  </a:lnTo>
                  <a:lnTo>
                    <a:pt x="213" y="384"/>
                  </a:lnTo>
                  <a:lnTo>
                    <a:pt x="212" y="384"/>
                  </a:lnTo>
                  <a:lnTo>
                    <a:pt x="210" y="385"/>
                  </a:lnTo>
                  <a:lnTo>
                    <a:pt x="212" y="386"/>
                  </a:lnTo>
                  <a:lnTo>
                    <a:pt x="213" y="388"/>
                  </a:lnTo>
                  <a:lnTo>
                    <a:pt x="213" y="390"/>
                  </a:lnTo>
                  <a:lnTo>
                    <a:pt x="212" y="389"/>
                  </a:lnTo>
                  <a:lnTo>
                    <a:pt x="210" y="388"/>
                  </a:lnTo>
                  <a:lnTo>
                    <a:pt x="210" y="389"/>
                  </a:lnTo>
                  <a:lnTo>
                    <a:pt x="210" y="391"/>
                  </a:lnTo>
                  <a:lnTo>
                    <a:pt x="210" y="394"/>
                  </a:lnTo>
                  <a:lnTo>
                    <a:pt x="209" y="390"/>
                  </a:lnTo>
                  <a:lnTo>
                    <a:pt x="209" y="391"/>
                  </a:lnTo>
                  <a:lnTo>
                    <a:pt x="208" y="394"/>
                  </a:lnTo>
                  <a:lnTo>
                    <a:pt x="209" y="390"/>
                  </a:lnTo>
                  <a:lnTo>
                    <a:pt x="208" y="391"/>
                  </a:lnTo>
                  <a:lnTo>
                    <a:pt x="209" y="389"/>
                  </a:lnTo>
                  <a:lnTo>
                    <a:pt x="209" y="388"/>
                  </a:lnTo>
                  <a:lnTo>
                    <a:pt x="209" y="386"/>
                  </a:lnTo>
                  <a:lnTo>
                    <a:pt x="209" y="385"/>
                  </a:lnTo>
                  <a:lnTo>
                    <a:pt x="207" y="384"/>
                  </a:lnTo>
                  <a:lnTo>
                    <a:pt x="204" y="382"/>
                  </a:lnTo>
                  <a:lnTo>
                    <a:pt x="202" y="378"/>
                  </a:lnTo>
                  <a:lnTo>
                    <a:pt x="202" y="377"/>
                  </a:lnTo>
                  <a:lnTo>
                    <a:pt x="202" y="380"/>
                  </a:lnTo>
                  <a:lnTo>
                    <a:pt x="202" y="384"/>
                  </a:lnTo>
                  <a:lnTo>
                    <a:pt x="203" y="386"/>
                  </a:lnTo>
                  <a:lnTo>
                    <a:pt x="203" y="384"/>
                  </a:lnTo>
                  <a:lnTo>
                    <a:pt x="206" y="384"/>
                  </a:lnTo>
                  <a:lnTo>
                    <a:pt x="204" y="385"/>
                  </a:lnTo>
                  <a:lnTo>
                    <a:pt x="204" y="386"/>
                  </a:lnTo>
                  <a:lnTo>
                    <a:pt x="204" y="388"/>
                  </a:lnTo>
                  <a:lnTo>
                    <a:pt x="207" y="386"/>
                  </a:lnTo>
                  <a:lnTo>
                    <a:pt x="206" y="389"/>
                  </a:lnTo>
                  <a:lnTo>
                    <a:pt x="206" y="391"/>
                  </a:lnTo>
                  <a:lnTo>
                    <a:pt x="209" y="395"/>
                  </a:lnTo>
                  <a:lnTo>
                    <a:pt x="210" y="397"/>
                  </a:lnTo>
                  <a:lnTo>
                    <a:pt x="210" y="396"/>
                  </a:lnTo>
                  <a:lnTo>
                    <a:pt x="213" y="396"/>
                  </a:lnTo>
                  <a:lnTo>
                    <a:pt x="213" y="398"/>
                  </a:lnTo>
                  <a:lnTo>
                    <a:pt x="214" y="400"/>
                  </a:lnTo>
                  <a:lnTo>
                    <a:pt x="216" y="400"/>
                  </a:lnTo>
                  <a:lnTo>
                    <a:pt x="216" y="398"/>
                  </a:lnTo>
                  <a:lnTo>
                    <a:pt x="216" y="396"/>
                  </a:lnTo>
                  <a:lnTo>
                    <a:pt x="218" y="395"/>
                  </a:lnTo>
                  <a:lnTo>
                    <a:pt x="220" y="394"/>
                  </a:lnTo>
                  <a:lnTo>
                    <a:pt x="221" y="394"/>
                  </a:lnTo>
                  <a:lnTo>
                    <a:pt x="221" y="396"/>
                  </a:lnTo>
                  <a:lnTo>
                    <a:pt x="220" y="397"/>
                  </a:lnTo>
                  <a:lnTo>
                    <a:pt x="220" y="400"/>
                  </a:lnTo>
                  <a:lnTo>
                    <a:pt x="220" y="401"/>
                  </a:lnTo>
                  <a:lnTo>
                    <a:pt x="222" y="401"/>
                  </a:lnTo>
                  <a:lnTo>
                    <a:pt x="224" y="401"/>
                  </a:lnTo>
                  <a:lnTo>
                    <a:pt x="225" y="398"/>
                  </a:lnTo>
                  <a:lnTo>
                    <a:pt x="224" y="397"/>
                  </a:lnTo>
                  <a:lnTo>
                    <a:pt x="225" y="395"/>
                  </a:lnTo>
                  <a:lnTo>
                    <a:pt x="225" y="397"/>
                  </a:lnTo>
                  <a:lnTo>
                    <a:pt x="225" y="398"/>
                  </a:lnTo>
                  <a:lnTo>
                    <a:pt x="224" y="401"/>
                  </a:lnTo>
                  <a:lnTo>
                    <a:pt x="222" y="402"/>
                  </a:lnTo>
                  <a:lnTo>
                    <a:pt x="225" y="403"/>
                  </a:lnTo>
                  <a:lnTo>
                    <a:pt x="227" y="404"/>
                  </a:lnTo>
                  <a:lnTo>
                    <a:pt x="228" y="407"/>
                  </a:lnTo>
                  <a:lnTo>
                    <a:pt x="226" y="406"/>
                  </a:lnTo>
                  <a:lnTo>
                    <a:pt x="226" y="407"/>
                  </a:lnTo>
                  <a:lnTo>
                    <a:pt x="227" y="410"/>
                  </a:lnTo>
                  <a:lnTo>
                    <a:pt x="225" y="409"/>
                  </a:lnTo>
                  <a:lnTo>
                    <a:pt x="224" y="407"/>
                  </a:lnTo>
                  <a:lnTo>
                    <a:pt x="225" y="406"/>
                  </a:lnTo>
                  <a:lnTo>
                    <a:pt x="224" y="404"/>
                  </a:lnTo>
                  <a:lnTo>
                    <a:pt x="222" y="403"/>
                  </a:lnTo>
                  <a:lnTo>
                    <a:pt x="221" y="402"/>
                  </a:lnTo>
                  <a:lnTo>
                    <a:pt x="220" y="401"/>
                  </a:lnTo>
                  <a:lnTo>
                    <a:pt x="219" y="402"/>
                  </a:lnTo>
                  <a:lnTo>
                    <a:pt x="221" y="404"/>
                  </a:lnTo>
                  <a:lnTo>
                    <a:pt x="221" y="408"/>
                  </a:lnTo>
                  <a:lnTo>
                    <a:pt x="224" y="409"/>
                  </a:lnTo>
                  <a:lnTo>
                    <a:pt x="224" y="413"/>
                  </a:lnTo>
                  <a:lnTo>
                    <a:pt x="225" y="418"/>
                  </a:lnTo>
                  <a:lnTo>
                    <a:pt x="226" y="420"/>
                  </a:lnTo>
                  <a:lnTo>
                    <a:pt x="227" y="421"/>
                  </a:lnTo>
                  <a:lnTo>
                    <a:pt x="230" y="421"/>
                  </a:lnTo>
                  <a:lnTo>
                    <a:pt x="231" y="422"/>
                  </a:lnTo>
                  <a:lnTo>
                    <a:pt x="232" y="425"/>
                  </a:lnTo>
                  <a:lnTo>
                    <a:pt x="230" y="424"/>
                  </a:lnTo>
                  <a:lnTo>
                    <a:pt x="231" y="425"/>
                  </a:lnTo>
                  <a:lnTo>
                    <a:pt x="228" y="427"/>
                  </a:lnTo>
                  <a:lnTo>
                    <a:pt x="228" y="426"/>
                  </a:lnTo>
                  <a:lnTo>
                    <a:pt x="228" y="427"/>
                  </a:lnTo>
                  <a:lnTo>
                    <a:pt x="227" y="426"/>
                  </a:lnTo>
                  <a:lnTo>
                    <a:pt x="226" y="427"/>
                  </a:lnTo>
                  <a:lnTo>
                    <a:pt x="225" y="430"/>
                  </a:lnTo>
                  <a:lnTo>
                    <a:pt x="224" y="428"/>
                  </a:lnTo>
                  <a:lnTo>
                    <a:pt x="222" y="427"/>
                  </a:lnTo>
                  <a:lnTo>
                    <a:pt x="224" y="424"/>
                  </a:lnTo>
                  <a:lnTo>
                    <a:pt x="224" y="421"/>
                  </a:lnTo>
                  <a:lnTo>
                    <a:pt x="224" y="419"/>
                  </a:lnTo>
                  <a:lnTo>
                    <a:pt x="222" y="413"/>
                  </a:lnTo>
                  <a:lnTo>
                    <a:pt x="222" y="414"/>
                  </a:lnTo>
                  <a:lnTo>
                    <a:pt x="221" y="414"/>
                  </a:lnTo>
                  <a:lnTo>
                    <a:pt x="222" y="415"/>
                  </a:lnTo>
                  <a:lnTo>
                    <a:pt x="220" y="415"/>
                  </a:lnTo>
                  <a:lnTo>
                    <a:pt x="218" y="414"/>
                  </a:lnTo>
                  <a:lnTo>
                    <a:pt x="216" y="413"/>
                  </a:lnTo>
                  <a:lnTo>
                    <a:pt x="216" y="414"/>
                  </a:lnTo>
                  <a:lnTo>
                    <a:pt x="216" y="419"/>
                  </a:lnTo>
                  <a:lnTo>
                    <a:pt x="215" y="419"/>
                  </a:lnTo>
                  <a:lnTo>
                    <a:pt x="214" y="416"/>
                  </a:lnTo>
                  <a:lnTo>
                    <a:pt x="214" y="414"/>
                  </a:lnTo>
                  <a:lnTo>
                    <a:pt x="215" y="414"/>
                  </a:lnTo>
                  <a:lnTo>
                    <a:pt x="216" y="413"/>
                  </a:lnTo>
                  <a:lnTo>
                    <a:pt x="216" y="410"/>
                  </a:lnTo>
                  <a:lnTo>
                    <a:pt x="218" y="409"/>
                  </a:lnTo>
                  <a:lnTo>
                    <a:pt x="218" y="408"/>
                  </a:lnTo>
                  <a:lnTo>
                    <a:pt x="216" y="408"/>
                  </a:lnTo>
                  <a:lnTo>
                    <a:pt x="216" y="409"/>
                  </a:lnTo>
                  <a:lnTo>
                    <a:pt x="215" y="408"/>
                  </a:lnTo>
                  <a:lnTo>
                    <a:pt x="215" y="407"/>
                  </a:lnTo>
                  <a:lnTo>
                    <a:pt x="213" y="410"/>
                  </a:lnTo>
                  <a:lnTo>
                    <a:pt x="212" y="414"/>
                  </a:lnTo>
                  <a:lnTo>
                    <a:pt x="209" y="418"/>
                  </a:lnTo>
                  <a:lnTo>
                    <a:pt x="210" y="420"/>
                  </a:lnTo>
                  <a:lnTo>
                    <a:pt x="212" y="420"/>
                  </a:lnTo>
                  <a:lnTo>
                    <a:pt x="213" y="421"/>
                  </a:lnTo>
                  <a:lnTo>
                    <a:pt x="212" y="421"/>
                  </a:lnTo>
                  <a:lnTo>
                    <a:pt x="212" y="425"/>
                  </a:lnTo>
                  <a:lnTo>
                    <a:pt x="210" y="426"/>
                  </a:lnTo>
                  <a:lnTo>
                    <a:pt x="213" y="426"/>
                  </a:lnTo>
                  <a:lnTo>
                    <a:pt x="213" y="428"/>
                  </a:lnTo>
                  <a:lnTo>
                    <a:pt x="212" y="427"/>
                  </a:lnTo>
                  <a:lnTo>
                    <a:pt x="213" y="431"/>
                  </a:lnTo>
                  <a:lnTo>
                    <a:pt x="212" y="433"/>
                  </a:lnTo>
                  <a:lnTo>
                    <a:pt x="209" y="431"/>
                  </a:lnTo>
                  <a:lnTo>
                    <a:pt x="208" y="428"/>
                  </a:lnTo>
                  <a:lnTo>
                    <a:pt x="208" y="430"/>
                  </a:lnTo>
                  <a:lnTo>
                    <a:pt x="206" y="432"/>
                  </a:lnTo>
                  <a:lnTo>
                    <a:pt x="204" y="431"/>
                  </a:lnTo>
                  <a:lnTo>
                    <a:pt x="204" y="430"/>
                  </a:lnTo>
                  <a:lnTo>
                    <a:pt x="203" y="431"/>
                  </a:lnTo>
                  <a:lnTo>
                    <a:pt x="202" y="427"/>
                  </a:lnTo>
                  <a:lnTo>
                    <a:pt x="203" y="425"/>
                  </a:lnTo>
                  <a:lnTo>
                    <a:pt x="202" y="426"/>
                  </a:lnTo>
                  <a:lnTo>
                    <a:pt x="201" y="424"/>
                  </a:lnTo>
                  <a:lnTo>
                    <a:pt x="204" y="420"/>
                  </a:lnTo>
                  <a:lnTo>
                    <a:pt x="204" y="419"/>
                  </a:lnTo>
                  <a:lnTo>
                    <a:pt x="202" y="420"/>
                  </a:lnTo>
                  <a:lnTo>
                    <a:pt x="200" y="422"/>
                  </a:lnTo>
                  <a:lnTo>
                    <a:pt x="200" y="421"/>
                  </a:lnTo>
                  <a:lnTo>
                    <a:pt x="201" y="418"/>
                  </a:lnTo>
                  <a:lnTo>
                    <a:pt x="202" y="416"/>
                  </a:lnTo>
                  <a:lnTo>
                    <a:pt x="204" y="418"/>
                  </a:lnTo>
                  <a:lnTo>
                    <a:pt x="208" y="416"/>
                  </a:lnTo>
                  <a:lnTo>
                    <a:pt x="210" y="413"/>
                  </a:lnTo>
                  <a:lnTo>
                    <a:pt x="214" y="408"/>
                  </a:lnTo>
                  <a:lnTo>
                    <a:pt x="215" y="404"/>
                  </a:lnTo>
                  <a:lnTo>
                    <a:pt x="214" y="404"/>
                  </a:lnTo>
                  <a:lnTo>
                    <a:pt x="214" y="403"/>
                  </a:lnTo>
                  <a:lnTo>
                    <a:pt x="213" y="402"/>
                  </a:lnTo>
                  <a:lnTo>
                    <a:pt x="213" y="404"/>
                  </a:lnTo>
                  <a:lnTo>
                    <a:pt x="210" y="406"/>
                  </a:lnTo>
                  <a:lnTo>
                    <a:pt x="208" y="406"/>
                  </a:lnTo>
                  <a:lnTo>
                    <a:pt x="207" y="407"/>
                  </a:lnTo>
                  <a:lnTo>
                    <a:pt x="203" y="407"/>
                  </a:lnTo>
                  <a:lnTo>
                    <a:pt x="206" y="406"/>
                  </a:lnTo>
                  <a:lnTo>
                    <a:pt x="207" y="404"/>
                  </a:lnTo>
                  <a:lnTo>
                    <a:pt x="208" y="401"/>
                  </a:lnTo>
                  <a:lnTo>
                    <a:pt x="210" y="402"/>
                  </a:lnTo>
                  <a:lnTo>
                    <a:pt x="212" y="402"/>
                  </a:lnTo>
                  <a:lnTo>
                    <a:pt x="212" y="401"/>
                  </a:lnTo>
                  <a:lnTo>
                    <a:pt x="213" y="401"/>
                  </a:lnTo>
                  <a:lnTo>
                    <a:pt x="213" y="400"/>
                  </a:lnTo>
                  <a:lnTo>
                    <a:pt x="212" y="400"/>
                  </a:lnTo>
                  <a:lnTo>
                    <a:pt x="210" y="398"/>
                  </a:lnTo>
                  <a:lnTo>
                    <a:pt x="209" y="397"/>
                  </a:lnTo>
                  <a:lnTo>
                    <a:pt x="209" y="398"/>
                  </a:lnTo>
                  <a:lnTo>
                    <a:pt x="208" y="398"/>
                  </a:lnTo>
                  <a:lnTo>
                    <a:pt x="206" y="397"/>
                  </a:lnTo>
                  <a:lnTo>
                    <a:pt x="204" y="397"/>
                  </a:lnTo>
                  <a:lnTo>
                    <a:pt x="202" y="397"/>
                  </a:lnTo>
                  <a:lnTo>
                    <a:pt x="201" y="395"/>
                  </a:lnTo>
                  <a:lnTo>
                    <a:pt x="200" y="395"/>
                  </a:lnTo>
                  <a:lnTo>
                    <a:pt x="202" y="398"/>
                  </a:lnTo>
                  <a:lnTo>
                    <a:pt x="203" y="400"/>
                  </a:lnTo>
                  <a:lnTo>
                    <a:pt x="202" y="400"/>
                  </a:lnTo>
                  <a:lnTo>
                    <a:pt x="201" y="403"/>
                  </a:lnTo>
                  <a:lnTo>
                    <a:pt x="202" y="404"/>
                  </a:lnTo>
                  <a:lnTo>
                    <a:pt x="200" y="403"/>
                  </a:lnTo>
                  <a:lnTo>
                    <a:pt x="201" y="406"/>
                  </a:lnTo>
                  <a:lnTo>
                    <a:pt x="200" y="408"/>
                  </a:lnTo>
                  <a:lnTo>
                    <a:pt x="198" y="404"/>
                  </a:lnTo>
                  <a:lnTo>
                    <a:pt x="197" y="404"/>
                  </a:lnTo>
                  <a:lnTo>
                    <a:pt x="197" y="406"/>
                  </a:lnTo>
                  <a:lnTo>
                    <a:pt x="196" y="404"/>
                  </a:lnTo>
                  <a:lnTo>
                    <a:pt x="196" y="406"/>
                  </a:lnTo>
                  <a:lnTo>
                    <a:pt x="196" y="409"/>
                  </a:lnTo>
                  <a:lnTo>
                    <a:pt x="195" y="407"/>
                  </a:lnTo>
                  <a:lnTo>
                    <a:pt x="194" y="407"/>
                  </a:lnTo>
                  <a:lnTo>
                    <a:pt x="192" y="408"/>
                  </a:lnTo>
                  <a:lnTo>
                    <a:pt x="192" y="404"/>
                  </a:lnTo>
                  <a:lnTo>
                    <a:pt x="192" y="402"/>
                  </a:lnTo>
                  <a:lnTo>
                    <a:pt x="194" y="400"/>
                  </a:lnTo>
                  <a:lnTo>
                    <a:pt x="192" y="398"/>
                  </a:lnTo>
                  <a:lnTo>
                    <a:pt x="191" y="397"/>
                  </a:lnTo>
                  <a:lnTo>
                    <a:pt x="190" y="397"/>
                  </a:lnTo>
                  <a:lnTo>
                    <a:pt x="187" y="397"/>
                  </a:lnTo>
                  <a:lnTo>
                    <a:pt x="187" y="398"/>
                  </a:lnTo>
                  <a:lnTo>
                    <a:pt x="190" y="400"/>
                  </a:lnTo>
                  <a:lnTo>
                    <a:pt x="190" y="402"/>
                  </a:lnTo>
                  <a:lnTo>
                    <a:pt x="189" y="402"/>
                  </a:lnTo>
                  <a:lnTo>
                    <a:pt x="187" y="404"/>
                  </a:lnTo>
                  <a:lnTo>
                    <a:pt x="186" y="403"/>
                  </a:lnTo>
                  <a:lnTo>
                    <a:pt x="185" y="401"/>
                  </a:lnTo>
                  <a:lnTo>
                    <a:pt x="185" y="400"/>
                  </a:lnTo>
                  <a:lnTo>
                    <a:pt x="184" y="400"/>
                  </a:lnTo>
                  <a:lnTo>
                    <a:pt x="183" y="402"/>
                  </a:lnTo>
                  <a:lnTo>
                    <a:pt x="184" y="403"/>
                  </a:lnTo>
                  <a:lnTo>
                    <a:pt x="186" y="407"/>
                  </a:lnTo>
                  <a:lnTo>
                    <a:pt x="186" y="412"/>
                  </a:lnTo>
                  <a:lnTo>
                    <a:pt x="184" y="408"/>
                  </a:lnTo>
                  <a:lnTo>
                    <a:pt x="183" y="404"/>
                  </a:lnTo>
                  <a:lnTo>
                    <a:pt x="181" y="404"/>
                  </a:lnTo>
                  <a:lnTo>
                    <a:pt x="181" y="407"/>
                  </a:lnTo>
                  <a:lnTo>
                    <a:pt x="180" y="406"/>
                  </a:lnTo>
                  <a:lnTo>
                    <a:pt x="179" y="407"/>
                  </a:lnTo>
                  <a:lnTo>
                    <a:pt x="178" y="409"/>
                  </a:lnTo>
                  <a:lnTo>
                    <a:pt x="179" y="410"/>
                  </a:lnTo>
                  <a:lnTo>
                    <a:pt x="180" y="412"/>
                  </a:lnTo>
                  <a:lnTo>
                    <a:pt x="183" y="412"/>
                  </a:lnTo>
                  <a:lnTo>
                    <a:pt x="184" y="412"/>
                  </a:lnTo>
                  <a:lnTo>
                    <a:pt x="181" y="413"/>
                  </a:lnTo>
                  <a:lnTo>
                    <a:pt x="180" y="413"/>
                  </a:lnTo>
                  <a:lnTo>
                    <a:pt x="179" y="412"/>
                  </a:lnTo>
                  <a:lnTo>
                    <a:pt x="179" y="413"/>
                  </a:lnTo>
                  <a:lnTo>
                    <a:pt x="179" y="415"/>
                  </a:lnTo>
                  <a:lnTo>
                    <a:pt x="179" y="414"/>
                  </a:lnTo>
                  <a:lnTo>
                    <a:pt x="179" y="415"/>
                  </a:lnTo>
                  <a:lnTo>
                    <a:pt x="178" y="416"/>
                  </a:lnTo>
                  <a:lnTo>
                    <a:pt x="177" y="415"/>
                  </a:lnTo>
                  <a:lnTo>
                    <a:pt x="178" y="412"/>
                  </a:lnTo>
                  <a:lnTo>
                    <a:pt x="178" y="410"/>
                  </a:lnTo>
                  <a:lnTo>
                    <a:pt x="177" y="413"/>
                  </a:lnTo>
                  <a:lnTo>
                    <a:pt x="177" y="414"/>
                  </a:lnTo>
                  <a:lnTo>
                    <a:pt x="175" y="413"/>
                  </a:lnTo>
                  <a:lnTo>
                    <a:pt x="175" y="414"/>
                  </a:lnTo>
                  <a:lnTo>
                    <a:pt x="174" y="414"/>
                  </a:lnTo>
                  <a:lnTo>
                    <a:pt x="173" y="412"/>
                  </a:lnTo>
                  <a:lnTo>
                    <a:pt x="174" y="410"/>
                  </a:lnTo>
                  <a:lnTo>
                    <a:pt x="173" y="409"/>
                  </a:lnTo>
                  <a:lnTo>
                    <a:pt x="173" y="410"/>
                  </a:lnTo>
                  <a:lnTo>
                    <a:pt x="172" y="410"/>
                  </a:lnTo>
                  <a:lnTo>
                    <a:pt x="172" y="413"/>
                  </a:lnTo>
                  <a:lnTo>
                    <a:pt x="172" y="415"/>
                  </a:lnTo>
                  <a:lnTo>
                    <a:pt x="169" y="418"/>
                  </a:lnTo>
                  <a:lnTo>
                    <a:pt x="169" y="415"/>
                  </a:lnTo>
                  <a:lnTo>
                    <a:pt x="172" y="413"/>
                  </a:lnTo>
                  <a:lnTo>
                    <a:pt x="171" y="412"/>
                  </a:lnTo>
                  <a:lnTo>
                    <a:pt x="169" y="412"/>
                  </a:lnTo>
                  <a:lnTo>
                    <a:pt x="168" y="412"/>
                  </a:lnTo>
                  <a:lnTo>
                    <a:pt x="167" y="413"/>
                  </a:lnTo>
                  <a:lnTo>
                    <a:pt x="165" y="413"/>
                  </a:lnTo>
                  <a:lnTo>
                    <a:pt x="165" y="414"/>
                  </a:lnTo>
                  <a:lnTo>
                    <a:pt x="167" y="415"/>
                  </a:lnTo>
                  <a:lnTo>
                    <a:pt x="167" y="418"/>
                  </a:lnTo>
                  <a:lnTo>
                    <a:pt x="166" y="419"/>
                  </a:lnTo>
                  <a:lnTo>
                    <a:pt x="163" y="418"/>
                  </a:lnTo>
                  <a:lnTo>
                    <a:pt x="163" y="420"/>
                  </a:lnTo>
                  <a:lnTo>
                    <a:pt x="162" y="421"/>
                  </a:lnTo>
                  <a:lnTo>
                    <a:pt x="161" y="422"/>
                  </a:lnTo>
                  <a:lnTo>
                    <a:pt x="160" y="421"/>
                  </a:lnTo>
                  <a:lnTo>
                    <a:pt x="160" y="420"/>
                  </a:lnTo>
                  <a:lnTo>
                    <a:pt x="159" y="419"/>
                  </a:lnTo>
                  <a:lnTo>
                    <a:pt x="156" y="419"/>
                  </a:lnTo>
                  <a:lnTo>
                    <a:pt x="157" y="416"/>
                  </a:lnTo>
                  <a:lnTo>
                    <a:pt x="159" y="414"/>
                  </a:lnTo>
                  <a:lnTo>
                    <a:pt x="159" y="413"/>
                  </a:lnTo>
                  <a:lnTo>
                    <a:pt x="157" y="413"/>
                  </a:lnTo>
                  <a:lnTo>
                    <a:pt x="156" y="412"/>
                  </a:lnTo>
                  <a:lnTo>
                    <a:pt x="157" y="410"/>
                  </a:lnTo>
                  <a:lnTo>
                    <a:pt x="159" y="409"/>
                  </a:lnTo>
                  <a:lnTo>
                    <a:pt x="159" y="408"/>
                  </a:lnTo>
                  <a:lnTo>
                    <a:pt x="157" y="408"/>
                  </a:lnTo>
                  <a:lnTo>
                    <a:pt x="157" y="409"/>
                  </a:lnTo>
                  <a:lnTo>
                    <a:pt x="156" y="410"/>
                  </a:lnTo>
                  <a:lnTo>
                    <a:pt x="155" y="412"/>
                  </a:lnTo>
                  <a:lnTo>
                    <a:pt x="154" y="410"/>
                  </a:lnTo>
                  <a:lnTo>
                    <a:pt x="153" y="409"/>
                  </a:lnTo>
                  <a:lnTo>
                    <a:pt x="154" y="407"/>
                  </a:lnTo>
                  <a:lnTo>
                    <a:pt x="154" y="404"/>
                  </a:lnTo>
                  <a:lnTo>
                    <a:pt x="153" y="406"/>
                  </a:lnTo>
                  <a:lnTo>
                    <a:pt x="151" y="406"/>
                  </a:lnTo>
                  <a:lnTo>
                    <a:pt x="151" y="403"/>
                  </a:lnTo>
                  <a:lnTo>
                    <a:pt x="150" y="404"/>
                  </a:lnTo>
                  <a:lnTo>
                    <a:pt x="149" y="404"/>
                  </a:lnTo>
                  <a:lnTo>
                    <a:pt x="149" y="406"/>
                  </a:lnTo>
                  <a:lnTo>
                    <a:pt x="151" y="406"/>
                  </a:lnTo>
                  <a:lnTo>
                    <a:pt x="151" y="408"/>
                  </a:lnTo>
                  <a:lnTo>
                    <a:pt x="151" y="407"/>
                  </a:lnTo>
                  <a:lnTo>
                    <a:pt x="150" y="409"/>
                  </a:lnTo>
                  <a:lnTo>
                    <a:pt x="150" y="410"/>
                  </a:lnTo>
                  <a:lnTo>
                    <a:pt x="149" y="408"/>
                  </a:lnTo>
                  <a:lnTo>
                    <a:pt x="147" y="408"/>
                  </a:lnTo>
                  <a:lnTo>
                    <a:pt x="148" y="407"/>
                  </a:lnTo>
                  <a:lnTo>
                    <a:pt x="147" y="407"/>
                  </a:lnTo>
                  <a:lnTo>
                    <a:pt x="145" y="408"/>
                  </a:lnTo>
                  <a:lnTo>
                    <a:pt x="145" y="407"/>
                  </a:lnTo>
                  <a:lnTo>
                    <a:pt x="145" y="406"/>
                  </a:lnTo>
                  <a:lnTo>
                    <a:pt x="145" y="404"/>
                  </a:lnTo>
                  <a:lnTo>
                    <a:pt x="148" y="404"/>
                  </a:lnTo>
                  <a:lnTo>
                    <a:pt x="148" y="403"/>
                  </a:lnTo>
                  <a:lnTo>
                    <a:pt x="147" y="403"/>
                  </a:lnTo>
                  <a:lnTo>
                    <a:pt x="148" y="403"/>
                  </a:lnTo>
                  <a:lnTo>
                    <a:pt x="149" y="402"/>
                  </a:lnTo>
                  <a:lnTo>
                    <a:pt x="150" y="402"/>
                  </a:lnTo>
                  <a:lnTo>
                    <a:pt x="153" y="401"/>
                  </a:lnTo>
                  <a:lnTo>
                    <a:pt x="154" y="398"/>
                  </a:lnTo>
                  <a:lnTo>
                    <a:pt x="153" y="400"/>
                  </a:lnTo>
                  <a:lnTo>
                    <a:pt x="151" y="400"/>
                  </a:lnTo>
                  <a:lnTo>
                    <a:pt x="149" y="398"/>
                  </a:lnTo>
                  <a:lnTo>
                    <a:pt x="151" y="397"/>
                  </a:lnTo>
                  <a:lnTo>
                    <a:pt x="151" y="396"/>
                  </a:lnTo>
                  <a:lnTo>
                    <a:pt x="150" y="396"/>
                  </a:lnTo>
                  <a:lnTo>
                    <a:pt x="148" y="398"/>
                  </a:lnTo>
                  <a:lnTo>
                    <a:pt x="148" y="397"/>
                  </a:lnTo>
                  <a:lnTo>
                    <a:pt x="149" y="395"/>
                  </a:lnTo>
                  <a:lnTo>
                    <a:pt x="150" y="394"/>
                  </a:lnTo>
                  <a:lnTo>
                    <a:pt x="148" y="395"/>
                  </a:lnTo>
                  <a:lnTo>
                    <a:pt x="147" y="396"/>
                  </a:lnTo>
                  <a:lnTo>
                    <a:pt x="144" y="397"/>
                  </a:lnTo>
                  <a:lnTo>
                    <a:pt x="144" y="395"/>
                  </a:lnTo>
                  <a:lnTo>
                    <a:pt x="143" y="396"/>
                  </a:lnTo>
                  <a:lnTo>
                    <a:pt x="143" y="398"/>
                  </a:lnTo>
                  <a:lnTo>
                    <a:pt x="141" y="396"/>
                  </a:lnTo>
                  <a:lnTo>
                    <a:pt x="139" y="395"/>
                  </a:lnTo>
                  <a:lnTo>
                    <a:pt x="138" y="396"/>
                  </a:lnTo>
                  <a:lnTo>
                    <a:pt x="138" y="397"/>
                  </a:lnTo>
                  <a:lnTo>
                    <a:pt x="137" y="396"/>
                  </a:lnTo>
                  <a:lnTo>
                    <a:pt x="136" y="395"/>
                  </a:lnTo>
                  <a:lnTo>
                    <a:pt x="136" y="392"/>
                  </a:lnTo>
                  <a:lnTo>
                    <a:pt x="136" y="391"/>
                  </a:lnTo>
                  <a:lnTo>
                    <a:pt x="137" y="391"/>
                  </a:lnTo>
                  <a:lnTo>
                    <a:pt x="135" y="391"/>
                  </a:lnTo>
                  <a:lnTo>
                    <a:pt x="133" y="392"/>
                  </a:lnTo>
                  <a:lnTo>
                    <a:pt x="133" y="395"/>
                  </a:lnTo>
                  <a:lnTo>
                    <a:pt x="132" y="397"/>
                  </a:lnTo>
                  <a:lnTo>
                    <a:pt x="133" y="398"/>
                  </a:lnTo>
                  <a:lnTo>
                    <a:pt x="136" y="400"/>
                  </a:lnTo>
                  <a:lnTo>
                    <a:pt x="137" y="401"/>
                  </a:lnTo>
                  <a:lnTo>
                    <a:pt x="138" y="401"/>
                  </a:lnTo>
                  <a:lnTo>
                    <a:pt x="138" y="402"/>
                  </a:lnTo>
                  <a:lnTo>
                    <a:pt x="137" y="402"/>
                  </a:lnTo>
                  <a:lnTo>
                    <a:pt x="136" y="403"/>
                  </a:lnTo>
                  <a:lnTo>
                    <a:pt x="139" y="403"/>
                  </a:lnTo>
                  <a:lnTo>
                    <a:pt x="141" y="407"/>
                  </a:lnTo>
                  <a:lnTo>
                    <a:pt x="138" y="407"/>
                  </a:lnTo>
                  <a:lnTo>
                    <a:pt x="136" y="406"/>
                  </a:lnTo>
                  <a:lnTo>
                    <a:pt x="135" y="407"/>
                  </a:lnTo>
                  <a:lnTo>
                    <a:pt x="132" y="404"/>
                  </a:lnTo>
                  <a:lnTo>
                    <a:pt x="131" y="406"/>
                  </a:lnTo>
                  <a:lnTo>
                    <a:pt x="130" y="406"/>
                  </a:lnTo>
                  <a:lnTo>
                    <a:pt x="128" y="409"/>
                  </a:lnTo>
                  <a:lnTo>
                    <a:pt x="128" y="408"/>
                  </a:lnTo>
                  <a:lnTo>
                    <a:pt x="127" y="406"/>
                  </a:lnTo>
                  <a:lnTo>
                    <a:pt x="127" y="403"/>
                  </a:lnTo>
                  <a:lnTo>
                    <a:pt x="126" y="406"/>
                  </a:lnTo>
                  <a:lnTo>
                    <a:pt x="126" y="407"/>
                  </a:lnTo>
                  <a:lnTo>
                    <a:pt x="126" y="408"/>
                  </a:lnTo>
                  <a:lnTo>
                    <a:pt x="125" y="407"/>
                  </a:lnTo>
                  <a:lnTo>
                    <a:pt x="122" y="406"/>
                  </a:lnTo>
                  <a:lnTo>
                    <a:pt x="124" y="408"/>
                  </a:lnTo>
                  <a:lnTo>
                    <a:pt x="124" y="410"/>
                  </a:lnTo>
                  <a:lnTo>
                    <a:pt x="124" y="412"/>
                  </a:lnTo>
                  <a:lnTo>
                    <a:pt x="125" y="413"/>
                  </a:lnTo>
                  <a:lnTo>
                    <a:pt x="126" y="413"/>
                  </a:lnTo>
                  <a:lnTo>
                    <a:pt x="127" y="414"/>
                  </a:lnTo>
                  <a:lnTo>
                    <a:pt x="127" y="416"/>
                  </a:lnTo>
                  <a:lnTo>
                    <a:pt x="128" y="415"/>
                  </a:lnTo>
                  <a:lnTo>
                    <a:pt x="128" y="413"/>
                  </a:lnTo>
                  <a:lnTo>
                    <a:pt x="130" y="412"/>
                  </a:lnTo>
                  <a:lnTo>
                    <a:pt x="130" y="414"/>
                  </a:lnTo>
                  <a:lnTo>
                    <a:pt x="131" y="418"/>
                  </a:lnTo>
                  <a:lnTo>
                    <a:pt x="130" y="420"/>
                  </a:lnTo>
                  <a:lnTo>
                    <a:pt x="128" y="418"/>
                  </a:lnTo>
                  <a:lnTo>
                    <a:pt x="127" y="416"/>
                  </a:lnTo>
                  <a:lnTo>
                    <a:pt x="128" y="420"/>
                  </a:lnTo>
                  <a:lnTo>
                    <a:pt x="127" y="420"/>
                  </a:lnTo>
                  <a:lnTo>
                    <a:pt x="126" y="419"/>
                  </a:lnTo>
                  <a:lnTo>
                    <a:pt x="124" y="419"/>
                  </a:lnTo>
                  <a:lnTo>
                    <a:pt x="125" y="418"/>
                  </a:lnTo>
                  <a:lnTo>
                    <a:pt x="126" y="416"/>
                  </a:lnTo>
                  <a:lnTo>
                    <a:pt x="126" y="415"/>
                  </a:lnTo>
                  <a:lnTo>
                    <a:pt x="125" y="416"/>
                  </a:lnTo>
                  <a:lnTo>
                    <a:pt x="124" y="416"/>
                  </a:lnTo>
                  <a:lnTo>
                    <a:pt x="124" y="415"/>
                  </a:lnTo>
                  <a:lnTo>
                    <a:pt x="121" y="414"/>
                  </a:lnTo>
                  <a:lnTo>
                    <a:pt x="119" y="415"/>
                  </a:lnTo>
                  <a:lnTo>
                    <a:pt x="119" y="413"/>
                  </a:lnTo>
                  <a:lnTo>
                    <a:pt x="121" y="412"/>
                  </a:lnTo>
                  <a:lnTo>
                    <a:pt x="122" y="412"/>
                  </a:lnTo>
                  <a:lnTo>
                    <a:pt x="122" y="410"/>
                  </a:lnTo>
                  <a:lnTo>
                    <a:pt x="121" y="410"/>
                  </a:lnTo>
                  <a:lnTo>
                    <a:pt x="121" y="409"/>
                  </a:lnTo>
                  <a:lnTo>
                    <a:pt x="121" y="408"/>
                  </a:lnTo>
                  <a:lnTo>
                    <a:pt x="121" y="407"/>
                  </a:lnTo>
                  <a:lnTo>
                    <a:pt x="120" y="406"/>
                  </a:lnTo>
                  <a:lnTo>
                    <a:pt x="119" y="407"/>
                  </a:lnTo>
                  <a:lnTo>
                    <a:pt x="119" y="408"/>
                  </a:lnTo>
                  <a:lnTo>
                    <a:pt x="118" y="409"/>
                  </a:lnTo>
                  <a:lnTo>
                    <a:pt x="118" y="410"/>
                  </a:lnTo>
                  <a:lnTo>
                    <a:pt x="116" y="409"/>
                  </a:lnTo>
                  <a:lnTo>
                    <a:pt x="115" y="407"/>
                  </a:lnTo>
                  <a:lnTo>
                    <a:pt x="115" y="406"/>
                  </a:lnTo>
                  <a:lnTo>
                    <a:pt x="114" y="404"/>
                  </a:lnTo>
                  <a:lnTo>
                    <a:pt x="115" y="402"/>
                  </a:lnTo>
                  <a:lnTo>
                    <a:pt x="115" y="401"/>
                  </a:lnTo>
                  <a:lnTo>
                    <a:pt x="114" y="402"/>
                  </a:lnTo>
                  <a:lnTo>
                    <a:pt x="114" y="401"/>
                  </a:lnTo>
                  <a:lnTo>
                    <a:pt x="113" y="401"/>
                  </a:lnTo>
                  <a:lnTo>
                    <a:pt x="112" y="400"/>
                  </a:lnTo>
                  <a:lnTo>
                    <a:pt x="110" y="400"/>
                  </a:lnTo>
                  <a:lnTo>
                    <a:pt x="110" y="398"/>
                  </a:lnTo>
                  <a:lnTo>
                    <a:pt x="110" y="397"/>
                  </a:lnTo>
                  <a:lnTo>
                    <a:pt x="109" y="400"/>
                  </a:lnTo>
                  <a:lnTo>
                    <a:pt x="110" y="401"/>
                  </a:lnTo>
                  <a:lnTo>
                    <a:pt x="112" y="401"/>
                  </a:lnTo>
                  <a:lnTo>
                    <a:pt x="112" y="402"/>
                  </a:lnTo>
                  <a:lnTo>
                    <a:pt x="112" y="403"/>
                  </a:lnTo>
                  <a:lnTo>
                    <a:pt x="110" y="404"/>
                  </a:lnTo>
                  <a:lnTo>
                    <a:pt x="109" y="406"/>
                  </a:lnTo>
                  <a:lnTo>
                    <a:pt x="112" y="406"/>
                  </a:lnTo>
                  <a:lnTo>
                    <a:pt x="113" y="406"/>
                  </a:lnTo>
                  <a:lnTo>
                    <a:pt x="114" y="408"/>
                  </a:lnTo>
                  <a:lnTo>
                    <a:pt x="113" y="409"/>
                  </a:lnTo>
                  <a:lnTo>
                    <a:pt x="112" y="409"/>
                  </a:lnTo>
                  <a:lnTo>
                    <a:pt x="110" y="410"/>
                  </a:lnTo>
                  <a:lnTo>
                    <a:pt x="109" y="412"/>
                  </a:lnTo>
                  <a:lnTo>
                    <a:pt x="108" y="410"/>
                  </a:lnTo>
                  <a:lnTo>
                    <a:pt x="109" y="408"/>
                  </a:lnTo>
                  <a:lnTo>
                    <a:pt x="108" y="407"/>
                  </a:lnTo>
                  <a:lnTo>
                    <a:pt x="108" y="409"/>
                  </a:lnTo>
                  <a:lnTo>
                    <a:pt x="107" y="412"/>
                  </a:lnTo>
                  <a:lnTo>
                    <a:pt x="107" y="410"/>
                  </a:lnTo>
                  <a:lnTo>
                    <a:pt x="106" y="410"/>
                  </a:lnTo>
                  <a:lnTo>
                    <a:pt x="104" y="412"/>
                  </a:lnTo>
                  <a:lnTo>
                    <a:pt x="104" y="409"/>
                  </a:lnTo>
                  <a:lnTo>
                    <a:pt x="103" y="408"/>
                  </a:lnTo>
                  <a:lnTo>
                    <a:pt x="102" y="409"/>
                  </a:lnTo>
                  <a:lnTo>
                    <a:pt x="103" y="410"/>
                  </a:lnTo>
                  <a:lnTo>
                    <a:pt x="102" y="413"/>
                  </a:lnTo>
                  <a:lnTo>
                    <a:pt x="101" y="414"/>
                  </a:lnTo>
                  <a:lnTo>
                    <a:pt x="100" y="413"/>
                  </a:lnTo>
                  <a:lnTo>
                    <a:pt x="98" y="412"/>
                  </a:lnTo>
                  <a:lnTo>
                    <a:pt x="97" y="414"/>
                  </a:lnTo>
                  <a:lnTo>
                    <a:pt x="98" y="415"/>
                  </a:lnTo>
                  <a:lnTo>
                    <a:pt x="100" y="416"/>
                  </a:lnTo>
                  <a:lnTo>
                    <a:pt x="101" y="415"/>
                  </a:lnTo>
                  <a:lnTo>
                    <a:pt x="102" y="418"/>
                  </a:lnTo>
                  <a:lnTo>
                    <a:pt x="103" y="418"/>
                  </a:lnTo>
                  <a:lnTo>
                    <a:pt x="103" y="414"/>
                  </a:lnTo>
                  <a:lnTo>
                    <a:pt x="104" y="413"/>
                  </a:lnTo>
                  <a:lnTo>
                    <a:pt x="104" y="414"/>
                  </a:lnTo>
                  <a:lnTo>
                    <a:pt x="107" y="414"/>
                  </a:lnTo>
                  <a:lnTo>
                    <a:pt x="107" y="416"/>
                  </a:lnTo>
                  <a:lnTo>
                    <a:pt x="104" y="418"/>
                  </a:lnTo>
                  <a:lnTo>
                    <a:pt x="106" y="419"/>
                  </a:lnTo>
                  <a:lnTo>
                    <a:pt x="104" y="419"/>
                  </a:lnTo>
                  <a:lnTo>
                    <a:pt x="103" y="419"/>
                  </a:lnTo>
                  <a:lnTo>
                    <a:pt x="101" y="418"/>
                  </a:lnTo>
                  <a:lnTo>
                    <a:pt x="101" y="419"/>
                  </a:lnTo>
                  <a:lnTo>
                    <a:pt x="101" y="420"/>
                  </a:lnTo>
                  <a:lnTo>
                    <a:pt x="100" y="421"/>
                  </a:lnTo>
                  <a:lnTo>
                    <a:pt x="100" y="422"/>
                  </a:lnTo>
                  <a:lnTo>
                    <a:pt x="98" y="421"/>
                  </a:lnTo>
                  <a:lnTo>
                    <a:pt x="97" y="418"/>
                  </a:lnTo>
                  <a:lnTo>
                    <a:pt x="95" y="418"/>
                  </a:lnTo>
                  <a:lnTo>
                    <a:pt x="95" y="419"/>
                  </a:lnTo>
                  <a:lnTo>
                    <a:pt x="95" y="416"/>
                  </a:lnTo>
                  <a:lnTo>
                    <a:pt x="94" y="419"/>
                  </a:lnTo>
                  <a:lnTo>
                    <a:pt x="92" y="421"/>
                  </a:lnTo>
                  <a:lnTo>
                    <a:pt x="92" y="420"/>
                  </a:lnTo>
                  <a:lnTo>
                    <a:pt x="89" y="422"/>
                  </a:lnTo>
                  <a:lnTo>
                    <a:pt x="89" y="424"/>
                  </a:lnTo>
                  <a:lnTo>
                    <a:pt x="88" y="421"/>
                  </a:lnTo>
                  <a:lnTo>
                    <a:pt x="86" y="421"/>
                  </a:lnTo>
                  <a:lnTo>
                    <a:pt x="84" y="424"/>
                  </a:lnTo>
                  <a:lnTo>
                    <a:pt x="83" y="425"/>
                  </a:lnTo>
                  <a:lnTo>
                    <a:pt x="82" y="422"/>
                  </a:lnTo>
                  <a:lnTo>
                    <a:pt x="80" y="420"/>
                  </a:lnTo>
                  <a:lnTo>
                    <a:pt x="80" y="419"/>
                  </a:lnTo>
                  <a:lnTo>
                    <a:pt x="79" y="420"/>
                  </a:lnTo>
                  <a:lnTo>
                    <a:pt x="79" y="418"/>
                  </a:lnTo>
                  <a:lnTo>
                    <a:pt x="82" y="415"/>
                  </a:lnTo>
                  <a:lnTo>
                    <a:pt x="84" y="414"/>
                  </a:lnTo>
                  <a:lnTo>
                    <a:pt x="85" y="415"/>
                  </a:lnTo>
                  <a:lnTo>
                    <a:pt x="86" y="415"/>
                  </a:lnTo>
                  <a:lnTo>
                    <a:pt x="85" y="414"/>
                  </a:lnTo>
                  <a:lnTo>
                    <a:pt x="85" y="413"/>
                  </a:lnTo>
                  <a:lnTo>
                    <a:pt x="84" y="414"/>
                  </a:lnTo>
                  <a:lnTo>
                    <a:pt x="82" y="413"/>
                  </a:lnTo>
                  <a:lnTo>
                    <a:pt x="79" y="413"/>
                  </a:lnTo>
                  <a:lnTo>
                    <a:pt x="78" y="413"/>
                  </a:lnTo>
                  <a:lnTo>
                    <a:pt x="76" y="414"/>
                  </a:lnTo>
                  <a:lnTo>
                    <a:pt x="73" y="418"/>
                  </a:lnTo>
                  <a:lnTo>
                    <a:pt x="73" y="415"/>
                  </a:lnTo>
                  <a:lnTo>
                    <a:pt x="73" y="413"/>
                  </a:lnTo>
                  <a:lnTo>
                    <a:pt x="74" y="410"/>
                  </a:lnTo>
                  <a:lnTo>
                    <a:pt x="77" y="410"/>
                  </a:lnTo>
                  <a:lnTo>
                    <a:pt x="78" y="410"/>
                  </a:lnTo>
                  <a:lnTo>
                    <a:pt x="82" y="409"/>
                  </a:lnTo>
                  <a:lnTo>
                    <a:pt x="78" y="408"/>
                  </a:lnTo>
                  <a:lnTo>
                    <a:pt x="74" y="409"/>
                  </a:lnTo>
                  <a:lnTo>
                    <a:pt x="73" y="409"/>
                  </a:lnTo>
                  <a:lnTo>
                    <a:pt x="72" y="410"/>
                  </a:lnTo>
                  <a:lnTo>
                    <a:pt x="71" y="410"/>
                  </a:lnTo>
                  <a:lnTo>
                    <a:pt x="72" y="409"/>
                  </a:lnTo>
                  <a:lnTo>
                    <a:pt x="69" y="410"/>
                  </a:lnTo>
                  <a:lnTo>
                    <a:pt x="69" y="409"/>
                  </a:lnTo>
                  <a:lnTo>
                    <a:pt x="72" y="407"/>
                  </a:lnTo>
                  <a:lnTo>
                    <a:pt x="76" y="407"/>
                  </a:lnTo>
                  <a:lnTo>
                    <a:pt x="78" y="408"/>
                  </a:lnTo>
                  <a:lnTo>
                    <a:pt x="80" y="409"/>
                  </a:lnTo>
                  <a:lnTo>
                    <a:pt x="82" y="409"/>
                  </a:lnTo>
                  <a:lnTo>
                    <a:pt x="84" y="408"/>
                  </a:lnTo>
                  <a:lnTo>
                    <a:pt x="88" y="407"/>
                  </a:lnTo>
                  <a:lnTo>
                    <a:pt x="89" y="406"/>
                  </a:lnTo>
                  <a:lnTo>
                    <a:pt x="88" y="407"/>
                  </a:lnTo>
                  <a:lnTo>
                    <a:pt x="85" y="406"/>
                  </a:lnTo>
                  <a:lnTo>
                    <a:pt x="84" y="407"/>
                  </a:lnTo>
                  <a:lnTo>
                    <a:pt x="82" y="407"/>
                  </a:lnTo>
                  <a:lnTo>
                    <a:pt x="79" y="407"/>
                  </a:lnTo>
                  <a:lnTo>
                    <a:pt x="79" y="406"/>
                  </a:lnTo>
                  <a:lnTo>
                    <a:pt x="78" y="404"/>
                  </a:lnTo>
                  <a:lnTo>
                    <a:pt x="79" y="403"/>
                  </a:lnTo>
                  <a:lnTo>
                    <a:pt x="77" y="404"/>
                  </a:lnTo>
                  <a:lnTo>
                    <a:pt x="74" y="404"/>
                  </a:lnTo>
                  <a:lnTo>
                    <a:pt x="73" y="404"/>
                  </a:lnTo>
                  <a:lnTo>
                    <a:pt x="69" y="404"/>
                  </a:lnTo>
                  <a:lnTo>
                    <a:pt x="69" y="403"/>
                  </a:lnTo>
                  <a:lnTo>
                    <a:pt x="71" y="402"/>
                  </a:lnTo>
                  <a:lnTo>
                    <a:pt x="69" y="401"/>
                  </a:lnTo>
                  <a:lnTo>
                    <a:pt x="67" y="401"/>
                  </a:lnTo>
                  <a:lnTo>
                    <a:pt x="68" y="398"/>
                  </a:lnTo>
                  <a:lnTo>
                    <a:pt x="66" y="398"/>
                  </a:lnTo>
                  <a:lnTo>
                    <a:pt x="66" y="397"/>
                  </a:lnTo>
                  <a:lnTo>
                    <a:pt x="65" y="398"/>
                  </a:lnTo>
                  <a:lnTo>
                    <a:pt x="63" y="400"/>
                  </a:lnTo>
                  <a:lnTo>
                    <a:pt x="63" y="398"/>
                  </a:lnTo>
                  <a:lnTo>
                    <a:pt x="61" y="400"/>
                  </a:lnTo>
                  <a:lnTo>
                    <a:pt x="60" y="403"/>
                  </a:lnTo>
                  <a:lnTo>
                    <a:pt x="57" y="407"/>
                  </a:lnTo>
                  <a:lnTo>
                    <a:pt x="56" y="409"/>
                  </a:lnTo>
                  <a:lnTo>
                    <a:pt x="55" y="404"/>
                  </a:lnTo>
                  <a:lnTo>
                    <a:pt x="54" y="406"/>
                  </a:lnTo>
                  <a:lnTo>
                    <a:pt x="53" y="406"/>
                  </a:lnTo>
                  <a:lnTo>
                    <a:pt x="53" y="407"/>
                  </a:lnTo>
                  <a:lnTo>
                    <a:pt x="53" y="408"/>
                  </a:lnTo>
                  <a:lnTo>
                    <a:pt x="53" y="409"/>
                  </a:lnTo>
                  <a:lnTo>
                    <a:pt x="51" y="410"/>
                  </a:lnTo>
                  <a:lnTo>
                    <a:pt x="53" y="409"/>
                  </a:lnTo>
                  <a:lnTo>
                    <a:pt x="55" y="412"/>
                  </a:lnTo>
                  <a:lnTo>
                    <a:pt x="54" y="415"/>
                  </a:lnTo>
                  <a:lnTo>
                    <a:pt x="53" y="414"/>
                  </a:lnTo>
                  <a:lnTo>
                    <a:pt x="50" y="413"/>
                  </a:lnTo>
                  <a:lnTo>
                    <a:pt x="49" y="412"/>
                  </a:lnTo>
                  <a:lnTo>
                    <a:pt x="49" y="413"/>
                  </a:lnTo>
                  <a:lnTo>
                    <a:pt x="49" y="414"/>
                  </a:lnTo>
                  <a:lnTo>
                    <a:pt x="47" y="413"/>
                  </a:lnTo>
                  <a:lnTo>
                    <a:pt x="47" y="412"/>
                  </a:lnTo>
                  <a:lnTo>
                    <a:pt x="45" y="413"/>
                  </a:lnTo>
                  <a:lnTo>
                    <a:pt x="45" y="414"/>
                  </a:lnTo>
                  <a:lnTo>
                    <a:pt x="43" y="415"/>
                  </a:lnTo>
                  <a:lnTo>
                    <a:pt x="42" y="415"/>
                  </a:lnTo>
                  <a:lnTo>
                    <a:pt x="41" y="415"/>
                  </a:lnTo>
                  <a:lnTo>
                    <a:pt x="39" y="418"/>
                  </a:lnTo>
                  <a:lnTo>
                    <a:pt x="38" y="419"/>
                  </a:lnTo>
                  <a:lnTo>
                    <a:pt x="37" y="418"/>
                  </a:lnTo>
                  <a:lnTo>
                    <a:pt x="35" y="418"/>
                  </a:lnTo>
                  <a:lnTo>
                    <a:pt x="33" y="416"/>
                  </a:lnTo>
                  <a:lnTo>
                    <a:pt x="30" y="418"/>
                  </a:lnTo>
                  <a:lnTo>
                    <a:pt x="27" y="419"/>
                  </a:lnTo>
                  <a:lnTo>
                    <a:pt x="26" y="421"/>
                  </a:lnTo>
                  <a:lnTo>
                    <a:pt x="26" y="422"/>
                  </a:lnTo>
                  <a:lnTo>
                    <a:pt x="25" y="424"/>
                  </a:lnTo>
                  <a:lnTo>
                    <a:pt x="24" y="422"/>
                  </a:lnTo>
                  <a:lnTo>
                    <a:pt x="24" y="421"/>
                  </a:lnTo>
                  <a:lnTo>
                    <a:pt x="21" y="421"/>
                  </a:lnTo>
                  <a:lnTo>
                    <a:pt x="23" y="420"/>
                  </a:lnTo>
                  <a:lnTo>
                    <a:pt x="21" y="420"/>
                  </a:lnTo>
                  <a:lnTo>
                    <a:pt x="21" y="419"/>
                  </a:lnTo>
                  <a:lnTo>
                    <a:pt x="20" y="420"/>
                  </a:lnTo>
                  <a:lnTo>
                    <a:pt x="20" y="419"/>
                  </a:lnTo>
                  <a:lnTo>
                    <a:pt x="18" y="419"/>
                  </a:lnTo>
                  <a:lnTo>
                    <a:pt x="15" y="421"/>
                  </a:lnTo>
                  <a:lnTo>
                    <a:pt x="15" y="420"/>
                  </a:lnTo>
                  <a:lnTo>
                    <a:pt x="13" y="421"/>
                  </a:lnTo>
                  <a:lnTo>
                    <a:pt x="10" y="422"/>
                  </a:lnTo>
                  <a:lnTo>
                    <a:pt x="13" y="419"/>
                  </a:lnTo>
                  <a:lnTo>
                    <a:pt x="12" y="419"/>
                  </a:lnTo>
                  <a:lnTo>
                    <a:pt x="14" y="415"/>
                  </a:lnTo>
                  <a:lnTo>
                    <a:pt x="15" y="412"/>
                  </a:lnTo>
                  <a:lnTo>
                    <a:pt x="18" y="412"/>
                  </a:lnTo>
                  <a:lnTo>
                    <a:pt x="17" y="410"/>
                  </a:lnTo>
                  <a:lnTo>
                    <a:pt x="13" y="413"/>
                  </a:lnTo>
                  <a:lnTo>
                    <a:pt x="10" y="416"/>
                  </a:lnTo>
                  <a:lnTo>
                    <a:pt x="13" y="412"/>
                  </a:lnTo>
                  <a:lnTo>
                    <a:pt x="13" y="409"/>
                  </a:lnTo>
                  <a:lnTo>
                    <a:pt x="12" y="407"/>
                  </a:lnTo>
                  <a:lnTo>
                    <a:pt x="14" y="404"/>
                  </a:lnTo>
                  <a:lnTo>
                    <a:pt x="13" y="404"/>
                  </a:lnTo>
                  <a:lnTo>
                    <a:pt x="12" y="406"/>
                  </a:lnTo>
                  <a:lnTo>
                    <a:pt x="8" y="408"/>
                  </a:lnTo>
                  <a:lnTo>
                    <a:pt x="8" y="406"/>
                  </a:lnTo>
                  <a:lnTo>
                    <a:pt x="8" y="402"/>
                  </a:lnTo>
                  <a:lnTo>
                    <a:pt x="10" y="400"/>
                  </a:lnTo>
                  <a:lnTo>
                    <a:pt x="12" y="400"/>
                  </a:lnTo>
                  <a:lnTo>
                    <a:pt x="14" y="400"/>
                  </a:lnTo>
                  <a:lnTo>
                    <a:pt x="18" y="398"/>
                  </a:lnTo>
                  <a:lnTo>
                    <a:pt x="18" y="397"/>
                  </a:lnTo>
                  <a:lnTo>
                    <a:pt x="20" y="396"/>
                  </a:lnTo>
                  <a:lnTo>
                    <a:pt x="21" y="398"/>
                  </a:lnTo>
                  <a:lnTo>
                    <a:pt x="23" y="397"/>
                  </a:lnTo>
                  <a:lnTo>
                    <a:pt x="24" y="397"/>
                  </a:lnTo>
                  <a:lnTo>
                    <a:pt x="26" y="397"/>
                  </a:lnTo>
                  <a:lnTo>
                    <a:pt x="30" y="395"/>
                  </a:lnTo>
                  <a:lnTo>
                    <a:pt x="32" y="396"/>
                  </a:lnTo>
                  <a:lnTo>
                    <a:pt x="31" y="396"/>
                  </a:lnTo>
                  <a:lnTo>
                    <a:pt x="30" y="397"/>
                  </a:lnTo>
                  <a:lnTo>
                    <a:pt x="27" y="398"/>
                  </a:lnTo>
                  <a:lnTo>
                    <a:pt x="27" y="400"/>
                  </a:lnTo>
                  <a:lnTo>
                    <a:pt x="26" y="401"/>
                  </a:lnTo>
                  <a:lnTo>
                    <a:pt x="27" y="401"/>
                  </a:lnTo>
                  <a:lnTo>
                    <a:pt x="30" y="400"/>
                  </a:lnTo>
                  <a:lnTo>
                    <a:pt x="31" y="398"/>
                  </a:lnTo>
                  <a:lnTo>
                    <a:pt x="31" y="397"/>
                  </a:lnTo>
                  <a:lnTo>
                    <a:pt x="33" y="397"/>
                  </a:lnTo>
                  <a:lnTo>
                    <a:pt x="35" y="397"/>
                  </a:lnTo>
                  <a:lnTo>
                    <a:pt x="37" y="396"/>
                  </a:lnTo>
                  <a:lnTo>
                    <a:pt x="36" y="396"/>
                  </a:lnTo>
                  <a:lnTo>
                    <a:pt x="35" y="396"/>
                  </a:lnTo>
                  <a:lnTo>
                    <a:pt x="35" y="395"/>
                  </a:lnTo>
                  <a:lnTo>
                    <a:pt x="36" y="391"/>
                  </a:lnTo>
                  <a:lnTo>
                    <a:pt x="38" y="390"/>
                  </a:lnTo>
                  <a:lnTo>
                    <a:pt x="38" y="389"/>
                  </a:lnTo>
                  <a:lnTo>
                    <a:pt x="39" y="388"/>
                  </a:lnTo>
                  <a:lnTo>
                    <a:pt x="37" y="389"/>
                  </a:lnTo>
                  <a:lnTo>
                    <a:pt x="36" y="390"/>
                  </a:lnTo>
                  <a:lnTo>
                    <a:pt x="37" y="388"/>
                  </a:lnTo>
                  <a:lnTo>
                    <a:pt x="35" y="388"/>
                  </a:lnTo>
                  <a:lnTo>
                    <a:pt x="32" y="391"/>
                  </a:lnTo>
                  <a:lnTo>
                    <a:pt x="35" y="386"/>
                  </a:lnTo>
                  <a:lnTo>
                    <a:pt x="36" y="384"/>
                  </a:lnTo>
                  <a:lnTo>
                    <a:pt x="38" y="382"/>
                  </a:lnTo>
                  <a:lnTo>
                    <a:pt x="38" y="380"/>
                  </a:lnTo>
                  <a:lnTo>
                    <a:pt x="39" y="379"/>
                  </a:lnTo>
                  <a:lnTo>
                    <a:pt x="37" y="378"/>
                  </a:lnTo>
                  <a:lnTo>
                    <a:pt x="33" y="379"/>
                  </a:lnTo>
                  <a:lnTo>
                    <a:pt x="36" y="376"/>
                  </a:lnTo>
                  <a:lnTo>
                    <a:pt x="38" y="374"/>
                  </a:lnTo>
                  <a:lnTo>
                    <a:pt x="42" y="374"/>
                  </a:lnTo>
                  <a:lnTo>
                    <a:pt x="43" y="376"/>
                  </a:lnTo>
                  <a:lnTo>
                    <a:pt x="45" y="377"/>
                  </a:lnTo>
                  <a:lnTo>
                    <a:pt x="45" y="376"/>
                  </a:lnTo>
                  <a:lnTo>
                    <a:pt x="48" y="377"/>
                  </a:lnTo>
                  <a:lnTo>
                    <a:pt x="49" y="377"/>
                  </a:lnTo>
                  <a:lnTo>
                    <a:pt x="48" y="376"/>
                  </a:lnTo>
                  <a:lnTo>
                    <a:pt x="44" y="374"/>
                  </a:lnTo>
                  <a:lnTo>
                    <a:pt x="44" y="373"/>
                  </a:lnTo>
                  <a:lnTo>
                    <a:pt x="45" y="372"/>
                  </a:lnTo>
                  <a:lnTo>
                    <a:pt x="47" y="371"/>
                  </a:lnTo>
                  <a:lnTo>
                    <a:pt x="45" y="370"/>
                  </a:lnTo>
                  <a:lnTo>
                    <a:pt x="44" y="370"/>
                  </a:lnTo>
                  <a:lnTo>
                    <a:pt x="44" y="372"/>
                  </a:lnTo>
                  <a:lnTo>
                    <a:pt x="43" y="371"/>
                  </a:lnTo>
                  <a:lnTo>
                    <a:pt x="43" y="368"/>
                  </a:lnTo>
                  <a:lnTo>
                    <a:pt x="44" y="367"/>
                  </a:lnTo>
                  <a:lnTo>
                    <a:pt x="43" y="367"/>
                  </a:lnTo>
                  <a:lnTo>
                    <a:pt x="43" y="366"/>
                  </a:lnTo>
                  <a:lnTo>
                    <a:pt x="42" y="367"/>
                  </a:lnTo>
                  <a:lnTo>
                    <a:pt x="39" y="368"/>
                  </a:lnTo>
                  <a:lnTo>
                    <a:pt x="39" y="370"/>
                  </a:lnTo>
                  <a:lnTo>
                    <a:pt x="39" y="367"/>
                  </a:lnTo>
                  <a:lnTo>
                    <a:pt x="39" y="366"/>
                  </a:lnTo>
                  <a:lnTo>
                    <a:pt x="38" y="367"/>
                  </a:lnTo>
                  <a:lnTo>
                    <a:pt x="39" y="364"/>
                  </a:lnTo>
                  <a:lnTo>
                    <a:pt x="41" y="362"/>
                  </a:lnTo>
                  <a:lnTo>
                    <a:pt x="43" y="361"/>
                  </a:lnTo>
                  <a:lnTo>
                    <a:pt x="45" y="359"/>
                  </a:lnTo>
                  <a:lnTo>
                    <a:pt x="47" y="356"/>
                  </a:lnTo>
                  <a:lnTo>
                    <a:pt x="45" y="356"/>
                  </a:lnTo>
                  <a:lnTo>
                    <a:pt x="44" y="358"/>
                  </a:lnTo>
                  <a:lnTo>
                    <a:pt x="44" y="356"/>
                  </a:lnTo>
                  <a:lnTo>
                    <a:pt x="43" y="358"/>
                  </a:lnTo>
                  <a:lnTo>
                    <a:pt x="43" y="359"/>
                  </a:lnTo>
                  <a:lnTo>
                    <a:pt x="43" y="358"/>
                  </a:lnTo>
                  <a:lnTo>
                    <a:pt x="42" y="359"/>
                  </a:lnTo>
                  <a:lnTo>
                    <a:pt x="41" y="359"/>
                  </a:lnTo>
                  <a:lnTo>
                    <a:pt x="39" y="359"/>
                  </a:lnTo>
                  <a:lnTo>
                    <a:pt x="38" y="361"/>
                  </a:lnTo>
                  <a:lnTo>
                    <a:pt x="38" y="359"/>
                  </a:lnTo>
                  <a:lnTo>
                    <a:pt x="39" y="356"/>
                  </a:lnTo>
                  <a:lnTo>
                    <a:pt x="38" y="356"/>
                  </a:lnTo>
                  <a:lnTo>
                    <a:pt x="36" y="355"/>
                  </a:lnTo>
                  <a:lnTo>
                    <a:pt x="36" y="353"/>
                  </a:lnTo>
                  <a:lnTo>
                    <a:pt x="37" y="352"/>
                  </a:lnTo>
                  <a:lnTo>
                    <a:pt x="36" y="350"/>
                  </a:lnTo>
                  <a:lnTo>
                    <a:pt x="35" y="349"/>
                  </a:lnTo>
                  <a:lnTo>
                    <a:pt x="30" y="353"/>
                  </a:lnTo>
                  <a:lnTo>
                    <a:pt x="29" y="358"/>
                  </a:lnTo>
                  <a:lnTo>
                    <a:pt x="24" y="364"/>
                  </a:lnTo>
                  <a:lnTo>
                    <a:pt x="27" y="359"/>
                  </a:lnTo>
                  <a:lnTo>
                    <a:pt x="27" y="355"/>
                  </a:lnTo>
                  <a:lnTo>
                    <a:pt x="25" y="356"/>
                  </a:lnTo>
                  <a:lnTo>
                    <a:pt x="23" y="358"/>
                  </a:lnTo>
                  <a:lnTo>
                    <a:pt x="26" y="356"/>
                  </a:lnTo>
                  <a:lnTo>
                    <a:pt x="29" y="354"/>
                  </a:lnTo>
                  <a:lnTo>
                    <a:pt x="29" y="353"/>
                  </a:lnTo>
                  <a:lnTo>
                    <a:pt x="23" y="355"/>
                  </a:lnTo>
                  <a:lnTo>
                    <a:pt x="19" y="359"/>
                  </a:lnTo>
                  <a:lnTo>
                    <a:pt x="21" y="355"/>
                  </a:lnTo>
                  <a:lnTo>
                    <a:pt x="19" y="356"/>
                  </a:lnTo>
                  <a:lnTo>
                    <a:pt x="18" y="355"/>
                  </a:lnTo>
                  <a:lnTo>
                    <a:pt x="20" y="355"/>
                  </a:lnTo>
                  <a:lnTo>
                    <a:pt x="19" y="354"/>
                  </a:lnTo>
                  <a:lnTo>
                    <a:pt x="18" y="354"/>
                  </a:lnTo>
                  <a:lnTo>
                    <a:pt x="15" y="355"/>
                  </a:lnTo>
                  <a:lnTo>
                    <a:pt x="14" y="355"/>
                  </a:lnTo>
                  <a:lnTo>
                    <a:pt x="14" y="354"/>
                  </a:lnTo>
                  <a:lnTo>
                    <a:pt x="13" y="354"/>
                  </a:lnTo>
                  <a:lnTo>
                    <a:pt x="10" y="354"/>
                  </a:lnTo>
                  <a:lnTo>
                    <a:pt x="12" y="352"/>
                  </a:lnTo>
                  <a:lnTo>
                    <a:pt x="13" y="350"/>
                  </a:lnTo>
                  <a:lnTo>
                    <a:pt x="12" y="350"/>
                  </a:lnTo>
                  <a:lnTo>
                    <a:pt x="13" y="349"/>
                  </a:lnTo>
                  <a:lnTo>
                    <a:pt x="12" y="349"/>
                  </a:lnTo>
                  <a:lnTo>
                    <a:pt x="13" y="348"/>
                  </a:lnTo>
                  <a:lnTo>
                    <a:pt x="13" y="347"/>
                  </a:lnTo>
                  <a:lnTo>
                    <a:pt x="17" y="345"/>
                  </a:lnTo>
                  <a:lnTo>
                    <a:pt x="19" y="344"/>
                  </a:lnTo>
                  <a:lnTo>
                    <a:pt x="18" y="344"/>
                  </a:lnTo>
                  <a:lnTo>
                    <a:pt x="19" y="343"/>
                  </a:lnTo>
                  <a:lnTo>
                    <a:pt x="18" y="343"/>
                  </a:lnTo>
                  <a:lnTo>
                    <a:pt x="19" y="342"/>
                  </a:lnTo>
                  <a:lnTo>
                    <a:pt x="20" y="341"/>
                  </a:lnTo>
                  <a:lnTo>
                    <a:pt x="17" y="341"/>
                  </a:lnTo>
                  <a:lnTo>
                    <a:pt x="15" y="341"/>
                  </a:lnTo>
                  <a:lnTo>
                    <a:pt x="13" y="339"/>
                  </a:lnTo>
                  <a:lnTo>
                    <a:pt x="14" y="338"/>
                  </a:lnTo>
                  <a:lnTo>
                    <a:pt x="17" y="337"/>
                  </a:lnTo>
                  <a:lnTo>
                    <a:pt x="19" y="337"/>
                  </a:lnTo>
                  <a:lnTo>
                    <a:pt x="21" y="337"/>
                  </a:lnTo>
                  <a:lnTo>
                    <a:pt x="23" y="339"/>
                  </a:lnTo>
                  <a:lnTo>
                    <a:pt x="25" y="341"/>
                  </a:lnTo>
                  <a:lnTo>
                    <a:pt x="26" y="341"/>
                  </a:lnTo>
                  <a:lnTo>
                    <a:pt x="27" y="339"/>
                  </a:lnTo>
                  <a:lnTo>
                    <a:pt x="29" y="339"/>
                  </a:lnTo>
                  <a:lnTo>
                    <a:pt x="31" y="339"/>
                  </a:lnTo>
                  <a:lnTo>
                    <a:pt x="32" y="338"/>
                  </a:lnTo>
                  <a:lnTo>
                    <a:pt x="33" y="338"/>
                  </a:lnTo>
                  <a:lnTo>
                    <a:pt x="35" y="337"/>
                  </a:lnTo>
                  <a:lnTo>
                    <a:pt x="36" y="337"/>
                  </a:lnTo>
                  <a:lnTo>
                    <a:pt x="36" y="335"/>
                  </a:lnTo>
                  <a:lnTo>
                    <a:pt x="37" y="335"/>
                  </a:lnTo>
                  <a:lnTo>
                    <a:pt x="37" y="332"/>
                  </a:lnTo>
                  <a:lnTo>
                    <a:pt x="38" y="331"/>
                  </a:lnTo>
                  <a:lnTo>
                    <a:pt x="36" y="332"/>
                  </a:lnTo>
                  <a:lnTo>
                    <a:pt x="32" y="335"/>
                  </a:lnTo>
                  <a:lnTo>
                    <a:pt x="31" y="336"/>
                  </a:lnTo>
                  <a:lnTo>
                    <a:pt x="31" y="332"/>
                  </a:lnTo>
                  <a:lnTo>
                    <a:pt x="30" y="330"/>
                  </a:lnTo>
                  <a:lnTo>
                    <a:pt x="30" y="327"/>
                  </a:lnTo>
                  <a:lnTo>
                    <a:pt x="27" y="327"/>
                  </a:lnTo>
                  <a:lnTo>
                    <a:pt x="25" y="329"/>
                  </a:lnTo>
                  <a:lnTo>
                    <a:pt x="24" y="331"/>
                  </a:lnTo>
                  <a:lnTo>
                    <a:pt x="24" y="329"/>
                  </a:lnTo>
                  <a:lnTo>
                    <a:pt x="21" y="329"/>
                  </a:lnTo>
                  <a:lnTo>
                    <a:pt x="20" y="327"/>
                  </a:lnTo>
                  <a:lnTo>
                    <a:pt x="19" y="327"/>
                  </a:lnTo>
                  <a:lnTo>
                    <a:pt x="18" y="326"/>
                  </a:lnTo>
                  <a:lnTo>
                    <a:pt x="18" y="321"/>
                  </a:lnTo>
                  <a:lnTo>
                    <a:pt x="15" y="324"/>
                  </a:lnTo>
                  <a:lnTo>
                    <a:pt x="17" y="327"/>
                  </a:lnTo>
                  <a:lnTo>
                    <a:pt x="17" y="332"/>
                  </a:lnTo>
                  <a:lnTo>
                    <a:pt x="15" y="335"/>
                  </a:lnTo>
                  <a:lnTo>
                    <a:pt x="12" y="329"/>
                  </a:lnTo>
                  <a:lnTo>
                    <a:pt x="10" y="329"/>
                  </a:lnTo>
                  <a:lnTo>
                    <a:pt x="9" y="329"/>
                  </a:lnTo>
                  <a:lnTo>
                    <a:pt x="8" y="331"/>
                  </a:lnTo>
                  <a:lnTo>
                    <a:pt x="8" y="327"/>
                  </a:lnTo>
                  <a:lnTo>
                    <a:pt x="7" y="326"/>
                  </a:lnTo>
                  <a:lnTo>
                    <a:pt x="6" y="326"/>
                  </a:lnTo>
                  <a:lnTo>
                    <a:pt x="4" y="326"/>
                  </a:lnTo>
                  <a:lnTo>
                    <a:pt x="4" y="325"/>
                  </a:lnTo>
                  <a:lnTo>
                    <a:pt x="6" y="323"/>
                  </a:lnTo>
                  <a:lnTo>
                    <a:pt x="8" y="320"/>
                  </a:lnTo>
                  <a:lnTo>
                    <a:pt x="7" y="319"/>
                  </a:lnTo>
                  <a:lnTo>
                    <a:pt x="8" y="317"/>
                  </a:lnTo>
                  <a:lnTo>
                    <a:pt x="8" y="314"/>
                  </a:lnTo>
                  <a:lnTo>
                    <a:pt x="9" y="313"/>
                  </a:lnTo>
                  <a:lnTo>
                    <a:pt x="10" y="314"/>
                  </a:lnTo>
                  <a:lnTo>
                    <a:pt x="10" y="313"/>
                  </a:lnTo>
                  <a:lnTo>
                    <a:pt x="12" y="313"/>
                  </a:lnTo>
                  <a:lnTo>
                    <a:pt x="14" y="311"/>
                  </a:lnTo>
                  <a:lnTo>
                    <a:pt x="15" y="307"/>
                  </a:lnTo>
                  <a:lnTo>
                    <a:pt x="15" y="308"/>
                  </a:lnTo>
                  <a:lnTo>
                    <a:pt x="17" y="308"/>
                  </a:lnTo>
                  <a:lnTo>
                    <a:pt x="18" y="307"/>
                  </a:lnTo>
                  <a:lnTo>
                    <a:pt x="19" y="307"/>
                  </a:lnTo>
                  <a:lnTo>
                    <a:pt x="20" y="306"/>
                  </a:lnTo>
                  <a:lnTo>
                    <a:pt x="23" y="305"/>
                  </a:lnTo>
                  <a:lnTo>
                    <a:pt x="17" y="302"/>
                  </a:lnTo>
                  <a:lnTo>
                    <a:pt x="12" y="300"/>
                  </a:lnTo>
                  <a:lnTo>
                    <a:pt x="10" y="302"/>
                  </a:lnTo>
                  <a:lnTo>
                    <a:pt x="10" y="305"/>
                  </a:lnTo>
                  <a:lnTo>
                    <a:pt x="9" y="305"/>
                  </a:lnTo>
                  <a:lnTo>
                    <a:pt x="8" y="306"/>
                  </a:lnTo>
                  <a:lnTo>
                    <a:pt x="6" y="308"/>
                  </a:lnTo>
                  <a:lnTo>
                    <a:pt x="6" y="306"/>
                  </a:lnTo>
                  <a:lnTo>
                    <a:pt x="6" y="305"/>
                  </a:lnTo>
                  <a:lnTo>
                    <a:pt x="7" y="303"/>
                  </a:lnTo>
                  <a:lnTo>
                    <a:pt x="7" y="301"/>
                  </a:lnTo>
                  <a:lnTo>
                    <a:pt x="8" y="300"/>
                  </a:lnTo>
                  <a:lnTo>
                    <a:pt x="9" y="300"/>
                  </a:lnTo>
                  <a:lnTo>
                    <a:pt x="10" y="300"/>
                  </a:lnTo>
                  <a:lnTo>
                    <a:pt x="8" y="299"/>
                  </a:lnTo>
                  <a:lnTo>
                    <a:pt x="6" y="297"/>
                  </a:lnTo>
                  <a:lnTo>
                    <a:pt x="6" y="296"/>
                  </a:lnTo>
                  <a:lnTo>
                    <a:pt x="7" y="296"/>
                  </a:lnTo>
                  <a:lnTo>
                    <a:pt x="9" y="299"/>
                  </a:lnTo>
                  <a:lnTo>
                    <a:pt x="15" y="301"/>
                  </a:lnTo>
                  <a:lnTo>
                    <a:pt x="24" y="305"/>
                  </a:lnTo>
                  <a:lnTo>
                    <a:pt x="19" y="300"/>
                  </a:lnTo>
                  <a:lnTo>
                    <a:pt x="18" y="300"/>
                  </a:lnTo>
                  <a:lnTo>
                    <a:pt x="18" y="301"/>
                  </a:lnTo>
                  <a:lnTo>
                    <a:pt x="17" y="300"/>
                  </a:lnTo>
                  <a:lnTo>
                    <a:pt x="15" y="297"/>
                  </a:lnTo>
                  <a:lnTo>
                    <a:pt x="12" y="294"/>
                  </a:lnTo>
                  <a:lnTo>
                    <a:pt x="9" y="291"/>
                  </a:lnTo>
                  <a:lnTo>
                    <a:pt x="9" y="294"/>
                  </a:lnTo>
                  <a:lnTo>
                    <a:pt x="9" y="296"/>
                  </a:lnTo>
                  <a:lnTo>
                    <a:pt x="8" y="295"/>
                  </a:lnTo>
                  <a:lnTo>
                    <a:pt x="7" y="295"/>
                  </a:lnTo>
                  <a:lnTo>
                    <a:pt x="7" y="293"/>
                  </a:lnTo>
                  <a:lnTo>
                    <a:pt x="6" y="293"/>
                  </a:lnTo>
                  <a:lnTo>
                    <a:pt x="6" y="294"/>
                  </a:lnTo>
                  <a:lnTo>
                    <a:pt x="2" y="295"/>
                  </a:lnTo>
                  <a:lnTo>
                    <a:pt x="0" y="295"/>
                  </a:lnTo>
                  <a:lnTo>
                    <a:pt x="2" y="293"/>
                  </a:lnTo>
                  <a:lnTo>
                    <a:pt x="2" y="291"/>
                  </a:lnTo>
                  <a:lnTo>
                    <a:pt x="6" y="291"/>
                  </a:lnTo>
                  <a:lnTo>
                    <a:pt x="7" y="291"/>
                  </a:lnTo>
                  <a:lnTo>
                    <a:pt x="8" y="291"/>
                  </a:lnTo>
                  <a:lnTo>
                    <a:pt x="4" y="287"/>
                  </a:lnTo>
                  <a:lnTo>
                    <a:pt x="3" y="285"/>
                  </a:lnTo>
                  <a:lnTo>
                    <a:pt x="0" y="284"/>
                  </a:lnTo>
                  <a:lnTo>
                    <a:pt x="0" y="283"/>
                  </a:lnTo>
                  <a:lnTo>
                    <a:pt x="1" y="283"/>
                  </a:lnTo>
                  <a:lnTo>
                    <a:pt x="3" y="284"/>
                  </a:lnTo>
                  <a:lnTo>
                    <a:pt x="4" y="284"/>
                  </a:lnTo>
                  <a:lnTo>
                    <a:pt x="6" y="284"/>
                  </a:lnTo>
                  <a:lnTo>
                    <a:pt x="9" y="287"/>
                  </a:lnTo>
                  <a:lnTo>
                    <a:pt x="9" y="289"/>
                  </a:lnTo>
                  <a:lnTo>
                    <a:pt x="8" y="288"/>
                  </a:lnTo>
                  <a:lnTo>
                    <a:pt x="8" y="289"/>
                  </a:lnTo>
                  <a:lnTo>
                    <a:pt x="7" y="287"/>
                  </a:lnTo>
                  <a:lnTo>
                    <a:pt x="4" y="287"/>
                  </a:lnTo>
                  <a:lnTo>
                    <a:pt x="8" y="290"/>
                  </a:lnTo>
                  <a:lnTo>
                    <a:pt x="15" y="296"/>
                  </a:lnTo>
                  <a:lnTo>
                    <a:pt x="17" y="296"/>
                  </a:lnTo>
                  <a:lnTo>
                    <a:pt x="19" y="295"/>
                  </a:lnTo>
                  <a:lnTo>
                    <a:pt x="20" y="296"/>
                  </a:lnTo>
                  <a:lnTo>
                    <a:pt x="19" y="297"/>
                  </a:lnTo>
                  <a:lnTo>
                    <a:pt x="19" y="299"/>
                  </a:lnTo>
                  <a:lnTo>
                    <a:pt x="24" y="303"/>
                  </a:lnTo>
                  <a:lnTo>
                    <a:pt x="26" y="303"/>
                  </a:lnTo>
                  <a:lnTo>
                    <a:pt x="27" y="301"/>
                  </a:lnTo>
                  <a:lnTo>
                    <a:pt x="29" y="300"/>
                  </a:lnTo>
                  <a:lnTo>
                    <a:pt x="27" y="297"/>
                  </a:lnTo>
                  <a:lnTo>
                    <a:pt x="30" y="297"/>
                  </a:lnTo>
                  <a:lnTo>
                    <a:pt x="32" y="300"/>
                  </a:lnTo>
                  <a:lnTo>
                    <a:pt x="33" y="301"/>
                  </a:lnTo>
                  <a:lnTo>
                    <a:pt x="36" y="302"/>
                  </a:lnTo>
                  <a:lnTo>
                    <a:pt x="36" y="299"/>
                  </a:lnTo>
                  <a:lnTo>
                    <a:pt x="37" y="295"/>
                  </a:lnTo>
                  <a:lnTo>
                    <a:pt x="41" y="293"/>
                  </a:lnTo>
                  <a:lnTo>
                    <a:pt x="42" y="291"/>
                  </a:lnTo>
                  <a:lnTo>
                    <a:pt x="45" y="291"/>
                  </a:lnTo>
                  <a:lnTo>
                    <a:pt x="47" y="293"/>
                  </a:lnTo>
                  <a:lnTo>
                    <a:pt x="49" y="293"/>
                  </a:lnTo>
                  <a:lnTo>
                    <a:pt x="50" y="294"/>
                  </a:lnTo>
                  <a:lnTo>
                    <a:pt x="49" y="294"/>
                  </a:lnTo>
                  <a:lnTo>
                    <a:pt x="49" y="296"/>
                  </a:lnTo>
                  <a:lnTo>
                    <a:pt x="50" y="296"/>
                  </a:lnTo>
                  <a:lnTo>
                    <a:pt x="53" y="296"/>
                  </a:lnTo>
                  <a:lnTo>
                    <a:pt x="54" y="297"/>
                  </a:lnTo>
                  <a:lnTo>
                    <a:pt x="54" y="296"/>
                  </a:lnTo>
                  <a:lnTo>
                    <a:pt x="54" y="294"/>
                  </a:lnTo>
                  <a:lnTo>
                    <a:pt x="53" y="295"/>
                  </a:lnTo>
                  <a:lnTo>
                    <a:pt x="51" y="295"/>
                  </a:lnTo>
                  <a:lnTo>
                    <a:pt x="53" y="294"/>
                  </a:lnTo>
                  <a:lnTo>
                    <a:pt x="53" y="293"/>
                  </a:lnTo>
                  <a:lnTo>
                    <a:pt x="51" y="293"/>
                  </a:lnTo>
                  <a:lnTo>
                    <a:pt x="50" y="291"/>
                  </a:lnTo>
                  <a:lnTo>
                    <a:pt x="53" y="290"/>
                  </a:lnTo>
                  <a:lnTo>
                    <a:pt x="53" y="289"/>
                  </a:lnTo>
                  <a:lnTo>
                    <a:pt x="54" y="288"/>
                  </a:lnTo>
                  <a:lnTo>
                    <a:pt x="51" y="289"/>
                  </a:lnTo>
                  <a:lnTo>
                    <a:pt x="49" y="288"/>
                  </a:lnTo>
                  <a:lnTo>
                    <a:pt x="51" y="287"/>
                  </a:lnTo>
                  <a:lnTo>
                    <a:pt x="51" y="285"/>
                  </a:lnTo>
                  <a:lnTo>
                    <a:pt x="53" y="287"/>
                  </a:lnTo>
                  <a:lnTo>
                    <a:pt x="55" y="287"/>
                  </a:lnTo>
                  <a:lnTo>
                    <a:pt x="53" y="285"/>
                  </a:lnTo>
                  <a:lnTo>
                    <a:pt x="56" y="285"/>
                  </a:lnTo>
                  <a:lnTo>
                    <a:pt x="59" y="287"/>
                  </a:lnTo>
                  <a:lnTo>
                    <a:pt x="61" y="285"/>
                  </a:lnTo>
                  <a:lnTo>
                    <a:pt x="61" y="283"/>
                  </a:lnTo>
                  <a:lnTo>
                    <a:pt x="62" y="284"/>
                  </a:lnTo>
                  <a:lnTo>
                    <a:pt x="63" y="285"/>
                  </a:lnTo>
                  <a:lnTo>
                    <a:pt x="63" y="288"/>
                  </a:lnTo>
                  <a:lnTo>
                    <a:pt x="65" y="288"/>
                  </a:lnTo>
                  <a:lnTo>
                    <a:pt x="66" y="285"/>
                  </a:lnTo>
                  <a:lnTo>
                    <a:pt x="67" y="282"/>
                  </a:lnTo>
                  <a:lnTo>
                    <a:pt x="66" y="282"/>
                  </a:lnTo>
                  <a:lnTo>
                    <a:pt x="68" y="282"/>
                  </a:lnTo>
                  <a:lnTo>
                    <a:pt x="67" y="281"/>
                  </a:lnTo>
                  <a:lnTo>
                    <a:pt x="69" y="281"/>
                  </a:lnTo>
                  <a:lnTo>
                    <a:pt x="72" y="279"/>
                  </a:lnTo>
                  <a:lnTo>
                    <a:pt x="71" y="281"/>
                  </a:lnTo>
                  <a:lnTo>
                    <a:pt x="71" y="282"/>
                  </a:lnTo>
                  <a:lnTo>
                    <a:pt x="73" y="282"/>
                  </a:lnTo>
                  <a:lnTo>
                    <a:pt x="74" y="279"/>
                  </a:lnTo>
                  <a:lnTo>
                    <a:pt x="77" y="278"/>
                  </a:lnTo>
                  <a:lnTo>
                    <a:pt x="77" y="276"/>
                  </a:lnTo>
                  <a:lnTo>
                    <a:pt x="76" y="275"/>
                  </a:lnTo>
                  <a:lnTo>
                    <a:pt x="74" y="275"/>
                  </a:lnTo>
                  <a:lnTo>
                    <a:pt x="72" y="276"/>
                  </a:lnTo>
                  <a:lnTo>
                    <a:pt x="69" y="276"/>
                  </a:lnTo>
                  <a:lnTo>
                    <a:pt x="69" y="273"/>
                  </a:lnTo>
                  <a:lnTo>
                    <a:pt x="72" y="272"/>
                  </a:lnTo>
                  <a:lnTo>
                    <a:pt x="72" y="271"/>
                  </a:lnTo>
                  <a:lnTo>
                    <a:pt x="72" y="270"/>
                  </a:lnTo>
                  <a:lnTo>
                    <a:pt x="67" y="266"/>
                  </a:lnTo>
                  <a:lnTo>
                    <a:pt x="66" y="267"/>
                  </a:lnTo>
                  <a:lnTo>
                    <a:pt x="65" y="269"/>
                  </a:lnTo>
                  <a:lnTo>
                    <a:pt x="65" y="266"/>
                  </a:lnTo>
                  <a:lnTo>
                    <a:pt x="66" y="266"/>
                  </a:lnTo>
                  <a:lnTo>
                    <a:pt x="65" y="264"/>
                  </a:lnTo>
                  <a:lnTo>
                    <a:pt x="63" y="265"/>
                  </a:lnTo>
                  <a:lnTo>
                    <a:pt x="62" y="266"/>
                  </a:lnTo>
                  <a:lnTo>
                    <a:pt x="60" y="266"/>
                  </a:lnTo>
                  <a:lnTo>
                    <a:pt x="61" y="265"/>
                  </a:lnTo>
                  <a:lnTo>
                    <a:pt x="62" y="264"/>
                  </a:lnTo>
                  <a:lnTo>
                    <a:pt x="61" y="264"/>
                  </a:lnTo>
                  <a:lnTo>
                    <a:pt x="62" y="263"/>
                  </a:lnTo>
                  <a:lnTo>
                    <a:pt x="60" y="264"/>
                  </a:lnTo>
                  <a:lnTo>
                    <a:pt x="57" y="266"/>
                  </a:lnTo>
                  <a:lnTo>
                    <a:pt x="57" y="265"/>
                  </a:lnTo>
                  <a:lnTo>
                    <a:pt x="56" y="265"/>
                  </a:lnTo>
                  <a:lnTo>
                    <a:pt x="53" y="265"/>
                  </a:lnTo>
                  <a:lnTo>
                    <a:pt x="56" y="264"/>
                  </a:lnTo>
                  <a:lnTo>
                    <a:pt x="57" y="263"/>
                  </a:lnTo>
                  <a:lnTo>
                    <a:pt x="60" y="263"/>
                  </a:lnTo>
                  <a:lnTo>
                    <a:pt x="61" y="261"/>
                  </a:lnTo>
                  <a:lnTo>
                    <a:pt x="59" y="258"/>
                  </a:lnTo>
                  <a:lnTo>
                    <a:pt x="59" y="257"/>
                  </a:lnTo>
                  <a:lnTo>
                    <a:pt x="61" y="257"/>
                  </a:lnTo>
                  <a:lnTo>
                    <a:pt x="62" y="255"/>
                  </a:lnTo>
                  <a:lnTo>
                    <a:pt x="65" y="255"/>
                  </a:lnTo>
                  <a:lnTo>
                    <a:pt x="62" y="258"/>
                  </a:lnTo>
                  <a:lnTo>
                    <a:pt x="61" y="260"/>
                  </a:lnTo>
                  <a:lnTo>
                    <a:pt x="61" y="259"/>
                  </a:lnTo>
                  <a:lnTo>
                    <a:pt x="60" y="258"/>
                  </a:lnTo>
                  <a:lnTo>
                    <a:pt x="61" y="261"/>
                  </a:lnTo>
                  <a:lnTo>
                    <a:pt x="62" y="261"/>
                  </a:lnTo>
                  <a:lnTo>
                    <a:pt x="63" y="261"/>
                  </a:lnTo>
                  <a:lnTo>
                    <a:pt x="66" y="261"/>
                  </a:lnTo>
                  <a:lnTo>
                    <a:pt x="65" y="264"/>
                  </a:lnTo>
                  <a:lnTo>
                    <a:pt x="68" y="266"/>
                  </a:lnTo>
                  <a:lnTo>
                    <a:pt x="72" y="269"/>
                  </a:lnTo>
                  <a:lnTo>
                    <a:pt x="73" y="270"/>
                  </a:lnTo>
                  <a:lnTo>
                    <a:pt x="74" y="269"/>
                  </a:lnTo>
                  <a:lnTo>
                    <a:pt x="73" y="267"/>
                  </a:lnTo>
                  <a:lnTo>
                    <a:pt x="73" y="266"/>
                  </a:lnTo>
                  <a:lnTo>
                    <a:pt x="73" y="265"/>
                  </a:lnTo>
                  <a:lnTo>
                    <a:pt x="72" y="264"/>
                  </a:lnTo>
                  <a:lnTo>
                    <a:pt x="73" y="261"/>
                  </a:lnTo>
                  <a:lnTo>
                    <a:pt x="77" y="263"/>
                  </a:lnTo>
                  <a:lnTo>
                    <a:pt x="74" y="260"/>
                  </a:lnTo>
                  <a:lnTo>
                    <a:pt x="71" y="263"/>
                  </a:lnTo>
                  <a:lnTo>
                    <a:pt x="69" y="265"/>
                  </a:lnTo>
                  <a:lnTo>
                    <a:pt x="69" y="263"/>
                  </a:lnTo>
                  <a:lnTo>
                    <a:pt x="69" y="261"/>
                  </a:lnTo>
                  <a:lnTo>
                    <a:pt x="69" y="259"/>
                  </a:lnTo>
                  <a:lnTo>
                    <a:pt x="71" y="258"/>
                  </a:lnTo>
                  <a:lnTo>
                    <a:pt x="72" y="255"/>
                  </a:lnTo>
                  <a:lnTo>
                    <a:pt x="73" y="254"/>
                  </a:lnTo>
                  <a:lnTo>
                    <a:pt x="72" y="253"/>
                  </a:lnTo>
                  <a:lnTo>
                    <a:pt x="74" y="252"/>
                  </a:lnTo>
                  <a:lnTo>
                    <a:pt x="76" y="251"/>
                  </a:lnTo>
                  <a:lnTo>
                    <a:pt x="76" y="249"/>
                  </a:lnTo>
                  <a:lnTo>
                    <a:pt x="74" y="249"/>
                  </a:lnTo>
                  <a:lnTo>
                    <a:pt x="74" y="248"/>
                  </a:lnTo>
                  <a:lnTo>
                    <a:pt x="73" y="248"/>
                  </a:lnTo>
                  <a:lnTo>
                    <a:pt x="74" y="246"/>
                  </a:lnTo>
                  <a:lnTo>
                    <a:pt x="76" y="245"/>
                  </a:lnTo>
                  <a:lnTo>
                    <a:pt x="77" y="243"/>
                  </a:lnTo>
                  <a:lnTo>
                    <a:pt x="76" y="241"/>
                  </a:lnTo>
                  <a:lnTo>
                    <a:pt x="74" y="243"/>
                  </a:lnTo>
                  <a:lnTo>
                    <a:pt x="72" y="245"/>
                  </a:lnTo>
                  <a:lnTo>
                    <a:pt x="72" y="241"/>
                  </a:lnTo>
                  <a:lnTo>
                    <a:pt x="73" y="240"/>
                  </a:lnTo>
                  <a:lnTo>
                    <a:pt x="74" y="238"/>
                  </a:lnTo>
                  <a:lnTo>
                    <a:pt x="73" y="237"/>
                  </a:lnTo>
                  <a:lnTo>
                    <a:pt x="74" y="237"/>
                  </a:lnTo>
                  <a:lnTo>
                    <a:pt x="77" y="236"/>
                  </a:lnTo>
                  <a:lnTo>
                    <a:pt x="76" y="236"/>
                  </a:lnTo>
                  <a:lnTo>
                    <a:pt x="76" y="235"/>
                  </a:lnTo>
                  <a:lnTo>
                    <a:pt x="72" y="236"/>
                  </a:lnTo>
                  <a:lnTo>
                    <a:pt x="73" y="234"/>
                  </a:lnTo>
                  <a:lnTo>
                    <a:pt x="76" y="231"/>
                  </a:lnTo>
                  <a:lnTo>
                    <a:pt x="78" y="231"/>
                  </a:lnTo>
                  <a:lnTo>
                    <a:pt x="79" y="231"/>
                  </a:lnTo>
                  <a:lnTo>
                    <a:pt x="82" y="229"/>
                  </a:lnTo>
                  <a:lnTo>
                    <a:pt x="84" y="230"/>
                  </a:lnTo>
                  <a:lnTo>
                    <a:pt x="86" y="228"/>
                  </a:lnTo>
                  <a:lnTo>
                    <a:pt x="85" y="230"/>
                  </a:lnTo>
                  <a:lnTo>
                    <a:pt x="88" y="231"/>
                  </a:lnTo>
                  <a:lnTo>
                    <a:pt x="89" y="229"/>
                  </a:lnTo>
                  <a:lnTo>
                    <a:pt x="90" y="230"/>
                  </a:lnTo>
                  <a:lnTo>
                    <a:pt x="91" y="229"/>
                  </a:lnTo>
                  <a:lnTo>
                    <a:pt x="90" y="228"/>
                  </a:lnTo>
                  <a:lnTo>
                    <a:pt x="91" y="224"/>
                  </a:lnTo>
                  <a:lnTo>
                    <a:pt x="92" y="223"/>
                  </a:lnTo>
                  <a:lnTo>
                    <a:pt x="94" y="224"/>
                  </a:lnTo>
                  <a:lnTo>
                    <a:pt x="92" y="225"/>
                  </a:lnTo>
                  <a:lnTo>
                    <a:pt x="95" y="226"/>
                  </a:lnTo>
                  <a:lnTo>
                    <a:pt x="96" y="224"/>
                  </a:lnTo>
                  <a:lnTo>
                    <a:pt x="96" y="225"/>
                  </a:lnTo>
                  <a:lnTo>
                    <a:pt x="96" y="224"/>
                  </a:lnTo>
                  <a:lnTo>
                    <a:pt x="95" y="222"/>
                  </a:lnTo>
                  <a:lnTo>
                    <a:pt x="91" y="222"/>
                  </a:lnTo>
                  <a:lnTo>
                    <a:pt x="89" y="224"/>
                  </a:lnTo>
                  <a:lnTo>
                    <a:pt x="89" y="223"/>
                  </a:lnTo>
                  <a:lnTo>
                    <a:pt x="89" y="222"/>
                  </a:lnTo>
                  <a:lnTo>
                    <a:pt x="90" y="220"/>
                  </a:lnTo>
                  <a:lnTo>
                    <a:pt x="89" y="219"/>
                  </a:lnTo>
                  <a:lnTo>
                    <a:pt x="88" y="220"/>
                  </a:lnTo>
                  <a:lnTo>
                    <a:pt x="86" y="220"/>
                  </a:lnTo>
                  <a:lnTo>
                    <a:pt x="86" y="223"/>
                  </a:lnTo>
                  <a:lnTo>
                    <a:pt x="83" y="224"/>
                  </a:lnTo>
                  <a:lnTo>
                    <a:pt x="83" y="225"/>
                  </a:lnTo>
                  <a:lnTo>
                    <a:pt x="82" y="223"/>
                  </a:lnTo>
                  <a:lnTo>
                    <a:pt x="80" y="220"/>
                  </a:lnTo>
                  <a:lnTo>
                    <a:pt x="82" y="220"/>
                  </a:lnTo>
                  <a:lnTo>
                    <a:pt x="82" y="219"/>
                  </a:lnTo>
                  <a:lnTo>
                    <a:pt x="82" y="217"/>
                  </a:lnTo>
                  <a:lnTo>
                    <a:pt x="82" y="218"/>
                  </a:lnTo>
                  <a:lnTo>
                    <a:pt x="80" y="216"/>
                  </a:lnTo>
                  <a:lnTo>
                    <a:pt x="78" y="214"/>
                  </a:lnTo>
                  <a:lnTo>
                    <a:pt x="74" y="218"/>
                  </a:lnTo>
                  <a:lnTo>
                    <a:pt x="73" y="220"/>
                  </a:lnTo>
                  <a:lnTo>
                    <a:pt x="74" y="217"/>
                  </a:lnTo>
                  <a:lnTo>
                    <a:pt x="73" y="213"/>
                  </a:lnTo>
                  <a:lnTo>
                    <a:pt x="72" y="217"/>
                  </a:lnTo>
                  <a:lnTo>
                    <a:pt x="71" y="216"/>
                  </a:lnTo>
                  <a:lnTo>
                    <a:pt x="68" y="217"/>
                  </a:lnTo>
                  <a:lnTo>
                    <a:pt x="68" y="216"/>
                  </a:lnTo>
                  <a:lnTo>
                    <a:pt x="67" y="217"/>
                  </a:lnTo>
                  <a:lnTo>
                    <a:pt x="66" y="219"/>
                  </a:lnTo>
                  <a:lnTo>
                    <a:pt x="66" y="220"/>
                  </a:lnTo>
                  <a:lnTo>
                    <a:pt x="66" y="222"/>
                  </a:lnTo>
                  <a:lnTo>
                    <a:pt x="63" y="224"/>
                  </a:lnTo>
                  <a:lnTo>
                    <a:pt x="62" y="223"/>
                  </a:lnTo>
                  <a:lnTo>
                    <a:pt x="61" y="222"/>
                  </a:lnTo>
                  <a:lnTo>
                    <a:pt x="60" y="224"/>
                  </a:lnTo>
                  <a:lnTo>
                    <a:pt x="60" y="228"/>
                  </a:lnTo>
                  <a:lnTo>
                    <a:pt x="59" y="226"/>
                  </a:lnTo>
                  <a:lnTo>
                    <a:pt x="59" y="223"/>
                  </a:lnTo>
                  <a:lnTo>
                    <a:pt x="57" y="225"/>
                  </a:lnTo>
                  <a:lnTo>
                    <a:pt x="57" y="226"/>
                  </a:lnTo>
                  <a:lnTo>
                    <a:pt x="56" y="226"/>
                  </a:lnTo>
                  <a:lnTo>
                    <a:pt x="54" y="226"/>
                  </a:lnTo>
                  <a:lnTo>
                    <a:pt x="54" y="229"/>
                  </a:lnTo>
                  <a:lnTo>
                    <a:pt x="51" y="230"/>
                  </a:lnTo>
                  <a:lnTo>
                    <a:pt x="51" y="231"/>
                  </a:lnTo>
                  <a:lnTo>
                    <a:pt x="51" y="228"/>
                  </a:lnTo>
                  <a:lnTo>
                    <a:pt x="53" y="225"/>
                  </a:lnTo>
                  <a:lnTo>
                    <a:pt x="50" y="225"/>
                  </a:lnTo>
                  <a:lnTo>
                    <a:pt x="49" y="225"/>
                  </a:lnTo>
                  <a:lnTo>
                    <a:pt x="51" y="224"/>
                  </a:lnTo>
                  <a:lnTo>
                    <a:pt x="53" y="222"/>
                  </a:lnTo>
                  <a:lnTo>
                    <a:pt x="54" y="220"/>
                  </a:lnTo>
                  <a:lnTo>
                    <a:pt x="56" y="219"/>
                  </a:lnTo>
                  <a:lnTo>
                    <a:pt x="59" y="219"/>
                  </a:lnTo>
                  <a:lnTo>
                    <a:pt x="61" y="220"/>
                  </a:lnTo>
                  <a:lnTo>
                    <a:pt x="61" y="218"/>
                  </a:lnTo>
                  <a:lnTo>
                    <a:pt x="59" y="217"/>
                  </a:lnTo>
                  <a:lnTo>
                    <a:pt x="57" y="217"/>
                  </a:lnTo>
                  <a:lnTo>
                    <a:pt x="55" y="219"/>
                  </a:lnTo>
                  <a:lnTo>
                    <a:pt x="55" y="218"/>
                  </a:lnTo>
                  <a:lnTo>
                    <a:pt x="56" y="217"/>
                  </a:lnTo>
                  <a:lnTo>
                    <a:pt x="57" y="214"/>
                  </a:lnTo>
                  <a:lnTo>
                    <a:pt x="55" y="213"/>
                  </a:lnTo>
                  <a:lnTo>
                    <a:pt x="54" y="214"/>
                  </a:lnTo>
                  <a:lnTo>
                    <a:pt x="53" y="213"/>
                  </a:lnTo>
                  <a:lnTo>
                    <a:pt x="53" y="214"/>
                  </a:lnTo>
                  <a:lnTo>
                    <a:pt x="51" y="216"/>
                  </a:lnTo>
                  <a:lnTo>
                    <a:pt x="51" y="217"/>
                  </a:lnTo>
                  <a:lnTo>
                    <a:pt x="53" y="217"/>
                  </a:lnTo>
                  <a:lnTo>
                    <a:pt x="54" y="219"/>
                  </a:lnTo>
                  <a:lnTo>
                    <a:pt x="51" y="220"/>
                  </a:lnTo>
                  <a:lnTo>
                    <a:pt x="51" y="222"/>
                  </a:lnTo>
                  <a:lnTo>
                    <a:pt x="50" y="220"/>
                  </a:lnTo>
                  <a:lnTo>
                    <a:pt x="49" y="222"/>
                  </a:lnTo>
                  <a:lnTo>
                    <a:pt x="45" y="224"/>
                  </a:lnTo>
                  <a:lnTo>
                    <a:pt x="47" y="220"/>
                  </a:lnTo>
                  <a:lnTo>
                    <a:pt x="47" y="218"/>
                  </a:lnTo>
                  <a:lnTo>
                    <a:pt x="45" y="217"/>
                  </a:lnTo>
                  <a:lnTo>
                    <a:pt x="48" y="216"/>
                  </a:lnTo>
                  <a:lnTo>
                    <a:pt x="45" y="214"/>
                  </a:lnTo>
                  <a:lnTo>
                    <a:pt x="47" y="213"/>
                  </a:lnTo>
                  <a:lnTo>
                    <a:pt x="48" y="212"/>
                  </a:lnTo>
                  <a:lnTo>
                    <a:pt x="50" y="213"/>
                  </a:lnTo>
                  <a:lnTo>
                    <a:pt x="50" y="211"/>
                  </a:lnTo>
                  <a:lnTo>
                    <a:pt x="48" y="211"/>
                  </a:lnTo>
                  <a:lnTo>
                    <a:pt x="45" y="211"/>
                  </a:lnTo>
                  <a:lnTo>
                    <a:pt x="42" y="211"/>
                  </a:lnTo>
                  <a:lnTo>
                    <a:pt x="44" y="211"/>
                  </a:lnTo>
                  <a:lnTo>
                    <a:pt x="47" y="208"/>
                  </a:lnTo>
                  <a:lnTo>
                    <a:pt x="48" y="210"/>
                  </a:lnTo>
                  <a:lnTo>
                    <a:pt x="49" y="210"/>
                  </a:lnTo>
                  <a:lnTo>
                    <a:pt x="53" y="211"/>
                  </a:lnTo>
                  <a:lnTo>
                    <a:pt x="54" y="211"/>
                  </a:lnTo>
                  <a:lnTo>
                    <a:pt x="56" y="210"/>
                  </a:lnTo>
                  <a:lnTo>
                    <a:pt x="57" y="207"/>
                  </a:lnTo>
                  <a:lnTo>
                    <a:pt x="55" y="206"/>
                  </a:lnTo>
                  <a:lnTo>
                    <a:pt x="51" y="207"/>
                  </a:lnTo>
                  <a:lnTo>
                    <a:pt x="50" y="208"/>
                  </a:lnTo>
                  <a:lnTo>
                    <a:pt x="49" y="208"/>
                  </a:lnTo>
                  <a:lnTo>
                    <a:pt x="49" y="207"/>
                  </a:lnTo>
                  <a:lnTo>
                    <a:pt x="51" y="205"/>
                  </a:lnTo>
                  <a:lnTo>
                    <a:pt x="51" y="202"/>
                  </a:lnTo>
                  <a:lnTo>
                    <a:pt x="49" y="201"/>
                  </a:lnTo>
                  <a:lnTo>
                    <a:pt x="48" y="200"/>
                  </a:lnTo>
                  <a:lnTo>
                    <a:pt x="49" y="199"/>
                  </a:lnTo>
                  <a:lnTo>
                    <a:pt x="47" y="196"/>
                  </a:lnTo>
                  <a:lnTo>
                    <a:pt x="44" y="195"/>
                  </a:lnTo>
                  <a:lnTo>
                    <a:pt x="45" y="199"/>
                  </a:lnTo>
                  <a:lnTo>
                    <a:pt x="44" y="200"/>
                  </a:lnTo>
                  <a:lnTo>
                    <a:pt x="43" y="198"/>
                  </a:lnTo>
                  <a:lnTo>
                    <a:pt x="42" y="198"/>
                  </a:lnTo>
                  <a:lnTo>
                    <a:pt x="43" y="199"/>
                  </a:lnTo>
                  <a:lnTo>
                    <a:pt x="42" y="199"/>
                  </a:lnTo>
                  <a:lnTo>
                    <a:pt x="42" y="201"/>
                  </a:lnTo>
                  <a:lnTo>
                    <a:pt x="43" y="202"/>
                  </a:lnTo>
                  <a:lnTo>
                    <a:pt x="42" y="206"/>
                  </a:lnTo>
                  <a:lnTo>
                    <a:pt x="43" y="208"/>
                  </a:lnTo>
                  <a:lnTo>
                    <a:pt x="42" y="207"/>
                  </a:lnTo>
                  <a:lnTo>
                    <a:pt x="41" y="208"/>
                  </a:lnTo>
                  <a:lnTo>
                    <a:pt x="39" y="206"/>
                  </a:lnTo>
                  <a:lnTo>
                    <a:pt x="38" y="204"/>
                  </a:lnTo>
                  <a:lnTo>
                    <a:pt x="36" y="204"/>
                  </a:lnTo>
                  <a:lnTo>
                    <a:pt x="37" y="208"/>
                  </a:lnTo>
                  <a:lnTo>
                    <a:pt x="35" y="208"/>
                  </a:lnTo>
                  <a:lnTo>
                    <a:pt x="32" y="210"/>
                  </a:lnTo>
                  <a:lnTo>
                    <a:pt x="33" y="212"/>
                  </a:lnTo>
                  <a:lnTo>
                    <a:pt x="32" y="214"/>
                  </a:lnTo>
                  <a:lnTo>
                    <a:pt x="30" y="217"/>
                  </a:lnTo>
                  <a:lnTo>
                    <a:pt x="30" y="214"/>
                  </a:lnTo>
                  <a:lnTo>
                    <a:pt x="31" y="212"/>
                  </a:lnTo>
                  <a:lnTo>
                    <a:pt x="32" y="211"/>
                  </a:lnTo>
                  <a:lnTo>
                    <a:pt x="31" y="210"/>
                  </a:lnTo>
                  <a:lnTo>
                    <a:pt x="30" y="210"/>
                  </a:lnTo>
                  <a:lnTo>
                    <a:pt x="29" y="208"/>
                  </a:lnTo>
                  <a:lnTo>
                    <a:pt x="27" y="207"/>
                  </a:lnTo>
                  <a:lnTo>
                    <a:pt x="25" y="210"/>
                  </a:lnTo>
                  <a:lnTo>
                    <a:pt x="25" y="207"/>
                  </a:lnTo>
                  <a:lnTo>
                    <a:pt x="24" y="210"/>
                  </a:lnTo>
                  <a:lnTo>
                    <a:pt x="23" y="210"/>
                  </a:lnTo>
                  <a:lnTo>
                    <a:pt x="23" y="208"/>
                  </a:lnTo>
                  <a:lnTo>
                    <a:pt x="21" y="207"/>
                  </a:lnTo>
                  <a:lnTo>
                    <a:pt x="23" y="207"/>
                  </a:lnTo>
                  <a:lnTo>
                    <a:pt x="20" y="206"/>
                  </a:lnTo>
                  <a:lnTo>
                    <a:pt x="23" y="205"/>
                  </a:lnTo>
                  <a:lnTo>
                    <a:pt x="25" y="205"/>
                  </a:lnTo>
                  <a:lnTo>
                    <a:pt x="26" y="204"/>
                  </a:lnTo>
                  <a:lnTo>
                    <a:pt x="27" y="202"/>
                  </a:lnTo>
                  <a:lnTo>
                    <a:pt x="29" y="200"/>
                  </a:lnTo>
                  <a:lnTo>
                    <a:pt x="25" y="200"/>
                  </a:lnTo>
                  <a:lnTo>
                    <a:pt x="24" y="199"/>
                  </a:lnTo>
                  <a:lnTo>
                    <a:pt x="23" y="201"/>
                  </a:lnTo>
                  <a:lnTo>
                    <a:pt x="20" y="199"/>
                  </a:lnTo>
                  <a:lnTo>
                    <a:pt x="19" y="200"/>
                  </a:lnTo>
                  <a:lnTo>
                    <a:pt x="20" y="202"/>
                  </a:lnTo>
                  <a:lnTo>
                    <a:pt x="18" y="205"/>
                  </a:lnTo>
                  <a:lnTo>
                    <a:pt x="15" y="206"/>
                  </a:lnTo>
                  <a:lnTo>
                    <a:pt x="14" y="204"/>
                  </a:lnTo>
                  <a:lnTo>
                    <a:pt x="14" y="200"/>
                  </a:lnTo>
                  <a:lnTo>
                    <a:pt x="15" y="200"/>
                  </a:lnTo>
                  <a:lnTo>
                    <a:pt x="18" y="200"/>
                  </a:lnTo>
                  <a:lnTo>
                    <a:pt x="20" y="199"/>
                  </a:lnTo>
                  <a:lnTo>
                    <a:pt x="21" y="198"/>
                  </a:lnTo>
                  <a:lnTo>
                    <a:pt x="19" y="198"/>
                  </a:lnTo>
                  <a:lnTo>
                    <a:pt x="18" y="196"/>
                  </a:lnTo>
                  <a:lnTo>
                    <a:pt x="17" y="196"/>
                  </a:lnTo>
                  <a:lnTo>
                    <a:pt x="15" y="196"/>
                  </a:lnTo>
                  <a:lnTo>
                    <a:pt x="12" y="198"/>
                  </a:lnTo>
                  <a:lnTo>
                    <a:pt x="13" y="196"/>
                  </a:lnTo>
                  <a:lnTo>
                    <a:pt x="14" y="194"/>
                  </a:lnTo>
                  <a:lnTo>
                    <a:pt x="13" y="194"/>
                  </a:lnTo>
                  <a:lnTo>
                    <a:pt x="12" y="193"/>
                  </a:lnTo>
                  <a:lnTo>
                    <a:pt x="15" y="192"/>
                  </a:lnTo>
                  <a:lnTo>
                    <a:pt x="15" y="194"/>
                  </a:lnTo>
                  <a:lnTo>
                    <a:pt x="18" y="195"/>
                  </a:lnTo>
                  <a:lnTo>
                    <a:pt x="19" y="195"/>
                  </a:lnTo>
                  <a:lnTo>
                    <a:pt x="19" y="193"/>
                  </a:lnTo>
                  <a:lnTo>
                    <a:pt x="18" y="192"/>
                  </a:lnTo>
                  <a:lnTo>
                    <a:pt x="18" y="189"/>
                  </a:lnTo>
                  <a:lnTo>
                    <a:pt x="19" y="190"/>
                  </a:lnTo>
                  <a:lnTo>
                    <a:pt x="19" y="194"/>
                  </a:lnTo>
                  <a:lnTo>
                    <a:pt x="20" y="195"/>
                  </a:lnTo>
                  <a:lnTo>
                    <a:pt x="20" y="194"/>
                  </a:lnTo>
                  <a:lnTo>
                    <a:pt x="20" y="193"/>
                  </a:lnTo>
                  <a:lnTo>
                    <a:pt x="21" y="192"/>
                  </a:lnTo>
                  <a:lnTo>
                    <a:pt x="24" y="193"/>
                  </a:lnTo>
                  <a:lnTo>
                    <a:pt x="27" y="192"/>
                  </a:lnTo>
                  <a:lnTo>
                    <a:pt x="27" y="193"/>
                  </a:lnTo>
                  <a:lnTo>
                    <a:pt x="30" y="194"/>
                  </a:lnTo>
                  <a:lnTo>
                    <a:pt x="33" y="196"/>
                  </a:lnTo>
                  <a:lnTo>
                    <a:pt x="33" y="194"/>
                  </a:lnTo>
                  <a:lnTo>
                    <a:pt x="31" y="194"/>
                  </a:lnTo>
                  <a:lnTo>
                    <a:pt x="33" y="192"/>
                  </a:lnTo>
                  <a:lnTo>
                    <a:pt x="36" y="190"/>
                  </a:lnTo>
                  <a:lnTo>
                    <a:pt x="37" y="188"/>
                  </a:lnTo>
                  <a:lnTo>
                    <a:pt x="37" y="187"/>
                  </a:lnTo>
                  <a:lnTo>
                    <a:pt x="35" y="189"/>
                  </a:lnTo>
                  <a:lnTo>
                    <a:pt x="33" y="192"/>
                  </a:lnTo>
                  <a:lnTo>
                    <a:pt x="30" y="192"/>
                  </a:lnTo>
                  <a:lnTo>
                    <a:pt x="30" y="190"/>
                  </a:lnTo>
                  <a:lnTo>
                    <a:pt x="32" y="187"/>
                  </a:lnTo>
                  <a:lnTo>
                    <a:pt x="33" y="186"/>
                  </a:lnTo>
                  <a:lnTo>
                    <a:pt x="35" y="184"/>
                  </a:lnTo>
                  <a:lnTo>
                    <a:pt x="35" y="186"/>
                  </a:lnTo>
                  <a:lnTo>
                    <a:pt x="36" y="186"/>
                  </a:lnTo>
                  <a:lnTo>
                    <a:pt x="38" y="184"/>
                  </a:lnTo>
                  <a:lnTo>
                    <a:pt x="36" y="182"/>
                  </a:lnTo>
                  <a:lnTo>
                    <a:pt x="32" y="183"/>
                  </a:lnTo>
                  <a:lnTo>
                    <a:pt x="30" y="184"/>
                  </a:lnTo>
                  <a:lnTo>
                    <a:pt x="30" y="182"/>
                  </a:lnTo>
                  <a:lnTo>
                    <a:pt x="26" y="180"/>
                  </a:lnTo>
                  <a:lnTo>
                    <a:pt x="30" y="178"/>
                  </a:lnTo>
                  <a:lnTo>
                    <a:pt x="31" y="175"/>
                  </a:lnTo>
                  <a:lnTo>
                    <a:pt x="29" y="176"/>
                  </a:lnTo>
                  <a:lnTo>
                    <a:pt x="29" y="174"/>
                  </a:lnTo>
                  <a:lnTo>
                    <a:pt x="32" y="171"/>
                  </a:lnTo>
                  <a:lnTo>
                    <a:pt x="35" y="169"/>
                  </a:lnTo>
                  <a:lnTo>
                    <a:pt x="31" y="169"/>
                  </a:lnTo>
                  <a:lnTo>
                    <a:pt x="25" y="170"/>
                  </a:lnTo>
                  <a:lnTo>
                    <a:pt x="20" y="176"/>
                  </a:lnTo>
                  <a:lnTo>
                    <a:pt x="17" y="180"/>
                  </a:lnTo>
                  <a:lnTo>
                    <a:pt x="17" y="178"/>
                  </a:lnTo>
                  <a:lnTo>
                    <a:pt x="18" y="176"/>
                  </a:lnTo>
                  <a:lnTo>
                    <a:pt x="18" y="174"/>
                  </a:lnTo>
                  <a:lnTo>
                    <a:pt x="17" y="175"/>
                  </a:lnTo>
                  <a:lnTo>
                    <a:pt x="18" y="170"/>
                  </a:lnTo>
                  <a:lnTo>
                    <a:pt x="19" y="168"/>
                  </a:lnTo>
                  <a:lnTo>
                    <a:pt x="20" y="166"/>
                  </a:lnTo>
                  <a:lnTo>
                    <a:pt x="23" y="168"/>
                  </a:lnTo>
                  <a:lnTo>
                    <a:pt x="21" y="165"/>
                  </a:lnTo>
                  <a:lnTo>
                    <a:pt x="23" y="165"/>
                  </a:lnTo>
                  <a:lnTo>
                    <a:pt x="25" y="163"/>
                  </a:lnTo>
                  <a:lnTo>
                    <a:pt x="25" y="162"/>
                  </a:lnTo>
                  <a:lnTo>
                    <a:pt x="19" y="162"/>
                  </a:lnTo>
                  <a:lnTo>
                    <a:pt x="13" y="159"/>
                  </a:lnTo>
                  <a:lnTo>
                    <a:pt x="17" y="159"/>
                  </a:lnTo>
                  <a:lnTo>
                    <a:pt x="19" y="159"/>
                  </a:lnTo>
                  <a:lnTo>
                    <a:pt x="19" y="158"/>
                  </a:lnTo>
                  <a:lnTo>
                    <a:pt x="20" y="158"/>
                  </a:lnTo>
                  <a:lnTo>
                    <a:pt x="20" y="157"/>
                  </a:lnTo>
                  <a:lnTo>
                    <a:pt x="21" y="158"/>
                  </a:lnTo>
                  <a:lnTo>
                    <a:pt x="21" y="157"/>
                  </a:lnTo>
                  <a:lnTo>
                    <a:pt x="24" y="157"/>
                  </a:lnTo>
                  <a:lnTo>
                    <a:pt x="26" y="158"/>
                  </a:lnTo>
                  <a:lnTo>
                    <a:pt x="27" y="159"/>
                  </a:lnTo>
                  <a:lnTo>
                    <a:pt x="29" y="162"/>
                  </a:lnTo>
                  <a:lnTo>
                    <a:pt x="29" y="163"/>
                  </a:lnTo>
                  <a:lnTo>
                    <a:pt x="31" y="163"/>
                  </a:lnTo>
                  <a:lnTo>
                    <a:pt x="31" y="162"/>
                  </a:lnTo>
                  <a:lnTo>
                    <a:pt x="31" y="160"/>
                  </a:lnTo>
                  <a:lnTo>
                    <a:pt x="32" y="160"/>
                  </a:lnTo>
                  <a:lnTo>
                    <a:pt x="36" y="159"/>
                  </a:lnTo>
                  <a:lnTo>
                    <a:pt x="39" y="160"/>
                  </a:lnTo>
                  <a:lnTo>
                    <a:pt x="41" y="160"/>
                  </a:lnTo>
                  <a:lnTo>
                    <a:pt x="43" y="160"/>
                  </a:lnTo>
                  <a:lnTo>
                    <a:pt x="45" y="160"/>
                  </a:lnTo>
                  <a:lnTo>
                    <a:pt x="48" y="160"/>
                  </a:lnTo>
                  <a:lnTo>
                    <a:pt x="50" y="160"/>
                  </a:lnTo>
                  <a:lnTo>
                    <a:pt x="50" y="158"/>
                  </a:lnTo>
                  <a:lnTo>
                    <a:pt x="51" y="158"/>
                  </a:lnTo>
                  <a:lnTo>
                    <a:pt x="53" y="160"/>
                  </a:lnTo>
                  <a:lnTo>
                    <a:pt x="54" y="159"/>
                  </a:lnTo>
                  <a:lnTo>
                    <a:pt x="57" y="160"/>
                  </a:lnTo>
                  <a:lnTo>
                    <a:pt x="60" y="160"/>
                  </a:lnTo>
                  <a:lnTo>
                    <a:pt x="62" y="163"/>
                  </a:lnTo>
                  <a:lnTo>
                    <a:pt x="65" y="163"/>
                  </a:lnTo>
                  <a:lnTo>
                    <a:pt x="66" y="163"/>
                  </a:lnTo>
                  <a:lnTo>
                    <a:pt x="67" y="160"/>
                  </a:lnTo>
                  <a:lnTo>
                    <a:pt x="67" y="157"/>
                  </a:lnTo>
                  <a:lnTo>
                    <a:pt x="66" y="158"/>
                  </a:lnTo>
                  <a:lnTo>
                    <a:pt x="65" y="157"/>
                  </a:lnTo>
                  <a:lnTo>
                    <a:pt x="63" y="158"/>
                  </a:lnTo>
                  <a:lnTo>
                    <a:pt x="63" y="157"/>
                  </a:lnTo>
                  <a:lnTo>
                    <a:pt x="61" y="156"/>
                  </a:lnTo>
                  <a:lnTo>
                    <a:pt x="60" y="154"/>
                  </a:lnTo>
                  <a:lnTo>
                    <a:pt x="59" y="156"/>
                  </a:lnTo>
                  <a:lnTo>
                    <a:pt x="57" y="157"/>
                  </a:lnTo>
                  <a:lnTo>
                    <a:pt x="57" y="153"/>
                  </a:lnTo>
                  <a:lnTo>
                    <a:pt x="57" y="151"/>
                  </a:lnTo>
                  <a:lnTo>
                    <a:pt x="55" y="152"/>
                  </a:lnTo>
                  <a:lnTo>
                    <a:pt x="54" y="153"/>
                  </a:lnTo>
                  <a:lnTo>
                    <a:pt x="53" y="152"/>
                  </a:lnTo>
                  <a:lnTo>
                    <a:pt x="50" y="151"/>
                  </a:lnTo>
                  <a:lnTo>
                    <a:pt x="49" y="153"/>
                  </a:lnTo>
                  <a:lnTo>
                    <a:pt x="49" y="151"/>
                  </a:lnTo>
                  <a:lnTo>
                    <a:pt x="50" y="150"/>
                  </a:lnTo>
                  <a:lnTo>
                    <a:pt x="49" y="148"/>
                  </a:lnTo>
                  <a:lnTo>
                    <a:pt x="51" y="147"/>
                  </a:lnTo>
                  <a:lnTo>
                    <a:pt x="54" y="147"/>
                  </a:lnTo>
                  <a:lnTo>
                    <a:pt x="55" y="148"/>
                  </a:lnTo>
                  <a:lnTo>
                    <a:pt x="55" y="147"/>
                  </a:lnTo>
                  <a:lnTo>
                    <a:pt x="55" y="145"/>
                  </a:lnTo>
                  <a:lnTo>
                    <a:pt x="53" y="144"/>
                  </a:lnTo>
                  <a:lnTo>
                    <a:pt x="53" y="142"/>
                  </a:lnTo>
                  <a:lnTo>
                    <a:pt x="51" y="144"/>
                  </a:lnTo>
                  <a:lnTo>
                    <a:pt x="51" y="142"/>
                  </a:lnTo>
                  <a:lnTo>
                    <a:pt x="54" y="140"/>
                  </a:lnTo>
                  <a:lnTo>
                    <a:pt x="57" y="140"/>
                  </a:lnTo>
                  <a:lnTo>
                    <a:pt x="59" y="141"/>
                  </a:lnTo>
                  <a:lnTo>
                    <a:pt x="60" y="140"/>
                  </a:lnTo>
                  <a:lnTo>
                    <a:pt x="61" y="139"/>
                  </a:lnTo>
                  <a:lnTo>
                    <a:pt x="62" y="136"/>
                  </a:lnTo>
                  <a:lnTo>
                    <a:pt x="66" y="136"/>
                  </a:lnTo>
                  <a:lnTo>
                    <a:pt x="65" y="134"/>
                  </a:lnTo>
                  <a:lnTo>
                    <a:pt x="62" y="133"/>
                  </a:lnTo>
                  <a:lnTo>
                    <a:pt x="62" y="131"/>
                  </a:lnTo>
                  <a:lnTo>
                    <a:pt x="65" y="133"/>
                  </a:lnTo>
                  <a:lnTo>
                    <a:pt x="66" y="131"/>
                  </a:lnTo>
                  <a:lnTo>
                    <a:pt x="67" y="130"/>
                  </a:lnTo>
                  <a:lnTo>
                    <a:pt x="69" y="130"/>
                  </a:lnTo>
                  <a:lnTo>
                    <a:pt x="72" y="129"/>
                  </a:lnTo>
                  <a:lnTo>
                    <a:pt x="73" y="128"/>
                  </a:lnTo>
                  <a:lnTo>
                    <a:pt x="74" y="127"/>
                  </a:lnTo>
                  <a:lnTo>
                    <a:pt x="73" y="124"/>
                  </a:lnTo>
                  <a:lnTo>
                    <a:pt x="73" y="122"/>
                  </a:lnTo>
                  <a:lnTo>
                    <a:pt x="71" y="125"/>
                  </a:lnTo>
                  <a:lnTo>
                    <a:pt x="67" y="128"/>
                  </a:lnTo>
                  <a:lnTo>
                    <a:pt x="68" y="125"/>
                  </a:lnTo>
                  <a:lnTo>
                    <a:pt x="72" y="122"/>
                  </a:lnTo>
                  <a:lnTo>
                    <a:pt x="73" y="121"/>
                  </a:lnTo>
                  <a:lnTo>
                    <a:pt x="72" y="121"/>
                  </a:lnTo>
                  <a:lnTo>
                    <a:pt x="72" y="118"/>
                  </a:lnTo>
                  <a:lnTo>
                    <a:pt x="72" y="117"/>
                  </a:lnTo>
                  <a:lnTo>
                    <a:pt x="69" y="118"/>
                  </a:lnTo>
                  <a:lnTo>
                    <a:pt x="66" y="119"/>
                  </a:lnTo>
                  <a:lnTo>
                    <a:pt x="62" y="121"/>
                  </a:lnTo>
                  <a:lnTo>
                    <a:pt x="63" y="118"/>
                  </a:lnTo>
                  <a:lnTo>
                    <a:pt x="65" y="116"/>
                  </a:lnTo>
                  <a:lnTo>
                    <a:pt x="66" y="115"/>
                  </a:lnTo>
                  <a:lnTo>
                    <a:pt x="68" y="113"/>
                  </a:lnTo>
                  <a:lnTo>
                    <a:pt x="72" y="115"/>
                  </a:lnTo>
                  <a:lnTo>
                    <a:pt x="72" y="112"/>
                  </a:lnTo>
                  <a:lnTo>
                    <a:pt x="63" y="112"/>
                  </a:lnTo>
                  <a:lnTo>
                    <a:pt x="62" y="111"/>
                  </a:lnTo>
                  <a:lnTo>
                    <a:pt x="65" y="110"/>
                  </a:lnTo>
                  <a:lnTo>
                    <a:pt x="67" y="109"/>
                  </a:lnTo>
                  <a:lnTo>
                    <a:pt x="68" y="109"/>
                  </a:lnTo>
                  <a:lnTo>
                    <a:pt x="69" y="109"/>
                  </a:lnTo>
                  <a:lnTo>
                    <a:pt x="72" y="109"/>
                  </a:lnTo>
                  <a:lnTo>
                    <a:pt x="74" y="111"/>
                  </a:lnTo>
                  <a:lnTo>
                    <a:pt x="74" y="109"/>
                  </a:lnTo>
                  <a:lnTo>
                    <a:pt x="77" y="109"/>
                  </a:lnTo>
                  <a:lnTo>
                    <a:pt x="77" y="106"/>
                  </a:lnTo>
                  <a:lnTo>
                    <a:pt x="74" y="105"/>
                  </a:lnTo>
                  <a:lnTo>
                    <a:pt x="73" y="104"/>
                  </a:lnTo>
                  <a:lnTo>
                    <a:pt x="72" y="101"/>
                  </a:lnTo>
                  <a:lnTo>
                    <a:pt x="72" y="99"/>
                  </a:lnTo>
                  <a:lnTo>
                    <a:pt x="73" y="97"/>
                  </a:lnTo>
                  <a:lnTo>
                    <a:pt x="74" y="98"/>
                  </a:lnTo>
                  <a:lnTo>
                    <a:pt x="76" y="100"/>
                  </a:lnTo>
                  <a:lnTo>
                    <a:pt x="77" y="99"/>
                  </a:lnTo>
                  <a:lnTo>
                    <a:pt x="78" y="103"/>
                  </a:lnTo>
                  <a:lnTo>
                    <a:pt x="78" y="106"/>
                  </a:lnTo>
                  <a:lnTo>
                    <a:pt x="79" y="109"/>
                  </a:lnTo>
                  <a:lnTo>
                    <a:pt x="80" y="110"/>
                  </a:lnTo>
                  <a:lnTo>
                    <a:pt x="83" y="111"/>
                  </a:lnTo>
                  <a:lnTo>
                    <a:pt x="85" y="111"/>
                  </a:lnTo>
                  <a:lnTo>
                    <a:pt x="88" y="110"/>
                  </a:lnTo>
                  <a:lnTo>
                    <a:pt x="90" y="109"/>
                  </a:lnTo>
                  <a:lnTo>
                    <a:pt x="91" y="109"/>
                  </a:lnTo>
                  <a:lnTo>
                    <a:pt x="92" y="107"/>
                  </a:lnTo>
                  <a:lnTo>
                    <a:pt x="94" y="107"/>
                  </a:lnTo>
                  <a:lnTo>
                    <a:pt x="95" y="106"/>
                  </a:lnTo>
                  <a:lnTo>
                    <a:pt x="95" y="105"/>
                  </a:lnTo>
                  <a:lnTo>
                    <a:pt x="96" y="104"/>
                  </a:lnTo>
                  <a:lnTo>
                    <a:pt x="96" y="101"/>
                  </a:lnTo>
                  <a:lnTo>
                    <a:pt x="95" y="100"/>
                  </a:lnTo>
                  <a:lnTo>
                    <a:pt x="95" y="99"/>
                  </a:lnTo>
                  <a:lnTo>
                    <a:pt x="95" y="98"/>
                  </a:lnTo>
                  <a:lnTo>
                    <a:pt x="96" y="98"/>
                  </a:lnTo>
                  <a:lnTo>
                    <a:pt x="97" y="99"/>
                  </a:lnTo>
                  <a:lnTo>
                    <a:pt x="98" y="98"/>
                  </a:lnTo>
                  <a:lnTo>
                    <a:pt x="97" y="97"/>
                  </a:lnTo>
                  <a:lnTo>
                    <a:pt x="100" y="97"/>
                  </a:lnTo>
                  <a:lnTo>
                    <a:pt x="100" y="95"/>
                  </a:lnTo>
                  <a:lnTo>
                    <a:pt x="98" y="91"/>
                  </a:lnTo>
                  <a:lnTo>
                    <a:pt x="97" y="91"/>
                  </a:lnTo>
                  <a:lnTo>
                    <a:pt x="96" y="92"/>
                  </a:lnTo>
                  <a:lnTo>
                    <a:pt x="95" y="91"/>
                  </a:lnTo>
                  <a:lnTo>
                    <a:pt x="95" y="89"/>
                  </a:lnTo>
                  <a:lnTo>
                    <a:pt x="95" y="88"/>
                  </a:lnTo>
                  <a:lnTo>
                    <a:pt x="96" y="88"/>
                  </a:lnTo>
                  <a:lnTo>
                    <a:pt x="98" y="89"/>
                  </a:lnTo>
                  <a:lnTo>
                    <a:pt x="97" y="87"/>
                  </a:lnTo>
                  <a:lnTo>
                    <a:pt x="97" y="86"/>
                  </a:lnTo>
                  <a:lnTo>
                    <a:pt x="98" y="86"/>
                  </a:lnTo>
                  <a:lnTo>
                    <a:pt x="98" y="85"/>
                  </a:lnTo>
                  <a:lnTo>
                    <a:pt x="98" y="83"/>
                  </a:lnTo>
                  <a:lnTo>
                    <a:pt x="100" y="83"/>
                  </a:lnTo>
                  <a:lnTo>
                    <a:pt x="101" y="83"/>
                  </a:lnTo>
                  <a:lnTo>
                    <a:pt x="101" y="86"/>
                  </a:lnTo>
                  <a:lnTo>
                    <a:pt x="102" y="86"/>
                  </a:lnTo>
                  <a:lnTo>
                    <a:pt x="102" y="87"/>
                  </a:lnTo>
                  <a:lnTo>
                    <a:pt x="100" y="88"/>
                  </a:lnTo>
                  <a:lnTo>
                    <a:pt x="100" y="89"/>
                  </a:lnTo>
                  <a:lnTo>
                    <a:pt x="100" y="92"/>
                  </a:lnTo>
                  <a:lnTo>
                    <a:pt x="100" y="94"/>
                  </a:lnTo>
                  <a:lnTo>
                    <a:pt x="102" y="93"/>
                  </a:lnTo>
                  <a:lnTo>
                    <a:pt x="101" y="92"/>
                  </a:lnTo>
                  <a:lnTo>
                    <a:pt x="101" y="91"/>
                  </a:lnTo>
                  <a:lnTo>
                    <a:pt x="101" y="89"/>
                  </a:lnTo>
                  <a:lnTo>
                    <a:pt x="102" y="89"/>
                  </a:lnTo>
                  <a:lnTo>
                    <a:pt x="104" y="89"/>
                  </a:lnTo>
                  <a:lnTo>
                    <a:pt x="103" y="93"/>
                  </a:lnTo>
                  <a:lnTo>
                    <a:pt x="104" y="94"/>
                  </a:lnTo>
                  <a:lnTo>
                    <a:pt x="106" y="95"/>
                  </a:lnTo>
                  <a:lnTo>
                    <a:pt x="103" y="98"/>
                  </a:lnTo>
                  <a:lnTo>
                    <a:pt x="104" y="98"/>
                  </a:lnTo>
                  <a:lnTo>
                    <a:pt x="106" y="97"/>
                  </a:lnTo>
                  <a:lnTo>
                    <a:pt x="107" y="97"/>
                  </a:lnTo>
                  <a:lnTo>
                    <a:pt x="108" y="95"/>
                  </a:lnTo>
                  <a:lnTo>
                    <a:pt x="109" y="94"/>
                  </a:lnTo>
                  <a:lnTo>
                    <a:pt x="108" y="93"/>
                  </a:lnTo>
                  <a:lnTo>
                    <a:pt x="106" y="93"/>
                  </a:lnTo>
                  <a:lnTo>
                    <a:pt x="106" y="91"/>
                  </a:lnTo>
                  <a:lnTo>
                    <a:pt x="104" y="87"/>
                  </a:lnTo>
                  <a:lnTo>
                    <a:pt x="106" y="88"/>
                  </a:lnTo>
                  <a:lnTo>
                    <a:pt x="106" y="87"/>
                  </a:lnTo>
                  <a:lnTo>
                    <a:pt x="107" y="87"/>
                  </a:lnTo>
                  <a:lnTo>
                    <a:pt x="108" y="87"/>
                  </a:lnTo>
                  <a:lnTo>
                    <a:pt x="109" y="88"/>
                  </a:lnTo>
                  <a:lnTo>
                    <a:pt x="110" y="87"/>
                  </a:lnTo>
                  <a:lnTo>
                    <a:pt x="112" y="88"/>
                  </a:lnTo>
                  <a:lnTo>
                    <a:pt x="113" y="88"/>
                  </a:lnTo>
                  <a:lnTo>
                    <a:pt x="113" y="89"/>
                  </a:lnTo>
                  <a:lnTo>
                    <a:pt x="113" y="92"/>
                  </a:lnTo>
                  <a:lnTo>
                    <a:pt x="114" y="92"/>
                  </a:lnTo>
                  <a:lnTo>
                    <a:pt x="115" y="91"/>
                  </a:lnTo>
                  <a:lnTo>
                    <a:pt x="115" y="93"/>
                  </a:lnTo>
                  <a:lnTo>
                    <a:pt x="115" y="94"/>
                  </a:lnTo>
                  <a:lnTo>
                    <a:pt x="116" y="92"/>
                  </a:lnTo>
                  <a:lnTo>
                    <a:pt x="116" y="93"/>
                  </a:lnTo>
                  <a:lnTo>
                    <a:pt x="119" y="93"/>
                  </a:lnTo>
                  <a:lnTo>
                    <a:pt x="120" y="91"/>
                  </a:lnTo>
                  <a:lnTo>
                    <a:pt x="118" y="92"/>
                  </a:lnTo>
                  <a:lnTo>
                    <a:pt x="118" y="91"/>
                  </a:lnTo>
                  <a:lnTo>
                    <a:pt x="118" y="89"/>
                  </a:lnTo>
                  <a:lnTo>
                    <a:pt x="119" y="89"/>
                  </a:lnTo>
                  <a:lnTo>
                    <a:pt x="119" y="87"/>
                  </a:lnTo>
                  <a:lnTo>
                    <a:pt x="120" y="87"/>
                  </a:lnTo>
                  <a:lnTo>
                    <a:pt x="121" y="87"/>
                  </a:lnTo>
                  <a:lnTo>
                    <a:pt x="121" y="88"/>
                  </a:lnTo>
                  <a:lnTo>
                    <a:pt x="122" y="87"/>
                  </a:lnTo>
                  <a:lnTo>
                    <a:pt x="124" y="86"/>
                  </a:lnTo>
                  <a:lnTo>
                    <a:pt x="124" y="81"/>
                  </a:lnTo>
                  <a:lnTo>
                    <a:pt x="125" y="83"/>
                  </a:lnTo>
                  <a:lnTo>
                    <a:pt x="125" y="85"/>
                  </a:lnTo>
                  <a:lnTo>
                    <a:pt x="126" y="85"/>
                  </a:lnTo>
                  <a:lnTo>
                    <a:pt x="126" y="87"/>
                  </a:lnTo>
                  <a:lnTo>
                    <a:pt x="125" y="88"/>
                  </a:lnTo>
                  <a:lnTo>
                    <a:pt x="125" y="91"/>
                  </a:lnTo>
                  <a:lnTo>
                    <a:pt x="127" y="92"/>
                  </a:lnTo>
                  <a:lnTo>
                    <a:pt x="127" y="91"/>
                  </a:lnTo>
                  <a:lnTo>
                    <a:pt x="130" y="92"/>
                  </a:lnTo>
                  <a:lnTo>
                    <a:pt x="130" y="95"/>
                  </a:lnTo>
                  <a:lnTo>
                    <a:pt x="132" y="93"/>
                  </a:lnTo>
                  <a:lnTo>
                    <a:pt x="133" y="94"/>
                  </a:lnTo>
                  <a:lnTo>
                    <a:pt x="135" y="94"/>
                  </a:lnTo>
                  <a:lnTo>
                    <a:pt x="135" y="95"/>
                  </a:lnTo>
                  <a:lnTo>
                    <a:pt x="136" y="97"/>
                  </a:lnTo>
                  <a:lnTo>
                    <a:pt x="137" y="98"/>
                  </a:lnTo>
                  <a:lnTo>
                    <a:pt x="138" y="100"/>
                  </a:lnTo>
                  <a:lnTo>
                    <a:pt x="138" y="101"/>
                  </a:lnTo>
                  <a:lnTo>
                    <a:pt x="135" y="98"/>
                  </a:lnTo>
                  <a:lnTo>
                    <a:pt x="130" y="97"/>
                  </a:lnTo>
                  <a:lnTo>
                    <a:pt x="128" y="94"/>
                  </a:lnTo>
                  <a:lnTo>
                    <a:pt x="128" y="97"/>
                  </a:lnTo>
                  <a:lnTo>
                    <a:pt x="130" y="98"/>
                  </a:lnTo>
                  <a:lnTo>
                    <a:pt x="131" y="101"/>
                  </a:lnTo>
                  <a:lnTo>
                    <a:pt x="132" y="101"/>
                  </a:lnTo>
                  <a:lnTo>
                    <a:pt x="135" y="103"/>
                  </a:lnTo>
                  <a:lnTo>
                    <a:pt x="132" y="104"/>
                  </a:lnTo>
                  <a:lnTo>
                    <a:pt x="133" y="109"/>
                  </a:lnTo>
                  <a:lnTo>
                    <a:pt x="135" y="111"/>
                  </a:lnTo>
                  <a:lnTo>
                    <a:pt x="137" y="111"/>
                  </a:lnTo>
                  <a:lnTo>
                    <a:pt x="137" y="113"/>
                  </a:lnTo>
                  <a:lnTo>
                    <a:pt x="138" y="113"/>
                  </a:lnTo>
                  <a:lnTo>
                    <a:pt x="139" y="113"/>
                  </a:lnTo>
                  <a:lnTo>
                    <a:pt x="139" y="117"/>
                  </a:lnTo>
                  <a:lnTo>
                    <a:pt x="141" y="118"/>
                  </a:lnTo>
                  <a:lnTo>
                    <a:pt x="142" y="118"/>
                  </a:lnTo>
                  <a:lnTo>
                    <a:pt x="143" y="116"/>
                  </a:lnTo>
                  <a:lnTo>
                    <a:pt x="144" y="115"/>
                  </a:lnTo>
                  <a:lnTo>
                    <a:pt x="145" y="115"/>
                  </a:lnTo>
                  <a:lnTo>
                    <a:pt x="148" y="113"/>
                  </a:lnTo>
                  <a:lnTo>
                    <a:pt x="145" y="112"/>
                  </a:lnTo>
                  <a:lnTo>
                    <a:pt x="143" y="113"/>
                  </a:lnTo>
                  <a:lnTo>
                    <a:pt x="141" y="112"/>
                  </a:lnTo>
                  <a:lnTo>
                    <a:pt x="141" y="111"/>
                  </a:lnTo>
                  <a:lnTo>
                    <a:pt x="142" y="111"/>
                  </a:lnTo>
                  <a:lnTo>
                    <a:pt x="143" y="109"/>
                  </a:lnTo>
                  <a:lnTo>
                    <a:pt x="144" y="109"/>
                  </a:lnTo>
                  <a:lnTo>
                    <a:pt x="145" y="107"/>
                  </a:lnTo>
                  <a:lnTo>
                    <a:pt x="147" y="107"/>
                  </a:lnTo>
                  <a:lnTo>
                    <a:pt x="148" y="106"/>
                  </a:lnTo>
                  <a:lnTo>
                    <a:pt x="148" y="105"/>
                  </a:lnTo>
                  <a:lnTo>
                    <a:pt x="147" y="103"/>
                  </a:lnTo>
                  <a:lnTo>
                    <a:pt x="143" y="105"/>
                  </a:lnTo>
                  <a:lnTo>
                    <a:pt x="142" y="106"/>
                  </a:lnTo>
                  <a:lnTo>
                    <a:pt x="142" y="105"/>
                  </a:lnTo>
                  <a:lnTo>
                    <a:pt x="141" y="104"/>
                  </a:lnTo>
                  <a:lnTo>
                    <a:pt x="141" y="103"/>
                  </a:lnTo>
                  <a:lnTo>
                    <a:pt x="141" y="100"/>
                  </a:lnTo>
                  <a:lnTo>
                    <a:pt x="141" y="99"/>
                  </a:lnTo>
                  <a:lnTo>
                    <a:pt x="138" y="94"/>
                  </a:lnTo>
                  <a:lnTo>
                    <a:pt x="141" y="97"/>
                  </a:lnTo>
                  <a:lnTo>
                    <a:pt x="143" y="95"/>
                  </a:lnTo>
                  <a:lnTo>
                    <a:pt x="144" y="95"/>
                  </a:lnTo>
                  <a:lnTo>
                    <a:pt x="147" y="97"/>
                  </a:lnTo>
                  <a:lnTo>
                    <a:pt x="148" y="93"/>
                  </a:lnTo>
                  <a:lnTo>
                    <a:pt x="147" y="92"/>
                  </a:lnTo>
                  <a:lnTo>
                    <a:pt x="145" y="93"/>
                  </a:lnTo>
                  <a:lnTo>
                    <a:pt x="143" y="93"/>
                  </a:lnTo>
                  <a:lnTo>
                    <a:pt x="143" y="91"/>
                  </a:lnTo>
                  <a:lnTo>
                    <a:pt x="142" y="89"/>
                  </a:lnTo>
                  <a:lnTo>
                    <a:pt x="145" y="89"/>
                  </a:lnTo>
                  <a:lnTo>
                    <a:pt x="148" y="89"/>
                  </a:lnTo>
                  <a:lnTo>
                    <a:pt x="149" y="89"/>
                  </a:lnTo>
                  <a:lnTo>
                    <a:pt x="149" y="88"/>
                  </a:lnTo>
                  <a:lnTo>
                    <a:pt x="150" y="88"/>
                  </a:lnTo>
                  <a:lnTo>
                    <a:pt x="150" y="87"/>
                  </a:lnTo>
                  <a:lnTo>
                    <a:pt x="153" y="89"/>
                  </a:lnTo>
                  <a:lnTo>
                    <a:pt x="153" y="91"/>
                  </a:lnTo>
                  <a:lnTo>
                    <a:pt x="154" y="91"/>
                  </a:lnTo>
                  <a:lnTo>
                    <a:pt x="154" y="92"/>
                  </a:lnTo>
                  <a:lnTo>
                    <a:pt x="156" y="94"/>
                  </a:lnTo>
                  <a:lnTo>
                    <a:pt x="157" y="95"/>
                  </a:lnTo>
                  <a:lnTo>
                    <a:pt x="159" y="97"/>
                  </a:lnTo>
                  <a:lnTo>
                    <a:pt x="159" y="99"/>
                  </a:lnTo>
                  <a:lnTo>
                    <a:pt x="160" y="101"/>
                  </a:lnTo>
                  <a:lnTo>
                    <a:pt x="160" y="103"/>
                  </a:lnTo>
                  <a:lnTo>
                    <a:pt x="161" y="101"/>
                  </a:lnTo>
                  <a:lnTo>
                    <a:pt x="162" y="103"/>
                  </a:lnTo>
                  <a:lnTo>
                    <a:pt x="163" y="101"/>
                  </a:lnTo>
                  <a:lnTo>
                    <a:pt x="165" y="101"/>
                  </a:lnTo>
                  <a:lnTo>
                    <a:pt x="166" y="99"/>
                  </a:lnTo>
                  <a:lnTo>
                    <a:pt x="167" y="100"/>
                  </a:lnTo>
                  <a:lnTo>
                    <a:pt x="169" y="103"/>
                  </a:lnTo>
                  <a:lnTo>
                    <a:pt x="171" y="104"/>
                  </a:lnTo>
                  <a:lnTo>
                    <a:pt x="173" y="105"/>
                  </a:lnTo>
                  <a:lnTo>
                    <a:pt x="173" y="107"/>
                  </a:lnTo>
                  <a:lnTo>
                    <a:pt x="175" y="107"/>
                  </a:lnTo>
                  <a:lnTo>
                    <a:pt x="177" y="106"/>
                  </a:lnTo>
                  <a:lnTo>
                    <a:pt x="175" y="106"/>
                  </a:lnTo>
                  <a:lnTo>
                    <a:pt x="175" y="104"/>
                  </a:lnTo>
                  <a:lnTo>
                    <a:pt x="177" y="103"/>
                  </a:lnTo>
                  <a:lnTo>
                    <a:pt x="178" y="103"/>
                  </a:lnTo>
                  <a:lnTo>
                    <a:pt x="178" y="101"/>
                  </a:lnTo>
                  <a:lnTo>
                    <a:pt x="179" y="100"/>
                  </a:lnTo>
                  <a:lnTo>
                    <a:pt x="181" y="100"/>
                  </a:lnTo>
                  <a:lnTo>
                    <a:pt x="183" y="101"/>
                  </a:lnTo>
                  <a:lnTo>
                    <a:pt x="184" y="101"/>
                  </a:lnTo>
                  <a:lnTo>
                    <a:pt x="185" y="101"/>
                  </a:lnTo>
                  <a:lnTo>
                    <a:pt x="185" y="103"/>
                  </a:lnTo>
                  <a:lnTo>
                    <a:pt x="185" y="105"/>
                  </a:lnTo>
                  <a:lnTo>
                    <a:pt x="186" y="104"/>
                  </a:lnTo>
                  <a:lnTo>
                    <a:pt x="187" y="103"/>
                  </a:lnTo>
                  <a:lnTo>
                    <a:pt x="189" y="101"/>
                  </a:lnTo>
                  <a:lnTo>
                    <a:pt x="191" y="104"/>
                  </a:lnTo>
                  <a:lnTo>
                    <a:pt x="191" y="101"/>
                  </a:lnTo>
                  <a:lnTo>
                    <a:pt x="189" y="101"/>
                  </a:lnTo>
                  <a:lnTo>
                    <a:pt x="187" y="100"/>
                  </a:lnTo>
                  <a:lnTo>
                    <a:pt x="187" y="97"/>
                  </a:lnTo>
                  <a:lnTo>
                    <a:pt x="189" y="98"/>
                  </a:lnTo>
                  <a:lnTo>
                    <a:pt x="190" y="98"/>
                  </a:lnTo>
                  <a:lnTo>
                    <a:pt x="191" y="97"/>
                  </a:lnTo>
                  <a:lnTo>
                    <a:pt x="192" y="95"/>
                  </a:lnTo>
                  <a:lnTo>
                    <a:pt x="194" y="95"/>
                  </a:lnTo>
                  <a:lnTo>
                    <a:pt x="195" y="97"/>
                  </a:lnTo>
                  <a:lnTo>
                    <a:pt x="196" y="98"/>
                  </a:lnTo>
                  <a:lnTo>
                    <a:pt x="197" y="97"/>
                  </a:lnTo>
                  <a:lnTo>
                    <a:pt x="198" y="97"/>
                  </a:lnTo>
                  <a:lnTo>
                    <a:pt x="197" y="95"/>
                  </a:lnTo>
                  <a:lnTo>
                    <a:pt x="197" y="94"/>
                  </a:lnTo>
                  <a:lnTo>
                    <a:pt x="198" y="93"/>
                  </a:lnTo>
                  <a:lnTo>
                    <a:pt x="200" y="92"/>
                  </a:lnTo>
                  <a:lnTo>
                    <a:pt x="201" y="91"/>
                  </a:lnTo>
                  <a:lnTo>
                    <a:pt x="202" y="89"/>
                  </a:lnTo>
                  <a:lnTo>
                    <a:pt x="198" y="91"/>
                  </a:lnTo>
                  <a:lnTo>
                    <a:pt x="196" y="92"/>
                  </a:lnTo>
                  <a:lnTo>
                    <a:pt x="196" y="91"/>
                  </a:lnTo>
                  <a:lnTo>
                    <a:pt x="197" y="88"/>
                  </a:lnTo>
                  <a:lnTo>
                    <a:pt x="198" y="86"/>
                  </a:lnTo>
                  <a:lnTo>
                    <a:pt x="200" y="86"/>
                  </a:lnTo>
                  <a:lnTo>
                    <a:pt x="201" y="85"/>
                  </a:lnTo>
                  <a:lnTo>
                    <a:pt x="201" y="83"/>
                  </a:lnTo>
                  <a:lnTo>
                    <a:pt x="202" y="82"/>
                  </a:lnTo>
                  <a:lnTo>
                    <a:pt x="207" y="83"/>
                  </a:lnTo>
                  <a:lnTo>
                    <a:pt x="208" y="82"/>
                  </a:lnTo>
                  <a:lnTo>
                    <a:pt x="210" y="82"/>
                  </a:lnTo>
                  <a:lnTo>
                    <a:pt x="208" y="77"/>
                  </a:lnTo>
                  <a:lnTo>
                    <a:pt x="208" y="79"/>
                  </a:lnTo>
                  <a:lnTo>
                    <a:pt x="207" y="80"/>
                  </a:lnTo>
                  <a:lnTo>
                    <a:pt x="207" y="77"/>
                  </a:lnTo>
                  <a:lnTo>
                    <a:pt x="204" y="76"/>
                  </a:lnTo>
                  <a:lnTo>
                    <a:pt x="201" y="77"/>
                  </a:lnTo>
                  <a:lnTo>
                    <a:pt x="197" y="77"/>
                  </a:lnTo>
                  <a:lnTo>
                    <a:pt x="197" y="76"/>
                  </a:lnTo>
                  <a:lnTo>
                    <a:pt x="198" y="75"/>
                  </a:lnTo>
                  <a:lnTo>
                    <a:pt x="201" y="75"/>
                  </a:lnTo>
                  <a:lnTo>
                    <a:pt x="203" y="74"/>
                  </a:lnTo>
                  <a:lnTo>
                    <a:pt x="204" y="75"/>
                  </a:lnTo>
                  <a:lnTo>
                    <a:pt x="207" y="76"/>
                  </a:lnTo>
                  <a:lnTo>
                    <a:pt x="208" y="76"/>
                  </a:lnTo>
                  <a:lnTo>
                    <a:pt x="206" y="69"/>
                  </a:lnTo>
                  <a:lnTo>
                    <a:pt x="203" y="65"/>
                  </a:lnTo>
                  <a:lnTo>
                    <a:pt x="203" y="67"/>
                  </a:lnTo>
                  <a:lnTo>
                    <a:pt x="201" y="67"/>
                  </a:lnTo>
                  <a:lnTo>
                    <a:pt x="200" y="68"/>
                  </a:lnTo>
                  <a:lnTo>
                    <a:pt x="200" y="65"/>
                  </a:lnTo>
                  <a:lnTo>
                    <a:pt x="201" y="63"/>
                  </a:lnTo>
                  <a:lnTo>
                    <a:pt x="201" y="64"/>
                  </a:lnTo>
                  <a:lnTo>
                    <a:pt x="202" y="62"/>
                  </a:lnTo>
                  <a:lnTo>
                    <a:pt x="200" y="62"/>
                  </a:lnTo>
                  <a:lnTo>
                    <a:pt x="197" y="63"/>
                  </a:lnTo>
                  <a:lnTo>
                    <a:pt x="195" y="65"/>
                  </a:lnTo>
                  <a:lnTo>
                    <a:pt x="196" y="62"/>
                  </a:lnTo>
                  <a:lnTo>
                    <a:pt x="196" y="61"/>
                  </a:lnTo>
                  <a:lnTo>
                    <a:pt x="197" y="59"/>
                  </a:lnTo>
                  <a:lnTo>
                    <a:pt x="200" y="61"/>
                  </a:lnTo>
                  <a:lnTo>
                    <a:pt x="201" y="62"/>
                  </a:lnTo>
                  <a:lnTo>
                    <a:pt x="198" y="57"/>
                  </a:lnTo>
                  <a:lnTo>
                    <a:pt x="195" y="57"/>
                  </a:lnTo>
                  <a:lnTo>
                    <a:pt x="192" y="59"/>
                  </a:lnTo>
                  <a:lnTo>
                    <a:pt x="192" y="62"/>
                  </a:lnTo>
                  <a:lnTo>
                    <a:pt x="190" y="62"/>
                  </a:lnTo>
                  <a:lnTo>
                    <a:pt x="190" y="61"/>
                  </a:lnTo>
                  <a:lnTo>
                    <a:pt x="189" y="59"/>
                  </a:lnTo>
                  <a:lnTo>
                    <a:pt x="189" y="57"/>
                  </a:lnTo>
                  <a:lnTo>
                    <a:pt x="190" y="56"/>
                  </a:lnTo>
                  <a:lnTo>
                    <a:pt x="192" y="57"/>
                  </a:lnTo>
                  <a:lnTo>
                    <a:pt x="196" y="56"/>
                  </a:lnTo>
                  <a:lnTo>
                    <a:pt x="197" y="56"/>
                  </a:lnTo>
                  <a:lnTo>
                    <a:pt x="195" y="56"/>
                  </a:lnTo>
                  <a:lnTo>
                    <a:pt x="192" y="56"/>
                  </a:lnTo>
                  <a:lnTo>
                    <a:pt x="194" y="55"/>
                  </a:lnTo>
                  <a:lnTo>
                    <a:pt x="195" y="53"/>
                  </a:lnTo>
                  <a:lnTo>
                    <a:pt x="194" y="53"/>
                  </a:lnTo>
                  <a:lnTo>
                    <a:pt x="192" y="53"/>
                  </a:lnTo>
                  <a:lnTo>
                    <a:pt x="191" y="55"/>
                  </a:lnTo>
                  <a:lnTo>
                    <a:pt x="190" y="53"/>
                  </a:lnTo>
                  <a:lnTo>
                    <a:pt x="192" y="52"/>
                  </a:lnTo>
                  <a:lnTo>
                    <a:pt x="195" y="52"/>
                  </a:lnTo>
                  <a:lnTo>
                    <a:pt x="194" y="51"/>
                  </a:lnTo>
                  <a:lnTo>
                    <a:pt x="191" y="51"/>
                  </a:lnTo>
                  <a:lnTo>
                    <a:pt x="189" y="52"/>
                  </a:lnTo>
                  <a:lnTo>
                    <a:pt x="187" y="50"/>
                  </a:lnTo>
                  <a:lnTo>
                    <a:pt x="190" y="49"/>
                  </a:lnTo>
                  <a:lnTo>
                    <a:pt x="191" y="51"/>
                  </a:lnTo>
                  <a:lnTo>
                    <a:pt x="194" y="50"/>
                  </a:lnTo>
                  <a:lnTo>
                    <a:pt x="191" y="49"/>
                  </a:lnTo>
                  <a:lnTo>
                    <a:pt x="189" y="47"/>
                  </a:lnTo>
                  <a:lnTo>
                    <a:pt x="187" y="47"/>
                  </a:lnTo>
                  <a:lnTo>
                    <a:pt x="184" y="46"/>
                  </a:lnTo>
                  <a:lnTo>
                    <a:pt x="186" y="45"/>
                  </a:lnTo>
                  <a:lnTo>
                    <a:pt x="189" y="46"/>
                  </a:lnTo>
                  <a:lnTo>
                    <a:pt x="191" y="47"/>
                  </a:lnTo>
                  <a:lnTo>
                    <a:pt x="194" y="50"/>
                  </a:lnTo>
                  <a:lnTo>
                    <a:pt x="195" y="50"/>
                  </a:lnTo>
                  <a:lnTo>
                    <a:pt x="196" y="49"/>
                  </a:lnTo>
                  <a:lnTo>
                    <a:pt x="195" y="46"/>
                  </a:lnTo>
                  <a:lnTo>
                    <a:pt x="192" y="45"/>
                  </a:lnTo>
                  <a:lnTo>
                    <a:pt x="190" y="45"/>
                  </a:lnTo>
                  <a:lnTo>
                    <a:pt x="187" y="44"/>
                  </a:lnTo>
                  <a:lnTo>
                    <a:pt x="194" y="44"/>
                  </a:lnTo>
                  <a:lnTo>
                    <a:pt x="195" y="45"/>
                  </a:lnTo>
                  <a:lnTo>
                    <a:pt x="196" y="46"/>
                  </a:lnTo>
                  <a:lnTo>
                    <a:pt x="197" y="45"/>
                  </a:lnTo>
                  <a:lnTo>
                    <a:pt x="198" y="45"/>
                  </a:lnTo>
                  <a:lnTo>
                    <a:pt x="198" y="43"/>
                  </a:lnTo>
                  <a:lnTo>
                    <a:pt x="201" y="41"/>
                  </a:lnTo>
                  <a:lnTo>
                    <a:pt x="202" y="41"/>
                  </a:lnTo>
                  <a:lnTo>
                    <a:pt x="204" y="41"/>
                  </a:lnTo>
                  <a:lnTo>
                    <a:pt x="206" y="40"/>
                  </a:lnTo>
                  <a:lnTo>
                    <a:pt x="204" y="44"/>
                  </a:lnTo>
                  <a:lnTo>
                    <a:pt x="201" y="45"/>
                  </a:lnTo>
                  <a:lnTo>
                    <a:pt x="198" y="46"/>
                  </a:lnTo>
                  <a:lnTo>
                    <a:pt x="198" y="47"/>
                  </a:lnTo>
                  <a:lnTo>
                    <a:pt x="198" y="49"/>
                  </a:lnTo>
                  <a:lnTo>
                    <a:pt x="200" y="50"/>
                  </a:lnTo>
                  <a:lnTo>
                    <a:pt x="200" y="51"/>
                  </a:lnTo>
                  <a:lnTo>
                    <a:pt x="198" y="55"/>
                  </a:lnTo>
                  <a:lnTo>
                    <a:pt x="200" y="53"/>
                  </a:lnTo>
                  <a:lnTo>
                    <a:pt x="201" y="55"/>
                  </a:lnTo>
                  <a:lnTo>
                    <a:pt x="201" y="57"/>
                  </a:lnTo>
                  <a:lnTo>
                    <a:pt x="203" y="64"/>
                  </a:lnTo>
                  <a:lnTo>
                    <a:pt x="208" y="75"/>
                  </a:lnTo>
                  <a:lnTo>
                    <a:pt x="210" y="74"/>
                  </a:lnTo>
                  <a:lnTo>
                    <a:pt x="212" y="74"/>
                  </a:lnTo>
                  <a:lnTo>
                    <a:pt x="212" y="71"/>
                  </a:lnTo>
                  <a:lnTo>
                    <a:pt x="212" y="70"/>
                  </a:lnTo>
                  <a:lnTo>
                    <a:pt x="212" y="69"/>
                  </a:lnTo>
                  <a:lnTo>
                    <a:pt x="213" y="69"/>
                  </a:lnTo>
                  <a:lnTo>
                    <a:pt x="214" y="70"/>
                  </a:lnTo>
                  <a:lnTo>
                    <a:pt x="215" y="70"/>
                  </a:lnTo>
                  <a:lnTo>
                    <a:pt x="214" y="68"/>
                  </a:lnTo>
                  <a:lnTo>
                    <a:pt x="216" y="68"/>
                  </a:lnTo>
                  <a:lnTo>
                    <a:pt x="218" y="68"/>
                  </a:lnTo>
                  <a:lnTo>
                    <a:pt x="219" y="67"/>
                  </a:lnTo>
                  <a:lnTo>
                    <a:pt x="221" y="65"/>
                  </a:lnTo>
                  <a:lnTo>
                    <a:pt x="222" y="67"/>
                  </a:lnTo>
                  <a:lnTo>
                    <a:pt x="224" y="68"/>
                  </a:lnTo>
                  <a:lnTo>
                    <a:pt x="222" y="68"/>
                  </a:lnTo>
                  <a:lnTo>
                    <a:pt x="224" y="69"/>
                  </a:lnTo>
                  <a:lnTo>
                    <a:pt x="225" y="69"/>
                  </a:lnTo>
                  <a:lnTo>
                    <a:pt x="225" y="70"/>
                  </a:lnTo>
                  <a:lnTo>
                    <a:pt x="226" y="71"/>
                  </a:lnTo>
                  <a:lnTo>
                    <a:pt x="226" y="73"/>
                  </a:lnTo>
                  <a:lnTo>
                    <a:pt x="227" y="73"/>
                  </a:lnTo>
                  <a:lnTo>
                    <a:pt x="227" y="74"/>
                  </a:lnTo>
                  <a:lnTo>
                    <a:pt x="222" y="73"/>
                  </a:lnTo>
                  <a:lnTo>
                    <a:pt x="219" y="71"/>
                  </a:lnTo>
                  <a:lnTo>
                    <a:pt x="218" y="73"/>
                  </a:lnTo>
                  <a:lnTo>
                    <a:pt x="219" y="74"/>
                  </a:lnTo>
                  <a:lnTo>
                    <a:pt x="218" y="75"/>
                  </a:lnTo>
                  <a:lnTo>
                    <a:pt x="219" y="77"/>
                  </a:lnTo>
                  <a:lnTo>
                    <a:pt x="219" y="79"/>
                  </a:lnTo>
                  <a:lnTo>
                    <a:pt x="220" y="77"/>
                  </a:lnTo>
                  <a:lnTo>
                    <a:pt x="221" y="77"/>
                  </a:lnTo>
                  <a:lnTo>
                    <a:pt x="222" y="77"/>
                  </a:lnTo>
                  <a:lnTo>
                    <a:pt x="222" y="79"/>
                  </a:lnTo>
                  <a:lnTo>
                    <a:pt x="224" y="79"/>
                  </a:lnTo>
                  <a:lnTo>
                    <a:pt x="226" y="79"/>
                  </a:lnTo>
                  <a:lnTo>
                    <a:pt x="227" y="79"/>
                  </a:lnTo>
                  <a:lnTo>
                    <a:pt x="227" y="80"/>
                  </a:lnTo>
                  <a:lnTo>
                    <a:pt x="231" y="81"/>
                  </a:lnTo>
                  <a:lnTo>
                    <a:pt x="227" y="81"/>
                  </a:lnTo>
                  <a:lnTo>
                    <a:pt x="227" y="82"/>
                  </a:lnTo>
                  <a:lnTo>
                    <a:pt x="226" y="83"/>
                  </a:lnTo>
                  <a:lnTo>
                    <a:pt x="227" y="87"/>
                  </a:lnTo>
                  <a:lnTo>
                    <a:pt x="227" y="88"/>
                  </a:lnTo>
                  <a:lnTo>
                    <a:pt x="226" y="89"/>
                  </a:lnTo>
                  <a:lnTo>
                    <a:pt x="225" y="88"/>
                  </a:lnTo>
                  <a:lnTo>
                    <a:pt x="225" y="87"/>
                  </a:lnTo>
                  <a:lnTo>
                    <a:pt x="225" y="86"/>
                  </a:lnTo>
                  <a:lnTo>
                    <a:pt x="222" y="86"/>
                  </a:lnTo>
                  <a:lnTo>
                    <a:pt x="220" y="86"/>
                  </a:lnTo>
                  <a:lnTo>
                    <a:pt x="218" y="85"/>
                  </a:lnTo>
                  <a:lnTo>
                    <a:pt x="216" y="85"/>
                  </a:lnTo>
                  <a:lnTo>
                    <a:pt x="213" y="86"/>
                  </a:lnTo>
                  <a:lnTo>
                    <a:pt x="214" y="91"/>
                  </a:lnTo>
                  <a:lnTo>
                    <a:pt x="215" y="91"/>
                  </a:lnTo>
                  <a:lnTo>
                    <a:pt x="216" y="89"/>
                  </a:lnTo>
                  <a:lnTo>
                    <a:pt x="219" y="88"/>
                  </a:lnTo>
                  <a:lnTo>
                    <a:pt x="221" y="89"/>
                  </a:lnTo>
                  <a:lnTo>
                    <a:pt x="221" y="91"/>
                  </a:lnTo>
                  <a:lnTo>
                    <a:pt x="222" y="91"/>
                  </a:lnTo>
                  <a:lnTo>
                    <a:pt x="224" y="91"/>
                  </a:lnTo>
                  <a:lnTo>
                    <a:pt x="225" y="91"/>
                  </a:lnTo>
                  <a:lnTo>
                    <a:pt x="226" y="92"/>
                  </a:lnTo>
                  <a:lnTo>
                    <a:pt x="228" y="92"/>
                  </a:lnTo>
                  <a:lnTo>
                    <a:pt x="230" y="94"/>
                  </a:lnTo>
                  <a:lnTo>
                    <a:pt x="228" y="94"/>
                  </a:lnTo>
                  <a:lnTo>
                    <a:pt x="231" y="94"/>
                  </a:lnTo>
                  <a:lnTo>
                    <a:pt x="232" y="93"/>
                  </a:lnTo>
                  <a:lnTo>
                    <a:pt x="233" y="92"/>
                  </a:lnTo>
                  <a:lnTo>
                    <a:pt x="233" y="93"/>
                  </a:lnTo>
                  <a:lnTo>
                    <a:pt x="234" y="93"/>
                  </a:lnTo>
                  <a:lnTo>
                    <a:pt x="236" y="93"/>
                  </a:lnTo>
                  <a:lnTo>
                    <a:pt x="236" y="94"/>
                  </a:lnTo>
                  <a:lnTo>
                    <a:pt x="238" y="94"/>
                  </a:lnTo>
                  <a:lnTo>
                    <a:pt x="238" y="93"/>
                  </a:lnTo>
                  <a:lnTo>
                    <a:pt x="239" y="93"/>
                  </a:lnTo>
                  <a:lnTo>
                    <a:pt x="239" y="91"/>
                  </a:lnTo>
                  <a:lnTo>
                    <a:pt x="243" y="88"/>
                  </a:lnTo>
                  <a:lnTo>
                    <a:pt x="243" y="87"/>
                  </a:lnTo>
                  <a:lnTo>
                    <a:pt x="244" y="87"/>
                  </a:lnTo>
                  <a:lnTo>
                    <a:pt x="245" y="86"/>
                  </a:lnTo>
                  <a:lnTo>
                    <a:pt x="246" y="83"/>
                  </a:lnTo>
                  <a:lnTo>
                    <a:pt x="244" y="81"/>
                  </a:lnTo>
                  <a:lnTo>
                    <a:pt x="242" y="76"/>
                  </a:lnTo>
                  <a:lnTo>
                    <a:pt x="243" y="76"/>
                  </a:lnTo>
                  <a:lnTo>
                    <a:pt x="244" y="79"/>
                  </a:lnTo>
                  <a:lnTo>
                    <a:pt x="244" y="77"/>
                  </a:lnTo>
                  <a:lnTo>
                    <a:pt x="245" y="76"/>
                  </a:lnTo>
                  <a:lnTo>
                    <a:pt x="246" y="76"/>
                  </a:lnTo>
                  <a:lnTo>
                    <a:pt x="248" y="76"/>
                  </a:lnTo>
                  <a:lnTo>
                    <a:pt x="248" y="77"/>
                  </a:lnTo>
                  <a:lnTo>
                    <a:pt x="246" y="79"/>
                  </a:lnTo>
                  <a:lnTo>
                    <a:pt x="245" y="80"/>
                  </a:lnTo>
                  <a:lnTo>
                    <a:pt x="245" y="81"/>
                  </a:lnTo>
                  <a:lnTo>
                    <a:pt x="248" y="80"/>
                  </a:lnTo>
                  <a:lnTo>
                    <a:pt x="249" y="79"/>
                  </a:lnTo>
                  <a:lnTo>
                    <a:pt x="249" y="81"/>
                  </a:lnTo>
                  <a:lnTo>
                    <a:pt x="246" y="82"/>
                  </a:lnTo>
                  <a:lnTo>
                    <a:pt x="248" y="85"/>
                  </a:lnTo>
                  <a:lnTo>
                    <a:pt x="250" y="85"/>
                  </a:lnTo>
                  <a:lnTo>
                    <a:pt x="253" y="85"/>
                  </a:lnTo>
                  <a:lnTo>
                    <a:pt x="250" y="83"/>
                  </a:lnTo>
                  <a:lnTo>
                    <a:pt x="251" y="82"/>
                  </a:lnTo>
                  <a:lnTo>
                    <a:pt x="254" y="82"/>
                  </a:lnTo>
                  <a:lnTo>
                    <a:pt x="254" y="85"/>
                  </a:lnTo>
                  <a:lnTo>
                    <a:pt x="255" y="86"/>
                  </a:lnTo>
                  <a:lnTo>
                    <a:pt x="256" y="85"/>
                  </a:lnTo>
                  <a:lnTo>
                    <a:pt x="256" y="82"/>
                  </a:lnTo>
                  <a:lnTo>
                    <a:pt x="255" y="81"/>
                  </a:lnTo>
                  <a:lnTo>
                    <a:pt x="254" y="80"/>
                  </a:lnTo>
                  <a:lnTo>
                    <a:pt x="255" y="81"/>
                  </a:lnTo>
                  <a:lnTo>
                    <a:pt x="255" y="80"/>
                  </a:lnTo>
                  <a:lnTo>
                    <a:pt x="255" y="79"/>
                  </a:lnTo>
                  <a:lnTo>
                    <a:pt x="256" y="77"/>
                  </a:lnTo>
                  <a:lnTo>
                    <a:pt x="257" y="76"/>
                  </a:lnTo>
                  <a:lnTo>
                    <a:pt x="257" y="75"/>
                  </a:lnTo>
                  <a:lnTo>
                    <a:pt x="257" y="74"/>
                  </a:lnTo>
                  <a:lnTo>
                    <a:pt x="260" y="74"/>
                  </a:lnTo>
                  <a:lnTo>
                    <a:pt x="261" y="76"/>
                  </a:lnTo>
                  <a:lnTo>
                    <a:pt x="262" y="76"/>
                  </a:lnTo>
                  <a:lnTo>
                    <a:pt x="263" y="76"/>
                  </a:lnTo>
                  <a:lnTo>
                    <a:pt x="262" y="74"/>
                  </a:lnTo>
                  <a:lnTo>
                    <a:pt x="263" y="73"/>
                  </a:lnTo>
                  <a:lnTo>
                    <a:pt x="263" y="77"/>
                  </a:lnTo>
                  <a:lnTo>
                    <a:pt x="265" y="77"/>
                  </a:lnTo>
                  <a:lnTo>
                    <a:pt x="267" y="79"/>
                  </a:lnTo>
                  <a:lnTo>
                    <a:pt x="268" y="79"/>
                  </a:lnTo>
                  <a:lnTo>
                    <a:pt x="267" y="76"/>
                  </a:lnTo>
                  <a:lnTo>
                    <a:pt x="266" y="75"/>
                  </a:lnTo>
                  <a:lnTo>
                    <a:pt x="267" y="74"/>
                  </a:lnTo>
                  <a:lnTo>
                    <a:pt x="267" y="73"/>
                  </a:lnTo>
                  <a:lnTo>
                    <a:pt x="267" y="71"/>
                  </a:lnTo>
                  <a:lnTo>
                    <a:pt x="267" y="70"/>
                  </a:lnTo>
                  <a:lnTo>
                    <a:pt x="268" y="69"/>
                  </a:lnTo>
                  <a:lnTo>
                    <a:pt x="268" y="68"/>
                  </a:lnTo>
                  <a:lnTo>
                    <a:pt x="269" y="68"/>
                  </a:lnTo>
                  <a:lnTo>
                    <a:pt x="271" y="67"/>
                  </a:lnTo>
                  <a:lnTo>
                    <a:pt x="272" y="68"/>
                  </a:lnTo>
                  <a:lnTo>
                    <a:pt x="272" y="70"/>
                  </a:lnTo>
                  <a:lnTo>
                    <a:pt x="273" y="73"/>
                  </a:lnTo>
                  <a:lnTo>
                    <a:pt x="272" y="74"/>
                  </a:lnTo>
                  <a:lnTo>
                    <a:pt x="273" y="77"/>
                  </a:lnTo>
                  <a:lnTo>
                    <a:pt x="273" y="79"/>
                  </a:lnTo>
                  <a:lnTo>
                    <a:pt x="272" y="79"/>
                  </a:lnTo>
                  <a:lnTo>
                    <a:pt x="271" y="79"/>
                  </a:lnTo>
                  <a:lnTo>
                    <a:pt x="271" y="80"/>
                  </a:lnTo>
                  <a:lnTo>
                    <a:pt x="272" y="80"/>
                  </a:lnTo>
                  <a:lnTo>
                    <a:pt x="273" y="81"/>
                  </a:lnTo>
                  <a:lnTo>
                    <a:pt x="274" y="82"/>
                  </a:lnTo>
                  <a:lnTo>
                    <a:pt x="274" y="83"/>
                  </a:lnTo>
                  <a:lnTo>
                    <a:pt x="275" y="83"/>
                  </a:lnTo>
                  <a:lnTo>
                    <a:pt x="277" y="82"/>
                  </a:lnTo>
                  <a:lnTo>
                    <a:pt x="278" y="83"/>
                  </a:lnTo>
                  <a:lnTo>
                    <a:pt x="279" y="83"/>
                  </a:lnTo>
                  <a:lnTo>
                    <a:pt x="279" y="86"/>
                  </a:lnTo>
                  <a:lnTo>
                    <a:pt x="280" y="86"/>
                  </a:lnTo>
                  <a:lnTo>
                    <a:pt x="281" y="87"/>
                  </a:lnTo>
                  <a:lnTo>
                    <a:pt x="283" y="88"/>
                  </a:lnTo>
                  <a:lnTo>
                    <a:pt x="283" y="89"/>
                  </a:lnTo>
                  <a:lnTo>
                    <a:pt x="284" y="91"/>
                  </a:lnTo>
                  <a:lnTo>
                    <a:pt x="285" y="91"/>
                  </a:lnTo>
                  <a:lnTo>
                    <a:pt x="286" y="92"/>
                  </a:lnTo>
                  <a:lnTo>
                    <a:pt x="287" y="91"/>
                  </a:lnTo>
                  <a:lnTo>
                    <a:pt x="287" y="87"/>
                  </a:lnTo>
                  <a:lnTo>
                    <a:pt x="287" y="85"/>
                  </a:lnTo>
                  <a:lnTo>
                    <a:pt x="287" y="83"/>
                  </a:lnTo>
                  <a:lnTo>
                    <a:pt x="287" y="82"/>
                  </a:lnTo>
                  <a:lnTo>
                    <a:pt x="289" y="82"/>
                  </a:lnTo>
                  <a:lnTo>
                    <a:pt x="289" y="81"/>
                  </a:lnTo>
                  <a:lnTo>
                    <a:pt x="287" y="81"/>
                  </a:lnTo>
                  <a:lnTo>
                    <a:pt x="287" y="79"/>
                  </a:lnTo>
                  <a:lnTo>
                    <a:pt x="287" y="76"/>
                  </a:lnTo>
                  <a:lnTo>
                    <a:pt x="289" y="77"/>
                  </a:lnTo>
                  <a:lnTo>
                    <a:pt x="290" y="77"/>
                  </a:lnTo>
                  <a:lnTo>
                    <a:pt x="290" y="79"/>
                  </a:lnTo>
                  <a:lnTo>
                    <a:pt x="290" y="82"/>
                  </a:lnTo>
                  <a:lnTo>
                    <a:pt x="289" y="82"/>
                  </a:lnTo>
                  <a:lnTo>
                    <a:pt x="291" y="82"/>
                  </a:lnTo>
                  <a:lnTo>
                    <a:pt x="290" y="83"/>
                  </a:lnTo>
                  <a:lnTo>
                    <a:pt x="289" y="87"/>
                  </a:lnTo>
                  <a:lnTo>
                    <a:pt x="287" y="92"/>
                  </a:lnTo>
                  <a:lnTo>
                    <a:pt x="287" y="93"/>
                  </a:lnTo>
                  <a:lnTo>
                    <a:pt x="289" y="92"/>
                  </a:lnTo>
                  <a:lnTo>
                    <a:pt x="291" y="91"/>
                  </a:lnTo>
                  <a:lnTo>
                    <a:pt x="291" y="92"/>
                  </a:lnTo>
                  <a:lnTo>
                    <a:pt x="292" y="92"/>
                  </a:lnTo>
                  <a:lnTo>
                    <a:pt x="293" y="92"/>
                  </a:lnTo>
                  <a:lnTo>
                    <a:pt x="295" y="89"/>
                  </a:lnTo>
                  <a:lnTo>
                    <a:pt x="296" y="88"/>
                  </a:lnTo>
                  <a:lnTo>
                    <a:pt x="297" y="89"/>
                  </a:lnTo>
                  <a:lnTo>
                    <a:pt x="298" y="89"/>
                  </a:lnTo>
                  <a:lnTo>
                    <a:pt x="299" y="89"/>
                  </a:lnTo>
                  <a:lnTo>
                    <a:pt x="302" y="89"/>
                  </a:lnTo>
                  <a:lnTo>
                    <a:pt x="303" y="89"/>
                  </a:lnTo>
                  <a:lnTo>
                    <a:pt x="299" y="92"/>
                  </a:lnTo>
                  <a:lnTo>
                    <a:pt x="296" y="92"/>
                  </a:lnTo>
                  <a:lnTo>
                    <a:pt x="293" y="94"/>
                  </a:lnTo>
                  <a:lnTo>
                    <a:pt x="291" y="97"/>
                  </a:lnTo>
                  <a:lnTo>
                    <a:pt x="287" y="98"/>
                  </a:lnTo>
                  <a:lnTo>
                    <a:pt x="286" y="100"/>
                  </a:lnTo>
                  <a:lnTo>
                    <a:pt x="285" y="101"/>
                  </a:lnTo>
                  <a:lnTo>
                    <a:pt x="286" y="100"/>
                  </a:lnTo>
                  <a:lnTo>
                    <a:pt x="289" y="99"/>
                  </a:lnTo>
                  <a:lnTo>
                    <a:pt x="292" y="97"/>
                  </a:lnTo>
                  <a:lnTo>
                    <a:pt x="290" y="101"/>
                  </a:lnTo>
                  <a:lnTo>
                    <a:pt x="289" y="103"/>
                  </a:lnTo>
                  <a:lnTo>
                    <a:pt x="291" y="104"/>
                  </a:lnTo>
                  <a:lnTo>
                    <a:pt x="293" y="105"/>
                  </a:lnTo>
                  <a:lnTo>
                    <a:pt x="295" y="104"/>
                  </a:lnTo>
                  <a:lnTo>
                    <a:pt x="298" y="104"/>
                  </a:lnTo>
                  <a:lnTo>
                    <a:pt x="299" y="105"/>
                  </a:lnTo>
                  <a:lnTo>
                    <a:pt x="299" y="106"/>
                  </a:lnTo>
                  <a:lnTo>
                    <a:pt x="301" y="107"/>
                  </a:lnTo>
                  <a:lnTo>
                    <a:pt x="301" y="110"/>
                  </a:lnTo>
                  <a:lnTo>
                    <a:pt x="301" y="111"/>
                  </a:lnTo>
                  <a:lnTo>
                    <a:pt x="301" y="112"/>
                  </a:lnTo>
                  <a:lnTo>
                    <a:pt x="301" y="113"/>
                  </a:lnTo>
                  <a:lnTo>
                    <a:pt x="302" y="115"/>
                  </a:lnTo>
                  <a:lnTo>
                    <a:pt x="303" y="112"/>
                  </a:lnTo>
                  <a:lnTo>
                    <a:pt x="303" y="111"/>
                  </a:lnTo>
                  <a:lnTo>
                    <a:pt x="305" y="109"/>
                  </a:lnTo>
                  <a:lnTo>
                    <a:pt x="305" y="112"/>
                  </a:lnTo>
                  <a:lnTo>
                    <a:pt x="307" y="115"/>
                  </a:lnTo>
                  <a:lnTo>
                    <a:pt x="308" y="112"/>
                  </a:lnTo>
                  <a:lnTo>
                    <a:pt x="308" y="115"/>
                  </a:lnTo>
                  <a:lnTo>
                    <a:pt x="309" y="116"/>
                  </a:lnTo>
                  <a:lnTo>
                    <a:pt x="311" y="115"/>
                  </a:lnTo>
                  <a:lnTo>
                    <a:pt x="311" y="117"/>
                  </a:lnTo>
                  <a:lnTo>
                    <a:pt x="313" y="116"/>
                  </a:lnTo>
                  <a:lnTo>
                    <a:pt x="314" y="116"/>
                  </a:lnTo>
                  <a:lnTo>
                    <a:pt x="316" y="117"/>
                  </a:lnTo>
                  <a:lnTo>
                    <a:pt x="313" y="118"/>
                  </a:lnTo>
                  <a:lnTo>
                    <a:pt x="308" y="118"/>
                  </a:lnTo>
                  <a:lnTo>
                    <a:pt x="309" y="119"/>
                  </a:lnTo>
                  <a:lnTo>
                    <a:pt x="310" y="119"/>
                  </a:lnTo>
                  <a:lnTo>
                    <a:pt x="311" y="121"/>
                  </a:lnTo>
                  <a:lnTo>
                    <a:pt x="313" y="119"/>
                  </a:lnTo>
                  <a:lnTo>
                    <a:pt x="314" y="119"/>
                  </a:lnTo>
                  <a:lnTo>
                    <a:pt x="316" y="121"/>
                  </a:lnTo>
                  <a:lnTo>
                    <a:pt x="319" y="121"/>
                  </a:lnTo>
                  <a:lnTo>
                    <a:pt x="319" y="122"/>
                  </a:lnTo>
                  <a:lnTo>
                    <a:pt x="321" y="122"/>
                  </a:lnTo>
                  <a:lnTo>
                    <a:pt x="321" y="121"/>
                  </a:lnTo>
                  <a:lnTo>
                    <a:pt x="322" y="119"/>
                  </a:lnTo>
                  <a:lnTo>
                    <a:pt x="322" y="117"/>
                  </a:lnTo>
                  <a:lnTo>
                    <a:pt x="325" y="116"/>
                  </a:lnTo>
                  <a:lnTo>
                    <a:pt x="324" y="118"/>
                  </a:lnTo>
                  <a:lnTo>
                    <a:pt x="325" y="118"/>
                  </a:lnTo>
                  <a:lnTo>
                    <a:pt x="326" y="118"/>
                  </a:lnTo>
                  <a:lnTo>
                    <a:pt x="327" y="117"/>
                  </a:lnTo>
                  <a:lnTo>
                    <a:pt x="326" y="117"/>
                  </a:lnTo>
                  <a:lnTo>
                    <a:pt x="326" y="116"/>
                  </a:lnTo>
                  <a:lnTo>
                    <a:pt x="326" y="115"/>
                  </a:lnTo>
                  <a:lnTo>
                    <a:pt x="325" y="112"/>
                  </a:lnTo>
                  <a:lnTo>
                    <a:pt x="322" y="113"/>
                  </a:lnTo>
                  <a:lnTo>
                    <a:pt x="320" y="115"/>
                  </a:lnTo>
                  <a:lnTo>
                    <a:pt x="320" y="112"/>
                  </a:lnTo>
                  <a:lnTo>
                    <a:pt x="322" y="110"/>
                  </a:lnTo>
                  <a:lnTo>
                    <a:pt x="324" y="110"/>
                  </a:lnTo>
                  <a:lnTo>
                    <a:pt x="326" y="111"/>
                  </a:lnTo>
                  <a:lnTo>
                    <a:pt x="326" y="112"/>
                  </a:lnTo>
                  <a:lnTo>
                    <a:pt x="328" y="111"/>
                  </a:lnTo>
                  <a:lnTo>
                    <a:pt x="330" y="111"/>
                  </a:lnTo>
                  <a:lnTo>
                    <a:pt x="331" y="111"/>
                  </a:lnTo>
                  <a:lnTo>
                    <a:pt x="332" y="109"/>
                  </a:lnTo>
                  <a:lnTo>
                    <a:pt x="333" y="107"/>
                  </a:lnTo>
                  <a:lnTo>
                    <a:pt x="334" y="107"/>
                  </a:lnTo>
                  <a:lnTo>
                    <a:pt x="336" y="107"/>
                  </a:lnTo>
                  <a:lnTo>
                    <a:pt x="336" y="106"/>
                  </a:lnTo>
                  <a:lnTo>
                    <a:pt x="334" y="105"/>
                  </a:lnTo>
                  <a:lnTo>
                    <a:pt x="333" y="107"/>
                  </a:lnTo>
                  <a:lnTo>
                    <a:pt x="333" y="105"/>
                  </a:lnTo>
                  <a:lnTo>
                    <a:pt x="333" y="104"/>
                  </a:lnTo>
                  <a:lnTo>
                    <a:pt x="332" y="106"/>
                  </a:lnTo>
                  <a:lnTo>
                    <a:pt x="331" y="109"/>
                  </a:lnTo>
                  <a:lnTo>
                    <a:pt x="330" y="109"/>
                  </a:lnTo>
                  <a:lnTo>
                    <a:pt x="328" y="109"/>
                  </a:lnTo>
                  <a:lnTo>
                    <a:pt x="328" y="106"/>
                  </a:lnTo>
                  <a:lnTo>
                    <a:pt x="328" y="105"/>
                  </a:lnTo>
                  <a:lnTo>
                    <a:pt x="331" y="103"/>
                  </a:lnTo>
                  <a:lnTo>
                    <a:pt x="332" y="101"/>
                  </a:lnTo>
                  <a:lnTo>
                    <a:pt x="332" y="100"/>
                  </a:lnTo>
                  <a:lnTo>
                    <a:pt x="333" y="99"/>
                  </a:lnTo>
                  <a:lnTo>
                    <a:pt x="332" y="97"/>
                  </a:lnTo>
                  <a:lnTo>
                    <a:pt x="324" y="89"/>
                  </a:lnTo>
                  <a:lnTo>
                    <a:pt x="318" y="76"/>
                  </a:lnTo>
                  <a:lnTo>
                    <a:pt x="318" y="77"/>
                  </a:lnTo>
                  <a:lnTo>
                    <a:pt x="319" y="81"/>
                  </a:lnTo>
                  <a:lnTo>
                    <a:pt x="319" y="85"/>
                  </a:lnTo>
                  <a:lnTo>
                    <a:pt x="318" y="83"/>
                  </a:lnTo>
                  <a:lnTo>
                    <a:pt x="318" y="82"/>
                  </a:lnTo>
                  <a:lnTo>
                    <a:pt x="318" y="81"/>
                  </a:lnTo>
                  <a:lnTo>
                    <a:pt x="318" y="82"/>
                  </a:lnTo>
                  <a:lnTo>
                    <a:pt x="316" y="85"/>
                  </a:lnTo>
                  <a:lnTo>
                    <a:pt x="318" y="85"/>
                  </a:lnTo>
                  <a:lnTo>
                    <a:pt x="318" y="87"/>
                  </a:lnTo>
                  <a:lnTo>
                    <a:pt x="316" y="89"/>
                  </a:lnTo>
                  <a:lnTo>
                    <a:pt x="316" y="92"/>
                  </a:lnTo>
                  <a:lnTo>
                    <a:pt x="316" y="88"/>
                  </a:lnTo>
                  <a:lnTo>
                    <a:pt x="315" y="86"/>
                  </a:lnTo>
                  <a:lnTo>
                    <a:pt x="314" y="86"/>
                  </a:lnTo>
                  <a:lnTo>
                    <a:pt x="314" y="87"/>
                  </a:lnTo>
                  <a:lnTo>
                    <a:pt x="313" y="86"/>
                  </a:lnTo>
                  <a:lnTo>
                    <a:pt x="313" y="85"/>
                  </a:lnTo>
                  <a:lnTo>
                    <a:pt x="311" y="82"/>
                  </a:lnTo>
                  <a:lnTo>
                    <a:pt x="309" y="83"/>
                  </a:lnTo>
                  <a:lnTo>
                    <a:pt x="308" y="85"/>
                  </a:lnTo>
                  <a:lnTo>
                    <a:pt x="307" y="86"/>
                  </a:lnTo>
                  <a:lnTo>
                    <a:pt x="305" y="87"/>
                  </a:lnTo>
                  <a:lnTo>
                    <a:pt x="305" y="83"/>
                  </a:lnTo>
                  <a:lnTo>
                    <a:pt x="308" y="81"/>
                  </a:lnTo>
                  <a:lnTo>
                    <a:pt x="307" y="81"/>
                  </a:lnTo>
                  <a:lnTo>
                    <a:pt x="303" y="83"/>
                  </a:lnTo>
                  <a:lnTo>
                    <a:pt x="303" y="85"/>
                  </a:lnTo>
                  <a:lnTo>
                    <a:pt x="303" y="81"/>
                  </a:lnTo>
                  <a:lnTo>
                    <a:pt x="302" y="80"/>
                  </a:lnTo>
                  <a:lnTo>
                    <a:pt x="303" y="80"/>
                  </a:lnTo>
                  <a:lnTo>
                    <a:pt x="303" y="77"/>
                  </a:lnTo>
                  <a:lnTo>
                    <a:pt x="303" y="76"/>
                  </a:lnTo>
                  <a:lnTo>
                    <a:pt x="304" y="75"/>
                  </a:lnTo>
                  <a:lnTo>
                    <a:pt x="308" y="75"/>
                  </a:lnTo>
                  <a:lnTo>
                    <a:pt x="308" y="74"/>
                  </a:lnTo>
                  <a:lnTo>
                    <a:pt x="308" y="73"/>
                  </a:lnTo>
                  <a:lnTo>
                    <a:pt x="309" y="70"/>
                  </a:lnTo>
                  <a:lnTo>
                    <a:pt x="310" y="70"/>
                  </a:lnTo>
                  <a:lnTo>
                    <a:pt x="308" y="70"/>
                  </a:lnTo>
                  <a:lnTo>
                    <a:pt x="307" y="71"/>
                  </a:lnTo>
                  <a:lnTo>
                    <a:pt x="307" y="70"/>
                  </a:lnTo>
                  <a:lnTo>
                    <a:pt x="305" y="70"/>
                  </a:lnTo>
                  <a:lnTo>
                    <a:pt x="304" y="69"/>
                  </a:lnTo>
                  <a:lnTo>
                    <a:pt x="303" y="70"/>
                  </a:lnTo>
                  <a:lnTo>
                    <a:pt x="302" y="69"/>
                  </a:lnTo>
                  <a:lnTo>
                    <a:pt x="301" y="69"/>
                  </a:lnTo>
                  <a:lnTo>
                    <a:pt x="301" y="68"/>
                  </a:lnTo>
                  <a:lnTo>
                    <a:pt x="297" y="67"/>
                  </a:lnTo>
                  <a:lnTo>
                    <a:pt x="297" y="65"/>
                  </a:lnTo>
                  <a:lnTo>
                    <a:pt x="299" y="65"/>
                  </a:lnTo>
                  <a:lnTo>
                    <a:pt x="299" y="64"/>
                  </a:lnTo>
                  <a:lnTo>
                    <a:pt x="299" y="63"/>
                  </a:lnTo>
                  <a:lnTo>
                    <a:pt x="301" y="62"/>
                  </a:lnTo>
                  <a:lnTo>
                    <a:pt x="303" y="62"/>
                  </a:lnTo>
                  <a:lnTo>
                    <a:pt x="304" y="62"/>
                  </a:lnTo>
                  <a:lnTo>
                    <a:pt x="303" y="61"/>
                  </a:lnTo>
                  <a:lnTo>
                    <a:pt x="303" y="59"/>
                  </a:lnTo>
                  <a:lnTo>
                    <a:pt x="302" y="58"/>
                  </a:lnTo>
                  <a:lnTo>
                    <a:pt x="302" y="61"/>
                  </a:lnTo>
                  <a:lnTo>
                    <a:pt x="301" y="58"/>
                  </a:lnTo>
                  <a:lnTo>
                    <a:pt x="299" y="56"/>
                  </a:lnTo>
                  <a:lnTo>
                    <a:pt x="298" y="56"/>
                  </a:lnTo>
                  <a:lnTo>
                    <a:pt x="297" y="56"/>
                  </a:lnTo>
                  <a:lnTo>
                    <a:pt x="297" y="52"/>
                  </a:lnTo>
                  <a:lnTo>
                    <a:pt x="298" y="50"/>
                  </a:lnTo>
                  <a:lnTo>
                    <a:pt x="298" y="47"/>
                  </a:lnTo>
                  <a:lnTo>
                    <a:pt x="298" y="46"/>
                  </a:lnTo>
                  <a:lnTo>
                    <a:pt x="297" y="49"/>
                  </a:lnTo>
                  <a:lnTo>
                    <a:pt x="296" y="50"/>
                  </a:lnTo>
                  <a:lnTo>
                    <a:pt x="295" y="53"/>
                  </a:lnTo>
                  <a:lnTo>
                    <a:pt x="295" y="52"/>
                  </a:lnTo>
                  <a:lnTo>
                    <a:pt x="293" y="50"/>
                  </a:lnTo>
                  <a:lnTo>
                    <a:pt x="293" y="47"/>
                  </a:lnTo>
                  <a:lnTo>
                    <a:pt x="293" y="46"/>
                  </a:lnTo>
                  <a:lnTo>
                    <a:pt x="292" y="46"/>
                  </a:lnTo>
                  <a:lnTo>
                    <a:pt x="292" y="50"/>
                  </a:lnTo>
                  <a:lnTo>
                    <a:pt x="291" y="52"/>
                  </a:lnTo>
                  <a:lnTo>
                    <a:pt x="290" y="52"/>
                  </a:lnTo>
                  <a:lnTo>
                    <a:pt x="290" y="53"/>
                  </a:lnTo>
                  <a:lnTo>
                    <a:pt x="290" y="55"/>
                  </a:lnTo>
                  <a:lnTo>
                    <a:pt x="289" y="56"/>
                  </a:lnTo>
                  <a:lnTo>
                    <a:pt x="289" y="55"/>
                  </a:lnTo>
                  <a:lnTo>
                    <a:pt x="289" y="57"/>
                  </a:lnTo>
                  <a:lnTo>
                    <a:pt x="287" y="57"/>
                  </a:lnTo>
                  <a:lnTo>
                    <a:pt x="287" y="56"/>
                  </a:lnTo>
                  <a:lnTo>
                    <a:pt x="286" y="53"/>
                  </a:lnTo>
                  <a:lnTo>
                    <a:pt x="286" y="52"/>
                  </a:lnTo>
                  <a:lnTo>
                    <a:pt x="285" y="53"/>
                  </a:lnTo>
                  <a:lnTo>
                    <a:pt x="284" y="53"/>
                  </a:lnTo>
                  <a:lnTo>
                    <a:pt x="283" y="55"/>
                  </a:lnTo>
                  <a:lnTo>
                    <a:pt x="281" y="56"/>
                  </a:lnTo>
                  <a:lnTo>
                    <a:pt x="280" y="57"/>
                  </a:lnTo>
                  <a:lnTo>
                    <a:pt x="280" y="53"/>
                  </a:lnTo>
                  <a:lnTo>
                    <a:pt x="281" y="51"/>
                  </a:lnTo>
                  <a:lnTo>
                    <a:pt x="281" y="49"/>
                  </a:lnTo>
                  <a:lnTo>
                    <a:pt x="280" y="49"/>
                  </a:lnTo>
                  <a:lnTo>
                    <a:pt x="280" y="46"/>
                  </a:lnTo>
                  <a:lnTo>
                    <a:pt x="281" y="44"/>
                  </a:lnTo>
                  <a:lnTo>
                    <a:pt x="283" y="43"/>
                  </a:lnTo>
                  <a:lnTo>
                    <a:pt x="283" y="41"/>
                  </a:lnTo>
                  <a:lnTo>
                    <a:pt x="284" y="39"/>
                  </a:lnTo>
                  <a:lnTo>
                    <a:pt x="285" y="38"/>
                  </a:lnTo>
                  <a:lnTo>
                    <a:pt x="285" y="37"/>
                  </a:lnTo>
                  <a:lnTo>
                    <a:pt x="284" y="38"/>
                  </a:lnTo>
                  <a:lnTo>
                    <a:pt x="283" y="39"/>
                  </a:lnTo>
                  <a:lnTo>
                    <a:pt x="283" y="38"/>
                  </a:lnTo>
                  <a:lnTo>
                    <a:pt x="280" y="39"/>
                  </a:lnTo>
                  <a:lnTo>
                    <a:pt x="279" y="39"/>
                  </a:lnTo>
                  <a:lnTo>
                    <a:pt x="278" y="38"/>
                  </a:lnTo>
                  <a:lnTo>
                    <a:pt x="275" y="39"/>
                  </a:lnTo>
                  <a:lnTo>
                    <a:pt x="274" y="40"/>
                  </a:lnTo>
                  <a:lnTo>
                    <a:pt x="271" y="45"/>
                  </a:lnTo>
                  <a:lnTo>
                    <a:pt x="269" y="46"/>
                  </a:lnTo>
                  <a:lnTo>
                    <a:pt x="268" y="49"/>
                  </a:lnTo>
                  <a:lnTo>
                    <a:pt x="267" y="46"/>
                  </a:lnTo>
                  <a:lnTo>
                    <a:pt x="267" y="43"/>
                  </a:lnTo>
                  <a:lnTo>
                    <a:pt x="268" y="40"/>
                  </a:lnTo>
                  <a:lnTo>
                    <a:pt x="268" y="38"/>
                  </a:lnTo>
                  <a:lnTo>
                    <a:pt x="269" y="37"/>
                  </a:lnTo>
                  <a:lnTo>
                    <a:pt x="271" y="35"/>
                  </a:lnTo>
                  <a:lnTo>
                    <a:pt x="273" y="37"/>
                  </a:lnTo>
                  <a:lnTo>
                    <a:pt x="277" y="37"/>
                  </a:lnTo>
                  <a:lnTo>
                    <a:pt x="279" y="34"/>
                  </a:lnTo>
                  <a:lnTo>
                    <a:pt x="281" y="33"/>
                  </a:lnTo>
                  <a:lnTo>
                    <a:pt x="281" y="32"/>
                  </a:lnTo>
                  <a:lnTo>
                    <a:pt x="280" y="31"/>
                  </a:lnTo>
                  <a:lnTo>
                    <a:pt x="280" y="28"/>
                  </a:lnTo>
                  <a:lnTo>
                    <a:pt x="279" y="27"/>
                  </a:lnTo>
                  <a:lnTo>
                    <a:pt x="280" y="24"/>
                  </a:lnTo>
                  <a:lnTo>
                    <a:pt x="278" y="24"/>
                  </a:lnTo>
                  <a:lnTo>
                    <a:pt x="277" y="28"/>
                  </a:lnTo>
                  <a:lnTo>
                    <a:pt x="274" y="29"/>
                  </a:lnTo>
                  <a:lnTo>
                    <a:pt x="274" y="27"/>
                  </a:lnTo>
                  <a:lnTo>
                    <a:pt x="274" y="22"/>
                  </a:lnTo>
                  <a:lnTo>
                    <a:pt x="274" y="21"/>
                  </a:lnTo>
                  <a:lnTo>
                    <a:pt x="273" y="21"/>
                  </a:lnTo>
                  <a:lnTo>
                    <a:pt x="274" y="17"/>
                  </a:lnTo>
                  <a:lnTo>
                    <a:pt x="278" y="16"/>
                  </a:lnTo>
                  <a:lnTo>
                    <a:pt x="279" y="14"/>
                  </a:lnTo>
                  <a:lnTo>
                    <a:pt x="280" y="12"/>
                  </a:lnTo>
                  <a:lnTo>
                    <a:pt x="283" y="11"/>
                  </a:lnTo>
                  <a:lnTo>
                    <a:pt x="283" y="9"/>
                  </a:lnTo>
                  <a:lnTo>
                    <a:pt x="279" y="8"/>
                  </a:lnTo>
                  <a:lnTo>
                    <a:pt x="277" y="6"/>
                  </a:lnTo>
                  <a:lnTo>
                    <a:pt x="279" y="6"/>
                  </a:lnTo>
                  <a:lnTo>
                    <a:pt x="281" y="6"/>
                  </a:lnTo>
                  <a:lnTo>
                    <a:pt x="283" y="5"/>
                  </a:lnTo>
                  <a:lnTo>
                    <a:pt x="283" y="4"/>
                  </a:lnTo>
                  <a:lnTo>
                    <a:pt x="283" y="3"/>
                  </a:lnTo>
                  <a:lnTo>
                    <a:pt x="284" y="2"/>
                  </a:lnTo>
                  <a:lnTo>
                    <a:pt x="285" y="0"/>
                  </a:lnTo>
                  <a:lnTo>
                    <a:pt x="286" y="0"/>
                  </a:lnTo>
                  <a:lnTo>
                    <a:pt x="287" y="0"/>
                  </a:lnTo>
                  <a:lnTo>
                    <a:pt x="289" y="0"/>
                  </a:lnTo>
                  <a:lnTo>
                    <a:pt x="289" y="2"/>
                  </a:lnTo>
                  <a:lnTo>
                    <a:pt x="290" y="2"/>
                  </a:lnTo>
                  <a:lnTo>
                    <a:pt x="290" y="3"/>
                  </a:lnTo>
                  <a:lnTo>
                    <a:pt x="291" y="3"/>
                  </a:lnTo>
                  <a:lnTo>
                    <a:pt x="292" y="2"/>
                  </a:lnTo>
                  <a:lnTo>
                    <a:pt x="293" y="2"/>
                  </a:lnTo>
                  <a:lnTo>
                    <a:pt x="295" y="2"/>
                  </a:lnTo>
                  <a:lnTo>
                    <a:pt x="296" y="0"/>
                  </a:lnTo>
                  <a:lnTo>
                    <a:pt x="295" y="4"/>
                  </a:lnTo>
                  <a:lnTo>
                    <a:pt x="292" y="10"/>
                  </a:lnTo>
                  <a:lnTo>
                    <a:pt x="293" y="11"/>
                  </a:lnTo>
                  <a:lnTo>
                    <a:pt x="295" y="9"/>
                  </a:lnTo>
                  <a:lnTo>
                    <a:pt x="296" y="12"/>
                  </a:lnTo>
                  <a:lnTo>
                    <a:pt x="296" y="16"/>
                  </a:lnTo>
                  <a:lnTo>
                    <a:pt x="297" y="18"/>
                  </a:lnTo>
                  <a:lnTo>
                    <a:pt x="297" y="17"/>
                  </a:lnTo>
                  <a:lnTo>
                    <a:pt x="298" y="18"/>
                  </a:lnTo>
                  <a:lnTo>
                    <a:pt x="299" y="17"/>
                  </a:lnTo>
                  <a:lnTo>
                    <a:pt x="298" y="14"/>
                  </a:lnTo>
                  <a:lnTo>
                    <a:pt x="301" y="14"/>
                  </a:lnTo>
                  <a:lnTo>
                    <a:pt x="304" y="15"/>
                  </a:lnTo>
                  <a:lnTo>
                    <a:pt x="305" y="17"/>
                  </a:lnTo>
                  <a:lnTo>
                    <a:pt x="307" y="20"/>
                  </a:lnTo>
                  <a:lnTo>
                    <a:pt x="305" y="20"/>
                  </a:lnTo>
                  <a:lnTo>
                    <a:pt x="304" y="21"/>
                  </a:lnTo>
                  <a:lnTo>
                    <a:pt x="304" y="20"/>
                  </a:lnTo>
                  <a:lnTo>
                    <a:pt x="303" y="21"/>
                  </a:lnTo>
                  <a:lnTo>
                    <a:pt x="302" y="20"/>
                  </a:lnTo>
                  <a:lnTo>
                    <a:pt x="301" y="18"/>
                  </a:lnTo>
                  <a:lnTo>
                    <a:pt x="301" y="21"/>
                  </a:lnTo>
                  <a:lnTo>
                    <a:pt x="302" y="22"/>
                  </a:lnTo>
                  <a:lnTo>
                    <a:pt x="303" y="24"/>
                  </a:lnTo>
                  <a:lnTo>
                    <a:pt x="304" y="26"/>
                  </a:lnTo>
                  <a:lnTo>
                    <a:pt x="305" y="27"/>
                  </a:lnTo>
                  <a:lnTo>
                    <a:pt x="307" y="29"/>
                  </a:lnTo>
                  <a:lnTo>
                    <a:pt x="308" y="31"/>
                  </a:lnTo>
                  <a:lnTo>
                    <a:pt x="309" y="29"/>
                  </a:lnTo>
                  <a:lnTo>
                    <a:pt x="309" y="31"/>
                  </a:lnTo>
                  <a:lnTo>
                    <a:pt x="310" y="31"/>
                  </a:lnTo>
                  <a:lnTo>
                    <a:pt x="311" y="29"/>
                  </a:lnTo>
                  <a:lnTo>
                    <a:pt x="314" y="29"/>
                  </a:lnTo>
                  <a:lnTo>
                    <a:pt x="315" y="31"/>
                  </a:lnTo>
                  <a:lnTo>
                    <a:pt x="315" y="29"/>
                  </a:lnTo>
                  <a:lnTo>
                    <a:pt x="314" y="28"/>
                  </a:lnTo>
                  <a:lnTo>
                    <a:pt x="314" y="24"/>
                  </a:lnTo>
                  <a:lnTo>
                    <a:pt x="315" y="22"/>
                  </a:lnTo>
                  <a:lnTo>
                    <a:pt x="316" y="22"/>
                  </a:lnTo>
                  <a:lnTo>
                    <a:pt x="318" y="21"/>
                  </a:lnTo>
                  <a:lnTo>
                    <a:pt x="319" y="22"/>
                  </a:lnTo>
                  <a:lnTo>
                    <a:pt x="321" y="23"/>
                  </a:lnTo>
                  <a:lnTo>
                    <a:pt x="322" y="24"/>
                  </a:lnTo>
                  <a:lnTo>
                    <a:pt x="325" y="24"/>
                  </a:lnTo>
                  <a:lnTo>
                    <a:pt x="327" y="23"/>
                  </a:lnTo>
                  <a:lnTo>
                    <a:pt x="325" y="24"/>
                  </a:lnTo>
                  <a:lnTo>
                    <a:pt x="324" y="27"/>
                  </a:lnTo>
                  <a:lnTo>
                    <a:pt x="322" y="26"/>
                  </a:lnTo>
                  <a:lnTo>
                    <a:pt x="321" y="26"/>
                  </a:lnTo>
                  <a:lnTo>
                    <a:pt x="319" y="29"/>
                  </a:lnTo>
                  <a:lnTo>
                    <a:pt x="321" y="31"/>
                  </a:lnTo>
                  <a:lnTo>
                    <a:pt x="324" y="32"/>
                  </a:lnTo>
                  <a:lnTo>
                    <a:pt x="326" y="33"/>
                  </a:lnTo>
                  <a:lnTo>
                    <a:pt x="325" y="34"/>
                  </a:lnTo>
                  <a:lnTo>
                    <a:pt x="325" y="37"/>
                  </a:lnTo>
                  <a:lnTo>
                    <a:pt x="324" y="37"/>
                  </a:lnTo>
                  <a:lnTo>
                    <a:pt x="322" y="32"/>
                  </a:lnTo>
                  <a:lnTo>
                    <a:pt x="320" y="31"/>
                  </a:lnTo>
                  <a:lnTo>
                    <a:pt x="318" y="32"/>
                  </a:lnTo>
                  <a:lnTo>
                    <a:pt x="316" y="34"/>
                  </a:lnTo>
                  <a:lnTo>
                    <a:pt x="316" y="37"/>
                  </a:lnTo>
                  <a:lnTo>
                    <a:pt x="318" y="40"/>
                  </a:lnTo>
                  <a:lnTo>
                    <a:pt x="319" y="39"/>
                  </a:lnTo>
                  <a:lnTo>
                    <a:pt x="321" y="41"/>
                  </a:lnTo>
                  <a:lnTo>
                    <a:pt x="322" y="44"/>
                  </a:lnTo>
                  <a:lnTo>
                    <a:pt x="322" y="45"/>
                  </a:lnTo>
                  <a:lnTo>
                    <a:pt x="324" y="46"/>
                  </a:lnTo>
                  <a:lnTo>
                    <a:pt x="324" y="50"/>
                  </a:lnTo>
                  <a:lnTo>
                    <a:pt x="324" y="51"/>
                  </a:lnTo>
                  <a:lnTo>
                    <a:pt x="325" y="53"/>
                  </a:lnTo>
                  <a:lnTo>
                    <a:pt x="325" y="56"/>
                  </a:lnTo>
                  <a:lnTo>
                    <a:pt x="324" y="57"/>
                  </a:lnTo>
                  <a:lnTo>
                    <a:pt x="325" y="59"/>
                  </a:lnTo>
                  <a:lnTo>
                    <a:pt x="326" y="58"/>
                  </a:lnTo>
                  <a:lnTo>
                    <a:pt x="328" y="57"/>
                  </a:lnTo>
                  <a:lnTo>
                    <a:pt x="331" y="57"/>
                  </a:lnTo>
                  <a:lnTo>
                    <a:pt x="332" y="56"/>
                  </a:lnTo>
                  <a:lnTo>
                    <a:pt x="333" y="55"/>
                  </a:lnTo>
                  <a:lnTo>
                    <a:pt x="333" y="53"/>
                  </a:lnTo>
                  <a:lnTo>
                    <a:pt x="336" y="55"/>
                  </a:lnTo>
                  <a:lnTo>
                    <a:pt x="336" y="53"/>
                  </a:lnTo>
                  <a:lnTo>
                    <a:pt x="337" y="55"/>
                  </a:lnTo>
                  <a:lnTo>
                    <a:pt x="338" y="55"/>
                  </a:lnTo>
                  <a:lnTo>
                    <a:pt x="337" y="56"/>
                  </a:lnTo>
                  <a:lnTo>
                    <a:pt x="338" y="55"/>
                  </a:lnTo>
                  <a:lnTo>
                    <a:pt x="339" y="55"/>
                  </a:lnTo>
                  <a:lnTo>
                    <a:pt x="340" y="56"/>
                  </a:lnTo>
                  <a:lnTo>
                    <a:pt x="342" y="56"/>
                  </a:lnTo>
                  <a:lnTo>
                    <a:pt x="344" y="55"/>
                  </a:lnTo>
                  <a:lnTo>
                    <a:pt x="345" y="53"/>
                  </a:lnTo>
                  <a:lnTo>
                    <a:pt x="346" y="53"/>
                  </a:lnTo>
                  <a:lnTo>
                    <a:pt x="346" y="55"/>
                  </a:lnTo>
                  <a:lnTo>
                    <a:pt x="349" y="56"/>
                  </a:lnTo>
                  <a:lnTo>
                    <a:pt x="350" y="55"/>
                  </a:lnTo>
                  <a:lnTo>
                    <a:pt x="350" y="56"/>
                  </a:lnTo>
                  <a:lnTo>
                    <a:pt x="352" y="57"/>
                  </a:lnTo>
                  <a:lnTo>
                    <a:pt x="354" y="58"/>
                  </a:lnTo>
                  <a:lnTo>
                    <a:pt x="355" y="57"/>
                  </a:lnTo>
                  <a:lnTo>
                    <a:pt x="356" y="57"/>
                  </a:lnTo>
                  <a:lnTo>
                    <a:pt x="356" y="56"/>
                  </a:lnTo>
                  <a:lnTo>
                    <a:pt x="357" y="56"/>
                  </a:lnTo>
                  <a:lnTo>
                    <a:pt x="358" y="56"/>
                  </a:lnTo>
                  <a:lnTo>
                    <a:pt x="358" y="55"/>
                  </a:lnTo>
                  <a:lnTo>
                    <a:pt x="360" y="56"/>
                  </a:lnTo>
                  <a:lnTo>
                    <a:pt x="361" y="56"/>
                  </a:lnTo>
                  <a:lnTo>
                    <a:pt x="362" y="57"/>
                  </a:lnTo>
                  <a:lnTo>
                    <a:pt x="363" y="56"/>
                  </a:lnTo>
                  <a:lnTo>
                    <a:pt x="363" y="55"/>
                  </a:lnTo>
                  <a:lnTo>
                    <a:pt x="363" y="52"/>
                  </a:lnTo>
                  <a:lnTo>
                    <a:pt x="364" y="51"/>
                  </a:lnTo>
                  <a:lnTo>
                    <a:pt x="366" y="50"/>
                  </a:lnTo>
                  <a:lnTo>
                    <a:pt x="367" y="49"/>
                  </a:lnTo>
                  <a:lnTo>
                    <a:pt x="369" y="50"/>
                  </a:lnTo>
                  <a:lnTo>
                    <a:pt x="370" y="50"/>
                  </a:lnTo>
                  <a:lnTo>
                    <a:pt x="372" y="50"/>
                  </a:lnTo>
                  <a:lnTo>
                    <a:pt x="372" y="51"/>
                  </a:lnTo>
                  <a:lnTo>
                    <a:pt x="373" y="51"/>
                  </a:lnTo>
                  <a:lnTo>
                    <a:pt x="372" y="46"/>
                  </a:lnTo>
                  <a:lnTo>
                    <a:pt x="370" y="44"/>
                  </a:lnTo>
                  <a:lnTo>
                    <a:pt x="369" y="43"/>
                  </a:lnTo>
                  <a:lnTo>
                    <a:pt x="369" y="41"/>
                  </a:lnTo>
                  <a:lnTo>
                    <a:pt x="369" y="40"/>
                  </a:lnTo>
                  <a:lnTo>
                    <a:pt x="370" y="39"/>
                  </a:lnTo>
                  <a:lnTo>
                    <a:pt x="370" y="40"/>
                  </a:lnTo>
                  <a:lnTo>
                    <a:pt x="372" y="39"/>
                  </a:lnTo>
                  <a:lnTo>
                    <a:pt x="373" y="39"/>
                  </a:lnTo>
                  <a:lnTo>
                    <a:pt x="374" y="39"/>
                  </a:lnTo>
                  <a:lnTo>
                    <a:pt x="377" y="39"/>
                  </a:lnTo>
                  <a:lnTo>
                    <a:pt x="375" y="41"/>
                  </a:lnTo>
                  <a:lnTo>
                    <a:pt x="377" y="41"/>
                  </a:lnTo>
                  <a:lnTo>
                    <a:pt x="378" y="41"/>
                  </a:lnTo>
                  <a:lnTo>
                    <a:pt x="381" y="41"/>
                  </a:lnTo>
                  <a:lnTo>
                    <a:pt x="379" y="44"/>
                  </a:lnTo>
                  <a:lnTo>
                    <a:pt x="378" y="45"/>
                  </a:lnTo>
                  <a:lnTo>
                    <a:pt x="377" y="46"/>
                  </a:lnTo>
                  <a:lnTo>
                    <a:pt x="375" y="47"/>
                  </a:lnTo>
                  <a:lnTo>
                    <a:pt x="377" y="46"/>
                  </a:lnTo>
                  <a:lnTo>
                    <a:pt x="379" y="46"/>
                  </a:lnTo>
                  <a:lnTo>
                    <a:pt x="378" y="46"/>
                  </a:lnTo>
                  <a:lnTo>
                    <a:pt x="379" y="49"/>
                  </a:lnTo>
                  <a:lnTo>
                    <a:pt x="377" y="49"/>
                  </a:lnTo>
                  <a:lnTo>
                    <a:pt x="375" y="50"/>
                  </a:lnTo>
                  <a:lnTo>
                    <a:pt x="377" y="51"/>
                  </a:lnTo>
                  <a:lnTo>
                    <a:pt x="380" y="50"/>
                  </a:lnTo>
                  <a:lnTo>
                    <a:pt x="383" y="50"/>
                  </a:lnTo>
                  <a:lnTo>
                    <a:pt x="385" y="50"/>
                  </a:lnTo>
                  <a:lnTo>
                    <a:pt x="383" y="52"/>
                  </a:lnTo>
                  <a:lnTo>
                    <a:pt x="379" y="55"/>
                  </a:lnTo>
                  <a:lnTo>
                    <a:pt x="377" y="56"/>
                  </a:lnTo>
                  <a:lnTo>
                    <a:pt x="377" y="58"/>
                  </a:lnTo>
                  <a:lnTo>
                    <a:pt x="378" y="58"/>
                  </a:lnTo>
                  <a:lnTo>
                    <a:pt x="380" y="58"/>
                  </a:lnTo>
                  <a:lnTo>
                    <a:pt x="381" y="57"/>
                  </a:lnTo>
                  <a:lnTo>
                    <a:pt x="384" y="56"/>
                  </a:lnTo>
                  <a:lnTo>
                    <a:pt x="385" y="57"/>
                  </a:lnTo>
                  <a:lnTo>
                    <a:pt x="384" y="58"/>
                  </a:lnTo>
                  <a:lnTo>
                    <a:pt x="384" y="61"/>
                  </a:lnTo>
                  <a:lnTo>
                    <a:pt x="385" y="62"/>
                  </a:lnTo>
                  <a:lnTo>
                    <a:pt x="386" y="64"/>
                  </a:lnTo>
                  <a:lnTo>
                    <a:pt x="384" y="64"/>
                  </a:lnTo>
                  <a:lnTo>
                    <a:pt x="385" y="67"/>
                  </a:lnTo>
                  <a:lnTo>
                    <a:pt x="385" y="69"/>
                  </a:lnTo>
                  <a:lnTo>
                    <a:pt x="384" y="70"/>
                  </a:lnTo>
                  <a:lnTo>
                    <a:pt x="384" y="69"/>
                  </a:lnTo>
                  <a:lnTo>
                    <a:pt x="383" y="70"/>
                  </a:lnTo>
                  <a:lnTo>
                    <a:pt x="383" y="73"/>
                  </a:lnTo>
                  <a:lnTo>
                    <a:pt x="381" y="74"/>
                  </a:lnTo>
                  <a:lnTo>
                    <a:pt x="381" y="77"/>
                  </a:lnTo>
                  <a:lnTo>
                    <a:pt x="380" y="77"/>
                  </a:lnTo>
                  <a:lnTo>
                    <a:pt x="378" y="80"/>
                  </a:lnTo>
                  <a:lnTo>
                    <a:pt x="377" y="80"/>
                  </a:lnTo>
                  <a:lnTo>
                    <a:pt x="377" y="82"/>
                  </a:lnTo>
                  <a:lnTo>
                    <a:pt x="374" y="83"/>
                  </a:lnTo>
                  <a:lnTo>
                    <a:pt x="374" y="82"/>
                  </a:lnTo>
                  <a:lnTo>
                    <a:pt x="373" y="81"/>
                  </a:lnTo>
                  <a:lnTo>
                    <a:pt x="372" y="80"/>
                  </a:lnTo>
                  <a:lnTo>
                    <a:pt x="372" y="82"/>
                  </a:lnTo>
                  <a:lnTo>
                    <a:pt x="370" y="85"/>
                  </a:lnTo>
                  <a:lnTo>
                    <a:pt x="370" y="81"/>
                  </a:lnTo>
                  <a:lnTo>
                    <a:pt x="369" y="83"/>
                  </a:lnTo>
                  <a:lnTo>
                    <a:pt x="368" y="81"/>
                  </a:lnTo>
                  <a:lnTo>
                    <a:pt x="367" y="82"/>
                  </a:lnTo>
                  <a:lnTo>
                    <a:pt x="368" y="85"/>
                  </a:lnTo>
                  <a:lnTo>
                    <a:pt x="366" y="86"/>
                  </a:lnTo>
                  <a:lnTo>
                    <a:pt x="363" y="87"/>
                  </a:lnTo>
                  <a:lnTo>
                    <a:pt x="362" y="88"/>
                  </a:lnTo>
                  <a:lnTo>
                    <a:pt x="362" y="89"/>
                  </a:lnTo>
                  <a:lnTo>
                    <a:pt x="364" y="89"/>
                  </a:lnTo>
                  <a:lnTo>
                    <a:pt x="366" y="91"/>
                  </a:lnTo>
                  <a:lnTo>
                    <a:pt x="367" y="92"/>
                  </a:lnTo>
                  <a:lnTo>
                    <a:pt x="366" y="93"/>
                  </a:lnTo>
                  <a:lnTo>
                    <a:pt x="363" y="92"/>
                  </a:lnTo>
                  <a:lnTo>
                    <a:pt x="363" y="91"/>
                  </a:lnTo>
                  <a:lnTo>
                    <a:pt x="362" y="91"/>
                  </a:lnTo>
                  <a:lnTo>
                    <a:pt x="362" y="93"/>
                  </a:lnTo>
                  <a:lnTo>
                    <a:pt x="366" y="94"/>
                  </a:lnTo>
                  <a:lnTo>
                    <a:pt x="366" y="97"/>
                  </a:lnTo>
                  <a:lnTo>
                    <a:pt x="366" y="98"/>
                  </a:lnTo>
                  <a:lnTo>
                    <a:pt x="369" y="97"/>
                  </a:lnTo>
                  <a:lnTo>
                    <a:pt x="373" y="94"/>
                  </a:lnTo>
                  <a:lnTo>
                    <a:pt x="372" y="92"/>
                  </a:lnTo>
                  <a:lnTo>
                    <a:pt x="372" y="89"/>
                  </a:lnTo>
                  <a:lnTo>
                    <a:pt x="374" y="88"/>
                  </a:lnTo>
                  <a:lnTo>
                    <a:pt x="375" y="86"/>
                  </a:lnTo>
                  <a:lnTo>
                    <a:pt x="375" y="88"/>
                  </a:lnTo>
                  <a:lnTo>
                    <a:pt x="377" y="87"/>
                  </a:lnTo>
                  <a:lnTo>
                    <a:pt x="378" y="87"/>
                  </a:lnTo>
                  <a:lnTo>
                    <a:pt x="379" y="86"/>
                  </a:lnTo>
                  <a:lnTo>
                    <a:pt x="380" y="86"/>
                  </a:lnTo>
                  <a:lnTo>
                    <a:pt x="381" y="86"/>
                  </a:lnTo>
                  <a:lnTo>
                    <a:pt x="381" y="88"/>
                  </a:lnTo>
                  <a:lnTo>
                    <a:pt x="380" y="89"/>
                  </a:lnTo>
                  <a:lnTo>
                    <a:pt x="381" y="89"/>
                  </a:lnTo>
                  <a:lnTo>
                    <a:pt x="380" y="91"/>
                  </a:lnTo>
                  <a:lnTo>
                    <a:pt x="381" y="89"/>
                  </a:lnTo>
                  <a:lnTo>
                    <a:pt x="381" y="92"/>
                  </a:lnTo>
                  <a:lnTo>
                    <a:pt x="383" y="92"/>
                  </a:lnTo>
                  <a:lnTo>
                    <a:pt x="384" y="91"/>
                  </a:lnTo>
                  <a:lnTo>
                    <a:pt x="383" y="89"/>
                  </a:lnTo>
                  <a:lnTo>
                    <a:pt x="383" y="87"/>
                  </a:lnTo>
                  <a:lnTo>
                    <a:pt x="385" y="87"/>
                  </a:lnTo>
                  <a:lnTo>
                    <a:pt x="386" y="86"/>
                  </a:lnTo>
                  <a:lnTo>
                    <a:pt x="387" y="87"/>
                  </a:lnTo>
                  <a:lnTo>
                    <a:pt x="389" y="87"/>
                  </a:lnTo>
                  <a:lnTo>
                    <a:pt x="390" y="88"/>
                  </a:lnTo>
                  <a:lnTo>
                    <a:pt x="390" y="91"/>
                  </a:lnTo>
                  <a:lnTo>
                    <a:pt x="387" y="92"/>
                  </a:lnTo>
                  <a:lnTo>
                    <a:pt x="387" y="91"/>
                  </a:lnTo>
                  <a:lnTo>
                    <a:pt x="385" y="91"/>
                  </a:lnTo>
                  <a:lnTo>
                    <a:pt x="380" y="95"/>
                  </a:lnTo>
                  <a:lnTo>
                    <a:pt x="381" y="97"/>
                  </a:lnTo>
                  <a:lnTo>
                    <a:pt x="384" y="95"/>
                  </a:lnTo>
                  <a:lnTo>
                    <a:pt x="384" y="98"/>
                  </a:lnTo>
                  <a:lnTo>
                    <a:pt x="386" y="99"/>
                  </a:lnTo>
                  <a:lnTo>
                    <a:pt x="387" y="100"/>
                  </a:lnTo>
                  <a:lnTo>
                    <a:pt x="387" y="101"/>
                  </a:lnTo>
                  <a:lnTo>
                    <a:pt x="389" y="100"/>
                  </a:lnTo>
                  <a:lnTo>
                    <a:pt x="390" y="101"/>
                  </a:lnTo>
                  <a:lnTo>
                    <a:pt x="391" y="99"/>
                  </a:lnTo>
                  <a:lnTo>
                    <a:pt x="390" y="103"/>
                  </a:lnTo>
                  <a:lnTo>
                    <a:pt x="389" y="105"/>
                  </a:lnTo>
                  <a:lnTo>
                    <a:pt x="389" y="106"/>
                  </a:lnTo>
                  <a:lnTo>
                    <a:pt x="390" y="107"/>
                  </a:lnTo>
                  <a:lnTo>
                    <a:pt x="391" y="107"/>
                  </a:lnTo>
                  <a:lnTo>
                    <a:pt x="392" y="107"/>
                  </a:lnTo>
                  <a:lnTo>
                    <a:pt x="393" y="106"/>
                  </a:lnTo>
                  <a:lnTo>
                    <a:pt x="395" y="104"/>
                  </a:lnTo>
                  <a:lnTo>
                    <a:pt x="395" y="103"/>
                  </a:lnTo>
                  <a:lnTo>
                    <a:pt x="395" y="101"/>
                  </a:lnTo>
                  <a:lnTo>
                    <a:pt x="395" y="99"/>
                  </a:lnTo>
                  <a:lnTo>
                    <a:pt x="396" y="98"/>
                  </a:lnTo>
                  <a:lnTo>
                    <a:pt x="397" y="97"/>
                  </a:lnTo>
                  <a:lnTo>
                    <a:pt x="397" y="95"/>
                  </a:lnTo>
                  <a:lnTo>
                    <a:pt x="398" y="95"/>
                  </a:lnTo>
                  <a:lnTo>
                    <a:pt x="401" y="95"/>
                  </a:lnTo>
                  <a:lnTo>
                    <a:pt x="401" y="97"/>
                  </a:lnTo>
                  <a:lnTo>
                    <a:pt x="402" y="97"/>
                  </a:lnTo>
                  <a:lnTo>
                    <a:pt x="403" y="98"/>
                  </a:lnTo>
                  <a:lnTo>
                    <a:pt x="403" y="99"/>
                  </a:lnTo>
                  <a:lnTo>
                    <a:pt x="402" y="101"/>
                  </a:lnTo>
                  <a:lnTo>
                    <a:pt x="401" y="101"/>
                  </a:lnTo>
                  <a:lnTo>
                    <a:pt x="402" y="103"/>
                  </a:lnTo>
                  <a:lnTo>
                    <a:pt x="401" y="104"/>
                  </a:lnTo>
                  <a:lnTo>
                    <a:pt x="401" y="105"/>
                  </a:lnTo>
                  <a:lnTo>
                    <a:pt x="401" y="106"/>
                  </a:lnTo>
                  <a:lnTo>
                    <a:pt x="402" y="106"/>
                  </a:lnTo>
                  <a:lnTo>
                    <a:pt x="403" y="105"/>
                  </a:lnTo>
                  <a:lnTo>
                    <a:pt x="404" y="105"/>
                  </a:lnTo>
                  <a:lnTo>
                    <a:pt x="404" y="106"/>
                  </a:lnTo>
                  <a:lnTo>
                    <a:pt x="405" y="105"/>
                  </a:lnTo>
                  <a:lnTo>
                    <a:pt x="407" y="105"/>
                  </a:lnTo>
                  <a:lnTo>
                    <a:pt x="409" y="104"/>
                  </a:lnTo>
                  <a:lnTo>
                    <a:pt x="410" y="103"/>
                  </a:lnTo>
                  <a:lnTo>
                    <a:pt x="410" y="101"/>
                  </a:lnTo>
                  <a:lnTo>
                    <a:pt x="409" y="100"/>
                  </a:lnTo>
                  <a:lnTo>
                    <a:pt x="411" y="99"/>
                  </a:lnTo>
                  <a:lnTo>
                    <a:pt x="413" y="99"/>
                  </a:lnTo>
                  <a:lnTo>
                    <a:pt x="411" y="100"/>
                  </a:lnTo>
                  <a:lnTo>
                    <a:pt x="414" y="100"/>
                  </a:lnTo>
                  <a:lnTo>
                    <a:pt x="413" y="99"/>
                  </a:lnTo>
                  <a:lnTo>
                    <a:pt x="409" y="95"/>
                  </a:lnTo>
                  <a:lnTo>
                    <a:pt x="407" y="97"/>
                  </a:lnTo>
                  <a:lnTo>
                    <a:pt x="404" y="95"/>
                  </a:lnTo>
                  <a:lnTo>
                    <a:pt x="405" y="94"/>
                  </a:lnTo>
                  <a:lnTo>
                    <a:pt x="407" y="94"/>
                  </a:lnTo>
                  <a:lnTo>
                    <a:pt x="408" y="94"/>
                  </a:lnTo>
                  <a:lnTo>
                    <a:pt x="408" y="93"/>
                  </a:lnTo>
                  <a:lnTo>
                    <a:pt x="409" y="93"/>
                  </a:lnTo>
                  <a:lnTo>
                    <a:pt x="410" y="94"/>
                  </a:lnTo>
                  <a:lnTo>
                    <a:pt x="411" y="97"/>
                  </a:lnTo>
                  <a:lnTo>
                    <a:pt x="414" y="99"/>
                  </a:lnTo>
                  <a:lnTo>
                    <a:pt x="415" y="99"/>
                  </a:lnTo>
                  <a:lnTo>
                    <a:pt x="416" y="98"/>
                  </a:lnTo>
                  <a:lnTo>
                    <a:pt x="417" y="95"/>
                  </a:lnTo>
                  <a:lnTo>
                    <a:pt x="419" y="97"/>
                  </a:lnTo>
                  <a:lnTo>
                    <a:pt x="420" y="97"/>
                  </a:lnTo>
                  <a:lnTo>
                    <a:pt x="420" y="98"/>
                  </a:lnTo>
                  <a:lnTo>
                    <a:pt x="421" y="100"/>
                  </a:lnTo>
                  <a:lnTo>
                    <a:pt x="421" y="99"/>
                  </a:lnTo>
                  <a:lnTo>
                    <a:pt x="422" y="98"/>
                  </a:lnTo>
                  <a:lnTo>
                    <a:pt x="422" y="97"/>
                  </a:lnTo>
                  <a:lnTo>
                    <a:pt x="425" y="98"/>
                  </a:lnTo>
                  <a:lnTo>
                    <a:pt x="426" y="98"/>
                  </a:lnTo>
                  <a:lnTo>
                    <a:pt x="425" y="94"/>
                  </a:lnTo>
                  <a:lnTo>
                    <a:pt x="420" y="93"/>
                  </a:lnTo>
                  <a:lnTo>
                    <a:pt x="416" y="92"/>
                  </a:lnTo>
                  <a:lnTo>
                    <a:pt x="417" y="91"/>
                  </a:lnTo>
                  <a:lnTo>
                    <a:pt x="419" y="89"/>
                  </a:lnTo>
                  <a:lnTo>
                    <a:pt x="420" y="89"/>
                  </a:lnTo>
                  <a:lnTo>
                    <a:pt x="421" y="88"/>
                  </a:lnTo>
                  <a:lnTo>
                    <a:pt x="422" y="88"/>
                  </a:lnTo>
                  <a:lnTo>
                    <a:pt x="423" y="87"/>
                  </a:lnTo>
                  <a:lnTo>
                    <a:pt x="423" y="88"/>
                  </a:lnTo>
                  <a:lnTo>
                    <a:pt x="425" y="88"/>
                  </a:lnTo>
                  <a:lnTo>
                    <a:pt x="425" y="91"/>
                  </a:lnTo>
                  <a:lnTo>
                    <a:pt x="426" y="94"/>
                  </a:lnTo>
                  <a:lnTo>
                    <a:pt x="427" y="95"/>
                  </a:lnTo>
                  <a:lnTo>
                    <a:pt x="429" y="94"/>
                  </a:lnTo>
                  <a:lnTo>
                    <a:pt x="431" y="93"/>
                  </a:lnTo>
                  <a:lnTo>
                    <a:pt x="432" y="91"/>
                  </a:lnTo>
                  <a:lnTo>
                    <a:pt x="432" y="89"/>
                  </a:lnTo>
                  <a:lnTo>
                    <a:pt x="434" y="88"/>
                  </a:lnTo>
                  <a:lnTo>
                    <a:pt x="434" y="89"/>
                  </a:lnTo>
                  <a:lnTo>
                    <a:pt x="436" y="91"/>
                  </a:lnTo>
                  <a:lnTo>
                    <a:pt x="437" y="92"/>
                  </a:lnTo>
                  <a:lnTo>
                    <a:pt x="438" y="89"/>
                  </a:lnTo>
                  <a:lnTo>
                    <a:pt x="439" y="91"/>
                  </a:lnTo>
                  <a:lnTo>
                    <a:pt x="440" y="92"/>
                  </a:lnTo>
                  <a:lnTo>
                    <a:pt x="442" y="94"/>
                  </a:lnTo>
                  <a:lnTo>
                    <a:pt x="440" y="94"/>
                  </a:lnTo>
                  <a:lnTo>
                    <a:pt x="438" y="94"/>
                  </a:lnTo>
                  <a:lnTo>
                    <a:pt x="437" y="95"/>
                  </a:lnTo>
                  <a:lnTo>
                    <a:pt x="434" y="95"/>
                  </a:lnTo>
                  <a:lnTo>
                    <a:pt x="436" y="95"/>
                  </a:lnTo>
                  <a:lnTo>
                    <a:pt x="433" y="95"/>
                  </a:lnTo>
                  <a:lnTo>
                    <a:pt x="436" y="98"/>
                  </a:lnTo>
                  <a:lnTo>
                    <a:pt x="437" y="100"/>
                  </a:lnTo>
                  <a:lnTo>
                    <a:pt x="438" y="99"/>
                  </a:lnTo>
                  <a:lnTo>
                    <a:pt x="439" y="100"/>
                  </a:lnTo>
                  <a:lnTo>
                    <a:pt x="439" y="99"/>
                  </a:lnTo>
                  <a:lnTo>
                    <a:pt x="442" y="99"/>
                  </a:lnTo>
                  <a:lnTo>
                    <a:pt x="440" y="98"/>
                  </a:lnTo>
                  <a:lnTo>
                    <a:pt x="439" y="95"/>
                  </a:lnTo>
                  <a:lnTo>
                    <a:pt x="440" y="97"/>
                  </a:lnTo>
                  <a:lnTo>
                    <a:pt x="443" y="93"/>
                  </a:lnTo>
                  <a:lnTo>
                    <a:pt x="444" y="92"/>
                  </a:lnTo>
                  <a:lnTo>
                    <a:pt x="445" y="89"/>
                  </a:lnTo>
                  <a:lnTo>
                    <a:pt x="448" y="89"/>
                  </a:lnTo>
                  <a:lnTo>
                    <a:pt x="448" y="88"/>
                  </a:lnTo>
                  <a:lnTo>
                    <a:pt x="448" y="86"/>
                  </a:lnTo>
                  <a:lnTo>
                    <a:pt x="448" y="85"/>
                  </a:lnTo>
                  <a:lnTo>
                    <a:pt x="449" y="83"/>
                  </a:lnTo>
                  <a:lnTo>
                    <a:pt x="448" y="83"/>
                  </a:lnTo>
                  <a:lnTo>
                    <a:pt x="449" y="82"/>
                  </a:lnTo>
                  <a:lnTo>
                    <a:pt x="450" y="82"/>
                  </a:lnTo>
                  <a:lnTo>
                    <a:pt x="450" y="81"/>
                  </a:lnTo>
                  <a:lnTo>
                    <a:pt x="450" y="79"/>
                  </a:lnTo>
                  <a:lnTo>
                    <a:pt x="451" y="77"/>
                  </a:lnTo>
                  <a:lnTo>
                    <a:pt x="452" y="79"/>
                  </a:lnTo>
                  <a:lnTo>
                    <a:pt x="456" y="79"/>
                  </a:lnTo>
                  <a:lnTo>
                    <a:pt x="455" y="76"/>
                  </a:lnTo>
                  <a:lnTo>
                    <a:pt x="454" y="75"/>
                  </a:lnTo>
                  <a:lnTo>
                    <a:pt x="451" y="76"/>
                  </a:lnTo>
                  <a:lnTo>
                    <a:pt x="452" y="75"/>
                  </a:lnTo>
                  <a:lnTo>
                    <a:pt x="454" y="74"/>
                  </a:lnTo>
                  <a:lnTo>
                    <a:pt x="456" y="75"/>
                  </a:lnTo>
                  <a:lnTo>
                    <a:pt x="457" y="74"/>
                  </a:lnTo>
                  <a:lnTo>
                    <a:pt x="458" y="76"/>
                  </a:lnTo>
                  <a:lnTo>
                    <a:pt x="460" y="76"/>
                  </a:lnTo>
                  <a:lnTo>
                    <a:pt x="461" y="77"/>
                  </a:lnTo>
                  <a:lnTo>
                    <a:pt x="464" y="75"/>
                  </a:lnTo>
                  <a:lnTo>
                    <a:pt x="463" y="73"/>
                  </a:lnTo>
                  <a:lnTo>
                    <a:pt x="464" y="71"/>
                  </a:lnTo>
                  <a:lnTo>
                    <a:pt x="466" y="70"/>
                  </a:lnTo>
                  <a:lnTo>
                    <a:pt x="467" y="70"/>
                  </a:lnTo>
                  <a:lnTo>
                    <a:pt x="466" y="73"/>
                  </a:lnTo>
                  <a:lnTo>
                    <a:pt x="467" y="73"/>
                  </a:lnTo>
                  <a:lnTo>
                    <a:pt x="469" y="70"/>
                  </a:lnTo>
                  <a:lnTo>
                    <a:pt x="470" y="71"/>
                  </a:lnTo>
                  <a:lnTo>
                    <a:pt x="472" y="73"/>
                  </a:lnTo>
                  <a:lnTo>
                    <a:pt x="473" y="73"/>
                  </a:lnTo>
                  <a:lnTo>
                    <a:pt x="474" y="73"/>
                  </a:lnTo>
                  <a:lnTo>
                    <a:pt x="472" y="74"/>
                  </a:lnTo>
                  <a:lnTo>
                    <a:pt x="468" y="75"/>
                  </a:lnTo>
                  <a:lnTo>
                    <a:pt x="469" y="77"/>
                  </a:lnTo>
                  <a:lnTo>
                    <a:pt x="470" y="76"/>
                  </a:lnTo>
                  <a:lnTo>
                    <a:pt x="474" y="74"/>
                  </a:lnTo>
                  <a:lnTo>
                    <a:pt x="472" y="77"/>
                  </a:lnTo>
                  <a:lnTo>
                    <a:pt x="473" y="79"/>
                  </a:lnTo>
                  <a:lnTo>
                    <a:pt x="472" y="79"/>
                  </a:lnTo>
                  <a:lnTo>
                    <a:pt x="470" y="80"/>
                  </a:lnTo>
                  <a:lnTo>
                    <a:pt x="472" y="81"/>
                  </a:lnTo>
                  <a:lnTo>
                    <a:pt x="473" y="81"/>
                  </a:lnTo>
                  <a:lnTo>
                    <a:pt x="475" y="82"/>
                  </a:lnTo>
                  <a:lnTo>
                    <a:pt x="476" y="82"/>
                  </a:lnTo>
                  <a:lnTo>
                    <a:pt x="476" y="83"/>
                  </a:lnTo>
                  <a:lnTo>
                    <a:pt x="479" y="83"/>
                  </a:lnTo>
                  <a:lnTo>
                    <a:pt x="480" y="85"/>
                  </a:lnTo>
                  <a:lnTo>
                    <a:pt x="479" y="85"/>
                  </a:lnTo>
                  <a:lnTo>
                    <a:pt x="480" y="86"/>
                  </a:lnTo>
                  <a:lnTo>
                    <a:pt x="480" y="87"/>
                  </a:lnTo>
                  <a:lnTo>
                    <a:pt x="478" y="87"/>
                  </a:lnTo>
                  <a:lnTo>
                    <a:pt x="479" y="88"/>
                  </a:lnTo>
                  <a:lnTo>
                    <a:pt x="480" y="91"/>
                  </a:lnTo>
                  <a:lnTo>
                    <a:pt x="482" y="89"/>
                  </a:lnTo>
                  <a:lnTo>
                    <a:pt x="482" y="91"/>
                  </a:lnTo>
                  <a:lnTo>
                    <a:pt x="482" y="94"/>
                  </a:lnTo>
                  <a:lnTo>
                    <a:pt x="484" y="94"/>
                  </a:lnTo>
                  <a:lnTo>
                    <a:pt x="482" y="97"/>
                  </a:lnTo>
                  <a:lnTo>
                    <a:pt x="484" y="98"/>
                  </a:lnTo>
                  <a:lnTo>
                    <a:pt x="481" y="101"/>
                  </a:lnTo>
                  <a:lnTo>
                    <a:pt x="481" y="97"/>
                  </a:lnTo>
                  <a:lnTo>
                    <a:pt x="480" y="92"/>
                  </a:lnTo>
                  <a:lnTo>
                    <a:pt x="478" y="92"/>
                  </a:lnTo>
                  <a:lnTo>
                    <a:pt x="474" y="89"/>
                  </a:lnTo>
                  <a:lnTo>
                    <a:pt x="474" y="91"/>
                  </a:lnTo>
                  <a:lnTo>
                    <a:pt x="474" y="94"/>
                  </a:lnTo>
                  <a:lnTo>
                    <a:pt x="474" y="95"/>
                  </a:lnTo>
                  <a:lnTo>
                    <a:pt x="473" y="98"/>
                  </a:lnTo>
                  <a:lnTo>
                    <a:pt x="472" y="99"/>
                  </a:lnTo>
                  <a:lnTo>
                    <a:pt x="469" y="99"/>
                  </a:lnTo>
                  <a:lnTo>
                    <a:pt x="468" y="98"/>
                  </a:lnTo>
                  <a:lnTo>
                    <a:pt x="467" y="99"/>
                  </a:lnTo>
                  <a:lnTo>
                    <a:pt x="460" y="100"/>
                  </a:lnTo>
                  <a:lnTo>
                    <a:pt x="457" y="100"/>
                  </a:lnTo>
                  <a:lnTo>
                    <a:pt x="457" y="101"/>
                  </a:lnTo>
                  <a:lnTo>
                    <a:pt x="457" y="103"/>
                  </a:lnTo>
                  <a:lnTo>
                    <a:pt x="460" y="101"/>
                  </a:lnTo>
                  <a:lnTo>
                    <a:pt x="460" y="103"/>
                  </a:lnTo>
                  <a:lnTo>
                    <a:pt x="461" y="103"/>
                  </a:lnTo>
                  <a:lnTo>
                    <a:pt x="464" y="100"/>
                  </a:lnTo>
                  <a:lnTo>
                    <a:pt x="469" y="100"/>
                  </a:lnTo>
                  <a:lnTo>
                    <a:pt x="472" y="100"/>
                  </a:lnTo>
                  <a:lnTo>
                    <a:pt x="474" y="101"/>
                  </a:lnTo>
                  <a:lnTo>
                    <a:pt x="475" y="103"/>
                  </a:lnTo>
                  <a:lnTo>
                    <a:pt x="474" y="103"/>
                  </a:lnTo>
                  <a:lnTo>
                    <a:pt x="472" y="104"/>
                  </a:lnTo>
                  <a:lnTo>
                    <a:pt x="473" y="104"/>
                  </a:lnTo>
                  <a:lnTo>
                    <a:pt x="470" y="105"/>
                  </a:lnTo>
                  <a:lnTo>
                    <a:pt x="469" y="106"/>
                  </a:lnTo>
                  <a:lnTo>
                    <a:pt x="470" y="107"/>
                  </a:lnTo>
                  <a:lnTo>
                    <a:pt x="468" y="107"/>
                  </a:lnTo>
                  <a:lnTo>
                    <a:pt x="469" y="109"/>
                  </a:lnTo>
                  <a:lnTo>
                    <a:pt x="472" y="111"/>
                  </a:lnTo>
                  <a:lnTo>
                    <a:pt x="470" y="111"/>
                  </a:lnTo>
                  <a:lnTo>
                    <a:pt x="470" y="113"/>
                  </a:lnTo>
                  <a:lnTo>
                    <a:pt x="470" y="115"/>
                  </a:lnTo>
                  <a:lnTo>
                    <a:pt x="469" y="112"/>
                  </a:lnTo>
                  <a:lnTo>
                    <a:pt x="469" y="113"/>
                  </a:lnTo>
                  <a:lnTo>
                    <a:pt x="468" y="112"/>
                  </a:lnTo>
                  <a:lnTo>
                    <a:pt x="467" y="113"/>
                  </a:lnTo>
                  <a:lnTo>
                    <a:pt x="466" y="111"/>
                  </a:lnTo>
                  <a:lnTo>
                    <a:pt x="466" y="107"/>
                  </a:lnTo>
                  <a:lnTo>
                    <a:pt x="466" y="106"/>
                  </a:lnTo>
                  <a:lnTo>
                    <a:pt x="463" y="105"/>
                  </a:lnTo>
                  <a:lnTo>
                    <a:pt x="462" y="104"/>
                  </a:lnTo>
                  <a:lnTo>
                    <a:pt x="461" y="106"/>
                  </a:lnTo>
                  <a:lnTo>
                    <a:pt x="460" y="109"/>
                  </a:lnTo>
                  <a:lnTo>
                    <a:pt x="458" y="110"/>
                  </a:lnTo>
                  <a:lnTo>
                    <a:pt x="455" y="115"/>
                  </a:lnTo>
                  <a:lnTo>
                    <a:pt x="455" y="112"/>
                  </a:lnTo>
                  <a:lnTo>
                    <a:pt x="456" y="110"/>
                  </a:lnTo>
                  <a:lnTo>
                    <a:pt x="454" y="112"/>
                  </a:lnTo>
                  <a:lnTo>
                    <a:pt x="450" y="116"/>
                  </a:lnTo>
                  <a:lnTo>
                    <a:pt x="450" y="113"/>
                  </a:lnTo>
                  <a:lnTo>
                    <a:pt x="451" y="112"/>
                  </a:lnTo>
                  <a:lnTo>
                    <a:pt x="451" y="111"/>
                  </a:lnTo>
                  <a:lnTo>
                    <a:pt x="449" y="111"/>
                  </a:lnTo>
                  <a:lnTo>
                    <a:pt x="448" y="113"/>
                  </a:lnTo>
                  <a:lnTo>
                    <a:pt x="446" y="115"/>
                  </a:lnTo>
                  <a:lnTo>
                    <a:pt x="446" y="116"/>
                  </a:lnTo>
                  <a:lnTo>
                    <a:pt x="445" y="118"/>
                  </a:lnTo>
                  <a:lnTo>
                    <a:pt x="444" y="119"/>
                  </a:lnTo>
                  <a:lnTo>
                    <a:pt x="443" y="121"/>
                  </a:lnTo>
                  <a:lnTo>
                    <a:pt x="444" y="122"/>
                  </a:lnTo>
                  <a:lnTo>
                    <a:pt x="445" y="121"/>
                  </a:lnTo>
                  <a:lnTo>
                    <a:pt x="446" y="119"/>
                  </a:lnTo>
                  <a:lnTo>
                    <a:pt x="446" y="122"/>
                  </a:lnTo>
                  <a:lnTo>
                    <a:pt x="445" y="125"/>
                  </a:lnTo>
                  <a:lnTo>
                    <a:pt x="444" y="128"/>
                  </a:lnTo>
                  <a:lnTo>
                    <a:pt x="445" y="128"/>
                  </a:lnTo>
                  <a:lnTo>
                    <a:pt x="444" y="129"/>
                  </a:lnTo>
                  <a:lnTo>
                    <a:pt x="444" y="131"/>
                  </a:lnTo>
                  <a:lnTo>
                    <a:pt x="445" y="130"/>
                  </a:lnTo>
                  <a:lnTo>
                    <a:pt x="448" y="130"/>
                  </a:lnTo>
                  <a:lnTo>
                    <a:pt x="450" y="129"/>
                  </a:lnTo>
                  <a:lnTo>
                    <a:pt x="452" y="130"/>
                  </a:lnTo>
                  <a:lnTo>
                    <a:pt x="454" y="131"/>
                  </a:lnTo>
                  <a:lnTo>
                    <a:pt x="454" y="133"/>
                  </a:lnTo>
                  <a:lnTo>
                    <a:pt x="452" y="133"/>
                  </a:lnTo>
                  <a:lnTo>
                    <a:pt x="452" y="135"/>
                  </a:lnTo>
                  <a:lnTo>
                    <a:pt x="451" y="135"/>
                  </a:lnTo>
                  <a:lnTo>
                    <a:pt x="451" y="138"/>
                  </a:lnTo>
                  <a:lnTo>
                    <a:pt x="449" y="136"/>
                  </a:lnTo>
                  <a:lnTo>
                    <a:pt x="448" y="135"/>
                  </a:lnTo>
                  <a:lnTo>
                    <a:pt x="446" y="134"/>
                  </a:lnTo>
                  <a:lnTo>
                    <a:pt x="445" y="133"/>
                  </a:lnTo>
                  <a:lnTo>
                    <a:pt x="444" y="134"/>
                  </a:lnTo>
                  <a:lnTo>
                    <a:pt x="443" y="135"/>
                  </a:lnTo>
                  <a:lnTo>
                    <a:pt x="445" y="135"/>
                  </a:lnTo>
                  <a:lnTo>
                    <a:pt x="443" y="136"/>
                  </a:lnTo>
                  <a:lnTo>
                    <a:pt x="443" y="138"/>
                  </a:lnTo>
                  <a:lnTo>
                    <a:pt x="445" y="138"/>
                  </a:lnTo>
                  <a:lnTo>
                    <a:pt x="448" y="138"/>
                  </a:lnTo>
                  <a:lnTo>
                    <a:pt x="450" y="138"/>
                  </a:lnTo>
                  <a:lnTo>
                    <a:pt x="450" y="139"/>
                  </a:lnTo>
                  <a:lnTo>
                    <a:pt x="451" y="139"/>
                  </a:lnTo>
                  <a:lnTo>
                    <a:pt x="450" y="139"/>
                  </a:lnTo>
                  <a:lnTo>
                    <a:pt x="451" y="140"/>
                  </a:lnTo>
                  <a:lnTo>
                    <a:pt x="451" y="141"/>
                  </a:lnTo>
                  <a:lnTo>
                    <a:pt x="450" y="141"/>
                  </a:lnTo>
                  <a:lnTo>
                    <a:pt x="451" y="144"/>
                  </a:lnTo>
                  <a:lnTo>
                    <a:pt x="451" y="145"/>
                  </a:lnTo>
                  <a:lnTo>
                    <a:pt x="449" y="141"/>
                  </a:lnTo>
                  <a:lnTo>
                    <a:pt x="446" y="139"/>
                  </a:lnTo>
                  <a:lnTo>
                    <a:pt x="446" y="140"/>
                  </a:lnTo>
                  <a:lnTo>
                    <a:pt x="446" y="141"/>
                  </a:lnTo>
                  <a:lnTo>
                    <a:pt x="445" y="144"/>
                  </a:lnTo>
                  <a:lnTo>
                    <a:pt x="445" y="147"/>
                  </a:lnTo>
                  <a:lnTo>
                    <a:pt x="445" y="145"/>
                  </a:lnTo>
                  <a:lnTo>
                    <a:pt x="444" y="146"/>
                  </a:lnTo>
                  <a:lnTo>
                    <a:pt x="443" y="144"/>
                  </a:lnTo>
                  <a:lnTo>
                    <a:pt x="444" y="140"/>
                  </a:lnTo>
                  <a:lnTo>
                    <a:pt x="443" y="140"/>
                  </a:lnTo>
                  <a:lnTo>
                    <a:pt x="440" y="140"/>
                  </a:lnTo>
                  <a:lnTo>
                    <a:pt x="442" y="141"/>
                  </a:lnTo>
                  <a:lnTo>
                    <a:pt x="440" y="146"/>
                  </a:lnTo>
                  <a:lnTo>
                    <a:pt x="438" y="144"/>
                  </a:lnTo>
                  <a:lnTo>
                    <a:pt x="438" y="141"/>
                  </a:lnTo>
                  <a:lnTo>
                    <a:pt x="438" y="142"/>
                  </a:lnTo>
                  <a:lnTo>
                    <a:pt x="438" y="147"/>
                  </a:lnTo>
                  <a:lnTo>
                    <a:pt x="440" y="150"/>
                  </a:lnTo>
                  <a:lnTo>
                    <a:pt x="440" y="152"/>
                  </a:lnTo>
                  <a:lnTo>
                    <a:pt x="439" y="153"/>
                  </a:lnTo>
                  <a:lnTo>
                    <a:pt x="439" y="154"/>
                  </a:lnTo>
                  <a:lnTo>
                    <a:pt x="438" y="154"/>
                  </a:lnTo>
                  <a:lnTo>
                    <a:pt x="438" y="156"/>
                  </a:lnTo>
                  <a:lnTo>
                    <a:pt x="437" y="156"/>
                  </a:lnTo>
                  <a:lnTo>
                    <a:pt x="437" y="159"/>
                  </a:lnTo>
                  <a:lnTo>
                    <a:pt x="436" y="157"/>
                  </a:lnTo>
                  <a:lnTo>
                    <a:pt x="436" y="156"/>
                  </a:lnTo>
                  <a:lnTo>
                    <a:pt x="434" y="156"/>
                  </a:lnTo>
                  <a:lnTo>
                    <a:pt x="434" y="154"/>
                  </a:lnTo>
                  <a:lnTo>
                    <a:pt x="434" y="152"/>
                  </a:lnTo>
                  <a:lnTo>
                    <a:pt x="433" y="152"/>
                  </a:lnTo>
                  <a:lnTo>
                    <a:pt x="433" y="151"/>
                  </a:lnTo>
                  <a:lnTo>
                    <a:pt x="434" y="148"/>
                  </a:lnTo>
                  <a:lnTo>
                    <a:pt x="437" y="147"/>
                  </a:lnTo>
                  <a:lnTo>
                    <a:pt x="437" y="145"/>
                  </a:lnTo>
                  <a:lnTo>
                    <a:pt x="436" y="145"/>
                  </a:lnTo>
                  <a:lnTo>
                    <a:pt x="434" y="146"/>
                  </a:lnTo>
                  <a:lnTo>
                    <a:pt x="436" y="144"/>
                  </a:lnTo>
                  <a:lnTo>
                    <a:pt x="433" y="145"/>
                  </a:lnTo>
                  <a:lnTo>
                    <a:pt x="432" y="145"/>
                  </a:lnTo>
                  <a:lnTo>
                    <a:pt x="431" y="147"/>
                  </a:lnTo>
                  <a:lnTo>
                    <a:pt x="431" y="145"/>
                  </a:lnTo>
                  <a:lnTo>
                    <a:pt x="429" y="145"/>
                  </a:lnTo>
                  <a:lnTo>
                    <a:pt x="427" y="145"/>
                  </a:lnTo>
                  <a:lnTo>
                    <a:pt x="425" y="145"/>
                  </a:lnTo>
                  <a:lnTo>
                    <a:pt x="427" y="146"/>
                  </a:lnTo>
                  <a:lnTo>
                    <a:pt x="426" y="148"/>
                  </a:lnTo>
                  <a:lnTo>
                    <a:pt x="423" y="151"/>
                  </a:lnTo>
                  <a:lnTo>
                    <a:pt x="422" y="153"/>
                  </a:lnTo>
                  <a:lnTo>
                    <a:pt x="425" y="153"/>
                  </a:lnTo>
                  <a:lnTo>
                    <a:pt x="426" y="154"/>
                  </a:lnTo>
                  <a:lnTo>
                    <a:pt x="425" y="157"/>
                  </a:lnTo>
                  <a:lnTo>
                    <a:pt x="426" y="157"/>
                  </a:lnTo>
                  <a:lnTo>
                    <a:pt x="427" y="158"/>
                  </a:lnTo>
                  <a:lnTo>
                    <a:pt x="427" y="159"/>
                  </a:lnTo>
                  <a:lnTo>
                    <a:pt x="429" y="160"/>
                  </a:lnTo>
                  <a:lnTo>
                    <a:pt x="431" y="160"/>
                  </a:lnTo>
                  <a:lnTo>
                    <a:pt x="429" y="159"/>
                  </a:lnTo>
                  <a:lnTo>
                    <a:pt x="428" y="158"/>
                  </a:lnTo>
                  <a:lnTo>
                    <a:pt x="431" y="157"/>
                  </a:lnTo>
                  <a:lnTo>
                    <a:pt x="433" y="158"/>
                  </a:lnTo>
                  <a:lnTo>
                    <a:pt x="433" y="159"/>
                  </a:lnTo>
                  <a:lnTo>
                    <a:pt x="436" y="159"/>
                  </a:lnTo>
                  <a:lnTo>
                    <a:pt x="437" y="160"/>
                  </a:lnTo>
                  <a:lnTo>
                    <a:pt x="438" y="159"/>
                  </a:lnTo>
                  <a:lnTo>
                    <a:pt x="440" y="158"/>
                  </a:lnTo>
                  <a:lnTo>
                    <a:pt x="443" y="157"/>
                  </a:lnTo>
                  <a:lnTo>
                    <a:pt x="444" y="158"/>
                  </a:lnTo>
                  <a:lnTo>
                    <a:pt x="444" y="160"/>
                  </a:lnTo>
                  <a:lnTo>
                    <a:pt x="445" y="160"/>
                  </a:lnTo>
                  <a:lnTo>
                    <a:pt x="445" y="159"/>
                  </a:lnTo>
                  <a:lnTo>
                    <a:pt x="445" y="158"/>
                  </a:lnTo>
                  <a:lnTo>
                    <a:pt x="446" y="158"/>
                  </a:lnTo>
                  <a:lnTo>
                    <a:pt x="448" y="158"/>
                  </a:lnTo>
                  <a:lnTo>
                    <a:pt x="449" y="158"/>
                  </a:lnTo>
                  <a:lnTo>
                    <a:pt x="450" y="158"/>
                  </a:lnTo>
                  <a:lnTo>
                    <a:pt x="450" y="159"/>
                  </a:lnTo>
                  <a:lnTo>
                    <a:pt x="451" y="158"/>
                  </a:lnTo>
                  <a:lnTo>
                    <a:pt x="449" y="154"/>
                  </a:lnTo>
                  <a:lnTo>
                    <a:pt x="446" y="154"/>
                  </a:lnTo>
                  <a:lnTo>
                    <a:pt x="444" y="156"/>
                  </a:lnTo>
                  <a:lnTo>
                    <a:pt x="444" y="154"/>
                  </a:lnTo>
                  <a:lnTo>
                    <a:pt x="443" y="154"/>
                  </a:lnTo>
                  <a:lnTo>
                    <a:pt x="443" y="153"/>
                  </a:lnTo>
                  <a:lnTo>
                    <a:pt x="445" y="152"/>
                  </a:lnTo>
                  <a:lnTo>
                    <a:pt x="449" y="153"/>
                  </a:lnTo>
                  <a:lnTo>
                    <a:pt x="451" y="152"/>
                  </a:lnTo>
                  <a:lnTo>
                    <a:pt x="450" y="154"/>
                  </a:lnTo>
                  <a:lnTo>
                    <a:pt x="451" y="157"/>
                  </a:lnTo>
                  <a:lnTo>
                    <a:pt x="452" y="157"/>
                  </a:lnTo>
                  <a:lnTo>
                    <a:pt x="454" y="157"/>
                  </a:lnTo>
                  <a:lnTo>
                    <a:pt x="454" y="156"/>
                  </a:lnTo>
                  <a:lnTo>
                    <a:pt x="455" y="154"/>
                  </a:lnTo>
                  <a:lnTo>
                    <a:pt x="456" y="154"/>
                  </a:lnTo>
                  <a:lnTo>
                    <a:pt x="456" y="153"/>
                  </a:lnTo>
                  <a:lnTo>
                    <a:pt x="457" y="153"/>
                  </a:lnTo>
                  <a:lnTo>
                    <a:pt x="457" y="154"/>
                  </a:lnTo>
                  <a:lnTo>
                    <a:pt x="458" y="156"/>
                  </a:lnTo>
                  <a:lnTo>
                    <a:pt x="457" y="157"/>
                  </a:lnTo>
                  <a:lnTo>
                    <a:pt x="457" y="159"/>
                  </a:lnTo>
                  <a:lnTo>
                    <a:pt x="458" y="159"/>
                  </a:lnTo>
                  <a:lnTo>
                    <a:pt x="460" y="158"/>
                  </a:lnTo>
                  <a:lnTo>
                    <a:pt x="462" y="157"/>
                  </a:lnTo>
                  <a:lnTo>
                    <a:pt x="463" y="156"/>
                  </a:lnTo>
                  <a:lnTo>
                    <a:pt x="466" y="154"/>
                  </a:lnTo>
                  <a:lnTo>
                    <a:pt x="462" y="159"/>
                  </a:lnTo>
                  <a:lnTo>
                    <a:pt x="460" y="162"/>
                  </a:lnTo>
                  <a:lnTo>
                    <a:pt x="460" y="168"/>
                  </a:lnTo>
                  <a:lnTo>
                    <a:pt x="461" y="164"/>
                  </a:lnTo>
                  <a:lnTo>
                    <a:pt x="463" y="163"/>
                  </a:lnTo>
                  <a:lnTo>
                    <a:pt x="463" y="162"/>
                  </a:lnTo>
                  <a:lnTo>
                    <a:pt x="464" y="159"/>
                  </a:lnTo>
                  <a:lnTo>
                    <a:pt x="466" y="160"/>
                  </a:lnTo>
                  <a:lnTo>
                    <a:pt x="467" y="162"/>
                  </a:lnTo>
                  <a:lnTo>
                    <a:pt x="468" y="163"/>
                  </a:lnTo>
                  <a:lnTo>
                    <a:pt x="468" y="164"/>
                  </a:lnTo>
                  <a:lnTo>
                    <a:pt x="468" y="165"/>
                  </a:lnTo>
                  <a:lnTo>
                    <a:pt x="466" y="166"/>
                  </a:lnTo>
                  <a:lnTo>
                    <a:pt x="466" y="169"/>
                  </a:lnTo>
                  <a:lnTo>
                    <a:pt x="468" y="168"/>
                  </a:lnTo>
                  <a:lnTo>
                    <a:pt x="469" y="166"/>
                  </a:lnTo>
                  <a:lnTo>
                    <a:pt x="473" y="168"/>
                  </a:lnTo>
                  <a:lnTo>
                    <a:pt x="474" y="168"/>
                  </a:lnTo>
                  <a:lnTo>
                    <a:pt x="476" y="166"/>
                  </a:lnTo>
                  <a:lnTo>
                    <a:pt x="476" y="168"/>
                  </a:lnTo>
                  <a:lnTo>
                    <a:pt x="478" y="168"/>
                  </a:lnTo>
                  <a:lnTo>
                    <a:pt x="475" y="170"/>
                  </a:lnTo>
                  <a:lnTo>
                    <a:pt x="472" y="170"/>
                  </a:lnTo>
                  <a:lnTo>
                    <a:pt x="469" y="170"/>
                  </a:lnTo>
                  <a:lnTo>
                    <a:pt x="467" y="170"/>
                  </a:lnTo>
                  <a:lnTo>
                    <a:pt x="467" y="172"/>
                  </a:lnTo>
                  <a:lnTo>
                    <a:pt x="468" y="171"/>
                  </a:lnTo>
                  <a:lnTo>
                    <a:pt x="470" y="171"/>
                  </a:lnTo>
                  <a:lnTo>
                    <a:pt x="472" y="172"/>
                  </a:lnTo>
                  <a:lnTo>
                    <a:pt x="473" y="171"/>
                  </a:lnTo>
                  <a:lnTo>
                    <a:pt x="474" y="171"/>
                  </a:lnTo>
                  <a:lnTo>
                    <a:pt x="475" y="172"/>
                  </a:lnTo>
                  <a:lnTo>
                    <a:pt x="476" y="172"/>
                  </a:lnTo>
                  <a:lnTo>
                    <a:pt x="478" y="174"/>
                  </a:lnTo>
                  <a:lnTo>
                    <a:pt x="478" y="171"/>
                  </a:lnTo>
                  <a:lnTo>
                    <a:pt x="478" y="169"/>
                  </a:lnTo>
                  <a:lnTo>
                    <a:pt x="480" y="166"/>
                  </a:lnTo>
                  <a:lnTo>
                    <a:pt x="481" y="165"/>
                  </a:lnTo>
                  <a:lnTo>
                    <a:pt x="479" y="165"/>
                  </a:lnTo>
                  <a:lnTo>
                    <a:pt x="479" y="164"/>
                  </a:lnTo>
                  <a:lnTo>
                    <a:pt x="480" y="160"/>
                  </a:lnTo>
                  <a:lnTo>
                    <a:pt x="482" y="160"/>
                  </a:lnTo>
                  <a:lnTo>
                    <a:pt x="484" y="158"/>
                  </a:lnTo>
                  <a:lnTo>
                    <a:pt x="484" y="160"/>
                  </a:lnTo>
                  <a:lnTo>
                    <a:pt x="484" y="162"/>
                  </a:lnTo>
                  <a:lnTo>
                    <a:pt x="485" y="163"/>
                  </a:lnTo>
                  <a:lnTo>
                    <a:pt x="485" y="165"/>
                  </a:lnTo>
                  <a:lnTo>
                    <a:pt x="486" y="168"/>
                  </a:lnTo>
                  <a:lnTo>
                    <a:pt x="487" y="169"/>
                  </a:lnTo>
                  <a:lnTo>
                    <a:pt x="488" y="169"/>
                  </a:lnTo>
                  <a:lnTo>
                    <a:pt x="487" y="170"/>
                  </a:lnTo>
                  <a:lnTo>
                    <a:pt x="488" y="171"/>
                  </a:lnTo>
                  <a:lnTo>
                    <a:pt x="491" y="171"/>
                  </a:lnTo>
                  <a:lnTo>
                    <a:pt x="492" y="171"/>
                  </a:lnTo>
                  <a:lnTo>
                    <a:pt x="493" y="170"/>
                  </a:lnTo>
                  <a:lnTo>
                    <a:pt x="497" y="170"/>
                  </a:lnTo>
                  <a:lnTo>
                    <a:pt x="495" y="171"/>
                  </a:lnTo>
                  <a:lnTo>
                    <a:pt x="493" y="172"/>
                  </a:lnTo>
                  <a:lnTo>
                    <a:pt x="495" y="172"/>
                  </a:lnTo>
                  <a:lnTo>
                    <a:pt x="496" y="174"/>
                  </a:lnTo>
                  <a:lnTo>
                    <a:pt x="498" y="175"/>
                  </a:lnTo>
                  <a:lnTo>
                    <a:pt x="497" y="176"/>
                  </a:lnTo>
                  <a:lnTo>
                    <a:pt x="496" y="178"/>
                  </a:lnTo>
                  <a:lnTo>
                    <a:pt x="496" y="180"/>
                  </a:lnTo>
                  <a:lnTo>
                    <a:pt x="493" y="177"/>
                  </a:lnTo>
                  <a:lnTo>
                    <a:pt x="491" y="178"/>
                  </a:lnTo>
                  <a:lnTo>
                    <a:pt x="490" y="181"/>
                  </a:lnTo>
                  <a:lnTo>
                    <a:pt x="491" y="181"/>
                  </a:lnTo>
                  <a:lnTo>
                    <a:pt x="491" y="182"/>
                  </a:lnTo>
                  <a:lnTo>
                    <a:pt x="488" y="184"/>
                  </a:lnTo>
                  <a:lnTo>
                    <a:pt x="487" y="186"/>
                  </a:lnTo>
                  <a:lnTo>
                    <a:pt x="487" y="188"/>
                  </a:lnTo>
                  <a:lnTo>
                    <a:pt x="488" y="190"/>
                  </a:lnTo>
                  <a:lnTo>
                    <a:pt x="491" y="190"/>
                  </a:lnTo>
                  <a:lnTo>
                    <a:pt x="493" y="189"/>
                  </a:lnTo>
                  <a:lnTo>
                    <a:pt x="496" y="188"/>
                  </a:lnTo>
                  <a:lnTo>
                    <a:pt x="498" y="187"/>
                  </a:lnTo>
                  <a:lnTo>
                    <a:pt x="495" y="189"/>
                  </a:lnTo>
                  <a:lnTo>
                    <a:pt x="492" y="192"/>
                  </a:lnTo>
                  <a:lnTo>
                    <a:pt x="493" y="192"/>
                  </a:lnTo>
                  <a:lnTo>
                    <a:pt x="495" y="193"/>
                  </a:lnTo>
                  <a:lnTo>
                    <a:pt x="498" y="193"/>
                  </a:lnTo>
                  <a:lnTo>
                    <a:pt x="502" y="193"/>
                  </a:lnTo>
                  <a:lnTo>
                    <a:pt x="502" y="192"/>
                  </a:lnTo>
                  <a:lnTo>
                    <a:pt x="503" y="190"/>
                  </a:lnTo>
                  <a:lnTo>
                    <a:pt x="504" y="189"/>
                  </a:lnTo>
                  <a:lnTo>
                    <a:pt x="507" y="187"/>
                  </a:lnTo>
                  <a:lnTo>
                    <a:pt x="509" y="187"/>
                  </a:lnTo>
                  <a:lnTo>
                    <a:pt x="511" y="187"/>
                  </a:lnTo>
                  <a:lnTo>
                    <a:pt x="510" y="188"/>
                  </a:lnTo>
                  <a:lnTo>
                    <a:pt x="507" y="190"/>
                  </a:lnTo>
                  <a:lnTo>
                    <a:pt x="508" y="193"/>
                  </a:lnTo>
                  <a:lnTo>
                    <a:pt x="509" y="194"/>
                  </a:lnTo>
                  <a:lnTo>
                    <a:pt x="510" y="196"/>
                  </a:lnTo>
                  <a:lnTo>
                    <a:pt x="509" y="198"/>
                  </a:lnTo>
                  <a:lnTo>
                    <a:pt x="511" y="199"/>
                  </a:lnTo>
                  <a:lnTo>
                    <a:pt x="511" y="201"/>
                  </a:lnTo>
                  <a:lnTo>
                    <a:pt x="510" y="201"/>
                  </a:lnTo>
                  <a:lnTo>
                    <a:pt x="509" y="205"/>
                  </a:lnTo>
                  <a:lnTo>
                    <a:pt x="509" y="206"/>
                  </a:lnTo>
                  <a:lnTo>
                    <a:pt x="511" y="206"/>
                  </a:lnTo>
                  <a:lnTo>
                    <a:pt x="513" y="205"/>
                  </a:lnTo>
                  <a:lnTo>
                    <a:pt x="515" y="204"/>
                  </a:lnTo>
                  <a:lnTo>
                    <a:pt x="513" y="204"/>
                  </a:lnTo>
                  <a:lnTo>
                    <a:pt x="513" y="201"/>
                  </a:lnTo>
                  <a:lnTo>
                    <a:pt x="516" y="200"/>
                  </a:lnTo>
                  <a:lnTo>
                    <a:pt x="517" y="200"/>
                  </a:lnTo>
                  <a:lnTo>
                    <a:pt x="519" y="199"/>
                  </a:lnTo>
                  <a:lnTo>
                    <a:pt x="519" y="195"/>
                  </a:lnTo>
                  <a:lnTo>
                    <a:pt x="521" y="193"/>
                  </a:lnTo>
                  <a:lnTo>
                    <a:pt x="520" y="198"/>
                  </a:lnTo>
                  <a:lnTo>
                    <a:pt x="521" y="199"/>
                  </a:lnTo>
                  <a:lnTo>
                    <a:pt x="522" y="199"/>
                  </a:lnTo>
                  <a:lnTo>
                    <a:pt x="521" y="200"/>
                  </a:lnTo>
                  <a:lnTo>
                    <a:pt x="520" y="204"/>
                  </a:lnTo>
                  <a:lnTo>
                    <a:pt x="521" y="205"/>
                  </a:lnTo>
                  <a:lnTo>
                    <a:pt x="520" y="207"/>
                  </a:lnTo>
                  <a:lnTo>
                    <a:pt x="522" y="210"/>
                  </a:lnTo>
                  <a:lnTo>
                    <a:pt x="520" y="212"/>
                  </a:lnTo>
                  <a:lnTo>
                    <a:pt x="517" y="212"/>
                  </a:lnTo>
                  <a:lnTo>
                    <a:pt x="514" y="212"/>
                  </a:lnTo>
                  <a:lnTo>
                    <a:pt x="511" y="211"/>
                  </a:lnTo>
                  <a:lnTo>
                    <a:pt x="508" y="213"/>
                  </a:lnTo>
                  <a:lnTo>
                    <a:pt x="507" y="214"/>
                  </a:lnTo>
                  <a:lnTo>
                    <a:pt x="508" y="214"/>
                  </a:lnTo>
                  <a:lnTo>
                    <a:pt x="511" y="214"/>
                  </a:lnTo>
                  <a:lnTo>
                    <a:pt x="511" y="217"/>
                  </a:lnTo>
                  <a:lnTo>
                    <a:pt x="514" y="217"/>
                  </a:lnTo>
                  <a:lnTo>
                    <a:pt x="514" y="218"/>
                  </a:lnTo>
                  <a:lnTo>
                    <a:pt x="516" y="218"/>
                  </a:lnTo>
                  <a:lnTo>
                    <a:pt x="519" y="219"/>
                  </a:lnTo>
                  <a:lnTo>
                    <a:pt x="521" y="219"/>
                  </a:lnTo>
                  <a:lnTo>
                    <a:pt x="522" y="218"/>
                  </a:lnTo>
                  <a:lnTo>
                    <a:pt x="522" y="220"/>
                  </a:lnTo>
                  <a:lnTo>
                    <a:pt x="523" y="222"/>
                  </a:lnTo>
                  <a:lnTo>
                    <a:pt x="521" y="222"/>
                  </a:lnTo>
                  <a:lnTo>
                    <a:pt x="520" y="223"/>
                  </a:lnTo>
                  <a:lnTo>
                    <a:pt x="522" y="225"/>
                  </a:lnTo>
                  <a:lnTo>
                    <a:pt x="521" y="225"/>
                  </a:lnTo>
                  <a:lnTo>
                    <a:pt x="520" y="228"/>
                  </a:lnTo>
                  <a:lnTo>
                    <a:pt x="519" y="228"/>
                  </a:lnTo>
                  <a:lnTo>
                    <a:pt x="517" y="228"/>
                  </a:lnTo>
                  <a:lnTo>
                    <a:pt x="519" y="230"/>
                  </a:lnTo>
                  <a:lnTo>
                    <a:pt x="517" y="229"/>
                  </a:lnTo>
                  <a:lnTo>
                    <a:pt x="516" y="231"/>
                  </a:lnTo>
                  <a:lnTo>
                    <a:pt x="515" y="231"/>
                  </a:lnTo>
                  <a:lnTo>
                    <a:pt x="514" y="231"/>
                  </a:lnTo>
                  <a:lnTo>
                    <a:pt x="514" y="232"/>
                  </a:lnTo>
                  <a:lnTo>
                    <a:pt x="511" y="232"/>
                  </a:lnTo>
                  <a:lnTo>
                    <a:pt x="510" y="231"/>
                  </a:lnTo>
                  <a:lnTo>
                    <a:pt x="510" y="232"/>
                  </a:lnTo>
                  <a:lnTo>
                    <a:pt x="509" y="230"/>
                  </a:lnTo>
                  <a:lnTo>
                    <a:pt x="508" y="231"/>
                  </a:lnTo>
                  <a:lnTo>
                    <a:pt x="509" y="232"/>
                  </a:lnTo>
                  <a:lnTo>
                    <a:pt x="510" y="234"/>
                  </a:lnTo>
                  <a:lnTo>
                    <a:pt x="513" y="235"/>
                  </a:lnTo>
                  <a:lnTo>
                    <a:pt x="514" y="238"/>
                  </a:lnTo>
                  <a:lnTo>
                    <a:pt x="514" y="241"/>
                  </a:lnTo>
                  <a:lnTo>
                    <a:pt x="513" y="237"/>
                  </a:lnTo>
                  <a:lnTo>
                    <a:pt x="510" y="236"/>
                  </a:lnTo>
                  <a:lnTo>
                    <a:pt x="509" y="237"/>
                  </a:lnTo>
                  <a:lnTo>
                    <a:pt x="508" y="236"/>
                  </a:lnTo>
                  <a:lnTo>
                    <a:pt x="507" y="237"/>
                  </a:lnTo>
                  <a:lnTo>
                    <a:pt x="508" y="235"/>
                  </a:lnTo>
                  <a:lnTo>
                    <a:pt x="507" y="234"/>
                  </a:lnTo>
                  <a:lnTo>
                    <a:pt x="505" y="235"/>
                  </a:lnTo>
                  <a:lnTo>
                    <a:pt x="504" y="237"/>
                  </a:lnTo>
                  <a:lnTo>
                    <a:pt x="503" y="236"/>
                  </a:lnTo>
                  <a:lnTo>
                    <a:pt x="502" y="237"/>
                  </a:lnTo>
                  <a:lnTo>
                    <a:pt x="501" y="238"/>
                  </a:lnTo>
                  <a:lnTo>
                    <a:pt x="499" y="235"/>
                  </a:lnTo>
                  <a:lnTo>
                    <a:pt x="499" y="232"/>
                  </a:lnTo>
                  <a:lnTo>
                    <a:pt x="498" y="232"/>
                  </a:lnTo>
                  <a:lnTo>
                    <a:pt x="497" y="231"/>
                  </a:lnTo>
                  <a:lnTo>
                    <a:pt x="498" y="228"/>
                  </a:lnTo>
                  <a:lnTo>
                    <a:pt x="498" y="225"/>
                  </a:lnTo>
                  <a:lnTo>
                    <a:pt x="496" y="226"/>
                  </a:lnTo>
                  <a:lnTo>
                    <a:pt x="492" y="229"/>
                  </a:lnTo>
                  <a:lnTo>
                    <a:pt x="488" y="232"/>
                  </a:lnTo>
                  <a:lnTo>
                    <a:pt x="488" y="234"/>
                  </a:lnTo>
                  <a:lnTo>
                    <a:pt x="490" y="234"/>
                  </a:lnTo>
                  <a:lnTo>
                    <a:pt x="490" y="235"/>
                  </a:lnTo>
                  <a:lnTo>
                    <a:pt x="488" y="236"/>
                  </a:lnTo>
                  <a:lnTo>
                    <a:pt x="491" y="240"/>
                  </a:lnTo>
                  <a:lnTo>
                    <a:pt x="492" y="241"/>
                  </a:lnTo>
                  <a:lnTo>
                    <a:pt x="498" y="246"/>
                  </a:lnTo>
                  <a:lnTo>
                    <a:pt x="499" y="243"/>
                  </a:lnTo>
                  <a:lnTo>
                    <a:pt x="501" y="241"/>
                  </a:lnTo>
                  <a:lnTo>
                    <a:pt x="503" y="242"/>
                  </a:lnTo>
                  <a:lnTo>
                    <a:pt x="502" y="243"/>
                  </a:lnTo>
                  <a:lnTo>
                    <a:pt x="507" y="245"/>
                  </a:lnTo>
                  <a:lnTo>
                    <a:pt x="505" y="248"/>
                  </a:lnTo>
                  <a:lnTo>
                    <a:pt x="507" y="252"/>
                  </a:lnTo>
                  <a:lnTo>
                    <a:pt x="511" y="251"/>
                  </a:lnTo>
                  <a:lnTo>
                    <a:pt x="511" y="249"/>
                  </a:lnTo>
                  <a:lnTo>
                    <a:pt x="510" y="249"/>
                  </a:lnTo>
                  <a:lnTo>
                    <a:pt x="513" y="246"/>
                  </a:lnTo>
                  <a:lnTo>
                    <a:pt x="515" y="246"/>
                  </a:lnTo>
                  <a:lnTo>
                    <a:pt x="517" y="243"/>
                  </a:lnTo>
                  <a:lnTo>
                    <a:pt x="519" y="245"/>
                  </a:lnTo>
                  <a:lnTo>
                    <a:pt x="517" y="247"/>
                  </a:lnTo>
                  <a:lnTo>
                    <a:pt x="515" y="249"/>
                  </a:lnTo>
                  <a:lnTo>
                    <a:pt x="513" y="251"/>
                  </a:lnTo>
                  <a:lnTo>
                    <a:pt x="513" y="252"/>
                  </a:lnTo>
                  <a:lnTo>
                    <a:pt x="507" y="252"/>
                  </a:lnTo>
                  <a:lnTo>
                    <a:pt x="507" y="254"/>
                  </a:lnTo>
                  <a:lnTo>
                    <a:pt x="505" y="254"/>
                  </a:lnTo>
                  <a:lnTo>
                    <a:pt x="504" y="255"/>
                  </a:lnTo>
                  <a:lnTo>
                    <a:pt x="507" y="257"/>
                  </a:lnTo>
                  <a:lnTo>
                    <a:pt x="505" y="259"/>
                  </a:lnTo>
                  <a:lnTo>
                    <a:pt x="504" y="260"/>
                  </a:lnTo>
                  <a:lnTo>
                    <a:pt x="503" y="258"/>
                  </a:lnTo>
                  <a:lnTo>
                    <a:pt x="503" y="255"/>
                  </a:lnTo>
                  <a:lnTo>
                    <a:pt x="503" y="253"/>
                  </a:lnTo>
                  <a:lnTo>
                    <a:pt x="502" y="254"/>
                  </a:lnTo>
                  <a:lnTo>
                    <a:pt x="501" y="257"/>
                  </a:lnTo>
                  <a:lnTo>
                    <a:pt x="498" y="258"/>
                  </a:lnTo>
                  <a:lnTo>
                    <a:pt x="497" y="257"/>
                  </a:lnTo>
                  <a:lnTo>
                    <a:pt x="497" y="253"/>
                  </a:lnTo>
                  <a:lnTo>
                    <a:pt x="496" y="255"/>
                  </a:lnTo>
                  <a:lnTo>
                    <a:pt x="495" y="258"/>
                  </a:lnTo>
                  <a:lnTo>
                    <a:pt x="492" y="259"/>
                  </a:lnTo>
                  <a:lnTo>
                    <a:pt x="492" y="258"/>
                  </a:lnTo>
                  <a:lnTo>
                    <a:pt x="491" y="255"/>
                  </a:lnTo>
                  <a:lnTo>
                    <a:pt x="492" y="253"/>
                  </a:lnTo>
                  <a:lnTo>
                    <a:pt x="491" y="252"/>
                  </a:lnTo>
                  <a:lnTo>
                    <a:pt x="490" y="253"/>
                  </a:lnTo>
                  <a:lnTo>
                    <a:pt x="487" y="253"/>
                  </a:lnTo>
                  <a:lnTo>
                    <a:pt x="487" y="251"/>
                  </a:lnTo>
                  <a:lnTo>
                    <a:pt x="487" y="248"/>
                  </a:lnTo>
                  <a:lnTo>
                    <a:pt x="486" y="248"/>
                  </a:lnTo>
                  <a:lnTo>
                    <a:pt x="487" y="246"/>
                  </a:lnTo>
                  <a:lnTo>
                    <a:pt x="486" y="243"/>
                  </a:lnTo>
                  <a:lnTo>
                    <a:pt x="485" y="243"/>
                  </a:lnTo>
                  <a:lnTo>
                    <a:pt x="484" y="246"/>
                  </a:lnTo>
                  <a:lnTo>
                    <a:pt x="482" y="245"/>
                  </a:lnTo>
                  <a:lnTo>
                    <a:pt x="484" y="242"/>
                  </a:lnTo>
                  <a:lnTo>
                    <a:pt x="481" y="242"/>
                  </a:lnTo>
                  <a:lnTo>
                    <a:pt x="481" y="245"/>
                  </a:lnTo>
                  <a:lnTo>
                    <a:pt x="481" y="247"/>
                  </a:lnTo>
                  <a:lnTo>
                    <a:pt x="481" y="248"/>
                  </a:lnTo>
                  <a:lnTo>
                    <a:pt x="481" y="251"/>
                  </a:lnTo>
                  <a:lnTo>
                    <a:pt x="481" y="252"/>
                  </a:lnTo>
                  <a:lnTo>
                    <a:pt x="482" y="252"/>
                  </a:lnTo>
                  <a:lnTo>
                    <a:pt x="482" y="255"/>
                  </a:lnTo>
                  <a:lnTo>
                    <a:pt x="481" y="258"/>
                  </a:lnTo>
                  <a:lnTo>
                    <a:pt x="484" y="259"/>
                  </a:lnTo>
                  <a:lnTo>
                    <a:pt x="482" y="260"/>
                  </a:lnTo>
                  <a:lnTo>
                    <a:pt x="485" y="261"/>
                  </a:lnTo>
                  <a:lnTo>
                    <a:pt x="486" y="261"/>
                  </a:lnTo>
                  <a:lnTo>
                    <a:pt x="487" y="259"/>
                  </a:lnTo>
                  <a:lnTo>
                    <a:pt x="490" y="259"/>
                  </a:lnTo>
                  <a:lnTo>
                    <a:pt x="491" y="261"/>
                  </a:lnTo>
                  <a:lnTo>
                    <a:pt x="493" y="263"/>
                  </a:lnTo>
                  <a:lnTo>
                    <a:pt x="492" y="264"/>
                  </a:lnTo>
                  <a:lnTo>
                    <a:pt x="495" y="265"/>
                  </a:lnTo>
                  <a:lnTo>
                    <a:pt x="492" y="266"/>
                  </a:lnTo>
                  <a:lnTo>
                    <a:pt x="487" y="265"/>
                  </a:lnTo>
                  <a:lnTo>
                    <a:pt x="485" y="265"/>
                  </a:lnTo>
                  <a:lnTo>
                    <a:pt x="481" y="264"/>
                  </a:lnTo>
                  <a:lnTo>
                    <a:pt x="479" y="265"/>
                  </a:lnTo>
                  <a:lnTo>
                    <a:pt x="475" y="267"/>
                  </a:lnTo>
                  <a:lnTo>
                    <a:pt x="475" y="265"/>
                  </a:lnTo>
                  <a:lnTo>
                    <a:pt x="473" y="267"/>
                  </a:lnTo>
                  <a:lnTo>
                    <a:pt x="473" y="264"/>
                  </a:lnTo>
                  <a:lnTo>
                    <a:pt x="469" y="263"/>
                  </a:lnTo>
                  <a:lnTo>
                    <a:pt x="469" y="265"/>
                  </a:lnTo>
                  <a:lnTo>
                    <a:pt x="470" y="266"/>
                  </a:lnTo>
                  <a:lnTo>
                    <a:pt x="469" y="266"/>
                  </a:lnTo>
                  <a:lnTo>
                    <a:pt x="468" y="269"/>
                  </a:lnTo>
                  <a:lnTo>
                    <a:pt x="469" y="270"/>
                  </a:lnTo>
                  <a:lnTo>
                    <a:pt x="468" y="270"/>
                  </a:lnTo>
                  <a:lnTo>
                    <a:pt x="468" y="272"/>
                  </a:lnTo>
                  <a:lnTo>
                    <a:pt x="467" y="270"/>
                  </a:lnTo>
                  <a:lnTo>
                    <a:pt x="466" y="267"/>
                  </a:lnTo>
                  <a:lnTo>
                    <a:pt x="466" y="269"/>
                  </a:lnTo>
                  <a:lnTo>
                    <a:pt x="466" y="266"/>
                  </a:lnTo>
                  <a:lnTo>
                    <a:pt x="464" y="267"/>
                  </a:lnTo>
                  <a:lnTo>
                    <a:pt x="463" y="269"/>
                  </a:lnTo>
                  <a:lnTo>
                    <a:pt x="463" y="267"/>
                  </a:lnTo>
                  <a:lnTo>
                    <a:pt x="462" y="267"/>
                  </a:lnTo>
                  <a:lnTo>
                    <a:pt x="461" y="266"/>
                  </a:lnTo>
                  <a:lnTo>
                    <a:pt x="460" y="266"/>
                  </a:lnTo>
                  <a:lnTo>
                    <a:pt x="460" y="265"/>
                  </a:lnTo>
                  <a:lnTo>
                    <a:pt x="457" y="265"/>
                  </a:lnTo>
                  <a:lnTo>
                    <a:pt x="456" y="266"/>
                  </a:lnTo>
                  <a:lnTo>
                    <a:pt x="455" y="269"/>
                  </a:lnTo>
                  <a:lnTo>
                    <a:pt x="454" y="270"/>
                  </a:lnTo>
                  <a:lnTo>
                    <a:pt x="452" y="272"/>
                  </a:lnTo>
                  <a:lnTo>
                    <a:pt x="452" y="269"/>
                  </a:lnTo>
                  <a:lnTo>
                    <a:pt x="450" y="269"/>
                  </a:lnTo>
                  <a:lnTo>
                    <a:pt x="448" y="269"/>
                  </a:lnTo>
                  <a:lnTo>
                    <a:pt x="448" y="270"/>
                  </a:lnTo>
                  <a:lnTo>
                    <a:pt x="446" y="269"/>
                  </a:lnTo>
                  <a:lnTo>
                    <a:pt x="444" y="269"/>
                  </a:lnTo>
                  <a:lnTo>
                    <a:pt x="442" y="270"/>
                  </a:lnTo>
                  <a:lnTo>
                    <a:pt x="442" y="273"/>
                  </a:lnTo>
                  <a:lnTo>
                    <a:pt x="440" y="272"/>
                  </a:lnTo>
                  <a:lnTo>
                    <a:pt x="439" y="271"/>
                  </a:lnTo>
                  <a:lnTo>
                    <a:pt x="439" y="272"/>
                  </a:lnTo>
                  <a:lnTo>
                    <a:pt x="438" y="273"/>
                  </a:lnTo>
                  <a:lnTo>
                    <a:pt x="439" y="275"/>
                  </a:lnTo>
                  <a:lnTo>
                    <a:pt x="440" y="275"/>
                  </a:lnTo>
                  <a:lnTo>
                    <a:pt x="439" y="277"/>
                  </a:lnTo>
                  <a:lnTo>
                    <a:pt x="439" y="278"/>
                  </a:lnTo>
                  <a:lnTo>
                    <a:pt x="440" y="278"/>
                  </a:lnTo>
                  <a:lnTo>
                    <a:pt x="443" y="278"/>
                  </a:lnTo>
                  <a:lnTo>
                    <a:pt x="443" y="277"/>
                  </a:lnTo>
                  <a:lnTo>
                    <a:pt x="444" y="278"/>
                  </a:lnTo>
                  <a:lnTo>
                    <a:pt x="445" y="277"/>
                  </a:lnTo>
                  <a:lnTo>
                    <a:pt x="445" y="273"/>
                  </a:lnTo>
                  <a:lnTo>
                    <a:pt x="448" y="276"/>
                  </a:lnTo>
                  <a:lnTo>
                    <a:pt x="448" y="277"/>
                  </a:lnTo>
                  <a:lnTo>
                    <a:pt x="450" y="277"/>
                  </a:lnTo>
                  <a:lnTo>
                    <a:pt x="451" y="279"/>
                  </a:lnTo>
                  <a:lnTo>
                    <a:pt x="450" y="279"/>
                  </a:lnTo>
                  <a:lnTo>
                    <a:pt x="449" y="281"/>
                  </a:lnTo>
                  <a:lnTo>
                    <a:pt x="450" y="282"/>
                  </a:lnTo>
                  <a:lnTo>
                    <a:pt x="449" y="282"/>
                  </a:lnTo>
                  <a:lnTo>
                    <a:pt x="448" y="283"/>
                  </a:lnTo>
                  <a:lnTo>
                    <a:pt x="450" y="284"/>
                  </a:lnTo>
                  <a:lnTo>
                    <a:pt x="451" y="283"/>
                  </a:lnTo>
                  <a:lnTo>
                    <a:pt x="451" y="282"/>
                  </a:lnTo>
                  <a:lnTo>
                    <a:pt x="452" y="284"/>
                  </a:lnTo>
                  <a:lnTo>
                    <a:pt x="451" y="287"/>
                  </a:lnTo>
                  <a:lnTo>
                    <a:pt x="450" y="287"/>
                  </a:lnTo>
                  <a:lnTo>
                    <a:pt x="450" y="288"/>
                  </a:lnTo>
                  <a:lnTo>
                    <a:pt x="452" y="288"/>
                  </a:lnTo>
                  <a:lnTo>
                    <a:pt x="454" y="289"/>
                  </a:lnTo>
                  <a:lnTo>
                    <a:pt x="455" y="289"/>
                  </a:lnTo>
                  <a:lnTo>
                    <a:pt x="456" y="290"/>
                  </a:lnTo>
                  <a:lnTo>
                    <a:pt x="456" y="294"/>
                  </a:lnTo>
                  <a:lnTo>
                    <a:pt x="457" y="295"/>
                  </a:lnTo>
                  <a:lnTo>
                    <a:pt x="458" y="295"/>
                  </a:lnTo>
                  <a:lnTo>
                    <a:pt x="461" y="295"/>
                  </a:lnTo>
                  <a:lnTo>
                    <a:pt x="462" y="295"/>
                  </a:lnTo>
                  <a:lnTo>
                    <a:pt x="462" y="293"/>
                  </a:lnTo>
                  <a:lnTo>
                    <a:pt x="463" y="291"/>
                  </a:lnTo>
                  <a:lnTo>
                    <a:pt x="464" y="290"/>
                  </a:lnTo>
                  <a:lnTo>
                    <a:pt x="467" y="290"/>
                  </a:lnTo>
                  <a:lnTo>
                    <a:pt x="466" y="293"/>
                  </a:lnTo>
                  <a:lnTo>
                    <a:pt x="466" y="294"/>
                  </a:lnTo>
                  <a:lnTo>
                    <a:pt x="467" y="294"/>
                  </a:lnTo>
                  <a:lnTo>
                    <a:pt x="466" y="296"/>
                  </a:lnTo>
                  <a:lnTo>
                    <a:pt x="467" y="299"/>
                  </a:lnTo>
                  <a:lnTo>
                    <a:pt x="468" y="300"/>
                  </a:lnTo>
                  <a:lnTo>
                    <a:pt x="468" y="301"/>
                  </a:lnTo>
                  <a:lnTo>
                    <a:pt x="468" y="300"/>
                  </a:lnTo>
                  <a:lnTo>
                    <a:pt x="469" y="301"/>
                  </a:lnTo>
                  <a:lnTo>
                    <a:pt x="469" y="305"/>
                  </a:lnTo>
                  <a:lnTo>
                    <a:pt x="469" y="307"/>
                  </a:lnTo>
                  <a:lnTo>
                    <a:pt x="472" y="307"/>
                  </a:lnTo>
                  <a:lnTo>
                    <a:pt x="473" y="306"/>
                  </a:lnTo>
                  <a:lnTo>
                    <a:pt x="474" y="306"/>
                  </a:lnTo>
                  <a:lnTo>
                    <a:pt x="475" y="307"/>
                  </a:lnTo>
                  <a:lnTo>
                    <a:pt x="478" y="307"/>
                  </a:lnTo>
                  <a:lnTo>
                    <a:pt x="476" y="307"/>
                  </a:lnTo>
                  <a:lnTo>
                    <a:pt x="478" y="306"/>
                  </a:lnTo>
                  <a:lnTo>
                    <a:pt x="479" y="305"/>
                  </a:lnTo>
                  <a:lnTo>
                    <a:pt x="480" y="305"/>
                  </a:lnTo>
                  <a:lnTo>
                    <a:pt x="481" y="307"/>
                  </a:lnTo>
                  <a:lnTo>
                    <a:pt x="480" y="308"/>
                  </a:lnTo>
                  <a:lnTo>
                    <a:pt x="482" y="309"/>
                  </a:lnTo>
                  <a:lnTo>
                    <a:pt x="486" y="312"/>
                  </a:lnTo>
                  <a:lnTo>
                    <a:pt x="485" y="312"/>
                  </a:lnTo>
                  <a:lnTo>
                    <a:pt x="484" y="313"/>
                  </a:lnTo>
                  <a:lnTo>
                    <a:pt x="485" y="314"/>
                  </a:lnTo>
                  <a:lnTo>
                    <a:pt x="486" y="314"/>
                  </a:lnTo>
                  <a:lnTo>
                    <a:pt x="486" y="319"/>
                  </a:lnTo>
                  <a:lnTo>
                    <a:pt x="484" y="321"/>
                  </a:lnTo>
                  <a:lnTo>
                    <a:pt x="482" y="321"/>
                  </a:lnTo>
                  <a:lnTo>
                    <a:pt x="482" y="323"/>
                  </a:lnTo>
                  <a:lnTo>
                    <a:pt x="479" y="326"/>
                  </a:lnTo>
                  <a:lnTo>
                    <a:pt x="476" y="327"/>
                  </a:lnTo>
                  <a:lnTo>
                    <a:pt x="475" y="329"/>
                  </a:lnTo>
                  <a:lnTo>
                    <a:pt x="474" y="329"/>
                  </a:lnTo>
                  <a:lnTo>
                    <a:pt x="473" y="330"/>
                  </a:lnTo>
                  <a:lnTo>
                    <a:pt x="475" y="331"/>
                  </a:lnTo>
                  <a:lnTo>
                    <a:pt x="481" y="333"/>
                  </a:lnTo>
                  <a:lnTo>
                    <a:pt x="485" y="333"/>
                  </a:lnTo>
                  <a:lnTo>
                    <a:pt x="486" y="335"/>
                  </a:lnTo>
                  <a:lnTo>
                    <a:pt x="488" y="337"/>
                  </a:lnTo>
                  <a:lnTo>
                    <a:pt x="488" y="339"/>
                  </a:lnTo>
                  <a:lnTo>
                    <a:pt x="487" y="338"/>
                  </a:lnTo>
                  <a:lnTo>
                    <a:pt x="485" y="337"/>
                  </a:lnTo>
                  <a:lnTo>
                    <a:pt x="482" y="336"/>
                  </a:lnTo>
                  <a:lnTo>
                    <a:pt x="481" y="336"/>
                  </a:lnTo>
                  <a:lnTo>
                    <a:pt x="481" y="335"/>
                  </a:lnTo>
                  <a:lnTo>
                    <a:pt x="479" y="333"/>
                  </a:lnTo>
                  <a:lnTo>
                    <a:pt x="474" y="332"/>
                  </a:lnTo>
                  <a:lnTo>
                    <a:pt x="474" y="333"/>
                  </a:lnTo>
                  <a:lnTo>
                    <a:pt x="473" y="335"/>
                  </a:lnTo>
                  <a:lnTo>
                    <a:pt x="472" y="336"/>
                  </a:lnTo>
                  <a:lnTo>
                    <a:pt x="472" y="337"/>
                  </a:lnTo>
                  <a:lnTo>
                    <a:pt x="470" y="339"/>
                  </a:lnTo>
                  <a:lnTo>
                    <a:pt x="469" y="339"/>
                  </a:lnTo>
                  <a:lnTo>
                    <a:pt x="468" y="341"/>
                  </a:lnTo>
                  <a:lnTo>
                    <a:pt x="467" y="341"/>
                  </a:lnTo>
                  <a:lnTo>
                    <a:pt x="468" y="337"/>
                  </a:lnTo>
                  <a:lnTo>
                    <a:pt x="468" y="335"/>
                  </a:lnTo>
                  <a:lnTo>
                    <a:pt x="468" y="332"/>
                  </a:lnTo>
                  <a:lnTo>
                    <a:pt x="470" y="331"/>
                  </a:lnTo>
                  <a:lnTo>
                    <a:pt x="472" y="330"/>
                  </a:lnTo>
                  <a:lnTo>
                    <a:pt x="469" y="330"/>
                  </a:lnTo>
                  <a:lnTo>
                    <a:pt x="468" y="330"/>
                  </a:lnTo>
                  <a:lnTo>
                    <a:pt x="467" y="332"/>
                  </a:lnTo>
                  <a:lnTo>
                    <a:pt x="467" y="333"/>
                  </a:lnTo>
                  <a:lnTo>
                    <a:pt x="466" y="335"/>
                  </a:lnTo>
                  <a:lnTo>
                    <a:pt x="466" y="332"/>
                  </a:lnTo>
                  <a:lnTo>
                    <a:pt x="467" y="329"/>
                  </a:lnTo>
                  <a:lnTo>
                    <a:pt x="464" y="330"/>
                  </a:lnTo>
                  <a:lnTo>
                    <a:pt x="464" y="331"/>
                  </a:lnTo>
                  <a:lnTo>
                    <a:pt x="463" y="332"/>
                  </a:lnTo>
                  <a:lnTo>
                    <a:pt x="462" y="330"/>
                  </a:lnTo>
                  <a:lnTo>
                    <a:pt x="461" y="329"/>
                  </a:lnTo>
                  <a:lnTo>
                    <a:pt x="460" y="327"/>
                  </a:lnTo>
                  <a:lnTo>
                    <a:pt x="458" y="327"/>
                  </a:lnTo>
                  <a:lnTo>
                    <a:pt x="457" y="326"/>
                  </a:lnTo>
                  <a:lnTo>
                    <a:pt x="457" y="324"/>
                  </a:lnTo>
                  <a:lnTo>
                    <a:pt x="455" y="325"/>
                  </a:lnTo>
                  <a:lnTo>
                    <a:pt x="454" y="326"/>
                  </a:lnTo>
                  <a:lnTo>
                    <a:pt x="454" y="325"/>
                  </a:lnTo>
                  <a:lnTo>
                    <a:pt x="455" y="323"/>
                  </a:lnTo>
                  <a:lnTo>
                    <a:pt x="454" y="321"/>
                  </a:lnTo>
                  <a:lnTo>
                    <a:pt x="450" y="321"/>
                  </a:lnTo>
                  <a:lnTo>
                    <a:pt x="450" y="319"/>
                  </a:lnTo>
                  <a:lnTo>
                    <a:pt x="449" y="319"/>
                  </a:lnTo>
                  <a:lnTo>
                    <a:pt x="448" y="320"/>
                  </a:lnTo>
                  <a:lnTo>
                    <a:pt x="446" y="319"/>
                  </a:lnTo>
                  <a:lnTo>
                    <a:pt x="450" y="318"/>
                  </a:lnTo>
                  <a:lnTo>
                    <a:pt x="450" y="317"/>
                  </a:lnTo>
                  <a:lnTo>
                    <a:pt x="448" y="315"/>
                  </a:lnTo>
                  <a:lnTo>
                    <a:pt x="449" y="314"/>
                  </a:lnTo>
                  <a:lnTo>
                    <a:pt x="448" y="315"/>
                  </a:lnTo>
                  <a:lnTo>
                    <a:pt x="446" y="314"/>
                  </a:lnTo>
                  <a:lnTo>
                    <a:pt x="445" y="312"/>
                  </a:lnTo>
                  <a:lnTo>
                    <a:pt x="443" y="312"/>
                  </a:lnTo>
                  <a:lnTo>
                    <a:pt x="444" y="317"/>
                  </a:lnTo>
                  <a:lnTo>
                    <a:pt x="444" y="324"/>
                  </a:lnTo>
                  <a:lnTo>
                    <a:pt x="444" y="325"/>
                  </a:lnTo>
                  <a:lnTo>
                    <a:pt x="445" y="327"/>
                  </a:lnTo>
                  <a:lnTo>
                    <a:pt x="445" y="330"/>
                  </a:lnTo>
                  <a:lnTo>
                    <a:pt x="444" y="329"/>
                  </a:lnTo>
                  <a:lnTo>
                    <a:pt x="443" y="325"/>
                  </a:lnTo>
                  <a:lnTo>
                    <a:pt x="443" y="321"/>
                  </a:lnTo>
                  <a:lnTo>
                    <a:pt x="442" y="323"/>
                  </a:lnTo>
                  <a:lnTo>
                    <a:pt x="439" y="326"/>
                  </a:lnTo>
                  <a:lnTo>
                    <a:pt x="439" y="327"/>
                  </a:lnTo>
                  <a:lnTo>
                    <a:pt x="440" y="331"/>
                  </a:lnTo>
                  <a:lnTo>
                    <a:pt x="438" y="333"/>
                  </a:lnTo>
                  <a:lnTo>
                    <a:pt x="434" y="337"/>
                  </a:lnTo>
                  <a:lnTo>
                    <a:pt x="433" y="338"/>
                  </a:lnTo>
                  <a:lnTo>
                    <a:pt x="438" y="343"/>
                  </a:lnTo>
                  <a:lnTo>
                    <a:pt x="440" y="344"/>
                  </a:lnTo>
                  <a:lnTo>
                    <a:pt x="440" y="343"/>
                  </a:lnTo>
                  <a:lnTo>
                    <a:pt x="444" y="344"/>
                  </a:lnTo>
                  <a:lnTo>
                    <a:pt x="445" y="345"/>
                  </a:lnTo>
                  <a:lnTo>
                    <a:pt x="444" y="347"/>
                  </a:lnTo>
                  <a:lnTo>
                    <a:pt x="445" y="347"/>
                  </a:lnTo>
                  <a:lnTo>
                    <a:pt x="446" y="347"/>
                  </a:lnTo>
                  <a:lnTo>
                    <a:pt x="448" y="347"/>
                  </a:lnTo>
                  <a:lnTo>
                    <a:pt x="449" y="344"/>
                  </a:lnTo>
                  <a:lnTo>
                    <a:pt x="449" y="342"/>
                  </a:lnTo>
                  <a:lnTo>
                    <a:pt x="450" y="341"/>
                  </a:lnTo>
                  <a:lnTo>
                    <a:pt x="452" y="343"/>
                  </a:lnTo>
                  <a:lnTo>
                    <a:pt x="451" y="347"/>
                  </a:lnTo>
                  <a:lnTo>
                    <a:pt x="451" y="349"/>
                  </a:lnTo>
                  <a:lnTo>
                    <a:pt x="452" y="347"/>
                  </a:lnTo>
                  <a:lnTo>
                    <a:pt x="454" y="347"/>
                  </a:lnTo>
                  <a:lnTo>
                    <a:pt x="454" y="349"/>
                  </a:lnTo>
                  <a:lnTo>
                    <a:pt x="455" y="348"/>
                  </a:lnTo>
                  <a:lnTo>
                    <a:pt x="456" y="348"/>
                  </a:lnTo>
                  <a:lnTo>
                    <a:pt x="456" y="350"/>
                  </a:lnTo>
                  <a:lnTo>
                    <a:pt x="452" y="350"/>
                  </a:lnTo>
                  <a:lnTo>
                    <a:pt x="452" y="352"/>
                  </a:lnTo>
                  <a:lnTo>
                    <a:pt x="454" y="353"/>
                  </a:lnTo>
                  <a:lnTo>
                    <a:pt x="455" y="354"/>
                  </a:lnTo>
                  <a:lnTo>
                    <a:pt x="456" y="356"/>
                  </a:lnTo>
                  <a:lnTo>
                    <a:pt x="455" y="359"/>
                  </a:lnTo>
                  <a:lnTo>
                    <a:pt x="454" y="358"/>
                  </a:lnTo>
                  <a:lnTo>
                    <a:pt x="454" y="359"/>
                  </a:lnTo>
                  <a:lnTo>
                    <a:pt x="452" y="362"/>
                  </a:lnTo>
                  <a:lnTo>
                    <a:pt x="451" y="361"/>
                  </a:lnTo>
                  <a:lnTo>
                    <a:pt x="449" y="359"/>
                  </a:lnTo>
                  <a:lnTo>
                    <a:pt x="450" y="356"/>
                  </a:lnTo>
                  <a:lnTo>
                    <a:pt x="450" y="353"/>
                  </a:lnTo>
                  <a:lnTo>
                    <a:pt x="449" y="354"/>
                  </a:lnTo>
                  <a:lnTo>
                    <a:pt x="448" y="355"/>
                  </a:lnTo>
                  <a:lnTo>
                    <a:pt x="446" y="355"/>
                  </a:lnTo>
                  <a:lnTo>
                    <a:pt x="446" y="352"/>
                  </a:lnTo>
                  <a:lnTo>
                    <a:pt x="445" y="352"/>
                  </a:lnTo>
                  <a:lnTo>
                    <a:pt x="444" y="352"/>
                  </a:lnTo>
                  <a:lnTo>
                    <a:pt x="443" y="348"/>
                  </a:lnTo>
                  <a:lnTo>
                    <a:pt x="443" y="347"/>
                  </a:lnTo>
                  <a:lnTo>
                    <a:pt x="443" y="349"/>
                  </a:lnTo>
                  <a:lnTo>
                    <a:pt x="439" y="349"/>
                  </a:lnTo>
                  <a:lnTo>
                    <a:pt x="439" y="348"/>
                  </a:lnTo>
                  <a:lnTo>
                    <a:pt x="440" y="347"/>
                  </a:lnTo>
                  <a:lnTo>
                    <a:pt x="440" y="345"/>
                  </a:lnTo>
                  <a:lnTo>
                    <a:pt x="437" y="343"/>
                  </a:lnTo>
                  <a:lnTo>
                    <a:pt x="434" y="341"/>
                  </a:lnTo>
                  <a:lnTo>
                    <a:pt x="433" y="343"/>
                  </a:lnTo>
                  <a:lnTo>
                    <a:pt x="434" y="344"/>
                  </a:lnTo>
                  <a:lnTo>
                    <a:pt x="436" y="348"/>
                  </a:lnTo>
                  <a:lnTo>
                    <a:pt x="437" y="350"/>
                  </a:lnTo>
                  <a:lnTo>
                    <a:pt x="434" y="355"/>
                  </a:lnTo>
                  <a:lnTo>
                    <a:pt x="433" y="356"/>
                  </a:lnTo>
                  <a:lnTo>
                    <a:pt x="433" y="359"/>
                  </a:lnTo>
                  <a:lnTo>
                    <a:pt x="432" y="361"/>
                  </a:lnTo>
                  <a:lnTo>
                    <a:pt x="432" y="362"/>
                  </a:lnTo>
                  <a:lnTo>
                    <a:pt x="433" y="365"/>
                  </a:lnTo>
                  <a:lnTo>
                    <a:pt x="434" y="365"/>
                  </a:lnTo>
                  <a:lnTo>
                    <a:pt x="436" y="362"/>
                  </a:lnTo>
                  <a:lnTo>
                    <a:pt x="437" y="361"/>
                  </a:lnTo>
                  <a:lnTo>
                    <a:pt x="439" y="362"/>
                  </a:lnTo>
                  <a:lnTo>
                    <a:pt x="439" y="365"/>
                  </a:lnTo>
                  <a:lnTo>
                    <a:pt x="442" y="365"/>
                  </a:lnTo>
                  <a:lnTo>
                    <a:pt x="444" y="366"/>
                  </a:lnTo>
                  <a:lnTo>
                    <a:pt x="445" y="367"/>
                  </a:lnTo>
                  <a:lnTo>
                    <a:pt x="446" y="366"/>
                  </a:lnTo>
                  <a:lnTo>
                    <a:pt x="448" y="365"/>
                  </a:lnTo>
                  <a:lnTo>
                    <a:pt x="450" y="364"/>
                  </a:lnTo>
                  <a:lnTo>
                    <a:pt x="452" y="365"/>
                  </a:lnTo>
                  <a:lnTo>
                    <a:pt x="449" y="365"/>
                  </a:lnTo>
                  <a:lnTo>
                    <a:pt x="448" y="367"/>
                  </a:lnTo>
                  <a:lnTo>
                    <a:pt x="448" y="368"/>
                  </a:lnTo>
                  <a:lnTo>
                    <a:pt x="449" y="368"/>
                  </a:lnTo>
                  <a:lnTo>
                    <a:pt x="452" y="368"/>
                  </a:lnTo>
                  <a:lnTo>
                    <a:pt x="454" y="368"/>
                  </a:lnTo>
                  <a:lnTo>
                    <a:pt x="455" y="367"/>
                  </a:lnTo>
                  <a:lnTo>
                    <a:pt x="456" y="367"/>
                  </a:lnTo>
                  <a:lnTo>
                    <a:pt x="458" y="367"/>
                  </a:lnTo>
                  <a:lnTo>
                    <a:pt x="458" y="366"/>
                  </a:lnTo>
                  <a:lnTo>
                    <a:pt x="460" y="367"/>
                  </a:lnTo>
                  <a:lnTo>
                    <a:pt x="460" y="370"/>
                  </a:lnTo>
                  <a:lnTo>
                    <a:pt x="457" y="373"/>
                  </a:lnTo>
                  <a:lnTo>
                    <a:pt x="458" y="374"/>
                  </a:lnTo>
                  <a:lnTo>
                    <a:pt x="460" y="376"/>
                  </a:lnTo>
                  <a:lnTo>
                    <a:pt x="458" y="380"/>
                  </a:lnTo>
                  <a:lnTo>
                    <a:pt x="457" y="384"/>
                  </a:lnTo>
                  <a:lnTo>
                    <a:pt x="456" y="385"/>
                  </a:lnTo>
                  <a:lnTo>
                    <a:pt x="456" y="388"/>
                  </a:lnTo>
                  <a:lnTo>
                    <a:pt x="455" y="389"/>
                  </a:lnTo>
                  <a:lnTo>
                    <a:pt x="457" y="390"/>
                  </a:lnTo>
                  <a:lnTo>
                    <a:pt x="456" y="395"/>
                  </a:lnTo>
                  <a:lnTo>
                    <a:pt x="456" y="396"/>
                  </a:lnTo>
                  <a:lnTo>
                    <a:pt x="454" y="396"/>
                  </a:lnTo>
                  <a:lnTo>
                    <a:pt x="454" y="397"/>
                  </a:lnTo>
                  <a:lnTo>
                    <a:pt x="454" y="400"/>
                  </a:lnTo>
                  <a:lnTo>
                    <a:pt x="452" y="400"/>
                  </a:lnTo>
                  <a:lnTo>
                    <a:pt x="452" y="398"/>
                  </a:lnTo>
                  <a:lnTo>
                    <a:pt x="452" y="401"/>
                  </a:lnTo>
                  <a:lnTo>
                    <a:pt x="454" y="402"/>
                  </a:lnTo>
                  <a:lnTo>
                    <a:pt x="455" y="402"/>
                  </a:lnTo>
                  <a:lnTo>
                    <a:pt x="455" y="400"/>
                  </a:lnTo>
                  <a:lnTo>
                    <a:pt x="455" y="398"/>
                  </a:lnTo>
                  <a:lnTo>
                    <a:pt x="456" y="398"/>
                  </a:lnTo>
                  <a:lnTo>
                    <a:pt x="457" y="402"/>
                  </a:lnTo>
                  <a:lnTo>
                    <a:pt x="457" y="404"/>
                  </a:lnTo>
                  <a:lnTo>
                    <a:pt x="458" y="406"/>
                  </a:lnTo>
                  <a:lnTo>
                    <a:pt x="460" y="407"/>
                  </a:lnTo>
                  <a:lnTo>
                    <a:pt x="461" y="408"/>
                  </a:lnTo>
                  <a:lnTo>
                    <a:pt x="461" y="409"/>
                  </a:lnTo>
                  <a:lnTo>
                    <a:pt x="461" y="410"/>
                  </a:lnTo>
                  <a:lnTo>
                    <a:pt x="462" y="410"/>
                  </a:lnTo>
                  <a:lnTo>
                    <a:pt x="462" y="412"/>
                  </a:lnTo>
                  <a:lnTo>
                    <a:pt x="463" y="412"/>
                  </a:lnTo>
                  <a:lnTo>
                    <a:pt x="464" y="412"/>
                  </a:lnTo>
                  <a:lnTo>
                    <a:pt x="466" y="413"/>
                  </a:lnTo>
                  <a:lnTo>
                    <a:pt x="468" y="415"/>
                  </a:lnTo>
                  <a:lnTo>
                    <a:pt x="466" y="415"/>
                  </a:lnTo>
                  <a:lnTo>
                    <a:pt x="464" y="415"/>
                  </a:lnTo>
                  <a:lnTo>
                    <a:pt x="463" y="414"/>
                  </a:lnTo>
                  <a:lnTo>
                    <a:pt x="463" y="415"/>
                  </a:lnTo>
                  <a:lnTo>
                    <a:pt x="466" y="418"/>
                  </a:lnTo>
                  <a:lnTo>
                    <a:pt x="468" y="419"/>
                  </a:lnTo>
                  <a:lnTo>
                    <a:pt x="468" y="421"/>
                  </a:lnTo>
                  <a:lnTo>
                    <a:pt x="466" y="420"/>
                  </a:lnTo>
                  <a:lnTo>
                    <a:pt x="463" y="418"/>
                  </a:lnTo>
                  <a:lnTo>
                    <a:pt x="463" y="419"/>
                  </a:lnTo>
                  <a:lnTo>
                    <a:pt x="461" y="419"/>
                  </a:lnTo>
                  <a:lnTo>
                    <a:pt x="461" y="420"/>
                  </a:lnTo>
                  <a:lnTo>
                    <a:pt x="458" y="422"/>
                  </a:lnTo>
                  <a:lnTo>
                    <a:pt x="456" y="424"/>
                  </a:lnTo>
                  <a:lnTo>
                    <a:pt x="455" y="425"/>
                  </a:lnTo>
                  <a:lnTo>
                    <a:pt x="455" y="421"/>
                  </a:lnTo>
                  <a:lnTo>
                    <a:pt x="455" y="420"/>
                  </a:lnTo>
                  <a:lnTo>
                    <a:pt x="456" y="418"/>
                  </a:lnTo>
                  <a:lnTo>
                    <a:pt x="457" y="415"/>
                  </a:lnTo>
                  <a:lnTo>
                    <a:pt x="456" y="414"/>
                  </a:lnTo>
                  <a:lnTo>
                    <a:pt x="455" y="416"/>
                  </a:lnTo>
                  <a:lnTo>
                    <a:pt x="454" y="416"/>
                  </a:lnTo>
                  <a:lnTo>
                    <a:pt x="452" y="413"/>
                  </a:lnTo>
                  <a:lnTo>
                    <a:pt x="451" y="412"/>
                  </a:lnTo>
                  <a:lnTo>
                    <a:pt x="451" y="415"/>
                  </a:lnTo>
                  <a:lnTo>
                    <a:pt x="449" y="415"/>
                  </a:lnTo>
                  <a:lnTo>
                    <a:pt x="449" y="418"/>
                  </a:lnTo>
                  <a:lnTo>
                    <a:pt x="450" y="420"/>
                  </a:lnTo>
                  <a:lnTo>
                    <a:pt x="448" y="418"/>
                  </a:lnTo>
                  <a:lnTo>
                    <a:pt x="449" y="420"/>
                  </a:lnTo>
                  <a:lnTo>
                    <a:pt x="450" y="421"/>
                  </a:lnTo>
                  <a:lnTo>
                    <a:pt x="448" y="420"/>
                  </a:lnTo>
                  <a:lnTo>
                    <a:pt x="448" y="421"/>
                  </a:lnTo>
                  <a:lnTo>
                    <a:pt x="446" y="422"/>
                  </a:lnTo>
                  <a:lnTo>
                    <a:pt x="445" y="425"/>
                  </a:lnTo>
                  <a:lnTo>
                    <a:pt x="444" y="426"/>
                  </a:lnTo>
                  <a:lnTo>
                    <a:pt x="443" y="428"/>
                  </a:lnTo>
                  <a:lnTo>
                    <a:pt x="442" y="427"/>
                  </a:lnTo>
                  <a:lnTo>
                    <a:pt x="442" y="425"/>
                  </a:lnTo>
                  <a:lnTo>
                    <a:pt x="440" y="427"/>
                  </a:lnTo>
                  <a:lnTo>
                    <a:pt x="440" y="428"/>
                  </a:lnTo>
                  <a:lnTo>
                    <a:pt x="439" y="426"/>
                  </a:lnTo>
                  <a:lnTo>
                    <a:pt x="438" y="426"/>
                  </a:lnTo>
                  <a:lnTo>
                    <a:pt x="438" y="428"/>
                  </a:lnTo>
                  <a:lnTo>
                    <a:pt x="438" y="431"/>
                  </a:lnTo>
                  <a:lnTo>
                    <a:pt x="437" y="430"/>
                  </a:lnTo>
                  <a:lnTo>
                    <a:pt x="436" y="431"/>
                  </a:lnTo>
                  <a:lnTo>
                    <a:pt x="434" y="432"/>
                  </a:lnTo>
                  <a:lnTo>
                    <a:pt x="433" y="432"/>
                  </a:lnTo>
                  <a:lnTo>
                    <a:pt x="432" y="433"/>
                  </a:lnTo>
                  <a:lnTo>
                    <a:pt x="431" y="432"/>
                  </a:lnTo>
                  <a:lnTo>
                    <a:pt x="431" y="433"/>
                  </a:lnTo>
                  <a:lnTo>
                    <a:pt x="429" y="433"/>
                  </a:lnTo>
                  <a:lnTo>
                    <a:pt x="429" y="431"/>
                  </a:lnTo>
                  <a:lnTo>
                    <a:pt x="428" y="428"/>
                  </a:lnTo>
                  <a:lnTo>
                    <a:pt x="428" y="426"/>
                  </a:lnTo>
                  <a:lnTo>
                    <a:pt x="427" y="426"/>
                  </a:lnTo>
                  <a:lnTo>
                    <a:pt x="427" y="428"/>
                  </a:lnTo>
                  <a:lnTo>
                    <a:pt x="426" y="431"/>
                  </a:lnTo>
                  <a:lnTo>
                    <a:pt x="426" y="433"/>
                  </a:lnTo>
                  <a:lnTo>
                    <a:pt x="428" y="436"/>
                  </a:lnTo>
                  <a:lnTo>
                    <a:pt x="428" y="439"/>
                  </a:lnTo>
                  <a:lnTo>
                    <a:pt x="429" y="440"/>
                  </a:lnTo>
                  <a:lnTo>
                    <a:pt x="428" y="440"/>
                  </a:lnTo>
                  <a:lnTo>
                    <a:pt x="426" y="438"/>
                  </a:lnTo>
                  <a:lnTo>
                    <a:pt x="425" y="438"/>
                  </a:lnTo>
                  <a:lnTo>
                    <a:pt x="423" y="439"/>
                  </a:lnTo>
                  <a:lnTo>
                    <a:pt x="425" y="442"/>
                  </a:lnTo>
                  <a:lnTo>
                    <a:pt x="423" y="444"/>
                  </a:lnTo>
                  <a:lnTo>
                    <a:pt x="423" y="445"/>
                  </a:lnTo>
                  <a:lnTo>
                    <a:pt x="422" y="444"/>
                  </a:lnTo>
                  <a:lnTo>
                    <a:pt x="421" y="445"/>
                  </a:lnTo>
                  <a:lnTo>
                    <a:pt x="419" y="448"/>
                  </a:lnTo>
                  <a:lnTo>
                    <a:pt x="419" y="451"/>
                  </a:lnTo>
                  <a:lnTo>
                    <a:pt x="420" y="455"/>
                  </a:lnTo>
                  <a:lnTo>
                    <a:pt x="422" y="458"/>
                  </a:lnTo>
                  <a:lnTo>
                    <a:pt x="421" y="460"/>
                  </a:lnTo>
                  <a:lnTo>
                    <a:pt x="420" y="461"/>
                  </a:lnTo>
                  <a:lnTo>
                    <a:pt x="419" y="463"/>
                  </a:lnTo>
                  <a:lnTo>
                    <a:pt x="417" y="467"/>
                  </a:lnTo>
                  <a:lnTo>
                    <a:pt x="415" y="469"/>
                  </a:lnTo>
                  <a:lnTo>
                    <a:pt x="414" y="472"/>
                  </a:lnTo>
                  <a:lnTo>
                    <a:pt x="414" y="468"/>
                  </a:lnTo>
                  <a:lnTo>
                    <a:pt x="413" y="466"/>
                  </a:lnTo>
                  <a:lnTo>
                    <a:pt x="411" y="463"/>
                  </a:lnTo>
                  <a:lnTo>
                    <a:pt x="410" y="463"/>
                  </a:lnTo>
                  <a:lnTo>
                    <a:pt x="408" y="465"/>
                  </a:lnTo>
                  <a:lnTo>
                    <a:pt x="409" y="462"/>
                  </a:lnTo>
                  <a:lnTo>
                    <a:pt x="408" y="462"/>
                  </a:lnTo>
                  <a:lnTo>
                    <a:pt x="407" y="465"/>
                  </a:lnTo>
                  <a:lnTo>
                    <a:pt x="405" y="467"/>
                  </a:lnTo>
                  <a:lnTo>
                    <a:pt x="405" y="463"/>
                  </a:lnTo>
                  <a:lnTo>
                    <a:pt x="404" y="461"/>
                  </a:lnTo>
                  <a:lnTo>
                    <a:pt x="405" y="458"/>
                  </a:lnTo>
                  <a:lnTo>
                    <a:pt x="407" y="458"/>
                  </a:lnTo>
                  <a:lnTo>
                    <a:pt x="408" y="460"/>
                  </a:lnTo>
                  <a:lnTo>
                    <a:pt x="409" y="458"/>
                  </a:lnTo>
                  <a:lnTo>
                    <a:pt x="410" y="455"/>
                  </a:lnTo>
                  <a:lnTo>
                    <a:pt x="410" y="451"/>
                  </a:lnTo>
                  <a:lnTo>
                    <a:pt x="411" y="449"/>
                  </a:lnTo>
                  <a:lnTo>
                    <a:pt x="409" y="449"/>
                  </a:lnTo>
                  <a:lnTo>
                    <a:pt x="407" y="448"/>
                  </a:lnTo>
                  <a:lnTo>
                    <a:pt x="405" y="450"/>
                  </a:lnTo>
                  <a:lnTo>
                    <a:pt x="405" y="448"/>
                  </a:lnTo>
                  <a:lnTo>
                    <a:pt x="407" y="446"/>
                  </a:lnTo>
                  <a:lnTo>
                    <a:pt x="404" y="449"/>
                  </a:lnTo>
                  <a:lnTo>
                    <a:pt x="402" y="450"/>
                  </a:lnTo>
                  <a:lnTo>
                    <a:pt x="401" y="454"/>
                  </a:lnTo>
                  <a:lnTo>
                    <a:pt x="398" y="455"/>
                  </a:lnTo>
                  <a:lnTo>
                    <a:pt x="396" y="455"/>
                  </a:lnTo>
                  <a:lnTo>
                    <a:pt x="396" y="454"/>
                  </a:lnTo>
                  <a:lnTo>
                    <a:pt x="396" y="452"/>
                  </a:lnTo>
                  <a:lnTo>
                    <a:pt x="393" y="455"/>
                  </a:lnTo>
                  <a:lnTo>
                    <a:pt x="393" y="456"/>
                  </a:lnTo>
                  <a:lnTo>
                    <a:pt x="393" y="458"/>
                  </a:lnTo>
                  <a:lnTo>
                    <a:pt x="393" y="460"/>
                  </a:lnTo>
                  <a:lnTo>
                    <a:pt x="392" y="462"/>
                  </a:lnTo>
                  <a:lnTo>
                    <a:pt x="391" y="463"/>
                  </a:lnTo>
                  <a:lnTo>
                    <a:pt x="390" y="466"/>
                  </a:lnTo>
                  <a:lnTo>
                    <a:pt x="389" y="467"/>
                  </a:lnTo>
                  <a:lnTo>
                    <a:pt x="387" y="469"/>
                  </a:lnTo>
                  <a:lnTo>
                    <a:pt x="386" y="471"/>
                  </a:lnTo>
                  <a:lnTo>
                    <a:pt x="385" y="473"/>
                  </a:lnTo>
                  <a:lnTo>
                    <a:pt x="385" y="474"/>
                  </a:lnTo>
                  <a:lnTo>
                    <a:pt x="384" y="472"/>
                  </a:lnTo>
                  <a:lnTo>
                    <a:pt x="384" y="473"/>
                  </a:lnTo>
                  <a:lnTo>
                    <a:pt x="381" y="473"/>
                  </a:lnTo>
                  <a:lnTo>
                    <a:pt x="379" y="473"/>
                  </a:lnTo>
                  <a:lnTo>
                    <a:pt x="379" y="472"/>
                  </a:lnTo>
                  <a:lnTo>
                    <a:pt x="381" y="469"/>
                  </a:lnTo>
                  <a:lnTo>
                    <a:pt x="380" y="467"/>
                  </a:lnTo>
                  <a:lnTo>
                    <a:pt x="379" y="467"/>
                  </a:lnTo>
                  <a:lnTo>
                    <a:pt x="381" y="466"/>
                  </a:lnTo>
                  <a:lnTo>
                    <a:pt x="380" y="466"/>
                  </a:lnTo>
                  <a:lnTo>
                    <a:pt x="381" y="465"/>
                  </a:lnTo>
                  <a:lnTo>
                    <a:pt x="383" y="462"/>
                  </a:lnTo>
                  <a:lnTo>
                    <a:pt x="381" y="463"/>
                  </a:lnTo>
                  <a:lnTo>
                    <a:pt x="381" y="461"/>
                  </a:lnTo>
                  <a:lnTo>
                    <a:pt x="383" y="458"/>
                  </a:lnTo>
                  <a:lnTo>
                    <a:pt x="381" y="456"/>
                  </a:lnTo>
                  <a:lnTo>
                    <a:pt x="381" y="449"/>
                  </a:lnTo>
                  <a:lnTo>
                    <a:pt x="383" y="438"/>
                  </a:lnTo>
                  <a:lnTo>
                    <a:pt x="381" y="428"/>
                  </a:lnTo>
                  <a:lnTo>
                    <a:pt x="379" y="432"/>
                  </a:lnTo>
                  <a:lnTo>
                    <a:pt x="378" y="438"/>
                  </a:lnTo>
                  <a:lnTo>
                    <a:pt x="379" y="439"/>
                  </a:lnTo>
                  <a:lnTo>
                    <a:pt x="377" y="438"/>
                  </a:lnTo>
                  <a:lnTo>
                    <a:pt x="370" y="439"/>
                  </a:lnTo>
                  <a:lnTo>
                    <a:pt x="377" y="438"/>
                  </a:lnTo>
                  <a:lnTo>
                    <a:pt x="380" y="430"/>
                  </a:lnTo>
                  <a:lnTo>
                    <a:pt x="378" y="430"/>
                  </a:lnTo>
                  <a:lnTo>
                    <a:pt x="374" y="430"/>
                  </a:lnTo>
                  <a:lnTo>
                    <a:pt x="373" y="430"/>
                  </a:lnTo>
                  <a:lnTo>
                    <a:pt x="370" y="431"/>
                  </a:lnTo>
                  <a:lnTo>
                    <a:pt x="369" y="431"/>
                  </a:lnTo>
                  <a:lnTo>
                    <a:pt x="367" y="430"/>
                  </a:lnTo>
                  <a:lnTo>
                    <a:pt x="366" y="427"/>
                  </a:lnTo>
                  <a:lnTo>
                    <a:pt x="367" y="425"/>
                  </a:lnTo>
                  <a:lnTo>
                    <a:pt x="364" y="426"/>
                  </a:lnTo>
                  <a:lnTo>
                    <a:pt x="362" y="427"/>
                  </a:lnTo>
                  <a:lnTo>
                    <a:pt x="361" y="426"/>
                  </a:lnTo>
                  <a:lnTo>
                    <a:pt x="357" y="427"/>
                  </a:lnTo>
                  <a:lnTo>
                    <a:pt x="358" y="431"/>
                  </a:lnTo>
                  <a:lnTo>
                    <a:pt x="358" y="433"/>
                  </a:lnTo>
                  <a:lnTo>
                    <a:pt x="360" y="434"/>
                  </a:lnTo>
                  <a:lnTo>
                    <a:pt x="360" y="436"/>
                  </a:lnTo>
                  <a:lnTo>
                    <a:pt x="358" y="437"/>
                  </a:lnTo>
                  <a:lnTo>
                    <a:pt x="358" y="439"/>
                  </a:lnTo>
                  <a:lnTo>
                    <a:pt x="360" y="442"/>
                  </a:lnTo>
                  <a:lnTo>
                    <a:pt x="361" y="445"/>
                  </a:lnTo>
                  <a:lnTo>
                    <a:pt x="358" y="440"/>
                  </a:lnTo>
                  <a:lnTo>
                    <a:pt x="357" y="442"/>
                  </a:lnTo>
                  <a:lnTo>
                    <a:pt x="356" y="443"/>
                  </a:lnTo>
                  <a:lnTo>
                    <a:pt x="357" y="448"/>
                  </a:lnTo>
                  <a:lnTo>
                    <a:pt x="355" y="451"/>
                  </a:lnTo>
                  <a:lnTo>
                    <a:pt x="352" y="454"/>
                  </a:lnTo>
                  <a:lnTo>
                    <a:pt x="355" y="449"/>
                  </a:lnTo>
                  <a:lnTo>
                    <a:pt x="355" y="446"/>
                  </a:lnTo>
                  <a:lnTo>
                    <a:pt x="355" y="444"/>
                  </a:lnTo>
                  <a:lnTo>
                    <a:pt x="352" y="444"/>
                  </a:lnTo>
                  <a:lnTo>
                    <a:pt x="352" y="446"/>
                  </a:lnTo>
                  <a:lnTo>
                    <a:pt x="352" y="448"/>
                  </a:lnTo>
                  <a:lnTo>
                    <a:pt x="351" y="450"/>
                  </a:lnTo>
                  <a:lnTo>
                    <a:pt x="351" y="448"/>
                  </a:lnTo>
                  <a:lnTo>
                    <a:pt x="350" y="448"/>
                  </a:lnTo>
                  <a:lnTo>
                    <a:pt x="350" y="450"/>
                  </a:lnTo>
                  <a:lnTo>
                    <a:pt x="350" y="454"/>
                  </a:lnTo>
                  <a:lnTo>
                    <a:pt x="351" y="455"/>
                  </a:lnTo>
                  <a:lnTo>
                    <a:pt x="349" y="460"/>
                  </a:lnTo>
                  <a:lnTo>
                    <a:pt x="346" y="461"/>
                  </a:lnTo>
                  <a:lnTo>
                    <a:pt x="349" y="456"/>
                  </a:lnTo>
                  <a:lnTo>
                    <a:pt x="349" y="454"/>
                  </a:lnTo>
                  <a:lnTo>
                    <a:pt x="349" y="448"/>
                  </a:lnTo>
                  <a:lnTo>
                    <a:pt x="349" y="450"/>
                  </a:lnTo>
                  <a:lnTo>
                    <a:pt x="348" y="452"/>
                  </a:lnTo>
                  <a:lnTo>
                    <a:pt x="346" y="456"/>
                  </a:lnTo>
                  <a:lnTo>
                    <a:pt x="345" y="457"/>
                  </a:lnTo>
                  <a:lnTo>
                    <a:pt x="344" y="458"/>
                  </a:lnTo>
                  <a:lnTo>
                    <a:pt x="343" y="460"/>
                  </a:lnTo>
                  <a:lnTo>
                    <a:pt x="342" y="458"/>
                  </a:lnTo>
                  <a:lnTo>
                    <a:pt x="340" y="457"/>
                  </a:lnTo>
                  <a:lnTo>
                    <a:pt x="340" y="458"/>
                  </a:lnTo>
                  <a:lnTo>
                    <a:pt x="338" y="460"/>
                  </a:lnTo>
                  <a:lnTo>
                    <a:pt x="336" y="462"/>
                  </a:lnTo>
                  <a:lnTo>
                    <a:pt x="334" y="461"/>
                  </a:lnTo>
                  <a:lnTo>
                    <a:pt x="333" y="457"/>
                  </a:lnTo>
                  <a:lnTo>
                    <a:pt x="333" y="455"/>
                  </a:lnTo>
                  <a:lnTo>
                    <a:pt x="336" y="454"/>
                  </a:lnTo>
                  <a:lnTo>
                    <a:pt x="337" y="454"/>
                  </a:lnTo>
                  <a:lnTo>
                    <a:pt x="337" y="451"/>
                  </a:lnTo>
                  <a:lnTo>
                    <a:pt x="336" y="450"/>
                  </a:lnTo>
                  <a:lnTo>
                    <a:pt x="337" y="449"/>
                  </a:lnTo>
                  <a:lnTo>
                    <a:pt x="338" y="446"/>
                  </a:lnTo>
                  <a:lnTo>
                    <a:pt x="337" y="446"/>
                  </a:lnTo>
                  <a:lnTo>
                    <a:pt x="334" y="449"/>
                  </a:lnTo>
                  <a:lnTo>
                    <a:pt x="333" y="452"/>
                  </a:lnTo>
                  <a:lnTo>
                    <a:pt x="332" y="455"/>
                  </a:lnTo>
                  <a:lnTo>
                    <a:pt x="332" y="458"/>
                  </a:lnTo>
                  <a:lnTo>
                    <a:pt x="332" y="457"/>
                  </a:lnTo>
                  <a:lnTo>
                    <a:pt x="330" y="460"/>
                  </a:lnTo>
                  <a:lnTo>
                    <a:pt x="328" y="460"/>
                  </a:lnTo>
                  <a:lnTo>
                    <a:pt x="328" y="457"/>
                  </a:lnTo>
                  <a:lnTo>
                    <a:pt x="327" y="454"/>
                  </a:lnTo>
                  <a:lnTo>
                    <a:pt x="326" y="451"/>
                  </a:lnTo>
                  <a:lnTo>
                    <a:pt x="324" y="452"/>
                  </a:lnTo>
                  <a:lnTo>
                    <a:pt x="322" y="452"/>
                  </a:lnTo>
                  <a:lnTo>
                    <a:pt x="320" y="456"/>
                  </a:lnTo>
                  <a:lnTo>
                    <a:pt x="318" y="456"/>
                  </a:lnTo>
                  <a:lnTo>
                    <a:pt x="319" y="454"/>
                  </a:lnTo>
                  <a:lnTo>
                    <a:pt x="319" y="451"/>
                  </a:lnTo>
                  <a:lnTo>
                    <a:pt x="316" y="451"/>
                  </a:lnTo>
                  <a:lnTo>
                    <a:pt x="318" y="452"/>
                  </a:lnTo>
                  <a:lnTo>
                    <a:pt x="315" y="456"/>
                  </a:lnTo>
                  <a:lnTo>
                    <a:pt x="313" y="457"/>
                  </a:lnTo>
                  <a:lnTo>
                    <a:pt x="310" y="458"/>
                  </a:lnTo>
                  <a:lnTo>
                    <a:pt x="313" y="455"/>
                  </a:lnTo>
                  <a:lnTo>
                    <a:pt x="314" y="452"/>
                  </a:lnTo>
                  <a:lnTo>
                    <a:pt x="314" y="450"/>
                  </a:lnTo>
                  <a:lnTo>
                    <a:pt x="316" y="448"/>
                  </a:lnTo>
                  <a:lnTo>
                    <a:pt x="315" y="446"/>
                  </a:lnTo>
                  <a:lnTo>
                    <a:pt x="314" y="448"/>
                  </a:lnTo>
                  <a:lnTo>
                    <a:pt x="314" y="446"/>
                  </a:lnTo>
                  <a:lnTo>
                    <a:pt x="311" y="446"/>
                  </a:lnTo>
                  <a:lnTo>
                    <a:pt x="311" y="444"/>
                  </a:lnTo>
                  <a:lnTo>
                    <a:pt x="309" y="444"/>
                  </a:lnTo>
                  <a:lnTo>
                    <a:pt x="308" y="445"/>
                  </a:lnTo>
                  <a:lnTo>
                    <a:pt x="309" y="443"/>
                  </a:lnTo>
                  <a:lnTo>
                    <a:pt x="307" y="443"/>
                  </a:lnTo>
                  <a:lnTo>
                    <a:pt x="305" y="444"/>
                  </a:lnTo>
                  <a:lnTo>
                    <a:pt x="305" y="442"/>
                  </a:lnTo>
                  <a:lnTo>
                    <a:pt x="304" y="442"/>
                  </a:lnTo>
                  <a:lnTo>
                    <a:pt x="303" y="439"/>
                  </a:lnTo>
                  <a:lnTo>
                    <a:pt x="303" y="438"/>
                  </a:lnTo>
                  <a:lnTo>
                    <a:pt x="304" y="437"/>
                  </a:lnTo>
                  <a:lnTo>
                    <a:pt x="301" y="439"/>
                  </a:lnTo>
                  <a:lnTo>
                    <a:pt x="298" y="440"/>
                  </a:lnTo>
                  <a:lnTo>
                    <a:pt x="299" y="438"/>
                  </a:lnTo>
                  <a:lnTo>
                    <a:pt x="302" y="437"/>
                  </a:lnTo>
                  <a:lnTo>
                    <a:pt x="304" y="436"/>
                  </a:lnTo>
                  <a:lnTo>
                    <a:pt x="305" y="434"/>
                  </a:lnTo>
                  <a:lnTo>
                    <a:pt x="304" y="434"/>
                  </a:lnTo>
                  <a:lnTo>
                    <a:pt x="302" y="434"/>
                  </a:lnTo>
                  <a:lnTo>
                    <a:pt x="301" y="433"/>
                  </a:lnTo>
                  <a:lnTo>
                    <a:pt x="301" y="434"/>
                  </a:lnTo>
                  <a:lnTo>
                    <a:pt x="299" y="434"/>
                  </a:lnTo>
                  <a:lnTo>
                    <a:pt x="297" y="434"/>
                  </a:lnTo>
                  <a:lnTo>
                    <a:pt x="297" y="436"/>
                  </a:lnTo>
                  <a:lnTo>
                    <a:pt x="295" y="434"/>
                  </a:lnTo>
                  <a:lnTo>
                    <a:pt x="293" y="431"/>
                  </a:lnTo>
                  <a:lnTo>
                    <a:pt x="293" y="428"/>
                  </a:lnTo>
                  <a:lnTo>
                    <a:pt x="293" y="426"/>
                  </a:lnTo>
                  <a:lnTo>
                    <a:pt x="296" y="425"/>
                  </a:lnTo>
                  <a:lnTo>
                    <a:pt x="297" y="425"/>
                  </a:lnTo>
                  <a:lnTo>
                    <a:pt x="298" y="424"/>
                  </a:lnTo>
                  <a:lnTo>
                    <a:pt x="297" y="421"/>
                  </a:lnTo>
                  <a:lnTo>
                    <a:pt x="297" y="419"/>
                  </a:lnTo>
                  <a:lnTo>
                    <a:pt x="295" y="420"/>
                  </a:lnTo>
                  <a:lnTo>
                    <a:pt x="293" y="421"/>
                  </a:lnTo>
                  <a:lnTo>
                    <a:pt x="293" y="419"/>
                  </a:lnTo>
                  <a:lnTo>
                    <a:pt x="292" y="421"/>
                  </a:lnTo>
                  <a:lnTo>
                    <a:pt x="291" y="424"/>
                  </a:lnTo>
                  <a:lnTo>
                    <a:pt x="290" y="422"/>
                  </a:lnTo>
                  <a:lnTo>
                    <a:pt x="290" y="425"/>
                  </a:lnTo>
                  <a:lnTo>
                    <a:pt x="287" y="426"/>
                  </a:lnTo>
                  <a:lnTo>
                    <a:pt x="285" y="428"/>
                  </a:lnTo>
                  <a:lnTo>
                    <a:pt x="285" y="426"/>
                  </a:lnTo>
                  <a:lnTo>
                    <a:pt x="286" y="425"/>
                  </a:lnTo>
                  <a:lnTo>
                    <a:pt x="284" y="426"/>
                  </a:lnTo>
                  <a:lnTo>
                    <a:pt x="284" y="425"/>
                  </a:lnTo>
                  <a:lnTo>
                    <a:pt x="283" y="425"/>
                  </a:lnTo>
                  <a:lnTo>
                    <a:pt x="281" y="424"/>
                  </a:lnTo>
                  <a:lnTo>
                    <a:pt x="280" y="424"/>
                  </a:lnTo>
                  <a:lnTo>
                    <a:pt x="278" y="425"/>
                  </a:lnTo>
                  <a:lnTo>
                    <a:pt x="277" y="424"/>
                  </a:lnTo>
                  <a:lnTo>
                    <a:pt x="279" y="422"/>
                  </a:lnTo>
                  <a:lnTo>
                    <a:pt x="278" y="422"/>
                  </a:lnTo>
                  <a:lnTo>
                    <a:pt x="279" y="421"/>
                  </a:lnTo>
                  <a:lnTo>
                    <a:pt x="280" y="421"/>
                  </a:lnTo>
                  <a:lnTo>
                    <a:pt x="281" y="422"/>
                  </a:lnTo>
                  <a:lnTo>
                    <a:pt x="283" y="420"/>
                  </a:lnTo>
                  <a:lnTo>
                    <a:pt x="281" y="419"/>
                  </a:lnTo>
                  <a:lnTo>
                    <a:pt x="279" y="419"/>
                  </a:lnTo>
                  <a:lnTo>
                    <a:pt x="278" y="418"/>
                  </a:lnTo>
                  <a:lnTo>
                    <a:pt x="277" y="419"/>
                  </a:lnTo>
                  <a:lnTo>
                    <a:pt x="275" y="419"/>
                  </a:lnTo>
                  <a:lnTo>
                    <a:pt x="274" y="419"/>
                  </a:lnTo>
                  <a:lnTo>
                    <a:pt x="274" y="418"/>
                  </a:lnTo>
                  <a:lnTo>
                    <a:pt x="274" y="416"/>
                  </a:lnTo>
                  <a:lnTo>
                    <a:pt x="275" y="415"/>
                  </a:lnTo>
                  <a:lnTo>
                    <a:pt x="278" y="414"/>
                  </a:lnTo>
                  <a:lnTo>
                    <a:pt x="280" y="413"/>
                  </a:lnTo>
                  <a:lnTo>
                    <a:pt x="279" y="413"/>
                  </a:lnTo>
                  <a:lnTo>
                    <a:pt x="278" y="413"/>
                  </a:lnTo>
                  <a:lnTo>
                    <a:pt x="277" y="413"/>
                  </a:lnTo>
                  <a:lnTo>
                    <a:pt x="274" y="415"/>
                  </a:lnTo>
                  <a:lnTo>
                    <a:pt x="272" y="416"/>
                  </a:lnTo>
                  <a:lnTo>
                    <a:pt x="274" y="426"/>
                  </a:lnTo>
                  <a:lnTo>
                    <a:pt x="279" y="439"/>
                  </a:lnTo>
                  <a:lnTo>
                    <a:pt x="278" y="448"/>
                  </a:lnTo>
                  <a:lnTo>
                    <a:pt x="279" y="457"/>
                  </a:lnTo>
                  <a:lnTo>
                    <a:pt x="286" y="473"/>
                  </a:lnTo>
                  <a:lnTo>
                    <a:pt x="291" y="483"/>
                  </a:lnTo>
                  <a:lnTo>
                    <a:pt x="291" y="490"/>
                  </a:lnTo>
                  <a:lnTo>
                    <a:pt x="286" y="498"/>
                  </a:lnTo>
                  <a:lnTo>
                    <a:pt x="280" y="511"/>
                  </a:lnTo>
                  <a:lnTo>
                    <a:pt x="275" y="533"/>
                  </a:lnTo>
                  <a:lnTo>
                    <a:pt x="273" y="553"/>
                  </a:lnTo>
                  <a:lnTo>
                    <a:pt x="271" y="574"/>
                  </a:lnTo>
                  <a:lnTo>
                    <a:pt x="269" y="603"/>
                  </a:lnTo>
                  <a:lnTo>
                    <a:pt x="271" y="630"/>
                  </a:lnTo>
                  <a:lnTo>
                    <a:pt x="272" y="64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89" name="Freeform 72"/>
            <p:cNvSpPr>
              <a:spLocks/>
            </p:cNvSpPr>
            <p:nvPr userDrawn="1"/>
          </p:nvSpPr>
          <p:spPr bwMode="auto">
            <a:xfrm>
              <a:off x="8397875" y="6397626"/>
              <a:ext cx="176213" cy="188913"/>
            </a:xfrm>
            <a:custGeom>
              <a:avLst/>
              <a:gdLst/>
              <a:ahLst/>
              <a:cxnLst>
                <a:cxn ang="0">
                  <a:pos x="71" y="263"/>
                </a:cxn>
                <a:cxn ang="0">
                  <a:pos x="95" y="226"/>
                </a:cxn>
                <a:cxn ang="0">
                  <a:pos x="156" y="203"/>
                </a:cxn>
                <a:cxn ang="0">
                  <a:pos x="154" y="199"/>
                </a:cxn>
                <a:cxn ang="0">
                  <a:pos x="116" y="196"/>
                </a:cxn>
                <a:cxn ang="0">
                  <a:pos x="102" y="173"/>
                </a:cxn>
                <a:cxn ang="0">
                  <a:pos x="120" y="145"/>
                </a:cxn>
                <a:cxn ang="0">
                  <a:pos x="129" y="131"/>
                </a:cxn>
                <a:cxn ang="0">
                  <a:pos x="132" y="88"/>
                </a:cxn>
                <a:cxn ang="0">
                  <a:pos x="167" y="86"/>
                </a:cxn>
                <a:cxn ang="0">
                  <a:pos x="200" y="98"/>
                </a:cxn>
                <a:cxn ang="0">
                  <a:pos x="222" y="101"/>
                </a:cxn>
                <a:cxn ang="0">
                  <a:pos x="248" y="121"/>
                </a:cxn>
                <a:cxn ang="0">
                  <a:pos x="266" y="139"/>
                </a:cxn>
                <a:cxn ang="0">
                  <a:pos x="273" y="125"/>
                </a:cxn>
                <a:cxn ang="0">
                  <a:pos x="252" y="108"/>
                </a:cxn>
                <a:cxn ang="0">
                  <a:pos x="230" y="98"/>
                </a:cxn>
                <a:cxn ang="0">
                  <a:pos x="199" y="74"/>
                </a:cxn>
                <a:cxn ang="0">
                  <a:pos x="206" y="43"/>
                </a:cxn>
                <a:cxn ang="0">
                  <a:pos x="217" y="19"/>
                </a:cxn>
                <a:cxn ang="0">
                  <a:pos x="241" y="13"/>
                </a:cxn>
                <a:cxn ang="0">
                  <a:pos x="271" y="17"/>
                </a:cxn>
                <a:cxn ang="0">
                  <a:pos x="300" y="7"/>
                </a:cxn>
                <a:cxn ang="0">
                  <a:pos x="320" y="8"/>
                </a:cxn>
                <a:cxn ang="0">
                  <a:pos x="336" y="32"/>
                </a:cxn>
                <a:cxn ang="0">
                  <a:pos x="355" y="35"/>
                </a:cxn>
                <a:cxn ang="0">
                  <a:pos x="386" y="43"/>
                </a:cxn>
                <a:cxn ang="0">
                  <a:pos x="402" y="66"/>
                </a:cxn>
                <a:cxn ang="0">
                  <a:pos x="380" y="83"/>
                </a:cxn>
                <a:cxn ang="0">
                  <a:pos x="426" y="108"/>
                </a:cxn>
                <a:cxn ang="0">
                  <a:pos x="459" y="143"/>
                </a:cxn>
                <a:cxn ang="0">
                  <a:pos x="467" y="160"/>
                </a:cxn>
                <a:cxn ang="0">
                  <a:pos x="477" y="193"/>
                </a:cxn>
                <a:cxn ang="0">
                  <a:pos x="495" y="235"/>
                </a:cxn>
                <a:cxn ang="0">
                  <a:pos x="488" y="268"/>
                </a:cxn>
                <a:cxn ang="0">
                  <a:pos x="504" y="312"/>
                </a:cxn>
                <a:cxn ang="0">
                  <a:pos x="456" y="291"/>
                </a:cxn>
                <a:cxn ang="0">
                  <a:pos x="445" y="304"/>
                </a:cxn>
                <a:cxn ang="0">
                  <a:pos x="520" y="358"/>
                </a:cxn>
                <a:cxn ang="0">
                  <a:pos x="536" y="416"/>
                </a:cxn>
                <a:cxn ang="0">
                  <a:pos x="503" y="428"/>
                </a:cxn>
                <a:cxn ang="0">
                  <a:pos x="473" y="461"/>
                </a:cxn>
                <a:cxn ang="0">
                  <a:pos x="439" y="440"/>
                </a:cxn>
                <a:cxn ang="0">
                  <a:pos x="396" y="419"/>
                </a:cxn>
                <a:cxn ang="0">
                  <a:pos x="427" y="454"/>
                </a:cxn>
                <a:cxn ang="0">
                  <a:pos x="426" y="487"/>
                </a:cxn>
                <a:cxn ang="0">
                  <a:pos x="400" y="465"/>
                </a:cxn>
                <a:cxn ang="0">
                  <a:pos x="329" y="484"/>
                </a:cxn>
                <a:cxn ang="0">
                  <a:pos x="225" y="502"/>
                </a:cxn>
                <a:cxn ang="0">
                  <a:pos x="128" y="501"/>
                </a:cxn>
                <a:cxn ang="0">
                  <a:pos x="187" y="487"/>
                </a:cxn>
                <a:cxn ang="0">
                  <a:pos x="237" y="451"/>
                </a:cxn>
                <a:cxn ang="0">
                  <a:pos x="176" y="449"/>
                </a:cxn>
                <a:cxn ang="0">
                  <a:pos x="137" y="473"/>
                </a:cxn>
                <a:cxn ang="0">
                  <a:pos x="82" y="440"/>
                </a:cxn>
                <a:cxn ang="0">
                  <a:pos x="118" y="407"/>
                </a:cxn>
                <a:cxn ang="0">
                  <a:pos x="184" y="376"/>
                </a:cxn>
                <a:cxn ang="0">
                  <a:pos x="138" y="373"/>
                </a:cxn>
                <a:cxn ang="0">
                  <a:pos x="167" y="332"/>
                </a:cxn>
                <a:cxn ang="0">
                  <a:pos x="113" y="363"/>
                </a:cxn>
                <a:cxn ang="0">
                  <a:pos x="48" y="379"/>
                </a:cxn>
                <a:cxn ang="0">
                  <a:pos x="101" y="315"/>
                </a:cxn>
                <a:cxn ang="0">
                  <a:pos x="22" y="300"/>
                </a:cxn>
              </a:cxnLst>
              <a:rect l="0" t="0" r="r" b="b"/>
              <a:pathLst>
                <a:path w="556" h="597">
                  <a:moveTo>
                    <a:pt x="5" y="282"/>
                  </a:moveTo>
                  <a:lnTo>
                    <a:pt x="4" y="281"/>
                  </a:lnTo>
                  <a:lnTo>
                    <a:pt x="6" y="281"/>
                  </a:lnTo>
                  <a:lnTo>
                    <a:pt x="8" y="281"/>
                  </a:lnTo>
                  <a:lnTo>
                    <a:pt x="8" y="282"/>
                  </a:lnTo>
                  <a:lnTo>
                    <a:pt x="10" y="282"/>
                  </a:lnTo>
                  <a:lnTo>
                    <a:pt x="10" y="280"/>
                  </a:lnTo>
                  <a:lnTo>
                    <a:pt x="12" y="280"/>
                  </a:lnTo>
                  <a:lnTo>
                    <a:pt x="12" y="282"/>
                  </a:lnTo>
                  <a:lnTo>
                    <a:pt x="13" y="282"/>
                  </a:lnTo>
                  <a:lnTo>
                    <a:pt x="16" y="284"/>
                  </a:lnTo>
                  <a:lnTo>
                    <a:pt x="13" y="282"/>
                  </a:lnTo>
                  <a:lnTo>
                    <a:pt x="13" y="281"/>
                  </a:lnTo>
                  <a:lnTo>
                    <a:pt x="12" y="278"/>
                  </a:lnTo>
                  <a:lnTo>
                    <a:pt x="13" y="278"/>
                  </a:lnTo>
                  <a:lnTo>
                    <a:pt x="16" y="278"/>
                  </a:lnTo>
                  <a:lnTo>
                    <a:pt x="17" y="279"/>
                  </a:lnTo>
                  <a:lnTo>
                    <a:pt x="17" y="280"/>
                  </a:lnTo>
                  <a:lnTo>
                    <a:pt x="18" y="281"/>
                  </a:lnTo>
                  <a:lnTo>
                    <a:pt x="20" y="282"/>
                  </a:lnTo>
                  <a:lnTo>
                    <a:pt x="20" y="284"/>
                  </a:lnTo>
                  <a:lnTo>
                    <a:pt x="23" y="284"/>
                  </a:lnTo>
                  <a:lnTo>
                    <a:pt x="23" y="281"/>
                  </a:lnTo>
                  <a:lnTo>
                    <a:pt x="24" y="279"/>
                  </a:lnTo>
                  <a:lnTo>
                    <a:pt x="25" y="280"/>
                  </a:lnTo>
                  <a:lnTo>
                    <a:pt x="26" y="281"/>
                  </a:lnTo>
                  <a:lnTo>
                    <a:pt x="29" y="281"/>
                  </a:lnTo>
                  <a:lnTo>
                    <a:pt x="26" y="279"/>
                  </a:lnTo>
                  <a:lnTo>
                    <a:pt x="26" y="276"/>
                  </a:lnTo>
                  <a:lnTo>
                    <a:pt x="25" y="275"/>
                  </a:lnTo>
                  <a:lnTo>
                    <a:pt x="24" y="273"/>
                  </a:lnTo>
                  <a:lnTo>
                    <a:pt x="25" y="270"/>
                  </a:lnTo>
                  <a:lnTo>
                    <a:pt x="26" y="272"/>
                  </a:lnTo>
                  <a:lnTo>
                    <a:pt x="28" y="272"/>
                  </a:lnTo>
                  <a:lnTo>
                    <a:pt x="29" y="273"/>
                  </a:lnTo>
                  <a:lnTo>
                    <a:pt x="30" y="274"/>
                  </a:lnTo>
                  <a:lnTo>
                    <a:pt x="31" y="275"/>
                  </a:lnTo>
                  <a:lnTo>
                    <a:pt x="32" y="275"/>
                  </a:lnTo>
                  <a:lnTo>
                    <a:pt x="34" y="278"/>
                  </a:lnTo>
                  <a:lnTo>
                    <a:pt x="32" y="276"/>
                  </a:lnTo>
                  <a:lnTo>
                    <a:pt x="32" y="274"/>
                  </a:lnTo>
                  <a:lnTo>
                    <a:pt x="35" y="274"/>
                  </a:lnTo>
                  <a:lnTo>
                    <a:pt x="37" y="274"/>
                  </a:lnTo>
                  <a:lnTo>
                    <a:pt x="36" y="273"/>
                  </a:lnTo>
                  <a:lnTo>
                    <a:pt x="37" y="270"/>
                  </a:lnTo>
                  <a:lnTo>
                    <a:pt x="38" y="268"/>
                  </a:lnTo>
                  <a:lnTo>
                    <a:pt x="41" y="269"/>
                  </a:lnTo>
                  <a:lnTo>
                    <a:pt x="43" y="268"/>
                  </a:lnTo>
                  <a:lnTo>
                    <a:pt x="42" y="267"/>
                  </a:lnTo>
                  <a:lnTo>
                    <a:pt x="41" y="264"/>
                  </a:lnTo>
                  <a:lnTo>
                    <a:pt x="42" y="264"/>
                  </a:lnTo>
                  <a:lnTo>
                    <a:pt x="43" y="264"/>
                  </a:lnTo>
                  <a:lnTo>
                    <a:pt x="45" y="264"/>
                  </a:lnTo>
                  <a:lnTo>
                    <a:pt x="46" y="264"/>
                  </a:lnTo>
                  <a:lnTo>
                    <a:pt x="46" y="266"/>
                  </a:lnTo>
                  <a:lnTo>
                    <a:pt x="47" y="267"/>
                  </a:lnTo>
                  <a:lnTo>
                    <a:pt x="48" y="267"/>
                  </a:lnTo>
                  <a:lnTo>
                    <a:pt x="49" y="266"/>
                  </a:lnTo>
                  <a:lnTo>
                    <a:pt x="51" y="267"/>
                  </a:lnTo>
                  <a:lnTo>
                    <a:pt x="49" y="266"/>
                  </a:lnTo>
                  <a:lnTo>
                    <a:pt x="49" y="263"/>
                  </a:lnTo>
                  <a:lnTo>
                    <a:pt x="48" y="262"/>
                  </a:lnTo>
                  <a:lnTo>
                    <a:pt x="48" y="261"/>
                  </a:lnTo>
                  <a:lnTo>
                    <a:pt x="49" y="261"/>
                  </a:lnTo>
                  <a:lnTo>
                    <a:pt x="51" y="262"/>
                  </a:lnTo>
                  <a:lnTo>
                    <a:pt x="52" y="263"/>
                  </a:lnTo>
                  <a:lnTo>
                    <a:pt x="53" y="263"/>
                  </a:lnTo>
                  <a:lnTo>
                    <a:pt x="55" y="263"/>
                  </a:lnTo>
                  <a:lnTo>
                    <a:pt x="55" y="262"/>
                  </a:lnTo>
                  <a:lnTo>
                    <a:pt x="57" y="262"/>
                  </a:lnTo>
                  <a:lnTo>
                    <a:pt x="58" y="263"/>
                  </a:lnTo>
                  <a:lnTo>
                    <a:pt x="59" y="263"/>
                  </a:lnTo>
                  <a:lnTo>
                    <a:pt x="59" y="264"/>
                  </a:lnTo>
                  <a:lnTo>
                    <a:pt x="60" y="264"/>
                  </a:lnTo>
                  <a:lnTo>
                    <a:pt x="61" y="263"/>
                  </a:lnTo>
                  <a:lnTo>
                    <a:pt x="64" y="262"/>
                  </a:lnTo>
                  <a:lnTo>
                    <a:pt x="63" y="261"/>
                  </a:lnTo>
                  <a:lnTo>
                    <a:pt x="63" y="259"/>
                  </a:lnTo>
                  <a:lnTo>
                    <a:pt x="63" y="258"/>
                  </a:lnTo>
                  <a:lnTo>
                    <a:pt x="64" y="258"/>
                  </a:lnTo>
                  <a:lnTo>
                    <a:pt x="65" y="258"/>
                  </a:lnTo>
                  <a:lnTo>
                    <a:pt x="66" y="259"/>
                  </a:lnTo>
                  <a:lnTo>
                    <a:pt x="67" y="261"/>
                  </a:lnTo>
                  <a:lnTo>
                    <a:pt x="69" y="263"/>
                  </a:lnTo>
                  <a:lnTo>
                    <a:pt x="71" y="263"/>
                  </a:lnTo>
                  <a:lnTo>
                    <a:pt x="70" y="261"/>
                  </a:lnTo>
                  <a:lnTo>
                    <a:pt x="70" y="259"/>
                  </a:lnTo>
                  <a:lnTo>
                    <a:pt x="69" y="258"/>
                  </a:lnTo>
                  <a:lnTo>
                    <a:pt x="69" y="256"/>
                  </a:lnTo>
                  <a:lnTo>
                    <a:pt x="69" y="255"/>
                  </a:lnTo>
                  <a:lnTo>
                    <a:pt x="67" y="255"/>
                  </a:lnTo>
                  <a:lnTo>
                    <a:pt x="67" y="253"/>
                  </a:lnTo>
                  <a:lnTo>
                    <a:pt x="69" y="252"/>
                  </a:lnTo>
                  <a:lnTo>
                    <a:pt x="70" y="252"/>
                  </a:lnTo>
                  <a:lnTo>
                    <a:pt x="71" y="253"/>
                  </a:lnTo>
                  <a:lnTo>
                    <a:pt x="72" y="253"/>
                  </a:lnTo>
                  <a:lnTo>
                    <a:pt x="72" y="255"/>
                  </a:lnTo>
                  <a:lnTo>
                    <a:pt x="73" y="256"/>
                  </a:lnTo>
                  <a:lnTo>
                    <a:pt x="75" y="255"/>
                  </a:lnTo>
                  <a:lnTo>
                    <a:pt x="76" y="256"/>
                  </a:lnTo>
                  <a:lnTo>
                    <a:pt x="77" y="255"/>
                  </a:lnTo>
                  <a:lnTo>
                    <a:pt x="78" y="255"/>
                  </a:lnTo>
                  <a:lnTo>
                    <a:pt x="79" y="256"/>
                  </a:lnTo>
                  <a:lnTo>
                    <a:pt x="82" y="256"/>
                  </a:lnTo>
                  <a:lnTo>
                    <a:pt x="84" y="256"/>
                  </a:lnTo>
                  <a:lnTo>
                    <a:pt x="83" y="255"/>
                  </a:lnTo>
                  <a:lnTo>
                    <a:pt x="82" y="253"/>
                  </a:lnTo>
                  <a:lnTo>
                    <a:pt x="81" y="251"/>
                  </a:lnTo>
                  <a:lnTo>
                    <a:pt x="78" y="250"/>
                  </a:lnTo>
                  <a:lnTo>
                    <a:pt x="78" y="249"/>
                  </a:lnTo>
                  <a:lnTo>
                    <a:pt x="79" y="246"/>
                  </a:lnTo>
                  <a:lnTo>
                    <a:pt x="78" y="247"/>
                  </a:lnTo>
                  <a:lnTo>
                    <a:pt x="77" y="247"/>
                  </a:lnTo>
                  <a:lnTo>
                    <a:pt x="76" y="246"/>
                  </a:lnTo>
                  <a:lnTo>
                    <a:pt x="75" y="246"/>
                  </a:lnTo>
                  <a:lnTo>
                    <a:pt x="72" y="245"/>
                  </a:lnTo>
                  <a:lnTo>
                    <a:pt x="71" y="245"/>
                  </a:lnTo>
                  <a:lnTo>
                    <a:pt x="71" y="244"/>
                  </a:lnTo>
                  <a:lnTo>
                    <a:pt x="70" y="244"/>
                  </a:lnTo>
                  <a:lnTo>
                    <a:pt x="69" y="243"/>
                  </a:lnTo>
                  <a:lnTo>
                    <a:pt x="69" y="241"/>
                  </a:lnTo>
                  <a:lnTo>
                    <a:pt x="67" y="241"/>
                  </a:lnTo>
                  <a:lnTo>
                    <a:pt x="66" y="240"/>
                  </a:lnTo>
                  <a:lnTo>
                    <a:pt x="67" y="239"/>
                  </a:lnTo>
                  <a:lnTo>
                    <a:pt x="67" y="238"/>
                  </a:lnTo>
                  <a:lnTo>
                    <a:pt x="66" y="235"/>
                  </a:lnTo>
                  <a:lnTo>
                    <a:pt x="65" y="233"/>
                  </a:lnTo>
                  <a:lnTo>
                    <a:pt x="66" y="233"/>
                  </a:lnTo>
                  <a:lnTo>
                    <a:pt x="67" y="233"/>
                  </a:lnTo>
                  <a:lnTo>
                    <a:pt x="69" y="233"/>
                  </a:lnTo>
                  <a:lnTo>
                    <a:pt x="69" y="234"/>
                  </a:lnTo>
                  <a:lnTo>
                    <a:pt x="70" y="234"/>
                  </a:lnTo>
                  <a:lnTo>
                    <a:pt x="70" y="232"/>
                  </a:lnTo>
                  <a:lnTo>
                    <a:pt x="70" y="231"/>
                  </a:lnTo>
                  <a:lnTo>
                    <a:pt x="72" y="231"/>
                  </a:lnTo>
                  <a:lnTo>
                    <a:pt x="73" y="232"/>
                  </a:lnTo>
                  <a:lnTo>
                    <a:pt x="75" y="233"/>
                  </a:lnTo>
                  <a:lnTo>
                    <a:pt x="75" y="234"/>
                  </a:lnTo>
                  <a:lnTo>
                    <a:pt x="76" y="235"/>
                  </a:lnTo>
                  <a:lnTo>
                    <a:pt x="78" y="234"/>
                  </a:lnTo>
                  <a:lnTo>
                    <a:pt x="77" y="232"/>
                  </a:lnTo>
                  <a:lnTo>
                    <a:pt x="77" y="231"/>
                  </a:lnTo>
                  <a:lnTo>
                    <a:pt x="76" y="231"/>
                  </a:lnTo>
                  <a:lnTo>
                    <a:pt x="78" y="229"/>
                  </a:lnTo>
                  <a:lnTo>
                    <a:pt x="78" y="231"/>
                  </a:lnTo>
                  <a:lnTo>
                    <a:pt x="79" y="229"/>
                  </a:lnTo>
                  <a:lnTo>
                    <a:pt x="79" y="231"/>
                  </a:lnTo>
                  <a:lnTo>
                    <a:pt x="82" y="231"/>
                  </a:lnTo>
                  <a:lnTo>
                    <a:pt x="83" y="232"/>
                  </a:lnTo>
                  <a:lnTo>
                    <a:pt x="84" y="233"/>
                  </a:lnTo>
                  <a:lnTo>
                    <a:pt x="85" y="233"/>
                  </a:lnTo>
                  <a:lnTo>
                    <a:pt x="85" y="232"/>
                  </a:lnTo>
                  <a:lnTo>
                    <a:pt x="85" y="231"/>
                  </a:lnTo>
                  <a:lnTo>
                    <a:pt x="87" y="228"/>
                  </a:lnTo>
                  <a:lnTo>
                    <a:pt x="87" y="227"/>
                  </a:lnTo>
                  <a:lnTo>
                    <a:pt x="89" y="227"/>
                  </a:lnTo>
                  <a:lnTo>
                    <a:pt x="89" y="229"/>
                  </a:lnTo>
                  <a:lnTo>
                    <a:pt x="89" y="231"/>
                  </a:lnTo>
                  <a:lnTo>
                    <a:pt x="90" y="231"/>
                  </a:lnTo>
                  <a:lnTo>
                    <a:pt x="90" y="227"/>
                  </a:lnTo>
                  <a:lnTo>
                    <a:pt x="89" y="225"/>
                  </a:lnTo>
                  <a:lnTo>
                    <a:pt x="90" y="222"/>
                  </a:lnTo>
                  <a:lnTo>
                    <a:pt x="90" y="221"/>
                  </a:lnTo>
                  <a:lnTo>
                    <a:pt x="91" y="222"/>
                  </a:lnTo>
                  <a:lnTo>
                    <a:pt x="93" y="222"/>
                  </a:lnTo>
                  <a:lnTo>
                    <a:pt x="93" y="223"/>
                  </a:lnTo>
                  <a:lnTo>
                    <a:pt x="94" y="222"/>
                  </a:lnTo>
                  <a:lnTo>
                    <a:pt x="94" y="223"/>
                  </a:lnTo>
                  <a:lnTo>
                    <a:pt x="94" y="226"/>
                  </a:lnTo>
                  <a:lnTo>
                    <a:pt x="95" y="226"/>
                  </a:lnTo>
                  <a:lnTo>
                    <a:pt x="96" y="227"/>
                  </a:lnTo>
                  <a:lnTo>
                    <a:pt x="95" y="227"/>
                  </a:lnTo>
                  <a:lnTo>
                    <a:pt x="96" y="227"/>
                  </a:lnTo>
                  <a:lnTo>
                    <a:pt x="97" y="227"/>
                  </a:lnTo>
                  <a:lnTo>
                    <a:pt x="99" y="228"/>
                  </a:lnTo>
                  <a:lnTo>
                    <a:pt x="100" y="228"/>
                  </a:lnTo>
                  <a:lnTo>
                    <a:pt x="101" y="229"/>
                  </a:lnTo>
                  <a:lnTo>
                    <a:pt x="104" y="229"/>
                  </a:lnTo>
                  <a:lnTo>
                    <a:pt x="104" y="231"/>
                  </a:lnTo>
                  <a:lnTo>
                    <a:pt x="105" y="232"/>
                  </a:lnTo>
                  <a:lnTo>
                    <a:pt x="106" y="231"/>
                  </a:lnTo>
                  <a:lnTo>
                    <a:pt x="106" y="229"/>
                  </a:lnTo>
                  <a:lnTo>
                    <a:pt x="105" y="228"/>
                  </a:lnTo>
                  <a:lnTo>
                    <a:pt x="104" y="227"/>
                  </a:lnTo>
                  <a:lnTo>
                    <a:pt x="104" y="225"/>
                  </a:lnTo>
                  <a:lnTo>
                    <a:pt x="105" y="223"/>
                  </a:lnTo>
                  <a:lnTo>
                    <a:pt x="106" y="223"/>
                  </a:lnTo>
                  <a:lnTo>
                    <a:pt x="107" y="225"/>
                  </a:lnTo>
                  <a:lnTo>
                    <a:pt x="107" y="223"/>
                  </a:lnTo>
                  <a:lnTo>
                    <a:pt x="108" y="222"/>
                  </a:lnTo>
                  <a:lnTo>
                    <a:pt x="108" y="223"/>
                  </a:lnTo>
                  <a:lnTo>
                    <a:pt x="110" y="223"/>
                  </a:lnTo>
                  <a:lnTo>
                    <a:pt x="110" y="222"/>
                  </a:lnTo>
                  <a:lnTo>
                    <a:pt x="111" y="222"/>
                  </a:lnTo>
                  <a:lnTo>
                    <a:pt x="111" y="221"/>
                  </a:lnTo>
                  <a:lnTo>
                    <a:pt x="114" y="221"/>
                  </a:lnTo>
                  <a:lnTo>
                    <a:pt x="116" y="221"/>
                  </a:lnTo>
                  <a:lnTo>
                    <a:pt x="117" y="222"/>
                  </a:lnTo>
                  <a:lnTo>
                    <a:pt x="118" y="222"/>
                  </a:lnTo>
                  <a:lnTo>
                    <a:pt x="118" y="223"/>
                  </a:lnTo>
                  <a:lnTo>
                    <a:pt x="119" y="223"/>
                  </a:lnTo>
                  <a:lnTo>
                    <a:pt x="120" y="223"/>
                  </a:lnTo>
                  <a:lnTo>
                    <a:pt x="120" y="222"/>
                  </a:lnTo>
                  <a:lnTo>
                    <a:pt x="122" y="221"/>
                  </a:lnTo>
                  <a:lnTo>
                    <a:pt x="124" y="221"/>
                  </a:lnTo>
                  <a:lnTo>
                    <a:pt x="125" y="220"/>
                  </a:lnTo>
                  <a:lnTo>
                    <a:pt x="126" y="219"/>
                  </a:lnTo>
                  <a:lnTo>
                    <a:pt x="128" y="219"/>
                  </a:lnTo>
                  <a:lnTo>
                    <a:pt x="126" y="220"/>
                  </a:lnTo>
                  <a:lnTo>
                    <a:pt x="126" y="221"/>
                  </a:lnTo>
                  <a:lnTo>
                    <a:pt x="126" y="220"/>
                  </a:lnTo>
                  <a:lnTo>
                    <a:pt x="128" y="220"/>
                  </a:lnTo>
                  <a:lnTo>
                    <a:pt x="129" y="220"/>
                  </a:lnTo>
                  <a:lnTo>
                    <a:pt x="130" y="219"/>
                  </a:lnTo>
                  <a:lnTo>
                    <a:pt x="130" y="217"/>
                  </a:lnTo>
                  <a:lnTo>
                    <a:pt x="129" y="217"/>
                  </a:lnTo>
                  <a:lnTo>
                    <a:pt x="128" y="219"/>
                  </a:lnTo>
                  <a:lnTo>
                    <a:pt x="128" y="217"/>
                  </a:lnTo>
                  <a:lnTo>
                    <a:pt x="128" y="215"/>
                  </a:lnTo>
                  <a:lnTo>
                    <a:pt x="128" y="214"/>
                  </a:lnTo>
                  <a:lnTo>
                    <a:pt x="128" y="213"/>
                  </a:lnTo>
                  <a:lnTo>
                    <a:pt x="128" y="211"/>
                  </a:lnTo>
                  <a:lnTo>
                    <a:pt x="129" y="210"/>
                  </a:lnTo>
                  <a:lnTo>
                    <a:pt x="129" y="211"/>
                  </a:lnTo>
                  <a:lnTo>
                    <a:pt x="131" y="211"/>
                  </a:lnTo>
                  <a:lnTo>
                    <a:pt x="132" y="213"/>
                  </a:lnTo>
                  <a:lnTo>
                    <a:pt x="134" y="211"/>
                  </a:lnTo>
                  <a:lnTo>
                    <a:pt x="136" y="210"/>
                  </a:lnTo>
                  <a:lnTo>
                    <a:pt x="138" y="209"/>
                  </a:lnTo>
                  <a:lnTo>
                    <a:pt x="138" y="208"/>
                  </a:lnTo>
                  <a:lnTo>
                    <a:pt x="138" y="207"/>
                  </a:lnTo>
                  <a:lnTo>
                    <a:pt x="140" y="207"/>
                  </a:lnTo>
                  <a:lnTo>
                    <a:pt x="141" y="207"/>
                  </a:lnTo>
                  <a:lnTo>
                    <a:pt x="141" y="205"/>
                  </a:lnTo>
                  <a:lnTo>
                    <a:pt x="141" y="204"/>
                  </a:lnTo>
                  <a:lnTo>
                    <a:pt x="142" y="205"/>
                  </a:lnTo>
                  <a:lnTo>
                    <a:pt x="143" y="205"/>
                  </a:lnTo>
                  <a:lnTo>
                    <a:pt x="144" y="207"/>
                  </a:lnTo>
                  <a:lnTo>
                    <a:pt x="144" y="205"/>
                  </a:lnTo>
                  <a:lnTo>
                    <a:pt x="146" y="205"/>
                  </a:lnTo>
                  <a:lnTo>
                    <a:pt x="147" y="205"/>
                  </a:lnTo>
                  <a:lnTo>
                    <a:pt x="148" y="205"/>
                  </a:lnTo>
                  <a:lnTo>
                    <a:pt x="149" y="205"/>
                  </a:lnTo>
                  <a:lnTo>
                    <a:pt x="149" y="207"/>
                  </a:lnTo>
                  <a:lnTo>
                    <a:pt x="150" y="205"/>
                  </a:lnTo>
                  <a:lnTo>
                    <a:pt x="152" y="205"/>
                  </a:lnTo>
                  <a:lnTo>
                    <a:pt x="153" y="205"/>
                  </a:lnTo>
                  <a:lnTo>
                    <a:pt x="153" y="204"/>
                  </a:lnTo>
                  <a:lnTo>
                    <a:pt x="155" y="204"/>
                  </a:lnTo>
                  <a:lnTo>
                    <a:pt x="154" y="204"/>
                  </a:lnTo>
                  <a:lnTo>
                    <a:pt x="155" y="204"/>
                  </a:lnTo>
                  <a:lnTo>
                    <a:pt x="155" y="205"/>
                  </a:lnTo>
                  <a:lnTo>
                    <a:pt x="155" y="204"/>
                  </a:lnTo>
                  <a:lnTo>
                    <a:pt x="155" y="203"/>
                  </a:lnTo>
                  <a:lnTo>
                    <a:pt x="156" y="203"/>
                  </a:lnTo>
                  <a:lnTo>
                    <a:pt x="155" y="203"/>
                  </a:lnTo>
                  <a:lnTo>
                    <a:pt x="156" y="202"/>
                  </a:lnTo>
                  <a:lnTo>
                    <a:pt x="158" y="202"/>
                  </a:lnTo>
                  <a:lnTo>
                    <a:pt x="159" y="202"/>
                  </a:lnTo>
                  <a:lnTo>
                    <a:pt x="160" y="202"/>
                  </a:lnTo>
                  <a:lnTo>
                    <a:pt x="160" y="203"/>
                  </a:lnTo>
                  <a:lnTo>
                    <a:pt x="160" y="202"/>
                  </a:lnTo>
                  <a:lnTo>
                    <a:pt x="159" y="201"/>
                  </a:lnTo>
                  <a:lnTo>
                    <a:pt x="160" y="201"/>
                  </a:lnTo>
                  <a:lnTo>
                    <a:pt x="159" y="199"/>
                  </a:lnTo>
                  <a:lnTo>
                    <a:pt x="160" y="199"/>
                  </a:lnTo>
                  <a:lnTo>
                    <a:pt x="161" y="199"/>
                  </a:lnTo>
                  <a:lnTo>
                    <a:pt x="161" y="201"/>
                  </a:lnTo>
                  <a:lnTo>
                    <a:pt x="161" y="199"/>
                  </a:lnTo>
                  <a:lnTo>
                    <a:pt x="163" y="199"/>
                  </a:lnTo>
                  <a:lnTo>
                    <a:pt x="161" y="199"/>
                  </a:lnTo>
                  <a:lnTo>
                    <a:pt x="163" y="198"/>
                  </a:lnTo>
                  <a:lnTo>
                    <a:pt x="163" y="197"/>
                  </a:lnTo>
                  <a:lnTo>
                    <a:pt x="163" y="196"/>
                  </a:lnTo>
                  <a:lnTo>
                    <a:pt x="161" y="196"/>
                  </a:lnTo>
                  <a:lnTo>
                    <a:pt x="163" y="195"/>
                  </a:lnTo>
                  <a:lnTo>
                    <a:pt x="163" y="193"/>
                  </a:lnTo>
                  <a:lnTo>
                    <a:pt x="164" y="195"/>
                  </a:lnTo>
                  <a:lnTo>
                    <a:pt x="164" y="193"/>
                  </a:lnTo>
                  <a:lnTo>
                    <a:pt x="163" y="193"/>
                  </a:lnTo>
                  <a:lnTo>
                    <a:pt x="165" y="192"/>
                  </a:lnTo>
                  <a:lnTo>
                    <a:pt x="166" y="191"/>
                  </a:lnTo>
                  <a:lnTo>
                    <a:pt x="166" y="190"/>
                  </a:lnTo>
                  <a:lnTo>
                    <a:pt x="167" y="190"/>
                  </a:lnTo>
                  <a:lnTo>
                    <a:pt x="167" y="189"/>
                  </a:lnTo>
                  <a:lnTo>
                    <a:pt x="167" y="187"/>
                  </a:lnTo>
                  <a:lnTo>
                    <a:pt x="169" y="187"/>
                  </a:lnTo>
                  <a:lnTo>
                    <a:pt x="169" y="186"/>
                  </a:lnTo>
                  <a:lnTo>
                    <a:pt x="170" y="186"/>
                  </a:lnTo>
                  <a:lnTo>
                    <a:pt x="169" y="186"/>
                  </a:lnTo>
                  <a:lnTo>
                    <a:pt x="169" y="185"/>
                  </a:lnTo>
                  <a:lnTo>
                    <a:pt x="169" y="184"/>
                  </a:lnTo>
                  <a:lnTo>
                    <a:pt x="169" y="183"/>
                  </a:lnTo>
                  <a:lnTo>
                    <a:pt x="167" y="183"/>
                  </a:lnTo>
                  <a:lnTo>
                    <a:pt x="166" y="183"/>
                  </a:lnTo>
                  <a:lnTo>
                    <a:pt x="166" y="184"/>
                  </a:lnTo>
                  <a:lnTo>
                    <a:pt x="166" y="183"/>
                  </a:lnTo>
                  <a:lnTo>
                    <a:pt x="166" y="184"/>
                  </a:lnTo>
                  <a:lnTo>
                    <a:pt x="165" y="183"/>
                  </a:lnTo>
                  <a:lnTo>
                    <a:pt x="164" y="181"/>
                  </a:lnTo>
                  <a:lnTo>
                    <a:pt x="164" y="183"/>
                  </a:lnTo>
                  <a:lnTo>
                    <a:pt x="163" y="183"/>
                  </a:lnTo>
                  <a:lnTo>
                    <a:pt x="161" y="183"/>
                  </a:lnTo>
                  <a:lnTo>
                    <a:pt x="160" y="183"/>
                  </a:lnTo>
                  <a:lnTo>
                    <a:pt x="160" y="181"/>
                  </a:lnTo>
                  <a:lnTo>
                    <a:pt x="159" y="183"/>
                  </a:lnTo>
                  <a:lnTo>
                    <a:pt x="158" y="183"/>
                  </a:lnTo>
                  <a:lnTo>
                    <a:pt x="158" y="184"/>
                  </a:lnTo>
                  <a:lnTo>
                    <a:pt x="156" y="184"/>
                  </a:lnTo>
                  <a:lnTo>
                    <a:pt x="156" y="185"/>
                  </a:lnTo>
                  <a:lnTo>
                    <a:pt x="155" y="185"/>
                  </a:lnTo>
                  <a:lnTo>
                    <a:pt x="155" y="186"/>
                  </a:lnTo>
                  <a:lnTo>
                    <a:pt x="155" y="187"/>
                  </a:lnTo>
                  <a:lnTo>
                    <a:pt x="155" y="189"/>
                  </a:lnTo>
                  <a:lnTo>
                    <a:pt x="156" y="189"/>
                  </a:lnTo>
                  <a:lnTo>
                    <a:pt x="156" y="190"/>
                  </a:lnTo>
                  <a:lnTo>
                    <a:pt x="155" y="191"/>
                  </a:lnTo>
                  <a:lnTo>
                    <a:pt x="155" y="192"/>
                  </a:lnTo>
                  <a:lnTo>
                    <a:pt x="154" y="192"/>
                  </a:lnTo>
                  <a:lnTo>
                    <a:pt x="154" y="193"/>
                  </a:lnTo>
                  <a:lnTo>
                    <a:pt x="153" y="193"/>
                  </a:lnTo>
                  <a:lnTo>
                    <a:pt x="153" y="195"/>
                  </a:lnTo>
                  <a:lnTo>
                    <a:pt x="152" y="195"/>
                  </a:lnTo>
                  <a:lnTo>
                    <a:pt x="152" y="196"/>
                  </a:lnTo>
                  <a:lnTo>
                    <a:pt x="150" y="196"/>
                  </a:lnTo>
                  <a:lnTo>
                    <a:pt x="152" y="196"/>
                  </a:lnTo>
                  <a:lnTo>
                    <a:pt x="150" y="196"/>
                  </a:lnTo>
                  <a:lnTo>
                    <a:pt x="152" y="197"/>
                  </a:lnTo>
                  <a:lnTo>
                    <a:pt x="152" y="196"/>
                  </a:lnTo>
                  <a:lnTo>
                    <a:pt x="153" y="196"/>
                  </a:lnTo>
                  <a:lnTo>
                    <a:pt x="154" y="196"/>
                  </a:lnTo>
                  <a:lnTo>
                    <a:pt x="155" y="197"/>
                  </a:lnTo>
                  <a:lnTo>
                    <a:pt x="156" y="197"/>
                  </a:lnTo>
                  <a:lnTo>
                    <a:pt x="156" y="198"/>
                  </a:lnTo>
                  <a:lnTo>
                    <a:pt x="155" y="198"/>
                  </a:lnTo>
                  <a:lnTo>
                    <a:pt x="156" y="198"/>
                  </a:lnTo>
                  <a:lnTo>
                    <a:pt x="155" y="198"/>
                  </a:lnTo>
                  <a:lnTo>
                    <a:pt x="154" y="199"/>
                  </a:lnTo>
                  <a:lnTo>
                    <a:pt x="154" y="201"/>
                  </a:lnTo>
                  <a:lnTo>
                    <a:pt x="154" y="199"/>
                  </a:lnTo>
                  <a:lnTo>
                    <a:pt x="154" y="201"/>
                  </a:lnTo>
                  <a:lnTo>
                    <a:pt x="153" y="202"/>
                  </a:lnTo>
                  <a:lnTo>
                    <a:pt x="152" y="202"/>
                  </a:lnTo>
                  <a:lnTo>
                    <a:pt x="150" y="201"/>
                  </a:lnTo>
                  <a:lnTo>
                    <a:pt x="150" y="202"/>
                  </a:lnTo>
                  <a:lnTo>
                    <a:pt x="149" y="202"/>
                  </a:lnTo>
                  <a:lnTo>
                    <a:pt x="148" y="202"/>
                  </a:lnTo>
                  <a:lnTo>
                    <a:pt x="147" y="202"/>
                  </a:lnTo>
                  <a:lnTo>
                    <a:pt x="147" y="201"/>
                  </a:lnTo>
                  <a:lnTo>
                    <a:pt x="146" y="201"/>
                  </a:lnTo>
                  <a:lnTo>
                    <a:pt x="144" y="201"/>
                  </a:lnTo>
                  <a:lnTo>
                    <a:pt x="143" y="201"/>
                  </a:lnTo>
                  <a:lnTo>
                    <a:pt x="142" y="201"/>
                  </a:lnTo>
                  <a:lnTo>
                    <a:pt x="142" y="202"/>
                  </a:lnTo>
                  <a:lnTo>
                    <a:pt x="141" y="201"/>
                  </a:lnTo>
                  <a:lnTo>
                    <a:pt x="140" y="201"/>
                  </a:lnTo>
                  <a:lnTo>
                    <a:pt x="140" y="199"/>
                  </a:lnTo>
                  <a:lnTo>
                    <a:pt x="140" y="198"/>
                  </a:lnTo>
                  <a:lnTo>
                    <a:pt x="142" y="198"/>
                  </a:lnTo>
                  <a:lnTo>
                    <a:pt x="142" y="197"/>
                  </a:lnTo>
                  <a:lnTo>
                    <a:pt x="141" y="196"/>
                  </a:lnTo>
                  <a:lnTo>
                    <a:pt x="142" y="196"/>
                  </a:lnTo>
                  <a:lnTo>
                    <a:pt x="143" y="195"/>
                  </a:lnTo>
                  <a:lnTo>
                    <a:pt x="143" y="193"/>
                  </a:lnTo>
                  <a:lnTo>
                    <a:pt x="142" y="193"/>
                  </a:lnTo>
                  <a:lnTo>
                    <a:pt x="142" y="192"/>
                  </a:lnTo>
                  <a:lnTo>
                    <a:pt x="142" y="191"/>
                  </a:lnTo>
                  <a:lnTo>
                    <a:pt x="143" y="190"/>
                  </a:lnTo>
                  <a:lnTo>
                    <a:pt x="142" y="190"/>
                  </a:lnTo>
                  <a:lnTo>
                    <a:pt x="143" y="190"/>
                  </a:lnTo>
                  <a:lnTo>
                    <a:pt x="144" y="190"/>
                  </a:lnTo>
                  <a:lnTo>
                    <a:pt x="146" y="190"/>
                  </a:lnTo>
                  <a:lnTo>
                    <a:pt x="146" y="187"/>
                  </a:lnTo>
                  <a:lnTo>
                    <a:pt x="144" y="187"/>
                  </a:lnTo>
                  <a:lnTo>
                    <a:pt x="143" y="187"/>
                  </a:lnTo>
                  <a:lnTo>
                    <a:pt x="144" y="187"/>
                  </a:lnTo>
                  <a:lnTo>
                    <a:pt x="143" y="187"/>
                  </a:lnTo>
                  <a:lnTo>
                    <a:pt x="142" y="187"/>
                  </a:lnTo>
                  <a:lnTo>
                    <a:pt x="141" y="189"/>
                  </a:lnTo>
                  <a:lnTo>
                    <a:pt x="140" y="189"/>
                  </a:lnTo>
                  <a:lnTo>
                    <a:pt x="140" y="190"/>
                  </a:lnTo>
                  <a:lnTo>
                    <a:pt x="138" y="190"/>
                  </a:lnTo>
                  <a:lnTo>
                    <a:pt x="137" y="190"/>
                  </a:lnTo>
                  <a:lnTo>
                    <a:pt x="137" y="191"/>
                  </a:lnTo>
                  <a:lnTo>
                    <a:pt x="137" y="190"/>
                  </a:lnTo>
                  <a:lnTo>
                    <a:pt x="136" y="190"/>
                  </a:lnTo>
                  <a:lnTo>
                    <a:pt x="135" y="191"/>
                  </a:lnTo>
                  <a:lnTo>
                    <a:pt x="135" y="190"/>
                  </a:lnTo>
                  <a:lnTo>
                    <a:pt x="134" y="190"/>
                  </a:lnTo>
                  <a:lnTo>
                    <a:pt x="134" y="191"/>
                  </a:lnTo>
                  <a:lnTo>
                    <a:pt x="132" y="191"/>
                  </a:lnTo>
                  <a:lnTo>
                    <a:pt x="134" y="191"/>
                  </a:lnTo>
                  <a:lnTo>
                    <a:pt x="134" y="192"/>
                  </a:lnTo>
                  <a:lnTo>
                    <a:pt x="132" y="192"/>
                  </a:lnTo>
                  <a:lnTo>
                    <a:pt x="132" y="191"/>
                  </a:lnTo>
                  <a:lnTo>
                    <a:pt x="131" y="192"/>
                  </a:lnTo>
                  <a:lnTo>
                    <a:pt x="131" y="193"/>
                  </a:lnTo>
                  <a:lnTo>
                    <a:pt x="132" y="193"/>
                  </a:lnTo>
                  <a:lnTo>
                    <a:pt x="131" y="193"/>
                  </a:lnTo>
                  <a:lnTo>
                    <a:pt x="130" y="193"/>
                  </a:lnTo>
                  <a:lnTo>
                    <a:pt x="129" y="193"/>
                  </a:lnTo>
                  <a:lnTo>
                    <a:pt x="128" y="193"/>
                  </a:lnTo>
                  <a:lnTo>
                    <a:pt x="126" y="193"/>
                  </a:lnTo>
                  <a:lnTo>
                    <a:pt x="125" y="193"/>
                  </a:lnTo>
                  <a:lnTo>
                    <a:pt x="125" y="192"/>
                  </a:lnTo>
                  <a:lnTo>
                    <a:pt x="124" y="192"/>
                  </a:lnTo>
                  <a:lnTo>
                    <a:pt x="123" y="192"/>
                  </a:lnTo>
                  <a:lnTo>
                    <a:pt x="123" y="191"/>
                  </a:lnTo>
                  <a:lnTo>
                    <a:pt x="122" y="190"/>
                  </a:lnTo>
                  <a:lnTo>
                    <a:pt x="122" y="191"/>
                  </a:lnTo>
                  <a:lnTo>
                    <a:pt x="122" y="192"/>
                  </a:lnTo>
                  <a:lnTo>
                    <a:pt x="120" y="191"/>
                  </a:lnTo>
                  <a:lnTo>
                    <a:pt x="120" y="192"/>
                  </a:lnTo>
                  <a:lnTo>
                    <a:pt x="120" y="193"/>
                  </a:lnTo>
                  <a:lnTo>
                    <a:pt x="119" y="193"/>
                  </a:lnTo>
                  <a:lnTo>
                    <a:pt x="119" y="195"/>
                  </a:lnTo>
                  <a:lnTo>
                    <a:pt x="118" y="195"/>
                  </a:lnTo>
                  <a:lnTo>
                    <a:pt x="117" y="193"/>
                  </a:lnTo>
                  <a:lnTo>
                    <a:pt x="117" y="192"/>
                  </a:lnTo>
                  <a:lnTo>
                    <a:pt x="117" y="193"/>
                  </a:lnTo>
                  <a:lnTo>
                    <a:pt x="116" y="193"/>
                  </a:lnTo>
                  <a:lnTo>
                    <a:pt x="116" y="195"/>
                  </a:lnTo>
                  <a:lnTo>
                    <a:pt x="116" y="196"/>
                  </a:lnTo>
                  <a:lnTo>
                    <a:pt x="116" y="195"/>
                  </a:lnTo>
                  <a:lnTo>
                    <a:pt x="116" y="196"/>
                  </a:lnTo>
                  <a:lnTo>
                    <a:pt x="114" y="197"/>
                  </a:lnTo>
                  <a:lnTo>
                    <a:pt x="114" y="196"/>
                  </a:lnTo>
                  <a:lnTo>
                    <a:pt x="113" y="196"/>
                  </a:lnTo>
                  <a:lnTo>
                    <a:pt x="113" y="195"/>
                  </a:lnTo>
                  <a:lnTo>
                    <a:pt x="112" y="195"/>
                  </a:lnTo>
                  <a:lnTo>
                    <a:pt x="112" y="196"/>
                  </a:lnTo>
                  <a:lnTo>
                    <a:pt x="111" y="196"/>
                  </a:lnTo>
                  <a:lnTo>
                    <a:pt x="111" y="195"/>
                  </a:lnTo>
                  <a:lnTo>
                    <a:pt x="111" y="193"/>
                  </a:lnTo>
                  <a:lnTo>
                    <a:pt x="111" y="192"/>
                  </a:lnTo>
                  <a:lnTo>
                    <a:pt x="112" y="192"/>
                  </a:lnTo>
                  <a:lnTo>
                    <a:pt x="113" y="192"/>
                  </a:lnTo>
                  <a:lnTo>
                    <a:pt x="114" y="192"/>
                  </a:lnTo>
                  <a:lnTo>
                    <a:pt x="113" y="191"/>
                  </a:lnTo>
                  <a:lnTo>
                    <a:pt x="114" y="191"/>
                  </a:lnTo>
                  <a:lnTo>
                    <a:pt x="113" y="191"/>
                  </a:lnTo>
                  <a:lnTo>
                    <a:pt x="113" y="190"/>
                  </a:lnTo>
                  <a:lnTo>
                    <a:pt x="116" y="190"/>
                  </a:lnTo>
                  <a:lnTo>
                    <a:pt x="114" y="190"/>
                  </a:lnTo>
                  <a:lnTo>
                    <a:pt x="116" y="190"/>
                  </a:lnTo>
                  <a:lnTo>
                    <a:pt x="117" y="190"/>
                  </a:lnTo>
                  <a:lnTo>
                    <a:pt x="117" y="189"/>
                  </a:lnTo>
                  <a:lnTo>
                    <a:pt x="116" y="189"/>
                  </a:lnTo>
                  <a:lnTo>
                    <a:pt x="116" y="187"/>
                  </a:lnTo>
                  <a:lnTo>
                    <a:pt x="114" y="187"/>
                  </a:lnTo>
                  <a:lnTo>
                    <a:pt x="113" y="187"/>
                  </a:lnTo>
                  <a:lnTo>
                    <a:pt x="113" y="189"/>
                  </a:lnTo>
                  <a:lnTo>
                    <a:pt x="111" y="189"/>
                  </a:lnTo>
                  <a:lnTo>
                    <a:pt x="110" y="190"/>
                  </a:lnTo>
                  <a:lnTo>
                    <a:pt x="110" y="191"/>
                  </a:lnTo>
                  <a:lnTo>
                    <a:pt x="110" y="190"/>
                  </a:lnTo>
                  <a:lnTo>
                    <a:pt x="110" y="189"/>
                  </a:lnTo>
                  <a:lnTo>
                    <a:pt x="108" y="190"/>
                  </a:lnTo>
                  <a:lnTo>
                    <a:pt x="107" y="191"/>
                  </a:lnTo>
                  <a:lnTo>
                    <a:pt x="107" y="192"/>
                  </a:lnTo>
                  <a:lnTo>
                    <a:pt x="107" y="191"/>
                  </a:lnTo>
                  <a:lnTo>
                    <a:pt x="106" y="191"/>
                  </a:lnTo>
                  <a:lnTo>
                    <a:pt x="106" y="190"/>
                  </a:lnTo>
                  <a:lnTo>
                    <a:pt x="105" y="190"/>
                  </a:lnTo>
                  <a:lnTo>
                    <a:pt x="104" y="190"/>
                  </a:lnTo>
                  <a:lnTo>
                    <a:pt x="102" y="190"/>
                  </a:lnTo>
                  <a:lnTo>
                    <a:pt x="102" y="189"/>
                  </a:lnTo>
                  <a:lnTo>
                    <a:pt x="101" y="189"/>
                  </a:lnTo>
                  <a:lnTo>
                    <a:pt x="100" y="189"/>
                  </a:lnTo>
                  <a:lnTo>
                    <a:pt x="100" y="187"/>
                  </a:lnTo>
                  <a:lnTo>
                    <a:pt x="99" y="187"/>
                  </a:lnTo>
                  <a:lnTo>
                    <a:pt x="99" y="186"/>
                  </a:lnTo>
                  <a:lnTo>
                    <a:pt x="97" y="186"/>
                  </a:lnTo>
                  <a:lnTo>
                    <a:pt x="96" y="186"/>
                  </a:lnTo>
                  <a:lnTo>
                    <a:pt x="97" y="186"/>
                  </a:lnTo>
                  <a:lnTo>
                    <a:pt x="97" y="185"/>
                  </a:lnTo>
                  <a:lnTo>
                    <a:pt x="96" y="184"/>
                  </a:lnTo>
                  <a:lnTo>
                    <a:pt x="97" y="184"/>
                  </a:lnTo>
                  <a:lnTo>
                    <a:pt x="97" y="183"/>
                  </a:lnTo>
                  <a:lnTo>
                    <a:pt x="96" y="183"/>
                  </a:lnTo>
                  <a:lnTo>
                    <a:pt x="97" y="183"/>
                  </a:lnTo>
                  <a:lnTo>
                    <a:pt x="97" y="181"/>
                  </a:lnTo>
                  <a:lnTo>
                    <a:pt x="97" y="183"/>
                  </a:lnTo>
                  <a:lnTo>
                    <a:pt x="96" y="183"/>
                  </a:lnTo>
                  <a:lnTo>
                    <a:pt x="96" y="181"/>
                  </a:lnTo>
                  <a:lnTo>
                    <a:pt x="95" y="181"/>
                  </a:lnTo>
                  <a:lnTo>
                    <a:pt x="95" y="180"/>
                  </a:lnTo>
                  <a:lnTo>
                    <a:pt x="95" y="179"/>
                  </a:lnTo>
                  <a:lnTo>
                    <a:pt x="94" y="179"/>
                  </a:lnTo>
                  <a:lnTo>
                    <a:pt x="94" y="178"/>
                  </a:lnTo>
                  <a:lnTo>
                    <a:pt x="94" y="177"/>
                  </a:lnTo>
                  <a:lnTo>
                    <a:pt x="94" y="175"/>
                  </a:lnTo>
                  <a:lnTo>
                    <a:pt x="93" y="174"/>
                  </a:lnTo>
                  <a:lnTo>
                    <a:pt x="94" y="174"/>
                  </a:lnTo>
                  <a:lnTo>
                    <a:pt x="94" y="173"/>
                  </a:lnTo>
                  <a:lnTo>
                    <a:pt x="95" y="173"/>
                  </a:lnTo>
                  <a:lnTo>
                    <a:pt x="95" y="174"/>
                  </a:lnTo>
                  <a:lnTo>
                    <a:pt x="96" y="174"/>
                  </a:lnTo>
                  <a:lnTo>
                    <a:pt x="96" y="175"/>
                  </a:lnTo>
                  <a:lnTo>
                    <a:pt x="96" y="174"/>
                  </a:lnTo>
                  <a:lnTo>
                    <a:pt x="97" y="174"/>
                  </a:lnTo>
                  <a:lnTo>
                    <a:pt x="96" y="174"/>
                  </a:lnTo>
                  <a:lnTo>
                    <a:pt x="97" y="174"/>
                  </a:lnTo>
                  <a:lnTo>
                    <a:pt x="99" y="174"/>
                  </a:lnTo>
                  <a:lnTo>
                    <a:pt x="99" y="173"/>
                  </a:lnTo>
                  <a:lnTo>
                    <a:pt x="100" y="173"/>
                  </a:lnTo>
                  <a:lnTo>
                    <a:pt x="100" y="172"/>
                  </a:lnTo>
                  <a:lnTo>
                    <a:pt x="101" y="172"/>
                  </a:lnTo>
                  <a:lnTo>
                    <a:pt x="101" y="173"/>
                  </a:lnTo>
                  <a:lnTo>
                    <a:pt x="102" y="173"/>
                  </a:lnTo>
                  <a:lnTo>
                    <a:pt x="104" y="173"/>
                  </a:lnTo>
                  <a:lnTo>
                    <a:pt x="104" y="172"/>
                  </a:lnTo>
                  <a:lnTo>
                    <a:pt x="104" y="171"/>
                  </a:lnTo>
                  <a:lnTo>
                    <a:pt x="104" y="172"/>
                  </a:lnTo>
                  <a:lnTo>
                    <a:pt x="105" y="172"/>
                  </a:lnTo>
                  <a:lnTo>
                    <a:pt x="106" y="172"/>
                  </a:lnTo>
                  <a:lnTo>
                    <a:pt x="105" y="172"/>
                  </a:lnTo>
                  <a:lnTo>
                    <a:pt x="105" y="171"/>
                  </a:lnTo>
                  <a:lnTo>
                    <a:pt x="105" y="169"/>
                  </a:lnTo>
                  <a:lnTo>
                    <a:pt x="104" y="169"/>
                  </a:lnTo>
                  <a:lnTo>
                    <a:pt x="104" y="168"/>
                  </a:lnTo>
                  <a:lnTo>
                    <a:pt x="102" y="168"/>
                  </a:lnTo>
                  <a:lnTo>
                    <a:pt x="102" y="167"/>
                  </a:lnTo>
                  <a:lnTo>
                    <a:pt x="102" y="166"/>
                  </a:lnTo>
                  <a:lnTo>
                    <a:pt x="104" y="166"/>
                  </a:lnTo>
                  <a:lnTo>
                    <a:pt x="102" y="166"/>
                  </a:lnTo>
                  <a:lnTo>
                    <a:pt x="102" y="165"/>
                  </a:lnTo>
                  <a:lnTo>
                    <a:pt x="101" y="165"/>
                  </a:lnTo>
                  <a:lnTo>
                    <a:pt x="100" y="163"/>
                  </a:lnTo>
                  <a:lnTo>
                    <a:pt x="100" y="162"/>
                  </a:lnTo>
                  <a:lnTo>
                    <a:pt x="100" y="161"/>
                  </a:lnTo>
                  <a:lnTo>
                    <a:pt x="100" y="160"/>
                  </a:lnTo>
                  <a:lnTo>
                    <a:pt x="99" y="160"/>
                  </a:lnTo>
                  <a:lnTo>
                    <a:pt x="99" y="159"/>
                  </a:lnTo>
                  <a:lnTo>
                    <a:pt x="99" y="157"/>
                  </a:lnTo>
                  <a:lnTo>
                    <a:pt x="97" y="157"/>
                  </a:lnTo>
                  <a:lnTo>
                    <a:pt x="97" y="156"/>
                  </a:lnTo>
                  <a:lnTo>
                    <a:pt x="97" y="155"/>
                  </a:lnTo>
                  <a:lnTo>
                    <a:pt x="97" y="154"/>
                  </a:lnTo>
                  <a:lnTo>
                    <a:pt x="97" y="152"/>
                  </a:lnTo>
                  <a:lnTo>
                    <a:pt x="97" y="151"/>
                  </a:lnTo>
                  <a:lnTo>
                    <a:pt x="97" y="150"/>
                  </a:lnTo>
                  <a:lnTo>
                    <a:pt x="97" y="149"/>
                  </a:lnTo>
                  <a:lnTo>
                    <a:pt x="96" y="148"/>
                  </a:lnTo>
                  <a:lnTo>
                    <a:pt x="96" y="146"/>
                  </a:lnTo>
                  <a:lnTo>
                    <a:pt x="97" y="145"/>
                  </a:lnTo>
                  <a:lnTo>
                    <a:pt x="99" y="145"/>
                  </a:lnTo>
                  <a:lnTo>
                    <a:pt x="99" y="146"/>
                  </a:lnTo>
                  <a:lnTo>
                    <a:pt x="99" y="148"/>
                  </a:lnTo>
                  <a:lnTo>
                    <a:pt x="100" y="148"/>
                  </a:lnTo>
                  <a:lnTo>
                    <a:pt x="100" y="149"/>
                  </a:lnTo>
                  <a:lnTo>
                    <a:pt x="101" y="149"/>
                  </a:lnTo>
                  <a:lnTo>
                    <a:pt x="102" y="149"/>
                  </a:lnTo>
                  <a:lnTo>
                    <a:pt x="102" y="150"/>
                  </a:lnTo>
                  <a:lnTo>
                    <a:pt x="104" y="150"/>
                  </a:lnTo>
                  <a:lnTo>
                    <a:pt x="104" y="151"/>
                  </a:lnTo>
                  <a:lnTo>
                    <a:pt x="105" y="151"/>
                  </a:lnTo>
                  <a:lnTo>
                    <a:pt x="105" y="150"/>
                  </a:lnTo>
                  <a:lnTo>
                    <a:pt x="105" y="149"/>
                  </a:lnTo>
                  <a:lnTo>
                    <a:pt x="105" y="148"/>
                  </a:lnTo>
                  <a:lnTo>
                    <a:pt x="105" y="146"/>
                  </a:lnTo>
                  <a:lnTo>
                    <a:pt x="106" y="146"/>
                  </a:lnTo>
                  <a:lnTo>
                    <a:pt x="107" y="146"/>
                  </a:lnTo>
                  <a:lnTo>
                    <a:pt x="107" y="148"/>
                  </a:lnTo>
                  <a:lnTo>
                    <a:pt x="107" y="149"/>
                  </a:lnTo>
                  <a:lnTo>
                    <a:pt x="108" y="149"/>
                  </a:lnTo>
                  <a:lnTo>
                    <a:pt x="108" y="150"/>
                  </a:lnTo>
                  <a:lnTo>
                    <a:pt x="108" y="149"/>
                  </a:lnTo>
                  <a:lnTo>
                    <a:pt x="110" y="148"/>
                  </a:lnTo>
                  <a:lnTo>
                    <a:pt x="111" y="148"/>
                  </a:lnTo>
                  <a:lnTo>
                    <a:pt x="111" y="149"/>
                  </a:lnTo>
                  <a:lnTo>
                    <a:pt x="112" y="149"/>
                  </a:lnTo>
                  <a:lnTo>
                    <a:pt x="112" y="150"/>
                  </a:lnTo>
                  <a:lnTo>
                    <a:pt x="113" y="150"/>
                  </a:lnTo>
                  <a:lnTo>
                    <a:pt x="113" y="151"/>
                  </a:lnTo>
                  <a:lnTo>
                    <a:pt x="114" y="151"/>
                  </a:lnTo>
                  <a:lnTo>
                    <a:pt x="114" y="152"/>
                  </a:lnTo>
                  <a:lnTo>
                    <a:pt x="116" y="152"/>
                  </a:lnTo>
                  <a:lnTo>
                    <a:pt x="116" y="154"/>
                  </a:lnTo>
                  <a:lnTo>
                    <a:pt x="117" y="154"/>
                  </a:lnTo>
                  <a:lnTo>
                    <a:pt x="118" y="154"/>
                  </a:lnTo>
                  <a:lnTo>
                    <a:pt x="118" y="152"/>
                  </a:lnTo>
                  <a:lnTo>
                    <a:pt x="117" y="151"/>
                  </a:lnTo>
                  <a:lnTo>
                    <a:pt x="116" y="151"/>
                  </a:lnTo>
                  <a:lnTo>
                    <a:pt x="116" y="150"/>
                  </a:lnTo>
                  <a:lnTo>
                    <a:pt x="114" y="149"/>
                  </a:lnTo>
                  <a:lnTo>
                    <a:pt x="114" y="148"/>
                  </a:lnTo>
                  <a:lnTo>
                    <a:pt x="114" y="146"/>
                  </a:lnTo>
                  <a:lnTo>
                    <a:pt x="116" y="146"/>
                  </a:lnTo>
                  <a:lnTo>
                    <a:pt x="116" y="145"/>
                  </a:lnTo>
                  <a:lnTo>
                    <a:pt x="117" y="145"/>
                  </a:lnTo>
                  <a:lnTo>
                    <a:pt x="117" y="146"/>
                  </a:lnTo>
                  <a:lnTo>
                    <a:pt x="118" y="146"/>
                  </a:lnTo>
                  <a:lnTo>
                    <a:pt x="119" y="146"/>
                  </a:lnTo>
                  <a:lnTo>
                    <a:pt x="120" y="145"/>
                  </a:lnTo>
                  <a:lnTo>
                    <a:pt x="120" y="146"/>
                  </a:lnTo>
                  <a:lnTo>
                    <a:pt x="122" y="146"/>
                  </a:lnTo>
                  <a:lnTo>
                    <a:pt x="122" y="148"/>
                  </a:lnTo>
                  <a:lnTo>
                    <a:pt x="123" y="148"/>
                  </a:lnTo>
                  <a:lnTo>
                    <a:pt x="125" y="148"/>
                  </a:lnTo>
                  <a:lnTo>
                    <a:pt x="125" y="149"/>
                  </a:lnTo>
                  <a:lnTo>
                    <a:pt x="126" y="149"/>
                  </a:lnTo>
                  <a:lnTo>
                    <a:pt x="128" y="149"/>
                  </a:lnTo>
                  <a:lnTo>
                    <a:pt x="128" y="148"/>
                  </a:lnTo>
                  <a:lnTo>
                    <a:pt x="129" y="146"/>
                  </a:lnTo>
                  <a:lnTo>
                    <a:pt x="129" y="145"/>
                  </a:lnTo>
                  <a:lnTo>
                    <a:pt x="129" y="146"/>
                  </a:lnTo>
                  <a:lnTo>
                    <a:pt x="128" y="145"/>
                  </a:lnTo>
                  <a:lnTo>
                    <a:pt x="128" y="146"/>
                  </a:lnTo>
                  <a:lnTo>
                    <a:pt x="126" y="146"/>
                  </a:lnTo>
                  <a:lnTo>
                    <a:pt x="126" y="145"/>
                  </a:lnTo>
                  <a:lnTo>
                    <a:pt x="125" y="144"/>
                  </a:lnTo>
                  <a:lnTo>
                    <a:pt x="124" y="144"/>
                  </a:lnTo>
                  <a:lnTo>
                    <a:pt x="123" y="144"/>
                  </a:lnTo>
                  <a:lnTo>
                    <a:pt x="123" y="143"/>
                  </a:lnTo>
                  <a:lnTo>
                    <a:pt x="122" y="143"/>
                  </a:lnTo>
                  <a:lnTo>
                    <a:pt x="122" y="140"/>
                  </a:lnTo>
                  <a:lnTo>
                    <a:pt x="120" y="140"/>
                  </a:lnTo>
                  <a:lnTo>
                    <a:pt x="120" y="142"/>
                  </a:lnTo>
                  <a:lnTo>
                    <a:pt x="119" y="142"/>
                  </a:lnTo>
                  <a:lnTo>
                    <a:pt x="118" y="142"/>
                  </a:lnTo>
                  <a:lnTo>
                    <a:pt x="117" y="142"/>
                  </a:lnTo>
                  <a:lnTo>
                    <a:pt x="116" y="142"/>
                  </a:lnTo>
                  <a:lnTo>
                    <a:pt x="116" y="140"/>
                  </a:lnTo>
                  <a:lnTo>
                    <a:pt x="114" y="142"/>
                  </a:lnTo>
                  <a:lnTo>
                    <a:pt x="114" y="140"/>
                  </a:lnTo>
                  <a:lnTo>
                    <a:pt x="114" y="139"/>
                  </a:lnTo>
                  <a:lnTo>
                    <a:pt x="113" y="138"/>
                  </a:lnTo>
                  <a:lnTo>
                    <a:pt x="113" y="137"/>
                  </a:lnTo>
                  <a:lnTo>
                    <a:pt x="112" y="137"/>
                  </a:lnTo>
                  <a:lnTo>
                    <a:pt x="111" y="137"/>
                  </a:lnTo>
                  <a:lnTo>
                    <a:pt x="110" y="137"/>
                  </a:lnTo>
                  <a:lnTo>
                    <a:pt x="110" y="136"/>
                  </a:lnTo>
                  <a:lnTo>
                    <a:pt x="110" y="134"/>
                  </a:lnTo>
                  <a:lnTo>
                    <a:pt x="110" y="133"/>
                  </a:lnTo>
                  <a:lnTo>
                    <a:pt x="110" y="132"/>
                  </a:lnTo>
                  <a:lnTo>
                    <a:pt x="108" y="132"/>
                  </a:lnTo>
                  <a:lnTo>
                    <a:pt x="108" y="131"/>
                  </a:lnTo>
                  <a:lnTo>
                    <a:pt x="107" y="131"/>
                  </a:lnTo>
                  <a:lnTo>
                    <a:pt x="107" y="130"/>
                  </a:lnTo>
                  <a:lnTo>
                    <a:pt x="108" y="130"/>
                  </a:lnTo>
                  <a:lnTo>
                    <a:pt x="108" y="128"/>
                  </a:lnTo>
                  <a:lnTo>
                    <a:pt x="110" y="128"/>
                  </a:lnTo>
                  <a:lnTo>
                    <a:pt x="110" y="130"/>
                  </a:lnTo>
                  <a:lnTo>
                    <a:pt x="111" y="130"/>
                  </a:lnTo>
                  <a:lnTo>
                    <a:pt x="112" y="130"/>
                  </a:lnTo>
                  <a:lnTo>
                    <a:pt x="113" y="130"/>
                  </a:lnTo>
                  <a:lnTo>
                    <a:pt x="113" y="131"/>
                  </a:lnTo>
                  <a:lnTo>
                    <a:pt x="114" y="131"/>
                  </a:lnTo>
                  <a:lnTo>
                    <a:pt x="116" y="131"/>
                  </a:lnTo>
                  <a:lnTo>
                    <a:pt x="116" y="130"/>
                  </a:lnTo>
                  <a:lnTo>
                    <a:pt x="114" y="130"/>
                  </a:lnTo>
                  <a:lnTo>
                    <a:pt x="114" y="128"/>
                  </a:lnTo>
                  <a:lnTo>
                    <a:pt x="114" y="127"/>
                  </a:lnTo>
                  <a:lnTo>
                    <a:pt x="114" y="126"/>
                  </a:lnTo>
                  <a:lnTo>
                    <a:pt x="116" y="126"/>
                  </a:lnTo>
                  <a:lnTo>
                    <a:pt x="116" y="127"/>
                  </a:lnTo>
                  <a:lnTo>
                    <a:pt x="117" y="128"/>
                  </a:lnTo>
                  <a:lnTo>
                    <a:pt x="118" y="128"/>
                  </a:lnTo>
                  <a:lnTo>
                    <a:pt x="119" y="128"/>
                  </a:lnTo>
                  <a:lnTo>
                    <a:pt x="119" y="131"/>
                  </a:lnTo>
                  <a:lnTo>
                    <a:pt x="119" y="132"/>
                  </a:lnTo>
                  <a:lnTo>
                    <a:pt x="120" y="132"/>
                  </a:lnTo>
                  <a:lnTo>
                    <a:pt x="120" y="133"/>
                  </a:lnTo>
                  <a:lnTo>
                    <a:pt x="120" y="132"/>
                  </a:lnTo>
                  <a:lnTo>
                    <a:pt x="122" y="132"/>
                  </a:lnTo>
                  <a:lnTo>
                    <a:pt x="123" y="132"/>
                  </a:lnTo>
                  <a:lnTo>
                    <a:pt x="123" y="131"/>
                  </a:lnTo>
                  <a:lnTo>
                    <a:pt x="124" y="131"/>
                  </a:lnTo>
                  <a:lnTo>
                    <a:pt x="126" y="131"/>
                  </a:lnTo>
                  <a:lnTo>
                    <a:pt x="129" y="131"/>
                  </a:lnTo>
                  <a:lnTo>
                    <a:pt x="129" y="132"/>
                  </a:lnTo>
                  <a:lnTo>
                    <a:pt x="129" y="133"/>
                  </a:lnTo>
                  <a:lnTo>
                    <a:pt x="130" y="133"/>
                  </a:lnTo>
                  <a:lnTo>
                    <a:pt x="130" y="134"/>
                  </a:lnTo>
                  <a:lnTo>
                    <a:pt x="131" y="134"/>
                  </a:lnTo>
                  <a:lnTo>
                    <a:pt x="131" y="133"/>
                  </a:lnTo>
                  <a:lnTo>
                    <a:pt x="130" y="132"/>
                  </a:lnTo>
                  <a:lnTo>
                    <a:pt x="130" y="131"/>
                  </a:lnTo>
                  <a:lnTo>
                    <a:pt x="129" y="131"/>
                  </a:lnTo>
                  <a:lnTo>
                    <a:pt x="129" y="130"/>
                  </a:lnTo>
                  <a:lnTo>
                    <a:pt x="129" y="128"/>
                  </a:lnTo>
                  <a:lnTo>
                    <a:pt x="130" y="127"/>
                  </a:lnTo>
                  <a:lnTo>
                    <a:pt x="130" y="128"/>
                  </a:lnTo>
                  <a:lnTo>
                    <a:pt x="131" y="128"/>
                  </a:lnTo>
                  <a:lnTo>
                    <a:pt x="132" y="130"/>
                  </a:lnTo>
                  <a:lnTo>
                    <a:pt x="132" y="128"/>
                  </a:lnTo>
                  <a:lnTo>
                    <a:pt x="132" y="126"/>
                  </a:lnTo>
                  <a:lnTo>
                    <a:pt x="131" y="125"/>
                  </a:lnTo>
                  <a:lnTo>
                    <a:pt x="131" y="124"/>
                  </a:lnTo>
                  <a:lnTo>
                    <a:pt x="131" y="122"/>
                  </a:lnTo>
                  <a:lnTo>
                    <a:pt x="132" y="122"/>
                  </a:lnTo>
                  <a:lnTo>
                    <a:pt x="132" y="124"/>
                  </a:lnTo>
                  <a:lnTo>
                    <a:pt x="134" y="122"/>
                  </a:lnTo>
                  <a:lnTo>
                    <a:pt x="135" y="122"/>
                  </a:lnTo>
                  <a:lnTo>
                    <a:pt x="136" y="124"/>
                  </a:lnTo>
                  <a:lnTo>
                    <a:pt x="136" y="125"/>
                  </a:lnTo>
                  <a:lnTo>
                    <a:pt x="136" y="124"/>
                  </a:lnTo>
                  <a:lnTo>
                    <a:pt x="137" y="125"/>
                  </a:lnTo>
                  <a:lnTo>
                    <a:pt x="138" y="125"/>
                  </a:lnTo>
                  <a:lnTo>
                    <a:pt x="138" y="124"/>
                  </a:lnTo>
                  <a:lnTo>
                    <a:pt x="140" y="124"/>
                  </a:lnTo>
                  <a:lnTo>
                    <a:pt x="140" y="122"/>
                  </a:lnTo>
                  <a:lnTo>
                    <a:pt x="138" y="122"/>
                  </a:lnTo>
                  <a:lnTo>
                    <a:pt x="140" y="121"/>
                  </a:lnTo>
                  <a:lnTo>
                    <a:pt x="140" y="120"/>
                  </a:lnTo>
                  <a:lnTo>
                    <a:pt x="138" y="120"/>
                  </a:lnTo>
                  <a:lnTo>
                    <a:pt x="138" y="119"/>
                  </a:lnTo>
                  <a:lnTo>
                    <a:pt x="138" y="118"/>
                  </a:lnTo>
                  <a:lnTo>
                    <a:pt x="140" y="118"/>
                  </a:lnTo>
                  <a:lnTo>
                    <a:pt x="140" y="116"/>
                  </a:lnTo>
                  <a:lnTo>
                    <a:pt x="141" y="116"/>
                  </a:lnTo>
                  <a:lnTo>
                    <a:pt x="141" y="118"/>
                  </a:lnTo>
                  <a:lnTo>
                    <a:pt x="142" y="118"/>
                  </a:lnTo>
                  <a:lnTo>
                    <a:pt x="142" y="119"/>
                  </a:lnTo>
                  <a:lnTo>
                    <a:pt x="143" y="119"/>
                  </a:lnTo>
                  <a:lnTo>
                    <a:pt x="143" y="118"/>
                  </a:lnTo>
                  <a:lnTo>
                    <a:pt x="144" y="116"/>
                  </a:lnTo>
                  <a:lnTo>
                    <a:pt x="144" y="115"/>
                  </a:lnTo>
                  <a:lnTo>
                    <a:pt x="146" y="116"/>
                  </a:lnTo>
                  <a:lnTo>
                    <a:pt x="146" y="115"/>
                  </a:lnTo>
                  <a:lnTo>
                    <a:pt x="146" y="114"/>
                  </a:lnTo>
                  <a:lnTo>
                    <a:pt x="144" y="114"/>
                  </a:lnTo>
                  <a:lnTo>
                    <a:pt x="144" y="113"/>
                  </a:lnTo>
                  <a:lnTo>
                    <a:pt x="144" y="112"/>
                  </a:lnTo>
                  <a:lnTo>
                    <a:pt x="143" y="110"/>
                  </a:lnTo>
                  <a:lnTo>
                    <a:pt x="143" y="112"/>
                  </a:lnTo>
                  <a:lnTo>
                    <a:pt x="143" y="110"/>
                  </a:lnTo>
                  <a:lnTo>
                    <a:pt x="142" y="110"/>
                  </a:lnTo>
                  <a:lnTo>
                    <a:pt x="143" y="109"/>
                  </a:lnTo>
                  <a:lnTo>
                    <a:pt x="142" y="109"/>
                  </a:lnTo>
                  <a:lnTo>
                    <a:pt x="142" y="108"/>
                  </a:lnTo>
                  <a:lnTo>
                    <a:pt x="141" y="107"/>
                  </a:lnTo>
                  <a:lnTo>
                    <a:pt x="141" y="108"/>
                  </a:lnTo>
                  <a:lnTo>
                    <a:pt x="141" y="107"/>
                  </a:lnTo>
                  <a:lnTo>
                    <a:pt x="141" y="108"/>
                  </a:lnTo>
                  <a:lnTo>
                    <a:pt x="140" y="108"/>
                  </a:lnTo>
                  <a:lnTo>
                    <a:pt x="138" y="107"/>
                  </a:lnTo>
                  <a:lnTo>
                    <a:pt x="138" y="106"/>
                  </a:lnTo>
                  <a:lnTo>
                    <a:pt x="137" y="106"/>
                  </a:lnTo>
                  <a:lnTo>
                    <a:pt x="136" y="106"/>
                  </a:lnTo>
                  <a:lnTo>
                    <a:pt x="136" y="104"/>
                  </a:lnTo>
                  <a:lnTo>
                    <a:pt x="136" y="103"/>
                  </a:lnTo>
                  <a:lnTo>
                    <a:pt x="136" y="102"/>
                  </a:lnTo>
                  <a:lnTo>
                    <a:pt x="137" y="102"/>
                  </a:lnTo>
                  <a:lnTo>
                    <a:pt x="137" y="103"/>
                  </a:lnTo>
                  <a:lnTo>
                    <a:pt x="138" y="102"/>
                  </a:lnTo>
                  <a:lnTo>
                    <a:pt x="140" y="102"/>
                  </a:lnTo>
                  <a:lnTo>
                    <a:pt x="138" y="101"/>
                  </a:lnTo>
                  <a:lnTo>
                    <a:pt x="137" y="101"/>
                  </a:lnTo>
                  <a:lnTo>
                    <a:pt x="136" y="101"/>
                  </a:lnTo>
                  <a:lnTo>
                    <a:pt x="135" y="101"/>
                  </a:lnTo>
                  <a:lnTo>
                    <a:pt x="135" y="100"/>
                  </a:lnTo>
                  <a:lnTo>
                    <a:pt x="135" y="98"/>
                  </a:lnTo>
                  <a:lnTo>
                    <a:pt x="134" y="98"/>
                  </a:lnTo>
                  <a:lnTo>
                    <a:pt x="132" y="98"/>
                  </a:lnTo>
                  <a:lnTo>
                    <a:pt x="132" y="97"/>
                  </a:lnTo>
                  <a:lnTo>
                    <a:pt x="131" y="97"/>
                  </a:lnTo>
                  <a:lnTo>
                    <a:pt x="132" y="96"/>
                  </a:lnTo>
                  <a:lnTo>
                    <a:pt x="132" y="94"/>
                  </a:lnTo>
                  <a:lnTo>
                    <a:pt x="134" y="92"/>
                  </a:lnTo>
                  <a:lnTo>
                    <a:pt x="132" y="91"/>
                  </a:lnTo>
                  <a:lnTo>
                    <a:pt x="132" y="90"/>
                  </a:lnTo>
                  <a:lnTo>
                    <a:pt x="132" y="89"/>
                  </a:lnTo>
                  <a:lnTo>
                    <a:pt x="132" y="88"/>
                  </a:lnTo>
                  <a:lnTo>
                    <a:pt x="134" y="88"/>
                  </a:lnTo>
                  <a:lnTo>
                    <a:pt x="135" y="88"/>
                  </a:lnTo>
                  <a:lnTo>
                    <a:pt x="135" y="89"/>
                  </a:lnTo>
                  <a:lnTo>
                    <a:pt x="136" y="90"/>
                  </a:lnTo>
                  <a:lnTo>
                    <a:pt x="136" y="89"/>
                  </a:lnTo>
                  <a:lnTo>
                    <a:pt x="137" y="89"/>
                  </a:lnTo>
                  <a:lnTo>
                    <a:pt x="140" y="89"/>
                  </a:lnTo>
                  <a:lnTo>
                    <a:pt x="140" y="88"/>
                  </a:lnTo>
                  <a:lnTo>
                    <a:pt x="141" y="88"/>
                  </a:lnTo>
                  <a:lnTo>
                    <a:pt x="140" y="89"/>
                  </a:lnTo>
                  <a:lnTo>
                    <a:pt x="141" y="89"/>
                  </a:lnTo>
                  <a:lnTo>
                    <a:pt x="141" y="90"/>
                  </a:lnTo>
                  <a:lnTo>
                    <a:pt x="142" y="91"/>
                  </a:lnTo>
                  <a:lnTo>
                    <a:pt x="143" y="92"/>
                  </a:lnTo>
                  <a:lnTo>
                    <a:pt x="143" y="94"/>
                  </a:lnTo>
                  <a:lnTo>
                    <a:pt x="144" y="94"/>
                  </a:lnTo>
                  <a:lnTo>
                    <a:pt x="146" y="94"/>
                  </a:lnTo>
                  <a:lnTo>
                    <a:pt x="147" y="94"/>
                  </a:lnTo>
                  <a:lnTo>
                    <a:pt x="146" y="94"/>
                  </a:lnTo>
                  <a:lnTo>
                    <a:pt x="147" y="92"/>
                  </a:lnTo>
                  <a:lnTo>
                    <a:pt x="148" y="92"/>
                  </a:lnTo>
                  <a:lnTo>
                    <a:pt x="148" y="94"/>
                  </a:lnTo>
                  <a:lnTo>
                    <a:pt x="148" y="95"/>
                  </a:lnTo>
                  <a:lnTo>
                    <a:pt x="149" y="94"/>
                  </a:lnTo>
                  <a:lnTo>
                    <a:pt x="150" y="94"/>
                  </a:lnTo>
                  <a:lnTo>
                    <a:pt x="152" y="94"/>
                  </a:lnTo>
                  <a:lnTo>
                    <a:pt x="152" y="92"/>
                  </a:lnTo>
                  <a:lnTo>
                    <a:pt x="153" y="92"/>
                  </a:lnTo>
                  <a:lnTo>
                    <a:pt x="152" y="92"/>
                  </a:lnTo>
                  <a:lnTo>
                    <a:pt x="150" y="91"/>
                  </a:lnTo>
                  <a:lnTo>
                    <a:pt x="150" y="90"/>
                  </a:lnTo>
                  <a:lnTo>
                    <a:pt x="149" y="90"/>
                  </a:lnTo>
                  <a:lnTo>
                    <a:pt x="149" y="89"/>
                  </a:lnTo>
                  <a:lnTo>
                    <a:pt x="148" y="89"/>
                  </a:lnTo>
                  <a:lnTo>
                    <a:pt x="149" y="89"/>
                  </a:lnTo>
                  <a:lnTo>
                    <a:pt x="149" y="86"/>
                  </a:lnTo>
                  <a:lnTo>
                    <a:pt x="149" y="85"/>
                  </a:lnTo>
                  <a:lnTo>
                    <a:pt x="149" y="84"/>
                  </a:lnTo>
                  <a:lnTo>
                    <a:pt x="150" y="84"/>
                  </a:lnTo>
                  <a:lnTo>
                    <a:pt x="150" y="83"/>
                  </a:lnTo>
                  <a:lnTo>
                    <a:pt x="150" y="82"/>
                  </a:lnTo>
                  <a:lnTo>
                    <a:pt x="150" y="80"/>
                  </a:lnTo>
                  <a:lnTo>
                    <a:pt x="152" y="80"/>
                  </a:lnTo>
                  <a:lnTo>
                    <a:pt x="153" y="80"/>
                  </a:lnTo>
                  <a:lnTo>
                    <a:pt x="154" y="80"/>
                  </a:lnTo>
                  <a:lnTo>
                    <a:pt x="154" y="82"/>
                  </a:lnTo>
                  <a:lnTo>
                    <a:pt x="155" y="83"/>
                  </a:lnTo>
                  <a:lnTo>
                    <a:pt x="155" y="82"/>
                  </a:lnTo>
                  <a:lnTo>
                    <a:pt x="155" y="79"/>
                  </a:lnTo>
                  <a:lnTo>
                    <a:pt x="158" y="79"/>
                  </a:lnTo>
                  <a:lnTo>
                    <a:pt x="158" y="82"/>
                  </a:lnTo>
                  <a:lnTo>
                    <a:pt x="159" y="82"/>
                  </a:lnTo>
                  <a:lnTo>
                    <a:pt x="159" y="83"/>
                  </a:lnTo>
                  <a:lnTo>
                    <a:pt x="160" y="83"/>
                  </a:lnTo>
                  <a:lnTo>
                    <a:pt x="160" y="84"/>
                  </a:lnTo>
                  <a:lnTo>
                    <a:pt x="160" y="85"/>
                  </a:lnTo>
                  <a:lnTo>
                    <a:pt x="160" y="88"/>
                  </a:lnTo>
                  <a:lnTo>
                    <a:pt x="159" y="88"/>
                  </a:lnTo>
                  <a:lnTo>
                    <a:pt x="159" y="89"/>
                  </a:lnTo>
                  <a:lnTo>
                    <a:pt x="159" y="90"/>
                  </a:lnTo>
                  <a:lnTo>
                    <a:pt x="159" y="91"/>
                  </a:lnTo>
                  <a:lnTo>
                    <a:pt x="159" y="92"/>
                  </a:lnTo>
                  <a:lnTo>
                    <a:pt x="160" y="92"/>
                  </a:lnTo>
                  <a:lnTo>
                    <a:pt x="161" y="92"/>
                  </a:lnTo>
                  <a:lnTo>
                    <a:pt x="161" y="91"/>
                  </a:lnTo>
                  <a:lnTo>
                    <a:pt x="163" y="91"/>
                  </a:lnTo>
                  <a:lnTo>
                    <a:pt x="163" y="92"/>
                  </a:lnTo>
                  <a:lnTo>
                    <a:pt x="164" y="92"/>
                  </a:lnTo>
                  <a:lnTo>
                    <a:pt x="164" y="91"/>
                  </a:lnTo>
                  <a:lnTo>
                    <a:pt x="164" y="92"/>
                  </a:lnTo>
                  <a:lnTo>
                    <a:pt x="165" y="92"/>
                  </a:lnTo>
                  <a:lnTo>
                    <a:pt x="166" y="92"/>
                  </a:lnTo>
                  <a:lnTo>
                    <a:pt x="165" y="92"/>
                  </a:lnTo>
                  <a:lnTo>
                    <a:pt x="165" y="91"/>
                  </a:lnTo>
                  <a:lnTo>
                    <a:pt x="164" y="90"/>
                  </a:lnTo>
                  <a:lnTo>
                    <a:pt x="165" y="90"/>
                  </a:lnTo>
                  <a:lnTo>
                    <a:pt x="165" y="89"/>
                  </a:lnTo>
                  <a:lnTo>
                    <a:pt x="164" y="88"/>
                  </a:lnTo>
                  <a:lnTo>
                    <a:pt x="164" y="86"/>
                  </a:lnTo>
                  <a:lnTo>
                    <a:pt x="164" y="85"/>
                  </a:lnTo>
                  <a:lnTo>
                    <a:pt x="164" y="84"/>
                  </a:lnTo>
                  <a:lnTo>
                    <a:pt x="165" y="84"/>
                  </a:lnTo>
                  <a:lnTo>
                    <a:pt x="166" y="83"/>
                  </a:lnTo>
                  <a:lnTo>
                    <a:pt x="166" y="84"/>
                  </a:lnTo>
                  <a:lnTo>
                    <a:pt x="167" y="86"/>
                  </a:lnTo>
                  <a:lnTo>
                    <a:pt x="167" y="85"/>
                  </a:lnTo>
                  <a:lnTo>
                    <a:pt x="169" y="86"/>
                  </a:lnTo>
                  <a:lnTo>
                    <a:pt x="169" y="85"/>
                  </a:lnTo>
                  <a:lnTo>
                    <a:pt x="170" y="85"/>
                  </a:lnTo>
                  <a:lnTo>
                    <a:pt x="170" y="86"/>
                  </a:lnTo>
                  <a:lnTo>
                    <a:pt x="170" y="88"/>
                  </a:lnTo>
                  <a:lnTo>
                    <a:pt x="171" y="89"/>
                  </a:lnTo>
                  <a:lnTo>
                    <a:pt x="172" y="89"/>
                  </a:lnTo>
                  <a:lnTo>
                    <a:pt x="173" y="89"/>
                  </a:lnTo>
                  <a:lnTo>
                    <a:pt x="175" y="89"/>
                  </a:lnTo>
                  <a:lnTo>
                    <a:pt x="175" y="90"/>
                  </a:lnTo>
                  <a:lnTo>
                    <a:pt x="175" y="91"/>
                  </a:lnTo>
                  <a:lnTo>
                    <a:pt x="175" y="92"/>
                  </a:lnTo>
                  <a:lnTo>
                    <a:pt x="173" y="92"/>
                  </a:lnTo>
                  <a:lnTo>
                    <a:pt x="173" y="94"/>
                  </a:lnTo>
                  <a:lnTo>
                    <a:pt x="173" y="95"/>
                  </a:lnTo>
                  <a:lnTo>
                    <a:pt x="173" y="97"/>
                  </a:lnTo>
                  <a:lnTo>
                    <a:pt x="175" y="97"/>
                  </a:lnTo>
                  <a:lnTo>
                    <a:pt x="175" y="98"/>
                  </a:lnTo>
                  <a:lnTo>
                    <a:pt x="175" y="100"/>
                  </a:lnTo>
                  <a:lnTo>
                    <a:pt x="176" y="100"/>
                  </a:lnTo>
                  <a:lnTo>
                    <a:pt x="177" y="100"/>
                  </a:lnTo>
                  <a:lnTo>
                    <a:pt x="178" y="100"/>
                  </a:lnTo>
                  <a:lnTo>
                    <a:pt x="178" y="98"/>
                  </a:lnTo>
                  <a:lnTo>
                    <a:pt x="177" y="98"/>
                  </a:lnTo>
                  <a:lnTo>
                    <a:pt x="177" y="97"/>
                  </a:lnTo>
                  <a:lnTo>
                    <a:pt x="177" y="96"/>
                  </a:lnTo>
                  <a:lnTo>
                    <a:pt x="178" y="96"/>
                  </a:lnTo>
                  <a:lnTo>
                    <a:pt x="178" y="95"/>
                  </a:lnTo>
                  <a:lnTo>
                    <a:pt x="178" y="94"/>
                  </a:lnTo>
                  <a:lnTo>
                    <a:pt x="177" y="92"/>
                  </a:lnTo>
                  <a:lnTo>
                    <a:pt x="177" y="91"/>
                  </a:lnTo>
                  <a:lnTo>
                    <a:pt x="176" y="91"/>
                  </a:lnTo>
                  <a:lnTo>
                    <a:pt x="177" y="90"/>
                  </a:lnTo>
                  <a:lnTo>
                    <a:pt x="177" y="89"/>
                  </a:lnTo>
                  <a:lnTo>
                    <a:pt x="178" y="89"/>
                  </a:lnTo>
                  <a:lnTo>
                    <a:pt x="178" y="90"/>
                  </a:lnTo>
                  <a:lnTo>
                    <a:pt x="179" y="90"/>
                  </a:lnTo>
                  <a:lnTo>
                    <a:pt x="181" y="90"/>
                  </a:lnTo>
                  <a:lnTo>
                    <a:pt x="181" y="89"/>
                  </a:lnTo>
                  <a:lnTo>
                    <a:pt x="182" y="89"/>
                  </a:lnTo>
                  <a:lnTo>
                    <a:pt x="182" y="88"/>
                  </a:lnTo>
                  <a:lnTo>
                    <a:pt x="182" y="86"/>
                  </a:lnTo>
                  <a:lnTo>
                    <a:pt x="182" y="85"/>
                  </a:lnTo>
                  <a:lnTo>
                    <a:pt x="183" y="85"/>
                  </a:lnTo>
                  <a:lnTo>
                    <a:pt x="183" y="86"/>
                  </a:lnTo>
                  <a:lnTo>
                    <a:pt x="184" y="86"/>
                  </a:lnTo>
                  <a:lnTo>
                    <a:pt x="185" y="86"/>
                  </a:lnTo>
                  <a:lnTo>
                    <a:pt x="187" y="86"/>
                  </a:lnTo>
                  <a:lnTo>
                    <a:pt x="187" y="85"/>
                  </a:lnTo>
                  <a:lnTo>
                    <a:pt x="188" y="85"/>
                  </a:lnTo>
                  <a:lnTo>
                    <a:pt x="189" y="85"/>
                  </a:lnTo>
                  <a:lnTo>
                    <a:pt x="189" y="86"/>
                  </a:lnTo>
                  <a:lnTo>
                    <a:pt x="189" y="89"/>
                  </a:lnTo>
                  <a:lnTo>
                    <a:pt x="189" y="90"/>
                  </a:lnTo>
                  <a:lnTo>
                    <a:pt x="190" y="89"/>
                  </a:lnTo>
                  <a:lnTo>
                    <a:pt x="191" y="88"/>
                  </a:lnTo>
                  <a:lnTo>
                    <a:pt x="191" y="89"/>
                  </a:lnTo>
                  <a:lnTo>
                    <a:pt x="191" y="90"/>
                  </a:lnTo>
                  <a:lnTo>
                    <a:pt x="193" y="90"/>
                  </a:lnTo>
                  <a:lnTo>
                    <a:pt x="193" y="91"/>
                  </a:lnTo>
                  <a:lnTo>
                    <a:pt x="194" y="91"/>
                  </a:lnTo>
                  <a:lnTo>
                    <a:pt x="194" y="92"/>
                  </a:lnTo>
                  <a:lnTo>
                    <a:pt x="195" y="92"/>
                  </a:lnTo>
                  <a:lnTo>
                    <a:pt x="195" y="94"/>
                  </a:lnTo>
                  <a:lnTo>
                    <a:pt x="196" y="94"/>
                  </a:lnTo>
                  <a:lnTo>
                    <a:pt x="196" y="95"/>
                  </a:lnTo>
                  <a:lnTo>
                    <a:pt x="195" y="96"/>
                  </a:lnTo>
                  <a:lnTo>
                    <a:pt x="194" y="97"/>
                  </a:lnTo>
                  <a:lnTo>
                    <a:pt x="194" y="98"/>
                  </a:lnTo>
                  <a:lnTo>
                    <a:pt x="194" y="100"/>
                  </a:lnTo>
                  <a:lnTo>
                    <a:pt x="194" y="101"/>
                  </a:lnTo>
                  <a:lnTo>
                    <a:pt x="194" y="102"/>
                  </a:lnTo>
                  <a:lnTo>
                    <a:pt x="194" y="103"/>
                  </a:lnTo>
                  <a:lnTo>
                    <a:pt x="195" y="103"/>
                  </a:lnTo>
                  <a:lnTo>
                    <a:pt x="196" y="104"/>
                  </a:lnTo>
                  <a:lnTo>
                    <a:pt x="196" y="103"/>
                  </a:lnTo>
                  <a:lnTo>
                    <a:pt x="195" y="103"/>
                  </a:lnTo>
                  <a:lnTo>
                    <a:pt x="195" y="102"/>
                  </a:lnTo>
                  <a:lnTo>
                    <a:pt x="196" y="101"/>
                  </a:lnTo>
                  <a:lnTo>
                    <a:pt x="197" y="101"/>
                  </a:lnTo>
                  <a:lnTo>
                    <a:pt x="199" y="100"/>
                  </a:lnTo>
                  <a:lnTo>
                    <a:pt x="200" y="100"/>
                  </a:lnTo>
                  <a:lnTo>
                    <a:pt x="201" y="100"/>
                  </a:lnTo>
                  <a:lnTo>
                    <a:pt x="200" y="98"/>
                  </a:lnTo>
                  <a:lnTo>
                    <a:pt x="201" y="98"/>
                  </a:lnTo>
                  <a:lnTo>
                    <a:pt x="201" y="97"/>
                  </a:lnTo>
                  <a:lnTo>
                    <a:pt x="201" y="96"/>
                  </a:lnTo>
                  <a:lnTo>
                    <a:pt x="202" y="96"/>
                  </a:lnTo>
                  <a:lnTo>
                    <a:pt x="203" y="96"/>
                  </a:lnTo>
                  <a:lnTo>
                    <a:pt x="205" y="96"/>
                  </a:lnTo>
                  <a:lnTo>
                    <a:pt x="205" y="97"/>
                  </a:lnTo>
                  <a:lnTo>
                    <a:pt x="206" y="98"/>
                  </a:lnTo>
                  <a:lnTo>
                    <a:pt x="206" y="100"/>
                  </a:lnTo>
                  <a:lnTo>
                    <a:pt x="205" y="100"/>
                  </a:lnTo>
                  <a:lnTo>
                    <a:pt x="206" y="100"/>
                  </a:lnTo>
                  <a:lnTo>
                    <a:pt x="206" y="98"/>
                  </a:lnTo>
                  <a:lnTo>
                    <a:pt x="207" y="98"/>
                  </a:lnTo>
                  <a:lnTo>
                    <a:pt x="207" y="97"/>
                  </a:lnTo>
                  <a:lnTo>
                    <a:pt x="208" y="97"/>
                  </a:lnTo>
                  <a:lnTo>
                    <a:pt x="208" y="98"/>
                  </a:lnTo>
                  <a:lnTo>
                    <a:pt x="208" y="100"/>
                  </a:lnTo>
                  <a:lnTo>
                    <a:pt x="209" y="100"/>
                  </a:lnTo>
                  <a:lnTo>
                    <a:pt x="209" y="101"/>
                  </a:lnTo>
                  <a:lnTo>
                    <a:pt x="208" y="101"/>
                  </a:lnTo>
                  <a:lnTo>
                    <a:pt x="208" y="102"/>
                  </a:lnTo>
                  <a:lnTo>
                    <a:pt x="207" y="102"/>
                  </a:lnTo>
                  <a:lnTo>
                    <a:pt x="208" y="102"/>
                  </a:lnTo>
                  <a:lnTo>
                    <a:pt x="208" y="103"/>
                  </a:lnTo>
                  <a:lnTo>
                    <a:pt x="208" y="104"/>
                  </a:lnTo>
                  <a:lnTo>
                    <a:pt x="208" y="106"/>
                  </a:lnTo>
                  <a:lnTo>
                    <a:pt x="208" y="107"/>
                  </a:lnTo>
                  <a:lnTo>
                    <a:pt x="208" y="108"/>
                  </a:lnTo>
                  <a:lnTo>
                    <a:pt x="209" y="107"/>
                  </a:lnTo>
                  <a:lnTo>
                    <a:pt x="208" y="106"/>
                  </a:lnTo>
                  <a:lnTo>
                    <a:pt x="208" y="104"/>
                  </a:lnTo>
                  <a:lnTo>
                    <a:pt x="209" y="104"/>
                  </a:lnTo>
                  <a:lnTo>
                    <a:pt x="211" y="104"/>
                  </a:lnTo>
                  <a:lnTo>
                    <a:pt x="211" y="107"/>
                  </a:lnTo>
                  <a:lnTo>
                    <a:pt x="212" y="108"/>
                  </a:lnTo>
                  <a:lnTo>
                    <a:pt x="213" y="108"/>
                  </a:lnTo>
                  <a:lnTo>
                    <a:pt x="213" y="109"/>
                  </a:lnTo>
                  <a:lnTo>
                    <a:pt x="213" y="108"/>
                  </a:lnTo>
                  <a:lnTo>
                    <a:pt x="213" y="107"/>
                  </a:lnTo>
                  <a:lnTo>
                    <a:pt x="213" y="106"/>
                  </a:lnTo>
                  <a:lnTo>
                    <a:pt x="213" y="104"/>
                  </a:lnTo>
                  <a:lnTo>
                    <a:pt x="213" y="103"/>
                  </a:lnTo>
                  <a:lnTo>
                    <a:pt x="214" y="103"/>
                  </a:lnTo>
                  <a:lnTo>
                    <a:pt x="214" y="104"/>
                  </a:lnTo>
                  <a:lnTo>
                    <a:pt x="215" y="104"/>
                  </a:lnTo>
                  <a:lnTo>
                    <a:pt x="215" y="106"/>
                  </a:lnTo>
                  <a:lnTo>
                    <a:pt x="215" y="107"/>
                  </a:lnTo>
                  <a:lnTo>
                    <a:pt x="217" y="108"/>
                  </a:lnTo>
                  <a:lnTo>
                    <a:pt x="217" y="107"/>
                  </a:lnTo>
                  <a:lnTo>
                    <a:pt x="217" y="106"/>
                  </a:lnTo>
                  <a:lnTo>
                    <a:pt x="218" y="106"/>
                  </a:lnTo>
                  <a:lnTo>
                    <a:pt x="218" y="107"/>
                  </a:lnTo>
                  <a:lnTo>
                    <a:pt x="219" y="107"/>
                  </a:lnTo>
                  <a:lnTo>
                    <a:pt x="219" y="108"/>
                  </a:lnTo>
                  <a:lnTo>
                    <a:pt x="219" y="109"/>
                  </a:lnTo>
                  <a:lnTo>
                    <a:pt x="218" y="109"/>
                  </a:lnTo>
                  <a:lnTo>
                    <a:pt x="217" y="110"/>
                  </a:lnTo>
                  <a:lnTo>
                    <a:pt x="215" y="110"/>
                  </a:lnTo>
                  <a:lnTo>
                    <a:pt x="215" y="109"/>
                  </a:lnTo>
                  <a:lnTo>
                    <a:pt x="214" y="109"/>
                  </a:lnTo>
                  <a:lnTo>
                    <a:pt x="214" y="110"/>
                  </a:lnTo>
                  <a:lnTo>
                    <a:pt x="214" y="112"/>
                  </a:lnTo>
                  <a:lnTo>
                    <a:pt x="214" y="110"/>
                  </a:lnTo>
                  <a:lnTo>
                    <a:pt x="215" y="110"/>
                  </a:lnTo>
                  <a:lnTo>
                    <a:pt x="217" y="112"/>
                  </a:lnTo>
                  <a:lnTo>
                    <a:pt x="218" y="112"/>
                  </a:lnTo>
                  <a:lnTo>
                    <a:pt x="219" y="112"/>
                  </a:lnTo>
                  <a:lnTo>
                    <a:pt x="220" y="112"/>
                  </a:lnTo>
                  <a:lnTo>
                    <a:pt x="220" y="110"/>
                  </a:lnTo>
                  <a:lnTo>
                    <a:pt x="220" y="109"/>
                  </a:lnTo>
                  <a:lnTo>
                    <a:pt x="222" y="109"/>
                  </a:lnTo>
                  <a:lnTo>
                    <a:pt x="222" y="108"/>
                  </a:lnTo>
                  <a:lnTo>
                    <a:pt x="220" y="108"/>
                  </a:lnTo>
                  <a:lnTo>
                    <a:pt x="220" y="107"/>
                  </a:lnTo>
                  <a:lnTo>
                    <a:pt x="220" y="106"/>
                  </a:lnTo>
                  <a:lnTo>
                    <a:pt x="219" y="106"/>
                  </a:lnTo>
                  <a:lnTo>
                    <a:pt x="219" y="104"/>
                  </a:lnTo>
                  <a:lnTo>
                    <a:pt x="219" y="103"/>
                  </a:lnTo>
                  <a:lnTo>
                    <a:pt x="219" y="102"/>
                  </a:lnTo>
                  <a:lnTo>
                    <a:pt x="218" y="102"/>
                  </a:lnTo>
                  <a:lnTo>
                    <a:pt x="218" y="101"/>
                  </a:lnTo>
                  <a:lnTo>
                    <a:pt x="219" y="101"/>
                  </a:lnTo>
                  <a:lnTo>
                    <a:pt x="220" y="101"/>
                  </a:lnTo>
                  <a:lnTo>
                    <a:pt x="220" y="102"/>
                  </a:lnTo>
                  <a:lnTo>
                    <a:pt x="222" y="101"/>
                  </a:lnTo>
                  <a:lnTo>
                    <a:pt x="223" y="101"/>
                  </a:lnTo>
                  <a:lnTo>
                    <a:pt x="224" y="101"/>
                  </a:lnTo>
                  <a:lnTo>
                    <a:pt x="224" y="102"/>
                  </a:lnTo>
                  <a:lnTo>
                    <a:pt x="224" y="101"/>
                  </a:lnTo>
                  <a:lnTo>
                    <a:pt x="225" y="101"/>
                  </a:lnTo>
                  <a:lnTo>
                    <a:pt x="224" y="101"/>
                  </a:lnTo>
                  <a:lnTo>
                    <a:pt x="224" y="100"/>
                  </a:lnTo>
                  <a:lnTo>
                    <a:pt x="225" y="100"/>
                  </a:lnTo>
                  <a:lnTo>
                    <a:pt x="225" y="101"/>
                  </a:lnTo>
                  <a:lnTo>
                    <a:pt x="226" y="101"/>
                  </a:lnTo>
                  <a:lnTo>
                    <a:pt x="226" y="102"/>
                  </a:lnTo>
                  <a:lnTo>
                    <a:pt x="225" y="102"/>
                  </a:lnTo>
                  <a:lnTo>
                    <a:pt x="225" y="103"/>
                  </a:lnTo>
                  <a:lnTo>
                    <a:pt x="225" y="104"/>
                  </a:lnTo>
                  <a:lnTo>
                    <a:pt x="224" y="104"/>
                  </a:lnTo>
                  <a:lnTo>
                    <a:pt x="224" y="106"/>
                  </a:lnTo>
                  <a:lnTo>
                    <a:pt x="224" y="107"/>
                  </a:lnTo>
                  <a:lnTo>
                    <a:pt x="223" y="107"/>
                  </a:lnTo>
                  <a:lnTo>
                    <a:pt x="222" y="107"/>
                  </a:lnTo>
                  <a:lnTo>
                    <a:pt x="222" y="108"/>
                  </a:lnTo>
                  <a:lnTo>
                    <a:pt x="223" y="108"/>
                  </a:lnTo>
                  <a:lnTo>
                    <a:pt x="223" y="110"/>
                  </a:lnTo>
                  <a:lnTo>
                    <a:pt x="222" y="110"/>
                  </a:lnTo>
                  <a:lnTo>
                    <a:pt x="223" y="112"/>
                  </a:lnTo>
                  <a:lnTo>
                    <a:pt x="223" y="113"/>
                  </a:lnTo>
                  <a:lnTo>
                    <a:pt x="224" y="113"/>
                  </a:lnTo>
                  <a:lnTo>
                    <a:pt x="224" y="112"/>
                  </a:lnTo>
                  <a:lnTo>
                    <a:pt x="225" y="112"/>
                  </a:lnTo>
                  <a:lnTo>
                    <a:pt x="228" y="112"/>
                  </a:lnTo>
                  <a:lnTo>
                    <a:pt x="229" y="110"/>
                  </a:lnTo>
                  <a:lnTo>
                    <a:pt x="229" y="112"/>
                  </a:lnTo>
                  <a:lnTo>
                    <a:pt x="230" y="112"/>
                  </a:lnTo>
                  <a:lnTo>
                    <a:pt x="231" y="112"/>
                  </a:lnTo>
                  <a:lnTo>
                    <a:pt x="231" y="110"/>
                  </a:lnTo>
                  <a:lnTo>
                    <a:pt x="232" y="110"/>
                  </a:lnTo>
                  <a:lnTo>
                    <a:pt x="232" y="112"/>
                  </a:lnTo>
                  <a:lnTo>
                    <a:pt x="234" y="112"/>
                  </a:lnTo>
                  <a:lnTo>
                    <a:pt x="235" y="113"/>
                  </a:lnTo>
                  <a:lnTo>
                    <a:pt x="235" y="112"/>
                  </a:lnTo>
                  <a:lnTo>
                    <a:pt x="235" y="113"/>
                  </a:lnTo>
                  <a:lnTo>
                    <a:pt x="236" y="113"/>
                  </a:lnTo>
                  <a:lnTo>
                    <a:pt x="237" y="112"/>
                  </a:lnTo>
                  <a:lnTo>
                    <a:pt x="238" y="112"/>
                  </a:lnTo>
                  <a:lnTo>
                    <a:pt x="238" y="113"/>
                  </a:lnTo>
                  <a:lnTo>
                    <a:pt x="240" y="113"/>
                  </a:lnTo>
                  <a:lnTo>
                    <a:pt x="238" y="112"/>
                  </a:lnTo>
                  <a:lnTo>
                    <a:pt x="240" y="110"/>
                  </a:lnTo>
                  <a:lnTo>
                    <a:pt x="238" y="110"/>
                  </a:lnTo>
                  <a:lnTo>
                    <a:pt x="240" y="110"/>
                  </a:lnTo>
                  <a:lnTo>
                    <a:pt x="240" y="112"/>
                  </a:lnTo>
                  <a:lnTo>
                    <a:pt x="240" y="113"/>
                  </a:lnTo>
                  <a:lnTo>
                    <a:pt x="240" y="114"/>
                  </a:lnTo>
                  <a:lnTo>
                    <a:pt x="238" y="115"/>
                  </a:lnTo>
                  <a:lnTo>
                    <a:pt x="238" y="116"/>
                  </a:lnTo>
                  <a:lnTo>
                    <a:pt x="237" y="116"/>
                  </a:lnTo>
                  <a:lnTo>
                    <a:pt x="236" y="116"/>
                  </a:lnTo>
                  <a:lnTo>
                    <a:pt x="237" y="116"/>
                  </a:lnTo>
                  <a:lnTo>
                    <a:pt x="237" y="119"/>
                  </a:lnTo>
                  <a:lnTo>
                    <a:pt x="237" y="120"/>
                  </a:lnTo>
                  <a:lnTo>
                    <a:pt x="236" y="121"/>
                  </a:lnTo>
                  <a:lnTo>
                    <a:pt x="236" y="120"/>
                  </a:lnTo>
                  <a:lnTo>
                    <a:pt x="236" y="121"/>
                  </a:lnTo>
                  <a:lnTo>
                    <a:pt x="236" y="122"/>
                  </a:lnTo>
                  <a:lnTo>
                    <a:pt x="237" y="122"/>
                  </a:lnTo>
                  <a:lnTo>
                    <a:pt x="237" y="121"/>
                  </a:lnTo>
                  <a:lnTo>
                    <a:pt x="237" y="120"/>
                  </a:lnTo>
                  <a:lnTo>
                    <a:pt x="238" y="119"/>
                  </a:lnTo>
                  <a:lnTo>
                    <a:pt x="238" y="120"/>
                  </a:lnTo>
                  <a:lnTo>
                    <a:pt x="240" y="120"/>
                  </a:lnTo>
                  <a:lnTo>
                    <a:pt x="240" y="119"/>
                  </a:lnTo>
                  <a:lnTo>
                    <a:pt x="241" y="119"/>
                  </a:lnTo>
                  <a:lnTo>
                    <a:pt x="241" y="120"/>
                  </a:lnTo>
                  <a:lnTo>
                    <a:pt x="240" y="120"/>
                  </a:lnTo>
                  <a:lnTo>
                    <a:pt x="240" y="121"/>
                  </a:lnTo>
                  <a:lnTo>
                    <a:pt x="240" y="122"/>
                  </a:lnTo>
                  <a:lnTo>
                    <a:pt x="241" y="122"/>
                  </a:lnTo>
                  <a:lnTo>
                    <a:pt x="242" y="122"/>
                  </a:lnTo>
                  <a:lnTo>
                    <a:pt x="242" y="121"/>
                  </a:lnTo>
                  <a:lnTo>
                    <a:pt x="243" y="121"/>
                  </a:lnTo>
                  <a:lnTo>
                    <a:pt x="243" y="120"/>
                  </a:lnTo>
                  <a:lnTo>
                    <a:pt x="244" y="120"/>
                  </a:lnTo>
                  <a:lnTo>
                    <a:pt x="246" y="120"/>
                  </a:lnTo>
                  <a:lnTo>
                    <a:pt x="246" y="121"/>
                  </a:lnTo>
                  <a:lnTo>
                    <a:pt x="247" y="121"/>
                  </a:lnTo>
                  <a:lnTo>
                    <a:pt x="248" y="121"/>
                  </a:lnTo>
                  <a:lnTo>
                    <a:pt x="248" y="122"/>
                  </a:lnTo>
                  <a:lnTo>
                    <a:pt x="249" y="122"/>
                  </a:lnTo>
                  <a:lnTo>
                    <a:pt x="250" y="122"/>
                  </a:lnTo>
                  <a:lnTo>
                    <a:pt x="250" y="121"/>
                  </a:lnTo>
                  <a:lnTo>
                    <a:pt x="252" y="121"/>
                  </a:lnTo>
                  <a:lnTo>
                    <a:pt x="253" y="122"/>
                  </a:lnTo>
                  <a:lnTo>
                    <a:pt x="253" y="124"/>
                  </a:lnTo>
                  <a:lnTo>
                    <a:pt x="254" y="124"/>
                  </a:lnTo>
                  <a:lnTo>
                    <a:pt x="254" y="125"/>
                  </a:lnTo>
                  <a:lnTo>
                    <a:pt x="255" y="125"/>
                  </a:lnTo>
                  <a:lnTo>
                    <a:pt x="256" y="125"/>
                  </a:lnTo>
                  <a:lnTo>
                    <a:pt x="256" y="124"/>
                  </a:lnTo>
                  <a:lnTo>
                    <a:pt x="258" y="124"/>
                  </a:lnTo>
                  <a:lnTo>
                    <a:pt x="258" y="125"/>
                  </a:lnTo>
                  <a:lnTo>
                    <a:pt x="259" y="125"/>
                  </a:lnTo>
                  <a:lnTo>
                    <a:pt x="259" y="126"/>
                  </a:lnTo>
                  <a:lnTo>
                    <a:pt x="259" y="127"/>
                  </a:lnTo>
                  <a:lnTo>
                    <a:pt x="260" y="127"/>
                  </a:lnTo>
                  <a:lnTo>
                    <a:pt x="260" y="126"/>
                  </a:lnTo>
                  <a:lnTo>
                    <a:pt x="261" y="126"/>
                  </a:lnTo>
                  <a:lnTo>
                    <a:pt x="262" y="126"/>
                  </a:lnTo>
                  <a:lnTo>
                    <a:pt x="262" y="127"/>
                  </a:lnTo>
                  <a:lnTo>
                    <a:pt x="261" y="127"/>
                  </a:lnTo>
                  <a:lnTo>
                    <a:pt x="260" y="127"/>
                  </a:lnTo>
                  <a:lnTo>
                    <a:pt x="260" y="128"/>
                  </a:lnTo>
                  <a:lnTo>
                    <a:pt x="260" y="127"/>
                  </a:lnTo>
                  <a:lnTo>
                    <a:pt x="260" y="128"/>
                  </a:lnTo>
                  <a:lnTo>
                    <a:pt x="261" y="128"/>
                  </a:lnTo>
                  <a:lnTo>
                    <a:pt x="260" y="128"/>
                  </a:lnTo>
                  <a:lnTo>
                    <a:pt x="260" y="130"/>
                  </a:lnTo>
                  <a:lnTo>
                    <a:pt x="261" y="130"/>
                  </a:lnTo>
                  <a:lnTo>
                    <a:pt x="262" y="130"/>
                  </a:lnTo>
                  <a:lnTo>
                    <a:pt x="262" y="128"/>
                  </a:lnTo>
                  <a:lnTo>
                    <a:pt x="262" y="130"/>
                  </a:lnTo>
                  <a:lnTo>
                    <a:pt x="264" y="128"/>
                  </a:lnTo>
                  <a:lnTo>
                    <a:pt x="264" y="127"/>
                  </a:lnTo>
                  <a:lnTo>
                    <a:pt x="264" y="126"/>
                  </a:lnTo>
                  <a:lnTo>
                    <a:pt x="264" y="127"/>
                  </a:lnTo>
                  <a:lnTo>
                    <a:pt x="265" y="127"/>
                  </a:lnTo>
                  <a:lnTo>
                    <a:pt x="265" y="128"/>
                  </a:lnTo>
                  <a:lnTo>
                    <a:pt x="264" y="128"/>
                  </a:lnTo>
                  <a:lnTo>
                    <a:pt x="265" y="128"/>
                  </a:lnTo>
                  <a:lnTo>
                    <a:pt x="265" y="130"/>
                  </a:lnTo>
                  <a:lnTo>
                    <a:pt x="265" y="131"/>
                  </a:lnTo>
                  <a:lnTo>
                    <a:pt x="265" y="130"/>
                  </a:lnTo>
                  <a:lnTo>
                    <a:pt x="267" y="130"/>
                  </a:lnTo>
                  <a:lnTo>
                    <a:pt x="268" y="130"/>
                  </a:lnTo>
                  <a:lnTo>
                    <a:pt x="270" y="130"/>
                  </a:lnTo>
                  <a:lnTo>
                    <a:pt x="271" y="130"/>
                  </a:lnTo>
                  <a:lnTo>
                    <a:pt x="271" y="131"/>
                  </a:lnTo>
                  <a:lnTo>
                    <a:pt x="272" y="131"/>
                  </a:lnTo>
                  <a:lnTo>
                    <a:pt x="272" y="132"/>
                  </a:lnTo>
                  <a:lnTo>
                    <a:pt x="272" y="131"/>
                  </a:lnTo>
                  <a:lnTo>
                    <a:pt x="273" y="131"/>
                  </a:lnTo>
                  <a:lnTo>
                    <a:pt x="273" y="132"/>
                  </a:lnTo>
                  <a:lnTo>
                    <a:pt x="274" y="132"/>
                  </a:lnTo>
                  <a:lnTo>
                    <a:pt x="273" y="133"/>
                  </a:lnTo>
                  <a:lnTo>
                    <a:pt x="274" y="133"/>
                  </a:lnTo>
                  <a:lnTo>
                    <a:pt x="274" y="134"/>
                  </a:lnTo>
                  <a:lnTo>
                    <a:pt x="273" y="134"/>
                  </a:lnTo>
                  <a:lnTo>
                    <a:pt x="274" y="134"/>
                  </a:lnTo>
                  <a:lnTo>
                    <a:pt x="274" y="136"/>
                  </a:lnTo>
                  <a:lnTo>
                    <a:pt x="274" y="137"/>
                  </a:lnTo>
                  <a:lnTo>
                    <a:pt x="273" y="138"/>
                  </a:lnTo>
                  <a:lnTo>
                    <a:pt x="274" y="138"/>
                  </a:lnTo>
                  <a:lnTo>
                    <a:pt x="273" y="138"/>
                  </a:lnTo>
                  <a:lnTo>
                    <a:pt x="273" y="139"/>
                  </a:lnTo>
                  <a:lnTo>
                    <a:pt x="272" y="139"/>
                  </a:lnTo>
                  <a:lnTo>
                    <a:pt x="272" y="140"/>
                  </a:lnTo>
                  <a:lnTo>
                    <a:pt x="271" y="140"/>
                  </a:lnTo>
                  <a:lnTo>
                    <a:pt x="270" y="140"/>
                  </a:lnTo>
                  <a:lnTo>
                    <a:pt x="268" y="140"/>
                  </a:lnTo>
                  <a:lnTo>
                    <a:pt x="268" y="139"/>
                  </a:lnTo>
                  <a:lnTo>
                    <a:pt x="268" y="138"/>
                  </a:lnTo>
                  <a:lnTo>
                    <a:pt x="268" y="139"/>
                  </a:lnTo>
                  <a:lnTo>
                    <a:pt x="267" y="140"/>
                  </a:lnTo>
                  <a:lnTo>
                    <a:pt x="267" y="139"/>
                  </a:lnTo>
                  <a:lnTo>
                    <a:pt x="267" y="138"/>
                  </a:lnTo>
                  <a:lnTo>
                    <a:pt x="266" y="138"/>
                  </a:lnTo>
                  <a:lnTo>
                    <a:pt x="265" y="137"/>
                  </a:lnTo>
                  <a:lnTo>
                    <a:pt x="264" y="137"/>
                  </a:lnTo>
                  <a:lnTo>
                    <a:pt x="265" y="138"/>
                  </a:lnTo>
                  <a:lnTo>
                    <a:pt x="265" y="140"/>
                  </a:lnTo>
                  <a:lnTo>
                    <a:pt x="265" y="139"/>
                  </a:lnTo>
                  <a:lnTo>
                    <a:pt x="266" y="139"/>
                  </a:lnTo>
                  <a:lnTo>
                    <a:pt x="266" y="138"/>
                  </a:lnTo>
                  <a:lnTo>
                    <a:pt x="266" y="139"/>
                  </a:lnTo>
                  <a:lnTo>
                    <a:pt x="266" y="140"/>
                  </a:lnTo>
                  <a:lnTo>
                    <a:pt x="265" y="140"/>
                  </a:lnTo>
                  <a:lnTo>
                    <a:pt x="266" y="140"/>
                  </a:lnTo>
                  <a:lnTo>
                    <a:pt x="268" y="140"/>
                  </a:lnTo>
                  <a:lnTo>
                    <a:pt x="270" y="140"/>
                  </a:lnTo>
                  <a:lnTo>
                    <a:pt x="270" y="142"/>
                  </a:lnTo>
                  <a:lnTo>
                    <a:pt x="271" y="143"/>
                  </a:lnTo>
                  <a:lnTo>
                    <a:pt x="271" y="144"/>
                  </a:lnTo>
                  <a:lnTo>
                    <a:pt x="270" y="145"/>
                  </a:lnTo>
                  <a:lnTo>
                    <a:pt x="270" y="146"/>
                  </a:lnTo>
                  <a:lnTo>
                    <a:pt x="271" y="146"/>
                  </a:lnTo>
                  <a:lnTo>
                    <a:pt x="271" y="148"/>
                  </a:lnTo>
                  <a:lnTo>
                    <a:pt x="270" y="148"/>
                  </a:lnTo>
                  <a:lnTo>
                    <a:pt x="271" y="148"/>
                  </a:lnTo>
                  <a:lnTo>
                    <a:pt x="271" y="146"/>
                  </a:lnTo>
                  <a:lnTo>
                    <a:pt x="272" y="146"/>
                  </a:lnTo>
                  <a:lnTo>
                    <a:pt x="272" y="145"/>
                  </a:lnTo>
                  <a:lnTo>
                    <a:pt x="273" y="145"/>
                  </a:lnTo>
                  <a:lnTo>
                    <a:pt x="272" y="144"/>
                  </a:lnTo>
                  <a:lnTo>
                    <a:pt x="271" y="144"/>
                  </a:lnTo>
                  <a:lnTo>
                    <a:pt x="271" y="143"/>
                  </a:lnTo>
                  <a:lnTo>
                    <a:pt x="271" y="142"/>
                  </a:lnTo>
                  <a:lnTo>
                    <a:pt x="272" y="142"/>
                  </a:lnTo>
                  <a:lnTo>
                    <a:pt x="273" y="143"/>
                  </a:lnTo>
                  <a:lnTo>
                    <a:pt x="273" y="142"/>
                  </a:lnTo>
                  <a:lnTo>
                    <a:pt x="274" y="142"/>
                  </a:lnTo>
                  <a:lnTo>
                    <a:pt x="276" y="142"/>
                  </a:lnTo>
                  <a:lnTo>
                    <a:pt x="277" y="143"/>
                  </a:lnTo>
                  <a:lnTo>
                    <a:pt x="278" y="143"/>
                  </a:lnTo>
                  <a:lnTo>
                    <a:pt x="278" y="144"/>
                  </a:lnTo>
                  <a:lnTo>
                    <a:pt x="279" y="144"/>
                  </a:lnTo>
                  <a:lnTo>
                    <a:pt x="279" y="145"/>
                  </a:lnTo>
                  <a:lnTo>
                    <a:pt x="279" y="146"/>
                  </a:lnTo>
                  <a:lnTo>
                    <a:pt x="281" y="148"/>
                  </a:lnTo>
                  <a:lnTo>
                    <a:pt x="282" y="148"/>
                  </a:lnTo>
                  <a:lnTo>
                    <a:pt x="282" y="149"/>
                  </a:lnTo>
                  <a:lnTo>
                    <a:pt x="281" y="149"/>
                  </a:lnTo>
                  <a:lnTo>
                    <a:pt x="282" y="149"/>
                  </a:lnTo>
                  <a:lnTo>
                    <a:pt x="281" y="149"/>
                  </a:lnTo>
                  <a:lnTo>
                    <a:pt x="279" y="150"/>
                  </a:lnTo>
                  <a:lnTo>
                    <a:pt x="279" y="151"/>
                  </a:lnTo>
                  <a:lnTo>
                    <a:pt x="281" y="151"/>
                  </a:lnTo>
                  <a:lnTo>
                    <a:pt x="282" y="151"/>
                  </a:lnTo>
                  <a:lnTo>
                    <a:pt x="283" y="152"/>
                  </a:lnTo>
                  <a:lnTo>
                    <a:pt x="283" y="151"/>
                  </a:lnTo>
                  <a:lnTo>
                    <a:pt x="283" y="152"/>
                  </a:lnTo>
                  <a:lnTo>
                    <a:pt x="284" y="152"/>
                  </a:lnTo>
                  <a:lnTo>
                    <a:pt x="284" y="154"/>
                  </a:lnTo>
                  <a:lnTo>
                    <a:pt x="284" y="152"/>
                  </a:lnTo>
                  <a:lnTo>
                    <a:pt x="284" y="151"/>
                  </a:lnTo>
                  <a:lnTo>
                    <a:pt x="283" y="151"/>
                  </a:lnTo>
                  <a:lnTo>
                    <a:pt x="283" y="150"/>
                  </a:lnTo>
                  <a:lnTo>
                    <a:pt x="282" y="150"/>
                  </a:lnTo>
                  <a:lnTo>
                    <a:pt x="283" y="150"/>
                  </a:lnTo>
                  <a:lnTo>
                    <a:pt x="284" y="149"/>
                  </a:lnTo>
                  <a:lnTo>
                    <a:pt x="283" y="148"/>
                  </a:lnTo>
                  <a:lnTo>
                    <a:pt x="283" y="146"/>
                  </a:lnTo>
                  <a:lnTo>
                    <a:pt x="282" y="146"/>
                  </a:lnTo>
                  <a:lnTo>
                    <a:pt x="282" y="145"/>
                  </a:lnTo>
                  <a:lnTo>
                    <a:pt x="281" y="145"/>
                  </a:lnTo>
                  <a:lnTo>
                    <a:pt x="281" y="144"/>
                  </a:lnTo>
                  <a:lnTo>
                    <a:pt x="282" y="144"/>
                  </a:lnTo>
                  <a:lnTo>
                    <a:pt x="281" y="143"/>
                  </a:lnTo>
                  <a:lnTo>
                    <a:pt x="281" y="142"/>
                  </a:lnTo>
                  <a:lnTo>
                    <a:pt x="279" y="142"/>
                  </a:lnTo>
                  <a:lnTo>
                    <a:pt x="279" y="140"/>
                  </a:lnTo>
                  <a:lnTo>
                    <a:pt x="279" y="139"/>
                  </a:lnTo>
                  <a:lnTo>
                    <a:pt x="279" y="137"/>
                  </a:lnTo>
                  <a:lnTo>
                    <a:pt x="279" y="136"/>
                  </a:lnTo>
                  <a:lnTo>
                    <a:pt x="279" y="134"/>
                  </a:lnTo>
                  <a:lnTo>
                    <a:pt x="278" y="134"/>
                  </a:lnTo>
                  <a:lnTo>
                    <a:pt x="278" y="133"/>
                  </a:lnTo>
                  <a:lnTo>
                    <a:pt x="278" y="132"/>
                  </a:lnTo>
                  <a:lnTo>
                    <a:pt x="278" y="131"/>
                  </a:lnTo>
                  <a:lnTo>
                    <a:pt x="277" y="131"/>
                  </a:lnTo>
                  <a:lnTo>
                    <a:pt x="277" y="130"/>
                  </a:lnTo>
                  <a:lnTo>
                    <a:pt x="277" y="128"/>
                  </a:lnTo>
                  <a:lnTo>
                    <a:pt x="277" y="127"/>
                  </a:lnTo>
                  <a:lnTo>
                    <a:pt x="277" y="126"/>
                  </a:lnTo>
                  <a:lnTo>
                    <a:pt x="276" y="126"/>
                  </a:lnTo>
                  <a:lnTo>
                    <a:pt x="274" y="126"/>
                  </a:lnTo>
                  <a:lnTo>
                    <a:pt x="273" y="126"/>
                  </a:lnTo>
                  <a:lnTo>
                    <a:pt x="273" y="125"/>
                  </a:lnTo>
                  <a:lnTo>
                    <a:pt x="274" y="125"/>
                  </a:lnTo>
                  <a:lnTo>
                    <a:pt x="273" y="125"/>
                  </a:lnTo>
                  <a:lnTo>
                    <a:pt x="273" y="124"/>
                  </a:lnTo>
                  <a:lnTo>
                    <a:pt x="273" y="122"/>
                  </a:lnTo>
                  <a:lnTo>
                    <a:pt x="273" y="124"/>
                  </a:lnTo>
                  <a:lnTo>
                    <a:pt x="274" y="124"/>
                  </a:lnTo>
                  <a:lnTo>
                    <a:pt x="274" y="122"/>
                  </a:lnTo>
                  <a:lnTo>
                    <a:pt x="273" y="122"/>
                  </a:lnTo>
                  <a:lnTo>
                    <a:pt x="273" y="121"/>
                  </a:lnTo>
                  <a:lnTo>
                    <a:pt x="272" y="121"/>
                  </a:lnTo>
                  <a:lnTo>
                    <a:pt x="272" y="122"/>
                  </a:lnTo>
                  <a:lnTo>
                    <a:pt x="272" y="121"/>
                  </a:lnTo>
                  <a:lnTo>
                    <a:pt x="271" y="121"/>
                  </a:lnTo>
                  <a:lnTo>
                    <a:pt x="271" y="122"/>
                  </a:lnTo>
                  <a:lnTo>
                    <a:pt x="270" y="122"/>
                  </a:lnTo>
                  <a:lnTo>
                    <a:pt x="268" y="122"/>
                  </a:lnTo>
                  <a:lnTo>
                    <a:pt x="267" y="122"/>
                  </a:lnTo>
                  <a:lnTo>
                    <a:pt x="267" y="121"/>
                  </a:lnTo>
                  <a:lnTo>
                    <a:pt x="266" y="121"/>
                  </a:lnTo>
                  <a:lnTo>
                    <a:pt x="265" y="121"/>
                  </a:lnTo>
                  <a:lnTo>
                    <a:pt x="265" y="120"/>
                  </a:lnTo>
                  <a:lnTo>
                    <a:pt x="265" y="119"/>
                  </a:lnTo>
                  <a:lnTo>
                    <a:pt x="266" y="118"/>
                  </a:lnTo>
                  <a:lnTo>
                    <a:pt x="266" y="119"/>
                  </a:lnTo>
                  <a:lnTo>
                    <a:pt x="266" y="118"/>
                  </a:lnTo>
                  <a:lnTo>
                    <a:pt x="267" y="119"/>
                  </a:lnTo>
                  <a:lnTo>
                    <a:pt x="267" y="118"/>
                  </a:lnTo>
                  <a:lnTo>
                    <a:pt x="268" y="118"/>
                  </a:lnTo>
                  <a:lnTo>
                    <a:pt x="268" y="116"/>
                  </a:lnTo>
                  <a:lnTo>
                    <a:pt x="270" y="116"/>
                  </a:lnTo>
                  <a:lnTo>
                    <a:pt x="270" y="118"/>
                  </a:lnTo>
                  <a:lnTo>
                    <a:pt x="271" y="118"/>
                  </a:lnTo>
                  <a:lnTo>
                    <a:pt x="271" y="116"/>
                  </a:lnTo>
                  <a:lnTo>
                    <a:pt x="270" y="116"/>
                  </a:lnTo>
                  <a:lnTo>
                    <a:pt x="270" y="115"/>
                  </a:lnTo>
                  <a:lnTo>
                    <a:pt x="268" y="115"/>
                  </a:lnTo>
                  <a:lnTo>
                    <a:pt x="268" y="114"/>
                  </a:lnTo>
                  <a:lnTo>
                    <a:pt x="267" y="114"/>
                  </a:lnTo>
                  <a:lnTo>
                    <a:pt x="267" y="115"/>
                  </a:lnTo>
                  <a:lnTo>
                    <a:pt x="267" y="116"/>
                  </a:lnTo>
                  <a:lnTo>
                    <a:pt x="267" y="118"/>
                  </a:lnTo>
                  <a:lnTo>
                    <a:pt x="267" y="116"/>
                  </a:lnTo>
                  <a:lnTo>
                    <a:pt x="266" y="116"/>
                  </a:lnTo>
                  <a:lnTo>
                    <a:pt x="265" y="118"/>
                  </a:lnTo>
                  <a:lnTo>
                    <a:pt x="264" y="118"/>
                  </a:lnTo>
                  <a:lnTo>
                    <a:pt x="262" y="118"/>
                  </a:lnTo>
                  <a:lnTo>
                    <a:pt x="261" y="116"/>
                  </a:lnTo>
                  <a:lnTo>
                    <a:pt x="261" y="115"/>
                  </a:lnTo>
                  <a:lnTo>
                    <a:pt x="261" y="116"/>
                  </a:lnTo>
                  <a:lnTo>
                    <a:pt x="260" y="116"/>
                  </a:lnTo>
                  <a:lnTo>
                    <a:pt x="259" y="116"/>
                  </a:lnTo>
                  <a:lnTo>
                    <a:pt x="258" y="116"/>
                  </a:lnTo>
                  <a:lnTo>
                    <a:pt x="258" y="115"/>
                  </a:lnTo>
                  <a:lnTo>
                    <a:pt x="256" y="115"/>
                  </a:lnTo>
                  <a:lnTo>
                    <a:pt x="255" y="115"/>
                  </a:lnTo>
                  <a:lnTo>
                    <a:pt x="254" y="115"/>
                  </a:lnTo>
                  <a:lnTo>
                    <a:pt x="253" y="115"/>
                  </a:lnTo>
                  <a:lnTo>
                    <a:pt x="252" y="114"/>
                  </a:lnTo>
                  <a:lnTo>
                    <a:pt x="253" y="114"/>
                  </a:lnTo>
                  <a:lnTo>
                    <a:pt x="253" y="113"/>
                  </a:lnTo>
                  <a:lnTo>
                    <a:pt x="253" y="112"/>
                  </a:lnTo>
                  <a:lnTo>
                    <a:pt x="254" y="112"/>
                  </a:lnTo>
                  <a:lnTo>
                    <a:pt x="255" y="112"/>
                  </a:lnTo>
                  <a:lnTo>
                    <a:pt x="255" y="113"/>
                  </a:lnTo>
                  <a:lnTo>
                    <a:pt x="256" y="113"/>
                  </a:lnTo>
                  <a:lnTo>
                    <a:pt x="256" y="112"/>
                  </a:lnTo>
                  <a:lnTo>
                    <a:pt x="255" y="110"/>
                  </a:lnTo>
                  <a:lnTo>
                    <a:pt x="254" y="110"/>
                  </a:lnTo>
                  <a:lnTo>
                    <a:pt x="253" y="110"/>
                  </a:lnTo>
                  <a:lnTo>
                    <a:pt x="253" y="112"/>
                  </a:lnTo>
                  <a:lnTo>
                    <a:pt x="253" y="110"/>
                  </a:lnTo>
                  <a:lnTo>
                    <a:pt x="252" y="112"/>
                  </a:lnTo>
                  <a:lnTo>
                    <a:pt x="250" y="112"/>
                  </a:lnTo>
                  <a:lnTo>
                    <a:pt x="250" y="113"/>
                  </a:lnTo>
                  <a:lnTo>
                    <a:pt x="249" y="113"/>
                  </a:lnTo>
                  <a:lnTo>
                    <a:pt x="249" y="112"/>
                  </a:lnTo>
                  <a:lnTo>
                    <a:pt x="250" y="112"/>
                  </a:lnTo>
                  <a:lnTo>
                    <a:pt x="250" y="110"/>
                  </a:lnTo>
                  <a:lnTo>
                    <a:pt x="252" y="110"/>
                  </a:lnTo>
                  <a:lnTo>
                    <a:pt x="250" y="110"/>
                  </a:lnTo>
                  <a:lnTo>
                    <a:pt x="250" y="109"/>
                  </a:lnTo>
                  <a:lnTo>
                    <a:pt x="252" y="109"/>
                  </a:lnTo>
                  <a:lnTo>
                    <a:pt x="252" y="108"/>
                  </a:lnTo>
                  <a:lnTo>
                    <a:pt x="250" y="108"/>
                  </a:lnTo>
                  <a:lnTo>
                    <a:pt x="252" y="108"/>
                  </a:lnTo>
                  <a:lnTo>
                    <a:pt x="252" y="107"/>
                  </a:lnTo>
                  <a:lnTo>
                    <a:pt x="250" y="106"/>
                  </a:lnTo>
                  <a:lnTo>
                    <a:pt x="250" y="104"/>
                  </a:lnTo>
                  <a:lnTo>
                    <a:pt x="249" y="104"/>
                  </a:lnTo>
                  <a:lnTo>
                    <a:pt x="248" y="104"/>
                  </a:lnTo>
                  <a:lnTo>
                    <a:pt x="247" y="104"/>
                  </a:lnTo>
                  <a:lnTo>
                    <a:pt x="247" y="106"/>
                  </a:lnTo>
                  <a:lnTo>
                    <a:pt x="248" y="106"/>
                  </a:lnTo>
                  <a:lnTo>
                    <a:pt x="247" y="107"/>
                  </a:lnTo>
                  <a:lnTo>
                    <a:pt x="248" y="107"/>
                  </a:lnTo>
                  <a:lnTo>
                    <a:pt x="249" y="107"/>
                  </a:lnTo>
                  <a:lnTo>
                    <a:pt x="248" y="107"/>
                  </a:lnTo>
                  <a:lnTo>
                    <a:pt x="248" y="108"/>
                  </a:lnTo>
                  <a:lnTo>
                    <a:pt x="249" y="108"/>
                  </a:lnTo>
                  <a:lnTo>
                    <a:pt x="249" y="109"/>
                  </a:lnTo>
                  <a:lnTo>
                    <a:pt x="249" y="108"/>
                  </a:lnTo>
                  <a:lnTo>
                    <a:pt x="248" y="108"/>
                  </a:lnTo>
                  <a:lnTo>
                    <a:pt x="248" y="109"/>
                  </a:lnTo>
                  <a:lnTo>
                    <a:pt x="247" y="109"/>
                  </a:lnTo>
                  <a:lnTo>
                    <a:pt x="246" y="109"/>
                  </a:lnTo>
                  <a:lnTo>
                    <a:pt x="244" y="109"/>
                  </a:lnTo>
                  <a:lnTo>
                    <a:pt x="244" y="110"/>
                  </a:lnTo>
                  <a:lnTo>
                    <a:pt x="243" y="110"/>
                  </a:lnTo>
                  <a:lnTo>
                    <a:pt x="243" y="112"/>
                  </a:lnTo>
                  <a:lnTo>
                    <a:pt x="242" y="112"/>
                  </a:lnTo>
                  <a:lnTo>
                    <a:pt x="241" y="110"/>
                  </a:lnTo>
                  <a:lnTo>
                    <a:pt x="242" y="110"/>
                  </a:lnTo>
                  <a:lnTo>
                    <a:pt x="242" y="109"/>
                  </a:lnTo>
                  <a:lnTo>
                    <a:pt x="241" y="108"/>
                  </a:lnTo>
                  <a:lnTo>
                    <a:pt x="241" y="107"/>
                  </a:lnTo>
                  <a:lnTo>
                    <a:pt x="242" y="107"/>
                  </a:lnTo>
                  <a:lnTo>
                    <a:pt x="242" y="108"/>
                  </a:lnTo>
                  <a:lnTo>
                    <a:pt x="243" y="108"/>
                  </a:lnTo>
                  <a:lnTo>
                    <a:pt x="243" y="109"/>
                  </a:lnTo>
                  <a:lnTo>
                    <a:pt x="244" y="109"/>
                  </a:lnTo>
                  <a:lnTo>
                    <a:pt x="244" y="108"/>
                  </a:lnTo>
                  <a:lnTo>
                    <a:pt x="243" y="109"/>
                  </a:lnTo>
                  <a:lnTo>
                    <a:pt x="243" y="108"/>
                  </a:lnTo>
                  <a:lnTo>
                    <a:pt x="243" y="107"/>
                  </a:lnTo>
                  <a:lnTo>
                    <a:pt x="243" y="106"/>
                  </a:lnTo>
                  <a:lnTo>
                    <a:pt x="243" y="107"/>
                  </a:lnTo>
                  <a:lnTo>
                    <a:pt x="242" y="107"/>
                  </a:lnTo>
                  <a:lnTo>
                    <a:pt x="242" y="106"/>
                  </a:lnTo>
                  <a:lnTo>
                    <a:pt x="242" y="104"/>
                  </a:lnTo>
                  <a:lnTo>
                    <a:pt x="241" y="103"/>
                  </a:lnTo>
                  <a:lnTo>
                    <a:pt x="240" y="103"/>
                  </a:lnTo>
                  <a:lnTo>
                    <a:pt x="241" y="102"/>
                  </a:lnTo>
                  <a:lnTo>
                    <a:pt x="240" y="103"/>
                  </a:lnTo>
                  <a:lnTo>
                    <a:pt x="241" y="104"/>
                  </a:lnTo>
                  <a:lnTo>
                    <a:pt x="240" y="104"/>
                  </a:lnTo>
                  <a:lnTo>
                    <a:pt x="240" y="106"/>
                  </a:lnTo>
                  <a:lnTo>
                    <a:pt x="240" y="104"/>
                  </a:lnTo>
                  <a:lnTo>
                    <a:pt x="240" y="103"/>
                  </a:lnTo>
                  <a:lnTo>
                    <a:pt x="238" y="103"/>
                  </a:lnTo>
                  <a:lnTo>
                    <a:pt x="237" y="103"/>
                  </a:lnTo>
                  <a:lnTo>
                    <a:pt x="237" y="104"/>
                  </a:lnTo>
                  <a:lnTo>
                    <a:pt x="237" y="103"/>
                  </a:lnTo>
                  <a:lnTo>
                    <a:pt x="236" y="103"/>
                  </a:lnTo>
                  <a:lnTo>
                    <a:pt x="236" y="102"/>
                  </a:lnTo>
                  <a:lnTo>
                    <a:pt x="235" y="102"/>
                  </a:lnTo>
                  <a:lnTo>
                    <a:pt x="235" y="103"/>
                  </a:lnTo>
                  <a:lnTo>
                    <a:pt x="234" y="104"/>
                  </a:lnTo>
                  <a:lnTo>
                    <a:pt x="234" y="103"/>
                  </a:lnTo>
                  <a:lnTo>
                    <a:pt x="232" y="104"/>
                  </a:lnTo>
                  <a:lnTo>
                    <a:pt x="234" y="104"/>
                  </a:lnTo>
                  <a:lnTo>
                    <a:pt x="234" y="106"/>
                  </a:lnTo>
                  <a:lnTo>
                    <a:pt x="232" y="106"/>
                  </a:lnTo>
                  <a:lnTo>
                    <a:pt x="232" y="107"/>
                  </a:lnTo>
                  <a:lnTo>
                    <a:pt x="231" y="108"/>
                  </a:lnTo>
                  <a:lnTo>
                    <a:pt x="230" y="108"/>
                  </a:lnTo>
                  <a:lnTo>
                    <a:pt x="228" y="108"/>
                  </a:lnTo>
                  <a:lnTo>
                    <a:pt x="228" y="107"/>
                  </a:lnTo>
                  <a:lnTo>
                    <a:pt x="228" y="106"/>
                  </a:lnTo>
                  <a:lnTo>
                    <a:pt x="229" y="106"/>
                  </a:lnTo>
                  <a:lnTo>
                    <a:pt x="229" y="104"/>
                  </a:lnTo>
                  <a:lnTo>
                    <a:pt x="229" y="106"/>
                  </a:lnTo>
                  <a:lnTo>
                    <a:pt x="228" y="106"/>
                  </a:lnTo>
                  <a:lnTo>
                    <a:pt x="228" y="104"/>
                  </a:lnTo>
                  <a:lnTo>
                    <a:pt x="229" y="104"/>
                  </a:lnTo>
                  <a:lnTo>
                    <a:pt x="229" y="103"/>
                  </a:lnTo>
                  <a:lnTo>
                    <a:pt x="229" y="102"/>
                  </a:lnTo>
                  <a:lnTo>
                    <a:pt x="230" y="102"/>
                  </a:lnTo>
                  <a:lnTo>
                    <a:pt x="230" y="101"/>
                  </a:lnTo>
                  <a:lnTo>
                    <a:pt x="230" y="100"/>
                  </a:lnTo>
                  <a:lnTo>
                    <a:pt x="230" y="98"/>
                  </a:lnTo>
                  <a:lnTo>
                    <a:pt x="229" y="98"/>
                  </a:lnTo>
                  <a:lnTo>
                    <a:pt x="228" y="98"/>
                  </a:lnTo>
                  <a:lnTo>
                    <a:pt x="228" y="100"/>
                  </a:lnTo>
                  <a:lnTo>
                    <a:pt x="226" y="100"/>
                  </a:lnTo>
                  <a:lnTo>
                    <a:pt x="226" y="98"/>
                  </a:lnTo>
                  <a:lnTo>
                    <a:pt x="225" y="98"/>
                  </a:lnTo>
                  <a:lnTo>
                    <a:pt x="224" y="98"/>
                  </a:lnTo>
                  <a:lnTo>
                    <a:pt x="224" y="97"/>
                  </a:lnTo>
                  <a:lnTo>
                    <a:pt x="223" y="97"/>
                  </a:lnTo>
                  <a:lnTo>
                    <a:pt x="222" y="97"/>
                  </a:lnTo>
                  <a:lnTo>
                    <a:pt x="219" y="97"/>
                  </a:lnTo>
                  <a:lnTo>
                    <a:pt x="219" y="98"/>
                  </a:lnTo>
                  <a:lnTo>
                    <a:pt x="220" y="98"/>
                  </a:lnTo>
                  <a:lnTo>
                    <a:pt x="220" y="100"/>
                  </a:lnTo>
                  <a:lnTo>
                    <a:pt x="219" y="100"/>
                  </a:lnTo>
                  <a:lnTo>
                    <a:pt x="219" y="98"/>
                  </a:lnTo>
                  <a:lnTo>
                    <a:pt x="218" y="98"/>
                  </a:lnTo>
                  <a:lnTo>
                    <a:pt x="219" y="97"/>
                  </a:lnTo>
                  <a:lnTo>
                    <a:pt x="218" y="97"/>
                  </a:lnTo>
                  <a:lnTo>
                    <a:pt x="217" y="98"/>
                  </a:lnTo>
                  <a:lnTo>
                    <a:pt x="215" y="98"/>
                  </a:lnTo>
                  <a:lnTo>
                    <a:pt x="214" y="98"/>
                  </a:lnTo>
                  <a:lnTo>
                    <a:pt x="214" y="100"/>
                  </a:lnTo>
                  <a:lnTo>
                    <a:pt x="215" y="100"/>
                  </a:lnTo>
                  <a:lnTo>
                    <a:pt x="215" y="101"/>
                  </a:lnTo>
                  <a:lnTo>
                    <a:pt x="214" y="101"/>
                  </a:lnTo>
                  <a:lnTo>
                    <a:pt x="213" y="102"/>
                  </a:lnTo>
                  <a:lnTo>
                    <a:pt x="213" y="103"/>
                  </a:lnTo>
                  <a:lnTo>
                    <a:pt x="212" y="102"/>
                  </a:lnTo>
                  <a:lnTo>
                    <a:pt x="211" y="101"/>
                  </a:lnTo>
                  <a:lnTo>
                    <a:pt x="211" y="100"/>
                  </a:lnTo>
                  <a:lnTo>
                    <a:pt x="211" y="101"/>
                  </a:lnTo>
                  <a:lnTo>
                    <a:pt x="212" y="100"/>
                  </a:lnTo>
                  <a:lnTo>
                    <a:pt x="213" y="100"/>
                  </a:lnTo>
                  <a:lnTo>
                    <a:pt x="212" y="100"/>
                  </a:lnTo>
                  <a:lnTo>
                    <a:pt x="213" y="98"/>
                  </a:lnTo>
                  <a:lnTo>
                    <a:pt x="213" y="97"/>
                  </a:lnTo>
                  <a:lnTo>
                    <a:pt x="213" y="96"/>
                  </a:lnTo>
                  <a:lnTo>
                    <a:pt x="212" y="96"/>
                  </a:lnTo>
                  <a:lnTo>
                    <a:pt x="212" y="97"/>
                  </a:lnTo>
                  <a:lnTo>
                    <a:pt x="211" y="97"/>
                  </a:lnTo>
                  <a:lnTo>
                    <a:pt x="211" y="96"/>
                  </a:lnTo>
                  <a:lnTo>
                    <a:pt x="209" y="96"/>
                  </a:lnTo>
                  <a:lnTo>
                    <a:pt x="209" y="95"/>
                  </a:lnTo>
                  <a:lnTo>
                    <a:pt x="208" y="95"/>
                  </a:lnTo>
                  <a:lnTo>
                    <a:pt x="208" y="94"/>
                  </a:lnTo>
                  <a:lnTo>
                    <a:pt x="207" y="94"/>
                  </a:lnTo>
                  <a:lnTo>
                    <a:pt x="206" y="92"/>
                  </a:lnTo>
                  <a:lnTo>
                    <a:pt x="205" y="92"/>
                  </a:lnTo>
                  <a:lnTo>
                    <a:pt x="203" y="91"/>
                  </a:lnTo>
                  <a:lnTo>
                    <a:pt x="202" y="91"/>
                  </a:lnTo>
                  <a:lnTo>
                    <a:pt x="202" y="90"/>
                  </a:lnTo>
                  <a:lnTo>
                    <a:pt x="202" y="89"/>
                  </a:lnTo>
                  <a:lnTo>
                    <a:pt x="201" y="89"/>
                  </a:lnTo>
                  <a:lnTo>
                    <a:pt x="200" y="89"/>
                  </a:lnTo>
                  <a:lnTo>
                    <a:pt x="199" y="89"/>
                  </a:lnTo>
                  <a:lnTo>
                    <a:pt x="199" y="88"/>
                  </a:lnTo>
                  <a:lnTo>
                    <a:pt x="197" y="86"/>
                  </a:lnTo>
                  <a:lnTo>
                    <a:pt x="196" y="86"/>
                  </a:lnTo>
                  <a:lnTo>
                    <a:pt x="196" y="85"/>
                  </a:lnTo>
                  <a:lnTo>
                    <a:pt x="196" y="84"/>
                  </a:lnTo>
                  <a:lnTo>
                    <a:pt x="196" y="83"/>
                  </a:lnTo>
                  <a:lnTo>
                    <a:pt x="197" y="82"/>
                  </a:lnTo>
                  <a:lnTo>
                    <a:pt x="196" y="82"/>
                  </a:lnTo>
                  <a:lnTo>
                    <a:pt x="195" y="82"/>
                  </a:lnTo>
                  <a:lnTo>
                    <a:pt x="195" y="80"/>
                  </a:lnTo>
                  <a:lnTo>
                    <a:pt x="194" y="80"/>
                  </a:lnTo>
                  <a:lnTo>
                    <a:pt x="193" y="80"/>
                  </a:lnTo>
                  <a:lnTo>
                    <a:pt x="191" y="80"/>
                  </a:lnTo>
                  <a:lnTo>
                    <a:pt x="191" y="79"/>
                  </a:lnTo>
                  <a:lnTo>
                    <a:pt x="190" y="78"/>
                  </a:lnTo>
                  <a:lnTo>
                    <a:pt x="189" y="78"/>
                  </a:lnTo>
                  <a:lnTo>
                    <a:pt x="190" y="77"/>
                  </a:lnTo>
                  <a:lnTo>
                    <a:pt x="190" y="76"/>
                  </a:lnTo>
                  <a:lnTo>
                    <a:pt x="191" y="76"/>
                  </a:lnTo>
                  <a:lnTo>
                    <a:pt x="193" y="76"/>
                  </a:lnTo>
                  <a:lnTo>
                    <a:pt x="194" y="74"/>
                  </a:lnTo>
                  <a:lnTo>
                    <a:pt x="194" y="73"/>
                  </a:lnTo>
                  <a:lnTo>
                    <a:pt x="195" y="73"/>
                  </a:lnTo>
                  <a:lnTo>
                    <a:pt x="196" y="73"/>
                  </a:lnTo>
                  <a:lnTo>
                    <a:pt x="196" y="74"/>
                  </a:lnTo>
                  <a:lnTo>
                    <a:pt x="197" y="74"/>
                  </a:lnTo>
                  <a:lnTo>
                    <a:pt x="199" y="74"/>
                  </a:lnTo>
                  <a:lnTo>
                    <a:pt x="199" y="76"/>
                  </a:lnTo>
                  <a:lnTo>
                    <a:pt x="199" y="74"/>
                  </a:lnTo>
                  <a:lnTo>
                    <a:pt x="197" y="73"/>
                  </a:lnTo>
                  <a:lnTo>
                    <a:pt x="196" y="73"/>
                  </a:lnTo>
                  <a:lnTo>
                    <a:pt x="196" y="72"/>
                  </a:lnTo>
                  <a:lnTo>
                    <a:pt x="195" y="72"/>
                  </a:lnTo>
                  <a:lnTo>
                    <a:pt x="194" y="72"/>
                  </a:lnTo>
                  <a:lnTo>
                    <a:pt x="194" y="71"/>
                  </a:lnTo>
                  <a:lnTo>
                    <a:pt x="194" y="70"/>
                  </a:lnTo>
                  <a:lnTo>
                    <a:pt x="193" y="70"/>
                  </a:lnTo>
                  <a:lnTo>
                    <a:pt x="193" y="68"/>
                  </a:lnTo>
                  <a:lnTo>
                    <a:pt x="193" y="67"/>
                  </a:lnTo>
                  <a:lnTo>
                    <a:pt x="191" y="67"/>
                  </a:lnTo>
                  <a:lnTo>
                    <a:pt x="191" y="66"/>
                  </a:lnTo>
                  <a:lnTo>
                    <a:pt x="191" y="65"/>
                  </a:lnTo>
                  <a:lnTo>
                    <a:pt x="191" y="64"/>
                  </a:lnTo>
                  <a:lnTo>
                    <a:pt x="193" y="64"/>
                  </a:lnTo>
                  <a:lnTo>
                    <a:pt x="194" y="65"/>
                  </a:lnTo>
                  <a:lnTo>
                    <a:pt x="196" y="65"/>
                  </a:lnTo>
                  <a:lnTo>
                    <a:pt x="197" y="65"/>
                  </a:lnTo>
                  <a:lnTo>
                    <a:pt x="199" y="66"/>
                  </a:lnTo>
                  <a:lnTo>
                    <a:pt x="200" y="66"/>
                  </a:lnTo>
                  <a:lnTo>
                    <a:pt x="201" y="66"/>
                  </a:lnTo>
                  <a:lnTo>
                    <a:pt x="201" y="65"/>
                  </a:lnTo>
                  <a:lnTo>
                    <a:pt x="201" y="64"/>
                  </a:lnTo>
                  <a:lnTo>
                    <a:pt x="200" y="64"/>
                  </a:lnTo>
                  <a:lnTo>
                    <a:pt x="201" y="64"/>
                  </a:lnTo>
                  <a:lnTo>
                    <a:pt x="201" y="62"/>
                  </a:lnTo>
                  <a:lnTo>
                    <a:pt x="200" y="62"/>
                  </a:lnTo>
                  <a:lnTo>
                    <a:pt x="199" y="62"/>
                  </a:lnTo>
                  <a:lnTo>
                    <a:pt x="197" y="62"/>
                  </a:lnTo>
                  <a:lnTo>
                    <a:pt x="196" y="62"/>
                  </a:lnTo>
                  <a:lnTo>
                    <a:pt x="196" y="61"/>
                  </a:lnTo>
                  <a:lnTo>
                    <a:pt x="195" y="61"/>
                  </a:lnTo>
                  <a:lnTo>
                    <a:pt x="196" y="61"/>
                  </a:lnTo>
                  <a:lnTo>
                    <a:pt x="195" y="60"/>
                  </a:lnTo>
                  <a:lnTo>
                    <a:pt x="195" y="59"/>
                  </a:lnTo>
                  <a:lnTo>
                    <a:pt x="195" y="58"/>
                  </a:lnTo>
                  <a:lnTo>
                    <a:pt x="194" y="58"/>
                  </a:lnTo>
                  <a:lnTo>
                    <a:pt x="194" y="56"/>
                  </a:lnTo>
                  <a:lnTo>
                    <a:pt x="194" y="55"/>
                  </a:lnTo>
                  <a:lnTo>
                    <a:pt x="195" y="55"/>
                  </a:lnTo>
                  <a:lnTo>
                    <a:pt x="196" y="55"/>
                  </a:lnTo>
                  <a:lnTo>
                    <a:pt x="196" y="56"/>
                  </a:lnTo>
                  <a:lnTo>
                    <a:pt x="197" y="56"/>
                  </a:lnTo>
                  <a:lnTo>
                    <a:pt x="197" y="58"/>
                  </a:lnTo>
                  <a:lnTo>
                    <a:pt x="199" y="56"/>
                  </a:lnTo>
                  <a:lnTo>
                    <a:pt x="199" y="55"/>
                  </a:lnTo>
                  <a:lnTo>
                    <a:pt x="197" y="55"/>
                  </a:lnTo>
                  <a:lnTo>
                    <a:pt x="197" y="54"/>
                  </a:lnTo>
                  <a:lnTo>
                    <a:pt x="199" y="54"/>
                  </a:lnTo>
                  <a:lnTo>
                    <a:pt x="199" y="53"/>
                  </a:lnTo>
                  <a:lnTo>
                    <a:pt x="197" y="53"/>
                  </a:lnTo>
                  <a:lnTo>
                    <a:pt x="197" y="52"/>
                  </a:lnTo>
                  <a:lnTo>
                    <a:pt x="196" y="52"/>
                  </a:lnTo>
                  <a:lnTo>
                    <a:pt x="197" y="52"/>
                  </a:lnTo>
                  <a:lnTo>
                    <a:pt x="197" y="50"/>
                  </a:lnTo>
                  <a:lnTo>
                    <a:pt x="197" y="49"/>
                  </a:lnTo>
                  <a:lnTo>
                    <a:pt x="199" y="49"/>
                  </a:lnTo>
                  <a:lnTo>
                    <a:pt x="199" y="48"/>
                  </a:lnTo>
                  <a:lnTo>
                    <a:pt x="199" y="47"/>
                  </a:lnTo>
                  <a:lnTo>
                    <a:pt x="197" y="47"/>
                  </a:lnTo>
                  <a:lnTo>
                    <a:pt x="197" y="45"/>
                  </a:lnTo>
                  <a:lnTo>
                    <a:pt x="197" y="44"/>
                  </a:lnTo>
                  <a:lnTo>
                    <a:pt x="199" y="44"/>
                  </a:lnTo>
                  <a:lnTo>
                    <a:pt x="200" y="43"/>
                  </a:lnTo>
                  <a:lnTo>
                    <a:pt x="200" y="44"/>
                  </a:lnTo>
                  <a:lnTo>
                    <a:pt x="201" y="44"/>
                  </a:lnTo>
                  <a:lnTo>
                    <a:pt x="201" y="45"/>
                  </a:lnTo>
                  <a:lnTo>
                    <a:pt x="201" y="47"/>
                  </a:lnTo>
                  <a:lnTo>
                    <a:pt x="201" y="48"/>
                  </a:lnTo>
                  <a:lnTo>
                    <a:pt x="201" y="49"/>
                  </a:lnTo>
                  <a:lnTo>
                    <a:pt x="201" y="50"/>
                  </a:lnTo>
                  <a:lnTo>
                    <a:pt x="202" y="49"/>
                  </a:lnTo>
                  <a:lnTo>
                    <a:pt x="202" y="48"/>
                  </a:lnTo>
                  <a:lnTo>
                    <a:pt x="203" y="48"/>
                  </a:lnTo>
                  <a:lnTo>
                    <a:pt x="203" y="47"/>
                  </a:lnTo>
                  <a:lnTo>
                    <a:pt x="203" y="45"/>
                  </a:lnTo>
                  <a:lnTo>
                    <a:pt x="202" y="45"/>
                  </a:lnTo>
                  <a:lnTo>
                    <a:pt x="202" y="44"/>
                  </a:lnTo>
                  <a:lnTo>
                    <a:pt x="201" y="44"/>
                  </a:lnTo>
                  <a:lnTo>
                    <a:pt x="202" y="43"/>
                  </a:lnTo>
                  <a:lnTo>
                    <a:pt x="202" y="42"/>
                  </a:lnTo>
                  <a:lnTo>
                    <a:pt x="203" y="42"/>
                  </a:lnTo>
                  <a:lnTo>
                    <a:pt x="205" y="42"/>
                  </a:lnTo>
                  <a:lnTo>
                    <a:pt x="205" y="43"/>
                  </a:lnTo>
                  <a:lnTo>
                    <a:pt x="206" y="43"/>
                  </a:lnTo>
                  <a:lnTo>
                    <a:pt x="207" y="43"/>
                  </a:lnTo>
                  <a:lnTo>
                    <a:pt x="207" y="42"/>
                  </a:lnTo>
                  <a:lnTo>
                    <a:pt x="205" y="42"/>
                  </a:lnTo>
                  <a:lnTo>
                    <a:pt x="206" y="42"/>
                  </a:lnTo>
                  <a:lnTo>
                    <a:pt x="205" y="41"/>
                  </a:lnTo>
                  <a:lnTo>
                    <a:pt x="205" y="39"/>
                  </a:lnTo>
                  <a:lnTo>
                    <a:pt x="206" y="38"/>
                  </a:lnTo>
                  <a:lnTo>
                    <a:pt x="207" y="38"/>
                  </a:lnTo>
                  <a:lnTo>
                    <a:pt x="206" y="38"/>
                  </a:lnTo>
                  <a:lnTo>
                    <a:pt x="207" y="37"/>
                  </a:lnTo>
                  <a:lnTo>
                    <a:pt x="206" y="37"/>
                  </a:lnTo>
                  <a:lnTo>
                    <a:pt x="206" y="36"/>
                  </a:lnTo>
                  <a:lnTo>
                    <a:pt x="205" y="36"/>
                  </a:lnTo>
                  <a:lnTo>
                    <a:pt x="203" y="35"/>
                  </a:lnTo>
                  <a:lnTo>
                    <a:pt x="202" y="35"/>
                  </a:lnTo>
                  <a:lnTo>
                    <a:pt x="202" y="33"/>
                  </a:lnTo>
                  <a:lnTo>
                    <a:pt x="203" y="33"/>
                  </a:lnTo>
                  <a:lnTo>
                    <a:pt x="203" y="32"/>
                  </a:lnTo>
                  <a:lnTo>
                    <a:pt x="203" y="31"/>
                  </a:lnTo>
                  <a:lnTo>
                    <a:pt x="205" y="32"/>
                  </a:lnTo>
                  <a:lnTo>
                    <a:pt x="205" y="31"/>
                  </a:lnTo>
                  <a:lnTo>
                    <a:pt x="205" y="30"/>
                  </a:lnTo>
                  <a:lnTo>
                    <a:pt x="205" y="29"/>
                  </a:lnTo>
                  <a:lnTo>
                    <a:pt x="203" y="29"/>
                  </a:lnTo>
                  <a:lnTo>
                    <a:pt x="203" y="27"/>
                  </a:lnTo>
                  <a:lnTo>
                    <a:pt x="205" y="27"/>
                  </a:lnTo>
                  <a:lnTo>
                    <a:pt x="206" y="27"/>
                  </a:lnTo>
                  <a:lnTo>
                    <a:pt x="206" y="26"/>
                  </a:lnTo>
                  <a:lnTo>
                    <a:pt x="207" y="27"/>
                  </a:lnTo>
                  <a:lnTo>
                    <a:pt x="207" y="29"/>
                  </a:lnTo>
                  <a:lnTo>
                    <a:pt x="207" y="30"/>
                  </a:lnTo>
                  <a:lnTo>
                    <a:pt x="208" y="30"/>
                  </a:lnTo>
                  <a:lnTo>
                    <a:pt x="208" y="31"/>
                  </a:lnTo>
                  <a:lnTo>
                    <a:pt x="209" y="31"/>
                  </a:lnTo>
                  <a:lnTo>
                    <a:pt x="209" y="30"/>
                  </a:lnTo>
                  <a:lnTo>
                    <a:pt x="211" y="30"/>
                  </a:lnTo>
                  <a:lnTo>
                    <a:pt x="211" y="31"/>
                  </a:lnTo>
                  <a:lnTo>
                    <a:pt x="211" y="32"/>
                  </a:lnTo>
                  <a:lnTo>
                    <a:pt x="211" y="35"/>
                  </a:lnTo>
                  <a:lnTo>
                    <a:pt x="212" y="35"/>
                  </a:lnTo>
                  <a:lnTo>
                    <a:pt x="213" y="35"/>
                  </a:lnTo>
                  <a:lnTo>
                    <a:pt x="214" y="35"/>
                  </a:lnTo>
                  <a:lnTo>
                    <a:pt x="215" y="35"/>
                  </a:lnTo>
                  <a:lnTo>
                    <a:pt x="215" y="33"/>
                  </a:lnTo>
                  <a:lnTo>
                    <a:pt x="217" y="33"/>
                  </a:lnTo>
                  <a:lnTo>
                    <a:pt x="215" y="33"/>
                  </a:lnTo>
                  <a:lnTo>
                    <a:pt x="214" y="32"/>
                  </a:lnTo>
                  <a:lnTo>
                    <a:pt x="215" y="32"/>
                  </a:lnTo>
                  <a:lnTo>
                    <a:pt x="214" y="32"/>
                  </a:lnTo>
                  <a:lnTo>
                    <a:pt x="214" y="31"/>
                  </a:lnTo>
                  <a:lnTo>
                    <a:pt x="214" y="30"/>
                  </a:lnTo>
                  <a:lnTo>
                    <a:pt x="213" y="30"/>
                  </a:lnTo>
                  <a:lnTo>
                    <a:pt x="214" y="29"/>
                  </a:lnTo>
                  <a:lnTo>
                    <a:pt x="213" y="29"/>
                  </a:lnTo>
                  <a:lnTo>
                    <a:pt x="213" y="27"/>
                  </a:lnTo>
                  <a:lnTo>
                    <a:pt x="213" y="26"/>
                  </a:lnTo>
                  <a:lnTo>
                    <a:pt x="213" y="25"/>
                  </a:lnTo>
                  <a:lnTo>
                    <a:pt x="213" y="24"/>
                  </a:lnTo>
                  <a:lnTo>
                    <a:pt x="212" y="24"/>
                  </a:lnTo>
                  <a:lnTo>
                    <a:pt x="212" y="23"/>
                  </a:lnTo>
                  <a:lnTo>
                    <a:pt x="212" y="21"/>
                  </a:lnTo>
                  <a:lnTo>
                    <a:pt x="211" y="21"/>
                  </a:lnTo>
                  <a:lnTo>
                    <a:pt x="212" y="20"/>
                  </a:lnTo>
                  <a:lnTo>
                    <a:pt x="211" y="20"/>
                  </a:lnTo>
                  <a:lnTo>
                    <a:pt x="211" y="19"/>
                  </a:lnTo>
                  <a:lnTo>
                    <a:pt x="211" y="18"/>
                  </a:lnTo>
                  <a:lnTo>
                    <a:pt x="212" y="18"/>
                  </a:lnTo>
                  <a:lnTo>
                    <a:pt x="212" y="17"/>
                  </a:lnTo>
                  <a:lnTo>
                    <a:pt x="213" y="17"/>
                  </a:lnTo>
                  <a:lnTo>
                    <a:pt x="212" y="18"/>
                  </a:lnTo>
                  <a:lnTo>
                    <a:pt x="213" y="18"/>
                  </a:lnTo>
                  <a:lnTo>
                    <a:pt x="213" y="17"/>
                  </a:lnTo>
                  <a:lnTo>
                    <a:pt x="213" y="15"/>
                  </a:lnTo>
                  <a:lnTo>
                    <a:pt x="213" y="14"/>
                  </a:lnTo>
                  <a:lnTo>
                    <a:pt x="213" y="13"/>
                  </a:lnTo>
                  <a:lnTo>
                    <a:pt x="214" y="12"/>
                  </a:lnTo>
                  <a:lnTo>
                    <a:pt x="214" y="13"/>
                  </a:lnTo>
                  <a:lnTo>
                    <a:pt x="217" y="13"/>
                  </a:lnTo>
                  <a:lnTo>
                    <a:pt x="215" y="13"/>
                  </a:lnTo>
                  <a:lnTo>
                    <a:pt x="215" y="14"/>
                  </a:lnTo>
                  <a:lnTo>
                    <a:pt x="217" y="14"/>
                  </a:lnTo>
                  <a:lnTo>
                    <a:pt x="215" y="15"/>
                  </a:lnTo>
                  <a:lnTo>
                    <a:pt x="217" y="17"/>
                  </a:lnTo>
                  <a:lnTo>
                    <a:pt x="217" y="18"/>
                  </a:lnTo>
                  <a:lnTo>
                    <a:pt x="217" y="19"/>
                  </a:lnTo>
                  <a:lnTo>
                    <a:pt x="218" y="19"/>
                  </a:lnTo>
                  <a:lnTo>
                    <a:pt x="218" y="18"/>
                  </a:lnTo>
                  <a:lnTo>
                    <a:pt x="219" y="18"/>
                  </a:lnTo>
                  <a:lnTo>
                    <a:pt x="220" y="18"/>
                  </a:lnTo>
                  <a:lnTo>
                    <a:pt x="222" y="18"/>
                  </a:lnTo>
                  <a:lnTo>
                    <a:pt x="222" y="19"/>
                  </a:lnTo>
                  <a:lnTo>
                    <a:pt x="223" y="19"/>
                  </a:lnTo>
                  <a:lnTo>
                    <a:pt x="223" y="18"/>
                  </a:lnTo>
                  <a:lnTo>
                    <a:pt x="223" y="17"/>
                  </a:lnTo>
                  <a:lnTo>
                    <a:pt x="223" y="15"/>
                  </a:lnTo>
                  <a:lnTo>
                    <a:pt x="224" y="14"/>
                  </a:lnTo>
                  <a:lnTo>
                    <a:pt x="224" y="15"/>
                  </a:lnTo>
                  <a:lnTo>
                    <a:pt x="225" y="15"/>
                  </a:lnTo>
                  <a:lnTo>
                    <a:pt x="226" y="15"/>
                  </a:lnTo>
                  <a:lnTo>
                    <a:pt x="226" y="17"/>
                  </a:lnTo>
                  <a:lnTo>
                    <a:pt x="226" y="18"/>
                  </a:lnTo>
                  <a:lnTo>
                    <a:pt x="225" y="18"/>
                  </a:lnTo>
                  <a:lnTo>
                    <a:pt x="225" y="19"/>
                  </a:lnTo>
                  <a:lnTo>
                    <a:pt x="225" y="21"/>
                  </a:lnTo>
                  <a:lnTo>
                    <a:pt x="226" y="21"/>
                  </a:lnTo>
                  <a:lnTo>
                    <a:pt x="226" y="23"/>
                  </a:lnTo>
                  <a:lnTo>
                    <a:pt x="228" y="23"/>
                  </a:lnTo>
                  <a:lnTo>
                    <a:pt x="226" y="23"/>
                  </a:lnTo>
                  <a:lnTo>
                    <a:pt x="226" y="24"/>
                  </a:lnTo>
                  <a:lnTo>
                    <a:pt x="225" y="24"/>
                  </a:lnTo>
                  <a:lnTo>
                    <a:pt x="225" y="25"/>
                  </a:lnTo>
                  <a:lnTo>
                    <a:pt x="224" y="26"/>
                  </a:lnTo>
                  <a:lnTo>
                    <a:pt x="224" y="27"/>
                  </a:lnTo>
                  <a:lnTo>
                    <a:pt x="224" y="29"/>
                  </a:lnTo>
                  <a:lnTo>
                    <a:pt x="225" y="29"/>
                  </a:lnTo>
                  <a:lnTo>
                    <a:pt x="225" y="30"/>
                  </a:lnTo>
                  <a:lnTo>
                    <a:pt x="225" y="31"/>
                  </a:lnTo>
                  <a:lnTo>
                    <a:pt x="226" y="30"/>
                  </a:lnTo>
                  <a:lnTo>
                    <a:pt x="226" y="31"/>
                  </a:lnTo>
                  <a:lnTo>
                    <a:pt x="228" y="31"/>
                  </a:lnTo>
                  <a:lnTo>
                    <a:pt x="229" y="32"/>
                  </a:lnTo>
                  <a:lnTo>
                    <a:pt x="229" y="31"/>
                  </a:lnTo>
                  <a:lnTo>
                    <a:pt x="230" y="31"/>
                  </a:lnTo>
                  <a:lnTo>
                    <a:pt x="230" y="30"/>
                  </a:lnTo>
                  <a:lnTo>
                    <a:pt x="230" y="29"/>
                  </a:lnTo>
                  <a:lnTo>
                    <a:pt x="231" y="29"/>
                  </a:lnTo>
                  <a:lnTo>
                    <a:pt x="231" y="27"/>
                  </a:lnTo>
                  <a:lnTo>
                    <a:pt x="231" y="26"/>
                  </a:lnTo>
                  <a:lnTo>
                    <a:pt x="232" y="25"/>
                  </a:lnTo>
                  <a:lnTo>
                    <a:pt x="232" y="23"/>
                  </a:lnTo>
                  <a:lnTo>
                    <a:pt x="232" y="21"/>
                  </a:lnTo>
                  <a:lnTo>
                    <a:pt x="232" y="20"/>
                  </a:lnTo>
                  <a:lnTo>
                    <a:pt x="234" y="20"/>
                  </a:lnTo>
                  <a:lnTo>
                    <a:pt x="235" y="19"/>
                  </a:lnTo>
                  <a:lnTo>
                    <a:pt x="235" y="20"/>
                  </a:lnTo>
                  <a:lnTo>
                    <a:pt x="236" y="20"/>
                  </a:lnTo>
                  <a:lnTo>
                    <a:pt x="236" y="21"/>
                  </a:lnTo>
                  <a:lnTo>
                    <a:pt x="236" y="23"/>
                  </a:lnTo>
                  <a:lnTo>
                    <a:pt x="236" y="24"/>
                  </a:lnTo>
                  <a:lnTo>
                    <a:pt x="237" y="24"/>
                  </a:lnTo>
                  <a:lnTo>
                    <a:pt x="238" y="24"/>
                  </a:lnTo>
                  <a:lnTo>
                    <a:pt x="238" y="25"/>
                  </a:lnTo>
                  <a:lnTo>
                    <a:pt x="238" y="26"/>
                  </a:lnTo>
                  <a:lnTo>
                    <a:pt x="240" y="27"/>
                  </a:lnTo>
                  <a:lnTo>
                    <a:pt x="240" y="26"/>
                  </a:lnTo>
                  <a:lnTo>
                    <a:pt x="241" y="26"/>
                  </a:lnTo>
                  <a:lnTo>
                    <a:pt x="241" y="25"/>
                  </a:lnTo>
                  <a:lnTo>
                    <a:pt x="242" y="26"/>
                  </a:lnTo>
                  <a:lnTo>
                    <a:pt x="243" y="27"/>
                  </a:lnTo>
                  <a:lnTo>
                    <a:pt x="243" y="26"/>
                  </a:lnTo>
                  <a:lnTo>
                    <a:pt x="242" y="26"/>
                  </a:lnTo>
                  <a:lnTo>
                    <a:pt x="242" y="25"/>
                  </a:lnTo>
                  <a:lnTo>
                    <a:pt x="243" y="25"/>
                  </a:lnTo>
                  <a:lnTo>
                    <a:pt x="243" y="24"/>
                  </a:lnTo>
                  <a:lnTo>
                    <a:pt x="243" y="23"/>
                  </a:lnTo>
                  <a:lnTo>
                    <a:pt x="244" y="23"/>
                  </a:lnTo>
                  <a:lnTo>
                    <a:pt x="246" y="21"/>
                  </a:lnTo>
                  <a:lnTo>
                    <a:pt x="244" y="21"/>
                  </a:lnTo>
                  <a:lnTo>
                    <a:pt x="244" y="20"/>
                  </a:lnTo>
                  <a:lnTo>
                    <a:pt x="244" y="19"/>
                  </a:lnTo>
                  <a:lnTo>
                    <a:pt x="244" y="18"/>
                  </a:lnTo>
                  <a:lnTo>
                    <a:pt x="244" y="19"/>
                  </a:lnTo>
                  <a:lnTo>
                    <a:pt x="246" y="19"/>
                  </a:lnTo>
                  <a:lnTo>
                    <a:pt x="244" y="18"/>
                  </a:lnTo>
                  <a:lnTo>
                    <a:pt x="244" y="17"/>
                  </a:lnTo>
                  <a:lnTo>
                    <a:pt x="243" y="17"/>
                  </a:lnTo>
                  <a:lnTo>
                    <a:pt x="242" y="17"/>
                  </a:lnTo>
                  <a:lnTo>
                    <a:pt x="242" y="15"/>
                  </a:lnTo>
                  <a:lnTo>
                    <a:pt x="242" y="14"/>
                  </a:lnTo>
                  <a:lnTo>
                    <a:pt x="241" y="13"/>
                  </a:lnTo>
                  <a:lnTo>
                    <a:pt x="241" y="12"/>
                  </a:lnTo>
                  <a:lnTo>
                    <a:pt x="240" y="11"/>
                  </a:lnTo>
                  <a:lnTo>
                    <a:pt x="241" y="9"/>
                  </a:lnTo>
                  <a:lnTo>
                    <a:pt x="242" y="9"/>
                  </a:lnTo>
                  <a:lnTo>
                    <a:pt x="242" y="11"/>
                  </a:lnTo>
                  <a:lnTo>
                    <a:pt x="243" y="11"/>
                  </a:lnTo>
                  <a:lnTo>
                    <a:pt x="243" y="8"/>
                  </a:lnTo>
                  <a:lnTo>
                    <a:pt x="243" y="7"/>
                  </a:lnTo>
                  <a:lnTo>
                    <a:pt x="244" y="6"/>
                  </a:lnTo>
                  <a:lnTo>
                    <a:pt x="246" y="5"/>
                  </a:lnTo>
                  <a:lnTo>
                    <a:pt x="246" y="6"/>
                  </a:lnTo>
                  <a:lnTo>
                    <a:pt x="247" y="5"/>
                  </a:lnTo>
                  <a:lnTo>
                    <a:pt x="247" y="6"/>
                  </a:lnTo>
                  <a:lnTo>
                    <a:pt x="247" y="7"/>
                  </a:lnTo>
                  <a:lnTo>
                    <a:pt x="247" y="8"/>
                  </a:lnTo>
                  <a:lnTo>
                    <a:pt x="248" y="8"/>
                  </a:lnTo>
                  <a:lnTo>
                    <a:pt x="248" y="9"/>
                  </a:lnTo>
                  <a:lnTo>
                    <a:pt x="249" y="9"/>
                  </a:lnTo>
                  <a:lnTo>
                    <a:pt x="249" y="11"/>
                  </a:lnTo>
                  <a:lnTo>
                    <a:pt x="249" y="12"/>
                  </a:lnTo>
                  <a:lnTo>
                    <a:pt x="248" y="12"/>
                  </a:lnTo>
                  <a:lnTo>
                    <a:pt x="248" y="13"/>
                  </a:lnTo>
                  <a:lnTo>
                    <a:pt x="247" y="13"/>
                  </a:lnTo>
                  <a:lnTo>
                    <a:pt x="247" y="14"/>
                  </a:lnTo>
                  <a:lnTo>
                    <a:pt x="247" y="15"/>
                  </a:lnTo>
                  <a:lnTo>
                    <a:pt x="248" y="15"/>
                  </a:lnTo>
                  <a:lnTo>
                    <a:pt x="248" y="17"/>
                  </a:lnTo>
                  <a:lnTo>
                    <a:pt x="248" y="15"/>
                  </a:lnTo>
                  <a:lnTo>
                    <a:pt x="249" y="15"/>
                  </a:lnTo>
                  <a:lnTo>
                    <a:pt x="250" y="14"/>
                  </a:lnTo>
                  <a:lnTo>
                    <a:pt x="252" y="14"/>
                  </a:lnTo>
                  <a:lnTo>
                    <a:pt x="253" y="14"/>
                  </a:lnTo>
                  <a:lnTo>
                    <a:pt x="253" y="15"/>
                  </a:lnTo>
                  <a:lnTo>
                    <a:pt x="253" y="18"/>
                  </a:lnTo>
                  <a:lnTo>
                    <a:pt x="254" y="18"/>
                  </a:lnTo>
                  <a:lnTo>
                    <a:pt x="254" y="19"/>
                  </a:lnTo>
                  <a:lnTo>
                    <a:pt x="255" y="20"/>
                  </a:lnTo>
                  <a:lnTo>
                    <a:pt x="255" y="18"/>
                  </a:lnTo>
                  <a:lnTo>
                    <a:pt x="256" y="18"/>
                  </a:lnTo>
                  <a:lnTo>
                    <a:pt x="256" y="17"/>
                  </a:lnTo>
                  <a:lnTo>
                    <a:pt x="255" y="17"/>
                  </a:lnTo>
                  <a:lnTo>
                    <a:pt x="255" y="15"/>
                  </a:lnTo>
                  <a:lnTo>
                    <a:pt x="256" y="15"/>
                  </a:lnTo>
                  <a:lnTo>
                    <a:pt x="255" y="13"/>
                  </a:lnTo>
                  <a:lnTo>
                    <a:pt x="255" y="12"/>
                  </a:lnTo>
                  <a:lnTo>
                    <a:pt x="256" y="12"/>
                  </a:lnTo>
                  <a:lnTo>
                    <a:pt x="256" y="11"/>
                  </a:lnTo>
                  <a:lnTo>
                    <a:pt x="258" y="9"/>
                  </a:lnTo>
                  <a:lnTo>
                    <a:pt x="259" y="9"/>
                  </a:lnTo>
                  <a:lnTo>
                    <a:pt x="260" y="11"/>
                  </a:lnTo>
                  <a:lnTo>
                    <a:pt x="260" y="9"/>
                  </a:lnTo>
                  <a:lnTo>
                    <a:pt x="260" y="8"/>
                  </a:lnTo>
                  <a:lnTo>
                    <a:pt x="260" y="7"/>
                  </a:lnTo>
                  <a:lnTo>
                    <a:pt x="261" y="7"/>
                  </a:lnTo>
                  <a:lnTo>
                    <a:pt x="261" y="6"/>
                  </a:lnTo>
                  <a:lnTo>
                    <a:pt x="261" y="3"/>
                  </a:lnTo>
                  <a:lnTo>
                    <a:pt x="264" y="3"/>
                  </a:lnTo>
                  <a:lnTo>
                    <a:pt x="264" y="5"/>
                  </a:lnTo>
                  <a:lnTo>
                    <a:pt x="264" y="6"/>
                  </a:lnTo>
                  <a:lnTo>
                    <a:pt x="265" y="7"/>
                  </a:lnTo>
                  <a:lnTo>
                    <a:pt x="265" y="6"/>
                  </a:lnTo>
                  <a:lnTo>
                    <a:pt x="266" y="5"/>
                  </a:lnTo>
                  <a:lnTo>
                    <a:pt x="266" y="3"/>
                  </a:lnTo>
                  <a:lnTo>
                    <a:pt x="267" y="2"/>
                  </a:lnTo>
                  <a:lnTo>
                    <a:pt x="267" y="0"/>
                  </a:lnTo>
                  <a:lnTo>
                    <a:pt x="268" y="0"/>
                  </a:lnTo>
                  <a:lnTo>
                    <a:pt x="271" y="0"/>
                  </a:lnTo>
                  <a:lnTo>
                    <a:pt x="271" y="1"/>
                  </a:lnTo>
                  <a:lnTo>
                    <a:pt x="271" y="2"/>
                  </a:lnTo>
                  <a:lnTo>
                    <a:pt x="270" y="3"/>
                  </a:lnTo>
                  <a:lnTo>
                    <a:pt x="270" y="5"/>
                  </a:lnTo>
                  <a:lnTo>
                    <a:pt x="271" y="6"/>
                  </a:lnTo>
                  <a:lnTo>
                    <a:pt x="272" y="6"/>
                  </a:lnTo>
                  <a:lnTo>
                    <a:pt x="272" y="7"/>
                  </a:lnTo>
                  <a:lnTo>
                    <a:pt x="271" y="8"/>
                  </a:lnTo>
                  <a:lnTo>
                    <a:pt x="271" y="9"/>
                  </a:lnTo>
                  <a:lnTo>
                    <a:pt x="270" y="11"/>
                  </a:lnTo>
                  <a:lnTo>
                    <a:pt x="271" y="11"/>
                  </a:lnTo>
                  <a:lnTo>
                    <a:pt x="272" y="11"/>
                  </a:lnTo>
                  <a:lnTo>
                    <a:pt x="272" y="12"/>
                  </a:lnTo>
                  <a:lnTo>
                    <a:pt x="272" y="13"/>
                  </a:lnTo>
                  <a:lnTo>
                    <a:pt x="272" y="14"/>
                  </a:lnTo>
                  <a:lnTo>
                    <a:pt x="272" y="15"/>
                  </a:lnTo>
                  <a:lnTo>
                    <a:pt x="271" y="15"/>
                  </a:lnTo>
                  <a:lnTo>
                    <a:pt x="271" y="17"/>
                  </a:lnTo>
                  <a:lnTo>
                    <a:pt x="271" y="18"/>
                  </a:lnTo>
                  <a:lnTo>
                    <a:pt x="270" y="18"/>
                  </a:lnTo>
                  <a:lnTo>
                    <a:pt x="271" y="18"/>
                  </a:lnTo>
                  <a:lnTo>
                    <a:pt x="271" y="19"/>
                  </a:lnTo>
                  <a:lnTo>
                    <a:pt x="271" y="20"/>
                  </a:lnTo>
                  <a:lnTo>
                    <a:pt x="271" y="21"/>
                  </a:lnTo>
                  <a:lnTo>
                    <a:pt x="270" y="23"/>
                  </a:lnTo>
                  <a:lnTo>
                    <a:pt x="270" y="24"/>
                  </a:lnTo>
                  <a:lnTo>
                    <a:pt x="270" y="25"/>
                  </a:lnTo>
                  <a:lnTo>
                    <a:pt x="270" y="26"/>
                  </a:lnTo>
                  <a:lnTo>
                    <a:pt x="270" y="27"/>
                  </a:lnTo>
                  <a:lnTo>
                    <a:pt x="270" y="26"/>
                  </a:lnTo>
                  <a:lnTo>
                    <a:pt x="271" y="25"/>
                  </a:lnTo>
                  <a:lnTo>
                    <a:pt x="272" y="25"/>
                  </a:lnTo>
                  <a:lnTo>
                    <a:pt x="272" y="26"/>
                  </a:lnTo>
                  <a:lnTo>
                    <a:pt x="273" y="26"/>
                  </a:lnTo>
                  <a:lnTo>
                    <a:pt x="274" y="25"/>
                  </a:lnTo>
                  <a:lnTo>
                    <a:pt x="276" y="25"/>
                  </a:lnTo>
                  <a:lnTo>
                    <a:pt x="276" y="24"/>
                  </a:lnTo>
                  <a:lnTo>
                    <a:pt x="277" y="24"/>
                  </a:lnTo>
                  <a:lnTo>
                    <a:pt x="278" y="24"/>
                  </a:lnTo>
                  <a:lnTo>
                    <a:pt x="278" y="25"/>
                  </a:lnTo>
                  <a:lnTo>
                    <a:pt x="278" y="26"/>
                  </a:lnTo>
                  <a:lnTo>
                    <a:pt x="278" y="27"/>
                  </a:lnTo>
                  <a:lnTo>
                    <a:pt x="277" y="29"/>
                  </a:lnTo>
                  <a:lnTo>
                    <a:pt x="277" y="30"/>
                  </a:lnTo>
                  <a:lnTo>
                    <a:pt x="277" y="31"/>
                  </a:lnTo>
                  <a:lnTo>
                    <a:pt x="277" y="32"/>
                  </a:lnTo>
                  <a:lnTo>
                    <a:pt x="277" y="33"/>
                  </a:lnTo>
                  <a:lnTo>
                    <a:pt x="277" y="35"/>
                  </a:lnTo>
                  <a:lnTo>
                    <a:pt x="278" y="35"/>
                  </a:lnTo>
                  <a:lnTo>
                    <a:pt x="278" y="33"/>
                  </a:lnTo>
                  <a:lnTo>
                    <a:pt x="279" y="33"/>
                  </a:lnTo>
                  <a:lnTo>
                    <a:pt x="279" y="32"/>
                  </a:lnTo>
                  <a:lnTo>
                    <a:pt x="279" y="31"/>
                  </a:lnTo>
                  <a:lnTo>
                    <a:pt x="279" y="30"/>
                  </a:lnTo>
                  <a:lnTo>
                    <a:pt x="281" y="29"/>
                  </a:lnTo>
                  <a:lnTo>
                    <a:pt x="283" y="30"/>
                  </a:lnTo>
                  <a:lnTo>
                    <a:pt x="284" y="30"/>
                  </a:lnTo>
                  <a:lnTo>
                    <a:pt x="285" y="30"/>
                  </a:lnTo>
                  <a:lnTo>
                    <a:pt x="284" y="31"/>
                  </a:lnTo>
                  <a:lnTo>
                    <a:pt x="284" y="32"/>
                  </a:lnTo>
                  <a:lnTo>
                    <a:pt x="285" y="31"/>
                  </a:lnTo>
                  <a:lnTo>
                    <a:pt x="288" y="31"/>
                  </a:lnTo>
                  <a:lnTo>
                    <a:pt x="288" y="30"/>
                  </a:lnTo>
                  <a:lnTo>
                    <a:pt x="287" y="30"/>
                  </a:lnTo>
                  <a:lnTo>
                    <a:pt x="287" y="29"/>
                  </a:lnTo>
                  <a:lnTo>
                    <a:pt x="288" y="29"/>
                  </a:lnTo>
                  <a:lnTo>
                    <a:pt x="288" y="27"/>
                  </a:lnTo>
                  <a:lnTo>
                    <a:pt x="287" y="27"/>
                  </a:lnTo>
                  <a:lnTo>
                    <a:pt x="287" y="26"/>
                  </a:lnTo>
                  <a:lnTo>
                    <a:pt x="287" y="24"/>
                  </a:lnTo>
                  <a:lnTo>
                    <a:pt x="287" y="23"/>
                  </a:lnTo>
                  <a:lnTo>
                    <a:pt x="288" y="23"/>
                  </a:lnTo>
                  <a:lnTo>
                    <a:pt x="288" y="24"/>
                  </a:lnTo>
                  <a:lnTo>
                    <a:pt x="289" y="25"/>
                  </a:lnTo>
                  <a:lnTo>
                    <a:pt x="290" y="25"/>
                  </a:lnTo>
                  <a:lnTo>
                    <a:pt x="290" y="26"/>
                  </a:lnTo>
                  <a:lnTo>
                    <a:pt x="291" y="26"/>
                  </a:lnTo>
                  <a:lnTo>
                    <a:pt x="291" y="25"/>
                  </a:lnTo>
                  <a:lnTo>
                    <a:pt x="291" y="24"/>
                  </a:lnTo>
                  <a:lnTo>
                    <a:pt x="293" y="24"/>
                  </a:lnTo>
                  <a:lnTo>
                    <a:pt x="293" y="23"/>
                  </a:lnTo>
                  <a:lnTo>
                    <a:pt x="293" y="21"/>
                  </a:lnTo>
                  <a:lnTo>
                    <a:pt x="294" y="20"/>
                  </a:lnTo>
                  <a:lnTo>
                    <a:pt x="295" y="20"/>
                  </a:lnTo>
                  <a:lnTo>
                    <a:pt x="296" y="19"/>
                  </a:lnTo>
                  <a:lnTo>
                    <a:pt x="295" y="18"/>
                  </a:lnTo>
                  <a:lnTo>
                    <a:pt x="294" y="18"/>
                  </a:lnTo>
                  <a:lnTo>
                    <a:pt x="293" y="17"/>
                  </a:lnTo>
                  <a:lnTo>
                    <a:pt x="293" y="15"/>
                  </a:lnTo>
                  <a:lnTo>
                    <a:pt x="294" y="15"/>
                  </a:lnTo>
                  <a:lnTo>
                    <a:pt x="294" y="14"/>
                  </a:lnTo>
                  <a:lnTo>
                    <a:pt x="295" y="14"/>
                  </a:lnTo>
                  <a:lnTo>
                    <a:pt x="296" y="15"/>
                  </a:lnTo>
                  <a:lnTo>
                    <a:pt x="296" y="14"/>
                  </a:lnTo>
                  <a:lnTo>
                    <a:pt x="296" y="13"/>
                  </a:lnTo>
                  <a:lnTo>
                    <a:pt x="296" y="12"/>
                  </a:lnTo>
                  <a:lnTo>
                    <a:pt x="296" y="11"/>
                  </a:lnTo>
                  <a:lnTo>
                    <a:pt x="296" y="9"/>
                  </a:lnTo>
                  <a:lnTo>
                    <a:pt x="296" y="8"/>
                  </a:lnTo>
                  <a:lnTo>
                    <a:pt x="297" y="8"/>
                  </a:lnTo>
                  <a:lnTo>
                    <a:pt x="299" y="8"/>
                  </a:lnTo>
                  <a:lnTo>
                    <a:pt x="299" y="7"/>
                  </a:lnTo>
                  <a:lnTo>
                    <a:pt x="300" y="7"/>
                  </a:lnTo>
                  <a:lnTo>
                    <a:pt x="300" y="6"/>
                  </a:lnTo>
                  <a:lnTo>
                    <a:pt x="300" y="5"/>
                  </a:lnTo>
                  <a:lnTo>
                    <a:pt x="301" y="5"/>
                  </a:lnTo>
                  <a:lnTo>
                    <a:pt x="301" y="6"/>
                  </a:lnTo>
                  <a:lnTo>
                    <a:pt x="302" y="6"/>
                  </a:lnTo>
                  <a:lnTo>
                    <a:pt x="303" y="6"/>
                  </a:lnTo>
                  <a:lnTo>
                    <a:pt x="303" y="7"/>
                  </a:lnTo>
                  <a:lnTo>
                    <a:pt x="302" y="7"/>
                  </a:lnTo>
                  <a:lnTo>
                    <a:pt x="302" y="8"/>
                  </a:lnTo>
                  <a:lnTo>
                    <a:pt x="302" y="9"/>
                  </a:lnTo>
                  <a:lnTo>
                    <a:pt x="302" y="11"/>
                  </a:lnTo>
                  <a:lnTo>
                    <a:pt x="302" y="12"/>
                  </a:lnTo>
                  <a:lnTo>
                    <a:pt x="302" y="13"/>
                  </a:lnTo>
                  <a:lnTo>
                    <a:pt x="302" y="14"/>
                  </a:lnTo>
                  <a:lnTo>
                    <a:pt x="302" y="15"/>
                  </a:lnTo>
                  <a:lnTo>
                    <a:pt x="302" y="14"/>
                  </a:lnTo>
                  <a:lnTo>
                    <a:pt x="303" y="14"/>
                  </a:lnTo>
                  <a:lnTo>
                    <a:pt x="305" y="14"/>
                  </a:lnTo>
                  <a:lnTo>
                    <a:pt x="305" y="13"/>
                  </a:lnTo>
                  <a:lnTo>
                    <a:pt x="305" y="14"/>
                  </a:lnTo>
                  <a:lnTo>
                    <a:pt x="306" y="14"/>
                  </a:lnTo>
                  <a:lnTo>
                    <a:pt x="306" y="15"/>
                  </a:lnTo>
                  <a:lnTo>
                    <a:pt x="306" y="17"/>
                  </a:lnTo>
                  <a:lnTo>
                    <a:pt x="305" y="17"/>
                  </a:lnTo>
                  <a:lnTo>
                    <a:pt x="303" y="18"/>
                  </a:lnTo>
                  <a:lnTo>
                    <a:pt x="302" y="18"/>
                  </a:lnTo>
                  <a:lnTo>
                    <a:pt x="302" y="19"/>
                  </a:lnTo>
                  <a:lnTo>
                    <a:pt x="301" y="19"/>
                  </a:lnTo>
                  <a:lnTo>
                    <a:pt x="301" y="20"/>
                  </a:lnTo>
                  <a:lnTo>
                    <a:pt x="300" y="21"/>
                  </a:lnTo>
                  <a:lnTo>
                    <a:pt x="299" y="21"/>
                  </a:lnTo>
                  <a:lnTo>
                    <a:pt x="299" y="23"/>
                  </a:lnTo>
                  <a:lnTo>
                    <a:pt x="300" y="23"/>
                  </a:lnTo>
                  <a:lnTo>
                    <a:pt x="300" y="24"/>
                  </a:lnTo>
                  <a:lnTo>
                    <a:pt x="300" y="25"/>
                  </a:lnTo>
                  <a:lnTo>
                    <a:pt x="299" y="25"/>
                  </a:lnTo>
                  <a:lnTo>
                    <a:pt x="299" y="26"/>
                  </a:lnTo>
                  <a:lnTo>
                    <a:pt x="299" y="27"/>
                  </a:lnTo>
                  <a:lnTo>
                    <a:pt x="300" y="27"/>
                  </a:lnTo>
                  <a:lnTo>
                    <a:pt x="300" y="29"/>
                  </a:lnTo>
                  <a:lnTo>
                    <a:pt x="300" y="27"/>
                  </a:lnTo>
                  <a:lnTo>
                    <a:pt x="301" y="26"/>
                  </a:lnTo>
                  <a:lnTo>
                    <a:pt x="300" y="26"/>
                  </a:lnTo>
                  <a:lnTo>
                    <a:pt x="301" y="26"/>
                  </a:lnTo>
                  <a:lnTo>
                    <a:pt x="302" y="26"/>
                  </a:lnTo>
                  <a:lnTo>
                    <a:pt x="302" y="25"/>
                  </a:lnTo>
                  <a:lnTo>
                    <a:pt x="302" y="26"/>
                  </a:lnTo>
                  <a:lnTo>
                    <a:pt x="303" y="26"/>
                  </a:lnTo>
                  <a:lnTo>
                    <a:pt x="305" y="27"/>
                  </a:lnTo>
                  <a:lnTo>
                    <a:pt x="306" y="27"/>
                  </a:lnTo>
                  <a:lnTo>
                    <a:pt x="306" y="26"/>
                  </a:lnTo>
                  <a:lnTo>
                    <a:pt x="306" y="25"/>
                  </a:lnTo>
                  <a:lnTo>
                    <a:pt x="307" y="25"/>
                  </a:lnTo>
                  <a:lnTo>
                    <a:pt x="308" y="25"/>
                  </a:lnTo>
                  <a:lnTo>
                    <a:pt x="308" y="24"/>
                  </a:lnTo>
                  <a:lnTo>
                    <a:pt x="308" y="21"/>
                  </a:lnTo>
                  <a:lnTo>
                    <a:pt x="308" y="20"/>
                  </a:lnTo>
                  <a:lnTo>
                    <a:pt x="308" y="19"/>
                  </a:lnTo>
                  <a:lnTo>
                    <a:pt x="307" y="18"/>
                  </a:lnTo>
                  <a:lnTo>
                    <a:pt x="308" y="18"/>
                  </a:lnTo>
                  <a:lnTo>
                    <a:pt x="308" y="17"/>
                  </a:lnTo>
                  <a:lnTo>
                    <a:pt x="309" y="17"/>
                  </a:lnTo>
                  <a:lnTo>
                    <a:pt x="309" y="15"/>
                  </a:lnTo>
                  <a:lnTo>
                    <a:pt x="311" y="14"/>
                  </a:lnTo>
                  <a:lnTo>
                    <a:pt x="311" y="13"/>
                  </a:lnTo>
                  <a:lnTo>
                    <a:pt x="312" y="13"/>
                  </a:lnTo>
                  <a:lnTo>
                    <a:pt x="312" y="14"/>
                  </a:lnTo>
                  <a:lnTo>
                    <a:pt x="312" y="15"/>
                  </a:lnTo>
                  <a:lnTo>
                    <a:pt x="313" y="18"/>
                  </a:lnTo>
                  <a:lnTo>
                    <a:pt x="313" y="17"/>
                  </a:lnTo>
                  <a:lnTo>
                    <a:pt x="314" y="15"/>
                  </a:lnTo>
                  <a:lnTo>
                    <a:pt x="314" y="14"/>
                  </a:lnTo>
                  <a:lnTo>
                    <a:pt x="314" y="13"/>
                  </a:lnTo>
                  <a:lnTo>
                    <a:pt x="315" y="12"/>
                  </a:lnTo>
                  <a:lnTo>
                    <a:pt x="315" y="11"/>
                  </a:lnTo>
                  <a:lnTo>
                    <a:pt x="317" y="11"/>
                  </a:lnTo>
                  <a:lnTo>
                    <a:pt x="317" y="12"/>
                  </a:lnTo>
                  <a:lnTo>
                    <a:pt x="318" y="12"/>
                  </a:lnTo>
                  <a:lnTo>
                    <a:pt x="318" y="11"/>
                  </a:lnTo>
                  <a:lnTo>
                    <a:pt x="318" y="9"/>
                  </a:lnTo>
                  <a:lnTo>
                    <a:pt x="318" y="8"/>
                  </a:lnTo>
                  <a:lnTo>
                    <a:pt x="319" y="8"/>
                  </a:lnTo>
                  <a:lnTo>
                    <a:pt x="319" y="7"/>
                  </a:lnTo>
                  <a:lnTo>
                    <a:pt x="319" y="8"/>
                  </a:lnTo>
                  <a:lnTo>
                    <a:pt x="320" y="8"/>
                  </a:lnTo>
                  <a:lnTo>
                    <a:pt x="321" y="8"/>
                  </a:lnTo>
                  <a:lnTo>
                    <a:pt x="321" y="9"/>
                  </a:lnTo>
                  <a:lnTo>
                    <a:pt x="320" y="11"/>
                  </a:lnTo>
                  <a:lnTo>
                    <a:pt x="320" y="12"/>
                  </a:lnTo>
                  <a:lnTo>
                    <a:pt x="320" y="13"/>
                  </a:lnTo>
                  <a:lnTo>
                    <a:pt x="321" y="14"/>
                  </a:lnTo>
                  <a:lnTo>
                    <a:pt x="321" y="15"/>
                  </a:lnTo>
                  <a:lnTo>
                    <a:pt x="321" y="17"/>
                  </a:lnTo>
                  <a:lnTo>
                    <a:pt x="320" y="17"/>
                  </a:lnTo>
                  <a:lnTo>
                    <a:pt x="320" y="18"/>
                  </a:lnTo>
                  <a:lnTo>
                    <a:pt x="319" y="18"/>
                  </a:lnTo>
                  <a:lnTo>
                    <a:pt x="319" y="19"/>
                  </a:lnTo>
                  <a:lnTo>
                    <a:pt x="319" y="20"/>
                  </a:lnTo>
                  <a:lnTo>
                    <a:pt x="318" y="20"/>
                  </a:lnTo>
                  <a:lnTo>
                    <a:pt x="317" y="20"/>
                  </a:lnTo>
                  <a:lnTo>
                    <a:pt x="317" y="21"/>
                  </a:lnTo>
                  <a:lnTo>
                    <a:pt x="315" y="21"/>
                  </a:lnTo>
                  <a:lnTo>
                    <a:pt x="314" y="23"/>
                  </a:lnTo>
                  <a:lnTo>
                    <a:pt x="315" y="23"/>
                  </a:lnTo>
                  <a:lnTo>
                    <a:pt x="317" y="23"/>
                  </a:lnTo>
                  <a:lnTo>
                    <a:pt x="317" y="24"/>
                  </a:lnTo>
                  <a:lnTo>
                    <a:pt x="318" y="23"/>
                  </a:lnTo>
                  <a:lnTo>
                    <a:pt x="319" y="23"/>
                  </a:lnTo>
                  <a:lnTo>
                    <a:pt x="320" y="23"/>
                  </a:lnTo>
                  <a:lnTo>
                    <a:pt x="320" y="24"/>
                  </a:lnTo>
                  <a:lnTo>
                    <a:pt x="320" y="25"/>
                  </a:lnTo>
                  <a:lnTo>
                    <a:pt x="321" y="26"/>
                  </a:lnTo>
                  <a:lnTo>
                    <a:pt x="321" y="27"/>
                  </a:lnTo>
                  <a:lnTo>
                    <a:pt x="323" y="27"/>
                  </a:lnTo>
                  <a:lnTo>
                    <a:pt x="323" y="26"/>
                  </a:lnTo>
                  <a:lnTo>
                    <a:pt x="324" y="26"/>
                  </a:lnTo>
                  <a:lnTo>
                    <a:pt x="323" y="25"/>
                  </a:lnTo>
                  <a:lnTo>
                    <a:pt x="324" y="23"/>
                  </a:lnTo>
                  <a:lnTo>
                    <a:pt x="325" y="23"/>
                  </a:lnTo>
                  <a:lnTo>
                    <a:pt x="326" y="24"/>
                  </a:lnTo>
                  <a:lnTo>
                    <a:pt x="326" y="23"/>
                  </a:lnTo>
                  <a:lnTo>
                    <a:pt x="327" y="23"/>
                  </a:lnTo>
                  <a:lnTo>
                    <a:pt x="329" y="21"/>
                  </a:lnTo>
                  <a:lnTo>
                    <a:pt x="330" y="20"/>
                  </a:lnTo>
                  <a:lnTo>
                    <a:pt x="331" y="19"/>
                  </a:lnTo>
                  <a:lnTo>
                    <a:pt x="332" y="21"/>
                  </a:lnTo>
                  <a:lnTo>
                    <a:pt x="332" y="23"/>
                  </a:lnTo>
                  <a:lnTo>
                    <a:pt x="331" y="24"/>
                  </a:lnTo>
                  <a:lnTo>
                    <a:pt x="330" y="25"/>
                  </a:lnTo>
                  <a:lnTo>
                    <a:pt x="330" y="26"/>
                  </a:lnTo>
                  <a:lnTo>
                    <a:pt x="329" y="27"/>
                  </a:lnTo>
                  <a:lnTo>
                    <a:pt x="329" y="30"/>
                  </a:lnTo>
                  <a:lnTo>
                    <a:pt x="327" y="30"/>
                  </a:lnTo>
                  <a:lnTo>
                    <a:pt x="327" y="31"/>
                  </a:lnTo>
                  <a:lnTo>
                    <a:pt x="326" y="37"/>
                  </a:lnTo>
                  <a:lnTo>
                    <a:pt x="326" y="38"/>
                  </a:lnTo>
                  <a:lnTo>
                    <a:pt x="327" y="38"/>
                  </a:lnTo>
                  <a:lnTo>
                    <a:pt x="327" y="39"/>
                  </a:lnTo>
                  <a:lnTo>
                    <a:pt x="327" y="38"/>
                  </a:lnTo>
                  <a:lnTo>
                    <a:pt x="329" y="38"/>
                  </a:lnTo>
                  <a:lnTo>
                    <a:pt x="330" y="38"/>
                  </a:lnTo>
                  <a:lnTo>
                    <a:pt x="329" y="39"/>
                  </a:lnTo>
                  <a:lnTo>
                    <a:pt x="329" y="41"/>
                  </a:lnTo>
                  <a:lnTo>
                    <a:pt x="327" y="41"/>
                  </a:lnTo>
                  <a:lnTo>
                    <a:pt x="327" y="42"/>
                  </a:lnTo>
                  <a:lnTo>
                    <a:pt x="326" y="43"/>
                  </a:lnTo>
                  <a:lnTo>
                    <a:pt x="327" y="43"/>
                  </a:lnTo>
                  <a:lnTo>
                    <a:pt x="327" y="44"/>
                  </a:lnTo>
                  <a:lnTo>
                    <a:pt x="327" y="45"/>
                  </a:lnTo>
                  <a:lnTo>
                    <a:pt x="327" y="47"/>
                  </a:lnTo>
                  <a:lnTo>
                    <a:pt x="329" y="48"/>
                  </a:lnTo>
                  <a:lnTo>
                    <a:pt x="330" y="48"/>
                  </a:lnTo>
                  <a:lnTo>
                    <a:pt x="330" y="47"/>
                  </a:lnTo>
                  <a:lnTo>
                    <a:pt x="331" y="47"/>
                  </a:lnTo>
                  <a:lnTo>
                    <a:pt x="331" y="45"/>
                  </a:lnTo>
                  <a:lnTo>
                    <a:pt x="332" y="45"/>
                  </a:lnTo>
                  <a:lnTo>
                    <a:pt x="332" y="43"/>
                  </a:lnTo>
                  <a:lnTo>
                    <a:pt x="333" y="43"/>
                  </a:lnTo>
                  <a:lnTo>
                    <a:pt x="333" y="42"/>
                  </a:lnTo>
                  <a:lnTo>
                    <a:pt x="333" y="41"/>
                  </a:lnTo>
                  <a:lnTo>
                    <a:pt x="332" y="38"/>
                  </a:lnTo>
                  <a:lnTo>
                    <a:pt x="332" y="37"/>
                  </a:lnTo>
                  <a:lnTo>
                    <a:pt x="333" y="37"/>
                  </a:lnTo>
                  <a:lnTo>
                    <a:pt x="333" y="36"/>
                  </a:lnTo>
                  <a:lnTo>
                    <a:pt x="333" y="35"/>
                  </a:lnTo>
                  <a:lnTo>
                    <a:pt x="332" y="35"/>
                  </a:lnTo>
                  <a:lnTo>
                    <a:pt x="333" y="33"/>
                  </a:lnTo>
                  <a:lnTo>
                    <a:pt x="335" y="33"/>
                  </a:lnTo>
                  <a:lnTo>
                    <a:pt x="336" y="33"/>
                  </a:lnTo>
                  <a:lnTo>
                    <a:pt x="336" y="32"/>
                  </a:lnTo>
                  <a:lnTo>
                    <a:pt x="336" y="31"/>
                  </a:lnTo>
                  <a:lnTo>
                    <a:pt x="336" y="30"/>
                  </a:lnTo>
                  <a:lnTo>
                    <a:pt x="337" y="30"/>
                  </a:lnTo>
                  <a:lnTo>
                    <a:pt x="338" y="30"/>
                  </a:lnTo>
                  <a:lnTo>
                    <a:pt x="340" y="30"/>
                  </a:lnTo>
                  <a:lnTo>
                    <a:pt x="340" y="31"/>
                  </a:lnTo>
                  <a:lnTo>
                    <a:pt x="340" y="32"/>
                  </a:lnTo>
                  <a:lnTo>
                    <a:pt x="340" y="35"/>
                  </a:lnTo>
                  <a:lnTo>
                    <a:pt x="338" y="35"/>
                  </a:lnTo>
                  <a:lnTo>
                    <a:pt x="338" y="36"/>
                  </a:lnTo>
                  <a:lnTo>
                    <a:pt x="338" y="37"/>
                  </a:lnTo>
                  <a:lnTo>
                    <a:pt x="340" y="38"/>
                  </a:lnTo>
                  <a:lnTo>
                    <a:pt x="340" y="37"/>
                  </a:lnTo>
                  <a:lnTo>
                    <a:pt x="341" y="37"/>
                  </a:lnTo>
                  <a:lnTo>
                    <a:pt x="341" y="38"/>
                  </a:lnTo>
                  <a:lnTo>
                    <a:pt x="342" y="38"/>
                  </a:lnTo>
                  <a:lnTo>
                    <a:pt x="341" y="38"/>
                  </a:lnTo>
                  <a:lnTo>
                    <a:pt x="341" y="39"/>
                  </a:lnTo>
                  <a:lnTo>
                    <a:pt x="340" y="39"/>
                  </a:lnTo>
                  <a:lnTo>
                    <a:pt x="340" y="41"/>
                  </a:lnTo>
                  <a:lnTo>
                    <a:pt x="338" y="41"/>
                  </a:lnTo>
                  <a:lnTo>
                    <a:pt x="338" y="42"/>
                  </a:lnTo>
                  <a:lnTo>
                    <a:pt x="337" y="42"/>
                  </a:lnTo>
                  <a:lnTo>
                    <a:pt x="337" y="43"/>
                  </a:lnTo>
                  <a:lnTo>
                    <a:pt x="336" y="43"/>
                  </a:lnTo>
                  <a:lnTo>
                    <a:pt x="336" y="44"/>
                  </a:lnTo>
                  <a:lnTo>
                    <a:pt x="337" y="44"/>
                  </a:lnTo>
                  <a:lnTo>
                    <a:pt x="336" y="44"/>
                  </a:lnTo>
                  <a:lnTo>
                    <a:pt x="337" y="45"/>
                  </a:lnTo>
                  <a:lnTo>
                    <a:pt x="338" y="47"/>
                  </a:lnTo>
                  <a:lnTo>
                    <a:pt x="340" y="47"/>
                  </a:lnTo>
                  <a:lnTo>
                    <a:pt x="341" y="47"/>
                  </a:lnTo>
                  <a:lnTo>
                    <a:pt x="341" y="45"/>
                  </a:lnTo>
                  <a:lnTo>
                    <a:pt x="341" y="44"/>
                  </a:lnTo>
                  <a:lnTo>
                    <a:pt x="342" y="41"/>
                  </a:lnTo>
                  <a:lnTo>
                    <a:pt x="343" y="39"/>
                  </a:lnTo>
                  <a:lnTo>
                    <a:pt x="343" y="41"/>
                  </a:lnTo>
                  <a:lnTo>
                    <a:pt x="344" y="41"/>
                  </a:lnTo>
                  <a:lnTo>
                    <a:pt x="346" y="41"/>
                  </a:lnTo>
                  <a:lnTo>
                    <a:pt x="347" y="41"/>
                  </a:lnTo>
                  <a:lnTo>
                    <a:pt x="348" y="41"/>
                  </a:lnTo>
                  <a:lnTo>
                    <a:pt x="347" y="41"/>
                  </a:lnTo>
                  <a:lnTo>
                    <a:pt x="348" y="39"/>
                  </a:lnTo>
                  <a:lnTo>
                    <a:pt x="347" y="39"/>
                  </a:lnTo>
                  <a:lnTo>
                    <a:pt x="344" y="39"/>
                  </a:lnTo>
                  <a:lnTo>
                    <a:pt x="346" y="39"/>
                  </a:lnTo>
                  <a:lnTo>
                    <a:pt x="344" y="39"/>
                  </a:lnTo>
                  <a:lnTo>
                    <a:pt x="344" y="38"/>
                  </a:lnTo>
                  <a:lnTo>
                    <a:pt x="344" y="37"/>
                  </a:lnTo>
                  <a:lnTo>
                    <a:pt x="343" y="37"/>
                  </a:lnTo>
                  <a:lnTo>
                    <a:pt x="343" y="36"/>
                  </a:lnTo>
                  <a:lnTo>
                    <a:pt x="344" y="35"/>
                  </a:lnTo>
                  <a:lnTo>
                    <a:pt x="344" y="33"/>
                  </a:lnTo>
                  <a:lnTo>
                    <a:pt x="344" y="32"/>
                  </a:lnTo>
                  <a:lnTo>
                    <a:pt x="344" y="31"/>
                  </a:lnTo>
                  <a:lnTo>
                    <a:pt x="346" y="31"/>
                  </a:lnTo>
                  <a:lnTo>
                    <a:pt x="347" y="31"/>
                  </a:lnTo>
                  <a:lnTo>
                    <a:pt x="347" y="32"/>
                  </a:lnTo>
                  <a:lnTo>
                    <a:pt x="348" y="32"/>
                  </a:lnTo>
                  <a:lnTo>
                    <a:pt x="348" y="31"/>
                  </a:lnTo>
                  <a:lnTo>
                    <a:pt x="349" y="31"/>
                  </a:lnTo>
                  <a:lnTo>
                    <a:pt x="349" y="30"/>
                  </a:lnTo>
                  <a:lnTo>
                    <a:pt x="349" y="29"/>
                  </a:lnTo>
                  <a:lnTo>
                    <a:pt x="349" y="27"/>
                  </a:lnTo>
                  <a:lnTo>
                    <a:pt x="350" y="26"/>
                  </a:lnTo>
                  <a:lnTo>
                    <a:pt x="352" y="26"/>
                  </a:lnTo>
                  <a:lnTo>
                    <a:pt x="352" y="25"/>
                  </a:lnTo>
                  <a:lnTo>
                    <a:pt x="352" y="24"/>
                  </a:lnTo>
                  <a:lnTo>
                    <a:pt x="353" y="24"/>
                  </a:lnTo>
                  <a:lnTo>
                    <a:pt x="353" y="23"/>
                  </a:lnTo>
                  <a:lnTo>
                    <a:pt x="354" y="23"/>
                  </a:lnTo>
                  <a:lnTo>
                    <a:pt x="354" y="24"/>
                  </a:lnTo>
                  <a:lnTo>
                    <a:pt x="355" y="24"/>
                  </a:lnTo>
                  <a:lnTo>
                    <a:pt x="356" y="24"/>
                  </a:lnTo>
                  <a:lnTo>
                    <a:pt x="356" y="25"/>
                  </a:lnTo>
                  <a:lnTo>
                    <a:pt x="356" y="26"/>
                  </a:lnTo>
                  <a:lnTo>
                    <a:pt x="356" y="27"/>
                  </a:lnTo>
                  <a:lnTo>
                    <a:pt x="356" y="29"/>
                  </a:lnTo>
                  <a:lnTo>
                    <a:pt x="356" y="30"/>
                  </a:lnTo>
                  <a:lnTo>
                    <a:pt x="358" y="30"/>
                  </a:lnTo>
                  <a:lnTo>
                    <a:pt x="358" y="31"/>
                  </a:lnTo>
                  <a:lnTo>
                    <a:pt x="358" y="32"/>
                  </a:lnTo>
                  <a:lnTo>
                    <a:pt x="356" y="33"/>
                  </a:lnTo>
                  <a:lnTo>
                    <a:pt x="355" y="33"/>
                  </a:lnTo>
                  <a:lnTo>
                    <a:pt x="355" y="35"/>
                  </a:lnTo>
                  <a:lnTo>
                    <a:pt x="356" y="35"/>
                  </a:lnTo>
                  <a:lnTo>
                    <a:pt x="356" y="36"/>
                  </a:lnTo>
                  <a:lnTo>
                    <a:pt x="358" y="36"/>
                  </a:lnTo>
                  <a:lnTo>
                    <a:pt x="358" y="37"/>
                  </a:lnTo>
                  <a:lnTo>
                    <a:pt x="359" y="37"/>
                  </a:lnTo>
                  <a:lnTo>
                    <a:pt x="359" y="38"/>
                  </a:lnTo>
                  <a:lnTo>
                    <a:pt x="358" y="39"/>
                  </a:lnTo>
                  <a:lnTo>
                    <a:pt x="358" y="41"/>
                  </a:lnTo>
                  <a:lnTo>
                    <a:pt x="358" y="42"/>
                  </a:lnTo>
                  <a:lnTo>
                    <a:pt x="356" y="42"/>
                  </a:lnTo>
                  <a:lnTo>
                    <a:pt x="356" y="43"/>
                  </a:lnTo>
                  <a:lnTo>
                    <a:pt x="355" y="43"/>
                  </a:lnTo>
                  <a:lnTo>
                    <a:pt x="355" y="42"/>
                  </a:lnTo>
                  <a:lnTo>
                    <a:pt x="355" y="43"/>
                  </a:lnTo>
                  <a:lnTo>
                    <a:pt x="355" y="44"/>
                  </a:lnTo>
                  <a:lnTo>
                    <a:pt x="356" y="44"/>
                  </a:lnTo>
                  <a:lnTo>
                    <a:pt x="358" y="43"/>
                  </a:lnTo>
                  <a:lnTo>
                    <a:pt x="359" y="42"/>
                  </a:lnTo>
                  <a:lnTo>
                    <a:pt x="359" y="41"/>
                  </a:lnTo>
                  <a:lnTo>
                    <a:pt x="360" y="39"/>
                  </a:lnTo>
                  <a:lnTo>
                    <a:pt x="359" y="39"/>
                  </a:lnTo>
                  <a:lnTo>
                    <a:pt x="360" y="38"/>
                  </a:lnTo>
                  <a:lnTo>
                    <a:pt x="361" y="38"/>
                  </a:lnTo>
                  <a:lnTo>
                    <a:pt x="362" y="38"/>
                  </a:lnTo>
                  <a:lnTo>
                    <a:pt x="362" y="37"/>
                  </a:lnTo>
                  <a:lnTo>
                    <a:pt x="364" y="37"/>
                  </a:lnTo>
                  <a:lnTo>
                    <a:pt x="362" y="36"/>
                  </a:lnTo>
                  <a:lnTo>
                    <a:pt x="362" y="35"/>
                  </a:lnTo>
                  <a:lnTo>
                    <a:pt x="361" y="35"/>
                  </a:lnTo>
                  <a:lnTo>
                    <a:pt x="362" y="33"/>
                  </a:lnTo>
                  <a:lnTo>
                    <a:pt x="361" y="33"/>
                  </a:lnTo>
                  <a:lnTo>
                    <a:pt x="362" y="32"/>
                  </a:lnTo>
                  <a:lnTo>
                    <a:pt x="362" y="31"/>
                  </a:lnTo>
                  <a:lnTo>
                    <a:pt x="362" y="30"/>
                  </a:lnTo>
                  <a:lnTo>
                    <a:pt x="364" y="29"/>
                  </a:lnTo>
                  <a:lnTo>
                    <a:pt x="365" y="29"/>
                  </a:lnTo>
                  <a:lnTo>
                    <a:pt x="365" y="27"/>
                  </a:lnTo>
                  <a:lnTo>
                    <a:pt x="366" y="27"/>
                  </a:lnTo>
                  <a:lnTo>
                    <a:pt x="368" y="27"/>
                  </a:lnTo>
                  <a:lnTo>
                    <a:pt x="370" y="26"/>
                  </a:lnTo>
                  <a:lnTo>
                    <a:pt x="371" y="25"/>
                  </a:lnTo>
                  <a:lnTo>
                    <a:pt x="372" y="25"/>
                  </a:lnTo>
                  <a:lnTo>
                    <a:pt x="372" y="24"/>
                  </a:lnTo>
                  <a:lnTo>
                    <a:pt x="373" y="23"/>
                  </a:lnTo>
                  <a:lnTo>
                    <a:pt x="373" y="21"/>
                  </a:lnTo>
                  <a:lnTo>
                    <a:pt x="374" y="21"/>
                  </a:lnTo>
                  <a:lnTo>
                    <a:pt x="374" y="20"/>
                  </a:lnTo>
                  <a:lnTo>
                    <a:pt x="376" y="21"/>
                  </a:lnTo>
                  <a:lnTo>
                    <a:pt x="377" y="21"/>
                  </a:lnTo>
                  <a:lnTo>
                    <a:pt x="377" y="24"/>
                  </a:lnTo>
                  <a:lnTo>
                    <a:pt x="377" y="25"/>
                  </a:lnTo>
                  <a:lnTo>
                    <a:pt x="377" y="26"/>
                  </a:lnTo>
                  <a:lnTo>
                    <a:pt x="378" y="27"/>
                  </a:lnTo>
                  <a:lnTo>
                    <a:pt x="379" y="27"/>
                  </a:lnTo>
                  <a:lnTo>
                    <a:pt x="379" y="29"/>
                  </a:lnTo>
                  <a:lnTo>
                    <a:pt x="380" y="29"/>
                  </a:lnTo>
                  <a:lnTo>
                    <a:pt x="380" y="30"/>
                  </a:lnTo>
                  <a:lnTo>
                    <a:pt x="379" y="31"/>
                  </a:lnTo>
                  <a:lnTo>
                    <a:pt x="379" y="32"/>
                  </a:lnTo>
                  <a:lnTo>
                    <a:pt x="382" y="32"/>
                  </a:lnTo>
                  <a:lnTo>
                    <a:pt x="382" y="33"/>
                  </a:lnTo>
                  <a:lnTo>
                    <a:pt x="380" y="33"/>
                  </a:lnTo>
                  <a:lnTo>
                    <a:pt x="382" y="33"/>
                  </a:lnTo>
                  <a:lnTo>
                    <a:pt x="382" y="32"/>
                  </a:lnTo>
                  <a:lnTo>
                    <a:pt x="383" y="32"/>
                  </a:lnTo>
                  <a:lnTo>
                    <a:pt x="384" y="32"/>
                  </a:lnTo>
                  <a:lnTo>
                    <a:pt x="385" y="32"/>
                  </a:lnTo>
                  <a:lnTo>
                    <a:pt x="385" y="31"/>
                  </a:lnTo>
                  <a:lnTo>
                    <a:pt x="386" y="31"/>
                  </a:lnTo>
                  <a:lnTo>
                    <a:pt x="386" y="32"/>
                  </a:lnTo>
                  <a:lnTo>
                    <a:pt x="388" y="32"/>
                  </a:lnTo>
                  <a:lnTo>
                    <a:pt x="388" y="33"/>
                  </a:lnTo>
                  <a:lnTo>
                    <a:pt x="389" y="35"/>
                  </a:lnTo>
                  <a:lnTo>
                    <a:pt x="390" y="33"/>
                  </a:lnTo>
                  <a:lnTo>
                    <a:pt x="390" y="35"/>
                  </a:lnTo>
                  <a:lnTo>
                    <a:pt x="390" y="36"/>
                  </a:lnTo>
                  <a:lnTo>
                    <a:pt x="389" y="36"/>
                  </a:lnTo>
                  <a:lnTo>
                    <a:pt x="389" y="37"/>
                  </a:lnTo>
                  <a:lnTo>
                    <a:pt x="389" y="38"/>
                  </a:lnTo>
                  <a:lnTo>
                    <a:pt x="388" y="38"/>
                  </a:lnTo>
                  <a:lnTo>
                    <a:pt x="388" y="39"/>
                  </a:lnTo>
                  <a:lnTo>
                    <a:pt x="388" y="41"/>
                  </a:lnTo>
                  <a:lnTo>
                    <a:pt x="386" y="41"/>
                  </a:lnTo>
                  <a:lnTo>
                    <a:pt x="386" y="42"/>
                  </a:lnTo>
                  <a:lnTo>
                    <a:pt x="386" y="43"/>
                  </a:lnTo>
                  <a:lnTo>
                    <a:pt x="385" y="43"/>
                  </a:lnTo>
                  <a:lnTo>
                    <a:pt x="385" y="44"/>
                  </a:lnTo>
                  <a:lnTo>
                    <a:pt x="384" y="44"/>
                  </a:lnTo>
                  <a:lnTo>
                    <a:pt x="383" y="44"/>
                  </a:lnTo>
                  <a:lnTo>
                    <a:pt x="382" y="45"/>
                  </a:lnTo>
                  <a:lnTo>
                    <a:pt x="380" y="45"/>
                  </a:lnTo>
                  <a:lnTo>
                    <a:pt x="380" y="47"/>
                  </a:lnTo>
                  <a:lnTo>
                    <a:pt x="379" y="45"/>
                  </a:lnTo>
                  <a:lnTo>
                    <a:pt x="378" y="45"/>
                  </a:lnTo>
                  <a:lnTo>
                    <a:pt x="377" y="47"/>
                  </a:lnTo>
                  <a:lnTo>
                    <a:pt x="377" y="48"/>
                  </a:lnTo>
                  <a:lnTo>
                    <a:pt x="376" y="48"/>
                  </a:lnTo>
                  <a:lnTo>
                    <a:pt x="376" y="49"/>
                  </a:lnTo>
                  <a:lnTo>
                    <a:pt x="374" y="50"/>
                  </a:lnTo>
                  <a:lnTo>
                    <a:pt x="374" y="52"/>
                  </a:lnTo>
                  <a:lnTo>
                    <a:pt x="376" y="53"/>
                  </a:lnTo>
                  <a:lnTo>
                    <a:pt x="377" y="53"/>
                  </a:lnTo>
                  <a:lnTo>
                    <a:pt x="378" y="52"/>
                  </a:lnTo>
                  <a:lnTo>
                    <a:pt x="379" y="52"/>
                  </a:lnTo>
                  <a:lnTo>
                    <a:pt x="380" y="52"/>
                  </a:lnTo>
                  <a:lnTo>
                    <a:pt x="382" y="52"/>
                  </a:lnTo>
                  <a:lnTo>
                    <a:pt x="383" y="52"/>
                  </a:lnTo>
                  <a:lnTo>
                    <a:pt x="383" y="50"/>
                  </a:lnTo>
                  <a:lnTo>
                    <a:pt x="384" y="50"/>
                  </a:lnTo>
                  <a:lnTo>
                    <a:pt x="385" y="50"/>
                  </a:lnTo>
                  <a:lnTo>
                    <a:pt x="385" y="49"/>
                  </a:lnTo>
                  <a:lnTo>
                    <a:pt x="385" y="48"/>
                  </a:lnTo>
                  <a:lnTo>
                    <a:pt x="386" y="48"/>
                  </a:lnTo>
                  <a:lnTo>
                    <a:pt x="386" y="47"/>
                  </a:lnTo>
                  <a:lnTo>
                    <a:pt x="389" y="47"/>
                  </a:lnTo>
                  <a:lnTo>
                    <a:pt x="389" y="45"/>
                  </a:lnTo>
                  <a:lnTo>
                    <a:pt x="390" y="45"/>
                  </a:lnTo>
                  <a:lnTo>
                    <a:pt x="390" y="44"/>
                  </a:lnTo>
                  <a:lnTo>
                    <a:pt x="391" y="43"/>
                  </a:lnTo>
                  <a:lnTo>
                    <a:pt x="392" y="43"/>
                  </a:lnTo>
                  <a:lnTo>
                    <a:pt x="392" y="42"/>
                  </a:lnTo>
                  <a:lnTo>
                    <a:pt x="394" y="43"/>
                  </a:lnTo>
                  <a:lnTo>
                    <a:pt x="395" y="43"/>
                  </a:lnTo>
                  <a:lnTo>
                    <a:pt x="396" y="43"/>
                  </a:lnTo>
                  <a:lnTo>
                    <a:pt x="397" y="43"/>
                  </a:lnTo>
                  <a:lnTo>
                    <a:pt x="397" y="42"/>
                  </a:lnTo>
                  <a:lnTo>
                    <a:pt x="398" y="42"/>
                  </a:lnTo>
                  <a:lnTo>
                    <a:pt x="398" y="43"/>
                  </a:lnTo>
                  <a:lnTo>
                    <a:pt x="400" y="43"/>
                  </a:lnTo>
                  <a:lnTo>
                    <a:pt x="401" y="44"/>
                  </a:lnTo>
                  <a:lnTo>
                    <a:pt x="401" y="45"/>
                  </a:lnTo>
                  <a:lnTo>
                    <a:pt x="401" y="47"/>
                  </a:lnTo>
                  <a:lnTo>
                    <a:pt x="401" y="49"/>
                  </a:lnTo>
                  <a:lnTo>
                    <a:pt x="402" y="49"/>
                  </a:lnTo>
                  <a:lnTo>
                    <a:pt x="403" y="49"/>
                  </a:lnTo>
                  <a:lnTo>
                    <a:pt x="403" y="48"/>
                  </a:lnTo>
                  <a:lnTo>
                    <a:pt x="405" y="48"/>
                  </a:lnTo>
                  <a:lnTo>
                    <a:pt x="405" y="47"/>
                  </a:lnTo>
                  <a:lnTo>
                    <a:pt x="406" y="47"/>
                  </a:lnTo>
                  <a:lnTo>
                    <a:pt x="406" y="45"/>
                  </a:lnTo>
                  <a:lnTo>
                    <a:pt x="406" y="44"/>
                  </a:lnTo>
                  <a:lnTo>
                    <a:pt x="407" y="44"/>
                  </a:lnTo>
                  <a:lnTo>
                    <a:pt x="408" y="44"/>
                  </a:lnTo>
                  <a:lnTo>
                    <a:pt x="408" y="45"/>
                  </a:lnTo>
                  <a:lnTo>
                    <a:pt x="408" y="47"/>
                  </a:lnTo>
                  <a:lnTo>
                    <a:pt x="408" y="48"/>
                  </a:lnTo>
                  <a:lnTo>
                    <a:pt x="408" y="49"/>
                  </a:lnTo>
                  <a:lnTo>
                    <a:pt x="408" y="50"/>
                  </a:lnTo>
                  <a:lnTo>
                    <a:pt x="407" y="50"/>
                  </a:lnTo>
                  <a:lnTo>
                    <a:pt x="407" y="52"/>
                  </a:lnTo>
                  <a:lnTo>
                    <a:pt x="407" y="53"/>
                  </a:lnTo>
                  <a:lnTo>
                    <a:pt x="408" y="54"/>
                  </a:lnTo>
                  <a:lnTo>
                    <a:pt x="409" y="54"/>
                  </a:lnTo>
                  <a:lnTo>
                    <a:pt x="409" y="56"/>
                  </a:lnTo>
                  <a:lnTo>
                    <a:pt x="408" y="56"/>
                  </a:lnTo>
                  <a:lnTo>
                    <a:pt x="408" y="58"/>
                  </a:lnTo>
                  <a:lnTo>
                    <a:pt x="407" y="59"/>
                  </a:lnTo>
                  <a:lnTo>
                    <a:pt x="406" y="59"/>
                  </a:lnTo>
                  <a:lnTo>
                    <a:pt x="406" y="60"/>
                  </a:lnTo>
                  <a:lnTo>
                    <a:pt x="405" y="61"/>
                  </a:lnTo>
                  <a:lnTo>
                    <a:pt x="405" y="62"/>
                  </a:lnTo>
                  <a:lnTo>
                    <a:pt x="405" y="61"/>
                  </a:lnTo>
                  <a:lnTo>
                    <a:pt x="406" y="61"/>
                  </a:lnTo>
                  <a:lnTo>
                    <a:pt x="406" y="64"/>
                  </a:lnTo>
                  <a:lnTo>
                    <a:pt x="406" y="65"/>
                  </a:lnTo>
                  <a:lnTo>
                    <a:pt x="405" y="66"/>
                  </a:lnTo>
                  <a:lnTo>
                    <a:pt x="403" y="66"/>
                  </a:lnTo>
                  <a:lnTo>
                    <a:pt x="403" y="67"/>
                  </a:lnTo>
                  <a:lnTo>
                    <a:pt x="402" y="67"/>
                  </a:lnTo>
                  <a:lnTo>
                    <a:pt x="402" y="66"/>
                  </a:lnTo>
                  <a:lnTo>
                    <a:pt x="401" y="67"/>
                  </a:lnTo>
                  <a:lnTo>
                    <a:pt x="401" y="68"/>
                  </a:lnTo>
                  <a:lnTo>
                    <a:pt x="400" y="68"/>
                  </a:lnTo>
                  <a:lnTo>
                    <a:pt x="398" y="68"/>
                  </a:lnTo>
                  <a:lnTo>
                    <a:pt x="397" y="68"/>
                  </a:lnTo>
                  <a:lnTo>
                    <a:pt x="397" y="71"/>
                  </a:lnTo>
                  <a:lnTo>
                    <a:pt x="398" y="71"/>
                  </a:lnTo>
                  <a:lnTo>
                    <a:pt x="398" y="70"/>
                  </a:lnTo>
                  <a:lnTo>
                    <a:pt x="400" y="70"/>
                  </a:lnTo>
                  <a:lnTo>
                    <a:pt x="400" y="68"/>
                  </a:lnTo>
                  <a:lnTo>
                    <a:pt x="401" y="68"/>
                  </a:lnTo>
                  <a:lnTo>
                    <a:pt x="402" y="70"/>
                  </a:lnTo>
                  <a:lnTo>
                    <a:pt x="403" y="70"/>
                  </a:lnTo>
                  <a:lnTo>
                    <a:pt x="403" y="68"/>
                  </a:lnTo>
                  <a:lnTo>
                    <a:pt x="403" y="70"/>
                  </a:lnTo>
                  <a:lnTo>
                    <a:pt x="405" y="70"/>
                  </a:lnTo>
                  <a:lnTo>
                    <a:pt x="405" y="72"/>
                  </a:lnTo>
                  <a:lnTo>
                    <a:pt x="403" y="72"/>
                  </a:lnTo>
                  <a:lnTo>
                    <a:pt x="403" y="73"/>
                  </a:lnTo>
                  <a:lnTo>
                    <a:pt x="402" y="73"/>
                  </a:lnTo>
                  <a:lnTo>
                    <a:pt x="401" y="74"/>
                  </a:lnTo>
                  <a:lnTo>
                    <a:pt x="401" y="76"/>
                  </a:lnTo>
                  <a:lnTo>
                    <a:pt x="400" y="76"/>
                  </a:lnTo>
                  <a:lnTo>
                    <a:pt x="398" y="76"/>
                  </a:lnTo>
                  <a:lnTo>
                    <a:pt x="397" y="76"/>
                  </a:lnTo>
                  <a:lnTo>
                    <a:pt x="396" y="77"/>
                  </a:lnTo>
                  <a:lnTo>
                    <a:pt x="394" y="77"/>
                  </a:lnTo>
                  <a:lnTo>
                    <a:pt x="392" y="76"/>
                  </a:lnTo>
                  <a:lnTo>
                    <a:pt x="391" y="76"/>
                  </a:lnTo>
                  <a:lnTo>
                    <a:pt x="391" y="74"/>
                  </a:lnTo>
                  <a:lnTo>
                    <a:pt x="391" y="73"/>
                  </a:lnTo>
                  <a:lnTo>
                    <a:pt x="391" y="74"/>
                  </a:lnTo>
                  <a:lnTo>
                    <a:pt x="390" y="73"/>
                  </a:lnTo>
                  <a:lnTo>
                    <a:pt x="390" y="74"/>
                  </a:lnTo>
                  <a:lnTo>
                    <a:pt x="391" y="74"/>
                  </a:lnTo>
                  <a:lnTo>
                    <a:pt x="391" y="76"/>
                  </a:lnTo>
                  <a:lnTo>
                    <a:pt x="390" y="76"/>
                  </a:lnTo>
                  <a:lnTo>
                    <a:pt x="390" y="77"/>
                  </a:lnTo>
                  <a:lnTo>
                    <a:pt x="389" y="77"/>
                  </a:lnTo>
                  <a:lnTo>
                    <a:pt x="388" y="78"/>
                  </a:lnTo>
                  <a:lnTo>
                    <a:pt x="386" y="77"/>
                  </a:lnTo>
                  <a:lnTo>
                    <a:pt x="385" y="77"/>
                  </a:lnTo>
                  <a:lnTo>
                    <a:pt x="385" y="76"/>
                  </a:lnTo>
                  <a:lnTo>
                    <a:pt x="385" y="74"/>
                  </a:lnTo>
                  <a:lnTo>
                    <a:pt x="385" y="73"/>
                  </a:lnTo>
                  <a:lnTo>
                    <a:pt x="384" y="72"/>
                  </a:lnTo>
                  <a:lnTo>
                    <a:pt x="384" y="73"/>
                  </a:lnTo>
                  <a:lnTo>
                    <a:pt x="383" y="73"/>
                  </a:lnTo>
                  <a:lnTo>
                    <a:pt x="382" y="74"/>
                  </a:lnTo>
                  <a:lnTo>
                    <a:pt x="380" y="76"/>
                  </a:lnTo>
                  <a:lnTo>
                    <a:pt x="379" y="77"/>
                  </a:lnTo>
                  <a:lnTo>
                    <a:pt x="379" y="78"/>
                  </a:lnTo>
                  <a:lnTo>
                    <a:pt x="380" y="78"/>
                  </a:lnTo>
                  <a:lnTo>
                    <a:pt x="380" y="79"/>
                  </a:lnTo>
                  <a:lnTo>
                    <a:pt x="378" y="78"/>
                  </a:lnTo>
                  <a:lnTo>
                    <a:pt x="379" y="79"/>
                  </a:lnTo>
                  <a:lnTo>
                    <a:pt x="380" y="79"/>
                  </a:lnTo>
                  <a:lnTo>
                    <a:pt x="380" y="80"/>
                  </a:lnTo>
                  <a:lnTo>
                    <a:pt x="382" y="80"/>
                  </a:lnTo>
                  <a:lnTo>
                    <a:pt x="382" y="82"/>
                  </a:lnTo>
                  <a:lnTo>
                    <a:pt x="383" y="82"/>
                  </a:lnTo>
                  <a:lnTo>
                    <a:pt x="383" y="80"/>
                  </a:lnTo>
                  <a:lnTo>
                    <a:pt x="384" y="82"/>
                  </a:lnTo>
                  <a:lnTo>
                    <a:pt x="384" y="83"/>
                  </a:lnTo>
                  <a:lnTo>
                    <a:pt x="386" y="83"/>
                  </a:lnTo>
                  <a:lnTo>
                    <a:pt x="388" y="82"/>
                  </a:lnTo>
                  <a:lnTo>
                    <a:pt x="388" y="83"/>
                  </a:lnTo>
                  <a:lnTo>
                    <a:pt x="389" y="83"/>
                  </a:lnTo>
                  <a:lnTo>
                    <a:pt x="389" y="84"/>
                  </a:lnTo>
                  <a:lnTo>
                    <a:pt x="389" y="85"/>
                  </a:lnTo>
                  <a:lnTo>
                    <a:pt x="388" y="85"/>
                  </a:lnTo>
                  <a:lnTo>
                    <a:pt x="386" y="86"/>
                  </a:lnTo>
                  <a:lnTo>
                    <a:pt x="385" y="86"/>
                  </a:lnTo>
                  <a:lnTo>
                    <a:pt x="385" y="88"/>
                  </a:lnTo>
                  <a:lnTo>
                    <a:pt x="384" y="86"/>
                  </a:lnTo>
                  <a:lnTo>
                    <a:pt x="383" y="86"/>
                  </a:lnTo>
                  <a:lnTo>
                    <a:pt x="383" y="85"/>
                  </a:lnTo>
                  <a:lnTo>
                    <a:pt x="383" y="84"/>
                  </a:lnTo>
                  <a:lnTo>
                    <a:pt x="382" y="83"/>
                  </a:lnTo>
                  <a:lnTo>
                    <a:pt x="382" y="82"/>
                  </a:lnTo>
                  <a:lnTo>
                    <a:pt x="380" y="82"/>
                  </a:lnTo>
                  <a:lnTo>
                    <a:pt x="379" y="80"/>
                  </a:lnTo>
                  <a:lnTo>
                    <a:pt x="378" y="82"/>
                  </a:lnTo>
                  <a:lnTo>
                    <a:pt x="380" y="82"/>
                  </a:lnTo>
                  <a:lnTo>
                    <a:pt x="380" y="83"/>
                  </a:lnTo>
                  <a:lnTo>
                    <a:pt x="379" y="84"/>
                  </a:lnTo>
                  <a:lnTo>
                    <a:pt x="378" y="84"/>
                  </a:lnTo>
                  <a:lnTo>
                    <a:pt x="378" y="85"/>
                  </a:lnTo>
                  <a:lnTo>
                    <a:pt x="378" y="86"/>
                  </a:lnTo>
                  <a:lnTo>
                    <a:pt x="379" y="88"/>
                  </a:lnTo>
                  <a:lnTo>
                    <a:pt x="380" y="88"/>
                  </a:lnTo>
                  <a:lnTo>
                    <a:pt x="382" y="86"/>
                  </a:lnTo>
                  <a:lnTo>
                    <a:pt x="383" y="86"/>
                  </a:lnTo>
                  <a:lnTo>
                    <a:pt x="383" y="88"/>
                  </a:lnTo>
                  <a:lnTo>
                    <a:pt x="383" y="89"/>
                  </a:lnTo>
                  <a:lnTo>
                    <a:pt x="383" y="90"/>
                  </a:lnTo>
                  <a:lnTo>
                    <a:pt x="383" y="91"/>
                  </a:lnTo>
                  <a:lnTo>
                    <a:pt x="384" y="91"/>
                  </a:lnTo>
                  <a:lnTo>
                    <a:pt x="385" y="91"/>
                  </a:lnTo>
                  <a:lnTo>
                    <a:pt x="386" y="91"/>
                  </a:lnTo>
                  <a:lnTo>
                    <a:pt x="386" y="90"/>
                  </a:lnTo>
                  <a:lnTo>
                    <a:pt x="388" y="90"/>
                  </a:lnTo>
                  <a:lnTo>
                    <a:pt x="388" y="89"/>
                  </a:lnTo>
                  <a:lnTo>
                    <a:pt x="389" y="89"/>
                  </a:lnTo>
                  <a:lnTo>
                    <a:pt x="390" y="90"/>
                  </a:lnTo>
                  <a:lnTo>
                    <a:pt x="391" y="92"/>
                  </a:lnTo>
                  <a:lnTo>
                    <a:pt x="392" y="92"/>
                  </a:lnTo>
                  <a:lnTo>
                    <a:pt x="394" y="92"/>
                  </a:lnTo>
                  <a:lnTo>
                    <a:pt x="394" y="94"/>
                  </a:lnTo>
                  <a:lnTo>
                    <a:pt x="395" y="95"/>
                  </a:lnTo>
                  <a:lnTo>
                    <a:pt x="396" y="95"/>
                  </a:lnTo>
                  <a:lnTo>
                    <a:pt x="397" y="95"/>
                  </a:lnTo>
                  <a:lnTo>
                    <a:pt x="398" y="95"/>
                  </a:lnTo>
                  <a:lnTo>
                    <a:pt x="401" y="95"/>
                  </a:lnTo>
                  <a:lnTo>
                    <a:pt x="402" y="96"/>
                  </a:lnTo>
                  <a:lnTo>
                    <a:pt x="403" y="96"/>
                  </a:lnTo>
                  <a:lnTo>
                    <a:pt x="405" y="96"/>
                  </a:lnTo>
                  <a:lnTo>
                    <a:pt x="406" y="96"/>
                  </a:lnTo>
                  <a:lnTo>
                    <a:pt x="406" y="97"/>
                  </a:lnTo>
                  <a:lnTo>
                    <a:pt x="406" y="98"/>
                  </a:lnTo>
                  <a:lnTo>
                    <a:pt x="406" y="102"/>
                  </a:lnTo>
                  <a:lnTo>
                    <a:pt x="406" y="104"/>
                  </a:lnTo>
                  <a:lnTo>
                    <a:pt x="407" y="106"/>
                  </a:lnTo>
                  <a:lnTo>
                    <a:pt x="408" y="106"/>
                  </a:lnTo>
                  <a:lnTo>
                    <a:pt x="408" y="104"/>
                  </a:lnTo>
                  <a:lnTo>
                    <a:pt x="409" y="104"/>
                  </a:lnTo>
                  <a:lnTo>
                    <a:pt x="409" y="103"/>
                  </a:lnTo>
                  <a:lnTo>
                    <a:pt x="408" y="103"/>
                  </a:lnTo>
                  <a:lnTo>
                    <a:pt x="409" y="102"/>
                  </a:lnTo>
                  <a:lnTo>
                    <a:pt x="409" y="100"/>
                  </a:lnTo>
                  <a:lnTo>
                    <a:pt x="411" y="100"/>
                  </a:lnTo>
                  <a:lnTo>
                    <a:pt x="411" y="98"/>
                  </a:lnTo>
                  <a:lnTo>
                    <a:pt x="412" y="98"/>
                  </a:lnTo>
                  <a:lnTo>
                    <a:pt x="413" y="98"/>
                  </a:lnTo>
                  <a:lnTo>
                    <a:pt x="413" y="100"/>
                  </a:lnTo>
                  <a:lnTo>
                    <a:pt x="413" y="101"/>
                  </a:lnTo>
                  <a:lnTo>
                    <a:pt x="414" y="102"/>
                  </a:lnTo>
                  <a:lnTo>
                    <a:pt x="415" y="102"/>
                  </a:lnTo>
                  <a:lnTo>
                    <a:pt x="417" y="101"/>
                  </a:lnTo>
                  <a:lnTo>
                    <a:pt x="417" y="100"/>
                  </a:lnTo>
                  <a:lnTo>
                    <a:pt x="417" y="98"/>
                  </a:lnTo>
                  <a:lnTo>
                    <a:pt x="417" y="97"/>
                  </a:lnTo>
                  <a:lnTo>
                    <a:pt x="418" y="97"/>
                  </a:lnTo>
                  <a:lnTo>
                    <a:pt x="419" y="97"/>
                  </a:lnTo>
                  <a:lnTo>
                    <a:pt x="420" y="97"/>
                  </a:lnTo>
                  <a:lnTo>
                    <a:pt x="421" y="97"/>
                  </a:lnTo>
                  <a:lnTo>
                    <a:pt x="423" y="96"/>
                  </a:lnTo>
                  <a:lnTo>
                    <a:pt x="423" y="95"/>
                  </a:lnTo>
                  <a:lnTo>
                    <a:pt x="424" y="96"/>
                  </a:lnTo>
                  <a:lnTo>
                    <a:pt x="425" y="96"/>
                  </a:lnTo>
                  <a:lnTo>
                    <a:pt x="425" y="97"/>
                  </a:lnTo>
                  <a:lnTo>
                    <a:pt x="425" y="98"/>
                  </a:lnTo>
                  <a:lnTo>
                    <a:pt x="425" y="100"/>
                  </a:lnTo>
                  <a:lnTo>
                    <a:pt x="424" y="100"/>
                  </a:lnTo>
                  <a:lnTo>
                    <a:pt x="424" y="101"/>
                  </a:lnTo>
                  <a:lnTo>
                    <a:pt x="424" y="102"/>
                  </a:lnTo>
                  <a:lnTo>
                    <a:pt x="424" y="103"/>
                  </a:lnTo>
                  <a:lnTo>
                    <a:pt x="423" y="104"/>
                  </a:lnTo>
                  <a:lnTo>
                    <a:pt x="423" y="106"/>
                  </a:lnTo>
                  <a:lnTo>
                    <a:pt x="421" y="106"/>
                  </a:lnTo>
                  <a:lnTo>
                    <a:pt x="420" y="107"/>
                  </a:lnTo>
                  <a:lnTo>
                    <a:pt x="420" y="109"/>
                  </a:lnTo>
                  <a:lnTo>
                    <a:pt x="420" y="110"/>
                  </a:lnTo>
                  <a:lnTo>
                    <a:pt x="421" y="112"/>
                  </a:lnTo>
                  <a:lnTo>
                    <a:pt x="423" y="112"/>
                  </a:lnTo>
                  <a:lnTo>
                    <a:pt x="424" y="110"/>
                  </a:lnTo>
                  <a:lnTo>
                    <a:pt x="424" y="109"/>
                  </a:lnTo>
                  <a:lnTo>
                    <a:pt x="424" y="108"/>
                  </a:lnTo>
                  <a:lnTo>
                    <a:pt x="425" y="108"/>
                  </a:lnTo>
                  <a:lnTo>
                    <a:pt x="426" y="108"/>
                  </a:lnTo>
                  <a:lnTo>
                    <a:pt x="427" y="108"/>
                  </a:lnTo>
                  <a:lnTo>
                    <a:pt x="427" y="109"/>
                  </a:lnTo>
                  <a:lnTo>
                    <a:pt x="427" y="110"/>
                  </a:lnTo>
                  <a:lnTo>
                    <a:pt x="427" y="112"/>
                  </a:lnTo>
                  <a:lnTo>
                    <a:pt x="427" y="113"/>
                  </a:lnTo>
                  <a:lnTo>
                    <a:pt x="426" y="114"/>
                  </a:lnTo>
                  <a:lnTo>
                    <a:pt x="425" y="115"/>
                  </a:lnTo>
                  <a:lnTo>
                    <a:pt x="425" y="116"/>
                  </a:lnTo>
                  <a:lnTo>
                    <a:pt x="425" y="118"/>
                  </a:lnTo>
                  <a:lnTo>
                    <a:pt x="424" y="119"/>
                  </a:lnTo>
                  <a:lnTo>
                    <a:pt x="423" y="119"/>
                  </a:lnTo>
                  <a:lnTo>
                    <a:pt x="421" y="119"/>
                  </a:lnTo>
                  <a:lnTo>
                    <a:pt x="420" y="120"/>
                  </a:lnTo>
                  <a:lnTo>
                    <a:pt x="421" y="120"/>
                  </a:lnTo>
                  <a:lnTo>
                    <a:pt x="421" y="121"/>
                  </a:lnTo>
                  <a:lnTo>
                    <a:pt x="423" y="121"/>
                  </a:lnTo>
                  <a:lnTo>
                    <a:pt x="424" y="121"/>
                  </a:lnTo>
                  <a:lnTo>
                    <a:pt x="425" y="121"/>
                  </a:lnTo>
                  <a:lnTo>
                    <a:pt x="427" y="121"/>
                  </a:lnTo>
                  <a:lnTo>
                    <a:pt x="429" y="121"/>
                  </a:lnTo>
                  <a:lnTo>
                    <a:pt x="429" y="122"/>
                  </a:lnTo>
                  <a:lnTo>
                    <a:pt x="427" y="124"/>
                  </a:lnTo>
                  <a:lnTo>
                    <a:pt x="429" y="124"/>
                  </a:lnTo>
                  <a:lnTo>
                    <a:pt x="430" y="125"/>
                  </a:lnTo>
                  <a:lnTo>
                    <a:pt x="430" y="124"/>
                  </a:lnTo>
                  <a:lnTo>
                    <a:pt x="431" y="124"/>
                  </a:lnTo>
                  <a:lnTo>
                    <a:pt x="431" y="122"/>
                  </a:lnTo>
                  <a:lnTo>
                    <a:pt x="432" y="122"/>
                  </a:lnTo>
                  <a:lnTo>
                    <a:pt x="433" y="122"/>
                  </a:lnTo>
                  <a:lnTo>
                    <a:pt x="435" y="122"/>
                  </a:lnTo>
                  <a:lnTo>
                    <a:pt x="436" y="122"/>
                  </a:lnTo>
                  <a:lnTo>
                    <a:pt x="436" y="124"/>
                  </a:lnTo>
                  <a:lnTo>
                    <a:pt x="435" y="126"/>
                  </a:lnTo>
                  <a:lnTo>
                    <a:pt x="436" y="126"/>
                  </a:lnTo>
                  <a:lnTo>
                    <a:pt x="437" y="126"/>
                  </a:lnTo>
                  <a:lnTo>
                    <a:pt x="437" y="128"/>
                  </a:lnTo>
                  <a:lnTo>
                    <a:pt x="438" y="128"/>
                  </a:lnTo>
                  <a:lnTo>
                    <a:pt x="439" y="128"/>
                  </a:lnTo>
                  <a:lnTo>
                    <a:pt x="442" y="127"/>
                  </a:lnTo>
                  <a:lnTo>
                    <a:pt x="443" y="127"/>
                  </a:lnTo>
                  <a:lnTo>
                    <a:pt x="443" y="128"/>
                  </a:lnTo>
                  <a:lnTo>
                    <a:pt x="443" y="130"/>
                  </a:lnTo>
                  <a:lnTo>
                    <a:pt x="442" y="130"/>
                  </a:lnTo>
                  <a:lnTo>
                    <a:pt x="442" y="131"/>
                  </a:lnTo>
                  <a:lnTo>
                    <a:pt x="441" y="133"/>
                  </a:lnTo>
                  <a:lnTo>
                    <a:pt x="442" y="133"/>
                  </a:lnTo>
                  <a:lnTo>
                    <a:pt x="442" y="134"/>
                  </a:lnTo>
                  <a:lnTo>
                    <a:pt x="443" y="134"/>
                  </a:lnTo>
                  <a:lnTo>
                    <a:pt x="443" y="133"/>
                  </a:lnTo>
                  <a:lnTo>
                    <a:pt x="444" y="133"/>
                  </a:lnTo>
                  <a:lnTo>
                    <a:pt x="444" y="132"/>
                  </a:lnTo>
                  <a:lnTo>
                    <a:pt x="445" y="132"/>
                  </a:lnTo>
                  <a:lnTo>
                    <a:pt x="447" y="132"/>
                  </a:lnTo>
                  <a:lnTo>
                    <a:pt x="448" y="132"/>
                  </a:lnTo>
                  <a:lnTo>
                    <a:pt x="449" y="132"/>
                  </a:lnTo>
                  <a:lnTo>
                    <a:pt x="449" y="131"/>
                  </a:lnTo>
                  <a:lnTo>
                    <a:pt x="450" y="131"/>
                  </a:lnTo>
                  <a:lnTo>
                    <a:pt x="451" y="131"/>
                  </a:lnTo>
                  <a:lnTo>
                    <a:pt x="451" y="132"/>
                  </a:lnTo>
                  <a:lnTo>
                    <a:pt x="451" y="133"/>
                  </a:lnTo>
                  <a:lnTo>
                    <a:pt x="451" y="134"/>
                  </a:lnTo>
                  <a:lnTo>
                    <a:pt x="453" y="133"/>
                  </a:lnTo>
                  <a:lnTo>
                    <a:pt x="454" y="133"/>
                  </a:lnTo>
                  <a:lnTo>
                    <a:pt x="455" y="134"/>
                  </a:lnTo>
                  <a:lnTo>
                    <a:pt x="455" y="133"/>
                  </a:lnTo>
                  <a:lnTo>
                    <a:pt x="455" y="134"/>
                  </a:lnTo>
                  <a:lnTo>
                    <a:pt x="456" y="134"/>
                  </a:lnTo>
                  <a:lnTo>
                    <a:pt x="457" y="134"/>
                  </a:lnTo>
                  <a:lnTo>
                    <a:pt x="459" y="134"/>
                  </a:lnTo>
                  <a:lnTo>
                    <a:pt x="459" y="133"/>
                  </a:lnTo>
                  <a:lnTo>
                    <a:pt x="460" y="133"/>
                  </a:lnTo>
                  <a:lnTo>
                    <a:pt x="461" y="134"/>
                  </a:lnTo>
                  <a:lnTo>
                    <a:pt x="461" y="136"/>
                  </a:lnTo>
                  <a:lnTo>
                    <a:pt x="460" y="136"/>
                  </a:lnTo>
                  <a:lnTo>
                    <a:pt x="460" y="137"/>
                  </a:lnTo>
                  <a:lnTo>
                    <a:pt x="460" y="138"/>
                  </a:lnTo>
                  <a:lnTo>
                    <a:pt x="460" y="139"/>
                  </a:lnTo>
                  <a:lnTo>
                    <a:pt x="459" y="139"/>
                  </a:lnTo>
                  <a:lnTo>
                    <a:pt x="457" y="139"/>
                  </a:lnTo>
                  <a:lnTo>
                    <a:pt x="457" y="140"/>
                  </a:lnTo>
                  <a:lnTo>
                    <a:pt x="456" y="140"/>
                  </a:lnTo>
                  <a:lnTo>
                    <a:pt x="456" y="142"/>
                  </a:lnTo>
                  <a:lnTo>
                    <a:pt x="456" y="143"/>
                  </a:lnTo>
                  <a:lnTo>
                    <a:pt x="457" y="143"/>
                  </a:lnTo>
                  <a:lnTo>
                    <a:pt x="459" y="143"/>
                  </a:lnTo>
                  <a:lnTo>
                    <a:pt x="459" y="142"/>
                  </a:lnTo>
                  <a:lnTo>
                    <a:pt x="461" y="142"/>
                  </a:lnTo>
                  <a:lnTo>
                    <a:pt x="462" y="142"/>
                  </a:lnTo>
                  <a:lnTo>
                    <a:pt x="462" y="140"/>
                  </a:lnTo>
                  <a:lnTo>
                    <a:pt x="462" y="139"/>
                  </a:lnTo>
                  <a:lnTo>
                    <a:pt x="464" y="139"/>
                  </a:lnTo>
                  <a:lnTo>
                    <a:pt x="464" y="138"/>
                  </a:lnTo>
                  <a:lnTo>
                    <a:pt x="465" y="138"/>
                  </a:lnTo>
                  <a:lnTo>
                    <a:pt x="465" y="139"/>
                  </a:lnTo>
                  <a:lnTo>
                    <a:pt x="465" y="138"/>
                  </a:lnTo>
                  <a:lnTo>
                    <a:pt x="466" y="138"/>
                  </a:lnTo>
                  <a:lnTo>
                    <a:pt x="467" y="138"/>
                  </a:lnTo>
                  <a:lnTo>
                    <a:pt x="467" y="137"/>
                  </a:lnTo>
                  <a:lnTo>
                    <a:pt x="468" y="136"/>
                  </a:lnTo>
                  <a:lnTo>
                    <a:pt x="468" y="137"/>
                  </a:lnTo>
                  <a:lnTo>
                    <a:pt x="470" y="137"/>
                  </a:lnTo>
                  <a:lnTo>
                    <a:pt x="468" y="138"/>
                  </a:lnTo>
                  <a:lnTo>
                    <a:pt x="468" y="142"/>
                  </a:lnTo>
                  <a:lnTo>
                    <a:pt x="470" y="140"/>
                  </a:lnTo>
                  <a:lnTo>
                    <a:pt x="471" y="142"/>
                  </a:lnTo>
                  <a:lnTo>
                    <a:pt x="471" y="140"/>
                  </a:lnTo>
                  <a:lnTo>
                    <a:pt x="472" y="139"/>
                  </a:lnTo>
                  <a:lnTo>
                    <a:pt x="473" y="139"/>
                  </a:lnTo>
                  <a:lnTo>
                    <a:pt x="473" y="140"/>
                  </a:lnTo>
                  <a:lnTo>
                    <a:pt x="473" y="142"/>
                  </a:lnTo>
                  <a:lnTo>
                    <a:pt x="472" y="143"/>
                  </a:lnTo>
                  <a:lnTo>
                    <a:pt x="471" y="143"/>
                  </a:lnTo>
                  <a:lnTo>
                    <a:pt x="471" y="144"/>
                  </a:lnTo>
                  <a:lnTo>
                    <a:pt x="471" y="145"/>
                  </a:lnTo>
                  <a:lnTo>
                    <a:pt x="471" y="146"/>
                  </a:lnTo>
                  <a:lnTo>
                    <a:pt x="470" y="146"/>
                  </a:lnTo>
                  <a:lnTo>
                    <a:pt x="467" y="146"/>
                  </a:lnTo>
                  <a:lnTo>
                    <a:pt x="468" y="148"/>
                  </a:lnTo>
                  <a:lnTo>
                    <a:pt x="467" y="146"/>
                  </a:lnTo>
                  <a:lnTo>
                    <a:pt x="466" y="146"/>
                  </a:lnTo>
                  <a:lnTo>
                    <a:pt x="467" y="148"/>
                  </a:lnTo>
                  <a:lnTo>
                    <a:pt x="468" y="148"/>
                  </a:lnTo>
                  <a:lnTo>
                    <a:pt x="467" y="149"/>
                  </a:lnTo>
                  <a:lnTo>
                    <a:pt x="466" y="149"/>
                  </a:lnTo>
                  <a:lnTo>
                    <a:pt x="465" y="149"/>
                  </a:lnTo>
                  <a:lnTo>
                    <a:pt x="464" y="150"/>
                  </a:lnTo>
                  <a:lnTo>
                    <a:pt x="462" y="150"/>
                  </a:lnTo>
                  <a:lnTo>
                    <a:pt x="461" y="150"/>
                  </a:lnTo>
                  <a:lnTo>
                    <a:pt x="460" y="150"/>
                  </a:lnTo>
                  <a:lnTo>
                    <a:pt x="460" y="149"/>
                  </a:lnTo>
                  <a:lnTo>
                    <a:pt x="457" y="150"/>
                  </a:lnTo>
                  <a:lnTo>
                    <a:pt x="459" y="151"/>
                  </a:lnTo>
                  <a:lnTo>
                    <a:pt x="459" y="152"/>
                  </a:lnTo>
                  <a:lnTo>
                    <a:pt x="457" y="152"/>
                  </a:lnTo>
                  <a:lnTo>
                    <a:pt x="456" y="154"/>
                  </a:lnTo>
                  <a:lnTo>
                    <a:pt x="455" y="154"/>
                  </a:lnTo>
                  <a:lnTo>
                    <a:pt x="455" y="155"/>
                  </a:lnTo>
                  <a:lnTo>
                    <a:pt x="454" y="155"/>
                  </a:lnTo>
                  <a:lnTo>
                    <a:pt x="454" y="156"/>
                  </a:lnTo>
                  <a:lnTo>
                    <a:pt x="453" y="156"/>
                  </a:lnTo>
                  <a:lnTo>
                    <a:pt x="453" y="157"/>
                  </a:lnTo>
                  <a:lnTo>
                    <a:pt x="451" y="157"/>
                  </a:lnTo>
                  <a:lnTo>
                    <a:pt x="450" y="159"/>
                  </a:lnTo>
                  <a:lnTo>
                    <a:pt x="449" y="160"/>
                  </a:lnTo>
                  <a:lnTo>
                    <a:pt x="448" y="160"/>
                  </a:lnTo>
                  <a:lnTo>
                    <a:pt x="449" y="160"/>
                  </a:lnTo>
                  <a:lnTo>
                    <a:pt x="451" y="160"/>
                  </a:lnTo>
                  <a:lnTo>
                    <a:pt x="453" y="160"/>
                  </a:lnTo>
                  <a:lnTo>
                    <a:pt x="454" y="160"/>
                  </a:lnTo>
                  <a:lnTo>
                    <a:pt x="455" y="160"/>
                  </a:lnTo>
                  <a:lnTo>
                    <a:pt x="455" y="161"/>
                  </a:lnTo>
                  <a:lnTo>
                    <a:pt x="456" y="161"/>
                  </a:lnTo>
                  <a:lnTo>
                    <a:pt x="456" y="162"/>
                  </a:lnTo>
                  <a:lnTo>
                    <a:pt x="457" y="163"/>
                  </a:lnTo>
                  <a:lnTo>
                    <a:pt x="457" y="162"/>
                  </a:lnTo>
                  <a:lnTo>
                    <a:pt x="459" y="162"/>
                  </a:lnTo>
                  <a:lnTo>
                    <a:pt x="460" y="161"/>
                  </a:lnTo>
                  <a:lnTo>
                    <a:pt x="460" y="162"/>
                  </a:lnTo>
                  <a:lnTo>
                    <a:pt x="461" y="162"/>
                  </a:lnTo>
                  <a:lnTo>
                    <a:pt x="460" y="162"/>
                  </a:lnTo>
                  <a:lnTo>
                    <a:pt x="460" y="163"/>
                  </a:lnTo>
                  <a:lnTo>
                    <a:pt x="461" y="163"/>
                  </a:lnTo>
                  <a:lnTo>
                    <a:pt x="461" y="165"/>
                  </a:lnTo>
                  <a:lnTo>
                    <a:pt x="461" y="163"/>
                  </a:lnTo>
                  <a:lnTo>
                    <a:pt x="462" y="163"/>
                  </a:lnTo>
                  <a:lnTo>
                    <a:pt x="462" y="162"/>
                  </a:lnTo>
                  <a:lnTo>
                    <a:pt x="464" y="162"/>
                  </a:lnTo>
                  <a:lnTo>
                    <a:pt x="464" y="161"/>
                  </a:lnTo>
                  <a:lnTo>
                    <a:pt x="466" y="160"/>
                  </a:lnTo>
                  <a:lnTo>
                    <a:pt x="467" y="160"/>
                  </a:lnTo>
                  <a:lnTo>
                    <a:pt x="468" y="161"/>
                  </a:lnTo>
                  <a:lnTo>
                    <a:pt x="468" y="162"/>
                  </a:lnTo>
                  <a:lnTo>
                    <a:pt x="467" y="162"/>
                  </a:lnTo>
                  <a:lnTo>
                    <a:pt x="467" y="163"/>
                  </a:lnTo>
                  <a:lnTo>
                    <a:pt x="468" y="165"/>
                  </a:lnTo>
                  <a:lnTo>
                    <a:pt x="470" y="165"/>
                  </a:lnTo>
                  <a:lnTo>
                    <a:pt x="471" y="165"/>
                  </a:lnTo>
                  <a:lnTo>
                    <a:pt x="472" y="165"/>
                  </a:lnTo>
                  <a:lnTo>
                    <a:pt x="473" y="165"/>
                  </a:lnTo>
                  <a:lnTo>
                    <a:pt x="473" y="163"/>
                  </a:lnTo>
                  <a:lnTo>
                    <a:pt x="474" y="163"/>
                  </a:lnTo>
                  <a:lnTo>
                    <a:pt x="476" y="163"/>
                  </a:lnTo>
                  <a:lnTo>
                    <a:pt x="477" y="165"/>
                  </a:lnTo>
                  <a:lnTo>
                    <a:pt x="478" y="165"/>
                  </a:lnTo>
                  <a:lnTo>
                    <a:pt x="479" y="165"/>
                  </a:lnTo>
                  <a:lnTo>
                    <a:pt x="480" y="163"/>
                  </a:lnTo>
                  <a:lnTo>
                    <a:pt x="480" y="165"/>
                  </a:lnTo>
                  <a:lnTo>
                    <a:pt x="482" y="165"/>
                  </a:lnTo>
                  <a:lnTo>
                    <a:pt x="483" y="166"/>
                  </a:lnTo>
                  <a:lnTo>
                    <a:pt x="483" y="165"/>
                  </a:lnTo>
                  <a:lnTo>
                    <a:pt x="483" y="163"/>
                  </a:lnTo>
                  <a:lnTo>
                    <a:pt x="484" y="163"/>
                  </a:lnTo>
                  <a:lnTo>
                    <a:pt x="484" y="162"/>
                  </a:lnTo>
                  <a:lnTo>
                    <a:pt x="484" y="165"/>
                  </a:lnTo>
                  <a:lnTo>
                    <a:pt x="485" y="165"/>
                  </a:lnTo>
                  <a:lnTo>
                    <a:pt x="485" y="163"/>
                  </a:lnTo>
                  <a:lnTo>
                    <a:pt x="486" y="163"/>
                  </a:lnTo>
                  <a:lnTo>
                    <a:pt x="485" y="165"/>
                  </a:lnTo>
                  <a:lnTo>
                    <a:pt x="485" y="166"/>
                  </a:lnTo>
                  <a:lnTo>
                    <a:pt x="484" y="166"/>
                  </a:lnTo>
                  <a:lnTo>
                    <a:pt x="484" y="167"/>
                  </a:lnTo>
                  <a:lnTo>
                    <a:pt x="484" y="168"/>
                  </a:lnTo>
                  <a:lnTo>
                    <a:pt x="485" y="168"/>
                  </a:lnTo>
                  <a:lnTo>
                    <a:pt x="485" y="169"/>
                  </a:lnTo>
                  <a:lnTo>
                    <a:pt x="486" y="169"/>
                  </a:lnTo>
                  <a:lnTo>
                    <a:pt x="486" y="171"/>
                  </a:lnTo>
                  <a:lnTo>
                    <a:pt x="488" y="171"/>
                  </a:lnTo>
                  <a:lnTo>
                    <a:pt x="488" y="172"/>
                  </a:lnTo>
                  <a:lnTo>
                    <a:pt x="488" y="173"/>
                  </a:lnTo>
                  <a:lnTo>
                    <a:pt x="484" y="173"/>
                  </a:lnTo>
                  <a:lnTo>
                    <a:pt x="484" y="175"/>
                  </a:lnTo>
                  <a:lnTo>
                    <a:pt x="482" y="177"/>
                  </a:lnTo>
                  <a:lnTo>
                    <a:pt x="483" y="178"/>
                  </a:lnTo>
                  <a:lnTo>
                    <a:pt x="484" y="178"/>
                  </a:lnTo>
                  <a:lnTo>
                    <a:pt x="483" y="180"/>
                  </a:lnTo>
                  <a:lnTo>
                    <a:pt x="485" y="181"/>
                  </a:lnTo>
                  <a:lnTo>
                    <a:pt x="485" y="180"/>
                  </a:lnTo>
                  <a:lnTo>
                    <a:pt x="486" y="180"/>
                  </a:lnTo>
                  <a:lnTo>
                    <a:pt x="489" y="180"/>
                  </a:lnTo>
                  <a:lnTo>
                    <a:pt x="490" y="179"/>
                  </a:lnTo>
                  <a:lnTo>
                    <a:pt x="490" y="178"/>
                  </a:lnTo>
                  <a:lnTo>
                    <a:pt x="491" y="177"/>
                  </a:lnTo>
                  <a:lnTo>
                    <a:pt x="492" y="175"/>
                  </a:lnTo>
                  <a:lnTo>
                    <a:pt x="494" y="175"/>
                  </a:lnTo>
                  <a:lnTo>
                    <a:pt x="494" y="174"/>
                  </a:lnTo>
                  <a:lnTo>
                    <a:pt x="495" y="174"/>
                  </a:lnTo>
                  <a:lnTo>
                    <a:pt x="496" y="174"/>
                  </a:lnTo>
                  <a:lnTo>
                    <a:pt x="497" y="173"/>
                  </a:lnTo>
                  <a:lnTo>
                    <a:pt x="498" y="173"/>
                  </a:lnTo>
                  <a:lnTo>
                    <a:pt x="500" y="174"/>
                  </a:lnTo>
                  <a:lnTo>
                    <a:pt x="500" y="175"/>
                  </a:lnTo>
                  <a:lnTo>
                    <a:pt x="500" y="177"/>
                  </a:lnTo>
                  <a:lnTo>
                    <a:pt x="498" y="178"/>
                  </a:lnTo>
                  <a:lnTo>
                    <a:pt x="498" y="179"/>
                  </a:lnTo>
                  <a:lnTo>
                    <a:pt x="496" y="180"/>
                  </a:lnTo>
                  <a:lnTo>
                    <a:pt x="495" y="180"/>
                  </a:lnTo>
                  <a:lnTo>
                    <a:pt x="492" y="181"/>
                  </a:lnTo>
                  <a:lnTo>
                    <a:pt x="491" y="183"/>
                  </a:lnTo>
                  <a:lnTo>
                    <a:pt x="492" y="185"/>
                  </a:lnTo>
                  <a:lnTo>
                    <a:pt x="491" y="185"/>
                  </a:lnTo>
                  <a:lnTo>
                    <a:pt x="491" y="186"/>
                  </a:lnTo>
                  <a:lnTo>
                    <a:pt x="489" y="186"/>
                  </a:lnTo>
                  <a:lnTo>
                    <a:pt x="488" y="187"/>
                  </a:lnTo>
                  <a:lnTo>
                    <a:pt x="486" y="189"/>
                  </a:lnTo>
                  <a:lnTo>
                    <a:pt x="486" y="190"/>
                  </a:lnTo>
                  <a:lnTo>
                    <a:pt x="485" y="190"/>
                  </a:lnTo>
                  <a:lnTo>
                    <a:pt x="485" y="191"/>
                  </a:lnTo>
                  <a:lnTo>
                    <a:pt x="484" y="191"/>
                  </a:lnTo>
                  <a:lnTo>
                    <a:pt x="483" y="190"/>
                  </a:lnTo>
                  <a:lnTo>
                    <a:pt x="482" y="191"/>
                  </a:lnTo>
                  <a:lnTo>
                    <a:pt x="480" y="190"/>
                  </a:lnTo>
                  <a:lnTo>
                    <a:pt x="478" y="191"/>
                  </a:lnTo>
                  <a:lnTo>
                    <a:pt x="477" y="192"/>
                  </a:lnTo>
                  <a:lnTo>
                    <a:pt x="476" y="192"/>
                  </a:lnTo>
                  <a:lnTo>
                    <a:pt x="477" y="193"/>
                  </a:lnTo>
                  <a:lnTo>
                    <a:pt x="479" y="193"/>
                  </a:lnTo>
                  <a:lnTo>
                    <a:pt x="479" y="196"/>
                  </a:lnTo>
                  <a:lnTo>
                    <a:pt x="480" y="196"/>
                  </a:lnTo>
                  <a:lnTo>
                    <a:pt x="482" y="196"/>
                  </a:lnTo>
                  <a:lnTo>
                    <a:pt x="482" y="197"/>
                  </a:lnTo>
                  <a:lnTo>
                    <a:pt x="482" y="198"/>
                  </a:lnTo>
                  <a:lnTo>
                    <a:pt x="484" y="199"/>
                  </a:lnTo>
                  <a:lnTo>
                    <a:pt x="485" y="198"/>
                  </a:lnTo>
                  <a:lnTo>
                    <a:pt x="488" y="198"/>
                  </a:lnTo>
                  <a:lnTo>
                    <a:pt x="489" y="199"/>
                  </a:lnTo>
                  <a:lnTo>
                    <a:pt x="490" y="198"/>
                  </a:lnTo>
                  <a:lnTo>
                    <a:pt x="491" y="198"/>
                  </a:lnTo>
                  <a:lnTo>
                    <a:pt x="491" y="199"/>
                  </a:lnTo>
                  <a:lnTo>
                    <a:pt x="490" y="201"/>
                  </a:lnTo>
                  <a:lnTo>
                    <a:pt x="489" y="202"/>
                  </a:lnTo>
                  <a:lnTo>
                    <a:pt x="489" y="203"/>
                  </a:lnTo>
                  <a:lnTo>
                    <a:pt x="490" y="202"/>
                  </a:lnTo>
                  <a:lnTo>
                    <a:pt x="491" y="202"/>
                  </a:lnTo>
                  <a:lnTo>
                    <a:pt x="491" y="203"/>
                  </a:lnTo>
                  <a:lnTo>
                    <a:pt x="491" y="204"/>
                  </a:lnTo>
                  <a:lnTo>
                    <a:pt x="490" y="207"/>
                  </a:lnTo>
                  <a:lnTo>
                    <a:pt x="486" y="209"/>
                  </a:lnTo>
                  <a:lnTo>
                    <a:pt x="489" y="210"/>
                  </a:lnTo>
                  <a:lnTo>
                    <a:pt x="489" y="213"/>
                  </a:lnTo>
                  <a:lnTo>
                    <a:pt x="489" y="214"/>
                  </a:lnTo>
                  <a:lnTo>
                    <a:pt x="490" y="214"/>
                  </a:lnTo>
                  <a:lnTo>
                    <a:pt x="490" y="216"/>
                  </a:lnTo>
                  <a:lnTo>
                    <a:pt x="489" y="217"/>
                  </a:lnTo>
                  <a:lnTo>
                    <a:pt x="491" y="217"/>
                  </a:lnTo>
                  <a:lnTo>
                    <a:pt x="491" y="219"/>
                  </a:lnTo>
                  <a:lnTo>
                    <a:pt x="492" y="220"/>
                  </a:lnTo>
                  <a:lnTo>
                    <a:pt x="495" y="220"/>
                  </a:lnTo>
                  <a:lnTo>
                    <a:pt x="496" y="220"/>
                  </a:lnTo>
                  <a:lnTo>
                    <a:pt x="497" y="220"/>
                  </a:lnTo>
                  <a:lnTo>
                    <a:pt x="498" y="220"/>
                  </a:lnTo>
                  <a:lnTo>
                    <a:pt x="500" y="220"/>
                  </a:lnTo>
                  <a:lnTo>
                    <a:pt x="501" y="220"/>
                  </a:lnTo>
                  <a:lnTo>
                    <a:pt x="502" y="220"/>
                  </a:lnTo>
                  <a:lnTo>
                    <a:pt x="506" y="221"/>
                  </a:lnTo>
                  <a:lnTo>
                    <a:pt x="506" y="222"/>
                  </a:lnTo>
                  <a:lnTo>
                    <a:pt x="508" y="222"/>
                  </a:lnTo>
                  <a:lnTo>
                    <a:pt x="509" y="222"/>
                  </a:lnTo>
                  <a:lnTo>
                    <a:pt x="510" y="222"/>
                  </a:lnTo>
                  <a:lnTo>
                    <a:pt x="513" y="221"/>
                  </a:lnTo>
                  <a:lnTo>
                    <a:pt x="514" y="221"/>
                  </a:lnTo>
                  <a:lnTo>
                    <a:pt x="514" y="222"/>
                  </a:lnTo>
                  <a:lnTo>
                    <a:pt x="513" y="223"/>
                  </a:lnTo>
                  <a:lnTo>
                    <a:pt x="512" y="227"/>
                  </a:lnTo>
                  <a:lnTo>
                    <a:pt x="512" y="228"/>
                  </a:lnTo>
                  <a:lnTo>
                    <a:pt x="513" y="228"/>
                  </a:lnTo>
                  <a:lnTo>
                    <a:pt x="515" y="228"/>
                  </a:lnTo>
                  <a:lnTo>
                    <a:pt x="518" y="228"/>
                  </a:lnTo>
                  <a:lnTo>
                    <a:pt x="519" y="229"/>
                  </a:lnTo>
                  <a:lnTo>
                    <a:pt x="521" y="229"/>
                  </a:lnTo>
                  <a:lnTo>
                    <a:pt x="523" y="229"/>
                  </a:lnTo>
                  <a:lnTo>
                    <a:pt x="523" y="228"/>
                  </a:lnTo>
                  <a:lnTo>
                    <a:pt x="525" y="228"/>
                  </a:lnTo>
                  <a:lnTo>
                    <a:pt x="526" y="229"/>
                  </a:lnTo>
                  <a:lnTo>
                    <a:pt x="526" y="231"/>
                  </a:lnTo>
                  <a:lnTo>
                    <a:pt x="525" y="232"/>
                  </a:lnTo>
                  <a:lnTo>
                    <a:pt x="524" y="233"/>
                  </a:lnTo>
                  <a:lnTo>
                    <a:pt x="521" y="235"/>
                  </a:lnTo>
                  <a:lnTo>
                    <a:pt x="519" y="235"/>
                  </a:lnTo>
                  <a:lnTo>
                    <a:pt x="519" y="237"/>
                  </a:lnTo>
                  <a:lnTo>
                    <a:pt x="518" y="237"/>
                  </a:lnTo>
                  <a:lnTo>
                    <a:pt x="516" y="238"/>
                  </a:lnTo>
                  <a:lnTo>
                    <a:pt x="514" y="240"/>
                  </a:lnTo>
                  <a:lnTo>
                    <a:pt x="513" y="241"/>
                  </a:lnTo>
                  <a:lnTo>
                    <a:pt x="512" y="241"/>
                  </a:lnTo>
                  <a:lnTo>
                    <a:pt x="510" y="241"/>
                  </a:lnTo>
                  <a:lnTo>
                    <a:pt x="509" y="240"/>
                  </a:lnTo>
                  <a:lnTo>
                    <a:pt x="508" y="241"/>
                  </a:lnTo>
                  <a:lnTo>
                    <a:pt x="507" y="241"/>
                  </a:lnTo>
                  <a:lnTo>
                    <a:pt x="504" y="241"/>
                  </a:lnTo>
                  <a:lnTo>
                    <a:pt x="502" y="241"/>
                  </a:lnTo>
                  <a:lnTo>
                    <a:pt x="501" y="240"/>
                  </a:lnTo>
                  <a:lnTo>
                    <a:pt x="501" y="239"/>
                  </a:lnTo>
                  <a:lnTo>
                    <a:pt x="500" y="239"/>
                  </a:lnTo>
                  <a:lnTo>
                    <a:pt x="498" y="239"/>
                  </a:lnTo>
                  <a:lnTo>
                    <a:pt x="497" y="238"/>
                  </a:lnTo>
                  <a:lnTo>
                    <a:pt x="496" y="237"/>
                  </a:lnTo>
                  <a:lnTo>
                    <a:pt x="496" y="235"/>
                  </a:lnTo>
                  <a:lnTo>
                    <a:pt x="496" y="234"/>
                  </a:lnTo>
                  <a:lnTo>
                    <a:pt x="494" y="234"/>
                  </a:lnTo>
                  <a:lnTo>
                    <a:pt x="495" y="235"/>
                  </a:lnTo>
                  <a:lnTo>
                    <a:pt x="495" y="238"/>
                  </a:lnTo>
                  <a:lnTo>
                    <a:pt x="496" y="238"/>
                  </a:lnTo>
                  <a:lnTo>
                    <a:pt x="496" y="240"/>
                  </a:lnTo>
                  <a:lnTo>
                    <a:pt x="496" y="241"/>
                  </a:lnTo>
                  <a:lnTo>
                    <a:pt x="495" y="243"/>
                  </a:lnTo>
                  <a:lnTo>
                    <a:pt x="494" y="244"/>
                  </a:lnTo>
                  <a:lnTo>
                    <a:pt x="491" y="243"/>
                  </a:lnTo>
                  <a:lnTo>
                    <a:pt x="490" y="241"/>
                  </a:lnTo>
                  <a:lnTo>
                    <a:pt x="490" y="240"/>
                  </a:lnTo>
                  <a:lnTo>
                    <a:pt x="489" y="240"/>
                  </a:lnTo>
                  <a:lnTo>
                    <a:pt x="489" y="238"/>
                  </a:lnTo>
                  <a:lnTo>
                    <a:pt x="486" y="238"/>
                  </a:lnTo>
                  <a:lnTo>
                    <a:pt x="486" y="237"/>
                  </a:lnTo>
                  <a:lnTo>
                    <a:pt x="485" y="237"/>
                  </a:lnTo>
                  <a:lnTo>
                    <a:pt x="484" y="238"/>
                  </a:lnTo>
                  <a:lnTo>
                    <a:pt x="483" y="238"/>
                  </a:lnTo>
                  <a:lnTo>
                    <a:pt x="483" y="237"/>
                  </a:lnTo>
                  <a:lnTo>
                    <a:pt x="482" y="237"/>
                  </a:lnTo>
                  <a:lnTo>
                    <a:pt x="479" y="234"/>
                  </a:lnTo>
                  <a:lnTo>
                    <a:pt x="477" y="235"/>
                  </a:lnTo>
                  <a:lnTo>
                    <a:pt x="476" y="237"/>
                  </a:lnTo>
                  <a:lnTo>
                    <a:pt x="474" y="235"/>
                  </a:lnTo>
                  <a:lnTo>
                    <a:pt x="472" y="237"/>
                  </a:lnTo>
                  <a:lnTo>
                    <a:pt x="468" y="237"/>
                  </a:lnTo>
                  <a:lnTo>
                    <a:pt x="468" y="235"/>
                  </a:lnTo>
                  <a:lnTo>
                    <a:pt x="467" y="237"/>
                  </a:lnTo>
                  <a:lnTo>
                    <a:pt x="466" y="237"/>
                  </a:lnTo>
                  <a:lnTo>
                    <a:pt x="465" y="238"/>
                  </a:lnTo>
                  <a:lnTo>
                    <a:pt x="462" y="238"/>
                  </a:lnTo>
                  <a:lnTo>
                    <a:pt x="461" y="240"/>
                  </a:lnTo>
                  <a:lnTo>
                    <a:pt x="457" y="238"/>
                  </a:lnTo>
                  <a:lnTo>
                    <a:pt x="457" y="235"/>
                  </a:lnTo>
                  <a:lnTo>
                    <a:pt x="457" y="234"/>
                  </a:lnTo>
                  <a:lnTo>
                    <a:pt x="456" y="234"/>
                  </a:lnTo>
                  <a:lnTo>
                    <a:pt x="454" y="235"/>
                  </a:lnTo>
                  <a:lnTo>
                    <a:pt x="453" y="235"/>
                  </a:lnTo>
                  <a:lnTo>
                    <a:pt x="451" y="235"/>
                  </a:lnTo>
                  <a:lnTo>
                    <a:pt x="450" y="237"/>
                  </a:lnTo>
                  <a:lnTo>
                    <a:pt x="450" y="238"/>
                  </a:lnTo>
                  <a:lnTo>
                    <a:pt x="450" y="240"/>
                  </a:lnTo>
                  <a:lnTo>
                    <a:pt x="451" y="239"/>
                  </a:lnTo>
                  <a:lnTo>
                    <a:pt x="453" y="238"/>
                  </a:lnTo>
                  <a:lnTo>
                    <a:pt x="453" y="239"/>
                  </a:lnTo>
                  <a:lnTo>
                    <a:pt x="453" y="240"/>
                  </a:lnTo>
                  <a:lnTo>
                    <a:pt x="453" y="243"/>
                  </a:lnTo>
                  <a:lnTo>
                    <a:pt x="454" y="240"/>
                  </a:lnTo>
                  <a:lnTo>
                    <a:pt x="454" y="243"/>
                  </a:lnTo>
                  <a:lnTo>
                    <a:pt x="454" y="244"/>
                  </a:lnTo>
                  <a:lnTo>
                    <a:pt x="454" y="245"/>
                  </a:lnTo>
                  <a:lnTo>
                    <a:pt x="455" y="245"/>
                  </a:lnTo>
                  <a:lnTo>
                    <a:pt x="455" y="246"/>
                  </a:lnTo>
                  <a:lnTo>
                    <a:pt x="456" y="245"/>
                  </a:lnTo>
                  <a:lnTo>
                    <a:pt x="456" y="246"/>
                  </a:lnTo>
                  <a:lnTo>
                    <a:pt x="454" y="246"/>
                  </a:lnTo>
                  <a:lnTo>
                    <a:pt x="455" y="249"/>
                  </a:lnTo>
                  <a:lnTo>
                    <a:pt x="456" y="247"/>
                  </a:lnTo>
                  <a:lnTo>
                    <a:pt x="457" y="249"/>
                  </a:lnTo>
                  <a:lnTo>
                    <a:pt x="459" y="249"/>
                  </a:lnTo>
                  <a:lnTo>
                    <a:pt x="460" y="249"/>
                  </a:lnTo>
                  <a:lnTo>
                    <a:pt x="462" y="250"/>
                  </a:lnTo>
                  <a:lnTo>
                    <a:pt x="464" y="250"/>
                  </a:lnTo>
                  <a:lnTo>
                    <a:pt x="464" y="251"/>
                  </a:lnTo>
                  <a:lnTo>
                    <a:pt x="465" y="252"/>
                  </a:lnTo>
                  <a:lnTo>
                    <a:pt x="465" y="253"/>
                  </a:lnTo>
                  <a:lnTo>
                    <a:pt x="465" y="255"/>
                  </a:lnTo>
                  <a:lnTo>
                    <a:pt x="466" y="255"/>
                  </a:lnTo>
                  <a:lnTo>
                    <a:pt x="467" y="256"/>
                  </a:lnTo>
                  <a:lnTo>
                    <a:pt x="470" y="257"/>
                  </a:lnTo>
                  <a:lnTo>
                    <a:pt x="471" y="259"/>
                  </a:lnTo>
                  <a:lnTo>
                    <a:pt x="472" y="259"/>
                  </a:lnTo>
                  <a:lnTo>
                    <a:pt x="473" y="261"/>
                  </a:lnTo>
                  <a:lnTo>
                    <a:pt x="473" y="262"/>
                  </a:lnTo>
                  <a:lnTo>
                    <a:pt x="474" y="262"/>
                  </a:lnTo>
                  <a:lnTo>
                    <a:pt x="474" y="263"/>
                  </a:lnTo>
                  <a:lnTo>
                    <a:pt x="476" y="263"/>
                  </a:lnTo>
                  <a:lnTo>
                    <a:pt x="476" y="262"/>
                  </a:lnTo>
                  <a:lnTo>
                    <a:pt x="479" y="263"/>
                  </a:lnTo>
                  <a:lnTo>
                    <a:pt x="480" y="263"/>
                  </a:lnTo>
                  <a:lnTo>
                    <a:pt x="480" y="264"/>
                  </a:lnTo>
                  <a:lnTo>
                    <a:pt x="482" y="266"/>
                  </a:lnTo>
                  <a:lnTo>
                    <a:pt x="484" y="266"/>
                  </a:lnTo>
                  <a:lnTo>
                    <a:pt x="484" y="267"/>
                  </a:lnTo>
                  <a:lnTo>
                    <a:pt x="486" y="267"/>
                  </a:lnTo>
                  <a:lnTo>
                    <a:pt x="486" y="268"/>
                  </a:lnTo>
                  <a:lnTo>
                    <a:pt x="488" y="268"/>
                  </a:lnTo>
                  <a:lnTo>
                    <a:pt x="489" y="269"/>
                  </a:lnTo>
                  <a:lnTo>
                    <a:pt x="490" y="269"/>
                  </a:lnTo>
                  <a:lnTo>
                    <a:pt x="490" y="270"/>
                  </a:lnTo>
                  <a:lnTo>
                    <a:pt x="489" y="272"/>
                  </a:lnTo>
                  <a:lnTo>
                    <a:pt x="490" y="273"/>
                  </a:lnTo>
                  <a:lnTo>
                    <a:pt x="490" y="274"/>
                  </a:lnTo>
                  <a:lnTo>
                    <a:pt x="491" y="275"/>
                  </a:lnTo>
                  <a:lnTo>
                    <a:pt x="490" y="276"/>
                  </a:lnTo>
                  <a:lnTo>
                    <a:pt x="492" y="276"/>
                  </a:lnTo>
                  <a:lnTo>
                    <a:pt x="496" y="276"/>
                  </a:lnTo>
                  <a:lnTo>
                    <a:pt x="500" y="276"/>
                  </a:lnTo>
                  <a:lnTo>
                    <a:pt x="500" y="279"/>
                  </a:lnTo>
                  <a:lnTo>
                    <a:pt x="501" y="279"/>
                  </a:lnTo>
                  <a:lnTo>
                    <a:pt x="503" y="279"/>
                  </a:lnTo>
                  <a:lnTo>
                    <a:pt x="506" y="279"/>
                  </a:lnTo>
                  <a:lnTo>
                    <a:pt x="507" y="278"/>
                  </a:lnTo>
                  <a:lnTo>
                    <a:pt x="508" y="280"/>
                  </a:lnTo>
                  <a:lnTo>
                    <a:pt x="509" y="280"/>
                  </a:lnTo>
                  <a:lnTo>
                    <a:pt x="510" y="280"/>
                  </a:lnTo>
                  <a:lnTo>
                    <a:pt x="510" y="281"/>
                  </a:lnTo>
                  <a:lnTo>
                    <a:pt x="509" y="284"/>
                  </a:lnTo>
                  <a:lnTo>
                    <a:pt x="508" y="285"/>
                  </a:lnTo>
                  <a:lnTo>
                    <a:pt x="507" y="285"/>
                  </a:lnTo>
                  <a:lnTo>
                    <a:pt x="508" y="286"/>
                  </a:lnTo>
                  <a:lnTo>
                    <a:pt x="510" y="287"/>
                  </a:lnTo>
                  <a:lnTo>
                    <a:pt x="512" y="288"/>
                  </a:lnTo>
                  <a:lnTo>
                    <a:pt x="514" y="288"/>
                  </a:lnTo>
                  <a:lnTo>
                    <a:pt x="515" y="288"/>
                  </a:lnTo>
                  <a:lnTo>
                    <a:pt x="514" y="291"/>
                  </a:lnTo>
                  <a:lnTo>
                    <a:pt x="516" y="292"/>
                  </a:lnTo>
                  <a:lnTo>
                    <a:pt x="519" y="293"/>
                  </a:lnTo>
                  <a:lnTo>
                    <a:pt x="520" y="293"/>
                  </a:lnTo>
                  <a:lnTo>
                    <a:pt x="521" y="293"/>
                  </a:lnTo>
                  <a:lnTo>
                    <a:pt x="523" y="293"/>
                  </a:lnTo>
                  <a:lnTo>
                    <a:pt x="525" y="293"/>
                  </a:lnTo>
                  <a:lnTo>
                    <a:pt x="526" y="293"/>
                  </a:lnTo>
                  <a:lnTo>
                    <a:pt x="525" y="297"/>
                  </a:lnTo>
                  <a:lnTo>
                    <a:pt x="524" y="298"/>
                  </a:lnTo>
                  <a:lnTo>
                    <a:pt x="523" y="299"/>
                  </a:lnTo>
                  <a:lnTo>
                    <a:pt x="521" y="300"/>
                  </a:lnTo>
                  <a:lnTo>
                    <a:pt x="520" y="300"/>
                  </a:lnTo>
                  <a:lnTo>
                    <a:pt x="518" y="302"/>
                  </a:lnTo>
                  <a:lnTo>
                    <a:pt x="520" y="302"/>
                  </a:lnTo>
                  <a:lnTo>
                    <a:pt x="523" y="302"/>
                  </a:lnTo>
                  <a:lnTo>
                    <a:pt x="524" y="304"/>
                  </a:lnTo>
                  <a:lnTo>
                    <a:pt x="526" y="305"/>
                  </a:lnTo>
                  <a:lnTo>
                    <a:pt x="525" y="308"/>
                  </a:lnTo>
                  <a:lnTo>
                    <a:pt x="524" y="309"/>
                  </a:lnTo>
                  <a:lnTo>
                    <a:pt x="523" y="310"/>
                  </a:lnTo>
                  <a:lnTo>
                    <a:pt x="523" y="311"/>
                  </a:lnTo>
                  <a:lnTo>
                    <a:pt x="523" y="312"/>
                  </a:lnTo>
                  <a:lnTo>
                    <a:pt x="523" y="314"/>
                  </a:lnTo>
                  <a:lnTo>
                    <a:pt x="523" y="315"/>
                  </a:lnTo>
                  <a:lnTo>
                    <a:pt x="525" y="316"/>
                  </a:lnTo>
                  <a:lnTo>
                    <a:pt x="525" y="317"/>
                  </a:lnTo>
                  <a:lnTo>
                    <a:pt x="525" y="320"/>
                  </a:lnTo>
                  <a:lnTo>
                    <a:pt x="524" y="320"/>
                  </a:lnTo>
                  <a:lnTo>
                    <a:pt x="524" y="321"/>
                  </a:lnTo>
                  <a:lnTo>
                    <a:pt x="521" y="321"/>
                  </a:lnTo>
                  <a:lnTo>
                    <a:pt x="519" y="321"/>
                  </a:lnTo>
                  <a:lnTo>
                    <a:pt x="521" y="324"/>
                  </a:lnTo>
                  <a:lnTo>
                    <a:pt x="523" y="326"/>
                  </a:lnTo>
                  <a:lnTo>
                    <a:pt x="524" y="327"/>
                  </a:lnTo>
                  <a:lnTo>
                    <a:pt x="524" y="326"/>
                  </a:lnTo>
                  <a:lnTo>
                    <a:pt x="525" y="326"/>
                  </a:lnTo>
                  <a:lnTo>
                    <a:pt x="526" y="326"/>
                  </a:lnTo>
                  <a:lnTo>
                    <a:pt x="526" y="327"/>
                  </a:lnTo>
                  <a:lnTo>
                    <a:pt x="527" y="327"/>
                  </a:lnTo>
                  <a:lnTo>
                    <a:pt x="527" y="328"/>
                  </a:lnTo>
                  <a:lnTo>
                    <a:pt x="526" y="329"/>
                  </a:lnTo>
                  <a:lnTo>
                    <a:pt x="525" y="330"/>
                  </a:lnTo>
                  <a:lnTo>
                    <a:pt x="523" y="330"/>
                  </a:lnTo>
                  <a:lnTo>
                    <a:pt x="520" y="330"/>
                  </a:lnTo>
                  <a:lnTo>
                    <a:pt x="520" y="329"/>
                  </a:lnTo>
                  <a:lnTo>
                    <a:pt x="518" y="329"/>
                  </a:lnTo>
                  <a:lnTo>
                    <a:pt x="516" y="328"/>
                  </a:lnTo>
                  <a:lnTo>
                    <a:pt x="512" y="327"/>
                  </a:lnTo>
                  <a:lnTo>
                    <a:pt x="510" y="324"/>
                  </a:lnTo>
                  <a:lnTo>
                    <a:pt x="509" y="323"/>
                  </a:lnTo>
                  <a:lnTo>
                    <a:pt x="508" y="321"/>
                  </a:lnTo>
                  <a:lnTo>
                    <a:pt x="507" y="318"/>
                  </a:lnTo>
                  <a:lnTo>
                    <a:pt x="506" y="317"/>
                  </a:lnTo>
                  <a:lnTo>
                    <a:pt x="506" y="315"/>
                  </a:lnTo>
                  <a:lnTo>
                    <a:pt x="504" y="315"/>
                  </a:lnTo>
                  <a:lnTo>
                    <a:pt x="504" y="312"/>
                  </a:lnTo>
                  <a:lnTo>
                    <a:pt x="502" y="311"/>
                  </a:lnTo>
                  <a:lnTo>
                    <a:pt x="501" y="311"/>
                  </a:lnTo>
                  <a:lnTo>
                    <a:pt x="500" y="312"/>
                  </a:lnTo>
                  <a:lnTo>
                    <a:pt x="498" y="312"/>
                  </a:lnTo>
                  <a:lnTo>
                    <a:pt x="497" y="311"/>
                  </a:lnTo>
                  <a:lnTo>
                    <a:pt x="496" y="311"/>
                  </a:lnTo>
                  <a:lnTo>
                    <a:pt x="495" y="311"/>
                  </a:lnTo>
                  <a:lnTo>
                    <a:pt x="494" y="312"/>
                  </a:lnTo>
                  <a:lnTo>
                    <a:pt x="492" y="314"/>
                  </a:lnTo>
                  <a:lnTo>
                    <a:pt x="490" y="312"/>
                  </a:lnTo>
                  <a:lnTo>
                    <a:pt x="490" y="310"/>
                  </a:lnTo>
                  <a:lnTo>
                    <a:pt x="490" y="309"/>
                  </a:lnTo>
                  <a:lnTo>
                    <a:pt x="491" y="308"/>
                  </a:lnTo>
                  <a:lnTo>
                    <a:pt x="492" y="308"/>
                  </a:lnTo>
                  <a:lnTo>
                    <a:pt x="494" y="308"/>
                  </a:lnTo>
                  <a:lnTo>
                    <a:pt x="494" y="306"/>
                  </a:lnTo>
                  <a:lnTo>
                    <a:pt x="492" y="305"/>
                  </a:lnTo>
                  <a:lnTo>
                    <a:pt x="494" y="304"/>
                  </a:lnTo>
                  <a:lnTo>
                    <a:pt x="495" y="304"/>
                  </a:lnTo>
                  <a:lnTo>
                    <a:pt x="496" y="304"/>
                  </a:lnTo>
                  <a:lnTo>
                    <a:pt x="497" y="304"/>
                  </a:lnTo>
                  <a:lnTo>
                    <a:pt x="497" y="302"/>
                  </a:lnTo>
                  <a:lnTo>
                    <a:pt x="495" y="303"/>
                  </a:lnTo>
                  <a:lnTo>
                    <a:pt x="495" y="302"/>
                  </a:lnTo>
                  <a:lnTo>
                    <a:pt x="494" y="302"/>
                  </a:lnTo>
                  <a:lnTo>
                    <a:pt x="491" y="302"/>
                  </a:lnTo>
                  <a:lnTo>
                    <a:pt x="490" y="302"/>
                  </a:lnTo>
                  <a:lnTo>
                    <a:pt x="488" y="300"/>
                  </a:lnTo>
                  <a:lnTo>
                    <a:pt x="486" y="299"/>
                  </a:lnTo>
                  <a:lnTo>
                    <a:pt x="484" y="299"/>
                  </a:lnTo>
                  <a:lnTo>
                    <a:pt x="486" y="298"/>
                  </a:lnTo>
                  <a:lnTo>
                    <a:pt x="484" y="298"/>
                  </a:lnTo>
                  <a:lnTo>
                    <a:pt x="484" y="296"/>
                  </a:lnTo>
                  <a:lnTo>
                    <a:pt x="484" y="294"/>
                  </a:lnTo>
                  <a:lnTo>
                    <a:pt x="483" y="294"/>
                  </a:lnTo>
                  <a:lnTo>
                    <a:pt x="483" y="296"/>
                  </a:lnTo>
                  <a:lnTo>
                    <a:pt x="480" y="296"/>
                  </a:lnTo>
                  <a:lnTo>
                    <a:pt x="479" y="296"/>
                  </a:lnTo>
                  <a:lnTo>
                    <a:pt x="478" y="297"/>
                  </a:lnTo>
                  <a:lnTo>
                    <a:pt x="477" y="296"/>
                  </a:lnTo>
                  <a:lnTo>
                    <a:pt x="476" y="294"/>
                  </a:lnTo>
                  <a:lnTo>
                    <a:pt x="476" y="293"/>
                  </a:lnTo>
                  <a:lnTo>
                    <a:pt x="473" y="293"/>
                  </a:lnTo>
                  <a:lnTo>
                    <a:pt x="472" y="292"/>
                  </a:lnTo>
                  <a:lnTo>
                    <a:pt x="473" y="291"/>
                  </a:lnTo>
                  <a:lnTo>
                    <a:pt x="472" y="291"/>
                  </a:lnTo>
                  <a:lnTo>
                    <a:pt x="471" y="291"/>
                  </a:lnTo>
                  <a:lnTo>
                    <a:pt x="470" y="290"/>
                  </a:lnTo>
                  <a:lnTo>
                    <a:pt x="468" y="290"/>
                  </a:lnTo>
                  <a:lnTo>
                    <a:pt x="467" y="290"/>
                  </a:lnTo>
                  <a:lnTo>
                    <a:pt x="466" y="288"/>
                  </a:lnTo>
                  <a:lnTo>
                    <a:pt x="465" y="290"/>
                  </a:lnTo>
                  <a:lnTo>
                    <a:pt x="464" y="287"/>
                  </a:lnTo>
                  <a:lnTo>
                    <a:pt x="464" y="286"/>
                  </a:lnTo>
                  <a:lnTo>
                    <a:pt x="462" y="286"/>
                  </a:lnTo>
                  <a:lnTo>
                    <a:pt x="462" y="285"/>
                  </a:lnTo>
                  <a:lnTo>
                    <a:pt x="462" y="282"/>
                  </a:lnTo>
                  <a:lnTo>
                    <a:pt x="464" y="282"/>
                  </a:lnTo>
                  <a:lnTo>
                    <a:pt x="462" y="282"/>
                  </a:lnTo>
                  <a:lnTo>
                    <a:pt x="462" y="281"/>
                  </a:lnTo>
                  <a:lnTo>
                    <a:pt x="461" y="280"/>
                  </a:lnTo>
                  <a:lnTo>
                    <a:pt x="460" y="279"/>
                  </a:lnTo>
                  <a:lnTo>
                    <a:pt x="459" y="278"/>
                  </a:lnTo>
                  <a:lnTo>
                    <a:pt x="459" y="279"/>
                  </a:lnTo>
                  <a:lnTo>
                    <a:pt x="459" y="280"/>
                  </a:lnTo>
                  <a:lnTo>
                    <a:pt x="459" y="281"/>
                  </a:lnTo>
                  <a:lnTo>
                    <a:pt x="457" y="282"/>
                  </a:lnTo>
                  <a:lnTo>
                    <a:pt x="455" y="282"/>
                  </a:lnTo>
                  <a:lnTo>
                    <a:pt x="455" y="284"/>
                  </a:lnTo>
                  <a:lnTo>
                    <a:pt x="456" y="285"/>
                  </a:lnTo>
                  <a:lnTo>
                    <a:pt x="457" y="285"/>
                  </a:lnTo>
                  <a:lnTo>
                    <a:pt x="459" y="285"/>
                  </a:lnTo>
                  <a:lnTo>
                    <a:pt x="460" y="285"/>
                  </a:lnTo>
                  <a:lnTo>
                    <a:pt x="460" y="287"/>
                  </a:lnTo>
                  <a:lnTo>
                    <a:pt x="461" y="287"/>
                  </a:lnTo>
                  <a:lnTo>
                    <a:pt x="461" y="288"/>
                  </a:lnTo>
                  <a:lnTo>
                    <a:pt x="461" y="290"/>
                  </a:lnTo>
                  <a:lnTo>
                    <a:pt x="461" y="291"/>
                  </a:lnTo>
                  <a:lnTo>
                    <a:pt x="462" y="292"/>
                  </a:lnTo>
                  <a:lnTo>
                    <a:pt x="462" y="293"/>
                  </a:lnTo>
                  <a:lnTo>
                    <a:pt x="460" y="292"/>
                  </a:lnTo>
                  <a:lnTo>
                    <a:pt x="460" y="293"/>
                  </a:lnTo>
                  <a:lnTo>
                    <a:pt x="459" y="292"/>
                  </a:lnTo>
                  <a:lnTo>
                    <a:pt x="457" y="291"/>
                  </a:lnTo>
                  <a:lnTo>
                    <a:pt x="456" y="291"/>
                  </a:lnTo>
                  <a:lnTo>
                    <a:pt x="456" y="290"/>
                  </a:lnTo>
                  <a:lnTo>
                    <a:pt x="455" y="290"/>
                  </a:lnTo>
                  <a:lnTo>
                    <a:pt x="455" y="288"/>
                  </a:lnTo>
                  <a:lnTo>
                    <a:pt x="451" y="288"/>
                  </a:lnTo>
                  <a:lnTo>
                    <a:pt x="450" y="287"/>
                  </a:lnTo>
                  <a:lnTo>
                    <a:pt x="449" y="287"/>
                  </a:lnTo>
                  <a:lnTo>
                    <a:pt x="447" y="287"/>
                  </a:lnTo>
                  <a:lnTo>
                    <a:pt x="445" y="287"/>
                  </a:lnTo>
                  <a:lnTo>
                    <a:pt x="444" y="286"/>
                  </a:lnTo>
                  <a:lnTo>
                    <a:pt x="441" y="286"/>
                  </a:lnTo>
                  <a:lnTo>
                    <a:pt x="438" y="285"/>
                  </a:lnTo>
                  <a:lnTo>
                    <a:pt x="437" y="285"/>
                  </a:lnTo>
                  <a:lnTo>
                    <a:pt x="435" y="285"/>
                  </a:lnTo>
                  <a:lnTo>
                    <a:pt x="436" y="284"/>
                  </a:lnTo>
                  <a:lnTo>
                    <a:pt x="433" y="282"/>
                  </a:lnTo>
                  <a:lnTo>
                    <a:pt x="432" y="282"/>
                  </a:lnTo>
                  <a:lnTo>
                    <a:pt x="429" y="279"/>
                  </a:lnTo>
                  <a:lnTo>
                    <a:pt x="430" y="276"/>
                  </a:lnTo>
                  <a:lnTo>
                    <a:pt x="431" y="274"/>
                  </a:lnTo>
                  <a:lnTo>
                    <a:pt x="431" y="272"/>
                  </a:lnTo>
                  <a:lnTo>
                    <a:pt x="431" y="273"/>
                  </a:lnTo>
                  <a:lnTo>
                    <a:pt x="430" y="273"/>
                  </a:lnTo>
                  <a:lnTo>
                    <a:pt x="430" y="274"/>
                  </a:lnTo>
                  <a:lnTo>
                    <a:pt x="430" y="275"/>
                  </a:lnTo>
                  <a:lnTo>
                    <a:pt x="429" y="276"/>
                  </a:lnTo>
                  <a:lnTo>
                    <a:pt x="426" y="275"/>
                  </a:lnTo>
                  <a:lnTo>
                    <a:pt x="425" y="275"/>
                  </a:lnTo>
                  <a:lnTo>
                    <a:pt x="424" y="274"/>
                  </a:lnTo>
                  <a:lnTo>
                    <a:pt x="421" y="275"/>
                  </a:lnTo>
                  <a:lnTo>
                    <a:pt x="420" y="278"/>
                  </a:lnTo>
                  <a:lnTo>
                    <a:pt x="418" y="279"/>
                  </a:lnTo>
                  <a:lnTo>
                    <a:pt x="418" y="278"/>
                  </a:lnTo>
                  <a:lnTo>
                    <a:pt x="417" y="278"/>
                  </a:lnTo>
                  <a:lnTo>
                    <a:pt x="415" y="278"/>
                  </a:lnTo>
                  <a:lnTo>
                    <a:pt x="414" y="279"/>
                  </a:lnTo>
                  <a:lnTo>
                    <a:pt x="414" y="282"/>
                  </a:lnTo>
                  <a:lnTo>
                    <a:pt x="415" y="281"/>
                  </a:lnTo>
                  <a:lnTo>
                    <a:pt x="417" y="281"/>
                  </a:lnTo>
                  <a:lnTo>
                    <a:pt x="418" y="282"/>
                  </a:lnTo>
                  <a:lnTo>
                    <a:pt x="419" y="284"/>
                  </a:lnTo>
                  <a:lnTo>
                    <a:pt x="419" y="281"/>
                  </a:lnTo>
                  <a:lnTo>
                    <a:pt x="420" y="281"/>
                  </a:lnTo>
                  <a:lnTo>
                    <a:pt x="423" y="281"/>
                  </a:lnTo>
                  <a:lnTo>
                    <a:pt x="424" y="281"/>
                  </a:lnTo>
                  <a:lnTo>
                    <a:pt x="423" y="282"/>
                  </a:lnTo>
                  <a:lnTo>
                    <a:pt x="423" y="284"/>
                  </a:lnTo>
                  <a:lnTo>
                    <a:pt x="423" y="285"/>
                  </a:lnTo>
                  <a:lnTo>
                    <a:pt x="423" y="287"/>
                  </a:lnTo>
                  <a:lnTo>
                    <a:pt x="424" y="287"/>
                  </a:lnTo>
                  <a:lnTo>
                    <a:pt x="421" y="287"/>
                  </a:lnTo>
                  <a:lnTo>
                    <a:pt x="420" y="287"/>
                  </a:lnTo>
                  <a:lnTo>
                    <a:pt x="419" y="286"/>
                  </a:lnTo>
                  <a:lnTo>
                    <a:pt x="419" y="285"/>
                  </a:lnTo>
                  <a:lnTo>
                    <a:pt x="418" y="285"/>
                  </a:lnTo>
                  <a:lnTo>
                    <a:pt x="418" y="287"/>
                  </a:lnTo>
                  <a:lnTo>
                    <a:pt x="419" y="287"/>
                  </a:lnTo>
                  <a:lnTo>
                    <a:pt x="421" y="288"/>
                  </a:lnTo>
                  <a:lnTo>
                    <a:pt x="421" y="290"/>
                  </a:lnTo>
                  <a:lnTo>
                    <a:pt x="425" y="291"/>
                  </a:lnTo>
                  <a:lnTo>
                    <a:pt x="425" y="290"/>
                  </a:lnTo>
                  <a:lnTo>
                    <a:pt x="426" y="290"/>
                  </a:lnTo>
                  <a:lnTo>
                    <a:pt x="429" y="288"/>
                  </a:lnTo>
                  <a:lnTo>
                    <a:pt x="429" y="287"/>
                  </a:lnTo>
                  <a:lnTo>
                    <a:pt x="430" y="287"/>
                  </a:lnTo>
                  <a:lnTo>
                    <a:pt x="431" y="288"/>
                  </a:lnTo>
                  <a:lnTo>
                    <a:pt x="432" y="290"/>
                  </a:lnTo>
                  <a:lnTo>
                    <a:pt x="431" y="290"/>
                  </a:lnTo>
                  <a:lnTo>
                    <a:pt x="432" y="291"/>
                  </a:lnTo>
                  <a:lnTo>
                    <a:pt x="431" y="292"/>
                  </a:lnTo>
                  <a:lnTo>
                    <a:pt x="433" y="293"/>
                  </a:lnTo>
                  <a:lnTo>
                    <a:pt x="435" y="294"/>
                  </a:lnTo>
                  <a:lnTo>
                    <a:pt x="435" y="296"/>
                  </a:lnTo>
                  <a:lnTo>
                    <a:pt x="433" y="296"/>
                  </a:lnTo>
                  <a:lnTo>
                    <a:pt x="435" y="296"/>
                  </a:lnTo>
                  <a:lnTo>
                    <a:pt x="433" y="298"/>
                  </a:lnTo>
                  <a:lnTo>
                    <a:pt x="435" y="299"/>
                  </a:lnTo>
                  <a:lnTo>
                    <a:pt x="436" y="298"/>
                  </a:lnTo>
                  <a:lnTo>
                    <a:pt x="437" y="299"/>
                  </a:lnTo>
                  <a:lnTo>
                    <a:pt x="438" y="300"/>
                  </a:lnTo>
                  <a:lnTo>
                    <a:pt x="437" y="302"/>
                  </a:lnTo>
                  <a:lnTo>
                    <a:pt x="439" y="302"/>
                  </a:lnTo>
                  <a:lnTo>
                    <a:pt x="443" y="302"/>
                  </a:lnTo>
                  <a:lnTo>
                    <a:pt x="444" y="303"/>
                  </a:lnTo>
                  <a:lnTo>
                    <a:pt x="444" y="304"/>
                  </a:lnTo>
                  <a:lnTo>
                    <a:pt x="445" y="304"/>
                  </a:lnTo>
                  <a:lnTo>
                    <a:pt x="449" y="305"/>
                  </a:lnTo>
                  <a:lnTo>
                    <a:pt x="451" y="304"/>
                  </a:lnTo>
                  <a:lnTo>
                    <a:pt x="453" y="303"/>
                  </a:lnTo>
                  <a:lnTo>
                    <a:pt x="454" y="303"/>
                  </a:lnTo>
                  <a:lnTo>
                    <a:pt x="455" y="304"/>
                  </a:lnTo>
                  <a:lnTo>
                    <a:pt x="456" y="304"/>
                  </a:lnTo>
                  <a:lnTo>
                    <a:pt x="457" y="304"/>
                  </a:lnTo>
                  <a:lnTo>
                    <a:pt x="460" y="304"/>
                  </a:lnTo>
                  <a:lnTo>
                    <a:pt x="459" y="303"/>
                  </a:lnTo>
                  <a:lnTo>
                    <a:pt x="460" y="302"/>
                  </a:lnTo>
                  <a:lnTo>
                    <a:pt x="460" y="303"/>
                  </a:lnTo>
                  <a:lnTo>
                    <a:pt x="464" y="303"/>
                  </a:lnTo>
                  <a:lnTo>
                    <a:pt x="462" y="303"/>
                  </a:lnTo>
                  <a:lnTo>
                    <a:pt x="465" y="304"/>
                  </a:lnTo>
                  <a:lnTo>
                    <a:pt x="467" y="305"/>
                  </a:lnTo>
                  <a:lnTo>
                    <a:pt x="468" y="305"/>
                  </a:lnTo>
                  <a:lnTo>
                    <a:pt x="468" y="306"/>
                  </a:lnTo>
                  <a:lnTo>
                    <a:pt x="470" y="306"/>
                  </a:lnTo>
                  <a:lnTo>
                    <a:pt x="472" y="308"/>
                  </a:lnTo>
                  <a:lnTo>
                    <a:pt x="472" y="309"/>
                  </a:lnTo>
                  <a:lnTo>
                    <a:pt x="471" y="309"/>
                  </a:lnTo>
                  <a:lnTo>
                    <a:pt x="471" y="310"/>
                  </a:lnTo>
                  <a:lnTo>
                    <a:pt x="471" y="311"/>
                  </a:lnTo>
                  <a:lnTo>
                    <a:pt x="471" y="315"/>
                  </a:lnTo>
                  <a:lnTo>
                    <a:pt x="468" y="315"/>
                  </a:lnTo>
                  <a:lnTo>
                    <a:pt x="467" y="316"/>
                  </a:lnTo>
                  <a:lnTo>
                    <a:pt x="467" y="317"/>
                  </a:lnTo>
                  <a:lnTo>
                    <a:pt x="470" y="317"/>
                  </a:lnTo>
                  <a:lnTo>
                    <a:pt x="470" y="316"/>
                  </a:lnTo>
                  <a:lnTo>
                    <a:pt x="471" y="315"/>
                  </a:lnTo>
                  <a:lnTo>
                    <a:pt x="472" y="314"/>
                  </a:lnTo>
                  <a:lnTo>
                    <a:pt x="473" y="314"/>
                  </a:lnTo>
                  <a:lnTo>
                    <a:pt x="474" y="314"/>
                  </a:lnTo>
                  <a:lnTo>
                    <a:pt x="476" y="314"/>
                  </a:lnTo>
                  <a:lnTo>
                    <a:pt x="476" y="312"/>
                  </a:lnTo>
                  <a:lnTo>
                    <a:pt x="477" y="315"/>
                  </a:lnTo>
                  <a:lnTo>
                    <a:pt x="477" y="314"/>
                  </a:lnTo>
                  <a:lnTo>
                    <a:pt x="477" y="315"/>
                  </a:lnTo>
                  <a:lnTo>
                    <a:pt x="478" y="315"/>
                  </a:lnTo>
                  <a:lnTo>
                    <a:pt x="478" y="316"/>
                  </a:lnTo>
                  <a:lnTo>
                    <a:pt x="479" y="317"/>
                  </a:lnTo>
                  <a:lnTo>
                    <a:pt x="479" y="318"/>
                  </a:lnTo>
                  <a:lnTo>
                    <a:pt x="480" y="320"/>
                  </a:lnTo>
                  <a:lnTo>
                    <a:pt x="482" y="320"/>
                  </a:lnTo>
                  <a:lnTo>
                    <a:pt x="484" y="322"/>
                  </a:lnTo>
                  <a:lnTo>
                    <a:pt x="484" y="323"/>
                  </a:lnTo>
                  <a:lnTo>
                    <a:pt x="485" y="323"/>
                  </a:lnTo>
                  <a:lnTo>
                    <a:pt x="486" y="323"/>
                  </a:lnTo>
                  <a:lnTo>
                    <a:pt x="488" y="322"/>
                  </a:lnTo>
                  <a:lnTo>
                    <a:pt x="490" y="322"/>
                  </a:lnTo>
                  <a:lnTo>
                    <a:pt x="489" y="323"/>
                  </a:lnTo>
                  <a:lnTo>
                    <a:pt x="490" y="323"/>
                  </a:lnTo>
                  <a:lnTo>
                    <a:pt x="491" y="323"/>
                  </a:lnTo>
                  <a:lnTo>
                    <a:pt x="492" y="323"/>
                  </a:lnTo>
                  <a:lnTo>
                    <a:pt x="492" y="324"/>
                  </a:lnTo>
                  <a:lnTo>
                    <a:pt x="492" y="328"/>
                  </a:lnTo>
                  <a:lnTo>
                    <a:pt x="492" y="330"/>
                  </a:lnTo>
                  <a:lnTo>
                    <a:pt x="494" y="330"/>
                  </a:lnTo>
                  <a:lnTo>
                    <a:pt x="494" y="333"/>
                  </a:lnTo>
                  <a:lnTo>
                    <a:pt x="494" y="335"/>
                  </a:lnTo>
                  <a:lnTo>
                    <a:pt x="492" y="336"/>
                  </a:lnTo>
                  <a:lnTo>
                    <a:pt x="492" y="339"/>
                  </a:lnTo>
                  <a:lnTo>
                    <a:pt x="494" y="339"/>
                  </a:lnTo>
                  <a:lnTo>
                    <a:pt x="495" y="340"/>
                  </a:lnTo>
                  <a:lnTo>
                    <a:pt x="496" y="340"/>
                  </a:lnTo>
                  <a:lnTo>
                    <a:pt x="497" y="340"/>
                  </a:lnTo>
                  <a:lnTo>
                    <a:pt x="498" y="339"/>
                  </a:lnTo>
                  <a:lnTo>
                    <a:pt x="498" y="340"/>
                  </a:lnTo>
                  <a:lnTo>
                    <a:pt x="500" y="340"/>
                  </a:lnTo>
                  <a:lnTo>
                    <a:pt x="503" y="341"/>
                  </a:lnTo>
                  <a:lnTo>
                    <a:pt x="503" y="342"/>
                  </a:lnTo>
                  <a:lnTo>
                    <a:pt x="504" y="344"/>
                  </a:lnTo>
                  <a:lnTo>
                    <a:pt x="508" y="344"/>
                  </a:lnTo>
                  <a:lnTo>
                    <a:pt x="509" y="344"/>
                  </a:lnTo>
                  <a:lnTo>
                    <a:pt x="510" y="345"/>
                  </a:lnTo>
                  <a:lnTo>
                    <a:pt x="510" y="348"/>
                  </a:lnTo>
                  <a:lnTo>
                    <a:pt x="509" y="350"/>
                  </a:lnTo>
                  <a:lnTo>
                    <a:pt x="512" y="351"/>
                  </a:lnTo>
                  <a:lnTo>
                    <a:pt x="512" y="352"/>
                  </a:lnTo>
                  <a:lnTo>
                    <a:pt x="513" y="352"/>
                  </a:lnTo>
                  <a:lnTo>
                    <a:pt x="514" y="354"/>
                  </a:lnTo>
                  <a:lnTo>
                    <a:pt x="518" y="354"/>
                  </a:lnTo>
                  <a:lnTo>
                    <a:pt x="519" y="357"/>
                  </a:lnTo>
                  <a:lnTo>
                    <a:pt x="519" y="358"/>
                  </a:lnTo>
                  <a:lnTo>
                    <a:pt x="520" y="358"/>
                  </a:lnTo>
                  <a:lnTo>
                    <a:pt x="521" y="358"/>
                  </a:lnTo>
                  <a:lnTo>
                    <a:pt x="523" y="358"/>
                  </a:lnTo>
                  <a:lnTo>
                    <a:pt x="521" y="359"/>
                  </a:lnTo>
                  <a:lnTo>
                    <a:pt x="521" y="360"/>
                  </a:lnTo>
                  <a:lnTo>
                    <a:pt x="521" y="362"/>
                  </a:lnTo>
                  <a:lnTo>
                    <a:pt x="521" y="364"/>
                  </a:lnTo>
                  <a:lnTo>
                    <a:pt x="523" y="365"/>
                  </a:lnTo>
                  <a:lnTo>
                    <a:pt x="524" y="365"/>
                  </a:lnTo>
                  <a:lnTo>
                    <a:pt x="521" y="366"/>
                  </a:lnTo>
                  <a:lnTo>
                    <a:pt x="523" y="368"/>
                  </a:lnTo>
                  <a:lnTo>
                    <a:pt x="524" y="369"/>
                  </a:lnTo>
                  <a:lnTo>
                    <a:pt x="525" y="370"/>
                  </a:lnTo>
                  <a:lnTo>
                    <a:pt x="526" y="371"/>
                  </a:lnTo>
                  <a:lnTo>
                    <a:pt x="525" y="373"/>
                  </a:lnTo>
                  <a:lnTo>
                    <a:pt x="524" y="375"/>
                  </a:lnTo>
                  <a:lnTo>
                    <a:pt x="525" y="377"/>
                  </a:lnTo>
                  <a:lnTo>
                    <a:pt x="525" y="376"/>
                  </a:lnTo>
                  <a:lnTo>
                    <a:pt x="527" y="376"/>
                  </a:lnTo>
                  <a:lnTo>
                    <a:pt x="530" y="380"/>
                  </a:lnTo>
                  <a:lnTo>
                    <a:pt x="530" y="381"/>
                  </a:lnTo>
                  <a:lnTo>
                    <a:pt x="532" y="381"/>
                  </a:lnTo>
                  <a:lnTo>
                    <a:pt x="533" y="381"/>
                  </a:lnTo>
                  <a:lnTo>
                    <a:pt x="533" y="382"/>
                  </a:lnTo>
                  <a:lnTo>
                    <a:pt x="536" y="382"/>
                  </a:lnTo>
                  <a:lnTo>
                    <a:pt x="535" y="385"/>
                  </a:lnTo>
                  <a:lnTo>
                    <a:pt x="533" y="386"/>
                  </a:lnTo>
                  <a:lnTo>
                    <a:pt x="532" y="387"/>
                  </a:lnTo>
                  <a:lnTo>
                    <a:pt x="535" y="388"/>
                  </a:lnTo>
                  <a:lnTo>
                    <a:pt x="535" y="387"/>
                  </a:lnTo>
                  <a:lnTo>
                    <a:pt x="536" y="387"/>
                  </a:lnTo>
                  <a:lnTo>
                    <a:pt x="536" y="388"/>
                  </a:lnTo>
                  <a:lnTo>
                    <a:pt x="537" y="388"/>
                  </a:lnTo>
                  <a:lnTo>
                    <a:pt x="537" y="389"/>
                  </a:lnTo>
                  <a:lnTo>
                    <a:pt x="537" y="391"/>
                  </a:lnTo>
                  <a:lnTo>
                    <a:pt x="538" y="391"/>
                  </a:lnTo>
                  <a:lnTo>
                    <a:pt x="539" y="393"/>
                  </a:lnTo>
                  <a:lnTo>
                    <a:pt x="539" y="392"/>
                  </a:lnTo>
                  <a:lnTo>
                    <a:pt x="542" y="394"/>
                  </a:lnTo>
                  <a:lnTo>
                    <a:pt x="542" y="395"/>
                  </a:lnTo>
                  <a:lnTo>
                    <a:pt x="541" y="397"/>
                  </a:lnTo>
                  <a:lnTo>
                    <a:pt x="543" y="398"/>
                  </a:lnTo>
                  <a:lnTo>
                    <a:pt x="544" y="399"/>
                  </a:lnTo>
                  <a:lnTo>
                    <a:pt x="545" y="400"/>
                  </a:lnTo>
                  <a:lnTo>
                    <a:pt x="547" y="399"/>
                  </a:lnTo>
                  <a:lnTo>
                    <a:pt x="548" y="398"/>
                  </a:lnTo>
                  <a:lnTo>
                    <a:pt x="549" y="398"/>
                  </a:lnTo>
                  <a:lnTo>
                    <a:pt x="550" y="399"/>
                  </a:lnTo>
                  <a:lnTo>
                    <a:pt x="550" y="400"/>
                  </a:lnTo>
                  <a:lnTo>
                    <a:pt x="551" y="399"/>
                  </a:lnTo>
                  <a:lnTo>
                    <a:pt x="554" y="398"/>
                  </a:lnTo>
                  <a:lnTo>
                    <a:pt x="556" y="399"/>
                  </a:lnTo>
                  <a:lnTo>
                    <a:pt x="555" y="400"/>
                  </a:lnTo>
                  <a:lnTo>
                    <a:pt x="555" y="401"/>
                  </a:lnTo>
                  <a:lnTo>
                    <a:pt x="554" y="403"/>
                  </a:lnTo>
                  <a:lnTo>
                    <a:pt x="553" y="401"/>
                  </a:lnTo>
                  <a:lnTo>
                    <a:pt x="553" y="403"/>
                  </a:lnTo>
                  <a:lnTo>
                    <a:pt x="550" y="404"/>
                  </a:lnTo>
                  <a:lnTo>
                    <a:pt x="549" y="404"/>
                  </a:lnTo>
                  <a:lnTo>
                    <a:pt x="548" y="405"/>
                  </a:lnTo>
                  <a:lnTo>
                    <a:pt x="547" y="404"/>
                  </a:lnTo>
                  <a:lnTo>
                    <a:pt x="547" y="405"/>
                  </a:lnTo>
                  <a:lnTo>
                    <a:pt x="545" y="406"/>
                  </a:lnTo>
                  <a:lnTo>
                    <a:pt x="547" y="407"/>
                  </a:lnTo>
                  <a:lnTo>
                    <a:pt x="544" y="410"/>
                  </a:lnTo>
                  <a:lnTo>
                    <a:pt x="544" y="411"/>
                  </a:lnTo>
                  <a:lnTo>
                    <a:pt x="543" y="412"/>
                  </a:lnTo>
                  <a:lnTo>
                    <a:pt x="544" y="413"/>
                  </a:lnTo>
                  <a:lnTo>
                    <a:pt x="544" y="415"/>
                  </a:lnTo>
                  <a:lnTo>
                    <a:pt x="543" y="416"/>
                  </a:lnTo>
                  <a:lnTo>
                    <a:pt x="545" y="417"/>
                  </a:lnTo>
                  <a:lnTo>
                    <a:pt x="547" y="418"/>
                  </a:lnTo>
                  <a:lnTo>
                    <a:pt x="548" y="418"/>
                  </a:lnTo>
                  <a:lnTo>
                    <a:pt x="549" y="419"/>
                  </a:lnTo>
                  <a:lnTo>
                    <a:pt x="549" y="421"/>
                  </a:lnTo>
                  <a:lnTo>
                    <a:pt x="547" y="421"/>
                  </a:lnTo>
                  <a:lnTo>
                    <a:pt x="547" y="422"/>
                  </a:lnTo>
                  <a:lnTo>
                    <a:pt x="545" y="422"/>
                  </a:lnTo>
                  <a:lnTo>
                    <a:pt x="544" y="422"/>
                  </a:lnTo>
                  <a:lnTo>
                    <a:pt x="544" y="421"/>
                  </a:lnTo>
                  <a:lnTo>
                    <a:pt x="542" y="421"/>
                  </a:lnTo>
                  <a:lnTo>
                    <a:pt x="541" y="419"/>
                  </a:lnTo>
                  <a:lnTo>
                    <a:pt x="541" y="418"/>
                  </a:lnTo>
                  <a:lnTo>
                    <a:pt x="539" y="418"/>
                  </a:lnTo>
                  <a:lnTo>
                    <a:pt x="538" y="416"/>
                  </a:lnTo>
                  <a:lnTo>
                    <a:pt x="536" y="416"/>
                  </a:lnTo>
                  <a:lnTo>
                    <a:pt x="535" y="413"/>
                  </a:lnTo>
                  <a:lnTo>
                    <a:pt x="535" y="412"/>
                  </a:lnTo>
                  <a:lnTo>
                    <a:pt x="535" y="411"/>
                  </a:lnTo>
                  <a:lnTo>
                    <a:pt x="533" y="411"/>
                  </a:lnTo>
                  <a:lnTo>
                    <a:pt x="532" y="411"/>
                  </a:lnTo>
                  <a:lnTo>
                    <a:pt x="530" y="411"/>
                  </a:lnTo>
                  <a:lnTo>
                    <a:pt x="527" y="411"/>
                  </a:lnTo>
                  <a:lnTo>
                    <a:pt x="523" y="411"/>
                  </a:lnTo>
                  <a:lnTo>
                    <a:pt x="524" y="410"/>
                  </a:lnTo>
                  <a:lnTo>
                    <a:pt x="524" y="407"/>
                  </a:lnTo>
                  <a:lnTo>
                    <a:pt x="524" y="405"/>
                  </a:lnTo>
                  <a:lnTo>
                    <a:pt x="523" y="407"/>
                  </a:lnTo>
                  <a:lnTo>
                    <a:pt x="523" y="409"/>
                  </a:lnTo>
                  <a:lnTo>
                    <a:pt x="520" y="410"/>
                  </a:lnTo>
                  <a:lnTo>
                    <a:pt x="518" y="411"/>
                  </a:lnTo>
                  <a:lnTo>
                    <a:pt x="516" y="411"/>
                  </a:lnTo>
                  <a:lnTo>
                    <a:pt x="516" y="413"/>
                  </a:lnTo>
                  <a:lnTo>
                    <a:pt x="518" y="413"/>
                  </a:lnTo>
                  <a:lnTo>
                    <a:pt x="518" y="416"/>
                  </a:lnTo>
                  <a:lnTo>
                    <a:pt x="518" y="417"/>
                  </a:lnTo>
                  <a:lnTo>
                    <a:pt x="516" y="418"/>
                  </a:lnTo>
                  <a:lnTo>
                    <a:pt x="516" y="417"/>
                  </a:lnTo>
                  <a:lnTo>
                    <a:pt x="515" y="418"/>
                  </a:lnTo>
                  <a:lnTo>
                    <a:pt x="514" y="418"/>
                  </a:lnTo>
                  <a:lnTo>
                    <a:pt x="513" y="418"/>
                  </a:lnTo>
                  <a:lnTo>
                    <a:pt x="512" y="419"/>
                  </a:lnTo>
                  <a:lnTo>
                    <a:pt x="510" y="419"/>
                  </a:lnTo>
                  <a:lnTo>
                    <a:pt x="512" y="418"/>
                  </a:lnTo>
                  <a:lnTo>
                    <a:pt x="512" y="416"/>
                  </a:lnTo>
                  <a:lnTo>
                    <a:pt x="510" y="416"/>
                  </a:lnTo>
                  <a:lnTo>
                    <a:pt x="510" y="415"/>
                  </a:lnTo>
                  <a:lnTo>
                    <a:pt x="509" y="413"/>
                  </a:lnTo>
                  <a:lnTo>
                    <a:pt x="509" y="412"/>
                  </a:lnTo>
                  <a:lnTo>
                    <a:pt x="508" y="411"/>
                  </a:lnTo>
                  <a:lnTo>
                    <a:pt x="507" y="411"/>
                  </a:lnTo>
                  <a:lnTo>
                    <a:pt x="506" y="411"/>
                  </a:lnTo>
                  <a:lnTo>
                    <a:pt x="504" y="411"/>
                  </a:lnTo>
                  <a:lnTo>
                    <a:pt x="503" y="410"/>
                  </a:lnTo>
                  <a:lnTo>
                    <a:pt x="504" y="409"/>
                  </a:lnTo>
                  <a:lnTo>
                    <a:pt x="503" y="409"/>
                  </a:lnTo>
                  <a:lnTo>
                    <a:pt x="501" y="407"/>
                  </a:lnTo>
                  <a:lnTo>
                    <a:pt x="500" y="406"/>
                  </a:lnTo>
                  <a:lnTo>
                    <a:pt x="500" y="405"/>
                  </a:lnTo>
                  <a:lnTo>
                    <a:pt x="498" y="404"/>
                  </a:lnTo>
                  <a:lnTo>
                    <a:pt x="497" y="403"/>
                  </a:lnTo>
                  <a:lnTo>
                    <a:pt x="496" y="403"/>
                  </a:lnTo>
                  <a:lnTo>
                    <a:pt x="495" y="405"/>
                  </a:lnTo>
                  <a:lnTo>
                    <a:pt x="494" y="405"/>
                  </a:lnTo>
                  <a:lnTo>
                    <a:pt x="494" y="406"/>
                  </a:lnTo>
                  <a:lnTo>
                    <a:pt x="491" y="406"/>
                  </a:lnTo>
                  <a:lnTo>
                    <a:pt x="490" y="404"/>
                  </a:lnTo>
                  <a:lnTo>
                    <a:pt x="488" y="405"/>
                  </a:lnTo>
                  <a:lnTo>
                    <a:pt x="488" y="406"/>
                  </a:lnTo>
                  <a:lnTo>
                    <a:pt x="486" y="406"/>
                  </a:lnTo>
                  <a:lnTo>
                    <a:pt x="485" y="407"/>
                  </a:lnTo>
                  <a:lnTo>
                    <a:pt x="484" y="410"/>
                  </a:lnTo>
                  <a:lnTo>
                    <a:pt x="486" y="410"/>
                  </a:lnTo>
                  <a:lnTo>
                    <a:pt x="488" y="411"/>
                  </a:lnTo>
                  <a:lnTo>
                    <a:pt x="489" y="412"/>
                  </a:lnTo>
                  <a:lnTo>
                    <a:pt x="488" y="411"/>
                  </a:lnTo>
                  <a:lnTo>
                    <a:pt x="490" y="411"/>
                  </a:lnTo>
                  <a:lnTo>
                    <a:pt x="491" y="411"/>
                  </a:lnTo>
                  <a:lnTo>
                    <a:pt x="492" y="411"/>
                  </a:lnTo>
                  <a:lnTo>
                    <a:pt x="494" y="413"/>
                  </a:lnTo>
                  <a:lnTo>
                    <a:pt x="494" y="412"/>
                  </a:lnTo>
                  <a:lnTo>
                    <a:pt x="495" y="412"/>
                  </a:lnTo>
                  <a:lnTo>
                    <a:pt x="497" y="412"/>
                  </a:lnTo>
                  <a:lnTo>
                    <a:pt x="498" y="412"/>
                  </a:lnTo>
                  <a:lnTo>
                    <a:pt x="498" y="413"/>
                  </a:lnTo>
                  <a:lnTo>
                    <a:pt x="500" y="413"/>
                  </a:lnTo>
                  <a:lnTo>
                    <a:pt x="500" y="415"/>
                  </a:lnTo>
                  <a:lnTo>
                    <a:pt x="501" y="415"/>
                  </a:lnTo>
                  <a:lnTo>
                    <a:pt x="501" y="416"/>
                  </a:lnTo>
                  <a:lnTo>
                    <a:pt x="501" y="417"/>
                  </a:lnTo>
                  <a:lnTo>
                    <a:pt x="502" y="417"/>
                  </a:lnTo>
                  <a:lnTo>
                    <a:pt x="502" y="418"/>
                  </a:lnTo>
                  <a:lnTo>
                    <a:pt x="504" y="419"/>
                  </a:lnTo>
                  <a:lnTo>
                    <a:pt x="506" y="419"/>
                  </a:lnTo>
                  <a:lnTo>
                    <a:pt x="506" y="421"/>
                  </a:lnTo>
                  <a:lnTo>
                    <a:pt x="504" y="421"/>
                  </a:lnTo>
                  <a:lnTo>
                    <a:pt x="504" y="422"/>
                  </a:lnTo>
                  <a:lnTo>
                    <a:pt x="504" y="423"/>
                  </a:lnTo>
                  <a:lnTo>
                    <a:pt x="504" y="425"/>
                  </a:lnTo>
                  <a:lnTo>
                    <a:pt x="504" y="427"/>
                  </a:lnTo>
                  <a:lnTo>
                    <a:pt x="503" y="428"/>
                  </a:lnTo>
                  <a:lnTo>
                    <a:pt x="502" y="427"/>
                  </a:lnTo>
                  <a:lnTo>
                    <a:pt x="500" y="428"/>
                  </a:lnTo>
                  <a:lnTo>
                    <a:pt x="500" y="427"/>
                  </a:lnTo>
                  <a:lnTo>
                    <a:pt x="497" y="427"/>
                  </a:lnTo>
                  <a:lnTo>
                    <a:pt x="496" y="427"/>
                  </a:lnTo>
                  <a:lnTo>
                    <a:pt x="495" y="427"/>
                  </a:lnTo>
                  <a:lnTo>
                    <a:pt x="495" y="428"/>
                  </a:lnTo>
                  <a:lnTo>
                    <a:pt x="492" y="427"/>
                  </a:lnTo>
                  <a:lnTo>
                    <a:pt x="491" y="428"/>
                  </a:lnTo>
                  <a:lnTo>
                    <a:pt x="491" y="429"/>
                  </a:lnTo>
                  <a:lnTo>
                    <a:pt x="490" y="430"/>
                  </a:lnTo>
                  <a:lnTo>
                    <a:pt x="491" y="431"/>
                  </a:lnTo>
                  <a:lnTo>
                    <a:pt x="490" y="431"/>
                  </a:lnTo>
                  <a:lnTo>
                    <a:pt x="489" y="431"/>
                  </a:lnTo>
                  <a:lnTo>
                    <a:pt x="488" y="430"/>
                  </a:lnTo>
                  <a:lnTo>
                    <a:pt x="488" y="433"/>
                  </a:lnTo>
                  <a:lnTo>
                    <a:pt x="486" y="430"/>
                  </a:lnTo>
                  <a:lnTo>
                    <a:pt x="488" y="431"/>
                  </a:lnTo>
                  <a:lnTo>
                    <a:pt x="486" y="433"/>
                  </a:lnTo>
                  <a:lnTo>
                    <a:pt x="485" y="431"/>
                  </a:lnTo>
                  <a:lnTo>
                    <a:pt x="484" y="431"/>
                  </a:lnTo>
                  <a:lnTo>
                    <a:pt x="483" y="431"/>
                  </a:lnTo>
                  <a:lnTo>
                    <a:pt x="482" y="433"/>
                  </a:lnTo>
                  <a:lnTo>
                    <a:pt x="480" y="431"/>
                  </a:lnTo>
                  <a:lnTo>
                    <a:pt x="478" y="431"/>
                  </a:lnTo>
                  <a:lnTo>
                    <a:pt x="474" y="430"/>
                  </a:lnTo>
                  <a:lnTo>
                    <a:pt x="473" y="429"/>
                  </a:lnTo>
                  <a:lnTo>
                    <a:pt x="472" y="429"/>
                  </a:lnTo>
                  <a:lnTo>
                    <a:pt x="471" y="429"/>
                  </a:lnTo>
                  <a:lnTo>
                    <a:pt x="471" y="428"/>
                  </a:lnTo>
                  <a:lnTo>
                    <a:pt x="470" y="427"/>
                  </a:lnTo>
                  <a:lnTo>
                    <a:pt x="468" y="428"/>
                  </a:lnTo>
                  <a:lnTo>
                    <a:pt x="470" y="429"/>
                  </a:lnTo>
                  <a:lnTo>
                    <a:pt x="472" y="429"/>
                  </a:lnTo>
                  <a:lnTo>
                    <a:pt x="473" y="430"/>
                  </a:lnTo>
                  <a:lnTo>
                    <a:pt x="474" y="431"/>
                  </a:lnTo>
                  <a:lnTo>
                    <a:pt x="473" y="433"/>
                  </a:lnTo>
                  <a:lnTo>
                    <a:pt x="473" y="435"/>
                  </a:lnTo>
                  <a:lnTo>
                    <a:pt x="473" y="433"/>
                  </a:lnTo>
                  <a:lnTo>
                    <a:pt x="472" y="435"/>
                  </a:lnTo>
                  <a:lnTo>
                    <a:pt x="471" y="436"/>
                  </a:lnTo>
                  <a:lnTo>
                    <a:pt x="473" y="437"/>
                  </a:lnTo>
                  <a:lnTo>
                    <a:pt x="471" y="439"/>
                  </a:lnTo>
                  <a:lnTo>
                    <a:pt x="470" y="439"/>
                  </a:lnTo>
                  <a:lnTo>
                    <a:pt x="468" y="440"/>
                  </a:lnTo>
                  <a:lnTo>
                    <a:pt x="467" y="440"/>
                  </a:lnTo>
                  <a:lnTo>
                    <a:pt x="466" y="439"/>
                  </a:lnTo>
                  <a:lnTo>
                    <a:pt x="465" y="440"/>
                  </a:lnTo>
                  <a:lnTo>
                    <a:pt x="464" y="440"/>
                  </a:lnTo>
                  <a:lnTo>
                    <a:pt x="462" y="441"/>
                  </a:lnTo>
                  <a:lnTo>
                    <a:pt x="464" y="442"/>
                  </a:lnTo>
                  <a:lnTo>
                    <a:pt x="462" y="443"/>
                  </a:lnTo>
                  <a:lnTo>
                    <a:pt x="460" y="441"/>
                  </a:lnTo>
                  <a:lnTo>
                    <a:pt x="459" y="441"/>
                  </a:lnTo>
                  <a:lnTo>
                    <a:pt x="460" y="443"/>
                  </a:lnTo>
                  <a:lnTo>
                    <a:pt x="460" y="445"/>
                  </a:lnTo>
                  <a:lnTo>
                    <a:pt x="461" y="446"/>
                  </a:lnTo>
                  <a:lnTo>
                    <a:pt x="460" y="447"/>
                  </a:lnTo>
                  <a:lnTo>
                    <a:pt x="461" y="448"/>
                  </a:lnTo>
                  <a:lnTo>
                    <a:pt x="462" y="449"/>
                  </a:lnTo>
                  <a:lnTo>
                    <a:pt x="465" y="449"/>
                  </a:lnTo>
                  <a:lnTo>
                    <a:pt x="466" y="449"/>
                  </a:lnTo>
                  <a:lnTo>
                    <a:pt x="468" y="449"/>
                  </a:lnTo>
                  <a:lnTo>
                    <a:pt x="467" y="448"/>
                  </a:lnTo>
                  <a:lnTo>
                    <a:pt x="468" y="448"/>
                  </a:lnTo>
                  <a:lnTo>
                    <a:pt x="470" y="447"/>
                  </a:lnTo>
                  <a:lnTo>
                    <a:pt x="471" y="447"/>
                  </a:lnTo>
                  <a:lnTo>
                    <a:pt x="470" y="449"/>
                  </a:lnTo>
                  <a:lnTo>
                    <a:pt x="471" y="449"/>
                  </a:lnTo>
                  <a:lnTo>
                    <a:pt x="472" y="451"/>
                  </a:lnTo>
                  <a:lnTo>
                    <a:pt x="472" y="452"/>
                  </a:lnTo>
                  <a:lnTo>
                    <a:pt x="471" y="453"/>
                  </a:lnTo>
                  <a:lnTo>
                    <a:pt x="471" y="455"/>
                  </a:lnTo>
                  <a:lnTo>
                    <a:pt x="473" y="457"/>
                  </a:lnTo>
                  <a:lnTo>
                    <a:pt x="471" y="459"/>
                  </a:lnTo>
                  <a:lnTo>
                    <a:pt x="470" y="459"/>
                  </a:lnTo>
                  <a:lnTo>
                    <a:pt x="470" y="458"/>
                  </a:lnTo>
                  <a:lnTo>
                    <a:pt x="468" y="458"/>
                  </a:lnTo>
                  <a:lnTo>
                    <a:pt x="468" y="459"/>
                  </a:lnTo>
                  <a:lnTo>
                    <a:pt x="468" y="461"/>
                  </a:lnTo>
                  <a:lnTo>
                    <a:pt x="466" y="461"/>
                  </a:lnTo>
                  <a:lnTo>
                    <a:pt x="467" y="463"/>
                  </a:lnTo>
                  <a:lnTo>
                    <a:pt x="470" y="463"/>
                  </a:lnTo>
                  <a:lnTo>
                    <a:pt x="472" y="461"/>
                  </a:lnTo>
                  <a:lnTo>
                    <a:pt x="473" y="461"/>
                  </a:lnTo>
                  <a:lnTo>
                    <a:pt x="473" y="463"/>
                  </a:lnTo>
                  <a:lnTo>
                    <a:pt x="473" y="464"/>
                  </a:lnTo>
                  <a:lnTo>
                    <a:pt x="476" y="466"/>
                  </a:lnTo>
                  <a:lnTo>
                    <a:pt x="476" y="467"/>
                  </a:lnTo>
                  <a:lnTo>
                    <a:pt x="477" y="467"/>
                  </a:lnTo>
                  <a:lnTo>
                    <a:pt x="478" y="467"/>
                  </a:lnTo>
                  <a:lnTo>
                    <a:pt x="478" y="469"/>
                  </a:lnTo>
                  <a:lnTo>
                    <a:pt x="479" y="470"/>
                  </a:lnTo>
                  <a:lnTo>
                    <a:pt x="479" y="471"/>
                  </a:lnTo>
                  <a:lnTo>
                    <a:pt x="478" y="471"/>
                  </a:lnTo>
                  <a:lnTo>
                    <a:pt x="476" y="472"/>
                  </a:lnTo>
                  <a:lnTo>
                    <a:pt x="478" y="472"/>
                  </a:lnTo>
                  <a:lnTo>
                    <a:pt x="477" y="473"/>
                  </a:lnTo>
                  <a:lnTo>
                    <a:pt x="477" y="475"/>
                  </a:lnTo>
                  <a:lnTo>
                    <a:pt x="476" y="476"/>
                  </a:lnTo>
                  <a:lnTo>
                    <a:pt x="473" y="475"/>
                  </a:lnTo>
                  <a:lnTo>
                    <a:pt x="472" y="476"/>
                  </a:lnTo>
                  <a:lnTo>
                    <a:pt x="471" y="473"/>
                  </a:lnTo>
                  <a:lnTo>
                    <a:pt x="470" y="475"/>
                  </a:lnTo>
                  <a:lnTo>
                    <a:pt x="467" y="475"/>
                  </a:lnTo>
                  <a:lnTo>
                    <a:pt x="466" y="475"/>
                  </a:lnTo>
                  <a:lnTo>
                    <a:pt x="466" y="473"/>
                  </a:lnTo>
                  <a:lnTo>
                    <a:pt x="465" y="472"/>
                  </a:lnTo>
                  <a:lnTo>
                    <a:pt x="464" y="472"/>
                  </a:lnTo>
                  <a:lnTo>
                    <a:pt x="461" y="472"/>
                  </a:lnTo>
                  <a:lnTo>
                    <a:pt x="460" y="470"/>
                  </a:lnTo>
                  <a:lnTo>
                    <a:pt x="459" y="469"/>
                  </a:lnTo>
                  <a:lnTo>
                    <a:pt x="456" y="469"/>
                  </a:lnTo>
                  <a:lnTo>
                    <a:pt x="454" y="469"/>
                  </a:lnTo>
                  <a:lnTo>
                    <a:pt x="454" y="467"/>
                  </a:lnTo>
                  <a:lnTo>
                    <a:pt x="457" y="467"/>
                  </a:lnTo>
                  <a:lnTo>
                    <a:pt x="456" y="465"/>
                  </a:lnTo>
                  <a:lnTo>
                    <a:pt x="457" y="464"/>
                  </a:lnTo>
                  <a:lnTo>
                    <a:pt x="459" y="465"/>
                  </a:lnTo>
                  <a:lnTo>
                    <a:pt x="460" y="466"/>
                  </a:lnTo>
                  <a:lnTo>
                    <a:pt x="461" y="469"/>
                  </a:lnTo>
                  <a:lnTo>
                    <a:pt x="464" y="470"/>
                  </a:lnTo>
                  <a:lnTo>
                    <a:pt x="465" y="470"/>
                  </a:lnTo>
                  <a:lnTo>
                    <a:pt x="465" y="469"/>
                  </a:lnTo>
                  <a:lnTo>
                    <a:pt x="466" y="469"/>
                  </a:lnTo>
                  <a:lnTo>
                    <a:pt x="467" y="469"/>
                  </a:lnTo>
                  <a:lnTo>
                    <a:pt x="465" y="466"/>
                  </a:lnTo>
                  <a:lnTo>
                    <a:pt x="465" y="467"/>
                  </a:lnTo>
                  <a:lnTo>
                    <a:pt x="465" y="466"/>
                  </a:lnTo>
                  <a:lnTo>
                    <a:pt x="464" y="465"/>
                  </a:lnTo>
                  <a:lnTo>
                    <a:pt x="464" y="463"/>
                  </a:lnTo>
                  <a:lnTo>
                    <a:pt x="462" y="461"/>
                  </a:lnTo>
                  <a:lnTo>
                    <a:pt x="465" y="460"/>
                  </a:lnTo>
                  <a:lnTo>
                    <a:pt x="462" y="460"/>
                  </a:lnTo>
                  <a:lnTo>
                    <a:pt x="462" y="458"/>
                  </a:lnTo>
                  <a:lnTo>
                    <a:pt x="461" y="458"/>
                  </a:lnTo>
                  <a:lnTo>
                    <a:pt x="460" y="457"/>
                  </a:lnTo>
                  <a:lnTo>
                    <a:pt x="461" y="455"/>
                  </a:lnTo>
                  <a:lnTo>
                    <a:pt x="457" y="455"/>
                  </a:lnTo>
                  <a:lnTo>
                    <a:pt x="457" y="457"/>
                  </a:lnTo>
                  <a:lnTo>
                    <a:pt x="459" y="457"/>
                  </a:lnTo>
                  <a:lnTo>
                    <a:pt x="459" y="458"/>
                  </a:lnTo>
                  <a:lnTo>
                    <a:pt x="460" y="458"/>
                  </a:lnTo>
                  <a:lnTo>
                    <a:pt x="461" y="458"/>
                  </a:lnTo>
                  <a:lnTo>
                    <a:pt x="459" y="460"/>
                  </a:lnTo>
                  <a:lnTo>
                    <a:pt x="456" y="458"/>
                  </a:lnTo>
                  <a:lnTo>
                    <a:pt x="455" y="457"/>
                  </a:lnTo>
                  <a:lnTo>
                    <a:pt x="454" y="457"/>
                  </a:lnTo>
                  <a:lnTo>
                    <a:pt x="454" y="455"/>
                  </a:lnTo>
                  <a:lnTo>
                    <a:pt x="451" y="454"/>
                  </a:lnTo>
                  <a:lnTo>
                    <a:pt x="450" y="453"/>
                  </a:lnTo>
                  <a:lnTo>
                    <a:pt x="449" y="452"/>
                  </a:lnTo>
                  <a:lnTo>
                    <a:pt x="448" y="451"/>
                  </a:lnTo>
                  <a:lnTo>
                    <a:pt x="445" y="449"/>
                  </a:lnTo>
                  <a:lnTo>
                    <a:pt x="445" y="447"/>
                  </a:lnTo>
                  <a:lnTo>
                    <a:pt x="447" y="447"/>
                  </a:lnTo>
                  <a:lnTo>
                    <a:pt x="448" y="447"/>
                  </a:lnTo>
                  <a:lnTo>
                    <a:pt x="448" y="446"/>
                  </a:lnTo>
                  <a:lnTo>
                    <a:pt x="449" y="446"/>
                  </a:lnTo>
                  <a:lnTo>
                    <a:pt x="449" y="445"/>
                  </a:lnTo>
                  <a:lnTo>
                    <a:pt x="448" y="443"/>
                  </a:lnTo>
                  <a:lnTo>
                    <a:pt x="449" y="442"/>
                  </a:lnTo>
                  <a:lnTo>
                    <a:pt x="448" y="440"/>
                  </a:lnTo>
                  <a:lnTo>
                    <a:pt x="448" y="442"/>
                  </a:lnTo>
                  <a:lnTo>
                    <a:pt x="448" y="443"/>
                  </a:lnTo>
                  <a:lnTo>
                    <a:pt x="444" y="443"/>
                  </a:lnTo>
                  <a:lnTo>
                    <a:pt x="443" y="442"/>
                  </a:lnTo>
                  <a:lnTo>
                    <a:pt x="442" y="441"/>
                  </a:lnTo>
                  <a:lnTo>
                    <a:pt x="441" y="441"/>
                  </a:lnTo>
                  <a:lnTo>
                    <a:pt x="439" y="440"/>
                  </a:lnTo>
                  <a:lnTo>
                    <a:pt x="438" y="440"/>
                  </a:lnTo>
                  <a:lnTo>
                    <a:pt x="437" y="440"/>
                  </a:lnTo>
                  <a:lnTo>
                    <a:pt x="436" y="440"/>
                  </a:lnTo>
                  <a:lnTo>
                    <a:pt x="435" y="439"/>
                  </a:lnTo>
                  <a:lnTo>
                    <a:pt x="435" y="437"/>
                  </a:lnTo>
                  <a:lnTo>
                    <a:pt x="435" y="435"/>
                  </a:lnTo>
                  <a:lnTo>
                    <a:pt x="433" y="433"/>
                  </a:lnTo>
                  <a:lnTo>
                    <a:pt x="435" y="430"/>
                  </a:lnTo>
                  <a:lnTo>
                    <a:pt x="436" y="431"/>
                  </a:lnTo>
                  <a:lnTo>
                    <a:pt x="435" y="430"/>
                  </a:lnTo>
                  <a:lnTo>
                    <a:pt x="436" y="431"/>
                  </a:lnTo>
                  <a:lnTo>
                    <a:pt x="437" y="430"/>
                  </a:lnTo>
                  <a:lnTo>
                    <a:pt x="438" y="429"/>
                  </a:lnTo>
                  <a:lnTo>
                    <a:pt x="439" y="429"/>
                  </a:lnTo>
                  <a:lnTo>
                    <a:pt x="438" y="429"/>
                  </a:lnTo>
                  <a:lnTo>
                    <a:pt x="438" y="428"/>
                  </a:lnTo>
                  <a:lnTo>
                    <a:pt x="438" y="427"/>
                  </a:lnTo>
                  <a:lnTo>
                    <a:pt x="439" y="428"/>
                  </a:lnTo>
                  <a:lnTo>
                    <a:pt x="438" y="425"/>
                  </a:lnTo>
                  <a:lnTo>
                    <a:pt x="438" y="424"/>
                  </a:lnTo>
                  <a:lnTo>
                    <a:pt x="441" y="421"/>
                  </a:lnTo>
                  <a:lnTo>
                    <a:pt x="441" y="423"/>
                  </a:lnTo>
                  <a:lnTo>
                    <a:pt x="442" y="423"/>
                  </a:lnTo>
                  <a:lnTo>
                    <a:pt x="442" y="424"/>
                  </a:lnTo>
                  <a:lnTo>
                    <a:pt x="442" y="425"/>
                  </a:lnTo>
                  <a:lnTo>
                    <a:pt x="442" y="427"/>
                  </a:lnTo>
                  <a:lnTo>
                    <a:pt x="443" y="428"/>
                  </a:lnTo>
                  <a:lnTo>
                    <a:pt x="443" y="427"/>
                  </a:lnTo>
                  <a:lnTo>
                    <a:pt x="444" y="429"/>
                  </a:lnTo>
                  <a:lnTo>
                    <a:pt x="442" y="429"/>
                  </a:lnTo>
                  <a:lnTo>
                    <a:pt x="441" y="429"/>
                  </a:lnTo>
                  <a:lnTo>
                    <a:pt x="442" y="430"/>
                  </a:lnTo>
                  <a:lnTo>
                    <a:pt x="442" y="431"/>
                  </a:lnTo>
                  <a:lnTo>
                    <a:pt x="444" y="431"/>
                  </a:lnTo>
                  <a:lnTo>
                    <a:pt x="444" y="430"/>
                  </a:lnTo>
                  <a:lnTo>
                    <a:pt x="445" y="429"/>
                  </a:lnTo>
                  <a:lnTo>
                    <a:pt x="447" y="429"/>
                  </a:lnTo>
                  <a:lnTo>
                    <a:pt x="447" y="431"/>
                  </a:lnTo>
                  <a:lnTo>
                    <a:pt x="448" y="433"/>
                  </a:lnTo>
                  <a:lnTo>
                    <a:pt x="450" y="434"/>
                  </a:lnTo>
                  <a:lnTo>
                    <a:pt x="451" y="431"/>
                  </a:lnTo>
                  <a:lnTo>
                    <a:pt x="451" y="429"/>
                  </a:lnTo>
                  <a:lnTo>
                    <a:pt x="451" y="428"/>
                  </a:lnTo>
                  <a:lnTo>
                    <a:pt x="450" y="428"/>
                  </a:lnTo>
                  <a:lnTo>
                    <a:pt x="451" y="425"/>
                  </a:lnTo>
                  <a:lnTo>
                    <a:pt x="453" y="424"/>
                  </a:lnTo>
                  <a:lnTo>
                    <a:pt x="451" y="422"/>
                  </a:lnTo>
                  <a:lnTo>
                    <a:pt x="450" y="421"/>
                  </a:lnTo>
                  <a:lnTo>
                    <a:pt x="448" y="421"/>
                  </a:lnTo>
                  <a:lnTo>
                    <a:pt x="445" y="421"/>
                  </a:lnTo>
                  <a:lnTo>
                    <a:pt x="442" y="421"/>
                  </a:lnTo>
                  <a:lnTo>
                    <a:pt x="441" y="421"/>
                  </a:lnTo>
                  <a:lnTo>
                    <a:pt x="438" y="422"/>
                  </a:lnTo>
                  <a:lnTo>
                    <a:pt x="436" y="422"/>
                  </a:lnTo>
                  <a:lnTo>
                    <a:pt x="435" y="421"/>
                  </a:lnTo>
                  <a:lnTo>
                    <a:pt x="431" y="418"/>
                  </a:lnTo>
                  <a:lnTo>
                    <a:pt x="429" y="418"/>
                  </a:lnTo>
                  <a:lnTo>
                    <a:pt x="427" y="418"/>
                  </a:lnTo>
                  <a:lnTo>
                    <a:pt x="427" y="419"/>
                  </a:lnTo>
                  <a:lnTo>
                    <a:pt x="429" y="421"/>
                  </a:lnTo>
                  <a:lnTo>
                    <a:pt x="430" y="419"/>
                  </a:lnTo>
                  <a:lnTo>
                    <a:pt x="429" y="421"/>
                  </a:lnTo>
                  <a:lnTo>
                    <a:pt x="429" y="422"/>
                  </a:lnTo>
                  <a:lnTo>
                    <a:pt x="427" y="421"/>
                  </a:lnTo>
                  <a:lnTo>
                    <a:pt x="425" y="422"/>
                  </a:lnTo>
                  <a:lnTo>
                    <a:pt x="424" y="424"/>
                  </a:lnTo>
                  <a:lnTo>
                    <a:pt x="421" y="424"/>
                  </a:lnTo>
                  <a:lnTo>
                    <a:pt x="419" y="424"/>
                  </a:lnTo>
                  <a:lnTo>
                    <a:pt x="418" y="423"/>
                  </a:lnTo>
                  <a:lnTo>
                    <a:pt x="417" y="422"/>
                  </a:lnTo>
                  <a:lnTo>
                    <a:pt x="415" y="422"/>
                  </a:lnTo>
                  <a:lnTo>
                    <a:pt x="414" y="422"/>
                  </a:lnTo>
                  <a:lnTo>
                    <a:pt x="413" y="423"/>
                  </a:lnTo>
                  <a:lnTo>
                    <a:pt x="412" y="423"/>
                  </a:lnTo>
                  <a:lnTo>
                    <a:pt x="411" y="424"/>
                  </a:lnTo>
                  <a:lnTo>
                    <a:pt x="411" y="425"/>
                  </a:lnTo>
                  <a:lnTo>
                    <a:pt x="408" y="425"/>
                  </a:lnTo>
                  <a:lnTo>
                    <a:pt x="407" y="424"/>
                  </a:lnTo>
                  <a:lnTo>
                    <a:pt x="406" y="423"/>
                  </a:lnTo>
                  <a:lnTo>
                    <a:pt x="403" y="425"/>
                  </a:lnTo>
                  <a:lnTo>
                    <a:pt x="402" y="424"/>
                  </a:lnTo>
                  <a:lnTo>
                    <a:pt x="401" y="419"/>
                  </a:lnTo>
                  <a:lnTo>
                    <a:pt x="400" y="418"/>
                  </a:lnTo>
                  <a:lnTo>
                    <a:pt x="397" y="419"/>
                  </a:lnTo>
                  <a:lnTo>
                    <a:pt x="396" y="419"/>
                  </a:lnTo>
                  <a:lnTo>
                    <a:pt x="389" y="421"/>
                  </a:lnTo>
                  <a:lnTo>
                    <a:pt x="386" y="421"/>
                  </a:lnTo>
                  <a:lnTo>
                    <a:pt x="385" y="421"/>
                  </a:lnTo>
                  <a:lnTo>
                    <a:pt x="384" y="422"/>
                  </a:lnTo>
                  <a:lnTo>
                    <a:pt x="380" y="423"/>
                  </a:lnTo>
                  <a:lnTo>
                    <a:pt x="377" y="423"/>
                  </a:lnTo>
                  <a:lnTo>
                    <a:pt x="374" y="423"/>
                  </a:lnTo>
                  <a:lnTo>
                    <a:pt x="374" y="424"/>
                  </a:lnTo>
                  <a:lnTo>
                    <a:pt x="370" y="424"/>
                  </a:lnTo>
                  <a:lnTo>
                    <a:pt x="368" y="423"/>
                  </a:lnTo>
                  <a:lnTo>
                    <a:pt x="364" y="424"/>
                  </a:lnTo>
                  <a:lnTo>
                    <a:pt x="358" y="424"/>
                  </a:lnTo>
                  <a:lnTo>
                    <a:pt x="355" y="425"/>
                  </a:lnTo>
                  <a:lnTo>
                    <a:pt x="355" y="428"/>
                  </a:lnTo>
                  <a:lnTo>
                    <a:pt x="358" y="428"/>
                  </a:lnTo>
                  <a:lnTo>
                    <a:pt x="358" y="430"/>
                  </a:lnTo>
                  <a:lnTo>
                    <a:pt x="359" y="430"/>
                  </a:lnTo>
                  <a:lnTo>
                    <a:pt x="361" y="430"/>
                  </a:lnTo>
                  <a:lnTo>
                    <a:pt x="362" y="430"/>
                  </a:lnTo>
                  <a:lnTo>
                    <a:pt x="364" y="429"/>
                  </a:lnTo>
                  <a:lnTo>
                    <a:pt x="364" y="430"/>
                  </a:lnTo>
                  <a:lnTo>
                    <a:pt x="365" y="429"/>
                  </a:lnTo>
                  <a:lnTo>
                    <a:pt x="366" y="431"/>
                  </a:lnTo>
                  <a:lnTo>
                    <a:pt x="366" y="430"/>
                  </a:lnTo>
                  <a:lnTo>
                    <a:pt x="367" y="431"/>
                  </a:lnTo>
                  <a:lnTo>
                    <a:pt x="367" y="433"/>
                  </a:lnTo>
                  <a:lnTo>
                    <a:pt x="370" y="434"/>
                  </a:lnTo>
                  <a:lnTo>
                    <a:pt x="372" y="435"/>
                  </a:lnTo>
                  <a:lnTo>
                    <a:pt x="372" y="436"/>
                  </a:lnTo>
                  <a:lnTo>
                    <a:pt x="371" y="436"/>
                  </a:lnTo>
                  <a:lnTo>
                    <a:pt x="371" y="439"/>
                  </a:lnTo>
                  <a:lnTo>
                    <a:pt x="371" y="440"/>
                  </a:lnTo>
                  <a:lnTo>
                    <a:pt x="371" y="442"/>
                  </a:lnTo>
                  <a:lnTo>
                    <a:pt x="371" y="443"/>
                  </a:lnTo>
                  <a:lnTo>
                    <a:pt x="370" y="445"/>
                  </a:lnTo>
                  <a:lnTo>
                    <a:pt x="367" y="446"/>
                  </a:lnTo>
                  <a:lnTo>
                    <a:pt x="367" y="447"/>
                  </a:lnTo>
                  <a:lnTo>
                    <a:pt x="366" y="447"/>
                  </a:lnTo>
                  <a:lnTo>
                    <a:pt x="365" y="447"/>
                  </a:lnTo>
                  <a:lnTo>
                    <a:pt x="364" y="447"/>
                  </a:lnTo>
                  <a:lnTo>
                    <a:pt x="361" y="447"/>
                  </a:lnTo>
                  <a:lnTo>
                    <a:pt x="362" y="448"/>
                  </a:lnTo>
                  <a:lnTo>
                    <a:pt x="365" y="449"/>
                  </a:lnTo>
                  <a:lnTo>
                    <a:pt x="368" y="449"/>
                  </a:lnTo>
                  <a:lnTo>
                    <a:pt x="378" y="449"/>
                  </a:lnTo>
                  <a:lnTo>
                    <a:pt x="379" y="449"/>
                  </a:lnTo>
                  <a:lnTo>
                    <a:pt x="379" y="451"/>
                  </a:lnTo>
                  <a:lnTo>
                    <a:pt x="383" y="451"/>
                  </a:lnTo>
                  <a:lnTo>
                    <a:pt x="388" y="452"/>
                  </a:lnTo>
                  <a:lnTo>
                    <a:pt x="389" y="452"/>
                  </a:lnTo>
                  <a:lnTo>
                    <a:pt x="391" y="452"/>
                  </a:lnTo>
                  <a:lnTo>
                    <a:pt x="392" y="452"/>
                  </a:lnTo>
                  <a:lnTo>
                    <a:pt x="392" y="449"/>
                  </a:lnTo>
                  <a:lnTo>
                    <a:pt x="392" y="448"/>
                  </a:lnTo>
                  <a:lnTo>
                    <a:pt x="391" y="449"/>
                  </a:lnTo>
                  <a:lnTo>
                    <a:pt x="390" y="449"/>
                  </a:lnTo>
                  <a:lnTo>
                    <a:pt x="390" y="448"/>
                  </a:lnTo>
                  <a:lnTo>
                    <a:pt x="390" y="447"/>
                  </a:lnTo>
                  <a:lnTo>
                    <a:pt x="391" y="446"/>
                  </a:lnTo>
                  <a:lnTo>
                    <a:pt x="396" y="447"/>
                  </a:lnTo>
                  <a:lnTo>
                    <a:pt x="396" y="446"/>
                  </a:lnTo>
                  <a:lnTo>
                    <a:pt x="398" y="446"/>
                  </a:lnTo>
                  <a:lnTo>
                    <a:pt x="397" y="447"/>
                  </a:lnTo>
                  <a:lnTo>
                    <a:pt x="400" y="448"/>
                  </a:lnTo>
                  <a:lnTo>
                    <a:pt x="401" y="446"/>
                  </a:lnTo>
                  <a:lnTo>
                    <a:pt x="405" y="445"/>
                  </a:lnTo>
                  <a:lnTo>
                    <a:pt x="403" y="443"/>
                  </a:lnTo>
                  <a:lnTo>
                    <a:pt x="405" y="443"/>
                  </a:lnTo>
                  <a:lnTo>
                    <a:pt x="407" y="442"/>
                  </a:lnTo>
                  <a:lnTo>
                    <a:pt x="408" y="442"/>
                  </a:lnTo>
                  <a:lnTo>
                    <a:pt x="409" y="441"/>
                  </a:lnTo>
                  <a:lnTo>
                    <a:pt x="413" y="441"/>
                  </a:lnTo>
                  <a:lnTo>
                    <a:pt x="414" y="442"/>
                  </a:lnTo>
                  <a:lnTo>
                    <a:pt x="415" y="442"/>
                  </a:lnTo>
                  <a:lnTo>
                    <a:pt x="417" y="443"/>
                  </a:lnTo>
                  <a:lnTo>
                    <a:pt x="418" y="445"/>
                  </a:lnTo>
                  <a:lnTo>
                    <a:pt x="419" y="445"/>
                  </a:lnTo>
                  <a:lnTo>
                    <a:pt x="419" y="447"/>
                  </a:lnTo>
                  <a:lnTo>
                    <a:pt x="421" y="448"/>
                  </a:lnTo>
                  <a:lnTo>
                    <a:pt x="421" y="449"/>
                  </a:lnTo>
                  <a:lnTo>
                    <a:pt x="423" y="448"/>
                  </a:lnTo>
                  <a:lnTo>
                    <a:pt x="423" y="451"/>
                  </a:lnTo>
                  <a:lnTo>
                    <a:pt x="424" y="451"/>
                  </a:lnTo>
                  <a:lnTo>
                    <a:pt x="426" y="452"/>
                  </a:lnTo>
                  <a:lnTo>
                    <a:pt x="427" y="454"/>
                  </a:lnTo>
                  <a:lnTo>
                    <a:pt x="429" y="453"/>
                  </a:lnTo>
                  <a:lnTo>
                    <a:pt x="430" y="452"/>
                  </a:lnTo>
                  <a:lnTo>
                    <a:pt x="432" y="452"/>
                  </a:lnTo>
                  <a:lnTo>
                    <a:pt x="432" y="453"/>
                  </a:lnTo>
                  <a:lnTo>
                    <a:pt x="433" y="453"/>
                  </a:lnTo>
                  <a:lnTo>
                    <a:pt x="436" y="453"/>
                  </a:lnTo>
                  <a:lnTo>
                    <a:pt x="437" y="454"/>
                  </a:lnTo>
                  <a:lnTo>
                    <a:pt x="437" y="455"/>
                  </a:lnTo>
                  <a:lnTo>
                    <a:pt x="437" y="458"/>
                  </a:lnTo>
                  <a:lnTo>
                    <a:pt x="439" y="458"/>
                  </a:lnTo>
                  <a:lnTo>
                    <a:pt x="439" y="459"/>
                  </a:lnTo>
                  <a:lnTo>
                    <a:pt x="438" y="461"/>
                  </a:lnTo>
                  <a:lnTo>
                    <a:pt x="438" y="463"/>
                  </a:lnTo>
                  <a:lnTo>
                    <a:pt x="437" y="463"/>
                  </a:lnTo>
                  <a:lnTo>
                    <a:pt x="439" y="464"/>
                  </a:lnTo>
                  <a:lnTo>
                    <a:pt x="442" y="466"/>
                  </a:lnTo>
                  <a:lnTo>
                    <a:pt x="443" y="466"/>
                  </a:lnTo>
                  <a:lnTo>
                    <a:pt x="444" y="466"/>
                  </a:lnTo>
                  <a:lnTo>
                    <a:pt x="445" y="465"/>
                  </a:lnTo>
                  <a:lnTo>
                    <a:pt x="447" y="466"/>
                  </a:lnTo>
                  <a:lnTo>
                    <a:pt x="447" y="467"/>
                  </a:lnTo>
                  <a:lnTo>
                    <a:pt x="449" y="470"/>
                  </a:lnTo>
                  <a:lnTo>
                    <a:pt x="447" y="471"/>
                  </a:lnTo>
                  <a:lnTo>
                    <a:pt x="447" y="472"/>
                  </a:lnTo>
                  <a:lnTo>
                    <a:pt x="447" y="473"/>
                  </a:lnTo>
                  <a:lnTo>
                    <a:pt x="448" y="472"/>
                  </a:lnTo>
                  <a:lnTo>
                    <a:pt x="449" y="472"/>
                  </a:lnTo>
                  <a:lnTo>
                    <a:pt x="450" y="475"/>
                  </a:lnTo>
                  <a:lnTo>
                    <a:pt x="450" y="476"/>
                  </a:lnTo>
                  <a:lnTo>
                    <a:pt x="450" y="478"/>
                  </a:lnTo>
                  <a:lnTo>
                    <a:pt x="451" y="480"/>
                  </a:lnTo>
                  <a:lnTo>
                    <a:pt x="453" y="481"/>
                  </a:lnTo>
                  <a:lnTo>
                    <a:pt x="453" y="482"/>
                  </a:lnTo>
                  <a:lnTo>
                    <a:pt x="455" y="483"/>
                  </a:lnTo>
                  <a:lnTo>
                    <a:pt x="453" y="482"/>
                  </a:lnTo>
                  <a:lnTo>
                    <a:pt x="453" y="483"/>
                  </a:lnTo>
                  <a:lnTo>
                    <a:pt x="453" y="484"/>
                  </a:lnTo>
                  <a:lnTo>
                    <a:pt x="450" y="482"/>
                  </a:lnTo>
                  <a:lnTo>
                    <a:pt x="450" y="484"/>
                  </a:lnTo>
                  <a:lnTo>
                    <a:pt x="451" y="486"/>
                  </a:lnTo>
                  <a:lnTo>
                    <a:pt x="453" y="488"/>
                  </a:lnTo>
                  <a:lnTo>
                    <a:pt x="454" y="488"/>
                  </a:lnTo>
                  <a:lnTo>
                    <a:pt x="455" y="489"/>
                  </a:lnTo>
                  <a:lnTo>
                    <a:pt x="456" y="492"/>
                  </a:lnTo>
                  <a:lnTo>
                    <a:pt x="459" y="494"/>
                  </a:lnTo>
                  <a:lnTo>
                    <a:pt x="460" y="494"/>
                  </a:lnTo>
                  <a:lnTo>
                    <a:pt x="460" y="496"/>
                  </a:lnTo>
                  <a:lnTo>
                    <a:pt x="459" y="498"/>
                  </a:lnTo>
                  <a:lnTo>
                    <a:pt x="459" y="501"/>
                  </a:lnTo>
                  <a:lnTo>
                    <a:pt x="456" y="501"/>
                  </a:lnTo>
                  <a:lnTo>
                    <a:pt x="454" y="501"/>
                  </a:lnTo>
                  <a:lnTo>
                    <a:pt x="453" y="501"/>
                  </a:lnTo>
                  <a:lnTo>
                    <a:pt x="451" y="500"/>
                  </a:lnTo>
                  <a:lnTo>
                    <a:pt x="451" y="499"/>
                  </a:lnTo>
                  <a:lnTo>
                    <a:pt x="450" y="499"/>
                  </a:lnTo>
                  <a:lnTo>
                    <a:pt x="449" y="499"/>
                  </a:lnTo>
                  <a:lnTo>
                    <a:pt x="447" y="496"/>
                  </a:lnTo>
                  <a:lnTo>
                    <a:pt x="445" y="496"/>
                  </a:lnTo>
                  <a:lnTo>
                    <a:pt x="444" y="496"/>
                  </a:lnTo>
                  <a:lnTo>
                    <a:pt x="443" y="496"/>
                  </a:lnTo>
                  <a:lnTo>
                    <a:pt x="443" y="495"/>
                  </a:lnTo>
                  <a:lnTo>
                    <a:pt x="442" y="494"/>
                  </a:lnTo>
                  <a:lnTo>
                    <a:pt x="442" y="492"/>
                  </a:lnTo>
                  <a:lnTo>
                    <a:pt x="441" y="492"/>
                  </a:lnTo>
                  <a:lnTo>
                    <a:pt x="439" y="493"/>
                  </a:lnTo>
                  <a:lnTo>
                    <a:pt x="442" y="494"/>
                  </a:lnTo>
                  <a:lnTo>
                    <a:pt x="442" y="495"/>
                  </a:lnTo>
                  <a:lnTo>
                    <a:pt x="438" y="494"/>
                  </a:lnTo>
                  <a:lnTo>
                    <a:pt x="439" y="495"/>
                  </a:lnTo>
                  <a:lnTo>
                    <a:pt x="436" y="496"/>
                  </a:lnTo>
                  <a:lnTo>
                    <a:pt x="438" y="495"/>
                  </a:lnTo>
                  <a:lnTo>
                    <a:pt x="436" y="492"/>
                  </a:lnTo>
                  <a:lnTo>
                    <a:pt x="436" y="493"/>
                  </a:lnTo>
                  <a:lnTo>
                    <a:pt x="435" y="492"/>
                  </a:lnTo>
                  <a:lnTo>
                    <a:pt x="435" y="493"/>
                  </a:lnTo>
                  <a:lnTo>
                    <a:pt x="432" y="492"/>
                  </a:lnTo>
                  <a:lnTo>
                    <a:pt x="433" y="492"/>
                  </a:lnTo>
                  <a:lnTo>
                    <a:pt x="432" y="490"/>
                  </a:lnTo>
                  <a:lnTo>
                    <a:pt x="431" y="490"/>
                  </a:lnTo>
                  <a:lnTo>
                    <a:pt x="429" y="489"/>
                  </a:lnTo>
                  <a:lnTo>
                    <a:pt x="429" y="490"/>
                  </a:lnTo>
                  <a:lnTo>
                    <a:pt x="426" y="489"/>
                  </a:lnTo>
                  <a:lnTo>
                    <a:pt x="425" y="489"/>
                  </a:lnTo>
                  <a:lnTo>
                    <a:pt x="426" y="489"/>
                  </a:lnTo>
                  <a:lnTo>
                    <a:pt x="426" y="487"/>
                  </a:lnTo>
                  <a:lnTo>
                    <a:pt x="425" y="488"/>
                  </a:lnTo>
                  <a:lnTo>
                    <a:pt x="424" y="489"/>
                  </a:lnTo>
                  <a:lnTo>
                    <a:pt x="423" y="489"/>
                  </a:lnTo>
                  <a:lnTo>
                    <a:pt x="424" y="490"/>
                  </a:lnTo>
                  <a:lnTo>
                    <a:pt x="425" y="493"/>
                  </a:lnTo>
                  <a:lnTo>
                    <a:pt x="426" y="494"/>
                  </a:lnTo>
                  <a:lnTo>
                    <a:pt x="424" y="493"/>
                  </a:lnTo>
                  <a:lnTo>
                    <a:pt x="423" y="494"/>
                  </a:lnTo>
                  <a:lnTo>
                    <a:pt x="421" y="493"/>
                  </a:lnTo>
                  <a:lnTo>
                    <a:pt x="419" y="494"/>
                  </a:lnTo>
                  <a:lnTo>
                    <a:pt x="418" y="496"/>
                  </a:lnTo>
                  <a:lnTo>
                    <a:pt x="415" y="496"/>
                  </a:lnTo>
                  <a:lnTo>
                    <a:pt x="414" y="498"/>
                  </a:lnTo>
                  <a:lnTo>
                    <a:pt x="413" y="498"/>
                  </a:lnTo>
                  <a:lnTo>
                    <a:pt x="413" y="496"/>
                  </a:lnTo>
                  <a:lnTo>
                    <a:pt x="413" y="498"/>
                  </a:lnTo>
                  <a:lnTo>
                    <a:pt x="413" y="499"/>
                  </a:lnTo>
                  <a:lnTo>
                    <a:pt x="414" y="499"/>
                  </a:lnTo>
                  <a:lnTo>
                    <a:pt x="417" y="500"/>
                  </a:lnTo>
                  <a:lnTo>
                    <a:pt x="415" y="501"/>
                  </a:lnTo>
                  <a:lnTo>
                    <a:pt x="413" y="500"/>
                  </a:lnTo>
                  <a:lnTo>
                    <a:pt x="412" y="501"/>
                  </a:lnTo>
                  <a:lnTo>
                    <a:pt x="411" y="501"/>
                  </a:lnTo>
                  <a:lnTo>
                    <a:pt x="409" y="501"/>
                  </a:lnTo>
                  <a:lnTo>
                    <a:pt x="408" y="500"/>
                  </a:lnTo>
                  <a:lnTo>
                    <a:pt x="406" y="501"/>
                  </a:lnTo>
                  <a:lnTo>
                    <a:pt x="405" y="500"/>
                  </a:lnTo>
                  <a:lnTo>
                    <a:pt x="402" y="499"/>
                  </a:lnTo>
                  <a:lnTo>
                    <a:pt x="400" y="500"/>
                  </a:lnTo>
                  <a:lnTo>
                    <a:pt x="401" y="502"/>
                  </a:lnTo>
                  <a:lnTo>
                    <a:pt x="401" y="504"/>
                  </a:lnTo>
                  <a:lnTo>
                    <a:pt x="398" y="504"/>
                  </a:lnTo>
                  <a:lnTo>
                    <a:pt x="397" y="502"/>
                  </a:lnTo>
                  <a:lnTo>
                    <a:pt x="396" y="505"/>
                  </a:lnTo>
                  <a:lnTo>
                    <a:pt x="396" y="504"/>
                  </a:lnTo>
                  <a:lnTo>
                    <a:pt x="395" y="504"/>
                  </a:lnTo>
                  <a:lnTo>
                    <a:pt x="394" y="504"/>
                  </a:lnTo>
                  <a:lnTo>
                    <a:pt x="394" y="505"/>
                  </a:lnTo>
                  <a:lnTo>
                    <a:pt x="392" y="502"/>
                  </a:lnTo>
                  <a:lnTo>
                    <a:pt x="392" y="501"/>
                  </a:lnTo>
                  <a:lnTo>
                    <a:pt x="392" y="499"/>
                  </a:lnTo>
                  <a:lnTo>
                    <a:pt x="395" y="500"/>
                  </a:lnTo>
                  <a:lnTo>
                    <a:pt x="395" y="498"/>
                  </a:lnTo>
                  <a:lnTo>
                    <a:pt x="395" y="496"/>
                  </a:lnTo>
                  <a:lnTo>
                    <a:pt x="394" y="498"/>
                  </a:lnTo>
                  <a:lnTo>
                    <a:pt x="394" y="499"/>
                  </a:lnTo>
                  <a:lnTo>
                    <a:pt x="391" y="498"/>
                  </a:lnTo>
                  <a:lnTo>
                    <a:pt x="390" y="495"/>
                  </a:lnTo>
                  <a:lnTo>
                    <a:pt x="389" y="495"/>
                  </a:lnTo>
                  <a:lnTo>
                    <a:pt x="388" y="493"/>
                  </a:lnTo>
                  <a:lnTo>
                    <a:pt x="389" y="492"/>
                  </a:lnTo>
                  <a:lnTo>
                    <a:pt x="390" y="493"/>
                  </a:lnTo>
                  <a:lnTo>
                    <a:pt x="390" y="492"/>
                  </a:lnTo>
                  <a:lnTo>
                    <a:pt x="391" y="492"/>
                  </a:lnTo>
                  <a:lnTo>
                    <a:pt x="392" y="492"/>
                  </a:lnTo>
                  <a:lnTo>
                    <a:pt x="396" y="493"/>
                  </a:lnTo>
                  <a:lnTo>
                    <a:pt x="395" y="490"/>
                  </a:lnTo>
                  <a:lnTo>
                    <a:pt x="396" y="490"/>
                  </a:lnTo>
                  <a:lnTo>
                    <a:pt x="396" y="489"/>
                  </a:lnTo>
                  <a:lnTo>
                    <a:pt x="397" y="488"/>
                  </a:lnTo>
                  <a:lnTo>
                    <a:pt x="398" y="489"/>
                  </a:lnTo>
                  <a:lnTo>
                    <a:pt x="398" y="487"/>
                  </a:lnTo>
                  <a:lnTo>
                    <a:pt x="397" y="486"/>
                  </a:lnTo>
                  <a:lnTo>
                    <a:pt x="398" y="484"/>
                  </a:lnTo>
                  <a:lnTo>
                    <a:pt x="398" y="483"/>
                  </a:lnTo>
                  <a:lnTo>
                    <a:pt x="398" y="482"/>
                  </a:lnTo>
                  <a:lnTo>
                    <a:pt x="400" y="480"/>
                  </a:lnTo>
                  <a:lnTo>
                    <a:pt x="402" y="477"/>
                  </a:lnTo>
                  <a:lnTo>
                    <a:pt x="401" y="477"/>
                  </a:lnTo>
                  <a:lnTo>
                    <a:pt x="400" y="478"/>
                  </a:lnTo>
                  <a:lnTo>
                    <a:pt x="398" y="476"/>
                  </a:lnTo>
                  <a:lnTo>
                    <a:pt x="397" y="476"/>
                  </a:lnTo>
                  <a:lnTo>
                    <a:pt x="394" y="475"/>
                  </a:lnTo>
                  <a:lnTo>
                    <a:pt x="395" y="473"/>
                  </a:lnTo>
                  <a:lnTo>
                    <a:pt x="395" y="472"/>
                  </a:lnTo>
                  <a:lnTo>
                    <a:pt x="396" y="473"/>
                  </a:lnTo>
                  <a:lnTo>
                    <a:pt x="397" y="471"/>
                  </a:lnTo>
                  <a:lnTo>
                    <a:pt x="397" y="472"/>
                  </a:lnTo>
                  <a:lnTo>
                    <a:pt x="396" y="470"/>
                  </a:lnTo>
                  <a:lnTo>
                    <a:pt x="396" y="469"/>
                  </a:lnTo>
                  <a:lnTo>
                    <a:pt x="397" y="469"/>
                  </a:lnTo>
                  <a:lnTo>
                    <a:pt x="397" y="467"/>
                  </a:lnTo>
                  <a:lnTo>
                    <a:pt x="397" y="466"/>
                  </a:lnTo>
                  <a:lnTo>
                    <a:pt x="398" y="465"/>
                  </a:lnTo>
                  <a:lnTo>
                    <a:pt x="400" y="465"/>
                  </a:lnTo>
                  <a:lnTo>
                    <a:pt x="398" y="465"/>
                  </a:lnTo>
                  <a:lnTo>
                    <a:pt x="397" y="464"/>
                  </a:lnTo>
                  <a:lnTo>
                    <a:pt x="397" y="463"/>
                  </a:lnTo>
                  <a:lnTo>
                    <a:pt x="395" y="459"/>
                  </a:lnTo>
                  <a:lnTo>
                    <a:pt x="397" y="458"/>
                  </a:lnTo>
                  <a:lnTo>
                    <a:pt x="395" y="457"/>
                  </a:lnTo>
                  <a:lnTo>
                    <a:pt x="394" y="458"/>
                  </a:lnTo>
                  <a:lnTo>
                    <a:pt x="392" y="459"/>
                  </a:lnTo>
                  <a:lnTo>
                    <a:pt x="392" y="458"/>
                  </a:lnTo>
                  <a:lnTo>
                    <a:pt x="391" y="458"/>
                  </a:lnTo>
                  <a:lnTo>
                    <a:pt x="391" y="455"/>
                  </a:lnTo>
                  <a:lnTo>
                    <a:pt x="389" y="455"/>
                  </a:lnTo>
                  <a:lnTo>
                    <a:pt x="379" y="453"/>
                  </a:lnTo>
                  <a:lnTo>
                    <a:pt x="377" y="453"/>
                  </a:lnTo>
                  <a:lnTo>
                    <a:pt x="376" y="453"/>
                  </a:lnTo>
                  <a:lnTo>
                    <a:pt x="372" y="453"/>
                  </a:lnTo>
                  <a:lnTo>
                    <a:pt x="370" y="454"/>
                  </a:lnTo>
                  <a:lnTo>
                    <a:pt x="371" y="455"/>
                  </a:lnTo>
                  <a:lnTo>
                    <a:pt x="370" y="455"/>
                  </a:lnTo>
                  <a:lnTo>
                    <a:pt x="368" y="455"/>
                  </a:lnTo>
                  <a:lnTo>
                    <a:pt x="366" y="455"/>
                  </a:lnTo>
                  <a:lnTo>
                    <a:pt x="365" y="455"/>
                  </a:lnTo>
                  <a:lnTo>
                    <a:pt x="364" y="455"/>
                  </a:lnTo>
                  <a:lnTo>
                    <a:pt x="365" y="457"/>
                  </a:lnTo>
                  <a:lnTo>
                    <a:pt x="362" y="458"/>
                  </a:lnTo>
                  <a:lnTo>
                    <a:pt x="360" y="458"/>
                  </a:lnTo>
                  <a:lnTo>
                    <a:pt x="358" y="458"/>
                  </a:lnTo>
                  <a:lnTo>
                    <a:pt x="356" y="460"/>
                  </a:lnTo>
                  <a:lnTo>
                    <a:pt x="355" y="460"/>
                  </a:lnTo>
                  <a:lnTo>
                    <a:pt x="354" y="464"/>
                  </a:lnTo>
                  <a:lnTo>
                    <a:pt x="350" y="464"/>
                  </a:lnTo>
                  <a:lnTo>
                    <a:pt x="349" y="465"/>
                  </a:lnTo>
                  <a:lnTo>
                    <a:pt x="349" y="464"/>
                  </a:lnTo>
                  <a:lnTo>
                    <a:pt x="348" y="463"/>
                  </a:lnTo>
                  <a:lnTo>
                    <a:pt x="347" y="461"/>
                  </a:lnTo>
                  <a:lnTo>
                    <a:pt x="344" y="460"/>
                  </a:lnTo>
                  <a:lnTo>
                    <a:pt x="341" y="460"/>
                  </a:lnTo>
                  <a:lnTo>
                    <a:pt x="338" y="461"/>
                  </a:lnTo>
                  <a:lnTo>
                    <a:pt x="336" y="463"/>
                  </a:lnTo>
                  <a:lnTo>
                    <a:pt x="333" y="464"/>
                  </a:lnTo>
                  <a:lnTo>
                    <a:pt x="337" y="465"/>
                  </a:lnTo>
                  <a:lnTo>
                    <a:pt x="338" y="463"/>
                  </a:lnTo>
                  <a:lnTo>
                    <a:pt x="341" y="464"/>
                  </a:lnTo>
                  <a:lnTo>
                    <a:pt x="342" y="465"/>
                  </a:lnTo>
                  <a:lnTo>
                    <a:pt x="341" y="466"/>
                  </a:lnTo>
                  <a:lnTo>
                    <a:pt x="340" y="467"/>
                  </a:lnTo>
                  <a:lnTo>
                    <a:pt x="341" y="469"/>
                  </a:lnTo>
                  <a:lnTo>
                    <a:pt x="341" y="471"/>
                  </a:lnTo>
                  <a:lnTo>
                    <a:pt x="341" y="472"/>
                  </a:lnTo>
                  <a:lnTo>
                    <a:pt x="340" y="473"/>
                  </a:lnTo>
                  <a:lnTo>
                    <a:pt x="341" y="473"/>
                  </a:lnTo>
                  <a:lnTo>
                    <a:pt x="342" y="473"/>
                  </a:lnTo>
                  <a:lnTo>
                    <a:pt x="342" y="476"/>
                  </a:lnTo>
                  <a:lnTo>
                    <a:pt x="342" y="477"/>
                  </a:lnTo>
                  <a:lnTo>
                    <a:pt x="340" y="477"/>
                  </a:lnTo>
                  <a:lnTo>
                    <a:pt x="338" y="478"/>
                  </a:lnTo>
                  <a:lnTo>
                    <a:pt x="341" y="481"/>
                  </a:lnTo>
                  <a:lnTo>
                    <a:pt x="338" y="482"/>
                  </a:lnTo>
                  <a:lnTo>
                    <a:pt x="337" y="482"/>
                  </a:lnTo>
                  <a:lnTo>
                    <a:pt x="336" y="481"/>
                  </a:lnTo>
                  <a:lnTo>
                    <a:pt x="336" y="482"/>
                  </a:lnTo>
                  <a:lnTo>
                    <a:pt x="335" y="483"/>
                  </a:lnTo>
                  <a:lnTo>
                    <a:pt x="337" y="483"/>
                  </a:lnTo>
                  <a:lnTo>
                    <a:pt x="340" y="483"/>
                  </a:lnTo>
                  <a:lnTo>
                    <a:pt x="340" y="484"/>
                  </a:lnTo>
                  <a:lnTo>
                    <a:pt x="338" y="484"/>
                  </a:lnTo>
                  <a:lnTo>
                    <a:pt x="336" y="486"/>
                  </a:lnTo>
                  <a:lnTo>
                    <a:pt x="336" y="487"/>
                  </a:lnTo>
                  <a:lnTo>
                    <a:pt x="335" y="488"/>
                  </a:lnTo>
                  <a:lnTo>
                    <a:pt x="336" y="488"/>
                  </a:lnTo>
                  <a:lnTo>
                    <a:pt x="336" y="489"/>
                  </a:lnTo>
                  <a:lnTo>
                    <a:pt x="336" y="490"/>
                  </a:lnTo>
                  <a:lnTo>
                    <a:pt x="335" y="490"/>
                  </a:lnTo>
                  <a:lnTo>
                    <a:pt x="332" y="490"/>
                  </a:lnTo>
                  <a:lnTo>
                    <a:pt x="332" y="487"/>
                  </a:lnTo>
                  <a:lnTo>
                    <a:pt x="331" y="488"/>
                  </a:lnTo>
                  <a:lnTo>
                    <a:pt x="329" y="489"/>
                  </a:lnTo>
                  <a:lnTo>
                    <a:pt x="329" y="488"/>
                  </a:lnTo>
                  <a:lnTo>
                    <a:pt x="329" y="487"/>
                  </a:lnTo>
                  <a:lnTo>
                    <a:pt x="326" y="486"/>
                  </a:lnTo>
                  <a:lnTo>
                    <a:pt x="329" y="486"/>
                  </a:lnTo>
                  <a:lnTo>
                    <a:pt x="331" y="487"/>
                  </a:lnTo>
                  <a:lnTo>
                    <a:pt x="330" y="486"/>
                  </a:lnTo>
                  <a:lnTo>
                    <a:pt x="330" y="483"/>
                  </a:lnTo>
                  <a:lnTo>
                    <a:pt x="329" y="484"/>
                  </a:lnTo>
                  <a:lnTo>
                    <a:pt x="329" y="482"/>
                  </a:lnTo>
                  <a:lnTo>
                    <a:pt x="329" y="481"/>
                  </a:lnTo>
                  <a:lnTo>
                    <a:pt x="330" y="480"/>
                  </a:lnTo>
                  <a:lnTo>
                    <a:pt x="327" y="482"/>
                  </a:lnTo>
                  <a:lnTo>
                    <a:pt x="325" y="483"/>
                  </a:lnTo>
                  <a:lnTo>
                    <a:pt x="324" y="484"/>
                  </a:lnTo>
                  <a:lnTo>
                    <a:pt x="321" y="487"/>
                  </a:lnTo>
                  <a:lnTo>
                    <a:pt x="318" y="492"/>
                  </a:lnTo>
                  <a:lnTo>
                    <a:pt x="317" y="496"/>
                  </a:lnTo>
                  <a:lnTo>
                    <a:pt x="320" y="500"/>
                  </a:lnTo>
                  <a:lnTo>
                    <a:pt x="326" y="499"/>
                  </a:lnTo>
                  <a:lnTo>
                    <a:pt x="330" y="498"/>
                  </a:lnTo>
                  <a:lnTo>
                    <a:pt x="332" y="496"/>
                  </a:lnTo>
                  <a:lnTo>
                    <a:pt x="336" y="496"/>
                  </a:lnTo>
                  <a:lnTo>
                    <a:pt x="340" y="496"/>
                  </a:lnTo>
                  <a:lnTo>
                    <a:pt x="346" y="494"/>
                  </a:lnTo>
                  <a:lnTo>
                    <a:pt x="360" y="494"/>
                  </a:lnTo>
                  <a:lnTo>
                    <a:pt x="368" y="493"/>
                  </a:lnTo>
                  <a:lnTo>
                    <a:pt x="370" y="492"/>
                  </a:lnTo>
                  <a:lnTo>
                    <a:pt x="371" y="489"/>
                  </a:lnTo>
                  <a:lnTo>
                    <a:pt x="372" y="489"/>
                  </a:lnTo>
                  <a:lnTo>
                    <a:pt x="372" y="492"/>
                  </a:lnTo>
                  <a:lnTo>
                    <a:pt x="374" y="492"/>
                  </a:lnTo>
                  <a:lnTo>
                    <a:pt x="376" y="493"/>
                  </a:lnTo>
                  <a:lnTo>
                    <a:pt x="373" y="494"/>
                  </a:lnTo>
                  <a:lnTo>
                    <a:pt x="370" y="495"/>
                  </a:lnTo>
                  <a:lnTo>
                    <a:pt x="366" y="496"/>
                  </a:lnTo>
                  <a:lnTo>
                    <a:pt x="358" y="496"/>
                  </a:lnTo>
                  <a:lnTo>
                    <a:pt x="353" y="498"/>
                  </a:lnTo>
                  <a:lnTo>
                    <a:pt x="348" y="498"/>
                  </a:lnTo>
                  <a:lnTo>
                    <a:pt x="344" y="499"/>
                  </a:lnTo>
                  <a:lnTo>
                    <a:pt x="341" y="499"/>
                  </a:lnTo>
                  <a:lnTo>
                    <a:pt x="338" y="501"/>
                  </a:lnTo>
                  <a:lnTo>
                    <a:pt x="333" y="502"/>
                  </a:lnTo>
                  <a:lnTo>
                    <a:pt x="329" y="504"/>
                  </a:lnTo>
                  <a:lnTo>
                    <a:pt x="324" y="506"/>
                  </a:lnTo>
                  <a:lnTo>
                    <a:pt x="318" y="508"/>
                  </a:lnTo>
                  <a:lnTo>
                    <a:pt x="319" y="512"/>
                  </a:lnTo>
                  <a:lnTo>
                    <a:pt x="319" y="514"/>
                  </a:lnTo>
                  <a:lnTo>
                    <a:pt x="320" y="517"/>
                  </a:lnTo>
                  <a:lnTo>
                    <a:pt x="320" y="522"/>
                  </a:lnTo>
                  <a:lnTo>
                    <a:pt x="319" y="524"/>
                  </a:lnTo>
                  <a:lnTo>
                    <a:pt x="318" y="531"/>
                  </a:lnTo>
                  <a:lnTo>
                    <a:pt x="317" y="536"/>
                  </a:lnTo>
                  <a:lnTo>
                    <a:pt x="317" y="541"/>
                  </a:lnTo>
                  <a:lnTo>
                    <a:pt x="318" y="550"/>
                  </a:lnTo>
                  <a:lnTo>
                    <a:pt x="318" y="554"/>
                  </a:lnTo>
                  <a:lnTo>
                    <a:pt x="318" y="576"/>
                  </a:lnTo>
                  <a:lnTo>
                    <a:pt x="318" y="583"/>
                  </a:lnTo>
                  <a:lnTo>
                    <a:pt x="318" y="589"/>
                  </a:lnTo>
                  <a:lnTo>
                    <a:pt x="318" y="591"/>
                  </a:lnTo>
                  <a:lnTo>
                    <a:pt x="317" y="594"/>
                  </a:lnTo>
                  <a:lnTo>
                    <a:pt x="314" y="596"/>
                  </a:lnTo>
                  <a:lnTo>
                    <a:pt x="312" y="596"/>
                  </a:lnTo>
                  <a:lnTo>
                    <a:pt x="307" y="597"/>
                  </a:lnTo>
                  <a:lnTo>
                    <a:pt x="300" y="597"/>
                  </a:lnTo>
                  <a:lnTo>
                    <a:pt x="294" y="595"/>
                  </a:lnTo>
                  <a:lnTo>
                    <a:pt x="291" y="593"/>
                  </a:lnTo>
                  <a:lnTo>
                    <a:pt x="293" y="586"/>
                  </a:lnTo>
                  <a:lnTo>
                    <a:pt x="294" y="580"/>
                  </a:lnTo>
                  <a:lnTo>
                    <a:pt x="294" y="574"/>
                  </a:lnTo>
                  <a:lnTo>
                    <a:pt x="294" y="564"/>
                  </a:lnTo>
                  <a:lnTo>
                    <a:pt x="294" y="560"/>
                  </a:lnTo>
                  <a:lnTo>
                    <a:pt x="294" y="558"/>
                  </a:lnTo>
                  <a:lnTo>
                    <a:pt x="295" y="548"/>
                  </a:lnTo>
                  <a:lnTo>
                    <a:pt x="295" y="543"/>
                  </a:lnTo>
                  <a:lnTo>
                    <a:pt x="296" y="532"/>
                  </a:lnTo>
                  <a:lnTo>
                    <a:pt x="296" y="520"/>
                  </a:lnTo>
                  <a:lnTo>
                    <a:pt x="295" y="516"/>
                  </a:lnTo>
                  <a:lnTo>
                    <a:pt x="289" y="513"/>
                  </a:lnTo>
                  <a:lnTo>
                    <a:pt x="279" y="508"/>
                  </a:lnTo>
                  <a:lnTo>
                    <a:pt x="273" y="506"/>
                  </a:lnTo>
                  <a:lnTo>
                    <a:pt x="270" y="504"/>
                  </a:lnTo>
                  <a:lnTo>
                    <a:pt x="265" y="501"/>
                  </a:lnTo>
                  <a:lnTo>
                    <a:pt x="258" y="501"/>
                  </a:lnTo>
                  <a:lnTo>
                    <a:pt x="255" y="501"/>
                  </a:lnTo>
                  <a:lnTo>
                    <a:pt x="252" y="501"/>
                  </a:lnTo>
                  <a:lnTo>
                    <a:pt x="246" y="500"/>
                  </a:lnTo>
                  <a:lnTo>
                    <a:pt x="240" y="499"/>
                  </a:lnTo>
                  <a:lnTo>
                    <a:pt x="235" y="499"/>
                  </a:lnTo>
                  <a:lnTo>
                    <a:pt x="231" y="499"/>
                  </a:lnTo>
                  <a:lnTo>
                    <a:pt x="230" y="499"/>
                  </a:lnTo>
                  <a:lnTo>
                    <a:pt x="229" y="499"/>
                  </a:lnTo>
                  <a:lnTo>
                    <a:pt x="226" y="500"/>
                  </a:lnTo>
                  <a:lnTo>
                    <a:pt x="225" y="502"/>
                  </a:lnTo>
                  <a:lnTo>
                    <a:pt x="222" y="504"/>
                  </a:lnTo>
                  <a:lnTo>
                    <a:pt x="219" y="506"/>
                  </a:lnTo>
                  <a:lnTo>
                    <a:pt x="217" y="506"/>
                  </a:lnTo>
                  <a:lnTo>
                    <a:pt x="215" y="504"/>
                  </a:lnTo>
                  <a:lnTo>
                    <a:pt x="220" y="501"/>
                  </a:lnTo>
                  <a:lnTo>
                    <a:pt x="225" y="498"/>
                  </a:lnTo>
                  <a:lnTo>
                    <a:pt x="229" y="494"/>
                  </a:lnTo>
                  <a:lnTo>
                    <a:pt x="231" y="493"/>
                  </a:lnTo>
                  <a:lnTo>
                    <a:pt x="232" y="490"/>
                  </a:lnTo>
                  <a:lnTo>
                    <a:pt x="232" y="488"/>
                  </a:lnTo>
                  <a:lnTo>
                    <a:pt x="230" y="487"/>
                  </a:lnTo>
                  <a:lnTo>
                    <a:pt x="225" y="488"/>
                  </a:lnTo>
                  <a:lnTo>
                    <a:pt x="219" y="488"/>
                  </a:lnTo>
                  <a:lnTo>
                    <a:pt x="217" y="488"/>
                  </a:lnTo>
                  <a:lnTo>
                    <a:pt x="213" y="488"/>
                  </a:lnTo>
                  <a:lnTo>
                    <a:pt x="203" y="489"/>
                  </a:lnTo>
                  <a:lnTo>
                    <a:pt x="196" y="489"/>
                  </a:lnTo>
                  <a:lnTo>
                    <a:pt x="194" y="489"/>
                  </a:lnTo>
                  <a:lnTo>
                    <a:pt x="191" y="490"/>
                  </a:lnTo>
                  <a:lnTo>
                    <a:pt x="188" y="490"/>
                  </a:lnTo>
                  <a:lnTo>
                    <a:pt x="187" y="490"/>
                  </a:lnTo>
                  <a:lnTo>
                    <a:pt x="185" y="489"/>
                  </a:lnTo>
                  <a:lnTo>
                    <a:pt x="184" y="492"/>
                  </a:lnTo>
                  <a:lnTo>
                    <a:pt x="184" y="495"/>
                  </a:lnTo>
                  <a:lnTo>
                    <a:pt x="182" y="496"/>
                  </a:lnTo>
                  <a:lnTo>
                    <a:pt x="179" y="496"/>
                  </a:lnTo>
                  <a:lnTo>
                    <a:pt x="177" y="496"/>
                  </a:lnTo>
                  <a:lnTo>
                    <a:pt x="176" y="495"/>
                  </a:lnTo>
                  <a:lnTo>
                    <a:pt x="176" y="496"/>
                  </a:lnTo>
                  <a:lnTo>
                    <a:pt x="176" y="499"/>
                  </a:lnTo>
                  <a:lnTo>
                    <a:pt x="176" y="500"/>
                  </a:lnTo>
                  <a:lnTo>
                    <a:pt x="173" y="501"/>
                  </a:lnTo>
                  <a:lnTo>
                    <a:pt x="171" y="502"/>
                  </a:lnTo>
                  <a:lnTo>
                    <a:pt x="169" y="504"/>
                  </a:lnTo>
                  <a:lnTo>
                    <a:pt x="167" y="505"/>
                  </a:lnTo>
                  <a:lnTo>
                    <a:pt x="166" y="504"/>
                  </a:lnTo>
                  <a:lnTo>
                    <a:pt x="164" y="505"/>
                  </a:lnTo>
                  <a:lnTo>
                    <a:pt x="164" y="502"/>
                  </a:lnTo>
                  <a:lnTo>
                    <a:pt x="161" y="502"/>
                  </a:lnTo>
                  <a:lnTo>
                    <a:pt x="160" y="501"/>
                  </a:lnTo>
                  <a:lnTo>
                    <a:pt x="158" y="501"/>
                  </a:lnTo>
                  <a:lnTo>
                    <a:pt x="156" y="500"/>
                  </a:lnTo>
                  <a:lnTo>
                    <a:pt x="156" y="501"/>
                  </a:lnTo>
                  <a:lnTo>
                    <a:pt x="154" y="502"/>
                  </a:lnTo>
                  <a:lnTo>
                    <a:pt x="153" y="506"/>
                  </a:lnTo>
                  <a:lnTo>
                    <a:pt x="152" y="507"/>
                  </a:lnTo>
                  <a:lnTo>
                    <a:pt x="152" y="508"/>
                  </a:lnTo>
                  <a:lnTo>
                    <a:pt x="152" y="510"/>
                  </a:lnTo>
                  <a:lnTo>
                    <a:pt x="149" y="510"/>
                  </a:lnTo>
                  <a:lnTo>
                    <a:pt x="148" y="512"/>
                  </a:lnTo>
                  <a:lnTo>
                    <a:pt x="147" y="512"/>
                  </a:lnTo>
                  <a:lnTo>
                    <a:pt x="146" y="511"/>
                  </a:lnTo>
                  <a:lnTo>
                    <a:pt x="146" y="510"/>
                  </a:lnTo>
                  <a:lnTo>
                    <a:pt x="143" y="508"/>
                  </a:lnTo>
                  <a:lnTo>
                    <a:pt x="142" y="510"/>
                  </a:lnTo>
                  <a:lnTo>
                    <a:pt x="142" y="508"/>
                  </a:lnTo>
                  <a:lnTo>
                    <a:pt x="141" y="508"/>
                  </a:lnTo>
                  <a:lnTo>
                    <a:pt x="137" y="508"/>
                  </a:lnTo>
                  <a:lnTo>
                    <a:pt x="136" y="510"/>
                  </a:lnTo>
                  <a:lnTo>
                    <a:pt x="135" y="511"/>
                  </a:lnTo>
                  <a:lnTo>
                    <a:pt x="135" y="510"/>
                  </a:lnTo>
                  <a:lnTo>
                    <a:pt x="135" y="507"/>
                  </a:lnTo>
                  <a:lnTo>
                    <a:pt x="136" y="506"/>
                  </a:lnTo>
                  <a:lnTo>
                    <a:pt x="135" y="507"/>
                  </a:lnTo>
                  <a:lnTo>
                    <a:pt x="132" y="506"/>
                  </a:lnTo>
                  <a:lnTo>
                    <a:pt x="134" y="505"/>
                  </a:lnTo>
                  <a:lnTo>
                    <a:pt x="131" y="506"/>
                  </a:lnTo>
                  <a:lnTo>
                    <a:pt x="130" y="505"/>
                  </a:lnTo>
                  <a:lnTo>
                    <a:pt x="129" y="507"/>
                  </a:lnTo>
                  <a:lnTo>
                    <a:pt x="125" y="508"/>
                  </a:lnTo>
                  <a:lnTo>
                    <a:pt x="123" y="507"/>
                  </a:lnTo>
                  <a:lnTo>
                    <a:pt x="126" y="506"/>
                  </a:lnTo>
                  <a:lnTo>
                    <a:pt x="124" y="504"/>
                  </a:lnTo>
                  <a:lnTo>
                    <a:pt x="123" y="502"/>
                  </a:lnTo>
                  <a:lnTo>
                    <a:pt x="122" y="501"/>
                  </a:lnTo>
                  <a:lnTo>
                    <a:pt x="120" y="501"/>
                  </a:lnTo>
                  <a:lnTo>
                    <a:pt x="120" y="500"/>
                  </a:lnTo>
                  <a:lnTo>
                    <a:pt x="120" y="499"/>
                  </a:lnTo>
                  <a:lnTo>
                    <a:pt x="122" y="498"/>
                  </a:lnTo>
                  <a:lnTo>
                    <a:pt x="122" y="499"/>
                  </a:lnTo>
                  <a:lnTo>
                    <a:pt x="124" y="500"/>
                  </a:lnTo>
                  <a:lnTo>
                    <a:pt x="125" y="500"/>
                  </a:lnTo>
                  <a:lnTo>
                    <a:pt x="126" y="501"/>
                  </a:lnTo>
                  <a:lnTo>
                    <a:pt x="126" y="500"/>
                  </a:lnTo>
                  <a:lnTo>
                    <a:pt x="128" y="501"/>
                  </a:lnTo>
                  <a:lnTo>
                    <a:pt x="128" y="500"/>
                  </a:lnTo>
                  <a:lnTo>
                    <a:pt x="128" y="501"/>
                  </a:lnTo>
                  <a:lnTo>
                    <a:pt x="129" y="501"/>
                  </a:lnTo>
                  <a:lnTo>
                    <a:pt x="131" y="502"/>
                  </a:lnTo>
                  <a:lnTo>
                    <a:pt x="131" y="501"/>
                  </a:lnTo>
                  <a:lnTo>
                    <a:pt x="130" y="500"/>
                  </a:lnTo>
                  <a:lnTo>
                    <a:pt x="130" y="499"/>
                  </a:lnTo>
                  <a:lnTo>
                    <a:pt x="130" y="498"/>
                  </a:lnTo>
                  <a:lnTo>
                    <a:pt x="131" y="495"/>
                  </a:lnTo>
                  <a:lnTo>
                    <a:pt x="131" y="494"/>
                  </a:lnTo>
                  <a:lnTo>
                    <a:pt x="132" y="493"/>
                  </a:lnTo>
                  <a:lnTo>
                    <a:pt x="134" y="493"/>
                  </a:lnTo>
                  <a:lnTo>
                    <a:pt x="135" y="492"/>
                  </a:lnTo>
                  <a:lnTo>
                    <a:pt x="136" y="489"/>
                  </a:lnTo>
                  <a:lnTo>
                    <a:pt x="137" y="488"/>
                  </a:lnTo>
                  <a:lnTo>
                    <a:pt x="138" y="489"/>
                  </a:lnTo>
                  <a:lnTo>
                    <a:pt x="140" y="488"/>
                  </a:lnTo>
                  <a:lnTo>
                    <a:pt x="142" y="490"/>
                  </a:lnTo>
                  <a:lnTo>
                    <a:pt x="143" y="488"/>
                  </a:lnTo>
                  <a:lnTo>
                    <a:pt x="141" y="488"/>
                  </a:lnTo>
                  <a:lnTo>
                    <a:pt x="142" y="487"/>
                  </a:lnTo>
                  <a:lnTo>
                    <a:pt x="140" y="486"/>
                  </a:lnTo>
                  <a:lnTo>
                    <a:pt x="141" y="483"/>
                  </a:lnTo>
                  <a:lnTo>
                    <a:pt x="140" y="483"/>
                  </a:lnTo>
                  <a:lnTo>
                    <a:pt x="141" y="482"/>
                  </a:lnTo>
                  <a:lnTo>
                    <a:pt x="141" y="480"/>
                  </a:lnTo>
                  <a:lnTo>
                    <a:pt x="138" y="478"/>
                  </a:lnTo>
                  <a:lnTo>
                    <a:pt x="140" y="477"/>
                  </a:lnTo>
                  <a:lnTo>
                    <a:pt x="141" y="477"/>
                  </a:lnTo>
                  <a:lnTo>
                    <a:pt x="141" y="476"/>
                  </a:lnTo>
                  <a:lnTo>
                    <a:pt x="143" y="478"/>
                  </a:lnTo>
                  <a:lnTo>
                    <a:pt x="144" y="480"/>
                  </a:lnTo>
                  <a:lnTo>
                    <a:pt x="146" y="481"/>
                  </a:lnTo>
                  <a:lnTo>
                    <a:pt x="147" y="480"/>
                  </a:lnTo>
                  <a:lnTo>
                    <a:pt x="149" y="482"/>
                  </a:lnTo>
                  <a:lnTo>
                    <a:pt x="152" y="482"/>
                  </a:lnTo>
                  <a:lnTo>
                    <a:pt x="152" y="483"/>
                  </a:lnTo>
                  <a:lnTo>
                    <a:pt x="154" y="484"/>
                  </a:lnTo>
                  <a:lnTo>
                    <a:pt x="155" y="483"/>
                  </a:lnTo>
                  <a:lnTo>
                    <a:pt x="155" y="482"/>
                  </a:lnTo>
                  <a:lnTo>
                    <a:pt x="156" y="483"/>
                  </a:lnTo>
                  <a:lnTo>
                    <a:pt x="159" y="482"/>
                  </a:lnTo>
                  <a:lnTo>
                    <a:pt x="160" y="484"/>
                  </a:lnTo>
                  <a:lnTo>
                    <a:pt x="160" y="482"/>
                  </a:lnTo>
                  <a:lnTo>
                    <a:pt x="160" y="481"/>
                  </a:lnTo>
                  <a:lnTo>
                    <a:pt x="161" y="481"/>
                  </a:lnTo>
                  <a:lnTo>
                    <a:pt x="161" y="480"/>
                  </a:lnTo>
                  <a:lnTo>
                    <a:pt x="163" y="480"/>
                  </a:lnTo>
                  <a:lnTo>
                    <a:pt x="164" y="481"/>
                  </a:lnTo>
                  <a:lnTo>
                    <a:pt x="164" y="480"/>
                  </a:lnTo>
                  <a:lnTo>
                    <a:pt x="166" y="481"/>
                  </a:lnTo>
                  <a:lnTo>
                    <a:pt x="167" y="480"/>
                  </a:lnTo>
                  <a:lnTo>
                    <a:pt x="170" y="482"/>
                  </a:lnTo>
                  <a:lnTo>
                    <a:pt x="170" y="478"/>
                  </a:lnTo>
                  <a:lnTo>
                    <a:pt x="169" y="478"/>
                  </a:lnTo>
                  <a:lnTo>
                    <a:pt x="169" y="477"/>
                  </a:lnTo>
                  <a:lnTo>
                    <a:pt x="167" y="476"/>
                  </a:lnTo>
                  <a:lnTo>
                    <a:pt x="169" y="475"/>
                  </a:lnTo>
                  <a:lnTo>
                    <a:pt x="171" y="473"/>
                  </a:lnTo>
                  <a:lnTo>
                    <a:pt x="172" y="475"/>
                  </a:lnTo>
                  <a:lnTo>
                    <a:pt x="173" y="476"/>
                  </a:lnTo>
                  <a:lnTo>
                    <a:pt x="175" y="476"/>
                  </a:lnTo>
                  <a:lnTo>
                    <a:pt x="175" y="475"/>
                  </a:lnTo>
                  <a:lnTo>
                    <a:pt x="175" y="473"/>
                  </a:lnTo>
                  <a:lnTo>
                    <a:pt x="175" y="471"/>
                  </a:lnTo>
                  <a:lnTo>
                    <a:pt x="176" y="471"/>
                  </a:lnTo>
                  <a:lnTo>
                    <a:pt x="178" y="470"/>
                  </a:lnTo>
                  <a:lnTo>
                    <a:pt x="179" y="473"/>
                  </a:lnTo>
                  <a:lnTo>
                    <a:pt x="179" y="476"/>
                  </a:lnTo>
                  <a:lnTo>
                    <a:pt x="181" y="476"/>
                  </a:lnTo>
                  <a:lnTo>
                    <a:pt x="183" y="477"/>
                  </a:lnTo>
                  <a:lnTo>
                    <a:pt x="183" y="478"/>
                  </a:lnTo>
                  <a:lnTo>
                    <a:pt x="184" y="478"/>
                  </a:lnTo>
                  <a:lnTo>
                    <a:pt x="184" y="480"/>
                  </a:lnTo>
                  <a:lnTo>
                    <a:pt x="185" y="480"/>
                  </a:lnTo>
                  <a:lnTo>
                    <a:pt x="187" y="480"/>
                  </a:lnTo>
                  <a:lnTo>
                    <a:pt x="189" y="480"/>
                  </a:lnTo>
                  <a:lnTo>
                    <a:pt x="188" y="481"/>
                  </a:lnTo>
                  <a:lnTo>
                    <a:pt x="187" y="482"/>
                  </a:lnTo>
                  <a:lnTo>
                    <a:pt x="187" y="483"/>
                  </a:lnTo>
                  <a:lnTo>
                    <a:pt x="185" y="483"/>
                  </a:lnTo>
                  <a:lnTo>
                    <a:pt x="185" y="484"/>
                  </a:lnTo>
                  <a:lnTo>
                    <a:pt x="185" y="486"/>
                  </a:lnTo>
                  <a:lnTo>
                    <a:pt x="188" y="486"/>
                  </a:lnTo>
                  <a:lnTo>
                    <a:pt x="187" y="487"/>
                  </a:lnTo>
                  <a:lnTo>
                    <a:pt x="187" y="488"/>
                  </a:lnTo>
                  <a:lnTo>
                    <a:pt x="188" y="487"/>
                  </a:lnTo>
                  <a:lnTo>
                    <a:pt x="189" y="487"/>
                  </a:lnTo>
                  <a:lnTo>
                    <a:pt x="190" y="486"/>
                  </a:lnTo>
                  <a:lnTo>
                    <a:pt x="193" y="484"/>
                  </a:lnTo>
                  <a:lnTo>
                    <a:pt x="194" y="484"/>
                  </a:lnTo>
                  <a:lnTo>
                    <a:pt x="195" y="486"/>
                  </a:lnTo>
                  <a:lnTo>
                    <a:pt x="196" y="487"/>
                  </a:lnTo>
                  <a:lnTo>
                    <a:pt x="201" y="486"/>
                  </a:lnTo>
                  <a:lnTo>
                    <a:pt x="207" y="486"/>
                  </a:lnTo>
                  <a:lnTo>
                    <a:pt x="213" y="486"/>
                  </a:lnTo>
                  <a:lnTo>
                    <a:pt x="215" y="486"/>
                  </a:lnTo>
                  <a:lnTo>
                    <a:pt x="218" y="484"/>
                  </a:lnTo>
                  <a:lnTo>
                    <a:pt x="219" y="484"/>
                  </a:lnTo>
                  <a:lnTo>
                    <a:pt x="220" y="484"/>
                  </a:lnTo>
                  <a:lnTo>
                    <a:pt x="223" y="484"/>
                  </a:lnTo>
                  <a:lnTo>
                    <a:pt x="226" y="484"/>
                  </a:lnTo>
                  <a:lnTo>
                    <a:pt x="228" y="484"/>
                  </a:lnTo>
                  <a:lnTo>
                    <a:pt x="234" y="482"/>
                  </a:lnTo>
                  <a:lnTo>
                    <a:pt x="236" y="481"/>
                  </a:lnTo>
                  <a:lnTo>
                    <a:pt x="236" y="478"/>
                  </a:lnTo>
                  <a:lnTo>
                    <a:pt x="238" y="478"/>
                  </a:lnTo>
                  <a:lnTo>
                    <a:pt x="241" y="480"/>
                  </a:lnTo>
                  <a:lnTo>
                    <a:pt x="243" y="481"/>
                  </a:lnTo>
                  <a:lnTo>
                    <a:pt x="247" y="480"/>
                  </a:lnTo>
                  <a:lnTo>
                    <a:pt x="250" y="478"/>
                  </a:lnTo>
                  <a:lnTo>
                    <a:pt x="252" y="477"/>
                  </a:lnTo>
                  <a:lnTo>
                    <a:pt x="252" y="475"/>
                  </a:lnTo>
                  <a:lnTo>
                    <a:pt x="252" y="473"/>
                  </a:lnTo>
                  <a:lnTo>
                    <a:pt x="254" y="473"/>
                  </a:lnTo>
                  <a:lnTo>
                    <a:pt x="258" y="472"/>
                  </a:lnTo>
                  <a:lnTo>
                    <a:pt x="259" y="471"/>
                  </a:lnTo>
                  <a:lnTo>
                    <a:pt x="262" y="471"/>
                  </a:lnTo>
                  <a:lnTo>
                    <a:pt x="265" y="470"/>
                  </a:lnTo>
                  <a:lnTo>
                    <a:pt x="267" y="469"/>
                  </a:lnTo>
                  <a:lnTo>
                    <a:pt x="270" y="466"/>
                  </a:lnTo>
                  <a:lnTo>
                    <a:pt x="268" y="467"/>
                  </a:lnTo>
                  <a:lnTo>
                    <a:pt x="267" y="466"/>
                  </a:lnTo>
                  <a:lnTo>
                    <a:pt x="266" y="466"/>
                  </a:lnTo>
                  <a:lnTo>
                    <a:pt x="266" y="463"/>
                  </a:lnTo>
                  <a:lnTo>
                    <a:pt x="267" y="461"/>
                  </a:lnTo>
                  <a:lnTo>
                    <a:pt x="266" y="461"/>
                  </a:lnTo>
                  <a:lnTo>
                    <a:pt x="266" y="460"/>
                  </a:lnTo>
                  <a:lnTo>
                    <a:pt x="264" y="460"/>
                  </a:lnTo>
                  <a:lnTo>
                    <a:pt x="264" y="461"/>
                  </a:lnTo>
                  <a:lnTo>
                    <a:pt x="265" y="463"/>
                  </a:lnTo>
                  <a:lnTo>
                    <a:pt x="264" y="464"/>
                  </a:lnTo>
                  <a:lnTo>
                    <a:pt x="264" y="465"/>
                  </a:lnTo>
                  <a:lnTo>
                    <a:pt x="264" y="467"/>
                  </a:lnTo>
                  <a:lnTo>
                    <a:pt x="262" y="467"/>
                  </a:lnTo>
                  <a:lnTo>
                    <a:pt x="260" y="469"/>
                  </a:lnTo>
                  <a:lnTo>
                    <a:pt x="258" y="466"/>
                  </a:lnTo>
                  <a:lnTo>
                    <a:pt x="258" y="465"/>
                  </a:lnTo>
                  <a:lnTo>
                    <a:pt x="255" y="466"/>
                  </a:lnTo>
                  <a:lnTo>
                    <a:pt x="253" y="466"/>
                  </a:lnTo>
                  <a:lnTo>
                    <a:pt x="249" y="465"/>
                  </a:lnTo>
                  <a:lnTo>
                    <a:pt x="248" y="466"/>
                  </a:lnTo>
                  <a:lnTo>
                    <a:pt x="248" y="467"/>
                  </a:lnTo>
                  <a:lnTo>
                    <a:pt x="246" y="469"/>
                  </a:lnTo>
                  <a:lnTo>
                    <a:pt x="244" y="469"/>
                  </a:lnTo>
                  <a:lnTo>
                    <a:pt x="244" y="467"/>
                  </a:lnTo>
                  <a:lnTo>
                    <a:pt x="244" y="465"/>
                  </a:lnTo>
                  <a:lnTo>
                    <a:pt x="246" y="464"/>
                  </a:lnTo>
                  <a:lnTo>
                    <a:pt x="247" y="464"/>
                  </a:lnTo>
                  <a:lnTo>
                    <a:pt x="247" y="463"/>
                  </a:lnTo>
                  <a:lnTo>
                    <a:pt x="247" y="459"/>
                  </a:lnTo>
                  <a:lnTo>
                    <a:pt x="247" y="458"/>
                  </a:lnTo>
                  <a:lnTo>
                    <a:pt x="248" y="455"/>
                  </a:lnTo>
                  <a:lnTo>
                    <a:pt x="249" y="455"/>
                  </a:lnTo>
                  <a:lnTo>
                    <a:pt x="250" y="457"/>
                  </a:lnTo>
                  <a:lnTo>
                    <a:pt x="250" y="454"/>
                  </a:lnTo>
                  <a:lnTo>
                    <a:pt x="249" y="453"/>
                  </a:lnTo>
                  <a:lnTo>
                    <a:pt x="248" y="454"/>
                  </a:lnTo>
                  <a:lnTo>
                    <a:pt x="247" y="454"/>
                  </a:lnTo>
                  <a:lnTo>
                    <a:pt x="246" y="454"/>
                  </a:lnTo>
                  <a:lnTo>
                    <a:pt x="244" y="453"/>
                  </a:lnTo>
                  <a:lnTo>
                    <a:pt x="242" y="453"/>
                  </a:lnTo>
                  <a:lnTo>
                    <a:pt x="242" y="452"/>
                  </a:lnTo>
                  <a:lnTo>
                    <a:pt x="243" y="451"/>
                  </a:lnTo>
                  <a:lnTo>
                    <a:pt x="242" y="449"/>
                  </a:lnTo>
                  <a:lnTo>
                    <a:pt x="240" y="448"/>
                  </a:lnTo>
                  <a:lnTo>
                    <a:pt x="241" y="451"/>
                  </a:lnTo>
                  <a:lnTo>
                    <a:pt x="240" y="452"/>
                  </a:lnTo>
                  <a:lnTo>
                    <a:pt x="238" y="451"/>
                  </a:lnTo>
                  <a:lnTo>
                    <a:pt x="237" y="451"/>
                  </a:lnTo>
                  <a:lnTo>
                    <a:pt x="235" y="451"/>
                  </a:lnTo>
                  <a:lnTo>
                    <a:pt x="235" y="454"/>
                  </a:lnTo>
                  <a:lnTo>
                    <a:pt x="234" y="453"/>
                  </a:lnTo>
                  <a:lnTo>
                    <a:pt x="232" y="454"/>
                  </a:lnTo>
                  <a:lnTo>
                    <a:pt x="231" y="457"/>
                  </a:lnTo>
                  <a:lnTo>
                    <a:pt x="229" y="458"/>
                  </a:lnTo>
                  <a:lnTo>
                    <a:pt x="228" y="460"/>
                  </a:lnTo>
                  <a:lnTo>
                    <a:pt x="226" y="463"/>
                  </a:lnTo>
                  <a:lnTo>
                    <a:pt x="228" y="461"/>
                  </a:lnTo>
                  <a:lnTo>
                    <a:pt x="229" y="461"/>
                  </a:lnTo>
                  <a:lnTo>
                    <a:pt x="229" y="463"/>
                  </a:lnTo>
                  <a:lnTo>
                    <a:pt x="229" y="464"/>
                  </a:lnTo>
                  <a:lnTo>
                    <a:pt x="228" y="465"/>
                  </a:lnTo>
                  <a:lnTo>
                    <a:pt x="229" y="465"/>
                  </a:lnTo>
                  <a:lnTo>
                    <a:pt x="230" y="464"/>
                  </a:lnTo>
                  <a:lnTo>
                    <a:pt x="230" y="465"/>
                  </a:lnTo>
                  <a:lnTo>
                    <a:pt x="230" y="466"/>
                  </a:lnTo>
                  <a:lnTo>
                    <a:pt x="229" y="469"/>
                  </a:lnTo>
                  <a:lnTo>
                    <a:pt x="230" y="467"/>
                  </a:lnTo>
                  <a:lnTo>
                    <a:pt x="231" y="469"/>
                  </a:lnTo>
                  <a:lnTo>
                    <a:pt x="229" y="470"/>
                  </a:lnTo>
                  <a:lnTo>
                    <a:pt x="228" y="471"/>
                  </a:lnTo>
                  <a:lnTo>
                    <a:pt x="226" y="472"/>
                  </a:lnTo>
                  <a:lnTo>
                    <a:pt x="224" y="472"/>
                  </a:lnTo>
                  <a:lnTo>
                    <a:pt x="223" y="472"/>
                  </a:lnTo>
                  <a:lnTo>
                    <a:pt x="224" y="471"/>
                  </a:lnTo>
                  <a:lnTo>
                    <a:pt x="224" y="469"/>
                  </a:lnTo>
                  <a:lnTo>
                    <a:pt x="223" y="469"/>
                  </a:lnTo>
                  <a:lnTo>
                    <a:pt x="222" y="472"/>
                  </a:lnTo>
                  <a:lnTo>
                    <a:pt x="219" y="472"/>
                  </a:lnTo>
                  <a:lnTo>
                    <a:pt x="219" y="470"/>
                  </a:lnTo>
                  <a:lnTo>
                    <a:pt x="218" y="471"/>
                  </a:lnTo>
                  <a:lnTo>
                    <a:pt x="217" y="471"/>
                  </a:lnTo>
                  <a:lnTo>
                    <a:pt x="214" y="471"/>
                  </a:lnTo>
                  <a:lnTo>
                    <a:pt x="214" y="472"/>
                  </a:lnTo>
                  <a:lnTo>
                    <a:pt x="213" y="471"/>
                  </a:lnTo>
                  <a:lnTo>
                    <a:pt x="211" y="471"/>
                  </a:lnTo>
                  <a:lnTo>
                    <a:pt x="211" y="470"/>
                  </a:lnTo>
                  <a:lnTo>
                    <a:pt x="213" y="466"/>
                  </a:lnTo>
                  <a:lnTo>
                    <a:pt x="214" y="464"/>
                  </a:lnTo>
                  <a:lnTo>
                    <a:pt x="212" y="466"/>
                  </a:lnTo>
                  <a:lnTo>
                    <a:pt x="211" y="466"/>
                  </a:lnTo>
                  <a:lnTo>
                    <a:pt x="209" y="465"/>
                  </a:lnTo>
                  <a:lnTo>
                    <a:pt x="208" y="465"/>
                  </a:lnTo>
                  <a:lnTo>
                    <a:pt x="207" y="464"/>
                  </a:lnTo>
                  <a:lnTo>
                    <a:pt x="207" y="463"/>
                  </a:lnTo>
                  <a:lnTo>
                    <a:pt x="206" y="463"/>
                  </a:lnTo>
                  <a:lnTo>
                    <a:pt x="206" y="458"/>
                  </a:lnTo>
                  <a:lnTo>
                    <a:pt x="206" y="455"/>
                  </a:lnTo>
                  <a:lnTo>
                    <a:pt x="203" y="453"/>
                  </a:lnTo>
                  <a:lnTo>
                    <a:pt x="203" y="449"/>
                  </a:lnTo>
                  <a:lnTo>
                    <a:pt x="205" y="451"/>
                  </a:lnTo>
                  <a:lnTo>
                    <a:pt x="206" y="448"/>
                  </a:lnTo>
                  <a:lnTo>
                    <a:pt x="208" y="447"/>
                  </a:lnTo>
                  <a:lnTo>
                    <a:pt x="211" y="447"/>
                  </a:lnTo>
                  <a:lnTo>
                    <a:pt x="211" y="445"/>
                  </a:lnTo>
                  <a:lnTo>
                    <a:pt x="208" y="445"/>
                  </a:lnTo>
                  <a:lnTo>
                    <a:pt x="207" y="446"/>
                  </a:lnTo>
                  <a:lnTo>
                    <a:pt x="205" y="446"/>
                  </a:lnTo>
                  <a:lnTo>
                    <a:pt x="203" y="445"/>
                  </a:lnTo>
                  <a:lnTo>
                    <a:pt x="201" y="446"/>
                  </a:lnTo>
                  <a:lnTo>
                    <a:pt x="201" y="448"/>
                  </a:lnTo>
                  <a:lnTo>
                    <a:pt x="202" y="449"/>
                  </a:lnTo>
                  <a:lnTo>
                    <a:pt x="201" y="451"/>
                  </a:lnTo>
                  <a:lnTo>
                    <a:pt x="200" y="452"/>
                  </a:lnTo>
                  <a:lnTo>
                    <a:pt x="200" y="453"/>
                  </a:lnTo>
                  <a:lnTo>
                    <a:pt x="199" y="453"/>
                  </a:lnTo>
                  <a:lnTo>
                    <a:pt x="200" y="449"/>
                  </a:lnTo>
                  <a:lnTo>
                    <a:pt x="197" y="449"/>
                  </a:lnTo>
                  <a:lnTo>
                    <a:pt x="196" y="452"/>
                  </a:lnTo>
                  <a:lnTo>
                    <a:pt x="194" y="452"/>
                  </a:lnTo>
                  <a:lnTo>
                    <a:pt x="191" y="452"/>
                  </a:lnTo>
                  <a:lnTo>
                    <a:pt x="190" y="452"/>
                  </a:lnTo>
                  <a:lnTo>
                    <a:pt x="190" y="453"/>
                  </a:lnTo>
                  <a:lnTo>
                    <a:pt x="189" y="453"/>
                  </a:lnTo>
                  <a:lnTo>
                    <a:pt x="188" y="454"/>
                  </a:lnTo>
                  <a:lnTo>
                    <a:pt x="185" y="455"/>
                  </a:lnTo>
                  <a:lnTo>
                    <a:pt x="185" y="454"/>
                  </a:lnTo>
                  <a:lnTo>
                    <a:pt x="184" y="455"/>
                  </a:lnTo>
                  <a:lnTo>
                    <a:pt x="183" y="454"/>
                  </a:lnTo>
                  <a:lnTo>
                    <a:pt x="182" y="453"/>
                  </a:lnTo>
                  <a:lnTo>
                    <a:pt x="181" y="453"/>
                  </a:lnTo>
                  <a:lnTo>
                    <a:pt x="178" y="452"/>
                  </a:lnTo>
                  <a:lnTo>
                    <a:pt x="178" y="449"/>
                  </a:lnTo>
                  <a:lnTo>
                    <a:pt x="176" y="449"/>
                  </a:lnTo>
                  <a:lnTo>
                    <a:pt x="175" y="449"/>
                  </a:lnTo>
                  <a:lnTo>
                    <a:pt x="172" y="451"/>
                  </a:lnTo>
                  <a:lnTo>
                    <a:pt x="171" y="451"/>
                  </a:lnTo>
                  <a:lnTo>
                    <a:pt x="167" y="449"/>
                  </a:lnTo>
                  <a:lnTo>
                    <a:pt x="167" y="448"/>
                  </a:lnTo>
                  <a:lnTo>
                    <a:pt x="166" y="448"/>
                  </a:lnTo>
                  <a:lnTo>
                    <a:pt x="164" y="449"/>
                  </a:lnTo>
                  <a:lnTo>
                    <a:pt x="161" y="448"/>
                  </a:lnTo>
                  <a:lnTo>
                    <a:pt x="161" y="449"/>
                  </a:lnTo>
                  <a:lnTo>
                    <a:pt x="159" y="449"/>
                  </a:lnTo>
                  <a:lnTo>
                    <a:pt x="158" y="448"/>
                  </a:lnTo>
                  <a:lnTo>
                    <a:pt x="156" y="448"/>
                  </a:lnTo>
                  <a:lnTo>
                    <a:pt x="155" y="449"/>
                  </a:lnTo>
                  <a:lnTo>
                    <a:pt x="154" y="448"/>
                  </a:lnTo>
                  <a:lnTo>
                    <a:pt x="152" y="449"/>
                  </a:lnTo>
                  <a:lnTo>
                    <a:pt x="152" y="451"/>
                  </a:lnTo>
                  <a:lnTo>
                    <a:pt x="152" y="452"/>
                  </a:lnTo>
                  <a:lnTo>
                    <a:pt x="152" y="453"/>
                  </a:lnTo>
                  <a:lnTo>
                    <a:pt x="152" y="452"/>
                  </a:lnTo>
                  <a:lnTo>
                    <a:pt x="154" y="452"/>
                  </a:lnTo>
                  <a:lnTo>
                    <a:pt x="155" y="452"/>
                  </a:lnTo>
                  <a:lnTo>
                    <a:pt x="156" y="452"/>
                  </a:lnTo>
                  <a:lnTo>
                    <a:pt x="158" y="452"/>
                  </a:lnTo>
                  <a:lnTo>
                    <a:pt x="159" y="452"/>
                  </a:lnTo>
                  <a:lnTo>
                    <a:pt x="158" y="452"/>
                  </a:lnTo>
                  <a:lnTo>
                    <a:pt x="159" y="449"/>
                  </a:lnTo>
                  <a:lnTo>
                    <a:pt x="159" y="451"/>
                  </a:lnTo>
                  <a:lnTo>
                    <a:pt x="159" y="452"/>
                  </a:lnTo>
                  <a:lnTo>
                    <a:pt x="160" y="451"/>
                  </a:lnTo>
                  <a:lnTo>
                    <a:pt x="161" y="451"/>
                  </a:lnTo>
                  <a:lnTo>
                    <a:pt x="161" y="452"/>
                  </a:lnTo>
                  <a:lnTo>
                    <a:pt x="163" y="451"/>
                  </a:lnTo>
                  <a:lnTo>
                    <a:pt x="164" y="452"/>
                  </a:lnTo>
                  <a:lnTo>
                    <a:pt x="164" y="451"/>
                  </a:lnTo>
                  <a:lnTo>
                    <a:pt x="164" y="452"/>
                  </a:lnTo>
                  <a:lnTo>
                    <a:pt x="165" y="452"/>
                  </a:lnTo>
                  <a:lnTo>
                    <a:pt x="166" y="453"/>
                  </a:lnTo>
                  <a:lnTo>
                    <a:pt x="166" y="454"/>
                  </a:lnTo>
                  <a:lnTo>
                    <a:pt x="166" y="452"/>
                  </a:lnTo>
                  <a:lnTo>
                    <a:pt x="167" y="451"/>
                  </a:lnTo>
                  <a:lnTo>
                    <a:pt x="169" y="451"/>
                  </a:lnTo>
                  <a:lnTo>
                    <a:pt x="169" y="453"/>
                  </a:lnTo>
                  <a:lnTo>
                    <a:pt x="167" y="457"/>
                  </a:lnTo>
                  <a:lnTo>
                    <a:pt x="166" y="457"/>
                  </a:lnTo>
                  <a:lnTo>
                    <a:pt x="165" y="457"/>
                  </a:lnTo>
                  <a:lnTo>
                    <a:pt x="166" y="457"/>
                  </a:lnTo>
                  <a:lnTo>
                    <a:pt x="166" y="459"/>
                  </a:lnTo>
                  <a:lnTo>
                    <a:pt x="166" y="458"/>
                  </a:lnTo>
                  <a:lnTo>
                    <a:pt x="165" y="458"/>
                  </a:lnTo>
                  <a:lnTo>
                    <a:pt x="164" y="458"/>
                  </a:lnTo>
                  <a:lnTo>
                    <a:pt x="163" y="458"/>
                  </a:lnTo>
                  <a:lnTo>
                    <a:pt x="161" y="458"/>
                  </a:lnTo>
                  <a:lnTo>
                    <a:pt x="159" y="459"/>
                  </a:lnTo>
                  <a:lnTo>
                    <a:pt x="156" y="464"/>
                  </a:lnTo>
                  <a:lnTo>
                    <a:pt x="154" y="464"/>
                  </a:lnTo>
                  <a:lnTo>
                    <a:pt x="154" y="463"/>
                  </a:lnTo>
                  <a:lnTo>
                    <a:pt x="153" y="460"/>
                  </a:lnTo>
                  <a:lnTo>
                    <a:pt x="152" y="458"/>
                  </a:lnTo>
                  <a:lnTo>
                    <a:pt x="150" y="458"/>
                  </a:lnTo>
                  <a:lnTo>
                    <a:pt x="152" y="461"/>
                  </a:lnTo>
                  <a:lnTo>
                    <a:pt x="152" y="463"/>
                  </a:lnTo>
                  <a:lnTo>
                    <a:pt x="150" y="463"/>
                  </a:lnTo>
                  <a:lnTo>
                    <a:pt x="150" y="461"/>
                  </a:lnTo>
                  <a:lnTo>
                    <a:pt x="149" y="464"/>
                  </a:lnTo>
                  <a:lnTo>
                    <a:pt x="150" y="465"/>
                  </a:lnTo>
                  <a:lnTo>
                    <a:pt x="148" y="464"/>
                  </a:lnTo>
                  <a:lnTo>
                    <a:pt x="149" y="466"/>
                  </a:lnTo>
                  <a:lnTo>
                    <a:pt x="148" y="466"/>
                  </a:lnTo>
                  <a:lnTo>
                    <a:pt x="149" y="469"/>
                  </a:lnTo>
                  <a:lnTo>
                    <a:pt x="147" y="470"/>
                  </a:lnTo>
                  <a:lnTo>
                    <a:pt x="149" y="471"/>
                  </a:lnTo>
                  <a:lnTo>
                    <a:pt x="150" y="470"/>
                  </a:lnTo>
                  <a:lnTo>
                    <a:pt x="150" y="471"/>
                  </a:lnTo>
                  <a:lnTo>
                    <a:pt x="152" y="471"/>
                  </a:lnTo>
                  <a:lnTo>
                    <a:pt x="152" y="473"/>
                  </a:lnTo>
                  <a:lnTo>
                    <a:pt x="152" y="476"/>
                  </a:lnTo>
                  <a:lnTo>
                    <a:pt x="150" y="477"/>
                  </a:lnTo>
                  <a:lnTo>
                    <a:pt x="150" y="476"/>
                  </a:lnTo>
                  <a:lnTo>
                    <a:pt x="148" y="477"/>
                  </a:lnTo>
                  <a:lnTo>
                    <a:pt x="147" y="477"/>
                  </a:lnTo>
                  <a:lnTo>
                    <a:pt x="147" y="476"/>
                  </a:lnTo>
                  <a:lnTo>
                    <a:pt x="144" y="475"/>
                  </a:lnTo>
                  <a:lnTo>
                    <a:pt x="141" y="473"/>
                  </a:lnTo>
                  <a:lnTo>
                    <a:pt x="138" y="473"/>
                  </a:lnTo>
                  <a:lnTo>
                    <a:pt x="137" y="473"/>
                  </a:lnTo>
                  <a:lnTo>
                    <a:pt x="136" y="475"/>
                  </a:lnTo>
                  <a:lnTo>
                    <a:pt x="130" y="475"/>
                  </a:lnTo>
                  <a:lnTo>
                    <a:pt x="129" y="473"/>
                  </a:lnTo>
                  <a:lnTo>
                    <a:pt x="126" y="475"/>
                  </a:lnTo>
                  <a:lnTo>
                    <a:pt x="125" y="476"/>
                  </a:lnTo>
                  <a:lnTo>
                    <a:pt x="124" y="478"/>
                  </a:lnTo>
                  <a:lnTo>
                    <a:pt x="122" y="478"/>
                  </a:lnTo>
                  <a:lnTo>
                    <a:pt x="119" y="480"/>
                  </a:lnTo>
                  <a:lnTo>
                    <a:pt x="118" y="478"/>
                  </a:lnTo>
                  <a:lnTo>
                    <a:pt x="117" y="476"/>
                  </a:lnTo>
                  <a:lnTo>
                    <a:pt x="117" y="475"/>
                  </a:lnTo>
                  <a:lnTo>
                    <a:pt x="114" y="472"/>
                  </a:lnTo>
                  <a:lnTo>
                    <a:pt x="112" y="472"/>
                  </a:lnTo>
                  <a:lnTo>
                    <a:pt x="112" y="470"/>
                  </a:lnTo>
                  <a:lnTo>
                    <a:pt x="110" y="469"/>
                  </a:lnTo>
                  <a:lnTo>
                    <a:pt x="108" y="466"/>
                  </a:lnTo>
                  <a:lnTo>
                    <a:pt x="108" y="465"/>
                  </a:lnTo>
                  <a:lnTo>
                    <a:pt x="110" y="466"/>
                  </a:lnTo>
                  <a:lnTo>
                    <a:pt x="111" y="466"/>
                  </a:lnTo>
                  <a:lnTo>
                    <a:pt x="111" y="467"/>
                  </a:lnTo>
                  <a:lnTo>
                    <a:pt x="112" y="466"/>
                  </a:lnTo>
                  <a:lnTo>
                    <a:pt x="113" y="466"/>
                  </a:lnTo>
                  <a:lnTo>
                    <a:pt x="113" y="467"/>
                  </a:lnTo>
                  <a:lnTo>
                    <a:pt x="114" y="466"/>
                  </a:lnTo>
                  <a:lnTo>
                    <a:pt x="114" y="465"/>
                  </a:lnTo>
                  <a:lnTo>
                    <a:pt x="116" y="464"/>
                  </a:lnTo>
                  <a:lnTo>
                    <a:pt x="117" y="465"/>
                  </a:lnTo>
                  <a:lnTo>
                    <a:pt x="117" y="464"/>
                  </a:lnTo>
                  <a:lnTo>
                    <a:pt x="118" y="464"/>
                  </a:lnTo>
                  <a:lnTo>
                    <a:pt x="119" y="463"/>
                  </a:lnTo>
                  <a:lnTo>
                    <a:pt x="117" y="460"/>
                  </a:lnTo>
                  <a:lnTo>
                    <a:pt x="117" y="459"/>
                  </a:lnTo>
                  <a:lnTo>
                    <a:pt x="118" y="459"/>
                  </a:lnTo>
                  <a:lnTo>
                    <a:pt x="122" y="459"/>
                  </a:lnTo>
                  <a:lnTo>
                    <a:pt x="123" y="458"/>
                  </a:lnTo>
                  <a:lnTo>
                    <a:pt x="123" y="457"/>
                  </a:lnTo>
                  <a:lnTo>
                    <a:pt x="120" y="455"/>
                  </a:lnTo>
                  <a:lnTo>
                    <a:pt x="120" y="454"/>
                  </a:lnTo>
                  <a:lnTo>
                    <a:pt x="119" y="454"/>
                  </a:lnTo>
                  <a:lnTo>
                    <a:pt x="119" y="453"/>
                  </a:lnTo>
                  <a:lnTo>
                    <a:pt x="117" y="452"/>
                  </a:lnTo>
                  <a:lnTo>
                    <a:pt x="118" y="452"/>
                  </a:lnTo>
                  <a:lnTo>
                    <a:pt x="118" y="451"/>
                  </a:lnTo>
                  <a:lnTo>
                    <a:pt x="119" y="449"/>
                  </a:lnTo>
                  <a:lnTo>
                    <a:pt x="122" y="451"/>
                  </a:lnTo>
                  <a:lnTo>
                    <a:pt x="123" y="451"/>
                  </a:lnTo>
                  <a:lnTo>
                    <a:pt x="122" y="449"/>
                  </a:lnTo>
                  <a:lnTo>
                    <a:pt x="122" y="447"/>
                  </a:lnTo>
                  <a:lnTo>
                    <a:pt x="122" y="445"/>
                  </a:lnTo>
                  <a:lnTo>
                    <a:pt x="120" y="446"/>
                  </a:lnTo>
                  <a:lnTo>
                    <a:pt x="118" y="446"/>
                  </a:lnTo>
                  <a:lnTo>
                    <a:pt x="117" y="446"/>
                  </a:lnTo>
                  <a:lnTo>
                    <a:pt x="116" y="446"/>
                  </a:lnTo>
                  <a:lnTo>
                    <a:pt x="114" y="445"/>
                  </a:lnTo>
                  <a:lnTo>
                    <a:pt x="113" y="445"/>
                  </a:lnTo>
                  <a:lnTo>
                    <a:pt x="112" y="446"/>
                  </a:lnTo>
                  <a:lnTo>
                    <a:pt x="112" y="447"/>
                  </a:lnTo>
                  <a:lnTo>
                    <a:pt x="110" y="447"/>
                  </a:lnTo>
                  <a:lnTo>
                    <a:pt x="110" y="446"/>
                  </a:lnTo>
                  <a:lnTo>
                    <a:pt x="108" y="447"/>
                  </a:lnTo>
                  <a:lnTo>
                    <a:pt x="107" y="446"/>
                  </a:lnTo>
                  <a:lnTo>
                    <a:pt x="106" y="446"/>
                  </a:lnTo>
                  <a:lnTo>
                    <a:pt x="105" y="446"/>
                  </a:lnTo>
                  <a:lnTo>
                    <a:pt x="102" y="445"/>
                  </a:lnTo>
                  <a:lnTo>
                    <a:pt x="101" y="446"/>
                  </a:lnTo>
                  <a:lnTo>
                    <a:pt x="100" y="446"/>
                  </a:lnTo>
                  <a:lnTo>
                    <a:pt x="97" y="447"/>
                  </a:lnTo>
                  <a:lnTo>
                    <a:pt x="97" y="448"/>
                  </a:lnTo>
                  <a:lnTo>
                    <a:pt x="96" y="448"/>
                  </a:lnTo>
                  <a:lnTo>
                    <a:pt x="89" y="447"/>
                  </a:lnTo>
                  <a:lnTo>
                    <a:pt x="87" y="449"/>
                  </a:lnTo>
                  <a:lnTo>
                    <a:pt x="85" y="449"/>
                  </a:lnTo>
                  <a:lnTo>
                    <a:pt x="84" y="447"/>
                  </a:lnTo>
                  <a:lnTo>
                    <a:pt x="83" y="447"/>
                  </a:lnTo>
                  <a:lnTo>
                    <a:pt x="81" y="446"/>
                  </a:lnTo>
                  <a:lnTo>
                    <a:pt x="79" y="445"/>
                  </a:lnTo>
                  <a:lnTo>
                    <a:pt x="81" y="443"/>
                  </a:lnTo>
                  <a:lnTo>
                    <a:pt x="82" y="443"/>
                  </a:lnTo>
                  <a:lnTo>
                    <a:pt x="82" y="445"/>
                  </a:lnTo>
                  <a:lnTo>
                    <a:pt x="84" y="445"/>
                  </a:lnTo>
                  <a:lnTo>
                    <a:pt x="85" y="443"/>
                  </a:lnTo>
                  <a:lnTo>
                    <a:pt x="84" y="443"/>
                  </a:lnTo>
                  <a:lnTo>
                    <a:pt x="84" y="442"/>
                  </a:lnTo>
                  <a:lnTo>
                    <a:pt x="82" y="441"/>
                  </a:lnTo>
                  <a:lnTo>
                    <a:pt x="82" y="440"/>
                  </a:lnTo>
                  <a:lnTo>
                    <a:pt x="81" y="440"/>
                  </a:lnTo>
                  <a:lnTo>
                    <a:pt x="79" y="440"/>
                  </a:lnTo>
                  <a:lnTo>
                    <a:pt x="81" y="436"/>
                  </a:lnTo>
                  <a:lnTo>
                    <a:pt x="82" y="434"/>
                  </a:lnTo>
                  <a:lnTo>
                    <a:pt x="83" y="434"/>
                  </a:lnTo>
                  <a:lnTo>
                    <a:pt x="84" y="434"/>
                  </a:lnTo>
                  <a:lnTo>
                    <a:pt x="85" y="433"/>
                  </a:lnTo>
                  <a:lnTo>
                    <a:pt x="87" y="434"/>
                  </a:lnTo>
                  <a:lnTo>
                    <a:pt x="89" y="435"/>
                  </a:lnTo>
                  <a:lnTo>
                    <a:pt x="89" y="433"/>
                  </a:lnTo>
                  <a:lnTo>
                    <a:pt x="89" y="431"/>
                  </a:lnTo>
                  <a:lnTo>
                    <a:pt x="90" y="431"/>
                  </a:lnTo>
                  <a:lnTo>
                    <a:pt x="93" y="430"/>
                  </a:lnTo>
                  <a:lnTo>
                    <a:pt x="90" y="428"/>
                  </a:lnTo>
                  <a:lnTo>
                    <a:pt x="89" y="429"/>
                  </a:lnTo>
                  <a:lnTo>
                    <a:pt x="85" y="428"/>
                  </a:lnTo>
                  <a:lnTo>
                    <a:pt x="84" y="428"/>
                  </a:lnTo>
                  <a:lnTo>
                    <a:pt x="83" y="427"/>
                  </a:lnTo>
                  <a:lnTo>
                    <a:pt x="79" y="425"/>
                  </a:lnTo>
                  <a:lnTo>
                    <a:pt x="79" y="424"/>
                  </a:lnTo>
                  <a:lnTo>
                    <a:pt x="78" y="423"/>
                  </a:lnTo>
                  <a:lnTo>
                    <a:pt x="78" y="422"/>
                  </a:lnTo>
                  <a:lnTo>
                    <a:pt x="76" y="419"/>
                  </a:lnTo>
                  <a:lnTo>
                    <a:pt x="77" y="419"/>
                  </a:lnTo>
                  <a:lnTo>
                    <a:pt x="77" y="418"/>
                  </a:lnTo>
                  <a:lnTo>
                    <a:pt x="78" y="418"/>
                  </a:lnTo>
                  <a:lnTo>
                    <a:pt x="78" y="419"/>
                  </a:lnTo>
                  <a:lnTo>
                    <a:pt x="81" y="419"/>
                  </a:lnTo>
                  <a:lnTo>
                    <a:pt x="81" y="421"/>
                  </a:lnTo>
                  <a:lnTo>
                    <a:pt x="82" y="421"/>
                  </a:lnTo>
                  <a:lnTo>
                    <a:pt x="83" y="422"/>
                  </a:lnTo>
                  <a:lnTo>
                    <a:pt x="83" y="419"/>
                  </a:lnTo>
                  <a:lnTo>
                    <a:pt x="83" y="418"/>
                  </a:lnTo>
                  <a:lnTo>
                    <a:pt x="85" y="417"/>
                  </a:lnTo>
                  <a:lnTo>
                    <a:pt x="85" y="418"/>
                  </a:lnTo>
                  <a:lnTo>
                    <a:pt x="87" y="419"/>
                  </a:lnTo>
                  <a:lnTo>
                    <a:pt x="88" y="422"/>
                  </a:lnTo>
                  <a:lnTo>
                    <a:pt x="89" y="422"/>
                  </a:lnTo>
                  <a:lnTo>
                    <a:pt x="90" y="423"/>
                  </a:lnTo>
                  <a:lnTo>
                    <a:pt x="90" y="424"/>
                  </a:lnTo>
                  <a:lnTo>
                    <a:pt x="93" y="424"/>
                  </a:lnTo>
                  <a:lnTo>
                    <a:pt x="97" y="424"/>
                  </a:lnTo>
                  <a:lnTo>
                    <a:pt x="96" y="422"/>
                  </a:lnTo>
                  <a:lnTo>
                    <a:pt x="95" y="421"/>
                  </a:lnTo>
                  <a:lnTo>
                    <a:pt x="94" y="419"/>
                  </a:lnTo>
                  <a:lnTo>
                    <a:pt x="95" y="418"/>
                  </a:lnTo>
                  <a:lnTo>
                    <a:pt x="95" y="417"/>
                  </a:lnTo>
                  <a:lnTo>
                    <a:pt x="96" y="418"/>
                  </a:lnTo>
                  <a:lnTo>
                    <a:pt x="97" y="418"/>
                  </a:lnTo>
                  <a:lnTo>
                    <a:pt x="99" y="418"/>
                  </a:lnTo>
                  <a:lnTo>
                    <a:pt x="99" y="421"/>
                  </a:lnTo>
                  <a:lnTo>
                    <a:pt x="100" y="421"/>
                  </a:lnTo>
                  <a:lnTo>
                    <a:pt x="100" y="419"/>
                  </a:lnTo>
                  <a:lnTo>
                    <a:pt x="100" y="418"/>
                  </a:lnTo>
                  <a:lnTo>
                    <a:pt x="99" y="417"/>
                  </a:lnTo>
                  <a:lnTo>
                    <a:pt x="100" y="416"/>
                  </a:lnTo>
                  <a:lnTo>
                    <a:pt x="99" y="416"/>
                  </a:lnTo>
                  <a:lnTo>
                    <a:pt x="97" y="413"/>
                  </a:lnTo>
                  <a:lnTo>
                    <a:pt x="100" y="413"/>
                  </a:lnTo>
                  <a:lnTo>
                    <a:pt x="101" y="413"/>
                  </a:lnTo>
                  <a:lnTo>
                    <a:pt x="104" y="415"/>
                  </a:lnTo>
                  <a:lnTo>
                    <a:pt x="104" y="416"/>
                  </a:lnTo>
                  <a:lnTo>
                    <a:pt x="106" y="416"/>
                  </a:lnTo>
                  <a:lnTo>
                    <a:pt x="106" y="415"/>
                  </a:lnTo>
                  <a:lnTo>
                    <a:pt x="106" y="413"/>
                  </a:lnTo>
                  <a:lnTo>
                    <a:pt x="107" y="412"/>
                  </a:lnTo>
                  <a:lnTo>
                    <a:pt x="108" y="413"/>
                  </a:lnTo>
                  <a:lnTo>
                    <a:pt x="110" y="413"/>
                  </a:lnTo>
                  <a:lnTo>
                    <a:pt x="110" y="415"/>
                  </a:lnTo>
                  <a:lnTo>
                    <a:pt x="111" y="413"/>
                  </a:lnTo>
                  <a:lnTo>
                    <a:pt x="111" y="412"/>
                  </a:lnTo>
                  <a:lnTo>
                    <a:pt x="112" y="411"/>
                  </a:lnTo>
                  <a:lnTo>
                    <a:pt x="114" y="411"/>
                  </a:lnTo>
                  <a:lnTo>
                    <a:pt x="113" y="410"/>
                  </a:lnTo>
                  <a:lnTo>
                    <a:pt x="113" y="409"/>
                  </a:lnTo>
                  <a:lnTo>
                    <a:pt x="112" y="409"/>
                  </a:lnTo>
                  <a:lnTo>
                    <a:pt x="111" y="407"/>
                  </a:lnTo>
                  <a:lnTo>
                    <a:pt x="112" y="405"/>
                  </a:lnTo>
                  <a:lnTo>
                    <a:pt x="113" y="405"/>
                  </a:lnTo>
                  <a:lnTo>
                    <a:pt x="113" y="404"/>
                  </a:lnTo>
                  <a:lnTo>
                    <a:pt x="113" y="405"/>
                  </a:lnTo>
                  <a:lnTo>
                    <a:pt x="114" y="406"/>
                  </a:lnTo>
                  <a:lnTo>
                    <a:pt x="116" y="406"/>
                  </a:lnTo>
                  <a:lnTo>
                    <a:pt x="117" y="407"/>
                  </a:lnTo>
                  <a:lnTo>
                    <a:pt x="118" y="407"/>
                  </a:lnTo>
                  <a:lnTo>
                    <a:pt x="118" y="405"/>
                  </a:lnTo>
                  <a:lnTo>
                    <a:pt x="117" y="405"/>
                  </a:lnTo>
                  <a:lnTo>
                    <a:pt x="118" y="405"/>
                  </a:lnTo>
                  <a:lnTo>
                    <a:pt x="119" y="404"/>
                  </a:lnTo>
                  <a:lnTo>
                    <a:pt x="120" y="406"/>
                  </a:lnTo>
                  <a:lnTo>
                    <a:pt x="120" y="405"/>
                  </a:lnTo>
                  <a:lnTo>
                    <a:pt x="120" y="404"/>
                  </a:lnTo>
                  <a:lnTo>
                    <a:pt x="120" y="403"/>
                  </a:lnTo>
                  <a:lnTo>
                    <a:pt x="122" y="403"/>
                  </a:lnTo>
                  <a:lnTo>
                    <a:pt x="123" y="404"/>
                  </a:lnTo>
                  <a:lnTo>
                    <a:pt x="124" y="404"/>
                  </a:lnTo>
                  <a:lnTo>
                    <a:pt x="122" y="403"/>
                  </a:lnTo>
                  <a:lnTo>
                    <a:pt x="122" y="400"/>
                  </a:lnTo>
                  <a:lnTo>
                    <a:pt x="123" y="399"/>
                  </a:lnTo>
                  <a:lnTo>
                    <a:pt x="124" y="400"/>
                  </a:lnTo>
                  <a:lnTo>
                    <a:pt x="125" y="399"/>
                  </a:lnTo>
                  <a:lnTo>
                    <a:pt x="126" y="399"/>
                  </a:lnTo>
                  <a:lnTo>
                    <a:pt x="128" y="398"/>
                  </a:lnTo>
                  <a:lnTo>
                    <a:pt x="129" y="398"/>
                  </a:lnTo>
                  <a:lnTo>
                    <a:pt x="130" y="398"/>
                  </a:lnTo>
                  <a:lnTo>
                    <a:pt x="131" y="398"/>
                  </a:lnTo>
                  <a:lnTo>
                    <a:pt x="135" y="399"/>
                  </a:lnTo>
                  <a:lnTo>
                    <a:pt x="135" y="400"/>
                  </a:lnTo>
                  <a:lnTo>
                    <a:pt x="137" y="400"/>
                  </a:lnTo>
                  <a:lnTo>
                    <a:pt x="140" y="400"/>
                  </a:lnTo>
                  <a:lnTo>
                    <a:pt x="141" y="400"/>
                  </a:lnTo>
                  <a:lnTo>
                    <a:pt x="142" y="399"/>
                  </a:lnTo>
                  <a:lnTo>
                    <a:pt x="141" y="398"/>
                  </a:lnTo>
                  <a:lnTo>
                    <a:pt x="141" y="397"/>
                  </a:lnTo>
                  <a:lnTo>
                    <a:pt x="142" y="397"/>
                  </a:lnTo>
                  <a:lnTo>
                    <a:pt x="146" y="398"/>
                  </a:lnTo>
                  <a:lnTo>
                    <a:pt x="147" y="397"/>
                  </a:lnTo>
                  <a:lnTo>
                    <a:pt x="148" y="394"/>
                  </a:lnTo>
                  <a:lnTo>
                    <a:pt x="148" y="393"/>
                  </a:lnTo>
                  <a:lnTo>
                    <a:pt x="149" y="393"/>
                  </a:lnTo>
                  <a:lnTo>
                    <a:pt x="150" y="391"/>
                  </a:lnTo>
                  <a:lnTo>
                    <a:pt x="154" y="389"/>
                  </a:lnTo>
                  <a:lnTo>
                    <a:pt x="154" y="388"/>
                  </a:lnTo>
                  <a:lnTo>
                    <a:pt x="155" y="387"/>
                  </a:lnTo>
                  <a:lnTo>
                    <a:pt x="155" y="385"/>
                  </a:lnTo>
                  <a:lnTo>
                    <a:pt x="156" y="386"/>
                  </a:lnTo>
                  <a:lnTo>
                    <a:pt x="158" y="386"/>
                  </a:lnTo>
                  <a:lnTo>
                    <a:pt x="159" y="386"/>
                  </a:lnTo>
                  <a:lnTo>
                    <a:pt x="160" y="385"/>
                  </a:lnTo>
                  <a:lnTo>
                    <a:pt x="161" y="385"/>
                  </a:lnTo>
                  <a:lnTo>
                    <a:pt x="163" y="385"/>
                  </a:lnTo>
                  <a:lnTo>
                    <a:pt x="164" y="385"/>
                  </a:lnTo>
                  <a:lnTo>
                    <a:pt x="165" y="385"/>
                  </a:lnTo>
                  <a:lnTo>
                    <a:pt x="166" y="385"/>
                  </a:lnTo>
                  <a:lnTo>
                    <a:pt x="167" y="385"/>
                  </a:lnTo>
                  <a:lnTo>
                    <a:pt x="169" y="385"/>
                  </a:lnTo>
                  <a:lnTo>
                    <a:pt x="169" y="383"/>
                  </a:lnTo>
                  <a:lnTo>
                    <a:pt x="169" y="382"/>
                  </a:lnTo>
                  <a:lnTo>
                    <a:pt x="170" y="382"/>
                  </a:lnTo>
                  <a:lnTo>
                    <a:pt x="170" y="383"/>
                  </a:lnTo>
                  <a:lnTo>
                    <a:pt x="170" y="385"/>
                  </a:lnTo>
                  <a:lnTo>
                    <a:pt x="172" y="383"/>
                  </a:lnTo>
                  <a:lnTo>
                    <a:pt x="171" y="382"/>
                  </a:lnTo>
                  <a:lnTo>
                    <a:pt x="172" y="382"/>
                  </a:lnTo>
                  <a:lnTo>
                    <a:pt x="173" y="381"/>
                  </a:lnTo>
                  <a:lnTo>
                    <a:pt x="175" y="380"/>
                  </a:lnTo>
                  <a:lnTo>
                    <a:pt x="175" y="381"/>
                  </a:lnTo>
                  <a:lnTo>
                    <a:pt x="177" y="381"/>
                  </a:lnTo>
                  <a:lnTo>
                    <a:pt x="177" y="380"/>
                  </a:lnTo>
                  <a:lnTo>
                    <a:pt x="176" y="380"/>
                  </a:lnTo>
                  <a:lnTo>
                    <a:pt x="177" y="380"/>
                  </a:lnTo>
                  <a:lnTo>
                    <a:pt x="177" y="379"/>
                  </a:lnTo>
                  <a:lnTo>
                    <a:pt x="178" y="379"/>
                  </a:lnTo>
                  <a:lnTo>
                    <a:pt x="179" y="379"/>
                  </a:lnTo>
                  <a:lnTo>
                    <a:pt x="179" y="381"/>
                  </a:lnTo>
                  <a:lnTo>
                    <a:pt x="181" y="381"/>
                  </a:lnTo>
                  <a:lnTo>
                    <a:pt x="181" y="380"/>
                  </a:lnTo>
                  <a:lnTo>
                    <a:pt x="183" y="381"/>
                  </a:lnTo>
                  <a:lnTo>
                    <a:pt x="184" y="381"/>
                  </a:lnTo>
                  <a:lnTo>
                    <a:pt x="184" y="380"/>
                  </a:lnTo>
                  <a:lnTo>
                    <a:pt x="183" y="380"/>
                  </a:lnTo>
                  <a:lnTo>
                    <a:pt x="182" y="380"/>
                  </a:lnTo>
                  <a:lnTo>
                    <a:pt x="182" y="379"/>
                  </a:lnTo>
                  <a:lnTo>
                    <a:pt x="183" y="379"/>
                  </a:lnTo>
                  <a:lnTo>
                    <a:pt x="183" y="377"/>
                  </a:lnTo>
                  <a:lnTo>
                    <a:pt x="184" y="377"/>
                  </a:lnTo>
                  <a:lnTo>
                    <a:pt x="184" y="376"/>
                  </a:lnTo>
                  <a:lnTo>
                    <a:pt x="185" y="377"/>
                  </a:lnTo>
                  <a:lnTo>
                    <a:pt x="185" y="376"/>
                  </a:lnTo>
                  <a:lnTo>
                    <a:pt x="184" y="376"/>
                  </a:lnTo>
                  <a:lnTo>
                    <a:pt x="187" y="374"/>
                  </a:lnTo>
                  <a:lnTo>
                    <a:pt x="185" y="374"/>
                  </a:lnTo>
                  <a:lnTo>
                    <a:pt x="185" y="373"/>
                  </a:lnTo>
                  <a:lnTo>
                    <a:pt x="184" y="374"/>
                  </a:lnTo>
                  <a:lnTo>
                    <a:pt x="184" y="375"/>
                  </a:lnTo>
                  <a:lnTo>
                    <a:pt x="183" y="375"/>
                  </a:lnTo>
                  <a:lnTo>
                    <a:pt x="183" y="376"/>
                  </a:lnTo>
                  <a:lnTo>
                    <a:pt x="182" y="376"/>
                  </a:lnTo>
                  <a:lnTo>
                    <a:pt x="179" y="376"/>
                  </a:lnTo>
                  <a:lnTo>
                    <a:pt x="179" y="374"/>
                  </a:lnTo>
                  <a:lnTo>
                    <a:pt x="179" y="373"/>
                  </a:lnTo>
                  <a:lnTo>
                    <a:pt x="177" y="371"/>
                  </a:lnTo>
                  <a:lnTo>
                    <a:pt x="176" y="371"/>
                  </a:lnTo>
                  <a:lnTo>
                    <a:pt x="176" y="370"/>
                  </a:lnTo>
                  <a:lnTo>
                    <a:pt x="176" y="373"/>
                  </a:lnTo>
                  <a:lnTo>
                    <a:pt x="175" y="374"/>
                  </a:lnTo>
                  <a:lnTo>
                    <a:pt x="172" y="374"/>
                  </a:lnTo>
                  <a:lnTo>
                    <a:pt x="171" y="374"/>
                  </a:lnTo>
                  <a:lnTo>
                    <a:pt x="169" y="374"/>
                  </a:lnTo>
                  <a:lnTo>
                    <a:pt x="169" y="376"/>
                  </a:lnTo>
                  <a:lnTo>
                    <a:pt x="166" y="376"/>
                  </a:lnTo>
                  <a:lnTo>
                    <a:pt x="165" y="377"/>
                  </a:lnTo>
                  <a:lnTo>
                    <a:pt x="164" y="377"/>
                  </a:lnTo>
                  <a:lnTo>
                    <a:pt x="163" y="377"/>
                  </a:lnTo>
                  <a:lnTo>
                    <a:pt x="163" y="376"/>
                  </a:lnTo>
                  <a:lnTo>
                    <a:pt x="161" y="375"/>
                  </a:lnTo>
                  <a:lnTo>
                    <a:pt x="163" y="375"/>
                  </a:lnTo>
                  <a:lnTo>
                    <a:pt x="163" y="374"/>
                  </a:lnTo>
                  <a:lnTo>
                    <a:pt x="160" y="374"/>
                  </a:lnTo>
                  <a:lnTo>
                    <a:pt x="159" y="375"/>
                  </a:lnTo>
                  <a:lnTo>
                    <a:pt x="158" y="376"/>
                  </a:lnTo>
                  <a:lnTo>
                    <a:pt x="158" y="377"/>
                  </a:lnTo>
                  <a:lnTo>
                    <a:pt x="158" y="376"/>
                  </a:lnTo>
                  <a:lnTo>
                    <a:pt x="159" y="376"/>
                  </a:lnTo>
                  <a:lnTo>
                    <a:pt x="158" y="377"/>
                  </a:lnTo>
                  <a:lnTo>
                    <a:pt x="155" y="379"/>
                  </a:lnTo>
                  <a:lnTo>
                    <a:pt x="154" y="379"/>
                  </a:lnTo>
                  <a:lnTo>
                    <a:pt x="154" y="380"/>
                  </a:lnTo>
                  <a:lnTo>
                    <a:pt x="153" y="380"/>
                  </a:lnTo>
                  <a:lnTo>
                    <a:pt x="153" y="381"/>
                  </a:lnTo>
                  <a:lnTo>
                    <a:pt x="154" y="382"/>
                  </a:lnTo>
                  <a:lnTo>
                    <a:pt x="154" y="383"/>
                  </a:lnTo>
                  <a:lnTo>
                    <a:pt x="152" y="383"/>
                  </a:lnTo>
                  <a:lnTo>
                    <a:pt x="153" y="382"/>
                  </a:lnTo>
                  <a:lnTo>
                    <a:pt x="150" y="383"/>
                  </a:lnTo>
                  <a:lnTo>
                    <a:pt x="152" y="381"/>
                  </a:lnTo>
                  <a:lnTo>
                    <a:pt x="150" y="381"/>
                  </a:lnTo>
                  <a:lnTo>
                    <a:pt x="150" y="383"/>
                  </a:lnTo>
                  <a:lnTo>
                    <a:pt x="152" y="385"/>
                  </a:lnTo>
                  <a:lnTo>
                    <a:pt x="150" y="386"/>
                  </a:lnTo>
                  <a:lnTo>
                    <a:pt x="149" y="386"/>
                  </a:lnTo>
                  <a:lnTo>
                    <a:pt x="148" y="387"/>
                  </a:lnTo>
                  <a:lnTo>
                    <a:pt x="147" y="387"/>
                  </a:lnTo>
                  <a:lnTo>
                    <a:pt x="146" y="385"/>
                  </a:lnTo>
                  <a:lnTo>
                    <a:pt x="147" y="383"/>
                  </a:lnTo>
                  <a:lnTo>
                    <a:pt x="144" y="382"/>
                  </a:lnTo>
                  <a:lnTo>
                    <a:pt x="146" y="381"/>
                  </a:lnTo>
                  <a:lnTo>
                    <a:pt x="146" y="380"/>
                  </a:lnTo>
                  <a:lnTo>
                    <a:pt x="147" y="379"/>
                  </a:lnTo>
                  <a:lnTo>
                    <a:pt x="146" y="377"/>
                  </a:lnTo>
                  <a:lnTo>
                    <a:pt x="146" y="380"/>
                  </a:lnTo>
                  <a:lnTo>
                    <a:pt x="144" y="380"/>
                  </a:lnTo>
                  <a:lnTo>
                    <a:pt x="143" y="380"/>
                  </a:lnTo>
                  <a:lnTo>
                    <a:pt x="143" y="382"/>
                  </a:lnTo>
                  <a:lnTo>
                    <a:pt x="142" y="383"/>
                  </a:lnTo>
                  <a:lnTo>
                    <a:pt x="141" y="383"/>
                  </a:lnTo>
                  <a:lnTo>
                    <a:pt x="141" y="382"/>
                  </a:lnTo>
                  <a:lnTo>
                    <a:pt x="141" y="383"/>
                  </a:lnTo>
                  <a:lnTo>
                    <a:pt x="138" y="382"/>
                  </a:lnTo>
                  <a:lnTo>
                    <a:pt x="137" y="383"/>
                  </a:lnTo>
                  <a:lnTo>
                    <a:pt x="137" y="382"/>
                  </a:lnTo>
                  <a:lnTo>
                    <a:pt x="136" y="383"/>
                  </a:lnTo>
                  <a:lnTo>
                    <a:pt x="135" y="383"/>
                  </a:lnTo>
                  <a:lnTo>
                    <a:pt x="135" y="382"/>
                  </a:lnTo>
                  <a:lnTo>
                    <a:pt x="134" y="382"/>
                  </a:lnTo>
                  <a:lnTo>
                    <a:pt x="132" y="381"/>
                  </a:lnTo>
                  <a:lnTo>
                    <a:pt x="134" y="380"/>
                  </a:lnTo>
                  <a:lnTo>
                    <a:pt x="134" y="379"/>
                  </a:lnTo>
                  <a:lnTo>
                    <a:pt x="135" y="379"/>
                  </a:lnTo>
                  <a:lnTo>
                    <a:pt x="136" y="379"/>
                  </a:lnTo>
                  <a:lnTo>
                    <a:pt x="136" y="377"/>
                  </a:lnTo>
                  <a:lnTo>
                    <a:pt x="136" y="376"/>
                  </a:lnTo>
                  <a:lnTo>
                    <a:pt x="136" y="375"/>
                  </a:lnTo>
                  <a:lnTo>
                    <a:pt x="137" y="374"/>
                  </a:lnTo>
                  <a:lnTo>
                    <a:pt x="138" y="373"/>
                  </a:lnTo>
                  <a:lnTo>
                    <a:pt x="138" y="374"/>
                  </a:lnTo>
                  <a:lnTo>
                    <a:pt x="140" y="373"/>
                  </a:lnTo>
                  <a:lnTo>
                    <a:pt x="141" y="373"/>
                  </a:lnTo>
                  <a:lnTo>
                    <a:pt x="142" y="371"/>
                  </a:lnTo>
                  <a:lnTo>
                    <a:pt x="142" y="370"/>
                  </a:lnTo>
                  <a:lnTo>
                    <a:pt x="142" y="369"/>
                  </a:lnTo>
                  <a:lnTo>
                    <a:pt x="143" y="369"/>
                  </a:lnTo>
                  <a:lnTo>
                    <a:pt x="144" y="369"/>
                  </a:lnTo>
                  <a:lnTo>
                    <a:pt x="146" y="369"/>
                  </a:lnTo>
                  <a:lnTo>
                    <a:pt x="144" y="368"/>
                  </a:lnTo>
                  <a:lnTo>
                    <a:pt x="144" y="366"/>
                  </a:lnTo>
                  <a:lnTo>
                    <a:pt x="143" y="365"/>
                  </a:lnTo>
                  <a:lnTo>
                    <a:pt x="142" y="365"/>
                  </a:lnTo>
                  <a:lnTo>
                    <a:pt x="142" y="366"/>
                  </a:lnTo>
                  <a:lnTo>
                    <a:pt x="141" y="368"/>
                  </a:lnTo>
                  <a:lnTo>
                    <a:pt x="140" y="369"/>
                  </a:lnTo>
                  <a:lnTo>
                    <a:pt x="138" y="369"/>
                  </a:lnTo>
                  <a:lnTo>
                    <a:pt x="136" y="369"/>
                  </a:lnTo>
                  <a:lnTo>
                    <a:pt x="136" y="368"/>
                  </a:lnTo>
                  <a:lnTo>
                    <a:pt x="135" y="368"/>
                  </a:lnTo>
                  <a:lnTo>
                    <a:pt x="134" y="368"/>
                  </a:lnTo>
                  <a:lnTo>
                    <a:pt x="132" y="369"/>
                  </a:lnTo>
                  <a:lnTo>
                    <a:pt x="131" y="369"/>
                  </a:lnTo>
                  <a:lnTo>
                    <a:pt x="130" y="369"/>
                  </a:lnTo>
                  <a:lnTo>
                    <a:pt x="129" y="370"/>
                  </a:lnTo>
                  <a:lnTo>
                    <a:pt x="128" y="370"/>
                  </a:lnTo>
                  <a:lnTo>
                    <a:pt x="126" y="371"/>
                  </a:lnTo>
                  <a:lnTo>
                    <a:pt x="125" y="370"/>
                  </a:lnTo>
                  <a:lnTo>
                    <a:pt x="124" y="370"/>
                  </a:lnTo>
                  <a:lnTo>
                    <a:pt x="125" y="369"/>
                  </a:lnTo>
                  <a:lnTo>
                    <a:pt x="124" y="368"/>
                  </a:lnTo>
                  <a:lnTo>
                    <a:pt x="126" y="368"/>
                  </a:lnTo>
                  <a:lnTo>
                    <a:pt x="126" y="366"/>
                  </a:lnTo>
                  <a:lnTo>
                    <a:pt x="128" y="365"/>
                  </a:lnTo>
                  <a:lnTo>
                    <a:pt x="128" y="366"/>
                  </a:lnTo>
                  <a:lnTo>
                    <a:pt x="129" y="366"/>
                  </a:lnTo>
                  <a:lnTo>
                    <a:pt x="129" y="365"/>
                  </a:lnTo>
                  <a:lnTo>
                    <a:pt x="128" y="364"/>
                  </a:lnTo>
                  <a:lnTo>
                    <a:pt x="126" y="363"/>
                  </a:lnTo>
                  <a:lnTo>
                    <a:pt x="126" y="362"/>
                  </a:lnTo>
                  <a:lnTo>
                    <a:pt x="126" y="360"/>
                  </a:lnTo>
                  <a:lnTo>
                    <a:pt x="126" y="359"/>
                  </a:lnTo>
                  <a:lnTo>
                    <a:pt x="128" y="358"/>
                  </a:lnTo>
                  <a:lnTo>
                    <a:pt x="129" y="358"/>
                  </a:lnTo>
                  <a:lnTo>
                    <a:pt x="130" y="358"/>
                  </a:lnTo>
                  <a:lnTo>
                    <a:pt x="132" y="358"/>
                  </a:lnTo>
                  <a:lnTo>
                    <a:pt x="136" y="357"/>
                  </a:lnTo>
                  <a:lnTo>
                    <a:pt x="136" y="354"/>
                  </a:lnTo>
                  <a:lnTo>
                    <a:pt x="136" y="352"/>
                  </a:lnTo>
                  <a:lnTo>
                    <a:pt x="137" y="351"/>
                  </a:lnTo>
                  <a:lnTo>
                    <a:pt x="138" y="351"/>
                  </a:lnTo>
                  <a:lnTo>
                    <a:pt x="140" y="351"/>
                  </a:lnTo>
                  <a:lnTo>
                    <a:pt x="141" y="350"/>
                  </a:lnTo>
                  <a:lnTo>
                    <a:pt x="142" y="348"/>
                  </a:lnTo>
                  <a:lnTo>
                    <a:pt x="142" y="347"/>
                  </a:lnTo>
                  <a:lnTo>
                    <a:pt x="142" y="345"/>
                  </a:lnTo>
                  <a:lnTo>
                    <a:pt x="144" y="345"/>
                  </a:lnTo>
                  <a:lnTo>
                    <a:pt x="144" y="346"/>
                  </a:lnTo>
                  <a:lnTo>
                    <a:pt x="144" y="345"/>
                  </a:lnTo>
                  <a:lnTo>
                    <a:pt x="146" y="345"/>
                  </a:lnTo>
                  <a:lnTo>
                    <a:pt x="147" y="345"/>
                  </a:lnTo>
                  <a:lnTo>
                    <a:pt x="148" y="341"/>
                  </a:lnTo>
                  <a:lnTo>
                    <a:pt x="148" y="340"/>
                  </a:lnTo>
                  <a:lnTo>
                    <a:pt x="149" y="339"/>
                  </a:lnTo>
                  <a:lnTo>
                    <a:pt x="150" y="340"/>
                  </a:lnTo>
                  <a:lnTo>
                    <a:pt x="150" y="339"/>
                  </a:lnTo>
                  <a:lnTo>
                    <a:pt x="152" y="338"/>
                  </a:lnTo>
                  <a:lnTo>
                    <a:pt x="153" y="339"/>
                  </a:lnTo>
                  <a:lnTo>
                    <a:pt x="153" y="340"/>
                  </a:lnTo>
                  <a:lnTo>
                    <a:pt x="154" y="339"/>
                  </a:lnTo>
                  <a:lnTo>
                    <a:pt x="155" y="338"/>
                  </a:lnTo>
                  <a:lnTo>
                    <a:pt x="156" y="336"/>
                  </a:lnTo>
                  <a:lnTo>
                    <a:pt x="156" y="338"/>
                  </a:lnTo>
                  <a:lnTo>
                    <a:pt x="158" y="338"/>
                  </a:lnTo>
                  <a:lnTo>
                    <a:pt x="160" y="336"/>
                  </a:lnTo>
                  <a:lnTo>
                    <a:pt x="160" y="339"/>
                  </a:lnTo>
                  <a:lnTo>
                    <a:pt x="161" y="336"/>
                  </a:lnTo>
                  <a:lnTo>
                    <a:pt x="161" y="335"/>
                  </a:lnTo>
                  <a:lnTo>
                    <a:pt x="163" y="334"/>
                  </a:lnTo>
                  <a:lnTo>
                    <a:pt x="165" y="334"/>
                  </a:lnTo>
                  <a:lnTo>
                    <a:pt x="166" y="334"/>
                  </a:lnTo>
                  <a:lnTo>
                    <a:pt x="165" y="333"/>
                  </a:lnTo>
                  <a:lnTo>
                    <a:pt x="166" y="332"/>
                  </a:lnTo>
                  <a:lnTo>
                    <a:pt x="167" y="330"/>
                  </a:lnTo>
                  <a:lnTo>
                    <a:pt x="167" y="332"/>
                  </a:lnTo>
                  <a:lnTo>
                    <a:pt x="167" y="329"/>
                  </a:lnTo>
                  <a:lnTo>
                    <a:pt x="170" y="329"/>
                  </a:lnTo>
                  <a:lnTo>
                    <a:pt x="169" y="328"/>
                  </a:lnTo>
                  <a:lnTo>
                    <a:pt x="169" y="327"/>
                  </a:lnTo>
                  <a:lnTo>
                    <a:pt x="170" y="328"/>
                  </a:lnTo>
                  <a:lnTo>
                    <a:pt x="170" y="327"/>
                  </a:lnTo>
                  <a:lnTo>
                    <a:pt x="172" y="327"/>
                  </a:lnTo>
                  <a:lnTo>
                    <a:pt x="170" y="324"/>
                  </a:lnTo>
                  <a:lnTo>
                    <a:pt x="171" y="323"/>
                  </a:lnTo>
                  <a:lnTo>
                    <a:pt x="171" y="324"/>
                  </a:lnTo>
                  <a:lnTo>
                    <a:pt x="172" y="323"/>
                  </a:lnTo>
                  <a:lnTo>
                    <a:pt x="170" y="323"/>
                  </a:lnTo>
                  <a:lnTo>
                    <a:pt x="169" y="323"/>
                  </a:lnTo>
                  <a:lnTo>
                    <a:pt x="167" y="324"/>
                  </a:lnTo>
                  <a:lnTo>
                    <a:pt x="166" y="324"/>
                  </a:lnTo>
                  <a:lnTo>
                    <a:pt x="165" y="324"/>
                  </a:lnTo>
                  <a:lnTo>
                    <a:pt x="164" y="324"/>
                  </a:lnTo>
                  <a:lnTo>
                    <a:pt x="161" y="326"/>
                  </a:lnTo>
                  <a:lnTo>
                    <a:pt x="160" y="326"/>
                  </a:lnTo>
                  <a:lnTo>
                    <a:pt x="158" y="326"/>
                  </a:lnTo>
                  <a:lnTo>
                    <a:pt x="156" y="327"/>
                  </a:lnTo>
                  <a:lnTo>
                    <a:pt x="154" y="328"/>
                  </a:lnTo>
                  <a:lnTo>
                    <a:pt x="155" y="328"/>
                  </a:lnTo>
                  <a:lnTo>
                    <a:pt x="154" y="328"/>
                  </a:lnTo>
                  <a:lnTo>
                    <a:pt x="153" y="328"/>
                  </a:lnTo>
                  <a:lnTo>
                    <a:pt x="150" y="328"/>
                  </a:lnTo>
                  <a:lnTo>
                    <a:pt x="149" y="329"/>
                  </a:lnTo>
                  <a:lnTo>
                    <a:pt x="148" y="329"/>
                  </a:lnTo>
                  <a:lnTo>
                    <a:pt x="147" y="329"/>
                  </a:lnTo>
                  <a:lnTo>
                    <a:pt x="147" y="330"/>
                  </a:lnTo>
                  <a:lnTo>
                    <a:pt x="146" y="330"/>
                  </a:lnTo>
                  <a:lnTo>
                    <a:pt x="143" y="332"/>
                  </a:lnTo>
                  <a:lnTo>
                    <a:pt x="141" y="333"/>
                  </a:lnTo>
                  <a:lnTo>
                    <a:pt x="140" y="333"/>
                  </a:lnTo>
                  <a:lnTo>
                    <a:pt x="138" y="334"/>
                  </a:lnTo>
                  <a:lnTo>
                    <a:pt x="135" y="335"/>
                  </a:lnTo>
                  <a:lnTo>
                    <a:pt x="134" y="336"/>
                  </a:lnTo>
                  <a:lnTo>
                    <a:pt x="132" y="338"/>
                  </a:lnTo>
                  <a:lnTo>
                    <a:pt x="130" y="340"/>
                  </a:lnTo>
                  <a:lnTo>
                    <a:pt x="130" y="341"/>
                  </a:lnTo>
                  <a:lnTo>
                    <a:pt x="130" y="340"/>
                  </a:lnTo>
                  <a:lnTo>
                    <a:pt x="131" y="340"/>
                  </a:lnTo>
                  <a:lnTo>
                    <a:pt x="132" y="340"/>
                  </a:lnTo>
                  <a:lnTo>
                    <a:pt x="134" y="341"/>
                  </a:lnTo>
                  <a:lnTo>
                    <a:pt x="132" y="341"/>
                  </a:lnTo>
                  <a:lnTo>
                    <a:pt x="134" y="342"/>
                  </a:lnTo>
                  <a:lnTo>
                    <a:pt x="135" y="342"/>
                  </a:lnTo>
                  <a:lnTo>
                    <a:pt x="134" y="342"/>
                  </a:lnTo>
                  <a:lnTo>
                    <a:pt x="135" y="344"/>
                  </a:lnTo>
                  <a:lnTo>
                    <a:pt x="135" y="345"/>
                  </a:lnTo>
                  <a:lnTo>
                    <a:pt x="134" y="345"/>
                  </a:lnTo>
                  <a:lnTo>
                    <a:pt x="132" y="347"/>
                  </a:lnTo>
                  <a:lnTo>
                    <a:pt x="135" y="347"/>
                  </a:lnTo>
                  <a:lnTo>
                    <a:pt x="136" y="348"/>
                  </a:lnTo>
                  <a:lnTo>
                    <a:pt x="135" y="348"/>
                  </a:lnTo>
                  <a:lnTo>
                    <a:pt x="135" y="350"/>
                  </a:lnTo>
                  <a:lnTo>
                    <a:pt x="135" y="351"/>
                  </a:lnTo>
                  <a:lnTo>
                    <a:pt x="135" y="352"/>
                  </a:lnTo>
                  <a:lnTo>
                    <a:pt x="135" y="353"/>
                  </a:lnTo>
                  <a:lnTo>
                    <a:pt x="134" y="353"/>
                  </a:lnTo>
                  <a:lnTo>
                    <a:pt x="132" y="354"/>
                  </a:lnTo>
                  <a:lnTo>
                    <a:pt x="130" y="354"/>
                  </a:lnTo>
                  <a:lnTo>
                    <a:pt x="131" y="353"/>
                  </a:lnTo>
                  <a:lnTo>
                    <a:pt x="128" y="352"/>
                  </a:lnTo>
                  <a:lnTo>
                    <a:pt x="128" y="356"/>
                  </a:lnTo>
                  <a:lnTo>
                    <a:pt x="126" y="358"/>
                  </a:lnTo>
                  <a:lnTo>
                    <a:pt x="126" y="359"/>
                  </a:lnTo>
                  <a:lnTo>
                    <a:pt x="125" y="359"/>
                  </a:lnTo>
                  <a:lnTo>
                    <a:pt x="124" y="360"/>
                  </a:lnTo>
                  <a:lnTo>
                    <a:pt x="125" y="362"/>
                  </a:lnTo>
                  <a:lnTo>
                    <a:pt x="123" y="360"/>
                  </a:lnTo>
                  <a:lnTo>
                    <a:pt x="124" y="362"/>
                  </a:lnTo>
                  <a:lnTo>
                    <a:pt x="124" y="363"/>
                  </a:lnTo>
                  <a:lnTo>
                    <a:pt x="123" y="364"/>
                  </a:lnTo>
                  <a:lnTo>
                    <a:pt x="122" y="364"/>
                  </a:lnTo>
                  <a:lnTo>
                    <a:pt x="120" y="363"/>
                  </a:lnTo>
                  <a:lnTo>
                    <a:pt x="119" y="364"/>
                  </a:lnTo>
                  <a:lnTo>
                    <a:pt x="119" y="365"/>
                  </a:lnTo>
                  <a:lnTo>
                    <a:pt x="118" y="365"/>
                  </a:lnTo>
                  <a:lnTo>
                    <a:pt x="117" y="365"/>
                  </a:lnTo>
                  <a:lnTo>
                    <a:pt x="117" y="366"/>
                  </a:lnTo>
                  <a:lnTo>
                    <a:pt x="114" y="365"/>
                  </a:lnTo>
                  <a:lnTo>
                    <a:pt x="113" y="365"/>
                  </a:lnTo>
                  <a:lnTo>
                    <a:pt x="113" y="364"/>
                  </a:lnTo>
                  <a:lnTo>
                    <a:pt x="113" y="363"/>
                  </a:lnTo>
                  <a:lnTo>
                    <a:pt x="114" y="362"/>
                  </a:lnTo>
                  <a:lnTo>
                    <a:pt x="114" y="360"/>
                  </a:lnTo>
                  <a:lnTo>
                    <a:pt x="116" y="359"/>
                  </a:lnTo>
                  <a:lnTo>
                    <a:pt x="114" y="358"/>
                  </a:lnTo>
                  <a:lnTo>
                    <a:pt x="113" y="357"/>
                  </a:lnTo>
                  <a:lnTo>
                    <a:pt x="111" y="356"/>
                  </a:lnTo>
                  <a:lnTo>
                    <a:pt x="110" y="357"/>
                  </a:lnTo>
                  <a:lnTo>
                    <a:pt x="108" y="358"/>
                  </a:lnTo>
                  <a:lnTo>
                    <a:pt x="106" y="360"/>
                  </a:lnTo>
                  <a:lnTo>
                    <a:pt x="105" y="364"/>
                  </a:lnTo>
                  <a:lnTo>
                    <a:pt x="104" y="365"/>
                  </a:lnTo>
                  <a:lnTo>
                    <a:pt x="102" y="366"/>
                  </a:lnTo>
                  <a:lnTo>
                    <a:pt x="102" y="368"/>
                  </a:lnTo>
                  <a:lnTo>
                    <a:pt x="102" y="370"/>
                  </a:lnTo>
                  <a:lnTo>
                    <a:pt x="101" y="370"/>
                  </a:lnTo>
                  <a:lnTo>
                    <a:pt x="100" y="371"/>
                  </a:lnTo>
                  <a:lnTo>
                    <a:pt x="99" y="371"/>
                  </a:lnTo>
                  <a:lnTo>
                    <a:pt x="99" y="373"/>
                  </a:lnTo>
                  <a:lnTo>
                    <a:pt x="96" y="373"/>
                  </a:lnTo>
                  <a:lnTo>
                    <a:pt x="95" y="373"/>
                  </a:lnTo>
                  <a:lnTo>
                    <a:pt x="95" y="371"/>
                  </a:lnTo>
                  <a:lnTo>
                    <a:pt x="95" y="370"/>
                  </a:lnTo>
                  <a:lnTo>
                    <a:pt x="94" y="370"/>
                  </a:lnTo>
                  <a:lnTo>
                    <a:pt x="93" y="370"/>
                  </a:lnTo>
                  <a:lnTo>
                    <a:pt x="93" y="369"/>
                  </a:lnTo>
                  <a:lnTo>
                    <a:pt x="91" y="369"/>
                  </a:lnTo>
                  <a:lnTo>
                    <a:pt x="91" y="370"/>
                  </a:lnTo>
                  <a:lnTo>
                    <a:pt x="89" y="370"/>
                  </a:lnTo>
                  <a:lnTo>
                    <a:pt x="89" y="371"/>
                  </a:lnTo>
                  <a:lnTo>
                    <a:pt x="88" y="373"/>
                  </a:lnTo>
                  <a:lnTo>
                    <a:pt x="88" y="374"/>
                  </a:lnTo>
                  <a:lnTo>
                    <a:pt x="88" y="375"/>
                  </a:lnTo>
                  <a:lnTo>
                    <a:pt x="87" y="376"/>
                  </a:lnTo>
                  <a:lnTo>
                    <a:pt x="88" y="376"/>
                  </a:lnTo>
                  <a:lnTo>
                    <a:pt x="87" y="376"/>
                  </a:lnTo>
                  <a:lnTo>
                    <a:pt x="89" y="377"/>
                  </a:lnTo>
                  <a:lnTo>
                    <a:pt x="87" y="379"/>
                  </a:lnTo>
                  <a:lnTo>
                    <a:pt x="87" y="377"/>
                  </a:lnTo>
                  <a:lnTo>
                    <a:pt x="85" y="376"/>
                  </a:lnTo>
                  <a:lnTo>
                    <a:pt x="84" y="377"/>
                  </a:lnTo>
                  <a:lnTo>
                    <a:pt x="85" y="380"/>
                  </a:lnTo>
                  <a:lnTo>
                    <a:pt x="84" y="380"/>
                  </a:lnTo>
                  <a:lnTo>
                    <a:pt x="83" y="380"/>
                  </a:lnTo>
                  <a:lnTo>
                    <a:pt x="81" y="380"/>
                  </a:lnTo>
                  <a:lnTo>
                    <a:pt x="79" y="379"/>
                  </a:lnTo>
                  <a:lnTo>
                    <a:pt x="83" y="377"/>
                  </a:lnTo>
                  <a:lnTo>
                    <a:pt x="81" y="377"/>
                  </a:lnTo>
                  <a:lnTo>
                    <a:pt x="79" y="376"/>
                  </a:lnTo>
                  <a:lnTo>
                    <a:pt x="79" y="379"/>
                  </a:lnTo>
                  <a:lnTo>
                    <a:pt x="78" y="379"/>
                  </a:lnTo>
                  <a:lnTo>
                    <a:pt x="76" y="381"/>
                  </a:lnTo>
                  <a:lnTo>
                    <a:pt x="75" y="381"/>
                  </a:lnTo>
                  <a:lnTo>
                    <a:pt x="75" y="382"/>
                  </a:lnTo>
                  <a:lnTo>
                    <a:pt x="75" y="383"/>
                  </a:lnTo>
                  <a:lnTo>
                    <a:pt x="73" y="383"/>
                  </a:lnTo>
                  <a:lnTo>
                    <a:pt x="75" y="385"/>
                  </a:lnTo>
                  <a:lnTo>
                    <a:pt x="76" y="385"/>
                  </a:lnTo>
                  <a:lnTo>
                    <a:pt x="76" y="386"/>
                  </a:lnTo>
                  <a:lnTo>
                    <a:pt x="73" y="387"/>
                  </a:lnTo>
                  <a:lnTo>
                    <a:pt x="73" y="388"/>
                  </a:lnTo>
                  <a:lnTo>
                    <a:pt x="72" y="389"/>
                  </a:lnTo>
                  <a:lnTo>
                    <a:pt x="71" y="391"/>
                  </a:lnTo>
                  <a:lnTo>
                    <a:pt x="70" y="391"/>
                  </a:lnTo>
                  <a:lnTo>
                    <a:pt x="69" y="391"/>
                  </a:lnTo>
                  <a:lnTo>
                    <a:pt x="67" y="389"/>
                  </a:lnTo>
                  <a:lnTo>
                    <a:pt x="66" y="388"/>
                  </a:lnTo>
                  <a:lnTo>
                    <a:pt x="65" y="387"/>
                  </a:lnTo>
                  <a:lnTo>
                    <a:pt x="67" y="387"/>
                  </a:lnTo>
                  <a:lnTo>
                    <a:pt x="64" y="386"/>
                  </a:lnTo>
                  <a:lnTo>
                    <a:pt x="61" y="387"/>
                  </a:lnTo>
                  <a:lnTo>
                    <a:pt x="60" y="388"/>
                  </a:lnTo>
                  <a:lnTo>
                    <a:pt x="59" y="387"/>
                  </a:lnTo>
                  <a:lnTo>
                    <a:pt x="58" y="387"/>
                  </a:lnTo>
                  <a:lnTo>
                    <a:pt x="57" y="387"/>
                  </a:lnTo>
                  <a:lnTo>
                    <a:pt x="54" y="387"/>
                  </a:lnTo>
                  <a:lnTo>
                    <a:pt x="54" y="386"/>
                  </a:lnTo>
                  <a:lnTo>
                    <a:pt x="52" y="385"/>
                  </a:lnTo>
                  <a:lnTo>
                    <a:pt x="53" y="385"/>
                  </a:lnTo>
                  <a:lnTo>
                    <a:pt x="53" y="383"/>
                  </a:lnTo>
                  <a:lnTo>
                    <a:pt x="53" y="382"/>
                  </a:lnTo>
                  <a:lnTo>
                    <a:pt x="52" y="382"/>
                  </a:lnTo>
                  <a:lnTo>
                    <a:pt x="51" y="382"/>
                  </a:lnTo>
                  <a:lnTo>
                    <a:pt x="51" y="381"/>
                  </a:lnTo>
                  <a:lnTo>
                    <a:pt x="47" y="380"/>
                  </a:lnTo>
                  <a:lnTo>
                    <a:pt x="48" y="379"/>
                  </a:lnTo>
                  <a:lnTo>
                    <a:pt x="53" y="379"/>
                  </a:lnTo>
                  <a:lnTo>
                    <a:pt x="52" y="377"/>
                  </a:lnTo>
                  <a:lnTo>
                    <a:pt x="49" y="376"/>
                  </a:lnTo>
                  <a:lnTo>
                    <a:pt x="48" y="374"/>
                  </a:lnTo>
                  <a:lnTo>
                    <a:pt x="47" y="373"/>
                  </a:lnTo>
                  <a:lnTo>
                    <a:pt x="47" y="371"/>
                  </a:lnTo>
                  <a:lnTo>
                    <a:pt x="48" y="370"/>
                  </a:lnTo>
                  <a:lnTo>
                    <a:pt x="49" y="370"/>
                  </a:lnTo>
                  <a:lnTo>
                    <a:pt x="49" y="371"/>
                  </a:lnTo>
                  <a:lnTo>
                    <a:pt x="52" y="370"/>
                  </a:lnTo>
                  <a:lnTo>
                    <a:pt x="52" y="369"/>
                  </a:lnTo>
                  <a:lnTo>
                    <a:pt x="54" y="369"/>
                  </a:lnTo>
                  <a:lnTo>
                    <a:pt x="55" y="369"/>
                  </a:lnTo>
                  <a:lnTo>
                    <a:pt x="57" y="368"/>
                  </a:lnTo>
                  <a:lnTo>
                    <a:pt x="54" y="369"/>
                  </a:lnTo>
                  <a:lnTo>
                    <a:pt x="54" y="368"/>
                  </a:lnTo>
                  <a:lnTo>
                    <a:pt x="53" y="368"/>
                  </a:lnTo>
                  <a:lnTo>
                    <a:pt x="52" y="366"/>
                  </a:lnTo>
                  <a:lnTo>
                    <a:pt x="51" y="364"/>
                  </a:lnTo>
                  <a:lnTo>
                    <a:pt x="49" y="364"/>
                  </a:lnTo>
                  <a:lnTo>
                    <a:pt x="51" y="363"/>
                  </a:lnTo>
                  <a:lnTo>
                    <a:pt x="52" y="363"/>
                  </a:lnTo>
                  <a:lnTo>
                    <a:pt x="53" y="363"/>
                  </a:lnTo>
                  <a:lnTo>
                    <a:pt x="54" y="363"/>
                  </a:lnTo>
                  <a:lnTo>
                    <a:pt x="57" y="363"/>
                  </a:lnTo>
                  <a:lnTo>
                    <a:pt x="55" y="362"/>
                  </a:lnTo>
                  <a:lnTo>
                    <a:pt x="57" y="359"/>
                  </a:lnTo>
                  <a:lnTo>
                    <a:pt x="59" y="359"/>
                  </a:lnTo>
                  <a:lnTo>
                    <a:pt x="60" y="360"/>
                  </a:lnTo>
                  <a:lnTo>
                    <a:pt x="61" y="359"/>
                  </a:lnTo>
                  <a:lnTo>
                    <a:pt x="61" y="357"/>
                  </a:lnTo>
                  <a:lnTo>
                    <a:pt x="61" y="356"/>
                  </a:lnTo>
                  <a:lnTo>
                    <a:pt x="61" y="354"/>
                  </a:lnTo>
                  <a:lnTo>
                    <a:pt x="63" y="354"/>
                  </a:lnTo>
                  <a:lnTo>
                    <a:pt x="65" y="352"/>
                  </a:lnTo>
                  <a:lnTo>
                    <a:pt x="67" y="353"/>
                  </a:lnTo>
                  <a:lnTo>
                    <a:pt x="67" y="351"/>
                  </a:lnTo>
                  <a:lnTo>
                    <a:pt x="65" y="347"/>
                  </a:lnTo>
                  <a:lnTo>
                    <a:pt x="64" y="346"/>
                  </a:lnTo>
                  <a:lnTo>
                    <a:pt x="65" y="345"/>
                  </a:lnTo>
                  <a:lnTo>
                    <a:pt x="66" y="344"/>
                  </a:lnTo>
                  <a:lnTo>
                    <a:pt x="67" y="345"/>
                  </a:lnTo>
                  <a:lnTo>
                    <a:pt x="69" y="345"/>
                  </a:lnTo>
                  <a:lnTo>
                    <a:pt x="70" y="344"/>
                  </a:lnTo>
                  <a:lnTo>
                    <a:pt x="71" y="344"/>
                  </a:lnTo>
                  <a:lnTo>
                    <a:pt x="72" y="342"/>
                  </a:lnTo>
                  <a:lnTo>
                    <a:pt x="73" y="341"/>
                  </a:lnTo>
                  <a:lnTo>
                    <a:pt x="76" y="341"/>
                  </a:lnTo>
                  <a:lnTo>
                    <a:pt x="76" y="340"/>
                  </a:lnTo>
                  <a:lnTo>
                    <a:pt x="77" y="340"/>
                  </a:lnTo>
                  <a:lnTo>
                    <a:pt x="78" y="340"/>
                  </a:lnTo>
                  <a:lnTo>
                    <a:pt x="77" y="339"/>
                  </a:lnTo>
                  <a:lnTo>
                    <a:pt x="76" y="336"/>
                  </a:lnTo>
                  <a:lnTo>
                    <a:pt x="76" y="334"/>
                  </a:lnTo>
                  <a:lnTo>
                    <a:pt x="77" y="335"/>
                  </a:lnTo>
                  <a:lnTo>
                    <a:pt x="77" y="334"/>
                  </a:lnTo>
                  <a:lnTo>
                    <a:pt x="78" y="334"/>
                  </a:lnTo>
                  <a:lnTo>
                    <a:pt x="79" y="334"/>
                  </a:lnTo>
                  <a:lnTo>
                    <a:pt x="81" y="335"/>
                  </a:lnTo>
                  <a:lnTo>
                    <a:pt x="81" y="334"/>
                  </a:lnTo>
                  <a:lnTo>
                    <a:pt x="83" y="333"/>
                  </a:lnTo>
                  <a:lnTo>
                    <a:pt x="85" y="334"/>
                  </a:lnTo>
                  <a:lnTo>
                    <a:pt x="87" y="334"/>
                  </a:lnTo>
                  <a:lnTo>
                    <a:pt x="87" y="336"/>
                  </a:lnTo>
                  <a:lnTo>
                    <a:pt x="87" y="335"/>
                  </a:lnTo>
                  <a:lnTo>
                    <a:pt x="88" y="334"/>
                  </a:lnTo>
                  <a:lnTo>
                    <a:pt x="88" y="333"/>
                  </a:lnTo>
                  <a:lnTo>
                    <a:pt x="89" y="333"/>
                  </a:lnTo>
                  <a:lnTo>
                    <a:pt x="90" y="332"/>
                  </a:lnTo>
                  <a:lnTo>
                    <a:pt x="90" y="330"/>
                  </a:lnTo>
                  <a:lnTo>
                    <a:pt x="89" y="329"/>
                  </a:lnTo>
                  <a:lnTo>
                    <a:pt x="89" y="328"/>
                  </a:lnTo>
                  <a:lnTo>
                    <a:pt x="90" y="328"/>
                  </a:lnTo>
                  <a:lnTo>
                    <a:pt x="90" y="327"/>
                  </a:lnTo>
                  <a:lnTo>
                    <a:pt x="91" y="326"/>
                  </a:lnTo>
                  <a:lnTo>
                    <a:pt x="93" y="324"/>
                  </a:lnTo>
                  <a:lnTo>
                    <a:pt x="93" y="323"/>
                  </a:lnTo>
                  <a:lnTo>
                    <a:pt x="94" y="322"/>
                  </a:lnTo>
                  <a:lnTo>
                    <a:pt x="96" y="321"/>
                  </a:lnTo>
                  <a:lnTo>
                    <a:pt x="96" y="320"/>
                  </a:lnTo>
                  <a:lnTo>
                    <a:pt x="97" y="318"/>
                  </a:lnTo>
                  <a:lnTo>
                    <a:pt x="97" y="317"/>
                  </a:lnTo>
                  <a:lnTo>
                    <a:pt x="99" y="316"/>
                  </a:lnTo>
                  <a:lnTo>
                    <a:pt x="100" y="316"/>
                  </a:lnTo>
                  <a:lnTo>
                    <a:pt x="101" y="315"/>
                  </a:lnTo>
                  <a:lnTo>
                    <a:pt x="99" y="314"/>
                  </a:lnTo>
                  <a:lnTo>
                    <a:pt x="99" y="312"/>
                  </a:lnTo>
                  <a:lnTo>
                    <a:pt x="100" y="312"/>
                  </a:lnTo>
                  <a:lnTo>
                    <a:pt x="99" y="312"/>
                  </a:lnTo>
                  <a:lnTo>
                    <a:pt x="97" y="311"/>
                  </a:lnTo>
                  <a:lnTo>
                    <a:pt x="97" y="310"/>
                  </a:lnTo>
                  <a:lnTo>
                    <a:pt x="99" y="309"/>
                  </a:lnTo>
                  <a:lnTo>
                    <a:pt x="97" y="308"/>
                  </a:lnTo>
                  <a:lnTo>
                    <a:pt x="96" y="308"/>
                  </a:lnTo>
                  <a:lnTo>
                    <a:pt x="96" y="306"/>
                  </a:lnTo>
                  <a:lnTo>
                    <a:pt x="95" y="306"/>
                  </a:lnTo>
                  <a:lnTo>
                    <a:pt x="94" y="306"/>
                  </a:lnTo>
                  <a:lnTo>
                    <a:pt x="90" y="305"/>
                  </a:lnTo>
                  <a:lnTo>
                    <a:pt x="91" y="304"/>
                  </a:lnTo>
                  <a:lnTo>
                    <a:pt x="90" y="302"/>
                  </a:lnTo>
                  <a:lnTo>
                    <a:pt x="89" y="302"/>
                  </a:lnTo>
                  <a:lnTo>
                    <a:pt x="88" y="302"/>
                  </a:lnTo>
                  <a:lnTo>
                    <a:pt x="87" y="302"/>
                  </a:lnTo>
                  <a:lnTo>
                    <a:pt x="84" y="300"/>
                  </a:lnTo>
                  <a:lnTo>
                    <a:pt x="84" y="299"/>
                  </a:lnTo>
                  <a:lnTo>
                    <a:pt x="85" y="298"/>
                  </a:lnTo>
                  <a:lnTo>
                    <a:pt x="85" y="297"/>
                  </a:lnTo>
                  <a:lnTo>
                    <a:pt x="84" y="298"/>
                  </a:lnTo>
                  <a:lnTo>
                    <a:pt x="82" y="297"/>
                  </a:lnTo>
                  <a:lnTo>
                    <a:pt x="82" y="298"/>
                  </a:lnTo>
                  <a:lnTo>
                    <a:pt x="82" y="299"/>
                  </a:lnTo>
                  <a:lnTo>
                    <a:pt x="83" y="300"/>
                  </a:lnTo>
                  <a:lnTo>
                    <a:pt x="82" y="302"/>
                  </a:lnTo>
                  <a:lnTo>
                    <a:pt x="81" y="302"/>
                  </a:lnTo>
                  <a:lnTo>
                    <a:pt x="82" y="302"/>
                  </a:lnTo>
                  <a:lnTo>
                    <a:pt x="82" y="303"/>
                  </a:lnTo>
                  <a:lnTo>
                    <a:pt x="81" y="303"/>
                  </a:lnTo>
                  <a:lnTo>
                    <a:pt x="81" y="304"/>
                  </a:lnTo>
                  <a:lnTo>
                    <a:pt x="79" y="305"/>
                  </a:lnTo>
                  <a:lnTo>
                    <a:pt x="78" y="308"/>
                  </a:lnTo>
                  <a:lnTo>
                    <a:pt x="77" y="309"/>
                  </a:lnTo>
                  <a:lnTo>
                    <a:pt x="76" y="308"/>
                  </a:lnTo>
                  <a:lnTo>
                    <a:pt x="75" y="308"/>
                  </a:lnTo>
                  <a:lnTo>
                    <a:pt x="72" y="308"/>
                  </a:lnTo>
                  <a:lnTo>
                    <a:pt x="71" y="308"/>
                  </a:lnTo>
                  <a:lnTo>
                    <a:pt x="71" y="310"/>
                  </a:lnTo>
                  <a:lnTo>
                    <a:pt x="70" y="311"/>
                  </a:lnTo>
                  <a:lnTo>
                    <a:pt x="69" y="311"/>
                  </a:lnTo>
                  <a:lnTo>
                    <a:pt x="66" y="311"/>
                  </a:lnTo>
                  <a:lnTo>
                    <a:pt x="64" y="312"/>
                  </a:lnTo>
                  <a:lnTo>
                    <a:pt x="63" y="315"/>
                  </a:lnTo>
                  <a:lnTo>
                    <a:pt x="61" y="314"/>
                  </a:lnTo>
                  <a:lnTo>
                    <a:pt x="60" y="315"/>
                  </a:lnTo>
                  <a:lnTo>
                    <a:pt x="58" y="316"/>
                  </a:lnTo>
                  <a:lnTo>
                    <a:pt x="57" y="316"/>
                  </a:lnTo>
                  <a:lnTo>
                    <a:pt x="55" y="316"/>
                  </a:lnTo>
                  <a:lnTo>
                    <a:pt x="53" y="316"/>
                  </a:lnTo>
                  <a:lnTo>
                    <a:pt x="52" y="316"/>
                  </a:lnTo>
                  <a:lnTo>
                    <a:pt x="51" y="316"/>
                  </a:lnTo>
                  <a:lnTo>
                    <a:pt x="49" y="317"/>
                  </a:lnTo>
                  <a:lnTo>
                    <a:pt x="47" y="316"/>
                  </a:lnTo>
                  <a:lnTo>
                    <a:pt x="45" y="317"/>
                  </a:lnTo>
                  <a:lnTo>
                    <a:pt x="45" y="316"/>
                  </a:lnTo>
                  <a:lnTo>
                    <a:pt x="45" y="315"/>
                  </a:lnTo>
                  <a:lnTo>
                    <a:pt x="43" y="315"/>
                  </a:lnTo>
                  <a:lnTo>
                    <a:pt x="43" y="314"/>
                  </a:lnTo>
                  <a:lnTo>
                    <a:pt x="42" y="312"/>
                  </a:lnTo>
                  <a:lnTo>
                    <a:pt x="41" y="311"/>
                  </a:lnTo>
                  <a:lnTo>
                    <a:pt x="40" y="310"/>
                  </a:lnTo>
                  <a:lnTo>
                    <a:pt x="38" y="310"/>
                  </a:lnTo>
                  <a:lnTo>
                    <a:pt x="37" y="311"/>
                  </a:lnTo>
                  <a:lnTo>
                    <a:pt x="37" y="310"/>
                  </a:lnTo>
                  <a:lnTo>
                    <a:pt x="36" y="310"/>
                  </a:lnTo>
                  <a:lnTo>
                    <a:pt x="34" y="310"/>
                  </a:lnTo>
                  <a:lnTo>
                    <a:pt x="35" y="309"/>
                  </a:lnTo>
                  <a:lnTo>
                    <a:pt x="32" y="309"/>
                  </a:lnTo>
                  <a:lnTo>
                    <a:pt x="32" y="308"/>
                  </a:lnTo>
                  <a:lnTo>
                    <a:pt x="31" y="306"/>
                  </a:lnTo>
                  <a:lnTo>
                    <a:pt x="31" y="305"/>
                  </a:lnTo>
                  <a:lnTo>
                    <a:pt x="30" y="305"/>
                  </a:lnTo>
                  <a:lnTo>
                    <a:pt x="29" y="305"/>
                  </a:lnTo>
                  <a:lnTo>
                    <a:pt x="29" y="306"/>
                  </a:lnTo>
                  <a:lnTo>
                    <a:pt x="28" y="305"/>
                  </a:lnTo>
                  <a:lnTo>
                    <a:pt x="25" y="305"/>
                  </a:lnTo>
                  <a:lnTo>
                    <a:pt x="25" y="304"/>
                  </a:lnTo>
                  <a:lnTo>
                    <a:pt x="24" y="304"/>
                  </a:lnTo>
                  <a:lnTo>
                    <a:pt x="23" y="302"/>
                  </a:lnTo>
                  <a:lnTo>
                    <a:pt x="22" y="302"/>
                  </a:lnTo>
                  <a:lnTo>
                    <a:pt x="20" y="302"/>
                  </a:lnTo>
                  <a:lnTo>
                    <a:pt x="22" y="300"/>
                  </a:lnTo>
                  <a:lnTo>
                    <a:pt x="22" y="299"/>
                  </a:lnTo>
                  <a:lnTo>
                    <a:pt x="23" y="299"/>
                  </a:lnTo>
                  <a:lnTo>
                    <a:pt x="23" y="298"/>
                  </a:lnTo>
                  <a:lnTo>
                    <a:pt x="24" y="297"/>
                  </a:lnTo>
                  <a:lnTo>
                    <a:pt x="23" y="296"/>
                  </a:lnTo>
                  <a:lnTo>
                    <a:pt x="20" y="294"/>
                  </a:lnTo>
                  <a:lnTo>
                    <a:pt x="23" y="293"/>
                  </a:lnTo>
                  <a:lnTo>
                    <a:pt x="24" y="292"/>
                  </a:lnTo>
                  <a:lnTo>
                    <a:pt x="25" y="292"/>
                  </a:lnTo>
                  <a:lnTo>
                    <a:pt x="23" y="292"/>
                  </a:lnTo>
                  <a:lnTo>
                    <a:pt x="19" y="293"/>
                  </a:lnTo>
                  <a:lnTo>
                    <a:pt x="19" y="296"/>
                  </a:lnTo>
                  <a:lnTo>
                    <a:pt x="18" y="296"/>
                  </a:lnTo>
                  <a:lnTo>
                    <a:pt x="18" y="297"/>
                  </a:lnTo>
                  <a:lnTo>
                    <a:pt x="17" y="297"/>
                  </a:lnTo>
                  <a:lnTo>
                    <a:pt x="14" y="298"/>
                  </a:lnTo>
                  <a:lnTo>
                    <a:pt x="12" y="297"/>
                  </a:lnTo>
                  <a:lnTo>
                    <a:pt x="11" y="298"/>
                  </a:lnTo>
                  <a:lnTo>
                    <a:pt x="10" y="297"/>
                  </a:lnTo>
                  <a:lnTo>
                    <a:pt x="10" y="298"/>
                  </a:lnTo>
                  <a:lnTo>
                    <a:pt x="8" y="297"/>
                  </a:lnTo>
                  <a:lnTo>
                    <a:pt x="7" y="296"/>
                  </a:lnTo>
                  <a:lnTo>
                    <a:pt x="6" y="293"/>
                  </a:lnTo>
                  <a:lnTo>
                    <a:pt x="5" y="293"/>
                  </a:lnTo>
                  <a:lnTo>
                    <a:pt x="5" y="292"/>
                  </a:lnTo>
                  <a:lnTo>
                    <a:pt x="5" y="290"/>
                  </a:lnTo>
                  <a:lnTo>
                    <a:pt x="1" y="287"/>
                  </a:lnTo>
                  <a:lnTo>
                    <a:pt x="2" y="285"/>
                  </a:lnTo>
                  <a:lnTo>
                    <a:pt x="1" y="284"/>
                  </a:lnTo>
                  <a:lnTo>
                    <a:pt x="0" y="280"/>
                  </a:lnTo>
                  <a:lnTo>
                    <a:pt x="2" y="279"/>
                  </a:lnTo>
                  <a:lnTo>
                    <a:pt x="2" y="280"/>
                  </a:lnTo>
                  <a:lnTo>
                    <a:pt x="5" y="281"/>
                  </a:lnTo>
                  <a:lnTo>
                    <a:pt x="5" y="28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0" name="Freeform 73"/>
            <p:cNvSpPr>
              <a:spLocks/>
            </p:cNvSpPr>
            <p:nvPr userDrawn="1"/>
          </p:nvSpPr>
          <p:spPr bwMode="auto">
            <a:xfrm>
              <a:off x="7435850" y="6467476"/>
              <a:ext cx="103188" cy="111125"/>
            </a:xfrm>
            <a:custGeom>
              <a:avLst/>
              <a:gdLst/>
              <a:ahLst/>
              <a:cxnLst>
                <a:cxn ang="0">
                  <a:pos x="37" y="151"/>
                </a:cxn>
                <a:cxn ang="0">
                  <a:pos x="52" y="131"/>
                </a:cxn>
                <a:cxn ang="0">
                  <a:pos x="90" y="120"/>
                </a:cxn>
                <a:cxn ang="0">
                  <a:pos x="82" y="116"/>
                </a:cxn>
                <a:cxn ang="0">
                  <a:pos x="61" y="112"/>
                </a:cxn>
                <a:cxn ang="0">
                  <a:pos x="64" y="87"/>
                </a:cxn>
                <a:cxn ang="0">
                  <a:pos x="75" y="77"/>
                </a:cxn>
                <a:cxn ang="0">
                  <a:pos x="78" y="52"/>
                </a:cxn>
                <a:cxn ang="0">
                  <a:pos x="103" y="58"/>
                </a:cxn>
                <a:cxn ang="0">
                  <a:pos x="122" y="62"/>
                </a:cxn>
                <a:cxn ang="0">
                  <a:pos x="139" y="65"/>
                </a:cxn>
                <a:cxn ang="0">
                  <a:pos x="158" y="77"/>
                </a:cxn>
                <a:cxn ang="0">
                  <a:pos x="165" y="88"/>
                </a:cxn>
                <a:cxn ang="0">
                  <a:pos x="150" y="66"/>
                </a:cxn>
                <a:cxn ang="0">
                  <a:pos x="133" y="60"/>
                </a:cxn>
                <a:cxn ang="0">
                  <a:pos x="116" y="44"/>
                </a:cxn>
                <a:cxn ang="0">
                  <a:pos x="120" y="23"/>
                </a:cxn>
                <a:cxn ang="0">
                  <a:pos x="133" y="13"/>
                </a:cxn>
                <a:cxn ang="0">
                  <a:pos x="146" y="9"/>
                </a:cxn>
                <a:cxn ang="0">
                  <a:pos x="162" y="18"/>
                </a:cxn>
                <a:cxn ang="0">
                  <a:pos x="174" y="15"/>
                </a:cxn>
                <a:cxn ang="0">
                  <a:pos x="192" y="13"/>
                </a:cxn>
                <a:cxn ang="0">
                  <a:pos x="200" y="22"/>
                </a:cxn>
                <a:cxn ang="0">
                  <a:pos x="220" y="15"/>
                </a:cxn>
                <a:cxn ang="0">
                  <a:pos x="238" y="31"/>
                </a:cxn>
                <a:cxn ang="0">
                  <a:pos x="223" y="50"/>
                </a:cxn>
                <a:cxn ang="0">
                  <a:pos x="245" y="64"/>
                </a:cxn>
                <a:cxn ang="0">
                  <a:pos x="268" y="83"/>
                </a:cxn>
                <a:cxn ang="0">
                  <a:pos x="276" y="96"/>
                </a:cxn>
                <a:cxn ang="0">
                  <a:pos x="282" y="117"/>
                </a:cxn>
                <a:cxn ang="0">
                  <a:pos x="289" y="140"/>
                </a:cxn>
                <a:cxn ang="0">
                  <a:pos x="275" y="153"/>
                </a:cxn>
                <a:cxn ang="0">
                  <a:pos x="305" y="187"/>
                </a:cxn>
                <a:cxn ang="0">
                  <a:pos x="274" y="170"/>
                </a:cxn>
                <a:cxn ang="0">
                  <a:pos x="246" y="164"/>
                </a:cxn>
                <a:cxn ang="0">
                  <a:pos x="275" y="183"/>
                </a:cxn>
                <a:cxn ang="0">
                  <a:pos x="311" y="223"/>
                </a:cxn>
                <a:cxn ang="0">
                  <a:pos x="301" y="239"/>
                </a:cxn>
                <a:cxn ang="0">
                  <a:pos x="283" y="253"/>
                </a:cxn>
                <a:cxn ang="0">
                  <a:pos x="279" y="274"/>
                </a:cxn>
                <a:cxn ang="0">
                  <a:pos x="255" y="256"/>
                </a:cxn>
                <a:cxn ang="0">
                  <a:pos x="234" y="245"/>
                </a:cxn>
                <a:cxn ang="0">
                  <a:pos x="241" y="259"/>
                </a:cxn>
                <a:cxn ang="0">
                  <a:pos x="257" y="289"/>
                </a:cxn>
                <a:cxn ang="0">
                  <a:pos x="232" y="285"/>
                </a:cxn>
                <a:cxn ang="0">
                  <a:pos x="199" y="278"/>
                </a:cxn>
                <a:cxn ang="0">
                  <a:pos x="186" y="296"/>
                </a:cxn>
                <a:cxn ang="0">
                  <a:pos x="118" y="285"/>
                </a:cxn>
                <a:cxn ang="0">
                  <a:pos x="76" y="289"/>
                </a:cxn>
                <a:cxn ang="0">
                  <a:pos x="121" y="283"/>
                </a:cxn>
                <a:cxn ang="0">
                  <a:pos x="139" y="262"/>
                </a:cxn>
                <a:cxn ang="0">
                  <a:pos x="106" y="265"/>
                </a:cxn>
                <a:cxn ang="0">
                  <a:pos x="79" y="277"/>
                </a:cxn>
                <a:cxn ang="0">
                  <a:pos x="50" y="258"/>
                </a:cxn>
                <a:cxn ang="0">
                  <a:pos x="65" y="236"/>
                </a:cxn>
                <a:cxn ang="0">
                  <a:pos x="105" y="220"/>
                </a:cxn>
                <a:cxn ang="0">
                  <a:pos x="84" y="224"/>
                </a:cxn>
                <a:cxn ang="0">
                  <a:pos x="84" y="202"/>
                </a:cxn>
                <a:cxn ang="0">
                  <a:pos x="79" y="202"/>
                </a:cxn>
                <a:cxn ang="0">
                  <a:pos x="44" y="223"/>
                </a:cxn>
                <a:cxn ang="0">
                  <a:pos x="46" y="199"/>
                </a:cxn>
                <a:cxn ang="0">
                  <a:pos x="43" y="179"/>
                </a:cxn>
                <a:cxn ang="0">
                  <a:pos x="2" y="167"/>
                </a:cxn>
              </a:cxnLst>
              <a:rect l="0" t="0" r="r" b="b"/>
              <a:pathLst>
                <a:path w="324" h="349">
                  <a:moveTo>
                    <a:pt x="3" y="165"/>
                  </a:moveTo>
                  <a:lnTo>
                    <a:pt x="3" y="164"/>
                  </a:lnTo>
                  <a:lnTo>
                    <a:pt x="4" y="165"/>
                  </a:lnTo>
                  <a:lnTo>
                    <a:pt x="5" y="164"/>
                  </a:lnTo>
                  <a:lnTo>
                    <a:pt x="5" y="165"/>
                  </a:lnTo>
                  <a:lnTo>
                    <a:pt x="5" y="164"/>
                  </a:lnTo>
                  <a:lnTo>
                    <a:pt x="8" y="164"/>
                  </a:lnTo>
                  <a:lnTo>
                    <a:pt x="8" y="165"/>
                  </a:lnTo>
                  <a:lnTo>
                    <a:pt x="9" y="165"/>
                  </a:lnTo>
                  <a:lnTo>
                    <a:pt x="8" y="165"/>
                  </a:lnTo>
                  <a:lnTo>
                    <a:pt x="8" y="164"/>
                  </a:lnTo>
                  <a:lnTo>
                    <a:pt x="8" y="163"/>
                  </a:lnTo>
                  <a:lnTo>
                    <a:pt x="9" y="163"/>
                  </a:lnTo>
                  <a:lnTo>
                    <a:pt x="10" y="163"/>
                  </a:lnTo>
                  <a:lnTo>
                    <a:pt x="10" y="164"/>
                  </a:lnTo>
                  <a:lnTo>
                    <a:pt x="10" y="165"/>
                  </a:lnTo>
                  <a:lnTo>
                    <a:pt x="13" y="165"/>
                  </a:lnTo>
                  <a:lnTo>
                    <a:pt x="13" y="166"/>
                  </a:lnTo>
                  <a:lnTo>
                    <a:pt x="14" y="166"/>
                  </a:lnTo>
                  <a:lnTo>
                    <a:pt x="14" y="164"/>
                  </a:lnTo>
                  <a:lnTo>
                    <a:pt x="15" y="164"/>
                  </a:lnTo>
                  <a:lnTo>
                    <a:pt x="16" y="164"/>
                  </a:lnTo>
                  <a:lnTo>
                    <a:pt x="17" y="165"/>
                  </a:lnTo>
                  <a:lnTo>
                    <a:pt x="16" y="163"/>
                  </a:lnTo>
                  <a:lnTo>
                    <a:pt x="16" y="161"/>
                  </a:lnTo>
                  <a:lnTo>
                    <a:pt x="15" y="160"/>
                  </a:lnTo>
                  <a:lnTo>
                    <a:pt x="15" y="158"/>
                  </a:lnTo>
                  <a:lnTo>
                    <a:pt x="16" y="159"/>
                  </a:lnTo>
                  <a:lnTo>
                    <a:pt x="17" y="159"/>
                  </a:lnTo>
                  <a:lnTo>
                    <a:pt x="17" y="160"/>
                  </a:lnTo>
                  <a:lnTo>
                    <a:pt x="19" y="161"/>
                  </a:lnTo>
                  <a:lnTo>
                    <a:pt x="20" y="163"/>
                  </a:lnTo>
                  <a:lnTo>
                    <a:pt x="20" y="161"/>
                  </a:lnTo>
                  <a:lnTo>
                    <a:pt x="20" y="160"/>
                  </a:lnTo>
                  <a:lnTo>
                    <a:pt x="21" y="160"/>
                  </a:lnTo>
                  <a:lnTo>
                    <a:pt x="22" y="160"/>
                  </a:lnTo>
                  <a:lnTo>
                    <a:pt x="21" y="159"/>
                  </a:lnTo>
                  <a:lnTo>
                    <a:pt x="23" y="157"/>
                  </a:lnTo>
                  <a:lnTo>
                    <a:pt x="23" y="158"/>
                  </a:lnTo>
                  <a:lnTo>
                    <a:pt x="26" y="157"/>
                  </a:lnTo>
                  <a:lnTo>
                    <a:pt x="25" y="155"/>
                  </a:lnTo>
                  <a:lnTo>
                    <a:pt x="25" y="154"/>
                  </a:lnTo>
                  <a:lnTo>
                    <a:pt x="26" y="154"/>
                  </a:lnTo>
                  <a:lnTo>
                    <a:pt x="27" y="154"/>
                  </a:lnTo>
                  <a:lnTo>
                    <a:pt x="27" y="155"/>
                  </a:lnTo>
                  <a:lnTo>
                    <a:pt x="28" y="155"/>
                  </a:lnTo>
                  <a:lnTo>
                    <a:pt x="29" y="157"/>
                  </a:lnTo>
                  <a:lnTo>
                    <a:pt x="29" y="155"/>
                  </a:lnTo>
                  <a:lnTo>
                    <a:pt x="28" y="154"/>
                  </a:lnTo>
                  <a:lnTo>
                    <a:pt x="28" y="153"/>
                  </a:lnTo>
                  <a:lnTo>
                    <a:pt x="28" y="152"/>
                  </a:lnTo>
                  <a:lnTo>
                    <a:pt x="29" y="153"/>
                  </a:lnTo>
                  <a:lnTo>
                    <a:pt x="31" y="154"/>
                  </a:lnTo>
                  <a:lnTo>
                    <a:pt x="32" y="154"/>
                  </a:lnTo>
                  <a:lnTo>
                    <a:pt x="33" y="153"/>
                  </a:lnTo>
                  <a:lnTo>
                    <a:pt x="34" y="154"/>
                  </a:lnTo>
                  <a:lnTo>
                    <a:pt x="35" y="154"/>
                  </a:lnTo>
                  <a:lnTo>
                    <a:pt x="37" y="154"/>
                  </a:lnTo>
                  <a:lnTo>
                    <a:pt x="37" y="153"/>
                  </a:lnTo>
                  <a:lnTo>
                    <a:pt x="37" y="152"/>
                  </a:lnTo>
                  <a:lnTo>
                    <a:pt x="37" y="151"/>
                  </a:lnTo>
                  <a:lnTo>
                    <a:pt x="38" y="151"/>
                  </a:lnTo>
                  <a:lnTo>
                    <a:pt x="39" y="152"/>
                  </a:lnTo>
                  <a:lnTo>
                    <a:pt x="39" y="153"/>
                  </a:lnTo>
                  <a:lnTo>
                    <a:pt x="40" y="154"/>
                  </a:lnTo>
                  <a:lnTo>
                    <a:pt x="41" y="154"/>
                  </a:lnTo>
                  <a:lnTo>
                    <a:pt x="41" y="153"/>
                  </a:lnTo>
                  <a:lnTo>
                    <a:pt x="40" y="152"/>
                  </a:lnTo>
                  <a:lnTo>
                    <a:pt x="40" y="149"/>
                  </a:lnTo>
                  <a:lnTo>
                    <a:pt x="39" y="148"/>
                  </a:lnTo>
                  <a:lnTo>
                    <a:pt x="40" y="148"/>
                  </a:lnTo>
                  <a:lnTo>
                    <a:pt x="40" y="147"/>
                  </a:lnTo>
                  <a:lnTo>
                    <a:pt x="41" y="148"/>
                  </a:lnTo>
                  <a:lnTo>
                    <a:pt x="43" y="148"/>
                  </a:lnTo>
                  <a:lnTo>
                    <a:pt x="44" y="149"/>
                  </a:lnTo>
                  <a:lnTo>
                    <a:pt x="44" y="148"/>
                  </a:lnTo>
                  <a:lnTo>
                    <a:pt x="45" y="149"/>
                  </a:lnTo>
                  <a:lnTo>
                    <a:pt x="46" y="149"/>
                  </a:lnTo>
                  <a:lnTo>
                    <a:pt x="47" y="149"/>
                  </a:lnTo>
                  <a:lnTo>
                    <a:pt x="49" y="149"/>
                  </a:lnTo>
                  <a:lnTo>
                    <a:pt x="47" y="148"/>
                  </a:lnTo>
                  <a:lnTo>
                    <a:pt x="47" y="147"/>
                  </a:lnTo>
                  <a:lnTo>
                    <a:pt x="45" y="146"/>
                  </a:lnTo>
                  <a:lnTo>
                    <a:pt x="46" y="146"/>
                  </a:lnTo>
                  <a:lnTo>
                    <a:pt x="46" y="144"/>
                  </a:lnTo>
                  <a:lnTo>
                    <a:pt x="45" y="144"/>
                  </a:lnTo>
                  <a:lnTo>
                    <a:pt x="45" y="146"/>
                  </a:lnTo>
                  <a:lnTo>
                    <a:pt x="45" y="144"/>
                  </a:lnTo>
                  <a:lnTo>
                    <a:pt x="44" y="143"/>
                  </a:lnTo>
                  <a:lnTo>
                    <a:pt x="43" y="143"/>
                  </a:lnTo>
                  <a:lnTo>
                    <a:pt x="41" y="143"/>
                  </a:lnTo>
                  <a:lnTo>
                    <a:pt x="40" y="142"/>
                  </a:lnTo>
                  <a:lnTo>
                    <a:pt x="39" y="141"/>
                  </a:lnTo>
                  <a:lnTo>
                    <a:pt x="40" y="141"/>
                  </a:lnTo>
                  <a:lnTo>
                    <a:pt x="39" y="141"/>
                  </a:lnTo>
                  <a:lnTo>
                    <a:pt x="39" y="140"/>
                  </a:lnTo>
                  <a:lnTo>
                    <a:pt x="39" y="138"/>
                  </a:lnTo>
                  <a:lnTo>
                    <a:pt x="38" y="136"/>
                  </a:lnTo>
                  <a:lnTo>
                    <a:pt x="39" y="136"/>
                  </a:lnTo>
                  <a:lnTo>
                    <a:pt x="40" y="136"/>
                  </a:lnTo>
                  <a:lnTo>
                    <a:pt x="40" y="137"/>
                  </a:lnTo>
                  <a:lnTo>
                    <a:pt x="41" y="136"/>
                  </a:lnTo>
                  <a:lnTo>
                    <a:pt x="41" y="135"/>
                  </a:lnTo>
                  <a:lnTo>
                    <a:pt x="43" y="135"/>
                  </a:lnTo>
                  <a:lnTo>
                    <a:pt x="43" y="136"/>
                  </a:lnTo>
                  <a:lnTo>
                    <a:pt x="44" y="136"/>
                  </a:lnTo>
                  <a:lnTo>
                    <a:pt x="44" y="137"/>
                  </a:lnTo>
                  <a:lnTo>
                    <a:pt x="46" y="137"/>
                  </a:lnTo>
                  <a:lnTo>
                    <a:pt x="45" y="136"/>
                  </a:lnTo>
                  <a:lnTo>
                    <a:pt x="45" y="135"/>
                  </a:lnTo>
                  <a:lnTo>
                    <a:pt x="46" y="134"/>
                  </a:lnTo>
                  <a:lnTo>
                    <a:pt x="46" y="135"/>
                  </a:lnTo>
                  <a:lnTo>
                    <a:pt x="49" y="135"/>
                  </a:lnTo>
                  <a:lnTo>
                    <a:pt x="49" y="136"/>
                  </a:lnTo>
                  <a:lnTo>
                    <a:pt x="50" y="136"/>
                  </a:lnTo>
                  <a:lnTo>
                    <a:pt x="50" y="135"/>
                  </a:lnTo>
                  <a:lnTo>
                    <a:pt x="51" y="134"/>
                  </a:lnTo>
                  <a:lnTo>
                    <a:pt x="52" y="134"/>
                  </a:lnTo>
                  <a:lnTo>
                    <a:pt x="52" y="135"/>
                  </a:lnTo>
                  <a:lnTo>
                    <a:pt x="53" y="135"/>
                  </a:lnTo>
                  <a:lnTo>
                    <a:pt x="52" y="132"/>
                  </a:lnTo>
                  <a:lnTo>
                    <a:pt x="52" y="131"/>
                  </a:lnTo>
                  <a:lnTo>
                    <a:pt x="52" y="130"/>
                  </a:lnTo>
                  <a:lnTo>
                    <a:pt x="53" y="130"/>
                  </a:lnTo>
                  <a:lnTo>
                    <a:pt x="55" y="130"/>
                  </a:lnTo>
                  <a:lnTo>
                    <a:pt x="55" y="131"/>
                  </a:lnTo>
                  <a:lnTo>
                    <a:pt x="55" y="130"/>
                  </a:lnTo>
                  <a:lnTo>
                    <a:pt x="55" y="131"/>
                  </a:lnTo>
                  <a:lnTo>
                    <a:pt x="55" y="132"/>
                  </a:lnTo>
                  <a:lnTo>
                    <a:pt x="56" y="131"/>
                  </a:lnTo>
                  <a:lnTo>
                    <a:pt x="56" y="132"/>
                  </a:lnTo>
                  <a:lnTo>
                    <a:pt x="56" y="134"/>
                  </a:lnTo>
                  <a:lnTo>
                    <a:pt x="56" y="132"/>
                  </a:lnTo>
                  <a:lnTo>
                    <a:pt x="57" y="132"/>
                  </a:lnTo>
                  <a:lnTo>
                    <a:pt x="58" y="134"/>
                  </a:lnTo>
                  <a:lnTo>
                    <a:pt x="59" y="134"/>
                  </a:lnTo>
                  <a:lnTo>
                    <a:pt x="61" y="135"/>
                  </a:lnTo>
                  <a:lnTo>
                    <a:pt x="61" y="136"/>
                  </a:lnTo>
                  <a:lnTo>
                    <a:pt x="62" y="135"/>
                  </a:lnTo>
                  <a:lnTo>
                    <a:pt x="62" y="134"/>
                  </a:lnTo>
                  <a:lnTo>
                    <a:pt x="61" y="134"/>
                  </a:lnTo>
                  <a:lnTo>
                    <a:pt x="61" y="131"/>
                  </a:lnTo>
                  <a:lnTo>
                    <a:pt x="62" y="130"/>
                  </a:lnTo>
                  <a:lnTo>
                    <a:pt x="62" y="131"/>
                  </a:lnTo>
                  <a:lnTo>
                    <a:pt x="63" y="131"/>
                  </a:lnTo>
                  <a:lnTo>
                    <a:pt x="62" y="131"/>
                  </a:lnTo>
                  <a:lnTo>
                    <a:pt x="63" y="130"/>
                  </a:lnTo>
                  <a:lnTo>
                    <a:pt x="64" y="130"/>
                  </a:lnTo>
                  <a:lnTo>
                    <a:pt x="65" y="130"/>
                  </a:lnTo>
                  <a:lnTo>
                    <a:pt x="67" y="129"/>
                  </a:lnTo>
                  <a:lnTo>
                    <a:pt x="68" y="129"/>
                  </a:lnTo>
                  <a:lnTo>
                    <a:pt x="68" y="130"/>
                  </a:lnTo>
                  <a:lnTo>
                    <a:pt x="69" y="130"/>
                  </a:lnTo>
                  <a:lnTo>
                    <a:pt x="69" y="131"/>
                  </a:lnTo>
                  <a:lnTo>
                    <a:pt x="70" y="131"/>
                  </a:lnTo>
                  <a:lnTo>
                    <a:pt x="70" y="130"/>
                  </a:lnTo>
                  <a:lnTo>
                    <a:pt x="72" y="129"/>
                  </a:lnTo>
                  <a:lnTo>
                    <a:pt x="73" y="129"/>
                  </a:lnTo>
                  <a:lnTo>
                    <a:pt x="74" y="129"/>
                  </a:lnTo>
                  <a:lnTo>
                    <a:pt x="74" y="128"/>
                  </a:lnTo>
                  <a:lnTo>
                    <a:pt x="74" y="129"/>
                  </a:lnTo>
                  <a:lnTo>
                    <a:pt x="75" y="129"/>
                  </a:lnTo>
                  <a:lnTo>
                    <a:pt x="75" y="128"/>
                  </a:lnTo>
                  <a:lnTo>
                    <a:pt x="75" y="126"/>
                  </a:lnTo>
                  <a:lnTo>
                    <a:pt x="74" y="125"/>
                  </a:lnTo>
                  <a:lnTo>
                    <a:pt x="75" y="124"/>
                  </a:lnTo>
                  <a:lnTo>
                    <a:pt x="75" y="123"/>
                  </a:lnTo>
                  <a:lnTo>
                    <a:pt x="75" y="124"/>
                  </a:lnTo>
                  <a:lnTo>
                    <a:pt x="76" y="124"/>
                  </a:lnTo>
                  <a:lnTo>
                    <a:pt x="78" y="124"/>
                  </a:lnTo>
                  <a:lnTo>
                    <a:pt x="81" y="123"/>
                  </a:lnTo>
                  <a:lnTo>
                    <a:pt x="80" y="122"/>
                  </a:lnTo>
                  <a:lnTo>
                    <a:pt x="81" y="122"/>
                  </a:lnTo>
                  <a:lnTo>
                    <a:pt x="82" y="122"/>
                  </a:lnTo>
                  <a:lnTo>
                    <a:pt x="82" y="120"/>
                  </a:lnTo>
                  <a:lnTo>
                    <a:pt x="82" y="119"/>
                  </a:lnTo>
                  <a:lnTo>
                    <a:pt x="84" y="120"/>
                  </a:lnTo>
                  <a:lnTo>
                    <a:pt x="84" y="122"/>
                  </a:lnTo>
                  <a:lnTo>
                    <a:pt x="85" y="120"/>
                  </a:lnTo>
                  <a:lnTo>
                    <a:pt x="86" y="120"/>
                  </a:lnTo>
                  <a:lnTo>
                    <a:pt x="87" y="120"/>
                  </a:lnTo>
                  <a:lnTo>
                    <a:pt x="88" y="120"/>
                  </a:lnTo>
                  <a:lnTo>
                    <a:pt x="90" y="120"/>
                  </a:lnTo>
                  <a:lnTo>
                    <a:pt x="90" y="119"/>
                  </a:lnTo>
                  <a:lnTo>
                    <a:pt x="91" y="119"/>
                  </a:lnTo>
                  <a:lnTo>
                    <a:pt x="91" y="120"/>
                  </a:lnTo>
                  <a:lnTo>
                    <a:pt x="91" y="119"/>
                  </a:lnTo>
                  <a:lnTo>
                    <a:pt x="91" y="118"/>
                  </a:lnTo>
                  <a:lnTo>
                    <a:pt x="92" y="118"/>
                  </a:lnTo>
                  <a:lnTo>
                    <a:pt x="93" y="118"/>
                  </a:lnTo>
                  <a:lnTo>
                    <a:pt x="93" y="117"/>
                  </a:lnTo>
                  <a:lnTo>
                    <a:pt x="94" y="117"/>
                  </a:lnTo>
                  <a:lnTo>
                    <a:pt x="94" y="116"/>
                  </a:lnTo>
                  <a:lnTo>
                    <a:pt x="96" y="116"/>
                  </a:lnTo>
                  <a:lnTo>
                    <a:pt x="94" y="116"/>
                  </a:lnTo>
                  <a:lnTo>
                    <a:pt x="94" y="114"/>
                  </a:lnTo>
                  <a:lnTo>
                    <a:pt x="94" y="113"/>
                  </a:lnTo>
                  <a:lnTo>
                    <a:pt x="96" y="113"/>
                  </a:lnTo>
                  <a:lnTo>
                    <a:pt x="94" y="113"/>
                  </a:lnTo>
                  <a:lnTo>
                    <a:pt x="96" y="113"/>
                  </a:lnTo>
                  <a:lnTo>
                    <a:pt x="97" y="113"/>
                  </a:lnTo>
                  <a:lnTo>
                    <a:pt x="96" y="112"/>
                  </a:lnTo>
                  <a:lnTo>
                    <a:pt x="97" y="112"/>
                  </a:lnTo>
                  <a:lnTo>
                    <a:pt x="97" y="111"/>
                  </a:lnTo>
                  <a:lnTo>
                    <a:pt x="98" y="110"/>
                  </a:lnTo>
                  <a:lnTo>
                    <a:pt x="99" y="108"/>
                  </a:lnTo>
                  <a:lnTo>
                    <a:pt x="98" y="108"/>
                  </a:lnTo>
                  <a:lnTo>
                    <a:pt x="98" y="107"/>
                  </a:lnTo>
                  <a:lnTo>
                    <a:pt x="97" y="107"/>
                  </a:lnTo>
                  <a:lnTo>
                    <a:pt x="96" y="107"/>
                  </a:lnTo>
                  <a:lnTo>
                    <a:pt x="96" y="106"/>
                  </a:lnTo>
                  <a:lnTo>
                    <a:pt x="96" y="107"/>
                  </a:lnTo>
                  <a:lnTo>
                    <a:pt x="94" y="107"/>
                  </a:lnTo>
                  <a:lnTo>
                    <a:pt x="93" y="107"/>
                  </a:lnTo>
                  <a:lnTo>
                    <a:pt x="92" y="107"/>
                  </a:lnTo>
                  <a:lnTo>
                    <a:pt x="91" y="107"/>
                  </a:lnTo>
                  <a:lnTo>
                    <a:pt x="91" y="108"/>
                  </a:lnTo>
                  <a:lnTo>
                    <a:pt x="91" y="110"/>
                  </a:lnTo>
                  <a:lnTo>
                    <a:pt x="91" y="111"/>
                  </a:lnTo>
                  <a:lnTo>
                    <a:pt x="92" y="111"/>
                  </a:lnTo>
                  <a:lnTo>
                    <a:pt x="91" y="112"/>
                  </a:lnTo>
                  <a:lnTo>
                    <a:pt x="91" y="113"/>
                  </a:lnTo>
                  <a:lnTo>
                    <a:pt x="90" y="113"/>
                  </a:lnTo>
                  <a:lnTo>
                    <a:pt x="88" y="114"/>
                  </a:lnTo>
                  <a:lnTo>
                    <a:pt x="88" y="116"/>
                  </a:lnTo>
                  <a:lnTo>
                    <a:pt x="88" y="114"/>
                  </a:lnTo>
                  <a:lnTo>
                    <a:pt x="90" y="114"/>
                  </a:lnTo>
                  <a:lnTo>
                    <a:pt x="91" y="116"/>
                  </a:lnTo>
                  <a:lnTo>
                    <a:pt x="92" y="116"/>
                  </a:lnTo>
                  <a:lnTo>
                    <a:pt x="91" y="116"/>
                  </a:lnTo>
                  <a:lnTo>
                    <a:pt x="91" y="117"/>
                  </a:lnTo>
                  <a:lnTo>
                    <a:pt x="90" y="117"/>
                  </a:lnTo>
                  <a:lnTo>
                    <a:pt x="90" y="118"/>
                  </a:lnTo>
                  <a:lnTo>
                    <a:pt x="88" y="118"/>
                  </a:lnTo>
                  <a:lnTo>
                    <a:pt x="87" y="118"/>
                  </a:lnTo>
                  <a:lnTo>
                    <a:pt x="86" y="118"/>
                  </a:lnTo>
                  <a:lnTo>
                    <a:pt x="85" y="118"/>
                  </a:lnTo>
                  <a:lnTo>
                    <a:pt x="84" y="118"/>
                  </a:lnTo>
                  <a:lnTo>
                    <a:pt x="84" y="117"/>
                  </a:lnTo>
                  <a:lnTo>
                    <a:pt x="82" y="117"/>
                  </a:lnTo>
                  <a:lnTo>
                    <a:pt x="82" y="118"/>
                  </a:lnTo>
                  <a:lnTo>
                    <a:pt x="82" y="117"/>
                  </a:lnTo>
                  <a:lnTo>
                    <a:pt x="81" y="117"/>
                  </a:lnTo>
                  <a:lnTo>
                    <a:pt x="82" y="116"/>
                  </a:lnTo>
                  <a:lnTo>
                    <a:pt x="82" y="114"/>
                  </a:lnTo>
                  <a:lnTo>
                    <a:pt x="84" y="114"/>
                  </a:lnTo>
                  <a:lnTo>
                    <a:pt x="84" y="113"/>
                  </a:lnTo>
                  <a:lnTo>
                    <a:pt x="82" y="112"/>
                  </a:lnTo>
                  <a:lnTo>
                    <a:pt x="84" y="112"/>
                  </a:lnTo>
                  <a:lnTo>
                    <a:pt x="84" y="111"/>
                  </a:lnTo>
                  <a:lnTo>
                    <a:pt x="85" y="111"/>
                  </a:lnTo>
                  <a:lnTo>
                    <a:pt x="85" y="110"/>
                  </a:lnTo>
                  <a:lnTo>
                    <a:pt x="84" y="110"/>
                  </a:lnTo>
                  <a:lnTo>
                    <a:pt x="82" y="110"/>
                  </a:lnTo>
                  <a:lnTo>
                    <a:pt x="82" y="111"/>
                  </a:lnTo>
                  <a:lnTo>
                    <a:pt x="81" y="111"/>
                  </a:lnTo>
                  <a:lnTo>
                    <a:pt x="80" y="111"/>
                  </a:lnTo>
                  <a:lnTo>
                    <a:pt x="80" y="112"/>
                  </a:lnTo>
                  <a:lnTo>
                    <a:pt x="80" y="111"/>
                  </a:lnTo>
                  <a:lnTo>
                    <a:pt x="79" y="111"/>
                  </a:lnTo>
                  <a:lnTo>
                    <a:pt x="79" y="112"/>
                  </a:lnTo>
                  <a:lnTo>
                    <a:pt x="79" y="111"/>
                  </a:lnTo>
                  <a:lnTo>
                    <a:pt x="78" y="111"/>
                  </a:lnTo>
                  <a:lnTo>
                    <a:pt x="78" y="112"/>
                  </a:lnTo>
                  <a:lnTo>
                    <a:pt x="76" y="112"/>
                  </a:lnTo>
                  <a:lnTo>
                    <a:pt x="76" y="113"/>
                  </a:lnTo>
                  <a:lnTo>
                    <a:pt x="78" y="113"/>
                  </a:lnTo>
                  <a:lnTo>
                    <a:pt x="76" y="113"/>
                  </a:lnTo>
                  <a:lnTo>
                    <a:pt x="75" y="113"/>
                  </a:lnTo>
                  <a:lnTo>
                    <a:pt x="74" y="113"/>
                  </a:lnTo>
                  <a:lnTo>
                    <a:pt x="73" y="113"/>
                  </a:lnTo>
                  <a:lnTo>
                    <a:pt x="73" y="112"/>
                  </a:lnTo>
                  <a:lnTo>
                    <a:pt x="72" y="112"/>
                  </a:lnTo>
                  <a:lnTo>
                    <a:pt x="70" y="112"/>
                  </a:lnTo>
                  <a:lnTo>
                    <a:pt x="70" y="113"/>
                  </a:lnTo>
                  <a:lnTo>
                    <a:pt x="69" y="113"/>
                  </a:lnTo>
                  <a:lnTo>
                    <a:pt x="69" y="114"/>
                  </a:lnTo>
                  <a:lnTo>
                    <a:pt x="69" y="113"/>
                  </a:lnTo>
                  <a:lnTo>
                    <a:pt x="68" y="113"/>
                  </a:lnTo>
                  <a:lnTo>
                    <a:pt x="68" y="114"/>
                  </a:lnTo>
                  <a:lnTo>
                    <a:pt x="67" y="114"/>
                  </a:lnTo>
                  <a:lnTo>
                    <a:pt x="67" y="116"/>
                  </a:lnTo>
                  <a:lnTo>
                    <a:pt x="67" y="114"/>
                  </a:lnTo>
                  <a:lnTo>
                    <a:pt x="65" y="114"/>
                  </a:lnTo>
                  <a:lnTo>
                    <a:pt x="64" y="114"/>
                  </a:lnTo>
                  <a:lnTo>
                    <a:pt x="64" y="113"/>
                  </a:lnTo>
                  <a:lnTo>
                    <a:pt x="64" y="112"/>
                  </a:lnTo>
                  <a:lnTo>
                    <a:pt x="65" y="112"/>
                  </a:lnTo>
                  <a:lnTo>
                    <a:pt x="65" y="113"/>
                  </a:lnTo>
                  <a:lnTo>
                    <a:pt x="67" y="113"/>
                  </a:lnTo>
                  <a:lnTo>
                    <a:pt x="67" y="112"/>
                  </a:lnTo>
                  <a:lnTo>
                    <a:pt x="67" y="111"/>
                  </a:lnTo>
                  <a:lnTo>
                    <a:pt x="68" y="111"/>
                  </a:lnTo>
                  <a:lnTo>
                    <a:pt x="67" y="110"/>
                  </a:lnTo>
                  <a:lnTo>
                    <a:pt x="67" y="111"/>
                  </a:lnTo>
                  <a:lnTo>
                    <a:pt x="65" y="111"/>
                  </a:lnTo>
                  <a:lnTo>
                    <a:pt x="64" y="111"/>
                  </a:lnTo>
                  <a:lnTo>
                    <a:pt x="64" y="112"/>
                  </a:lnTo>
                  <a:lnTo>
                    <a:pt x="64" y="111"/>
                  </a:lnTo>
                  <a:lnTo>
                    <a:pt x="63" y="111"/>
                  </a:lnTo>
                  <a:lnTo>
                    <a:pt x="63" y="112"/>
                  </a:lnTo>
                  <a:lnTo>
                    <a:pt x="63" y="113"/>
                  </a:lnTo>
                  <a:lnTo>
                    <a:pt x="63" y="112"/>
                  </a:lnTo>
                  <a:lnTo>
                    <a:pt x="62" y="112"/>
                  </a:lnTo>
                  <a:lnTo>
                    <a:pt x="61" y="112"/>
                  </a:lnTo>
                  <a:lnTo>
                    <a:pt x="61" y="111"/>
                  </a:lnTo>
                  <a:lnTo>
                    <a:pt x="59" y="111"/>
                  </a:lnTo>
                  <a:lnTo>
                    <a:pt x="58" y="111"/>
                  </a:lnTo>
                  <a:lnTo>
                    <a:pt x="58" y="110"/>
                  </a:lnTo>
                  <a:lnTo>
                    <a:pt x="57" y="110"/>
                  </a:lnTo>
                  <a:lnTo>
                    <a:pt x="57" y="108"/>
                  </a:lnTo>
                  <a:lnTo>
                    <a:pt x="56" y="107"/>
                  </a:lnTo>
                  <a:lnTo>
                    <a:pt x="57" y="107"/>
                  </a:lnTo>
                  <a:lnTo>
                    <a:pt x="57" y="106"/>
                  </a:lnTo>
                  <a:lnTo>
                    <a:pt x="57" y="107"/>
                  </a:lnTo>
                  <a:lnTo>
                    <a:pt x="56" y="106"/>
                  </a:lnTo>
                  <a:lnTo>
                    <a:pt x="56" y="105"/>
                  </a:lnTo>
                  <a:lnTo>
                    <a:pt x="55" y="105"/>
                  </a:lnTo>
                  <a:lnTo>
                    <a:pt x="55" y="104"/>
                  </a:lnTo>
                  <a:lnTo>
                    <a:pt x="55" y="102"/>
                  </a:lnTo>
                  <a:lnTo>
                    <a:pt x="55" y="101"/>
                  </a:lnTo>
                  <a:lnTo>
                    <a:pt x="56" y="101"/>
                  </a:lnTo>
                  <a:lnTo>
                    <a:pt x="56" y="102"/>
                  </a:lnTo>
                  <a:lnTo>
                    <a:pt x="57" y="102"/>
                  </a:lnTo>
                  <a:lnTo>
                    <a:pt x="58" y="102"/>
                  </a:lnTo>
                  <a:lnTo>
                    <a:pt x="58" y="101"/>
                  </a:lnTo>
                  <a:lnTo>
                    <a:pt x="59" y="101"/>
                  </a:lnTo>
                  <a:lnTo>
                    <a:pt x="61" y="101"/>
                  </a:lnTo>
                  <a:lnTo>
                    <a:pt x="61" y="100"/>
                  </a:lnTo>
                  <a:lnTo>
                    <a:pt x="61" y="101"/>
                  </a:lnTo>
                  <a:lnTo>
                    <a:pt x="62" y="101"/>
                  </a:lnTo>
                  <a:lnTo>
                    <a:pt x="62" y="100"/>
                  </a:lnTo>
                  <a:lnTo>
                    <a:pt x="61" y="100"/>
                  </a:lnTo>
                  <a:lnTo>
                    <a:pt x="61" y="99"/>
                  </a:lnTo>
                  <a:lnTo>
                    <a:pt x="59" y="99"/>
                  </a:lnTo>
                  <a:lnTo>
                    <a:pt x="59" y="98"/>
                  </a:lnTo>
                  <a:lnTo>
                    <a:pt x="61" y="98"/>
                  </a:lnTo>
                  <a:lnTo>
                    <a:pt x="59" y="98"/>
                  </a:lnTo>
                  <a:lnTo>
                    <a:pt x="59" y="96"/>
                  </a:lnTo>
                  <a:lnTo>
                    <a:pt x="58" y="96"/>
                  </a:lnTo>
                  <a:lnTo>
                    <a:pt x="58" y="95"/>
                  </a:lnTo>
                  <a:lnTo>
                    <a:pt x="58" y="94"/>
                  </a:lnTo>
                  <a:lnTo>
                    <a:pt x="58" y="93"/>
                  </a:lnTo>
                  <a:lnTo>
                    <a:pt x="57" y="93"/>
                  </a:lnTo>
                  <a:lnTo>
                    <a:pt x="57" y="92"/>
                  </a:lnTo>
                  <a:lnTo>
                    <a:pt x="57" y="90"/>
                  </a:lnTo>
                  <a:lnTo>
                    <a:pt x="57" y="89"/>
                  </a:lnTo>
                  <a:lnTo>
                    <a:pt x="57" y="88"/>
                  </a:lnTo>
                  <a:lnTo>
                    <a:pt x="57" y="87"/>
                  </a:lnTo>
                  <a:lnTo>
                    <a:pt x="56" y="87"/>
                  </a:lnTo>
                  <a:lnTo>
                    <a:pt x="57" y="87"/>
                  </a:lnTo>
                  <a:lnTo>
                    <a:pt x="57" y="86"/>
                  </a:lnTo>
                  <a:lnTo>
                    <a:pt x="58" y="86"/>
                  </a:lnTo>
                  <a:lnTo>
                    <a:pt x="58" y="87"/>
                  </a:lnTo>
                  <a:lnTo>
                    <a:pt x="59" y="87"/>
                  </a:lnTo>
                  <a:lnTo>
                    <a:pt x="59" y="88"/>
                  </a:lnTo>
                  <a:lnTo>
                    <a:pt x="61" y="88"/>
                  </a:lnTo>
                  <a:lnTo>
                    <a:pt x="61" y="89"/>
                  </a:lnTo>
                  <a:lnTo>
                    <a:pt x="61" y="88"/>
                  </a:lnTo>
                  <a:lnTo>
                    <a:pt x="61" y="87"/>
                  </a:lnTo>
                  <a:lnTo>
                    <a:pt x="62" y="87"/>
                  </a:lnTo>
                  <a:lnTo>
                    <a:pt x="62" y="86"/>
                  </a:lnTo>
                  <a:lnTo>
                    <a:pt x="63" y="87"/>
                  </a:lnTo>
                  <a:lnTo>
                    <a:pt x="63" y="88"/>
                  </a:lnTo>
                  <a:lnTo>
                    <a:pt x="63" y="87"/>
                  </a:lnTo>
                  <a:lnTo>
                    <a:pt x="64" y="87"/>
                  </a:lnTo>
                  <a:lnTo>
                    <a:pt x="65" y="87"/>
                  </a:lnTo>
                  <a:lnTo>
                    <a:pt x="65" y="88"/>
                  </a:lnTo>
                  <a:lnTo>
                    <a:pt x="67" y="88"/>
                  </a:lnTo>
                  <a:lnTo>
                    <a:pt x="67" y="89"/>
                  </a:lnTo>
                  <a:lnTo>
                    <a:pt x="68" y="90"/>
                  </a:lnTo>
                  <a:lnTo>
                    <a:pt x="69" y="90"/>
                  </a:lnTo>
                  <a:lnTo>
                    <a:pt x="69" y="89"/>
                  </a:lnTo>
                  <a:lnTo>
                    <a:pt x="68" y="89"/>
                  </a:lnTo>
                  <a:lnTo>
                    <a:pt x="68" y="88"/>
                  </a:lnTo>
                  <a:lnTo>
                    <a:pt x="67" y="88"/>
                  </a:lnTo>
                  <a:lnTo>
                    <a:pt x="67" y="87"/>
                  </a:lnTo>
                  <a:lnTo>
                    <a:pt x="67" y="86"/>
                  </a:lnTo>
                  <a:lnTo>
                    <a:pt x="68" y="86"/>
                  </a:lnTo>
                  <a:lnTo>
                    <a:pt x="69" y="86"/>
                  </a:lnTo>
                  <a:lnTo>
                    <a:pt x="70" y="86"/>
                  </a:lnTo>
                  <a:lnTo>
                    <a:pt x="70" y="87"/>
                  </a:lnTo>
                  <a:lnTo>
                    <a:pt x="72" y="87"/>
                  </a:lnTo>
                  <a:lnTo>
                    <a:pt x="73" y="87"/>
                  </a:lnTo>
                  <a:lnTo>
                    <a:pt x="74" y="87"/>
                  </a:lnTo>
                  <a:lnTo>
                    <a:pt x="75" y="87"/>
                  </a:lnTo>
                  <a:lnTo>
                    <a:pt x="75" y="86"/>
                  </a:lnTo>
                  <a:lnTo>
                    <a:pt x="74" y="86"/>
                  </a:lnTo>
                  <a:lnTo>
                    <a:pt x="74" y="84"/>
                  </a:lnTo>
                  <a:lnTo>
                    <a:pt x="73" y="84"/>
                  </a:lnTo>
                  <a:lnTo>
                    <a:pt x="72" y="84"/>
                  </a:lnTo>
                  <a:lnTo>
                    <a:pt x="72" y="83"/>
                  </a:lnTo>
                  <a:lnTo>
                    <a:pt x="70" y="83"/>
                  </a:lnTo>
                  <a:lnTo>
                    <a:pt x="69" y="83"/>
                  </a:lnTo>
                  <a:lnTo>
                    <a:pt x="68" y="83"/>
                  </a:lnTo>
                  <a:lnTo>
                    <a:pt x="67" y="83"/>
                  </a:lnTo>
                  <a:lnTo>
                    <a:pt x="67" y="82"/>
                  </a:lnTo>
                  <a:lnTo>
                    <a:pt x="67" y="81"/>
                  </a:lnTo>
                  <a:lnTo>
                    <a:pt x="65" y="81"/>
                  </a:lnTo>
                  <a:lnTo>
                    <a:pt x="64" y="81"/>
                  </a:lnTo>
                  <a:lnTo>
                    <a:pt x="64" y="80"/>
                  </a:lnTo>
                  <a:lnTo>
                    <a:pt x="64" y="78"/>
                  </a:lnTo>
                  <a:lnTo>
                    <a:pt x="64" y="77"/>
                  </a:lnTo>
                  <a:lnTo>
                    <a:pt x="63" y="77"/>
                  </a:lnTo>
                  <a:lnTo>
                    <a:pt x="62" y="77"/>
                  </a:lnTo>
                  <a:lnTo>
                    <a:pt x="63" y="76"/>
                  </a:lnTo>
                  <a:lnTo>
                    <a:pt x="64" y="76"/>
                  </a:lnTo>
                  <a:lnTo>
                    <a:pt x="65" y="76"/>
                  </a:lnTo>
                  <a:lnTo>
                    <a:pt x="67" y="76"/>
                  </a:lnTo>
                  <a:lnTo>
                    <a:pt x="67" y="77"/>
                  </a:lnTo>
                  <a:lnTo>
                    <a:pt x="67" y="76"/>
                  </a:lnTo>
                  <a:lnTo>
                    <a:pt x="67" y="75"/>
                  </a:lnTo>
                  <a:lnTo>
                    <a:pt x="67" y="74"/>
                  </a:lnTo>
                  <a:lnTo>
                    <a:pt x="68" y="74"/>
                  </a:lnTo>
                  <a:lnTo>
                    <a:pt x="68" y="75"/>
                  </a:lnTo>
                  <a:lnTo>
                    <a:pt x="68" y="76"/>
                  </a:lnTo>
                  <a:lnTo>
                    <a:pt x="69" y="76"/>
                  </a:lnTo>
                  <a:lnTo>
                    <a:pt x="69" y="75"/>
                  </a:lnTo>
                  <a:lnTo>
                    <a:pt x="70" y="76"/>
                  </a:lnTo>
                  <a:lnTo>
                    <a:pt x="69" y="76"/>
                  </a:lnTo>
                  <a:lnTo>
                    <a:pt x="69" y="77"/>
                  </a:lnTo>
                  <a:lnTo>
                    <a:pt x="70" y="77"/>
                  </a:lnTo>
                  <a:lnTo>
                    <a:pt x="70" y="78"/>
                  </a:lnTo>
                  <a:lnTo>
                    <a:pt x="72" y="77"/>
                  </a:lnTo>
                  <a:lnTo>
                    <a:pt x="73" y="77"/>
                  </a:lnTo>
                  <a:lnTo>
                    <a:pt x="74" y="77"/>
                  </a:lnTo>
                  <a:lnTo>
                    <a:pt x="75" y="77"/>
                  </a:lnTo>
                  <a:lnTo>
                    <a:pt x="75" y="78"/>
                  </a:lnTo>
                  <a:lnTo>
                    <a:pt x="76" y="78"/>
                  </a:lnTo>
                  <a:lnTo>
                    <a:pt x="76" y="80"/>
                  </a:lnTo>
                  <a:lnTo>
                    <a:pt x="76" y="78"/>
                  </a:lnTo>
                  <a:lnTo>
                    <a:pt x="76" y="77"/>
                  </a:lnTo>
                  <a:lnTo>
                    <a:pt x="75" y="77"/>
                  </a:lnTo>
                  <a:lnTo>
                    <a:pt x="75" y="76"/>
                  </a:lnTo>
                  <a:lnTo>
                    <a:pt x="75" y="75"/>
                  </a:lnTo>
                  <a:lnTo>
                    <a:pt x="76" y="75"/>
                  </a:lnTo>
                  <a:lnTo>
                    <a:pt x="76" y="76"/>
                  </a:lnTo>
                  <a:lnTo>
                    <a:pt x="78" y="76"/>
                  </a:lnTo>
                  <a:lnTo>
                    <a:pt x="78" y="75"/>
                  </a:lnTo>
                  <a:lnTo>
                    <a:pt x="78" y="74"/>
                  </a:lnTo>
                  <a:lnTo>
                    <a:pt x="76" y="74"/>
                  </a:lnTo>
                  <a:lnTo>
                    <a:pt x="76" y="72"/>
                  </a:lnTo>
                  <a:lnTo>
                    <a:pt x="78" y="72"/>
                  </a:lnTo>
                  <a:lnTo>
                    <a:pt x="79" y="72"/>
                  </a:lnTo>
                  <a:lnTo>
                    <a:pt x="80" y="72"/>
                  </a:lnTo>
                  <a:lnTo>
                    <a:pt x="80" y="74"/>
                  </a:lnTo>
                  <a:lnTo>
                    <a:pt x="81" y="74"/>
                  </a:lnTo>
                  <a:lnTo>
                    <a:pt x="81" y="72"/>
                  </a:lnTo>
                  <a:lnTo>
                    <a:pt x="81" y="71"/>
                  </a:lnTo>
                  <a:lnTo>
                    <a:pt x="82" y="71"/>
                  </a:lnTo>
                  <a:lnTo>
                    <a:pt x="81" y="71"/>
                  </a:lnTo>
                  <a:lnTo>
                    <a:pt x="81" y="70"/>
                  </a:lnTo>
                  <a:lnTo>
                    <a:pt x="81" y="69"/>
                  </a:lnTo>
                  <a:lnTo>
                    <a:pt x="82" y="69"/>
                  </a:lnTo>
                  <a:lnTo>
                    <a:pt x="82" y="70"/>
                  </a:lnTo>
                  <a:lnTo>
                    <a:pt x="84" y="70"/>
                  </a:lnTo>
                  <a:lnTo>
                    <a:pt x="84" y="69"/>
                  </a:lnTo>
                  <a:lnTo>
                    <a:pt x="85" y="69"/>
                  </a:lnTo>
                  <a:lnTo>
                    <a:pt x="85" y="68"/>
                  </a:lnTo>
                  <a:lnTo>
                    <a:pt x="85" y="69"/>
                  </a:lnTo>
                  <a:lnTo>
                    <a:pt x="85" y="68"/>
                  </a:lnTo>
                  <a:lnTo>
                    <a:pt x="85" y="66"/>
                  </a:lnTo>
                  <a:lnTo>
                    <a:pt x="84" y="65"/>
                  </a:lnTo>
                  <a:lnTo>
                    <a:pt x="84" y="64"/>
                  </a:lnTo>
                  <a:lnTo>
                    <a:pt x="82" y="64"/>
                  </a:lnTo>
                  <a:lnTo>
                    <a:pt x="84" y="64"/>
                  </a:lnTo>
                  <a:lnTo>
                    <a:pt x="82" y="63"/>
                  </a:lnTo>
                  <a:lnTo>
                    <a:pt x="82" y="64"/>
                  </a:lnTo>
                  <a:lnTo>
                    <a:pt x="81" y="64"/>
                  </a:lnTo>
                  <a:lnTo>
                    <a:pt x="81" y="63"/>
                  </a:lnTo>
                  <a:lnTo>
                    <a:pt x="80" y="63"/>
                  </a:lnTo>
                  <a:lnTo>
                    <a:pt x="80" y="62"/>
                  </a:lnTo>
                  <a:lnTo>
                    <a:pt x="79" y="62"/>
                  </a:lnTo>
                  <a:lnTo>
                    <a:pt x="80" y="62"/>
                  </a:lnTo>
                  <a:lnTo>
                    <a:pt x="80" y="60"/>
                  </a:lnTo>
                  <a:lnTo>
                    <a:pt x="81" y="60"/>
                  </a:lnTo>
                  <a:lnTo>
                    <a:pt x="81" y="59"/>
                  </a:lnTo>
                  <a:lnTo>
                    <a:pt x="80" y="59"/>
                  </a:lnTo>
                  <a:lnTo>
                    <a:pt x="79" y="59"/>
                  </a:lnTo>
                  <a:lnTo>
                    <a:pt x="79" y="58"/>
                  </a:lnTo>
                  <a:lnTo>
                    <a:pt x="78" y="58"/>
                  </a:lnTo>
                  <a:lnTo>
                    <a:pt x="78" y="57"/>
                  </a:lnTo>
                  <a:lnTo>
                    <a:pt x="76" y="57"/>
                  </a:lnTo>
                  <a:lnTo>
                    <a:pt x="78" y="57"/>
                  </a:lnTo>
                  <a:lnTo>
                    <a:pt x="78" y="56"/>
                  </a:lnTo>
                  <a:lnTo>
                    <a:pt x="78" y="54"/>
                  </a:lnTo>
                  <a:lnTo>
                    <a:pt x="78" y="53"/>
                  </a:lnTo>
                  <a:lnTo>
                    <a:pt x="78" y="52"/>
                  </a:lnTo>
                  <a:lnTo>
                    <a:pt x="79" y="52"/>
                  </a:lnTo>
                  <a:lnTo>
                    <a:pt x="79" y="53"/>
                  </a:lnTo>
                  <a:lnTo>
                    <a:pt x="80" y="53"/>
                  </a:lnTo>
                  <a:lnTo>
                    <a:pt x="80" y="52"/>
                  </a:lnTo>
                  <a:lnTo>
                    <a:pt x="81" y="52"/>
                  </a:lnTo>
                  <a:lnTo>
                    <a:pt x="82" y="52"/>
                  </a:lnTo>
                  <a:lnTo>
                    <a:pt x="82" y="53"/>
                  </a:lnTo>
                  <a:lnTo>
                    <a:pt x="84" y="54"/>
                  </a:lnTo>
                  <a:lnTo>
                    <a:pt x="84" y="56"/>
                  </a:lnTo>
                  <a:lnTo>
                    <a:pt x="85" y="56"/>
                  </a:lnTo>
                  <a:lnTo>
                    <a:pt x="86" y="56"/>
                  </a:lnTo>
                  <a:lnTo>
                    <a:pt x="85" y="54"/>
                  </a:lnTo>
                  <a:lnTo>
                    <a:pt x="86" y="54"/>
                  </a:lnTo>
                  <a:lnTo>
                    <a:pt x="86" y="56"/>
                  </a:lnTo>
                  <a:lnTo>
                    <a:pt x="87" y="56"/>
                  </a:lnTo>
                  <a:lnTo>
                    <a:pt x="88" y="56"/>
                  </a:lnTo>
                  <a:lnTo>
                    <a:pt x="88" y="54"/>
                  </a:lnTo>
                  <a:lnTo>
                    <a:pt x="87" y="53"/>
                  </a:lnTo>
                  <a:lnTo>
                    <a:pt x="87" y="52"/>
                  </a:lnTo>
                  <a:lnTo>
                    <a:pt x="87" y="51"/>
                  </a:lnTo>
                  <a:lnTo>
                    <a:pt x="87" y="50"/>
                  </a:lnTo>
                  <a:lnTo>
                    <a:pt x="88" y="50"/>
                  </a:lnTo>
                  <a:lnTo>
                    <a:pt x="88" y="48"/>
                  </a:lnTo>
                  <a:lnTo>
                    <a:pt x="88" y="47"/>
                  </a:lnTo>
                  <a:lnTo>
                    <a:pt x="90" y="47"/>
                  </a:lnTo>
                  <a:lnTo>
                    <a:pt x="90" y="48"/>
                  </a:lnTo>
                  <a:lnTo>
                    <a:pt x="91" y="48"/>
                  </a:lnTo>
                  <a:lnTo>
                    <a:pt x="91" y="50"/>
                  </a:lnTo>
                  <a:lnTo>
                    <a:pt x="91" y="48"/>
                  </a:lnTo>
                  <a:lnTo>
                    <a:pt x="91" y="47"/>
                  </a:lnTo>
                  <a:lnTo>
                    <a:pt x="92" y="47"/>
                  </a:lnTo>
                  <a:lnTo>
                    <a:pt x="92" y="48"/>
                  </a:lnTo>
                  <a:lnTo>
                    <a:pt x="93" y="48"/>
                  </a:lnTo>
                  <a:lnTo>
                    <a:pt x="93" y="50"/>
                  </a:lnTo>
                  <a:lnTo>
                    <a:pt x="93" y="51"/>
                  </a:lnTo>
                  <a:lnTo>
                    <a:pt x="93" y="52"/>
                  </a:lnTo>
                  <a:lnTo>
                    <a:pt x="93" y="53"/>
                  </a:lnTo>
                  <a:lnTo>
                    <a:pt x="93" y="54"/>
                  </a:lnTo>
                  <a:lnTo>
                    <a:pt x="94" y="54"/>
                  </a:lnTo>
                  <a:lnTo>
                    <a:pt x="96" y="54"/>
                  </a:lnTo>
                  <a:lnTo>
                    <a:pt x="97" y="54"/>
                  </a:lnTo>
                  <a:lnTo>
                    <a:pt x="96" y="53"/>
                  </a:lnTo>
                  <a:lnTo>
                    <a:pt x="96" y="52"/>
                  </a:lnTo>
                  <a:lnTo>
                    <a:pt x="96" y="51"/>
                  </a:lnTo>
                  <a:lnTo>
                    <a:pt x="96" y="50"/>
                  </a:lnTo>
                  <a:lnTo>
                    <a:pt x="97" y="50"/>
                  </a:lnTo>
                  <a:lnTo>
                    <a:pt x="97" y="51"/>
                  </a:lnTo>
                  <a:lnTo>
                    <a:pt x="98" y="51"/>
                  </a:lnTo>
                  <a:lnTo>
                    <a:pt x="99" y="51"/>
                  </a:lnTo>
                  <a:lnTo>
                    <a:pt x="99" y="52"/>
                  </a:lnTo>
                  <a:lnTo>
                    <a:pt x="100" y="52"/>
                  </a:lnTo>
                  <a:lnTo>
                    <a:pt x="102" y="52"/>
                  </a:lnTo>
                  <a:lnTo>
                    <a:pt x="102" y="53"/>
                  </a:lnTo>
                  <a:lnTo>
                    <a:pt x="102" y="54"/>
                  </a:lnTo>
                  <a:lnTo>
                    <a:pt x="102" y="56"/>
                  </a:lnTo>
                  <a:lnTo>
                    <a:pt x="102" y="57"/>
                  </a:lnTo>
                  <a:lnTo>
                    <a:pt x="102" y="58"/>
                  </a:lnTo>
                  <a:lnTo>
                    <a:pt x="103" y="59"/>
                  </a:lnTo>
                  <a:lnTo>
                    <a:pt x="104" y="59"/>
                  </a:lnTo>
                  <a:lnTo>
                    <a:pt x="104" y="58"/>
                  </a:lnTo>
                  <a:lnTo>
                    <a:pt x="103" y="58"/>
                  </a:lnTo>
                  <a:lnTo>
                    <a:pt x="103" y="57"/>
                  </a:lnTo>
                  <a:lnTo>
                    <a:pt x="104" y="57"/>
                  </a:lnTo>
                  <a:lnTo>
                    <a:pt x="104" y="56"/>
                  </a:lnTo>
                  <a:lnTo>
                    <a:pt x="104" y="54"/>
                  </a:lnTo>
                  <a:lnTo>
                    <a:pt x="103" y="54"/>
                  </a:lnTo>
                  <a:lnTo>
                    <a:pt x="103" y="53"/>
                  </a:lnTo>
                  <a:lnTo>
                    <a:pt x="104" y="53"/>
                  </a:lnTo>
                  <a:lnTo>
                    <a:pt x="105" y="53"/>
                  </a:lnTo>
                  <a:lnTo>
                    <a:pt x="105" y="52"/>
                  </a:lnTo>
                  <a:lnTo>
                    <a:pt x="106" y="52"/>
                  </a:lnTo>
                  <a:lnTo>
                    <a:pt x="105" y="51"/>
                  </a:lnTo>
                  <a:lnTo>
                    <a:pt x="106" y="51"/>
                  </a:lnTo>
                  <a:lnTo>
                    <a:pt x="108" y="51"/>
                  </a:lnTo>
                  <a:lnTo>
                    <a:pt x="109" y="51"/>
                  </a:lnTo>
                  <a:lnTo>
                    <a:pt x="110" y="51"/>
                  </a:lnTo>
                  <a:lnTo>
                    <a:pt x="110" y="52"/>
                  </a:lnTo>
                  <a:lnTo>
                    <a:pt x="110" y="53"/>
                  </a:lnTo>
                  <a:lnTo>
                    <a:pt x="110" y="52"/>
                  </a:lnTo>
                  <a:lnTo>
                    <a:pt x="111" y="52"/>
                  </a:lnTo>
                  <a:lnTo>
                    <a:pt x="111" y="53"/>
                  </a:lnTo>
                  <a:lnTo>
                    <a:pt x="112" y="53"/>
                  </a:lnTo>
                  <a:lnTo>
                    <a:pt x="112" y="54"/>
                  </a:lnTo>
                  <a:lnTo>
                    <a:pt x="114" y="54"/>
                  </a:lnTo>
                  <a:lnTo>
                    <a:pt x="114" y="56"/>
                  </a:lnTo>
                  <a:lnTo>
                    <a:pt x="115" y="56"/>
                  </a:lnTo>
                  <a:lnTo>
                    <a:pt x="114" y="57"/>
                  </a:lnTo>
                  <a:lnTo>
                    <a:pt x="112" y="57"/>
                  </a:lnTo>
                  <a:lnTo>
                    <a:pt x="112" y="58"/>
                  </a:lnTo>
                  <a:lnTo>
                    <a:pt x="112" y="59"/>
                  </a:lnTo>
                  <a:lnTo>
                    <a:pt x="112" y="60"/>
                  </a:lnTo>
                  <a:lnTo>
                    <a:pt x="114" y="60"/>
                  </a:lnTo>
                  <a:lnTo>
                    <a:pt x="114" y="62"/>
                  </a:lnTo>
                  <a:lnTo>
                    <a:pt x="115" y="62"/>
                  </a:lnTo>
                  <a:lnTo>
                    <a:pt x="114" y="62"/>
                  </a:lnTo>
                  <a:lnTo>
                    <a:pt x="114" y="60"/>
                  </a:lnTo>
                  <a:lnTo>
                    <a:pt x="115" y="60"/>
                  </a:lnTo>
                  <a:lnTo>
                    <a:pt x="115" y="59"/>
                  </a:lnTo>
                  <a:lnTo>
                    <a:pt x="116" y="59"/>
                  </a:lnTo>
                  <a:lnTo>
                    <a:pt x="116" y="58"/>
                  </a:lnTo>
                  <a:lnTo>
                    <a:pt x="117" y="58"/>
                  </a:lnTo>
                  <a:lnTo>
                    <a:pt x="117" y="57"/>
                  </a:lnTo>
                  <a:lnTo>
                    <a:pt x="118" y="57"/>
                  </a:lnTo>
                  <a:lnTo>
                    <a:pt x="120" y="57"/>
                  </a:lnTo>
                  <a:lnTo>
                    <a:pt x="120" y="58"/>
                  </a:lnTo>
                  <a:lnTo>
                    <a:pt x="120" y="59"/>
                  </a:lnTo>
                  <a:lnTo>
                    <a:pt x="121" y="59"/>
                  </a:lnTo>
                  <a:lnTo>
                    <a:pt x="121" y="58"/>
                  </a:lnTo>
                  <a:lnTo>
                    <a:pt x="120" y="58"/>
                  </a:lnTo>
                  <a:lnTo>
                    <a:pt x="121" y="58"/>
                  </a:lnTo>
                  <a:lnTo>
                    <a:pt x="122" y="58"/>
                  </a:lnTo>
                  <a:lnTo>
                    <a:pt x="122" y="59"/>
                  </a:lnTo>
                  <a:lnTo>
                    <a:pt x="122" y="60"/>
                  </a:lnTo>
                  <a:lnTo>
                    <a:pt x="121" y="60"/>
                  </a:lnTo>
                  <a:lnTo>
                    <a:pt x="122" y="60"/>
                  </a:lnTo>
                  <a:lnTo>
                    <a:pt x="121" y="60"/>
                  </a:lnTo>
                  <a:lnTo>
                    <a:pt x="121" y="62"/>
                  </a:lnTo>
                  <a:lnTo>
                    <a:pt x="121" y="63"/>
                  </a:lnTo>
                  <a:lnTo>
                    <a:pt x="122" y="63"/>
                  </a:lnTo>
                  <a:lnTo>
                    <a:pt x="122" y="64"/>
                  </a:lnTo>
                  <a:lnTo>
                    <a:pt x="122" y="63"/>
                  </a:lnTo>
                  <a:lnTo>
                    <a:pt x="122" y="62"/>
                  </a:lnTo>
                  <a:lnTo>
                    <a:pt x="123" y="62"/>
                  </a:lnTo>
                  <a:lnTo>
                    <a:pt x="123" y="63"/>
                  </a:lnTo>
                  <a:lnTo>
                    <a:pt x="123" y="64"/>
                  </a:lnTo>
                  <a:lnTo>
                    <a:pt x="124" y="64"/>
                  </a:lnTo>
                  <a:lnTo>
                    <a:pt x="124" y="63"/>
                  </a:lnTo>
                  <a:lnTo>
                    <a:pt x="124" y="62"/>
                  </a:lnTo>
                  <a:lnTo>
                    <a:pt x="126" y="62"/>
                  </a:lnTo>
                  <a:lnTo>
                    <a:pt x="126" y="63"/>
                  </a:lnTo>
                  <a:lnTo>
                    <a:pt x="126" y="64"/>
                  </a:lnTo>
                  <a:lnTo>
                    <a:pt x="127" y="63"/>
                  </a:lnTo>
                  <a:lnTo>
                    <a:pt x="127" y="62"/>
                  </a:lnTo>
                  <a:lnTo>
                    <a:pt x="127" y="63"/>
                  </a:lnTo>
                  <a:lnTo>
                    <a:pt x="128" y="63"/>
                  </a:lnTo>
                  <a:lnTo>
                    <a:pt x="128" y="64"/>
                  </a:lnTo>
                  <a:lnTo>
                    <a:pt x="127" y="64"/>
                  </a:lnTo>
                  <a:lnTo>
                    <a:pt x="127" y="65"/>
                  </a:lnTo>
                  <a:lnTo>
                    <a:pt x="126" y="65"/>
                  </a:lnTo>
                  <a:lnTo>
                    <a:pt x="126" y="64"/>
                  </a:lnTo>
                  <a:lnTo>
                    <a:pt x="124" y="64"/>
                  </a:lnTo>
                  <a:lnTo>
                    <a:pt x="124" y="65"/>
                  </a:lnTo>
                  <a:lnTo>
                    <a:pt x="126" y="65"/>
                  </a:lnTo>
                  <a:lnTo>
                    <a:pt x="127" y="65"/>
                  </a:lnTo>
                  <a:lnTo>
                    <a:pt x="127" y="66"/>
                  </a:lnTo>
                  <a:lnTo>
                    <a:pt x="128" y="66"/>
                  </a:lnTo>
                  <a:lnTo>
                    <a:pt x="128" y="65"/>
                  </a:lnTo>
                  <a:lnTo>
                    <a:pt x="129" y="65"/>
                  </a:lnTo>
                  <a:lnTo>
                    <a:pt x="129" y="64"/>
                  </a:lnTo>
                  <a:lnTo>
                    <a:pt x="129" y="63"/>
                  </a:lnTo>
                  <a:lnTo>
                    <a:pt x="128" y="63"/>
                  </a:lnTo>
                  <a:lnTo>
                    <a:pt x="128" y="62"/>
                  </a:lnTo>
                  <a:lnTo>
                    <a:pt x="128" y="60"/>
                  </a:lnTo>
                  <a:lnTo>
                    <a:pt x="127" y="60"/>
                  </a:lnTo>
                  <a:lnTo>
                    <a:pt x="127" y="59"/>
                  </a:lnTo>
                  <a:lnTo>
                    <a:pt x="128" y="59"/>
                  </a:lnTo>
                  <a:lnTo>
                    <a:pt x="128" y="60"/>
                  </a:lnTo>
                  <a:lnTo>
                    <a:pt x="129" y="59"/>
                  </a:lnTo>
                  <a:lnTo>
                    <a:pt x="131" y="59"/>
                  </a:lnTo>
                  <a:lnTo>
                    <a:pt x="131" y="60"/>
                  </a:lnTo>
                  <a:lnTo>
                    <a:pt x="131" y="59"/>
                  </a:lnTo>
                  <a:lnTo>
                    <a:pt x="132" y="59"/>
                  </a:lnTo>
                  <a:lnTo>
                    <a:pt x="132" y="60"/>
                  </a:lnTo>
                  <a:lnTo>
                    <a:pt x="131" y="60"/>
                  </a:lnTo>
                  <a:lnTo>
                    <a:pt x="131" y="62"/>
                  </a:lnTo>
                  <a:lnTo>
                    <a:pt x="131" y="63"/>
                  </a:lnTo>
                  <a:lnTo>
                    <a:pt x="129" y="63"/>
                  </a:lnTo>
                  <a:lnTo>
                    <a:pt x="129" y="64"/>
                  </a:lnTo>
                  <a:lnTo>
                    <a:pt x="129" y="65"/>
                  </a:lnTo>
                  <a:lnTo>
                    <a:pt x="129" y="66"/>
                  </a:lnTo>
                  <a:lnTo>
                    <a:pt x="131" y="66"/>
                  </a:lnTo>
                  <a:lnTo>
                    <a:pt x="131" y="65"/>
                  </a:lnTo>
                  <a:lnTo>
                    <a:pt x="132" y="65"/>
                  </a:lnTo>
                  <a:lnTo>
                    <a:pt x="133" y="65"/>
                  </a:lnTo>
                  <a:lnTo>
                    <a:pt x="134" y="65"/>
                  </a:lnTo>
                  <a:lnTo>
                    <a:pt x="135" y="65"/>
                  </a:lnTo>
                  <a:lnTo>
                    <a:pt x="137" y="66"/>
                  </a:lnTo>
                  <a:lnTo>
                    <a:pt x="137" y="65"/>
                  </a:lnTo>
                  <a:lnTo>
                    <a:pt x="138" y="66"/>
                  </a:lnTo>
                  <a:lnTo>
                    <a:pt x="138" y="65"/>
                  </a:lnTo>
                  <a:lnTo>
                    <a:pt x="139" y="65"/>
                  </a:lnTo>
                  <a:lnTo>
                    <a:pt x="139" y="66"/>
                  </a:lnTo>
                  <a:lnTo>
                    <a:pt x="139" y="65"/>
                  </a:lnTo>
                  <a:lnTo>
                    <a:pt x="139" y="66"/>
                  </a:lnTo>
                  <a:lnTo>
                    <a:pt x="139" y="65"/>
                  </a:lnTo>
                  <a:lnTo>
                    <a:pt x="140" y="65"/>
                  </a:lnTo>
                  <a:lnTo>
                    <a:pt x="140" y="66"/>
                  </a:lnTo>
                  <a:lnTo>
                    <a:pt x="140" y="68"/>
                  </a:lnTo>
                  <a:lnTo>
                    <a:pt x="139" y="68"/>
                  </a:lnTo>
                  <a:lnTo>
                    <a:pt x="139" y="69"/>
                  </a:lnTo>
                  <a:lnTo>
                    <a:pt x="138" y="69"/>
                  </a:lnTo>
                  <a:lnTo>
                    <a:pt x="138" y="70"/>
                  </a:lnTo>
                  <a:lnTo>
                    <a:pt x="139" y="70"/>
                  </a:lnTo>
                  <a:lnTo>
                    <a:pt x="138" y="71"/>
                  </a:lnTo>
                  <a:lnTo>
                    <a:pt x="138" y="72"/>
                  </a:lnTo>
                  <a:lnTo>
                    <a:pt x="138" y="71"/>
                  </a:lnTo>
                  <a:lnTo>
                    <a:pt x="139" y="70"/>
                  </a:lnTo>
                  <a:lnTo>
                    <a:pt x="139" y="71"/>
                  </a:lnTo>
                  <a:lnTo>
                    <a:pt x="140" y="70"/>
                  </a:lnTo>
                  <a:lnTo>
                    <a:pt x="139" y="70"/>
                  </a:lnTo>
                  <a:lnTo>
                    <a:pt x="140" y="70"/>
                  </a:lnTo>
                  <a:lnTo>
                    <a:pt x="140" y="71"/>
                  </a:lnTo>
                  <a:lnTo>
                    <a:pt x="140" y="72"/>
                  </a:lnTo>
                  <a:lnTo>
                    <a:pt x="141" y="72"/>
                  </a:lnTo>
                  <a:lnTo>
                    <a:pt x="141" y="71"/>
                  </a:lnTo>
                  <a:lnTo>
                    <a:pt x="143" y="70"/>
                  </a:lnTo>
                  <a:lnTo>
                    <a:pt x="143" y="71"/>
                  </a:lnTo>
                  <a:lnTo>
                    <a:pt x="144" y="71"/>
                  </a:lnTo>
                  <a:lnTo>
                    <a:pt x="145" y="71"/>
                  </a:lnTo>
                  <a:lnTo>
                    <a:pt x="145" y="72"/>
                  </a:lnTo>
                  <a:lnTo>
                    <a:pt x="146" y="71"/>
                  </a:lnTo>
                  <a:lnTo>
                    <a:pt x="147" y="71"/>
                  </a:lnTo>
                  <a:lnTo>
                    <a:pt x="147" y="72"/>
                  </a:lnTo>
                  <a:lnTo>
                    <a:pt x="147" y="74"/>
                  </a:lnTo>
                  <a:lnTo>
                    <a:pt x="149" y="74"/>
                  </a:lnTo>
                  <a:lnTo>
                    <a:pt x="150" y="74"/>
                  </a:lnTo>
                  <a:lnTo>
                    <a:pt x="151" y="74"/>
                  </a:lnTo>
                  <a:lnTo>
                    <a:pt x="151" y="75"/>
                  </a:lnTo>
                  <a:lnTo>
                    <a:pt x="152" y="75"/>
                  </a:lnTo>
                  <a:lnTo>
                    <a:pt x="151" y="75"/>
                  </a:lnTo>
                  <a:lnTo>
                    <a:pt x="151" y="74"/>
                  </a:lnTo>
                  <a:lnTo>
                    <a:pt x="152" y="74"/>
                  </a:lnTo>
                  <a:lnTo>
                    <a:pt x="152" y="75"/>
                  </a:lnTo>
                  <a:lnTo>
                    <a:pt x="152" y="74"/>
                  </a:lnTo>
                  <a:lnTo>
                    <a:pt x="153" y="75"/>
                  </a:lnTo>
                  <a:lnTo>
                    <a:pt x="152" y="75"/>
                  </a:lnTo>
                  <a:lnTo>
                    <a:pt x="151" y="75"/>
                  </a:lnTo>
                  <a:lnTo>
                    <a:pt x="152" y="75"/>
                  </a:lnTo>
                  <a:lnTo>
                    <a:pt x="152" y="76"/>
                  </a:lnTo>
                  <a:lnTo>
                    <a:pt x="153" y="76"/>
                  </a:lnTo>
                  <a:lnTo>
                    <a:pt x="153" y="75"/>
                  </a:lnTo>
                  <a:lnTo>
                    <a:pt x="153" y="74"/>
                  </a:lnTo>
                  <a:lnTo>
                    <a:pt x="153" y="75"/>
                  </a:lnTo>
                  <a:lnTo>
                    <a:pt x="155" y="75"/>
                  </a:lnTo>
                  <a:lnTo>
                    <a:pt x="153" y="76"/>
                  </a:lnTo>
                  <a:lnTo>
                    <a:pt x="155" y="76"/>
                  </a:lnTo>
                  <a:lnTo>
                    <a:pt x="155" y="77"/>
                  </a:lnTo>
                  <a:lnTo>
                    <a:pt x="155" y="76"/>
                  </a:lnTo>
                  <a:lnTo>
                    <a:pt x="156" y="76"/>
                  </a:lnTo>
                  <a:lnTo>
                    <a:pt x="157" y="76"/>
                  </a:lnTo>
                  <a:lnTo>
                    <a:pt x="158" y="76"/>
                  </a:lnTo>
                  <a:lnTo>
                    <a:pt x="158" y="77"/>
                  </a:lnTo>
                  <a:lnTo>
                    <a:pt x="158" y="78"/>
                  </a:lnTo>
                  <a:lnTo>
                    <a:pt x="158" y="77"/>
                  </a:lnTo>
                  <a:lnTo>
                    <a:pt x="159" y="77"/>
                  </a:lnTo>
                  <a:lnTo>
                    <a:pt x="159" y="78"/>
                  </a:lnTo>
                  <a:lnTo>
                    <a:pt x="159" y="80"/>
                  </a:lnTo>
                  <a:lnTo>
                    <a:pt x="161" y="80"/>
                  </a:lnTo>
                  <a:lnTo>
                    <a:pt x="159" y="80"/>
                  </a:lnTo>
                  <a:lnTo>
                    <a:pt x="161" y="80"/>
                  </a:lnTo>
                  <a:lnTo>
                    <a:pt x="159" y="81"/>
                  </a:lnTo>
                  <a:lnTo>
                    <a:pt x="159" y="82"/>
                  </a:lnTo>
                  <a:lnTo>
                    <a:pt x="158" y="82"/>
                  </a:lnTo>
                  <a:lnTo>
                    <a:pt x="157" y="82"/>
                  </a:lnTo>
                  <a:lnTo>
                    <a:pt x="157" y="83"/>
                  </a:lnTo>
                  <a:lnTo>
                    <a:pt x="156" y="83"/>
                  </a:lnTo>
                  <a:lnTo>
                    <a:pt x="156" y="82"/>
                  </a:lnTo>
                  <a:lnTo>
                    <a:pt x="157" y="82"/>
                  </a:lnTo>
                  <a:lnTo>
                    <a:pt x="157" y="81"/>
                  </a:lnTo>
                  <a:lnTo>
                    <a:pt x="157" y="82"/>
                  </a:lnTo>
                  <a:lnTo>
                    <a:pt x="156" y="82"/>
                  </a:lnTo>
                  <a:lnTo>
                    <a:pt x="156" y="83"/>
                  </a:lnTo>
                  <a:lnTo>
                    <a:pt x="156" y="82"/>
                  </a:lnTo>
                  <a:lnTo>
                    <a:pt x="156" y="81"/>
                  </a:lnTo>
                  <a:lnTo>
                    <a:pt x="155" y="81"/>
                  </a:lnTo>
                  <a:lnTo>
                    <a:pt x="153" y="81"/>
                  </a:lnTo>
                  <a:lnTo>
                    <a:pt x="155" y="82"/>
                  </a:lnTo>
                  <a:lnTo>
                    <a:pt x="155" y="81"/>
                  </a:lnTo>
                  <a:lnTo>
                    <a:pt x="155" y="82"/>
                  </a:lnTo>
                  <a:lnTo>
                    <a:pt x="156" y="82"/>
                  </a:lnTo>
                  <a:lnTo>
                    <a:pt x="155" y="82"/>
                  </a:lnTo>
                  <a:lnTo>
                    <a:pt x="156" y="82"/>
                  </a:lnTo>
                  <a:lnTo>
                    <a:pt x="155" y="83"/>
                  </a:lnTo>
                  <a:lnTo>
                    <a:pt x="157" y="83"/>
                  </a:lnTo>
                  <a:lnTo>
                    <a:pt x="158" y="83"/>
                  </a:lnTo>
                  <a:lnTo>
                    <a:pt x="158" y="84"/>
                  </a:lnTo>
                  <a:lnTo>
                    <a:pt x="157" y="86"/>
                  </a:lnTo>
                  <a:lnTo>
                    <a:pt x="158" y="86"/>
                  </a:lnTo>
                  <a:lnTo>
                    <a:pt x="158" y="87"/>
                  </a:lnTo>
                  <a:lnTo>
                    <a:pt x="157" y="87"/>
                  </a:lnTo>
                  <a:lnTo>
                    <a:pt x="158" y="87"/>
                  </a:lnTo>
                  <a:lnTo>
                    <a:pt x="158" y="86"/>
                  </a:lnTo>
                  <a:lnTo>
                    <a:pt x="159" y="86"/>
                  </a:lnTo>
                  <a:lnTo>
                    <a:pt x="159" y="84"/>
                  </a:lnTo>
                  <a:lnTo>
                    <a:pt x="158" y="84"/>
                  </a:lnTo>
                  <a:lnTo>
                    <a:pt x="158" y="83"/>
                  </a:lnTo>
                  <a:lnTo>
                    <a:pt x="159" y="83"/>
                  </a:lnTo>
                  <a:lnTo>
                    <a:pt x="159" y="84"/>
                  </a:lnTo>
                  <a:lnTo>
                    <a:pt x="159" y="83"/>
                  </a:lnTo>
                  <a:lnTo>
                    <a:pt x="161" y="83"/>
                  </a:lnTo>
                  <a:lnTo>
                    <a:pt x="161" y="84"/>
                  </a:lnTo>
                  <a:lnTo>
                    <a:pt x="162" y="84"/>
                  </a:lnTo>
                  <a:lnTo>
                    <a:pt x="163" y="84"/>
                  </a:lnTo>
                  <a:lnTo>
                    <a:pt x="163" y="86"/>
                  </a:lnTo>
                  <a:lnTo>
                    <a:pt x="163" y="87"/>
                  </a:lnTo>
                  <a:lnTo>
                    <a:pt x="164" y="87"/>
                  </a:lnTo>
                  <a:lnTo>
                    <a:pt x="164" y="88"/>
                  </a:lnTo>
                  <a:lnTo>
                    <a:pt x="163" y="87"/>
                  </a:lnTo>
                  <a:lnTo>
                    <a:pt x="163" y="88"/>
                  </a:lnTo>
                  <a:lnTo>
                    <a:pt x="163" y="89"/>
                  </a:lnTo>
                  <a:lnTo>
                    <a:pt x="164" y="89"/>
                  </a:lnTo>
                  <a:lnTo>
                    <a:pt x="165" y="89"/>
                  </a:lnTo>
                  <a:lnTo>
                    <a:pt x="165" y="90"/>
                  </a:lnTo>
                  <a:lnTo>
                    <a:pt x="165" y="89"/>
                  </a:lnTo>
                  <a:lnTo>
                    <a:pt x="165" y="88"/>
                  </a:lnTo>
                  <a:lnTo>
                    <a:pt x="164" y="88"/>
                  </a:lnTo>
                  <a:lnTo>
                    <a:pt x="165" y="88"/>
                  </a:lnTo>
                  <a:lnTo>
                    <a:pt x="165" y="87"/>
                  </a:lnTo>
                  <a:lnTo>
                    <a:pt x="164" y="87"/>
                  </a:lnTo>
                  <a:lnTo>
                    <a:pt x="164" y="86"/>
                  </a:lnTo>
                  <a:lnTo>
                    <a:pt x="163" y="86"/>
                  </a:lnTo>
                  <a:lnTo>
                    <a:pt x="163" y="84"/>
                  </a:lnTo>
                  <a:lnTo>
                    <a:pt x="164" y="84"/>
                  </a:lnTo>
                  <a:lnTo>
                    <a:pt x="164" y="83"/>
                  </a:lnTo>
                  <a:lnTo>
                    <a:pt x="163" y="83"/>
                  </a:lnTo>
                  <a:lnTo>
                    <a:pt x="163" y="82"/>
                  </a:lnTo>
                  <a:lnTo>
                    <a:pt x="163" y="81"/>
                  </a:lnTo>
                  <a:lnTo>
                    <a:pt x="163" y="80"/>
                  </a:lnTo>
                  <a:lnTo>
                    <a:pt x="162" y="80"/>
                  </a:lnTo>
                  <a:lnTo>
                    <a:pt x="162" y="78"/>
                  </a:lnTo>
                  <a:lnTo>
                    <a:pt x="162" y="77"/>
                  </a:lnTo>
                  <a:lnTo>
                    <a:pt x="162" y="76"/>
                  </a:lnTo>
                  <a:lnTo>
                    <a:pt x="162" y="75"/>
                  </a:lnTo>
                  <a:lnTo>
                    <a:pt x="161" y="75"/>
                  </a:lnTo>
                  <a:lnTo>
                    <a:pt x="162" y="75"/>
                  </a:lnTo>
                  <a:lnTo>
                    <a:pt x="161" y="75"/>
                  </a:lnTo>
                  <a:lnTo>
                    <a:pt x="161" y="74"/>
                  </a:lnTo>
                  <a:lnTo>
                    <a:pt x="161" y="75"/>
                  </a:lnTo>
                  <a:lnTo>
                    <a:pt x="159" y="75"/>
                  </a:lnTo>
                  <a:lnTo>
                    <a:pt x="159" y="74"/>
                  </a:lnTo>
                  <a:lnTo>
                    <a:pt x="159" y="72"/>
                  </a:lnTo>
                  <a:lnTo>
                    <a:pt x="161" y="72"/>
                  </a:lnTo>
                  <a:lnTo>
                    <a:pt x="159" y="72"/>
                  </a:lnTo>
                  <a:lnTo>
                    <a:pt x="159" y="71"/>
                  </a:lnTo>
                  <a:lnTo>
                    <a:pt x="159" y="72"/>
                  </a:lnTo>
                  <a:lnTo>
                    <a:pt x="158" y="71"/>
                  </a:lnTo>
                  <a:lnTo>
                    <a:pt x="157" y="72"/>
                  </a:lnTo>
                  <a:lnTo>
                    <a:pt x="156" y="72"/>
                  </a:lnTo>
                  <a:lnTo>
                    <a:pt x="156" y="71"/>
                  </a:lnTo>
                  <a:lnTo>
                    <a:pt x="155" y="71"/>
                  </a:lnTo>
                  <a:lnTo>
                    <a:pt x="155" y="70"/>
                  </a:lnTo>
                  <a:lnTo>
                    <a:pt x="156" y="70"/>
                  </a:lnTo>
                  <a:lnTo>
                    <a:pt x="156" y="69"/>
                  </a:lnTo>
                  <a:lnTo>
                    <a:pt x="157" y="69"/>
                  </a:lnTo>
                  <a:lnTo>
                    <a:pt x="158" y="69"/>
                  </a:lnTo>
                  <a:lnTo>
                    <a:pt x="157" y="69"/>
                  </a:lnTo>
                  <a:lnTo>
                    <a:pt x="157" y="68"/>
                  </a:lnTo>
                  <a:lnTo>
                    <a:pt x="156" y="68"/>
                  </a:lnTo>
                  <a:lnTo>
                    <a:pt x="156" y="69"/>
                  </a:lnTo>
                  <a:lnTo>
                    <a:pt x="155" y="69"/>
                  </a:lnTo>
                  <a:lnTo>
                    <a:pt x="153" y="69"/>
                  </a:lnTo>
                  <a:lnTo>
                    <a:pt x="152" y="69"/>
                  </a:lnTo>
                  <a:lnTo>
                    <a:pt x="152" y="68"/>
                  </a:lnTo>
                  <a:lnTo>
                    <a:pt x="152" y="69"/>
                  </a:lnTo>
                  <a:lnTo>
                    <a:pt x="151" y="69"/>
                  </a:lnTo>
                  <a:lnTo>
                    <a:pt x="150" y="69"/>
                  </a:lnTo>
                  <a:lnTo>
                    <a:pt x="150" y="68"/>
                  </a:lnTo>
                  <a:lnTo>
                    <a:pt x="149" y="68"/>
                  </a:lnTo>
                  <a:lnTo>
                    <a:pt x="147" y="68"/>
                  </a:lnTo>
                  <a:lnTo>
                    <a:pt x="146" y="68"/>
                  </a:lnTo>
                  <a:lnTo>
                    <a:pt x="147" y="68"/>
                  </a:lnTo>
                  <a:lnTo>
                    <a:pt x="147" y="66"/>
                  </a:lnTo>
                  <a:lnTo>
                    <a:pt x="147" y="65"/>
                  </a:lnTo>
                  <a:lnTo>
                    <a:pt x="149" y="65"/>
                  </a:lnTo>
                  <a:lnTo>
                    <a:pt x="149" y="66"/>
                  </a:lnTo>
                  <a:lnTo>
                    <a:pt x="150" y="66"/>
                  </a:lnTo>
                  <a:lnTo>
                    <a:pt x="150" y="65"/>
                  </a:lnTo>
                  <a:lnTo>
                    <a:pt x="149" y="65"/>
                  </a:lnTo>
                  <a:lnTo>
                    <a:pt x="147" y="65"/>
                  </a:lnTo>
                  <a:lnTo>
                    <a:pt x="146" y="65"/>
                  </a:lnTo>
                  <a:lnTo>
                    <a:pt x="146" y="66"/>
                  </a:lnTo>
                  <a:lnTo>
                    <a:pt x="145" y="66"/>
                  </a:lnTo>
                  <a:lnTo>
                    <a:pt x="146" y="65"/>
                  </a:lnTo>
                  <a:lnTo>
                    <a:pt x="147" y="65"/>
                  </a:lnTo>
                  <a:lnTo>
                    <a:pt x="146" y="65"/>
                  </a:lnTo>
                  <a:lnTo>
                    <a:pt x="146" y="64"/>
                  </a:lnTo>
                  <a:lnTo>
                    <a:pt x="146" y="63"/>
                  </a:lnTo>
                  <a:lnTo>
                    <a:pt x="146" y="62"/>
                  </a:lnTo>
                  <a:lnTo>
                    <a:pt x="145" y="62"/>
                  </a:lnTo>
                  <a:lnTo>
                    <a:pt x="144" y="62"/>
                  </a:lnTo>
                  <a:lnTo>
                    <a:pt x="144" y="63"/>
                  </a:lnTo>
                  <a:lnTo>
                    <a:pt x="145" y="63"/>
                  </a:lnTo>
                  <a:lnTo>
                    <a:pt x="144" y="63"/>
                  </a:lnTo>
                  <a:lnTo>
                    <a:pt x="145" y="63"/>
                  </a:lnTo>
                  <a:lnTo>
                    <a:pt x="145" y="64"/>
                  </a:lnTo>
                  <a:lnTo>
                    <a:pt x="144" y="64"/>
                  </a:lnTo>
                  <a:lnTo>
                    <a:pt x="143" y="64"/>
                  </a:lnTo>
                  <a:lnTo>
                    <a:pt x="143" y="65"/>
                  </a:lnTo>
                  <a:lnTo>
                    <a:pt x="141" y="65"/>
                  </a:lnTo>
                  <a:lnTo>
                    <a:pt x="141" y="66"/>
                  </a:lnTo>
                  <a:lnTo>
                    <a:pt x="141" y="65"/>
                  </a:lnTo>
                  <a:lnTo>
                    <a:pt x="140" y="65"/>
                  </a:lnTo>
                  <a:lnTo>
                    <a:pt x="141" y="65"/>
                  </a:lnTo>
                  <a:lnTo>
                    <a:pt x="141" y="64"/>
                  </a:lnTo>
                  <a:lnTo>
                    <a:pt x="140" y="64"/>
                  </a:lnTo>
                  <a:lnTo>
                    <a:pt x="140" y="63"/>
                  </a:lnTo>
                  <a:lnTo>
                    <a:pt x="141" y="63"/>
                  </a:lnTo>
                  <a:lnTo>
                    <a:pt x="141" y="64"/>
                  </a:lnTo>
                  <a:lnTo>
                    <a:pt x="143" y="64"/>
                  </a:lnTo>
                  <a:lnTo>
                    <a:pt x="141" y="64"/>
                  </a:lnTo>
                  <a:lnTo>
                    <a:pt x="141" y="63"/>
                  </a:lnTo>
                  <a:lnTo>
                    <a:pt x="141" y="62"/>
                  </a:lnTo>
                  <a:lnTo>
                    <a:pt x="140" y="62"/>
                  </a:lnTo>
                  <a:lnTo>
                    <a:pt x="140" y="60"/>
                  </a:lnTo>
                  <a:lnTo>
                    <a:pt x="140" y="62"/>
                  </a:lnTo>
                  <a:lnTo>
                    <a:pt x="139" y="62"/>
                  </a:lnTo>
                  <a:lnTo>
                    <a:pt x="138" y="62"/>
                  </a:lnTo>
                  <a:lnTo>
                    <a:pt x="138" y="60"/>
                  </a:lnTo>
                  <a:lnTo>
                    <a:pt x="137" y="60"/>
                  </a:lnTo>
                  <a:lnTo>
                    <a:pt x="137" y="62"/>
                  </a:lnTo>
                  <a:lnTo>
                    <a:pt x="135" y="62"/>
                  </a:lnTo>
                  <a:lnTo>
                    <a:pt x="137" y="60"/>
                  </a:lnTo>
                  <a:lnTo>
                    <a:pt x="135" y="62"/>
                  </a:lnTo>
                  <a:lnTo>
                    <a:pt x="137" y="62"/>
                  </a:lnTo>
                  <a:lnTo>
                    <a:pt x="135" y="62"/>
                  </a:lnTo>
                  <a:lnTo>
                    <a:pt x="135" y="63"/>
                  </a:lnTo>
                  <a:lnTo>
                    <a:pt x="135" y="64"/>
                  </a:lnTo>
                  <a:lnTo>
                    <a:pt x="135" y="63"/>
                  </a:lnTo>
                  <a:lnTo>
                    <a:pt x="134" y="64"/>
                  </a:lnTo>
                  <a:lnTo>
                    <a:pt x="133" y="64"/>
                  </a:lnTo>
                  <a:lnTo>
                    <a:pt x="133" y="63"/>
                  </a:lnTo>
                  <a:lnTo>
                    <a:pt x="134" y="62"/>
                  </a:lnTo>
                  <a:lnTo>
                    <a:pt x="133" y="62"/>
                  </a:lnTo>
                  <a:lnTo>
                    <a:pt x="133" y="63"/>
                  </a:lnTo>
                  <a:lnTo>
                    <a:pt x="133" y="62"/>
                  </a:lnTo>
                  <a:lnTo>
                    <a:pt x="134" y="60"/>
                  </a:lnTo>
                  <a:lnTo>
                    <a:pt x="133" y="60"/>
                  </a:lnTo>
                  <a:lnTo>
                    <a:pt x="134" y="60"/>
                  </a:lnTo>
                  <a:lnTo>
                    <a:pt x="134" y="59"/>
                  </a:lnTo>
                  <a:lnTo>
                    <a:pt x="134" y="58"/>
                  </a:lnTo>
                  <a:lnTo>
                    <a:pt x="133" y="58"/>
                  </a:lnTo>
                  <a:lnTo>
                    <a:pt x="133" y="59"/>
                  </a:lnTo>
                  <a:lnTo>
                    <a:pt x="132" y="59"/>
                  </a:lnTo>
                  <a:lnTo>
                    <a:pt x="132" y="58"/>
                  </a:lnTo>
                  <a:lnTo>
                    <a:pt x="131" y="58"/>
                  </a:lnTo>
                  <a:lnTo>
                    <a:pt x="129" y="58"/>
                  </a:lnTo>
                  <a:lnTo>
                    <a:pt x="128" y="58"/>
                  </a:lnTo>
                  <a:lnTo>
                    <a:pt x="128" y="59"/>
                  </a:lnTo>
                  <a:lnTo>
                    <a:pt x="127" y="58"/>
                  </a:lnTo>
                  <a:lnTo>
                    <a:pt x="128" y="58"/>
                  </a:lnTo>
                  <a:lnTo>
                    <a:pt x="127" y="58"/>
                  </a:lnTo>
                  <a:lnTo>
                    <a:pt x="126" y="58"/>
                  </a:lnTo>
                  <a:lnTo>
                    <a:pt x="124" y="58"/>
                  </a:lnTo>
                  <a:lnTo>
                    <a:pt x="124" y="59"/>
                  </a:lnTo>
                  <a:lnTo>
                    <a:pt x="126" y="59"/>
                  </a:lnTo>
                  <a:lnTo>
                    <a:pt x="124" y="59"/>
                  </a:lnTo>
                  <a:lnTo>
                    <a:pt x="124" y="60"/>
                  </a:lnTo>
                  <a:lnTo>
                    <a:pt x="123" y="60"/>
                  </a:lnTo>
                  <a:lnTo>
                    <a:pt x="123" y="59"/>
                  </a:lnTo>
                  <a:lnTo>
                    <a:pt x="124" y="59"/>
                  </a:lnTo>
                  <a:lnTo>
                    <a:pt x="123" y="59"/>
                  </a:lnTo>
                  <a:lnTo>
                    <a:pt x="124" y="58"/>
                  </a:lnTo>
                  <a:lnTo>
                    <a:pt x="124" y="57"/>
                  </a:lnTo>
                  <a:lnTo>
                    <a:pt x="123" y="57"/>
                  </a:lnTo>
                  <a:lnTo>
                    <a:pt x="123" y="58"/>
                  </a:lnTo>
                  <a:lnTo>
                    <a:pt x="123" y="57"/>
                  </a:lnTo>
                  <a:lnTo>
                    <a:pt x="122" y="57"/>
                  </a:lnTo>
                  <a:lnTo>
                    <a:pt x="122" y="56"/>
                  </a:lnTo>
                  <a:lnTo>
                    <a:pt x="121" y="56"/>
                  </a:lnTo>
                  <a:lnTo>
                    <a:pt x="120" y="54"/>
                  </a:lnTo>
                  <a:lnTo>
                    <a:pt x="118" y="54"/>
                  </a:lnTo>
                  <a:lnTo>
                    <a:pt x="118" y="53"/>
                  </a:lnTo>
                  <a:lnTo>
                    <a:pt x="117" y="53"/>
                  </a:lnTo>
                  <a:lnTo>
                    <a:pt x="118" y="53"/>
                  </a:lnTo>
                  <a:lnTo>
                    <a:pt x="117" y="53"/>
                  </a:lnTo>
                  <a:lnTo>
                    <a:pt x="116" y="52"/>
                  </a:lnTo>
                  <a:lnTo>
                    <a:pt x="115" y="51"/>
                  </a:lnTo>
                  <a:lnTo>
                    <a:pt x="114" y="51"/>
                  </a:lnTo>
                  <a:lnTo>
                    <a:pt x="115" y="50"/>
                  </a:lnTo>
                  <a:lnTo>
                    <a:pt x="115" y="48"/>
                  </a:lnTo>
                  <a:lnTo>
                    <a:pt x="114" y="48"/>
                  </a:lnTo>
                  <a:lnTo>
                    <a:pt x="114" y="47"/>
                  </a:lnTo>
                  <a:lnTo>
                    <a:pt x="114" y="48"/>
                  </a:lnTo>
                  <a:lnTo>
                    <a:pt x="114" y="47"/>
                  </a:lnTo>
                  <a:lnTo>
                    <a:pt x="112" y="47"/>
                  </a:lnTo>
                  <a:lnTo>
                    <a:pt x="112" y="48"/>
                  </a:lnTo>
                  <a:lnTo>
                    <a:pt x="112" y="47"/>
                  </a:lnTo>
                  <a:lnTo>
                    <a:pt x="111" y="47"/>
                  </a:lnTo>
                  <a:lnTo>
                    <a:pt x="111" y="46"/>
                  </a:lnTo>
                  <a:lnTo>
                    <a:pt x="110" y="46"/>
                  </a:lnTo>
                  <a:lnTo>
                    <a:pt x="111" y="46"/>
                  </a:lnTo>
                  <a:lnTo>
                    <a:pt x="111" y="45"/>
                  </a:lnTo>
                  <a:lnTo>
                    <a:pt x="112" y="45"/>
                  </a:lnTo>
                  <a:lnTo>
                    <a:pt x="112" y="44"/>
                  </a:lnTo>
                  <a:lnTo>
                    <a:pt x="114" y="44"/>
                  </a:lnTo>
                  <a:lnTo>
                    <a:pt x="115" y="44"/>
                  </a:lnTo>
                  <a:lnTo>
                    <a:pt x="116" y="45"/>
                  </a:lnTo>
                  <a:lnTo>
                    <a:pt x="116" y="44"/>
                  </a:lnTo>
                  <a:lnTo>
                    <a:pt x="115" y="44"/>
                  </a:lnTo>
                  <a:lnTo>
                    <a:pt x="114" y="42"/>
                  </a:lnTo>
                  <a:lnTo>
                    <a:pt x="114" y="44"/>
                  </a:lnTo>
                  <a:lnTo>
                    <a:pt x="114" y="42"/>
                  </a:lnTo>
                  <a:lnTo>
                    <a:pt x="112" y="42"/>
                  </a:lnTo>
                  <a:lnTo>
                    <a:pt x="112" y="41"/>
                  </a:lnTo>
                  <a:lnTo>
                    <a:pt x="112" y="40"/>
                  </a:lnTo>
                  <a:lnTo>
                    <a:pt x="111" y="40"/>
                  </a:lnTo>
                  <a:lnTo>
                    <a:pt x="111" y="39"/>
                  </a:lnTo>
                  <a:lnTo>
                    <a:pt x="111" y="37"/>
                  </a:lnTo>
                  <a:lnTo>
                    <a:pt x="112" y="37"/>
                  </a:lnTo>
                  <a:lnTo>
                    <a:pt x="112" y="39"/>
                  </a:lnTo>
                  <a:lnTo>
                    <a:pt x="114" y="39"/>
                  </a:lnTo>
                  <a:lnTo>
                    <a:pt x="115" y="39"/>
                  </a:lnTo>
                  <a:lnTo>
                    <a:pt x="116" y="39"/>
                  </a:lnTo>
                  <a:lnTo>
                    <a:pt x="117" y="39"/>
                  </a:lnTo>
                  <a:lnTo>
                    <a:pt x="117" y="37"/>
                  </a:lnTo>
                  <a:lnTo>
                    <a:pt x="116" y="37"/>
                  </a:lnTo>
                  <a:lnTo>
                    <a:pt x="115" y="37"/>
                  </a:lnTo>
                  <a:lnTo>
                    <a:pt x="115" y="36"/>
                  </a:lnTo>
                  <a:lnTo>
                    <a:pt x="115" y="37"/>
                  </a:lnTo>
                  <a:lnTo>
                    <a:pt x="115" y="36"/>
                  </a:lnTo>
                  <a:lnTo>
                    <a:pt x="114" y="36"/>
                  </a:lnTo>
                  <a:lnTo>
                    <a:pt x="114" y="35"/>
                  </a:lnTo>
                  <a:lnTo>
                    <a:pt x="114" y="34"/>
                  </a:lnTo>
                  <a:lnTo>
                    <a:pt x="112" y="34"/>
                  </a:lnTo>
                  <a:lnTo>
                    <a:pt x="112" y="33"/>
                  </a:lnTo>
                  <a:lnTo>
                    <a:pt x="114" y="33"/>
                  </a:lnTo>
                  <a:lnTo>
                    <a:pt x="115" y="33"/>
                  </a:lnTo>
                  <a:lnTo>
                    <a:pt x="115" y="34"/>
                  </a:lnTo>
                  <a:lnTo>
                    <a:pt x="116" y="34"/>
                  </a:lnTo>
                  <a:lnTo>
                    <a:pt x="116" y="33"/>
                  </a:lnTo>
                  <a:lnTo>
                    <a:pt x="115" y="33"/>
                  </a:lnTo>
                  <a:lnTo>
                    <a:pt x="116" y="33"/>
                  </a:lnTo>
                  <a:lnTo>
                    <a:pt x="116" y="31"/>
                  </a:lnTo>
                  <a:lnTo>
                    <a:pt x="115" y="31"/>
                  </a:lnTo>
                  <a:lnTo>
                    <a:pt x="115" y="30"/>
                  </a:lnTo>
                  <a:lnTo>
                    <a:pt x="115" y="29"/>
                  </a:lnTo>
                  <a:lnTo>
                    <a:pt x="116" y="29"/>
                  </a:lnTo>
                  <a:lnTo>
                    <a:pt x="116" y="28"/>
                  </a:lnTo>
                  <a:lnTo>
                    <a:pt x="115" y="28"/>
                  </a:lnTo>
                  <a:lnTo>
                    <a:pt x="115" y="27"/>
                  </a:lnTo>
                  <a:lnTo>
                    <a:pt x="116" y="27"/>
                  </a:lnTo>
                  <a:lnTo>
                    <a:pt x="117" y="27"/>
                  </a:lnTo>
                  <a:lnTo>
                    <a:pt x="117" y="28"/>
                  </a:lnTo>
                  <a:lnTo>
                    <a:pt x="117" y="29"/>
                  </a:lnTo>
                  <a:lnTo>
                    <a:pt x="117" y="30"/>
                  </a:lnTo>
                  <a:lnTo>
                    <a:pt x="117" y="29"/>
                  </a:lnTo>
                  <a:lnTo>
                    <a:pt x="118" y="29"/>
                  </a:lnTo>
                  <a:lnTo>
                    <a:pt x="118" y="28"/>
                  </a:lnTo>
                  <a:lnTo>
                    <a:pt x="118" y="27"/>
                  </a:lnTo>
                  <a:lnTo>
                    <a:pt x="117" y="27"/>
                  </a:lnTo>
                  <a:lnTo>
                    <a:pt x="117" y="25"/>
                  </a:lnTo>
                  <a:lnTo>
                    <a:pt x="118" y="25"/>
                  </a:lnTo>
                  <a:lnTo>
                    <a:pt x="118" y="24"/>
                  </a:lnTo>
                  <a:lnTo>
                    <a:pt x="118" y="25"/>
                  </a:lnTo>
                  <a:lnTo>
                    <a:pt x="120" y="25"/>
                  </a:lnTo>
                  <a:lnTo>
                    <a:pt x="121" y="25"/>
                  </a:lnTo>
                  <a:lnTo>
                    <a:pt x="120" y="25"/>
                  </a:lnTo>
                  <a:lnTo>
                    <a:pt x="120" y="24"/>
                  </a:lnTo>
                  <a:lnTo>
                    <a:pt x="120" y="23"/>
                  </a:lnTo>
                  <a:lnTo>
                    <a:pt x="121" y="23"/>
                  </a:lnTo>
                  <a:lnTo>
                    <a:pt x="120" y="22"/>
                  </a:lnTo>
                  <a:lnTo>
                    <a:pt x="121" y="22"/>
                  </a:lnTo>
                  <a:lnTo>
                    <a:pt x="120" y="22"/>
                  </a:lnTo>
                  <a:lnTo>
                    <a:pt x="118" y="21"/>
                  </a:lnTo>
                  <a:lnTo>
                    <a:pt x="118" y="19"/>
                  </a:lnTo>
                  <a:lnTo>
                    <a:pt x="120" y="19"/>
                  </a:lnTo>
                  <a:lnTo>
                    <a:pt x="120" y="18"/>
                  </a:lnTo>
                  <a:lnTo>
                    <a:pt x="120" y="17"/>
                  </a:lnTo>
                  <a:lnTo>
                    <a:pt x="118" y="17"/>
                  </a:lnTo>
                  <a:lnTo>
                    <a:pt x="120" y="17"/>
                  </a:lnTo>
                  <a:lnTo>
                    <a:pt x="120" y="16"/>
                  </a:lnTo>
                  <a:lnTo>
                    <a:pt x="120" y="17"/>
                  </a:lnTo>
                  <a:lnTo>
                    <a:pt x="120" y="16"/>
                  </a:lnTo>
                  <a:lnTo>
                    <a:pt x="121" y="16"/>
                  </a:lnTo>
                  <a:lnTo>
                    <a:pt x="121" y="17"/>
                  </a:lnTo>
                  <a:lnTo>
                    <a:pt x="121" y="18"/>
                  </a:lnTo>
                  <a:lnTo>
                    <a:pt x="122" y="18"/>
                  </a:lnTo>
                  <a:lnTo>
                    <a:pt x="123" y="18"/>
                  </a:lnTo>
                  <a:lnTo>
                    <a:pt x="123" y="19"/>
                  </a:lnTo>
                  <a:lnTo>
                    <a:pt x="123" y="21"/>
                  </a:lnTo>
                  <a:lnTo>
                    <a:pt x="124" y="21"/>
                  </a:lnTo>
                  <a:lnTo>
                    <a:pt x="126" y="21"/>
                  </a:lnTo>
                  <a:lnTo>
                    <a:pt x="126" y="19"/>
                  </a:lnTo>
                  <a:lnTo>
                    <a:pt x="126" y="21"/>
                  </a:lnTo>
                  <a:lnTo>
                    <a:pt x="126" y="19"/>
                  </a:lnTo>
                  <a:lnTo>
                    <a:pt x="124" y="19"/>
                  </a:lnTo>
                  <a:lnTo>
                    <a:pt x="126" y="19"/>
                  </a:lnTo>
                  <a:lnTo>
                    <a:pt x="124" y="19"/>
                  </a:lnTo>
                  <a:lnTo>
                    <a:pt x="124" y="18"/>
                  </a:lnTo>
                  <a:lnTo>
                    <a:pt x="124" y="17"/>
                  </a:lnTo>
                  <a:lnTo>
                    <a:pt x="124" y="16"/>
                  </a:lnTo>
                  <a:lnTo>
                    <a:pt x="124" y="15"/>
                  </a:lnTo>
                  <a:lnTo>
                    <a:pt x="123" y="15"/>
                  </a:lnTo>
                  <a:lnTo>
                    <a:pt x="123" y="13"/>
                  </a:lnTo>
                  <a:lnTo>
                    <a:pt x="123" y="12"/>
                  </a:lnTo>
                  <a:lnTo>
                    <a:pt x="123" y="11"/>
                  </a:lnTo>
                  <a:lnTo>
                    <a:pt x="124" y="11"/>
                  </a:lnTo>
                  <a:lnTo>
                    <a:pt x="123" y="11"/>
                  </a:lnTo>
                  <a:lnTo>
                    <a:pt x="124" y="11"/>
                  </a:lnTo>
                  <a:lnTo>
                    <a:pt x="124" y="10"/>
                  </a:lnTo>
                  <a:lnTo>
                    <a:pt x="124" y="9"/>
                  </a:lnTo>
                  <a:lnTo>
                    <a:pt x="124" y="7"/>
                  </a:lnTo>
                  <a:lnTo>
                    <a:pt x="124" y="9"/>
                  </a:lnTo>
                  <a:lnTo>
                    <a:pt x="126" y="9"/>
                  </a:lnTo>
                  <a:lnTo>
                    <a:pt x="126" y="10"/>
                  </a:lnTo>
                  <a:lnTo>
                    <a:pt x="127" y="10"/>
                  </a:lnTo>
                  <a:lnTo>
                    <a:pt x="127" y="11"/>
                  </a:lnTo>
                  <a:lnTo>
                    <a:pt x="127" y="12"/>
                  </a:lnTo>
                  <a:lnTo>
                    <a:pt x="127" y="11"/>
                  </a:lnTo>
                  <a:lnTo>
                    <a:pt x="128" y="11"/>
                  </a:lnTo>
                  <a:lnTo>
                    <a:pt x="129" y="11"/>
                  </a:lnTo>
                  <a:lnTo>
                    <a:pt x="129" y="12"/>
                  </a:lnTo>
                  <a:lnTo>
                    <a:pt x="129" y="11"/>
                  </a:lnTo>
                  <a:lnTo>
                    <a:pt x="131" y="11"/>
                  </a:lnTo>
                  <a:lnTo>
                    <a:pt x="131" y="10"/>
                  </a:lnTo>
                  <a:lnTo>
                    <a:pt x="132" y="10"/>
                  </a:lnTo>
                  <a:lnTo>
                    <a:pt x="132" y="11"/>
                  </a:lnTo>
                  <a:lnTo>
                    <a:pt x="132" y="12"/>
                  </a:lnTo>
                  <a:lnTo>
                    <a:pt x="132" y="13"/>
                  </a:lnTo>
                  <a:lnTo>
                    <a:pt x="133" y="13"/>
                  </a:lnTo>
                  <a:lnTo>
                    <a:pt x="132" y="15"/>
                  </a:lnTo>
                  <a:lnTo>
                    <a:pt x="131" y="16"/>
                  </a:lnTo>
                  <a:lnTo>
                    <a:pt x="131" y="17"/>
                  </a:lnTo>
                  <a:lnTo>
                    <a:pt x="131" y="18"/>
                  </a:lnTo>
                  <a:lnTo>
                    <a:pt x="132" y="18"/>
                  </a:lnTo>
                  <a:lnTo>
                    <a:pt x="133" y="18"/>
                  </a:lnTo>
                  <a:lnTo>
                    <a:pt x="133" y="19"/>
                  </a:lnTo>
                  <a:lnTo>
                    <a:pt x="134" y="19"/>
                  </a:lnTo>
                  <a:lnTo>
                    <a:pt x="133" y="19"/>
                  </a:lnTo>
                  <a:lnTo>
                    <a:pt x="134" y="19"/>
                  </a:lnTo>
                  <a:lnTo>
                    <a:pt x="134" y="18"/>
                  </a:lnTo>
                  <a:lnTo>
                    <a:pt x="134" y="17"/>
                  </a:lnTo>
                  <a:lnTo>
                    <a:pt x="134" y="16"/>
                  </a:lnTo>
                  <a:lnTo>
                    <a:pt x="135" y="16"/>
                  </a:lnTo>
                  <a:lnTo>
                    <a:pt x="135" y="15"/>
                  </a:lnTo>
                  <a:lnTo>
                    <a:pt x="135" y="13"/>
                  </a:lnTo>
                  <a:lnTo>
                    <a:pt x="135" y="12"/>
                  </a:lnTo>
                  <a:lnTo>
                    <a:pt x="137" y="12"/>
                  </a:lnTo>
                  <a:lnTo>
                    <a:pt x="138" y="12"/>
                  </a:lnTo>
                  <a:lnTo>
                    <a:pt x="138" y="13"/>
                  </a:lnTo>
                  <a:lnTo>
                    <a:pt x="138" y="15"/>
                  </a:lnTo>
                  <a:lnTo>
                    <a:pt x="139" y="15"/>
                  </a:lnTo>
                  <a:lnTo>
                    <a:pt x="139" y="16"/>
                  </a:lnTo>
                  <a:lnTo>
                    <a:pt x="140" y="17"/>
                  </a:lnTo>
                  <a:lnTo>
                    <a:pt x="140" y="16"/>
                  </a:lnTo>
                  <a:lnTo>
                    <a:pt x="141" y="16"/>
                  </a:lnTo>
                  <a:lnTo>
                    <a:pt x="141" y="17"/>
                  </a:lnTo>
                  <a:lnTo>
                    <a:pt x="143" y="17"/>
                  </a:lnTo>
                  <a:lnTo>
                    <a:pt x="141" y="16"/>
                  </a:lnTo>
                  <a:lnTo>
                    <a:pt x="141" y="15"/>
                  </a:lnTo>
                  <a:lnTo>
                    <a:pt x="143" y="15"/>
                  </a:lnTo>
                  <a:lnTo>
                    <a:pt x="143" y="13"/>
                  </a:lnTo>
                  <a:lnTo>
                    <a:pt x="143" y="12"/>
                  </a:lnTo>
                  <a:lnTo>
                    <a:pt x="143" y="11"/>
                  </a:lnTo>
                  <a:lnTo>
                    <a:pt x="143" y="12"/>
                  </a:lnTo>
                  <a:lnTo>
                    <a:pt x="144" y="11"/>
                  </a:lnTo>
                  <a:lnTo>
                    <a:pt x="143" y="11"/>
                  </a:lnTo>
                  <a:lnTo>
                    <a:pt x="141" y="10"/>
                  </a:lnTo>
                  <a:lnTo>
                    <a:pt x="141" y="11"/>
                  </a:lnTo>
                  <a:lnTo>
                    <a:pt x="141" y="10"/>
                  </a:lnTo>
                  <a:lnTo>
                    <a:pt x="141" y="9"/>
                  </a:lnTo>
                  <a:lnTo>
                    <a:pt x="140" y="9"/>
                  </a:lnTo>
                  <a:lnTo>
                    <a:pt x="140" y="7"/>
                  </a:lnTo>
                  <a:lnTo>
                    <a:pt x="139" y="7"/>
                  </a:lnTo>
                  <a:lnTo>
                    <a:pt x="140" y="6"/>
                  </a:lnTo>
                  <a:lnTo>
                    <a:pt x="141" y="6"/>
                  </a:lnTo>
                  <a:lnTo>
                    <a:pt x="141" y="7"/>
                  </a:lnTo>
                  <a:lnTo>
                    <a:pt x="141" y="6"/>
                  </a:lnTo>
                  <a:lnTo>
                    <a:pt x="141" y="5"/>
                  </a:lnTo>
                  <a:lnTo>
                    <a:pt x="143" y="4"/>
                  </a:lnTo>
                  <a:lnTo>
                    <a:pt x="144" y="4"/>
                  </a:lnTo>
                  <a:lnTo>
                    <a:pt x="144" y="5"/>
                  </a:lnTo>
                  <a:lnTo>
                    <a:pt x="145" y="5"/>
                  </a:lnTo>
                  <a:lnTo>
                    <a:pt x="145" y="6"/>
                  </a:lnTo>
                  <a:lnTo>
                    <a:pt x="145" y="7"/>
                  </a:lnTo>
                  <a:lnTo>
                    <a:pt x="145" y="9"/>
                  </a:lnTo>
                  <a:lnTo>
                    <a:pt x="144" y="9"/>
                  </a:lnTo>
                  <a:lnTo>
                    <a:pt x="144" y="10"/>
                  </a:lnTo>
                  <a:lnTo>
                    <a:pt x="145" y="10"/>
                  </a:lnTo>
                  <a:lnTo>
                    <a:pt x="146" y="10"/>
                  </a:lnTo>
                  <a:lnTo>
                    <a:pt x="146" y="9"/>
                  </a:lnTo>
                  <a:lnTo>
                    <a:pt x="147" y="9"/>
                  </a:lnTo>
                  <a:lnTo>
                    <a:pt x="147" y="10"/>
                  </a:lnTo>
                  <a:lnTo>
                    <a:pt x="147" y="11"/>
                  </a:lnTo>
                  <a:lnTo>
                    <a:pt x="149" y="11"/>
                  </a:lnTo>
                  <a:lnTo>
                    <a:pt x="149" y="12"/>
                  </a:lnTo>
                  <a:lnTo>
                    <a:pt x="149" y="11"/>
                  </a:lnTo>
                  <a:lnTo>
                    <a:pt x="150" y="11"/>
                  </a:lnTo>
                  <a:lnTo>
                    <a:pt x="149" y="10"/>
                  </a:lnTo>
                  <a:lnTo>
                    <a:pt x="150" y="10"/>
                  </a:lnTo>
                  <a:lnTo>
                    <a:pt x="149" y="9"/>
                  </a:lnTo>
                  <a:lnTo>
                    <a:pt x="149" y="7"/>
                  </a:lnTo>
                  <a:lnTo>
                    <a:pt x="150" y="7"/>
                  </a:lnTo>
                  <a:lnTo>
                    <a:pt x="150" y="6"/>
                  </a:lnTo>
                  <a:lnTo>
                    <a:pt x="151" y="6"/>
                  </a:lnTo>
                  <a:lnTo>
                    <a:pt x="151" y="7"/>
                  </a:lnTo>
                  <a:lnTo>
                    <a:pt x="151" y="6"/>
                  </a:lnTo>
                  <a:lnTo>
                    <a:pt x="152" y="6"/>
                  </a:lnTo>
                  <a:lnTo>
                    <a:pt x="152" y="5"/>
                  </a:lnTo>
                  <a:lnTo>
                    <a:pt x="152" y="4"/>
                  </a:lnTo>
                  <a:lnTo>
                    <a:pt x="152" y="3"/>
                  </a:lnTo>
                  <a:lnTo>
                    <a:pt x="153" y="3"/>
                  </a:lnTo>
                  <a:lnTo>
                    <a:pt x="153" y="4"/>
                  </a:lnTo>
                  <a:lnTo>
                    <a:pt x="155" y="5"/>
                  </a:lnTo>
                  <a:lnTo>
                    <a:pt x="155" y="4"/>
                  </a:lnTo>
                  <a:lnTo>
                    <a:pt x="155" y="3"/>
                  </a:lnTo>
                  <a:lnTo>
                    <a:pt x="156" y="3"/>
                  </a:lnTo>
                  <a:lnTo>
                    <a:pt x="156" y="1"/>
                  </a:lnTo>
                  <a:lnTo>
                    <a:pt x="156" y="0"/>
                  </a:lnTo>
                  <a:lnTo>
                    <a:pt x="157" y="0"/>
                  </a:lnTo>
                  <a:lnTo>
                    <a:pt x="158" y="0"/>
                  </a:lnTo>
                  <a:lnTo>
                    <a:pt x="158" y="1"/>
                  </a:lnTo>
                  <a:lnTo>
                    <a:pt x="158" y="3"/>
                  </a:lnTo>
                  <a:lnTo>
                    <a:pt x="157" y="3"/>
                  </a:lnTo>
                  <a:lnTo>
                    <a:pt x="157" y="4"/>
                  </a:lnTo>
                  <a:lnTo>
                    <a:pt x="158" y="4"/>
                  </a:lnTo>
                  <a:lnTo>
                    <a:pt x="158" y="5"/>
                  </a:lnTo>
                  <a:lnTo>
                    <a:pt x="158" y="6"/>
                  </a:lnTo>
                  <a:lnTo>
                    <a:pt x="157" y="6"/>
                  </a:lnTo>
                  <a:lnTo>
                    <a:pt x="158" y="7"/>
                  </a:lnTo>
                  <a:lnTo>
                    <a:pt x="159" y="7"/>
                  </a:lnTo>
                  <a:lnTo>
                    <a:pt x="159" y="9"/>
                  </a:lnTo>
                  <a:lnTo>
                    <a:pt x="158" y="9"/>
                  </a:lnTo>
                  <a:lnTo>
                    <a:pt x="158" y="10"/>
                  </a:lnTo>
                  <a:lnTo>
                    <a:pt x="158" y="11"/>
                  </a:lnTo>
                  <a:lnTo>
                    <a:pt x="157" y="11"/>
                  </a:lnTo>
                  <a:lnTo>
                    <a:pt x="158" y="11"/>
                  </a:lnTo>
                  <a:lnTo>
                    <a:pt x="158" y="12"/>
                  </a:lnTo>
                  <a:lnTo>
                    <a:pt x="158" y="13"/>
                  </a:lnTo>
                  <a:lnTo>
                    <a:pt x="157" y="13"/>
                  </a:lnTo>
                  <a:lnTo>
                    <a:pt x="157" y="15"/>
                  </a:lnTo>
                  <a:lnTo>
                    <a:pt x="157" y="16"/>
                  </a:lnTo>
                  <a:lnTo>
                    <a:pt x="157" y="17"/>
                  </a:lnTo>
                  <a:lnTo>
                    <a:pt x="157" y="16"/>
                  </a:lnTo>
                  <a:lnTo>
                    <a:pt x="158" y="16"/>
                  </a:lnTo>
                  <a:lnTo>
                    <a:pt x="159" y="16"/>
                  </a:lnTo>
                  <a:lnTo>
                    <a:pt x="161" y="16"/>
                  </a:lnTo>
                  <a:lnTo>
                    <a:pt x="161" y="15"/>
                  </a:lnTo>
                  <a:lnTo>
                    <a:pt x="162" y="15"/>
                  </a:lnTo>
                  <a:lnTo>
                    <a:pt x="162" y="16"/>
                  </a:lnTo>
                  <a:lnTo>
                    <a:pt x="162" y="17"/>
                  </a:lnTo>
                  <a:lnTo>
                    <a:pt x="162" y="18"/>
                  </a:lnTo>
                  <a:lnTo>
                    <a:pt x="162" y="19"/>
                  </a:lnTo>
                  <a:lnTo>
                    <a:pt x="162" y="21"/>
                  </a:lnTo>
                  <a:lnTo>
                    <a:pt x="163" y="21"/>
                  </a:lnTo>
                  <a:lnTo>
                    <a:pt x="163" y="19"/>
                  </a:lnTo>
                  <a:lnTo>
                    <a:pt x="163" y="18"/>
                  </a:lnTo>
                  <a:lnTo>
                    <a:pt x="163" y="17"/>
                  </a:lnTo>
                  <a:lnTo>
                    <a:pt x="164" y="17"/>
                  </a:lnTo>
                  <a:lnTo>
                    <a:pt x="164" y="18"/>
                  </a:lnTo>
                  <a:lnTo>
                    <a:pt x="165" y="18"/>
                  </a:lnTo>
                  <a:lnTo>
                    <a:pt x="165" y="19"/>
                  </a:lnTo>
                  <a:lnTo>
                    <a:pt x="167" y="19"/>
                  </a:lnTo>
                  <a:lnTo>
                    <a:pt x="167" y="18"/>
                  </a:lnTo>
                  <a:lnTo>
                    <a:pt x="168" y="18"/>
                  </a:lnTo>
                  <a:lnTo>
                    <a:pt x="168" y="17"/>
                  </a:lnTo>
                  <a:lnTo>
                    <a:pt x="167" y="17"/>
                  </a:lnTo>
                  <a:lnTo>
                    <a:pt x="167" y="16"/>
                  </a:lnTo>
                  <a:lnTo>
                    <a:pt x="167" y="15"/>
                  </a:lnTo>
                  <a:lnTo>
                    <a:pt x="168" y="15"/>
                  </a:lnTo>
                  <a:lnTo>
                    <a:pt x="168" y="16"/>
                  </a:lnTo>
                  <a:lnTo>
                    <a:pt x="169" y="16"/>
                  </a:lnTo>
                  <a:lnTo>
                    <a:pt x="170" y="16"/>
                  </a:lnTo>
                  <a:lnTo>
                    <a:pt x="170" y="15"/>
                  </a:lnTo>
                  <a:lnTo>
                    <a:pt x="170" y="13"/>
                  </a:lnTo>
                  <a:lnTo>
                    <a:pt x="171" y="12"/>
                  </a:lnTo>
                  <a:lnTo>
                    <a:pt x="173" y="12"/>
                  </a:lnTo>
                  <a:lnTo>
                    <a:pt x="173" y="11"/>
                  </a:lnTo>
                  <a:lnTo>
                    <a:pt x="171" y="11"/>
                  </a:lnTo>
                  <a:lnTo>
                    <a:pt x="173" y="11"/>
                  </a:lnTo>
                  <a:lnTo>
                    <a:pt x="171" y="11"/>
                  </a:lnTo>
                  <a:lnTo>
                    <a:pt x="170" y="10"/>
                  </a:lnTo>
                  <a:lnTo>
                    <a:pt x="171" y="10"/>
                  </a:lnTo>
                  <a:lnTo>
                    <a:pt x="171" y="9"/>
                  </a:lnTo>
                  <a:lnTo>
                    <a:pt x="171" y="10"/>
                  </a:lnTo>
                  <a:lnTo>
                    <a:pt x="173" y="10"/>
                  </a:lnTo>
                  <a:lnTo>
                    <a:pt x="173" y="9"/>
                  </a:lnTo>
                  <a:lnTo>
                    <a:pt x="173" y="7"/>
                  </a:lnTo>
                  <a:lnTo>
                    <a:pt x="173" y="6"/>
                  </a:lnTo>
                  <a:lnTo>
                    <a:pt x="173" y="5"/>
                  </a:lnTo>
                  <a:lnTo>
                    <a:pt x="174" y="5"/>
                  </a:lnTo>
                  <a:lnTo>
                    <a:pt x="175" y="5"/>
                  </a:lnTo>
                  <a:lnTo>
                    <a:pt x="175" y="4"/>
                  </a:lnTo>
                  <a:lnTo>
                    <a:pt x="176" y="4"/>
                  </a:lnTo>
                  <a:lnTo>
                    <a:pt x="176" y="5"/>
                  </a:lnTo>
                  <a:lnTo>
                    <a:pt x="176" y="6"/>
                  </a:lnTo>
                  <a:lnTo>
                    <a:pt x="176" y="7"/>
                  </a:lnTo>
                  <a:lnTo>
                    <a:pt x="176" y="9"/>
                  </a:lnTo>
                  <a:lnTo>
                    <a:pt x="176" y="10"/>
                  </a:lnTo>
                  <a:lnTo>
                    <a:pt x="176" y="9"/>
                  </a:lnTo>
                  <a:lnTo>
                    <a:pt x="177" y="10"/>
                  </a:lnTo>
                  <a:lnTo>
                    <a:pt x="177" y="9"/>
                  </a:lnTo>
                  <a:lnTo>
                    <a:pt x="179" y="10"/>
                  </a:lnTo>
                  <a:lnTo>
                    <a:pt x="177" y="10"/>
                  </a:lnTo>
                  <a:lnTo>
                    <a:pt x="177" y="11"/>
                  </a:lnTo>
                  <a:lnTo>
                    <a:pt x="176" y="11"/>
                  </a:lnTo>
                  <a:lnTo>
                    <a:pt x="176" y="12"/>
                  </a:lnTo>
                  <a:lnTo>
                    <a:pt x="175" y="12"/>
                  </a:lnTo>
                  <a:lnTo>
                    <a:pt x="175" y="13"/>
                  </a:lnTo>
                  <a:lnTo>
                    <a:pt x="174" y="13"/>
                  </a:lnTo>
                  <a:lnTo>
                    <a:pt x="175" y="13"/>
                  </a:lnTo>
                  <a:lnTo>
                    <a:pt x="175" y="15"/>
                  </a:lnTo>
                  <a:lnTo>
                    <a:pt x="174" y="15"/>
                  </a:lnTo>
                  <a:lnTo>
                    <a:pt x="175" y="15"/>
                  </a:lnTo>
                  <a:lnTo>
                    <a:pt x="175" y="16"/>
                  </a:lnTo>
                  <a:lnTo>
                    <a:pt x="174" y="16"/>
                  </a:lnTo>
                  <a:lnTo>
                    <a:pt x="174" y="17"/>
                  </a:lnTo>
                  <a:lnTo>
                    <a:pt x="175" y="17"/>
                  </a:lnTo>
                  <a:lnTo>
                    <a:pt x="175" y="16"/>
                  </a:lnTo>
                  <a:lnTo>
                    <a:pt x="176" y="16"/>
                  </a:lnTo>
                  <a:lnTo>
                    <a:pt x="177" y="16"/>
                  </a:lnTo>
                  <a:lnTo>
                    <a:pt x="177" y="17"/>
                  </a:lnTo>
                  <a:lnTo>
                    <a:pt x="179" y="17"/>
                  </a:lnTo>
                  <a:lnTo>
                    <a:pt x="179" y="16"/>
                  </a:lnTo>
                  <a:lnTo>
                    <a:pt x="179" y="15"/>
                  </a:lnTo>
                  <a:lnTo>
                    <a:pt x="180" y="15"/>
                  </a:lnTo>
                  <a:lnTo>
                    <a:pt x="180" y="13"/>
                  </a:lnTo>
                  <a:lnTo>
                    <a:pt x="180" y="12"/>
                  </a:lnTo>
                  <a:lnTo>
                    <a:pt x="179" y="11"/>
                  </a:lnTo>
                  <a:lnTo>
                    <a:pt x="180" y="11"/>
                  </a:lnTo>
                  <a:lnTo>
                    <a:pt x="180" y="10"/>
                  </a:lnTo>
                  <a:lnTo>
                    <a:pt x="181" y="9"/>
                  </a:lnTo>
                  <a:lnTo>
                    <a:pt x="182" y="9"/>
                  </a:lnTo>
                  <a:lnTo>
                    <a:pt x="182" y="10"/>
                  </a:lnTo>
                  <a:lnTo>
                    <a:pt x="181" y="10"/>
                  </a:lnTo>
                  <a:lnTo>
                    <a:pt x="182" y="10"/>
                  </a:lnTo>
                  <a:lnTo>
                    <a:pt x="182" y="11"/>
                  </a:lnTo>
                  <a:lnTo>
                    <a:pt x="182" y="10"/>
                  </a:lnTo>
                  <a:lnTo>
                    <a:pt x="183" y="10"/>
                  </a:lnTo>
                  <a:lnTo>
                    <a:pt x="183" y="9"/>
                  </a:lnTo>
                  <a:lnTo>
                    <a:pt x="183" y="7"/>
                  </a:lnTo>
                  <a:lnTo>
                    <a:pt x="185" y="6"/>
                  </a:lnTo>
                  <a:lnTo>
                    <a:pt x="185" y="7"/>
                  </a:lnTo>
                  <a:lnTo>
                    <a:pt x="185" y="6"/>
                  </a:lnTo>
                  <a:lnTo>
                    <a:pt x="186" y="6"/>
                  </a:lnTo>
                  <a:lnTo>
                    <a:pt x="186" y="5"/>
                  </a:lnTo>
                  <a:lnTo>
                    <a:pt x="187" y="6"/>
                  </a:lnTo>
                  <a:lnTo>
                    <a:pt x="187" y="7"/>
                  </a:lnTo>
                  <a:lnTo>
                    <a:pt x="187" y="9"/>
                  </a:lnTo>
                  <a:lnTo>
                    <a:pt x="187" y="10"/>
                  </a:lnTo>
                  <a:lnTo>
                    <a:pt x="187" y="11"/>
                  </a:lnTo>
                  <a:lnTo>
                    <a:pt x="187" y="10"/>
                  </a:lnTo>
                  <a:lnTo>
                    <a:pt x="187" y="11"/>
                  </a:lnTo>
                  <a:lnTo>
                    <a:pt x="186" y="11"/>
                  </a:lnTo>
                  <a:lnTo>
                    <a:pt x="186" y="12"/>
                  </a:lnTo>
                  <a:lnTo>
                    <a:pt x="185" y="12"/>
                  </a:lnTo>
                  <a:lnTo>
                    <a:pt x="185" y="13"/>
                  </a:lnTo>
                  <a:lnTo>
                    <a:pt x="183" y="13"/>
                  </a:lnTo>
                  <a:lnTo>
                    <a:pt x="183" y="15"/>
                  </a:lnTo>
                  <a:lnTo>
                    <a:pt x="185" y="15"/>
                  </a:lnTo>
                  <a:lnTo>
                    <a:pt x="186" y="15"/>
                  </a:lnTo>
                  <a:lnTo>
                    <a:pt x="186" y="13"/>
                  </a:lnTo>
                  <a:lnTo>
                    <a:pt x="186" y="15"/>
                  </a:lnTo>
                  <a:lnTo>
                    <a:pt x="187" y="15"/>
                  </a:lnTo>
                  <a:lnTo>
                    <a:pt x="187" y="16"/>
                  </a:lnTo>
                  <a:lnTo>
                    <a:pt x="187" y="17"/>
                  </a:lnTo>
                  <a:lnTo>
                    <a:pt x="188" y="16"/>
                  </a:lnTo>
                  <a:lnTo>
                    <a:pt x="188" y="15"/>
                  </a:lnTo>
                  <a:lnTo>
                    <a:pt x="188" y="13"/>
                  </a:lnTo>
                  <a:lnTo>
                    <a:pt x="189" y="13"/>
                  </a:lnTo>
                  <a:lnTo>
                    <a:pt x="189" y="15"/>
                  </a:lnTo>
                  <a:lnTo>
                    <a:pt x="191" y="15"/>
                  </a:lnTo>
                  <a:lnTo>
                    <a:pt x="191" y="13"/>
                  </a:lnTo>
                  <a:lnTo>
                    <a:pt x="192" y="13"/>
                  </a:lnTo>
                  <a:lnTo>
                    <a:pt x="192" y="12"/>
                  </a:lnTo>
                  <a:lnTo>
                    <a:pt x="193" y="12"/>
                  </a:lnTo>
                  <a:lnTo>
                    <a:pt x="193" y="13"/>
                  </a:lnTo>
                  <a:lnTo>
                    <a:pt x="193" y="15"/>
                  </a:lnTo>
                  <a:lnTo>
                    <a:pt x="192" y="16"/>
                  </a:lnTo>
                  <a:lnTo>
                    <a:pt x="192" y="17"/>
                  </a:lnTo>
                  <a:lnTo>
                    <a:pt x="192" y="18"/>
                  </a:lnTo>
                  <a:lnTo>
                    <a:pt x="191" y="18"/>
                  </a:lnTo>
                  <a:lnTo>
                    <a:pt x="191" y="22"/>
                  </a:lnTo>
                  <a:lnTo>
                    <a:pt x="191" y="23"/>
                  </a:lnTo>
                  <a:lnTo>
                    <a:pt x="191" y="24"/>
                  </a:lnTo>
                  <a:lnTo>
                    <a:pt x="191" y="23"/>
                  </a:lnTo>
                  <a:lnTo>
                    <a:pt x="192" y="23"/>
                  </a:lnTo>
                  <a:lnTo>
                    <a:pt x="192" y="24"/>
                  </a:lnTo>
                  <a:lnTo>
                    <a:pt x="191" y="24"/>
                  </a:lnTo>
                  <a:lnTo>
                    <a:pt x="191" y="25"/>
                  </a:lnTo>
                  <a:lnTo>
                    <a:pt x="191" y="27"/>
                  </a:lnTo>
                  <a:lnTo>
                    <a:pt x="191" y="28"/>
                  </a:lnTo>
                  <a:lnTo>
                    <a:pt x="192" y="28"/>
                  </a:lnTo>
                  <a:lnTo>
                    <a:pt x="193" y="28"/>
                  </a:lnTo>
                  <a:lnTo>
                    <a:pt x="193" y="27"/>
                  </a:lnTo>
                  <a:lnTo>
                    <a:pt x="193" y="25"/>
                  </a:lnTo>
                  <a:lnTo>
                    <a:pt x="194" y="25"/>
                  </a:lnTo>
                  <a:lnTo>
                    <a:pt x="194" y="24"/>
                  </a:lnTo>
                  <a:lnTo>
                    <a:pt x="194" y="23"/>
                  </a:lnTo>
                  <a:lnTo>
                    <a:pt x="194" y="22"/>
                  </a:lnTo>
                  <a:lnTo>
                    <a:pt x="194" y="21"/>
                  </a:lnTo>
                  <a:lnTo>
                    <a:pt x="196" y="21"/>
                  </a:lnTo>
                  <a:lnTo>
                    <a:pt x="196" y="19"/>
                  </a:lnTo>
                  <a:lnTo>
                    <a:pt x="196" y="18"/>
                  </a:lnTo>
                  <a:lnTo>
                    <a:pt x="197" y="18"/>
                  </a:lnTo>
                  <a:lnTo>
                    <a:pt x="198" y="18"/>
                  </a:lnTo>
                  <a:lnTo>
                    <a:pt x="198" y="19"/>
                  </a:lnTo>
                  <a:lnTo>
                    <a:pt x="198" y="21"/>
                  </a:lnTo>
                  <a:lnTo>
                    <a:pt x="197" y="21"/>
                  </a:lnTo>
                  <a:lnTo>
                    <a:pt x="197" y="22"/>
                  </a:lnTo>
                  <a:lnTo>
                    <a:pt x="197" y="23"/>
                  </a:lnTo>
                  <a:lnTo>
                    <a:pt x="198" y="23"/>
                  </a:lnTo>
                  <a:lnTo>
                    <a:pt x="198" y="22"/>
                  </a:lnTo>
                  <a:lnTo>
                    <a:pt x="199" y="22"/>
                  </a:lnTo>
                  <a:lnTo>
                    <a:pt x="199" y="23"/>
                  </a:lnTo>
                  <a:lnTo>
                    <a:pt x="198" y="24"/>
                  </a:lnTo>
                  <a:lnTo>
                    <a:pt x="197" y="24"/>
                  </a:lnTo>
                  <a:lnTo>
                    <a:pt x="197" y="25"/>
                  </a:lnTo>
                  <a:lnTo>
                    <a:pt x="196" y="25"/>
                  </a:lnTo>
                  <a:lnTo>
                    <a:pt x="196" y="27"/>
                  </a:lnTo>
                  <a:lnTo>
                    <a:pt x="197" y="27"/>
                  </a:lnTo>
                  <a:lnTo>
                    <a:pt x="196" y="27"/>
                  </a:lnTo>
                  <a:lnTo>
                    <a:pt x="197" y="27"/>
                  </a:lnTo>
                  <a:lnTo>
                    <a:pt x="197" y="28"/>
                  </a:lnTo>
                  <a:lnTo>
                    <a:pt x="198" y="28"/>
                  </a:lnTo>
                  <a:lnTo>
                    <a:pt x="199" y="27"/>
                  </a:lnTo>
                  <a:lnTo>
                    <a:pt x="199" y="24"/>
                  </a:lnTo>
                  <a:lnTo>
                    <a:pt x="200" y="24"/>
                  </a:lnTo>
                  <a:lnTo>
                    <a:pt x="202" y="24"/>
                  </a:lnTo>
                  <a:lnTo>
                    <a:pt x="203" y="24"/>
                  </a:lnTo>
                  <a:lnTo>
                    <a:pt x="202" y="24"/>
                  </a:lnTo>
                  <a:lnTo>
                    <a:pt x="200" y="24"/>
                  </a:lnTo>
                  <a:lnTo>
                    <a:pt x="202" y="23"/>
                  </a:lnTo>
                  <a:lnTo>
                    <a:pt x="200" y="23"/>
                  </a:lnTo>
                  <a:lnTo>
                    <a:pt x="200" y="22"/>
                  </a:lnTo>
                  <a:lnTo>
                    <a:pt x="200" y="21"/>
                  </a:lnTo>
                  <a:lnTo>
                    <a:pt x="200" y="19"/>
                  </a:lnTo>
                  <a:lnTo>
                    <a:pt x="202" y="18"/>
                  </a:lnTo>
                  <a:lnTo>
                    <a:pt x="203" y="18"/>
                  </a:lnTo>
                  <a:lnTo>
                    <a:pt x="203" y="19"/>
                  </a:lnTo>
                  <a:lnTo>
                    <a:pt x="203" y="18"/>
                  </a:lnTo>
                  <a:lnTo>
                    <a:pt x="204" y="18"/>
                  </a:lnTo>
                  <a:lnTo>
                    <a:pt x="204" y="17"/>
                  </a:lnTo>
                  <a:lnTo>
                    <a:pt x="203" y="17"/>
                  </a:lnTo>
                  <a:lnTo>
                    <a:pt x="204" y="17"/>
                  </a:lnTo>
                  <a:lnTo>
                    <a:pt x="204" y="16"/>
                  </a:lnTo>
                  <a:lnTo>
                    <a:pt x="205" y="16"/>
                  </a:lnTo>
                  <a:lnTo>
                    <a:pt x="205" y="15"/>
                  </a:lnTo>
                  <a:lnTo>
                    <a:pt x="205" y="13"/>
                  </a:lnTo>
                  <a:lnTo>
                    <a:pt x="206" y="13"/>
                  </a:lnTo>
                  <a:lnTo>
                    <a:pt x="206" y="15"/>
                  </a:lnTo>
                  <a:lnTo>
                    <a:pt x="208" y="15"/>
                  </a:lnTo>
                  <a:lnTo>
                    <a:pt x="208" y="16"/>
                  </a:lnTo>
                  <a:lnTo>
                    <a:pt x="208" y="17"/>
                  </a:lnTo>
                  <a:lnTo>
                    <a:pt x="208" y="18"/>
                  </a:lnTo>
                  <a:lnTo>
                    <a:pt x="208" y="19"/>
                  </a:lnTo>
                  <a:lnTo>
                    <a:pt x="208" y="21"/>
                  </a:lnTo>
                  <a:lnTo>
                    <a:pt x="206" y="21"/>
                  </a:lnTo>
                  <a:lnTo>
                    <a:pt x="208" y="21"/>
                  </a:lnTo>
                  <a:lnTo>
                    <a:pt x="208" y="22"/>
                  </a:lnTo>
                  <a:lnTo>
                    <a:pt x="209" y="22"/>
                  </a:lnTo>
                  <a:lnTo>
                    <a:pt x="209" y="23"/>
                  </a:lnTo>
                  <a:lnTo>
                    <a:pt x="209" y="24"/>
                  </a:lnTo>
                  <a:lnTo>
                    <a:pt x="209" y="25"/>
                  </a:lnTo>
                  <a:lnTo>
                    <a:pt x="208" y="25"/>
                  </a:lnTo>
                  <a:lnTo>
                    <a:pt x="206" y="25"/>
                  </a:lnTo>
                  <a:lnTo>
                    <a:pt x="208" y="27"/>
                  </a:lnTo>
                  <a:lnTo>
                    <a:pt x="209" y="27"/>
                  </a:lnTo>
                  <a:lnTo>
                    <a:pt x="209" y="25"/>
                  </a:lnTo>
                  <a:lnTo>
                    <a:pt x="209" y="24"/>
                  </a:lnTo>
                  <a:lnTo>
                    <a:pt x="210" y="24"/>
                  </a:lnTo>
                  <a:lnTo>
                    <a:pt x="209" y="24"/>
                  </a:lnTo>
                  <a:lnTo>
                    <a:pt x="210" y="23"/>
                  </a:lnTo>
                  <a:lnTo>
                    <a:pt x="211" y="23"/>
                  </a:lnTo>
                  <a:lnTo>
                    <a:pt x="211" y="22"/>
                  </a:lnTo>
                  <a:lnTo>
                    <a:pt x="211" y="23"/>
                  </a:lnTo>
                  <a:lnTo>
                    <a:pt x="211" y="22"/>
                  </a:lnTo>
                  <a:lnTo>
                    <a:pt x="211" y="21"/>
                  </a:lnTo>
                  <a:lnTo>
                    <a:pt x="211" y="19"/>
                  </a:lnTo>
                  <a:lnTo>
                    <a:pt x="210" y="19"/>
                  </a:lnTo>
                  <a:lnTo>
                    <a:pt x="211" y="19"/>
                  </a:lnTo>
                  <a:lnTo>
                    <a:pt x="211" y="18"/>
                  </a:lnTo>
                  <a:lnTo>
                    <a:pt x="211" y="17"/>
                  </a:lnTo>
                  <a:lnTo>
                    <a:pt x="212" y="17"/>
                  </a:lnTo>
                  <a:lnTo>
                    <a:pt x="214" y="17"/>
                  </a:lnTo>
                  <a:lnTo>
                    <a:pt x="215" y="17"/>
                  </a:lnTo>
                  <a:lnTo>
                    <a:pt x="215" y="16"/>
                  </a:lnTo>
                  <a:lnTo>
                    <a:pt x="216" y="16"/>
                  </a:lnTo>
                  <a:lnTo>
                    <a:pt x="216" y="15"/>
                  </a:lnTo>
                  <a:lnTo>
                    <a:pt x="217" y="15"/>
                  </a:lnTo>
                  <a:lnTo>
                    <a:pt x="217" y="13"/>
                  </a:lnTo>
                  <a:lnTo>
                    <a:pt x="218" y="13"/>
                  </a:lnTo>
                  <a:lnTo>
                    <a:pt x="218" y="12"/>
                  </a:lnTo>
                  <a:lnTo>
                    <a:pt x="218" y="13"/>
                  </a:lnTo>
                  <a:lnTo>
                    <a:pt x="220" y="13"/>
                  </a:lnTo>
                  <a:lnTo>
                    <a:pt x="220" y="15"/>
                  </a:lnTo>
                  <a:lnTo>
                    <a:pt x="220" y="16"/>
                  </a:lnTo>
                  <a:lnTo>
                    <a:pt x="220" y="17"/>
                  </a:lnTo>
                  <a:lnTo>
                    <a:pt x="221" y="17"/>
                  </a:lnTo>
                  <a:lnTo>
                    <a:pt x="222" y="18"/>
                  </a:lnTo>
                  <a:lnTo>
                    <a:pt x="221" y="18"/>
                  </a:lnTo>
                  <a:lnTo>
                    <a:pt x="221" y="19"/>
                  </a:lnTo>
                  <a:lnTo>
                    <a:pt x="222" y="19"/>
                  </a:lnTo>
                  <a:lnTo>
                    <a:pt x="222" y="21"/>
                  </a:lnTo>
                  <a:lnTo>
                    <a:pt x="222" y="19"/>
                  </a:lnTo>
                  <a:lnTo>
                    <a:pt x="223" y="19"/>
                  </a:lnTo>
                  <a:lnTo>
                    <a:pt x="224" y="19"/>
                  </a:lnTo>
                  <a:lnTo>
                    <a:pt x="224" y="18"/>
                  </a:lnTo>
                  <a:lnTo>
                    <a:pt x="226" y="18"/>
                  </a:lnTo>
                  <a:lnTo>
                    <a:pt x="226" y="19"/>
                  </a:lnTo>
                  <a:lnTo>
                    <a:pt x="226" y="21"/>
                  </a:lnTo>
                  <a:lnTo>
                    <a:pt x="227" y="21"/>
                  </a:lnTo>
                  <a:lnTo>
                    <a:pt x="227" y="22"/>
                  </a:lnTo>
                  <a:lnTo>
                    <a:pt x="227" y="23"/>
                  </a:lnTo>
                  <a:lnTo>
                    <a:pt x="226" y="23"/>
                  </a:lnTo>
                  <a:lnTo>
                    <a:pt x="226" y="24"/>
                  </a:lnTo>
                  <a:lnTo>
                    <a:pt x="224" y="25"/>
                  </a:lnTo>
                  <a:lnTo>
                    <a:pt x="224" y="27"/>
                  </a:lnTo>
                  <a:lnTo>
                    <a:pt x="223" y="27"/>
                  </a:lnTo>
                  <a:lnTo>
                    <a:pt x="222" y="27"/>
                  </a:lnTo>
                  <a:lnTo>
                    <a:pt x="222" y="28"/>
                  </a:lnTo>
                  <a:lnTo>
                    <a:pt x="221" y="28"/>
                  </a:lnTo>
                  <a:lnTo>
                    <a:pt x="220" y="27"/>
                  </a:lnTo>
                  <a:lnTo>
                    <a:pt x="220" y="28"/>
                  </a:lnTo>
                  <a:lnTo>
                    <a:pt x="220" y="29"/>
                  </a:lnTo>
                  <a:lnTo>
                    <a:pt x="218" y="29"/>
                  </a:lnTo>
                  <a:lnTo>
                    <a:pt x="218" y="30"/>
                  </a:lnTo>
                  <a:lnTo>
                    <a:pt x="220" y="31"/>
                  </a:lnTo>
                  <a:lnTo>
                    <a:pt x="220" y="30"/>
                  </a:lnTo>
                  <a:lnTo>
                    <a:pt x="221" y="30"/>
                  </a:lnTo>
                  <a:lnTo>
                    <a:pt x="222" y="30"/>
                  </a:lnTo>
                  <a:lnTo>
                    <a:pt x="223" y="30"/>
                  </a:lnTo>
                  <a:lnTo>
                    <a:pt x="224" y="30"/>
                  </a:lnTo>
                  <a:lnTo>
                    <a:pt x="224" y="29"/>
                  </a:lnTo>
                  <a:lnTo>
                    <a:pt x="224" y="28"/>
                  </a:lnTo>
                  <a:lnTo>
                    <a:pt x="226" y="28"/>
                  </a:lnTo>
                  <a:lnTo>
                    <a:pt x="227" y="28"/>
                  </a:lnTo>
                  <a:lnTo>
                    <a:pt x="227" y="27"/>
                  </a:lnTo>
                  <a:lnTo>
                    <a:pt x="228" y="27"/>
                  </a:lnTo>
                  <a:lnTo>
                    <a:pt x="228" y="25"/>
                  </a:lnTo>
                  <a:lnTo>
                    <a:pt x="229" y="25"/>
                  </a:lnTo>
                  <a:lnTo>
                    <a:pt x="230" y="25"/>
                  </a:lnTo>
                  <a:lnTo>
                    <a:pt x="232" y="25"/>
                  </a:lnTo>
                  <a:lnTo>
                    <a:pt x="233" y="25"/>
                  </a:lnTo>
                  <a:lnTo>
                    <a:pt x="233" y="27"/>
                  </a:lnTo>
                  <a:lnTo>
                    <a:pt x="234" y="28"/>
                  </a:lnTo>
                  <a:lnTo>
                    <a:pt x="234" y="29"/>
                  </a:lnTo>
                  <a:lnTo>
                    <a:pt x="235" y="29"/>
                  </a:lnTo>
                  <a:lnTo>
                    <a:pt x="235" y="28"/>
                  </a:lnTo>
                  <a:lnTo>
                    <a:pt x="236" y="28"/>
                  </a:lnTo>
                  <a:lnTo>
                    <a:pt x="236" y="27"/>
                  </a:lnTo>
                  <a:lnTo>
                    <a:pt x="238" y="27"/>
                  </a:lnTo>
                  <a:lnTo>
                    <a:pt x="238" y="28"/>
                  </a:lnTo>
                  <a:lnTo>
                    <a:pt x="238" y="29"/>
                  </a:lnTo>
                  <a:lnTo>
                    <a:pt x="238" y="30"/>
                  </a:lnTo>
                  <a:lnTo>
                    <a:pt x="236" y="31"/>
                  </a:lnTo>
                  <a:lnTo>
                    <a:pt x="238" y="31"/>
                  </a:lnTo>
                  <a:lnTo>
                    <a:pt x="238" y="33"/>
                  </a:lnTo>
                  <a:lnTo>
                    <a:pt x="239" y="33"/>
                  </a:lnTo>
                  <a:lnTo>
                    <a:pt x="239" y="34"/>
                  </a:lnTo>
                  <a:lnTo>
                    <a:pt x="238" y="34"/>
                  </a:lnTo>
                  <a:lnTo>
                    <a:pt x="238" y="35"/>
                  </a:lnTo>
                  <a:lnTo>
                    <a:pt x="236" y="35"/>
                  </a:lnTo>
                  <a:lnTo>
                    <a:pt x="236" y="36"/>
                  </a:lnTo>
                  <a:lnTo>
                    <a:pt x="235" y="36"/>
                  </a:lnTo>
                  <a:lnTo>
                    <a:pt x="236" y="36"/>
                  </a:lnTo>
                  <a:lnTo>
                    <a:pt x="236" y="37"/>
                  </a:lnTo>
                  <a:lnTo>
                    <a:pt x="236" y="39"/>
                  </a:lnTo>
                  <a:lnTo>
                    <a:pt x="235" y="39"/>
                  </a:lnTo>
                  <a:lnTo>
                    <a:pt x="235" y="40"/>
                  </a:lnTo>
                  <a:lnTo>
                    <a:pt x="234" y="40"/>
                  </a:lnTo>
                  <a:lnTo>
                    <a:pt x="233" y="40"/>
                  </a:lnTo>
                  <a:lnTo>
                    <a:pt x="233" y="41"/>
                  </a:lnTo>
                  <a:lnTo>
                    <a:pt x="232" y="40"/>
                  </a:lnTo>
                  <a:lnTo>
                    <a:pt x="232" y="41"/>
                  </a:lnTo>
                  <a:lnTo>
                    <a:pt x="232" y="42"/>
                  </a:lnTo>
                  <a:lnTo>
                    <a:pt x="232" y="41"/>
                  </a:lnTo>
                  <a:lnTo>
                    <a:pt x="233" y="41"/>
                  </a:lnTo>
                  <a:lnTo>
                    <a:pt x="234" y="41"/>
                  </a:lnTo>
                  <a:lnTo>
                    <a:pt x="235" y="41"/>
                  </a:lnTo>
                  <a:lnTo>
                    <a:pt x="235" y="42"/>
                  </a:lnTo>
                  <a:lnTo>
                    <a:pt x="235" y="44"/>
                  </a:lnTo>
                  <a:lnTo>
                    <a:pt x="234" y="44"/>
                  </a:lnTo>
                  <a:lnTo>
                    <a:pt x="234" y="45"/>
                  </a:lnTo>
                  <a:lnTo>
                    <a:pt x="233" y="45"/>
                  </a:lnTo>
                  <a:lnTo>
                    <a:pt x="232" y="45"/>
                  </a:lnTo>
                  <a:lnTo>
                    <a:pt x="230" y="45"/>
                  </a:lnTo>
                  <a:lnTo>
                    <a:pt x="229" y="45"/>
                  </a:lnTo>
                  <a:lnTo>
                    <a:pt x="228" y="45"/>
                  </a:lnTo>
                  <a:lnTo>
                    <a:pt x="228" y="44"/>
                  </a:lnTo>
                  <a:lnTo>
                    <a:pt x="227" y="44"/>
                  </a:lnTo>
                  <a:lnTo>
                    <a:pt x="228" y="44"/>
                  </a:lnTo>
                  <a:lnTo>
                    <a:pt x="228" y="45"/>
                  </a:lnTo>
                  <a:lnTo>
                    <a:pt x="227" y="46"/>
                  </a:lnTo>
                  <a:lnTo>
                    <a:pt x="226" y="46"/>
                  </a:lnTo>
                  <a:lnTo>
                    <a:pt x="224" y="46"/>
                  </a:lnTo>
                  <a:lnTo>
                    <a:pt x="224" y="45"/>
                  </a:lnTo>
                  <a:lnTo>
                    <a:pt x="224" y="44"/>
                  </a:lnTo>
                  <a:lnTo>
                    <a:pt x="223" y="42"/>
                  </a:lnTo>
                  <a:lnTo>
                    <a:pt x="223" y="44"/>
                  </a:lnTo>
                  <a:lnTo>
                    <a:pt x="222" y="45"/>
                  </a:lnTo>
                  <a:lnTo>
                    <a:pt x="221" y="45"/>
                  </a:lnTo>
                  <a:lnTo>
                    <a:pt x="221" y="46"/>
                  </a:lnTo>
                  <a:lnTo>
                    <a:pt x="222" y="47"/>
                  </a:lnTo>
                  <a:lnTo>
                    <a:pt x="221" y="46"/>
                  </a:lnTo>
                  <a:lnTo>
                    <a:pt x="221" y="47"/>
                  </a:lnTo>
                  <a:lnTo>
                    <a:pt x="222" y="47"/>
                  </a:lnTo>
                  <a:lnTo>
                    <a:pt x="222" y="48"/>
                  </a:lnTo>
                  <a:lnTo>
                    <a:pt x="223" y="48"/>
                  </a:lnTo>
                  <a:lnTo>
                    <a:pt x="224" y="48"/>
                  </a:lnTo>
                  <a:lnTo>
                    <a:pt x="226" y="48"/>
                  </a:lnTo>
                  <a:lnTo>
                    <a:pt x="227" y="50"/>
                  </a:lnTo>
                  <a:lnTo>
                    <a:pt x="226" y="51"/>
                  </a:lnTo>
                  <a:lnTo>
                    <a:pt x="224" y="51"/>
                  </a:lnTo>
                  <a:lnTo>
                    <a:pt x="224" y="52"/>
                  </a:lnTo>
                  <a:lnTo>
                    <a:pt x="224" y="51"/>
                  </a:lnTo>
                  <a:lnTo>
                    <a:pt x="223" y="51"/>
                  </a:lnTo>
                  <a:lnTo>
                    <a:pt x="223" y="50"/>
                  </a:lnTo>
                  <a:lnTo>
                    <a:pt x="222" y="50"/>
                  </a:lnTo>
                  <a:lnTo>
                    <a:pt x="222" y="48"/>
                  </a:lnTo>
                  <a:lnTo>
                    <a:pt x="221" y="48"/>
                  </a:lnTo>
                  <a:lnTo>
                    <a:pt x="221" y="47"/>
                  </a:lnTo>
                  <a:lnTo>
                    <a:pt x="221" y="48"/>
                  </a:lnTo>
                  <a:lnTo>
                    <a:pt x="222" y="48"/>
                  </a:lnTo>
                  <a:lnTo>
                    <a:pt x="222" y="50"/>
                  </a:lnTo>
                  <a:lnTo>
                    <a:pt x="221" y="50"/>
                  </a:lnTo>
                  <a:lnTo>
                    <a:pt x="221" y="51"/>
                  </a:lnTo>
                  <a:lnTo>
                    <a:pt x="220" y="51"/>
                  </a:lnTo>
                  <a:lnTo>
                    <a:pt x="221" y="52"/>
                  </a:lnTo>
                  <a:lnTo>
                    <a:pt x="222" y="52"/>
                  </a:lnTo>
                  <a:lnTo>
                    <a:pt x="222" y="51"/>
                  </a:lnTo>
                  <a:lnTo>
                    <a:pt x="223" y="51"/>
                  </a:lnTo>
                  <a:lnTo>
                    <a:pt x="223" y="52"/>
                  </a:lnTo>
                  <a:lnTo>
                    <a:pt x="223" y="53"/>
                  </a:lnTo>
                  <a:lnTo>
                    <a:pt x="223" y="54"/>
                  </a:lnTo>
                  <a:lnTo>
                    <a:pt x="224" y="54"/>
                  </a:lnTo>
                  <a:lnTo>
                    <a:pt x="226" y="54"/>
                  </a:lnTo>
                  <a:lnTo>
                    <a:pt x="226" y="53"/>
                  </a:lnTo>
                  <a:lnTo>
                    <a:pt x="227" y="53"/>
                  </a:lnTo>
                  <a:lnTo>
                    <a:pt x="228" y="54"/>
                  </a:lnTo>
                  <a:lnTo>
                    <a:pt x="229" y="54"/>
                  </a:lnTo>
                  <a:lnTo>
                    <a:pt x="229" y="56"/>
                  </a:lnTo>
                  <a:lnTo>
                    <a:pt x="230" y="56"/>
                  </a:lnTo>
                  <a:lnTo>
                    <a:pt x="232" y="56"/>
                  </a:lnTo>
                  <a:lnTo>
                    <a:pt x="233" y="56"/>
                  </a:lnTo>
                  <a:lnTo>
                    <a:pt x="234" y="56"/>
                  </a:lnTo>
                  <a:lnTo>
                    <a:pt x="234" y="57"/>
                  </a:lnTo>
                  <a:lnTo>
                    <a:pt x="235" y="57"/>
                  </a:lnTo>
                  <a:lnTo>
                    <a:pt x="236" y="57"/>
                  </a:lnTo>
                  <a:lnTo>
                    <a:pt x="236" y="58"/>
                  </a:lnTo>
                  <a:lnTo>
                    <a:pt x="236" y="60"/>
                  </a:lnTo>
                  <a:lnTo>
                    <a:pt x="236" y="62"/>
                  </a:lnTo>
                  <a:lnTo>
                    <a:pt x="238" y="62"/>
                  </a:lnTo>
                  <a:lnTo>
                    <a:pt x="239" y="62"/>
                  </a:lnTo>
                  <a:lnTo>
                    <a:pt x="238" y="60"/>
                  </a:lnTo>
                  <a:lnTo>
                    <a:pt x="239" y="60"/>
                  </a:lnTo>
                  <a:lnTo>
                    <a:pt x="239" y="59"/>
                  </a:lnTo>
                  <a:lnTo>
                    <a:pt x="239" y="58"/>
                  </a:lnTo>
                  <a:lnTo>
                    <a:pt x="240" y="58"/>
                  </a:lnTo>
                  <a:lnTo>
                    <a:pt x="240" y="59"/>
                  </a:lnTo>
                  <a:lnTo>
                    <a:pt x="241" y="59"/>
                  </a:lnTo>
                  <a:lnTo>
                    <a:pt x="241" y="60"/>
                  </a:lnTo>
                  <a:lnTo>
                    <a:pt x="242" y="60"/>
                  </a:lnTo>
                  <a:lnTo>
                    <a:pt x="242" y="59"/>
                  </a:lnTo>
                  <a:lnTo>
                    <a:pt x="242" y="58"/>
                  </a:lnTo>
                  <a:lnTo>
                    <a:pt x="244" y="57"/>
                  </a:lnTo>
                  <a:lnTo>
                    <a:pt x="244" y="58"/>
                  </a:lnTo>
                  <a:lnTo>
                    <a:pt x="245" y="58"/>
                  </a:lnTo>
                  <a:lnTo>
                    <a:pt x="246" y="58"/>
                  </a:lnTo>
                  <a:lnTo>
                    <a:pt x="246" y="57"/>
                  </a:lnTo>
                  <a:lnTo>
                    <a:pt x="247" y="57"/>
                  </a:lnTo>
                  <a:lnTo>
                    <a:pt x="247" y="58"/>
                  </a:lnTo>
                  <a:lnTo>
                    <a:pt x="247" y="59"/>
                  </a:lnTo>
                  <a:lnTo>
                    <a:pt x="247" y="60"/>
                  </a:lnTo>
                  <a:lnTo>
                    <a:pt x="247" y="62"/>
                  </a:lnTo>
                  <a:lnTo>
                    <a:pt x="246" y="62"/>
                  </a:lnTo>
                  <a:lnTo>
                    <a:pt x="246" y="63"/>
                  </a:lnTo>
                  <a:lnTo>
                    <a:pt x="245" y="63"/>
                  </a:lnTo>
                  <a:lnTo>
                    <a:pt x="245" y="64"/>
                  </a:lnTo>
                  <a:lnTo>
                    <a:pt x="245" y="65"/>
                  </a:lnTo>
                  <a:lnTo>
                    <a:pt x="246" y="65"/>
                  </a:lnTo>
                  <a:lnTo>
                    <a:pt x="246" y="66"/>
                  </a:lnTo>
                  <a:lnTo>
                    <a:pt x="246" y="65"/>
                  </a:lnTo>
                  <a:lnTo>
                    <a:pt x="247" y="64"/>
                  </a:lnTo>
                  <a:lnTo>
                    <a:pt x="247" y="63"/>
                  </a:lnTo>
                  <a:lnTo>
                    <a:pt x="248" y="63"/>
                  </a:lnTo>
                  <a:lnTo>
                    <a:pt x="248" y="64"/>
                  </a:lnTo>
                  <a:lnTo>
                    <a:pt x="248" y="65"/>
                  </a:lnTo>
                  <a:lnTo>
                    <a:pt x="248" y="66"/>
                  </a:lnTo>
                  <a:lnTo>
                    <a:pt x="248" y="68"/>
                  </a:lnTo>
                  <a:lnTo>
                    <a:pt x="247" y="68"/>
                  </a:lnTo>
                  <a:lnTo>
                    <a:pt x="247" y="69"/>
                  </a:lnTo>
                  <a:lnTo>
                    <a:pt x="247" y="70"/>
                  </a:lnTo>
                  <a:lnTo>
                    <a:pt x="246" y="70"/>
                  </a:lnTo>
                  <a:lnTo>
                    <a:pt x="245" y="70"/>
                  </a:lnTo>
                  <a:lnTo>
                    <a:pt x="245" y="71"/>
                  </a:lnTo>
                  <a:lnTo>
                    <a:pt x="245" y="70"/>
                  </a:lnTo>
                  <a:lnTo>
                    <a:pt x="246" y="71"/>
                  </a:lnTo>
                  <a:lnTo>
                    <a:pt x="247" y="71"/>
                  </a:lnTo>
                  <a:lnTo>
                    <a:pt x="248" y="71"/>
                  </a:lnTo>
                  <a:lnTo>
                    <a:pt x="250" y="71"/>
                  </a:lnTo>
                  <a:lnTo>
                    <a:pt x="250" y="72"/>
                  </a:lnTo>
                  <a:lnTo>
                    <a:pt x="250" y="74"/>
                  </a:lnTo>
                  <a:lnTo>
                    <a:pt x="251" y="72"/>
                  </a:lnTo>
                  <a:lnTo>
                    <a:pt x="252" y="72"/>
                  </a:lnTo>
                  <a:lnTo>
                    <a:pt x="253" y="72"/>
                  </a:lnTo>
                  <a:lnTo>
                    <a:pt x="253" y="74"/>
                  </a:lnTo>
                  <a:lnTo>
                    <a:pt x="255" y="74"/>
                  </a:lnTo>
                  <a:lnTo>
                    <a:pt x="255" y="75"/>
                  </a:lnTo>
                  <a:lnTo>
                    <a:pt x="255" y="76"/>
                  </a:lnTo>
                  <a:lnTo>
                    <a:pt x="255" y="75"/>
                  </a:lnTo>
                  <a:lnTo>
                    <a:pt x="256" y="75"/>
                  </a:lnTo>
                  <a:lnTo>
                    <a:pt x="257" y="75"/>
                  </a:lnTo>
                  <a:lnTo>
                    <a:pt x="258" y="75"/>
                  </a:lnTo>
                  <a:lnTo>
                    <a:pt x="258" y="76"/>
                  </a:lnTo>
                  <a:lnTo>
                    <a:pt x="257" y="77"/>
                  </a:lnTo>
                  <a:lnTo>
                    <a:pt x="257" y="78"/>
                  </a:lnTo>
                  <a:lnTo>
                    <a:pt x="258" y="78"/>
                  </a:lnTo>
                  <a:lnTo>
                    <a:pt x="259" y="78"/>
                  </a:lnTo>
                  <a:lnTo>
                    <a:pt x="259" y="77"/>
                  </a:lnTo>
                  <a:lnTo>
                    <a:pt x="261" y="77"/>
                  </a:lnTo>
                  <a:lnTo>
                    <a:pt x="262" y="77"/>
                  </a:lnTo>
                  <a:lnTo>
                    <a:pt x="263" y="77"/>
                  </a:lnTo>
                  <a:lnTo>
                    <a:pt x="263" y="78"/>
                  </a:lnTo>
                  <a:lnTo>
                    <a:pt x="264" y="78"/>
                  </a:lnTo>
                  <a:lnTo>
                    <a:pt x="265" y="78"/>
                  </a:lnTo>
                  <a:lnTo>
                    <a:pt x="267" y="78"/>
                  </a:lnTo>
                  <a:lnTo>
                    <a:pt x="267" y="80"/>
                  </a:lnTo>
                  <a:lnTo>
                    <a:pt x="267" y="78"/>
                  </a:lnTo>
                  <a:lnTo>
                    <a:pt x="268" y="78"/>
                  </a:lnTo>
                  <a:lnTo>
                    <a:pt x="269" y="78"/>
                  </a:lnTo>
                  <a:lnTo>
                    <a:pt x="269" y="80"/>
                  </a:lnTo>
                  <a:lnTo>
                    <a:pt x="268" y="80"/>
                  </a:lnTo>
                  <a:lnTo>
                    <a:pt x="268" y="81"/>
                  </a:lnTo>
                  <a:lnTo>
                    <a:pt x="268" y="82"/>
                  </a:lnTo>
                  <a:lnTo>
                    <a:pt x="267" y="82"/>
                  </a:lnTo>
                  <a:lnTo>
                    <a:pt x="265" y="83"/>
                  </a:lnTo>
                  <a:lnTo>
                    <a:pt x="267" y="84"/>
                  </a:lnTo>
                  <a:lnTo>
                    <a:pt x="267" y="83"/>
                  </a:lnTo>
                  <a:lnTo>
                    <a:pt x="268" y="83"/>
                  </a:lnTo>
                  <a:lnTo>
                    <a:pt x="269" y="83"/>
                  </a:lnTo>
                  <a:lnTo>
                    <a:pt x="269" y="82"/>
                  </a:lnTo>
                  <a:lnTo>
                    <a:pt x="270" y="82"/>
                  </a:lnTo>
                  <a:lnTo>
                    <a:pt x="270" y="81"/>
                  </a:lnTo>
                  <a:lnTo>
                    <a:pt x="270" y="82"/>
                  </a:lnTo>
                  <a:lnTo>
                    <a:pt x="271" y="82"/>
                  </a:lnTo>
                  <a:lnTo>
                    <a:pt x="271" y="81"/>
                  </a:lnTo>
                  <a:lnTo>
                    <a:pt x="273" y="81"/>
                  </a:lnTo>
                  <a:lnTo>
                    <a:pt x="273" y="80"/>
                  </a:lnTo>
                  <a:lnTo>
                    <a:pt x="273" y="81"/>
                  </a:lnTo>
                  <a:lnTo>
                    <a:pt x="274" y="81"/>
                  </a:lnTo>
                  <a:lnTo>
                    <a:pt x="273" y="81"/>
                  </a:lnTo>
                  <a:lnTo>
                    <a:pt x="273" y="83"/>
                  </a:lnTo>
                  <a:lnTo>
                    <a:pt x="274" y="83"/>
                  </a:lnTo>
                  <a:lnTo>
                    <a:pt x="275" y="83"/>
                  </a:lnTo>
                  <a:lnTo>
                    <a:pt x="275" y="82"/>
                  </a:lnTo>
                  <a:lnTo>
                    <a:pt x="275" y="83"/>
                  </a:lnTo>
                  <a:lnTo>
                    <a:pt x="275" y="84"/>
                  </a:lnTo>
                  <a:lnTo>
                    <a:pt x="275" y="86"/>
                  </a:lnTo>
                  <a:lnTo>
                    <a:pt x="274" y="86"/>
                  </a:lnTo>
                  <a:lnTo>
                    <a:pt x="273" y="86"/>
                  </a:lnTo>
                  <a:lnTo>
                    <a:pt x="273" y="87"/>
                  </a:lnTo>
                  <a:lnTo>
                    <a:pt x="271" y="86"/>
                  </a:lnTo>
                  <a:lnTo>
                    <a:pt x="271" y="87"/>
                  </a:lnTo>
                  <a:lnTo>
                    <a:pt x="273" y="87"/>
                  </a:lnTo>
                  <a:lnTo>
                    <a:pt x="271" y="87"/>
                  </a:lnTo>
                  <a:lnTo>
                    <a:pt x="271" y="88"/>
                  </a:lnTo>
                  <a:lnTo>
                    <a:pt x="270" y="88"/>
                  </a:lnTo>
                  <a:lnTo>
                    <a:pt x="269" y="88"/>
                  </a:lnTo>
                  <a:lnTo>
                    <a:pt x="268" y="88"/>
                  </a:lnTo>
                  <a:lnTo>
                    <a:pt x="267" y="88"/>
                  </a:lnTo>
                  <a:lnTo>
                    <a:pt x="267" y="89"/>
                  </a:lnTo>
                  <a:lnTo>
                    <a:pt x="267" y="90"/>
                  </a:lnTo>
                  <a:lnTo>
                    <a:pt x="265" y="90"/>
                  </a:lnTo>
                  <a:lnTo>
                    <a:pt x="264" y="90"/>
                  </a:lnTo>
                  <a:lnTo>
                    <a:pt x="264" y="92"/>
                  </a:lnTo>
                  <a:lnTo>
                    <a:pt x="263" y="92"/>
                  </a:lnTo>
                  <a:lnTo>
                    <a:pt x="263" y="93"/>
                  </a:lnTo>
                  <a:lnTo>
                    <a:pt x="262" y="93"/>
                  </a:lnTo>
                  <a:lnTo>
                    <a:pt x="262" y="94"/>
                  </a:lnTo>
                  <a:lnTo>
                    <a:pt x="261" y="94"/>
                  </a:lnTo>
                  <a:lnTo>
                    <a:pt x="262" y="94"/>
                  </a:lnTo>
                  <a:lnTo>
                    <a:pt x="263" y="94"/>
                  </a:lnTo>
                  <a:lnTo>
                    <a:pt x="264" y="94"/>
                  </a:lnTo>
                  <a:lnTo>
                    <a:pt x="265" y="94"/>
                  </a:lnTo>
                  <a:lnTo>
                    <a:pt x="265" y="95"/>
                  </a:lnTo>
                  <a:lnTo>
                    <a:pt x="267" y="95"/>
                  </a:lnTo>
                  <a:lnTo>
                    <a:pt x="268" y="95"/>
                  </a:lnTo>
                  <a:lnTo>
                    <a:pt x="268" y="94"/>
                  </a:lnTo>
                  <a:lnTo>
                    <a:pt x="268" y="95"/>
                  </a:lnTo>
                  <a:lnTo>
                    <a:pt x="268" y="96"/>
                  </a:lnTo>
                  <a:lnTo>
                    <a:pt x="269" y="95"/>
                  </a:lnTo>
                  <a:lnTo>
                    <a:pt x="270" y="95"/>
                  </a:lnTo>
                  <a:lnTo>
                    <a:pt x="270" y="94"/>
                  </a:lnTo>
                  <a:lnTo>
                    <a:pt x="271" y="94"/>
                  </a:lnTo>
                  <a:lnTo>
                    <a:pt x="273" y="94"/>
                  </a:lnTo>
                  <a:lnTo>
                    <a:pt x="273" y="95"/>
                  </a:lnTo>
                  <a:lnTo>
                    <a:pt x="273" y="96"/>
                  </a:lnTo>
                  <a:lnTo>
                    <a:pt x="274" y="96"/>
                  </a:lnTo>
                  <a:lnTo>
                    <a:pt x="275" y="96"/>
                  </a:lnTo>
                  <a:lnTo>
                    <a:pt x="276" y="96"/>
                  </a:lnTo>
                  <a:lnTo>
                    <a:pt x="277" y="96"/>
                  </a:lnTo>
                  <a:lnTo>
                    <a:pt x="279" y="96"/>
                  </a:lnTo>
                  <a:lnTo>
                    <a:pt x="280" y="95"/>
                  </a:lnTo>
                  <a:lnTo>
                    <a:pt x="280" y="96"/>
                  </a:lnTo>
                  <a:lnTo>
                    <a:pt x="281" y="96"/>
                  </a:lnTo>
                  <a:lnTo>
                    <a:pt x="281" y="98"/>
                  </a:lnTo>
                  <a:lnTo>
                    <a:pt x="281" y="96"/>
                  </a:lnTo>
                  <a:lnTo>
                    <a:pt x="281" y="95"/>
                  </a:lnTo>
                  <a:lnTo>
                    <a:pt x="282" y="95"/>
                  </a:lnTo>
                  <a:lnTo>
                    <a:pt x="282" y="96"/>
                  </a:lnTo>
                  <a:lnTo>
                    <a:pt x="282" y="95"/>
                  </a:lnTo>
                  <a:lnTo>
                    <a:pt x="283" y="96"/>
                  </a:lnTo>
                  <a:lnTo>
                    <a:pt x="282" y="96"/>
                  </a:lnTo>
                  <a:lnTo>
                    <a:pt x="282" y="98"/>
                  </a:lnTo>
                  <a:lnTo>
                    <a:pt x="282" y="99"/>
                  </a:lnTo>
                  <a:lnTo>
                    <a:pt x="283" y="99"/>
                  </a:lnTo>
                  <a:lnTo>
                    <a:pt x="283" y="100"/>
                  </a:lnTo>
                  <a:lnTo>
                    <a:pt x="285" y="100"/>
                  </a:lnTo>
                  <a:lnTo>
                    <a:pt x="285" y="101"/>
                  </a:lnTo>
                  <a:lnTo>
                    <a:pt x="283" y="101"/>
                  </a:lnTo>
                  <a:lnTo>
                    <a:pt x="282" y="101"/>
                  </a:lnTo>
                  <a:lnTo>
                    <a:pt x="282" y="102"/>
                  </a:lnTo>
                  <a:lnTo>
                    <a:pt x="281" y="104"/>
                  </a:lnTo>
                  <a:lnTo>
                    <a:pt x="281" y="105"/>
                  </a:lnTo>
                  <a:lnTo>
                    <a:pt x="282" y="105"/>
                  </a:lnTo>
                  <a:lnTo>
                    <a:pt x="281" y="105"/>
                  </a:lnTo>
                  <a:lnTo>
                    <a:pt x="282" y="106"/>
                  </a:lnTo>
                  <a:lnTo>
                    <a:pt x="283" y="106"/>
                  </a:lnTo>
                  <a:lnTo>
                    <a:pt x="285" y="105"/>
                  </a:lnTo>
                  <a:lnTo>
                    <a:pt x="286" y="105"/>
                  </a:lnTo>
                  <a:lnTo>
                    <a:pt x="286" y="104"/>
                  </a:lnTo>
                  <a:lnTo>
                    <a:pt x="286" y="105"/>
                  </a:lnTo>
                  <a:lnTo>
                    <a:pt x="286" y="104"/>
                  </a:lnTo>
                  <a:lnTo>
                    <a:pt x="287" y="104"/>
                  </a:lnTo>
                  <a:lnTo>
                    <a:pt x="287" y="102"/>
                  </a:lnTo>
                  <a:lnTo>
                    <a:pt x="288" y="102"/>
                  </a:lnTo>
                  <a:lnTo>
                    <a:pt x="289" y="102"/>
                  </a:lnTo>
                  <a:lnTo>
                    <a:pt x="289" y="101"/>
                  </a:lnTo>
                  <a:lnTo>
                    <a:pt x="291" y="101"/>
                  </a:lnTo>
                  <a:lnTo>
                    <a:pt x="291" y="102"/>
                  </a:lnTo>
                  <a:lnTo>
                    <a:pt x="291" y="104"/>
                  </a:lnTo>
                  <a:lnTo>
                    <a:pt x="291" y="105"/>
                  </a:lnTo>
                  <a:lnTo>
                    <a:pt x="289" y="106"/>
                  </a:lnTo>
                  <a:lnTo>
                    <a:pt x="288" y="106"/>
                  </a:lnTo>
                  <a:lnTo>
                    <a:pt x="287" y="106"/>
                  </a:lnTo>
                  <a:lnTo>
                    <a:pt x="286" y="107"/>
                  </a:lnTo>
                  <a:lnTo>
                    <a:pt x="287" y="108"/>
                  </a:lnTo>
                  <a:lnTo>
                    <a:pt x="286" y="108"/>
                  </a:lnTo>
                  <a:lnTo>
                    <a:pt x="285" y="108"/>
                  </a:lnTo>
                  <a:lnTo>
                    <a:pt x="283" y="110"/>
                  </a:lnTo>
                  <a:lnTo>
                    <a:pt x="283" y="111"/>
                  </a:lnTo>
                  <a:lnTo>
                    <a:pt x="282" y="112"/>
                  </a:lnTo>
                  <a:lnTo>
                    <a:pt x="281" y="112"/>
                  </a:lnTo>
                  <a:lnTo>
                    <a:pt x="280" y="111"/>
                  </a:lnTo>
                  <a:lnTo>
                    <a:pt x="279" y="112"/>
                  </a:lnTo>
                  <a:lnTo>
                    <a:pt x="277" y="112"/>
                  </a:lnTo>
                  <a:lnTo>
                    <a:pt x="279" y="113"/>
                  </a:lnTo>
                  <a:lnTo>
                    <a:pt x="280" y="113"/>
                  </a:lnTo>
                  <a:lnTo>
                    <a:pt x="280" y="114"/>
                  </a:lnTo>
                  <a:lnTo>
                    <a:pt x="281" y="116"/>
                  </a:lnTo>
                  <a:lnTo>
                    <a:pt x="282" y="117"/>
                  </a:lnTo>
                  <a:lnTo>
                    <a:pt x="283" y="117"/>
                  </a:lnTo>
                  <a:lnTo>
                    <a:pt x="285" y="117"/>
                  </a:lnTo>
                  <a:lnTo>
                    <a:pt x="286" y="117"/>
                  </a:lnTo>
                  <a:lnTo>
                    <a:pt x="286" y="118"/>
                  </a:lnTo>
                  <a:lnTo>
                    <a:pt x="285" y="118"/>
                  </a:lnTo>
                  <a:lnTo>
                    <a:pt x="285" y="119"/>
                  </a:lnTo>
                  <a:lnTo>
                    <a:pt x="286" y="118"/>
                  </a:lnTo>
                  <a:lnTo>
                    <a:pt x="286" y="119"/>
                  </a:lnTo>
                  <a:lnTo>
                    <a:pt x="286" y="120"/>
                  </a:lnTo>
                  <a:lnTo>
                    <a:pt x="283" y="123"/>
                  </a:lnTo>
                  <a:lnTo>
                    <a:pt x="285" y="123"/>
                  </a:lnTo>
                  <a:lnTo>
                    <a:pt x="285" y="125"/>
                  </a:lnTo>
                  <a:lnTo>
                    <a:pt x="285" y="126"/>
                  </a:lnTo>
                  <a:lnTo>
                    <a:pt x="285" y="128"/>
                  </a:lnTo>
                  <a:lnTo>
                    <a:pt x="286" y="126"/>
                  </a:lnTo>
                  <a:lnTo>
                    <a:pt x="287" y="128"/>
                  </a:lnTo>
                  <a:lnTo>
                    <a:pt x="287" y="129"/>
                  </a:lnTo>
                  <a:lnTo>
                    <a:pt x="288" y="129"/>
                  </a:lnTo>
                  <a:lnTo>
                    <a:pt x="289" y="129"/>
                  </a:lnTo>
                  <a:lnTo>
                    <a:pt x="291" y="129"/>
                  </a:lnTo>
                  <a:lnTo>
                    <a:pt x="292" y="129"/>
                  </a:lnTo>
                  <a:lnTo>
                    <a:pt x="293" y="129"/>
                  </a:lnTo>
                  <a:lnTo>
                    <a:pt x="294" y="129"/>
                  </a:lnTo>
                  <a:lnTo>
                    <a:pt x="294" y="130"/>
                  </a:lnTo>
                  <a:lnTo>
                    <a:pt x="295" y="130"/>
                  </a:lnTo>
                  <a:lnTo>
                    <a:pt x="297" y="130"/>
                  </a:lnTo>
                  <a:lnTo>
                    <a:pt x="299" y="130"/>
                  </a:lnTo>
                  <a:lnTo>
                    <a:pt x="299" y="129"/>
                  </a:lnTo>
                  <a:lnTo>
                    <a:pt x="299" y="130"/>
                  </a:lnTo>
                  <a:lnTo>
                    <a:pt x="299" y="131"/>
                  </a:lnTo>
                  <a:lnTo>
                    <a:pt x="298" y="132"/>
                  </a:lnTo>
                  <a:lnTo>
                    <a:pt x="298" y="134"/>
                  </a:lnTo>
                  <a:lnTo>
                    <a:pt x="299" y="134"/>
                  </a:lnTo>
                  <a:lnTo>
                    <a:pt x="300" y="134"/>
                  </a:lnTo>
                  <a:lnTo>
                    <a:pt x="301" y="134"/>
                  </a:lnTo>
                  <a:lnTo>
                    <a:pt x="301" y="135"/>
                  </a:lnTo>
                  <a:lnTo>
                    <a:pt x="303" y="134"/>
                  </a:lnTo>
                  <a:lnTo>
                    <a:pt x="304" y="135"/>
                  </a:lnTo>
                  <a:lnTo>
                    <a:pt x="304" y="134"/>
                  </a:lnTo>
                  <a:lnTo>
                    <a:pt x="306" y="135"/>
                  </a:lnTo>
                  <a:lnTo>
                    <a:pt x="306" y="136"/>
                  </a:lnTo>
                  <a:lnTo>
                    <a:pt x="305" y="136"/>
                  </a:lnTo>
                  <a:lnTo>
                    <a:pt x="304" y="138"/>
                  </a:lnTo>
                  <a:lnTo>
                    <a:pt x="303" y="138"/>
                  </a:lnTo>
                  <a:lnTo>
                    <a:pt x="301" y="138"/>
                  </a:lnTo>
                  <a:lnTo>
                    <a:pt x="300" y="140"/>
                  </a:lnTo>
                  <a:lnTo>
                    <a:pt x="299" y="141"/>
                  </a:lnTo>
                  <a:lnTo>
                    <a:pt x="298" y="141"/>
                  </a:lnTo>
                  <a:lnTo>
                    <a:pt x="297" y="141"/>
                  </a:lnTo>
                  <a:lnTo>
                    <a:pt x="295" y="141"/>
                  </a:lnTo>
                  <a:lnTo>
                    <a:pt x="294" y="141"/>
                  </a:lnTo>
                  <a:lnTo>
                    <a:pt x="293" y="141"/>
                  </a:lnTo>
                  <a:lnTo>
                    <a:pt x="292" y="141"/>
                  </a:lnTo>
                  <a:lnTo>
                    <a:pt x="292" y="140"/>
                  </a:lnTo>
                  <a:lnTo>
                    <a:pt x="291" y="140"/>
                  </a:lnTo>
                  <a:lnTo>
                    <a:pt x="289" y="140"/>
                  </a:lnTo>
                  <a:lnTo>
                    <a:pt x="289" y="138"/>
                  </a:lnTo>
                  <a:lnTo>
                    <a:pt x="289" y="137"/>
                  </a:lnTo>
                  <a:lnTo>
                    <a:pt x="287" y="137"/>
                  </a:lnTo>
                  <a:lnTo>
                    <a:pt x="288" y="138"/>
                  </a:lnTo>
                  <a:lnTo>
                    <a:pt x="289" y="140"/>
                  </a:lnTo>
                  <a:lnTo>
                    <a:pt x="289" y="141"/>
                  </a:lnTo>
                  <a:lnTo>
                    <a:pt x="288" y="141"/>
                  </a:lnTo>
                  <a:lnTo>
                    <a:pt x="288" y="142"/>
                  </a:lnTo>
                  <a:lnTo>
                    <a:pt x="287" y="142"/>
                  </a:lnTo>
                  <a:lnTo>
                    <a:pt x="286" y="142"/>
                  </a:lnTo>
                  <a:lnTo>
                    <a:pt x="286" y="141"/>
                  </a:lnTo>
                  <a:lnTo>
                    <a:pt x="285" y="141"/>
                  </a:lnTo>
                  <a:lnTo>
                    <a:pt x="285" y="140"/>
                  </a:lnTo>
                  <a:lnTo>
                    <a:pt x="283" y="140"/>
                  </a:lnTo>
                  <a:lnTo>
                    <a:pt x="283" y="138"/>
                  </a:lnTo>
                  <a:lnTo>
                    <a:pt x="282" y="138"/>
                  </a:lnTo>
                  <a:lnTo>
                    <a:pt x="282" y="140"/>
                  </a:lnTo>
                  <a:lnTo>
                    <a:pt x="281" y="138"/>
                  </a:lnTo>
                  <a:lnTo>
                    <a:pt x="279" y="137"/>
                  </a:lnTo>
                  <a:lnTo>
                    <a:pt x="277" y="137"/>
                  </a:lnTo>
                  <a:lnTo>
                    <a:pt x="277" y="138"/>
                  </a:lnTo>
                  <a:lnTo>
                    <a:pt x="276" y="138"/>
                  </a:lnTo>
                  <a:lnTo>
                    <a:pt x="275" y="138"/>
                  </a:lnTo>
                  <a:lnTo>
                    <a:pt x="273" y="138"/>
                  </a:lnTo>
                  <a:lnTo>
                    <a:pt x="273" y="137"/>
                  </a:lnTo>
                  <a:lnTo>
                    <a:pt x="273" y="138"/>
                  </a:lnTo>
                  <a:lnTo>
                    <a:pt x="271" y="138"/>
                  </a:lnTo>
                  <a:lnTo>
                    <a:pt x="270" y="138"/>
                  </a:lnTo>
                  <a:lnTo>
                    <a:pt x="269" y="140"/>
                  </a:lnTo>
                  <a:lnTo>
                    <a:pt x="268" y="141"/>
                  </a:lnTo>
                  <a:lnTo>
                    <a:pt x="267" y="140"/>
                  </a:lnTo>
                  <a:lnTo>
                    <a:pt x="267" y="138"/>
                  </a:lnTo>
                  <a:lnTo>
                    <a:pt x="267" y="137"/>
                  </a:lnTo>
                  <a:lnTo>
                    <a:pt x="265" y="137"/>
                  </a:lnTo>
                  <a:lnTo>
                    <a:pt x="264" y="137"/>
                  </a:lnTo>
                  <a:lnTo>
                    <a:pt x="264" y="138"/>
                  </a:lnTo>
                  <a:lnTo>
                    <a:pt x="263" y="137"/>
                  </a:lnTo>
                  <a:lnTo>
                    <a:pt x="263" y="138"/>
                  </a:lnTo>
                  <a:lnTo>
                    <a:pt x="263" y="140"/>
                  </a:lnTo>
                  <a:lnTo>
                    <a:pt x="263" y="141"/>
                  </a:lnTo>
                  <a:lnTo>
                    <a:pt x="263" y="140"/>
                  </a:lnTo>
                  <a:lnTo>
                    <a:pt x="264" y="140"/>
                  </a:lnTo>
                  <a:lnTo>
                    <a:pt x="264" y="141"/>
                  </a:lnTo>
                  <a:lnTo>
                    <a:pt x="264" y="142"/>
                  </a:lnTo>
                  <a:lnTo>
                    <a:pt x="264" y="141"/>
                  </a:lnTo>
                  <a:lnTo>
                    <a:pt x="264" y="142"/>
                  </a:lnTo>
                  <a:lnTo>
                    <a:pt x="264" y="143"/>
                  </a:lnTo>
                  <a:lnTo>
                    <a:pt x="265" y="143"/>
                  </a:lnTo>
                  <a:lnTo>
                    <a:pt x="264" y="144"/>
                  </a:lnTo>
                  <a:lnTo>
                    <a:pt x="265" y="144"/>
                  </a:lnTo>
                  <a:lnTo>
                    <a:pt x="265" y="143"/>
                  </a:lnTo>
                  <a:lnTo>
                    <a:pt x="267" y="144"/>
                  </a:lnTo>
                  <a:lnTo>
                    <a:pt x="264" y="144"/>
                  </a:lnTo>
                  <a:lnTo>
                    <a:pt x="265" y="146"/>
                  </a:lnTo>
                  <a:lnTo>
                    <a:pt x="265" y="144"/>
                  </a:lnTo>
                  <a:lnTo>
                    <a:pt x="267" y="146"/>
                  </a:lnTo>
                  <a:lnTo>
                    <a:pt x="268" y="146"/>
                  </a:lnTo>
                  <a:lnTo>
                    <a:pt x="269" y="146"/>
                  </a:lnTo>
                  <a:lnTo>
                    <a:pt x="270" y="147"/>
                  </a:lnTo>
                  <a:lnTo>
                    <a:pt x="270" y="148"/>
                  </a:lnTo>
                  <a:lnTo>
                    <a:pt x="271" y="148"/>
                  </a:lnTo>
                  <a:lnTo>
                    <a:pt x="271" y="149"/>
                  </a:lnTo>
                  <a:lnTo>
                    <a:pt x="273" y="151"/>
                  </a:lnTo>
                  <a:lnTo>
                    <a:pt x="274" y="152"/>
                  </a:lnTo>
                  <a:lnTo>
                    <a:pt x="275" y="152"/>
                  </a:lnTo>
                  <a:lnTo>
                    <a:pt x="275" y="153"/>
                  </a:lnTo>
                  <a:lnTo>
                    <a:pt x="276" y="153"/>
                  </a:lnTo>
                  <a:lnTo>
                    <a:pt x="276" y="154"/>
                  </a:lnTo>
                  <a:lnTo>
                    <a:pt x="277" y="154"/>
                  </a:lnTo>
                  <a:lnTo>
                    <a:pt x="277" y="153"/>
                  </a:lnTo>
                  <a:lnTo>
                    <a:pt x="279" y="154"/>
                  </a:lnTo>
                  <a:lnTo>
                    <a:pt x="280" y="154"/>
                  </a:lnTo>
                  <a:lnTo>
                    <a:pt x="280" y="155"/>
                  </a:lnTo>
                  <a:lnTo>
                    <a:pt x="281" y="155"/>
                  </a:lnTo>
                  <a:lnTo>
                    <a:pt x="282" y="155"/>
                  </a:lnTo>
                  <a:lnTo>
                    <a:pt x="283" y="155"/>
                  </a:lnTo>
                  <a:lnTo>
                    <a:pt x="283" y="157"/>
                  </a:lnTo>
                  <a:lnTo>
                    <a:pt x="285" y="158"/>
                  </a:lnTo>
                  <a:lnTo>
                    <a:pt x="286" y="158"/>
                  </a:lnTo>
                  <a:lnTo>
                    <a:pt x="285" y="159"/>
                  </a:lnTo>
                  <a:lnTo>
                    <a:pt x="285" y="160"/>
                  </a:lnTo>
                  <a:lnTo>
                    <a:pt x="286" y="160"/>
                  </a:lnTo>
                  <a:lnTo>
                    <a:pt x="286" y="161"/>
                  </a:lnTo>
                  <a:lnTo>
                    <a:pt x="287" y="161"/>
                  </a:lnTo>
                  <a:lnTo>
                    <a:pt x="289" y="161"/>
                  </a:lnTo>
                  <a:lnTo>
                    <a:pt x="291" y="161"/>
                  </a:lnTo>
                  <a:lnTo>
                    <a:pt x="291" y="163"/>
                  </a:lnTo>
                  <a:lnTo>
                    <a:pt x="292" y="163"/>
                  </a:lnTo>
                  <a:lnTo>
                    <a:pt x="293" y="163"/>
                  </a:lnTo>
                  <a:lnTo>
                    <a:pt x="294" y="163"/>
                  </a:lnTo>
                  <a:lnTo>
                    <a:pt x="295" y="163"/>
                  </a:lnTo>
                  <a:lnTo>
                    <a:pt x="295" y="164"/>
                  </a:lnTo>
                  <a:lnTo>
                    <a:pt x="297" y="164"/>
                  </a:lnTo>
                  <a:lnTo>
                    <a:pt x="298" y="164"/>
                  </a:lnTo>
                  <a:lnTo>
                    <a:pt x="297" y="166"/>
                  </a:lnTo>
                  <a:lnTo>
                    <a:pt x="295" y="166"/>
                  </a:lnTo>
                  <a:lnTo>
                    <a:pt x="297" y="167"/>
                  </a:lnTo>
                  <a:lnTo>
                    <a:pt x="298" y="167"/>
                  </a:lnTo>
                  <a:lnTo>
                    <a:pt x="298" y="169"/>
                  </a:lnTo>
                  <a:lnTo>
                    <a:pt x="299" y="169"/>
                  </a:lnTo>
                  <a:lnTo>
                    <a:pt x="300" y="169"/>
                  </a:lnTo>
                  <a:lnTo>
                    <a:pt x="299" y="170"/>
                  </a:lnTo>
                  <a:lnTo>
                    <a:pt x="300" y="171"/>
                  </a:lnTo>
                  <a:lnTo>
                    <a:pt x="301" y="171"/>
                  </a:lnTo>
                  <a:lnTo>
                    <a:pt x="303" y="171"/>
                  </a:lnTo>
                  <a:lnTo>
                    <a:pt x="304" y="171"/>
                  </a:lnTo>
                  <a:lnTo>
                    <a:pt x="305" y="171"/>
                  </a:lnTo>
                  <a:lnTo>
                    <a:pt x="306" y="171"/>
                  </a:lnTo>
                  <a:lnTo>
                    <a:pt x="305" y="173"/>
                  </a:lnTo>
                  <a:lnTo>
                    <a:pt x="305" y="175"/>
                  </a:lnTo>
                  <a:lnTo>
                    <a:pt x="304" y="176"/>
                  </a:lnTo>
                  <a:lnTo>
                    <a:pt x="303" y="176"/>
                  </a:lnTo>
                  <a:lnTo>
                    <a:pt x="301" y="176"/>
                  </a:lnTo>
                  <a:lnTo>
                    <a:pt x="303" y="177"/>
                  </a:lnTo>
                  <a:lnTo>
                    <a:pt x="304" y="176"/>
                  </a:lnTo>
                  <a:lnTo>
                    <a:pt x="305" y="177"/>
                  </a:lnTo>
                  <a:lnTo>
                    <a:pt x="306" y="179"/>
                  </a:lnTo>
                  <a:lnTo>
                    <a:pt x="305" y="179"/>
                  </a:lnTo>
                  <a:lnTo>
                    <a:pt x="305" y="181"/>
                  </a:lnTo>
                  <a:lnTo>
                    <a:pt x="304" y="182"/>
                  </a:lnTo>
                  <a:lnTo>
                    <a:pt x="304" y="183"/>
                  </a:lnTo>
                  <a:lnTo>
                    <a:pt x="305" y="183"/>
                  </a:lnTo>
                  <a:lnTo>
                    <a:pt x="305" y="184"/>
                  </a:lnTo>
                  <a:lnTo>
                    <a:pt x="305" y="185"/>
                  </a:lnTo>
                  <a:lnTo>
                    <a:pt x="306" y="185"/>
                  </a:lnTo>
                  <a:lnTo>
                    <a:pt x="306" y="187"/>
                  </a:lnTo>
                  <a:lnTo>
                    <a:pt x="305" y="187"/>
                  </a:lnTo>
                  <a:lnTo>
                    <a:pt x="304" y="187"/>
                  </a:lnTo>
                  <a:lnTo>
                    <a:pt x="303" y="188"/>
                  </a:lnTo>
                  <a:lnTo>
                    <a:pt x="304" y="189"/>
                  </a:lnTo>
                  <a:lnTo>
                    <a:pt x="305" y="190"/>
                  </a:lnTo>
                  <a:lnTo>
                    <a:pt x="305" y="191"/>
                  </a:lnTo>
                  <a:lnTo>
                    <a:pt x="305" y="190"/>
                  </a:lnTo>
                  <a:lnTo>
                    <a:pt x="306" y="190"/>
                  </a:lnTo>
                  <a:lnTo>
                    <a:pt x="306" y="191"/>
                  </a:lnTo>
                  <a:lnTo>
                    <a:pt x="307" y="191"/>
                  </a:lnTo>
                  <a:lnTo>
                    <a:pt x="306" y="193"/>
                  </a:lnTo>
                  <a:lnTo>
                    <a:pt x="305" y="193"/>
                  </a:lnTo>
                  <a:lnTo>
                    <a:pt x="304" y="193"/>
                  </a:lnTo>
                  <a:lnTo>
                    <a:pt x="303" y="193"/>
                  </a:lnTo>
                  <a:lnTo>
                    <a:pt x="301" y="193"/>
                  </a:lnTo>
                  <a:lnTo>
                    <a:pt x="301" y="191"/>
                  </a:lnTo>
                  <a:lnTo>
                    <a:pt x="298" y="191"/>
                  </a:lnTo>
                  <a:lnTo>
                    <a:pt x="298" y="190"/>
                  </a:lnTo>
                  <a:lnTo>
                    <a:pt x="297" y="189"/>
                  </a:lnTo>
                  <a:lnTo>
                    <a:pt x="295" y="188"/>
                  </a:lnTo>
                  <a:lnTo>
                    <a:pt x="295" y="187"/>
                  </a:lnTo>
                  <a:lnTo>
                    <a:pt x="294" y="185"/>
                  </a:lnTo>
                  <a:lnTo>
                    <a:pt x="294" y="184"/>
                  </a:lnTo>
                  <a:lnTo>
                    <a:pt x="293" y="183"/>
                  </a:lnTo>
                  <a:lnTo>
                    <a:pt x="293" y="182"/>
                  </a:lnTo>
                  <a:lnTo>
                    <a:pt x="292" y="182"/>
                  </a:lnTo>
                  <a:lnTo>
                    <a:pt x="292" y="183"/>
                  </a:lnTo>
                  <a:lnTo>
                    <a:pt x="291" y="183"/>
                  </a:lnTo>
                  <a:lnTo>
                    <a:pt x="289" y="182"/>
                  </a:lnTo>
                  <a:lnTo>
                    <a:pt x="288" y="182"/>
                  </a:lnTo>
                  <a:lnTo>
                    <a:pt x="288" y="183"/>
                  </a:lnTo>
                  <a:lnTo>
                    <a:pt x="287" y="183"/>
                  </a:lnTo>
                  <a:lnTo>
                    <a:pt x="285" y="182"/>
                  </a:lnTo>
                  <a:lnTo>
                    <a:pt x="285" y="181"/>
                  </a:lnTo>
                  <a:lnTo>
                    <a:pt x="286" y="181"/>
                  </a:lnTo>
                  <a:lnTo>
                    <a:pt x="286" y="179"/>
                  </a:lnTo>
                  <a:lnTo>
                    <a:pt x="287" y="179"/>
                  </a:lnTo>
                  <a:lnTo>
                    <a:pt x="288" y="179"/>
                  </a:lnTo>
                  <a:lnTo>
                    <a:pt x="287" y="178"/>
                  </a:lnTo>
                  <a:lnTo>
                    <a:pt x="288" y="178"/>
                  </a:lnTo>
                  <a:lnTo>
                    <a:pt x="289" y="178"/>
                  </a:lnTo>
                  <a:lnTo>
                    <a:pt x="289" y="177"/>
                  </a:lnTo>
                  <a:lnTo>
                    <a:pt x="288" y="177"/>
                  </a:lnTo>
                  <a:lnTo>
                    <a:pt x="288" y="176"/>
                  </a:lnTo>
                  <a:lnTo>
                    <a:pt x="287" y="176"/>
                  </a:lnTo>
                  <a:lnTo>
                    <a:pt x="286" y="176"/>
                  </a:lnTo>
                  <a:lnTo>
                    <a:pt x="285" y="176"/>
                  </a:lnTo>
                  <a:lnTo>
                    <a:pt x="283" y="175"/>
                  </a:lnTo>
                  <a:lnTo>
                    <a:pt x="282" y="175"/>
                  </a:lnTo>
                  <a:lnTo>
                    <a:pt x="283" y="175"/>
                  </a:lnTo>
                  <a:lnTo>
                    <a:pt x="282" y="173"/>
                  </a:lnTo>
                  <a:lnTo>
                    <a:pt x="281" y="173"/>
                  </a:lnTo>
                  <a:lnTo>
                    <a:pt x="282" y="172"/>
                  </a:lnTo>
                  <a:lnTo>
                    <a:pt x="281" y="172"/>
                  </a:lnTo>
                  <a:lnTo>
                    <a:pt x="280" y="173"/>
                  </a:lnTo>
                  <a:lnTo>
                    <a:pt x="279" y="173"/>
                  </a:lnTo>
                  <a:lnTo>
                    <a:pt x="277" y="172"/>
                  </a:lnTo>
                  <a:lnTo>
                    <a:pt x="277" y="171"/>
                  </a:lnTo>
                  <a:lnTo>
                    <a:pt x="276" y="171"/>
                  </a:lnTo>
                  <a:lnTo>
                    <a:pt x="275" y="171"/>
                  </a:lnTo>
                  <a:lnTo>
                    <a:pt x="275" y="170"/>
                  </a:lnTo>
                  <a:lnTo>
                    <a:pt x="274" y="170"/>
                  </a:lnTo>
                  <a:lnTo>
                    <a:pt x="273" y="170"/>
                  </a:lnTo>
                  <a:lnTo>
                    <a:pt x="271" y="169"/>
                  </a:lnTo>
                  <a:lnTo>
                    <a:pt x="270" y="169"/>
                  </a:lnTo>
                  <a:lnTo>
                    <a:pt x="270" y="167"/>
                  </a:lnTo>
                  <a:lnTo>
                    <a:pt x="269" y="167"/>
                  </a:lnTo>
                  <a:lnTo>
                    <a:pt x="270" y="166"/>
                  </a:lnTo>
                  <a:lnTo>
                    <a:pt x="270" y="165"/>
                  </a:lnTo>
                  <a:lnTo>
                    <a:pt x="269" y="165"/>
                  </a:lnTo>
                  <a:lnTo>
                    <a:pt x="269" y="164"/>
                  </a:lnTo>
                  <a:lnTo>
                    <a:pt x="268" y="163"/>
                  </a:lnTo>
                  <a:lnTo>
                    <a:pt x="267" y="163"/>
                  </a:lnTo>
                  <a:lnTo>
                    <a:pt x="267" y="164"/>
                  </a:lnTo>
                  <a:lnTo>
                    <a:pt x="267" y="165"/>
                  </a:lnTo>
                  <a:lnTo>
                    <a:pt x="265" y="165"/>
                  </a:lnTo>
                  <a:lnTo>
                    <a:pt x="265" y="166"/>
                  </a:lnTo>
                  <a:lnTo>
                    <a:pt x="267" y="166"/>
                  </a:lnTo>
                  <a:lnTo>
                    <a:pt x="268" y="166"/>
                  </a:lnTo>
                  <a:lnTo>
                    <a:pt x="268" y="167"/>
                  </a:lnTo>
                  <a:lnTo>
                    <a:pt x="269" y="167"/>
                  </a:lnTo>
                  <a:lnTo>
                    <a:pt x="269" y="169"/>
                  </a:lnTo>
                  <a:lnTo>
                    <a:pt x="269" y="170"/>
                  </a:lnTo>
                  <a:lnTo>
                    <a:pt x="270" y="171"/>
                  </a:lnTo>
                  <a:lnTo>
                    <a:pt x="269" y="171"/>
                  </a:lnTo>
                  <a:lnTo>
                    <a:pt x="268" y="171"/>
                  </a:lnTo>
                  <a:lnTo>
                    <a:pt x="267" y="170"/>
                  </a:lnTo>
                  <a:lnTo>
                    <a:pt x="265" y="170"/>
                  </a:lnTo>
                  <a:lnTo>
                    <a:pt x="265" y="169"/>
                  </a:lnTo>
                  <a:lnTo>
                    <a:pt x="263" y="169"/>
                  </a:lnTo>
                  <a:lnTo>
                    <a:pt x="262" y="169"/>
                  </a:lnTo>
                  <a:lnTo>
                    <a:pt x="261" y="169"/>
                  </a:lnTo>
                  <a:lnTo>
                    <a:pt x="261" y="167"/>
                  </a:lnTo>
                  <a:lnTo>
                    <a:pt x="259" y="167"/>
                  </a:lnTo>
                  <a:lnTo>
                    <a:pt x="258" y="167"/>
                  </a:lnTo>
                  <a:lnTo>
                    <a:pt x="257" y="167"/>
                  </a:lnTo>
                  <a:lnTo>
                    <a:pt x="255" y="167"/>
                  </a:lnTo>
                  <a:lnTo>
                    <a:pt x="255" y="166"/>
                  </a:lnTo>
                  <a:lnTo>
                    <a:pt x="253" y="166"/>
                  </a:lnTo>
                  <a:lnTo>
                    <a:pt x="255" y="166"/>
                  </a:lnTo>
                  <a:lnTo>
                    <a:pt x="252" y="165"/>
                  </a:lnTo>
                  <a:lnTo>
                    <a:pt x="250" y="163"/>
                  </a:lnTo>
                  <a:lnTo>
                    <a:pt x="250" y="161"/>
                  </a:lnTo>
                  <a:lnTo>
                    <a:pt x="251" y="160"/>
                  </a:lnTo>
                  <a:lnTo>
                    <a:pt x="251" y="159"/>
                  </a:lnTo>
                  <a:lnTo>
                    <a:pt x="251" y="160"/>
                  </a:lnTo>
                  <a:lnTo>
                    <a:pt x="250" y="160"/>
                  </a:lnTo>
                  <a:lnTo>
                    <a:pt x="250" y="161"/>
                  </a:lnTo>
                  <a:lnTo>
                    <a:pt x="248" y="161"/>
                  </a:lnTo>
                  <a:lnTo>
                    <a:pt x="247" y="161"/>
                  </a:lnTo>
                  <a:lnTo>
                    <a:pt x="247" y="160"/>
                  </a:lnTo>
                  <a:lnTo>
                    <a:pt x="246" y="161"/>
                  </a:lnTo>
                  <a:lnTo>
                    <a:pt x="245" y="163"/>
                  </a:lnTo>
                  <a:lnTo>
                    <a:pt x="244" y="163"/>
                  </a:lnTo>
                  <a:lnTo>
                    <a:pt x="242" y="163"/>
                  </a:lnTo>
                  <a:lnTo>
                    <a:pt x="241" y="163"/>
                  </a:lnTo>
                  <a:lnTo>
                    <a:pt x="241" y="164"/>
                  </a:lnTo>
                  <a:lnTo>
                    <a:pt x="241" y="165"/>
                  </a:lnTo>
                  <a:lnTo>
                    <a:pt x="242" y="165"/>
                  </a:lnTo>
                  <a:lnTo>
                    <a:pt x="244" y="165"/>
                  </a:lnTo>
                  <a:lnTo>
                    <a:pt x="245" y="165"/>
                  </a:lnTo>
                  <a:lnTo>
                    <a:pt x="245" y="164"/>
                  </a:lnTo>
                  <a:lnTo>
                    <a:pt x="246" y="164"/>
                  </a:lnTo>
                  <a:lnTo>
                    <a:pt x="247" y="164"/>
                  </a:lnTo>
                  <a:lnTo>
                    <a:pt x="247" y="165"/>
                  </a:lnTo>
                  <a:lnTo>
                    <a:pt x="246" y="165"/>
                  </a:lnTo>
                  <a:lnTo>
                    <a:pt x="246" y="166"/>
                  </a:lnTo>
                  <a:lnTo>
                    <a:pt x="246" y="167"/>
                  </a:lnTo>
                  <a:lnTo>
                    <a:pt x="246" y="169"/>
                  </a:lnTo>
                  <a:lnTo>
                    <a:pt x="246" y="167"/>
                  </a:lnTo>
                  <a:lnTo>
                    <a:pt x="245" y="167"/>
                  </a:lnTo>
                  <a:lnTo>
                    <a:pt x="244" y="167"/>
                  </a:lnTo>
                  <a:lnTo>
                    <a:pt x="244" y="166"/>
                  </a:lnTo>
                  <a:lnTo>
                    <a:pt x="244" y="167"/>
                  </a:lnTo>
                  <a:lnTo>
                    <a:pt x="244" y="169"/>
                  </a:lnTo>
                  <a:lnTo>
                    <a:pt x="245" y="169"/>
                  </a:lnTo>
                  <a:lnTo>
                    <a:pt x="246" y="169"/>
                  </a:lnTo>
                  <a:lnTo>
                    <a:pt x="246" y="170"/>
                  </a:lnTo>
                  <a:lnTo>
                    <a:pt x="247" y="170"/>
                  </a:lnTo>
                  <a:lnTo>
                    <a:pt x="248" y="170"/>
                  </a:lnTo>
                  <a:lnTo>
                    <a:pt x="250" y="169"/>
                  </a:lnTo>
                  <a:lnTo>
                    <a:pt x="251" y="169"/>
                  </a:lnTo>
                  <a:lnTo>
                    <a:pt x="252" y="169"/>
                  </a:lnTo>
                  <a:lnTo>
                    <a:pt x="251" y="170"/>
                  </a:lnTo>
                  <a:lnTo>
                    <a:pt x="252" y="170"/>
                  </a:lnTo>
                  <a:lnTo>
                    <a:pt x="251" y="171"/>
                  </a:lnTo>
                  <a:lnTo>
                    <a:pt x="252" y="172"/>
                  </a:lnTo>
                  <a:lnTo>
                    <a:pt x="253" y="172"/>
                  </a:lnTo>
                  <a:lnTo>
                    <a:pt x="253" y="173"/>
                  </a:lnTo>
                  <a:lnTo>
                    <a:pt x="252" y="173"/>
                  </a:lnTo>
                  <a:lnTo>
                    <a:pt x="252" y="175"/>
                  </a:lnTo>
                  <a:lnTo>
                    <a:pt x="253" y="175"/>
                  </a:lnTo>
                  <a:lnTo>
                    <a:pt x="255" y="175"/>
                  </a:lnTo>
                  <a:lnTo>
                    <a:pt x="255" y="176"/>
                  </a:lnTo>
                  <a:lnTo>
                    <a:pt x="256" y="176"/>
                  </a:lnTo>
                  <a:lnTo>
                    <a:pt x="258" y="176"/>
                  </a:lnTo>
                  <a:lnTo>
                    <a:pt x="258" y="177"/>
                  </a:lnTo>
                  <a:lnTo>
                    <a:pt x="259" y="177"/>
                  </a:lnTo>
                  <a:lnTo>
                    <a:pt x="262" y="178"/>
                  </a:lnTo>
                  <a:lnTo>
                    <a:pt x="263" y="177"/>
                  </a:lnTo>
                  <a:lnTo>
                    <a:pt x="264" y="177"/>
                  </a:lnTo>
                  <a:lnTo>
                    <a:pt x="265" y="177"/>
                  </a:lnTo>
                  <a:lnTo>
                    <a:pt x="267" y="178"/>
                  </a:lnTo>
                  <a:lnTo>
                    <a:pt x="268" y="178"/>
                  </a:lnTo>
                  <a:lnTo>
                    <a:pt x="268" y="177"/>
                  </a:lnTo>
                  <a:lnTo>
                    <a:pt x="267" y="177"/>
                  </a:lnTo>
                  <a:lnTo>
                    <a:pt x="268" y="176"/>
                  </a:lnTo>
                  <a:lnTo>
                    <a:pt x="268" y="177"/>
                  </a:lnTo>
                  <a:lnTo>
                    <a:pt x="270" y="177"/>
                  </a:lnTo>
                  <a:lnTo>
                    <a:pt x="269" y="177"/>
                  </a:lnTo>
                  <a:lnTo>
                    <a:pt x="270" y="178"/>
                  </a:lnTo>
                  <a:lnTo>
                    <a:pt x="273" y="178"/>
                  </a:lnTo>
                  <a:lnTo>
                    <a:pt x="273" y="179"/>
                  </a:lnTo>
                  <a:lnTo>
                    <a:pt x="274" y="179"/>
                  </a:lnTo>
                  <a:lnTo>
                    <a:pt x="275" y="179"/>
                  </a:lnTo>
                  <a:lnTo>
                    <a:pt x="275" y="181"/>
                  </a:lnTo>
                  <a:lnTo>
                    <a:pt x="274" y="181"/>
                  </a:lnTo>
                  <a:lnTo>
                    <a:pt x="274" y="182"/>
                  </a:lnTo>
                  <a:lnTo>
                    <a:pt x="274" y="184"/>
                  </a:lnTo>
                  <a:lnTo>
                    <a:pt x="273" y="184"/>
                  </a:lnTo>
                  <a:lnTo>
                    <a:pt x="274" y="185"/>
                  </a:lnTo>
                  <a:lnTo>
                    <a:pt x="274" y="184"/>
                  </a:lnTo>
                  <a:lnTo>
                    <a:pt x="275" y="184"/>
                  </a:lnTo>
                  <a:lnTo>
                    <a:pt x="275" y="183"/>
                  </a:lnTo>
                  <a:lnTo>
                    <a:pt x="276" y="183"/>
                  </a:lnTo>
                  <a:lnTo>
                    <a:pt x="277" y="183"/>
                  </a:lnTo>
                  <a:lnTo>
                    <a:pt x="277" y="184"/>
                  </a:lnTo>
                  <a:lnTo>
                    <a:pt x="277" y="183"/>
                  </a:lnTo>
                  <a:lnTo>
                    <a:pt x="277" y="184"/>
                  </a:lnTo>
                  <a:lnTo>
                    <a:pt x="279" y="184"/>
                  </a:lnTo>
                  <a:lnTo>
                    <a:pt x="280" y="185"/>
                  </a:lnTo>
                  <a:lnTo>
                    <a:pt x="279" y="187"/>
                  </a:lnTo>
                  <a:lnTo>
                    <a:pt x="280" y="187"/>
                  </a:lnTo>
                  <a:lnTo>
                    <a:pt x="281" y="187"/>
                  </a:lnTo>
                  <a:lnTo>
                    <a:pt x="282" y="188"/>
                  </a:lnTo>
                  <a:lnTo>
                    <a:pt x="282" y="189"/>
                  </a:lnTo>
                  <a:lnTo>
                    <a:pt x="283" y="189"/>
                  </a:lnTo>
                  <a:lnTo>
                    <a:pt x="285" y="188"/>
                  </a:lnTo>
                  <a:lnTo>
                    <a:pt x="285" y="189"/>
                  </a:lnTo>
                  <a:lnTo>
                    <a:pt x="286" y="189"/>
                  </a:lnTo>
                  <a:lnTo>
                    <a:pt x="287" y="189"/>
                  </a:lnTo>
                  <a:lnTo>
                    <a:pt x="287" y="190"/>
                  </a:lnTo>
                  <a:lnTo>
                    <a:pt x="287" y="191"/>
                  </a:lnTo>
                  <a:lnTo>
                    <a:pt x="287" y="193"/>
                  </a:lnTo>
                  <a:lnTo>
                    <a:pt x="287" y="194"/>
                  </a:lnTo>
                  <a:lnTo>
                    <a:pt x="287" y="195"/>
                  </a:lnTo>
                  <a:lnTo>
                    <a:pt x="287" y="196"/>
                  </a:lnTo>
                  <a:lnTo>
                    <a:pt x="287" y="197"/>
                  </a:lnTo>
                  <a:lnTo>
                    <a:pt x="287" y="199"/>
                  </a:lnTo>
                  <a:lnTo>
                    <a:pt x="288" y="199"/>
                  </a:lnTo>
                  <a:lnTo>
                    <a:pt x="289" y="199"/>
                  </a:lnTo>
                  <a:lnTo>
                    <a:pt x="291" y="199"/>
                  </a:lnTo>
                  <a:lnTo>
                    <a:pt x="293" y="199"/>
                  </a:lnTo>
                  <a:lnTo>
                    <a:pt x="293" y="200"/>
                  </a:lnTo>
                  <a:lnTo>
                    <a:pt x="294" y="201"/>
                  </a:lnTo>
                  <a:lnTo>
                    <a:pt x="295" y="201"/>
                  </a:lnTo>
                  <a:lnTo>
                    <a:pt x="297" y="201"/>
                  </a:lnTo>
                  <a:lnTo>
                    <a:pt x="298" y="202"/>
                  </a:lnTo>
                  <a:lnTo>
                    <a:pt x="298" y="203"/>
                  </a:lnTo>
                  <a:lnTo>
                    <a:pt x="297" y="205"/>
                  </a:lnTo>
                  <a:lnTo>
                    <a:pt x="298" y="205"/>
                  </a:lnTo>
                  <a:lnTo>
                    <a:pt x="298" y="206"/>
                  </a:lnTo>
                  <a:lnTo>
                    <a:pt x="299" y="206"/>
                  </a:lnTo>
                  <a:lnTo>
                    <a:pt x="299" y="207"/>
                  </a:lnTo>
                  <a:lnTo>
                    <a:pt x="301" y="207"/>
                  </a:lnTo>
                  <a:lnTo>
                    <a:pt x="301" y="208"/>
                  </a:lnTo>
                  <a:lnTo>
                    <a:pt x="303" y="209"/>
                  </a:lnTo>
                  <a:lnTo>
                    <a:pt x="304" y="209"/>
                  </a:lnTo>
                  <a:lnTo>
                    <a:pt x="304" y="211"/>
                  </a:lnTo>
                  <a:lnTo>
                    <a:pt x="304" y="212"/>
                  </a:lnTo>
                  <a:lnTo>
                    <a:pt x="304" y="213"/>
                  </a:lnTo>
                  <a:lnTo>
                    <a:pt x="305" y="213"/>
                  </a:lnTo>
                  <a:lnTo>
                    <a:pt x="304" y="214"/>
                  </a:lnTo>
                  <a:lnTo>
                    <a:pt x="305" y="214"/>
                  </a:lnTo>
                  <a:lnTo>
                    <a:pt x="305" y="215"/>
                  </a:lnTo>
                  <a:lnTo>
                    <a:pt x="306" y="217"/>
                  </a:lnTo>
                  <a:lnTo>
                    <a:pt x="306" y="218"/>
                  </a:lnTo>
                  <a:lnTo>
                    <a:pt x="305" y="219"/>
                  </a:lnTo>
                  <a:lnTo>
                    <a:pt x="305" y="220"/>
                  </a:lnTo>
                  <a:lnTo>
                    <a:pt x="306" y="220"/>
                  </a:lnTo>
                  <a:lnTo>
                    <a:pt x="307" y="220"/>
                  </a:lnTo>
                  <a:lnTo>
                    <a:pt x="309" y="221"/>
                  </a:lnTo>
                  <a:lnTo>
                    <a:pt x="309" y="223"/>
                  </a:lnTo>
                  <a:lnTo>
                    <a:pt x="310" y="223"/>
                  </a:lnTo>
                  <a:lnTo>
                    <a:pt x="311" y="223"/>
                  </a:lnTo>
                  <a:lnTo>
                    <a:pt x="312" y="224"/>
                  </a:lnTo>
                  <a:lnTo>
                    <a:pt x="311" y="224"/>
                  </a:lnTo>
                  <a:lnTo>
                    <a:pt x="311" y="225"/>
                  </a:lnTo>
                  <a:lnTo>
                    <a:pt x="310" y="226"/>
                  </a:lnTo>
                  <a:lnTo>
                    <a:pt x="311" y="226"/>
                  </a:lnTo>
                  <a:lnTo>
                    <a:pt x="312" y="226"/>
                  </a:lnTo>
                  <a:lnTo>
                    <a:pt x="312" y="227"/>
                  </a:lnTo>
                  <a:lnTo>
                    <a:pt x="314" y="229"/>
                  </a:lnTo>
                  <a:lnTo>
                    <a:pt x="315" y="229"/>
                  </a:lnTo>
                  <a:lnTo>
                    <a:pt x="316" y="230"/>
                  </a:lnTo>
                  <a:lnTo>
                    <a:pt x="315" y="231"/>
                  </a:lnTo>
                  <a:lnTo>
                    <a:pt x="316" y="232"/>
                  </a:lnTo>
                  <a:lnTo>
                    <a:pt x="317" y="232"/>
                  </a:lnTo>
                  <a:lnTo>
                    <a:pt x="317" y="233"/>
                  </a:lnTo>
                  <a:lnTo>
                    <a:pt x="317" y="232"/>
                  </a:lnTo>
                  <a:lnTo>
                    <a:pt x="317" y="233"/>
                  </a:lnTo>
                  <a:lnTo>
                    <a:pt x="318" y="233"/>
                  </a:lnTo>
                  <a:lnTo>
                    <a:pt x="320" y="232"/>
                  </a:lnTo>
                  <a:lnTo>
                    <a:pt x="321" y="233"/>
                  </a:lnTo>
                  <a:lnTo>
                    <a:pt x="321" y="232"/>
                  </a:lnTo>
                  <a:lnTo>
                    <a:pt x="323" y="232"/>
                  </a:lnTo>
                  <a:lnTo>
                    <a:pt x="324" y="232"/>
                  </a:lnTo>
                  <a:lnTo>
                    <a:pt x="323" y="233"/>
                  </a:lnTo>
                  <a:lnTo>
                    <a:pt x="322" y="235"/>
                  </a:lnTo>
                  <a:lnTo>
                    <a:pt x="322" y="236"/>
                  </a:lnTo>
                  <a:lnTo>
                    <a:pt x="321" y="236"/>
                  </a:lnTo>
                  <a:lnTo>
                    <a:pt x="320" y="236"/>
                  </a:lnTo>
                  <a:lnTo>
                    <a:pt x="318" y="236"/>
                  </a:lnTo>
                  <a:lnTo>
                    <a:pt x="317" y="237"/>
                  </a:lnTo>
                  <a:lnTo>
                    <a:pt x="318" y="238"/>
                  </a:lnTo>
                  <a:lnTo>
                    <a:pt x="317" y="239"/>
                  </a:lnTo>
                  <a:lnTo>
                    <a:pt x="317" y="241"/>
                  </a:lnTo>
                  <a:lnTo>
                    <a:pt x="316" y="241"/>
                  </a:lnTo>
                  <a:lnTo>
                    <a:pt x="317" y="241"/>
                  </a:lnTo>
                  <a:lnTo>
                    <a:pt x="317" y="242"/>
                  </a:lnTo>
                  <a:lnTo>
                    <a:pt x="316" y="243"/>
                  </a:lnTo>
                  <a:lnTo>
                    <a:pt x="318" y="243"/>
                  </a:lnTo>
                  <a:lnTo>
                    <a:pt x="318" y="244"/>
                  </a:lnTo>
                  <a:lnTo>
                    <a:pt x="320" y="244"/>
                  </a:lnTo>
                  <a:lnTo>
                    <a:pt x="320" y="245"/>
                  </a:lnTo>
                  <a:lnTo>
                    <a:pt x="318" y="245"/>
                  </a:lnTo>
                  <a:lnTo>
                    <a:pt x="317" y="247"/>
                  </a:lnTo>
                  <a:lnTo>
                    <a:pt x="317" y="245"/>
                  </a:lnTo>
                  <a:lnTo>
                    <a:pt x="316" y="245"/>
                  </a:lnTo>
                  <a:lnTo>
                    <a:pt x="315" y="244"/>
                  </a:lnTo>
                  <a:lnTo>
                    <a:pt x="314" y="243"/>
                  </a:lnTo>
                  <a:lnTo>
                    <a:pt x="312" y="243"/>
                  </a:lnTo>
                  <a:lnTo>
                    <a:pt x="312" y="242"/>
                  </a:lnTo>
                  <a:lnTo>
                    <a:pt x="311" y="242"/>
                  </a:lnTo>
                  <a:lnTo>
                    <a:pt x="311" y="241"/>
                  </a:lnTo>
                  <a:lnTo>
                    <a:pt x="311" y="239"/>
                  </a:lnTo>
                  <a:lnTo>
                    <a:pt x="310" y="241"/>
                  </a:lnTo>
                  <a:lnTo>
                    <a:pt x="309" y="241"/>
                  </a:lnTo>
                  <a:lnTo>
                    <a:pt x="307" y="239"/>
                  </a:lnTo>
                  <a:lnTo>
                    <a:pt x="305" y="239"/>
                  </a:lnTo>
                  <a:lnTo>
                    <a:pt x="305" y="238"/>
                  </a:lnTo>
                  <a:lnTo>
                    <a:pt x="305" y="237"/>
                  </a:lnTo>
                  <a:lnTo>
                    <a:pt x="305" y="238"/>
                  </a:lnTo>
                  <a:lnTo>
                    <a:pt x="304" y="238"/>
                  </a:lnTo>
                  <a:lnTo>
                    <a:pt x="303" y="239"/>
                  </a:lnTo>
                  <a:lnTo>
                    <a:pt x="301" y="239"/>
                  </a:lnTo>
                  <a:lnTo>
                    <a:pt x="301" y="241"/>
                  </a:lnTo>
                  <a:lnTo>
                    <a:pt x="301" y="242"/>
                  </a:lnTo>
                  <a:lnTo>
                    <a:pt x="301" y="241"/>
                  </a:lnTo>
                  <a:lnTo>
                    <a:pt x="301" y="243"/>
                  </a:lnTo>
                  <a:lnTo>
                    <a:pt x="301" y="244"/>
                  </a:lnTo>
                  <a:lnTo>
                    <a:pt x="300" y="244"/>
                  </a:lnTo>
                  <a:lnTo>
                    <a:pt x="299" y="244"/>
                  </a:lnTo>
                  <a:lnTo>
                    <a:pt x="298" y="244"/>
                  </a:lnTo>
                  <a:lnTo>
                    <a:pt x="298" y="245"/>
                  </a:lnTo>
                  <a:lnTo>
                    <a:pt x="298" y="244"/>
                  </a:lnTo>
                  <a:lnTo>
                    <a:pt x="298" y="243"/>
                  </a:lnTo>
                  <a:lnTo>
                    <a:pt x="297" y="242"/>
                  </a:lnTo>
                  <a:lnTo>
                    <a:pt x="297" y="241"/>
                  </a:lnTo>
                  <a:lnTo>
                    <a:pt x="295" y="239"/>
                  </a:lnTo>
                  <a:lnTo>
                    <a:pt x="295" y="241"/>
                  </a:lnTo>
                  <a:lnTo>
                    <a:pt x="294" y="239"/>
                  </a:lnTo>
                  <a:lnTo>
                    <a:pt x="294" y="241"/>
                  </a:lnTo>
                  <a:lnTo>
                    <a:pt x="293" y="239"/>
                  </a:lnTo>
                  <a:lnTo>
                    <a:pt x="293" y="238"/>
                  </a:lnTo>
                  <a:lnTo>
                    <a:pt x="292" y="238"/>
                  </a:lnTo>
                  <a:lnTo>
                    <a:pt x="291" y="237"/>
                  </a:lnTo>
                  <a:lnTo>
                    <a:pt x="291" y="236"/>
                  </a:lnTo>
                  <a:lnTo>
                    <a:pt x="289" y="235"/>
                  </a:lnTo>
                  <a:lnTo>
                    <a:pt x="288" y="235"/>
                  </a:lnTo>
                  <a:lnTo>
                    <a:pt x="288" y="237"/>
                  </a:lnTo>
                  <a:lnTo>
                    <a:pt x="287" y="237"/>
                  </a:lnTo>
                  <a:lnTo>
                    <a:pt x="286" y="237"/>
                  </a:lnTo>
                  <a:lnTo>
                    <a:pt x="285" y="236"/>
                  </a:lnTo>
                  <a:lnTo>
                    <a:pt x="283" y="237"/>
                  </a:lnTo>
                  <a:lnTo>
                    <a:pt x="282" y="238"/>
                  </a:lnTo>
                  <a:lnTo>
                    <a:pt x="283" y="239"/>
                  </a:lnTo>
                  <a:lnTo>
                    <a:pt x="285" y="241"/>
                  </a:lnTo>
                  <a:lnTo>
                    <a:pt x="285" y="239"/>
                  </a:lnTo>
                  <a:lnTo>
                    <a:pt x="286" y="241"/>
                  </a:lnTo>
                  <a:lnTo>
                    <a:pt x="286" y="239"/>
                  </a:lnTo>
                  <a:lnTo>
                    <a:pt x="287" y="239"/>
                  </a:lnTo>
                  <a:lnTo>
                    <a:pt x="287" y="241"/>
                  </a:lnTo>
                  <a:lnTo>
                    <a:pt x="288" y="241"/>
                  </a:lnTo>
                  <a:lnTo>
                    <a:pt x="289" y="241"/>
                  </a:lnTo>
                  <a:lnTo>
                    <a:pt x="291" y="242"/>
                  </a:lnTo>
                  <a:lnTo>
                    <a:pt x="292" y="242"/>
                  </a:lnTo>
                  <a:lnTo>
                    <a:pt x="292" y="243"/>
                  </a:lnTo>
                  <a:lnTo>
                    <a:pt x="293" y="243"/>
                  </a:lnTo>
                  <a:lnTo>
                    <a:pt x="293" y="244"/>
                  </a:lnTo>
                  <a:lnTo>
                    <a:pt x="294" y="244"/>
                  </a:lnTo>
                  <a:lnTo>
                    <a:pt x="294" y="245"/>
                  </a:lnTo>
                  <a:lnTo>
                    <a:pt x="293" y="247"/>
                  </a:lnTo>
                  <a:lnTo>
                    <a:pt x="294" y="247"/>
                  </a:lnTo>
                  <a:lnTo>
                    <a:pt x="293" y="247"/>
                  </a:lnTo>
                  <a:lnTo>
                    <a:pt x="294" y="247"/>
                  </a:lnTo>
                  <a:lnTo>
                    <a:pt x="294" y="248"/>
                  </a:lnTo>
                  <a:lnTo>
                    <a:pt x="293" y="249"/>
                  </a:lnTo>
                  <a:lnTo>
                    <a:pt x="292" y="249"/>
                  </a:lnTo>
                  <a:lnTo>
                    <a:pt x="291" y="249"/>
                  </a:lnTo>
                  <a:lnTo>
                    <a:pt x="289" y="249"/>
                  </a:lnTo>
                  <a:lnTo>
                    <a:pt x="288" y="249"/>
                  </a:lnTo>
                  <a:lnTo>
                    <a:pt x="287" y="249"/>
                  </a:lnTo>
                  <a:lnTo>
                    <a:pt x="286" y="250"/>
                  </a:lnTo>
                  <a:lnTo>
                    <a:pt x="286" y="251"/>
                  </a:lnTo>
                  <a:lnTo>
                    <a:pt x="285" y="251"/>
                  </a:lnTo>
                  <a:lnTo>
                    <a:pt x="283" y="253"/>
                  </a:lnTo>
                  <a:lnTo>
                    <a:pt x="283" y="251"/>
                  </a:lnTo>
                  <a:lnTo>
                    <a:pt x="283" y="253"/>
                  </a:lnTo>
                  <a:lnTo>
                    <a:pt x="282" y="251"/>
                  </a:lnTo>
                  <a:lnTo>
                    <a:pt x="281" y="251"/>
                  </a:lnTo>
                  <a:lnTo>
                    <a:pt x="280" y="253"/>
                  </a:lnTo>
                  <a:lnTo>
                    <a:pt x="280" y="251"/>
                  </a:lnTo>
                  <a:lnTo>
                    <a:pt x="279" y="253"/>
                  </a:lnTo>
                  <a:lnTo>
                    <a:pt x="276" y="251"/>
                  </a:lnTo>
                  <a:lnTo>
                    <a:pt x="276" y="250"/>
                  </a:lnTo>
                  <a:lnTo>
                    <a:pt x="275" y="250"/>
                  </a:lnTo>
                  <a:lnTo>
                    <a:pt x="274" y="250"/>
                  </a:lnTo>
                  <a:lnTo>
                    <a:pt x="274" y="249"/>
                  </a:lnTo>
                  <a:lnTo>
                    <a:pt x="273" y="250"/>
                  </a:lnTo>
                  <a:lnTo>
                    <a:pt x="274" y="250"/>
                  </a:lnTo>
                  <a:lnTo>
                    <a:pt x="275" y="250"/>
                  </a:lnTo>
                  <a:lnTo>
                    <a:pt x="276" y="251"/>
                  </a:lnTo>
                  <a:lnTo>
                    <a:pt x="276" y="253"/>
                  </a:lnTo>
                  <a:lnTo>
                    <a:pt x="275" y="254"/>
                  </a:lnTo>
                  <a:lnTo>
                    <a:pt x="275" y="253"/>
                  </a:lnTo>
                  <a:lnTo>
                    <a:pt x="275" y="254"/>
                  </a:lnTo>
                  <a:lnTo>
                    <a:pt x="274" y="255"/>
                  </a:lnTo>
                  <a:lnTo>
                    <a:pt x="275" y="255"/>
                  </a:lnTo>
                  <a:lnTo>
                    <a:pt x="274" y="256"/>
                  </a:lnTo>
                  <a:lnTo>
                    <a:pt x="273" y="256"/>
                  </a:lnTo>
                  <a:lnTo>
                    <a:pt x="271" y="256"/>
                  </a:lnTo>
                  <a:lnTo>
                    <a:pt x="270" y="256"/>
                  </a:lnTo>
                  <a:lnTo>
                    <a:pt x="269" y="258"/>
                  </a:lnTo>
                  <a:lnTo>
                    <a:pt x="269" y="259"/>
                  </a:lnTo>
                  <a:lnTo>
                    <a:pt x="268" y="258"/>
                  </a:lnTo>
                  <a:lnTo>
                    <a:pt x="268" y="259"/>
                  </a:lnTo>
                  <a:lnTo>
                    <a:pt x="268" y="260"/>
                  </a:lnTo>
                  <a:lnTo>
                    <a:pt x="269" y="260"/>
                  </a:lnTo>
                  <a:lnTo>
                    <a:pt x="268" y="261"/>
                  </a:lnTo>
                  <a:lnTo>
                    <a:pt x="269" y="261"/>
                  </a:lnTo>
                  <a:lnTo>
                    <a:pt x="269" y="262"/>
                  </a:lnTo>
                  <a:lnTo>
                    <a:pt x="270" y="262"/>
                  </a:lnTo>
                  <a:lnTo>
                    <a:pt x="271" y="262"/>
                  </a:lnTo>
                  <a:lnTo>
                    <a:pt x="273" y="262"/>
                  </a:lnTo>
                  <a:lnTo>
                    <a:pt x="273" y="261"/>
                  </a:lnTo>
                  <a:lnTo>
                    <a:pt x="274" y="261"/>
                  </a:lnTo>
                  <a:lnTo>
                    <a:pt x="274" y="262"/>
                  </a:lnTo>
                  <a:lnTo>
                    <a:pt x="275" y="262"/>
                  </a:lnTo>
                  <a:lnTo>
                    <a:pt x="275" y="264"/>
                  </a:lnTo>
                  <a:lnTo>
                    <a:pt x="274" y="265"/>
                  </a:lnTo>
                  <a:lnTo>
                    <a:pt x="274" y="266"/>
                  </a:lnTo>
                  <a:lnTo>
                    <a:pt x="275" y="267"/>
                  </a:lnTo>
                  <a:lnTo>
                    <a:pt x="274" y="268"/>
                  </a:lnTo>
                  <a:lnTo>
                    <a:pt x="274" y="267"/>
                  </a:lnTo>
                  <a:lnTo>
                    <a:pt x="273" y="267"/>
                  </a:lnTo>
                  <a:lnTo>
                    <a:pt x="273" y="268"/>
                  </a:lnTo>
                  <a:lnTo>
                    <a:pt x="273" y="270"/>
                  </a:lnTo>
                  <a:lnTo>
                    <a:pt x="271" y="270"/>
                  </a:lnTo>
                  <a:lnTo>
                    <a:pt x="273" y="271"/>
                  </a:lnTo>
                  <a:lnTo>
                    <a:pt x="274" y="270"/>
                  </a:lnTo>
                  <a:lnTo>
                    <a:pt x="275" y="270"/>
                  </a:lnTo>
                  <a:lnTo>
                    <a:pt x="276" y="270"/>
                  </a:lnTo>
                  <a:lnTo>
                    <a:pt x="275" y="271"/>
                  </a:lnTo>
                  <a:lnTo>
                    <a:pt x="276" y="272"/>
                  </a:lnTo>
                  <a:lnTo>
                    <a:pt x="277" y="273"/>
                  </a:lnTo>
                  <a:lnTo>
                    <a:pt x="279" y="273"/>
                  </a:lnTo>
                  <a:lnTo>
                    <a:pt x="279" y="274"/>
                  </a:lnTo>
                  <a:lnTo>
                    <a:pt x="277" y="276"/>
                  </a:lnTo>
                  <a:lnTo>
                    <a:pt x="279" y="276"/>
                  </a:lnTo>
                  <a:lnTo>
                    <a:pt x="277" y="277"/>
                  </a:lnTo>
                  <a:lnTo>
                    <a:pt x="276" y="278"/>
                  </a:lnTo>
                  <a:lnTo>
                    <a:pt x="276" y="277"/>
                  </a:lnTo>
                  <a:lnTo>
                    <a:pt x="275" y="278"/>
                  </a:lnTo>
                  <a:lnTo>
                    <a:pt x="274" y="277"/>
                  </a:lnTo>
                  <a:lnTo>
                    <a:pt x="273" y="277"/>
                  </a:lnTo>
                  <a:lnTo>
                    <a:pt x="271" y="277"/>
                  </a:lnTo>
                  <a:lnTo>
                    <a:pt x="270" y="276"/>
                  </a:lnTo>
                  <a:lnTo>
                    <a:pt x="269" y="276"/>
                  </a:lnTo>
                  <a:lnTo>
                    <a:pt x="268" y="274"/>
                  </a:lnTo>
                  <a:lnTo>
                    <a:pt x="267" y="273"/>
                  </a:lnTo>
                  <a:lnTo>
                    <a:pt x="267" y="274"/>
                  </a:lnTo>
                  <a:lnTo>
                    <a:pt x="264" y="273"/>
                  </a:lnTo>
                  <a:lnTo>
                    <a:pt x="267" y="273"/>
                  </a:lnTo>
                  <a:lnTo>
                    <a:pt x="267" y="271"/>
                  </a:lnTo>
                  <a:lnTo>
                    <a:pt x="268" y="271"/>
                  </a:lnTo>
                  <a:lnTo>
                    <a:pt x="268" y="272"/>
                  </a:lnTo>
                  <a:lnTo>
                    <a:pt x="268" y="273"/>
                  </a:lnTo>
                  <a:lnTo>
                    <a:pt x="269" y="273"/>
                  </a:lnTo>
                  <a:lnTo>
                    <a:pt x="270" y="274"/>
                  </a:lnTo>
                  <a:lnTo>
                    <a:pt x="271" y="273"/>
                  </a:lnTo>
                  <a:lnTo>
                    <a:pt x="273" y="273"/>
                  </a:lnTo>
                  <a:lnTo>
                    <a:pt x="271" y="272"/>
                  </a:lnTo>
                  <a:lnTo>
                    <a:pt x="270" y="273"/>
                  </a:lnTo>
                  <a:lnTo>
                    <a:pt x="270" y="272"/>
                  </a:lnTo>
                  <a:lnTo>
                    <a:pt x="270" y="271"/>
                  </a:lnTo>
                  <a:lnTo>
                    <a:pt x="270" y="270"/>
                  </a:lnTo>
                  <a:lnTo>
                    <a:pt x="269" y="270"/>
                  </a:lnTo>
                  <a:lnTo>
                    <a:pt x="270" y="268"/>
                  </a:lnTo>
                  <a:lnTo>
                    <a:pt x="269" y="268"/>
                  </a:lnTo>
                  <a:lnTo>
                    <a:pt x="269" y="267"/>
                  </a:lnTo>
                  <a:lnTo>
                    <a:pt x="268" y="266"/>
                  </a:lnTo>
                  <a:lnTo>
                    <a:pt x="269" y="266"/>
                  </a:lnTo>
                  <a:lnTo>
                    <a:pt x="267" y="266"/>
                  </a:lnTo>
                  <a:lnTo>
                    <a:pt x="267" y="267"/>
                  </a:lnTo>
                  <a:lnTo>
                    <a:pt x="268" y="267"/>
                  </a:lnTo>
                  <a:lnTo>
                    <a:pt x="269" y="267"/>
                  </a:lnTo>
                  <a:lnTo>
                    <a:pt x="267" y="268"/>
                  </a:lnTo>
                  <a:lnTo>
                    <a:pt x="267" y="267"/>
                  </a:lnTo>
                  <a:lnTo>
                    <a:pt x="265" y="267"/>
                  </a:lnTo>
                  <a:lnTo>
                    <a:pt x="264" y="266"/>
                  </a:lnTo>
                  <a:lnTo>
                    <a:pt x="263" y="265"/>
                  </a:lnTo>
                  <a:lnTo>
                    <a:pt x="262" y="264"/>
                  </a:lnTo>
                  <a:lnTo>
                    <a:pt x="261" y="264"/>
                  </a:lnTo>
                  <a:lnTo>
                    <a:pt x="261" y="262"/>
                  </a:lnTo>
                  <a:lnTo>
                    <a:pt x="259" y="262"/>
                  </a:lnTo>
                  <a:lnTo>
                    <a:pt x="259" y="261"/>
                  </a:lnTo>
                  <a:lnTo>
                    <a:pt x="261" y="261"/>
                  </a:lnTo>
                  <a:lnTo>
                    <a:pt x="262" y="261"/>
                  </a:lnTo>
                  <a:lnTo>
                    <a:pt x="262" y="260"/>
                  </a:lnTo>
                  <a:lnTo>
                    <a:pt x="261" y="259"/>
                  </a:lnTo>
                  <a:lnTo>
                    <a:pt x="262" y="258"/>
                  </a:lnTo>
                  <a:lnTo>
                    <a:pt x="261" y="258"/>
                  </a:lnTo>
                  <a:lnTo>
                    <a:pt x="261" y="259"/>
                  </a:lnTo>
                  <a:lnTo>
                    <a:pt x="258" y="259"/>
                  </a:lnTo>
                  <a:lnTo>
                    <a:pt x="258" y="258"/>
                  </a:lnTo>
                  <a:lnTo>
                    <a:pt x="257" y="258"/>
                  </a:lnTo>
                  <a:lnTo>
                    <a:pt x="256" y="256"/>
                  </a:lnTo>
                  <a:lnTo>
                    <a:pt x="255" y="256"/>
                  </a:lnTo>
                  <a:lnTo>
                    <a:pt x="253" y="256"/>
                  </a:lnTo>
                  <a:lnTo>
                    <a:pt x="253" y="255"/>
                  </a:lnTo>
                  <a:lnTo>
                    <a:pt x="253" y="254"/>
                  </a:lnTo>
                  <a:lnTo>
                    <a:pt x="252" y="253"/>
                  </a:lnTo>
                  <a:lnTo>
                    <a:pt x="253" y="251"/>
                  </a:lnTo>
                  <a:lnTo>
                    <a:pt x="255" y="251"/>
                  </a:lnTo>
                  <a:lnTo>
                    <a:pt x="255" y="250"/>
                  </a:lnTo>
                  <a:lnTo>
                    <a:pt x="256" y="250"/>
                  </a:lnTo>
                  <a:lnTo>
                    <a:pt x="255" y="249"/>
                  </a:lnTo>
                  <a:lnTo>
                    <a:pt x="256" y="249"/>
                  </a:lnTo>
                  <a:lnTo>
                    <a:pt x="256" y="248"/>
                  </a:lnTo>
                  <a:lnTo>
                    <a:pt x="257" y="245"/>
                  </a:lnTo>
                  <a:lnTo>
                    <a:pt x="257" y="247"/>
                  </a:lnTo>
                  <a:lnTo>
                    <a:pt x="257" y="248"/>
                  </a:lnTo>
                  <a:lnTo>
                    <a:pt x="257" y="249"/>
                  </a:lnTo>
                  <a:lnTo>
                    <a:pt x="258" y="249"/>
                  </a:lnTo>
                  <a:lnTo>
                    <a:pt x="258" y="250"/>
                  </a:lnTo>
                  <a:lnTo>
                    <a:pt x="257" y="250"/>
                  </a:lnTo>
                  <a:lnTo>
                    <a:pt x="257" y="251"/>
                  </a:lnTo>
                  <a:lnTo>
                    <a:pt x="258" y="251"/>
                  </a:lnTo>
                  <a:lnTo>
                    <a:pt x="259" y="251"/>
                  </a:lnTo>
                  <a:lnTo>
                    <a:pt x="259" y="250"/>
                  </a:lnTo>
                  <a:lnTo>
                    <a:pt x="261" y="250"/>
                  </a:lnTo>
                  <a:lnTo>
                    <a:pt x="261" y="251"/>
                  </a:lnTo>
                  <a:lnTo>
                    <a:pt x="261" y="253"/>
                  </a:lnTo>
                  <a:lnTo>
                    <a:pt x="262" y="253"/>
                  </a:lnTo>
                  <a:lnTo>
                    <a:pt x="263" y="253"/>
                  </a:lnTo>
                  <a:lnTo>
                    <a:pt x="263" y="250"/>
                  </a:lnTo>
                  <a:lnTo>
                    <a:pt x="263" y="249"/>
                  </a:lnTo>
                  <a:lnTo>
                    <a:pt x="263" y="248"/>
                  </a:lnTo>
                  <a:lnTo>
                    <a:pt x="263" y="247"/>
                  </a:lnTo>
                  <a:lnTo>
                    <a:pt x="262" y="245"/>
                  </a:lnTo>
                  <a:lnTo>
                    <a:pt x="261" y="245"/>
                  </a:lnTo>
                  <a:lnTo>
                    <a:pt x="259" y="245"/>
                  </a:lnTo>
                  <a:lnTo>
                    <a:pt x="258" y="245"/>
                  </a:lnTo>
                  <a:lnTo>
                    <a:pt x="257" y="245"/>
                  </a:lnTo>
                  <a:lnTo>
                    <a:pt x="256" y="245"/>
                  </a:lnTo>
                  <a:lnTo>
                    <a:pt x="255" y="247"/>
                  </a:lnTo>
                  <a:lnTo>
                    <a:pt x="253" y="245"/>
                  </a:lnTo>
                  <a:lnTo>
                    <a:pt x="251" y="244"/>
                  </a:lnTo>
                  <a:lnTo>
                    <a:pt x="250" y="244"/>
                  </a:lnTo>
                  <a:lnTo>
                    <a:pt x="250" y="245"/>
                  </a:lnTo>
                  <a:lnTo>
                    <a:pt x="251" y="244"/>
                  </a:lnTo>
                  <a:lnTo>
                    <a:pt x="250" y="245"/>
                  </a:lnTo>
                  <a:lnTo>
                    <a:pt x="248" y="245"/>
                  </a:lnTo>
                  <a:lnTo>
                    <a:pt x="247" y="247"/>
                  </a:lnTo>
                  <a:lnTo>
                    <a:pt x="247" y="248"/>
                  </a:lnTo>
                  <a:lnTo>
                    <a:pt x="245" y="247"/>
                  </a:lnTo>
                  <a:lnTo>
                    <a:pt x="244" y="248"/>
                  </a:lnTo>
                  <a:lnTo>
                    <a:pt x="244" y="247"/>
                  </a:lnTo>
                  <a:lnTo>
                    <a:pt x="242" y="247"/>
                  </a:lnTo>
                  <a:lnTo>
                    <a:pt x="241" y="247"/>
                  </a:lnTo>
                  <a:lnTo>
                    <a:pt x="240" y="247"/>
                  </a:lnTo>
                  <a:lnTo>
                    <a:pt x="239" y="248"/>
                  </a:lnTo>
                  <a:lnTo>
                    <a:pt x="239" y="249"/>
                  </a:lnTo>
                  <a:lnTo>
                    <a:pt x="238" y="249"/>
                  </a:lnTo>
                  <a:lnTo>
                    <a:pt x="238" y="248"/>
                  </a:lnTo>
                  <a:lnTo>
                    <a:pt x="236" y="247"/>
                  </a:lnTo>
                  <a:lnTo>
                    <a:pt x="235" y="248"/>
                  </a:lnTo>
                  <a:lnTo>
                    <a:pt x="234" y="248"/>
                  </a:lnTo>
                  <a:lnTo>
                    <a:pt x="234" y="245"/>
                  </a:lnTo>
                  <a:lnTo>
                    <a:pt x="233" y="244"/>
                  </a:lnTo>
                  <a:lnTo>
                    <a:pt x="232" y="244"/>
                  </a:lnTo>
                  <a:lnTo>
                    <a:pt x="230" y="244"/>
                  </a:lnTo>
                  <a:lnTo>
                    <a:pt x="227" y="245"/>
                  </a:lnTo>
                  <a:lnTo>
                    <a:pt x="224" y="245"/>
                  </a:lnTo>
                  <a:lnTo>
                    <a:pt x="223" y="247"/>
                  </a:lnTo>
                  <a:lnTo>
                    <a:pt x="222" y="247"/>
                  </a:lnTo>
                  <a:lnTo>
                    <a:pt x="220" y="247"/>
                  </a:lnTo>
                  <a:lnTo>
                    <a:pt x="218" y="247"/>
                  </a:lnTo>
                  <a:lnTo>
                    <a:pt x="218" y="248"/>
                  </a:lnTo>
                  <a:lnTo>
                    <a:pt x="216" y="248"/>
                  </a:lnTo>
                  <a:lnTo>
                    <a:pt x="215" y="247"/>
                  </a:lnTo>
                  <a:lnTo>
                    <a:pt x="212" y="248"/>
                  </a:lnTo>
                  <a:lnTo>
                    <a:pt x="208" y="248"/>
                  </a:lnTo>
                  <a:lnTo>
                    <a:pt x="208" y="250"/>
                  </a:lnTo>
                  <a:lnTo>
                    <a:pt x="209" y="251"/>
                  </a:lnTo>
                  <a:lnTo>
                    <a:pt x="210" y="250"/>
                  </a:lnTo>
                  <a:lnTo>
                    <a:pt x="211" y="250"/>
                  </a:lnTo>
                  <a:lnTo>
                    <a:pt x="212" y="250"/>
                  </a:lnTo>
                  <a:lnTo>
                    <a:pt x="212" y="251"/>
                  </a:lnTo>
                  <a:lnTo>
                    <a:pt x="212" y="250"/>
                  </a:lnTo>
                  <a:lnTo>
                    <a:pt x="214" y="251"/>
                  </a:lnTo>
                  <a:lnTo>
                    <a:pt x="215" y="253"/>
                  </a:lnTo>
                  <a:lnTo>
                    <a:pt x="215" y="254"/>
                  </a:lnTo>
                  <a:lnTo>
                    <a:pt x="216" y="254"/>
                  </a:lnTo>
                  <a:lnTo>
                    <a:pt x="216" y="255"/>
                  </a:lnTo>
                  <a:lnTo>
                    <a:pt x="216" y="256"/>
                  </a:lnTo>
                  <a:lnTo>
                    <a:pt x="216" y="258"/>
                  </a:lnTo>
                  <a:lnTo>
                    <a:pt x="216" y="259"/>
                  </a:lnTo>
                  <a:lnTo>
                    <a:pt x="216" y="260"/>
                  </a:lnTo>
                  <a:lnTo>
                    <a:pt x="215" y="260"/>
                  </a:lnTo>
                  <a:lnTo>
                    <a:pt x="214" y="261"/>
                  </a:lnTo>
                  <a:lnTo>
                    <a:pt x="212" y="261"/>
                  </a:lnTo>
                  <a:lnTo>
                    <a:pt x="210" y="261"/>
                  </a:lnTo>
                  <a:lnTo>
                    <a:pt x="211" y="262"/>
                  </a:lnTo>
                  <a:lnTo>
                    <a:pt x="212" y="262"/>
                  </a:lnTo>
                  <a:lnTo>
                    <a:pt x="215" y="262"/>
                  </a:lnTo>
                  <a:lnTo>
                    <a:pt x="220" y="262"/>
                  </a:lnTo>
                  <a:lnTo>
                    <a:pt x="221" y="262"/>
                  </a:lnTo>
                  <a:lnTo>
                    <a:pt x="223" y="264"/>
                  </a:lnTo>
                  <a:lnTo>
                    <a:pt x="226" y="264"/>
                  </a:lnTo>
                  <a:lnTo>
                    <a:pt x="227" y="264"/>
                  </a:lnTo>
                  <a:lnTo>
                    <a:pt x="228" y="264"/>
                  </a:lnTo>
                  <a:lnTo>
                    <a:pt x="229" y="264"/>
                  </a:lnTo>
                  <a:lnTo>
                    <a:pt x="228" y="262"/>
                  </a:lnTo>
                  <a:lnTo>
                    <a:pt x="227" y="262"/>
                  </a:lnTo>
                  <a:lnTo>
                    <a:pt x="227" y="261"/>
                  </a:lnTo>
                  <a:lnTo>
                    <a:pt x="228" y="260"/>
                  </a:lnTo>
                  <a:lnTo>
                    <a:pt x="230" y="261"/>
                  </a:lnTo>
                  <a:lnTo>
                    <a:pt x="230" y="260"/>
                  </a:lnTo>
                  <a:lnTo>
                    <a:pt x="232" y="260"/>
                  </a:lnTo>
                  <a:lnTo>
                    <a:pt x="232" y="261"/>
                  </a:lnTo>
                  <a:lnTo>
                    <a:pt x="233" y="261"/>
                  </a:lnTo>
                  <a:lnTo>
                    <a:pt x="233" y="260"/>
                  </a:lnTo>
                  <a:lnTo>
                    <a:pt x="235" y="260"/>
                  </a:lnTo>
                  <a:lnTo>
                    <a:pt x="235" y="259"/>
                  </a:lnTo>
                  <a:lnTo>
                    <a:pt x="236" y="259"/>
                  </a:lnTo>
                  <a:lnTo>
                    <a:pt x="238" y="258"/>
                  </a:lnTo>
                  <a:lnTo>
                    <a:pt x="239" y="258"/>
                  </a:lnTo>
                  <a:lnTo>
                    <a:pt x="240" y="258"/>
                  </a:lnTo>
                  <a:lnTo>
                    <a:pt x="241" y="259"/>
                  </a:lnTo>
                  <a:lnTo>
                    <a:pt x="242" y="259"/>
                  </a:lnTo>
                  <a:lnTo>
                    <a:pt x="244" y="259"/>
                  </a:lnTo>
                  <a:lnTo>
                    <a:pt x="244" y="260"/>
                  </a:lnTo>
                  <a:lnTo>
                    <a:pt x="245" y="261"/>
                  </a:lnTo>
                  <a:lnTo>
                    <a:pt x="246" y="262"/>
                  </a:lnTo>
                  <a:lnTo>
                    <a:pt x="246" y="264"/>
                  </a:lnTo>
                  <a:lnTo>
                    <a:pt x="247" y="264"/>
                  </a:lnTo>
                  <a:lnTo>
                    <a:pt x="248" y="264"/>
                  </a:lnTo>
                  <a:lnTo>
                    <a:pt x="248" y="265"/>
                  </a:lnTo>
                  <a:lnTo>
                    <a:pt x="250" y="265"/>
                  </a:lnTo>
                  <a:lnTo>
                    <a:pt x="251" y="264"/>
                  </a:lnTo>
                  <a:lnTo>
                    <a:pt x="252" y="264"/>
                  </a:lnTo>
                  <a:lnTo>
                    <a:pt x="252" y="265"/>
                  </a:lnTo>
                  <a:lnTo>
                    <a:pt x="255" y="265"/>
                  </a:lnTo>
                  <a:lnTo>
                    <a:pt x="255" y="266"/>
                  </a:lnTo>
                  <a:lnTo>
                    <a:pt x="256" y="267"/>
                  </a:lnTo>
                  <a:lnTo>
                    <a:pt x="256" y="268"/>
                  </a:lnTo>
                  <a:lnTo>
                    <a:pt x="256" y="270"/>
                  </a:lnTo>
                  <a:lnTo>
                    <a:pt x="255" y="270"/>
                  </a:lnTo>
                  <a:lnTo>
                    <a:pt x="256" y="271"/>
                  </a:lnTo>
                  <a:lnTo>
                    <a:pt x="257" y="272"/>
                  </a:lnTo>
                  <a:lnTo>
                    <a:pt x="258" y="272"/>
                  </a:lnTo>
                  <a:lnTo>
                    <a:pt x="259" y="272"/>
                  </a:lnTo>
                  <a:lnTo>
                    <a:pt x="261" y="273"/>
                  </a:lnTo>
                  <a:lnTo>
                    <a:pt x="262" y="274"/>
                  </a:lnTo>
                  <a:lnTo>
                    <a:pt x="261" y="276"/>
                  </a:lnTo>
                  <a:lnTo>
                    <a:pt x="259" y="277"/>
                  </a:lnTo>
                  <a:lnTo>
                    <a:pt x="261" y="276"/>
                  </a:lnTo>
                  <a:lnTo>
                    <a:pt x="262" y="276"/>
                  </a:lnTo>
                  <a:lnTo>
                    <a:pt x="262" y="277"/>
                  </a:lnTo>
                  <a:lnTo>
                    <a:pt x="263" y="278"/>
                  </a:lnTo>
                  <a:lnTo>
                    <a:pt x="263" y="279"/>
                  </a:lnTo>
                  <a:lnTo>
                    <a:pt x="263" y="280"/>
                  </a:lnTo>
                  <a:lnTo>
                    <a:pt x="264" y="280"/>
                  </a:lnTo>
                  <a:lnTo>
                    <a:pt x="265" y="282"/>
                  </a:lnTo>
                  <a:lnTo>
                    <a:pt x="264" y="282"/>
                  </a:lnTo>
                  <a:lnTo>
                    <a:pt x="263" y="283"/>
                  </a:lnTo>
                  <a:lnTo>
                    <a:pt x="262" y="282"/>
                  </a:lnTo>
                  <a:lnTo>
                    <a:pt x="262" y="283"/>
                  </a:lnTo>
                  <a:lnTo>
                    <a:pt x="263" y="283"/>
                  </a:lnTo>
                  <a:lnTo>
                    <a:pt x="264" y="285"/>
                  </a:lnTo>
                  <a:lnTo>
                    <a:pt x="264" y="284"/>
                  </a:lnTo>
                  <a:lnTo>
                    <a:pt x="264" y="285"/>
                  </a:lnTo>
                  <a:lnTo>
                    <a:pt x="265" y="285"/>
                  </a:lnTo>
                  <a:lnTo>
                    <a:pt x="265" y="286"/>
                  </a:lnTo>
                  <a:lnTo>
                    <a:pt x="267" y="288"/>
                  </a:lnTo>
                  <a:lnTo>
                    <a:pt x="268" y="289"/>
                  </a:lnTo>
                  <a:lnTo>
                    <a:pt x="268" y="290"/>
                  </a:lnTo>
                  <a:lnTo>
                    <a:pt x="268" y="292"/>
                  </a:lnTo>
                  <a:lnTo>
                    <a:pt x="265" y="292"/>
                  </a:lnTo>
                  <a:lnTo>
                    <a:pt x="264" y="292"/>
                  </a:lnTo>
                  <a:lnTo>
                    <a:pt x="263" y="292"/>
                  </a:lnTo>
                  <a:lnTo>
                    <a:pt x="263" y="291"/>
                  </a:lnTo>
                  <a:lnTo>
                    <a:pt x="262" y="291"/>
                  </a:lnTo>
                  <a:lnTo>
                    <a:pt x="261" y="290"/>
                  </a:lnTo>
                  <a:lnTo>
                    <a:pt x="259" y="290"/>
                  </a:lnTo>
                  <a:lnTo>
                    <a:pt x="258" y="289"/>
                  </a:lnTo>
                  <a:lnTo>
                    <a:pt x="257" y="288"/>
                  </a:lnTo>
                  <a:lnTo>
                    <a:pt x="257" y="286"/>
                  </a:lnTo>
                  <a:lnTo>
                    <a:pt x="256" y="288"/>
                  </a:lnTo>
                  <a:lnTo>
                    <a:pt x="257" y="289"/>
                  </a:lnTo>
                  <a:lnTo>
                    <a:pt x="256" y="288"/>
                  </a:lnTo>
                  <a:lnTo>
                    <a:pt x="256" y="289"/>
                  </a:lnTo>
                  <a:lnTo>
                    <a:pt x="255" y="290"/>
                  </a:lnTo>
                  <a:lnTo>
                    <a:pt x="256" y="289"/>
                  </a:lnTo>
                  <a:lnTo>
                    <a:pt x="255" y="288"/>
                  </a:lnTo>
                  <a:lnTo>
                    <a:pt x="253" y="286"/>
                  </a:lnTo>
                  <a:lnTo>
                    <a:pt x="253" y="288"/>
                  </a:lnTo>
                  <a:lnTo>
                    <a:pt x="252" y="288"/>
                  </a:lnTo>
                  <a:lnTo>
                    <a:pt x="251" y="286"/>
                  </a:lnTo>
                  <a:lnTo>
                    <a:pt x="250" y="285"/>
                  </a:lnTo>
                  <a:lnTo>
                    <a:pt x="250" y="286"/>
                  </a:lnTo>
                  <a:lnTo>
                    <a:pt x="248" y="285"/>
                  </a:lnTo>
                  <a:lnTo>
                    <a:pt x="247" y="285"/>
                  </a:lnTo>
                  <a:lnTo>
                    <a:pt x="248" y="285"/>
                  </a:lnTo>
                  <a:lnTo>
                    <a:pt x="248" y="284"/>
                  </a:lnTo>
                  <a:lnTo>
                    <a:pt x="247" y="285"/>
                  </a:lnTo>
                  <a:lnTo>
                    <a:pt x="246" y="285"/>
                  </a:lnTo>
                  <a:lnTo>
                    <a:pt x="246" y="286"/>
                  </a:lnTo>
                  <a:lnTo>
                    <a:pt x="247" y="288"/>
                  </a:lnTo>
                  <a:lnTo>
                    <a:pt x="248" y="289"/>
                  </a:lnTo>
                  <a:lnTo>
                    <a:pt x="247" y="288"/>
                  </a:lnTo>
                  <a:lnTo>
                    <a:pt x="246" y="288"/>
                  </a:lnTo>
                  <a:lnTo>
                    <a:pt x="245" y="289"/>
                  </a:lnTo>
                  <a:lnTo>
                    <a:pt x="244" y="290"/>
                  </a:lnTo>
                  <a:lnTo>
                    <a:pt x="242" y="290"/>
                  </a:lnTo>
                  <a:lnTo>
                    <a:pt x="241" y="290"/>
                  </a:lnTo>
                  <a:lnTo>
                    <a:pt x="240" y="290"/>
                  </a:lnTo>
                  <a:lnTo>
                    <a:pt x="241" y="291"/>
                  </a:lnTo>
                  <a:lnTo>
                    <a:pt x="242" y="291"/>
                  </a:lnTo>
                  <a:lnTo>
                    <a:pt x="240" y="292"/>
                  </a:lnTo>
                  <a:lnTo>
                    <a:pt x="239" y="292"/>
                  </a:lnTo>
                  <a:lnTo>
                    <a:pt x="238" y="291"/>
                  </a:lnTo>
                  <a:lnTo>
                    <a:pt x="236" y="292"/>
                  </a:lnTo>
                  <a:lnTo>
                    <a:pt x="235" y="291"/>
                  </a:lnTo>
                  <a:lnTo>
                    <a:pt x="234" y="291"/>
                  </a:lnTo>
                  <a:lnTo>
                    <a:pt x="233" y="291"/>
                  </a:lnTo>
                  <a:lnTo>
                    <a:pt x="233" y="292"/>
                  </a:lnTo>
                  <a:lnTo>
                    <a:pt x="234" y="294"/>
                  </a:lnTo>
                  <a:lnTo>
                    <a:pt x="233" y="294"/>
                  </a:lnTo>
                  <a:lnTo>
                    <a:pt x="232" y="294"/>
                  </a:lnTo>
                  <a:lnTo>
                    <a:pt x="230" y="295"/>
                  </a:lnTo>
                  <a:lnTo>
                    <a:pt x="230" y="294"/>
                  </a:lnTo>
                  <a:lnTo>
                    <a:pt x="229" y="294"/>
                  </a:lnTo>
                  <a:lnTo>
                    <a:pt x="229" y="295"/>
                  </a:lnTo>
                  <a:lnTo>
                    <a:pt x="228" y="294"/>
                  </a:lnTo>
                  <a:lnTo>
                    <a:pt x="228" y="292"/>
                  </a:lnTo>
                  <a:lnTo>
                    <a:pt x="229" y="291"/>
                  </a:lnTo>
                  <a:lnTo>
                    <a:pt x="230" y="291"/>
                  </a:lnTo>
                  <a:lnTo>
                    <a:pt x="230" y="290"/>
                  </a:lnTo>
                  <a:lnTo>
                    <a:pt x="229" y="291"/>
                  </a:lnTo>
                  <a:lnTo>
                    <a:pt x="228" y="290"/>
                  </a:lnTo>
                  <a:lnTo>
                    <a:pt x="227" y="289"/>
                  </a:lnTo>
                  <a:lnTo>
                    <a:pt x="226" y="288"/>
                  </a:lnTo>
                  <a:lnTo>
                    <a:pt x="227" y="288"/>
                  </a:lnTo>
                  <a:lnTo>
                    <a:pt x="227" y="286"/>
                  </a:lnTo>
                  <a:lnTo>
                    <a:pt x="228" y="286"/>
                  </a:lnTo>
                  <a:lnTo>
                    <a:pt x="228" y="288"/>
                  </a:lnTo>
                  <a:lnTo>
                    <a:pt x="230" y="288"/>
                  </a:lnTo>
                  <a:lnTo>
                    <a:pt x="230" y="286"/>
                  </a:lnTo>
                  <a:lnTo>
                    <a:pt x="230" y="285"/>
                  </a:lnTo>
                  <a:lnTo>
                    <a:pt x="232" y="285"/>
                  </a:lnTo>
                  <a:lnTo>
                    <a:pt x="233" y="285"/>
                  </a:lnTo>
                  <a:lnTo>
                    <a:pt x="232" y="284"/>
                  </a:lnTo>
                  <a:lnTo>
                    <a:pt x="232" y="283"/>
                  </a:lnTo>
                  <a:lnTo>
                    <a:pt x="232" y="282"/>
                  </a:lnTo>
                  <a:lnTo>
                    <a:pt x="233" y="282"/>
                  </a:lnTo>
                  <a:lnTo>
                    <a:pt x="233" y="280"/>
                  </a:lnTo>
                  <a:lnTo>
                    <a:pt x="234" y="279"/>
                  </a:lnTo>
                  <a:lnTo>
                    <a:pt x="233" y="279"/>
                  </a:lnTo>
                  <a:lnTo>
                    <a:pt x="233" y="278"/>
                  </a:lnTo>
                  <a:lnTo>
                    <a:pt x="232" y="278"/>
                  </a:lnTo>
                  <a:lnTo>
                    <a:pt x="229" y="277"/>
                  </a:lnTo>
                  <a:lnTo>
                    <a:pt x="230" y="276"/>
                  </a:lnTo>
                  <a:lnTo>
                    <a:pt x="232" y="276"/>
                  </a:lnTo>
                  <a:lnTo>
                    <a:pt x="232" y="274"/>
                  </a:lnTo>
                  <a:lnTo>
                    <a:pt x="232" y="273"/>
                  </a:lnTo>
                  <a:lnTo>
                    <a:pt x="232" y="272"/>
                  </a:lnTo>
                  <a:lnTo>
                    <a:pt x="233" y="272"/>
                  </a:lnTo>
                  <a:lnTo>
                    <a:pt x="232" y="271"/>
                  </a:lnTo>
                  <a:lnTo>
                    <a:pt x="232" y="270"/>
                  </a:lnTo>
                  <a:lnTo>
                    <a:pt x="230" y="268"/>
                  </a:lnTo>
                  <a:lnTo>
                    <a:pt x="232" y="267"/>
                  </a:lnTo>
                  <a:lnTo>
                    <a:pt x="229" y="267"/>
                  </a:lnTo>
                  <a:lnTo>
                    <a:pt x="229" y="268"/>
                  </a:lnTo>
                  <a:lnTo>
                    <a:pt x="228" y="267"/>
                  </a:lnTo>
                  <a:lnTo>
                    <a:pt x="228" y="266"/>
                  </a:lnTo>
                  <a:lnTo>
                    <a:pt x="227" y="266"/>
                  </a:lnTo>
                  <a:lnTo>
                    <a:pt x="221" y="265"/>
                  </a:lnTo>
                  <a:lnTo>
                    <a:pt x="220" y="265"/>
                  </a:lnTo>
                  <a:lnTo>
                    <a:pt x="218" y="265"/>
                  </a:lnTo>
                  <a:lnTo>
                    <a:pt x="217" y="265"/>
                  </a:lnTo>
                  <a:lnTo>
                    <a:pt x="215" y="265"/>
                  </a:lnTo>
                  <a:lnTo>
                    <a:pt x="216" y="266"/>
                  </a:lnTo>
                  <a:lnTo>
                    <a:pt x="215" y="266"/>
                  </a:lnTo>
                  <a:lnTo>
                    <a:pt x="214" y="266"/>
                  </a:lnTo>
                  <a:lnTo>
                    <a:pt x="212" y="266"/>
                  </a:lnTo>
                  <a:lnTo>
                    <a:pt x="212" y="267"/>
                  </a:lnTo>
                  <a:lnTo>
                    <a:pt x="211" y="267"/>
                  </a:lnTo>
                  <a:lnTo>
                    <a:pt x="210" y="267"/>
                  </a:lnTo>
                  <a:lnTo>
                    <a:pt x="208" y="267"/>
                  </a:lnTo>
                  <a:lnTo>
                    <a:pt x="208" y="268"/>
                  </a:lnTo>
                  <a:lnTo>
                    <a:pt x="206" y="268"/>
                  </a:lnTo>
                  <a:lnTo>
                    <a:pt x="206" y="271"/>
                  </a:lnTo>
                  <a:lnTo>
                    <a:pt x="204" y="271"/>
                  </a:lnTo>
                  <a:lnTo>
                    <a:pt x="204" y="272"/>
                  </a:lnTo>
                  <a:lnTo>
                    <a:pt x="204" y="271"/>
                  </a:lnTo>
                  <a:lnTo>
                    <a:pt x="203" y="271"/>
                  </a:lnTo>
                  <a:lnTo>
                    <a:pt x="202" y="270"/>
                  </a:lnTo>
                  <a:lnTo>
                    <a:pt x="200" y="268"/>
                  </a:lnTo>
                  <a:lnTo>
                    <a:pt x="199" y="268"/>
                  </a:lnTo>
                  <a:lnTo>
                    <a:pt x="197" y="270"/>
                  </a:lnTo>
                  <a:lnTo>
                    <a:pt x="194" y="271"/>
                  </a:lnTo>
                  <a:lnTo>
                    <a:pt x="197" y="270"/>
                  </a:lnTo>
                  <a:lnTo>
                    <a:pt x="199" y="271"/>
                  </a:lnTo>
                  <a:lnTo>
                    <a:pt x="199" y="272"/>
                  </a:lnTo>
                  <a:lnTo>
                    <a:pt x="198" y="272"/>
                  </a:lnTo>
                  <a:lnTo>
                    <a:pt x="198" y="273"/>
                  </a:lnTo>
                  <a:lnTo>
                    <a:pt x="199" y="276"/>
                  </a:lnTo>
                  <a:lnTo>
                    <a:pt x="198" y="276"/>
                  </a:lnTo>
                  <a:lnTo>
                    <a:pt x="198" y="277"/>
                  </a:lnTo>
                  <a:lnTo>
                    <a:pt x="199" y="277"/>
                  </a:lnTo>
                  <a:lnTo>
                    <a:pt x="199" y="278"/>
                  </a:lnTo>
                  <a:lnTo>
                    <a:pt x="198" y="279"/>
                  </a:lnTo>
                  <a:lnTo>
                    <a:pt x="199" y="280"/>
                  </a:lnTo>
                  <a:lnTo>
                    <a:pt x="198" y="282"/>
                  </a:lnTo>
                  <a:lnTo>
                    <a:pt x="197" y="280"/>
                  </a:lnTo>
                  <a:lnTo>
                    <a:pt x="196" y="280"/>
                  </a:lnTo>
                  <a:lnTo>
                    <a:pt x="196" y="282"/>
                  </a:lnTo>
                  <a:lnTo>
                    <a:pt x="198" y="282"/>
                  </a:lnTo>
                  <a:lnTo>
                    <a:pt x="198" y="283"/>
                  </a:lnTo>
                  <a:lnTo>
                    <a:pt x="197" y="283"/>
                  </a:lnTo>
                  <a:lnTo>
                    <a:pt x="196" y="284"/>
                  </a:lnTo>
                  <a:lnTo>
                    <a:pt x="196" y="283"/>
                  </a:lnTo>
                  <a:lnTo>
                    <a:pt x="196" y="284"/>
                  </a:lnTo>
                  <a:lnTo>
                    <a:pt x="194" y="284"/>
                  </a:lnTo>
                  <a:lnTo>
                    <a:pt x="196" y="285"/>
                  </a:lnTo>
                  <a:lnTo>
                    <a:pt x="196" y="286"/>
                  </a:lnTo>
                  <a:lnTo>
                    <a:pt x="194" y="286"/>
                  </a:lnTo>
                  <a:lnTo>
                    <a:pt x="193" y="284"/>
                  </a:lnTo>
                  <a:lnTo>
                    <a:pt x="193" y="285"/>
                  </a:lnTo>
                  <a:lnTo>
                    <a:pt x="192" y="285"/>
                  </a:lnTo>
                  <a:lnTo>
                    <a:pt x="192" y="284"/>
                  </a:lnTo>
                  <a:lnTo>
                    <a:pt x="191" y="283"/>
                  </a:lnTo>
                  <a:lnTo>
                    <a:pt x="192" y="283"/>
                  </a:lnTo>
                  <a:lnTo>
                    <a:pt x="193" y="284"/>
                  </a:lnTo>
                  <a:lnTo>
                    <a:pt x="192" y="283"/>
                  </a:lnTo>
                  <a:lnTo>
                    <a:pt x="192" y="282"/>
                  </a:lnTo>
                  <a:lnTo>
                    <a:pt x="191" y="283"/>
                  </a:lnTo>
                  <a:lnTo>
                    <a:pt x="192" y="282"/>
                  </a:lnTo>
                  <a:lnTo>
                    <a:pt x="192" y="280"/>
                  </a:lnTo>
                  <a:lnTo>
                    <a:pt x="191" y="282"/>
                  </a:lnTo>
                  <a:lnTo>
                    <a:pt x="189" y="282"/>
                  </a:lnTo>
                  <a:lnTo>
                    <a:pt x="188" y="283"/>
                  </a:lnTo>
                  <a:lnTo>
                    <a:pt x="187" y="284"/>
                  </a:lnTo>
                  <a:lnTo>
                    <a:pt x="186" y="288"/>
                  </a:lnTo>
                  <a:lnTo>
                    <a:pt x="185" y="290"/>
                  </a:lnTo>
                  <a:lnTo>
                    <a:pt x="187" y="291"/>
                  </a:lnTo>
                  <a:lnTo>
                    <a:pt x="191" y="291"/>
                  </a:lnTo>
                  <a:lnTo>
                    <a:pt x="192" y="290"/>
                  </a:lnTo>
                  <a:lnTo>
                    <a:pt x="194" y="290"/>
                  </a:lnTo>
                  <a:lnTo>
                    <a:pt x="196" y="290"/>
                  </a:lnTo>
                  <a:lnTo>
                    <a:pt x="198" y="289"/>
                  </a:lnTo>
                  <a:lnTo>
                    <a:pt x="202" y="289"/>
                  </a:lnTo>
                  <a:lnTo>
                    <a:pt x="210" y="288"/>
                  </a:lnTo>
                  <a:lnTo>
                    <a:pt x="215" y="288"/>
                  </a:lnTo>
                  <a:lnTo>
                    <a:pt x="216" y="286"/>
                  </a:lnTo>
                  <a:lnTo>
                    <a:pt x="216" y="285"/>
                  </a:lnTo>
                  <a:lnTo>
                    <a:pt x="216" y="286"/>
                  </a:lnTo>
                  <a:lnTo>
                    <a:pt x="218" y="286"/>
                  </a:lnTo>
                  <a:lnTo>
                    <a:pt x="218" y="288"/>
                  </a:lnTo>
                  <a:lnTo>
                    <a:pt x="217" y="289"/>
                  </a:lnTo>
                  <a:lnTo>
                    <a:pt x="215" y="289"/>
                  </a:lnTo>
                  <a:lnTo>
                    <a:pt x="214" y="290"/>
                  </a:lnTo>
                  <a:lnTo>
                    <a:pt x="209" y="290"/>
                  </a:lnTo>
                  <a:lnTo>
                    <a:pt x="205" y="290"/>
                  </a:lnTo>
                  <a:lnTo>
                    <a:pt x="203" y="290"/>
                  </a:lnTo>
                  <a:lnTo>
                    <a:pt x="200" y="291"/>
                  </a:lnTo>
                  <a:lnTo>
                    <a:pt x="199" y="291"/>
                  </a:lnTo>
                  <a:lnTo>
                    <a:pt x="197" y="292"/>
                  </a:lnTo>
                  <a:lnTo>
                    <a:pt x="194" y="294"/>
                  </a:lnTo>
                  <a:lnTo>
                    <a:pt x="191" y="294"/>
                  </a:lnTo>
                  <a:lnTo>
                    <a:pt x="188" y="295"/>
                  </a:lnTo>
                  <a:lnTo>
                    <a:pt x="186" y="296"/>
                  </a:lnTo>
                  <a:lnTo>
                    <a:pt x="186" y="298"/>
                  </a:lnTo>
                  <a:lnTo>
                    <a:pt x="186" y="300"/>
                  </a:lnTo>
                  <a:lnTo>
                    <a:pt x="187" y="301"/>
                  </a:lnTo>
                  <a:lnTo>
                    <a:pt x="187" y="304"/>
                  </a:lnTo>
                  <a:lnTo>
                    <a:pt x="186" y="306"/>
                  </a:lnTo>
                  <a:lnTo>
                    <a:pt x="185" y="309"/>
                  </a:lnTo>
                  <a:lnTo>
                    <a:pt x="185" y="313"/>
                  </a:lnTo>
                  <a:lnTo>
                    <a:pt x="185" y="315"/>
                  </a:lnTo>
                  <a:lnTo>
                    <a:pt x="185" y="321"/>
                  </a:lnTo>
                  <a:lnTo>
                    <a:pt x="185" y="324"/>
                  </a:lnTo>
                  <a:lnTo>
                    <a:pt x="186" y="336"/>
                  </a:lnTo>
                  <a:lnTo>
                    <a:pt x="186" y="340"/>
                  </a:lnTo>
                  <a:lnTo>
                    <a:pt x="185" y="343"/>
                  </a:lnTo>
                  <a:lnTo>
                    <a:pt x="185" y="345"/>
                  </a:lnTo>
                  <a:lnTo>
                    <a:pt x="185" y="346"/>
                  </a:lnTo>
                  <a:lnTo>
                    <a:pt x="183" y="348"/>
                  </a:lnTo>
                  <a:lnTo>
                    <a:pt x="182" y="348"/>
                  </a:lnTo>
                  <a:lnTo>
                    <a:pt x="179" y="349"/>
                  </a:lnTo>
                  <a:lnTo>
                    <a:pt x="175" y="348"/>
                  </a:lnTo>
                  <a:lnTo>
                    <a:pt x="171" y="348"/>
                  </a:lnTo>
                  <a:lnTo>
                    <a:pt x="170" y="345"/>
                  </a:lnTo>
                  <a:lnTo>
                    <a:pt x="170" y="342"/>
                  </a:lnTo>
                  <a:lnTo>
                    <a:pt x="171" y="338"/>
                  </a:lnTo>
                  <a:lnTo>
                    <a:pt x="171" y="336"/>
                  </a:lnTo>
                  <a:lnTo>
                    <a:pt x="171" y="328"/>
                  </a:lnTo>
                  <a:lnTo>
                    <a:pt x="171" y="327"/>
                  </a:lnTo>
                  <a:lnTo>
                    <a:pt x="171" y="325"/>
                  </a:lnTo>
                  <a:lnTo>
                    <a:pt x="171" y="320"/>
                  </a:lnTo>
                  <a:lnTo>
                    <a:pt x="173" y="318"/>
                  </a:lnTo>
                  <a:lnTo>
                    <a:pt x="173" y="310"/>
                  </a:lnTo>
                  <a:lnTo>
                    <a:pt x="173" y="304"/>
                  </a:lnTo>
                  <a:lnTo>
                    <a:pt x="171" y="301"/>
                  </a:lnTo>
                  <a:lnTo>
                    <a:pt x="168" y="300"/>
                  </a:lnTo>
                  <a:lnTo>
                    <a:pt x="163" y="297"/>
                  </a:lnTo>
                  <a:lnTo>
                    <a:pt x="159" y="295"/>
                  </a:lnTo>
                  <a:lnTo>
                    <a:pt x="157" y="294"/>
                  </a:lnTo>
                  <a:lnTo>
                    <a:pt x="155" y="292"/>
                  </a:lnTo>
                  <a:lnTo>
                    <a:pt x="151" y="292"/>
                  </a:lnTo>
                  <a:lnTo>
                    <a:pt x="149" y="292"/>
                  </a:lnTo>
                  <a:lnTo>
                    <a:pt x="147" y="292"/>
                  </a:lnTo>
                  <a:lnTo>
                    <a:pt x="144" y="291"/>
                  </a:lnTo>
                  <a:lnTo>
                    <a:pt x="140" y="291"/>
                  </a:lnTo>
                  <a:lnTo>
                    <a:pt x="137" y="291"/>
                  </a:lnTo>
                  <a:lnTo>
                    <a:pt x="135" y="291"/>
                  </a:lnTo>
                  <a:lnTo>
                    <a:pt x="134" y="291"/>
                  </a:lnTo>
                  <a:lnTo>
                    <a:pt x="133" y="291"/>
                  </a:lnTo>
                  <a:lnTo>
                    <a:pt x="132" y="292"/>
                  </a:lnTo>
                  <a:lnTo>
                    <a:pt x="131" y="292"/>
                  </a:lnTo>
                  <a:lnTo>
                    <a:pt x="129" y="294"/>
                  </a:lnTo>
                  <a:lnTo>
                    <a:pt x="128" y="295"/>
                  </a:lnTo>
                  <a:lnTo>
                    <a:pt x="126" y="294"/>
                  </a:lnTo>
                  <a:lnTo>
                    <a:pt x="128" y="292"/>
                  </a:lnTo>
                  <a:lnTo>
                    <a:pt x="132" y="290"/>
                  </a:lnTo>
                  <a:lnTo>
                    <a:pt x="133" y="288"/>
                  </a:lnTo>
                  <a:lnTo>
                    <a:pt x="135" y="286"/>
                  </a:lnTo>
                  <a:lnTo>
                    <a:pt x="134" y="284"/>
                  </a:lnTo>
                  <a:lnTo>
                    <a:pt x="132" y="285"/>
                  </a:lnTo>
                  <a:lnTo>
                    <a:pt x="128" y="285"/>
                  </a:lnTo>
                  <a:lnTo>
                    <a:pt x="126" y="285"/>
                  </a:lnTo>
                  <a:lnTo>
                    <a:pt x="124" y="285"/>
                  </a:lnTo>
                  <a:lnTo>
                    <a:pt x="118" y="285"/>
                  </a:lnTo>
                  <a:lnTo>
                    <a:pt x="115" y="285"/>
                  </a:lnTo>
                  <a:lnTo>
                    <a:pt x="112" y="285"/>
                  </a:lnTo>
                  <a:lnTo>
                    <a:pt x="111" y="286"/>
                  </a:lnTo>
                  <a:lnTo>
                    <a:pt x="110" y="286"/>
                  </a:lnTo>
                  <a:lnTo>
                    <a:pt x="109" y="286"/>
                  </a:lnTo>
                  <a:lnTo>
                    <a:pt x="108" y="285"/>
                  </a:lnTo>
                  <a:lnTo>
                    <a:pt x="108" y="288"/>
                  </a:lnTo>
                  <a:lnTo>
                    <a:pt x="108" y="289"/>
                  </a:lnTo>
                  <a:lnTo>
                    <a:pt x="106" y="289"/>
                  </a:lnTo>
                  <a:lnTo>
                    <a:pt x="104" y="290"/>
                  </a:lnTo>
                  <a:lnTo>
                    <a:pt x="103" y="289"/>
                  </a:lnTo>
                  <a:lnTo>
                    <a:pt x="103" y="291"/>
                  </a:lnTo>
                  <a:lnTo>
                    <a:pt x="103" y="292"/>
                  </a:lnTo>
                  <a:lnTo>
                    <a:pt x="102" y="292"/>
                  </a:lnTo>
                  <a:lnTo>
                    <a:pt x="100" y="294"/>
                  </a:lnTo>
                  <a:lnTo>
                    <a:pt x="98" y="294"/>
                  </a:lnTo>
                  <a:lnTo>
                    <a:pt x="98" y="295"/>
                  </a:lnTo>
                  <a:lnTo>
                    <a:pt x="97" y="294"/>
                  </a:lnTo>
                  <a:lnTo>
                    <a:pt x="96" y="295"/>
                  </a:lnTo>
                  <a:lnTo>
                    <a:pt x="96" y="292"/>
                  </a:lnTo>
                  <a:lnTo>
                    <a:pt x="94" y="294"/>
                  </a:lnTo>
                  <a:lnTo>
                    <a:pt x="93" y="292"/>
                  </a:lnTo>
                  <a:lnTo>
                    <a:pt x="92" y="292"/>
                  </a:lnTo>
                  <a:lnTo>
                    <a:pt x="91" y="292"/>
                  </a:lnTo>
                  <a:lnTo>
                    <a:pt x="90" y="294"/>
                  </a:lnTo>
                  <a:lnTo>
                    <a:pt x="90" y="295"/>
                  </a:lnTo>
                  <a:lnTo>
                    <a:pt x="88" y="296"/>
                  </a:lnTo>
                  <a:lnTo>
                    <a:pt x="88" y="297"/>
                  </a:lnTo>
                  <a:lnTo>
                    <a:pt x="87" y="297"/>
                  </a:lnTo>
                  <a:lnTo>
                    <a:pt x="86" y="298"/>
                  </a:lnTo>
                  <a:lnTo>
                    <a:pt x="85" y="298"/>
                  </a:lnTo>
                  <a:lnTo>
                    <a:pt x="84" y="297"/>
                  </a:lnTo>
                  <a:lnTo>
                    <a:pt x="82" y="297"/>
                  </a:lnTo>
                  <a:lnTo>
                    <a:pt x="82" y="296"/>
                  </a:lnTo>
                  <a:lnTo>
                    <a:pt x="82" y="297"/>
                  </a:lnTo>
                  <a:lnTo>
                    <a:pt x="80" y="297"/>
                  </a:lnTo>
                  <a:lnTo>
                    <a:pt x="79" y="297"/>
                  </a:lnTo>
                  <a:lnTo>
                    <a:pt x="79" y="296"/>
                  </a:lnTo>
                  <a:lnTo>
                    <a:pt x="79" y="295"/>
                  </a:lnTo>
                  <a:lnTo>
                    <a:pt x="79" y="296"/>
                  </a:lnTo>
                  <a:lnTo>
                    <a:pt x="78" y="295"/>
                  </a:lnTo>
                  <a:lnTo>
                    <a:pt x="76" y="295"/>
                  </a:lnTo>
                  <a:lnTo>
                    <a:pt x="75" y="296"/>
                  </a:lnTo>
                  <a:lnTo>
                    <a:pt x="74" y="296"/>
                  </a:lnTo>
                  <a:lnTo>
                    <a:pt x="72" y="296"/>
                  </a:lnTo>
                  <a:lnTo>
                    <a:pt x="74" y="295"/>
                  </a:lnTo>
                  <a:lnTo>
                    <a:pt x="73" y="294"/>
                  </a:lnTo>
                  <a:lnTo>
                    <a:pt x="72" y="294"/>
                  </a:lnTo>
                  <a:lnTo>
                    <a:pt x="72" y="292"/>
                  </a:lnTo>
                  <a:lnTo>
                    <a:pt x="70" y="291"/>
                  </a:lnTo>
                  <a:lnTo>
                    <a:pt x="72" y="290"/>
                  </a:lnTo>
                  <a:lnTo>
                    <a:pt x="72" y="291"/>
                  </a:lnTo>
                  <a:lnTo>
                    <a:pt x="73" y="292"/>
                  </a:lnTo>
                  <a:lnTo>
                    <a:pt x="74" y="292"/>
                  </a:lnTo>
                  <a:lnTo>
                    <a:pt x="75" y="292"/>
                  </a:lnTo>
                  <a:lnTo>
                    <a:pt x="76" y="294"/>
                  </a:lnTo>
                  <a:lnTo>
                    <a:pt x="78" y="292"/>
                  </a:lnTo>
                  <a:lnTo>
                    <a:pt x="76" y="292"/>
                  </a:lnTo>
                  <a:lnTo>
                    <a:pt x="76" y="291"/>
                  </a:lnTo>
                  <a:lnTo>
                    <a:pt x="76" y="290"/>
                  </a:lnTo>
                  <a:lnTo>
                    <a:pt x="76" y="289"/>
                  </a:lnTo>
                  <a:lnTo>
                    <a:pt x="76" y="288"/>
                  </a:lnTo>
                  <a:lnTo>
                    <a:pt x="76" y="289"/>
                  </a:lnTo>
                  <a:lnTo>
                    <a:pt x="78" y="288"/>
                  </a:lnTo>
                  <a:lnTo>
                    <a:pt x="79" y="288"/>
                  </a:lnTo>
                  <a:lnTo>
                    <a:pt x="80" y="285"/>
                  </a:lnTo>
                  <a:lnTo>
                    <a:pt x="81" y="285"/>
                  </a:lnTo>
                  <a:lnTo>
                    <a:pt x="84" y="286"/>
                  </a:lnTo>
                  <a:lnTo>
                    <a:pt x="84" y="285"/>
                  </a:lnTo>
                  <a:lnTo>
                    <a:pt x="82" y="284"/>
                  </a:lnTo>
                  <a:lnTo>
                    <a:pt x="82" y="282"/>
                  </a:lnTo>
                  <a:lnTo>
                    <a:pt x="81" y="282"/>
                  </a:lnTo>
                  <a:lnTo>
                    <a:pt x="82" y="282"/>
                  </a:lnTo>
                  <a:lnTo>
                    <a:pt x="82" y="280"/>
                  </a:lnTo>
                  <a:lnTo>
                    <a:pt x="81" y="279"/>
                  </a:lnTo>
                  <a:lnTo>
                    <a:pt x="82" y="278"/>
                  </a:lnTo>
                  <a:lnTo>
                    <a:pt x="84" y="279"/>
                  </a:lnTo>
                  <a:lnTo>
                    <a:pt x="85" y="279"/>
                  </a:lnTo>
                  <a:lnTo>
                    <a:pt x="85" y="280"/>
                  </a:lnTo>
                  <a:lnTo>
                    <a:pt x="86" y="280"/>
                  </a:lnTo>
                  <a:lnTo>
                    <a:pt x="87" y="280"/>
                  </a:lnTo>
                  <a:lnTo>
                    <a:pt x="88" y="282"/>
                  </a:lnTo>
                  <a:lnTo>
                    <a:pt x="90" y="283"/>
                  </a:lnTo>
                  <a:lnTo>
                    <a:pt x="91" y="282"/>
                  </a:lnTo>
                  <a:lnTo>
                    <a:pt x="92" y="282"/>
                  </a:lnTo>
                  <a:lnTo>
                    <a:pt x="93" y="283"/>
                  </a:lnTo>
                  <a:lnTo>
                    <a:pt x="93" y="282"/>
                  </a:lnTo>
                  <a:lnTo>
                    <a:pt x="93" y="280"/>
                  </a:lnTo>
                  <a:lnTo>
                    <a:pt x="94" y="280"/>
                  </a:lnTo>
                  <a:lnTo>
                    <a:pt x="96" y="280"/>
                  </a:lnTo>
                  <a:lnTo>
                    <a:pt x="97" y="280"/>
                  </a:lnTo>
                  <a:lnTo>
                    <a:pt x="98" y="279"/>
                  </a:lnTo>
                  <a:lnTo>
                    <a:pt x="99" y="280"/>
                  </a:lnTo>
                  <a:lnTo>
                    <a:pt x="99" y="279"/>
                  </a:lnTo>
                  <a:lnTo>
                    <a:pt x="98" y="279"/>
                  </a:lnTo>
                  <a:lnTo>
                    <a:pt x="98" y="278"/>
                  </a:lnTo>
                  <a:lnTo>
                    <a:pt x="98" y="277"/>
                  </a:lnTo>
                  <a:lnTo>
                    <a:pt x="99" y="277"/>
                  </a:lnTo>
                  <a:lnTo>
                    <a:pt x="100" y="277"/>
                  </a:lnTo>
                  <a:lnTo>
                    <a:pt x="102" y="278"/>
                  </a:lnTo>
                  <a:lnTo>
                    <a:pt x="102" y="277"/>
                  </a:lnTo>
                  <a:lnTo>
                    <a:pt x="102" y="276"/>
                  </a:lnTo>
                  <a:lnTo>
                    <a:pt x="103" y="276"/>
                  </a:lnTo>
                  <a:lnTo>
                    <a:pt x="104" y="274"/>
                  </a:lnTo>
                  <a:lnTo>
                    <a:pt x="105" y="277"/>
                  </a:lnTo>
                  <a:lnTo>
                    <a:pt x="105" y="278"/>
                  </a:lnTo>
                  <a:lnTo>
                    <a:pt x="106" y="278"/>
                  </a:lnTo>
                  <a:lnTo>
                    <a:pt x="106" y="279"/>
                  </a:lnTo>
                  <a:lnTo>
                    <a:pt x="108" y="279"/>
                  </a:lnTo>
                  <a:lnTo>
                    <a:pt x="108" y="280"/>
                  </a:lnTo>
                  <a:lnTo>
                    <a:pt x="109" y="279"/>
                  </a:lnTo>
                  <a:lnTo>
                    <a:pt x="110" y="280"/>
                  </a:lnTo>
                  <a:lnTo>
                    <a:pt x="109" y="282"/>
                  </a:lnTo>
                  <a:lnTo>
                    <a:pt x="109" y="283"/>
                  </a:lnTo>
                  <a:lnTo>
                    <a:pt x="109" y="284"/>
                  </a:lnTo>
                  <a:lnTo>
                    <a:pt x="110" y="284"/>
                  </a:lnTo>
                  <a:lnTo>
                    <a:pt x="111" y="284"/>
                  </a:lnTo>
                  <a:lnTo>
                    <a:pt x="112" y="283"/>
                  </a:lnTo>
                  <a:lnTo>
                    <a:pt x="114" y="283"/>
                  </a:lnTo>
                  <a:lnTo>
                    <a:pt x="115" y="284"/>
                  </a:lnTo>
                  <a:lnTo>
                    <a:pt x="117" y="283"/>
                  </a:lnTo>
                  <a:lnTo>
                    <a:pt x="121" y="283"/>
                  </a:lnTo>
                  <a:lnTo>
                    <a:pt x="124" y="283"/>
                  </a:lnTo>
                  <a:lnTo>
                    <a:pt x="126" y="283"/>
                  </a:lnTo>
                  <a:lnTo>
                    <a:pt x="127" y="283"/>
                  </a:lnTo>
                  <a:lnTo>
                    <a:pt x="128" y="283"/>
                  </a:lnTo>
                  <a:lnTo>
                    <a:pt x="129" y="283"/>
                  </a:lnTo>
                  <a:lnTo>
                    <a:pt x="132" y="283"/>
                  </a:lnTo>
                  <a:lnTo>
                    <a:pt x="133" y="283"/>
                  </a:lnTo>
                  <a:lnTo>
                    <a:pt x="137" y="282"/>
                  </a:lnTo>
                  <a:lnTo>
                    <a:pt x="138" y="280"/>
                  </a:lnTo>
                  <a:lnTo>
                    <a:pt x="138" y="279"/>
                  </a:lnTo>
                  <a:lnTo>
                    <a:pt x="140" y="279"/>
                  </a:lnTo>
                  <a:lnTo>
                    <a:pt x="143" y="280"/>
                  </a:lnTo>
                  <a:lnTo>
                    <a:pt x="144" y="279"/>
                  </a:lnTo>
                  <a:lnTo>
                    <a:pt x="147" y="277"/>
                  </a:lnTo>
                  <a:lnTo>
                    <a:pt x="147" y="276"/>
                  </a:lnTo>
                  <a:lnTo>
                    <a:pt x="149" y="277"/>
                  </a:lnTo>
                  <a:lnTo>
                    <a:pt x="150" y="276"/>
                  </a:lnTo>
                  <a:lnTo>
                    <a:pt x="151" y="276"/>
                  </a:lnTo>
                  <a:lnTo>
                    <a:pt x="152" y="274"/>
                  </a:lnTo>
                  <a:lnTo>
                    <a:pt x="155" y="274"/>
                  </a:lnTo>
                  <a:lnTo>
                    <a:pt x="156" y="273"/>
                  </a:lnTo>
                  <a:lnTo>
                    <a:pt x="157" y="272"/>
                  </a:lnTo>
                  <a:lnTo>
                    <a:pt x="156" y="273"/>
                  </a:lnTo>
                  <a:lnTo>
                    <a:pt x="156" y="272"/>
                  </a:lnTo>
                  <a:lnTo>
                    <a:pt x="155" y="272"/>
                  </a:lnTo>
                  <a:lnTo>
                    <a:pt x="156" y="271"/>
                  </a:lnTo>
                  <a:lnTo>
                    <a:pt x="156" y="270"/>
                  </a:lnTo>
                  <a:lnTo>
                    <a:pt x="155" y="270"/>
                  </a:lnTo>
                  <a:lnTo>
                    <a:pt x="155" y="268"/>
                  </a:lnTo>
                  <a:lnTo>
                    <a:pt x="153" y="268"/>
                  </a:lnTo>
                  <a:lnTo>
                    <a:pt x="153" y="270"/>
                  </a:lnTo>
                  <a:lnTo>
                    <a:pt x="155" y="271"/>
                  </a:lnTo>
                  <a:lnTo>
                    <a:pt x="153" y="271"/>
                  </a:lnTo>
                  <a:lnTo>
                    <a:pt x="153" y="273"/>
                  </a:lnTo>
                  <a:lnTo>
                    <a:pt x="151" y="273"/>
                  </a:lnTo>
                  <a:lnTo>
                    <a:pt x="150" y="272"/>
                  </a:lnTo>
                  <a:lnTo>
                    <a:pt x="150" y="271"/>
                  </a:lnTo>
                  <a:lnTo>
                    <a:pt x="149" y="272"/>
                  </a:lnTo>
                  <a:lnTo>
                    <a:pt x="147" y="272"/>
                  </a:lnTo>
                  <a:lnTo>
                    <a:pt x="146" y="272"/>
                  </a:lnTo>
                  <a:lnTo>
                    <a:pt x="145" y="272"/>
                  </a:lnTo>
                  <a:lnTo>
                    <a:pt x="144" y="273"/>
                  </a:lnTo>
                  <a:lnTo>
                    <a:pt x="143" y="273"/>
                  </a:lnTo>
                  <a:lnTo>
                    <a:pt x="143" y="272"/>
                  </a:lnTo>
                  <a:lnTo>
                    <a:pt x="143" y="271"/>
                  </a:lnTo>
                  <a:lnTo>
                    <a:pt x="144" y="271"/>
                  </a:lnTo>
                  <a:lnTo>
                    <a:pt x="144" y="270"/>
                  </a:lnTo>
                  <a:lnTo>
                    <a:pt x="144" y="268"/>
                  </a:lnTo>
                  <a:lnTo>
                    <a:pt x="144" y="267"/>
                  </a:lnTo>
                  <a:lnTo>
                    <a:pt x="145" y="266"/>
                  </a:lnTo>
                  <a:lnTo>
                    <a:pt x="146" y="266"/>
                  </a:lnTo>
                  <a:lnTo>
                    <a:pt x="146" y="265"/>
                  </a:lnTo>
                  <a:lnTo>
                    <a:pt x="145" y="265"/>
                  </a:lnTo>
                  <a:lnTo>
                    <a:pt x="144" y="265"/>
                  </a:lnTo>
                  <a:lnTo>
                    <a:pt x="143" y="265"/>
                  </a:lnTo>
                  <a:lnTo>
                    <a:pt x="141" y="265"/>
                  </a:lnTo>
                  <a:lnTo>
                    <a:pt x="141" y="264"/>
                  </a:lnTo>
                  <a:lnTo>
                    <a:pt x="141" y="262"/>
                  </a:lnTo>
                  <a:lnTo>
                    <a:pt x="140" y="262"/>
                  </a:lnTo>
                  <a:lnTo>
                    <a:pt x="140" y="264"/>
                  </a:lnTo>
                  <a:lnTo>
                    <a:pt x="139" y="262"/>
                  </a:lnTo>
                  <a:lnTo>
                    <a:pt x="138" y="264"/>
                  </a:lnTo>
                  <a:lnTo>
                    <a:pt x="137" y="264"/>
                  </a:lnTo>
                  <a:lnTo>
                    <a:pt x="137" y="265"/>
                  </a:lnTo>
                  <a:lnTo>
                    <a:pt x="135" y="265"/>
                  </a:lnTo>
                  <a:lnTo>
                    <a:pt x="133" y="267"/>
                  </a:lnTo>
                  <a:lnTo>
                    <a:pt x="133" y="268"/>
                  </a:lnTo>
                  <a:lnTo>
                    <a:pt x="132" y="270"/>
                  </a:lnTo>
                  <a:lnTo>
                    <a:pt x="133" y="270"/>
                  </a:lnTo>
                  <a:lnTo>
                    <a:pt x="133" y="271"/>
                  </a:lnTo>
                  <a:lnTo>
                    <a:pt x="134" y="271"/>
                  </a:lnTo>
                  <a:lnTo>
                    <a:pt x="134" y="272"/>
                  </a:lnTo>
                  <a:lnTo>
                    <a:pt x="133" y="273"/>
                  </a:lnTo>
                  <a:lnTo>
                    <a:pt x="134" y="273"/>
                  </a:lnTo>
                  <a:lnTo>
                    <a:pt x="134" y="274"/>
                  </a:lnTo>
                  <a:lnTo>
                    <a:pt x="133" y="274"/>
                  </a:lnTo>
                  <a:lnTo>
                    <a:pt x="131" y="276"/>
                  </a:lnTo>
                  <a:lnTo>
                    <a:pt x="129" y="276"/>
                  </a:lnTo>
                  <a:lnTo>
                    <a:pt x="131" y="274"/>
                  </a:lnTo>
                  <a:lnTo>
                    <a:pt x="131" y="273"/>
                  </a:lnTo>
                  <a:lnTo>
                    <a:pt x="129" y="273"/>
                  </a:lnTo>
                  <a:lnTo>
                    <a:pt x="129" y="276"/>
                  </a:lnTo>
                  <a:lnTo>
                    <a:pt x="128" y="276"/>
                  </a:lnTo>
                  <a:lnTo>
                    <a:pt x="127" y="274"/>
                  </a:lnTo>
                  <a:lnTo>
                    <a:pt x="127" y="276"/>
                  </a:lnTo>
                  <a:lnTo>
                    <a:pt x="126" y="276"/>
                  </a:lnTo>
                  <a:lnTo>
                    <a:pt x="124" y="276"/>
                  </a:lnTo>
                  <a:lnTo>
                    <a:pt x="123" y="274"/>
                  </a:lnTo>
                  <a:lnTo>
                    <a:pt x="124" y="272"/>
                  </a:lnTo>
                  <a:lnTo>
                    <a:pt x="126" y="271"/>
                  </a:lnTo>
                  <a:lnTo>
                    <a:pt x="123" y="272"/>
                  </a:lnTo>
                  <a:lnTo>
                    <a:pt x="122" y="272"/>
                  </a:lnTo>
                  <a:lnTo>
                    <a:pt x="121" y="272"/>
                  </a:lnTo>
                  <a:lnTo>
                    <a:pt x="121" y="271"/>
                  </a:lnTo>
                  <a:lnTo>
                    <a:pt x="120" y="270"/>
                  </a:lnTo>
                  <a:lnTo>
                    <a:pt x="120" y="267"/>
                  </a:lnTo>
                  <a:lnTo>
                    <a:pt x="120" y="266"/>
                  </a:lnTo>
                  <a:lnTo>
                    <a:pt x="118" y="265"/>
                  </a:lnTo>
                  <a:lnTo>
                    <a:pt x="118" y="262"/>
                  </a:lnTo>
                  <a:lnTo>
                    <a:pt x="120" y="262"/>
                  </a:lnTo>
                  <a:lnTo>
                    <a:pt x="120" y="261"/>
                  </a:lnTo>
                  <a:lnTo>
                    <a:pt x="121" y="261"/>
                  </a:lnTo>
                  <a:lnTo>
                    <a:pt x="123" y="261"/>
                  </a:lnTo>
                  <a:lnTo>
                    <a:pt x="122" y="260"/>
                  </a:lnTo>
                  <a:lnTo>
                    <a:pt x="121" y="260"/>
                  </a:lnTo>
                  <a:lnTo>
                    <a:pt x="118" y="260"/>
                  </a:lnTo>
                  <a:lnTo>
                    <a:pt x="117" y="261"/>
                  </a:lnTo>
                  <a:lnTo>
                    <a:pt x="118" y="262"/>
                  </a:lnTo>
                  <a:lnTo>
                    <a:pt x="117" y="264"/>
                  </a:lnTo>
                  <a:lnTo>
                    <a:pt x="116" y="264"/>
                  </a:lnTo>
                  <a:lnTo>
                    <a:pt x="116" y="265"/>
                  </a:lnTo>
                  <a:lnTo>
                    <a:pt x="116" y="262"/>
                  </a:lnTo>
                  <a:lnTo>
                    <a:pt x="115" y="262"/>
                  </a:lnTo>
                  <a:lnTo>
                    <a:pt x="115" y="264"/>
                  </a:lnTo>
                  <a:lnTo>
                    <a:pt x="112" y="264"/>
                  </a:lnTo>
                  <a:lnTo>
                    <a:pt x="111" y="264"/>
                  </a:lnTo>
                  <a:lnTo>
                    <a:pt x="110" y="265"/>
                  </a:lnTo>
                  <a:lnTo>
                    <a:pt x="109" y="265"/>
                  </a:lnTo>
                  <a:lnTo>
                    <a:pt x="109" y="266"/>
                  </a:lnTo>
                  <a:lnTo>
                    <a:pt x="109" y="265"/>
                  </a:lnTo>
                  <a:lnTo>
                    <a:pt x="108" y="266"/>
                  </a:lnTo>
                  <a:lnTo>
                    <a:pt x="106" y="265"/>
                  </a:lnTo>
                  <a:lnTo>
                    <a:pt x="105" y="265"/>
                  </a:lnTo>
                  <a:lnTo>
                    <a:pt x="104" y="262"/>
                  </a:lnTo>
                  <a:lnTo>
                    <a:pt x="103" y="262"/>
                  </a:lnTo>
                  <a:lnTo>
                    <a:pt x="102" y="262"/>
                  </a:lnTo>
                  <a:lnTo>
                    <a:pt x="100" y="262"/>
                  </a:lnTo>
                  <a:lnTo>
                    <a:pt x="99" y="264"/>
                  </a:lnTo>
                  <a:lnTo>
                    <a:pt x="98" y="262"/>
                  </a:lnTo>
                  <a:lnTo>
                    <a:pt x="97" y="261"/>
                  </a:lnTo>
                  <a:lnTo>
                    <a:pt x="96" y="262"/>
                  </a:lnTo>
                  <a:lnTo>
                    <a:pt x="94" y="262"/>
                  </a:lnTo>
                  <a:lnTo>
                    <a:pt x="93" y="262"/>
                  </a:lnTo>
                  <a:lnTo>
                    <a:pt x="92" y="262"/>
                  </a:lnTo>
                  <a:lnTo>
                    <a:pt x="91" y="262"/>
                  </a:lnTo>
                  <a:lnTo>
                    <a:pt x="90" y="262"/>
                  </a:lnTo>
                  <a:lnTo>
                    <a:pt x="88" y="262"/>
                  </a:lnTo>
                  <a:lnTo>
                    <a:pt x="88" y="264"/>
                  </a:lnTo>
                  <a:lnTo>
                    <a:pt x="90" y="264"/>
                  </a:lnTo>
                  <a:lnTo>
                    <a:pt x="91" y="264"/>
                  </a:lnTo>
                  <a:lnTo>
                    <a:pt x="92" y="264"/>
                  </a:lnTo>
                  <a:lnTo>
                    <a:pt x="92" y="262"/>
                  </a:lnTo>
                  <a:lnTo>
                    <a:pt x="93" y="262"/>
                  </a:lnTo>
                  <a:lnTo>
                    <a:pt x="93" y="264"/>
                  </a:lnTo>
                  <a:lnTo>
                    <a:pt x="94" y="264"/>
                  </a:lnTo>
                  <a:lnTo>
                    <a:pt x="96" y="264"/>
                  </a:lnTo>
                  <a:lnTo>
                    <a:pt x="97" y="265"/>
                  </a:lnTo>
                  <a:lnTo>
                    <a:pt x="98" y="264"/>
                  </a:lnTo>
                  <a:lnTo>
                    <a:pt x="99" y="264"/>
                  </a:lnTo>
                  <a:lnTo>
                    <a:pt x="98" y="265"/>
                  </a:lnTo>
                  <a:lnTo>
                    <a:pt x="98" y="266"/>
                  </a:lnTo>
                  <a:lnTo>
                    <a:pt x="97" y="266"/>
                  </a:lnTo>
                  <a:lnTo>
                    <a:pt x="97" y="267"/>
                  </a:lnTo>
                  <a:lnTo>
                    <a:pt x="96" y="267"/>
                  </a:lnTo>
                  <a:lnTo>
                    <a:pt x="94" y="267"/>
                  </a:lnTo>
                  <a:lnTo>
                    <a:pt x="93" y="268"/>
                  </a:lnTo>
                  <a:lnTo>
                    <a:pt x="92" y="271"/>
                  </a:lnTo>
                  <a:lnTo>
                    <a:pt x="90" y="271"/>
                  </a:lnTo>
                  <a:lnTo>
                    <a:pt x="90" y="270"/>
                  </a:lnTo>
                  <a:lnTo>
                    <a:pt x="88" y="268"/>
                  </a:lnTo>
                  <a:lnTo>
                    <a:pt x="88" y="267"/>
                  </a:lnTo>
                  <a:lnTo>
                    <a:pt x="87" y="267"/>
                  </a:lnTo>
                  <a:lnTo>
                    <a:pt x="88" y="270"/>
                  </a:lnTo>
                  <a:lnTo>
                    <a:pt x="87" y="270"/>
                  </a:lnTo>
                  <a:lnTo>
                    <a:pt x="88" y="270"/>
                  </a:lnTo>
                  <a:lnTo>
                    <a:pt x="87" y="271"/>
                  </a:lnTo>
                  <a:lnTo>
                    <a:pt x="88" y="271"/>
                  </a:lnTo>
                  <a:lnTo>
                    <a:pt x="87" y="271"/>
                  </a:lnTo>
                  <a:lnTo>
                    <a:pt x="87" y="272"/>
                  </a:lnTo>
                  <a:lnTo>
                    <a:pt x="86" y="272"/>
                  </a:lnTo>
                  <a:lnTo>
                    <a:pt x="87" y="273"/>
                  </a:lnTo>
                  <a:lnTo>
                    <a:pt x="86" y="274"/>
                  </a:lnTo>
                  <a:lnTo>
                    <a:pt x="87" y="274"/>
                  </a:lnTo>
                  <a:lnTo>
                    <a:pt x="88" y="274"/>
                  </a:lnTo>
                  <a:lnTo>
                    <a:pt x="88" y="277"/>
                  </a:lnTo>
                  <a:lnTo>
                    <a:pt x="88" y="278"/>
                  </a:lnTo>
                  <a:lnTo>
                    <a:pt x="87" y="278"/>
                  </a:lnTo>
                  <a:lnTo>
                    <a:pt x="86" y="278"/>
                  </a:lnTo>
                  <a:lnTo>
                    <a:pt x="85" y="277"/>
                  </a:lnTo>
                  <a:lnTo>
                    <a:pt x="82" y="277"/>
                  </a:lnTo>
                  <a:lnTo>
                    <a:pt x="81" y="277"/>
                  </a:lnTo>
                  <a:lnTo>
                    <a:pt x="80" y="277"/>
                  </a:lnTo>
                  <a:lnTo>
                    <a:pt x="79" y="277"/>
                  </a:lnTo>
                  <a:lnTo>
                    <a:pt x="76" y="277"/>
                  </a:lnTo>
                  <a:lnTo>
                    <a:pt x="75" y="277"/>
                  </a:lnTo>
                  <a:lnTo>
                    <a:pt x="74" y="277"/>
                  </a:lnTo>
                  <a:lnTo>
                    <a:pt x="73" y="278"/>
                  </a:lnTo>
                  <a:lnTo>
                    <a:pt x="72" y="279"/>
                  </a:lnTo>
                  <a:lnTo>
                    <a:pt x="70" y="279"/>
                  </a:lnTo>
                  <a:lnTo>
                    <a:pt x="69" y="279"/>
                  </a:lnTo>
                  <a:lnTo>
                    <a:pt x="68" y="278"/>
                  </a:lnTo>
                  <a:lnTo>
                    <a:pt x="68" y="277"/>
                  </a:lnTo>
                  <a:lnTo>
                    <a:pt x="67" y="276"/>
                  </a:lnTo>
                  <a:lnTo>
                    <a:pt x="65" y="276"/>
                  </a:lnTo>
                  <a:lnTo>
                    <a:pt x="65" y="274"/>
                  </a:lnTo>
                  <a:lnTo>
                    <a:pt x="64" y="273"/>
                  </a:lnTo>
                  <a:lnTo>
                    <a:pt x="63" y="272"/>
                  </a:lnTo>
                  <a:lnTo>
                    <a:pt x="64" y="272"/>
                  </a:lnTo>
                  <a:lnTo>
                    <a:pt x="65" y="272"/>
                  </a:lnTo>
                  <a:lnTo>
                    <a:pt x="67" y="273"/>
                  </a:lnTo>
                  <a:lnTo>
                    <a:pt x="67" y="272"/>
                  </a:lnTo>
                  <a:lnTo>
                    <a:pt x="68" y="271"/>
                  </a:lnTo>
                  <a:lnTo>
                    <a:pt x="69" y="271"/>
                  </a:lnTo>
                  <a:lnTo>
                    <a:pt x="68" y="268"/>
                  </a:lnTo>
                  <a:lnTo>
                    <a:pt x="69" y="268"/>
                  </a:lnTo>
                  <a:lnTo>
                    <a:pt x="70" y="268"/>
                  </a:lnTo>
                  <a:lnTo>
                    <a:pt x="72" y="267"/>
                  </a:lnTo>
                  <a:lnTo>
                    <a:pt x="70" y="266"/>
                  </a:lnTo>
                  <a:lnTo>
                    <a:pt x="70" y="265"/>
                  </a:lnTo>
                  <a:lnTo>
                    <a:pt x="69" y="265"/>
                  </a:lnTo>
                  <a:lnTo>
                    <a:pt x="68" y="264"/>
                  </a:lnTo>
                  <a:lnTo>
                    <a:pt x="69" y="264"/>
                  </a:lnTo>
                  <a:lnTo>
                    <a:pt x="70" y="262"/>
                  </a:lnTo>
                  <a:lnTo>
                    <a:pt x="72" y="264"/>
                  </a:lnTo>
                  <a:lnTo>
                    <a:pt x="72" y="262"/>
                  </a:lnTo>
                  <a:lnTo>
                    <a:pt x="70" y="262"/>
                  </a:lnTo>
                  <a:lnTo>
                    <a:pt x="72" y="261"/>
                  </a:lnTo>
                  <a:lnTo>
                    <a:pt x="70" y="260"/>
                  </a:lnTo>
                  <a:lnTo>
                    <a:pt x="69" y="260"/>
                  </a:lnTo>
                  <a:lnTo>
                    <a:pt x="68" y="260"/>
                  </a:lnTo>
                  <a:lnTo>
                    <a:pt x="67" y="260"/>
                  </a:lnTo>
                  <a:lnTo>
                    <a:pt x="65" y="260"/>
                  </a:lnTo>
                  <a:lnTo>
                    <a:pt x="65" y="261"/>
                  </a:lnTo>
                  <a:lnTo>
                    <a:pt x="64" y="261"/>
                  </a:lnTo>
                  <a:lnTo>
                    <a:pt x="64" y="260"/>
                  </a:lnTo>
                  <a:lnTo>
                    <a:pt x="63" y="261"/>
                  </a:lnTo>
                  <a:lnTo>
                    <a:pt x="63" y="260"/>
                  </a:lnTo>
                  <a:lnTo>
                    <a:pt x="62" y="261"/>
                  </a:lnTo>
                  <a:lnTo>
                    <a:pt x="61" y="260"/>
                  </a:lnTo>
                  <a:lnTo>
                    <a:pt x="59" y="260"/>
                  </a:lnTo>
                  <a:lnTo>
                    <a:pt x="58" y="260"/>
                  </a:lnTo>
                  <a:lnTo>
                    <a:pt x="57" y="261"/>
                  </a:lnTo>
                  <a:lnTo>
                    <a:pt x="57" y="262"/>
                  </a:lnTo>
                  <a:lnTo>
                    <a:pt x="56" y="261"/>
                  </a:lnTo>
                  <a:lnTo>
                    <a:pt x="52" y="261"/>
                  </a:lnTo>
                  <a:lnTo>
                    <a:pt x="51" y="262"/>
                  </a:lnTo>
                  <a:lnTo>
                    <a:pt x="50" y="262"/>
                  </a:lnTo>
                  <a:lnTo>
                    <a:pt x="50" y="261"/>
                  </a:lnTo>
                  <a:lnTo>
                    <a:pt x="49" y="261"/>
                  </a:lnTo>
                  <a:lnTo>
                    <a:pt x="47" y="260"/>
                  </a:lnTo>
                  <a:lnTo>
                    <a:pt x="46" y="260"/>
                  </a:lnTo>
                  <a:lnTo>
                    <a:pt x="47" y="259"/>
                  </a:lnTo>
                  <a:lnTo>
                    <a:pt x="50" y="259"/>
                  </a:lnTo>
                  <a:lnTo>
                    <a:pt x="50" y="258"/>
                  </a:lnTo>
                  <a:lnTo>
                    <a:pt x="49" y="258"/>
                  </a:lnTo>
                  <a:lnTo>
                    <a:pt x="47" y="258"/>
                  </a:lnTo>
                  <a:lnTo>
                    <a:pt x="47" y="256"/>
                  </a:lnTo>
                  <a:lnTo>
                    <a:pt x="46" y="256"/>
                  </a:lnTo>
                  <a:lnTo>
                    <a:pt x="47" y="255"/>
                  </a:lnTo>
                  <a:lnTo>
                    <a:pt x="49" y="253"/>
                  </a:lnTo>
                  <a:lnTo>
                    <a:pt x="49" y="254"/>
                  </a:lnTo>
                  <a:lnTo>
                    <a:pt x="50" y="253"/>
                  </a:lnTo>
                  <a:lnTo>
                    <a:pt x="51" y="254"/>
                  </a:lnTo>
                  <a:lnTo>
                    <a:pt x="52" y="254"/>
                  </a:lnTo>
                  <a:lnTo>
                    <a:pt x="52" y="253"/>
                  </a:lnTo>
                  <a:lnTo>
                    <a:pt x="52" y="251"/>
                  </a:lnTo>
                  <a:lnTo>
                    <a:pt x="55" y="251"/>
                  </a:lnTo>
                  <a:lnTo>
                    <a:pt x="53" y="250"/>
                  </a:lnTo>
                  <a:lnTo>
                    <a:pt x="52" y="250"/>
                  </a:lnTo>
                  <a:lnTo>
                    <a:pt x="50" y="250"/>
                  </a:lnTo>
                  <a:lnTo>
                    <a:pt x="50" y="249"/>
                  </a:lnTo>
                  <a:lnTo>
                    <a:pt x="49" y="249"/>
                  </a:lnTo>
                  <a:lnTo>
                    <a:pt x="46" y="248"/>
                  </a:lnTo>
                  <a:lnTo>
                    <a:pt x="46" y="247"/>
                  </a:lnTo>
                  <a:lnTo>
                    <a:pt x="45" y="244"/>
                  </a:lnTo>
                  <a:lnTo>
                    <a:pt x="46" y="244"/>
                  </a:lnTo>
                  <a:lnTo>
                    <a:pt x="47" y="245"/>
                  </a:lnTo>
                  <a:lnTo>
                    <a:pt x="49" y="245"/>
                  </a:lnTo>
                  <a:lnTo>
                    <a:pt x="49" y="244"/>
                  </a:lnTo>
                  <a:lnTo>
                    <a:pt x="50" y="243"/>
                  </a:lnTo>
                  <a:lnTo>
                    <a:pt x="50" y="244"/>
                  </a:lnTo>
                  <a:lnTo>
                    <a:pt x="51" y="245"/>
                  </a:lnTo>
                  <a:lnTo>
                    <a:pt x="52" y="245"/>
                  </a:lnTo>
                  <a:lnTo>
                    <a:pt x="52" y="247"/>
                  </a:lnTo>
                  <a:lnTo>
                    <a:pt x="53" y="248"/>
                  </a:lnTo>
                  <a:lnTo>
                    <a:pt x="57" y="248"/>
                  </a:lnTo>
                  <a:lnTo>
                    <a:pt x="56" y="247"/>
                  </a:lnTo>
                  <a:lnTo>
                    <a:pt x="56" y="245"/>
                  </a:lnTo>
                  <a:lnTo>
                    <a:pt x="56" y="244"/>
                  </a:lnTo>
                  <a:lnTo>
                    <a:pt x="56" y="243"/>
                  </a:lnTo>
                  <a:lnTo>
                    <a:pt x="56" y="244"/>
                  </a:lnTo>
                  <a:lnTo>
                    <a:pt x="57" y="244"/>
                  </a:lnTo>
                  <a:lnTo>
                    <a:pt x="58" y="245"/>
                  </a:lnTo>
                  <a:lnTo>
                    <a:pt x="58" y="244"/>
                  </a:lnTo>
                  <a:lnTo>
                    <a:pt x="58" y="243"/>
                  </a:lnTo>
                  <a:lnTo>
                    <a:pt x="58" y="242"/>
                  </a:lnTo>
                  <a:lnTo>
                    <a:pt x="57" y="241"/>
                  </a:lnTo>
                  <a:lnTo>
                    <a:pt x="58" y="241"/>
                  </a:lnTo>
                  <a:lnTo>
                    <a:pt x="59" y="241"/>
                  </a:lnTo>
                  <a:lnTo>
                    <a:pt x="61" y="242"/>
                  </a:lnTo>
                  <a:lnTo>
                    <a:pt x="61" y="243"/>
                  </a:lnTo>
                  <a:lnTo>
                    <a:pt x="62" y="243"/>
                  </a:lnTo>
                  <a:lnTo>
                    <a:pt x="62" y="242"/>
                  </a:lnTo>
                  <a:lnTo>
                    <a:pt x="62" y="241"/>
                  </a:lnTo>
                  <a:lnTo>
                    <a:pt x="63" y="241"/>
                  </a:lnTo>
                  <a:lnTo>
                    <a:pt x="64" y="242"/>
                  </a:lnTo>
                  <a:lnTo>
                    <a:pt x="65" y="242"/>
                  </a:lnTo>
                  <a:lnTo>
                    <a:pt x="64" y="241"/>
                  </a:lnTo>
                  <a:lnTo>
                    <a:pt x="65" y="241"/>
                  </a:lnTo>
                  <a:lnTo>
                    <a:pt x="67" y="241"/>
                  </a:lnTo>
                  <a:lnTo>
                    <a:pt x="67" y="239"/>
                  </a:lnTo>
                  <a:lnTo>
                    <a:pt x="65" y="239"/>
                  </a:lnTo>
                  <a:lnTo>
                    <a:pt x="65" y="238"/>
                  </a:lnTo>
                  <a:lnTo>
                    <a:pt x="65" y="237"/>
                  </a:lnTo>
                  <a:lnTo>
                    <a:pt x="65" y="236"/>
                  </a:lnTo>
                  <a:lnTo>
                    <a:pt x="67" y="236"/>
                  </a:lnTo>
                  <a:lnTo>
                    <a:pt x="65" y="237"/>
                  </a:lnTo>
                  <a:lnTo>
                    <a:pt x="67" y="237"/>
                  </a:lnTo>
                  <a:lnTo>
                    <a:pt x="68" y="237"/>
                  </a:lnTo>
                  <a:lnTo>
                    <a:pt x="68" y="238"/>
                  </a:lnTo>
                  <a:lnTo>
                    <a:pt x="69" y="237"/>
                  </a:lnTo>
                  <a:lnTo>
                    <a:pt x="68" y="236"/>
                  </a:lnTo>
                  <a:lnTo>
                    <a:pt x="69" y="236"/>
                  </a:lnTo>
                  <a:lnTo>
                    <a:pt x="70" y="237"/>
                  </a:lnTo>
                  <a:lnTo>
                    <a:pt x="70" y="236"/>
                  </a:lnTo>
                  <a:lnTo>
                    <a:pt x="70" y="235"/>
                  </a:lnTo>
                  <a:lnTo>
                    <a:pt x="72" y="236"/>
                  </a:lnTo>
                  <a:lnTo>
                    <a:pt x="73" y="236"/>
                  </a:lnTo>
                  <a:lnTo>
                    <a:pt x="72" y="235"/>
                  </a:lnTo>
                  <a:lnTo>
                    <a:pt x="70" y="233"/>
                  </a:lnTo>
                  <a:lnTo>
                    <a:pt x="72" y="232"/>
                  </a:lnTo>
                  <a:lnTo>
                    <a:pt x="73" y="233"/>
                  </a:lnTo>
                  <a:lnTo>
                    <a:pt x="73" y="232"/>
                  </a:lnTo>
                  <a:lnTo>
                    <a:pt x="74" y="232"/>
                  </a:lnTo>
                  <a:lnTo>
                    <a:pt x="75" y="232"/>
                  </a:lnTo>
                  <a:lnTo>
                    <a:pt x="76" y="232"/>
                  </a:lnTo>
                  <a:lnTo>
                    <a:pt x="79" y="232"/>
                  </a:lnTo>
                  <a:lnTo>
                    <a:pt x="79" y="233"/>
                  </a:lnTo>
                  <a:lnTo>
                    <a:pt x="80" y="233"/>
                  </a:lnTo>
                  <a:lnTo>
                    <a:pt x="81" y="233"/>
                  </a:lnTo>
                  <a:lnTo>
                    <a:pt x="82" y="233"/>
                  </a:lnTo>
                  <a:lnTo>
                    <a:pt x="82" y="232"/>
                  </a:lnTo>
                  <a:lnTo>
                    <a:pt x="82" y="231"/>
                  </a:lnTo>
                  <a:lnTo>
                    <a:pt x="84" y="232"/>
                  </a:lnTo>
                  <a:lnTo>
                    <a:pt x="85" y="232"/>
                  </a:lnTo>
                  <a:lnTo>
                    <a:pt x="86" y="231"/>
                  </a:lnTo>
                  <a:lnTo>
                    <a:pt x="86" y="230"/>
                  </a:lnTo>
                  <a:lnTo>
                    <a:pt x="87" y="229"/>
                  </a:lnTo>
                  <a:lnTo>
                    <a:pt x="88" y="229"/>
                  </a:lnTo>
                  <a:lnTo>
                    <a:pt x="90" y="227"/>
                  </a:lnTo>
                  <a:lnTo>
                    <a:pt x="90" y="226"/>
                  </a:lnTo>
                  <a:lnTo>
                    <a:pt x="91" y="226"/>
                  </a:lnTo>
                  <a:lnTo>
                    <a:pt x="91" y="225"/>
                  </a:lnTo>
                  <a:lnTo>
                    <a:pt x="92" y="225"/>
                  </a:lnTo>
                  <a:lnTo>
                    <a:pt x="93" y="225"/>
                  </a:lnTo>
                  <a:lnTo>
                    <a:pt x="93" y="224"/>
                  </a:lnTo>
                  <a:lnTo>
                    <a:pt x="94" y="225"/>
                  </a:lnTo>
                  <a:lnTo>
                    <a:pt x="96" y="225"/>
                  </a:lnTo>
                  <a:lnTo>
                    <a:pt x="96" y="224"/>
                  </a:lnTo>
                  <a:lnTo>
                    <a:pt x="96" y="225"/>
                  </a:lnTo>
                  <a:lnTo>
                    <a:pt x="97" y="224"/>
                  </a:lnTo>
                  <a:lnTo>
                    <a:pt x="97" y="225"/>
                  </a:lnTo>
                  <a:lnTo>
                    <a:pt x="98" y="225"/>
                  </a:lnTo>
                  <a:lnTo>
                    <a:pt x="98" y="224"/>
                  </a:lnTo>
                  <a:lnTo>
                    <a:pt x="99" y="223"/>
                  </a:lnTo>
                  <a:lnTo>
                    <a:pt x="99" y="224"/>
                  </a:lnTo>
                  <a:lnTo>
                    <a:pt x="100" y="224"/>
                  </a:lnTo>
                  <a:lnTo>
                    <a:pt x="100" y="223"/>
                  </a:lnTo>
                  <a:lnTo>
                    <a:pt x="102" y="223"/>
                  </a:lnTo>
                  <a:lnTo>
                    <a:pt x="102" y="221"/>
                  </a:lnTo>
                  <a:lnTo>
                    <a:pt x="102" y="223"/>
                  </a:lnTo>
                  <a:lnTo>
                    <a:pt x="103" y="223"/>
                  </a:lnTo>
                  <a:lnTo>
                    <a:pt x="104" y="221"/>
                  </a:lnTo>
                  <a:lnTo>
                    <a:pt x="103" y="221"/>
                  </a:lnTo>
                  <a:lnTo>
                    <a:pt x="104" y="221"/>
                  </a:lnTo>
                  <a:lnTo>
                    <a:pt x="105" y="220"/>
                  </a:lnTo>
                  <a:lnTo>
                    <a:pt x="105" y="221"/>
                  </a:lnTo>
                  <a:lnTo>
                    <a:pt x="104" y="223"/>
                  </a:lnTo>
                  <a:lnTo>
                    <a:pt x="105" y="223"/>
                  </a:lnTo>
                  <a:lnTo>
                    <a:pt x="105" y="221"/>
                  </a:lnTo>
                  <a:lnTo>
                    <a:pt x="105" y="223"/>
                  </a:lnTo>
                  <a:lnTo>
                    <a:pt x="106" y="223"/>
                  </a:lnTo>
                  <a:lnTo>
                    <a:pt x="108" y="223"/>
                  </a:lnTo>
                  <a:lnTo>
                    <a:pt x="108" y="221"/>
                  </a:lnTo>
                  <a:lnTo>
                    <a:pt x="106" y="221"/>
                  </a:lnTo>
                  <a:lnTo>
                    <a:pt x="106" y="220"/>
                  </a:lnTo>
                  <a:lnTo>
                    <a:pt x="108" y="220"/>
                  </a:lnTo>
                  <a:lnTo>
                    <a:pt x="108" y="219"/>
                  </a:lnTo>
                  <a:lnTo>
                    <a:pt x="109" y="219"/>
                  </a:lnTo>
                  <a:lnTo>
                    <a:pt x="109" y="218"/>
                  </a:lnTo>
                  <a:lnTo>
                    <a:pt x="108" y="218"/>
                  </a:lnTo>
                  <a:lnTo>
                    <a:pt x="108" y="219"/>
                  </a:lnTo>
                  <a:lnTo>
                    <a:pt x="106" y="219"/>
                  </a:lnTo>
                  <a:lnTo>
                    <a:pt x="105" y="219"/>
                  </a:lnTo>
                  <a:lnTo>
                    <a:pt x="105" y="220"/>
                  </a:lnTo>
                  <a:lnTo>
                    <a:pt x="104" y="218"/>
                  </a:lnTo>
                  <a:lnTo>
                    <a:pt x="103" y="217"/>
                  </a:lnTo>
                  <a:lnTo>
                    <a:pt x="103" y="218"/>
                  </a:lnTo>
                  <a:lnTo>
                    <a:pt x="102" y="218"/>
                  </a:lnTo>
                  <a:lnTo>
                    <a:pt x="100" y="218"/>
                  </a:lnTo>
                  <a:lnTo>
                    <a:pt x="98" y="219"/>
                  </a:lnTo>
                  <a:lnTo>
                    <a:pt x="99" y="219"/>
                  </a:lnTo>
                  <a:lnTo>
                    <a:pt x="98" y="220"/>
                  </a:lnTo>
                  <a:lnTo>
                    <a:pt x="98" y="219"/>
                  </a:lnTo>
                  <a:lnTo>
                    <a:pt x="97" y="219"/>
                  </a:lnTo>
                  <a:lnTo>
                    <a:pt x="96" y="220"/>
                  </a:lnTo>
                  <a:lnTo>
                    <a:pt x="97" y="220"/>
                  </a:lnTo>
                  <a:lnTo>
                    <a:pt x="96" y="220"/>
                  </a:lnTo>
                  <a:lnTo>
                    <a:pt x="94" y="220"/>
                  </a:lnTo>
                  <a:lnTo>
                    <a:pt x="94" y="219"/>
                  </a:lnTo>
                  <a:lnTo>
                    <a:pt x="93" y="219"/>
                  </a:lnTo>
                  <a:lnTo>
                    <a:pt x="92" y="219"/>
                  </a:lnTo>
                  <a:lnTo>
                    <a:pt x="92" y="220"/>
                  </a:lnTo>
                  <a:lnTo>
                    <a:pt x="91" y="220"/>
                  </a:lnTo>
                  <a:lnTo>
                    <a:pt x="91" y="221"/>
                  </a:lnTo>
                  <a:lnTo>
                    <a:pt x="90" y="221"/>
                  </a:lnTo>
                  <a:lnTo>
                    <a:pt x="90" y="223"/>
                  </a:lnTo>
                  <a:lnTo>
                    <a:pt x="90" y="224"/>
                  </a:lnTo>
                  <a:lnTo>
                    <a:pt x="88" y="224"/>
                  </a:lnTo>
                  <a:lnTo>
                    <a:pt x="90" y="224"/>
                  </a:lnTo>
                  <a:lnTo>
                    <a:pt x="88" y="224"/>
                  </a:lnTo>
                  <a:lnTo>
                    <a:pt x="88" y="223"/>
                  </a:lnTo>
                  <a:lnTo>
                    <a:pt x="88" y="224"/>
                  </a:lnTo>
                  <a:lnTo>
                    <a:pt x="88" y="225"/>
                  </a:lnTo>
                  <a:lnTo>
                    <a:pt x="87" y="225"/>
                  </a:lnTo>
                  <a:lnTo>
                    <a:pt x="87" y="226"/>
                  </a:lnTo>
                  <a:lnTo>
                    <a:pt x="86" y="225"/>
                  </a:lnTo>
                  <a:lnTo>
                    <a:pt x="85" y="225"/>
                  </a:lnTo>
                  <a:lnTo>
                    <a:pt x="86" y="224"/>
                  </a:lnTo>
                  <a:lnTo>
                    <a:pt x="85" y="223"/>
                  </a:lnTo>
                  <a:lnTo>
                    <a:pt x="85" y="221"/>
                  </a:lnTo>
                  <a:lnTo>
                    <a:pt x="86" y="221"/>
                  </a:lnTo>
                  <a:lnTo>
                    <a:pt x="85" y="220"/>
                  </a:lnTo>
                  <a:lnTo>
                    <a:pt x="85" y="221"/>
                  </a:lnTo>
                  <a:lnTo>
                    <a:pt x="84" y="221"/>
                  </a:lnTo>
                  <a:lnTo>
                    <a:pt x="84" y="223"/>
                  </a:lnTo>
                  <a:lnTo>
                    <a:pt x="84" y="224"/>
                  </a:lnTo>
                  <a:lnTo>
                    <a:pt x="82" y="224"/>
                  </a:lnTo>
                  <a:lnTo>
                    <a:pt x="81" y="224"/>
                  </a:lnTo>
                  <a:lnTo>
                    <a:pt x="80" y="224"/>
                  </a:lnTo>
                  <a:lnTo>
                    <a:pt x="80" y="223"/>
                  </a:lnTo>
                  <a:lnTo>
                    <a:pt x="80" y="224"/>
                  </a:lnTo>
                  <a:lnTo>
                    <a:pt x="79" y="224"/>
                  </a:lnTo>
                  <a:lnTo>
                    <a:pt x="79" y="223"/>
                  </a:lnTo>
                  <a:lnTo>
                    <a:pt x="78" y="223"/>
                  </a:lnTo>
                  <a:lnTo>
                    <a:pt x="78" y="221"/>
                  </a:lnTo>
                  <a:lnTo>
                    <a:pt x="79" y="221"/>
                  </a:lnTo>
                  <a:lnTo>
                    <a:pt x="80" y="221"/>
                  </a:lnTo>
                  <a:lnTo>
                    <a:pt x="80" y="220"/>
                  </a:lnTo>
                  <a:lnTo>
                    <a:pt x="79" y="220"/>
                  </a:lnTo>
                  <a:lnTo>
                    <a:pt x="80" y="220"/>
                  </a:lnTo>
                  <a:lnTo>
                    <a:pt x="80" y="219"/>
                  </a:lnTo>
                  <a:lnTo>
                    <a:pt x="80" y="218"/>
                  </a:lnTo>
                  <a:lnTo>
                    <a:pt x="81" y="218"/>
                  </a:lnTo>
                  <a:lnTo>
                    <a:pt x="82" y="218"/>
                  </a:lnTo>
                  <a:lnTo>
                    <a:pt x="82" y="217"/>
                  </a:lnTo>
                  <a:lnTo>
                    <a:pt x="82" y="215"/>
                  </a:lnTo>
                  <a:lnTo>
                    <a:pt x="84" y="215"/>
                  </a:lnTo>
                  <a:lnTo>
                    <a:pt x="85" y="215"/>
                  </a:lnTo>
                  <a:lnTo>
                    <a:pt x="85" y="214"/>
                  </a:lnTo>
                  <a:lnTo>
                    <a:pt x="84" y="213"/>
                  </a:lnTo>
                  <a:lnTo>
                    <a:pt x="82" y="213"/>
                  </a:lnTo>
                  <a:lnTo>
                    <a:pt x="82" y="214"/>
                  </a:lnTo>
                  <a:lnTo>
                    <a:pt x="82" y="215"/>
                  </a:lnTo>
                  <a:lnTo>
                    <a:pt x="81" y="215"/>
                  </a:lnTo>
                  <a:lnTo>
                    <a:pt x="80" y="215"/>
                  </a:lnTo>
                  <a:lnTo>
                    <a:pt x="79" y="214"/>
                  </a:lnTo>
                  <a:lnTo>
                    <a:pt x="79" y="215"/>
                  </a:lnTo>
                  <a:lnTo>
                    <a:pt x="78" y="214"/>
                  </a:lnTo>
                  <a:lnTo>
                    <a:pt x="78" y="215"/>
                  </a:lnTo>
                  <a:lnTo>
                    <a:pt x="76" y="215"/>
                  </a:lnTo>
                  <a:lnTo>
                    <a:pt x="75" y="215"/>
                  </a:lnTo>
                  <a:lnTo>
                    <a:pt x="75" y="217"/>
                  </a:lnTo>
                  <a:lnTo>
                    <a:pt x="74" y="217"/>
                  </a:lnTo>
                  <a:lnTo>
                    <a:pt x="73" y="217"/>
                  </a:lnTo>
                  <a:lnTo>
                    <a:pt x="73" y="215"/>
                  </a:lnTo>
                  <a:lnTo>
                    <a:pt x="74" y="215"/>
                  </a:lnTo>
                  <a:lnTo>
                    <a:pt x="74" y="214"/>
                  </a:lnTo>
                  <a:lnTo>
                    <a:pt x="74" y="213"/>
                  </a:lnTo>
                  <a:lnTo>
                    <a:pt x="74" y="214"/>
                  </a:lnTo>
                  <a:lnTo>
                    <a:pt x="75" y="214"/>
                  </a:lnTo>
                  <a:lnTo>
                    <a:pt x="75" y="213"/>
                  </a:lnTo>
                  <a:lnTo>
                    <a:pt x="74" y="212"/>
                  </a:lnTo>
                  <a:lnTo>
                    <a:pt x="74" y="211"/>
                  </a:lnTo>
                  <a:lnTo>
                    <a:pt x="74" y="209"/>
                  </a:lnTo>
                  <a:lnTo>
                    <a:pt x="75" y="209"/>
                  </a:lnTo>
                  <a:lnTo>
                    <a:pt x="76" y="209"/>
                  </a:lnTo>
                  <a:lnTo>
                    <a:pt x="78" y="209"/>
                  </a:lnTo>
                  <a:lnTo>
                    <a:pt x="80" y="208"/>
                  </a:lnTo>
                  <a:lnTo>
                    <a:pt x="79" y="207"/>
                  </a:lnTo>
                  <a:lnTo>
                    <a:pt x="79" y="206"/>
                  </a:lnTo>
                  <a:lnTo>
                    <a:pt x="80" y="206"/>
                  </a:lnTo>
                  <a:lnTo>
                    <a:pt x="81" y="206"/>
                  </a:lnTo>
                  <a:lnTo>
                    <a:pt x="81" y="205"/>
                  </a:lnTo>
                  <a:lnTo>
                    <a:pt x="82" y="205"/>
                  </a:lnTo>
                  <a:lnTo>
                    <a:pt x="82" y="203"/>
                  </a:lnTo>
                  <a:lnTo>
                    <a:pt x="84" y="203"/>
                  </a:lnTo>
                  <a:lnTo>
                    <a:pt x="84" y="202"/>
                  </a:lnTo>
                  <a:lnTo>
                    <a:pt x="84" y="201"/>
                  </a:lnTo>
                  <a:lnTo>
                    <a:pt x="85" y="202"/>
                  </a:lnTo>
                  <a:lnTo>
                    <a:pt x="85" y="201"/>
                  </a:lnTo>
                  <a:lnTo>
                    <a:pt x="86" y="201"/>
                  </a:lnTo>
                  <a:lnTo>
                    <a:pt x="87" y="200"/>
                  </a:lnTo>
                  <a:lnTo>
                    <a:pt x="86" y="199"/>
                  </a:lnTo>
                  <a:lnTo>
                    <a:pt x="87" y="197"/>
                  </a:lnTo>
                  <a:lnTo>
                    <a:pt x="87" y="199"/>
                  </a:lnTo>
                  <a:lnTo>
                    <a:pt x="88" y="197"/>
                  </a:lnTo>
                  <a:lnTo>
                    <a:pt x="90" y="199"/>
                  </a:lnTo>
                  <a:lnTo>
                    <a:pt x="91" y="197"/>
                  </a:lnTo>
                  <a:lnTo>
                    <a:pt x="91" y="196"/>
                  </a:lnTo>
                  <a:lnTo>
                    <a:pt x="92" y="197"/>
                  </a:lnTo>
                  <a:lnTo>
                    <a:pt x="93" y="196"/>
                  </a:lnTo>
                  <a:lnTo>
                    <a:pt x="93" y="197"/>
                  </a:lnTo>
                  <a:lnTo>
                    <a:pt x="94" y="197"/>
                  </a:lnTo>
                  <a:lnTo>
                    <a:pt x="94" y="196"/>
                  </a:lnTo>
                  <a:lnTo>
                    <a:pt x="94" y="195"/>
                  </a:lnTo>
                  <a:lnTo>
                    <a:pt x="96" y="195"/>
                  </a:lnTo>
                  <a:lnTo>
                    <a:pt x="97" y="195"/>
                  </a:lnTo>
                  <a:lnTo>
                    <a:pt x="97" y="194"/>
                  </a:lnTo>
                  <a:lnTo>
                    <a:pt x="97" y="193"/>
                  </a:lnTo>
                  <a:lnTo>
                    <a:pt x="97" y="194"/>
                  </a:lnTo>
                  <a:lnTo>
                    <a:pt x="98" y="194"/>
                  </a:lnTo>
                  <a:lnTo>
                    <a:pt x="98" y="193"/>
                  </a:lnTo>
                  <a:lnTo>
                    <a:pt x="99" y="193"/>
                  </a:lnTo>
                  <a:lnTo>
                    <a:pt x="98" y="191"/>
                  </a:lnTo>
                  <a:lnTo>
                    <a:pt x="99" y="191"/>
                  </a:lnTo>
                  <a:lnTo>
                    <a:pt x="100" y="191"/>
                  </a:lnTo>
                  <a:lnTo>
                    <a:pt x="99" y="190"/>
                  </a:lnTo>
                  <a:lnTo>
                    <a:pt x="99" y="189"/>
                  </a:lnTo>
                  <a:lnTo>
                    <a:pt x="100" y="189"/>
                  </a:lnTo>
                  <a:lnTo>
                    <a:pt x="99" y="189"/>
                  </a:lnTo>
                  <a:lnTo>
                    <a:pt x="98" y="189"/>
                  </a:lnTo>
                  <a:lnTo>
                    <a:pt x="97" y="190"/>
                  </a:lnTo>
                  <a:lnTo>
                    <a:pt x="96" y="190"/>
                  </a:lnTo>
                  <a:lnTo>
                    <a:pt x="94" y="190"/>
                  </a:lnTo>
                  <a:lnTo>
                    <a:pt x="93" y="190"/>
                  </a:lnTo>
                  <a:lnTo>
                    <a:pt x="92" y="190"/>
                  </a:lnTo>
                  <a:lnTo>
                    <a:pt x="91" y="191"/>
                  </a:lnTo>
                  <a:lnTo>
                    <a:pt x="90" y="191"/>
                  </a:lnTo>
                  <a:lnTo>
                    <a:pt x="88" y="191"/>
                  </a:lnTo>
                  <a:lnTo>
                    <a:pt x="87" y="193"/>
                  </a:lnTo>
                  <a:lnTo>
                    <a:pt x="86" y="193"/>
                  </a:lnTo>
                  <a:lnTo>
                    <a:pt x="85" y="193"/>
                  </a:lnTo>
                  <a:lnTo>
                    <a:pt x="84" y="194"/>
                  </a:lnTo>
                  <a:lnTo>
                    <a:pt x="82" y="194"/>
                  </a:lnTo>
                  <a:lnTo>
                    <a:pt x="81" y="195"/>
                  </a:lnTo>
                  <a:lnTo>
                    <a:pt x="80" y="195"/>
                  </a:lnTo>
                  <a:lnTo>
                    <a:pt x="79" y="196"/>
                  </a:lnTo>
                  <a:lnTo>
                    <a:pt x="78" y="197"/>
                  </a:lnTo>
                  <a:lnTo>
                    <a:pt x="75" y="199"/>
                  </a:lnTo>
                  <a:lnTo>
                    <a:pt x="76" y="199"/>
                  </a:lnTo>
                  <a:lnTo>
                    <a:pt x="78" y="199"/>
                  </a:lnTo>
                  <a:lnTo>
                    <a:pt x="78" y="200"/>
                  </a:lnTo>
                  <a:lnTo>
                    <a:pt x="79" y="200"/>
                  </a:lnTo>
                  <a:lnTo>
                    <a:pt x="79" y="201"/>
                  </a:lnTo>
                  <a:lnTo>
                    <a:pt x="78" y="201"/>
                  </a:lnTo>
                  <a:lnTo>
                    <a:pt x="79" y="201"/>
                  </a:lnTo>
                  <a:lnTo>
                    <a:pt x="78" y="202"/>
                  </a:lnTo>
                  <a:lnTo>
                    <a:pt x="79" y="202"/>
                  </a:lnTo>
                  <a:lnTo>
                    <a:pt x="79" y="203"/>
                  </a:lnTo>
                  <a:lnTo>
                    <a:pt x="79" y="205"/>
                  </a:lnTo>
                  <a:lnTo>
                    <a:pt x="79" y="206"/>
                  </a:lnTo>
                  <a:lnTo>
                    <a:pt x="78" y="207"/>
                  </a:lnTo>
                  <a:lnTo>
                    <a:pt x="76" y="207"/>
                  </a:lnTo>
                  <a:lnTo>
                    <a:pt x="76" y="206"/>
                  </a:lnTo>
                  <a:lnTo>
                    <a:pt x="75" y="206"/>
                  </a:lnTo>
                  <a:lnTo>
                    <a:pt x="74" y="208"/>
                  </a:lnTo>
                  <a:lnTo>
                    <a:pt x="74" y="209"/>
                  </a:lnTo>
                  <a:lnTo>
                    <a:pt x="73" y="211"/>
                  </a:lnTo>
                  <a:lnTo>
                    <a:pt x="72" y="211"/>
                  </a:lnTo>
                  <a:lnTo>
                    <a:pt x="73" y="211"/>
                  </a:lnTo>
                  <a:lnTo>
                    <a:pt x="72" y="212"/>
                  </a:lnTo>
                  <a:lnTo>
                    <a:pt x="72" y="213"/>
                  </a:lnTo>
                  <a:lnTo>
                    <a:pt x="70" y="212"/>
                  </a:lnTo>
                  <a:lnTo>
                    <a:pt x="69" y="213"/>
                  </a:lnTo>
                  <a:lnTo>
                    <a:pt x="68" y="213"/>
                  </a:lnTo>
                  <a:lnTo>
                    <a:pt x="68" y="214"/>
                  </a:lnTo>
                  <a:lnTo>
                    <a:pt x="67" y="213"/>
                  </a:lnTo>
                  <a:lnTo>
                    <a:pt x="65" y="212"/>
                  </a:lnTo>
                  <a:lnTo>
                    <a:pt x="67" y="212"/>
                  </a:lnTo>
                  <a:lnTo>
                    <a:pt x="67" y="211"/>
                  </a:lnTo>
                  <a:lnTo>
                    <a:pt x="67" y="212"/>
                  </a:lnTo>
                  <a:lnTo>
                    <a:pt x="67" y="211"/>
                  </a:lnTo>
                  <a:lnTo>
                    <a:pt x="67" y="209"/>
                  </a:lnTo>
                  <a:lnTo>
                    <a:pt x="65" y="208"/>
                  </a:lnTo>
                  <a:lnTo>
                    <a:pt x="64" y="208"/>
                  </a:lnTo>
                  <a:lnTo>
                    <a:pt x="63" y="209"/>
                  </a:lnTo>
                  <a:lnTo>
                    <a:pt x="62" y="211"/>
                  </a:lnTo>
                  <a:lnTo>
                    <a:pt x="62" y="213"/>
                  </a:lnTo>
                  <a:lnTo>
                    <a:pt x="61" y="213"/>
                  </a:lnTo>
                  <a:lnTo>
                    <a:pt x="59" y="214"/>
                  </a:lnTo>
                  <a:lnTo>
                    <a:pt x="59" y="215"/>
                  </a:lnTo>
                  <a:lnTo>
                    <a:pt x="59" y="217"/>
                  </a:lnTo>
                  <a:lnTo>
                    <a:pt x="58" y="217"/>
                  </a:lnTo>
                  <a:lnTo>
                    <a:pt x="57" y="218"/>
                  </a:lnTo>
                  <a:lnTo>
                    <a:pt x="56" y="218"/>
                  </a:lnTo>
                  <a:lnTo>
                    <a:pt x="56" y="217"/>
                  </a:lnTo>
                  <a:lnTo>
                    <a:pt x="55" y="217"/>
                  </a:lnTo>
                  <a:lnTo>
                    <a:pt x="55" y="215"/>
                  </a:lnTo>
                  <a:lnTo>
                    <a:pt x="53" y="215"/>
                  </a:lnTo>
                  <a:lnTo>
                    <a:pt x="53" y="217"/>
                  </a:lnTo>
                  <a:lnTo>
                    <a:pt x="52" y="217"/>
                  </a:lnTo>
                  <a:lnTo>
                    <a:pt x="51" y="218"/>
                  </a:lnTo>
                  <a:lnTo>
                    <a:pt x="51" y="219"/>
                  </a:lnTo>
                  <a:lnTo>
                    <a:pt x="52" y="220"/>
                  </a:lnTo>
                  <a:lnTo>
                    <a:pt x="51" y="220"/>
                  </a:lnTo>
                  <a:lnTo>
                    <a:pt x="52" y="220"/>
                  </a:lnTo>
                  <a:lnTo>
                    <a:pt x="51" y="220"/>
                  </a:lnTo>
                  <a:lnTo>
                    <a:pt x="50" y="220"/>
                  </a:lnTo>
                  <a:lnTo>
                    <a:pt x="50" y="221"/>
                  </a:lnTo>
                  <a:lnTo>
                    <a:pt x="49" y="221"/>
                  </a:lnTo>
                  <a:lnTo>
                    <a:pt x="47" y="221"/>
                  </a:lnTo>
                  <a:lnTo>
                    <a:pt x="46" y="221"/>
                  </a:lnTo>
                  <a:lnTo>
                    <a:pt x="49" y="220"/>
                  </a:lnTo>
                  <a:lnTo>
                    <a:pt x="47" y="220"/>
                  </a:lnTo>
                  <a:lnTo>
                    <a:pt x="46" y="220"/>
                  </a:lnTo>
                  <a:lnTo>
                    <a:pt x="46" y="221"/>
                  </a:lnTo>
                  <a:lnTo>
                    <a:pt x="45" y="221"/>
                  </a:lnTo>
                  <a:lnTo>
                    <a:pt x="45" y="223"/>
                  </a:lnTo>
                  <a:lnTo>
                    <a:pt x="44" y="223"/>
                  </a:lnTo>
                  <a:lnTo>
                    <a:pt x="44" y="224"/>
                  </a:lnTo>
                  <a:lnTo>
                    <a:pt x="43" y="224"/>
                  </a:lnTo>
                  <a:lnTo>
                    <a:pt x="44" y="224"/>
                  </a:lnTo>
                  <a:lnTo>
                    <a:pt x="45" y="225"/>
                  </a:lnTo>
                  <a:lnTo>
                    <a:pt x="43" y="226"/>
                  </a:lnTo>
                  <a:lnTo>
                    <a:pt x="43" y="227"/>
                  </a:lnTo>
                  <a:lnTo>
                    <a:pt x="41" y="229"/>
                  </a:lnTo>
                  <a:lnTo>
                    <a:pt x="41" y="227"/>
                  </a:lnTo>
                  <a:lnTo>
                    <a:pt x="40" y="227"/>
                  </a:lnTo>
                  <a:lnTo>
                    <a:pt x="39" y="227"/>
                  </a:lnTo>
                  <a:lnTo>
                    <a:pt x="38" y="226"/>
                  </a:lnTo>
                  <a:lnTo>
                    <a:pt x="39" y="226"/>
                  </a:lnTo>
                  <a:lnTo>
                    <a:pt x="38" y="225"/>
                  </a:lnTo>
                  <a:lnTo>
                    <a:pt x="35" y="226"/>
                  </a:lnTo>
                  <a:lnTo>
                    <a:pt x="35" y="227"/>
                  </a:lnTo>
                  <a:lnTo>
                    <a:pt x="35" y="226"/>
                  </a:lnTo>
                  <a:lnTo>
                    <a:pt x="34" y="226"/>
                  </a:lnTo>
                  <a:lnTo>
                    <a:pt x="33" y="226"/>
                  </a:lnTo>
                  <a:lnTo>
                    <a:pt x="32" y="225"/>
                  </a:lnTo>
                  <a:lnTo>
                    <a:pt x="31" y="225"/>
                  </a:lnTo>
                  <a:lnTo>
                    <a:pt x="31" y="224"/>
                  </a:lnTo>
                  <a:lnTo>
                    <a:pt x="29" y="223"/>
                  </a:lnTo>
                  <a:lnTo>
                    <a:pt x="28" y="221"/>
                  </a:lnTo>
                  <a:lnTo>
                    <a:pt x="31" y="221"/>
                  </a:lnTo>
                  <a:lnTo>
                    <a:pt x="31" y="220"/>
                  </a:lnTo>
                  <a:lnTo>
                    <a:pt x="29" y="219"/>
                  </a:lnTo>
                  <a:lnTo>
                    <a:pt x="27" y="217"/>
                  </a:lnTo>
                  <a:lnTo>
                    <a:pt x="28" y="217"/>
                  </a:lnTo>
                  <a:lnTo>
                    <a:pt x="29" y="217"/>
                  </a:lnTo>
                  <a:lnTo>
                    <a:pt x="31" y="217"/>
                  </a:lnTo>
                  <a:lnTo>
                    <a:pt x="31" y="215"/>
                  </a:lnTo>
                  <a:lnTo>
                    <a:pt x="32" y="215"/>
                  </a:lnTo>
                  <a:lnTo>
                    <a:pt x="33" y="215"/>
                  </a:lnTo>
                  <a:lnTo>
                    <a:pt x="33" y="214"/>
                  </a:lnTo>
                  <a:lnTo>
                    <a:pt x="32" y="215"/>
                  </a:lnTo>
                  <a:lnTo>
                    <a:pt x="32" y="214"/>
                  </a:lnTo>
                  <a:lnTo>
                    <a:pt x="31" y="214"/>
                  </a:lnTo>
                  <a:lnTo>
                    <a:pt x="29" y="213"/>
                  </a:lnTo>
                  <a:lnTo>
                    <a:pt x="29" y="212"/>
                  </a:lnTo>
                  <a:lnTo>
                    <a:pt x="31" y="212"/>
                  </a:lnTo>
                  <a:lnTo>
                    <a:pt x="32" y="212"/>
                  </a:lnTo>
                  <a:lnTo>
                    <a:pt x="33" y="212"/>
                  </a:lnTo>
                  <a:lnTo>
                    <a:pt x="33" y="211"/>
                  </a:lnTo>
                  <a:lnTo>
                    <a:pt x="33" y="209"/>
                  </a:lnTo>
                  <a:lnTo>
                    <a:pt x="34" y="211"/>
                  </a:lnTo>
                  <a:lnTo>
                    <a:pt x="35" y="211"/>
                  </a:lnTo>
                  <a:lnTo>
                    <a:pt x="35" y="208"/>
                  </a:lnTo>
                  <a:lnTo>
                    <a:pt x="37" y="207"/>
                  </a:lnTo>
                  <a:lnTo>
                    <a:pt x="38" y="206"/>
                  </a:lnTo>
                  <a:lnTo>
                    <a:pt x="39" y="207"/>
                  </a:lnTo>
                  <a:lnTo>
                    <a:pt x="39" y="205"/>
                  </a:lnTo>
                  <a:lnTo>
                    <a:pt x="38" y="203"/>
                  </a:lnTo>
                  <a:lnTo>
                    <a:pt x="38" y="202"/>
                  </a:lnTo>
                  <a:lnTo>
                    <a:pt x="38" y="201"/>
                  </a:lnTo>
                  <a:lnTo>
                    <a:pt x="39" y="201"/>
                  </a:lnTo>
                  <a:lnTo>
                    <a:pt x="40" y="201"/>
                  </a:lnTo>
                  <a:lnTo>
                    <a:pt x="41" y="201"/>
                  </a:lnTo>
                  <a:lnTo>
                    <a:pt x="43" y="200"/>
                  </a:lnTo>
                  <a:lnTo>
                    <a:pt x="44" y="200"/>
                  </a:lnTo>
                  <a:lnTo>
                    <a:pt x="45" y="199"/>
                  </a:lnTo>
                  <a:lnTo>
                    <a:pt x="46" y="199"/>
                  </a:lnTo>
                  <a:lnTo>
                    <a:pt x="45" y="199"/>
                  </a:lnTo>
                  <a:lnTo>
                    <a:pt x="45" y="197"/>
                  </a:lnTo>
                  <a:lnTo>
                    <a:pt x="44" y="196"/>
                  </a:lnTo>
                  <a:lnTo>
                    <a:pt x="44" y="195"/>
                  </a:lnTo>
                  <a:lnTo>
                    <a:pt x="45" y="195"/>
                  </a:lnTo>
                  <a:lnTo>
                    <a:pt x="46" y="195"/>
                  </a:lnTo>
                  <a:lnTo>
                    <a:pt x="47" y="196"/>
                  </a:lnTo>
                  <a:lnTo>
                    <a:pt x="47" y="195"/>
                  </a:lnTo>
                  <a:lnTo>
                    <a:pt x="49" y="195"/>
                  </a:lnTo>
                  <a:lnTo>
                    <a:pt x="50" y="195"/>
                  </a:lnTo>
                  <a:lnTo>
                    <a:pt x="51" y="196"/>
                  </a:lnTo>
                  <a:lnTo>
                    <a:pt x="51" y="195"/>
                  </a:lnTo>
                  <a:lnTo>
                    <a:pt x="52" y="194"/>
                  </a:lnTo>
                  <a:lnTo>
                    <a:pt x="52" y="193"/>
                  </a:lnTo>
                  <a:lnTo>
                    <a:pt x="52" y="191"/>
                  </a:lnTo>
                  <a:lnTo>
                    <a:pt x="53" y="191"/>
                  </a:lnTo>
                  <a:lnTo>
                    <a:pt x="53" y="190"/>
                  </a:lnTo>
                  <a:lnTo>
                    <a:pt x="55" y="190"/>
                  </a:lnTo>
                  <a:lnTo>
                    <a:pt x="55" y="189"/>
                  </a:lnTo>
                  <a:lnTo>
                    <a:pt x="55" y="188"/>
                  </a:lnTo>
                  <a:lnTo>
                    <a:pt x="56" y="188"/>
                  </a:lnTo>
                  <a:lnTo>
                    <a:pt x="56" y="187"/>
                  </a:lnTo>
                  <a:lnTo>
                    <a:pt x="57" y="185"/>
                  </a:lnTo>
                  <a:lnTo>
                    <a:pt x="57" y="184"/>
                  </a:lnTo>
                  <a:lnTo>
                    <a:pt x="58" y="184"/>
                  </a:lnTo>
                  <a:lnTo>
                    <a:pt x="59" y="184"/>
                  </a:lnTo>
                  <a:lnTo>
                    <a:pt x="58" y="184"/>
                  </a:lnTo>
                  <a:lnTo>
                    <a:pt x="58" y="183"/>
                  </a:lnTo>
                  <a:lnTo>
                    <a:pt x="58" y="182"/>
                  </a:lnTo>
                  <a:lnTo>
                    <a:pt x="57" y="183"/>
                  </a:lnTo>
                  <a:lnTo>
                    <a:pt x="57" y="182"/>
                  </a:lnTo>
                  <a:lnTo>
                    <a:pt x="57" y="181"/>
                  </a:lnTo>
                  <a:lnTo>
                    <a:pt x="58" y="181"/>
                  </a:lnTo>
                  <a:lnTo>
                    <a:pt x="57" y="181"/>
                  </a:lnTo>
                  <a:lnTo>
                    <a:pt x="56" y="179"/>
                  </a:lnTo>
                  <a:lnTo>
                    <a:pt x="55" y="178"/>
                  </a:lnTo>
                  <a:lnTo>
                    <a:pt x="55" y="179"/>
                  </a:lnTo>
                  <a:lnTo>
                    <a:pt x="53" y="178"/>
                  </a:lnTo>
                  <a:lnTo>
                    <a:pt x="52" y="177"/>
                  </a:lnTo>
                  <a:lnTo>
                    <a:pt x="52" y="176"/>
                  </a:lnTo>
                  <a:lnTo>
                    <a:pt x="51" y="176"/>
                  </a:lnTo>
                  <a:lnTo>
                    <a:pt x="50" y="176"/>
                  </a:lnTo>
                  <a:lnTo>
                    <a:pt x="50" y="175"/>
                  </a:lnTo>
                  <a:lnTo>
                    <a:pt x="49" y="175"/>
                  </a:lnTo>
                  <a:lnTo>
                    <a:pt x="50" y="175"/>
                  </a:lnTo>
                  <a:lnTo>
                    <a:pt x="50" y="173"/>
                  </a:lnTo>
                  <a:lnTo>
                    <a:pt x="49" y="175"/>
                  </a:lnTo>
                  <a:lnTo>
                    <a:pt x="47" y="173"/>
                  </a:lnTo>
                  <a:lnTo>
                    <a:pt x="47" y="175"/>
                  </a:lnTo>
                  <a:lnTo>
                    <a:pt x="49" y="176"/>
                  </a:lnTo>
                  <a:lnTo>
                    <a:pt x="47" y="176"/>
                  </a:lnTo>
                  <a:lnTo>
                    <a:pt x="47" y="177"/>
                  </a:lnTo>
                  <a:lnTo>
                    <a:pt x="47" y="176"/>
                  </a:lnTo>
                  <a:lnTo>
                    <a:pt x="47" y="177"/>
                  </a:lnTo>
                  <a:lnTo>
                    <a:pt x="47" y="178"/>
                  </a:lnTo>
                  <a:lnTo>
                    <a:pt x="46" y="178"/>
                  </a:lnTo>
                  <a:lnTo>
                    <a:pt x="46" y="179"/>
                  </a:lnTo>
                  <a:lnTo>
                    <a:pt x="45" y="181"/>
                  </a:lnTo>
                  <a:lnTo>
                    <a:pt x="45" y="179"/>
                  </a:lnTo>
                  <a:lnTo>
                    <a:pt x="44" y="179"/>
                  </a:lnTo>
                  <a:lnTo>
                    <a:pt x="43" y="179"/>
                  </a:lnTo>
                  <a:lnTo>
                    <a:pt x="41" y="181"/>
                  </a:lnTo>
                  <a:lnTo>
                    <a:pt x="40" y="182"/>
                  </a:lnTo>
                  <a:lnTo>
                    <a:pt x="39" y="182"/>
                  </a:lnTo>
                  <a:lnTo>
                    <a:pt x="38" y="183"/>
                  </a:lnTo>
                  <a:lnTo>
                    <a:pt x="37" y="184"/>
                  </a:lnTo>
                  <a:lnTo>
                    <a:pt x="37" y="183"/>
                  </a:lnTo>
                  <a:lnTo>
                    <a:pt x="34" y="184"/>
                  </a:lnTo>
                  <a:lnTo>
                    <a:pt x="33" y="185"/>
                  </a:lnTo>
                  <a:lnTo>
                    <a:pt x="32" y="184"/>
                  </a:lnTo>
                  <a:lnTo>
                    <a:pt x="32" y="185"/>
                  </a:lnTo>
                  <a:lnTo>
                    <a:pt x="31" y="185"/>
                  </a:lnTo>
                  <a:lnTo>
                    <a:pt x="29" y="184"/>
                  </a:lnTo>
                  <a:lnTo>
                    <a:pt x="29" y="185"/>
                  </a:lnTo>
                  <a:lnTo>
                    <a:pt x="28" y="185"/>
                  </a:lnTo>
                  <a:lnTo>
                    <a:pt x="27" y="185"/>
                  </a:lnTo>
                  <a:lnTo>
                    <a:pt x="27" y="184"/>
                  </a:lnTo>
                  <a:lnTo>
                    <a:pt x="26" y="184"/>
                  </a:lnTo>
                  <a:lnTo>
                    <a:pt x="26" y="183"/>
                  </a:lnTo>
                  <a:lnTo>
                    <a:pt x="25" y="183"/>
                  </a:lnTo>
                  <a:lnTo>
                    <a:pt x="23" y="182"/>
                  </a:lnTo>
                  <a:lnTo>
                    <a:pt x="23" y="181"/>
                  </a:lnTo>
                  <a:lnTo>
                    <a:pt x="22" y="181"/>
                  </a:lnTo>
                  <a:lnTo>
                    <a:pt x="22" y="182"/>
                  </a:lnTo>
                  <a:lnTo>
                    <a:pt x="22" y="181"/>
                  </a:lnTo>
                  <a:lnTo>
                    <a:pt x="21" y="181"/>
                  </a:lnTo>
                  <a:lnTo>
                    <a:pt x="20" y="181"/>
                  </a:lnTo>
                  <a:lnTo>
                    <a:pt x="21" y="181"/>
                  </a:lnTo>
                  <a:lnTo>
                    <a:pt x="20" y="181"/>
                  </a:lnTo>
                  <a:lnTo>
                    <a:pt x="20" y="179"/>
                  </a:lnTo>
                  <a:lnTo>
                    <a:pt x="19" y="178"/>
                  </a:lnTo>
                  <a:lnTo>
                    <a:pt x="17" y="178"/>
                  </a:lnTo>
                  <a:lnTo>
                    <a:pt x="17" y="179"/>
                  </a:lnTo>
                  <a:lnTo>
                    <a:pt x="16" y="178"/>
                  </a:lnTo>
                  <a:lnTo>
                    <a:pt x="15" y="178"/>
                  </a:lnTo>
                  <a:lnTo>
                    <a:pt x="14" y="177"/>
                  </a:lnTo>
                  <a:lnTo>
                    <a:pt x="13" y="176"/>
                  </a:lnTo>
                  <a:lnTo>
                    <a:pt x="11" y="176"/>
                  </a:lnTo>
                  <a:lnTo>
                    <a:pt x="13" y="176"/>
                  </a:lnTo>
                  <a:lnTo>
                    <a:pt x="13" y="175"/>
                  </a:lnTo>
                  <a:lnTo>
                    <a:pt x="14" y="175"/>
                  </a:lnTo>
                  <a:lnTo>
                    <a:pt x="14" y="173"/>
                  </a:lnTo>
                  <a:lnTo>
                    <a:pt x="14" y="172"/>
                  </a:lnTo>
                  <a:lnTo>
                    <a:pt x="13" y="172"/>
                  </a:lnTo>
                  <a:lnTo>
                    <a:pt x="14" y="171"/>
                  </a:lnTo>
                  <a:lnTo>
                    <a:pt x="15" y="171"/>
                  </a:lnTo>
                  <a:lnTo>
                    <a:pt x="14" y="171"/>
                  </a:lnTo>
                  <a:lnTo>
                    <a:pt x="11" y="171"/>
                  </a:lnTo>
                  <a:lnTo>
                    <a:pt x="11" y="172"/>
                  </a:lnTo>
                  <a:lnTo>
                    <a:pt x="11" y="173"/>
                  </a:lnTo>
                  <a:lnTo>
                    <a:pt x="10" y="173"/>
                  </a:lnTo>
                  <a:lnTo>
                    <a:pt x="9" y="173"/>
                  </a:lnTo>
                  <a:lnTo>
                    <a:pt x="8" y="173"/>
                  </a:lnTo>
                  <a:lnTo>
                    <a:pt x="6" y="175"/>
                  </a:lnTo>
                  <a:lnTo>
                    <a:pt x="6" y="173"/>
                  </a:lnTo>
                  <a:lnTo>
                    <a:pt x="5" y="175"/>
                  </a:lnTo>
                  <a:lnTo>
                    <a:pt x="5" y="173"/>
                  </a:lnTo>
                  <a:lnTo>
                    <a:pt x="4" y="173"/>
                  </a:lnTo>
                  <a:lnTo>
                    <a:pt x="4" y="171"/>
                  </a:lnTo>
                  <a:lnTo>
                    <a:pt x="3" y="171"/>
                  </a:lnTo>
                  <a:lnTo>
                    <a:pt x="3" y="170"/>
                  </a:lnTo>
                  <a:lnTo>
                    <a:pt x="2" y="167"/>
                  </a:lnTo>
                  <a:lnTo>
                    <a:pt x="2" y="166"/>
                  </a:lnTo>
                  <a:lnTo>
                    <a:pt x="0" y="165"/>
                  </a:lnTo>
                  <a:lnTo>
                    <a:pt x="0" y="164"/>
                  </a:lnTo>
                  <a:lnTo>
                    <a:pt x="2" y="164"/>
                  </a:lnTo>
                  <a:lnTo>
                    <a:pt x="3" y="165"/>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1" name="Freeform 74"/>
            <p:cNvSpPr>
              <a:spLocks/>
            </p:cNvSpPr>
            <p:nvPr userDrawn="1"/>
          </p:nvSpPr>
          <p:spPr bwMode="auto">
            <a:xfrm>
              <a:off x="6119813" y="6311901"/>
              <a:ext cx="219075" cy="266700"/>
            </a:xfrm>
            <a:custGeom>
              <a:avLst/>
              <a:gdLst/>
              <a:ahLst/>
              <a:cxnLst>
                <a:cxn ang="0">
                  <a:pos x="392" y="612"/>
                </a:cxn>
                <a:cxn ang="0">
                  <a:pos x="399" y="597"/>
                </a:cxn>
                <a:cxn ang="0">
                  <a:pos x="395" y="664"/>
                </a:cxn>
                <a:cxn ang="0">
                  <a:pos x="436" y="642"/>
                </a:cxn>
                <a:cxn ang="0">
                  <a:pos x="423" y="662"/>
                </a:cxn>
                <a:cxn ang="0">
                  <a:pos x="452" y="694"/>
                </a:cxn>
                <a:cxn ang="0">
                  <a:pos x="500" y="722"/>
                </a:cxn>
                <a:cxn ang="0">
                  <a:pos x="590" y="685"/>
                </a:cxn>
                <a:cxn ang="0">
                  <a:pos x="581" y="640"/>
                </a:cxn>
                <a:cxn ang="0">
                  <a:pos x="509" y="626"/>
                </a:cxn>
                <a:cxn ang="0">
                  <a:pos x="559" y="599"/>
                </a:cxn>
                <a:cxn ang="0">
                  <a:pos x="546" y="566"/>
                </a:cxn>
                <a:cxn ang="0">
                  <a:pos x="513" y="518"/>
                </a:cxn>
                <a:cxn ang="0">
                  <a:pos x="472" y="457"/>
                </a:cxn>
                <a:cxn ang="0">
                  <a:pos x="534" y="450"/>
                </a:cxn>
                <a:cxn ang="0">
                  <a:pos x="619" y="395"/>
                </a:cxn>
                <a:cxn ang="0">
                  <a:pos x="670" y="329"/>
                </a:cxn>
                <a:cxn ang="0">
                  <a:pos x="605" y="261"/>
                </a:cxn>
                <a:cxn ang="0">
                  <a:pos x="619" y="228"/>
                </a:cxn>
                <a:cxn ang="0">
                  <a:pos x="599" y="156"/>
                </a:cxn>
                <a:cxn ang="0">
                  <a:pos x="572" y="114"/>
                </a:cxn>
                <a:cxn ang="0">
                  <a:pos x="513" y="30"/>
                </a:cxn>
                <a:cxn ang="0">
                  <a:pos x="457" y="46"/>
                </a:cxn>
                <a:cxn ang="0">
                  <a:pos x="431" y="73"/>
                </a:cxn>
                <a:cxn ang="0">
                  <a:pos x="424" y="103"/>
                </a:cxn>
                <a:cxn ang="0">
                  <a:pos x="403" y="114"/>
                </a:cxn>
                <a:cxn ang="0">
                  <a:pos x="415" y="77"/>
                </a:cxn>
                <a:cxn ang="0">
                  <a:pos x="327" y="54"/>
                </a:cxn>
                <a:cxn ang="0">
                  <a:pos x="310" y="17"/>
                </a:cxn>
                <a:cxn ang="0">
                  <a:pos x="293" y="67"/>
                </a:cxn>
                <a:cxn ang="0">
                  <a:pos x="255" y="76"/>
                </a:cxn>
                <a:cxn ang="0">
                  <a:pos x="210" y="62"/>
                </a:cxn>
                <a:cxn ang="0">
                  <a:pos x="208" y="107"/>
                </a:cxn>
                <a:cxn ang="0">
                  <a:pos x="176" y="121"/>
                </a:cxn>
                <a:cxn ang="0">
                  <a:pos x="180" y="167"/>
                </a:cxn>
                <a:cxn ang="0">
                  <a:pos x="239" y="183"/>
                </a:cxn>
                <a:cxn ang="0">
                  <a:pos x="262" y="180"/>
                </a:cxn>
                <a:cxn ang="0">
                  <a:pos x="259" y="219"/>
                </a:cxn>
                <a:cxn ang="0">
                  <a:pos x="194" y="255"/>
                </a:cxn>
                <a:cxn ang="0">
                  <a:pos x="140" y="219"/>
                </a:cxn>
                <a:cxn ang="0">
                  <a:pos x="91" y="233"/>
                </a:cxn>
                <a:cxn ang="0">
                  <a:pos x="124" y="305"/>
                </a:cxn>
                <a:cxn ang="0">
                  <a:pos x="117" y="344"/>
                </a:cxn>
                <a:cxn ang="0">
                  <a:pos x="52" y="345"/>
                </a:cxn>
                <a:cxn ang="0">
                  <a:pos x="12" y="355"/>
                </a:cxn>
                <a:cxn ang="0">
                  <a:pos x="25" y="393"/>
                </a:cxn>
                <a:cxn ang="0">
                  <a:pos x="40" y="445"/>
                </a:cxn>
                <a:cxn ang="0">
                  <a:pos x="80" y="440"/>
                </a:cxn>
                <a:cxn ang="0">
                  <a:pos x="126" y="424"/>
                </a:cxn>
                <a:cxn ang="0">
                  <a:pos x="124" y="469"/>
                </a:cxn>
                <a:cxn ang="0">
                  <a:pos x="76" y="514"/>
                </a:cxn>
                <a:cxn ang="0">
                  <a:pos x="82" y="555"/>
                </a:cxn>
                <a:cxn ang="0">
                  <a:pos x="165" y="543"/>
                </a:cxn>
                <a:cxn ang="0">
                  <a:pos x="173" y="566"/>
                </a:cxn>
                <a:cxn ang="0">
                  <a:pos x="134" y="608"/>
                </a:cxn>
                <a:cxn ang="0">
                  <a:pos x="199" y="637"/>
                </a:cxn>
                <a:cxn ang="0">
                  <a:pos x="229" y="578"/>
                </a:cxn>
                <a:cxn ang="0">
                  <a:pos x="227" y="530"/>
                </a:cxn>
                <a:cxn ang="0">
                  <a:pos x="273" y="591"/>
                </a:cxn>
                <a:cxn ang="0">
                  <a:pos x="279" y="520"/>
                </a:cxn>
                <a:cxn ang="0">
                  <a:pos x="288" y="543"/>
                </a:cxn>
                <a:cxn ang="0">
                  <a:pos x="328" y="531"/>
                </a:cxn>
                <a:cxn ang="0">
                  <a:pos x="350" y="551"/>
                </a:cxn>
              </a:cxnLst>
              <a:rect l="0" t="0" r="r" b="b"/>
              <a:pathLst>
                <a:path w="688" h="840">
                  <a:moveTo>
                    <a:pt x="457" y="834"/>
                  </a:moveTo>
                  <a:lnTo>
                    <a:pt x="452" y="834"/>
                  </a:lnTo>
                  <a:lnTo>
                    <a:pt x="423" y="835"/>
                  </a:lnTo>
                  <a:lnTo>
                    <a:pt x="406" y="833"/>
                  </a:lnTo>
                  <a:lnTo>
                    <a:pt x="404" y="821"/>
                  </a:lnTo>
                  <a:lnTo>
                    <a:pt x="403" y="811"/>
                  </a:lnTo>
                  <a:lnTo>
                    <a:pt x="401" y="807"/>
                  </a:lnTo>
                  <a:lnTo>
                    <a:pt x="400" y="786"/>
                  </a:lnTo>
                  <a:lnTo>
                    <a:pt x="394" y="725"/>
                  </a:lnTo>
                  <a:lnTo>
                    <a:pt x="393" y="715"/>
                  </a:lnTo>
                  <a:lnTo>
                    <a:pt x="392" y="696"/>
                  </a:lnTo>
                  <a:lnTo>
                    <a:pt x="391" y="683"/>
                  </a:lnTo>
                  <a:lnTo>
                    <a:pt x="389" y="672"/>
                  </a:lnTo>
                  <a:lnTo>
                    <a:pt x="388" y="661"/>
                  </a:lnTo>
                  <a:lnTo>
                    <a:pt x="387" y="649"/>
                  </a:lnTo>
                  <a:lnTo>
                    <a:pt x="387" y="644"/>
                  </a:lnTo>
                  <a:lnTo>
                    <a:pt x="388" y="644"/>
                  </a:lnTo>
                  <a:lnTo>
                    <a:pt x="391" y="646"/>
                  </a:lnTo>
                  <a:lnTo>
                    <a:pt x="392" y="647"/>
                  </a:lnTo>
                  <a:lnTo>
                    <a:pt x="393" y="646"/>
                  </a:lnTo>
                  <a:lnTo>
                    <a:pt x="393" y="644"/>
                  </a:lnTo>
                  <a:lnTo>
                    <a:pt x="393" y="642"/>
                  </a:lnTo>
                  <a:lnTo>
                    <a:pt x="392" y="641"/>
                  </a:lnTo>
                  <a:lnTo>
                    <a:pt x="391" y="640"/>
                  </a:lnTo>
                  <a:lnTo>
                    <a:pt x="388" y="640"/>
                  </a:lnTo>
                  <a:lnTo>
                    <a:pt x="388" y="637"/>
                  </a:lnTo>
                  <a:lnTo>
                    <a:pt x="389" y="636"/>
                  </a:lnTo>
                  <a:lnTo>
                    <a:pt x="391" y="636"/>
                  </a:lnTo>
                  <a:lnTo>
                    <a:pt x="392" y="636"/>
                  </a:lnTo>
                  <a:lnTo>
                    <a:pt x="393" y="636"/>
                  </a:lnTo>
                  <a:lnTo>
                    <a:pt x="393" y="635"/>
                  </a:lnTo>
                  <a:lnTo>
                    <a:pt x="394" y="632"/>
                  </a:lnTo>
                  <a:lnTo>
                    <a:pt x="397" y="630"/>
                  </a:lnTo>
                  <a:lnTo>
                    <a:pt x="397" y="626"/>
                  </a:lnTo>
                  <a:lnTo>
                    <a:pt x="395" y="627"/>
                  </a:lnTo>
                  <a:lnTo>
                    <a:pt x="394" y="629"/>
                  </a:lnTo>
                  <a:lnTo>
                    <a:pt x="392" y="631"/>
                  </a:lnTo>
                  <a:lnTo>
                    <a:pt x="391" y="632"/>
                  </a:lnTo>
                  <a:lnTo>
                    <a:pt x="388" y="632"/>
                  </a:lnTo>
                  <a:lnTo>
                    <a:pt x="387" y="633"/>
                  </a:lnTo>
                  <a:lnTo>
                    <a:pt x="387" y="632"/>
                  </a:lnTo>
                  <a:lnTo>
                    <a:pt x="386" y="627"/>
                  </a:lnTo>
                  <a:lnTo>
                    <a:pt x="385" y="611"/>
                  </a:lnTo>
                  <a:lnTo>
                    <a:pt x="386" y="606"/>
                  </a:lnTo>
                  <a:lnTo>
                    <a:pt x="387" y="605"/>
                  </a:lnTo>
                  <a:lnTo>
                    <a:pt x="389" y="603"/>
                  </a:lnTo>
                  <a:lnTo>
                    <a:pt x="389" y="601"/>
                  </a:lnTo>
                  <a:lnTo>
                    <a:pt x="387" y="599"/>
                  </a:lnTo>
                  <a:lnTo>
                    <a:pt x="386" y="597"/>
                  </a:lnTo>
                  <a:lnTo>
                    <a:pt x="386" y="590"/>
                  </a:lnTo>
                  <a:lnTo>
                    <a:pt x="385" y="585"/>
                  </a:lnTo>
                  <a:lnTo>
                    <a:pt x="385" y="583"/>
                  </a:lnTo>
                  <a:lnTo>
                    <a:pt x="387" y="582"/>
                  </a:lnTo>
                  <a:lnTo>
                    <a:pt x="386" y="579"/>
                  </a:lnTo>
                  <a:lnTo>
                    <a:pt x="385" y="578"/>
                  </a:lnTo>
                  <a:lnTo>
                    <a:pt x="385" y="576"/>
                  </a:lnTo>
                  <a:lnTo>
                    <a:pt x="385" y="572"/>
                  </a:lnTo>
                  <a:lnTo>
                    <a:pt x="385" y="570"/>
                  </a:lnTo>
                  <a:lnTo>
                    <a:pt x="383" y="567"/>
                  </a:lnTo>
                  <a:lnTo>
                    <a:pt x="386" y="563"/>
                  </a:lnTo>
                  <a:lnTo>
                    <a:pt x="387" y="565"/>
                  </a:lnTo>
                  <a:lnTo>
                    <a:pt x="387" y="567"/>
                  </a:lnTo>
                  <a:lnTo>
                    <a:pt x="388" y="567"/>
                  </a:lnTo>
                  <a:lnTo>
                    <a:pt x="388" y="565"/>
                  </a:lnTo>
                  <a:lnTo>
                    <a:pt x="389" y="563"/>
                  </a:lnTo>
                  <a:lnTo>
                    <a:pt x="388" y="561"/>
                  </a:lnTo>
                  <a:lnTo>
                    <a:pt x="386" y="560"/>
                  </a:lnTo>
                  <a:lnTo>
                    <a:pt x="386" y="559"/>
                  </a:lnTo>
                  <a:lnTo>
                    <a:pt x="386" y="551"/>
                  </a:lnTo>
                  <a:lnTo>
                    <a:pt x="385" y="547"/>
                  </a:lnTo>
                  <a:lnTo>
                    <a:pt x="386" y="543"/>
                  </a:lnTo>
                  <a:lnTo>
                    <a:pt x="387" y="540"/>
                  </a:lnTo>
                  <a:lnTo>
                    <a:pt x="388" y="537"/>
                  </a:lnTo>
                  <a:lnTo>
                    <a:pt x="391" y="535"/>
                  </a:lnTo>
                  <a:lnTo>
                    <a:pt x="393" y="534"/>
                  </a:lnTo>
                  <a:lnTo>
                    <a:pt x="394" y="536"/>
                  </a:lnTo>
                  <a:lnTo>
                    <a:pt x="395" y="539"/>
                  </a:lnTo>
                  <a:lnTo>
                    <a:pt x="394" y="542"/>
                  </a:lnTo>
                  <a:lnTo>
                    <a:pt x="393" y="543"/>
                  </a:lnTo>
                  <a:lnTo>
                    <a:pt x="392" y="546"/>
                  </a:lnTo>
                  <a:lnTo>
                    <a:pt x="392" y="549"/>
                  </a:lnTo>
                  <a:lnTo>
                    <a:pt x="392" y="557"/>
                  </a:lnTo>
                  <a:lnTo>
                    <a:pt x="392" y="567"/>
                  </a:lnTo>
                  <a:lnTo>
                    <a:pt x="391" y="572"/>
                  </a:lnTo>
                  <a:lnTo>
                    <a:pt x="391" y="577"/>
                  </a:lnTo>
                  <a:lnTo>
                    <a:pt x="391" y="581"/>
                  </a:lnTo>
                  <a:lnTo>
                    <a:pt x="389" y="584"/>
                  </a:lnTo>
                  <a:lnTo>
                    <a:pt x="391" y="585"/>
                  </a:lnTo>
                  <a:lnTo>
                    <a:pt x="391" y="587"/>
                  </a:lnTo>
                  <a:lnTo>
                    <a:pt x="389" y="587"/>
                  </a:lnTo>
                  <a:lnTo>
                    <a:pt x="391" y="589"/>
                  </a:lnTo>
                  <a:lnTo>
                    <a:pt x="392" y="590"/>
                  </a:lnTo>
                  <a:lnTo>
                    <a:pt x="391" y="594"/>
                  </a:lnTo>
                  <a:lnTo>
                    <a:pt x="391" y="596"/>
                  </a:lnTo>
                  <a:lnTo>
                    <a:pt x="391" y="599"/>
                  </a:lnTo>
                  <a:lnTo>
                    <a:pt x="392" y="601"/>
                  </a:lnTo>
                  <a:lnTo>
                    <a:pt x="392" y="603"/>
                  </a:lnTo>
                  <a:lnTo>
                    <a:pt x="392" y="605"/>
                  </a:lnTo>
                  <a:lnTo>
                    <a:pt x="391" y="607"/>
                  </a:lnTo>
                  <a:lnTo>
                    <a:pt x="391" y="608"/>
                  </a:lnTo>
                  <a:lnTo>
                    <a:pt x="392" y="612"/>
                  </a:lnTo>
                  <a:lnTo>
                    <a:pt x="392" y="614"/>
                  </a:lnTo>
                  <a:lnTo>
                    <a:pt x="391" y="615"/>
                  </a:lnTo>
                  <a:lnTo>
                    <a:pt x="389" y="618"/>
                  </a:lnTo>
                  <a:lnTo>
                    <a:pt x="388" y="619"/>
                  </a:lnTo>
                  <a:lnTo>
                    <a:pt x="388" y="623"/>
                  </a:lnTo>
                  <a:lnTo>
                    <a:pt x="391" y="625"/>
                  </a:lnTo>
                  <a:lnTo>
                    <a:pt x="392" y="629"/>
                  </a:lnTo>
                  <a:lnTo>
                    <a:pt x="393" y="629"/>
                  </a:lnTo>
                  <a:lnTo>
                    <a:pt x="393" y="626"/>
                  </a:lnTo>
                  <a:lnTo>
                    <a:pt x="393" y="624"/>
                  </a:lnTo>
                  <a:lnTo>
                    <a:pt x="393" y="621"/>
                  </a:lnTo>
                  <a:lnTo>
                    <a:pt x="393" y="620"/>
                  </a:lnTo>
                  <a:lnTo>
                    <a:pt x="394" y="620"/>
                  </a:lnTo>
                  <a:lnTo>
                    <a:pt x="395" y="624"/>
                  </a:lnTo>
                  <a:lnTo>
                    <a:pt x="397" y="623"/>
                  </a:lnTo>
                  <a:lnTo>
                    <a:pt x="397" y="619"/>
                  </a:lnTo>
                  <a:lnTo>
                    <a:pt x="397" y="618"/>
                  </a:lnTo>
                  <a:lnTo>
                    <a:pt x="397" y="615"/>
                  </a:lnTo>
                  <a:lnTo>
                    <a:pt x="397" y="613"/>
                  </a:lnTo>
                  <a:lnTo>
                    <a:pt x="397" y="611"/>
                  </a:lnTo>
                  <a:lnTo>
                    <a:pt x="395" y="609"/>
                  </a:lnTo>
                  <a:lnTo>
                    <a:pt x="394" y="608"/>
                  </a:lnTo>
                  <a:lnTo>
                    <a:pt x="395" y="609"/>
                  </a:lnTo>
                  <a:lnTo>
                    <a:pt x="399" y="612"/>
                  </a:lnTo>
                  <a:lnTo>
                    <a:pt x="400" y="612"/>
                  </a:lnTo>
                  <a:lnTo>
                    <a:pt x="401" y="613"/>
                  </a:lnTo>
                  <a:lnTo>
                    <a:pt x="400" y="615"/>
                  </a:lnTo>
                  <a:lnTo>
                    <a:pt x="399" y="618"/>
                  </a:lnTo>
                  <a:lnTo>
                    <a:pt x="400" y="618"/>
                  </a:lnTo>
                  <a:lnTo>
                    <a:pt x="401" y="617"/>
                  </a:lnTo>
                  <a:lnTo>
                    <a:pt x="404" y="618"/>
                  </a:lnTo>
                  <a:lnTo>
                    <a:pt x="406" y="620"/>
                  </a:lnTo>
                  <a:lnTo>
                    <a:pt x="409" y="620"/>
                  </a:lnTo>
                  <a:lnTo>
                    <a:pt x="410" y="619"/>
                  </a:lnTo>
                  <a:lnTo>
                    <a:pt x="407" y="617"/>
                  </a:lnTo>
                  <a:lnTo>
                    <a:pt x="406" y="617"/>
                  </a:lnTo>
                  <a:lnTo>
                    <a:pt x="406" y="614"/>
                  </a:lnTo>
                  <a:lnTo>
                    <a:pt x="409" y="615"/>
                  </a:lnTo>
                  <a:lnTo>
                    <a:pt x="410" y="615"/>
                  </a:lnTo>
                  <a:lnTo>
                    <a:pt x="411" y="614"/>
                  </a:lnTo>
                  <a:lnTo>
                    <a:pt x="412" y="613"/>
                  </a:lnTo>
                  <a:lnTo>
                    <a:pt x="412" y="609"/>
                  </a:lnTo>
                  <a:lnTo>
                    <a:pt x="411" y="608"/>
                  </a:lnTo>
                  <a:lnTo>
                    <a:pt x="410" y="612"/>
                  </a:lnTo>
                  <a:lnTo>
                    <a:pt x="409" y="612"/>
                  </a:lnTo>
                  <a:lnTo>
                    <a:pt x="409" y="611"/>
                  </a:lnTo>
                  <a:lnTo>
                    <a:pt x="407" y="609"/>
                  </a:lnTo>
                  <a:lnTo>
                    <a:pt x="405" y="611"/>
                  </a:lnTo>
                  <a:lnTo>
                    <a:pt x="404" y="611"/>
                  </a:lnTo>
                  <a:lnTo>
                    <a:pt x="403" y="609"/>
                  </a:lnTo>
                  <a:lnTo>
                    <a:pt x="404" y="608"/>
                  </a:lnTo>
                  <a:lnTo>
                    <a:pt x="405" y="607"/>
                  </a:lnTo>
                  <a:lnTo>
                    <a:pt x="404" y="606"/>
                  </a:lnTo>
                  <a:lnTo>
                    <a:pt x="401" y="605"/>
                  </a:lnTo>
                  <a:lnTo>
                    <a:pt x="399" y="607"/>
                  </a:lnTo>
                  <a:lnTo>
                    <a:pt x="398" y="607"/>
                  </a:lnTo>
                  <a:lnTo>
                    <a:pt x="398" y="606"/>
                  </a:lnTo>
                  <a:lnTo>
                    <a:pt x="398" y="605"/>
                  </a:lnTo>
                  <a:lnTo>
                    <a:pt x="397" y="603"/>
                  </a:lnTo>
                  <a:lnTo>
                    <a:pt x="397" y="601"/>
                  </a:lnTo>
                  <a:lnTo>
                    <a:pt x="395" y="600"/>
                  </a:lnTo>
                  <a:lnTo>
                    <a:pt x="395" y="597"/>
                  </a:lnTo>
                  <a:lnTo>
                    <a:pt x="395" y="594"/>
                  </a:lnTo>
                  <a:lnTo>
                    <a:pt x="395" y="593"/>
                  </a:lnTo>
                  <a:lnTo>
                    <a:pt x="397" y="597"/>
                  </a:lnTo>
                  <a:lnTo>
                    <a:pt x="397" y="599"/>
                  </a:lnTo>
                  <a:lnTo>
                    <a:pt x="398" y="599"/>
                  </a:lnTo>
                  <a:lnTo>
                    <a:pt x="398" y="595"/>
                  </a:lnTo>
                  <a:lnTo>
                    <a:pt x="398" y="593"/>
                  </a:lnTo>
                  <a:lnTo>
                    <a:pt x="398" y="590"/>
                  </a:lnTo>
                  <a:lnTo>
                    <a:pt x="397" y="588"/>
                  </a:lnTo>
                  <a:lnTo>
                    <a:pt x="394" y="588"/>
                  </a:lnTo>
                  <a:lnTo>
                    <a:pt x="394" y="587"/>
                  </a:lnTo>
                  <a:lnTo>
                    <a:pt x="394" y="585"/>
                  </a:lnTo>
                  <a:lnTo>
                    <a:pt x="395" y="583"/>
                  </a:lnTo>
                  <a:lnTo>
                    <a:pt x="393" y="579"/>
                  </a:lnTo>
                  <a:lnTo>
                    <a:pt x="393" y="576"/>
                  </a:lnTo>
                  <a:lnTo>
                    <a:pt x="393" y="573"/>
                  </a:lnTo>
                  <a:lnTo>
                    <a:pt x="394" y="573"/>
                  </a:lnTo>
                  <a:lnTo>
                    <a:pt x="397" y="575"/>
                  </a:lnTo>
                  <a:lnTo>
                    <a:pt x="398" y="577"/>
                  </a:lnTo>
                  <a:lnTo>
                    <a:pt x="400" y="579"/>
                  </a:lnTo>
                  <a:lnTo>
                    <a:pt x="401" y="582"/>
                  </a:lnTo>
                  <a:lnTo>
                    <a:pt x="403" y="583"/>
                  </a:lnTo>
                  <a:lnTo>
                    <a:pt x="405" y="585"/>
                  </a:lnTo>
                  <a:lnTo>
                    <a:pt x="404" y="587"/>
                  </a:lnTo>
                  <a:lnTo>
                    <a:pt x="401" y="585"/>
                  </a:lnTo>
                  <a:lnTo>
                    <a:pt x="400" y="585"/>
                  </a:lnTo>
                  <a:lnTo>
                    <a:pt x="400" y="587"/>
                  </a:lnTo>
                  <a:lnTo>
                    <a:pt x="400" y="589"/>
                  </a:lnTo>
                  <a:lnTo>
                    <a:pt x="401" y="591"/>
                  </a:lnTo>
                  <a:lnTo>
                    <a:pt x="400" y="593"/>
                  </a:lnTo>
                  <a:lnTo>
                    <a:pt x="401" y="595"/>
                  </a:lnTo>
                  <a:lnTo>
                    <a:pt x="404" y="593"/>
                  </a:lnTo>
                  <a:lnTo>
                    <a:pt x="405" y="591"/>
                  </a:lnTo>
                  <a:lnTo>
                    <a:pt x="406" y="590"/>
                  </a:lnTo>
                  <a:lnTo>
                    <a:pt x="409" y="591"/>
                  </a:lnTo>
                  <a:lnTo>
                    <a:pt x="407" y="593"/>
                  </a:lnTo>
                  <a:lnTo>
                    <a:pt x="406" y="594"/>
                  </a:lnTo>
                  <a:lnTo>
                    <a:pt x="404" y="595"/>
                  </a:lnTo>
                  <a:lnTo>
                    <a:pt x="399" y="597"/>
                  </a:lnTo>
                  <a:lnTo>
                    <a:pt x="399" y="600"/>
                  </a:lnTo>
                  <a:lnTo>
                    <a:pt x="403" y="600"/>
                  </a:lnTo>
                  <a:lnTo>
                    <a:pt x="404" y="597"/>
                  </a:lnTo>
                  <a:lnTo>
                    <a:pt x="406" y="597"/>
                  </a:lnTo>
                  <a:lnTo>
                    <a:pt x="409" y="596"/>
                  </a:lnTo>
                  <a:lnTo>
                    <a:pt x="411" y="596"/>
                  </a:lnTo>
                  <a:lnTo>
                    <a:pt x="413" y="595"/>
                  </a:lnTo>
                  <a:lnTo>
                    <a:pt x="416" y="594"/>
                  </a:lnTo>
                  <a:lnTo>
                    <a:pt x="418" y="596"/>
                  </a:lnTo>
                  <a:lnTo>
                    <a:pt x="417" y="597"/>
                  </a:lnTo>
                  <a:lnTo>
                    <a:pt x="415" y="599"/>
                  </a:lnTo>
                  <a:lnTo>
                    <a:pt x="413" y="599"/>
                  </a:lnTo>
                  <a:lnTo>
                    <a:pt x="410" y="599"/>
                  </a:lnTo>
                  <a:lnTo>
                    <a:pt x="410" y="600"/>
                  </a:lnTo>
                  <a:lnTo>
                    <a:pt x="411" y="601"/>
                  </a:lnTo>
                  <a:lnTo>
                    <a:pt x="413" y="602"/>
                  </a:lnTo>
                  <a:lnTo>
                    <a:pt x="416" y="601"/>
                  </a:lnTo>
                  <a:lnTo>
                    <a:pt x="417" y="602"/>
                  </a:lnTo>
                  <a:lnTo>
                    <a:pt x="415" y="605"/>
                  </a:lnTo>
                  <a:lnTo>
                    <a:pt x="412" y="605"/>
                  </a:lnTo>
                  <a:lnTo>
                    <a:pt x="411" y="603"/>
                  </a:lnTo>
                  <a:lnTo>
                    <a:pt x="411" y="602"/>
                  </a:lnTo>
                  <a:lnTo>
                    <a:pt x="410" y="601"/>
                  </a:lnTo>
                  <a:lnTo>
                    <a:pt x="409" y="602"/>
                  </a:lnTo>
                  <a:lnTo>
                    <a:pt x="406" y="602"/>
                  </a:lnTo>
                  <a:lnTo>
                    <a:pt x="405" y="602"/>
                  </a:lnTo>
                  <a:lnTo>
                    <a:pt x="404" y="602"/>
                  </a:lnTo>
                  <a:lnTo>
                    <a:pt x="403" y="601"/>
                  </a:lnTo>
                  <a:lnTo>
                    <a:pt x="401" y="602"/>
                  </a:lnTo>
                  <a:lnTo>
                    <a:pt x="401" y="603"/>
                  </a:lnTo>
                  <a:lnTo>
                    <a:pt x="404" y="603"/>
                  </a:lnTo>
                  <a:lnTo>
                    <a:pt x="406" y="605"/>
                  </a:lnTo>
                  <a:lnTo>
                    <a:pt x="407" y="606"/>
                  </a:lnTo>
                  <a:lnTo>
                    <a:pt x="406" y="607"/>
                  </a:lnTo>
                  <a:lnTo>
                    <a:pt x="409" y="607"/>
                  </a:lnTo>
                  <a:lnTo>
                    <a:pt x="409" y="606"/>
                  </a:lnTo>
                  <a:lnTo>
                    <a:pt x="410" y="607"/>
                  </a:lnTo>
                  <a:lnTo>
                    <a:pt x="411" y="607"/>
                  </a:lnTo>
                  <a:lnTo>
                    <a:pt x="413" y="608"/>
                  </a:lnTo>
                  <a:lnTo>
                    <a:pt x="415" y="609"/>
                  </a:lnTo>
                  <a:lnTo>
                    <a:pt x="415" y="611"/>
                  </a:lnTo>
                  <a:lnTo>
                    <a:pt x="413" y="612"/>
                  </a:lnTo>
                  <a:lnTo>
                    <a:pt x="413" y="613"/>
                  </a:lnTo>
                  <a:lnTo>
                    <a:pt x="413" y="615"/>
                  </a:lnTo>
                  <a:lnTo>
                    <a:pt x="415" y="615"/>
                  </a:lnTo>
                  <a:lnTo>
                    <a:pt x="416" y="614"/>
                  </a:lnTo>
                  <a:lnTo>
                    <a:pt x="416" y="613"/>
                  </a:lnTo>
                  <a:lnTo>
                    <a:pt x="416" y="612"/>
                  </a:lnTo>
                  <a:lnTo>
                    <a:pt x="417" y="611"/>
                  </a:lnTo>
                  <a:lnTo>
                    <a:pt x="419" y="608"/>
                  </a:lnTo>
                  <a:lnTo>
                    <a:pt x="419" y="607"/>
                  </a:lnTo>
                  <a:lnTo>
                    <a:pt x="421" y="607"/>
                  </a:lnTo>
                  <a:lnTo>
                    <a:pt x="423" y="607"/>
                  </a:lnTo>
                  <a:lnTo>
                    <a:pt x="424" y="606"/>
                  </a:lnTo>
                  <a:lnTo>
                    <a:pt x="424" y="608"/>
                  </a:lnTo>
                  <a:lnTo>
                    <a:pt x="423" y="609"/>
                  </a:lnTo>
                  <a:lnTo>
                    <a:pt x="421" y="611"/>
                  </a:lnTo>
                  <a:lnTo>
                    <a:pt x="421" y="612"/>
                  </a:lnTo>
                  <a:lnTo>
                    <a:pt x="421" y="613"/>
                  </a:lnTo>
                  <a:lnTo>
                    <a:pt x="422" y="614"/>
                  </a:lnTo>
                  <a:lnTo>
                    <a:pt x="419" y="614"/>
                  </a:lnTo>
                  <a:lnTo>
                    <a:pt x="418" y="612"/>
                  </a:lnTo>
                  <a:lnTo>
                    <a:pt x="417" y="614"/>
                  </a:lnTo>
                  <a:lnTo>
                    <a:pt x="417" y="617"/>
                  </a:lnTo>
                  <a:lnTo>
                    <a:pt x="417" y="619"/>
                  </a:lnTo>
                  <a:lnTo>
                    <a:pt x="416" y="621"/>
                  </a:lnTo>
                  <a:lnTo>
                    <a:pt x="413" y="624"/>
                  </a:lnTo>
                  <a:lnTo>
                    <a:pt x="410" y="626"/>
                  </a:lnTo>
                  <a:lnTo>
                    <a:pt x="405" y="631"/>
                  </a:lnTo>
                  <a:lnTo>
                    <a:pt x="405" y="635"/>
                  </a:lnTo>
                  <a:lnTo>
                    <a:pt x="405" y="637"/>
                  </a:lnTo>
                  <a:lnTo>
                    <a:pt x="404" y="640"/>
                  </a:lnTo>
                  <a:lnTo>
                    <a:pt x="403" y="643"/>
                  </a:lnTo>
                  <a:lnTo>
                    <a:pt x="400" y="646"/>
                  </a:lnTo>
                  <a:lnTo>
                    <a:pt x="398" y="646"/>
                  </a:lnTo>
                  <a:lnTo>
                    <a:pt x="397" y="646"/>
                  </a:lnTo>
                  <a:lnTo>
                    <a:pt x="394" y="647"/>
                  </a:lnTo>
                  <a:lnTo>
                    <a:pt x="394" y="648"/>
                  </a:lnTo>
                  <a:lnTo>
                    <a:pt x="393" y="650"/>
                  </a:lnTo>
                  <a:lnTo>
                    <a:pt x="394" y="653"/>
                  </a:lnTo>
                  <a:lnTo>
                    <a:pt x="395" y="654"/>
                  </a:lnTo>
                  <a:lnTo>
                    <a:pt x="393" y="658"/>
                  </a:lnTo>
                  <a:lnTo>
                    <a:pt x="392" y="660"/>
                  </a:lnTo>
                  <a:lnTo>
                    <a:pt x="391" y="661"/>
                  </a:lnTo>
                  <a:lnTo>
                    <a:pt x="389" y="664"/>
                  </a:lnTo>
                  <a:lnTo>
                    <a:pt x="391" y="664"/>
                  </a:lnTo>
                  <a:lnTo>
                    <a:pt x="392" y="662"/>
                  </a:lnTo>
                  <a:lnTo>
                    <a:pt x="393" y="661"/>
                  </a:lnTo>
                  <a:lnTo>
                    <a:pt x="392" y="666"/>
                  </a:lnTo>
                  <a:lnTo>
                    <a:pt x="392" y="668"/>
                  </a:lnTo>
                  <a:lnTo>
                    <a:pt x="392" y="671"/>
                  </a:lnTo>
                  <a:lnTo>
                    <a:pt x="392" y="674"/>
                  </a:lnTo>
                  <a:lnTo>
                    <a:pt x="392" y="677"/>
                  </a:lnTo>
                  <a:lnTo>
                    <a:pt x="392" y="678"/>
                  </a:lnTo>
                  <a:lnTo>
                    <a:pt x="393" y="677"/>
                  </a:lnTo>
                  <a:lnTo>
                    <a:pt x="393" y="673"/>
                  </a:lnTo>
                  <a:lnTo>
                    <a:pt x="393" y="671"/>
                  </a:lnTo>
                  <a:lnTo>
                    <a:pt x="394" y="670"/>
                  </a:lnTo>
                  <a:lnTo>
                    <a:pt x="394" y="668"/>
                  </a:lnTo>
                  <a:lnTo>
                    <a:pt x="394" y="665"/>
                  </a:lnTo>
                  <a:lnTo>
                    <a:pt x="395" y="664"/>
                  </a:lnTo>
                  <a:lnTo>
                    <a:pt x="397" y="664"/>
                  </a:lnTo>
                  <a:lnTo>
                    <a:pt x="398" y="661"/>
                  </a:lnTo>
                  <a:lnTo>
                    <a:pt x="398" y="660"/>
                  </a:lnTo>
                  <a:lnTo>
                    <a:pt x="398" y="658"/>
                  </a:lnTo>
                  <a:lnTo>
                    <a:pt x="399" y="653"/>
                  </a:lnTo>
                  <a:lnTo>
                    <a:pt x="399" y="652"/>
                  </a:lnTo>
                  <a:lnTo>
                    <a:pt x="400" y="652"/>
                  </a:lnTo>
                  <a:lnTo>
                    <a:pt x="400" y="655"/>
                  </a:lnTo>
                  <a:lnTo>
                    <a:pt x="399" y="658"/>
                  </a:lnTo>
                  <a:lnTo>
                    <a:pt x="400" y="660"/>
                  </a:lnTo>
                  <a:lnTo>
                    <a:pt x="403" y="662"/>
                  </a:lnTo>
                  <a:lnTo>
                    <a:pt x="404" y="662"/>
                  </a:lnTo>
                  <a:lnTo>
                    <a:pt x="405" y="661"/>
                  </a:lnTo>
                  <a:lnTo>
                    <a:pt x="406" y="659"/>
                  </a:lnTo>
                  <a:lnTo>
                    <a:pt x="406" y="656"/>
                  </a:lnTo>
                  <a:lnTo>
                    <a:pt x="405" y="655"/>
                  </a:lnTo>
                  <a:lnTo>
                    <a:pt x="405" y="653"/>
                  </a:lnTo>
                  <a:lnTo>
                    <a:pt x="405" y="649"/>
                  </a:lnTo>
                  <a:lnTo>
                    <a:pt x="405" y="647"/>
                  </a:lnTo>
                  <a:lnTo>
                    <a:pt x="404" y="646"/>
                  </a:lnTo>
                  <a:lnTo>
                    <a:pt x="404" y="643"/>
                  </a:lnTo>
                  <a:lnTo>
                    <a:pt x="406" y="641"/>
                  </a:lnTo>
                  <a:lnTo>
                    <a:pt x="407" y="638"/>
                  </a:lnTo>
                  <a:lnTo>
                    <a:pt x="409" y="637"/>
                  </a:lnTo>
                  <a:lnTo>
                    <a:pt x="411" y="633"/>
                  </a:lnTo>
                  <a:lnTo>
                    <a:pt x="412" y="632"/>
                  </a:lnTo>
                  <a:lnTo>
                    <a:pt x="415" y="629"/>
                  </a:lnTo>
                  <a:lnTo>
                    <a:pt x="413" y="632"/>
                  </a:lnTo>
                  <a:lnTo>
                    <a:pt x="412" y="635"/>
                  </a:lnTo>
                  <a:lnTo>
                    <a:pt x="410" y="636"/>
                  </a:lnTo>
                  <a:lnTo>
                    <a:pt x="410" y="638"/>
                  </a:lnTo>
                  <a:lnTo>
                    <a:pt x="410" y="641"/>
                  </a:lnTo>
                  <a:lnTo>
                    <a:pt x="409" y="641"/>
                  </a:lnTo>
                  <a:lnTo>
                    <a:pt x="407" y="641"/>
                  </a:lnTo>
                  <a:lnTo>
                    <a:pt x="407" y="642"/>
                  </a:lnTo>
                  <a:lnTo>
                    <a:pt x="406" y="647"/>
                  </a:lnTo>
                  <a:lnTo>
                    <a:pt x="406" y="652"/>
                  </a:lnTo>
                  <a:lnTo>
                    <a:pt x="406" y="654"/>
                  </a:lnTo>
                  <a:lnTo>
                    <a:pt x="407" y="655"/>
                  </a:lnTo>
                  <a:lnTo>
                    <a:pt x="409" y="654"/>
                  </a:lnTo>
                  <a:lnTo>
                    <a:pt x="409" y="650"/>
                  </a:lnTo>
                  <a:lnTo>
                    <a:pt x="410" y="650"/>
                  </a:lnTo>
                  <a:lnTo>
                    <a:pt x="411" y="654"/>
                  </a:lnTo>
                  <a:lnTo>
                    <a:pt x="412" y="653"/>
                  </a:lnTo>
                  <a:lnTo>
                    <a:pt x="412" y="649"/>
                  </a:lnTo>
                  <a:lnTo>
                    <a:pt x="412" y="648"/>
                  </a:lnTo>
                  <a:lnTo>
                    <a:pt x="411" y="647"/>
                  </a:lnTo>
                  <a:lnTo>
                    <a:pt x="409" y="646"/>
                  </a:lnTo>
                  <a:lnTo>
                    <a:pt x="409" y="643"/>
                  </a:lnTo>
                  <a:lnTo>
                    <a:pt x="409" y="642"/>
                  </a:lnTo>
                  <a:lnTo>
                    <a:pt x="411" y="640"/>
                  </a:lnTo>
                  <a:lnTo>
                    <a:pt x="412" y="638"/>
                  </a:lnTo>
                  <a:lnTo>
                    <a:pt x="412" y="636"/>
                  </a:lnTo>
                  <a:lnTo>
                    <a:pt x="413" y="635"/>
                  </a:lnTo>
                  <a:lnTo>
                    <a:pt x="415" y="632"/>
                  </a:lnTo>
                  <a:lnTo>
                    <a:pt x="416" y="630"/>
                  </a:lnTo>
                  <a:lnTo>
                    <a:pt x="417" y="629"/>
                  </a:lnTo>
                  <a:lnTo>
                    <a:pt x="418" y="627"/>
                  </a:lnTo>
                  <a:lnTo>
                    <a:pt x="419" y="626"/>
                  </a:lnTo>
                  <a:lnTo>
                    <a:pt x="419" y="629"/>
                  </a:lnTo>
                  <a:lnTo>
                    <a:pt x="421" y="630"/>
                  </a:lnTo>
                  <a:lnTo>
                    <a:pt x="419" y="631"/>
                  </a:lnTo>
                  <a:lnTo>
                    <a:pt x="417" y="631"/>
                  </a:lnTo>
                  <a:lnTo>
                    <a:pt x="417" y="632"/>
                  </a:lnTo>
                  <a:lnTo>
                    <a:pt x="418" y="633"/>
                  </a:lnTo>
                  <a:lnTo>
                    <a:pt x="419" y="633"/>
                  </a:lnTo>
                  <a:lnTo>
                    <a:pt x="419" y="635"/>
                  </a:lnTo>
                  <a:lnTo>
                    <a:pt x="419" y="636"/>
                  </a:lnTo>
                  <a:lnTo>
                    <a:pt x="417" y="637"/>
                  </a:lnTo>
                  <a:lnTo>
                    <a:pt x="417" y="641"/>
                  </a:lnTo>
                  <a:lnTo>
                    <a:pt x="417" y="646"/>
                  </a:lnTo>
                  <a:lnTo>
                    <a:pt x="417" y="649"/>
                  </a:lnTo>
                  <a:lnTo>
                    <a:pt x="418" y="647"/>
                  </a:lnTo>
                  <a:lnTo>
                    <a:pt x="419" y="642"/>
                  </a:lnTo>
                  <a:lnTo>
                    <a:pt x="419" y="640"/>
                  </a:lnTo>
                  <a:lnTo>
                    <a:pt x="421" y="638"/>
                  </a:lnTo>
                  <a:lnTo>
                    <a:pt x="422" y="638"/>
                  </a:lnTo>
                  <a:lnTo>
                    <a:pt x="423" y="635"/>
                  </a:lnTo>
                  <a:lnTo>
                    <a:pt x="423" y="631"/>
                  </a:lnTo>
                  <a:lnTo>
                    <a:pt x="422" y="629"/>
                  </a:lnTo>
                  <a:lnTo>
                    <a:pt x="422" y="627"/>
                  </a:lnTo>
                  <a:lnTo>
                    <a:pt x="422" y="623"/>
                  </a:lnTo>
                  <a:lnTo>
                    <a:pt x="423" y="625"/>
                  </a:lnTo>
                  <a:lnTo>
                    <a:pt x="423" y="626"/>
                  </a:lnTo>
                  <a:lnTo>
                    <a:pt x="424" y="627"/>
                  </a:lnTo>
                  <a:lnTo>
                    <a:pt x="424" y="629"/>
                  </a:lnTo>
                  <a:lnTo>
                    <a:pt x="424" y="632"/>
                  </a:lnTo>
                  <a:lnTo>
                    <a:pt x="425" y="631"/>
                  </a:lnTo>
                  <a:lnTo>
                    <a:pt x="427" y="630"/>
                  </a:lnTo>
                  <a:lnTo>
                    <a:pt x="425" y="633"/>
                  </a:lnTo>
                  <a:lnTo>
                    <a:pt x="425" y="636"/>
                  </a:lnTo>
                  <a:lnTo>
                    <a:pt x="424" y="637"/>
                  </a:lnTo>
                  <a:lnTo>
                    <a:pt x="424" y="640"/>
                  </a:lnTo>
                  <a:lnTo>
                    <a:pt x="425" y="640"/>
                  </a:lnTo>
                  <a:lnTo>
                    <a:pt x="428" y="640"/>
                  </a:lnTo>
                  <a:lnTo>
                    <a:pt x="430" y="638"/>
                  </a:lnTo>
                  <a:lnTo>
                    <a:pt x="431" y="637"/>
                  </a:lnTo>
                  <a:lnTo>
                    <a:pt x="431" y="636"/>
                  </a:lnTo>
                  <a:lnTo>
                    <a:pt x="431" y="637"/>
                  </a:lnTo>
                  <a:lnTo>
                    <a:pt x="433" y="640"/>
                  </a:lnTo>
                  <a:lnTo>
                    <a:pt x="436" y="642"/>
                  </a:lnTo>
                  <a:lnTo>
                    <a:pt x="439" y="643"/>
                  </a:lnTo>
                  <a:lnTo>
                    <a:pt x="440" y="642"/>
                  </a:lnTo>
                  <a:lnTo>
                    <a:pt x="438" y="640"/>
                  </a:lnTo>
                  <a:lnTo>
                    <a:pt x="436" y="637"/>
                  </a:lnTo>
                  <a:lnTo>
                    <a:pt x="438" y="637"/>
                  </a:lnTo>
                  <a:lnTo>
                    <a:pt x="440" y="640"/>
                  </a:lnTo>
                  <a:lnTo>
                    <a:pt x="442" y="640"/>
                  </a:lnTo>
                  <a:lnTo>
                    <a:pt x="444" y="640"/>
                  </a:lnTo>
                  <a:lnTo>
                    <a:pt x="447" y="637"/>
                  </a:lnTo>
                  <a:lnTo>
                    <a:pt x="447" y="636"/>
                  </a:lnTo>
                  <a:lnTo>
                    <a:pt x="445" y="636"/>
                  </a:lnTo>
                  <a:lnTo>
                    <a:pt x="442" y="636"/>
                  </a:lnTo>
                  <a:lnTo>
                    <a:pt x="439" y="635"/>
                  </a:lnTo>
                  <a:lnTo>
                    <a:pt x="438" y="633"/>
                  </a:lnTo>
                  <a:lnTo>
                    <a:pt x="435" y="632"/>
                  </a:lnTo>
                  <a:lnTo>
                    <a:pt x="434" y="630"/>
                  </a:lnTo>
                  <a:lnTo>
                    <a:pt x="433" y="630"/>
                  </a:lnTo>
                  <a:lnTo>
                    <a:pt x="430" y="627"/>
                  </a:lnTo>
                  <a:lnTo>
                    <a:pt x="429" y="625"/>
                  </a:lnTo>
                  <a:lnTo>
                    <a:pt x="427" y="624"/>
                  </a:lnTo>
                  <a:lnTo>
                    <a:pt x="424" y="623"/>
                  </a:lnTo>
                  <a:lnTo>
                    <a:pt x="425" y="619"/>
                  </a:lnTo>
                  <a:lnTo>
                    <a:pt x="428" y="617"/>
                  </a:lnTo>
                  <a:lnTo>
                    <a:pt x="431" y="614"/>
                  </a:lnTo>
                  <a:lnTo>
                    <a:pt x="434" y="613"/>
                  </a:lnTo>
                  <a:lnTo>
                    <a:pt x="438" y="611"/>
                  </a:lnTo>
                  <a:lnTo>
                    <a:pt x="440" y="608"/>
                  </a:lnTo>
                  <a:lnTo>
                    <a:pt x="444" y="606"/>
                  </a:lnTo>
                  <a:lnTo>
                    <a:pt x="446" y="606"/>
                  </a:lnTo>
                  <a:lnTo>
                    <a:pt x="448" y="609"/>
                  </a:lnTo>
                  <a:lnTo>
                    <a:pt x="448" y="614"/>
                  </a:lnTo>
                  <a:lnTo>
                    <a:pt x="446" y="618"/>
                  </a:lnTo>
                  <a:lnTo>
                    <a:pt x="442" y="621"/>
                  </a:lnTo>
                  <a:lnTo>
                    <a:pt x="440" y="624"/>
                  </a:lnTo>
                  <a:lnTo>
                    <a:pt x="438" y="626"/>
                  </a:lnTo>
                  <a:lnTo>
                    <a:pt x="434" y="626"/>
                  </a:lnTo>
                  <a:lnTo>
                    <a:pt x="433" y="627"/>
                  </a:lnTo>
                  <a:lnTo>
                    <a:pt x="435" y="629"/>
                  </a:lnTo>
                  <a:lnTo>
                    <a:pt x="438" y="627"/>
                  </a:lnTo>
                  <a:lnTo>
                    <a:pt x="441" y="625"/>
                  </a:lnTo>
                  <a:lnTo>
                    <a:pt x="444" y="623"/>
                  </a:lnTo>
                  <a:lnTo>
                    <a:pt x="446" y="620"/>
                  </a:lnTo>
                  <a:lnTo>
                    <a:pt x="448" y="619"/>
                  </a:lnTo>
                  <a:lnTo>
                    <a:pt x="446" y="623"/>
                  </a:lnTo>
                  <a:lnTo>
                    <a:pt x="446" y="625"/>
                  </a:lnTo>
                  <a:lnTo>
                    <a:pt x="446" y="627"/>
                  </a:lnTo>
                  <a:lnTo>
                    <a:pt x="447" y="632"/>
                  </a:lnTo>
                  <a:lnTo>
                    <a:pt x="448" y="632"/>
                  </a:lnTo>
                  <a:lnTo>
                    <a:pt x="448" y="629"/>
                  </a:lnTo>
                  <a:lnTo>
                    <a:pt x="448" y="626"/>
                  </a:lnTo>
                  <a:lnTo>
                    <a:pt x="448" y="624"/>
                  </a:lnTo>
                  <a:lnTo>
                    <a:pt x="448" y="623"/>
                  </a:lnTo>
                  <a:lnTo>
                    <a:pt x="450" y="621"/>
                  </a:lnTo>
                  <a:lnTo>
                    <a:pt x="450" y="619"/>
                  </a:lnTo>
                  <a:lnTo>
                    <a:pt x="451" y="618"/>
                  </a:lnTo>
                  <a:lnTo>
                    <a:pt x="452" y="619"/>
                  </a:lnTo>
                  <a:lnTo>
                    <a:pt x="453" y="617"/>
                  </a:lnTo>
                  <a:lnTo>
                    <a:pt x="453" y="615"/>
                  </a:lnTo>
                  <a:lnTo>
                    <a:pt x="452" y="613"/>
                  </a:lnTo>
                  <a:lnTo>
                    <a:pt x="451" y="611"/>
                  </a:lnTo>
                  <a:lnTo>
                    <a:pt x="453" y="612"/>
                  </a:lnTo>
                  <a:lnTo>
                    <a:pt x="456" y="615"/>
                  </a:lnTo>
                  <a:lnTo>
                    <a:pt x="458" y="617"/>
                  </a:lnTo>
                  <a:lnTo>
                    <a:pt x="459" y="619"/>
                  </a:lnTo>
                  <a:lnTo>
                    <a:pt x="458" y="624"/>
                  </a:lnTo>
                  <a:lnTo>
                    <a:pt x="456" y="629"/>
                  </a:lnTo>
                  <a:lnTo>
                    <a:pt x="451" y="638"/>
                  </a:lnTo>
                  <a:lnTo>
                    <a:pt x="444" y="644"/>
                  </a:lnTo>
                  <a:lnTo>
                    <a:pt x="441" y="648"/>
                  </a:lnTo>
                  <a:lnTo>
                    <a:pt x="440" y="650"/>
                  </a:lnTo>
                  <a:lnTo>
                    <a:pt x="438" y="653"/>
                  </a:lnTo>
                  <a:lnTo>
                    <a:pt x="436" y="653"/>
                  </a:lnTo>
                  <a:lnTo>
                    <a:pt x="434" y="653"/>
                  </a:lnTo>
                  <a:lnTo>
                    <a:pt x="431" y="653"/>
                  </a:lnTo>
                  <a:lnTo>
                    <a:pt x="428" y="652"/>
                  </a:lnTo>
                  <a:lnTo>
                    <a:pt x="425" y="649"/>
                  </a:lnTo>
                  <a:lnTo>
                    <a:pt x="424" y="648"/>
                  </a:lnTo>
                  <a:lnTo>
                    <a:pt x="423" y="644"/>
                  </a:lnTo>
                  <a:lnTo>
                    <a:pt x="423" y="642"/>
                  </a:lnTo>
                  <a:lnTo>
                    <a:pt x="422" y="642"/>
                  </a:lnTo>
                  <a:lnTo>
                    <a:pt x="421" y="644"/>
                  </a:lnTo>
                  <a:lnTo>
                    <a:pt x="421" y="647"/>
                  </a:lnTo>
                  <a:lnTo>
                    <a:pt x="422" y="648"/>
                  </a:lnTo>
                  <a:lnTo>
                    <a:pt x="424" y="650"/>
                  </a:lnTo>
                  <a:lnTo>
                    <a:pt x="427" y="653"/>
                  </a:lnTo>
                  <a:lnTo>
                    <a:pt x="428" y="654"/>
                  </a:lnTo>
                  <a:lnTo>
                    <a:pt x="430" y="655"/>
                  </a:lnTo>
                  <a:lnTo>
                    <a:pt x="433" y="658"/>
                  </a:lnTo>
                  <a:lnTo>
                    <a:pt x="433" y="660"/>
                  </a:lnTo>
                  <a:lnTo>
                    <a:pt x="430" y="658"/>
                  </a:lnTo>
                  <a:lnTo>
                    <a:pt x="428" y="655"/>
                  </a:lnTo>
                  <a:lnTo>
                    <a:pt x="425" y="655"/>
                  </a:lnTo>
                  <a:lnTo>
                    <a:pt x="423" y="655"/>
                  </a:lnTo>
                  <a:lnTo>
                    <a:pt x="423" y="658"/>
                  </a:lnTo>
                  <a:lnTo>
                    <a:pt x="425" y="659"/>
                  </a:lnTo>
                  <a:lnTo>
                    <a:pt x="424" y="660"/>
                  </a:lnTo>
                  <a:lnTo>
                    <a:pt x="423" y="659"/>
                  </a:lnTo>
                  <a:lnTo>
                    <a:pt x="421" y="658"/>
                  </a:lnTo>
                  <a:lnTo>
                    <a:pt x="419" y="658"/>
                  </a:lnTo>
                  <a:lnTo>
                    <a:pt x="422" y="660"/>
                  </a:lnTo>
                  <a:lnTo>
                    <a:pt x="423" y="662"/>
                  </a:lnTo>
                  <a:lnTo>
                    <a:pt x="422" y="664"/>
                  </a:lnTo>
                  <a:lnTo>
                    <a:pt x="421" y="666"/>
                  </a:lnTo>
                  <a:lnTo>
                    <a:pt x="419" y="666"/>
                  </a:lnTo>
                  <a:lnTo>
                    <a:pt x="418" y="666"/>
                  </a:lnTo>
                  <a:lnTo>
                    <a:pt x="416" y="665"/>
                  </a:lnTo>
                  <a:lnTo>
                    <a:pt x="416" y="666"/>
                  </a:lnTo>
                  <a:lnTo>
                    <a:pt x="417" y="667"/>
                  </a:lnTo>
                  <a:lnTo>
                    <a:pt x="412" y="673"/>
                  </a:lnTo>
                  <a:lnTo>
                    <a:pt x="409" y="674"/>
                  </a:lnTo>
                  <a:lnTo>
                    <a:pt x="406" y="678"/>
                  </a:lnTo>
                  <a:lnTo>
                    <a:pt x="404" y="680"/>
                  </a:lnTo>
                  <a:lnTo>
                    <a:pt x="403" y="684"/>
                  </a:lnTo>
                  <a:lnTo>
                    <a:pt x="403" y="688"/>
                  </a:lnTo>
                  <a:lnTo>
                    <a:pt x="404" y="688"/>
                  </a:lnTo>
                  <a:lnTo>
                    <a:pt x="405" y="685"/>
                  </a:lnTo>
                  <a:lnTo>
                    <a:pt x="405" y="683"/>
                  </a:lnTo>
                  <a:lnTo>
                    <a:pt x="407" y="680"/>
                  </a:lnTo>
                  <a:lnTo>
                    <a:pt x="410" y="679"/>
                  </a:lnTo>
                  <a:lnTo>
                    <a:pt x="412" y="676"/>
                  </a:lnTo>
                  <a:lnTo>
                    <a:pt x="415" y="673"/>
                  </a:lnTo>
                  <a:lnTo>
                    <a:pt x="417" y="671"/>
                  </a:lnTo>
                  <a:lnTo>
                    <a:pt x="419" y="670"/>
                  </a:lnTo>
                  <a:lnTo>
                    <a:pt x="422" y="667"/>
                  </a:lnTo>
                  <a:lnTo>
                    <a:pt x="424" y="665"/>
                  </a:lnTo>
                  <a:lnTo>
                    <a:pt x="427" y="666"/>
                  </a:lnTo>
                  <a:lnTo>
                    <a:pt x="428" y="667"/>
                  </a:lnTo>
                  <a:lnTo>
                    <a:pt x="425" y="671"/>
                  </a:lnTo>
                  <a:lnTo>
                    <a:pt x="424" y="673"/>
                  </a:lnTo>
                  <a:lnTo>
                    <a:pt x="423" y="674"/>
                  </a:lnTo>
                  <a:lnTo>
                    <a:pt x="425" y="674"/>
                  </a:lnTo>
                  <a:lnTo>
                    <a:pt x="428" y="671"/>
                  </a:lnTo>
                  <a:lnTo>
                    <a:pt x="429" y="670"/>
                  </a:lnTo>
                  <a:lnTo>
                    <a:pt x="430" y="670"/>
                  </a:lnTo>
                  <a:lnTo>
                    <a:pt x="433" y="667"/>
                  </a:lnTo>
                  <a:lnTo>
                    <a:pt x="431" y="665"/>
                  </a:lnTo>
                  <a:lnTo>
                    <a:pt x="431" y="662"/>
                  </a:lnTo>
                  <a:lnTo>
                    <a:pt x="434" y="662"/>
                  </a:lnTo>
                  <a:lnTo>
                    <a:pt x="438" y="664"/>
                  </a:lnTo>
                  <a:lnTo>
                    <a:pt x="439" y="666"/>
                  </a:lnTo>
                  <a:lnTo>
                    <a:pt x="439" y="668"/>
                  </a:lnTo>
                  <a:lnTo>
                    <a:pt x="438" y="670"/>
                  </a:lnTo>
                  <a:lnTo>
                    <a:pt x="436" y="668"/>
                  </a:lnTo>
                  <a:lnTo>
                    <a:pt x="434" y="668"/>
                  </a:lnTo>
                  <a:lnTo>
                    <a:pt x="433" y="670"/>
                  </a:lnTo>
                  <a:lnTo>
                    <a:pt x="431" y="671"/>
                  </a:lnTo>
                  <a:lnTo>
                    <a:pt x="429" y="672"/>
                  </a:lnTo>
                  <a:lnTo>
                    <a:pt x="427" y="674"/>
                  </a:lnTo>
                  <a:lnTo>
                    <a:pt x="427" y="678"/>
                  </a:lnTo>
                  <a:lnTo>
                    <a:pt x="425" y="679"/>
                  </a:lnTo>
                  <a:lnTo>
                    <a:pt x="423" y="678"/>
                  </a:lnTo>
                  <a:lnTo>
                    <a:pt x="422" y="680"/>
                  </a:lnTo>
                  <a:lnTo>
                    <a:pt x="423" y="682"/>
                  </a:lnTo>
                  <a:lnTo>
                    <a:pt x="428" y="682"/>
                  </a:lnTo>
                  <a:lnTo>
                    <a:pt x="430" y="679"/>
                  </a:lnTo>
                  <a:lnTo>
                    <a:pt x="431" y="677"/>
                  </a:lnTo>
                  <a:lnTo>
                    <a:pt x="434" y="677"/>
                  </a:lnTo>
                  <a:lnTo>
                    <a:pt x="436" y="676"/>
                  </a:lnTo>
                  <a:lnTo>
                    <a:pt x="438" y="674"/>
                  </a:lnTo>
                  <a:lnTo>
                    <a:pt x="439" y="674"/>
                  </a:lnTo>
                  <a:lnTo>
                    <a:pt x="439" y="676"/>
                  </a:lnTo>
                  <a:lnTo>
                    <a:pt x="435" y="679"/>
                  </a:lnTo>
                  <a:lnTo>
                    <a:pt x="434" y="680"/>
                  </a:lnTo>
                  <a:lnTo>
                    <a:pt x="431" y="682"/>
                  </a:lnTo>
                  <a:lnTo>
                    <a:pt x="429" y="684"/>
                  </a:lnTo>
                  <a:lnTo>
                    <a:pt x="427" y="685"/>
                  </a:lnTo>
                  <a:lnTo>
                    <a:pt x="428" y="686"/>
                  </a:lnTo>
                  <a:lnTo>
                    <a:pt x="429" y="688"/>
                  </a:lnTo>
                  <a:lnTo>
                    <a:pt x="431" y="688"/>
                  </a:lnTo>
                  <a:lnTo>
                    <a:pt x="434" y="691"/>
                  </a:lnTo>
                  <a:lnTo>
                    <a:pt x="436" y="694"/>
                  </a:lnTo>
                  <a:lnTo>
                    <a:pt x="439" y="696"/>
                  </a:lnTo>
                  <a:lnTo>
                    <a:pt x="438" y="698"/>
                  </a:lnTo>
                  <a:lnTo>
                    <a:pt x="436" y="700"/>
                  </a:lnTo>
                  <a:lnTo>
                    <a:pt x="435" y="696"/>
                  </a:lnTo>
                  <a:lnTo>
                    <a:pt x="434" y="694"/>
                  </a:lnTo>
                  <a:lnTo>
                    <a:pt x="431" y="694"/>
                  </a:lnTo>
                  <a:lnTo>
                    <a:pt x="429" y="692"/>
                  </a:lnTo>
                  <a:lnTo>
                    <a:pt x="429" y="694"/>
                  </a:lnTo>
                  <a:lnTo>
                    <a:pt x="431" y="697"/>
                  </a:lnTo>
                  <a:lnTo>
                    <a:pt x="431" y="698"/>
                  </a:lnTo>
                  <a:lnTo>
                    <a:pt x="428" y="700"/>
                  </a:lnTo>
                  <a:lnTo>
                    <a:pt x="427" y="701"/>
                  </a:lnTo>
                  <a:lnTo>
                    <a:pt x="429" y="704"/>
                  </a:lnTo>
                  <a:lnTo>
                    <a:pt x="431" y="704"/>
                  </a:lnTo>
                  <a:lnTo>
                    <a:pt x="431" y="707"/>
                  </a:lnTo>
                  <a:lnTo>
                    <a:pt x="434" y="708"/>
                  </a:lnTo>
                  <a:lnTo>
                    <a:pt x="436" y="707"/>
                  </a:lnTo>
                  <a:lnTo>
                    <a:pt x="438" y="704"/>
                  </a:lnTo>
                  <a:lnTo>
                    <a:pt x="440" y="706"/>
                  </a:lnTo>
                  <a:lnTo>
                    <a:pt x="442" y="706"/>
                  </a:lnTo>
                  <a:lnTo>
                    <a:pt x="442" y="704"/>
                  </a:lnTo>
                  <a:lnTo>
                    <a:pt x="442" y="702"/>
                  </a:lnTo>
                  <a:lnTo>
                    <a:pt x="441" y="701"/>
                  </a:lnTo>
                  <a:lnTo>
                    <a:pt x="440" y="700"/>
                  </a:lnTo>
                  <a:lnTo>
                    <a:pt x="441" y="700"/>
                  </a:lnTo>
                  <a:lnTo>
                    <a:pt x="442" y="701"/>
                  </a:lnTo>
                  <a:lnTo>
                    <a:pt x="445" y="700"/>
                  </a:lnTo>
                  <a:lnTo>
                    <a:pt x="446" y="696"/>
                  </a:lnTo>
                  <a:lnTo>
                    <a:pt x="447" y="695"/>
                  </a:lnTo>
                  <a:lnTo>
                    <a:pt x="450" y="694"/>
                  </a:lnTo>
                  <a:lnTo>
                    <a:pt x="452" y="694"/>
                  </a:lnTo>
                  <a:lnTo>
                    <a:pt x="453" y="692"/>
                  </a:lnTo>
                  <a:lnTo>
                    <a:pt x="456" y="691"/>
                  </a:lnTo>
                  <a:lnTo>
                    <a:pt x="458" y="691"/>
                  </a:lnTo>
                  <a:lnTo>
                    <a:pt x="458" y="694"/>
                  </a:lnTo>
                  <a:lnTo>
                    <a:pt x="457" y="695"/>
                  </a:lnTo>
                  <a:lnTo>
                    <a:pt x="456" y="696"/>
                  </a:lnTo>
                  <a:lnTo>
                    <a:pt x="454" y="698"/>
                  </a:lnTo>
                  <a:lnTo>
                    <a:pt x="453" y="697"/>
                  </a:lnTo>
                  <a:lnTo>
                    <a:pt x="452" y="696"/>
                  </a:lnTo>
                  <a:lnTo>
                    <a:pt x="450" y="696"/>
                  </a:lnTo>
                  <a:lnTo>
                    <a:pt x="448" y="698"/>
                  </a:lnTo>
                  <a:lnTo>
                    <a:pt x="447" y="701"/>
                  </a:lnTo>
                  <a:lnTo>
                    <a:pt x="448" y="703"/>
                  </a:lnTo>
                  <a:lnTo>
                    <a:pt x="450" y="706"/>
                  </a:lnTo>
                  <a:lnTo>
                    <a:pt x="451" y="706"/>
                  </a:lnTo>
                  <a:lnTo>
                    <a:pt x="453" y="704"/>
                  </a:lnTo>
                  <a:lnTo>
                    <a:pt x="454" y="702"/>
                  </a:lnTo>
                  <a:lnTo>
                    <a:pt x="458" y="703"/>
                  </a:lnTo>
                  <a:lnTo>
                    <a:pt x="459" y="702"/>
                  </a:lnTo>
                  <a:lnTo>
                    <a:pt x="459" y="703"/>
                  </a:lnTo>
                  <a:lnTo>
                    <a:pt x="457" y="706"/>
                  </a:lnTo>
                  <a:lnTo>
                    <a:pt x="454" y="707"/>
                  </a:lnTo>
                  <a:lnTo>
                    <a:pt x="453" y="708"/>
                  </a:lnTo>
                  <a:lnTo>
                    <a:pt x="452" y="708"/>
                  </a:lnTo>
                  <a:lnTo>
                    <a:pt x="453" y="710"/>
                  </a:lnTo>
                  <a:lnTo>
                    <a:pt x="453" y="713"/>
                  </a:lnTo>
                  <a:lnTo>
                    <a:pt x="453" y="714"/>
                  </a:lnTo>
                  <a:lnTo>
                    <a:pt x="451" y="713"/>
                  </a:lnTo>
                  <a:lnTo>
                    <a:pt x="450" y="713"/>
                  </a:lnTo>
                  <a:lnTo>
                    <a:pt x="447" y="713"/>
                  </a:lnTo>
                  <a:lnTo>
                    <a:pt x="447" y="709"/>
                  </a:lnTo>
                  <a:lnTo>
                    <a:pt x="447" y="707"/>
                  </a:lnTo>
                  <a:lnTo>
                    <a:pt x="444" y="708"/>
                  </a:lnTo>
                  <a:lnTo>
                    <a:pt x="446" y="710"/>
                  </a:lnTo>
                  <a:lnTo>
                    <a:pt x="445" y="714"/>
                  </a:lnTo>
                  <a:lnTo>
                    <a:pt x="445" y="713"/>
                  </a:lnTo>
                  <a:lnTo>
                    <a:pt x="444" y="714"/>
                  </a:lnTo>
                  <a:lnTo>
                    <a:pt x="442" y="715"/>
                  </a:lnTo>
                  <a:lnTo>
                    <a:pt x="441" y="718"/>
                  </a:lnTo>
                  <a:lnTo>
                    <a:pt x="442" y="719"/>
                  </a:lnTo>
                  <a:lnTo>
                    <a:pt x="444" y="721"/>
                  </a:lnTo>
                  <a:lnTo>
                    <a:pt x="444" y="724"/>
                  </a:lnTo>
                  <a:lnTo>
                    <a:pt x="445" y="724"/>
                  </a:lnTo>
                  <a:lnTo>
                    <a:pt x="447" y="720"/>
                  </a:lnTo>
                  <a:lnTo>
                    <a:pt x="450" y="719"/>
                  </a:lnTo>
                  <a:lnTo>
                    <a:pt x="453" y="718"/>
                  </a:lnTo>
                  <a:lnTo>
                    <a:pt x="456" y="716"/>
                  </a:lnTo>
                  <a:lnTo>
                    <a:pt x="456" y="719"/>
                  </a:lnTo>
                  <a:lnTo>
                    <a:pt x="459" y="719"/>
                  </a:lnTo>
                  <a:lnTo>
                    <a:pt x="459" y="718"/>
                  </a:lnTo>
                  <a:lnTo>
                    <a:pt x="458" y="715"/>
                  </a:lnTo>
                  <a:lnTo>
                    <a:pt x="457" y="714"/>
                  </a:lnTo>
                  <a:lnTo>
                    <a:pt x="457" y="713"/>
                  </a:lnTo>
                  <a:lnTo>
                    <a:pt x="459" y="712"/>
                  </a:lnTo>
                  <a:lnTo>
                    <a:pt x="460" y="714"/>
                  </a:lnTo>
                  <a:lnTo>
                    <a:pt x="460" y="718"/>
                  </a:lnTo>
                  <a:lnTo>
                    <a:pt x="463" y="719"/>
                  </a:lnTo>
                  <a:lnTo>
                    <a:pt x="464" y="718"/>
                  </a:lnTo>
                  <a:lnTo>
                    <a:pt x="464" y="715"/>
                  </a:lnTo>
                  <a:lnTo>
                    <a:pt x="462" y="712"/>
                  </a:lnTo>
                  <a:lnTo>
                    <a:pt x="464" y="712"/>
                  </a:lnTo>
                  <a:lnTo>
                    <a:pt x="466" y="712"/>
                  </a:lnTo>
                  <a:lnTo>
                    <a:pt x="470" y="712"/>
                  </a:lnTo>
                  <a:lnTo>
                    <a:pt x="471" y="712"/>
                  </a:lnTo>
                  <a:lnTo>
                    <a:pt x="474" y="712"/>
                  </a:lnTo>
                  <a:lnTo>
                    <a:pt x="475" y="713"/>
                  </a:lnTo>
                  <a:lnTo>
                    <a:pt x="474" y="716"/>
                  </a:lnTo>
                  <a:lnTo>
                    <a:pt x="471" y="719"/>
                  </a:lnTo>
                  <a:lnTo>
                    <a:pt x="470" y="720"/>
                  </a:lnTo>
                  <a:lnTo>
                    <a:pt x="468" y="720"/>
                  </a:lnTo>
                  <a:lnTo>
                    <a:pt x="466" y="721"/>
                  </a:lnTo>
                  <a:lnTo>
                    <a:pt x="469" y="724"/>
                  </a:lnTo>
                  <a:lnTo>
                    <a:pt x="471" y="722"/>
                  </a:lnTo>
                  <a:lnTo>
                    <a:pt x="474" y="721"/>
                  </a:lnTo>
                  <a:lnTo>
                    <a:pt x="476" y="722"/>
                  </a:lnTo>
                  <a:lnTo>
                    <a:pt x="476" y="725"/>
                  </a:lnTo>
                  <a:lnTo>
                    <a:pt x="475" y="727"/>
                  </a:lnTo>
                  <a:lnTo>
                    <a:pt x="474" y="728"/>
                  </a:lnTo>
                  <a:lnTo>
                    <a:pt x="471" y="728"/>
                  </a:lnTo>
                  <a:lnTo>
                    <a:pt x="469" y="727"/>
                  </a:lnTo>
                  <a:lnTo>
                    <a:pt x="469" y="730"/>
                  </a:lnTo>
                  <a:lnTo>
                    <a:pt x="472" y="733"/>
                  </a:lnTo>
                  <a:lnTo>
                    <a:pt x="474" y="733"/>
                  </a:lnTo>
                  <a:lnTo>
                    <a:pt x="476" y="734"/>
                  </a:lnTo>
                  <a:lnTo>
                    <a:pt x="477" y="734"/>
                  </a:lnTo>
                  <a:lnTo>
                    <a:pt x="480" y="736"/>
                  </a:lnTo>
                  <a:lnTo>
                    <a:pt x="480" y="733"/>
                  </a:lnTo>
                  <a:lnTo>
                    <a:pt x="481" y="731"/>
                  </a:lnTo>
                  <a:lnTo>
                    <a:pt x="481" y="730"/>
                  </a:lnTo>
                  <a:lnTo>
                    <a:pt x="482" y="724"/>
                  </a:lnTo>
                  <a:lnTo>
                    <a:pt x="482" y="722"/>
                  </a:lnTo>
                  <a:lnTo>
                    <a:pt x="484" y="724"/>
                  </a:lnTo>
                  <a:lnTo>
                    <a:pt x="486" y="721"/>
                  </a:lnTo>
                  <a:lnTo>
                    <a:pt x="488" y="720"/>
                  </a:lnTo>
                  <a:lnTo>
                    <a:pt x="490" y="720"/>
                  </a:lnTo>
                  <a:lnTo>
                    <a:pt x="492" y="719"/>
                  </a:lnTo>
                  <a:lnTo>
                    <a:pt x="495" y="718"/>
                  </a:lnTo>
                  <a:lnTo>
                    <a:pt x="498" y="715"/>
                  </a:lnTo>
                  <a:lnTo>
                    <a:pt x="499" y="714"/>
                  </a:lnTo>
                  <a:lnTo>
                    <a:pt x="500" y="718"/>
                  </a:lnTo>
                  <a:lnTo>
                    <a:pt x="500" y="722"/>
                  </a:lnTo>
                  <a:lnTo>
                    <a:pt x="503" y="726"/>
                  </a:lnTo>
                  <a:lnTo>
                    <a:pt x="507" y="726"/>
                  </a:lnTo>
                  <a:lnTo>
                    <a:pt x="510" y="724"/>
                  </a:lnTo>
                  <a:lnTo>
                    <a:pt x="512" y="721"/>
                  </a:lnTo>
                  <a:lnTo>
                    <a:pt x="512" y="719"/>
                  </a:lnTo>
                  <a:lnTo>
                    <a:pt x="512" y="716"/>
                  </a:lnTo>
                  <a:lnTo>
                    <a:pt x="513" y="715"/>
                  </a:lnTo>
                  <a:lnTo>
                    <a:pt x="513" y="714"/>
                  </a:lnTo>
                  <a:lnTo>
                    <a:pt x="516" y="715"/>
                  </a:lnTo>
                  <a:lnTo>
                    <a:pt x="515" y="718"/>
                  </a:lnTo>
                  <a:lnTo>
                    <a:pt x="515" y="724"/>
                  </a:lnTo>
                  <a:lnTo>
                    <a:pt x="518" y="722"/>
                  </a:lnTo>
                  <a:lnTo>
                    <a:pt x="519" y="721"/>
                  </a:lnTo>
                  <a:lnTo>
                    <a:pt x="519" y="724"/>
                  </a:lnTo>
                  <a:lnTo>
                    <a:pt x="519" y="732"/>
                  </a:lnTo>
                  <a:lnTo>
                    <a:pt x="522" y="734"/>
                  </a:lnTo>
                  <a:lnTo>
                    <a:pt x="525" y="736"/>
                  </a:lnTo>
                  <a:lnTo>
                    <a:pt x="527" y="736"/>
                  </a:lnTo>
                  <a:lnTo>
                    <a:pt x="528" y="733"/>
                  </a:lnTo>
                  <a:lnTo>
                    <a:pt x="529" y="731"/>
                  </a:lnTo>
                  <a:lnTo>
                    <a:pt x="528" y="731"/>
                  </a:lnTo>
                  <a:lnTo>
                    <a:pt x="525" y="730"/>
                  </a:lnTo>
                  <a:lnTo>
                    <a:pt x="523" y="730"/>
                  </a:lnTo>
                  <a:lnTo>
                    <a:pt x="522" y="728"/>
                  </a:lnTo>
                  <a:lnTo>
                    <a:pt x="522" y="726"/>
                  </a:lnTo>
                  <a:lnTo>
                    <a:pt x="522" y="724"/>
                  </a:lnTo>
                  <a:lnTo>
                    <a:pt x="523" y="724"/>
                  </a:lnTo>
                  <a:lnTo>
                    <a:pt x="527" y="726"/>
                  </a:lnTo>
                  <a:lnTo>
                    <a:pt x="529" y="727"/>
                  </a:lnTo>
                  <a:lnTo>
                    <a:pt x="531" y="727"/>
                  </a:lnTo>
                  <a:lnTo>
                    <a:pt x="534" y="728"/>
                  </a:lnTo>
                  <a:lnTo>
                    <a:pt x="535" y="728"/>
                  </a:lnTo>
                  <a:lnTo>
                    <a:pt x="537" y="726"/>
                  </a:lnTo>
                  <a:lnTo>
                    <a:pt x="535" y="724"/>
                  </a:lnTo>
                  <a:lnTo>
                    <a:pt x="536" y="724"/>
                  </a:lnTo>
                  <a:lnTo>
                    <a:pt x="537" y="724"/>
                  </a:lnTo>
                  <a:lnTo>
                    <a:pt x="540" y="725"/>
                  </a:lnTo>
                  <a:lnTo>
                    <a:pt x="541" y="724"/>
                  </a:lnTo>
                  <a:lnTo>
                    <a:pt x="537" y="720"/>
                  </a:lnTo>
                  <a:lnTo>
                    <a:pt x="537" y="719"/>
                  </a:lnTo>
                  <a:lnTo>
                    <a:pt x="540" y="719"/>
                  </a:lnTo>
                  <a:lnTo>
                    <a:pt x="545" y="720"/>
                  </a:lnTo>
                  <a:lnTo>
                    <a:pt x="547" y="720"/>
                  </a:lnTo>
                  <a:lnTo>
                    <a:pt x="548" y="719"/>
                  </a:lnTo>
                  <a:lnTo>
                    <a:pt x="548" y="718"/>
                  </a:lnTo>
                  <a:lnTo>
                    <a:pt x="551" y="715"/>
                  </a:lnTo>
                  <a:lnTo>
                    <a:pt x="551" y="713"/>
                  </a:lnTo>
                  <a:lnTo>
                    <a:pt x="553" y="713"/>
                  </a:lnTo>
                  <a:lnTo>
                    <a:pt x="554" y="713"/>
                  </a:lnTo>
                  <a:lnTo>
                    <a:pt x="557" y="710"/>
                  </a:lnTo>
                  <a:lnTo>
                    <a:pt x="557" y="708"/>
                  </a:lnTo>
                  <a:lnTo>
                    <a:pt x="558" y="706"/>
                  </a:lnTo>
                  <a:lnTo>
                    <a:pt x="563" y="707"/>
                  </a:lnTo>
                  <a:lnTo>
                    <a:pt x="565" y="706"/>
                  </a:lnTo>
                  <a:lnTo>
                    <a:pt x="566" y="703"/>
                  </a:lnTo>
                  <a:lnTo>
                    <a:pt x="566" y="707"/>
                  </a:lnTo>
                  <a:lnTo>
                    <a:pt x="566" y="710"/>
                  </a:lnTo>
                  <a:lnTo>
                    <a:pt x="568" y="713"/>
                  </a:lnTo>
                  <a:lnTo>
                    <a:pt x="570" y="716"/>
                  </a:lnTo>
                  <a:lnTo>
                    <a:pt x="572" y="715"/>
                  </a:lnTo>
                  <a:lnTo>
                    <a:pt x="576" y="713"/>
                  </a:lnTo>
                  <a:lnTo>
                    <a:pt x="574" y="716"/>
                  </a:lnTo>
                  <a:lnTo>
                    <a:pt x="572" y="719"/>
                  </a:lnTo>
                  <a:lnTo>
                    <a:pt x="574" y="721"/>
                  </a:lnTo>
                  <a:lnTo>
                    <a:pt x="576" y="721"/>
                  </a:lnTo>
                  <a:lnTo>
                    <a:pt x="578" y="721"/>
                  </a:lnTo>
                  <a:lnTo>
                    <a:pt x="580" y="720"/>
                  </a:lnTo>
                  <a:lnTo>
                    <a:pt x="583" y="719"/>
                  </a:lnTo>
                  <a:lnTo>
                    <a:pt x="583" y="718"/>
                  </a:lnTo>
                  <a:lnTo>
                    <a:pt x="586" y="715"/>
                  </a:lnTo>
                  <a:lnTo>
                    <a:pt x="590" y="713"/>
                  </a:lnTo>
                  <a:lnTo>
                    <a:pt x="593" y="710"/>
                  </a:lnTo>
                  <a:lnTo>
                    <a:pt x="595" y="709"/>
                  </a:lnTo>
                  <a:lnTo>
                    <a:pt x="595" y="708"/>
                  </a:lnTo>
                  <a:lnTo>
                    <a:pt x="593" y="707"/>
                  </a:lnTo>
                  <a:lnTo>
                    <a:pt x="595" y="706"/>
                  </a:lnTo>
                  <a:lnTo>
                    <a:pt x="598" y="706"/>
                  </a:lnTo>
                  <a:lnTo>
                    <a:pt x="601" y="704"/>
                  </a:lnTo>
                  <a:lnTo>
                    <a:pt x="601" y="703"/>
                  </a:lnTo>
                  <a:lnTo>
                    <a:pt x="601" y="701"/>
                  </a:lnTo>
                  <a:lnTo>
                    <a:pt x="600" y="700"/>
                  </a:lnTo>
                  <a:lnTo>
                    <a:pt x="601" y="697"/>
                  </a:lnTo>
                  <a:lnTo>
                    <a:pt x="601" y="695"/>
                  </a:lnTo>
                  <a:lnTo>
                    <a:pt x="600" y="694"/>
                  </a:lnTo>
                  <a:lnTo>
                    <a:pt x="601" y="692"/>
                  </a:lnTo>
                  <a:lnTo>
                    <a:pt x="604" y="691"/>
                  </a:lnTo>
                  <a:lnTo>
                    <a:pt x="605" y="689"/>
                  </a:lnTo>
                  <a:lnTo>
                    <a:pt x="606" y="686"/>
                  </a:lnTo>
                  <a:lnTo>
                    <a:pt x="604" y="685"/>
                  </a:lnTo>
                  <a:lnTo>
                    <a:pt x="602" y="683"/>
                  </a:lnTo>
                  <a:lnTo>
                    <a:pt x="601" y="683"/>
                  </a:lnTo>
                  <a:lnTo>
                    <a:pt x="600" y="684"/>
                  </a:lnTo>
                  <a:lnTo>
                    <a:pt x="598" y="686"/>
                  </a:lnTo>
                  <a:lnTo>
                    <a:pt x="595" y="688"/>
                  </a:lnTo>
                  <a:lnTo>
                    <a:pt x="596" y="685"/>
                  </a:lnTo>
                  <a:lnTo>
                    <a:pt x="596" y="683"/>
                  </a:lnTo>
                  <a:lnTo>
                    <a:pt x="594" y="683"/>
                  </a:lnTo>
                  <a:lnTo>
                    <a:pt x="593" y="682"/>
                  </a:lnTo>
                  <a:lnTo>
                    <a:pt x="592" y="680"/>
                  </a:lnTo>
                  <a:lnTo>
                    <a:pt x="590" y="682"/>
                  </a:lnTo>
                  <a:lnTo>
                    <a:pt x="590" y="685"/>
                  </a:lnTo>
                  <a:lnTo>
                    <a:pt x="588" y="685"/>
                  </a:lnTo>
                  <a:lnTo>
                    <a:pt x="587" y="690"/>
                  </a:lnTo>
                  <a:lnTo>
                    <a:pt x="587" y="689"/>
                  </a:lnTo>
                  <a:lnTo>
                    <a:pt x="586" y="685"/>
                  </a:lnTo>
                  <a:lnTo>
                    <a:pt x="583" y="688"/>
                  </a:lnTo>
                  <a:lnTo>
                    <a:pt x="582" y="690"/>
                  </a:lnTo>
                  <a:lnTo>
                    <a:pt x="581" y="691"/>
                  </a:lnTo>
                  <a:lnTo>
                    <a:pt x="580" y="691"/>
                  </a:lnTo>
                  <a:lnTo>
                    <a:pt x="581" y="688"/>
                  </a:lnTo>
                  <a:lnTo>
                    <a:pt x="581" y="685"/>
                  </a:lnTo>
                  <a:lnTo>
                    <a:pt x="578" y="686"/>
                  </a:lnTo>
                  <a:lnTo>
                    <a:pt x="578" y="684"/>
                  </a:lnTo>
                  <a:lnTo>
                    <a:pt x="576" y="684"/>
                  </a:lnTo>
                  <a:lnTo>
                    <a:pt x="575" y="686"/>
                  </a:lnTo>
                  <a:lnTo>
                    <a:pt x="574" y="688"/>
                  </a:lnTo>
                  <a:lnTo>
                    <a:pt x="571" y="688"/>
                  </a:lnTo>
                  <a:lnTo>
                    <a:pt x="569" y="689"/>
                  </a:lnTo>
                  <a:lnTo>
                    <a:pt x="568" y="688"/>
                  </a:lnTo>
                  <a:lnTo>
                    <a:pt x="570" y="685"/>
                  </a:lnTo>
                  <a:lnTo>
                    <a:pt x="572" y="684"/>
                  </a:lnTo>
                  <a:lnTo>
                    <a:pt x="572" y="683"/>
                  </a:lnTo>
                  <a:lnTo>
                    <a:pt x="571" y="679"/>
                  </a:lnTo>
                  <a:lnTo>
                    <a:pt x="569" y="677"/>
                  </a:lnTo>
                  <a:lnTo>
                    <a:pt x="568" y="677"/>
                  </a:lnTo>
                  <a:lnTo>
                    <a:pt x="566" y="678"/>
                  </a:lnTo>
                  <a:lnTo>
                    <a:pt x="566" y="677"/>
                  </a:lnTo>
                  <a:lnTo>
                    <a:pt x="566" y="674"/>
                  </a:lnTo>
                  <a:lnTo>
                    <a:pt x="565" y="673"/>
                  </a:lnTo>
                  <a:lnTo>
                    <a:pt x="564" y="672"/>
                  </a:lnTo>
                  <a:lnTo>
                    <a:pt x="564" y="671"/>
                  </a:lnTo>
                  <a:lnTo>
                    <a:pt x="563" y="668"/>
                  </a:lnTo>
                  <a:lnTo>
                    <a:pt x="562" y="667"/>
                  </a:lnTo>
                  <a:lnTo>
                    <a:pt x="558" y="667"/>
                  </a:lnTo>
                  <a:lnTo>
                    <a:pt x="556" y="667"/>
                  </a:lnTo>
                  <a:lnTo>
                    <a:pt x="549" y="667"/>
                  </a:lnTo>
                  <a:lnTo>
                    <a:pt x="551" y="666"/>
                  </a:lnTo>
                  <a:lnTo>
                    <a:pt x="548" y="662"/>
                  </a:lnTo>
                  <a:lnTo>
                    <a:pt x="548" y="661"/>
                  </a:lnTo>
                  <a:lnTo>
                    <a:pt x="548" y="660"/>
                  </a:lnTo>
                  <a:lnTo>
                    <a:pt x="546" y="659"/>
                  </a:lnTo>
                  <a:lnTo>
                    <a:pt x="543" y="658"/>
                  </a:lnTo>
                  <a:lnTo>
                    <a:pt x="543" y="656"/>
                  </a:lnTo>
                  <a:lnTo>
                    <a:pt x="543" y="653"/>
                  </a:lnTo>
                  <a:lnTo>
                    <a:pt x="545" y="653"/>
                  </a:lnTo>
                  <a:lnTo>
                    <a:pt x="546" y="654"/>
                  </a:lnTo>
                  <a:lnTo>
                    <a:pt x="547" y="655"/>
                  </a:lnTo>
                  <a:lnTo>
                    <a:pt x="548" y="656"/>
                  </a:lnTo>
                  <a:lnTo>
                    <a:pt x="551" y="660"/>
                  </a:lnTo>
                  <a:lnTo>
                    <a:pt x="551" y="662"/>
                  </a:lnTo>
                  <a:lnTo>
                    <a:pt x="553" y="665"/>
                  </a:lnTo>
                  <a:lnTo>
                    <a:pt x="556" y="665"/>
                  </a:lnTo>
                  <a:lnTo>
                    <a:pt x="557" y="664"/>
                  </a:lnTo>
                  <a:lnTo>
                    <a:pt x="557" y="661"/>
                  </a:lnTo>
                  <a:lnTo>
                    <a:pt x="556" y="659"/>
                  </a:lnTo>
                  <a:lnTo>
                    <a:pt x="553" y="656"/>
                  </a:lnTo>
                  <a:lnTo>
                    <a:pt x="552" y="655"/>
                  </a:lnTo>
                  <a:lnTo>
                    <a:pt x="548" y="653"/>
                  </a:lnTo>
                  <a:lnTo>
                    <a:pt x="547" y="650"/>
                  </a:lnTo>
                  <a:lnTo>
                    <a:pt x="546" y="649"/>
                  </a:lnTo>
                  <a:lnTo>
                    <a:pt x="545" y="649"/>
                  </a:lnTo>
                  <a:lnTo>
                    <a:pt x="543" y="648"/>
                  </a:lnTo>
                  <a:lnTo>
                    <a:pt x="543" y="647"/>
                  </a:lnTo>
                  <a:lnTo>
                    <a:pt x="545" y="646"/>
                  </a:lnTo>
                  <a:lnTo>
                    <a:pt x="546" y="644"/>
                  </a:lnTo>
                  <a:lnTo>
                    <a:pt x="547" y="646"/>
                  </a:lnTo>
                  <a:lnTo>
                    <a:pt x="549" y="647"/>
                  </a:lnTo>
                  <a:lnTo>
                    <a:pt x="552" y="649"/>
                  </a:lnTo>
                  <a:lnTo>
                    <a:pt x="556" y="652"/>
                  </a:lnTo>
                  <a:lnTo>
                    <a:pt x="558" y="653"/>
                  </a:lnTo>
                  <a:lnTo>
                    <a:pt x="559" y="654"/>
                  </a:lnTo>
                  <a:lnTo>
                    <a:pt x="558" y="656"/>
                  </a:lnTo>
                  <a:lnTo>
                    <a:pt x="557" y="658"/>
                  </a:lnTo>
                  <a:lnTo>
                    <a:pt x="558" y="659"/>
                  </a:lnTo>
                  <a:lnTo>
                    <a:pt x="559" y="658"/>
                  </a:lnTo>
                  <a:lnTo>
                    <a:pt x="562" y="656"/>
                  </a:lnTo>
                  <a:lnTo>
                    <a:pt x="562" y="655"/>
                  </a:lnTo>
                  <a:lnTo>
                    <a:pt x="564" y="655"/>
                  </a:lnTo>
                  <a:lnTo>
                    <a:pt x="564" y="656"/>
                  </a:lnTo>
                  <a:lnTo>
                    <a:pt x="564" y="658"/>
                  </a:lnTo>
                  <a:lnTo>
                    <a:pt x="568" y="655"/>
                  </a:lnTo>
                  <a:lnTo>
                    <a:pt x="569" y="654"/>
                  </a:lnTo>
                  <a:lnTo>
                    <a:pt x="571" y="654"/>
                  </a:lnTo>
                  <a:lnTo>
                    <a:pt x="572" y="656"/>
                  </a:lnTo>
                  <a:lnTo>
                    <a:pt x="575" y="658"/>
                  </a:lnTo>
                  <a:lnTo>
                    <a:pt x="578" y="659"/>
                  </a:lnTo>
                  <a:lnTo>
                    <a:pt x="580" y="658"/>
                  </a:lnTo>
                  <a:lnTo>
                    <a:pt x="581" y="655"/>
                  </a:lnTo>
                  <a:lnTo>
                    <a:pt x="580" y="654"/>
                  </a:lnTo>
                  <a:lnTo>
                    <a:pt x="578" y="653"/>
                  </a:lnTo>
                  <a:lnTo>
                    <a:pt x="580" y="650"/>
                  </a:lnTo>
                  <a:lnTo>
                    <a:pt x="581" y="650"/>
                  </a:lnTo>
                  <a:lnTo>
                    <a:pt x="578" y="650"/>
                  </a:lnTo>
                  <a:lnTo>
                    <a:pt x="575" y="650"/>
                  </a:lnTo>
                  <a:lnTo>
                    <a:pt x="576" y="647"/>
                  </a:lnTo>
                  <a:lnTo>
                    <a:pt x="576" y="644"/>
                  </a:lnTo>
                  <a:lnTo>
                    <a:pt x="578" y="646"/>
                  </a:lnTo>
                  <a:lnTo>
                    <a:pt x="581" y="647"/>
                  </a:lnTo>
                  <a:lnTo>
                    <a:pt x="581" y="646"/>
                  </a:lnTo>
                  <a:lnTo>
                    <a:pt x="582" y="643"/>
                  </a:lnTo>
                  <a:lnTo>
                    <a:pt x="582" y="642"/>
                  </a:lnTo>
                  <a:lnTo>
                    <a:pt x="581" y="640"/>
                  </a:lnTo>
                  <a:lnTo>
                    <a:pt x="581" y="638"/>
                  </a:lnTo>
                  <a:lnTo>
                    <a:pt x="582" y="638"/>
                  </a:lnTo>
                  <a:lnTo>
                    <a:pt x="582" y="637"/>
                  </a:lnTo>
                  <a:lnTo>
                    <a:pt x="582" y="635"/>
                  </a:lnTo>
                  <a:lnTo>
                    <a:pt x="580" y="635"/>
                  </a:lnTo>
                  <a:lnTo>
                    <a:pt x="578" y="636"/>
                  </a:lnTo>
                  <a:lnTo>
                    <a:pt x="576" y="635"/>
                  </a:lnTo>
                  <a:lnTo>
                    <a:pt x="576" y="637"/>
                  </a:lnTo>
                  <a:lnTo>
                    <a:pt x="575" y="638"/>
                  </a:lnTo>
                  <a:lnTo>
                    <a:pt x="572" y="638"/>
                  </a:lnTo>
                  <a:lnTo>
                    <a:pt x="571" y="638"/>
                  </a:lnTo>
                  <a:lnTo>
                    <a:pt x="570" y="641"/>
                  </a:lnTo>
                  <a:lnTo>
                    <a:pt x="569" y="640"/>
                  </a:lnTo>
                  <a:lnTo>
                    <a:pt x="568" y="641"/>
                  </a:lnTo>
                  <a:lnTo>
                    <a:pt x="565" y="641"/>
                  </a:lnTo>
                  <a:lnTo>
                    <a:pt x="563" y="641"/>
                  </a:lnTo>
                  <a:lnTo>
                    <a:pt x="562" y="640"/>
                  </a:lnTo>
                  <a:lnTo>
                    <a:pt x="563" y="638"/>
                  </a:lnTo>
                  <a:lnTo>
                    <a:pt x="565" y="636"/>
                  </a:lnTo>
                  <a:lnTo>
                    <a:pt x="569" y="636"/>
                  </a:lnTo>
                  <a:lnTo>
                    <a:pt x="571" y="636"/>
                  </a:lnTo>
                  <a:lnTo>
                    <a:pt x="572" y="635"/>
                  </a:lnTo>
                  <a:lnTo>
                    <a:pt x="571" y="633"/>
                  </a:lnTo>
                  <a:lnTo>
                    <a:pt x="572" y="632"/>
                  </a:lnTo>
                  <a:lnTo>
                    <a:pt x="574" y="632"/>
                  </a:lnTo>
                  <a:lnTo>
                    <a:pt x="576" y="631"/>
                  </a:lnTo>
                  <a:lnTo>
                    <a:pt x="578" y="630"/>
                  </a:lnTo>
                  <a:lnTo>
                    <a:pt x="581" y="629"/>
                  </a:lnTo>
                  <a:lnTo>
                    <a:pt x="583" y="629"/>
                  </a:lnTo>
                  <a:lnTo>
                    <a:pt x="588" y="629"/>
                  </a:lnTo>
                  <a:lnTo>
                    <a:pt x="589" y="626"/>
                  </a:lnTo>
                  <a:lnTo>
                    <a:pt x="589" y="624"/>
                  </a:lnTo>
                  <a:lnTo>
                    <a:pt x="588" y="623"/>
                  </a:lnTo>
                  <a:lnTo>
                    <a:pt x="587" y="620"/>
                  </a:lnTo>
                  <a:lnTo>
                    <a:pt x="586" y="618"/>
                  </a:lnTo>
                  <a:lnTo>
                    <a:pt x="583" y="619"/>
                  </a:lnTo>
                  <a:lnTo>
                    <a:pt x="581" y="619"/>
                  </a:lnTo>
                  <a:lnTo>
                    <a:pt x="578" y="619"/>
                  </a:lnTo>
                  <a:lnTo>
                    <a:pt x="577" y="621"/>
                  </a:lnTo>
                  <a:lnTo>
                    <a:pt x="576" y="624"/>
                  </a:lnTo>
                  <a:lnTo>
                    <a:pt x="576" y="625"/>
                  </a:lnTo>
                  <a:lnTo>
                    <a:pt x="574" y="627"/>
                  </a:lnTo>
                  <a:lnTo>
                    <a:pt x="571" y="630"/>
                  </a:lnTo>
                  <a:lnTo>
                    <a:pt x="570" y="631"/>
                  </a:lnTo>
                  <a:lnTo>
                    <a:pt x="568" y="632"/>
                  </a:lnTo>
                  <a:lnTo>
                    <a:pt x="564" y="633"/>
                  </a:lnTo>
                  <a:lnTo>
                    <a:pt x="558" y="637"/>
                  </a:lnTo>
                  <a:lnTo>
                    <a:pt x="556" y="637"/>
                  </a:lnTo>
                  <a:lnTo>
                    <a:pt x="552" y="638"/>
                  </a:lnTo>
                  <a:lnTo>
                    <a:pt x="551" y="637"/>
                  </a:lnTo>
                  <a:lnTo>
                    <a:pt x="549" y="637"/>
                  </a:lnTo>
                  <a:lnTo>
                    <a:pt x="552" y="635"/>
                  </a:lnTo>
                  <a:lnTo>
                    <a:pt x="553" y="633"/>
                  </a:lnTo>
                  <a:lnTo>
                    <a:pt x="556" y="632"/>
                  </a:lnTo>
                  <a:lnTo>
                    <a:pt x="556" y="630"/>
                  </a:lnTo>
                  <a:lnTo>
                    <a:pt x="554" y="629"/>
                  </a:lnTo>
                  <a:lnTo>
                    <a:pt x="553" y="629"/>
                  </a:lnTo>
                  <a:lnTo>
                    <a:pt x="551" y="627"/>
                  </a:lnTo>
                  <a:lnTo>
                    <a:pt x="549" y="630"/>
                  </a:lnTo>
                  <a:lnTo>
                    <a:pt x="546" y="631"/>
                  </a:lnTo>
                  <a:lnTo>
                    <a:pt x="542" y="633"/>
                  </a:lnTo>
                  <a:lnTo>
                    <a:pt x="543" y="631"/>
                  </a:lnTo>
                  <a:lnTo>
                    <a:pt x="546" y="629"/>
                  </a:lnTo>
                  <a:lnTo>
                    <a:pt x="547" y="626"/>
                  </a:lnTo>
                  <a:lnTo>
                    <a:pt x="546" y="625"/>
                  </a:lnTo>
                  <a:lnTo>
                    <a:pt x="543" y="626"/>
                  </a:lnTo>
                  <a:lnTo>
                    <a:pt x="542" y="627"/>
                  </a:lnTo>
                  <a:lnTo>
                    <a:pt x="542" y="630"/>
                  </a:lnTo>
                  <a:lnTo>
                    <a:pt x="541" y="632"/>
                  </a:lnTo>
                  <a:lnTo>
                    <a:pt x="540" y="632"/>
                  </a:lnTo>
                  <a:lnTo>
                    <a:pt x="540" y="629"/>
                  </a:lnTo>
                  <a:lnTo>
                    <a:pt x="537" y="629"/>
                  </a:lnTo>
                  <a:lnTo>
                    <a:pt x="536" y="630"/>
                  </a:lnTo>
                  <a:lnTo>
                    <a:pt x="534" y="630"/>
                  </a:lnTo>
                  <a:lnTo>
                    <a:pt x="534" y="631"/>
                  </a:lnTo>
                  <a:lnTo>
                    <a:pt x="533" y="635"/>
                  </a:lnTo>
                  <a:lnTo>
                    <a:pt x="533" y="636"/>
                  </a:lnTo>
                  <a:lnTo>
                    <a:pt x="530" y="637"/>
                  </a:lnTo>
                  <a:lnTo>
                    <a:pt x="530" y="635"/>
                  </a:lnTo>
                  <a:lnTo>
                    <a:pt x="528" y="633"/>
                  </a:lnTo>
                  <a:lnTo>
                    <a:pt x="528" y="635"/>
                  </a:lnTo>
                  <a:lnTo>
                    <a:pt x="527" y="633"/>
                  </a:lnTo>
                  <a:lnTo>
                    <a:pt x="524" y="632"/>
                  </a:lnTo>
                  <a:lnTo>
                    <a:pt x="523" y="631"/>
                  </a:lnTo>
                  <a:lnTo>
                    <a:pt x="525" y="629"/>
                  </a:lnTo>
                  <a:lnTo>
                    <a:pt x="527" y="627"/>
                  </a:lnTo>
                  <a:lnTo>
                    <a:pt x="530" y="625"/>
                  </a:lnTo>
                  <a:lnTo>
                    <a:pt x="529" y="623"/>
                  </a:lnTo>
                  <a:lnTo>
                    <a:pt x="528" y="621"/>
                  </a:lnTo>
                  <a:lnTo>
                    <a:pt x="525" y="621"/>
                  </a:lnTo>
                  <a:lnTo>
                    <a:pt x="522" y="621"/>
                  </a:lnTo>
                  <a:lnTo>
                    <a:pt x="522" y="624"/>
                  </a:lnTo>
                  <a:lnTo>
                    <a:pt x="522" y="626"/>
                  </a:lnTo>
                  <a:lnTo>
                    <a:pt x="521" y="624"/>
                  </a:lnTo>
                  <a:lnTo>
                    <a:pt x="518" y="624"/>
                  </a:lnTo>
                  <a:lnTo>
                    <a:pt x="517" y="624"/>
                  </a:lnTo>
                  <a:lnTo>
                    <a:pt x="516" y="624"/>
                  </a:lnTo>
                  <a:lnTo>
                    <a:pt x="513" y="624"/>
                  </a:lnTo>
                  <a:lnTo>
                    <a:pt x="513" y="621"/>
                  </a:lnTo>
                  <a:lnTo>
                    <a:pt x="512" y="623"/>
                  </a:lnTo>
                  <a:lnTo>
                    <a:pt x="509" y="626"/>
                  </a:lnTo>
                  <a:lnTo>
                    <a:pt x="509" y="627"/>
                  </a:lnTo>
                  <a:lnTo>
                    <a:pt x="506" y="625"/>
                  </a:lnTo>
                  <a:lnTo>
                    <a:pt x="504" y="625"/>
                  </a:lnTo>
                  <a:lnTo>
                    <a:pt x="504" y="623"/>
                  </a:lnTo>
                  <a:lnTo>
                    <a:pt x="505" y="623"/>
                  </a:lnTo>
                  <a:lnTo>
                    <a:pt x="507" y="623"/>
                  </a:lnTo>
                  <a:lnTo>
                    <a:pt x="510" y="621"/>
                  </a:lnTo>
                  <a:lnTo>
                    <a:pt x="511" y="619"/>
                  </a:lnTo>
                  <a:lnTo>
                    <a:pt x="513" y="617"/>
                  </a:lnTo>
                  <a:lnTo>
                    <a:pt x="512" y="615"/>
                  </a:lnTo>
                  <a:lnTo>
                    <a:pt x="511" y="614"/>
                  </a:lnTo>
                  <a:lnTo>
                    <a:pt x="511" y="613"/>
                  </a:lnTo>
                  <a:lnTo>
                    <a:pt x="513" y="612"/>
                  </a:lnTo>
                  <a:lnTo>
                    <a:pt x="516" y="611"/>
                  </a:lnTo>
                  <a:lnTo>
                    <a:pt x="516" y="609"/>
                  </a:lnTo>
                  <a:lnTo>
                    <a:pt x="516" y="608"/>
                  </a:lnTo>
                  <a:lnTo>
                    <a:pt x="515" y="608"/>
                  </a:lnTo>
                  <a:lnTo>
                    <a:pt x="511" y="608"/>
                  </a:lnTo>
                  <a:lnTo>
                    <a:pt x="509" y="607"/>
                  </a:lnTo>
                  <a:lnTo>
                    <a:pt x="509" y="606"/>
                  </a:lnTo>
                  <a:lnTo>
                    <a:pt x="511" y="606"/>
                  </a:lnTo>
                  <a:lnTo>
                    <a:pt x="513" y="606"/>
                  </a:lnTo>
                  <a:lnTo>
                    <a:pt x="516" y="606"/>
                  </a:lnTo>
                  <a:lnTo>
                    <a:pt x="517" y="607"/>
                  </a:lnTo>
                  <a:lnTo>
                    <a:pt x="518" y="605"/>
                  </a:lnTo>
                  <a:lnTo>
                    <a:pt x="519" y="605"/>
                  </a:lnTo>
                  <a:lnTo>
                    <a:pt x="524" y="607"/>
                  </a:lnTo>
                  <a:lnTo>
                    <a:pt x="525" y="608"/>
                  </a:lnTo>
                  <a:lnTo>
                    <a:pt x="528" y="612"/>
                  </a:lnTo>
                  <a:lnTo>
                    <a:pt x="528" y="615"/>
                  </a:lnTo>
                  <a:lnTo>
                    <a:pt x="529" y="618"/>
                  </a:lnTo>
                  <a:lnTo>
                    <a:pt x="533" y="618"/>
                  </a:lnTo>
                  <a:lnTo>
                    <a:pt x="534" y="617"/>
                  </a:lnTo>
                  <a:lnTo>
                    <a:pt x="535" y="617"/>
                  </a:lnTo>
                  <a:lnTo>
                    <a:pt x="537" y="615"/>
                  </a:lnTo>
                  <a:lnTo>
                    <a:pt x="539" y="617"/>
                  </a:lnTo>
                  <a:lnTo>
                    <a:pt x="541" y="617"/>
                  </a:lnTo>
                  <a:lnTo>
                    <a:pt x="542" y="617"/>
                  </a:lnTo>
                  <a:lnTo>
                    <a:pt x="547" y="617"/>
                  </a:lnTo>
                  <a:lnTo>
                    <a:pt x="549" y="615"/>
                  </a:lnTo>
                  <a:lnTo>
                    <a:pt x="551" y="613"/>
                  </a:lnTo>
                  <a:lnTo>
                    <a:pt x="551" y="612"/>
                  </a:lnTo>
                  <a:lnTo>
                    <a:pt x="549" y="611"/>
                  </a:lnTo>
                  <a:lnTo>
                    <a:pt x="546" y="613"/>
                  </a:lnTo>
                  <a:lnTo>
                    <a:pt x="543" y="612"/>
                  </a:lnTo>
                  <a:lnTo>
                    <a:pt x="541" y="612"/>
                  </a:lnTo>
                  <a:lnTo>
                    <a:pt x="540" y="612"/>
                  </a:lnTo>
                  <a:lnTo>
                    <a:pt x="539" y="611"/>
                  </a:lnTo>
                  <a:lnTo>
                    <a:pt x="535" y="611"/>
                  </a:lnTo>
                  <a:lnTo>
                    <a:pt x="535" y="608"/>
                  </a:lnTo>
                  <a:lnTo>
                    <a:pt x="533" y="608"/>
                  </a:lnTo>
                  <a:lnTo>
                    <a:pt x="531" y="607"/>
                  </a:lnTo>
                  <a:lnTo>
                    <a:pt x="528" y="606"/>
                  </a:lnTo>
                  <a:lnTo>
                    <a:pt x="524" y="603"/>
                  </a:lnTo>
                  <a:lnTo>
                    <a:pt x="528" y="603"/>
                  </a:lnTo>
                  <a:lnTo>
                    <a:pt x="531" y="603"/>
                  </a:lnTo>
                  <a:lnTo>
                    <a:pt x="531" y="601"/>
                  </a:lnTo>
                  <a:lnTo>
                    <a:pt x="528" y="600"/>
                  </a:lnTo>
                  <a:lnTo>
                    <a:pt x="527" y="597"/>
                  </a:lnTo>
                  <a:lnTo>
                    <a:pt x="527" y="596"/>
                  </a:lnTo>
                  <a:lnTo>
                    <a:pt x="525" y="595"/>
                  </a:lnTo>
                  <a:lnTo>
                    <a:pt x="523" y="595"/>
                  </a:lnTo>
                  <a:lnTo>
                    <a:pt x="521" y="595"/>
                  </a:lnTo>
                  <a:lnTo>
                    <a:pt x="517" y="594"/>
                  </a:lnTo>
                  <a:lnTo>
                    <a:pt x="516" y="591"/>
                  </a:lnTo>
                  <a:lnTo>
                    <a:pt x="515" y="589"/>
                  </a:lnTo>
                  <a:lnTo>
                    <a:pt x="513" y="585"/>
                  </a:lnTo>
                  <a:lnTo>
                    <a:pt x="515" y="588"/>
                  </a:lnTo>
                  <a:lnTo>
                    <a:pt x="518" y="591"/>
                  </a:lnTo>
                  <a:lnTo>
                    <a:pt x="521" y="594"/>
                  </a:lnTo>
                  <a:lnTo>
                    <a:pt x="522" y="591"/>
                  </a:lnTo>
                  <a:lnTo>
                    <a:pt x="521" y="590"/>
                  </a:lnTo>
                  <a:lnTo>
                    <a:pt x="521" y="589"/>
                  </a:lnTo>
                  <a:lnTo>
                    <a:pt x="524" y="590"/>
                  </a:lnTo>
                  <a:lnTo>
                    <a:pt x="525" y="591"/>
                  </a:lnTo>
                  <a:lnTo>
                    <a:pt x="528" y="594"/>
                  </a:lnTo>
                  <a:lnTo>
                    <a:pt x="531" y="595"/>
                  </a:lnTo>
                  <a:lnTo>
                    <a:pt x="533" y="597"/>
                  </a:lnTo>
                  <a:lnTo>
                    <a:pt x="535" y="600"/>
                  </a:lnTo>
                  <a:lnTo>
                    <a:pt x="537" y="602"/>
                  </a:lnTo>
                  <a:lnTo>
                    <a:pt x="537" y="603"/>
                  </a:lnTo>
                  <a:lnTo>
                    <a:pt x="535" y="603"/>
                  </a:lnTo>
                  <a:lnTo>
                    <a:pt x="534" y="602"/>
                  </a:lnTo>
                  <a:lnTo>
                    <a:pt x="534" y="605"/>
                  </a:lnTo>
                  <a:lnTo>
                    <a:pt x="535" y="606"/>
                  </a:lnTo>
                  <a:lnTo>
                    <a:pt x="537" y="608"/>
                  </a:lnTo>
                  <a:lnTo>
                    <a:pt x="541" y="608"/>
                  </a:lnTo>
                  <a:lnTo>
                    <a:pt x="543" y="609"/>
                  </a:lnTo>
                  <a:lnTo>
                    <a:pt x="547" y="608"/>
                  </a:lnTo>
                  <a:lnTo>
                    <a:pt x="549" y="608"/>
                  </a:lnTo>
                  <a:lnTo>
                    <a:pt x="552" y="607"/>
                  </a:lnTo>
                  <a:lnTo>
                    <a:pt x="549" y="606"/>
                  </a:lnTo>
                  <a:lnTo>
                    <a:pt x="547" y="605"/>
                  </a:lnTo>
                  <a:lnTo>
                    <a:pt x="547" y="603"/>
                  </a:lnTo>
                  <a:lnTo>
                    <a:pt x="549" y="603"/>
                  </a:lnTo>
                  <a:lnTo>
                    <a:pt x="553" y="605"/>
                  </a:lnTo>
                  <a:lnTo>
                    <a:pt x="559" y="605"/>
                  </a:lnTo>
                  <a:lnTo>
                    <a:pt x="560" y="603"/>
                  </a:lnTo>
                  <a:lnTo>
                    <a:pt x="562" y="600"/>
                  </a:lnTo>
                  <a:lnTo>
                    <a:pt x="562" y="599"/>
                  </a:lnTo>
                  <a:lnTo>
                    <a:pt x="559" y="599"/>
                  </a:lnTo>
                  <a:lnTo>
                    <a:pt x="557" y="599"/>
                  </a:lnTo>
                  <a:lnTo>
                    <a:pt x="553" y="597"/>
                  </a:lnTo>
                  <a:lnTo>
                    <a:pt x="551" y="597"/>
                  </a:lnTo>
                  <a:lnTo>
                    <a:pt x="547" y="595"/>
                  </a:lnTo>
                  <a:lnTo>
                    <a:pt x="545" y="595"/>
                  </a:lnTo>
                  <a:lnTo>
                    <a:pt x="540" y="593"/>
                  </a:lnTo>
                  <a:lnTo>
                    <a:pt x="537" y="593"/>
                  </a:lnTo>
                  <a:lnTo>
                    <a:pt x="534" y="590"/>
                  </a:lnTo>
                  <a:lnTo>
                    <a:pt x="531" y="590"/>
                  </a:lnTo>
                  <a:lnTo>
                    <a:pt x="530" y="588"/>
                  </a:lnTo>
                  <a:lnTo>
                    <a:pt x="527" y="585"/>
                  </a:lnTo>
                  <a:lnTo>
                    <a:pt x="525" y="584"/>
                  </a:lnTo>
                  <a:lnTo>
                    <a:pt x="524" y="582"/>
                  </a:lnTo>
                  <a:lnTo>
                    <a:pt x="523" y="579"/>
                  </a:lnTo>
                  <a:lnTo>
                    <a:pt x="523" y="578"/>
                  </a:lnTo>
                  <a:lnTo>
                    <a:pt x="521" y="577"/>
                  </a:lnTo>
                  <a:lnTo>
                    <a:pt x="519" y="576"/>
                  </a:lnTo>
                  <a:lnTo>
                    <a:pt x="518" y="576"/>
                  </a:lnTo>
                  <a:lnTo>
                    <a:pt x="515" y="576"/>
                  </a:lnTo>
                  <a:lnTo>
                    <a:pt x="513" y="576"/>
                  </a:lnTo>
                  <a:lnTo>
                    <a:pt x="513" y="573"/>
                  </a:lnTo>
                  <a:lnTo>
                    <a:pt x="513" y="572"/>
                  </a:lnTo>
                  <a:lnTo>
                    <a:pt x="513" y="570"/>
                  </a:lnTo>
                  <a:lnTo>
                    <a:pt x="515" y="570"/>
                  </a:lnTo>
                  <a:lnTo>
                    <a:pt x="518" y="572"/>
                  </a:lnTo>
                  <a:lnTo>
                    <a:pt x="521" y="572"/>
                  </a:lnTo>
                  <a:lnTo>
                    <a:pt x="522" y="572"/>
                  </a:lnTo>
                  <a:lnTo>
                    <a:pt x="524" y="572"/>
                  </a:lnTo>
                  <a:lnTo>
                    <a:pt x="525" y="577"/>
                  </a:lnTo>
                  <a:lnTo>
                    <a:pt x="525" y="579"/>
                  </a:lnTo>
                  <a:lnTo>
                    <a:pt x="527" y="581"/>
                  </a:lnTo>
                  <a:lnTo>
                    <a:pt x="528" y="581"/>
                  </a:lnTo>
                  <a:lnTo>
                    <a:pt x="529" y="583"/>
                  </a:lnTo>
                  <a:lnTo>
                    <a:pt x="530" y="585"/>
                  </a:lnTo>
                  <a:lnTo>
                    <a:pt x="533" y="585"/>
                  </a:lnTo>
                  <a:lnTo>
                    <a:pt x="534" y="587"/>
                  </a:lnTo>
                  <a:lnTo>
                    <a:pt x="535" y="589"/>
                  </a:lnTo>
                  <a:lnTo>
                    <a:pt x="539" y="589"/>
                  </a:lnTo>
                  <a:lnTo>
                    <a:pt x="542" y="590"/>
                  </a:lnTo>
                  <a:lnTo>
                    <a:pt x="543" y="591"/>
                  </a:lnTo>
                  <a:lnTo>
                    <a:pt x="546" y="593"/>
                  </a:lnTo>
                  <a:lnTo>
                    <a:pt x="548" y="593"/>
                  </a:lnTo>
                  <a:lnTo>
                    <a:pt x="551" y="591"/>
                  </a:lnTo>
                  <a:lnTo>
                    <a:pt x="553" y="594"/>
                  </a:lnTo>
                  <a:lnTo>
                    <a:pt x="556" y="596"/>
                  </a:lnTo>
                  <a:lnTo>
                    <a:pt x="558" y="596"/>
                  </a:lnTo>
                  <a:lnTo>
                    <a:pt x="563" y="595"/>
                  </a:lnTo>
                  <a:lnTo>
                    <a:pt x="563" y="594"/>
                  </a:lnTo>
                  <a:lnTo>
                    <a:pt x="560" y="593"/>
                  </a:lnTo>
                  <a:lnTo>
                    <a:pt x="558" y="593"/>
                  </a:lnTo>
                  <a:lnTo>
                    <a:pt x="554" y="590"/>
                  </a:lnTo>
                  <a:lnTo>
                    <a:pt x="552" y="590"/>
                  </a:lnTo>
                  <a:lnTo>
                    <a:pt x="556" y="589"/>
                  </a:lnTo>
                  <a:lnTo>
                    <a:pt x="558" y="589"/>
                  </a:lnTo>
                  <a:lnTo>
                    <a:pt x="560" y="589"/>
                  </a:lnTo>
                  <a:lnTo>
                    <a:pt x="563" y="587"/>
                  </a:lnTo>
                  <a:lnTo>
                    <a:pt x="565" y="583"/>
                  </a:lnTo>
                  <a:lnTo>
                    <a:pt x="565" y="582"/>
                  </a:lnTo>
                  <a:lnTo>
                    <a:pt x="565" y="578"/>
                  </a:lnTo>
                  <a:lnTo>
                    <a:pt x="563" y="579"/>
                  </a:lnTo>
                  <a:lnTo>
                    <a:pt x="563" y="577"/>
                  </a:lnTo>
                  <a:lnTo>
                    <a:pt x="562" y="577"/>
                  </a:lnTo>
                  <a:lnTo>
                    <a:pt x="560" y="579"/>
                  </a:lnTo>
                  <a:lnTo>
                    <a:pt x="562" y="579"/>
                  </a:lnTo>
                  <a:lnTo>
                    <a:pt x="560" y="579"/>
                  </a:lnTo>
                  <a:lnTo>
                    <a:pt x="559" y="582"/>
                  </a:lnTo>
                  <a:lnTo>
                    <a:pt x="554" y="582"/>
                  </a:lnTo>
                  <a:lnTo>
                    <a:pt x="554" y="583"/>
                  </a:lnTo>
                  <a:lnTo>
                    <a:pt x="554" y="582"/>
                  </a:lnTo>
                  <a:lnTo>
                    <a:pt x="553" y="579"/>
                  </a:lnTo>
                  <a:lnTo>
                    <a:pt x="552" y="579"/>
                  </a:lnTo>
                  <a:lnTo>
                    <a:pt x="551" y="581"/>
                  </a:lnTo>
                  <a:lnTo>
                    <a:pt x="551" y="584"/>
                  </a:lnTo>
                  <a:lnTo>
                    <a:pt x="551" y="585"/>
                  </a:lnTo>
                  <a:lnTo>
                    <a:pt x="549" y="587"/>
                  </a:lnTo>
                  <a:lnTo>
                    <a:pt x="548" y="584"/>
                  </a:lnTo>
                  <a:lnTo>
                    <a:pt x="547" y="582"/>
                  </a:lnTo>
                  <a:lnTo>
                    <a:pt x="545" y="582"/>
                  </a:lnTo>
                  <a:lnTo>
                    <a:pt x="542" y="579"/>
                  </a:lnTo>
                  <a:lnTo>
                    <a:pt x="542" y="577"/>
                  </a:lnTo>
                  <a:lnTo>
                    <a:pt x="541" y="577"/>
                  </a:lnTo>
                  <a:lnTo>
                    <a:pt x="540" y="575"/>
                  </a:lnTo>
                  <a:lnTo>
                    <a:pt x="540" y="573"/>
                  </a:lnTo>
                  <a:lnTo>
                    <a:pt x="536" y="572"/>
                  </a:lnTo>
                  <a:lnTo>
                    <a:pt x="534" y="571"/>
                  </a:lnTo>
                  <a:lnTo>
                    <a:pt x="534" y="570"/>
                  </a:lnTo>
                  <a:lnTo>
                    <a:pt x="535" y="567"/>
                  </a:lnTo>
                  <a:lnTo>
                    <a:pt x="537" y="567"/>
                  </a:lnTo>
                  <a:lnTo>
                    <a:pt x="540" y="569"/>
                  </a:lnTo>
                  <a:lnTo>
                    <a:pt x="543" y="570"/>
                  </a:lnTo>
                  <a:lnTo>
                    <a:pt x="546" y="571"/>
                  </a:lnTo>
                  <a:lnTo>
                    <a:pt x="549" y="572"/>
                  </a:lnTo>
                  <a:lnTo>
                    <a:pt x="552" y="573"/>
                  </a:lnTo>
                  <a:lnTo>
                    <a:pt x="556" y="573"/>
                  </a:lnTo>
                  <a:lnTo>
                    <a:pt x="557" y="572"/>
                  </a:lnTo>
                  <a:lnTo>
                    <a:pt x="557" y="569"/>
                  </a:lnTo>
                  <a:lnTo>
                    <a:pt x="554" y="569"/>
                  </a:lnTo>
                  <a:lnTo>
                    <a:pt x="552" y="569"/>
                  </a:lnTo>
                  <a:lnTo>
                    <a:pt x="549" y="569"/>
                  </a:lnTo>
                  <a:lnTo>
                    <a:pt x="546" y="567"/>
                  </a:lnTo>
                  <a:lnTo>
                    <a:pt x="546" y="566"/>
                  </a:lnTo>
                  <a:lnTo>
                    <a:pt x="547" y="566"/>
                  </a:lnTo>
                  <a:lnTo>
                    <a:pt x="551" y="567"/>
                  </a:lnTo>
                  <a:lnTo>
                    <a:pt x="552" y="566"/>
                  </a:lnTo>
                  <a:lnTo>
                    <a:pt x="553" y="565"/>
                  </a:lnTo>
                  <a:lnTo>
                    <a:pt x="553" y="564"/>
                  </a:lnTo>
                  <a:lnTo>
                    <a:pt x="554" y="564"/>
                  </a:lnTo>
                  <a:lnTo>
                    <a:pt x="556" y="565"/>
                  </a:lnTo>
                  <a:lnTo>
                    <a:pt x="558" y="567"/>
                  </a:lnTo>
                  <a:lnTo>
                    <a:pt x="560" y="570"/>
                  </a:lnTo>
                  <a:lnTo>
                    <a:pt x="562" y="569"/>
                  </a:lnTo>
                  <a:lnTo>
                    <a:pt x="563" y="566"/>
                  </a:lnTo>
                  <a:lnTo>
                    <a:pt x="563" y="563"/>
                  </a:lnTo>
                  <a:lnTo>
                    <a:pt x="562" y="560"/>
                  </a:lnTo>
                  <a:lnTo>
                    <a:pt x="558" y="560"/>
                  </a:lnTo>
                  <a:lnTo>
                    <a:pt x="557" y="559"/>
                  </a:lnTo>
                  <a:lnTo>
                    <a:pt x="556" y="560"/>
                  </a:lnTo>
                  <a:lnTo>
                    <a:pt x="554" y="560"/>
                  </a:lnTo>
                  <a:lnTo>
                    <a:pt x="552" y="559"/>
                  </a:lnTo>
                  <a:lnTo>
                    <a:pt x="551" y="560"/>
                  </a:lnTo>
                  <a:lnTo>
                    <a:pt x="547" y="560"/>
                  </a:lnTo>
                  <a:lnTo>
                    <a:pt x="547" y="559"/>
                  </a:lnTo>
                  <a:lnTo>
                    <a:pt x="549" y="558"/>
                  </a:lnTo>
                  <a:lnTo>
                    <a:pt x="549" y="555"/>
                  </a:lnTo>
                  <a:lnTo>
                    <a:pt x="548" y="555"/>
                  </a:lnTo>
                  <a:lnTo>
                    <a:pt x="542" y="555"/>
                  </a:lnTo>
                  <a:lnTo>
                    <a:pt x="540" y="557"/>
                  </a:lnTo>
                  <a:lnTo>
                    <a:pt x="539" y="558"/>
                  </a:lnTo>
                  <a:lnTo>
                    <a:pt x="537" y="557"/>
                  </a:lnTo>
                  <a:lnTo>
                    <a:pt x="540" y="553"/>
                  </a:lnTo>
                  <a:lnTo>
                    <a:pt x="542" y="552"/>
                  </a:lnTo>
                  <a:lnTo>
                    <a:pt x="545" y="551"/>
                  </a:lnTo>
                  <a:lnTo>
                    <a:pt x="547" y="549"/>
                  </a:lnTo>
                  <a:lnTo>
                    <a:pt x="547" y="547"/>
                  </a:lnTo>
                  <a:lnTo>
                    <a:pt x="549" y="547"/>
                  </a:lnTo>
                  <a:lnTo>
                    <a:pt x="552" y="546"/>
                  </a:lnTo>
                  <a:lnTo>
                    <a:pt x="554" y="546"/>
                  </a:lnTo>
                  <a:lnTo>
                    <a:pt x="557" y="543"/>
                  </a:lnTo>
                  <a:lnTo>
                    <a:pt x="558" y="542"/>
                  </a:lnTo>
                  <a:lnTo>
                    <a:pt x="559" y="541"/>
                  </a:lnTo>
                  <a:lnTo>
                    <a:pt x="559" y="539"/>
                  </a:lnTo>
                  <a:lnTo>
                    <a:pt x="557" y="536"/>
                  </a:lnTo>
                  <a:lnTo>
                    <a:pt x="556" y="536"/>
                  </a:lnTo>
                  <a:lnTo>
                    <a:pt x="552" y="537"/>
                  </a:lnTo>
                  <a:lnTo>
                    <a:pt x="551" y="539"/>
                  </a:lnTo>
                  <a:lnTo>
                    <a:pt x="549" y="537"/>
                  </a:lnTo>
                  <a:lnTo>
                    <a:pt x="549" y="536"/>
                  </a:lnTo>
                  <a:lnTo>
                    <a:pt x="551" y="535"/>
                  </a:lnTo>
                  <a:lnTo>
                    <a:pt x="548" y="534"/>
                  </a:lnTo>
                  <a:lnTo>
                    <a:pt x="547" y="534"/>
                  </a:lnTo>
                  <a:lnTo>
                    <a:pt x="546" y="537"/>
                  </a:lnTo>
                  <a:lnTo>
                    <a:pt x="545" y="540"/>
                  </a:lnTo>
                  <a:lnTo>
                    <a:pt x="545" y="537"/>
                  </a:lnTo>
                  <a:lnTo>
                    <a:pt x="545" y="535"/>
                  </a:lnTo>
                  <a:lnTo>
                    <a:pt x="543" y="534"/>
                  </a:lnTo>
                  <a:lnTo>
                    <a:pt x="542" y="536"/>
                  </a:lnTo>
                  <a:lnTo>
                    <a:pt x="541" y="537"/>
                  </a:lnTo>
                  <a:lnTo>
                    <a:pt x="537" y="540"/>
                  </a:lnTo>
                  <a:lnTo>
                    <a:pt x="535" y="540"/>
                  </a:lnTo>
                  <a:lnTo>
                    <a:pt x="535" y="539"/>
                  </a:lnTo>
                  <a:lnTo>
                    <a:pt x="537" y="537"/>
                  </a:lnTo>
                  <a:lnTo>
                    <a:pt x="539" y="536"/>
                  </a:lnTo>
                  <a:lnTo>
                    <a:pt x="540" y="534"/>
                  </a:lnTo>
                  <a:lnTo>
                    <a:pt x="537" y="533"/>
                  </a:lnTo>
                  <a:lnTo>
                    <a:pt x="536" y="533"/>
                  </a:lnTo>
                  <a:lnTo>
                    <a:pt x="535" y="530"/>
                  </a:lnTo>
                  <a:lnTo>
                    <a:pt x="534" y="528"/>
                  </a:lnTo>
                  <a:lnTo>
                    <a:pt x="535" y="525"/>
                  </a:lnTo>
                  <a:lnTo>
                    <a:pt x="537" y="529"/>
                  </a:lnTo>
                  <a:lnTo>
                    <a:pt x="540" y="529"/>
                  </a:lnTo>
                  <a:lnTo>
                    <a:pt x="541" y="529"/>
                  </a:lnTo>
                  <a:lnTo>
                    <a:pt x="543" y="528"/>
                  </a:lnTo>
                  <a:lnTo>
                    <a:pt x="545" y="526"/>
                  </a:lnTo>
                  <a:lnTo>
                    <a:pt x="545" y="523"/>
                  </a:lnTo>
                  <a:lnTo>
                    <a:pt x="542" y="522"/>
                  </a:lnTo>
                  <a:lnTo>
                    <a:pt x="539" y="519"/>
                  </a:lnTo>
                  <a:lnTo>
                    <a:pt x="537" y="518"/>
                  </a:lnTo>
                  <a:lnTo>
                    <a:pt x="536" y="520"/>
                  </a:lnTo>
                  <a:lnTo>
                    <a:pt x="535" y="522"/>
                  </a:lnTo>
                  <a:lnTo>
                    <a:pt x="531" y="520"/>
                  </a:lnTo>
                  <a:lnTo>
                    <a:pt x="529" y="520"/>
                  </a:lnTo>
                  <a:lnTo>
                    <a:pt x="529" y="522"/>
                  </a:lnTo>
                  <a:lnTo>
                    <a:pt x="527" y="522"/>
                  </a:lnTo>
                  <a:lnTo>
                    <a:pt x="525" y="523"/>
                  </a:lnTo>
                  <a:lnTo>
                    <a:pt x="524" y="523"/>
                  </a:lnTo>
                  <a:lnTo>
                    <a:pt x="527" y="526"/>
                  </a:lnTo>
                  <a:lnTo>
                    <a:pt x="529" y="528"/>
                  </a:lnTo>
                  <a:lnTo>
                    <a:pt x="529" y="530"/>
                  </a:lnTo>
                  <a:lnTo>
                    <a:pt x="528" y="531"/>
                  </a:lnTo>
                  <a:lnTo>
                    <a:pt x="527" y="529"/>
                  </a:lnTo>
                  <a:lnTo>
                    <a:pt x="524" y="529"/>
                  </a:lnTo>
                  <a:lnTo>
                    <a:pt x="523" y="526"/>
                  </a:lnTo>
                  <a:lnTo>
                    <a:pt x="522" y="526"/>
                  </a:lnTo>
                  <a:lnTo>
                    <a:pt x="521" y="524"/>
                  </a:lnTo>
                  <a:lnTo>
                    <a:pt x="523" y="522"/>
                  </a:lnTo>
                  <a:lnTo>
                    <a:pt x="524" y="519"/>
                  </a:lnTo>
                  <a:lnTo>
                    <a:pt x="524" y="518"/>
                  </a:lnTo>
                  <a:lnTo>
                    <a:pt x="522" y="516"/>
                  </a:lnTo>
                  <a:lnTo>
                    <a:pt x="521" y="514"/>
                  </a:lnTo>
                  <a:lnTo>
                    <a:pt x="518" y="516"/>
                  </a:lnTo>
                  <a:lnTo>
                    <a:pt x="516" y="517"/>
                  </a:lnTo>
                  <a:lnTo>
                    <a:pt x="513" y="518"/>
                  </a:lnTo>
                  <a:lnTo>
                    <a:pt x="513" y="520"/>
                  </a:lnTo>
                  <a:lnTo>
                    <a:pt x="513" y="523"/>
                  </a:lnTo>
                  <a:lnTo>
                    <a:pt x="511" y="522"/>
                  </a:lnTo>
                  <a:lnTo>
                    <a:pt x="510" y="520"/>
                  </a:lnTo>
                  <a:lnTo>
                    <a:pt x="511" y="517"/>
                  </a:lnTo>
                  <a:lnTo>
                    <a:pt x="512" y="516"/>
                  </a:lnTo>
                  <a:lnTo>
                    <a:pt x="515" y="514"/>
                  </a:lnTo>
                  <a:lnTo>
                    <a:pt x="519" y="513"/>
                  </a:lnTo>
                  <a:lnTo>
                    <a:pt x="521" y="511"/>
                  </a:lnTo>
                  <a:lnTo>
                    <a:pt x="519" y="510"/>
                  </a:lnTo>
                  <a:lnTo>
                    <a:pt x="518" y="510"/>
                  </a:lnTo>
                  <a:lnTo>
                    <a:pt x="518" y="508"/>
                  </a:lnTo>
                  <a:lnTo>
                    <a:pt x="519" y="507"/>
                  </a:lnTo>
                  <a:lnTo>
                    <a:pt x="523" y="507"/>
                  </a:lnTo>
                  <a:lnTo>
                    <a:pt x="525" y="506"/>
                  </a:lnTo>
                  <a:lnTo>
                    <a:pt x="527" y="504"/>
                  </a:lnTo>
                  <a:lnTo>
                    <a:pt x="528" y="501"/>
                  </a:lnTo>
                  <a:lnTo>
                    <a:pt x="529" y="499"/>
                  </a:lnTo>
                  <a:lnTo>
                    <a:pt x="531" y="498"/>
                  </a:lnTo>
                  <a:lnTo>
                    <a:pt x="533" y="496"/>
                  </a:lnTo>
                  <a:lnTo>
                    <a:pt x="533" y="495"/>
                  </a:lnTo>
                  <a:lnTo>
                    <a:pt x="531" y="494"/>
                  </a:lnTo>
                  <a:lnTo>
                    <a:pt x="530" y="493"/>
                  </a:lnTo>
                  <a:lnTo>
                    <a:pt x="529" y="492"/>
                  </a:lnTo>
                  <a:lnTo>
                    <a:pt x="528" y="494"/>
                  </a:lnTo>
                  <a:lnTo>
                    <a:pt x="527" y="495"/>
                  </a:lnTo>
                  <a:lnTo>
                    <a:pt x="525" y="494"/>
                  </a:lnTo>
                  <a:lnTo>
                    <a:pt x="523" y="493"/>
                  </a:lnTo>
                  <a:lnTo>
                    <a:pt x="522" y="494"/>
                  </a:lnTo>
                  <a:lnTo>
                    <a:pt x="522" y="495"/>
                  </a:lnTo>
                  <a:lnTo>
                    <a:pt x="521" y="496"/>
                  </a:lnTo>
                  <a:lnTo>
                    <a:pt x="519" y="496"/>
                  </a:lnTo>
                  <a:lnTo>
                    <a:pt x="517" y="498"/>
                  </a:lnTo>
                  <a:lnTo>
                    <a:pt x="516" y="496"/>
                  </a:lnTo>
                  <a:lnTo>
                    <a:pt x="516" y="495"/>
                  </a:lnTo>
                  <a:lnTo>
                    <a:pt x="518" y="493"/>
                  </a:lnTo>
                  <a:lnTo>
                    <a:pt x="521" y="492"/>
                  </a:lnTo>
                  <a:lnTo>
                    <a:pt x="522" y="489"/>
                  </a:lnTo>
                  <a:lnTo>
                    <a:pt x="521" y="487"/>
                  </a:lnTo>
                  <a:lnTo>
                    <a:pt x="518" y="487"/>
                  </a:lnTo>
                  <a:lnTo>
                    <a:pt x="517" y="489"/>
                  </a:lnTo>
                  <a:lnTo>
                    <a:pt x="516" y="487"/>
                  </a:lnTo>
                  <a:lnTo>
                    <a:pt x="515" y="483"/>
                  </a:lnTo>
                  <a:lnTo>
                    <a:pt x="513" y="483"/>
                  </a:lnTo>
                  <a:lnTo>
                    <a:pt x="512" y="486"/>
                  </a:lnTo>
                  <a:lnTo>
                    <a:pt x="511" y="487"/>
                  </a:lnTo>
                  <a:lnTo>
                    <a:pt x="509" y="486"/>
                  </a:lnTo>
                  <a:lnTo>
                    <a:pt x="505" y="483"/>
                  </a:lnTo>
                  <a:lnTo>
                    <a:pt x="504" y="483"/>
                  </a:lnTo>
                  <a:lnTo>
                    <a:pt x="503" y="483"/>
                  </a:lnTo>
                  <a:lnTo>
                    <a:pt x="501" y="481"/>
                  </a:lnTo>
                  <a:lnTo>
                    <a:pt x="499" y="481"/>
                  </a:lnTo>
                  <a:lnTo>
                    <a:pt x="498" y="481"/>
                  </a:lnTo>
                  <a:lnTo>
                    <a:pt x="498" y="478"/>
                  </a:lnTo>
                  <a:lnTo>
                    <a:pt x="498" y="477"/>
                  </a:lnTo>
                  <a:lnTo>
                    <a:pt x="495" y="476"/>
                  </a:lnTo>
                  <a:lnTo>
                    <a:pt x="498" y="476"/>
                  </a:lnTo>
                  <a:lnTo>
                    <a:pt x="499" y="478"/>
                  </a:lnTo>
                  <a:lnTo>
                    <a:pt x="500" y="480"/>
                  </a:lnTo>
                  <a:lnTo>
                    <a:pt x="503" y="480"/>
                  </a:lnTo>
                  <a:lnTo>
                    <a:pt x="504" y="480"/>
                  </a:lnTo>
                  <a:lnTo>
                    <a:pt x="505" y="480"/>
                  </a:lnTo>
                  <a:lnTo>
                    <a:pt x="506" y="481"/>
                  </a:lnTo>
                  <a:lnTo>
                    <a:pt x="510" y="481"/>
                  </a:lnTo>
                  <a:lnTo>
                    <a:pt x="511" y="477"/>
                  </a:lnTo>
                  <a:lnTo>
                    <a:pt x="512" y="478"/>
                  </a:lnTo>
                  <a:lnTo>
                    <a:pt x="515" y="480"/>
                  </a:lnTo>
                  <a:lnTo>
                    <a:pt x="516" y="478"/>
                  </a:lnTo>
                  <a:lnTo>
                    <a:pt x="518" y="476"/>
                  </a:lnTo>
                  <a:lnTo>
                    <a:pt x="521" y="476"/>
                  </a:lnTo>
                  <a:lnTo>
                    <a:pt x="523" y="475"/>
                  </a:lnTo>
                  <a:lnTo>
                    <a:pt x="525" y="475"/>
                  </a:lnTo>
                  <a:lnTo>
                    <a:pt x="528" y="474"/>
                  </a:lnTo>
                  <a:lnTo>
                    <a:pt x="529" y="471"/>
                  </a:lnTo>
                  <a:lnTo>
                    <a:pt x="527" y="469"/>
                  </a:lnTo>
                  <a:lnTo>
                    <a:pt x="525" y="468"/>
                  </a:lnTo>
                  <a:lnTo>
                    <a:pt x="525" y="466"/>
                  </a:lnTo>
                  <a:lnTo>
                    <a:pt x="523" y="469"/>
                  </a:lnTo>
                  <a:lnTo>
                    <a:pt x="521" y="466"/>
                  </a:lnTo>
                  <a:lnTo>
                    <a:pt x="519" y="469"/>
                  </a:lnTo>
                  <a:lnTo>
                    <a:pt x="518" y="469"/>
                  </a:lnTo>
                  <a:lnTo>
                    <a:pt x="516" y="468"/>
                  </a:lnTo>
                  <a:lnTo>
                    <a:pt x="515" y="469"/>
                  </a:lnTo>
                  <a:lnTo>
                    <a:pt x="513" y="468"/>
                  </a:lnTo>
                  <a:lnTo>
                    <a:pt x="510" y="469"/>
                  </a:lnTo>
                  <a:lnTo>
                    <a:pt x="507" y="469"/>
                  </a:lnTo>
                  <a:lnTo>
                    <a:pt x="507" y="465"/>
                  </a:lnTo>
                  <a:lnTo>
                    <a:pt x="504" y="465"/>
                  </a:lnTo>
                  <a:lnTo>
                    <a:pt x="500" y="464"/>
                  </a:lnTo>
                  <a:lnTo>
                    <a:pt x="499" y="462"/>
                  </a:lnTo>
                  <a:lnTo>
                    <a:pt x="498" y="462"/>
                  </a:lnTo>
                  <a:lnTo>
                    <a:pt x="495" y="463"/>
                  </a:lnTo>
                  <a:lnTo>
                    <a:pt x="494" y="460"/>
                  </a:lnTo>
                  <a:lnTo>
                    <a:pt x="493" y="460"/>
                  </a:lnTo>
                  <a:lnTo>
                    <a:pt x="489" y="460"/>
                  </a:lnTo>
                  <a:lnTo>
                    <a:pt x="487" y="459"/>
                  </a:lnTo>
                  <a:lnTo>
                    <a:pt x="486" y="457"/>
                  </a:lnTo>
                  <a:lnTo>
                    <a:pt x="482" y="454"/>
                  </a:lnTo>
                  <a:lnTo>
                    <a:pt x="481" y="456"/>
                  </a:lnTo>
                  <a:lnTo>
                    <a:pt x="477" y="456"/>
                  </a:lnTo>
                  <a:lnTo>
                    <a:pt x="472" y="457"/>
                  </a:lnTo>
                  <a:lnTo>
                    <a:pt x="471" y="456"/>
                  </a:lnTo>
                  <a:lnTo>
                    <a:pt x="475" y="454"/>
                  </a:lnTo>
                  <a:lnTo>
                    <a:pt x="477" y="454"/>
                  </a:lnTo>
                  <a:lnTo>
                    <a:pt x="480" y="453"/>
                  </a:lnTo>
                  <a:lnTo>
                    <a:pt x="483" y="453"/>
                  </a:lnTo>
                  <a:lnTo>
                    <a:pt x="484" y="453"/>
                  </a:lnTo>
                  <a:lnTo>
                    <a:pt x="486" y="453"/>
                  </a:lnTo>
                  <a:lnTo>
                    <a:pt x="484" y="451"/>
                  </a:lnTo>
                  <a:lnTo>
                    <a:pt x="482" y="450"/>
                  </a:lnTo>
                  <a:lnTo>
                    <a:pt x="482" y="448"/>
                  </a:lnTo>
                  <a:lnTo>
                    <a:pt x="480" y="446"/>
                  </a:lnTo>
                  <a:lnTo>
                    <a:pt x="477" y="447"/>
                  </a:lnTo>
                  <a:lnTo>
                    <a:pt x="477" y="450"/>
                  </a:lnTo>
                  <a:lnTo>
                    <a:pt x="476" y="450"/>
                  </a:lnTo>
                  <a:lnTo>
                    <a:pt x="475" y="448"/>
                  </a:lnTo>
                  <a:lnTo>
                    <a:pt x="474" y="446"/>
                  </a:lnTo>
                  <a:lnTo>
                    <a:pt x="474" y="445"/>
                  </a:lnTo>
                  <a:lnTo>
                    <a:pt x="475" y="442"/>
                  </a:lnTo>
                  <a:lnTo>
                    <a:pt x="474" y="440"/>
                  </a:lnTo>
                  <a:lnTo>
                    <a:pt x="476" y="440"/>
                  </a:lnTo>
                  <a:lnTo>
                    <a:pt x="478" y="441"/>
                  </a:lnTo>
                  <a:lnTo>
                    <a:pt x="480" y="442"/>
                  </a:lnTo>
                  <a:lnTo>
                    <a:pt x="482" y="444"/>
                  </a:lnTo>
                  <a:lnTo>
                    <a:pt x="482" y="441"/>
                  </a:lnTo>
                  <a:lnTo>
                    <a:pt x="482" y="440"/>
                  </a:lnTo>
                  <a:lnTo>
                    <a:pt x="481" y="439"/>
                  </a:lnTo>
                  <a:lnTo>
                    <a:pt x="478" y="438"/>
                  </a:lnTo>
                  <a:lnTo>
                    <a:pt x="477" y="436"/>
                  </a:lnTo>
                  <a:lnTo>
                    <a:pt x="476" y="435"/>
                  </a:lnTo>
                  <a:lnTo>
                    <a:pt x="474" y="435"/>
                  </a:lnTo>
                  <a:lnTo>
                    <a:pt x="475" y="433"/>
                  </a:lnTo>
                  <a:lnTo>
                    <a:pt x="478" y="432"/>
                  </a:lnTo>
                  <a:lnTo>
                    <a:pt x="481" y="430"/>
                  </a:lnTo>
                  <a:lnTo>
                    <a:pt x="482" y="429"/>
                  </a:lnTo>
                  <a:lnTo>
                    <a:pt x="482" y="428"/>
                  </a:lnTo>
                  <a:lnTo>
                    <a:pt x="478" y="429"/>
                  </a:lnTo>
                  <a:lnTo>
                    <a:pt x="477" y="430"/>
                  </a:lnTo>
                  <a:lnTo>
                    <a:pt x="476" y="430"/>
                  </a:lnTo>
                  <a:lnTo>
                    <a:pt x="475" y="429"/>
                  </a:lnTo>
                  <a:lnTo>
                    <a:pt x="472" y="429"/>
                  </a:lnTo>
                  <a:lnTo>
                    <a:pt x="472" y="430"/>
                  </a:lnTo>
                  <a:lnTo>
                    <a:pt x="470" y="432"/>
                  </a:lnTo>
                  <a:lnTo>
                    <a:pt x="468" y="429"/>
                  </a:lnTo>
                  <a:lnTo>
                    <a:pt x="465" y="426"/>
                  </a:lnTo>
                  <a:lnTo>
                    <a:pt x="465" y="424"/>
                  </a:lnTo>
                  <a:lnTo>
                    <a:pt x="468" y="423"/>
                  </a:lnTo>
                  <a:lnTo>
                    <a:pt x="470" y="422"/>
                  </a:lnTo>
                  <a:lnTo>
                    <a:pt x="471" y="421"/>
                  </a:lnTo>
                  <a:lnTo>
                    <a:pt x="474" y="421"/>
                  </a:lnTo>
                  <a:lnTo>
                    <a:pt x="475" y="419"/>
                  </a:lnTo>
                  <a:lnTo>
                    <a:pt x="476" y="419"/>
                  </a:lnTo>
                  <a:lnTo>
                    <a:pt x="477" y="422"/>
                  </a:lnTo>
                  <a:lnTo>
                    <a:pt x="478" y="423"/>
                  </a:lnTo>
                  <a:lnTo>
                    <a:pt x="483" y="423"/>
                  </a:lnTo>
                  <a:lnTo>
                    <a:pt x="484" y="421"/>
                  </a:lnTo>
                  <a:lnTo>
                    <a:pt x="487" y="422"/>
                  </a:lnTo>
                  <a:lnTo>
                    <a:pt x="489" y="423"/>
                  </a:lnTo>
                  <a:lnTo>
                    <a:pt x="492" y="422"/>
                  </a:lnTo>
                  <a:lnTo>
                    <a:pt x="495" y="422"/>
                  </a:lnTo>
                  <a:lnTo>
                    <a:pt x="493" y="424"/>
                  </a:lnTo>
                  <a:lnTo>
                    <a:pt x="493" y="427"/>
                  </a:lnTo>
                  <a:lnTo>
                    <a:pt x="490" y="428"/>
                  </a:lnTo>
                  <a:lnTo>
                    <a:pt x="492" y="430"/>
                  </a:lnTo>
                  <a:lnTo>
                    <a:pt x="492" y="432"/>
                  </a:lnTo>
                  <a:lnTo>
                    <a:pt x="490" y="432"/>
                  </a:lnTo>
                  <a:lnTo>
                    <a:pt x="488" y="429"/>
                  </a:lnTo>
                  <a:lnTo>
                    <a:pt x="484" y="430"/>
                  </a:lnTo>
                  <a:lnTo>
                    <a:pt x="484" y="433"/>
                  </a:lnTo>
                  <a:lnTo>
                    <a:pt x="483" y="434"/>
                  </a:lnTo>
                  <a:lnTo>
                    <a:pt x="487" y="434"/>
                  </a:lnTo>
                  <a:lnTo>
                    <a:pt x="492" y="433"/>
                  </a:lnTo>
                  <a:lnTo>
                    <a:pt x="494" y="432"/>
                  </a:lnTo>
                  <a:lnTo>
                    <a:pt x="489" y="434"/>
                  </a:lnTo>
                  <a:lnTo>
                    <a:pt x="489" y="435"/>
                  </a:lnTo>
                  <a:lnTo>
                    <a:pt x="489" y="436"/>
                  </a:lnTo>
                  <a:lnTo>
                    <a:pt x="494" y="435"/>
                  </a:lnTo>
                  <a:lnTo>
                    <a:pt x="498" y="435"/>
                  </a:lnTo>
                  <a:lnTo>
                    <a:pt x="494" y="438"/>
                  </a:lnTo>
                  <a:lnTo>
                    <a:pt x="492" y="440"/>
                  </a:lnTo>
                  <a:lnTo>
                    <a:pt x="492" y="442"/>
                  </a:lnTo>
                  <a:lnTo>
                    <a:pt x="495" y="442"/>
                  </a:lnTo>
                  <a:lnTo>
                    <a:pt x="497" y="440"/>
                  </a:lnTo>
                  <a:lnTo>
                    <a:pt x="499" y="440"/>
                  </a:lnTo>
                  <a:lnTo>
                    <a:pt x="500" y="442"/>
                  </a:lnTo>
                  <a:lnTo>
                    <a:pt x="503" y="444"/>
                  </a:lnTo>
                  <a:lnTo>
                    <a:pt x="504" y="446"/>
                  </a:lnTo>
                  <a:lnTo>
                    <a:pt x="506" y="446"/>
                  </a:lnTo>
                  <a:lnTo>
                    <a:pt x="509" y="444"/>
                  </a:lnTo>
                  <a:lnTo>
                    <a:pt x="512" y="446"/>
                  </a:lnTo>
                  <a:lnTo>
                    <a:pt x="515" y="446"/>
                  </a:lnTo>
                  <a:lnTo>
                    <a:pt x="518" y="446"/>
                  </a:lnTo>
                  <a:lnTo>
                    <a:pt x="521" y="444"/>
                  </a:lnTo>
                  <a:lnTo>
                    <a:pt x="522" y="442"/>
                  </a:lnTo>
                  <a:lnTo>
                    <a:pt x="521" y="441"/>
                  </a:lnTo>
                  <a:lnTo>
                    <a:pt x="522" y="442"/>
                  </a:lnTo>
                  <a:lnTo>
                    <a:pt x="525" y="446"/>
                  </a:lnTo>
                  <a:lnTo>
                    <a:pt x="527" y="450"/>
                  </a:lnTo>
                  <a:lnTo>
                    <a:pt x="529" y="452"/>
                  </a:lnTo>
                  <a:lnTo>
                    <a:pt x="533" y="456"/>
                  </a:lnTo>
                  <a:lnTo>
                    <a:pt x="534" y="454"/>
                  </a:lnTo>
                  <a:lnTo>
                    <a:pt x="534" y="450"/>
                  </a:lnTo>
                  <a:lnTo>
                    <a:pt x="531" y="447"/>
                  </a:lnTo>
                  <a:lnTo>
                    <a:pt x="533" y="446"/>
                  </a:lnTo>
                  <a:lnTo>
                    <a:pt x="534" y="445"/>
                  </a:lnTo>
                  <a:lnTo>
                    <a:pt x="536" y="446"/>
                  </a:lnTo>
                  <a:lnTo>
                    <a:pt x="541" y="448"/>
                  </a:lnTo>
                  <a:lnTo>
                    <a:pt x="542" y="448"/>
                  </a:lnTo>
                  <a:lnTo>
                    <a:pt x="545" y="454"/>
                  </a:lnTo>
                  <a:lnTo>
                    <a:pt x="547" y="458"/>
                  </a:lnTo>
                  <a:lnTo>
                    <a:pt x="546" y="464"/>
                  </a:lnTo>
                  <a:lnTo>
                    <a:pt x="549" y="465"/>
                  </a:lnTo>
                  <a:lnTo>
                    <a:pt x="553" y="466"/>
                  </a:lnTo>
                  <a:lnTo>
                    <a:pt x="553" y="468"/>
                  </a:lnTo>
                  <a:lnTo>
                    <a:pt x="557" y="469"/>
                  </a:lnTo>
                  <a:lnTo>
                    <a:pt x="562" y="470"/>
                  </a:lnTo>
                  <a:lnTo>
                    <a:pt x="563" y="470"/>
                  </a:lnTo>
                  <a:lnTo>
                    <a:pt x="565" y="468"/>
                  </a:lnTo>
                  <a:lnTo>
                    <a:pt x="565" y="465"/>
                  </a:lnTo>
                  <a:lnTo>
                    <a:pt x="564" y="465"/>
                  </a:lnTo>
                  <a:lnTo>
                    <a:pt x="562" y="465"/>
                  </a:lnTo>
                  <a:lnTo>
                    <a:pt x="562" y="462"/>
                  </a:lnTo>
                  <a:lnTo>
                    <a:pt x="560" y="460"/>
                  </a:lnTo>
                  <a:lnTo>
                    <a:pt x="557" y="459"/>
                  </a:lnTo>
                  <a:lnTo>
                    <a:pt x="556" y="458"/>
                  </a:lnTo>
                  <a:lnTo>
                    <a:pt x="553" y="456"/>
                  </a:lnTo>
                  <a:lnTo>
                    <a:pt x="556" y="453"/>
                  </a:lnTo>
                  <a:lnTo>
                    <a:pt x="559" y="452"/>
                  </a:lnTo>
                  <a:lnTo>
                    <a:pt x="560" y="450"/>
                  </a:lnTo>
                  <a:lnTo>
                    <a:pt x="558" y="447"/>
                  </a:lnTo>
                  <a:lnTo>
                    <a:pt x="554" y="447"/>
                  </a:lnTo>
                  <a:lnTo>
                    <a:pt x="552" y="446"/>
                  </a:lnTo>
                  <a:lnTo>
                    <a:pt x="551" y="442"/>
                  </a:lnTo>
                  <a:lnTo>
                    <a:pt x="549" y="439"/>
                  </a:lnTo>
                  <a:lnTo>
                    <a:pt x="545" y="436"/>
                  </a:lnTo>
                  <a:lnTo>
                    <a:pt x="545" y="434"/>
                  </a:lnTo>
                  <a:lnTo>
                    <a:pt x="547" y="436"/>
                  </a:lnTo>
                  <a:lnTo>
                    <a:pt x="552" y="441"/>
                  </a:lnTo>
                  <a:lnTo>
                    <a:pt x="556" y="444"/>
                  </a:lnTo>
                  <a:lnTo>
                    <a:pt x="560" y="446"/>
                  </a:lnTo>
                  <a:lnTo>
                    <a:pt x="562" y="446"/>
                  </a:lnTo>
                  <a:lnTo>
                    <a:pt x="564" y="441"/>
                  </a:lnTo>
                  <a:lnTo>
                    <a:pt x="564" y="445"/>
                  </a:lnTo>
                  <a:lnTo>
                    <a:pt x="566" y="448"/>
                  </a:lnTo>
                  <a:lnTo>
                    <a:pt x="569" y="448"/>
                  </a:lnTo>
                  <a:lnTo>
                    <a:pt x="571" y="447"/>
                  </a:lnTo>
                  <a:lnTo>
                    <a:pt x="571" y="445"/>
                  </a:lnTo>
                  <a:lnTo>
                    <a:pt x="572" y="445"/>
                  </a:lnTo>
                  <a:lnTo>
                    <a:pt x="576" y="447"/>
                  </a:lnTo>
                  <a:lnTo>
                    <a:pt x="582" y="447"/>
                  </a:lnTo>
                  <a:lnTo>
                    <a:pt x="586" y="447"/>
                  </a:lnTo>
                  <a:lnTo>
                    <a:pt x="587" y="445"/>
                  </a:lnTo>
                  <a:lnTo>
                    <a:pt x="589" y="445"/>
                  </a:lnTo>
                  <a:lnTo>
                    <a:pt x="589" y="442"/>
                  </a:lnTo>
                  <a:lnTo>
                    <a:pt x="592" y="440"/>
                  </a:lnTo>
                  <a:lnTo>
                    <a:pt x="598" y="441"/>
                  </a:lnTo>
                  <a:lnTo>
                    <a:pt x="598" y="438"/>
                  </a:lnTo>
                  <a:lnTo>
                    <a:pt x="599" y="436"/>
                  </a:lnTo>
                  <a:lnTo>
                    <a:pt x="600" y="436"/>
                  </a:lnTo>
                  <a:lnTo>
                    <a:pt x="602" y="438"/>
                  </a:lnTo>
                  <a:lnTo>
                    <a:pt x="604" y="435"/>
                  </a:lnTo>
                  <a:lnTo>
                    <a:pt x="610" y="435"/>
                  </a:lnTo>
                  <a:lnTo>
                    <a:pt x="612" y="434"/>
                  </a:lnTo>
                  <a:lnTo>
                    <a:pt x="613" y="434"/>
                  </a:lnTo>
                  <a:lnTo>
                    <a:pt x="615" y="432"/>
                  </a:lnTo>
                  <a:lnTo>
                    <a:pt x="615" y="429"/>
                  </a:lnTo>
                  <a:lnTo>
                    <a:pt x="617" y="429"/>
                  </a:lnTo>
                  <a:lnTo>
                    <a:pt x="621" y="432"/>
                  </a:lnTo>
                  <a:lnTo>
                    <a:pt x="623" y="432"/>
                  </a:lnTo>
                  <a:lnTo>
                    <a:pt x="622" y="428"/>
                  </a:lnTo>
                  <a:lnTo>
                    <a:pt x="622" y="426"/>
                  </a:lnTo>
                  <a:lnTo>
                    <a:pt x="622" y="423"/>
                  </a:lnTo>
                  <a:lnTo>
                    <a:pt x="623" y="421"/>
                  </a:lnTo>
                  <a:lnTo>
                    <a:pt x="629" y="423"/>
                  </a:lnTo>
                  <a:lnTo>
                    <a:pt x="633" y="419"/>
                  </a:lnTo>
                  <a:lnTo>
                    <a:pt x="634" y="419"/>
                  </a:lnTo>
                  <a:lnTo>
                    <a:pt x="637" y="419"/>
                  </a:lnTo>
                  <a:lnTo>
                    <a:pt x="640" y="418"/>
                  </a:lnTo>
                  <a:lnTo>
                    <a:pt x="643" y="417"/>
                  </a:lnTo>
                  <a:lnTo>
                    <a:pt x="643" y="415"/>
                  </a:lnTo>
                  <a:lnTo>
                    <a:pt x="642" y="412"/>
                  </a:lnTo>
                  <a:lnTo>
                    <a:pt x="642" y="410"/>
                  </a:lnTo>
                  <a:lnTo>
                    <a:pt x="643" y="407"/>
                  </a:lnTo>
                  <a:lnTo>
                    <a:pt x="642" y="405"/>
                  </a:lnTo>
                  <a:lnTo>
                    <a:pt x="637" y="405"/>
                  </a:lnTo>
                  <a:lnTo>
                    <a:pt x="636" y="406"/>
                  </a:lnTo>
                  <a:lnTo>
                    <a:pt x="630" y="406"/>
                  </a:lnTo>
                  <a:lnTo>
                    <a:pt x="631" y="406"/>
                  </a:lnTo>
                  <a:lnTo>
                    <a:pt x="629" y="406"/>
                  </a:lnTo>
                  <a:lnTo>
                    <a:pt x="623" y="409"/>
                  </a:lnTo>
                  <a:lnTo>
                    <a:pt x="623" y="407"/>
                  </a:lnTo>
                  <a:lnTo>
                    <a:pt x="621" y="410"/>
                  </a:lnTo>
                  <a:lnTo>
                    <a:pt x="618" y="410"/>
                  </a:lnTo>
                  <a:lnTo>
                    <a:pt x="619" y="407"/>
                  </a:lnTo>
                  <a:lnTo>
                    <a:pt x="622" y="404"/>
                  </a:lnTo>
                  <a:lnTo>
                    <a:pt x="623" y="400"/>
                  </a:lnTo>
                  <a:lnTo>
                    <a:pt x="622" y="399"/>
                  </a:lnTo>
                  <a:lnTo>
                    <a:pt x="621" y="398"/>
                  </a:lnTo>
                  <a:lnTo>
                    <a:pt x="619" y="399"/>
                  </a:lnTo>
                  <a:lnTo>
                    <a:pt x="617" y="401"/>
                  </a:lnTo>
                  <a:lnTo>
                    <a:pt x="613" y="399"/>
                  </a:lnTo>
                  <a:lnTo>
                    <a:pt x="615" y="397"/>
                  </a:lnTo>
                  <a:lnTo>
                    <a:pt x="619" y="395"/>
                  </a:lnTo>
                  <a:lnTo>
                    <a:pt x="621" y="394"/>
                  </a:lnTo>
                  <a:lnTo>
                    <a:pt x="624" y="393"/>
                  </a:lnTo>
                  <a:lnTo>
                    <a:pt x="625" y="391"/>
                  </a:lnTo>
                  <a:lnTo>
                    <a:pt x="625" y="388"/>
                  </a:lnTo>
                  <a:lnTo>
                    <a:pt x="628" y="386"/>
                  </a:lnTo>
                  <a:lnTo>
                    <a:pt x="629" y="386"/>
                  </a:lnTo>
                  <a:lnTo>
                    <a:pt x="630" y="389"/>
                  </a:lnTo>
                  <a:lnTo>
                    <a:pt x="634" y="389"/>
                  </a:lnTo>
                  <a:lnTo>
                    <a:pt x="637" y="389"/>
                  </a:lnTo>
                  <a:lnTo>
                    <a:pt x="639" y="387"/>
                  </a:lnTo>
                  <a:lnTo>
                    <a:pt x="640" y="383"/>
                  </a:lnTo>
                  <a:lnTo>
                    <a:pt x="637" y="383"/>
                  </a:lnTo>
                  <a:lnTo>
                    <a:pt x="634" y="383"/>
                  </a:lnTo>
                  <a:lnTo>
                    <a:pt x="633" y="383"/>
                  </a:lnTo>
                  <a:lnTo>
                    <a:pt x="630" y="382"/>
                  </a:lnTo>
                  <a:lnTo>
                    <a:pt x="631" y="380"/>
                  </a:lnTo>
                  <a:lnTo>
                    <a:pt x="634" y="379"/>
                  </a:lnTo>
                  <a:lnTo>
                    <a:pt x="634" y="376"/>
                  </a:lnTo>
                  <a:lnTo>
                    <a:pt x="634" y="373"/>
                  </a:lnTo>
                  <a:lnTo>
                    <a:pt x="636" y="376"/>
                  </a:lnTo>
                  <a:lnTo>
                    <a:pt x="637" y="377"/>
                  </a:lnTo>
                  <a:lnTo>
                    <a:pt x="640" y="379"/>
                  </a:lnTo>
                  <a:lnTo>
                    <a:pt x="643" y="381"/>
                  </a:lnTo>
                  <a:lnTo>
                    <a:pt x="648" y="381"/>
                  </a:lnTo>
                  <a:lnTo>
                    <a:pt x="653" y="381"/>
                  </a:lnTo>
                  <a:lnTo>
                    <a:pt x="654" y="379"/>
                  </a:lnTo>
                  <a:lnTo>
                    <a:pt x="655" y="375"/>
                  </a:lnTo>
                  <a:lnTo>
                    <a:pt x="654" y="373"/>
                  </a:lnTo>
                  <a:lnTo>
                    <a:pt x="649" y="375"/>
                  </a:lnTo>
                  <a:lnTo>
                    <a:pt x="646" y="374"/>
                  </a:lnTo>
                  <a:lnTo>
                    <a:pt x="645" y="374"/>
                  </a:lnTo>
                  <a:lnTo>
                    <a:pt x="643" y="373"/>
                  </a:lnTo>
                  <a:lnTo>
                    <a:pt x="642" y="370"/>
                  </a:lnTo>
                  <a:lnTo>
                    <a:pt x="641" y="370"/>
                  </a:lnTo>
                  <a:lnTo>
                    <a:pt x="640" y="374"/>
                  </a:lnTo>
                  <a:lnTo>
                    <a:pt x="639" y="371"/>
                  </a:lnTo>
                  <a:lnTo>
                    <a:pt x="637" y="370"/>
                  </a:lnTo>
                  <a:lnTo>
                    <a:pt x="636" y="368"/>
                  </a:lnTo>
                  <a:lnTo>
                    <a:pt x="635" y="364"/>
                  </a:lnTo>
                  <a:lnTo>
                    <a:pt x="637" y="362"/>
                  </a:lnTo>
                  <a:lnTo>
                    <a:pt x="640" y="361"/>
                  </a:lnTo>
                  <a:lnTo>
                    <a:pt x="642" y="364"/>
                  </a:lnTo>
                  <a:lnTo>
                    <a:pt x="643" y="367"/>
                  </a:lnTo>
                  <a:lnTo>
                    <a:pt x="646" y="370"/>
                  </a:lnTo>
                  <a:lnTo>
                    <a:pt x="649" y="371"/>
                  </a:lnTo>
                  <a:lnTo>
                    <a:pt x="652" y="369"/>
                  </a:lnTo>
                  <a:lnTo>
                    <a:pt x="651" y="368"/>
                  </a:lnTo>
                  <a:lnTo>
                    <a:pt x="651" y="367"/>
                  </a:lnTo>
                  <a:lnTo>
                    <a:pt x="653" y="368"/>
                  </a:lnTo>
                  <a:lnTo>
                    <a:pt x="655" y="369"/>
                  </a:lnTo>
                  <a:lnTo>
                    <a:pt x="660" y="369"/>
                  </a:lnTo>
                  <a:lnTo>
                    <a:pt x="660" y="367"/>
                  </a:lnTo>
                  <a:lnTo>
                    <a:pt x="658" y="365"/>
                  </a:lnTo>
                  <a:lnTo>
                    <a:pt x="655" y="364"/>
                  </a:lnTo>
                  <a:lnTo>
                    <a:pt x="653" y="364"/>
                  </a:lnTo>
                  <a:lnTo>
                    <a:pt x="648" y="363"/>
                  </a:lnTo>
                  <a:lnTo>
                    <a:pt x="648" y="362"/>
                  </a:lnTo>
                  <a:lnTo>
                    <a:pt x="651" y="359"/>
                  </a:lnTo>
                  <a:lnTo>
                    <a:pt x="654" y="359"/>
                  </a:lnTo>
                  <a:lnTo>
                    <a:pt x="658" y="362"/>
                  </a:lnTo>
                  <a:lnTo>
                    <a:pt x="659" y="364"/>
                  </a:lnTo>
                  <a:lnTo>
                    <a:pt x="661" y="369"/>
                  </a:lnTo>
                  <a:lnTo>
                    <a:pt x="664" y="369"/>
                  </a:lnTo>
                  <a:lnTo>
                    <a:pt x="667" y="367"/>
                  </a:lnTo>
                  <a:lnTo>
                    <a:pt x="670" y="367"/>
                  </a:lnTo>
                  <a:lnTo>
                    <a:pt x="671" y="367"/>
                  </a:lnTo>
                  <a:lnTo>
                    <a:pt x="672" y="363"/>
                  </a:lnTo>
                  <a:lnTo>
                    <a:pt x="671" y="363"/>
                  </a:lnTo>
                  <a:lnTo>
                    <a:pt x="670" y="362"/>
                  </a:lnTo>
                  <a:lnTo>
                    <a:pt x="666" y="362"/>
                  </a:lnTo>
                  <a:lnTo>
                    <a:pt x="664" y="362"/>
                  </a:lnTo>
                  <a:lnTo>
                    <a:pt x="661" y="364"/>
                  </a:lnTo>
                  <a:lnTo>
                    <a:pt x="660" y="364"/>
                  </a:lnTo>
                  <a:lnTo>
                    <a:pt x="660" y="362"/>
                  </a:lnTo>
                  <a:lnTo>
                    <a:pt x="661" y="361"/>
                  </a:lnTo>
                  <a:lnTo>
                    <a:pt x="664" y="358"/>
                  </a:lnTo>
                  <a:lnTo>
                    <a:pt x="667" y="357"/>
                  </a:lnTo>
                  <a:lnTo>
                    <a:pt x="667" y="356"/>
                  </a:lnTo>
                  <a:lnTo>
                    <a:pt x="669" y="353"/>
                  </a:lnTo>
                  <a:lnTo>
                    <a:pt x="671" y="352"/>
                  </a:lnTo>
                  <a:lnTo>
                    <a:pt x="675" y="353"/>
                  </a:lnTo>
                  <a:lnTo>
                    <a:pt x="677" y="352"/>
                  </a:lnTo>
                  <a:lnTo>
                    <a:pt x="678" y="350"/>
                  </a:lnTo>
                  <a:lnTo>
                    <a:pt x="678" y="345"/>
                  </a:lnTo>
                  <a:lnTo>
                    <a:pt x="678" y="343"/>
                  </a:lnTo>
                  <a:lnTo>
                    <a:pt x="681" y="343"/>
                  </a:lnTo>
                  <a:lnTo>
                    <a:pt x="684" y="340"/>
                  </a:lnTo>
                  <a:lnTo>
                    <a:pt x="686" y="337"/>
                  </a:lnTo>
                  <a:lnTo>
                    <a:pt x="688" y="334"/>
                  </a:lnTo>
                  <a:lnTo>
                    <a:pt x="687" y="332"/>
                  </a:lnTo>
                  <a:lnTo>
                    <a:pt x="684" y="329"/>
                  </a:lnTo>
                  <a:lnTo>
                    <a:pt x="682" y="331"/>
                  </a:lnTo>
                  <a:lnTo>
                    <a:pt x="680" y="334"/>
                  </a:lnTo>
                  <a:lnTo>
                    <a:pt x="678" y="335"/>
                  </a:lnTo>
                  <a:lnTo>
                    <a:pt x="676" y="338"/>
                  </a:lnTo>
                  <a:lnTo>
                    <a:pt x="676" y="337"/>
                  </a:lnTo>
                  <a:lnTo>
                    <a:pt x="676" y="334"/>
                  </a:lnTo>
                  <a:lnTo>
                    <a:pt x="677" y="333"/>
                  </a:lnTo>
                  <a:lnTo>
                    <a:pt x="676" y="331"/>
                  </a:lnTo>
                  <a:lnTo>
                    <a:pt x="672" y="331"/>
                  </a:lnTo>
                  <a:lnTo>
                    <a:pt x="670" y="329"/>
                  </a:lnTo>
                  <a:lnTo>
                    <a:pt x="670" y="328"/>
                  </a:lnTo>
                  <a:lnTo>
                    <a:pt x="667" y="327"/>
                  </a:lnTo>
                  <a:lnTo>
                    <a:pt x="667" y="325"/>
                  </a:lnTo>
                  <a:lnTo>
                    <a:pt x="665" y="323"/>
                  </a:lnTo>
                  <a:lnTo>
                    <a:pt x="661" y="325"/>
                  </a:lnTo>
                  <a:lnTo>
                    <a:pt x="659" y="327"/>
                  </a:lnTo>
                  <a:lnTo>
                    <a:pt x="655" y="328"/>
                  </a:lnTo>
                  <a:lnTo>
                    <a:pt x="652" y="328"/>
                  </a:lnTo>
                  <a:lnTo>
                    <a:pt x="651" y="326"/>
                  </a:lnTo>
                  <a:lnTo>
                    <a:pt x="649" y="328"/>
                  </a:lnTo>
                  <a:lnTo>
                    <a:pt x="646" y="328"/>
                  </a:lnTo>
                  <a:lnTo>
                    <a:pt x="643" y="327"/>
                  </a:lnTo>
                  <a:lnTo>
                    <a:pt x="641" y="326"/>
                  </a:lnTo>
                  <a:lnTo>
                    <a:pt x="640" y="323"/>
                  </a:lnTo>
                  <a:lnTo>
                    <a:pt x="637" y="323"/>
                  </a:lnTo>
                  <a:lnTo>
                    <a:pt x="637" y="328"/>
                  </a:lnTo>
                  <a:lnTo>
                    <a:pt x="635" y="327"/>
                  </a:lnTo>
                  <a:lnTo>
                    <a:pt x="633" y="327"/>
                  </a:lnTo>
                  <a:lnTo>
                    <a:pt x="631" y="328"/>
                  </a:lnTo>
                  <a:lnTo>
                    <a:pt x="628" y="328"/>
                  </a:lnTo>
                  <a:lnTo>
                    <a:pt x="624" y="326"/>
                  </a:lnTo>
                  <a:lnTo>
                    <a:pt x="622" y="326"/>
                  </a:lnTo>
                  <a:lnTo>
                    <a:pt x="622" y="323"/>
                  </a:lnTo>
                  <a:lnTo>
                    <a:pt x="623" y="321"/>
                  </a:lnTo>
                  <a:lnTo>
                    <a:pt x="621" y="320"/>
                  </a:lnTo>
                  <a:lnTo>
                    <a:pt x="618" y="321"/>
                  </a:lnTo>
                  <a:lnTo>
                    <a:pt x="615" y="321"/>
                  </a:lnTo>
                  <a:lnTo>
                    <a:pt x="611" y="319"/>
                  </a:lnTo>
                  <a:lnTo>
                    <a:pt x="608" y="321"/>
                  </a:lnTo>
                  <a:lnTo>
                    <a:pt x="607" y="321"/>
                  </a:lnTo>
                  <a:lnTo>
                    <a:pt x="605" y="319"/>
                  </a:lnTo>
                  <a:lnTo>
                    <a:pt x="604" y="314"/>
                  </a:lnTo>
                  <a:lnTo>
                    <a:pt x="601" y="315"/>
                  </a:lnTo>
                  <a:lnTo>
                    <a:pt x="601" y="317"/>
                  </a:lnTo>
                  <a:lnTo>
                    <a:pt x="599" y="319"/>
                  </a:lnTo>
                  <a:lnTo>
                    <a:pt x="596" y="317"/>
                  </a:lnTo>
                  <a:lnTo>
                    <a:pt x="594" y="320"/>
                  </a:lnTo>
                  <a:lnTo>
                    <a:pt x="593" y="319"/>
                  </a:lnTo>
                  <a:lnTo>
                    <a:pt x="593" y="315"/>
                  </a:lnTo>
                  <a:lnTo>
                    <a:pt x="594" y="314"/>
                  </a:lnTo>
                  <a:lnTo>
                    <a:pt x="594" y="311"/>
                  </a:lnTo>
                  <a:lnTo>
                    <a:pt x="593" y="311"/>
                  </a:lnTo>
                  <a:lnTo>
                    <a:pt x="588" y="312"/>
                  </a:lnTo>
                  <a:lnTo>
                    <a:pt x="587" y="312"/>
                  </a:lnTo>
                  <a:lnTo>
                    <a:pt x="588" y="309"/>
                  </a:lnTo>
                  <a:lnTo>
                    <a:pt x="592" y="306"/>
                  </a:lnTo>
                  <a:lnTo>
                    <a:pt x="593" y="308"/>
                  </a:lnTo>
                  <a:lnTo>
                    <a:pt x="595" y="309"/>
                  </a:lnTo>
                  <a:lnTo>
                    <a:pt x="596" y="310"/>
                  </a:lnTo>
                  <a:lnTo>
                    <a:pt x="600" y="309"/>
                  </a:lnTo>
                  <a:lnTo>
                    <a:pt x="600" y="306"/>
                  </a:lnTo>
                  <a:lnTo>
                    <a:pt x="600" y="305"/>
                  </a:lnTo>
                  <a:lnTo>
                    <a:pt x="598" y="304"/>
                  </a:lnTo>
                  <a:lnTo>
                    <a:pt x="596" y="303"/>
                  </a:lnTo>
                  <a:lnTo>
                    <a:pt x="598" y="302"/>
                  </a:lnTo>
                  <a:lnTo>
                    <a:pt x="600" y="302"/>
                  </a:lnTo>
                  <a:lnTo>
                    <a:pt x="602" y="300"/>
                  </a:lnTo>
                  <a:lnTo>
                    <a:pt x="605" y="300"/>
                  </a:lnTo>
                  <a:lnTo>
                    <a:pt x="606" y="303"/>
                  </a:lnTo>
                  <a:lnTo>
                    <a:pt x="608" y="304"/>
                  </a:lnTo>
                  <a:lnTo>
                    <a:pt x="610" y="304"/>
                  </a:lnTo>
                  <a:lnTo>
                    <a:pt x="615" y="303"/>
                  </a:lnTo>
                  <a:lnTo>
                    <a:pt x="615" y="300"/>
                  </a:lnTo>
                  <a:lnTo>
                    <a:pt x="616" y="298"/>
                  </a:lnTo>
                  <a:lnTo>
                    <a:pt x="617" y="298"/>
                  </a:lnTo>
                  <a:lnTo>
                    <a:pt x="619" y="297"/>
                  </a:lnTo>
                  <a:lnTo>
                    <a:pt x="622" y="298"/>
                  </a:lnTo>
                  <a:lnTo>
                    <a:pt x="624" y="296"/>
                  </a:lnTo>
                  <a:lnTo>
                    <a:pt x="627" y="293"/>
                  </a:lnTo>
                  <a:lnTo>
                    <a:pt x="627" y="292"/>
                  </a:lnTo>
                  <a:lnTo>
                    <a:pt x="625" y="290"/>
                  </a:lnTo>
                  <a:lnTo>
                    <a:pt x="624" y="288"/>
                  </a:lnTo>
                  <a:lnTo>
                    <a:pt x="622" y="287"/>
                  </a:lnTo>
                  <a:lnTo>
                    <a:pt x="621" y="290"/>
                  </a:lnTo>
                  <a:lnTo>
                    <a:pt x="618" y="291"/>
                  </a:lnTo>
                  <a:lnTo>
                    <a:pt x="616" y="292"/>
                  </a:lnTo>
                  <a:lnTo>
                    <a:pt x="613" y="291"/>
                  </a:lnTo>
                  <a:lnTo>
                    <a:pt x="611" y="288"/>
                  </a:lnTo>
                  <a:lnTo>
                    <a:pt x="610" y="288"/>
                  </a:lnTo>
                  <a:lnTo>
                    <a:pt x="607" y="291"/>
                  </a:lnTo>
                  <a:lnTo>
                    <a:pt x="605" y="290"/>
                  </a:lnTo>
                  <a:lnTo>
                    <a:pt x="604" y="287"/>
                  </a:lnTo>
                  <a:lnTo>
                    <a:pt x="601" y="287"/>
                  </a:lnTo>
                  <a:lnTo>
                    <a:pt x="599" y="290"/>
                  </a:lnTo>
                  <a:lnTo>
                    <a:pt x="598" y="290"/>
                  </a:lnTo>
                  <a:lnTo>
                    <a:pt x="596" y="287"/>
                  </a:lnTo>
                  <a:lnTo>
                    <a:pt x="600" y="286"/>
                  </a:lnTo>
                  <a:lnTo>
                    <a:pt x="600" y="284"/>
                  </a:lnTo>
                  <a:lnTo>
                    <a:pt x="598" y="281"/>
                  </a:lnTo>
                  <a:lnTo>
                    <a:pt x="595" y="280"/>
                  </a:lnTo>
                  <a:lnTo>
                    <a:pt x="595" y="279"/>
                  </a:lnTo>
                  <a:lnTo>
                    <a:pt x="596" y="278"/>
                  </a:lnTo>
                  <a:lnTo>
                    <a:pt x="600" y="275"/>
                  </a:lnTo>
                  <a:lnTo>
                    <a:pt x="605" y="274"/>
                  </a:lnTo>
                  <a:lnTo>
                    <a:pt x="605" y="272"/>
                  </a:lnTo>
                  <a:lnTo>
                    <a:pt x="605" y="267"/>
                  </a:lnTo>
                  <a:lnTo>
                    <a:pt x="602" y="267"/>
                  </a:lnTo>
                  <a:lnTo>
                    <a:pt x="600" y="266"/>
                  </a:lnTo>
                  <a:lnTo>
                    <a:pt x="601" y="263"/>
                  </a:lnTo>
                  <a:lnTo>
                    <a:pt x="602" y="261"/>
                  </a:lnTo>
                  <a:lnTo>
                    <a:pt x="605" y="261"/>
                  </a:lnTo>
                  <a:lnTo>
                    <a:pt x="610" y="260"/>
                  </a:lnTo>
                  <a:lnTo>
                    <a:pt x="612" y="258"/>
                  </a:lnTo>
                  <a:lnTo>
                    <a:pt x="615" y="256"/>
                  </a:lnTo>
                  <a:lnTo>
                    <a:pt x="617" y="256"/>
                  </a:lnTo>
                  <a:lnTo>
                    <a:pt x="618" y="255"/>
                  </a:lnTo>
                  <a:lnTo>
                    <a:pt x="617" y="252"/>
                  </a:lnTo>
                  <a:lnTo>
                    <a:pt x="616" y="250"/>
                  </a:lnTo>
                  <a:lnTo>
                    <a:pt x="616" y="248"/>
                  </a:lnTo>
                  <a:lnTo>
                    <a:pt x="615" y="246"/>
                  </a:lnTo>
                  <a:lnTo>
                    <a:pt x="612" y="245"/>
                  </a:lnTo>
                  <a:lnTo>
                    <a:pt x="611" y="246"/>
                  </a:lnTo>
                  <a:lnTo>
                    <a:pt x="610" y="248"/>
                  </a:lnTo>
                  <a:lnTo>
                    <a:pt x="608" y="249"/>
                  </a:lnTo>
                  <a:lnTo>
                    <a:pt x="607" y="250"/>
                  </a:lnTo>
                  <a:lnTo>
                    <a:pt x="605" y="250"/>
                  </a:lnTo>
                  <a:lnTo>
                    <a:pt x="601" y="249"/>
                  </a:lnTo>
                  <a:lnTo>
                    <a:pt x="601" y="246"/>
                  </a:lnTo>
                  <a:lnTo>
                    <a:pt x="602" y="245"/>
                  </a:lnTo>
                  <a:lnTo>
                    <a:pt x="601" y="243"/>
                  </a:lnTo>
                  <a:lnTo>
                    <a:pt x="600" y="244"/>
                  </a:lnTo>
                  <a:lnTo>
                    <a:pt x="598" y="245"/>
                  </a:lnTo>
                  <a:lnTo>
                    <a:pt x="596" y="246"/>
                  </a:lnTo>
                  <a:lnTo>
                    <a:pt x="593" y="245"/>
                  </a:lnTo>
                  <a:lnTo>
                    <a:pt x="590" y="244"/>
                  </a:lnTo>
                  <a:lnTo>
                    <a:pt x="590" y="242"/>
                  </a:lnTo>
                  <a:lnTo>
                    <a:pt x="588" y="240"/>
                  </a:lnTo>
                  <a:lnTo>
                    <a:pt x="587" y="240"/>
                  </a:lnTo>
                  <a:lnTo>
                    <a:pt x="586" y="239"/>
                  </a:lnTo>
                  <a:lnTo>
                    <a:pt x="584" y="240"/>
                  </a:lnTo>
                  <a:lnTo>
                    <a:pt x="583" y="243"/>
                  </a:lnTo>
                  <a:lnTo>
                    <a:pt x="582" y="243"/>
                  </a:lnTo>
                  <a:lnTo>
                    <a:pt x="582" y="239"/>
                  </a:lnTo>
                  <a:lnTo>
                    <a:pt x="582" y="238"/>
                  </a:lnTo>
                  <a:lnTo>
                    <a:pt x="580" y="240"/>
                  </a:lnTo>
                  <a:lnTo>
                    <a:pt x="577" y="242"/>
                  </a:lnTo>
                  <a:lnTo>
                    <a:pt x="576" y="239"/>
                  </a:lnTo>
                  <a:lnTo>
                    <a:pt x="577" y="237"/>
                  </a:lnTo>
                  <a:lnTo>
                    <a:pt x="576" y="236"/>
                  </a:lnTo>
                  <a:lnTo>
                    <a:pt x="574" y="236"/>
                  </a:lnTo>
                  <a:lnTo>
                    <a:pt x="572" y="237"/>
                  </a:lnTo>
                  <a:lnTo>
                    <a:pt x="570" y="236"/>
                  </a:lnTo>
                  <a:lnTo>
                    <a:pt x="568" y="234"/>
                  </a:lnTo>
                  <a:lnTo>
                    <a:pt x="571" y="234"/>
                  </a:lnTo>
                  <a:lnTo>
                    <a:pt x="572" y="233"/>
                  </a:lnTo>
                  <a:lnTo>
                    <a:pt x="571" y="231"/>
                  </a:lnTo>
                  <a:lnTo>
                    <a:pt x="571" y="230"/>
                  </a:lnTo>
                  <a:lnTo>
                    <a:pt x="571" y="226"/>
                  </a:lnTo>
                  <a:lnTo>
                    <a:pt x="574" y="225"/>
                  </a:lnTo>
                  <a:lnTo>
                    <a:pt x="572" y="230"/>
                  </a:lnTo>
                  <a:lnTo>
                    <a:pt x="574" y="231"/>
                  </a:lnTo>
                  <a:lnTo>
                    <a:pt x="575" y="231"/>
                  </a:lnTo>
                  <a:lnTo>
                    <a:pt x="576" y="234"/>
                  </a:lnTo>
                  <a:lnTo>
                    <a:pt x="577" y="234"/>
                  </a:lnTo>
                  <a:lnTo>
                    <a:pt x="580" y="232"/>
                  </a:lnTo>
                  <a:lnTo>
                    <a:pt x="581" y="231"/>
                  </a:lnTo>
                  <a:lnTo>
                    <a:pt x="580" y="228"/>
                  </a:lnTo>
                  <a:lnTo>
                    <a:pt x="577" y="225"/>
                  </a:lnTo>
                  <a:lnTo>
                    <a:pt x="580" y="225"/>
                  </a:lnTo>
                  <a:lnTo>
                    <a:pt x="582" y="231"/>
                  </a:lnTo>
                  <a:lnTo>
                    <a:pt x="583" y="230"/>
                  </a:lnTo>
                  <a:lnTo>
                    <a:pt x="584" y="232"/>
                  </a:lnTo>
                  <a:lnTo>
                    <a:pt x="584" y="234"/>
                  </a:lnTo>
                  <a:lnTo>
                    <a:pt x="586" y="236"/>
                  </a:lnTo>
                  <a:lnTo>
                    <a:pt x="589" y="237"/>
                  </a:lnTo>
                  <a:lnTo>
                    <a:pt x="590" y="237"/>
                  </a:lnTo>
                  <a:lnTo>
                    <a:pt x="593" y="236"/>
                  </a:lnTo>
                  <a:lnTo>
                    <a:pt x="593" y="234"/>
                  </a:lnTo>
                  <a:lnTo>
                    <a:pt x="593" y="233"/>
                  </a:lnTo>
                  <a:lnTo>
                    <a:pt x="590" y="232"/>
                  </a:lnTo>
                  <a:lnTo>
                    <a:pt x="590" y="231"/>
                  </a:lnTo>
                  <a:lnTo>
                    <a:pt x="590" y="227"/>
                  </a:lnTo>
                  <a:lnTo>
                    <a:pt x="587" y="227"/>
                  </a:lnTo>
                  <a:lnTo>
                    <a:pt x="587" y="226"/>
                  </a:lnTo>
                  <a:lnTo>
                    <a:pt x="586" y="225"/>
                  </a:lnTo>
                  <a:lnTo>
                    <a:pt x="584" y="224"/>
                  </a:lnTo>
                  <a:lnTo>
                    <a:pt x="583" y="224"/>
                  </a:lnTo>
                  <a:lnTo>
                    <a:pt x="581" y="221"/>
                  </a:lnTo>
                  <a:lnTo>
                    <a:pt x="582" y="219"/>
                  </a:lnTo>
                  <a:lnTo>
                    <a:pt x="583" y="216"/>
                  </a:lnTo>
                  <a:lnTo>
                    <a:pt x="584" y="218"/>
                  </a:lnTo>
                  <a:lnTo>
                    <a:pt x="584" y="221"/>
                  </a:lnTo>
                  <a:lnTo>
                    <a:pt x="584" y="222"/>
                  </a:lnTo>
                  <a:lnTo>
                    <a:pt x="587" y="224"/>
                  </a:lnTo>
                  <a:lnTo>
                    <a:pt x="593" y="221"/>
                  </a:lnTo>
                  <a:lnTo>
                    <a:pt x="590" y="221"/>
                  </a:lnTo>
                  <a:lnTo>
                    <a:pt x="589" y="220"/>
                  </a:lnTo>
                  <a:lnTo>
                    <a:pt x="593" y="219"/>
                  </a:lnTo>
                  <a:lnTo>
                    <a:pt x="594" y="221"/>
                  </a:lnTo>
                  <a:lnTo>
                    <a:pt x="593" y="224"/>
                  </a:lnTo>
                  <a:lnTo>
                    <a:pt x="596" y="225"/>
                  </a:lnTo>
                  <a:lnTo>
                    <a:pt x="598" y="224"/>
                  </a:lnTo>
                  <a:lnTo>
                    <a:pt x="599" y="224"/>
                  </a:lnTo>
                  <a:lnTo>
                    <a:pt x="600" y="221"/>
                  </a:lnTo>
                  <a:lnTo>
                    <a:pt x="601" y="222"/>
                  </a:lnTo>
                  <a:lnTo>
                    <a:pt x="605" y="222"/>
                  </a:lnTo>
                  <a:lnTo>
                    <a:pt x="607" y="222"/>
                  </a:lnTo>
                  <a:lnTo>
                    <a:pt x="610" y="221"/>
                  </a:lnTo>
                  <a:lnTo>
                    <a:pt x="612" y="221"/>
                  </a:lnTo>
                  <a:lnTo>
                    <a:pt x="613" y="225"/>
                  </a:lnTo>
                  <a:lnTo>
                    <a:pt x="618" y="227"/>
                  </a:lnTo>
                  <a:lnTo>
                    <a:pt x="619" y="228"/>
                  </a:lnTo>
                  <a:lnTo>
                    <a:pt x="622" y="226"/>
                  </a:lnTo>
                  <a:lnTo>
                    <a:pt x="627" y="222"/>
                  </a:lnTo>
                  <a:lnTo>
                    <a:pt x="628" y="220"/>
                  </a:lnTo>
                  <a:lnTo>
                    <a:pt x="629" y="218"/>
                  </a:lnTo>
                  <a:lnTo>
                    <a:pt x="625" y="216"/>
                  </a:lnTo>
                  <a:lnTo>
                    <a:pt x="628" y="214"/>
                  </a:lnTo>
                  <a:lnTo>
                    <a:pt x="630" y="213"/>
                  </a:lnTo>
                  <a:lnTo>
                    <a:pt x="631" y="210"/>
                  </a:lnTo>
                  <a:lnTo>
                    <a:pt x="634" y="209"/>
                  </a:lnTo>
                  <a:lnTo>
                    <a:pt x="635" y="208"/>
                  </a:lnTo>
                  <a:lnTo>
                    <a:pt x="640" y="207"/>
                  </a:lnTo>
                  <a:lnTo>
                    <a:pt x="642" y="205"/>
                  </a:lnTo>
                  <a:lnTo>
                    <a:pt x="643" y="203"/>
                  </a:lnTo>
                  <a:lnTo>
                    <a:pt x="647" y="201"/>
                  </a:lnTo>
                  <a:lnTo>
                    <a:pt x="649" y="196"/>
                  </a:lnTo>
                  <a:lnTo>
                    <a:pt x="651" y="195"/>
                  </a:lnTo>
                  <a:lnTo>
                    <a:pt x="651" y="193"/>
                  </a:lnTo>
                  <a:lnTo>
                    <a:pt x="649" y="192"/>
                  </a:lnTo>
                  <a:lnTo>
                    <a:pt x="643" y="192"/>
                  </a:lnTo>
                  <a:lnTo>
                    <a:pt x="641" y="193"/>
                  </a:lnTo>
                  <a:lnTo>
                    <a:pt x="637" y="192"/>
                  </a:lnTo>
                  <a:lnTo>
                    <a:pt x="634" y="195"/>
                  </a:lnTo>
                  <a:lnTo>
                    <a:pt x="629" y="193"/>
                  </a:lnTo>
                  <a:lnTo>
                    <a:pt x="634" y="192"/>
                  </a:lnTo>
                  <a:lnTo>
                    <a:pt x="635" y="190"/>
                  </a:lnTo>
                  <a:lnTo>
                    <a:pt x="634" y="189"/>
                  </a:lnTo>
                  <a:lnTo>
                    <a:pt x="631" y="187"/>
                  </a:lnTo>
                  <a:lnTo>
                    <a:pt x="634" y="184"/>
                  </a:lnTo>
                  <a:lnTo>
                    <a:pt x="637" y="183"/>
                  </a:lnTo>
                  <a:lnTo>
                    <a:pt x="637" y="178"/>
                  </a:lnTo>
                  <a:lnTo>
                    <a:pt x="635" y="177"/>
                  </a:lnTo>
                  <a:lnTo>
                    <a:pt x="634" y="177"/>
                  </a:lnTo>
                  <a:lnTo>
                    <a:pt x="631" y="180"/>
                  </a:lnTo>
                  <a:lnTo>
                    <a:pt x="629" y="181"/>
                  </a:lnTo>
                  <a:lnTo>
                    <a:pt x="628" y="179"/>
                  </a:lnTo>
                  <a:lnTo>
                    <a:pt x="625" y="181"/>
                  </a:lnTo>
                  <a:lnTo>
                    <a:pt x="623" y="183"/>
                  </a:lnTo>
                  <a:lnTo>
                    <a:pt x="624" y="180"/>
                  </a:lnTo>
                  <a:lnTo>
                    <a:pt x="625" y="177"/>
                  </a:lnTo>
                  <a:lnTo>
                    <a:pt x="628" y="178"/>
                  </a:lnTo>
                  <a:lnTo>
                    <a:pt x="629" y="177"/>
                  </a:lnTo>
                  <a:lnTo>
                    <a:pt x="630" y="175"/>
                  </a:lnTo>
                  <a:lnTo>
                    <a:pt x="631" y="177"/>
                  </a:lnTo>
                  <a:lnTo>
                    <a:pt x="634" y="175"/>
                  </a:lnTo>
                  <a:lnTo>
                    <a:pt x="634" y="172"/>
                  </a:lnTo>
                  <a:lnTo>
                    <a:pt x="631" y="171"/>
                  </a:lnTo>
                  <a:lnTo>
                    <a:pt x="629" y="169"/>
                  </a:lnTo>
                  <a:lnTo>
                    <a:pt x="627" y="171"/>
                  </a:lnTo>
                  <a:lnTo>
                    <a:pt x="624" y="172"/>
                  </a:lnTo>
                  <a:lnTo>
                    <a:pt x="623" y="172"/>
                  </a:lnTo>
                  <a:lnTo>
                    <a:pt x="624" y="171"/>
                  </a:lnTo>
                  <a:lnTo>
                    <a:pt x="631" y="167"/>
                  </a:lnTo>
                  <a:lnTo>
                    <a:pt x="633" y="167"/>
                  </a:lnTo>
                  <a:lnTo>
                    <a:pt x="635" y="165"/>
                  </a:lnTo>
                  <a:lnTo>
                    <a:pt x="636" y="162"/>
                  </a:lnTo>
                  <a:lnTo>
                    <a:pt x="637" y="160"/>
                  </a:lnTo>
                  <a:lnTo>
                    <a:pt x="639" y="157"/>
                  </a:lnTo>
                  <a:lnTo>
                    <a:pt x="636" y="155"/>
                  </a:lnTo>
                  <a:lnTo>
                    <a:pt x="634" y="155"/>
                  </a:lnTo>
                  <a:lnTo>
                    <a:pt x="634" y="157"/>
                  </a:lnTo>
                  <a:lnTo>
                    <a:pt x="631" y="157"/>
                  </a:lnTo>
                  <a:lnTo>
                    <a:pt x="630" y="157"/>
                  </a:lnTo>
                  <a:lnTo>
                    <a:pt x="628" y="159"/>
                  </a:lnTo>
                  <a:lnTo>
                    <a:pt x="625" y="161"/>
                  </a:lnTo>
                  <a:lnTo>
                    <a:pt x="624" y="160"/>
                  </a:lnTo>
                  <a:lnTo>
                    <a:pt x="619" y="161"/>
                  </a:lnTo>
                  <a:lnTo>
                    <a:pt x="618" y="165"/>
                  </a:lnTo>
                  <a:lnTo>
                    <a:pt x="616" y="163"/>
                  </a:lnTo>
                  <a:lnTo>
                    <a:pt x="616" y="162"/>
                  </a:lnTo>
                  <a:lnTo>
                    <a:pt x="617" y="160"/>
                  </a:lnTo>
                  <a:lnTo>
                    <a:pt x="618" y="159"/>
                  </a:lnTo>
                  <a:lnTo>
                    <a:pt x="623" y="159"/>
                  </a:lnTo>
                  <a:lnTo>
                    <a:pt x="628" y="157"/>
                  </a:lnTo>
                  <a:lnTo>
                    <a:pt x="629" y="155"/>
                  </a:lnTo>
                  <a:lnTo>
                    <a:pt x="630" y="150"/>
                  </a:lnTo>
                  <a:lnTo>
                    <a:pt x="633" y="148"/>
                  </a:lnTo>
                  <a:lnTo>
                    <a:pt x="631" y="143"/>
                  </a:lnTo>
                  <a:lnTo>
                    <a:pt x="631" y="141"/>
                  </a:lnTo>
                  <a:lnTo>
                    <a:pt x="629" y="138"/>
                  </a:lnTo>
                  <a:lnTo>
                    <a:pt x="628" y="138"/>
                  </a:lnTo>
                  <a:lnTo>
                    <a:pt x="627" y="138"/>
                  </a:lnTo>
                  <a:lnTo>
                    <a:pt x="624" y="138"/>
                  </a:lnTo>
                  <a:lnTo>
                    <a:pt x="624" y="141"/>
                  </a:lnTo>
                  <a:lnTo>
                    <a:pt x="625" y="144"/>
                  </a:lnTo>
                  <a:lnTo>
                    <a:pt x="623" y="147"/>
                  </a:lnTo>
                  <a:lnTo>
                    <a:pt x="622" y="149"/>
                  </a:lnTo>
                  <a:lnTo>
                    <a:pt x="621" y="150"/>
                  </a:lnTo>
                  <a:lnTo>
                    <a:pt x="618" y="149"/>
                  </a:lnTo>
                  <a:lnTo>
                    <a:pt x="615" y="148"/>
                  </a:lnTo>
                  <a:lnTo>
                    <a:pt x="612" y="148"/>
                  </a:lnTo>
                  <a:lnTo>
                    <a:pt x="608" y="149"/>
                  </a:lnTo>
                  <a:lnTo>
                    <a:pt x="610" y="153"/>
                  </a:lnTo>
                  <a:lnTo>
                    <a:pt x="610" y="156"/>
                  </a:lnTo>
                  <a:lnTo>
                    <a:pt x="612" y="162"/>
                  </a:lnTo>
                  <a:lnTo>
                    <a:pt x="610" y="161"/>
                  </a:lnTo>
                  <a:lnTo>
                    <a:pt x="608" y="159"/>
                  </a:lnTo>
                  <a:lnTo>
                    <a:pt x="607" y="154"/>
                  </a:lnTo>
                  <a:lnTo>
                    <a:pt x="604" y="151"/>
                  </a:lnTo>
                  <a:lnTo>
                    <a:pt x="600" y="151"/>
                  </a:lnTo>
                  <a:lnTo>
                    <a:pt x="598" y="154"/>
                  </a:lnTo>
                  <a:lnTo>
                    <a:pt x="599" y="156"/>
                  </a:lnTo>
                  <a:lnTo>
                    <a:pt x="596" y="157"/>
                  </a:lnTo>
                  <a:lnTo>
                    <a:pt x="594" y="160"/>
                  </a:lnTo>
                  <a:lnTo>
                    <a:pt x="594" y="162"/>
                  </a:lnTo>
                  <a:lnTo>
                    <a:pt x="594" y="165"/>
                  </a:lnTo>
                  <a:lnTo>
                    <a:pt x="594" y="166"/>
                  </a:lnTo>
                  <a:lnTo>
                    <a:pt x="593" y="165"/>
                  </a:lnTo>
                  <a:lnTo>
                    <a:pt x="592" y="161"/>
                  </a:lnTo>
                  <a:lnTo>
                    <a:pt x="589" y="163"/>
                  </a:lnTo>
                  <a:lnTo>
                    <a:pt x="586" y="163"/>
                  </a:lnTo>
                  <a:lnTo>
                    <a:pt x="583" y="167"/>
                  </a:lnTo>
                  <a:lnTo>
                    <a:pt x="582" y="169"/>
                  </a:lnTo>
                  <a:lnTo>
                    <a:pt x="580" y="169"/>
                  </a:lnTo>
                  <a:lnTo>
                    <a:pt x="577" y="168"/>
                  </a:lnTo>
                  <a:lnTo>
                    <a:pt x="576" y="168"/>
                  </a:lnTo>
                  <a:lnTo>
                    <a:pt x="575" y="165"/>
                  </a:lnTo>
                  <a:lnTo>
                    <a:pt x="574" y="162"/>
                  </a:lnTo>
                  <a:lnTo>
                    <a:pt x="570" y="161"/>
                  </a:lnTo>
                  <a:lnTo>
                    <a:pt x="565" y="160"/>
                  </a:lnTo>
                  <a:lnTo>
                    <a:pt x="566" y="159"/>
                  </a:lnTo>
                  <a:lnTo>
                    <a:pt x="570" y="161"/>
                  </a:lnTo>
                  <a:lnTo>
                    <a:pt x="571" y="159"/>
                  </a:lnTo>
                  <a:lnTo>
                    <a:pt x="572" y="156"/>
                  </a:lnTo>
                  <a:lnTo>
                    <a:pt x="576" y="154"/>
                  </a:lnTo>
                  <a:lnTo>
                    <a:pt x="577" y="153"/>
                  </a:lnTo>
                  <a:lnTo>
                    <a:pt x="576" y="149"/>
                  </a:lnTo>
                  <a:lnTo>
                    <a:pt x="575" y="147"/>
                  </a:lnTo>
                  <a:lnTo>
                    <a:pt x="576" y="148"/>
                  </a:lnTo>
                  <a:lnTo>
                    <a:pt x="577" y="147"/>
                  </a:lnTo>
                  <a:lnTo>
                    <a:pt x="577" y="142"/>
                  </a:lnTo>
                  <a:lnTo>
                    <a:pt x="578" y="139"/>
                  </a:lnTo>
                  <a:lnTo>
                    <a:pt x="582" y="136"/>
                  </a:lnTo>
                  <a:lnTo>
                    <a:pt x="587" y="135"/>
                  </a:lnTo>
                  <a:lnTo>
                    <a:pt x="589" y="137"/>
                  </a:lnTo>
                  <a:lnTo>
                    <a:pt x="588" y="139"/>
                  </a:lnTo>
                  <a:lnTo>
                    <a:pt x="588" y="138"/>
                  </a:lnTo>
                  <a:lnTo>
                    <a:pt x="586" y="138"/>
                  </a:lnTo>
                  <a:lnTo>
                    <a:pt x="581" y="141"/>
                  </a:lnTo>
                  <a:lnTo>
                    <a:pt x="578" y="144"/>
                  </a:lnTo>
                  <a:lnTo>
                    <a:pt x="580" y="148"/>
                  </a:lnTo>
                  <a:lnTo>
                    <a:pt x="583" y="150"/>
                  </a:lnTo>
                  <a:lnTo>
                    <a:pt x="587" y="151"/>
                  </a:lnTo>
                  <a:lnTo>
                    <a:pt x="588" y="149"/>
                  </a:lnTo>
                  <a:lnTo>
                    <a:pt x="590" y="150"/>
                  </a:lnTo>
                  <a:lnTo>
                    <a:pt x="593" y="149"/>
                  </a:lnTo>
                  <a:lnTo>
                    <a:pt x="593" y="148"/>
                  </a:lnTo>
                  <a:lnTo>
                    <a:pt x="596" y="149"/>
                  </a:lnTo>
                  <a:lnTo>
                    <a:pt x="598" y="147"/>
                  </a:lnTo>
                  <a:lnTo>
                    <a:pt x="600" y="145"/>
                  </a:lnTo>
                  <a:lnTo>
                    <a:pt x="601" y="143"/>
                  </a:lnTo>
                  <a:lnTo>
                    <a:pt x="599" y="142"/>
                  </a:lnTo>
                  <a:lnTo>
                    <a:pt x="598" y="139"/>
                  </a:lnTo>
                  <a:lnTo>
                    <a:pt x="599" y="138"/>
                  </a:lnTo>
                  <a:lnTo>
                    <a:pt x="602" y="135"/>
                  </a:lnTo>
                  <a:lnTo>
                    <a:pt x="602" y="139"/>
                  </a:lnTo>
                  <a:lnTo>
                    <a:pt x="606" y="138"/>
                  </a:lnTo>
                  <a:lnTo>
                    <a:pt x="606" y="136"/>
                  </a:lnTo>
                  <a:lnTo>
                    <a:pt x="608" y="135"/>
                  </a:lnTo>
                  <a:lnTo>
                    <a:pt x="612" y="133"/>
                  </a:lnTo>
                  <a:lnTo>
                    <a:pt x="615" y="132"/>
                  </a:lnTo>
                  <a:lnTo>
                    <a:pt x="612" y="131"/>
                  </a:lnTo>
                  <a:lnTo>
                    <a:pt x="611" y="130"/>
                  </a:lnTo>
                  <a:lnTo>
                    <a:pt x="611" y="127"/>
                  </a:lnTo>
                  <a:lnTo>
                    <a:pt x="612" y="126"/>
                  </a:lnTo>
                  <a:lnTo>
                    <a:pt x="613" y="125"/>
                  </a:lnTo>
                  <a:lnTo>
                    <a:pt x="613" y="123"/>
                  </a:lnTo>
                  <a:lnTo>
                    <a:pt x="611" y="121"/>
                  </a:lnTo>
                  <a:lnTo>
                    <a:pt x="610" y="121"/>
                  </a:lnTo>
                  <a:lnTo>
                    <a:pt x="610" y="118"/>
                  </a:lnTo>
                  <a:lnTo>
                    <a:pt x="607" y="118"/>
                  </a:lnTo>
                  <a:lnTo>
                    <a:pt x="607" y="120"/>
                  </a:lnTo>
                  <a:lnTo>
                    <a:pt x="607" y="124"/>
                  </a:lnTo>
                  <a:lnTo>
                    <a:pt x="605" y="123"/>
                  </a:lnTo>
                  <a:lnTo>
                    <a:pt x="602" y="120"/>
                  </a:lnTo>
                  <a:lnTo>
                    <a:pt x="601" y="120"/>
                  </a:lnTo>
                  <a:lnTo>
                    <a:pt x="602" y="127"/>
                  </a:lnTo>
                  <a:lnTo>
                    <a:pt x="605" y="130"/>
                  </a:lnTo>
                  <a:lnTo>
                    <a:pt x="602" y="131"/>
                  </a:lnTo>
                  <a:lnTo>
                    <a:pt x="601" y="130"/>
                  </a:lnTo>
                  <a:lnTo>
                    <a:pt x="601" y="126"/>
                  </a:lnTo>
                  <a:lnTo>
                    <a:pt x="599" y="124"/>
                  </a:lnTo>
                  <a:lnTo>
                    <a:pt x="598" y="125"/>
                  </a:lnTo>
                  <a:lnTo>
                    <a:pt x="595" y="126"/>
                  </a:lnTo>
                  <a:lnTo>
                    <a:pt x="593" y="125"/>
                  </a:lnTo>
                  <a:lnTo>
                    <a:pt x="593" y="124"/>
                  </a:lnTo>
                  <a:lnTo>
                    <a:pt x="592" y="125"/>
                  </a:lnTo>
                  <a:lnTo>
                    <a:pt x="589" y="126"/>
                  </a:lnTo>
                  <a:lnTo>
                    <a:pt x="587" y="126"/>
                  </a:lnTo>
                  <a:lnTo>
                    <a:pt x="587" y="127"/>
                  </a:lnTo>
                  <a:lnTo>
                    <a:pt x="586" y="129"/>
                  </a:lnTo>
                  <a:lnTo>
                    <a:pt x="584" y="131"/>
                  </a:lnTo>
                  <a:lnTo>
                    <a:pt x="584" y="130"/>
                  </a:lnTo>
                  <a:lnTo>
                    <a:pt x="584" y="125"/>
                  </a:lnTo>
                  <a:lnTo>
                    <a:pt x="581" y="121"/>
                  </a:lnTo>
                  <a:lnTo>
                    <a:pt x="580" y="120"/>
                  </a:lnTo>
                  <a:lnTo>
                    <a:pt x="578" y="125"/>
                  </a:lnTo>
                  <a:lnTo>
                    <a:pt x="576" y="124"/>
                  </a:lnTo>
                  <a:lnTo>
                    <a:pt x="575" y="123"/>
                  </a:lnTo>
                  <a:lnTo>
                    <a:pt x="575" y="121"/>
                  </a:lnTo>
                  <a:lnTo>
                    <a:pt x="576" y="119"/>
                  </a:lnTo>
                  <a:lnTo>
                    <a:pt x="575" y="117"/>
                  </a:lnTo>
                  <a:lnTo>
                    <a:pt x="572" y="114"/>
                  </a:lnTo>
                  <a:lnTo>
                    <a:pt x="571" y="115"/>
                  </a:lnTo>
                  <a:lnTo>
                    <a:pt x="570" y="117"/>
                  </a:lnTo>
                  <a:lnTo>
                    <a:pt x="568" y="114"/>
                  </a:lnTo>
                  <a:lnTo>
                    <a:pt x="563" y="111"/>
                  </a:lnTo>
                  <a:lnTo>
                    <a:pt x="563" y="109"/>
                  </a:lnTo>
                  <a:lnTo>
                    <a:pt x="562" y="107"/>
                  </a:lnTo>
                  <a:lnTo>
                    <a:pt x="562" y="105"/>
                  </a:lnTo>
                  <a:lnTo>
                    <a:pt x="562" y="102"/>
                  </a:lnTo>
                  <a:lnTo>
                    <a:pt x="559" y="101"/>
                  </a:lnTo>
                  <a:lnTo>
                    <a:pt x="558" y="101"/>
                  </a:lnTo>
                  <a:lnTo>
                    <a:pt x="556" y="100"/>
                  </a:lnTo>
                  <a:lnTo>
                    <a:pt x="557" y="97"/>
                  </a:lnTo>
                  <a:lnTo>
                    <a:pt x="559" y="100"/>
                  </a:lnTo>
                  <a:lnTo>
                    <a:pt x="562" y="98"/>
                  </a:lnTo>
                  <a:lnTo>
                    <a:pt x="564" y="96"/>
                  </a:lnTo>
                  <a:lnTo>
                    <a:pt x="565" y="95"/>
                  </a:lnTo>
                  <a:lnTo>
                    <a:pt x="566" y="91"/>
                  </a:lnTo>
                  <a:lnTo>
                    <a:pt x="568" y="88"/>
                  </a:lnTo>
                  <a:lnTo>
                    <a:pt x="566" y="86"/>
                  </a:lnTo>
                  <a:lnTo>
                    <a:pt x="565" y="85"/>
                  </a:lnTo>
                  <a:lnTo>
                    <a:pt x="562" y="85"/>
                  </a:lnTo>
                  <a:lnTo>
                    <a:pt x="562" y="89"/>
                  </a:lnTo>
                  <a:lnTo>
                    <a:pt x="560" y="90"/>
                  </a:lnTo>
                  <a:lnTo>
                    <a:pt x="558" y="89"/>
                  </a:lnTo>
                  <a:lnTo>
                    <a:pt x="554" y="90"/>
                  </a:lnTo>
                  <a:lnTo>
                    <a:pt x="554" y="94"/>
                  </a:lnTo>
                  <a:lnTo>
                    <a:pt x="552" y="96"/>
                  </a:lnTo>
                  <a:lnTo>
                    <a:pt x="551" y="95"/>
                  </a:lnTo>
                  <a:lnTo>
                    <a:pt x="552" y="90"/>
                  </a:lnTo>
                  <a:lnTo>
                    <a:pt x="551" y="90"/>
                  </a:lnTo>
                  <a:lnTo>
                    <a:pt x="554" y="86"/>
                  </a:lnTo>
                  <a:lnTo>
                    <a:pt x="553" y="85"/>
                  </a:lnTo>
                  <a:lnTo>
                    <a:pt x="552" y="83"/>
                  </a:lnTo>
                  <a:lnTo>
                    <a:pt x="547" y="84"/>
                  </a:lnTo>
                  <a:lnTo>
                    <a:pt x="547" y="88"/>
                  </a:lnTo>
                  <a:lnTo>
                    <a:pt x="543" y="90"/>
                  </a:lnTo>
                  <a:lnTo>
                    <a:pt x="541" y="90"/>
                  </a:lnTo>
                  <a:lnTo>
                    <a:pt x="543" y="85"/>
                  </a:lnTo>
                  <a:lnTo>
                    <a:pt x="545" y="83"/>
                  </a:lnTo>
                  <a:lnTo>
                    <a:pt x="547" y="79"/>
                  </a:lnTo>
                  <a:lnTo>
                    <a:pt x="546" y="78"/>
                  </a:lnTo>
                  <a:lnTo>
                    <a:pt x="543" y="78"/>
                  </a:lnTo>
                  <a:lnTo>
                    <a:pt x="543" y="77"/>
                  </a:lnTo>
                  <a:lnTo>
                    <a:pt x="542" y="78"/>
                  </a:lnTo>
                  <a:lnTo>
                    <a:pt x="541" y="80"/>
                  </a:lnTo>
                  <a:lnTo>
                    <a:pt x="540" y="82"/>
                  </a:lnTo>
                  <a:lnTo>
                    <a:pt x="537" y="80"/>
                  </a:lnTo>
                  <a:lnTo>
                    <a:pt x="536" y="83"/>
                  </a:lnTo>
                  <a:lnTo>
                    <a:pt x="534" y="85"/>
                  </a:lnTo>
                  <a:lnTo>
                    <a:pt x="530" y="86"/>
                  </a:lnTo>
                  <a:lnTo>
                    <a:pt x="529" y="86"/>
                  </a:lnTo>
                  <a:lnTo>
                    <a:pt x="530" y="82"/>
                  </a:lnTo>
                  <a:lnTo>
                    <a:pt x="528" y="82"/>
                  </a:lnTo>
                  <a:lnTo>
                    <a:pt x="527" y="82"/>
                  </a:lnTo>
                  <a:lnTo>
                    <a:pt x="525" y="79"/>
                  </a:lnTo>
                  <a:lnTo>
                    <a:pt x="522" y="79"/>
                  </a:lnTo>
                  <a:lnTo>
                    <a:pt x="522" y="77"/>
                  </a:lnTo>
                  <a:lnTo>
                    <a:pt x="524" y="76"/>
                  </a:lnTo>
                  <a:lnTo>
                    <a:pt x="528" y="74"/>
                  </a:lnTo>
                  <a:lnTo>
                    <a:pt x="529" y="73"/>
                  </a:lnTo>
                  <a:lnTo>
                    <a:pt x="528" y="71"/>
                  </a:lnTo>
                  <a:lnTo>
                    <a:pt x="523" y="71"/>
                  </a:lnTo>
                  <a:lnTo>
                    <a:pt x="521" y="71"/>
                  </a:lnTo>
                  <a:lnTo>
                    <a:pt x="522" y="68"/>
                  </a:lnTo>
                  <a:lnTo>
                    <a:pt x="525" y="67"/>
                  </a:lnTo>
                  <a:lnTo>
                    <a:pt x="528" y="64"/>
                  </a:lnTo>
                  <a:lnTo>
                    <a:pt x="528" y="61"/>
                  </a:lnTo>
                  <a:lnTo>
                    <a:pt x="529" y="59"/>
                  </a:lnTo>
                  <a:lnTo>
                    <a:pt x="527" y="58"/>
                  </a:lnTo>
                  <a:lnTo>
                    <a:pt x="523" y="61"/>
                  </a:lnTo>
                  <a:lnTo>
                    <a:pt x="522" y="64"/>
                  </a:lnTo>
                  <a:lnTo>
                    <a:pt x="519" y="62"/>
                  </a:lnTo>
                  <a:lnTo>
                    <a:pt x="518" y="59"/>
                  </a:lnTo>
                  <a:lnTo>
                    <a:pt x="521" y="56"/>
                  </a:lnTo>
                  <a:lnTo>
                    <a:pt x="522" y="55"/>
                  </a:lnTo>
                  <a:lnTo>
                    <a:pt x="522" y="54"/>
                  </a:lnTo>
                  <a:lnTo>
                    <a:pt x="521" y="52"/>
                  </a:lnTo>
                  <a:lnTo>
                    <a:pt x="519" y="50"/>
                  </a:lnTo>
                  <a:lnTo>
                    <a:pt x="519" y="49"/>
                  </a:lnTo>
                  <a:lnTo>
                    <a:pt x="515" y="50"/>
                  </a:lnTo>
                  <a:lnTo>
                    <a:pt x="513" y="49"/>
                  </a:lnTo>
                  <a:lnTo>
                    <a:pt x="516" y="47"/>
                  </a:lnTo>
                  <a:lnTo>
                    <a:pt x="519" y="46"/>
                  </a:lnTo>
                  <a:lnTo>
                    <a:pt x="521" y="43"/>
                  </a:lnTo>
                  <a:lnTo>
                    <a:pt x="519" y="41"/>
                  </a:lnTo>
                  <a:lnTo>
                    <a:pt x="518" y="40"/>
                  </a:lnTo>
                  <a:lnTo>
                    <a:pt x="513" y="41"/>
                  </a:lnTo>
                  <a:lnTo>
                    <a:pt x="512" y="43"/>
                  </a:lnTo>
                  <a:lnTo>
                    <a:pt x="510" y="42"/>
                  </a:lnTo>
                  <a:lnTo>
                    <a:pt x="509" y="40"/>
                  </a:lnTo>
                  <a:lnTo>
                    <a:pt x="506" y="38"/>
                  </a:lnTo>
                  <a:lnTo>
                    <a:pt x="503" y="41"/>
                  </a:lnTo>
                  <a:lnTo>
                    <a:pt x="498" y="42"/>
                  </a:lnTo>
                  <a:lnTo>
                    <a:pt x="495" y="41"/>
                  </a:lnTo>
                  <a:lnTo>
                    <a:pt x="495" y="40"/>
                  </a:lnTo>
                  <a:lnTo>
                    <a:pt x="501" y="37"/>
                  </a:lnTo>
                  <a:lnTo>
                    <a:pt x="501" y="35"/>
                  </a:lnTo>
                  <a:lnTo>
                    <a:pt x="506" y="35"/>
                  </a:lnTo>
                  <a:lnTo>
                    <a:pt x="510" y="32"/>
                  </a:lnTo>
                  <a:lnTo>
                    <a:pt x="511" y="32"/>
                  </a:lnTo>
                  <a:lnTo>
                    <a:pt x="513" y="30"/>
                  </a:lnTo>
                  <a:lnTo>
                    <a:pt x="511" y="26"/>
                  </a:lnTo>
                  <a:lnTo>
                    <a:pt x="506" y="26"/>
                  </a:lnTo>
                  <a:lnTo>
                    <a:pt x="506" y="24"/>
                  </a:lnTo>
                  <a:lnTo>
                    <a:pt x="505" y="23"/>
                  </a:lnTo>
                  <a:lnTo>
                    <a:pt x="501" y="22"/>
                  </a:lnTo>
                  <a:lnTo>
                    <a:pt x="499" y="25"/>
                  </a:lnTo>
                  <a:lnTo>
                    <a:pt x="497" y="26"/>
                  </a:lnTo>
                  <a:lnTo>
                    <a:pt x="497" y="23"/>
                  </a:lnTo>
                  <a:lnTo>
                    <a:pt x="497" y="22"/>
                  </a:lnTo>
                  <a:lnTo>
                    <a:pt x="495" y="22"/>
                  </a:lnTo>
                  <a:lnTo>
                    <a:pt x="490" y="22"/>
                  </a:lnTo>
                  <a:lnTo>
                    <a:pt x="489" y="26"/>
                  </a:lnTo>
                  <a:lnTo>
                    <a:pt x="488" y="26"/>
                  </a:lnTo>
                  <a:lnTo>
                    <a:pt x="488" y="22"/>
                  </a:lnTo>
                  <a:lnTo>
                    <a:pt x="487" y="18"/>
                  </a:lnTo>
                  <a:lnTo>
                    <a:pt x="486" y="14"/>
                  </a:lnTo>
                  <a:lnTo>
                    <a:pt x="486" y="12"/>
                  </a:lnTo>
                  <a:lnTo>
                    <a:pt x="483" y="12"/>
                  </a:lnTo>
                  <a:lnTo>
                    <a:pt x="482" y="12"/>
                  </a:lnTo>
                  <a:lnTo>
                    <a:pt x="480" y="13"/>
                  </a:lnTo>
                  <a:lnTo>
                    <a:pt x="478" y="14"/>
                  </a:lnTo>
                  <a:lnTo>
                    <a:pt x="476" y="13"/>
                  </a:lnTo>
                  <a:lnTo>
                    <a:pt x="475" y="13"/>
                  </a:lnTo>
                  <a:lnTo>
                    <a:pt x="475" y="11"/>
                  </a:lnTo>
                  <a:lnTo>
                    <a:pt x="476" y="10"/>
                  </a:lnTo>
                  <a:lnTo>
                    <a:pt x="477" y="7"/>
                  </a:lnTo>
                  <a:lnTo>
                    <a:pt x="477" y="6"/>
                  </a:lnTo>
                  <a:lnTo>
                    <a:pt x="477" y="4"/>
                  </a:lnTo>
                  <a:lnTo>
                    <a:pt x="478" y="2"/>
                  </a:lnTo>
                  <a:lnTo>
                    <a:pt x="477" y="1"/>
                  </a:lnTo>
                  <a:lnTo>
                    <a:pt x="477" y="0"/>
                  </a:lnTo>
                  <a:lnTo>
                    <a:pt x="476" y="0"/>
                  </a:lnTo>
                  <a:lnTo>
                    <a:pt x="474" y="1"/>
                  </a:lnTo>
                  <a:lnTo>
                    <a:pt x="474" y="2"/>
                  </a:lnTo>
                  <a:lnTo>
                    <a:pt x="474" y="5"/>
                  </a:lnTo>
                  <a:lnTo>
                    <a:pt x="471" y="6"/>
                  </a:lnTo>
                  <a:lnTo>
                    <a:pt x="471" y="5"/>
                  </a:lnTo>
                  <a:lnTo>
                    <a:pt x="471" y="2"/>
                  </a:lnTo>
                  <a:lnTo>
                    <a:pt x="471" y="1"/>
                  </a:lnTo>
                  <a:lnTo>
                    <a:pt x="469" y="0"/>
                  </a:lnTo>
                  <a:lnTo>
                    <a:pt x="466" y="0"/>
                  </a:lnTo>
                  <a:lnTo>
                    <a:pt x="466" y="2"/>
                  </a:lnTo>
                  <a:lnTo>
                    <a:pt x="465" y="4"/>
                  </a:lnTo>
                  <a:lnTo>
                    <a:pt x="464" y="5"/>
                  </a:lnTo>
                  <a:lnTo>
                    <a:pt x="462" y="6"/>
                  </a:lnTo>
                  <a:lnTo>
                    <a:pt x="462" y="8"/>
                  </a:lnTo>
                  <a:lnTo>
                    <a:pt x="462" y="11"/>
                  </a:lnTo>
                  <a:lnTo>
                    <a:pt x="463" y="12"/>
                  </a:lnTo>
                  <a:lnTo>
                    <a:pt x="463" y="13"/>
                  </a:lnTo>
                  <a:lnTo>
                    <a:pt x="462" y="13"/>
                  </a:lnTo>
                  <a:lnTo>
                    <a:pt x="460" y="13"/>
                  </a:lnTo>
                  <a:lnTo>
                    <a:pt x="460" y="16"/>
                  </a:lnTo>
                  <a:lnTo>
                    <a:pt x="460" y="18"/>
                  </a:lnTo>
                  <a:lnTo>
                    <a:pt x="459" y="19"/>
                  </a:lnTo>
                  <a:lnTo>
                    <a:pt x="458" y="22"/>
                  </a:lnTo>
                  <a:lnTo>
                    <a:pt x="457" y="20"/>
                  </a:lnTo>
                  <a:lnTo>
                    <a:pt x="456" y="19"/>
                  </a:lnTo>
                  <a:lnTo>
                    <a:pt x="454" y="19"/>
                  </a:lnTo>
                  <a:lnTo>
                    <a:pt x="453" y="19"/>
                  </a:lnTo>
                  <a:lnTo>
                    <a:pt x="451" y="20"/>
                  </a:lnTo>
                  <a:lnTo>
                    <a:pt x="451" y="22"/>
                  </a:lnTo>
                  <a:lnTo>
                    <a:pt x="452" y="23"/>
                  </a:lnTo>
                  <a:lnTo>
                    <a:pt x="452" y="25"/>
                  </a:lnTo>
                  <a:lnTo>
                    <a:pt x="453" y="26"/>
                  </a:lnTo>
                  <a:lnTo>
                    <a:pt x="456" y="28"/>
                  </a:lnTo>
                  <a:lnTo>
                    <a:pt x="458" y="28"/>
                  </a:lnTo>
                  <a:lnTo>
                    <a:pt x="459" y="28"/>
                  </a:lnTo>
                  <a:lnTo>
                    <a:pt x="460" y="30"/>
                  </a:lnTo>
                  <a:lnTo>
                    <a:pt x="460" y="32"/>
                  </a:lnTo>
                  <a:lnTo>
                    <a:pt x="459" y="32"/>
                  </a:lnTo>
                  <a:lnTo>
                    <a:pt x="457" y="32"/>
                  </a:lnTo>
                  <a:lnTo>
                    <a:pt x="456" y="31"/>
                  </a:lnTo>
                  <a:lnTo>
                    <a:pt x="453" y="29"/>
                  </a:lnTo>
                  <a:lnTo>
                    <a:pt x="452" y="28"/>
                  </a:lnTo>
                  <a:lnTo>
                    <a:pt x="451" y="25"/>
                  </a:lnTo>
                  <a:lnTo>
                    <a:pt x="450" y="23"/>
                  </a:lnTo>
                  <a:lnTo>
                    <a:pt x="448" y="22"/>
                  </a:lnTo>
                  <a:lnTo>
                    <a:pt x="446" y="20"/>
                  </a:lnTo>
                  <a:lnTo>
                    <a:pt x="445" y="20"/>
                  </a:lnTo>
                  <a:lnTo>
                    <a:pt x="444" y="22"/>
                  </a:lnTo>
                  <a:lnTo>
                    <a:pt x="442" y="24"/>
                  </a:lnTo>
                  <a:lnTo>
                    <a:pt x="444" y="26"/>
                  </a:lnTo>
                  <a:lnTo>
                    <a:pt x="445" y="29"/>
                  </a:lnTo>
                  <a:lnTo>
                    <a:pt x="447" y="34"/>
                  </a:lnTo>
                  <a:lnTo>
                    <a:pt x="450" y="35"/>
                  </a:lnTo>
                  <a:lnTo>
                    <a:pt x="451" y="36"/>
                  </a:lnTo>
                  <a:lnTo>
                    <a:pt x="450" y="37"/>
                  </a:lnTo>
                  <a:lnTo>
                    <a:pt x="448" y="37"/>
                  </a:lnTo>
                  <a:lnTo>
                    <a:pt x="448" y="38"/>
                  </a:lnTo>
                  <a:lnTo>
                    <a:pt x="448" y="40"/>
                  </a:lnTo>
                  <a:lnTo>
                    <a:pt x="450" y="40"/>
                  </a:lnTo>
                  <a:lnTo>
                    <a:pt x="451" y="41"/>
                  </a:lnTo>
                  <a:lnTo>
                    <a:pt x="453" y="41"/>
                  </a:lnTo>
                  <a:lnTo>
                    <a:pt x="454" y="40"/>
                  </a:lnTo>
                  <a:lnTo>
                    <a:pt x="456" y="40"/>
                  </a:lnTo>
                  <a:lnTo>
                    <a:pt x="456" y="41"/>
                  </a:lnTo>
                  <a:lnTo>
                    <a:pt x="454" y="41"/>
                  </a:lnTo>
                  <a:lnTo>
                    <a:pt x="453" y="42"/>
                  </a:lnTo>
                  <a:lnTo>
                    <a:pt x="456" y="43"/>
                  </a:lnTo>
                  <a:lnTo>
                    <a:pt x="457" y="43"/>
                  </a:lnTo>
                  <a:lnTo>
                    <a:pt x="457" y="46"/>
                  </a:lnTo>
                  <a:lnTo>
                    <a:pt x="454" y="46"/>
                  </a:lnTo>
                  <a:lnTo>
                    <a:pt x="452" y="46"/>
                  </a:lnTo>
                  <a:lnTo>
                    <a:pt x="450" y="46"/>
                  </a:lnTo>
                  <a:lnTo>
                    <a:pt x="448" y="44"/>
                  </a:lnTo>
                  <a:lnTo>
                    <a:pt x="448" y="43"/>
                  </a:lnTo>
                  <a:lnTo>
                    <a:pt x="447" y="43"/>
                  </a:lnTo>
                  <a:lnTo>
                    <a:pt x="446" y="43"/>
                  </a:lnTo>
                  <a:lnTo>
                    <a:pt x="445" y="44"/>
                  </a:lnTo>
                  <a:lnTo>
                    <a:pt x="444" y="46"/>
                  </a:lnTo>
                  <a:lnTo>
                    <a:pt x="446" y="50"/>
                  </a:lnTo>
                  <a:lnTo>
                    <a:pt x="448" y="52"/>
                  </a:lnTo>
                  <a:lnTo>
                    <a:pt x="450" y="53"/>
                  </a:lnTo>
                  <a:lnTo>
                    <a:pt x="452" y="54"/>
                  </a:lnTo>
                  <a:lnTo>
                    <a:pt x="453" y="53"/>
                  </a:lnTo>
                  <a:lnTo>
                    <a:pt x="456" y="52"/>
                  </a:lnTo>
                  <a:lnTo>
                    <a:pt x="457" y="49"/>
                  </a:lnTo>
                  <a:lnTo>
                    <a:pt x="459" y="49"/>
                  </a:lnTo>
                  <a:lnTo>
                    <a:pt x="462" y="49"/>
                  </a:lnTo>
                  <a:lnTo>
                    <a:pt x="464" y="49"/>
                  </a:lnTo>
                  <a:lnTo>
                    <a:pt x="464" y="50"/>
                  </a:lnTo>
                  <a:lnTo>
                    <a:pt x="463" y="52"/>
                  </a:lnTo>
                  <a:lnTo>
                    <a:pt x="462" y="52"/>
                  </a:lnTo>
                  <a:lnTo>
                    <a:pt x="459" y="52"/>
                  </a:lnTo>
                  <a:lnTo>
                    <a:pt x="458" y="52"/>
                  </a:lnTo>
                  <a:lnTo>
                    <a:pt x="457" y="52"/>
                  </a:lnTo>
                  <a:lnTo>
                    <a:pt x="457" y="53"/>
                  </a:lnTo>
                  <a:lnTo>
                    <a:pt x="458" y="54"/>
                  </a:lnTo>
                  <a:lnTo>
                    <a:pt x="459" y="54"/>
                  </a:lnTo>
                  <a:lnTo>
                    <a:pt x="462" y="54"/>
                  </a:lnTo>
                  <a:lnTo>
                    <a:pt x="460" y="55"/>
                  </a:lnTo>
                  <a:lnTo>
                    <a:pt x="460" y="56"/>
                  </a:lnTo>
                  <a:lnTo>
                    <a:pt x="460" y="59"/>
                  </a:lnTo>
                  <a:lnTo>
                    <a:pt x="463" y="59"/>
                  </a:lnTo>
                  <a:lnTo>
                    <a:pt x="464" y="59"/>
                  </a:lnTo>
                  <a:lnTo>
                    <a:pt x="465" y="58"/>
                  </a:lnTo>
                  <a:lnTo>
                    <a:pt x="465" y="56"/>
                  </a:lnTo>
                  <a:lnTo>
                    <a:pt x="465" y="55"/>
                  </a:lnTo>
                  <a:lnTo>
                    <a:pt x="465" y="54"/>
                  </a:lnTo>
                  <a:lnTo>
                    <a:pt x="465" y="53"/>
                  </a:lnTo>
                  <a:lnTo>
                    <a:pt x="466" y="53"/>
                  </a:lnTo>
                  <a:lnTo>
                    <a:pt x="469" y="53"/>
                  </a:lnTo>
                  <a:lnTo>
                    <a:pt x="470" y="53"/>
                  </a:lnTo>
                  <a:lnTo>
                    <a:pt x="470" y="54"/>
                  </a:lnTo>
                  <a:lnTo>
                    <a:pt x="470" y="55"/>
                  </a:lnTo>
                  <a:lnTo>
                    <a:pt x="469" y="55"/>
                  </a:lnTo>
                  <a:lnTo>
                    <a:pt x="468" y="54"/>
                  </a:lnTo>
                  <a:lnTo>
                    <a:pt x="466" y="55"/>
                  </a:lnTo>
                  <a:lnTo>
                    <a:pt x="468" y="56"/>
                  </a:lnTo>
                  <a:lnTo>
                    <a:pt x="466" y="58"/>
                  </a:lnTo>
                  <a:lnTo>
                    <a:pt x="466" y="59"/>
                  </a:lnTo>
                  <a:lnTo>
                    <a:pt x="465" y="59"/>
                  </a:lnTo>
                  <a:lnTo>
                    <a:pt x="464" y="60"/>
                  </a:lnTo>
                  <a:lnTo>
                    <a:pt x="463" y="60"/>
                  </a:lnTo>
                  <a:lnTo>
                    <a:pt x="462" y="60"/>
                  </a:lnTo>
                  <a:lnTo>
                    <a:pt x="460" y="60"/>
                  </a:lnTo>
                  <a:lnTo>
                    <a:pt x="460" y="61"/>
                  </a:lnTo>
                  <a:lnTo>
                    <a:pt x="462" y="61"/>
                  </a:lnTo>
                  <a:lnTo>
                    <a:pt x="464" y="64"/>
                  </a:lnTo>
                  <a:lnTo>
                    <a:pt x="465" y="65"/>
                  </a:lnTo>
                  <a:lnTo>
                    <a:pt x="464" y="66"/>
                  </a:lnTo>
                  <a:lnTo>
                    <a:pt x="462" y="66"/>
                  </a:lnTo>
                  <a:lnTo>
                    <a:pt x="460" y="65"/>
                  </a:lnTo>
                  <a:lnTo>
                    <a:pt x="459" y="65"/>
                  </a:lnTo>
                  <a:lnTo>
                    <a:pt x="459" y="66"/>
                  </a:lnTo>
                  <a:lnTo>
                    <a:pt x="459" y="67"/>
                  </a:lnTo>
                  <a:lnTo>
                    <a:pt x="458" y="67"/>
                  </a:lnTo>
                  <a:lnTo>
                    <a:pt x="457" y="67"/>
                  </a:lnTo>
                  <a:lnTo>
                    <a:pt x="456" y="67"/>
                  </a:lnTo>
                  <a:lnTo>
                    <a:pt x="454" y="67"/>
                  </a:lnTo>
                  <a:lnTo>
                    <a:pt x="453" y="68"/>
                  </a:lnTo>
                  <a:lnTo>
                    <a:pt x="453" y="67"/>
                  </a:lnTo>
                  <a:lnTo>
                    <a:pt x="453" y="66"/>
                  </a:lnTo>
                  <a:lnTo>
                    <a:pt x="452" y="66"/>
                  </a:lnTo>
                  <a:lnTo>
                    <a:pt x="452" y="65"/>
                  </a:lnTo>
                  <a:lnTo>
                    <a:pt x="451" y="65"/>
                  </a:lnTo>
                  <a:lnTo>
                    <a:pt x="450" y="65"/>
                  </a:lnTo>
                  <a:lnTo>
                    <a:pt x="448" y="65"/>
                  </a:lnTo>
                  <a:lnTo>
                    <a:pt x="447" y="65"/>
                  </a:lnTo>
                  <a:lnTo>
                    <a:pt x="446" y="66"/>
                  </a:lnTo>
                  <a:lnTo>
                    <a:pt x="445" y="66"/>
                  </a:lnTo>
                  <a:lnTo>
                    <a:pt x="441" y="66"/>
                  </a:lnTo>
                  <a:lnTo>
                    <a:pt x="441" y="65"/>
                  </a:lnTo>
                  <a:lnTo>
                    <a:pt x="440" y="64"/>
                  </a:lnTo>
                  <a:lnTo>
                    <a:pt x="440" y="62"/>
                  </a:lnTo>
                  <a:lnTo>
                    <a:pt x="439" y="61"/>
                  </a:lnTo>
                  <a:lnTo>
                    <a:pt x="436" y="61"/>
                  </a:lnTo>
                  <a:lnTo>
                    <a:pt x="435" y="62"/>
                  </a:lnTo>
                  <a:lnTo>
                    <a:pt x="434" y="64"/>
                  </a:lnTo>
                  <a:lnTo>
                    <a:pt x="434" y="65"/>
                  </a:lnTo>
                  <a:lnTo>
                    <a:pt x="434" y="66"/>
                  </a:lnTo>
                  <a:lnTo>
                    <a:pt x="433" y="65"/>
                  </a:lnTo>
                  <a:lnTo>
                    <a:pt x="431" y="64"/>
                  </a:lnTo>
                  <a:lnTo>
                    <a:pt x="429" y="65"/>
                  </a:lnTo>
                  <a:lnTo>
                    <a:pt x="428" y="65"/>
                  </a:lnTo>
                  <a:lnTo>
                    <a:pt x="427" y="66"/>
                  </a:lnTo>
                  <a:lnTo>
                    <a:pt x="427" y="67"/>
                  </a:lnTo>
                  <a:lnTo>
                    <a:pt x="428" y="68"/>
                  </a:lnTo>
                  <a:lnTo>
                    <a:pt x="429" y="70"/>
                  </a:lnTo>
                  <a:lnTo>
                    <a:pt x="430" y="71"/>
                  </a:lnTo>
                  <a:lnTo>
                    <a:pt x="430" y="72"/>
                  </a:lnTo>
                  <a:lnTo>
                    <a:pt x="431" y="73"/>
                  </a:lnTo>
                  <a:lnTo>
                    <a:pt x="433" y="73"/>
                  </a:lnTo>
                  <a:lnTo>
                    <a:pt x="434" y="72"/>
                  </a:lnTo>
                  <a:lnTo>
                    <a:pt x="436" y="73"/>
                  </a:lnTo>
                  <a:lnTo>
                    <a:pt x="438" y="74"/>
                  </a:lnTo>
                  <a:lnTo>
                    <a:pt x="439" y="77"/>
                  </a:lnTo>
                  <a:lnTo>
                    <a:pt x="440" y="77"/>
                  </a:lnTo>
                  <a:lnTo>
                    <a:pt x="441" y="79"/>
                  </a:lnTo>
                  <a:lnTo>
                    <a:pt x="442" y="79"/>
                  </a:lnTo>
                  <a:lnTo>
                    <a:pt x="445" y="80"/>
                  </a:lnTo>
                  <a:lnTo>
                    <a:pt x="447" y="79"/>
                  </a:lnTo>
                  <a:lnTo>
                    <a:pt x="448" y="79"/>
                  </a:lnTo>
                  <a:lnTo>
                    <a:pt x="450" y="80"/>
                  </a:lnTo>
                  <a:lnTo>
                    <a:pt x="450" y="82"/>
                  </a:lnTo>
                  <a:lnTo>
                    <a:pt x="450" y="83"/>
                  </a:lnTo>
                  <a:lnTo>
                    <a:pt x="450" y="84"/>
                  </a:lnTo>
                  <a:lnTo>
                    <a:pt x="452" y="85"/>
                  </a:lnTo>
                  <a:lnTo>
                    <a:pt x="453" y="84"/>
                  </a:lnTo>
                  <a:lnTo>
                    <a:pt x="454" y="84"/>
                  </a:lnTo>
                  <a:lnTo>
                    <a:pt x="456" y="82"/>
                  </a:lnTo>
                  <a:lnTo>
                    <a:pt x="454" y="80"/>
                  </a:lnTo>
                  <a:lnTo>
                    <a:pt x="457" y="80"/>
                  </a:lnTo>
                  <a:lnTo>
                    <a:pt x="459" y="80"/>
                  </a:lnTo>
                  <a:lnTo>
                    <a:pt x="460" y="82"/>
                  </a:lnTo>
                  <a:lnTo>
                    <a:pt x="460" y="83"/>
                  </a:lnTo>
                  <a:lnTo>
                    <a:pt x="462" y="85"/>
                  </a:lnTo>
                  <a:lnTo>
                    <a:pt x="460" y="86"/>
                  </a:lnTo>
                  <a:lnTo>
                    <a:pt x="458" y="85"/>
                  </a:lnTo>
                  <a:lnTo>
                    <a:pt x="458" y="84"/>
                  </a:lnTo>
                  <a:lnTo>
                    <a:pt x="457" y="84"/>
                  </a:lnTo>
                  <a:lnTo>
                    <a:pt x="454" y="85"/>
                  </a:lnTo>
                  <a:lnTo>
                    <a:pt x="453" y="85"/>
                  </a:lnTo>
                  <a:lnTo>
                    <a:pt x="452" y="88"/>
                  </a:lnTo>
                  <a:lnTo>
                    <a:pt x="453" y="89"/>
                  </a:lnTo>
                  <a:lnTo>
                    <a:pt x="453" y="91"/>
                  </a:lnTo>
                  <a:lnTo>
                    <a:pt x="454" y="92"/>
                  </a:lnTo>
                  <a:lnTo>
                    <a:pt x="456" y="94"/>
                  </a:lnTo>
                  <a:lnTo>
                    <a:pt x="456" y="96"/>
                  </a:lnTo>
                  <a:lnTo>
                    <a:pt x="456" y="97"/>
                  </a:lnTo>
                  <a:lnTo>
                    <a:pt x="453" y="96"/>
                  </a:lnTo>
                  <a:lnTo>
                    <a:pt x="453" y="94"/>
                  </a:lnTo>
                  <a:lnTo>
                    <a:pt x="452" y="94"/>
                  </a:lnTo>
                  <a:lnTo>
                    <a:pt x="451" y="96"/>
                  </a:lnTo>
                  <a:lnTo>
                    <a:pt x="451" y="97"/>
                  </a:lnTo>
                  <a:lnTo>
                    <a:pt x="448" y="97"/>
                  </a:lnTo>
                  <a:lnTo>
                    <a:pt x="448" y="96"/>
                  </a:lnTo>
                  <a:lnTo>
                    <a:pt x="448" y="94"/>
                  </a:lnTo>
                  <a:lnTo>
                    <a:pt x="447" y="94"/>
                  </a:lnTo>
                  <a:lnTo>
                    <a:pt x="446" y="96"/>
                  </a:lnTo>
                  <a:lnTo>
                    <a:pt x="445" y="96"/>
                  </a:lnTo>
                  <a:lnTo>
                    <a:pt x="445" y="94"/>
                  </a:lnTo>
                  <a:lnTo>
                    <a:pt x="444" y="92"/>
                  </a:lnTo>
                  <a:lnTo>
                    <a:pt x="442" y="92"/>
                  </a:lnTo>
                  <a:lnTo>
                    <a:pt x="441" y="92"/>
                  </a:lnTo>
                  <a:lnTo>
                    <a:pt x="440" y="92"/>
                  </a:lnTo>
                  <a:lnTo>
                    <a:pt x="440" y="94"/>
                  </a:lnTo>
                  <a:lnTo>
                    <a:pt x="439" y="92"/>
                  </a:lnTo>
                  <a:lnTo>
                    <a:pt x="440" y="90"/>
                  </a:lnTo>
                  <a:lnTo>
                    <a:pt x="440" y="89"/>
                  </a:lnTo>
                  <a:lnTo>
                    <a:pt x="441" y="86"/>
                  </a:lnTo>
                  <a:lnTo>
                    <a:pt x="441" y="84"/>
                  </a:lnTo>
                  <a:lnTo>
                    <a:pt x="441" y="83"/>
                  </a:lnTo>
                  <a:lnTo>
                    <a:pt x="441" y="82"/>
                  </a:lnTo>
                  <a:lnTo>
                    <a:pt x="439" y="83"/>
                  </a:lnTo>
                  <a:lnTo>
                    <a:pt x="438" y="82"/>
                  </a:lnTo>
                  <a:lnTo>
                    <a:pt x="436" y="82"/>
                  </a:lnTo>
                  <a:lnTo>
                    <a:pt x="435" y="83"/>
                  </a:lnTo>
                  <a:lnTo>
                    <a:pt x="435" y="85"/>
                  </a:lnTo>
                  <a:lnTo>
                    <a:pt x="434" y="88"/>
                  </a:lnTo>
                  <a:lnTo>
                    <a:pt x="434" y="91"/>
                  </a:lnTo>
                  <a:lnTo>
                    <a:pt x="434" y="92"/>
                  </a:lnTo>
                  <a:lnTo>
                    <a:pt x="433" y="94"/>
                  </a:lnTo>
                  <a:lnTo>
                    <a:pt x="433" y="91"/>
                  </a:lnTo>
                  <a:lnTo>
                    <a:pt x="433" y="89"/>
                  </a:lnTo>
                  <a:lnTo>
                    <a:pt x="433" y="85"/>
                  </a:lnTo>
                  <a:lnTo>
                    <a:pt x="433" y="83"/>
                  </a:lnTo>
                  <a:lnTo>
                    <a:pt x="433" y="80"/>
                  </a:lnTo>
                  <a:lnTo>
                    <a:pt x="431" y="79"/>
                  </a:lnTo>
                  <a:lnTo>
                    <a:pt x="429" y="80"/>
                  </a:lnTo>
                  <a:lnTo>
                    <a:pt x="429" y="82"/>
                  </a:lnTo>
                  <a:lnTo>
                    <a:pt x="428" y="83"/>
                  </a:lnTo>
                  <a:lnTo>
                    <a:pt x="427" y="82"/>
                  </a:lnTo>
                  <a:lnTo>
                    <a:pt x="425" y="82"/>
                  </a:lnTo>
                  <a:lnTo>
                    <a:pt x="424" y="82"/>
                  </a:lnTo>
                  <a:lnTo>
                    <a:pt x="424" y="83"/>
                  </a:lnTo>
                  <a:lnTo>
                    <a:pt x="423" y="84"/>
                  </a:lnTo>
                  <a:lnTo>
                    <a:pt x="423" y="83"/>
                  </a:lnTo>
                  <a:lnTo>
                    <a:pt x="422" y="82"/>
                  </a:lnTo>
                  <a:lnTo>
                    <a:pt x="421" y="82"/>
                  </a:lnTo>
                  <a:lnTo>
                    <a:pt x="422" y="84"/>
                  </a:lnTo>
                  <a:lnTo>
                    <a:pt x="422" y="88"/>
                  </a:lnTo>
                  <a:lnTo>
                    <a:pt x="422" y="89"/>
                  </a:lnTo>
                  <a:lnTo>
                    <a:pt x="423" y="91"/>
                  </a:lnTo>
                  <a:lnTo>
                    <a:pt x="424" y="92"/>
                  </a:lnTo>
                  <a:lnTo>
                    <a:pt x="424" y="95"/>
                  </a:lnTo>
                  <a:lnTo>
                    <a:pt x="424" y="97"/>
                  </a:lnTo>
                  <a:lnTo>
                    <a:pt x="425" y="98"/>
                  </a:lnTo>
                  <a:lnTo>
                    <a:pt x="427" y="100"/>
                  </a:lnTo>
                  <a:lnTo>
                    <a:pt x="427" y="101"/>
                  </a:lnTo>
                  <a:lnTo>
                    <a:pt x="425" y="101"/>
                  </a:lnTo>
                  <a:lnTo>
                    <a:pt x="424" y="101"/>
                  </a:lnTo>
                  <a:lnTo>
                    <a:pt x="424" y="103"/>
                  </a:lnTo>
                  <a:lnTo>
                    <a:pt x="424" y="105"/>
                  </a:lnTo>
                  <a:lnTo>
                    <a:pt x="424" y="107"/>
                  </a:lnTo>
                  <a:lnTo>
                    <a:pt x="424" y="109"/>
                  </a:lnTo>
                  <a:lnTo>
                    <a:pt x="425" y="112"/>
                  </a:lnTo>
                  <a:lnTo>
                    <a:pt x="425" y="113"/>
                  </a:lnTo>
                  <a:lnTo>
                    <a:pt x="424" y="114"/>
                  </a:lnTo>
                  <a:lnTo>
                    <a:pt x="423" y="113"/>
                  </a:lnTo>
                  <a:lnTo>
                    <a:pt x="422" y="112"/>
                  </a:lnTo>
                  <a:lnTo>
                    <a:pt x="422" y="111"/>
                  </a:lnTo>
                  <a:lnTo>
                    <a:pt x="422" y="109"/>
                  </a:lnTo>
                  <a:lnTo>
                    <a:pt x="422" y="108"/>
                  </a:lnTo>
                  <a:lnTo>
                    <a:pt x="422" y="106"/>
                  </a:lnTo>
                  <a:lnTo>
                    <a:pt x="422" y="105"/>
                  </a:lnTo>
                  <a:lnTo>
                    <a:pt x="422" y="103"/>
                  </a:lnTo>
                  <a:lnTo>
                    <a:pt x="421" y="103"/>
                  </a:lnTo>
                  <a:lnTo>
                    <a:pt x="419" y="103"/>
                  </a:lnTo>
                  <a:lnTo>
                    <a:pt x="419" y="106"/>
                  </a:lnTo>
                  <a:lnTo>
                    <a:pt x="418" y="107"/>
                  </a:lnTo>
                  <a:lnTo>
                    <a:pt x="417" y="108"/>
                  </a:lnTo>
                  <a:lnTo>
                    <a:pt x="416" y="107"/>
                  </a:lnTo>
                  <a:lnTo>
                    <a:pt x="417" y="106"/>
                  </a:lnTo>
                  <a:lnTo>
                    <a:pt x="418" y="105"/>
                  </a:lnTo>
                  <a:lnTo>
                    <a:pt x="418" y="103"/>
                  </a:lnTo>
                  <a:lnTo>
                    <a:pt x="418" y="102"/>
                  </a:lnTo>
                  <a:lnTo>
                    <a:pt x="417" y="102"/>
                  </a:lnTo>
                  <a:lnTo>
                    <a:pt x="416" y="101"/>
                  </a:lnTo>
                  <a:lnTo>
                    <a:pt x="416" y="100"/>
                  </a:lnTo>
                  <a:lnTo>
                    <a:pt x="415" y="100"/>
                  </a:lnTo>
                  <a:lnTo>
                    <a:pt x="413" y="101"/>
                  </a:lnTo>
                  <a:lnTo>
                    <a:pt x="413" y="102"/>
                  </a:lnTo>
                  <a:lnTo>
                    <a:pt x="411" y="102"/>
                  </a:lnTo>
                  <a:lnTo>
                    <a:pt x="411" y="101"/>
                  </a:lnTo>
                  <a:lnTo>
                    <a:pt x="411" y="100"/>
                  </a:lnTo>
                  <a:lnTo>
                    <a:pt x="410" y="98"/>
                  </a:lnTo>
                  <a:lnTo>
                    <a:pt x="410" y="97"/>
                  </a:lnTo>
                  <a:lnTo>
                    <a:pt x="409" y="96"/>
                  </a:lnTo>
                  <a:lnTo>
                    <a:pt x="407" y="96"/>
                  </a:lnTo>
                  <a:lnTo>
                    <a:pt x="405" y="96"/>
                  </a:lnTo>
                  <a:lnTo>
                    <a:pt x="405" y="97"/>
                  </a:lnTo>
                  <a:lnTo>
                    <a:pt x="404" y="100"/>
                  </a:lnTo>
                  <a:lnTo>
                    <a:pt x="404" y="101"/>
                  </a:lnTo>
                  <a:lnTo>
                    <a:pt x="404" y="102"/>
                  </a:lnTo>
                  <a:lnTo>
                    <a:pt x="405" y="103"/>
                  </a:lnTo>
                  <a:lnTo>
                    <a:pt x="406" y="106"/>
                  </a:lnTo>
                  <a:lnTo>
                    <a:pt x="404" y="106"/>
                  </a:lnTo>
                  <a:lnTo>
                    <a:pt x="403" y="107"/>
                  </a:lnTo>
                  <a:lnTo>
                    <a:pt x="403" y="109"/>
                  </a:lnTo>
                  <a:lnTo>
                    <a:pt x="404" y="109"/>
                  </a:lnTo>
                  <a:lnTo>
                    <a:pt x="405" y="111"/>
                  </a:lnTo>
                  <a:lnTo>
                    <a:pt x="406" y="111"/>
                  </a:lnTo>
                  <a:lnTo>
                    <a:pt x="406" y="112"/>
                  </a:lnTo>
                  <a:lnTo>
                    <a:pt x="406" y="113"/>
                  </a:lnTo>
                  <a:lnTo>
                    <a:pt x="407" y="113"/>
                  </a:lnTo>
                  <a:lnTo>
                    <a:pt x="409" y="112"/>
                  </a:lnTo>
                  <a:lnTo>
                    <a:pt x="410" y="113"/>
                  </a:lnTo>
                  <a:lnTo>
                    <a:pt x="410" y="115"/>
                  </a:lnTo>
                  <a:lnTo>
                    <a:pt x="412" y="115"/>
                  </a:lnTo>
                  <a:lnTo>
                    <a:pt x="411" y="118"/>
                  </a:lnTo>
                  <a:lnTo>
                    <a:pt x="411" y="119"/>
                  </a:lnTo>
                  <a:lnTo>
                    <a:pt x="412" y="119"/>
                  </a:lnTo>
                  <a:lnTo>
                    <a:pt x="413" y="120"/>
                  </a:lnTo>
                  <a:lnTo>
                    <a:pt x="415" y="120"/>
                  </a:lnTo>
                  <a:lnTo>
                    <a:pt x="413" y="123"/>
                  </a:lnTo>
                  <a:lnTo>
                    <a:pt x="415" y="124"/>
                  </a:lnTo>
                  <a:lnTo>
                    <a:pt x="416" y="124"/>
                  </a:lnTo>
                  <a:lnTo>
                    <a:pt x="417" y="123"/>
                  </a:lnTo>
                  <a:lnTo>
                    <a:pt x="419" y="123"/>
                  </a:lnTo>
                  <a:lnTo>
                    <a:pt x="418" y="124"/>
                  </a:lnTo>
                  <a:lnTo>
                    <a:pt x="418" y="126"/>
                  </a:lnTo>
                  <a:lnTo>
                    <a:pt x="418" y="127"/>
                  </a:lnTo>
                  <a:lnTo>
                    <a:pt x="417" y="126"/>
                  </a:lnTo>
                  <a:lnTo>
                    <a:pt x="416" y="126"/>
                  </a:lnTo>
                  <a:lnTo>
                    <a:pt x="415" y="126"/>
                  </a:lnTo>
                  <a:lnTo>
                    <a:pt x="413" y="126"/>
                  </a:lnTo>
                  <a:lnTo>
                    <a:pt x="412" y="125"/>
                  </a:lnTo>
                  <a:lnTo>
                    <a:pt x="412" y="123"/>
                  </a:lnTo>
                  <a:lnTo>
                    <a:pt x="411" y="121"/>
                  </a:lnTo>
                  <a:lnTo>
                    <a:pt x="410" y="120"/>
                  </a:lnTo>
                  <a:lnTo>
                    <a:pt x="409" y="119"/>
                  </a:lnTo>
                  <a:lnTo>
                    <a:pt x="409" y="118"/>
                  </a:lnTo>
                  <a:lnTo>
                    <a:pt x="409" y="117"/>
                  </a:lnTo>
                  <a:lnTo>
                    <a:pt x="407" y="115"/>
                  </a:lnTo>
                  <a:lnTo>
                    <a:pt x="407" y="114"/>
                  </a:lnTo>
                  <a:lnTo>
                    <a:pt x="406" y="114"/>
                  </a:lnTo>
                  <a:lnTo>
                    <a:pt x="405" y="115"/>
                  </a:lnTo>
                  <a:lnTo>
                    <a:pt x="405" y="117"/>
                  </a:lnTo>
                  <a:lnTo>
                    <a:pt x="404" y="117"/>
                  </a:lnTo>
                  <a:lnTo>
                    <a:pt x="404" y="118"/>
                  </a:lnTo>
                  <a:lnTo>
                    <a:pt x="406" y="120"/>
                  </a:lnTo>
                  <a:lnTo>
                    <a:pt x="406" y="121"/>
                  </a:lnTo>
                  <a:lnTo>
                    <a:pt x="406" y="123"/>
                  </a:lnTo>
                  <a:lnTo>
                    <a:pt x="409" y="124"/>
                  </a:lnTo>
                  <a:lnTo>
                    <a:pt x="407" y="125"/>
                  </a:lnTo>
                  <a:lnTo>
                    <a:pt x="406" y="125"/>
                  </a:lnTo>
                  <a:lnTo>
                    <a:pt x="405" y="125"/>
                  </a:lnTo>
                  <a:lnTo>
                    <a:pt x="404" y="124"/>
                  </a:lnTo>
                  <a:lnTo>
                    <a:pt x="404" y="123"/>
                  </a:lnTo>
                  <a:lnTo>
                    <a:pt x="404" y="120"/>
                  </a:lnTo>
                  <a:lnTo>
                    <a:pt x="404" y="119"/>
                  </a:lnTo>
                  <a:lnTo>
                    <a:pt x="403" y="117"/>
                  </a:lnTo>
                  <a:lnTo>
                    <a:pt x="403" y="114"/>
                  </a:lnTo>
                  <a:lnTo>
                    <a:pt x="404" y="113"/>
                  </a:lnTo>
                  <a:lnTo>
                    <a:pt x="403" y="112"/>
                  </a:lnTo>
                  <a:lnTo>
                    <a:pt x="401" y="111"/>
                  </a:lnTo>
                  <a:lnTo>
                    <a:pt x="400" y="109"/>
                  </a:lnTo>
                  <a:lnTo>
                    <a:pt x="399" y="111"/>
                  </a:lnTo>
                  <a:lnTo>
                    <a:pt x="399" y="112"/>
                  </a:lnTo>
                  <a:lnTo>
                    <a:pt x="398" y="112"/>
                  </a:lnTo>
                  <a:lnTo>
                    <a:pt x="398" y="113"/>
                  </a:lnTo>
                  <a:lnTo>
                    <a:pt x="399" y="115"/>
                  </a:lnTo>
                  <a:lnTo>
                    <a:pt x="400" y="117"/>
                  </a:lnTo>
                  <a:lnTo>
                    <a:pt x="400" y="118"/>
                  </a:lnTo>
                  <a:lnTo>
                    <a:pt x="399" y="120"/>
                  </a:lnTo>
                  <a:lnTo>
                    <a:pt x="399" y="123"/>
                  </a:lnTo>
                  <a:lnTo>
                    <a:pt x="399" y="125"/>
                  </a:lnTo>
                  <a:lnTo>
                    <a:pt x="398" y="125"/>
                  </a:lnTo>
                  <a:lnTo>
                    <a:pt x="397" y="124"/>
                  </a:lnTo>
                  <a:lnTo>
                    <a:pt x="397" y="123"/>
                  </a:lnTo>
                  <a:lnTo>
                    <a:pt x="395" y="121"/>
                  </a:lnTo>
                  <a:lnTo>
                    <a:pt x="395" y="120"/>
                  </a:lnTo>
                  <a:lnTo>
                    <a:pt x="397" y="118"/>
                  </a:lnTo>
                  <a:lnTo>
                    <a:pt x="395" y="118"/>
                  </a:lnTo>
                  <a:lnTo>
                    <a:pt x="393" y="117"/>
                  </a:lnTo>
                  <a:lnTo>
                    <a:pt x="392" y="117"/>
                  </a:lnTo>
                  <a:lnTo>
                    <a:pt x="391" y="118"/>
                  </a:lnTo>
                  <a:lnTo>
                    <a:pt x="391" y="119"/>
                  </a:lnTo>
                  <a:lnTo>
                    <a:pt x="391" y="120"/>
                  </a:lnTo>
                  <a:lnTo>
                    <a:pt x="392" y="123"/>
                  </a:lnTo>
                  <a:lnTo>
                    <a:pt x="393" y="124"/>
                  </a:lnTo>
                  <a:lnTo>
                    <a:pt x="392" y="124"/>
                  </a:lnTo>
                  <a:lnTo>
                    <a:pt x="391" y="121"/>
                  </a:lnTo>
                  <a:lnTo>
                    <a:pt x="391" y="120"/>
                  </a:lnTo>
                  <a:lnTo>
                    <a:pt x="391" y="119"/>
                  </a:lnTo>
                  <a:lnTo>
                    <a:pt x="389" y="118"/>
                  </a:lnTo>
                  <a:lnTo>
                    <a:pt x="388" y="118"/>
                  </a:lnTo>
                  <a:lnTo>
                    <a:pt x="386" y="119"/>
                  </a:lnTo>
                  <a:lnTo>
                    <a:pt x="385" y="119"/>
                  </a:lnTo>
                  <a:lnTo>
                    <a:pt x="385" y="117"/>
                  </a:lnTo>
                  <a:lnTo>
                    <a:pt x="385" y="115"/>
                  </a:lnTo>
                  <a:lnTo>
                    <a:pt x="386" y="114"/>
                  </a:lnTo>
                  <a:lnTo>
                    <a:pt x="387" y="113"/>
                  </a:lnTo>
                  <a:lnTo>
                    <a:pt x="387" y="112"/>
                  </a:lnTo>
                  <a:lnTo>
                    <a:pt x="388" y="112"/>
                  </a:lnTo>
                  <a:lnTo>
                    <a:pt x="388" y="111"/>
                  </a:lnTo>
                  <a:lnTo>
                    <a:pt x="389" y="109"/>
                  </a:lnTo>
                  <a:lnTo>
                    <a:pt x="389" y="108"/>
                  </a:lnTo>
                  <a:lnTo>
                    <a:pt x="388" y="107"/>
                  </a:lnTo>
                  <a:lnTo>
                    <a:pt x="387" y="106"/>
                  </a:lnTo>
                  <a:lnTo>
                    <a:pt x="385" y="107"/>
                  </a:lnTo>
                  <a:lnTo>
                    <a:pt x="383" y="107"/>
                  </a:lnTo>
                  <a:lnTo>
                    <a:pt x="382" y="107"/>
                  </a:lnTo>
                  <a:lnTo>
                    <a:pt x="383" y="106"/>
                  </a:lnTo>
                  <a:lnTo>
                    <a:pt x="385" y="105"/>
                  </a:lnTo>
                  <a:lnTo>
                    <a:pt x="387" y="105"/>
                  </a:lnTo>
                  <a:lnTo>
                    <a:pt x="388" y="103"/>
                  </a:lnTo>
                  <a:lnTo>
                    <a:pt x="389" y="103"/>
                  </a:lnTo>
                  <a:lnTo>
                    <a:pt x="389" y="105"/>
                  </a:lnTo>
                  <a:lnTo>
                    <a:pt x="389" y="106"/>
                  </a:lnTo>
                  <a:lnTo>
                    <a:pt x="391" y="106"/>
                  </a:lnTo>
                  <a:lnTo>
                    <a:pt x="392" y="105"/>
                  </a:lnTo>
                  <a:lnTo>
                    <a:pt x="393" y="103"/>
                  </a:lnTo>
                  <a:lnTo>
                    <a:pt x="394" y="103"/>
                  </a:lnTo>
                  <a:lnTo>
                    <a:pt x="397" y="102"/>
                  </a:lnTo>
                  <a:lnTo>
                    <a:pt x="397" y="100"/>
                  </a:lnTo>
                  <a:lnTo>
                    <a:pt x="395" y="100"/>
                  </a:lnTo>
                  <a:lnTo>
                    <a:pt x="394" y="98"/>
                  </a:lnTo>
                  <a:lnTo>
                    <a:pt x="393" y="98"/>
                  </a:lnTo>
                  <a:lnTo>
                    <a:pt x="393" y="100"/>
                  </a:lnTo>
                  <a:lnTo>
                    <a:pt x="391" y="100"/>
                  </a:lnTo>
                  <a:lnTo>
                    <a:pt x="389" y="97"/>
                  </a:lnTo>
                  <a:lnTo>
                    <a:pt x="389" y="96"/>
                  </a:lnTo>
                  <a:lnTo>
                    <a:pt x="388" y="96"/>
                  </a:lnTo>
                  <a:lnTo>
                    <a:pt x="387" y="97"/>
                  </a:lnTo>
                  <a:lnTo>
                    <a:pt x="386" y="97"/>
                  </a:lnTo>
                  <a:lnTo>
                    <a:pt x="386" y="96"/>
                  </a:lnTo>
                  <a:lnTo>
                    <a:pt x="388" y="94"/>
                  </a:lnTo>
                  <a:lnTo>
                    <a:pt x="389" y="92"/>
                  </a:lnTo>
                  <a:lnTo>
                    <a:pt x="392" y="92"/>
                  </a:lnTo>
                  <a:lnTo>
                    <a:pt x="393" y="90"/>
                  </a:lnTo>
                  <a:lnTo>
                    <a:pt x="395" y="89"/>
                  </a:lnTo>
                  <a:lnTo>
                    <a:pt x="398" y="89"/>
                  </a:lnTo>
                  <a:lnTo>
                    <a:pt x="399" y="89"/>
                  </a:lnTo>
                  <a:lnTo>
                    <a:pt x="400" y="89"/>
                  </a:lnTo>
                  <a:lnTo>
                    <a:pt x="401" y="88"/>
                  </a:lnTo>
                  <a:lnTo>
                    <a:pt x="401" y="86"/>
                  </a:lnTo>
                  <a:lnTo>
                    <a:pt x="403" y="88"/>
                  </a:lnTo>
                  <a:lnTo>
                    <a:pt x="404" y="89"/>
                  </a:lnTo>
                  <a:lnTo>
                    <a:pt x="405" y="89"/>
                  </a:lnTo>
                  <a:lnTo>
                    <a:pt x="406" y="88"/>
                  </a:lnTo>
                  <a:lnTo>
                    <a:pt x="406" y="85"/>
                  </a:lnTo>
                  <a:lnTo>
                    <a:pt x="407" y="88"/>
                  </a:lnTo>
                  <a:lnTo>
                    <a:pt x="410" y="88"/>
                  </a:lnTo>
                  <a:lnTo>
                    <a:pt x="412" y="88"/>
                  </a:lnTo>
                  <a:lnTo>
                    <a:pt x="413" y="86"/>
                  </a:lnTo>
                  <a:lnTo>
                    <a:pt x="415" y="85"/>
                  </a:lnTo>
                  <a:lnTo>
                    <a:pt x="416" y="84"/>
                  </a:lnTo>
                  <a:lnTo>
                    <a:pt x="416" y="83"/>
                  </a:lnTo>
                  <a:lnTo>
                    <a:pt x="416" y="82"/>
                  </a:lnTo>
                  <a:lnTo>
                    <a:pt x="416" y="80"/>
                  </a:lnTo>
                  <a:lnTo>
                    <a:pt x="416" y="79"/>
                  </a:lnTo>
                  <a:lnTo>
                    <a:pt x="416" y="77"/>
                  </a:lnTo>
                  <a:lnTo>
                    <a:pt x="415" y="77"/>
                  </a:lnTo>
                  <a:lnTo>
                    <a:pt x="412" y="77"/>
                  </a:lnTo>
                  <a:lnTo>
                    <a:pt x="410" y="78"/>
                  </a:lnTo>
                  <a:lnTo>
                    <a:pt x="410" y="80"/>
                  </a:lnTo>
                  <a:lnTo>
                    <a:pt x="409" y="82"/>
                  </a:lnTo>
                  <a:lnTo>
                    <a:pt x="407" y="83"/>
                  </a:lnTo>
                  <a:lnTo>
                    <a:pt x="406" y="82"/>
                  </a:lnTo>
                  <a:lnTo>
                    <a:pt x="407" y="80"/>
                  </a:lnTo>
                  <a:lnTo>
                    <a:pt x="409" y="79"/>
                  </a:lnTo>
                  <a:lnTo>
                    <a:pt x="409" y="78"/>
                  </a:lnTo>
                  <a:lnTo>
                    <a:pt x="407" y="77"/>
                  </a:lnTo>
                  <a:lnTo>
                    <a:pt x="406" y="78"/>
                  </a:lnTo>
                  <a:lnTo>
                    <a:pt x="405" y="76"/>
                  </a:lnTo>
                  <a:lnTo>
                    <a:pt x="404" y="77"/>
                  </a:lnTo>
                  <a:lnTo>
                    <a:pt x="404" y="79"/>
                  </a:lnTo>
                  <a:lnTo>
                    <a:pt x="401" y="80"/>
                  </a:lnTo>
                  <a:lnTo>
                    <a:pt x="400" y="80"/>
                  </a:lnTo>
                  <a:lnTo>
                    <a:pt x="398" y="80"/>
                  </a:lnTo>
                  <a:lnTo>
                    <a:pt x="397" y="80"/>
                  </a:lnTo>
                  <a:lnTo>
                    <a:pt x="400" y="78"/>
                  </a:lnTo>
                  <a:lnTo>
                    <a:pt x="401" y="77"/>
                  </a:lnTo>
                  <a:lnTo>
                    <a:pt x="401" y="76"/>
                  </a:lnTo>
                  <a:lnTo>
                    <a:pt x="401" y="74"/>
                  </a:lnTo>
                  <a:lnTo>
                    <a:pt x="403" y="72"/>
                  </a:lnTo>
                  <a:lnTo>
                    <a:pt x="403" y="71"/>
                  </a:lnTo>
                  <a:lnTo>
                    <a:pt x="401" y="68"/>
                  </a:lnTo>
                  <a:lnTo>
                    <a:pt x="400" y="70"/>
                  </a:lnTo>
                  <a:lnTo>
                    <a:pt x="399" y="68"/>
                  </a:lnTo>
                  <a:lnTo>
                    <a:pt x="398" y="70"/>
                  </a:lnTo>
                  <a:lnTo>
                    <a:pt x="398" y="71"/>
                  </a:lnTo>
                  <a:lnTo>
                    <a:pt x="397" y="72"/>
                  </a:lnTo>
                  <a:lnTo>
                    <a:pt x="397" y="73"/>
                  </a:lnTo>
                  <a:lnTo>
                    <a:pt x="395" y="73"/>
                  </a:lnTo>
                  <a:lnTo>
                    <a:pt x="395" y="74"/>
                  </a:lnTo>
                  <a:lnTo>
                    <a:pt x="395" y="77"/>
                  </a:lnTo>
                  <a:lnTo>
                    <a:pt x="394" y="77"/>
                  </a:lnTo>
                  <a:lnTo>
                    <a:pt x="393" y="78"/>
                  </a:lnTo>
                  <a:lnTo>
                    <a:pt x="393" y="79"/>
                  </a:lnTo>
                  <a:lnTo>
                    <a:pt x="391" y="80"/>
                  </a:lnTo>
                  <a:lnTo>
                    <a:pt x="391" y="78"/>
                  </a:lnTo>
                  <a:lnTo>
                    <a:pt x="392" y="76"/>
                  </a:lnTo>
                  <a:lnTo>
                    <a:pt x="393" y="74"/>
                  </a:lnTo>
                  <a:lnTo>
                    <a:pt x="394" y="71"/>
                  </a:lnTo>
                  <a:lnTo>
                    <a:pt x="394" y="68"/>
                  </a:lnTo>
                  <a:lnTo>
                    <a:pt x="393" y="68"/>
                  </a:lnTo>
                  <a:lnTo>
                    <a:pt x="391" y="68"/>
                  </a:lnTo>
                  <a:lnTo>
                    <a:pt x="391" y="70"/>
                  </a:lnTo>
                  <a:lnTo>
                    <a:pt x="389" y="71"/>
                  </a:lnTo>
                  <a:lnTo>
                    <a:pt x="388" y="71"/>
                  </a:lnTo>
                  <a:lnTo>
                    <a:pt x="386" y="71"/>
                  </a:lnTo>
                  <a:lnTo>
                    <a:pt x="385" y="71"/>
                  </a:lnTo>
                  <a:lnTo>
                    <a:pt x="382" y="73"/>
                  </a:lnTo>
                  <a:lnTo>
                    <a:pt x="380" y="74"/>
                  </a:lnTo>
                  <a:lnTo>
                    <a:pt x="379" y="74"/>
                  </a:lnTo>
                  <a:lnTo>
                    <a:pt x="379" y="72"/>
                  </a:lnTo>
                  <a:lnTo>
                    <a:pt x="377" y="71"/>
                  </a:lnTo>
                  <a:lnTo>
                    <a:pt x="375" y="71"/>
                  </a:lnTo>
                  <a:lnTo>
                    <a:pt x="377" y="68"/>
                  </a:lnTo>
                  <a:lnTo>
                    <a:pt x="379" y="67"/>
                  </a:lnTo>
                  <a:lnTo>
                    <a:pt x="376" y="65"/>
                  </a:lnTo>
                  <a:lnTo>
                    <a:pt x="374" y="64"/>
                  </a:lnTo>
                  <a:lnTo>
                    <a:pt x="372" y="65"/>
                  </a:lnTo>
                  <a:lnTo>
                    <a:pt x="371" y="67"/>
                  </a:lnTo>
                  <a:lnTo>
                    <a:pt x="370" y="70"/>
                  </a:lnTo>
                  <a:lnTo>
                    <a:pt x="368" y="71"/>
                  </a:lnTo>
                  <a:lnTo>
                    <a:pt x="364" y="72"/>
                  </a:lnTo>
                  <a:lnTo>
                    <a:pt x="362" y="71"/>
                  </a:lnTo>
                  <a:lnTo>
                    <a:pt x="362" y="70"/>
                  </a:lnTo>
                  <a:lnTo>
                    <a:pt x="362" y="67"/>
                  </a:lnTo>
                  <a:lnTo>
                    <a:pt x="363" y="66"/>
                  </a:lnTo>
                  <a:lnTo>
                    <a:pt x="364" y="64"/>
                  </a:lnTo>
                  <a:lnTo>
                    <a:pt x="364" y="61"/>
                  </a:lnTo>
                  <a:lnTo>
                    <a:pt x="362" y="59"/>
                  </a:lnTo>
                  <a:lnTo>
                    <a:pt x="362" y="58"/>
                  </a:lnTo>
                  <a:lnTo>
                    <a:pt x="360" y="55"/>
                  </a:lnTo>
                  <a:lnTo>
                    <a:pt x="359" y="55"/>
                  </a:lnTo>
                  <a:lnTo>
                    <a:pt x="358" y="55"/>
                  </a:lnTo>
                  <a:lnTo>
                    <a:pt x="357" y="56"/>
                  </a:lnTo>
                  <a:lnTo>
                    <a:pt x="354" y="58"/>
                  </a:lnTo>
                  <a:lnTo>
                    <a:pt x="353" y="58"/>
                  </a:lnTo>
                  <a:lnTo>
                    <a:pt x="351" y="58"/>
                  </a:lnTo>
                  <a:lnTo>
                    <a:pt x="351" y="59"/>
                  </a:lnTo>
                  <a:lnTo>
                    <a:pt x="347" y="60"/>
                  </a:lnTo>
                  <a:lnTo>
                    <a:pt x="347" y="58"/>
                  </a:lnTo>
                  <a:lnTo>
                    <a:pt x="348" y="56"/>
                  </a:lnTo>
                  <a:lnTo>
                    <a:pt x="347" y="54"/>
                  </a:lnTo>
                  <a:lnTo>
                    <a:pt x="345" y="54"/>
                  </a:lnTo>
                  <a:lnTo>
                    <a:pt x="344" y="55"/>
                  </a:lnTo>
                  <a:lnTo>
                    <a:pt x="342" y="56"/>
                  </a:lnTo>
                  <a:lnTo>
                    <a:pt x="342" y="59"/>
                  </a:lnTo>
                  <a:lnTo>
                    <a:pt x="340" y="58"/>
                  </a:lnTo>
                  <a:lnTo>
                    <a:pt x="339" y="56"/>
                  </a:lnTo>
                  <a:lnTo>
                    <a:pt x="338" y="55"/>
                  </a:lnTo>
                  <a:lnTo>
                    <a:pt x="336" y="55"/>
                  </a:lnTo>
                  <a:lnTo>
                    <a:pt x="334" y="54"/>
                  </a:lnTo>
                  <a:lnTo>
                    <a:pt x="334" y="56"/>
                  </a:lnTo>
                  <a:lnTo>
                    <a:pt x="333" y="58"/>
                  </a:lnTo>
                  <a:lnTo>
                    <a:pt x="333" y="56"/>
                  </a:lnTo>
                  <a:lnTo>
                    <a:pt x="330" y="55"/>
                  </a:lnTo>
                  <a:lnTo>
                    <a:pt x="329" y="55"/>
                  </a:lnTo>
                  <a:lnTo>
                    <a:pt x="327" y="55"/>
                  </a:lnTo>
                  <a:lnTo>
                    <a:pt x="327" y="54"/>
                  </a:lnTo>
                  <a:lnTo>
                    <a:pt x="327" y="53"/>
                  </a:lnTo>
                  <a:lnTo>
                    <a:pt x="329" y="53"/>
                  </a:lnTo>
                  <a:lnTo>
                    <a:pt x="330" y="53"/>
                  </a:lnTo>
                  <a:lnTo>
                    <a:pt x="332" y="53"/>
                  </a:lnTo>
                  <a:lnTo>
                    <a:pt x="333" y="53"/>
                  </a:lnTo>
                  <a:lnTo>
                    <a:pt x="335" y="52"/>
                  </a:lnTo>
                  <a:lnTo>
                    <a:pt x="336" y="52"/>
                  </a:lnTo>
                  <a:lnTo>
                    <a:pt x="338" y="52"/>
                  </a:lnTo>
                  <a:lnTo>
                    <a:pt x="339" y="52"/>
                  </a:lnTo>
                  <a:lnTo>
                    <a:pt x="341" y="52"/>
                  </a:lnTo>
                  <a:lnTo>
                    <a:pt x="342" y="52"/>
                  </a:lnTo>
                  <a:lnTo>
                    <a:pt x="346" y="52"/>
                  </a:lnTo>
                  <a:lnTo>
                    <a:pt x="347" y="52"/>
                  </a:lnTo>
                  <a:lnTo>
                    <a:pt x="348" y="50"/>
                  </a:lnTo>
                  <a:lnTo>
                    <a:pt x="350" y="49"/>
                  </a:lnTo>
                  <a:lnTo>
                    <a:pt x="351" y="48"/>
                  </a:lnTo>
                  <a:lnTo>
                    <a:pt x="350" y="46"/>
                  </a:lnTo>
                  <a:lnTo>
                    <a:pt x="348" y="46"/>
                  </a:lnTo>
                  <a:lnTo>
                    <a:pt x="347" y="44"/>
                  </a:lnTo>
                  <a:lnTo>
                    <a:pt x="346" y="46"/>
                  </a:lnTo>
                  <a:lnTo>
                    <a:pt x="345" y="47"/>
                  </a:lnTo>
                  <a:lnTo>
                    <a:pt x="344" y="48"/>
                  </a:lnTo>
                  <a:lnTo>
                    <a:pt x="342" y="48"/>
                  </a:lnTo>
                  <a:lnTo>
                    <a:pt x="341" y="47"/>
                  </a:lnTo>
                  <a:lnTo>
                    <a:pt x="344" y="46"/>
                  </a:lnTo>
                  <a:lnTo>
                    <a:pt x="342" y="44"/>
                  </a:lnTo>
                  <a:lnTo>
                    <a:pt x="342" y="43"/>
                  </a:lnTo>
                  <a:lnTo>
                    <a:pt x="342" y="41"/>
                  </a:lnTo>
                  <a:lnTo>
                    <a:pt x="344" y="42"/>
                  </a:lnTo>
                  <a:lnTo>
                    <a:pt x="345" y="43"/>
                  </a:lnTo>
                  <a:lnTo>
                    <a:pt x="347" y="43"/>
                  </a:lnTo>
                  <a:lnTo>
                    <a:pt x="348" y="42"/>
                  </a:lnTo>
                  <a:lnTo>
                    <a:pt x="350" y="40"/>
                  </a:lnTo>
                  <a:lnTo>
                    <a:pt x="351" y="41"/>
                  </a:lnTo>
                  <a:lnTo>
                    <a:pt x="352" y="42"/>
                  </a:lnTo>
                  <a:lnTo>
                    <a:pt x="353" y="42"/>
                  </a:lnTo>
                  <a:lnTo>
                    <a:pt x="354" y="41"/>
                  </a:lnTo>
                  <a:lnTo>
                    <a:pt x="357" y="40"/>
                  </a:lnTo>
                  <a:lnTo>
                    <a:pt x="357" y="38"/>
                  </a:lnTo>
                  <a:lnTo>
                    <a:pt x="359" y="36"/>
                  </a:lnTo>
                  <a:lnTo>
                    <a:pt x="359" y="34"/>
                  </a:lnTo>
                  <a:lnTo>
                    <a:pt x="359" y="32"/>
                  </a:lnTo>
                  <a:lnTo>
                    <a:pt x="357" y="31"/>
                  </a:lnTo>
                  <a:lnTo>
                    <a:pt x="354" y="31"/>
                  </a:lnTo>
                  <a:lnTo>
                    <a:pt x="354" y="34"/>
                  </a:lnTo>
                  <a:lnTo>
                    <a:pt x="353" y="35"/>
                  </a:lnTo>
                  <a:lnTo>
                    <a:pt x="352" y="35"/>
                  </a:lnTo>
                  <a:lnTo>
                    <a:pt x="352" y="32"/>
                  </a:lnTo>
                  <a:lnTo>
                    <a:pt x="352" y="30"/>
                  </a:lnTo>
                  <a:lnTo>
                    <a:pt x="353" y="28"/>
                  </a:lnTo>
                  <a:lnTo>
                    <a:pt x="356" y="25"/>
                  </a:lnTo>
                  <a:lnTo>
                    <a:pt x="356" y="23"/>
                  </a:lnTo>
                  <a:lnTo>
                    <a:pt x="354" y="20"/>
                  </a:lnTo>
                  <a:lnTo>
                    <a:pt x="352" y="20"/>
                  </a:lnTo>
                  <a:lnTo>
                    <a:pt x="351" y="20"/>
                  </a:lnTo>
                  <a:lnTo>
                    <a:pt x="347" y="23"/>
                  </a:lnTo>
                  <a:lnTo>
                    <a:pt x="347" y="24"/>
                  </a:lnTo>
                  <a:lnTo>
                    <a:pt x="347" y="26"/>
                  </a:lnTo>
                  <a:lnTo>
                    <a:pt x="347" y="29"/>
                  </a:lnTo>
                  <a:lnTo>
                    <a:pt x="346" y="29"/>
                  </a:lnTo>
                  <a:lnTo>
                    <a:pt x="345" y="28"/>
                  </a:lnTo>
                  <a:lnTo>
                    <a:pt x="345" y="26"/>
                  </a:lnTo>
                  <a:lnTo>
                    <a:pt x="345" y="24"/>
                  </a:lnTo>
                  <a:lnTo>
                    <a:pt x="345" y="23"/>
                  </a:lnTo>
                  <a:lnTo>
                    <a:pt x="344" y="20"/>
                  </a:lnTo>
                  <a:lnTo>
                    <a:pt x="342" y="20"/>
                  </a:lnTo>
                  <a:lnTo>
                    <a:pt x="341" y="22"/>
                  </a:lnTo>
                  <a:lnTo>
                    <a:pt x="340" y="24"/>
                  </a:lnTo>
                  <a:lnTo>
                    <a:pt x="339" y="25"/>
                  </a:lnTo>
                  <a:lnTo>
                    <a:pt x="338" y="26"/>
                  </a:lnTo>
                  <a:lnTo>
                    <a:pt x="336" y="26"/>
                  </a:lnTo>
                  <a:lnTo>
                    <a:pt x="334" y="28"/>
                  </a:lnTo>
                  <a:lnTo>
                    <a:pt x="332" y="29"/>
                  </a:lnTo>
                  <a:lnTo>
                    <a:pt x="330" y="29"/>
                  </a:lnTo>
                  <a:lnTo>
                    <a:pt x="330" y="30"/>
                  </a:lnTo>
                  <a:lnTo>
                    <a:pt x="330" y="31"/>
                  </a:lnTo>
                  <a:lnTo>
                    <a:pt x="332" y="32"/>
                  </a:lnTo>
                  <a:lnTo>
                    <a:pt x="330" y="34"/>
                  </a:lnTo>
                  <a:lnTo>
                    <a:pt x="329" y="35"/>
                  </a:lnTo>
                  <a:lnTo>
                    <a:pt x="328" y="34"/>
                  </a:lnTo>
                  <a:lnTo>
                    <a:pt x="327" y="32"/>
                  </a:lnTo>
                  <a:lnTo>
                    <a:pt x="326" y="30"/>
                  </a:lnTo>
                  <a:lnTo>
                    <a:pt x="326" y="29"/>
                  </a:lnTo>
                  <a:lnTo>
                    <a:pt x="324" y="26"/>
                  </a:lnTo>
                  <a:lnTo>
                    <a:pt x="323" y="24"/>
                  </a:lnTo>
                  <a:lnTo>
                    <a:pt x="322" y="24"/>
                  </a:lnTo>
                  <a:lnTo>
                    <a:pt x="321" y="24"/>
                  </a:lnTo>
                  <a:lnTo>
                    <a:pt x="320" y="24"/>
                  </a:lnTo>
                  <a:lnTo>
                    <a:pt x="318" y="25"/>
                  </a:lnTo>
                  <a:lnTo>
                    <a:pt x="317" y="28"/>
                  </a:lnTo>
                  <a:lnTo>
                    <a:pt x="316" y="28"/>
                  </a:lnTo>
                  <a:lnTo>
                    <a:pt x="316" y="25"/>
                  </a:lnTo>
                  <a:lnTo>
                    <a:pt x="316" y="23"/>
                  </a:lnTo>
                  <a:lnTo>
                    <a:pt x="316" y="20"/>
                  </a:lnTo>
                  <a:lnTo>
                    <a:pt x="317" y="19"/>
                  </a:lnTo>
                  <a:lnTo>
                    <a:pt x="316" y="17"/>
                  </a:lnTo>
                  <a:lnTo>
                    <a:pt x="315" y="14"/>
                  </a:lnTo>
                  <a:lnTo>
                    <a:pt x="314" y="13"/>
                  </a:lnTo>
                  <a:lnTo>
                    <a:pt x="311" y="13"/>
                  </a:lnTo>
                  <a:lnTo>
                    <a:pt x="310" y="14"/>
                  </a:lnTo>
                  <a:lnTo>
                    <a:pt x="310" y="17"/>
                  </a:lnTo>
                  <a:lnTo>
                    <a:pt x="309" y="19"/>
                  </a:lnTo>
                  <a:lnTo>
                    <a:pt x="309" y="22"/>
                  </a:lnTo>
                  <a:lnTo>
                    <a:pt x="307" y="23"/>
                  </a:lnTo>
                  <a:lnTo>
                    <a:pt x="306" y="22"/>
                  </a:lnTo>
                  <a:lnTo>
                    <a:pt x="306" y="20"/>
                  </a:lnTo>
                  <a:lnTo>
                    <a:pt x="305" y="18"/>
                  </a:lnTo>
                  <a:lnTo>
                    <a:pt x="305" y="17"/>
                  </a:lnTo>
                  <a:lnTo>
                    <a:pt x="304" y="16"/>
                  </a:lnTo>
                  <a:lnTo>
                    <a:pt x="303" y="14"/>
                  </a:lnTo>
                  <a:lnTo>
                    <a:pt x="304" y="13"/>
                  </a:lnTo>
                  <a:lnTo>
                    <a:pt x="305" y="11"/>
                  </a:lnTo>
                  <a:lnTo>
                    <a:pt x="304" y="10"/>
                  </a:lnTo>
                  <a:lnTo>
                    <a:pt x="300" y="8"/>
                  </a:lnTo>
                  <a:lnTo>
                    <a:pt x="299" y="8"/>
                  </a:lnTo>
                  <a:lnTo>
                    <a:pt x="298" y="10"/>
                  </a:lnTo>
                  <a:lnTo>
                    <a:pt x="297" y="12"/>
                  </a:lnTo>
                  <a:lnTo>
                    <a:pt x="295" y="14"/>
                  </a:lnTo>
                  <a:lnTo>
                    <a:pt x="293" y="16"/>
                  </a:lnTo>
                  <a:lnTo>
                    <a:pt x="293" y="17"/>
                  </a:lnTo>
                  <a:lnTo>
                    <a:pt x="292" y="19"/>
                  </a:lnTo>
                  <a:lnTo>
                    <a:pt x="293" y="20"/>
                  </a:lnTo>
                  <a:lnTo>
                    <a:pt x="295" y="22"/>
                  </a:lnTo>
                  <a:lnTo>
                    <a:pt x="297" y="23"/>
                  </a:lnTo>
                  <a:lnTo>
                    <a:pt x="299" y="24"/>
                  </a:lnTo>
                  <a:lnTo>
                    <a:pt x="299" y="25"/>
                  </a:lnTo>
                  <a:lnTo>
                    <a:pt x="298" y="26"/>
                  </a:lnTo>
                  <a:lnTo>
                    <a:pt x="297" y="26"/>
                  </a:lnTo>
                  <a:lnTo>
                    <a:pt x="295" y="28"/>
                  </a:lnTo>
                  <a:lnTo>
                    <a:pt x="297" y="29"/>
                  </a:lnTo>
                  <a:lnTo>
                    <a:pt x="297" y="30"/>
                  </a:lnTo>
                  <a:lnTo>
                    <a:pt x="295" y="30"/>
                  </a:lnTo>
                  <a:lnTo>
                    <a:pt x="295" y="29"/>
                  </a:lnTo>
                  <a:lnTo>
                    <a:pt x="294" y="28"/>
                  </a:lnTo>
                  <a:lnTo>
                    <a:pt x="293" y="25"/>
                  </a:lnTo>
                  <a:lnTo>
                    <a:pt x="292" y="24"/>
                  </a:lnTo>
                  <a:lnTo>
                    <a:pt x="291" y="24"/>
                  </a:lnTo>
                  <a:lnTo>
                    <a:pt x="289" y="23"/>
                  </a:lnTo>
                  <a:lnTo>
                    <a:pt x="288" y="20"/>
                  </a:lnTo>
                  <a:lnTo>
                    <a:pt x="287" y="20"/>
                  </a:lnTo>
                  <a:lnTo>
                    <a:pt x="286" y="22"/>
                  </a:lnTo>
                  <a:lnTo>
                    <a:pt x="285" y="22"/>
                  </a:lnTo>
                  <a:lnTo>
                    <a:pt x="282" y="22"/>
                  </a:lnTo>
                  <a:lnTo>
                    <a:pt x="282" y="24"/>
                  </a:lnTo>
                  <a:lnTo>
                    <a:pt x="283" y="25"/>
                  </a:lnTo>
                  <a:lnTo>
                    <a:pt x="283" y="28"/>
                  </a:lnTo>
                  <a:lnTo>
                    <a:pt x="282" y="29"/>
                  </a:lnTo>
                  <a:lnTo>
                    <a:pt x="282" y="30"/>
                  </a:lnTo>
                  <a:lnTo>
                    <a:pt x="285" y="32"/>
                  </a:lnTo>
                  <a:lnTo>
                    <a:pt x="287" y="32"/>
                  </a:lnTo>
                  <a:lnTo>
                    <a:pt x="288" y="31"/>
                  </a:lnTo>
                  <a:lnTo>
                    <a:pt x="289" y="32"/>
                  </a:lnTo>
                  <a:lnTo>
                    <a:pt x="289" y="34"/>
                  </a:lnTo>
                  <a:lnTo>
                    <a:pt x="288" y="36"/>
                  </a:lnTo>
                  <a:lnTo>
                    <a:pt x="291" y="36"/>
                  </a:lnTo>
                  <a:lnTo>
                    <a:pt x="292" y="36"/>
                  </a:lnTo>
                  <a:lnTo>
                    <a:pt x="293" y="37"/>
                  </a:lnTo>
                  <a:lnTo>
                    <a:pt x="294" y="38"/>
                  </a:lnTo>
                  <a:lnTo>
                    <a:pt x="295" y="38"/>
                  </a:lnTo>
                  <a:lnTo>
                    <a:pt x="298" y="40"/>
                  </a:lnTo>
                  <a:lnTo>
                    <a:pt x="298" y="42"/>
                  </a:lnTo>
                  <a:lnTo>
                    <a:pt x="297" y="43"/>
                  </a:lnTo>
                  <a:lnTo>
                    <a:pt x="294" y="43"/>
                  </a:lnTo>
                  <a:lnTo>
                    <a:pt x="293" y="41"/>
                  </a:lnTo>
                  <a:lnTo>
                    <a:pt x="293" y="40"/>
                  </a:lnTo>
                  <a:lnTo>
                    <a:pt x="291" y="38"/>
                  </a:lnTo>
                  <a:lnTo>
                    <a:pt x="289" y="38"/>
                  </a:lnTo>
                  <a:lnTo>
                    <a:pt x="288" y="40"/>
                  </a:lnTo>
                  <a:lnTo>
                    <a:pt x="287" y="42"/>
                  </a:lnTo>
                  <a:lnTo>
                    <a:pt x="286" y="42"/>
                  </a:lnTo>
                  <a:lnTo>
                    <a:pt x="283" y="41"/>
                  </a:lnTo>
                  <a:lnTo>
                    <a:pt x="281" y="41"/>
                  </a:lnTo>
                  <a:lnTo>
                    <a:pt x="281" y="40"/>
                  </a:lnTo>
                  <a:lnTo>
                    <a:pt x="279" y="38"/>
                  </a:lnTo>
                  <a:lnTo>
                    <a:pt x="277" y="38"/>
                  </a:lnTo>
                  <a:lnTo>
                    <a:pt x="276" y="41"/>
                  </a:lnTo>
                  <a:lnTo>
                    <a:pt x="277" y="44"/>
                  </a:lnTo>
                  <a:lnTo>
                    <a:pt x="279" y="47"/>
                  </a:lnTo>
                  <a:lnTo>
                    <a:pt x="280" y="49"/>
                  </a:lnTo>
                  <a:lnTo>
                    <a:pt x="281" y="49"/>
                  </a:lnTo>
                  <a:lnTo>
                    <a:pt x="285" y="49"/>
                  </a:lnTo>
                  <a:lnTo>
                    <a:pt x="286" y="49"/>
                  </a:lnTo>
                  <a:lnTo>
                    <a:pt x="288" y="50"/>
                  </a:lnTo>
                  <a:lnTo>
                    <a:pt x="289" y="50"/>
                  </a:lnTo>
                  <a:lnTo>
                    <a:pt x="292" y="50"/>
                  </a:lnTo>
                  <a:lnTo>
                    <a:pt x="293" y="52"/>
                  </a:lnTo>
                  <a:lnTo>
                    <a:pt x="292" y="53"/>
                  </a:lnTo>
                  <a:lnTo>
                    <a:pt x="289" y="53"/>
                  </a:lnTo>
                  <a:lnTo>
                    <a:pt x="287" y="53"/>
                  </a:lnTo>
                  <a:lnTo>
                    <a:pt x="287" y="54"/>
                  </a:lnTo>
                  <a:lnTo>
                    <a:pt x="288" y="55"/>
                  </a:lnTo>
                  <a:lnTo>
                    <a:pt x="288" y="56"/>
                  </a:lnTo>
                  <a:lnTo>
                    <a:pt x="287" y="58"/>
                  </a:lnTo>
                  <a:lnTo>
                    <a:pt x="286" y="58"/>
                  </a:lnTo>
                  <a:lnTo>
                    <a:pt x="283" y="58"/>
                  </a:lnTo>
                  <a:lnTo>
                    <a:pt x="283" y="59"/>
                  </a:lnTo>
                  <a:lnTo>
                    <a:pt x="285" y="62"/>
                  </a:lnTo>
                  <a:lnTo>
                    <a:pt x="287" y="65"/>
                  </a:lnTo>
                  <a:lnTo>
                    <a:pt x="289" y="66"/>
                  </a:lnTo>
                  <a:lnTo>
                    <a:pt x="292" y="65"/>
                  </a:lnTo>
                  <a:lnTo>
                    <a:pt x="293" y="65"/>
                  </a:lnTo>
                  <a:lnTo>
                    <a:pt x="293" y="67"/>
                  </a:lnTo>
                  <a:lnTo>
                    <a:pt x="294" y="68"/>
                  </a:lnTo>
                  <a:lnTo>
                    <a:pt x="297" y="68"/>
                  </a:lnTo>
                  <a:lnTo>
                    <a:pt x="298" y="67"/>
                  </a:lnTo>
                  <a:lnTo>
                    <a:pt x="299" y="66"/>
                  </a:lnTo>
                  <a:lnTo>
                    <a:pt x="299" y="65"/>
                  </a:lnTo>
                  <a:lnTo>
                    <a:pt x="299" y="62"/>
                  </a:lnTo>
                  <a:lnTo>
                    <a:pt x="299" y="61"/>
                  </a:lnTo>
                  <a:lnTo>
                    <a:pt x="301" y="62"/>
                  </a:lnTo>
                  <a:lnTo>
                    <a:pt x="301" y="64"/>
                  </a:lnTo>
                  <a:lnTo>
                    <a:pt x="303" y="64"/>
                  </a:lnTo>
                  <a:lnTo>
                    <a:pt x="304" y="64"/>
                  </a:lnTo>
                  <a:lnTo>
                    <a:pt x="305" y="62"/>
                  </a:lnTo>
                  <a:lnTo>
                    <a:pt x="305" y="61"/>
                  </a:lnTo>
                  <a:lnTo>
                    <a:pt x="307" y="62"/>
                  </a:lnTo>
                  <a:lnTo>
                    <a:pt x="307" y="64"/>
                  </a:lnTo>
                  <a:lnTo>
                    <a:pt x="309" y="65"/>
                  </a:lnTo>
                  <a:lnTo>
                    <a:pt x="307" y="65"/>
                  </a:lnTo>
                  <a:lnTo>
                    <a:pt x="305" y="65"/>
                  </a:lnTo>
                  <a:lnTo>
                    <a:pt x="303" y="66"/>
                  </a:lnTo>
                  <a:lnTo>
                    <a:pt x="301" y="66"/>
                  </a:lnTo>
                  <a:lnTo>
                    <a:pt x="300" y="68"/>
                  </a:lnTo>
                  <a:lnTo>
                    <a:pt x="299" y="71"/>
                  </a:lnTo>
                  <a:lnTo>
                    <a:pt x="299" y="72"/>
                  </a:lnTo>
                  <a:lnTo>
                    <a:pt x="301" y="74"/>
                  </a:lnTo>
                  <a:lnTo>
                    <a:pt x="304" y="76"/>
                  </a:lnTo>
                  <a:lnTo>
                    <a:pt x="306" y="76"/>
                  </a:lnTo>
                  <a:lnTo>
                    <a:pt x="309" y="76"/>
                  </a:lnTo>
                  <a:lnTo>
                    <a:pt x="309" y="74"/>
                  </a:lnTo>
                  <a:lnTo>
                    <a:pt x="310" y="73"/>
                  </a:lnTo>
                  <a:lnTo>
                    <a:pt x="311" y="71"/>
                  </a:lnTo>
                  <a:lnTo>
                    <a:pt x="311" y="70"/>
                  </a:lnTo>
                  <a:lnTo>
                    <a:pt x="314" y="71"/>
                  </a:lnTo>
                  <a:lnTo>
                    <a:pt x="315" y="72"/>
                  </a:lnTo>
                  <a:lnTo>
                    <a:pt x="316" y="73"/>
                  </a:lnTo>
                  <a:lnTo>
                    <a:pt x="312" y="76"/>
                  </a:lnTo>
                  <a:lnTo>
                    <a:pt x="311" y="77"/>
                  </a:lnTo>
                  <a:lnTo>
                    <a:pt x="310" y="79"/>
                  </a:lnTo>
                  <a:lnTo>
                    <a:pt x="311" y="83"/>
                  </a:lnTo>
                  <a:lnTo>
                    <a:pt x="312" y="85"/>
                  </a:lnTo>
                  <a:lnTo>
                    <a:pt x="314" y="89"/>
                  </a:lnTo>
                  <a:lnTo>
                    <a:pt x="316" y="92"/>
                  </a:lnTo>
                  <a:lnTo>
                    <a:pt x="315" y="94"/>
                  </a:lnTo>
                  <a:lnTo>
                    <a:pt x="315" y="92"/>
                  </a:lnTo>
                  <a:lnTo>
                    <a:pt x="314" y="91"/>
                  </a:lnTo>
                  <a:lnTo>
                    <a:pt x="312" y="89"/>
                  </a:lnTo>
                  <a:lnTo>
                    <a:pt x="311" y="88"/>
                  </a:lnTo>
                  <a:lnTo>
                    <a:pt x="309" y="85"/>
                  </a:lnTo>
                  <a:lnTo>
                    <a:pt x="307" y="84"/>
                  </a:lnTo>
                  <a:lnTo>
                    <a:pt x="306" y="83"/>
                  </a:lnTo>
                  <a:lnTo>
                    <a:pt x="306" y="85"/>
                  </a:lnTo>
                  <a:lnTo>
                    <a:pt x="305" y="86"/>
                  </a:lnTo>
                  <a:lnTo>
                    <a:pt x="304" y="88"/>
                  </a:lnTo>
                  <a:lnTo>
                    <a:pt x="303" y="89"/>
                  </a:lnTo>
                  <a:lnTo>
                    <a:pt x="301" y="90"/>
                  </a:lnTo>
                  <a:lnTo>
                    <a:pt x="301" y="91"/>
                  </a:lnTo>
                  <a:lnTo>
                    <a:pt x="300" y="91"/>
                  </a:lnTo>
                  <a:lnTo>
                    <a:pt x="300" y="89"/>
                  </a:lnTo>
                  <a:lnTo>
                    <a:pt x="300" y="86"/>
                  </a:lnTo>
                  <a:lnTo>
                    <a:pt x="299" y="86"/>
                  </a:lnTo>
                  <a:lnTo>
                    <a:pt x="298" y="86"/>
                  </a:lnTo>
                  <a:lnTo>
                    <a:pt x="298" y="88"/>
                  </a:lnTo>
                  <a:lnTo>
                    <a:pt x="297" y="90"/>
                  </a:lnTo>
                  <a:lnTo>
                    <a:pt x="297" y="91"/>
                  </a:lnTo>
                  <a:lnTo>
                    <a:pt x="295" y="91"/>
                  </a:lnTo>
                  <a:lnTo>
                    <a:pt x="294" y="90"/>
                  </a:lnTo>
                  <a:lnTo>
                    <a:pt x="294" y="89"/>
                  </a:lnTo>
                  <a:lnTo>
                    <a:pt x="294" y="86"/>
                  </a:lnTo>
                  <a:lnTo>
                    <a:pt x="293" y="85"/>
                  </a:lnTo>
                  <a:lnTo>
                    <a:pt x="293" y="83"/>
                  </a:lnTo>
                  <a:lnTo>
                    <a:pt x="292" y="82"/>
                  </a:lnTo>
                  <a:lnTo>
                    <a:pt x="291" y="80"/>
                  </a:lnTo>
                  <a:lnTo>
                    <a:pt x="287" y="82"/>
                  </a:lnTo>
                  <a:lnTo>
                    <a:pt x="286" y="83"/>
                  </a:lnTo>
                  <a:lnTo>
                    <a:pt x="286" y="85"/>
                  </a:lnTo>
                  <a:lnTo>
                    <a:pt x="286" y="89"/>
                  </a:lnTo>
                  <a:lnTo>
                    <a:pt x="286" y="91"/>
                  </a:lnTo>
                  <a:lnTo>
                    <a:pt x="283" y="92"/>
                  </a:lnTo>
                  <a:lnTo>
                    <a:pt x="283" y="91"/>
                  </a:lnTo>
                  <a:lnTo>
                    <a:pt x="283" y="89"/>
                  </a:lnTo>
                  <a:lnTo>
                    <a:pt x="281" y="89"/>
                  </a:lnTo>
                  <a:lnTo>
                    <a:pt x="280" y="91"/>
                  </a:lnTo>
                  <a:lnTo>
                    <a:pt x="280" y="92"/>
                  </a:lnTo>
                  <a:lnTo>
                    <a:pt x="277" y="92"/>
                  </a:lnTo>
                  <a:lnTo>
                    <a:pt x="277" y="91"/>
                  </a:lnTo>
                  <a:lnTo>
                    <a:pt x="275" y="90"/>
                  </a:lnTo>
                  <a:lnTo>
                    <a:pt x="273" y="86"/>
                  </a:lnTo>
                  <a:lnTo>
                    <a:pt x="273" y="84"/>
                  </a:lnTo>
                  <a:lnTo>
                    <a:pt x="271" y="83"/>
                  </a:lnTo>
                  <a:lnTo>
                    <a:pt x="270" y="79"/>
                  </a:lnTo>
                  <a:lnTo>
                    <a:pt x="270" y="78"/>
                  </a:lnTo>
                  <a:lnTo>
                    <a:pt x="268" y="76"/>
                  </a:lnTo>
                  <a:lnTo>
                    <a:pt x="265" y="77"/>
                  </a:lnTo>
                  <a:lnTo>
                    <a:pt x="265" y="78"/>
                  </a:lnTo>
                  <a:lnTo>
                    <a:pt x="263" y="80"/>
                  </a:lnTo>
                  <a:lnTo>
                    <a:pt x="261" y="83"/>
                  </a:lnTo>
                  <a:lnTo>
                    <a:pt x="258" y="82"/>
                  </a:lnTo>
                  <a:lnTo>
                    <a:pt x="258" y="79"/>
                  </a:lnTo>
                  <a:lnTo>
                    <a:pt x="259" y="76"/>
                  </a:lnTo>
                  <a:lnTo>
                    <a:pt x="257" y="74"/>
                  </a:lnTo>
                  <a:lnTo>
                    <a:pt x="256" y="76"/>
                  </a:lnTo>
                  <a:lnTo>
                    <a:pt x="255" y="76"/>
                  </a:lnTo>
                  <a:lnTo>
                    <a:pt x="253" y="79"/>
                  </a:lnTo>
                  <a:lnTo>
                    <a:pt x="251" y="82"/>
                  </a:lnTo>
                  <a:lnTo>
                    <a:pt x="247" y="82"/>
                  </a:lnTo>
                  <a:lnTo>
                    <a:pt x="247" y="79"/>
                  </a:lnTo>
                  <a:lnTo>
                    <a:pt x="250" y="77"/>
                  </a:lnTo>
                  <a:lnTo>
                    <a:pt x="251" y="76"/>
                  </a:lnTo>
                  <a:lnTo>
                    <a:pt x="252" y="73"/>
                  </a:lnTo>
                  <a:lnTo>
                    <a:pt x="251" y="73"/>
                  </a:lnTo>
                  <a:lnTo>
                    <a:pt x="250" y="72"/>
                  </a:lnTo>
                  <a:lnTo>
                    <a:pt x="251" y="71"/>
                  </a:lnTo>
                  <a:lnTo>
                    <a:pt x="251" y="70"/>
                  </a:lnTo>
                  <a:lnTo>
                    <a:pt x="250" y="67"/>
                  </a:lnTo>
                  <a:lnTo>
                    <a:pt x="247" y="66"/>
                  </a:lnTo>
                  <a:lnTo>
                    <a:pt x="244" y="65"/>
                  </a:lnTo>
                  <a:lnTo>
                    <a:pt x="244" y="64"/>
                  </a:lnTo>
                  <a:lnTo>
                    <a:pt x="244" y="61"/>
                  </a:lnTo>
                  <a:lnTo>
                    <a:pt x="244" y="59"/>
                  </a:lnTo>
                  <a:lnTo>
                    <a:pt x="241" y="58"/>
                  </a:lnTo>
                  <a:lnTo>
                    <a:pt x="240" y="56"/>
                  </a:lnTo>
                  <a:lnTo>
                    <a:pt x="238" y="55"/>
                  </a:lnTo>
                  <a:lnTo>
                    <a:pt x="236" y="56"/>
                  </a:lnTo>
                  <a:lnTo>
                    <a:pt x="236" y="58"/>
                  </a:lnTo>
                  <a:lnTo>
                    <a:pt x="234" y="60"/>
                  </a:lnTo>
                  <a:lnTo>
                    <a:pt x="233" y="62"/>
                  </a:lnTo>
                  <a:lnTo>
                    <a:pt x="230" y="66"/>
                  </a:lnTo>
                  <a:lnTo>
                    <a:pt x="228" y="65"/>
                  </a:lnTo>
                  <a:lnTo>
                    <a:pt x="229" y="64"/>
                  </a:lnTo>
                  <a:lnTo>
                    <a:pt x="230" y="62"/>
                  </a:lnTo>
                  <a:lnTo>
                    <a:pt x="230" y="61"/>
                  </a:lnTo>
                  <a:lnTo>
                    <a:pt x="229" y="61"/>
                  </a:lnTo>
                  <a:lnTo>
                    <a:pt x="230" y="60"/>
                  </a:lnTo>
                  <a:lnTo>
                    <a:pt x="232" y="59"/>
                  </a:lnTo>
                  <a:lnTo>
                    <a:pt x="230" y="58"/>
                  </a:lnTo>
                  <a:lnTo>
                    <a:pt x="232" y="56"/>
                  </a:lnTo>
                  <a:lnTo>
                    <a:pt x="233" y="56"/>
                  </a:lnTo>
                  <a:lnTo>
                    <a:pt x="232" y="54"/>
                  </a:lnTo>
                  <a:lnTo>
                    <a:pt x="234" y="54"/>
                  </a:lnTo>
                  <a:lnTo>
                    <a:pt x="235" y="52"/>
                  </a:lnTo>
                  <a:lnTo>
                    <a:pt x="234" y="52"/>
                  </a:lnTo>
                  <a:lnTo>
                    <a:pt x="235" y="50"/>
                  </a:lnTo>
                  <a:lnTo>
                    <a:pt x="236" y="49"/>
                  </a:lnTo>
                  <a:lnTo>
                    <a:pt x="238" y="48"/>
                  </a:lnTo>
                  <a:lnTo>
                    <a:pt x="236" y="46"/>
                  </a:lnTo>
                  <a:lnTo>
                    <a:pt x="234" y="44"/>
                  </a:lnTo>
                  <a:lnTo>
                    <a:pt x="233" y="43"/>
                  </a:lnTo>
                  <a:lnTo>
                    <a:pt x="232" y="43"/>
                  </a:lnTo>
                  <a:lnTo>
                    <a:pt x="230" y="44"/>
                  </a:lnTo>
                  <a:lnTo>
                    <a:pt x="230" y="48"/>
                  </a:lnTo>
                  <a:lnTo>
                    <a:pt x="228" y="47"/>
                  </a:lnTo>
                  <a:lnTo>
                    <a:pt x="228" y="48"/>
                  </a:lnTo>
                  <a:lnTo>
                    <a:pt x="228" y="50"/>
                  </a:lnTo>
                  <a:lnTo>
                    <a:pt x="227" y="53"/>
                  </a:lnTo>
                  <a:lnTo>
                    <a:pt x="226" y="53"/>
                  </a:lnTo>
                  <a:lnTo>
                    <a:pt x="226" y="54"/>
                  </a:lnTo>
                  <a:lnTo>
                    <a:pt x="226" y="56"/>
                  </a:lnTo>
                  <a:lnTo>
                    <a:pt x="224" y="56"/>
                  </a:lnTo>
                  <a:lnTo>
                    <a:pt x="223" y="54"/>
                  </a:lnTo>
                  <a:lnTo>
                    <a:pt x="224" y="52"/>
                  </a:lnTo>
                  <a:lnTo>
                    <a:pt x="224" y="49"/>
                  </a:lnTo>
                  <a:lnTo>
                    <a:pt x="224" y="48"/>
                  </a:lnTo>
                  <a:lnTo>
                    <a:pt x="223" y="47"/>
                  </a:lnTo>
                  <a:lnTo>
                    <a:pt x="224" y="46"/>
                  </a:lnTo>
                  <a:lnTo>
                    <a:pt x="226" y="43"/>
                  </a:lnTo>
                  <a:lnTo>
                    <a:pt x="224" y="41"/>
                  </a:lnTo>
                  <a:lnTo>
                    <a:pt x="223" y="40"/>
                  </a:lnTo>
                  <a:lnTo>
                    <a:pt x="221" y="40"/>
                  </a:lnTo>
                  <a:lnTo>
                    <a:pt x="220" y="41"/>
                  </a:lnTo>
                  <a:lnTo>
                    <a:pt x="220" y="43"/>
                  </a:lnTo>
                  <a:lnTo>
                    <a:pt x="218" y="43"/>
                  </a:lnTo>
                  <a:lnTo>
                    <a:pt x="217" y="41"/>
                  </a:lnTo>
                  <a:lnTo>
                    <a:pt x="217" y="40"/>
                  </a:lnTo>
                  <a:lnTo>
                    <a:pt x="216" y="41"/>
                  </a:lnTo>
                  <a:lnTo>
                    <a:pt x="215" y="40"/>
                  </a:lnTo>
                  <a:lnTo>
                    <a:pt x="215" y="37"/>
                  </a:lnTo>
                  <a:lnTo>
                    <a:pt x="214" y="37"/>
                  </a:lnTo>
                  <a:lnTo>
                    <a:pt x="214" y="35"/>
                  </a:lnTo>
                  <a:lnTo>
                    <a:pt x="212" y="34"/>
                  </a:lnTo>
                  <a:lnTo>
                    <a:pt x="210" y="32"/>
                  </a:lnTo>
                  <a:lnTo>
                    <a:pt x="209" y="31"/>
                  </a:lnTo>
                  <a:lnTo>
                    <a:pt x="206" y="32"/>
                  </a:lnTo>
                  <a:lnTo>
                    <a:pt x="206" y="36"/>
                  </a:lnTo>
                  <a:lnTo>
                    <a:pt x="206" y="37"/>
                  </a:lnTo>
                  <a:lnTo>
                    <a:pt x="209" y="40"/>
                  </a:lnTo>
                  <a:lnTo>
                    <a:pt x="206" y="41"/>
                  </a:lnTo>
                  <a:lnTo>
                    <a:pt x="205" y="41"/>
                  </a:lnTo>
                  <a:lnTo>
                    <a:pt x="205" y="43"/>
                  </a:lnTo>
                  <a:lnTo>
                    <a:pt x="208" y="44"/>
                  </a:lnTo>
                  <a:lnTo>
                    <a:pt x="210" y="47"/>
                  </a:lnTo>
                  <a:lnTo>
                    <a:pt x="211" y="48"/>
                  </a:lnTo>
                  <a:lnTo>
                    <a:pt x="214" y="50"/>
                  </a:lnTo>
                  <a:lnTo>
                    <a:pt x="214" y="52"/>
                  </a:lnTo>
                  <a:lnTo>
                    <a:pt x="212" y="52"/>
                  </a:lnTo>
                  <a:lnTo>
                    <a:pt x="209" y="50"/>
                  </a:lnTo>
                  <a:lnTo>
                    <a:pt x="206" y="50"/>
                  </a:lnTo>
                  <a:lnTo>
                    <a:pt x="205" y="52"/>
                  </a:lnTo>
                  <a:lnTo>
                    <a:pt x="206" y="53"/>
                  </a:lnTo>
                  <a:lnTo>
                    <a:pt x="208" y="55"/>
                  </a:lnTo>
                  <a:lnTo>
                    <a:pt x="209" y="56"/>
                  </a:lnTo>
                  <a:lnTo>
                    <a:pt x="210" y="60"/>
                  </a:lnTo>
                  <a:lnTo>
                    <a:pt x="211" y="61"/>
                  </a:lnTo>
                  <a:lnTo>
                    <a:pt x="210" y="62"/>
                  </a:lnTo>
                  <a:lnTo>
                    <a:pt x="208" y="62"/>
                  </a:lnTo>
                  <a:lnTo>
                    <a:pt x="205" y="62"/>
                  </a:lnTo>
                  <a:lnTo>
                    <a:pt x="204" y="61"/>
                  </a:lnTo>
                  <a:lnTo>
                    <a:pt x="204" y="60"/>
                  </a:lnTo>
                  <a:lnTo>
                    <a:pt x="203" y="60"/>
                  </a:lnTo>
                  <a:lnTo>
                    <a:pt x="199" y="61"/>
                  </a:lnTo>
                  <a:lnTo>
                    <a:pt x="197" y="64"/>
                  </a:lnTo>
                  <a:lnTo>
                    <a:pt x="196" y="66"/>
                  </a:lnTo>
                  <a:lnTo>
                    <a:pt x="197" y="66"/>
                  </a:lnTo>
                  <a:lnTo>
                    <a:pt x="198" y="68"/>
                  </a:lnTo>
                  <a:lnTo>
                    <a:pt x="199" y="71"/>
                  </a:lnTo>
                  <a:lnTo>
                    <a:pt x="200" y="72"/>
                  </a:lnTo>
                  <a:lnTo>
                    <a:pt x="203" y="73"/>
                  </a:lnTo>
                  <a:lnTo>
                    <a:pt x="204" y="76"/>
                  </a:lnTo>
                  <a:lnTo>
                    <a:pt x="205" y="77"/>
                  </a:lnTo>
                  <a:lnTo>
                    <a:pt x="208" y="78"/>
                  </a:lnTo>
                  <a:lnTo>
                    <a:pt x="209" y="79"/>
                  </a:lnTo>
                  <a:lnTo>
                    <a:pt x="210" y="78"/>
                  </a:lnTo>
                  <a:lnTo>
                    <a:pt x="211" y="77"/>
                  </a:lnTo>
                  <a:lnTo>
                    <a:pt x="212" y="77"/>
                  </a:lnTo>
                  <a:lnTo>
                    <a:pt x="215" y="77"/>
                  </a:lnTo>
                  <a:lnTo>
                    <a:pt x="217" y="78"/>
                  </a:lnTo>
                  <a:lnTo>
                    <a:pt x="217" y="79"/>
                  </a:lnTo>
                  <a:lnTo>
                    <a:pt x="216" y="82"/>
                  </a:lnTo>
                  <a:lnTo>
                    <a:pt x="215" y="80"/>
                  </a:lnTo>
                  <a:lnTo>
                    <a:pt x="214" y="79"/>
                  </a:lnTo>
                  <a:lnTo>
                    <a:pt x="211" y="79"/>
                  </a:lnTo>
                  <a:lnTo>
                    <a:pt x="209" y="79"/>
                  </a:lnTo>
                  <a:lnTo>
                    <a:pt x="206" y="80"/>
                  </a:lnTo>
                  <a:lnTo>
                    <a:pt x="205" y="79"/>
                  </a:lnTo>
                  <a:lnTo>
                    <a:pt x="204" y="78"/>
                  </a:lnTo>
                  <a:lnTo>
                    <a:pt x="200" y="77"/>
                  </a:lnTo>
                  <a:lnTo>
                    <a:pt x="200" y="79"/>
                  </a:lnTo>
                  <a:lnTo>
                    <a:pt x="199" y="80"/>
                  </a:lnTo>
                  <a:lnTo>
                    <a:pt x="200" y="82"/>
                  </a:lnTo>
                  <a:lnTo>
                    <a:pt x="203" y="84"/>
                  </a:lnTo>
                  <a:lnTo>
                    <a:pt x="205" y="85"/>
                  </a:lnTo>
                  <a:lnTo>
                    <a:pt x="205" y="88"/>
                  </a:lnTo>
                  <a:lnTo>
                    <a:pt x="203" y="89"/>
                  </a:lnTo>
                  <a:lnTo>
                    <a:pt x="203" y="90"/>
                  </a:lnTo>
                  <a:lnTo>
                    <a:pt x="204" y="90"/>
                  </a:lnTo>
                  <a:lnTo>
                    <a:pt x="205" y="91"/>
                  </a:lnTo>
                  <a:lnTo>
                    <a:pt x="208" y="94"/>
                  </a:lnTo>
                  <a:lnTo>
                    <a:pt x="206" y="95"/>
                  </a:lnTo>
                  <a:lnTo>
                    <a:pt x="205" y="95"/>
                  </a:lnTo>
                  <a:lnTo>
                    <a:pt x="205" y="94"/>
                  </a:lnTo>
                  <a:lnTo>
                    <a:pt x="204" y="91"/>
                  </a:lnTo>
                  <a:lnTo>
                    <a:pt x="203" y="91"/>
                  </a:lnTo>
                  <a:lnTo>
                    <a:pt x="202" y="94"/>
                  </a:lnTo>
                  <a:lnTo>
                    <a:pt x="200" y="95"/>
                  </a:lnTo>
                  <a:lnTo>
                    <a:pt x="199" y="96"/>
                  </a:lnTo>
                  <a:lnTo>
                    <a:pt x="199" y="97"/>
                  </a:lnTo>
                  <a:lnTo>
                    <a:pt x="202" y="98"/>
                  </a:lnTo>
                  <a:lnTo>
                    <a:pt x="203" y="98"/>
                  </a:lnTo>
                  <a:lnTo>
                    <a:pt x="204" y="98"/>
                  </a:lnTo>
                  <a:lnTo>
                    <a:pt x="205" y="101"/>
                  </a:lnTo>
                  <a:lnTo>
                    <a:pt x="208" y="101"/>
                  </a:lnTo>
                  <a:lnTo>
                    <a:pt x="209" y="100"/>
                  </a:lnTo>
                  <a:lnTo>
                    <a:pt x="210" y="98"/>
                  </a:lnTo>
                  <a:lnTo>
                    <a:pt x="211" y="98"/>
                  </a:lnTo>
                  <a:lnTo>
                    <a:pt x="215" y="98"/>
                  </a:lnTo>
                  <a:lnTo>
                    <a:pt x="216" y="98"/>
                  </a:lnTo>
                  <a:lnTo>
                    <a:pt x="218" y="98"/>
                  </a:lnTo>
                  <a:lnTo>
                    <a:pt x="220" y="98"/>
                  </a:lnTo>
                  <a:lnTo>
                    <a:pt x="222" y="101"/>
                  </a:lnTo>
                  <a:lnTo>
                    <a:pt x="222" y="102"/>
                  </a:lnTo>
                  <a:lnTo>
                    <a:pt x="223" y="103"/>
                  </a:lnTo>
                  <a:lnTo>
                    <a:pt x="224" y="103"/>
                  </a:lnTo>
                  <a:lnTo>
                    <a:pt x="226" y="103"/>
                  </a:lnTo>
                  <a:lnTo>
                    <a:pt x="227" y="102"/>
                  </a:lnTo>
                  <a:lnTo>
                    <a:pt x="228" y="101"/>
                  </a:lnTo>
                  <a:lnTo>
                    <a:pt x="230" y="102"/>
                  </a:lnTo>
                  <a:lnTo>
                    <a:pt x="232" y="102"/>
                  </a:lnTo>
                  <a:lnTo>
                    <a:pt x="234" y="103"/>
                  </a:lnTo>
                  <a:lnTo>
                    <a:pt x="235" y="106"/>
                  </a:lnTo>
                  <a:lnTo>
                    <a:pt x="233" y="107"/>
                  </a:lnTo>
                  <a:lnTo>
                    <a:pt x="232" y="106"/>
                  </a:lnTo>
                  <a:lnTo>
                    <a:pt x="229" y="106"/>
                  </a:lnTo>
                  <a:lnTo>
                    <a:pt x="228" y="105"/>
                  </a:lnTo>
                  <a:lnTo>
                    <a:pt x="228" y="103"/>
                  </a:lnTo>
                  <a:lnTo>
                    <a:pt x="227" y="105"/>
                  </a:lnTo>
                  <a:lnTo>
                    <a:pt x="226" y="106"/>
                  </a:lnTo>
                  <a:lnTo>
                    <a:pt x="224" y="107"/>
                  </a:lnTo>
                  <a:lnTo>
                    <a:pt x="222" y="107"/>
                  </a:lnTo>
                  <a:lnTo>
                    <a:pt x="220" y="108"/>
                  </a:lnTo>
                  <a:lnTo>
                    <a:pt x="217" y="107"/>
                  </a:lnTo>
                  <a:lnTo>
                    <a:pt x="217" y="106"/>
                  </a:lnTo>
                  <a:lnTo>
                    <a:pt x="217" y="105"/>
                  </a:lnTo>
                  <a:lnTo>
                    <a:pt x="216" y="103"/>
                  </a:lnTo>
                  <a:lnTo>
                    <a:pt x="215" y="103"/>
                  </a:lnTo>
                  <a:lnTo>
                    <a:pt x="215" y="105"/>
                  </a:lnTo>
                  <a:lnTo>
                    <a:pt x="214" y="105"/>
                  </a:lnTo>
                  <a:lnTo>
                    <a:pt x="212" y="106"/>
                  </a:lnTo>
                  <a:lnTo>
                    <a:pt x="214" y="107"/>
                  </a:lnTo>
                  <a:lnTo>
                    <a:pt x="214" y="109"/>
                  </a:lnTo>
                  <a:lnTo>
                    <a:pt x="212" y="109"/>
                  </a:lnTo>
                  <a:lnTo>
                    <a:pt x="211" y="109"/>
                  </a:lnTo>
                  <a:lnTo>
                    <a:pt x="211" y="108"/>
                  </a:lnTo>
                  <a:lnTo>
                    <a:pt x="211" y="106"/>
                  </a:lnTo>
                  <a:lnTo>
                    <a:pt x="209" y="107"/>
                  </a:lnTo>
                  <a:lnTo>
                    <a:pt x="208" y="107"/>
                  </a:lnTo>
                  <a:lnTo>
                    <a:pt x="208" y="105"/>
                  </a:lnTo>
                  <a:lnTo>
                    <a:pt x="208" y="103"/>
                  </a:lnTo>
                  <a:lnTo>
                    <a:pt x="206" y="102"/>
                  </a:lnTo>
                  <a:lnTo>
                    <a:pt x="204" y="102"/>
                  </a:lnTo>
                  <a:lnTo>
                    <a:pt x="202" y="103"/>
                  </a:lnTo>
                  <a:lnTo>
                    <a:pt x="199" y="103"/>
                  </a:lnTo>
                  <a:lnTo>
                    <a:pt x="198" y="105"/>
                  </a:lnTo>
                  <a:lnTo>
                    <a:pt x="197" y="105"/>
                  </a:lnTo>
                  <a:lnTo>
                    <a:pt x="198" y="107"/>
                  </a:lnTo>
                  <a:lnTo>
                    <a:pt x="199" y="109"/>
                  </a:lnTo>
                  <a:lnTo>
                    <a:pt x="200" y="111"/>
                  </a:lnTo>
                  <a:lnTo>
                    <a:pt x="202" y="112"/>
                  </a:lnTo>
                  <a:lnTo>
                    <a:pt x="203" y="113"/>
                  </a:lnTo>
                  <a:lnTo>
                    <a:pt x="203" y="114"/>
                  </a:lnTo>
                  <a:lnTo>
                    <a:pt x="204" y="115"/>
                  </a:lnTo>
                  <a:lnTo>
                    <a:pt x="206" y="117"/>
                  </a:lnTo>
                  <a:lnTo>
                    <a:pt x="208" y="118"/>
                  </a:lnTo>
                  <a:lnTo>
                    <a:pt x="205" y="119"/>
                  </a:lnTo>
                  <a:lnTo>
                    <a:pt x="204" y="120"/>
                  </a:lnTo>
                  <a:lnTo>
                    <a:pt x="203" y="118"/>
                  </a:lnTo>
                  <a:lnTo>
                    <a:pt x="200" y="118"/>
                  </a:lnTo>
                  <a:lnTo>
                    <a:pt x="200" y="119"/>
                  </a:lnTo>
                  <a:lnTo>
                    <a:pt x="199" y="120"/>
                  </a:lnTo>
                  <a:lnTo>
                    <a:pt x="198" y="120"/>
                  </a:lnTo>
                  <a:lnTo>
                    <a:pt x="197" y="119"/>
                  </a:lnTo>
                  <a:lnTo>
                    <a:pt x="197" y="117"/>
                  </a:lnTo>
                  <a:lnTo>
                    <a:pt x="196" y="117"/>
                  </a:lnTo>
                  <a:lnTo>
                    <a:pt x="194" y="117"/>
                  </a:lnTo>
                  <a:lnTo>
                    <a:pt x="193" y="117"/>
                  </a:lnTo>
                  <a:lnTo>
                    <a:pt x="192" y="118"/>
                  </a:lnTo>
                  <a:lnTo>
                    <a:pt x="191" y="118"/>
                  </a:lnTo>
                  <a:lnTo>
                    <a:pt x="191" y="119"/>
                  </a:lnTo>
                  <a:lnTo>
                    <a:pt x="191" y="121"/>
                  </a:lnTo>
                  <a:lnTo>
                    <a:pt x="192" y="121"/>
                  </a:lnTo>
                  <a:lnTo>
                    <a:pt x="194" y="124"/>
                  </a:lnTo>
                  <a:lnTo>
                    <a:pt x="196" y="126"/>
                  </a:lnTo>
                  <a:lnTo>
                    <a:pt x="198" y="125"/>
                  </a:lnTo>
                  <a:lnTo>
                    <a:pt x="199" y="125"/>
                  </a:lnTo>
                  <a:lnTo>
                    <a:pt x="202" y="125"/>
                  </a:lnTo>
                  <a:lnTo>
                    <a:pt x="203" y="125"/>
                  </a:lnTo>
                  <a:lnTo>
                    <a:pt x="204" y="125"/>
                  </a:lnTo>
                  <a:lnTo>
                    <a:pt x="206" y="125"/>
                  </a:lnTo>
                  <a:lnTo>
                    <a:pt x="208" y="125"/>
                  </a:lnTo>
                  <a:lnTo>
                    <a:pt x="209" y="124"/>
                  </a:lnTo>
                  <a:lnTo>
                    <a:pt x="209" y="123"/>
                  </a:lnTo>
                  <a:lnTo>
                    <a:pt x="210" y="120"/>
                  </a:lnTo>
                  <a:lnTo>
                    <a:pt x="211" y="119"/>
                  </a:lnTo>
                  <a:lnTo>
                    <a:pt x="212" y="119"/>
                  </a:lnTo>
                  <a:lnTo>
                    <a:pt x="216" y="118"/>
                  </a:lnTo>
                  <a:lnTo>
                    <a:pt x="218" y="117"/>
                  </a:lnTo>
                  <a:lnTo>
                    <a:pt x="220" y="115"/>
                  </a:lnTo>
                  <a:lnTo>
                    <a:pt x="221" y="114"/>
                  </a:lnTo>
                  <a:lnTo>
                    <a:pt x="222" y="113"/>
                  </a:lnTo>
                  <a:lnTo>
                    <a:pt x="224" y="114"/>
                  </a:lnTo>
                  <a:lnTo>
                    <a:pt x="226" y="115"/>
                  </a:lnTo>
                  <a:lnTo>
                    <a:pt x="226" y="118"/>
                  </a:lnTo>
                  <a:lnTo>
                    <a:pt x="224" y="118"/>
                  </a:lnTo>
                  <a:lnTo>
                    <a:pt x="223" y="117"/>
                  </a:lnTo>
                  <a:lnTo>
                    <a:pt x="221" y="118"/>
                  </a:lnTo>
                  <a:lnTo>
                    <a:pt x="218" y="119"/>
                  </a:lnTo>
                  <a:lnTo>
                    <a:pt x="218" y="121"/>
                  </a:lnTo>
                  <a:lnTo>
                    <a:pt x="217" y="123"/>
                  </a:lnTo>
                  <a:lnTo>
                    <a:pt x="217" y="124"/>
                  </a:lnTo>
                  <a:lnTo>
                    <a:pt x="215" y="124"/>
                  </a:lnTo>
                  <a:lnTo>
                    <a:pt x="215" y="121"/>
                  </a:lnTo>
                  <a:lnTo>
                    <a:pt x="214" y="123"/>
                  </a:lnTo>
                  <a:lnTo>
                    <a:pt x="212" y="124"/>
                  </a:lnTo>
                  <a:lnTo>
                    <a:pt x="212" y="126"/>
                  </a:lnTo>
                  <a:lnTo>
                    <a:pt x="211" y="127"/>
                  </a:lnTo>
                  <a:lnTo>
                    <a:pt x="209" y="130"/>
                  </a:lnTo>
                  <a:lnTo>
                    <a:pt x="208" y="129"/>
                  </a:lnTo>
                  <a:lnTo>
                    <a:pt x="208" y="127"/>
                  </a:lnTo>
                  <a:lnTo>
                    <a:pt x="206" y="127"/>
                  </a:lnTo>
                  <a:lnTo>
                    <a:pt x="204" y="129"/>
                  </a:lnTo>
                  <a:lnTo>
                    <a:pt x="204" y="130"/>
                  </a:lnTo>
                  <a:lnTo>
                    <a:pt x="202" y="130"/>
                  </a:lnTo>
                  <a:lnTo>
                    <a:pt x="200" y="129"/>
                  </a:lnTo>
                  <a:lnTo>
                    <a:pt x="198" y="129"/>
                  </a:lnTo>
                  <a:lnTo>
                    <a:pt x="197" y="127"/>
                  </a:lnTo>
                  <a:lnTo>
                    <a:pt x="194" y="127"/>
                  </a:lnTo>
                  <a:lnTo>
                    <a:pt x="194" y="126"/>
                  </a:lnTo>
                  <a:lnTo>
                    <a:pt x="193" y="126"/>
                  </a:lnTo>
                  <a:lnTo>
                    <a:pt x="193" y="125"/>
                  </a:lnTo>
                  <a:lnTo>
                    <a:pt x="191" y="124"/>
                  </a:lnTo>
                  <a:lnTo>
                    <a:pt x="189" y="125"/>
                  </a:lnTo>
                  <a:lnTo>
                    <a:pt x="188" y="126"/>
                  </a:lnTo>
                  <a:lnTo>
                    <a:pt x="187" y="124"/>
                  </a:lnTo>
                  <a:lnTo>
                    <a:pt x="186" y="123"/>
                  </a:lnTo>
                  <a:lnTo>
                    <a:pt x="185" y="120"/>
                  </a:lnTo>
                  <a:lnTo>
                    <a:pt x="183" y="119"/>
                  </a:lnTo>
                  <a:lnTo>
                    <a:pt x="182" y="118"/>
                  </a:lnTo>
                  <a:lnTo>
                    <a:pt x="180" y="117"/>
                  </a:lnTo>
                  <a:lnTo>
                    <a:pt x="180" y="114"/>
                  </a:lnTo>
                  <a:lnTo>
                    <a:pt x="180" y="113"/>
                  </a:lnTo>
                  <a:lnTo>
                    <a:pt x="177" y="112"/>
                  </a:lnTo>
                  <a:lnTo>
                    <a:pt x="175" y="113"/>
                  </a:lnTo>
                  <a:lnTo>
                    <a:pt x="175" y="114"/>
                  </a:lnTo>
                  <a:lnTo>
                    <a:pt x="175" y="115"/>
                  </a:lnTo>
                  <a:lnTo>
                    <a:pt x="175" y="117"/>
                  </a:lnTo>
                  <a:lnTo>
                    <a:pt x="176" y="120"/>
                  </a:lnTo>
                  <a:lnTo>
                    <a:pt x="176" y="121"/>
                  </a:lnTo>
                  <a:lnTo>
                    <a:pt x="175" y="123"/>
                  </a:lnTo>
                  <a:lnTo>
                    <a:pt x="173" y="121"/>
                  </a:lnTo>
                  <a:lnTo>
                    <a:pt x="171" y="120"/>
                  </a:lnTo>
                  <a:lnTo>
                    <a:pt x="170" y="119"/>
                  </a:lnTo>
                  <a:lnTo>
                    <a:pt x="169" y="119"/>
                  </a:lnTo>
                  <a:lnTo>
                    <a:pt x="168" y="119"/>
                  </a:lnTo>
                  <a:lnTo>
                    <a:pt x="165" y="119"/>
                  </a:lnTo>
                  <a:lnTo>
                    <a:pt x="163" y="118"/>
                  </a:lnTo>
                  <a:lnTo>
                    <a:pt x="162" y="118"/>
                  </a:lnTo>
                  <a:lnTo>
                    <a:pt x="161" y="117"/>
                  </a:lnTo>
                  <a:lnTo>
                    <a:pt x="157" y="118"/>
                  </a:lnTo>
                  <a:lnTo>
                    <a:pt x="157" y="117"/>
                  </a:lnTo>
                  <a:lnTo>
                    <a:pt x="156" y="115"/>
                  </a:lnTo>
                  <a:lnTo>
                    <a:pt x="155" y="114"/>
                  </a:lnTo>
                  <a:lnTo>
                    <a:pt x="155" y="113"/>
                  </a:lnTo>
                  <a:lnTo>
                    <a:pt x="152" y="112"/>
                  </a:lnTo>
                  <a:lnTo>
                    <a:pt x="151" y="111"/>
                  </a:lnTo>
                  <a:lnTo>
                    <a:pt x="151" y="112"/>
                  </a:lnTo>
                  <a:lnTo>
                    <a:pt x="149" y="112"/>
                  </a:lnTo>
                  <a:lnTo>
                    <a:pt x="147" y="113"/>
                  </a:lnTo>
                  <a:lnTo>
                    <a:pt x="147" y="115"/>
                  </a:lnTo>
                  <a:lnTo>
                    <a:pt x="150" y="117"/>
                  </a:lnTo>
                  <a:lnTo>
                    <a:pt x="150" y="118"/>
                  </a:lnTo>
                  <a:lnTo>
                    <a:pt x="147" y="119"/>
                  </a:lnTo>
                  <a:lnTo>
                    <a:pt x="146" y="118"/>
                  </a:lnTo>
                  <a:lnTo>
                    <a:pt x="145" y="117"/>
                  </a:lnTo>
                  <a:lnTo>
                    <a:pt x="145" y="114"/>
                  </a:lnTo>
                  <a:lnTo>
                    <a:pt x="144" y="113"/>
                  </a:lnTo>
                  <a:lnTo>
                    <a:pt x="143" y="114"/>
                  </a:lnTo>
                  <a:lnTo>
                    <a:pt x="140" y="115"/>
                  </a:lnTo>
                  <a:lnTo>
                    <a:pt x="139" y="115"/>
                  </a:lnTo>
                  <a:lnTo>
                    <a:pt x="138" y="117"/>
                  </a:lnTo>
                  <a:lnTo>
                    <a:pt x="139" y="119"/>
                  </a:lnTo>
                  <a:lnTo>
                    <a:pt x="140" y="120"/>
                  </a:lnTo>
                  <a:lnTo>
                    <a:pt x="143" y="120"/>
                  </a:lnTo>
                  <a:lnTo>
                    <a:pt x="143" y="123"/>
                  </a:lnTo>
                  <a:lnTo>
                    <a:pt x="143" y="125"/>
                  </a:lnTo>
                  <a:lnTo>
                    <a:pt x="144" y="126"/>
                  </a:lnTo>
                  <a:lnTo>
                    <a:pt x="145" y="125"/>
                  </a:lnTo>
                  <a:lnTo>
                    <a:pt x="146" y="125"/>
                  </a:lnTo>
                  <a:lnTo>
                    <a:pt x="149" y="125"/>
                  </a:lnTo>
                  <a:lnTo>
                    <a:pt x="147" y="126"/>
                  </a:lnTo>
                  <a:lnTo>
                    <a:pt x="145" y="127"/>
                  </a:lnTo>
                  <a:lnTo>
                    <a:pt x="143" y="129"/>
                  </a:lnTo>
                  <a:lnTo>
                    <a:pt x="141" y="129"/>
                  </a:lnTo>
                  <a:lnTo>
                    <a:pt x="143" y="131"/>
                  </a:lnTo>
                  <a:lnTo>
                    <a:pt x="145" y="131"/>
                  </a:lnTo>
                  <a:lnTo>
                    <a:pt x="147" y="132"/>
                  </a:lnTo>
                  <a:lnTo>
                    <a:pt x="149" y="133"/>
                  </a:lnTo>
                  <a:lnTo>
                    <a:pt x="150" y="135"/>
                  </a:lnTo>
                  <a:lnTo>
                    <a:pt x="151" y="133"/>
                  </a:lnTo>
                  <a:lnTo>
                    <a:pt x="152" y="132"/>
                  </a:lnTo>
                  <a:lnTo>
                    <a:pt x="155" y="132"/>
                  </a:lnTo>
                  <a:lnTo>
                    <a:pt x="156" y="132"/>
                  </a:lnTo>
                  <a:lnTo>
                    <a:pt x="157" y="132"/>
                  </a:lnTo>
                  <a:lnTo>
                    <a:pt x="158" y="133"/>
                  </a:lnTo>
                  <a:lnTo>
                    <a:pt x="158" y="136"/>
                  </a:lnTo>
                  <a:lnTo>
                    <a:pt x="159" y="138"/>
                  </a:lnTo>
                  <a:lnTo>
                    <a:pt x="162" y="138"/>
                  </a:lnTo>
                  <a:lnTo>
                    <a:pt x="164" y="138"/>
                  </a:lnTo>
                  <a:lnTo>
                    <a:pt x="165" y="137"/>
                  </a:lnTo>
                  <a:lnTo>
                    <a:pt x="167" y="137"/>
                  </a:lnTo>
                  <a:lnTo>
                    <a:pt x="168" y="137"/>
                  </a:lnTo>
                  <a:lnTo>
                    <a:pt x="170" y="138"/>
                  </a:lnTo>
                  <a:lnTo>
                    <a:pt x="171" y="138"/>
                  </a:lnTo>
                  <a:lnTo>
                    <a:pt x="174" y="138"/>
                  </a:lnTo>
                  <a:lnTo>
                    <a:pt x="175" y="136"/>
                  </a:lnTo>
                  <a:lnTo>
                    <a:pt x="175" y="133"/>
                  </a:lnTo>
                  <a:lnTo>
                    <a:pt x="175" y="135"/>
                  </a:lnTo>
                  <a:lnTo>
                    <a:pt x="176" y="135"/>
                  </a:lnTo>
                  <a:lnTo>
                    <a:pt x="177" y="136"/>
                  </a:lnTo>
                  <a:lnTo>
                    <a:pt x="179" y="137"/>
                  </a:lnTo>
                  <a:lnTo>
                    <a:pt x="181" y="138"/>
                  </a:lnTo>
                  <a:lnTo>
                    <a:pt x="180" y="139"/>
                  </a:lnTo>
                  <a:lnTo>
                    <a:pt x="179" y="141"/>
                  </a:lnTo>
                  <a:lnTo>
                    <a:pt x="181" y="142"/>
                  </a:lnTo>
                  <a:lnTo>
                    <a:pt x="180" y="143"/>
                  </a:lnTo>
                  <a:lnTo>
                    <a:pt x="179" y="143"/>
                  </a:lnTo>
                  <a:lnTo>
                    <a:pt x="176" y="144"/>
                  </a:lnTo>
                  <a:lnTo>
                    <a:pt x="174" y="147"/>
                  </a:lnTo>
                  <a:lnTo>
                    <a:pt x="175" y="149"/>
                  </a:lnTo>
                  <a:lnTo>
                    <a:pt x="176" y="150"/>
                  </a:lnTo>
                  <a:lnTo>
                    <a:pt x="179" y="151"/>
                  </a:lnTo>
                  <a:lnTo>
                    <a:pt x="180" y="151"/>
                  </a:lnTo>
                  <a:lnTo>
                    <a:pt x="181" y="153"/>
                  </a:lnTo>
                  <a:lnTo>
                    <a:pt x="181" y="155"/>
                  </a:lnTo>
                  <a:lnTo>
                    <a:pt x="180" y="156"/>
                  </a:lnTo>
                  <a:lnTo>
                    <a:pt x="182" y="157"/>
                  </a:lnTo>
                  <a:lnTo>
                    <a:pt x="183" y="157"/>
                  </a:lnTo>
                  <a:lnTo>
                    <a:pt x="185" y="157"/>
                  </a:lnTo>
                  <a:lnTo>
                    <a:pt x="186" y="159"/>
                  </a:lnTo>
                  <a:lnTo>
                    <a:pt x="185" y="160"/>
                  </a:lnTo>
                  <a:lnTo>
                    <a:pt x="185" y="162"/>
                  </a:lnTo>
                  <a:lnTo>
                    <a:pt x="186" y="163"/>
                  </a:lnTo>
                  <a:lnTo>
                    <a:pt x="185" y="163"/>
                  </a:lnTo>
                  <a:lnTo>
                    <a:pt x="182" y="163"/>
                  </a:lnTo>
                  <a:lnTo>
                    <a:pt x="181" y="163"/>
                  </a:lnTo>
                  <a:lnTo>
                    <a:pt x="181" y="165"/>
                  </a:lnTo>
                  <a:lnTo>
                    <a:pt x="180" y="165"/>
                  </a:lnTo>
                  <a:lnTo>
                    <a:pt x="179" y="166"/>
                  </a:lnTo>
                  <a:lnTo>
                    <a:pt x="180" y="167"/>
                  </a:lnTo>
                  <a:lnTo>
                    <a:pt x="181" y="168"/>
                  </a:lnTo>
                  <a:lnTo>
                    <a:pt x="182" y="169"/>
                  </a:lnTo>
                  <a:lnTo>
                    <a:pt x="183" y="171"/>
                  </a:lnTo>
                  <a:lnTo>
                    <a:pt x="185" y="171"/>
                  </a:lnTo>
                  <a:lnTo>
                    <a:pt x="187" y="171"/>
                  </a:lnTo>
                  <a:lnTo>
                    <a:pt x="188" y="171"/>
                  </a:lnTo>
                  <a:lnTo>
                    <a:pt x="188" y="172"/>
                  </a:lnTo>
                  <a:lnTo>
                    <a:pt x="189" y="174"/>
                  </a:lnTo>
                  <a:lnTo>
                    <a:pt x="192" y="174"/>
                  </a:lnTo>
                  <a:lnTo>
                    <a:pt x="194" y="175"/>
                  </a:lnTo>
                  <a:lnTo>
                    <a:pt x="194" y="174"/>
                  </a:lnTo>
                  <a:lnTo>
                    <a:pt x="196" y="174"/>
                  </a:lnTo>
                  <a:lnTo>
                    <a:pt x="197" y="173"/>
                  </a:lnTo>
                  <a:lnTo>
                    <a:pt x="199" y="172"/>
                  </a:lnTo>
                  <a:lnTo>
                    <a:pt x="200" y="171"/>
                  </a:lnTo>
                  <a:lnTo>
                    <a:pt x="203" y="168"/>
                  </a:lnTo>
                  <a:lnTo>
                    <a:pt x="205" y="168"/>
                  </a:lnTo>
                  <a:lnTo>
                    <a:pt x="206" y="169"/>
                  </a:lnTo>
                  <a:lnTo>
                    <a:pt x="208" y="168"/>
                  </a:lnTo>
                  <a:lnTo>
                    <a:pt x="209" y="168"/>
                  </a:lnTo>
                  <a:lnTo>
                    <a:pt x="210" y="169"/>
                  </a:lnTo>
                  <a:lnTo>
                    <a:pt x="211" y="171"/>
                  </a:lnTo>
                  <a:lnTo>
                    <a:pt x="214" y="171"/>
                  </a:lnTo>
                  <a:lnTo>
                    <a:pt x="216" y="171"/>
                  </a:lnTo>
                  <a:lnTo>
                    <a:pt x="217" y="171"/>
                  </a:lnTo>
                  <a:lnTo>
                    <a:pt x="217" y="168"/>
                  </a:lnTo>
                  <a:lnTo>
                    <a:pt x="218" y="167"/>
                  </a:lnTo>
                  <a:lnTo>
                    <a:pt x="220" y="169"/>
                  </a:lnTo>
                  <a:lnTo>
                    <a:pt x="222" y="168"/>
                  </a:lnTo>
                  <a:lnTo>
                    <a:pt x="223" y="168"/>
                  </a:lnTo>
                  <a:lnTo>
                    <a:pt x="224" y="166"/>
                  </a:lnTo>
                  <a:lnTo>
                    <a:pt x="227" y="165"/>
                  </a:lnTo>
                  <a:lnTo>
                    <a:pt x="227" y="163"/>
                  </a:lnTo>
                  <a:lnTo>
                    <a:pt x="228" y="161"/>
                  </a:lnTo>
                  <a:lnTo>
                    <a:pt x="229" y="161"/>
                  </a:lnTo>
                  <a:lnTo>
                    <a:pt x="232" y="162"/>
                  </a:lnTo>
                  <a:lnTo>
                    <a:pt x="233" y="163"/>
                  </a:lnTo>
                  <a:lnTo>
                    <a:pt x="235" y="163"/>
                  </a:lnTo>
                  <a:lnTo>
                    <a:pt x="238" y="163"/>
                  </a:lnTo>
                  <a:lnTo>
                    <a:pt x="240" y="163"/>
                  </a:lnTo>
                  <a:lnTo>
                    <a:pt x="241" y="163"/>
                  </a:lnTo>
                  <a:lnTo>
                    <a:pt x="242" y="163"/>
                  </a:lnTo>
                  <a:lnTo>
                    <a:pt x="242" y="165"/>
                  </a:lnTo>
                  <a:lnTo>
                    <a:pt x="242" y="166"/>
                  </a:lnTo>
                  <a:lnTo>
                    <a:pt x="241" y="167"/>
                  </a:lnTo>
                  <a:lnTo>
                    <a:pt x="240" y="167"/>
                  </a:lnTo>
                  <a:lnTo>
                    <a:pt x="239" y="167"/>
                  </a:lnTo>
                  <a:lnTo>
                    <a:pt x="239" y="168"/>
                  </a:lnTo>
                  <a:lnTo>
                    <a:pt x="238" y="168"/>
                  </a:lnTo>
                  <a:lnTo>
                    <a:pt x="238" y="171"/>
                  </a:lnTo>
                  <a:lnTo>
                    <a:pt x="236" y="171"/>
                  </a:lnTo>
                  <a:lnTo>
                    <a:pt x="235" y="172"/>
                  </a:lnTo>
                  <a:lnTo>
                    <a:pt x="234" y="172"/>
                  </a:lnTo>
                  <a:lnTo>
                    <a:pt x="232" y="172"/>
                  </a:lnTo>
                  <a:lnTo>
                    <a:pt x="230" y="173"/>
                  </a:lnTo>
                  <a:lnTo>
                    <a:pt x="230" y="174"/>
                  </a:lnTo>
                  <a:lnTo>
                    <a:pt x="229" y="174"/>
                  </a:lnTo>
                  <a:lnTo>
                    <a:pt x="228" y="175"/>
                  </a:lnTo>
                  <a:lnTo>
                    <a:pt x="227" y="175"/>
                  </a:lnTo>
                  <a:lnTo>
                    <a:pt x="227" y="177"/>
                  </a:lnTo>
                  <a:lnTo>
                    <a:pt x="226" y="178"/>
                  </a:lnTo>
                  <a:lnTo>
                    <a:pt x="226" y="180"/>
                  </a:lnTo>
                  <a:lnTo>
                    <a:pt x="228" y="180"/>
                  </a:lnTo>
                  <a:lnTo>
                    <a:pt x="230" y="180"/>
                  </a:lnTo>
                  <a:lnTo>
                    <a:pt x="230" y="179"/>
                  </a:lnTo>
                  <a:lnTo>
                    <a:pt x="232" y="178"/>
                  </a:lnTo>
                  <a:lnTo>
                    <a:pt x="233" y="177"/>
                  </a:lnTo>
                  <a:lnTo>
                    <a:pt x="234" y="177"/>
                  </a:lnTo>
                  <a:lnTo>
                    <a:pt x="235" y="175"/>
                  </a:lnTo>
                  <a:lnTo>
                    <a:pt x="236" y="174"/>
                  </a:lnTo>
                  <a:lnTo>
                    <a:pt x="239" y="173"/>
                  </a:lnTo>
                  <a:lnTo>
                    <a:pt x="241" y="172"/>
                  </a:lnTo>
                  <a:lnTo>
                    <a:pt x="244" y="171"/>
                  </a:lnTo>
                  <a:lnTo>
                    <a:pt x="246" y="171"/>
                  </a:lnTo>
                  <a:lnTo>
                    <a:pt x="245" y="172"/>
                  </a:lnTo>
                  <a:lnTo>
                    <a:pt x="244" y="173"/>
                  </a:lnTo>
                  <a:lnTo>
                    <a:pt x="241" y="174"/>
                  </a:lnTo>
                  <a:lnTo>
                    <a:pt x="240" y="174"/>
                  </a:lnTo>
                  <a:lnTo>
                    <a:pt x="241" y="177"/>
                  </a:lnTo>
                  <a:lnTo>
                    <a:pt x="242" y="175"/>
                  </a:lnTo>
                  <a:lnTo>
                    <a:pt x="244" y="174"/>
                  </a:lnTo>
                  <a:lnTo>
                    <a:pt x="245" y="174"/>
                  </a:lnTo>
                  <a:lnTo>
                    <a:pt x="246" y="173"/>
                  </a:lnTo>
                  <a:lnTo>
                    <a:pt x="247" y="172"/>
                  </a:lnTo>
                  <a:lnTo>
                    <a:pt x="250" y="171"/>
                  </a:lnTo>
                  <a:lnTo>
                    <a:pt x="251" y="171"/>
                  </a:lnTo>
                  <a:lnTo>
                    <a:pt x="251" y="173"/>
                  </a:lnTo>
                  <a:lnTo>
                    <a:pt x="248" y="174"/>
                  </a:lnTo>
                  <a:lnTo>
                    <a:pt x="247" y="175"/>
                  </a:lnTo>
                  <a:lnTo>
                    <a:pt x="247" y="177"/>
                  </a:lnTo>
                  <a:lnTo>
                    <a:pt x="248" y="178"/>
                  </a:lnTo>
                  <a:lnTo>
                    <a:pt x="247" y="179"/>
                  </a:lnTo>
                  <a:lnTo>
                    <a:pt x="246" y="179"/>
                  </a:lnTo>
                  <a:lnTo>
                    <a:pt x="244" y="179"/>
                  </a:lnTo>
                  <a:lnTo>
                    <a:pt x="242" y="181"/>
                  </a:lnTo>
                  <a:lnTo>
                    <a:pt x="241" y="183"/>
                  </a:lnTo>
                  <a:lnTo>
                    <a:pt x="240" y="181"/>
                  </a:lnTo>
                  <a:lnTo>
                    <a:pt x="239" y="180"/>
                  </a:lnTo>
                  <a:lnTo>
                    <a:pt x="236" y="180"/>
                  </a:lnTo>
                  <a:lnTo>
                    <a:pt x="238" y="181"/>
                  </a:lnTo>
                  <a:lnTo>
                    <a:pt x="239" y="183"/>
                  </a:lnTo>
                  <a:lnTo>
                    <a:pt x="239" y="185"/>
                  </a:lnTo>
                  <a:lnTo>
                    <a:pt x="239" y="186"/>
                  </a:lnTo>
                  <a:lnTo>
                    <a:pt x="238" y="189"/>
                  </a:lnTo>
                  <a:lnTo>
                    <a:pt x="238" y="190"/>
                  </a:lnTo>
                  <a:lnTo>
                    <a:pt x="236" y="191"/>
                  </a:lnTo>
                  <a:lnTo>
                    <a:pt x="235" y="192"/>
                  </a:lnTo>
                  <a:lnTo>
                    <a:pt x="234" y="193"/>
                  </a:lnTo>
                  <a:lnTo>
                    <a:pt x="235" y="193"/>
                  </a:lnTo>
                  <a:lnTo>
                    <a:pt x="238" y="195"/>
                  </a:lnTo>
                  <a:lnTo>
                    <a:pt x="240" y="195"/>
                  </a:lnTo>
                  <a:lnTo>
                    <a:pt x="242" y="195"/>
                  </a:lnTo>
                  <a:lnTo>
                    <a:pt x="244" y="193"/>
                  </a:lnTo>
                  <a:lnTo>
                    <a:pt x="246" y="193"/>
                  </a:lnTo>
                  <a:lnTo>
                    <a:pt x="248" y="193"/>
                  </a:lnTo>
                  <a:lnTo>
                    <a:pt x="250" y="192"/>
                  </a:lnTo>
                  <a:lnTo>
                    <a:pt x="251" y="192"/>
                  </a:lnTo>
                  <a:lnTo>
                    <a:pt x="252" y="191"/>
                  </a:lnTo>
                  <a:lnTo>
                    <a:pt x="252" y="190"/>
                  </a:lnTo>
                  <a:lnTo>
                    <a:pt x="251" y="187"/>
                  </a:lnTo>
                  <a:lnTo>
                    <a:pt x="250" y="187"/>
                  </a:lnTo>
                  <a:lnTo>
                    <a:pt x="250" y="185"/>
                  </a:lnTo>
                  <a:lnTo>
                    <a:pt x="250" y="184"/>
                  </a:lnTo>
                  <a:lnTo>
                    <a:pt x="251" y="183"/>
                  </a:lnTo>
                  <a:lnTo>
                    <a:pt x="252" y="183"/>
                  </a:lnTo>
                  <a:lnTo>
                    <a:pt x="252" y="181"/>
                  </a:lnTo>
                  <a:lnTo>
                    <a:pt x="252" y="180"/>
                  </a:lnTo>
                  <a:lnTo>
                    <a:pt x="252" y="179"/>
                  </a:lnTo>
                  <a:lnTo>
                    <a:pt x="251" y="178"/>
                  </a:lnTo>
                  <a:lnTo>
                    <a:pt x="253" y="178"/>
                  </a:lnTo>
                  <a:lnTo>
                    <a:pt x="253" y="177"/>
                  </a:lnTo>
                  <a:lnTo>
                    <a:pt x="253" y="175"/>
                  </a:lnTo>
                  <a:lnTo>
                    <a:pt x="253" y="174"/>
                  </a:lnTo>
                  <a:lnTo>
                    <a:pt x="253" y="173"/>
                  </a:lnTo>
                  <a:lnTo>
                    <a:pt x="255" y="169"/>
                  </a:lnTo>
                  <a:lnTo>
                    <a:pt x="256" y="169"/>
                  </a:lnTo>
                  <a:lnTo>
                    <a:pt x="258" y="168"/>
                  </a:lnTo>
                  <a:lnTo>
                    <a:pt x="257" y="167"/>
                  </a:lnTo>
                  <a:lnTo>
                    <a:pt x="257" y="166"/>
                  </a:lnTo>
                  <a:lnTo>
                    <a:pt x="256" y="165"/>
                  </a:lnTo>
                  <a:lnTo>
                    <a:pt x="255" y="163"/>
                  </a:lnTo>
                  <a:lnTo>
                    <a:pt x="256" y="161"/>
                  </a:lnTo>
                  <a:lnTo>
                    <a:pt x="257" y="161"/>
                  </a:lnTo>
                  <a:lnTo>
                    <a:pt x="258" y="161"/>
                  </a:lnTo>
                  <a:lnTo>
                    <a:pt x="258" y="162"/>
                  </a:lnTo>
                  <a:lnTo>
                    <a:pt x="259" y="162"/>
                  </a:lnTo>
                  <a:lnTo>
                    <a:pt x="261" y="161"/>
                  </a:lnTo>
                  <a:lnTo>
                    <a:pt x="263" y="160"/>
                  </a:lnTo>
                  <a:lnTo>
                    <a:pt x="264" y="160"/>
                  </a:lnTo>
                  <a:lnTo>
                    <a:pt x="267" y="159"/>
                  </a:lnTo>
                  <a:lnTo>
                    <a:pt x="269" y="159"/>
                  </a:lnTo>
                  <a:lnTo>
                    <a:pt x="274" y="159"/>
                  </a:lnTo>
                  <a:lnTo>
                    <a:pt x="276" y="160"/>
                  </a:lnTo>
                  <a:lnTo>
                    <a:pt x="277" y="161"/>
                  </a:lnTo>
                  <a:lnTo>
                    <a:pt x="279" y="162"/>
                  </a:lnTo>
                  <a:lnTo>
                    <a:pt x="280" y="162"/>
                  </a:lnTo>
                  <a:lnTo>
                    <a:pt x="282" y="162"/>
                  </a:lnTo>
                  <a:lnTo>
                    <a:pt x="283" y="161"/>
                  </a:lnTo>
                  <a:lnTo>
                    <a:pt x="285" y="162"/>
                  </a:lnTo>
                  <a:lnTo>
                    <a:pt x="282" y="163"/>
                  </a:lnTo>
                  <a:lnTo>
                    <a:pt x="281" y="163"/>
                  </a:lnTo>
                  <a:lnTo>
                    <a:pt x="280" y="165"/>
                  </a:lnTo>
                  <a:lnTo>
                    <a:pt x="280" y="166"/>
                  </a:lnTo>
                  <a:lnTo>
                    <a:pt x="281" y="167"/>
                  </a:lnTo>
                  <a:lnTo>
                    <a:pt x="282" y="167"/>
                  </a:lnTo>
                  <a:lnTo>
                    <a:pt x="283" y="166"/>
                  </a:lnTo>
                  <a:lnTo>
                    <a:pt x="285" y="166"/>
                  </a:lnTo>
                  <a:lnTo>
                    <a:pt x="287" y="165"/>
                  </a:lnTo>
                  <a:lnTo>
                    <a:pt x="287" y="167"/>
                  </a:lnTo>
                  <a:lnTo>
                    <a:pt x="286" y="168"/>
                  </a:lnTo>
                  <a:lnTo>
                    <a:pt x="285" y="168"/>
                  </a:lnTo>
                  <a:lnTo>
                    <a:pt x="283" y="171"/>
                  </a:lnTo>
                  <a:lnTo>
                    <a:pt x="281" y="172"/>
                  </a:lnTo>
                  <a:lnTo>
                    <a:pt x="280" y="171"/>
                  </a:lnTo>
                  <a:lnTo>
                    <a:pt x="279" y="172"/>
                  </a:lnTo>
                  <a:lnTo>
                    <a:pt x="277" y="173"/>
                  </a:lnTo>
                  <a:lnTo>
                    <a:pt x="277" y="174"/>
                  </a:lnTo>
                  <a:lnTo>
                    <a:pt x="276" y="178"/>
                  </a:lnTo>
                  <a:lnTo>
                    <a:pt x="275" y="177"/>
                  </a:lnTo>
                  <a:lnTo>
                    <a:pt x="275" y="174"/>
                  </a:lnTo>
                  <a:lnTo>
                    <a:pt x="274" y="174"/>
                  </a:lnTo>
                  <a:lnTo>
                    <a:pt x="274" y="175"/>
                  </a:lnTo>
                  <a:lnTo>
                    <a:pt x="273" y="178"/>
                  </a:lnTo>
                  <a:lnTo>
                    <a:pt x="271" y="178"/>
                  </a:lnTo>
                  <a:lnTo>
                    <a:pt x="270" y="177"/>
                  </a:lnTo>
                  <a:lnTo>
                    <a:pt x="270" y="174"/>
                  </a:lnTo>
                  <a:lnTo>
                    <a:pt x="269" y="172"/>
                  </a:lnTo>
                  <a:lnTo>
                    <a:pt x="268" y="172"/>
                  </a:lnTo>
                  <a:lnTo>
                    <a:pt x="267" y="174"/>
                  </a:lnTo>
                  <a:lnTo>
                    <a:pt x="265" y="175"/>
                  </a:lnTo>
                  <a:lnTo>
                    <a:pt x="264" y="174"/>
                  </a:lnTo>
                  <a:lnTo>
                    <a:pt x="262" y="172"/>
                  </a:lnTo>
                  <a:lnTo>
                    <a:pt x="261" y="173"/>
                  </a:lnTo>
                  <a:lnTo>
                    <a:pt x="261" y="174"/>
                  </a:lnTo>
                  <a:lnTo>
                    <a:pt x="262" y="175"/>
                  </a:lnTo>
                  <a:lnTo>
                    <a:pt x="263" y="177"/>
                  </a:lnTo>
                  <a:lnTo>
                    <a:pt x="264" y="177"/>
                  </a:lnTo>
                  <a:lnTo>
                    <a:pt x="267" y="178"/>
                  </a:lnTo>
                  <a:lnTo>
                    <a:pt x="268" y="179"/>
                  </a:lnTo>
                  <a:lnTo>
                    <a:pt x="267" y="180"/>
                  </a:lnTo>
                  <a:lnTo>
                    <a:pt x="263" y="180"/>
                  </a:lnTo>
                  <a:lnTo>
                    <a:pt x="262" y="180"/>
                  </a:lnTo>
                  <a:lnTo>
                    <a:pt x="261" y="181"/>
                  </a:lnTo>
                  <a:lnTo>
                    <a:pt x="261" y="183"/>
                  </a:lnTo>
                  <a:lnTo>
                    <a:pt x="262" y="184"/>
                  </a:lnTo>
                  <a:lnTo>
                    <a:pt x="264" y="184"/>
                  </a:lnTo>
                  <a:lnTo>
                    <a:pt x="267" y="184"/>
                  </a:lnTo>
                  <a:lnTo>
                    <a:pt x="268" y="184"/>
                  </a:lnTo>
                  <a:lnTo>
                    <a:pt x="269" y="183"/>
                  </a:lnTo>
                  <a:lnTo>
                    <a:pt x="270" y="181"/>
                  </a:lnTo>
                  <a:lnTo>
                    <a:pt x="271" y="180"/>
                  </a:lnTo>
                  <a:lnTo>
                    <a:pt x="274" y="179"/>
                  </a:lnTo>
                  <a:lnTo>
                    <a:pt x="275" y="179"/>
                  </a:lnTo>
                  <a:lnTo>
                    <a:pt x="275" y="181"/>
                  </a:lnTo>
                  <a:lnTo>
                    <a:pt x="274" y="183"/>
                  </a:lnTo>
                  <a:lnTo>
                    <a:pt x="275" y="183"/>
                  </a:lnTo>
                  <a:lnTo>
                    <a:pt x="276" y="183"/>
                  </a:lnTo>
                  <a:lnTo>
                    <a:pt x="277" y="181"/>
                  </a:lnTo>
                  <a:lnTo>
                    <a:pt x="279" y="180"/>
                  </a:lnTo>
                  <a:lnTo>
                    <a:pt x="282" y="180"/>
                  </a:lnTo>
                  <a:lnTo>
                    <a:pt x="283" y="179"/>
                  </a:lnTo>
                  <a:lnTo>
                    <a:pt x="283" y="177"/>
                  </a:lnTo>
                  <a:lnTo>
                    <a:pt x="283" y="175"/>
                  </a:lnTo>
                  <a:lnTo>
                    <a:pt x="283" y="174"/>
                  </a:lnTo>
                  <a:lnTo>
                    <a:pt x="283" y="173"/>
                  </a:lnTo>
                  <a:lnTo>
                    <a:pt x="285" y="172"/>
                  </a:lnTo>
                  <a:lnTo>
                    <a:pt x="286" y="171"/>
                  </a:lnTo>
                  <a:lnTo>
                    <a:pt x="287" y="169"/>
                  </a:lnTo>
                  <a:lnTo>
                    <a:pt x="289" y="167"/>
                  </a:lnTo>
                  <a:lnTo>
                    <a:pt x="291" y="166"/>
                  </a:lnTo>
                  <a:lnTo>
                    <a:pt x="292" y="166"/>
                  </a:lnTo>
                  <a:lnTo>
                    <a:pt x="293" y="167"/>
                  </a:lnTo>
                  <a:lnTo>
                    <a:pt x="292" y="168"/>
                  </a:lnTo>
                  <a:lnTo>
                    <a:pt x="292" y="169"/>
                  </a:lnTo>
                  <a:lnTo>
                    <a:pt x="291" y="172"/>
                  </a:lnTo>
                  <a:lnTo>
                    <a:pt x="291" y="174"/>
                  </a:lnTo>
                  <a:lnTo>
                    <a:pt x="292" y="177"/>
                  </a:lnTo>
                  <a:lnTo>
                    <a:pt x="293" y="178"/>
                  </a:lnTo>
                  <a:lnTo>
                    <a:pt x="297" y="180"/>
                  </a:lnTo>
                  <a:lnTo>
                    <a:pt x="301" y="181"/>
                  </a:lnTo>
                  <a:lnTo>
                    <a:pt x="300" y="183"/>
                  </a:lnTo>
                  <a:lnTo>
                    <a:pt x="299" y="183"/>
                  </a:lnTo>
                  <a:lnTo>
                    <a:pt x="297" y="183"/>
                  </a:lnTo>
                  <a:lnTo>
                    <a:pt x="294" y="184"/>
                  </a:lnTo>
                  <a:lnTo>
                    <a:pt x="293" y="184"/>
                  </a:lnTo>
                  <a:lnTo>
                    <a:pt x="289" y="185"/>
                  </a:lnTo>
                  <a:lnTo>
                    <a:pt x="289" y="187"/>
                  </a:lnTo>
                  <a:lnTo>
                    <a:pt x="291" y="189"/>
                  </a:lnTo>
                  <a:lnTo>
                    <a:pt x="293" y="187"/>
                  </a:lnTo>
                  <a:lnTo>
                    <a:pt x="295" y="186"/>
                  </a:lnTo>
                  <a:lnTo>
                    <a:pt x="294" y="189"/>
                  </a:lnTo>
                  <a:lnTo>
                    <a:pt x="292" y="190"/>
                  </a:lnTo>
                  <a:lnTo>
                    <a:pt x="289" y="190"/>
                  </a:lnTo>
                  <a:lnTo>
                    <a:pt x="286" y="191"/>
                  </a:lnTo>
                  <a:lnTo>
                    <a:pt x="283" y="193"/>
                  </a:lnTo>
                  <a:lnTo>
                    <a:pt x="282" y="195"/>
                  </a:lnTo>
                  <a:lnTo>
                    <a:pt x="280" y="197"/>
                  </a:lnTo>
                  <a:lnTo>
                    <a:pt x="279" y="199"/>
                  </a:lnTo>
                  <a:lnTo>
                    <a:pt x="277" y="202"/>
                  </a:lnTo>
                  <a:lnTo>
                    <a:pt x="276" y="203"/>
                  </a:lnTo>
                  <a:lnTo>
                    <a:pt x="275" y="204"/>
                  </a:lnTo>
                  <a:lnTo>
                    <a:pt x="273" y="203"/>
                  </a:lnTo>
                  <a:lnTo>
                    <a:pt x="273" y="201"/>
                  </a:lnTo>
                  <a:lnTo>
                    <a:pt x="271" y="201"/>
                  </a:lnTo>
                  <a:lnTo>
                    <a:pt x="270" y="201"/>
                  </a:lnTo>
                  <a:lnTo>
                    <a:pt x="269" y="202"/>
                  </a:lnTo>
                  <a:lnTo>
                    <a:pt x="268" y="202"/>
                  </a:lnTo>
                  <a:lnTo>
                    <a:pt x="268" y="203"/>
                  </a:lnTo>
                  <a:lnTo>
                    <a:pt x="269" y="204"/>
                  </a:lnTo>
                  <a:lnTo>
                    <a:pt x="270" y="207"/>
                  </a:lnTo>
                  <a:lnTo>
                    <a:pt x="269" y="207"/>
                  </a:lnTo>
                  <a:lnTo>
                    <a:pt x="268" y="208"/>
                  </a:lnTo>
                  <a:lnTo>
                    <a:pt x="267" y="209"/>
                  </a:lnTo>
                  <a:lnTo>
                    <a:pt x="265" y="209"/>
                  </a:lnTo>
                  <a:lnTo>
                    <a:pt x="264" y="208"/>
                  </a:lnTo>
                  <a:lnTo>
                    <a:pt x="262" y="207"/>
                  </a:lnTo>
                  <a:lnTo>
                    <a:pt x="261" y="207"/>
                  </a:lnTo>
                  <a:lnTo>
                    <a:pt x="259" y="205"/>
                  </a:lnTo>
                  <a:lnTo>
                    <a:pt x="259" y="203"/>
                  </a:lnTo>
                  <a:lnTo>
                    <a:pt x="257" y="203"/>
                  </a:lnTo>
                  <a:lnTo>
                    <a:pt x="257" y="204"/>
                  </a:lnTo>
                  <a:lnTo>
                    <a:pt x="257" y="205"/>
                  </a:lnTo>
                  <a:lnTo>
                    <a:pt x="255" y="205"/>
                  </a:lnTo>
                  <a:lnTo>
                    <a:pt x="252" y="205"/>
                  </a:lnTo>
                  <a:lnTo>
                    <a:pt x="252" y="208"/>
                  </a:lnTo>
                  <a:lnTo>
                    <a:pt x="253" y="210"/>
                  </a:lnTo>
                  <a:lnTo>
                    <a:pt x="256" y="210"/>
                  </a:lnTo>
                  <a:lnTo>
                    <a:pt x="258" y="210"/>
                  </a:lnTo>
                  <a:lnTo>
                    <a:pt x="263" y="210"/>
                  </a:lnTo>
                  <a:lnTo>
                    <a:pt x="264" y="210"/>
                  </a:lnTo>
                  <a:lnTo>
                    <a:pt x="261" y="212"/>
                  </a:lnTo>
                  <a:lnTo>
                    <a:pt x="257" y="213"/>
                  </a:lnTo>
                  <a:lnTo>
                    <a:pt x="256" y="213"/>
                  </a:lnTo>
                  <a:lnTo>
                    <a:pt x="253" y="215"/>
                  </a:lnTo>
                  <a:lnTo>
                    <a:pt x="253" y="216"/>
                  </a:lnTo>
                  <a:lnTo>
                    <a:pt x="255" y="218"/>
                  </a:lnTo>
                  <a:lnTo>
                    <a:pt x="256" y="218"/>
                  </a:lnTo>
                  <a:lnTo>
                    <a:pt x="258" y="218"/>
                  </a:lnTo>
                  <a:lnTo>
                    <a:pt x="261" y="216"/>
                  </a:lnTo>
                  <a:lnTo>
                    <a:pt x="262" y="216"/>
                  </a:lnTo>
                  <a:lnTo>
                    <a:pt x="263" y="219"/>
                  </a:lnTo>
                  <a:lnTo>
                    <a:pt x="261" y="219"/>
                  </a:lnTo>
                  <a:lnTo>
                    <a:pt x="259" y="219"/>
                  </a:lnTo>
                  <a:lnTo>
                    <a:pt x="256" y="219"/>
                  </a:lnTo>
                  <a:lnTo>
                    <a:pt x="253" y="219"/>
                  </a:lnTo>
                  <a:lnTo>
                    <a:pt x="252" y="219"/>
                  </a:lnTo>
                  <a:lnTo>
                    <a:pt x="251" y="220"/>
                  </a:lnTo>
                  <a:lnTo>
                    <a:pt x="251" y="222"/>
                  </a:lnTo>
                  <a:lnTo>
                    <a:pt x="253" y="222"/>
                  </a:lnTo>
                  <a:lnTo>
                    <a:pt x="255" y="224"/>
                  </a:lnTo>
                  <a:lnTo>
                    <a:pt x="253" y="225"/>
                  </a:lnTo>
                  <a:lnTo>
                    <a:pt x="256" y="226"/>
                  </a:lnTo>
                  <a:lnTo>
                    <a:pt x="256" y="225"/>
                  </a:lnTo>
                  <a:lnTo>
                    <a:pt x="253" y="227"/>
                  </a:lnTo>
                  <a:lnTo>
                    <a:pt x="253" y="228"/>
                  </a:lnTo>
                  <a:lnTo>
                    <a:pt x="255" y="228"/>
                  </a:lnTo>
                  <a:lnTo>
                    <a:pt x="256" y="231"/>
                  </a:lnTo>
                  <a:lnTo>
                    <a:pt x="255" y="231"/>
                  </a:lnTo>
                  <a:lnTo>
                    <a:pt x="253" y="231"/>
                  </a:lnTo>
                  <a:lnTo>
                    <a:pt x="252" y="232"/>
                  </a:lnTo>
                  <a:lnTo>
                    <a:pt x="252" y="234"/>
                  </a:lnTo>
                  <a:lnTo>
                    <a:pt x="251" y="233"/>
                  </a:lnTo>
                  <a:lnTo>
                    <a:pt x="250" y="233"/>
                  </a:lnTo>
                  <a:lnTo>
                    <a:pt x="250" y="236"/>
                  </a:lnTo>
                  <a:lnTo>
                    <a:pt x="248" y="237"/>
                  </a:lnTo>
                  <a:lnTo>
                    <a:pt x="247" y="237"/>
                  </a:lnTo>
                  <a:lnTo>
                    <a:pt x="245" y="236"/>
                  </a:lnTo>
                  <a:lnTo>
                    <a:pt x="245" y="234"/>
                  </a:lnTo>
                  <a:lnTo>
                    <a:pt x="244" y="233"/>
                  </a:lnTo>
                  <a:lnTo>
                    <a:pt x="242" y="233"/>
                  </a:lnTo>
                  <a:lnTo>
                    <a:pt x="241" y="233"/>
                  </a:lnTo>
                  <a:lnTo>
                    <a:pt x="241" y="234"/>
                  </a:lnTo>
                  <a:lnTo>
                    <a:pt x="240" y="237"/>
                  </a:lnTo>
                  <a:lnTo>
                    <a:pt x="239" y="237"/>
                  </a:lnTo>
                  <a:lnTo>
                    <a:pt x="239" y="236"/>
                  </a:lnTo>
                  <a:lnTo>
                    <a:pt x="238" y="234"/>
                  </a:lnTo>
                  <a:lnTo>
                    <a:pt x="236" y="236"/>
                  </a:lnTo>
                  <a:lnTo>
                    <a:pt x="235" y="237"/>
                  </a:lnTo>
                  <a:lnTo>
                    <a:pt x="236" y="238"/>
                  </a:lnTo>
                  <a:lnTo>
                    <a:pt x="235" y="238"/>
                  </a:lnTo>
                  <a:lnTo>
                    <a:pt x="234" y="237"/>
                  </a:lnTo>
                  <a:lnTo>
                    <a:pt x="233" y="236"/>
                  </a:lnTo>
                  <a:lnTo>
                    <a:pt x="230" y="236"/>
                  </a:lnTo>
                  <a:lnTo>
                    <a:pt x="230" y="239"/>
                  </a:lnTo>
                  <a:lnTo>
                    <a:pt x="230" y="240"/>
                  </a:lnTo>
                  <a:lnTo>
                    <a:pt x="228" y="239"/>
                  </a:lnTo>
                  <a:lnTo>
                    <a:pt x="227" y="238"/>
                  </a:lnTo>
                  <a:lnTo>
                    <a:pt x="224" y="239"/>
                  </a:lnTo>
                  <a:lnTo>
                    <a:pt x="224" y="240"/>
                  </a:lnTo>
                  <a:lnTo>
                    <a:pt x="224" y="242"/>
                  </a:lnTo>
                  <a:lnTo>
                    <a:pt x="223" y="240"/>
                  </a:lnTo>
                  <a:lnTo>
                    <a:pt x="221" y="240"/>
                  </a:lnTo>
                  <a:lnTo>
                    <a:pt x="220" y="240"/>
                  </a:lnTo>
                  <a:lnTo>
                    <a:pt x="217" y="239"/>
                  </a:lnTo>
                  <a:lnTo>
                    <a:pt x="217" y="240"/>
                  </a:lnTo>
                  <a:lnTo>
                    <a:pt x="215" y="240"/>
                  </a:lnTo>
                  <a:lnTo>
                    <a:pt x="214" y="240"/>
                  </a:lnTo>
                  <a:lnTo>
                    <a:pt x="210" y="239"/>
                  </a:lnTo>
                  <a:lnTo>
                    <a:pt x="210" y="240"/>
                  </a:lnTo>
                  <a:lnTo>
                    <a:pt x="209" y="243"/>
                  </a:lnTo>
                  <a:lnTo>
                    <a:pt x="210" y="243"/>
                  </a:lnTo>
                  <a:lnTo>
                    <a:pt x="212" y="245"/>
                  </a:lnTo>
                  <a:lnTo>
                    <a:pt x="212" y="246"/>
                  </a:lnTo>
                  <a:lnTo>
                    <a:pt x="211" y="248"/>
                  </a:lnTo>
                  <a:lnTo>
                    <a:pt x="212" y="249"/>
                  </a:lnTo>
                  <a:lnTo>
                    <a:pt x="214" y="250"/>
                  </a:lnTo>
                  <a:lnTo>
                    <a:pt x="215" y="252"/>
                  </a:lnTo>
                  <a:lnTo>
                    <a:pt x="217" y="254"/>
                  </a:lnTo>
                  <a:lnTo>
                    <a:pt x="217" y="255"/>
                  </a:lnTo>
                  <a:lnTo>
                    <a:pt x="215" y="255"/>
                  </a:lnTo>
                  <a:lnTo>
                    <a:pt x="212" y="255"/>
                  </a:lnTo>
                  <a:lnTo>
                    <a:pt x="210" y="255"/>
                  </a:lnTo>
                  <a:lnTo>
                    <a:pt x="209" y="254"/>
                  </a:lnTo>
                  <a:lnTo>
                    <a:pt x="211" y="254"/>
                  </a:lnTo>
                  <a:lnTo>
                    <a:pt x="211" y="251"/>
                  </a:lnTo>
                  <a:lnTo>
                    <a:pt x="212" y="250"/>
                  </a:lnTo>
                  <a:lnTo>
                    <a:pt x="211" y="250"/>
                  </a:lnTo>
                  <a:lnTo>
                    <a:pt x="210" y="250"/>
                  </a:lnTo>
                  <a:lnTo>
                    <a:pt x="209" y="251"/>
                  </a:lnTo>
                  <a:lnTo>
                    <a:pt x="208" y="251"/>
                  </a:lnTo>
                  <a:lnTo>
                    <a:pt x="209" y="250"/>
                  </a:lnTo>
                  <a:lnTo>
                    <a:pt x="209" y="249"/>
                  </a:lnTo>
                  <a:lnTo>
                    <a:pt x="209" y="246"/>
                  </a:lnTo>
                  <a:lnTo>
                    <a:pt x="209" y="245"/>
                  </a:lnTo>
                  <a:lnTo>
                    <a:pt x="208" y="244"/>
                  </a:lnTo>
                  <a:lnTo>
                    <a:pt x="206" y="244"/>
                  </a:lnTo>
                  <a:lnTo>
                    <a:pt x="206" y="246"/>
                  </a:lnTo>
                  <a:lnTo>
                    <a:pt x="206" y="249"/>
                  </a:lnTo>
                  <a:lnTo>
                    <a:pt x="204" y="249"/>
                  </a:lnTo>
                  <a:lnTo>
                    <a:pt x="204" y="248"/>
                  </a:lnTo>
                  <a:lnTo>
                    <a:pt x="203" y="246"/>
                  </a:lnTo>
                  <a:lnTo>
                    <a:pt x="202" y="248"/>
                  </a:lnTo>
                  <a:lnTo>
                    <a:pt x="202" y="249"/>
                  </a:lnTo>
                  <a:lnTo>
                    <a:pt x="199" y="250"/>
                  </a:lnTo>
                  <a:lnTo>
                    <a:pt x="198" y="249"/>
                  </a:lnTo>
                  <a:lnTo>
                    <a:pt x="198" y="248"/>
                  </a:lnTo>
                  <a:lnTo>
                    <a:pt x="197" y="246"/>
                  </a:lnTo>
                  <a:lnTo>
                    <a:pt x="196" y="246"/>
                  </a:lnTo>
                  <a:lnTo>
                    <a:pt x="194" y="248"/>
                  </a:lnTo>
                  <a:lnTo>
                    <a:pt x="193" y="250"/>
                  </a:lnTo>
                  <a:lnTo>
                    <a:pt x="192" y="251"/>
                  </a:lnTo>
                  <a:lnTo>
                    <a:pt x="192" y="254"/>
                  </a:lnTo>
                  <a:lnTo>
                    <a:pt x="193" y="255"/>
                  </a:lnTo>
                  <a:lnTo>
                    <a:pt x="194" y="255"/>
                  </a:lnTo>
                  <a:lnTo>
                    <a:pt x="197" y="257"/>
                  </a:lnTo>
                  <a:lnTo>
                    <a:pt x="198" y="260"/>
                  </a:lnTo>
                  <a:lnTo>
                    <a:pt x="196" y="260"/>
                  </a:lnTo>
                  <a:lnTo>
                    <a:pt x="194" y="258"/>
                  </a:lnTo>
                  <a:lnTo>
                    <a:pt x="193" y="256"/>
                  </a:lnTo>
                  <a:lnTo>
                    <a:pt x="192" y="255"/>
                  </a:lnTo>
                  <a:lnTo>
                    <a:pt x="189" y="256"/>
                  </a:lnTo>
                  <a:lnTo>
                    <a:pt x="189" y="255"/>
                  </a:lnTo>
                  <a:lnTo>
                    <a:pt x="188" y="254"/>
                  </a:lnTo>
                  <a:lnTo>
                    <a:pt x="189" y="251"/>
                  </a:lnTo>
                  <a:lnTo>
                    <a:pt x="189" y="250"/>
                  </a:lnTo>
                  <a:lnTo>
                    <a:pt x="191" y="250"/>
                  </a:lnTo>
                  <a:lnTo>
                    <a:pt x="192" y="248"/>
                  </a:lnTo>
                  <a:lnTo>
                    <a:pt x="192" y="245"/>
                  </a:lnTo>
                  <a:lnTo>
                    <a:pt x="192" y="244"/>
                  </a:lnTo>
                  <a:lnTo>
                    <a:pt x="192" y="243"/>
                  </a:lnTo>
                  <a:lnTo>
                    <a:pt x="189" y="242"/>
                  </a:lnTo>
                  <a:lnTo>
                    <a:pt x="189" y="240"/>
                  </a:lnTo>
                  <a:lnTo>
                    <a:pt x="191" y="238"/>
                  </a:lnTo>
                  <a:lnTo>
                    <a:pt x="189" y="236"/>
                  </a:lnTo>
                  <a:lnTo>
                    <a:pt x="189" y="234"/>
                  </a:lnTo>
                  <a:lnTo>
                    <a:pt x="185" y="238"/>
                  </a:lnTo>
                  <a:lnTo>
                    <a:pt x="183" y="239"/>
                  </a:lnTo>
                  <a:lnTo>
                    <a:pt x="182" y="239"/>
                  </a:lnTo>
                  <a:lnTo>
                    <a:pt x="181" y="239"/>
                  </a:lnTo>
                  <a:lnTo>
                    <a:pt x="181" y="237"/>
                  </a:lnTo>
                  <a:lnTo>
                    <a:pt x="180" y="237"/>
                  </a:lnTo>
                  <a:lnTo>
                    <a:pt x="179" y="233"/>
                  </a:lnTo>
                  <a:lnTo>
                    <a:pt x="177" y="233"/>
                  </a:lnTo>
                  <a:lnTo>
                    <a:pt x="176" y="234"/>
                  </a:lnTo>
                  <a:lnTo>
                    <a:pt x="175" y="234"/>
                  </a:lnTo>
                  <a:lnTo>
                    <a:pt x="174" y="233"/>
                  </a:lnTo>
                  <a:lnTo>
                    <a:pt x="174" y="232"/>
                  </a:lnTo>
                  <a:lnTo>
                    <a:pt x="175" y="230"/>
                  </a:lnTo>
                  <a:lnTo>
                    <a:pt x="176" y="227"/>
                  </a:lnTo>
                  <a:lnTo>
                    <a:pt x="176" y="225"/>
                  </a:lnTo>
                  <a:lnTo>
                    <a:pt x="174" y="222"/>
                  </a:lnTo>
                  <a:lnTo>
                    <a:pt x="174" y="221"/>
                  </a:lnTo>
                  <a:lnTo>
                    <a:pt x="171" y="222"/>
                  </a:lnTo>
                  <a:lnTo>
                    <a:pt x="170" y="222"/>
                  </a:lnTo>
                  <a:lnTo>
                    <a:pt x="168" y="222"/>
                  </a:lnTo>
                  <a:lnTo>
                    <a:pt x="167" y="222"/>
                  </a:lnTo>
                  <a:lnTo>
                    <a:pt x="167" y="225"/>
                  </a:lnTo>
                  <a:lnTo>
                    <a:pt x="165" y="226"/>
                  </a:lnTo>
                  <a:lnTo>
                    <a:pt x="167" y="227"/>
                  </a:lnTo>
                  <a:lnTo>
                    <a:pt x="168" y="228"/>
                  </a:lnTo>
                  <a:lnTo>
                    <a:pt x="165" y="230"/>
                  </a:lnTo>
                  <a:lnTo>
                    <a:pt x="165" y="231"/>
                  </a:lnTo>
                  <a:lnTo>
                    <a:pt x="167" y="233"/>
                  </a:lnTo>
                  <a:lnTo>
                    <a:pt x="168" y="233"/>
                  </a:lnTo>
                  <a:lnTo>
                    <a:pt x="168" y="236"/>
                  </a:lnTo>
                  <a:lnTo>
                    <a:pt x="168" y="237"/>
                  </a:lnTo>
                  <a:lnTo>
                    <a:pt x="168" y="239"/>
                  </a:lnTo>
                  <a:lnTo>
                    <a:pt x="168" y="242"/>
                  </a:lnTo>
                  <a:lnTo>
                    <a:pt x="171" y="242"/>
                  </a:lnTo>
                  <a:lnTo>
                    <a:pt x="170" y="243"/>
                  </a:lnTo>
                  <a:lnTo>
                    <a:pt x="169" y="244"/>
                  </a:lnTo>
                  <a:lnTo>
                    <a:pt x="170" y="246"/>
                  </a:lnTo>
                  <a:lnTo>
                    <a:pt x="170" y="249"/>
                  </a:lnTo>
                  <a:lnTo>
                    <a:pt x="169" y="248"/>
                  </a:lnTo>
                  <a:lnTo>
                    <a:pt x="168" y="245"/>
                  </a:lnTo>
                  <a:lnTo>
                    <a:pt x="168" y="243"/>
                  </a:lnTo>
                  <a:lnTo>
                    <a:pt x="165" y="242"/>
                  </a:lnTo>
                  <a:lnTo>
                    <a:pt x="165" y="239"/>
                  </a:lnTo>
                  <a:lnTo>
                    <a:pt x="163" y="238"/>
                  </a:lnTo>
                  <a:lnTo>
                    <a:pt x="163" y="236"/>
                  </a:lnTo>
                  <a:lnTo>
                    <a:pt x="162" y="234"/>
                  </a:lnTo>
                  <a:lnTo>
                    <a:pt x="161" y="232"/>
                  </a:lnTo>
                  <a:lnTo>
                    <a:pt x="159" y="233"/>
                  </a:lnTo>
                  <a:lnTo>
                    <a:pt x="158" y="233"/>
                  </a:lnTo>
                  <a:lnTo>
                    <a:pt x="158" y="234"/>
                  </a:lnTo>
                  <a:lnTo>
                    <a:pt x="158" y="236"/>
                  </a:lnTo>
                  <a:lnTo>
                    <a:pt x="158" y="239"/>
                  </a:lnTo>
                  <a:lnTo>
                    <a:pt x="159" y="240"/>
                  </a:lnTo>
                  <a:lnTo>
                    <a:pt x="162" y="242"/>
                  </a:lnTo>
                  <a:lnTo>
                    <a:pt x="163" y="243"/>
                  </a:lnTo>
                  <a:lnTo>
                    <a:pt x="162" y="244"/>
                  </a:lnTo>
                  <a:lnTo>
                    <a:pt x="161" y="244"/>
                  </a:lnTo>
                  <a:lnTo>
                    <a:pt x="158" y="243"/>
                  </a:lnTo>
                  <a:lnTo>
                    <a:pt x="157" y="242"/>
                  </a:lnTo>
                  <a:lnTo>
                    <a:pt x="157" y="240"/>
                  </a:lnTo>
                  <a:lnTo>
                    <a:pt x="156" y="239"/>
                  </a:lnTo>
                  <a:lnTo>
                    <a:pt x="155" y="238"/>
                  </a:lnTo>
                  <a:lnTo>
                    <a:pt x="155" y="237"/>
                  </a:lnTo>
                  <a:lnTo>
                    <a:pt x="153" y="236"/>
                  </a:lnTo>
                  <a:lnTo>
                    <a:pt x="152" y="234"/>
                  </a:lnTo>
                  <a:lnTo>
                    <a:pt x="152" y="233"/>
                  </a:lnTo>
                  <a:lnTo>
                    <a:pt x="153" y="232"/>
                  </a:lnTo>
                  <a:lnTo>
                    <a:pt x="155" y="231"/>
                  </a:lnTo>
                  <a:lnTo>
                    <a:pt x="155" y="228"/>
                  </a:lnTo>
                  <a:lnTo>
                    <a:pt x="153" y="227"/>
                  </a:lnTo>
                  <a:lnTo>
                    <a:pt x="151" y="227"/>
                  </a:lnTo>
                  <a:lnTo>
                    <a:pt x="150" y="227"/>
                  </a:lnTo>
                  <a:lnTo>
                    <a:pt x="149" y="228"/>
                  </a:lnTo>
                  <a:lnTo>
                    <a:pt x="147" y="228"/>
                  </a:lnTo>
                  <a:lnTo>
                    <a:pt x="145" y="227"/>
                  </a:lnTo>
                  <a:lnTo>
                    <a:pt x="145" y="225"/>
                  </a:lnTo>
                  <a:lnTo>
                    <a:pt x="144" y="224"/>
                  </a:lnTo>
                  <a:lnTo>
                    <a:pt x="141" y="222"/>
                  </a:lnTo>
                  <a:lnTo>
                    <a:pt x="141" y="221"/>
                  </a:lnTo>
                  <a:lnTo>
                    <a:pt x="140" y="219"/>
                  </a:lnTo>
                  <a:lnTo>
                    <a:pt x="139" y="218"/>
                  </a:lnTo>
                  <a:lnTo>
                    <a:pt x="137" y="216"/>
                  </a:lnTo>
                  <a:lnTo>
                    <a:pt x="134" y="216"/>
                  </a:lnTo>
                  <a:lnTo>
                    <a:pt x="134" y="219"/>
                  </a:lnTo>
                  <a:lnTo>
                    <a:pt x="134" y="220"/>
                  </a:lnTo>
                  <a:lnTo>
                    <a:pt x="133" y="221"/>
                  </a:lnTo>
                  <a:lnTo>
                    <a:pt x="133" y="224"/>
                  </a:lnTo>
                  <a:lnTo>
                    <a:pt x="135" y="225"/>
                  </a:lnTo>
                  <a:lnTo>
                    <a:pt x="137" y="227"/>
                  </a:lnTo>
                  <a:lnTo>
                    <a:pt x="139" y="228"/>
                  </a:lnTo>
                  <a:lnTo>
                    <a:pt x="140" y="230"/>
                  </a:lnTo>
                  <a:lnTo>
                    <a:pt x="141" y="230"/>
                  </a:lnTo>
                  <a:lnTo>
                    <a:pt x="144" y="231"/>
                  </a:lnTo>
                  <a:lnTo>
                    <a:pt x="144" y="232"/>
                  </a:lnTo>
                  <a:lnTo>
                    <a:pt x="143" y="233"/>
                  </a:lnTo>
                  <a:lnTo>
                    <a:pt x="141" y="233"/>
                  </a:lnTo>
                  <a:lnTo>
                    <a:pt x="139" y="231"/>
                  </a:lnTo>
                  <a:lnTo>
                    <a:pt x="138" y="228"/>
                  </a:lnTo>
                  <a:lnTo>
                    <a:pt x="137" y="231"/>
                  </a:lnTo>
                  <a:lnTo>
                    <a:pt x="135" y="232"/>
                  </a:lnTo>
                  <a:lnTo>
                    <a:pt x="134" y="228"/>
                  </a:lnTo>
                  <a:lnTo>
                    <a:pt x="133" y="226"/>
                  </a:lnTo>
                  <a:lnTo>
                    <a:pt x="130" y="227"/>
                  </a:lnTo>
                  <a:lnTo>
                    <a:pt x="130" y="228"/>
                  </a:lnTo>
                  <a:lnTo>
                    <a:pt x="129" y="227"/>
                  </a:lnTo>
                  <a:lnTo>
                    <a:pt x="127" y="225"/>
                  </a:lnTo>
                  <a:lnTo>
                    <a:pt x="127" y="222"/>
                  </a:lnTo>
                  <a:lnTo>
                    <a:pt x="124" y="222"/>
                  </a:lnTo>
                  <a:lnTo>
                    <a:pt x="123" y="225"/>
                  </a:lnTo>
                  <a:lnTo>
                    <a:pt x="122" y="224"/>
                  </a:lnTo>
                  <a:lnTo>
                    <a:pt x="121" y="222"/>
                  </a:lnTo>
                  <a:lnTo>
                    <a:pt x="122" y="219"/>
                  </a:lnTo>
                  <a:lnTo>
                    <a:pt x="122" y="218"/>
                  </a:lnTo>
                  <a:lnTo>
                    <a:pt x="120" y="215"/>
                  </a:lnTo>
                  <a:lnTo>
                    <a:pt x="117" y="216"/>
                  </a:lnTo>
                  <a:lnTo>
                    <a:pt x="115" y="218"/>
                  </a:lnTo>
                  <a:lnTo>
                    <a:pt x="111" y="218"/>
                  </a:lnTo>
                  <a:lnTo>
                    <a:pt x="110" y="216"/>
                  </a:lnTo>
                  <a:lnTo>
                    <a:pt x="109" y="215"/>
                  </a:lnTo>
                  <a:lnTo>
                    <a:pt x="108" y="214"/>
                  </a:lnTo>
                  <a:lnTo>
                    <a:pt x="105" y="213"/>
                  </a:lnTo>
                  <a:lnTo>
                    <a:pt x="103" y="213"/>
                  </a:lnTo>
                  <a:lnTo>
                    <a:pt x="102" y="214"/>
                  </a:lnTo>
                  <a:lnTo>
                    <a:pt x="103" y="215"/>
                  </a:lnTo>
                  <a:lnTo>
                    <a:pt x="102" y="216"/>
                  </a:lnTo>
                  <a:lnTo>
                    <a:pt x="99" y="216"/>
                  </a:lnTo>
                  <a:lnTo>
                    <a:pt x="98" y="215"/>
                  </a:lnTo>
                  <a:lnTo>
                    <a:pt x="98" y="214"/>
                  </a:lnTo>
                  <a:lnTo>
                    <a:pt x="98" y="213"/>
                  </a:lnTo>
                  <a:lnTo>
                    <a:pt x="98" y="212"/>
                  </a:lnTo>
                  <a:lnTo>
                    <a:pt x="97" y="209"/>
                  </a:lnTo>
                  <a:lnTo>
                    <a:pt x="94" y="209"/>
                  </a:lnTo>
                  <a:lnTo>
                    <a:pt x="92" y="207"/>
                  </a:lnTo>
                  <a:lnTo>
                    <a:pt x="92" y="205"/>
                  </a:lnTo>
                  <a:lnTo>
                    <a:pt x="92" y="204"/>
                  </a:lnTo>
                  <a:lnTo>
                    <a:pt x="91" y="202"/>
                  </a:lnTo>
                  <a:lnTo>
                    <a:pt x="88" y="202"/>
                  </a:lnTo>
                  <a:lnTo>
                    <a:pt x="88" y="203"/>
                  </a:lnTo>
                  <a:lnTo>
                    <a:pt x="88" y="205"/>
                  </a:lnTo>
                  <a:lnTo>
                    <a:pt x="87" y="204"/>
                  </a:lnTo>
                  <a:lnTo>
                    <a:pt x="86" y="203"/>
                  </a:lnTo>
                  <a:lnTo>
                    <a:pt x="85" y="202"/>
                  </a:lnTo>
                  <a:lnTo>
                    <a:pt x="84" y="202"/>
                  </a:lnTo>
                  <a:lnTo>
                    <a:pt x="81" y="201"/>
                  </a:lnTo>
                  <a:lnTo>
                    <a:pt x="80" y="201"/>
                  </a:lnTo>
                  <a:lnTo>
                    <a:pt x="79" y="201"/>
                  </a:lnTo>
                  <a:lnTo>
                    <a:pt x="78" y="201"/>
                  </a:lnTo>
                  <a:lnTo>
                    <a:pt x="76" y="201"/>
                  </a:lnTo>
                  <a:lnTo>
                    <a:pt x="75" y="201"/>
                  </a:lnTo>
                  <a:lnTo>
                    <a:pt x="75" y="204"/>
                  </a:lnTo>
                  <a:lnTo>
                    <a:pt x="78" y="207"/>
                  </a:lnTo>
                  <a:lnTo>
                    <a:pt x="80" y="209"/>
                  </a:lnTo>
                  <a:lnTo>
                    <a:pt x="80" y="212"/>
                  </a:lnTo>
                  <a:lnTo>
                    <a:pt x="79" y="212"/>
                  </a:lnTo>
                  <a:lnTo>
                    <a:pt x="79" y="213"/>
                  </a:lnTo>
                  <a:lnTo>
                    <a:pt x="79" y="215"/>
                  </a:lnTo>
                  <a:lnTo>
                    <a:pt x="80" y="216"/>
                  </a:lnTo>
                  <a:lnTo>
                    <a:pt x="81" y="216"/>
                  </a:lnTo>
                  <a:lnTo>
                    <a:pt x="82" y="219"/>
                  </a:lnTo>
                  <a:lnTo>
                    <a:pt x="84" y="219"/>
                  </a:lnTo>
                  <a:lnTo>
                    <a:pt x="87" y="219"/>
                  </a:lnTo>
                  <a:lnTo>
                    <a:pt x="88" y="220"/>
                  </a:lnTo>
                  <a:lnTo>
                    <a:pt x="88" y="221"/>
                  </a:lnTo>
                  <a:lnTo>
                    <a:pt x="87" y="221"/>
                  </a:lnTo>
                  <a:lnTo>
                    <a:pt x="86" y="221"/>
                  </a:lnTo>
                  <a:lnTo>
                    <a:pt x="84" y="222"/>
                  </a:lnTo>
                  <a:lnTo>
                    <a:pt x="82" y="224"/>
                  </a:lnTo>
                  <a:lnTo>
                    <a:pt x="84" y="226"/>
                  </a:lnTo>
                  <a:lnTo>
                    <a:pt x="86" y="226"/>
                  </a:lnTo>
                  <a:lnTo>
                    <a:pt x="87" y="227"/>
                  </a:lnTo>
                  <a:lnTo>
                    <a:pt x="86" y="228"/>
                  </a:lnTo>
                  <a:lnTo>
                    <a:pt x="88" y="230"/>
                  </a:lnTo>
                  <a:lnTo>
                    <a:pt x="90" y="230"/>
                  </a:lnTo>
                  <a:lnTo>
                    <a:pt x="91" y="231"/>
                  </a:lnTo>
                  <a:lnTo>
                    <a:pt x="93" y="231"/>
                  </a:lnTo>
                  <a:lnTo>
                    <a:pt x="94" y="232"/>
                  </a:lnTo>
                  <a:lnTo>
                    <a:pt x="96" y="232"/>
                  </a:lnTo>
                  <a:lnTo>
                    <a:pt x="96" y="233"/>
                  </a:lnTo>
                  <a:lnTo>
                    <a:pt x="94" y="234"/>
                  </a:lnTo>
                  <a:lnTo>
                    <a:pt x="93" y="234"/>
                  </a:lnTo>
                  <a:lnTo>
                    <a:pt x="91" y="233"/>
                  </a:lnTo>
                  <a:lnTo>
                    <a:pt x="90" y="232"/>
                  </a:lnTo>
                  <a:lnTo>
                    <a:pt x="87" y="232"/>
                  </a:lnTo>
                  <a:lnTo>
                    <a:pt x="86" y="231"/>
                  </a:lnTo>
                  <a:lnTo>
                    <a:pt x="86" y="230"/>
                  </a:lnTo>
                  <a:lnTo>
                    <a:pt x="84" y="230"/>
                  </a:lnTo>
                  <a:lnTo>
                    <a:pt x="84" y="231"/>
                  </a:lnTo>
                  <a:lnTo>
                    <a:pt x="82" y="230"/>
                  </a:lnTo>
                  <a:lnTo>
                    <a:pt x="80" y="228"/>
                  </a:lnTo>
                  <a:lnTo>
                    <a:pt x="80" y="230"/>
                  </a:lnTo>
                  <a:lnTo>
                    <a:pt x="79" y="230"/>
                  </a:lnTo>
                  <a:lnTo>
                    <a:pt x="76" y="230"/>
                  </a:lnTo>
                  <a:lnTo>
                    <a:pt x="76" y="231"/>
                  </a:lnTo>
                  <a:lnTo>
                    <a:pt x="74" y="233"/>
                  </a:lnTo>
                  <a:lnTo>
                    <a:pt x="73" y="234"/>
                  </a:lnTo>
                  <a:lnTo>
                    <a:pt x="75" y="237"/>
                  </a:lnTo>
                  <a:lnTo>
                    <a:pt x="78" y="237"/>
                  </a:lnTo>
                  <a:lnTo>
                    <a:pt x="78" y="239"/>
                  </a:lnTo>
                  <a:lnTo>
                    <a:pt x="81" y="240"/>
                  </a:lnTo>
                  <a:lnTo>
                    <a:pt x="84" y="240"/>
                  </a:lnTo>
                  <a:lnTo>
                    <a:pt x="87" y="240"/>
                  </a:lnTo>
                  <a:lnTo>
                    <a:pt x="90" y="242"/>
                  </a:lnTo>
                  <a:lnTo>
                    <a:pt x="91" y="243"/>
                  </a:lnTo>
                  <a:lnTo>
                    <a:pt x="91" y="245"/>
                  </a:lnTo>
                  <a:lnTo>
                    <a:pt x="92" y="248"/>
                  </a:lnTo>
                  <a:lnTo>
                    <a:pt x="94" y="249"/>
                  </a:lnTo>
                  <a:lnTo>
                    <a:pt x="97" y="249"/>
                  </a:lnTo>
                  <a:lnTo>
                    <a:pt x="98" y="248"/>
                  </a:lnTo>
                  <a:lnTo>
                    <a:pt x="100" y="248"/>
                  </a:lnTo>
                  <a:lnTo>
                    <a:pt x="102" y="248"/>
                  </a:lnTo>
                  <a:lnTo>
                    <a:pt x="104" y="250"/>
                  </a:lnTo>
                  <a:lnTo>
                    <a:pt x="106" y="251"/>
                  </a:lnTo>
                  <a:lnTo>
                    <a:pt x="108" y="251"/>
                  </a:lnTo>
                  <a:lnTo>
                    <a:pt x="109" y="250"/>
                  </a:lnTo>
                  <a:lnTo>
                    <a:pt x="110" y="250"/>
                  </a:lnTo>
                  <a:lnTo>
                    <a:pt x="111" y="251"/>
                  </a:lnTo>
                  <a:lnTo>
                    <a:pt x="111" y="255"/>
                  </a:lnTo>
                  <a:lnTo>
                    <a:pt x="109" y="256"/>
                  </a:lnTo>
                  <a:lnTo>
                    <a:pt x="106" y="256"/>
                  </a:lnTo>
                  <a:lnTo>
                    <a:pt x="104" y="256"/>
                  </a:lnTo>
                  <a:lnTo>
                    <a:pt x="103" y="258"/>
                  </a:lnTo>
                  <a:lnTo>
                    <a:pt x="103" y="260"/>
                  </a:lnTo>
                  <a:lnTo>
                    <a:pt x="105" y="261"/>
                  </a:lnTo>
                  <a:lnTo>
                    <a:pt x="108" y="261"/>
                  </a:lnTo>
                  <a:lnTo>
                    <a:pt x="110" y="263"/>
                  </a:lnTo>
                  <a:lnTo>
                    <a:pt x="111" y="262"/>
                  </a:lnTo>
                  <a:lnTo>
                    <a:pt x="112" y="261"/>
                  </a:lnTo>
                  <a:lnTo>
                    <a:pt x="114" y="260"/>
                  </a:lnTo>
                  <a:lnTo>
                    <a:pt x="115" y="260"/>
                  </a:lnTo>
                  <a:lnTo>
                    <a:pt x="116" y="260"/>
                  </a:lnTo>
                  <a:lnTo>
                    <a:pt x="118" y="260"/>
                  </a:lnTo>
                  <a:lnTo>
                    <a:pt x="122" y="260"/>
                  </a:lnTo>
                  <a:lnTo>
                    <a:pt x="124" y="262"/>
                  </a:lnTo>
                  <a:lnTo>
                    <a:pt x="124" y="263"/>
                  </a:lnTo>
                  <a:lnTo>
                    <a:pt x="124" y="266"/>
                  </a:lnTo>
                  <a:lnTo>
                    <a:pt x="122" y="266"/>
                  </a:lnTo>
                  <a:lnTo>
                    <a:pt x="121" y="264"/>
                  </a:lnTo>
                  <a:lnTo>
                    <a:pt x="120" y="264"/>
                  </a:lnTo>
                  <a:lnTo>
                    <a:pt x="118" y="264"/>
                  </a:lnTo>
                  <a:lnTo>
                    <a:pt x="117" y="264"/>
                  </a:lnTo>
                  <a:lnTo>
                    <a:pt x="116" y="266"/>
                  </a:lnTo>
                  <a:lnTo>
                    <a:pt x="115" y="267"/>
                  </a:lnTo>
                  <a:lnTo>
                    <a:pt x="112" y="267"/>
                  </a:lnTo>
                  <a:lnTo>
                    <a:pt x="111" y="267"/>
                  </a:lnTo>
                  <a:lnTo>
                    <a:pt x="109" y="267"/>
                  </a:lnTo>
                  <a:lnTo>
                    <a:pt x="106" y="269"/>
                  </a:lnTo>
                  <a:lnTo>
                    <a:pt x="106" y="274"/>
                  </a:lnTo>
                  <a:lnTo>
                    <a:pt x="108" y="274"/>
                  </a:lnTo>
                  <a:lnTo>
                    <a:pt x="109" y="274"/>
                  </a:lnTo>
                  <a:lnTo>
                    <a:pt x="111" y="275"/>
                  </a:lnTo>
                  <a:lnTo>
                    <a:pt x="114" y="275"/>
                  </a:lnTo>
                  <a:lnTo>
                    <a:pt x="116" y="275"/>
                  </a:lnTo>
                  <a:lnTo>
                    <a:pt x="117" y="275"/>
                  </a:lnTo>
                  <a:lnTo>
                    <a:pt x="118" y="274"/>
                  </a:lnTo>
                  <a:lnTo>
                    <a:pt x="120" y="272"/>
                  </a:lnTo>
                  <a:lnTo>
                    <a:pt x="122" y="272"/>
                  </a:lnTo>
                  <a:lnTo>
                    <a:pt x="123" y="273"/>
                  </a:lnTo>
                  <a:lnTo>
                    <a:pt x="122" y="275"/>
                  </a:lnTo>
                  <a:lnTo>
                    <a:pt x="121" y="275"/>
                  </a:lnTo>
                  <a:lnTo>
                    <a:pt x="120" y="275"/>
                  </a:lnTo>
                  <a:lnTo>
                    <a:pt x="118" y="278"/>
                  </a:lnTo>
                  <a:lnTo>
                    <a:pt x="118" y="279"/>
                  </a:lnTo>
                  <a:lnTo>
                    <a:pt x="121" y="280"/>
                  </a:lnTo>
                  <a:lnTo>
                    <a:pt x="123" y="280"/>
                  </a:lnTo>
                  <a:lnTo>
                    <a:pt x="124" y="282"/>
                  </a:lnTo>
                  <a:lnTo>
                    <a:pt x="126" y="284"/>
                  </a:lnTo>
                  <a:lnTo>
                    <a:pt x="127" y="284"/>
                  </a:lnTo>
                  <a:lnTo>
                    <a:pt x="128" y="285"/>
                  </a:lnTo>
                  <a:lnTo>
                    <a:pt x="128" y="287"/>
                  </a:lnTo>
                  <a:lnTo>
                    <a:pt x="126" y="287"/>
                  </a:lnTo>
                  <a:lnTo>
                    <a:pt x="123" y="286"/>
                  </a:lnTo>
                  <a:lnTo>
                    <a:pt x="120" y="287"/>
                  </a:lnTo>
                  <a:lnTo>
                    <a:pt x="121" y="291"/>
                  </a:lnTo>
                  <a:lnTo>
                    <a:pt x="121" y="292"/>
                  </a:lnTo>
                  <a:lnTo>
                    <a:pt x="122" y="294"/>
                  </a:lnTo>
                  <a:lnTo>
                    <a:pt x="120" y="296"/>
                  </a:lnTo>
                  <a:lnTo>
                    <a:pt x="118" y="297"/>
                  </a:lnTo>
                  <a:lnTo>
                    <a:pt x="120" y="299"/>
                  </a:lnTo>
                  <a:lnTo>
                    <a:pt x="122" y="299"/>
                  </a:lnTo>
                  <a:lnTo>
                    <a:pt x="124" y="300"/>
                  </a:lnTo>
                  <a:lnTo>
                    <a:pt x="126" y="303"/>
                  </a:lnTo>
                  <a:lnTo>
                    <a:pt x="124" y="305"/>
                  </a:lnTo>
                  <a:lnTo>
                    <a:pt x="122" y="308"/>
                  </a:lnTo>
                  <a:lnTo>
                    <a:pt x="121" y="309"/>
                  </a:lnTo>
                  <a:lnTo>
                    <a:pt x="122" y="310"/>
                  </a:lnTo>
                  <a:lnTo>
                    <a:pt x="124" y="310"/>
                  </a:lnTo>
                  <a:lnTo>
                    <a:pt x="126" y="309"/>
                  </a:lnTo>
                  <a:lnTo>
                    <a:pt x="128" y="311"/>
                  </a:lnTo>
                  <a:lnTo>
                    <a:pt x="129" y="312"/>
                  </a:lnTo>
                  <a:lnTo>
                    <a:pt x="133" y="315"/>
                  </a:lnTo>
                  <a:lnTo>
                    <a:pt x="132" y="317"/>
                  </a:lnTo>
                  <a:lnTo>
                    <a:pt x="129" y="317"/>
                  </a:lnTo>
                  <a:lnTo>
                    <a:pt x="128" y="319"/>
                  </a:lnTo>
                  <a:lnTo>
                    <a:pt x="126" y="320"/>
                  </a:lnTo>
                  <a:lnTo>
                    <a:pt x="123" y="322"/>
                  </a:lnTo>
                  <a:lnTo>
                    <a:pt x="122" y="323"/>
                  </a:lnTo>
                  <a:lnTo>
                    <a:pt x="121" y="322"/>
                  </a:lnTo>
                  <a:lnTo>
                    <a:pt x="120" y="321"/>
                  </a:lnTo>
                  <a:lnTo>
                    <a:pt x="118" y="321"/>
                  </a:lnTo>
                  <a:lnTo>
                    <a:pt x="118" y="323"/>
                  </a:lnTo>
                  <a:lnTo>
                    <a:pt x="118" y="326"/>
                  </a:lnTo>
                  <a:lnTo>
                    <a:pt x="121" y="327"/>
                  </a:lnTo>
                  <a:lnTo>
                    <a:pt x="118" y="328"/>
                  </a:lnTo>
                  <a:lnTo>
                    <a:pt x="117" y="329"/>
                  </a:lnTo>
                  <a:lnTo>
                    <a:pt x="115" y="331"/>
                  </a:lnTo>
                  <a:lnTo>
                    <a:pt x="115" y="328"/>
                  </a:lnTo>
                  <a:lnTo>
                    <a:pt x="112" y="328"/>
                  </a:lnTo>
                  <a:lnTo>
                    <a:pt x="111" y="328"/>
                  </a:lnTo>
                  <a:lnTo>
                    <a:pt x="111" y="331"/>
                  </a:lnTo>
                  <a:lnTo>
                    <a:pt x="111" y="333"/>
                  </a:lnTo>
                  <a:lnTo>
                    <a:pt x="109" y="333"/>
                  </a:lnTo>
                  <a:lnTo>
                    <a:pt x="108" y="331"/>
                  </a:lnTo>
                  <a:lnTo>
                    <a:pt x="106" y="331"/>
                  </a:lnTo>
                  <a:lnTo>
                    <a:pt x="104" y="331"/>
                  </a:lnTo>
                  <a:lnTo>
                    <a:pt x="103" y="332"/>
                  </a:lnTo>
                  <a:lnTo>
                    <a:pt x="103" y="334"/>
                  </a:lnTo>
                  <a:lnTo>
                    <a:pt x="100" y="334"/>
                  </a:lnTo>
                  <a:lnTo>
                    <a:pt x="100" y="335"/>
                  </a:lnTo>
                  <a:lnTo>
                    <a:pt x="99" y="338"/>
                  </a:lnTo>
                  <a:lnTo>
                    <a:pt x="96" y="338"/>
                  </a:lnTo>
                  <a:lnTo>
                    <a:pt x="94" y="337"/>
                  </a:lnTo>
                  <a:lnTo>
                    <a:pt x="93" y="337"/>
                  </a:lnTo>
                  <a:lnTo>
                    <a:pt x="90" y="337"/>
                  </a:lnTo>
                  <a:lnTo>
                    <a:pt x="88" y="334"/>
                  </a:lnTo>
                  <a:lnTo>
                    <a:pt x="87" y="334"/>
                  </a:lnTo>
                  <a:lnTo>
                    <a:pt x="86" y="333"/>
                  </a:lnTo>
                  <a:lnTo>
                    <a:pt x="84" y="333"/>
                  </a:lnTo>
                  <a:lnTo>
                    <a:pt x="84" y="334"/>
                  </a:lnTo>
                  <a:lnTo>
                    <a:pt x="82" y="335"/>
                  </a:lnTo>
                  <a:lnTo>
                    <a:pt x="86" y="338"/>
                  </a:lnTo>
                  <a:lnTo>
                    <a:pt x="86" y="340"/>
                  </a:lnTo>
                  <a:lnTo>
                    <a:pt x="86" y="343"/>
                  </a:lnTo>
                  <a:lnTo>
                    <a:pt x="88" y="344"/>
                  </a:lnTo>
                  <a:lnTo>
                    <a:pt x="90" y="344"/>
                  </a:lnTo>
                  <a:lnTo>
                    <a:pt x="91" y="344"/>
                  </a:lnTo>
                  <a:lnTo>
                    <a:pt x="91" y="346"/>
                  </a:lnTo>
                  <a:lnTo>
                    <a:pt x="88" y="346"/>
                  </a:lnTo>
                  <a:lnTo>
                    <a:pt x="87" y="347"/>
                  </a:lnTo>
                  <a:lnTo>
                    <a:pt x="87" y="349"/>
                  </a:lnTo>
                  <a:lnTo>
                    <a:pt x="87" y="350"/>
                  </a:lnTo>
                  <a:lnTo>
                    <a:pt x="90" y="349"/>
                  </a:lnTo>
                  <a:lnTo>
                    <a:pt x="91" y="350"/>
                  </a:lnTo>
                  <a:lnTo>
                    <a:pt x="92" y="351"/>
                  </a:lnTo>
                  <a:lnTo>
                    <a:pt x="93" y="351"/>
                  </a:lnTo>
                  <a:lnTo>
                    <a:pt x="96" y="351"/>
                  </a:lnTo>
                  <a:lnTo>
                    <a:pt x="97" y="350"/>
                  </a:lnTo>
                  <a:lnTo>
                    <a:pt x="98" y="350"/>
                  </a:lnTo>
                  <a:lnTo>
                    <a:pt x="99" y="349"/>
                  </a:lnTo>
                  <a:lnTo>
                    <a:pt x="99" y="347"/>
                  </a:lnTo>
                  <a:lnTo>
                    <a:pt x="99" y="346"/>
                  </a:lnTo>
                  <a:lnTo>
                    <a:pt x="97" y="345"/>
                  </a:lnTo>
                  <a:lnTo>
                    <a:pt x="94" y="345"/>
                  </a:lnTo>
                  <a:lnTo>
                    <a:pt x="94" y="344"/>
                  </a:lnTo>
                  <a:lnTo>
                    <a:pt x="97" y="343"/>
                  </a:lnTo>
                  <a:lnTo>
                    <a:pt x="98" y="343"/>
                  </a:lnTo>
                  <a:lnTo>
                    <a:pt x="99" y="344"/>
                  </a:lnTo>
                  <a:lnTo>
                    <a:pt x="100" y="343"/>
                  </a:lnTo>
                  <a:lnTo>
                    <a:pt x="102" y="341"/>
                  </a:lnTo>
                  <a:lnTo>
                    <a:pt x="102" y="340"/>
                  </a:lnTo>
                  <a:lnTo>
                    <a:pt x="104" y="339"/>
                  </a:lnTo>
                  <a:lnTo>
                    <a:pt x="105" y="337"/>
                  </a:lnTo>
                  <a:lnTo>
                    <a:pt x="108" y="338"/>
                  </a:lnTo>
                  <a:lnTo>
                    <a:pt x="110" y="338"/>
                  </a:lnTo>
                  <a:lnTo>
                    <a:pt x="111" y="338"/>
                  </a:lnTo>
                  <a:lnTo>
                    <a:pt x="112" y="338"/>
                  </a:lnTo>
                  <a:lnTo>
                    <a:pt x="115" y="338"/>
                  </a:lnTo>
                  <a:lnTo>
                    <a:pt x="116" y="338"/>
                  </a:lnTo>
                  <a:lnTo>
                    <a:pt x="117" y="338"/>
                  </a:lnTo>
                  <a:lnTo>
                    <a:pt x="118" y="337"/>
                  </a:lnTo>
                  <a:lnTo>
                    <a:pt x="120" y="335"/>
                  </a:lnTo>
                  <a:lnTo>
                    <a:pt x="122" y="335"/>
                  </a:lnTo>
                  <a:lnTo>
                    <a:pt x="122" y="337"/>
                  </a:lnTo>
                  <a:lnTo>
                    <a:pt x="126" y="338"/>
                  </a:lnTo>
                  <a:lnTo>
                    <a:pt x="127" y="340"/>
                  </a:lnTo>
                  <a:lnTo>
                    <a:pt x="130" y="340"/>
                  </a:lnTo>
                  <a:lnTo>
                    <a:pt x="132" y="341"/>
                  </a:lnTo>
                  <a:lnTo>
                    <a:pt x="129" y="341"/>
                  </a:lnTo>
                  <a:lnTo>
                    <a:pt x="126" y="341"/>
                  </a:lnTo>
                  <a:lnTo>
                    <a:pt x="124" y="343"/>
                  </a:lnTo>
                  <a:lnTo>
                    <a:pt x="123" y="344"/>
                  </a:lnTo>
                  <a:lnTo>
                    <a:pt x="122" y="344"/>
                  </a:lnTo>
                  <a:lnTo>
                    <a:pt x="120" y="344"/>
                  </a:lnTo>
                  <a:lnTo>
                    <a:pt x="117" y="344"/>
                  </a:lnTo>
                  <a:lnTo>
                    <a:pt x="116" y="344"/>
                  </a:lnTo>
                  <a:lnTo>
                    <a:pt x="115" y="341"/>
                  </a:lnTo>
                  <a:lnTo>
                    <a:pt x="112" y="341"/>
                  </a:lnTo>
                  <a:lnTo>
                    <a:pt x="111" y="341"/>
                  </a:lnTo>
                  <a:lnTo>
                    <a:pt x="109" y="341"/>
                  </a:lnTo>
                  <a:lnTo>
                    <a:pt x="106" y="341"/>
                  </a:lnTo>
                  <a:lnTo>
                    <a:pt x="105" y="341"/>
                  </a:lnTo>
                  <a:lnTo>
                    <a:pt x="103" y="344"/>
                  </a:lnTo>
                  <a:lnTo>
                    <a:pt x="102" y="345"/>
                  </a:lnTo>
                  <a:lnTo>
                    <a:pt x="102" y="346"/>
                  </a:lnTo>
                  <a:lnTo>
                    <a:pt x="102" y="347"/>
                  </a:lnTo>
                  <a:lnTo>
                    <a:pt x="104" y="347"/>
                  </a:lnTo>
                  <a:lnTo>
                    <a:pt x="105" y="347"/>
                  </a:lnTo>
                  <a:lnTo>
                    <a:pt x="106" y="347"/>
                  </a:lnTo>
                  <a:lnTo>
                    <a:pt x="108" y="347"/>
                  </a:lnTo>
                  <a:lnTo>
                    <a:pt x="109" y="345"/>
                  </a:lnTo>
                  <a:lnTo>
                    <a:pt x="110" y="345"/>
                  </a:lnTo>
                  <a:lnTo>
                    <a:pt x="110" y="347"/>
                  </a:lnTo>
                  <a:lnTo>
                    <a:pt x="112" y="347"/>
                  </a:lnTo>
                  <a:lnTo>
                    <a:pt x="111" y="349"/>
                  </a:lnTo>
                  <a:lnTo>
                    <a:pt x="110" y="349"/>
                  </a:lnTo>
                  <a:lnTo>
                    <a:pt x="109" y="349"/>
                  </a:lnTo>
                  <a:lnTo>
                    <a:pt x="109" y="352"/>
                  </a:lnTo>
                  <a:lnTo>
                    <a:pt x="108" y="352"/>
                  </a:lnTo>
                  <a:lnTo>
                    <a:pt x="108" y="351"/>
                  </a:lnTo>
                  <a:lnTo>
                    <a:pt x="106" y="350"/>
                  </a:lnTo>
                  <a:lnTo>
                    <a:pt x="104" y="349"/>
                  </a:lnTo>
                  <a:lnTo>
                    <a:pt x="104" y="350"/>
                  </a:lnTo>
                  <a:lnTo>
                    <a:pt x="103" y="351"/>
                  </a:lnTo>
                  <a:lnTo>
                    <a:pt x="104" y="352"/>
                  </a:lnTo>
                  <a:lnTo>
                    <a:pt x="104" y="353"/>
                  </a:lnTo>
                  <a:lnTo>
                    <a:pt x="102" y="355"/>
                  </a:lnTo>
                  <a:lnTo>
                    <a:pt x="103" y="356"/>
                  </a:lnTo>
                  <a:lnTo>
                    <a:pt x="104" y="356"/>
                  </a:lnTo>
                  <a:lnTo>
                    <a:pt x="104" y="357"/>
                  </a:lnTo>
                  <a:lnTo>
                    <a:pt x="102" y="358"/>
                  </a:lnTo>
                  <a:lnTo>
                    <a:pt x="99" y="362"/>
                  </a:lnTo>
                  <a:lnTo>
                    <a:pt x="98" y="361"/>
                  </a:lnTo>
                  <a:lnTo>
                    <a:pt x="97" y="359"/>
                  </a:lnTo>
                  <a:lnTo>
                    <a:pt x="96" y="357"/>
                  </a:lnTo>
                  <a:lnTo>
                    <a:pt x="96" y="356"/>
                  </a:lnTo>
                  <a:lnTo>
                    <a:pt x="93" y="356"/>
                  </a:lnTo>
                  <a:lnTo>
                    <a:pt x="93" y="359"/>
                  </a:lnTo>
                  <a:lnTo>
                    <a:pt x="92" y="361"/>
                  </a:lnTo>
                  <a:lnTo>
                    <a:pt x="91" y="359"/>
                  </a:lnTo>
                  <a:lnTo>
                    <a:pt x="91" y="358"/>
                  </a:lnTo>
                  <a:lnTo>
                    <a:pt x="90" y="356"/>
                  </a:lnTo>
                  <a:lnTo>
                    <a:pt x="88" y="355"/>
                  </a:lnTo>
                  <a:lnTo>
                    <a:pt x="87" y="355"/>
                  </a:lnTo>
                  <a:lnTo>
                    <a:pt x="86" y="355"/>
                  </a:lnTo>
                  <a:lnTo>
                    <a:pt x="84" y="356"/>
                  </a:lnTo>
                  <a:lnTo>
                    <a:pt x="82" y="357"/>
                  </a:lnTo>
                  <a:lnTo>
                    <a:pt x="81" y="357"/>
                  </a:lnTo>
                  <a:lnTo>
                    <a:pt x="80" y="358"/>
                  </a:lnTo>
                  <a:lnTo>
                    <a:pt x="79" y="358"/>
                  </a:lnTo>
                  <a:lnTo>
                    <a:pt x="78" y="357"/>
                  </a:lnTo>
                  <a:lnTo>
                    <a:pt x="78" y="356"/>
                  </a:lnTo>
                  <a:lnTo>
                    <a:pt x="79" y="356"/>
                  </a:lnTo>
                  <a:lnTo>
                    <a:pt x="80" y="355"/>
                  </a:lnTo>
                  <a:lnTo>
                    <a:pt x="81" y="355"/>
                  </a:lnTo>
                  <a:lnTo>
                    <a:pt x="82" y="355"/>
                  </a:lnTo>
                  <a:lnTo>
                    <a:pt x="84" y="353"/>
                  </a:lnTo>
                  <a:lnTo>
                    <a:pt x="84" y="352"/>
                  </a:lnTo>
                  <a:lnTo>
                    <a:pt x="82" y="351"/>
                  </a:lnTo>
                  <a:lnTo>
                    <a:pt x="80" y="351"/>
                  </a:lnTo>
                  <a:lnTo>
                    <a:pt x="79" y="350"/>
                  </a:lnTo>
                  <a:lnTo>
                    <a:pt x="76" y="349"/>
                  </a:lnTo>
                  <a:lnTo>
                    <a:pt x="75" y="347"/>
                  </a:lnTo>
                  <a:lnTo>
                    <a:pt x="75" y="346"/>
                  </a:lnTo>
                  <a:lnTo>
                    <a:pt x="74" y="346"/>
                  </a:lnTo>
                  <a:lnTo>
                    <a:pt x="74" y="347"/>
                  </a:lnTo>
                  <a:lnTo>
                    <a:pt x="71" y="347"/>
                  </a:lnTo>
                  <a:lnTo>
                    <a:pt x="71" y="349"/>
                  </a:lnTo>
                  <a:lnTo>
                    <a:pt x="71" y="351"/>
                  </a:lnTo>
                  <a:lnTo>
                    <a:pt x="73" y="352"/>
                  </a:lnTo>
                  <a:lnTo>
                    <a:pt x="71" y="353"/>
                  </a:lnTo>
                  <a:lnTo>
                    <a:pt x="70" y="355"/>
                  </a:lnTo>
                  <a:lnTo>
                    <a:pt x="68" y="356"/>
                  </a:lnTo>
                  <a:lnTo>
                    <a:pt x="68" y="355"/>
                  </a:lnTo>
                  <a:lnTo>
                    <a:pt x="68" y="353"/>
                  </a:lnTo>
                  <a:lnTo>
                    <a:pt x="68" y="352"/>
                  </a:lnTo>
                  <a:lnTo>
                    <a:pt x="65" y="352"/>
                  </a:lnTo>
                  <a:lnTo>
                    <a:pt x="65" y="351"/>
                  </a:lnTo>
                  <a:lnTo>
                    <a:pt x="65" y="350"/>
                  </a:lnTo>
                  <a:lnTo>
                    <a:pt x="67" y="347"/>
                  </a:lnTo>
                  <a:lnTo>
                    <a:pt x="67" y="346"/>
                  </a:lnTo>
                  <a:lnTo>
                    <a:pt x="65" y="344"/>
                  </a:lnTo>
                  <a:lnTo>
                    <a:pt x="64" y="344"/>
                  </a:lnTo>
                  <a:lnTo>
                    <a:pt x="62" y="344"/>
                  </a:lnTo>
                  <a:lnTo>
                    <a:pt x="61" y="341"/>
                  </a:lnTo>
                  <a:lnTo>
                    <a:pt x="61" y="340"/>
                  </a:lnTo>
                  <a:lnTo>
                    <a:pt x="61" y="339"/>
                  </a:lnTo>
                  <a:lnTo>
                    <a:pt x="59" y="338"/>
                  </a:lnTo>
                  <a:lnTo>
                    <a:pt x="57" y="338"/>
                  </a:lnTo>
                  <a:lnTo>
                    <a:pt x="56" y="338"/>
                  </a:lnTo>
                  <a:lnTo>
                    <a:pt x="56" y="339"/>
                  </a:lnTo>
                  <a:lnTo>
                    <a:pt x="56" y="341"/>
                  </a:lnTo>
                  <a:lnTo>
                    <a:pt x="56" y="343"/>
                  </a:lnTo>
                  <a:lnTo>
                    <a:pt x="55" y="344"/>
                  </a:lnTo>
                  <a:lnTo>
                    <a:pt x="55" y="345"/>
                  </a:lnTo>
                  <a:lnTo>
                    <a:pt x="52" y="345"/>
                  </a:lnTo>
                  <a:lnTo>
                    <a:pt x="52" y="346"/>
                  </a:lnTo>
                  <a:lnTo>
                    <a:pt x="53" y="346"/>
                  </a:lnTo>
                  <a:lnTo>
                    <a:pt x="55" y="347"/>
                  </a:lnTo>
                  <a:lnTo>
                    <a:pt x="56" y="349"/>
                  </a:lnTo>
                  <a:lnTo>
                    <a:pt x="56" y="350"/>
                  </a:lnTo>
                  <a:lnTo>
                    <a:pt x="56" y="351"/>
                  </a:lnTo>
                  <a:lnTo>
                    <a:pt x="59" y="352"/>
                  </a:lnTo>
                  <a:lnTo>
                    <a:pt x="61" y="352"/>
                  </a:lnTo>
                  <a:lnTo>
                    <a:pt x="61" y="355"/>
                  </a:lnTo>
                  <a:lnTo>
                    <a:pt x="59" y="355"/>
                  </a:lnTo>
                  <a:lnTo>
                    <a:pt x="59" y="356"/>
                  </a:lnTo>
                  <a:lnTo>
                    <a:pt x="61" y="357"/>
                  </a:lnTo>
                  <a:lnTo>
                    <a:pt x="63" y="358"/>
                  </a:lnTo>
                  <a:lnTo>
                    <a:pt x="62" y="359"/>
                  </a:lnTo>
                  <a:lnTo>
                    <a:pt x="61" y="359"/>
                  </a:lnTo>
                  <a:lnTo>
                    <a:pt x="59" y="358"/>
                  </a:lnTo>
                  <a:lnTo>
                    <a:pt x="58" y="356"/>
                  </a:lnTo>
                  <a:lnTo>
                    <a:pt x="57" y="356"/>
                  </a:lnTo>
                  <a:lnTo>
                    <a:pt x="57" y="357"/>
                  </a:lnTo>
                  <a:lnTo>
                    <a:pt x="57" y="358"/>
                  </a:lnTo>
                  <a:lnTo>
                    <a:pt x="58" y="361"/>
                  </a:lnTo>
                  <a:lnTo>
                    <a:pt x="59" y="362"/>
                  </a:lnTo>
                  <a:lnTo>
                    <a:pt x="61" y="364"/>
                  </a:lnTo>
                  <a:lnTo>
                    <a:pt x="61" y="365"/>
                  </a:lnTo>
                  <a:lnTo>
                    <a:pt x="59" y="365"/>
                  </a:lnTo>
                  <a:lnTo>
                    <a:pt x="58" y="365"/>
                  </a:lnTo>
                  <a:lnTo>
                    <a:pt x="57" y="363"/>
                  </a:lnTo>
                  <a:lnTo>
                    <a:pt x="56" y="361"/>
                  </a:lnTo>
                  <a:lnTo>
                    <a:pt x="55" y="362"/>
                  </a:lnTo>
                  <a:lnTo>
                    <a:pt x="55" y="363"/>
                  </a:lnTo>
                  <a:lnTo>
                    <a:pt x="53" y="364"/>
                  </a:lnTo>
                  <a:lnTo>
                    <a:pt x="52" y="364"/>
                  </a:lnTo>
                  <a:lnTo>
                    <a:pt x="52" y="361"/>
                  </a:lnTo>
                  <a:lnTo>
                    <a:pt x="55" y="359"/>
                  </a:lnTo>
                  <a:lnTo>
                    <a:pt x="55" y="358"/>
                  </a:lnTo>
                  <a:lnTo>
                    <a:pt x="52" y="357"/>
                  </a:lnTo>
                  <a:lnTo>
                    <a:pt x="51" y="356"/>
                  </a:lnTo>
                  <a:lnTo>
                    <a:pt x="50" y="355"/>
                  </a:lnTo>
                  <a:lnTo>
                    <a:pt x="50" y="353"/>
                  </a:lnTo>
                  <a:lnTo>
                    <a:pt x="47" y="353"/>
                  </a:lnTo>
                  <a:lnTo>
                    <a:pt x="47" y="355"/>
                  </a:lnTo>
                  <a:lnTo>
                    <a:pt x="47" y="357"/>
                  </a:lnTo>
                  <a:lnTo>
                    <a:pt x="45" y="357"/>
                  </a:lnTo>
                  <a:lnTo>
                    <a:pt x="45" y="356"/>
                  </a:lnTo>
                  <a:lnTo>
                    <a:pt x="44" y="357"/>
                  </a:lnTo>
                  <a:lnTo>
                    <a:pt x="44" y="358"/>
                  </a:lnTo>
                  <a:lnTo>
                    <a:pt x="46" y="359"/>
                  </a:lnTo>
                  <a:lnTo>
                    <a:pt x="45" y="361"/>
                  </a:lnTo>
                  <a:lnTo>
                    <a:pt x="44" y="359"/>
                  </a:lnTo>
                  <a:lnTo>
                    <a:pt x="43" y="359"/>
                  </a:lnTo>
                  <a:lnTo>
                    <a:pt x="41" y="358"/>
                  </a:lnTo>
                  <a:lnTo>
                    <a:pt x="39" y="358"/>
                  </a:lnTo>
                  <a:lnTo>
                    <a:pt x="38" y="358"/>
                  </a:lnTo>
                  <a:lnTo>
                    <a:pt x="38" y="357"/>
                  </a:lnTo>
                  <a:lnTo>
                    <a:pt x="38" y="356"/>
                  </a:lnTo>
                  <a:lnTo>
                    <a:pt x="39" y="355"/>
                  </a:lnTo>
                  <a:lnTo>
                    <a:pt x="38" y="355"/>
                  </a:lnTo>
                  <a:lnTo>
                    <a:pt x="38" y="352"/>
                  </a:lnTo>
                  <a:lnTo>
                    <a:pt x="35" y="351"/>
                  </a:lnTo>
                  <a:lnTo>
                    <a:pt x="34" y="352"/>
                  </a:lnTo>
                  <a:lnTo>
                    <a:pt x="34" y="355"/>
                  </a:lnTo>
                  <a:lnTo>
                    <a:pt x="34" y="357"/>
                  </a:lnTo>
                  <a:lnTo>
                    <a:pt x="33" y="356"/>
                  </a:lnTo>
                  <a:lnTo>
                    <a:pt x="32" y="353"/>
                  </a:lnTo>
                  <a:lnTo>
                    <a:pt x="32" y="352"/>
                  </a:lnTo>
                  <a:lnTo>
                    <a:pt x="31" y="352"/>
                  </a:lnTo>
                  <a:lnTo>
                    <a:pt x="29" y="351"/>
                  </a:lnTo>
                  <a:lnTo>
                    <a:pt x="27" y="349"/>
                  </a:lnTo>
                  <a:lnTo>
                    <a:pt x="26" y="350"/>
                  </a:lnTo>
                  <a:lnTo>
                    <a:pt x="25" y="352"/>
                  </a:lnTo>
                  <a:lnTo>
                    <a:pt x="23" y="351"/>
                  </a:lnTo>
                  <a:lnTo>
                    <a:pt x="23" y="353"/>
                  </a:lnTo>
                  <a:lnTo>
                    <a:pt x="25" y="355"/>
                  </a:lnTo>
                  <a:lnTo>
                    <a:pt x="27" y="356"/>
                  </a:lnTo>
                  <a:lnTo>
                    <a:pt x="28" y="358"/>
                  </a:lnTo>
                  <a:lnTo>
                    <a:pt x="28" y="359"/>
                  </a:lnTo>
                  <a:lnTo>
                    <a:pt x="28" y="362"/>
                  </a:lnTo>
                  <a:lnTo>
                    <a:pt x="27" y="362"/>
                  </a:lnTo>
                  <a:lnTo>
                    <a:pt x="26" y="362"/>
                  </a:lnTo>
                  <a:lnTo>
                    <a:pt x="26" y="359"/>
                  </a:lnTo>
                  <a:lnTo>
                    <a:pt x="26" y="357"/>
                  </a:lnTo>
                  <a:lnTo>
                    <a:pt x="25" y="356"/>
                  </a:lnTo>
                  <a:lnTo>
                    <a:pt x="23" y="355"/>
                  </a:lnTo>
                  <a:lnTo>
                    <a:pt x="22" y="355"/>
                  </a:lnTo>
                  <a:lnTo>
                    <a:pt x="21" y="353"/>
                  </a:lnTo>
                  <a:lnTo>
                    <a:pt x="21" y="352"/>
                  </a:lnTo>
                  <a:lnTo>
                    <a:pt x="20" y="352"/>
                  </a:lnTo>
                  <a:lnTo>
                    <a:pt x="19" y="355"/>
                  </a:lnTo>
                  <a:lnTo>
                    <a:pt x="19" y="356"/>
                  </a:lnTo>
                  <a:lnTo>
                    <a:pt x="17" y="355"/>
                  </a:lnTo>
                  <a:lnTo>
                    <a:pt x="19" y="352"/>
                  </a:lnTo>
                  <a:lnTo>
                    <a:pt x="20" y="351"/>
                  </a:lnTo>
                  <a:lnTo>
                    <a:pt x="20" y="350"/>
                  </a:lnTo>
                  <a:lnTo>
                    <a:pt x="19" y="349"/>
                  </a:lnTo>
                  <a:lnTo>
                    <a:pt x="19" y="347"/>
                  </a:lnTo>
                  <a:lnTo>
                    <a:pt x="15" y="347"/>
                  </a:lnTo>
                  <a:lnTo>
                    <a:pt x="14" y="347"/>
                  </a:lnTo>
                  <a:lnTo>
                    <a:pt x="14" y="349"/>
                  </a:lnTo>
                  <a:lnTo>
                    <a:pt x="14" y="351"/>
                  </a:lnTo>
                  <a:lnTo>
                    <a:pt x="14" y="352"/>
                  </a:lnTo>
                  <a:lnTo>
                    <a:pt x="12" y="355"/>
                  </a:lnTo>
                  <a:lnTo>
                    <a:pt x="12" y="352"/>
                  </a:lnTo>
                  <a:lnTo>
                    <a:pt x="12" y="351"/>
                  </a:lnTo>
                  <a:lnTo>
                    <a:pt x="12" y="350"/>
                  </a:lnTo>
                  <a:lnTo>
                    <a:pt x="10" y="349"/>
                  </a:lnTo>
                  <a:lnTo>
                    <a:pt x="8" y="349"/>
                  </a:lnTo>
                  <a:lnTo>
                    <a:pt x="8" y="347"/>
                  </a:lnTo>
                  <a:lnTo>
                    <a:pt x="6" y="347"/>
                  </a:lnTo>
                  <a:lnTo>
                    <a:pt x="5" y="346"/>
                  </a:lnTo>
                  <a:lnTo>
                    <a:pt x="5" y="347"/>
                  </a:lnTo>
                  <a:lnTo>
                    <a:pt x="2" y="349"/>
                  </a:lnTo>
                  <a:lnTo>
                    <a:pt x="0" y="349"/>
                  </a:lnTo>
                  <a:lnTo>
                    <a:pt x="0" y="350"/>
                  </a:lnTo>
                  <a:lnTo>
                    <a:pt x="0" y="351"/>
                  </a:lnTo>
                  <a:lnTo>
                    <a:pt x="3" y="353"/>
                  </a:lnTo>
                  <a:lnTo>
                    <a:pt x="4" y="353"/>
                  </a:lnTo>
                  <a:lnTo>
                    <a:pt x="3" y="355"/>
                  </a:lnTo>
                  <a:lnTo>
                    <a:pt x="3" y="356"/>
                  </a:lnTo>
                  <a:lnTo>
                    <a:pt x="5" y="358"/>
                  </a:lnTo>
                  <a:lnTo>
                    <a:pt x="6" y="358"/>
                  </a:lnTo>
                  <a:lnTo>
                    <a:pt x="8" y="357"/>
                  </a:lnTo>
                  <a:lnTo>
                    <a:pt x="8" y="359"/>
                  </a:lnTo>
                  <a:lnTo>
                    <a:pt x="9" y="361"/>
                  </a:lnTo>
                  <a:lnTo>
                    <a:pt x="10" y="361"/>
                  </a:lnTo>
                  <a:lnTo>
                    <a:pt x="12" y="362"/>
                  </a:lnTo>
                  <a:lnTo>
                    <a:pt x="11" y="363"/>
                  </a:lnTo>
                  <a:lnTo>
                    <a:pt x="10" y="364"/>
                  </a:lnTo>
                  <a:lnTo>
                    <a:pt x="11" y="367"/>
                  </a:lnTo>
                  <a:lnTo>
                    <a:pt x="10" y="368"/>
                  </a:lnTo>
                  <a:lnTo>
                    <a:pt x="9" y="369"/>
                  </a:lnTo>
                  <a:lnTo>
                    <a:pt x="11" y="371"/>
                  </a:lnTo>
                  <a:lnTo>
                    <a:pt x="11" y="374"/>
                  </a:lnTo>
                  <a:lnTo>
                    <a:pt x="12" y="375"/>
                  </a:lnTo>
                  <a:lnTo>
                    <a:pt x="14" y="376"/>
                  </a:lnTo>
                  <a:lnTo>
                    <a:pt x="16" y="377"/>
                  </a:lnTo>
                  <a:lnTo>
                    <a:pt x="17" y="377"/>
                  </a:lnTo>
                  <a:lnTo>
                    <a:pt x="20" y="377"/>
                  </a:lnTo>
                  <a:lnTo>
                    <a:pt x="21" y="377"/>
                  </a:lnTo>
                  <a:lnTo>
                    <a:pt x="22" y="377"/>
                  </a:lnTo>
                  <a:lnTo>
                    <a:pt x="25" y="377"/>
                  </a:lnTo>
                  <a:lnTo>
                    <a:pt x="26" y="376"/>
                  </a:lnTo>
                  <a:lnTo>
                    <a:pt x="28" y="375"/>
                  </a:lnTo>
                  <a:lnTo>
                    <a:pt x="29" y="376"/>
                  </a:lnTo>
                  <a:lnTo>
                    <a:pt x="28" y="377"/>
                  </a:lnTo>
                  <a:lnTo>
                    <a:pt x="29" y="379"/>
                  </a:lnTo>
                  <a:lnTo>
                    <a:pt x="32" y="379"/>
                  </a:lnTo>
                  <a:lnTo>
                    <a:pt x="34" y="377"/>
                  </a:lnTo>
                  <a:lnTo>
                    <a:pt x="35" y="379"/>
                  </a:lnTo>
                  <a:lnTo>
                    <a:pt x="37" y="379"/>
                  </a:lnTo>
                  <a:lnTo>
                    <a:pt x="38" y="377"/>
                  </a:lnTo>
                  <a:lnTo>
                    <a:pt x="39" y="377"/>
                  </a:lnTo>
                  <a:lnTo>
                    <a:pt x="37" y="380"/>
                  </a:lnTo>
                  <a:lnTo>
                    <a:pt x="34" y="380"/>
                  </a:lnTo>
                  <a:lnTo>
                    <a:pt x="33" y="380"/>
                  </a:lnTo>
                  <a:lnTo>
                    <a:pt x="32" y="381"/>
                  </a:lnTo>
                  <a:lnTo>
                    <a:pt x="31" y="381"/>
                  </a:lnTo>
                  <a:lnTo>
                    <a:pt x="29" y="380"/>
                  </a:lnTo>
                  <a:lnTo>
                    <a:pt x="28" y="379"/>
                  </a:lnTo>
                  <a:lnTo>
                    <a:pt x="27" y="379"/>
                  </a:lnTo>
                  <a:lnTo>
                    <a:pt x="26" y="379"/>
                  </a:lnTo>
                  <a:lnTo>
                    <a:pt x="25" y="380"/>
                  </a:lnTo>
                  <a:lnTo>
                    <a:pt x="23" y="380"/>
                  </a:lnTo>
                  <a:lnTo>
                    <a:pt x="21" y="380"/>
                  </a:lnTo>
                  <a:lnTo>
                    <a:pt x="17" y="380"/>
                  </a:lnTo>
                  <a:lnTo>
                    <a:pt x="16" y="380"/>
                  </a:lnTo>
                  <a:lnTo>
                    <a:pt x="15" y="381"/>
                  </a:lnTo>
                  <a:lnTo>
                    <a:pt x="14" y="383"/>
                  </a:lnTo>
                  <a:lnTo>
                    <a:pt x="15" y="385"/>
                  </a:lnTo>
                  <a:lnTo>
                    <a:pt x="16" y="385"/>
                  </a:lnTo>
                  <a:lnTo>
                    <a:pt x="17" y="386"/>
                  </a:lnTo>
                  <a:lnTo>
                    <a:pt x="19" y="386"/>
                  </a:lnTo>
                  <a:lnTo>
                    <a:pt x="20" y="388"/>
                  </a:lnTo>
                  <a:lnTo>
                    <a:pt x="21" y="386"/>
                  </a:lnTo>
                  <a:lnTo>
                    <a:pt x="22" y="385"/>
                  </a:lnTo>
                  <a:lnTo>
                    <a:pt x="23" y="386"/>
                  </a:lnTo>
                  <a:lnTo>
                    <a:pt x="25" y="387"/>
                  </a:lnTo>
                  <a:lnTo>
                    <a:pt x="26" y="387"/>
                  </a:lnTo>
                  <a:lnTo>
                    <a:pt x="27" y="387"/>
                  </a:lnTo>
                  <a:lnTo>
                    <a:pt x="28" y="387"/>
                  </a:lnTo>
                  <a:lnTo>
                    <a:pt x="31" y="387"/>
                  </a:lnTo>
                  <a:lnTo>
                    <a:pt x="32" y="387"/>
                  </a:lnTo>
                  <a:lnTo>
                    <a:pt x="33" y="387"/>
                  </a:lnTo>
                  <a:lnTo>
                    <a:pt x="34" y="386"/>
                  </a:lnTo>
                  <a:lnTo>
                    <a:pt x="35" y="386"/>
                  </a:lnTo>
                  <a:lnTo>
                    <a:pt x="38" y="387"/>
                  </a:lnTo>
                  <a:lnTo>
                    <a:pt x="38" y="389"/>
                  </a:lnTo>
                  <a:lnTo>
                    <a:pt x="37" y="388"/>
                  </a:lnTo>
                  <a:lnTo>
                    <a:pt x="34" y="387"/>
                  </a:lnTo>
                  <a:lnTo>
                    <a:pt x="32" y="388"/>
                  </a:lnTo>
                  <a:lnTo>
                    <a:pt x="31" y="388"/>
                  </a:lnTo>
                  <a:lnTo>
                    <a:pt x="31" y="389"/>
                  </a:lnTo>
                  <a:lnTo>
                    <a:pt x="33" y="391"/>
                  </a:lnTo>
                  <a:lnTo>
                    <a:pt x="34" y="392"/>
                  </a:lnTo>
                  <a:lnTo>
                    <a:pt x="34" y="393"/>
                  </a:lnTo>
                  <a:lnTo>
                    <a:pt x="33" y="394"/>
                  </a:lnTo>
                  <a:lnTo>
                    <a:pt x="32" y="394"/>
                  </a:lnTo>
                  <a:lnTo>
                    <a:pt x="29" y="393"/>
                  </a:lnTo>
                  <a:lnTo>
                    <a:pt x="29" y="392"/>
                  </a:lnTo>
                  <a:lnTo>
                    <a:pt x="27" y="391"/>
                  </a:lnTo>
                  <a:lnTo>
                    <a:pt x="27" y="392"/>
                  </a:lnTo>
                  <a:lnTo>
                    <a:pt x="26" y="394"/>
                  </a:lnTo>
                  <a:lnTo>
                    <a:pt x="25" y="393"/>
                  </a:lnTo>
                  <a:lnTo>
                    <a:pt x="23" y="392"/>
                  </a:lnTo>
                  <a:lnTo>
                    <a:pt x="22" y="393"/>
                  </a:lnTo>
                  <a:lnTo>
                    <a:pt x="22" y="394"/>
                  </a:lnTo>
                  <a:lnTo>
                    <a:pt x="20" y="394"/>
                  </a:lnTo>
                  <a:lnTo>
                    <a:pt x="20" y="395"/>
                  </a:lnTo>
                  <a:lnTo>
                    <a:pt x="22" y="398"/>
                  </a:lnTo>
                  <a:lnTo>
                    <a:pt x="25" y="399"/>
                  </a:lnTo>
                  <a:lnTo>
                    <a:pt x="26" y="401"/>
                  </a:lnTo>
                  <a:lnTo>
                    <a:pt x="27" y="401"/>
                  </a:lnTo>
                  <a:lnTo>
                    <a:pt x="26" y="403"/>
                  </a:lnTo>
                  <a:lnTo>
                    <a:pt x="23" y="401"/>
                  </a:lnTo>
                  <a:lnTo>
                    <a:pt x="22" y="401"/>
                  </a:lnTo>
                  <a:lnTo>
                    <a:pt x="21" y="401"/>
                  </a:lnTo>
                  <a:lnTo>
                    <a:pt x="20" y="401"/>
                  </a:lnTo>
                  <a:lnTo>
                    <a:pt x="20" y="404"/>
                  </a:lnTo>
                  <a:lnTo>
                    <a:pt x="21" y="406"/>
                  </a:lnTo>
                  <a:lnTo>
                    <a:pt x="22" y="407"/>
                  </a:lnTo>
                  <a:lnTo>
                    <a:pt x="20" y="407"/>
                  </a:lnTo>
                  <a:lnTo>
                    <a:pt x="17" y="406"/>
                  </a:lnTo>
                  <a:lnTo>
                    <a:pt x="19" y="410"/>
                  </a:lnTo>
                  <a:lnTo>
                    <a:pt x="19" y="411"/>
                  </a:lnTo>
                  <a:lnTo>
                    <a:pt x="20" y="412"/>
                  </a:lnTo>
                  <a:lnTo>
                    <a:pt x="19" y="412"/>
                  </a:lnTo>
                  <a:lnTo>
                    <a:pt x="17" y="411"/>
                  </a:lnTo>
                  <a:lnTo>
                    <a:pt x="17" y="410"/>
                  </a:lnTo>
                  <a:lnTo>
                    <a:pt x="16" y="407"/>
                  </a:lnTo>
                  <a:lnTo>
                    <a:pt x="15" y="407"/>
                  </a:lnTo>
                  <a:lnTo>
                    <a:pt x="14" y="407"/>
                  </a:lnTo>
                  <a:lnTo>
                    <a:pt x="12" y="409"/>
                  </a:lnTo>
                  <a:lnTo>
                    <a:pt x="12" y="411"/>
                  </a:lnTo>
                  <a:lnTo>
                    <a:pt x="11" y="412"/>
                  </a:lnTo>
                  <a:lnTo>
                    <a:pt x="10" y="411"/>
                  </a:lnTo>
                  <a:lnTo>
                    <a:pt x="10" y="410"/>
                  </a:lnTo>
                  <a:lnTo>
                    <a:pt x="10" y="409"/>
                  </a:lnTo>
                  <a:lnTo>
                    <a:pt x="9" y="409"/>
                  </a:lnTo>
                  <a:lnTo>
                    <a:pt x="6" y="409"/>
                  </a:lnTo>
                  <a:lnTo>
                    <a:pt x="5" y="410"/>
                  </a:lnTo>
                  <a:lnTo>
                    <a:pt x="4" y="411"/>
                  </a:lnTo>
                  <a:lnTo>
                    <a:pt x="2" y="412"/>
                  </a:lnTo>
                  <a:lnTo>
                    <a:pt x="2" y="413"/>
                  </a:lnTo>
                  <a:lnTo>
                    <a:pt x="3" y="416"/>
                  </a:lnTo>
                  <a:lnTo>
                    <a:pt x="3" y="417"/>
                  </a:lnTo>
                  <a:lnTo>
                    <a:pt x="5" y="418"/>
                  </a:lnTo>
                  <a:lnTo>
                    <a:pt x="9" y="422"/>
                  </a:lnTo>
                  <a:lnTo>
                    <a:pt x="10" y="422"/>
                  </a:lnTo>
                  <a:lnTo>
                    <a:pt x="11" y="423"/>
                  </a:lnTo>
                  <a:lnTo>
                    <a:pt x="12" y="424"/>
                  </a:lnTo>
                  <a:lnTo>
                    <a:pt x="16" y="424"/>
                  </a:lnTo>
                  <a:lnTo>
                    <a:pt x="15" y="426"/>
                  </a:lnTo>
                  <a:lnTo>
                    <a:pt x="12" y="426"/>
                  </a:lnTo>
                  <a:lnTo>
                    <a:pt x="11" y="426"/>
                  </a:lnTo>
                  <a:lnTo>
                    <a:pt x="9" y="426"/>
                  </a:lnTo>
                  <a:lnTo>
                    <a:pt x="9" y="428"/>
                  </a:lnTo>
                  <a:lnTo>
                    <a:pt x="10" y="429"/>
                  </a:lnTo>
                  <a:lnTo>
                    <a:pt x="8" y="430"/>
                  </a:lnTo>
                  <a:lnTo>
                    <a:pt x="6" y="430"/>
                  </a:lnTo>
                  <a:lnTo>
                    <a:pt x="10" y="434"/>
                  </a:lnTo>
                  <a:lnTo>
                    <a:pt x="11" y="434"/>
                  </a:lnTo>
                  <a:lnTo>
                    <a:pt x="12" y="433"/>
                  </a:lnTo>
                  <a:lnTo>
                    <a:pt x="14" y="434"/>
                  </a:lnTo>
                  <a:lnTo>
                    <a:pt x="14" y="435"/>
                  </a:lnTo>
                  <a:lnTo>
                    <a:pt x="15" y="435"/>
                  </a:lnTo>
                  <a:lnTo>
                    <a:pt x="17" y="435"/>
                  </a:lnTo>
                  <a:lnTo>
                    <a:pt x="19" y="434"/>
                  </a:lnTo>
                  <a:lnTo>
                    <a:pt x="21" y="434"/>
                  </a:lnTo>
                  <a:lnTo>
                    <a:pt x="22" y="433"/>
                  </a:lnTo>
                  <a:lnTo>
                    <a:pt x="23" y="432"/>
                  </a:lnTo>
                  <a:lnTo>
                    <a:pt x="26" y="429"/>
                  </a:lnTo>
                  <a:lnTo>
                    <a:pt x="28" y="429"/>
                  </a:lnTo>
                  <a:lnTo>
                    <a:pt x="31" y="429"/>
                  </a:lnTo>
                  <a:lnTo>
                    <a:pt x="32" y="429"/>
                  </a:lnTo>
                  <a:lnTo>
                    <a:pt x="32" y="430"/>
                  </a:lnTo>
                  <a:lnTo>
                    <a:pt x="32" y="432"/>
                  </a:lnTo>
                  <a:lnTo>
                    <a:pt x="31" y="432"/>
                  </a:lnTo>
                  <a:lnTo>
                    <a:pt x="28" y="433"/>
                  </a:lnTo>
                  <a:lnTo>
                    <a:pt x="27" y="432"/>
                  </a:lnTo>
                  <a:lnTo>
                    <a:pt x="26" y="432"/>
                  </a:lnTo>
                  <a:lnTo>
                    <a:pt x="25" y="433"/>
                  </a:lnTo>
                  <a:lnTo>
                    <a:pt x="23" y="435"/>
                  </a:lnTo>
                  <a:lnTo>
                    <a:pt x="25" y="436"/>
                  </a:lnTo>
                  <a:lnTo>
                    <a:pt x="27" y="439"/>
                  </a:lnTo>
                  <a:lnTo>
                    <a:pt x="31" y="439"/>
                  </a:lnTo>
                  <a:lnTo>
                    <a:pt x="32" y="438"/>
                  </a:lnTo>
                  <a:lnTo>
                    <a:pt x="32" y="436"/>
                  </a:lnTo>
                  <a:lnTo>
                    <a:pt x="33" y="436"/>
                  </a:lnTo>
                  <a:lnTo>
                    <a:pt x="34" y="435"/>
                  </a:lnTo>
                  <a:lnTo>
                    <a:pt x="35" y="438"/>
                  </a:lnTo>
                  <a:lnTo>
                    <a:pt x="37" y="438"/>
                  </a:lnTo>
                  <a:lnTo>
                    <a:pt x="39" y="438"/>
                  </a:lnTo>
                  <a:lnTo>
                    <a:pt x="39" y="436"/>
                  </a:lnTo>
                  <a:lnTo>
                    <a:pt x="41" y="435"/>
                  </a:lnTo>
                  <a:lnTo>
                    <a:pt x="43" y="435"/>
                  </a:lnTo>
                  <a:lnTo>
                    <a:pt x="44" y="433"/>
                  </a:lnTo>
                  <a:lnTo>
                    <a:pt x="45" y="434"/>
                  </a:lnTo>
                  <a:lnTo>
                    <a:pt x="47" y="435"/>
                  </a:lnTo>
                  <a:lnTo>
                    <a:pt x="49" y="438"/>
                  </a:lnTo>
                  <a:lnTo>
                    <a:pt x="47" y="440"/>
                  </a:lnTo>
                  <a:lnTo>
                    <a:pt x="45" y="442"/>
                  </a:lnTo>
                  <a:lnTo>
                    <a:pt x="44" y="444"/>
                  </a:lnTo>
                  <a:lnTo>
                    <a:pt x="41" y="445"/>
                  </a:lnTo>
                  <a:lnTo>
                    <a:pt x="40" y="445"/>
                  </a:lnTo>
                  <a:lnTo>
                    <a:pt x="39" y="445"/>
                  </a:lnTo>
                  <a:lnTo>
                    <a:pt x="38" y="445"/>
                  </a:lnTo>
                  <a:lnTo>
                    <a:pt x="37" y="444"/>
                  </a:lnTo>
                  <a:lnTo>
                    <a:pt x="37" y="446"/>
                  </a:lnTo>
                  <a:lnTo>
                    <a:pt x="37" y="447"/>
                  </a:lnTo>
                  <a:lnTo>
                    <a:pt x="35" y="448"/>
                  </a:lnTo>
                  <a:lnTo>
                    <a:pt x="34" y="450"/>
                  </a:lnTo>
                  <a:lnTo>
                    <a:pt x="33" y="451"/>
                  </a:lnTo>
                  <a:lnTo>
                    <a:pt x="33" y="450"/>
                  </a:lnTo>
                  <a:lnTo>
                    <a:pt x="32" y="450"/>
                  </a:lnTo>
                  <a:lnTo>
                    <a:pt x="31" y="450"/>
                  </a:lnTo>
                  <a:lnTo>
                    <a:pt x="29" y="450"/>
                  </a:lnTo>
                  <a:lnTo>
                    <a:pt x="28" y="452"/>
                  </a:lnTo>
                  <a:lnTo>
                    <a:pt x="27" y="452"/>
                  </a:lnTo>
                  <a:lnTo>
                    <a:pt x="27" y="456"/>
                  </a:lnTo>
                  <a:lnTo>
                    <a:pt x="29" y="456"/>
                  </a:lnTo>
                  <a:lnTo>
                    <a:pt x="31" y="456"/>
                  </a:lnTo>
                  <a:lnTo>
                    <a:pt x="32" y="456"/>
                  </a:lnTo>
                  <a:lnTo>
                    <a:pt x="33" y="456"/>
                  </a:lnTo>
                  <a:lnTo>
                    <a:pt x="34" y="457"/>
                  </a:lnTo>
                  <a:lnTo>
                    <a:pt x="35" y="457"/>
                  </a:lnTo>
                  <a:lnTo>
                    <a:pt x="39" y="457"/>
                  </a:lnTo>
                  <a:lnTo>
                    <a:pt x="39" y="456"/>
                  </a:lnTo>
                  <a:lnTo>
                    <a:pt x="40" y="454"/>
                  </a:lnTo>
                  <a:lnTo>
                    <a:pt x="41" y="453"/>
                  </a:lnTo>
                  <a:lnTo>
                    <a:pt x="43" y="453"/>
                  </a:lnTo>
                  <a:lnTo>
                    <a:pt x="44" y="453"/>
                  </a:lnTo>
                  <a:lnTo>
                    <a:pt x="45" y="451"/>
                  </a:lnTo>
                  <a:lnTo>
                    <a:pt x="46" y="450"/>
                  </a:lnTo>
                  <a:lnTo>
                    <a:pt x="47" y="448"/>
                  </a:lnTo>
                  <a:lnTo>
                    <a:pt x="47" y="446"/>
                  </a:lnTo>
                  <a:lnTo>
                    <a:pt x="47" y="445"/>
                  </a:lnTo>
                  <a:lnTo>
                    <a:pt x="49" y="444"/>
                  </a:lnTo>
                  <a:lnTo>
                    <a:pt x="50" y="441"/>
                  </a:lnTo>
                  <a:lnTo>
                    <a:pt x="50" y="440"/>
                  </a:lnTo>
                  <a:lnTo>
                    <a:pt x="51" y="441"/>
                  </a:lnTo>
                  <a:lnTo>
                    <a:pt x="51" y="442"/>
                  </a:lnTo>
                  <a:lnTo>
                    <a:pt x="50" y="445"/>
                  </a:lnTo>
                  <a:lnTo>
                    <a:pt x="50" y="446"/>
                  </a:lnTo>
                  <a:lnTo>
                    <a:pt x="51" y="446"/>
                  </a:lnTo>
                  <a:lnTo>
                    <a:pt x="53" y="446"/>
                  </a:lnTo>
                  <a:lnTo>
                    <a:pt x="55" y="446"/>
                  </a:lnTo>
                  <a:lnTo>
                    <a:pt x="56" y="445"/>
                  </a:lnTo>
                  <a:lnTo>
                    <a:pt x="56" y="442"/>
                  </a:lnTo>
                  <a:lnTo>
                    <a:pt x="55" y="442"/>
                  </a:lnTo>
                  <a:lnTo>
                    <a:pt x="55" y="441"/>
                  </a:lnTo>
                  <a:lnTo>
                    <a:pt x="56" y="440"/>
                  </a:lnTo>
                  <a:lnTo>
                    <a:pt x="57" y="440"/>
                  </a:lnTo>
                  <a:lnTo>
                    <a:pt x="58" y="439"/>
                  </a:lnTo>
                  <a:lnTo>
                    <a:pt x="59" y="438"/>
                  </a:lnTo>
                  <a:lnTo>
                    <a:pt x="59" y="436"/>
                  </a:lnTo>
                  <a:lnTo>
                    <a:pt x="61" y="435"/>
                  </a:lnTo>
                  <a:lnTo>
                    <a:pt x="61" y="434"/>
                  </a:lnTo>
                  <a:lnTo>
                    <a:pt x="62" y="432"/>
                  </a:lnTo>
                  <a:lnTo>
                    <a:pt x="63" y="432"/>
                  </a:lnTo>
                  <a:lnTo>
                    <a:pt x="64" y="433"/>
                  </a:lnTo>
                  <a:lnTo>
                    <a:pt x="65" y="433"/>
                  </a:lnTo>
                  <a:lnTo>
                    <a:pt x="65" y="434"/>
                  </a:lnTo>
                  <a:lnTo>
                    <a:pt x="67" y="434"/>
                  </a:lnTo>
                  <a:lnTo>
                    <a:pt x="68" y="433"/>
                  </a:lnTo>
                  <a:lnTo>
                    <a:pt x="69" y="433"/>
                  </a:lnTo>
                  <a:lnTo>
                    <a:pt x="70" y="433"/>
                  </a:lnTo>
                  <a:lnTo>
                    <a:pt x="71" y="433"/>
                  </a:lnTo>
                  <a:lnTo>
                    <a:pt x="71" y="434"/>
                  </a:lnTo>
                  <a:lnTo>
                    <a:pt x="69" y="435"/>
                  </a:lnTo>
                  <a:lnTo>
                    <a:pt x="69" y="436"/>
                  </a:lnTo>
                  <a:lnTo>
                    <a:pt x="68" y="436"/>
                  </a:lnTo>
                  <a:lnTo>
                    <a:pt x="65" y="439"/>
                  </a:lnTo>
                  <a:lnTo>
                    <a:pt x="64" y="439"/>
                  </a:lnTo>
                  <a:lnTo>
                    <a:pt x="64" y="438"/>
                  </a:lnTo>
                  <a:lnTo>
                    <a:pt x="64" y="436"/>
                  </a:lnTo>
                  <a:lnTo>
                    <a:pt x="63" y="435"/>
                  </a:lnTo>
                  <a:lnTo>
                    <a:pt x="61" y="438"/>
                  </a:lnTo>
                  <a:lnTo>
                    <a:pt x="58" y="440"/>
                  </a:lnTo>
                  <a:lnTo>
                    <a:pt x="61" y="442"/>
                  </a:lnTo>
                  <a:lnTo>
                    <a:pt x="63" y="442"/>
                  </a:lnTo>
                  <a:lnTo>
                    <a:pt x="64" y="444"/>
                  </a:lnTo>
                  <a:lnTo>
                    <a:pt x="65" y="445"/>
                  </a:lnTo>
                  <a:lnTo>
                    <a:pt x="68" y="446"/>
                  </a:lnTo>
                  <a:lnTo>
                    <a:pt x="70" y="446"/>
                  </a:lnTo>
                  <a:lnTo>
                    <a:pt x="71" y="446"/>
                  </a:lnTo>
                  <a:lnTo>
                    <a:pt x="74" y="444"/>
                  </a:lnTo>
                  <a:lnTo>
                    <a:pt x="75" y="442"/>
                  </a:lnTo>
                  <a:lnTo>
                    <a:pt x="76" y="441"/>
                  </a:lnTo>
                  <a:lnTo>
                    <a:pt x="78" y="440"/>
                  </a:lnTo>
                  <a:lnTo>
                    <a:pt x="79" y="439"/>
                  </a:lnTo>
                  <a:lnTo>
                    <a:pt x="81" y="438"/>
                  </a:lnTo>
                  <a:lnTo>
                    <a:pt x="82" y="436"/>
                  </a:lnTo>
                  <a:lnTo>
                    <a:pt x="82" y="434"/>
                  </a:lnTo>
                  <a:lnTo>
                    <a:pt x="84" y="433"/>
                  </a:lnTo>
                  <a:lnTo>
                    <a:pt x="85" y="434"/>
                  </a:lnTo>
                  <a:lnTo>
                    <a:pt x="86" y="433"/>
                  </a:lnTo>
                  <a:lnTo>
                    <a:pt x="87" y="433"/>
                  </a:lnTo>
                  <a:lnTo>
                    <a:pt x="87" y="434"/>
                  </a:lnTo>
                  <a:lnTo>
                    <a:pt x="85" y="435"/>
                  </a:lnTo>
                  <a:lnTo>
                    <a:pt x="84" y="436"/>
                  </a:lnTo>
                  <a:lnTo>
                    <a:pt x="85" y="438"/>
                  </a:lnTo>
                  <a:lnTo>
                    <a:pt x="84" y="438"/>
                  </a:lnTo>
                  <a:lnTo>
                    <a:pt x="82" y="439"/>
                  </a:lnTo>
                  <a:lnTo>
                    <a:pt x="81" y="439"/>
                  </a:lnTo>
                  <a:lnTo>
                    <a:pt x="80" y="440"/>
                  </a:lnTo>
                  <a:lnTo>
                    <a:pt x="79" y="441"/>
                  </a:lnTo>
                  <a:lnTo>
                    <a:pt x="79" y="442"/>
                  </a:lnTo>
                  <a:lnTo>
                    <a:pt x="82" y="444"/>
                  </a:lnTo>
                  <a:lnTo>
                    <a:pt x="86" y="445"/>
                  </a:lnTo>
                  <a:lnTo>
                    <a:pt x="88" y="445"/>
                  </a:lnTo>
                  <a:lnTo>
                    <a:pt x="88" y="446"/>
                  </a:lnTo>
                  <a:lnTo>
                    <a:pt x="91" y="447"/>
                  </a:lnTo>
                  <a:lnTo>
                    <a:pt x="92" y="448"/>
                  </a:lnTo>
                  <a:lnTo>
                    <a:pt x="93" y="450"/>
                  </a:lnTo>
                  <a:lnTo>
                    <a:pt x="92" y="450"/>
                  </a:lnTo>
                  <a:lnTo>
                    <a:pt x="88" y="452"/>
                  </a:lnTo>
                  <a:lnTo>
                    <a:pt x="87" y="452"/>
                  </a:lnTo>
                  <a:lnTo>
                    <a:pt x="85" y="453"/>
                  </a:lnTo>
                  <a:lnTo>
                    <a:pt x="82" y="453"/>
                  </a:lnTo>
                  <a:lnTo>
                    <a:pt x="80" y="454"/>
                  </a:lnTo>
                  <a:lnTo>
                    <a:pt x="81" y="457"/>
                  </a:lnTo>
                  <a:lnTo>
                    <a:pt x="82" y="458"/>
                  </a:lnTo>
                  <a:lnTo>
                    <a:pt x="81" y="459"/>
                  </a:lnTo>
                  <a:lnTo>
                    <a:pt x="80" y="459"/>
                  </a:lnTo>
                  <a:lnTo>
                    <a:pt x="81" y="460"/>
                  </a:lnTo>
                  <a:lnTo>
                    <a:pt x="82" y="460"/>
                  </a:lnTo>
                  <a:lnTo>
                    <a:pt x="84" y="460"/>
                  </a:lnTo>
                  <a:lnTo>
                    <a:pt x="86" y="460"/>
                  </a:lnTo>
                  <a:lnTo>
                    <a:pt x="88" y="460"/>
                  </a:lnTo>
                  <a:lnTo>
                    <a:pt x="90" y="459"/>
                  </a:lnTo>
                  <a:lnTo>
                    <a:pt x="91" y="458"/>
                  </a:lnTo>
                  <a:lnTo>
                    <a:pt x="91" y="457"/>
                  </a:lnTo>
                  <a:lnTo>
                    <a:pt x="92" y="456"/>
                  </a:lnTo>
                  <a:lnTo>
                    <a:pt x="93" y="457"/>
                  </a:lnTo>
                  <a:lnTo>
                    <a:pt x="94" y="457"/>
                  </a:lnTo>
                  <a:lnTo>
                    <a:pt x="94" y="454"/>
                  </a:lnTo>
                  <a:lnTo>
                    <a:pt x="94" y="453"/>
                  </a:lnTo>
                  <a:lnTo>
                    <a:pt x="94" y="452"/>
                  </a:lnTo>
                  <a:lnTo>
                    <a:pt x="97" y="450"/>
                  </a:lnTo>
                  <a:lnTo>
                    <a:pt x="98" y="447"/>
                  </a:lnTo>
                  <a:lnTo>
                    <a:pt x="98" y="445"/>
                  </a:lnTo>
                  <a:lnTo>
                    <a:pt x="99" y="444"/>
                  </a:lnTo>
                  <a:lnTo>
                    <a:pt x="99" y="442"/>
                  </a:lnTo>
                  <a:lnTo>
                    <a:pt x="102" y="442"/>
                  </a:lnTo>
                  <a:lnTo>
                    <a:pt x="102" y="444"/>
                  </a:lnTo>
                  <a:lnTo>
                    <a:pt x="102" y="446"/>
                  </a:lnTo>
                  <a:lnTo>
                    <a:pt x="105" y="446"/>
                  </a:lnTo>
                  <a:lnTo>
                    <a:pt x="106" y="445"/>
                  </a:lnTo>
                  <a:lnTo>
                    <a:pt x="108" y="444"/>
                  </a:lnTo>
                  <a:lnTo>
                    <a:pt x="109" y="442"/>
                  </a:lnTo>
                  <a:lnTo>
                    <a:pt x="111" y="441"/>
                  </a:lnTo>
                  <a:lnTo>
                    <a:pt x="112" y="440"/>
                  </a:lnTo>
                  <a:lnTo>
                    <a:pt x="112" y="441"/>
                  </a:lnTo>
                  <a:lnTo>
                    <a:pt x="111" y="442"/>
                  </a:lnTo>
                  <a:lnTo>
                    <a:pt x="109" y="444"/>
                  </a:lnTo>
                  <a:lnTo>
                    <a:pt x="106" y="446"/>
                  </a:lnTo>
                  <a:lnTo>
                    <a:pt x="105" y="447"/>
                  </a:lnTo>
                  <a:lnTo>
                    <a:pt x="103" y="448"/>
                  </a:lnTo>
                  <a:lnTo>
                    <a:pt x="102" y="450"/>
                  </a:lnTo>
                  <a:lnTo>
                    <a:pt x="103" y="452"/>
                  </a:lnTo>
                  <a:lnTo>
                    <a:pt x="105" y="451"/>
                  </a:lnTo>
                  <a:lnTo>
                    <a:pt x="109" y="448"/>
                  </a:lnTo>
                  <a:lnTo>
                    <a:pt x="110" y="447"/>
                  </a:lnTo>
                  <a:lnTo>
                    <a:pt x="112" y="446"/>
                  </a:lnTo>
                  <a:lnTo>
                    <a:pt x="115" y="445"/>
                  </a:lnTo>
                  <a:lnTo>
                    <a:pt x="116" y="446"/>
                  </a:lnTo>
                  <a:lnTo>
                    <a:pt x="116" y="448"/>
                  </a:lnTo>
                  <a:lnTo>
                    <a:pt x="117" y="450"/>
                  </a:lnTo>
                  <a:lnTo>
                    <a:pt x="118" y="448"/>
                  </a:lnTo>
                  <a:lnTo>
                    <a:pt x="120" y="447"/>
                  </a:lnTo>
                  <a:lnTo>
                    <a:pt x="120" y="445"/>
                  </a:lnTo>
                  <a:lnTo>
                    <a:pt x="120" y="444"/>
                  </a:lnTo>
                  <a:lnTo>
                    <a:pt x="120" y="442"/>
                  </a:lnTo>
                  <a:lnTo>
                    <a:pt x="121" y="442"/>
                  </a:lnTo>
                  <a:lnTo>
                    <a:pt x="122" y="442"/>
                  </a:lnTo>
                  <a:lnTo>
                    <a:pt x="124" y="444"/>
                  </a:lnTo>
                  <a:lnTo>
                    <a:pt x="126" y="445"/>
                  </a:lnTo>
                  <a:lnTo>
                    <a:pt x="128" y="445"/>
                  </a:lnTo>
                  <a:lnTo>
                    <a:pt x="129" y="445"/>
                  </a:lnTo>
                  <a:lnTo>
                    <a:pt x="132" y="444"/>
                  </a:lnTo>
                  <a:lnTo>
                    <a:pt x="133" y="442"/>
                  </a:lnTo>
                  <a:lnTo>
                    <a:pt x="133" y="440"/>
                  </a:lnTo>
                  <a:lnTo>
                    <a:pt x="132" y="439"/>
                  </a:lnTo>
                  <a:lnTo>
                    <a:pt x="132" y="438"/>
                  </a:lnTo>
                  <a:lnTo>
                    <a:pt x="130" y="438"/>
                  </a:lnTo>
                  <a:lnTo>
                    <a:pt x="128" y="439"/>
                  </a:lnTo>
                  <a:lnTo>
                    <a:pt x="126" y="439"/>
                  </a:lnTo>
                  <a:lnTo>
                    <a:pt x="124" y="438"/>
                  </a:lnTo>
                  <a:lnTo>
                    <a:pt x="124" y="436"/>
                  </a:lnTo>
                  <a:lnTo>
                    <a:pt x="123" y="436"/>
                  </a:lnTo>
                  <a:lnTo>
                    <a:pt x="121" y="435"/>
                  </a:lnTo>
                  <a:lnTo>
                    <a:pt x="120" y="435"/>
                  </a:lnTo>
                  <a:lnTo>
                    <a:pt x="122" y="434"/>
                  </a:lnTo>
                  <a:lnTo>
                    <a:pt x="124" y="434"/>
                  </a:lnTo>
                  <a:lnTo>
                    <a:pt x="124" y="435"/>
                  </a:lnTo>
                  <a:lnTo>
                    <a:pt x="126" y="436"/>
                  </a:lnTo>
                  <a:lnTo>
                    <a:pt x="128" y="436"/>
                  </a:lnTo>
                  <a:lnTo>
                    <a:pt x="129" y="434"/>
                  </a:lnTo>
                  <a:lnTo>
                    <a:pt x="129" y="433"/>
                  </a:lnTo>
                  <a:lnTo>
                    <a:pt x="129" y="432"/>
                  </a:lnTo>
                  <a:lnTo>
                    <a:pt x="128" y="430"/>
                  </a:lnTo>
                  <a:lnTo>
                    <a:pt x="124" y="429"/>
                  </a:lnTo>
                  <a:lnTo>
                    <a:pt x="123" y="429"/>
                  </a:lnTo>
                  <a:lnTo>
                    <a:pt x="123" y="427"/>
                  </a:lnTo>
                  <a:lnTo>
                    <a:pt x="124" y="426"/>
                  </a:lnTo>
                  <a:lnTo>
                    <a:pt x="126" y="424"/>
                  </a:lnTo>
                  <a:lnTo>
                    <a:pt x="127" y="424"/>
                  </a:lnTo>
                  <a:lnTo>
                    <a:pt x="128" y="426"/>
                  </a:lnTo>
                  <a:lnTo>
                    <a:pt x="128" y="428"/>
                  </a:lnTo>
                  <a:lnTo>
                    <a:pt x="129" y="429"/>
                  </a:lnTo>
                  <a:lnTo>
                    <a:pt x="132" y="430"/>
                  </a:lnTo>
                  <a:lnTo>
                    <a:pt x="133" y="432"/>
                  </a:lnTo>
                  <a:lnTo>
                    <a:pt x="135" y="433"/>
                  </a:lnTo>
                  <a:lnTo>
                    <a:pt x="138" y="433"/>
                  </a:lnTo>
                  <a:lnTo>
                    <a:pt x="139" y="433"/>
                  </a:lnTo>
                  <a:lnTo>
                    <a:pt x="140" y="435"/>
                  </a:lnTo>
                  <a:lnTo>
                    <a:pt x="139" y="435"/>
                  </a:lnTo>
                  <a:lnTo>
                    <a:pt x="137" y="434"/>
                  </a:lnTo>
                  <a:lnTo>
                    <a:pt x="137" y="436"/>
                  </a:lnTo>
                  <a:lnTo>
                    <a:pt x="137" y="438"/>
                  </a:lnTo>
                  <a:lnTo>
                    <a:pt x="139" y="438"/>
                  </a:lnTo>
                  <a:lnTo>
                    <a:pt x="141" y="440"/>
                  </a:lnTo>
                  <a:lnTo>
                    <a:pt x="143" y="444"/>
                  </a:lnTo>
                  <a:lnTo>
                    <a:pt x="144" y="446"/>
                  </a:lnTo>
                  <a:lnTo>
                    <a:pt x="144" y="448"/>
                  </a:lnTo>
                  <a:lnTo>
                    <a:pt x="141" y="448"/>
                  </a:lnTo>
                  <a:lnTo>
                    <a:pt x="141" y="446"/>
                  </a:lnTo>
                  <a:lnTo>
                    <a:pt x="139" y="442"/>
                  </a:lnTo>
                  <a:lnTo>
                    <a:pt x="138" y="442"/>
                  </a:lnTo>
                  <a:lnTo>
                    <a:pt x="139" y="445"/>
                  </a:lnTo>
                  <a:lnTo>
                    <a:pt x="139" y="446"/>
                  </a:lnTo>
                  <a:lnTo>
                    <a:pt x="139" y="448"/>
                  </a:lnTo>
                  <a:lnTo>
                    <a:pt x="138" y="448"/>
                  </a:lnTo>
                  <a:lnTo>
                    <a:pt x="137" y="451"/>
                  </a:lnTo>
                  <a:lnTo>
                    <a:pt x="137" y="452"/>
                  </a:lnTo>
                  <a:lnTo>
                    <a:pt x="139" y="453"/>
                  </a:lnTo>
                  <a:lnTo>
                    <a:pt x="140" y="452"/>
                  </a:lnTo>
                  <a:lnTo>
                    <a:pt x="143" y="452"/>
                  </a:lnTo>
                  <a:lnTo>
                    <a:pt x="141" y="453"/>
                  </a:lnTo>
                  <a:lnTo>
                    <a:pt x="140" y="454"/>
                  </a:lnTo>
                  <a:lnTo>
                    <a:pt x="139" y="454"/>
                  </a:lnTo>
                  <a:lnTo>
                    <a:pt x="138" y="456"/>
                  </a:lnTo>
                  <a:lnTo>
                    <a:pt x="137" y="456"/>
                  </a:lnTo>
                  <a:lnTo>
                    <a:pt x="135" y="458"/>
                  </a:lnTo>
                  <a:lnTo>
                    <a:pt x="135" y="460"/>
                  </a:lnTo>
                  <a:lnTo>
                    <a:pt x="137" y="460"/>
                  </a:lnTo>
                  <a:lnTo>
                    <a:pt x="134" y="462"/>
                  </a:lnTo>
                  <a:lnTo>
                    <a:pt x="133" y="462"/>
                  </a:lnTo>
                  <a:lnTo>
                    <a:pt x="132" y="459"/>
                  </a:lnTo>
                  <a:lnTo>
                    <a:pt x="129" y="459"/>
                  </a:lnTo>
                  <a:lnTo>
                    <a:pt x="128" y="460"/>
                  </a:lnTo>
                  <a:lnTo>
                    <a:pt x="128" y="463"/>
                  </a:lnTo>
                  <a:lnTo>
                    <a:pt x="128" y="464"/>
                  </a:lnTo>
                  <a:lnTo>
                    <a:pt x="128" y="466"/>
                  </a:lnTo>
                  <a:lnTo>
                    <a:pt x="129" y="466"/>
                  </a:lnTo>
                  <a:lnTo>
                    <a:pt x="132" y="466"/>
                  </a:lnTo>
                  <a:lnTo>
                    <a:pt x="133" y="466"/>
                  </a:lnTo>
                  <a:lnTo>
                    <a:pt x="134" y="466"/>
                  </a:lnTo>
                  <a:lnTo>
                    <a:pt x="135" y="465"/>
                  </a:lnTo>
                  <a:lnTo>
                    <a:pt x="135" y="464"/>
                  </a:lnTo>
                  <a:lnTo>
                    <a:pt x="137" y="465"/>
                  </a:lnTo>
                  <a:lnTo>
                    <a:pt x="138" y="466"/>
                  </a:lnTo>
                  <a:lnTo>
                    <a:pt x="141" y="466"/>
                  </a:lnTo>
                  <a:lnTo>
                    <a:pt x="143" y="465"/>
                  </a:lnTo>
                  <a:lnTo>
                    <a:pt x="144" y="466"/>
                  </a:lnTo>
                  <a:lnTo>
                    <a:pt x="144" y="468"/>
                  </a:lnTo>
                  <a:lnTo>
                    <a:pt x="145" y="469"/>
                  </a:lnTo>
                  <a:lnTo>
                    <a:pt x="147" y="468"/>
                  </a:lnTo>
                  <a:lnTo>
                    <a:pt x="147" y="466"/>
                  </a:lnTo>
                  <a:lnTo>
                    <a:pt x="150" y="465"/>
                  </a:lnTo>
                  <a:lnTo>
                    <a:pt x="152" y="464"/>
                  </a:lnTo>
                  <a:lnTo>
                    <a:pt x="152" y="463"/>
                  </a:lnTo>
                  <a:lnTo>
                    <a:pt x="151" y="463"/>
                  </a:lnTo>
                  <a:lnTo>
                    <a:pt x="149" y="463"/>
                  </a:lnTo>
                  <a:lnTo>
                    <a:pt x="146" y="463"/>
                  </a:lnTo>
                  <a:lnTo>
                    <a:pt x="149" y="460"/>
                  </a:lnTo>
                  <a:lnTo>
                    <a:pt x="150" y="459"/>
                  </a:lnTo>
                  <a:lnTo>
                    <a:pt x="151" y="458"/>
                  </a:lnTo>
                  <a:lnTo>
                    <a:pt x="152" y="458"/>
                  </a:lnTo>
                  <a:lnTo>
                    <a:pt x="153" y="458"/>
                  </a:lnTo>
                  <a:lnTo>
                    <a:pt x="155" y="460"/>
                  </a:lnTo>
                  <a:lnTo>
                    <a:pt x="155" y="462"/>
                  </a:lnTo>
                  <a:lnTo>
                    <a:pt x="155" y="463"/>
                  </a:lnTo>
                  <a:lnTo>
                    <a:pt x="156" y="462"/>
                  </a:lnTo>
                  <a:lnTo>
                    <a:pt x="157" y="464"/>
                  </a:lnTo>
                  <a:lnTo>
                    <a:pt x="158" y="465"/>
                  </a:lnTo>
                  <a:lnTo>
                    <a:pt x="156" y="465"/>
                  </a:lnTo>
                  <a:lnTo>
                    <a:pt x="153" y="465"/>
                  </a:lnTo>
                  <a:lnTo>
                    <a:pt x="151" y="466"/>
                  </a:lnTo>
                  <a:lnTo>
                    <a:pt x="150" y="468"/>
                  </a:lnTo>
                  <a:lnTo>
                    <a:pt x="149" y="469"/>
                  </a:lnTo>
                  <a:lnTo>
                    <a:pt x="147" y="470"/>
                  </a:lnTo>
                  <a:lnTo>
                    <a:pt x="144" y="472"/>
                  </a:lnTo>
                  <a:lnTo>
                    <a:pt x="143" y="470"/>
                  </a:lnTo>
                  <a:lnTo>
                    <a:pt x="141" y="469"/>
                  </a:lnTo>
                  <a:lnTo>
                    <a:pt x="140" y="469"/>
                  </a:lnTo>
                  <a:lnTo>
                    <a:pt x="138" y="468"/>
                  </a:lnTo>
                  <a:lnTo>
                    <a:pt x="137" y="468"/>
                  </a:lnTo>
                  <a:lnTo>
                    <a:pt x="137" y="470"/>
                  </a:lnTo>
                  <a:lnTo>
                    <a:pt x="135" y="470"/>
                  </a:lnTo>
                  <a:lnTo>
                    <a:pt x="133" y="470"/>
                  </a:lnTo>
                  <a:lnTo>
                    <a:pt x="133" y="469"/>
                  </a:lnTo>
                  <a:lnTo>
                    <a:pt x="132" y="469"/>
                  </a:lnTo>
                  <a:lnTo>
                    <a:pt x="130" y="470"/>
                  </a:lnTo>
                  <a:lnTo>
                    <a:pt x="128" y="471"/>
                  </a:lnTo>
                  <a:lnTo>
                    <a:pt x="126" y="471"/>
                  </a:lnTo>
                  <a:lnTo>
                    <a:pt x="124" y="469"/>
                  </a:lnTo>
                  <a:lnTo>
                    <a:pt x="122" y="468"/>
                  </a:lnTo>
                  <a:lnTo>
                    <a:pt x="121" y="469"/>
                  </a:lnTo>
                  <a:lnTo>
                    <a:pt x="121" y="471"/>
                  </a:lnTo>
                  <a:lnTo>
                    <a:pt x="120" y="471"/>
                  </a:lnTo>
                  <a:lnTo>
                    <a:pt x="118" y="472"/>
                  </a:lnTo>
                  <a:lnTo>
                    <a:pt x="117" y="475"/>
                  </a:lnTo>
                  <a:lnTo>
                    <a:pt x="115" y="472"/>
                  </a:lnTo>
                  <a:lnTo>
                    <a:pt x="114" y="472"/>
                  </a:lnTo>
                  <a:lnTo>
                    <a:pt x="112" y="474"/>
                  </a:lnTo>
                  <a:lnTo>
                    <a:pt x="114" y="476"/>
                  </a:lnTo>
                  <a:lnTo>
                    <a:pt x="110" y="476"/>
                  </a:lnTo>
                  <a:lnTo>
                    <a:pt x="110" y="477"/>
                  </a:lnTo>
                  <a:lnTo>
                    <a:pt x="112" y="478"/>
                  </a:lnTo>
                  <a:lnTo>
                    <a:pt x="114" y="480"/>
                  </a:lnTo>
                  <a:lnTo>
                    <a:pt x="115" y="480"/>
                  </a:lnTo>
                  <a:lnTo>
                    <a:pt x="115" y="481"/>
                  </a:lnTo>
                  <a:lnTo>
                    <a:pt x="117" y="481"/>
                  </a:lnTo>
                  <a:lnTo>
                    <a:pt x="118" y="481"/>
                  </a:lnTo>
                  <a:lnTo>
                    <a:pt x="121" y="480"/>
                  </a:lnTo>
                  <a:lnTo>
                    <a:pt x="123" y="480"/>
                  </a:lnTo>
                  <a:lnTo>
                    <a:pt x="123" y="478"/>
                  </a:lnTo>
                  <a:lnTo>
                    <a:pt x="124" y="477"/>
                  </a:lnTo>
                  <a:lnTo>
                    <a:pt x="126" y="478"/>
                  </a:lnTo>
                  <a:lnTo>
                    <a:pt x="127" y="478"/>
                  </a:lnTo>
                  <a:lnTo>
                    <a:pt x="128" y="477"/>
                  </a:lnTo>
                  <a:lnTo>
                    <a:pt x="128" y="476"/>
                  </a:lnTo>
                  <a:lnTo>
                    <a:pt x="128" y="478"/>
                  </a:lnTo>
                  <a:lnTo>
                    <a:pt x="127" y="480"/>
                  </a:lnTo>
                  <a:lnTo>
                    <a:pt x="124" y="482"/>
                  </a:lnTo>
                  <a:lnTo>
                    <a:pt x="123" y="483"/>
                  </a:lnTo>
                  <a:lnTo>
                    <a:pt x="122" y="483"/>
                  </a:lnTo>
                  <a:lnTo>
                    <a:pt x="120" y="483"/>
                  </a:lnTo>
                  <a:lnTo>
                    <a:pt x="118" y="484"/>
                  </a:lnTo>
                  <a:lnTo>
                    <a:pt x="116" y="486"/>
                  </a:lnTo>
                  <a:lnTo>
                    <a:pt x="115" y="487"/>
                  </a:lnTo>
                  <a:lnTo>
                    <a:pt x="114" y="488"/>
                  </a:lnTo>
                  <a:lnTo>
                    <a:pt x="112" y="486"/>
                  </a:lnTo>
                  <a:lnTo>
                    <a:pt x="112" y="484"/>
                  </a:lnTo>
                  <a:lnTo>
                    <a:pt x="111" y="486"/>
                  </a:lnTo>
                  <a:lnTo>
                    <a:pt x="109" y="486"/>
                  </a:lnTo>
                  <a:lnTo>
                    <a:pt x="106" y="488"/>
                  </a:lnTo>
                  <a:lnTo>
                    <a:pt x="105" y="488"/>
                  </a:lnTo>
                  <a:lnTo>
                    <a:pt x="103" y="489"/>
                  </a:lnTo>
                  <a:lnTo>
                    <a:pt x="102" y="489"/>
                  </a:lnTo>
                  <a:lnTo>
                    <a:pt x="100" y="489"/>
                  </a:lnTo>
                  <a:lnTo>
                    <a:pt x="96" y="492"/>
                  </a:lnTo>
                  <a:lnTo>
                    <a:pt x="96" y="493"/>
                  </a:lnTo>
                  <a:lnTo>
                    <a:pt x="94" y="494"/>
                  </a:lnTo>
                  <a:lnTo>
                    <a:pt x="94" y="495"/>
                  </a:lnTo>
                  <a:lnTo>
                    <a:pt x="93" y="496"/>
                  </a:lnTo>
                  <a:lnTo>
                    <a:pt x="91" y="496"/>
                  </a:lnTo>
                  <a:lnTo>
                    <a:pt x="88" y="498"/>
                  </a:lnTo>
                  <a:lnTo>
                    <a:pt x="87" y="498"/>
                  </a:lnTo>
                  <a:lnTo>
                    <a:pt x="85" y="498"/>
                  </a:lnTo>
                  <a:lnTo>
                    <a:pt x="81" y="498"/>
                  </a:lnTo>
                  <a:lnTo>
                    <a:pt x="81" y="499"/>
                  </a:lnTo>
                  <a:lnTo>
                    <a:pt x="80" y="500"/>
                  </a:lnTo>
                  <a:lnTo>
                    <a:pt x="79" y="498"/>
                  </a:lnTo>
                  <a:lnTo>
                    <a:pt x="76" y="499"/>
                  </a:lnTo>
                  <a:lnTo>
                    <a:pt x="76" y="500"/>
                  </a:lnTo>
                  <a:lnTo>
                    <a:pt x="73" y="500"/>
                  </a:lnTo>
                  <a:lnTo>
                    <a:pt x="73" y="502"/>
                  </a:lnTo>
                  <a:lnTo>
                    <a:pt x="71" y="502"/>
                  </a:lnTo>
                  <a:lnTo>
                    <a:pt x="71" y="501"/>
                  </a:lnTo>
                  <a:lnTo>
                    <a:pt x="70" y="499"/>
                  </a:lnTo>
                  <a:lnTo>
                    <a:pt x="67" y="499"/>
                  </a:lnTo>
                  <a:lnTo>
                    <a:pt x="67" y="498"/>
                  </a:lnTo>
                  <a:lnTo>
                    <a:pt x="65" y="495"/>
                  </a:lnTo>
                  <a:lnTo>
                    <a:pt x="64" y="495"/>
                  </a:lnTo>
                  <a:lnTo>
                    <a:pt x="63" y="496"/>
                  </a:lnTo>
                  <a:lnTo>
                    <a:pt x="62" y="498"/>
                  </a:lnTo>
                  <a:lnTo>
                    <a:pt x="61" y="498"/>
                  </a:lnTo>
                  <a:lnTo>
                    <a:pt x="61" y="499"/>
                  </a:lnTo>
                  <a:lnTo>
                    <a:pt x="61" y="501"/>
                  </a:lnTo>
                  <a:lnTo>
                    <a:pt x="62" y="502"/>
                  </a:lnTo>
                  <a:lnTo>
                    <a:pt x="62" y="504"/>
                  </a:lnTo>
                  <a:lnTo>
                    <a:pt x="62" y="505"/>
                  </a:lnTo>
                  <a:lnTo>
                    <a:pt x="63" y="506"/>
                  </a:lnTo>
                  <a:lnTo>
                    <a:pt x="64" y="506"/>
                  </a:lnTo>
                  <a:lnTo>
                    <a:pt x="63" y="508"/>
                  </a:lnTo>
                  <a:lnTo>
                    <a:pt x="62" y="510"/>
                  </a:lnTo>
                  <a:lnTo>
                    <a:pt x="62" y="511"/>
                  </a:lnTo>
                  <a:lnTo>
                    <a:pt x="64" y="511"/>
                  </a:lnTo>
                  <a:lnTo>
                    <a:pt x="67" y="511"/>
                  </a:lnTo>
                  <a:lnTo>
                    <a:pt x="68" y="512"/>
                  </a:lnTo>
                  <a:lnTo>
                    <a:pt x="69" y="513"/>
                  </a:lnTo>
                  <a:lnTo>
                    <a:pt x="70" y="512"/>
                  </a:lnTo>
                  <a:lnTo>
                    <a:pt x="73" y="512"/>
                  </a:lnTo>
                  <a:lnTo>
                    <a:pt x="75" y="511"/>
                  </a:lnTo>
                  <a:lnTo>
                    <a:pt x="76" y="511"/>
                  </a:lnTo>
                  <a:lnTo>
                    <a:pt x="79" y="511"/>
                  </a:lnTo>
                  <a:lnTo>
                    <a:pt x="80" y="511"/>
                  </a:lnTo>
                  <a:lnTo>
                    <a:pt x="82" y="513"/>
                  </a:lnTo>
                  <a:lnTo>
                    <a:pt x="85" y="517"/>
                  </a:lnTo>
                  <a:lnTo>
                    <a:pt x="84" y="517"/>
                  </a:lnTo>
                  <a:lnTo>
                    <a:pt x="82" y="516"/>
                  </a:lnTo>
                  <a:lnTo>
                    <a:pt x="81" y="516"/>
                  </a:lnTo>
                  <a:lnTo>
                    <a:pt x="80" y="517"/>
                  </a:lnTo>
                  <a:lnTo>
                    <a:pt x="79" y="517"/>
                  </a:lnTo>
                  <a:lnTo>
                    <a:pt x="78" y="516"/>
                  </a:lnTo>
                  <a:lnTo>
                    <a:pt x="76" y="514"/>
                  </a:lnTo>
                  <a:lnTo>
                    <a:pt x="74" y="514"/>
                  </a:lnTo>
                  <a:lnTo>
                    <a:pt x="71" y="514"/>
                  </a:lnTo>
                  <a:lnTo>
                    <a:pt x="70" y="514"/>
                  </a:lnTo>
                  <a:lnTo>
                    <a:pt x="69" y="516"/>
                  </a:lnTo>
                  <a:lnTo>
                    <a:pt x="71" y="517"/>
                  </a:lnTo>
                  <a:lnTo>
                    <a:pt x="73" y="518"/>
                  </a:lnTo>
                  <a:lnTo>
                    <a:pt x="71" y="520"/>
                  </a:lnTo>
                  <a:lnTo>
                    <a:pt x="74" y="522"/>
                  </a:lnTo>
                  <a:lnTo>
                    <a:pt x="75" y="522"/>
                  </a:lnTo>
                  <a:lnTo>
                    <a:pt x="78" y="523"/>
                  </a:lnTo>
                  <a:lnTo>
                    <a:pt x="78" y="525"/>
                  </a:lnTo>
                  <a:lnTo>
                    <a:pt x="76" y="525"/>
                  </a:lnTo>
                  <a:lnTo>
                    <a:pt x="75" y="526"/>
                  </a:lnTo>
                  <a:lnTo>
                    <a:pt x="76" y="526"/>
                  </a:lnTo>
                  <a:lnTo>
                    <a:pt x="80" y="526"/>
                  </a:lnTo>
                  <a:lnTo>
                    <a:pt x="81" y="525"/>
                  </a:lnTo>
                  <a:lnTo>
                    <a:pt x="81" y="524"/>
                  </a:lnTo>
                  <a:lnTo>
                    <a:pt x="84" y="523"/>
                  </a:lnTo>
                  <a:lnTo>
                    <a:pt x="84" y="524"/>
                  </a:lnTo>
                  <a:lnTo>
                    <a:pt x="82" y="526"/>
                  </a:lnTo>
                  <a:lnTo>
                    <a:pt x="81" y="529"/>
                  </a:lnTo>
                  <a:lnTo>
                    <a:pt x="79" y="530"/>
                  </a:lnTo>
                  <a:lnTo>
                    <a:pt x="76" y="530"/>
                  </a:lnTo>
                  <a:lnTo>
                    <a:pt x="75" y="530"/>
                  </a:lnTo>
                  <a:lnTo>
                    <a:pt x="73" y="529"/>
                  </a:lnTo>
                  <a:lnTo>
                    <a:pt x="73" y="526"/>
                  </a:lnTo>
                  <a:lnTo>
                    <a:pt x="74" y="524"/>
                  </a:lnTo>
                  <a:lnTo>
                    <a:pt x="73" y="523"/>
                  </a:lnTo>
                  <a:lnTo>
                    <a:pt x="70" y="522"/>
                  </a:lnTo>
                  <a:lnTo>
                    <a:pt x="70" y="520"/>
                  </a:lnTo>
                  <a:lnTo>
                    <a:pt x="70" y="519"/>
                  </a:lnTo>
                  <a:lnTo>
                    <a:pt x="69" y="518"/>
                  </a:lnTo>
                  <a:lnTo>
                    <a:pt x="67" y="517"/>
                  </a:lnTo>
                  <a:lnTo>
                    <a:pt x="65" y="517"/>
                  </a:lnTo>
                  <a:lnTo>
                    <a:pt x="64" y="518"/>
                  </a:lnTo>
                  <a:lnTo>
                    <a:pt x="63" y="518"/>
                  </a:lnTo>
                  <a:lnTo>
                    <a:pt x="62" y="519"/>
                  </a:lnTo>
                  <a:lnTo>
                    <a:pt x="59" y="520"/>
                  </a:lnTo>
                  <a:lnTo>
                    <a:pt x="57" y="522"/>
                  </a:lnTo>
                  <a:lnTo>
                    <a:pt x="56" y="522"/>
                  </a:lnTo>
                  <a:lnTo>
                    <a:pt x="55" y="524"/>
                  </a:lnTo>
                  <a:lnTo>
                    <a:pt x="55" y="526"/>
                  </a:lnTo>
                  <a:lnTo>
                    <a:pt x="57" y="526"/>
                  </a:lnTo>
                  <a:lnTo>
                    <a:pt x="59" y="528"/>
                  </a:lnTo>
                  <a:lnTo>
                    <a:pt x="61" y="529"/>
                  </a:lnTo>
                  <a:lnTo>
                    <a:pt x="62" y="530"/>
                  </a:lnTo>
                  <a:lnTo>
                    <a:pt x="61" y="531"/>
                  </a:lnTo>
                  <a:lnTo>
                    <a:pt x="59" y="534"/>
                  </a:lnTo>
                  <a:lnTo>
                    <a:pt x="61" y="534"/>
                  </a:lnTo>
                  <a:lnTo>
                    <a:pt x="62" y="536"/>
                  </a:lnTo>
                  <a:lnTo>
                    <a:pt x="63" y="537"/>
                  </a:lnTo>
                  <a:lnTo>
                    <a:pt x="67" y="541"/>
                  </a:lnTo>
                  <a:lnTo>
                    <a:pt x="68" y="541"/>
                  </a:lnTo>
                  <a:lnTo>
                    <a:pt x="70" y="542"/>
                  </a:lnTo>
                  <a:lnTo>
                    <a:pt x="71" y="542"/>
                  </a:lnTo>
                  <a:lnTo>
                    <a:pt x="75" y="541"/>
                  </a:lnTo>
                  <a:lnTo>
                    <a:pt x="76" y="541"/>
                  </a:lnTo>
                  <a:lnTo>
                    <a:pt x="79" y="540"/>
                  </a:lnTo>
                  <a:lnTo>
                    <a:pt x="81" y="540"/>
                  </a:lnTo>
                  <a:lnTo>
                    <a:pt x="82" y="539"/>
                  </a:lnTo>
                  <a:lnTo>
                    <a:pt x="84" y="536"/>
                  </a:lnTo>
                  <a:lnTo>
                    <a:pt x="86" y="535"/>
                  </a:lnTo>
                  <a:lnTo>
                    <a:pt x="87" y="535"/>
                  </a:lnTo>
                  <a:lnTo>
                    <a:pt x="88" y="534"/>
                  </a:lnTo>
                  <a:lnTo>
                    <a:pt x="91" y="535"/>
                  </a:lnTo>
                  <a:lnTo>
                    <a:pt x="92" y="536"/>
                  </a:lnTo>
                  <a:lnTo>
                    <a:pt x="90" y="536"/>
                  </a:lnTo>
                  <a:lnTo>
                    <a:pt x="87" y="537"/>
                  </a:lnTo>
                  <a:lnTo>
                    <a:pt x="85" y="539"/>
                  </a:lnTo>
                  <a:lnTo>
                    <a:pt x="84" y="540"/>
                  </a:lnTo>
                  <a:lnTo>
                    <a:pt x="84" y="541"/>
                  </a:lnTo>
                  <a:lnTo>
                    <a:pt x="85" y="543"/>
                  </a:lnTo>
                  <a:lnTo>
                    <a:pt x="86" y="545"/>
                  </a:lnTo>
                  <a:lnTo>
                    <a:pt x="81" y="545"/>
                  </a:lnTo>
                  <a:lnTo>
                    <a:pt x="80" y="545"/>
                  </a:lnTo>
                  <a:lnTo>
                    <a:pt x="79" y="546"/>
                  </a:lnTo>
                  <a:lnTo>
                    <a:pt x="78" y="546"/>
                  </a:lnTo>
                  <a:lnTo>
                    <a:pt x="76" y="548"/>
                  </a:lnTo>
                  <a:lnTo>
                    <a:pt x="78" y="549"/>
                  </a:lnTo>
                  <a:lnTo>
                    <a:pt x="80" y="549"/>
                  </a:lnTo>
                  <a:lnTo>
                    <a:pt x="81" y="551"/>
                  </a:lnTo>
                  <a:lnTo>
                    <a:pt x="79" y="551"/>
                  </a:lnTo>
                  <a:lnTo>
                    <a:pt x="76" y="552"/>
                  </a:lnTo>
                  <a:lnTo>
                    <a:pt x="75" y="551"/>
                  </a:lnTo>
                  <a:lnTo>
                    <a:pt x="74" y="548"/>
                  </a:lnTo>
                  <a:lnTo>
                    <a:pt x="74" y="547"/>
                  </a:lnTo>
                  <a:lnTo>
                    <a:pt x="73" y="548"/>
                  </a:lnTo>
                  <a:lnTo>
                    <a:pt x="71" y="551"/>
                  </a:lnTo>
                  <a:lnTo>
                    <a:pt x="69" y="553"/>
                  </a:lnTo>
                  <a:lnTo>
                    <a:pt x="67" y="554"/>
                  </a:lnTo>
                  <a:lnTo>
                    <a:pt x="68" y="555"/>
                  </a:lnTo>
                  <a:lnTo>
                    <a:pt x="69" y="558"/>
                  </a:lnTo>
                  <a:lnTo>
                    <a:pt x="70" y="557"/>
                  </a:lnTo>
                  <a:lnTo>
                    <a:pt x="73" y="558"/>
                  </a:lnTo>
                  <a:lnTo>
                    <a:pt x="74" y="557"/>
                  </a:lnTo>
                  <a:lnTo>
                    <a:pt x="75" y="555"/>
                  </a:lnTo>
                  <a:lnTo>
                    <a:pt x="75" y="557"/>
                  </a:lnTo>
                  <a:lnTo>
                    <a:pt x="78" y="558"/>
                  </a:lnTo>
                  <a:lnTo>
                    <a:pt x="79" y="558"/>
                  </a:lnTo>
                  <a:lnTo>
                    <a:pt x="81" y="557"/>
                  </a:lnTo>
                  <a:lnTo>
                    <a:pt x="82" y="555"/>
                  </a:lnTo>
                  <a:lnTo>
                    <a:pt x="84" y="554"/>
                  </a:lnTo>
                  <a:lnTo>
                    <a:pt x="85" y="553"/>
                  </a:lnTo>
                  <a:lnTo>
                    <a:pt x="87" y="553"/>
                  </a:lnTo>
                  <a:lnTo>
                    <a:pt x="88" y="552"/>
                  </a:lnTo>
                  <a:lnTo>
                    <a:pt x="90" y="551"/>
                  </a:lnTo>
                  <a:lnTo>
                    <a:pt x="90" y="552"/>
                  </a:lnTo>
                  <a:lnTo>
                    <a:pt x="91" y="557"/>
                  </a:lnTo>
                  <a:lnTo>
                    <a:pt x="91" y="559"/>
                  </a:lnTo>
                  <a:lnTo>
                    <a:pt x="94" y="560"/>
                  </a:lnTo>
                  <a:lnTo>
                    <a:pt x="96" y="559"/>
                  </a:lnTo>
                  <a:lnTo>
                    <a:pt x="99" y="558"/>
                  </a:lnTo>
                  <a:lnTo>
                    <a:pt x="100" y="557"/>
                  </a:lnTo>
                  <a:lnTo>
                    <a:pt x="100" y="554"/>
                  </a:lnTo>
                  <a:lnTo>
                    <a:pt x="102" y="554"/>
                  </a:lnTo>
                  <a:lnTo>
                    <a:pt x="100" y="554"/>
                  </a:lnTo>
                  <a:lnTo>
                    <a:pt x="98" y="557"/>
                  </a:lnTo>
                  <a:lnTo>
                    <a:pt x="96" y="557"/>
                  </a:lnTo>
                  <a:lnTo>
                    <a:pt x="97" y="554"/>
                  </a:lnTo>
                  <a:lnTo>
                    <a:pt x="98" y="553"/>
                  </a:lnTo>
                  <a:lnTo>
                    <a:pt x="99" y="553"/>
                  </a:lnTo>
                  <a:lnTo>
                    <a:pt x="102" y="552"/>
                  </a:lnTo>
                  <a:lnTo>
                    <a:pt x="103" y="551"/>
                  </a:lnTo>
                  <a:lnTo>
                    <a:pt x="103" y="549"/>
                  </a:lnTo>
                  <a:lnTo>
                    <a:pt x="99" y="548"/>
                  </a:lnTo>
                  <a:lnTo>
                    <a:pt x="98" y="548"/>
                  </a:lnTo>
                  <a:lnTo>
                    <a:pt x="99" y="547"/>
                  </a:lnTo>
                  <a:lnTo>
                    <a:pt x="103" y="548"/>
                  </a:lnTo>
                  <a:lnTo>
                    <a:pt x="104" y="547"/>
                  </a:lnTo>
                  <a:lnTo>
                    <a:pt x="105" y="546"/>
                  </a:lnTo>
                  <a:lnTo>
                    <a:pt x="105" y="543"/>
                  </a:lnTo>
                  <a:lnTo>
                    <a:pt x="105" y="542"/>
                  </a:lnTo>
                  <a:lnTo>
                    <a:pt x="104" y="541"/>
                  </a:lnTo>
                  <a:lnTo>
                    <a:pt x="103" y="540"/>
                  </a:lnTo>
                  <a:lnTo>
                    <a:pt x="104" y="539"/>
                  </a:lnTo>
                  <a:lnTo>
                    <a:pt x="103" y="536"/>
                  </a:lnTo>
                  <a:lnTo>
                    <a:pt x="102" y="535"/>
                  </a:lnTo>
                  <a:lnTo>
                    <a:pt x="104" y="534"/>
                  </a:lnTo>
                  <a:lnTo>
                    <a:pt x="105" y="533"/>
                  </a:lnTo>
                  <a:lnTo>
                    <a:pt x="105" y="534"/>
                  </a:lnTo>
                  <a:lnTo>
                    <a:pt x="105" y="535"/>
                  </a:lnTo>
                  <a:lnTo>
                    <a:pt x="105" y="536"/>
                  </a:lnTo>
                  <a:lnTo>
                    <a:pt x="106" y="537"/>
                  </a:lnTo>
                  <a:lnTo>
                    <a:pt x="108" y="537"/>
                  </a:lnTo>
                  <a:lnTo>
                    <a:pt x="109" y="539"/>
                  </a:lnTo>
                  <a:lnTo>
                    <a:pt x="110" y="540"/>
                  </a:lnTo>
                  <a:lnTo>
                    <a:pt x="112" y="539"/>
                  </a:lnTo>
                  <a:lnTo>
                    <a:pt x="112" y="540"/>
                  </a:lnTo>
                  <a:lnTo>
                    <a:pt x="114" y="542"/>
                  </a:lnTo>
                  <a:lnTo>
                    <a:pt x="116" y="542"/>
                  </a:lnTo>
                  <a:lnTo>
                    <a:pt x="117" y="541"/>
                  </a:lnTo>
                  <a:lnTo>
                    <a:pt x="118" y="540"/>
                  </a:lnTo>
                  <a:lnTo>
                    <a:pt x="120" y="539"/>
                  </a:lnTo>
                  <a:lnTo>
                    <a:pt x="121" y="535"/>
                  </a:lnTo>
                  <a:lnTo>
                    <a:pt x="121" y="534"/>
                  </a:lnTo>
                  <a:lnTo>
                    <a:pt x="120" y="533"/>
                  </a:lnTo>
                  <a:lnTo>
                    <a:pt x="121" y="531"/>
                  </a:lnTo>
                  <a:lnTo>
                    <a:pt x="122" y="528"/>
                  </a:lnTo>
                  <a:lnTo>
                    <a:pt x="123" y="529"/>
                  </a:lnTo>
                  <a:lnTo>
                    <a:pt x="122" y="531"/>
                  </a:lnTo>
                  <a:lnTo>
                    <a:pt x="122" y="533"/>
                  </a:lnTo>
                  <a:lnTo>
                    <a:pt x="122" y="534"/>
                  </a:lnTo>
                  <a:lnTo>
                    <a:pt x="123" y="535"/>
                  </a:lnTo>
                  <a:lnTo>
                    <a:pt x="124" y="536"/>
                  </a:lnTo>
                  <a:lnTo>
                    <a:pt x="124" y="540"/>
                  </a:lnTo>
                  <a:lnTo>
                    <a:pt x="126" y="542"/>
                  </a:lnTo>
                  <a:lnTo>
                    <a:pt x="127" y="542"/>
                  </a:lnTo>
                  <a:lnTo>
                    <a:pt x="128" y="537"/>
                  </a:lnTo>
                  <a:lnTo>
                    <a:pt x="129" y="536"/>
                  </a:lnTo>
                  <a:lnTo>
                    <a:pt x="129" y="539"/>
                  </a:lnTo>
                  <a:lnTo>
                    <a:pt x="129" y="542"/>
                  </a:lnTo>
                  <a:lnTo>
                    <a:pt x="129" y="546"/>
                  </a:lnTo>
                  <a:lnTo>
                    <a:pt x="130" y="546"/>
                  </a:lnTo>
                  <a:lnTo>
                    <a:pt x="133" y="545"/>
                  </a:lnTo>
                  <a:lnTo>
                    <a:pt x="134" y="542"/>
                  </a:lnTo>
                  <a:lnTo>
                    <a:pt x="135" y="541"/>
                  </a:lnTo>
                  <a:lnTo>
                    <a:pt x="137" y="540"/>
                  </a:lnTo>
                  <a:lnTo>
                    <a:pt x="138" y="541"/>
                  </a:lnTo>
                  <a:lnTo>
                    <a:pt x="138" y="542"/>
                  </a:lnTo>
                  <a:lnTo>
                    <a:pt x="140" y="542"/>
                  </a:lnTo>
                  <a:lnTo>
                    <a:pt x="144" y="542"/>
                  </a:lnTo>
                  <a:lnTo>
                    <a:pt x="144" y="541"/>
                  </a:lnTo>
                  <a:lnTo>
                    <a:pt x="145" y="540"/>
                  </a:lnTo>
                  <a:lnTo>
                    <a:pt x="145" y="539"/>
                  </a:lnTo>
                  <a:lnTo>
                    <a:pt x="146" y="539"/>
                  </a:lnTo>
                  <a:lnTo>
                    <a:pt x="149" y="539"/>
                  </a:lnTo>
                  <a:lnTo>
                    <a:pt x="151" y="540"/>
                  </a:lnTo>
                  <a:lnTo>
                    <a:pt x="152" y="539"/>
                  </a:lnTo>
                  <a:lnTo>
                    <a:pt x="152" y="537"/>
                  </a:lnTo>
                  <a:lnTo>
                    <a:pt x="155" y="539"/>
                  </a:lnTo>
                  <a:lnTo>
                    <a:pt x="156" y="539"/>
                  </a:lnTo>
                  <a:lnTo>
                    <a:pt x="157" y="537"/>
                  </a:lnTo>
                  <a:lnTo>
                    <a:pt x="157" y="536"/>
                  </a:lnTo>
                  <a:lnTo>
                    <a:pt x="157" y="535"/>
                  </a:lnTo>
                  <a:lnTo>
                    <a:pt x="157" y="534"/>
                  </a:lnTo>
                  <a:lnTo>
                    <a:pt x="159" y="534"/>
                  </a:lnTo>
                  <a:lnTo>
                    <a:pt x="159" y="536"/>
                  </a:lnTo>
                  <a:lnTo>
                    <a:pt x="162" y="536"/>
                  </a:lnTo>
                  <a:lnTo>
                    <a:pt x="163" y="537"/>
                  </a:lnTo>
                  <a:lnTo>
                    <a:pt x="164" y="539"/>
                  </a:lnTo>
                  <a:lnTo>
                    <a:pt x="164" y="541"/>
                  </a:lnTo>
                  <a:lnTo>
                    <a:pt x="165" y="543"/>
                  </a:lnTo>
                  <a:lnTo>
                    <a:pt x="164" y="546"/>
                  </a:lnTo>
                  <a:lnTo>
                    <a:pt x="163" y="547"/>
                  </a:lnTo>
                  <a:lnTo>
                    <a:pt x="162" y="546"/>
                  </a:lnTo>
                  <a:lnTo>
                    <a:pt x="161" y="545"/>
                  </a:lnTo>
                  <a:lnTo>
                    <a:pt x="159" y="543"/>
                  </a:lnTo>
                  <a:lnTo>
                    <a:pt x="157" y="543"/>
                  </a:lnTo>
                  <a:lnTo>
                    <a:pt x="156" y="545"/>
                  </a:lnTo>
                  <a:lnTo>
                    <a:pt x="157" y="546"/>
                  </a:lnTo>
                  <a:lnTo>
                    <a:pt x="157" y="548"/>
                  </a:lnTo>
                  <a:lnTo>
                    <a:pt x="158" y="549"/>
                  </a:lnTo>
                  <a:lnTo>
                    <a:pt x="157" y="549"/>
                  </a:lnTo>
                  <a:lnTo>
                    <a:pt x="156" y="548"/>
                  </a:lnTo>
                  <a:lnTo>
                    <a:pt x="156" y="547"/>
                  </a:lnTo>
                  <a:lnTo>
                    <a:pt x="155" y="546"/>
                  </a:lnTo>
                  <a:lnTo>
                    <a:pt x="153" y="546"/>
                  </a:lnTo>
                  <a:lnTo>
                    <a:pt x="152" y="546"/>
                  </a:lnTo>
                  <a:lnTo>
                    <a:pt x="152" y="547"/>
                  </a:lnTo>
                  <a:lnTo>
                    <a:pt x="152" y="548"/>
                  </a:lnTo>
                  <a:lnTo>
                    <a:pt x="152" y="549"/>
                  </a:lnTo>
                  <a:lnTo>
                    <a:pt x="152" y="551"/>
                  </a:lnTo>
                  <a:lnTo>
                    <a:pt x="152" y="553"/>
                  </a:lnTo>
                  <a:lnTo>
                    <a:pt x="151" y="553"/>
                  </a:lnTo>
                  <a:lnTo>
                    <a:pt x="150" y="552"/>
                  </a:lnTo>
                  <a:lnTo>
                    <a:pt x="149" y="551"/>
                  </a:lnTo>
                  <a:lnTo>
                    <a:pt x="149" y="553"/>
                  </a:lnTo>
                  <a:lnTo>
                    <a:pt x="150" y="555"/>
                  </a:lnTo>
                  <a:lnTo>
                    <a:pt x="153" y="557"/>
                  </a:lnTo>
                  <a:lnTo>
                    <a:pt x="155" y="557"/>
                  </a:lnTo>
                  <a:lnTo>
                    <a:pt x="157" y="554"/>
                  </a:lnTo>
                  <a:lnTo>
                    <a:pt x="158" y="553"/>
                  </a:lnTo>
                  <a:lnTo>
                    <a:pt x="159" y="553"/>
                  </a:lnTo>
                  <a:lnTo>
                    <a:pt x="162" y="552"/>
                  </a:lnTo>
                  <a:lnTo>
                    <a:pt x="162" y="553"/>
                  </a:lnTo>
                  <a:lnTo>
                    <a:pt x="165" y="553"/>
                  </a:lnTo>
                  <a:lnTo>
                    <a:pt x="168" y="553"/>
                  </a:lnTo>
                  <a:lnTo>
                    <a:pt x="169" y="552"/>
                  </a:lnTo>
                  <a:lnTo>
                    <a:pt x="170" y="551"/>
                  </a:lnTo>
                  <a:lnTo>
                    <a:pt x="171" y="549"/>
                  </a:lnTo>
                  <a:lnTo>
                    <a:pt x="170" y="548"/>
                  </a:lnTo>
                  <a:lnTo>
                    <a:pt x="170" y="547"/>
                  </a:lnTo>
                  <a:lnTo>
                    <a:pt x="171" y="545"/>
                  </a:lnTo>
                  <a:lnTo>
                    <a:pt x="174" y="543"/>
                  </a:lnTo>
                  <a:lnTo>
                    <a:pt x="177" y="543"/>
                  </a:lnTo>
                  <a:lnTo>
                    <a:pt x="180" y="543"/>
                  </a:lnTo>
                  <a:lnTo>
                    <a:pt x="182" y="545"/>
                  </a:lnTo>
                  <a:lnTo>
                    <a:pt x="183" y="545"/>
                  </a:lnTo>
                  <a:lnTo>
                    <a:pt x="186" y="545"/>
                  </a:lnTo>
                  <a:lnTo>
                    <a:pt x="185" y="547"/>
                  </a:lnTo>
                  <a:lnTo>
                    <a:pt x="183" y="547"/>
                  </a:lnTo>
                  <a:lnTo>
                    <a:pt x="181" y="548"/>
                  </a:lnTo>
                  <a:lnTo>
                    <a:pt x="180" y="547"/>
                  </a:lnTo>
                  <a:lnTo>
                    <a:pt x="179" y="548"/>
                  </a:lnTo>
                  <a:lnTo>
                    <a:pt x="177" y="549"/>
                  </a:lnTo>
                  <a:lnTo>
                    <a:pt x="177" y="551"/>
                  </a:lnTo>
                  <a:lnTo>
                    <a:pt x="176" y="551"/>
                  </a:lnTo>
                  <a:lnTo>
                    <a:pt x="174" y="551"/>
                  </a:lnTo>
                  <a:lnTo>
                    <a:pt x="174" y="552"/>
                  </a:lnTo>
                  <a:lnTo>
                    <a:pt x="175" y="555"/>
                  </a:lnTo>
                  <a:lnTo>
                    <a:pt x="177" y="557"/>
                  </a:lnTo>
                  <a:lnTo>
                    <a:pt x="179" y="557"/>
                  </a:lnTo>
                  <a:lnTo>
                    <a:pt x="181" y="557"/>
                  </a:lnTo>
                  <a:lnTo>
                    <a:pt x="182" y="554"/>
                  </a:lnTo>
                  <a:lnTo>
                    <a:pt x="183" y="553"/>
                  </a:lnTo>
                  <a:lnTo>
                    <a:pt x="183" y="552"/>
                  </a:lnTo>
                  <a:lnTo>
                    <a:pt x="183" y="551"/>
                  </a:lnTo>
                  <a:lnTo>
                    <a:pt x="186" y="549"/>
                  </a:lnTo>
                  <a:lnTo>
                    <a:pt x="187" y="548"/>
                  </a:lnTo>
                  <a:lnTo>
                    <a:pt x="189" y="546"/>
                  </a:lnTo>
                  <a:lnTo>
                    <a:pt x="191" y="546"/>
                  </a:lnTo>
                  <a:lnTo>
                    <a:pt x="193" y="546"/>
                  </a:lnTo>
                  <a:lnTo>
                    <a:pt x="193" y="547"/>
                  </a:lnTo>
                  <a:lnTo>
                    <a:pt x="189" y="549"/>
                  </a:lnTo>
                  <a:lnTo>
                    <a:pt x="189" y="551"/>
                  </a:lnTo>
                  <a:lnTo>
                    <a:pt x="189" y="552"/>
                  </a:lnTo>
                  <a:lnTo>
                    <a:pt x="191" y="553"/>
                  </a:lnTo>
                  <a:lnTo>
                    <a:pt x="193" y="551"/>
                  </a:lnTo>
                  <a:lnTo>
                    <a:pt x="196" y="549"/>
                  </a:lnTo>
                  <a:lnTo>
                    <a:pt x="193" y="553"/>
                  </a:lnTo>
                  <a:lnTo>
                    <a:pt x="192" y="553"/>
                  </a:lnTo>
                  <a:lnTo>
                    <a:pt x="189" y="555"/>
                  </a:lnTo>
                  <a:lnTo>
                    <a:pt x="188" y="557"/>
                  </a:lnTo>
                  <a:lnTo>
                    <a:pt x="186" y="558"/>
                  </a:lnTo>
                  <a:lnTo>
                    <a:pt x="185" y="558"/>
                  </a:lnTo>
                  <a:lnTo>
                    <a:pt x="182" y="558"/>
                  </a:lnTo>
                  <a:lnTo>
                    <a:pt x="182" y="559"/>
                  </a:lnTo>
                  <a:lnTo>
                    <a:pt x="182" y="560"/>
                  </a:lnTo>
                  <a:lnTo>
                    <a:pt x="181" y="561"/>
                  </a:lnTo>
                  <a:lnTo>
                    <a:pt x="180" y="563"/>
                  </a:lnTo>
                  <a:lnTo>
                    <a:pt x="177" y="564"/>
                  </a:lnTo>
                  <a:lnTo>
                    <a:pt x="176" y="564"/>
                  </a:lnTo>
                  <a:lnTo>
                    <a:pt x="175" y="563"/>
                  </a:lnTo>
                  <a:lnTo>
                    <a:pt x="174" y="563"/>
                  </a:lnTo>
                  <a:lnTo>
                    <a:pt x="173" y="561"/>
                  </a:lnTo>
                  <a:lnTo>
                    <a:pt x="170" y="560"/>
                  </a:lnTo>
                  <a:lnTo>
                    <a:pt x="170" y="559"/>
                  </a:lnTo>
                  <a:lnTo>
                    <a:pt x="168" y="559"/>
                  </a:lnTo>
                  <a:lnTo>
                    <a:pt x="168" y="561"/>
                  </a:lnTo>
                  <a:lnTo>
                    <a:pt x="169" y="563"/>
                  </a:lnTo>
                  <a:lnTo>
                    <a:pt x="170" y="564"/>
                  </a:lnTo>
                  <a:lnTo>
                    <a:pt x="170" y="565"/>
                  </a:lnTo>
                  <a:lnTo>
                    <a:pt x="173" y="566"/>
                  </a:lnTo>
                  <a:lnTo>
                    <a:pt x="174" y="567"/>
                  </a:lnTo>
                  <a:lnTo>
                    <a:pt x="173" y="570"/>
                  </a:lnTo>
                  <a:lnTo>
                    <a:pt x="171" y="569"/>
                  </a:lnTo>
                  <a:lnTo>
                    <a:pt x="171" y="566"/>
                  </a:lnTo>
                  <a:lnTo>
                    <a:pt x="170" y="565"/>
                  </a:lnTo>
                  <a:lnTo>
                    <a:pt x="165" y="565"/>
                  </a:lnTo>
                  <a:lnTo>
                    <a:pt x="164" y="566"/>
                  </a:lnTo>
                  <a:lnTo>
                    <a:pt x="162" y="569"/>
                  </a:lnTo>
                  <a:lnTo>
                    <a:pt x="161" y="569"/>
                  </a:lnTo>
                  <a:lnTo>
                    <a:pt x="159" y="567"/>
                  </a:lnTo>
                  <a:lnTo>
                    <a:pt x="159" y="566"/>
                  </a:lnTo>
                  <a:lnTo>
                    <a:pt x="158" y="566"/>
                  </a:lnTo>
                  <a:lnTo>
                    <a:pt x="158" y="567"/>
                  </a:lnTo>
                  <a:lnTo>
                    <a:pt x="157" y="567"/>
                  </a:lnTo>
                  <a:lnTo>
                    <a:pt x="156" y="566"/>
                  </a:lnTo>
                  <a:lnTo>
                    <a:pt x="155" y="567"/>
                  </a:lnTo>
                  <a:lnTo>
                    <a:pt x="155" y="570"/>
                  </a:lnTo>
                  <a:lnTo>
                    <a:pt x="155" y="572"/>
                  </a:lnTo>
                  <a:lnTo>
                    <a:pt x="152" y="575"/>
                  </a:lnTo>
                  <a:lnTo>
                    <a:pt x="151" y="576"/>
                  </a:lnTo>
                  <a:lnTo>
                    <a:pt x="151" y="573"/>
                  </a:lnTo>
                  <a:lnTo>
                    <a:pt x="152" y="572"/>
                  </a:lnTo>
                  <a:lnTo>
                    <a:pt x="151" y="571"/>
                  </a:lnTo>
                  <a:lnTo>
                    <a:pt x="149" y="571"/>
                  </a:lnTo>
                  <a:lnTo>
                    <a:pt x="147" y="572"/>
                  </a:lnTo>
                  <a:lnTo>
                    <a:pt x="146" y="570"/>
                  </a:lnTo>
                  <a:lnTo>
                    <a:pt x="145" y="570"/>
                  </a:lnTo>
                  <a:lnTo>
                    <a:pt x="144" y="569"/>
                  </a:lnTo>
                  <a:lnTo>
                    <a:pt x="141" y="570"/>
                  </a:lnTo>
                  <a:lnTo>
                    <a:pt x="140" y="571"/>
                  </a:lnTo>
                  <a:lnTo>
                    <a:pt x="138" y="572"/>
                  </a:lnTo>
                  <a:lnTo>
                    <a:pt x="134" y="572"/>
                  </a:lnTo>
                  <a:lnTo>
                    <a:pt x="132" y="573"/>
                  </a:lnTo>
                  <a:lnTo>
                    <a:pt x="130" y="572"/>
                  </a:lnTo>
                  <a:lnTo>
                    <a:pt x="129" y="571"/>
                  </a:lnTo>
                  <a:lnTo>
                    <a:pt x="128" y="572"/>
                  </a:lnTo>
                  <a:lnTo>
                    <a:pt x="127" y="571"/>
                  </a:lnTo>
                  <a:lnTo>
                    <a:pt x="126" y="572"/>
                  </a:lnTo>
                  <a:lnTo>
                    <a:pt x="124" y="575"/>
                  </a:lnTo>
                  <a:lnTo>
                    <a:pt x="123" y="575"/>
                  </a:lnTo>
                  <a:lnTo>
                    <a:pt x="124" y="578"/>
                  </a:lnTo>
                  <a:lnTo>
                    <a:pt x="127" y="578"/>
                  </a:lnTo>
                  <a:lnTo>
                    <a:pt x="128" y="578"/>
                  </a:lnTo>
                  <a:lnTo>
                    <a:pt x="128" y="579"/>
                  </a:lnTo>
                  <a:lnTo>
                    <a:pt x="130" y="579"/>
                  </a:lnTo>
                  <a:lnTo>
                    <a:pt x="130" y="578"/>
                  </a:lnTo>
                  <a:lnTo>
                    <a:pt x="132" y="581"/>
                  </a:lnTo>
                  <a:lnTo>
                    <a:pt x="133" y="582"/>
                  </a:lnTo>
                  <a:lnTo>
                    <a:pt x="133" y="583"/>
                  </a:lnTo>
                  <a:lnTo>
                    <a:pt x="132" y="584"/>
                  </a:lnTo>
                  <a:lnTo>
                    <a:pt x="134" y="585"/>
                  </a:lnTo>
                  <a:lnTo>
                    <a:pt x="137" y="585"/>
                  </a:lnTo>
                  <a:lnTo>
                    <a:pt x="137" y="587"/>
                  </a:lnTo>
                  <a:lnTo>
                    <a:pt x="138" y="585"/>
                  </a:lnTo>
                  <a:lnTo>
                    <a:pt x="138" y="584"/>
                  </a:lnTo>
                  <a:lnTo>
                    <a:pt x="137" y="583"/>
                  </a:lnTo>
                  <a:lnTo>
                    <a:pt x="137" y="581"/>
                  </a:lnTo>
                  <a:lnTo>
                    <a:pt x="138" y="579"/>
                  </a:lnTo>
                  <a:lnTo>
                    <a:pt x="139" y="581"/>
                  </a:lnTo>
                  <a:lnTo>
                    <a:pt x="140" y="583"/>
                  </a:lnTo>
                  <a:lnTo>
                    <a:pt x="141" y="583"/>
                  </a:lnTo>
                  <a:lnTo>
                    <a:pt x="144" y="583"/>
                  </a:lnTo>
                  <a:lnTo>
                    <a:pt x="146" y="582"/>
                  </a:lnTo>
                  <a:lnTo>
                    <a:pt x="149" y="582"/>
                  </a:lnTo>
                  <a:lnTo>
                    <a:pt x="146" y="584"/>
                  </a:lnTo>
                  <a:lnTo>
                    <a:pt x="145" y="585"/>
                  </a:lnTo>
                  <a:lnTo>
                    <a:pt x="143" y="585"/>
                  </a:lnTo>
                  <a:lnTo>
                    <a:pt x="141" y="587"/>
                  </a:lnTo>
                  <a:lnTo>
                    <a:pt x="141" y="588"/>
                  </a:lnTo>
                  <a:lnTo>
                    <a:pt x="144" y="589"/>
                  </a:lnTo>
                  <a:lnTo>
                    <a:pt x="145" y="589"/>
                  </a:lnTo>
                  <a:lnTo>
                    <a:pt x="146" y="589"/>
                  </a:lnTo>
                  <a:lnTo>
                    <a:pt x="149" y="589"/>
                  </a:lnTo>
                  <a:lnTo>
                    <a:pt x="150" y="587"/>
                  </a:lnTo>
                  <a:lnTo>
                    <a:pt x="152" y="585"/>
                  </a:lnTo>
                  <a:lnTo>
                    <a:pt x="153" y="584"/>
                  </a:lnTo>
                  <a:lnTo>
                    <a:pt x="155" y="584"/>
                  </a:lnTo>
                  <a:lnTo>
                    <a:pt x="157" y="584"/>
                  </a:lnTo>
                  <a:lnTo>
                    <a:pt x="156" y="585"/>
                  </a:lnTo>
                  <a:lnTo>
                    <a:pt x="156" y="588"/>
                  </a:lnTo>
                  <a:lnTo>
                    <a:pt x="153" y="589"/>
                  </a:lnTo>
                  <a:lnTo>
                    <a:pt x="152" y="591"/>
                  </a:lnTo>
                  <a:lnTo>
                    <a:pt x="151" y="591"/>
                  </a:lnTo>
                  <a:lnTo>
                    <a:pt x="149" y="593"/>
                  </a:lnTo>
                  <a:lnTo>
                    <a:pt x="149" y="595"/>
                  </a:lnTo>
                  <a:lnTo>
                    <a:pt x="150" y="596"/>
                  </a:lnTo>
                  <a:lnTo>
                    <a:pt x="149" y="600"/>
                  </a:lnTo>
                  <a:lnTo>
                    <a:pt x="147" y="599"/>
                  </a:lnTo>
                  <a:lnTo>
                    <a:pt x="146" y="597"/>
                  </a:lnTo>
                  <a:lnTo>
                    <a:pt x="144" y="597"/>
                  </a:lnTo>
                  <a:lnTo>
                    <a:pt x="144" y="599"/>
                  </a:lnTo>
                  <a:lnTo>
                    <a:pt x="143" y="601"/>
                  </a:lnTo>
                  <a:lnTo>
                    <a:pt x="145" y="603"/>
                  </a:lnTo>
                  <a:lnTo>
                    <a:pt x="143" y="603"/>
                  </a:lnTo>
                  <a:lnTo>
                    <a:pt x="140" y="603"/>
                  </a:lnTo>
                  <a:lnTo>
                    <a:pt x="140" y="606"/>
                  </a:lnTo>
                  <a:lnTo>
                    <a:pt x="139" y="607"/>
                  </a:lnTo>
                  <a:lnTo>
                    <a:pt x="138" y="608"/>
                  </a:lnTo>
                  <a:lnTo>
                    <a:pt x="137" y="608"/>
                  </a:lnTo>
                  <a:lnTo>
                    <a:pt x="134" y="607"/>
                  </a:lnTo>
                  <a:lnTo>
                    <a:pt x="134" y="608"/>
                  </a:lnTo>
                  <a:lnTo>
                    <a:pt x="134" y="609"/>
                  </a:lnTo>
                  <a:lnTo>
                    <a:pt x="133" y="612"/>
                  </a:lnTo>
                  <a:lnTo>
                    <a:pt x="135" y="615"/>
                  </a:lnTo>
                  <a:lnTo>
                    <a:pt x="138" y="617"/>
                  </a:lnTo>
                  <a:lnTo>
                    <a:pt x="138" y="618"/>
                  </a:lnTo>
                  <a:lnTo>
                    <a:pt x="134" y="618"/>
                  </a:lnTo>
                  <a:lnTo>
                    <a:pt x="133" y="615"/>
                  </a:lnTo>
                  <a:lnTo>
                    <a:pt x="132" y="615"/>
                  </a:lnTo>
                  <a:lnTo>
                    <a:pt x="130" y="615"/>
                  </a:lnTo>
                  <a:lnTo>
                    <a:pt x="129" y="615"/>
                  </a:lnTo>
                  <a:lnTo>
                    <a:pt x="127" y="614"/>
                  </a:lnTo>
                  <a:lnTo>
                    <a:pt x="126" y="614"/>
                  </a:lnTo>
                  <a:lnTo>
                    <a:pt x="126" y="617"/>
                  </a:lnTo>
                  <a:lnTo>
                    <a:pt x="124" y="618"/>
                  </a:lnTo>
                  <a:lnTo>
                    <a:pt x="124" y="620"/>
                  </a:lnTo>
                  <a:lnTo>
                    <a:pt x="127" y="620"/>
                  </a:lnTo>
                  <a:lnTo>
                    <a:pt x="128" y="620"/>
                  </a:lnTo>
                  <a:lnTo>
                    <a:pt x="129" y="621"/>
                  </a:lnTo>
                  <a:lnTo>
                    <a:pt x="129" y="623"/>
                  </a:lnTo>
                  <a:lnTo>
                    <a:pt x="132" y="624"/>
                  </a:lnTo>
                  <a:lnTo>
                    <a:pt x="133" y="624"/>
                  </a:lnTo>
                  <a:lnTo>
                    <a:pt x="134" y="623"/>
                  </a:lnTo>
                  <a:lnTo>
                    <a:pt x="135" y="623"/>
                  </a:lnTo>
                  <a:lnTo>
                    <a:pt x="139" y="623"/>
                  </a:lnTo>
                  <a:lnTo>
                    <a:pt x="140" y="623"/>
                  </a:lnTo>
                  <a:lnTo>
                    <a:pt x="143" y="623"/>
                  </a:lnTo>
                  <a:lnTo>
                    <a:pt x="146" y="623"/>
                  </a:lnTo>
                  <a:lnTo>
                    <a:pt x="147" y="624"/>
                  </a:lnTo>
                  <a:lnTo>
                    <a:pt x="149" y="625"/>
                  </a:lnTo>
                  <a:lnTo>
                    <a:pt x="152" y="626"/>
                  </a:lnTo>
                  <a:lnTo>
                    <a:pt x="153" y="625"/>
                  </a:lnTo>
                  <a:lnTo>
                    <a:pt x="155" y="625"/>
                  </a:lnTo>
                  <a:lnTo>
                    <a:pt x="156" y="625"/>
                  </a:lnTo>
                  <a:lnTo>
                    <a:pt x="157" y="625"/>
                  </a:lnTo>
                  <a:lnTo>
                    <a:pt x="158" y="624"/>
                  </a:lnTo>
                  <a:lnTo>
                    <a:pt x="158" y="623"/>
                  </a:lnTo>
                  <a:lnTo>
                    <a:pt x="159" y="623"/>
                  </a:lnTo>
                  <a:lnTo>
                    <a:pt x="162" y="623"/>
                  </a:lnTo>
                  <a:lnTo>
                    <a:pt x="162" y="625"/>
                  </a:lnTo>
                  <a:lnTo>
                    <a:pt x="159" y="626"/>
                  </a:lnTo>
                  <a:lnTo>
                    <a:pt x="158" y="627"/>
                  </a:lnTo>
                  <a:lnTo>
                    <a:pt x="158" y="629"/>
                  </a:lnTo>
                  <a:lnTo>
                    <a:pt x="159" y="630"/>
                  </a:lnTo>
                  <a:lnTo>
                    <a:pt x="163" y="630"/>
                  </a:lnTo>
                  <a:lnTo>
                    <a:pt x="163" y="631"/>
                  </a:lnTo>
                  <a:lnTo>
                    <a:pt x="162" y="632"/>
                  </a:lnTo>
                  <a:lnTo>
                    <a:pt x="159" y="633"/>
                  </a:lnTo>
                  <a:lnTo>
                    <a:pt x="158" y="633"/>
                  </a:lnTo>
                  <a:lnTo>
                    <a:pt x="157" y="633"/>
                  </a:lnTo>
                  <a:lnTo>
                    <a:pt x="156" y="632"/>
                  </a:lnTo>
                  <a:lnTo>
                    <a:pt x="155" y="631"/>
                  </a:lnTo>
                  <a:lnTo>
                    <a:pt x="153" y="632"/>
                  </a:lnTo>
                  <a:lnTo>
                    <a:pt x="153" y="635"/>
                  </a:lnTo>
                  <a:lnTo>
                    <a:pt x="151" y="636"/>
                  </a:lnTo>
                  <a:lnTo>
                    <a:pt x="151" y="637"/>
                  </a:lnTo>
                  <a:lnTo>
                    <a:pt x="152" y="638"/>
                  </a:lnTo>
                  <a:lnTo>
                    <a:pt x="155" y="640"/>
                  </a:lnTo>
                  <a:lnTo>
                    <a:pt x="155" y="641"/>
                  </a:lnTo>
                  <a:lnTo>
                    <a:pt x="157" y="642"/>
                  </a:lnTo>
                  <a:lnTo>
                    <a:pt x="158" y="642"/>
                  </a:lnTo>
                  <a:lnTo>
                    <a:pt x="159" y="643"/>
                  </a:lnTo>
                  <a:lnTo>
                    <a:pt x="162" y="642"/>
                  </a:lnTo>
                  <a:lnTo>
                    <a:pt x="163" y="642"/>
                  </a:lnTo>
                  <a:lnTo>
                    <a:pt x="165" y="641"/>
                  </a:lnTo>
                  <a:lnTo>
                    <a:pt x="168" y="638"/>
                  </a:lnTo>
                  <a:lnTo>
                    <a:pt x="168" y="637"/>
                  </a:lnTo>
                  <a:lnTo>
                    <a:pt x="169" y="635"/>
                  </a:lnTo>
                  <a:lnTo>
                    <a:pt x="171" y="632"/>
                  </a:lnTo>
                  <a:lnTo>
                    <a:pt x="173" y="630"/>
                  </a:lnTo>
                  <a:lnTo>
                    <a:pt x="174" y="627"/>
                  </a:lnTo>
                  <a:lnTo>
                    <a:pt x="175" y="624"/>
                  </a:lnTo>
                  <a:lnTo>
                    <a:pt x="176" y="621"/>
                  </a:lnTo>
                  <a:lnTo>
                    <a:pt x="177" y="620"/>
                  </a:lnTo>
                  <a:lnTo>
                    <a:pt x="180" y="623"/>
                  </a:lnTo>
                  <a:lnTo>
                    <a:pt x="179" y="625"/>
                  </a:lnTo>
                  <a:lnTo>
                    <a:pt x="177" y="626"/>
                  </a:lnTo>
                  <a:lnTo>
                    <a:pt x="177" y="629"/>
                  </a:lnTo>
                  <a:lnTo>
                    <a:pt x="176" y="630"/>
                  </a:lnTo>
                  <a:lnTo>
                    <a:pt x="176" y="631"/>
                  </a:lnTo>
                  <a:lnTo>
                    <a:pt x="177" y="633"/>
                  </a:lnTo>
                  <a:lnTo>
                    <a:pt x="180" y="633"/>
                  </a:lnTo>
                  <a:lnTo>
                    <a:pt x="181" y="633"/>
                  </a:lnTo>
                  <a:lnTo>
                    <a:pt x="181" y="635"/>
                  </a:lnTo>
                  <a:lnTo>
                    <a:pt x="183" y="635"/>
                  </a:lnTo>
                  <a:lnTo>
                    <a:pt x="185" y="635"/>
                  </a:lnTo>
                  <a:lnTo>
                    <a:pt x="186" y="633"/>
                  </a:lnTo>
                  <a:lnTo>
                    <a:pt x="187" y="632"/>
                  </a:lnTo>
                  <a:lnTo>
                    <a:pt x="187" y="631"/>
                  </a:lnTo>
                  <a:lnTo>
                    <a:pt x="186" y="629"/>
                  </a:lnTo>
                  <a:lnTo>
                    <a:pt x="187" y="629"/>
                  </a:lnTo>
                  <a:lnTo>
                    <a:pt x="188" y="630"/>
                  </a:lnTo>
                  <a:lnTo>
                    <a:pt x="189" y="631"/>
                  </a:lnTo>
                  <a:lnTo>
                    <a:pt x="192" y="631"/>
                  </a:lnTo>
                  <a:lnTo>
                    <a:pt x="193" y="632"/>
                  </a:lnTo>
                  <a:lnTo>
                    <a:pt x="193" y="635"/>
                  </a:lnTo>
                  <a:lnTo>
                    <a:pt x="193" y="637"/>
                  </a:lnTo>
                  <a:lnTo>
                    <a:pt x="193" y="640"/>
                  </a:lnTo>
                  <a:lnTo>
                    <a:pt x="196" y="640"/>
                  </a:lnTo>
                  <a:lnTo>
                    <a:pt x="197" y="638"/>
                  </a:lnTo>
                  <a:lnTo>
                    <a:pt x="198" y="638"/>
                  </a:lnTo>
                  <a:lnTo>
                    <a:pt x="199" y="637"/>
                  </a:lnTo>
                  <a:lnTo>
                    <a:pt x="200" y="636"/>
                  </a:lnTo>
                  <a:lnTo>
                    <a:pt x="203" y="636"/>
                  </a:lnTo>
                  <a:lnTo>
                    <a:pt x="204" y="635"/>
                  </a:lnTo>
                  <a:lnTo>
                    <a:pt x="205" y="632"/>
                  </a:lnTo>
                  <a:lnTo>
                    <a:pt x="206" y="631"/>
                  </a:lnTo>
                  <a:lnTo>
                    <a:pt x="206" y="629"/>
                  </a:lnTo>
                  <a:lnTo>
                    <a:pt x="205" y="629"/>
                  </a:lnTo>
                  <a:lnTo>
                    <a:pt x="204" y="630"/>
                  </a:lnTo>
                  <a:lnTo>
                    <a:pt x="200" y="631"/>
                  </a:lnTo>
                  <a:lnTo>
                    <a:pt x="202" y="629"/>
                  </a:lnTo>
                  <a:lnTo>
                    <a:pt x="203" y="627"/>
                  </a:lnTo>
                  <a:lnTo>
                    <a:pt x="205" y="626"/>
                  </a:lnTo>
                  <a:lnTo>
                    <a:pt x="208" y="626"/>
                  </a:lnTo>
                  <a:lnTo>
                    <a:pt x="209" y="626"/>
                  </a:lnTo>
                  <a:lnTo>
                    <a:pt x="209" y="624"/>
                  </a:lnTo>
                  <a:lnTo>
                    <a:pt x="209" y="621"/>
                  </a:lnTo>
                  <a:lnTo>
                    <a:pt x="208" y="620"/>
                  </a:lnTo>
                  <a:lnTo>
                    <a:pt x="209" y="619"/>
                  </a:lnTo>
                  <a:lnTo>
                    <a:pt x="210" y="618"/>
                  </a:lnTo>
                  <a:lnTo>
                    <a:pt x="210" y="617"/>
                  </a:lnTo>
                  <a:lnTo>
                    <a:pt x="210" y="615"/>
                  </a:lnTo>
                  <a:lnTo>
                    <a:pt x="210" y="613"/>
                  </a:lnTo>
                  <a:lnTo>
                    <a:pt x="210" y="612"/>
                  </a:lnTo>
                  <a:lnTo>
                    <a:pt x="211" y="613"/>
                  </a:lnTo>
                  <a:lnTo>
                    <a:pt x="212" y="613"/>
                  </a:lnTo>
                  <a:lnTo>
                    <a:pt x="214" y="611"/>
                  </a:lnTo>
                  <a:lnTo>
                    <a:pt x="215" y="609"/>
                  </a:lnTo>
                  <a:lnTo>
                    <a:pt x="215" y="608"/>
                  </a:lnTo>
                  <a:lnTo>
                    <a:pt x="215" y="607"/>
                  </a:lnTo>
                  <a:lnTo>
                    <a:pt x="214" y="606"/>
                  </a:lnTo>
                  <a:lnTo>
                    <a:pt x="212" y="606"/>
                  </a:lnTo>
                  <a:lnTo>
                    <a:pt x="212" y="605"/>
                  </a:lnTo>
                  <a:lnTo>
                    <a:pt x="214" y="603"/>
                  </a:lnTo>
                  <a:lnTo>
                    <a:pt x="215" y="603"/>
                  </a:lnTo>
                  <a:lnTo>
                    <a:pt x="216" y="605"/>
                  </a:lnTo>
                  <a:lnTo>
                    <a:pt x="217" y="606"/>
                  </a:lnTo>
                  <a:lnTo>
                    <a:pt x="217" y="607"/>
                  </a:lnTo>
                  <a:lnTo>
                    <a:pt x="217" y="609"/>
                  </a:lnTo>
                  <a:lnTo>
                    <a:pt x="218" y="612"/>
                  </a:lnTo>
                  <a:lnTo>
                    <a:pt x="221" y="614"/>
                  </a:lnTo>
                  <a:lnTo>
                    <a:pt x="222" y="615"/>
                  </a:lnTo>
                  <a:lnTo>
                    <a:pt x="226" y="617"/>
                  </a:lnTo>
                  <a:lnTo>
                    <a:pt x="227" y="617"/>
                  </a:lnTo>
                  <a:lnTo>
                    <a:pt x="229" y="615"/>
                  </a:lnTo>
                  <a:lnTo>
                    <a:pt x="230" y="614"/>
                  </a:lnTo>
                  <a:lnTo>
                    <a:pt x="230" y="612"/>
                  </a:lnTo>
                  <a:lnTo>
                    <a:pt x="229" y="611"/>
                  </a:lnTo>
                  <a:lnTo>
                    <a:pt x="228" y="611"/>
                  </a:lnTo>
                  <a:lnTo>
                    <a:pt x="226" y="608"/>
                  </a:lnTo>
                  <a:lnTo>
                    <a:pt x="223" y="607"/>
                  </a:lnTo>
                  <a:lnTo>
                    <a:pt x="221" y="605"/>
                  </a:lnTo>
                  <a:lnTo>
                    <a:pt x="220" y="603"/>
                  </a:lnTo>
                  <a:lnTo>
                    <a:pt x="218" y="602"/>
                  </a:lnTo>
                  <a:lnTo>
                    <a:pt x="217" y="600"/>
                  </a:lnTo>
                  <a:lnTo>
                    <a:pt x="218" y="600"/>
                  </a:lnTo>
                  <a:lnTo>
                    <a:pt x="220" y="599"/>
                  </a:lnTo>
                  <a:lnTo>
                    <a:pt x="222" y="597"/>
                  </a:lnTo>
                  <a:lnTo>
                    <a:pt x="224" y="595"/>
                  </a:lnTo>
                  <a:lnTo>
                    <a:pt x="226" y="595"/>
                  </a:lnTo>
                  <a:lnTo>
                    <a:pt x="228" y="594"/>
                  </a:lnTo>
                  <a:lnTo>
                    <a:pt x="229" y="593"/>
                  </a:lnTo>
                  <a:lnTo>
                    <a:pt x="229" y="591"/>
                  </a:lnTo>
                  <a:lnTo>
                    <a:pt x="227" y="593"/>
                  </a:lnTo>
                  <a:lnTo>
                    <a:pt x="226" y="593"/>
                  </a:lnTo>
                  <a:lnTo>
                    <a:pt x="223" y="594"/>
                  </a:lnTo>
                  <a:lnTo>
                    <a:pt x="223" y="593"/>
                  </a:lnTo>
                  <a:lnTo>
                    <a:pt x="223" y="591"/>
                  </a:lnTo>
                  <a:lnTo>
                    <a:pt x="226" y="591"/>
                  </a:lnTo>
                  <a:lnTo>
                    <a:pt x="228" y="590"/>
                  </a:lnTo>
                  <a:lnTo>
                    <a:pt x="230" y="590"/>
                  </a:lnTo>
                  <a:lnTo>
                    <a:pt x="232" y="590"/>
                  </a:lnTo>
                  <a:lnTo>
                    <a:pt x="233" y="591"/>
                  </a:lnTo>
                  <a:lnTo>
                    <a:pt x="234" y="593"/>
                  </a:lnTo>
                  <a:lnTo>
                    <a:pt x="235" y="593"/>
                  </a:lnTo>
                  <a:lnTo>
                    <a:pt x="236" y="591"/>
                  </a:lnTo>
                  <a:lnTo>
                    <a:pt x="236" y="590"/>
                  </a:lnTo>
                  <a:lnTo>
                    <a:pt x="236" y="589"/>
                  </a:lnTo>
                  <a:lnTo>
                    <a:pt x="234" y="589"/>
                  </a:lnTo>
                  <a:lnTo>
                    <a:pt x="233" y="589"/>
                  </a:lnTo>
                  <a:lnTo>
                    <a:pt x="233" y="588"/>
                  </a:lnTo>
                  <a:lnTo>
                    <a:pt x="234" y="587"/>
                  </a:lnTo>
                  <a:lnTo>
                    <a:pt x="235" y="587"/>
                  </a:lnTo>
                  <a:lnTo>
                    <a:pt x="236" y="587"/>
                  </a:lnTo>
                  <a:lnTo>
                    <a:pt x="238" y="589"/>
                  </a:lnTo>
                  <a:lnTo>
                    <a:pt x="240" y="590"/>
                  </a:lnTo>
                  <a:lnTo>
                    <a:pt x="242" y="590"/>
                  </a:lnTo>
                  <a:lnTo>
                    <a:pt x="245" y="589"/>
                  </a:lnTo>
                  <a:lnTo>
                    <a:pt x="246" y="587"/>
                  </a:lnTo>
                  <a:lnTo>
                    <a:pt x="245" y="585"/>
                  </a:lnTo>
                  <a:lnTo>
                    <a:pt x="244" y="584"/>
                  </a:lnTo>
                  <a:lnTo>
                    <a:pt x="242" y="583"/>
                  </a:lnTo>
                  <a:lnTo>
                    <a:pt x="240" y="582"/>
                  </a:lnTo>
                  <a:lnTo>
                    <a:pt x="239" y="583"/>
                  </a:lnTo>
                  <a:lnTo>
                    <a:pt x="238" y="583"/>
                  </a:lnTo>
                  <a:lnTo>
                    <a:pt x="236" y="582"/>
                  </a:lnTo>
                  <a:lnTo>
                    <a:pt x="235" y="581"/>
                  </a:lnTo>
                  <a:lnTo>
                    <a:pt x="234" y="581"/>
                  </a:lnTo>
                  <a:lnTo>
                    <a:pt x="232" y="582"/>
                  </a:lnTo>
                  <a:lnTo>
                    <a:pt x="229" y="581"/>
                  </a:lnTo>
                  <a:lnTo>
                    <a:pt x="229" y="579"/>
                  </a:lnTo>
                  <a:lnTo>
                    <a:pt x="229" y="578"/>
                  </a:lnTo>
                  <a:lnTo>
                    <a:pt x="230" y="578"/>
                  </a:lnTo>
                  <a:lnTo>
                    <a:pt x="234" y="581"/>
                  </a:lnTo>
                  <a:lnTo>
                    <a:pt x="235" y="579"/>
                  </a:lnTo>
                  <a:lnTo>
                    <a:pt x="238" y="578"/>
                  </a:lnTo>
                  <a:lnTo>
                    <a:pt x="240" y="578"/>
                  </a:lnTo>
                  <a:lnTo>
                    <a:pt x="240" y="577"/>
                  </a:lnTo>
                  <a:lnTo>
                    <a:pt x="240" y="575"/>
                  </a:lnTo>
                  <a:lnTo>
                    <a:pt x="240" y="572"/>
                  </a:lnTo>
                  <a:lnTo>
                    <a:pt x="240" y="571"/>
                  </a:lnTo>
                  <a:lnTo>
                    <a:pt x="239" y="572"/>
                  </a:lnTo>
                  <a:lnTo>
                    <a:pt x="238" y="573"/>
                  </a:lnTo>
                  <a:lnTo>
                    <a:pt x="236" y="572"/>
                  </a:lnTo>
                  <a:lnTo>
                    <a:pt x="235" y="572"/>
                  </a:lnTo>
                  <a:lnTo>
                    <a:pt x="234" y="573"/>
                  </a:lnTo>
                  <a:lnTo>
                    <a:pt x="233" y="573"/>
                  </a:lnTo>
                  <a:lnTo>
                    <a:pt x="230" y="575"/>
                  </a:lnTo>
                  <a:lnTo>
                    <a:pt x="228" y="576"/>
                  </a:lnTo>
                  <a:lnTo>
                    <a:pt x="227" y="577"/>
                  </a:lnTo>
                  <a:lnTo>
                    <a:pt x="227" y="578"/>
                  </a:lnTo>
                  <a:lnTo>
                    <a:pt x="226" y="581"/>
                  </a:lnTo>
                  <a:lnTo>
                    <a:pt x="224" y="579"/>
                  </a:lnTo>
                  <a:lnTo>
                    <a:pt x="226" y="577"/>
                  </a:lnTo>
                  <a:lnTo>
                    <a:pt x="227" y="576"/>
                  </a:lnTo>
                  <a:lnTo>
                    <a:pt x="228" y="573"/>
                  </a:lnTo>
                  <a:lnTo>
                    <a:pt x="230" y="572"/>
                  </a:lnTo>
                  <a:lnTo>
                    <a:pt x="232" y="572"/>
                  </a:lnTo>
                  <a:lnTo>
                    <a:pt x="232" y="570"/>
                  </a:lnTo>
                  <a:lnTo>
                    <a:pt x="230" y="569"/>
                  </a:lnTo>
                  <a:lnTo>
                    <a:pt x="229" y="567"/>
                  </a:lnTo>
                  <a:lnTo>
                    <a:pt x="227" y="571"/>
                  </a:lnTo>
                  <a:lnTo>
                    <a:pt x="227" y="572"/>
                  </a:lnTo>
                  <a:lnTo>
                    <a:pt x="226" y="570"/>
                  </a:lnTo>
                  <a:lnTo>
                    <a:pt x="227" y="569"/>
                  </a:lnTo>
                  <a:lnTo>
                    <a:pt x="227" y="567"/>
                  </a:lnTo>
                  <a:lnTo>
                    <a:pt x="226" y="567"/>
                  </a:lnTo>
                  <a:lnTo>
                    <a:pt x="224" y="566"/>
                  </a:lnTo>
                  <a:lnTo>
                    <a:pt x="223" y="567"/>
                  </a:lnTo>
                  <a:lnTo>
                    <a:pt x="223" y="569"/>
                  </a:lnTo>
                  <a:lnTo>
                    <a:pt x="223" y="570"/>
                  </a:lnTo>
                  <a:lnTo>
                    <a:pt x="222" y="570"/>
                  </a:lnTo>
                  <a:lnTo>
                    <a:pt x="221" y="566"/>
                  </a:lnTo>
                  <a:lnTo>
                    <a:pt x="218" y="565"/>
                  </a:lnTo>
                  <a:lnTo>
                    <a:pt x="218" y="564"/>
                  </a:lnTo>
                  <a:lnTo>
                    <a:pt x="217" y="563"/>
                  </a:lnTo>
                  <a:lnTo>
                    <a:pt x="216" y="561"/>
                  </a:lnTo>
                  <a:lnTo>
                    <a:pt x="215" y="560"/>
                  </a:lnTo>
                  <a:lnTo>
                    <a:pt x="215" y="559"/>
                  </a:lnTo>
                  <a:lnTo>
                    <a:pt x="216" y="557"/>
                  </a:lnTo>
                  <a:lnTo>
                    <a:pt x="217" y="555"/>
                  </a:lnTo>
                  <a:lnTo>
                    <a:pt x="218" y="555"/>
                  </a:lnTo>
                  <a:lnTo>
                    <a:pt x="220" y="557"/>
                  </a:lnTo>
                  <a:lnTo>
                    <a:pt x="221" y="557"/>
                  </a:lnTo>
                  <a:lnTo>
                    <a:pt x="223" y="558"/>
                  </a:lnTo>
                  <a:lnTo>
                    <a:pt x="224" y="559"/>
                  </a:lnTo>
                  <a:lnTo>
                    <a:pt x="228" y="560"/>
                  </a:lnTo>
                  <a:lnTo>
                    <a:pt x="229" y="559"/>
                  </a:lnTo>
                  <a:lnTo>
                    <a:pt x="229" y="558"/>
                  </a:lnTo>
                  <a:lnTo>
                    <a:pt x="230" y="557"/>
                  </a:lnTo>
                  <a:lnTo>
                    <a:pt x="230" y="554"/>
                  </a:lnTo>
                  <a:lnTo>
                    <a:pt x="229" y="553"/>
                  </a:lnTo>
                  <a:lnTo>
                    <a:pt x="227" y="554"/>
                  </a:lnTo>
                  <a:lnTo>
                    <a:pt x="223" y="554"/>
                  </a:lnTo>
                  <a:lnTo>
                    <a:pt x="221" y="553"/>
                  </a:lnTo>
                  <a:lnTo>
                    <a:pt x="218" y="552"/>
                  </a:lnTo>
                  <a:lnTo>
                    <a:pt x="217" y="551"/>
                  </a:lnTo>
                  <a:lnTo>
                    <a:pt x="216" y="551"/>
                  </a:lnTo>
                  <a:lnTo>
                    <a:pt x="216" y="548"/>
                  </a:lnTo>
                  <a:lnTo>
                    <a:pt x="216" y="547"/>
                  </a:lnTo>
                  <a:lnTo>
                    <a:pt x="216" y="545"/>
                  </a:lnTo>
                  <a:lnTo>
                    <a:pt x="212" y="543"/>
                  </a:lnTo>
                  <a:lnTo>
                    <a:pt x="211" y="543"/>
                  </a:lnTo>
                  <a:lnTo>
                    <a:pt x="210" y="541"/>
                  </a:lnTo>
                  <a:lnTo>
                    <a:pt x="209" y="541"/>
                  </a:lnTo>
                  <a:lnTo>
                    <a:pt x="209" y="539"/>
                  </a:lnTo>
                  <a:lnTo>
                    <a:pt x="209" y="536"/>
                  </a:lnTo>
                  <a:lnTo>
                    <a:pt x="210" y="534"/>
                  </a:lnTo>
                  <a:lnTo>
                    <a:pt x="210" y="533"/>
                  </a:lnTo>
                  <a:lnTo>
                    <a:pt x="210" y="529"/>
                  </a:lnTo>
                  <a:lnTo>
                    <a:pt x="211" y="526"/>
                  </a:lnTo>
                  <a:lnTo>
                    <a:pt x="212" y="525"/>
                  </a:lnTo>
                  <a:lnTo>
                    <a:pt x="214" y="523"/>
                  </a:lnTo>
                  <a:lnTo>
                    <a:pt x="215" y="522"/>
                  </a:lnTo>
                  <a:lnTo>
                    <a:pt x="217" y="524"/>
                  </a:lnTo>
                  <a:lnTo>
                    <a:pt x="220" y="525"/>
                  </a:lnTo>
                  <a:lnTo>
                    <a:pt x="222" y="526"/>
                  </a:lnTo>
                  <a:lnTo>
                    <a:pt x="220" y="528"/>
                  </a:lnTo>
                  <a:lnTo>
                    <a:pt x="218" y="528"/>
                  </a:lnTo>
                  <a:lnTo>
                    <a:pt x="217" y="526"/>
                  </a:lnTo>
                  <a:lnTo>
                    <a:pt x="216" y="526"/>
                  </a:lnTo>
                  <a:lnTo>
                    <a:pt x="216" y="529"/>
                  </a:lnTo>
                  <a:lnTo>
                    <a:pt x="214" y="529"/>
                  </a:lnTo>
                  <a:lnTo>
                    <a:pt x="214" y="530"/>
                  </a:lnTo>
                  <a:lnTo>
                    <a:pt x="215" y="530"/>
                  </a:lnTo>
                  <a:lnTo>
                    <a:pt x="214" y="534"/>
                  </a:lnTo>
                  <a:lnTo>
                    <a:pt x="215" y="535"/>
                  </a:lnTo>
                  <a:lnTo>
                    <a:pt x="216" y="535"/>
                  </a:lnTo>
                  <a:lnTo>
                    <a:pt x="218" y="534"/>
                  </a:lnTo>
                  <a:lnTo>
                    <a:pt x="220" y="533"/>
                  </a:lnTo>
                  <a:lnTo>
                    <a:pt x="221" y="530"/>
                  </a:lnTo>
                  <a:lnTo>
                    <a:pt x="222" y="530"/>
                  </a:lnTo>
                  <a:lnTo>
                    <a:pt x="227" y="530"/>
                  </a:lnTo>
                  <a:lnTo>
                    <a:pt x="229" y="530"/>
                  </a:lnTo>
                  <a:lnTo>
                    <a:pt x="232" y="530"/>
                  </a:lnTo>
                  <a:lnTo>
                    <a:pt x="233" y="531"/>
                  </a:lnTo>
                  <a:lnTo>
                    <a:pt x="233" y="534"/>
                  </a:lnTo>
                  <a:lnTo>
                    <a:pt x="232" y="536"/>
                  </a:lnTo>
                  <a:lnTo>
                    <a:pt x="229" y="536"/>
                  </a:lnTo>
                  <a:lnTo>
                    <a:pt x="228" y="535"/>
                  </a:lnTo>
                  <a:lnTo>
                    <a:pt x="226" y="535"/>
                  </a:lnTo>
                  <a:lnTo>
                    <a:pt x="224" y="535"/>
                  </a:lnTo>
                  <a:lnTo>
                    <a:pt x="224" y="537"/>
                  </a:lnTo>
                  <a:lnTo>
                    <a:pt x="226" y="540"/>
                  </a:lnTo>
                  <a:lnTo>
                    <a:pt x="227" y="541"/>
                  </a:lnTo>
                  <a:lnTo>
                    <a:pt x="230" y="543"/>
                  </a:lnTo>
                  <a:lnTo>
                    <a:pt x="232" y="543"/>
                  </a:lnTo>
                  <a:lnTo>
                    <a:pt x="234" y="543"/>
                  </a:lnTo>
                  <a:lnTo>
                    <a:pt x="233" y="541"/>
                  </a:lnTo>
                  <a:lnTo>
                    <a:pt x="234" y="540"/>
                  </a:lnTo>
                  <a:lnTo>
                    <a:pt x="235" y="537"/>
                  </a:lnTo>
                  <a:lnTo>
                    <a:pt x="235" y="534"/>
                  </a:lnTo>
                  <a:lnTo>
                    <a:pt x="238" y="533"/>
                  </a:lnTo>
                  <a:lnTo>
                    <a:pt x="239" y="534"/>
                  </a:lnTo>
                  <a:lnTo>
                    <a:pt x="240" y="536"/>
                  </a:lnTo>
                  <a:lnTo>
                    <a:pt x="244" y="536"/>
                  </a:lnTo>
                  <a:lnTo>
                    <a:pt x="247" y="535"/>
                  </a:lnTo>
                  <a:lnTo>
                    <a:pt x="248" y="534"/>
                  </a:lnTo>
                  <a:lnTo>
                    <a:pt x="250" y="533"/>
                  </a:lnTo>
                  <a:lnTo>
                    <a:pt x="250" y="531"/>
                  </a:lnTo>
                  <a:lnTo>
                    <a:pt x="248" y="530"/>
                  </a:lnTo>
                  <a:lnTo>
                    <a:pt x="246" y="530"/>
                  </a:lnTo>
                  <a:lnTo>
                    <a:pt x="244" y="529"/>
                  </a:lnTo>
                  <a:lnTo>
                    <a:pt x="247" y="529"/>
                  </a:lnTo>
                  <a:lnTo>
                    <a:pt x="250" y="529"/>
                  </a:lnTo>
                  <a:lnTo>
                    <a:pt x="252" y="528"/>
                  </a:lnTo>
                  <a:lnTo>
                    <a:pt x="253" y="528"/>
                  </a:lnTo>
                  <a:lnTo>
                    <a:pt x="257" y="528"/>
                  </a:lnTo>
                  <a:lnTo>
                    <a:pt x="258" y="528"/>
                  </a:lnTo>
                  <a:lnTo>
                    <a:pt x="259" y="528"/>
                  </a:lnTo>
                  <a:lnTo>
                    <a:pt x="259" y="526"/>
                  </a:lnTo>
                  <a:lnTo>
                    <a:pt x="257" y="525"/>
                  </a:lnTo>
                  <a:lnTo>
                    <a:pt x="258" y="524"/>
                  </a:lnTo>
                  <a:lnTo>
                    <a:pt x="261" y="524"/>
                  </a:lnTo>
                  <a:lnTo>
                    <a:pt x="262" y="524"/>
                  </a:lnTo>
                  <a:lnTo>
                    <a:pt x="264" y="524"/>
                  </a:lnTo>
                  <a:lnTo>
                    <a:pt x="262" y="526"/>
                  </a:lnTo>
                  <a:lnTo>
                    <a:pt x="261" y="528"/>
                  </a:lnTo>
                  <a:lnTo>
                    <a:pt x="263" y="529"/>
                  </a:lnTo>
                  <a:lnTo>
                    <a:pt x="264" y="528"/>
                  </a:lnTo>
                  <a:lnTo>
                    <a:pt x="265" y="525"/>
                  </a:lnTo>
                  <a:lnTo>
                    <a:pt x="265" y="524"/>
                  </a:lnTo>
                  <a:lnTo>
                    <a:pt x="264" y="522"/>
                  </a:lnTo>
                  <a:lnTo>
                    <a:pt x="264" y="520"/>
                  </a:lnTo>
                  <a:lnTo>
                    <a:pt x="265" y="520"/>
                  </a:lnTo>
                  <a:lnTo>
                    <a:pt x="267" y="522"/>
                  </a:lnTo>
                  <a:lnTo>
                    <a:pt x="267" y="523"/>
                  </a:lnTo>
                  <a:lnTo>
                    <a:pt x="268" y="524"/>
                  </a:lnTo>
                  <a:lnTo>
                    <a:pt x="267" y="526"/>
                  </a:lnTo>
                  <a:lnTo>
                    <a:pt x="265" y="530"/>
                  </a:lnTo>
                  <a:lnTo>
                    <a:pt x="264" y="530"/>
                  </a:lnTo>
                  <a:lnTo>
                    <a:pt x="262" y="533"/>
                  </a:lnTo>
                  <a:lnTo>
                    <a:pt x="261" y="534"/>
                  </a:lnTo>
                  <a:lnTo>
                    <a:pt x="264" y="534"/>
                  </a:lnTo>
                  <a:lnTo>
                    <a:pt x="265" y="533"/>
                  </a:lnTo>
                  <a:lnTo>
                    <a:pt x="265" y="534"/>
                  </a:lnTo>
                  <a:lnTo>
                    <a:pt x="264" y="535"/>
                  </a:lnTo>
                  <a:lnTo>
                    <a:pt x="263" y="536"/>
                  </a:lnTo>
                  <a:lnTo>
                    <a:pt x="264" y="537"/>
                  </a:lnTo>
                  <a:lnTo>
                    <a:pt x="267" y="536"/>
                  </a:lnTo>
                  <a:lnTo>
                    <a:pt x="267" y="540"/>
                  </a:lnTo>
                  <a:lnTo>
                    <a:pt x="265" y="541"/>
                  </a:lnTo>
                  <a:lnTo>
                    <a:pt x="263" y="552"/>
                  </a:lnTo>
                  <a:lnTo>
                    <a:pt x="263" y="554"/>
                  </a:lnTo>
                  <a:lnTo>
                    <a:pt x="263" y="555"/>
                  </a:lnTo>
                  <a:lnTo>
                    <a:pt x="263" y="557"/>
                  </a:lnTo>
                  <a:lnTo>
                    <a:pt x="263" y="559"/>
                  </a:lnTo>
                  <a:lnTo>
                    <a:pt x="262" y="563"/>
                  </a:lnTo>
                  <a:lnTo>
                    <a:pt x="264" y="564"/>
                  </a:lnTo>
                  <a:lnTo>
                    <a:pt x="264" y="566"/>
                  </a:lnTo>
                  <a:lnTo>
                    <a:pt x="263" y="566"/>
                  </a:lnTo>
                  <a:lnTo>
                    <a:pt x="265" y="569"/>
                  </a:lnTo>
                  <a:lnTo>
                    <a:pt x="267" y="569"/>
                  </a:lnTo>
                  <a:lnTo>
                    <a:pt x="268" y="571"/>
                  </a:lnTo>
                  <a:lnTo>
                    <a:pt x="270" y="573"/>
                  </a:lnTo>
                  <a:lnTo>
                    <a:pt x="271" y="576"/>
                  </a:lnTo>
                  <a:lnTo>
                    <a:pt x="271" y="579"/>
                  </a:lnTo>
                  <a:lnTo>
                    <a:pt x="273" y="582"/>
                  </a:lnTo>
                  <a:lnTo>
                    <a:pt x="273" y="583"/>
                  </a:lnTo>
                  <a:lnTo>
                    <a:pt x="271" y="588"/>
                  </a:lnTo>
                  <a:lnTo>
                    <a:pt x="271" y="593"/>
                  </a:lnTo>
                  <a:lnTo>
                    <a:pt x="269" y="595"/>
                  </a:lnTo>
                  <a:lnTo>
                    <a:pt x="269" y="596"/>
                  </a:lnTo>
                  <a:lnTo>
                    <a:pt x="269" y="600"/>
                  </a:lnTo>
                  <a:lnTo>
                    <a:pt x="269" y="602"/>
                  </a:lnTo>
                  <a:lnTo>
                    <a:pt x="271" y="602"/>
                  </a:lnTo>
                  <a:lnTo>
                    <a:pt x="273" y="601"/>
                  </a:lnTo>
                  <a:lnTo>
                    <a:pt x="273" y="600"/>
                  </a:lnTo>
                  <a:lnTo>
                    <a:pt x="270" y="600"/>
                  </a:lnTo>
                  <a:lnTo>
                    <a:pt x="270" y="599"/>
                  </a:lnTo>
                  <a:lnTo>
                    <a:pt x="270" y="596"/>
                  </a:lnTo>
                  <a:lnTo>
                    <a:pt x="271" y="595"/>
                  </a:lnTo>
                  <a:lnTo>
                    <a:pt x="273" y="594"/>
                  </a:lnTo>
                  <a:lnTo>
                    <a:pt x="273" y="591"/>
                  </a:lnTo>
                  <a:lnTo>
                    <a:pt x="274" y="591"/>
                  </a:lnTo>
                  <a:lnTo>
                    <a:pt x="275" y="593"/>
                  </a:lnTo>
                  <a:lnTo>
                    <a:pt x="276" y="595"/>
                  </a:lnTo>
                  <a:lnTo>
                    <a:pt x="277" y="597"/>
                  </a:lnTo>
                  <a:lnTo>
                    <a:pt x="279" y="600"/>
                  </a:lnTo>
                  <a:lnTo>
                    <a:pt x="279" y="601"/>
                  </a:lnTo>
                  <a:lnTo>
                    <a:pt x="281" y="603"/>
                  </a:lnTo>
                  <a:lnTo>
                    <a:pt x="281" y="606"/>
                  </a:lnTo>
                  <a:lnTo>
                    <a:pt x="282" y="608"/>
                  </a:lnTo>
                  <a:lnTo>
                    <a:pt x="283" y="611"/>
                  </a:lnTo>
                  <a:lnTo>
                    <a:pt x="285" y="612"/>
                  </a:lnTo>
                  <a:lnTo>
                    <a:pt x="286" y="614"/>
                  </a:lnTo>
                  <a:lnTo>
                    <a:pt x="287" y="617"/>
                  </a:lnTo>
                  <a:lnTo>
                    <a:pt x="288" y="618"/>
                  </a:lnTo>
                  <a:lnTo>
                    <a:pt x="289" y="621"/>
                  </a:lnTo>
                  <a:lnTo>
                    <a:pt x="291" y="621"/>
                  </a:lnTo>
                  <a:lnTo>
                    <a:pt x="291" y="620"/>
                  </a:lnTo>
                  <a:lnTo>
                    <a:pt x="291" y="617"/>
                  </a:lnTo>
                  <a:lnTo>
                    <a:pt x="289" y="614"/>
                  </a:lnTo>
                  <a:lnTo>
                    <a:pt x="285" y="607"/>
                  </a:lnTo>
                  <a:lnTo>
                    <a:pt x="282" y="603"/>
                  </a:lnTo>
                  <a:lnTo>
                    <a:pt x="281" y="600"/>
                  </a:lnTo>
                  <a:lnTo>
                    <a:pt x="279" y="596"/>
                  </a:lnTo>
                  <a:lnTo>
                    <a:pt x="277" y="593"/>
                  </a:lnTo>
                  <a:lnTo>
                    <a:pt x="276" y="590"/>
                  </a:lnTo>
                  <a:lnTo>
                    <a:pt x="275" y="585"/>
                  </a:lnTo>
                  <a:lnTo>
                    <a:pt x="275" y="583"/>
                  </a:lnTo>
                  <a:lnTo>
                    <a:pt x="274" y="576"/>
                  </a:lnTo>
                  <a:lnTo>
                    <a:pt x="270" y="569"/>
                  </a:lnTo>
                  <a:lnTo>
                    <a:pt x="268" y="564"/>
                  </a:lnTo>
                  <a:lnTo>
                    <a:pt x="265" y="559"/>
                  </a:lnTo>
                  <a:lnTo>
                    <a:pt x="265" y="555"/>
                  </a:lnTo>
                  <a:lnTo>
                    <a:pt x="267" y="551"/>
                  </a:lnTo>
                  <a:lnTo>
                    <a:pt x="268" y="545"/>
                  </a:lnTo>
                  <a:lnTo>
                    <a:pt x="270" y="539"/>
                  </a:lnTo>
                  <a:lnTo>
                    <a:pt x="270" y="533"/>
                  </a:lnTo>
                  <a:lnTo>
                    <a:pt x="270" y="524"/>
                  </a:lnTo>
                  <a:lnTo>
                    <a:pt x="271" y="522"/>
                  </a:lnTo>
                  <a:lnTo>
                    <a:pt x="273" y="519"/>
                  </a:lnTo>
                  <a:lnTo>
                    <a:pt x="274" y="510"/>
                  </a:lnTo>
                  <a:lnTo>
                    <a:pt x="275" y="508"/>
                  </a:lnTo>
                  <a:lnTo>
                    <a:pt x="277" y="507"/>
                  </a:lnTo>
                  <a:lnTo>
                    <a:pt x="277" y="511"/>
                  </a:lnTo>
                  <a:lnTo>
                    <a:pt x="277" y="512"/>
                  </a:lnTo>
                  <a:lnTo>
                    <a:pt x="277" y="513"/>
                  </a:lnTo>
                  <a:lnTo>
                    <a:pt x="276" y="514"/>
                  </a:lnTo>
                  <a:lnTo>
                    <a:pt x="276" y="516"/>
                  </a:lnTo>
                  <a:lnTo>
                    <a:pt x="275" y="517"/>
                  </a:lnTo>
                  <a:lnTo>
                    <a:pt x="275" y="518"/>
                  </a:lnTo>
                  <a:lnTo>
                    <a:pt x="274" y="520"/>
                  </a:lnTo>
                  <a:lnTo>
                    <a:pt x="273" y="524"/>
                  </a:lnTo>
                  <a:lnTo>
                    <a:pt x="273" y="525"/>
                  </a:lnTo>
                  <a:lnTo>
                    <a:pt x="271" y="528"/>
                  </a:lnTo>
                  <a:lnTo>
                    <a:pt x="271" y="531"/>
                  </a:lnTo>
                  <a:lnTo>
                    <a:pt x="271" y="534"/>
                  </a:lnTo>
                  <a:lnTo>
                    <a:pt x="271" y="536"/>
                  </a:lnTo>
                  <a:lnTo>
                    <a:pt x="271" y="539"/>
                  </a:lnTo>
                  <a:lnTo>
                    <a:pt x="271" y="541"/>
                  </a:lnTo>
                  <a:lnTo>
                    <a:pt x="270" y="545"/>
                  </a:lnTo>
                  <a:lnTo>
                    <a:pt x="271" y="547"/>
                  </a:lnTo>
                  <a:lnTo>
                    <a:pt x="270" y="548"/>
                  </a:lnTo>
                  <a:lnTo>
                    <a:pt x="269" y="551"/>
                  </a:lnTo>
                  <a:lnTo>
                    <a:pt x="269" y="552"/>
                  </a:lnTo>
                  <a:lnTo>
                    <a:pt x="270" y="555"/>
                  </a:lnTo>
                  <a:lnTo>
                    <a:pt x="269" y="557"/>
                  </a:lnTo>
                  <a:lnTo>
                    <a:pt x="268" y="558"/>
                  </a:lnTo>
                  <a:lnTo>
                    <a:pt x="270" y="559"/>
                  </a:lnTo>
                  <a:lnTo>
                    <a:pt x="270" y="560"/>
                  </a:lnTo>
                  <a:lnTo>
                    <a:pt x="269" y="561"/>
                  </a:lnTo>
                  <a:lnTo>
                    <a:pt x="269" y="563"/>
                  </a:lnTo>
                  <a:lnTo>
                    <a:pt x="271" y="564"/>
                  </a:lnTo>
                  <a:lnTo>
                    <a:pt x="273" y="564"/>
                  </a:lnTo>
                  <a:lnTo>
                    <a:pt x="274" y="564"/>
                  </a:lnTo>
                  <a:lnTo>
                    <a:pt x="275" y="563"/>
                  </a:lnTo>
                  <a:lnTo>
                    <a:pt x="274" y="561"/>
                  </a:lnTo>
                  <a:lnTo>
                    <a:pt x="273" y="561"/>
                  </a:lnTo>
                  <a:lnTo>
                    <a:pt x="274" y="559"/>
                  </a:lnTo>
                  <a:lnTo>
                    <a:pt x="275" y="559"/>
                  </a:lnTo>
                  <a:lnTo>
                    <a:pt x="276" y="559"/>
                  </a:lnTo>
                  <a:lnTo>
                    <a:pt x="280" y="558"/>
                  </a:lnTo>
                  <a:lnTo>
                    <a:pt x="279" y="557"/>
                  </a:lnTo>
                  <a:lnTo>
                    <a:pt x="276" y="557"/>
                  </a:lnTo>
                  <a:lnTo>
                    <a:pt x="275" y="555"/>
                  </a:lnTo>
                  <a:lnTo>
                    <a:pt x="276" y="555"/>
                  </a:lnTo>
                  <a:lnTo>
                    <a:pt x="277" y="554"/>
                  </a:lnTo>
                  <a:lnTo>
                    <a:pt x="277" y="553"/>
                  </a:lnTo>
                  <a:lnTo>
                    <a:pt x="276" y="552"/>
                  </a:lnTo>
                  <a:lnTo>
                    <a:pt x="275" y="551"/>
                  </a:lnTo>
                  <a:lnTo>
                    <a:pt x="275" y="549"/>
                  </a:lnTo>
                  <a:lnTo>
                    <a:pt x="274" y="547"/>
                  </a:lnTo>
                  <a:lnTo>
                    <a:pt x="274" y="546"/>
                  </a:lnTo>
                  <a:lnTo>
                    <a:pt x="273" y="543"/>
                  </a:lnTo>
                  <a:lnTo>
                    <a:pt x="273" y="540"/>
                  </a:lnTo>
                  <a:lnTo>
                    <a:pt x="273" y="536"/>
                  </a:lnTo>
                  <a:lnTo>
                    <a:pt x="273" y="531"/>
                  </a:lnTo>
                  <a:lnTo>
                    <a:pt x="274" y="526"/>
                  </a:lnTo>
                  <a:lnTo>
                    <a:pt x="275" y="522"/>
                  </a:lnTo>
                  <a:lnTo>
                    <a:pt x="276" y="519"/>
                  </a:lnTo>
                  <a:lnTo>
                    <a:pt x="277" y="518"/>
                  </a:lnTo>
                  <a:lnTo>
                    <a:pt x="277" y="519"/>
                  </a:lnTo>
                  <a:lnTo>
                    <a:pt x="279" y="520"/>
                  </a:lnTo>
                  <a:lnTo>
                    <a:pt x="280" y="522"/>
                  </a:lnTo>
                  <a:lnTo>
                    <a:pt x="280" y="523"/>
                  </a:lnTo>
                  <a:lnTo>
                    <a:pt x="279" y="525"/>
                  </a:lnTo>
                  <a:lnTo>
                    <a:pt x="279" y="529"/>
                  </a:lnTo>
                  <a:lnTo>
                    <a:pt x="279" y="530"/>
                  </a:lnTo>
                  <a:lnTo>
                    <a:pt x="280" y="528"/>
                  </a:lnTo>
                  <a:lnTo>
                    <a:pt x="280" y="525"/>
                  </a:lnTo>
                  <a:lnTo>
                    <a:pt x="280" y="524"/>
                  </a:lnTo>
                  <a:lnTo>
                    <a:pt x="281" y="524"/>
                  </a:lnTo>
                  <a:lnTo>
                    <a:pt x="281" y="528"/>
                  </a:lnTo>
                  <a:lnTo>
                    <a:pt x="281" y="531"/>
                  </a:lnTo>
                  <a:lnTo>
                    <a:pt x="281" y="534"/>
                  </a:lnTo>
                  <a:lnTo>
                    <a:pt x="280" y="537"/>
                  </a:lnTo>
                  <a:lnTo>
                    <a:pt x="279" y="539"/>
                  </a:lnTo>
                  <a:lnTo>
                    <a:pt x="277" y="539"/>
                  </a:lnTo>
                  <a:lnTo>
                    <a:pt x="281" y="540"/>
                  </a:lnTo>
                  <a:lnTo>
                    <a:pt x="282" y="539"/>
                  </a:lnTo>
                  <a:lnTo>
                    <a:pt x="282" y="537"/>
                  </a:lnTo>
                  <a:lnTo>
                    <a:pt x="283" y="535"/>
                  </a:lnTo>
                  <a:lnTo>
                    <a:pt x="285" y="536"/>
                  </a:lnTo>
                  <a:lnTo>
                    <a:pt x="285" y="539"/>
                  </a:lnTo>
                  <a:lnTo>
                    <a:pt x="285" y="541"/>
                  </a:lnTo>
                  <a:lnTo>
                    <a:pt x="286" y="542"/>
                  </a:lnTo>
                  <a:lnTo>
                    <a:pt x="287" y="542"/>
                  </a:lnTo>
                  <a:lnTo>
                    <a:pt x="287" y="539"/>
                  </a:lnTo>
                  <a:lnTo>
                    <a:pt x="288" y="537"/>
                  </a:lnTo>
                  <a:lnTo>
                    <a:pt x="287" y="536"/>
                  </a:lnTo>
                  <a:lnTo>
                    <a:pt x="286" y="534"/>
                  </a:lnTo>
                  <a:lnTo>
                    <a:pt x="283" y="533"/>
                  </a:lnTo>
                  <a:lnTo>
                    <a:pt x="282" y="530"/>
                  </a:lnTo>
                  <a:lnTo>
                    <a:pt x="282" y="528"/>
                  </a:lnTo>
                  <a:lnTo>
                    <a:pt x="282" y="524"/>
                  </a:lnTo>
                  <a:lnTo>
                    <a:pt x="282" y="522"/>
                  </a:lnTo>
                  <a:lnTo>
                    <a:pt x="282" y="519"/>
                  </a:lnTo>
                  <a:lnTo>
                    <a:pt x="280" y="518"/>
                  </a:lnTo>
                  <a:lnTo>
                    <a:pt x="279" y="517"/>
                  </a:lnTo>
                  <a:lnTo>
                    <a:pt x="279" y="516"/>
                  </a:lnTo>
                  <a:lnTo>
                    <a:pt x="279" y="513"/>
                  </a:lnTo>
                  <a:lnTo>
                    <a:pt x="279" y="511"/>
                  </a:lnTo>
                  <a:lnTo>
                    <a:pt x="279" y="508"/>
                  </a:lnTo>
                  <a:lnTo>
                    <a:pt x="281" y="511"/>
                  </a:lnTo>
                  <a:lnTo>
                    <a:pt x="282" y="513"/>
                  </a:lnTo>
                  <a:lnTo>
                    <a:pt x="283" y="513"/>
                  </a:lnTo>
                  <a:lnTo>
                    <a:pt x="283" y="514"/>
                  </a:lnTo>
                  <a:lnTo>
                    <a:pt x="282" y="514"/>
                  </a:lnTo>
                  <a:lnTo>
                    <a:pt x="281" y="516"/>
                  </a:lnTo>
                  <a:lnTo>
                    <a:pt x="281" y="517"/>
                  </a:lnTo>
                  <a:lnTo>
                    <a:pt x="283" y="518"/>
                  </a:lnTo>
                  <a:lnTo>
                    <a:pt x="286" y="518"/>
                  </a:lnTo>
                  <a:lnTo>
                    <a:pt x="287" y="517"/>
                  </a:lnTo>
                  <a:lnTo>
                    <a:pt x="287" y="516"/>
                  </a:lnTo>
                  <a:lnTo>
                    <a:pt x="286" y="514"/>
                  </a:lnTo>
                  <a:lnTo>
                    <a:pt x="287" y="513"/>
                  </a:lnTo>
                  <a:lnTo>
                    <a:pt x="288" y="514"/>
                  </a:lnTo>
                  <a:lnTo>
                    <a:pt x="289" y="517"/>
                  </a:lnTo>
                  <a:lnTo>
                    <a:pt x="289" y="519"/>
                  </a:lnTo>
                  <a:lnTo>
                    <a:pt x="287" y="518"/>
                  </a:lnTo>
                  <a:lnTo>
                    <a:pt x="287" y="519"/>
                  </a:lnTo>
                  <a:lnTo>
                    <a:pt x="286" y="520"/>
                  </a:lnTo>
                  <a:lnTo>
                    <a:pt x="287" y="523"/>
                  </a:lnTo>
                  <a:lnTo>
                    <a:pt x="289" y="523"/>
                  </a:lnTo>
                  <a:lnTo>
                    <a:pt x="292" y="523"/>
                  </a:lnTo>
                  <a:lnTo>
                    <a:pt x="293" y="522"/>
                  </a:lnTo>
                  <a:lnTo>
                    <a:pt x="298" y="520"/>
                  </a:lnTo>
                  <a:lnTo>
                    <a:pt x="298" y="522"/>
                  </a:lnTo>
                  <a:lnTo>
                    <a:pt x="299" y="519"/>
                  </a:lnTo>
                  <a:lnTo>
                    <a:pt x="300" y="518"/>
                  </a:lnTo>
                  <a:lnTo>
                    <a:pt x="300" y="517"/>
                  </a:lnTo>
                  <a:lnTo>
                    <a:pt x="301" y="520"/>
                  </a:lnTo>
                  <a:lnTo>
                    <a:pt x="304" y="520"/>
                  </a:lnTo>
                  <a:lnTo>
                    <a:pt x="305" y="522"/>
                  </a:lnTo>
                  <a:lnTo>
                    <a:pt x="303" y="522"/>
                  </a:lnTo>
                  <a:lnTo>
                    <a:pt x="301" y="523"/>
                  </a:lnTo>
                  <a:lnTo>
                    <a:pt x="299" y="523"/>
                  </a:lnTo>
                  <a:lnTo>
                    <a:pt x="298" y="523"/>
                  </a:lnTo>
                  <a:lnTo>
                    <a:pt x="298" y="524"/>
                  </a:lnTo>
                  <a:lnTo>
                    <a:pt x="300" y="525"/>
                  </a:lnTo>
                  <a:lnTo>
                    <a:pt x="299" y="528"/>
                  </a:lnTo>
                  <a:lnTo>
                    <a:pt x="298" y="528"/>
                  </a:lnTo>
                  <a:lnTo>
                    <a:pt x="298" y="530"/>
                  </a:lnTo>
                  <a:lnTo>
                    <a:pt x="297" y="533"/>
                  </a:lnTo>
                  <a:lnTo>
                    <a:pt x="295" y="531"/>
                  </a:lnTo>
                  <a:lnTo>
                    <a:pt x="295" y="529"/>
                  </a:lnTo>
                  <a:lnTo>
                    <a:pt x="293" y="530"/>
                  </a:lnTo>
                  <a:lnTo>
                    <a:pt x="292" y="531"/>
                  </a:lnTo>
                  <a:lnTo>
                    <a:pt x="292" y="534"/>
                  </a:lnTo>
                  <a:lnTo>
                    <a:pt x="291" y="535"/>
                  </a:lnTo>
                  <a:lnTo>
                    <a:pt x="291" y="536"/>
                  </a:lnTo>
                  <a:lnTo>
                    <a:pt x="293" y="536"/>
                  </a:lnTo>
                  <a:lnTo>
                    <a:pt x="294" y="536"/>
                  </a:lnTo>
                  <a:lnTo>
                    <a:pt x="295" y="539"/>
                  </a:lnTo>
                  <a:lnTo>
                    <a:pt x="298" y="539"/>
                  </a:lnTo>
                  <a:lnTo>
                    <a:pt x="297" y="540"/>
                  </a:lnTo>
                  <a:lnTo>
                    <a:pt x="295" y="540"/>
                  </a:lnTo>
                  <a:lnTo>
                    <a:pt x="294" y="540"/>
                  </a:lnTo>
                  <a:lnTo>
                    <a:pt x="293" y="540"/>
                  </a:lnTo>
                  <a:lnTo>
                    <a:pt x="292" y="540"/>
                  </a:lnTo>
                  <a:lnTo>
                    <a:pt x="291" y="540"/>
                  </a:lnTo>
                  <a:lnTo>
                    <a:pt x="289" y="541"/>
                  </a:lnTo>
                  <a:lnTo>
                    <a:pt x="288" y="542"/>
                  </a:lnTo>
                  <a:lnTo>
                    <a:pt x="288" y="543"/>
                  </a:lnTo>
                  <a:lnTo>
                    <a:pt x="287" y="545"/>
                  </a:lnTo>
                  <a:lnTo>
                    <a:pt x="286" y="545"/>
                  </a:lnTo>
                  <a:lnTo>
                    <a:pt x="285" y="543"/>
                  </a:lnTo>
                  <a:lnTo>
                    <a:pt x="282" y="543"/>
                  </a:lnTo>
                  <a:lnTo>
                    <a:pt x="282" y="545"/>
                  </a:lnTo>
                  <a:lnTo>
                    <a:pt x="282" y="547"/>
                  </a:lnTo>
                  <a:lnTo>
                    <a:pt x="283" y="548"/>
                  </a:lnTo>
                  <a:lnTo>
                    <a:pt x="285" y="548"/>
                  </a:lnTo>
                  <a:lnTo>
                    <a:pt x="287" y="548"/>
                  </a:lnTo>
                  <a:lnTo>
                    <a:pt x="286" y="549"/>
                  </a:lnTo>
                  <a:lnTo>
                    <a:pt x="286" y="552"/>
                  </a:lnTo>
                  <a:lnTo>
                    <a:pt x="287" y="554"/>
                  </a:lnTo>
                  <a:lnTo>
                    <a:pt x="288" y="554"/>
                  </a:lnTo>
                  <a:lnTo>
                    <a:pt x="289" y="553"/>
                  </a:lnTo>
                  <a:lnTo>
                    <a:pt x="289" y="551"/>
                  </a:lnTo>
                  <a:lnTo>
                    <a:pt x="291" y="549"/>
                  </a:lnTo>
                  <a:lnTo>
                    <a:pt x="292" y="548"/>
                  </a:lnTo>
                  <a:lnTo>
                    <a:pt x="294" y="548"/>
                  </a:lnTo>
                  <a:lnTo>
                    <a:pt x="295" y="546"/>
                  </a:lnTo>
                  <a:lnTo>
                    <a:pt x="297" y="545"/>
                  </a:lnTo>
                  <a:lnTo>
                    <a:pt x="299" y="545"/>
                  </a:lnTo>
                  <a:lnTo>
                    <a:pt x="300" y="545"/>
                  </a:lnTo>
                  <a:lnTo>
                    <a:pt x="300" y="542"/>
                  </a:lnTo>
                  <a:lnTo>
                    <a:pt x="300" y="541"/>
                  </a:lnTo>
                  <a:lnTo>
                    <a:pt x="300" y="540"/>
                  </a:lnTo>
                  <a:lnTo>
                    <a:pt x="303" y="537"/>
                  </a:lnTo>
                  <a:lnTo>
                    <a:pt x="304" y="534"/>
                  </a:lnTo>
                  <a:lnTo>
                    <a:pt x="305" y="533"/>
                  </a:lnTo>
                  <a:lnTo>
                    <a:pt x="304" y="530"/>
                  </a:lnTo>
                  <a:lnTo>
                    <a:pt x="304" y="529"/>
                  </a:lnTo>
                  <a:lnTo>
                    <a:pt x="304" y="526"/>
                  </a:lnTo>
                  <a:lnTo>
                    <a:pt x="305" y="525"/>
                  </a:lnTo>
                  <a:lnTo>
                    <a:pt x="307" y="525"/>
                  </a:lnTo>
                  <a:lnTo>
                    <a:pt x="310" y="525"/>
                  </a:lnTo>
                  <a:lnTo>
                    <a:pt x="311" y="525"/>
                  </a:lnTo>
                  <a:lnTo>
                    <a:pt x="312" y="528"/>
                  </a:lnTo>
                  <a:lnTo>
                    <a:pt x="310" y="529"/>
                  </a:lnTo>
                  <a:lnTo>
                    <a:pt x="309" y="528"/>
                  </a:lnTo>
                  <a:lnTo>
                    <a:pt x="306" y="528"/>
                  </a:lnTo>
                  <a:lnTo>
                    <a:pt x="305" y="529"/>
                  </a:lnTo>
                  <a:lnTo>
                    <a:pt x="306" y="530"/>
                  </a:lnTo>
                  <a:lnTo>
                    <a:pt x="305" y="533"/>
                  </a:lnTo>
                  <a:lnTo>
                    <a:pt x="305" y="535"/>
                  </a:lnTo>
                  <a:lnTo>
                    <a:pt x="304" y="537"/>
                  </a:lnTo>
                  <a:lnTo>
                    <a:pt x="304" y="540"/>
                  </a:lnTo>
                  <a:lnTo>
                    <a:pt x="303" y="540"/>
                  </a:lnTo>
                  <a:lnTo>
                    <a:pt x="301" y="542"/>
                  </a:lnTo>
                  <a:lnTo>
                    <a:pt x="300" y="546"/>
                  </a:lnTo>
                  <a:lnTo>
                    <a:pt x="300" y="548"/>
                  </a:lnTo>
                  <a:lnTo>
                    <a:pt x="299" y="551"/>
                  </a:lnTo>
                  <a:lnTo>
                    <a:pt x="301" y="552"/>
                  </a:lnTo>
                  <a:lnTo>
                    <a:pt x="304" y="551"/>
                  </a:lnTo>
                  <a:lnTo>
                    <a:pt x="305" y="551"/>
                  </a:lnTo>
                  <a:lnTo>
                    <a:pt x="306" y="549"/>
                  </a:lnTo>
                  <a:lnTo>
                    <a:pt x="307" y="548"/>
                  </a:lnTo>
                  <a:lnTo>
                    <a:pt x="310" y="548"/>
                  </a:lnTo>
                  <a:lnTo>
                    <a:pt x="310" y="549"/>
                  </a:lnTo>
                  <a:lnTo>
                    <a:pt x="309" y="551"/>
                  </a:lnTo>
                  <a:lnTo>
                    <a:pt x="310" y="551"/>
                  </a:lnTo>
                  <a:lnTo>
                    <a:pt x="311" y="549"/>
                  </a:lnTo>
                  <a:lnTo>
                    <a:pt x="312" y="549"/>
                  </a:lnTo>
                  <a:lnTo>
                    <a:pt x="314" y="547"/>
                  </a:lnTo>
                  <a:lnTo>
                    <a:pt x="315" y="547"/>
                  </a:lnTo>
                  <a:lnTo>
                    <a:pt x="315" y="546"/>
                  </a:lnTo>
                  <a:lnTo>
                    <a:pt x="316" y="543"/>
                  </a:lnTo>
                  <a:lnTo>
                    <a:pt x="317" y="542"/>
                  </a:lnTo>
                  <a:lnTo>
                    <a:pt x="320" y="543"/>
                  </a:lnTo>
                  <a:lnTo>
                    <a:pt x="321" y="541"/>
                  </a:lnTo>
                  <a:lnTo>
                    <a:pt x="321" y="540"/>
                  </a:lnTo>
                  <a:lnTo>
                    <a:pt x="321" y="537"/>
                  </a:lnTo>
                  <a:lnTo>
                    <a:pt x="322" y="536"/>
                  </a:lnTo>
                  <a:lnTo>
                    <a:pt x="323" y="537"/>
                  </a:lnTo>
                  <a:lnTo>
                    <a:pt x="322" y="540"/>
                  </a:lnTo>
                  <a:lnTo>
                    <a:pt x="322" y="541"/>
                  </a:lnTo>
                  <a:lnTo>
                    <a:pt x="321" y="546"/>
                  </a:lnTo>
                  <a:lnTo>
                    <a:pt x="323" y="546"/>
                  </a:lnTo>
                  <a:lnTo>
                    <a:pt x="326" y="546"/>
                  </a:lnTo>
                  <a:lnTo>
                    <a:pt x="328" y="546"/>
                  </a:lnTo>
                  <a:lnTo>
                    <a:pt x="328" y="543"/>
                  </a:lnTo>
                  <a:lnTo>
                    <a:pt x="326" y="541"/>
                  </a:lnTo>
                  <a:lnTo>
                    <a:pt x="326" y="540"/>
                  </a:lnTo>
                  <a:lnTo>
                    <a:pt x="328" y="540"/>
                  </a:lnTo>
                  <a:lnTo>
                    <a:pt x="329" y="542"/>
                  </a:lnTo>
                  <a:lnTo>
                    <a:pt x="329" y="545"/>
                  </a:lnTo>
                  <a:lnTo>
                    <a:pt x="330" y="543"/>
                  </a:lnTo>
                  <a:lnTo>
                    <a:pt x="330" y="541"/>
                  </a:lnTo>
                  <a:lnTo>
                    <a:pt x="332" y="540"/>
                  </a:lnTo>
                  <a:lnTo>
                    <a:pt x="335" y="540"/>
                  </a:lnTo>
                  <a:lnTo>
                    <a:pt x="338" y="537"/>
                  </a:lnTo>
                  <a:lnTo>
                    <a:pt x="339" y="535"/>
                  </a:lnTo>
                  <a:lnTo>
                    <a:pt x="339" y="534"/>
                  </a:lnTo>
                  <a:lnTo>
                    <a:pt x="338" y="533"/>
                  </a:lnTo>
                  <a:lnTo>
                    <a:pt x="336" y="533"/>
                  </a:lnTo>
                  <a:lnTo>
                    <a:pt x="334" y="534"/>
                  </a:lnTo>
                  <a:lnTo>
                    <a:pt x="333" y="533"/>
                  </a:lnTo>
                  <a:lnTo>
                    <a:pt x="333" y="531"/>
                  </a:lnTo>
                  <a:lnTo>
                    <a:pt x="333" y="533"/>
                  </a:lnTo>
                  <a:lnTo>
                    <a:pt x="332" y="535"/>
                  </a:lnTo>
                  <a:lnTo>
                    <a:pt x="330" y="535"/>
                  </a:lnTo>
                  <a:lnTo>
                    <a:pt x="327" y="534"/>
                  </a:lnTo>
                  <a:lnTo>
                    <a:pt x="328" y="531"/>
                  </a:lnTo>
                  <a:lnTo>
                    <a:pt x="329" y="529"/>
                  </a:lnTo>
                  <a:lnTo>
                    <a:pt x="330" y="530"/>
                  </a:lnTo>
                  <a:lnTo>
                    <a:pt x="332" y="530"/>
                  </a:lnTo>
                  <a:lnTo>
                    <a:pt x="334" y="530"/>
                  </a:lnTo>
                  <a:lnTo>
                    <a:pt x="334" y="528"/>
                  </a:lnTo>
                  <a:lnTo>
                    <a:pt x="334" y="525"/>
                  </a:lnTo>
                  <a:lnTo>
                    <a:pt x="334" y="522"/>
                  </a:lnTo>
                  <a:lnTo>
                    <a:pt x="333" y="522"/>
                  </a:lnTo>
                  <a:lnTo>
                    <a:pt x="330" y="522"/>
                  </a:lnTo>
                  <a:lnTo>
                    <a:pt x="330" y="524"/>
                  </a:lnTo>
                  <a:lnTo>
                    <a:pt x="329" y="525"/>
                  </a:lnTo>
                  <a:lnTo>
                    <a:pt x="328" y="525"/>
                  </a:lnTo>
                  <a:lnTo>
                    <a:pt x="327" y="526"/>
                  </a:lnTo>
                  <a:lnTo>
                    <a:pt x="327" y="529"/>
                  </a:lnTo>
                  <a:lnTo>
                    <a:pt x="324" y="529"/>
                  </a:lnTo>
                  <a:lnTo>
                    <a:pt x="324" y="528"/>
                  </a:lnTo>
                  <a:lnTo>
                    <a:pt x="327" y="525"/>
                  </a:lnTo>
                  <a:lnTo>
                    <a:pt x="327" y="524"/>
                  </a:lnTo>
                  <a:lnTo>
                    <a:pt x="329" y="522"/>
                  </a:lnTo>
                  <a:lnTo>
                    <a:pt x="332" y="520"/>
                  </a:lnTo>
                  <a:lnTo>
                    <a:pt x="333" y="520"/>
                  </a:lnTo>
                  <a:lnTo>
                    <a:pt x="335" y="518"/>
                  </a:lnTo>
                  <a:lnTo>
                    <a:pt x="336" y="517"/>
                  </a:lnTo>
                  <a:lnTo>
                    <a:pt x="338" y="517"/>
                  </a:lnTo>
                  <a:lnTo>
                    <a:pt x="339" y="518"/>
                  </a:lnTo>
                  <a:lnTo>
                    <a:pt x="339" y="522"/>
                  </a:lnTo>
                  <a:lnTo>
                    <a:pt x="336" y="523"/>
                  </a:lnTo>
                  <a:lnTo>
                    <a:pt x="336" y="525"/>
                  </a:lnTo>
                  <a:lnTo>
                    <a:pt x="335" y="528"/>
                  </a:lnTo>
                  <a:lnTo>
                    <a:pt x="335" y="529"/>
                  </a:lnTo>
                  <a:lnTo>
                    <a:pt x="338" y="526"/>
                  </a:lnTo>
                  <a:lnTo>
                    <a:pt x="339" y="524"/>
                  </a:lnTo>
                  <a:lnTo>
                    <a:pt x="341" y="520"/>
                  </a:lnTo>
                  <a:lnTo>
                    <a:pt x="341" y="518"/>
                  </a:lnTo>
                  <a:lnTo>
                    <a:pt x="342" y="517"/>
                  </a:lnTo>
                  <a:lnTo>
                    <a:pt x="345" y="517"/>
                  </a:lnTo>
                  <a:lnTo>
                    <a:pt x="346" y="516"/>
                  </a:lnTo>
                  <a:lnTo>
                    <a:pt x="347" y="514"/>
                  </a:lnTo>
                  <a:lnTo>
                    <a:pt x="350" y="513"/>
                  </a:lnTo>
                  <a:lnTo>
                    <a:pt x="351" y="513"/>
                  </a:lnTo>
                  <a:lnTo>
                    <a:pt x="353" y="511"/>
                  </a:lnTo>
                  <a:lnTo>
                    <a:pt x="353" y="510"/>
                  </a:lnTo>
                  <a:lnTo>
                    <a:pt x="354" y="510"/>
                  </a:lnTo>
                  <a:lnTo>
                    <a:pt x="356" y="514"/>
                  </a:lnTo>
                  <a:lnTo>
                    <a:pt x="356" y="516"/>
                  </a:lnTo>
                  <a:lnTo>
                    <a:pt x="356" y="517"/>
                  </a:lnTo>
                  <a:lnTo>
                    <a:pt x="354" y="518"/>
                  </a:lnTo>
                  <a:lnTo>
                    <a:pt x="352" y="519"/>
                  </a:lnTo>
                  <a:lnTo>
                    <a:pt x="351" y="517"/>
                  </a:lnTo>
                  <a:lnTo>
                    <a:pt x="351" y="516"/>
                  </a:lnTo>
                  <a:lnTo>
                    <a:pt x="348" y="516"/>
                  </a:lnTo>
                  <a:lnTo>
                    <a:pt x="348" y="517"/>
                  </a:lnTo>
                  <a:lnTo>
                    <a:pt x="348" y="519"/>
                  </a:lnTo>
                  <a:lnTo>
                    <a:pt x="351" y="520"/>
                  </a:lnTo>
                  <a:lnTo>
                    <a:pt x="352" y="522"/>
                  </a:lnTo>
                  <a:lnTo>
                    <a:pt x="354" y="523"/>
                  </a:lnTo>
                  <a:lnTo>
                    <a:pt x="354" y="522"/>
                  </a:lnTo>
                  <a:lnTo>
                    <a:pt x="354" y="523"/>
                  </a:lnTo>
                  <a:lnTo>
                    <a:pt x="353" y="525"/>
                  </a:lnTo>
                  <a:lnTo>
                    <a:pt x="350" y="528"/>
                  </a:lnTo>
                  <a:lnTo>
                    <a:pt x="348" y="529"/>
                  </a:lnTo>
                  <a:lnTo>
                    <a:pt x="347" y="531"/>
                  </a:lnTo>
                  <a:lnTo>
                    <a:pt x="346" y="534"/>
                  </a:lnTo>
                  <a:lnTo>
                    <a:pt x="345" y="536"/>
                  </a:lnTo>
                  <a:lnTo>
                    <a:pt x="344" y="537"/>
                  </a:lnTo>
                  <a:lnTo>
                    <a:pt x="342" y="541"/>
                  </a:lnTo>
                  <a:lnTo>
                    <a:pt x="340" y="545"/>
                  </a:lnTo>
                  <a:lnTo>
                    <a:pt x="339" y="545"/>
                  </a:lnTo>
                  <a:lnTo>
                    <a:pt x="336" y="546"/>
                  </a:lnTo>
                  <a:lnTo>
                    <a:pt x="335" y="546"/>
                  </a:lnTo>
                  <a:lnTo>
                    <a:pt x="334" y="545"/>
                  </a:lnTo>
                  <a:lnTo>
                    <a:pt x="333" y="545"/>
                  </a:lnTo>
                  <a:lnTo>
                    <a:pt x="333" y="546"/>
                  </a:lnTo>
                  <a:lnTo>
                    <a:pt x="330" y="547"/>
                  </a:lnTo>
                  <a:lnTo>
                    <a:pt x="330" y="549"/>
                  </a:lnTo>
                  <a:lnTo>
                    <a:pt x="333" y="551"/>
                  </a:lnTo>
                  <a:lnTo>
                    <a:pt x="334" y="551"/>
                  </a:lnTo>
                  <a:lnTo>
                    <a:pt x="334" y="548"/>
                  </a:lnTo>
                  <a:lnTo>
                    <a:pt x="335" y="547"/>
                  </a:lnTo>
                  <a:lnTo>
                    <a:pt x="339" y="547"/>
                  </a:lnTo>
                  <a:lnTo>
                    <a:pt x="341" y="546"/>
                  </a:lnTo>
                  <a:lnTo>
                    <a:pt x="345" y="543"/>
                  </a:lnTo>
                  <a:lnTo>
                    <a:pt x="345" y="541"/>
                  </a:lnTo>
                  <a:lnTo>
                    <a:pt x="345" y="545"/>
                  </a:lnTo>
                  <a:lnTo>
                    <a:pt x="344" y="547"/>
                  </a:lnTo>
                  <a:lnTo>
                    <a:pt x="342" y="549"/>
                  </a:lnTo>
                  <a:lnTo>
                    <a:pt x="340" y="553"/>
                  </a:lnTo>
                  <a:lnTo>
                    <a:pt x="339" y="557"/>
                  </a:lnTo>
                  <a:lnTo>
                    <a:pt x="336" y="558"/>
                  </a:lnTo>
                  <a:lnTo>
                    <a:pt x="338" y="560"/>
                  </a:lnTo>
                  <a:lnTo>
                    <a:pt x="340" y="557"/>
                  </a:lnTo>
                  <a:lnTo>
                    <a:pt x="341" y="554"/>
                  </a:lnTo>
                  <a:lnTo>
                    <a:pt x="344" y="552"/>
                  </a:lnTo>
                  <a:lnTo>
                    <a:pt x="345" y="549"/>
                  </a:lnTo>
                  <a:lnTo>
                    <a:pt x="346" y="547"/>
                  </a:lnTo>
                  <a:lnTo>
                    <a:pt x="347" y="545"/>
                  </a:lnTo>
                  <a:lnTo>
                    <a:pt x="347" y="551"/>
                  </a:lnTo>
                  <a:lnTo>
                    <a:pt x="348" y="552"/>
                  </a:lnTo>
                  <a:lnTo>
                    <a:pt x="350" y="553"/>
                  </a:lnTo>
                  <a:lnTo>
                    <a:pt x="351" y="553"/>
                  </a:lnTo>
                  <a:lnTo>
                    <a:pt x="350" y="551"/>
                  </a:lnTo>
                  <a:lnTo>
                    <a:pt x="350" y="549"/>
                  </a:lnTo>
                  <a:lnTo>
                    <a:pt x="350" y="548"/>
                  </a:lnTo>
                  <a:lnTo>
                    <a:pt x="348" y="546"/>
                  </a:lnTo>
                  <a:lnTo>
                    <a:pt x="348" y="543"/>
                  </a:lnTo>
                  <a:lnTo>
                    <a:pt x="348" y="541"/>
                  </a:lnTo>
                  <a:lnTo>
                    <a:pt x="347" y="539"/>
                  </a:lnTo>
                  <a:lnTo>
                    <a:pt x="347" y="537"/>
                  </a:lnTo>
                  <a:lnTo>
                    <a:pt x="351" y="539"/>
                  </a:lnTo>
                  <a:lnTo>
                    <a:pt x="352" y="542"/>
                  </a:lnTo>
                  <a:lnTo>
                    <a:pt x="354" y="545"/>
                  </a:lnTo>
                  <a:lnTo>
                    <a:pt x="354" y="542"/>
                  </a:lnTo>
                  <a:lnTo>
                    <a:pt x="353" y="541"/>
                  </a:lnTo>
                  <a:lnTo>
                    <a:pt x="352" y="539"/>
                  </a:lnTo>
                  <a:lnTo>
                    <a:pt x="351" y="537"/>
                  </a:lnTo>
                  <a:lnTo>
                    <a:pt x="348" y="536"/>
                  </a:lnTo>
                  <a:lnTo>
                    <a:pt x="348" y="534"/>
                  </a:lnTo>
                  <a:lnTo>
                    <a:pt x="350" y="531"/>
                  </a:lnTo>
                  <a:lnTo>
                    <a:pt x="351" y="529"/>
                  </a:lnTo>
                  <a:lnTo>
                    <a:pt x="352" y="528"/>
                  </a:lnTo>
                  <a:lnTo>
                    <a:pt x="353" y="526"/>
                  </a:lnTo>
                  <a:lnTo>
                    <a:pt x="356" y="525"/>
                  </a:lnTo>
                  <a:lnTo>
                    <a:pt x="357" y="528"/>
                  </a:lnTo>
                  <a:lnTo>
                    <a:pt x="357" y="536"/>
                  </a:lnTo>
                  <a:lnTo>
                    <a:pt x="357" y="552"/>
                  </a:lnTo>
                  <a:lnTo>
                    <a:pt x="358" y="566"/>
                  </a:lnTo>
                  <a:lnTo>
                    <a:pt x="358" y="583"/>
                  </a:lnTo>
                  <a:lnTo>
                    <a:pt x="359" y="593"/>
                  </a:lnTo>
                  <a:lnTo>
                    <a:pt x="357" y="593"/>
                  </a:lnTo>
                  <a:lnTo>
                    <a:pt x="356" y="591"/>
                  </a:lnTo>
                  <a:lnTo>
                    <a:pt x="354" y="590"/>
                  </a:lnTo>
                  <a:lnTo>
                    <a:pt x="353" y="588"/>
                  </a:lnTo>
                  <a:lnTo>
                    <a:pt x="353" y="587"/>
                  </a:lnTo>
                  <a:lnTo>
                    <a:pt x="352" y="587"/>
                  </a:lnTo>
                  <a:lnTo>
                    <a:pt x="351" y="587"/>
                  </a:lnTo>
                  <a:lnTo>
                    <a:pt x="351" y="588"/>
                  </a:lnTo>
                  <a:lnTo>
                    <a:pt x="350" y="591"/>
                  </a:lnTo>
                  <a:lnTo>
                    <a:pt x="348" y="590"/>
                  </a:lnTo>
                  <a:lnTo>
                    <a:pt x="348" y="588"/>
                  </a:lnTo>
                  <a:lnTo>
                    <a:pt x="347" y="588"/>
                  </a:lnTo>
                  <a:lnTo>
                    <a:pt x="347" y="589"/>
                  </a:lnTo>
                  <a:lnTo>
                    <a:pt x="346" y="590"/>
                  </a:lnTo>
                  <a:lnTo>
                    <a:pt x="345" y="589"/>
                  </a:lnTo>
                  <a:lnTo>
                    <a:pt x="344" y="589"/>
                  </a:lnTo>
                  <a:lnTo>
                    <a:pt x="344" y="590"/>
                  </a:lnTo>
                  <a:lnTo>
                    <a:pt x="342" y="590"/>
                  </a:lnTo>
                  <a:lnTo>
                    <a:pt x="341" y="591"/>
                  </a:lnTo>
                  <a:lnTo>
                    <a:pt x="341" y="594"/>
                  </a:lnTo>
                  <a:lnTo>
                    <a:pt x="339" y="595"/>
                  </a:lnTo>
                  <a:lnTo>
                    <a:pt x="339" y="596"/>
                  </a:lnTo>
                  <a:lnTo>
                    <a:pt x="340" y="597"/>
                  </a:lnTo>
                  <a:lnTo>
                    <a:pt x="342" y="597"/>
                  </a:lnTo>
                  <a:lnTo>
                    <a:pt x="345" y="599"/>
                  </a:lnTo>
                  <a:lnTo>
                    <a:pt x="346" y="600"/>
                  </a:lnTo>
                  <a:lnTo>
                    <a:pt x="347" y="600"/>
                  </a:lnTo>
                  <a:lnTo>
                    <a:pt x="350" y="597"/>
                  </a:lnTo>
                  <a:lnTo>
                    <a:pt x="352" y="596"/>
                  </a:lnTo>
                  <a:lnTo>
                    <a:pt x="353" y="599"/>
                  </a:lnTo>
                  <a:lnTo>
                    <a:pt x="356" y="602"/>
                  </a:lnTo>
                  <a:lnTo>
                    <a:pt x="358" y="605"/>
                  </a:lnTo>
                  <a:lnTo>
                    <a:pt x="358" y="612"/>
                  </a:lnTo>
                  <a:lnTo>
                    <a:pt x="358" y="624"/>
                  </a:lnTo>
                  <a:lnTo>
                    <a:pt x="358" y="640"/>
                  </a:lnTo>
                  <a:lnTo>
                    <a:pt x="358" y="656"/>
                  </a:lnTo>
                  <a:lnTo>
                    <a:pt x="359" y="674"/>
                  </a:lnTo>
                  <a:lnTo>
                    <a:pt x="360" y="694"/>
                  </a:lnTo>
                  <a:lnTo>
                    <a:pt x="362" y="713"/>
                  </a:lnTo>
                  <a:lnTo>
                    <a:pt x="362" y="734"/>
                  </a:lnTo>
                  <a:lnTo>
                    <a:pt x="363" y="781"/>
                  </a:lnTo>
                  <a:lnTo>
                    <a:pt x="364" y="805"/>
                  </a:lnTo>
                  <a:lnTo>
                    <a:pt x="365" y="831"/>
                  </a:lnTo>
                  <a:lnTo>
                    <a:pt x="360" y="834"/>
                  </a:lnTo>
                  <a:lnTo>
                    <a:pt x="353" y="838"/>
                  </a:lnTo>
                  <a:lnTo>
                    <a:pt x="345" y="839"/>
                  </a:lnTo>
                  <a:lnTo>
                    <a:pt x="328" y="840"/>
                  </a:lnTo>
                  <a:lnTo>
                    <a:pt x="326" y="840"/>
                  </a:lnTo>
                  <a:lnTo>
                    <a:pt x="354" y="840"/>
                  </a:lnTo>
                  <a:lnTo>
                    <a:pt x="374" y="838"/>
                  </a:lnTo>
                  <a:lnTo>
                    <a:pt x="383" y="839"/>
                  </a:lnTo>
                  <a:lnTo>
                    <a:pt x="388" y="839"/>
                  </a:lnTo>
                  <a:lnTo>
                    <a:pt x="401" y="837"/>
                  </a:lnTo>
                  <a:lnTo>
                    <a:pt x="412" y="839"/>
                  </a:lnTo>
                  <a:lnTo>
                    <a:pt x="425" y="840"/>
                  </a:lnTo>
                  <a:lnTo>
                    <a:pt x="439" y="839"/>
                  </a:lnTo>
                  <a:lnTo>
                    <a:pt x="453" y="838"/>
                  </a:lnTo>
                  <a:lnTo>
                    <a:pt x="458" y="837"/>
                  </a:lnTo>
                  <a:lnTo>
                    <a:pt x="457" y="834"/>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2" name="Freeform 75"/>
            <p:cNvSpPr>
              <a:spLocks/>
            </p:cNvSpPr>
            <p:nvPr userDrawn="1"/>
          </p:nvSpPr>
          <p:spPr bwMode="auto">
            <a:xfrm>
              <a:off x="6286500" y="6189663"/>
              <a:ext cx="244475" cy="395288"/>
            </a:xfrm>
            <a:custGeom>
              <a:avLst/>
              <a:gdLst/>
              <a:ahLst/>
              <a:cxnLst>
                <a:cxn ang="0">
                  <a:pos x="365" y="103"/>
                </a:cxn>
                <a:cxn ang="0">
                  <a:pos x="307" y="192"/>
                </a:cxn>
                <a:cxn ang="0">
                  <a:pos x="259" y="239"/>
                </a:cxn>
                <a:cxn ang="0">
                  <a:pos x="283" y="292"/>
                </a:cxn>
                <a:cxn ang="0">
                  <a:pos x="239" y="317"/>
                </a:cxn>
                <a:cxn ang="0">
                  <a:pos x="204" y="418"/>
                </a:cxn>
                <a:cxn ang="0">
                  <a:pos x="211" y="442"/>
                </a:cxn>
                <a:cxn ang="0">
                  <a:pos x="147" y="505"/>
                </a:cxn>
                <a:cxn ang="0">
                  <a:pos x="174" y="535"/>
                </a:cxn>
                <a:cxn ang="0">
                  <a:pos x="126" y="561"/>
                </a:cxn>
                <a:cxn ang="0">
                  <a:pos x="156" y="571"/>
                </a:cxn>
                <a:cxn ang="0">
                  <a:pos x="194" y="583"/>
                </a:cxn>
                <a:cxn ang="0">
                  <a:pos x="117" y="610"/>
                </a:cxn>
                <a:cxn ang="0">
                  <a:pos x="88" y="635"/>
                </a:cxn>
                <a:cxn ang="0">
                  <a:pos x="88" y="670"/>
                </a:cxn>
                <a:cxn ang="0">
                  <a:pos x="77" y="697"/>
                </a:cxn>
                <a:cxn ang="0">
                  <a:pos x="111" y="730"/>
                </a:cxn>
                <a:cxn ang="0">
                  <a:pos x="146" y="754"/>
                </a:cxn>
                <a:cxn ang="0">
                  <a:pos x="183" y="760"/>
                </a:cxn>
                <a:cxn ang="0">
                  <a:pos x="216" y="753"/>
                </a:cxn>
                <a:cxn ang="0">
                  <a:pos x="159" y="804"/>
                </a:cxn>
                <a:cxn ang="0">
                  <a:pos x="100" y="826"/>
                </a:cxn>
                <a:cxn ang="0">
                  <a:pos x="99" y="869"/>
                </a:cxn>
                <a:cxn ang="0">
                  <a:pos x="45" y="902"/>
                </a:cxn>
                <a:cxn ang="0">
                  <a:pos x="82" y="920"/>
                </a:cxn>
                <a:cxn ang="0">
                  <a:pos x="15" y="931"/>
                </a:cxn>
                <a:cxn ang="0">
                  <a:pos x="49" y="983"/>
                </a:cxn>
                <a:cxn ang="0">
                  <a:pos x="81" y="1003"/>
                </a:cxn>
                <a:cxn ang="0">
                  <a:pos x="90" y="1066"/>
                </a:cxn>
                <a:cxn ang="0">
                  <a:pos x="163" y="1129"/>
                </a:cxn>
                <a:cxn ang="0">
                  <a:pos x="264" y="1119"/>
                </a:cxn>
                <a:cxn ang="0">
                  <a:pos x="357" y="1247"/>
                </a:cxn>
                <a:cxn ang="0">
                  <a:pos x="493" y="1140"/>
                </a:cxn>
                <a:cxn ang="0">
                  <a:pos x="586" y="1184"/>
                </a:cxn>
                <a:cxn ang="0">
                  <a:pos x="669" y="1155"/>
                </a:cxn>
                <a:cxn ang="0">
                  <a:pos x="753" y="1066"/>
                </a:cxn>
                <a:cxn ang="0">
                  <a:pos x="689" y="1009"/>
                </a:cxn>
                <a:cxn ang="0">
                  <a:pos x="673" y="963"/>
                </a:cxn>
                <a:cxn ang="0">
                  <a:pos x="654" y="949"/>
                </a:cxn>
                <a:cxn ang="0">
                  <a:pos x="673" y="908"/>
                </a:cxn>
                <a:cxn ang="0">
                  <a:pos x="699" y="857"/>
                </a:cxn>
                <a:cxn ang="0">
                  <a:pos x="700" y="805"/>
                </a:cxn>
                <a:cxn ang="0">
                  <a:pos x="553" y="761"/>
                </a:cxn>
                <a:cxn ang="0">
                  <a:pos x="618" y="761"/>
                </a:cxn>
                <a:cxn ang="0">
                  <a:pos x="666" y="724"/>
                </a:cxn>
                <a:cxn ang="0">
                  <a:pos x="694" y="686"/>
                </a:cxn>
                <a:cxn ang="0">
                  <a:pos x="671" y="638"/>
                </a:cxn>
                <a:cxn ang="0">
                  <a:pos x="652" y="581"/>
                </a:cxn>
                <a:cxn ang="0">
                  <a:pos x="569" y="510"/>
                </a:cxn>
                <a:cxn ang="0">
                  <a:pos x="620" y="494"/>
                </a:cxn>
                <a:cxn ang="0">
                  <a:pos x="547" y="423"/>
                </a:cxn>
                <a:cxn ang="0">
                  <a:pos x="589" y="424"/>
                </a:cxn>
                <a:cxn ang="0">
                  <a:pos x="427" y="353"/>
                </a:cxn>
                <a:cxn ang="0">
                  <a:pos x="506" y="311"/>
                </a:cxn>
                <a:cxn ang="0">
                  <a:pos x="523" y="254"/>
                </a:cxn>
                <a:cxn ang="0">
                  <a:pos x="472" y="224"/>
                </a:cxn>
                <a:cxn ang="0">
                  <a:pos x="498" y="192"/>
                </a:cxn>
                <a:cxn ang="0">
                  <a:pos x="446" y="145"/>
                </a:cxn>
                <a:cxn ang="0">
                  <a:pos x="451" y="126"/>
                </a:cxn>
                <a:cxn ang="0">
                  <a:pos x="441" y="107"/>
                </a:cxn>
                <a:cxn ang="0">
                  <a:pos x="425" y="101"/>
                </a:cxn>
                <a:cxn ang="0">
                  <a:pos x="425" y="38"/>
                </a:cxn>
                <a:cxn ang="0">
                  <a:pos x="399" y="28"/>
                </a:cxn>
              </a:cxnLst>
              <a:rect l="0" t="0" r="r" b="b"/>
              <a:pathLst>
                <a:path w="766" h="1247">
                  <a:moveTo>
                    <a:pt x="384" y="20"/>
                  </a:moveTo>
                  <a:lnTo>
                    <a:pt x="381" y="13"/>
                  </a:lnTo>
                  <a:lnTo>
                    <a:pt x="377" y="0"/>
                  </a:lnTo>
                  <a:lnTo>
                    <a:pt x="376" y="0"/>
                  </a:lnTo>
                  <a:lnTo>
                    <a:pt x="377" y="6"/>
                  </a:lnTo>
                  <a:lnTo>
                    <a:pt x="380" y="14"/>
                  </a:lnTo>
                  <a:lnTo>
                    <a:pt x="383" y="20"/>
                  </a:lnTo>
                  <a:lnTo>
                    <a:pt x="383" y="24"/>
                  </a:lnTo>
                  <a:lnTo>
                    <a:pt x="380" y="17"/>
                  </a:lnTo>
                  <a:lnTo>
                    <a:pt x="378" y="17"/>
                  </a:lnTo>
                  <a:lnTo>
                    <a:pt x="382" y="24"/>
                  </a:lnTo>
                  <a:lnTo>
                    <a:pt x="381" y="25"/>
                  </a:lnTo>
                  <a:lnTo>
                    <a:pt x="371" y="19"/>
                  </a:lnTo>
                  <a:lnTo>
                    <a:pt x="370" y="20"/>
                  </a:lnTo>
                  <a:lnTo>
                    <a:pt x="383" y="29"/>
                  </a:lnTo>
                  <a:lnTo>
                    <a:pt x="383" y="31"/>
                  </a:lnTo>
                  <a:lnTo>
                    <a:pt x="382" y="31"/>
                  </a:lnTo>
                  <a:lnTo>
                    <a:pt x="378" y="28"/>
                  </a:lnTo>
                  <a:lnTo>
                    <a:pt x="377" y="29"/>
                  </a:lnTo>
                  <a:lnTo>
                    <a:pt x="381" y="34"/>
                  </a:lnTo>
                  <a:lnTo>
                    <a:pt x="381" y="35"/>
                  </a:lnTo>
                  <a:lnTo>
                    <a:pt x="374" y="35"/>
                  </a:lnTo>
                  <a:lnTo>
                    <a:pt x="381" y="36"/>
                  </a:lnTo>
                  <a:lnTo>
                    <a:pt x="382" y="37"/>
                  </a:lnTo>
                  <a:lnTo>
                    <a:pt x="382" y="41"/>
                  </a:lnTo>
                  <a:lnTo>
                    <a:pt x="376" y="41"/>
                  </a:lnTo>
                  <a:lnTo>
                    <a:pt x="376" y="42"/>
                  </a:lnTo>
                  <a:lnTo>
                    <a:pt x="382" y="43"/>
                  </a:lnTo>
                  <a:lnTo>
                    <a:pt x="378" y="44"/>
                  </a:lnTo>
                  <a:lnTo>
                    <a:pt x="382" y="44"/>
                  </a:lnTo>
                  <a:lnTo>
                    <a:pt x="382" y="47"/>
                  </a:lnTo>
                  <a:lnTo>
                    <a:pt x="380" y="47"/>
                  </a:lnTo>
                  <a:lnTo>
                    <a:pt x="380" y="44"/>
                  </a:lnTo>
                  <a:lnTo>
                    <a:pt x="378" y="47"/>
                  </a:lnTo>
                  <a:lnTo>
                    <a:pt x="377" y="46"/>
                  </a:lnTo>
                  <a:lnTo>
                    <a:pt x="374" y="40"/>
                  </a:lnTo>
                  <a:lnTo>
                    <a:pt x="376" y="47"/>
                  </a:lnTo>
                  <a:lnTo>
                    <a:pt x="374" y="47"/>
                  </a:lnTo>
                  <a:lnTo>
                    <a:pt x="371" y="46"/>
                  </a:lnTo>
                  <a:lnTo>
                    <a:pt x="370" y="46"/>
                  </a:lnTo>
                  <a:lnTo>
                    <a:pt x="372" y="47"/>
                  </a:lnTo>
                  <a:lnTo>
                    <a:pt x="375" y="48"/>
                  </a:lnTo>
                  <a:lnTo>
                    <a:pt x="375" y="49"/>
                  </a:lnTo>
                  <a:lnTo>
                    <a:pt x="371" y="48"/>
                  </a:lnTo>
                  <a:lnTo>
                    <a:pt x="371" y="49"/>
                  </a:lnTo>
                  <a:lnTo>
                    <a:pt x="376" y="50"/>
                  </a:lnTo>
                  <a:lnTo>
                    <a:pt x="376" y="52"/>
                  </a:lnTo>
                  <a:lnTo>
                    <a:pt x="375" y="54"/>
                  </a:lnTo>
                  <a:lnTo>
                    <a:pt x="374" y="54"/>
                  </a:lnTo>
                  <a:lnTo>
                    <a:pt x="371" y="52"/>
                  </a:lnTo>
                  <a:lnTo>
                    <a:pt x="364" y="47"/>
                  </a:lnTo>
                  <a:lnTo>
                    <a:pt x="366" y="50"/>
                  </a:lnTo>
                  <a:lnTo>
                    <a:pt x="363" y="50"/>
                  </a:lnTo>
                  <a:lnTo>
                    <a:pt x="359" y="50"/>
                  </a:lnTo>
                  <a:lnTo>
                    <a:pt x="362" y="52"/>
                  </a:lnTo>
                  <a:lnTo>
                    <a:pt x="369" y="53"/>
                  </a:lnTo>
                  <a:lnTo>
                    <a:pt x="369" y="54"/>
                  </a:lnTo>
                  <a:lnTo>
                    <a:pt x="363" y="59"/>
                  </a:lnTo>
                  <a:lnTo>
                    <a:pt x="370" y="54"/>
                  </a:lnTo>
                  <a:lnTo>
                    <a:pt x="371" y="55"/>
                  </a:lnTo>
                  <a:lnTo>
                    <a:pt x="369" y="57"/>
                  </a:lnTo>
                  <a:lnTo>
                    <a:pt x="372" y="55"/>
                  </a:lnTo>
                  <a:lnTo>
                    <a:pt x="374" y="57"/>
                  </a:lnTo>
                  <a:lnTo>
                    <a:pt x="375" y="58"/>
                  </a:lnTo>
                  <a:lnTo>
                    <a:pt x="374" y="60"/>
                  </a:lnTo>
                  <a:lnTo>
                    <a:pt x="377" y="57"/>
                  </a:lnTo>
                  <a:lnTo>
                    <a:pt x="384" y="61"/>
                  </a:lnTo>
                  <a:lnTo>
                    <a:pt x="384" y="66"/>
                  </a:lnTo>
                  <a:lnTo>
                    <a:pt x="382" y="67"/>
                  </a:lnTo>
                  <a:lnTo>
                    <a:pt x="380" y="66"/>
                  </a:lnTo>
                  <a:lnTo>
                    <a:pt x="377" y="64"/>
                  </a:lnTo>
                  <a:lnTo>
                    <a:pt x="377" y="66"/>
                  </a:lnTo>
                  <a:lnTo>
                    <a:pt x="374" y="66"/>
                  </a:lnTo>
                  <a:lnTo>
                    <a:pt x="372" y="65"/>
                  </a:lnTo>
                  <a:lnTo>
                    <a:pt x="370" y="63"/>
                  </a:lnTo>
                  <a:lnTo>
                    <a:pt x="372" y="67"/>
                  </a:lnTo>
                  <a:lnTo>
                    <a:pt x="366" y="67"/>
                  </a:lnTo>
                  <a:lnTo>
                    <a:pt x="368" y="69"/>
                  </a:lnTo>
                  <a:lnTo>
                    <a:pt x="372" y="69"/>
                  </a:lnTo>
                  <a:lnTo>
                    <a:pt x="372" y="70"/>
                  </a:lnTo>
                  <a:lnTo>
                    <a:pt x="370" y="73"/>
                  </a:lnTo>
                  <a:lnTo>
                    <a:pt x="375" y="70"/>
                  </a:lnTo>
                  <a:lnTo>
                    <a:pt x="377" y="70"/>
                  </a:lnTo>
                  <a:lnTo>
                    <a:pt x="378" y="69"/>
                  </a:lnTo>
                  <a:lnTo>
                    <a:pt x="381" y="69"/>
                  </a:lnTo>
                  <a:lnTo>
                    <a:pt x="380" y="71"/>
                  </a:lnTo>
                  <a:lnTo>
                    <a:pt x="375" y="71"/>
                  </a:lnTo>
                  <a:lnTo>
                    <a:pt x="376" y="71"/>
                  </a:lnTo>
                  <a:lnTo>
                    <a:pt x="378" y="72"/>
                  </a:lnTo>
                  <a:lnTo>
                    <a:pt x="377" y="73"/>
                  </a:lnTo>
                  <a:lnTo>
                    <a:pt x="372" y="76"/>
                  </a:lnTo>
                  <a:lnTo>
                    <a:pt x="374" y="76"/>
                  </a:lnTo>
                  <a:lnTo>
                    <a:pt x="378" y="77"/>
                  </a:lnTo>
                  <a:lnTo>
                    <a:pt x="377" y="78"/>
                  </a:lnTo>
                  <a:lnTo>
                    <a:pt x="372" y="83"/>
                  </a:lnTo>
                  <a:lnTo>
                    <a:pt x="372" y="84"/>
                  </a:lnTo>
                  <a:lnTo>
                    <a:pt x="375" y="85"/>
                  </a:lnTo>
                  <a:lnTo>
                    <a:pt x="376" y="87"/>
                  </a:lnTo>
                  <a:lnTo>
                    <a:pt x="375" y="87"/>
                  </a:lnTo>
                  <a:lnTo>
                    <a:pt x="375" y="88"/>
                  </a:lnTo>
                  <a:lnTo>
                    <a:pt x="376" y="89"/>
                  </a:lnTo>
                  <a:lnTo>
                    <a:pt x="377" y="89"/>
                  </a:lnTo>
                  <a:lnTo>
                    <a:pt x="377" y="90"/>
                  </a:lnTo>
                  <a:lnTo>
                    <a:pt x="374" y="90"/>
                  </a:lnTo>
                  <a:lnTo>
                    <a:pt x="371" y="89"/>
                  </a:lnTo>
                  <a:lnTo>
                    <a:pt x="372" y="91"/>
                  </a:lnTo>
                  <a:lnTo>
                    <a:pt x="370" y="96"/>
                  </a:lnTo>
                  <a:lnTo>
                    <a:pt x="371" y="96"/>
                  </a:lnTo>
                  <a:lnTo>
                    <a:pt x="374" y="91"/>
                  </a:lnTo>
                  <a:lnTo>
                    <a:pt x="377" y="93"/>
                  </a:lnTo>
                  <a:lnTo>
                    <a:pt x="375" y="95"/>
                  </a:lnTo>
                  <a:lnTo>
                    <a:pt x="371" y="99"/>
                  </a:lnTo>
                  <a:lnTo>
                    <a:pt x="365" y="103"/>
                  </a:lnTo>
                  <a:lnTo>
                    <a:pt x="356" y="108"/>
                  </a:lnTo>
                  <a:lnTo>
                    <a:pt x="352" y="108"/>
                  </a:lnTo>
                  <a:lnTo>
                    <a:pt x="354" y="109"/>
                  </a:lnTo>
                  <a:lnTo>
                    <a:pt x="353" y="111"/>
                  </a:lnTo>
                  <a:lnTo>
                    <a:pt x="348" y="108"/>
                  </a:lnTo>
                  <a:lnTo>
                    <a:pt x="352" y="111"/>
                  </a:lnTo>
                  <a:lnTo>
                    <a:pt x="346" y="113"/>
                  </a:lnTo>
                  <a:lnTo>
                    <a:pt x="346" y="114"/>
                  </a:lnTo>
                  <a:lnTo>
                    <a:pt x="353" y="113"/>
                  </a:lnTo>
                  <a:lnTo>
                    <a:pt x="352" y="115"/>
                  </a:lnTo>
                  <a:lnTo>
                    <a:pt x="353" y="119"/>
                  </a:lnTo>
                  <a:lnTo>
                    <a:pt x="354" y="119"/>
                  </a:lnTo>
                  <a:lnTo>
                    <a:pt x="354" y="115"/>
                  </a:lnTo>
                  <a:lnTo>
                    <a:pt x="356" y="114"/>
                  </a:lnTo>
                  <a:lnTo>
                    <a:pt x="356" y="112"/>
                  </a:lnTo>
                  <a:lnTo>
                    <a:pt x="357" y="112"/>
                  </a:lnTo>
                  <a:lnTo>
                    <a:pt x="358" y="115"/>
                  </a:lnTo>
                  <a:lnTo>
                    <a:pt x="358" y="111"/>
                  </a:lnTo>
                  <a:lnTo>
                    <a:pt x="363" y="108"/>
                  </a:lnTo>
                  <a:lnTo>
                    <a:pt x="363" y="111"/>
                  </a:lnTo>
                  <a:lnTo>
                    <a:pt x="360" y="114"/>
                  </a:lnTo>
                  <a:lnTo>
                    <a:pt x="360" y="115"/>
                  </a:lnTo>
                  <a:lnTo>
                    <a:pt x="362" y="118"/>
                  </a:lnTo>
                  <a:lnTo>
                    <a:pt x="363" y="120"/>
                  </a:lnTo>
                  <a:lnTo>
                    <a:pt x="364" y="121"/>
                  </a:lnTo>
                  <a:lnTo>
                    <a:pt x="360" y="124"/>
                  </a:lnTo>
                  <a:lnTo>
                    <a:pt x="358" y="123"/>
                  </a:lnTo>
                  <a:lnTo>
                    <a:pt x="357" y="123"/>
                  </a:lnTo>
                  <a:lnTo>
                    <a:pt x="358" y="124"/>
                  </a:lnTo>
                  <a:lnTo>
                    <a:pt x="356" y="124"/>
                  </a:lnTo>
                  <a:lnTo>
                    <a:pt x="353" y="125"/>
                  </a:lnTo>
                  <a:lnTo>
                    <a:pt x="357" y="126"/>
                  </a:lnTo>
                  <a:lnTo>
                    <a:pt x="358" y="125"/>
                  </a:lnTo>
                  <a:lnTo>
                    <a:pt x="359" y="126"/>
                  </a:lnTo>
                  <a:lnTo>
                    <a:pt x="357" y="127"/>
                  </a:lnTo>
                  <a:lnTo>
                    <a:pt x="353" y="130"/>
                  </a:lnTo>
                  <a:lnTo>
                    <a:pt x="352" y="132"/>
                  </a:lnTo>
                  <a:lnTo>
                    <a:pt x="353" y="132"/>
                  </a:lnTo>
                  <a:lnTo>
                    <a:pt x="354" y="132"/>
                  </a:lnTo>
                  <a:lnTo>
                    <a:pt x="356" y="132"/>
                  </a:lnTo>
                  <a:lnTo>
                    <a:pt x="356" y="133"/>
                  </a:lnTo>
                  <a:lnTo>
                    <a:pt x="356" y="135"/>
                  </a:lnTo>
                  <a:lnTo>
                    <a:pt x="353" y="135"/>
                  </a:lnTo>
                  <a:lnTo>
                    <a:pt x="352" y="133"/>
                  </a:lnTo>
                  <a:lnTo>
                    <a:pt x="347" y="133"/>
                  </a:lnTo>
                  <a:lnTo>
                    <a:pt x="346" y="135"/>
                  </a:lnTo>
                  <a:lnTo>
                    <a:pt x="345" y="137"/>
                  </a:lnTo>
                  <a:lnTo>
                    <a:pt x="344" y="139"/>
                  </a:lnTo>
                  <a:lnTo>
                    <a:pt x="339" y="139"/>
                  </a:lnTo>
                  <a:lnTo>
                    <a:pt x="333" y="142"/>
                  </a:lnTo>
                  <a:lnTo>
                    <a:pt x="329" y="144"/>
                  </a:lnTo>
                  <a:lnTo>
                    <a:pt x="329" y="147"/>
                  </a:lnTo>
                  <a:lnTo>
                    <a:pt x="325" y="147"/>
                  </a:lnTo>
                  <a:lnTo>
                    <a:pt x="327" y="145"/>
                  </a:lnTo>
                  <a:lnTo>
                    <a:pt x="324" y="145"/>
                  </a:lnTo>
                  <a:lnTo>
                    <a:pt x="321" y="147"/>
                  </a:lnTo>
                  <a:lnTo>
                    <a:pt x="319" y="149"/>
                  </a:lnTo>
                  <a:lnTo>
                    <a:pt x="311" y="155"/>
                  </a:lnTo>
                  <a:lnTo>
                    <a:pt x="307" y="156"/>
                  </a:lnTo>
                  <a:lnTo>
                    <a:pt x="305" y="156"/>
                  </a:lnTo>
                  <a:lnTo>
                    <a:pt x="306" y="157"/>
                  </a:lnTo>
                  <a:lnTo>
                    <a:pt x="305" y="159"/>
                  </a:lnTo>
                  <a:lnTo>
                    <a:pt x="303" y="160"/>
                  </a:lnTo>
                  <a:lnTo>
                    <a:pt x="301" y="160"/>
                  </a:lnTo>
                  <a:lnTo>
                    <a:pt x="300" y="162"/>
                  </a:lnTo>
                  <a:lnTo>
                    <a:pt x="298" y="164"/>
                  </a:lnTo>
                  <a:lnTo>
                    <a:pt x="299" y="164"/>
                  </a:lnTo>
                  <a:lnTo>
                    <a:pt x="298" y="165"/>
                  </a:lnTo>
                  <a:lnTo>
                    <a:pt x="295" y="165"/>
                  </a:lnTo>
                  <a:lnTo>
                    <a:pt x="295" y="166"/>
                  </a:lnTo>
                  <a:lnTo>
                    <a:pt x="297" y="166"/>
                  </a:lnTo>
                  <a:lnTo>
                    <a:pt x="293" y="170"/>
                  </a:lnTo>
                  <a:lnTo>
                    <a:pt x="298" y="167"/>
                  </a:lnTo>
                  <a:lnTo>
                    <a:pt x="299" y="171"/>
                  </a:lnTo>
                  <a:lnTo>
                    <a:pt x="299" y="166"/>
                  </a:lnTo>
                  <a:lnTo>
                    <a:pt x="300" y="166"/>
                  </a:lnTo>
                  <a:lnTo>
                    <a:pt x="301" y="167"/>
                  </a:lnTo>
                  <a:lnTo>
                    <a:pt x="301" y="166"/>
                  </a:lnTo>
                  <a:lnTo>
                    <a:pt x="303" y="164"/>
                  </a:lnTo>
                  <a:lnTo>
                    <a:pt x="307" y="159"/>
                  </a:lnTo>
                  <a:lnTo>
                    <a:pt x="307" y="165"/>
                  </a:lnTo>
                  <a:lnTo>
                    <a:pt x="309" y="166"/>
                  </a:lnTo>
                  <a:lnTo>
                    <a:pt x="309" y="168"/>
                  </a:lnTo>
                  <a:lnTo>
                    <a:pt x="310" y="170"/>
                  </a:lnTo>
                  <a:lnTo>
                    <a:pt x="311" y="166"/>
                  </a:lnTo>
                  <a:lnTo>
                    <a:pt x="310" y="159"/>
                  </a:lnTo>
                  <a:lnTo>
                    <a:pt x="310" y="157"/>
                  </a:lnTo>
                  <a:lnTo>
                    <a:pt x="311" y="161"/>
                  </a:lnTo>
                  <a:lnTo>
                    <a:pt x="311" y="168"/>
                  </a:lnTo>
                  <a:lnTo>
                    <a:pt x="312" y="168"/>
                  </a:lnTo>
                  <a:lnTo>
                    <a:pt x="312" y="170"/>
                  </a:lnTo>
                  <a:lnTo>
                    <a:pt x="313" y="171"/>
                  </a:lnTo>
                  <a:lnTo>
                    <a:pt x="315" y="171"/>
                  </a:lnTo>
                  <a:lnTo>
                    <a:pt x="313" y="172"/>
                  </a:lnTo>
                  <a:lnTo>
                    <a:pt x="310" y="173"/>
                  </a:lnTo>
                  <a:lnTo>
                    <a:pt x="311" y="174"/>
                  </a:lnTo>
                  <a:lnTo>
                    <a:pt x="311" y="176"/>
                  </a:lnTo>
                  <a:lnTo>
                    <a:pt x="309" y="176"/>
                  </a:lnTo>
                  <a:lnTo>
                    <a:pt x="309" y="178"/>
                  </a:lnTo>
                  <a:lnTo>
                    <a:pt x="311" y="178"/>
                  </a:lnTo>
                  <a:lnTo>
                    <a:pt x="310" y="179"/>
                  </a:lnTo>
                  <a:lnTo>
                    <a:pt x="309" y="180"/>
                  </a:lnTo>
                  <a:lnTo>
                    <a:pt x="309" y="182"/>
                  </a:lnTo>
                  <a:lnTo>
                    <a:pt x="309" y="183"/>
                  </a:lnTo>
                  <a:lnTo>
                    <a:pt x="309" y="186"/>
                  </a:lnTo>
                  <a:lnTo>
                    <a:pt x="309" y="188"/>
                  </a:lnTo>
                  <a:lnTo>
                    <a:pt x="309" y="189"/>
                  </a:lnTo>
                  <a:lnTo>
                    <a:pt x="310" y="190"/>
                  </a:lnTo>
                  <a:lnTo>
                    <a:pt x="313" y="190"/>
                  </a:lnTo>
                  <a:lnTo>
                    <a:pt x="313" y="191"/>
                  </a:lnTo>
                  <a:lnTo>
                    <a:pt x="312" y="191"/>
                  </a:lnTo>
                  <a:lnTo>
                    <a:pt x="309" y="192"/>
                  </a:lnTo>
                  <a:lnTo>
                    <a:pt x="307" y="192"/>
                  </a:lnTo>
                  <a:lnTo>
                    <a:pt x="307" y="194"/>
                  </a:lnTo>
                  <a:lnTo>
                    <a:pt x="307" y="195"/>
                  </a:lnTo>
                  <a:lnTo>
                    <a:pt x="305" y="195"/>
                  </a:lnTo>
                  <a:lnTo>
                    <a:pt x="303" y="194"/>
                  </a:lnTo>
                  <a:lnTo>
                    <a:pt x="301" y="194"/>
                  </a:lnTo>
                  <a:lnTo>
                    <a:pt x="301" y="195"/>
                  </a:lnTo>
                  <a:lnTo>
                    <a:pt x="304" y="196"/>
                  </a:lnTo>
                  <a:lnTo>
                    <a:pt x="301" y="197"/>
                  </a:lnTo>
                  <a:lnTo>
                    <a:pt x="300" y="197"/>
                  </a:lnTo>
                  <a:lnTo>
                    <a:pt x="300" y="196"/>
                  </a:lnTo>
                  <a:lnTo>
                    <a:pt x="298" y="196"/>
                  </a:lnTo>
                  <a:lnTo>
                    <a:pt x="298" y="197"/>
                  </a:lnTo>
                  <a:lnTo>
                    <a:pt x="294" y="197"/>
                  </a:lnTo>
                  <a:lnTo>
                    <a:pt x="294" y="198"/>
                  </a:lnTo>
                  <a:lnTo>
                    <a:pt x="289" y="201"/>
                  </a:lnTo>
                  <a:lnTo>
                    <a:pt x="291" y="201"/>
                  </a:lnTo>
                  <a:lnTo>
                    <a:pt x="294" y="200"/>
                  </a:lnTo>
                  <a:lnTo>
                    <a:pt x="295" y="201"/>
                  </a:lnTo>
                  <a:lnTo>
                    <a:pt x="294" y="207"/>
                  </a:lnTo>
                  <a:lnTo>
                    <a:pt x="297" y="201"/>
                  </a:lnTo>
                  <a:lnTo>
                    <a:pt x="298" y="200"/>
                  </a:lnTo>
                  <a:lnTo>
                    <a:pt x="298" y="201"/>
                  </a:lnTo>
                  <a:lnTo>
                    <a:pt x="298" y="204"/>
                  </a:lnTo>
                  <a:lnTo>
                    <a:pt x="299" y="204"/>
                  </a:lnTo>
                  <a:lnTo>
                    <a:pt x="301" y="202"/>
                  </a:lnTo>
                  <a:lnTo>
                    <a:pt x="303" y="198"/>
                  </a:lnTo>
                  <a:lnTo>
                    <a:pt x="304" y="198"/>
                  </a:lnTo>
                  <a:lnTo>
                    <a:pt x="304" y="201"/>
                  </a:lnTo>
                  <a:lnTo>
                    <a:pt x="304" y="202"/>
                  </a:lnTo>
                  <a:lnTo>
                    <a:pt x="305" y="203"/>
                  </a:lnTo>
                  <a:lnTo>
                    <a:pt x="307" y="210"/>
                  </a:lnTo>
                  <a:lnTo>
                    <a:pt x="309" y="212"/>
                  </a:lnTo>
                  <a:lnTo>
                    <a:pt x="310" y="209"/>
                  </a:lnTo>
                  <a:lnTo>
                    <a:pt x="310" y="210"/>
                  </a:lnTo>
                  <a:lnTo>
                    <a:pt x="311" y="212"/>
                  </a:lnTo>
                  <a:lnTo>
                    <a:pt x="312" y="213"/>
                  </a:lnTo>
                  <a:lnTo>
                    <a:pt x="311" y="209"/>
                  </a:lnTo>
                  <a:lnTo>
                    <a:pt x="312" y="209"/>
                  </a:lnTo>
                  <a:lnTo>
                    <a:pt x="313" y="210"/>
                  </a:lnTo>
                  <a:lnTo>
                    <a:pt x="315" y="208"/>
                  </a:lnTo>
                  <a:lnTo>
                    <a:pt x="316" y="208"/>
                  </a:lnTo>
                  <a:lnTo>
                    <a:pt x="316" y="212"/>
                  </a:lnTo>
                  <a:lnTo>
                    <a:pt x="317" y="212"/>
                  </a:lnTo>
                  <a:lnTo>
                    <a:pt x="317" y="213"/>
                  </a:lnTo>
                  <a:lnTo>
                    <a:pt x="317" y="208"/>
                  </a:lnTo>
                  <a:lnTo>
                    <a:pt x="317" y="207"/>
                  </a:lnTo>
                  <a:lnTo>
                    <a:pt x="318" y="206"/>
                  </a:lnTo>
                  <a:lnTo>
                    <a:pt x="318" y="208"/>
                  </a:lnTo>
                  <a:lnTo>
                    <a:pt x="319" y="208"/>
                  </a:lnTo>
                  <a:lnTo>
                    <a:pt x="319" y="209"/>
                  </a:lnTo>
                  <a:lnTo>
                    <a:pt x="321" y="209"/>
                  </a:lnTo>
                  <a:lnTo>
                    <a:pt x="321" y="204"/>
                  </a:lnTo>
                  <a:lnTo>
                    <a:pt x="322" y="206"/>
                  </a:lnTo>
                  <a:lnTo>
                    <a:pt x="322" y="207"/>
                  </a:lnTo>
                  <a:lnTo>
                    <a:pt x="323" y="209"/>
                  </a:lnTo>
                  <a:lnTo>
                    <a:pt x="324" y="210"/>
                  </a:lnTo>
                  <a:lnTo>
                    <a:pt x="324" y="214"/>
                  </a:lnTo>
                  <a:lnTo>
                    <a:pt x="323" y="216"/>
                  </a:lnTo>
                  <a:lnTo>
                    <a:pt x="321" y="216"/>
                  </a:lnTo>
                  <a:lnTo>
                    <a:pt x="317" y="219"/>
                  </a:lnTo>
                  <a:lnTo>
                    <a:pt x="315" y="222"/>
                  </a:lnTo>
                  <a:lnTo>
                    <a:pt x="309" y="222"/>
                  </a:lnTo>
                  <a:lnTo>
                    <a:pt x="306" y="224"/>
                  </a:lnTo>
                  <a:lnTo>
                    <a:pt x="299" y="225"/>
                  </a:lnTo>
                  <a:lnTo>
                    <a:pt x="298" y="226"/>
                  </a:lnTo>
                  <a:lnTo>
                    <a:pt x="294" y="226"/>
                  </a:lnTo>
                  <a:lnTo>
                    <a:pt x="292" y="225"/>
                  </a:lnTo>
                  <a:lnTo>
                    <a:pt x="292" y="226"/>
                  </a:lnTo>
                  <a:lnTo>
                    <a:pt x="289" y="226"/>
                  </a:lnTo>
                  <a:lnTo>
                    <a:pt x="286" y="222"/>
                  </a:lnTo>
                  <a:lnTo>
                    <a:pt x="286" y="224"/>
                  </a:lnTo>
                  <a:lnTo>
                    <a:pt x="288" y="225"/>
                  </a:lnTo>
                  <a:lnTo>
                    <a:pt x="288" y="226"/>
                  </a:lnTo>
                  <a:lnTo>
                    <a:pt x="286" y="226"/>
                  </a:lnTo>
                  <a:lnTo>
                    <a:pt x="286" y="225"/>
                  </a:lnTo>
                  <a:lnTo>
                    <a:pt x="283" y="225"/>
                  </a:lnTo>
                  <a:lnTo>
                    <a:pt x="277" y="221"/>
                  </a:lnTo>
                  <a:lnTo>
                    <a:pt x="276" y="221"/>
                  </a:lnTo>
                  <a:lnTo>
                    <a:pt x="281" y="226"/>
                  </a:lnTo>
                  <a:lnTo>
                    <a:pt x="270" y="226"/>
                  </a:lnTo>
                  <a:lnTo>
                    <a:pt x="270" y="227"/>
                  </a:lnTo>
                  <a:lnTo>
                    <a:pt x="280" y="228"/>
                  </a:lnTo>
                  <a:lnTo>
                    <a:pt x="281" y="227"/>
                  </a:lnTo>
                  <a:lnTo>
                    <a:pt x="280" y="230"/>
                  </a:lnTo>
                  <a:lnTo>
                    <a:pt x="286" y="227"/>
                  </a:lnTo>
                  <a:lnTo>
                    <a:pt x="287" y="227"/>
                  </a:lnTo>
                  <a:lnTo>
                    <a:pt x="288" y="228"/>
                  </a:lnTo>
                  <a:lnTo>
                    <a:pt x="287" y="231"/>
                  </a:lnTo>
                  <a:lnTo>
                    <a:pt x="287" y="232"/>
                  </a:lnTo>
                  <a:lnTo>
                    <a:pt x="287" y="234"/>
                  </a:lnTo>
                  <a:lnTo>
                    <a:pt x="289" y="238"/>
                  </a:lnTo>
                  <a:lnTo>
                    <a:pt x="291" y="239"/>
                  </a:lnTo>
                  <a:lnTo>
                    <a:pt x="287" y="240"/>
                  </a:lnTo>
                  <a:lnTo>
                    <a:pt x="287" y="242"/>
                  </a:lnTo>
                  <a:lnTo>
                    <a:pt x="288" y="242"/>
                  </a:lnTo>
                  <a:lnTo>
                    <a:pt x="288" y="243"/>
                  </a:lnTo>
                  <a:lnTo>
                    <a:pt x="286" y="244"/>
                  </a:lnTo>
                  <a:lnTo>
                    <a:pt x="285" y="246"/>
                  </a:lnTo>
                  <a:lnTo>
                    <a:pt x="285" y="249"/>
                  </a:lnTo>
                  <a:lnTo>
                    <a:pt x="283" y="249"/>
                  </a:lnTo>
                  <a:lnTo>
                    <a:pt x="282" y="246"/>
                  </a:lnTo>
                  <a:lnTo>
                    <a:pt x="282" y="245"/>
                  </a:lnTo>
                  <a:lnTo>
                    <a:pt x="281" y="243"/>
                  </a:lnTo>
                  <a:lnTo>
                    <a:pt x="280" y="243"/>
                  </a:lnTo>
                  <a:lnTo>
                    <a:pt x="280" y="245"/>
                  </a:lnTo>
                  <a:lnTo>
                    <a:pt x="279" y="248"/>
                  </a:lnTo>
                  <a:lnTo>
                    <a:pt x="271" y="242"/>
                  </a:lnTo>
                  <a:lnTo>
                    <a:pt x="269" y="240"/>
                  </a:lnTo>
                  <a:lnTo>
                    <a:pt x="262" y="236"/>
                  </a:lnTo>
                  <a:lnTo>
                    <a:pt x="260" y="236"/>
                  </a:lnTo>
                  <a:lnTo>
                    <a:pt x="265" y="240"/>
                  </a:lnTo>
                  <a:lnTo>
                    <a:pt x="264" y="240"/>
                  </a:lnTo>
                  <a:lnTo>
                    <a:pt x="259" y="239"/>
                  </a:lnTo>
                  <a:lnTo>
                    <a:pt x="262" y="240"/>
                  </a:lnTo>
                  <a:lnTo>
                    <a:pt x="262" y="242"/>
                  </a:lnTo>
                  <a:lnTo>
                    <a:pt x="264" y="243"/>
                  </a:lnTo>
                  <a:lnTo>
                    <a:pt x="265" y="244"/>
                  </a:lnTo>
                  <a:lnTo>
                    <a:pt x="264" y="245"/>
                  </a:lnTo>
                  <a:lnTo>
                    <a:pt x="264" y="246"/>
                  </a:lnTo>
                  <a:lnTo>
                    <a:pt x="266" y="245"/>
                  </a:lnTo>
                  <a:lnTo>
                    <a:pt x="268" y="245"/>
                  </a:lnTo>
                  <a:lnTo>
                    <a:pt x="269" y="244"/>
                  </a:lnTo>
                  <a:lnTo>
                    <a:pt x="269" y="245"/>
                  </a:lnTo>
                  <a:lnTo>
                    <a:pt x="266" y="248"/>
                  </a:lnTo>
                  <a:lnTo>
                    <a:pt x="269" y="248"/>
                  </a:lnTo>
                  <a:lnTo>
                    <a:pt x="271" y="245"/>
                  </a:lnTo>
                  <a:lnTo>
                    <a:pt x="275" y="248"/>
                  </a:lnTo>
                  <a:lnTo>
                    <a:pt x="271" y="248"/>
                  </a:lnTo>
                  <a:lnTo>
                    <a:pt x="269" y="249"/>
                  </a:lnTo>
                  <a:lnTo>
                    <a:pt x="268" y="251"/>
                  </a:lnTo>
                  <a:lnTo>
                    <a:pt x="268" y="252"/>
                  </a:lnTo>
                  <a:lnTo>
                    <a:pt x="269" y="251"/>
                  </a:lnTo>
                  <a:lnTo>
                    <a:pt x="270" y="250"/>
                  </a:lnTo>
                  <a:lnTo>
                    <a:pt x="271" y="250"/>
                  </a:lnTo>
                  <a:lnTo>
                    <a:pt x="274" y="250"/>
                  </a:lnTo>
                  <a:lnTo>
                    <a:pt x="275" y="250"/>
                  </a:lnTo>
                  <a:lnTo>
                    <a:pt x="275" y="254"/>
                  </a:lnTo>
                  <a:lnTo>
                    <a:pt x="277" y="252"/>
                  </a:lnTo>
                  <a:lnTo>
                    <a:pt x="280" y="252"/>
                  </a:lnTo>
                  <a:lnTo>
                    <a:pt x="281" y="254"/>
                  </a:lnTo>
                  <a:lnTo>
                    <a:pt x="280" y="254"/>
                  </a:lnTo>
                  <a:lnTo>
                    <a:pt x="277" y="255"/>
                  </a:lnTo>
                  <a:lnTo>
                    <a:pt x="273" y="258"/>
                  </a:lnTo>
                  <a:lnTo>
                    <a:pt x="268" y="261"/>
                  </a:lnTo>
                  <a:lnTo>
                    <a:pt x="262" y="261"/>
                  </a:lnTo>
                  <a:lnTo>
                    <a:pt x="262" y="262"/>
                  </a:lnTo>
                  <a:lnTo>
                    <a:pt x="266" y="263"/>
                  </a:lnTo>
                  <a:lnTo>
                    <a:pt x="266" y="264"/>
                  </a:lnTo>
                  <a:lnTo>
                    <a:pt x="259" y="268"/>
                  </a:lnTo>
                  <a:lnTo>
                    <a:pt x="260" y="268"/>
                  </a:lnTo>
                  <a:lnTo>
                    <a:pt x="268" y="266"/>
                  </a:lnTo>
                  <a:lnTo>
                    <a:pt x="269" y="266"/>
                  </a:lnTo>
                  <a:lnTo>
                    <a:pt x="268" y="267"/>
                  </a:lnTo>
                  <a:lnTo>
                    <a:pt x="268" y="269"/>
                  </a:lnTo>
                  <a:lnTo>
                    <a:pt x="269" y="269"/>
                  </a:lnTo>
                  <a:lnTo>
                    <a:pt x="269" y="268"/>
                  </a:lnTo>
                  <a:lnTo>
                    <a:pt x="270" y="264"/>
                  </a:lnTo>
                  <a:lnTo>
                    <a:pt x="271" y="264"/>
                  </a:lnTo>
                  <a:lnTo>
                    <a:pt x="276" y="271"/>
                  </a:lnTo>
                  <a:lnTo>
                    <a:pt x="276" y="268"/>
                  </a:lnTo>
                  <a:lnTo>
                    <a:pt x="277" y="268"/>
                  </a:lnTo>
                  <a:lnTo>
                    <a:pt x="279" y="269"/>
                  </a:lnTo>
                  <a:lnTo>
                    <a:pt x="279" y="271"/>
                  </a:lnTo>
                  <a:lnTo>
                    <a:pt x="277" y="272"/>
                  </a:lnTo>
                  <a:lnTo>
                    <a:pt x="277" y="273"/>
                  </a:lnTo>
                  <a:lnTo>
                    <a:pt x="275" y="273"/>
                  </a:lnTo>
                  <a:lnTo>
                    <a:pt x="273" y="274"/>
                  </a:lnTo>
                  <a:lnTo>
                    <a:pt x="271" y="278"/>
                  </a:lnTo>
                  <a:lnTo>
                    <a:pt x="273" y="279"/>
                  </a:lnTo>
                  <a:lnTo>
                    <a:pt x="269" y="281"/>
                  </a:lnTo>
                  <a:lnTo>
                    <a:pt x="269" y="284"/>
                  </a:lnTo>
                  <a:lnTo>
                    <a:pt x="266" y="285"/>
                  </a:lnTo>
                  <a:lnTo>
                    <a:pt x="265" y="285"/>
                  </a:lnTo>
                  <a:lnTo>
                    <a:pt x="264" y="284"/>
                  </a:lnTo>
                  <a:lnTo>
                    <a:pt x="264" y="285"/>
                  </a:lnTo>
                  <a:lnTo>
                    <a:pt x="264" y="286"/>
                  </a:lnTo>
                  <a:lnTo>
                    <a:pt x="264" y="287"/>
                  </a:lnTo>
                  <a:lnTo>
                    <a:pt x="260" y="289"/>
                  </a:lnTo>
                  <a:lnTo>
                    <a:pt x="259" y="287"/>
                  </a:lnTo>
                  <a:lnTo>
                    <a:pt x="258" y="289"/>
                  </a:lnTo>
                  <a:lnTo>
                    <a:pt x="256" y="289"/>
                  </a:lnTo>
                  <a:lnTo>
                    <a:pt x="254" y="290"/>
                  </a:lnTo>
                  <a:lnTo>
                    <a:pt x="252" y="290"/>
                  </a:lnTo>
                  <a:lnTo>
                    <a:pt x="252" y="291"/>
                  </a:lnTo>
                  <a:lnTo>
                    <a:pt x="256" y="291"/>
                  </a:lnTo>
                  <a:lnTo>
                    <a:pt x="256" y="292"/>
                  </a:lnTo>
                  <a:lnTo>
                    <a:pt x="253" y="293"/>
                  </a:lnTo>
                  <a:lnTo>
                    <a:pt x="253" y="296"/>
                  </a:lnTo>
                  <a:lnTo>
                    <a:pt x="254" y="297"/>
                  </a:lnTo>
                  <a:lnTo>
                    <a:pt x="256" y="297"/>
                  </a:lnTo>
                  <a:lnTo>
                    <a:pt x="257" y="295"/>
                  </a:lnTo>
                  <a:lnTo>
                    <a:pt x="257" y="297"/>
                  </a:lnTo>
                  <a:lnTo>
                    <a:pt x="258" y="292"/>
                  </a:lnTo>
                  <a:lnTo>
                    <a:pt x="260" y="291"/>
                  </a:lnTo>
                  <a:lnTo>
                    <a:pt x="259" y="293"/>
                  </a:lnTo>
                  <a:lnTo>
                    <a:pt x="260" y="293"/>
                  </a:lnTo>
                  <a:lnTo>
                    <a:pt x="260" y="291"/>
                  </a:lnTo>
                  <a:lnTo>
                    <a:pt x="263" y="291"/>
                  </a:lnTo>
                  <a:lnTo>
                    <a:pt x="264" y="290"/>
                  </a:lnTo>
                  <a:lnTo>
                    <a:pt x="264" y="291"/>
                  </a:lnTo>
                  <a:lnTo>
                    <a:pt x="264" y="292"/>
                  </a:lnTo>
                  <a:lnTo>
                    <a:pt x="264" y="293"/>
                  </a:lnTo>
                  <a:lnTo>
                    <a:pt x="264" y="296"/>
                  </a:lnTo>
                  <a:lnTo>
                    <a:pt x="264" y="298"/>
                  </a:lnTo>
                  <a:lnTo>
                    <a:pt x="265" y="301"/>
                  </a:lnTo>
                  <a:lnTo>
                    <a:pt x="266" y="302"/>
                  </a:lnTo>
                  <a:lnTo>
                    <a:pt x="268" y="298"/>
                  </a:lnTo>
                  <a:lnTo>
                    <a:pt x="266" y="295"/>
                  </a:lnTo>
                  <a:lnTo>
                    <a:pt x="268" y="295"/>
                  </a:lnTo>
                  <a:lnTo>
                    <a:pt x="269" y="295"/>
                  </a:lnTo>
                  <a:lnTo>
                    <a:pt x="269" y="301"/>
                  </a:lnTo>
                  <a:lnTo>
                    <a:pt x="270" y="301"/>
                  </a:lnTo>
                  <a:lnTo>
                    <a:pt x="273" y="297"/>
                  </a:lnTo>
                  <a:lnTo>
                    <a:pt x="273" y="295"/>
                  </a:lnTo>
                  <a:lnTo>
                    <a:pt x="275" y="293"/>
                  </a:lnTo>
                  <a:lnTo>
                    <a:pt x="275" y="295"/>
                  </a:lnTo>
                  <a:lnTo>
                    <a:pt x="276" y="295"/>
                  </a:lnTo>
                  <a:lnTo>
                    <a:pt x="277" y="293"/>
                  </a:lnTo>
                  <a:lnTo>
                    <a:pt x="279" y="295"/>
                  </a:lnTo>
                  <a:lnTo>
                    <a:pt x="280" y="293"/>
                  </a:lnTo>
                  <a:lnTo>
                    <a:pt x="279" y="292"/>
                  </a:lnTo>
                  <a:lnTo>
                    <a:pt x="279" y="289"/>
                  </a:lnTo>
                  <a:lnTo>
                    <a:pt x="279" y="287"/>
                  </a:lnTo>
                  <a:lnTo>
                    <a:pt x="280" y="287"/>
                  </a:lnTo>
                  <a:lnTo>
                    <a:pt x="282" y="291"/>
                  </a:lnTo>
                  <a:lnTo>
                    <a:pt x="283" y="292"/>
                  </a:lnTo>
                  <a:lnTo>
                    <a:pt x="285" y="292"/>
                  </a:lnTo>
                  <a:lnTo>
                    <a:pt x="285" y="290"/>
                  </a:lnTo>
                  <a:lnTo>
                    <a:pt x="285" y="289"/>
                  </a:lnTo>
                  <a:lnTo>
                    <a:pt x="285" y="285"/>
                  </a:lnTo>
                  <a:lnTo>
                    <a:pt x="285" y="284"/>
                  </a:lnTo>
                  <a:lnTo>
                    <a:pt x="286" y="284"/>
                  </a:lnTo>
                  <a:lnTo>
                    <a:pt x="287" y="285"/>
                  </a:lnTo>
                  <a:lnTo>
                    <a:pt x="287" y="286"/>
                  </a:lnTo>
                  <a:lnTo>
                    <a:pt x="287" y="287"/>
                  </a:lnTo>
                  <a:lnTo>
                    <a:pt x="287" y="289"/>
                  </a:lnTo>
                  <a:lnTo>
                    <a:pt x="288" y="291"/>
                  </a:lnTo>
                  <a:lnTo>
                    <a:pt x="289" y="289"/>
                  </a:lnTo>
                  <a:lnTo>
                    <a:pt x="289" y="285"/>
                  </a:lnTo>
                  <a:lnTo>
                    <a:pt x="289" y="284"/>
                  </a:lnTo>
                  <a:lnTo>
                    <a:pt x="289" y="283"/>
                  </a:lnTo>
                  <a:lnTo>
                    <a:pt x="289" y="281"/>
                  </a:lnTo>
                  <a:lnTo>
                    <a:pt x="288" y="280"/>
                  </a:lnTo>
                  <a:lnTo>
                    <a:pt x="288" y="279"/>
                  </a:lnTo>
                  <a:lnTo>
                    <a:pt x="291" y="279"/>
                  </a:lnTo>
                  <a:lnTo>
                    <a:pt x="292" y="279"/>
                  </a:lnTo>
                  <a:lnTo>
                    <a:pt x="292" y="280"/>
                  </a:lnTo>
                  <a:lnTo>
                    <a:pt x="291" y="283"/>
                  </a:lnTo>
                  <a:lnTo>
                    <a:pt x="291" y="285"/>
                  </a:lnTo>
                  <a:lnTo>
                    <a:pt x="292" y="286"/>
                  </a:lnTo>
                  <a:lnTo>
                    <a:pt x="292" y="287"/>
                  </a:lnTo>
                  <a:lnTo>
                    <a:pt x="292" y="289"/>
                  </a:lnTo>
                  <a:lnTo>
                    <a:pt x="289" y="290"/>
                  </a:lnTo>
                  <a:lnTo>
                    <a:pt x="288" y="291"/>
                  </a:lnTo>
                  <a:lnTo>
                    <a:pt x="286" y="293"/>
                  </a:lnTo>
                  <a:lnTo>
                    <a:pt x="283" y="296"/>
                  </a:lnTo>
                  <a:lnTo>
                    <a:pt x="281" y="297"/>
                  </a:lnTo>
                  <a:lnTo>
                    <a:pt x="280" y="299"/>
                  </a:lnTo>
                  <a:lnTo>
                    <a:pt x="279" y="299"/>
                  </a:lnTo>
                  <a:lnTo>
                    <a:pt x="277" y="297"/>
                  </a:lnTo>
                  <a:lnTo>
                    <a:pt x="276" y="299"/>
                  </a:lnTo>
                  <a:lnTo>
                    <a:pt x="277" y="299"/>
                  </a:lnTo>
                  <a:lnTo>
                    <a:pt x="274" y="302"/>
                  </a:lnTo>
                  <a:lnTo>
                    <a:pt x="271" y="304"/>
                  </a:lnTo>
                  <a:lnTo>
                    <a:pt x="269" y="304"/>
                  </a:lnTo>
                  <a:lnTo>
                    <a:pt x="266" y="303"/>
                  </a:lnTo>
                  <a:lnTo>
                    <a:pt x="265" y="303"/>
                  </a:lnTo>
                  <a:lnTo>
                    <a:pt x="263" y="302"/>
                  </a:lnTo>
                  <a:lnTo>
                    <a:pt x="262" y="303"/>
                  </a:lnTo>
                  <a:lnTo>
                    <a:pt x="260" y="303"/>
                  </a:lnTo>
                  <a:lnTo>
                    <a:pt x="256" y="301"/>
                  </a:lnTo>
                  <a:lnTo>
                    <a:pt x="254" y="299"/>
                  </a:lnTo>
                  <a:lnTo>
                    <a:pt x="252" y="297"/>
                  </a:lnTo>
                  <a:lnTo>
                    <a:pt x="251" y="296"/>
                  </a:lnTo>
                  <a:lnTo>
                    <a:pt x="247" y="293"/>
                  </a:lnTo>
                  <a:lnTo>
                    <a:pt x="246" y="290"/>
                  </a:lnTo>
                  <a:lnTo>
                    <a:pt x="247" y="289"/>
                  </a:lnTo>
                  <a:lnTo>
                    <a:pt x="247" y="287"/>
                  </a:lnTo>
                  <a:lnTo>
                    <a:pt x="245" y="290"/>
                  </a:lnTo>
                  <a:lnTo>
                    <a:pt x="244" y="289"/>
                  </a:lnTo>
                  <a:lnTo>
                    <a:pt x="248" y="284"/>
                  </a:lnTo>
                  <a:lnTo>
                    <a:pt x="247" y="283"/>
                  </a:lnTo>
                  <a:lnTo>
                    <a:pt x="245" y="284"/>
                  </a:lnTo>
                  <a:lnTo>
                    <a:pt x="242" y="283"/>
                  </a:lnTo>
                  <a:lnTo>
                    <a:pt x="244" y="285"/>
                  </a:lnTo>
                  <a:lnTo>
                    <a:pt x="242" y="286"/>
                  </a:lnTo>
                  <a:lnTo>
                    <a:pt x="233" y="277"/>
                  </a:lnTo>
                  <a:lnTo>
                    <a:pt x="232" y="277"/>
                  </a:lnTo>
                  <a:lnTo>
                    <a:pt x="234" y="280"/>
                  </a:lnTo>
                  <a:lnTo>
                    <a:pt x="233" y="280"/>
                  </a:lnTo>
                  <a:lnTo>
                    <a:pt x="227" y="279"/>
                  </a:lnTo>
                  <a:lnTo>
                    <a:pt x="227" y="280"/>
                  </a:lnTo>
                  <a:lnTo>
                    <a:pt x="232" y="283"/>
                  </a:lnTo>
                  <a:lnTo>
                    <a:pt x="230" y="283"/>
                  </a:lnTo>
                  <a:lnTo>
                    <a:pt x="234" y="284"/>
                  </a:lnTo>
                  <a:lnTo>
                    <a:pt x="232" y="286"/>
                  </a:lnTo>
                  <a:lnTo>
                    <a:pt x="234" y="285"/>
                  </a:lnTo>
                  <a:lnTo>
                    <a:pt x="235" y="285"/>
                  </a:lnTo>
                  <a:lnTo>
                    <a:pt x="239" y="286"/>
                  </a:lnTo>
                  <a:lnTo>
                    <a:pt x="239" y="287"/>
                  </a:lnTo>
                  <a:lnTo>
                    <a:pt x="233" y="291"/>
                  </a:lnTo>
                  <a:lnTo>
                    <a:pt x="234" y="291"/>
                  </a:lnTo>
                  <a:lnTo>
                    <a:pt x="239" y="290"/>
                  </a:lnTo>
                  <a:lnTo>
                    <a:pt x="239" y="291"/>
                  </a:lnTo>
                  <a:lnTo>
                    <a:pt x="239" y="292"/>
                  </a:lnTo>
                  <a:lnTo>
                    <a:pt x="241" y="292"/>
                  </a:lnTo>
                  <a:lnTo>
                    <a:pt x="244" y="292"/>
                  </a:lnTo>
                  <a:lnTo>
                    <a:pt x="242" y="295"/>
                  </a:lnTo>
                  <a:lnTo>
                    <a:pt x="245" y="295"/>
                  </a:lnTo>
                  <a:lnTo>
                    <a:pt x="239" y="301"/>
                  </a:lnTo>
                  <a:lnTo>
                    <a:pt x="245" y="297"/>
                  </a:lnTo>
                  <a:lnTo>
                    <a:pt x="247" y="296"/>
                  </a:lnTo>
                  <a:lnTo>
                    <a:pt x="247" y="297"/>
                  </a:lnTo>
                  <a:lnTo>
                    <a:pt x="244" y="299"/>
                  </a:lnTo>
                  <a:lnTo>
                    <a:pt x="241" y="301"/>
                  </a:lnTo>
                  <a:lnTo>
                    <a:pt x="239" y="302"/>
                  </a:lnTo>
                  <a:lnTo>
                    <a:pt x="242" y="305"/>
                  </a:lnTo>
                  <a:lnTo>
                    <a:pt x="239" y="307"/>
                  </a:lnTo>
                  <a:lnTo>
                    <a:pt x="239" y="309"/>
                  </a:lnTo>
                  <a:lnTo>
                    <a:pt x="241" y="310"/>
                  </a:lnTo>
                  <a:lnTo>
                    <a:pt x="239" y="314"/>
                  </a:lnTo>
                  <a:lnTo>
                    <a:pt x="242" y="316"/>
                  </a:lnTo>
                  <a:lnTo>
                    <a:pt x="245" y="315"/>
                  </a:lnTo>
                  <a:lnTo>
                    <a:pt x="245" y="314"/>
                  </a:lnTo>
                  <a:lnTo>
                    <a:pt x="246" y="311"/>
                  </a:lnTo>
                  <a:lnTo>
                    <a:pt x="246" y="309"/>
                  </a:lnTo>
                  <a:lnTo>
                    <a:pt x="246" y="308"/>
                  </a:lnTo>
                  <a:lnTo>
                    <a:pt x="247" y="308"/>
                  </a:lnTo>
                  <a:lnTo>
                    <a:pt x="247" y="309"/>
                  </a:lnTo>
                  <a:lnTo>
                    <a:pt x="247" y="311"/>
                  </a:lnTo>
                  <a:lnTo>
                    <a:pt x="248" y="314"/>
                  </a:lnTo>
                  <a:lnTo>
                    <a:pt x="251" y="315"/>
                  </a:lnTo>
                  <a:lnTo>
                    <a:pt x="250" y="317"/>
                  </a:lnTo>
                  <a:lnTo>
                    <a:pt x="248" y="317"/>
                  </a:lnTo>
                  <a:lnTo>
                    <a:pt x="247" y="315"/>
                  </a:lnTo>
                  <a:lnTo>
                    <a:pt x="246" y="317"/>
                  </a:lnTo>
                  <a:lnTo>
                    <a:pt x="245" y="320"/>
                  </a:lnTo>
                  <a:lnTo>
                    <a:pt x="244" y="320"/>
                  </a:lnTo>
                  <a:lnTo>
                    <a:pt x="239" y="317"/>
                  </a:lnTo>
                  <a:lnTo>
                    <a:pt x="239" y="319"/>
                  </a:lnTo>
                  <a:lnTo>
                    <a:pt x="234" y="322"/>
                  </a:lnTo>
                  <a:lnTo>
                    <a:pt x="236" y="322"/>
                  </a:lnTo>
                  <a:lnTo>
                    <a:pt x="239" y="322"/>
                  </a:lnTo>
                  <a:lnTo>
                    <a:pt x="242" y="321"/>
                  </a:lnTo>
                  <a:lnTo>
                    <a:pt x="242" y="323"/>
                  </a:lnTo>
                  <a:lnTo>
                    <a:pt x="239" y="325"/>
                  </a:lnTo>
                  <a:lnTo>
                    <a:pt x="239" y="326"/>
                  </a:lnTo>
                  <a:lnTo>
                    <a:pt x="242" y="326"/>
                  </a:lnTo>
                  <a:lnTo>
                    <a:pt x="244" y="327"/>
                  </a:lnTo>
                  <a:lnTo>
                    <a:pt x="245" y="325"/>
                  </a:lnTo>
                  <a:lnTo>
                    <a:pt x="247" y="325"/>
                  </a:lnTo>
                  <a:lnTo>
                    <a:pt x="245" y="329"/>
                  </a:lnTo>
                  <a:lnTo>
                    <a:pt x="246" y="331"/>
                  </a:lnTo>
                  <a:lnTo>
                    <a:pt x="248" y="328"/>
                  </a:lnTo>
                  <a:lnTo>
                    <a:pt x="250" y="328"/>
                  </a:lnTo>
                  <a:lnTo>
                    <a:pt x="251" y="327"/>
                  </a:lnTo>
                  <a:lnTo>
                    <a:pt x="252" y="327"/>
                  </a:lnTo>
                  <a:lnTo>
                    <a:pt x="252" y="329"/>
                  </a:lnTo>
                  <a:lnTo>
                    <a:pt x="253" y="329"/>
                  </a:lnTo>
                  <a:lnTo>
                    <a:pt x="253" y="326"/>
                  </a:lnTo>
                  <a:lnTo>
                    <a:pt x="254" y="326"/>
                  </a:lnTo>
                  <a:lnTo>
                    <a:pt x="254" y="329"/>
                  </a:lnTo>
                  <a:lnTo>
                    <a:pt x="256" y="329"/>
                  </a:lnTo>
                  <a:lnTo>
                    <a:pt x="257" y="332"/>
                  </a:lnTo>
                  <a:lnTo>
                    <a:pt x="257" y="334"/>
                  </a:lnTo>
                  <a:lnTo>
                    <a:pt x="253" y="334"/>
                  </a:lnTo>
                  <a:lnTo>
                    <a:pt x="253" y="337"/>
                  </a:lnTo>
                  <a:lnTo>
                    <a:pt x="256" y="337"/>
                  </a:lnTo>
                  <a:lnTo>
                    <a:pt x="256" y="338"/>
                  </a:lnTo>
                  <a:lnTo>
                    <a:pt x="248" y="338"/>
                  </a:lnTo>
                  <a:lnTo>
                    <a:pt x="250" y="340"/>
                  </a:lnTo>
                  <a:lnTo>
                    <a:pt x="248" y="341"/>
                  </a:lnTo>
                  <a:lnTo>
                    <a:pt x="247" y="341"/>
                  </a:lnTo>
                  <a:lnTo>
                    <a:pt x="246" y="340"/>
                  </a:lnTo>
                  <a:lnTo>
                    <a:pt x="245" y="340"/>
                  </a:lnTo>
                  <a:lnTo>
                    <a:pt x="245" y="345"/>
                  </a:lnTo>
                  <a:lnTo>
                    <a:pt x="239" y="350"/>
                  </a:lnTo>
                  <a:lnTo>
                    <a:pt x="239" y="347"/>
                  </a:lnTo>
                  <a:lnTo>
                    <a:pt x="235" y="347"/>
                  </a:lnTo>
                  <a:lnTo>
                    <a:pt x="236" y="350"/>
                  </a:lnTo>
                  <a:lnTo>
                    <a:pt x="234" y="349"/>
                  </a:lnTo>
                  <a:lnTo>
                    <a:pt x="232" y="347"/>
                  </a:lnTo>
                  <a:lnTo>
                    <a:pt x="230" y="347"/>
                  </a:lnTo>
                  <a:lnTo>
                    <a:pt x="228" y="350"/>
                  </a:lnTo>
                  <a:lnTo>
                    <a:pt x="232" y="350"/>
                  </a:lnTo>
                  <a:lnTo>
                    <a:pt x="232" y="353"/>
                  </a:lnTo>
                  <a:lnTo>
                    <a:pt x="230" y="355"/>
                  </a:lnTo>
                  <a:lnTo>
                    <a:pt x="232" y="355"/>
                  </a:lnTo>
                  <a:lnTo>
                    <a:pt x="233" y="352"/>
                  </a:lnTo>
                  <a:lnTo>
                    <a:pt x="234" y="351"/>
                  </a:lnTo>
                  <a:lnTo>
                    <a:pt x="235" y="351"/>
                  </a:lnTo>
                  <a:lnTo>
                    <a:pt x="233" y="355"/>
                  </a:lnTo>
                  <a:lnTo>
                    <a:pt x="234" y="355"/>
                  </a:lnTo>
                  <a:lnTo>
                    <a:pt x="235" y="353"/>
                  </a:lnTo>
                  <a:lnTo>
                    <a:pt x="239" y="355"/>
                  </a:lnTo>
                  <a:lnTo>
                    <a:pt x="235" y="356"/>
                  </a:lnTo>
                  <a:lnTo>
                    <a:pt x="234" y="358"/>
                  </a:lnTo>
                  <a:lnTo>
                    <a:pt x="235" y="359"/>
                  </a:lnTo>
                  <a:lnTo>
                    <a:pt x="235" y="362"/>
                  </a:lnTo>
                  <a:lnTo>
                    <a:pt x="235" y="364"/>
                  </a:lnTo>
                  <a:lnTo>
                    <a:pt x="233" y="367"/>
                  </a:lnTo>
                  <a:lnTo>
                    <a:pt x="233" y="368"/>
                  </a:lnTo>
                  <a:lnTo>
                    <a:pt x="232" y="368"/>
                  </a:lnTo>
                  <a:lnTo>
                    <a:pt x="229" y="368"/>
                  </a:lnTo>
                  <a:lnTo>
                    <a:pt x="228" y="370"/>
                  </a:lnTo>
                  <a:lnTo>
                    <a:pt x="226" y="373"/>
                  </a:lnTo>
                  <a:lnTo>
                    <a:pt x="222" y="370"/>
                  </a:lnTo>
                  <a:lnTo>
                    <a:pt x="224" y="374"/>
                  </a:lnTo>
                  <a:lnTo>
                    <a:pt x="217" y="381"/>
                  </a:lnTo>
                  <a:lnTo>
                    <a:pt x="217" y="384"/>
                  </a:lnTo>
                  <a:lnTo>
                    <a:pt x="216" y="384"/>
                  </a:lnTo>
                  <a:lnTo>
                    <a:pt x="211" y="388"/>
                  </a:lnTo>
                  <a:lnTo>
                    <a:pt x="209" y="390"/>
                  </a:lnTo>
                  <a:lnTo>
                    <a:pt x="205" y="391"/>
                  </a:lnTo>
                  <a:lnTo>
                    <a:pt x="206" y="392"/>
                  </a:lnTo>
                  <a:lnTo>
                    <a:pt x="205" y="393"/>
                  </a:lnTo>
                  <a:lnTo>
                    <a:pt x="206" y="393"/>
                  </a:lnTo>
                  <a:lnTo>
                    <a:pt x="200" y="397"/>
                  </a:lnTo>
                  <a:lnTo>
                    <a:pt x="201" y="398"/>
                  </a:lnTo>
                  <a:lnTo>
                    <a:pt x="209" y="396"/>
                  </a:lnTo>
                  <a:lnTo>
                    <a:pt x="210" y="396"/>
                  </a:lnTo>
                  <a:lnTo>
                    <a:pt x="201" y="403"/>
                  </a:lnTo>
                  <a:lnTo>
                    <a:pt x="199" y="402"/>
                  </a:lnTo>
                  <a:lnTo>
                    <a:pt x="199" y="405"/>
                  </a:lnTo>
                  <a:lnTo>
                    <a:pt x="194" y="406"/>
                  </a:lnTo>
                  <a:lnTo>
                    <a:pt x="198" y="408"/>
                  </a:lnTo>
                  <a:lnTo>
                    <a:pt x="197" y="409"/>
                  </a:lnTo>
                  <a:lnTo>
                    <a:pt x="191" y="409"/>
                  </a:lnTo>
                  <a:lnTo>
                    <a:pt x="187" y="414"/>
                  </a:lnTo>
                  <a:lnTo>
                    <a:pt x="185" y="415"/>
                  </a:lnTo>
                  <a:lnTo>
                    <a:pt x="187" y="415"/>
                  </a:lnTo>
                  <a:lnTo>
                    <a:pt x="182" y="421"/>
                  </a:lnTo>
                  <a:lnTo>
                    <a:pt x="182" y="422"/>
                  </a:lnTo>
                  <a:lnTo>
                    <a:pt x="187" y="417"/>
                  </a:lnTo>
                  <a:lnTo>
                    <a:pt x="188" y="418"/>
                  </a:lnTo>
                  <a:lnTo>
                    <a:pt x="191" y="420"/>
                  </a:lnTo>
                  <a:lnTo>
                    <a:pt x="191" y="418"/>
                  </a:lnTo>
                  <a:lnTo>
                    <a:pt x="191" y="421"/>
                  </a:lnTo>
                  <a:lnTo>
                    <a:pt x="193" y="421"/>
                  </a:lnTo>
                  <a:lnTo>
                    <a:pt x="193" y="417"/>
                  </a:lnTo>
                  <a:lnTo>
                    <a:pt x="192" y="416"/>
                  </a:lnTo>
                  <a:lnTo>
                    <a:pt x="193" y="416"/>
                  </a:lnTo>
                  <a:lnTo>
                    <a:pt x="194" y="415"/>
                  </a:lnTo>
                  <a:lnTo>
                    <a:pt x="194" y="412"/>
                  </a:lnTo>
                  <a:lnTo>
                    <a:pt x="197" y="412"/>
                  </a:lnTo>
                  <a:lnTo>
                    <a:pt x="197" y="415"/>
                  </a:lnTo>
                  <a:lnTo>
                    <a:pt x="198" y="410"/>
                  </a:lnTo>
                  <a:lnTo>
                    <a:pt x="199" y="410"/>
                  </a:lnTo>
                  <a:lnTo>
                    <a:pt x="199" y="421"/>
                  </a:lnTo>
                  <a:lnTo>
                    <a:pt x="200" y="422"/>
                  </a:lnTo>
                  <a:lnTo>
                    <a:pt x="201" y="418"/>
                  </a:lnTo>
                  <a:lnTo>
                    <a:pt x="204" y="418"/>
                  </a:lnTo>
                  <a:lnTo>
                    <a:pt x="204" y="422"/>
                  </a:lnTo>
                  <a:lnTo>
                    <a:pt x="205" y="421"/>
                  </a:lnTo>
                  <a:lnTo>
                    <a:pt x="207" y="421"/>
                  </a:lnTo>
                  <a:lnTo>
                    <a:pt x="207" y="417"/>
                  </a:lnTo>
                  <a:lnTo>
                    <a:pt x="207" y="415"/>
                  </a:lnTo>
                  <a:lnTo>
                    <a:pt x="207" y="412"/>
                  </a:lnTo>
                  <a:lnTo>
                    <a:pt x="209" y="412"/>
                  </a:lnTo>
                  <a:lnTo>
                    <a:pt x="210" y="412"/>
                  </a:lnTo>
                  <a:lnTo>
                    <a:pt x="211" y="406"/>
                  </a:lnTo>
                  <a:lnTo>
                    <a:pt x="214" y="406"/>
                  </a:lnTo>
                  <a:lnTo>
                    <a:pt x="215" y="406"/>
                  </a:lnTo>
                  <a:lnTo>
                    <a:pt x="216" y="409"/>
                  </a:lnTo>
                  <a:lnTo>
                    <a:pt x="217" y="411"/>
                  </a:lnTo>
                  <a:lnTo>
                    <a:pt x="218" y="410"/>
                  </a:lnTo>
                  <a:lnTo>
                    <a:pt x="218" y="408"/>
                  </a:lnTo>
                  <a:lnTo>
                    <a:pt x="218" y="404"/>
                  </a:lnTo>
                  <a:lnTo>
                    <a:pt x="220" y="403"/>
                  </a:lnTo>
                  <a:lnTo>
                    <a:pt x="221" y="405"/>
                  </a:lnTo>
                  <a:lnTo>
                    <a:pt x="222" y="405"/>
                  </a:lnTo>
                  <a:lnTo>
                    <a:pt x="222" y="404"/>
                  </a:lnTo>
                  <a:lnTo>
                    <a:pt x="224" y="404"/>
                  </a:lnTo>
                  <a:lnTo>
                    <a:pt x="224" y="405"/>
                  </a:lnTo>
                  <a:lnTo>
                    <a:pt x="223" y="409"/>
                  </a:lnTo>
                  <a:lnTo>
                    <a:pt x="220" y="412"/>
                  </a:lnTo>
                  <a:lnTo>
                    <a:pt x="215" y="414"/>
                  </a:lnTo>
                  <a:lnTo>
                    <a:pt x="218" y="415"/>
                  </a:lnTo>
                  <a:lnTo>
                    <a:pt x="215" y="420"/>
                  </a:lnTo>
                  <a:lnTo>
                    <a:pt x="212" y="421"/>
                  </a:lnTo>
                  <a:lnTo>
                    <a:pt x="210" y="426"/>
                  </a:lnTo>
                  <a:lnTo>
                    <a:pt x="204" y="429"/>
                  </a:lnTo>
                  <a:lnTo>
                    <a:pt x="204" y="430"/>
                  </a:lnTo>
                  <a:lnTo>
                    <a:pt x="199" y="435"/>
                  </a:lnTo>
                  <a:lnTo>
                    <a:pt x="199" y="436"/>
                  </a:lnTo>
                  <a:lnTo>
                    <a:pt x="203" y="434"/>
                  </a:lnTo>
                  <a:lnTo>
                    <a:pt x="203" y="435"/>
                  </a:lnTo>
                  <a:lnTo>
                    <a:pt x="198" y="440"/>
                  </a:lnTo>
                  <a:lnTo>
                    <a:pt x="204" y="436"/>
                  </a:lnTo>
                  <a:lnTo>
                    <a:pt x="205" y="436"/>
                  </a:lnTo>
                  <a:lnTo>
                    <a:pt x="206" y="440"/>
                  </a:lnTo>
                  <a:lnTo>
                    <a:pt x="205" y="434"/>
                  </a:lnTo>
                  <a:lnTo>
                    <a:pt x="206" y="433"/>
                  </a:lnTo>
                  <a:lnTo>
                    <a:pt x="210" y="436"/>
                  </a:lnTo>
                  <a:lnTo>
                    <a:pt x="209" y="432"/>
                  </a:lnTo>
                  <a:lnTo>
                    <a:pt x="210" y="430"/>
                  </a:lnTo>
                  <a:lnTo>
                    <a:pt x="211" y="433"/>
                  </a:lnTo>
                  <a:lnTo>
                    <a:pt x="212" y="436"/>
                  </a:lnTo>
                  <a:lnTo>
                    <a:pt x="214" y="427"/>
                  </a:lnTo>
                  <a:lnTo>
                    <a:pt x="215" y="436"/>
                  </a:lnTo>
                  <a:lnTo>
                    <a:pt x="215" y="439"/>
                  </a:lnTo>
                  <a:lnTo>
                    <a:pt x="216" y="439"/>
                  </a:lnTo>
                  <a:lnTo>
                    <a:pt x="217" y="436"/>
                  </a:lnTo>
                  <a:lnTo>
                    <a:pt x="216" y="429"/>
                  </a:lnTo>
                  <a:lnTo>
                    <a:pt x="218" y="432"/>
                  </a:lnTo>
                  <a:lnTo>
                    <a:pt x="220" y="430"/>
                  </a:lnTo>
                  <a:lnTo>
                    <a:pt x="217" y="421"/>
                  </a:lnTo>
                  <a:lnTo>
                    <a:pt x="218" y="418"/>
                  </a:lnTo>
                  <a:lnTo>
                    <a:pt x="218" y="423"/>
                  </a:lnTo>
                  <a:lnTo>
                    <a:pt x="220" y="428"/>
                  </a:lnTo>
                  <a:lnTo>
                    <a:pt x="222" y="428"/>
                  </a:lnTo>
                  <a:lnTo>
                    <a:pt x="220" y="418"/>
                  </a:lnTo>
                  <a:lnTo>
                    <a:pt x="221" y="417"/>
                  </a:lnTo>
                  <a:lnTo>
                    <a:pt x="222" y="422"/>
                  </a:lnTo>
                  <a:lnTo>
                    <a:pt x="222" y="424"/>
                  </a:lnTo>
                  <a:lnTo>
                    <a:pt x="223" y="424"/>
                  </a:lnTo>
                  <a:lnTo>
                    <a:pt x="222" y="414"/>
                  </a:lnTo>
                  <a:lnTo>
                    <a:pt x="223" y="412"/>
                  </a:lnTo>
                  <a:lnTo>
                    <a:pt x="223" y="422"/>
                  </a:lnTo>
                  <a:lnTo>
                    <a:pt x="223" y="424"/>
                  </a:lnTo>
                  <a:lnTo>
                    <a:pt x="224" y="426"/>
                  </a:lnTo>
                  <a:lnTo>
                    <a:pt x="227" y="427"/>
                  </a:lnTo>
                  <a:lnTo>
                    <a:pt x="229" y="426"/>
                  </a:lnTo>
                  <a:lnTo>
                    <a:pt x="229" y="418"/>
                  </a:lnTo>
                  <a:lnTo>
                    <a:pt x="229" y="417"/>
                  </a:lnTo>
                  <a:lnTo>
                    <a:pt x="232" y="416"/>
                  </a:lnTo>
                  <a:lnTo>
                    <a:pt x="234" y="417"/>
                  </a:lnTo>
                  <a:lnTo>
                    <a:pt x="234" y="414"/>
                  </a:lnTo>
                  <a:lnTo>
                    <a:pt x="233" y="410"/>
                  </a:lnTo>
                  <a:lnTo>
                    <a:pt x="234" y="409"/>
                  </a:lnTo>
                  <a:lnTo>
                    <a:pt x="234" y="410"/>
                  </a:lnTo>
                  <a:lnTo>
                    <a:pt x="235" y="412"/>
                  </a:lnTo>
                  <a:lnTo>
                    <a:pt x="236" y="416"/>
                  </a:lnTo>
                  <a:lnTo>
                    <a:pt x="239" y="416"/>
                  </a:lnTo>
                  <a:lnTo>
                    <a:pt x="239" y="412"/>
                  </a:lnTo>
                  <a:lnTo>
                    <a:pt x="242" y="412"/>
                  </a:lnTo>
                  <a:lnTo>
                    <a:pt x="244" y="414"/>
                  </a:lnTo>
                  <a:lnTo>
                    <a:pt x="244" y="416"/>
                  </a:lnTo>
                  <a:lnTo>
                    <a:pt x="241" y="418"/>
                  </a:lnTo>
                  <a:lnTo>
                    <a:pt x="239" y="422"/>
                  </a:lnTo>
                  <a:lnTo>
                    <a:pt x="241" y="421"/>
                  </a:lnTo>
                  <a:lnTo>
                    <a:pt x="239" y="423"/>
                  </a:lnTo>
                  <a:lnTo>
                    <a:pt x="239" y="426"/>
                  </a:lnTo>
                  <a:lnTo>
                    <a:pt x="234" y="430"/>
                  </a:lnTo>
                  <a:lnTo>
                    <a:pt x="232" y="433"/>
                  </a:lnTo>
                  <a:lnTo>
                    <a:pt x="228" y="433"/>
                  </a:lnTo>
                  <a:lnTo>
                    <a:pt x="230" y="434"/>
                  </a:lnTo>
                  <a:lnTo>
                    <a:pt x="230" y="435"/>
                  </a:lnTo>
                  <a:lnTo>
                    <a:pt x="224" y="436"/>
                  </a:lnTo>
                  <a:lnTo>
                    <a:pt x="223" y="438"/>
                  </a:lnTo>
                  <a:lnTo>
                    <a:pt x="224" y="438"/>
                  </a:lnTo>
                  <a:lnTo>
                    <a:pt x="226" y="438"/>
                  </a:lnTo>
                  <a:lnTo>
                    <a:pt x="226" y="439"/>
                  </a:lnTo>
                  <a:lnTo>
                    <a:pt x="224" y="439"/>
                  </a:lnTo>
                  <a:lnTo>
                    <a:pt x="224" y="440"/>
                  </a:lnTo>
                  <a:lnTo>
                    <a:pt x="222" y="442"/>
                  </a:lnTo>
                  <a:lnTo>
                    <a:pt x="222" y="444"/>
                  </a:lnTo>
                  <a:lnTo>
                    <a:pt x="221" y="444"/>
                  </a:lnTo>
                  <a:lnTo>
                    <a:pt x="220" y="444"/>
                  </a:lnTo>
                  <a:lnTo>
                    <a:pt x="218" y="441"/>
                  </a:lnTo>
                  <a:lnTo>
                    <a:pt x="217" y="440"/>
                  </a:lnTo>
                  <a:lnTo>
                    <a:pt x="217" y="441"/>
                  </a:lnTo>
                  <a:lnTo>
                    <a:pt x="217" y="444"/>
                  </a:lnTo>
                  <a:lnTo>
                    <a:pt x="212" y="442"/>
                  </a:lnTo>
                  <a:lnTo>
                    <a:pt x="211" y="442"/>
                  </a:lnTo>
                  <a:lnTo>
                    <a:pt x="211" y="444"/>
                  </a:lnTo>
                  <a:lnTo>
                    <a:pt x="215" y="445"/>
                  </a:lnTo>
                  <a:lnTo>
                    <a:pt x="216" y="445"/>
                  </a:lnTo>
                  <a:lnTo>
                    <a:pt x="215" y="446"/>
                  </a:lnTo>
                  <a:lnTo>
                    <a:pt x="211" y="448"/>
                  </a:lnTo>
                  <a:lnTo>
                    <a:pt x="215" y="450"/>
                  </a:lnTo>
                  <a:lnTo>
                    <a:pt x="214" y="451"/>
                  </a:lnTo>
                  <a:lnTo>
                    <a:pt x="212" y="452"/>
                  </a:lnTo>
                  <a:lnTo>
                    <a:pt x="211" y="452"/>
                  </a:lnTo>
                  <a:lnTo>
                    <a:pt x="210" y="452"/>
                  </a:lnTo>
                  <a:lnTo>
                    <a:pt x="209" y="451"/>
                  </a:lnTo>
                  <a:lnTo>
                    <a:pt x="209" y="452"/>
                  </a:lnTo>
                  <a:lnTo>
                    <a:pt x="209" y="453"/>
                  </a:lnTo>
                  <a:lnTo>
                    <a:pt x="210" y="453"/>
                  </a:lnTo>
                  <a:lnTo>
                    <a:pt x="209" y="454"/>
                  </a:lnTo>
                  <a:lnTo>
                    <a:pt x="207" y="454"/>
                  </a:lnTo>
                  <a:lnTo>
                    <a:pt x="204" y="453"/>
                  </a:lnTo>
                  <a:lnTo>
                    <a:pt x="203" y="453"/>
                  </a:lnTo>
                  <a:lnTo>
                    <a:pt x="203" y="454"/>
                  </a:lnTo>
                  <a:lnTo>
                    <a:pt x="206" y="456"/>
                  </a:lnTo>
                  <a:lnTo>
                    <a:pt x="207" y="456"/>
                  </a:lnTo>
                  <a:lnTo>
                    <a:pt x="206" y="457"/>
                  </a:lnTo>
                  <a:lnTo>
                    <a:pt x="203" y="460"/>
                  </a:lnTo>
                  <a:lnTo>
                    <a:pt x="209" y="457"/>
                  </a:lnTo>
                  <a:lnTo>
                    <a:pt x="210" y="457"/>
                  </a:lnTo>
                  <a:lnTo>
                    <a:pt x="210" y="458"/>
                  </a:lnTo>
                  <a:lnTo>
                    <a:pt x="210" y="462"/>
                  </a:lnTo>
                  <a:lnTo>
                    <a:pt x="209" y="463"/>
                  </a:lnTo>
                  <a:lnTo>
                    <a:pt x="205" y="463"/>
                  </a:lnTo>
                  <a:lnTo>
                    <a:pt x="203" y="463"/>
                  </a:lnTo>
                  <a:lnTo>
                    <a:pt x="199" y="464"/>
                  </a:lnTo>
                  <a:lnTo>
                    <a:pt x="197" y="464"/>
                  </a:lnTo>
                  <a:lnTo>
                    <a:pt x="194" y="464"/>
                  </a:lnTo>
                  <a:lnTo>
                    <a:pt x="193" y="465"/>
                  </a:lnTo>
                  <a:lnTo>
                    <a:pt x="199" y="465"/>
                  </a:lnTo>
                  <a:lnTo>
                    <a:pt x="199" y="466"/>
                  </a:lnTo>
                  <a:lnTo>
                    <a:pt x="195" y="468"/>
                  </a:lnTo>
                  <a:lnTo>
                    <a:pt x="194" y="468"/>
                  </a:lnTo>
                  <a:lnTo>
                    <a:pt x="199" y="469"/>
                  </a:lnTo>
                  <a:lnTo>
                    <a:pt x="200" y="469"/>
                  </a:lnTo>
                  <a:lnTo>
                    <a:pt x="201" y="470"/>
                  </a:lnTo>
                  <a:lnTo>
                    <a:pt x="201" y="472"/>
                  </a:lnTo>
                  <a:lnTo>
                    <a:pt x="201" y="474"/>
                  </a:lnTo>
                  <a:lnTo>
                    <a:pt x="203" y="474"/>
                  </a:lnTo>
                  <a:lnTo>
                    <a:pt x="203" y="472"/>
                  </a:lnTo>
                  <a:lnTo>
                    <a:pt x="203" y="468"/>
                  </a:lnTo>
                  <a:lnTo>
                    <a:pt x="201" y="468"/>
                  </a:lnTo>
                  <a:lnTo>
                    <a:pt x="203" y="466"/>
                  </a:lnTo>
                  <a:lnTo>
                    <a:pt x="204" y="466"/>
                  </a:lnTo>
                  <a:lnTo>
                    <a:pt x="204" y="471"/>
                  </a:lnTo>
                  <a:lnTo>
                    <a:pt x="205" y="469"/>
                  </a:lnTo>
                  <a:lnTo>
                    <a:pt x="206" y="468"/>
                  </a:lnTo>
                  <a:lnTo>
                    <a:pt x="206" y="466"/>
                  </a:lnTo>
                  <a:lnTo>
                    <a:pt x="207" y="465"/>
                  </a:lnTo>
                  <a:lnTo>
                    <a:pt x="207" y="470"/>
                  </a:lnTo>
                  <a:lnTo>
                    <a:pt x="209" y="470"/>
                  </a:lnTo>
                  <a:lnTo>
                    <a:pt x="209" y="471"/>
                  </a:lnTo>
                  <a:lnTo>
                    <a:pt x="206" y="471"/>
                  </a:lnTo>
                  <a:lnTo>
                    <a:pt x="205" y="474"/>
                  </a:lnTo>
                  <a:lnTo>
                    <a:pt x="205" y="475"/>
                  </a:lnTo>
                  <a:lnTo>
                    <a:pt x="206" y="476"/>
                  </a:lnTo>
                  <a:lnTo>
                    <a:pt x="203" y="476"/>
                  </a:lnTo>
                  <a:lnTo>
                    <a:pt x="201" y="476"/>
                  </a:lnTo>
                  <a:lnTo>
                    <a:pt x="199" y="475"/>
                  </a:lnTo>
                  <a:lnTo>
                    <a:pt x="198" y="475"/>
                  </a:lnTo>
                  <a:lnTo>
                    <a:pt x="197" y="476"/>
                  </a:lnTo>
                  <a:lnTo>
                    <a:pt x="193" y="471"/>
                  </a:lnTo>
                  <a:lnTo>
                    <a:pt x="192" y="472"/>
                  </a:lnTo>
                  <a:lnTo>
                    <a:pt x="194" y="476"/>
                  </a:lnTo>
                  <a:lnTo>
                    <a:pt x="192" y="476"/>
                  </a:lnTo>
                  <a:lnTo>
                    <a:pt x="191" y="474"/>
                  </a:lnTo>
                  <a:lnTo>
                    <a:pt x="189" y="474"/>
                  </a:lnTo>
                  <a:lnTo>
                    <a:pt x="188" y="475"/>
                  </a:lnTo>
                  <a:lnTo>
                    <a:pt x="188" y="476"/>
                  </a:lnTo>
                  <a:lnTo>
                    <a:pt x="187" y="478"/>
                  </a:lnTo>
                  <a:lnTo>
                    <a:pt x="186" y="478"/>
                  </a:lnTo>
                  <a:lnTo>
                    <a:pt x="188" y="480"/>
                  </a:lnTo>
                  <a:lnTo>
                    <a:pt x="189" y="478"/>
                  </a:lnTo>
                  <a:lnTo>
                    <a:pt x="191" y="478"/>
                  </a:lnTo>
                  <a:lnTo>
                    <a:pt x="192" y="477"/>
                  </a:lnTo>
                  <a:lnTo>
                    <a:pt x="193" y="478"/>
                  </a:lnTo>
                  <a:lnTo>
                    <a:pt x="193" y="480"/>
                  </a:lnTo>
                  <a:lnTo>
                    <a:pt x="191" y="483"/>
                  </a:lnTo>
                  <a:lnTo>
                    <a:pt x="186" y="484"/>
                  </a:lnTo>
                  <a:lnTo>
                    <a:pt x="182" y="482"/>
                  </a:lnTo>
                  <a:lnTo>
                    <a:pt x="176" y="482"/>
                  </a:lnTo>
                  <a:lnTo>
                    <a:pt x="173" y="486"/>
                  </a:lnTo>
                  <a:lnTo>
                    <a:pt x="171" y="487"/>
                  </a:lnTo>
                  <a:lnTo>
                    <a:pt x="169" y="487"/>
                  </a:lnTo>
                  <a:lnTo>
                    <a:pt x="168" y="488"/>
                  </a:lnTo>
                  <a:lnTo>
                    <a:pt x="167" y="487"/>
                  </a:lnTo>
                  <a:lnTo>
                    <a:pt x="165" y="489"/>
                  </a:lnTo>
                  <a:lnTo>
                    <a:pt x="163" y="492"/>
                  </a:lnTo>
                  <a:lnTo>
                    <a:pt x="163" y="493"/>
                  </a:lnTo>
                  <a:lnTo>
                    <a:pt x="161" y="493"/>
                  </a:lnTo>
                  <a:lnTo>
                    <a:pt x="158" y="493"/>
                  </a:lnTo>
                  <a:lnTo>
                    <a:pt x="158" y="492"/>
                  </a:lnTo>
                  <a:lnTo>
                    <a:pt x="158" y="489"/>
                  </a:lnTo>
                  <a:lnTo>
                    <a:pt x="156" y="488"/>
                  </a:lnTo>
                  <a:lnTo>
                    <a:pt x="156" y="489"/>
                  </a:lnTo>
                  <a:lnTo>
                    <a:pt x="156" y="491"/>
                  </a:lnTo>
                  <a:lnTo>
                    <a:pt x="157" y="493"/>
                  </a:lnTo>
                  <a:lnTo>
                    <a:pt x="158" y="495"/>
                  </a:lnTo>
                  <a:lnTo>
                    <a:pt x="157" y="497"/>
                  </a:lnTo>
                  <a:lnTo>
                    <a:pt x="156" y="498"/>
                  </a:lnTo>
                  <a:lnTo>
                    <a:pt x="153" y="498"/>
                  </a:lnTo>
                  <a:lnTo>
                    <a:pt x="152" y="497"/>
                  </a:lnTo>
                  <a:lnTo>
                    <a:pt x="150" y="497"/>
                  </a:lnTo>
                  <a:lnTo>
                    <a:pt x="147" y="499"/>
                  </a:lnTo>
                  <a:lnTo>
                    <a:pt x="150" y="499"/>
                  </a:lnTo>
                  <a:lnTo>
                    <a:pt x="153" y="499"/>
                  </a:lnTo>
                  <a:lnTo>
                    <a:pt x="152" y="500"/>
                  </a:lnTo>
                  <a:lnTo>
                    <a:pt x="147" y="505"/>
                  </a:lnTo>
                  <a:lnTo>
                    <a:pt x="146" y="504"/>
                  </a:lnTo>
                  <a:lnTo>
                    <a:pt x="145" y="505"/>
                  </a:lnTo>
                  <a:lnTo>
                    <a:pt x="144" y="506"/>
                  </a:lnTo>
                  <a:lnTo>
                    <a:pt x="138" y="506"/>
                  </a:lnTo>
                  <a:lnTo>
                    <a:pt x="134" y="506"/>
                  </a:lnTo>
                  <a:lnTo>
                    <a:pt x="133" y="506"/>
                  </a:lnTo>
                  <a:lnTo>
                    <a:pt x="130" y="506"/>
                  </a:lnTo>
                  <a:lnTo>
                    <a:pt x="130" y="507"/>
                  </a:lnTo>
                  <a:lnTo>
                    <a:pt x="133" y="507"/>
                  </a:lnTo>
                  <a:lnTo>
                    <a:pt x="135" y="509"/>
                  </a:lnTo>
                  <a:lnTo>
                    <a:pt x="132" y="512"/>
                  </a:lnTo>
                  <a:lnTo>
                    <a:pt x="132" y="513"/>
                  </a:lnTo>
                  <a:lnTo>
                    <a:pt x="133" y="513"/>
                  </a:lnTo>
                  <a:lnTo>
                    <a:pt x="136" y="510"/>
                  </a:lnTo>
                  <a:lnTo>
                    <a:pt x="138" y="510"/>
                  </a:lnTo>
                  <a:lnTo>
                    <a:pt x="139" y="510"/>
                  </a:lnTo>
                  <a:lnTo>
                    <a:pt x="139" y="511"/>
                  </a:lnTo>
                  <a:lnTo>
                    <a:pt x="138" y="512"/>
                  </a:lnTo>
                  <a:lnTo>
                    <a:pt x="138" y="513"/>
                  </a:lnTo>
                  <a:lnTo>
                    <a:pt x="139" y="513"/>
                  </a:lnTo>
                  <a:lnTo>
                    <a:pt x="140" y="511"/>
                  </a:lnTo>
                  <a:lnTo>
                    <a:pt x="140" y="510"/>
                  </a:lnTo>
                  <a:lnTo>
                    <a:pt x="142" y="507"/>
                  </a:lnTo>
                  <a:lnTo>
                    <a:pt x="146" y="507"/>
                  </a:lnTo>
                  <a:lnTo>
                    <a:pt x="146" y="510"/>
                  </a:lnTo>
                  <a:lnTo>
                    <a:pt x="141" y="513"/>
                  </a:lnTo>
                  <a:lnTo>
                    <a:pt x="140" y="516"/>
                  </a:lnTo>
                  <a:lnTo>
                    <a:pt x="133" y="521"/>
                  </a:lnTo>
                  <a:lnTo>
                    <a:pt x="133" y="522"/>
                  </a:lnTo>
                  <a:lnTo>
                    <a:pt x="138" y="519"/>
                  </a:lnTo>
                  <a:lnTo>
                    <a:pt x="139" y="519"/>
                  </a:lnTo>
                  <a:lnTo>
                    <a:pt x="139" y="522"/>
                  </a:lnTo>
                  <a:lnTo>
                    <a:pt x="140" y="522"/>
                  </a:lnTo>
                  <a:lnTo>
                    <a:pt x="140" y="518"/>
                  </a:lnTo>
                  <a:lnTo>
                    <a:pt x="141" y="517"/>
                  </a:lnTo>
                  <a:lnTo>
                    <a:pt x="142" y="517"/>
                  </a:lnTo>
                  <a:lnTo>
                    <a:pt x="144" y="522"/>
                  </a:lnTo>
                  <a:lnTo>
                    <a:pt x="145" y="525"/>
                  </a:lnTo>
                  <a:lnTo>
                    <a:pt x="146" y="527"/>
                  </a:lnTo>
                  <a:lnTo>
                    <a:pt x="147" y="527"/>
                  </a:lnTo>
                  <a:lnTo>
                    <a:pt x="149" y="528"/>
                  </a:lnTo>
                  <a:lnTo>
                    <a:pt x="149" y="523"/>
                  </a:lnTo>
                  <a:lnTo>
                    <a:pt x="152" y="522"/>
                  </a:lnTo>
                  <a:lnTo>
                    <a:pt x="153" y="521"/>
                  </a:lnTo>
                  <a:lnTo>
                    <a:pt x="153" y="518"/>
                  </a:lnTo>
                  <a:lnTo>
                    <a:pt x="155" y="517"/>
                  </a:lnTo>
                  <a:lnTo>
                    <a:pt x="155" y="518"/>
                  </a:lnTo>
                  <a:lnTo>
                    <a:pt x="157" y="519"/>
                  </a:lnTo>
                  <a:lnTo>
                    <a:pt x="158" y="522"/>
                  </a:lnTo>
                  <a:lnTo>
                    <a:pt x="159" y="523"/>
                  </a:lnTo>
                  <a:lnTo>
                    <a:pt x="159" y="528"/>
                  </a:lnTo>
                  <a:lnTo>
                    <a:pt x="161" y="528"/>
                  </a:lnTo>
                  <a:lnTo>
                    <a:pt x="162" y="528"/>
                  </a:lnTo>
                  <a:lnTo>
                    <a:pt x="162" y="527"/>
                  </a:lnTo>
                  <a:lnTo>
                    <a:pt x="162" y="519"/>
                  </a:lnTo>
                  <a:lnTo>
                    <a:pt x="163" y="518"/>
                  </a:lnTo>
                  <a:lnTo>
                    <a:pt x="163" y="524"/>
                  </a:lnTo>
                  <a:lnTo>
                    <a:pt x="164" y="524"/>
                  </a:lnTo>
                  <a:lnTo>
                    <a:pt x="164" y="523"/>
                  </a:lnTo>
                  <a:lnTo>
                    <a:pt x="165" y="521"/>
                  </a:lnTo>
                  <a:lnTo>
                    <a:pt x="165" y="519"/>
                  </a:lnTo>
                  <a:lnTo>
                    <a:pt x="167" y="519"/>
                  </a:lnTo>
                  <a:lnTo>
                    <a:pt x="168" y="521"/>
                  </a:lnTo>
                  <a:lnTo>
                    <a:pt x="168" y="522"/>
                  </a:lnTo>
                  <a:lnTo>
                    <a:pt x="169" y="521"/>
                  </a:lnTo>
                  <a:lnTo>
                    <a:pt x="170" y="519"/>
                  </a:lnTo>
                  <a:lnTo>
                    <a:pt x="169" y="518"/>
                  </a:lnTo>
                  <a:lnTo>
                    <a:pt x="168" y="516"/>
                  </a:lnTo>
                  <a:lnTo>
                    <a:pt x="169" y="515"/>
                  </a:lnTo>
                  <a:lnTo>
                    <a:pt x="169" y="512"/>
                  </a:lnTo>
                  <a:lnTo>
                    <a:pt x="169" y="511"/>
                  </a:lnTo>
                  <a:lnTo>
                    <a:pt x="170" y="511"/>
                  </a:lnTo>
                  <a:lnTo>
                    <a:pt x="171" y="511"/>
                  </a:lnTo>
                  <a:lnTo>
                    <a:pt x="170" y="512"/>
                  </a:lnTo>
                  <a:lnTo>
                    <a:pt x="170" y="513"/>
                  </a:lnTo>
                  <a:lnTo>
                    <a:pt x="170" y="515"/>
                  </a:lnTo>
                  <a:lnTo>
                    <a:pt x="169" y="516"/>
                  </a:lnTo>
                  <a:lnTo>
                    <a:pt x="170" y="518"/>
                  </a:lnTo>
                  <a:lnTo>
                    <a:pt x="170" y="519"/>
                  </a:lnTo>
                  <a:lnTo>
                    <a:pt x="171" y="519"/>
                  </a:lnTo>
                  <a:lnTo>
                    <a:pt x="171" y="521"/>
                  </a:lnTo>
                  <a:lnTo>
                    <a:pt x="170" y="524"/>
                  </a:lnTo>
                  <a:lnTo>
                    <a:pt x="170" y="528"/>
                  </a:lnTo>
                  <a:lnTo>
                    <a:pt x="171" y="528"/>
                  </a:lnTo>
                  <a:lnTo>
                    <a:pt x="173" y="525"/>
                  </a:lnTo>
                  <a:lnTo>
                    <a:pt x="173" y="524"/>
                  </a:lnTo>
                  <a:lnTo>
                    <a:pt x="174" y="523"/>
                  </a:lnTo>
                  <a:lnTo>
                    <a:pt x="175" y="522"/>
                  </a:lnTo>
                  <a:lnTo>
                    <a:pt x="175" y="517"/>
                  </a:lnTo>
                  <a:lnTo>
                    <a:pt x="175" y="516"/>
                  </a:lnTo>
                  <a:lnTo>
                    <a:pt x="176" y="516"/>
                  </a:lnTo>
                  <a:lnTo>
                    <a:pt x="176" y="517"/>
                  </a:lnTo>
                  <a:lnTo>
                    <a:pt x="179" y="519"/>
                  </a:lnTo>
                  <a:lnTo>
                    <a:pt x="179" y="521"/>
                  </a:lnTo>
                  <a:lnTo>
                    <a:pt x="180" y="522"/>
                  </a:lnTo>
                  <a:lnTo>
                    <a:pt x="181" y="523"/>
                  </a:lnTo>
                  <a:lnTo>
                    <a:pt x="181" y="524"/>
                  </a:lnTo>
                  <a:lnTo>
                    <a:pt x="180" y="527"/>
                  </a:lnTo>
                  <a:lnTo>
                    <a:pt x="179" y="527"/>
                  </a:lnTo>
                  <a:lnTo>
                    <a:pt x="176" y="528"/>
                  </a:lnTo>
                  <a:lnTo>
                    <a:pt x="175" y="528"/>
                  </a:lnTo>
                  <a:lnTo>
                    <a:pt x="173" y="530"/>
                  </a:lnTo>
                  <a:lnTo>
                    <a:pt x="171" y="531"/>
                  </a:lnTo>
                  <a:lnTo>
                    <a:pt x="173" y="531"/>
                  </a:lnTo>
                  <a:lnTo>
                    <a:pt x="174" y="531"/>
                  </a:lnTo>
                  <a:lnTo>
                    <a:pt x="176" y="531"/>
                  </a:lnTo>
                  <a:lnTo>
                    <a:pt x="176" y="530"/>
                  </a:lnTo>
                  <a:lnTo>
                    <a:pt x="177" y="530"/>
                  </a:lnTo>
                  <a:lnTo>
                    <a:pt x="177" y="531"/>
                  </a:lnTo>
                  <a:lnTo>
                    <a:pt x="177" y="533"/>
                  </a:lnTo>
                  <a:lnTo>
                    <a:pt x="176" y="534"/>
                  </a:lnTo>
                  <a:lnTo>
                    <a:pt x="175" y="535"/>
                  </a:lnTo>
                  <a:lnTo>
                    <a:pt x="174" y="535"/>
                  </a:lnTo>
                  <a:lnTo>
                    <a:pt x="173" y="535"/>
                  </a:lnTo>
                  <a:lnTo>
                    <a:pt x="171" y="533"/>
                  </a:lnTo>
                  <a:lnTo>
                    <a:pt x="170" y="533"/>
                  </a:lnTo>
                  <a:lnTo>
                    <a:pt x="170" y="534"/>
                  </a:lnTo>
                  <a:lnTo>
                    <a:pt x="170" y="535"/>
                  </a:lnTo>
                  <a:lnTo>
                    <a:pt x="165" y="535"/>
                  </a:lnTo>
                  <a:lnTo>
                    <a:pt x="164" y="534"/>
                  </a:lnTo>
                  <a:lnTo>
                    <a:pt x="162" y="534"/>
                  </a:lnTo>
                  <a:lnTo>
                    <a:pt x="162" y="533"/>
                  </a:lnTo>
                  <a:lnTo>
                    <a:pt x="161" y="533"/>
                  </a:lnTo>
                  <a:lnTo>
                    <a:pt x="159" y="534"/>
                  </a:lnTo>
                  <a:lnTo>
                    <a:pt x="151" y="535"/>
                  </a:lnTo>
                  <a:lnTo>
                    <a:pt x="150" y="534"/>
                  </a:lnTo>
                  <a:lnTo>
                    <a:pt x="149" y="534"/>
                  </a:lnTo>
                  <a:lnTo>
                    <a:pt x="146" y="535"/>
                  </a:lnTo>
                  <a:lnTo>
                    <a:pt x="145" y="535"/>
                  </a:lnTo>
                  <a:lnTo>
                    <a:pt x="144" y="534"/>
                  </a:lnTo>
                  <a:lnTo>
                    <a:pt x="142" y="534"/>
                  </a:lnTo>
                  <a:lnTo>
                    <a:pt x="141" y="534"/>
                  </a:lnTo>
                  <a:lnTo>
                    <a:pt x="138" y="534"/>
                  </a:lnTo>
                  <a:lnTo>
                    <a:pt x="136" y="535"/>
                  </a:lnTo>
                  <a:lnTo>
                    <a:pt x="133" y="536"/>
                  </a:lnTo>
                  <a:lnTo>
                    <a:pt x="132" y="535"/>
                  </a:lnTo>
                  <a:lnTo>
                    <a:pt x="129" y="535"/>
                  </a:lnTo>
                  <a:lnTo>
                    <a:pt x="127" y="536"/>
                  </a:lnTo>
                  <a:lnTo>
                    <a:pt x="124" y="537"/>
                  </a:lnTo>
                  <a:lnTo>
                    <a:pt x="123" y="537"/>
                  </a:lnTo>
                  <a:lnTo>
                    <a:pt x="122" y="539"/>
                  </a:lnTo>
                  <a:lnTo>
                    <a:pt x="118" y="539"/>
                  </a:lnTo>
                  <a:lnTo>
                    <a:pt x="117" y="540"/>
                  </a:lnTo>
                  <a:lnTo>
                    <a:pt x="116" y="541"/>
                  </a:lnTo>
                  <a:lnTo>
                    <a:pt x="112" y="541"/>
                  </a:lnTo>
                  <a:lnTo>
                    <a:pt x="111" y="542"/>
                  </a:lnTo>
                  <a:lnTo>
                    <a:pt x="110" y="542"/>
                  </a:lnTo>
                  <a:lnTo>
                    <a:pt x="109" y="543"/>
                  </a:lnTo>
                  <a:lnTo>
                    <a:pt x="108" y="545"/>
                  </a:lnTo>
                  <a:lnTo>
                    <a:pt x="106" y="546"/>
                  </a:lnTo>
                  <a:lnTo>
                    <a:pt x="105" y="547"/>
                  </a:lnTo>
                  <a:lnTo>
                    <a:pt x="103" y="547"/>
                  </a:lnTo>
                  <a:lnTo>
                    <a:pt x="100" y="546"/>
                  </a:lnTo>
                  <a:lnTo>
                    <a:pt x="99" y="546"/>
                  </a:lnTo>
                  <a:lnTo>
                    <a:pt x="98" y="547"/>
                  </a:lnTo>
                  <a:lnTo>
                    <a:pt x="97" y="547"/>
                  </a:lnTo>
                  <a:lnTo>
                    <a:pt x="94" y="546"/>
                  </a:lnTo>
                  <a:lnTo>
                    <a:pt x="93" y="546"/>
                  </a:lnTo>
                  <a:lnTo>
                    <a:pt x="97" y="548"/>
                  </a:lnTo>
                  <a:lnTo>
                    <a:pt x="96" y="549"/>
                  </a:lnTo>
                  <a:lnTo>
                    <a:pt x="90" y="553"/>
                  </a:lnTo>
                  <a:lnTo>
                    <a:pt x="96" y="552"/>
                  </a:lnTo>
                  <a:lnTo>
                    <a:pt x="97" y="552"/>
                  </a:lnTo>
                  <a:lnTo>
                    <a:pt x="98" y="553"/>
                  </a:lnTo>
                  <a:lnTo>
                    <a:pt x="97" y="555"/>
                  </a:lnTo>
                  <a:lnTo>
                    <a:pt x="99" y="554"/>
                  </a:lnTo>
                  <a:lnTo>
                    <a:pt x="99" y="553"/>
                  </a:lnTo>
                  <a:lnTo>
                    <a:pt x="99" y="551"/>
                  </a:lnTo>
                  <a:lnTo>
                    <a:pt x="100" y="551"/>
                  </a:lnTo>
                  <a:lnTo>
                    <a:pt x="100" y="552"/>
                  </a:lnTo>
                  <a:lnTo>
                    <a:pt x="102" y="553"/>
                  </a:lnTo>
                  <a:lnTo>
                    <a:pt x="103" y="549"/>
                  </a:lnTo>
                  <a:lnTo>
                    <a:pt x="104" y="549"/>
                  </a:lnTo>
                  <a:lnTo>
                    <a:pt x="104" y="553"/>
                  </a:lnTo>
                  <a:lnTo>
                    <a:pt x="105" y="554"/>
                  </a:lnTo>
                  <a:lnTo>
                    <a:pt x="106" y="555"/>
                  </a:lnTo>
                  <a:lnTo>
                    <a:pt x="106" y="558"/>
                  </a:lnTo>
                  <a:lnTo>
                    <a:pt x="108" y="558"/>
                  </a:lnTo>
                  <a:lnTo>
                    <a:pt x="109" y="559"/>
                  </a:lnTo>
                  <a:lnTo>
                    <a:pt x="110" y="560"/>
                  </a:lnTo>
                  <a:lnTo>
                    <a:pt x="110" y="563"/>
                  </a:lnTo>
                  <a:lnTo>
                    <a:pt x="111" y="564"/>
                  </a:lnTo>
                  <a:lnTo>
                    <a:pt x="112" y="563"/>
                  </a:lnTo>
                  <a:lnTo>
                    <a:pt x="114" y="561"/>
                  </a:lnTo>
                  <a:lnTo>
                    <a:pt x="114" y="559"/>
                  </a:lnTo>
                  <a:lnTo>
                    <a:pt x="111" y="558"/>
                  </a:lnTo>
                  <a:lnTo>
                    <a:pt x="114" y="557"/>
                  </a:lnTo>
                  <a:lnTo>
                    <a:pt x="114" y="555"/>
                  </a:lnTo>
                  <a:lnTo>
                    <a:pt x="112" y="553"/>
                  </a:lnTo>
                  <a:lnTo>
                    <a:pt x="112" y="551"/>
                  </a:lnTo>
                  <a:lnTo>
                    <a:pt x="114" y="549"/>
                  </a:lnTo>
                  <a:lnTo>
                    <a:pt x="112" y="547"/>
                  </a:lnTo>
                  <a:lnTo>
                    <a:pt x="114" y="546"/>
                  </a:lnTo>
                  <a:lnTo>
                    <a:pt x="115" y="545"/>
                  </a:lnTo>
                  <a:lnTo>
                    <a:pt x="116" y="545"/>
                  </a:lnTo>
                  <a:lnTo>
                    <a:pt x="116" y="546"/>
                  </a:lnTo>
                  <a:lnTo>
                    <a:pt x="115" y="547"/>
                  </a:lnTo>
                  <a:lnTo>
                    <a:pt x="115" y="549"/>
                  </a:lnTo>
                  <a:lnTo>
                    <a:pt x="116" y="549"/>
                  </a:lnTo>
                  <a:lnTo>
                    <a:pt x="117" y="549"/>
                  </a:lnTo>
                  <a:lnTo>
                    <a:pt x="117" y="551"/>
                  </a:lnTo>
                  <a:lnTo>
                    <a:pt x="117" y="552"/>
                  </a:lnTo>
                  <a:lnTo>
                    <a:pt x="116" y="553"/>
                  </a:lnTo>
                  <a:lnTo>
                    <a:pt x="116" y="555"/>
                  </a:lnTo>
                  <a:lnTo>
                    <a:pt x="116" y="558"/>
                  </a:lnTo>
                  <a:lnTo>
                    <a:pt x="117" y="558"/>
                  </a:lnTo>
                  <a:lnTo>
                    <a:pt x="117" y="555"/>
                  </a:lnTo>
                  <a:lnTo>
                    <a:pt x="118" y="553"/>
                  </a:lnTo>
                  <a:lnTo>
                    <a:pt x="120" y="553"/>
                  </a:lnTo>
                  <a:lnTo>
                    <a:pt x="120" y="555"/>
                  </a:lnTo>
                  <a:lnTo>
                    <a:pt x="121" y="557"/>
                  </a:lnTo>
                  <a:lnTo>
                    <a:pt x="122" y="555"/>
                  </a:lnTo>
                  <a:lnTo>
                    <a:pt x="121" y="554"/>
                  </a:lnTo>
                  <a:lnTo>
                    <a:pt x="122" y="553"/>
                  </a:lnTo>
                  <a:lnTo>
                    <a:pt x="122" y="552"/>
                  </a:lnTo>
                  <a:lnTo>
                    <a:pt x="123" y="551"/>
                  </a:lnTo>
                  <a:lnTo>
                    <a:pt x="124" y="552"/>
                  </a:lnTo>
                  <a:lnTo>
                    <a:pt x="124" y="553"/>
                  </a:lnTo>
                  <a:lnTo>
                    <a:pt x="124" y="554"/>
                  </a:lnTo>
                  <a:lnTo>
                    <a:pt x="124" y="557"/>
                  </a:lnTo>
                  <a:lnTo>
                    <a:pt x="123" y="558"/>
                  </a:lnTo>
                  <a:lnTo>
                    <a:pt x="123" y="563"/>
                  </a:lnTo>
                  <a:lnTo>
                    <a:pt x="123" y="565"/>
                  </a:lnTo>
                  <a:lnTo>
                    <a:pt x="124" y="564"/>
                  </a:lnTo>
                  <a:lnTo>
                    <a:pt x="126" y="564"/>
                  </a:lnTo>
                  <a:lnTo>
                    <a:pt x="126" y="561"/>
                  </a:lnTo>
                  <a:lnTo>
                    <a:pt x="126" y="560"/>
                  </a:lnTo>
                  <a:lnTo>
                    <a:pt x="127" y="559"/>
                  </a:lnTo>
                  <a:lnTo>
                    <a:pt x="127" y="558"/>
                  </a:lnTo>
                  <a:lnTo>
                    <a:pt x="128" y="557"/>
                  </a:lnTo>
                  <a:lnTo>
                    <a:pt x="128" y="552"/>
                  </a:lnTo>
                  <a:lnTo>
                    <a:pt x="129" y="553"/>
                  </a:lnTo>
                  <a:lnTo>
                    <a:pt x="130" y="553"/>
                  </a:lnTo>
                  <a:lnTo>
                    <a:pt x="130" y="552"/>
                  </a:lnTo>
                  <a:lnTo>
                    <a:pt x="132" y="552"/>
                  </a:lnTo>
                  <a:lnTo>
                    <a:pt x="132" y="549"/>
                  </a:lnTo>
                  <a:lnTo>
                    <a:pt x="132" y="547"/>
                  </a:lnTo>
                  <a:lnTo>
                    <a:pt x="133" y="549"/>
                  </a:lnTo>
                  <a:lnTo>
                    <a:pt x="133" y="552"/>
                  </a:lnTo>
                  <a:lnTo>
                    <a:pt x="133" y="554"/>
                  </a:lnTo>
                  <a:lnTo>
                    <a:pt x="132" y="554"/>
                  </a:lnTo>
                  <a:lnTo>
                    <a:pt x="132" y="557"/>
                  </a:lnTo>
                  <a:lnTo>
                    <a:pt x="132" y="558"/>
                  </a:lnTo>
                  <a:lnTo>
                    <a:pt x="133" y="557"/>
                  </a:lnTo>
                  <a:lnTo>
                    <a:pt x="134" y="557"/>
                  </a:lnTo>
                  <a:lnTo>
                    <a:pt x="135" y="557"/>
                  </a:lnTo>
                  <a:lnTo>
                    <a:pt x="135" y="555"/>
                  </a:lnTo>
                  <a:lnTo>
                    <a:pt x="136" y="560"/>
                  </a:lnTo>
                  <a:lnTo>
                    <a:pt x="136" y="561"/>
                  </a:lnTo>
                  <a:lnTo>
                    <a:pt x="138" y="561"/>
                  </a:lnTo>
                  <a:lnTo>
                    <a:pt x="138" y="555"/>
                  </a:lnTo>
                  <a:lnTo>
                    <a:pt x="139" y="555"/>
                  </a:lnTo>
                  <a:lnTo>
                    <a:pt x="139" y="558"/>
                  </a:lnTo>
                  <a:lnTo>
                    <a:pt x="139" y="559"/>
                  </a:lnTo>
                  <a:lnTo>
                    <a:pt x="140" y="559"/>
                  </a:lnTo>
                  <a:lnTo>
                    <a:pt x="140" y="560"/>
                  </a:lnTo>
                  <a:lnTo>
                    <a:pt x="141" y="561"/>
                  </a:lnTo>
                  <a:lnTo>
                    <a:pt x="141" y="563"/>
                  </a:lnTo>
                  <a:lnTo>
                    <a:pt x="141" y="565"/>
                  </a:lnTo>
                  <a:lnTo>
                    <a:pt x="142" y="565"/>
                  </a:lnTo>
                  <a:lnTo>
                    <a:pt x="142" y="566"/>
                  </a:lnTo>
                  <a:lnTo>
                    <a:pt x="144" y="567"/>
                  </a:lnTo>
                  <a:lnTo>
                    <a:pt x="145" y="567"/>
                  </a:lnTo>
                  <a:lnTo>
                    <a:pt x="145" y="566"/>
                  </a:lnTo>
                  <a:lnTo>
                    <a:pt x="146" y="566"/>
                  </a:lnTo>
                  <a:lnTo>
                    <a:pt x="146" y="565"/>
                  </a:lnTo>
                  <a:lnTo>
                    <a:pt x="146" y="564"/>
                  </a:lnTo>
                  <a:lnTo>
                    <a:pt x="146" y="563"/>
                  </a:lnTo>
                  <a:lnTo>
                    <a:pt x="147" y="561"/>
                  </a:lnTo>
                  <a:lnTo>
                    <a:pt x="147" y="560"/>
                  </a:lnTo>
                  <a:lnTo>
                    <a:pt x="149" y="561"/>
                  </a:lnTo>
                  <a:lnTo>
                    <a:pt x="149" y="560"/>
                  </a:lnTo>
                  <a:lnTo>
                    <a:pt x="149" y="559"/>
                  </a:lnTo>
                  <a:lnTo>
                    <a:pt x="149" y="558"/>
                  </a:lnTo>
                  <a:lnTo>
                    <a:pt x="149" y="557"/>
                  </a:lnTo>
                  <a:lnTo>
                    <a:pt x="150" y="557"/>
                  </a:lnTo>
                  <a:lnTo>
                    <a:pt x="151" y="557"/>
                  </a:lnTo>
                  <a:lnTo>
                    <a:pt x="151" y="558"/>
                  </a:lnTo>
                  <a:lnTo>
                    <a:pt x="152" y="559"/>
                  </a:lnTo>
                  <a:lnTo>
                    <a:pt x="152" y="558"/>
                  </a:lnTo>
                  <a:lnTo>
                    <a:pt x="153" y="559"/>
                  </a:lnTo>
                  <a:lnTo>
                    <a:pt x="153" y="560"/>
                  </a:lnTo>
                  <a:lnTo>
                    <a:pt x="153" y="561"/>
                  </a:lnTo>
                  <a:lnTo>
                    <a:pt x="152" y="563"/>
                  </a:lnTo>
                  <a:lnTo>
                    <a:pt x="153" y="564"/>
                  </a:lnTo>
                  <a:lnTo>
                    <a:pt x="152" y="565"/>
                  </a:lnTo>
                  <a:lnTo>
                    <a:pt x="152" y="566"/>
                  </a:lnTo>
                  <a:lnTo>
                    <a:pt x="152" y="567"/>
                  </a:lnTo>
                  <a:lnTo>
                    <a:pt x="153" y="567"/>
                  </a:lnTo>
                  <a:lnTo>
                    <a:pt x="153" y="566"/>
                  </a:lnTo>
                  <a:lnTo>
                    <a:pt x="155" y="566"/>
                  </a:lnTo>
                  <a:lnTo>
                    <a:pt x="156" y="565"/>
                  </a:lnTo>
                  <a:lnTo>
                    <a:pt x="157" y="565"/>
                  </a:lnTo>
                  <a:lnTo>
                    <a:pt x="158" y="565"/>
                  </a:lnTo>
                  <a:lnTo>
                    <a:pt x="159" y="565"/>
                  </a:lnTo>
                  <a:lnTo>
                    <a:pt x="159" y="566"/>
                  </a:lnTo>
                  <a:lnTo>
                    <a:pt x="161" y="566"/>
                  </a:lnTo>
                  <a:lnTo>
                    <a:pt x="162" y="565"/>
                  </a:lnTo>
                  <a:lnTo>
                    <a:pt x="162" y="563"/>
                  </a:lnTo>
                  <a:lnTo>
                    <a:pt x="162" y="561"/>
                  </a:lnTo>
                  <a:lnTo>
                    <a:pt x="163" y="563"/>
                  </a:lnTo>
                  <a:lnTo>
                    <a:pt x="164" y="563"/>
                  </a:lnTo>
                  <a:lnTo>
                    <a:pt x="163" y="564"/>
                  </a:lnTo>
                  <a:lnTo>
                    <a:pt x="163" y="565"/>
                  </a:lnTo>
                  <a:lnTo>
                    <a:pt x="163" y="566"/>
                  </a:lnTo>
                  <a:lnTo>
                    <a:pt x="164" y="566"/>
                  </a:lnTo>
                  <a:lnTo>
                    <a:pt x="165" y="566"/>
                  </a:lnTo>
                  <a:lnTo>
                    <a:pt x="167" y="566"/>
                  </a:lnTo>
                  <a:lnTo>
                    <a:pt x="168" y="565"/>
                  </a:lnTo>
                  <a:lnTo>
                    <a:pt x="168" y="564"/>
                  </a:lnTo>
                  <a:lnTo>
                    <a:pt x="169" y="564"/>
                  </a:lnTo>
                  <a:lnTo>
                    <a:pt x="170" y="563"/>
                  </a:lnTo>
                  <a:lnTo>
                    <a:pt x="171" y="564"/>
                  </a:lnTo>
                  <a:lnTo>
                    <a:pt x="171" y="565"/>
                  </a:lnTo>
                  <a:lnTo>
                    <a:pt x="173" y="565"/>
                  </a:lnTo>
                  <a:lnTo>
                    <a:pt x="173" y="566"/>
                  </a:lnTo>
                  <a:lnTo>
                    <a:pt x="174" y="567"/>
                  </a:lnTo>
                  <a:lnTo>
                    <a:pt x="173" y="567"/>
                  </a:lnTo>
                  <a:lnTo>
                    <a:pt x="170" y="567"/>
                  </a:lnTo>
                  <a:lnTo>
                    <a:pt x="170" y="569"/>
                  </a:lnTo>
                  <a:lnTo>
                    <a:pt x="169" y="569"/>
                  </a:lnTo>
                  <a:lnTo>
                    <a:pt x="168" y="569"/>
                  </a:lnTo>
                  <a:lnTo>
                    <a:pt x="167" y="569"/>
                  </a:lnTo>
                  <a:lnTo>
                    <a:pt x="167" y="566"/>
                  </a:lnTo>
                  <a:lnTo>
                    <a:pt x="165" y="567"/>
                  </a:lnTo>
                  <a:lnTo>
                    <a:pt x="164" y="567"/>
                  </a:lnTo>
                  <a:lnTo>
                    <a:pt x="163" y="567"/>
                  </a:lnTo>
                  <a:lnTo>
                    <a:pt x="162" y="567"/>
                  </a:lnTo>
                  <a:lnTo>
                    <a:pt x="161" y="569"/>
                  </a:lnTo>
                  <a:lnTo>
                    <a:pt x="159" y="569"/>
                  </a:lnTo>
                  <a:lnTo>
                    <a:pt x="158" y="569"/>
                  </a:lnTo>
                  <a:lnTo>
                    <a:pt x="157" y="569"/>
                  </a:lnTo>
                  <a:lnTo>
                    <a:pt x="151" y="569"/>
                  </a:lnTo>
                  <a:lnTo>
                    <a:pt x="150" y="570"/>
                  </a:lnTo>
                  <a:lnTo>
                    <a:pt x="151" y="570"/>
                  </a:lnTo>
                  <a:lnTo>
                    <a:pt x="153" y="570"/>
                  </a:lnTo>
                  <a:lnTo>
                    <a:pt x="153" y="571"/>
                  </a:lnTo>
                  <a:lnTo>
                    <a:pt x="155" y="571"/>
                  </a:lnTo>
                  <a:lnTo>
                    <a:pt x="156" y="571"/>
                  </a:lnTo>
                  <a:lnTo>
                    <a:pt x="156" y="572"/>
                  </a:lnTo>
                  <a:lnTo>
                    <a:pt x="155" y="573"/>
                  </a:lnTo>
                  <a:lnTo>
                    <a:pt x="153" y="575"/>
                  </a:lnTo>
                  <a:lnTo>
                    <a:pt x="153" y="576"/>
                  </a:lnTo>
                  <a:lnTo>
                    <a:pt x="155" y="576"/>
                  </a:lnTo>
                  <a:lnTo>
                    <a:pt x="156" y="575"/>
                  </a:lnTo>
                  <a:lnTo>
                    <a:pt x="157" y="573"/>
                  </a:lnTo>
                  <a:lnTo>
                    <a:pt x="157" y="572"/>
                  </a:lnTo>
                  <a:lnTo>
                    <a:pt x="158" y="571"/>
                  </a:lnTo>
                  <a:lnTo>
                    <a:pt x="159" y="571"/>
                  </a:lnTo>
                  <a:lnTo>
                    <a:pt x="159" y="572"/>
                  </a:lnTo>
                  <a:lnTo>
                    <a:pt x="159" y="573"/>
                  </a:lnTo>
                  <a:lnTo>
                    <a:pt x="158" y="575"/>
                  </a:lnTo>
                  <a:lnTo>
                    <a:pt x="159" y="575"/>
                  </a:lnTo>
                  <a:lnTo>
                    <a:pt x="161" y="575"/>
                  </a:lnTo>
                  <a:lnTo>
                    <a:pt x="161" y="572"/>
                  </a:lnTo>
                  <a:lnTo>
                    <a:pt x="162" y="571"/>
                  </a:lnTo>
                  <a:lnTo>
                    <a:pt x="162" y="572"/>
                  </a:lnTo>
                  <a:lnTo>
                    <a:pt x="163" y="572"/>
                  </a:lnTo>
                  <a:lnTo>
                    <a:pt x="163" y="571"/>
                  </a:lnTo>
                  <a:lnTo>
                    <a:pt x="164" y="571"/>
                  </a:lnTo>
                  <a:lnTo>
                    <a:pt x="164" y="570"/>
                  </a:lnTo>
                  <a:lnTo>
                    <a:pt x="165" y="570"/>
                  </a:lnTo>
                  <a:lnTo>
                    <a:pt x="165" y="571"/>
                  </a:lnTo>
                  <a:lnTo>
                    <a:pt x="164" y="572"/>
                  </a:lnTo>
                  <a:lnTo>
                    <a:pt x="164" y="573"/>
                  </a:lnTo>
                  <a:lnTo>
                    <a:pt x="164" y="575"/>
                  </a:lnTo>
                  <a:lnTo>
                    <a:pt x="164" y="576"/>
                  </a:lnTo>
                  <a:lnTo>
                    <a:pt x="163" y="577"/>
                  </a:lnTo>
                  <a:lnTo>
                    <a:pt x="163" y="578"/>
                  </a:lnTo>
                  <a:lnTo>
                    <a:pt x="163" y="579"/>
                  </a:lnTo>
                  <a:lnTo>
                    <a:pt x="164" y="579"/>
                  </a:lnTo>
                  <a:lnTo>
                    <a:pt x="165" y="578"/>
                  </a:lnTo>
                  <a:lnTo>
                    <a:pt x="167" y="577"/>
                  </a:lnTo>
                  <a:lnTo>
                    <a:pt x="167" y="576"/>
                  </a:lnTo>
                  <a:lnTo>
                    <a:pt x="167" y="575"/>
                  </a:lnTo>
                  <a:lnTo>
                    <a:pt x="168" y="573"/>
                  </a:lnTo>
                  <a:lnTo>
                    <a:pt x="168" y="572"/>
                  </a:lnTo>
                  <a:lnTo>
                    <a:pt x="169" y="572"/>
                  </a:lnTo>
                  <a:lnTo>
                    <a:pt x="169" y="571"/>
                  </a:lnTo>
                  <a:lnTo>
                    <a:pt x="170" y="571"/>
                  </a:lnTo>
                  <a:lnTo>
                    <a:pt x="171" y="572"/>
                  </a:lnTo>
                  <a:lnTo>
                    <a:pt x="170" y="575"/>
                  </a:lnTo>
                  <a:lnTo>
                    <a:pt x="170" y="576"/>
                  </a:lnTo>
                  <a:lnTo>
                    <a:pt x="170" y="577"/>
                  </a:lnTo>
                  <a:lnTo>
                    <a:pt x="171" y="576"/>
                  </a:lnTo>
                  <a:lnTo>
                    <a:pt x="171" y="575"/>
                  </a:lnTo>
                  <a:lnTo>
                    <a:pt x="173" y="573"/>
                  </a:lnTo>
                  <a:lnTo>
                    <a:pt x="174" y="572"/>
                  </a:lnTo>
                  <a:lnTo>
                    <a:pt x="175" y="572"/>
                  </a:lnTo>
                  <a:lnTo>
                    <a:pt x="175" y="573"/>
                  </a:lnTo>
                  <a:lnTo>
                    <a:pt x="174" y="575"/>
                  </a:lnTo>
                  <a:lnTo>
                    <a:pt x="174" y="576"/>
                  </a:lnTo>
                  <a:lnTo>
                    <a:pt x="174" y="577"/>
                  </a:lnTo>
                  <a:lnTo>
                    <a:pt x="174" y="578"/>
                  </a:lnTo>
                  <a:lnTo>
                    <a:pt x="175" y="578"/>
                  </a:lnTo>
                  <a:lnTo>
                    <a:pt x="175" y="579"/>
                  </a:lnTo>
                  <a:lnTo>
                    <a:pt x="174" y="581"/>
                  </a:lnTo>
                  <a:lnTo>
                    <a:pt x="175" y="582"/>
                  </a:lnTo>
                  <a:lnTo>
                    <a:pt x="176" y="581"/>
                  </a:lnTo>
                  <a:lnTo>
                    <a:pt x="176" y="579"/>
                  </a:lnTo>
                  <a:lnTo>
                    <a:pt x="177" y="578"/>
                  </a:lnTo>
                  <a:lnTo>
                    <a:pt x="177" y="577"/>
                  </a:lnTo>
                  <a:lnTo>
                    <a:pt x="177" y="576"/>
                  </a:lnTo>
                  <a:lnTo>
                    <a:pt x="179" y="577"/>
                  </a:lnTo>
                  <a:lnTo>
                    <a:pt x="179" y="578"/>
                  </a:lnTo>
                  <a:lnTo>
                    <a:pt x="180" y="578"/>
                  </a:lnTo>
                  <a:lnTo>
                    <a:pt x="180" y="577"/>
                  </a:lnTo>
                  <a:lnTo>
                    <a:pt x="180" y="576"/>
                  </a:lnTo>
                  <a:lnTo>
                    <a:pt x="180" y="575"/>
                  </a:lnTo>
                  <a:lnTo>
                    <a:pt x="180" y="573"/>
                  </a:lnTo>
                  <a:lnTo>
                    <a:pt x="181" y="572"/>
                  </a:lnTo>
                  <a:lnTo>
                    <a:pt x="181" y="570"/>
                  </a:lnTo>
                  <a:lnTo>
                    <a:pt x="181" y="569"/>
                  </a:lnTo>
                  <a:lnTo>
                    <a:pt x="181" y="565"/>
                  </a:lnTo>
                  <a:lnTo>
                    <a:pt x="180" y="564"/>
                  </a:lnTo>
                  <a:lnTo>
                    <a:pt x="179" y="561"/>
                  </a:lnTo>
                  <a:lnTo>
                    <a:pt x="180" y="561"/>
                  </a:lnTo>
                  <a:lnTo>
                    <a:pt x="180" y="563"/>
                  </a:lnTo>
                  <a:lnTo>
                    <a:pt x="181" y="565"/>
                  </a:lnTo>
                  <a:lnTo>
                    <a:pt x="181" y="566"/>
                  </a:lnTo>
                  <a:lnTo>
                    <a:pt x="182" y="567"/>
                  </a:lnTo>
                  <a:lnTo>
                    <a:pt x="182" y="569"/>
                  </a:lnTo>
                  <a:lnTo>
                    <a:pt x="183" y="570"/>
                  </a:lnTo>
                  <a:lnTo>
                    <a:pt x="182" y="572"/>
                  </a:lnTo>
                  <a:lnTo>
                    <a:pt x="182" y="573"/>
                  </a:lnTo>
                  <a:lnTo>
                    <a:pt x="182" y="576"/>
                  </a:lnTo>
                  <a:lnTo>
                    <a:pt x="182" y="577"/>
                  </a:lnTo>
                  <a:lnTo>
                    <a:pt x="181" y="578"/>
                  </a:lnTo>
                  <a:lnTo>
                    <a:pt x="181" y="579"/>
                  </a:lnTo>
                  <a:lnTo>
                    <a:pt x="181" y="581"/>
                  </a:lnTo>
                  <a:lnTo>
                    <a:pt x="181" y="582"/>
                  </a:lnTo>
                  <a:lnTo>
                    <a:pt x="182" y="583"/>
                  </a:lnTo>
                  <a:lnTo>
                    <a:pt x="183" y="583"/>
                  </a:lnTo>
                  <a:lnTo>
                    <a:pt x="185" y="582"/>
                  </a:lnTo>
                  <a:lnTo>
                    <a:pt x="185" y="581"/>
                  </a:lnTo>
                  <a:lnTo>
                    <a:pt x="185" y="579"/>
                  </a:lnTo>
                  <a:lnTo>
                    <a:pt x="185" y="578"/>
                  </a:lnTo>
                  <a:lnTo>
                    <a:pt x="186" y="578"/>
                  </a:lnTo>
                  <a:lnTo>
                    <a:pt x="186" y="579"/>
                  </a:lnTo>
                  <a:lnTo>
                    <a:pt x="186" y="581"/>
                  </a:lnTo>
                  <a:lnTo>
                    <a:pt x="186" y="582"/>
                  </a:lnTo>
                  <a:lnTo>
                    <a:pt x="187" y="582"/>
                  </a:lnTo>
                  <a:lnTo>
                    <a:pt x="188" y="582"/>
                  </a:lnTo>
                  <a:lnTo>
                    <a:pt x="188" y="581"/>
                  </a:lnTo>
                  <a:lnTo>
                    <a:pt x="189" y="581"/>
                  </a:lnTo>
                  <a:lnTo>
                    <a:pt x="189" y="579"/>
                  </a:lnTo>
                  <a:lnTo>
                    <a:pt x="191" y="581"/>
                  </a:lnTo>
                  <a:lnTo>
                    <a:pt x="192" y="581"/>
                  </a:lnTo>
                  <a:lnTo>
                    <a:pt x="192" y="582"/>
                  </a:lnTo>
                  <a:lnTo>
                    <a:pt x="192" y="583"/>
                  </a:lnTo>
                  <a:lnTo>
                    <a:pt x="193" y="583"/>
                  </a:lnTo>
                  <a:lnTo>
                    <a:pt x="194" y="583"/>
                  </a:lnTo>
                  <a:lnTo>
                    <a:pt x="194" y="584"/>
                  </a:lnTo>
                  <a:lnTo>
                    <a:pt x="193" y="585"/>
                  </a:lnTo>
                  <a:lnTo>
                    <a:pt x="193" y="587"/>
                  </a:lnTo>
                  <a:lnTo>
                    <a:pt x="191" y="588"/>
                  </a:lnTo>
                  <a:lnTo>
                    <a:pt x="191" y="589"/>
                  </a:lnTo>
                  <a:lnTo>
                    <a:pt x="191" y="590"/>
                  </a:lnTo>
                  <a:lnTo>
                    <a:pt x="192" y="590"/>
                  </a:lnTo>
                  <a:lnTo>
                    <a:pt x="193" y="590"/>
                  </a:lnTo>
                  <a:lnTo>
                    <a:pt x="194" y="589"/>
                  </a:lnTo>
                  <a:lnTo>
                    <a:pt x="195" y="588"/>
                  </a:lnTo>
                  <a:lnTo>
                    <a:pt x="197" y="588"/>
                  </a:lnTo>
                  <a:lnTo>
                    <a:pt x="197" y="587"/>
                  </a:lnTo>
                  <a:lnTo>
                    <a:pt x="198" y="585"/>
                  </a:lnTo>
                  <a:lnTo>
                    <a:pt x="199" y="585"/>
                  </a:lnTo>
                  <a:lnTo>
                    <a:pt x="199" y="587"/>
                  </a:lnTo>
                  <a:lnTo>
                    <a:pt x="200" y="588"/>
                  </a:lnTo>
                  <a:lnTo>
                    <a:pt x="200" y="589"/>
                  </a:lnTo>
                  <a:lnTo>
                    <a:pt x="200" y="590"/>
                  </a:lnTo>
                  <a:lnTo>
                    <a:pt x="199" y="591"/>
                  </a:lnTo>
                  <a:lnTo>
                    <a:pt x="199" y="593"/>
                  </a:lnTo>
                  <a:lnTo>
                    <a:pt x="199" y="594"/>
                  </a:lnTo>
                  <a:lnTo>
                    <a:pt x="197" y="594"/>
                  </a:lnTo>
                  <a:lnTo>
                    <a:pt x="195" y="594"/>
                  </a:lnTo>
                  <a:lnTo>
                    <a:pt x="193" y="594"/>
                  </a:lnTo>
                  <a:lnTo>
                    <a:pt x="192" y="594"/>
                  </a:lnTo>
                  <a:lnTo>
                    <a:pt x="191" y="594"/>
                  </a:lnTo>
                  <a:lnTo>
                    <a:pt x="191" y="595"/>
                  </a:lnTo>
                  <a:lnTo>
                    <a:pt x="189" y="595"/>
                  </a:lnTo>
                  <a:lnTo>
                    <a:pt x="188" y="595"/>
                  </a:lnTo>
                  <a:lnTo>
                    <a:pt x="186" y="595"/>
                  </a:lnTo>
                  <a:lnTo>
                    <a:pt x="183" y="595"/>
                  </a:lnTo>
                  <a:lnTo>
                    <a:pt x="182" y="595"/>
                  </a:lnTo>
                  <a:lnTo>
                    <a:pt x="182" y="596"/>
                  </a:lnTo>
                  <a:lnTo>
                    <a:pt x="181" y="596"/>
                  </a:lnTo>
                  <a:lnTo>
                    <a:pt x="180" y="598"/>
                  </a:lnTo>
                  <a:lnTo>
                    <a:pt x="179" y="598"/>
                  </a:lnTo>
                  <a:lnTo>
                    <a:pt x="177" y="598"/>
                  </a:lnTo>
                  <a:lnTo>
                    <a:pt x="176" y="598"/>
                  </a:lnTo>
                  <a:lnTo>
                    <a:pt x="175" y="598"/>
                  </a:lnTo>
                  <a:lnTo>
                    <a:pt x="174" y="598"/>
                  </a:lnTo>
                  <a:lnTo>
                    <a:pt x="173" y="599"/>
                  </a:lnTo>
                  <a:lnTo>
                    <a:pt x="171" y="599"/>
                  </a:lnTo>
                  <a:lnTo>
                    <a:pt x="171" y="600"/>
                  </a:lnTo>
                  <a:lnTo>
                    <a:pt x="170" y="599"/>
                  </a:lnTo>
                  <a:lnTo>
                    <a:pt x="169" y="599"/>
                  </a:lnTo>
                  <a:lnTo>
                    <a:pt x="168" y="599"/>
                  </a:lnTo>
                  <a:lnTo>
                    <a:pt x="161" y="600"/>
                  </a:lnTo>
                  <a:lnTo>
                    <a:pt x="159" y="599"/>
                  </a:lnTo>
                  <a:lnTo>
                    <a:pt x="158" y="599"/>
                  </a:lnTo>
                  <a:lnTo>
                    <a:pt x="157" y="600"/>
                  </a:lnTo>
                  <a:lnTo>
                    <a:pt x="155" y="600"/>
                  </a:lnTo>
                  <a:lnTo>
                    <a:pt x="153" y="600"/>
                  </a:lnTo>
                  <a:lnTo>
                    <a:pt x="151" y="600"/>
                  </a:lnTo>
                  <a:lnTo>
                    <a:pt x="150" y="600"/>
                  </a:lnTo>
                  <a:lnTo>
                    <a:pt x="149" y="600"/>
                  </a:lnTo>
                  <a:lnTo>
                    <a:pt x="147" y="600"/>
                  </a:lnTo>
                  <a:lnTo>
                    <a:pt x="145" y="600"/>
                  </a:lnTo>
                  <a:lnTo>
                    <a:pt x="145" y="601"/>
                  </a:lnTo>
                  <a:lnTo>
                    <a:pt x="142" y="600"/>
                  </a:lnTo>
                  <a:lnTo>
                    <a:pt x="141" y="600"/>
                  </a:lnTo>
                  <a:lnTo>
                    <a:pt x="141" y="599"/>
                  </a:lnTo>
                  <a:lnTo>
                    <a:pt x="142" y="599"/>
                  </a:lnTo>
                  <a:lnTo>
                    <a:pt x="142" y="598"/>
                  </a:lnTo>
                  <a:lnTo>
                    <a:pt x="141" y="598"/>
                  </a:lnTo>
                  <a:lnTo>
                    <a:pt x="140" y="598"/>
                  </a:lnTo>
                  <a:lnTo>
                    <a:pt x="140" y="599"/>
                  </a:lnTo>
                  <a:lnTo>
                    <a:pt x="139" y="600"/>
                  </a:lnTo>
                  <a:lnTo>
                    <a:pt x="136" y="600"/>
                  </a:lnTo>
                  <a:lnTo>
                    <a:pt x="138" y="600"/>
                  </a:lnTo>
                  <a:lnTo>
                    <a:pt x="138" y="601"/>
                  </a:lnTo>
                  <a:lnTo>
                    <a:pt x="136" y="602"/>
                  </a:lnTo>
                  <a:lnTo>
                    <a:pt x="135" y="602"/>
                  </a:lnTo>
                  <a:lnTo>
                    <a:pt x="134" y="604"/>
                  </a:lnTo>
                  <a:lnTo>
                    <a:pt x="133" y="604"/>
                  </a:lnTo>
                  <a:lnTo>
                    <a:pt x="133" y="602"/>
                  </a:lnTo>
                  <a:lnTo>
                    <a:pt x="130" y="602"/>
                  </a:lnTo>
                  <a:lnTo>
                    <a:pt x="129" y="604"/>
                  </a:lnTo>
                  <a:lnTo>
                    <a:pt x="129" y="602"/>
                  </a:lnTo>
                  <a:lnTo>
                    <a:pt x="128" y="601"/>
                  </a:lnTo>
                  <a:lnTo>
                    <a:pt x="127" y="601"/>
                  </a:lnTo>
                  <a:lnTo>
                    <a:pt x="127" y="602"/>
                  </a:lnTo>
                  <a:lnTo>
                    <a:pt x="128" y="602"/>
                  </a:lnTo>
                  <a:lnTo>
                    <a:pt x="128" y="604"/>
                  </a:lnTo>
                  <a:lnTo>
                    <a:pt x="127" y="605"/>
                  </a:lnTo>
                  <a:lnTo>
                    <a:pt x="126" y="605"/>
                  </a:lnTo>
                  <a:lnTo>
                    <a:pt x="126" y="606"/>
                  </a:lnTo>
                  <a:lnTo>
                    <a:pt x="124" y="606"/>
                  </a:lnTo>
                  <a:lnTo>
                    <a:pt x="123" y="606"/>
                  </a:lnTo>
                  <a:lnTo>
                    <a:pt x="123" y="605"/>
                  </a:lnTo>
                  <a:lnTo>
                    <a:pt x="122" y="605"/>
                  </a:lnTo>
                  <a:lnTo>
                    <a:pt x="121" y="606"/>
                  </a:lnTo>
                  <a:lnTo>
                    <a:pt x="120" y="606"/>
                  </a:lnTo>
                  <a:lnTo>
                    <a:pt x="117" y="605"/>
                  </a:lnTo>
                  <a:lnTo>
                    <a:pt x="115" y="606"/>
                  </a:lnTo>
                  <a:lnTo>
                    <a:pt x="112" y="606"/>
                  </a:lnTo>
                  <a:lnTo>
                    <a:pt x="111" y="606"/>
                  </a:lnTo>
                  <a:lnTo>
                    <a:pt x="106" y="605"/>
                  </a:lnTo>
                  <a:lnTo>
                    <a:pt x="105" y="606"/>
                  </a:lnTo>
                  <a:lnTo>
                    <a:pt x="106" y="606"/>
                  </a:lnTo>
                  <a:lnTo>
                    <a:pt x="106" y="607"/>
                  </a:lnTo>
                  <a:lnTo>
                    <a:pt x="108" y="607"/>
                  </a:lnTo>
                  <a:lnTo>
                    <a:pt x="111" y="607"/>
                  </a:lnTo>
                  <a:lnTo>
                    <a:pt x="114" y="607"/>
                  </a:lnTo>
                  <a:lnTo>
                    <a:pt x="115" y="607"/>
                  </a:lnTo>
                  <a:lnTo>
                    <a:pt x="116" y="607"/>
                  </a:lnTo>
                  <a:lnTo>
                    <a:pt x="116" y="608"/>
                  </a:lnTo>
                  <a:lnTo>
                    <a:pt x="115" y="610"/>
                  </a:lnTo>
                  <a:lnTo>
                    <a:pt x="115" y="611"/>
                  </a:lnTo>
                  <a:lnTo>
                    <a:pt x="115" y="613"/>
                  </a:lnTo>
                  <a:lnTo>
                    <a:pt x="116" y="612"/>
                  </a:lnTo>
                  <a:lnTo>
                    <a:pt x="116" y="611"/>
                  </a:lnTo>
                  <a:lnTo>
                    <a:pt x="117" y="611"/>
                  </a:lnTo>
                  <a:lnTo>
                    <a:pt x="117" y="610"/>
                  </a:lnTo>
                  <a:lnTo>
                    <a:pt x="118" y="608"/>
                  </a:lnTo>
                  <a:lnTo>
                    <a:pt x="120" y="607"/>
                  </a:lnTo>
                  <a:lnTo>
                    <a:pt x="121" y="608"/>
                  </a:lnTo>
                  <a:lnTo>
                    <a:pt x="122" y="608"/>
                  </a:lnTo>
                  <a:lnTo>
                    <a:pt x="121" y="610"/>
                  </a:lnTo>
                  <a:lnTo>
                    <a:pt x="121" y="611"/>
                  </a:lnTo>
                  <a:lnTo>
                    <a:pt x="121" y="612"/>
                  </a:lnTo>
                  <a:lnTo>
                    <a:pt x="122" y="613"/>
                  </a:lnTo>
                  <a:lnTo>
                    <a:pt x="122" y="612"/>
                  </a:lnTo>
                  <a:lnTo>
                    <a:pt x="123" y="611"/>
                  </a:lnTo>
                  <a:lnTo>
                    <a:pt x="123" y="610"/>
                  </a:lnTo>
                  <a:lnTo>
                    <a:pt x="124" y="608"/>
                  </a:lnTo>
                  <a:lnTo>
                    <a:pt x="126" y="607"/>
                  </a:lnTo>
                  <a:lnTo>
                    <a:pt x="127" y="607"/>
                  </a:lnTo>
                  <a:lnTo>
                    <a:pt x="127" y="608"/>
                  </a:lnTo>
                  <a:lnTo>
                    <a:pt x="127" y="610"/>
                  </a:lnTo>
                  <a:lnTo>
                    <a:pt x="127" y="612"/>
                  </a:lnTo>
                  <a:lnTo>
                    <a:pt x="127" y="613"/>
                  </a:lnTo>
                  <a:lnTo>
                    <a:pt x="126" y="614"/>
                  </a:lnTo>
                  <a:lnTo>
                    <a:pt x="127" y="616"/>
                  </a:lnTo>
                  <a:lnTo>
                    <a:pt x="127" y="617"/>
                  </a:lnTo>
                  <a:lnTo>
                    <a:pt x="127" y="618"/>
                  </a:lnTo>
                  <a:lnTo>
                    <a:pt x="127" y="619"/>
                  </a:lnTo>
                  <a:lnTo>
                    <a:pt x="127" y="620"/>
                  </a:lnTo>
                  <a:lnTo>
                    <a:pt x="126" y="622"/>
                  </a:lnTo>
                  <a:lnTo>
                    <a:pt x="127" y="622"/>
                  </a:lnTo>
                  <a:lnTo>
                    <a:pt x="128" y="622"/>
                  </a:lnTo>
                  <a:lnTo>
                    <a:pt x="127" y="623"/>
                  </a:lnTo>
                  <a:lnTo>
                    <a:pt x="127" y="624"/>
                  </a:lnTo>
                  <a:lnTo>
                    <a:pt x="126" y="624"/>
                  </a:lnTo>
                  <a:lnTo>
                    <a:pt x="124" y="623"/>
                  </a:lnTo>
                  <a:lnTo>
                    <a:pt x="123" y="623"/>
                  </a:lnTo>
                  <a:lnTo>
                    <a:pt x="122" y="624"/>
                  </a:lnTo>
                  <a:lnTo>
                    <a:pt x="121" y="624"/>
                  </a:lnTo>
                  <a:lnTo>
                    <a:pt x="120" y="623"/>
                  </a:lnTo>
                  <a:lnTo>
                    <a:pt x="117" y="623"/>
                  </a:lnTo>
                  <a:lnTo>
                    <a:pt x="116" y="623"/>
                  </a:lnTo>
                  <a:lnTo>
                    <a:pt x="115" y="622"/>
                  </a:lnTo>
                  <a:lnTo>
                    <a:pt x="114" y="622"/>
                  </a:lnTo>
                  <a:lnTo>
                    <a:pt x="112" y="620"/>
                  </a:lnTo>
                  <a:lnTo>
                    <a:pt x="111" y="620"/>
                  </a:lnTo>
                  <a:lnTo>
                    <a:pt x="110" y="620"/>
                  </a:lnTo>
                  <a:lnTo>
                    <a:pt x="108" y="620"/>
                  </a:lnTo>
                  <a:lnTo>
                    <a:pt x="106" y="620"/>
                  </a:lnTo>
                  <a:lnTo>
                    <a:pt x="105" y="620"/>
                  </a:lnTo>
                  <a:lnTo>
                    <a:pt x="104" y="619"/>
                  </a:lnTo>
                  <a:lnTo>
                    <a:pt x="103" y="619"/>
                  </a:lnTo>
                  <a:lnTo>
                    <a:pt x="102" y="619"/>
                  </a:lnTo>
                  <a:lnTo>
                    <a:pt x="102" y="620"/>
                  </a:lnTo>
                  <a:lnTo>
                    <a:pt x="99" y="620"/>
                  </a:lnTo>
                  <a:lnTo>
                    <a:pt x="97" y="620"/>
                  </a:lnTo>
                  <a:lnTo>
                    <a:pt x="96" y="620"/>
                  </a:lnTo>
                  <a:lnTo>
                    <a:pt x="94" y="620"/>
                  </a:lnTo>
                  <a:lnTo>
                    <a:pt x="93" y="619"/>
                  </a:lnTo>
                  <a:lnTo>
                    <a:pt x="92" y="618"/>
                  </a:lnTo>
                  <a:lnTo>
                    <a:pt x="90" y="617"/>
                  </a:lnTo>
                  <a:lnTo>
                    <a:pt x="88" y="617"/>
                  </a:lnTo>
                  <a:lnTo>
                    <a:pt x="87" y="617"/>
                  </a:lnTo>
                  <a:lnTo>
                    <a:pt x="88" y="618"/>
                  </a:lnTo>
                  <a:lnTo>
                    <a:pt x="90" y="619"/>
                  </a:lnTo>
                  <a:lnTo>
                    <a:pt x="91" y="619"/>
                  </a:lnTo>
                  <a:lnTo>
                    <a:pt x="92" y="620"/>
                  </a:lnTo>
                  <a:lnTo>
                    <a:pt x="93" y="620"/>
                  </a:lnTo>
                  <a:lnTo>
                    <a:pt x="93" y="622"/>
                  </a:lnTo>
                  <a:lnTo>
                    <a:pt x="92" y="623"/>
                  </a:lnTo>
                  <a:lnTo>
                    <a:pt x="91" y="623"/>
                  </a:lnTo>
                  <a:lnTo>
                    <a:pt x="90" y="623"/>
                  </a:lnTo>
                  <a:lnTo>
                    <a:pt x="87" y="623"/>
                  </a:lnTo>
                  <a:lnTo>
                    <a:pt x="86" y="623"/>
                  </a:lnTo>
                  <a:lnTo>
                    <a:pt x="85" y="624"/>
                  </a:lnTo>
                  <a:lnTo>
                    <a:pt x="83" y="624"/>
                  </a:lnTo>
                  <a:lnTo>
                    <a:pt x="83" y="625"/>
                  </a:lnTo>
                  <a:lnTo>
                    <a:pt x="86" y="625"/>
                  </a:lnTo>
                  <a:lnTo>
                    <a:pt x="88" y="625"/>
                  </a:lnTo>
                  <a:lnTo>
                    <a:pt x="87" y="626"/>
                  </a:lnTo>
                  <a:lnTo>
                    <a:pt x="86" y="626"/>
                  </a:lnTo>
                  <a:lnTo>
                    <a:pt x="85" y="628"/>
                  </a:lnTo>
                  <a:lnTo>
                    <a:pt x="83" y="628"/>
                  </a:lnTo>
                  <a:lnTo>
                    <a:pt x="82" y="629"/>
                  </a:lnTo>
                  <a:lnTo>
                    <a:pt x="81" y="629"/>
                  </a:lnTo>
                  <a:lnTo>
                    <a:pt x="80" y="628"/>
                  </a:lnTo>
                  <a:lnTo>
                    <a:pt x="79" y="628"/>
                  </a:lnTo>
                  <a:lnTo>
                    <a:pt x="77" y="628"/>
                  </a:lnTo>
                  <a:lnTo>
                    <a:pt x="76" y="628"/>
                  </a:lnTo>
                  <a:lnTo>
                    <a:pt x="76" y="629"/>
                  </a:lnTo>
                  <a:lnTo>
                    <a:pt x="77" y="629"/>
                  </a:lnTo>
                  <a:lnTo>
                    <a:pt x="79" y="629"/>
                  </a:lnTo>
                  <a:lnTo>
                    <a:pt x="79" y="630"/>
                  </a:lnTo>
                  <a:lnTo>
                    <a:pt x="73" y="630"/>
                  </a:lnTo>
                  <a:lnTo>
                    <a:pt x="73" y="631"/>
                  </a:lnTo>
                  <a:lnTo>
                    <a:pt x="74" y="631"/>
                  </a:lnTo>
                  <a:lnTo>
                    <a:pt x="76" y="631"/>
                  </a:lnTo>
                  <a:lnTo>
                    <a:pt x="77" y="631"/>
                  </a:lnTo>
                  <a:lnTo>
                    <a:pt x="79" y="631"/>
                  </a:lnTo>
                  <a:lnTo>
                    <a:pt x="79" y="632"/>
                  </a:lnTo>
                  <a:lnTo>
                    <a:pt x="80" y="632"/>
                  </a:lnTo>
                  <a:lnTo>
                    <a:pt x="81" y="631"/>
                  </a:lnTo>
                  <a:lnTo>
                    <a:pt x="82" y="631"/>
                  </a:lnTo>
                  <a:lnTo>
                    <a:pt x="82" y="630"/>
                  </a:lnTo>
                  <a:lnTo>
                    <a:pt x="83" y="631"/>
                  </a:lnTo>
                  <a:lnTo>
                    <a:pt x="83" y="632"/>
                  </a:lnTo>
                  <a:lnTo>
                    <a:pt x="82" y="636"/>
                  </a:lnTo>
                  <a:lnTo>
                    <a:pt x="82" y="640"/>
                  </a:lnTo>
                  <a:lnTo>
                    <a:pt x="83" y="641"/>
                  </a:lnTo>
                  <a:lnTo>
                    <a:pt x="85" y="641"/>
                  </a:lnTo>
                  <a:lnTo>
                    <a:pt x="86" y="640"/>
                  </a:lnTo>
                  <a:lnTo>
                    <a:pt x="86" y="637"/>
                  </a:lnTo>
                  <a:lnTo>
                    <a:pt x="87" y="640"/>
                  </a:lnTo>
                  <a:lnTo>
                    <a:pt x="86" y="641"/>
                  </a:lnTo>
                  <a:lnTo>
                    <a:pt x="87" y="642"/>
                  </a:lnTo>
                  <a:lnTo>
                    <a:pt x="88" y="641"/>
                  </a:lnTo>
                  <a:lnTo>
                    <a:pt x="88" y="638"/>
                  </a:lnTo>
                  <a:lnTo>
                    <a:pt x="88" y="635"/>
                  </a:lnTo>
                  <a:lnTo>
                    <a:pt x="88" y="632"/>
                  </a:lnTo>
                  <a:lnTo>
                    <a:pt x="88" y="630"/>
                  </a:lnTo>
                  <a:lnTo>
                    <a:pt x="90" y="629"/>
                  </a:lnTo>
                  <a:lnTo>
                    <a:pt x="91" y="628"/>
                  </a:lnTo>
                  <a:lnTo>
                    <a:pt x="92" y="628"/>
                  </a:lnTo>
                  <a:lnTo>
                    <a:pt x="93" y="628"/>
                  </a:lnTo>
                  <a:lnTo>
                    <a:pt x="92" y="629"/>
                  </a:lnTo>
                  <a:lnTo>
                    <a:pt x="92" y="630"/>
                  </a:lnTo>
                  <a:lnTo>
                    <a:pt x="91" y="631"/>
                  </a:lnTo>
                  <a:lnTo>
                    <a:pt x="90" y="632"/>
                  </a:lnTo>
                  <a:lnTo>
                    <a:pt x="90" y="634"/>
                  </a:lnTo>
                  <a:lnTo>
                    <a:pt x="90" y="636"/>
                  </a:lnTo>
                  <a:lnTo>
                    <a:pt x="90" y="637"/>
                  </a:lnTo>
                  <a:lnTo>
                    <a:pt x="90" y="640"/>
                  </a:lnTo>
                  <a:lnTo>
                    <a:pt x="90" y="641"/>
                  </a:lnTo>
                  <a:lnTo>
                    <a:pt x="90" y="642"/>
                  </a:lnTo>
                  <a:lnTo>
                    <a:pt x="91" y="647"/>
                  </a:lnTo>
                  <a:lnTo>
                    <a:pt x="91" y="648"/>
                  </a:lnTo>
                  <a:lnTo>
                    <a:pt x="92" y="647"/>
                  </a:lnTo>
                  <a:lnTo>
                    <a:pt x="92" y="646"/>
                  </a:lnTo>
                  <a:lnTo>
                    <a:pt x="92" y="635"/>
                  </a:lnTo>
                  <a:lnTo>
                    <a:pt x="93" y="635"/>
                  </a:lnTo>
                  <a:lnTo>
                    <a:pt x="93" y="636"/>
                  </a:lnTo>
                  <a:lnTo>
                    <a:pt x="93" y="637"/>
                  </a:lnTo>
                  <a:lnTo>
                    <a:pt x="93" y="638"/>
                  </a:lnTo>
                  <a:lnTo>
                    <a:pt x="94" y="638"/>
                  </a:lnTo>
                  <a:lnTo>
                    <a:pt x="94" y="640"/>
                  </a:lnTo>
                  <a:lnTo>
                    <a:pt x="93" y="640"/>
                  </a:lnTo>
                  <a:lnTo>
                    <a:pt x="93" y="641"/>
                  </a:lnTo>
                  <a:lnTo>
                    <a:pt x="93" y="642"/>
                  </a:lnTo>
                  <a:lnTo>
                    <a:pt x="94" y="642"/>
                  </a:lnTo>
                  <a:lnTo>
                    <a:pt x="93" y="643"/>
                  </a:lnTo>
                  <a:lnTo>
                    <a:pt x="93" y="644"/>
                  </a:lnTo>
                  <a:lnTo>
                    <a:pt x="94" y="646"/>
                  </a:lnTo>
                  <a:lnTo>
                    <a:pt x="94" y="650"/>
                  </a:lnTo>
                  <a:lnTo>
                    <a:pt x="94" y="652"/>
                  </a:lnTo>
                  <a:lnTo>
                    <a:pt x="96" y="652"/>
                  </a:lnTo>
                  <a:lnTo>
                    <a:pt x="96" y="653"/>
                  </a:lnTo>
                  <a:lnTo>
                    <a:pt x="96" y="652"/>
                  </a:lnTo>
                  <a:lnTo>
                    <a:pt x="96" y="650"/>
                  </a:lnTo>
                  <a:lnTo>
                    <a:pt x="96" y="640"/>
                  </a:lnTo>
                  <a:lnTo>
                    <a:pt x="97" y="640"/>
                  </a:lnTo>
                  <a:lnTo>
                    <a:pt x="97" y="638"/>
                  </a:lnTo>
                  <a:lnTo>
                    <a:pt x="98" y="638"/>
                  </a:lnTo>
                  <a:lnTo>
                    <a:pt x="98" y="641"/>
                  </a:lnTo>
                  <a:lnTo>
                    <a:pt x="98" y="642"/>
                  </a:lnTo>
                  <a:lnTo>
                    <a:pt x="99" y="642"/>
                  </a:lnTo>
                  <a:lnTo>
                    <a:pt x="100" y="642"/>
                  </a:lnTo>
                  <a:lnTo>
                    <a:pt x="100" y="641"/>
                  </a:lnTo>
                  <a:lnTo>
                    <a:pt x="100" y="640"/>
                  </a:lnTo>
                  <a:lnTo>
                    <a:pt x="102" y="638"/>
                  </a:lnTo>
                  <a:lnTo>
                    <a:pt x="103" y="638"/>
                  </a:lnTo>
                  <a:lnTo>
                    <a:pt x="104" y="638"/>
                  </a:lnTo>
                  <a:lnTo>
                    <a:pt x="104" y="640"/>
                  </a:lnTo>
                  <a:lnTo>
                    <a:pt x="106" y="640"/>
                  </a:lnTo>
                  <a:lnTo>
                    <a:pt x="105" y="638"/>
                  </a:lnTo>
                  <a:lnTo>
                    <a:pt x="105" y="637"/>
                  </a:lnTo>
                  <a:lnTo>
                    <a:pt x="105" y="636"/>
                  </a:lnTo>
                  <a:lnTo>
                    <a:pt x="105" y="635"/>
                  </a:lnTo>
                  <a:lnTo>
                    <a:pt x="105" y="634"/>
                  </a:lnTo>
                  <a:lnTo>
                    <a:pt x="105" y="632"/>
                  </a:lnTo>
                  <a:lnTo>
                    <a:pt x="106" y="632"/>
                  </a:lnTo>
                  <a:lnTo>
                    <a:pt x="106" y="634"/>
                  </a:lnTo>
                  <a:lnTo>
                    <a:pt x="108" y="634"/>
                  </a:lnTo>
                  <a:lnTo>
                    <a:pt x="109" y="634"/>
                  </a:lnTo>
                  <a:lnTo>
                    <a:pt x="109" y="635"/>
                  </a:lnTo>
                  <a:lnTo>
                    <a:pt x="109" y="636"/>
                  </a:lnTo>
                  <a:lnTo>
                    <a:pt x="108" y="637"/>
                  </a:lnTo>
                  <a:lnTo>
                    <a:pt x="108" y="638"/>
                  </a:lnTo>
                  <a:lnTo>
                    <a:pt x="108" y="640"/>
                  </a:lnTo>
                  <a:lnTo>
                    <a:pt x="108" y="641"/>
                  </a:lnTo>
                  <a:lnTo>
                    <a:pt x="105" y="642"/>
                  </a:lnTo>
                  <a:lnTo>
                    <a:pt x="105" y="643"/>
                  </a:lnTo>
                  <a:lnTo>
                    <a:pt x="106" y="643"/>
                  </a:lnTo>
                  <a:lnTo>
                    <a:pt x="108" y="642"/>
                  </a:lnTo>
                  <a:lnTo>
                    <a:pt x="108" y="643"/>
                  </a:lnTo>
                  <a:lnTo>
                    <a:pt x="108" y="644"/>
                  </a:lnTo>
                  <a:lnTo>
                    <a:pt x="109" y="646"/>
                  </a:lnTo>
                  <a:lnTo>
                    <a:pt x="108" y="647"/>
                  </a:lnTo>
                  <a:lnTo>
                    <a:pt x="108" y="648"/>
                  </a:lnTo>
                  <a:lnTo>
                    <a:pt x="109" y="648"/>
                  </a:lnTo>
                  <a:lnTo>
                    <a:pt x="110" y="647"/>
                  </a:lnTo>
                  <a:lnTo>
                    <a:pt x="110" y="646"/>
                  </a:lnTo>
                  <a:lnTo>
                    <a:pt x="110" y="644"/>
                  </a:lnTo>
                  <a:lnTo>
                    <a:pt x="111" y="644"/>
                  </a:lnTo>
                  <a:lnTo>
                    <a:pt x="112" y="644"/>
                  </a:lnTo>
                  <a:lnTo>
                    <a:pt x="112" y="647"/>
                  </a:lnTo>
                  <a:lnTo>
                    <a:pt x="112" y="648"/>
                  </a:lnTo>
                  <a:lnTo>
                    <a:pt x="111" y="649"/>
                  </a:lnTo>
                  <a:lnTo>
                    <a:pt x="110" y="650"/>
                  </a:lnTo>
                  <a:lnTo>
                    <a:pt x="110" y="652"/>
                  </a:lnTo>
                  <a:lnTo>
                    <a:pt x="110" y="653"/>
                  </a:lnTo>
                  <a:lnTo>
                    <a:pt x="109" y="654"/>
                  </a:lnTo>
                  <a:lnTo>
                    <a:pt x="110" y="656"/>
                  </a:lnTo>
                  <a:lnTo>
                    <a:pt x="111" y="658"/>
                  </a:lnTo>
                  <a:lnTo>
                    <a:pt x="110" y="658"/>
                  </a:lnTo>
                  <a:lnTo>
                    <a:pt x="109" y="658"/>
                  </a:lnTo>
                  <a:lnTo>
                    <a:pt x="108" y="659"/>
                  </a:lnTo>
                  <a:lnTo>
                    <a:pt x="106" y="660"/>
                  </a:lnTo>
                  <a:lnTo>
                    <a:pt x="105" y="661"/>
                  </a:lnTo>
                  <a:lnTo>
                    <a:pt x="104" y="662"/>
                  </a:lnTo>
                  <a:lnTo>
                    <a:pt x="103" y="664"/>
                  </a:lnTo>
                  <a:lnTo>
                    <a:pt x="102" y="664"/>
                  </a:lnTo>
                  <a:lnTo>
                    <a:pt x="102" y="665"/>
                  </a:lnTo>
                  <a:lnTo>
                    <a:pt x="100" y="666"/>
                  </a:lnTo>
                  <a:lnTo>
                    <a:pt x="100" y="667"/>
                  </a:lnTo>
                  <a:lnTo>
                    <a:pt x="99" y="667"/>
                  </a:lnTo>
                  <a:lnTo>
                    <a:pt x="96" y="667"/>
                  </a:lnTo>
                  <a:lnTo>
                    <a:pt x="94" y="667"/>
                  </a:lnTo>
                  <a:lnTo>
                    <a:pt x="93" y="668"/>
                  </a:lnTo>
                  <a:lnTo>
                    <a:pt x="92" y="670"/>
                  </a:lnTo>
                  <a:lnTo>
                    <a:pt x="90" y="671"/>
                  </a:lnTo>
                  <a:lnTo>
                    <a:pt x="88" y="670"/>
                  </a:lnTo>
                  <a:lnTo>
                    <a:pt x="87" y="670"/>
                  </a:lnTo>
                  <a:lnTo>
                    <a:pt x="86" y="668"/>
                  </a:lnTo>
                  <a:lnTo>
                    <a:pt x="85" y="668"/>
                  </a:lnTo>
                  <a:lnTo>
                    <a:pt x="82" y="668"/>
                  </a:lnTo>
                  <a:lnTo>
                    <a:pt x="83" y="668"/>
                  </a:lnTo>
                  <a:lnTo>
                    <a:pt x="85" y="670"/>
                  </a:lnTo>
                  <a:lnTo>
                    <a:pt x="85" y="671"/>
                  </a:lnTo>
                  <a:lnTo>
                    <a:pt x="83" y="671"/>
                  </a:lnTo>
                  <a:lnTo>
                    <a:pt x="82" y="671"/>
                  </a:lnTo>
                  <a:lnTo>
                    <a:pt x="81" y="672"/>
                  </a:lnTo>
                  <a:lnTo>
                    <a:pt x="80" y="672"/>
                  </a:lnTo>
                  <a:lnTo>
                    <a:pt x="81" y="673"/>
                  </a:lnTo>
                  <a:lnTo>
                    <a:pt x="82" y="673"/>
                  </a:lnTo>
                  <a:lnTo>
                    <a:pt x="83" y="672"/>
                  </a:lnTo>
                  <a:lnTo>
                    <a:pt x="85" y="672"/>
                  </a:lnTo>
                  <a:lnTo>
                    <a:pt x="86" y="672"/>
                  </a:lnTo>
                  <a:lnTo>
                    <a:pt x="86" y="673"/>
                  </a:lnTo>
                  <a:lnTo>
                    <a:pt x="86" y="674"/>
                  </a:lnTo>
                  <a:lnTo>
                    <a:pt x="85" y="676"/>
                  </a:lnTo>
                  <a:lnTo>
                    <a:pt x="85" y="677"/>
                  </a:lnTo>
                  <a:lnTo>
                    <a:pt x="86" y="676"/>
                  </a:lnTo>
                  <a:lnTo>
                    <a:pt x="87" y="674"/>
                  </a:lnTo>
                  <a:lnTo>
                    <a:pt x="87" y="673"/>
                  </a:lnTo>
                  <a:lnTo>
                    <a:pt x="88" y="673"/>
                  </a:lnTo>
                  <a:lnTo>
                    <a:pt x="90" y="673"/>
                  </a:lnTo>
                  <a:lnTo>
                    <a:pt x="90" y="676"/>
                  </a:lnTo>
                  <a:lnTo>
                    <a:pt x="90" y="677"/>
                  </a:lnTo>
                  <a:lnTo>
                    <a:pt x="91" y="676"/>
                  </a:lnTo>
                  <a:lnTo>
                    <a:pt x="91" y="674"/>
                  </a:lnTo>
                  <a:lnTo>
                    <a:pt x="91" y="673"/>
                  </a:lnTo>
                  <a:lnTo>
                    <a:pt x="91" y="671"/>
                  </a:lnTo>
                  <a:lnTo>
                    <a:pt x="92" y="671"/>
                  </a:lnTo>
                  <a:lnTo>
                    <a:pt x="92" y="672"/>
                  </a:lnTo>
                  <a:lnTo>
                    <a:pt x="92" y="673"/>
                  </a:lnTo>
                  <a:lnTo>
                    <a:pt x="92" y="676"/>
                  </a:lnTo>
                  <a:lnTo>
                    <a:pt x="92" y="677"/>
                  </a:lnTo>
                  <a:lnTo>
                    <a:pt x="93" y="678"/>
                  </a:lnTo>
                  <a:lnTo>
                    <a:pt x="92" y="680"/>
                  </a:lnTo>
                  <a:lnTo>
                    <a:pt x="91" y="682"/>
                  </a:lnTo>
                  <a:lnTo>
                    <a:pt x="88" y="682"/>
                  </a:lnTo>
                  <a:lnTo>
                    <a:pt x="85" y="682"/>
                  </a:lnTo>
                  <a:lnTo>
                    <a:pt x="83" y="680"/>
                  </a:lnTo>
                  <a:lnTo>
                    <a:pt x="82" y="679"/>
                  </a:lnTo>
                  <a:lnTo>
                    <a:pt x="81" y="679"/>
                  </a:lnTo>
                  <a:lnTo>
                    <a:pt x="81" y="680"/>
                  </a:lnTo>
                  <a:lnTo>
                    <a:pt x="80" y="680"/>
                  </a:lnTo>
                  <a:lnTo>
                    <a:pt x="79" y="679"/>
                  </a:lnTo>
                  <a:lnTo>
                    <a:pt x="79" y="678"/>
                  </a:lnTo>
                  <a:lnTo>
                    <a:pt x="79" y="679"/>
                  </a:lnTo>
                  <a:lnTo>
                    <a:pt x="79" y="680"/>
                  </a:lnTo>
                  <a:lnTo>
                    <a:pt x="77" y="679"/>
                  </a:lnTo>
                  <a:lnTo>
                    <a:pt x="76" y="678"/>
                  </a:lnTo>
                  <a:lnTo>
                    <a:pt x="76" y="677"/>
                  </a:lnTo>
                  <a:lnTo>
                    <a:pt x="75" y="678"/>
                  </a:lnTo>
                  <a:lnTo>
                    <a:pt x="75" y="679"/>
                  </a:lnTo>
                  <a:lnTo>
                    <a:pt x="73" y="679"/>
                  </a:lnTo>
                  <a:lnTo>
                    <a:pt x="70" y="678"/>
                  </a:lnTo>
                  <a:lnTo>
                    <a:pt x="69" y="678"/>
                  </a:lnTo>
                  <a:lnTo>
                    <a:pt x="69" y="679"/>
                  </a:lnTo>
                  <a:lnTo>
                    <a:pt x="70" y="679"/>
                  </a:lnTo>
                  <a:lnTo>
                    <a:pt x="71" y="679"/>
                  </a:lnTo>
                  <a:lnTo>
                    <a:pt x="73" y="680"/>
                  </a:lnTo>
                  <a:lnTo>
                    <a:pt x="73" y="682"/>
                  </a:lnTo>
                  <a:lnTo>
                    <a:pt x="73" y="683"/>
                  </a:lnTo>
                  <a:lnTo>
                    <a:pt x="74" y="683"/>
                  </a:lnTo>
                  <a:lnTo>
                    <a:pt x="75" y="683"/>
                  </a:lnTo>
                  <a:lnTo>
                    <a:pt x="76" y="684"/>
                  </a:lnTo>
                  <a:lnTo>
                    <a:pt x="76" y="683"/>
                  </a:lnTo>
                  <a:lnTo>
                    <a:pt x="77" y="682"/>
                  </a:lnTo>
                  <a:lnTo>
                    <a:pt x="79" y="682"/>
                  </a:lnTo>
                  <a:lnTo>
                    <a:pt x="79" y="683"/>
                  </a:lnTo>
                  <a:lnTo>
                    <a:pt x="77" y="683"/>
                  </a:lnTo>
                  <a:lnTo>
                    <a:pt x="77" y="684"/>
                  </a:lnTo>
                  <a:lnTo>
                    <a:pt x="77" y="685"/>
                  </a:lnTo>
                  <a:lnTo>
                    <a:pt x="79" y="684"/>
                  </a:lnTo>
                  <a:lnTo>
                    <a:pt x="80" y="685"/>
                  </a:lnTo>
                  <a:lnTo>
                    <a:pt x="79" y="685"/>
                  </a:lnTo>
                  <a:lnTo>
                    <a:pt x="79" y="688"/>
                  </a:lnTo>
                  <a:lnTo>
                    <a:pt x="80" y="688"/>
                  </a:lnTo>
                  <a:lnTo>
                    <a:pt x="80" y="686"/>
                  </a:lnTo>
                  <a:lnTo>
                    <a:pt x="80" y="685"/>
                  </a:lnTo>
                  <a:lnTo>
                    <a:pt x="80" y="684"/>
                  </a:lnTo>
                  <a:lnTo>
                    <a:pt x="80" y="683"/>
                  </a:lnTo>
                  <a:lnTo>
                    <a:pt x="82" y="683"/>
                  </a:lnTo>
                  <a:lnTo>
                    <a:pt x="83" y="683"/>
                  </a:lnTo>
                  <a:lnTo>
                    <a:pt x="82" y="685"/>
                  </a:lnTo>
                  <a:lnTo>
                    <a:pt x="81" y="685"/>
                  </a:lnTo>
                  <a:lnTo>
                    <a:pt x="81" y="686"/>
                  </a:lnTo>
                  <a:lnTo>
                    <a:pt x="81" y="688"/>
                  </a:lnTo>
                  <a:lnTo>
                    <a:pt x="82" y="688"/>
                  </a:lnTo>
                  <a:lnTo>
                    <a:pt x="82" y="686"/>
                  </a:lnTo>
                  <a:lnTo>
                    <a:pt x="83" y="686"/>
                  </a:lnTo>
                  <a:lnTo>
                    <a:pt x="83" y="685"/>
                  </a:lnTo>
                  <a:lnTo>
                    <a:pt x="85" y="684"/>
                  </a:lnTo>
                  <a:lnTo>
                    <a:pt x="87" y="684"/>
                  </a:lnTo>
                  <a:lnTo>
                    <a:pt x="87" y="685"/>
                  </a:lnTo>
                  <a:lnTo>
                    <a:pt x="86" y="685"/>
                  </a:lnTo>
                  <a:lnTo>
                    <a:pt x="86" y="688"/>
                  </a:lnTo>
                  <a:lnTo>
                    <a:pt x="85" y="689"/>
                  </a:lnTo>
                  <a:lnTo>
                    <a:pt x="85" y="690"/>
                  </a:lnTo>
                  <a:lnTo>
                    <a:pt x="85" y="691"/>
                  </a:lnTo>
                  <a:lnTo>
                    <a:pt x="85" y="692"/>
                  </a:lnTo>
                  <a:lnTo>
                    <a:pt x="85" y="694"/>
                  </a:lnTo>
                  <a:lnTo>
                    <a:pt x="83" y="694"/>
                  </a:lnTo>
                  <a:lnTo>
                    <a:pt x="81" y="692"/>
                  </a:lnTo>
                  <a:lnTo>
                    <a:pt x="80" y="691"/>
                  </a:lnTo>
                  <a:lnTo>
                    <a:pt x="80" y="692"/>
                  </a:lnTo>
                  <a:lnTo>
                    <a:pt x="81" y="692"/>
                  </a:lnTo>
                  <a:lnTo>
                    <a:pt x="81" y="694"/>
                  </a:lnTo>
                  <a:lnTo>
                    <a:pt x="82" y="695"/>
                  </a:lnTo>
                  <a:lnTo>
                    <a:pt x="81" y="695"/>
                  </a:lnTo>
                  <a:lnTo>
                    <a:pt x="80" y="696"/>
                  </a:lnTo>
                  <a:lnTo>
                    <a:pt x="77" y="697"/>
                  </a:lnTo>
                  <a:lnTo>
                    <a:pt x="75" y="697"/>
                  </a:lnTo>
                  <a:lnTo>
                    <a:pt x="74" y="698"/>
                  </a:lnTo>
                  <a:lnTo>
                    <a:pt x="75" y="698"/>
                  </a:lnTo>
                  <a:lnTo>
                    <a:pt x="76" y="698"/>
                  </a:lnTo>
                  <a:lnTo>
                    <a:pt x="77" y="698"/>
                  </a:lnTo>
                  <a:lnTo>
                    <a:pt x="79" y="698"/>
                  </a:lnTo>
                  <a:lnTo>
                    <a:pt x="80" y="698"/>
                  </a:lnTo>
                  <a:lnTo>
                    <a:pt x="80" y="697"/>
                  </a:lnTo>
                  <a:lnTo>
                    <a:pt x="81" y="697"/>
                  </a:lnTo>
                  <a:lnTo>
                    <a:pt x="82" y="698"/>
                  </a:lnTo>
                  <a:lnTo>
                    <a:pt x="81" y="698"/>
                  </a:lnTo>
                  <a:lnTo>
                    <a:pt x="80" y="700"/>
                  </a:lnTo>
                  <a:lnTo>
                    <a:pt x="79" y="701"/>
                  </a:lnTo>
                  <a:lnTo>
                    <a:pt x="79" y="702"/>
                  </a:lnTo>
                  <a:lnTo>
                    <a:pt x="77" y="702"/>
                  </a:lnTo>
                  <a:lnTo>
                    <a:pt x="77" y="703"/>
                  </a:lnTo>
                  <a:lnTo>
                    <a:pt x="79" y="703"/>
                  </a:lnTo>
                  <a:lnTo>
                    <a:pt x="80" y="702"/>
                  </a:lnTo>
                  <a:lnTo>
                    <a:pt x="81" y="702"/>
                  </a:lnTo>
                  <a:lnTo>
                    <a:pt x="81" y="705"/>
                  </a:lnTo>
                  <a:lnTo>
                    <a:pt x="81" y="706"/>
                  </a:lnTo>
                  <a:lnTo>
                    <a:pt x="81" y="707"/>
                  </a:lnTo>
                  <a:lnTo>
                    <a:pt x="82" y="706"/>
                  </a:lnTo>
                  <a:lnTo>
                    <a:pt x="82" y="703"/>
                  </a:lnTo>
                  <a:lnTo>
                    <a:pt x="83" y="702"/>
                  </a:lnTo>
                  <a:lnTo>
                    <a:pt x="83" y="701"/>
                  </a:lnTo>
                  <a:lnTo>
                    <a:pt x="85" y="700"/>
                  </a:lnTo>
                  <a:lnTo>
                    <a:pt x="86" y="701"/>
                  </a:lnTo>
                  <a:lnTo>
                    <a:pt x="86" y="702"/>
                  </a:lnTo>
                  <a:lnTo>
                    <a:pt x="85" y="703"/>
                  </a:lnTo>
                  <a:lnTo>
                    <a:pt x="85" y="705"/>
                  </a:lnTo>
                  <a:lnTo>
                    <a:pt x="86" y="705"/>
                  </a:lnTo>
                  <a:lnTo>
                    <a:pt x="87" y="705"/>
                  </a:lnTo>
                  <a:lnTo>
                    <a:pt x="87" y="714"/>
                  </a:lnTo>
                  <a:lnTo>
                    <a:pt x="87" y="715"/>
                  </a:lnTo>
                  <a:lnTo>
                    <a:pt x="88" y="717"/>
                  </a:lnTo>
                  <a:lnTo>
                    <a:pt x="90" y="717"/>
                  </a:lnTo>
                  <a:lnTo>
                    <a:pt x="90" y="715"/>
                  </a:lnTo>
                  <a:lnTo>
                    <a:pt x="90" y="714"/>
                  </a:lnTo>
                  <a:lnTo>
                    <a:pt x="91" y="711"/>
                  </a:lnTo>
                  <a:lnTo>
                    <a:pt x="91" y="713"/>
                  </a:lnTo>
                  <a:lnTo>
                    <a:pt x="92" y="714"/>
                  </a:lnTo>
                  <a:lnTo>
                    <a:pt x="92" y="712"/>
                  </a:lnTo>
                  <a:lnTo>
                    <a:pt x="93" y="711"/>
                  </a:lnTo>
                  <a:lnTo>
                    <a:pt x="93" y="709"/>
                  </a:lnTo>
                  <a:lnTo>
                    <a:pt x="94" y="708"/>
                  </a:lnTo>
                  <a:lnTo>
                    <a:pt x="96" y="707"/>
                  </a:lnTo>
                  <a:lnTo>
                    <a:pt x="97" y="708"/>
                  </a:lnTo>
                  <a:lnTo>
                    <a:pt x="98" y="709"/>
                  </a:lnTo>
                  <a:lnTo>
                    <a:pt x="99" y="708"/>
                  </a:lnTo>
                  <a:lnTo>
                    <a:pt x="100" y="708"/>
                  </a:lnTo>
                  <a:lnTo>
                    <a:pt x="100" y="711"/>
                  </a:lnTo>
                  <a:lnTo>
                    <a:pt x="102" y="712"/>
                  </a:lnTo>
                  <a:lnTo>
                    <a:pt x="103" y="713"/>
                  </a:lnTo>
                  <a:lnTo>
                    <a:pt x="102" y="714"/>
                  </a:lnTo>
                  <a:lnTo>
                    <a:pt x="100" y="715"/>
                  </a:lnTo>
                  <a:lnTo>
                    <a:pt x="100" y="717"/>
                  </a:lnTo>
                  <a:lnTo>
                    <a:pt x="100" y="718"/>
                  </a:lnTo>
                  <a:lnTo>
                    <a:pt x="99" y="718"/>
                  </a:lnTo>
                  <a:lnTo>
                    <a:pt x="99" y="719"/>
                  </a:lnTo>
                  <a:lnTo>
                    <a:pt x="99" y="720"/>
                  </a:lnTo>
                  <a:lnTo>
                    <a:pt x="100" y="720"/>
                  </a:lnTo>
                  <a:lnTo>
                    <a:pt x="100" y="719"/>
                  </a:lnTo>
                  <a:lnTo>
                    <a:pt x="102" y="719"/>
                  </a:lnTo>
                  <a:lnTo>
                    <a:pt x="102" y="718"/>
                  </a:lnTo>
                  <a:lnTo>
                    <a:pt x="102" y="717"/>
                  </a:lnTo>
                  <a:lnTo>
                    <a:pt x="103" y="717"/>
                  </a:lnTo>
                  <a:lnTo>
                    <a:pt x="103" y="719"/>
                  </a:lnTo>
                  <a:lnTo>
                    <a:pt x="103" y="720"/>
                  </a:lnTo>
                  <a:lnTo>
                    <a:pt x="104" y="720"/>
                  </a:lnTo>
                  <a:lnTo>
                    <a:pt x="105" y="718"/>
                  </a:lnTo>
                  <a:lnTo>
                    <a:pt x="105" y="717"/>
                  </a:lnTo>
                  <a:lnTo>
                    <a:pt x="106" y="715"/>
                  </a:lnTo>
                  <a:lnTo>
                    <a:pt x="106" y="717"/>
                  </a:lnTo>
                  <a:lnTo>
                    <a:pt x="108" y="715"/>
                  </a:lnTo>
                  <a:lnTo>
                    <a:pt x="108" y="713"/>
                  </a:lnTo>
                  <a:lnTo>
                    <a:pt x="109" y="713"/>
                  </a:lnTo>
                  <a:lnTo>
                    <a:pt x="109" y="714"/>
                  </a:lnTo>
                  <a:lnTo>
                    <a:pt x="110" y="714"/>
                  </a:lnTo>
                  <a:lnTo>
                    <a:pt x="111" y="714"/>
                  </a:lnTo>
                  <a:lnTo>
                    <a:pt x="111" y="715"/>
                  </a:lnTo>
                  <a:lnTo>
                    <a:pt x="112" y="717"/>
                  </a:lnTo>
                  <a:lnTo>
                    <a:pt x="114" y="717"/>
                  </a:lnTo>
                  <a:lnTo>
                    <a:pt x="114" y="718"/>
                  </a:lnTo>
                  <a:lnTo>
                    <a:pt x="114" y="719"/>
                  </a:lnTo>
                  <a:lnTo>
                    <a:pt x="116" y="719"/>
                  </a:lnTo>
                  <a:lnTo>
                    <a:pt x="115" y="718"/>
                  </a:lnTo>
                  <a:lnTo>
                    <a:pt x="116" y="714"/>
                  </a:lnTo>
                  <a:lnTo>
                    <a:pt x="117" y="715"/>
                  </a:lnTo>
                  <a:lnTo>
                    <a:pt x="118" y="717"/>
                  </a:lnTo>
                  <a:lnTo>
                    <a:pt x="120" y="717"/>
                  </a:lnTo>
                  <a:lnTo>
                    <a:pt x="118" y="718"/>
                  </a:lnTo>
                  <a:lnTo>
                    <a:pt x="118" y="720"/>
                  </a:lnTo>
                  <a:lnTo>
                    <a:pt x="117" y="721"/>
                  </a:lnTo>
                  <a:lnTo>
                    <a:pt x="117" y="723"/>
                  </a:lnTo>
                  <a:lnTo>
                    <a:pt x="118" y="723"/>
                  </a:lnTo>
                  <a:lnTo>
                    <a:pt x="120" y="721"/>
                  </a:lnTo>
                  <a:lnTo>
                    <a:pt x="121" y="721"/>
                  </a:lnTo>
                  <a:lnTo>
                    <a:pt x="122" y="723"/>
                  </a:lnTo>
                  <a:lnTo>
                    <a:pt x="124" y="725"/>
                  </a:lnTo>
                  <a:lnTo>
                    <a:pt x="124" y="726"/>
                  </a:lnTo>
                  <a:lnTo>
                    <a:pt x="126" y="727"/>
                  </a:lnTo>
                  <a:lnTo>
                    <a:pt x="126" y="730"/>
                  </a:lnTo>
                  <a:lnTo>
                    <a:pt x="124" y="731"/>
                  </a:lnTo>
                  <a:lnTo>
                    <a:pt x="123" y="731"/>
                  </a:lnTo>
                  <a:lnTo>
                    <a:pt x="121" y="732"/>
                  </a:lnTo>
                  <a:lnTo>
                    <a:pt x="120" y="731"/>
                  </a:lnTo>
                  <a:lnTo>
                    <a:pt x="118" y="731"/>
                  </a:lnTo>
                  <a:lnTo>
                    <a:pt x="117" y="732"/>
                  </a:lnTo>
                  <a:lnTo>
                    <a:pt x="116" y="732"/>
                  </a:lnTo>
                  <a:lnTo>
                    <a:pt x="114" y="732"/>
                  </a:lnTo>
                  <a:lnTo>
                    <a:pt x="112" y="731"/>
                  </a:lnTo>
                  <a:lnTo>
                    <a:pt x="111" y="730"/>
                  </a:lnTo>
                  <a:lnTo>
                    <a:pt x="109" y="730"/>
                  </a:lnTo>
                  <a:lnTo>
                    <a:pt x="108" y="730"/>
                  </a:lnTo>
                  <a:lnTo>
                    <a:pt x="104" y="730"/>
                  </a:lnTo>
                  <a:lnTo>
                    <a:pt x="103" y="729"/>
                  </a:lnTo>
                  <a:lnTo>
                    <a:pt x="100" y="729"/>
                  </a:lnTo>
                  <a:lnTo>
                    <a:pt x="100" y="730"/>
                  </a:lnTo>
                  <a:lnTo>
                    <a:pt x="102" y="730"/>
                  </a:lnTo>
                  <a:lnTo>
                    <a:pt x="103" y="730"/>
                  </a:lnTo>
                  <a:lnTo>
                    <a:pt x="104" y="731"/>
                  </a:lnTo>
                  <a:lnTo>
                    <a:pt x="105" y="732"/>
                  </a:lnTo>
                  <a:lnTo>
                    <a:pt x="104" y="733"/>
                  </a:lnTo>
                  <a:lnTo>
                    <a:pt x="104" y="735"/>
                  </a:lnTo>
                  <a:lnTo>
                    <a:pt x="105" y="735"/>
                  </a:lnTo>
                  <a:lnTo>
                    <a:pt x="106" y="735"/>
                  </a:lnTo>
                  <a:lnTo>
                    <a:pt x="108" y="733"/>
                  </a:lnTo>
                  <a:lnTo>
                    <a:pt x="109" y="732"/>
                  </a:lnTo>
                  <a:lnTo>
                    <a:pt x="110" y="732"/>
                  </a:lnTo>
                  <a:lnTo>
                    <a:pt x="112" y="733"/>
                  </a:lnTo>
                  <a:lnTo>
                    <a:pt x="111" y="735"/>
                  </a:lnTo>
                  <a:lnTo>
                    <a:pt x="111" y="736"/>
                  </a:lnTo>
                  <a:lnTo>
                    <a:pt x="110" y="738"/>
                  </a:lnTo>
                  <a:lnTo>
                    <a:pt x="111" y="738"/>
                  </a:lnTo>
                  <a:lnTo>
                    <a:pt x="112" y="738"/>
                  </a:lnTo>
                  <a:lnTo>
                    <a:pt x="114" y="736"/>
                  </a:lnTo>
                  <a:lnTo>
                    <a:pt x="114" y="735"/>
                  </a:lnTo>
                  <a:lnTo>
                    <a:pt x="114" y="733"/>
                  </a:lnTo>
                  <a:lnTo>
                    <a:pt x="115" y="733"/>
                  </a:lnTo>
                  <a:lnTo>
                    <a:pt x="117" y="733"/>
                  </a:lnTo>
                  <a:lnTo>
                    <a:pt x="118" y="733"/>
                  </a:lnTo>
                  <a:lnTo>
                    <a:pt x="117" y="736"/>
                  </a:lnTo>
                  <a:lnTo>
                    <a:pt x="116" y="737"/>
                  </a:lnTo>
                  <a:lnTo>
                    <a:pt x="116" y="739"/>
                  </a:lnTo>
                  <a:lnTo>
                    <a:pt x="116" y="742"/>
                  </a:lnTo>
                  <a:lnTo>
                    <a:pt x="116" y="743"/>
                  </a:lnTo>
                  <a:lnTo>
                    <a:pt x="116" y="744"/>
                  </a:lnTo>
                  <a:lnTo>
                    <a:pt x="116" y="747"/>
                  </a:lnTo>
                  <a:lnTo>
                    <a:pt x="116" y="749"/>
                  </a:lnTo>
                  <a:lnTo>
                    <a:pt x="117" y="750"/>
                  </a:lnTo>
                  <a:lnTo>
                    <a:pt x="118" y="750"/>
                  </a:lnTo>
                  <a:lnTo>
                    <a:pt x="120" y="750"/>
                  </a:lnTo>
                  <a:lnTo>
                    <a:pt x="120" y="749"/>
                  </a:lnTo>
                  <a:lnTo>
                    <a:pt x="120" y="745"/>
                  </a:lnTo>
                  <a:lnTo>
                    <a:pt x="120" y="743"/>
                  </a:lnTo>
                  <a:lnTo>
                    <a:pt x="120" y="741"/>
                  </a:lnTo>
                  <a:lnTo>
                    <a:pt x="120" y="738"/>
                  </a:lnTo>
                  <a:lnTo>
                    <a:pt x="121" y="737"/>
                  </a:lnTo>
                  <a:lnTo>
                    <a:pt x="122" y="736"/>
                  </a:lnTo>
                  <a:lnTo>
                    <a:pt x="122" y="735"/>
                  </a:lnTo>
                  <a:lnTo>
                    <a:pt x="123" y="732"/>
                  </a:lnTo>
                  <a:lnTo>
                    <a:pt x="123" y="735"/>
                  </a:lnTo>
                  <a:lnTo>
                    <a:pt x="122" y="737"/>
                  </a:lnTo>
                  <a:lnTo>
                    <a:pt x="123" y="736"/>
                  </a:lnTo>
                  <a:lnTo>
                    <a:pt x="124" y="735"/>
                  </a:lnTo>
                  <a:lnTo>
                    <a:pt x="124" y="736"/>
                  </a:lnTo>
                  <a:lnTo>
                    <a:pt x="124" y="739"/>
                  </a:lnTo>
                  <a:lnTo>
                    <a:pt x="124" y="742"/>
                  </a:lnTo>
                  <a:lnTo>
                    <a:pt x="123" y="743"/>
                  </a:lnTo>
                  <a:lnTo>
                    <a:pt x="123" y="744"/>
                  </a:lnTo>
                  <a:lnTo>
                    <a:pt x="123" y="747"/>
                  </a:lnTo>
                  <a:lnTo>
                    <a:pt x="124" y="748"/>
                  </a:lnTo>
                  <a:lnTo>
                    <a:pt x="124" y="749"/>
                  </a:lnTo>
                  <a:lnTo>
                    <a:pt x="126" y="749"/>
                  </a:lnTo>
                  <a:lnTo>
                    <a:pt x="126" y="748"/>
                  </a:lnTo>
                  <a:lnTo>
                    <a:pt x="127" y="744"/>
                  </a:lnTo>
                  <a:lnTo>
                    <a:pt x="127" y="741"/>
                  </a:lnTo>
                  <a:lnTo>
                    <a:pt x="127" y="738"/>
                  </a:lnTo>
                  <a:lnTo>
                    <a:pt x="127" y="736"/>
                  </a:lnTo>
                  <a:lnTo>
                    <a:pt x="127" y="733"/>
                  </a:lnTo>
                  <a:lnTo>
                    <a:pt x="128" y="732"/>
                  </a:lnTo>
                  <a:lnTo>
                    <a:pt x="129" y="732"/>
                  </a:lnTo>
                  <a:lnTo>
                    <a:pt x="128" y="735"/>
                  </a:lnTo>
                  <a:lnTo>
                    <a:pt x="127" y="738"/>
                  </a:lnTo>
                  <a:lnTo>
                    <a:pt x="127" y="739"/>
                  </a:lnTo>
                  <a:lnTo>
                    <a:pt x="127" y="742"/>
                  </a:lnTo>
                  <a:lnTo>
                    <a:pt x="128" y="744"/>
                  </a:lnTo>
                  <a:lnTo>
                    <a:pt x="129" y="743"/>
                  </a:lnTo>
                  <a:lnTo>
                    <a:pt x="130" y="743"/>
                  </a:lnTo>
                  <a:lnTo>
                    <a:pt x="129" y="745"/>
                  </a:lnTo>
                  <a:lnTo>
                    <a:pt x="129" y="748"/>
                  </a:lnTo>
                  <a:lnTo>
                    <a:pt x="129" y="750"/>
                  </a:lnTo>
                  <a:lnTo>
                    <a:pt x="129" y="751"/>
                  </a:lnTo>
                  <a:lnTo>
                    <a:pt x="129" y="753"/>
                  </a:lnTo>
                  <a:lnTo>
                    <a:pt x="130" y="753"/>
                  </a:lnTo>
                  <a:lnTo>
                    <a:pt x="130" y="751"/>
                  </a:lnTo>
                  <a:lnTo>
                    <a:pt x="132" y="749"/>
                  </a:lnTo>
                  <a:lnTo>
                    <a:pt x="132" y="748"/>
                  </a:lnTo>
                  <a:lnTo>
                    <a:pt x="133" y="748"/>
                  </a:lnTo>
                  <a:lnTo>
                    <a:pt x="133" y="747"/>
                  </a:lnTo>
                  <a:lnTo>
                    <a:pt x="134" y="747"/>
                  </a:lnTo>
                  <a:lnTo>
                    <a:pt x="134" y="748"/>
                  </a:lnTo>
                  <a:lnTo>
                    <a:pt x="134" y="749"/>
                  </a:lnTo>
                  <a:lnTo>
                    <a:pt x="134" y="750"/>
                  </a:lnTo>
                  <a:lnTo>
                    <a:pt x="134" y="751"/>
                  </a:lnTo>
                  <a:lnTo>
                    <a:pt x="134" y="753"/>
                  </a:lnTo>
                  <a:lnTo>
                    <a:pt x="135" y="754"/>
                  </a:lnTo>
                  <a:lnTo>
                    <a:pt x="135" y="753"/>
                  </a:lnTo>
                  <a:lnTo>
                    <a:pt x="136" y="750"/>
                  </a:lnTo>
                  <a:lnTo>
                    <a:pt x="136" y="748"/>
                  </a:lnTo>
                  <a:lnTo>
                    <a:pt x="136" y="747"/>
                  </a:lnTo>
                  <a:lnTo>
                    <a:pt x="138" y="747"/>
                  </a:lnTo>
                  <a:lnTo>
                    <a:pt x="139" y="745"/>
                  </a:lnTo>
                  <a:lnTo>
                    <a:pt x="140" y="745"/>
                  </a:lnTo>
                  <a:lnTo>
                    <a:pt x="140" y="749"/>
                  </a:lnTo>
                  <a:lnTo>
                    <a:pt x="140" y="751"/>
                  </a:lnTo>
                  <a:lnTo>
                    <a:pt x="141" y="753"/>
                  </a:lnTo>
                  <a:lnTo>
                    <a:pt x="142" y="751"/>
                  </a:lnTo>
                  <a:lnTo>
                    <a:pt x="142" y="749"/>
                  </a:lnTo>
                  <a:lnTo>
                    <a:pt x="144" y="748"/>
                  </a:lnTo>
                  <a:lnTo>
                    <a:pt x="144" y="749"/>
                  </a:lnTo>
                  <a:lnTo>
                    <a:pt x="145" y="751"/>
                  </a:lnTo>
                  <a:lnTo>
                    <a:pt x="146" y="751"/>
                  </a:lnTo>
                  <a:lnTo>
                    <a:pt x="146" y="753"/>
                  </a:lnTo>
                  <a:lnTo>
                    <a:pt x="146" y="754"/>
                  </a:lnTo>
                  <a:lnTo>
                    <a:pt x="146" y="755"/>
                  </a:lnTo>
                  <a:lnTo>
                    <a:pt x="145" y="756"/>
                  </a:lnTo>
                  <a:lnTo>
                    <a:pt x="144" y="757"/>
                  </a:lnTo>
                  <a:lnTo>
                    <a:pt x="144" y="760"/>
                  </a:lnTo>
                  <a:lnTo>
                    <a:pt x="144" y="761"/>
                  </a:lnTo>
                  <a:lnTo>
                    <a:pt x="144" y="762"/>
                  </a:lnTo>
                  <a:lnTo>
                    <a:pt x="145" y="763"/>
                  </a:lnTo>
                  <a:lnTo>
                    <a:pt x="145" y="765"/>
                  </a:lnTo>
                  <a:lnTo>
                    <a:pt x="146" y="765"/>
                  </a:lnTo>
                  <a:lnTo>
                    <a:pt x="146" y="763"/>
                  </a:lnTo>
                  <a:lnTo>
                    <a:pt x="146" y="761"/>
                  </a:lnTo>
                  <a:lnTo>
                    <a:pt x="147" y="759"/>
                  </a:lnTo>
                  <a:lnTo>
                    <a:pt x="149" y="756"/>
                  </a:lnTo>
                  <a:lnTo>
                    <a:pt x="149" y="755"/>
                  </a:lnTo>
                  <a:lnTo>
                    <a:pt x="151" y="755"/>
                  </a:lnTo>
                  <a:lnTo>
                    <a:pt x="152" y="756"/>
                  </a:lnTo>
                  <a:lnTo>
                    <a:pt x="152" y="757"/>
                  </a:lnTo>
                  <a:lnTo>
                    <a:pt x="151" y="760"/>
                  </a:lnTo>
                  <a:lnTo>
                    <a:pt x="151" y="762"/>
                  </a:lnTo>
                  <a:lnTo>
                    <a:pt x="152" y="763"/>
                  </a:lnTo>
                  <a:lnTo>
                    <a:pt x="153" y="765"/>
                  </a:lnTo>
                  <a:lnTo>
                    <a:pt x="155" y="763"/>
                  </a:lnTo>
                  <a:lnTo>
                    <a:pt x="153" y="762"/>
                  </a:lnTo>
                  <a:lnTo>
                    <a:pt x="153" y="760"/>
                  </a:lnTo>
                  <a:lnTo>
                    <a:pt x="155" y="759"/>
                  </a:lnTo>
                  <a:lnTo>
                    <a:pt x="156" y="760"/>
                  </a:lnTo>
                  <a:lnTo>
                    <a:pt x="157" y="760"/>
                  </a:lnTo>
                  <a:lnTo>
                    <a:pt x="157" y="759"/>
                  </a:lnTo>
                  <a:lnTo>
                    <a:pt x="157" y="757"/>
                  </a:lnTo>
                  <a:lnTo>
                    <a:pt x="157" y="756"/>
                  </a:lnTo>
                  <a:lnTo>
                    <a:pt x="158" y="756"/>
                  </a:lnTo>
                  <a:lnTo>
                    <a:pt x="158" y="755"/>
                  </a:lnTo>
                  <a:lnTo>
                    <a:pt x="159" y="753"/>
                  </a:lnTo>
                  <a:lnTo>
                    <a:pt x="159" y="751"/>
                  </a:lnTo>
                  <a:lnTo>
                    <a:pt x="161" y="748"/>
                  </a:lnTo>
                  <a:lnTo>
                    <a:pt x="161" y="747"/>
                  </a:lnTo>
                  <a:lnTo>
                    <a:pt x="161" y="748"/>
                  </a:lnTo>
                  <a:lnTo>
                    <a:pt x="161" y="750"/>
                  </a:lnTo>
                  <a:lnTo>
                    <a:pt x="159" y="754"/>
                  </a:lnTo>
                  <a:lnTo>
                    <a:pt x="159" y="756"/>
                  </a:lnTo>
                  <a:lnTo>
                    <a:pt x="159" y="757"/>
                  </a:lnTo>
                  <a:lnTo>
                    <a:pt x="161" y="755"/>
                  </a:lnTo>
                  <a:lnTo>
                    <a:pt x="161" y="754"/>
                  </a:lnTo>
                  <a:lnTo>
                    <a:pt x="161" y="757"/>
                  </a:lnTo>
                  <a:lnTo>
                    <a:pt x="161" y="759"/>
                  </a:lnTo>
                  <a:lnTo>
                    <a:pt x="161" y="761"/>
                  </a:lnTo>
                  <a:lnTo>
                    <a:pt x="161" y="762"/>
                  </a:lnTo>
                  <a:lnTo>
                    <a:pt x="159" y="765"/>
                  </a:lnTo>
                  <a:lnTo>
                    <a:pt x="159" y="766"/>
                  </a:lnTo>
                  <a:lnTo>
                    <a:pt x="159" y="767"/>
                  </a:lnTo>
                  <a:lnTo>
                    <a:pt x="159" y="768"/>
                  </a:lnTo>
                  <a:lnTo>
                    <a:pt x="161" y="769"/>
                  </a:lnTo>
                  <a:lnTo>
                    <a:pt x="162" y="767"/>
                  </a:lnTo>
                  <a:lnTo>
                    <a:pt x="162" y="766"/>
                  </a:lnTo>
                  <a:lnTo>
                    <a:pt x="162" y="765"/>
                  </a:lnTo>
                  <a:lnTo>
                    <a:pt x="163" y="765"/>
                  </a:lnTo>
                  <a:lnTo>
                    <a:pt x="163" y="766"/>
                  </a:lnTo>
                  <a:lnTo>
                    <a:pt x="164" y="767"/>
                  </a:lnTo>
                  <a:lnTo>
                    <a:pt x="165" y="768"/>
                  </a:lnTo>
                  <a:lnTo>
                    <a:pt x="165" y="769"/>
                  </a:lnTo>
                  <a:lnTo>
                    <a:pt x="167" y="769"/>
                  </a:lnTo>
                  <a:lnTo>
                    <a:pt x="167" y="768"/>
                  </a:lnTo>
                  <a:lnTo>
                    <a:pt x="168" y="767"/>
                  </a:lnTo>
                  <a:lnTo>
                    <a:pt x="168" y="766"/>
                  </a:lnTo>
                  <a:lnTo>
                    <a:pt x="168" y="765"/>
                  </a:lnTo>
                  <a:lnTo>
                    <a:pt x="169" y="763"/>
                  </a:lnTo>
                  <a:lnTo>
                    <a:pt x="170" y="765"/>
                  </a:lnTo>
                  <a:lnTo>
                    <a:pt x="170" y="767"/>
                  </a:lnTo>
                  <a:lnTo>
                    <a:pt x="170" y="772"/>
                  </a:lnTo>
                  <a:lnTo>
                    <a:pt x="171" y="771"/>
                  </a:lnTo>
                  <a:lnTo>
                    <a:pt x="171" y="769"/>
                  </a:lnTo>
                  <a:lnTo>
                    <a:pt x="171" y="766"/>
                  </a:lnTo>
                  <a:lnTo>
                    <a:pt x="173" y="766"/>
                  </a:lnTo>
                  <a:lnTo>
                    <a:pt x="173" y="763"/>
                  </a:lnTo>
                  <a:lnTo>
                    <a:pt x="173" y="762"/>
                  </a:lnTo>
                  <a:lnTo>
                    <a:pt x="174" y="763"/>
                  </a:lnTo>
                  <a:lnTo>
                    <a:pt x="175" y="763"/>
                  </a:lnTo>
                  <a:lnTo>
                    <a:pt x="175" y="762"/>
                  </a:lnTo>
                  <a:lnTo>
                    <a:pt x="175" y="761"/>
                  </a:lnTo>
                  <a:lnTo>
                    <a:pt x="175" y="759"/>
                  </a:lnTo>
                  <a:lnTo>
                    <a:pt x="176" y="757"/>
                  </a:lnTo>
                  <a:lnTo>
                    <a:pt x="176" y="760"/>
                  </a:lnTo>
                  <a:lnTo>
                    <a:pt x="177" y="760"/>
                  </a:lnTo>
                  <a:lnTo>
                    <a:pt x="179" y="761"/>
                  </a:lnTo>
                  <a:lnTo>
                    <a:pt x="179" y="762"/>
                  </a:lnTo>
                  <a:lnTo>
                    <a:pt x="177" y="763"/>
                  </a:lnTo>
                  <a:lnTo>
                    <a:pt x="176" y="765"/>
                  </a:lnTo>
                  <a:lnTo>
                    <a:pt x="177" y="765"/>
                  </a:lnTo>
                  <a:lnTo>
                    <a:pt x="179" y="763"/>
                  </a:lnTo>
                  <a:lnTo>
                    <a:pt x="179" y="766"/>
                  </a:lnTo>
                  <a:lnTo>
                    <a:pt x="179" y="767"/>
                  </a:lnTo>
                  <a:lnTo>
                    <a:pt x="180" y="767"/>
                  </a:lnTo>
                  <a:lnTo>
                    <a:pt x="180" y="765"/>
                  </a:lnTo>
                  <a:lnTo>
                    <a:pt x="180" y="762"/>
                  </a:lnTo>
                  <a:lnTo>
                    <a:pt x="181" y="762"/>
                  </a:lnTo>
                  <a:lnTo>
                    <a:pt x="181" y="761"/>
                  </a:lnTo>
                  <a:lnTo>
                    <a:pt x="181" y="759"/>
                  </a:lnTo>
                  <a:lnTo>
                    <a:pt x="181" y="757"/>
                  </a:lnTo>
                  <a:lnTo>
                    <a:pt x="181" y="756"/>
                  </a:lnTo>
                  <a:lnTo>
                    <a:pt x="182" y="755"/>
                  </a:lnTo>
                  <a:lnTo>
                    <a:pt x="181" y="757"/>
                  </a:lnTo>
                  <a:lnTo>
                    <a:pt x="181" y="759"/>
                  </a:lnTo>
                  <a:lnTo>
                    <a:pt x="182" y="760"/>
                  </a:lnTo>
                  <a:lnTo>
                    <a:pt x="182" y="759"/>
                  </a:lnTo>
                  <a:lnTo>
                    <a:pt x="182" y="760"/>
                  </a:lnTo>
                  <a:lnTo>
                    <a:pt x="182" y="762"/>
                  </a:lnTo>
                  <a:lnTo>
                    <a:pt x="182" y="763"/>
                  </a:lnTo>
                  <a:lnTo>
                    <a:pt x="182" y="765"/>
                  </a:lnTo>
                  <a:lnTo>
                    <a:pt x="183" y="765"/>
                  </a:lnTo>
                  <a:lnTo>
                    <a:pt x="185" y="763"/>
                  </a:lnTo>
                  <a:lnTo>
                    <a:pt x="183" y="762"/>
                  </a:lnTo>
                  <a:lnTo>
                    <a:pt x="183" y="761"/>
                  </a:lnTo>
                  <a:lnTo>
                    <a:pt x="183" y="760"/>
                  </a:lnTo>
                  <a:lnTo>
                    <a:pt x="183" y="759"/>
                  </a:lnTo>
                  <a:lnTo>
                    <a:pt x="185" y="757"/>
                  </a:lnTo>
                  <a:lnTo>
                    <a:pt x="186" y="756"/>
                  </a:lnTo>
                  <a:lnTo>
                    <a:pt x="186" y="755"/>
                  </a:lnTo>
                  <a:lnTo>
                    <a:pt x="186" y="753"/>
                  </a:lnTo>
                  <a:lnTo>
                    <a:pt x="185" y="753"/>
                  </a:lnTo>
                  <a:lnTo>
                    <a:pt x="186" y="751"/>
                  </a:lnTo>
                  <a:lnTo>
                    <a:pt x="187" y="750"/>
                  </a:lnTo>
                  <a:lnTo>
                    <a:pt x="187" y="749"/>
                  </a:lnTo>
                  <a:lnTo>
                    <a:pt x="188" y="748"/>
                  </a:lnTo>
                  <a:lnTo>
                    <a:pt x="188" y="747"/>
                  </a:lnTo>
                  <a:lnTo>
                    <a:pt x="189" y="747"/>
                  </a:lnTo>
                  <a:lnTo>
                    <a:pt x="188" y="748"/>
                  </a:lnTo>
                  <a:lnTo>
                    <a:pt x="188" y="750"/>
                  </a:lnTo>
                  <a:lnTo>
                    <a:pt x="187" y="751"/>
                  </a:lnTo>
                  <a:lnTo>
                    <a:pt x="187" y="753"/>
                  </a:lnTo>
                  <a:lnTo>
                    <a:pt x="188" y="753"/>
                  </a:lnTo>
                  <a:lnTo>
                    <a:pt x="187" y="754"/>
                  </a:lnTo>
                  <a:lnTo>
                    <a:pt x="186" y="755"/>
                  </a:lnTo>
                  <a:lnTo>
                    <a:pt x="187" y="755"/>
                  </a:lnTo>
                  <a:lnTo>
                    <a:pt x="188" y="755"/>
                  </a:lnTo>
                  <a:lnTo>
                    <a:pt x="188" y="756"/>
                  </a:lnTo>
                  <a:lnTo>
                    <a:pt x="187" y="756"/>
                  </a:lnTo>
                  <a:lnTo>
                    <a:pt x="186" y="757"/>
                  </a:lnTo>
                  <a:lnTo>
                    <a:pt x="185" y="759"/>
                  </a:lnTo>
                  <a:lnTo>
                    <a:pt x="186" y="760"/>
                  </a:lnTo>
                  <a:lnTo>
                    <a:pt x="185" y="760"/>
                  </a:lnTo>
                  <a:lnTo>
                    <a:pt x="183" y="760"/>
                  </a:lnTo>
                  <a:lnTo>
                    <a:pt x="185" y="761"/>
                  </a:lnTo>
                  <a:lnTo>
                    <a:pt x="185" y="762"/>
                  </a:lnTo>
                  <a:lnTo>
                    <a:pt x="186" y="762"/>
                  </a:lnTo>
                  <a:lnTo>
                    <a:pt x="187" y="761"/>
                  </a:lnTo>
                  <a:lnTo>
                    <a:pt x="186" y="760"/>
                  </a:lnTo>
                  <a:lnTo>
                    <a:pt x="187" y="759"/>
                  </a:lnTo>
                  <a:lnTo>
                    <a:pt x="188" y="757"/>
                  </a:lnTo>
                  <a:lnTo>
                    <a:pt x="189" y="759"/>
                  </a:lnTo>
                  <a:lnTo>
                    <a:pt x="189" y="760"/>
                  </a:lnTo>
                  <a:lnTo>
                    <a:pt x="189" y="761"/>
                  </a:lnTo>
                  <a:lnTo>
                    <a:pt x="188" y="761"/>
                  </a:lnTo>
                  <a:lnTo>
                    <a:pt x="188" y="762"/>
                  </a:lnTo>
                  <a:lnTo>
                    <a:pt x="188" y="763"/>
                  </a:lnTo>
                  <a:lnTo>
                    <a:pt x="189" y="762"/>
                  </a:lnTo>
                  <a:lnTo>
                    <a:pt x="191" y="762"/>
                  </a:lnTo>
                  <a:lnTo>
                    <a:pt x="191" y="763"/>
                  </a:lnTo>
                  <a:lnTo>
                    <a:pt x="189" y="767"/>
                  </a:lnTo>
                  <a:lnTo>
                    <a:pt x="188" y="768"/>
                  </a:lnTo>
                  <a:lnTo>
                    <a:pt x="189" y="768"/>
                  </a:lnTo>
                  <a:lnTo>
                    <a:pt x="191" y="767"/>
                  </a:lnTo>
                  <a:lnTo>
                    <a:pt x="192" y="768"/>
                  </a:lnTo>
                  <a:lnTo>
                    <a:pt x="191" y="771"/>
                  </a:lnTo>
                  <a:lnTo>
                    <a:pt x="191" y="772"/>
                  </a:lnTo>
                  <a:lnTo>
                    <a:pt x="189" y="775"/>
                  </a:lnTo>
                  <a:lnTo>
                    <a:pt x="191" y="779"/>
                  </a:lnTo>
                  <a:lnTo>
                    <a:pt x="191" y="778"/>
                  </a:lnTo>
                  <a:lnTo>
                    <a:pt x="191" y="777"/>
                  </a:lnTo>
                  <a:lnTo>
                    <a:pt x="192" y="773"/>
                  </a:lnTo>
                  <a:lnTo>
                    <a:pt x="193" y="771"/>
                  </a:lnTo>
                  <a:lnTo>
                    <a:pt x="193" y="772"/>
                  </a:lnTo>
                  <a:lnTo>
                    <a:pt x="194" y="773"/>
                  </a:lnTo>
                  <a:lnTo>
                    <a:pt x="195" y="773"/>
                  </a:lnTo>
                  <a:lnTo>
                    <a:pt x="194" y="774"/>
                  </a:lnTo>
                  <a:lnTo>
                    <a:pt x="193" y="777"/>
                  </a:lnTo>
                  <a:lnTo>
                    <a:pt x="194" y="775"/>
                  </a:lnTo>
                  <a:lnTo>
                    <a:pt x="195" y="775"/>
                  </a:lnTo>
                  <a:lnTo>
                    <a:pt x="195" y="778"/>
                  </a:lnTo>
                  <a:lnTo>
                    <a:pt x="195" y="780"/>
                  </a:lnTo>
                  <a:lnTo>
                    <a:pt x="197" y="780"/>
                  </a:lnTo>
                  <a:lnTo>
                    <a:pt x="197" y="777"/>
                  </a:lnTo>
                  <a:lnTo>
                    <a:pt x="197" y="774"/>
                  </a:lnTo>
                  <a:lnTo>
                    <a:pt x="198" y="773"/>
                  </a:lnTo>
                  <a:lnTo>
                    <a:pt x="199" y="771"/>
                  </a:lnTo>
                  <a:lnTo>
                    <a:pt x="199" y="768"/>
                  </a:lnTo>
                  <a:lnTo>
                    <a:pt x="199" y="765"/>
                  </a:lnTo>
                  <a:lnTo>
                    <a:pt x="199" y="762"/>
                  </a:lnTo>
                  <a:lnTo>
                    <a:pt x="200" y="759"/>
                  </a:lnTo>
                  <a:lnTo>
                    <a:pt x="201" y="759"/>
                  </a:lnTo>
                  <a:lnTo>
                    <a:pt x="203" y="760"/>
                  </a:lnTo>
                  <a:lnTo>
                    <a:pt x="204" y="762"/>
                  </a:lnTo>
                  <a:lnTo>
                    <a:pt x="204" y="767"/>
                  </a:lnTo>
                  <a:lnTo>
                    <a:pt x="204" y="771"/>
                  </a:lnTo>
                  <a:lnTo>
                    <a:pt x="204" y="773"/>
                  </a:lnTo>
                  <a:lnTo>
                    <a:pt x="203" y="777"/>
                  </a:lnTo>
                  <a:lnTo>
                    <a:pt x="201" y="778"/>
                  </a:lnTo>
                  <a:lnTo>
                    <a:pt x="203" y="780"/>
                  </a:lnTo>
                  <a:lnTo>
                    <a:pt x="204" y="778"/>
                  </a:lnTo>
                  <a:lnTo>
                    <a:pt x="205" y="775"/>
                  </a:lnTo>
                  <a:lnTo>
                    <a:pt x="205" y="773"/>
                  </a:lnTo>
                  <a:lnTo>
                    <a:pt x="206" y="769"/>
                  </a:lnTo>
                  <a:lnTo>
                    <a:pt x="206" y="767"/>
                  </a:lnTo>
                  <a:lnTo>
                    <a:pt x="207" y="766"/>
                  </a:lnTo>
                  <a:lnTo>
                    <a:pt x="207" y="769"/>
                  </a:lnTo>
                  <a:lnTo>
                    <a:pt x="209" y="768"/>
                  </a:lnTo>
                  <a:lnTo>
                    <a:pt x="210" y="768"/>
                  </a:lnTo>
                  <a:lnTo>
                    <a:pt x="210" y="772"/>
                  </a:lnTo>
                  <a:lnTo>
                    <a:pt x="210" y="773"/>
                  </a:lnTo>
                  <a:lnTo>
                    <a:pt x="207" y="779"/>
                  </a:lnTo>
                  <a:lnTo>
                    <a:pt x="207" y="781"/>
                  </a:lnTo>
                  <a:lnTo>
                    <a:pt x="209" y="784"/>
                  </a:lnTo>
                  <a:lnTo>
                    <a:pt x="210" y="784"/>
                  </a:lnTo>
                  <a:lnTo>
                    <a:pt x="210" y="781"/>
                  </a:lnTo>
                  <a:lnTo>
                    <a:pt x="211" y="780"/>
                  </a:lnTo>
                  <a:lnTo>
                    <a:pt x="211" y="783"/>
                  </a:lnTo>
                  <a:lnTo>
                    <a:pt x="212" y="784"/>
                  </a:lnTo>
                  <a:lnTo>
                    <a:pt x="214" y="780"/>
                  </a:lnTo>
                  <a:lnTo>
                    <a:pt x="214" y="778"/>
                  </a:lnTo>
                  <a:lnTo>
                    <a:pt x="214" y="775"/>
                  </a:lnTo>
                  <a:lnTo>
                    <a:pt x="212" y="769"/>
                  </a:lnTo>
                  <a:lnTo>
                    <a:pt x="211" y="767"/>
                  </a:lnTo>
                  <a:lnTo>
                    <a:pt x="212" y="765"/>
                  </a:lnTo>
                  <a:lnTo>
                    <a:pt x="212" y="762"/>
                  </a:lnTo>
                  <a:lnTo>
                    <a:pt x="212" y="759"/>
                  </a:lnTo>
                  <a:lnTo>
                    <a:pt x="214" y="755"/>
                  </a:lnTo>
                  <a:lnTo>
                    <a:pt x="216" y="753"/>
                  </a:lnTo>
                  <a:lnTo>
                    <a:pt x="217" y="749"/>
                  </a:lnTo>
                  <a:lnTo>
                    <a:pt x="217" y="753"/>
                  </a:lnTo>
                  <a:lnTo>
                    <a:pt x="218" y="756"/>
                  </a:lnTo>
                  <a:lnTo>
                    <a:pt x="220" y="755"/>
                  </a:lnTo>
                  <a:lnTo>
                    <a:pt x="221" y="755"/>
                  </a:lnTo>
                  <a:lnTo>
                    <a:pt x="222" y="759"/>
                  </a:lnTo>
                  <a:lnTo>
                    <a:pt x="223" y="762"/>
                  </a:lnTo>
                  <a:lnTo>
                    <a:pt x="223" y="761"/>
                  </a:lnTo>
                  <a:lnTo>
                    <a:pt x="223" y="756"/>
                  </a:lnTo>
                  <a:lnTo>
                    <a:pt x="224" y="750"/>
                  </a:lnTo>
                  <a:lnTo>
                    <a:pt x="224" y="744"/>
                  </a:lnTo>
                  <a:lnTo>
                    <a:pt x="226" y="743"/>
                  </a:lnTo>
                  <a:lnTo>
                    <a:pt x="226" y="751"/>
                  </a:lnTo>
                  <a:lnTo>
                    <a:pt x="227" y="753"/>
                  </a:lnTo>
                  <a:lnTo>
                    <a:pt x="228" y="749"/>
                  </a:lnTo>
                  <a:lnTo>
                    <a:pt x="229" y="748"/>
                  </a:lnTo>
                  <a:lnTo>
                    <a:pt x="229" y="744"/>
                  </a:lnTo>
                  <a:lnTo>
                    <a:pt x="229" y="741"/>
                  </a:lnTo>
                  <a:lnTo>
                    <a:pt x="230" y="741"/>
                  </a:lnTo>
                  <a:lnTo>
                    <a:pt x="232" y="744"/>
                  </a:lnTo>
                  <a:lnTo>
                    <a:pt x="232" y="748"/>
                  </a:lnTo>
                  <a:lnTo>
                    <a:pt x="232" y="743"/>
                  </a:lnTo>
                  <a:lnTo>
                    <a:pt x="234" y="739"/>
                  </a:lnTo>
                  <a:lnTo>
                    <a:pt x="234" y="736"/>
                  </a:lnTo>
                  <a:lnTo>
                    <a:pt x="234" y="733"/>
                  </a:lnTo>
                  <a:lnTo>
                    <a:pt x="235" y="730"/>
                  </a:lnTo>
                  <a:lnTo>
                    <a:pt x="239" y="731"/>
                  </a:lnTo>
                  <a:lnTo>
                    <a:pt x="240" y="732"/>
                  </a:lnTo>
                  <a:lnTo>
                    <a:pt x="239" y="735"/>
                  </a:lnTo>
                  <a:lnTo>
                    <a:pt x="235" y="738"/>
                  </a:lnTo>
                  <a:lnTo>
                    <a:pt x="234" y="741"/>
                  </a:lnTo>
                  <a:lnTo>
                    <a:pt x="234" y="743"/>
                  </a:lnTo>
                  <a:lnTo>
                    <a:pt x="234" y="745"/>
                  </a:lnTo>
                  <a:lnTo>
                    <a:pt x="234" y="748"/>
                  </a:lnTo>
                  <a:lnTo>
                    <a:pt x="235" y="749"/>
                  </a:lnTo>
                  <a:lnTo>
                    <a:pt x="239" y="749"/>
                  </a:lnTo>
                  <a:lnTo>
                    <a:pt x="239" y="750"/>
                  </a:lnTo>
                  <a:lnTo>
                    <a:pt x="239" y="754"/>
                  </a:lnTo>
                  <a:lnTo>
                    <a:pt x="239" y="755"/>
                  </a:lnTo>
                  <a:lnTo>
                    <a:pt x="235" y="755"/>
                  </a:lnTo>
                  <a:lnTo>
                    <a:pt x="234" y="756"/>
                  </a:lnTo>
                  <a:lnTo>
                    <a:pt x="233" y="753"/>
                  </a:lnTo>
                  <a:lnTo>
                    <a:pt x="232" y="754"/>
                  </a:lnTo>
                  <a:lnTo>
                    <a:pt x="232" y="756"/>
                  </a:lnTo>
                  <a:lnTo>
                    <a:pt x="229" y="756"/>
                  </a:lnTo>
                  <a:lnTo>
                    <a:pt x="227" y="757"/>
                  </a:lnTo>
                  <a:lnTo>
                    <a:pt x="226" y="761"/>
                  </a:lnTo>
                  <a:lnTo>
                    <a:pt x="228" y="761"/>
                  </a:lnTo>
                  <a:lnTo>
                    <a:pt x="230" y="760"/>
                  </a:lnTo>
                  <a:lnTo>
                    <a:pt x="230" y="761"/>
                  </a:lnTo>
                  <a:lnTo>
                    <a:pt x="233" y="761"/>
                  </a:lnTo>
                  <a:lnTo>
                    <a:pt x="233" y="762"/>
                  </a:lnTo>
                  <a:lnTo>
                    <a:pt x="233" y="767"/>
                  </a:lnTo>
                  <a:lnTo>
                    <a:pt x="232" y="771"/>
                  </a:lnTo>
                  <a:lnTo>
                    <a:pt x="232" y="774"/>
                  </a:lnTo>
                  <a:lnTo>
                    <a:pt x="230" y="777"/>
                  </a:lnTo>
                  <a:lnTo>
                    <a:pt x="229" y="779"/>
                  </a:lnTo>
                  <a:lnTo>
                    <a:pt x="226" y="781"/>
                  </a:lnTo>
                  <a:lnTo>
                    <a:pt x="224" y="784"/>
                  </a:lnTo>
                  <a:lnTo>
                    <a:pt x="221" y="783"/>
                  </a:lnTo>
                  <a:lnTo>
                    <a:pt x="218" y="784"/>
                  </a:lnTo>
                  <a:lnTo>
                    <a:pt x="217" y="785"/>
                  </a:lnTo>
                  <a:lnTo>
                    <a:pt x="214" y="785"/>
                  </a:lnTo>
                  <a:lnTo>
                    <a:pt x="207" y="786"/>
                  </a:lnTo>
                  <a:lnTo>
                    <a:pt x="201" y="787"/>
                  </a:lnTo>
                  <a:lnTo>
                    <a:pt x="199" y="789"/>
                  </a:lnTo>
                  <a:lnTo>
                    <a:pt x="194" y="789"/>
                  </a:lnTo>
                  <a:lnTo>
                    <a:pt x="187" y="792"/>
                  </a:lnTo>
                  <a:lnTo>
                    <a:pt x="183" y="792"/>
                  </a:lnTo>
                  <a:lnTo>
                    <a:pt x="182" y="793"/>
                  </a:lnTo>
                  <a:lnTo>
                    <a:pt x="182" y="795"/>
                  </a:lnTo>
                  <a:lnTo>
                    <a:pt x="186" y="793"/>
                  </a:lnTo>
                  <a:lnTo>
                    <a:pt x="189" y="792"/>
                  </a:lnTo>
                  <a:lnTo>
                    <a:pt x="188" y="795"/>
                  </a:lnTo>
                  <a:lnTo>
                    <a:pt x="188" y="796"/>
                  </a:lnTo>
                  <a:lnTo>
                    <a:pt x="188" y="797"/>
                  </a:lnTo>
                  <a:lnTo>
                    <a:pt x="189" y="796"/>
                  </a:lnTo>
                  <a:lnTo>
                    <a:pt x="192" y="793"/>
                  </a:lnTo>
                  <a:lnTo>
                    <a:pt x="193" y="792"/>
                  </a:lnTo>
                  <a:lnTo>
                    <a:pt x="194" y="792"/>
                  </a:lnTo>
                  <a:lnTo>
                    <a:pt x="193" y="796"/>
                  </a:lnTo>
                  <a:lnTo>
                    <a:pt x="191" y="797"/>
                  </a:lnTo>
                  <a:lnTo>
                    <a:pt x="193" y="797"/>
                  </a:lnTo>
                  <a:lnTo>
                    <a:pt x="195" y="797"/>
                  </a:lnTo>
                  <a:lnTo>
                    <a:pt x="197" y="796"/>
                  </a:lnTo>
                  <a:lnTo>
                    <a:pt x="198" y="795"/>
                  </a:lnTo>
                  <a:lnTo>
                    <a:pt x="198" y="797"/>
                  </a:lnTo>
                  <a:lnTo>
                    <a:pt x="199" y="797"/>
                  </a:lnTo>
                  <a:lnTo>
                    <a:pt x="201" y="797"/>
                  </a:lnTo>
                  <a:lnTo>
                    <a:pt x="203" y="797"/>
                  </a:lnTo>
                  <a:lnTo>
                    <a:pt x="205" y="797"/>
                  </a:lnTo>
                  <a:lnTo>
                    <a:pt x="204" y="798"/>
                  </a:lnTo>
                  <a:lnTo>
                    <a:pt x="201" y="798"/>
                  </a:lnTo>
                  <a:lnTo>
                    <a:pt x="199" y="798"/>
                  </a:lnTo>
                  <a:lnTo>
                    <a:pt x="194" y="798"/>
                  </a:lnTo>
                  <a:lnTo>
                    <a:pt x="192" y="799"/>
                  </a:lnTo>
                  <a:lnTo>
                    <a:pt x="188" y="801"/>
                  </a:lnTo>
                  <a:lnTo>
                    <a:pt x="187" y="803"/>
                  </a:lnTo>
                  <a:lnTo>
                    <a:pt x="185" y="803"/>
                  </a:lnTo>
                  <a:lnTo>
                    <a:pt x="180" y="801"/>
                  </a:lnTo>
                  <a:lnTo>
                    <a:pt x="179" y="801"/>
                  </a:lnTo>
                  <a:lnTo>
                    <a:pt x="179" y="802"/>
                  </a:lnTo>
                  <a:lnTo>
                    <a:pt x="177" y="802"/>
                  </a:lnTo>
                  <a:lnTo>
                    <a:pt x="177" y="804"/>
                  </a:lnTo>
                  <a:lnTo>
                    <a:pt x="181" y="804"/>
                  </a:lnTo>
                  <a:lnTo>
                    <a:pt x="179" y="805"/>
                  </a:lnTo>
                  <a:lnTo>
                    <a:pt x="176" y="807"/>
                  </a:lnTo>
                  <a:lnTo>
                    <a:pt x="174" y="807"/>
                  </a:lnTo>
                  <a:lnTo>
                    <a:pt x="170" y="805"/>
                  </a:lnTo>
                  <a:lnTo>
                    <a:pt x="167" y="803"/>
                  </a:lnTo>
                  <a:lnTo>
                    <a:pt x="163" y="803"/>
                  </a:lnTo>
                  <a:lnTo>
                    <a:pt x="159" y="803"/>
                  </a:lnTo>
                  <a:lnTo>
                    <a:pt x="159" y="804"/>
                  </a:lnTo>
                  <a:lnTo>
                    <a:pt x="158" y="804"/>
                  </a:lnTo>
                  <a:lnTo>
                    <a:pt x="156" y="803"/>
                  </a:lnTo>
                  <a:lnTo>
                    <a:pt x="152" y="801"/>
                  </a:lnTo>
                  <a:lnTo>
                    <a:pt x="147" y="799"/>
                  </a:lnTo>
                  <a:lnTo>
                    <a:pt x="146" y="798"/>
                  </a:lnTo>
                  <a:lnTo>
                    <a:pt x="145" y="797"/>
                  </a:lnTo>
                  <a:lnTo>
                    <a:pt x="146" y="798"/>
                  </a:lnTo>
                  <a:lnTo>
                    <a:pt x="146" y="799"/>
                  </a:lnTo>
                  <a:lnTo>
                    <a:pt x="144" y="799"/>
                  </a:lnTo>
                  <a:lnTo>
                    <a:pt x="142" y="798"/>
                  </a:lnTo>
                  <a:lnTo>
                    <a:pt x="142" y="797"/>
                  </a:lnTo>
                  <a:lnTo>
                    <a:pt x="140" y="797"/>
                  </a:lnTo>
                  <a:lnTo>
                    <a:pt x="138" y="797"/>
                  </a:lnTo>
                  <a:lnTo>
                    <a:pt x="136" y="797"/>
                  </a:lnTo>
                  <a:lnTo>
                    <a:pt x="135" y="796"/>
                  </a:lnTo>
                  <a:lnTo>
                    <a:pt x="132" y="795"/>
                  </a:lnTo>
                  <a:lnTo>
                    <a:pt x="130" y="796"/>
                  </a:lnTo>
                  <a:lnTo>
                    <a:pt x="129" y="795"/>
                  </a:lnTo>
                  <a:lnTo>
                    <a:pt x="130" y="792"/>
                  </a:lnTo>
                  <a:lnTo>
                    <a:pt x="128" y="792"/>
                  </a:lnTo>
                  <a:lnTo>
                    <a:pt x="127" y="793"/>
                  </a:lnTo>
                  <a:lnTo>
                    <a:pt x="126" y="793"/>
                  </a:lnTo>
                  <a:lnTo>
                    <a:pt x="124" y="793"/>
                  </a:lnTo>
                  <a:lnTo>
                    <a:pt x="124" y="791"/>
                  </a:lnTo>
                  <a:lnTo>
                    <a:pt x="123" y="789"/>
                  </a:lnTo>
                  <a:lnTo>
                    <a:pt x="122" y="791"/>
                  </a:lnTo>
                  <a:lnTo>
                    <a:pt x="121" y="792"/>
                  </a:lnTo>
                  <a:lnTo>
                    <a:pt x="118" y="792"/>
                  </a:lnTo>
                  <a:lnTo>
                    <a:pt x="117" y="791"/>
                  </a:lnTo>
                  <a:lnTo>
                    <a:pt x="116" y="791"/>
                  </a:lnTo>
                  <a:lnTo>
                    <a:pt x="114" y="791"/>
                  </a:lnTo>
                  <a:lnTo>
                    <a:pt x="112" y="791"/>
                  </a:lnTo>
                  <a:lnTo>
                    <a:pt x="112" y="790"/>
                  </a:lnTo>
                  <a:lnTo>
                    <a:pt x="110" y="789"/>
                  </a:lnTo>
                  <a:lnTo>
                    <a:pt x="108" y="789"/>
                  </a:lnTo>
                  <a:lnTo>
                    <a:pt x="103" y="785"/>
                  </a:lnTo>
                  <a:lnTo>
                    <a:pt x="104" y="787"/>
                  </a:lnTo>
                  <a:lnTo>
                    <a:pt x="104" y="790"/>
                  </a:lnTo>
                  <a:lnTo>
                    <a:pt x="102" y="789"/>
                  </a:lnTo>
                  <a:lnTo>
                    <a:pt x="100" y="787"/>
                  </a:lnTo>
                  <a:lnTo>
                    <a:pt x="102" y="790"/>
                  </a:lnTo>
                  <a:lnTo>
                    <a:pt x="103" y="790"/>
                  </a:lnTo>
                  <a:lnTo>
                    <a:pt x="99" y="791"/>
                  </a:lnTo>
                  <a:lnTo>
                    <a:pt x="97" y="792"/>
                  </a:lnTo>
                  <a:lnTo>
                    <a:pt x="100" y="792"/>
                  </a:lnTo>
                  <a:lnTo>
                    <a:pt x="103" y="792"/>
                  </a:lnTo>
                  <a:lnTo>
                    <a:pt x="106" y="791"/>
                  </a:lnTo>
                  <a:lnTo>
                    <a:pt x="105" y="796"/>
                  </a:lnTo>
                  <a:lnTo>
                    <a:pt x="105" y="797"/>
                  </a:lnTo>
                  <a:lnTo>
                    <a:pt x="106" y="796"/>
                  </a:lnTo>
                  <a:lnTo>
                    <a:pt x="109" y="793"/>
                  </a:lnTo>
                  <a:lnTo>
                    <a:pt x="109" y="792"/>
                  </a:lnTo>
                  <a:lnTo>
                    <a:pt x="111" y="792"/>
                  </a:lnTo>
                  <a:lnTo>
                    <a:pt x="111" y="795"/>
                  </a:lnTo>
                  <a:lnTo>
                    <a:pt x="111" y="793"/>
                  </a:lnTo>
                  <a:lnTo>
                    <a:pt x="112" y="793"/>
                  </a:lnTo>
                  <a:lnTo>
                    <a:pt x="115" y="793"/>
                  </a:lnTo>
                  <a:lnTo>
                    <a:pt x="115" y="795"/>
                  </a:lnTo>
                  <a:lnTo>
                    <a:pt x="112" y="797"/>
                  </a:lnTo>
                  <a:lnTo>
                    <a:pt x="111" y="799"/>
                  </a:lnTo>
                  <a:lnTo>
                    <a:pt x="111" y="803"/>
                  </a:lnTo>
                  <a:lnTo>
                    <a:pt x="111" y="807"/>
                  </a:lnTo>
                  <a:lnTo>
                    <a:pt x="114" y="810"/>
                  </a:lnTo>
                  <a:lnTo>
                    <a:pt x="115" y="812"/>
                  </a:lnTo>
                  <a:lnTo>
                    <a:pt x="115" y="809"/>
                  </a:lnTo>
                  <a:lnTo>
                    <a:pt x="115" y="805"/>
                  </a:lnTo>
                  <a:lnTo>
                    <a:pt x="116" y="804"/>
                  </a:lnTo>
                  <a:lnTo>
                    <a:pt x="116" y="807"/>
                  </a:lnTo>
                  <a:lnTo>
                    <a:pt x="117" y="808"/>
                  </a:lnTo>
                  <a:lnTo>
                    <a:pt x="117" y="810"/>
                  </a:lnTo>
                  <a:lnTo>
                    <a:pt x="116" y="813"/>
                  </a:lnTo>
                  <a:lnTo>
                    <a:pt x="117" y="813"/>
                  </a:lnTo>
                  <a:lnTo>
                    <a:pt x="118" y="813"/>
                  </a:lnTo>
                  <a:lnTo>
                    <a:pt x="121" y="814"/>
                  </a:lnTo>
                  <a:lnTo>
                    <a:pt x="121" y="818"/>
                  </a:lnTo>
                  <a:lnTo>
                    <a:pt x="123" y="820"/>
                  </a:lnTo>
                  <a:lnTo>
                    <a:pt x="123" y="821"/>
                  </a:lnTo>
                  <a:lnTo>
                    <a:pt x="122" y="821"/>
                  </a:lnTo>
                  <a:lnTo>
                    <a:pt x="120" y="819"/>
                  </a:lnTo>
                  <a:lnTo>
                    <a:pt x="117" y="819"/>
                  </a:lnTo>
                  <a:lnTo>
                    <a:pt x="115" y="819"/>
                  </a:lnTo>
                  <a:lnTo>
                    <a:pt x="114" y="820"/>
                  </a:lnTo>
                  <a:lnTo>
                    <a:pt x="111" y="819"/>
                  </a:lnTo>
                  <a:lnTo>
                    <a:pt x="109" y="819"/>
                  </a:lnTo>
                  <a:lnTo>
                    <a:pt x="106" y="819"/>
                  </a:lnTo>
                  <a:lnTo>
                    <a:pt x="104" y="821"/>
                  </a:lnTo>
                  <a:lnTo>
                    <a:pt x="105" y="821"/>
                  </a:lnTo>
                  <a:lnTo>
                    <a:pt x="108" y="821"/>
                  </a:lnTo>
                  <a:lnTo>
                    <a:pt x="109" y="822"/>
                  </a:lnTo>
                  <a:lnTo>
                    <a:pt x="110" y="821"/>
                  </a:lnTo>
                  <a:lnTo>
                    <a:pt x="111" y="821"/>
                  </a:lnTo>
                  <a:lnTo>
                    <a:pt x="112" y="821"/>
                  </a:lnTo>
                  <a:lnTo>
                    <a:pt x="115" y="820"/>
                  </a:lnTo>
                  <a:lnTo>
                    <a:pt x="115" y="822"/>
                  </a:lnTo>
                  <a:lnTo>
                    <a:pt x="114" y="824"/>
                  </a:lnTo>
                  <a:lnTo>
                    <a:pt x="112" y="825"/>
                  </a:lnTo>
                  <a:lnTo>
                    <a:pt x="114" y="825"/>
                  </a:lnTo>
                  <a:lnTo>
                    <a:pt x="116" y="825"/>
                  </a:lnTo>
                  <a:lnTo>
                    <a:pt x="116" y="824"/>
                  </a:lnTo>
                  <a:lnTo>
                    <a:pt x="117" y="824"/>
                  </a:lnTo>
                  <a:lnTo>
                    <a:pt x="118" y="822"/>
                  </a:lnTo>
                  <a:lnTo>
                    <a:pt x="120" y="824"/>
                  </a:lnTo>
                  <a:lnTo>
                    <a:pt x="118" y="825"/>
                  </a:lnTo>
                  <a:lnTo>
                    <a:pt x="117" y="826"/>
                  </a:lnTo>
                  <a:lnTo>
                    <a:pt x="118" y="827"/>
                  </a:lnTo>
                  <a:lnTo>
                    <a:pt x="117" y="828"/>
                  </a:lnTo>
                  <a:lnTo>
                    <a:pt x="116" y="827"/>
                  </a:lnTo>
                  <a:lnTo>
                    <a:pt x="114" y="826"/>
                  </a:lnTo>
                  <a:lnTo>
                    <a:pt x="112" y="826"/>
                  </a:lnTo>
                  <a:lnTo>
                    <a:pt x="109" y="826"/>
                  </a:lnTo>
                  <a:lnTo>
                    <a:pt x="106" y="826"/>
                  </a:lnTo>
                  <a:lnTo>
                    <a:pt x="102" y="825"/>
                  </a:lnTo>
                  <a:lnTo>
                    <a:pt x="100" y="826"/>
                  </a:lnTo>
                  <a:lnTo>
                    <a:pt x="102" y="826"/>
                  </a:lnTo>
                  <a:lnTo>
                    <a:pt x="103" y="827"/>
                  </a:lnTo>
                  <a:lnTo>
                    <a:pt x="103" y="828"/>
                  </a:lnTo>
                  <a:lnTo>
                    <a:pt x="99" y="827"/>
                  </a:lnTo>
                  <a:lnTo>
                    <a:pt x="99" y="830"/>
                  </a:lnTo>
                  <a:lnTo>
                    <a:pt x="100" y="830"/>
                  </a:lnTo>
                  <a:lnTo>
                    <a:pt x="103" y="828"/>
                  </a:lnTo>
                  <a:lnTo>
                    <a:pt x="104" y="828"/>
                  </a:lnTo>
                  <a:lnTo>
                    <a:pt x="105" y="831"/>
                  </a:lnTo>
                  <a:lnTo>
                    <a:pt x="104" y="832"/>
                  </a:lnTo>
                  <a:lnTo>
                    <a:pt x="102" y="832"/>
                  </a:lnTo>
                  <a:lnTo>
                    <a:pt x="98" y="832"/>
                  </a:lnTo>
                  <a:lnTo>
                    <a:pt x="96" y="831"/>
                  </a:lnTo>
                  <a:lnTo>
                    <a:pt x="90" y="827"/>
                  </a:lnTo>
                  <a:lnTo>
                    <a:pt x="88" y="826"/>
                  </a:lnTo>
                  <a:lnTo>
                    <a:pt x="88" y="827"/>
                  </a:lnTo>
                  <a:lnTo>
                    <a:pt x="88" y="830"/>
                  </a:lnTo>
                  <a:lnTo>
                    <a:pt x="87" y="828"/>
                  </a:lnTo>
                  <a:lnTo>
                    <a:pt x="85" y="828"/>
                  </a:lnTo>
                  <a:lnTo>
                    <a:pt x="83" y="827"/>
                  </a:lnTo>
                  <a:lnTo>
                    <a:pt x="81" y="826"/>
                  </a:lnTo>
                  <a:lnTo>
                    <a:pt x="79" y="824"/>
                  </a:lnTo>
                  <a:lnTo>
                    <a:pt x="77" y="825"/>
                  </a:lnTo>
                  <a:lnTo>
                    <a:pt x="76" y="826"/>
                  </a:lnTo>
                  <a:lnTo>
                    <a:pt x="74" y="824"/>
                  </a:lnTo>
                  <a:lnTo>
                    <a:pt x="71" y="824"/>
                  </a:lnTo>
                  <a:lnTo>
                    <a:pt x="70" y="824"/>
                  </a:lnTo>
                  <a:lnTo>
                    <a:pt x="73" y="826"/>
                  </a:lnTo>
                  <a:lnTo>
                    <a:pt x="75" y="827"/>
                  </a:lnTo>
                  <a:lnTo>
                    <a:pt x="75" y="828"/>
                  </a:lnTo>
                  <a:lnTo>
                    <a:pt x="73" y="830"/>
                  </a:lnTo>
                  <a:lnTo>
                    <a:pt x="71" y="831"/>
                  </a:lnTo>
                  <a:lnTo>
                    <a:pt x="71" y="832"/>
                  </a:lnTo>
                  <a:lnTo>
                    <a:pt x="74" y="831"/>
                  </a:lnTo>
                  <a:lnTo>
                    <a:pt x="75" y="830"/>
                  </a:lnTo>
                  <a:lnTo>
                    <a:pt x="77" y="828"/>
                  </a:lnTo>
                  <a:lnTo>
                    <a:pt x="81" y="828"/>
                  </a:lnTo>
                  <a:lnTo>
                    <a:pt x="79" y="832"/>
                  </a:lnTo>
                  <a:lnTo>
                    <a:pt x="77" y="834"/>
                  </a:lnTo>
                  <a:lnTo>
                    <a:pt x="79" y="833"/>
                  </a:lnTo>
                  <a:lnTo>
                    <a:pt x="80" y="832"/>
                  </a:lnTo>
                  <a:lnTo>
                    <a:pt x="81" y="831"/>
                  </a:lnTo>
                  <a:lnTo>
                    <a:pt x="82" y="830"/>
                  </a:lnTo>
                  <a:lnTo>
                    <a:pt x="83" y="830"/>
                  </a:lnTo>
                  <a:lnTo>
                    <a:pt x="85" y="831"/>
                  </a:lnTo>
                  <a:lnTo>
                    <a:pt x="83" y="834"/>
                  </a:lnTo>
                  <a:lnTo>
                    <a:pt x="82" y="837"/>
                  </a:lnTo>
                  <a:lnTo>
                    <a:pt x="81" y="838"/>
                  </a:lnTo>
                  <a:lnTo>
                    <a:pt x="82" y="839"/>
                  </a:lnTo>
                  <a:lnTo>
                    <a:pt x="83" y="839"/>
                  </a:lnTo>
                  <a:lnTo>
                    <a:pt x="82" y="840"/>
                  </a:lnTo>
                  <a:lnTo>
                    <a:pt x="81" y="842"/>
                  </a:lnTo>
                  <a:lnTo>
                    <a:pt x="79" y="842"/>
                  </a:lnTo>
                  <a:lnTo>
                    <a:pt x="76" y="840"/>
                  </a:lnTo>
                  <a:lnTo>
                    <a:pt x="74" y="838"/>
                  </a:lnTo>
                  <a:lnTo>
                    <a:pt x="73" y="838"/>
                  </a:lnTo>
                  <a:lnTo>
                    <a:pt x="73" y="839"/>
                  </a:lnTo>
                  <a:lnTo>
                    <a:pt x="69" y="839"/>
                  </a:lnTo>
                  <a:lnTo>
                    <a:pt x="68" y="838"/>
                  </a:lnTo>
                  <a:lnTo>
                    <a:pt x="65" y="839"/>
                  </a:lnTo>
                  <a:lnTo>
                    <a:pt x="70" y="840"/>
                  </a:lnTo>
                  <a:lnTo>
                    <a:pt x="73" y="840"/>
                  </a:lnTo>
                  <a:lnTo>
                    <a:pt x="71" y="843"/>
                  </a:lnTo>
                  <a:lnTo>
                    <a:pt x="71" y="844"/>
                  </a:lnTo>
                  <a:lnTo>
                    <a:pt x="73" y="845"/>
                  </a:lnTo>
                  <a:lnTo>
                    <a:pt x="74" y="844"/>
                  </a:lnTo>
                  <a:lnTo>
                    <a:pt x="75" y="843"/>
                  </a:lnTo>
                  <a:lnTo>
                    <a:pt x="77" y="842"/>
                  </a:lnTo>
                  <a:lnTo>
                    <a:pt x="77" y="843"/>
                  </a:lnTo>
                  <a:lnTo>
                    <a:pt x="77" y="845"/>
                  </a:lnTo>
                  <a:lnTo>
                    <a:pt x="77" y="846"/>
                  </a:lnTo>
                  <a:lnTo>
                    <a:pt x="79" y="845"/>
                  </a:lnTo>
                  <a:lnTo>
                    <a:pt x="80" y="844"/>
                  </a:lnTo>
                  <a:lnTo>
                    <a:pt x="81" y="844"/>
                  </a:lnTo>
                  <a:lnTo>
                    <a:pt x="81" y="845"/>
                  </a:lnTo>
                  <a:lnTo>
                    <a:pt x="80" y="848"/>
                  </a:lnTo>
                  <a:lnTo>
                    <a:pt x="81" y="848"/>
                  </a:lnTo>
                  <a:lnTo>
                    <a:pt x="81" y="845"/>
                  </a:lnTo>
                  <a:lnTo>
                    <a:pt x="83" y="844"/>
                  </a:lnTo>
                  <a:lnTo>
                    <a:pt x="85" y="844"/>
                  </a:lnTo>
                  <a:lnTo>
                    <a:pt x="86" y="845"/>
                  </a:lnTo>
                  <a:lnTo>
                    <a:pt x="82" y="849"/>
                  </a:lnTo>
                  <a:lnTo>
                    <a:pt x="83" y="850"/>
                  </a:lnTo>
                  <a:lnTo>
                    <a:pt x="86" y="848"/>
                  </a:lnTo>
                  <a:lnTo>
                    <a:pt x="87" y="846"/>
                  </a:lnTo>
                  <a:lnTo>
                    <a:pt x="88" y="846"/>
                  </a:lnTo>
                  <a:lnTo>
                    <a:pt x="88" y="849"/>
                  </a:lnTo>
                  <a:lnTo>
                    <a:pt x="88" y="850"/>
                  </a:lnTo>
                  <a:lnTo>
                    <a:pt x="88" y="854"/>
                  </a:lnTo>
                  <a:lnTo>
                    <a:pt x="90" y="852"/>
                  </a:lnTo>
                  <a:lnTo>
                    <a:pt x="91" y="852"/>
                  </a:lnTo>
                  <a:lnTo>
                    <a:pt x="91" y="854"/>
                  </a:lnTo>
                  <a:lnTo>
                    <a:pt x="92" y="857"/>
                  </a:lnTo>
                  <a:lnTo>
                    <a:pt x="91" y="861"/>
                  </a:lnTo>
                  <a:lnTo>
                    <a:pt x="91" y="860"/>
                  </a:lnTo>
                  <a:lnTo>
                    <a:pt x="94" y="860"/>
                  </a:lnTo>
                  <a:lnTo>
                    <a:pt x="96" y="858"/>
                  </a:lnTo>
                  <a:lnTo>
                    <a:pt x="96" y="861"/>
                  </a:lnTo>
                  <a:lnTo>
                    <a:pt x="93" y="862"/>
                  </a:lnTo>
                  <a:lnTo>
                    <a:pt x="90" y="862"/>
                  </a:lnTo>
                  <a:lnTo>
                    <a:pt x="91" y="863"/>
                  </a:lnTo>
                  <a:lnTo>
                    <a:pt x="93" y="864"/>
                  </a:lnTo>
                  <a:lnTo>
                    <a:pt x="94" y="866"/>
                  </a:lnTo>
                  <a:lnTo>
                    <a:pt x="91" y="868"/>
                  </a:lnTo>
                  <a:lnTo>
                    <a:pt x="88" y="869"/>
                  </a:lnTo>
                  <a:lnTo>
                    <a:pt x="90" y="872"/>
                  </a:lnTo>
                  <a:lnTo>
                    <a:pt x="91" y="870"/>
                  </a:lnTo>
                  <a:lnTo>
                    <a:pt x="93" y="869"/>
                  </a:lnTo>
                  <a:lnTo>
                    <a:pt x="94" y="868"/>
                  </a:lnTo>
                  <a:lnTo>
                    <a:pt x="96" y="869"/>
                  </a:lnTo>
                  <a:lnTo>
                    <a:pt x="98" y="868"/>
                  </a:lnTo>
                  <a:lnTo>
                    <a:pt x="99" y="867"/>
                  </a:lnTo>
                  <a:lnTo>
                    <a:pt x="99" y="869"/>
                  </a:lnTo>
                  <a:lnTo>
                    <a:pt x="99" y="870"/>
                  </a:lnTo>
                  <a:lnTo>
                    <a:pt x="99" y="872"/>
                  </a:lnTo>
                  <a:lnTo>
                    <a:pt x="97" y="872"/>
                  </a:lnTo>
                  <a:lnTo>
                    <a:pt x="93" y="872"/>
                  </a:lnTo>
                  <a:lnTo>
                    <a:pt x="91" y="872"/>
                  </a:lnTo>
                  <a:lnTo>
                    <a:pt x="87" y="872"/>
                  </a:lnTo>
                  <a:lnTo>
                    <a:pt x="83" y="872"/>
                  </a:lnTo>
                  <a:lnTo>
                    <a:pt x="82" y="872"/>
                  </a:lnTo>
                  <a:lnTo>
                    <a:pt x="79" y="870"/>
                  </a:lnTo>
                  <a:lnTo>
                    <a:pt x="76" y="870"/>
                  </a:lnTo>
                  <a:lnTo>
                    <a:pt x="74" y="872"/>
                  </a:lnTo>
                  <a:lnTo>
                    <a:pt x="71" y="870"/>
                  </a:lnTo>
                  <a:lnTo>
                    <a:pt x="71" y="873"/>
                  </a:lnTo>
                  <a:lnTo>
                    <a:pt x="74" y="875"/>
                  </a:lnTo>
                  <a:lnTo>
                    <a:pt x="75" y="876"/>
                  </a:lnTo>
                  <a:lnTo>
                    <a:pt x="76" y="875"/>
                  </a:lnTo>
                  <a:lnTo>
                    <a:pt x="77" y="875"/>
                  </a:lnTo>
                  <a:lnTo>
                    <a:pt x="77" y="879"/>
                  </a:lnTo>
                  <a:lnTo>
                    <a:pt x="79" y="881"/>
                  </a:lnTo>
                  <a:lnTo>
                    <a:pt x="79" y="879"/>
                  </a:lnTo>
                  <a:lnTo>
                    <a:pt x="80" y="878"/>
                  </a:lnTo>
                  <a:lnTo>
                    <a:pt x="80" y="875"/>
                  </a:lnTo>
                  <a:lnTo>
                    <a:pt x="81" y="875"/>
                  </a:lnTo>
                  <a:lnTo>
                    <a:pt x="81" y="879"/>
                  </a:lnTo>
                  <a:lnTo>
                    <a:pt x="80" y="881"/>
                  </a:lnTo>
                  <a:lnTo>
                    <a:pt x="80" y="885"/>
                  </a:lnTo>
                  <a:lnTo>
                    <a:pt x="80" y="890"/>
                  </a:lnTo>
                  <a:lnTo>
                    <a:pt x="81" y="891"/>
                  </a:lnTo>
                  <a:lnTo>
                    <a:pt x="82" y="888"/>
                  </a:lnTo>
                  <a:lnTo>
                    <a:pt x="82" y="887"/>
                  </a:lnTo>
                  <a:lnTo>
                    <a:pt x="83" y="882"/>
                  </a:lnTo>
                  <a:lnTo>
                    <a:pt x="83" y="881"/>
                  </a:lnTo>
                  <a:lnTo>
                    <a:pt x="85" y="879"/>
                  </a:lnTo>
                  <a:lnTo>
                    <a:pt x="86" y="879"/>
                  </a:lnTo>
                  <a:lnTo>
                    <a:pt x="86" y="880"/>
                  </a:lnTo>
                  <a:lnTo>
                    <a:pt x="86" y="881"/>
                  </a:lnTo>
                  <a:lnTo>
                    <a:pt x="86" y="884"/>
                  </a:lnTo>
                  <a:lnTo>
                    <a:pt x="86" y="886"/>
                  </a:lnTo>
                  <a:lnTo>
                    <a:pt x="87" y="886"/>
                  </a:lnTo>
                  <a:lnTo>
                    <a:pt x="88" y="884"/>
                  </a:lnTo>
                  <a:lnTo>
                    <a:pt x="90" y="882"/>
                  </a:lnTo>
                  <a:lnTo>
                    <a:pt x="91" y="881"/>
                  </a:lnTo>
                  <a:lnTo>
                    <a:pt x="92" y="880"/>
                  </a:lnTo>
                  <a:lnTo>
                    <a:pt x="92" y="882"/>
                  </a:lnTo>
                  <a:lnTo>
                    <a:pt x="92" y="884"/>
                  </a:lnTo>
                  <a:lnTo>
                    <a:pt x="91" y="886"/>
                  </a:lnTo>
                  <a:lnTo>
                    <a:pt x="91" y="887"/>
                  </a:lnTo>
                  <a:lnTo>
                    <a:pt x="90" y="888"/>
                  </a:lnTo>
                  <a:lnTo>
                    <a:pt x="88" y="891"/>
                  </a:lnTo>
                  <a:lnTo>
                    <a:pt x="87" y="893"/>
                  </a:lnTo>
                  <a:lnTo>
                    <a:pt x="87" y="894"/>
                  </a:lnTo>
                  <a:lnTo>
                    <a:pt x="88" y="893"/>
                  </a:lnTo>
                  <a:lnTo>
                    <a:pt x="90" y="893"/>
                  </a:lnTo>
                  <a:lnTo>
                    <a:pt x="92" y="893"/>
                  </a:lnTo>
                  <a:lnTo>
                    <a:pt x="93" y="893"/>
                  </a:lnTo>
                  <a:lnTo>
                    <a:pt x="92" y="894"/>
                  </a:lnTo>
                  <a:lnTo>
                    <a:pt x="91" y="896"/>
                  </a:lnTo>
                  <a:lnTo>
                    <a:pt x="90" y="896"/>
                  </a:lnTo>
                  <a:lnTo>
                    <a:pt x="87" y="894"/>
                  </a:lnTo>
                  <a:lnTo>
                    <a:pt x="86" y="894"/>
                  </a:lnTo>
                  <a:lnTo>
                    <a:pt x="83" y="894"/>
                  </a:lnTo>
                  <a:lnTo>
                    <a:pt x="81" y="893"/>
                  </a:lnTo>
                  <a:lnTo>
                    <a:pt x="79" y="892"/>
                  </a:lnTo>
                  <a:lnTo>
                    <a:pt x="76" y="891"/>
                  </a:lnTo>
                  <a:lnTo>
                    <a:pt x="74" y="891"/>
                  </a:lnTo>
                  <a:lnTo>
                    <a:pt x="70" y="891"/>
                  </a:lnTo>
                  <a:lnTo>
                    <a:pt x="65" y="888"/>
                  </a:lnTo>
                  <a:lnTo>
                    <a:pt x="63" y="888"/>
                  </a:lnTo>
                  <a:lnTo>
                    <a:pt x="62" y="890"/>
                  </a:lnTo>
                  <a:lnTo>
                    <a:pt x="59" y="888"/>
                  </a:lnTo>
                  <a:lnTo>
                    <a:pt x="57" y="887"/>
                  </a:lnTo>
                  <a:lnTo>
                    <a:pt x="55" y="886"/>
                  </a:lnTo>
                  <a:lnTo>
                    <a:pt x="51" y="886"/>
                  </a:lnTo>
                  <a:lnTo>
                    <a:pt x="50" y="886"/>
                  </a:lnTo>
                  <a:lnTo>
                    <a:pt x="47" y="885"/>
                  </a:lnTo>
                  <a:lnTo>
                    <a:pt x="46" y="885"/>
                  </a:lnTo>
                  <a:lnTo>
                    <a:pt x="46" y="886"/>
                  </a:lnTo>
                  <a:lnTo>
                    <a:pt x="47" y="887"/>
                  </a:lnTo>
                  <a:lnTo>
                    <a:pt x="45" y="887"/>
                  </a:lnTo>
                  <a:lnTo>
                    <a:pt x="44" y="886"/>
                  </a:lnTo>
                  <a:lnTo>
                    <a:pt x="43" y="885"/>
                  </a:lnTo>
                  <a:lnTo>
                    <a:pt x="43" y="886"/>
                  </a:lnTo>
                  <a:lnTo>
                    <a:pt x="41" y="885"/>
                  </a:lnTo>
                  <a:lnTo>
                    <a:pt x="40" y="884"/>
                  </a:lnTo>
                  <a:lnTo>
                    <a:pt x="37" y="881"/>
                  </a:lnTo>
                  <a:lnTo>
                    <a:pt x="35" y="884"/>
                  </a:lnTo>
                  <a:lnTo>
                    <a:pt x="37" y="885"/>
                  </a:lnTo>
                  <a:lnTo>
                    <a:pt x="31" y="884"/>
                  </a:lnTo>
                  <a:lnTo>
                    <a:pt x="32" y="885"/>
                  </a:lnTo>
                  <a:lnTo>
                    <a:pt x="34" y="886"/>
                  </a:lnTo>
                  <a:lnTo>
                    <a:pt x="37" y="886"/>
                  </a:lnTo>
                  <a:lnTo>
                    <a:pt x="37" y="887"/>
                  </a:lnTo>
                  <a:lnTo>
                    <a:pt x="34" y="890"/>
                  </a:lnTo>
                  <a:lnTo>
                    <a:pt x="32" y="891"/>
                  </a:lnTo>
                  <a:lnTo>
                    <a:pt x="33" y="891"/>
                  </a:lnTo>
                  <a:lnTo>
                    <a:pt x="34" y="891"/>
                  </a:lnTo>
                  <a:lnTo>
                    <a:pt x="38" y="888"/>
                  </a:lnTo>
                  <a:lnTo>
                    <a:pt x="40" y="888"/>
                  </a:lnTo>
                  <a:lnTo>
                    <a:pt x="41" y="888"/>
                  </a:lnTo>
                  <a:lnTo>
                    <a:pt x="41" y="890"/>
                  </a:lnTo>
                  <a:lnTo>
                    <a:pt x="40" y="892"/>
                  </a:lnTo>
                  <a:lnTo>
                    <a:pt x="40" y="893"/>
                  </a:lnTo>
                  <a:lnTo>
                    <a:pt x="41" y="893"/>
                  </a:lnTo>
                  <a:lnTo>
                    <a:pt x="43" y="892"/>
                  </a:lnTo>
                  <a:lnTo>
                    <a:pt x="43" y="890"/>
                  </a:lnTo>
                  <a:lnTo>
                    <a:pt x="44" y="888"/>
                  </a:lnTo>
                  <a:lnTo>
                    <a:pt x="47" y="888"/>
                  </a:lnTo>
                  <a:lnTo>
                    <a:pt x="49" y="890"/>
                  </a:lnTo>
                  <a:lnTo>
                    <a:pt x="47" y="892"/>
                  </a:lnTo>
                  <a:lnTo>
                    <a:pt x="46" y="893"/>
                  </a:lnTo>
                  <a:lnTo>
                    <a:pt x="45" y="894"/>
                  </a:lnTo>
                  <a:lnTo>
                    <a:pt x="44" y="897"/>
                  </a:lnTo>
                  <a:lnTo>
                    <a:pt x="45" y="902"/>
                  </a:lnTo>
                  <a:lnTo>
                    <a:pt x="45" y="904"/>
                  </a:lnTo>
                  <a:lnTo>
                    <a:pt x="46" y="906"/>
                  </a:lnTo>
                  <a:lnTo>
                    <a:pt x="46" y="909"/>
                  </a:lnTo>
                  <a:lnTo>
                    <a:pt x="47" y="909"/>
                  </a:lnTo>
                  <a:lnTo>
                    <a:pt x="47" y="906"/>
                  </a:lnTo>
                  <a:lnTo>
                    <a:pt x="49" y="905"/>
                  </a:lnTo>
                  <a:lnTo>
                    <a:pt x="50" y="903"/>
                  </a:lnTo>
                  <a:lnTo>
                    <a:pt x="50" y="902"/>
                  </a:lnTo>
                  <a:lnTo>
                    <a:pt x="50" y="898"/>
                  </a:lnTo>
                  <a:lnTo>
                    <a:pt x="51" y="900"/>
                  </a:lnTo>
                  <a:lnTo>
                    <a:pt x="51" y="902"/>
                  </a:lnTo>
                  <a:lnTo>
                    <a:pt x="51" y="900"/>
                  </a:lnTo>
                  <a:lnTo>
                    <a:pt x="52" y="898"/>
                  </a:lnTo>
                  <a:lnTo>
                    <a:pt x="52" y="896"/>
                  </a:lnTo>
                  <a:lnTo>
                    <a:pt x="55" y="893"/>
                  </a:lnTo>
                  <a:lnTo>
                    <a:pt x="55" y="892"/>
                  </a:lnTo>
                  <a:lnTo>
                    <a:pt x="55" y="894"/>
                  </a:lnTo>
                  <a:lnTo>
                    <a:pt x="53" y="896"/>
                  </a:lnTo>
                  <a:lnTo>
                    <a:pt x="55" y="896"/>
                  </a:lnTo>
                  <a:lnTo>
                    <a:pt x="56" y="896"/>
                  </a:lnTo>
                  <a:lnTo>
                    <a:pt x="57" y="894"/>
                  </a:lnTo>
                  <a:lnTo>
                    <a:pt x="58" y="893"/>
                  </a:lnTo>
                  <a:lnTo>
                    <a:pt x="58" y="892"/>
                  </a:lnTo>
                  <a:lnTo>
                    <a:pt x="58" y="894"/>
                  </a:lnTo>
                  <a:lnTo>
                    <a:pt x="57" y="897"/>
                  </a:lnTo>
                  <a:lnTo>
                    <a:pt x="56" y="899"/>
                  </a:lnTo>
                  <a:lnTo>
                    <a:pt x="57" y="900"/>
                  </a:lnTo>
                  <a:lnTo>
                    <a:pt x="58" y="900"/>
                  </a:lnTo>
                  <a:lnTo>
                    <a:pt x="59" y="898"/>
                  </a:lnTo>
                  <a:lnTo>
                    <a:pt x="61" y="897"/>
                  </a:lnTo>
                  <a:lnTo>
                    <a:pt x="62" y="899"/>
                  </a:lnTo>
                  <a:lnTo>
                    <a:pt x="59" y="902"/>
                  </a:lnTo>
                  <a:lnTo>
                    <a:pt x="59" y="903"/>
                  </a:lnTo>
                  <a:lnTo>
                    <a:pt x="57" y="905"/>
                  </a:lnTo>
                  <a:lnTo>
                    <a:pt x="58" y="909"/>
                  </a:lnTo>
                  <a:lnTo>
                    <a:pt x="58" y="910"/>
                  </a:lnTo>
                  <a:lnTo>
                    <a:pt x="59" y="908"/>
                  </a:lnTo>
                  <a:lnTo>
                    <a:pt x="61" y="905"/>
                  </a:lnTo>
                  <a:lnTo>
                    <a:pt x="62" y="903"/>
                  </a:lnTo>
                  <a:lnTo>
                    <a:pt x="63" y="900"/>
                  </a:lnTo>
                  <a:lnTo>
                    <a:pt x="64" y="900"/>
                  </a:lnTo>
                  <a:lnTo>
                    <a:pt x="64" y="903"/>
                  </a:lnTo>
                  <a:lnTo>
                    <a:pt x="65" y="903"/>
                  </a:lnTo>
                  <a:lnTo>
                    <a:pt x="65" y="904"/>
                  </a:lnTo>
                  <a:lnTo>
                    <a:pt x="65" y="906"/>
                  </a:lnTo>
                  <a:lnTo>
                    <a:pt x="65" y="908"/>
                  </a:lnTo>
                  <a:lnTo>
                    <a:pt x="67" y="908"/>
                  </a:lnTo>
                  <a:lnTo>
                    <a:pt x="68" y="904"/>
                  </a:lnTo>
                  <a:lnTo>
                    <a:pt x="68" y="903"/>
                  </a:lnTo>
                  <a:lnTo>
                    <a:pt x="69" y="902"/>
                  </a:lnTo>
                  <a:lnTo>
                    <a:pt x="70" y="902"/>
                  </a:lnTo>
                  <a:lnTo>
                    <a:pt x="71" y="903"/>
                  </a:lnTo>
                  <a:lnTo>
                    <a:pt x="70" y="904"/>
                  </a:lnTo>
                  <a:lnTo>
                    <a:pt x="69" y="905"/>
                  </a:lnTo>
                  <a:lnTo>
                    <a:pt x="68" y="908"/>
                  </a:lnTo>
                  <a:lnTo>
                    <a:pt x="67" y="910"/>
                  </a:lnTo>
                  <a:lnTo>
                    <a:pt x="68" y="910"/>
                  </a:lnTo>
                  <a:lnTo>
                    <a:pt x="70" y="908"/>
                  </a:lnTo>
                  <a:lnTo>
                    <a:pt x="69" y="911"/>
                  </a:lnTo>
                  <a:lnTo>
                    <a:pt x="68" y="914"/>
                  </a:lnTo>
                  <a:lnTo>
                    <a:pt x="67" y="915"/>
                  </a:lnTo>
                  <a:lnTo>
                    <a:pt x="65" y="916"/>
                  </a:lnTo>
                  <a:lnTo>
                    <a:pt x="58" y="920"/>
                  </a:lnTo>
                  <a:lnTo>
                    <a:pt x="58" y="921"/>
                  </a:lnTo>
                  <a:lnTo>
                    <a:pt x="61" y="921"/>
                  </a:lnTo>
                  <a:lnTo>
                    <a:pt x="62" y="920"/>
                  </a:lnTo>
                  <a:lnTo>
                    <a:pt x="62" y="922"/>
                  </a:lnTo>
                  <a:lnTo>
                    <a:pt x="62" y="923"/>
                  </a:lnTo>
                  <a:lnTo>
                    <a:pt x="63" y="923"/>
                  </a:lnTo>
                  <a:lnTo>
                    <a:pt x="63" y="922"/>
                  </a:lnTo>
                  <a:lnTo>
                    <a:pt x="64" y="921"/>
                  </a:lnTo>
                  <a:lnTo>
                    <a:pt x="65" y="919"/>
                  </a:lnTo>
                  <a:lnTo>
                    <a:pt x="67" y="919"/>
                  </a:lnTo>
                  <a:lnTo>
                    <a:pt x="67" y="920"/>
                  </a:lnTo>
                  <a:lnTo>
                    <a:pt x="67" y="922"/>
                  </a:lnTo>
                  <a:lnTo>
                    <a:pt x="67" y="925"/>
                  </a:lnTo>
                  <a:lnTo>
                    <a:pt x="68" y="926"/>
                  </a:lnTo>
                  <a:lnTo>
                    <a:pt x="68" y="925"/>
                  </a:lnTo>
                  <a:lnTo>
                    <a:pt x="69" y="925"/>
                  </a:lnTo>
                  <a:lnTo>
                    <a:pt x="69" y="923"/>
                  </a:lnTo>
                  <a:lnTo>
                    <a:pt x="70" y="923"/>
                  </a:lnTo>
                  <a:lnTo>
                    <a:pt x="71" y="925"/>
                  </a:lnTo>
                  <a:lnTo>
                    <a:pt x="74" y="923"/>
                  </a:lnTo>
                  <a:lnTo>
                    <a:pt x="73" y="921"/>
                  </a:lnTo>
                  <a:lnTo>
                    <a:pt x="71" y="920"/>
                  </a:lnTo>
                  <a:lnTo>
                    <a:pt x="71" y="917"/>
                  </a:lnTo>
                  <a:lnTo>
                    <a:pt x="73" y="915"/>
                  </a:lnTo>
                  <a:lnTo>
                    <a:pt x="74" y="916"/>
                  </a:lnTo>
                  <a:lnTo>
                    <a:pt x="74" y="917"/>
                  </a:lnTo>
                  <a:lnTo>
                    <a:pt x="75" y="916"/>
                  </a:lnTo>
                  <a:lnTo>
                    <a:pt x="76" y="916"/>
                  </a:lnTo>
                  <a:lnTo>
                    <a:pt x="76" y="920"/>
                  </a:lnTo>
                  <a:lnTo>
                    <a:pt x="77" y="920"/>
                  </a:lnTo>
                  <a:lnTo>
                    <a:pt x="79" y="921"/>
                  </a:lnTo>
                  <a:lnTo>
                    <a:pt x="79" y="920"/>
                  </a:lnTo>
                  <a:lnTo>
                    <a:pt x="79" y="916"/>
                  </a:lnTo>
                  <a:lnTo>
                    <a:pt x="79" y="914"/>
                  </a:lnTo>
                  <a:lnTo>
                    <a:pt x="80" y="911"/>
                  </a:lnTo>
                  <a:lnTo>
                    <a:pt x="80" y="909"/>
                  </a:lnTo>
                  <a:lnTo>
                    <a:pt x="80" y="908"/>
                  </a:lnTo>
                  <a:lnTo>
                    <a:pt x="81" y="910"/>
                  </a:lnTo>
                  <a:lnTo>
                    <a:pt x="81" y="911"/>
                  </a:lnTo>
                  <a:lnTo>
                    <a:pt x="82" y="910"/>
                  </a:lnTo>
                  <a:lnTo>
                    <a:pt x="82" y="909"/>
                  </a:lnTo>
                  <a:lnTo>
                    <a:pt x="82" y="910"/>
                  </a:lnTo>
                  <a:lnTo>
                    <a:pt x="82" y="911"/>
                  </a:lnTo>
                  <a:lnTo>
                    <a:pt x="82" y="914"/>
                  </a:lnTo>
                  <a:lnTo>
                    <a:pt x="83" y="914"/>
                  </a:lnTo>
                  <a:lnTo>
                    <a:pt x="83" y="915"/>
                  </a:lnTo>
                  <a:lnTo>
                    <a:pt x="83" y="917"/>
                  </a:lnTo>
                  <a:lnTo>
                    <a:pt x="85" y="919"/>
                  </a:lnTo>
                  <a:lnTo>
                    <a:pt x="83" y="920"/>
                  </a:lnTo>
                  <a:lnTo>
                    <a:pt x="82" y="920"/>
                  </a:lnTo>
                  <a:lnTo>
                    <a:pt x="80" y="921"/>
                  </a:lnTo>
                  <a:lnTo>
                    <a:pt x="80" y="922"/>
                  </a:lnTo>
                  <a:lnTo>
                    <a:pt x="81" y="922"/>
                  </a:lnTo>
                  <a:lnTo>
                    <a:pt x="79" y="923"/>
                  </a:lnTo>
                  <a:lnTo>
                    <a:pt x="79" y="926"/>
                  </a:lnTo>
                  <a:lnTo>
                    <a:pt x="76" y="926"/>
                  </a:lnTo>
                  <a:lnTo>
                    <a:pt x="73" y="928"/>
                  </a:lnTo>
                  <a:lnTo>
                    <a:pt x="71" y="928"/>
                  </a:lnTo>
                  <a:lnTo>
                    <a:pt x="69" y="928"/>
                  </a:lnTo>
                  <a:lnTo>
                    <a:pt x="67" y="928"/>
                  </a:lnTo>
                  <a:lnTo>
                    <a:pt x="64" y="928"/>
                  </a:lnTo>
                  <a:lnTo>
                    <a:pt x="62" y="928"/>
                  </a:lnTo>
                  <a:lnTo>
                    <a:pt x="62" y="929"/>
                  </a:lnTo>
                  <a:lnTo>
                    <a:pt x="62" y="931"/>
                  </a:lnTo>
                  <a:lnTo>
                    <a:pt x="61" y="931"/>
                  </a:lnTo>
                  <a:lnTo>
                    <a:pt x="59" y="932"/>
                  </a:lnTo>
                  <a:lnTo>
                    <a:pt x="62" y="932"/>
                  </a:lnTo>
                  <a:lnTo>
                    <a:pt x="64" y="932"/>
                  </a:lnTo>
                  <a:lnTo>
                    <a:pt x="65" y="933"/>
                  </a:lnTo>
                  <a:lnTo>
                    <a:pt x="65" y="935"/>
                  </a:lnTo>
                  <a:lnTo>
                    <a:pt x="65" y="934"/>
                  </a:lnTo>
                  <a:lnTo>
                    <a:pt x="67" y="933"/>
                  </a:lnTo>
                  <a:lnTo>
                    <a:pt x="67" y="931"/>
                  </a:lnTo>
                  <a:lnTo>
                    <a:pt x="69" y="931"/>
                  </a:lnTo>
                  <a:lnTo>
                    <a:pt x="70" y="931"/>
                  </a:lnTo>
                  <a:lnTo>
                    <a:pt x="69" y="933"/>
                  </a:lnTo>
                  <a:lnTo>
                    <a:pt x="68" y="934"/>
                  </a:lnTo>
                  <a:lnTo>
                    <a:pt x="67" y="938"/>
                  </a:lnTo>
                  <a:lnTo>
                    <a:pt x="68" y="939"/>
                  </a:lnTo>
                  <a:lnTo>
                    <a:pt x="69" y="938"/>
                  </a:lnTo>
                  <a:lnTo>
                    <a:pt x="70" y="937"/>
                  </a:lnTo>
                  <a:lnTo>
                    <a:pt x="73" y="934"/>
                  </a:lnTo>
                  <a:lnTo>
                    <a:pt x="73" y="933"/>
                  </a:lnTo>
                  <a:lnTo>
                    <a:pt x="75" y="931"/>
                  </a:lnTo>
                  <a:lnTo>
                    <a:pt x="75" y="929"/>
                  </a:lnTo>
                  <a:lnTo>
                    <a:pt x="77" y="929"/>
                  </a:lnTo>
                  <a:lnTo>
                    <a:pt x="77" y="931"/>
                  </a:lnTo>
                  <a:lnTo>
                    <a:pt x="77" y="933"/>
                  </a:lnTo>
                  <a:lnTo>
                    <a:pt x="76" y="934"/>
                  </a:lnTo>
                  <a:lnTo>
                    <a:pt x="76" y="937"/>
                  </a:lnTo>
                  <a:lnTo>
                    <a:pt x="76" y="939"/>
                  </a:lnTo>
                  <a:lnTo>
                    <a:pt x="76" y="941"/>
                  </a:lnTo>
                  <a:lnTo>
                    <a:pt x="77" y="941"/>
                  </a:lnTo>
                  <a:lnTo>
                    <a:pt x="77" y="940"/>
                  </a:lnTo>
                  <a:lnTo>
                    <a:pt x="79" y="938"/>
                  </a:lnTo>
                  <a:lnTo>
                    <a:pt x="79" y="935"/>
                  </a:lnTo>
                  <a:lnTo>
                    <a:pt x="80" y="934"/>
                  </a:lnTo>
                  <a:lnTo>
                    <a:pt x="80" y="937"/>
                  </a:lnTo>
                  <a:lnTo>
                    <a:pt x="80" y="938"/>
                  </a:lnTo>
                  <a:lnTo>
                    <a:pt x="80" y="937"/>
                  </a:lnTo>
                  <a:lnTo>
                    <a:pt x="81" y="935"/>
                  </a:lnTo>
                  <a:lnTo>
                    <a:pt x="81" y="934"/>
                  </a:lnTo>
                  <a:lnTo>
                    <a:pt x="82" y="932"/>
                  </a:lnTo>
                  <a:lnTo>
                    <a:pt x="83" y="931"/>
                  </a:lnTo>
                  <a:lnTo>
                    <a:pt x="83" y="932"/>
                  </a:lnTo>
                  <a:lnTo>
                    <a:pt x="83" y="935"/>
                  </a:lnTo>
                  <a:lnTo>
                    <a:pt x="83" y="937"/>
                  </a:lnTo>
                  <a:lnTo>
                    <a:pt x="85" y="935"/>
                  </a:lnTo>
                  <a:lnTo>
                    <a:pt x="86" y="933"/>
                  </a:lnTo>
                  <a:lnTo>
                    <a:pt x="87" y="931"/>
                  </a:lnTo>
                  <a:lnTo>
                    <a:pt x="87" y="932"/>
                  </a:lnTo>
                  <a:lnTo>
                    <a:pt x="86" y="935"/>
                  </a:lnTo>
                  <a:lnTo>
                    <a:pt x="86" y="938"/>
                  </a:lnTo>
                  <a:lnTo>
                    <a:pt x="86" y="939"/>
                  </a:lnTo>
                  <a:lnTo>
                    <a:pt x="87" y="941"/>
                  </a:lnTo>
                  <a:lnTo>
                    <a:pt x="86" y="944"/>
                  </a:lnTo>
                  <a:lnTo>
                    <a:pt x="85" y="947"/>
                  </a:lnTo>
                  <a:lnTo>
                    <a:pt x="85" y="950"/>
                  </a:lnTo>
                  <a:lnTo>
                    <a:pt x="83" y="953"/>
                  </a:lnTo>
                  <a:lnTo>
                    <a:pt x="86" y="952"/>
                  </a:lnTo>
                  <a:lnTo>
                    <a:pt x="86" y="953"/>
                  </a:lnTo>
                  <a:lnTo>
                    <a:pt x="85" y="955"/>
                  </a:lnTo>
                  <a:lnTo>
                    <a:pt x="82" y="955"/>
                  </a:lnTo>
                  <a:lnTo>
                    <a:pt x="81" y="955"/>
                  </a:lnTo>
                  <a:lnTo>
                    <a:pt x="79" y="955"/>
                  </a:lnTo>
                  <a:lnTo>
                    <a:pt x="77" y="953"/>
                  </a:lnTo>
                  <a:lnTo>
                    <a:pt x="74" y="953"/>
                  </a:lnTo>
                  <a:lnTo>
                    <a:pt x="71" y="953"/>
                  </a:lnTo>
                  <a:lnTo>
                    <a:pt x="69" y="950"/>
                  </a:lnTo>
                  <a:lnTo>
                    <a:pt x="67" y="949"/>
                  </a:lnTo>
                  <a:lnTo>
                    <a:pt x="64" y="946"/>
                  </a:lnTo>
                  <a:lnTo>
                    <a:pt x="63" y="945"/>
                  </a:lnTo>
                  <a:lnTo>
                    <a:pt x="62" y="945"/>
                  </a:lnTo>
                  <a:lnTo>
                    <a:pt x="62" y="943"/>
                  </a:lnTo>
                  <a:lnTo>
                    <a:pt x="59" y="944"/>
                  </a:lnTo>
                  <a:lnTo>
                    <a:pt x="58" y="943"/>
                  </a:lnTo>
                  <a:lnTo>
                    <a:pt x="58" y="940"/>
                  </a:lnTo>
                  <a:lnTo>
                    <a:pt x="57" y="941"/>
                  </a:lnTo>
                  <a:lnTo>
                    <a:pt x="56" y="940"/>
                  </a:lnTo>
                  <a:lnTo>
                    <a:pt x="55" y="943"/>
                  </a:lnTo>
                  <a:lnTo>
                    <a:pt x="53" y="944"/>
                  </a:lnTo>
                  <a:lnTo>
                    <a:pt x="51" y="945"/>
                  </a:lnTo>
                  <a:lnTo>
                    <a:pt x="52" y="946"/>
                  </a:lnTo>
                  <a:lnTo>
                    <a:pt x="55" y="947"/>
                  </a:lnTo>
                  <a:lnTo>
                    <a:pt x="56" y="949"/>
                  </a:lnTo>
                  <a:lnTo>
                    <a:pt x="59" y="951"/>
                  </a:lnTo>
                  <a:lnTo>
                    <a:pt x="61" y="950"/>
                  </a:lnTo>
                  <a:lnTo>
                    <a:pt x="59" y="952"/>
                  </a:lnTo>
                  <a:lnTo>
                    <a:pt x="58" y="953"/>
                  </a:lnTo>
                  <a:lnTo>
                    <a:pt x="56" y="953"/>
                  </a:lnTo>
                  <a:lnTo>
                    <a:pt x="53" y="952"/>
                  </a:lnTo>
                  <a:lnTo>
                    <a:pt x="51" y="951"/>
                  </a:lnTo>
                  <a:lnTo>
                    <a:pt x="47" y="951"/>
                  </a:lnTo>
                  <a:lnTo>
                    <a:pt x="45" y="949"/>
                  </a:lnTo>
                  <a:lnTo>
                    <a:pt x="41" y="947"/>
                  </a:lnTo>
                  <a:lnTo>
                    <a:pt x="38" y="945"/>
                  </a:lnTo>
                  <a:lnTo>
                    <a:pt x="34" y="941"/>
                  </a:lnTo>
                  <a:lnTo>
                    <a:pt x="27" y="937"/>
                  </a:lnTo>
                  <a:lnTo>
                    <a:pt x="21" y="934"/>
                  </a:lnTo>
                  <a:lnTo>
                    <a:pt x="18" y="932"/>
                  </a:lnTo>
                  <a:lnTo>
                    <a:pt x="17" y="932"/>
                  </a:lnTo>
                  <a:lnTo>
                    <a:pt x="16" y="932"/>
                  </a:lnTo>
                  <a:lnTo>
                    <a:pt x="15" y="931"/>
                  </a:lnTo>
                  <a:lnTo>
                    <a:pt x="12" y="928"/>
                  </a:lnTo>
                  <a:lnTo>
                    <a:pt x="10" y="928"/>
                  </a:lnTo>
                  <a:lnTo>
                    <a:pt x="8" y="927"/>
                  </a:lnTo>
                  <a:lnTo>
                    <a:pt x="0" y="925"/>
                  </a:lnTo>
                  <a:lnTo>
                    <a:pt x="0" y="927"/>
                  </a:lnTo>
                  <a:lnTo>
                    <a:pt x="2" y="927"/>
                  </a:lnTo>
                  <a:lnTo>
                    <a:pt x="5" y="929"/>
                  </a:lnTo>
                  <a:lnTo>
                    <a:pt x="5" y="931"/>
                  </a:lnTo>
                  <a:lnTo>
                    <a:pt x="5" y="932"/>
                  </a:lnTo>
                  <a:lnTo>
                    <a:pt x="6" y="933"/>
                  </a:lnTo>
                  <a:lnTo>
                    <a:pt x="9" y="931"/>
                  </a:lnTo>
                  <a:lnTo>
                    <a:pt x="11" y="932"/>
                  </a:lnTo>
                  <a:lnTo>
                    <a:pt x="9" y="933"/>
                  </a:lnTo>
                  <a:lnTo>
                    <a:pt x="8" y="934"/>
                  </a:lnTo>
                  <a:lnTo>
                    <a:pt x="10" y="935"/>
                  </a:lnTo>
                  <a:lnTo>
                    <a:pt x="12" y="935"/>
                  </a:lnTo>
                  <a:lnTo>
                    <a:pt x="15" y="935"/>
                  </a:lnTo>
                  <a:lnTo>
                    <a:pt x="12" y="938"/>
                  </a:lnTo>
                  <a:lnTo>
                    <a:pt x="14" y="940"/>
                  </a:lnTo>
                  <a:lnTo>
                    <a:pt x="15" y="938"/>
                  </a:lnTo>
                  <a:lnTo>
                    <a:pt x="17" y="937"/>
                  </a:lnTo>
                  <a:lnTo>
                    <a:pt x="17" y="938"/>
                  </a:lnTo>
                  <a:lnTo>
                    <a:pt x="15" y="941"/>
                  </a:lnTo>
                  <a:lnTo>
                    <a:pt x="16" y="943"/>
                  </a:lnTo>
                  <a:lnTo>
                    <a:pt x="17" y="941"/>
                  </a:lnTo>
                  <a:lnTo>
                    <a:pt x="20" y="939"/>
                  </a:lnTo>
                  <a:lnTo>
                    <a:pt x="21" y="938"/>
                  </a:lnTo>
                  <a:lnTo>
                    <a:pt x="22" y="939"/>
                  </a:lnTo>
                  <a:lnTo>
                    <a:pt x="21" y="943"/>
                  </a:lnTo>
                  <a:lnTo>
                    <a:pt x="20" y="943"/>
                  </a:lnTo>
                  <a:lnTo>
                    <a:pt x="18" y="944"/>
                  </a:lnTo>
                  <a:lnTo>
                    <a:pt x="20" y="944"/>
                  </a:lnTo>
                  <a:lnTo>
                    <a:pt x="18" y="946"/>
                  </a:lnTo>
                  <a:lnTo>
                    <a:pt x="17" y="946"/>
                  </a:lnTo>
                  <a:lnTo>
                    <a:pt x="17" y="949"/>
                  </a:lnTo>
                  <a:lnTo>
                    <a:pt x="22" y="947"/>
                  </a:lnTo>
                  <a:lnTo>
                    <a:pt x="23" y="945"/>
                  </a:lnTo>
                  <a:lnTo>
                    <a:pt x="26" y="944"/>
                  </a:lnTo>
                  <a:lnTo>
                    <a:pt x="24" y="946"/>
                  </a:lnTo>
                  <a:lnTo>
                    <a:pt x="24" y="950"/>
                  </a:lnTo>
                  <a:lnTo>
                    <a:pt x="26" y="949"/>
                  </a:lnTo>
                  <a:lnTo>
                    <a:pt x="28" y="945"/>
                  </a:lnTo>
                  <a:lnTo>
                    <a:pt x="28" y="946"/>
                  </a:lnTo>
                  <a:lnTo>
                    <a:pt x="27" y="950"/>
                  </a:lnTo>
                  <a:lnTo>
                    <a:pt x="24" y="953"/>
                  </a:lnTo>
                  <a:lnTo>
                    <a:pt x="23" y="958"/>
                  </a:lnTo>
                  <a:lnTo>
                    <a:pt x="23" y="961"/>
                  </a:lnTo>
                  <a:lnTo>
                    <a:pt x="23" y="964"/>
                  </a:lnTo>
                  <a:lnTo>
                    <a:pt x="26" y="962"/>
                  </a:lnTo>
                  <a:lnTo>
                    <a:pt x="27" y="961"/>
                  </a:lnTo>
                  <a:lnTo>
                    <a:pt x="28" y="959"/>
                  </a:lnTo>
                  <a:lnTo>
                    <a:pt x="28" y="957"/>
                  </a:lnTo>
                  <a:lnTo>
                    <a:pt x="29" y="956"/>
                  </a:lnTo>
                  <a:lnTo>
                    <a:pt x="31" y="956"/>
                  </a:lnTo>
                  <a:lnTo>
                    <a:pt x="32" y="956"/>
                  </a:lnTo>
                  <a:lnTo>
                    <a:pt x="31" y="958"/>
                  </a:lnTo>
                  <a:lnTo>
                    <a:pt x="29" y="961"/>
                  </a:lnTo>
                  <a:lnTo>
                    <a:pt x="28" y="962"/>
                  </a:lnTo>
                  <a:lnTo>
                    <a:pt x="28" y="963"/>
                  </a:lnTo>
                  <a:lnTo>
                    <a:pt x="29" y="963"/>
                  </a:lnTo>
                  <a:lnTo>
                    <a:pt x="29" y="964"/>
                  </a:lnTo>
                  <a:lnTo>
                    <a:pt x="29" y="965"/>
                  </a:lnTo>
                  <a:lnTo>
                    <a:pt x="29" y="967"/>
                  </a:lnTo>
                  <a:lnTo>
                    <a:pt x="29" y="968"/>
                  </a:lnTo>
                  <a:lnTo>
                    <a:pt x="31" y="968"/>
                  </a:lnTo>
                  <a:lnTo>
                    <a:pt x="31" y="967"/>
                  </a:lnTo>
                  <a:lnTo>
                    <a:pt x="32" y="965"/>
                  </a:lnTo>
                  <a:lnTo>
                    <a:pt x="33" y="964"/>
                  </a:lnTo>
                  <a:lnTo>
                    <a:pt x="34" y="964"/>
                  </a:lnTo>
                  <a:lnTo>
                    <a:pt x="33" y="968"/>
                  </a:lnTo>
                  <a:lnTo>
                    <a:pt x="33" y="971"/>
                  </a:lnTo>
                  <a:lnTo>
                    <a:pt x="35" y="971"/>
                  </a:lnTo>
                  <a:lnTo>
                    <a:pt x="37" y="971"/>
                  </a:lnTo>
                  <a:lnTo>
                    <a:pt x="37" y="969"/>
                  </a:lnTo>
                  <a:lnTo>
                    <a:pt x="37" y="967"/>
                  </a:lnTo>
                  <a:lnTo>
                    <a:pt x="37" y="964"/>
                  </a:lnTo>
                  <a:lnTo>
                    <a:pt x="38" y="963"/>
                  </a:lnTo>
                  <a:lnTo>
                    <a:pt x="38" y="965"/>
                  </a:lnTo>
                  <a:lnTo>
                    <a:pt x="39" y="969"/>
                  </a:lnTo>
                  <a:lnTo>
                    <a:pt x="40" y="969"/>
                  </a:lnTo>
                  <a:lnTo>
                    <a:pt x="40" y="965"/>
                  </a:lnTo>
                  <a:lnTo>
                    <a:pt x="41" y="964"/>
                  </a:lnTo>
                  <a:lnTo>
                    <a:pt x="41" y="963"/>
                  </a:lnTo>
                  <a:lnTo>
                    <a:pt x="43" y="964"/>
                  </a:lnTo>
                  <a:lnTo>
                    <a:pt x="43" y="967"/>
                  </a:lnTo>
                  <a:lnTo>
                    <a:pt x="43" y="968"/>
                  </a:lnTo>
                  <a:lnTo>
                    <a:pt x="44" y="969"/>
                  </a:lnTo>
                  <a:lnTo>
                    <a:pt x="44" y="971"/>
                  </a:lnTo>
                  <a:lnTo>
                    <a:pt x="43" y="974"/>
                  </a:lnTo>
                  <a:lnTo>
                    <a:pt x="43" y="976"/>
                  </a:lnTo>
                  <a:lnTo>
                    <a:pt x="44" y="977"/>
                  </a:lnTo>
                  <a:lnTo>
                    <a:pt x="44" y="980"/>
                  </a:lnTo>
                  <a:lnTo>
                    <a:pt x="43" y="982"/>
                  </a:lnTo>
                  <a:lnTo>
                    <a:pt x="44" y="983"/>
                  </a:lnTo>
                  <a:lnTo>
                    <a:pt x="45" y="982"/>
                  </a:lnTo>
                  <a:lnTo>
                    <a:pt x="46" y="981"/>
                  </a:lnTo>
                  <a:lnTo>
                    <a:pt x="46" y="979"/>
                  </a:lnTo>
                  <a:lnTo>
                    <a:pt x="46" y="977"/>
                  </a:lnTo>
                  <a:lnTo>
                    <a:pt x="46" y="975"/>
                  </a:lnTo>
                  <a:lnTo>
                    <a:pt x="49" y="976"/>
                  </a:lnTo>
                  <a:lnTo>
                    <a:pt x="49" y="975"/>
                  </a:lnTo>
                  <a:lnTo>
                    <a:pt x="50" y="975"/>
                  </a:lnTo>
                  <a:lnTo>
                    <a:pt x="51" y="975"/>
                  </a:lnTo>
                  <a:lnTo>
                    <a:pt x="51" y="976"/>
                  </a:lnTo>
                  <a:lnTo>
                    <a:pt x="50" y="979"/>
                  </a:lnTo>
                  <a:lnTo>
                    <a:pt x="51" y="977"/>
                  </a:lnTo>
                  <a:lnTo>
                    <a:pt x="53" y="976"/>
                  </a:lnTo>
                  <a:lnTo>
                    <a:pt x="53" y="975"/>
                  </a:lnTo>
                  <a:lnTo>
                    <a:pt x="55" y="974"/>
                  </a:lnTo>
                  <a:lnTo>
                    <a:pt x="53" y="977"/>
                  </a:lnTo>
                  <a:lnTo>
                    <a:pt x="53" y="979"/>
                  </a:lnTo>
                  <a:lnTo>
                    <a:pt x="51" y="981"/>
                  </a:lnTo>
                  <a:lnTo>
                    <a:pt x="49" y="983"/>
                  </a:lnTo>
                  <a:lnTo>
                    <a:pt x="44" y="985"/>
                  </a:lnTo>
                  <a:lnTo>
                    <a:pt x="43" y="986"/>
                  </a:lnTo>
                  <a:lnTo>
                    <a:pt x="40" y="988"/>
                  </a:lnTo>
                  <a:lnTo>
                    <a:pt x="38" y="988"/>
                  </a:lnTo>
                  <a:lnTo>
                    <a:pt x="31" y="985"/>
                  </a:lnTo>
                  <a:lnTo>
                    <a:pt x="29" y="986"/>
                  </a:lnTo>
                  <a:lnTo>
                    <a:pt x="35" y="988"/>
                  </a:lnTo>
                  <a:lnTo>
                    <a:pt x="37" y="989"/>
                  </a:lnTo>
                  <a:lnTo>
                    <a:pt x="32" y="993"/>
                  </a:lnTo>
                  <a:lnTo>
                    <a:pt x="32" y="994"/>
                  </a:lnTo>
                  <a:lnTo>
                    <a:pt x="32" y="995"/>
                  </a:lnTo>
                  <a:lnTo>
                    <a:pt x="34" y="993"/>
                  </a:lnTo>
                  <a:lnTo>
                    <a:pt x="35" y="993"/>
                  </a:lnTo>
                  <a:lnTo>
                    <a:pt x="35" y="998"/>
                  </a:lnTo>
                  <a:lnTo>
                    <a:pt x="37" y="997"/>
                  </a:lnTo>
                  <a:lnTo>
                    <a:pt x="37" y="994"/>
                  </a:lnTo>
                  <a:lnTo>
                    <a:pt x="38" y="993"/>
                  </a:lnTo>
                  <a:lnTo>
                    <a:pt x="39" y="991"/>
                  </a:lnTo>
                  <a:lnTo>
                    <a:pt x="40" y="991"/>
                  </a:lnTo>
                  <a:lnTo>
                    <a:pt x="40" y="993"/>
                  </a:lnTo>
                  <a:lnTo>
                    <a:pt x="40" y="997"/>
                  </a:lnTo>
                  <a:lnTo>
                    <a:pt x="41" y="997"/>
                  </a:lnTo>
                  <a:lnTo>
                    <a:pt x="43" y="997"/>
                  </a:lnTo>
                  <a:lnTo>
                    <a:pt x="43" y="994"/>
                  </a:lnTo>
                  <a:lnTo>
                    <a:pt x="41" y="994"/>
                  </a:lnTo>
                  <a:lnTo>
                    <a:pt x="43" y="992"/>
                  </a:lnTo>
                  <a:lnTo>
                    <a:pt x="44" y="992"/>
                  </a:lnTo>
                  <a:lnTo>
                    <a:pt x="45" y="992"/>
                  </a:lnTo>
                  <a:lnTo>
                    <a:pt x="47" y="992"/>
                  </a:lnTo>
                  <a:lnTo>
                    <a:pt x="45" y="994"/>
                  </a:lnTo>
                  <a:lnTo>
                    <a:pt x="43" y="997"/>
                  </a:lnTo>
                  <a:lnTo>
                    <a:pt x="41" y="999"/>
                  </a:lnTo>
                  <a:lnTo>
                    <a:pt x="43" y="1000"/>
                  </a:lnTo>
                  <a:lnTo>
                    <a:pt x="45" y="998"/>
                  </a:lnTo>
                  <a:lnTo>
                    <a:pt x="45" y="999"/>
                  </a:lnTo>
                  <a:lnTo>
                    <a:pt x="43" y="1003"/>
                  </a:lnTo>
                  <a:lnTo>
                    <a:pt x="44" y="1005"/>
                  </a:lnTo>
                  <a:lnTo>
                    <a:pt x="45" y="1004"/>
                  </a:lnTo>
                  <a:lnTo>
                    <a:pt x="46" y="1001"/>
                  </a:lnTo>
                  <a:lnTo>
                    <a:pt x="49" y="999"/>
                  </a:lnTo>
                  <a:lnTo>
                    <a:pt x="50" y="997"/>
                  </a:lnTo>
                  <a:lnTo>
                    <a:pt x="53" y="993"/>
                  </a:lnTo>
                  <a:lnTo>
                    <a:pt x="56" y="994"/>
                  </a:lnTo>
                  <a:lnTo>
                    <a:pt x="59" y="994"/>
                  </a:lnTo>
                  <a:lnTo>
                    <a:pt x="58" y="998"/>
                  </a:lnTo>
                  <a:lnTo>
                    <a:pt x="55" y="1001"/>
                  </a:lnTo>
                  <a:lnTo>
                    <a:pt x="55" y="1004"/>
                  </a:lnTo>
                  <a:lnTo>
                    <a:pt x="52" y="1005"/>
                  </a:lnTo>
                  <a:lnTo>
                    <a:pt x="49" y="1006"/>
                  </a:lnTo>
                  <a:lnTo>
                    <a:pt x="45" y="1010"/>
                  </a:lnTo>
                  <a:lnTo>
                    <a:pt x="44" y="1012"/>
                  </a:lnTo>
                  <a:lnTo>
                    <a:pt x="45" y="1012"/>
                  </a:lnTo>
                  <a:lnTo>
                    <a:pt x="47" y="1012"/>
                  </a:lnTo>
                  <a:lnTo>
                    <a:pt x="49" y="1012"/>
                  </a:lnTo>
                  <a:lnTo>
                    <a:pt x="50" y="1011"/>
                  </a:lnTo>
                  <a:lnTo>
                    <a:pt x="51" y="1009"/>
                  </a:lnTo>
                  <a:lnTo>
                    <a:pt x="53" y="1006"/>
                  </a:lnTo>
                  <a:lnTo>
                    <a:pt x="56" y="1005"/>
                  </a:lnTo>
                  <a:lnTo>
                    <a:pt x="55" y="1007"/>
                  </a:lnTo>
                  <a:lnTo>
                    <a:pt x="53" y="1012"/>
                  </a:lnTo>
                  <a:lnTo>
                    <a:pt x="56" y="1012"/>
                  </a:lnTo>
                  <a:lnTo>
                    <a:pt x="58" y="1011"/>
                  </a:lnTo>
                  <a:lnTo>
                    <a:pt x="57" y="1013"/>
                  </a:lnTo>
                  <a:lnTo>
                    <a:pt x="58" y="1015"/>
                  </a:lnTo>
                  <a:lnTo>
                    <a:pt x="59" y="1012"/>
                  </a:lnTo>
                  <a:lnTo>
                    <a:pt x="61" y="1011"/>
                  </a:lnTo>
                  <a:lnTo>
                    <a:pt x="61" y="1009"/>
                  </a:lnTo>
                  <a:lnTo>
                    <a:pt x="62" y="1005"/>
                  </a:lnTo>
                  <a:lnTo>
                    <a:pt x="63" y="1003"/>
                  </a:lnTo>
                  <a:lnTo>
                    <a:pt x="63" y="1005"/>
                  </a:lnTo>
                  <a:lnTo>
                    <a:pt x="63" y="1006"/>
                  </a:lnTo>
                  <a:lnTo>
                    <a:pt x="63" y="1005"/>
                  </a:lnTo>
                  <a:lnTo>
                    <a:pt x="63" y="1000"/>
                  </a:lnTo>
                  <a:lnTo>
                    <a:pt x="64" y="999"/>
                  </a:lnTo>
                  <a:lnTo>
                    <a:pt x="65" y="998"/>
                  </a:lnTo>
                  <a:lnTo>
                    <a:pt x="65" y="1000"/>
                  </a:lnTo>
                  <a:lnTo>
                    <a:pt x="67" y="997"/>
                  </a:lnTo>
                  <a:lnTo>
                    <a:pt x="67" y="995"/>
                  </a:lnTo>
                  <a:lnTo>
                    <a:pt x="69" y="995"/>
                  </a:lnTo>
                  <a:lnTo>
                    <a:pt x="68" y="998"/>
                  </a:lnTo>
                  <a:lnTo>
                    <a:pt x="68" y="1000"/>
                  </a:lnTo>
                  <a:lnTo>
                    <a:pt x="67" y="1004"/>
                  </a:lnTo>
                  <a:lnTo>
                    <a:pt x="67" y="1007"/>
                  </a:lnTo>
                  <a:lnTo>
                    <a:pt x="67" y="1009"/>
                  </a:lnTo>
                  <a:lnTo>
                    <a:pt x="65" y="1011"/>
                  </a:lnTo>
                  <a:lnTo>
                    <a:pt x="65" y="1013"/>
                  </a:lnTo>
                  <a:lnTo>
                    <a:pt x="65" y="1015"/>
                  </a:lnTo>
                  <a:lnTo>
                    <a:pt x="67" y="1019"/>
                  </a:lnTo>
                  <a:lnTo>
                    <a:pt x="67" y="1018"/>
                  </a:lnTo>
                  <a:lnTo>
                    <a:pt x="69" y="1017"/>
                  </a:lnTo>
                  <a:lnTo>
                    <a:pt x="70" y="1016"/>
                  </a:lnTo>
                  <a:lnTo>
                    <a:pt x="71" y="1015"/>
                  </a:lnTo>
                  <a:lnTo>
                    <a:pt x="71" y="1010"/>
                  </a:lnTo>
                  <a:lnTo>
                    <a:pt x="71" y="1009"/>
                  </a:lnTo>
                  <a:lnTo>
                    <a:pt x="73" y="1009"/>
                  </a:lnTo>
                  <a:lnTo>
                    <a:pt x="73" y="1011"/>
                  </a:lnTo>
                  <a:lnTo>
                    <a:pt x="73" y="1013"/>
                  </a:lnTo>
                  <a:lnTo>
                    <a:pt x="73" y="1016"/>
                  </a:lnTo>
                  <a:lnTo>
                    <a:pt x="73" y="1019"/>
                  </a:lnTo>
                  <a:lnTo>
                    <a:pt x="74" y="1022"/>
                  </a:lnTo>
                  <a:lnTo>
                    <a:pt x="74" y="1021"/>
                  </a:lnTo>
                  <a:lnTo>
                    <a:pt x="75" y="1022"/>
                  </a:lnTo>
                  <a:lnTo>
                    <a:pt x="76" y="1024"/>
                  </a:lnTo>
                  <a:lnTo>
                    <a:pt x="77" y="1024"/>
                  </a:lnTo>
                  <a:lnTo>
                    <a:pt x="77" y="1019"/>
                  </a:lnTo>
                  <a:lnTo>
                    <a:pt x="76" y="1015"/>
                  </a:lnTo>
                  <a:lnTo>
                    <a:pt x="77" y="1011"/>
                  </a:lnTo>
                  <a:lnTo>
                    <a:pt x="77" y="1006"/>
                  </a:lnTo>
                  <a:lnTo>
                    <a:pt x="79" y="1013"/>
                  </a:lnTo>
                  <a:lnTo>
                    <a:pt x="80" y="1013"/>
                  </a:lnTo>
                  <a:lnTo>
                    <a:pt x="80" y="1010"/>
                  </a:lnTo>
                  <a:lnTo>
                    <a:pt x="80" y="1005"/>
                  </a:lnTo>
                  <a:lnTo>
                    <a:pt x="81" y="1003"/>
                  </a:lnTo>
                  <a:lnTo>
                    <a:pt x="81" y="998"/>
                  </a:lnTo>
                  <a:lnTo>
                    <a:pt x="83" y="997"/>
                  </a:lnTo>
                  <a:lnTo>
                    <a:pt x="83" y="1000"/>
                  </a:lnTo>
                  <a:lnTo>
                    <a:pt x="83" y="1006"/>
                  </a:lnTo>
                  <a:lnTo>
                    <a:pt x="81" y="1010"/>
                  </a:lnTo>
                  <a:lnTo>
                    <a:pt x="81" y="1013"/>
                  </a:lnTo>
                  <a:lnTo>
                    <a:pt x="80" y="1017"/>
                  </a:lnTo>
                  <a:lnTo>
                    <a:pt x="79" y="1019"/>
                  </a:lnTo>
                  <a:lnTo>
                    <a:pt x="80" y="1021"/>
                  </a:lnTo>
                  <a:lnTo>
                    <a:pt x="81" y="1022"/>
                  </a:lnTo>
                  <a:lnTo>
                    <a:pt x="82" y="1021"/>
                  </a:lnTo>
                  <a:lnTo>
                    <a:pt x="82" y="1019"/>
                  </a:lnTo>
                  <a:lnTo>
                    <a:pt x="83" y="1017"/>
                  </a:lnTo>
                  <a:lnTo>
                    <a:pt x="83" y="1015"/>
                  </a:lnTo>
                  <a:lnTo>
                    <a:pt x="85" y="1013"/>
                  </a:lnTo>
                  <a:lnTo>
                    <a:pt x="83" y="1012"/>
                  </a:lnTo>
                  <a:lnTo>
                    <a:pt x="85" y="1009"/>
                  </a:lnTo>
                  <a:lnTo>
                    <a:pt x="86" y="1009"/>
                  </a:lnTo>
                  <a:lnTo>
                    <a:pt x="86" y="1013"/>
                  </a:lnTo>
                  <a:lnTo>
                    <a:pt x="86" y="1015"/>
                  </a:lnTo>
                  <a:lnTo>
                    <a:pt x="87" y="1016"/>
                  </a:lnTo>
                  <a:lnTo>
                    <a:pt x="88" y="1012"/>
                  </a:lnTo>
                  <a:lnTo>
                    <a:pt x="90" y="1010"/>
                  </a:lnTo>
                  <a:lnTo>
                    <a:pt x="90" y="1009"/>
                  </a:lnTo>
                  <a:lnTo>
                    <a:pt x="92" y="1004"/>
                  </a:lnTo>
                  <a:lnTo>
                    <a:pt x="92" y="1006"/>
                  </a:lnTo>
                  <a:lnTo>
                    <a:pt x="92" y="1009"/>
                  </a:lnTo>
                  <a:lnTo>
                    <a:pt x="91" y="1012"/>
                  </a:lnTo>
                  <a:lnTo>
                    <a:pt x="91" y="1016"/>
                  </a:lnTo>
                  <a:lnTo>
                    <a:pt x="92" y="1016"/>
                  </a:lnTo>
                  <a:lnTo>
                    <a:pt x="91" y="1018"/>
                  </a:lnTo>
                  <a:lnTo>
                    <a:pt x="93" y="1019"/>
                  </a:lnTo>
                  <a:lnTo>
                    <a:pt x="93" y="1018"/>
                  </a:lnTo>
                  <a:lnTo>
                    <a:pt x="93" y="1021"/>
                  </a:lnTo>
                  <a:lnTo>
                    <a:pt x="92" y="1023"/>
                  </a:lnTo>
                  <a:lnTo>
                    <a:pt x="91" y="1024"/>
                  </a:lnTo>
                  <a:lnTo>
                    <a:pt x="88" y="1027"/>
                  </a:lnTo>
                  <a:lnTo>
                    <a:pt x="90" y="1027"/>
                  </a:lnTo>
                  <a:lnTo>
                    <a:pt x="92" y="1026"/>
                  </a:lnTo>
                  <a:lnTo>
                    <a:pt x="91" y="1028"/>
                  </a:lnTo>
                  <a:lnTo>
                    <a:pt x="91" y="1029"/>
                  </a:lnTo>
                  <a:lnTo>
                    <a:pt x="91" y="1030"/>
                  </a:lnTo>
                  <a:lnTo>
                    <a:pt x="92" y="1032"/>
                  </a:lnTo>
                  <a:lnTo>
                    <a:pt x="94" y="1032"/>
                  </a:lnTo>
                  <a:lnTo>
                    <a:pt x="98" y="1024"/>
                  </a:lnTo>
                  <a:lnTo>
                    <a:pt x="98" y="1022"/>
                  </a:lnTo>
                  <a:lnTo>
                    <a:pt x="99" y="1021"/>
                  </a:lnTo>
                  <a:lnTo>
                    <a:pt x="99" y="1013"/>
                  </a:lnTo>
                  <a:lnTo>
                    <a:pt x="99" y="1010"/>
                  </a:lnTo>
                  <a:lnTo>
                    <a:pt x="99" y="1005"/>
                  </a:lnTo>
                  <a:lnTo>
                    <a:pt x="99" y="1004"/>
                  </a:lnTo>
                  <a:lnTo>
                    <a:pt x="100" y="1005"/>
                  </a:lnTo>
                  <a:lnTo>
                    <a:pt x="100" y="1006"/>
                  </a:lnTo>
                  <a:lnTo>
                    <a:pt x="100" y="1009"/>
                  </a:lnTo>
                  <a:lnTo>
                    <a:pt x="103" y="1010"/>
                  </a:lnTo>
                  <a:lnTo>
                    <a:pt x="103" y="1012"/>
                  </a:lnTo>
                  <a:lnTo>
                    <a:pt x="102" y="1016"/>
                  </a:lnTo>
                  <a:lnTo>
                    <a:pt x="102" y="1019"/>
                  </a:lnTo>
                  <a:lnTo>
                    <a:pt x="102" y="1021"/>
                  </a:lnTo>
                  <a:lnTo>
                    <a:pt x="102" y="1022"/>
                  </a:lnTo>
                  <a:lnTo>
                    <a:pt x="100" y="1024"/>
                  </a:lnTo>
                  <a:lnTo>
                    <a:pt x="99" y="1026"/>
                  </a:lnTo>
                  <a:lnTo>
                    <a:pt x="98" y="1028"/>
                  </a:lnTo>
                  <a:lnTo>
                    <a:pt x="97" y="1030"/>
                  </a:lnTo>
                  <a:lnTo>
                    <a:pt x="97" y="1034"/>
                  </a:lnTo>
                  <a:lnTo>
                    <a:pt x="98" y="1035"/>
                  </a:lnTo>
                  <a:lnTo>
                    <a:pt x="98" y="1038"/>
                  </a:lnTo>
                  <a:lnTo>
                    <a:pt x="98" y="1040"/>
                  </a:lnTo>
                  <a:lnTo>
                    <a:pt x="97" y="1042"/>
                  </a:lnTo>
                  <a:lnTo>
                    <a:pt x="97" y="1045"/>
                  </a:lnTo>
                  <a:lnTo>
                    <a:pt x="96" y="1047"/>
                  </a:lnTo>
                  <a:lnTo>
                    <a:pt x="92" y="1047"/>
                  </a:lnTo>
                  <a:lnTo>
                    <a:pt x="88" y="1046"/>
                  </a:lnTo>
                  <a:lnTo>
                    <a:pt x="85" y="1044"/>
                  </a:lnTo>
                  <a:lnTo>
                    <a:pt x="80" y="1042"/>
                  </a:lnTo>
                  <a:lnTo>
                    <a:pt x="79" y="1041"/>
                  </a:lnTo>
                  <a:lnTo>
                    <a:pt x="77" y="1041"/>
                  </a:lnTo>
                  <a:lnTo>
                    <a:pt x="74" y="1040"/>
                  </a:lnTo>
                  <a:lnTo>
                    <a:pt x="71" y="1040"/>
                  </a:lnTo>
                  <a:lnTo>
                    <a:pt x="69" y="1039"/>
                  </a:lnTo>
                  <a:lnTo>
                    <a:pt x="68" y="1041"/>
                  </a:lnTo>
                  <a:lnTo>
                    <a:pt x="70" y="1042"/>
                  </a:lnTo>
                  <a:lnTo>
                    <a:pt x="70" y="1045"/>
                  </a:lnTo>
                  <a:lnTo>
                    <a:pt x="73" y="1044"/>
                  </a:lnTo>
                  <a:lnTo>
                    <a:pt x="71" y="1046"/>
                  </a:lnTo>
                  <a:lnTo>
                    <a:pt x="73" y="1047"/>
                  </a:lnTo>
                  <a:lnTo>
                    <a:pt x="74" y="1046"/>
                  </a:lnTo>
                  <a:lnTo>
                    <a:pt x="75" y="1046"/>
                  </a:lnTo>
                  <a:lnTo>
                    <a:pt x="76" y="1045"/>
                  </a:lnTo>
                  <a:lnTo>
                    <a:pt x="77" y="1046"/>
                  </a:lnTo>
                  <a:lnTo>
                    <a:pt x="74" y="1048"/>
                  </a:lnTo>
                  <a:lnTo>
                    <a:pt x="74" y="1050"/>
                  </a:lnTo>
                  <a:lnTo>
                    <a:pt x="75" y="1051"/>
                  </a:lnTo>
                  <a:lnTo>
                    <a:pt x="76" y="1052"/>
                  </a:lnTo>
                  <a:lnTo>
                    <a:pt x="79" y="1051"/>
                  </a:lnTo>
                  <a:lnTo>
                    <a:pt x="80" y="1050"/>
                  </a:lnTo>
                  <a:lnTo>
                    <a:pt x="79" y="1052"/>
                  </a:lnTo>
                  <a:lnTo>
                    <a:pt x="79" y="1054"/>
                  </a:lnTo>
                  <a:lnTo>
                    <a:pt x="79" y="1056"/>
                  </a:lnTo>
                  <a:lnTo>
                    <a:pt x="80" y="1056"/>
                  </a:lnTo>
                  <a:lnTo>
                    <a:pt x="80" y="1057"/>
                  </a:lnTo>
                  <a:lnTo>
                    <a:pt x="80" y="1058"/>
                  </a:lnTo>
                  <a:lnTo>
                    <a:pt x="81" y="1060"/>
                  </a:lnTo>
                  <a:lnTo>
                    <a:pt x="82" y="1060"/>
                  </a:lnTo>
                  <a:lnTo>
                    <a:pt x="85" y="1060"/>
                  </a:lnTo>
                  <a:lnTo>
                    <a:pt x="85" y="1062"/>
                  </a:lnTo>
                  <a:lnTo>
                    <a:pt x="87" y="1064"/>
                  </a:lnTo>
                  <a:lnTo>
                    <a:pt x="85" y="1065"/>
                  </a:lnTo>
                  <a:lnTo>
                    <a:pt x="85" y="1066"/>
                  </a:lnTo>
                  <a:lnTo>
                    <a:pt x="86" y="1066"/>
                  </a:lnTo>
                  <a:lnTo>
                    <a:pt x="87" y="1069"/>
                  </a:lnTo>
                  <a:lnTo>
                    <a:pt x="88" y="1068"/>
                  </a:lnTo>
                  <a:lnTo>
                    <a:pt x="90" y="1066"/>
                  </a:lnTo>
                  <a:lnTo>
                    <a:pt x="91" y="1068"/>
                  </a:lnTo>
                  <a:lnTo>
                    <a:pt x="92" y="1066"/>
                  </a:lnTo>
                  <a:lnTo>
                    <a:pt x="93" y="1064"/>
                  </a:lnTo>
                  <a:lnTo>
                    <a:pt x="93" y="1062"/>
                  </a:lnTo>
                  <a:lnTo>
                    <a:pt x="94" y="1063"/>
                  </a:lnTo>
                  <a:lnTo>
                    <a:pt x="93" y="1066"/>
                  </a:lnTo>
                  <a:lnTo>
                    <a:pt x="92" y="1068"/>
                  </a:lnTo>
                  <a:lnTo>
                    <a:pt x="92" y="1070"/>
                  </a:lnTo>
                  <a:lnTo>
                    <a:pt x="93" y="1070"/>
                  </a:lnTo>
                  <a:lnTo>
                    <a:pt x="93" y="1071"/>
                  </a:lnTo>
                  <a:lnTo>
                    <a:pt x="93" y="1074"/>
                  </a:lnTo>
                  <a:lnTo>
                    <a:pt x="96" y="1074"/>
                  </a:lnTo>
                  <a:lnTo>
                    <a:pt x="98" y="1074"/>
                  </a:lnTo>
                  <a:lnTo>
                    <a:pt x="100" y="1074"/>
                  </a:lnTo>
                  <a:lnTo>
                    <a:pt x="102" y="1075"/>
                  </a:lnTo>
                  <a:lnTo>
                    <a:pt x="104" y="1074"/>
                  </a:lnTo>
                  <a:lnTo>
                    <a:pt x="105" y="1072"/>
                  </a:lnTo>
                  <a:lnTo>
                    <a:pt x="106" y="1075"/>
                  </a:lnTo>
                  <a:lnTo>
                    <a:pt x="108" y="1075"/>
                  </a:lnTo>
                  <a:lnTo>
                    <a:pt x="109" y="1074"/>
                  </a:lnTo>
                  <a:lnTo>
                    <a:pt x="110" y="1072"/>
                  </a:lnTo>
                  <a:lnTo>
                    <a:pt x="112" y="1072"/>
                  </a:lnTo>
                  <a:lnTo>
                    <a:pt x="114" y="1071"/>
                  </a:lnTo>
                  <a:lnTo>
                    <a:pt x="115" y="1071"/>
                  </a:lnTo>
                  <a:lnTo>
                    <a:pt x="116" y="1074"/>
                  </a:lnTo>
                  <a:lnTo>
                    <a:pt x="117" y="1074"/>
                  </a:lnTo>
                  <a:lnTo>
                    <a:pt x="120" y="1072"/>
                  </a:lnTo>
                  <a:lnTo>
                    <a:pt x="121" y="1072"/>
                  </a:lnTo>
                  <a:lnTo>
                    <a:pt x="122" y="1072"/>
                  </a:lnTo>
                  <a:lnTo>
                    <a:pt x="122" y="1074"/>
                  </a:lnTo>
                  <a:lnTo>
                    <a:pt x="124" y="1074"/>
                  </a:lnTo>
                  <a:lnTo>
                    <a:pt x="126" y="1074"/>
                  </a:lnTo>
                  <a:lnTo>
                    <a:pt x="128" y="1074"/>
                  </a:lnTo>
                  <a:lnTo>
                    <a:pt x="128" y="1075"/>
                  </a:lnTo>
                  <a:lnTo>
                    <a:pt x="129" y="1074"/>
                  </a:lnTo>
                  <a:lnTo>
                    <a:pt x="130" y="1072"/>
                  </a:lnTo>
                  <a:lnTo>
                    <a:pt x="132" y="1072"/>
                  </a:lnTo>
                  <a:lnTo>
                    <a:pt x="133" y="1075"/>
                  </a:lnTo>
                  <a:lnTo>
                    <a:pt x="134" y="1075"/>
                  </a:lnTo>
                  <a:lnTo>
                    <a:pt x="135" y="1075"/>
                  </a:lnTo>
                  <a:lnTo>
                    <a:pt x="136" y="1074"/>
                  </a:lnTo>
                  <a:lnTo>
                    <a:pt x="136" y="1075"/>
                  </a:lnTo>
                  <a:lnTo>
                    <a:pt x="138" y="1075"/>
                  </a:lnTo>
                  <a:lnTo>
                    <a:pt x="140" y="1076"/>
                  </a:lnTo>
                  <a:lnTo>
                    <a:pt x="141" y="1077"/>
                  </a:lnTo>
                  <a:lnTo>
                    <a:pt x="142" y="1080"/>
                  </a:lnTo>
                  <a:lnTo>
                    <a:pt x="142" y="1081"/>
                  </a:lnTo>
                  <a:lnTo>
                    <a:pt x="144" y="1082"/>
                  </a:lnTo>
                  <a:lnTo>
                    <a:pt x="146" y="1083"/>
                  </a:lnTo>
                  <a:lnTo>
                    <a:pt x="149" y="1083"/>
                  </a:lnTo>
                  <a:lnTo>
                    <a:pt x="150" y="1082"/>
                  </a:lnTo>
                  <a:lnTo>
                    <a:pt x="147" y="1084"/>
                  </a:lnTo>
                  <a:lnTo>
                    <a:pt x="146" y="1086"/>
                  </a:lnTo>
                  <a:lnTo>
                    <a:pt x="146" y="1087"/>
                  </a:lnTo>
                  <a:lnTo>
                    <a:pt x="147" y="1086"/>
                  </a:lnTo>
                  <a:lnTo>
                    <a:pt x="150" y="1086"/>
                  </a:lnTo>
                  <a:lnTo>
                    <a:pt x="151" y="1086"/>
                  </a:lnTo>
                  <a:lnTo>
                    <a:pt x="151" y="1087"/>
                  </a:lnTo>
                  <a:lnTo>
                    <a:pt x="149" y="1087"/>
                  </a:lnTo>
                  <a:lnTo>
                    <a:pt x="149" y="1089"/>
                  </a:lnTo>
                  <a:lnTo>
                    <a:pt x="150" y="1089"/>
                  </a:lnTo>
                  <a:lnTo>
                    <a:pt x="149" y="1092"/>
                  </a:lnTo>
                  <a:lnTo>
                    <a:pt x="150" y="1092"/>
                  </a:lnTo>
                  <a:lnTo>
                    <a:pt x="151" y="1090"/>
                  </a:lnTo>
                  <a:lnTo>
                    <a:pt x="152" y="1090"/>
                  </a:lnTo>
                  <a:lnTo>
                    <a:pt x="152" y="1092"/>
                  </a:lnTo>
                  <a:lnTo>
                    <a:pt x="152" y="1093"/>
                  </a:lnTo>
                  <a:lnTo>
                    <a:pt x="153" y="1094"/>
                  </a:lnTo>
                  <a:lnTo>
                    <a:pt x="153" y="1093"/>
                  </a:lnTo>
                  <a:lnTo>
                    <a:pt x="155" y="1093"/>
                  </a:lnTo>
                  <a:lnTo>
                    <a:pt x="155" y="1095"/>
                  </a:lnTo>
                  <a:lnTo>
                    <a:pt x="156" y="1096"/>
                  </a:lnTo>
                  <a:lnTo>
                    <a:pt x="157" y="1094"/>
                  </a:lnTo>
                  <a:lnTo>
                    <a:pt x="158" y="1094"/>
                  </a:lnTo>
                  <a:lnTo>
                    <a:pt x="157" y="1096"/>
                  </a:lnTo>
                  <a:lnTo>
                    <a:pt x="156" y="1098"/>
                  </a:lnTo>
                  <a:lnTo>
                    <a:pt x="155" y="1100"/>
                  </a:lnTo>
                  <a:lnTo>
                    <a:pt x="156" y="1101"/>
                  </a:lnTo>
                  <a:lnTo>
                    <a:pt x="157" y="1100"/>
                  </a:lnTo>
                  <a:lnTo>
                    <a:pt x="158" y="1098"/>
                  </a:lnTo>
                  <a:lnTo>
                    <a:pt x="159" y="1095"/>
                  </a:lnTo>
                  <a:lnTo>
                    <a:pt x="159" y="1096"/>
                  </a:lnTo>
                  <a:lnTo>
                    <a:pt x="159" y="1100"/>
                  </a:lnTo>
                  <a:lnTo>
                    <a:pt x="159" y="1101"/>
                  </a:lnTo>
                  <a:lnTo>
                    <a:pt x="159" y="1102"/>
                  </a:lnTo>
                  <a:lnTo>
                    <a:pt x="158" y="1105"/>
                  </a:lnTo>
                  <a:lnTo>
                    <a:pt x="158" y="1108"/>
                  </a:lnTo>
                  <a:lnTo>
                    <a:pt x="157" y="1110"/>
                  </a:lnTo>
                  <a:lnTo>
                    <a:pt x="156" y="1112"/>
                  </a:lnTo>
                  <a:lnTo>
                    <a:pt x="155" y="1114"/>
                  </a:lnTo>
                  <a:lnTo>
                    <a:pt x="153" y="1118"/>
                  </a:lnTo>
                  <a:lnTo>
                    <a:pt x="151" y="1122"/>
                  </a:lnTo>
                  <a:lnTo>
                    <a:pt x="149" y="1124"/>
                  </a:lnTo>
                  <a:lnTo>
                    <a:pt x="147" y="1125"/>
                  </a:lnTo>
                  <a:lnTo>
                    <a:pt x="149" y="1128"/>
                  </a:lnTo>
                  <a:lnTo>
                    <a:pt x="150" y="1129"/>
                  </a:lnTo>
                  <a:lnTo>
                    <a:pt x="150" y="1130"/>
                  </a:lnTo>
                  <a:lnTo>
                    <a:pt x="150" y="1133"/>
                  </a:lnTo>
                  <a:lnTo>
                    <a:pt x="151" y="1134"/>
                  </a:lnTo>
                  <a:lnTo>
                    <a:pt x="152" y="1133"/>
                  </a:lnTo>
                  <a:lnTo>
                    <a:pt x="153" y="1134"/>
                  </a:lnTo>
                  <a:lnTo>
                    <a:pt x="153" y="1135"/>
                  </a:lnTo>
                  <a:lnTo>
                    <a:pt x="156" y="1135"/>
                  </a:lnTo>
                  <a:lnTo>
                    <a:pt x="153" y="1137"/>
                  </a:lnTo>
                  <a:lnTo>
                    <a:pt x="152" y="1140"/>
                  </a:lnTo>
                  <a:lnTo>
                    <a:pt x="153" y="1139"/>
                  </a:lnTo>
                  <a:lnTo>
                    <a:pt x="155" y="1137"/>
                  </a:lnTo>
                  <a:lnTo>
                    <a:pt x="156" y="1135"/>
                  </a:lnTo>
                  <a:lnTo>
                    <a:pt x="158" y="1133"/>
                  </a:lnTo>
                  <a:lnTo>
                    <a:pt x="159" y="1131"/>
                  </a:lnTo>
                  <a:lnTo>
                    <a:pt x="161" y="1130"/>
                  </a:lnTo>
                  <a:lnTo>
                    <a:pt x="163" y="1128"/>
                  </a:lnTo>
                  <a:lnTo>
                    <a:pt x="163" y="1129"/>
                  </a:lnTo>
                  <a:lnTo>
                    <a:pt x="164" y="1130"/>
                  </a:lnTo>
                  <a:lnTo>
                    <a:pt x="165" y="1131"/>
                  </a:lnTo>
                  <a:lnTo>
                    <a:pt x="168" y="1133"/>
                  </a:lnTo>
                  <a:lnTo>
                    <a:pt x="170" y="1133"/>
                  </a:lnTo>
                  <a:lnTo>
                    <a:pt x="170" y="1135"/>
                  </a:lnTo>
                  <a:lnTo>
                    <a:pt x="171" y="1136"/>
                  </a:lnTo>
                  <a:lnTo>
                    <a:pt x="171" y="1137"/>
                  </a:lnTo>
                  <a:lnTo>
                    <a:pt x="173" y="1136"/>
                  </a:lnTo>
                  <a:lnTo>
                    <a:pt x="174" y="1136"/>
                  </a:lnTo>
                  <a:lnTo>
                    <a:pt x="175" y="1139"/>
                  </a:lnTo>
                  <a:lnTo>
                    <a:pt x="174" y="1140"/>
                  </a:lnTo>
                  <a:lnTo>
                    <a:pt x="175" y="1141"/>
                  </a:lnTo>
                  <a:lnTo>
                    <a:pt x="176" y="1141"/>
                  </a:lnTo>
                  <a:lnTo>
                    <a:pt x="177" y="1141"/>
                  </a:lnTo>
                  <a:lnTo>
                    <a:pt x="177" y="1142"/>
                  </a:lnTo>
                  <a:lnTo>
                    <a:pt x="177" y="1145"/>
                  </a:lnTo>
                  <a:lnTo>
                    <a:pt x="179" y="1143"/>
                  </a:lnTo>
                  <a:lnTo>
                    <a:pt x="180" y="1143"/>
                  </a:lnTo>
                  <a:lnTo>
                    <a:pt x="181" y="1145"/>
                  </a:lnTo>
                  <a:lnTo>
                    <a:pt x="182" y="1145"/>
                  </a:lnTo>
                  <a:lnTo>
                    <a:pt x="183" y="1145"/>
                  </a:lnTo>
                  <a:lnTo>
                    <a:pt x="186" y="1145"/>
                  </a:lnTo>
                  <a:lnTo>
                    <a:pt x="186" y="1143"/>
                  </a:lnTo>
                  <a:lnTo>
                    <a:pt x="186" y="1140"/>
                  </a:lnTo>
                  <a:lnTo>
                    <a:pt x="187" y="1137"/>
                  </a:lnTo>
                  <a:lnTo>
                    <a:pt x="187" y="1135"/>
                  </a:lnTo>
                  <a:lnTo>
                    <a:pt x="187" y="1134"/>
                  </a:lnTo>
                  <a:lnTo>
                    <a:pt x="187" y="1131"/>
                  </a:lnTo>
                  <a:lnTo>
                    <a:pt x="187" y="1129"/>
                  </a:lnTo>
                  <a:lnTo>
                    <a:pt x="186" y="1126"/>
                  </a:lnTo>
                  <a:lnTo>
                    <a:pt x="185" y="1125"/>
                  </a:lnTo>
                  <a:lnTo>
                    <a:pt x="183" y="1125"/>
                  </a:lnTo>
                  <a:lnTo>
                    <a:pt x="182" y="1124"/>
                  </a:lnTo>
                  <a:lnTo>
                    <a:pt x="183" y="1122"/>
                  </a:lnTo>
                  <a:lnTo>
                    <a:pt x="186" y="1118"/>
                  </a:lnTo>
                  <a:lnTo>
                    <a:pt x="187" y="1117"/>
                  </a:lnTo>
                  <a:lnTo>
                    <a:pt x="191" y="1117"/>
                  </a:lnTo>
                  <a:lnTo>
                    <a:pt x="192" y="1116"/>
                  </a:lnTo>
                  <a:lnTo>
                    <a:pt x="193" y="1113"/>
                  </a:lnTo>
                  <a:lnTo>
                    <a:pt x="194" y="1114"/>
                  </a:lnTo>
                  <a:lnTo>
                    <a:pt x="197" y="1114"/>
                  </a:lnTo>
                  <a:lnTo>
                    <a:pt x="199" y="1114"/>
                  </a:lnTo>
                  <a:lnTo>
                    <a:pt x="200" y="1114"/>
                  </a:lnTo>
                  <a:lnTo>
                    <a:pt x="201" y="1116"/>
                  </a:lnTo>
                  <a:lnTo>
                    <a:pt x="203" y="1116"/>
                  </a:lnTo>
                  <a:lnTo>
                    <a:pt x="205" y="1117"/>
                  </a:lnTo>
                  <a:lnTo>
                    <a:pt x="206" y="1116"/>
                  </a:lnTo>
                  <a:lnTo>
                    <a:pt x="207" y="1114"/>
                  </a:lnTo>
                  <a:lnTo>
                    <a:pt x="207" y="1116"/>
                  </a:lnTo>
                  <a:lnTo>
                    <a:pt x="209" y="1114"/>
                  </a:lnTo>
                  <a:lnTo>
                    <a:pt x="209" y="1113"/>
                  </a:lnTo>
                  <a:lnTo>
                    <a:pt x="210" y="1112"/>
                  </a:lnTo>
                  <a:lnTo>
                    <a:pt x="211" y="1112"/>
                  </a:lnTo>
                  <a:lnTo>
                    <a:pt x="214" y="1111"/>
                  </a:lnTo>
                  <a:lnTo>
                    <a:pt x="214" y="1110"/>
                  </a:lnTo>
                  <a:lnTo>
                    <a:pt x="215" y="1107"/>
                  </a:lnTo>
                  <a:lnTo>
                    <a:pt x="218" y="1107"/>
                  </a:lnTo>
                  <a:lnTo>
                    <a:pt x="220" y="1106"/>
                  </a:lnTo>
                  <a:lnTo>
                    <a:pt x="220" y="1108"/>
                  </a:lnTo>
                  <a:lnTo>
                    <a:pt x="221" y="1111"/>
                  </a:lnTo>
                  <a:lnTo>
                    <a:pt x="223" y="1110"/>
                  </a:lnTo>
                  <a:lnTo>
                    <a:pt x="223" y="1108"/>
                  </a:lnTo>
                  <a:lnTo>
                    <a:pt x="223" y="1107"/>
                  </a:lnTo>
                  <a:lnTo>
                    <a:pt x="223" y="1105"/>
                  </a:lnTo>
                  <a:lnTo>
                    <a:pt x="223" y="1102"/>
                  </a:lnTo>
                  <a:lnTo>
                    <a:pt x="224" y="1105"/>
                  </a:lnTo>
                  <a:lnTo>
                    <a:pt x="224" y="1107"/>
                  </a:lnTo>
                  <a:lnTo>
                    <a:pt x="224" y="1108"/>
                  </a:lnTo>
                  <a:lnTo>
                    <a:pt x="226" y="1108"/>
                  </a:lnTo>
                  <a:lnTo>
                    <a:pt x="226" y="1111"/>
                  </a:lnTo>
                  <a:lnTo>
                    <a:pt x="224" y="1112"/>
                  </a:lnTo>
                  <a:lnTo>
                    <a:pt x="226" y="1113"/>
                  </a:lnTo>
                  <a:lnTo>
                    <a:pt x="227" y="1112"/>
                  </a:lnTo>
                  <a:lnTo>
                    <a:pt x="228" y="1112"/>
                  </a:lnTo>
                  <a:lnTo>
                    <a:pt x="229" y="1112"/>
                  </a:lnTo>
                  <a:lnTo>
                    <a:pt x="229" y="1113"/>
                  </a:lnTo>
                  <a:lnTo>
                    <a:pt x="230" y="1113"/>
                  </a:lnTo>
                  <a:lnTo>
                    <a:pt x="230" y="1112"/>
                  </a:lnTo>
                  <a:lnTo>
                    <a:pt x="230" y="1110"/>
                  </a:lnTo>
                  <a:lnTo>
                    <a:pt x="232" y="1110"/>
                  </a:lnTo>
                  <a:lnTo>
                    <a:pt x="233" y="1112"/>
                  </a:lnTo>
                  <a:lnTo>
                    <a:pt x="233" y="1114"/>
                  </a:lnTo>
                  <a:lnTo>
                    <a:pt x="233" y="1116"/>
                  </a:lnTo>
                  <a:lnTo>
                    <a:pt x="234" y="1116"/>
                  </a:lnTo>
                  <a:lnTo>
                    <a:pt x="235" y="1117"/>
                  </a:lnTo>
                  <a:lnTo>
                    <a:pt x="239" y="1114"/>
                  </a:lnTo>
                  <a:lnTo>
                    <a:pt x="239" y="1119"/>
                  </a:lnTo>
                  <a:lnTo>
                    <a:pt x="240" y="1116"/>
                  </a:lnTo>
                  <a:lnTo>
                    <a:pt x="239" y="1113"/>
                  </a:lnTo>
                  <a:lnTo>
                    <a:pt x="242" y="1116"/>
                  </a:lnTo>
                  <a:lnTo>
                    <a:pt x="242" y="1117"/>
                  </a:lnTo>
                  <a:lnTo>
                    <a:pt x="242" y="1118"/>
                  </a:lnTo>
                  <a:lnTo>
                    <a:pt x="242" y="1119"/>
                  </a:lnTo>
                  <a:lnTo>
                    <a:pt x="242" y="1122"/>
                  </a:lnTo>
                  <a:lnTo>
                    <a:pt x="244" y="1120"/>
                  </a:lnTo>
                  <a:lnTo>
                    <a:pt x="245" y="1119"/>
                  </a:lnTo>
                  <a:lnTo>
                    <a:pt x="247" y="1118"/>
                  </a:lnTo>
                  <a:lnTo>
                    <a:pt x="248" y="1117"/>
                  </a:lnTo>
                  <a:lnTo>
                    <a:pt x="248" y="1119"/>
                  </a:lnTo>
                  <a:lnTo>
                    <a:pt x="250" y="1120"/>
                  </a:lnTo>
                  <a:lnTo>
                    <a:pt x="251" y="1122"/>
                  </a:lnTo>
                  <a:lnTo>
                    <a:pt x="252" y="1122"/>
                  </a:lnTo>
                  <a:lnTo>
                    <a:pt x="253" y="1120"/>
                  </a:lnTo>
                  <a:lnTo>
                    <a:pt x="256" y="1119"/>
                  </a:lnTo>
                  <a:lnTo>
                    <a:pt x="257" y="1118"/>
                  </a:lnTo>
                  <a:lnTo>
                    <a:pt x="259" y="1117"/>
                  </a:lnTo>
                  <a:lnTo>
                    <a:pt x="260" y="1116"/>
                  </a:lnTo>
                  <a:lnTo>
                    <a:pt x="260" y="1114"/>
                  </a:lnTo>
                  <a:lnTo>
                    <a:pt x="262" y="1113"/>
                  </a:lnTo>
                  <a:lnTo>
                    <a:pt x="262" y="1116"/>
                  </a:lnTo>
                  <a:lnTo>
                    <a:pt x="262" y="1118"/>
                  </a:lnTo>
                  <a:lnTo>
                    <a:pt x="263" y="1118"/>
                  </a:lnTo>
                  <a:lnTo>
                    <a:pt x="264" y="1119"/>
                  </a:lnTo>
                  <a:lnTo>
                    <a:pt x="266" y="1120"/>
                  </a:lnTo>
                  <a:lnTo>
                    <a:pt x="268" y="1122"/>
                  </a:lnTo>
                  <a:lnTo>
                    <a:pt x="269" y="1123"/>
                  </a:lnTo>
                  <a:lnTo>
                    <a:pt x="269" y="1124"/>
                  </a:lnTo>
                  <a:lnTo>
                    <a:pt x="270" y="1125"/>
                  </a:lnTo>
                  <a:lnTo>
                    <a:pt x="273" y="1125"/>
                  </a:lnTo>
                  <a:lnTo>
                    <a:pt x="271" y="1128"/>
                  </a:lnTo>
                  <a:lnTo>
                    <a:pt x="271" y="1129"/>
                  </a:lnTo>
                  <a:lnTo>
                    <a:pt x="273" y="1128"/>
                  </a:lnTo>
                  <a:lnTo>
                    <a:pt x="274" y="1128"/>
                  </a:lnTo>
                  <a:lnTo>
                    <a:pt x="274" y="1130"/>
                  </a:lnTo>
                  <a:lnTo>
                    <a:pt x="274" y="1133"/>
                  </a:lnTo>
                  <a:lnTo>
                    <a:pt x="275" y="1133"/>
                  </a:lnTo>
                  <a:lnTo>
                    <a:pt x="276" y="1133"/>
                  </a:lnTo>
                  <a:lnTo>
                    <a:pt x="279" y="1131"/>
                  </a:lnTo>
                  <a:lnTo>
                    <a:pt x="279" y="1133"/>
                  </a:lnTo>
                  <a:lnTo>
                    <a:pt x="276" y="1134"/>
                  </a:lnTo>
                  <a:lnTo>
                    <a:pt x="275" y="1136"/>
                  </a:lnTo>
                  <a:lnTo>
                    <a:pt x="276" y="1136"/>
                  </a:lnTo>
                  <a:lnTo>
                    <a:pt x="277" y="1136"/>
                  </a:lnTo>
                  <a:lnTo>
                    <a:pt x="280" y="1135"/>
                  </a:lnTo>
                  <a:lnTo>
                    <a:pt x="282" y="1133"/>
                  </a:lnTo>
                  <a:lnTo>
                    <a:pt x="285" y="1131"/>
                  </a:lnTo>
                  <a:lnTo>
                    <a:pt x="286" y="1131"/>
                  </a:lnTo>
                  <a:lnTo>
                    <a:pt x="287" y="1130"/>
                  </a:lnTo>
                  <a:lnTo>
                    <a:pt x="289" y="1130"/>
                  </a:lnTo>
                  <a:lnTo>
                    <a:pt x="291" y="1130"/>
                  </a:lnTo>
                  <a:lnTo>
                    <a:pt x="292" y="1129"/>
                  </a:lnTo>
                  <a:lnTo>
                    <a:pt x="293" y="1128"/>
                  </a:lnTo>
                  <a:lnTo>
                    <a:pt x="294" y="1129"/>
                  </a:lnTo>
                  <a:lnTo>
                    <a:pt x="295" y="1129"/>
                  </a:lnTo>
                  <a:lnTo>
                    <a:pt x="297" y="1128"/>
                  </a:lnTo>
                  <a:lnTo>
                    <a:pt x="298" y="1128"/>
                  </a:lnTo>
                  <a:lnTo>
                    <a:pt x="300" y="1128"/>
                  </a:lnTo>
                  <a:lnTo>
                    <a:pt x="301" y="1128"/>
                  </a:lnTo>
                  <a:lnTo>
                    <a:pt x="303" y="1129"/>
                  </a:lnTo>
                  <a:lnTo>
                    <a:pt x="303" y="1130"/>
                  </a:lnTo>
                  <a:lnTo>
                    <a:pt x="304" y="1130"/>
                  </a:lnTo>
                  <a:lnTo>
                    <a:pt x="305" y="1130"/>
                  </a:lnTo>
                  <a:lnTo>
                    <a:pt x="305" y="1129"/>
                  </a:lnTo>
                  <a:lnTo>
                    <a:pt x="306" y="1129"/>
                  </a:lnTo>
                  <a:lnTo>
                    <a:pt x="307" y="1126"/>
                  </a:lnTo>
                  <a:lnTo>
                    <a:pt x="307" y="1124"/>
                  </a:lnTo>
                  <a:lnTo>
                    <a:pt x="307" y="1122"/>
                  </a:lnTo>
                  <a:lnTo>
                    <a:pt x="309" y="1123"/>
                  </a:lnTo>
                  <a:lnTo>
                    <a:pt x="309" y="1125"/>
                  </a:lnTo>
                  <a:lnTo>
                    <a:pt x="309" y="1126"/>
                  </a:lnTo>
                  <a:lnTo>
                    <a:pt x="309" y="1130"/>
                  </a:lnTo>
                  <a:lnTo>
                    <a:pt x="310" y="1130"/>
                  </a:lnTo>
                  <a:lnTo>
                    <a:pt x="310" y="1131"/>
                  </a:lnTo>
                  <a:lnTo>
                    <a:pt x="310" y="1133"/>
                  </a:lnTo>
                  <a:lnTo>
                    <a:pt x="311" y="1135"/>
                  </a:lnTo>
                  <a:lnTo>
                    <a:pt x="311" y="1136"/>
                  </a:lnTo>
                  <a:lnTo>
                    <a:pt x="311" y="1139"/>
                  </a:lnTo>
                  <a:lnTo>
                    <a:pt x="312" y="1140"/>
                  </a:lnTo>
                  <a:lnTo>
                    <a:pt x="313" y="1141"/>
                  </a:lnTo>
                  <a:lnTo>
                    <a:pt x="312" y="1145"/>
                  </a:lnTo>
                  <a:lnTo>
                    <a:pt x="313" y="1146"/>
                  </a:lnTo>
                  <a:lnTo>
                    <a:pt x="313" y="1147"/>
                  </a:lnTo>
                  <a:lnTo>
                    <a:pt x="313" y="1149"/>
                  </a:lnTo>
                  <a:lnTo>
                    <a:pt x="315" y="1151"/>
                  </a:lnTo>
                  <a:lnTo>
                    <a:pt x="316" y="1152"/>
                  </a:lnTo>
                  <a:lnTo>
                    <a:pt x="317" y="1155"/>
                  </a:lnTo>
                  <a:lnTo>
                    <a:pt x="317" y="1157"/>
                  </a:lnTo>
                  <a:lnTo>
                    <a:pt x="318" y="1159"/>
                  </a:lnTo>
                  <a:lnTo>
                    <a:pt x="319" y="1161"/>
                  </a:lnTo>
                  <a:lnTo>
                    <a:pt x="322" y="1163"/>
                  </a:lnTo>
                  <a:lnTo>
                    <a:pt x="325" y="1164"/>
                  </a:lnTo>
                  <a:lnTo>
                    <a:pt x="327" y="1163"/>
                  </a:lnTo>
                  <a:lnTo>
                    <a:pt x="328" y="1163"/>
                  </a:lnTo>
                  <a:lnTo>
                    <a:pt x="329" y="1163"/>
                  </a:lnTo>
                  <a:lnTo>
                    <a:pt x="330" y="1161"/>
                  </a:lnTo>
                  <a:lnTo>
                    <a:pt x="333" y="1161"/>
                  </a:lnTo>
                  <a:lnTo>
                    <a:pt x="333" y="1159"/>
                  </a:lnTo>
                  <a:lnTo>
                    <a:pt x="334" y="1159"/>
                  </a:lnTo>
                  <a:lnTo>
                    <a:pt x="336" y="1159"/>
                  </a:lnTo>
                  <a:lnTo>
                    <a:pt x="338" y="1158"/>
                  </a:lnTo>
                  <a:lnTo>
                    <a:pt x="338" y="1157"/>
                  </a:lnTo>
                  <a:lnTo>
                    <a:pt x="339" y="1157"/>
                  </a:lnTo>
                  <a:lnTo>
                    <a:pt x="340" y="1157"/>
                  </a:lnTo>
                  <a:lnTo>
                    <a:pt x="341" y="1157"/>
                  </a:lnTo>
                  <a:lnTo>
                    <a:pt x="342" y="1158"/>
                  </a:lnTo>
                  <a:lnTo>
                    <a:pt x="342" y="1160"/>
                  </a:lnTo>
                  <a:lnTo>
                    <a:pt x="342" y="1161"/>
                  </a:lnTo>
                  <a:lnTo>
                    <a:pt x="344" y="1160"/>
                  </a:lnTo>
                  <a:lnTo>
                    <a:pt x="344" y="1161"/>
                  </a:lnTo>
                  <a:lnTo>
                    <a:pt x="344" y="1163"/>
                  </a:lnTo>
                  <a:lnTo>
                    <a:pt x="345" y="1164"/>
                  </a:lnTo>
                  <a:lnTo>
                    <a:pt x="345" y="1163"/>
                  </a:lnTo>
                  <a:lnTo>
                    <a:pt x="346" y="1163"/>
                  </a:lnTo>
                  <a:lnTo>
                    <a:pt x="346" y="1164"/>
                  </a:lnTo>
                  <a:lnTo>
                    <a:pt x="346" y="1166"/>
                  </a:lnTo>
                  <a:lnTo>
                    <a:pt x="347" y="1165"/>
                  </a:lnTo>
                  <a:lnTo>
                    <a:pt x="347" y="1166"/>
                  </a:lnTo>
                  <a:lnTo>
                    <a:pt x="347" y="1169"/>
                  </a:lnTo>
                  <a:lnTo>
                    <a:pt x="347" y="1170"/>
                  </a:lnTo>
                  <a:lnTo>
                    <a:pt x="347" y="1171"/>
                  </a:lnTo>
                  <a:lnTo>
                    <a:pt x="348" y="1172"/>
                  </a:lnTo>
                  <a:lnTo>
                    <a:pt x="350" y="1172"/>
                  </a:lnTo>
                  <a:lnTo>
                    <a:pt x="348" y="1173"/>
                  </a:lnTo>
                  <a:lnTo>
                    <a:pt x="350" y="1176"/>
                  </a:lnTo>
                  <a:lnTo>
                    <a:pt x="350" y="1177"/>
                  </a:lnTo>
                  <a:lnTo>
                    <a:pt x="350" y="1179"/>
                  </a:lnTo>
                  <a:lnTo>
                    <a:pt x="350" y="1181"/>
                  </a:lnTo>
                  <a:lnTo>
                    <a:pt x="351" y="1182"/>
                  </a:lnTo>
                  <a:lnTo>
                    <a:pt x="351" y="1194"/>
                  </a:lnTo>
                  <a:lnTo>
                    <a:pt x="351" y="1207"/>
                  </a:lnTo>
                  <a:lnTo>
                    <a:pt x="351" y="1220"/>
                  </a:lnTo>
                  <a:lnTo>
                    <a:pt x="351" y="1237"/>
                  </a:lnTo>
                  <a:lnTo>
                    <a:pt x="351" y="1241"/>
                  </a:lnTo>
                  <a:lnTo>
                    <a:pt x="351" y="1244"/>
                  </a:lnTo>
                  <a:lnTo>
                    <a:pt x="353" y="1247"/>
                  </a:lnTo>
                  <a:lnTo>
                    <a:pt x="357" y="1247"/>
                  </a:lnTo>
                  <a:lnTo>
                    <a:pt x="386" y="1247"/>
                  </a:lnTo>
                  <a:lnTo>
                    <a:pt x="387" y="1221"/>
                  </a:lnTo>
                  <a:lnTo>
                    <a:pt x="387" y="1199"/>
                  </a:lnTo>
                  <a:lnTo>
                    <a:pt x="388" y="1175"/>
                  </a:lnTo>
                  <a:lnTo>
                    <a:pt x="388" y="1169"/>
                  </a:lnTo>
                  <a:lnTo>
                    <a:pt x="391" y="1167"/>
                  </a:lnTo>
                  <a:lnTo>
                    <a:pt x="392" y="1166"/>
                  </a:lnTo>
                  <a:lnTo>
                    <a:pt x="394" y="1166"/>
                  </a:lnTo>
                  <a:lnTo>
                    <a:pt x="395" y="1165"/>
                  </a:lnTo>
                  <a:lnTo>
                    <a:pt x="397" y="1164"/>
                  </a:lnTo>
                  <a:lnTo>
                    <a:pt x="398" y="1163"/>
                  </a:lnTo>
                  <a:lnTo>
                    <a:pt x="399" y="1161"/>
                  </a:lnTo>
                  <a:lnTo>
                    <a:pt x="400" y="1160"/>
                  </a:lnTo>
                  <a:lnTo>
                    <a:pt x="401" y="1159"/>
                  </a:lnTo>
                  <a:lnTo>
                    <a:pt x="403" y="1158"/>
                  </a:lnTo>
                  <a:lnTo>
                    <a:pt x="401" y="1158"/>
                  </a:lnTo>
                  <a:lnTo>
                    <a:pt x="401" y="1157"/>
                  </a:lnTo>
                  <a:lnTo>
                    <a:pt x="400" y="1154"/>
                  </a:lnTo>
                  <a:lnTo>
                    <a:pt x="400" y="1153"/>
                  </a:lnTo>
                  <a:lnTo>
                    <a:pt x="400" y="1152"/>
                  </a:lnTo>
                  <a:lnTo>
                    <a:pt x="400" y="1151"/>
                  </a:lnTo>
                  <a:lnTo>
                    <a:pt x="399" y="1148"/>
                  </a:lnTo>
                  <a:lnTo>
                    <a:pt x="398" y="1149"/>
                  </a:lnTo>
                  <a:lnTo>
                    <a:pt x="398" y="1148"/>
                  </a:lnTo>
                  <a:lnTo>
                    <a:pt x="397" y="1147"/>
                  </a:lnTo>
                  <a:lnTo>
                    <a:pt x="398" y="1146"/>
                  </a:lnTo>
                  <a:lnTo>
                    <a:pt x="398" y="1145"/>
                  </a:lnTo>
                  <a:lnTo>
                    <a:pt x="398" y="1142"/>
                  </a:lnTo>
                  <a:lnTo>
                    <a:pt x="399" y="1141"/>
                  </a:lnTo>
                  <a:lnTo>
                    <a:pt x="400" y="1139"/>
                  </a:lnTo>
                  <a:lnTo>
                    <a:pt x="401" y="1137"/>
                  </a:lnTo>
                  <a:lnTo>
                    <a:pt x="404" y="1137"/>
                  </a:lnTo>
                  <a:lnTo>
                    <a:pt x="405" y="1137"/>
                  </a:lnTo>
                  <a:lnTo>
                    <a:pt x="406" y="1137"/>
                  </a:lnTo>
                  <a:lnTo>
                    <a:pt x="410" y="1140"/>
                  </a:lnTo>
                  <a:lnTo>
                    <a:pt x="412" y="1140"/>
                  </a:lnTo>
                  <a:lnTo>
                    <a:pt x="415" y="1141"/>
                  </a:lnTo>
                  <a:lnTo>
                    <a:pt x="417" y="1141"/>
                  </a:lnTo>
                  <a:lnTo>
                    <a:pt x="417" y="1140"/>
                  </a:lnTo>
                  <a:lnTo>
                    <a:pt x="418" y="1140"/>
                  </a:lnTo>
                  <a:lnTo>
                    <a:pt x="418" y="1141"/>
                  </a:lnTo>
                  <a:lnTo>
                    <a:pt x="419" y="1142"/>
                  </a:lnTo>
                  <a:lnTo>
                    <a:pt x="421" y="1141"/>
                  </a:lnTo>
                  <a:lnTo>
                    <a:pt x="422" y="1142"/>
                  </a:lnTo>
                  <a:lnTo>
                    <a:pt x="423" y="1145"/>
                  </a:lnTo>
                  <a:lnTo>
                    <a:pt x="425" y="1146"/>
                  </a:lnTo>
                  <a:lnTo>
                    <a:pt x="427" y="1148"/>
                  </a:lnTo>
                  <a:lnTo>
                    <a:pt x="429" y="1149"/>
                  </a:lnTo>
                  <a:lnTo>
                    <a:pt x="430" y="1149"/>
                  </a:lnTo>
                  <a:lnTo>
                    <a:pt x="430" y="1152"/>
                  </a:lnTo>
                  <a:lnTo>
                    <a:pt x="430" y="1153"/>
                  </a:lnTo>
                  <a:lnTo>
                    <a:pt x="430" y="1154"/>
                  </a:lnTo>
                  <a:lnTo>
                    <a:pt x="431" y="1153"/>
                  </a:lnTo>
                  <a:lnTo>
                    <a:pt x="433" y="1154"/>
                  </a:lnTo>
                  <a:lnTo>
                    <a:pt x="434" y="1154"/>
                  </a:lnTo>
                  <a:lnTo>
                    <a:pt x="434" y="1155"/>
                  </a:lnTo>
                  <a:lnTo>
                    <a:pt x="435" y="1158"/>
                  </a:lnTo>
                  <a:lnTo>
                    <a:pt x="436" y="1155"/>
                  </a:lnTo>
                  <a:lnTo>
                    <a:pt x="436" y="1158"/>
                  </a:lnTo>
                  <a:lnTo>
                    <a:pt x="436" y="1159"/>
                  </a:lnTo>
                  <a:lnTo>
                    <a:pt x="436" y="1160"/>
                  </a:lnTo>
                  <a:lnTo>
                    <a:pt x="439" y="1160"/>
                  </a:lnTo>
                  <a:lnTo>
                    <a:pt x="439" y="1159"/>
                  </a:lnTo>
                  <a:lnTo>
                    <a:pt x="440" y="1159"/>
                  </a:lnTo>
                  <a:lnTo>
                    <a:pt x="441" y="1160"/>
                  </a:lnTo>
                  <a:lnTo>
                    <a:pt x="442" y="1160"/>
                  </a:lnTo>
                  <a:lnTo>
                    <a:pt x="442" y="1159"/>
                  </a:lnTo>
                  <a:lnTo>
                    <a:pt x="443" y="1159"/>
                  </a:lnTo>
                  <a:lnTo>
                    <a:pt x="443" y="1160"/>
                  </a:lnTo>
                  <a:lnTo>
                    <a:pt x="446" y="1160"/>
                  </a:lnTo>
                  <a:lnTo>
                    <a:pt x="450" y="1159"/>
                  </a:lnTo>
                  <a:lnTo>
                    <a:pt x="452" y="1157"/>
                  </a:lnTo>
                  <a:lnTo>
                    <a:pt x="454" y="1155"/>
                  </a:lnTo>
                  <a:lnTo>
                    <a:pt x="456" y="1152"/>
                  </a:lnTo>
                  <a:lnTo>
                    <a:pt x="457" y="1153"/>
                  </a:lnTo>
                  <a:lnTo>
                    <a:pt x="457" y="1155"/>
                  </a:lnTo>
                  <a:lnTo>
                    <a:pt x="457" y="1157"/>
                  </a:lnTo>
                  <a:lnTo>
                    <a:pt x="459" y="1155"/>
                  </a:lnTo>
                  <a:lnTo>
                    <a:pt x="459" y="1154"/>
                  </a:lnTo>
                  <a:lnTo>
                    <a:pt x="460" y="1155"/>
                  </a:lnTo>
                  <a:lnTo>
                    <a:pt x="462" y="1157"/>
                  </a:lnTo>
                  <a:lnTo>
                    <a:pt x="463" y="1157"/>
                  </a:lnTo>
                  <a:lnTo>
                    <a:pt x="463" y="1154"/>
                  </a:lnTo>
                  <a:lnTo>
                    <a:pt x="464" y="1154"/>
                  </a:lnTo>
                  <a:lnTo>
                    <a:pt x="465" y="1155"/>
                  </a:lnTo>
                  <a:lnTo>
                    <a:pt x="466" y="1155"/>
                  </a:lnTo>
                  <a:lnTo>
                    <a:pt x="466" y="1154"/>
                  </a:lnTo>
                  <a:lnTo>
                    <a:pt x="468" y="1153"/>
                  </a:lnTo>
                  <a:lnTo>
                    <a:pt x="469" y="1153"/>
                  </a:lnTo>
                  <a:lnTo>
                    <a:pt x="470" y="1151"/>
                  </a:lnTo>
                  <a:lnTo>
                    <a:pt x="471" y="1149"/>
                  </a:lnTo>
                  <a:lnTo>
                    <a:pt x="472" y="1148"/>
                  </a:lnTo>
                  <a:lnTo>
                    <a:pt x="472" y="1146"/>
                  </a:lnTo>
                  <a:lnTo>
                    <a:pt x="474" y="1145"/>
                  </a:lnTo>
                  <a:lnTo>
                    <a:pt x="474" y="1143"/>
                  </a:lnTo>
                  <a:lnTo>
                    <a:pt x="475" y="1141"/>
                  </a:lnTo>
                  <a:lnTo>
                    <a:pt x="477" y="1141"/>
                  </a:lnTo>
                  <a:lnTo>
                    <a:pt x="480" y="1140"/>
                  </a:lnTo>
                  <a:lnTo>
                    <a:pt x="481" y="1139"/>
                  </a:lnTo>
                  <a:lnTo>
                    <a:pt x="481" y="1136"/>
                  </a:lnTo>
                  <a:lnTo>
                    <a:pt x="482" y="1135"/>
                  </a:lnTo>
                  <a:lnTo>
                    <a:pt x="482" y="1137"/>
                  </a:lnTo>
                  <a:lnTo>
                    <a:pt x="483" y="1139"/>
                  </a:lnTo>
                  <a:lnTo>
                    <a:pt x="484" y="1137"/>
                  </a:lnTo>
                  <a:lnTo>
                    <a:pt x="486" y="1137"/>
                  </a:lnTo>
                  <a:lnTo>
                    <a:pt x="487" y="1137"/>
                  </a:lnTo>
                  <a:lnTo>
                    <a:pt x="488" y="1137"/>
                  </a:lnTo>
                  <a:lnTo>
                    <a:pt x="488" y="1136"/>
                  </a:lnTo>
                  <a:lnTo>
                    <a:pt x="489" y="1137"/>
                  </a:lnTo>
                  <a:lnTo>
                    <a:pt x="490" y="1137"/>
                  </a:lnTo>
                  <a:lnTo>
                    <a:pt x="492" y="1139"/>
                  </a:lnTo>
                  <a:lnTo>
                    <a:pt x="492" y="1140"/>
                  </a:lnTo>
                  <a:lnTo>
                    <a:pt x="493" y="1140"/>
                  </a:lnTo>
                  <a:lnTo>
                    <a:pt x="494" y="1139"/>
                  </a:lnTo>
                  <a:lnTo>
                    <a:pt x="495" y="1137"/>
                  </a:lnTo>
                  <a:lnTo>
                    <a:pt x="496" y="1139"/>
                  </a:lnTo>
                  <a:lnTo>
                    <a:pt x="496" y="1137"/>
                  </a:lnTo>
                  <a:lnTo>
                    <a:pt x="498" y="1137"/>
                  </a:lnTo>
                  <a:lnTo>
                    <a:pt x="499" y="1137"/>
                  </a:lnTo>
                  <a:lnTo>
                    <a:pt x="501" y="1137"/>
                  </a:lnTo>
                  <a:lnTo>
                    <a:pt x="502" y="1139"/>
                  </a:lnTo>
                  <a:lnTo>
                    <a:pt x="507" y="1142"/>
                  </a:lnTo>
                  <a:lnTo>
                    <a:pt x="509" y="1146"/>
                  </a:lnTo>
                  <a:lnTo>
                    <a:pt x="510" y="1147"/>
                  </a:lnTo>
                  <a:lnTo>
                    <a:pt x="511" y="1149"/>
                  </a:lnTo>
                  <a:lnTo>
                    <a:pt x="512" y="1151"/>
                  </a:lnTo>
                  <a:lnTo>
                    <a:pt x="516" y="1152"/>
                  </a:lnTo>
                  <a:lnTo>
                    <a:pt x="518" y="1153"/>
                  </a:lnTo>
                  <a:lnTo>
                    <a:pt x="521" y="1152"/>
                  </a:lnTo>
                  <a:lnTo>
                    <a:pt x="523" y="1151"/>
                  </a:lnTo>
                  <a:lnTo>
                    <a:pt x="523" y="1149"/>
                  </a:lnTo>
                  <a:lnTo>
                    <a:pt x="524" y="1147"/>
                  </a:lnTo>
                  <a:lnTo>
                    <a:pt x="524" y="1146"/>
                  </a:lnTo>
                  <a:lnTo>
                    <a:pt x="523" y="1141"/>
                  </a:lnTo>
                  <a:lnTo>
                    <a:pt x="523" y="1139"/>
                  </a:lnTo>
                  <a:lnTo>
                    <a:pt x="524" y="1139"/>
                  </a:lnTo>
                  <a:lnTo>
                    <a:pt x="524" y="1140"/>
                  </a:lnTo>
                  <a:lnTo>
                    <a:pt x="524" y="1145"/>
                  </a:lnTo>
                  <a:lnTo>
                    <a:pt x="524" y="1147"/>
                  </a:lnTo>
                  <a:lnTo>
                    <a:pt x="525" y="1148"/>
                  </a:lnTo>
                  <a:lnTo>
                    <a:pt x="527" y="1148"/>
                  </a:lnTo>
                  <a:lnTo>
                    <a:pt x="528" y="1148"/>
                  </a:lnTo>
                  <a:lnTo>
                    <a:pt x="529" y="1147"/>
                  </a:lnTo>
                  <a:lnTo>
                    <a:pt x="529" y="1146"/>
                  </a:lnTo>
                  <a:lnTo>
                    <a:pt x="529" y="1142"/>
                  </a:lnTo>
                  <a:lnTo>
                    <a:pt x="529" y="1139"/>
                  </a:lnTo>
                  <a:lnTo>
                    <a:pt x="530" y="1141"/>
                  </a:lnTo>
                  <a:lnTo>
                    <a:pt x="530" y="1142"/>
                  </a:lnTo>
                  <a:lnTo>
                    <a:pt x="530" y="1145"/>
                  </a:lnTo>
                  <a:lnTo>
                    <a:pt x="530" y="1147"/>
                  </a:lnTo>
                  <a:lnTo>
                    <a:pt x="531" y="1148"/>
                  </a:lnTo>
                  <a:lnTo>
                    <a:pt x="533" y="1149"/>
                  </a:lnTo>
                  <a:lnTo>
                    <a:pt x="533" y="1147"/>
                  </a:lnTo>
                  <a:lnTo>
                    <a:pt x="533" y="1146"/>
                  </a:lnTo>
                  <a:lnTo>
                    <a:pt x="534" y="1145"/>
                  </a:lnTo>
                  <a:lnTo>
                    <a:pt x="535" y="1145"/>
                  </a:lnTo>
                  <a:lnTo>
                    <a:pt x="535" y="1148"/>
                  </a:lnTo>
                  <a:lnTo>
                    <a:pt x="535" y="1149"/>
                  </a:lnTo>
                  <a:lnTo>
                    <a:pt x="536" y="1149"/>
                  </a:lnTo>
                  <a:lnTo>
                    <a:pt x="537" y="1149"/>
                  </a:lnTo>
                  <a:lnTo>
                    <a:pt x="537" y="1148"/>
                  </a:lnTo>
                  <a:lnTo>
                    <a:pt x="537" y="1147"/>
                  </a:lnTo>
                  <a:lnTo>
                    <a:pt x="539" y="1146"/>
                  </a:lnTo>
                  <a:lnTo>
                    <a:pt x="539" y="1143"/>
                  </a:lnTo>
                  <a:lnTo>
                    <a:pt x="539" y="1142"/>
                  </a:lnTo>
                  <a:lnTo>
                    <a:pt x="540" y="1142"/>
                  </a:lnTo>
                  <a:lnTo>
                    <a:pt x="540" y="1143"/>
                  </a:lnTo>
                  <a:lnTo>
                    <a:pt x="542" y="1147"/>
                  </a:lnTo>
                  <a:lnTo>
                    <a:pt x="545" y="1148"/>
                  </a:lnTo>
                  <a:lnTo>
                    <a:pt x="547" y="1147"/>
                  </a:lnTo>
                  <a:lnTo>
                    <a:pt x="547" y="1145"/>
                  </a:lnTo>
                  <a:lnTo>
                    <a:pt x="548" y="1146"/>
                  </a:lnTo>
                  <a:lnTo>
                    <a:pt x="548" y="1147"/>
                  </a:lnTo>
                  <a:lnTo>
                    <a:pt x="548" y="1148"/>
                  </a:lnTo>
                  <a:lnTo>
                    <a:pt x="549" y="1151"/>
                  </a:lnTo>
                  <a:lnTo>
                    <a:pt x="549" y="1149"/>
                  </a:lnTo>
                  <a:lnTo>
                    <a:pt x="551" y="1148"/>
                  </a:lnTo>
                  <a:lnTo>
                    <a:pt x="552" y="1148"/>
                  </a:lnTo>
                  <a:lnTo>
                    <a:pt x="551" y="1151"/>
                  </a:lnTo>
                  <a:lnTo>
                    <a:pt x="552" y="1151"/>
                  </a:lnTo>
                  <a:lnTo>
                    <a:pt x="552" y="1152"/>
                  </a:lnTo>
                  <a:lnTo>
                    <a:pt x="552" y="1154"/>
                  </a:lnTo>
                  <a:lnTo>
                    <a:pt x="552" y="1155"/>
                  </a:lnTo>
                  <a:lnTo>
                    <a:pt x="553" y="1154"/>
                  </a:lnTo>
                  <a:lnTo>
                    <a:pt x="554" y="1155"/>
                  </a:lnTo>
                  <a:lnTo>
                    <a:pt x="553" y="1157"/>
                  </a:lnTo>
                  <a:lnTo>
                    <a:pt x="554" y="1159"/>
                  </a:lnTo>
                  <a:lnTo>
                    <a:pt x="555" y="1159"/>
                  </a:lnTo>
                  <a:lnTo>
                    <a:pt x="557" y="1160"/>
                  </a:lnTo>
                  <a:lnTo>
                    <a:pt x="558" y="1160"/>
                  </a:lnTo>
                  <a:lnTo>
                    <a:pt x="559" y="1161"/>
                  </a:lnTo>
                  <a:lnTo>
                    <a:pt x="559" y="1163"/>
                  </a:lnTo>
                  <a:lnTo>
                    <a:pt x="560" y="1164"/>
                  </a:lnTo>
                  <a:lnTo>
                    <a:pt x="560" y="1166"/>
                  </a:lnTo>
                  <a:lnTo>
                    <a:pt x="561" y="1166"/>
                  </a:lnTo>
                  <a:lnTo>
                    <a:pt x="561" y="1169"/>
                  </a:lnTo>
                  <a:lnTo>
                    <a:pt x="564" y="1171"/>
                  </a:lnTo>
                  <a:lnTo>
                    <a:pt x="564" y="1172"/>
                  </a:lnTo>
                  <a:lnTo>
                    <a:pt x="564" y="1173"/>
                  </a:lnTo>
                  <a:lnTo>
                    <a:pt x="564" y="1175"/>
                  </a:lnTo>
                  <a:lnTo>
                    <a:pt x="566" y="1177"/>
                  </a:lnTo>
                  <a:lnTo>
                    <a:pt x="567" y="1178"/>
                  </a:lnTo>
                  <a:lnTo>
                    <a:pt x="570" y="1181"/>
                  </a:lnTo>
                  <a:lnTo>
                    <a:pt x="572" y="1182"/>
                  </a:lnTo>
                  <a:lnTo>
                    <a:pt x="574" y="1182"/>
                  </a:lnTo>
                  <a:lnTo>
                    <a:pt x="575" y="1181"/>
                  </a:lnTo>
                  <a:lnTo>
                    <a:pt x="575" y="1179"/>
                  </a:lnTo>
                  <a:lnTo>
                    <a:pt x="575" y="1177"/>
                  </a:lnTo>
                  <a:lnTo>
                    <a:pt x="575" y="1175"/>
                  </a:lnTo>
                  <a:lnTo>
                    <a:pt x="575" y="1173"/>
                  </a:lnTo>
                  <a:lnTo>
                    <a:pt x="575" y="1172"/>
                  </a:lnTo>
                  <a:lnTo>
                    <a:pt x="575" y="1175"/>
                  </a:lnTo>
                  <a:lnTo>
                    <a:pt x="576" y="1177"/>
                  </a:lnTo>
                  <a:lnTo>
                    <a:pt x="576" y="1178"/>
                  </a:lnTo>
                  <a:lnTo>
                    <a:pt x="576" y="1179"/>
                  </a:lnTo>
                  <a:lnTo>
                    <a:pt x="576" y="1183"/>
                  </a:lnTo>
                  <a:lnTo>
                    <a:pt x="576" y="1184"/>
                  </a:lnTo>
                  <a:lnTo>
                    <a:pt x="577" y="1185"/>
                  </a:lnTo>
                  <a:lnTo>
                    <a:pt x="577" y="1187"/>
                  </a:lnTo>
                  <a:lnTo>
                    <a:pt x="580" y="1187"/>
                  </a:lnTo>
                  <a:lnTo>
                    <a:pt x="581" y="1187"/>
                  </a:lnTo>
                  <a:lnTo>
                    <a:pt x="582" y="1188"/>
                  </a:lnTo>
                  <a:lnTo>
                    <a:pt x="583" y="1188"/>
                  </a:lnTo>
                  <a:lnTo>
                    <a:pt x="584" y="1187"/>
                  </a:lnTo>
                  <a:lnTo>
                    <a:pt x="584" y="1185"/>
                  </a:lnTo>
                  <a:lnTo>
                    <a:pt x="586" y="1184"/>
                  </a:lnTo>
                  <a:lnTo>
                    <a:pt x="587" y="1185"/>
                  </a:lnTo>
                  <a:lnTo>
                    <a:pt x="587" y="1184"/>
                  </a:lnTo>
                  <a:lnTo>
                    <a:pt x="587" y="1183"/>
                  </a:lnTo>
                  <a:lnTo>
                    <a:pt x="588" y="1183"/>
                  </a:lnTo>
                  <a:lnTo>
                    <a:pt x="588" y="1182"/>
                  </a:lnTo>
                  <a:lnTo>
                    <a:pt x="589" y="1181"/>
                  </a:lnTo>
                  <a:lnTo>
                    <a:pt x="590" y="1178"/>
                  </a:lnTo>
                  <a:lnTo>
                    <a:pt x="592" y="1177"/>
                  </a:lnTo>
                  <a:lnTo>
                    <a:pt x="593" y="1178"/>
                  </a:lnTo>
                  <a:lnTo>
                    <a:pt x="592" y="1179"/>
                  </a:lnTo>
                  <a:lnTo>
                    <a:pt x="593" y="1181"/>
                  </a:lnTo>
                  <a:lnTo>
                    <a:pt x="594" y="1181"/>
                  </a:lnTo>
                  <a:lnTo>
                    <a:pt x="594" y="1182"/>
                  </a:lnTo>
                  <a:lnTo>
                    <a:pt x="594" y="1183"/>
                  </a:lnTo>
                  <a:lnTo>
                    <a:pt x="593" y="1183"/>
                  </a:lnTo>
                  <a:lnTo>
                    <a:pt x="592" y="1185"/>
                  </a:lnTo>
                  <a:lnTo>
                    <a:pt x="593" y="1185"/>
                  </a:lnTo>
                  <a:lnTo>
                    <a:pt x="594" y="1185"/>
                  </a:lnTo>
                  <a:lnTo>
                    <a:pt x="593" y="1187"/>
                  </a:lnTo>
                  <a:lnTo>
                    <a:pt x="592" y="1187"/>
                  </a:lnTo>
                  <a:lnTo>
                    <a:pt x="592" y="1189"/>
                  </a:lnTo>
                  <a:lnTo>
                    <a:pt x="593" y="1190"/>
                  </a:lnTo>
                  <a:lnTo>
                    <a:pt x="593" y="1193"/>
                  </a:lnTo>
                  <a:lnTo>
                    <a:pt x="593" y="1195"/>
                  </a:lnTo>
                  <a:lnTo>
                    <a:pt x="594" y="1195"/>
                  </a:lnTo>
                  <a:lnTo>
                    <a:pt x="594" y="1196"/>
                  </a:lnTo>
                  <a:lnTo>
                    <a:pt x="593" y="1197"/>
                  </a:lnTo>
                  <a:lnTo>
                    <a:pt x="593" y="1199"/>
                  </a:lnTo>
                  <a:lnTo>
                    <a:pt x="595" y="1199"/>
                  </a:lnTo>
                  <a:lnTo>
                    <a:pt x="595" y="1197"/>
                  </a:lnTo>
                  <a:lnTo>
                    <a:pt x="595" y="1199"/>
                  </a:lnTo>
                  <a:lnTo>
                    <a:pt x="595" y="1200"/>
                  </a:lnTo>
                  <a:lnTo>
                    <a:pt x="598" y="1201"/>
                  </a:lnTo>
                  <a:lnTo>
                    <a:pt x="599" y="1201"/>
                  </a:lnTo>
                  <a:lnTo>
                    <a:pt x="599" y="1202"/>
                  </a:lnTo>
                  <a:lnTo>
                    <a:pt x="601" y="1203"/>
                  </a:lnTo>
                  <a:lnTo>
                    <a:pt x="601" y="1202"/>
                  </a:lnTo>
                  <a:lnTo>
                    <a:pt x="601" y="1205"/>
                  </a:lnTo>
                  <a:lnTo>
                    <a:pt x="604" y="1205"/>
                  </a:lnTo>
                  <a:lnTo>
                    <a:pt x="604" y="1206"/>
                  </a:lnTo>
                  <a:lnTo>
                    <a:pt x="605" y="1207"/>
                  </a:lnTo>
                  <a:lnTo>
                    <a:pt x="606" y="1207"/>
                  </a:lnTo>
                  <a:lnTo>
                    <a:pt x="608" y="1207"/>
                  </a:lnTo>
                  <a:lnTo>
                    <a:pt x="608" y="1205"/>
                  </a:lnTo>
                  <a:lnTo>
                    <a:pt x="607" y="1202"/>
                  </a:lnTo>
                  <a:lnTo>
                    <a:pt x="607" y="1201"/>
                  </a:lnTo>
                  <a:lnTo>
                    <a:pt x="608" y="1201"/>
                  </a:lnTo>
                  <a:lnTo>
                    <a:pt x="610" y="1200"/>
                  </a:lnTo>
                  <a:lnTo>
                    <a:pt x="611" y="1199"/>
                  </a:lnTo>
                  <a:lnTo>
                    <a:pt x="612" y="1197"/>
                  </a:lnTo>
                  <a:lnTo>
                    <a:pt x="614" y="1196"/>
                  </a:lnTo>
                  <a:lnTo>
                    <a:pt x="616" y="1197"/>
                  </a:lnTo>
                  <a:lnTo>
                    <a:pt x="616" y="1195"/>
                  </a:lnTo>
                  <a:lnTo>
                    <a:pt x="617" y="1194"/>
                  </a:lnTo>
                  <a:lnTo>
                    <a:pt x="617" y="1193"/>
                  </a:lnTo>
                  <a:lnTo>
                    <a:pt x="618" y="1191"/>
                  </a:lnTo>
                  <a:lnTo>
                    <a:pt x="619" y="1190"/>
                  </a:lnTo>
                  <a:lnTo>
                    <a:pt x="620" y="1190"/>
                  </a:lnTo>
                  <a:lnTo>
                    <a:pt x="622" y="1189"/>
                  </a:lnTo>
                  <a:lnTo>
                    <a:pt x="623" y="1190"/>
                  </a:lnTo>
                  <a:lnTo>
                    <a:pt x="623" y="1189"/>
                  </a:lnTo>
                  <a:lnTo>
                    <a:pt x="624" y="1189"/>
                  </a:lnTo>
                  <a:lnTo>
                    <a:pt x="625" y="1189"/>
                  </a:lnTo>
                  <a:lnTo>
                    <a:pt x="631" y="1189"/>
                  </a:lnTo>
                  <a:lnTo>
                    <a:pt x="634" y="1187"/>
                  </a:lnTo>
                  <a:lnTo>
                    <a:pt x="634" y="1185"/>
                  </a:lnTo>
                  <a:lnTo>
                    <a:pt x="635" y="1185"/>
                  </a:lnTo>
                  <a:lnTo>
                    <a:pt x="635" y="1187"/>
                  </a:lnTo>
                  <a:lnTo>
                    <a:pt x="637" y="1187"/>
                  </a:lnTo>
                  <a:lnTo>
                    <a:pt x="637" y="1188"/>
                  </a:lnTo>
                  <a:lnTo>
                    <a:pt x="639" y="1188"/>
                  </a:lnTo>
                  <a:lnTo>
                    <a:pt x="640" y="1188"/>
                  </a:lnTo>
                  <a:lnTo>
                    <a:pt x="641" y="1188"/>
                  </a:lnTo>
                  <a:lnTo>
                    <a:pt x="643" y="1188"/>
                  </a:lnTo>
                  <a:lnTo>
                    <a:pt x="645" y="1188"/>
                  </a:lnTo>
                  <a:lnTo>
                    <a:pt x="645" y="1185"/>
                  </a:lnTo>
                  <a:lnTo>
                    <a:pt x="645" y="1184"/>
                  </a:lnTo>
                  <a:lnTo>
                    <a:pt x="646" y="1184"/>
                  </a:lnTo>
                  <a:lnTo>
                    <a:pt x="648" y="1184"/>
                  </a:lnTo>
                  <a:lnTo>
                    <a:pt x="649" y="1183"/>
                  </a:lnTo>
                  <a:lnTo>
                    <a:pt x="651" y="1183"/>
                  </a:lnTo>
                  <a:lnTo>
                    <a:pt x="651" y="1181"/>
                  </a:lnTo>
                  <a:lnTo>
                    <a:pt x="652" y="1178"/>
                  </a:lnTo>
                  <a:lnTo>
                    <a:pt x="652" y="1181"/>
                  </a:lnTo>
                  <a:lnTo>
                    <a:pt x="653" y="1181"/>
                  </a:lnTo>
                  <a:lnTo>
                    <a:pt x="653" y="1179"/>
                  </a:lnTo>
                  <a:lnTo>
                    <a:pt x="657" y="1177"/>
                  </a:lnTo>
                  <a:lnTo>
                    <a:pt x="657" y="1175"/>
                  </a:lnTo>
                  <a:lnTo>
                    <a:pt x="658" y="1173"/>
                  </a:lnTo>
                  <a:lnTo>
                    <a:pt x="659" y="1171"/>
                  </a:lnTo>
                  <a:lnTo>
                    <a:pt x="659" y="1170"/>
                  </a:lnTo>
                  <a:lnTo>
                    <a:pt x="659" y="1167"/>
                  </a:lnTo>
                  <a:lnTo>
                    <a:pt x="658" y="1169"/>
                  </a:lnTo>
                  <a:lnTo>
                    <a:pt x="658" y="1166"/>
                  </a:lnTo>
                  <a:lnTo>
                    <a:pt x="658" y="1164"/>
                  </a:lnTo>
                  <a:lnTo>
                    <a:pt x="658" y="1163"/>
                  </a:lnTo>
                  <a:lnTo>
                    <a:pt x="658" y="1165"/>
                  </a:lnTo>
                  <a:lnTo>
                    <a:pt x="659" y="1165"/>
                  </a:lnTo>
                  <a:lnTo>
                    <a:pt x="660" y="1166"/>
                  </a:lnTo>
                  <a:lnTo>
                    <a:pt x="661" y="1167"/>
                  </a:lnTo>
                  <a:lnTo>
                    <a:pt x="661" y="1166"/>
                  </a:lnTo>
                  <a:lnTo>
                    <a:pt x="663" y="1165"/>
                  </a:lnTo>
                  <a:lnTo>
                    <a:pt x="663" y="1164"/>
                  </a:lnTo>
                  <a:lnTo>
                    <a:pt x="663" y="1161"/>
                  </a:lnTo>
                  <a:lnTo>
                    <a:pt x="664" y="1161"/>
                  </a:lnTo>
                  <a:lnTo>
                    <a:pt x="665" y="1161"/>
                  </a:lnTo>
                  <a:lnTo>
                    <a:pt x="666" y="1161"/>
                  </a:lnTo>
                  <a:lnTo>
                    <a:pt x="667" y="1161"/>
                  </a:lnTo>
                  <a:lnTo>
                    <a:pt x="667" y="1160"/>
                  </a:lnTo>
                  <a:lnTo>
                    <a:pt x="669" y="1159"/>
                  </a:lnTo>
                  <a:lnTo>
                    <a:pt x="669" y="1158"/>
                  </a:lnTo>
                  <a:lnTo>
                    <a:pt x="669" y="1157"/>
                  </a:lnTo>
                  <a:lnTo>
                    <a:pt x="669" y="1155"/>
                  </a:lnTo>
                  <a:lnTo>
                    <a:pt x="669" y="1154"/>
                  </a:lnTo>
                  <a:lnTo>
                    <a:pt x="670" y="1154"/>
                  </a:lnTo>
                  <a:lnTo>
                    <a:pt x="671" y="1153"/>
                  </a:lnTo>
                  <a:lnTo>
                    <a:pt x="673" y="1153"/>
                  </a:lnTo>
                  <a:lnTo>
                    <a:pt x="673" y="1152"/>
                  </a:lnTo>
                  <a:lnTo>
                    <a:pt x="673" y="1151"/>
                  </a:lnTo>
                  <a:lnTo>
                    <a:pt x="675" y="1148"/>
                  </a:lnTo>
                  <a:lnTo>
                    <a:pt x="675" y="1146"/>
                  </a:lnTo>
                  <a:lnTo>
                    <a:pt x="673" y="1146"/>
                  </a:lnTo>
                  <a:lnTo>
                    <a:pt x="672" y="1145"/>
                  </a:lnTo>
                  <a:lnTo>
                    <a:pt x="672" y="1143"/>
                  </a:lnTo>
                  <a:lnTo>
                    <a:pt x="673" y="1142"/>
                  </a:lnTo>
                  <a:lnTo>
                    <a:pt x="673" y="1141"/>
                  </a:lnTo>
                  <a:lnTo>
                    <a:pt x="675" y="1141"/>
                  </a:lnTo>
                  <a:lnTo>
                    <a:pt x="676" y="1140"/>
                  </a:lnTo>
                  <a:lnTo>
                    <a:pt x="677" y="1141"/>
                  </a:lnTo>
                  <a:lnTo>
                    <a:pt x="678" y="1141"/>
                  </a:lnTo>
                  <a:lnTo>
                    <a:pt x="681" y="1137"/>
                  </a:lnTo>
                  <a:lnTo>
                    <a:pt x="682" y="1136"/>
                  </a:lnTo>
                  <a:lnTo>
                    <a:pt x="682" y="1135"/>
                  </a:lnTo>
                  <a:lnTo>
                    <a:pt x="683" y="1135"/>
                  </a:lnTo>
                  <a:lnTo>
                    <a:pt x="683" y="1136"/>
                  </a:lnTo>
                  <a:lnTo>
                    <a:pt x="684" y="1136"/>
                  </a:lnTo>
                  <a:lnTo>
                    <a:pt x="685" y="1136"/>
                  </a:lnTo>
                  <a:lnTo>
                    <a:pt x="685" y="1137"/>
                  </a:lnTo>
                  <a:lnTo>
                    <a:pt x="687" y="1137"/>
                  </a:lnTo>
                  <a:lnTo>
                    <a:pt x="688" y="1136"/>
                  </a:lnTo>
                  <a:lnTo>
                    <a:pt x="689" y="1136"/>
                  </a:lnTo>
                  <a:lnTo>
                    <a:pt x="690" y="1135"/>
                  </a:lnTo>
                  <a:lnTo>
                    <a:pt x="692" y="1135"/>
                  </a:lnTo>
                  <a:lnTo>
                    <a:pt x="694" y="1134"/>
                  </a:lnTo>
                  <a:lnTo>
                    <a:pt x="695" y="1135"/>
                  </a:lnTo>
                  <a:lnTo>
                    <a:pt x="696" y="1135"/>
                  </a:lnTo>
                  <a:lnTo>
                    <a:pt x="698" y="1135"/>
                  </a:lnTo>
                  <a:lnTo>
                    <a:pt x="699" y="1134"/>
                  </a:lnTo>
                  <a:lnTo>
                    <a:pt x="700" y="1134"/>
                  </a:lnTo>
                  <a:lnTo>
                    <a:pt x="701" y="1134"/>
                  </a:lnTo>
                  <a:lnTo>
                    <a:pt x="702" y="1134"/>
                  </a:lnTo>
                  <a:lnTo>
                    <a:pt x="702" y="1133"/>
                  </a:lnTo>
                  <a:lnTo>
                    <a:pt x="702" y="1130"/>
                  </a:lnTo>
                  <a:lnTo>
                    <a:pt x="701" y="1129"/>
                  </a:lnTo>
                  <a:lnTo>
                    <a:pt x="702" y="1129"/>
                  </a:lnTo>
                  <a:lnTo>
                    <a:pt x="702" y="1126"/>
                  </a:lnTo>
                  <a:lnTo>
                    <a:pt x="702" y="1125"/>
                  </a:lnTo>
                  <a:lnTo>
                    <a:pt x="704" y="1124"/>
                  </a:lnTo>
                  <a:lnTo>
                    <a:pt x="705" y="1123"/>
                  </a:lnTo>
                  <a:lnTo>
                    <a:pt x="705" y="1122"/>
                  </a:lnTo>
                  <a:lnTo>
                    <a:pt x="706" y="1119"/>
                  </a:lnTo>
                  <a:lnTo>
                    <a:pt x="707" y="1120"/>
                  </a:lnTo>
                  <a:lnTo>
                    <a:pt x="707" y="1122"/>
                  </a:lnTo>
                  <a:lnTo>
                    <a:pt x="708" y="1119"/>
                  </a:lnTo>
                  <a:lnTo>
                    <a:pt x="708" y="1118"/>
                  </a:lnTo>
                  <a:lnTo>
                    <a:pt x="710" y="1118"/>
                  </a:lnTo>
                  <a:lnTo>
                    <a:pt x="710" y="1119"/>
                  </a:lnTo>
                  <a:lnTo>
                    <a:pt x="711" y="1119"/>
                  </a:lnTo>
                  <a:lnTo>
                    <a:pt x="712" y="1119"/>
                  </a:lnTo>
                  <a:lnTo>
                    <a:pt x="713" y="1119"/>
                  </a:lnTo>
                  <a:lnTo>
                    <a:pt x="714" y="1119"/>
                  </a:lnTo>
                  <a:lnTo>
                    <a:pt x="716" y="1119"/>
                  </a:lnTo>
                  <a:lnTo>
                    <a:pt x="717" y="1119"/>
                  </a:lnTo>
                  <a:lnTo>
                    <a:pt x="718" y="1119"/>
                  </a:lnTo>
                  <a:lnTo>
                    <a:pt x="719" y="1120"/>
                  </a:lnTo>
                  <a:lnTo>
                    <a:pt x="719" y="1119"/>
                  </a:lnTo>
                  <a:lnTo>
                    <a:pt x="720" y="1120"/>
                  </a:lnTo>
                  <a:lnTo>
                    <a:pt x="722" y="1120"/>
                  </a:lnTo>
                  <a:lnTo>
                    <a:pt x="723" y="1119"/>
                  </a:lnTo>
                  <a:lnTo>
                    <a:pt x="724" y="1118"/>
                  </a:lnTo>
                  <a:lnTo>
                    <a:pt x="725" y="1118"/>
                  </a:lnTo>
                  <a:lnTo>
                    <a:pt x="725" y="1117"/>
                  </a:lnTo>
                  <a:lnTo>
                    <a:pt x="726" y="1116"/>
                  </a:lnTo>
                  <a:lnTo>
                    <a:pt x="726" y="1114"/>
                  </a:lnTo>
                  <a:lnTo>
                    <a:pt x="726" y="1113"/>
                  </a:lnTo>
                  <a:lnTo>
                    <a:pt x="726" y="1112"/>
                  </a:lnTo>
                  <a:lnTo>
                    <a:pt x="728" y="1111"/>
                  </a:lnTo>
                  <a:lnTo>
                    <a:pt x="728" y="1113"/>
                  </a:lnTo>
                  <a:lnTo>
                    <a:pt x="729" y="1113"/>
                  </a:lnTo>
                  <a:lnTo>
                    <a:pt x="729" y="1111"/>
                  </a:lnTo>
                  <a:lnTo>
                    <a:pt x="729" y="1110"/>
                  </a:lnTo>
                  <a:lnTo>
                    <a:pt x="730" y="1108"/>
                  </a:lnTo>
                  <a:lnTo>
                    <a:pt x="731" y="1108"/>
                  </a:lnTo>
                  <a:lnTo>
                    <a:pt x="732" y="1107"/>
                  </a:lnTo>
                  <a:lnTo>
                    <a:pt x="734" y="1106"/>
                  </a:lnTo>
                  <a:lnTo>
                    <a:pt x="735" y="1106"/>
                  </a:lnTo>
                  <a:lnTo>
                    <a:pt x="736" y="1105"/>
                  </a:lnTo>
                  <a:lnTo>
                    <a:pt x="738" y="1105"/>
                  </a:lnTo>
                  <a:lnTo>
                    <a:pt x="740" y="1104"/>
                  </a:lnTo>
                  <a:lnTo>
                    <a:pt x="743" y="1104"/>
                  </a:lnTo>
                  <a:lnTo>
                    <a:pt x="746" y="1102"/>
                  </a:lnTo>
                  <a:lnTo>
                    <a:pt x="748" y="1101"/>
                  </a:lnTo>
                  <a:lnTo>
                    <a:pt x="751" y="1100"/>
                  </a:lnTo>
                  <a:lnTo>
                    <a:pt x="749" y="1099"/>
                  </a:lnTo>
                  <a:lnTo>
                    <a:pt x="748" y="1098"/>
                  </a:lnTo>
                  <a:lnTo>
                    <a:pt x="747" y="1096"/>
                  </a:lnTo>
                  <a:lnTo>
                    <a:pt x="749" y="1098"/>
                  </a:lnTo>
                  <a:lnTo>
                    <a:pt x="751" y="1098"/>
                  </a:lnTo>
                  <a:lnTo>
                    <a:pt x="751" y="1095"/>
                  </a:lnTo>
                  <a:lnTo>
                    <a:pt x="752" y="1094"/>
                  </a:lnTo>
                  <a:lnTo>
                    <a:pt x="752" y="1093"/>
                  </a:lnTo>
                  <a:lnTo>
                    <a:pt x="751" y="1089"/>
                  </a:lnTo>
                  <a:lnTo>
                    <a:pt x="751" y="1088"/>
                  </a:lnTo>
                  <a:lnTo>
                    <a:pt x="749" y="1087"/>
                  </a:lnTo>
                  <a:lnTo>
                    <a:pt x="751" y="1087"/>
                  </a:lnTo>
                  <a:lnTo>
                    <a:pt x="751" y="1086"/>
                  </a:lnTo>
                  <a:lnTo>
                    <a:pt x="751" y="1084"/>
                  </a:lnTo>
                  <a:lnTo>
                    <a:pt x="751" y="1082"/>
                  </a:lnTo>
                  <a:lnTo>
                    <a:pt x="752" y="1081"/>
                  </a:lnTo>
                  <a:lnTo>
                    <a:pt x="753" y="1080"/>
                  </a:lnTo>
                  <a:lnTo>
                    <a:pt x="753" y="1078"/>
                  </a:lnTo>
                  <a:lnTo>
                    <a:pt x="752" y="1077"/>
                  </a:lnTo>
                  <a:lnTo>
                    <a:pt x="753" y="1070"/>
                  </a:lnTo>
                  <a:lnTo>
                    <a:pt x="753" y="1068"/>
                  </a:lnTo>
                  <a:lnTo>
                    <a:pt x="754" y="1068"/>
                  </a:lnTo>
                  <a:lnTo>
                    <a:pt x="753" y="1066"/>
                  </a:lnTo>
                  <a:lnTo>
                    <a:pt x="754" y="1066"/>
                  </a:lnTo>
                  <a:lnTo>
                    <a:pt x="754" y="1065"/>
                  </a:lnTo>
                  <a:lnTo>
                    <a:pt x="755" y="1066"/>
                  </a:lnTo>
                  <a:lnTo>
                    <a:pt x="755" y="1065"/>
                  </a:lnTo>
                  <a:lnTo>
                    <a:pt x="757" y="1065"/>
                  </a:lnTo>
                  <a:lnTo>
                    <a:pt x="758" y="1064"/>
                  </a:lnTo>
                  <a:lnTo>
                    <a:pt x="759" y="1064"/>
                  </a:lnTo>
                  <a:lnTo>
                    <a:pt x="760" y="1063"/>
                  </a:lnTo>
                  <a:lnTo>
                    <a:pt x="760" y="1062"/>
                  </a:lnTo>
                  <a:lnTo>
                    <a:pt x="761" y="1062"/>
                  </a:lnTo>
                  <a:lnTo>
                    <a:pt x="764" y="1059"/>
                  </a:lnTo>
                  <a:lnTo>
                    <a:pt x="765" y="1058"/>
                  </a:lnTo>
                  <a:lnTo>
                    <a:pt x="766" y="1058"/>
                  </a:lnTo>
                  <a:lnTo>
                    <a:pt x="766" y="1056"/>
                  </a:lnTo>
                  <a:lnTo>
                    <a:pt x="765" y="1054"/>
                  </a:lnTo>
                  <a:lnTo>
                    <a:pt x="763" y="1056"/>
                  </a:lnTo>
                  <a:lnTo>
                    <a:pt x="760" y="1056"/>
                  </a:lnTo>
                  <a:lnTo>
                    <a:pt x="757" y="1057"/>
                  </a:lnTo>
                  <a:lnTo>
                    <a:pt x="752" y="1058"/>
                  </a:lnTo>
                  <a:lnTo>
                    <a:pt x="748" y="1060"/>
                  </a:lnTo>
                  <a:lnTo>
                    <a:pt x="743" y="1062"/>
                  </a:lnTo>
                  <a:lnTo>
                    <a:pt x="741" y="1064"/>
                  </a:lnTo>
                  <a:lnTo>
                    <a:pt x="735" y="1065"/>
                  </a:lnTo>
                  <a:lnTo>
                    <a:pt x="730" y="1066"/>
                  </a:lnTo>
                  <a:lnTo>
                    <a:pt x="726" y="1068"/>
                  </a:lnTo>
                  <a:lnTo>
                    <a:pt x="722" y="1069"/>
                  </a:lnTo>
                  <a:lnTo>
                    <a:pt x="719" y="1069"/>
                  </a:lnTo>
                  <a:lnTo>
                    <a:pt x="712" y="1070"/>
                  </a:lnTo>
                  <a:lnTo>
                    <a:pt x="706" y="1069"/>
                  </a:lnTo>
                  <a:lnTo>
                    <a:pt x="701" y="1069"/>
                  </a:lnTo>
                  <a:lnTo>
                    <a:pt x="695" y="1068"/>
                  </a:lnTo>
                  <a:lnTo>
                    <a:pt x="692" y="1068"/>
                  </a:lnTo>
                  <a:lnTo>
                    <a:pt x="688" y="1066"/>
                  </a:lnTo>
                  <a:lnTo>
                    <a:pt x="677" y="1066"/>
                  </a:lnTo>
                  <a:lnTo>
                    <a:pt x="676" y="1065"/>
                  </a:lnTo>
                  <a:lnTo>
                    <a:pt x="672" y="1064"/>
                  </a:lnTo>
                  <a:lnTo>
                    <a:pt x="670" y="1062"/>
                  </a:lnTo>
                  <a:lnTo>
                    <a:pt x="670" y="1059"/>
                  </a:lnTo>
                  <a:lnTo>
                    <a:pt x="669" y="1057"/>
                  </a:lnTo>
                  <a:lnTo>
                    <a:pt x="669" y="1056"/>
                  </a:lnTo>
                  <a:lnTo>
                    <a:pt x="667" y="1054"/>
                  </a:lnTo>
                  <a:lnTo>
                    <a:pt x="667" y="1052"/>
                  </a:lnTo>
                  <a:lnTo>
                    <a:pt x="669" y="1052"/>
                  </a:lnTo>
                  <a:lnTo>
                    <a:pt x="670" y="1054"/>
                  </a:lnTo>
                  <a:lnTo>
                    <a:pt x="671" y="1053"/>
                  </a:lnTo>
                  <a:lnTo>
                    <a:pt x="672" y="1053"/>
                  </a:lnTo>
                  <a:lnTo>
                    <a:pt x="673" y="1052"/>
                  </a:lnTo>
                  <a:lnTo>
                    <a:pt x="675" y="1052"/>
                  </a:lnTo>
                  <a:lnTo>
                    <a:pt x="676" y="1051"/>
                  </a:lnTo>
                  <a:lnTo>
                    <a:pt x="676" y="1050"/>
                  </a:lnTo>
                  <a:lnTo>
                    <a:pt x="677" y="1048"/>
                  </a:lnTo>
                  <a:lnTo>
                    <a:pt x="678" y="1048"/>
                  </a:lnTo>
                  <a:lnTo>
                    <a:pt x="679" y="1048"/>
                  </a:lnTo>
                  <a:lnTo>
                    <a:pt x="681" y="1047"/>
                  </a:lnTo>
                  <a:lnTo>
                    <a:pt x="681" y="1048"/>
                  </a:lnTo>
                  <a:lnTo>
                    <a:pt x="682" y="1048"/>
                  </a:lnTo>
                  <a:lnTo>
                    <a:pt x="684" y="1048"/>
                  </a:lnTo>
                  <a:lnTo>
                    <a:pt x="685" y="1048"/>
                  </a:lnTo>
                  <a:lnTo>
                    <a:pt x="688" y="1047"/>
                  </a:lnTo>
                  <a:lnTo>
                    <a:pt x="689" y="1047"/>
                  </a:lnTo>
                  <a:lnTo>
                    <a:pt x="690" y="1046"/>
                  </a:lnTo>
                  <a:lnTo>
                    <a:pt x="690" y="1044"/>
                  </a:lnTo>
                  <a:lnTo>
                    <a:pt x="692" y="1042"/>
                  </a:lnTo>
                  <a:lnTo>
                    <a:pt x="692" y="1044"/>
                  </a:lnTo>
                  <a:lnTo>
                    <a:pt x="692" y="1045"/>
                  </a:lnTo>
                  <a:lnTo>
                    <a:pt x="692" y="1046"/>
                  </a:lnTo>
                  <a:lnTo>
                    <a:pt x="693" y="1045"/>
                  </a:lnTo>
                  <a:lnTo>
                    <a:pt x="694" y="1044"/>
                  </a:lnTo>
                  <a:lnTo>
                    <a:pt x="694" y="1042"/>
                  </a:lnTo>
                  <a:lnTo>
                    <a:pt x="695" y="1041"/>
                  </a:lnTo>
                  <a:lnTo>
                    <a:pt x="695" y="1044"/>
                  </a:lnTo>
                  <a:lnTo>
                    <a:pt x="696" y="1044"/>
                  </a:lnTo>
                  <a:lnTo>
                    <a:pt x="696" y="1042"/>
                  </a:lnTo>
                  <a:lnTo>
                    <a:pt x="698" y="1042"/>
                  </a:lnTo>
                  <a:lnTo>
                    <a:pt x="700" y="1041"/>
                  </a:lnTo>
                  <a:lnTo>
                    <a:pt x="701" y="1040"/>
                  </a:lnTo>
                  <a:lnTo>
                    <a:pt x="701" y="1038"/>
                  </a:lnTo>
                  <a:lnTo>
                    <a:pt x="702" y="1038"/>
                  </a:lnTo>
                  <a:lnTo>
                    <a:pt x="702" y="1035"/>
                  </a:lnTo>
                  <a:lnTo>
                    <a:pt x="704" y="1034"/>
                  </a:lnTo>
                  <a:lnTo>
                    <a:pt x="705" y="1034"/>
                  </a:lnTo>
                  <a:lnTo>
                    <a:pt x="706" y="1033"/>
                  </a:lnTo>
                  <a:lnTo>
                    <a:pt x="706" y="1030"/>
                  </a:lnTo>
                  <a:lnTo>
                    <a:pt x="707" y="1029"/>
                  </a:lnTo>
                  <a:lnTo>
                    <a:pt x="708" y="1029"/>
                  </a:lnTo>
                  <a:lnTo>
                    <a:pt x="710" y="1028"/>
                  </a:lnTo>
                  <a:lnTo>
                    <a:pt x="710" y="1027"/>
                  </a:lnTo>
                  <a:lnTo>
                    <a:pt x="710" y="1026"/>
                  </a:lnTo>
                  <a:lnTo>
                    <a:pt x="710" y="1027"/>
                  </a:lnTo>
                  <a:lnTo>
                    <a:pt x="711" y="1026"/>
                  </a:lnTo>
                  <a:lnTo>
                    <a:pt x="711" y="1024"/>
                  </a:lnTo>
                  <a:lnTo>
                    <a:pt x="711" y="1023"/>
                  </a:lnTo>
                  <a:lnTo>
                    <a:pt x="712" y="1022"/>
                  </a:lnTo>
                  <a:lnTo>
                    <a:pt x="712" y="1021"/>
                  </a:lnTo>
                  <a:lnTo>
                    <a:pt x="711" y="1019"/>
                  </a:lnTo>
                  <a:lnTo>
                    <a:pt x="708" y="1021"/>
                  </a:lnTo>
                  <a:lnTo>
                    <a:pt x="706" y="1021"/>
                  </a:lnTo>
                  <a:lnTo>
                    <a:pt x="699" y="1021"/>
                  </a:lnTo>
                  <a:lnTo>
                    <a:pt x="693" y="1022"/>
                  </a:lnTo>
                  <a:lnTo>
                    <a:pt x="690" y="1022"/>
                  </a:lnTo>
                  <a:lnTo>
                    <a:pt x="687" y="1022"/>
                  </a:lnTo>
                  <a:lnTo>
                    <a:pt x="684" y="1022"/>
                  </a:lnTo>
                  <a:lnTo>
                    <a:pt x="682" y="1019"/>
                  </a:lnTo>
                  <a:lnTo>
                    <a:pt x="682" y="1018"/>
                  </a:lnTo>
                  <a:lnTo>
                    <a:pt x="681" y="1017"/>
                  </a:lnTo>
                  <a:lnTo>
                    <a:pt x="682" y="1016"/>
                  </a:lnTo>
                  <a:lnTo>
                    <a:pt x="682" y="1013"/>
                  </a:lnTo>
                  <a:lnTo>
                    <a:pt x="683" y="1012"/>
                  </a:lnTo>
                  <a:lnTo>
                    <a:pt x="684" y="1011"/>
                  </a:lnTo>
                  <a:lnTo>
                    <a:pt x="685" y="1010"/>
                  </a:lnTo>
                  <a:lnTo>
                    <a:pt x="687" y="1009"/>
                  </a:lnTo>
                  <a:lnTo>
                    <a:pt x="688" y="1010"/>
                  </a:lnTo>
                  <a:lnTo>
                    <a:pt x="689" y="1009"/>
                  </a:lnTo>
                  <a:lnTo>
                    <a:pt x="689" y="1007"/>
                  </a:lnTo>
                  <a:lnTo>
                    <a:pt x="690" y="1007"/>
                  </a:lnTo>
                  <a:lnTo>
                    <a:pt x="690" y="1006"/>
                  </a:lnTo>
                  <a:lnTo>
                    <a:pt x="692" y="1006"/>
                  </a:lnTo>
                  <a:lnTo>
                    <a:pt x="693" y="1006"/>
                  </a:lnTo>
                  <a:lnTo>
                    <a:pt x="694" y="1006"/>
                  </a:lnTo>
                  <a:lnTo>
                    <a:pt x="695" y="1006"/>
                  </a:lnTo>
                  <a:lnTo>
                    <a:pt x="695" y="1005"/>
                  </a:lnTo>
                  <a:lnTo>
                    <a:pt x="696" y="1005"/>
                  </a:lnTo>
                  <a:lnTo>
                    <a:pt x="699" y="1004"/>
                  </a:lnTo>
                  <a:lnTo>
                    <a:pt x="699" y="1003"/>
                  </a:lnTo>
                  <a:lnTo>
                    <a:pt x="700" y="1003"/>
                  </a:lnTo>
                  <a:lnTo>
                    <a:pt x="701" y="1001"/>
                  </a:lnTo>
                  <a:lnTo>
                    <a:pt x="701" y="1000"/>
                  </a:lnTo>
                  <a:lnTo>
                    <a:pt x="704" y="1000"/>
                  </a:lnTo>
                  <a:lnTo>
                    <a:pt x="704" y="999"/>
                  </a:lnTo>
                  <a:lnTo>
                    <a:pt x="706" y="998"/>
                  </a:lnTo>
                  <a:lnTo>
                    <a:pt x="707" y="997"/>
                  </a:lnTo>
                  <a:lnTo>
                    <a:pt x="708" y="997"/>
                  </a:lnTo>
                  <a:lnTo>
                    <a:pt x="711" y="995"/>
                  </a:lnTo>
                  <a:lnTo>
                    <a:pt x="711" y="994"/>
                  </a:lnTo>
                  <a:lnTo>
                    <a:pt x="711" y="993"/>
                  </a:lnTo>
                  <a:lnTo>
                    <a:pt x="713" y="991"/>
                  </a:lnTo>
                  <a:lnTo>
                    <a:pt x="714" y="989"/>
                  </a:lnTo>
                  <a:lnTo>
                    <a:pt x="716" y="988"/>
                  </a:lnTo>
                  <a:lnTo>
                    <a:pt x="716" y="987"/>
                  </a:lnTo>
                  <a:lnTo>
                    <a:pt x="716" y="985"/>
                  </a:lnTo>
                  <a:lnTo>
                    <a:pt x="716" y="982"/>
                  </a:lnTo>
                  <a:lnTo>
                    <a:pt x="717" y="981"/>
                  </a:lnTo>
                  <a:lnTo>
                    <a:pt x="718" y="979"/>
                  </a:lnTo>
                  <a:lnTo>
                    <a:pt x="719" y="977"/>
                  </a:lnTo>
                  <a:lnTo>
                    <a:pt x="719" y="976"/>
                  </a:lnTo>
                  <a:lnTo>
                    <a:pt x="719" y="975"/>
                  </a:lnTo>
                  <a:lnTo>
                    <a:pt x="719" y="974"/>
                  </a:lnTo>
                  <a:lnTo>
                    <a:pt x="718" y="974"/>
                  </a:lnTo>
                  <a:lnTo>
                    <a:pt x="716" y="976"/>
                  </a:lnTo>
                  <a:lnTo>
                    <a:pt x="713" y="977"/>
                  </a:lnTo>
                  <a:lnTo>
                    <a:pt x="712" y="977"/>
                  </a:lnTo>
                  <a:lnTo>
                    <a:pt x="711" y="977"/>
                  </a:lnTo>
                  <a:lnTo>
                    <a:pt x="712" y="976"/>
                  </a:lnTo>
                  <a:lnTo>
                    <a:pt x="713" y="976"/>
                  </a:lnTo>
                  <a:lnTo>
                    <a:pt x="714" y="975"/>
                  </a:lnTo>
                  <a:lnTo>
                    <a:pt x="716" y="975"/>
                  </a:lnTo>
                  <a:lnTo>
                    <a:pt x="717" y="974"/>
                  </a:lnTo>
                  <a:lnTo>
                    <a:pt x="718" y="973"/>
                  </a:lnTo>
                  <a:lnTo>
                    <a:pt x="717" y="973"/>
                  </a:lnTo>
                  <a:lnTo>
                    <a:pt x="714" y="971"/>
                  </a:lnTo>
                  <a:lnTo>
                    <a:pt x="714" y="970"/>
                  </a:lnTo>
                  <a:lnTo>
                    <a:pt x="713" y="970"/>
                  </a:lnTo>
                  <a:lnTo>
                    <a:pt x="711" y="969"/>
                  </a:lnTo>
                  <a:lnTo>
                    <a:pt x="710" y="968"/>
                  </a:lnTo>
                  <a:lnTo>
                    <a:pt x="710" y="967"/>
                  </a:lnTo>
                  <a:lnTo>
                    <a:pt x="711" y="968"/>
                  </a:lnTo>
                  <a:lnTo>
                    <a:pt x="713" y="968"/>
                  </a:lnTo>
                  <a:lnTo>
                    <a:pt x="714" y="967"/>
                  </a:lnTo>
                  <a:lnTo>
                    <a:pt x="716" y="965"/>
                  </a:lnTo>
                  <a:lnTo>
                    <a:pt x="717" y="964"/>
                  </a:lnTo>
                  <a:lnTo>
                    <a:pt x="714" y="965"/>
                  </a:lnTo>
                  <a:lnTo>
                    <a:pt x="713" y="965"/>
                  </a:lnTo>
                  <a:lnTo>
                    <a:pt x="713" y="964"/>
                  </a:lnTo>
                  <a:lnTo>
                    <a:pt x="714" y="963"/>
                  </a:lnTo>
                  <a:lnTo>
                    <a:pt x="716" y="963"/>
                  </a:lnTo>
                  <a:lnTo>
                    <a:pt x="717" y="962"/>
                  </a:lnTo>
                  <a:lnTo>
                    <a:pt x="714" y="962"/>
                  </a:lnTo>
                  <a:lnTo>
                    <a:pt x="714" y="961"/>
                  </a:lnTo>
                  <a:lnTo>
                    <a:pt x="714" y="959"/>
                  </a:lnTo>
                  <a:lnTo>
                    <a:pt x="713" y="958"/>
                  </a:lnTo>
                  <a:lnTo>
                    <a:pt x="712" y="959"/>
                  </a:lnTo>
                  <a:lnTo>
                    <a:pt x="711" y="959"/>
                  </a:lnTo>
                  <a:lnTo>
                    <a:pt x="710" y="958"/>
                  </a:lnTo>
                  <a:lnTo>
                    <a:pt x="708" y="958"/>
                  </a:lnTo>
                  <a:lnTo>
                    <a:pt x="708" y="961"/>
                  </a:lnTo>
                  <a:lnTo>
                    <a:pt x="708" y="964"/>
                  </a:lnTo>
                  <a:lnTo>
                    <a:pt x="707" y="965"/>
                  </a:lnTo>
                  <a:lnTo>
                    <a:pt x="705" y="967"/>
                  </a:lnTo>
                  <a:lnTo>
                    <a:pt x="704" y="969"/>
                  </a:lnTo>
                  <a:lnTo>
                    <a:pt x="704" y="970"/>
                  </a:lnTo>
                  <a:lnTo>
                    <a:pt x="701" y="971"/>
                  </a:lnTo>
                  <a:lnTo>
                    <a:pt x="699" y="971"/>
                  </a:lnTo>
                  <a:lnTo>
                    <a:pt x="698" y="973"/>
                  </a:lnTo>
                  <a:lnTo>
                    <a:pt x="696" y="974"/>
                  </a:lnTo>
                  <a:lnTo>
                    <a:pt x="695" y="974"/>
                  </a:lnTo>
                  <a:lnTo>
                    <a:pt x="693" y="975"/>
                  </a:lnTo>
                  <a:lnTo>
                    <a:pt x="690" y="976"/>
                  </a:lnTo>
                  <a:lnTo>
                    <a:pt x="689" y="976"/>
                  </a:lnTo>
                  <a:lnTo>
                    <a:pt x="685" y="977"/>
                  </a:lnTo>
                  <a:lnTo>
                    <a:pt x="684" y="977"/>
                  </a:lnTo>
                  <a:lnTo>
                    <a:pt x="682" y="979"/>
                  </a:lnTo>
                  <a:lnTo>
                    <a:pt x="681" y="977"/>
                  </a:lnTo>
                  <a:lnTo>
                    <a:pt x="682" y="977"/>
                  </a:lnTo>
                  <a:lnTo>
                    <a:pt x="683" y="975"/>
                  </a:lnTo>
                  <a:lnTo>
                    <a:pt x="683" y="974"/>
                  </a:lnTo>
                  <a:lnTo>
                    <a:pt x="682" y="973"/>
                  </a:lnTo>
                  <a:lnTo>
                    <a:pt x="682" y="971"/>
                  </a:lnTo>
                  <a:lnTo>
                    <a:pt x="681" y="970"/>
                  </a:lnTo>
                  <a:lnTo>
                    <a:pt x="679" y="969"/>
                  </a:lnTo>
                  <a:lnTo>
                    <a:pt x="681" y="969"/>
                  </a:lnTo>
                  <a:lnTo>
                    <a:pt x="682" y="969"/>
                  </a:lnTo>
                  <a:lnTo>
                    <a:pt x="682" y="968"/>
                  </a:lnTo>
                  <a:lnTo>
                    <a:pt x="683" y="968"/>
                  </a:lnTo>
                  <a:lnTo>
                    <a:pt x="684" y="968"/>
                  </a:lnTo>
                  <a:lnTo>
                    <a:pt x="684" y="967"/>
                  </a:lnTo>
                  <a:lnTo>
                    <a:pt x="682" y="965"/>
                  </a:lnTo>
                  <a:lnTo>
                    <a:pt x="683" y="964"/>
                  </a:lnTo>
                  <a:lnTo>
                    <a:pt x="683" y="962"/>
                  </a:lnTo>
                  <a:lnTo>
                    <a:pt x="683" y="961"/>
                  </a:lnTo>
                  <a:lnTo>
                    <a:pt x="682" y="962"/>
                  </a:lnTo>
                  <a:lnTo>
                    <a:pt x="681" y="962"/>
                  </a:lnTo>
                  <a:lnTo>
                    <a:pt x="679" y="962"/>
                  </a:lnTo>
                  <a:lnTo>
                    <a:pt x="678" y="962"/>
                  </a:lnTo>
                  <a:lnTo>
                    <a:pt x="677" y="962"/>
                  </a:lnTo>
                  <a:lnTo>
                    <a:pt x="675" y="963"/>
                  </a:lnTo>
                  <a:lnTo>
                    <a:pt x="673" y="963"/>
                  </a:lnTo>
                  <a:lnTo>
                    <a:pt x="672" y="963"/>
                  </a:lnTo>
                  <a:lnTo>
                    <a:pt x="673" y="962"/>
                  </a:lnTo>
                  <a:lnTo>
                    <a:pt x="675" y="962"/>
                  </a:lnTo>
                  <a:lnTo>
                    <a:pt x="675" y="961"/>
                  </a:lnTo>
                  <a:lnTo>
                    <a:pt x="675" y="959"/>
                  </a:lnTo>
                  <a:lnTo>
                    <a:pt x="673" y="958"/>
                  </a:lnTo>
                  <a:lnTo>
                    <a:pt x="673" y="956"/>
                  </a:lnTo>
                  <a:lnTo>
                    <a:pt x="672" y="953"/>
                  </a:lnTo>
                  <a:lnTo>
                    <a:pt x="671" y="952"/>
                  </a:lnTo>
                  <a:lnTo>
                    <a:pt x="670" y="952"/>
                  </a:lnTo>
                  <a:lnTo>
                    <a:pt x="670" y="951"/>
                  </a:lnTo>
                  <a:lnTo>
                    <a:pt x="669" y="952"/>
                  </a:lnTo>
                  <a:lnTo>
                    <a:pt x="669" y="953"/>
                  </a:lnTo>
                  <a:lnTo>
                    <a:pt x="669" y="955"/>
                  </a:lnTo>
                  <a:lnTo>
                    <a:pt x="667" y="956"/>
                  </a:lnTo>
                  <a:lnTo>
                    <a:pt x="667" y="957"/>
                  </a:lnTo>
                  <a:lnTo>
                    <a:pt x="666" y="958"/>
                  </a:lnTo>
                  <a:lnTo>
                    <a:pt x="665" y="958"/>
                  </a:lnTo>
                  <a:lnTo>
                    <a:pt x="665" y="957"/>
                  </a:lnTo>
                  <a:lnTo>
                    <a:pt x="664" y="959"/>
                  </a:lnTo>
                  <a:lnTo>
                    <a:pt x="663" y="959"/>
                  </a:lnTo>
                  <a:lnTo>
                    <a:pt x="661" y="962"/>
                  </a:lnTo>
                  <a:lnTo>
                    <a:pt x="663" y="962"/>
                  </a:lnTo>
                  <a:lnTo>
                    <a:pt x="665" y="961"/>
                  </a:lnTo>
                  <a:lnTo>
                    <a:pt x="665" y="962"/>
                  </a:lnTo>
                  <a:lnTo>
                    <a:pt x="664" y="962"/>
                  </a:lnTo>
                  <a:lnTo>
                    <a:pt x="663" y="963"/>
                  </a:lnTo>
                  <a:lnTo>
                    <a:pt x="663" y="965"/>
                  </a:lnTo>
                  <a:lnTo>
                    <a:pt x="664" y="965"/>
                  </a:lnTo>
                  <a:lnTo>
                    <a:pt x="664" y="967"/>
                  </a:lnTo>
                  <a:lnTo>
                    <a:pt x="663" y="967"/>
                  </a:lnTo>
                  <a:lnTo>
                    <a:pt x="663" y="969"/>
                  </a:lnTo>
                  <a:lnTo>
                    <a:pt x="661" y="970"/>
                  </a:lnTo>
                  <a:lnTo>
                    <a:pt x="659" y="970"/>
                  </a:lnTo>
                  <a:lnTo>
                    <a:pt x="659" y="971"/>
                  </a:lnTo>
                  <a:lnTo>
                    <a:pt x="660" y="971"/>
                  </a:lnTo>
                  <a:lnTo>
                    <a:pt x="661" y="973"/>
                  </a:lnTo>
                  <a:lnTo>
                    <a:pt x="663" y="973"/>
                  </a:lnTo>
                  <a:lnTo>
                    <a:pt x="663" y="974"/>
                  </a:lnTo>
                  <a:lnTo>
                    <a:pt x="663" y="975"/>
                  </a:lnTo>
                  <a:lnTo>
                    <a:pt x="661" y="975"/>
                  </a:lnTo>
                  <a:lnTo>
                    <a:pt x="660" y="974"/>
                  </a:lnTo>
                  <a:lnTo>
                    <a:pt x="660" y="976"/>
                  </a:lnTo>
                  <a:lnTo>
                    <a:pt x="659" y="976"/>
                  </a:lnTo>
                  <a:lnTo>
                    <a:pt x="655" y="977"/>
                  </a:lnTo>
                  <a:lnTo>
                    <a:pt x="654" y="979"/>
                  </a:lnTo>
                  <a:lnTo>
                    <a:pt x="651" y="979"/>
                  </a:lnTo>
                  <a:lnTo>
                    <a:pt x="649" y="979"/>
                  </a:lnTo>
                  <a:lnTo>
                    <a:pt x="646" y="980"/>
                  </a:lnTo>
                  <a:lnTo>
                    <a:pt x="642" y="980"/>
                  </a:lnTo>
                  <a:lnTo>
                    <a:pt x="639" y="979"/>
                  </a:lnTo>
                  <a:lnTo>
                    <a:pt x="636" y="979"/>
                  </a:lnTo>
                  <a:lnTo>
                    <a:pt x="634" y="977"/>
                  </a:lnTo>
                  <a:lnTo>
                    <a:pt x="631" y="977"/>
                  </a:lnTo>
                  <a:lnTo>
                    <a:pt x="628" y="976"/>
                  </a:lnTo>
                  <a:lnTo>
                    <a:pt x="626" y="975"/>
                  </a:lnTo>
                  <a:lnTo>
                    <a:pt x="625" y="973"/>
                  </a:lnTo>
                  <a:lnTo>
                    <a:pt x="625" y="971"/>
                  </a:lnTo>
                  <a:lnTo>
                    <a:pt x="628" y="973"/>
                  </a:lnTo>
                  <a:lnTo>
                    <a:pt x="628" y="971"/>
                  </a:lnTo>
                  <a:lnTo>
                    <a:pt x="629" y="969"/>
                  </a:lnTo>
                  <a:lnTo>
                    <a:pt x="630" y="971"/>
                  </a:lnTo>
                  <a:lnTo>
                    <a:pt x="631" y="973"/>
                  </a:lnTo>
                  <a:lnTo>
                    <a:pt x="633" y="975"/>
                  </a:lnTo>
                  <a:lnTo>
                    <a:pt x="634" y="976"/>
                  </a:lnTo>
                  <a:lnTo>
                    <a:pt x="635" y="976"/>
                  </a:lnTo>
                  <a:lnTo>
                    <a:pt x="635" y="975"/>
                  </a:lnTo>
                  <a:lnTo>
                    <a:pt x="633" y="971"/>
                  </a:lnTo>
                  <a:lnTo>
                    <a:pt x="631" y="969"/>
                  </a:lnTo>
                  <a:lnTo>
                    <a:pt x="630" y="968"/>
                  </a:lnTo>
                  <a:lnTo>
                    <a:pt x="630" y="965"/>
                  </a:lnTo>
                  <a:lnTo>
                    <a:pt x="630" y="964"/>
                  </a:lnTo>
                  <a:lnTo>
                    <a:pt x="631" y="967"/>
                  </a:lnTo>
                  <a:lnTo>
                    <a:pt x="631" y="968"/>
                  </a:lnTo>
                  <a:lnTo>
                    <a:pt x="633" y="968"/>
                  </a:lnTo>
                  <a:lnTo>
                    <a:pt x="633" y="965"/>
                  </a:lnTo>
                  <a:lnTo>
                    <a:pt x="634" y="965"/>
                  </a:lnTo>
                  <a:lnTo>
                    <a:pt x="635" y="965"/>
                  </a:lnTo>
                  <a:lnTo>
                    <a:pt x="636" y="968"/>
                  </a:lnTo>
                  <a:lnTo>
                    <a:pt x="636" y="967"/>
                  </a:lnTo>
                  <a:lnTo>
                    <a:pt x="637" y="965"/>
                  </a:lnTo>
                  <a:lnTo>
                    <a:pt x="637" y="964"/>
                  </a:lnTo>
                  <a:lnTo>
                    <a:pt x="636" y="962"/>
                  </a:lnTo>
                  <a:lnTo>
                    <a:pt x="634" y="959"/>
                  </a:lnTo>
                  <a:lnTo>
                    <a:pt x="633" y="958"/>
                  </a:lnTo>
                  <a:lnTo>
                    <a:pt x="634" y="956"/>
                  </a:lnTo>
                  <a:lnTo>
                    <a:pt x="635" y="957"/>
                  </a:lnTo>
                  <a:lnTo>
                    <a:pt x="635" y="958"/>
                  </a:lnTo>
                  <a:lnTo>
                    <a:pt x="636" y="959"/>
                  </a:lnTo>
                  <a:lnTo>
                    <a:pt x="637" y="959"/>
                  </a:lnTo>
                  <a:lnTo>
                    <a:pt x="639" y="959"/>
                  </a:lnTo>
                  <a:lnTo>
                    <a:pt x="639" y="958"/>
                  </a:lnTo>
                  <a:lnTo>
                    <a:pt x="640" y="958"/>
                  </a:lnTo>
                  <a:lnTo>
                    <a:pt x="641" y="959"/>
                  </a:lnTo>
                  <a:lnTo>
                    <a:pt x="642" y="961"/>
                  </a:lnTo>
                  <a:lnTo>
                    <a:pt x="643" y="959"/>
                  </a:lnTo>
                  <a:lnTo>
                    <a:pt x="643" y="958"/>
                  </a:lnTo>
                  <a:lnTo>
                    <a:pt x="645" y="957"/>
                  </a:lnTo>
                  <a:lnTo>
                    <a:pt x="645" y="956"/>
                  </a:lnTo>
                  <a:lnTo>
                    <a:pt x="645" y="955"/>
                  </a:lnTo>
                  <a:lnTo>
                    <a:pt x="643" y="952"/>
                  </a:lnTo>
                  <a:lnTo>
                    <a:pt x="642" y="951"/>
                  </a:lnTo>
                  <a:lnTo>
                    <a:pt x="642" y="950"/>
                  </a:lnTo>
                  <a:lnTo>
                    <a:pt x="642" y="949"/>
                  </a:lnTo>
                  <a:lnTo>
                    <a:pt x="643" y="949"/>
                  </a:lnTo>
                  <a:lnTo>
                    <a:pt x="645" y="950"/>
                  </a:lnTo>
                  <a:lnTo>
                    <a:pt x="647" y="949"/>
                  </a:lnTo>
                  <a:lnTo>
                    <a:pt x="649" y="950"/>
                  </a:lnTo>
                  <a:lnTo>
                    <a:pt x="651" y="951"/>
                  </a:lnTo>
                  <a:lnTo>
                    <a:pt x="652" y="951"/>
                  </a:lnTo>
                  <a:lnTo>
                    <a:pt x="652" y="950"/>
                  </a:lnTo>
                  <a:lnTo>
                    <a:pt x="653" y="949"/>
                  </a:lnTo>
                  <a:lnTo>
                    <a:pt x="654" y="949"/>
                  </a:lnTo>
                  <a:lnTo>
                    <a:pt x="654" y="947"/>
                  </a:lnTo>
                  <a:lnTo>
                    <a:pt x="652" y="946"/>
                  </a:lnTo>
                  <a:lnTo>
                    <a:pt x="649" y="946"/>
                  </a:lnTo>
                  <a:lnTo>
                    <a:pt x="648" y="946"/>
                  </a:lnTo>
                  <a:lnTo>
                    <a:pt x="646" y="944"/>
                  </a:lnTo>
                  <a:lnTo>
                    <a:pt x="645" y="941"/>
                  </a:lnTo>
                  <a:lnTo>
                    <a:pt x="643" y="940"/>
                  </a:lnTo>
                  <a:lnTo>
                    <a:pt x="643" y="939"/>
                  </a:lnTo>
                  <a:lnTo>
                    <a:pt x="645" y="939"/>
                  </a:lnTo>
                  <a:lnTo>
                    <a:pt x="646" y="940"/>
                  </a:lnTo>
                  <a:lnTo>
                    <a:pt x="647" y="941"/>
                  </a:lnTo>
                  <a:lnTo>
                    <a:pt x="649" y="943"/>
                  </a:lnTo>
                  <a:lnTo>
                    <a:pt x="651" y="944"/>
                  </a:lnTo>
                  <a:lnTo>
                    <a:pt x="652" y="944"/>
                  </a:lnTo>
                  <a:lnTo>
                    <a:pt x="653" y="943"/>
                  </a:lnTo>
                  <a:lnTo>
                    <a:pt x="652" y="941"/>
                  </a:lnTo>
                  <a:lnTo>
                    <a:pt x="649" y="940"/>
                  </a:lnTo>
                  <a:lnTo>
                    <a:pt x="647" y="939"/>
                  </a:lnTo>
                  <a:lnTo>
                    <a:pt x="646" y="938"/>
                  </a:lnTo>
                  <a:lnTo>
                    <a:pt x="643" y="937"/>
                  </a:lnTo>
                  <a:lnTo>
                    <a:pt x="642" y="935"/>
                  </a:lnTo>
                  <a:lnTo>
                    <a:pt x="641" y="934"/>
                  </a:lnTo>
                  <a:lnTo>
                    <a:pt x="641" y="933"/>
                  </a:lnTo>
                  <a:lnTo>
                    <a:pt x="642" y="934"/>
                  </a:lnTo>
                  <a:lnTo>
                    <a:pt x="643" y="935"/>
                  </a:lnTo>
                  <a:lnTo>
                    <a:pt x="645" y="937"/>
                  </a:lnTo>
                  <a:lnTo>
                    <a:pt x="646" y="937"/>
                  </a:lnTo>
                  <a:lnTo>
                    <a:pt x="647" y="937"/>
                  </a:lnTo>
                  <a:lnTo>
                    <a:pt x="649" y="935"/>
                  </a:lnTo>
                  <a:lnTo>
                    <a:pt x="651" y="935"/>
                  </a:lnTo>
                  <a:lnTo>
                    <a:pt x="652" y="935"/>
                  </a:lnTo>
                  <a:lnTo>
                    <a:pt x="651" y="934"/>
                  </a:lnTo>
                  <a:lnTo>
                    <a:pt x="649" y="933"/>
                  </a:lnTo>
                  <a:lnTo>
                    <a:pt x="651" y="931"/>
                  </a:lnTo>
                  <a:lnTo>
                    <a:pt x="653" y="932"/>
                  </a:lnTo>
                  <a:lnTo>
                    <a:pt x="651" y="929"/>
                  </a:lnTo>
                  <a:lnTo>
                    <a:pt x="651" y="928"/>
                  </a:lnTo>
                  <a:lnTo>
                    <a:pt x="653" y="927"/>
                  </a:lnTo>
                  <a:lnTo>
                    <a:pt x="654" y="926"/>
                  </a:lnTo>
                  <a:lnTo>
                    <a:pt x="653" y="923"/>
                  </a:lnTo>
                  <a:lnTo>
                    <a:pt x="651" y="925"/>
                  </a:lnTo>
                  <a:lnTo>
                    <a:pt x="649" y="925"/>
                  </a:lnTo>
                  <a:lnTo>
                    <a:pt x="646" y="923"/>
                  </a:lnTo>
                  <a:lnTo>
                    <a:pt x="642" y="919"/>
                  </a:lnTo>
                  <a:lnTo>
                    <a:pt x="639" y="916"/>
                  </a:lnTo>
                  <a:lnTo>
                    <a:pt x="637" y="915"/>
                  </a:lnTo>
                  <a:lnTo>
                    <a:pt x="639" y="909"/>
                  </a:lnTo>
                  <a:lnTo>
                    <a:pt x="639" y="905"/>
                  </a:lnTo>
                  <a:lnTo>
                    <a:pt x="640" y="906"/>
                  </a:lnTo>
                  <a:lnTo>
                    <a:pt x="641" y="910"/>
                  </a:lnTo>
                  <a:lnTo>
                    <a:pt x="641" y="915"/>
                  </a:lnTo>
                  <a:lnTo>
                    <a:pt x="642" y="914"/>
                  </a:lnTo>
                  <a:lnTo>
                    <a:pt x="642" y="912"/>
                  </a:lnTo>
                  <a:lnTo>
                    <a:pt x="643" y="914"/>
                  </a:lnTo>
                  <a:lnTo>
                    <a:pt x="645" y="911"/>
                  </a:lnTo>
                  <a:lnTo>
                    <a:pt x="643" y="908"/>
                  </a:lnTo>
                  <a:lnTo>
                    <a:pt x="645" y="908"/>
                  </a:lnTo>
                  <a:lnTo>
                    <a:pt x="646" y="908"/>
                  </a:lnTo>
                  <a:lnTo>
                    <a:pt x="646" y="914"/>
                  </a:lnTo>
                  <a:lnTo>
                    <a:pt x="646" y="915"/>
                  </a:lnTo>
                  <a:lnTo>
                    <a:pt x="648" y="917"/>
                  </a:lnTo>
                  <a:lnTo>
                    <a:pt x="651" y="919"/>
                  </a:lnTo>
                  <a:lnTo>
                    <a:pt x="651" y="916"/>
                  </a:lnTo>
                  <a:lnTo>
                    <a:pt x="649" y="912"/>
                  </a:lnTo>
                  <a:lnTo>
                    <a:pt x="648" y="911"/>
                  </a:lnTo>
                  <a:lnTo>
                    <a:pt x="648" y="910"/>
                  </a:lnTo>
                  <a:lnTo>
                    <a:pt x="647" y="908"/>
                  </a:lnTo>
                  <a:lnTo>
                    <a:pt x="645" y="905"/>
                  </a:lnTo>
                  <a:lnTo>
                    <a:pt x="643" y="903"/>
                  </a:lnTo>
                  <a:lnTo>
                    <a:pt x="643" y="900"/>
                  </a:lnTo>
                  <a:lnTo>
                    <a:pt x="645" y="903"/>
                  </a:lnTo>
                  <a:lnTo>
                    <a:pt x="646" y="903"/>
                  </a:lnTo>
                  <a:lnTo>
                    <a:pt x="646" y="900"/>
                  </a:lnTo>
                  <a:lnTo>
                    <a:pt x="646" y="899"/>
                  </a:lnTo>
                  <a:lnTo>
                    <a:pt x="647" y="899"/>
                  </a:lnTo>
                  <a:lnTo>
                    <a:pt x="647" y="902"/>
                  </a:lnTo>
                  <a:lnTo>
                    <a:pt x="648" y="904"/>
                  </a:lnTo>
                  <a:lnTo>
                    <a:pt x="648" y="906"/>
                  </a:lnTo>
                  <a:lnTo>
                    <a:pt x="649" y="908"/>
                  </a:lnTo>
                  <a:lnTo>
                    <a:pt x="651" y="909"/>
                  </a:lnTo>
                  <a:lnTo>
                    <a:pt x="652" y="910"/>
                  </a:lnTo>
                  <a:lnTo>
                    <a:pt x="652" y="906"/>
                  </a:lnTo>
                  <a:lnTo>
                    <a:pt x="652" y="904"/>
                  </a:lnTo>
                  <a:lnTo>
                    <a:pt x="654" y="903"/>
                  </a:lnTo>
                  <a:lnTo>
                    <a:pt x="653" y="900"/>
                  </a:lnTo>
                  <a:lnTo>
                    <a:pt x="652" y="899"/>
                  </a:lnTo>
                  <a:lnTo>
                    <a:pt x="651" y="898"/>
                  </a:lnTo>
                  <a:lnTo>
                    <a:pt x="651" y="896"/>
                  </a:lnTo>
                  <a:lnTo>
                    <a:pt x="652" y="896"/>
                  </a:lnTo>
                  <a:lnTo>
                    <a:pt x="653" y="899"/>
                  </a:lnTo>
                  <a:lnTo>
                    <a:pt x="654" y="900"/>
                  </a:lnTo>
                  <a:lnTo>
                    <a:pt x="655" y="900"/>
                  </a:lnTo>
                  <a:lnTo>
                    <a:pt x="657" y="902"/>
                  </a:lnTo>
                  <a:lnTo>
                    <a:pt x="658" y="905"/>
                  </a:lnTo>
                  <a:lnTo>
                    <a:pt x="659" y="905"/>
                  </a:lnTo>
                  <a:lnTo>
                    <a:pt x="660" y="905"/>
                  </a:lnTo>
                  <a:lnTo>
                    <a:pt x="661" y="905"/>
                  </a:lnTo>
                  <a:lnTo>
                    <a:pt x="661" y="908"/>
                  </a:lnTo>
                  <a:lnTo>
                    <a:pt x="663" y="908"/>
                  </a:lnTo>
                  <a:lnTo>
                    <a:pt x="664" y="906"/>
                  </a:lnTo>
                  <a:lnTo>
                    <a:pt x="664" y="905"/>
                  </a:lnTo>
                  <a:lnTo>
                    <a:pt x="664" y="902"/>
                  </a:lnTo>
                  <a:lnTo>
                    <a:pt x="665" y="902"/>
                  </a:lnTo>
                  <a:lnTo>
                    <a:pt x="666" y="909"/>
                  </a:lnTo>
                  <a:lnTo>
                    <a:pt x="666" y="911"/>
                  </a:lnTo>
                  <a:lnTo>
                    <a:pt x="667" y="912"/>
                  </a:lnTo>
                  <a:lnTo>
                    <a:pt x="669" y="911"/>
                  </a:lnTo>
                  <a:lnTo>
                    <a:pt x="669" y="908"/>
                  </a:lnTo>
                  <a:lnTo>
                    <a:pt x="669" y="905"/>
                  </a:lnTo>
                  <a:lnTo>
                    <a:pt x="670" y="902"/>
                  </a:lnTo>
                  <a:lnTo>
                    <a:pt x="671" y="903"/>
                  </a:lnTo>
                  <a:lnTo>
                    <a:pt x="672" y="908"/>
                  </a:lnTo>
                  <a:lnTo>
                    <a:pt x="673" y="908"/>
                  </a:lnTo>
                  <a:lnTo>
                    <a:pt x="675" y="905"/>
                  </a:lnTo>
                  <a:lnTo>
                    <a:pt x="675" y="909"/>
                  </a:lnTo>
                  <a:lnTo>
                    <a:pt x="676" y="910"/>
                  </a:lnTo>
                  <a:lnTo>
                    <a:pt x="677" y="910"/>
                  </a:lnTo>
                  <a:lnTo>
                    <a:pt x="677" y="908"/>
                  </a:lnTo>
                  <a:lnTo>
                    <a:pt x="677" y="903"/>
                  </a:lnTo>
                  <a:lnTo>
                    <a:pt x="678" y="902"/>
                  </a:lnTo>
                  <a:lnTo>
                    <a:pt x="679" y="900"/>
                  </a:lnTo>
                  <a:lnTo>
                    <a:pt x="679" y="899"/>
                  </a:lnTo>
                  <a:lnTo>
                    <a:pt x="678" y="897"/>
                  </a:lnTo>
                  <a:lnTo>
                    <a:pt x="676" y="894"/>
                  </a:lnTo>
                  <a:lnTo>
                    <a:pt x="677" y="893"/>
                  </a:lnTo>
                  <a:lnTo>
                    <a:pt x="681" y="893"/>
                  </a:lnTo>
                  <a:lnTo>
                    <a:pt x="681" y="892"/>
                  </a:lnTo>
                  <a:lnTo>
                    <a:pt x="683" y="892"/>
                  </a:lnTo>
                  <a:lnTo>
                    <a:pt x="683" y="896"/>
                  </a:lnTo>
                  <a:lnTo>
                    <a:pt x="685" y="898"/>
                  </a:lnTo>
                  <a:lnTo>
                    <a:pt x="685" y="896"/>
                  </a:lnTo>
                  <a:lnTo>
                    <a:pt x="687" y="894"/>
                  </a:lnTo>
                  <a:lnTo>
                    <a:pt x="689" y="896"/>
                  </a:lnTo>
                  <a:lnTo>
                    <a:pt x="694" y="899"/>
                  </a:lnTo>
                  <a:lnTo>
                    <a:pt x="696" y="899"/>
                  </a:lnTo>
                  <a:lnTo>
                    <a:pt x="694" y="897"/>
                  </a:lnTo>
                  <a:lnTo>
                    <a:pt x="693" y="894"/>
                  </a:lnTo>
                  <a:lnTo>
                    <a:pt x="690" y="893"/>
                  </a:lnTo>
                  <a:lnTo>
                    <a:pt x="684" y="891"/>
                  </a:lnTo>
                  <a:lnTo>
                    <a:pt x="683" y="888"/>
                  </a:lnTo>
                  <a:lnTo>
                    <a:pt x="681" y="886"/>
                  </a:lnTo>
                  <a:lnTo>
                    <a:pt x="678" y="884"/>
                  </a:lnTo>
                  <a:lnTo>
                    <a:pt x="678" y="881"/>
                  </a:lnTo>
                  <a:lnTo>
                    <a:pt x="678" y="880"/>
                  </a:lnTo>
                  <a:lnTo>
                    <a:pt x="679" y="880"/>
                  </a:lnTo>
                  <a:lnTo>
                    <a:pt x="681" y="884"/>
                  </a:lnTo>
                  <a:lnTo>
                    <a:pt x="682" y="885"/>
                  </a:lnTo>
                  <a:lnTo>
                    <a:pt x="683" y="886"/>
                  </a:lnTo>
                  <a:lnTo>
                    <a:pt x="685" y="886"/>
                  </a:lnTo>
                  <a:lnTo>
                    <a:pt x="687" y="886"/>
                  </a:lnTo>
                  <a:lnTo>
                    <a:pt x="687" y="887"/>
                  </a:lnTo>
                  <a:lnTo>
                    <a:pt x="688" y="885"/>
                  </a:lnTo>
                  <a:lnTo>
                    <a:pt x="688" y="881"/>
                  </a:lnTo>
                  <a:lnTo>
                    <a:pt x="688" y="879"/>
                  </a:lnTo>
                  <a:lnTo>
                    <a:pt x="689" y="881"/>
                  </a:lnTo>
                  <a:lnTo>
                    <a:pt x="689" y="884"/>
                  </a:lnTo>
                  <a:lnTo>
                    <a:pt x="689" y="887"/>
                  </a:lnTo>
                  <a:lnTo>
                    <a:pt x="690" y="887"/>
                  </a:lnTo>
                  <a:lnTo>
                    <a:pt x="690" y="890"/>
                  </a:lnTo>
                  <a:lnTo>
                    <a:pt x="690" y="891"/>
                  </a:lnTo>
                  <a:lnTo>
                    <a:pt x="692" y="892"/>
                  </a:lnTo>
                  <a:lnTo>
                    <a:pt x="692" y="891"/>
                  </a:lnTo>
                  <a:lnTo>
                    <a:pt x="693" y="890"/>
                  </a:lnTo>
                  <a:lnTo>
                    <a:pt x="693" y="888"/>
                  </a:lnTo>
                  <a:lnTo>
                    <a:pt x="692" y="886"/>
                  </a:lnTo>
                  <a:lnTo>
                    <a:pt x="693" y="884"/>
                  </a:lnTo>
                  <a:lnTo>
                    <a:pt x="694" y="882"/>
                  </a:lnTo>
                  <a:lnTo>
                    <a:pt x="694" y="886"/>
                  </a:lnTo>
                  <a:lnTo>
                    <a:pt x="694" y="887"/>
                  </a:lnTo>
                  <a:lnTo>
                    <a:pt x="695" y="888"/>
                  </a:lnTo>
                  <a:lnTo>
                    <a:pt x="695" y="892"/>
                  </a:lnTo>
                  <a:lnTo>
                    <a:pt x="696" y="891"/>
                  </a:lnTo>
                  <a:lnTo>
                    <a:pt x="696" y="888"/>
                  </a:lnTo>
                  <a:lnTo>
                    <a:pt x="696" y="886"/>
                  </a:lnTo>
                  <a:lnTo>
                    <a:pt x="696" y="882"/>
                  </a:lnTo>
                  <a:lnTo>
                    <a:pt x="696" y="880"/>
                  </a:lnTo>
                  <a:lnTo>
                    <a:pt x="698" y="884"/>
                  </a:lnTo>
                  <a:lnTo>
                    <a:pt x="700" y="884"/>
                  </a:lnTo>
                  <a:lnTo>
                    <a:pt x="701" y="886"/>
                  </a:lnTo>
                  <a:lnTo>
                    <a:pt x="701" y="891"/>
                  </a:lnTo>
                  <a:lnTo>
                    <a:pt x="702" y="891"/>
                  </a:lnTo>
                  <a:lnTo>
                    <a:pt x="704" y="888"/>
                  </a:lnTo>
                  <a:lnTo>
                    <a:pt x="705" y="886"/>
                  </a:lnTo>
                  <a:lnTo>
                    <a:pt x="705" y="882"/>
                  </a:lnTo>
                  <a:lnTo>
                    <a:pt x="704" y="880"/>
                  </a:lnTo>
                  <a:lnTo>
                    <a:pt x="705" y="876"/>
                  </a:lnTo>
                  <a:lnTo>
                    <a:pt x="704" y="875"/>
                  </a:lnTo>
                  <a:lnTo>
                    <a:pt x="704" y="873"/>
                  </a:lnTo>
                  <a:lnTo>
                    <a:pt x="705" y="873"/>
                  </a:lnTo>
                  <a:lnTo>
                    <a:pt x="706" y="876"/>
                  </a:lnTo>
                  <a:lnTo>
                    <a:pt x="706" y="878"/>
                  </a:lnTo>
                  <a:lnTo>
                    <a:pt x="707" y="881"/>
                  </a:lnTo>
                  <a:lnTo>
                    <a:pt x="708" y="882"/>
                  </a:lnTo>
                  <a:lnTo>
                    <a:pt x="711" y="880"/>
                  </a:lnTo>
                  <a:lnTo>
                    <a:pt x="710" y="876"/>
                  </a:lnTo>
                  <a:lnTo>
                    <a:pt x="710" y="874"/>
                  </a:lnTo>
                  <a:lnTo>
                    <a:pt x="711" y="872"/>
                  </a:lnTo>
                  <a:lnTo>
                    <a:pt x="712" y="869"/>
                  </a:lnTo>
                  <a:lnTo>
                    <a:pt x="713" y="872"/>
                  </a:lnTo>
                  <a:lnTo>
                    <a:pt x="716" y="878"/>
                  </a:lnTo>
                  <a:lnTo>
                    <a:pt x="716" y="880"/>
                  </a:lnTo>
                  <a:lnTo>
                    <a:pt x="719" y="879"/>
                  </a:lnTo>
                  <a:lnTo>
                    <a:pt x="719" y="875"/>
                  </a:lnTo>
                  <a:lnTo>
                    <a:pt x="720" y="875"/>
                  </a:lnTo>
                  <a:lnTo>
                    <a:pt x="720" y="878"/>
                  </a:lnTo>
                  <a:lnTo>
                    <a:pt x="720" y="881"/>
                  </a:lnTo>
                  <a:lnTo>
                    <a:pt x="720" y="886"/>
                  </a:lnTo>
                  <a:lnTo>
                    <a:pt x="722" y="887"/>
                  </a:lnTo>
                  <a:lnTo>
                    <a:pt x="723" y="885"/>
                  </a:lnTo>
                  <a:lnTo>
                    <a:pt x="723" y="882"/>
                  </a:lnTo>
                  <a:lnTo>
                    <a:pt x="724" y="884"/>
                  </a:lnTo>
                  <a:lnTo>
                    <a:pt x="725" y="884"/>
                  </a:lnTo>
                  <a:lnTo>
                    <a:pt x="728" y="882"/>
                  </a:lnTo>
                  <a:lnTo>
                    <a:pt x="728" y="879"/>
                  </a:lnTo>
                  <a:lnTo>
                    <a:pt x="729" y="875"/>
                  </a:lnTo>
                  <a:lnTo>
                    <a:pt x="731" y="875"/>
                  </a:lnTo>
                  <a:lnTo>
                    <a:pt x="732" y="876"/>
                  </a:lnTo>
                  <a:lnTo>
                    <a:pt x="735" y="876"/>
                  </a:lnTo>
                  <a:lnTo>
                    <a:pt x="732" y="874"/>
                  </a:lnTo>
                  <a:lnTo>
                    <a:pt x="731" y="872"/>
                  </a:lnTo>
                  <a:lnTo>
                    <a:pt x="729" y="869"/>
                  </a:lnTo>
                  <a:lnTo>
                    <a:pt x="725" y="866"/>
                  </a:lnTo>
                  <a:lnTo>
                    <a:pt x="717" y="862"/>
                  </a:lnTo>
                  <a:lnTo>
                    <a:pt x="712" y="858"/>
                  </a:lnTo>
                  <a:lnTo>
                    <a:pt x="704" y="857"/>
                  </a:lnTo>
                  <a:lnTo>
                    <a:pt x="699" y="857"/>
                  </a:lnTo>
                  <a:lnTo>
                    <a:pt x="695" y="858"/>
                  </a:lnTo>
                  <a:lnTo>
                    <a:pt x="694" y="858"/>
                  </a:lnTo>
                  <a:lnTo>
                    <a:pt x="692" y="858"/>
                  </a:lnTo>
                  <a:lnTo>
                    <a:pt x="690" y="857"/>
                  </a:lnTo>
                  <a:lnTo>
                    <a:pt x="688" y="858"/>
                  </a:lnTo>
                  <a:lnTo>
                    <a:pt x="683" y="856"/>
                  </a:lnTo>
                  <a:lnTo>
                    <a:pt x="679" y="855"/>
                  </a:lnTo>
                  <a:lnTo>
                    <a:pt x="676" y="852"/>
                  </a:lnTo>
                  <a:lnTo>
                    <a:pt x="676" y="851"/>
                  </a:lnTo>
                  <a:lnTo>
                    <a:pt x="678" y="850"/>
                  </a:lnTo>
                  <a:lnTo>
                    <a:pt x="679" y="850"/>
                  </a:lnTo>
                  <a:lnTo>
                    <a:pt x="684" y="852"/>
                  </a:lnTo>
                  <a:lnTo>
                    <a:pt x="685" y="851"/>
                  </a:lnTo>
                  <a:lnTo>
                    <a:pt x="683" y="850"/>
                  </a:lnTo>
                  <a:lnTo>
                    <a:pt x="681" y="849"/>
                  </a:lnTo>
                  <a:lnTo>
                    <a:pt x="684" y="846"/>
                  </a:lnTo>
                  <a:lnTo>
                    <a:pt x="684" y="845"/>
                  </a:lnTo>
                  <a:lnTo>
                    <a:pt x="679" y="846"/>
                  </a:lnTo>
                  <a:lnTo>
                    <a:pt x="678" y="846"/>
                  </a:lnTo>
                  <a:lnTo>
                    <a:pt x="677" y="848"/>
                  </a:lnTo>
                  <a:lnTo>
                    <a:pt x="676" y="848"/>
                  </a:lnTo>
                  <a:lnTo>
                    <a:pt x="675" y="849"/>
                  </a:lnTo>
                  <a:lnTo>
                    <a:pt x="672" y="851"/>
                  </a:lnTo>
                  <a:lnTo>
                    <a:pt x="670" y="850"/>
                  </a:lnTo>
                  <a:lnTo>
                    <a:pt x="667" y="852"/>
                  </a:lnTo>
                  <a:lnTo>
                    <a:pt x="666" y="855"/>
                  </a:lnTo>
                  <a:lnTo>
                    <a:pt x="661" y="852"/>
                  </a:lnTo>
                  <a:lnTo>
                    <a:pt x="655" y="849"/>
                  </a:lnTo>
                  <a:lnTo>
                    <a:pt x="648" y="846"/>
                  </a:lnTo>
                  <a:lnTo>
                    <a:pt x="646" y="848"/>
                  </a:lnTo>
                  <a:lnTo>
                    <a:pt x="645" y="846"/>
                  </a:lnTo>
                  <a:lnTo>
                    <a:pt x="643" y="845"/>
                  </a:lnTo>
                  <a:lnTo>
                    <a:pt x="646" y="844"/>
                  </a:lnTo>
                  <a:lnTo>
                    <a:pt x="646" y="842"/>
                  </a:lnTo>
                  <a:lnTo>
                    <a:pt x="645" y="839"/>
                  </a:lnTo>
                  <a:lnTo>
                    <a:pt x="646" y="836"/>
                  </a:lnTo>
                  <a:lnTo>
                    <a:pt x="647" y="837"/>
                  </a:lnTo>
                  <a:lnTo>
                    <a:pt x="648" y="840"/>
                  </a:lnTo>
                  <a:lnTo>
                    <a:pt x="649" y="840"/>
                  </a:lnTo>
                  <a:lnTo>
                    <a:pt x="651" y="837"/>
                  </a:lnTo>
                  <a:lnTo>
                    <a:pt x="651" y="836"/>
                  </a:lnTo>
                  <a:lnTo>
                    <a:pt x="651" y="834"/>
                  </a:lnTo>
                  <a:lnTo>
                    <a:pt x="653" y="836"/>
                  </a:lnTo>
                  <a:lnTo>
                    <a:pt x="654" y="837"/>
                  </a:lnTo>
                  <a:lnTo>
                    <a:pt x="655" y="836"/>
                  </a:lnTo>
                  <a:lnTo>
                    <a:pt x="657" y="834"/>
                  </a:lnTo>
                  <a:lnTo>
                    <a:pt x="657" y="836"/>
                  </a:lnTo>
                  <a:lnTo>
                    <a:pt x="658" y="836"/>
                  </a:lnTo>
                  <a:lnTo>
                    <a:pt x="659" y="833"/>
                  </a:lnTo>
                  <a:lnTo>
                    <a:pt x="661" y="832"/>
                  </a:lnTo>
                  <a:lnTo>
                    <a:pt x="664" y="831"/>
                  </a:lnTo>
                  <a:lnTo>
                    <a:pt x="669" y="828"/>
                  </a:lnTo>
                  <a:lnTo>
                    <a:pt x="669" y="825"/>
                  </a:lnTo>
                  <a:lnTo>
                    <a:pt x="670" y="824"/>
                  </a:lnTo>
                  <a:lnTo>
                    <a:pt x="671" y="824"/>
                  </a:lnTo>
                  <a:lnTo>
                    <a:pt x="673" y="824"/>
                  </a:lnTo>
                  <a:lnTo>
                    <a:pt x="675" y="822"/>
                  </a:lnTo>
                  <a:lnTo>
                    <a:pt x="673" y="820"/>
                  </a:lnTo>
                  <a:lnTo>
                    <a:pt x="672" y="816"/>
                  </a:lnTo>
                  <a:lnTo>
                    <a:pt x="675" y="816"/>
                  </a:lnTo>
                  <a:lnTo>
                    <a:pt x="676" y="816"/>
                  </a:lnTo>
                  <a:lnTo>
                    <a:pt x="676" y="821"/>
                  </a:lnTo>
                  <a:lnTo>
                    <a:pt x="677" y="824"/>
                  </a:lnTo>
                  <a:lnTo>
                    <a:pt x="678" y="825"/>
                  </a:lnTo>
                  <a:lnTo>
                    <a:pt x="678" y="822"/>
                  </a:lnTo>
                  <a:lnTo>
                    <a:pt x="678" y="819"/>
                  </a:lnTo>
                  <a:lnTo>
                    <a:pt x="679" y="816"/>
                  </a:lnTo>
                  <a:lnTo>
                    <a:pt x="681" y="816"/>
                  </a:lnTo>
                  <a:lnTo>
                    <a:pt x="681" y="818"/>
                  </a:lnTo>
                  <a:lnTo>
                    <a:pt x="682" y="822"/>
                  </a:lnTo>
                  <a:lnTo>
                    <a:pt x="681" y="826"/>
                  </a:lnTo>
                  <a:lnTo>
                    <a:pt x="682" y="830"/>
                  </a:lnTo>
                  <a:lnTo>
                    <a:pt x="682" y="826"/>
                  </a:lnTo>
                  <a:lnTo>
                    <a:pt x="683" y="822"/>
                  </a:lnTo>
                  <a:lnTo>
                    <a:pt x="684" y="821"/>
                  </a:lnTo>
                  <a:lnTo>
                    <a:pt x="684" y="819"/>
                  </a:lnTo>
                  <a:lnTo>
                    <a:pt x="683" y="816"/>
                  </a:lnTo>
                  <a:lnTo>
                    <a:pt x="682" y="814"/>
                  </a:lnTo>
                  <a:lnTo>
                    <a:pt x="684" y="812"/>
                  </a:lnTo>
                  <a:lnTo>
                    <a:pt x="684" y="809"/>
                  </a:lnTo>
                  <a:lnTo>
                    <a:pt x="685" y="808"/>
                  </a:lnTo>
                  <a:lnTo>
                    <a:pt x="687" y="810"/>
                  </a:lnTo>
                  <a:lnTo>
                    <a:pt x="689" y="812"/>
                  </a:lnTo>
                  <a:lnTo>
                    <a:pt x="689" y="809"/>
                  </a:lnTo>
                  <a:lnTo>
                    <a:pt x="689" y="807"/>
                  </a:lnTo>
                  <a:lnTo>
                    <a:pt x="690" y="805"/>
                  </a:lnTo>
                  <a:lnTo>
                    <a:pt x="690" y="803"/>
                  </a:lnTo>
                  <a:lnTo>
                    <a:pt x="689" y="799"/>
                  </a:lnTo>
                  <a:lnTo>
                    <a:pt x="688" y="797"/>
                  </a:lnTo>
                  <a:lnTo>
                    <a:pt x="688" y="796"/>
                  </a:lnTo>
                  <a:lnTo>
                    <a:pt x="690" y="796"/>
                  </a:lnTo>
                  <a:lnTo>
                    <a:pt x="693" y="797"/>
                  </a:lnTo>
                  <a:lnTo>
                    <a:pt x="693" y="799"/>
                  </a:lnTo>
                  <a:lnTo>
                    <a:pt x="692" y="803"/>
                  </a:lnTo>
                  <a:lnTo>
                    <a:pt x="692" y="807"/>
                  </a:lnTo>
                  <a:lnTo>
                    <a:pt x="692" y="810"/>
                  </a:lnTo>
                  <a:lnTo>
                    <a:pt x="693" y="813"/>
                  </a:lnTo>
                  <a:lnTo>
                    <a:pt x="694" y="809"/>
                  </a:lnTo>
                  <a:lnTo>
                    <a:pt x="694" y="804"/>
                  </a:lnTo>
                  <a:lnTo>
                    <a:pt x="694" y="807"/>
                  </a:lnTo>
                  <a:lnTo>
                    <a:pt x="694" y="809"/>
                  </a:lnTo>
                  <a:lnTo>
                    <a:pt x="695" y="809"/>
                  </a:lnTo>
                  <a:lnTo>
                    <a:pt x="696" y="808"/>
                  </a:lnTo>
                  <a:lnTo>
                    <a:pt x="696" y="804"/>
                  </a:lnTo>
                  <a:lnTo>
                    <a:pt x="696" y="801"/>
                  </a:lnTo>
                  <a:lnTo>
                    <a:pt x="696" y="798"/>
                  </a:lnTo>
                  <a:lnTo>
                    <a:pt x="698" y="798"/>
                  </a:lnTo>
                  <a:lnTo>
                    <a:pt x="698" y="802"/>
                  </a:lnTo>
                  <a:lnTo>
                    <a:pt x="698" y="810"/>
                  </a:lnTo>
                  <a:lnTo>
                    <a:pt x="699" y="812"/>
                  </a:lnTo>
                  <a:lnTo>
                    <a:pt x="700" y="814"/>
                  </a:lnTo>
                  <a:lnTo>
                    <a:pt x="700" y="812"/>
                  </a:lnTo>
                  <a:lnTo>
                    <a:pt x="700" y="805"/>
                  </a:lnTo>
                  <a:lnTo>
                    <a:pt x="700" y="803"/>
                  </a:lnTo>
                  <a:lnTo>
                    <a:pt x="701" y="805"/>
                  </a:lnTo>
                  <a:lnTo>
                    <a:pt x="701" y="809"/>
                  </a:lnTo>
                  <a:lnTo>
                    <a:pt x="701" y="814"/>
                  </a:lnTo>
                  <a:lnTo>
                    <a:pt x="702" y="815"/>
                  </a:lnTo>
                  <a:lnTo>
                    <a:pt x="704" y="813"/>
                  </a:lnTo>
                  <a:lnTo>
                    <a:pt x="704" y="809"/>
                  </a:lnTo>
                  <a:lnTo>
                    <a:pt x="705" y="805"/>
                  </a:lnTo>
                  <a:lnTo>
                    <a:pt x="705" y="804"/>
                  </a:lnTo>
                  <a:lnTo>
                    <a:pt x="706" y="805"/>
                  </a:lnTo>
                  <a:lnTo>
                    <a:pt x="707" y="804"/>
                  </a:lnTo>
                  <a:lnTo>
                    <a:pt x="708" y="804"/>
                  </a:lnTo>
                  <a:lnTo>
                    <a:pt x="710" y="807"/>
                  </a:lnTo>
                  <a:lnTo>
                    <a:pt x="711" y="808"/>
                  </a:lnTo>
                  <a:lnTo>
                    <a:pt x="711" y="809"/>
                  </a:lnTo>
                  <a:lnTo>
                    <a:pt x="713" y="812"/>
                  </a:lnTo>
                  <a:lnTo>
                    <a:pt x="713" y="808"/>
                  </a:lnTo>
                  <a:lnTo>
                    <a:pt x="712" y="805"/>
                  </a:lnTo>
                  <a:lnTo>
                    <a:pt x="714" y="807"/>
                  </a:lnTo>
                  <a:lnTo>
                    <a:pt x="718" y="807"/>
                  </a:lnTo>
                  <a:lnTo>
                    <a:pt x="717" y="805"/>
                  </a:lnTo>
                  <a:lnTo>
                    <a:pt x="713" y="803"/>
                  </a:lnTo>
                  <a:lnTo>
                    <a:pt x="713" y="802"/>
                  </a:lnTo>
                  <a:lnTo>
                    <a:pt x="711" y="802"/>
                  </a:lnTo>
                  <a:lnTo>
                    <a:pt x="710" y="802"/>
                  </a:lnTo>
                  <a:lnTo>
                    <a:pt x="708" y="801"/>
                  </a:lnTo>
                  <a:lnTo>
                    <a:pt x="706" y="802"/>
                  </a:lnTo>
                  <a:lnTo>
                    <a:pt x="705" y="799"/>
                  </a:lnTo>
                  <a:lnTo>
                    <a:pt x="701" y="797"/>
                  </a:lnTo>
                  <a:lnTo>
                    <a:pt x="696" y="795"/>
                  </a:lnTo>
                  <a:lnTo>
                    <a:pt x="694" y="793"/>
                  </a:lnTo>
                  <a:lnTo>
                    <a:pt x="693" y="795"/>
                  </a:lnTo>
                  <a:lnTo>
                    <a:pt x="688" y="793"/>
                  </a:lnTo>
                  <a:lnTo>
                    <a:pt x="687" y="793"/>
                  </a:lnTo>
                  <a:lnTo>
                    <a:pt x="684" y="793"/>
                  </a:lnTo>
                  <a:lnTo>
                    <a:pt x="679" y="793"/>
                  </a:lnTo>
                  <a:lnTo>
                    <a:pt x="676" y="793"/>
                  </a:lnTo>
                  <a:lnTo>
                    <a:pt x="675" y="795"/>
                  </a:lnTo>
                  <a:lnTo>
                    <a:pt x="671" y="795"/>
                  </a:lnTo>
                  <a:lnTo>
                    <a:pt x="669" y="796"/>
                  </a:lnTo>
                  <a:lnTo>
                    <a:pt x="667" y="796"/>
                  </a:lnTo>
                  <a:lnTo>
                    <a:pt x="664" y="797"/>
                  </a:lnTo>
                  <a:lnTo>
                    <a:pt x="661" y="798"/>
                  </a:lnTo>
                  <a:lnTo>
                    <a:pt x="657" y="798"/>
                  </a:lnTo>
                  <a:lnTo>
                    <a:pt x="651" y="798"/>
                  </a:lnTo>
                  <a:lnTo>
                    <a:pt x="651" y="799"/>
                  </a:lnTo>
                  <a:lnTo>
                    <a:pt x="649" y="799"/>
                  </a:lnTo>
                  <a:lnTo>
                    <a:pt x="648" y="798"/>
                  </a:lnTo>
                  <a:lnTo>
                    <a:pt x="646" y="798"/>
                  </a:lnTo>
                  <a:lnTo>
                    <a:pt x="645" y="799"/>
                  </a:lnTo>
                  <a:lnTo>
                    <a:pt x="641" y="799"/>
                  </a:lnTo>
                  <a:lnTo>
                    <a:pt x="641" y="801"/>
                  </a:lnTo>
                  <a:lnTo>
                    <a:pt x="640" y="801"/>
                  </a:lnTo>
                  <a:lnTo>
                    <a:pt x="637" y="799"/>
                  </a:lnTo>
                  <a:lnTo>
                    <a:pt x="631" y="799"/>
                  </a:lnTo>
                  <a:lnTo>
                    <a:pt x="626" y="799"/>
                  </a:lnTo>
                  <a:lnTo>
                    <a:pt x="624" y="798"/>
                  </a:lnTo>
                  <a:lnTo>
                    <a:pt x="623" y="799"/>
                  </a:lnTo>
                  <a:lnTo>
                    <a:pt x="622" y="799"/>
                  </a:lnTo>
                  <a:lnTo>
                    <a:pt x="620" y="802"/>
                  </a:lnTo>
                  <a:lnTo>
                    <a:pt x="619" y="801"/>
                  </a:lnTo>
                  <a:lnTo>
                    <a:pt x="618" y="801"/>
                  </a:lnTo>
                  <a:lnTo>
                    <a:pt x="617" y="801"/>
                  </a:lnTo>
                  <a:lnTo>
                    <a:pt x="616" y="799"/>
                  </a:lnTo>
                  <a:lnTo>
                    <a:pt x="614" y="797"/>
                  </a:lnTo>
                  <a:lnTo>
                    <a:pt x="611" y="796"/>
                  </a:lnTo>
                  <a:lnTo>
                    <a:pt x="608" y="796"/>
                  </a:lnTo>
                  <a:lnTo>
                    <a:pt x="604" y="795"/>
                  </a:lnTo>
                  <a:lnTo>
                    <a:pt x="599" y="792"/>
                  </a:lnTo>
                  <a:lnTo>
                    <a:pt x="595" y="790"/>
                  </a:lnTo>
                  <a:lnTo>
                    <a:pt x="595" y="789"/>
                  </a:lnTo>
                  <a:lnTo>
                    <a:pt x="598" y="790"/>
                  </a:lnTo>
                  <a:lnTo>
                    <a:pt x="601" y="792"/>
                  </a:lnTo>
                  <a:lnTo>
                    <a:pt x="601" y="791"/>
                  </a:lnTo>
                  <a:lnTo>
                    <a:pt x="596" y="787"/>
                  </a:lnTo>
                  <a:lnTo>
                    <a:pt x="598" y="786"/>
                  </a:lnTo>
                  <a:lnTo>
                    <a:pt x="602" y="786"/>
                  </a:lnTo>
                  <a:lnTo>
                    <a:pt x="604" y="786"/>
                  </a:lnTo>
                  <a:lnTo>
                    <a:pt x="598" y="785"/>
                  </a:lnTo>
                  <a:lnTo>
                    <a:pt x="595" y="784"/>
                  </a:lnTo>
                  <a:lnTo>
                    <a:pt x="595" y="783"/>
                  </a:lnTo>
                  <a:lnTo>
                    <a:pt x="594" y="781"/>
                  </a:lnTo>
                  <a:lnTo>
                    <a:pt x="593" y="781"/>
                  </a:lnTo>
                  <a:lnTo>
                    <a:pt x="590" y="781"/>
                  </a:lnTo>
                  <a:lnTo>
                    <a:pt x="592" y="783"/>
                  </a:lnTo>
                  <a:lnTo>
                    <a:pt x="592" y="784"/>
                  </a:lnTo>
                  <a:lnTo>
                    <a:pt x="592" y="785"/>
                  </a:lnTo>
                  <a:lnTo>
                    <a:pt x="588" y="787"/>
                  </a:lnTo>
                  <a:lnTo>
                    <a:pt x="587" y="789"/>
                  </a:lnTo>
                  <a:lnTo>
                    <a:pt x="583" y="789"/>
                  </a:lnTo>
                  <a:lnTo>
                    <a:pt x="580" y="786"/>
                  </a:lnTo>
                  <a:lnTo>
                    <a:pt x="572" y="784"/>
                  </a:lnTo>
                  <a:lnTo>
                    <a:pt x="571" y="784"/>
                  </a:lnTo>
                  <a:lnTo>
                    <a:pt x="570" y="785"/>
                  </a:lnTo>
                  <a:lnTo>
                    <a:pt x="569" y="785"/>
                  </a:lnTo>
                  <a:lnTo>
                    <a:pt x="565" y="786"/>
                  </a:lnTo>
                  <a:lnTo>
                    <a:pt x="563" y="785"/>
                  </a:lnTo>
                  <a:lnTo>
                    <a:pt x="560" y="784"/>
                  </a:lnTo>
                  <a:lnTo>
                    <a:pt x="560" y="781"/>
                  </a:lnTo>
                  <a:lnTo>
                    <a:pt x="558" y="781"/>
                  </a:lnTo>
                  <a:lnTo>
                    <a:pt x="554" y="781"/>
                  </a:lnTo>
                  <a:lnTo>
                    <a:pt x="553" y="780"/>
                  </a:lnTo>
                  <a:lnTo>
                    <a:pt x="551" y="780"/>
                  </a:lnTo>
                  <a:lnTo>
                    <a:pt x="548" y="779"/>
                  </a:lnTo>
                  <a:lnTo>
                    <a:pt x="546" y="769"/>
                  </a:lnTo>
                  <a:lnTo>
                    <a:pt x="543" y="767"/>
                  </a:lnTo>
                  <a:lnTo>
                    <a:pt x="543" y="765"/>
                  </a:lnTo>
                  <a:lnTo>
                    <a:pt x="545" y="761"/>
                  </a:lnTo>
                  <a:lnTo>
                    <a:pt x="545" y="756"/>
                  </a:lnTo>
                  <a:lnTo>
                    <a:pt x="546" y="756"/>
                  </a:lnTo>
                  <a:lnTo>
                    <a:pt x="549" y="759"/>
                  </a:lnTo>
                  <a:lnTo>
                    <a:pt x="552" y="759"/>
                  </a:lnTo>
                  <a:lnTo>
                    <a:pt x="553" y="761"/>
                  </a:lnTo>
                  <a:lnTo>
                    <a:pt x="554" y="762"/>
                  </a:lnTo>
                  <a:lnTo>
                    <a:pt x="555" y="765"/>
                  </a:lnTo>
                  <a:lnTo>
                    <a:pt x="555" y="768"/>
                  </a:lnTo>
                  <a:lnTo>
                    <a:pt x="557" y="772"/>
                  </a:lnTo>
                  <a:lnTo>
                    <a:pt x="558" y="772"/>
                  </a:lnTo>
                  <a:lnTo>
                    <a:pt x="559" y="769"/>
                  </a:lnTo>
                  <a:lnTo>
                    <a:pt x="559" y="767"/>
                  </a:lnTo>
                  <a:lnTo>
                    <a:pt x="558" y="765"/>
                  </a:lnTo>
                  <a:lnTo>
                    <a:pt x="560" y="762"/>
                  </a:lnTo>
                  <a:lnTo>
                    <a:pt x="561" y="765"/>
                  </a:lnTo>
                  <a:lnTo>
                    <a:pt x="561" y="767"/>
                  </a:lnTo>
                  <a:lnTo>
                    <a:pt x="563" y="769"/>
                  </a:lnTo>
                  <a:lnTo>
                    <a:pt x="563" y="771"/>
                  </a:lnTo>
                  <a:lnTo>
                    <a:pt x="564" y="769"/>
                  </a:lnTo>
                  <a:lnTo>
                    <a:pt x="565" y="767"/>
                  </a:lnTo>
                  <a:lnTo>
                    <a:pt x="564" y="765"/>
                  </a:lnTo>
                  <a:lnTo>
                    <a:pt x="565" y="763"/>
                  </a:lnTo>
                  <a:lnTo>
                    <a:pt x="565" y="762"/>
                  </a:lnTo>
                  <a:lnTo>
                    <a:pt x="564" y="761"/>
                  </a:lnTo>
                  <a:lnTo>
                    <a:pt x="565" y="759"/>
                  </a:lnTo>
                  <a:lnTo>
                    <a:pt x="566" y="761"/>
                  </a:lnTo>
                  <a:lnTo>
                    <a:pt x="566" y="759"/>
                  </a:lnTo>
                  <a:lnTo>
                    <a:pt x="567" y="759"/>
                  </a:lnTo>
                  <a:lnTo>
                    <a:pt x="569" y="760"/>
                  </a:lnTo>
                  <a:lnTo>
                    <a:pt x="571" y="759"/>
                  </a:lnTo>
                  <a:lnTo>
                    <a:pt x="570" y="757"/>
                  </a:lnTo>
                  <a:lnTo>
                    <a:pt x="571" y="756"/>
                  </a:lnTo>
                  <a:lnTo>
                    <a:pt x="571" y="759"/>
                  </a:lnTo>
                  <a:lnTo>
                    <a:pt x="572" y="761"/>
                  </a:lnTo>
                  <a:lnTo>
                    <a:pt x="571" y="765"/>
                  </a:lnTo>
                  <a:lnTo>
                    <a:pt x="572" y="767"/>
                  </a:lnTo>
                  <a:lnTo>
                    <a:pt x="572" y="765"/>
                  </a:lnTo>
                  <a:lnTo>
                    <a:pt x="574" y="762"/>
                  </a:lnTo>
                  <a:lnTo>
                    <a:pt x="575" y="761"/>
                  </a:lnTo>
                  <a:lnTo>
                    <a:pt x="574" y="759"/>
                  </a:lnTo>
                  <a:lnTo>
                    <a:pt x="574" y="755"/>
                  </a:lnTo>
                  <a:lnTo>
                    <a:pt x="575" y="753"/>
                  </a:lnTo>
                  <a:lnTo>
                    <a:pt x="575" y="755"/>
                  </a:lnTo>
                  <a:lnTo>
                    <a:pt x="576" y="756"/>
                  </a:lnTo>
                  <a:lnTo>
                    <a:pt x="578" y="756"/>
                  </a:lnTo>
                  <a:lnTo>
                    <a:pt x="578" y="759"/>
                  </a:lnTo>
                  <a:lnTo>
                    <a:pt x="578" y="765"/>
                  </a:lnTo>
                  <a:lnTo>
                    <a:pt x="578" y="769"/>
                  </a:lnTo>
                  <a:lnTo>
                    <a:pt x="580" y="765"/>
                  </a:lnTo>
                  <a:lnTo>
                    <a:pt x="580" y="761"/>
                  </a:lnTo>
                  <a:lnTo>
                    <a:pt x="580" y="756"/>
                  </a:lnTo>
                  <a:lnTo>
                    <a:pt x="580" y="753"/>
                  </a:lnTo>
                  <a:lnTo>
                    <a:pt x="581" y="753"/>
                  </a:lnTo>
                  <a:lnTo>
                    <a:pt x="582" y="759"/>
                  </a:lnTo>
                  <a:lnTo>
                    <a:pt x="583" y="760"/>
                  </a:lnTo>
                  <a:lnTo>
                    <a:pt x="583" y="757"/>
                  </a:lnTo>
                  <a:lnTo>
                    <a:pt x="584" y="757"/>
                  </a:lnTo>
                  <a:lnTo>
                    <a:pt x="584" y="760"/>
                  </a:lnTo>
                  <a:lnTo>
                    <a:pt x="586" y="766"/>
                  </a:lnTo>
                  <a:lnTo>
                    <a:pt x="587" y="762"/>
                  </a:lnTo>
                  <a:lnTo>
                    <a:pt x="587" y="760"/>
                  </a:lnTo>
                  <a:lnTo>
                    <a:pt x="587" y="756"/>
                  </a:lnTo>
                  <a:lnTo>
                    <a:pt x="587" y="747"/>
                  </a:lnTo>
                  <a:lnTo>
                    <a:pt x="588" y="747"/>
                  </a:lnTo>
                  <a:lnTo>
                    <a:pt x="590" y="750"/>
                  </a:lnTo>
                  <a:lnTo>
                    <a:pt x="590" y="754"/>
                  </a:lnTo>
                  <a:lnTo>
                    <a:pt x="589" y="757"/>
                  </a:lnTo>
                  <a:lnTo>
                    <a:pt x="588" y="763"/>
                  </a:lnTo>
                  <a:lnTo>
                    <a:pt x="589" y="767"/>
                  </a:lnTo>
                  <a:lnTo>
                    <a:pt x="590" y="766"/>
                  </a:lnTo>
                  <a:lnTo>
                    <a:pt x="592" y="762"/>
                  </a:lnTo>
                  <a:lnTo>
                    <a:pt x="593" y="762"/>
                  </a:lnTo>
                  <a:lnTo>
                    <a:pt x="593" y="763"/>
                  </a:lnTo>
                  <a:lnTo>
                    <a:pt x="594" y="763"/>
                  </a:lnTo>
                  <a:lnTo>
                    <a:pt x="595" y="761"/>
                  </a:lnTo>
                  <a:lnTo>
                    <a:pt x="594" y="757"/>
                  </a:lnTo>
                  <a:lnTo>
                    <a:pt x="594" y="754"/>
                  </a:lnTo>
                  <a:lnTo>
                    <a:pt x="594" y="750"/>
                  </a:lnTo>
                  <a:lnTo>
                    <a:pt x="595" y="750"/>
                  </a:lnTo>
                  <a:lnTo>
                    <a:pt x="595" y="754"/>
                  </a:lnTo>
                  <a:lnTo>
                    <a:pt x="595" y="760"/>
                  </a:lnTo>
                  <a:lnTo>
                    <a:pt x="596" y="762"/>
                  </a:lnTo>
                  <a:lnTo>
                    <a:pt x="598" y="763"/>
                  </a:lnTo>
                  <a:lnTo>
                    <a:pt x="598" y="760"/>
                  </a:lnTo>
                  <a:lnTo>
                    <a:pt x="599" y="759"/>
                  </a:lnTo>
                  <a:lnTo>
                    <a:pt x="600" y="762"/>
                  </a:lnTo>
                  <a:lnTo>
                    <a:pt x="600" y="765"/>
                  </a:lnTo>
                  <a:lnTo>
                    <a:pt x="599" y="767"/>
                  </a:lnTo>
                  <a:lnTo>
                    <a:pt x="600" y="771"/>
                  </a:lnTo>
                  <a:lnTo>
                    <a:pt x="601" y="767"/>
                  </a:lnTo>
                  <a:lnTo>
                    <a:pt x="601" y="769"/>
                  </a:lnTo>
                  <a:lnTo>
                    <a:pt x="601" y="771"/>
                  </a:lnTo>
                  <a:lnTo>
                    <a:pt x="602" y="772"/>
                  </a:lnTo>
                  <a:lnTo>
                    <a:pt x="605" y="773"/>
                  </a:lnTo>
                  <a:lnTo>
                    <a:pt x="604" y="767"/>
                  </a:lnTo>
                  <a:lnTo>
                    <a:pt x="604" y="765"/>
                  </a:lnTo>
                  <a:lnTo>
                    <a:pt x="604" y="761"/>
                  </a:lnTo>
                  <a:lnTo>
                    <a:pt x="606" y="759"/>
                  </a:lnTo>
                  <a:lnTo>
                    <a:pt x="606" y="760"/>
                  </a:lnTo>
                  <a:lnTo>
                    <a:pt x="606" y="762"/>
                  </a:lnTo>
                  <a:lnTo>
                    <a:pt x="606" y="765"/>
                  </a:lnTo>
                  <a:lnTo>
                    <a:pt x="606" y="768"/>
                  </a:lnTo>
                  <a:lnTo>
                    <a:pt x="606" y="772"/>
                  </a:lnTo>
                  <a:lnTo>
                    <a:pt x="606" y="773"/>
                  </a:lnTo>
                  <a:lnTo>
                    <a:pt x="607" y="773"/>
                  </a:lnTo>
                  <a:lnTo>
                    <a:pt x="607" y="771"/>
                  </a:lnTo>
                  <a:lnTo>
                    <a:pt x="607" y="768"/>
                  </a:lnTo>
                  <a:lnTo>
                    <a:pt x="610" y="766"/>
                  </a:lnTo>
                  <a:lnTo>
                    <a:pt x="610" y="762"/>
                  </a:lnTo>
                  <a:lnTo>
                    <a:pt x="611" y="762"/>
                  </a:lnTo>
                  <a:lnTo>
                    <a:pt x="613" y="765"/>
                  </a:lnTo>
                  <a:lnTo>
                    <a:pt x="614" y="768"/>
                  </a:lnTo>
                  <a:lnTo>
                    <a:pt x="614" y="771"/>
                  </a:lnTo>
                  <a:lnTo>
                    <a:pt x="617" y="766"/>
                  </a:lnTo>
                  <a:lnTo>
                    <a:pt x="624" y="768"/>
                  </a:lnTo>
                  <a:lnTo>
                    <a:pt x="622" y="766"/>
                  </a:lnTo>
                  <a:lnTo>
                    <a:pt x="618" y="763"/>
                  </a:lnTo>
                  <a:lnTo>
                    <a:pt x="618" y="761"/>
                  </a:lnTo>
                  <a:lnTo>
                    <a:pt x="616" y="761"/>
                  </a:lnTo>
                  <a:lnTo>
                    <a:pt x="614" y="760"/>
                  </a:lnTo>
                  <a:lnTo>
                    <a:pt x="610" y="759"/>
                  </a:lnTo>
                  <a:lnTo>
                    <a:pt x="607" y="755"/>
                  </a:lnTo>
                  <a:lnTo>
                    <a:pt x="605" y="754"/>
                  </a:lnTo>
                  <a:lnTo>
                    <a:pt x="602" y="750"/>
                  </a:lnTo>
                  <a:lnTo>
                    <a:pt x="599" y="749"/>
                  </a:lnTo>
                  <a:lnTo>
                    <a:pt x="587" y="743"/>
                  </a:lnTo>
                  <a:lnTo>
                    <a:pt x="586" y="742"/>
                  </a:lnTo>
                  <a:lnTo>
                    <a:pt x="588" y="741"/>
                  </a:lnTo>
                  <a:lnTo>
                    <a:pt x="589" y="741"/>
                  </a:lnTo>
                  <a:lnTo>
                    <a:pt x="592" y="743"/>
                  </a:lnTo>
                  <a:lnTo>
                    <a:pt x="592" y="742"/>
                  </a:lnTo>
                  <a:lnTo>
                    <a:pt x="593" y="742"/>
                  </a:lnTo>
                  <a:lnTo>
                    <a:pt x="596" y="744"/>
                  </a:lnTo>
                  <a:lnTo>
                    <a:pt x="598" y="745"/>
                  </a:lnTo>
                  <a:lnTo>
                    <a:pt x="598" y="743"/>
                  </a:lnTo>
                  <a:lnTo>
                    <a:pt x="599" y="741"/>
                  </a:lnTo>
                  <a:lnTo>
                    <a:pt x="599" y="738"/>
                  </a:lnTo>
                  <a:lnTo>
                    <a:pt x="600" y="738"/>
                  </a:lnTo>
                  <a:lnTo>
                    <a:pt x="599" y="736"/>
                  </a:lnTo>
                  <a:lnTo>
                    <a:pt x="598" y="732"/>
                  </a:lnTo>
                  <a:lnTo>
                    <a:pt x="595" y="731"/>
                  </a:lnTo>
                  <a:lnTo>
                    <a:pt x="595" y="730"/>
                  </a:lnTo>
                  <a:lnTo>
                    <a:pt x="596" y="726"/>
                  </a:lnTo>
                  <a:lnTo>
                    <a:pt x="598" y="723"/>
                  </a:lnTo>
                  <a:lnTo>
                    <a:pt x="599" y="723"/>
                  </a:lnTo>
                  <a:lnTo>
                    <a:pt x="599" y="727"/>
                  </a:lnTo>
                  <a:lnTo>
                    <a:pt x="599" y="731"/>
                  </a:lnTo>
                  <a:lnTo>
                    <a:pt x="601" y="731"/>
                  </a:lnTo>
                  <a:lnTo>
                    <a:pt x="601" y="729"/>
                  </a:lnTo>
                  <a:lnTo>
                    <a:pt x="604" y="729"/>
                  </a:lnTo>
                  <a:lnTo>
                    <a:pt x="605" y="730"/>
                  </a:lnTo>
                  <a:lnTo>
                    <a:pt x="606" y="730"/>
                  </a:lnTo>
                  <a:lnTo>
                    <a:pt x="607" y="731"/>
                  </a:lnTo>
                  <a:lnTo>
                    <a:pt x="608" y="731"/>
                  </a:lnTo>
                  <a:lnTo>
                    <a:pt x="611" y="730"/>
                  </a:lnTo>
                  <a:lnTo>
                    <a:pt x="610" y="729"/>
                  </a:lnTo>
                  <a:lnTo>
                    <a:pt x="607" y="726"/>
                  </a:lnTo>
                  <a:lnTo>
                    <a:pt x="606" y="724"/>
                  </a:lnTo>
                  <a:lnTo>
                    <a:pt x="606" y="721"/>
                  </a:lnTo>
                  <a:lnTo>
                    <a:pt x="607" y="718"/>
                  </a:lnTo>
                  <a:lnTo>
                    <a:pt x="608" y="719"/>
                  </a:lnTo>
                  <a:lnTo>
                    <a:pt x="610" y="721"/>
                  </a:lnTo>
                  <a:lnTo>
                    <a:pt x="611" y="725"/>
                  </a:lnTo>
                  <a:lnTo>
                    <a:pt x="611" y="726"/>
                  </a:lnTo>
                  <a:lnTo>
                    <a:pt x="614" y="725"/>
                  </a:lnTo>
                  <a:lnTo>
                    <a:pt x="614" y="724"/>
                  </a:lnTo>
                  <a:lnTo>
                    <a:pt x="616" y="727"/>
                  </a:lnTo>
                  <a:lnTo>
                    <a:pt x="616" y="732"/>
                  </a:lnTo>
                  <a:lnTo>
                    <a:pt x="617" y="735"/>
                  </a:lnTo>
                  <a:lnTo>
                    <a:pt x="618" y="732"/>
                  </a:lnTo>
                  <a:lnTo>
                    <a:pt x="618" y="729"/>
                  </a:lnTo>
                  <a:lnTo>
                    <a:pt x="619" y="726"/>
                  </a:lnTo>
                  <a:lnTo>
                    <a:pt x="619" y="721"/>
                  </a:lnTo>
                  <a:lnTo>
                    <a:pt x="622" y="718"/>
                  </a:lnTo>
                  <a:lnTo>
                    <a:pt x="623" y="718"/>
                  </a:lnTo>
                  <a:lnTo>
                    <a:pt x="626" y="719"/>
                  </a:lnTo>
                  <a:lnTo>
                    <a:pt x="626" y="725"/>
                  </a:lnTo>
                  <a:lnTo>
                    <a:pt x="626" y="732"/>
                  </a:lnTo>
                  <a:lnTo>
                    <a:pt x="628" y="731"/>
                  </a:lnTo>
                  <a:lnTo>
                    <a:pt x="629" y="725"/>
                  </a:lnTo>
                  <a:lnTo>
                    <a:pt x="629" y="719"/>
                  </a:lnTo>
                  <a:lnTo>
                    <a:pt x="629" y="718"/>
                  </a:lnTo>
                  <a:lnTo>
                    <a:pt x="630" y="718"/>
                  </a:lnTo>
                  <a:lnTo>
                    <a:pt x="630" y="719"/>
                  </a:lnTo>
                  <a:lnTo>
                    <a:pt x="630" y="724"/>
                  </a:lnTo>
                  <a:lnTo>
                    <a:pt x="631" y="724"/>
                  </a:lnTo>
                  <a:lnTo>
                    <a:pt x="631" y="726"/>
                  </a:lnTo>
                  <a:lnTo>
                    <a:pt x="633" y="726"/>
                  </a:lnTo>
                  <a:lnTo>
                    <a:pt x="634" y="724"/>
                  </a:lnTo>
                  <a:lnTo>
                    <a:pt x="635" y="719"/>
                  </a:lnTo>
                  <a:lnTo>
                    <a:pt x="636" y="721"/>
                  </a:lnTo>
                  <a:lnTo>
                    <a:pt x="637" y="725"/>
                  </a:lnTo>
                  <a:lnTo>
                    <a:pt x="640" y="724"/>
                  </a:lnTo>
                  <a:lnTo>
                    <a:pt x="641" y="723"/>
                  </a:lnTo>
                  <a:lnTo>
                    <a:pt x="641" y="720"/>
                  </a:lnTo>
                  <a:lnTo>
                    <a:pt x="642" y="719"/>
                  </a:lnTo>
                  <a:lnTo>
                    <a:pt x="646" y="721"/>
                  </a:lnTo>
                  <a:lnTo>
                    <a:pt x="648" y="721"/>
                  </a:lnTo>
                  <a:lnTo>
                    <a:pt x="651" y="721"/>
                  </a:lnTo>
                  <a:lnTo>
                    <a:pt x="649" y="724"/>
                  </a:lnTo>
                  <a:lnTo>
                    <a:pt x="652" y="720"/>
                  </a:lnTo>
                  <a:lnTo>
                    <a:pt x="654" y="721"/>
                  </a:lnTo>
                  <a:lnTo>
                    <a:pt x="655" y="718"/>
                  </a:lnTo>
                  <a:lnTo>
                    <a:pt x="654" y="714"/>
                  </a:lnTo>
                  <a:lnTo>
                    <a:pt x="655" y="713"/>
                  </a:lnTo>
                  <a:lnTo>
                    <a:pt x="654" y="711"/>
                  </a:lnTo>
                  <a:lnTo>
                    <a:pt x="655" y="711"/>
                  </a:lnTo>
                  <a:lnTo>
                    <a:pt x="657" y="713"/>
                  </a:lnTo>
                  <a:lnTo>
                    <a:pt x="655" y="715"/>
                  </a:lnTo>
                  <a:lnTo>
                    <a:pt x="657" y="718"/>
                  </a:lnTo>
                  <a:lnTo>
                    <a:pt x="655" y="721"/>
                  </a:lnTo>
                  <a:lnTo>
                    <a:pt x="657" y="726"/>
                  </a:lnTo>
                  <a:lnTo>
                    <a:pt x="659" y="727"/>
                  </a:lnTo>
                  <a:lnTo>
                    <a:pt x="659" y="726"/>
                  </a:lnTo>
                  <a:lnTo>
                    <a:pt x="659" y="720"/>
                  </a:lnTo>
                  <a:lnTo>
                    <a:pt x="659" y="718"/>
                  </a:lnTo>
                  <a:lnTo>
                    <a:pt x="660" y="715"/>
                  </a:lnTo>
                  <a:lnTo>
                    <a:pt x="661" y="718"/>
                  </a:lnTo>
                  <a:lnTo>
                    <a:pt x="661" y="723"/>
                  </a:lnTo>
                  <a:lnTo>
                    <a:pt x="661" y="725"/>
                  </a:lnTo>
                  <a:lnTo>
                    <a:pt x="661" y="727"/>
                  </a:lnTo>
                  <a:lnTo>
                    <a:pt x="663" y="730"/>
                  </a:lnTo>
                  <a:lnTo>
                    <a:pt x="664" y="729"/>
                  </a:lnTo>
                  <a:lnTo>
                    <a:pt x="664" y="727"/>
                  </a:lnTo>
                  <a:lnTo>
                    <a:pt x="664" y="724"/>
                  </a:lnTo>
                  <a:lnTo>
                    <a:pt x="664" y="719"/>
                  </a:lnTo>
                  <a:lnTo>
                    <a:pt x="664" y="718"/>
                  </a:lnTo>
                  <a:lnTo>
                    <a:pt x="664" y="717"/>
                  </a:lnTo>
                  <a:lnTo>
                    <a:pt x="665" y="718"/>
                  </a:lnTo>
                  <a:lnTo>
                    <a:pt x="666" y="723"/>
                  </a:lnTo>
                  <a:lnTo>
                    <a:pt x="666" y="724"/>
                  </a:lnTo>
                  <a:lnTo>
                    <a:pt x="666" y="726"/>
                  </a:lnTo>
                  <a:lnTo>
                    <a:pt x="669" y="725"/>
                  </a:lnTo>
                  <a:lnTo>
                    <a:pt x="667" y="726"/>
                  </a:lnTo>
                  <a:lnTo>
                    <a:pt x="667" y="732"/>
                  </a:lnTo>
                  <a:lnTo>
                    <a:pt x="667" y="736"/>
                  </a:lnTo>
                  <a:lnTo>
                    <a:pt x="669" y="735"/>
                  </a:lnTo>
                  <a:lnTo>
                    <a:pt x="669" y="733"/>
                  </a:lnTo>
                  <a:lnTo>
                    <a:pt x="670" y="733"/>
                  </a:lnTo>
                  <a:lnTo>
                    <a:pt x="671" y="735"/>
                  </a:lnTo>
                  <a:lnTo>
                    <a:pt x="672" y="731"/>
                  </a:lnTo>
                  <a:lnTo>
                    <a:pt x="672" y="729"/>
                  </a:lnTo>
                  <a:lnTo>
                    <a:pt x="676" y="730"/>
                  </a:lnTo>
                  <a:lnTo>
                    <a:pt x="677" y="729"/>
                  </a:lnTo>
                  <a:lnTo>
                    <a:pt x="677" y="727"/>
                  </a:lnTo>
                  <a:lnTo>
                    <a:pt x="675" y="726"/>
                  </a:lnTo>
                  <a:lnTo>
                    <a:pt x="676" y="724"/>
                  </a:lnTo>
                  <a:lnTo>
                    <a:pt x="677" y="723"/>
                  </a:lnTo>
                  <a:lnTo>
                    <a:pt x="676" y="723"/>
                  </a:lnTo>
                  <a:lnTo>
                    <a:pt x="673" y="723"/>
                  </a:lnTo>
                  <a:lnTo>
                    <a:pt x="669" y="721"/>
                  </a:lnTo>
                  <a:lnTo>
                    <a:pt x="667" y="717"/>
                  </a:lnTo>
                  <a:lnTo>
                    <a:pt x="671" y="717"/>
                  </a:lnTo>
                  <a:lnTo>
                    <a:pt x="669" y="715"/>
                  </a:lnTo>
                  <a:lnTo>
                    <a:pt x="665" y="713"/>
                  </a:lnTo>
                  <a:lnTo>
                    <a:pt x="664" y="712"/>
                  </a:lnTo>
                  <a:lnTo>
                    <a:pt x="658" y="709"/>
                  </a:lnTo>
                  <a:lnTo>
                    <a:pt x="655" y="705"/>
                  </a:lnTo>
                  <a:lnTo>
                    <a:pt x="652" y="703"/>
                  </a:lnTo>
                  <a:lnTo>
                    <a:pt x="647" y="703"/>
                  </a:lnTo>
                  <a:lnTo>
                    <a:pt x="641" y="702"/>
                  </a:lnTo>
                  <a:lnTo>
                    <a:pt x="637" y="702"/>
                  </a:lnTo>
                  <a:lnTo>
                    <a:pt x="637" y="700"/>
                  </a:lnTo>
                  <a:lnTo>
                    <a:pt x="639" y="698"/>
                  </a:lnTo>
                  <a:lnTo>
                    <a:pt x="636" y="697"/>
                  </a:lnTo>
                  <a:lnTo>
                    <a:pt x="635" y="697"/>
                  </a:lnTo>
                  <a:lnTo>
                    <a:pt x="634" y="697"/>
                  </a:lnTo>
                  <a:lnTo>
                    <a:pt x="630" y="697"/>
                  </a:lnTo>
                  <a:lnTo>
                    <a:pt x="629" y="697"/>
                  </a:lnTo>
                  <a:lnTo>
                    <a:pt x="629" y="692"/>
                  </a:lnTo>
                  <a:lnTo>
                    <a:pt x="630" y="690"/>
                  </a:lnTo>
                  <a:lnTo>
                    <a:pt x="634" y="689"/>
                  </a:lnTo>
                  <a:lnTo>
                    <a:pt x="635" y="689"/>
                  </a:lnTo>
                  <a:lnTo>
                    <a:pt x="634" y="692"/>
                  </a:lnTo>
                  <a:lnTo>
                    <a:pt x="635" y="692"/>
                  </a:lnTo>
                  <a:lnTo>
                    <a:pt x="637" y="689"/>
                  </a:lnTo>
                  <a:lnTo>
                    <a:pt x="637" y="690"/>
                  </a:lnTo>
                  <a:lnTo>
                    <a:pt x="639" y="692"/>
                  </a:lnTo>
                  <a:lnTo>
                    <a:pt x="640" y="692"/>
                  </a:lnTo>
                  <a:lnTo>
                    <a:pt x="640" y="691"/>
                  </a:lnTo>
                  <a:lnTo>
                    <a:pt x="641" y="690"/>
                  </a:lnTo>
                  <a:lnTo>
                    <a:pt x="641" y="694"/>
                  </a:lnTo>
                  <a:lnTo>
                    <a:pt x="642" y="695"/>
                  </a:lnTo>
                  <a:lnTo>
                    <a:pt x="642" y="698"/>
                  </a:lnTo>
                  <a:lnTo>
                    <a:pt x="645" y="700"/>
                  </a:lnTo>
                  <a:lnTo>
                    <a:pt x="645" y="701"/>
                  </a:lnTo>
                  <a:lnTo>
                    <a:pt x="646" y="701"/>
                  </a:lnTo>
                  <a:lnTo>
                    <a:pt x="646" y="697"/>
                  </a:lnTo>
                  <a:lnTo>
                    <a:pt x="646" y="695"/>
                  </a:lnTo>
                  <a:lnTo>
                    <a:pt x="647" y="692"/>
                  </a:lnTo>
                  <a:lnTo>
                    <a:pt x="648" y="691"/>
                  </a:lnTo>
                  <a:lnTo>
                    <a:pt x="649" y="690"/>
                  </a:lnTo>
                  <a:lnTo>
                    <a:pt x="652" y="692"/>
                  </a:lnTo>
                  <a:lnTo>
                    <a:pt x="653" y="694"/>
                  </a:lnTo>
                  <a:lnTo>
                    <a:pt x="655" y="697"/>
                  </a:lnTo>
                  <a:lnTo>
                    <a:pt x="657" y="697"/>
                  </a:lnTo>
                  <a:lnTo>
                    <a:pt x="658" y="698"/>
                  </a:lnTo>
                  <a:lnTo>
                    <a:pt x="659" y="696"/>
                  </a:lnTo>
                  <a:lnTo>
                    <a:pt x="659" y="695"/>
                  </a:lnTo>
                  <a:lnTo>
                    <a:pt x="659" y="697"/>
                  </a:lnTo>
                  <a:lnTo>
                    <a:pt x="661" y="698"/>
                  </a:lnTo>
                  <a:lnTo>
                    <a:pt x="661" y="700"/>
                  </a:lnTo>
                  <a:lnTo>
                    <a:pt x="663" y="700"/>
                  </a:lnTo>
                  <a:lnTo>
                    <a:pt x="664" y="696"/>
                  </a:lnTo>
                  <a:lnTo>
                    <a:pt x="664" y="692"/>
                  </a:lnTo>
                  <a:lnTo>
                    <a:pt x="664" y="694"/>
                  </a:lnTo>
                  <a:lnTo>
                    <a:pt x="665" y="692"/>
                  </a:lnTo>
                  <a:lnTo>
                    <a:pt x="666" y="691"/>
                  </a:lnTo>
                  <a:lnTo>
                    <a:pt x="667" y="691"/>
                  </a:lnTo>
                  <a:lnTo>
                    <a:pt x="669" y="695"/>
                  </a:lnTo>
                  <a:lnTo>
                    <a:pt x="670" y="697"/>
                  </a:lnTo>
                  <a:lnTo>
                    <a:pt x="670" y="702"/>
                  </a:lnTo>
                  <a:lnTo>
                    <a:pt x="672" y="705"/>
                  </a:lnTo>
                  <a:lnTo>
                    <a:pt x="673" y="703"/>
                  </a:lnTo>
                  <a:lnTo>
                    <a:pt x="673" y="700"/>
                  </a:lnTo>
                  <a:lnTo>
                    <a:pt x="673" y="695"/>
                  </a:lnTo>
                  <a:lnTo>
                    <a:pt x="675" y="691"/>
                  </a:lnTo>
                  <a:lnTo>
                    <a:pt x="676" y="692"/>
                  </a:lnTo>
                  <a:lnTo>
                    <a:pt x="676" y="696"/>
                  </a:lnTo>
                  <a:lnTo>
                    <a:pt x="676" y="700"/>
                  </a:lnTo>
                  <a:lnTo>
                    <a:pt x="676" y="702"/>
                  </a:lnTo>
                  <a:lnTo>
                    <a:pt x="677" y="701"/>
                  </a:lnTo>
                  <a:lnTo>
                    <a:pt x="678" y="698"/>
                  </a:lnTo>
                  <a:lnTo>
                    <a:pt x="679" y="695"/>
                  </a:lnTo>
                  <a:lnTo>
                    <a:pt x="681" y="692"/>
                  </a:lnTo>
                  <a:lnTo>
                    <a:pt x="683" y="695"/>
                  </a:lnTo>
                  <a:lnTo>
                    <a:pt x="685" y="696"/>
                  </a:lnTo>
                  <a:lnTo>
                    <a:pt x="687" y="696"/>
                  </a:lnTo>
                  <a:lnTo>
                    <a:pt x="688" y="696"/>
                  </a:lnTo>
                  <a:lnTo>
                    <a:pt x="690" y="697"/>
                  </a:lnTo>
                  <a:lnTo>
                    <a:pt x="692" y="701"/>
                  </a:lnTo>
                  <a:lnTo>
                    <a:pt x="693" y="705"/>
                  </a:lnTo>
                  <a:lnTo>
                    <a:pt x="694" y="707"/>
                  </a:lnTo>
                  <a:lnTo>
                    <a:pt x="695" y="706"/>
                  </a:lnTo>
                  <a:lnTo>
                    <a:pt x="696" y="706"/>
                  </a:lnTo>
                  <a:lnTo>
                    <a:pt x="696" y="703"/>
                  </a:lnTo>
                  <a:lnTo>
                    <a:pt x="698" y="700"/>
                  </a:lnTo>
                  <a:lnTo>
                    <a:pt x="700" y="701"/>
                  </a:lnTo>
                  <a:lnTo>
                    <a:pt x="701" y="702"/>
                  </a:lnTo>
                  <a:lnTo>
                    <a:pt x="702" y="701"/>
                  </a:lnTo>
                  <a:lnTo>
                    <a:pt x="700" y="697"/>
                  </a:lnTo>
                  <a:lnTo>
                    <a:pt x="698" y="692"/>
                  </a:lnTo>
                  <a:lnTo>
                    <a:pt x="695" y="690"/>
                  </a:lnTo>
                  <a:lnTo>
                    <a:pt x="694" y="686"/>
                  </a:lnTo>
                  <a:lnTo>
                    <a:pt x="693" y="683"/>
                  </a:lnTo>
                  <a:lnTo>
                    <a:pt x="693" y="679"/>
                  </a:lnTo>
                  <a:lnTo>
                    <a:pt x="694" y="680"/>
                  </a:lnTo>
                  <a:lnTo>
                    <a:pt x="695" y="686"/>
                  </a:lnTo>
                  <a:lnTo>
                    <a:pt x="696" y="684"/>
                  </a:lnTo>
                  <a:lnTo>
                    <a:pt x="696" y="680"/>
                  </a:lnTo>
                  <a:lnTo>
                    <a:pt x="698" y="679"/>
                  </a:lnTo>
                  <a:lnTo>
                    <a:pt x="699" y="676"/>
                  </a:lnTo>
                  <a:lnTo>
                    <a:pt x="698" y="673"/>
                  </a:lnTo>
                  <a:lnTo>
                    <a:pt x="695" y="670"/>
                  </a:lnTo>
                  <a:lnTo>
                    <a:pt x="694" y="667"/>
                  </a:lnTo>
                  <a:lnTo>
                    <a:pt x="695" y="666"/>
                  </a:lnTo>
                  <a:lnTo>
                    <a:pt x="699" y="667"/>
                  </a:lnTo>
                  <a:lnTo>
                    <a:pt x="700" y="667"/>
                  </a:lnTo>
                  <a:lnTo>
                    <a:pt x="700" y="676"/>
                  </a:lnTo>
                  <a:lnTo>
                    <a:pt x="701" y="682"/>
                  </a:lnTo>
                  <a:lnTo>
                    <a:pt x="702" y="683"/>
                  </a:lnTo>
                  <a:lnTo>
                    <a:pt x="702" y="680"/>
                  </a:lnTo>
                  <a:lnTo>
                    <a:pt x="702" y="677"/>
                  </a:lnTo>
                  <a:lnTo>
                    <a:pt x="704" y="672"/>
                  </a:lnTo>
                  <a:lnTo>
                    <a:pt x="704" y="668"/>
                  </a:lnTo>
                  <a:lnTo>
                    <a:pt x="705" y="672"/>
                  </a:lnTo>
                  <a:lnTo>
                    <a:pt x="705" y="676"/>
                  </a:lnTo>
                  <a:lnTo>
                    <a:pt x="706" y="678"/>
                  </a:lnTo>
                  <a:lnTo>
                    <a:pt x="706" y="680"/>
                  </a:lnTo>
                  <a:lnTo>
                    <a:pt x="706" y="685"/>
                  </a:lnTo>
                  <a:lnTo>
                    <a:pt x="706" y="686"/>
                  </a:lnTo>
                  <a:lnTo>
                    <a:pt x="708" y="686"/>
                  </a:lnTo>
                  <a:lnTo>
                    <a:pt x="710" y="683"/>
                  </a:lnTo>
                  <a:lnTo>
                    <a:pt x="710" y="678"/>
                  </a:lnTo>
                  <a:lnTo>
                    <a:pt x="710" y="676"/>
                  </a:lnTo>
                  <a:lnTo>
                    <a:pt x="711" y="674"/>
                  </a:lnTo>
                  <a:lnTo>
                    <a:pt x="712" y="673"/>
                  </a:lnTo>
                  <a:lnTo>
                    <a:pt x="713" y="677"/>
                  </a:lnTo>
                  <a:lnTo>
                    <a:pt x="716" y="677"/>
                  </a:lnTo>
                  <a:lnTo>
                    <a:pt x="716" y="674"/>
                  </a:lnTo>
                  <a:lnTo>
                    <a:pt x="716" y="673"/>
                  </a:lnTo>
                  <a:lnTo>
                    <a:pt x="718" y="673"/>
                  </a:lnTo>
                  <a:lnTo>
                    <a:pt x="719" y="676"/>
                  </a:lnTo>
                  <a:lnTo>
                    <a:pt x="720" y="674"/>
                  </a:lnTo>
                  <a:lnTo>
                    <a:pt x="720" y="672"/>
                  </a:lnTo>
                  <a:lnTo>
                    <a:pt x="719" y="670"/>
                  </a:lnTo>
                  <a:lnTo>
                    <a:pt x="716" y="671"/>
                  </a:lnTo>
                  <a:lnTo>
                    <a:pt x="713" y="670"/>
                  </a:lnTo>
                  <a:lnTo>
                    <a:pt x="711" y="667"/>
                  </a:lnTo>
                  <a:lnTo>
                    <a:pt x="707" y="665"/>
                  </a:lnTo>
                  <a:lnTo>
                    <a:pt x="706" y="665"/>
                  </a:lnTo>
                  <a:lnTo>
                    <a:pt x="702" y="665"/>
                  </a:lnTo>
                  <a:lnTo>
                    <a:pt x="700" y="664"/>
                  </a:lnTo>
                  <a:lnTo>
                    <a:pt x="695" y="662"/>
                  </a:lnTo>
                  <a:lnTo>
                    <a:pt x="692" y="662"/>
                  </a:lnTo>
                  <a:lnTo>
                    <a:pt x="690" y="661"/>
                  </a:lnTo>
                  <a:lnTo>
                    <a:pt x="689" y="661"/>
                  </a:lnTo>
                  <a:lnTo>
                    <a:pt x="685" y="660"/>
                  </a:lnTo>
                  <a:lnTo>
                    <a:pt x="679" y="659"/>
                  </a:lnTo>
                  <a:lnTo>
                    <a:pt x="681" y="658"/>
                  </a:lnTo>
                  <a:lnTo>
                    <a:pt x="679" y="658"/>
                  </a:lnTo>
                  <a:lnTo>
                    <a:pt x="677" y="659"/>
                  </a:lnTo>
                  <a:lnTo>
                    <a:pt x="676" y="659"/>
                  </a:lnTo>
                  <a:lnTo>
                    <a:pt x="672" y="658"/>
                  </a:lnTo>
                  <a:lnTo>
                    <a:pt x="673" y="655"/>
                  </a:lnTo>
                  <a:lnTo>
                    <a:pt x="671" y="656"/>
                  </a:lnTo>
                  <a:lnTo>
                    <a:pt x="669" y="658"/>
                  </a:lnTo>
                  <a:lnTo>
                    <a:pt x="665" y="656"/>
                  </a:lnTo>
                  <a:lnTo>
                    <a:pt x="657" y="655"/>
                  </a:lnTo>
                  <a:lnTo>
                    <a:pt x="651" y="654"/>
                  </a:lnTo>
                  <a:lnTo>
                    <a:pt x="646" y="654"/>
                  </a:lnTo>
                  <a:lnTo>
                    <a:pt x="641" y="654"/>
                  </a:lnTo>
                  <a:lnTo>
                    <a:pt x="639" y="653"/>
                  </a:lnTo>
                  <a:lnTo>
                    <a:pt x="640" y="652"/>
                  </a:lnTo>
                  <a:lnTo>
                    <a:pt x="642" y="650"/>
                  </a:lnTo>
                  <a:lnTo>
                    <a:pt x="641" y="649"/>
                  </a:lnTo>
                  <a:lnTo>
                    <a:pt x="641" y="647"/>
                  </a:lnTo>
                  <a:lnTo>
                    <a:pt x="639" y="644"/>
                  </a:lnTo>
                  <a:lnTo>
                    <a:pt x="637" y="642"/>
                  </a:lnTo>
                  <a:lnTo>
                    <a:pt x="640" y="640"/>
                  </a:lnTo>
                  <a:lnTo>
                    <a:pt x="641" y="636"/>
                  </a:lnTo>
                  <a:lnTo>
                    <a:pt x="641" y="635"/>
                  </a:lnTo>
                  <a:lnTo>
                    <a:pt x="642" y="635"/>
                  </a:lnTo>
                  <a:lnTo>
                    <a:pt x="642" y="637"/>
                  </a:lnTo>
                  <a:lnTo>
                    <a:pt x="646" y="638"/>
                  </a:lnTo>
                  <a:lnTo>
                    <a:pt x="646" y="642"/>
                  </a:lnTo>
                  <a:lnTo>
                    <a:pt x="647" y="647"/>
                  </a:lnTo>
                  <a:lnTo>
                    <a:pt x="648" y="649"/>
                  </a:lnTo>
                  <a:lnTo>
                    <a:pt x="649" y="648"/>
                  </a:lnTo>
                  <a:lnTo>
                    <a:pt x="651" y="648"/>
                  </a:lnTo>
                  <a:lnTo>
                    <a:pt x="653" y="647"/>
                  </a:lnTo>
                  <a:lnTo>
                    <a:pt x="653" y="646"/>
                  </a:lnTo>
                  <a:lnTo>
                    <a:pt x="654" y="642"/>
                  </a:lnTo>
                  <a:lnTo>
                    <a:pt x="654" y="646"/>
                  </a:lnTo>
                  <a:lnTo>
                    <a:pt x="655" y="647"/>
                  </a:lnTo>
                  <a:lnTo>
                    <a:pt x="655" y="644"/>
                  </a:lnTo>
                  <a:lnTo>
                    <a:pt x="657" y="643"/>
                  </a:lnTo>
                  <a:lnTo>
                    <a:pt x="659" y="643"/>
                  </a:lnTo>
                  <a:lnTo>
                    <a:pt x="663" y="646"/>
                  </a:lnTo>
                  <a:lnTo>
                    <a:pt x="663" y="644"/>
                  </a:lnTo>
                  <a:lnTo>
                    <a:pt x="661" y="642"/>
                  </a:lnTo>
                  <a:lnTo>
                    <a:pt x="658" y="640"/>
                  </a:lnTo>
                  <a:lnTo>
                    <a:pt x="657" y="637"/>
                  </a:lnTo>
                  <a:lnTo>
                    <a:pt x="657" y="635"/>
                  </a:lnTo>
                  <a:lnTo>
                    <a:pt x="658" y="631"/>
                  </a:lnTo>
                  <a:lnTo>
                    <a:pt x="659" y="629"/>
                  </a:lnTo>
                  <a:lnTo>
                    <a:pt x="661" y="629"/>
                  </a:lnTo>
                  <a:lnTo>
                    <a:pt x="663" y="629"/>
                  </a:lnTo>
                  <a:lnTo>
                    <a:pt x="663" y="630"/>
                  </a:lnTo>
                  <a:lnTo>
                    <a:pt x="664" y="630"/>
                  </a:lnTo>
                  <a:lnTo>
                    <a:pt x="667" y="628"/>
                  </a:lnTo>
                  <a:lnTo>
                    <a:pt x="670" y="624"/>
                  </a:lnTo>
                  <a:lnTo>
                    <a:pt x="669" y="628"/>
                  </a:lnTo>
                  <a:lnTo>
                    <a:pt x="667" y="631"/>
                  </a:lnTo>
                  <a:lnTo>
                    <a:pt x="667" y="632"/>
                  </a:lnTo>
                  <a:lnTo>
                    <a:pt x="669" y="637"/>
                  </a:lnTo>
                  <a:lnTo>
                    <a:pt x="671" y="638"/>
                  </a:lnTo>
                  <a:lnTo>
                    <a:pt x="670" y="641"/>
                  </a:lnTo>
                  <a:lnTo>
                    <a:pt x="670" y="643"/>
                  </a:lnTo>
                  <a:lnTo>
                    <a:pt x="671" y="642"/>
                  </a:lnTo>
                  <a:lnTo>
                    <a:pt x="672" y="644"/>
                  </a:lnTo>
                  <a:lnTo>
                    <a:pt x="675" y="644"/>
                  </a:lnTo>
                  <a:lnTo>
                    <a:pt x="676" y="643"/>
                  </a:lnTo>
                  <a:lnTo>
                    <a:pt x="677" y="643"/>
                  </a:lnTo>
                  <a:lnTo>
                    <a:pt x="679" y="644"/>
                  </a:lnTo>
                  <a:lnTo>
                    <a:pt x="682" y="643"/>
                  </a:lnTo>
                  <a:lnTo>
                    <a:pt x="682" y="641"/>
                  </a:lnTo>
                  <a:lnTo>
                    <a:pt x="682" y="638"/>
                  </a:lnTo>
                  <a:lnTo>
                    <a:pt x="684" y="640"/>
                  </a:lnTo>
                  <a:lnTo>
                    <a:pt x="688" y="637"/>
                  </a:lnTo>
                  <a:lnTo>
                    <a:pt x="685" y="636"/>
                  </a:lnTo>
                  <a:lnTo>
                    <a:pt x="682" y="634"/>
                  </a:lnTo>
                  <a:lnTo>
                    <a:pt x="678" y="630"/>
                  </a:lnTo>
                  <a:lnTo>
                    <a:pt x="677" y="628"/>
                  </a:lnTo>
                  <a:lnTo>
                    <a:pt x="676" y="624"/>
                  </a:lnTo>
                  <a:lnTo>
                    <a:pt x="673" y="620"/>
                  </a:lnTo>
                  <a:lnTo>
                    <a:pt x="675" y="619"/>
                  </a:lnTo>
                  <a:lnTo>
                    <a:pt x="672" y="618"/>
                  </a:lnTo>
                  <a:lnTo>
                    <a:pt x="671" y="618"/>
                  </a:lnTo>
                  <a:lnTo>
                    <a:pt x="669" y="616"/>
                  </a:lnTo>
                  <a:lnTo>
                    <a:pt x="666" y="614"/>
                  </a:lnTo>
                  <a:lnTo>
                    <a:pt x="664" y="613"/>
                  </a:lnTo>
                  <a:lnTo>
                    <a:pt x="660" y="612"/>
                  </a:lnTo>
                  <a:lnTo>
                    <a:pt x="655" y="611"/>
                  </a:lnTo>
                  <a:lnTo>
                    <a:pt x="649" y="610"/>
                  </a:lnTo>
                  <a:lnTo>
                    <a:pt x="647" y="610"/>
                  </a:lnTo>
                  <a:lnTo>
                    <a:pt x="646" y="606"/>
                  </a:lnTo>
                  <a:lnTo>
                    <a:pt x="647" y="605"/>
                  </a:lnTo>
                  <a:lnTo>
                    <a:pt x="649" y="604"/>
                  </a:lnTo>
                  <a:lnTo>
                    <a:pt x="648" y="602"/>
                  </a:lnTo>
                  <a:lnTo>
                    <a:pt x="649" y="599"/>
                  </a:lnTo>
                  <a:lnTo>
                    <a:pt x="651" y="599"/>
                  </a:lnTo>
                  <a:lnTo>
                    <a:pt x="653" y="600"/>
                  </a:lnTo>
                  <a:lnTo>
                    <a:pt x="654" y="605"/>
                  </a:lnTo>
                  <a:lnTo>
                    <a:pt x="655" y="605"/>
                  </a:lnTo>
                  <a:lnTo>
                    <a:pt x="657" y="605"/>
                  </a:lnTo>
                  <a:lnTo>
                    <a:pt x="654" y="601"/>
                  </a:lnTo>
                  <a:lnTo>
                    <a:pt x="655" y="599"/>
                  </a:lnTo>
                  <a:lnTo>
                    <a:pt x="658" y="599"/>
                  </a:lnTo>
                  <a:lnTo>
                    <a:pt x="660" y="599"/>
                  </a:lnTo>
                  <a:lnTo>
                    <a:pt x="658" y="598"/>
                  </a:lnTo>
                  <a:lnTo>
                    <a:pt x="657" y="596"/>
                  </a:lnTo>
                  <a:lnTo>
                    <a:pt x="654" y="594"/>
                  </a:lnTo>
                  <a:lnTo>
                    <a:pt x="652" y="595"/>
                  </a:lnTo>
                  <a:lnTo>
                    <a:pt x="649" y="594"/>
                  </a:lnTo>
                  <a:lnTo>
                    <a:pt x="648" y="595"/>
                  </a:lnTo>
                  <a:lnTo>
                    <a:pt x="646" y="595"/>
                  </a:lnTo>
                  <a:lnTo>
                    <a:pt x="643" y="594"/>
                  </a:lnTo>
                  <a:lnTo>
                    <a:pt x="641" y="593"/>
                  </a:lnTo>
                  <a:lnTo>
                    <a:pt x="640" y="593"/>
                  </a:lnTo>
                  <a:lnTo>
                    <a:pt x="637" y="591"/>
                  </a:lnTo>
                  <a:lnTo>
                    <a:pt x="636" y="590"/>
                  </a:lnTo>
                  <a:lnTo>
                    <a:pt x="635" y="588"/>
                  </a:lnTo>
                  <a:lnTo>
                    <a:pt x="634" y="585"/>
                  </a:lnTo>
                  <a:lnTo>
                    <a:pt x="633" y="584"/>
                  </a:lnTo>
                  <a:lnTo>
                    <a:pt x="631" y="587"/>
                  </a:lnTo>
                  <a:lnTo>
                    <a:pt x="630" y="585"/>
                  </a:lnTo>
                  <a:lnTo>
                    <a:pt x="630" y="581"/>
                  </a:lnTo>
                  <a:lnTo>
                    <a:pt x="631" y="581"/>
                  </a:lnTo>
                  <a:lnTo>
                    <a:pt x="633" y="581"/>
                  </a:lnTo>
                  <a:lnTo>
                    <a:pt x="630" y="578"/>
                  </a:lnTo>
                  <a:lnTo>
                    <a:pt x="628" y="576"/>
                  </a:lnTo>
                  <a:lnTo>
                    <a:pt x="623" y="569"/>
                  </a:lnTo>
                  <a:lnTo>
                    <a:pt x="620" y="567"/>
                  </a:lnTo>
                  <a:lnTo>
                    <a:pt x="618" y="565"/>
                  </a:lnTo>
                  <a:lnTo>
                    <a:pt x="618" y="563"/>
                  </a:lnTo>
                  <a:lnTo>
                    <a:pt x="620" y="560"/>
                  </a:lnTo>
                  <a:lnTo>
                    <a:pt x="623" y="559"/>
                  </a:lnTo>
                  <a:lnTo>
                    <a:pt x="623" y="561"/>
                  </a:lnTo>
                  <a:lnTo>
                    <a:pt x="623" y="564"/>
                  </a:lnTo>
                  <a:lnTo>
                    <a:pt x="625" y="564"/>
                  </a:lnTo>
                  <a:lnTo>
                    <a:pt x="625" y="565"/>
                  </a:lnTo>
                  <a:lnTo>
                    <a:pt x="625" y="569"/>
                  </a:lnTo>
                  <a:lnTo>
                    <a:pt x="626" y="570"/>
                  </a:lnTo>
                  <a:lnTo>
                    <a:pt x="626" y="572"/>
                  </a:lnTo>
                  <a:lnTo>
                    <a:pt x="628" y="572"/>
                  </a:lnTo>
                  <a:lnTo>
                    <a:pt x="629" y="571"/>
                  </a:lnTo>
                  <a:lnTo>
                    <a:pt x="630" y="567"/>
                  </a:lnTo>
                  <a:lnTo>
                    <a:pt x="630" y="566"/>
                  </a:lnTo>
                  <a:lnTo>
                    <a:pt x="629" y="564"/>
                  </a:lnTo>
                  <a:lnTo>
                    <a:pt x="630" y="561"/>
                  </a:lnTo>
                  <a:lnTo>
                    <a:pt x="631" y="561"/>
                  </a:lnTo>
                  <a:lnTo>
                    <a:pt x="633" y="564"/>
                  </a:lnTo>
                  <a:lnTo>
                    <a:pt x="634" y="565"/>
                  </a:lnTo>
                  <a:lnTo>
                    <a:pt x="634" y="570"/>
                  </a:lnTo>
                  <a:lnTo>
                    <a:pt x="635" y="573"/>
                  </a:lnTo>
                  <a:lnTo>
                    <a:pt x="636" y="571"/>
                  </a:lnTo>
                  <a:lnTo>
                    <a:pt x="636" y="570"/>
                  </a:lnTo>
                  <a:lnTo>
                    <a:pt x="636" y="565"/>
                  </a:lnTo>
                  <a:lnTo>
                    <a:pt x="637" y="566"/>
                  </a:lnTo>
                  <a:lnTo>
                    <a:pt x="639" y="567"/>
                  </a:lnTo>
                  <a:lnTo>
                    <a:pt x="639" y="565"/>
                  </a:lnTo>
                  <a:lnTo>
                    <a:pt x="641" y="567"/>
                  </a:lnTo>
                  <a:lnTo>
                    <a:pt x="641" y="570"/>
                  </a:lnTo>
                  <a:lnTo>
                    <a:pt x="642" y="571"/>
                  </a:lnTo>
                  <a:lnTo>
                    <a:pt x="643" y="570"/>
                  </a:lnTo>
                  <a:lnTo>
                    <a:pt x="643" y="565"/>
                  </a:lnTo>
                  <a:lnTo>
                    <a:pt x="643" y="561"/>
                  </a:lnTo>
                  <a:lnTo>
                    <a:pt x="645" y="561"/>
                  </a:lnTo>
                  <a:lnTo>
                    <a:pt x="647" y="563"/>
                  </a:lnTo>
                  <a:lnTo>
                    <a:pt x="646" y="567"/>
                  </a:lnTo>
                  <a:lnTo>
                    <a:pt x="645" y="570"/>
                  </a:lnTo>
                  <a:lnTo>
                    <a:pt x="646" y="571"/>
                  </a:lnTo>
                  <a:lnTo>
                    <a:pt x="646" y="576"/>
                  </a:lnTo>
                  <a:lnTo>
                    <a:pt x="646" y="577"/>
                  </a:lnTo>
                  <a:lnTo>
                    <a:pt x="647" y="578"/>
                  </a:lnTo>
                  <a:lnTo>
                    <a:pt x="648" y="579"/>
                  </a:lnTo>
                  <a:lnTo>
                    <a:pt x="649" y="577"/>
                  </a:lnTo>
                  <a:lnTo>
                    <a:pt x="649" y="581"/>
                  </a:lnTo>
                  <a:lnTo>
                    <a:pt x="652" y="581"/>
                  </a:lnTo>
                  <a:lnTo>
                    <a:pt x="653" y="582"/>
                  </a:lnTo>
                  <a:lnTo>
                    <a:pt x="653" y="577"/>
                  </a:lnTo>
                  <a:lnTo>
                    <a:pt x="653" y="573"/>
                  </a:lnTo>
                  <a:lnTo>
                    <a:pt x="653" y="571"/>
                  </a:lnTo>
                  <a:lnTo>
                    <a:pt x="651" y="567"/>
                  </a:lnTo>
                  <a:lnTo>
                    <a:pt x="651" y="566"/>
                  </a:lnTo>
                  <a:lnTo>
                    <a:pt x="649" y="561"/>
                  </a:lnTo>
                  <a:lnTo>
                    <a:pt x="649" y="557"/>
                  </a:lnTo>
                  <a:lnTo>
                    <a:pt x="649" y="551"/>
                  </a:lnTo>
                  <a:lnTo>
                    <a:pt x="651" y="551"/>
                  </a:lnTo>
                  <a:lnTo>
                    <a:pt x="653" y="551"/>
                  </a:lnTo>
                  <a:lnTo>
                    <a:pt x="653" y="554"/>
                  </a:lnTo>
                  <a:lnTo>
                    <a:pt x="653" y="557"/>
                  </a:lnTo>
                  <a:lnTo>
                    <a:pt x="655" y="557"/>
                  </a:lnTo>
                  <a:lnTo>
                    <a:pt x="657" y="555"/>
                  </a:lnTo>
                  <a:lnTo>
                    <a:pt x="657" y="552"/>
                  </a:lnTo>
                  <a:lnTo>
                    <a:pt x="659" y="548"/>
                  </a:lnTo>
                  <a:lnTo>
                    <a:pt x="660" y="547"/>
                  </a:lnTo>
                  <a:lnTo>
                    <a:pt x="659" y="554"/>
                  </a:lnTo>
                  <a:lnTo>
                    <a:pt x="660" y="557"/>
                  </a:lnTo>
                  <a:lnTo>
                    <a:pt x="663" y="555"/>
                  </a:lnTo>
                  <a:lnTo>
                    <a:pt x="664" y="552"/>
                  </a:lnTo>
                  <a:lnTo>
                    <a:pt x="664" y="548"/>
                  </a:lnTo>
                  <a:lnTo>
                    <a:pt x="665" y="546"/>
                  </a:lnTo>
                  <a:lnTo>
                    <a:pt x="665" y="549"/>
                  </a:lnTo>
                  <a:lnTo>
                    <a:pt x="665" y="555"/>
                  </a:lnTo>
                  <a:lnTo>
                    <a:pt x="666" y="558"/>
                  </a:lnTo>
                  <a:lnTo>
                    <a:pt x="667" y="557"/>
                  </a:lnTo>
                  <a:lnTo>
                    <a:pt x="669" y="552"/>
                  </a:lnTo>
                  <a:lnTo>
                    <a:pt x="669" y="548"/>
                  </a:lnTo>
                  <a:lnTo>
                    <a:pt x="669" y="545"/>
                  </a:lnTo>
                  <a:lnTo>
                    <a:pt x="669" y="541"/>
                  </a:lnTo>
                  <a:lnTo>
                    <a:pt x="667" y="536"/>
                  </a:lnTo>
                  <a:lnTo>
                    <a:pt x="669" y="536"/>
                  </a:lnTo>
                  <a:lnTo>
                    <a:pt x="671" y="536"/>
                  </a:lnTo>
                  <a:lnTo>
                    <a:pt x="673" y="537"/>
                  </a:lnTo>
                  <a:lnTo>
                    <a:pt x="672" y="535"/>
                  </a:lnTo>
                  <a:lnTo>
                    <a:pt x="672" y="533"/>
                  </a:lnTo>
                  <a:lnTo>
                    <a:pt x="675" y="533"/>
                  </a:lnTo>
                  <a:lnTo>
                    <a:pt x="676" y="533"/>
                  </a:lnTo>
                  <a:lnTo>
                    <a:pt x="677" y="531"/>
                  </a:lnTo>
                  <a:lnTo>
                    <a:pt x="675" y="531"/>
                  </a:lnTo>
                  <a:lnTo>
                    <a:pt x="673" y="529"/>
                  </a:lnTo>
                  <a:lnTo>
                    <a:pt x="672" y="528"/>
                  </a:lnTo>
                  <a:lnTo>
                    <a:pt x="671" y="528"/>
                  </a:lnTo>
                  <a:lnTo>
                    <a:pt x="671" y="530"/>
                  </a:lnTo>
                  <a:lnTo>
                    <a:pt x="669" y="531"/>
                  </a:lnTo>
                  <a:lnTo>
                    <a:pt x="669" y="530"/>
                  </a:lnTo>
                  <a:lnTo>
                    <a:pt x="667" y="530"/>
                  </a:lnTo>
                  <a:lnTo>
                    <a:pt x="666" y="531"/>
                  </a:lnTo>
                  <a:lnTo>
                    <a:pt x="665" y="531"/>
                  </a:lnTo>
                  <a:lnTo>
                    <a:pt x="663" y="531"/>
                  </a:lnTo>
                  <a:lnTo>
                    <a:pt x="663" y="530"/>
                  </a:lnTo>
                  <a:lnTo>
                    <a:pt x="661" y="530"/>
                  </a:lnTo>
                  <a:lnTo>
                    <a:pt x="661" y="534"/>
                  </a:lnTo>
                  <a:lnTo>
                    <a:pt x="659" y="534"/>
                  </a:lnTo>
                  <a:lnTo>
                    <a:pt x="658" y="533"/>
                  </a:lnTo>
                  <a:lnTo>
                    <a:pt x="657" y="534"/>
                  </a:lnTo>
                  <a:lnTo>
                    <a:pt x="655" y="535"/>
                  </a:lnTo>
                  <a:lnTo>
                    <a:pt x="653" y="537"/>
                  </a:lnTo>
                  <a:lnTo>
                    <a:pt x="652" y="539"/>
                  </a:lnTo>
                  <a:lnTo>
                    <a:pt x="645" y="539"/>
                  </a:lnTo>
                  <a:lnTo>
                    <a:pt x="641" y="539"/>
                  </a:lnTo>
                  <a:lnTo>
                    <a:pt x="637" y="540"/>
                  </a:lnTo>
                  <a:lnTo>
                    <a:pt x="633" y="541"/>
                  </a:lnTo>
                  <a:lnTo>
                    <a:pt x="626" y="541"/>
                  </a:lnTo>
                  <a:lnTo>
                    <a:pt x="623" y="541"/>
                  </a:lnTo>
                  <a:lnTo>
                    <a:pt x="618" y="542"/>
                  </a:lnTo>
                  <a:lnTo>
                    <a:pt x="614" y="541"/>
                  </a:lnTo>
                  <a:lnTo>
                    <a:pt x="612" y="542"/>
                  </a:lnTo>
                  <a:lnTo>
                    <a:pt x="607" y="545"/>
                  </a:lnTo>
                  <a:lnTo>
                    <a:pt x="601" y="543"/>
                  </a:lnTo>
                  <a:lnTo>
                    <a:pt x="599" y="543"/>
                  </a:lnTo>
                  <a:lnTo>
                    <a:pt x="595" y="541"/>
                  </a:lnTo>
                  <a:lnTo>
                    <a:pt x="593" y="541"/>
                  </a:lnTo>
                  <a:lnTo>
                    <a:pt x="590" y="537"/>
                  </a:lnTo>
                  <a:lnTo>
                    <a:pt x="589" y="535"/>
                  </a:lnTo>
                  <a:lnTo>
                    <a:pt x="588" y="534"/>
                  </a:lnTo>
                  <a:lnTo>
                    <a:pt x="584" y="534"/>
                  </a:lnTo>
                  <a:lnTo>
                    <a:pt x="581" y="536"/>
                  </a:lnTo>
                  <a:lnTo>
                    <a:pt x="580" y="537"/>
                  </a:lnTo>
                  <a:lnTo>
                    <a:pt x="577" y="537"/>
                  </a:lnTo>
                  <a:lnTo>
                    <a:pt x="575" y="537"/>
                  </a:lnTo>
                  <a:lnTo>
                    <a:pt x="571" y="535"/>
                  </a:lnTo>
                  <a:lnTo>
                    <a:pt x="567" y="531"/>
                  </a:lnTo>
                  <a:lnTo>
                    <a:pt x="563" y="527"/>
                  </a:lnTo>
                  <a:lnTo>
                    <a:pt x="559" y="524"/>
                  </a:lnTo>
                  <a:lnTo>
                    <a:pt x="555" y="521"/>
                  </a:lnTo>
                  <a:lnTo>
                    <a:pt x="552" y="516"/>
                  </a:lnTo>
                  <a:lnTo>
                    <a:pt x="552" y="515"/>
                  </a:lnTo>
                  <a:lnTo>
                    <a:pt x="555" y="515"/>
                  </a:lnTo>
                  <a:lnTo>
                    <a:pt x="555" y="513"/>
                  </a:lnTo>
                  <a:lnTo>
                    <a:pt x="553" y="512"/>
                  </a:lnTo>
                  <a:lnTo>
                    <a:pt x="552" y="510"/>
                  </a:lnTo>
                  <a:lnTo>
                    <a:pt x="551" y="505"/>
                  </a:lnTo>
                  <a:lnTo>
                    <a:pt x="552" y="505"/>
                  </a:lnTo>
                  <a:lnTo>
                    <a:pt x="553" y="507"/>
                  </a:lnTo>
                  <a:lnTo>
                    <a:pt x="554" y="510"/>
                  </a:lnTo>
                  <a:lnTo>
                    <a:pt x="557" y="511"/>
                  </a:lnTo>
                  <a:lnTo>
                    <a:pt x="557" y="510"/>
                  </a:lnTo>
                  <a:lnTo>
                    <a:pt x="559" y="507"/>
                  </a:lnTo>
                  <a:lnTo>
                    <a:pt x="560" y="507"/>
                  </a:lnTo>
                  <a:lnTo>
                    <a:pt x="559" y="510"/>
                  </a:lnTo>
                  <a:lnTo>
                    <a:pt x="560" y="512"/>
                  </a:lnTo>
                  <a:lnTo>
                    <a:pt x="559" y="518"/>
                  </a:lnTo>
                  <a:lnTo>
                    <a:pt x="561" y="521"/>
                  </a:lnTo>
                  <a:lnTo>
                    <a:pt x="561" y="518"/>
                  </a:lnTo>
                  <a:lnTo>
                    <a:pt x="563" y="515"/>
                  </a:lnTo>
                  <a:lnTo>
                    <a:pt x="564" y="513"/>
                  </a:lnTo>
                  <a:lnTo>
                    <a:pt x="565" y="515"/>
                  </a:lnTo>
                  <a:lnTo>
                    <a:pt x="565" y="513"/>
                  </a:lnTo>
                  <a:lnTo>
                    <a:pt x="566" y="511"/>
                  </a:lnTo>
                  <a:lnTo>
                    <a:pt x="569" y="510"/>
                  </a:lnTo>
                  <a:lnTo>
                    <a:pt x="569" y="511"/>
                  </a:lnTo>
                  <a:lnTo>
                    <a:pt x="570" y="516"/>
                  </a:lnTo>
                  <a:lnTo>
                    <a:pt x="570" y="517"/>
                  </a:lnTo>
                  <a:lnTo>
                    <a:pt x="571" y="518"/>
                  </a:lnTo>
                  <a:lnTo>
                    <a:pt x="572" y="517"/>
                  </a:lnTo>
                  <a:lnTo>
                    <a:pt x="572" y="512"/>
                  </a:lnTo>
                  <a:lnTo>
                    <a:pt x="574" y="510"/>
                  </a:lnTo>
                  <a:lnTo>
                    <a:pt x="575" y="511"/>
                  </a:lnTo>
                  <a:lnTo>
                    <a:pt x="575" y="513"/>
                  </a:lnTo>
                  <a:lnTo>
                    <a:pt x="576" y="509"/>
                  </a:lnTo>
                  <a:lnTo>
                    <a:pt x="577" y="507"/>
                  </a:lnTo>
                  <a:lnTo>
                    <a:pt x="577" y="515"/>
                  </a:lnTo>
                  <a:lnTo>
                    <a:pt x="577" y="518"/>
                  </a:lnTo>
                  <a:lnTo>
                    <a:pt x="580" y="517"/>
                  </a:lnTo>
                  <a:lnTo>
                    <a:pt x="582" y="512"/>
                  </a:lnTo>
                  <a:lnTo>
                    <a:pt x="584" y="510"/>
                  </a:lnTo>
                  <a:lnTo>
                    <a:pt x="584" y="516"/>
                  </a:lnTo>
                  <a:lnTo>
                    <a:pt x="583" y="519"/>
                  </a:lnTo>
                  <a:lnTo>
                    <a:pt x="586" y="517"/>
                  </a:lnTo>
                  <a:lnTo>
                    <a:pt x="587" y="513"/>
                  </a:lnTo>
                  <a:lnTo>
                    <a:pt x="588" y="510"/>
                  </a:lnTo>
                  <a:lnTo>
                    <a:pt x="590" y="506"/>
                  </a:lnTo>
                  <a:lnTo>
                    <a:pt x="589" y="515"/>
                  </a:lnTo>
                  <a:lnTo>
                    <a:pt x="588" y="518"/>
                  </a:lnTo>
                  <a:lnTo>
                    <a:pt x="592" y="516"/>
                  </a:lnTo>
                  <a:lnTo>
                    <a:pt x="593" y="512"/>
                  </a:lnTo>
                  <a:lnTo>
                    <a:pt x="592" y="518"/>
                  </a:lnTo>
                  <a:lnTo>
                    <a:pt x="592" y="521"/>
                  </a:lnTo>
                  <a:lnTo>
                    <a:pt x="594" y="521"/>
                  </a:lnTo>
                  <a:lnTo>
                    <a:pt x="594" y="517"/>
                  </a:lnTo>
                  <a:lnTo>
                    <a:pt x="595" y="516"/>
                  </a:lnTo>
                  <a:lnTo>
                    <a:pt x="599" y="516"/>
                  </a:lnTo>
                  <a:lnTo>
                    <a:pt x="600" y="513"/>
                  </a:lnTo>
                  <a:lnTo>
                    <a:pt x="600" y="516"/>
                  </a:lnTo>
                  <a:lnTo>
                    <a:pt x="598" y="519"/>
                  </a:lnTo>
                  <a:lnTo>
                    <a:pt x="598" y="522"/>
                  </a:lnTo>
                  <a:lnTo>
                    <a:pt x="601" y="518"/>
                  </a:lnTo>
                  <a:lnTo>
                    <a:pt x="602" y="517"/>
                  </a:lnTo>
                  <a:lnTo>
                    <a:pt x="604" y="523"/>
                  </a:lnTo>
                  <a:lnTo>
                    <a:pt x="606" y="525"/>
                  </a:lnTo>
                  <a:lnTo>
                    <a:pt x="607" y="527"/>
                  </a:lnTo>
                  <a:lnTo>
                    <a:pt x="611" y="525"/>
                  </a:lnTo>
                  <a:lnTo>
                    <a:pt x="611" y="524"/>
                  </a:lnTo>
                  <a:lnTo>
                    <a:pt x="612" y="525"/>
                  </a:lnTo>
                  <a:lnTo>
                    <a:pt x="611" y="528"/>
                  </a:lnTo>
                  <a:lnTo>
                    <a:pt x="611" y="531"/>
                  </a:lnTo>
                  <a:lnTo>
                    <a:pt x="612" y="535"/>
                  </a:lnTo>
                  <a:lnTo>
                    <a:pt x="613" y="535"/>
                  </a:lnTo>
                  <a:lnTo>
                    <a:pt x="613" y="531"/>
                  </a:lnTo>
                  <a:lnTo>
                    <a:pt x="614" y="529"/>
                  </a:lnTo>
                  <a:lnTo>
                    <a:pt x="616" y="525"/>
                  </a:lnTo>
                  <a:lnTo>
                    <a:pt x="616" y="528"/>
                  </a:lnTo>
                  <a:lnTo>
                    <a:pt x="617" y="529"/>
                  </a:lnTo>
                  <a:lnTo>
                    <a:pt x="618" y="527"/>
                  </a:lnTo>
                  <a:lnTo>
                    <a:pt x="619" y="523"/>
                  </a:lnTo>
                  <a:lnTo>
                    <a:pt x="620" y="518"/>
                  </a:lnTo>
                  <a:lnTo>
                    <a:pt x="619" y="525"/>
                  </a:lnTo>
                  <a:lnTo>
                    <a:pt x="620" y="530"/>
                  </a:lnTo>
                  <a:lnTo>
                    <a:pt x="620" y="533"/>
                  </a:lnTo>
                  <a:lnTo>
                    <a:pt x="623" y="535"/>
                  </a:lnTo>
                  <a:lnTo>
                    <a:pt x="624" y="536"/>
                  </a:lnTo>
                  <a:lnTo>
                    <a:pt x="626" y="535"/>
                  </a:lnTo>
                  <a:lnTo>
                    <a:pt x="628" y="533"/>
                  </a:lnTo>
                  <a:lnTo>
                    <a:pt x="628" y="529"/>
                  </a:lnTo>
                  <a:lnTo>
                    <a:pt x="628" y="525"/>
                  </a:lnTo>
                  <a:lnTo>
                    <a:pt x="629" y="529"/>
                  </a:lnTo>
                  <a:lnTo>
                    <a:pt x="629" y="531"/>
                  </a:lnTo>
                  <a:lnTo>
                    <a:pt x="630" y="529"/>
                  </a:lnTo>
                  <a:lnTo>
                    <a:pt x="633" y="529"/>
                  </a:lnTo>
                  <a:lnTo>
                    <a:pt x="633" y="533"/>
                  </a:lnTo>
                  <a:lnTo>
                    <a:pt x="634" y="535"/>
                  </a:lnTo>
                  <a:lnTo>
                    <a:pt x="635" y="533"/>
                  </a:lnTo>
                  <a:lnTo>
                    <a:pt x="635" y="530"/>
                  </a:lnTo>
                  <a:lnTo>
                    <a:pt x="641" y="534"/>
                  </a:lnTo>
                  <a:lnTo>
                    <a:pt x="640" y="531"/>
                  </a:lnTo>
                  <a:lnTo>
                    <a:pt x="637" y="530"/>
                  </a:lnTo>
                  <a:lnTo>
                    <a:pt x="640" y="528"/>
                  </a:lnTo>
                  <a:lnTo>
                    <a:pt x="637" y="528"/>
                  </a:lnTo>
                  <a:lnTo>
                    <a:pt x="634" y="528"/>
                  </a:lnTo>
                  <a:lnTo>
                    <a:pt x="631" y="527"/>
                  </a:lnTo>
                  <a:lnTo>
                    <a:pt x="636" y="525"/>
                  </a:lnTo>
                  <a:lnTo>
                    <a:pt x="635" y="524"/>
                  </a:lnTo>
                  <a:lnTo>
                    <a:pt x="631" y="524"/>
                  </a:lnTo>
                  <a:lnTo>
                    <a:pt x="629" y="524"/>
                  </a:lnTo>
                  <a:lnTo>
                    <a:pt x="628" y="522"/>
                  </a:lnTo>
                  <a:lnTo>
                    <a:pt x="629" y="521"/>
                  </a:lnTo>
                  <a:lnTo>
                    <a:pt x="628" y="519"/>
                  </a:lnTo>
                  <a:lnTo>
                    <a:pt x="626" y="518"/>
                  </a:lnTo>
                  <a:lnTo>
                    <a:pt x="624" y="517"/>
                  </a:lnTo>
                  <a:lnTo>
                    <a:pt x="620" y="515"/>
                  </a:lnTo>
                  <a:lnTo>
                    <a:pt x="620" y="513"/>
                  </a:lnTo>
                  <a:lnTo>
                    <a:pt x="620" y="512"/>
                  </a:lnTo>
                  <a:lnTo>
                    <a:pt x="618" y="510"/>
                  </a:lnTo>
                  <a:lnTo>
                    <a:pt x="617" y="507"/>
                  </a:lnTo>
                  <a:lnTo>
                    <a:pt x="614" y="506"/>
                  </a:lnTo>
                  <a:lnTo>
                    <a:pt x="612" y="504"/>
                  </a:lnTo>
                  <a:lnTo>
                    <a:pt x="612" y="501"/>
                  </a:lnTo>
                  <a:lnTo>
                    <a:pt x="613" y="500"/>
                  </a:lnTo>
                  <a:lnTo>
                    <a:pt x="614" y="498"/>
                  </a:lnTo>
                  <a:lnTo>
                    <a:pt x="616" y="500"/>
                  </a:lnTo>
                  <a:lnTo>
                    <a:pt x="617" y="504"/>
                  </a:lnTo>
                  <a:lnTo>
                    <a:pt x="618" y="505"/>
                  </a:lnTo>
                  <a:lnTo>
                    <a:pt x="619" y="507"/>
                  </a:lnTo>
                  <a:lnTo>
                    <a:pt x="620" y="506"/>
                  </a:lnTo>
                  <a:lnTo>
                    <a:pt x="620" y="504"/>
                  </a:lnTo>
                  <a:lnTo>
                    <a:pt x="622" y="504"/>
                  </a:lnTo>
                  <a:lnTo>
                    <a:pt x="623" y="503"/>
                  </a:lnTo>
                  <a:lnTo>
                    <a:pt x="623" y="501"/>
                  </a:lnTo>
                  <a:lnTo>
                    <a:pt x="624" y="500"/>
                  </a:lnTo>
                  <a:lnTo>
                    <a:pt x="622" y="499"/>
                  </a:lnTo>
                  <a:lnTo>
                    <a:pt x="619" y="498"/>
                  </a:lnTo>
                  <a:lnTo>
                    <a:pt x="616" y="494"/>
                  </a:lnTo>
                  <a:lnTo>
                    <a:pt x="620" y="494"/>
                  </a:lnTo>
                  <a:lnTo>
                    <a:pt x="622" y="493"/>
                  </a:lnTo>
                  <a:lnTo>
                    <a:pt x="618" y="492"/>
                  </a:lnTo>
                  <a:lnTo>
                    <a:pt x="616" y="492"/>
                  </a:lnTo>
                  <a:lnTo>
                    <a:pt x="611" y="492"/>
                  </a:lnTo>
                  <a:lnTo>
                    <a:pt x="606" y="489"/>
                  </a:lnTo>
                  <a:lnTo>
                    <a:pt x="600" y="487"/>
                  </a:lnTo>
                  <a:lnTo>
                    <a:pt x="596" y="484"/>
                  </a:lnTo>
                  <a:lnTo>
                    <a:pt x="589" y="481"/>
                  </a:lnTo>
                  <a:lnTo>
                    <a:pt x="586" y="480"/>
                  </a:lnTo>
                  <a:lnTo>
                    <a:pt x="581" y="477"/>
                  </a:lnTo>
                  <a:lnTo>
                    <a:pt x="577" y="477"/>
                  </a:lnTo>
                  <a:lnTo>
                    <a:pt x="572" y="475"/>
                  </a:lnTo>
                  <a:lnTo>
                    <a:pt x="569" y="475"/>
                  </a:lnTo>
                  <a:lnTo>
                    <a:pt x="569" y="474"/>
                  </a:lnTo>
                  <a:lnTo>
                    <a:pt x="570" y="472"/>
                  </a:lnTo>
                  <a:lnTo>
                    <a:pt x="572" y="471"/>
                  </a:lnTo>
                  <a:lnTo>
                    <a:pt x="567" y="470"/>
                  </a:lnTo>
                  <a:lnTo>
                    <a:pt x="564" y="469"/>
                  </a:lnTo>
                  <a:lnTo>
                    <a:pt x="561" y="468"/>
                  </a:lnTo>
                  <a:lnTo>
                    <a:pt x="558" y="468"/>
                  </a:lnTo>
                  <a:lnTo>
                    <a:pt x="558" y="464"/>
                  </a:lnTo>
                  <a:lnTo>
                    <a:pt x="558" y="460"/>
                  </a:lnTo>
                  <a:lnTo>
                    <a:pt x="558" y="457"/>
                  </a:lnTo>
                  <a:lnTo>
                    <a:pt x="560" y="453"/>
                  </a:lnTo>
                  <a:lnTo>
                    <a:pt x="563" y="450"/>
                  </a:lnTo>
                  <a:lnTo>
                    <a:pt x="563" y="453"/>
                  </a:lnTo>
                  <a:lnTo>
                    <a:pt x="563" y="454"/>
                  </a:lnTo>
                  <a:lnTo>
                    <a:pt x="565" y="456"/>
                  </a:lnTo>
                  <a:lnTo>
                    <a:pt x="567" y="456"/>
                  </a:lnTo>
                  <a:lnTo>
                    <a:pt x="567" y="457"/>
                  </a:lnTo>
                  <a:lnTo>
                    <a:pt x="570" y="458"/>
                  </a:lnTo>
                  <a:lnTo>
                    <a:pt x="571" y="458"/>
                  </a:lnTo>
                  <a:lnTo>
                    <a:pt x="572" y="454"/>
                  </a:lnTo>
                  <a:lnTo>
                    <a:pt x="574" y="452"/>
                  </a:lnTo>
                  <a:lnTo>
                    <a:pt x="572" y="458"/>
                  </a:lnTo>
                  <a:lnTo>
                    <a:pt x="575" y="460"/>
                  </a:lnTo>
                  <a:lnTo>
                    <a:pt x="576" y="459"/>
                  </a:lnTo>
                  <a:lnTo>
                    <a:pt x="576" y="456"/>
                  </a:lnTo>
                  <a:lnTo>
                    <a:pt x="578" y="452"/>
                  </a:lnTo>
                  <a:lnTo>
                    <a:pt x="578" y="456"/>
                  </a:lnTo>
                  <a:lnTo>
                    <a:pt x="581" y="458"/>
                  </a:lnTo>
                  <a:lnTo>
                    <a:pt x="581" y="454"/>
                  </a:lnTo>
                  <a:lnTo>
                    <a:pt x="583" y="453"/>
                  </a:lnTo>
                  <a:lnTo>
                    <a:pt x="582" y="458"/>
                  </a:lnTo>
                  <a:lnTo>
                    <a:pt x="582" y="463"/>
                  </a:lnTo>
                  <a:lnTo>
                    <a:pt x="584" y="464"/>
                  </a:lnTo>
                  <a:lnTo>
                    <a:pt x="587" y="464"/>
                  </a:lnTo>
                  <a:lnTo>
                    <a:pt x="587" y="460"/>
                  </a:lnTo>
                  <a:lnTo>
                    <a:pt x="587" y="458"/>
                  </a:lnTo>
                  <a:lnTo>
                    <a:pt x="588" y="456"/>
                  </a:lnTo>
                  <a:lnTo>
                    <a:pt x="589" y="457"/>
                  </a:lnTo>
                  <a:lnTo>
                    <a:pt x="588" y="462"/>
                  </a:lnTo>
                  <a:lnTo>
                    <a:pt x="592" y="460"/>
                  </a:lnTo>
                  <a:lnTo>
                    <a:pt x="592" y="458"/>
                  </a:lnTo>
                  <a:lnTo>
                    <a:pt x="593" y="459"/>
                  </a:lnTo>
                  <a:lnTo>
                    <a:pt x="594" y="457"/>
                  </a:lnTo>
                  <a:lnTo>
                    <a:pt x="595" y="456"/>
                  </a:lnTo>
                  <a:lnTo>
                    <a:pt x="595" y="460"/>
                  </a:lnTo>
                  <a:lnTo>
                    <a:pt x="596" y="460"/>
                  </a:lnTo>
                  <a:lnTo>
                    <a:pt x="599" y="463"/>
                  </a:lnTo>
                  <a:lnTo>
                    <a:pt x="600" y="460"/>
                  </a:lnTo>
                  <a:lnTo>
                    <a:pt x="600" y="466"/>
                  </a:lnTo>
                  <a:lnTo>
                    <a:pt x="600" y="470"/>
                  </a:lnTo>
                  <a:lnTo>
                    <a:pt x="602" y="469"/>
                  </a:lnTo>
                  <a:lnTo>
                    <a:pt x="604" y="466"/>
                  </a:lnTo>
                  <a:lnTo>
                    <a:pt x="605" y="465"/>
                  </a:lnTo>
                  <a:lnTo>
                    <a:pt x="606" y="460"/>
                  </a:lnTo>
                  <a:lnTo>
                    <a:pt x="607" y="459"/>
                  </a:lnTo>
                  <a:lnTo>
                    <a:pt x="610" y="462"/>
                  </a:lnTo>
                  <a:lnTo>
                    <a:pt x="611" y="459"/>
                  </a:lnTo>
                  <a:lnTo>
                    <a:pt x="612" y="458"/>
                  </a:lnTo>
                  <a:lnTo>
                    <a:pt x="614" y="459"/>
                  </a:lnTo>
                  <a:lnTo>
                    <a:pt x="614" y="463"/>
                  </a:lnTo>
                  <a:lnTo>
                    <a:pt x="616" y="462"/>
                  </a:lnTo>
                  <a:lnTo>
                    <a:pt x="619" y="462"/>
                  </a:lnTo>
                  <a:lnTo>
                    <a:pt x="623" y="462"/>
                  </a:lnTo>
                  <a:lnTo>
                    <a:pt x="623" y="460"/>
                  </a:lnTo>
                  <a:lnTo>
                    <a:pt x="618" y="458"/>
                  </a:lnTo>
                  <a:lnTo>
                    <a:pt x="612" y="454"/>
                  </a:lnTo>
                  <a:lnTo>
                    <a:pt x="612" y="452"/>
                  </a:lnTo>
                  <a:lnTo>
                    <a:pt x="610" y="453"/>
                  </a:lnTo>
                  <a:lnTo>
                    <a:pt x="605" y="452"/>
                  </a:lnTo>
                  <a:lnTo>
                    <a:pt x="602" y="451"/>
                  </a:lnTo>
                  <a:lnTo>
                    <a:pt x="601" y="448"/>
                  </a:lnTo>
                  <a:lnTo>
                    <a:pt x="606" y="448"/>
                  </a:lnTo>
                  <a:lnTo>
                    <a:pt x="610" y="450"/>
                  </a:lnTo>
                  <a:lnTo>
                    <a:pt x="607" y="448"/>
                  </a:lnTo>
                  <a:lnTo>
                    <a:pt x="601" y="445"/>
                  </a:lnTo>
                  <a:lnTo>
                    <a:pt x="600" y="445"/>
                  </a:lnTo>
                  <a:lnTo>
                    <a:pt x="605" y="444"/>
                  </a:lnTo>
                  <a:lnTo>
                    <a:pt x="605" y="442"/>
                  </a:lnTo>
                  <a:lnTo>
                    <a:pt x="600" y="442"/>
                  </a:lnTo>
                  <a:lnTo>
                    <a:pt x="594" y="441"/>
                  </a:lnTo>
                  <a:lnTo>
                    <a:pt x="594" y="439"/>
                  </a:lnTo>
                  <a:lnTo>
                    <a:pt x="592" y="439"/>
                  </a:lnTo>
                  <a:lnTo>
                    <a:pt x="589" y="438"/>
                  </a:lnTo>
                  <a:lnTo>
                    <a:pt x="590" y="436"/>
                  </a:lnTo>
                  <a:lnTo>
                    <a:pt x="588" y="436"/>
                  </a:lnTo>
                  <a:lnTo>
                    <a:pt x="582" y="436"/>
                  </a:lnTo>
                  <a:lnTo>
                    <a:pt x="582" y="433"/>
                  </a:lnTo>
                  <a:lnTo>
                    <a:pt x="581" y="432"/>
                  </a:lnTo>
                  <a:lnTo>
                    <a:pt x="578" y="434"/>
                  </a:lnTo>
                  <a:lnTo>
                    <a:pt x="575" y="433"/>
                  </a:lnTo>
                  <a:lnTo>
                    <a:pt x="574" y="432"/>
                  </a:lnTo>
                  <a:lnTo>
                    <a:pt x="574" y="429"/>
                  </a:lnTo>
                  <a:lnTo>
                    <a:pt x="571" y="430"/>
                  </a:lnTo>
                  <a:lnTo>
                    <a:pt x="570" y="428"/>
                  </a:lnTo>
                  <a:lnTo>
                    <a:pt x="566" y="428"/>
                  </a:lnTo>
                  <a:lnTo>
                    <a:pt x="563" y="429"/>
                  </a:lnTo>
                  <a:lnTo>
                    <a:pt x="560" y="429"/>
                  </a:lnTo>
                  <a:lnTo>
                    <a:pt x="559" y="428"/>
                  </a:lnTo>
                  <a:lnTo>
                    <a:pt x="552" y="424"/>
                  </a:lnTo>
                  <a:lnTo>
                    <a:pt x="547" y="423"/>
                  </a:lnTo>
                  <a:lnTo>
                    <a:pt x="543" y="421"/>
                  </a:lnTo>
                  <a:lnTo>
                    <a:pt x="541" y="421"/>
                  </a:lnTo>
                  <a:lnTo>
                    <a:pt x="539" y="421"/>
                  </a:lnTo>
                  <a:lnTo>
                    <a:pt x="534" y="420"/>
                  </a:lnTo>
                  <a:lnTo>
                    <a:pt x="530" y="418"/>
                  </a:lnTo>
                  <a:lnTo>
                    <a:pt x="528" y="418"/>
                  </a:lnTo>
                  <a:lnTo>
                    <a:pt x="525" y="418"/>
                  </a:lnTo>
                  <a:lnTo>
                    <a:pt x="523" y="416"/>
                  </a:lnTo>
                  <a:lnTo>
                    <a:pt x="521" y="418"/>
                  </a:lnTo>
                  <a:lnTo>
                    <a:pt x="519" y="415"/>
                  </a:lnTo>
                  <a:lnTo>
                    <a:pt x="517" y="415"/>
                  </a:lnTo>
                  <a:lnTo>
                    <a:pt x="515" y="415"/>
                  </a:lnTo>
                  <a:lnTo>
                    <a:pt x="511" y="417"/>
                  </a:lnTo>
                  <a:lnTo>
                    <a:pt x="510" y="416"/>
                  </a:lnTo>
                  <a:lnTo>
                    <a:pt x="507" y="416"/>
                  </a:lnTo>
                  <a:lnTo>
                    <a:pt x="505" y="415"/>
                  </a:lnTo>
                  <a:lnTo>
                    <a:pt x="502" y="415"/>
                  </a:lnTo>
                  <a:lnTo>
                    <a:pt x="501" y="414"/>
                  </a:lnTo>
                  <a:lnTo>
                    <a:pt x="496" y="411"/>
                  </a:lnTo>
                  <a:lnTo>
                    <a:pt x="494" y="410"/>
                  </a:lnTo>
                  <a:lnTo>
                    <a:pt x="493" y="411"/>
                  </a:lnTo>
                  <a:lnTo>
                    <a:pt x="493" y="409"/>
                  </a:lnTo>
                  <a:lnTo>
                    <a:pt x="495" y="409"/>
                  </a:lnTo>
                  <a:lnTo>
                    <a:pt x="498" y="410"/>
                  </a:lnTo>
                  <a:lnTo>
                    <a:pt x="501" y="412"/>
                  </a:lnTo>
                  <a:lnTo>
                    <a:pt x="504" y="414"/>
                  </a:lnTo>
                  <a:lnTo>
                    <a:pt x="506" y="414"/>
                  </a:lnTo>
                  <a:lnTo>
                    <a:pt x="507" y="412"/>
                  </a:lnTo>
                  <a:lnTo>
                    <a:pt x="509" y="412"/>
                  </a:lnTo>
                  <a:lnTo>
                    <a:pt x="510" y="415"/>
                  </a:lnTo>
                  <a:lnTo>
                    <a:pt x="511" y="415"/>
                  </a:lnTo>
                  <a:lnTo>
                    <a:pt x="512" y="415"/>
                  </a:lnTo>
                  <a:lnTo>
                    <a:pt x="515" y="411"/>
                  </a:lnTo>
                  <a:lnTo>
                    <a:pt x="515" y="410"/>
                  </a:lnTo>
                  <a:lnTo>
                    <a:pt x="516" y="410"/>
                  </a:lnTo>
                  <a:lnTo>
                    <a:pt x="516" y="411"/>
                  </a:lnTo>
                  <a:lnTo>
                    <a:pt x="517" y="414"/>
                  </a:lnTo>
                  <a:lnTo>
                    <a:pt x="518" y="414"/>
                  </a:lnTo>
                  <a:lnTo>
                    <a:pt x="519" y="414"/>
                  </a:lnTo>
                  <a:lnTo>
                    <a:pt x="521" y="412"/>
                  </a:lnTo>
                  <a:lnTo>
                    <a:pt x="521" y="415"/>
                  </a:lnTo>
                  <a:lnTo>
                    <a:pt x="523" y="415"/>
                  </a:lnTo>
                  <a:lnTo>
                    <a:pt x="525" y="415"/>
                  </a:lnTo>
                  <a:lnTo>
                    <a:pt x="527" y="415"/>
                  </a:lnTo>
                  <a:lnTo>
                    <a:pt x="529" y="416"/>
                  </a:lnTo>
                  <a:lnTo>
                    <a:pt x="530" y="417"/>
                  </a:lnTo>
                  <a:lnTo>
                    <a:pt x="533" y="416"/>
                  </a:lnTo>
                  <a:lnTo>
                    <a:pt x="533" y="415"/>
                  </a:lnTo>
                  <a:lnTo>
                    <a:pt x="534" y="414"/>
                  </a:lnTo>
                  <a:lnTo>
                    <a:pt x="533" y="411"/>
                  </a:lnTo>
                  <a:lnTo>
                    <a:pt x="535" y="414"/>
                  </a:lnTo>
                  <a:lnTo>
                    <a:pt x="537" y="416"/>
                  </a:lnTo>
                  <a:lnTo>
                    <a:pt x="537" y="415"/>
                  </a:lnTo>
                  <a:lnTo>
                    <a:pt x="539" y="418"/>
                  </a:lnTo>
                  <a:lnTo>
                    <a:pt x="540" y="418"/>
                  </a:lnTo>
                  <a:lnTo>
                    <a:pt x="540" y="417"/>
                  </a:lnTo>
                  <a:lnTo>
                    <a:pt x="541" y="416"/>
                  </a:lnTo>
                  <a:lnTo>
                    <a:pt x="543" y="418"/>
                  </a:lnTo>
                  <a:lnTo>
                    <a:pt x="543" y="420"/>
                  </a:lnTo>
                  <a:lnTo>
                    <a:pt x="546" y="418"/>
                  </a:lnTo>
                  <a:lnTo>
                    <a:pt x="547" y="416"/>
                  </a:lnTo>
                  <a:lnTo>
                    <a:pt x="546" y="420"/>
                  </a:lnTo>
                  <a:lnTo>
                    <a:pt x="547" y="421"/>
                  </a:lnTo>
                  <a:lnTo>
                    <a:pt x="549" y="421"/>
                  </a:lnTo>
                  <a:lnTo>
                    <a:pt x="553" y="420"/>
                  </a:lnTo>
                  <a:lnTo>
                    <a:pt x="553" y="418"/>
                  </a:lnTo>
                  <a:lnTo>
                    <a:pt x="557" y="423"/>
                  </a:lnTo>
                  <a:lnTo>
                    <a:pt x="557" y="422"/>
                  </a:lnTo>
                  <a:lnTo>
                    <a:pt x="557" y="420"/>
                  </a:lnTo>
                  <a:lnTo>
                    <a:pt x="554" y="417"/>
                  </a:lnTo>
                  <a:lnTo>
                    <a:pt x="555" y="416"/>
                  </a:lnTo>
                  <a:lnTo>
                    <a:pt x="555" y="417"/>
                  </a:lnTo>
                  <a:lnTo>
                    <a:pt x="557" y="417"/>
                  </a:lnTo>
                  <a:lnTo>
                    <a:pt x="557" y="415"/>
                  </a:lnTo>
                  <a:lnTo>
                    <a:pt x="558" y="415"/>
                  </a:lnTo>
                  <a:lnTo>
                    <a:pt x="559" y="416"/>
                  </a:lnTo>
                  <a:lnTo>
                    <a:pt x="559" y="420"/>
                  </a:lnTo>
                  <a:lnTo>
                    <a:pt x="559" y="421"/>
                  </a:lnTo>
                  <a:lnTo>
                    <a:pt x="560" y="421"/>
                  </a:lnTo>
                  <a:lnTo>
                    <a:pt x="561" y="423"/>
                  </a:lnTo>
                  <a:lnTo>
                    <a:pt x="561" y="426"/>
                  </a:lnTo>
                  <a:lnTo>
                    <a:pt x="563" y="427"/>
                  </a:lnTo>
                  <a:lnTo>
                    <a:pt x="564" y="424"/>
                  </a:lnTo>
                  <a:lnTo>
                    <a:pt x="564" y="421"/>
                  </a:lnTo>
                  <a:lnTo>
                    <a:pt x="564" y="417"/>
                  </a:lnTo>
                  <a:lnTo>
                    <a:pt x="565" y="418"/>
                  </a:lnTo>
                  <a:lnTo>
                    <a:pt x="566" y="426"/>
                  </a:lnTo>
                  <a:lnTo>
                    <a:pt x="567" y="424"/>
                  </a:lnTo>
                  <a:lnTo>
                    <a:pt x="567" y="422"/>
                  </a:lnTo>
                  <a:lnTo>
                    <a:pt x="569" y="420"/>
                  </a:lnTo>
                  <a:lnTo>
                    <a:pt x="570" y="420"/>
                  </a:lnTo>
                  <a:lnTo>
                    <a:pt x="570" y="416"/>
                  </a:lnTo>
                  <a:lnTo>
                    <a:pt x="570" y="415"/>
                  </a:lnTo>
                  <a:lnTo>
                    <a:pt x="571" y="420"/>
                  </a:lnTo>
                  <a:lnTo>
                    <a:pt x="571" y="423"/>
                  </a:lnTo>
                  <a:lnTo>
                    <a:pt x="574" y="424"/>
                  </a:lnTo>
                  <a:lnTo>
                    <a:pt x="576" y="424"/>
                  </a:lnTo>
                  <a:lnTo>
                    <a:pt x="577" y="420"/>
                  </a:lnTo>
                  <a:lnTo>
                    <a:pt x="577" y="424"/>
                  </a:lnTo>
                  <a:lnTo>
                    <a:pt x="578" y="428"/>
                  </a:lnTo>
                  <a:lnTo>
                    <a:pt x="577" y="429"/>
                  </a:lnTo>
                  <a:lnTo>
                    <a:pt x="580" y="430"/>
                  </a:lnTo>
                  <a:lnTo>
                    <a:pt x="581" y="429"/>
                  </a:lnTo>
                  <a:lnTo>
                    <a:pt x="581" y="428"/>
                  </a:lnTo>
                  <a:lnTo>
                    <a:pt x="582" y="427"/>
                  </a:lnTo>
                  <a:lnTo>
                    <a:pt x="583" y="424"/>
                  </a:lnTo>
                  <a:lnTo>
                    <a:pt x="584" y="423"/>
                  </a:lnTo>
                  <a:lnTo>
                    <a:pt x="584" y="420"/>
                  </a:lnTo>
                  <a:lnTo>
                    <a:pt x="584" y="418"/>
                  </a:lnTo>
                  <a:lnTo>
                    <a:pt x="587" y="420"/>
                  </a:lnTo>
                  <a:lnTo>
                    <a:pt x="587" y="422"/>
                  </a:lnTo>
                  <a:lnTo>
                    <a:pt x="588" y="426"/>
                  </a:lnTo>
                  <a:lnTo>
                    <a:pt x="589" y="424"/>
                  </a:lnTo>
                  <a:lnTo>
                    <a:pt x="590" y="422"/>
                  </a:lnTo>
                  <a:lnTo>
                    <a:pt x="592" y="424"/>
                  </a:lnTo>
                  <a:lnTo>
                    <a:pt x="592" y="427"/>
                  </a:lnTo>
                  <a:lnTo>
                    <a:pt x="593" y="429"/>
                  </a:lnTo>
                  <a:lnTo>
                    <a:pt x="595" y="426"/>
                  </a:lnTo>
                  <a:lnTo>
                    <a:pt x="598" y="426"/>
                  </a:lnTo>
                  <a:lnTo>
                    <a:pt x="598" y="427"/>
                  </a:lnTo>
                  <a:lnTo>
                    <a:pt x="599" y="427"/>
                  </a:lnTo>
                  <a:lnTo>
                    <a:pt x="599" y="424"/>
                  </a:lnTo>
                  <a:lnTo>
                    <a:pt x="601" y="420"/>
                  </a:lnTo>
                  <a:lnTo>
                    <a:pt x="602" y="418"/>
                  </a:lnTo>
                  <a:lnTo>
                    <a:pt x="604" y="420"/>
                  </a:lnTo>
                  <a:lnTo>
                    <a:pt x="606" y="420"/>
                  </a:lnTo>
                  <a:lnTo>
                    <a:pt x="606" y="422"/>
                  </a:lnTo>
                  <a:lnTo>
                    <a:pt x="607" y="426"/>
                  </a:lnTo>
                  <a:lnTo>
                    <a:pt x="610" y="424"/>
                  </a:lnTo>
                  <a:lnTo>
                    <a:pt x="610" y="422"/>
                  </a:lnTo>
                  <a:lnTo>
                    <a:pt x="616" y="424"/>
                  </a:lnTo>
                  <a:lnTo>
                    <a:pt x="616" y="423"/>
                  </a:lnTo>
                  <a:lnTo>
                    <a:pt x="612" y="421"/>
                  </a:lnTo>
                  <a:lnTo>
                    <a:pt x="610" y="421"/>
                  </a:lnTo>
                  <a:lnTo>
                    <a:pt x="612" y="418"/>
                  </a:lnTo>
                  <a:lnTo>
                    <a:pt x="612" y="417"/>
                  </a:lnTo>
                  <a:lnTo>
                    <a:pt x="608" y="417"/>
                  </a:lnTo>
                  <a:lnTo>
                    <a:pt x="610" y="417"/>
                  </a:lnTo>
                  <a:lnTo>
                    <a:pt x="608" y="415"/>
                  </a:lnTo>
                  <a:lnTo>
                    <a:pt x="606" y="415"/>
                  </a:lnTo>
                  <a:lnTo>
                    <a:pt x="602" y="414"/>
                  </a:lnTo>
                  <a:lnTo>
                    <a:pt x="600" y="412"/>
                  </a:lnTo>
                  <a:lnTo>
                    <a:pt x="598" y="411"/>
                  </a:lnTo>
                  <a:lnTo>
                    <a:pt x="595" y="410"/>
                  </a:lnTo>
                  <a:lnTo>
                    <a:pt x="593" y="406"/>
                  </a:lnTo>
                  <a:lnTo>
                    <a:pt x="592" y="405"/>
                  </a:lnTo>
                  <a:lnTo>
                    <a:pt x="590" y="402"/>
                  </a:lnTo>
                  <a:lnTo>
                    <a:pt x="592" y="402"/>
                  </a:lnTo>
                  <a:lnTo>
                    <a:pt x="596" y="403"/>
                  </a:lnTo>
                  <a:lnTo>
                    <a:pt x="595" y="400"/>
                  </a:lnTo>
                  <a:lnTo>
                    <a:pt x="593" y="399"/>
                  </a:lnTo>
                  <a:lnTo>
                    <a:pt x="592" y="396"/>
                  </a:lnTo>
                  <a:lnTo>
                    <a:pt x="590" y="397"/>
                  </a:lnTo>
                  <a:lnTo>
                    <a:pt x="589" y="398"/>
                  </a:lnTo>
                  <a:lnTo>
                    <a:pt x="587" y="398"/>
                  </a:lnTo>
                  <a:lnTo>
                    <a:pt x="583" y="398"/>
                  </a:lnTo>
                  <a:lnTo>
                    <a:pt x="575" y="396"/>
                  </a:lnTo>
                  <a:lnTo>
                    <a:pt x="570" y="394"/>
                  </a:lnTo>
                  <a:lnTo>
                    <a:pt x="570" y="392"/>
                  </a:lnTo>
                  <a:lnTo>
                    <a:pt x="569" y="393"/>
                  </a:lnTo>
                  <a:lnTo>
                    <a:pt x="565" y="393"/>
                  </a:lnTo>
                  <a:lnTo>
                    <a:pt x="564" y="392"/>
                  </a:lnTo>
                  <a:lnTo>
                    <a:pt x="563" y="391"/>
                  </a:lnTo>
                  <a:lnTo>
                    <a:pt x="560" y="390"/>
                  </a:lnTo>
                  <a:lnTo>
                    <a:pt x="553" y="390"/>
                  </a:lnTo>
                  <a:lnTo>
                    <a:pt x="548" y="390"/>
                  </a:lnTo>
                  <a:lnTo>
                    <a:pt x="546" y="388"/>
                  </a:lnTo>
                  <a:lnTo>
                    <a:pt x="545" y="387"/>
                  </a:lnTo>
                  <a:lnTo>
                    <a:pt x="542" y="387"/>
                  </a:lnTo>
                  <a:lnTo>
                    <a:pt x="537" y="386"/>
                  </a:lnTo>
                  <a:lnTo>
                    <a:pt x="535" y="385"/>
                  </a:lnTo>
                  <a:lnTo>
                    <a:pt x="534" y="381"/>
                  </a:lnTo>
                  <a:lnTo>
                    <a:pt x="530" y="380"/>
                  </a:lnTo>
                  <a:lnTo>
                    <a:pt x="528" y="380"/>
                  </a:lnTo>
                  <a:lnTo>
                    <a:pt x="523" y="378"/>
                  </a:lnTo>
                  <a:lnTo>
                    <a:pt x="521" y="378"/>
                  </a:lnTo>
                  <a:lnTo>
                    <a:pt x="518" y="378"/>
                  </a:lnTo>
                  <a:lnTo>
                    <a:pt x="513" y="378"/>
                  </a:lnTo>
                  <a:lnTo>
                    <a:pt x="515" y="375"/>
                  </a:lnTo>
                  <a:lnTo>
                    <a:pt x="511" y="376"/>
                  </a:lnTo>
                  <a:lnTo>
                    <a:pt x="509" y="378"/>
                  </a:lnTo>
                  <a:lnTo>
                    <a:pt x="502" y="378"/>
                  </a:lnTo>
                  <a:lnTo>
                    <a:pt x="501" y="376"/>
                  </a:lnTo>
                  <a:lnTo>
                    <a:pt x="495" y="375"/>
                  </a:lnTo>
                  <a:lnTo>
                    <a:pt x="492" y="374"/>
                  </a:lnTo>
                  <a:lnTo>
                    <a:pt x="487" y="374"/>
                  </a:lnTo>
                  <a:lnTo>
                    <a:pt x="482" y="371"/>
                  </a:lnTo>
                  <a:lnTo>
                    <a:pt x="476" y="371"/>
                  </a:lnTo>
                  <a:lnTo>
                    <a:pt x="472" y="369"/>
                  </a:lnTo>
                  <a:lnTo>
                    <a:pt x="469" y="368"/>
                  </a:lnTo>
                  <a:lnTo>
                    <a:pt x="470" y="369"/>
                  </a:lnTo>
                  <a:lnTo>
                    <a:pt x="468" y="371"/>
                  </a:lnTo>
                  <a:lnTo>
                    <a:pt x="465" y="371"/>
                  </a:lnTo>
                  <a:lnTo>
                    <a:pt x="463" y="370"/>
                  </a:lnTo>
                  <a:lnTo>
                    <a:pt x="459" y="369"/>
                  </a:lnTo>
                  <a:lnTo>
                    <a:pt x="457" y="368"/>
                  </a:lnTo>
                  <a:lnTo>
                    <a:pt x="453" y="369"/>
                  </a:lnTo>
                  <a:lnTo>
                    <a:pt x="452" y="370"/>
                  </a:lnTo>
                  <a:lnTo>
                    <a:pt x="448" y="368"/>
                  </a:lnTo>
                  <a:lnTo>
                    <a:pt x="446" y="367"/>
                  </a:lnTo>
                  <a:lnTo>
                    <a:pt x="442" y="365"/>
                  </a:lnTo>
                  <a:lnTo>
                    <a:pt x="437" y="367"/>
                  </a:lnTo>
                  <a:lnTo>
                    <a:pt x="437" y="364"/>
                  </a:lnTo>
                  <a:lnTo>
                    <a:pt x="436" y="362"/>
                  </a:lnTo>
                  <a:lnTo>
                    <a:pt x="433" y="361"/>
                  </a:lnTo>
                  <a:lnTo>
                    <a:pt x="430" y="359"/>
                  </a:lnTo>
                  <a:lnTo>
                    <a:pt x="428" y="357"/>
                  </a:lnTo>
                  <a:lnTo>
                    <a:pt x="424" y="355"/>
                  </a:lnTo>
                  <a:lnTo>
                    <a:pt x="419" y="351"/>
                  </a:lnTo>
                  <a:lnTo>
                    <a:pt x="417" y="349"/>
                  </a:lnTo>
                  <a:lnTo>
                    <a:pt x="417" y="339"/>
                  </a:lnTo>
                  <a:lnTo>
                    <a:pt x="418" y="337"/>
                  </a:lnTo>
                  <a:lnTo>
                    <a:pt x="418" y="335"/>
                  </a:lnTo>
                  <a:lnTo>
                    <a:pt x="419" y="340"/>
                  </a:lnTo>
                  <a:lnTo>
                    <a:pt x="421" y="340"/>
                  </a:lnTo>
                  <a:lnTo>
                    <a:pt x="423" y="339"/>
                  </a:lnTo>
                  <a:lnTo>
                    <a:pt x="422" y="335"/>
                  </a:lnTo>
                  <a:lnTo>
                    <a:pt x="423" y="334"/>
                  </a:lnTo>
                  <a:lnTo>
                    <a:pt x="424" y="337"/>
                  </a:lnTo>
                  <a:lnTo>
                    <a:pt x="423" y="340"/>
                  </a:lnTo>
                  <a:lnTo>
                    <a:pt x="423" y="344"/>
                  </a:lnTo>
                  <a:lnTo>
                    <a:pt x="422" y="346"/>
                  </a:lnTo>
                  <a:lnTo>
                    <a:pt x="422" y="349"/>
                  </a:lnTo>
                  <a:lnTo>
                    <a:pt x="423" y="350"/>
                  </a:lnTo>
                  <a:lnTo>
                    <a:pt x="424" y="351"/>
                  </a:lnTo>
                  <a:lnTo>
                    <a:pt x="427" y="353"/>
                  </a:lnTo>
                  <a:lnTo>
                    <a:pt x="428" y="355"/>
                  </a:lnTo>
                  <a:lnTo>
                    <a:pt x="430" y="357"/>
                  </a:lnTo>
                  <a:lnTo>
                    <a:pt x="431" y="356"/>
                  </a:lnTo>
                  <a:lnTo>
                    <a:pt x="433" y="358"/>
                  </a:lnTo>
                  <a:lnTo>
                    <a:pt x="434" y="358"/>
                  </a:lnTo>
                  <a:lnTo>
                    <a:pt x="436" y="358"/>
                  </a:lnTo>
                  <a:lnTo>
                    <a:pt x="437" y="361"/>
                  </a:lnTo>
                  <a:lnTo>
                    <a:pt x="439" y="359"/>
                  </a:lnTo>
                  <a:lnTo>
                    <a:pt x="439" y="357"/>
                  </a:lnTo>
                  <a:lnTo>
                    <a:pt x="436" y="355"/>
                  </a:lnTo>
                  <a:lnTo>
                    <a:pt x="436" y="353"/>
                  </a:lnTo>
                  <a:lnTo>
                    <a:pt x="436" y="349"/>
                  </a:lnTo>
                  <a:lnTo>
                    <a:pt x="435" y="345"/>
                  </a:lnTo>
                  <a:lnTo>
                    <a:pt x="436" y="341"/>
                  </a:lnTo>
                  <a:lnTo>
                    <a:pt x="436" y="338"/>
                  </a:lnTo>
                  <a:lnTo>
                    <a:pt x="437" y="338"/>
                  </a:lnTo>
                  <a:lnTo>
                    <a:pt x="437" y="339"/>
                  </a:lnTo>
                  <a:lnTo>
                    <a:pt x="436" y="343"/>
                  </a:lnTo>
                  <a:lnTo>
                    <a:pt x="439" y="343"/>
                  </a:lnTo>
                  <a:lnTo>
                    <a:pt x="440" y="344"/>
                  </a:lnTo>
                  <a:lnTo>
                    <a:pt x="437" y="346"/>
                  </a:lnTo>
                  <a:lnTo>
                    <a:pt x="439" y="347"/>
                  </a:lnTo>
                  <a:lnTo>
                    <a:pt x="440" y="347"/>
                  </a:lnTo>
                  <a:lnTo>
                    <a:pt x="441" y="345"/>
                  </a:lnTo>
                  <a:lnTo>
                    <a:pt x="441" y="343"/>
                  </a:lnTo>
                  <a:lnTo>
                    <a:pt x="441" y="340"/>
                  </a:lnTo>
                  <a:lnTo>
                    <a:pt x="443" y="340"/>
                  </a:lnTo>
                  <a:lnTo>
                    <a:pt x="443" y="345"/>
                  </a:lnTo>
                  <a:lnTo>
                    <a:pt x="443" y="347"/>
                  </a:lnTo>
                  <a:lnTo>
                    <a:pt x="445" y="349"/>
                  </a:lnTo>
                  <a:lnTo>
                    <a:pt x="446" y="349"/>
                  </a:lnTo>
                  <a:lnTo>
                    <a:pt x="448" y="347"/>
                  </a:lnTo>
                  <a:lnTo>
                    <a:pt x="448" y="349"/>
                  </a:lnTo>
                  <a:lnTo>
                    <a:pt x="448" y="351"/>
                  </a:lnTo>
                  <a:lnTo>
                    <a:pt x="450" y="352"/>
                  </a:lnTo>
                  <a:lnTo>
                    <a:pt x="451" y="351"/>
                  </a:lnTo>
                  <a:lnTo>
                    <a:pt x="451" y="353"/>
                  </a:lnTo>
                  <a:lnTo>
                    <a:pt x="452" y="353"/>
                  </a:lnTo>
                  <a:lnTo>
                    <a:pt x="453" y="352"/>
                  </a:lnTo>
                  <a:lnTo>
                    <a:pt x="454" y="350"/>
                  </a:lnTo>
                  <a:lnTo>
                    <a:pt x="456" y="349"/>
                  </a:lnTo>
                  <a:lnTo>
                    <a:pt x="454" y="353"/>
                  </a:lnTo>
                  <a:lnTo>
                    <a:pt x="454" y="358"/>
                  </a:lnTo>
                  <a:lnTo>
                    <a:pt x="456" y="358"/>
                  </a:lnTo>
                  <a:lnTo>
                    <a:pt x="457" y="356"/>
                  </a:lnTo>
                  <a:lnTo>
                    <a:pt x="457" y="353"/>
                  </a:lnTo>
                  <a:lnTo>
                    <a:pt x="457" y="350"/>
                  </a:lnTo>
                  <a:lnTo>
                    <a:pt x="459" y="349"/>
                  </a:lnTo>
                  <a:lnTo>
                    <a:pt x="458" y="353"/>
                  </a:lnTo>
                  <a:lnTo>
                    <a:pt x="458" y="358"/>
                  </a:lnTo>
                  <a:lnTo>
                    <a:pt x="458" y="359"/>
                  </a:lnTo>
                  <a:lnTo>
                    <a:pt x="459" y="359"/>
                  </a:lnTo>
                  <a:lnTo>
                    <a:pt x="459" y="358"/>
                  </a:lnTo>
                  <a:lnTo>
                    <a:pt x="460" y="359"/>
                  </a:lnTo>
                  <a:lnTo>
                    <a:pt x="460" y="362"/>
                  </a:lnTo>
                  <a:lnTo>
                    <a:pt x="462" y="364"/>
                  </a:lnTo>
                  <a:lnTo>
                    <a:pt x="463" y="364"/>
                  </a:lnTo>
                  <a:lnTo>
                    <a:pt x="463" y="359"/>
                  </a:lnTo>
                  <a:lnTo>
                    <a:pt x="463" y="358"/>
                  </a:lnTo>
                  <a:lnTo>
                    <a:pt x="465" y="357"/>
                  </a:lnTo>
                  <a:lnTo>
                    <a:pt x="468" y="356"/>
                  </a:lnTo>
                  <a:lnTo>
                    <a:pt x="469" y="355"/>
                  </a:lnTo>
                  <a:lnTo>
                    <a:pt x="465" y="351"/>
                  </a:lnTo>
                  <a:lnTo>
                    <a:pt x="464" y="347"/>
                  </a:lnTo>
                  <a:lnTo>
                    <a:pt x="464" y="346"/>
                  </a:lnTo>
                  <a:lnTo>
                    <a:pt x="466" y="346"/>
                  </a:lnTo>
                  <a:lnTo>
                    <a:pt x="465" y="347"/>
                  </a:lnTo>
                  <a:lnTo>
                    <a:pt x="466" y="349"/>
                  </a:lnTo>
                  <a:lnTo>
                    <a:pt x="470" y="347"/>
                  </a:lnTo>
                  <a:lnTo>
                    <a:pt x="471" y="346"/>
                  </a:lnTo>
                  <a:lnTo>
                    <a:pt x="471" y="343"/>
                  </a:lnTo>
                  <a:lnTo>
                    <a:pt x="471" y="341"/>
                  </a:lnTo>
                  <a:lnTo>
                    <a:pt x="472" y="343"/>
                  </a:lnTo>
                  <a:lnTo>
                    <a:pt x="474" y="345"/>
                  </a:lnTo>
                  <a:lnTo>
                    <a:pt x="475" y="344"/>
                  </a:lnTo>
                  <a:lnTo>
                    <a:pt x="475" y="341"/>
                  </a:lnTo>
                  <a:lnTo>
                    <a:pt x="477" y="340"/>
                  </a:lnTo>
                  <a:lnTo>
                    <a:pt x="477" y="339"/>
                  </a:lnTo>
                  <a:lnTo>
                    <a:pt x="476" y="335"/>
                  </a:lnTo>
                  <a:lnTo>
                    <a:pt x="480" y="337"/>
                  </a:lnTo>
                  <a:lnTo>
                    <a:pt x="481" y="334"/>
                  </a:lnTo>
                  <a:lnTo>
                    <a:pt x="480" y="326"/>
                  </a:lnTo>
                  <a:lnTo>
                    <a:pt x="481" y="321"/>
                  </a:lnTo>
                  <a:lnTo>
                    <a:pt x="481" y="320"/>
                  </a:lnTo>
                  <a:lnTo>
                    <a:pt x="482" y="323"/>
                  </a:lnTo>
                  <a:lnTo>
                    <a:pt x="483" y="323"/>
                  </a:lnTo>
                  <a:lnTo>
                    <a:pt x="483" y="320"/>
                  </a:lnTo>
                  <a:lnTo>
                    <a:pt x="483" y="317"/>
                  </a:lnTo>
                  <a:lnTo>
                    <a:pt x="484" y="319"/>
                  </a:lnTo>
                  <a:lnTo>
                    <a:pt x="486" y="317"/>
                  </a:lnTo>
                  <a:lnTo>
                    <a:pt x="488" y="317"/>
                  </a:lnTo>
                  <a:lnTo>
                    <a:pt x="489" y="319"/>
                  </a:lnTo>
                  <a:lnTo>
                    <a:pt x="490" y="321"/>
                  </a:lnTo>
                  <a:lnTo>
                    <a:pt x="490" y="325"/>
                  </a:lnTo>
                  <a:lnTo>
                    <a:pt x="490" y="326"/>
                  </a:lnTo>
                  <a:lnTo>
                    <a:pt x="492" y="326"/>
                  </a:lnTo>
                  <a:lnTo>
                    <a:pt x="492" y="328"/>
                  </a:lnTo>
                  <a:lnTo>
                    <a:pt x="493" y="326"/>
                  </a:lnTo>
                  <a:lnTo>
                    <a:pt x="493" y="320"/>
                  </a:lnTo>
                  <a:lnTo>
                    <a:pt x="492" y="317"/>
                  </a:lnTo>
                  <a:lnTo>
                    <a:pt x="493" y="315"/>
                  </a:lnTo>
                  <a:lnTo>
                    <a:pt x="495" y="313"/>
                  </a:lnTo>
                  <a:lnTo>
                    <a:pt x="495" y="310"/>
                  </a:lnTo>
                  <a:lnTo>
                    <a:pt x="494" y="307"/>
                  </a:lnTo>
                  <a:lnTo>
                    <a:pt x="495" y="303"/>
                  </a:lnTo>
                  <a:lnTo>
                    <a:pt x="496" y="301"/>
                  </a:lnTo>
                  <a:lnTo>
                    <a:pt x="498" y="304"/>
                  </a:lnTo>
                  <a:lnTo>
                    <a:pt x="501" y="303"/>
                  </a:lnTo>
                  <a:lnTo>
                    <a:pt x="502" y="305"/>
                  </a:lnTo>
                  <a:lnTo>
                    <a:pt x="504" y="304"/>
                  </a:lnTo>
                  <a:lnTo>
                    <a:pt x="505" y="303"/>
                  </a:lnTo>
                  <a:lnTo>
                    <a:pt x="505" y="310"/>
                  </a:lnTo>
                  <a:lnTo>
                    <a:pt x="506" y="311"/>
                  </a:lnTo>
                  <a:lnTo>
                    <a:pt x="509" y="311"/>
                  </a:lnTo>
                  <a:lnTo>
                    <a:pt x="509" y="309"/>
                  </a:lnTo>
                  <a:lnTo>
                    <a:pt x="507" y="304"/>
                  </a:lnTo>
                  <a:lnTo>
                    <a:pt x="507" y="299"/>
                  </a:lnTo>
                  <a:lnTo>
                    <a:pt x="509" y="298"/>
                  </a:lnTo>
                  <a:lnTo>
                    <a:pt x="510" y="297"/>
                  </a:lnTo>
                  <a:lnTo>
                    <a:pt x="510" y="293"/>
                  </a:lnTo>
                  <a:lnTo>
                    <a:pt x="512" y="295"/>
                  </a:lnTo>
                  <a:lnTo>
                    <a:pt x="512" y="292"/>
                  </a:lnTo>
                  <a:lnTo>
                    <a:pt x="512" y="289"/>
                  </a:lnTo>
                  <a:lnTo>
                    <a:pt x="513" y="289"/>
                  </a:lnTo>
                  <a:lnTo>
                    <a:pt x="515" y="291"/>
                  </a:lnTo>
                  <a:lnTo>
                    <a:pt x="518" y="291"/>
                  </a:lnTo>
                  <a:lnTo>
                    <a:pt x="519" y="289"/>
                  </a:lnTo>
                  <a:lnTo>
                    <a:pt x="521" y="286"/>
                  </a:lnTo>
                  <a:lnTo>
                    <a:pt x="519" y="284"/>
                  </a:lnTo>
                  <a:lnTo>
                    <a:pt x="519" y="280"/>
                  </a:lnTo>
                  <a:lnTo>
                    <a:pt x="519" y="279"/>
                  </a:lnTo>
                  <a:lnTo>
                    <a:pt x="521" y="279"/>
                  </a:lnTo>
                  <a:lnTo>
                    <a:pt x="523" y="280"/>
                  </a:lnTo>
                  <a:lnTo>
                    <a:pt x="523" y="279"/>
                  </a:lnTo>
                  <a:lnTo>
                    <a:pt x="521" y="278"/>
                  </a:lnTo>
                  <a:lnTo>
                    <a:pt x="521" y="275"/>
                  </a:lnTo>
                  <a:lnTo>
                    <a:pt x="518" y="274"/>
                  </a:lnTo>
                  <a:lnTo>
                    <a:pt x="516" y="274"/>
                  </a:lnTo>
                  <a:lnTo>
                    <a:pt x="515" y="273"/>
                  </a:lnTo>
                  <a:lnTo>
                    <a:pt x="516" y="272"/>
                  </a:lnTo>
                  <a:lnTo>
                    <a:pt x="518" y="272"/>
                  </a:lnTo>
                  <a:lnTo>
                    <a:pt x="521" y="272"/>
                  </a:lnTo>
                  <a:lnTo>
                    <a:pt x="522" y="274"/>
                  </a:lnTo>
                  <a:lnTo>
                    <a:pt x="523" y="277"/>
                  </a:lnTo>
                  <a:lnTo>
                    <a:pt x="523" y="278"/>
                  </a:lnTo>
                  <a:lnTo>
                    <a:pt x="523" y="277"/>
                  </a:lnTo>
                  <a:lnTo>
                    <a:pt x="524" y="275"/>
                  </a:lnTo>
                  <a:lnTo>
                    <a:pt x="525" y="278"/>
                  </a:lnTo>
                  <a:lnTo>
                    <a:pt x="525" y="277"/>
                  </a:lnTo>
                  <a:lnTo>
                    <a:pt x="525" y="275"/>
                  </a:lnTo>
                  <a:lnTo>
                    <a:pt x="524" y="273"/>
                  </a:lnTo>
                  <a:lnTo>
                    <a:pt x="527" y="272"/>
                  </a:lnTo>
                  <a:lnTo>
                    <a:pt x="528" y="272"/>
                  </a:lnTo>
                  <a:lnTo>
                    <a:pt x="529" y="271"/>
                  </a:lnTo>
                  <a:lnTo>
                    <a:pt x="530" y="269"/>
                  </a:lnTo>
                  <a:lnTo>
                    <a:pt x="528" y="269"/>
                  </a:lnTo>
                  <a:lnTo>
                    <a:pt x="527" y="269"/>
                  </a:lnTo>
                  <a:lnTo>
                    <a:pt x="525" y="269"/>
                  </a:lnTo>
                  <a:lnTo>
                    <a:pt x="524" y="269"/>
                  </a:lnTo>
                  <a:lnTo>
                    <a:pt x="523" y="268"/>
                  </a:lnTo>
                  <a:lnTo>
                    <a:pt x="522" y="267"/>
                  </a:lnTo>
                  <a:lnTo>
                    <a:pt x="525" y="266"/>
                  </a:lnTo>
                  <a:lnTo>
                    <a:pt x="527" y="264"/>
                  </a:lnTo>
                  <a:lnTo>
                    <a:pt x="523" y="263"/>
                  </a:lnTo>
                  <a:lnTo>
                    <a:pt x="527" y="262"/>
                  </a:lnTo>
                  <a:lnTo>
                    <a:pt x="528" y="261"/>
                  </a:lnTo>
                  <a:lnTo>
                    <a:pt x="530" y="262"/>
                  </a:lnTo>
                  <a:lnTo>
                    <a:pt x="530" y="260"/>
                  </a:lnTo>
                  <a:lnTo>
                    <a:pt x="531" y="260"/>
                  </a:lnTo>
                  <a:lnTo>
                    <a:pt x="533" y="261"/>
                  </a:lnTo>
                  <a:lnTo>
                    <a:pt x="534" y="261"/>
                  </a:lnTo>
                  <a:lnTo>
                    <a:pt x="535" y="261"/>
                  </a:lnTo>
                  <a:lnTo>
                    <a:pt x="534" y="260"/>
                  </a:lnTo>
                  <a:lnTo>
                    <a:pt x="533" y="258"/>
                  </a:lnTo>
                  <a:lnTo>
                    <a:pt x="535" y="257"/>
                  </a:lnTo>
                  <a:lnTo>
                    <a:pt x="536" y="258"/>
                  </a:lnTo>
                  <a:lnTo>
                    <a:pt x="539" y="260"/>
                  </a:lnTo>
                  <a:lnTo>
                    <a:pt x="540" y="258"/>
                  </a:lnTo>
                  <a:lnTo>
                    <a:pt x="536" y="256"/>
                  </a:lnTo>
                  <a:lnTo>
                    <a:pt x="535" y="255"/>
                  </a:lnTo>
                  <a:lnTo>
                    <a:pt x="540" y="255"/>
                  </a:lnTo>
                  <a:lnTo>
                    <a:pt x="541" y="254"/>
                  </a:lnTo>
                  <a:lnTo>
                    <a:pt x="535" y="254"/>
                  </a:lnTo>
                  <a:lnTo>
                    <a:pt x="534" y="254"/>
                  </a:lnTo>
                  <a:lnTo>
                    <a:pt x="533" y="252"/>
                  </a:lnTo>
                  <a:lnTo>
                    <a:pt x="533" y="251"/>
                  </a:lnTo>
                  <a:lnTo>
                    <a:pt x="531" y="250"/>
                  </a:lnTo>
                  <a:lnTo>
                    <a:pt x="530" y="255"/>
                  </a:lnTo>
                  <a:lnTo>
                    <a:pt x="529" y="255"/>
                  </a:lnTo>
                  <a:lnTo>
                    <a:pt x="528" y="256"/>
                  </a:lnTo>
                  <a:lnTo>
                    <a:pt x="528" y="257"/>
                  </a:lnTo>
                  <a:lnTo>
                    <a:pt x="527" y="257"/>
                  </a:lnTo>
                  <a:lnTo>
                    <a:pt x="525" y="258"/>
                  </a:lnTo>
                  <a:lnTo>
                    <a:pt x="524" y="258"/>
                  </a:lnTo>
                  <a:lnTo>
                    <a:pt x="523" y="257"/>
                  </a:lnTo>
                  <a:lnTo>
                    <a:pt x="523" y="255"/>
                  </a:lnTo>
                  <a:lnTo>
                    <a:pt x="522" y="255"/>
                  </a:lnTo>
                  <a:lnTo>
                    <a:pt x="522" y="256"/>
                  </a:lnTo>
                  <a:lnTo>
                    <a:pt x="522" y="257"/>
                  </a:lnTo>
                  <a:lnTo>
                    <a:pt x="519" y="258"/>
                  </a:lnTo>
                  <a:lnTo>
                    <a:pt x="519" y="260"/>
                  </a:lnTo>
                  <a:lnTo>
                    <a:pt x="521" y="262"/>
                  </a:lnTo>
                  <a:lnTo>
                    <a:pt x="519" y="262"/>
                  </a:lnTo>
                  <a:lnTo>
                    <a:pt x="518" y="263"/>
                  </a:lnTo>
                  <a:lnTo>
                    <a:pt x="518" y="262"/>
                  </a:lnTo>
                  <a:lnTo>
                    <a:pt x="517" y="260"/>
                  </a:lnTo>
                  <a:lnTo>
                    <a:pt x="516" y="260"/>
                  </a:lnTo>
                  <a:lnTo>
                    <a:pt x="515" y="260"/>
                  </a:lnTo>
                  <a:lnTo>
                    <a:pt x="513" y="260"/>
                  </a:lnTo>
                  <a:lnTo>
                    <a:pt x="511" y="260"/>
                  </a:lnTo>
                  <a:lnTo>
                    <a:pt x="511" y="258"/>
                  </a:lnTo>
                  <a:lnTo>
                    <a:pt x="512" y="257"/>
                  </a:lnTo>
                  <a:lnTo>
                    <a:pt x="513" y="257"/>
                  </a:lnTo>
                  <a:lnTo>
                    <a:pt x="515" y="256"/>
                  </a:lnTo>
                  <a:lnTo>
                    <a:pt x="516" y="255"/>
                  </a:lnTo>
                  <a:lnTo>
                    <a:pt x="516" y="254"/>
                  </a:lnTo>
                  <a:lnTo>
                    <a:pt x="518" y="252"/>
                  </a:lnTo>
                  <a:lnTo>
                    <a:pt x="519" y="252"/>
                  </a:lnTo>
                  <a:lnTo>
                    <a:pt x="521" y="252"/>
                  </a:lnTo>
                  <a:lnTo>
                    <a:pt x="519" y="251"/>
                  </a:lnTo>
                  <a:lnTo>
                    <a:pt x="521" y="250"/>
                  </a:lnTo>
                  <a:lnTo>
                    <a:pt x="522" y="251"/>
                  </a:lnTo>
                  <a:lnTo>
                    <a:pt x="523" y="251"/>
                  </a:lnTo>
                  <a:lnTo>
                    <a:pt x="522" y="252"/>
                  </a:lnTo>
                  <a:lnTo>
                    <a:pt x="522" y="254"/>
                  </a:lnTo>
                  <a:lnTo>
                    <a:pt x="523" y="254"/>
                  </a:lnTo>
                  <a:lnTo>
                    <a:pt x="524" y="252"/>
                  </a:lnTo>
                  <a:lnTo>
                    <a:pt x="524" y="251"/>
                  </a:lnTo>
                  <a:lnTo>
                    <a:pt x="525" y="251"/>
                  </a:lnTo>
                  <a:lnTo>
                    <a:pt x="527" y="252"/>
                  </a:lnTo>
                  <a:lnTo>
                    <a:pt x="527" y="251"/>
                  </a:lnTo>
                  <a:lnTo>
                    <a:pt x="524" y="250"/>
                  </a:lnTo>
                  <a:lnTo>
                    <a:pt x="523" y="249"/>
                  </a:lnTo>
                  <a:lnTo>
                    <a:pt x="525" y="248"/>
                  </a:lnTo>
                  <a:lnTo>
                    <a:pt x="528" y="248"/>
                  </a:lnTo>
                  <a:lnTo>
                    <a:pt x="528" y="246"/>
                  </a:lnTo>
                  <a:lnTo>
                    <a:pt x="530" y="246"/>
                  </a:lnTo>
                  <a:lnTo>
                    <a:pt x="524" y="246"/>
                  </a:lnTo>
                  <a:lnTo>
                    <a:pt x="522" y="248"/>
                  </a:lnTo>
                  <a:lnTo>
                    <a:pt x="517" y="249"/>
                  </a:lnTo>
                  <a:lnTo>
                    <a:pt x="515" y="251"/>
                  </a:lnTo>
                  <a:lnTo>
                    <a:pt x="515" y="254"/>
                  </a:lnTo>
                  <a:lnTo>
                    <a:pt x="513" y="255"/>
                  </a:lnTo>
                  <a:lnTo>
                    <a:pt x="511" y="255"/>
                  </a:lnTo>
                  <a:lnTo>
                    <a:pt x="510" y="252"/>
                  </a:lnTo>
                  <a:lnTo>
                    <a:pt x="510" y="251"/>
                  </a:lnTo>
                  <a:lnTo>
                    <a:pt x="513" y="251"/>
                  </a:lnTo>
                  <a:lnTo>
                    <a:pt x="509" y="251"/>
                  </a:lnTo>
                  <a:lnTo>
                    <a:pt x="509" y="248"/>
                  </a:lnTo>
                  <a:lnTo>
                    <a:pt x="507" y="249"/>
                  </a:lnTo>
                  <a:lnTo>
                    <a:pt x="507" y="251"/>
                  </a:lnTo>
                  <a:lnTo>
                    <a:pt x="507" y="252"/>
                  </a:lnTo>
                  <a:lnTo>
                    <a:pt x="507" y="256"/>
                  </a:lnTo>
                  <a:lnTo>
                    <a:pt x="505" y="258"/>
                  </a:lnTo>
                  <a:lnTo>
                    <a:pt x="502" y="260"/>
                  </a:lnTo>
                  <a:lnTo>
                    <a:pt x="500" y="260"/>
                  </a:lnTo>
                  <a:lnTo>
                    <a:pt x="500" y="261"/>
                  </a:lnTo>
                  <a:lnTo>
                    <a:pt x="498" y="261"/>
                  </a:lnTo>
                  <a:lnTo>
                    <a:pt x="498" y="260"/>
                  </a:lnTo>
                  <a:lnTo>
                    <a:pt x="498" y="257"/>
                  </a:lnTo>
                  <a:lnTo>
                    <a:pt x="496" y="257"/>
                  </a:lnTo>
                  <a:lnTo>
                    <a:pt x="495" y="258"/>
                  </a:lnTo>
                  <a:lnTo>
                    <a:pt x="494" y="258"/>
                  </a:lnTo>
                  <a:lnTo>
                    <a:pt x="494" y="256"/>
                  </a:lnTo>
                  <a:lnTo>
                    <a:pt x="494" y="255"/>
                  </a:lnTo>
                  <a:lnTo>
                    <a:pt x="493" y="257"/>
                  </a:lnTo>
                  <a:lnTo>
                    <a:pt x="492" y="256"/>
                  </a:lnTo>
                  <a:lnTo>
                    <a:pt x="489" y="255"/>
                  </a:lnTo>
                  <a:lnTo>
                    <a:pt x="488" y="252"/>
                  </a:lnTo>
                  <a:lnTo>
                    <a:pt x="489" y="251"/>
                  </a:lnTo>
                  <a:lnTo>
                    <a:pt x="490" y="251"/>
                  </a:lnTo>
                  <a:lnTo>
                    <a:pt x="492" y="251"/>
                  </a:lnTo>
                  <a:lnTo>
                    <a:pt x="493" y="250"/>
                  </a:lnTo>
                  <a:lnTo>
                    <a:pt x="493" y="249"/>
                  </a:lnTo>
                  <a:lnTo>
                    <a:pt x="494" y="248"/>
                  </a:lnTo>
                  <a:lnTo>
                    <a:pt x="495" y="246"/>
                  </a:lnTo>
                  <a:lnTo>
                    <a:pt x="498" y="245"/>
                  </a:lnTo>
                  <a:lnTo>
                    <a:pt x="499" y="245"/>
                  </a:lnTo>
                  <a:lnTo>
                    <a:pt x="500" y="245"/>
                  </a:lnTo>
                  <a:lnTo>
                    <a:pt x="500" y="243"/>
                  </a:lnTo>
                  <a:lnTo>
                    <a:pt x="501" y="243"/>
                  </a:lnTo>
                  <a:lnTo>
                    <a:pt x="504" y="244"/>
                  </a:lnTo>
                  <a:lnTo>
                    <a:pt x="506" y="244"/>
                  </a:lnTo>
                  <a:lnTo>
                    <a:pt x="506" y="243"/>
                  </a:lnTo>
                  <a:lnTo>
                    <a:pt x="502" y="242"/>
                  </a:lnTo>
                  <a:lnTo>
                    <a:pt x="502" y="240"/>
                  </a:lnTo>
                  <a:lnTo>
                    <a:pt x="501" y="240"/>
                  </a:lnTo>
                  <a:lnTo>
                    <a:pt x="504" y="239"/>
                  </a:lnTo>
                  <a:lnTo>
                    <a:pt x="501" y="239"/>
                  </a:lnTo>
                  <a:lnTo>
                    <a:pt x="500" y="238"/>
                  </a:lnTo>
                  <a:lnTo>
                    <a:pt x="501" y="237"/>
                  </a:lnTo>
                  <a:lnTo>
                    <a:pt x="502" y="234"/>
                  </a:lnTo>
                  <a:lnTo>
                    <a:pt x="502" y="233"/>
                  </a:lnTo>
                  <a:lnTo>
                    <a:pt x="499" y="238"/>
                  </a:lnTo>
                  <a:lnTo>
                    <a:pt x="498" y="238"/>
                  </a:lnTo>
                  <a:lnTo>
                    <a:pt x="498" y="237"/>
                  </a:lnTo>
                  <a:lnTo>
                    <a:pt x="496" y="238"/>
                  </a:lnTo>
                  <a:lnTo>
                    <a:pt x="495" y="239"/>
                  </a:lnTo>
                  <a:lnTo>
                    <a:pt x="494" y="239"/>
                  </a:lnTo>
                  <a:lnTo>
                    <a:pt x="493" y="242"/>
                  </a:lnTo>
                  <a:lnTo>
                    <a:pt x="492" y="243"/>
                  </a:lnTo>
                  <a:lnTo>
                    <a:pt x="490" y="243"/>
                  </a:lnTo>
                  <a:lnTo>
                    <a:pt x="489" y="242"/>
                  </a:lnTo>
                  <a:lnTo>
                    <a:pt x="488" y="240"/>
                  </a:lnTo>
                  <a:lnTo>
                    <a:pt x="487" y="242"/>
                  </a:lnTo>
                  <a:lnTo>
                    <a:pt x="486" y="244"/>
                  </a:lnTo>
                  <a:lnTo>
                    <a:pt x="484" y="244"/>
                  </a:lnTo>
                  <a:lnTo>
                    <a:pt x="483" y="243"/>
                  </a:lnTo>
                  <a:lnTo>
                    <a:pt x="482" y="243"/>
                  </a:lnTo>
                  <a:lnTo>
                    <a:pt x="482" y="245"/>
                  </a:lnTo>
                  <a:lnTo>
                    <a:pt x="481" y="248"/>
                  </a:lnTo>
                  <a:lnTo>
                    <a:pt x="478" y="248"/>
                  </a:lnTo>
                  <a:lnTo>
                    <a:pt x="474" y="245"/>
                  </a:lnTo>
                  <a:lnTo>
                    <a:pt x="472" y="244"/>
                  </a:lnTo>
                  <a:lnTo>
                    <a:pt x="470" y="242"/>
                  </a:lnTo>
                  <a:lnTo>
                    <a:pt x="469" y="239"/>
                  </a:lnTo>
                  <a:lnTo>
                    <a:pt x="468" y="237"/>
                  </a:lnTo>
                  <a:lnTo>
                    <a:pt x="469" y="237"/>
                  </a:lnTo>
                  <a:lnTo>
                    <a:pt x="470" y="236"/>
                  </a:lnTo>
                  <a:lnTo>
                    <a:pt x="468" y="234"/>
                  </a:lnTo>
                  <a:lnTo>
                    <a:pt x="466" y="234"/>
                  </a:lnTo>
                  <a:lnTo>
                    <a:pt x="466" y="233"/>
                  </a:lnTo>
                  <a:lnTo>
                    <a:pt x="470" y="233"/>
                  </a:lnTo>
                  <a:lnTo>
                    <a:pt x="471" y="233"/>
                  </a:lnTo>
                  <a:lnTo>
                    <a:pt x="471" y="232"/>
                  </a:lnTo>
                  <a:lnTo>
                    <a:pt x="470" y="231"/>
                  </a:lnTo>
                  <a:lnTo>
                    <a:pt x="466" y="231"/>
                  </a:lnTo>
                  <a:lnTo>
                    <a:pt x="465" y="230"/>
                  </a:lnTo>
                  <a:lnTo>
                    <a:pt x="465" y="226"/>
                  </a:lnTo>
                  <a:lnTo>
                    <a:pt x="466" y="226"/>
                  </a:lnTo>
                  <a:lnTo>
                    <a:pt x="468" y="226"/>
                  </a:lnTo>
                  <a:lnTo>
                    <a:pt x="469" y="226"/>
                  </a:lnTo>
                  <a:lnTo>
                    <a:pt x="469" y="230"/>
                  </a:lnTo>
                  <a:lnTo>
                    <a:pt x="470" y="228"/>
                  </a:lnTo>
                  <a:lnTo>
                    <a:pt x="470" y="226"/>
                  </a:lnTo>
                  <a:lnTo>
                    <a:pt x="471" y="226"/>
                  </a:lnTo>
                  <a:lnTo>
                    <a:pt x="472" y="226"/>
                  </a:lnTo>
                  <a:lnTo>
                    <a:pt x="474" y="225"/>
                  </a:lnTo>
                  <a:lnTo>
                    <a:pt x="472" y="224"/>
                  </a:lnTo>
                  <a:lnTo>
                    <a:pt x="474" y="224"/>
                  </a:lnTo>
                  <a:lnTo>
                    <a:pt x="475" y="225"/>
                  </a:lnTo>
                  <a:lnTo>
                    <a:pt x="474" y="226"/>
                  </a:lnTo>
                  <a:lnTo>
                    <a:pt x="475" y="227"/>
                  </a:lnTo>
                  <a:lnTo>
                    <a:pt x="476" y="225"/>
                  </a:lnTo>
                  <a:lnTo>
                    <a:pt x="477" y="225"/>
                  </a:lnTo>
                  <a:lnTo>
                    <a:pt x="477" y="226"/>
                  </a:lnTo>
                  <a:lnTo>
                    <a:pt x="478" y="226"/>
                  </a:lnTo>
                  <a:lnTo>
                    <a:pt x="480" y="224"/>
                  </a:lnTo>
                  <a:lnTo>
                    <a:pt x="481" y="224"/>
                  </a:lnTo>
                  <a:lnTo>
                    <a:pt x="481" y="219"/>
                  </a:lnTo>
                  <a:lnTo>
                    <a:pt x="482" y="219"/>
                  </a:lnTo>
                  <a:lnTo>
                    <a:pt x="482" y="220"/>
                  </a:lnTo>
                  <a:lnTo>
                    <a:pt x="482" y="221"/>
                  </a:lnTo>
                  <a:lnTo>
                    <a:pt x="483" y="221"/>
                  </a:lnTo>
                  <a:lnTo>
                    <a:pt x="484" y="221"/>
                  </a:lnTo>
                  <a:lnTo>
                    <a:pt x="484" y="220"/>
                  </a:lnTo>
                  <a:lnTo>
                    <a:pt x="486" y="220"/>
                  </a:lnTo>
                  <a:lnTo>
                    <a:pt x="487" y="220"/>
                  </a:lnTo>
                  <a:lnTo>
                    <a:pt x="488" y="219"/>
                  </a:lnTo>
                  <a:lnTo>
                    <a:pt x="488" y="216"/>
                  </a:lnTo>
                  <a:lnTo>
                    <a:pt x="489" y="214"/>
                  </a:lnTo>
                  <a:lnTo>
                    <a:pt x="490" y="213"/>
                  </a:lnTo>
                  <a:lnTo>
                    <a:pt x="492" y="213"/>
                  </a:lnTo>
                  <a:lnTo>
                    <a:pt x="490" y="212"/>
                  </a:lnTo>
                  <a:lnTo>
                    <a:pt x="490" y="210"/>
                  </a:lnTo>
                  <a:lnTo>
                    <a:pt x="492" y="209"/>
                  </a:lnTo>
                  <a:lnTo>
                    <a:pt x="493" y="210"/>
                  </a:lnTo>
                  <a:lnTo>
                    <a:pt x="494" y="210"/>
                  </a:lnTo>
                  <a:lnTo>
                    <a:pt x="493" y="209"/>
                  </a:lnTo>
                  <a:lnTo>
                    <a:pt x="490" y="208"/>
                  </a:lnTo>
                  <a:lnTo>
                    <a:pt x="490" y="206"/>
                  </a:lnTo>
                  <a:lnTo>
                    <a:pt x="492" y="206"/>
                  </a:lnTo>
                  <a:lnTo>
                    <a:pt x="492" y="208"/>
                  </a:lnTo>
                  <a:lnTo>
                    <a:pt x="493" y="208"/>
                  </a:lnTo>
                  <a:lnTo>
                    <a:pt x="494" y="207"/>
                  </a:lnTo>
                  <a:lnTo>
                    <a:pt x="495" y="208"/>
                  </a:lnTo>
                  <a:lnTo>
                    <a:pt x="496" y="208"/>
                  </a:lnTo>
                  <a:lnTo>
                    <a:pt x="498" y="208"/>
                  </a:lnTo>
                  <a:lnTo>
                    <a:pt x="496" y="207"/>
                  </a:lnTo>
                  <a:lnTo>
                    <a:pt x="498" y="207"/>
                  </a:lnTo>
                  <a:lnTo>
                    <a:pt x="499" y="208"/>
                  </a:lnTo>
                  <a:lnTo>
                    <a:pt x="499" y="207"/>
                  </a:lnTo>
                  <a:lnTo>
                    <a:pt x="500" y="207"/>
                  </a:lnTo>
                  <a:lnTo>
                    <a:pt x="499" y="206"/>
                  </a:lnTo>
                  <a:lnTo>
                    <a:pt x="496" y="203"/>
                  </a:lnTo>
                  <a:lnTo>
                    <a:pt x="495" y="202"/>
                  </a:lnTo>
                  <a:lnTo>
                    <a:pt x="494" y="202"/>
                  </a:lnTo>
                  <a:lnTo>
                    <a:pt x="492" y="201"/>
                  </a:lnTo>
                  <a:lnTo>
                    <a:pt x="495" y="201"/>
                  </a:lnTo>
                  <a:lnTo>
                    <a:pt x="495" y="200"/>
                  </a:lnTo>
                  <a:lnTo>
                    <a:pt x="498" y="200"/>
                  </a:lnTo>
                  <a:lnTo>
                    <a:pt x="500" y="202"/>
                  </a:lnTo>
                  <a:lnTo>
                    <a:pt x="501" y="202"/>
                  </a:lnTo>
                  <a:lnTo>
                    <a:pt x="501" y="201"/>
                  </a:lnTo>
                  <a:lnTo>
                    <a:pt x="498" y="198"/>
                  </a:lnTo>
                  <a:lnTo>
                    <a:pt x="499" y="197"/>
                  </a:lnTo>
                  <a:lnTo>
                    <a:pt x="500" y="196"/>
                  </a:lnTo>
                  <a:lnTo>
                    <a:pt x="501" y="196"/>
                  </a:lnTo>
                  <a:lnTo>
                    <a:pt x="505" y="200"/>
                  </a:lnTo>
                  <a:lnTo>
                    <a:pt x="507" y="200"/>
                  </a:lnTo>
                  <a:lnTo>
                    <a:pt x="507" y="198"/>
                  </a:lnTo>
                  <a:lnTo>
                    <a:pt x="504" y="196"/>
                  </a:lnTo>
                  <a:lnTo>
                    <a:pt x="502" y="195"/>
                  </a:lnTo>
                  <a:lnTo>
                    <a:pt x="505" y="195"/>
                  </a:lnTo>
                  <a:lnTo>
                    <a:pt x="510" y="195"/>
                  </a:lnTo>
                  <a:lnTo>
                    <a:pt x="510" y="196"/>
                  </a:lnTo>
                  <a:lnTo>
                    <a:pt x="511" y="196"/>
                  </a:lnTo>
                  <a:lnTo>
                    <a:pt x="511" y="195"/>
                  </a:lnTo>
                  <a:lnTo>
                    <a:pt x="510" y="194"/>
                  </a:lnTo>
                  <a:lnTo>
                    <a:pt x="511" y="194"/>
                  </a:lnTo>
                  <a:lnTo>
                    <a:pt x="511" y="190"/>
                  </a:lnTo>
                  <a:lnTo>
                    <a:pt x="515" y="190"/>
                  </a:lnTo>
                  <a:lnTo>
                    <a:pt x="515" y="191"/>
                  </a:lnTo>
                  <a:lnTo>
                    <a:pt x="517" y="191"/>
                  </a:lnTo>
                  <a:lnTo>
                    <a:pt x="517" y="190"/>
                  </a:lnTo>
                  <a:lnTo>
                    <a:pt x="516" y="190"/>
                  </a:lnTo>
                  <a:lnTo>
                    <a:pt x="515" y="189"/>
                  </a:lnTo>
                  <a:lnTo>
                    <a:pt x="515" y="188"/>
                  </a:lnTo>
                  <a:lnTo>
                    <a:pt x="516" y="186"/>
                  </a:lnTo>
                  <a:lnTo>
                    <a:pt x="521" y="188"/>
                  </a:lnTo>
                  <a:lnTo>
                    <a:pt x="522" y="188"/>
                  </a:lnTo>
                  <a:lnTo>
                    <a:pt x="523" y="188"/>
                  </a:lnTo>
                  <a:lnTo>
                    <a:pt x="523" y="186"/>
                  </a:lnTo>
                  <a:lnTo>
                    <a:pt x="519" y="185"/>
                  </a:lnTo>
                  <a:lnTo>
                    <a:pt x="519" y="184"/>
                  </a:lnTo>
                  <a:lnTo>
                    <a:pt x="521" y="182"/>
                  </a:lnTo>
                  <a:lnTo>
                    <a:pt x="523" y="180"/>
                  </a:lnTo>
                  <a:lnTo>
                    <a:pt x="522" y="179"/>
                  </a:lnTo>
                  <a:lnTo>
                    <a:pt x="521" y="180"/>
                  </a:lnTo>
                  <a:lnTo>
                    <a:pt x="518" y="182"/>
                  </a:lnTo>
                  <a:lnTo>
                    <a:pt x="513" y="184"/>
                  </a:lnTo>
                  <a:lnTo>
                    <a:pt x="512" y="185"/>
                  </a:lnTo>
                  <a:lnTo>
                    <a:pt x="512" y="188"/>
                  </a:lnTo>
                  <a:lnTo>
                    <a:pt x="511" y="188"/>
                  </a:lnTo>
                  <a:lnTo>
                    <a:pt x="510" y="188"/>
                  </a:lnTo>
                  <a:lnTo>
                    <a:pt x="511" y="185"/>
                  </a:lnTo>
                  <a:lnTo>
                    <a:pt x="511" y="184"/>
                  </a:lnTo>
                  <a:lnTo>
                    <a:pt x="510" y="186"/>
                  </a:lnTo>
                  <a:lnTo>
                    <a:pt x="509" y="188"/>
                  </a:lnTo>
                  <a:lnTo>
                    <a:pt x="507" y="189"/>
                  </a:lnTo>
                  <a:lnTo>
                    <a:pt x="506" y="189"/>
                  </a:lnTo>
                  <a:lnTo>
                    <a:pt x="505" y="190"/>
                  </a:lnTo>
                  <a:lnTo>
                    <a:pt x="504" y="189"/>
                  </a:lnTo>
                  <a:lnTo>
                    <a:pt x="504" y="188"/>
                  </a:lnTo>
                  <a:lnTo>
                    <a:pt x="504" y="186"/>
                  </a:lnTo>
                  <a:lnTo>
                    <a:pt x="502" y="185"/>
                  </a:lnTo>
                  <a:lnTo>
                    <a:pt x="501" y="186"/>
                  </a:lnTo>
                  <a:lnTo>
                    <a:pt x="501" y="190"/>
                  </a:lnTo>
                  <a:lnTo>
                    <a:pt x="501" y="194"/>
                  </a:lnTo>
                  <a:lnTo>
                    <a:pt x="499" y="195"/>
                  </a:lnTo>
                  <a:lnTo>
                    <a:pt x="498" y="191"/>
                  </a:lnTo>
                  <a:lnTo>
                    <a:pt x="498" y="192"/>
                  </a:lnTo>
                  <a:lnTo>
                    <a:pt x="496" y="194"/>
                  </a:lnTo>
                  <a:lnTo>
                    <a:pt x="495" y="194"/>
                  </a:lnTo>
                  <a:lnTo>
                    <a:pt x="494" y="195"/>
                  </a:lnTo>
                  <a:lnTo>
                    <a:pt x="494" y="196"/>
                  </a:lnTo>
                  <a:lnTo>
                    <a:pt x="490" y="197"/>
                  </a:lnTo>
                  <a:lnTo>
                    <a:pt x="488" y="195"/>
                  </a:lnTo>
                  <a:lnTo>
                    <a:pt x="488" y="196"/>
                  </a:lnTo>
                  <a:lnTo>
                    <a:pt x="488" y="197"/>
                  </a:lnTo>
                  <a:lnTo>
                    <a:pt x="478" y="204"/>
                  </a:lnTo>
                  <a:lnTo>
                    <a:pt x="476" y="206"/>
                  </a:lnTo>
                  <a:lnTo>
                    <a:pt x="474" y="206"/>
                  </a:lnTo>
                  <a:lnTo>
                    <a:pt x="472" y="207"/>
                  </a:lnTo>
                  <a:lnTo>
                    <a:pt x="471" y="208"/>
                  </a:lnTo>
                  <a:lnTo>
                    <a:pt x="470" y="209"/>
                  </a:lnTo>
                  <a:lnTo>
                    <a:pt x="468" y="209"/>
                  </a:lnTo>
                  <a:lnTo>
                    <a:pt x="466" y="208"/>
                  </a:lnTo>
                  <a:lnTo>
                    <a:pt x="465" y="208"/>
                  </a:lnTo>
                  <a:lnTo>
                    <a:pt x="464" y="209"/>
                  </a:lnTo>
                  <a:lnTo>
                    <a:pt x="462" y="209"/>
                  </a:lnTo>
                  <a:lnTo>
                    <a:pt x="460" y="208"/>
                  </a:lnTo>
                  <a:lnTo>
                    <a:pt x="457" y="207"/>
                  </a:lnTo>
                  <a:lnTo>
                    <a:pt x="453" y="204"/>
                  </a:lnTo>
                  <a:lnTo>
                    <a:pt x="452" y="204"/>
                  </a:lnTo>
                  <a:lnTo>
                    <a:pt x="451" y="204"/>
                  </a:lnTo>
                  <a:lnTo>
                    <a:pt x="446" y="206"/>
                  </a:lnTo>
                  <a:lnTo>
                    <a:pt x="443" y="204"/>
                  </a:lnTo>
                  <a:lnTo>
                    <a:pt x="443" y="202"/>
                  </a:lnTo>
                  <a:lnTo>
                    <a:pt x="443" y="200"/>
                  </a:lnTo>
                  <a:lnTo>
                    <a:pt x="442" y="197"/>
                  </a:lnTo>
                  <a:lnTo>
                    <a:pt x="443" y="197"/>
                  </a:lnTo>
                  <a:lnTo>
                    <a:pt x="445" y="198"/>
                  </a:lnTo>
                  <a:lnTo>
                    <a:pt x="448" y="201"/>
                  </a:lnTo>
                  <a:lnTo>
                    <a:pt x="450" y="201"/>
                  </a:lnTo>
                  <a:lnTo>
                    <a:pt x="451" y="200"/>
                  </a:lnTo>
                  <a:lnTo>
                    <a:pt x="448" y="200"/>
                  </a:lnTo>
                  <a:lnTo>
                    <a:pt x="447" y="197"/>
                  </a:lnTo>
                  <a:lnTo>
                    <a:pt x="445" y="196"/>
                  </a:lnTo>
                  <a:lnTo>
                    <a:pt x="442" y="195"/>
                  </a:lnTo>
                  <a:lnTo>
                    <a:pt x="443" y="194"/>
                  </a:lnTo>
                  <a:lnTo>
                    <a:pt x="445" y="194"/>
                  </a:lnTo>
                  <a:lnTo>
                    <a:pt x="446" y="192"/>
                  </a:lnTo>
                  <a:lnTo>
                    <a:pt x="443" y="192"/>
                  </a:lnTo>
                  <a:lnTo>
                    <a:pt x="442" y="190"/>
                  </a:lnTo>
                  <a:lnTo>
                    <a:pt x="443" y="189"/>
                  </a:lnTo>
                  <a:lnTo>
                    <a:pt x="446" y="189"/>
                  </a:lnTo>
                  <a:lnTo>
                    <a:pt x="448" y="188"/>
                  </a:lnTo>
                  <a:lnTo>
                    <a:pt x="450" y="186"/>
                  </a:lnTo>
                  <a:lnTo>
                    <a:pt x="448" y="186"/>
                  </a:lnTo>
                  <a:lnTo>
                    <a:pt x="445" y="186"/>
                  </a:lnTo>
                  <a:lnTo>
                    <a:pt x="441" y="188"/>
                  </a:lnTo>
                  <a:lnTo>
                    <a:pt x="439" y="189"/>
                  </a:lnTo>
                  <a:lnTo>
                    <a:pt x="433" y="183"/>
                  </a:lnTo>
                  <a:lnTo>
                    <a:pt x="431" y="183"/>
                  </a:lnTo>
                  <a:lnTo>
                    <a:pt x="429" y="180"/>
                  </a:lnTo>
                  <a:lnTo>
                    <a:pt x="429" y="179"/>
                  </a:lnTo>
                  <a:lnTo>
                    <a:pt x="428" y="178"/>
                  </a:lnTo>
                  <a:lnTo>
                    <a:pt x="427" y="178"/>
                  </a:lnTo>
                  <a:lnTo>
                    <a:pt x="425" y="176"/>
                  </a:lnTo>
                  <a:lnTo>
                    <a:pt x="424" y="176"/>
                  </a:lnTo>
                  <a:lnTo>
                    <a:pt x="423" y="174"/>
                  </a:lnTo>
                  <a:lnTo>
                    <a:pt x="422" y="172"/>
                  </a:lnTo>
                  <a:lnTo>
                    <a:pt x="422" y="168"/>
                  </a:lnTo>
                  <a:lnTo>
                    <a:pt x="423" y="167"/>
                  </a:lnTo>
                  <a:lnTo>
                    <a:pt x="424" y="167"/>
                  </a:lnTo>
                  <a:lnTo>
                    <a:pt x="423" y="166"/>
                  </a:lnTo>
                  <a:lnTo>
                    <a:pt x="423" y="165"/>
                  </a:lnTo>
                  <a:lnTo>
                    <a:pt x="424" y="162"/>
                  </a:lnTo>
                  <a:lnTo>
                    <a:pt x="425" y="161"/>
                  </a:lnTo>
                  <a:lnTo>
                    <a:pt x="427" y="162"/>
                  </a:lnTo>
                  <a:lnTo>
                    <a:pt x="428" y="164"/>
                  </a:lnTo>
                  <a:lnTo>
                    <a:pt x="429" y="164"/>
                  </a:lnTo>
                  <a:lnTo>
                    <a:pt x="429" y="166"/>
                  </a:lnTo>
                  <a:lnTo>
                    <a:pt x="430" y="166"/>
                  </a:lnTo>
                  <a:lnTo>
                    <a:pt x="431" y="165"/>
                  </a:lnTo>
                  <a:lnTo>
                    <a:pt x="431" y="168"/>
                  </a:lnTo>
                  <a:lnTo>
                    <a:pt x="433" y="168"/>
                  </a:lnTo>
                  <a:lnTo>
                    <a:pt x="433" y="167"/>
                  </a:lnTo>
                  <a:lnTo>
                    <a:pt x="433" y="165"/>
                  </a:lnTo>
                  <a:lnTo>
                    <a:pt x="433" y="164"/>
                  </a:lnTo>
                  <a:lnTo>
                    <a:pt x="434" y="165"/>
                  </a:lnTo>
                  <a:lnTo>
                    <a:pt x="437" y="168"/>
                  </a:lnTo>
                  <a:lnTo>
                    <a:pt x="440" y="168"/>
                  </a:lnTo>
                  <a:lnTo>
                    <a:pt x="439" y="167"/>
                  </a:lnTo>
                  <a:lnTo>
                    <a:pt x="435" y="164"/>
                  </a:lnTo>
                  <a:lnTo>
                    <a:pt x="435" y="161"/>
                  </a:lnTo>
                  <a:lnTo>
                    <a:pt x="436" y="161"/>
                  </a:lnTo>
                  <a:lnTo>
                    <a:pt x="437" y="162"/>
                  </a:lnTo>
                  <a:lnTo>
                    <a:pt x="439" y="162"/>
                  </a:lnTo>
                  <a:lnTo>
                    <a:pt x="440" y="164"/>
                  </a:lnTo>
                  <a:lnTo>
                    <a:pt x="441" y="164"/>
                  </a:lnTo>
                  <a:lnTo>
                    <a:pt x="442" y="162"/>
                  </a:lnTo>
                  <a:lnTo>
                    <a:pt x="442" y="160"/>
                  </a:lnTo>
                  <a:lnTo>
                    <a:pt x="442" y="159"/>
                  </a:lnTo>
                  <a:lnTo>
                    <a:pt x="442" y="157"/>
                  </a:lnTo>
                  <a:lnTo>
                    <a:pt x="443" y="157"/>
                  </a:lnTo>
                  <a:lnTo>
                    <a:pt x="442" y="156"/>
                  </a:lnTo>
                  <a:lnTo>
                    <a:pt x="442" y="155"/>
                  </a:lnTo>
                  <a:lnTo>
                    <a:pt x="445" y="154"/>
                  </a:lnTo>
                  <a:lnTo>
                    <a:pt x="445" y="153"/>
                  </a:lnTo>
                  <a:lnTo>
                    <a:pt x="443" y="151"/>
                  </a:lnTo>
                  <a:lnTo>
                    <a:pt x="442" y="151"/>
                  </a:lnTo>
                  <a:lnTo>
                    <a:pt x="442" y="150"/>
                  </a:lnTo>
                  <a:lnTo>
                    <a:pt x="441" y="154"/>
                  </a:lnTo>
                  <a:lnTo>
                    <a:pt x="441" y="153"/>
                  </a:lnTo>
                  <a:lnTo>
                    <a:pt x="441" y="151"/>
                  </a:lnTo>
                  <a:lnTo>
                    <a:pt x="442" y="149"/>
                  </a:lnTo>
                  <a:lnTo>
                    <a:pt x="442" y="147"/>
                  </a:lnTo>
                  <a:lnTo>
                    <a:pt x="445" y="145"/>
                  </a:lnTo>
                  <a:lnTo>
                    <a:pt x="446" y="148"/>
                  </a:lnTo>
                  <a:lnTo>
                    <a:pt x="448" y="149"/>
                  </a:lnTo>
                  <a:lnTo>
                    <a:pt x="448" y="148"/>
                  </a:lnTo>
                  <a:lnTo>
                    <a:pt x="447" y="147"/>
                  </a:lnTo>
                  <a:lnTo>
                    <a:pt x="446" y="145"/>
                  </a:lnTo>
                  <a:lnTo>
                    <a:pt x="446" y="144"/>
                  </a:lnTo>
                  <a:lnTo>
                    <a:pt x="447" y="144"/>
                  </a:lnTo>
                  <a:lnTo>
                    <a:pt x="448" y="144"/>
                  </a:lnTo>
                  <a:lnTo>
                    <a:pt x="448" y="138"/>
                  </a:lnTo>
                  <a:lnTo>
                    <a:pt x="450" y="138"/>
                  </a:lnTo>
                  <a:lnTo>
                    <a:pt x="450" y="139"/>
                  </a:lnTo>
                  <a:lnTo>
                    <a:pt x="451" y="141"/>
                  </a:lnTo>
                  <a:lnTo>
                    <a:pt x="452" y="142"/>
                  </a:lnTo>
                  <a:lnTo>
                    <a:pt x="452" y="144"/>
                  </a:lnTo>
                  <a:lnTo>
                    <a:pt x="453" y="144"/>
                  </a:lnTo>
                  <a:lnTo>
                    <a:pt x="454" y="143"/>
                  </a:lnTo>
                  <a:lnTo>
                    <a:pt x="454" y="142"/>
                  </a:lnTo>
                  <a:lnTo>
                    <a:pt x="454" y="141"/>
                  </a:lnTo>
                  <a:lnTo>
                    <a:pt x="456" y="139"/>
                  </a:lnTo>
                  <a:lnTo>
                    <a:pt x="454" y="138"/>
                  </a:lnTo>
                  <a:lnTo>
                    <a:pt x="453" y="139"/>
                  </a:lnTo>
                  <a:lnTo>
                    <a:pt x="452" y="138"/>
                  </a:lnTo>
                  <a:lnTo>
                    <a:pt x="451" y="137"/>
                  </a:lnTo>
                  <a:lnTo>
                    <a:pt x="453" y="137"/>
                  </a:lnTo>
                  <a:lnTo>
                    <a:pt x="454" y="137"/>
                  </a:lnTo>
                  <a:lnTo>
                    <a:pt x="456" y="136"/>
                  </a:lnTo>
                  <a:lnTo>
                    <a:pt x="451" y="136"/>
                  </a:lnTo>
                  <a:lnTo>
                    <a:pt x="448" y="135"/>
                  </a:lnTo>
                  <a:lnTo>
                    <a:pt x="448" y="133"/>
                  </a:lnTo>
                  <a:lnTo>
                    <a:pt x="451" y="132"/>
                  </a:lnTo>
                  <a:lnTo>
                    <a:pt x="453" y="133"/>
                  </a:lnTo>
                  <a:lnTo>
                    <a:pt x="456" y="133"/>
                  </a:lnTo>
                  <a:lnTo>
                    <a:pt x="452" y="131"/>
                  </a:lnTo>
                  <a:lnTo>
                    <a:pt x="454" y="130"/>
                  </a:lnTo>
                  <a:lnTo>
                    <a:pt x="458" y="132"/>
                  </a:lnTo>
                  <a:lnTo>
                    <a:pt x="459" y="132"/>
                  </a:lnTo>
                  <a:lnTo>
                    <a:pt x="459" y="131"/>
                  </a:lnTo>
                  <a:lnTo>
                    <a:pt x="457" y="129"/>
                  </a:lnTo>
                  <a:lnTo>
                    <a:pt x="457" y="127"/>
                  </a:lnTo>
                  <a:lnTo>
                    <a:pt x="458" y="127"/>
                  </a:lnTo>
                  <a:lnTo>
                    <a:pt x="459" y="127"/>
                  </a:lnTo>
                  <a:lnTo>
                    <a:pt x="459" y="126"/>
                  </a:lnTo>
                  <a:lnTo>
                    <a:pt x="460" y="126"/>
                  </a:lnTo>
                  <a:lnTo>
                    <a:pt x="462" y="126"/>
                  </a:lnTo>
                  <a:lnTo>
                    <a:pt x="465" y="127"/>
                  </a:lnTo>
                  <a:lnTo>
                    <a:pt x="466" y="127"/>
                  </a:lnTo>
                  <a:lnTo>
                    <a:pt x="468" y="129"/>
                  </a:lnTo>
                  <a:lnTo>
                    <a:pt x="469" y="127"/>
                  </a:lnTo>
                  <a:lnTo>
                    <a:pt x="469" y="125"/>
                  </a:lnTo>
                  <a:lnTo>
                    <a:pt x="468" y="124"/>
                  </a:lnTo>
                  <a:lnTo>
                    <a:pt x="466" y="124"/>
                  </a:lnTo>
                  <a:lnTo>
                    <a:pt x="466" y="123"/>
                  </a:lnTo>
                  <a:lnTo>
                    <a:pt x="465" y="124"/>
                  </a:lnTo>
                  <a:lnTo>
                    <a:pt x="463" y="124"/>
                  </a:lnTo>
                  <a:lnTo>
                    <a:pt x="463" y="123"/>
                  </a:lnTo>
                  <a:lnTo>
                    <a:pt x="466" y="120"/>
                  </a:lnTo>
                  <a:lnTo>
                    <a:pt x="468" y="121"/>
                  </a:lnTo>
                  <a:lnTo>
                    <a:pt x="469" y="123"/>
                  </a:lnTo>
                  <a:lnTo>
                    <a:pt x="470" y="123"/>
                  </a:lnTo>
                  <a:lnTo>
                    <a:pt x="471" y="123"/>
                  </a:lnTo>
                  <a:lnTo>
                    <a:pt x="471" y="121"/>
                  </a:lnTo>
                  <a:lnTo>
                    <a:pt x="470" y="120"/>
                  </a:lnTo>
                  <a:lnTo>
                    <a:pt x="469" y="120"/>
                  </a:lnTo>
                  <a:lnTo>
                    <a:pt x="470" y="119"/>
                  </a:lnTo>
                  <a:lnTo>
                    <a:pt x="471" y="119"/>
                  </a:lnTo>
                  <a:lnTo>
                    <a:pt x="474" y="120"/>
                  </a:lnTo>
                  <a:lnTo>
                    <a:pt x="475" y="121"/>
                  </a:lnTo>
                  <a:lnTo>
                    <a:pt x="476" y="120"/>
                  </a:lnTo>
                  <a:lnTo>
                    <a:pt x="475" y="120"/>
                  </a:lnTo>
                  <a:lnTo>
                    <a:pt x="474" y="119"/>
                  </a:lnTo>
                  <a:lnTo>
                    <a:pt x="475" y="118"/>
                  </a:lnTo>
                  <a:lnTo>
                    <a:pt x="476" y="118"/>
                  </a:lnTo>
                  <a:lnTo>
                    <a:pt x="478" y="119"/>
                  </a:lnTo>
                  <a:lnTo>
                    <a:pt x="480" y="118"/>
                  </a:lnTo>
                  <a:lnTo>
                    <a:pt x="481" y="119"/>
                  </a:lnTo>
                  <a:lnTo>
                    <a:pt x="482" y="119"/>
                  </a:lnTo>
                  <a:lnTo>
                    <a:pt x="483" y="119"/>
                  </a:lnTo>
                  <a:lnTo>
                    <a:pt x="481" y="117"/>
                  </a:lnTo>
                  <a:lnTo>
                    <a:pt x="478" y="115"/>
                  </a:lnTo>
                  <a:lnTo>
                    <a:pt x="488" y="109"/>
                  </a:lnTo>
                  <a:lnTo>
                    <a:pt x="489" y="108"/>
                  </a:lnTo>
                  <a:lnTo>
                    <a:pt x="486" y="109"/>
                  </a:lnTo>
                  <a:lnTo>
                    <a:pt x="480" y="113"/>
                  </a:lnTo>
                  <a:lnTo>
                    <a:pt x="478" y="114"/>
                  </a:lnTo>
                  <a:lnTo>
                    <a:pt x="477" y="114"/>
                  </a:lnTo>
                  <a:lnTo>
                    <a:pt x="478" y="111"/>
                  </a:lnTo>
                  <a:lnTo>
                    <a:pt x="480" y="109"/>
                  </a:lnTo>
                  <a:lnTo>
                    <a:pt x="478" y="109"/>
                  </a:lnTo>
                  <a:lnTo>
                    <a:pt x="475" y="112"/>
                  </a:lnTo>
                  <a:lnTo>
                    <a:pt x="474" y="114"/>
                  </a:lnTo>
                  <a:lnTo>
                    <a:pt x="472" y="114"/>
                  </a:lnTo>
                  <a:lnTo>
                    <a:pt x="471" y="113"/>
                  </a:lnTo>
                  <a:lnTo>
                    <a:pt x="471" y="114"/>
                  </a:lnTo>
                  <a:lnTo>
                    <a:pt x="470" y="115"/>
                  </a:lnTo>
                  <a:lnTo>
                    <a:pt x="469" y="117"/>
                  </a:lnTo>
                  <a:lnTo>
                    <a:pt x="468" y="115"/>
                  </a:lnTo>
                  <a:lnTo>
                    <a:pt x="466" y="118"/>
                  </a:lnTo>
                  <a:lnTo>
                    <a:pt x="465" y="119"/>
                  </a:lnTo>
                  <a:lnTo>
                    <a:pt x="464" y="120"/>
                  </a:lnTo>
                  <a:lnTo>
                    <a:pt x="463" y="120"/>
                  </a:lnTo>
                  <a:lnTo>
                    <a:pt x="462" y="120"/>
                  </a:lnTo>
                  <a:lnTo>
                    <a:pt x="463" y="119"/>
                  </a:lnTo>
                  <a:lnTo>
                    <a:pt x="464" y="118"/>
                  </a:lnTo>
                  <a:lnTo>
                    <a:pt x="463" y="117"/>
                  </a:lnTo>
                  <a:lnTo>
                    <a:pt x="463" y="115"/>
                  </a:lnTo>
                  <a:lnTo>
                    <a:pt x="462" y="115"/>
                  </a:lnTo>
                  <a:lnTo>
                    <a:pt x="460" y="117"/>
                  </a:lnTo>
                  <a:lnTo>
                    <a:pt x="459" y="118"/>
                  </a:lnTo>
                  <a:lnTo>
                    <a:pt x="458" y="119"/>
                  </a:lnTo>
                  <a:lnTo>
                    <a:pt x="457" y="120"/>
                  </a:lnTo>
                  <a:lnTo>
                    <a:pt x="457" y="121"/>
                  </a:lnTo>
                  <a:lnTo>
                    <a:pt x="456" y="123"/>
                  </a:lnTo>
                  <a:lnTo>
                    <a:pt x="456" y="125"/>
                  </a:lnTo>
                  <a:lnTo>
                    <a:pt x="453" y="127"/>
                  </a:lnTo>
                  <a:lnTo>
                    <a:pt x="453" y="123"/>
                  </a:lnTo>
                  <a:lnTo>
                    <a:pt x="452" y="123"/>
                  </a:lnTo>
                  <a:lnTo>
                    <a:pt x="451" y="124"/>
                  </a:lnTo>
                  <a:lnTo>
                    <a:pt x="451" y="126"/>
                  </a:lnTo>
                  <a:lnTo>
                    <a:pt x="452" y="127"/>
                  </a:lnTo>
                  <a:lnTo>
                    <a:pt x="451" y="129"/>
                  </a:lnTo>
                  <a:lnTo>
                    <a:pt x="450" y="129"/>
                  </a:lnTo>
                  <a:lnTo>
                    <a:pt x="450" y="131"/>
                  </a:lnTo>
                  <a:lnTo>
                    <a:pt x="447" y="132"/>
                  </a:lnTo>
                  <a:lnTo>
                    <a:pt x="446" y="132"/>
                  </a:lnTo>
                  <a:lnTo>
                    <a:pt x="445" y="132"/>
                  </a:lnTo>
                  <a:lnTo>
                    <a:pt x="443" y="131"/>
                  </a:lnTo>
                  <a:lnTo>
                    <a:pt x="443" y="130"/>
                  </a:lnTo>
                  <a:lnTo>
                    <a:pt x="445" y="131"/>
                  </a:lnTo>
                  <a:lnTo>
                    <a:pt x="446" y="131"/>
                  </a:lnTo>
                  <a:lnTo>
                    <a:pt x="447" y="130"/>
                  </a:lnTo>
                  <a:lnTo>
                    <a:pt x="446" y="129"/>
                  </a:lnTo>
                  <a:lnTo>
                    <a:pt x="445" y="129"/>
                  </a:lnTo>
                  <a:lnTo>
                    <a:pt x="445" y="127"/>
                  </a:lnTo>
                  <a:lnTo>
                    <a:pt x="446" y="126"/>
                  </a:lnTo>
                  <a:lnTo>
                    <a:pt x="445" y="125"/>
                  </a:lnTo>
                  <a:lnTo>
                    <a:pt x="443" y="126"/>
                  </a:lnTo>
                  <a:lnTo>
                    <a:pt x="442" y="129"/>
                  </a:lnTo>
                  <a:lnTo>
                    <a:pt x="442" y="127"/>
                  </a:lnTo>
                  <a:lnTo>
                    <a:pt x="441" y="125"/>
                  </a:lnTo>
                  <a:lnTo>
                    <a:pt x="440" y="125"/>
                  </a:lnTo>
                  <a:lnTo>
                    <a:pt x="439" y="125"/>
                  </a:lnTo>
                  <a:lnTo>
                    <a:pt x="440" y="126"/>
                  </a:lnTo>
                  <a:lnTo>
                    <a:pt x="440" y="127"/>
                  </a:lnTo>
                  <a:lnTo>
                    <a:pt x="441" y="129"/>
                  </a:lnTo>
                  <a:lnTo>
                    <a:pt x="440" y="129"/>
                  </a:lnTo>
                  <a:lnTo>
                    <a:pt x="439" y="130"/>
                  </a:lnTo>
                  <a:lnTo>
                    <a:pt x="439" y="131"/>
                  </a:lnTo>
                  <a:lnTo>
                    <a:pt x="440" y="130"/>
                  </a:lnTo>
                  <a:lnTo>
                    <a:pt x="441" y="131"/>
                  </a:lnTo>
                  <a:lnTo>
                    <a:pt x="442" y="132"/>
                  </a:lnTo>
                  <a:lnTo>
                    <a:pt x="442" y="133"/>
                  </a:lnTo>
                  <a:lnTo>
                    <a:pt x="442" y="136"/>
                  </a:lnTo>
                  <a:lnTo>
                    <a:pt x="441" y="136"/>
                  </a:lnTo>
                  <a:lnTo>
                    <a:pt x="440" y="137"/>
                  </a:lnTo>
                  <a:lnTo>
                    <a:pt x="437" y="138"/>
                  </a:lnTo>
                  <a:lnTo>
                    <a:pt x="436" y="139"/>
                  </a:lnTo>
                  <a:lnTo>
                    <a:pt x="435" y="141"/>
                  </a:lnTo>
                  <a:lnTo>
                    <a:pt x="434" y="142"/>
                  </a:lnTo>
                  <a:lnTo>
                    <a:pt x="430" y="144"/>
                  </a:lnTo>
                  <a:lnTo>
                    <a:pt x="429" y="147"/>
                  </a:lnTo>
                  <a:lnTo>
                    <a:pt x="427" y="147"/>
                  </a:lnTo>
                  <a:lnTo>
                    <a:pt x="424" y="147"/>
                  </a:lnTo>
                  <a:lnTo>
                    <a:pt x="424" y="144"/>
                  </a:lnTo>
                  <a:lnTo>
                    <a:pt x="422" y="142"/>
                  </a:lnTo>
                  <a:lnTo>
                    <a:pt x="421" y="139"/>
                  </a:lnTo>
                  <a:lnTo>
                    <a:pt x="421" y="138"/>
                  </a:lnTo>
                  <a:lnTo>
                    <a:pt x="422" y="138"/>
                  </a:lnTo>
                  <a:lnTo>
                    <a:pt x="423" y="139"/>
                  </a:lnTo>
                  <a:lnTo>
                    <a:pt x="427" y="138"/>
                  </a:lnTo>
                  <a:lnTo>
                    <a:pt x="427" y="137"/>
                  </a:lnTo>
                  <a:lnTo>
                    <a:pt x="424" y="137"/>
                  </a:lnTo>
                  <a:lnTo>
                    <a:pt x="422" y="137"/>
                  </a:lnTo>
                  <a:lnTo>
                    <a:pt x="421" y="137"/>
                  </a:lnTo>
                  <a:lnTo>
                    <a:pt x="419" y="135"/>
                  </a:lnTo>
                  <a:lnTo>
                    <a:pt x="421" y="135"/>
                  </a:lnTo>
                  <a:lnTo>
                    <a:pt x="424" y="133"/>
                  </a:lnTo>
                  <a:lnTo>
                    <a:pt x="425" y="132"/>
                  </a:lnTo>
                  <a:lnTo>
                    <a:pt x="425" y="131"/>
                  </a:lnTo>
                  <a:lnTo>
                    <a:pt x="427" y="129"/>
                  </a:lnTo>
                  <a:lnTo>
                    <a:pt x="428" y="129"/>
                  </a:lnTo>
                  <a:lnTo>
                    <a:pt x="425" y="127"/>
                  </a:lnTo>
                  <a:lnTo>
                    <a:pt x="423" y="127"/>
                  </a:lnTo>
                  <a:lnTo>
                    <a:pt x="421" y="127"/>
                  </a:lnTo>
                  <a:lnTo>
                    <a:pt x="418" y="126"/>
                  </a:lnTo>
                  <a:lnTo>
                    <a:pt x="418" y="125"/>
                  </a:lnTo>
                  <a:lnTo>
                    <a:pt x="419" y="124"/>
                  </a:lnTo>
                  <a:lnTo>
                    <a:pt x="421" y="124"/>
                  </a:lnTo>
                  <a:lnTo>
                    <a:pt x="422" y="124"/>
                  </a:lnTo>
                  <a:lnTo>
                    <a:pt x="423" y="124"/>
                  </a:lnTo>
                  <a:lnTo>
                    <a:pt x="423" y="121"/>
                  </a:lnTo>
                  <a:lnTo>
                    <a:pt x="424" y="121"/>
                  </a:lnTo>
                  <a:lnTo>
                    <a:pt x="427" y="121"/>
                  </a:lnTo>
                  <a:lnTo>
                    <a:pt x="427" y="120"/>
                  </a:lnTo>
                  <a:lnTo>
                    <a:pt x="425" y="120"/>
                  </a:lnTo>
                  <a:lnTo>
                    <a:pt x="423" y="119"/>
                  </a:lnTo>
                  <a:lnTo>
                    <a:pt x="423" y="118"/>
                  </a:lnTo>
                  <a:lnTo>
                    <a:pt x="424" y="118"/>
                  </a:lnTo>
                  <a:lnTo>
                    <a:pt x="425" y="118"/>
                  </a:lnTo>
                  <a:lnTo>
                    <a:pt x="428" y="119"/>
                  </a:lnTo>
                  <a:lnTo>
                    <a:pt x="429" y="118"/>
                  </a:lnTo>
                  <a:lnTo>
                    <a:pt x="431" y="119"/>
                  </a:lnTo>
                  <a:lnTo>
                    <a:pt x="433" y="120"/>
                  </a:lnTo>
                  <a:lnTo>
                    <a:pt x="434" y="121"/>
                  </a:lnTo>
                  <a:lnTo>
                    <a:pt x="435" y="120"/>
                  </a:lnTo>
                  <a:lnTo>
                    <a:pt x="435" y="119"/>
                  </a:lnTo>
                  <a:lnTo>
                    <a:pt x="434" y="119"/>
                  </a:lnTo>
                  <a:lnTo>
                    <a:pt x="431" y="115"/>
                  </a:lnTo>
                  <a:lnTo>
                    <a:pt x="433" y="115"/>
                  </a:lnTo>
                  <a:lnTo>
                    <a:pt x="434" y="117"/>
                  </a:lnTo>
                  <a:lnTo>
                    <a:pt x="435" y="115"/>
                  </a:lnTo>
                  <a:lnTo>
                    <a:pt x="433" y="113"/>
                  </a:lnTo>
                  <a:lnTo>
                    <a:pt x="433" y="112"/>
                  </a:lnTo>
                  <a:lnTo>
                    <a:pt x="434" y="111"/>
                  </a:lnTo>
                  <a:lnTo>
                    <a:pt x="435" y="111"/>
                  </a:lnTo>
                  <a:lnTo>
                    <a:pt x="435" y="112"/>
                  </a:lnTo>
                  <a:lnTo>
                    <a:pt x="436" y="112"/>
                  </a:lnTo>
                  <a:lnTo>
                    <a:pt x="436" y="115"/>
                  </a:lnTo>
                  <a:lnTo>
                    <a:pt x="436" y="117"/>
                  </a:lnTo>
                  <a:lnTo>
                    <a:pt x="437" y="117"/>
                  </a:lnTo>
                  <a:lnTo>
                    <a:pt x="439" y="114"/>
                  </a:lnTo>
                  <a:lnTo>
                    <a:pt x="439" y="113"/>
                  </a:lnTo>
                  <a:lnTo>
                    <a:pt x="440" y="113"/>
                  </a:lnTo>
                  <a:lnTo>
                    <a:pt x="442" y="112"/>
                  </a:lnTo>
                  <a:lnTo>
                    <a:pt x="441" y="111"/>
                  </a:lnTo>
                  <a:lnTo>
                    <a:pt x="440" y="111"/>
                  </a:lnTo>
                  <a:lnTo>
                    <a:pt x="437" y="111"/>
                  </a:lnTo>
                  <a:lnTo>
                    <a:pt x="439" y="109"/>
                  </a:lnTo>
                  <a:lnTo>
                    <a:pt x="440" y="109"/>
                  </a:lnTo>
                  <a:lnTo>
                    <a:pt x="440" y="108"/>
                  </a:lnTo>
                  <a:lnTo>
                    <a:pt x="441" y="108"/>
                  </a:lnTo>
                  <a:lnTo>
                    <a:pt x="441" y="107"/>
                  </a:lnTo>
                  <a:lnTo>
                    <a:pt x="442" y="106"/>
                  </a:lnTo>
                  <a:lnTo>
                    <a:pt x="445" y="105"/>
                  </a:lnTo>
                  <a:lnTo>
                    <a:pt x="446" y="105"/>
                  </a:lnTo>
                  <a:lnTo>
                    <a:pt x="446" y="103"/>
                  </a:lnTo>
                  <a:lnTo>
                    <a:pt x="448" y="103"/>
                  </a:lnTo>
                  <a:lnTo>
                    <a:pt x="450" y="103"/>
                  </a:lnTo>
                  <a:lnTo>
                    <a:pt x="447" y="102"/>
                  </a:lnTo>
                  <a:lnTo>
                    <a:pt x="447" y="101"/>
                  </a:lnTo>
                  <a:lnTo>
                    <a:pt x="446" y="100"/>
                  </a:lnTo>
                  <a:lnTo>
                    <a:pt x="446" y="99"/>
                  </a:lnTo>
                  <a:lnTo>
                    <a:pt x="447" y="99"/>
                  </a:lnTo>
                  <a:lnTo>
                    <a:pt x="448" y="97"/>
                  </a:lnTo>
                  <a:lnTo>
                    <a:pt x="448" y="99"/>
                  </a:lnTo>
                  <a:lnTo>
                    <a:pt x="450" y="99"/>
                  </a:lnTo>
                  <a:lnTo>
                    <a:pt x="453" y="99"/>
                  </a:lnTo>
                  <a:lnTo>
                    <a:pt x="454" y="99"/>
                  </a:lnTo>
                  <a:lnTo>
                    <a:pt x="458" y="99"/>
                  </a:lnTo>
                  <a:lnTo>
                    <a:pt x="459" y="100"/>
                  </a:lnTo>
                  <a:lnTo>
                    <a:pt x="460" y="99"/>
                  </a:lnTo>
                  <a:lnTo>
                    <a:pt x="460" y="97"/>
                  </a:lnTo>
                  <a:lnTo>
                    <a:pt x="459" y="96"/>
                  </a:lnTo>
                  <a:lnTo>
                    <a:pt x="458" y="96"/>
                  </a:lnTo>
                  <a:lnTo>
                    <a:pt x="457" y="95"/>
                  </a:lnTo>
                  <a:lnTo>
                    <a:pt x="457" y="96"/>
                  </a:lnTo>
                  <a:lnTo>
                    <a:pt x="456" y="96"/>
                  </a:lnTo>
                  <a:lnTo>
                    <a:pt x="456" y="95"/>
                  </a:lnTo>
                  <a:lnTo>
                    <a:pt x="457" y="94"/>
                  </a:lnTo>
                  <a:lnTo>
                    <a:pt x="458" y="94"/>
                  </a:lnTo>
                  <a:lnTo>
                    <a:pt x="458" y="95"/>
                  </a:lnTo>
                  <a:lnTo>
                    <a:pt x="462" y="97"/>
                  </a:lnTo>
                  <a:lnTo>
                    <a:pt x="462" y="96"/>
                  </a:lnTo>
                  <a:lnTo>
                    <a:pt x="462" y="95"/>
                  </a:lnTo>
                  <a:lnTo>
                    <a:pt x="460" y="95"/>
                  </a:lnTo>
                  <a:lnTo>
                    <a:pt x="459" y="95"/>
                  </a:lnTo>
                  <a:lnTo>
                    <a:pt x="459" y="94"/>
                  </a:lnTo>
                  <a:lnTo>
                    <a:pt x="459" y="93"/>
                  </a:lnTo>
                  <a:lnTo>
                    <a:pt x="459" y="91"/>
                  </a:lnTo>
                  <a:lnTo>
                    <a:pt x="460" y="91"/>
                  </a:lnTo>
                  <a:lnTo>
                    <a:pt x="462" y="91"/>
                  </a:lnTo>
                  <a:lnTo>
                    <a:pt x="463" y="93"/>
                  </a:lnTo>
                  <a:lnTo>
                    <a:pt x="464" y="95"/>
                  </a:lnTo>
                  <a:lnTo>
                    <a:pt x="465" y="95"/>
                  </a:lnTo>
                  <a:lnTo>
                    <a:pt x="465" y="93"/>
                  </a:lnTo>
                  <a:lnTo>
                    <a:pt x="464" y="93"/>
                  </a:lnTo>
                  <a:lnTo>
                    <a:pt x="464" y="91"/>
                  </a:lnTo>
                  <a:lnTo>
                    <a:pt x="464" y="90"/>
                  </a:lnTo>
                  <a:lnTo>
                    <a:pt x="464" y="89"/>
                  </a:lnTo>
                  <a:lnTo>
                    <a:pt x="465" y="90"/>
                  </a:lnTo>
                  <a:lnTo>
                    <a:pt x="466" y="90"/>
                  </a:lnTo>
                  <a:lnTo>
                    <a:pt x="469" y="91"/>
                  </a:lnTo>
                  <a:lnTo>
                    <a:pt x="471" y="91"/>
                  </a:lnTo>
                  <a:lnTo>
                    <a:pt x="471" y="90"/>
                  </a:lnTo>
                  <a:lnTo>
                    <a:pt x="470" y="90"/>
                  </a:lnTo>
                  <a:lnTo>
                    <a:pt x="470" y="89"/>
                  </a:lnTo>
                  <a:lnTo>
                    <a:pt x="469" y="88"/>
                  </a:lnTo>
                  <a:lnTo>
                    <a:pt x="468" y="88"/>
                  </a:lnTo>
                  <a:lnTo>
                    <a:pt x="468" y="87"/>
                  </a:lnTo>
                  <a:lnTo>
                    <a:pt x="469" y="87"/>
                  </a:lnTo>
                  <a:lnTo>
                    <a:pt x="475" y="83"/>
                  </a:lnTo>
                  <a:lnTo>
                    <a:pt x="476" y="82"/>
                  </a:lnTo>
                  <a:lnTo>
                    <a:pt x="475" y="82"/>
                  </a:lnTo>
                  <a:lnTo>
                    <a:pt x="472" y="84"/>
                  </a:lnTo>
                  <a:lnTo>
                    <a:pt x="468" y="85"/>
                  </a:lnTo>
                  <a:lnTo>
                    <a:pt x="469" y="84"/>
                  </a:lnTo>
                  <a:lnTo>
                    <a:pt x="469" y="83"/>
                  </a:lnTo>
                  <a:lnTo>
                    <a:pt x="469" y="82"/>
                  </a:lnTo>
                  <a:lnTo>
                    <a:pt x="468" y="82"/>
                  </a:lnTo>
                  <a:lnTo>
                    <a:pt x="465" y="84"/>
                  </a:lnTo>
                  <a:lnTo>
                    <a:pt x="464" y="85"/>
                  </a:lnTo>
                  <a:lnTo>
                    <a:pt x="462" y="87"/>
                  </a:lnTo>
                  <a:lnTo>
                    <a:pt x="460" y="88"/>
                  </a:lnTo>
                  <a:lnTo>
                    <a:pt x="459" y="88"/>
                  </a:lnTo>
                  <a:lnTo>
                    <a:pt x="458" y="88"/>
                  </a:lnTo>
                  <a:lnTo>
                    <a:pt x="458" y="87"/>
                  </a:lnTo>
                  <a:lnTo>
                    <a:pt x="457" y="85"/>
                  </a:lnTo>
                  <a:lnTo>
                    <a:pt x="456" y="87"/>
                  </a:lnTo>
                  <a:lnTo>
                    <a:pt x="456" y="88"/>
                  </a:lnTo>
                  <a:lnTo>
                    <a:pt x="454" y="89"/>
                  </a:lnTo>
                  <a:lnTo>
                    <a:pt x="452" y="90"/>
                  </a:lnTo>
                  <a:lnTo>
                    <a:pt x="451" y="91"/>
                  </a:lnTo>
                  <a:lnTo>
                    <a:pt x="451" y="90"/>
                  </a:lnTo>
                  <a:lnTo>
                    <a:pt x="452" y="89"/>
                  </a:lnTo>
                  <a:lnTo>
                    <a:pt x="453" y="88"/>
                  </a:lnTo>
                  <a:lnTo>
                    <a:pt x="452" y="88"/>
                  </a:lnTo>
                  <a:lnTo>
                    <a:pt x="451" y="87"/>
                  </a:lnTo>
                  <a:lnTo>
                    <a:pt x="450" y="87"/>
                  </a:lnTo>
                  <a:lnTo>
                    <a:pt x="448" y="88"/>
                  </a:lnTo>
                  <a:lnTo>
                    <a:pt x="447" y="89"/>
                  </a:lnTo>
                  <a:lnTo>
                    <a:pt x="447" y="90"/>
                  </a:lnTo>
                  <a:lnTo>
                    <a:pt x="447" y="91"/>
                  </a:lnTo>
                  <a:lnTo>
                    <a:pt x="448" y="90"/>
                  </a:lnTo>
                  <a:lnTo>
                    <a:pt x="448" y="91"/>
                  </a:lnTo>
                  <a:lnTo>
                    <a:pt x="447" y="93"/>
                  </a:lnTo>
                  <a:lnTo>
                    <a:pt x="446" y="91"/>
                  </a:lnTo>
                  <a:lnTo>
                    <a:pt x="446" y="93"/>
                  </a:lnTo>
                  <a:lnTo>
                    <a:pt x="445" y="93"/>
                  </a:lnTo>
                  <a:lnTo>
                    <a:pt x="442" y="94"/>
                  </a:lnTo>
                  <a:lnTo>
                    <a:pt x="442" y="95"/>
                  </a:lnTo>
                  <a:lnTo>
                    <a:pt x="441" y="95"/>
                  </a:lnTo>
                  <a:lnTo>
                    <a:pt x="440" y="96"/>
                  </a:lnTo>
                  <a:lnTo>
                    <a:pt x="439" y="96"/>
                  </a:lnTo>
                  <a:lnTo>
                    <a:pt x="437" y="96"/>
                  </a:lnTo>
                  <a:lnTo>
                    <a:pt x="435" y="96"/>
                  </a:lnTo>
                  <a:lnTo>
                    <a:pt x="434" y="97"/>
                  </a:lnTo>
                  <a:lnTo>
                    <a:pt x="433" y="100"/>
                  </a:lnTo>
                  <a:lnTo>
                    <a:pt x="431" y="101"/>
                  </a:lnTo>
                  <a:lnTo>
                    <a:pt x="429" y="102"/>
                  </a:lnTo>
                  <a:lnTo>
                    <a:pt x="428" y="103"/>
                  </a:lnTo>
                  <a:lnTo>
                    <a:pt x="427" y="105"/>
                  </a:lnTo>
                  <a:lnTo>
                    <a:pt x="425" y="105"/>
                  </a:lnTo>
                  <a:lnTo>
                    <a:pt x="427" y="103"/>
                  </a:lnTo>
                  <a:lnTo>
                    <a:pt x="425" y="102"/>
                  </a:lnTo>
                  <a:lnTo>
                    <a:pt x="425" y="101"/>
                  </a:lnTo>
                  <a:lnTo>
                    <a:pt x="427" y="100"/>
                  </a:lnTo>
                  <a:lnTo>
                    <a:pt x="425" y="99"/>
                  </a:lnTo>
                  <a:lnTo>
                    <a:pt x="425" y="97"/>
                  </a:lnTo>
                  <a:lnTo>
                    <a:pt x="427" y="97"/>
                  </a:lnTo>
                  <a:lnTo>
                    <a:pt x="431" y="97"/>
                  </a:lnTo>
                  <a:lnTo>
                    <a:pt x="431" y="96"/>
                  </a:lnTo>
                  <a:lnTo>
                    <a:pt x="430" y="96"/>
                  </a:lnTo>
                  <a:lnTo>
                    <a:pt x="433" y="95"/>
                  </a:lnTo>
                  <a:lnTo>
                    <a:pt x="431" y="94"/>
                  </a:lnTo>
                  <a:lnTo>
                    <a:pt x="430" y="95"/>
                  </a:lnTo>
                  <a:lnTo>
                    <a:pt x="427" y="95"/>
                  </a:lnTo>
                  <a:lnTo>
                    <a:pt x="425" y="94"/>
                  </a:lnTo>
                  <a:lnTo>
                    <a:pt x="425" y="93"/>
                  </a:lnTo>
                  <a:lnTo>
                    <a:pt x="424" y="91"/>
                  </a:lnTo>
                  <a:lnTo>
                    <a:pt x="423" y="91"/>
                  </a:lnTo>
                  <a:lnTo>
                    <a:pt x="423" y="93"/>
                  </a:lnTo>
                  <a:lnTo>
                    <a:pt x="421" y="93"/>
                  </a:lnTo>
                  <a:lnTo>
                    <a:pt x="419" y="93"/>
                  </a:lnTo>
                  <a:lnTo>
                    <a:pt x="417" y="94"/>
                  </a:lnTo>
                  <a:lnTo>
                    <a:pt x="416" y="94"/>
                  </a:lnTo>
                  <a:lnTo>
                    <a:pt x="413" y="94"/>
                  </a:lnTo>
                  <a:lnTo>
                    <a:pt x="411" y="93"/>
                  </a:lnTo>
                  <a:lnTo>
                    <a:pt x="410" y="91"/>
                  </a:lnTo>
                  <a:lnTo>
                    <a:pt x="411" y="90"/>
                  </a:lnTo>
                  <a:lnTo>
                    <a:pt x="411" y="89"/>
                  </a:lnTo>
                  <a:lnTo>
                    <a:pt x="411" y="87"/>
                  </a:lnTo>
                  <a:lnTo>
                    <a:pt x="410" y="85"/>
                  </a:lnTo>
                  <a:lnTo>
                    <a:pt x="410" y="84"/>
                  </a:lnTo>
                  <a:lnTo>
                    <a:pt x="412" y="85"/>
                  </a:lnTo>
                  <a:lnTo>
                    <a:pt x="413" y="87"/>
                  </a:lnTo>
                  <a:lnTo>
                    <a:pt x="413" y="88"/>
                  </a:lnTo>
                  <a:lnTo>
                    <a:pt x="415" y="89"/>
                  </a:lnTo>
                  <a:lnTo>
                    <a:pt x="416" y="88"/>
                  </a:lnTo>
                  <a:lnTo>
                    <a:pt x="416" y="90"/>
                  </a:lnTo>
                  <a:lnTo>
                    <a:pt x="417" y="91"/>
                  </a:lnTo>
                  <a:lnTo>
                    <a:pt x="418" y="91"/>
                  </a:lnTo>
                  <a:lnTo>
                    <a:pt x="418" y="90"/>
                  </a:lnTo>
                  <a:lnTo>
                    <a:pt x="419" y="89"/>
                  </a:lnTo>
                  <a:lnTo>
                    <a:pt x="421" y="90"/>
                  </a:lnTo>
                  <a:lnTo>
                    <a:pt x="423" y="90"/>
                  </a:lnTo>
                  <a:lnTo>
                    <a:pt x="422" y="89"/>
                  </a:lnTo>
                  <a:lnTo>
                    <a:pt x="421" y="88"/>
                  </a:lnTo>
                  <a:lnTo>
                    <a:pt x="422" y="88"/>
                  </a:lnTo>
                  <a:lnTo>
                    <a:pt x="424" y="87"/>
                  </a:lnTo>
                  <a:lnTo>
                    <a:pt x="423" y="85"/>
                  </a:lnTo>
                  <a:lnTo>
                    <a:pt x="421" y="85"/>
                  </a:lnTo>
                  <a:lnTo>
                    <a:pt x="418" y="87"/>
                  </a:lnTo>
                  <a:lnTo>
                    <a:pt x="417" y="85"/>
                  </a:lnTo>
                  <a:lnTo>
                    <a:pt x="415" y="83"/>
                  </a:lnTo>
                  <a:lnTo>
                    <a:pt x="413" y="83"/>
                  </a:lnTo>
                  <a:lnTo>
                    <a:pt x="411" y="82"/>
                  </a:lnTo>
                  <a:lnTo>
                    <a:pt x="407" y="79"/>
                  </a:lnTo>
                  <a:lnTo>
                    <a:pt x="405" y="78"/>
                  </a:lnTo>
                  <a:lnTo>
                    <a:pt x="406" y="77"/>
                  </a:lnTo>
                  <a:lnTo>
                    <a:pt x="405" y="75"/>
                  </a:lnTo>
                  <a:lnTo>
                    <a:pt x="406" y="75"/>
                  </a:lnTo>
                  <a:lnTo>
                    <a:pt x="406" y="72"/>
                  </a:lnTo>
                  <a:lnTo>
                    <a:pt x="409" y="71"/>
                  </a:lnTo>
                  <a:lnTo>
                    <a:pt x="410" y="66"/>
                  </a:lnTo>
                  <a:lnTo>
                    <a:pt x="410" y="64"/>
                  </a:lnTo>
                  <a:lnTo>
                    <a:pt x="411" y="61"/>
                  </a:lnTo>
                  <a:lnTo>
                    <a:pt x="411" y="60"/>
                  </a:lnTo>
                  <a:lnTo>
                    <a:pt x="412" y="59"/>
                  </a:lnTo>
                  <a:lnTo>
                    <a:pt x="413" y="59"/>
                  </a:lnTo>
                  <a:lnTo>
                    <a:pt x="412" y="58"/>
                  </a:lnTo>
                  <a:lnTo>
                    <a:pt x="410" y="58"/>
                  </a:lnTo>
                  <a:lnTo>
                    <a:pt x="407" y="58"/>
                  </a:lnTo>
                  <a:lnTo>
                    <a:pt x="407" y="57"/>
                  </a:lnTo>
                  <a:lnTo>
                    <a:pt x="409" y="55"/>
                  </a:lnTo>
                  <a:lnTo>
                    <a:pt x="410" y="55"/>
                  </a:lnTo>
                  <a:lnTo>
                    <a:pt x="411" y="54"/>
                  </a:lnTo>
                  <a:lnTo>
                    <a:pt x="412" y="54"/>
                  </a:lnTo>
                  <a:lnTo>
                    <a:pt x="412" y="55"/>
                  </a:lnTo>
                  <a:lnTo>
                    <a:pt x="415" y="55"/>
                  </a:lnTo>
                  <a:lnTo>
                    <a:pt x="416" y="54"/>
                  </a:lnTo>
                  <a:lnTo>
                    <a:pt x="415" y="53"/>
                  </a:lnTo>
                  <a:lnTo>
                    <a:pt x="413" y="52"/>
                  </a:lnTo>
                  <a:lnTo>
                    <a:pt x="415" y="50"/>
                  </a:lnTo>
                  <a:lnTo>
                    <a:pt x="413" y="49"/>
                  </a:lnTo>
                  <a:lnTo>
                    <a:pt x="412" y="49"/>
                  </a:lnTo>
                  <a:lnTo>
                    <a:pt x="410" y="49"/>
                  </a:lnTo>
                  <a:lnTo>
                    <a:pt x="409" y="50"/>
                  </a:lnTo>
                  <a:lnTo>
                    <a:pt x="407" y="50"/>
                  </a:lnTo>
                  <a:lnTo>
                    <a:pt x="406" y="49"/>
                  </a:lnTo>
                  <a:lnTo>
                    <a:pt x="405" y="49"/>
                  </a:lnTo>
                  <a:lnTo>
                    <a:pt x="406" y="47"/>
                  </a:lnTo>
                  <a:lnTo>
                    <a:pt x="409" y="46"/>
                  </a:lnTo>
                  <a:lnTo>
                    <a:pt x="411" y="46"/>
                  </a:lnTo>
                  <a:lnTo>
                    <a:pt x="413" y="44"/>
                  </a:lnTo>
                  <a:lnTo>
                    <a:pt x="415" y="47"/>
                  </a:lnTo>
                  <a:lnTo>
                    <a:pt x="416" y="46"/>
                  </a:lnTo>
                  <a:lnTo>
                    <a:pt x="415" y="44"/>
                  </a:lnTo>
                  <a:lnTo>
                    <a:pt x="415" y="43"/>
                  </a:lnTo>
                  <a:lnTo>
                    <a:pt x="416" y="44"/>
                  </a:lnTo>
                  <a:lnTo>
                    <a:pt x="417" y="46"/>
                  </a:lnTo>
                  <a:lnTo>
                    <a:pt x="418" y="46"/>
                  </a:lnTo>
                  <a:lnTo>
                    <a:pt x="418" y="43"/>
                  </a:lnTo>
                  <a:lnTo>
                    <a:pt x="417" y="42"/>
                  </a:lnTo>
                  <a:lnTo>
                    <a:pt x="419" y="42"/>
                  </a:lnTo>
                  <a:lnTo>
                    <a:pt x="421" y="42"/>
                  </a:lnTo>
                  <a:lnTo>
                    <a:pt x="422" y="43"/>
                  </a:lnTo>
                  <a:lnTo>
                    <a:pt x="423" y="46"/>
                  </a:lnTo>
                  <a:lnTo>
                    <a:pt x="424" y="46"/>
                  </a:lnTo>
                  <a:lnTo>
                    <a:pt x="424" y="44"/>
                  </a:lnTo>
                  <a:lnTo>
                    <a:pt x="423" y="43"/>
                  </a:lnTo>
                  <a:lnTo>
                    <a:pt x="423" y="42"/>
                  </a:lnTo>
                  <a:lnTo>
                    <a:pt x="424" y="41"/>
                  </a:lnTo>
                  <a:lnTo>
                    <a:pt x="427" y="41"/>
                  </a:lnTo>
                  <a:lnTo>
                    <a:pt x="429" y="40"/>
                  </a:lnTo>
                  <a:lnTo>
                    <a:pt x="430" y="40"/>
                  </a:lnTo>
                  <a:lnTo>
                    <a:pt x="429" y="38"/>
                  </a:lnTo>
                  <a:lnTo>
                    <a:pt x="428" y="38"/>
                  </a:lnTo>
                  <a:lnTo>
                    <a:pt x="425" y="38"/>
                  </a:lnTo>
                  <a:lnTo>
                    <a:pt x="427" y="37"/>
                  </a:lnTo>
                  <a:lnTo>
                    <a:pt x="425" y="37"/>
                  </a:lnTo>
                  <a:lnTo>
                    <a:pt x="424" y="37"/>
                  </a:lnTo>
                  <a:lnTo>
                    <a:pt x="421" y="38"/>
                  </a:lnTo>
                  <a:lnTo>
                    <a:pt x="419" y="40"/>
                  </a:lnTo>
                  <a:lnTo>
                    <a:pt x="419" y="38"/>
                  </a:lnTo>
                  <a:lnTo>
                    <a:pt x="419" y="37"/>
                  </a:lnTo>
                  <a:lnTo>
                    <a:pt x="421" y="36"/>
                  </a:lnTo>
                  <a:lnTo>
                    <a:pt x="419" y="35"/>
                  </a:lnTo>
                  <a:lnTo>
                    <a:pt x="418" y="36"/>
                  </a:lnTo>
                  <a:lnTo>
                    <a:pt x="418" y="37"/>
                  </a:lnTo>
                  <a:lnTo>
                    <a:pt x="417" y="38"/>
                  </a:lnTo>
                  <a:lnTo>
                    <a:pt x="416" y="40"/>
                  </a:lnTo>
                  <a:lnTo>
                    <a:pt x="413" y="40"/>
                  </a:lnTo>
                  <a:lnTo>
                    <a:pt x="412" y="42"/>
                  </a:lnTo>
                  <a:lnTo>
                    <a:pt x="412" y="43"/>
                  </a:lnTo>
                  <a:lnTo>
                    <a:pt x="410" y="43"/>
                  </a:lnTo>
                  <a:lnTo>
                    <a:pt x="409" y="42"/>
                  </a:lnTo>
                  <a:lnTo>
                    <a:pt x="410" y="40"/>
                  </a:lnTo>
                  <a:lnTo>
                    <a:pt x="411" y="41"/>
                  </a:lnTo>
                  <a:lnTo>
                    <a:pt x="412" y="41"/>
                  </a:lnTo>
                  <a:lnTo>
                    <a:pt x="412" y="40"/>
                  </a:lnTo>
                  <a:lnTo>
                    <a:pt x="412" y="38"/>
                  </a:lnTo>
                  <a:lnTo>
                    <a:pt x="413" y="38"/>
                  </a:lnTo>
                  <a:lnTo>
                    <a:pt x="413" y="37"/>
                  </a:lnTo>
                  <a:lnTo>
                    <a:pt x="412" y="37"/>
                  </a:lnTo>
                  <a:lnTo>
                    <a:pt x="413" y="36"/>
                  </a:lnTo>
                  <a:lnTo>
                    <a:pt x="413" y="35"/>
                  </a:lnTo>
                  <a:lnTo>
                    <a:pt x="412" y="35"/>
                  </a:lnTo>
                  <a:lnTo>
                    <a:pt x="411" y="35"/>
                  </a:lnTo>
                  <a:lnTo>
                    <a:pt x="412" y="34"/>
                  </a:lnTo>
                  <a:lnTo>
                    <a:pt x="412" y="32"/>
                  </a:lnTo>
                  <a:lnTo>
                    <a:pt x="413" y="34"/>
                  </a:lnTo>
                  <a:lnTo>
                    <a:pt x="415" y="34"/>
                  </a:lnTo>
                  <a:lnTo>
                    <a:pt x="419" y="34"/>
                  </a:lnTo>
                  <a:lnTo>
                    <a:pt x="421" y="32"/>
                  </a:lnTo>
                  <a:lnTo>
                    <a:pt x="419" y="31"/>
                  </a:lnTo>
                  <a:lnTo>
                    <a:pt x="413" y="31"/>
                  </a:lnTo>
                  <a:lnTo>
                    <a:pt x="416" y="30"/>
                  </a:lnTo>
                  <a:lnTo>
                    <a:pt x="417" y="30"/>
                  </a:lnTo>
                  <a:lnTo>
                    <a:pt x="418" y="29"/>
                  </a:lnTo>
                  <a:lnTo>
                    <a:pt x="421" y="28"/>
                  </a:lnTo>
                  <a:lnTo>
                    <a:pt x="419" y="26"/>
                  </a:lnTo>
                  <a:lnTo>
                    <a:pt x="418" y="26"/>
                  </a:lnTo>
                  <a:lnTo>
                    <a:pt x="417" y="28"/>
                  </a:lnTo>
                  <a:lnTo>
                    <a:pt x="416" y="29"/>
                  </a:lnTo>
                  <a:lnTo>
                    <a:pt x="415" y="28"/>
                  </a:lnTo>
                  <a:lnTo>
                    <a:pt x="421" y="22"/>
                  </a:lnTo>
                  <a:lnTo>
                    <a:pt x="423" y="19"/>
                  </a:lnTo>
                  <a:lnTo>
                    <a:pt x="427" y="16"/>
                  </a:lnTo>
                  <a:lnTo>
                    <a:pt x="429" y="13"/>
                  </a:lnTo>
                  <a:lnTo>
                    <a:pt x="429" y="11"/>
                  </a:lnTo>
                  <a:lnTo>
                    <a:pt x="427" y="12"/>
                  </a:lnTo>
                  <a:lnTo>
                    <a:pt x="424" y="13"/>
                  </a:lnTo>
                  <a:lnTo>
                    <a:pt x="422" y="17"/>
                  </a:lnTo>
                  <a:lnTo>
                    <a:pt x="418" y="20"/>
                  </a:lnTo>
                  <a:lnTo>
                    <a:pt x="416" y="24"/>
                  </a:lnTo>
                  <a:lnTo>
                    <a:pt x="413" y="26"/>
                  </a:lnTo>
                  <a:lnTo>
                    <a:pt x="412" y="29"/>
                  </a:lnTo>
                  <a:lnTo>
                    <a:pt x="411" y="30"/>
                  </a:lnTo>
                  <a:lnTo>
                    <a:pt x="410" y="30"/>
                  </a:lnTo>
                  <a:lnTo>
                    <a:pt x="409" y="29"/>
                  </a:lnTo>
                  <a:lnTo>
                    <a:pt x="407" y="26"/>
                  </a:lnTo>
                  <a:lnTo>
                    <a:pt x="405" y="24"/>
                  </a:lnTo>
                  <a:lnTo>
                    <a:pt x="404" y="23"/>
                  </a:lnTo>
                  <a:lnTo>
                    <a:pt x="403" y="23"/>
                  </a:lnTo>
                  <a:lnTo>
                    <a:pt x="401" y="23"/>
                  </a:lnTo>
                  <a:lnTo>
                    <a:pt x="403" y="25"/>
                  </a:lnTo>
                  <a:lnTo>
                    <a:pt x="404" y="25"/>
                  </a:lnTo>
                  <a:lnTo>
                    <a:pt x="405" y="25"/>
                  </a:lnTo>
                  <a:lnTo>
                    <a:pt x="406" y="26"/>
                  </a:lnTo>
                  <a:lnTo>
                    <a:pt x="407" y="28"/>
                  </a:lnTo>
                  <a:lnTo>
                    <a:pt x="409" y="30"/>
                  </a:lnTo>
                  <a:lnTo>
                    <a:pt x="410" y="31"/>
                  </a:lnTo>
                  <a:lnTo>
                    <a:pt x="410" y="34"/>
                  </a:lnTo>
                  <a:lnTo>
                    <a:pt x="410" y="35"/>
                  </a:lnTo>
                  <a:lnTo>
                    <a:pt x="407" y="34"/>
                  </a:lnTo>
                  <a:lnTo>
                    <a:pt x="406" y="32"/>
                  </a:lnTo>
                  <a:lnTo>
                    <a:pt x="405" y="31"/>
                  </a:lnTo>
                  <a:lnTo>
                    <a:pt x="404" y="32"/>
                  </a:lnTo>
                  <a:lnTo>
                    <a:pt x="405" y="34"/>
                  </a:lnTo>
                  <a:lnTo>
                    <a:pt x="406" y="35"/>
                  </a:lnTo>
                  <a:lnTo>
                    <a:pt x="407" y="35"/>
                  </a:lnTo>
                  <a:lnTo>
                    <a:pt x="407" y="37"/>
                  </a:lnTo>
                  <a:lnTo>
                    <a:pt x="406" y="37"/>
                  </a:lnTo>
                  <a:lnTo>
                    <a:pt x="404" y="36"/>
                  </a:lnTo>
                  <a:lnTo>
                    <a:pt x="403" y="36"/>
                  </a:lnTo>
                  <a:lnTo>
                    <a:pt x="404" y="37"/>
                  </a:lnTo>
                  <a:lnTo>
                    <a:pt x="405" y="40"/>
                  </a:lnTo>
                  <a:lnTo>
                    <a:pt x="406" y="41"/>
                  </a:lnTo>
                  <a:lnTo>
                    <a:pt x="406" y="42"/>
                  </a:lnTo>
                  <a:lnTo>
                    <a:pt x="406" y="43"/>
                  </a:lnTo>
                  <a:lnTo>
                    <a:pt x="405" y="43"/>
                  </a:lnTo>
                  <a:lnTo>
                    <a:pt x="404" y="42"/>
                  </a:lnTo>
                  <a:lnTo>
                    <a:pt x="403" y="41"/>
                  </a:lnTo>
                  <a:lnTo>
                    <a:pt x="401" y="40"/>
                  </a:lnTo>
                  <a:lnTo>
                    <a:pt x="400" y="38"/>
                  </a:lnTo>
                  <a:lnTo>
                    <a:pt x="400" y="37"/>
                  </a:lnTo>
                  <a:lnTo>
                    <a:pt x="400" y="36"/>
                  </a:lnTo>
                  <a:lnTo>
                    <a:pt x="401" y="35"/>
                  </a:lnTo>
                  <a:lnTo>
                    <a:pt x="401" y="34"/>
                  </a:lnTo>
                  <a:lnTo>
                    <a:pt x="400" y="34"/>
                  </a:lnTo>
                  <a:lnTo>
                    <a:pt x="399" y="34"/>
                  </a:lnTo>
                  <a:lnTo>
                    <a:pt x="399" y="31"/>
                  </a:lnTo>
                  <a:lnTo>
                    <a:pt x="399" y="30"/>
                  </a:lnTo>
                  <a:lnTo>
                    <a:pt x="400" y="30"/>
                  </a:lnTo>
                  <a:lnTo>
                    <a:pt x="403" y="30"/>
                  </a:lnTo>
                  <a:lnTo>
                    <a:pt x="405" y="29"/>
                  </a:lnTo>
                  <a:lnTo>
                    <a:pt x="406" y="29"/>
                  </a:lnTo>
                  <a:lnTo>
                    <a:pt x="405" y="28"/>
                  </a:lnTo>
                  <a:lnTo>
                    <a:pt x="404" y="28"/>
                  </a:lnTo>
                  <a:lnTo>
                    <a:pt x="400" y="28"/>
                  </a:lnTo>
                  <a:lnTo>
                    <a:pt x="399" y="28"/>
                  </a:lnTo>
                  <a:lnTo>
                    <a:pt x="399" y="25"/>
                  </a:lnTo>
                  <a:lnTo>
                    <a:pt x="398" y="24"/>
                  </a:lnTo>
                  <a:lnTo>
                    <a:pt x="398" y="22"/>
                  </a:lnTo>
                  <a:lnTo>
                    <a:pt x="397" y="18"/>
                  </a:lnTo>
                  <a:lnTo>
                    <a:pt x="397" y="14"/>
                  </a:lnTo>
                  <a:lnTo>
                    <a:pt x="397" y="13"/>
                  </a:lnTo>
                  <a:lnTo>
                    <a:pt x="397" y="14"/>
                  </a:lnTo>
                  <a:lnTo>
                    <a:pt x="397" y="22"/>
                  </a:lnTo>
                  <a:lnTo>
                    <a:pt x="397" y="26"/>
                  </a:lnTo>
                  <a:lnTo>
                    <a:pt x="395" y="30"/>
                  </a:lnTo>
                  <a:lnTo>
                    <a:pt x="397" y="31"/>
                  </a:lnTo>
                  <a:lnTo>
                    <a:pt x="398" y="34"/>
                  </a:lnTo>
                  <a:lnTo>
                    <a:pt x="398" y="36"/>
                  </a:lnTo>
                  <a:lnTo>
                    <a:pt x="397" y="36"/>
                  </a:lnTo>
                  <a:lnTo>
                    <a:pt x="395" y="34"/>
                  </a:lnTo>
                  <a:lnTo>
                    <a:pt x="394" y="34"/>
                  </a:lnTo>
                  <a:lnTo>
                    <a:pt x="394" y="35"/>
                  </a:lnTo>
                  <a:lnTo>
                    <a:pt x="393" y="37"/>
                  </a:lnTo>
                  <a:lnTo>
                    <a:pt x="393" y="38"/>
                  </a:lnTo>
                  <a:lnTo>
                    <a:pt x="391" y="38"/>
                  </a:lnTo>
                  <a:lnTo>
                    <a:pt x="391" y="37"/>
                  </a:lnTo>
                  <a:lnTo>
                    <a:pt x="388" y="36"/>
                  </a:lnTo>
                  <a:lnTo>
                    <a:pt x="388" y="35"/>
                  </a:lnTo>
                  <a:lnTo>
                    <a:pt x="389" y="34"/>
                  </a:lnTo>
                  <a:lnTo>
                    <a:pt x="392" y="32"/>
                  </a:lnTo>
                  <a:lnTo>
                    <a:pt x="392" y="31"/>
                  </a:lnTo>
                  <a:lnTo>
                    <a:pt x="391" y="30"/>
                  </a:lnTo>
                  <a:lnTo>
                    <a:pt x="389" y="31"/>
                  </a:lnTo>
                  <a:lnTo>
                    <a:pt x="387" y="32"/>
                  </a:lnTo>
                  <a:lnTo>
                    <a:pt x="388" y="31"/>
                  </a:lnTo>
                  <a:lnTo>
                    <a:pt x="388" y="30"/>
                  </a:lnTo>
                  <a:lnTo>
                    <a:pt x="387" y="30"/>
                  </a:lnTo>
                  <a:lnTo>
                    <a:pt x="386" y="30"/>
                  </a:lnTo>
                  <a:lnTo>
                    <a:pt x="387" y="29"/>
                  </a:lnTo>
                  <a:lnTo>
                    <a:pt x="388" y="26"/>
                  </a:lnTo>
                  <a:lnTo>
                    <a:pt x="387" y="25"/>
                  </a:lnTo>
                  <a:lnTo>
                    <a:pt x="386" y="26"/>
                  </a:lnTo>
                  <a:lnTo>
                    <a:pt x="386" y="25"/>
                  </a:lnTo>
                  <a:lnTo>
                    <a:pt x="386" y="24"/>
                  </a:lnTo>
                  <a:lnTo>
                    <a:pt x="388" y="23"/>
                  </a:lnTo>
                  <a:lnTo>
                    <a:pt x="391" y="20"/>
                  </a:lnTo>
                  <a:lnTo>
                    <a:pt x="394" y="16"/>
                  </a:lnTo>
                  <a:lnTo>
                    <a:pt x="394" y="14"/>
                  </a:lnTo>
                  <a:lnTo>
                    <a:pt x="393" y="16"/>
                  </a:lnTo>
                  <a:lnTo>
                    <a:pt x="392" y="17"/>
                  </a:lnTo>
                  <a:lnTo>
                    <a:pt x="387" y="22"/>
                  </a:lnTo>
                  <a:lnTo>
                    <a:pt x="386" y="20"/>
                  </a:lnTo>
                  <a:lnTo>
                    <a:pt x="387" y="19"/>
                  </a:lnTo>
                  <a:lnTo>
                    <a:pt x="387" y="17"/>
                  </a:lnTo>
                  <a:lnTo>
                    <a:pt x="388" y="16"/>
                  </a:lnTo>
                  <a:lnTo>
                    <a:pt x="388" y="14"/>
                  </a:lnTo>
                  <a:lnTo>
                    <a:pt x="387" y="13"/>
                  </a:lnTo>
                  <a:lnTo>
                    <a:pt x="387" y="14"/>
                  </a:lnTo>
                  <a:lnTo>
                    <a:pt x="386" y="16"/>
                  </a:lnTo>
                  <a:lnTo>
                    <a:pt x="386" y="17"/>
                  </a:lnTo>
                  <a:lnTo>
                    <a:pt x="386" y="13"/>
                  </a:lnTo>
                  <a:lnTo>
                    <a:pt x="386" y="11"/>
                  </a:lnTo>
                  <a:lnTo>
                    <a:pt x="386" y="8"/>
                  </a:lnTo>
                  <a:lnTo>
                    <a:pt x="384" y="7"/>
                  </a:lnTo>
                  <a:lnTo>
                    <a:pt x="384" y="8"/>
                  </a:lnTo>
                  <a:lnTo>
                    <a:pt x="384" y="10"/>
                  </a:lnTo>
                  <a:lnTo>
                    <a:pt x="384" y="12"/>
                  </a:lnTo>
                  <a:lnTo>
                    <a:pt x="384" y="16"/>
                  </a:lnTo>
                  <a:lnTo>
                    <a:pt x="384" y="18"/>
                  </a:lnTo>
                  <a:lnTo>
                    <a:pt x="384" y="19"/>
                  </a:lnTo>
                  <a:lnTo>
                    <a:pt x="384" y="2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3" name="Freeform 76"/>
            <p:cNvSpPr>
              <a:spLocks/>
            </p:cNvSpPr>
            <p:nvPr userDrawn="1"/>
          </p:nvSpPr>
          <p:spPr bwMode="auto">
            <a:xfrm>
              <a:off x="8283575" y="6400801"/>
              <a:ext cx="142875" cy="174625"/>
            </a:xfrm>
            <a:custGeom>
              <a:avLst/>
              <a:gdLst/>
              <a:ahLst/>
              <a:cxnLst>
                <a:cxn ang="0">
                  <a:pos x="210" y="353"/>
                </a:cxn>
                <a:cxn ang="0">
                  <a:pos x="201" y="337"/>
                </a:cxn>
                <a:cxn ang="0">
                  <a:pos x="196" y="313"/>
                </a:cxn>
                <a:cxn ang="0">
                  <a:pos x="213" y="303"/>
                </a:cxn>
                <a:cxn ang="0">
                  <a:pos x="177" y="328"/>
                </a:cxn>
                <a:cxn ang="0">
                  <a:pos x="195" y="364"/>
                </a:cxn>
                <a:cxn ang="0">
                  <a:pos x="178" y="356"/>
                </a:cxn>
                <a:cxn ang="0">
                  <a:pos x="157" y="344"/>
                </a:cxn>
                <a:cxn ang="0">
                  <a:pos x="137" y="349"/>
                </a:cxn>
                <a:cxn ang="0">
                  <a:pos x="115" y="335"/>
                </a:cxn>
                <a:cxn ang="0">
                  <a:pos x="102" y="349"/>
                </a:cxn>
                <a:cxn ang="0">
                  <a:pos x="86" y="361"/>
                </a:cxn>
                <a:cxn ang="0">
                  <a:pos x="67" y="345"/>
                </a:cxn>
                <a:cxn ang="0">
                  <a:pos x="9" y="361"/>
                </a:cxn>
                <a:cxn ang="0">
                  <a:pos x="29" y="323"/>
                </a:cxn>
                <a:cxn ang="0">
                  <a:pos x="17" y="307"/>
                </a:cxn>
                <a:cxn ang="0">
                  <a:pos x="14" y="286"/>
                </a:cxn>
                <a:cxn ang="0">
                  <a:pos x="5" y="249"/>
                </a:cxn>
                <a:cxn ang="0">
                  <a:pos x="48" y="244"/>
                </a:cxn>
                <a:cxn ang="0">
                  <a:pos x="54" y="224"/>
                </a:cxn>
                <a:cxn ang="0">
                  <a:pos x="83" y="192"/>
                </a:cxn>
                <a:cxn ang="0">
                  <a:pos x="49" y="184"/>
                </a:cxn>
                <a:cxn ang="0">
                  <a:pos x="30" y="180"/>
                </a:cxn>
                <a:cxn ang="0">
                  <a:pos x="26" y="166"/>
                </a:cxn>
                <a:cxn ang="0">
                  <a:pos x="32" y="136"/>
                </a:cxn>
                <a:cxn ang="0">
                  <a:pos x="65" y="108"/>
                </a:cxn>
                <a:cxn ang="0">
                  <a:pos x="85" y="83"/>
                </a:cxn>
                <a:cxn ang="0">
                  <a:pos x="101" y="76"/>
                </a:cxn>
                <a:cxn ang="0">
                  <a:pos x="126" y="88"/>
                </a:cxn>
                <a:cxn ang="0">
                  <a:pos x="162" y="87"/>
                </a:cxn>
                <a:cxn ang="0">
                  <a:pos x="171" y="51"/>
                </a:cxn>
                <a:cxn ang="0">
                  <a:pos x="171" y="43"/>
                </a:cxn>
                <a:cxn ang="0">
                  <a:pos x="190" y="76"/>
                </a:cxn>
                <a:cxn ang="0">
                  <a:pos x="225" y="65"/>
                </a:cxn>
                <a:cxn ang="0">
                  <a:pos x="251" y="78"/>
                </a:cxn>
                <a:cxn ang="0">
                  <a:pos x="278" y="99"/>
                </a:cxn>
                <a:cxn ang="0">
                  <a:pos x="263" y="73"/>
                </a:cxn>
                <a:cxn ang="0">
                  <a:pos x="247" y="47"/>
                </a:cxn>
                <a:cxn ang="0">
                  <a:pos x="243" y="2"/>
                </a:cxn>
                <a:cxn ang="0">
                  <a:pos x="278" y="26"/>
                </a:cxn>
                <a:cxn ang="0">
                  <a:pos x="319" y="43"/>
                </a:cxn>
                <a:cxn ang="0">
                  <a:pos x="318" y="69"/>
                </a:cxn>
                <a:cxn ang="0">
                  <a:pos x="333" y="90"/>
                </a:cxn>
                <a:cxn ang="0">
                  <a:pos x="363" y="83"/>
                </a:cxn>
                <a:cxn ang="0">
                  <a:pos x="386" y="65"/>
                </a:cxn>
                <a:cxn ang="0">
                  <a:pos x="392" y="87"/>
                </a:cxn>
                <a:cxn ang="0">
                  <a:pos x="387" y="113"/>
                </a:cxn>
                <a:cxn ang="0">
                  <a:pos x="371" y="124"/>
                </a:cxn>
                <a:cxn ang="0">
                  <a:pos x="396" y="133"/>
                </a:cxn>
                <a:cxn ang="0">
                  <a:pos x="424" y="147"/>
                </a:cxn>
                <a:cxn ang="0">
                  <a:pos x="446" y="174"/>
                </a:cxn>
                <a:cxn ang="0">
                  <a:pos x="419" y="198"/>
                </a:cxn>
                <a:cxn ang="0">
                  <a:pos x="413" y="209"/>
                </a:cxn>
                <a:cxn ang="0">
                  <a:pos x="377" y="234"/>
                </a:cxn>
                <a:cxn ang="0">
                  <a:pos x="415" y="266"/>
                </a:cxn>
                <a:cxn ang="0">
                  <a:pos x="385" y="273"/>
                </a:cxn>
                <a:cxn ang="0">
                  <a:pos x="384" y="304"/>
                </a:cxn>
                <a:cxn ang="0">
                  <a:pos x="389" y="339"/>
                </a:cxn>
                <a:cxn ang="0">
                  <a:pos x="375" y="364"/>
                </a:cxn>
                <a:cxn ang="0">
                  <a:pos x="348" y="384"/>
                </a:cxn>
                <a:cxn ang="0">
                  <a:pos x="308" y="372"/>
                </a:cxn>
                <a:cxn ang="0">
                  <a:pos x="277" y="387"/>
                </a:cxn>
                <a:cxn ang="0">
                  <a:pos x="242" y="363"/>
                </a:cxn>
              </a:cxnLst>
              <a:rect l="0" t="0" r="r" b="b"/>
              <a:pathLst>
                <a:path w="448" h="547">
                  <a:moveTo>
                    <a:pt x="233" y="547"/>
                  </a:moveTo>
                  <a:lnTo>
                    <a:pt x="219" y="547"/>
                  </a:lnTo>
                  <a:lnTo>
                    <a:pt x="218" y="533"/>
                  </a:lnTo>
                  <a:lnTo>
                    <a:pt x="216" y="524"/>
                  </a:lnTo>
                  <a:lnTo>
                    <a:pt x="216" y="506"/>
                  </a:lnTo>
                  <a:lnTo>
                    <a:pt x="216" y="503"/>
                  </a:lnTo>
                  <a:lnTo>
                    <a:pt x="216" y="499"/>
                  </a:lnTo>
                  <a:lnTo>
                    <a:pt x="220" y="474"/>
                  </a:lnTo>
                  <a:lnTo>
                    <a:pt x="221" y="462"/>
                  </a:lnTo>
                  <a:lnTo>
                    <a:pt x="224" y="448"/>
                  </a:lnTo>
                  <a:lnTo>
                    <a:pt x="226" y="438"/>
                  </a:lnTo>
                  <a:lnTo>
                    <a:pt x="229" y="429"/>
                  </a:lnTo>
                  <a:lnTo>
                    <a:pt x="233" y="420"/>
                  </a:lnTo>
                  <a:lnTo>
                    <a:pt x="236" y="417"/>
                  </a:lnTo>
                  <a:lnTo>
                    <a:pt x="236" y="415"/>
                  </a:lnTo>
                  <a:lnTo>
                    <a:pt x="231" y="402"/>
                  </a:lnTo>
                  <a:lnTo>
                    <a:pt x="229" y="398"/>
                  </a:lnTo>
                  <a:lnTo>
                    <a:pt x="227" y="394"/>
                  </a:lnTo>
                  <a:lnTo>
                    <a:pt x="229" y="386"/>
                  </a:lnTo>
                  <a:lnTo>
                    <a:pt x="229" y="380"/>
                  </a:lnTo>
                  <a:lnTo>
                    <a:pt x="227" y="374"/>
                  </a:lnTo>
                  <a:lnTo>
                    <a:pt x="225" y="367"/>
                  </a:lnTo>
                  <a:lnTo>
                    <a:pt x="224" y="361"/>
                  </a:lnTo>
                  <a:lnTo>
                    <a:pt x="221" y="353"/>
                  </a:lnTo>
                  <a:lnTo>
                    <a:pt x="220" y="351"/>
                  </a:lnTo>
                  <a:lnTo>
                    <a:pt x="219" y="351"/>
                  </a:lnTo>
                  <a:lnTo>
                    <a:pt x="220" y="355"/>
                  </a:lnTo>
                  <a:lnTo>
                    <a:pt x="220" y="356"/>
                  </a:lnTo>
                  <a:lnTo>
                    <a:pt x="219" y="358"/>
                  </a:lnTo>
                  <a:lnTo>
                    <a:pt x="219" y="361"/>
                  </a:lnTo>
                  <a:lnTo>
                    <a:pt x="218" y="360"/>
                  </a:lnTo>
                  <a:lnTo>
                    <a:pt x="218" y="361"/>
                  </a:lnTo>
                  <a:lnTo>
                    <a:pt x="216" y="361"/>
                  </a:lnTo>
                  <a:lnTo>
                    <a:pt x="215" y="360"/>
                  </a:lnTo>
                  <a:lnTo>
                    <a:pt x="214" y="361"/>
                  </a:lnTo>
                  <a:lnTo>
                    <a:pt x="212" y="362"/>
                  </a:lnTo>
                  <a:lnTo>
                    <a:pt x="212" y="363"/>
                  </a:lnTo>
                  <a:lnTo>
                    <a:pt x="210" y="361"/>
                  </a:lnTo>
                  <a:lnTo>
                    <a:pt x="210" y="360"/>
                  </a:lnTo>
                  <a:lnTo>
                    <a:pt x="209" y="360"/>
                  </a:lnTo>
                  <a:lnTo>
                    <a:pt x="208" y="361"/>
                  </a:lnTo>
                  <a:lnTo>
                    <a:pt x="207" y="362"/>
                  </a:lnTo>
                  <a:lnTo>
                    <a:pt x="202" y="364"/>
                  </a:lnTo>
                  <a:lnTo>
                    <a:pt x="201" y="364"/>
                  </a:lnTo>
                  <a:lnTo>
                    <a:pt x="202" y="362"/>
                  </a:lnTo>
                  <a:lnTo>
                    <a:pt x="204" y="361"/>
                  </a:lnTo>
                  <a:lnTo>
                    <a:pt x="204" y="358"/>
                  </a:lnTo>
                  <a:lnTo>
                    <a:pt x="206" y="358"/>
                  </a:lnTo>
                  <a:lnTo>
                    <a:pt x="206" y="357"/>
                  </a:lnTo>
                  <a:lnTo>
                    <a:pt x="203" y="358"/>
                  </a:lnTo>
                  <a:lnTo>
                    <a:pt x="203" y="357"/>
                  </a:lnTo>
                  <a:lnTo>
                    <a:pt x="206" y="356"/>
                  </a:lnTo>
                  <a:lnTo>
                    <a:pt x="207" y="355"/>
                  </a:lnTo>
                  <a:lnTo>
                    <a:pt x="206" y="355"/>
                  </a:lnTo>
                  <a:lnTo>
                    <a:pt x="207" y="353"/>
                  </a:lnTo>
                  <a:lnTo>
                    <a:pt x="208" y="356"/>
                  </a:lnTo>
                  <a:lnTo>
                    <a:pt x="207" y="357"/>
                  </a:lnTo>
                  <a:lnTo>
                    <a:pt x="208" y="358"/>
                  </a:lnTo>
                  <a:lnTo>
                    <a:pt x="209" y="356"/>
                  </a:lnTo>
                  <a:lnTo>
                    <a:pt x="210" y="356"/>
                  </a:lnTo>
                  <a:lnTo>
                    <a:pt x="210" y="353"/>
                  </a:lnTo>
                  <a:lnTo>
                    <a:pt x="209" y="353"/>
                  </a:lnTo>
                  <a:lnTo>
                    <a:pt x="209" y="351"/>
                  </a:lnTo>
                  <a:lnTo>
                    <a:pt x="209" y="350"/>
                  </a:lnTo>
                  <a:lnTo>
                    <a:pt x="208" y="350"/>
                  </a:lnTo>
                  <a:lnTo>
                    <a:pt x="209" y="349"/>
                  </a:lnTo>
                  <a:lnTo>
                    <a:pt x="212" y="347"/>
                  </a:lnTo>
                  <a:lnTo>
                    <a:pt x="214" y="347"/>
                  </a:lnTo>
                  <a:lnTo>
                    <a:pt x="215" y="347"/>
                  </a:lnTo>
                  <a:lnTo>
                    <a:pt x="218" y="344"/>
                  </a:lnTo>
                  <a:lnTo>
                    <a:pt x="220" y="340"/>
                  </a:lnTo>
                  <a:lnTo>
                    <a:pt x="223" y="338"/>
                  </a:lnTo>
                  <a:lnTo>
                    <a:pt x="223" y="337"/>
                  </a:lnTo>
                  <a:lnTo>
                    <a:pt x="223" y="335"/>
                  </a:lnTo>
                  <a:lnTo>
                    <a:pt x="221" y="337"/>
                  </a:lnTo>
                  <a:lnTo>
                    <a:pt x="221" y="335"/>
                  </a:lnTo>
                  <a:lnTo>
                    <a:pt x="220" y="337"/>
                  </a:lnTo>
                  <a:lnTo>
                    <a:pt x="219" y="338"/>
                  </a:lnTo>
                  <a:lnTo>
                    <a:pt x="216" y="338"/>
                  </a:lnTo>
                  <a:lnTo>
                    <a:pt x="216" y="337"/>
                  </a:lnTo>
                  <a:lnTo>
                    <a:pt x="215" y="338"/>
                  </a:lnTo>
                  <a:lnTo>
                    <a:pt x="215" y="335"/>
                  </a:lnTo>
                  <a:lnTo>
                    <a:pt x="215" y="334"/>
                  </a:lnTo>
                  <a:lnTo>
                    <a:pt x="216" y="333"/>
                  </a:lnTo>
                  <a:lnTo>
                    <a:pt x="219" y="332"/>
                  </a:lnTo>
                  <a:lnTo>
                    <a:pt x="215" y="334"/>
                  </a:lnTo>
                  <a:lnTo>
                    <a:pt x="215" y="332"/>
                  </a:lnTo>
                  <a:lnTo>
                    <a:pt x="215" y="331"/>
                  </a:lnTo>
                  <a:lnTo>
                    <a:pt x="215" y="329"/>
                  </a:lnTo>
                  <a:lnTo>
                    <a:pt x="214" y="329"/>
                  </a:lnTo>
                  <a:lnTo>
                    <a:pt x="213" y="332"/>
                  </a:lnTo>
                  <a:lnTo>
                    <a:pt x="213" y="329"/>
                  </a:lnTo>
                  <a:lnTo>
                    <a:pt x="212" y="328"/>
                  </a:lnTo>
                  <a:lnTo>
                    <a:pt x="212" y="327"/>
                  </a:lnTo>
                  <a:lnTo>
                    <a:pt x="210" y="329"/>
                  </a:lnTo>
                  <a:lnTo>
                    <a:pt x="209" y="329"/>
                  </a:lnTo>
                  <a:lnTo>
                    <a:pt x="209" y="331"/>
                  </a:lnTo>
                  <a:lnTo>
                    <a:pt x="209" y="333"/>
                  </a:lnTo>
                  <a:lnTo>
                    <a:pt x="208" y="333"/>
                  </a:lnTo>
                  <a:lnTo>
                    <a:pt x="208" y="334"/>
                  </a:lnTo>
                  <a:lnTo>
                    <a:pt x="210" y="334"/>
                  </a:lnTo>
                  <a:lnTo>
                    <a:pt x="210" y="335"/>
                  </a:lnTo>
                  <a:lnTo>
                    <a:pt x="212" y="337"/>
                  </a:lnTo>
                  <a:lnTo>
                    <a:pt x="210" y="339"/>
                  </a:lnTo>
                  <a:lnTo>
                    <a:pt x="209" y="338"/>
                  </a:lnTo>
                  <a:lnTo>
                    <a:pt x="209" y="337"/>
                  </a:lnTo>
                  <a:lnTo>
                    <a:pt x="208" y="338"/>
                  </a:lnTo>
                  <a:lnTo>
                    <a:pt x="208" y="339"/>
                  </a:lnTo>
                  <a:lnTo>
                    <a:pt x="207" y="337"/>
                  </a:lnTo>
                  <a:lnTo>
                    <a:pt x="206" y="335"/>
                  </a:lnTo>
                  <a:lnTo>
                    <a:pt x="204" y="335"/>
                  </a:lnTo>
                  <a:lnTo>
                    <a:pt x="204" y="337"/>
                  </a:lnTo>
                  <a:lnTo>
                    <a:pt x="203" y="337"/>
                  </a:lnTo>
                  <a:lnTo>
                    <a:pt x="202" y="338"/>
                  </a:lnTo>
                  <a:lnTo>
                    <a:pt x="201" y="339"/>
                  </a:lnTo>
                  <a:lnTo>
                    <a:pt x="200" y="340"/>
                  </a:lnTo>
                  <a:lnTo>
                    <a:pt x="197" y="341"/>
                  </a:lnTo>
                  <a:lnTo>
                    <a:pt x="197" y="340"/>
                  </a:lnTo>
                  <a:lnTo>
                    <a:pt x="200" y="339"/>
                  </a:lnTo>
                  <a:lnTo>
                    <a:pt x="200" y="338"/>
                  </a:lnTo>
                  <a:lnTo>
                    <a:pt x="200" y="337"/>
                  </a:lnTo>
                  <a:lnTo>
                    <a:pt x="201" y="337"/>
                  </a:lnTo>
                  <a:lnTo>
                    <a:pt x="200" y="335"/>
                  </a:lnTo>
                  <a:lnTo>
                    <a:pt x="197" y="335"/>
                  </a:lnTo>
                  <a:lnTo>
                    <a:pt x="198" y="334"/>
                  </a:lnTo>
                  <a:lnTo>
                    <a:pt x="200" y="331"/>
                  </a:lnTo>
                  <a:lnTo>
                    <a:pt x="203" y="331"/>
                  </a:lnTo>
                  <a:lnTo>
                    <a:pt x="204" y="332"/>
                  </a:lnTo>
                  <a:lnTo>
                    <a:pt x="203" y="329"/>
                  </a:lnTo>
                  <a:lnTo>
                    <a:pt x="204" y="329"/>
                  </a:lnTo>
                  <a:lnTo>
                    <a:pt x="207" y="329"/>
                  </a:lnTo>
                  <a:lnTo>
                    <a:pt x="207" y="331"/>
                  </a:lnTo>
                  <a:lnTo>
                    <a:pt x="208" y="329"/>
                  </a:lnTo>
                  <a:lnTo>
                    <a:pt x="210" y="328"/>
                  </a:lnTo>
                  <a:lnTo>
                    <a:pt x="212" y="326"/>
                  </a:lnTo>
                  <a:lnTo>
                    <a:pt x="212" y="325"/>
                  </a:lnTo>
                  <a:lnTo>
                    <a:pt x="210" y="325"/>
                  </a:lnTo>
                  <a:lnTo>
                    <a:pt x="209" y="325"/>
                  </a:lnTo>
                  <a:lnTo>
                    <a:pt x="207" y="325"/>
                  </a:lnTo>
                  <a:lnTo>
                    <a:pt x="209" y="323"/>
                  </a:lnTo>
                  <a:lnTo>
                    <a:pt x="208" y="322"/>
                  </a:lnTo>
                  <a:lnTo>
                    <a:pt x="209" y="320"/>
                  </a:lnTo>
                  <a:lnTo>
                    <a:pt x="209" y="317"/>
                  </a:lnTo>
                  <a:lnTo>
                    <a:pt x="209" y="319"/>
                  </a:lnTo>
                  <a:lnTo>
                    <a:pt x="207" y="319"/>
                  </a:lnTo>
                  <a:lnTo>
                    <a:pt x="204" y="320"/>
                  </a:lnTo>
                  <a:lnTo>
                    <a:pt x="203" y="321"/>
                  </a:lnTo>
                  <a:lnTo>
                    <a:pt x="202" y="322"/>
                  </a:lnTo>
                  <a:lnTo>
                    <a:pt x="201" y="325"/>
                  </a:lnTo>
                  <a:lnTo>
                    <a:pt x="201" y="323"/>
                  </a:lnTo>
                  <a:lnTo>
                    <a:pt x="200" y="321"/>
                  </a:lnTo>
                  <a:lnTo>
                    <a:pt x="202" y="321"/>
                  </a:lnTo>
                  <a:lnTo>
                    <a:pt x="203" y="320"/>
                  </a:lnTo>
                  <a:lnTo>
                    <a:pt x="207" y="317"/>
                  </a:lnTo>
                  <a:lnTo>
                    <a:pt x="207" y="316"/>
                  </a:lnTo>
                  <a:lnTo>
                    <a:pt x="206" y="316"/>
                  </a:lnTo>
                  <a:lnTo>
                    <a:pt x="204" y="319"/>
                  </a:lnTo>
                  <a:lnTo>
                    <a:pt x="203" y="319"/>
                  </a:lnTo>
                  <a:lnTo>
                    <a:pt x="204" y="315"/>
                  </a:lnTo>
                  <a:lnTo>
                    <a:pt x="206" y="313"/>
                  </a:lnTo>
                  <a:lnTo>
                    <a:pt x="207" y="311"/>
                  </a:lnTo>
                  <a:lnTo>
                    <a:pt x="208" y="310"/>
                  </a:lnTo>
                  <a:lnTo>
                    <a:pt x="207" y="310"/>
                  </a:lnTo>
                  <a:lnTo>
                    <a:pt x="206" y="311"/>
                  </a:lnTo>
                  <a:lnTo>
                    <a:pt x="204" y="313"/>
                  </a:lnTo>
                  <a:lnTo>
                    <a:pt x="204" y="310"/>
                  </a:lnTo>
                  <a:lnTo>
                    <a:pt x="203" y="309"/>
                  </a:lnTo>
                  <a:lnTo>
                    <a:pt x="202" y="308"/>
                  </a:lnTo>
                  <a:lnTo>
                    <a:pt x="201" y="309"/>
                  </a:lnTo>
                  <a:lnTo>
                    <a:pt x="203" y="310"/>
                  </a:lnTo>
                  <a:lnTo>
                    <a:pt x="202" y="311"/>
                  </a:lnTo>
                  <a:lnTo>
                    <a:pt x="202" y="313"/>
                  </a:lnTo>
                  <a:lnTo>
                    <a:pt x="201" y="311"/>
                  </a:lnTo>
                  <a:lnTo>
                    <a:pt x="201" y="313"/>
                  </a:lnTo>
                  <a:lnTo>
                    <a:pt x="201" y="315"/>
                  </a:lnTo>
                  <a:lnTo>
                    <a:pt x="198" y="317"/>
                  </a:lnTo>
                  <a:lnTo>
                    <a:pt x="197" y="319"/>
                  </a:lnTo>
                  <a:lnTo>
                    <a:pt x="197" y="316"/>
                  </a:lnTo>
                  <a:lnTo>
                    <a:pt x="197" y="314"/>
                  </a:lnTo>
                  <a:lnTo>
                    <a:pt x="196" y="315"/>
                  </a:lnTo>
                  <a:lnTo>
                    <a:pt x="197" y="313"/>
                  </a:lnTo>
                  <a:lnTo>
                    <a:pt x="197" y="311"/>
                  </a:lnTo>
                  <a:lnTo>
                    <a:pt x="196" y="313"/>
                  </a:lnTo>
                  <a:lnTo>
                    <a:pt x="196" y="310"/>
                  </a:lnTo>
                  <a:lnTo>
                    <a:pt x="196" y="313"/>
                  </a:lnTo>
                  <a:lnTo>
                    <a:pt x="194" y="313"/>
                  </a:lnTo>
                  <a:lnTo>
                    <a:pt x="192" y="314"/>
                  </a:lnTo>
                  <a:lnTo>
                    <a:pt x="194" y="311"/>
                  </a:lnTo>
                  <a:lnTo>
                    <a:pt x="195" y="310"/>
                  </a:lnTo>
                  <a:lnTo>
                    <a:pt x="195" y="309"/>
                  </a:lnTo>
                  <a:lnTo>
                    <a:pt x="192" y="309"/>
                  </a:lnTo>
                  <a:lnTo>
                    <a:pt x="192" y="308"/>
                  </a:lnTo>
                  <a:lnTo>
                    <a:pt x="192" y="307"/>
                  </a:lnTo>
                  <a:lnTo>
                    <a:pt x="192" y="304"/>
                  </a:lnTo>
                  <a:lnTo>
                    <a:pt x="194" y="302"/>
                  </a:lnTo>
                  <a:lnTo>
                    <a:pt x="195" y="303"/>
                  </a:lnTo>
                  <a:lnTo>
                    <a:pt x="195" y="305"/>
                  </a:lnTo>
                  <a:lnTo>
                    <a:pt x="195" y="307"/>
                  </a:lnTo>
                  <a:lnTo>
                    <a:pt x="196" y="308"/>
                  </a:lnTo>
                  <a:lnTo>
                    <a:pt x="197" y="307"/>
                  </a:lnTo>
                  <a:lnTo>
                    <a:pt x="198" y="305"/>
                  </a:lnTo>
                  <a:lnTo>
                    <a:pt x="200" y="305"/>
                  </a:lnTo>
                  <a:lnTo>
                    <a:pt x="201" y="305"/>
                  </a:lnTo>
                  <a:lnTo>
                    <a:pt x="202" y="307"/>
                  </a:lnTo>
                  <a:lnTo>
                    <a:pt x="203" y="308"/>
                  </a:lnTo>
                  <a:lnTo>
                    <a:pt x="204" y="308"/>
                  </a:lnTo>
                  <a:lnTo>
                    <a:pt x="206" y="308"/>
                  </a:lnTo>
                  <a:lnTo>
                    <a:pt x="206" y="307"/>
                  </a:lnTo>
                  <a:lnTo>
                    <a:pt x="207" y="305"/>
                  </a:lnTo>
                  <a:lnTo>
                    <a:pt x="208" y="305"/>
                  </a:lnTo>
                  <a:lnTo>
                    <a:pt x="209" y="305"/>
                  </a:lnTo>
                  <a:lnTo>
                    <a:pt x="209" y="307"/>
                  </a:lnTo>
                  <a:lnTo>
                    <a:pt x="210" y="307"/>
                  </a:lnTo>
                  <a:lnTo>
                    <a:pt x="212" y="307"/>
                  </a:lnTo>
                  <a:lnTo>
                    <a:pt x="212" y="305"/>
                  </a:lnTo>
                  <a:lnTo>
                    <a:pt x="210" y="304"/>
                  </a:lnTo>
                  <a:lnTo>
                    <a:pt x="209" y="304"/>
                  </a:lnTo>
                  <a:lnTo>
                    <a:pt x="208" y="304"/>
                  </a:lnTo>
                  <a:lnTo>
                    <a:pt x="207" y="304"/>
                  </a:lnTo>
                  <a:lnTo>
                    <a:pt x="207" y="305"/>
                  </a:lnTo>
                  <a:lnTo>
                    <a:pt x="206" y="305"/>
                  </a:lnTo>
                  <a:lnTo>
                    <a:pt x="204" y="307"/>
                  </a:lnTo>
                  <a:lnTo>
                    <a:pt x="203" y="307"/>
                  </a:lnTo>
                  <a:lnTo>
                    <a:pt x="202" y="305"/>
                  </a:lnTo>
                  <a:lnTo>
                    <a:pt x="202" y="304"/>
                  </a:lnTo>
                  <a:lnTo>
                    <a:pt x="203" y="303"/>
                  </a:lnTo>
                  <a:lnTo>
                    <a:pt x="206" y="303"/>
                  </a:lnTo>
                  <a:lnTo>
                    <a:pt x="207" y="303"/>
                  </a:lnTo>
                  <a:lnTo>
                    <a:pt x="207" y="302"/>
                  </a:lnTo>
                  <a:lnTo>
                    <a:pt x="207" y="301"/>
                  </a:lnTo>
                  <a:lnTo>
                    <a:pt x="208" y="301"/>
                  </a:lnTo>
                  <a:lnTo>
                    <a:pt x="209" y="301"/>
                  </a:lnTo>
                  <a:lnTo>
                    <a:pt x="207" y="301"/>
                  </a:lnTo>
                  <a:lnTo>
                    <a:pt x="206" y="302"/>
                  </a:lnTo>
                  <a:lnTo>
                    <a:pt x="201" y="302"/>
                  </a:lnTo>
                  <a:lnTo>
                    <a:pt x="202" y="301"/>
                  </a:lnTo>
                  <a:lnTo>
                    <a:pt x="204" y="298"/>
                  </a:lnTo>
                  <a:lnTo>
                    <a:pt x="207" y="298"/>
                  </a:lnTo>
                  <a:lnTo>
                    <a:pt x="209" y="298"/>
                  </a:lnTo>
                  <a:lnTo>
                    <a:pt x="210" y="299"/>
                  </a:lnTo>
                  <a:lnTo>
                    <a:pt x="210" y="301"/>
                  </a:lnTo>
                  <a:lnTo>
                    <a:pt x="212" y="302"/>
                  </a:lnTo>
                  <a:lnTo>
                    <a:pt x="212" y="303"/>
                  </a:lnTo>
                  <a:lnTo>
                    <a:pt x="213" y="303"/>
                  </a:lnTo>
                  <a:lnTo>
                    <a:pt x="214" y="302"/>
                  </a:lnTo>
                  <a:lnTo>
                    <a:pt x="213" y="301"/>
                  </a:lnTo>
                  <a:lnTo>
                    <a:pt x="212" y="301"/>
                  </a:lnTo>
                  <a:lnTo>
                    <a:pt x="213" y="298"/>
                  </a:lnTo>
                  <a:lnTo>
                    <a:pt x="213" y="297"/>
                  </a:lnTo>
                  <a:lnTo>
                    <a:pt x="213" y="296"/>
                  </a:lnTo>
                  <a:lnTo>
                    <a:pt x="212" y="295"/>
                  </a:lnTo>
                  <a:lnTo>
                    <a:pt x="213" y="293"/>
                  </a:lnTo>
                  <a:lnTo>
                    <a:pt x="210" y="293"/>
                  </a:lnTo>
                  <a:lnTo>
                    <a:pt x="201" y="293"/>
                  </a:lnTo>
                  <a:lnTo>
                    <a:pt x="182" y="296"/>
                  </a:lnTo>
                  <a:lnTo>
                    <a:pt x="172" y="298"/>
                  </a:lnTo>
                  <a:lnTo>
                    <a:pt x="164" y="302"/>
                  </a:lnTo>
                  <a:lnTo>
                    <a:pt x="161" y="303"/>
                  </a:lnTo>
                  <a:lnTo>
                    <a:pt x="165" y="305"/>
                  </a:lnTo>
                  <a:lnTo>
                    <a:pt x="170" y="308"/>
                  </a:lnTo>
                  <a:lnTo>
                    <a:pt x="171" y="310"/>
                  </a:lnTo>
                  <a:lnTo>
                    <a:pt x="173" y="313"/>
                  </a:lnTo>
                  <a:lnTo>
                    <a:pt x="176" y="314"/>
                  </a:lnTo>
                  <a:lnTo>
                    <a:pt x="173" y="313"/>
                  </a:lnTo>
                  <a:lnTo>
                    <a:pt x="172" y="315"/>
                  </a:lnTo>
                  <a:lnTo>
                    <a:pt x="171" y="317"/>
                  </a:lnTo>
                  <a:lnTo>
                    <a:pt x="173" y="321"/>
                  </a:lnTo>
                  <a:lnTo>
                    <a:pt x="174" y="322"/>
                  </a:lnTo>
                  <a:lnTo>
                    <a:pt x="176" y="325"/>
                  </a:lnTo>
                  <a:lnTo>
                    <a:pt x="177" y="325"/>
                  </a:lnTo>
                  <a:lnTo>
                    <a:pt x="177" y="326"/>
                  </a:lnTo>
                  <a:lnTo>
                    <a:pt x="178" y="327"/>
                  </a:lnTo>
                  <a:lnTo>
                    <a:pt x="179" y="328"/>
                  </a:lnTo>
                  <a:lnTo>
                    <a:pt x="180" y="327"/>
                  </a:lnTo>
                  <a:lnTo>
                    <a:pt x="179" y="327"/>
                  </a:lnTo>
                  <a:lnTo>
                    <a:pt x="179" y="325"/>
                  </a:lnTo>
                  <a:lnTo>
                    <a:pt x="182" y="326"/>
                  </a:lnTo>
                  <a:lnTo>
                    <a:pt x="183" y="328"/>
                  </a:lnTo>
                  <a:lnTo>
                    <a:pt x="182" y="328"/>
                  </a:lnTo>
                  <a:lnTo>
                    <a:pt x="180" y="328"/>
                  </a:lnTo>
                  <a:lnTo>
                    <a:pt x="182" y="331"/>
                  </a:lnTo>
                  <a:lnTo>
                    <a:pt x="183" y="332"/>
                  </a:lnTo>
                  <a:lnTo>
                    <a:pt x="183" y="334"/>
                  </a:lnTo>
                  <a:lnTo>
                    <a:pt x="182" y="332"/>
                  </a:lnTo>
                  <a:lnTo>
                    <a:pt x="180" y="331"/>
                  </a:lnTo>
                  <a:lnTo>
                    <a:pt x="180" y="332"/>
                  </a:lnTo>
                  <a:lnTo>
                    <a:pt x="180" y="334"/>
                  </a:lnTo>
                  <a:lnTo>
                    <a:pt x="180" y="337"/>
                  </a:lnTo>
                  <a:lnTo>
                    <a:pt x="180" y="333"/>
                  </a:lnTo>
                  <a:lnTo>
                    <a:pt x="179" y="334"/>
                  </a:lnTo>
                  <a:lnTo>
                    <a:pt x="179" y="335"/>
                  </a:lnTo>
                  <a:lnTo>
                    <a:pt x="179" y="333"/>
                  </a:lnTo>
                  <a:lnTo>
                    <a:pt x="178" y="334"/>
                  </a:lnTo>
                  <a:lnTo>
                    <a:pt x="179" y="332"/>
                  </a:lnTo>
                  <a:lnTo>
                    <a:pt x="179" y="331"/>
                  </a:lnTo>
                  <a:lnTo>
                    <a:pt x="180" y="329"/>
                  </a:lnTo>
                  <a:lnTo>
                    <a:pt x="178" y="328"/>
                  </a:lnTo>
                  <a:lnTo>
                    <a:pt x="176" y="326"/>
                  </a:lnTo>
                  <a:lnTo>
                    <a:pt x="174" y="322"/>
                  </a:lnTo>
                  <a:lnTo>
                    <a:pt x="173" y="322"/>
                  </a:lnTo>
                  <a:lnTo>
                    <a:pt x="173" y="326"/>
                  </a:lnTo>
                  <a:lnTo>
                    <a:pt x="174" y="328"/>
                  </a:lnTo>
                  <a:lnTo>
                    <a:pt x="174" y="329"/>
                  </a:lnTo>
                  <a:lnTo>
                    <a:pt x="174" y="328"/>
                  </a:lnTo>
                  <a:lnTo>
                    <a:pt x="177" y="328"/>
                  </a:lnTo>
                  <a:lnTo>
                    <a:pt x="176" y="329"/>
                  </a:lnTo>
                  <a:lnTo>
                    <a:pt x="176" y="331"/>
                  </a:lnTo>
                  <a:lnTo>
                    <a:pt x="177" y="331"/>
                  </a:lnTo>
                  <a:lnTo>
                    <a:pt x="177" y="332"/>
                  </a:lnTo>
                  <a:lnTo>
                    <a:pt x="177" y="333"/>
                  </a:lnTo>
                  <a:lnTo>
                    <a:pt x="177" y="334"/>
                  </a:lnTo>
                  <a:lnTo>
                    <a:pt x="179" y="338"/>
                  </a:lnTo>
                  <a:lnTo>
                    <a:pt x="182" y="339"/>
                  </a:lnTo>
                  <a:lnTo>
                    <a:pt x="180" y="338"/>
                  </a:lnTo>
                  <a:lnTo>
                    <a:pt x="183" y="339"/>
                  </a:lnTo>
                  <a:lnTo>
                    <a:pt x="183" y="341"/>
                  </a:lnTo>
                  <a:lnTo>
                    <a:pt x="184" y="341"/>
                  </a:lnTo>
                  <a:lnTo>
                    <a:pt x="185" y="341"/>
                  </a:lnTo>
                  <a:lnTo>
                    <a:pt x="186" y="340"/>
                  </a:lnTo>
                  <a:lnTo>
                    <a:pt x="186" y="339"/>
                  </a:lnTo>
                  <a:lnTo>
                    <a:pt x="186" y="337"/>
                  </a:lnTo>
                  <a:lnTo>
                    <a:pt x="189" y="337"/>
                  </a:lnTo>
                  <a:lnTo>
                    <a:pt x="190" y="337"/>
                  </a:lnTo>
                  <a:lnTo>
                    <a:pt x="190" y="338"/>
                  </a:lnTo>
                  <a:lnTo>
                    <a:pt x="189" y="340"/>
                  </a:lnTo>
                  <a:lnTo>
                    <a:pt x="189" y="341"/>
                  </a:lnTo>
                  <a:lnTo>
                    <a:pt x="189" y="343"/>
                  </a:lnTo>
                  <a:lnTo>
                    <a:pt x="190" y="343"/>
                  </a:lnTo>
                  <a:lnTo>
                    <a:pt x="191" y="343"/>
                  </a:lnTo>
                  <a:lnTo>
                    <a:pt x="192" y="340"/>
                  </a:lnTo>
                  <a:lnTo>
                    <a:pt x="192" y="338"/>
                  </a:lnTo>
                  <a:lnTo>
                    <a:pt x="194" y="339"/>
                  </a:lnTo>
                  <a:lnTo>
                    <a:pt x="194" y="340"/>
                  </a:lnTo>
                  <a:lnTo>
                    <a:pt x="192" y="343"/>
                  </a:lnTo>
                  <a:lnTo>
                    <a:pt x="191" y="343"/>
                  </a:lnTo>
                  <a:lnTo>
                    <a:pt x="192" y="344"/>
                  </a:lnTo>
                  <a:lnTo>
                    <a:pt x="194" y="345"/>
                  </a:lnTo>
                  <a:lnTo>
                    <a:pt x="196" y="346"/>
                  </a:lnTo>
                  <a:lnTo>
                    <a:pt x="196" y="347"/>
                  </a:lnTo>
                  <a:lnTo>
                    <a:pt x="195" y="347"/>
                  </a:lnTo>
                  <a:lnTo>
                    <a:pt x="194" y="347"/>
                  </a:lnTo>
                  <a:lnTo>
                    <a:pt x="195" y="351"/>
                  </a:lnTo>
                  <a:lnTo>
                    <a:pt x="192" y="350"/>
                  </a:lnTo>
                  <a:lnTo>
                    <a:pt x="192" y="347"/>
                  </a:lnTo>
                  <a:lnTo>
                    <a:pt x="194" y="346"/>
                  </a:lnTo>
                  <a:lnTo>
                    <a:pt x="192" y="346"/>
                  </a:lnTo>
                  <a:lnTo>
                    <a:pt x="191" y="345"/>
                  </a:lnTo>
                  <a:lnTo>
                    <a:pt x="190" y="344"/>
                  </a:lnTo>
                  <a:lnTo>
                    <a:pt x="189" y="343"/>
                  </a:lnTo>
                  <a:lnTo>
                    <a:pt x="188" y="344"/>
                  </a:lnTo>
                  <a:lnTo>
                    <a:pt x="190" y="345"/>
                  </a:lnTo>
                  <a:lnTo>
                    <a:pt x="190" y="349"/>
                  </a:lnTo>
                  <a:lnTo>
                    <a:pt x="192" y="350"/>
                  </a:lnTo>
                  <a:lnTo>
                    <a:pt x="192" y="352"/>
                  </a:lnTo>
                  <a:lnTo>
                    <a:pt x="192" y="357"/>
                  </a:lnTo>
                  <a:lnTo>
                    <a:pt x="195" y="358"/>
                  </a:lnTo>
                  <a:lnTo>
                    <a:pt x="195" y="360"/>
                  </a:lnTo>
                  <a:lnTo>
                    <a:pt x="197" y="361"/>
                  </a:lnTo>
                  <a:lnTo>
                    <a:pt x="198" y="361"/>
                  </a:lnTo>
                  <a:lnTo>
                    <a:pt x="200" y="363"/>
                  </a:lnTo>
                  <a:lnTo>
                    <a:pt x="197" y="362"/>
                  </a:lnTo>
                  <a:lnTo>
                    <a:pt x="198" y="363"/>
                  </a:lnTo>
                  <a:lnTo>
                    <a:pt x="197" y="366"/>
                  </a:lnTo>
                  <a:lnTo>
                    <a:pt x="196" y="364"/>
                  </a:lnTo>
                  <a:lnTo>
                    <a:pt x="196" y="366"/>
                  </a:lnTo>
                  <a:lnTo>
                    <a:pt x="195" y="364"/>
                  </a:lnTo>
                  <a:lnTo>
                    <a:pt x="195" y="366"/>
                  </a:lnTo>
                  <a:lnTo>
                    <a:pt x="192" y="368"/>
                  </a:lnTo>
                  <a:lnTo>
                    <a:pt x="192" y="366"/>
                  </a:lnTo>
                  <a:lnTo>
                    <a:pt x="191" y="366"/>
                  </a:lnTo>
                  <a:lnTo>
                    <a:pt x="192" y="362"/>
                  </a:lnTo>
                  <a:lnTo>
                    <a:pt x="191" y="361"/>
                  </a:lnTo>
                  <a:lnTo>
                    <a:pt x="192" y="358"/>
                  </a:lnTo>
                  <a:lnTo>
                    <a:pt x="191" y="352"/>
                  </a:lnTo>
                  <a:lnTo>
                    <a:pt x="191" y="353"/>
                  </a:lnTo>
                  <a:lnTo>
                    <a:pt x="190" y="353"/>
                  </a:lnTo>
                  <a:lnTo>
                    <a:pt x="191" y="356"/>
                  </a:lnTo>
                  <a:lnTo>
                    <a:pt x="189" y="355"/>
                  </a:lnTo>
                  <a:lnTo>
                    <a:pt x="186" y="353"/>
                  </a:lnTo>
                  <a:lnTo>
                    <a:pt x="185" y="353"/>
                  </a:lnTo>
                  <a:lnTo>
                    <a:pt x="186" y="355"/>
                  </a:lnTo>
                  <a:lnTo>
                    <a:pt x="185" y="357"/>
                  </a:lnTo>
                  <a:lnTo>
                    <a:pt x="185" y="358"/>
                  </a:lnTo>
                  <a:lnTo>
                    <a:pt x="184" y="356"/>
                  </a:lnTo>
                  <a:lnTo>
                    <a:pt x="184" y="355"/>
                  </a:lnTo>
                  <a:lnTo>
                    <a:pt x="185" y="353"/>
                  </a:lnTo>
                  <a:lnTo>
                    <a:pt x="185" y="352"/>
                  </a:lnTo>
                  <a:lnTo>
                    <a:pt x="186" y="351"/>
                  </a:lnTo>
                  <a:lnTo>
                    <a:pt x="188" y="350"/>
                  </a:lnTo>
                  <a:lnTo>
                    <a:pt x="188" y="349"/>
                  </a:lnTo>
                  <a:lnTo>
                    <a:pt x="186" y="349"/>
                  </a:lnTo>
                  <a:lnTo>
                    <a:pt x="185" y="350"/>
                  </a:lnTo>
                  <a:lnTo>
                    <a:pt x="185" y="349"/>
                  </a:lnTo>
                  <a:lnTo>
                    <a:pt x="185" y="347"/>
                  </a:lnTo>
                  <a:lnTo>
                    <a:pt x="183" y="351"/>
                  </a:lnTo>
                  <a:lnTo>
                    <a:pt x="182" y="353"/>
                  </a:lnTo>
                  <a:lnTo>
                    <a:pt x="179" y="357"/>
                  </a:lnTo>
                  <a:lnTo>
                    <a:pt x="182" y="360"/>
                  </a:lnTo>
                  <a:lnTo>
                    <a:pt x="183" y="361"/>
                  </a:lnTo>
                  <a:lnTo>
                    <a:pt x="182" y="361"/>
                  </a:lnTo>
                  <a:lnTo>
                    <a:pt x="182" y="363"/>
                  </a:lnTo>
                  <a:lnTo>
                    <a:pt x="182" y="364"/>
                  </a:lnTo>
                  <a:lnTo>
                    <a:pt x="183" y="364"/>
                  </a:lnTo>
                  <a:lnTo>
                    <a:pt x="183" y="366"/>
                  </a:lnTo>
                  <a:lnTo>
                    <a:pt x="182" y="366"/>
                  </a:lnTo>
                  <a:lnTo>
                    <a:pt x="183" y="369"/>
                  </a:lnTo>
                  <a:lnTo>
                    <a:pt x="182" y="370"/>
                  </a:lnTo>
                  <a:lnTo>
                    <a:pt x="180" y="368"/>
                  </a:lnTo>
                  <a:lnTo>
                    <a:pt x="179" y="366"/>
                  </a:lnTo>
                  <a:lnTo>
                    <a:pt x="178" y="368"/>
                  </a:lnTo>
                  <a:lnTo>
                    <a:pt x="177" y="370"/>
                  </a:lnTo>
                  <a:lnTo>
                    <a:pt x="176" y="369"/>
                  </a:lnTo>
                  <a:lnTo>
                    <a:pt x="176" y="367"/>
                  </a:lnTo>
                  <a:lnTo>
                    <a:pt x="174" y="368"/>
                  </a:lnTo>
                  <a:lnTo>
                    <a:pt x="174" y="366"/>
                  </a:lnTo>
                  <a:lnTo>
                    <a:pt x="174" y="363"/>
                  </a:lnTo>
                  <a:lnTo>
                    <a:pt x="173" y="364"/>
                  </a:lnTo>
                  <a:lnTo>
                    <a:pt x="173" y="362"/>
                  </a:lnTo>
                  <a:lnTo>
                    <a:pt x="176" y="360"/>
                  </a:lnTo>
                  <a:lnTo>
                    <a:pt x="176" y="358"/>
                  </a:lnTo>
                  <a:lnTo>
                    <a:pt x="173" y="358"/>
                  </a:lnTo>
                  <a:lnTo>
                    <a:pt x="172" y="361"/>
                  </a:lnTo>
                  <a:lnTo>
                    <a:pt x="171" y="361"/>
                  </a:lnTo>
                  <a:lnTo>
                    <a:pt x="172" y="357"/>
                  </a:lnTo>
                  <a:lnTo>
                    <a:pt x="174" y="356"/>
                  </a:lnTo>
                  <a:lnTo>
                    <a:pt x="176" y="357"/>
                  </a:lnTo>
                  <a:lnTo>
                    <a:pt x="178" y="356"/>
                  </a:lnTo>
                  <a:lnTo>
                    <a:pt x="182" y="353"/>
                  </a:lnTo>
                  <a:lnTo>
                    <a:pt x="184" y="349"/>
                  </a:lnTo>
                  <a:lnTo>
                    <a:pt x="185" y="346"/>
                  </a:lnTo>
                  <a:lnTo>
                    <a:pt x="184" y="346"/>
                  </a:lnTo>
                  <a:lnTo>
                    <a:pt x="184" y="345"/>
                  </a:lnTo>
                  <a:lnTo>
                    <a:pt x="183" y="344"/>
                  </a:lnTo>
                  <a:lnTo>
                    <a:pt x="183" y="345"/>
                  </a:lnTo>
                  <a:lnTo>
                    <a:pt x="180" y="346"/>
                  </a:lnTo>
                  <a:lnTo>
                    <a:pt x="179" y="346"/>
                  </a:lnTo>
                  <a:lnTo>
                    <a:pt x="178" y="347"/>
                  </a:lnTo>
                  <a:lnTo>
                    <a:pt x="174" y="347"/>
                  </a:lnTo>
                  <a:lnTo>
                    <a:pt x="177" y="346"/>
                  </a:lnTo>
                  <a:lnTo>
                    <a:pt x="178" y="345"/>
                  </a:lnTo>
                  <a:lnTo>
                    <a:pt x="178" y="343"/>
                  </a:lnTo>
                  <a:lnTo>
                    <a:pt x="180" y="343"/>
                  </a:lnTo>
                  <a:lnTo>
                    <a:pt x="182" y="344"/>
                  </a:lnTo>
                  <a:lnTo>
                    <a:pt x="182" y="343"/>
                  </a:lnTo>
                  <a:lnTo>
                    <a:pt x="183" y="343"/>
                  </a:lnTo>
                  <a:lnTo>
                    <a:pt x="183" y="341"/>
                  </a:lnTo>
                  <a:lnTo>
                    <a:pt x="182" y="341"/>
                  </a:lnTo>
                  <a:lnTo>
                    <a:pt x="180" y="340"/>
                  </a:lnTo>
                  <a:lnTo>
                    <a:pt x="180" y="339"/>
                  </a:lnTo>
                  <a:lnTo>
                    <a:pt x="180" y="340"/>
                  </a:lnTo>
                  <a:lnTo>
                    <a:pt x="178" y="340"/>
                  </a:lnTo>
                  <a:lnTo>
                    <a:pt x="177" y="340"/>
                  </a:lnTo>
                  <a:lnTo>
                    <a:pt x="176" y="340"/>
                  </a:lnTo>
                  <a:lnTo>
                    <a:pt x="173" y="339"/>
                  </a:lnTo>
                  <a:lnTo>
                    <a:pt x="173" y="337"/>
                  </a:lnTo>
                  <a:lnTo>
                    <a:pt x="172" y="338"/>
                  </a:lnTo>
                  <a:lnTo>
                    <a:pt x="173" y="340"/>
                  </a:lnTo>
                  <a:lnTo>
                    <a:pt x="174" y="341"/>
                  </a:lnTo>
                  <a:lnTo>
                    <a:pt x="173" y="341"/>
                  </a:lnTo>
                  <a:lnTo>
                    <a:pt x="173" y="344"/>
                  </a:lnTo>
                  <a:lnTo>
                    <a:pt x="173" y="346"/>
                  </a:lnTo>
                  <a:lnTo>
                    <a:pt x="172" y="345"/>
                  </a:lnTo>
                  <a:lnTo>
                    <a:pt x="172" y="346"/>
                  </a:lnTo>
                  <a:lnTo>
                    <a:pt x="172" y="349"/>
                  </a:lnTo>
                  <a:lnTo>
                    <a:pt x="171" y="346"/>
                  </a:lnTo>
                  <a:lnTo>
                    <a:pt x="170" y="346"/>
                  </a:lnTo>
                  <a:lnTo>
                    <a:pt x="168" y="345"/>
                  </a:lnTo>
                  <a:lnTo>
                    <a:pt x="168" y="347"/>
                  </a:lnTo>
                  <a:lnTo>
                    <a:pt x="168" y="350"/>
                  </a:lnTo>
                  <a:lnTo>
                    <a:pt x="167" y="347"/>
                  </a:lnTo>
                  <a:lnTo>
                    <a:pt x="166" y="347"/>
                  </a:lnTo>
                  <a:lnTo>
                    <a:pt x="165" y="349"/>
                  </a:lnTo>
                  <a:lnTo>
                    <a:pt x="165" y="346"/>
                  </a:lnTo>
                  <a:lnTo>
                    <a:pt x="165" y="344"/>
                  </a:lnTo>
                  <a:lnTo>
                    <a:pt x="166" y="341"/>
                  </a:lnTo>
                  <a:lnTo>
                    <a:pt x="166" y="340"/>
                  </a:lnTo>
                  <a:lnTo>
                    <a:pt x="165" y="339"/>
                  </a:lnTo>
                  <a:lnTo>
                    <a:pt x="164" y="340"/>
                  </a:lnTo>
                  <a:lnTo>
                    <a:pt x="162" y="339"/>
                  </a:lnTo>
                  <a:lnTo>
                    <a:pt x="161" y="339"/>
                  </a:lnTo>
                  <a:lnTo>
                    <a:pt x="161" y="340"/>
                  </a:lnTo>
                  <a:lnTo>
                    <a:pt x="162" y="341"/>
                  </a:lnTo>
                  <a:lnTo>
                    <a:pt x="162" y="344"/>
                  </a:lnTo>
                  <a:lnTo>
                    <a:pt x="161" y="345"/>
                  </a:lnTo>
                  <a:lnTo>
                    <a:pt x="160" y="343"/>
                  </a:lnTo>
                  <a:lnTo>
                    <a:pt x="159" y="341"/>
                  </a:lnTo>
                  <a:lnTo>
                    <a:pt x="157" y="341"/>
                  </a:lnTo>
                  <a:lnTo>
                    <a:pt x="157" y="344"/>
                  </a:lnTo>
                  <a:lnTo>
                    <a:pt x="159" y="345"/>
                  </a:lnTo>
                  <a:lnTo>
                    <a:pt x="160" y="347"/>
                  </a:lnTo>
                  <a:lnTo>
                    <a:pt x="160" y="351"/>
                  </a:lnTo>
                  <a:lnTo>
                    <a:pt x="159" y="349"/>
                  </a:lnTo>
                  <a:lnTo>
                    <a:pt x="157" y="346"/>
                  </a:lnTo>
                  <a:lnTo>
                    <a:pt x="156" y="346"/>
                  </a:lnTo>
                  <a:lnTo>
                    <a:pt x="155" y="347"/>
                  </a:lnTo>
                  <a:lnTo>
                    <a:pt x="155" y="346"/>
                  </a:lnTo>
                  <a:lnTo>
                    <a:pt x="154" y="347"/>
                  </a:lnTo>
                  <a:lnTo>
                    <a:pt x="153" y="350"/>
                  </a:lnTo>
                  <a:lnTo>
                    <a:pt x="154" y="351"/>
                  </a:lnTo>
                  <a:lnTo>
                    <a:pt x="155" y="351"/>
                  </a:lnTo>
                  <a:lnTo>
                    <a:pt x="156" y="351"/>
                  </a:lnTo>
                  <a:lnTo>
                    <a:pt x="157" y="352"/>
                  </a:lnTo>
                  <a:lnTo>
                    <a:pt x="156" y="352"/>
                  </a:lnTo>
                  <a:lnTo>
                    <a:pt x="155" y="352"/>
                  </a:lnTo>
                  <a:lnTo>
                    <a:pt x="154" y="352"/>
                  </a:lnTo>
                  <a:lnTo>
                    <a:pt x="154" y="353"/>
                  </a:lnTo>
                  <a:lnTo>
                    <a:pt x="154" y="355"/>
                  </a:lnTo>
                  <a:lnTo>
                    <a:pt x="154" y="356"/>
                  </a:lnTo>
                  <a:lnTo>
                    <a:pt x="153" y="356"/>
                  </a:lnTo>
                  <a:lnTo>
                    <a:pt x="153" y="355"/>
                  </a:lnTo>
                  <a:lnTo>
                    <a:pt x="153" y="352"/>
                  </a:lnTo>
                  <a:lnTo>
                    <a:pt x="153" y="351"/>
                  </a:lnTo>
                  <a:lnTo>
                    <a:pt x="151" y="352"/>
                  </a:lnTo>
                  <a:lnTo>
                    <a:pt x="151" y="355"/>
                  </a:lnTo>
                  <a:lnTo>
                    <a:pt x="151" y="352"/>
                  </a:lnTo>
                  <a:lnTo>
                    <a:pt x="150" y="353"/>
                  </a:lnTo>
                  <a:lnTo>
                    <a:pt x="149" y="352"/>
                  </a:lnTo>
                  <a:lnTo>
                    <a:pt x="149" y="351"/>
                  </a:lnTo>
                  <a:lnTo>
                    <a:pt x="149" y="350"/>
                  </a:lnTo>
                  <a:lnTo>
                    <a:pt x="149" y="351"/>
                  </a:lnTo>
                  <a:lnTo>
                    <a:pt x="148" y="351"/>
                  </a:lnTo>
                  <a:lnTo>
                    <a:pt x="148" y="352"/>
                  </a:lnTo>
                  <a:lnTo>
                    <a:pt x="148" y="355"/>
                  </a:lnTo>
                  <a:lnTo>
                    <a:pt x="145" y="357"/>
                  </a:lnTo>
                  <a:lnTo>
                    <a:pt x="147" y="355"/>
                  </a:lnTo>
                  <a:lnTo>
                    <a:pt x="148" y="352"/>
                  </a:lnTo>
                  <a:lnTo>
                    <a:pt x="147" y="351"/>
                  </a:lnTo>
                  <a:lnTo>
                    <a:pt x="145" y="352"/>
                  </a:lnTo>
                  <a:lnTo>
                    <a:pt x="144" y="352"/>
                  </a:lnTo>
                  <a:lnTo>
                    <a:pt x="142" y="352"/>
                  </a:lnTo>
                  <a:lnTo>
                    <a:pt x="142" y="353"/>
                  </a:lnTo>
                  <a:lnTo>
                    <a:pt x="144" y="356"/>
                  </a:lnTo>
                  <a:lnTo>
                    <a:pt x="143" y="357"/>
                  </a:lnTo>
                  <a:lnTo>
                    <a:pt x="142" y="358"/>
                  </a:lnTo>
                  <a:lnTo>
                    <a:pt x="141" y="357"/>
                  </a:lnTo>
                  <a:lnTo>
                    <a:pt x="141" y="358"/>
                  </a:lnTo>
                  <a:lnTo>
                    <a:pt x="139" y="360"/>
                  </a:lnTo>
                  <a:lnTo>
                    <a:pt x="139" y="361"/>
                  </a:lnTo>
                  <a:lnTo>
                    <a:pt x="138" y="361"/>
                  </a:lnTo>
                  <a:lnTo>
                    <a:pt x="137" y="358"/>
                  </a:lnTo>
                  <a:lnTo>
                    <a:pt x="135" y="358"/>
                  </a:lnTo>
                  <a:lnTo>
                    <a:pt x="136" y="356"/>
                  </a:lnTo>
                  <a:lnTo>
                    <a:pt x="136" y="353"/>
                  </a:lnTo>
                  <a:lnTo>
                    <a:pt x="137" y="353"/>
                  </a:lnTo>
                  <a:lnTo>
                    <a:pt x="136" y="352"/>
                  </a:lnTo>
                  <a:lnTo>
                    <a:pt x="135" y="352"/>
                  </a:lnTo>
                  <a:lnTo>
                    <a:pt x="136" y="351"/>
                  </a:lnTo>
                  <a:lnTo>
                    <a:pt x="137" y="350"/>
                  </a:lnTo>
                  <a:lnTo>
                    <a:pt x="137" y="349"/>
                  </a:lnTo>
                  <a:lnTo>
                    <a:pt x="136" y="349"/>
                  </a:lnTo>
                  <a:lnTo>
                    <a:pt x="136" y="350"/>
                  </a:lnTo>
                  <a:lnTo>
                    <a:pt x="135" y="351"/>
                  </a:lnTo>
                  <a:lnTo>
                    <a:pt x="133" y="352"/>
                  </a:lnTo>
                  <a:lnTo>
                    <a:pt x="132" y="351"/>
                  </a:lnTo>
                  <a:lnTo>
                    <a:pt x="131" y="350"/>
                  </a:lnTo>
                  <a:lnTo>
                    <a:pt x="132" y="349"/>
                  </a:lnTo>
                  <a:lnTo>
                    <a:pt x="132" y="346"/>
                  </a:lnTo>
                  <a:lnTo>
                    <a:pt x="131" y="347"/>
                  </a:lnTo>
                  <a:lnTo>
                    <a:pt x="130" y="346"/>
                  </a:lnTo>
                  <a:lnTo>
                    <a:pt x="130" y="345"/>
                  </a:lnTo>
                  <a:lnTo>
                    <a:pt x="130" y="346"/>
                  </a:lnTo>
                  <a:lnTo>
                    <a:pt x="129" y="346"/>
                  </a:lnTo>
                  <a:lnTo>
                    <a:pt x="127" y="346"/>
                  </a:lnTo>
                  <a:lnTo>
                    <a:pt x="129" y="347"/>
                  </a:lnTo>
                  <a:lnTo>
                    <a:pt x="130" y="347"/>
                  </a:lnTo>
                  <a:lnTo>
                    <a:pt x="131" y="349"/>
                  </a:lnTo>
                  <a:lnTo>
                    <a:pt x="130" y="349"/>
                  </a:lnTo>
                  <a:lnTo>
                    <a:pt x="129" y="350"/>
                  </a:lnTo>
                  <a:lnTo>
                    <a:pt x="129" y="351"/>
                  </a:lnTo>
                  <a:lnTo>
                    <a:pt x="127" y="349"/>
                  </a:lnTo>
                  <a:lnTo>
                    <a:pt x="126" y="349"/>
                  </a:lnTo>
                  <a:lnTo>
                    <a:pt x="127" y="347"/>
                  </a:lnTo>
                  <a:lnTo>
                    <a:pt x="126" y="347"/>
                  </a:lnTo>
                  <a:lnTo>
                    <a:pt x="125" y="349"/>
                  </a:lnTo>
                  <a:lnTo>
                    <a:pt x="125" y="347"/>
                  </a:lnTo>
                  <a:lnTo>
                    <a:pt x="125" y="346"/>
                  </a:lnTo>
                  <a:lnTo>
                    <a:pt x="127" y="345"/>
                  </a:lnTo>
                  <a:lnTo>
                    <a:pt x="126" y="345"/>
                  </a:lnTo>
                  <a:lnTo>
                    <a:pt x="127" y="344"/>
                  </a:lnTo>
                  <a:lnTo>
                    <a:pt x="129" y="344"/>
                  </a:lnTo>
                  <a:lnTo>
                    <a:pt x="129" y="343"/>
                  </a:lnTo>
                  <a:lnTo>
                    <a:pt x="131" y="343"/>
                  </a:lnTo>
                  <a:lnTo>
                    <a:pt x="132" y="341"/>
                  </a:lnTo>
                  <a:lnTo>
                    <a:pt x="132" y="340"/>
                  </a:lnTo>
                  <a:lnTo>
                    <a:pt x="132" y="341"/>
                  </a:lnTo>
                  <a:lnTo>
                    <a:pt x="131" y="341"/>
                  </a:lnTo>
                  <a:lnTo>
                    <a:pt x="130" y="341"/>
                  </a:lnTo>
                  <a:lnTo>
                    <a:pt x="129" y="341"/>
                  </a:lnTo>
                  <a:lnTo>
                    <a:pt x="130" y="340"/>
                  </a:lnTo>
                  <a:lnTo>
                    <a:pt x="131" y="339"/>
                  </a:lnTo>
                  <a:lnTo>
                    <a:pt x="130" y="338"/>
                  </a:lnTo>
                  <a:lnTo>
                    <a:pt x="127" y="340"/>
                  </a:lnTo>
                  <a:lnTo>
                    <a:pt x="127" y="339"/>
                  </a:lnTo>
                  <a:lnTo>
                    <a:pt x="129" y="338"/>
                  </a:lnTo>
                  <a:lnTo>
                    <a:pt x="129" y="337"/>
                  </a:lnTo>
                  <a:lnTo>
                    <a:pt x="127" y="338"/>
                  </a:lnTo>
                  <a:lnTo>
                    <a:pt x="126" y="339"/>
                  </a:lnTo>
                  <a:lnTo>
                    <a:pt x="124" y="339"/>
                  </a:lnTo>
                  <a:lnTo>
                    <a:pt x="124" y="338"/>
                  </a:lnTo>
                  <a:lnTo>
                    <a:pt x="123" y="338"/>
                  </a:lnTo>
                  <a:lnTo>
                    <a:pt x="123" y="340"/>
                  </a:lnTo>
                  <a:lnTo>
                    <a:pt x="121" y="338"/>
                  </a:lnTo>
                  <a:lnTo>
                    <a:pt x="120" y="338"/>
                  </a:lnTo>
                  <a:lnTo>
                    <a:pt x="119" y="339"/>
                  </a:lnTo>
                  <a:lnTo>
                    <a:pt x="118" y="338"/>
                  </a:lnTo>
                  <a:lnTo>
                    <a:pt x="117" y="337"/>
                  </a:lnTo>
                  <a:lnTo>
                    <a:pt x="117" y="335"/>
                  </a:lnTo>
                  <a:lnTo>
                    <a:pt x="118" y="334"/>
                  </a:lnTo>
                  <a:lnTo>
                    <a:pt x="117" y="334"/>
                  </a:lnTo>
                  <a:lnTo>
                    <a:pt x="115" y="335"/>
                  </a:lnTo>
                  <a:lnTo>
                    <a:pt x="114" y="337"/>
                  </a:lnTo>
                  <a:lnTo>
                    <a:pt x="114" y="339"/>
                  </a:lnTo>
                  <a:lnTo>
                    <a:pt x="115" y="340"/>
                  </a:lnTo>
                  <a:lnTo>
                    <a:pt x="117" y="341"/>
                  </a:lnTo>
                  <a:lnTo>
                    <a:pt x="118" y="343"/>
                  </a:lnTo>
                  <a:lnTo>
                    <a:pt x="119" y="343"/>
                  </a:lnTo>
                  <a:lnTo>
                    <a:pt x="119" y="344"/>
                  </a:lnTo>
                  <a:lnTo>
                    <a:pt x="118" y="344"/>
                  </a:lnTo>
                  <a:lnTo>
                    <a:pt x="117" y="345"/>
                  </a:lnTo>
                  <a:lnTo>
                    <a:pt x="119" y="345"/>
                  </a:lnTo>
                  <a:lnTo>
                    <a:pt x="121" y="347"/>
                  </a:lnTo>
                  <a:lnTo>
                    <a:pt x="119" y="347"/>
                  </a:lnTo>
                  <a:lnTo>
                    <a:pt x="118" y="346"/>
                  </a:lnTo>
                  <a:lnTo>
                    <a:pt x="118" y="347"/>
                  </a:lnTo>
                  <a:lnTo>
                    <a:pt x="117" y="347"/>
                  </a:lnTo>
                  <a:lnTo>
                    <a:pt x="113" y="346"/>
                  </a:lnTo>
                  <a:lnTo>
                    <a:pt x="112" y="347"/>
                  </a:lnTo>
                  <a:lnTo>
                    <a:pt x="112" y="350"/>
                  </a:lnTo>
                  <a:lnTo>
                    <a:pt x="111" y="349"/>
                  </a:lnTo>
                  <a:lnTo>
                    <a:pt x="109" y="346"/>
                  </a:lnTo>
                  <a:lnTo>
                    <a:pt x="109" y="345"/>
                  </a:lnTo>
                  <a:lnTo>
                    <a:pt x="108" y="346"/>
                  </a:lnTo>
                  <a:lnTo>
                    <a:pt x="108" y="347"/>
                  </a:lnTo>
                  <a:lnTo>
                    <a:pt x="109" y="349"/>
                  </a:lnTo>
                  <a:lnTo>
                    <a:pt x="107" y="347"/>
                  </a:lnTo>
                  <a:lnTo>
                    <a:pt x="106" y="347"/>
                  </a:lnTo>
                  <a:lnTo>
                    <a:pt x="107" y="349"/>
                  </a:lnTo>
                  <a:lnTo>
                    <a:pt x="107" y="350"/>
                  </a:lnTo>
                  <a:lnTo>
                    <a:pt x="107" y="351"/>
                  </a:lnTo>
                  <a:lnTo>
                    <a:pt x="108" y="352"/>
                  </a:lnTo>
                  <a:lnTo>
                    <a:pt x="109" y="352"/>
                  </a:lnTo>
                  <a:lnTo>
                    <a:pt x="109" y="355"/>
                  </a:lnTo>
                  <a:lnTo>
                    <a:pt x="109" y="356"/>
                  </a:lnTo>
                  <a:lnTo>
                    <a:pt x="111" y="355"/>
                  </a:lnTo>
                  <a:lnTo>
                    <a:pt x="111" y="352"/>
                  </a:lnTo>
                  <a:lnTo>
                    <a:pt x="112" y="352"/>
                  </a:lnTo>
                  <a:lnTo>
                    <a:pt x="112" y="355"/>
                  </a:lnTo>
                  <a:lnTo>
                    <a:pt x="113" y="357"/>
                  </a:lnTo>
                  <a:lnTo>
                    <a:pt x="112" y="360"/>
                  </a:lnTo>
                  <a:lnTo>
                    <a:pt x="111" y="357"/>
                  </a:lnTo>
                  <a:lnTo>
                    <a:pt x="111" y="356"/>
                  </a:lnTo>
                  <a:lnTo>
                    <a:pt x="111" y="358"/>
                  </a:lnTo>
                  <a:lnTo>
                    <a:pt x="109" y="360"/>
                  </a:lnTo>
                  <a:lnTo>
                    <a:pt x="108" y="358"/>
                  </a:lnTo>
                  <a:lnTo>
                    <a:pt x="107" y="357"/>
                  </a:lnTo>
                  <a:lnTo>
                    <a:pt x="108" y="357"/>
                  </a:lnTo>
                  <a:lnTo>
                    <a:pt x="109" y="356"/>
                  </a:lnTo>
                  <a:lnTo>
                    <a:pt x="107" y="356"/>
                  </a:lnTo>
                  <a:lnTo>
                    <a:pt x="106" y="355"/>
                  </a:lnTo>
                  <a:lnTo>
                    <a:pt x="105" y="353"/>
                  </a:lnTo>
                  <a:lnTo>
                    <a:pt x="102" y="355"/>
                  </a:lnTo>
                  <a:lnTo>
                    <a:pt x="103" y="353"/>
                  </a:lnTo>
                  <a:lnTo>
                    <a:pt x="105" y="352"/>
                  </a:lnTo>
                  <a:lnTo>
                    <a:pt x="106" y="351"/>
                  </a:lnTo>
                  <a:lnTo>
                    <a:pt x="105" y="351"/>
                  </a:lnTo>
                  <a:lnTo>
                    <a:pt x="105" y="350"/>
                  </a:lnTo>
                  <a:lnTo>
                    <a:pt x="105" y="349"/>
                  </a:lnTo>
                  <a:lnTo>
                    <a:pt x="105" y="347"/>
                  </a:lnTo>
                  <a:lnTo>
                    <a:pt x="103" y="346"/>
                  </a:lnTo>
                  <a:lnTo>
                    <a:pt x="103" y="347"/>
                  </a:lnTo>
                  <a:lnTo>
                    <a:pt x="102" y="349"/>
                  </a:lnTo>
                  <a:lnTo>
                    <a:pt x="102" y="350"/>
                  </a:lnTo>
                  <a:lnTo>
                    <a:pt x="102" y="351"/>
                  </a:lnTo>
                  <a:lnTo>
                    <a:pt x="100" y="350"/>
                  </a:lnTo>
                  <a:lnTo>
                    <a:pt x="100" y="347"/>
                  </a:lnTo>
                  <a:lnTo>
                    <a:pt x="98" y="346"/>
                  </a:lnTo>
                  <a:lnTo>
                    <a:pt x="98" y="345"/>
                  </a:lnTo>
                  <a:lnTo>
                    <a:pt x="100" y="344"/>
                  </a:lnTo>
                  <a:lnTo>
                    <a:pt x="98" y="343"/>
                  </a:lnTo>
                  <a:lnTo>
                    <a:pt x="98" y="344"/>
                  </a:lnTo>
                  <a:lnTo>
                    <a:pt x="98" y="343"/>
                  </a:lnTo>
                  <a:lnTo>
                    <a:pt x="97" y="343"/>
                  </a:lnTo>
                  <a:lnTo>
                    <a:pt x="96" y="341"/>
                  </a:lnTo>
                  <a:lnTo>
                    <a:pt x="95" y="341"/>
                  </a:lnTo>
                  <a:lnTo>
                    <a:pt x="95" y="339"/>
                  </a:lnTo>
                  <a:lnTo>
                    <a:pt x="95" y="341"/>
                  </a:lnTo>
                  <a:lnTo>
                    <a:pt x="95" y="343"/>
                  </a:lnTo>
                  <a:lnTo>
                    <a:pt x="97" y="343"/>
                  </a:lnTo>
                  <a:lnTo>
                    <a:pt x="96" y="344"/>
                  </a:lnTo>
                  <a:lnTo>
                    <a:pt x="96" y="345"/>
                  </a:lnTo>
                  <a:lnTo>
                    <a:pt x="95" y="345"/>
                  </a:lnTo>
                  <a:lnTo>
                    <a:pt x="95" y="347"/>
                  </a:lnTo>
                  <a:lnTo>
                    <a:pt x="96" y="346"/>
                  </a:lnTo>
                  <a:lnTo>
                    <a:pt x="97" y="346"/>
                  </a:lnTo>
                  <a:lnTo>
                    <a:pt x="97" y="349"/>
                  </a:lnTo>
                  <a:lnTo>
                    <a:pt x="97" y="350"/>
                  </a:lnTo>
                  <a:lnTo>
                    <a:pt x="96" y="350"/>
                  </a:lnTo>
                  <a:lnTo>
                    <a:pt x="95" y="351"/>
                  </a:lnTo>
                  <a:lnTo>
                    <a:pt x="94" y="351"/>
                  </a:lnTo>
                  <a:lnTo>
                    <a:pt x="94" y="349"/>
                  </a:lnTo>
                  <a:lnTo>
                    <a:pt x="92" y="347"/>
                  </a:lnTo>
                  <a:lnTo>
                    <a:pt x="92" y="350"/>
                  </a:lnTo>
                  <a:lnTo>
                    <a:pt x="92" y="352"/>
                  </a:lnTo>
                  <a:lnTo>
                    <a:pt x="92" y="350"/>
                  </a:lnTo>
                  <a:lnTo>
                    <a:pt x="91" y="351"/>
                  </a:lnTo>
                  <a:lnTo>
                    <a:pt x="90" y="352"/>
                  </a:lnTo>
                  <a:lnTo>
                    <a:pt x="90" y="350"/>
                  </a:lnTo>
                  <a:lnTo>
                    <a:pt x="89" y="349"/>
                  </a:lnTo>
                  <a:lnTo>
                    <a:pt x="89" y="350"/>
                  </a:lnTo>
                  <a:lnTo>
                    <a:pt x="89" y="351"/>
                  </a:lnTo>
                  <a:lnTo>
                    <a:pt x="88" y="353"/>
                  </a:lnTo>
                  <a:lnTo>
                    <a:pt x="86" y="355"/>
                  </a:lnTo>
                  <a:lnTo>
                    <a:pt x="86" y="352"/>
                  </a:lnTo>
                  <a:lnTo>
                    <a:pt x="85" y="352"/>
                  </a:lnTo>
                  <a:lnTo>
                    <a:pt x="84" y="353"/>
                  </a:lnTo>
                  <a:lnTo>
                    <a:pt x="85" y="356"/>
                  </a:lnTo>
                  <a:lnTo>
                    <a:pt x="88" y="356"/>
                  </a:lnTo>
                  <a:lnTo>
                    <a:pt x="88" y="357"/>
                  </a:lnTo>
                  <a:lnTo>
                    <a:pt x="89" y="357"/>
                  </a:lnTo>
                  <a:lnTo>
                    <a:pt x="89" y="355"/>
                  </a:lnTo>
                  <a:lnTo>
                    <a:pt x="90" y="352"/>
                  </a:lnTo>
                  <a:lnTo>
                    <a:pt x="90" y="353"/>
                  </a:lnTo>
                  <a:lnTo>
                    <a:pt x="92" y="355"/>
                  </a:lnTo>
                  <a:lnTo>
                    <a:pt x="91" y="356"/>
                  </a:lnTo>
                  <a:lnTo>
                    <a:pt x="90" y="357"/>
                  </a:lnTo>
                  <a:lnTo>
                    <a:pt x="91" y="358"/>
                  </a:lnTo>
                  <a:lnTo>
                    <a:pt x="90" y="358"/>
                  </a:lnTo>
                  <a:lnTo>
                    <a:pt x="89" y="357"/>
                  </a:lnTo>
                  <a:lnTo>
                    <a:pt x="86" y="357"/>
                  </a:lnTo>
                  <a:lnTo>
                    <a:pt x="88" y="358"/>
                  </a:lnTo>
                  <a:lnTo>
                    <a:pt x="86" y="360"/>
                  </a:lnTo>
                  <a:lnTo>
                    <a:pt x="86" y="361"/>
                  </a:lnTo>
                  <a:lnTo>
                    <a:pt x="85" y="360"/>
                  </a:lnTo>
                  <a:lnTo>
                    <a:pt x="84" y="357"/>
                  </a:lnTo>
                  <a:lnTo>
                    <a:pt x="83" y="357"/>
                  </a:lnTo>
                  <a:lnTo>
                    <a:pt x="82" y="358"/>
                  </a:lnTo>
                  <a:lnTo>
                    <a:pt x="82" y="356"/>
                  </a:lnTo>
                  <a:lnTo>
                    <a:pt x="80" y="358"/>
                  </a:lnTo>
                  <a:lnTo>
                    <a:pt x="80" y="360"/>
                  </a:lnTo>
                  <a:lnTo>
                    <a:pt x="79" y="358"/>
                  </a:lnTo>
                  <a:lnTo>
                    <a:pt x="77" y="361"/>
                  </a:lnTo>
                  <a:lnTo>
                    <a:pt x="77" y="362"/>
                  </a:lnTo>
                  <a:lnTo>
                    <a:pt x="76" y="361"/>
                  </a:lnTo>
                  <a:lnTo>
                    <a:pt x="74" y="360"/>
                  </a:lnTo>
                  <a:lnTo>
                    <a:pt x="72" y="362"/>
                  </a:lnTo>
                  <a:lnTo>
                    <a:pt x="72" y="363"/>
                  </a:lnTo>
                  <a:lnTo>
                    <a:pt x="71" y="361"/>
                  </a:lnTo>
                  <a:lnTo>
                    <a:pt x="70" y="360"/>
                  </a:lnTo>
                  <a:lnTo>
                    <a:pt x="70" y="358"/>
                  </a:lnTo>
                  <a:lnTo>
                    <a:pt x="68" y="360"/>
                  </a:lnTo>
                  <a:lnTo>
                    <a:pt x="68" y="357"/>
                  </a:lnTo>
                  <a:lnTo>
                    <a:pt x="71" y="355"/>
                  </a:lnTo>
                  <a:lnTo>
                    <a:pt x="72" y="355"/>
                  </a:lnTo>
                  <a:lnTo>
                    <a:pt x="74" y="355"/>
                  </a:lnTo>
                  <a:lnTo>
                    <a:pt x="74" y="353"/>
                  </a:lnTo>
                  <a:lnTo>
                    <a:pt x="73" y="353"/>
                  </a:lnTo>
                  <a:lnTo>
                    <a:pt x="71" y="353"/>
                  </a:lnTo>
                  <a:lnTo>
                    <a:pt x="68" y="352"/>
                  </a:lnTo>
                  <a:lnTo>
                    <a:pt x="67" y="353"/>
                  </a:lnTo>
                  <a:lnTo>
                    <a:pt x="65" y="355"/>
                  </a:lnTo>
                  <a:lnTo>
                    <a:pt x="64" y="357"/>
                  </a:lnTo>
                  <a:lnTo>
                    <a:pt x="62" y="355"/>
                  </a:lnTo>
                  <a:lnTo>
                    <a:pt x="64" y="353"/>
                  </a:lnTo>
                  <a:lnTo>
                    <a:pt x="65" y="351"/>
                  </a:lnTo>
                  <a:lnTo>
                    <a:pt x="67" y="351"/>
                  </a:lnTo>
                  <a:lnTo>
                    <a:pt x="68" y="351"/>
                  </a:lnTo>
                  <a:lnTo>
                    <a:pt x="70" y="350"/>
                  </a:lnTo>
                  <a:lnTo>
                    <a:pt x="67" y="349"/>
                  </a:lnTo>
                  <a:lnTo>
                    <a:pt x="65" y="350"/>
                  </a:lnTo>
                  <a:lnTo>
                    <a:pt x="64" y="350"/>
                  </a:lnTo>
                  <a:lnTo>
                    <a:pt x="62" y="351"/>
                  </a:lnTo>
                  <a:lnTo>
                    <a:pt x="61" y="351"/>
                  </a:lnTo>
                  <a:lnTo>
                    <a:pt x="62" y="350"/>
                  </a:lnTo>
                  <a:lnTo>
                    <a:pt x="61" y="351"/>
                  </a:lnTo>
                  <a:lnTo>
                    <a:pt x="60" y="351"/>
                  </a:lnTo>
                  <a:lnTo>
                    <a:pt x="60" y="350"/>
                  </a:lnTo>
                  <a:lnTo>
                    <a:pt x="62" y="347"/>
                  </a:lnTo>
                  <a:lnTo>
                    <a:pt x="66" y="347"/>
                  </a:lnTo>
                  <a:lnTo>
                    <a:pt x="67" y="349"/>
                  </a:lnTo>
                  <a:lnTo>
                    <a:pt x="70" y="350"/>
                  </a:lnTo>
                  <a:lnTo>
                    <a:pt x="71" y="350"/>
                  </a:lnTo>
                  <a:lnTo>
                    <a:pt x="73" y="349"/>
                  </a:lnTo>
                  <a:lnTo>
                    <a:pt x="76" y="347"/>
                  </a:lnTo>
                  <a:lnTo>
                    <a:pt x="77" y="347"/>
                  </a:lnTo>
                  <a:lnTo>
                    <a:pt x="76" y="347"/>
                  </a:lnTo>
                  <a:lnTo>
                    <a:pt x="74" y="346"/>
                  </a:lnTo>
                  <a:lnTo>
                    <a:pt x="72" y="347"/>
                  </a:lnTo>
                  <a:lnTo>
                    <a:pt x="71" y="349"/>
                  </a:lnTo>
                  <a:lnTo>
                    <a:pt x="68" y="347"/>
                  </a:lnTo>
                  <a:lnTo>
                    <a:pt x="68" y="346"/>
                  </a:lnTo>
                  <a:lnTo>
                    <a:pt x="67" y="346"/>
                  </a:lnTo>
                  <a:lnTo>
                    <a:pt x="68" y="345"/>
                  </a:lnTo>
                  <a:lnTo>
                    <a:pt x="67" y="345"/>
                  </a:lnTo>
                  <a:lnTo>
                    <a:pt x="65" y="346"/>
                  </a:lnTo>
                  <a:lnTo>
                    <a:pt x="62" y="345"/>
                  </a:lnTo>
                  <a:lnTo>
                    <a:pt x="60" y="346"/>
                  </a:lnTo>
                  <a:lnTo>
                    <a:pt x="60" y="345"/>
                  </a:lnTo>
                  <a:lnTo>
                    <a:pt x="61" y="344"/>
                  </a:lnTo>
                  <a:lnTo>
                    <a:pt x="60" y="343"/>
                  </a:lnTo>
                  <a:lnTo>
                    <a:pt x="59" y="343"/>
                  </a:lnTo>
                  <a:lnTo>
                    <a:pt x="59" y="340"/>
                  </a:lnTo>
                  <a:lnTo>
                    <a:pt x="58" y="340"/>
                  </a:lnTo>
                  <a:lnTo>
                    <a:pt x="56" y="340"/>
                  </a:lnTo>
                  <a:lnTo>
                    <a:pt x="55" y="341"/>
                  </a:lnTo>
                  <a:lnTo>
                    <a:pt x="55" y="340"/>
                  </a:lnTo>
                  <a:lnTo>
                    <a:pt x="54" y="341"/>
                  </a:lnTo>
                  <a:lnTo>
                    <a:pt x="52" y="344"/>
                  </a:lnTo>
                  <a:lnTo>
                    <a:pt x="50" y="347"/>
                  </a:lnTo>
                  <a:lnTo>
                    <a:pt x="49" y="350"/>
                  </a:lnTo>
                  <a:lnTo>
                    <a:pt x="48" y="346"/>
                  </a:lnTo>
                  <a:lnTo>
                    <a:pt x="47" y="346"/>
                  </a:lnTo>
                  <a:lnTo>
                    <a:pt x="46" y="346"/>
                  </a:lnTo>
                  <a:lnTo>
                    <a:pt x="47" y="347"/>
                  </a:lnTo>
                  <a:lnTo>
                    <a:pt x="46" y="349"/>
                  </a:lnTo>
                  <a:lnTo>
                    <a:pt x="46" y="350"/>
                  </a:lnTo>
                  <a:lnTo>
                    <a:pt x="44" y="351"/>
                  </a:lnTo>
                  <a:lnTo>
                    <a:pt x="47" y="350"/>
                  </a:lnTo>
                  <a:lnTo>
                    <a:pt x="48" y="352"/>
                  </a:lnTo>
                  <a:lnTo>
                    <a:pt x="47" y="355"/>
                  </a:lnTo>
                  <a:lnTo>
                    <a:pt x="46" y="353"/>
                  </a:lnTo>
                  <a:lnTo>
                    <a:pt x="43" y="353"/>
                  </a:lnTo>
                  <a:lnTo>
                    <a:pt x="43" y="352"/>
                  </a:lnTo>
                  <a:lnTo>
                    <a:pt x="42" y="352"/>
                  </a:lnTo>
                  <a:lnTo>
                    <a:pt x="42" y="355"/>
                  </a:lnTo>
                  <a:lnTo>
                    <a:pt x="41" y="353"/>
                  </a:lnTo>
                  <a:lnTo>
                    <a:pt x="41" y="352"/>
                  </a:lnTo>
                  <a:lnTo>
                    <a:pt x="39" y="353"/>
                  </a:lnTo>
                  <a:lnTo>
                    <a:pt x="39" y="355"/>
                  </a:lnTo>
                  <a:lnTo>
                    <a:pt x="37" y="355"/>
                  </a:lnTo>
                  <a:lnTo>
                    <a:pt x="36" y="355"/>
                  </a:lnTo>
                  <a:lnTo>
                    <a:pt x="35" y="357"/>
                  </a:lnTo>
                  <a:lnTo>
                    <a:pt x="33" y="358"/>
                  </a:lnTo>
                  <a:lnTo>
                    <a:pt x="32" y="357"/>
                  </a:lnTo>
                  <a:lnTo>
                    <a:pt x="31" y="357"/>
                  </a:lnTo>
                  <a:lnTo>
                    <a:pt x="30" y="356"/>
                  </a:lnTo>
                  <a:lnTo>
                    <a:pt x="26" y="357"/>
                  </a:lnTo>
                  <a:lnTo>
                    <a:pt x="25" y="358"/>
                  </a:lnTo>
                  <a:lnTo>
                    <a:pt x="24" y="360"/>
                  </a:lnTo>
                  <a:lnTo>
                    <a:pt x="23" y="361"/>
                  </a:lnTo>
                  <a:lnTo>
                    <a:pt x="23" y="363"/>
                  </a:lnTo>
                  <a:lnTo>
                    <a:pt x="21" y="362"/>
                  </a:lnTo>
                  <a:lnTo>
                    <a:pt x="21" y="361"/>
                  </a:lnTo>
                  <a:lnTo>
                    <a:pt x="21" y="360"/>
                  </a:lnTo>
                  <a:lnTo>
                    <a:pt x="19" y="361"/>
                  </a:lnTo>
                  <a:lnTo>
                    <a:pt x="19" y="360"/>
                  </a:lnTo>
                  <a:lnTo>
                    <a:pt x="20" y="358"/>
                  </a:lnTo>
                  <a:lnTo>
                    <a:pt x="19" y="360"/>
                  </a:lnTo>
                  <a:lnTo>
                    <a:pt x="19" y="357"/>
                  </a:lnTo>
                  <a:lnTo>
                    <a:pt x="18" y="358"/>
                  </a:lnTo>
                  <a:lnTo>
                    <a:pt x="15" y="358"/>
                  </a:lnTo>
                  <a:lnTo>
                    <a:pt x="13" y="360"/>
                  </a:lnTo>
                  <a:lnTo>
                    <a:pt x="13" y="358"/>
                  </a:lnTo>
                  <a:lnTo>
                    <a:pt x="12" y="360"/>
                  </a:lnTo>
                  <a:lnTo>
                    <a:pt x="9" y="361"/>
                  </a:lnTo>
                  <a:lnTo>
                    <a:pt x="12" y="358"/>
                  </a:lnTo>
                  <a:lnTo>
                    <a:pt x="12" y="357"/>
                  </a:lnTo>
                  <a:lnTo>
                    <a:pt x="11" y="358"/>
                  </a:lnTo>
                  <a:lnTo>
                    <a:pt x="12" y="355"/>
                  </a:lnTo>
                  <a:lnTo>
                    <a:pt x="14" y="352"/>
                  </a:lnTo>
                  <a:lnTo>
                    <a:pt x="15" y="351"/>
                  </a:lnTo>
                  <a:lnTo>
                    <a:pt x="14" y="351"/>
                  </a:lnTo>
                  <a:lnTo>
                    <a:pt x="12" y="353"/>
                  </a:lnTo>
                  <a:lnTo>
                    <a:pt x="9" y="356"/>
                  </a:lnTo>
                  <a:lnTo>
                    <a:pt x="12" y="351"/>
                  </a:lnTo>
                  <a:lnTo>
                    <a:pt x="12" y="350"/>
                  </a:lnTo>
                  <a:lnTo>
                    <a:pt x="11" y="349"/>
                  </a:lnTo>
                  <a:lnTo>
                    <a:pt x="13" y="346"/>
                  </a:lnTo>
                  <a:lnTo>
                    <a:pt x="12" y="345"/>
                  </a:lnTo>
                  <a:lnTo>
                    <a:pt x="11" y="347"/>
                  </a:lnTo>
                  <a:lnTo>
                    <a:pt x="8" y="349"/>
                  </a:lnTo>
                  <a:lnTo>
                    <a:pt x="8" y="346"/>
                  </a:lnTo>
                  <a:lnTo>
                    <a:pt x="7" y="344"/>
                  </a:lnTo>
                  <a:lnTo>
                    <a:pt x="9" y="341"/>
                  </a:lnTo>
                  <a:lnTo>
                    <a:pt x="11" y="341"/>
                  </a:lnTo>
                  <a:lnTo>
                    <a:pt x="13" y="341"/>
                  </a:lnTo>
                  <a:lnTo>
                    <a:pt x="15" y="340"/>
                  </a:lnTo>
                  <a:lnTo>
                    <a:pt x="17" y="339"/>
                  </a:lnTo>
                  <a:lnTo>
                    <a:pt x="18" y="338"/>
                  </a:lnTo>
                  <a:lnTo>
                    <a:pt x="18" y="339"/>
                  </a:lnTo>
                  <a:lnTo>
                    <a:pt x="19" y="341"/>
                  </a:lnTo>
                  <a:lnTo>
                    <a:pt x="20" y="340"/>
                  </a:lnTo>
                  <a:lnTo>
                    <a:pt x="21" y="340"/>
                  </a:lnTo>
                  <a:lnTo>
                    <a:pt x="23" y="339"/>
                  </a:lnTo>
                  <a:lnTo>
                    <a:pt x="26" y="338"/>
                  </a:lnTo>
                  <a:lnTo>
                    <a:pt x="29" y="338"/>
                  </a:lnTo>
                  <a:lnTo>
                    <a:pt x="27" y="339"/>
                  </a:lnTo>
                  <a:lnTo>
                    <a:pt x="26" y="339"/>
                  </a:lnTo>
                  <a:lnTo>
                    <a:pt x="24" y="340"/>
                  </a:lnTo>
                  <a:lnTo>
                    <a:pt x="24" y="341"/>
                  </a:lnTo>
                  <a:lnTo>
                    <a:pt x="24" y="343"/>
                  </a:lnTo>
                  <a:lnTo>
                    <a:pt x="26" y="341"/>
                  </a:lnTo>
                  <a:lnTo>
                    <a:pt x="27" y="341"/>
                  </a:lnTo>
                  <a:lnTo>
                    <a:pt x="27" y="340"/>
                  </a:lnTo>
                  <a:lnTo>
                    <a:pt x="29" y="339"/>
                  </a:lnTo>
                  <a:lnTo>
                    <a:pt x="31" y="339"/>
                  </a:lnTo>
                  <a:lnTo>
                    <a:pt x="32" y="338"/>
                  </a:lnTo>
                  <a:lnTo>
                    <a:pt x="31" y="338"/>
                  </a:lnTo>
                  <a:lnTo>
                    <a:pt x="30" y="339"/>
                  </a:lnTo>
                  <a:lnTo>
                    <a:pt x="30" y="338"/>
                  </a:lnTo>
                  <a:lnTo>
                    <a:pt x="31" y="334"/>
                  </a:lnTo>
                  <a:lnTo>
                    <a:pt x="33" y="333"/>
                  </a:lnTo>
                  <a:lnTo>
                    <a:pt x="33" y="332"/>
                  </a:lnTo>
                  <a:lnTo>
                    <a:pt x="35" y="331"/>
                  </a:lnTo>
                  <a:lnTo>
                    <a:pt x="32" y="332"/>
                  </a:lnTo>
                  <a:lnTo>
                    <a:pt x="31" y="333"/>
                  </a:lnTo>
                  <a:lnTo>
                    <a:pt x="32" y="332"/>
                  </a:lnTo>
                  <a:lnTo>
                    <a:pt x="31" y="332"/>
                  </a:lnTo>
                  <a:lnTo>
                    <a:pt x="27" y="334"/>
                  </a:lnTo>
                  <a:lnTo>
                    <a:pt x="30" y="329"/>
                  </a:lnTo>
                  <a:lnTo>
                    <a:pt x="31" y="328"/>
                  </a:lnTo>
                  <a:lnTo>
                    <a:pt x="33" y="327"/>
                  </a:lnTo>
                  <a:lnTo>
                    <a:pt x="33" y="325"/>
                  </a:lnTo>
                  <a:lnTo>
                    <a:pt x="33" y="323"/>
                  </a:lnTo>
                  <a:lnTo>
                    <a:pt x="32" y="323"/>
                  </a:lnTo>
                  <a:lnTo>
                    <a:pt x="29" y="323"/>
                  </a:lnTo>
                  <a:lnTo>
                    <a:pt x="31" y="321"/>
                  </a:lnTo>
                  <a:lnTo>
                    <a:pt x="33" y="320"/>
                  </a:lnTo>
                  <a:lnTo>
                    <a:pt x="36" y="320"/>
                  </a:lnTo>
                  <a:lnTo>
                    <a:pt x="37" y="321"/>
                  </a:lnTo>
                  <a:lnTo>
                    <a:pt x="39" y="321"/>
                  </a:lnTo>
                  <a:lnTo>
                    <a:pt x="41" y="321"/>
                  </a:lnTo>
                  <a:lnTo>
                    <a:pt x="43" y="321"/>
                  </a:lnTo>
                  <a:lnTo>
                    <a:pt x="42" y="321"/>
                  </a:lnTo>
                  <a:lnTo>
                    <a:pt x="39" y="320"/>
                  </a:lnTo>
                  <a:lnTo>
                    <a:pt x="38" y="319"/>
                  </a:lnTo>
                  <a:lnTo>
                    <a:pt x="39" y="319"/>
                  </a:lnTo>
                  <a:lnTo>
                    <a:pt x="41" y="317"/>
                  </a:lnTo>
                  <a:lnTo>
                    <a:pt x="39" y="316"/>
                  </a:lnTo>
                  <a:lnTo>
                    <a:pt x="38" y="317"/>
                  </a:lnTo>
                  <a:lnTo>
                    <a:pt x="38" y="316"/>
                  </a:lnTo>
                  <a:lnTo>
                    <a:pt x="37" y="315"/>
                  </a:lnTo>
                  <a:lnTo>
                    <a:pt x="38" y="314"/>
                  </a:lnTo>
                  <a:lnTo>
                    <a:pt x="37" y="314"/>
                  </a:lnTo>
                  <a:lnTo>
                    <a:pt x="37" y="313"/>
                  </a:lnTo>
                  <a:lnTo>
                    <a:pt x="36" y="314"/>
                  </a:lnTo>
                  <a:lnTo>
                    <a:pt x="35" y="315"/>
                  </a:lnTo>
                  <a:lnTo>
                    <a:pt x="35" y="316"/>
                  </a:lnTo>
                  <a:lnTo>
                    <a:pt x="35" y="314"/>
                  </a:lnTo>
                  <a:lnTo>
                    <a:pt x="35" y="313"/>
                  </a:lnTo>
                  <a:lnTo>
                    <a:pt x="33" y="314"/>
                  </a:lnTo>
                  <a:lnTo>
                    <a:pt x="35" y="311"/>
                  </a:lnTo>
                  <a:lnTo>
                    <a:pt x="36" y="310"/>
                  </a:lnTo>
                  <a:lnTo>
                    <a:pt x="37" y="309"/>
                  </a:lnTo>
                  <a:lnTo>
                    <a:pt x="39" y="307"/>
                  </a:lnTo>
                  <a:lnTo>
                    <a:pt x="41" y="304"/>
                  </a:lnTo>
                  <a:lnTo>
                    <a:pt x="39" y="304"/>
                  </a:lnTo>
                  <a:lnTo>
                    <a:pt x="38" y="305"/>
                  </a:lnTo>
                  <a:lnTo>
                    <a:pt x="38" y="304"/>
                  </a:lnTo>
                  <a:lnTo>
                    <a:pt x="38" y="305"/>
                  </a:lnTo>
                  <a:lnTo>
                    <a:pt x="37" y="307"/>
                  </a:lnTo>
                  <a:lnTo>
                    <a:pt x="37" y="305"/>
                  </a:lnTo>
                  <a:lnTo>
                    <a:pt x="37" y="307"/>
                  </a:lnTo>
                  <a:lnTo>
                    <a:pt x="36" y="307"/>
                  </a:lnTo>
                  <a:lnTo>
                    <a:pt x="35" y="307"/>
                  </a:lnTo>
                  <a:lnTo>
                    <a:pt x="33" y="309"/>
                  </a:lnTo>
                  <a:lnTo>
                    <a:pt x="33" y="307"/>
                  </a:lnTo>
                  <a:lnTo>
                    <a:pt x="35" y="304"/>
                  </a:lnTo>
                  <a:lnTo>
                    <a:pt x="33" y="304"/>
                  </a:lnTo>
                  <a:lnTo>
                    <a:pt x="32" y="303"/>
                  </a:lnTo>
                  <a:lnTo>
                    <a:pt x="31" y="302"/>
                  </a:lnTo>
                  <a:lnTo>
                    <a:pt x="32" y="301"/>
                  </a:lnTo>
                  <a:lnTo>
                    <a:pt x="31" y="299"/>
                  </a:lnTo>
                  <a:lnTo>
                    <a:pt x="30" y="298"/>
                  </a:lnTo>
                  <a:lnTo>
                    <a:pt x="26" y="301"/>
                  </a:lnTo>
                  <a:lnTo>
                    <a:pt x="25" y="305"/>
                  </a:lnTo>
                  <a:lnTo>
                    <a:pt x="23" y="309"/>
                  </a:lnTo>
                  <a:lnTo>
                    <a:pt x="21" y="311"/>
                  </a:lnTo>
                  <a:lnTo>
                    <a:pt x="24" y="307"/>
                  </a:lnTo>
                  <a:lnTo>
                    <a:pt x="25" y="304"/>
                  </a:lnTo>
                  <a:lnTo>
                    <a:pt x="23" y="305"/>
                  </a:lnTo>
                  <a:lnTo>
                    <a:pt x="20" y="305"/>
                  </a:lnTo>
                  <a:lnTo>
                    <a:pt x="23" y="304"/>
                  </a:lnTo>
                  <a:lnTo>
                    <a:pt x="25" y="302"/>
                  </a:lnTo>
                  <a:lnTo>
                    <a:pt x="25" y="301"/>
                  </a:lnTo>
                  <a:lnTo>
                    <a:pt x="20" y="303"/>
                  </a:lnTo>
                  <a:lnTo>
                    <a:pt x="17" y="307"/>
                  </a:lnTo>
                  <a:lnTo>
                    <a:pt x="19" y="303"/>
                  </a:lnTo>
                  <a:lnTo>
                    <a:pt x="17" y="304"/>
                  </a:lnTo>
                  <a:lnTo>
                    <a:pt x="15" y="304"/>
                  </a:lnTo>
                  <a:lnTo>
                    <a:pt x="18" y="303"/>
                  </a:lnTo>
                  <a:lnTo>
                    <a:pt x="15" y="303"/>
                  </a:lnTo>
                  <a:lnTo>
                    <a:pt x="14" y="303"/>
                  </a:lnTo>
                  <a:lnTo>
                    <a:pt x="13" y="304"/>
                  </a:lnTo>
                  <a:lnTo>
                    <a:pt x="13" y="302"/>
                  </a:lnTo>
                  <a:lnTo>
                    <a:pt x="12" y="302"/>
                  </a:lnTo>
                  <a:lnTo>
                    <a:pt x="11" y="303"/>
                  </a:lnTo>
                  <a:lnTo>
                    <a:pt x="11" y="301"/>
                  </a:lnTo>
                  <a:lnTo>
                    <a:pt x="12" y="299"/>
                  </a:lnTo>
                  <a:lnTo>
                    <a:pt x="11" y="299"/>
                  </a:lnTo>
                  <a:lnTo>
                    <a:pt x="12" y="298"/>
                  </a:lnTo>
                  <a:lnTo>
                    <a:pt x="11" y="298"/>
                  </a:lnTo>
                  <a:lnTo>
                    <a:pt x="12" y="297"/>
                  </a:lnTo>
                  <a:lnTo>
                    <a:pt x="12" y="296"/>
                  </a:lnTo>
                  <a:lnTo>
                    <a:pt x="14" y="295"/>
                  </a:lnTo>
                  <a:lnTo>
                    <a:pt x="17" y="295"/>
                  </a:lnTo>
                  <a:lnTo>
                    <a:pt x="17" y="293"/>
                  </a:lnTo>
                  <a:lnTo>
                    <a:pt x="17" y="292"/>
                  </a:lnTo>
                  <a:lnTo>
                    <a:pt x="18" y="291"/>
                  </a:lnTo>
                  <a:lnTo>
                    <a:pt x="15" y="291"/>
                  </a:lnTo>
                  <a:lnTo>
                    <a:pt x="14" y="291"/>
                  </a:lnTo>
                  <a:lnTo>
                    <a:pt x="12" y="290"/>
                  </a:lnTo>
                  <a:lnTo>
                    <a:pt x="13" y="289"/>
                  </a:lnTo>
                  <a:lnTo>
                    <a:pt x="14" y="289"/>
                  </a:lnTo>
                  <a:lnTo>
                    <a:pt x="17" y="287"/>
                  </a:lnTo>
                  <a:lnTo>
                    <a:pt x="19" y="287"/>
                  </a:lnTo>
                  <a:lnTo>
                    <a:pt x="20" y="290"/>
                  </a:lnTo>
                  <a:lnTo>
                    <a:pt x="21" y="291"/>
                  </a:lnTo>
                  <a:lnTo>
                    <a:pt x="24" y="291"/>
                  </a:lnTo>
                  <a:lnTo>
                    <a:pt x="24" y="290"/>
                  </a:lnTo>
                  <a:lnTo>
                    <a:pt x="25" y="290"/>
                  </a:lnTo>
                  <a:lnTo>
                    <a:pt x="26" y="290"/>
                  </a:lnTo>
                  <a:lnTo>
                    <a:pt x="27" y="289"/>
                  </a:lnTo>
                  <a:lnTo>
                    <a:pt x="29" y="289"/>
                  </a:lnTo>
                  <a:lnTo>
                    <a:pt x="30" y="289"/>
                  </a:lnTo>
                  <a:lnTo>
                    <a:pt x="31" y="287"/>
                  </a:lnTo>
                  <a:lnTo>
                    <a:pt x="31" y="286"/>
                  </a:lnTo>
                  <a:lnTo>
                    <a:pt x="32" y="286"/>
                  </a:lnTo>
                  <a:lnTo>
                    <a:pt x="32" y="285"/>
                  </a:lnTo>
                  <a:lnTo>
                    <a:pt x="33" y="283"/>
                  </a:lnTo>
                  <a:lnTo>
                    <a:pt x="31" y="284"/>
                  </a:lnTo>
                  <a:lnTo>
                    <a:pt x="29" y="286"/>
                  </a:lnTo>
                  <a:lnTo>
                    <a:pt x="27" y="287"/>
                  </a:lnTo>
                  <a:lnTo>
                    <a:pt x="27" y="284"/>
                  </a:lnTo>
                  <a:lnTo>
                    <a:pt x="26" y="281"/>
                  </a:lnTo>
                  <a:lnTo>
                    <a:pt x="26" y="280"/>
                  </a:lnTo>
                  <a:lnTo>
                    <a:pt x="24" y="280"/>
                  </a:lnTo>
                  <a:lnTo>
                    <a:pt x="21" y="281"/>
                  </a:lnTo>
                  <a:lnTo>
                    <a:pt x="21" y="283"/>
                  </a:lnTo>
                  <a:lnTo>
                    <a:pt x="20" y="280"/>
                  </a:lnTo>
                  <a:lnTo>
                    <a:pt x="19" y="280"/>
                  </a:lnTo>
                  <a:lnTo>
                    <a:pt x="17" y="279"/>
                  </a:lnTo>
                  <a:lnTo>
                    <a:pt x="15" y="279"/>
                  </a:lnTo>
                  <a:lnTo>
                    <a:pt x="15" y="275"/>
                  </a:lnTo>
                  <a:lnTo>
                    <a:pt x="14" y="277"/>
                  </a:lnTo>
                  <a:lnTo>
                    <a:pt x="14" y="280"/>
                  </a:lnTo>
                  <a:lnTo>
                    <a:pt x="14" y="284"/>
                  </a:lnTo>
                  <a:lnTo>
                    <a:pt x="14" y="286"/>
                  </a:lnTo>
                  <a:lnTo>
                    <a:pt x="11" y="281"/>
                  </a:lnTo>
                  <a:lnTo>
                    <a:pt x="9" y="280"/>
                  </a:lnTo>
                  <a:lnTo>
                    <a:pt x="8" y="281"/>
                  </a:lnTo>
                  <a:lnTo>
                    <a:pt x="7" y="283"/>
                  </a:lnTo>
                  <a:lnTo>
                    <a:pt x="7" y="280"/>
                  </a:lnTo>
                  <a:lnTo>
                    <a:pt x="7" y="279"/>
                  </a:lnTo>
                  <a:lnTo>
                    <a:pt x="6" y="279"/>
                  </a:lnTo>
                  <a:lnTo>
                    <a:pt x="5" y="279"/>
                  </a:lnTo>
                  <a:lnTo>
                    <a:pt x="5" y="278"/>
                  </a:lnTo>
                  <a:lnTo>
                    <a:pt x="5" y="275"/>
                  </a:lnTo>
                  <a:lnTo>
                    <a:pt x="7" y="273"/>
                  </a:lnTo>
                  <a:lnTo>
                    <a:pt x="7" y="271"/>
                  </a:lnTo>
                  <a:lnTo>
                    <a:pt x="8" y="269"/>
                  </a:lnTo>
                  <a:lnTo>
                    <a:pt x="9" y="268"/>
                  </a:lnTo>
                  <a:lnTo>
                    <a:pt x="11" y="268"/>
                  </a:lnTo>
                  <a:lnTo>
                    <a:pt x="11" y="267"/>
                  </a:lnTo>
                  <a:lnTo>
                    <a:pt x="12" y="266"/>
                  </a:lnTo>
                  <a:lnTo>
                    <a:pt x="14" y="263"/>
                  </a:lnTo>
                  <a:lnTo>
                    <a:pt x="15" y="263"/>
                  </a:lnTo>
                  <a:lnTo>
                    <a:pt x="17" y="262"/>
                  </a:lnTo>
                  <a:lnTo>
                    <a:pt x="18" y="261"/>
                  </a:lnTo>
                  <a:lnTo>
                    <a:pt x="20" y="261"/>
                  </a:lnTo>
                  <a:lnTo>
                    <a:pt x="14" y="259"/>
                  </a:lnTo>
                  <a:lnTo>
                    <a:pt x="11" y="256"/>
                  </a:lnTo>
                  <a:lnTo>
                    <a:pt x="11" y="257"/>
                  </a:lnTo>
                  <a:lnTo>
                    <a:pt x="9" y="260"/>
                  </a:lnTo>
                  <a:lnTo>
                    <a:pt x="8" y="260"/>
                  </a:lnTo>
                  <a:lnTo>
                    <a:pt x="8" y="262"/>
                  </a:lnTo>
                  <a:lnTo>
                    <a:pt x="6" y="263"/>
                  </a:lnTo>
                  <a:lnTo>
                    <a:pt x="6" y="261"/>
                  </a:lnTo>
                  <a:lnTo>
                    <a:pt x="6" y="260"/>
                  </a:lnTo>
                  <a:lnTo>
                    <a:pt x="7" y="260"/>
                  </a:lnTo>
                  <a:lnTo>
                    <a:pt x="7" y="257"/>
                  </a:lnTo>
                  <a:lnTo>
                    <a:pt x="7" y="256"/>
                  </a:lnTo>
                  <a:lnTo>
                    <a:pt x="8" y="256"/>
                  </a:lnTo>
                  <a:lnTo>
                    <a:pt x="9" y="256"/>
                  </a:lnTo>
                  <a:lnTo>
                    <a:pt x="8" y="255"/>
                  </a:lnTo>
                  <a:lnTo>
                    <a:pt x="6" y="255"/>
                  </a:lnTo>
                  <a:lnTo>
                    <a:pt x="6" y="254"/>
                  </a:lnTo>
                  <a:lnTo>
                    <a:pt x="7" y="254"/>
                  </a:lnTo>
                  <a:lnTo>
                    <a:pt x="9" y="255"/>
                  </a:lnTo>
                  <a:lnTo>
                    <a:pt x="13" y="257"/>
                  </a:lnTo>
                  <a:lnTo>
                    <a:pt x="21" y="260"/>
                  </a:lnTo>
                  <a:lnTo>
                    <a:pt x="18" y="256"/>
                  </a:lnTo>
                  <a:lnTo>
                    <a:pt x="17" y="256"/>
                  </a:lnTo>
                  <a:lnTo>
                    <a:pt x="17" y="257"/>
                  </a:lnTo>
                  <a:lnTo>
                    <a:pt x="14" y="256"/>
                  </a:lnTo>
                  <a:lnTo>
                    <a:pt x="14" y="254"/>
                  </a:lnTo>
                  <a:lnTo>
                    <a:pt x="11" y="251"/>
                  </a:lnTo>
                  <a:lnTo>
                    <a:pt x="8" y="249"/>
                  </a:lnTo>
                  <a:lnTo>
                    <a:pt x="8" y="250"/>
                  </a:lnTo>
                  <a:lnTo>
                    <a:pt x="8" y="253"/>
                  </a:lnTo>
                  <a:lnTo>
                    <a:pt x="7" y="251"/>
                  </a:lnTo>
                  <a:lnTo>
                    <a:pt x="7" y="250"/>
                  </a:lnTo>
                  <a:lnTo>
                    <a:pt x="6" y="250"/>
                  </a:lnTo>
                  <a:lnTo>
                    <a:pt x="6" y="251"/>
                  </a:lnTo>
                  <a:lnTo>
                    <a:pt x="2" y="251"/>
                  </a:lnTo>
                  <a:lnTo>
                    <a:pt x="1" y="251"/>
                  </a:lnTo>
                  <a:lnTo>
                    <a:pt x="2" y="250"/>
                  </a:lnTo>
                  <a:lnTo>
                    <a:pt x="2" y="249"/>
                  </a:lnTo>
                  <a:lnTo>
                    <a:pt x="5" y="249"/>
                  </a:lnTo>
                  <a:lnTo>
                    <a:pt x="7" y="249"/>
                  </a:lnTo>
                  <a:lnTo>
                    <a:pt x="8" y="249"/>
                  </a:lnTo>
                  <a:lnTo>
                    <a:pt x="5" y="244"/>
                  </a:lnTo>
                  <a:lnTo>
                    <a:pt x="3" y="244"/>
                  </a:lnTo>
                  <a:lnTo>
                    <a:pt x="1" y="243"/>
                  </a:lnTo>
                  <a:lnTo>
                    <a:pt x="0" y="242"/>
                  </a:lnTo>
                  <a:lnTo>
                    <a:pt x="2" y="242"/>
                  </a:lnTo>
                  <a:lnTo>
                    <a:pt x="3" y="243"/>
                  </a:lnTo>
                  <a:lnTo>
                    <a:pt x="5" y="243"/>
                  </a:lnTo>
                  <a:lnTo>
                    <a:pt x="6" y="243"/>
                  </a:lnTo>
                  <a:lnTo>
                    <a:pt x="8" y="244"/>
                  </a:lnTo>
                  <a:lnTo>
                    <a:pt x="9" y="246"/>
                  </a:lnTo>
                  <a:lnTo>
                    <a:pt x="8" y="245"/>
                  </a:lnTo>
                  <a:lnTo>
                    <a:pt x="8" y="246"/>
                  </a:lnTo>
                  <a:lnTo>
                    <a:pt x="6" y="245"/>
                  </a:lnTo>
                  <a:lnTo>
                    <a:pt x="5" y="244"/>
                  </a:lnTo>
                  <a:lnTo>
                    <a:pt x="8" y="248"/>
                  </a:lnTo>
                  <a:lnTo>
                    <a:pt x="14" y="254"/>
                  </a:lnTo>
                  <a:lnTo>
                    <a:pt x="15" y="254"/>
                  </a:lnTo>
                  <a:lnTo>
                    <a:pt x="17" y="253"/>
                  </a:lnTo>
                  <a:lnTo>
                    <a:pt x="18" y="253"/>
                  </a:lnTo>
                  <a:lnTo>
                    <a:pt x="17" y="254"/>
                  </a:lnTo>
                  <a:lnTo>
                    <a:pt x="17" y="255"/>
                  </a:lnTo>
                  <a:lnTo>
                    <a:pt x="21" y="260"/>
                  </a:lnTo>
                  <a:lnTo>
                    <a:pt x="23" y="260"/>
                  </a:lnTo>
                  <a:lnTo>
                    <a:pt x="24" y="257"/>
                  </a:lnTo>
                  <a:lnTo>
                    <a:pt x="25" y="256"/>
                  </a:lnTo>
                  <a:lnTo>
                    <a:pt x="25" y="255"/>
                  </a:lnTo>
                  <a:lnTo>
                    <a:pt x="26" y="255"/>
                  </a:lnTo>
                  <a:lnTo>
                    <a:pt x="29" y="256"/>
                  </a:lnTo>
                  <a:lnTo>
                    <a:pt x="29" y="257"/>
                  </a:lnTo>
                  <a:lnTo>
                    <a:pt x="31" y="257"/>
                  </a:lnTo>
                  <a:lnTo>
                    <a:pt x="31" y="255"/>
                  </a:lnTo>
                  <a:lnTo>
                    <a:pt x="32" y="253"/>
                  </a:lnTo>
                  <a:lnTo>
                    <a:pt x="35" y="250"/>
                  </a:lnTo>
                  <a:lnTo>
                    <a:pt x="37" y="249"/>
                  </a:lnTo>
                  <a:lnTo>
                    <a:pt x="39" y="249"/>
                  </a:lnTo>
                  <a:lnTo>
                    <a:pt x="41" y="250"/>
                  </a:lnTo>
                  <a:lnTo>
                    <a:pt x="43" y="250"/>
                  </a:lnTo>
                  <a:lnTo>
                    <a:pt x="44" y="251"/>
                  </a:lnTo>
                  <a:lnTo>
                    <a:pt x="42" y="251"/>
                  </a:lnTo>
                  <a:lnTo>
                    <a:pt x="43" y="253"/>
                  </a:lnTo>
                  <a:lnTo>
                    <a:pt x="44" y="253"/>
                  </a:lnTo>
                  <a:lnTo>
                    <a:pt x="46" y="254"/>
                  </a:lnTo>
                  <a:lnTo>
                    <a:pt x="47" y="254"/>
                  </a:lnTo>
                  <a:lnTo>
                    <a:pt x="47" y="253"/>
                  </a:lnTo>
                  <a:lnTo>
                    <a:pt x="47" y="251"/>
                  </a:lnTo>
                  <a:lnTo>
                    <a:pt x="46" y="253"/>
                  </a:lnTo>
                  <a:lnTo>
                    <a:pt x="44" y="251"/>
                  </a:lnTo>
                  <a:lnTo>
                    <a:pt x="46" y="251"/>
                  </a:lnTo>
                  <a:lnTo>
                    <a:pt x="46" y="250"/>
                  </a:lnTo>
                  <a:lnTo>
                    <a:pt x="44" y="250"/>
                  </a:lnTo>
                  <a:lnTo>
                    <a:pt x="44" y="249"/>
                  </a:lnTo>
                  <a:lnTo>
                    <a:pt x="46" y="248"/>
                  </a:lnTo>
                  <a:lnTo>
                    <a:pt x="47" y="246"/>
                  </a:lnTo>
                  <a:lnTo>
                    <a:pt x="44" y="246"/>
                  </a:lnTo>
                  <a:lnTo>
                    <a:pt x="42" y="245"/>
                  </a:lnTo>
                  <a:lnTo>
                    <a:pt x="44" y="245"/>
                  </a:lnTo>
                  <a:lnTo>
                    <a:pt x="44" y="244"/>
                  </a:lnTo>
                  <a:lnTo>
                    <a:pt x="46" y="245"/>
                  </a:lnTo>
                  <a:lnTo>
                    <a:pt x="48" y="244"/>
                  </a:lnTo>
                  <a:lnTo>
                    <a:pt x="47" y="244"/>
                  </a:lnTo>
                  <a:lnTo>
                    <a:pt x="49" y="244"/>
                  </a:lnTo>
                  <a:lnTo>
                    <a:pt x="50" y="245"/>
                  </a:lnTo>
                  <a:lnTo>
                    <a:pt x="53" y="244"/>
                  </a:lnTo>
                  <a:lnTo>
                    <a:pt x="53" y="242"/>
                  </a:lnTo>
                  <a:lnTo>
                    <a:pt x="54" y="243"/>
                  </a:lnTo>
                  <a:lnTo>
                    <a:pt x="55" y="244"/>
                  </a:lnTo>
                  <a:lnTo>
                    <a:pt x="55" y="246"/>
                  </a:lnTo>
                  <a:lnTo>
                    <a:pt x="56" y="245"/>
                  </a:lnTo>
                  <a:lnTo>
                    <a:pt x="58" y="243"/>
                  </a:lnTo>
                  <a:lnTo>
                    <a:pt x="59" y="240"/>
                  </a:lnTo>
                  <a:lnTo>
                    <a:pt x="58" y="240"/>
                  </a:lnTo>
                  <a:lnTo>
                    <a:pt x="59" y="240"/>
                  </a:lnTo>
                  <a:lnTo>
                    <a:pt x="59" y="239"/>
                  </a:lnTo>
                  <a:lnTo>
                    <a:pt x="60" y="239"/>
                  </a:lnTo>
                  <a:lnTo>
                    <a:pt x="62" y="238"/>
                  </a:lnTo>
                  <a:lnTo>
                    <a:pt x="61" y="239"/>
                  </a:lnTo>
                  <a:lnTo>
                    <a:pt x="61" y="240"/>
                  </a:lnTo>
                  <a:lnTo>
                    <a:pt x="64" y="240"/>
                  </a:lnTo>
                  <a:lnTo>
                    <a:pt x="64" y="239"/>
                  </a:lnTo>
                  <a:lnTo>
                    <a:pt x="66" y="237"/>
                  </a:lnTo>
                  <a:lnTo>
                    <a:pt x="67" y="236"/>
                  </a:lnTo>
                  <a:lnTo>
                    <a:pt x="66" y="234"/>
                  </a:lnTo>
                  <a:lnTo>
                    <a:pt x="64" y="234"/>
                  </a:lnTo>
                  <a:lnTo>
                    <a:pt x="62" y="236"/>
                  </a:lnTo>
                  <a:lnTo>
                    <a:pt x="60" y="236"/>
                  </a:lnTo>
                  <a:lnTo>
                    <a:pt x="61" y="234"/>
                  </a:lnTo>
                  <a:lnTo>
                    <a:pt x="62" y="233"/>
                  </a:lnTo>
                  <a:lnTo>
                    <a:pt x="62" y="232"/>
                  </a:lnTo>
                  <a:lnTo>
                    <a:pt x="62" y="230"/>
                  </a:lnTo>
                  <a:lnTo>
                    <a:pt x="59" y="227"/>
                  </a:lnTo>
                  <a:lnTo>
                    <a:pt x="56" y="228"/>
                  </a:lnTo>
                  <a:lnTo>
                    <a:pt x="56" y="230"/>
                  </a:lnTo>
                  <a:lnTo>
                    <a:pt x="56" y="227"/>
                  </a:lnTo>
                  <a:lnTo>
                    <a:pt x="58" y="227"/>
                  </a:lnTo>
                  <a:lnTo>
                    <a:pt x="56" y="226"/>
                  </a:lnTo>
                  <a:lnTo>
                    <a:pt x="55" y="226"/>
                  </a:lnTo>
                  <a:lnTo>
                    <a:pt x="54" y="227"/>
                  </a:lnTo>
                  <a:lnTo>
                    <a:pt x="53" y="227"/>
                  </a:lnTo>
                  <a:lnTo>
                    <a:pt x="53" y="226"/>
                  </a:lnTo>
                  <a:lnTo>
                    <a:pt x="54" y="226"/>
                  </a:lnTo>
                  <a:lnTo>
                    <a:pt x="54" y="225"/>
                  </a:lnTo>
                  <a:lnTo>
                    <a:pt x="54" y="224"/>
                  </a:lnTo>
                  <a:lnTo>
                    <a:pt x="52" y="225"/>
                  </a:lnTo>
                  <a:lnTo>
                    <a:pt x="50" y="227"/>
                  </a:lnTo>
                  <a:lnTo>
                    <a:pt x="50" y="226"/>
                  </a:lnTo>
                  <a:lnTo>
                    <a:pt x="49" y="226"/>
                  </a:lnTo>
                  <a:lnTo>
                    <a:pt x="47" y="226"/>
                  </a:lnTo>
                  <a:lnTo>
                    <a:pt x="49" y="225"/>
                  </a:lnTo>
                  <a:lnTo>
                    <a:pt x="49" y="224"/>
                  </a:lnTo>
                  <a:lnTo>
                    <a:pt x="52" y="224"/>
                  </a:lnTo>
                  <a:lnTo>
                    <a:pt x="53" y="224"/>
                  </a:lnTo>
                  <a:lnTo>
                    <a:pt x="52" y="220"/>
                  </a:lnTo>
                  <a:lnTo>
                    <a:pt x="52" y="219"/>
                  </a:lnTo>
                  <a:lnTo>
                    <a:pt x="53" y="219"/>
                  </a:lnTo>
                  <a:lnTo>
                    <a:pt x="54" y="218"/>
                  </a:lnTo>
                  <a:lnTo>
                    <a:pt x="56" y="219"/>
                  </a:lnTo>
                  <a:lnTo>
                    <a:pt x="54" y="220"/>
                  </a:lnTo>
                  <a:lnTo>
                    <a:pt x="53" y="221"/>
                  </a:lnTo>
                  <a:lnTo>
                    <a:pt x="52" y="220"/>
                  </a:lnTo>
                  <a:lnTo>
                    <a:pt x="54" y="224"/>
                  </a:lnTo>
                  <a:lnTo>
                    <a:pt x="55" y="224"/>
                  </a:lnTo>
                  <a:lnTo>
                    <a:pt x="56" y="222"/>
                  </a:lnTo>
                  <a:lnTo>
                    <a:pt x="56" y="225"/>
                  </a:lnTo>
                  <a:lnTo>
                    <a:pt x="59" y="227"/>
                  </a:lnTo>
                  <a:lnTo>
                    <a:pt x="62" y="230"/>
                  </a:lnTo>
                  <a:lnTo>
                    <a:pt x="64" y="231"/>
                  </a:lnTo>
                  <a:lnTo>
                    <a:pt x="65" y="230"/>
                  </a:lnTo>
                  <a:lnTo>
                    <a:pt x="64" y="228"/>
                  </a:lnTo>
                  <a:lnTo>
                    <a:pt x="64" y="227"/>
                  </a:lnTo>
                  <a:lnTo>
                    <a:pt x="62" y="225"/>
                  </a:lnTo>
                  <a:lnTo>
                    <a:pt x="62" y="224"/>
                  </a:lnTo>
                  <a:lnTo>
                    <a:pt x="66" y="224"/>
                  </a:lnTo>
                  <a:lnTo>
                    <a:pt x="64" y="222"/>
                  </a:lnTo>
                  <a:lnTo>
                    <a:pt x="61" y="224"/>
                  </a:lnTo>
                  <a:lnTo>
                    <a:pt x="60" y="226"/>
                  </a:lnTo>
                  <a:lnTo>
                    <a:pt x="60" y="225"/>
                  </a:lnTo>
                  <a:lnTo>
                    <a:pt x="60" y="224"/>
                  </a:lnTo>
                  <a:lnTo>
                    <a:pt x="60" y="221"/>
                  </a:lnTo>
                  <a:lnTo>
                    <a:pt x="61" y="220"/>
                  </a:lnTo>
                  <a:lnTo>
                    <a:pt x="61" y="218"/>
                  </a:lnTo>
                  <a:lnTo>
                    <a:pt x="64" y="216"/>
                  </a:lnTo>
                  <a:lnTo>
                    <a:pt x="62" y="216"/>
                  </a:lnTo>
                  <a:lnTo>
                    <a:pt x="64" y="215"/>
                  </a:lnTo>
                  <a:lnTo>
                    <a:pt x="66" y="214"/>
                  </a:lnTo>
                  <a:lnTo>
                    <a:pt x="65" y="213"/>
                  </a:lnTo>
                  <a:lnTo>
                    <a:pt x="64" y="213"/>
                  </a:lnTo>
                  <a:lnTo>
                    <a:pt x="64" y="212"/>
                  </a:lnTo>
                  <a:lnTo>
                    <a:pt x="65" y="210"/>
                  </a:lnTo>
                  <a:lnTo>
                    <a:pt x="65" y="209"/>
                  </a:lnTo>
                  <a:lnTo>
                    <a:pt x="66" y="208"/>
                  </a:lnTo>
                  <a:lnTo>
                    <a:pt x="66" y="206"/>
                  </a:lnTo>
                  <a:lnTo>
                    <a:pt x="65" y="208"/>
                  </a:lnTo>
                  <a:lnTo>
                    <a:pt x="62" y="209"/>
                  </a:lnTo>
                  <a:lnTo>
                    <a:pt x="62" y="206"/>
                  </a:lnTo>
                  <a:lnTo>
                    <a:pt x="64" y="204"/>
                  </a:lnTo>
                  <a:lnTo>
                    <a:pt x="64" y="203"/>
                  </a:lnTo>
                  <a:lnTo>
                    <a:pt x="65" y="202"/>
                  </a:lnTo>
                  <a:lnTo>
                    <a:pt x="67" y="202"/>
                  </a:lnTo>
                  <a:lnTo>
                    <a:pt x="65" y="201"/>
                  </a:lnTo>
                  <a:lnTo>
                    <a:pt x="62" y="201"/>
                  </a:lnTo>
                  <a:lnTo>
                    <a:pt x="64" y="200"/>
                  </a:lnTo>
                  <a:lnTo>
                    <a:pt x="66" y="198"/>
                  </a:lnTo>
                  <a:lnTo>
                    <a:pt x="66" y="197"/>
                  </a:lnTo>
                  <a:lnTo>
                    <a:pt x="67" y="197"/>
                  </a:lnTo>
                  <a:lnTo>
                    <a:pt x="68" y="197"/>
                  </a:lnTo>
                  <a:lnTo>
                    <a:pt x="71" y="196"/>
                  </a:lnTo>
                  <a:lnTo>
                    <a:pt x="72" y="196"/>
                  </a:lnTo>
                  <a:lnTo>
                    <a:pt x="74" y="195"/>
                  </a:lnTo>
                  <a:lnTo>
                    <a:pt x="74" y="197"/>
                  </a:lnTo>
                  <a:lnTo>
                    <a:pt x="76" y="197"/>
                  </a:lnTo>
                  <a:lnTo>
                    <a:pt x="77" y="196"/>
                  </a:lnTo>
                  <a:lnTo>
                    <a:pt x="78" y="196"/>
                  </a:lnTo>
                  <a:lnTo>
                    <a:pt x="78" y="195"/>
                  </a:lnTo>
                  <a:lnTo>
                    <a:pt x="78" y="194"/>
                  </a:lnTo>
                  <a:lnTo>
                    <a:pt x="79" y="191"/>
                  </a:lnTo>
                  <a:lnTo>
                    <a:pt x="80" y="190"/>
                  </a:lnTo>
                  <a:lnTo>
                    <a:pt x="80" y="191"/>
                  </a:lnTo>
                  <a:lnTo>
                    <a:pt x="80" y="192"/>
                  </a:lnTo>
                  <a:lnTo>
                    <a:pt x="82" y="194"/>
                  </a:lnTo>
                  <a:lnTo>
                    <a:pt x="83" y="191"/>
                  </a:lnTo>
                  <a:lnTo>
                    <a:pt x="83" y="192"/>
                  </a:lnTo>
                  <a:lnTo>
                    <a:pt x="83" y="191"/>
                  </a:lnTo>
                  <a:lnTo>
                    <a:pt x="82" y="189"/>
                  </a:lnTo>
                  <a:lnTo>
                    <a:pt x="79" y="189"/>
                  </a:lnTo>
                  <a:lnTo>
                    <a:pt x="77" y="191"/>
                  </a:lnTo>
                  <a:lnTo>
                    <a:pt x="77" y="190"/>
                  </a:lnTo>
                  <a:lnTo>
                    <a:pt x="77" y="189"/>
                  </a:lnTo>
                  <a:lnTo>
                    <a:pt x="77" y="188"/>
                  </a:lnTo>
                  <a:lnTo>
                    <a:pt x="76" y="188"/>
                  </a:lnTo>
                  <a:lnTo>
                    <a:pt x="74" y="188"/>
                  </a:lnTo>
                  <a:lnTo>
                    <a:pt x="74" y="190"/>
                  </a:lnTo>
                  <a:lnTo>
                    <a:pt x="72" y="191"/>
                  </a:lnTo>
                  <a:lnTo>
                    <a:pt x="71" y="192"/>
                  </a:lnTo>
                  <a:lnTo>
                    <a:pt x="71" y="190"/>
                  </a:lnTo>
                  <a:lnTo>
                    <a:pt x="70" y="189"/>
                  </a:lnTo>
                  <a:lnTo>
                    <a:pt x="71" y="189"/>
                  </a:lnTo>
                  <a:lnTo>
                    <a:pt x="71" y="188"/>
                  </a:lnTo>
                  <a:lnTo>
                    <a:pt x="71" y="186"/>
                  </a:lnTo>
                  <a:lnTo>
                    <a:pt x="71" y="185"/>
                  </a:lnTo>
                  <a:lnTo>
                    <a:pt x="70" y="185"/>
                  </a:lnTo>
                  <a:lnTo>
                    <a:pt x="70" y="184"/>
                  </a:lnTo>
                  <a:lnTo>
                    <a:pt x="67" y="183"/>
                  </a:lnTo>
                  <a:lnTo>
                    <a:pt x="65" y="186"/>
                  </a:lnTo>
                  <a:lnTo>
                    <a:pt x="64" y="188"/>
                  </a:lnTo>
                  <a:lnTo>
                    <a:pt x="64" y="185"/>
                  </a:lnTo>
                  <a:lnTo>
                    <a:pt x="64" y="183"/>
                  </a:lnTo>
                  <a:lnTo>
                    <a:pt x="62" y="185"/>
                  </a:lnTo>
                  <a:lnTo>
                    <a:pt x="61" y="184"/>
                  </a:lnTo>
                  <a:lnTo>
                    <a:pt x="60" y="185"/>
                  </a:lnTo>
                  <a:lnTo>
                    <a:pt x="59" y="184"/>
                  </a:lnTo>
                  <a:lnTo>
                    <a:pt x="59" y="185"/>
                  </a:lnTo>
                  <a:lnTo>
                    <a:pt x="58" y="188"/>
                  </a:lnTo>
                  <a:lnTo>
                    <a:pt x="56" y="189"/>
                  </a:lnTo>
                  <a:lnTo>
                    <a:pt x="55" y="191"/>
                  </a:lnTo>
                  <a:lnTo>
                    <a:pt x="54" y="190"/>
                  </a:lnTo>
                  <a:lnTo>
                    <a:pt x="53" y="190"/>
                  </a:lnTo>
                  <a:lnTo>
                    <a:pt x="53" y="191"/>
                  </a:lnTo>
                  <a:lnTo>
                    <a:pt x="52" y="195"/>
                  </a:lnTo>
                  <a:lnTo>
                    <a:pt x="52" y="192"/>
                  </a:lnTo>
                  <a:lnTo>
                    <a:pt x="50" y="191"/>
                  </a:lnTo>
                  <a:lnTo>
                    <a:pt x="50" y="192"/>
                  </a:lnTo>
                  <a:lnTo>
                    <a:pt x="49" y="194"/>
                  </a:lnTo>
                  <a:lnTo>
                    <a:pt x="47" y="194"/>
                  </a:lnTo>
                  <a:lnTo>
                    <a:pt x="47" y="195"/>
                  </a:lnTo>
                  <a:lnTo>
                    <a:pt x="46" y="196"/>
                  </a:lnTo>
                  <a:lnTo>
                    <a:pt x="44" y="197"/>
                  </a:lnTo>
                  <a:lnTo>
                    <a:pt x="44" y="195"/>
                  </a:lnTo>
                  <a:lnTo>
                    <a:pt x="46" y="192"/>
                  </a:lnTo>
                  <a:lnTo>
                    <a:pt x="44" y="192"/>
                  </a:lnTo>
                  <a:lnTo>
                    <a:pt x="43" y="192"/>
                  </a:lnTo>
                  <a:lnTo>
                    <a:pt x="44" y="191"/>
                  </a:lnTo>
                  <a:lnTo>
                    <a:pt x="46" y="190"/>
                  </a:lnTo>
                  <a:lnTo>
                    <a:pt x="47" y="188"/>
                  </a:lnTo>
                  <a:lnTo>
                    <a:pt x="49" y="188"/>
                  </a:lnTo>
                  <a:lnTo>
                    <a:pt x="50" y="188"/>
                  </a:lnTo>
                  <a:lnTo>
                    <a:pt x="53" y="188"/>
                  </a:lnTo>
                  <a:lnTo>
                    <a:pt x="53" y="186"/>
                  </a:lnTo>
                  <a:lnTo>
                    <a:pt x="52" y="185"/>
                  </a:lnTo>
                  <a:lnTo>
                    <a:pt x="50" y="185"/>
                  </a:lnTo>
                  <a:lnTo>
                    <a:pt x="48" y="186"/>
                  </a:lnTo>
                  <a:lnTo>
                    <a:pt x="49" y="185"/>
                  </a:lnTo>
                  <a:lnTo>
                    <a:pt x="49" y="184"/>
                  </a:lnTo>
                  <a:lnTo>
                    <a:pt x="48" y="183"/>
                  </a:lnTo>
                  <a:lnTo>
                    <a:pt x="47" y="183"/>
                  </a:lnTo>
                  <a:lnTo>
                    <a:pt x="46" y="183"/>
                  </a:lnTo>
                  <a:lnTo>
                    <a:pt x="44" y="184"/>
                  </a:lnTo>
                  <a:lnTo>
                    <a:pt x="44" y="185"/>
                  </a:lnTo>
                  <a:lnTo>
                    <a:pt x="47" y="185"/>
                  </a:lnTo>
                  <a:lnTo>
                    <a:pt x="47" y="186"/>
                  </a:lnTo>
                  <a:lnTo>
                    <a:pt x="46" y="188"/>
                  </a:lnTo>
                  <a:lnTo>
                    <a:pt x="44" y="189"/>
                  </a:lnTo>
                  <a:lnTo>
                    <a:pt x="43" y="189"/>
                  </a:lnTo>
                  <a:lnTo>
                    <a:pt x="39" y="191"/>
                  </a:lnTo>
                  <a:lnTo>
                    <a:pt x="41" y="189"/>
                  </a:lnTo>
                  <a:lnTo>
                    <a:pt x="41" y="186"/>
                  </a:lnTo>
                  <a:lnTo>
                    <a:pt x="39" y="185"/>
                  </a:lnTo>
                  <a:lnTo>
                    <a:pt x="41" y="184"/>
                  </a:lnTo>
                  <a:lnTo>
                    <a:pt x="39" y="184"/>
                  </a:lnTo>
                  <a:lnTo>
                    <a:pt x="41" y="182"/>
                  </a:lnTo>
                  <a:lnTo>
                    <a:pt x="42" y="182"/>
                  </a:lnTo>
                  <a:lnTo>
                    <a:pt x="43" y="182"/>
                  </a:lnTo>
                  <a:lnTo>
                    <a:pt x="44" y="180"/>
                  </a:lnTo>
                  <a:lnTo>
                    <a:pt x="41" y="179"/>
                  </a:lnTo>
                  <a:lnTo>
                    <a:pt x="39" y="180"/>
                  </a:lnTo>
                  <a:lnTo>
                    <a:pt x="37" y="180"/>
                  </a:lnTo>
                  <a:lnTo>
                    <a:pt x="38" y="179"/>
                  </a:lnTo>
                  <a:lnTo>
                    <a:pt x="41" y="178"/>
                  </a:lnTo>
                  <a:lnTo>
                    <a:pt x="41" y="179"/>
                  </a:lnTo>
                  <a:lnTo>
                    <a:pt x="43" y="179"/>
                  </a:lnTo>
                  <a:lnTo>
                    <a:pt x="46" y="180"/>
                  </a:lnTo>
                  <a:lnTo>
                    <a:pt x="47" y="180"/>
                  </a:lnTo>
                  <a:lnTo>
                    <a:pt x="49" y="179"/>
                  </a:lnTo>
                  <a:lnTo>
                    <a:pt x="49" y="177"/>
                  </a:lnTo>
                  <a:lnTo>
                    <a:pt x="48" y="176"/>
                  </a:lnTo>
                  <a:lnTo>
                    <a:pt x="46" y="178"/>
                  </a:lnTo>
                  <a:lnTo>
                    <a:pt x="44" y="178"/>
                  </a:lnTo>
                  <a:lnTo>
                    <a:pt x="43" y="178"/>
                  </a:lnTo>
                  <a:lnTo>
                    <a:pt x="43" y="177"/>
                  </a:lnTo>
                  <a:lnTo>
                    <a:pt x="44" y="174"/>
                  </a:lnTo>
                  <a:lnTo>
                    <a:pt x="44" y="173"/>
                  </a:lnTo>
                  <a:lnTo>
                    <a:pt x="43" y="172"/>
                  </a:lnTo>
                  <a:lnTo>
                    <a:pt x="42" y="171"/>
                  </a:lnTo>
                  <a:lnTo>
                    <a:pt x="42" y="170"/>
                  </a:lnTo>
                  <a:lnTo>
                    <a:pt x="41" y="168"/>
                  </a:lnTo>
                  <a:lnTo>
                    <a:pt x="39" y="167"/>
                  </a:lnTo>
                  <a:lnTo>
                    <a:pt x="39" y="170"/>
                  </a:lnTo>
                  <a:lnTo>
                    <a:pt x="39" y="171"/>
                  </a:lnTo>
                  <a:lnTo>
                    <a:pt x="37" y="168"/>
                  </a:lnTo>
                  <a:lnTo>
                    <a:pt x="36" y="168"/>
                  </a:lnTo>
                  <a:lnTo>
                    <a:pt x="37" y="170"/>
                  </a:lnTo>
                  <a:lnTo>
                    <a:pt x="36" y="171"/>
                  </a:lnTo>
                  <a:lnTo>
                    <a:pt x="37" y="173"/>
                  </a:lnTo>
                  <a:lnTo>
                    <a:pt x="36" y="176"/>
                  </a:lnTo>
                  <a:lnTo>
                    <a:pt x="37" y="178"/>
                  </a:lnTo>
                  <a:lnTo>
                    <a:pt x="36" y="177"/>
                  </a:lnTo>
                  <a:lnTo>
                    <a:pt x="36" y="178"/>
                  </a:lnTo>
                  <a:lnTo>
                    <a:pt x="35" y="177"/>
                  </a:lnTo>
                  <a:lnTo>
                    <a:pt x="33" y="174"/>
                  </a:lnTo>
                  <a:lnTo>
                    <a:pt x="31" y="174"/>
                  </a:lnTo>
                  <a:lnTo>
                    <a:pt x="32" y="178"/>
                  </a:lnTo>
                  <a:lnTo>
                    <a:pt x="30" y="178"/>
                  </a:lnTo>
                  <a:lnTo>
                    <a:pt x="29" y="178"/>
                  </a:lnTo>
                  <a:lnTo>
                    <a:pt x="30" y="180"/>
                  </a:lnTo>
                  <a:lnTo>
                    <a:pt x="27" y="183"/>
                  </a:lnTo>
                  <a:lnTo>
                    <a:pt x="26" y="185"/>
                  </a:lnTo>
                  <a:lnTo>
                    <a:pt x="26" y="184"/>
                  </a:lnTo>
                  <a:lnTo>
                    <a:pt x="27" y="182"/>
                  </a:lnTo>
                  <a:lnTo>
                    <a:pt x="29" y="180"/>
                  </a:lnTo>
                  <a:lnTo>
                    <a:pt x="27" y="179"/>
                  </a:lnTo>
                  <a:lnTo>
                    <a:pt x="26" y="179"/>
                  </a:lnTo>
                  <a:lnTo>
                    <a:pt x="25" y="178"/>
                  </a:lnTo>
                  <a:lnTo>
                    <a:pt x="24" y="177"/>
                  </a:lnTo>
                  <a:lnTo>
                    <a:pt x="21" y="179"/>
                  </a:lnTo>
                  <a:lnTo>
                    <a:pt x="23" y="177"/>
                  </a:lnTo>
                  <a:lnTo>
                    <a:pt x="20" y="179"/>
                  </a:lnTo>
                  <a:lnTo>
                    <a:pt x="19" y="179"/>
                  </a:lnTo>
                  <a:lnTo>
                    <a:pt x="20" y="178"/>
                  </a:lnTo>
                  <a:lnTo>
                    <a:pt x="19" y="177"/>
                  </a:lnTo>
                  <a:lnTo>
                    <a:pt x="18" y="176"/>
                  </a:lnTo>
                  <a:lnTo>
                    <a:pt x="20" y="174"/>
                  </a:lnTo>
                  <a:lnTo>
                    <a:pt x="23" y="174"/>
                  </a:lnTo>
                  <a:lnTo>
                    <a:pt x="23" y="173"/>
                  </a:lnTo>
                  <a:lnTo>
                    <a:pt x="25" y="172"/>
                  </a:lnTo>
                  <a:lnTo>
                    <a:pt x="25" y="171"/>
                  </a:lnTo>
                  <a:lnTo>
                    <a:pt x="23" y="171"/>
                  </a:lnTo>
                  <a:lnTo>
                    <a:pt x="20" y="170"/>
                  </a:lnTo>
                  <a:lnTo>
                    <a:pt x="20" y="172"/>
                  </a:lnTo>
                  <a:lnTo>
                    <a:pt x="18" y="170"/>
                  </a:lnTo>
                  <a:lnTo>
                    <a:pt x="17" y="171"/>
                  </a:lnTo>
                  <a:lnTo>
                    <a:pt x="18" y="172"/>
                  </a:lnTo>
                  <a:lnTo>
                    <a:pt x="17" y="174"/>
                  </a:lnTo>
                  <a:lnTo>
                    <a:pt x="13" y="177"/>
                  </a:lnTo>
                  <a:lnTo>
                    <a:pt x="13" y="174"/>
                  </a:lnTo>
                  <a:lnTo>
                    <a:pt x="13" y="171"/>
                  </a:lnTo>
                  <a:lnTo>
                    <a:pt x="14" y="171"/>
                  </a:lnTo>
                  <a:lnTo>
                    <a:pt x="15" y="171"/>
                  </a:lnTo>
                  <a:lnTo>
                    <a:pt x="18" y="170"/>
                  </a:lnTo>
                  <a:lnTo>
                    <a:pt x="19" y="168"/>
                  </a:lnTo>
                  <a:lnTo>
                    <a:pt x="18" y="168"/>
                  </a:lnTo>
                  <a:lnTo>
                    <a:pt x="15" y="168"/>
                  </a:lnTo>
                  <a:lnTo>
                    <a:pt x="15" y="167"/>
                  </a:lnTo>
                  <a:lnTo>
                    <a:pt x="14" y="167"/>
                  </a:lnTo>
                  <a:lnTo>
                    <a:pt x="13" y="167"/>
                  </a:lnTo>
                  <a:lnTo>
                    <a:pt x="11" y="168"/>
                  </a:lnTo>
                  <a:lnTo>
                    <a:pt x="12" y="167"/>
                  </a:lnTo>
                  <a:lnTo>
                    <a:pt x="13" y="166"/>
                  </a:lnTo>
                  <a:lnTo>
                    <a:pt x="12" y="166"/>
                  </a:lnTo>
                  <a:lnTo>
                    <a:pt x="12" y="165"/>
                  </a:lnTo>
                  <a:lnTo>
                    <a:pt x="13" y="164"/>
                  </a:lnTo>
                  <a:lnTo>
                    <a:pt x="14" y="166"/>
                  </a:lnTo>
                  <a:lnTo>
                    <a:pt x="15" y="167"/>
                  </a:lnTo>
                  <a:lnTo>
                    <a:pt x="17" y="167"/>
                  </a:lnTo>
                  <a:lnTo>
                    <a:pt x="17" y="165"/>
                  </a:lnTo>
                  <a:lnTo>
                    <a:pt x="15" y="164"/>
                  </a:lnTo>
                  <a:lnTo>
                    <a:pt x="15" y="161"/>
                  </a:lnTo>
                  <a:lnTo>
                    <a:pt x="17" y="162"/>
                  </a:lnTo>
                  <a:lnTo>
                    <a:pt x="17" y="166"/>
                  </a:lnTo>
                  <a:lnTo>
                    <a:pt x="18" y="166"/>
                  </a:lnTo>
                  <a:lnTo>
                    <a:pt x="18" y="165"/>
                  </a:lnTo>
                  <a:lnTo>
                    <a:pt x="19" y="164"/>
                  </a:lnTo>
                  <a:lnTo>
                    <a:pt x="21" y="165"/>
                  </a:lnTo>
                  <a:lnTo>
                    <a:pt x="24" y="164"/>
                  </a:lnTo>
                  <a:lnTo>
                    <a:pt x="24" y="165"/>
                  </a:lnTo>
                  <a:lnTo>
                    <a:pt x="26" y="166"/>
                  </a:lnTo>
                  <a:lnTo>
                    <a:pt x="29" y="167"/>
                  </a:lnTo>
                  <a:lnTo>
                    <a:pt x="29" y="166"/>
                  </a:lnTo>
                  <a:lnTo>
                    <a:pt x="27" y="166"/>
                  </a:lnTo>
                  <a:lnTo>
                    <a:pt x="29" y="164"/>
                  </a:lnTo>
                  <a:lnTo>
                    <a:pt x="31" y="162"/>
                  </a:lnTo>
                  <a:lnTo>
                    <a:pt x="32" y="161"/>
                  </a:lnTo>
                  <a:lnTo>
                    <a:pt x="32" y="160"/>
                  </a:lnTo>
                  <a:lnTo>
                    <a:pt x="31" y="161"/>
                  </a:lnTo>
                  <a:lnTo>
                    <a:pt x="29" y="164"/>
                  </a:lnTo>
                  <a:lnTo>
                    <a:pt x="26" y="164"/>
                  </a:lnTo>
                  <a:lnTo>
                    <a:pt x="26" y="162"/>
                  </a:lnTo>
                  <a:lnTo>
                    <a:pt x="27" y="160"/>
                  </a:lnTo>
                  <a:lnTo>
                    <a:pt x="29" y="159"/>
                  </a:lnTo>
                  <a:lnTo>
                    <a:pt x="30" y="158"/>
                  </a:lnTo>
                  <a:lnTo>
                    <a:pt x="30" y="159"/>
                  </a:lnTo>
                  <a:lnTo>
                    <a:pt x="31" y="158"/>
                  </a:lnTo>
                  <a:lnTo>
                    <a:pt x="33" y="158"/>
                  </a:lnTo>
                  <a:lnTo>
                    <a:pt x="31" y="155"/>
                  </a:lnTo>
                  <a:lnTo>
                    <a:pt x="29" y="156"/>
                  </a:lnTo>
                  <a:lnTo>
                    <a:pt x="26" y="158"/>
                  </a:lnTo>
                  <a:lnTo>
                    <a:pt x="26" y="155"/>
                  </a:lnTo>
                  <a:lnTo>
                    <a:pt x="23" y="153"/>
                  </a:lnTo>
                  <a:lnTo>
                    <a:pt x="26" y="153"/>
                  </a:lnTo>
                  <a:lnTo>
                    <a:pt x="27" y="149"/>
                  </a:lnTo>
                  <a:lnTo>
                    <a:pt x="25" y="150"/>
                  </a:lnTo>
                  <a:lnTo>
                    <a:pt x="25" y="149"/>
                  </a:lnTo>
                  <a:lnTo>
                    <a:pt x="27" y="146"/>
                  </a:lnTo>
                  <a:lnTo>
                    <a:pt x="30" y="144"/>
                  </a:lnTo>
                  <a:lnTo>
                    <a:pt x="27" y="143"/>
                  </a:lnTo>
                  <a:lnTo>
                    <a:pt x="23" y="146"/>
                  </a:lnTo>
                  <a:lnTo>
                    <a:pt x="18" y="150"/>
                  </a:lnTo>
                  <a:lnTo>
                    <a:pt x="15" y="154"/>
                  </a:lnTo>
                  <a:lnTo>
                    <a:pt x="15" y="152"/>
                  </a:lnTo>
                  <a:lnTo>
                    <a:pt x="15" y="150"/>
                  </a:lnTo>
                  <a:lnTo>
                    <a:pt x="17" y="148"/>
                  </a:lnTo>
                  <a:lnTo>
                    <a:pt x="14" y="149"/>
                  </a:lnTo>
                  <a:lnTo>
                    <a:pt x="17" y="144"/>
                  </a:lnTo>
                  <a:lnTo>
                    <a:pt x="18" y="142"/>
                  </a:lnTo>
                  <a:lnTo>
                    <a:pt x="20" y="143"/>
                  </a:lnTo>
                  <a:lnTo>
                    <a:pt x="19" y="142"/>
                  </a:lnTo>
                  <a:lnTo>
                    <a:pt x="20" y="141"/>
                  </a:lnTo>
                  <a:lnTo>
                    <a:pt x="21" y="139"/>
                  </a:lnTo>
                  <a:lnTo>
                    <a:pt x="23" y="137"/>
                  </a:lnTo>
                  <a:lnTo>
                    <a:pt x="17" y="137"/>
                  </a:lnTo>
                  <a:lnTo>
                    <a:pt x="12" y="136"/>
                  </a:lnTo>
                  <a:lnTo>
                    <a:pt x="15" y="136"/>
                  </a:lnTo>
                  <a:lnTo>
                    <a:pt x="17" y="136"/>
                  </a:lnTo>
                  <a:lnTo>
                    <a:pt x="17" y="135"/>
                  </a:lnTo>
                  <a:lnTo>
                    <a:pt x="18" y="135"/>
                  </a:lnTo>
                  <a:lnTo>
                    <a:pt x="19" y="135"/>
                  </a:lnTo>
                  <a:lnTo>
                    <a:pt x="19" y="133"/>
                  </a:lnTo>
                  <a:lnTo>
                    <a:pt x="20" y="133"/>
                  </a:lnTo>
                  <a:lnTo>
                    <a:pt x="21" y="133"/>
                  </a:lnTo>
                  <a:lnTo>
                    <a:pt x="23" y="135"/>
                  </a:lnTo>
                  <a:lnTo>
                    <a:pt x="24" y="136"/>
                  </a:lnTo>
                  <a:lnTo>
                    <a:pt x="25" y="137"/>
                  </a:lnTo>
                  <a:lnTo>
                    <a:pt x="25" y="138"/>
                  </a:lnTo>
                  <a:lnTo>
                    <a:pt x="26" y="138"/>
                  </a:lnTo>
                  <a:lnTo>
                    <a:pt x="27" y="137"/>
                  </a:lnTo>
                  <a:lnTo>
                    <a:pt x="29" y="136"/>
                  </a:lnTo>
                  <a:lnTo>
                    <a:pt x="32" y="136"/>
                  </a:lnTo>
                  <a:lnTo>
                    <a:pt x="33" y="137"/>
                  </a:lnTo>
                  <a:lnTo>
                    <a:pt x="36" y="137"/>
                  </a:lnTo>
                  <a:lnTo>
                    <a:pt x="37" y="137"/>
                  </a:lnTo>
                  <a:lnTo>
                    <a:pt x="39" y="136"/>
                  </a:lnTo>
                  <a:lnTo>
                    <a:pt x="42" y="137"/>
                  </a:lnTo>
                  <a:lnTo>
                    <a:pt x="44" y="137"/>
                  </a:lnTo>
                  <a:lnTo>
                    <a:pt x="44" y="135"/>
                  </a:lnTo>
                  <a:lnTo>
                    <a:pt x="46" y="135"/>
                  </a:lnTo>
                  <a:lnTo>
                    <a:pt x="46" y="137"/>
                  </a:lnTo>
                  <a:lnTo>
                    <a:pt x="47" y="136"/>
                  </a:lnTo>
                  <a:lnTo>
                    <a:pt x="50" y="137"/>
                  </a:lnTo>
                  <a:lnTo>
                    <a:pt x="53" y="137"/>
                  </a:lnTo>
                  <a:lnTo>
                    <a:pt x="54" y="138"/>
                  </a:lnTo>
                  <a:lnTo>
                    <a:pt x="56" y="139"/>
                  </a:lnTo>
                  <a:lnTo>
                    <a:pt x="58" y="138"/>
                  </a:lnTo>
                  <a:lnTo>
                    <a:pt x="58" y="137"/>
                  </a:lnTo>
                  <a:lnTo>
                    <a:pt x="59" y="133"/>
                  </a:lnTo>
                  <a:lnTo>
                    <a:pt x="56" y="135"/>
                  </a:lnTo>
                  <a:lnTo>
                    <a:pt x="56" y="133"/>
                  </a:lnTo>
                  <a:lnTo>
                    <a:pt x="55" y="135"/>
                  </a:lnTo>
                  <a:lnTo>
                    <a:pt x="55" y="133"/>
                  </a:lnTo>
                  <a:lnTo>
                    <a:pt x="53" y="133"/>
                  </a:lnTo>
                  <a:lnTo>
                    <a:pt x="52" y="132"/>
                  </a:lnTo>
                  <a:lnTo>
                    <a:pt x="50" y="132"/>
                  </a:lnTo>
                  <a:lnTo>
                    <a:pt x="50" y="133"/>
                  </a:lnTo>
                  <a:lnTo>
                    <a:pt x="50" y="131"/>
                  </a:lnTo>
                  <a:lnTo>
                    <a:pt x="50" y="129"/>
                  </a:lnTo>
                  <a:lnTo>
                    <a:pt x="48" y="130"/>
                  </a:lnTo>
                  <a:lnTo>
                    <a:pt x="47" y="131"/>
                  </a:lnTo>
                  <a:lnTo>
                    <a:pt x="46" y="130"/>
                  </a:lnTo>
                  <a:lnTo>
                    <a:pt x="44" y="129"/>
                  </a:lnTo>
                  <a:lnTo>
                    <a:pt x="43" y="131"/>
                  </a:lnTo>
                  <a:lnTo>
                    <a:pt x="43" y="129"/>
                  </a:lnTo>
                  <a:lnTo>
                    <a:pt x="43" y="127"/>
                  </a:lnTo>
                  <a:lnTo>
                    <a:pt x="43" y="126"/>
                  </a:lnTo>
                  <a:lnTo>
                    <a:pt x="44" y="126"/>
                  </a:lnTo>
                  <a:lnTo>
                    <a:pt x="47" y="126"/>
                  </a:lnTo>
                  <a:lnTo>
                    <a:pt x="48" y="126"/>
                  </a:lnTo>
                  <a:lnTo>
                    <a:pt x="48" y="125"/>
                  </a:lnTo>
                  <a:lnTo>
                    <a:pt x="48" y="124"/>
                  </a:lnTo>
                  <a:lnTo>
                    <a:pt x="47" y="123"/>
                  </a:lnTo>
                  <a:lnTo>
                    <a:pt x="47" y="121"/>
                  </a:lnTo>
                  <a:lnTo>
                    <a:pt x="44" y="123"/>
                  </a:lnTo>
                  <a:lnTo>
                    <a:pt x="46" y="121"/>
                  </a:lnTo>
                  <a:lnTo>
                    <a:pt x="47" y="119"/>
                  </a:lnTo>
                  <a:lnTo>
                    <a:pt x="49" y="119"/>
                  </a:lnTo>
                  <a:lnTo>
                    <a:pt x="50" y="120"/>
                  </a:lnTo>
                  <a:lnTo>
                    <a:pt x="52" y="119"/>
                  </a:lnTo>
                  <a:lnTo>
                    <a:pt x="53" y="118"/>
                  </a:lnTo>
                  <a:lnTo>
                    <a:pt x="54" y="117"/>
                  </a:lnTo>
                  <a:lnTo>
                    <a:pt x="56" y="117"/>
                  </a:lnTo>
                  <a:lnTo>
                    <a:pt x="56" y="114"/>
                  </a:lnTo>
                  <a:lnTo>
                    <a:pt x="54" y="113"/>
                  </a:lnTo>
                  <a:lnTo>
                    <a:pt x="54" y="112"/>
                  </a:lnTo>
                  <a:lnTo>
                    <a:pt x="56" y="113"/>
                  </a:lnTo>
                  <a:lnTo>
                    <a:pt x="58" y="112"/>
                  </a:lnTo>
                  <a:lnTo>
                    <a:pt x="58" y="111"/>
                  </a:lnTo>
                  <a:lnTo>
                    <a:pt x="60" y="111"/>
                  </a:lnTo>
                  <a:lnTo>
                    <a:pt x="62" y="109"/>
                  </a:lnTo>
                  <a:lnTo>
                    <a:pt x="64" y="109"/>
                  </a:lnTo>
                  <a:lnTo>
                    <a:pt x="65" y="108"/>
                  </a:lnTo>
                  <a:lnTo>
                    <a:pt x="64" y="106"/>
                  </a:lnTo>
                  <a:lnTo>
                    <a:pt x="64" y="105"/>
                  </a:lnTo>
                  <a:lnTo>
                    <a:pt x="61" y="107"/>
                  </a:lnTo>
                  <a:lnTo>
                    <a:pt x="59" y="108"/>
                  </a:lnTo>
                  <a:lnTo>
                    <a:pt x="60" y="107"/>
                  </a:lnTo>
                  <a:lnTo>
                    <a:pt x="62" y="103"/>
                  </a:lnTo>
                  <a:lnTo>
                    <a:pt x="64" y="103"/>
                  </a:lnTo>
                  <a:lnTo>
                    <a:pt x="62" y="102"/>
                  </a:lnTo>
                  <a:lnTo>
                    <a:pt x="62" y="101"/>
                  </a:lnTo>
                  <a:lnTo>
                    <a:pt x="62" y="100"/>
                  </a:lnTo>
                  <a:lnTo>
                    <a:pt x="60" y="101"/>
                  </a:lnTo>
                  <a:lnTo>
                    <a:pt x="58" y="102"/>
                  </a:lnTo>
                  <a:lnTo>
                    <a:pt x="54" y="103"/>
                  </a:lnTo>
                  <a:lnTo>
                    <a:pt x="55" y="101"/>
                  </a:lnTo>
                  <a:lnTo>
                    <a:pt x="56" y="99"/>
                  </a:lnTo>
                  <a:lnTo>
                    <a:pt x="58" y="97"/>
                  </a:lnTo>
                  <a:lnTo>
                    <a:pt x="60" y="96"/>
                  </a:lnTo>
                  <a:lnTo>
                    <a:pt x="62" y="97"/>
                  </a:lnTo>
                  <a:lnTo>
                    <a:pt x="62" y="96"/>
                  </a:lnTo>
                  <a:lnTo>
                    <a:pt x="55" y="95"/>
                  </a:lnTo>
                  <a:lnTo>
                    <a:pt x="54" y="94"/>
                  </a:lnTo>
                  <a:lnTo>
                    <a:pt x="56" y="94"/>
                  </a:lnTo>
                  <a:lnTo>
                    <a:pt x="58" y="93"/>
                  </a:lnTo>
                  <a:lnTo>
                    <a:pt x="60" y="93"/>
                  </a:lnTo>
                  <a:lnTo>
                    <a:pt x="62" y="93"/>
                  </a:lnTo>
                  <a:lnTo>
                    <a:pt x="65" y="94"/>
                  </a:lnTo>
                  <a:lnTo>
                    <a:pt x="65" y="93"/>
                  </a:lnTo>
                  <a:lnTo>
                    <a:pt x="66" y="93"/>
                  </a:lnTo>
                  <a:lnTo>
                    <a:pt x="67" y="91"/>
                  </a:lnTo>
                  <a:lnTo>
                    <a:pt x="64" y="90"/>
                  </a:lnTo>
                  <a:lnTo>
                    <a:pt x="64" y="88"/>
                  </a:lnTo>
                  <a:lnTo>
                    <a:pt x="62" y="87"/>
                  </a:lnTo>
                  <a:lnTo>
                    <a:pt x="62" y="85"/>
                  </a:lnTo>
                  <a:lnTo>
                    <a:pt x="62" y="84"/>
                  </a:lnTo>
                  <a:lnTo>
                    <a:pt x="62" y="83"/>
                  </a:lnTo>
                  <a:lnTo>
                    <a:pt x="64" y="83"/>
                  </a:lnTo>
                  <a:lnTo>
                    <a:pt x="65" y="83"/>
                  </a:lnTo>
                  <a:lnTo>
                    <a:pt x="66" y="85"/>
                  </a:lnTo>
                  <a:lnTo>
                    <a:pt x="67" y="85"/>
                  </a:lnTo>
                  <a:lnTo>
                    <a:pt x="67" y="88"/>
                  </a:lnTo>
                  <a:lnTo>
                    <a:pt x="67" y="90"/>
                  </a:lnTo>
                  <a:lnTo>
                    <a:pt x="68" y="93"/>
                  </a:lnTo>
                  <a:lnTo>
                    <a:pt x="70" y="94"/>
                  </a:lnTo>
                  <a:lnTo>
                    <a:pt x="72" y="95"/>
                  </a:lnTo>
                  <a:lnTo>
                    <a:pt x="73" y="95"/>
                  </a:lnTo>
                  <a:lnTo>
                    <a:pt x="76" y="94"/>
                  </a:lnTo>
                  <a:lnTo>
                    <a:pt x="77" y="93"/>
                  </a:lnTo>
                  <a:lnTo>
                    <a:pt x="78" y="93"/>
                  </a:lnTo>
                  <a:lnTo>
                    <a:pt x="79" y="93"/>
                  </a:lnTo>
                  <a:lnTo>
                    <a:pt x="80" y="91"/>
                  </a:lnTo>
                  <a:lnTo>
                    <a:pt x="82" y="90"/>
                  </a:lnTo>
                  <a:lnTo>
                    <a:pt x="83" y="89"/>
                  </a:lnTo>
                  <a:lnTo>
                    <a:pt x="83" y="88"/>
                  </a:lnTo>
                  <a:lnTo>
                    <a:pt x="83" y="87"/>
                  </a:lnTo>
                  <a:lnTo>
                    <a:pt x="83" y="85"/>
                  </a:lnTo>
                  <a:lnTo>
                    <a:pt x="82" y="84"/>
                  </a:lnTo>
                  <a:lnTo>
                    <a:pt x="82" y="83"/>
                  </a:lnTo>
                  <a:lnTo>
                    <a:pt x="83" y="84"/>
                  </a:lnTo>
                  <a:lnTo>
                    <a:pt x="84" y="84"/>
                  </a:lnTo>
                  <a:lnTo>
                    <a:pt x="84" y="83"/>
                  </a:lnTo>
                  <a:lnTo>
                    <a:pt x="85" y="83"/>
                  </a:lnTo>
                  <a:lnTo>
                    <a:pt x="86" y="81"/>
                  </a:lnTo>
                  <a:lnTo>
                    <a:pt x="85" y="77"/>
                  </a:lnTo>
                  <a:lnTo>
                    <a:pt x="85" y="78"/>
                  </a:lnTo>
                  <a:lnTo>
                    <a:pt x="84" y="77"/>
                  </a:lnTo>
                  <a:lnTo>
                    <a:pt x="83" y="78"/>
                  </a:lnTo>
                  <a:lnTo>
                    <a:pt x="82" y="77"/>
                  </a:lnTo>
                  <a:lnTo>
                    <a:pt x="82" y="76"/>
                  </a:lnTo>
                  <a:lnTo>
                    <a:pt x="83" y="76"/>
                  </a:lnTo>
                  <a:lnTo>
                    <a:pt x="84" y="77"/>
                  </a:lnTo>
                  <a:lnTo>
                    <a:pt x="84" y="75"/>
                  </a:lnTo>
                  <a:lnTo>
                    <a:pt x="84" y="73"/>
                  </a:lnTo>
                  <a:lnTo>
                    <a:pt x="84" y="72"/>
                  </a:lnTo>
                  <a:lnTo>
                    <a:pt x="85" y="71"/>
                  </a:lnTo>
                  <a:lnTo>
                    <a:pt x="86" y="71"/>
                  </a:lnTo>
                  <a:lnTo>
                    <a:pt x="86" y="73"/>
                  </a:lnTo>
                  <a:lnTo>
                    <a:pt x="88" y="73"/>
                  </a:lnTo>
                  <a:lnTo>
                    <a:pt x="89" y="75"/>
                  </a:lnTo>
                  <a:lnTo>
                    <a:pt x="86" y="75"/>
                  </a:lnTo>
                  <a:lnTo>
                    <a:pt x="86" y="76"/>
                  </a:lnTo>
                  <a:lnTo>
                    <a:pt x="86" y="78"/>
                  </a:lnTo>
                  <a:lnTo>
                    <a:pt x="86" y="79"/>
                  </a:lnTo>
                  <a:lnTo>
                    <a:pt x="88" y="79"/>
                  </a:lnTo>
                  <a:lnTo>
                    <a:pt x="88" y="78"/>
                  </a:lnTo>
                  <a:lnTo>
                    <a:pt x="88" y="77"/>
                  </a:lnTo>
                  <a:lnTo>
                    <a:pt x="88" y="76"/>
                  </a:lnTo>
                  <a:lnTo>
                    <a:pt x="89" y="76"/>
                  </a:lnTo>
                  <a:lnTo>
                    <a:pt x="90" y="76"/>
                  </a:lnTo>
                  <a:lnTo>
                    <a:pt x="89" y="78"/>
                  </a:lnTo>
                  <a:lnTo>
                    <a:pt x="90" y="79"/>
                  </a:lnTo>
                  <a:lnTo>
                    <a:pt x="91" y="82"/>
                  </a:lnTo>
                  <a:lnTo>
                    <a:pt x="89" y="83"/>
                  </a:lnTo>
                  <a:lnTo>
                    <a:pt x="90" y="83"/>
                  </a:lnTo>
                  <a:lnTo>
                    <a:pt x="91" y="83"/>
                  </a:lnTo>
                  <a:lnTo>
                    <a:pt x="92" y="82"/>
                  </a:lnTo>
                  <a:lnTo>
                    <a:pt x="94" y="82"/>
                  </a:lnTo>
                  <a:lnTo>
                    <a:pt x="95" y="81"/>
                  </a:lnTo>
                  <a:lnTo>
                    <a:pt x="94" y="79"/>
                  </a:lnTo>
                  <a:lnTo>
                    <a:pt x="91" y="79"/>
                  </a:lnTo>
                  <a:lnTo>
                    <a:pt x="91" y="77"/>
                  </a:lnTo>
                  <a:lnTo>
                    <a:pt x="90" y="75"/>
                  </a:lnTo>
                  <a:lnTo>
                    <a:pt x="91" y="75"/>
                  </a:lnTo>
                  <a:lnTo>
                    <a:pt x="92" y="75"/>
                  </a:lnTo>
                  <a:lnTo>
                    <a:pt x="94" y="75"/>
                  </a:lnTo>
                  <a:lnTo>
                    <a:pt x="94" y="76"/>
                  </a:lnTo>
                  <a:lnTo>
                    <a:pt x="95" y="75"/>
                  </a:lnTo>
                  <a:lnTo>
                    <a:pt x="96" y="75"/>
                  </a:lnTo>
                  <a:lnTo>
                    <a:pt x="97" y="75"/>
                  </a:lnTo>
                  <a:lnTo>
                    <a:pt x="97" y="76"/>
                  </a:lnTo>
                  <a:lnTo>
                    <a:pt x="97" y="78"/>
                  </a:lnTo>
                  <a:lnTo>
                    <a:pt x="98" y="78"/>
                  </a:lnTo>
                  <a:lnTo>
                    <a:pt x="100" y="77"/>
                  </a:lnTo>
                  <a:lnTo>
                    <a:pt x="98" y="79"/>
                  </a:lnTo>
                  <a:lnTo>
                    <a:pt x="100" y="81"/>
                  </a:lnTo>
                  <a:lnTo>
                    <a:pt x="101" y="78"/>
                  </a:lnTo>
                  <a:lnTo>
                    <a:pt x="101" y="79"/>
                  </a:lnTo>
                  <a:lnTo>
                    <a:pt x="102" y="79"/>
                  </a:lnTo>
                  <a:lnTo>
                    <a:pt x="103" y="77"/>
                  </a:lnTo>
                  <a:lnTo>
                    <a:pt x="102" y="78"/>
                  </a:lnTo>
                  <a:lnTo>
                    <a:pt x="102" y="77"/>
                  </a:lnTo>
                  <a:lnTo>
                    <a:pt x="101" y="77"/>
                  </a:lnTo>
                  <a:lnTo>
                    <a:pt x="101" y="76"/>
                  </a:lnTo>
                  <a:lnTo>
                    <a:pt x="102" y="76"/>
                  </a:lnTo>
                  <a:lnTo>
                    <a:pt x="102" y="75"/>
                  </a:lnTo>
                  <a:lnTo>
                    <a:pt x="103" y="75"/>
                  </a:lnTo>
                  <a:lnTo>
                    <a:pt x="105" y="75"/>
                  </a:lnTo>
                  <a:lnTo>
                    <a:pt x="105" y="76"/>
                  </a:lnTo>
                  <a:lnTo>
                    <a:pt x="106" y="75"/>
                  </a:lnTo>
                  <a:lnTo>
                    <a:pt x="106" y="73"/>
                  </a:lnTo>
                  <a:lnTo>
                    <a:pt x="107" y="69"/>
                  </a:lnTo>
                  <a:lnTo>
                    <a:pt x="107" y="71"/>
                  </a:lnTo>
                  <a:lnTo>
                    <a:pt x="107" y="72"/>
                  </a:lnTo>
                  <a:lnTo>
                    <a:pt x="109" y="72"/>
                  </a:lnTo>
                  <a:lnTo>
                    <a:pt x="109" y="73"/>
                  </a:lnTo>
                  <a:lnTo>
                    <a:pt x="108" y="75"/>
                  </a:lnTo>
                  <a:lnTo>
                    <a:pt x="108" y="77"/>
                  </a:lnTo>
                  <a:lnTo>
                    <a:pt x="109" y="78"/>
                  </a:lnTo>
                  <a:lnTo>
                    <a:pt x="109" y="77"/>
                  </a:lnTo>
                  <a:lnTo>
                    <a:pt x="112" y="78"/>
                  </a:lnTo>
                  <a:lnTo>
                    <a:pt x="112" y="81"/>
                  </a:lnTo>
                  <a:lnTo>
                    <a:pt x="114" y="79"/>
                  </a:lnTo>
                  <a:lnTo>
                    <a:pt x="114" y="81"/>
                  </a:lnTo>
                  <a:lnTo>
                    <a:pt x="115" y="81"/>
                  </a:lnTo>
                  <a:lnTo>
                    <a:pt x="117" y="82"/>
                  </a:lnTo>
                  <a:lnTo>
                    <a:pt x="118" y="83"/>
                  </a:lnTo>
                  <a:lnTo>
                    <a:pt x="119" y="85"/>
                  </a:lnTo>
                  <a:lnTo>
                    <a:pt x="119" y="87"/>
                  </a:lnTo>
                  <a:lnTo>
                    <a:pt x="115" y="84"/>
                  </a:lnTo>
                  <a:lnTo>
                    <a:pt x="112" y="82"/>
                  </a:lnTo>
                  <a:lnTo>
                    <a:pt x="111" y="81"/>
                  </a:lnTo>
                  <a:lnTo>
                    <a:pt x="111" y="82"/>
                  </a:lnTo>
                  <a:lnTo>
                    <a:pt x="112" y="83"/>
                  </a:lnTo>
                  <a:lnTo>
                    <a:pt x="113" y="85"/>
                  </a:lnTo>
                  <a:lnTo>
                    <a:pt x="114" y="87"/>
                  </a:lnTo>
                  <a:lnTo>
                    <a:pt x="115" y="88"/>
                  </a:lnTo>
                  <a:lnTo>
                    <a:pt x="114" y="88"/>
                  </a:lnTo>
                  <a:lnTo>
                    <a:pt x="115" y="93"/>
                  </a:lnTo>
                  <a:lnTo>
                    <a:pt x="117" y="95"/>
                  </a:lnTo>
                  <a:lnTo>
                    <a:pt x="118" y="95"/>
                  </a:lnTo>
                  <a:lnTo>
                    <a:pt x="118" y="96"/>
                  </a:lnTo>
                  <a:lnTo>
                    <a:pt x="119" y="96"/>
                  </a:lnTo>
                  <a:lnTo>
                    <a:pt x="119" y="97"/>
                  </a:lnTo>
                  <a:lnTo>
                    <a:pt x="120" y="96"/>
                  </a:lnTo>
                  <a:lnTo>
                    <a:pt x="120" y="100"/>
                  </a:lnTo>
                  <a:lnTo>
                    <a:pt x="120" y="101"/>
                  </a:lnTo>
                  <a:lnTo>
                    <a:pt x="121" y="101"/>
                  </a:lnTo>
                  <a:lnTo>
                    <a:pt x="123" y="101"/>
                  </a:lnTo>
                  <a:lnTo>
                    <a:pt x="123" y="100"/>
                  </a:lnTo>
                  <a:lnTo>
                    <a:pt x="124" y="99"/>
                  </a:lnTo>
                  <a:lnTo>
                    <a:pt x="125" y="97"/>
                  </a:lnTo>
                  <a:lnTo>
                    <a:pt x="127" y="96"/>
                  </a:lnTo>
                  <a:lnTo>
                    <a:pt x="125" y="96"/>
                  </a:lnTo>
                  <a:lnTo>
                    <a:pt x="123" y="97"/>
                  </a:lnTo>
                  <a:lnTo>
                    <a:pt x="121" y="96"/>
                  </a:lnTo>
                  <a:lnTo>
                    <a:pt x="121" y="95"/>
                  </a:lnTo>
                  <a:lnTo>
                    <a:pt x="123" y="94"/>
                  </a:lnTo>
                  <a:lnTo>
                    <a:pt x="123" y="93"/>
                  </a:lnTo>
                  <a:lnTo>
                    <a:pt x="124" y="93"/>
                  </a:lnTo>
                  <a:lnTo>
                    <a:pt x="125" y="91"/>
                  </a:lnTo>
                  <a:lnTo>
                    <a:pt x="126" y="91"/>
                  </a:lnTo>
                  <a:lnTo>
                    <a:pt x="127" y="90"/>
                  </a:lnTo>
                  <a:lnTo>
                    <a:pt x="126" y="89"/>
                  </a:lnTo>
                  <a:lnTo>
                    <a:pt x="126" y="88"/>
                  </a:lnTo>
                  <a:lnTo>
                    <a:pt x="123" y="90"/>
                  </a:lnTo>
                  <a:lnTo>
                    <a:pt x="121" y="90"/>
                  </a:lnTo>
                  <a:lnTo>
                    <a:pt x="123" y="89"/>
                  </a:lnTo>
                  <a:lnTo>
                    <a:pt x="121" y="89"/>
                  </a:lnTo>
                  <a:lnTo>
                    <a:pt x="121" y="88"/>
                  </a:lnTo>
                  <a:lnTo>
                    <a:pt x="121" y="85"/>
                  </a:lnTo>
                  <a:lnTo>
                    <a:pt x="121" y="84"/>
                  </a:lnTo>
                  <a:lnTo>
                    <a:pt x="119" y="81"/>
                  </a:lnTo>
                  <a:lnTo>
                    <a:pt x="121" y="82"/>
                  </a:lnTo>
                  <a:lnTo>
                    <a:pt x="123" y="82"/>
                  </a:lnTo>
                  <a:lnTo>
                    <a:pt x="125" y="82"/>
                  </a:lnTo>
                  <a:lnTo>
                    <a:pt x="126" y="82"/>
                  </a:lnTo>
                  <a:lnTo>
                    <a:pt x="127" y="79"/>
                  </a:lnTo>
                  <a:lnTo>
                    <a:pt x="126" y="78"/>
                  </a:lnTo>
                  <a:lnTo>
                    <a:pt x="125" y="79"/>
                  </a:lnTo>
                  <a:lnTo>
                    <a:pt x="124" y="79"/>
                  </a:lnTo>
                  <a:lnTo>
                    <a:pt x="123" y="77"/>
                  </a:lnTo>
                  <a:lnTo>
                    <a:pt x="123" y="76"/>
                  </a:lnTo>
                  <a:lnTo>
                    <a:pt x="125" y="76"/>
                  </a:lnTo>
                  <a:lnTo>
                    <a:pt x="127" y="77"/>
                  </a:lnTo>
                  <a:lnTo>
                    <a:pt x="127" y="76"/>
                  </a:lnTo>
                  <a:lnTo>
                    <a:pt x="129" y="76"/>
                  </a:lnTo>
                  <a:lnTo>
                    <a:pt x="130" y="75"/>
                  </a:lnTo>
                  <a:lnTo>
                    <a:pt x="130" y="73"/>
                  </a:lnTo>
                  <a:lnTo>
                    <a:pt x="131" y="76"/>
                  </a:lnTo>
                  <a:lnTo>
                    <a:pt x="131" y="78"/>
                  </a:lnTo>
                  <a:lnTo>
                    <a:pt x="132" y="77"/>
                  </a:lnTo>
                  <a:lnTo>
                    <a:pt x="132" y="78"/>
                  </a:lnTo>
                  <a:lnTo>
                    <a:pt x="133" y="79"/>
                  </a:lnTo>
                  <a:lnTo>
                    <a:pt x="135" y="81"/>
                  </a:lnTo>
                  <a:lnTo>
                    <a:pt x="136" y="82"/>
                  </a:lnTo>
                  <a:lnTo>
                    <a:pt x="137" y="85"/>
                  </a:lnTo>
                  <a:lnTo>
                    <a:pt x="137" y="87"/>
                  </a:lnTo>
                  <a:lnTo>
                    <a:pt x="138" y="88"/>
                  </a:lnTo>
                  <a:lnTo>
                    <a:pt x="138" y="87"/>
                  </a:lnTo>
                  <a:lnTo>
                    <a:pt x="139" y="88"/>
                  </a:lnTo>
                  <a:lnTo>
                    <a:pt x="141" y="87"/>
                  </a:lnTo>
                  <a:lnTo>
                    <a:pt x="142" y="87"/>
                  </a:lnTo>
                  <a:lnTo>
                    <a:pt x="142" y="84"/>
                  </a:lnTo>
                  <a:lnTo>
                    <a:pt x="144" y="85"/>
                  </a:lnTo>
                  <a:lnTo>
                    <a:pt x="145" y="87"/>
                  </a:lnTo>
                  <a:lnTo>
                    <a:pt x="147" y="89"/>
                  </a:lnTo>
                  <a:lnTo>
                    <a:pt x="148" y="89"/>
                  </a:lnTo>
                  <a:lnTo>
                    <a:pt x="149" y="91"/>
                  </a:lnTo>
                  <a:lnTo>
                    <a:pt x="150" y="91"/>
                  </a:lnTo>
                  <a:lnTo>
                    <a:pt x="153" y="90"/>
                  </a:lnTo>
                  <a:lnTo>
                    <a:pt x="150" y="90"/>
                  </a:lnTo>
                  <a:lnTo>
                    <a:pt x="151" y="89"/>
                  </a:lnTo>
                  <a:lnTo>
                    <a:pt x="151" y="88"/>
                  </a:lnTo>
                  <a:lnTo>
                    <a:pt x="153" y="88"/>
                  </a:lnTo>
                  <a:lnTo>
                    <a:pt x="154" y="87"/>
                  </a:lnTo>
                  <a:lnTo>
                    <a:pt x="154" y="85"/>
                  </a:lnTo>
                  <a:lnTo>
                    <a:pt x="156" y="85"/>
                  </a:lnTo>
                  <a:lnTo>
                    <a:pt x="156" y="87"/>
                  </a:lnTo>
                  <a:lnTo>
                    <a:pt x="159" y="87"/>
                  </a:lnTo>
                  <a:lnTo>
                    <a:pt x="160" y="88"/>
                  </a:lnTo>
                  <a:lnTo>
                    <a:pt x="160" y="89"/>
                  </a:lnTo>
                  <a:lnTo>
                    <a:pt x="160" y="88"/>
                  </a:lnTo>
                  <a:lnTo>
                    <a:pt x="161" y="88"/>
                  </a:lnTo>
                  <a:lnTo>
                    <a:pt x="161" y="87"/>
                  </a:lnTo>
                  <a:lnTo>
                    <a:pt x="162" y="87"/>
                  </a:lnTo>
                  <a:lnTo>
                    <a:pt x="164" y="88"/>
                  </a:lnTo>
                  <a:lnTo>
                    <a:pt x="165" y="87"/>
                  </a:lnTo>
                  <a:lnTo>
                    <a:pt x="162" y="87"/>
                  </a:lnTo>
                  <a:lnTo>
                    <a:pt x="161" y="85"/>
                  </a:lnTo>
                  <a:lnTo>
                    <a:pt x="161" y="83"/>
                  </a:lnTo>
                  <a:lnTo>
                    <a:pt x="162" y="84"/>
                  </a:lnTo>
                  <a:lnTo>
                    <a:pt x="164" y="83"/>
                  </a:lnTo>
                  <a:lnTo>
                    <a:pt x="165" y="82"/>
                  </a:lnTo>
                  <a:lnTo>
                    <a:pt x="165" y="81"/>
                  </a:lnTo>
                  <a:lnTo>
                    <a:pt x="166" y="82"/>
                  </a:lnTo>
                  <a:lnTo>
                    <a:pt x="167" y="82"/>
                  </a:lnTo>
                  <a:lnTo>
                    <a:pt x="168" y="83"/>
                  </a:lnTo>
                  <a:lnTo>
                    <a:pt x="170" y="83"/>
                  </a:lnTo>
                  <a:lnTo>
                    <a:pt x="171" y="82"/>
                  </a:lnTo>
                  <a:lnTo>
                    <a:pt x="170" y="81"/>
                  </a:lnTo>
                  <a:lnTo>
                    <a:pt x="170" y="79"/>
                  </a:lnTo>
                  <a:lnTo>
                    <a:pt x="172" y="78"/>
                  </a:lnTo>
                  <a:lnTo>
                    <a:pt x="172" y="77"/>
                  </a:lnTo>
                  <a:lnTo>
                    <a:pt x="173" y="77"/>
                  </a:lnTo>
                  <a:lnTo>
                    <a:pt x="171" y="77"/>
                  </a:lnTo>
                  <a:lnTo>
                    <a:pt x="168" y="78"/>
                  </a:lnTo>
                  <a:lnTo>
                    <a:pt x="168" y="77"/>
                  </a:lnTo>
                  <a:lnTo>
                    <a:pt x="170" y="75"/>
                  </a:lnTo>
                  <a:lnTo>
                    <a:pt x="171" y="73"/>
                  </a:lnTo>
                  <a:lnTo>
                    <a:pt x="172" y="73"/>
                  </a:lnTo>
                  <a:lnTo>
                    <a:pt x="172" y="71"/>
                  </a:lnTo>
                  <a:lnTo>
                    <a:pt x="173" y="71"/>
                  </a:lnTo>
                  <a:lnTo>
                    <a:pt x="174" y="70"/>
                  </a:lnTo>
                  <a:lnTo>
                    <a:pt x="178" y="71"/>
                  </a:lnTo>
                  <a:lnTo>
                    <a:pt x="179" y="70"/>
                  </a:lnTo>
                  <a:lnTo>
                    <a:pt x="180" y="70"/>
                  </a:lnTo>
                  <a:lnTo>
                    <a:pt x="179" y="66"/>
                  </a:lnTo>
                  <a:lnTo>
                    <a:pt x="178" y="67"/>
                  </a:lnTo>
                  <a:lnTo>
                    <a:pt x="178" y="69"/>
                  </a:lnTo>
                  <a:lnTo>
                    <a:pt x="178" y="66"/>
                  </a:lnTo>
                  <a:lnTo>
                    <a:pt x="178" y="65"/>
                  </a:lnTo>
                  <a:lnTo>
                    <a:pt x="176" y="65"/>
                  </a:lnTo>
                  <a:lnTo>
                    <a:pt x="172" y="65"/>
                  </a:lnTo>
                  <a:lnTo>
                    <a:pt x="170" y="65"/>
                  </a:lnTo>
                  <a:lnTo>
                    <a:pt x="171" y="64"/>
                  </a:lnTo>
                  <a:lnTo>
                    <a:pt x="172" y="64"/>
                  </a:lnTo>
                  <a:lnTo>
                    <a:pt x="174" y="63"/>
                  </a:lnTo>
                  <a:lnTo>
                    <a:pt x="176" y="64"/>
                  </a:lnTo>
                  <a:lnTo>
                    <a:pt x="178" y="65"/>
                  </a:lnTo>
                  <a:lnTo>
                    <a:pt x="179" y="65"/>
                  </a:lnTo>
                  <a:lnTo>
                    <a:pt x="177" y="59"/>
                  </a:lnTo>
                  <a:lnTo>
                    <a:pt x="174" y="55"/>
                  </a:lnTo>
                  <a:lnTo>
                    <a:pt x="174" y="57"/>
                  </a:lnTo>
                  <a:lnTo>
                    <a:pt x="172" y="57"/>
                  </a:lnTo>
                  <a:lnTo>
                    <a:pt x="172" y="58"/>
                  </a:lnTo>
                  <a:lnTo>
                    <a:pt x="172" y="55"/>
                  </a:lnTo>
                  <a:lnTo>
                    <a:pt x="172" y="54"/>
                  </a:lnTo>
                  <a:lnTo>
                    <a:pt x="173" y="54"/>
                  </a:lnTo>
                  <a:lnTo>
                    <a:pt x="173" y="53"/>
                  </a:lnTo>
                  <a:lnTo>
                    <a:pt x="171" y="53"/>
                  </a:lnTo>
                  <a:lnTo>
                    <a:pt x="170" y="54"/>
                  </a:lnTo>
                  <a:lnTo>
                    <a:pt x="168" y="55"/>
                  </a:lnTo>
                  <a:lnTo>
                    <a:pt x="168" y="53"/>
                  </a:lnTo>
                  <a:lnTo>
                    <a:pt x="168" y="52"/>
                  </a:lnTo>
                  <a:lnTo>
                    <a:pt x="170" y="51"/>
                  </a:lnTo>
                  <a:lnTo>
                    <a:pt x="171" y="51"/>
                  </a:lnTo>
                  <a:lnTo>
                    <a:pt x="173" y="52"/>
                  </a:lnTo>
                  <a:lnTo>
                    <a:pt x="171" y="48"/>
                  </a:lnTo>
                  <a:lnTo>
                    <a:pt x="168" y="48"/>
                  </a:lnTo>
                  <a:lnTo>
                    <a:pt x="165" y="51"/>
                  </a:lnTo>
                  <a:lnTo>
                    <a:pt x="165" y="52"/>
                  </a:lnTo>
                  <a:lnTo>
                    <a:pt x="164" y="53"/>
                  </a:lnTo>
                  <a:lnTo>
                    <a:pt x="164" y="52"/>
                  </a:lnTo>
                  <a:lnTo>
                    <a:pt x="162" y="51"/>
                  </a:lnTo>
                  <a:lnTo>
                    <a:pt x="162" y="48"/>
                  </a:lnTo>
                  <a:lnTo>
                    <a:pt x="164" y="47"/>
                  </a:lnTo>
                  <a:lnTo>
                    <a:pt x="165" y="48"/>
                  </a:lnTo>
                  <a:lnTo>
                    <a:pt x="168" y="48"/>
                  </a:lnTo>
                  <a:lnTo>
                    <a:pt x="170" y="47"/>
                  </a:lnTo>
                  <a:lnTo>
                    <a:pt x="167" y="47"/>
                  </a:lnTo>
                  <a:lnTo>
                    <a:pt x="166" y="47"/>
                  </a:lnTo>
                  <a:lnTo>
                    <a:pt x="166" y="46"/>
                  </a:lnTo>
                  <a:lnTo>
                    <a:pt x="167" y="46"/>
                  </a:lnTo>
                  <a:lnTo>
                    <a:pt x="168" y="45"/>
                  </a:lnTo>
                  <a:lnTo>
                    <a:pt x="166" y="45"/>
                  </a:lnTo>
                  <a:lnTo>
                    <a:pt x="165" y="46"/>
                  </a:lnTo>
                  <a:lnTo>
                    <a:pt x="164" y="46"/>
                  </a:lnTo>
                  <a:lnTo>
                    <a:pt x="164" y="45"/>
                  </a:lnTo>
                  <a:lnTo>
                    <a:pt x="165" y="45"/>
                  </a:lnTo>
                  <a:lnTo>
                    <a:pt x="167" y="45"/>
                  </a:lnTo>
                  <a:lnTo>
                    <a:pt x="166" y="43"/>
                  </a:lnTo>
                  <a:lnTo>
                    <a:pt x="165" y="43"/>
                  </a:lnTo>
                  <a:lnTo>
                    <a:pt x="162" y="45"/>
                  </a:lnTo>
                  <a:lnTo>
                    <a:pt x="161" y="42"/>
                  </a:lnTo>
                  <a:lnTo>
                    <a:pt x="164" y="41"/>
                  </a:lnTo>
                  <a:lnTo>
                    <a:pt x="165" y="43"/>
                  </a:lnTo>
                  <a:lnTo>
                    <a:pt x="166" y="42"/>
                  </a:lnTo>
                  <a:lnTo>
                    <a:pt x="164" y="41"/>
                  </a:lnTo>
                  <a:lnTo>
                    <a:pt x="162" y="41"/>
                  </a:lnTo>
                  <a:lnTo>
                    <a:pt x="161" y="40"/>
                  </a:lnTo>
                  <a:lnTo>
                    <a:pt x="157" y="39"/>
                  </a:lnTo>
                  <a:lnTo>
                    <a:pt x="160" y="39"/>
                  </a:lnTo>
                  <a:lnTo>
                    <a:pt x="162" y="40"/>
                  </a:lnTo>
                  <a:lnTo>
                    <a:pt x="165" y="40"/>
                  </a:lnTo>
                  <a:lnTo>
                    <a:pt x="167" y="42"/>
                  </a:lnTo>
                  <a:lnTo>
                    <a:pt x="168" y="41"/>
                  </a:lnTo>
                  <a:lnTo>
                    <a:pt x="167" y="39"/>
                  </a:lnTo>
                  <a:lnTo>
                    <a:pt x="166" y="39"/>
                  </a:lnTo>
                  <a:lnTo>
                    <a:pt x="162" y="37"/>
                  </a:lnTo>
                  <a:lnTo>
                    <a:pt x="161" y="36"/>
                  </a:lnTo>
                  <a:lnTo>
                    <a:pt x="167" y="37"/>
                  </a:lnTo>
                  <a:lnTo>
                    <a:pt x="167" y="39"/>
                  </a:lnTo>
                  <a:lnTo>
                    <a:pt x="168" y="40"/>
                  </a:lnTo>
                  <a:lnTo>
                    <a:pt x="170" y="39"/>
                  </a:lnTo>
                  <a:lnTo>
                    <a:pt x="171" y="37"/>
                  </a:lnTo>
                  <a:lnTo>
                    <a:pt x="171" y="36"/>
                  </a:lnTo>
                  <a:lnTo>
                    <a:pt x="172" y="35"/>
                  </a:lnTo>
                  <a:lnTo>
                    <a:pt x="174" y="35"/>
                  </a:lnTo>
                  <a:lnTo>
                    <a:pt x="176" y="35"/>
                  </a:lnTo>
                  <a:lnTo>
                    <a:pt x="177" y="35"/>
                  </a:lnTo>
                  <a:lnTo>
                    <a:pt x="176" y="37"/>
                  </a:lnTo>
                  <a:lnTo>
                    <a:pt x="172" y="37"/>
                  </a:lnTo>
                  <a:lnTo>
                    <a:pt x="171" y="39"/>
                  </a:lnTo>
                  <a:lnTo>
                    <a:pt x="171" y="41"/>
                  </a:lnTo>
                  <a:lnTo>
                    <a:pt x="170" y="41"/>
                  </a:lnTo>
                  <a:lnTo>
                    <a:pt x="172" y="42"/>
                  </a:lnTo>
                  <a:lnTo>
                    <a:pt x="171" y="43"/>
                  </a:lnTo>
                  <a:lnTo>
                    <a:pt x="171" y="46"/>
                  </a:lnTo>
                  <a:lnTo>
                    <a:pt x="172" y="46"/>
                  </a:lnTo>
                  <a:lnTo>
                    <a:pt x="172" y="47"/>
                  </a:lnTo>
                  <a:lnTo>
                    <a:pt x="172" y="49"/>
                  </a:lnTo>
                  <a:lnTo>
                    <a:pt x="174" y="54"/>
                  </a:lnTo>
                  <a:lnTo>
                    <a:pt x="179" y="64"/>
                  </a:lnTo>
                  <a:lnTo>
                    <a:pt x="180" y="64"/>
                  </a:lnTo>
                  <a:lnTo>
                    <a:pt x="182" y="63"/>
                  </a:lnTo>
                  <a:lnTo>
                    <a:pt x="182" y="60"/>
                  </a:lnTo>
                  <a:lnTo>
                    <a:pt x="182" y="59"/>
                  </a:lnTo>
                  <a:lnTo>
                    <a:pt x="183" y="59"/>
                  </a:lnTo>
                  <a:lnTo>
                    <a:pt x="184" y="60"/>
                  </a:lnTo>
                  <a:lnTo>
                    <a:pt x="185" y="60"/>
                  </a:lnTo>
                  <a:lnTo>
                    <a:pt x="184" y="58"/>
                  </a:lnTo>
                  <a:lnTo>
                    <a:pt x="185" y="58"/>
                  </a:lnTo>
                  <a:lnTo>
                    <a:pt x="188" y="58"/>
                  </a:lnTo>
                  <a:lnTo>
                    <a:pt x="189" y="57"/>
                  </a:lnTo>
                  <a:lnTo>
                    <a:pt x="190" y="55"/>
                  </a:lnTo>
                  <a:lnTo>
                    <a:pt x="191" y="57"/>
                  </a:lnTo>
                  <a:lnTo>
                    <a:pt x="192" y="58"/>
                  </a:lnTo>
                  <a:lnTo>
                    <a:pt x="191" y="58"/>
                  </a:lnTo>
                  <a:lnTo>
                    <a:pt x="191" y="59"/>
                  </a:lnTo>
                  <a:lnTo>
                    <a:pt x="194" y="59"/>
                  </a:lnTo>
                  <a:lnTo>
                    <a:pt x="194" y="60"/>
                  </a:lnTo>
                  <a:lnTo>
                    <a:pt x="194" y="61"/>
                  </a:lnTo>
                  <a:lnTo>
                    <a:pt x="195" y="61"/>
                  </a:lnTo>
                  <a:lnTo>
                    <a:pt x="195" y="63"/>
                  </a:lnTo>
                  <a:lnTo>
                    <a:pt x="196" y="63"/>
                  </a:lnTo>
                  <a:lnTo>
                    <a:pt x="191" y="61"/>
                  </a:lnTo>
                  <a:lnTo>
                    <a:pt x="188" y="61"/>
                  </a:lnTo>
                  <a:lnTo>
                    <a:pt x="188" y="63"/>
                  </a:lnTo>
                  <a:lnTo>
                    <a:pt x="188" y="64"/>
                  </a:lnTo>
                  <a:lnTo>
                    <a:pt x="188" y="65"/>
                  </a:lnTo>
                  <a:lnTo>
                    <a:pt x="188" y="67"/>
                  </a:lnTo>
                  <a:lnTo>
                    <a:pt x="190" y="66"/>
                  </a:lnTo>
                  <a:lnTo>
                    <a:pt x="191" y="66"/>
                  </a:lnTo>
                  <a:lnTo>
                    <a:pt x="191" y="67"/>
                  </a:lnTo>
                  <a:lnTo>
                    <a:pt x="192" y="67"/>
                  </a:lnTo>
                  <a:lnTo>
                    <a:pt x="194" y="66"/>
                  </a:lnTo>
                  <a:lnTo>
                    <a:pt x="194" y="67"/>
                  </a:lnTo>
                  <a:lnTo>
                    <a:pt x="195" y="67"/>
                  </a:lnTo>
                  <a:lnTo>
                    <a:pt x="195" y="69"/>
                  </a:lnTo>
                  <a:lnTo>
                    <a:pt x="198" y="69"/>
                  </a:lnTo>
                  <a:lnTo>
                    <a:pt x="196" y="69"/>
                  </a:lnTo>
                  <a:lnTo>
                    <a:pt x="195" y="70"/>
                  </a:lnTo>
                  <a:lnTo>
                    <a:pt x="195" y="71"/>
                  </a:lnTo>
                  <a:lnTo>
                    <a:pt x="195" y="73"/>
                  </a:lnTo>
                  <a:lnTo>
                    <a:pt x="195" y="76"/>
                  </a:lnTo>
                  <a:lnTo>
                    <a:pt x="194" y="75"/>
                  </a:lnTo>
                  <a:lnTo>
                    <a:pt x="194" y="73"/>
                  </a:lnTo>
                  <a:lnTo>
                    <a:pt x="192" y="73"/>
                  </a:lnTo>
                  <a:lnTo>
                    <a:pt x="191" y="73"/>
                  </a:lnTo>
                  <a:lnTo>
                    <a:pt x="189" y="73"/>
                  </a:lnTo>
                  <a:lnTo>
                    <a:pt x="188" y="72"/>
                  </a:lnTo>
                  <a:lnTo>
                    <a:pt x="186" y="72"/>
                  </a:lnTo>
                  <a:lnTo>
                    <a:pt x="183" y="73"/>
                  </a:lnTo>
                  <a:lnTo>
                    <a:pt x="184" y="77"/>
                  </a:lnTo>
                  <a:lnTo>
                    <a:pt x="185" y="77"/>
                  </a:lnTo>
                  <a:lnTo>
                    <a:pt x="186" y="76"/>
                  </a:lnTo>
                  <a:lnTo>
                    <a:pt x="188" y="76"/>
                  </a:lnTo>
                  <a:lnTo>
                    <a:pt x="190" y="76"/>
                  </a:lnTo>
                  <a:lnTo>
                    <a:pt x="190" y="77"/>
                  </a:lnTo>
                  <a:lnTo>
                    <a:pt x="191" y="77"/>
                  </a:lnTo>
                  <a:lnTo>
                    <a:pt x="192" y="77"/>
                  </a:lnTo>
                  <a:lnTo>
                    <a:pt x="192" y="78"/>
                  </a:lnTo>
                  <a:lnTo>
                    <a:pt x="194" y="78"/>
                  </a:lnTo>
                  <a:lnTo>
                    <a:pt x="196" y="78"/>
                  </a:lnTo>
                  <a:lnTo>
                    <a:pt x="197" y="79"/>
                  </a:lnTo>
                  <a:lnTo>
                    <a:pt x="197" y="81"/>
                  </a:lnTo>
                  <a:lnTo>
                    <a:pt x="200" y="79"/>
                  </a:lnTo>
                  <a:lnTo>
                    <a:pt x="201" y="78"/>
                  </a:lnTo>
                  <a:lnTo>
                    <a:pt x="201" y="79"/>
                  </a:lnTo>
                  <a:lnTo>
                    <a:pt x="202" y="79"/>
                  </a:lnTo>
                  <a:lnTo>
                    <a:pt x="203" y="81"/>
                  </a:lnTo>
                  <a:lnTo>
                    <a:pt x="204" y="79"/>
                  </a:lnTo>
                  <a:lnTo>
                    <a:pt x="206" y="79"/>
                  </a:lnTo>
                  <a:lnTo>
                    <a:pt x="206" y="78"/>
                  </a:lnTo>
                  <a:lnTo>
                    <a:pt x="206" y="77"/>
                  </a:lnTo>
                  <a:lnTo>
                    <a:pt x="208" y="76"/>
                  </a:lnTo>
                  <a:lnTo>
                    <a:pt x="208" y="75"/>
                  </a:lnTo>
                  <a:lnTo>
                    <a:pt x="209" y="73"/>
                  </a:lnTo>
                  <a:lnTo>
                    <a:pt x="210" y="72"/>
                  </a:lnTo>
                  <a:lnTo>
                    <a:pt x="212" y="71"/>
                  </a:lnTo>
                  <a:lnTo>
                    <a:pt x="209" y="70"/>
                  </a:lnTo>
                  <a:lnTo>
                    <a:pt x="208" y="65"/>
                  </a:lnTo>
                  <a:lnTo>
                    <a:pt x="209" y="67"/>
                  </a:lnTo>
                  <a:lnTo>
                    <a:pt x="210" y="66"/>
                  </a:lnTo>
                  <a:lnTo>
                    <a:pt x="210" y="65"/>
                  </a:lnTo>
                  <a:lnTo>
                    <a:pt x="212" y="65"/>
                  </a:lnTo>
                  <a:lnTo>
                    <a:pt x="213" y="65"/>
                  </a:lnTo>
                  <a:lnTo>
                    <a:pt x="213" y="66"/>
                  </a:lnTo>
                  <a:lnTo>
                    <a:pt x="212" y="66"/>
                  </a:lnTo>
                  <a:lnTo>
                    <a:pt x="210" y="69"/>
                  </a:lnTo>
                  <a:lnTo>
                    <a:pt x="210" y="70"/>
                  </a:lnTo>
                  <a:lnTo>
                    <a:pt x="212" y="69"/>
                  </a:lnTo>
                  <a:lnTo>
                    <a:pt x="212" y="67"/>
                  </a:lnTo>
                  <a:lnTo>
                    <a:pt x="213" y="67"/>
                  </a:lnTo>
                  <a:lnTo>
                    <a:pt x="213" y="70"/>
                  </a:lnTo>
                  <a:lnTo>
                    <a:pt x="212" y="70"/>
                  </a:lnTo>
                  <a:lnTo>
                    <a:pt x="213" y="71"/>
                  </a:lnTo>
                  <a:lnTo>
                    <a:pt x="215" y="72"/>
                  </a:lnTo>
                  <a:lnTo>
                    <a:pt x="216" y="72"/>
                  </a:lnTo>
                  <a:lnTo>
                    <a:pt x="215" y="71"/>
                  </a:lnTo>
                  <a:lnTo>
                    <a:pt x="215" y="70"/>
                  </a:lnTo>
                  <a:lnTo>
                    <a:pt x="218" y="70"/>
                  </a:lnTo>
                  <a:lnTo>
                    <a:pt x="218" y="71"/>
                  </a:lnTo>
                  <a:lnTo>
                    <a:pt x="219" y="73"/>
                  </a:lnTo>
                  <a:lnTo>
                    <a:pt x="220" y="72"/>
                  </a:lnTo>
                  <a:lnTo>
                    <a:pt x="220" y="70"/>
                  </a:lnTo>
                  <a:lnTo>
                    <a:pt x="219" y="70"/>
                  </a:lnTo>
                  <a:lnTo>
                    <a:pt x="218" y="67"/>
                  </a:lnTo>
                  <a:lnTo>
                    <a:pt x="219" y="69"/>
                  </a:lnTo>
                  <a:lnTo>
                    <a:pt x="219" y="67"/>
                  </a:lnTo>
                  <a:lnTo>
                    <a:pt x="219" y="66"/>
                  </a:lnTo>
                  <a:lnTo>
                    <a:pt x="220" y="66"/>
                  </a:lnTo>
                  <a:lnTo>
                    <a:pt x="221" y="65"/>
                  </a:lnTo>
                  <a:lnTo>
                    <a:pt x="221" y="64"/>
                  </a:lnTo>
                  <a:lnTo>
                    <a:pt x="221" y="63"/>
                  </a:lnTo>
                  <a:lnTo>
                    <a:pt x="223" y="63"/>
                  </a:lnTo>
                  <a:lnTo>
                    <a:pt x="224" y="63"/>
                  </a:lnTo>
                  <a:lnTo>
                    <a:pt x="224" y="65"/>
                  </a:lnTo>
                  <a:lnTo>
                    <a:pt x="225" y="65"/>
                  </a:lnTo>
                  <a:lnTo>
                    <a:pt x="226" y="65"/>
                  </a:lnTo>
                  <a:lnTo>
                    <a:pt x="225" y="63"/>
                  </a:lnTo>
                  <a:lnTo>
                    <a:pt x="226" y="63"/>
                  </a:lnTo>
                  <a:lnTo>
                    <a:pt x="226" y="61"/>
                  </a:lnTo>
                  <a:lnTo>
                    <a:pt x="226" y="66"/>
                  </a:lnTo>
                  <a:lnTo>
                    <a:pt x="227" y="66"/>
                  </a:lnTo>
                  <a:lnTo>
                    <a:pt x="230" y="67"/>
                  </a:lnTo>
                  <a:lnTo>
                    <a:pt x="230" y="66"/>
                  </a:lnTo>
                  <a:lnTo>
                    <a:pt x="229" y="65"/>
                  </a:lnTo>
                  <a:lnTo>
                    <a:pt x="229" y="64"/>
                  </a:lnTo>
                  <a:lnTo>
                    <a:pt x="229" y="63"/>
                  </a:lnTo>
                  <a:lnTo>
                    <a:pt x="229" y="61"/>
                  </a:lnTo>
                  <a:lnTo>
                    <a:pt x="230" y="60"/>
                  </a:lnTo>
                  <a:lnTo>
                    <a:pt x="229" y="59"/>
                  </a:lnTo>
                  <a:lnTo>
                    <a:pt x="230" y="59"/>
                  </a:lnTo>
                  <a:lnTo>
                    <a:pt x="231" y="58"/>
                  </a:lnTo>
                  <a:lnTo>
                    <a:pt x="232" y="57"/>
                  </a:lnTo>
                  <a:lnTo>
                    <a:pt x="233" y="58"/>
                  </a:lnTo>
                  <a:lnTo>
                    <a:pt x="233" y="60"/>
                  </a:lnTo>
                  <a:lnTo>
                    <a:pt x="235" y="61"/>
                  </a:lnTo>
                  <a:lnTo>
                    <a:pt x="233" y="63"/>
                  </a:lnTo>
                  <a:lnTo>
                    <a:pt x="235" y="66"/>
                  </a:lnTo>
                  <a:lnTo>
                    <a:pt x="233" y="67"/>
                  </a:lnTo>
                  <a:lnTo>
                    <a:pt x="232" y="66"/>
                  </a:lnTo>
                  <a:lnTo>
                    <a:pt x="232" y="67"/>
                  </a:lnTo>
                  <a:lnTo>
                    <a:pt x="233" y="69"/>
                  </a:lnTo>
                  <a:lnTo>
                    <a:pt x="235" y="69"/>
                  </a:lnTo>
                  <a:lnTo>
                    <a:pt x="236" y="70"/>
                  </a:lnTo>
                  <a:lnTo>
                    <a:pt x="236" y="71"/>
                  </a:lnTo>
                  <a:lnTo>
                    <a:pt x="238" y="71"/>
                  </a:lnTo>
                  <a:lnTo>
                    <a:pt x="239" y="71"/>
                  </a:lnTo>
                  <a:lnTo>
                    <a:pt x="239" y="72"/>
                  </a:lnTo>
                  <a:lnTo>
                    <a:pt x="241" y="73"/>
                  </a:lnTo>
                  <a:lnTo>
                    <a:pt x="242" y="75"/>
                  </a:lnTo>
                  <a:lnTo>
                    <a:pt x="243" y="75"/>
                  </a:lnTo>
                  <a:lnTo>
                    <a:pt x="242" y="77"/>
                  </a:lnTo>
                  <a:lnTo>
                    <a:pt x="243" y="78"/>
                  </a:lnTo>
                  <a:lnTo>
                    <a:pt x="244" y="77"/>
                  </a:lnTo>
                  <a:lnTo>
                    <a:pt x="245" y="78"/>
                  </a:lnTo>
                  <a:lnTo>
                    <a:pt x="247" y="77"/>
                  </a:lnTo>
                  <a:lnTo>
                    <a:pt x="247" y="75"/>
                  </a:lnTo>
                  <a:lnTo>
                    <a:pt x="247" y="72"/>
                  </a:lnTo>
                  <a:lnTo>
                    <a:pt x="247" y="71"/>
                  </a:lnTo>
                  <a:lnTo>
                    <a:pt x="247" y="70"/>
                  </a:lnTo>
                  <a:lnTo>
                    <a:pt x="248" y="70"/>
                  </a:lnTo>
                  <a:lnTo>
                    <a:pt x="247" y="69"/>
                  </a:lnTo>
                  <a:lnTo>
                    <a:pt x="247" y="66"/>
                  </a:lnTo>
                  <a:lnTo>
                    <a:pt x="247" y="65"/>
                  </a:lnTo>
                  <a:lnTo>
                    <a:pt x="248" y="66"/>
                  </a:lnTo>
                  <a:lnTo>
                    <a:pt x="249" y="66"/>
                  </a:lnTo>
                  <a:lnTo>
                    <a:pt x="249" y="67"/>
                  </a:lnTo>
                  <a:lnTo>
                    <a:pt x="248" y="70"/>
                  </a:lnTo>
                  <a:lnTo>
                    <a:pt x="249" y="70"/>
                  </a:lnTo>
                  <a:lnTo>
                    <a:pt x="249" y="71"/>
                  </a:lnTo>
                  <a:lnTo>
                    <a:pt x="248" y="73"/>
                  </a:lnTo>
                  <a:lnTo>
                    <a:pt x="247" y="78"/>
                  </a:lnTo>
                  <a:lnTo>
                    <a:pt x="247" y="79"/>
                  </a:lnTo>
                  <a:lnTo>
                    <a:pt x="248" y="78"/>
                  </a:lnTo>
                  <a:lnTo>
                    <a:pt x="250" y="77"/>
                  </a:lnTo>
                  <a:lnTo>
                    <a:pt x="250" y="78"/>
                  </a:lnTo>
                  <a:lnTo>
                    <a:pt x="251" y="78"/>
                  </a:lnTo>
                  <a:lnTo>
                    <a:pt x="254" y="76"/>
                  </a:lnTo>
                  <a:lnTo>
                    <a:pt x="254" y="75"/>
                  </a:lnTo>
                  <a:lnTo>
                    <a:pt x="255" y="76"/>
                  </a:lnTo>
                  <a:lnTo>
                    <a:pt x="256" y="77"/>
                  </a:lnTo>
                  <a:lnTo>
                    <a:pt x="257" y="76"/>
                  </a:lnTo>
                  <a:lnTo>
                    <a:pt x="259" y="76"/>
                  </a:lnTo>
                  <a:lnTo>
                    <a:pt x="260" y="76"/>
                  </a:lnTo>
                  <a:lnTo>
                    <a:pt x="256" y="78"/>
                  </a:lnTo>
                  <a:lnTo>
                    <a:pt x="254" y="78"/>
                  </a:lnTo>
                  <a:lnTo>
                    <a:pt x="251" y="81"/>
                  </a:lnTo>
                  <a:lnTo>
                    <a:pt x="249" y="82"/>
                  </a:lnTo>
                  <a:lnTo>
                    <a:pt x="247" y="83"/>
                  </a:lnTo>
                  <a:lnTo>
                    <a:pt x="245" y="85"/>
                  </a:lnTo>
                  <a:lnTo>
                    <a:pt x="245" y="87"/>
                  </a:lnTo>
                  <a:lnTo>
                    <a:pt x="247" y="85"/>
                  </a:lnTo>
                  <a:lnTo>
                    <a:pt x="248" y="84"/>
                  </a:lnTo>
                  <a:lnTo>
                    <a:pt x="251" y="83"/>
                  </a:lnTo>
                  <a:lnTo>
                    <a:pt x="249" y="87"/>
                  </a:lnTo>
                  <a:lnTo>
                    <a:pt x="248" y="87"/>
                  </a:lnTo>
                  <a:lnTo>
                    <a:pt x="250" y="88"/>
                  </a:lnTo>
                  <a:lnTo>
                    <a:pt x="251" y="90"/>
                  </a:lnTo>
                  <a:lnTo>
                    <a:pt x="253" y="89"/>
                  </a:lnTo>
                  <a:lnTo>
                    <a:pt x="256" y="89"/>
                  </a:lnTo>
                  <a:lnTo>
                    <a:pt x="257" y="89"/>
                  </a:lnTo>
                  <a:lnTo>
                    <a:pt x="257" y="90"/>
                  </a:lnTo>
                  <a:lnTo>
                    <a:pt x="257" y="91"/>
                  </a:lnTo>
                  <a:lnTo>
                    <a:pt x="257" y="94"/>
                  </a:lnTo>
                  <a:lnTo>
                    <a:pt x="259" y="94"/>
                  </a:lnTo>
                  <a:lnTo>
                    <a:pt x="259" y="96"/>
                  </a:lnTo>
                  <a:lnTo>
                    <a:pt x="259" y="97"/>
                  </a:lnTo>
                  <a:lnTo>
                    <a:pt x="260" y="97"/>
                  </a:lnTo>
                  <a:lnTo>
                    <a:pt x="260" y="96"/>
                  </a:lnTo>
                  <a:lnTo>
                    <a:pt x="261" y="95"/>
                  </a:lnTo>
                  <a:lnTo>
                    <a:pt x="262" y="93"/>
                  </a:lnTo>
                  <a:lnTo>
                    <a:pt x="262" y="96"/>
                  </a:lnTo>
                  <a:lnTo>
                    <a:pt x="262" y="97"/>
                  </a:lnTo>
                  <a:lnTo>
                    <a:pt x="265" y="96"/>
                  </a:lnTo>
                  <a:lnTo>
                    <a:pt x="265" y="97"/>
                  </a:lnTo>
                  <a:lnTo>
                    <a:pt x="265" y="99"/>
                  </a:lnTo>
                  <a:lnTo>
                    <a:pt x="266" y="99"/>
                  </a:lnTo>
                  <a:lnTo>
                    <a:pt x="267" y="99"/>
                  </a:lnTo>
                  <a:lnTo>
                    <a:pt x="267" y="100"/>
                  </a:lnTo>
                  <a:lnTo>
                    <a:pt x="268" y="99"/>
                  </a:lnTo>
                  <a:lnTo>
                    <a:pt x="268" y="100"/>
                  </a:lnTo>
                  <a:lnTo>
                    <a:pt x="269" y="99"/>
                  </a:lnTo>
                  <a:lnTo>
                    <a:pt x="272" y="100"/>
                  </a:lnTo>
                  <a:lnTo>
                    <a:pt x="268" y="101"/>
                  </a:lnTo>
                  <a:lnTo>
                    <a:pt x="263" y="100"/>
                  </a:lnTo>
                  <a:lnTo>
                    <a:pt x="265" y="102"/>
                  </a:lnTo>
                  <a:lnTo>
                    <a:pt x="266" y="102"/>
                  </a:lnTo>
                  <a:lnTo>
                    <a:pt x="267" y="102"/>
                  </a:lnTo>
                  <a:lnTo>
                    <a:pt x="268" y="102"/>
                  </a:lnTo>
                  <a:lnTo>
                    <a:pt x="269" y="102"/>
                  </a:lnTo>
                  <a:lnTo>
                    <a:pt x="271" y="102"/>
                  </a:lnTo>
                  <a:lnTo>
                    <a:pt x="273" y="103"/>
                  </a:lnTo>
                  <a:lnTo>
                    <a:pt x="274" y="103"/>
                  </a:lnTo>
                  <a:lnTo>
                    <a:pt x="275" y="105"/>
                  </a:lnTo>
                  <a:lnTo>
                    <a:pt x="275" y="102"/>
                  </a:lnTo>
                  <a:lnTo>
                    <a:pt x="277" y="101"/>
                  </a:lnTo>
                  <a:lnTo>
                    <a:pt x="277" y="100"/>
                  </a:lnTo>
                  <a:lnTo>
                    <a:pt x="278" y="99"/>
                  </a:lnTo>
                  <a:lnTo>
                    <a:pt x="279" y="99"/>
                  </a:lnTo>
                  <a:lnTo>
                    <a:pt x="278" y="100"/>
                  </a:lnTo>
                  <a:lnTo>
                    <a:pt x="278" y="101"/>
                  </a:lnTo>
                  <a:lnTo>
                    <a:pt x="279" y="101"/>
                  </a:lnTo>
                  <a:lnTo>
                    <a:pt x="280" y="100"/>
                  </a:lnTo>
                  <a:lnTo>
                    <a:pt x="280" y="99"/>
                  </a:lnTo>
                  <a:lnTo>
                    <a:pt x="280" y="97"/>
                  </a:lnTo>
                  <a:lnTo>
                    <a:pt x="279" y="96"/>
                  </a:lnTo>
                  <a:lnTo>
                    <a:pt x="277" y="96"/>
                  </a:lnTo>
                  <a:lnTo>
                    <a:pt x="274" y="97"/>
                  </a:lnTo>
                  <a:lnTo>
                    <a:pt x="274" y="95"/>
                  </a:lnTo>
                  <a:lnTo>
                    <a:pt x="277" y="94"/>
                  </a:lnTo>
                  <a:lnTo>
                    <a:pt x="278" y="94"/>
                  </a:lnTo>
                  <a:lnTo>
                    <a:pt x="279" y="94"/>
                  </a:lnTo>
                  <a:lnTo>
                    <a:pt x="280" y="95"/>
                  </a:lnTo>
                  <a:lnTo>
                    <a:pt x="282" y="95"/>
                  </a:lnTo>
                  <a:lnTo>
                    <a:pt x="283" y="94"/>
                  </a:lnTo>
                  <a:lnTo>
                    <a:pt x="284" y="94"/>
                  </a:lnTo>
                  <a:lnTo>
                    <a:pt x="285" y="93"/>
                  </a:lnTo>
                  <a:lnTo>
                    <a:pt x="285" y="91"/>
                  </a:lnTo>
                  <a:lnTo>
                    <a:pt x="286" y="91"/>
                  </a:lnTo>
                  <a:lnTo>
                    <a:pt x="288" y="91"/>
                  </a:lnTo>
                  <a:lnTo>
                    <a:pt x="289" y="91"/>
                  </a:lnTo>
                  <a:lnTo>
                    <a:pt x="289" y="90"/>
                  </a:lnTo>
                  <a:lnTo>
                    <a:pt x="288" y="90"/>
                  </a:lnTo>
                  <a:lnTo>
                    <a:pt x="285" y="91"/>
                  </a:lnTo>
                  <a:lnTo>
                    <a:pt x="285" y="90"/>
                  </a:lnTo>
                  <a:lnTo>
                    <a:pt x="286" y="89"/>
                  </a:lnTo>
                  <a:lnTo>
                    <a:pt x="285" y="90"/>
                  </a:lnTo>
                  <a:lnTo>
                    <a:pt x="284" y="93"/>
                  </a:lnTo>
                  <a:lnTo>
                    <a:pt x="283" y="93"/>
                  </a:lnTo>
                  <a:lnTo>
                    <a:pt x="282" y="93"/>
                  </a:lnTo>
                  <a:lnTo>
                    <a:pt x="282" y="90"/>
                  </a:lnTo>
                  <a:lnTo>
                    <a:pt x="282" y="89"/>
                  </a:lnTo>
                  <a:lnTo>
                    <a:pt x="284" y="88"/>
                  </a:lnTo>
                  <a:lnTo>
                    <a:pt x="284" y="87"/>
                  </a:lnTo>
                  <a:lnTo>
                    <a:pt x="285" y="85"/>
                  </a:lnTo>
                  <a:lnTo>
                    <a:pt x="286" y="84"/>
                  </a:lnTo>
                  <a:lnTo>
                    <a:pt x="285" y="83"/>
                  </a:lnTo>
                  <a:lnTo>
                    <a:pt x="278" y="76"/>
                  </a:lnTo>
                  <a:lnTo>
                    <a:pt x="273" y="65"/>
                  </a:lnTo>
                  <a:lnTo>
                    <a:pt x="272" y="65"/>
                  </a:lnTo>
                  <a:lnTo>
                    <a:pt x="273" y="69"/>
                  </a:lnTo>
                  <a:lnTo>
                    <a:pt x="273" y="72"/>
                  </a:lnTo>
                  <a:lnTo>
                    <a:pt x="273" y="71"/>
                  </a:lnTo>
                  <a:lnTo>
                    <a:pt x="272" y="70"/>
                  </a:lnTo>
                  <a:lnTo>
                    <a:pt x="272" y="72"/>
                  </a:lnTo>
                  <a:lnTo>
                    <a:pt x="273" y="72"/>
                  </a:lnTo>
                  <a:lnTo>
                    <a:pt x="273" y="75"/>
                  </a:lnTo>
                  <a:lnTo>
                    <a:pt x="272" y="77"/>
                  </a:lnTo>
                  <a:lnTo>
                    <a:pt x="272" y="78"/>
                  </a:lnTo>
                  <a:lnTo>
                    <a:pt x="271" y="76"/>
                  </a:lnTo>
                  <a:lnTo>
                    <a:pt x="271" y="73"/>
                  </a:lnTo>
                  <a:lnTo>
                    <a:pt x="269" y="73"/>
                  </a:lnTo>
                  <a:lnTo>
                    <a:pt x="269" y="75"/>
                  </a:lnTo>
                  <a:lnTo>
                    <a:pt x="268" y="73"/>
                  </a:lnTo>
                  <a:lnTo>
                    <a:pt x="268" y="72"/>
                  </a:lnTo>
                  <a:lnTo>
                    <a:pt x="267" y="70"/>
                  </a:lnTo>
                  <a:lnTo>
                    <a:pt x="266" y="71"/>
                  </a:lnTo>
                  <a:lnTo>
                    <a:pt x="265" y="71"/>
                  </a:lnTo>
                  <a:lnTo>
                    <a:pt x="263" y="73"/>
                  </a:lnTo>
                  <a:lnTo>
                    <a:pt x="262" y="73"/>
                  </a:lnTo>
                  <a:lnTo>
                    <a:pt x="262" y="71"/>
                  </a:lnTo>
                  <a:lnTo>
                    <a:pt x="263" y="69"/>
                  </a:lnTo>
                  <a:lnTo>
                    <a:pt x="261" y="71"/>
                  </a:lnTo>
                  <a:lnTo>
                    <a:pt x="260" y="72"/>
                  </a:lnTo>
                  <a:lnTo>
                    <a:pt x="260" y="69"/>
                  </a:lnTo>
                  <a:lnTo>
                    <a:pt x="260" y="67"/>
                  </a:lnTo>
                  <a:lnTo>
                    <a:pt x="260" y="66"/>
                  </a:lnTo>
                  <a:lnTo>
                    <a:pt x="260" y="65"/>
                  </a:lnTo>
                  <a:lnTo>
                    <a:pt x="261" y="64"/>
                  </a:lnTo>
                  <a:lnTo>
                    <a:pt x="263" y="64"/>
                  </a:lnTo>
                  <a:lnTo>
                    <a:pt x="263" y="63"/>
                  </a:lnTo>
                  <a:lnTo>
                    <a:pt x="266" y="60"/>
                  </a:lnTo>
                  <a:lnTo>
                    <a:pt x="266" y="59"/>
                  </a:lnTo>
                  <a:lnTo>
                    <a:pt x="265" y="60"/>
                  </a:lnTo>
                  <a:lnTo>
                    <a:pt x="263" y="61"/>
                  </a:lnTo>
                  <a:lnTo>
                    <a:pt x="263" y="59"/>
                  </a:lnTo>
                  <a:lnTo>
                    <a:pt x="262" y="59"/>
                  </a:lnTo>
                  <a:lnTo>
                    <a:pt x="261" y="59"/>
                  </a:lnTo>
                  <a:lnTo>
                    <a:pt x="260" y="59"/>
                  </a:lnTo>
                  <a:lnTo>
                    <a:pt x="259" y="59"/>
                  </a:lnTo>
                  <a:lnTo>
                    <a:pt x="257" y="59"/>
                  </a:lnTo>
                  <a:lnTo>
                    <a:pt x="259" y="58"/>
                  </a:lnTo>
                  <a:lnTo>
                    <a:pt x="257" y="58"/>
                  </a:lnTo>
                  <a:lnTo>
                    <a:pt x="255" y="57"/>
                  </a:lnTo>
                  <a:lnTo>
                    <a:pt x="255" y="55"/>
                  </a:lnTo>
                  <a:lnTo>
                    <a:pt x="256" y="55"/>
                  </a:lnTo>
                  <a:lnTo>
                    <a:pt x="257" y="54"/>
                  </a:lnTo>
                  <a:lnTo>
                    <a:pt x="257" y="53"/>
                  </a:lnTo>
                  <a:lnTo>
                    <a:pt x="259" y="52"/>
                  </a:lnTo>
                  <a:lnTo>
                    <a:pt x="260" y="53"/>
                  </a:lnTo>
                  <a:lnTo>
                    <a:pt x="261" y="53"/>
                  </a:lnTo>
                  <a:lnTo>
                    <a:pt x="260" y="52"/>
                  </a:lnTo>
                  <a:lnTo>
                    <a:pt x="260" y="51"/>
                  </a:lnTo>
                  <a:lnTo>
                    <a:pt x="260" y="49"/>
                  </a:lnTo>
                  <a:lnTo>
                    <a:pt x="260" y="52"/>
                  </a:lnTo>
                  <a:lnTo>
                    <a:pt x="257" y="49"/>
                  </a:lnTo>
                  <a:lnTo>
                    <a:pt x="257" y="47"/>
                  </a:lnTo>
                  <a:lnTo>
                    <a:pt x="255" y="47"/>
                  </a:lnTo>
                  <a:lnTo>
                    <a:pt x="255" y="45"/>
                  </a:lnTo>
                  <a:lnTo>
                    <a:pt x="255" y="42"/>
                  </a:lnTo>
                  <a:lnTo>
                    <a:pt x="256" y="42"/>
                  </a:lnTo>
                  <a:lnTo>
                    <a:pt x="255" y="41"/>
                  </a:lnTo>
                  <a:lnTo>
                    <a:pt x="256" y="39"/>
                  </a:lnTo>
                  <a:lnTo>
                    <a:pt x="255" y="41"/>
                  </a:lnTo>
                  <a:lnTo>
                    <a:pt x="254" y="42"/>
                  </a:lnTo>
                  <a:lnTo>
                    <a:pt x="254" y="45"/>
                  </a:lnTo>
                  <a:lnTo>
                    <a:pt x="253" y="43"/>
                  </a:lnTo>
                  <a:lnTo>
                    <a:pt x="253" y="42"/>
                  </a:lnTo>
                  <a:lnTo>
                    <a:pt x="253" y="41"/>
                  </a:lnTo>
                  <a:lnTo>
                    <a:pt x="251" y="40"/>
                  </a:lnTo>
                  <a:lnTo>
                    <a:pt x="250" y="40"/>
                  </a:lnTo>
                  <a:lnTo>
                    <a:pt x="250" y="42"/>
                  </a:lnTo>
                  <a:lnTo>
                    <a:pt x="250" y="45"/>
                  </a:lnTo>
                  <a:lnTo>
                    <a:pt x="249" y="45"/>
                  </a:lnTo>
                  <a:lnTo>
                    <a:pt x="249" y="46"/>
                  </a:lnTo>
                  <a:lnTo>
                    <a:pt x="249" y="47"/>
                  </a:lnTo>
                  <a:lnTo>
                    <a:pt x="248" y="47"/>
                  </a:lnTo>
                  <a:lnTo>
                    <a:pt x="248" y="48"/>
                  </a:lnTo>
                  <a:lnTo>
                    <a:pt x="247" y="48"/>
                  </a:lnTo>
                  <a:lnTo>
                    <a:pt x="247" y="47"/>
                  </a:lnTo>
                  <a:lnTo>
                    <a:pt x="247" y="45"/>
                  </a:lnTo>
                  <a:lnTo>
                    <a:pt x="245" y="45"/>
                  </a:lnTo>
                  <a:lnTo>
                    <a:pt x="244" y="45"/>
                  </a:lnTo>
                  <a:lnTo>
                    <a:pt x="242" y="46"/>
                  </a:lnTo>
                  <a:lnTo>
                    <a:pt x="242" y="48"/>
                  </a:lnTo>
                  <a:lnTo>
                    <a:pt x="241" y="48"/>
                  </a:lnTo>
                  <a:lnTo>
                    <a:pt x="241" y="46"/>
                  </a:lnTo>
                  <a:lnTo>
                    <a:pt x="242" y="43"/>
                  </a:lnTo>
                  <a:lnTo>
                    <a:pt x="242" y="42"/>
                  </a:lnTo>
                  <a:lnTo>
                    <a:pt x="242" y="41"/>
                  </a:lnTo>
                  <a:lnTo>
                    <a:pt x="241" y="41"/>
                  </a:lnTo>
                  <a:lnTo>
                    <a:pt x="241" y="40"/>
                  </a:lnTo>
                  <a:lnTo>
                    <a:pt x="242" y="37"/>
                  </a:lnTo>
                  <a:lnTo>
                    <a:pt x="242" y="36"/>
                  </a:lnTo>
                  <a:lnTo>
                    <a:pt x="243" y="35"/>
                  </a:lnTo>
                  <a:lnTo>
                    <a:pt x="244" y="34"/>
                  </a:lnTo>
                  <a:lnTo>
                    <a:pt x="244" y="32"/>
                  </a:lnTo>
                  <a:lnTo>
                    <a:pt x="244" y="30"/>
                  </a:lnTo>
                  <a:lnTo>
                    <a:pt x="243" y="32"/>
                  </a:lnTo>
                  <a:lnTo>
                    <a:pt x="243" y="31"/>
                  </a:lnTo>
                  <a:lnTo>
                    <a:pt x="241" y="32"/>
                  </a:lnTo>
                  <a:lnTo>
                    <a:pt x="239" y="32"/>
                  </a:lnTo>
                  <a:lnTo>
                    <a:pt x="236" y="32"/>
                  </a:lnTo>
                  <a:lnTo>
                    <a:pt x="235" y="34"/>
                  </a:lnTo>
                  <a:lnTo>
                    <a:pt x="233" y="39"/>
                  </a:lnTo>
                  <a:lnTo>
                    <a:pt x="231" y="40"/>
                  </a:lnTo>
                  <a:lnTo>
                    <a:pt x="230" y="41"/>
                  </a:lnTo>
                  <a:lnTo>
                    <a:pt x="229" y="40"/>
                  </a:lnTo>
                  <a:lnTo>
                    <a:pt x="230" y="36"/>
                  </a:lnTo>
                  <a:lnTo>
                    <a:pt x="231" y="34"/>
                  </a:lnTo>
                  <a:lnTo>
                    <a:pt x="230" y="32"/>
                  </a:lnTo>
                  <a:lnTo>
                    <a:pt x="231" y="31"/>
                  </a:lnTo>
                  <a:lnTo>
                    <a:pt x="232" y="30"/>
                  </a:lnTo>
                  <a:lnTo>
                    <a:pt x="235" y="31"/>
                  </a:lnTo>
                  <a:lnTo>
                    <a:pt x="237" y="30"/>
                  </a:lnTo>
                  <a:lnTo>
                    <a:pt x="239" y="29"/>
                  </a:lnTo>
                  <a:lnTo>
                    <a:pt x="242" y="28"/>
                  </a:lnTo>
                  <a:lnTo>
                    <a:pt x="242" y="26"/>
                  </a:lnTo>
                  <a:lnTo>
                    <a:pt x="241" y="25"/>
                  </a:lnTo>
                  <a:lnTo>
                    <a:pt x="241" y="23"/>
                  </a:lnTo>
                  <a:lnTo>
                    <a:pt x="239" y="23"/>
                  </a:lnTo>
                  <a:lnTo>
                    <a:pt x="241" y="20"/>
                  </a:lnTo>
                  <a:lnTo>
                    <a:pt x="239" y="20"/>
                  </a:lnTo>
                  <a:lnTo>
                    <a:pt x="237" y="24"/>
                  </a:lnTo>
                  <a:lnTo>
                    <a:pt x="236" y="25"/>
                  </a:lnTo>
                  <a:lnTo>
                    <a:pt x="236" y="23"/>
                  </a:lnTo>
                  <a:lnTo>
                    <a:pt x="235" y="18"/>
                  </a:lnTo>
                  <a:lnTo>
                    <a:pt x="236" y="17"/>
                  </a:lnTo>
                  <a:lnTo>
                    <a:pt x="235" y="18"/>
                  </a:lnTo>
                  <a:lnTo>
                    <a:pt x="236" y="14"/>
                  </a:lnTo>
                  <a:lnTo>
                    <a:pt x="238" y="13"/>
                  </a:lnTo>
                  <a:lnTo>
                    <a:pt x="239" y="12"/>
                  </a:lnTo>
                  <a:lnTo>
                    <a:pt x="241" y="11"/>
                  </a:lnTo>
                  <a:lnTo>
                    <a:pt x="243" y="10"/>
                  </a:lnTo>
                  <a:lnTo>
                    <a:pt x="243" y="7"/>
                  </a:lnTo>
                  <a:lnTo>
                    <a:pt x="239" y="6"/>
                  </a:lnTo>
                  <a:lnTo>
                    <a:pt x="237" y="6"/>
                  </a:lnTo>
                  <a:lnTo>
                    <a:pt x="239" y="6"/>
                  </a:lnTo>
                  <a:lnTo>
                    <a:pt x="241" y="5"/>
                  </a:lnTo>
                  <a:lnTo>
                    <a:pt x="243" y="4"/>
                  </a:lnTo>
                  <a:lnTo>
                    <a:pt x="243" y="2"/>
                  </a:lnTo>
                  <a:lnTo>
                    <a:pt x="243" y="1"/>
                  </a:lnTo>
                  <a:lnTo>
                    <a:pt x="244" y="0"/>
                  </a:lnTo>
                  <a:lnTo>
                    <a:pt x="247" y="0"/>
                  </a:lnTo>
                  <a:lnTo>
                    <a:pt x="248" y="0"/>
                  </a:lnTo>
                  <a:lnTo>
                    <a:pt x="248" y="1"/>
                  </a:lnTo>
                  <a:lnTo>
                    <a:pt x="249" y="1"/>
                  </a:lnTo>
                  <a:lnTo>
                    <a:pt x="249" y="2"/>
                  </a:lnTo>
                  <a:lnTo>
                    <a:pt x="250" y="1"/>
                  </a:lnTo>
                  <a:lnTo>
                    <a:pt x="251" y="1"/>
                  </a:lnTo>
                  <a:lnTo>
                    <a:pt x="253" y="1"/>
                  </a:lnTo>
                  <a:lnTo>
                    <a:pt x="254" y="0"/>
                  </a:lnTo>
                  <a:lnTo>
                    <a:pt x="253" y="4"/>
                  </a:lnTo>
                  <a:lnTo>
                    <a:pt x="251" y="8"/>
                  </a:lnTo>
                  <a:lnTo>
                    <a:pt x="251" y="10"/>
                  </a:lnTo>
                  <a:lnTo>
                    <a:pt x="253" y="7"/>
                  </a:lnTo>
                  <a:lnTo>
                    <a:pt x="254" y="11"/>
                  </a:lnTo>
                  <a:lnTo>
                    <a:pt x="254" y="13"/>
                  </a:lnTo>
                  <a:lnTo>
                    <a:pt x="255" y="16"/>
                  </a:lnTo>
                  <a:lnTo>
                    <a:pt x="255" y="14"/>
                  </a:lnTo>
                  <a:lnTo>
                    <a:pt x="256" y="16"/>
                  </a:lnTo>
                  <a:lnTo>
                    <a:pt x="256" y="14"/>
                  </a:lnTo>
                  <a:lnTo>
                    <a:pt x="256" y="12"/>
                  </a:lnTo>
                  <a:lnTo>
                    <a:pt x="259" y="11"/>
                  </a:lnTo>
                  <a:lnTo>
                    <a:pt x="261" y="12"/>
                  </a:lnTo>
                  <a:lnTo>
                    <a:pt x="262" y="14"/>
                  </a:lnTo>
                  <a:lnTo>
                    <a:pt x="262" y="16"/>
                  </a:lnTo>
                  <a:lnTo>
                    <a:pt x="262" y="17"/>
                  </a:lnTo>
                  <a:lnTo>
                    <a:pt x="261" y="17"/>
                  </a:lnTo>
                  <a:lnTo>
                    <a:pt x="260" y="17"/>
                  </a:lnTo>
                  <a:lnTo>
                    <a:pt x="259" y="17"/>
                  </a:lnTo>
                  <a:lnTo>
                    <a:pt x="259" y="16"/>
                  </a:lnTo>
                  <a:lnTo>
                    <a:pt x="259" y="17"/>
                  </a:lnTo>
                  <a:lnTo>
                    <a:pt x="259" y="19"/>
                  </a:lnTo>
                  <a:lnTo>
                    <a:pt x="260" y="20"/>
                  </a:lnTo>
                  <a:lnTo>
                    <a:pt x="261" y="22"/>
                  </a:lnTo>
                  <a:lnTo>
                    <a:pt x="262" y="23"/>
                  </a:lnTo>
                  <a:lnTo>
                    <a:pt x="262" y="25"/>
                  </a:lnTo>
                  <a:lnTo>
                    <a:pt x="265" y="25"/>
                  </a:lnTo>
                  <a:lnTo>
                    <a:pt x="266" y="26"/>
                  </a:lnTo>
                  <a:lnTo>
                    <a:pt x="266" y="25"/>
                  </a:lnTo>
                  <a:lnTo>
                    <a:pt x="267" y="24"/>
                  </a:lnTo>
                  <a:lnTo>
                    <a:pt x="267" y="25"/>
                  </a:lnTo>
                  <a:lnTo>
                    <a:pt x="269" y="25"/>
                  </a:lnTo>
                  <a:lnTo>
                    <a:pt x="271" y="25"/>
                  </a:lnTo>
                  <a:lnTo>
                    <a:pt x="269" y="23"/>
                  </a:lnTo>
                  <a:lnTo>
                    <a:pt x="269" y="20"/>
                  </a:lnTo>
                  <a:lnTo>
                    <a:pt x="271" y="19"/>
                  </a:lnTo>
                  <a:lnTo>
                    <a:pt x="272" y="19"/>
                  </a:lnTo>
                  <a:lnTo>
                    <a:pt x="272" y="18"/>
                  </a:lnTo>
                  <a:lnTo>
                    <a:pt x="274" y="18"/>
                  </a:lnTo>
                  <a:lnTo>
                    <a:pt x="275" y="19"/>
                  </a:lnTo>
                  <a:lnTo>
                    <a:pt x="277" y="20"/>
                  </a:lnTo>
                  <a:lnTo>
                    <a:pt x="278" y="20"/>
                  </a:lnTo>
                  <a:lnTo>
                    <a:pt x="280" y="19"/>
                  </a:lnTo>
                  <a:lnTo>
                    <a:pt x="279" y="20"/>
                  </a:lnTo>
                  <a:lnTo>
                    <a:pt x="278" y="23"/>
                  </a:lnTo>
                  <a:lnTo>
                    <a:pt x="277" y="22"/>
                  </a:lnTo>
                  <a:lnTo>
                    <a:pt x="275" y="22"/>
                  </a:lnTo>
                  <a:lnTo>
                    <a:pt x="273" y="25"/>
                  </a:lnTo>
                  <a:lnTo>
                    <a:pt x="275" y="25"/>
                  </a:lnTo>
                  <a:lnTo>
                    <a:pt x="278" y="26"/>
                  </a:lnTo>
                  <a:lnTo>
                    <a:pt x="280" y="28"/>
                  </a:lnTo>
                  <a:lnTo>
                    <a:pt x="279" y="29"/>
                  </a:lnTo>
                  <a:lnTo>
                    <a:pt x="279" y="31"/>
                  </a:lnTo>
                  <a:lnTo>
                    <a:pt x="278" y="30"/>
                  </a:lnTo>
                  <a:lnTo>
                    <a:pt x="277" y="26"/>
                  </a:lnTo>
                  <a:lnTo>
                    <a:pt x="274" y="26"/>
                  </a:lnTo>
                  <a:lnTo>
                    <a:pt x="272" y="26"/>
                  </a:lnTo>
                  <a:lnTo>
                    <a:pt x="272" y="29"/>
                  </a:lnTo>
                  <a:lnTo>
                    <a:pt x="271" y="30"/>
                  </a:lnTo>
                  <a:lnTo>
                    <a:pt x="272" y="34"/>
                  </a:lnTo>
                  <a:lnTo>
                    <a:pt x="273" y="34"/>
                  </a:lnTo>
                  <a:lnTo>
                    <a:pt x="275" y="35"/>
                  </a:lnTo>
                  <a:lnTo>
                    <a:pt x="277" y="36"/>
                  </a:lnTo>
                  <a:lnTo>
                    <a:pt x="277" y="37"/>
                  </a:lnTo>
                  <a:lnTo>
                    <a:pt x="278" y="39"/>
                  </a:lnTo>
                  <a:lnTo>
                    <a:pt x="278" y="42"/>
                  </a:lnTo>
                  <a:lnTo>
                    <a:pt x="278" y="43"/>
                  </a:lnTo>
                  <a:lnTo>
                    <a:pt x="279" y="45"/>
                  </a:lnTo>
                  <a:lnTo>
                    <a:pt x="278" y="47"/>
                  </a:lnTo>
                  <a:lnTo>
                    <a:pt x="278" y="48"/>
                  </a:lnTo>
                  <a:lnTo>
                    <a:pt x="279" y="51"/>
                  </a:lnTo>
                  <a:lnTo>
                    <a:pt x="280" y="49"/>
                  </a:lnTo>
                  <a:lnTo>
                    <a:pt x="282" y="48"/>
                  </a:lnTo>
                  <a:lnTo>
                    <a:pt x="284" y="48"/>
                  </a:lnTo>
                  <a:lnTo>
                    <a:pt x="284" y="47"/>
                  </a:lnTo>
                  <a:lnTo>
                    <a:pt x="286" y="47"/>
                  </a:lnTo>
                  <a:lnTo>
                    <a:pt x="286" y="46"/>
                  </a:lnTo>
                  <a:lnTo>
                    <a:pt x="288" y="46"/>
                  </a:lnTo>
                  <a:lnTo>
                    <a:pt x="289" y="46"/>
                  </a:lnTo>
                  <a:lnTo>
                    <a:pt x="290" y="46"/>
                  </a:lnTo>
                  <a:lnTo>
                    <a:pt x="289" y="47"/>
                  </a:lnTo>
                  <a:lnTo>
                    <a:pt x="290" y="47"/>
                  </a:lnTo>
                  <a:lnTo>
                    <a:pt x="291" y="47"/>
                  </a:lnTo>
                  <a:lnTo>
                    <a:pt x="292" y="47"/>
                  </a:lnTo>
                  <a:lnTo>
                    <a:pt x="294" y="47"/>
                  </a:lnTo>
                  <a:lnTo>
                    <a:pt x="295" y="47"/>
                  </a:lnTo>
                  <a:lnTo>
                    <a:pt x="296" y="45"/>
                  </a:lnTo>
                  <a:lnTo>
                    <a:pt x="297" y="46"/>
                  </a:lnTo>
                  <a:lnTo>
                    <a:pt x="297" y="47"/>
                  </a:lnTo>
                  <a:lnTo>
                    <a:pt x="298" y="47"/>
                  </a:lnTo>
                  <a:lnTo>
                    <a:pt x="301" y="47"/>
                  </a:lnTo>
                  <a:lnTo>
                    <a:pt x="300" y="48"/>
                  </a:lnTo>
                  <a:lnTo>
                    <a:pt x="302" y="48"/>
                  </a:lnTo>
                  <a:lnTo>
                    <a:pt x="303" y="49"/>
                  </a:lnTo>
                  <a:lnTo>
                    <a:pt x="304" y="48"/>
                  </a:lnTo>
                  <a:lnTo>
                    <a:pt x="306" y="48"/>
                  </a:lnTo>
                  <a:lnTo>
                    <a:pt x="307" y="47"/>
                  </a:lnTo>
                  <a:lnTo>
                    <a:pt x="308" y="46"/>
                  </a:lnTo>
                  <a:lnTo>
                    <a:pt x="309" y="47"/>
                  </a:lnTo>
                  <a:lnTo>
                    <a:pt x="310" y="47"/>
                  </a:lnTo>
                  <a:lnTo>
                    <a:pt x="310" y="49"/>
                  </a:lnTo>
                  <a:lnTo>
                    <a:pt x="312" y="48"/>
                  </a:lnTo>
                  <a:lnTo>
                    <a:pt x="312" y="46"/>
                  </a:lnTo>
                  <a:lnTo>
                    <a:pt x="312" y="45"/>
                  </a:lnTo>
                  <a:lnTo>
                    <a:pt x="313" y="43"/>
                  </a:lnTo>
                  <a:lnTo>
                    <a:pt x="313" y="42"/>
                  </a:lnTo>
                  <a:lnTo>
                    <a:pt x="315" y="41"/>
                  </a:lnTo>
                  <a:lnTo>
                    <a:pt x="316" y="42"/>
                  </a:lnTo>
                  <a:lnTo>
                    <a:pt x="318" y="42"/>
                  </a:lnTo>
                  <a:lnTo>
                    <a:pt x="319" y="42"/>
                  </a:lnTo>
                  <a:lnTo>
                    <a:pt x="319" y="43"/>
                  </a:lnTo>
                  <a:lnTo>
                    <a:pt x="319" y="39"/>
                  </a:lnTo>
                  <a:lnTo>
                    <a:pt x="318" y="37"/>
                  </a:lnTo>
                  <a:lnTo>
                    <a:pt x="316" y="36"/>
                  </a:lnTo>
                  <a:lnTo>
                    <a:pt x="316" y="35"/>
                  </a:lnTo>
                  <a:lnTo>
                    <a:pt x="316" y="34"/>
                  </a:lnTo>
                  <a:lnTo>
                    <a:pt x="318" y="34"/>
                  </a:lnTo>
                  <a:lnTo>
                    <a:pt x="319" y="32"/>
                  </a:lnTo>
                  <a:lnTo>
                    <a:pt x="320" y="32"/>
                  </a:lnTo>
                  <a:lnTo>
                    <a:pt x="321" y="32"/>
                  </a:lnTo>
                  <a:lnTo>
                    <a:pt x="322" y="32"/>
                  </a:lnTo>
                  <a:lnTo>
                    <a:pt x="321" y="35"/>
                  </a:lnTo>
                  <a:lnTo>
                    <a:pt x="322" y="35"/>
                  </a:lnTo>
                  <a:lnTo>
                    <a:pt x="325" y="35"/>
                  </a:lnTo>
                  <a:lnTo>
                    <a:pt x="327" y="35"/>
                  </a:lnTo>
                  <a:lnTo>
                    <a:pt x="326" y="36"/>
                  </a:lnTo>
                  <a:lnTo>
                    <a:pt x="324" y="39"/>
                  </a:lnTo>
                  <a:lnTo>
                    <a:pt x="322" y="39"/>
                  </a:lnTo>
                  <a:lnTo>
                    <a:pt x="322" y="40"/>
                  </a:lnTo>
                  <a:lnTo>
                    <a:pt x="324" y="39"/>
                  </a:lnTo>
                  <a:lnTo>
                    <a:pt x="325" y="39"/>
                  </a:lnTo>
                  <a:lnTo>
                    <a:pt x="324" y="40"/>
                  </a:lnTo>
                  <a:lnTo>
                    <a:pt x="325" y="41"/>
                  </a:lnTo>
                  <a:lnTo>
                    <a:pt x="324" y="42"/>
                  </a:lnTo>
                  <a:lnTo>
                    <a:pt x="322" y="42"/>
                  </a:lnTo>
                  <a:lnTo>
                    <a:pt x="324" y="43"/>
                  </a:lnTo>
                  <a:lnTo>
                    <a:pt x="326" y="42"/>
                  </a:lnTo>
                  <a:lnTo>
                    <a:pt x="328" y="42"/>
                  </a:lnTo>
                  <a:lnTo>
                    <a:pt x="330" y="42"/>
                  </a:lnTo>
                  <a:lnTo>
                    <a:pt x="327" y="45"/>
                  </a:lnTo>
                  <a:lnTo>
                    <a:pt x="325" y="46"/>
                  </a:lnTo>
                  <a:lnTo>
                    <a:pt x="324" y="47"/>
                  </a:lnTo>
                  <a:lnTo>
                    <a:pt x="322" y="49"/>
                  </a:lnTo>
                  <a:lnTo>
                    <a:pt x="325" y="49"/>
                  </a:lnTo>
                  <a:lnTo>
                    <a:pt x="326" y="49"/>
                  </a:lnTo>
                  <a:lnTo>
                    <a:pt x="327" y="48"/>
                  </a:lnTo>
                  <a:lnTo>
                    <a:pt x="328" y="48"/>
                  </a:lnTo>
                  <a:lnTo>
                    <a:pt x="331" y="48"/>
                  </a:lnTo>
                  <a:lnTo>
                    <a:pt x="330" y="49"/>
                  </a:lnTo>
                  <a:lnTo>
                    <a:pt x="330" y="52"/>
                  </a:lnTo>
                  <a:lnTo>
                    <a:pt x="331" y="53"/>
                  </a:lnTo>
                  <a:lnTo>
                    <a:pt x="332" y="54"/>
                  </a:lnTo>
                  <a:lnTo>
                    <a:pt x="330" y="55"/>
                  </a:lnTo>
                  <a:lnTo>
                    <a:pt x="330" y="57"/>
                  </a:lnTo>
                  <a:lnTo>
                    <a:pt x="330" y="59"/>
                  </a:lnTo>
                  <a:lnTo>
                    <a:pt x="330" y="60"/>
                  </a:lnTo>
                  <a:lnTo>
                    <a:pt x="328" y="59"/>
                  </a:lnTo>
                  <a:lnTo>
                    <a:pt x="328" y="60"/>
                  </a:lnTo>
                  <a:lnTo>
                    <a:pt x="328" y="63"/>
                  </a:lnTo>
                  <a:lnTo>
                    <a:pt x="327" y="64"/>
                  </a:lnTo>
                  <a:lnTo>
                    <a:pt x="327" y="66"/>
                  </a:lnTo>
                  <a:lnTo>
                    <a:pt x="326" y="66"/>
                  </a:lnTo>
                  <a:lnTo>
                    <a:pt x="325" y="69"/>
                  </a:lnTo>
                  <a:lnTo>
                    <a:pt x="324" y="69"/>
                  </a:lnTo>
                  <a:lnTo>
                    <a:pt x="322" y="70"/>
                  </a:lnTo>
                  <a:lnTo>
                    <a:pt x="321" y="71"/>
                  </a:lnTo>
                  <a:lnTo>
                    <a:pt x="320" y="70"/>
                  </a:lnTo>
                  <a:lnTo>
                    <a:pt x="320" y="69"/>
                  </a:lnTo>
                  <a:lnTo>
                    <a:pt x="319" y="67"/>
                  </a:lnTo>
                  <a:lnTo>
                    <a:pt x="319" y="70"/>
                  </a:lnTo>
                  <a:lnTo>
                    <a:pt x="318" y="72"/>
                  </a:lnTo>
                  <a:lnTo>
                    <a:pt x="318" y="69"/>
                  </a:lnTo>
                  <a:lnTo>
                    <a:pt x="316" y="71"/>
                  </a:lnTo>
                  <a:lnTo>
                    <a:pt x="316" y="69"/>
                  </a:lnTo>
                  <a:lnTo>
                    <a:pt x="315" y="70"/>
                  </a:lnTo>
                  <a:lnTo>
                    <a:pt x="315" y="72"/>
                  </a:lnTo>
                  <a:lnTo>
                    <a:pt x="316" y="72"/>
                  </a:lnTo>
                  <a:lnTo>
                    <a:pt x="314" y="73"/>
                  </a:lnTo>
                  <a:lnTo>
                    <a:pt x="312" y="73"/>
                  </a:lnTo>
                  <a:lnTo>
                    <a:pt x="310" y="76"/>
                  </a:lnTo>
                  <a:lnTo>
                    <a:pt x="313" y="77"/>
                  </a:lnTo>
                  <a:lnTo>
                    <a:pt x="314" y="77"/>
                  </a:lnTo>
                  <a:lnTo>
                    <a:pt x="314" y="78"/>
                  </a:lnTo>
                  <a:lnTo>
                    <a:pt x="313" y="79"/>
                  </a:lnTo>
                  <a:lnTo>
                    <a:pt x="312" y="78"/>
                  </a:lnTo>
                  <a:lnTo>
                    <a:pt x="312" y="77"/>
                  </a:lnTo>
                  <a:lnTo>
                    <a:pt x="310" y="77"/>
                  </a:lnTo>
                  <a:lnTo>
                    <a:pt x="310" y="79"/>
                  </a:lnTo>
                  <a:lnTo>
                    <a:pt x="313" y="81"/>
                  </a:lnTo>
                  <a:lnTo>
                    <a:pt x="314" y="83"/>
                  </a:lnTo>
                  <a:lnTo>
                    <a:pt x="316" y="82"/>
                  </a:lnTo>
                  <a:lnTo>
                    <a:pt x="320" y="79"/>
                  </a:lnTo>
                  <a:lnTo>
                    <a:pt x="319" y="78"/>
                  </a:lnTo>
                  <a:lnTo>
                    <a:pt x="319" y="76"/>
                  </a:lnTo>
                  <a:lnTo>
                    <a:pt x="320" y="75"/>
                  </a:lnTo>
                  <a:lnTo>
                    <a:pt x="322" y="73"/>
                  </a:lnTo>
                  <a:lnTo>
                    <a:pt x="322" y="75"/>
                  </a:lnTo>
                  <a:lnTo>
                    <a:pt x="324" y="75"/>
                  </a:lnTo>
                  <a:lnTo>
                    <a:pt x="325" y="73"/>
                  </a:lnTo>
                  <a:lnTo>
                    <a:pt x="326" y="73"/>
                  </a:lnTo>
                  <a:lnTo>
                    <a:pt x="327" y="73"/>
                  </a:lnTo>
                  <a:lnTo>
                    <a:pt x="327" y="75"/>
                  </a:lnTo>
                  <a:lnTo>
                    <a:pt x="326" y="76"/>
                  </a:lnTo>
                  <a:lnTo>
                    <a:pt x="327" y="76"/>
                  </a:lnTo>
                  <a:lnTo>
                    <a:pt x="326" y="77"/>
                  </a:lnTo>
                  <a:lnTo>
                    <a:pt x="327" y="77"/>
                  </a:lnTo>
                  <a:lnTo>
                    <a:pt x="327" y="78"/>
                  </a:lnTo>
                  <a:lnTo>
                    <a:pt x="328" y="78"/>
                  </a:lnTo>
                  <a:lnTo>
                    <a:pt x="328" y="77"/>
                  </a:lnTo>
                  <a:lnTo>
                    <a:pt x="327" y="76"/>
                  </a:lnTo>
                  <a:lnTo>
                    <a:pt x="328" y="73"/>
                  </a:lnTo>
                  <a:lnTo>
                    <a:pt x="330" y="75"/>
                  </a:lnTo>
                  <a:lnTo>
                    <a:pt x="331" y="73"/>
                  </a:lnTo>
                  <a:lnTo>
                    <a:pt x="332" y="73"/>
                  </a:lnTo>
                  <a:lnTo>
                    <a:pt x="333" y="75"/>
                  </a:lnTo>
                  <a:lnTo>
                    <a:pt x="334" y="76"/>
                  </a:lnTo>
                  <a:lnTo>
                    <a:pt x="334" y="77"/>
                  </a:lnTo>
                  <a:lnTo>
                    <a:pt x="332" y="78"/>
                  </a:lnTo>
                  <a:lnTo>
                    <a:pt x="332" y="77"/>
                  </a:lnTo>
                  <a:lnTo>
                    <a:pt x="331" y="77"/>
                  </a:lnTo>
                  <a:lnTo>
                    <a:pt x="326" y="81"/>
                  </a:lnTo>
                  <a:lnTo>
                    <a:pt x="327" y="82"/>
                  </a:lnTo>
                  <a:lnTo>
                    <a:pt x="328" y="82"/>
                  </a:lnTo>
                  <a:lnTo>
                    <a:pt x="328" y="83"/>
                  </a:lnTo>
                  <a:lnTo>
                    <a:pt x="331" y="84"/>
                  </a:lnTo>
                  <a:lnTo>
                    <a:pt x="332" y="85"/>
                  </a:lnTo>
                  <a:lnTo>
                    <a:pt x="332" y="87"/>
                  </a:lnTo>
                  <a:lnTo>
                    <a:pt x="333" y="85"/>
                  </a:lnTo>
                  <a:lnTo>
                    <a:pt x="334" y="87"/>
                  </a:lnTo>
                  <a:lnTo>
                    <a:pt x="336" y="85"/>
                  </a:lnTo>
                  <a:lnTo>
                    <a:pt x="334" y="88"/>
                  </a:lnTo>
                  <a:lnTo>
                    <a:pt x="333" y="89"/>
                  </a:lnTo>
                  <a:lnTo>
                    <a:pt x="333" y="90"/>
                  </a:lnTo>
                  <a:lnTo>
                    <a:pt x="334" y="91"/>
                  </a:lnTo>
                  <a:lnTo>
                    <a:pt x="336" y="91"/>
                  </a:lnTo>
                  <a:lnTo>
                    <a:pt x="337" y="91"/>
                  </a:lnTo>
                  <a:lnTo>
                    <a:pt x="338" y="90"/>
                  </a:lnTo>
                  <a:lnTo>
                    <a:pt x="338" y="88"/>
                  </a:lnTo>
                  <a:lnTo>
                    <a:pt x="339" y="87"/>
                  </a:lnTo>
                  <a:lnTo>
                    <a:pt x="338" y="87"/>
                  </a:lnTo>
                  <a:lnTo>
                    <a:pt x="338" y="84"/>
                  </a:lnTo>
                  <a:lnTo>
                    <a:pt x="339" y="83"/>
                  </a:lnTo>
                  <a:lnTo>
                    <a:pt x="341" y="82"/>
                  </a:lnTo>
                  <a:lnTo>
                    <a:pt x="342" y="82"/>
                  </a:lnTo>
                  <a:lnTo>
                    <a:pt x="343" y="82"/>
                  </a:lnTo>
                  <a:lnTo>
                    <a:pt x="344" y="82"/>
                  </a:lnTo>
                  <a:lnTo>
                    <a:pt x="345" y="82"/>
                  </a:lnTo>
                  <a:lnTo>
                    <a:pt x="345" y="83"/>
                  </a:lnTo>
                  <a:lnTo>
                    <a:pt x="345" y="84"/>
                  </a:lnTo>
                  <a:lnTo>
                    <a:pt x="345" y="87"/>
                  </a:lnTo>
                  <a:lnTo>
                    <a:pt x="343" y="87"/>
                  </a:lnTo>
                  <a:lnTo>
                    <a:pt x="344" y="88"/>
                  </a:lnTo>
                  <a:lnTo>
                    <a:pt x="343" y="89"/>
                  </a:lnTo>
                  <a:lnTo>
                    <a:pt x="343" y="90"/>
                  </a:lnTo>
                  <a:lnTo>
                    <a:pt x="344" y="91"/>
                  </a:lnTo>
                  <a:lnTo>
                    <a:pt x="344" y="90"/>
                  </a:lnTo>
                  <a:lnTo>
                    <a:pt x="345" y="90"/>
                  </a:lnTo>
                  <a:lnTo>
                    <a:pt x="345" y="89"/>
                  </a:lnTo>
                  <a:lnTo>
                    <a:pt x="347" y="89"/>
                  </a:lnTo>
                  <a:lnTo>
                    <a:pt x="347" y="90"/>
                  </a:lnTo>
                  <a:lnTo>
                    <a:pt x="348" y="90"/>
                  </a:lnTo>
                  <a:lnTo>
                    <a:pt x="349" y="89"/>
                  </a:lnTo>
                  <a:lnTo>
                    <a:pt x="350" y="88"/>
                  </a:lnTo>
                  <a:lnTo>
                    <a:pt x="351" y="87"/>
                  </a:lnTo>
                  <a:lnTo>
                    <a:pt x="353" y="87"/>
                  </a:lnTo>
                  <a:lnTo>
                    <a:pt x="351" y="85"/>
                  </a:lnTo>
                  <a:lnTo>
                    <a:pt x="353" y="84"/>
                  </a:lnTo>
                  <a:lnTo>
                    <a:pt x="354" y="84"/>
                  </a:lnTo>
                  <a:lnTo>
                    <a:pt x="353" y="85"/>
                  </a:lnTo>
                  <a:lnTo>
                    <a:pt x="355" y="85"/>
                  </a:lnTo>
                  <a:lnTo>
                    <a:pt x="354" y="84"/>
                  </a:lnTo>
                  <a:lnTo>
                    <a:pt x="351" y="82"/>
                  </a:lnTo>
                  <a:lnTo>
                    <a:pt x="349" y="82"/>
                  </a:lnTo>
                  <a:lnTo>
                    <a:pt x="347" y="82"/>
                  </a:lnTo>
                  <a:lnTo>
                    <a:pt x="347" y="81"/>
                  </a:lnTo>
                  <a:lnTo>
                    <a:pt x="348" y="81"/>
                  </a:lnTo>
                  <a:lnTo>
                    <a:pt x="349" y="81"/>
                  </a:lnTo>
                  <a:lnTo>
                    <a:pt x="349" y="79"/>
                  </a:lnTo>
                  <a:lnTo>
                    <a:pt x="349" y="81"/>
                  </a:lnTo>
                  <a:lnTo>
                    <a:pt x="350" y="79"/>
                  </a:lnTo>
                  <a:lnTo>
                    <a:pt x="351" y="79"/>
                  </a:lnTo>
                  <a:lnTo>
                    <a:pt x="351" y="81"/>
                  </a:lnTo>
                  <a:lnTo>
                    <a:pt x="353" y="82"/>
                  </a:lnTo>
                  <a:lnTo>
                    <a:pt x="355" y="84"/>
                  </a:lnTo>
                  <a:lnTo>
                    <a:pt x="356" y="84"/>
                  </a:lnTo>
                  <a:lnTo>
                    <a:pt x="357" y="83"/>
                  </a:lnTo>
                  <a:lnTo>
                    <a:pt x="357" y="82"/>
                  </a:lnTo>
                  <a:lnTo>
                    <a:pt x="359" y="82"/>
                  </a:lnTo>
                  <a:lnTo>
                    <a:pt x="360" y="83"/>
                  </a:lnTo>
                  <a:lnTo>
                    <a:pt x="360" y="84"/>
                  </a:lnTo>
                  <a:lnTo>
                    <a:pt x="361" y="85"/>
                  </a:lnTo>
                  <a:lnTo>
                    <a:pt x="361" y="84"/>
                  </a:lnTo>
                  <a:lnTo>
                    <a:pt x="362" y="83"/>
                  </a:lnTo>
                  <a:lnTo>
                    <a:pt x="363" y="83"/>
                  </a:lnTo>
                  <a:lnTo>
                    <a:pt x="365" y="83"/>
                  </a:lnTo>
                  <a:lnTo>
                    <a:pt x="365" y="81"/>
                  </a:lnTo>
                  <a:lnTo>
                    <a:pt x="361" y="79"/>
                  </a:lnTo>
                  <a:lnTo>
                    <a:pt x="356" y="78"/>
                  </a:lnTo>
                  <a:lnTo>
                    <a:pt x="357" y="77"/>
                  </a:lnTo>
                  <a:lnTo>
                    <a:pt x="359" y="76"/>
                  </a:lnTo>
                  <a:lnTo>
                    <a:pt x="360" y="76"/>
                  </a:lnTo>
                  <a:lnTo>
                    <a:pt x="361" y="76"/>
                  </a:lnTo>
                  <a:lnTo>
                    <a:pt x="362" y="76"/>
                  </a:lnTo>
                  <a:lnTo>
                    <a:pt x="363" y="75"/>
                  </a:lnTo>
                  <a:lnTo>
                    <a:pt x="365" y="76"/>
                  </a:lnTo>
                  <a:lnTo>
                    <a:pt x="365" y="77"/>
                  </a:lnTo>
                  <a:lnTo>
                    <a:pt x="366" y="81"/>
                  </a:lnTo>
                  <a:lnTo>
                    <a:pt x="367" y="82"/>
                  </a:lnTo>
                  <a:lnTo>
                    <a:pt x="368" y="81"/>
                  </a:lnTo>
                  <a:lnTo>
                    <a:pt x="369" y="79"/>
                  </a:lnTo>
                  <a:lnTo>
                    <a:pt x="371" y="77"/>
                  </a:lnTo>
                  <a:lnTo>
                    <a:pt x="371" y="76"/>
                  </a:lnTo>
                  <a:lnTo>
                    <a:pt x="372" y="75"/>
                  </a:lnTo>
                  <a:lnTo>
                    <a:pt x="373" y="76"/>
                  </a:lnTo>
                  <a:lnTo>
                    <a:pt x="373" y="77"/>
                  </a:lnTo>
                  <a:lnTo>
                    <a:pt x="374" y="78"/>
                  </a:lnTo>
                  <a:lnTo>
                    <a:pt x="375" y="77"/>
                  </a:lnTo>
                  <a:lnTo>
                    <a:pt x="377" y="77"/>
                  </a:lnTo>
                  <a:lnTo>
                    <a:pt x="378" y="78"/>
                  </a:lnTo>
                  <a:lnTo>
                    <a:pt x="379" y="79"/>
                  </a:lnTo>
                  <a:lnTo>
                    <a:pt x="377" y="81"/>
                  </a:lnTo>
                  <a:lnTo>
                    <a:pt x="375" y="81"/>
                  </a:lnTo>
                  <a:lnTo>
                    <a:pt x="374" y="81"/>
                  </a:lnTo>
                  <a:lnTo>
                    <a:pt x="373" y="81"/>
                  </a:lnTo>
                  <a:lnTo>
                    <a:pt x="373" y="82"/>
                  </a:lnTo>
                  <a:lnTo>
                    <a:pt x="372" y="82"/>
                  </a:lnTo>
                  <a:lnTo>
                    <a:pt x="373" y="83"/>
                  </a:lnTo>
                  <a:lnTo>
                    <a:pt x="374" y="85"/>
                  </a:lnTo>
                  <a:lnTo>
                    <a:pt x="375" y="84"/>
                  </a:lnTo>
                  <a:lnTo>
                    <a:pt x="377" y="85"/>
                  </a:lnTo>
                  <a:lnTo>
                    <a:pt x="377" y="84"/>
                  </a:lnTo>
                  <a:lnTo>
                    <a:pt x="379" y="84"/>
                  </a:lnTo>
                  <a:lnTo>
                    <a:pt x="378" y="83"/>
                  </a:lnTo>
                  <a:lnTo>
                    <a:pt x="377" y="82"/>
                  </a:lnTo>
                  <a:lnTo>
                    <a:pt x="378" y="82"/>
                  </a:lnTo>
                  <a:lnTo>
                    <a:pt x="380" y="79"/>
                  </a:lnTo>
                  <a:lnTo>
                    <a:pt x="381" y="78"/>
                  </a:lnTo>
                  <a:lnTo>
                    <a:pt x="381" y="76"/>
                  </a:lnTo>
                  <a:lnTo>
                    <a:pt x="384" y="77"/>
                  </a:lnTo>
                  <a:lnTo>
                    <a:pt x="384" y="76"/>
                  </a:lnTo>
                  <a:lnTo>
                    <a:pt x="384" y="75"/>
                  </a:lnTo>
                  <a:lnTo>
                    <a:pt x="384" y="73"/>
                  </a:lnTo>
                  <a:lnTo>
                    <a:pt x="384" y="72"/>
                  </a:lnTo>
                  <a:lnTo>
                    <a:pt x="385" y="71"/>
                  </a:lnTo>
                  <a:lnTo>
                    <a:pt x="384" y="71"/>
                  </a:lnTo>
                  <a:lnTo>
                    <a:pt x="385" y="70"/>
                  </a:lnTo>
                  <a:lnTo>
                    <a:pt x="386" y="70"/>
                  </a:lnTo>
                  <a:lnTo>
                    <a:pt x="385" y="69"/>
                  </a:lnTo>
                  <a:lnTo>
                    <a:pt x="386" y="67"/>
                  </a:lnTo>
                  <a:lnTo>
                    <a:pt x="387" y="66"/>
                  </a:lnTo>
                  <a:lnTo>
                    <a:pt x="389" y="66"/>
                  </a:lnTo>
                  <a:lnTo>
                    <a:pt x="391" y="66"/>
                  </a:lnTo>
                  <a:lnTo>
                    <a:pt x="390" y="65"/>
                  </a:lnTo>
                  <a:lnTo>
                    <a:pt x="389" y="64"/>
                  </a:lnTo>
                  <a:lnTo>
                    <a:pt x="386" y="65"/>
                  </a:lnTo>
                  <a:lnTo>
                    <a:pt x="387" y="64"/>
                  </a:lnTo>
                  <a:lnTo>
                    <a:pt x="389" y="63"/>
                  </a:lnTo>
                  <a:lnTo>
                    <a:pt x="391" y="64"/>
                  </a:lnTo>
                  <a:lnTo>
                    <a:pt x="392" y="64"/>
                  </a:lnTo>
                  <a:lnTo>
                    <a:pt x="392" y="65"/>
                  </a:lnTo>
                  <a:lnTo>
                    <a:pt x="395" y="65"/>
                  </a:lnTo>
                  <a:lnTo>
                    <a:pt x="395" y="66"/>
                  </a:lnTo>
                  <a:lnTo>
                    <a:pt x="397" y="64"/>
                  </a:lnTo>
                  <a:lnTo>
                    <a:pt x="397" y="61"/>
                  </a:lnTo>
                  <a:lnTo>
                    <a:pt x="398" y="60"/>
                  </a:lnTo>
                  <a:lnTo>
                    <a:pt x="399" y="60"/>
                  </a:lnTo>
                  <a:lnTo>
                    <a:pt x="399" y="63"/>
                  </a:lnTo>
                  <a:lnTo>
                    <a:pt x="401" y="61"/>
                  </a:lnTo>
                  <a:lnTo>
                    <a:pt x="402" y="60"/>
                  </a:lnTo>
                  <a:lnTo>
                    <a:pt x="403" y="60"/>
                  </a:lnTo>
                  <a:lnTo>
                    <a:pt x="404" y="61"/>
                  </a:lnTo>
                  <a:lnTo>
                    <a:pt x="406" y="61"/>
                  </a:lnTo>
                  <a:lnTo>
                    <a:pt x="407" y="61"/>
                  </a:lnTo>
                  <a:lnTo>
                    <a:pt x="404" y="63"/>
                  </a:lnTo>
                  <a:lnTo>
                    <a:pt x="401" y="64"/>
                  </a:lnTo>
                  <a:lnTo>
                    <a:pt x="402" y="66"/>
                  </a:lnTo>
                  <a:lnTo>
                    <a:pt x="403" y="65"/>
                  </a:lnTo>
                  <a:lnTo>
                    <a:pt x="407" y="63"/>
                  </a:lnTo>
                  <a:lnTo>
                    <a:pt x="404" y="65"/>
                  </a:lnTo>
                  <a:lnTo>
                    <a:pt x="406" y="67"/>
                  </a:lnTo>
                  <a:lnTo>
                    <a:pt x="404" y="67"/>
                  </a:lnTo>
                  <a:lnTo>
                    <a:pt x="403" y="69"/>
                  </a:lnTo>
                  <a:lnTo>
                    <a:pt x="404" y="69"/>
                  </a:lnTo>
                  <a:lnTo>
                    <a:pt x="406" y="70"/>
                  </a:lnTo>
                  <a:lnTo>
                    <a:pt x="408" y="70"/>
                  </a:lnTo>
                  <a:lnTo>
                    <a:pt x="408" y="71"/>
                  </a:lnTo>
                  <a:lnTo>
                    <a:pt x="410" y="71"/>
                  </a:lnTo>
                  <a:lnTo>
                    <a:pt x="412" y="72"/>
                  </a:lnTo>
                  <a:lnTo>
                    <a:pt x="410" y="72"/>
                  </a:lnTo>
                  <a:lnTo>
                    <a:pt x="412" y="72"/>
                  </a:lnTo>
                  <a:lnTo>
                    <a:pt x="412" y="75"/>
                  </a:lnTo>
                  <a:lnTo>
                    <a:pt x="409" y="75"/>
                  </a:lnTo>
                  <a:lnTo>
                    <a:pt x="410" y="76"/>
                  </a:lnTo>
                  <a:lnTo>
                    <a:pt x="412" y="77"/>
                  </a:lnTo>
                  <a:lnTo>
                    <a:pt x="413" y="76"/>
                  </a:lnTo>
                  <a:lnTo>
                    <a:pt x="414" y="77"/>
                  </a:lnTo>
                  <a:lnTo>
                    <a:pt x="414" y="79"/>
                  </a:lnTo>
                  <a:lnTo>
                    <a:pt x="415" y="81"/>
                  </a:lnTo>
                  <a:lnTo>
                    <a:pt x="414" y="82"/>
                  </a:lnTo>
                  <a:lnTo>
                    <a:pt x="414" y="84"/>
                  </a:lnTo>
                  <a:lnTo>
                    <a:pt x="413" y="85"/>
                  </a:lnTo>
                  <a:lnTo>
                    <a:pt x="413" y="82"/>
                  </a:lnTo>
                  <a:lnTo>
                    <a:pt x="412" y="78"/>
                  </a:lnTo>
                  <a:lnTo>
                    <a:pt x="409" y="78"/>
                  </a:lnTo>
                  <a:lnTo>
                    <a:pt x="407" y="76"/>
                  </a:lnTo>
                  <a:lnTo>
                    <a:pt x="407" y="77"/>
                  </a:lnTo>
                  <a:lnTo>
                    <a:pt x="407" y="79"/>
                  </a:lnTo>
                  <a:lnTo>
                    <a:pt x="407" y="82"/>
                  </a:lnTo>
                  <a:lnTo>
                    <a:pt x="406" y="83"/>
                  </a:lnTo>
                  <a:lnTo>
                    <a:pt x="404" y="84"/>
                  </a:lnTo>
                  <a:lnTo>
                    <a:pt x="402" y="84"/>
                  </a:lnTo>
                  <a:lnTo>
                    <a:pt x="402" y="83"/>
                  </a:lnTo>
                  <a:lnTo>
                    <a:pt x="399" y="84"/>
                  </a:lnTo>
                  <a:lnTo>
                    <a:pt x="395" y="85"/>
                  </a:lnTo>
                  <a:lnTo>
                    <a:pt x="392" y="85"/>
                  </a:lnTo>
                  <a:lnTo>
                    <a:pt x="392" y="87"/>
                  </a:lnTo>
                  <a:lnTo>
                    <a:pt x="392" y="88"/>
                  </a:lnTo>
                  <a:lnTo>
                    <a:pt x="395" y="87"/>
                  </a:lnTo>
                  <a:lnTo>
                    <a:pt x="393" y="88"/>
                  </a:lnTo>
                  <a:lnTo>
                    <a:pt x="396" y="87"/>
                  </a:lnTo>
                  <a:lnTo>
                    <a:pt x="398" y="85"/>
                  </a:lnTo>
                  <a:lnTo>
                    <a:pt x="402" y="85"/>
                  </a:lnTo>
                  <a:lnTo>
                    <a:pt x="404" y="85"/>
                  </a:lnTo>
                  <a:lnTo>
                    <a:pt x="407" y="85"/>
                  </a:lnTo>
                  <a:lnTo>
                    <a:pt x="407" y="88"/>
                  </a:lnTo>
                  <a:lnTo>
                    <a:pt x="406" y="88"/>
                  </a:lnTo>
                  <a:lnTo>
                    <a:pt x="404" y="88"/>
                  </a:lnTo>
                  <a:lnTo>
                    <a:pt x="406" y="89"/>
                  </a:lnTo>
                  <a:lnTo>
                    <a:pt x="403" y="89"/>
                  </a:lnTo>
                  <a:lnTo>
                    <a:pt x="403" y="90"/>
                  </a:lnTo>
                  <a:lnTo>
                    <a:pt x="403" y="91"/>
                  </a:lnTo>
                  <a:lnTo>
                    <a:pt x="401" y="91"/>
                  </a:lnTo>
                  <a:lnTo>
                    <a:pt x="402" y="93"/>
                  </a:lnTo>
                  <a:lnTo>
                    <a:pt x="404" y="94"/>
                  </a:lnTo>
                  <a:lnTo>
                    <a:pt x="404" y="95"/>
                  </a:lnTo>
                  <a:lnTo>
                    <a:pt x="403" y="96"/>
                  </a:lnTo>
                  <a:lnTo>
                    <a:pt x="403" y="97"/>
                  </a:lnTo>
                  <a:lnTo>
                    <a:pt x="402" y="96"/>
                  </a:lnTo>
                  <a:lnTo>
                    <a:pt x="401" y="96"/>
                  </a:lnTo>
                  <a:lnTo>
                    <a:pt x="399" y="95"/>
                  </a:lnTo>
                  <a:lnTo>
                    <a:pt x="398" y="91"/>
                  </a:lnTo>
                  <a:lnTo>
                    <a:pt x="398" y="90"/>
                  </a:lnTo>
                  <a:lnTo>
                    <a:pt x="397" y="89"/>
                  </a:lnTo>
                  <a:lnTo>
                    <a:pt x="396" y="89"/>
                  </a:lnTo>
                  <a:lnTo>
                    <a:pt x="395" y="90"/>
                  </a:lnTo>
                  <a:lnTo>
                    <a:pt x="395" y="93"/>
                  </a:lnTo>
                  <a:lnTo>
                    <a:pt x="393" y="94"/>
                  </a:lnTo>
                  <a:lnTo>
                    <a:pt x="390" y="97"/>
                  </a:lnTo>
                  <a:lnTo>
                    <a:pt x="390" y="95"/>
                  </a:lnTo>
                  <a:lnTo>
                    <a:pt x="391" y="94"/>
                  </a:lnTo>
                  <a:lnTo>
                    <a:pt x="389" y="95"/>
                  </a:lnTo>
                  <a:lnTo>
                    <a:pt x="385" y="100"/>
                  </a:lnTo>
                  <a:lnTo>
                    <a:pt x="386" y="96"/>
                  </a:lnTo>
                  <a:lnTo>
                    <a:pt x="386" y="95"/>
                  </a:lnTo>
                  <a:lnTo>
                    <a:pt x="386" y="94"/>
                  </a:lnTo>
                  <a:lnTo>
                    <a:pt x="385" y="94"/>
                  </a:lnTo>
                  <a:lnTo>
                    <a:pt x="384" y="96"/>
                  </a:lnTo>
                  <a:lnTo>
                    <a:pt x="383" y="97"/>
                  </a:lnTo>
                  <a:lnTo>
                    <a:pt x="383" y="100"/>
                  </a:lnTo>
                  <a:lnTo>
                    <a:pt x="381" y="101"/>
                  </a:lnTo>
                  <a:lnTo>
                    <a:pt x="381" y="102"/>
                  </a:lnTo>
                  <a:lnTo>
                    <a:pt x="380" y="103"/>
                  </a:lnTo>
                  <a:lnTo>
                    <a:pt x="381" y="102"/>
                  </a:lnTo>
                  <a:lnTo>
                    <a:pt x="383" y="103"/>
                  </a:lnTo>
                  <a:lnTo>
                    <a:pt x="383" y="102"/>
                  </a:lnTo>
                  <a:lnTo>
                    <a:pt x="383" y="105"/>
                  </a:lnTo>
                  <a:lnTo>
                    <a:pt x="381" y="107"/>
                  </a:lnTo>
                  <a:lnTo>
                    <a:pt x="381" y="108"/>
                  </a:lnTo>
                  <a:lnTo>
                    <a:pt x="380" y="109"/>
                  </a:lnTo>
                  <a:lnTo>
                    <a:pt x="381" y="112"/>
                  </a:lnTo>
                  <a:lnTo>
                    <a:pt x="383" y="111"/>
                  </a:lnTo>
                  <a:lnTo>
                    <a:pt x="384" y="111"/>
                  </a:lnTo>
                  <a:lnTo>
                    <a:pt x="386" y="111"/>
                  </a:lnTo>
                  <a:lnTo>
                    <a:pt x="387" y="111"/>
                  </a:lnTo>
                  <a:lnTo>
                    <a:pt x="389" y="112"/>
                  </a:lnTo>
                  <a:lnTo>
                    <a:pt x="389" y="113"/>
                  </a:lnTo>
                  <a:lnTo>
                    <a:pt x="387" y="113"/>
                  </a:lnTo>
                  <a:lnTo>
                    <a:pt x="387" y="114"/>
                  </a:lnTo>
                  <a:lnTo>
                    <a:pt x="387" y="115"/>
                  </a:lnTo>
                  <a:lnTo>
                    <a:pt x="387" y="118"/>
                  </a:lnTo>
                  <a:lnTo>
                    <a:pt x="385" y="115"/>
                  </a:lnTo>
                  <a:lnTo>
                    <a:pt x="384" y="115"/>
                  </a:lnTo>
                  <a:lnTo>
                    <a:pt x="383" y="114"/>
                  </a:lnTo>
                  <a:lnTo>
                    <a:pt x="381" y="113"/>
                  </a:lnTo>
                  <a:lnTo>
                    <a:pt x="381" y="114"/>
                  </a:lnTo>
                  <a:lnTo>
                    <a:pt x="379" y="115"/>
                  </a:lnTo>
                  <a:lnTo>
                    <a:pt x="381" y="115"/>
                  </a:lnTo>
                  <a:lnTo>
                    <a:pt x="379" y="115"/>
                  </a:lnTo>
                  <a:lnTo>
                    <a:pt x="380" y="117"/>
                  </a:lnTo>
                  <a:lnTo>
                    <a:pt x="381" y="118"/>
                  </a:lnTo>
                  <a:lnTo>
                    <a:pt x="384" y="118"/>
                  </a:lnTo>
                  <a:lnTo>
                    <a:pt x="385" y="117"/>
                  </a:lnTo>
                  <a:lnTo>
                    <a:pt x="386" y="118"/>
                  </a:lnTo>
                  <a:lnTo>
                    <a:pt x="386" y="119"/>
                  </a:lnTo>
                  <a:lnTo>
                    <a:pt x="387" y="120"/>
                  </a:lnTo>
                  <a:lnTo>
                    <a:pt x="386" y="120"/>
                  </a:lnTo>
                  <a:lnTo>
                    <a:pt x="387" y="121"/>
                  </a:lnTo>
                  <a:lnTo>
                    <a:pt x="386" y="123"/>
                  </a:lnTo>
                  <a:lnTo>
                    <a:pt x="385" y="120"/>
                  </a:lnTo>
                  <a:lnTo>
                    <a:pt x="383" y="118"/>
                  </a:lnTo>
                  <a:lnTo>
                    <a:pt x="383" y="119"/>
                  </a:lnTo>
                  <a:lnTo>
                    <a:pt x="383" y="120"/>
                  </a:lnTo>
                  <a:lnTo>
                    <a:pt x="383" y="123"/>
                  </a:lnTo>
                  <a:lnTo>
                    <a:pt x="383" y="126"/>
                  </a:lnTo>
                  <a:lnTo>
                    <a:pt x="381" y="123"/>
                  </a:lnTo>
                  <a:lnTo>
                    <a:pt x="380" y="124"/>
                  </a:lnTo>
                  <a:lnTo>
                    <a:pt x="380" y="123"/>
                  </a:lnTo>
                  <a:lnTo>
                    <a:pt x="380" y="120"/>
                  </a:lnTo>
                  <a:lnTo>
                    <a:pt x="379" y="120"/>
                  </a:lnTo>
                  <a:lnTo>
                    <a:pt x="378" y="119"/>
                  </a:lnTo>
                  <a:lnTo>
                    <a:pt x="379" y="120"/>
                  </a:lnTo>
                  <a:lnTo>
                    <a:pt x="378" y="125"/>
                  </a:lnTo>
                  <a:lnTo>
                    <a:pt x="375" y="123"/>
                  </a:lnTo>
                  <a:lnTo>
                    <a:pt x="375" y="120"/>
                  </a:lnTo>
                  <a:lnTo>
                    <a:pt x="375" y="121"/>
                  </a:lnTo>
                  <a:lnTo>
                    <a:pt x="375" y="125"/>
                  </a:lnTo>
                  <a:lnTo>
                    <a:pt x="377" y="127"/>
                  </a:lnTo>
                  <a:lnTo>
                    <a:pt x="377" y="130"/>
                  </a:lnTo>
                  <a:lnTo>
                    <a:pt x="377" y="131"/>
                  </a:lnTo>
                  <a:lnTo>
                    <a:pt x="375" y="131"/>
                  </a:lnTo>
                  <a:lnTo>
                    <a:pt x="375" y="132"/>
                  </a:lnTo>
                  <a:lnTo>
                    <a:pt x="375" y="133"/>
                  </a:lnTo>
                  <a:lnTo>
                    <a:pt x="374" y="136"/>
                  </a:lnTo>
                  <a:lnTo>
                    <a:pt x="374" y="133"/>
                  </a:lnTo>
                  <a:lnTo>
                    <a:pt x="373" y="133"/>
                  </a:lnTo>
                  <a:lnTo>
                    <a:pt x="373" y="132"/>
                  </a:lnTo>
                  <a:lnTo>
                    <a:pt x="372" y="131"/>
                  </a:lnTo>
                  <a:lnTo>
                    <a:pt x="372" y="130"/>
                  </a:lnTo>
                  <a:lnTo>
                    <a:pt x="371" y="130"/>
                  </a:lnTo>
                  <a:lnTo>
                    <a:pt x="372" y="129"/>
                  </a:lnTo>
                  <a:lnTo>
                    <a:pt x="372" y="126"/>
                  </a:lnTo>
                  <a:lnTo>
                    <a:pt x="374" y="125"/>
                  </a:lnTo>
                  <a:lnTo>
                    <a:pt x="374" y="123"/>
                  </a:lnTo>
                  <a:lnTo>
                    <a:pt x="373" y="124"/>
                  </a:lnTo>
                  <a:lnTo>
                    <a:pt x="372" y="125"/>
                  </a:lnTo>
                  <a:lnTo>
                    <a:pt x="373" y="123"/>
                  </a:lnTo>
                  <a:lnTo>
                    <a:pt x="372" y="124"/>
                  </a:lnTo>
                  <a:lnTo>
                    <a:pt x="371" y="124"/>
                  </a:lnTo>
                  <a:lnTo>
                    <a:pt x="369" y="125"/>
                  </a:lnTo>
                  <a:lnTo>
                    <a:pt x="369" y="124"/>
                  </a:lnTo>
                  <a:lnTo>
                    <a:pt x="368" y="124"/>
                  </a:lnTo>
                  <a:lnTo>
                    <a:pt x="366" y="124"/>
                  </a:lnTo>
                  <a:lnTo>
                    <a:pt x="365" y="124"/>
                  </a:lnTo>
                  <a:lnTo>
                    <a:pt x="367" y="125"/>
                  </a:lnTo>
                  <a:lnTo>
                    <a:pt x="365" y="126"/>
                  </a:lnTo>
                  <a:lnTo>
                    <a:pt x="363" y="129"/>
                  </a:lnTo>
                  <a:lnTo>
                    <a:pt x="362" y="131"/>
                  </a:lnTo>
                  <a:lnTo>
                    <a:pt x="363" y="131"/>
                  </a:lnTo>
                  <a:lnTo>
                    <a:pt x="366" y="132"/>
                  </a:lnTo>
                  <a:lnTo>
                    <a:pt x="365" y="133"/>
                  </a:lnTo>
                  <a:lnTo>
                    <a:pt x="366" y="133"/>
                  </a:lnTo>
                  <a:lnTo>
                    <a:pt x="366" y="135"/>
                  </a:lnTo>
                  <a:lnTo>
                    <a:pt x="366" y="136"/>
                  </a:lnTo>
                  <a:lnTo>
                    <a:pt x="368" y="137"/>
                  </a:lnTo>
                  <a:lnTo>
                    <a:pt x="369" y="136"/>
                  </a:lnTo>
                  <a:lnTo>
                    <a:pt x="368" y="136"/>
                  </a:lnTo>
                  <a:lnTo>
                    <a:pt x="367" y="135"/>
                  </a:lnTo>
                  <a:lnTo>
                    <a:pt x="369" y="133"/>
                  </a:lnTo>
                  <a:lnTo>
                    <a:pt x="372" y="135"/>
                  </a:lnTo>
                  <a:lnTo>
                    <a:pt x="372" y="136"/>
                  </a:lnTo>
                  <a:lnTo>
                    <a:pt x="373" y="136"/>
                  </a:lnTo>
                  <a:lnTo>
                    <a:pt x="374" y="137"/>
                  </a:lnTo>
                  <a:lnTo>
                    <a:pt x="377" y="136"/>
                  </a:lnTo>
                  <a:lnTo>
                    <a:pt x="378" y="135"/>
                  </a:lnTo>
                  <a:lnTo>
                    <a:pt x="380" y="133"/>
                  </a:lnTo>
                  <a:lnTo>
                    <a:pt x="380" y="135"/>
                  </a:lnTo>
                  <a:lnTo>
                    <a:pt x="380" y="137"/>
                  </a:lnTo>
                  <a:lnTo>
                    <a:pt x="383" y="137"/>
                  </a:lnTo>
                  <a:lnTo>
                    <a:pt x="381" y="136"/>
                  </a:lnTo>
                  <a:lnTo>
                    <a:pt x="381" y="135"/>
                  </a:lnTo>
                  <a:lnTo>
                    <a:pt x="383" y="135"/>
                  </a:lnTo>
                  <a:lnTo>
                    <a:pt x="384" y="135"/>
                  </a:lnTo>
                  <a:lnTo>
                    <a:pt x="385" y="135"/>
                  </a:lnTo>
                  <a:lnTo>
                    <a:pt x="386" y="135"/>
                  </a:lnTo>
                  <a:lnTo>
                    <a:pt x="385" y="136"/>
                  </a:lnTo>
                  <a:lnTo>
                    <a:pt x="386" y="135"/>
                  </a:lnTo>
                  <a:lnTo>
                    <a:pt x="385" y="131"/>
                  </a:lnTo>
                  <a:lnTo>
                    <a:pt x="383" y="132"/>
                  </a:lnTo>
                  <a:lnTo>
                    <a:pt x="381" y="133"/>
                  </a:lnTo>
                  <a:lnTo>
                    <a:pt x="380" y="132"/>
                  </a:lnTo>
                  <a:lnTo>
                    <a:pt x="380" y="131"/>
                  </a:lnTo>
                  <a:lnTo>
                    <a:pt x="379" y="130"/>
                  </a:lnTo>
                  <a:lnTo>
                    <a:pt x="381" y="130"/>
                  </a:lnTo>
                  <a:lnTo>
                    <a:pt x="385" y="130"/>
                  </a:lnTo>
                  <a:lnTo>
                    <a:pt x="387" y="130"/>
                  </a:lnTo>
                  <a:lnTo>
                    <a:pt x="386" y="131"/>
                  </a:lnTo>
                  <a:lnTo>
                    <a:pt x="387" y="133"/>
                  </a:lnTo>
                  <a:lnTo>
                    <a:pt x="389" y="133"/>
                  </a:lnTo>
                  <a:lnTo>
                    <a:pt x="389" y="132"/>
                  </a:lnTo>
                  <a:lnTo>
                    <a:pt x="390" y="132"/>
                  </a:lnTo>
                  <a:lnTo>
                    <a:pt x="391" y="131"/>
                  </a:lnTo>
                  <a:lnTo>
                    <a:pt x="391" y="130"/>
                  </a:lnTo>
                  <a:lnTo>
                    <a:pt x="392" y="131"/>
                  </a:lnTo>
                  <a:lnTo>
                    <a:pt x="392" y="132"/>
                  </a:lnTo>
                  <a:lnTo>
                    <a:pt x="393" y="132"/>
                  </a:lnTo>
                  <a:lnTo>
                    <a:pt x="392" y="135"/>
                  </a:lnTo>
                  <a:lnTo>
                    <a:pt x="392" y="136"/>
                  </a:lnTo>
                  <a:lnTo>
                    <a:pt x="395" y="135"/>
                  </a:lnTo>
                  <a:lnTo>
                    <a:pt x="396" y="133"/>
                  </a:lnTo>
                  <a:lnTo>
                    <a:pt x="397" y="132"/>
                  </a:lnTo>
                  <a:lnTo>
                    <a:pt x="399" y="132"/>
                  </a:lnTo>
                  <a:lnTo>
                    <a:pt x="396" y="136"/>
                  </a:lnTo>
                  <a:lnTo>
                    <a:pt x="395" y="138"/>
                  </a:lnTo>
                  <a:lnTo>
                    <a:pt x="393" y="142"/>
                  </a:lnTo>
                  <a:lnTo>
                    <a:pt x="395" y="143"/>
                  </a:lnTo>
                  <a:lnTo>
                    <a:pt x="396" y="141"/>
                  </a:lnTo>
                  <a:lnTo>
                    <a:pt x="397" y="138"/>
                  </a:lnTo>
                  <a:lnTo>
                    <a:pt x="397" y="137"/>
                  </a:lnTo>
                  <a:lnTo>
                    <a:pt x="398" y="136"/>
                  </a:lnTo>
                  <a:lnTo>
                    <a:pt x="399" y="137"/>
                  </a:lnTo>
                  <a:lnTo>
                    <a:pt x="401" y="137"/>
                  </a:lnTo>
                  <a:lnTo>
                    <a:pt x="401" y="138"/>
                  </a:lnTo>
                  <a:lnTo>
                    <a:pt x="401" y="139"/>
                  </a:lnTo>
                  <a:lnTo>
                    <a:pt x="401" y="141"/>
                  </a:lnTo>
                  <a:lnTo>
                    <a:pt x="399" y="142"/>
                  </a:lnTo>
                  <a:lnTo>
                    <a:pt x="399" y="144"/>
                  </a:lnTo>
                  <a:lnTo>
                    <a:pt x="401" y="143"/>
                  </a:lnTo>
                  <a:lnTo>
                    <a:pt x="403" y="142"/>
                  </a:lnTo>
                  <a:lnTo>
                    <a:pt x="406" y="142"/>
                  </a:lnTo>
                  <a:lnTo>
                    <a:pt x="407" y="143"/>
                  </a:lnTo>
                  <a:lnTo>
                    <a:pt x="408" y="142"/>
                  </a:lnTo>
                  <a:lnTo>
                    <a:pt x="408" y="143"/>
                  </a:lnTo>
                  <a:lnTo>
                    <a:pt x="409" y="143"/>
                  </a:lnTo>
                  <a:lnTo>
                    <a:pt x="408" y="144"/>
                  </a:lnTo>
                  <a:lnTo>
                    <a:pt x="404" y="146"/>
                  </a:lnTo>
                  <a:lnTo>
                    <a:pt x="403" y="146"/>
                  </a:lnTo>
                  <a:lnTo>
                    <a:pt x="399" y="146"/>
                  </a:lnTo>
                  <a:lnTo>
                    <a:pt x="401" y="147"/>
                  </a:lnTo>
                  <a:lnTo>
                    <a:pt x="402" y="147"/>
                  </a:lnTo>
                  <a:lnTo>
                    <a:pt x="403" y="146"/>
                  </a:lnTo>
                  <a:lnTo>
                    <a:pt x="404" y="147"/>
                  </a:lnTo>
                  <a:lnTo>
                    <a:pt x="406" y="147"/>
                  </a:lnTo>
                  <a:lnTo>
                    <a:pt x="407" y="147"/>
                  </a:lnTo>
                  <a:lnTo>
                    <a:pt x="408" y="148"/>
                  </a:lnTo>
                  <a:lnTo>
                    <a:pt x="409" y="147"/>
                  </a:lnTo>
                  <a:lnTo>
                    <a:pt x="410" y="148"/>
                  </a:lnTo>
                  <a:lnTo>
                    <a:pt x="410" y="147"/>
                  </a:lnTo>
                  <a:lnTo>
                    <a:pt x="410" y="143"/>
                  </a:lnTo>
                  <a:lnTo>
                    <a:pt x="412" y="142"/>
                  </a:lnTo>
                  <a:lnTo>
                    <a:pt x="413" y="141"/>
                  </a:lnTo>
                  <a:lnTo>
                    <a:pt x="410" y="141"/>
                  </a:lnTo>
                  <a:lnTo>
                    <a:pt x="410" y="139"/>
                  </a:lnTo>
                  <a:lnTo>
                    <a:pt x="412" y="137"/>
                  </a:lnTo>
                  <a:lnTo>
                    <a:pt x="414" y="137"/>
                  </a:lnTo>
                  <a:lnTo>
                    <a:pt x="415" y="135"/>
                  </a:lnTo>
                  <a:lnTo>
                    <a:pt x="415" y="136"/>
                  </a:lnTo>
                  <a:lnTo>
                    <a:pt x="415" y="138"/>
                  </a:lnTo>
                  <a:lnTo>
                    <a:pt x="415" y="139"/>
                  </a:lnTo>
                  <a:lnTo>
                    <a:pt x="416" y="141"/>
                  </a:lnTo>
                  <a:lnTo>
                    <a:pt x="416" y="143"/>
                  </a:lnTo>
                  <a:lnTo>
                    <a:pt x="418" y="143"/>
                  </a:lnTo>
                  <a:lnTo>
                    <a:pt x="419" y="144"/>
                  </a:lnTo>
                  <a:lnTo>
                    <a:pt x="418" y="144"/>
                  </a:lnTo>
                  <a:lnTo>
                    <a:pt x="419" y="146"/>
                  </a:lnTo>
                  <a:lnTo>
                    <a:pt x="421" y="147"/>
                  </a:lnTo>
                  <a:lnTo>
                    <a:pt x="422" y="147"/>
                  </a:lnTo>
                  <a:lnTo>
                    <a:pt x="421" y="146"/>
                  </a:lnTo>
                  <a:lnTo>
                    <a:pt x="422" y="146"/>
                  </a:lnTo>
                  <a:lnTo>
                    <a:pt x="426" y="146"/>
                  </a:lnTo>
                  <a:lnTo>
                    <a:pt x="424" y="147"/>
                  </a:lnTo>
                  <a:lnTo>
                    <a:pt x="422" y="148"/>
                  </a:lnTo>
                  <a:lnTo>
                    <a:pt x="424" y="147"/>
                  </a:lnTo>
                  <a:lnTo>
                    <a:pt x="426" y="148"/>
                  </a:lnTo>
                  <a:lnTo>
                    <a:pt x="427" y="149"/>
                  </a:lnTo>
                  <a:lnTo>
                    <a:pt x="426" y="150"/>
                  </a:lnTo>
                  <a:lnTo>
                    <a:pt x="425" y="152"/>
                  </a:lnTo>
                  <a:lnTo>
                    <a:pt x="425" y="153"/>
                  </a:lnTo>
                  <a:lnTo>
                    <a:pt x="422" y="152"/>
                  </a:lnTo>
                  <a:lnTo>
                    <a:pt x="421" y="153"/>
                  </a:lnTo>
                  <a:lnTo>
                    <a:pt x="420" y="154"/>
                  </a:lnTo>
                  <a:lnTo>
                    <a:pt x="421" y="154"/>
                  </a:lnTo>
                  <a:lnTo>
                    <a:pt x="420" y="155"/>
                  </a:lnTo>
                  <a:lnTo>
                    <a:pt x="419" y="158"/>
                  </a:lnTo>
                  <a:lnTo>
                    <a:pt x="419" y="159"/>
                  </a:lnTo>
                  <a:lnTo>
                    <a:pt x="418" y="159"/>
                  </a:lnTo>
                  <a:lnTo>
                    <a:pt x="418" y="161"/>
                  </a:lnTo>
                  <a:lnTo>
                    <a:pt x="419" y="162"/>
                  </a:lnTo>
                  <a:lnTo>
                    <a:pt x="420" y="162"/>
                  </a:lnTo>
                  <a:lnTo>
                    <a:pt x="422" y="161"/>
                  </a:lnTo>
                  <a:lnTo>
                    <a:pt x="425" y="160"/>
                  </a:lnTo>
                  <a:lnTo>
                    <a:pt x="427" y="160"/>
                  </a:lnTo>
                  <a:lnTo>
                    <a:pt x="425" y="161"/>
                  </a:lnTo>
                  <a:lnTo>
                    <a:pt x="422" y="164"/>
                  </a:lnTo>
                  <a:lnTo>
                    <a:pt x="424" y="164"/>
                  </a:lnTo>
                  <a:lnTo>
                    <a:pt x="424" y="165"/>
                  </a:lnTo>
                  <a:lnTo>
                    <a:pt x="427" y="165"/>
                  </a:lnTo>
                  <a:lnTo>
                    <a:pt x="430" y="165"/>
                  </a:lnTo>
                  <a:lnTo>
                    <a:pt x="431" y="164"/>
                  </a:lnTo>
                  <a:lnTo>
                    <a:pt x="432" y="162"/>
                  </a:lnTo>
                  <a:lnTo>
                    <a:pt x="432" y="161"/>
                  </a:lnTo>
                  <a:lnTo>
                    <a:pt x="434" y="159"/>
                  </a:lnTo>
                  <a:lnTo>
                    <a:pt x="437" y="159"/>
                  </a:lnTo>
                  <a:lnTo>
                    <a:pt x="437" y="160"/>
                  </a:lnTo>
                  <a:lnTo>
                    <a:pt x="438" y="160"/>
                  </a:lnTo>
                  <a:lnTo>
                    <a:pt x="437" y="161"/>
                  </a:lnTo>
                  <a:lnTo>
                    <a:pt x="434" y="162"/>
                  </a:lnTo>
                  <a:lnTo>
                    <a:pt x="434" y="165"/>
                  </a:lnTo>
                  <a:lnTo>
                    <a:pt x="436" y="166"/>
                  </a:lnTo>
                  <a:lnTo>
                    <a:pt x="438" y="167"/>
                  </a:lnTo>
                  <a:lnTo>
                    <a:pt x="437" y="168"/>
                  </a:lnTo>
                  <a:lnTo>
                    <a:pt x="438" y="170"/>
                  </a:lnTo>
                  <a:lnTo>
                    <a:pt x="438" y="172"/>
                  </a:lnTo>
                  <a:lnTo>
                    <a:pt x="437" y="172"/>
                  </a:lnTo>
                  <a:lnTo>
                    <a:pt x="437" y="174"/>
                  </a:lnTo>
                  <a:lnTo>
                    <a:pt x="437" y="176"/>
                  </a:lnTo>
                  <a:lnTo>
                    <a:pt x="438" y="177"/>
                  </a:lnTo>
                  <a:lnTo>
                    <a:pt x="439" y="174"/>
                  </a:lnTo>
                  <a:lnTo>
                    <a:pt x="442" y="173"/>
                  </a:lnTo>
                  <a:lnTo>
                    <a:pt x="439" y="173"/>
                  </a:lnTo>
                  <a:lnTo>
                    <a:pt x="439" y="172"/>
                  </a:lnTo>
                  <a:lnTo>
                    <a:pt x="442" y="171"/>
                  </a:lnTo>
                  <a:lnTo>
                    <a:pt x="444" y="171"/>
                  </a:lnTo>
                  <a:lnTo>
                    <a:pt x="444" y="170"/>
                  </a:lnTo>
                  <a:lnTo>
                    <a:pt x="444" y="167"/>
                  </a:lnTo>
                  <a:lnTo>
                    <a:pt x="446" y="165"/>
                  </a:lnTo>
                  <a:lnTo>
                    <a:pt x="445" y="168"/>
                  </a:lnTo>
                  <a:lnTo>
                    <a:pt x="446" y="170"/>
                  </a:lnTo>
                  <a:lnTo>
                    <a:pt x="448" y="170"/>
                  </a:lnTo>
                  <a:lnTo>
                    <a:pt x="446" y="171"/>
                  </a:lnTo>
                  <a:lnTo>
                    <a:pt x="445" y="173"/>
                  </a:lnTo>
                  <a:lnTo>
                    <a:pt x="446" y="174"/>
                  </a:lnTo>
                  <a:lnTo>
                    <a:pt x="446" y="177"/>
                  </a:lnTo>
                  <a:lnTo>
                    <a:pt x="448" y="179"/>
                  </a:lnTo>
                  <a:lnTo>
                    <a:pt x="446" y="182"/>
                  </a:lnTo>
                  <a:lnTo>
                    <a:pt x="444" y="182"/>
                  </a:lnTo>
                  <a:lnTo>
                    <a:pt x="440" y="180"/>
                  </a:lnTo>
                  <a:lnTo>
                    <a:pt x="438" y="180"/>
                  </a:lnTo>
                  <a:lnTo>
                    <a:pt x="436" y="182"/>
                  </a:lnTo>
                  <a:lnTo>
                    <a:pt x="434" y="184"/>
                  </a:lnTo>
                  <a:lnTo>
                    <a:pt x="436" y="183"/>
                  </a:lnTo>
                  <a:lnTo>
                    <a:pt x="438" y="184"/>
                  </a:lnTo>
                  <a:lnTo>
                    <a:pt x="438" y="185"/>
                  </a:lnTo>
                  <a:lnTo>
                    <a:pt x="440" y="185"/>
                  </a:lnTo>
                  <a:lnTo>
                    <a:pt x="440" y="186"/>
                  </a:lnTo>
                  <a:lnTo>
                    <a:pt x="443" y="186"/>
                  </a:lnTo>
                  <a:lnTo>
                    <a:pt x="445" y="188"/>
                  </a:lnTo>
                  <a:lnTo>
                    <a:pt x="446" y="188"/>
                  </a:lnTo>
                  <a:lnTo>
                    <a:pt x="448" y="186"/>
                  </a:lnTo>
                  <a:lnTo>
                    <a:pt x="448" y="188"/>
                  </a:lnTo>
                  <a:lnTo>
                    <a:pt x="448" y="189"/>
                  </a:lnTo>
                  <a:lnTo>
                    <a:pt x="448" y="190"/>
                  </a:lnTo>
                  <a:lnTo>
                    <a:pt x="446" y="190"/>
                  </a:lnTo>
                  <a:lnTo>
                    <a:pt x="448" y="192"/>
                  </a:lnTo>
                  <a:lnTo>
                    <a:pt x="446" y="192"/>
                  </a:lnTo>
                  <a:lnTo>
                    <a:pt x="445" y="194"/>
                  </a:lnTo>
                  <a:lnTo>
                    <a:pt x="445" y="195"/>
                  </a:lnTo>
                  <a:lnTo>
                    <a:pt x="444" y="195"/>
                  </a:lnTo>
                  <a:lnTo>
                    <a:pt x="444" y="196"/>
                  </a:lnTo>
                  <a:lnTo>
                    <a:pt x="443" y="196"/>
                  </a:lnTo>
                  <a:lnTo>
                    <a:pt x="442" y="197"/>
                  </a:lnTo>
                  <a:lnTo>
                    <a:pt x="440" y="198"/>
                  </a:lnTo>
                  <a:lnTo>
                    <a:pt x="439" y="198"/>
                  </a:lnTo>
                  <a:lnTo>
                    <a:pt x="438" y="197"/>
                  </a:lnTo>
                  <a:lnTo>
                    <a:pt x="437" y="198"/>
                  </a:lnTo>
                  <a:lnTo>
                    <a:pt x="436" y="197"/>
                  </a:lnTo>
                  <a:lnTo>
                    <a:pt x="436" y="198"/>
                  </a:lnTo>
                  <a:lnTo>
                    <a:pt x="438" y="200"/>
                  </a:lnTo>
                  <a:lnTo>
                    <a:pt x="439" y="201"/>
                  </a:lnTo>
                  <a:lnTo>
                    <a:pt x="440" y="204"/>
                  </a:lnTo>
                  <a:lnTo>
                    <a:pt x="440" y="206"/>
                  </a:lnTo>
                  <a:lnTo>
                    <a:pt x="439" y="203"/>
                  </a:lnTo>
                  <a:lnTo>
                    <a:pt x="438" y="202"/>
                  </a:lnTo>
                  <a:lnTo>
                    <a:pt x="437" y="202"/>
                  </a:lnTo>
                  <a:lnTo>
                    <a:pt x="436" y="203"/>
                  </a:lnTo>
                  <a:lnTo>
                    <a:pt x="436" y="202"/>
                  </a:lnTo>
                  <a:lnTo>
                    <a:pt x="434" y="202"/>
                  </a:lnTo>
                  <a:lnTo>
                    <a:pt x="434" y="201"/>
                  </a:lnTo>
                  <a:lnTo>
                    <a:pt x="434" y="200"/>
                  </a:lnTo>
                  <a:lnTo>
                    <a:pt x="433" y="201"/>
                  </a:lnTo>
                  <a:lnTo>
                    <a:pt x="432" y="202"/>
                  </a:lnTo>
                  <a:lnTo>
                    <a:pt x="431" y="201"/>
                  </a:lnTo>
                  <a:lnTo>
                    <a:pt x="431" y="202"/>
                  </a:lnTo>
                  <a:lnTo>
                    <a:pt x="430" y="203"/>
                  </a:lnTo>
                  <a:lnTo>
                    <a:pt x="428" y="201"/>
                  </a:lnTo>
                  <a:lnTo>
                    <a:pt x="428" y="198"/>
                  </a:lnTo>
                  <a:lnTo>
                    <a:pt x="427" y="198"/>
                  </a:lnTo>
                  <a:lnTo>
                    <a:pt x="426" y="198"/>
                  </a:lnTo>
                  <a:lnTo>
                    <a:pt x="427" y="195"/>
                  </a:lnTo>
                  <a:lnTo>
                    <a:pt x="427" y="192"/>
                  </a:lnTo>
                  <a:lnTo>
                    <a:pt x="425" y="194"/>
                  </a:lnTo>
                  <a:lnTo>
                    <a:pt x="422" y="196"/>
                  </a:lnTo>
                  <a:lnTo>
                    <a:pt x="419" y="198"/>
                  </a:lnTo>
                  <a:lnTo>
                    <a:pt x="419" y="200"/>
                  </a:lnTo>
                  <a:lnTo>
                    <a:pt x="420" y="200"/>
                  </a:lnTo>
                  <a:lnTo>
                    <a:pt x="420" y="201"/>
                  </a:lnTo>
                  <a:lnTo>
                    <a:pt x="419" y="202"/>
                  </a:lnTo>
                  <a:lnTo>
                    <a:pt x="421" y="204"/>
                  </a:lnTo>
                  <a:lnTo>
                    <a:pt x="422" y="206"/>
                  </a:lnTo>
                  <a:lnTo>
                    <a:pt x="426" y="209"/>
                  </a:lnTo>
                  <a:lnTo>
                    <a:pt x="427" y="208"/>
                  </a:lnTo>
                  <a:lnTo>
                    <a:pt x="428" y="207"/>
                  </a:lnTo>
                  <a:lnTo>
                    <a:pt x="430" y="206"/>
                  </a:lnTo>
                  <a:lnTo>
                    <a:pt x="431" y="207"/>
                  </a:lnTo>
                  <a:lnTo>
                    <a:pt x="431" y="208"/>
                  </a:lnTo>
                  <a:lnTo>
                    <a:pt x="433" y="209"/>
                  </a:lnTo>
                  <a:lnTo>
                    <a:pt x="433" y="212"/>
                  </a:lnTo>
                  <a:lnTo>
                    <a:pt x="434" y="214"/>
                  </a:lnTo>
                  <a:lnTo>
                    <a:pt x="438" y="214"/>
                  </a:lnTo>
                  <a:lnTo>
                    <a:pt x="438" y="213"/>
                  </a:lnTo>
                  <a:lnTo>
                    <a:pt x="437" y="213"/>
                  </a:lnTo>
                  <a:lnTo>
                    <a:pt x="439" y="210"/>
                  </a:lnTo>
                  <a:lnTo>
                    <a:pt x="442" y="209"/>
                  </a:lnTo>
                  <a:lnTo>
                    <a:pt x="443" y="208"/>
                  </a:lnTo>
                  <a:lnTo>
                    <a:pt x="444" y="208"/>
                  </a:lnTo>
                  <a:lnTo>
                    <a:pt x="444" y="210"/>
                  </a:lnTo>
                  <a:lnTo>
                    <a:pt x="442" y="213"/>
                  </a:lnTo>
                  <a:lnTo>
                    <a:pt x="440" y="214"/>
                  </a:lnTo>
                  <a:lnTo>
                    <a:pt x="439" y="215"/>
                  </a:lnTo>
                  <a:lnTo>
                    <a:pt x="434" y="215"/>
                  </a:lnTo>
                  <a:lnTo>
                    <a:pt x="434" y="216"/>
                  </a:lnTo>
                  <a:lnTo>
                    <a:pt x="433" y="216"/>
                  </a:lnTo>
                  <a:lnTo>
                    <a:pt x="433" y="219"/>
                  </a:lnTo>
                  <a:lnTo>
                    <a:pt x="434" y="219"/>
                  </a:lnTo>
                  <a:lnTo>
                    <a:pt x="433" y="221"/>
                  </a:lnTo>
                  <a:lnTo>
                    <a:pt x="433" y="222"/>
                  </a:lnTo>
                  <a:lnTo>
                    <a:pt x="432" y="220"/>
                  </a:lnTo>
                  <a:lnTo>
                    <a:pt x="431" y="218"/>
                  </a:lnTo>
                  <a:lnTo>
                    <a:pt x="431" y="216"/>
                  </a:lnTo>
                  <a:lnTo>
                    <a:pt x="430" y="218"/>
                  </a:lnTo>
                  <a:lnTo>
                    <a:pt x="430" y="219"/>
                  </a:lnTo>
                  <a:lnTo>
                    <a:pt x="427" y="220"/>
                  </a:lnTo>
                  <a:lnTo>
                    <a:pt x="426" y="219"/>
                  </a:lnTo>
                  <a:lnTo>
                    <a:pt x="426" y="216"/>
                  </a:lnTo>
                  <a:lnTo>
                    <a:pt x="425" y="218"/>
                  </a:lnTo>
                  <a:lnTo>
                    <a:pt x="424" y="220"/>
                  </a:lnTo>
                  <a:lnTo>
                    <a:pt x="422" y="221"/>
                  </a:lnTo>
                  <a:lnTo>
                    <a:pt x="422" y="220"/>
                  </a:lnTo>
                  <a:lnTo>
                    <a:pt x="421" y="218"/>
                  </a:lnTo>
                  <a:lnTo>
                    <a:pt x="422" y="215"/>
                  </a:lnTo>
                  <a:lnTo>
                    <a:pt x="421" y="215"/>
                  </a:lnTo>
                  <a:lnTo>
                    <a:pt x="420" y="215"/>
                  </a:lnTo>
                  <a:lnTo>
                    <a:pt x="418" y="216"/>
                  </a:lnTo>
                  <a:lnTo>
                    <a:pt x="418" y="214"/>
                  </a:lnTo>
                  <a:lnTo>
                    <a:pt x="418" y="212"/>
                  </a:lnTo>
                  <a:lnTo>
                    <a:pt x="416" y="212"/>
                  </a:lnTo>
                  <a:lnTo>
                    <a:pt x="418" y="210"/>
                  </a:lnTo>
                  <a:lnTo>
                    <a:pt x="416" y="208"/>
                  </a:lnTo>
                  <a:lnTo>
                    <a:pt x="415" y="208"/>
                  </a:lnTo>
                  <a:lnTo>
                    <a:pt x="415" y="210"/>
                  </a:lnTo>
                  <a:lnTo>
                    <a:pt x="414" y="209"/>
                  </a:lnTo>
                  <a:lnTo>
                    <a:pt x="415" y="207"/>
                  </a:lnTo>
                  <a:lnTo>
                    <a:pt x="413" y="207"/>
                  </a:lnTo>
                  <a:lnTo>
                    <a:pt x="413" y="209"/>
                  </a:lnTo>
                  <a:lnTo>
                    <a:pt x="413" y="210"/>
                  </a:lnTo>
                  <a:lnTo>
                    <a:pt x="413" y="212"/>
                  </a:lnTo>
                  <a:lnTo>
                    <a:pt x="413" y="214"/>
                  </a:lnTo>
                  <a:lnTo>
                    <a:pt x="414" y="215"/>
                  </a:lnTo>
                  <a:lnTo>
                    <a:pt x="414" y="219"/>
                  </a:lnTo>
                  <a:lnTo>
                    <a:pt x="413" y="220"/>
                  </a:lnTo>
                  <a:lnTo>
                    <a:pt x="414" y="221"/>
                  </a:lnTo>
                  <a:lnTo>
                    <a:pt x="416" y="224"/>
                  </a:lnTo>
                  <a:lnTo>
                    <a:pt x="418" y="224"/>
                  </a:lnTo>
                  <a:lnTo>
                    <a:pt x="418" y="221"/>
                  </a:lnTo>
                  <a:lnTo>
                    <a:pt x="420" y="221"/>
                  </a:lnTo>
                  <a:lnTo>
                    <a:pt x="421" y="224"/>
                  </a:lnTo>
                  <a:lnTo>
                    <a:pt x="424" y="224"/>
                  </a:lnTo>
                  <a:lnTo>
                    <a:pt x="421" y="225"/>
                  </a:lnTo>
                  <a:lnTo>
                    <a:pt x="424" y="226"/>
                  </a:lnTo>
                  <a:lnTo>
                    <a:pt x="421" y="227"/>
                  </a:lnTo>
                  <a:lnTo>
                    <a:pt x="418" y="226"/>
                  </a:lnTo>
                  <a:lnTo>
                    <a:pt x="416" y="226"/>
                  </a:lnTo>
                  <a:lnTo>
                    <a:pt x="415" y="226"/>
                  </a:lnTo>
                  <a:lnTo>
                    <a:pt x="413" y="225"/>
                  </a:lnTo>
                  <a:lnTo>
                    <a:pt x="410" y="226"/>
                  </a:lnTo>
                  <a:lnTo>
                    <a:pt x="408" y="228"/>
                  </a:lnTo>
                  <a:lnTo>
                    <a:pt x="407" y="226"/>
                  </a:lnTo>
                  <a:lnTo>
                    <a:pt x="406" y="228"/>
                  </a:lnTo>
                  <a:lnTo>
                    <a:pt x="406" y="226"/>
                  </a:lnTo>
                  <a:lnTo>
                    <a:pt x="403" y="225"/>
                  </a:lnTo>
                  <a:lnTo>
                    <a:pt x="403" y="226"/>
                  </a:lnTo>
                  <a:lnTo>
                    <a:pt x="403" y="227"/>
                  </a:lnTo>
                  <a:lnTo>
                    <a:pt x="402" y="227"/>
                  </a:lnTo>
                  <a:lnTo>
                    <a:pt x="402" y="230"/>
                  </a:lnTo>
                  <a:lnTo>
                    <a:pt x="403" y="231"/>
                  </a:lnTo>
                  <a:lnTo>
                    <a:pt x="402" y="231"/>
                  </a:lnTo>
                  <a:lnTo>
                    <a:pt x="401" y="232"/>
                  </a:lnTo>
                  <a:lnTo>
                    <a:pt x="401" y="231"/>
                  </a:lnTo>
                  <a:lnTo>
                    <a:pt x="399" y="228"/>
                  </a:lnTo>
                  <a:lnTo>
                    <a:pt x="399" y="230"/>
                  </a:lnTo>
                  <a:lnTo>
                    <a:pt x="399" y="227"/>
                  </a:lnTo>
                  <a:lnTo>
                    <a:pt x="398" y="228"/>
                  </a:lnTo>
                  <a:lnTo>
                    <a:pt x="397" y="230"/>
                  </a:lnTo>
                  <a:lnTo>
                    <a:pt x="397" y="228"/>
                  </a:lnTo>
                  <a:lnTo>
                    <a:pt x="396" y="228"/>
                  </a:lnTo>
                  <a:lnTo>
                    <a:pt x="395" y="227"/>
                  </a:lnTo>
                  <a:lnTo>
                    <a:pt x="393" y="227"/>
                  </a:lnTo>
                  <a:lnTo>
                    <a:pt x="393" y="226"/>
                  </a:lnTo>
                  <a:lnTo>
                    <a:pt x="392" y="226"/>
                  </a:lnTo>
                  <a:lnTo>
                    <a:pt x="391" y="227"/>
                  </a:lnTo>
                  <a:lnTo>
                    <a:pt x="390" y="230"/>
                  </a:lnTo>
                  <a:lnTo>
                    <a:pt x="389" y="231"/>
                  </a:lnTo>
                  <a:lnTo>
                    <a:pt x="389" y="232"/>
                  </a:lnTo>
                  <a:lnTo>
                    <a:pt x="387" y="230"/>
                  </a:lnTo>
                  <a:lnTo>
                    <a:pt x="386" y="230"/>
                  </a:lnTo>
                  <a:lnTo>
                    <a:pt x="384" y="230"/>
                  </a:lnTo>
                  <a:lnTo>
                    <a:pt x="383" y="230"/>
                  </a:lnTo>
                  <a:lnTo>
                    <a:pt x="380" y="230"/>
                  </a:lnTo>
                  <a:lnTo>
                    <a:pt x="379" y="231"/>
                  </a:lnTo>
                  <a:lnTo>
                    <a:pt x="379" y="233"/>
                  </a:lnTo>
                  <a:lnTo>
                    <a:pt x="378" y="233"/>
                  </a:lnTo>
                  <a:lnTo>
                    <a:pt x="377" y="231"/>
                  </a:lnTo>
                  <a:lnTo>
                    <a:pt x="377" y="232"/>
                  </a:lnTo>
                  <a:lnTo>
                    <a:pt x="375" y="233"/>
                  </a:lnTo>
                  <a:lnTo>
                    <a:pt x="377" y="234"/>
                  </a:lnTo>
                  <a:lnTo>
                    <a:pt x="377" y="237"/>
                  </a:lnTo>
                  <a:lnTo>
                    <a:pt x="378" y="238"/>
                  </a:lnTo>
                  <a:lnTo>
                    <a:pt x="379" y="238"/>
                  </a:lnTo>
                  <a:lnTo>
                    <a:pt x="380" y="237"/>
                  </a:lnTo>
                  <a:lnTo>
                    <a:pt x="381" y="238"/>
                  </a:lnTo>
                  <a:lnTo>
                    <a:pt x="381" y="236"/>
                  </a:lnTo>
                  <a:lnTo>
                    <a:pt x="381" y="234"/>
                  </a:lnTo>
                  <a:lnTo>
                    <a:pt x="384" y="236"/>
                  </a:lnTo>
                  <a:lnTo>
                    <a:pt x="384" y="237"/>
                  </a:lnTo>
                  <a:lnTo>
                    <a:pt x="386" y="237"/>
                  </a:lnTo>
                  <a:lnTo>
                    <a:pt x="386" y="239"/>
                  </a:lnTo>
                  <a:lnTo>
                    <a:pt x="386" y="238"/>
                  </a:lnTo>
                  <a:lnTo>
                    <a:pt x="385" y="239"/>
                  </a:lnTo>
                  <a:lnTo>
                    <a:pt x="386" y="240"/>
                  </a:lnTo>
                  <a:lnTo>
                    <a:pt x="385" y="240"/>
                  </a:lnTo>
                  <a:lnTo>
                    <a:pt x="384" y="242"/>
                  </a:lnTo>
                  <a:lnTo>
                    <a:pt x="385" y="243"/>
                  </a:lnTo>
                  <a:lnTo>
                    <a:pt x="386" y="242"/>
                  </a:lnTo>
                  <a:lnTo>
                    <a:pt x="387" y="240"/>
                  </a:lnTo>
                  <a:lnTo>
                    <a:pt x="387" y="243"/>
                  </a:lnTo>
                  <a:lnTo>
                    <a:pt x="387" y="245"/>
                  </a:lnTo>
                  <a:lnTo>
                    <a:pt x="386" y="245"/>
                  </a:lnTo>
                  <a:lnTo>
                    <a:pt x="385" y="246"/>
                  </a:lnTo>
                  <a:lnTo>
                    <a:pt x="387" y="246"/>
                  </a:lnTo>
                  <a:lnTo>
                    <a:pt x="389" y="246"/>
                  </a:lnTo>
                  <a:lnTo>
                    <a:pt x="390" y="246"/>
                  </a:lnTo>
                  <a:lnTo>
                    <a:pt x="391" y="249"/>
                  </a:lnTo>
                  <a:lnTo>
                    <a:pt x="391" y="250"/>
                  </a:lnTo>
                  <a:lnTo>
                    <a:pt x="392" y="251"/>
                  </a:lnTo>
                  <a:lnTo>
                    <a:pt x="393" y="251"/>
                  </a:lnTo>
                  <a:lnTo>
                    <a:pt x="395" y="251"/>
                  </a:lnTo>
                  <a:lnTo>
                    <a:pt x="396" y="253"/>
                  </a:lnTo>
                  <a:lnTo>
                    <a:pt x="396" y="251"/>
                  </a:lnTo>
                  <a:lnTo>
                    <a:pt x="396" y="250"/>
                  </a:lnTo>
                  <a:lnTo>
                    <a:pt x="397" y="249"/>
                  </a:lnTo>
                  <a:lnTo>
                    <a:pt x="398" y="248"/>
                  </a:lnTo>
                  <a:lnTo>
                    <a:pt x="401" y="248"/>
                  </a:lnTo>
                  <a:lnTo>
                    <a:pt x="399" y="250"/>
                  </a:lnTo>
                  <a:lnTo>
                    <a:pt x="399" y="253"/>
                  </a:lnTo>
                  <a:lnTo>
                    <a:pt x="401" y="255"/>
                  </a:lnTo>
                  <a:lnTo>
                    <a:pt x="401" y="256"/>
                  </a:lnTo>
                  <a:lnTo>
                    <a:pt x="401" y="257"/>
                  </a:lnTo>
                  <a:lnTo>
                    <a:pt x="402" y="256"/>
                  </a:lnTo>
                  <a:lnTo>
                    <a:pt x="403" y="257"/>
                  </a:lnTo>
                  <a:lnTo>
                    <a:pt x="402" y="260"/>
                  </a:lnTo>
                  <a:lnTo>
                    <a:pt x="402" y="262"/>
                  </a:lnTo>
                  <a:lnTo>
                    <a:pt x="404" y="262"/>
                  </a:lnTo>
                  <a:lnTo>
                    <a:pt x="406" y="261"/>
                  </a:lnTo>
                  <a:lnTo>
                    <a:pt x="407" y="261"/>
                  </a:lnTo>
                  <a:lnTo>
                    <a:pt x="408" y="262"/>
                  </a:lnTo>
                  <a:lnTo>
                    <a:pt x="409" y="262"/>
                  </a:lnTo>
                  <a:lnTo>
                    <a:pt x="408" y="262"/>
                  </a:lnTo>
                  <a:lnTo>
                    <a:pt x="409" y="262"/>
                  </a:lnTo>
                  <a:lnTo>
                    <a:pt x="410" y="261"/>
                  </a:lnTo>
                  <a:lnTo>
                    <a:pt x="410" y="260"/>
                  </a:lnTo>
                  <a:lnTo>
                    <a:pt x="412" y="261"/>
                  </a:lnTo>
                  <a:lnTo>
                    <a:pt x="413" y="262"/>
                  </a:lnTo>
                  <a:lnTo>
                    <a:pt x="412" y="263"/>
                  </a:lnTo>
                  <a:lnTo>
                    <a:pt x="413" y="263"/>
                  </a:lnTo>
                  <a:lnTo>
                    <a:pt x="416" y="266"/>
                  </a:lnTo>
                  <a:lnTo>
                    <a:pt x="415" y="266"/>
                  </a:lnTo>
                  <a:lnTo>
                    <a:pt x="414" y="267"/>
                  </a:lnTo>
                  <a:lnTo>
                    <a:pt x="416" y="268"/>
                  </a:lnTo>
                  <a:lnTo>
                    <a:pt x="416" y="273"/>
                  </a:lnTo>
                  <a:lnTo>
                    <a:pt x="415" y="275"/>
                  </a:lnTo>
                  <a:lnTo>
                    <a:pt x="414" y="274"/>
                  </a:lnTo>
                  <a:lnTo>
                    <a:pt x="414" y="275"/>
                  </a:lnTo>
                  <a:lnTo>
                    <a:pt x="410" y="279"/>
                  </a:lnTo>
                  <a:lnTo>
                    <a:pt x="408" y="279"/>
                  </a:lnTo>
                  <a:lnTo>
                    <a:pt x="408" y="281"/>
                  </a:lnTo>
                  <a:lnTo>
                    <a:pt x="407" y="281"/>
                  </a:lnTo>
                  <a:lnTo>
                    <a:pt x="406" y="281"/>
                  </a:lnTo>
                  <a:lnTo>
                    <a:pt x="407" y="284"/>
                  </a:lnTo>
                  <a:lnTo>
                    <a:pt x="413" y="285"/>
                  </a:lnTo>
                  <a:lnTo>
                    <a:pt x="416" y="285"/>
                  </a:lnTo>
                  <a:lnTo>
                    <a:pt x="418" y="286"/>
                  </a:lnTo>
                  <a:lnTo>
                    <a:pt x="419" y="287"/>
                  </a:lnTo>
                  <a:lnTo>
                    <a:pt x="419" y="290"/>
                  </a:lnTo>
                  <a:lnTo>
                    <a:pt x="418" y="289"/>
                  </a:lnTo>
                  <a:lnTo>
                    <a:pt x="416" y="289"/>
                  </a:lnTo>
                  <a:lnTo>
                    <a:pt x="414" y="287"/>
                  </a:lnTo>
                  <a:lnTo>
                    <a:pt x="413" y="287"/>
                  </a:lnTo>
                  <a:lnTo>
                    <a:pt x="413" y="285"/>
                  </a:lnTo>
                  <a:lnTo>
                    <a:pt x="410" y="285"/>
                  </a:lnTo>
                  <a:lnTo>
                    <a:pt x="407" y="284"/>
                  </a:lnTo>
                  <a:lnTo>
                    <a:pt x="406" y="285"/>
                  </a:lnTo>
                  <a:lnTo>
                    <a:pt x="406" y="286"/>
                  </a:lnTo>
                  <a:lnTo>
                    <a:pt x="404" y="287"/>
                  </a:lnTo>
                  <a:lnTo>
                    <a:pt x="404" y="289"/>
                  </a:lnTo>
                  <a:lnTo>
                    <a:pt x="403" y="290"/>
                  </a:lnTo>
                  <a:lnTo>
                    <a:pt x="402" y="290"/>
                  </a:lnTo>
                  <a:lnTo>
                    <a:pt x="401" y="291"/>
                  </a:lnTo>
                  <a:lnTo>
                    <a:pt x="401" y="292"/>
                  </a:lnTo>
                  <a:lnTo>
                    <a:pt x="401" y="289"/>
                  </a:lnTo>
                  <a:lnTo>
                    <a:pt x="401" y="286"/>
                  </a:lnTo>
                  <a:lnTo>
                    <a:pt x="402" y="284"/>
                  </a:lnTo>
                  <a:lnTo>
                    <a:pt x="404" y="284"/>
                  </a:lnTo>
                  <a:lnTo>
                    <a:pt x="404" y="281"/>
                  </a:lnTo>
                  <a:lnTo>
                    <a:pt x="402" y="281"/>
                  </a:lnTo>
                  <a:lnTo>
                    <a:pt x="402" y="283"/>
                  </a:lnTo>
                  <a:lnTo>
                    <a:pt x="401" y="284"/>
                  </a:lnTo>
                  <a:lnTo>
                    <a:pt x="401" y="285"/>
                  </a:lnTo>
                  <a:lnTo>
                    <a:pt x="399" y="286"/>
                  </a:lnTo>
                  <a:lnTo>
                    <a:pt x="399" y="284"/>
                  </a:lnTo>
                  <a:lnTo>
                    <a:pt x="401" y="281"/>
                  </a:lnTo>
                  <a:lnTo>
                    <a:pt x="399" y="281"/>
                  </a:lnTo>
                  <a:lnTo>
                    <a:pt x="398" y="281"/>
                  </a:lnTo>
                  <a:lnTo>
                    <a:pt x="398" y="283"/>
                  </a:lnTo>
                  <a:lnTo>
                    <a:pt x="397" y="284"/>
                  </a:lnTo>
                  <a:lnTo>
                    <a:pt x="396" y="281"/>
                  </a:lnTo>
                  <a:lnTo>
                    <a:pt x="395" y="280"/>
                  </a:lnTo>
                  <a:lnTo>
                    <a:pt x="393" y="280"/>
                  </a:lnTo>
                  <a:lnTo>
                    <a:pt x="391" y="279"/>
                  </a:lnTo>
                  <a:lnTo>
                    <a:pt x="392" y="277"/>
                  </a:lnTo>
                  <a:lnTo>
                    <a:pt x="390" y="278"/>
                  </a:lnTo>
                  <a:lnTo>
                    <a:pt x="389" y="279"/>
                  </a:lnTo>
                  <a:lnTo>
                    <a:pt x="389" y="278"/>
                  </a:lnTo>
                  <a:lnTo>
                    <a:pt x="390" y="275"/>
                  </a:lnTo>
                  <a:lnTo>
                    <a:pt x="389" y="275"/>
                  </a:lnTo>
                  <a:lnTo>
                    <a:pt x="386" y="274"/>
                  </a:lnTo>
                  <a:lnTo>
                    <a:pt x="386" y="273"/>
                  </a:lnTo>
                  <a:lnTo>
                    <a:pt x="385" y="273"/>
                  </a:lnTo>
                  <a:lnTo>
                    <a:pt x="384" y="273"/>
                  </a:lnTo>
                  <a:lnTo>
                    <a:pt x="383" y="272"/>
                  </a:lnTo>
                  <a:lnTo>
                    <a:pt x="385" y="272"/>
                  </a:lnTo>
                  <a:lnTo>
                    <a:pt x="385" y="271"/>
                  </a:lnTo>
                  <a:lnTo>
                    <a:pt x="384" y="269"/>
                  </a:lnTo>
                  <a:lnTo>
                    <a:pt x="385" y="268"/>
                  </a:lnTo>
                  <a:lnTo>
                    <a:pt x="384" y="269"/>
                  </a:lnTo>
                  <a:lnTo>
                    <a:pt x="383" y="268"/>
                  </a:lnTo>
                  <a:lnTo>
                    <a:pt x="381" y="267"/>
                  </a:lnTo>
                  <a:lnTo>
                    <a:pt x="380" y="267"/>
                  </a:lnTo>
                  <a:lnTo>
                    <a:pt x="380" y="271"/>
                  </a:lnTo>
                  <a:lnTo>
                    <a:pt x="380" y="277"/>
                  </a:lnTo>
                  <a:lnTo>
                    <a:pt x="381" y="278"/>
                  </a:lnTo>
                  <a:lnTo>
                    <a:pt x="381" y="279"/>
                  </a:lnTo>
                  <a:lnTo>
                    <a:pt x="381" y="281"/>
                  </a:lnTo>
                  <a:lnTo>
                    <a:pt x="380" y="280"/>
                  </a:lnTo>
                  <a:lnTo>
                    <a:pt x="380" y="278"/>
                  </a:lnTo>
                  <a:lnTo>
                    <a:pt x="379" y="274"/>
                  </a:lnTo>
                  <a:lnTo>
                    <a:pt x="378" y="275"/>
                  </a:lnTo>
                  <a:lnTo>
                    <a:pt x="377" y="278"/>
                  </a:lnTo>
                  <a:lnTo>
                    <a:pt x="377" y="280"/>
                  </a:lnTo>
                  <a:lnTo>
                    <a:pt x="377" y="283"/>
                  </a:lnTo>
                  <a:lnTo>
                    <a:pt x="375" y="285"/>
                  </a:lnTo>
                  <a:lnTo>
                    <a:pt x="373" y="287"/>
                  </a:lnTo>
                  <a:lnTo>
                    <a:pt x="372" y="290"/>
                  </a:lnTo>
                  <a:lnTo>
                    <a:pt x="375" y="293"/>
                  </a:lnTo>
                  <a:lnTo>
                    <a:pt x="378" y="295"/>
                  </a:lnTo>
                  <a:lnTo>
                    <a:pt x="378" y="293"/>
                  </a:lnTo>
                  <a:lnTo>
                    <a:pt x="380" y="295"/>
                  </a:lnTo>
                  <a:lnTo>
                    <a:pt x="381" y="296"/>
                  </a:lnTo>
                  <a:lnTo>
                    <a:pt x="380" y="296"/>
                  </a:lnTo>
                  <a:lnTo>
                    <a:pt x="381" y="297"/>
                  </a:lnTo>
                  <a:lnTo>
                    <a:pt x="383" y="296"/>
                  </a:lnTo>
                  <a:lnTo>
                    <a:pt x="384" y="296"/>
                  </a:lnTo>
                  <a:lnTo>
                    <a:pt x="385" y="295"/>
                  </a:lnTo>
                  <a:lnTo>
                    <a:pt x="385" y="292"/>
                  </a:lnTo>
                  <a:lnTo>
                    <a:pt x="386" y="291"/>
                  </a:lnTo>
                  <a:lnTo>
                    <a:pt x="389" y="293"/>
                  </a:lnTo>
                  <a:lnTo>
                    <a:pt x="386" y="296"/>
                  </a:lnTo>
                  <a:lnTo>
                    <a:pt x="386" y="298"/>
                  </a:lnTo>
                  <a:lnTo>
                    <a:pt x="387" y="297"/>
                  </a:lnTo>
                  <a:lnTo>
                    <a:pt x="389" y="296"/>
                  </a:lnTo>
                  <a:lnTo>
                    <a:pt x="389" y="298"/>
                  </a:lnTo>
                  <a:lnTo>
                    <a:pt x="390" y="297"/>
                  </a:lnTo>
                  <a:lnTo>
                    <a:pt x="391" y="297"/>
                  </a:lnTo>
                  <a:lnTo>
                    <a:pt x="391" y="299"/>
                  </a:lnTo>
                  <a:lnTo>
                    <a:pt x="387" y="299"/>
                  </a:lnTo>
                  <a:lnTo>
                    <a:pt x="387" y="301"/>
                  </a:lnTo>
                  <a:lnTo>
                    <a:pt x="389" y="302"/>
                  </a:lnTo>
                  <a:lnTo>
                    <a:pt x="390" y="302"/>
                  </a:lnTo>
                  <a:lnTo>
                    <a:pt x="391" y="305"/>
                  </a:lnTo>
                  <a:lnTo>
                    <a:pt x="390" y="307"/>
                  </a:lnTo>
                  <a:lnTo>
                    <a:pt x="389" y="305"/>
                  </a:lnTo>
                  <a:lnTo>
                    <a:pt x="389" y="307"/>
                  </a:lnTo>
                  <a:lnTo>
                    <a:pt x="387" y="309"/>
                  </a:lnTo>
                  <a:lnTo>
                    <a:pt x="386" y="308"/>
                  </a:lnTo>
                  <a:lnTo>
                    <a:pt x="385" y="307"/>
                  </a:lnTo>
                  <a:lnTo>
                    <a:pt x="386" y="304"/>
                  </a:lnTo>
                  <a:lnTo>
                    <a:pt x="386" y="302"/>
                  </a:lnTo>
                  <a:lnTo>
                    <a:pt x="385" y="302"/>
                  </a:lnTo>
                  <a:lnTo>
                    <a:pt x="384" y="304"/>
                  </a:lnTo>
                  <a:lnTo>
                    <a:pt x="383" y="303"/>
                  </a:lnTo>
                  <a:lnTo>
                    <a:pt x="383" y="299"/>
                  </a:lnTo>
                  <a:lnTo>
                    <a:pt x="383" y="301"/>
                  </a:lnTo>
                  <a:lnTo>
                    <a:pt x="380" y="301"/>
                  </a:lnTo>
                  <a:lnTo>
                    <a:pt x="380" y="297"/>
                  </a:lnTo>
                  <a:lnTo>
                    <a:pt x="379" y="297"/>
                  </a:lnTo>
                  <a:lnTo>
                    <a:pt x="379" y="298"/>
                  </a:lnTo>
                  <a:lnTo>
                    <a:pt x="377" y="298"/>
                  </a:lnTo>
                  <a:lnTo>
                    <a:pt x="377" y="297"/>
                  </a:lnTo>
                  <a:lnTo>
                    <a:pt x="378" y="296"/>
                  </a:lnTo>
                  <a:lnTo>
                    <a:pt x="378" y="295"/>
                  </a:lnTo>
                  <a:lnTo>
                    <a:pt x="375" y="293"/>
                  </a:lnTo>
                  <a:lnTo>
                    <a:pt x="372" y="291"/>
                  </a:lnTo>
                  <a:lnTo>
                    <a:pt x="372" y="293"/>
                  </a:lnTo>
                  <a:lnTo>
                    <a:pt x="373" y="295"/>
                  </a:lnTo>
                  <a:lnTo>
                    <a:pt x="373" y="297"/>
                  </a:lnTo>
                  <a:lnTo>
                    <a:pt x="374" y="299"/>
                  </a:lnTo>
                  <a:lnTo>
                    <a:pt x="373" y="303"/>
                  </a:lnTo>
                  <a:lnTo>
                    <a:pt x="372" y="305"/>
                  </a:lnTo>
                  <a:lnTo>
                    <a:pt x="371" y="307"/>
                  </a:lnTo>
                  <a:lnTo>
                    <a:pt x="369" y="309"/>
                  </a:lnTo>
                  <a:lnTo>
                    <a:pt x="371" y="310"/>
                  </a:lnTo>
                  <a:lnTo>
                    <a:pt x="371" y="311"/>
                  </a:lnTo>
                  <a:lnTo>
                    <a:pt x="373" y="313"/>
                  </a:lnTo>
                  <a:lnTo>
                    <a:pt x="373" y="310"/>
                  </a:lnTo>
                  <a:lnTo>
                    <a:pt x="375" y="309"/>
                  </a:lnTo>
                  <a:lnTo>
                    <a:pt x="377" y="310"/>
                  </a:lnTo>
                  <a:lnTo>
                    <a:pt x="377" y="311"/>
                  </a:lnTo>
                  <a:lnTo>
                    <a:pt x="378" y="311"/>
                  </a:lnTo>
                  <a:lnTo>
                    <a:pt x="379" y="311"/>
                  </a:lnTo>
                  <a:lnTo>
                    <a:pt x="381" y="313"/>
                  </a:lnTo>
                  <a:lnTo>
                    <a:pt x="381" y="314"/>
                  </a:lnTo>
                  <a:lnTo>
                    <a:pt x="383" y="313"/>
                  </a:lnTo>
                  <a:lnTo>
                    <a:pt x="384" y="311"/>
                  </a:lnTo>
                  <a:lnTo>
                    <a:pt x="386" y="311"/>
                  </a:lnTo>
                  <a:lnTo>
                    <a:pt x="387" y="311"/>
                  </a:lnTo>
                  <a:lnTo>
                    <a:pt x="385" y="313"/>
                  </a:lnTo>
                  <a:lnTo>
                    <a:pt x="384" y="314"/>
                  </a:lnTo>
                  <a:lnTo>
                    <a:pt x="384" y="315"/>
                  </a:lnTo>
                  <a:lnTo>
                    <a:pt x="385" y="315"/>
                  </a:lnTo>
                  <a:lnTo>
                    <a:pt x="387" y="315"/>
                  </a:lnTo>
                  <a:lnTo>
                    <a:pt x="389" y="315"/>
                  </a:lnTo>
                  <a:lnTo>
                    <a:pt x="390" y="314"/>
                  </a:lnTo>
                  <a:lnTo>
                    <a:pt x="391" y="314"/>
                  </a:lnTo>
                  <a:lnTo>
                    <a:pt x="393" y="314"/>
                  </a:lnTo>
                  <a:lnTo>
                    <a:pt x="393" y="313"/>
                  </a:lnTo>
                  <a:lnTo>
                    <a:pt x="393" y="314"/>
                  </a:lnTo>
                  <a:lnTo>
                    <a:pt x="395" y="316"/>
                  </a:lnTo>
                  <a:lnTo>
                    <a:pt x="392" y="319"/>
                  </a:lnTo>
                  <a:lnTo>
                    <a:pt x="393" y="320"/>
                  </a:lnTo>
                  <a:lnTo>
                    <a:pt x="395" y="321"/>
                  </a:lnTo>
                  <a:lnTo>
                    <a:pt x="393" y="326"/>
                  </a:lnTo>
                  <a:lnTo>
                    <a:pt x="392" y="328"/>
                  </a:lnTo>
                  <a:lnTo>
                    <a:pt x="391" y="329"/>
                  </a:lnTo>
                  <a:lnTo>
                    <a:pt x="391" y="332"/>
                  </a:lnTo>
                  <a:lnTo>
                    <a:pt x="390" y="332"/>
                  </a:lnTo>
                  <a:lnTo>
                    <a:pt x="392" y="333"/>
                  </a:lnTo>
                  <a:lnTo>
                    <a:pt x="391" y="337"/>
                  </a:lnTo>
                  <a:lnTo>
                    <a:pt x="391" y="339"/>
                  </a:lnTo>
                  <a:lnTo>
                    <a:pt x="390" y="338"/>
                  </a:lnTo>
                  <a:lnTo>
                    <a:pt x="389" y="339"/>
                  </a:lnTo>
                  <a:lnTo>
                    <a:pt x="389" y="341"/>
                  </a:lnTo>
                  <a:lnTo>
                    <a:pt x="387" y="341"/>
                  </a:lnTo>
                  <a:lnTo>
                    <a:pt x="387" y="343"/>
                  </a:lnTo>
                  <a:lnTo>
                    <a:pt x="389" y="344"/>
                  </a:lnTo>
                  <a:lnTo>
                    <a:pt x="390" y="344"/>
                  </a:lnTo>
                  <a:lnTo>
                    <a:pt x="390" y="341"/>
                  </a:lnTo>
                  <a:lnTo>
                    <a:pt x="390" y="340"/>
                  </a:lnTo>
                  <a:lnTo>
                    <a:pt x="391" y="340"/>
                  </a:lnTo>
                  <a:lnTo>
                    <a:pt x="392" y="344"/>
                  </a:lnTo>
                  <a:lnTo>
                    <a:pt x="392" y="345"/>
                  </a:lnTo>
                  <a:lnTo>
                    <a:pt x="393" y="346"/>
                  </a:lnTo>
                  <a:lnTo>
                    <a:pt x="395" y="347"/>
                  </a:lnTo>
                  <a:lnTo>
                    <a:pt x="395" y="349"/>
                  </a:lnTo>
                  <a:lnTo>
                    <a:pt x="395" y="350"/>
                  </a:lnTo>
                  <a:lnTo>
                    <a:pt x="396" y="351"/>
                  </a:lnTo>
                  <a:lnTo>
                    <a:pt x="397" y="352"/>
                  </a:lnTo>
                  <a:lnTo>
                    <a:pt x="397" y="351"/>
                  </a:lnTo>
                  <a:lnTo>
                    <a:pt x="398" y="352"/>
                  </a:lnTo>
                  <a:lnTo>
                    <a:pt x="399" y="352"/>
                  </a:lnTo>
                  <a:lnTo>
                    <a:pt x="402" y="355"/>
                  </a:lnTo>
                  <a:lnTo>
                    <a:pt x="399" y="355"/>
                  </a:lnTo>
                  <a:lnTo>
                    <a:pt x="398" y="355"/>
                  </a:lnTo>
                  <a:lnTo>
                    <a:pt x="397" y="355"/>
                  </a:lnTo>
                  <a:lnTo>
                    <a:pt x="399" y="357"/>
                  </a:lnTo>
                  <a:lnTo>
                    <a:pt x="402" y="358"/>
                  </a:lnTo>
                  <a:lnTo>
                    <a:pt x="401" y="361"/>
                  </a:lnTo>
                  <a:lnTo>
                    <a:pt x="398" y="358"/>
                  </a:lnTo>
                  <a:lnTo>
                    <a:pt x="397" y="357"/>
                  </a:lnTo>
                  <a:lnTo>
                    <a:pt x="397" y="358"/>
                  </a:lnTo>
                  <a:lnTo>
                    <a:pt x="396" y="358"/>
                  </a:lnTo>
                  <a:lnTo>
                    <a:pt x="395" y="358"/>
                  </a:lnTo>
                  <a:lnTo>
                    <a:pt x="393" y="361"/>
                  </a:lnTo>
                  <a:lnTo>
                    <a:pt x="391" y="362"/>
                  </a:lnTo>
                  <a:lnTo>
                    <a:pt x="390" y="363"/>
                  </a:lnTo>
                  <a:lnTo>
                    <a:pt x="390" y="360"/>
                  </a:lnTo>
                  <a:lnTo>
                    <a:pt x="391" y="357"/>
                  </a:lnTo>
                  <a:lnTo>
                    <a:pt x="391" y="356"/>
                  </a:lnTo>
                  <a:lnTo>
                    <a:pt x="391" y="355"/>
                  </a:lnTo>
                  <a:lnTo>
                    <a:pt x="390" y="356"/>
                  </a:lnTo>
                  <a:lnTo>
                    <a:pt x="389" y="356"/>
                  </a:lnTo>
                  <a:lnTo>
                    <a:pt x="389" y="352"/>
                  </a:lnTo>
                  <a:lnTo>
                    <a:pt x="386" y="351"/>
                  </a:lnTo>
                  <a:lnTo>
                    <a:pt x="387" y="355"/>
                  </a:lnTo>
                  <a:lnTo>
                    <a:pt x="385" y="356"/>
                  </a:lnTo>
                  <a:lnTo>
                    <a:pt x="385" y="357"/>
                  </a:lnTo>
                  <a:lnTo>
                    <a:pt x="385" y="360"/>
                  </a:lnTo>
                  <a:lnTo>
                    <a:pt x="384" y="357"/>
                  </a:lnTo>
                  <a:lnTo>
                    <a:pt x="385" y="360"/>
                  </a:lnTo>
                  <a:lnTo>
                    <a:pt x="386" y="361"/>
                  </a:lnTo>
                  <a:lnTo>
                    <a:pt x="384" y="360"/>
                  </a:lnTo>
                  <a:lnTo>
                    <a:pt x="384" y="361"/>
                  </a:lnTo>
                  <a:lnTo>
                    <a:pt x="383" y="361"/>
                  </a:lnTo>
                  <a:lnTo>
                    <a:pt x="381" y="363"/>
                  </a:lnTo>
                  <a:lnTo>
                    <a:pt x="380" y="364"/>
                  </a:lnTo>
                  <a:lnTo>
                    <a:pt x="379" y="367"/>
                  </a:lnTo>
                  <a:lnTo>
                    <a:pt x="379" y="364"/>
                  </a:lnTo>
                  <a:lnTo>
                    <a:pt x="378" y="363"/>
                  </a:lnTo>
                  <a:lnTo>
                    <a:pt x="378" y="366"/>
                  </a:lnTo>
                  <a:lnTo>
                    <a:pt x="377" y="367"/>
                  </a:lnTo>
                  <a:lnTo>
                    <a:pt x="377" y="364"/>
                  </a:lnTo>
                  <a:lnTo>
                    <a:pt x="375" y="364"/>
                  </a:lnTo>
                  <a:lnTo>
                    <a:pt x="375" y="367"/>
                  </a:lnTo>
                  <a:lnTo>
                    <a:pt x="375" y="368"/>
                  </a:lnTo>
                  <a:lnTo>
                    <a:pt x="374" y="367"/>
                  </a:lnTo>
                  <a:lnTo>
                    <a:pt x="373" y="369"/>
                  </a:lnTo>
                  <a:lnTo>
                    <a:pt x="373" y="370"/>
                  </a:lnTo>
                  <a:lnTo>
                    <a:pt x="372" y="369"/>
                  </a:lnTo>
                  <a:lnTo>
                    <a:pt x="371" y="369"/>
                  </a:lnTo>
                  <a:lnTo>
                    <a:pt x="371" y="370"/>
                  </a:lnTo>
                  <a:lnTo>
                    <a:pt x="369" y="369"/>
                  </a:lnTo>
                  <a:lnTo>
                    <a:pt x="369" y="370"/>
                  </a:lnTo>
                  <a:lnTo>
                    <a:pt x="368" y="370"/>
                  </a:lnTo>
                  <a:lnTo>
                    <a:pt x="368" y="368"/>
                  </a:lnTo>
                  <a:lnTo>
                    <a:pt x="367" y="367"/>
                  </a:lnTo>
                  <a:lnTo>
                    <a:pt x="367" y="364"/>
                  </a:lnTo>
                  <a:lnTo>
                    <a:pt x="366" y="364"/>
                  </a:lnTo>
                  <a:lnTo>
                    <a:pt x="366" y="366"/>
                  </a:lnTo>
                  <a:lnTo>
                    <a:pt x="366" y="368"/>
                  </a:lnTo>
                  <a:lnTo>
                    <a:pt x="366" y="370"/>
                  </a:lnTo>
                  <a:lnTo>
                    <a:pt x="367" y="373"/>
                  </a:lnTo>
                  <a:lnTo>
                    <a:pt x="367" y="375"/>
                  </a:lnTo>
                  <a:lnTo>
                    <a:pt x="368" y="376"/>
                  </a:lnTo>
                  <a:lnTo>
                    <a:pt x="367" y="376"/>
                  </a:lnTo>
                  <a:lnTo>
                    <a:pt x="366" y="375"/>
                  </a:lnTo>
                  <a:lnTo>
                    <a:pt x="365" y="375"/>
                  </a:lnTo>
                  <a:lnTo>
                    <a:pt x="363" y="375"/>
                  </a:lnTo>
                  <a:lnTo>
                    <a:pt x="363" y="378"/>
                  </a:lnTo>
                  <a:lnTo>
                    <a:pt x="363" y="380"/>
                  </a:lnTo>
                  <a:lnTo>
                    <a:pt x="362" y="381"/>
                  </a:lnTo>
                  <a:lnTo>
                    <a:pt x="362" y="380"/>
                  </a:lnTo>
                  <a:lnTo>
                    <a:pt x="361" y="381"/>
                  </a:lnTo>
                  <a:lnTo>
                    <a:pt x="360" y="384"/>
                  </a:lnTo>
                  <a:lnTo>
                    <a:pt x="360" y="386"/>
                  </a:lnTo>
                  <a:lnTo>
                    <a:pt x="360" y="390"/>
                  </a:lnTo>
                  <a:lnTo>
                    <a:pt x="362" y="392"/>
                  </a:lnTo>
                  <a:lnTo>
                    <a:pt x="361" y="393"/>
                  </a:lnTo>
                  <a:lnTo>
                    <a:pt x="360" y="394"/>
                  </a:lnTo>
                  <a:lnTo>
                    <a:pt x="359" y="396"/>
                  </a:lnTo>
                  <a:lnTo>
                    <a:pt x="357" y="399"/>
                  </a:lnTo>
                  <a:lnTo>
                    <a:pt x="356" y="402"/>
                  </a:lnTo>
                  <a:lnTo>
                    <a:pt x="355" y="403"/>
                  </a:lnTo>
                  <a:lnTo>
                    <a:pt x="355" y="400"/>
                  </a:lnTo>
                  <a:lnTo>
                    <a:pt x="354" y="398"/>
                  </a:lnTo>
                  <a:lnTo>
                    <a:pt x="353" y="397"/>
                  </a:lnTo>
                  <a:lnTo>
                    <a:pt x="353" y="396"/>
                  </a:lnTo>
                  <a:lnTo>
                    <a:pt x="350" y="397"/>
                  </a:lnTo>
                  <a:lnTo>
                    <a:pt x="350" y="396"/>
                  </a:lnTo>
                  <a:lnTo>
                    <a:pt x="349" y="396"/>
                  </a:lnTo>
                  <a:lnTo>
                    <a:pt x="348" y="397"/>
                  </a:lnTo>
                  <a:lnTo>
                    <a:pt x="348" y="399"/>
                  </a:lnTo>
                  <a:lnTo>
                    <a:pt x="348" y="396"/>
                  </a:lnTo>
                  <a:lnTo>
                    <a:pt x="347" y="394"/>
                  </a:lnTo>
                  <a:lnTo>
                    <a:pt x="348" y="392"/>
                  </a:lnTo>
                  <a:lnTo>
                    <a:pt x="349" y="392"/>
                  </a:lnTo>
                  <a:lnTo>
                    <a:pt x="351" y="392"/>
                  </a:lnTo>
                  <a:lnTo>
                    <a:pt x="351" y="388"/>
                  </a:lnTo>
                  <a:lnTo>
                    <a:pt x="353" y="386"/>
                  </a:lnTo>
                  <a:lnTo>
                    <a:pt x="353" y="384"/>
                  </a:lnTo>
                  <a:lnTo>
                    <a:pt x="351" y="384"/>
                  </a:lnTo>
                  <a:lnTo>
                    <a:pt x="349" y="382"/>
                  </a:lnTo>
                  <a:lnTo>
                    <a:pt x="348" y="385"/>
                  </a:lnTo>
                  <a:lnTo>
                    <a:pt x="348" y="384"/>
                  </a:lnTo>
                  <a:lnTo>
                    <a:pt x="349" y="382"/>
                  </a:lnTo>
                  <a:lnTo>
                    <a:pt x="347" y="384"/>
                  </a:lnTo>
                  <a:lnTo>
                    <a:pt x="345" y="385"/>
                  </a:lnTo>
                  <a:lnTo>
                    <a:pt x="343" y="388"/>
                  </a:lnTo>
                  <a:lnTo>
                    <a:pt x="342" y="390"/>
                  </a:lnTo>
                  <a:lnTo>
                    <a:pt x="339" y="390"/>
                  </a:lnTo>
                  <a:lnTo>
                    <a:pt x="339" y="388"/>
                  </a:lnTo>
                  <a:lnTo>
                    <a:pt x="339" y="387"/>
                  </a:lnTo>
                  <a:lnTo>
                    <a:pt x="338" y="388"/>
                  </a:lnTo>
                  <a:lnTo>
                    <a:pt x="338" y="391"/>
                  </a:lnTo>
                  <a:lnTo>
                    <a:pt x="337" y="392"/>
                  </a:lnTo>
                  <a:lnTo>
                    <a:pt x="337" y="393"/>
                  </a:lnTo>
                  <a:lnTo>
                    <a:pt x="336" y="394"/>
                  </a:lnTo>
                  <a:lnTo>
                    <a:pt x="334" y="397"/>
                  </a:lnTo>
                  <a:lnTo>
                    <a:pt x="333" y="398"/>
                  </a:lnTo>
                  <a:lnTo>
                    <a:pt x="333" y="399"/>
                  </a:lnTo>
                  <a:lnTo>
                    <a:pt x="332" y="402"/>
                  </a:lnTo>
                  <a:lnTo>
                    <a:pt x="331" y="402"/>
                  </a:lnTo>
                  <a:lnTo>
                    <a:pt x="330" y="404"/>
                  </a:lnTo>
                  <a:lnTo>
                    <a:pt x="330" y="405"/>
                  </a:lnTo>
                  <a:lnTo>
                    <a:pt x="330" y="403"/>
                  </a:lnTo>
                  <a:lnTo>
                    <a:pt x="328" y="404"/>
                  </a:lnTo>
                  <a:lnTo>
                    <a:pt x="327" y="404"/>
                  </a:lnTo>
                  <a:lnTo>
                    <a:pt x="326" y="404"/>
                  </a:lnTo>
                  <a:lnTo>
                    <a:pt x="326" y="403"/>
                  </a:lnTo>
                  <a:lnTo>
                    <a:pt x="326" y="400"/>
                  </a:lnTo>
                  <a:lnTo>
                    <a:pt x="326" y="399"/>
                  </a:lnTo>
                  <a:lnTo>
                    <a:pt x="325" y="399"/>
                  </a:lnTo>
                  <a:lnTo>
                    <a:pt x="327" y="398"/>
                  </a:lnTo>
                  <a:lnTo>
                    <a:pt x="326" y="398"/>
                  </a:lnTo>
                  <a:lnTo>
                    <a:pt x="327" y="397"/>
                  </a:lnTo>
                  <a:lnTo>
                    <a:pt x="327" y="396"/>
                  </a:lnTo>
                  <a:lnTo>
                    <a:pt x="327" y="393"/>
                  </a:lnTo>
                  <a:lnTo>
                    <a:pt x="328" y="392"/>
                  </a:lnTo>
                  <a:lnTo>
                    <a:pt x="327" y="390"/>
                  </a:lnTo>
                  <a:lnTo>
                    <a:pt x="327" y="384"/>
                  </a:lnTo>
                  <a:lnTo>
                    <a:pt x="328" y="375"/>
                  </a:lnTo>
                  <a:lnTo>
                    <a:pt x="327" y="367"/>
                  </a:lnTo>
                  <a:lnTo>
                    <a:pt x="325" y="370"/>
                  </a:lnTo>
                  <a:lnTo>
                    <a:pt x="324" y="374"/>
                  </a:lnTo>
                  <a:lnTo>
                    <a:pt x="325" y="375"/>
                  </a:lnTo>
                  <a:lnTo>
                    <a:pt x="324" y="374"/>
                  </a:lnTo>
                  <a:lnTo>
                    <a:pt x="318" y="375"/>
                  </a:lnTo>
                  <a:lnTo>
                    <a:pt x="322" y="374"/>
                  </a:lnTo>
                  <a:lnTo>
                    <a:pt x="326" y="367"/>
                  </a:lnTo>
                  <a:lnTo>
                    <a:pt x="324" y="368"/>
                  </a:lnTo>
                  <a:lnTo>
                    <a:pt x="321" y="368"/>
                  </a:lnTo>
                  <a:lnTo>
                    <a:pt x="319" y="367"/>
                  </a:lnTo>
                  <a:lnTo>
                    <a:pt x="318" y="368"/>
                  </a:lnTo>
                  <a:lnTo>
                    <a:pt x="316" y="368"/>
                  </a:lnTo>
                  <a:lnTo>
                    <a:pt x="315" y="368"/>
                  </a:lnTo>
                  <a:lnTo>
                    <a:pt x="314" y="366"/>
                  </a:lnTo>
                  <a:lnTo>
                    <a:pt x="315" y="363"/>
                  </a:lnTo>
                  <a:lnTo>
                    <a:pt x="314" y="363"/>
                  </a:lnTo>
                  <a:lnTo>
                    <a:pt x="313" y="364"/>
                  </a:lnTo>
                  <a:lnTo>
                    <a:pt x="310" y="364"/>
                  </a:lnTo>
                  <a:lnTo>
                    <a:pt x="309" y="364"/>
                  </a:lnTo>
                  <a:lnTo>
                    <a:pt x="307" y="366"/>
                  </a:lnTo>
                  <a:lnTo>
                    <a:pt x="308" y="368"/>
                  </a:lnTo>
                  <a:lnTo>
                    <a:pt x="308" y="370"/>
                  </a:lnTo>
                  <a:lnTo>
                    <a:pt x="308" y="372"/>
                  </a:lnTo>
                  <a:lnTo>
                    <a:pt x="309" y="373"/>
                  </a:lnTo>
                  <a:lnTo>
                    <a:pt x="308" y="373"/>
                  </a:lnTo>
                  <a:lnTo>
                    <a:pt x="308" y="375"/>
                  </a:lnTo>
                  <a:lnTo>
                    <a:pt x="309" y="378"/>
                  </a:lnTo>
                  <a:lnTo>
                    <a:pt x="309" y="381"/>
                  </a:lnTo>
                  <a:lnTo>
                    <a:pt x="308" y="376"/>
                  </a:lnTo>
                  <a:lnTo>
                    <a:pt x="307" y="378"/>
                  </a:lnTo>
                  <a:lnTo>
                    <a:pt x="306" y="379"/>
                  </a:lnTo>
                  <a:lnTo>
                    <a:pt x="307" y="382"/>
                  </a:lnTo>
                  <a:lnTo>
                    <a:pt x="304" y="386"/>
                  </a:lnTo>
                  <a:lnTo>
                    <a:pt x="302" y="388"/>
                  </a:lnTo>
                  <a:lnTo>
                    <a:pt x="304" y="384"/>
                  </a:lnTo>
                  <a:lnTo>
                    <a:pt x="304" y="381"/>
                  </a:lnTo>
                  <a:lnTo>
                    <a:pt x="304" y="380"/>
                  </a:lnTo>
                  <a:lnTo>
                    <a:pt x="303" y="380"/>
                  </a:lnTo>
                  <a:lnTo>
                    <a:pt x="303" y="382"/>
                  </a:lnTo>
                  <a:lnTo>
                    <a:pt x="303" y="384"/>
                  </a:lnTo>
                  <a:lnTo>
                    <a:pt x="302" y="385"/>
                  </a:lnTo>
                  <a:lnTo>
                    <a:pt x="301" y="384"/>
                  </a:lnTo>
                  <a:lnTo>
                    <a:pt x="300" y="382"/>
                  </a:lnTo>
                  <a:lnTo>
                    <a:pt x="300" y="385"/>
                  </a:lnTo>
                  <a:lnTo>
                    <a:pt x="301" y="388"/>
                  </a:lnTo>
                  <a:lnTo>
                    <a:pt x="301" y="390"/>
                  </a:lnTo>
                  <a:lnTo>
                    <a:pt x="300" y="393"/>
                  </a:lnTo>
                  <a:lnTo>
                    <a:pt x="297" y="394"/>
                  </a:lnTo>
                  <a:lnTo>
                    <a:pt x="300" y="391"/>
                  </a:lnTo>
                  <a:lnTo>
                    <a:pt x="300" y="388"/>
                  </a:lnTo>
                  <a:lnTo>
                    <a:pt x="300" y="384"/>
                  </a:lnTo>
                  <a:lnTo>
                    <a:pt x="298" y="385"/>
                  </a:lnTo>
                  <a:lnTo>
                    <a:pt x="298" y="387"/>
                  </a:lnTo>
                  <a:lnTo>
                    <a:pt x="297" y="391"/>
                  </a:lnTo>
                  <a:lnTo>
                    <a:pt x="296" y="391"/>
                  </a:lnTo>
                  <a:lnTo>
                    <a:pt x="295" y="392"/>
                  </a:lnTo>
                  <a:lnTo>
                    <a:pt x="294" y="393"/>
                  </a:lnTo>
                  <a:lnTo>
                    <a:pt x="292" y="392"/>
                  </a:lnTo>
                  <a:lnTo>
                    <a:pt x="292" y="391"/>
                  </a:lnTo>
                  <a:lnTo>
                    <a:pt x="292" y="392"/>
                  </a:lnTo>
                  <a:lnTo>
                    <a:pt x="290" y="393"/>
                  </a:lnTo>
                  <a:lnTo>
                    <a:pt x="289" y="396"/>
                  </a:lnTo>
                  <a:lnTo>
                    <a:pt x="286" y="394"/>
                  </a:lnTo>
                  <a:lnTo>
                    <a:pt x="286" y="391"/>
                  </a:lnTo>
                  <a:lnTo>
                    <a:pt x="286" y="388"/>
                  </a:lnTo>
                  <a:lnTo>
                    <a:pt x="288" y="388"/>
                  </a:lnTo>
                  <a:lnTo>
                    <a:pt x="289" y="388"/>
                  </a:lnTo>
                  <a:lnTo>
                    <a:pt x="289" y="386"/>
                  </a:lnTo>
                  <a:lnTo>
                    <a:pt x="289" y="385"/>
                  </a:lnTo>
                  <a:lnTo>
                    <a:pt x="289" y="384"/>
                  </a:lnTo>
                  <a:lnTo>
                    <a:pt x="290" y="381"/>
                  </a:lnTo>
                  <a:lnTo>
                    <a:pt x="289" y="382"/>
                  </a:lnTo>
                  <a:lnTo>
                    <a:pt x="288" y="384"/>
                  </a:lnTo>
                  <a:lnTo>
                    <a:pt x="286" y="387"/>
                  </a:lnTo>
                  <a:lnTo>
                    <a:pt x="285" y="388"/>
                  </a:lnTo>
                  <a:lnTo>
                    <a:pt x="285" y="392"/>
                  </a:lnTo>
                  <a:lnTo>
                    <a:pt x="284" y="392"/>
                  </a:lnTo>
                  <a:lnTo>
                    <a:pt x="283" y="393"/>
                  </a:lnTo>
                  <a:lnTo>
                    <a:pt x="282" y="393"/>
                  </a:lnTo>
                  <a:lnTo>
                    <a:pt x="282" y="391"/>
                  </a:lnTo>
                  <a:lnTo>
                    <a:pt x="280" y="388"/>
                  </a:lnTo>
                  <a:lnTo>
                    <a:pt x="279" y="386"/>
                  </a:lnTo>
                  <a:lnTo>
                    <a:pt x="278" y="386"/>
                  </a:lnTo>
                  <a:lnTo>
                    <a:pt x="277" y="387"/>
                  </a:lnTo>
                  <a:lnTo>
                    <a:pt x="274" y="390"/>
                  </a:lnTo>
                  <a:lnTo>
                    <a:pt x="273" y="391"/>
                  </a:lnTo>
                  <a:lnTo>
                    <a:pt x="273" y="388"/>
                  </a:lnTo>
                  <a:lnTo>
                    <a:pt x="273" y="386"/>
                  </a:lnTo>
                  <a:lnTo>
                    <a:pt x="272" y="386"/>
                  </a:lnTo>
                  <a:lnTo>
                    <a:pt x="272" y="387"/>
                  </a:lnTo>
                  <a:lnTo>
                    <a:pt x="271" y="390"/>
                  </a:lnTo>
                  <a:lnTo>
                    <a:pt x="268" y="391"/>
                  </a:lnTo>
                  <a:lnTo>
                    <a:pt x="267" y="392"/>
                  </a:lnTo>
                  <a:lnTo>
                    <a:pt x="268" y="390"/>
                  </a:lnTo>
                  <a:lnTo>
                    <a:pt x="269" y="387"/>
                  </a:lnTo>
                  <a:lnTo>
                    <a:pt x="269" y="385"/>
                  </a:lnTo>
                  <a:lnTo>
                    <a:pt x="272" y="382"/>
                  </a:lnTo>
                  <a:lnTo>
                    <a:pt x="271" y="382"/>
                  </a:lnTo>
                  <a:lnTo>
                    <a:pt x="269" y="384"/>
                  </a:lnTo>
                  <a:lnTo>
                    <a:pt x="269" y="381"/>
                  </a:lnTo>
                  <a:lnTo>
                    <a:pt x="267" y="381"/>
                  </a:lnTo>
                  <a:lnTo>
                    <a:pt x="267" y="379"/>
                  </a:lnTo>
                  <a:lnTo>
                    <a:pt x="266" y="380"/>
                  </a:lnTo>
                  <a:lnTo>
                    <a:pt x="263" y="380"/>
                  </a:lnTo>
                  <a:lnTo>
                    <a:pt x="265" y="379"/>
                  </a:lnTo>
                  <a:lnTo>
                    <a:pt x="263" y="379"/>
                  </a:lnTo>
                  <a:lnTo>
                    <a:pt x="262" y="380"/>
                  </a:lnTo>
                  <a:lnTo>
                    <a:pt x="262" y="378"/>
                  </a:lnTo>
                  <a:lnTo>
                    <a:pt x="261" y="378"/>
                  </a:lnTo>
                  <a:lnTo>
                    <a:pt x="261" y="375"/>
                  </a:lnTo>
                  <a:lnTo>
                    <a:pt x="261" y="374"/>
                  </a:lnTo>
                  <a:lnTo>
                    <a:pt x="259" y="375"/>
                  </a:lnTo>
                  <a:lnTo>
                    <a:pt x="255" y="376"/>
                  </a:lnTo>
                  <a:lnTo>
                    <a:pt x="257" y="374"/>
                  </a:lnTo>
                  <a:lnTo>
                    <a:pt x="260" y="373"/>
                  </a:lnTo>
                  <a:lnTo>
                    <a:pt x="261" y="372"/>
                  </a:lnTo>
                  <a:lnTo>
                    <a:pt x="262" y="372"/>
                  </a:lnTo>
                  <a:lnTo>
                    <a:pt x="261" y="372"/>
                  </a:lnTo>
                  <a:lnTo>
                    <a:pt x="260" y="372"/>
                  </a:lnTo>
                  <a:lnTo>
                    <a:pt x="259" y="370"/>
                  </a:lnTo>
                  <a:lnTo>
                    <a:pt x="257" y="372"/>
                  </a:lnTo>
                  <a:lnTo>
                    <a:pt x="255" y="372"/>
                  </a:lnTo>
                  <a:lnTo>
                    <a:pt x="255" y="373"/>
                  </a:lnTo>
                  <a:lnTo>
                    <a:pt x="253" y="372"/>
                  </a:lnTo>
                  <a:lnTo>
                    <a:pt x="253" y="368"/>
                  </a:lnTo>
                  <a:lnTo>
                    <a:pt x="253" y="367"/>
                  </a:lnTo>
                  <a:lnTo>
                    <a:pt x="253" y="364"/>
                  </a:lnTo>
                  <a:lnTo>
                    <a:pt x="254" y="363"/>
                  </a:lnTo>
                  <a:lnTo>
                    <a:pt x="255" y="363"/>
                  </a:lnTo>
                  <a:lnTo>
                    <a:pt x="256" y="362"/>
                  </a:lnTo>
                  <a:lnTo>
                    <a:pt x="255" y="361"/>
                  </a:lnTo>
                  <a:lnTo>
                    <a:pt x="255" y="358"/>
                  </a:lnTo>
                  <a:lnTo>
                    <a:pt x="253" y="360"/>
                  </a:lnTo>
                  <a:lnTo>
                    <a:pt x="251" y="358"/>
                  </a:lnTo>
                  <a:lnTo>
                    <a:pt x="250" y="360"/>
                  </a:lnTo>
                  <a:lnTo>
                    <a:pt x="249" y="362"/>
                  </a:lnTo>
                  <a:lnTo>
                    <a:pt x="249" y="361"/>
                  </a:lnTo>
                  <a:lnTo>
                    <a:pt x="249" y="363"/>
                  </a:lnTo>
                  <a:lnTo>
                    <a:pt x="247" y="364"/>
                  </a:lnTo>
                  <a:lnTo>
                    <a:pt x="245" y="366"/>
                  </a:lnTo>
                  <a:lnTo>
                    <a:pt x="245" y="364"/>
                  </a:lnTo>
                  <a:lnTo>
                    <a:pt x="245" y="363"/>
                  </a:lnTo>
                  <a:lnTo>
                    <a:pt x="244" y="364"/>
                  </a:lnTo>
                  <a:lnTo>
                    <a:pt x="244" y="363"/>
                  </a:lnTo>
                  <a:lnTo>
                    <a:pt x="242" y="363"/>
                  </a:lnTo>
                  <a:lnTo>
                    <a:pt x="242" y="362"/>
                  </a:lnTo>
                  <a:lnTo>
                    <a:pt x="241" y="362"/>
                  </a:lnTo>
                  <a:lnTo>
                    <a:pt x="238" y="363"/>
                  </a:lnTo>
                  <a:lnTo>
                    <a:pt x="238" y="362"/>
                  </a:lnTo>
                  <a:lnTo>
                    <a:pt x="239" y="361"/>
                  </a:lnTo>
                  <a:lnTo>
                    <a:pt x="241" y="360"/>
                  </a:lnTo>
                  <a:lnTo>
                    <a:pt x="242" y="361"/>
                  </a:lnTo>
                  <a:lnTo>
                    <a:pt x="243" y="360"/>
                  </a:lnTo>
                  <a:lnTo>
                    <a:pt x="242" y="358"/>
                  </a:lnTo>
                  <a:lnTo>
                    <a:pt x="239" y="358"/>
                  </a:lnTo>
                  <a:lnTo>
                    <a:pt x="239" y="357"/>
                  </a:lnTo>
                  <a:lnTo>
                    <a:pt x="238" y="358"/>
                  </a:lnTo>
                  <a:lnTo>
                    <a:pt x="236" y="358"/>
                  </a:lnTo>
                  <a:lnTo>
                    <a:pt x="236" y="357"/>
                  </a:lnTo>
                  <a:lnTo>
                    <a:pt x="236" y="356"/>
                  </a:lnTo>
                  <a:lnTo>
                    <a:pt x="237" y="355"/>
                  </a:lnTo>
                  <a:lnTo>
                    <a:pt x="238" y="355"/>
                  </a:lnTo>
                  <a:lnTo>
                    <a:pt x="241" y="352"/>
                  </a:lnTo>
                  <a:lnTo>
                    <a:pt x="239" y="352"/>
                  </a:lnTo>
                  <a:lnTo>
                    <a:pt x="238" y="352"/>
                  </a:lnTo>
                  <a:lnTo>
                    <a:pt x="237" y="353"/>
                  </a:lnTo>
                  <a:lnTo>
                    <a:pt x="235" y="355"/>
                  </a:lnTo>
                  <a:lnTo>
                    <a:pt x="233" y="356"/>
                  </a:lnTo>
                  <a:lnTo>
                    <a:pt x="236" y="364"/>
                  </a:lnTo>
                  <a:lnTo>
                    <a:pt x="239" y="375"/>
                  </a:lnTo>
                  <a:lnTo>
                    <a:pt x="239" y="391"/>
                  </a:lnTo>
                  <a:lnTo>
                    <a:pt x="247" y="405"/>
                  </a:lnTo>
                  <a:lnTo>
                    <a:pt x="250" y="412"/>
                  </a:lnTo>
                  <a:lnTo>
                    <a:pt x="250" y="420"/>
                  </a:lnTo>
                  <a:lnTo>
                    <a:pt x="247" y="426"/>
                  </a:lnTo>
                  <a:lnTo>
                    <a:pt x="241" y="438"/>
                  </a:lnTo>
                  <a:lnTo>
                    <a:pt x="235" y="474"/>
                  </a:lnTo>
                  <a:lnTo>
                    <a:pt x="232" y="491"/>
                  </a:lnTo>
                  <a:lnTo>
                    <a:pt x="232" y="516"/>
                  </a:lnTo>
                  <a:lnTo>
                    <a:pt x="232" y="539"/>
                  </a:lnTo>
                  <a:lnTo>
                    <a:pt x="233" y="54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4" name="Freeform 77"/>
            <p:cNvSpPr>
              <a:spLocks/>
            </p:cNvSpPr>
            <p:nvPr userDrawn="1"/>
          </p:nvSpPr>
          <p:spPr bwMode="auto">
            <a:xfrm>
              <a:off x="6143625" y="6537326"/>
              <a:ext cx="3001963" cy="128588"/>
            </a:xfrm>
            <a:custGeom>
              <a:avLst/>
              <a:gdLst/>
              <a:ahLst/>
              <a:cxnLst>
                <a:cxn ang="0">
                  <a:pos x="24" y="383"/>
                </a:cxn>
                <a:cxn ang="0">
                  <a:pos x="140" y="342"/>
                </a:cxn>
                <a:cxn ang="0">
                  <a:pos x="462" y="200"/>
                </a:cxn>
                <a:cxn ang="0">
                  <a:pos x="618" y="142"/>
                </a:cxn>
                <a:cxn ang="0">
                  <a:pos x="699" y="122"/>
                </a:cxn>
                <a:cxn ang="0">
                  <a:pos x="875" y="120"/>
                </a:cxn>
                <a:cxn ang="0">
                  <a:pos x="1256" y="110"/>
                </a:cxn>
                <a:cxn ang="0">
                  <a:pos x="1527" y="108"/>
                </a:cxn>
                <a:cxn ang="0">
                  <a:pos x="1830" y="122"/>
                </a:cxn>
                <a:cxn ang="0">
                  <a:pos x="2033" y="126"/>
                </a:cxn>
                <a:cxn ang="0">
                  <a:pos x="2168" y="120"/>
                </a:cxn>
                <a:cxn ang="0">
                  <a:pos x="2344" y="98"/>
                </a:cxn>
                <a:cxn ang="0">
                  <a:pos x="2545" y="80"/>
                </a:cxn>
                <a:cxn ang="0">
                  <a:pos x="2615" y="81"/>
                </a:cxn>
                <a:cxn ang="0">
                  <a:pos x="2696" y="100"/>
                </a:cxn>
                <a:cxn ang="0">
                  <a:pos x="2875" y="164"/>
                </a:cxn>
                <a:cxn ang="0">
                  <a:pos x="3028" y="208"/>
                </a:cxn>
                <a:cxn ang="0">
                  <a:pos x="3157" y="231"/>
                </a:cxn>
                <a:cxn ang="0">
                  <a:pos x="3234" y="233"/>
                </a:cxn>
                <a:cxn ang="0">
                  <a:pos x="3331" y="224"/>
                </a:cxn>
                <a:cxn ang="0">
                  <a:pos x="3436" y="195"/>
                </a:cxn>
                <a:cxn ang="0">
                  <a:pos x="3519" y="170"/>
                </a:cxn>
                <a:cxn ang="0">
                  <a:pos x="3595" y="165"/>
                </a:cxn>
                <a:cxn ang="0">
                  <a:pos x="3718" y="149"/>
                </a:cxn>
                <a:cxn ang="0">
                  <a:pos x="3817" y="138"/>
                </a:cxn>
                <a:cxn ang="0">
                  <a:pos x="3842" y="138"/>
                </a:cxn>
                <a:cxn ang="0">
                  <a:pos x="3854" y="126"/>
                </a:cxn>
                <a:cxn ang="0">
                  <a:pos x="3865" y="104"/>
                </a:cxn>
                <a:cxn ang="0">
                  <a:pos x="3879" y="86"/>
                </a:cxn>
                <a:cxn ang="0">
                  <a:pos x="3903" y="70"/>
                </a:cxn>
                <a:cxn ang="0">
                  <a:pos x="3944" y="58"/>
                </a:cxn>
                <a:cxn ang="0">
                  <a:pos x="4042" y="54"/>
                </a:cxn>
                <a:cxn ang="0">
                  <a:pos x="4545" y="94"/>
                </a:cxn>
                <a:cxn ang="0">
                  <a:pos x="4907" y="123"/>
                </a:cxn>
                <a:cxn ang="0">
                  <a:pos x="5298" y="142"/>
                </a:cxn>
                <a:cxn ang="0">
                  <a:pos x="5485" y="146"/>
                </a:cxn>
                <a:cxn ang="0">
                  <a:pos x="5541" y="137"/>
                </a:cxn>
                <a:cxn ang="0">
                  <a:pos x="5607" y="117"/>
                </a:cxn>
                <a:cxn ang="0">
                  <a:pos x="5679" y="86"/>
                </a:cxn>
                <a:cxn ang="0">
                  <a:pos x="5736" y="70"/>
                </a:cxn>
                <a:cxn ang="0">
                  <a:pos x="5782" y="68"/>
                </a:cxn>
                <a:cxn ang="0">
                  <a:pos x="5914" y="81"/>
                </a:cxn>
                <a:cxn ang="0">
                  <a:pos x="6110" y="88"/>
                </a:cxn>
                <a:cxn ang="0">
                  <a:pos x="6288" y="82"/>
                </a:cxn>
                <a:cxn ang="0">
                  <a:pos x="6449" y="66"/>
                </a:cxn>
                <a:cxn ang="0">
                  <a:pos x="6659" y="35"/>
                </a:cxn>
                <a:cxn ang="0">
                  <a:pos x="6841" y="9"/>
                </a:cxn>
                <a:cxn ang="0">
                  <a:pos x="6949" y="0"/>
                </a:cxn>
                <a:cxn ang="0">
                  <a:pos x="7613" y="101"/>
                </a:cxn>
                <a:cxn ang="0">
                  <a:pos x="8840" y="302"/>
                </a:cxn>
                <a:cxn ang="0">
                  <a:pos x="8858" y="402"/>
                </a:cxn>
                <a:cxn ang="0">
                  <a:pos x="7666" y="399"/>
                </a:cxn>
                <a:cxn ang="0">
                  <a:pos x="6474" y="398"/>
                </a:cxn>
                <a:cxn ang="0">
                  <a:pos x="5282" y="397"/>
                </a:cxn>
                <a:cxn ang="0">
                  <a:pos x="3872" y="396"/>
                </a:cxn>
                <a:cxn ang="0">
                  <a:pos x="2244" y="393"/>
                </a:cxn>
                <a:cxn ang="0">
                  <a:pos x="902" y="391"/>
                </a:cxn>
                <a:cxn ang="0">
                  <a:pos x="88" y="389"/>
                </a:cxn>
              </a:cxnLst>
              <a:rect l="0" t="0" r="r" b="b"/>
              <a:pathLst>
                <a:path w="9454" h="403">
                  <a:moveTo>
                    <a:pt x="0" y="387"/>
                  </a:moveTo>
                  <a:lnTo>
                    <a:pt x="24" y="383"/>
                  </a:lnTo>
                  <a:lnTo>
                    <a:pt x="56" y="374"/>
                  </a:lnTo>
                  <a:lnTo>
                    <a:pt x="140" y="342"/>
                  </a:lnTo>
                  <a:lnTo>
                    <a:pt x="350" y="249"/>
                  </a:lnTo>
                  <a:lnTo>
                    <a:pt x="462" y="200"/>
                  </a:lnTo>
                  <a:lnTo>
                    <a:pt x="569" y="158"/>
                  </a:lnTo>
                  <a:lnTo>
                    <a:pt x="618" y="142"/>
                  </a:lnTo>
                  <a:lnTo>
                    <a:pt x="661" y="129"/>
                  </a:lnTo>
                  <a:lnTo>
                    <a:pt x="699" y="122"/>
                  </a:lnTo>
                  <a:lnTo>
                    <a:pt x="732" y="120"/>
                  </a:lnTo>
                  <a:lnTo>
                    <a:pt x="875" y="120"/>
                  </a:lnTo>
                  <a:lnTo>
                    <a:pt x="1059" y="116"/>
                  </a:lnTo>
                  <a:lnTo>
                    <a:pt x="1256" y="110"/>
                  </a:lnTo>
                  <a:lnTo>
                    <a:pt x="1439" y="107"/>
                  </a:lnTo>
                  <a:lnTo>
                    <a:pt x="1527" y="108"/>
                  </a:lnTo>
                  <a:lnTo>
                    <a:pt x="1624" y="112"/>
                  </a:lnTo>
                  <a:lnTo>
                    <a:pt x="1830" y="122"/>
                  </a:lnTo>
                  <a:lnTo>
                    <a:pt x="1934" y="125"/>
                  </a:lnTo>
                  <a:lnTo>
                    <a:pt x="2033" y="126"/>
                  </a:lnTo>
                  <a:lnTo>
                    <a:pt x="2125" y="123"/>
                  </a:lnTo>
                  <a:lnTo>
                    <a:pt x="2168" y="120"/>
                  </a:lnTo>
                  <a:lnTo>
                    <a:pt x="2207" y="116"/>
                  </a:lnTo>
                  <a:lnTo>
                    <a:pt x="2344" y="98"/>
                  </a:lnTo>
                  <a:lnTo>
                    <a:pt x="2455" y="86"/>
                  </a:lnTo>
                  <a:lnTo>
                    <a:pt x="2545" y="80"/>
                  </a:lnTo>
                  <a:lnTo>
                    <a:pt x="2583" y="80"/>
                  </a:lnTo>
                  <a:lnTo>
                    <a:pt x="2615" y="81"/>
                  </a:lnTo>
                  <a:lnTo>
                    <a:pt x="2651" y="87"/>
                  </a:lnTo>
                  <a:lnTo>
                    <a:pt x="2696" y="100"/>
                  </a:lnTo>
                  <a:lnTo>
                    <a:pt x="2808" y="141"/>
                  </a:lnTo>
                  <a:lnTo>
                    <a:pt x="2875" y="164"/>
                  </a:lnTo>
                  <a:lnTo>
                    <a:pt x="2949" y="187"/>
                  </a:lnTo>
                  <a:lnTo>
                    <a:pt x="3028" y="208"/>
                  </a:lnTo>
                  <a:lnTo>
                    <a:pt x="3113" y="225"/>
                  </a:lnTo>
                  <a:lnTo>
                    <a:pt x="3157" y="231"/>
                  </a:lnTo>
                  <a:lnTo>
                    <a:pt x="3197" y="233"/>
                  </a:lnTo>
                  <a:lnTo>
                    <a:pt x="3234" y="233"/>
                  </a:lnTo>
                  <a:lnTo>
                    <a:pt x="3269" y="232"/>
                  </a:lnTo>
                  <a:lnTo>
                    <a:pt x="3331" y="224"/>
                  </a:lnTo>
                  <a:lnTo>
                    <a:pt x="3387" y="211"/>
                  </a:lnTo>
                  <a:lnTo>
                    <a:pt x="3436" y="195"/>
                  </a:lnTo>
                  <a:lnTo>
                    <a:pt x="3480" y="181"/>
                  </a:lnTo>
                  <a:lnTo>
                    <a:pt x="3519" y="170"/>
                  </a:lnTo>
                  <a:lnTo>
                    <a:pt x="3557" y="166"/>
                  </a:lnTo>
                  <a:lnTo>
                    <a:pt x="3595" y="165"/>
                  </a:lnTo>
                  <a:lnTo>
                    <a:pt x="3636" y="160"/>
                  </a:lnTo>
                  <a:lnTo>
                    <a:pt x="3718" y="149"/>
                  </a:lnTo>
                  <a:lnTo>
                    <a:pt x="3789" y="140"/>
                  </a:lnTo>
                  <a:lnTo>
                    <a:pt x="3817" y="138"/>
                  </a:lnTo>
                  <a:lnTo>
                    <a:pt x="3836" y="138"/>
                  </a:lnTo>
                  <a:lnTo>
                    <a:pt x="3842" y="138"/>
                  </a:lnTo>
                  <a:lnTo>
                    <a:pt x="3847" y="137"/>
                  </a:lnTo>
                  <a:lnTo>
                    <a:pt x="3854" y="126"/>
                  </a:lnTo>
                  <a:lnTo>
                    <a:pt x="3860" y="112"/>
                  </a:lnTo>
                  <a:lnTo>
                    <a:pt x="3865" y="104"/>
                  </a:lnTo>
                  <a:lnTo>
                    <a:pt x="3871" y="94"/>
                  </a:lnTo>
                  <a:lnTo>
                    <a:pt x="3879" y="86"/>
                  </a:lnTo>
                  <a:lnTo>
                    <a:pt x="3890" y="77"/>
                  </a:lnTo>
                  <a:lnTo>
                    <a:pt x="3903" y="70"/>
                  </a:lnTo>
                  <a:lnTo>
                    <a:pt x="3921" y="63"/>
                  </a:lnTo>
                  <a:lnTo>
                    <a:pt x="3944" y="58"/>
                  </a:lnTo>
                  <a:lnTo>
                    <a:pt x="3971" y="54"/>
                  </a:lnTo>
                  <a:lnTo>
                    <a:pt x="4042" y="54"/>
                  </a:lnTo>
                  <a:lnTo>
                    <a:pt x="4266" y="71"/>
                  </a:lnTo>
                  <a:lnTo>
                    <a:pt x="4545" y="94"/>
                  </a:lnTo>
                  <a:lnTo>
                    <a:pt x="4789" y="114"/>
                  </a:lnTo>
                  <a:lnTo>
                    <a:pt x="4907" y="123"/>
                  </a:lnTo>
                  <a:lnTo>
                    <a:pt x="5127" y="135"/>
                  </a:lnTo>
                  <a:lnTo>
                    <a:pt x="5298" y="142"/>
                  </a:lnTo>
                  <a:lnTo>
                    <a:pt x="5454" y="146"/>
                  </a:lnTo>
                  <a:lnTo>
                    <a:pt x="5485" y="146"/>
                  </a:lnTo>
                  <a:lnTo>
                    <a:pt x="5514" y="142"/>
                  </a:lnTo>
                  <a:lnTo>
                    <a:pt x="5541" y="137"/>
                  </a:lnTo>
                  <a:lnTo>
                    <a:pt x="5565" y="131"/>
                  </a:lnTo>
                  <a:lnTo>
                    <a:pt x="5607" y="117"/>
                  </a:lnTo>
                  <a:lnTo>
                    <a:pt x="5643" y="101"/>
                  </a:lnTo>
                  <a:lnTo>
                    <a:pt x="5679" y="86"/>
                  </a:lnTo>
                  <a:lnTo>
                    <a:pt x="5717" y="74"/>
                  </a:lnTo>
                  <a:lnTo>
                    <a:pt x="5736" y="70"/>
                  </a:lnTo>
                  <a:lnTo>
                    <a:pt x="5757" y="68"/>
                  </a:lnTo>
                  <a:lnTo>
                    <a:pt x="5782" y="68"/>
                  </a:lnTo>
                  <a:lnTo>
                    <a:pt x="5807" y="70"/>
                  </a:lnTo>
                  <a:lnTo>
                    <a:pt x="5914" y="81"/>
                  </a:lnTo>
                  <a:lnTo>
                    <a:pt x="6014" y="87"/>
                  </a:lnTo>
                  <a:lnTo>
                    <a:pt x="6110" y="88"/>
                  </a:lnTo>
                  <a:lnTo>
                    <a:pt x="6202" y="87"/>
                  </a:lnTo>
                  <a:lnTo>
                    <a:pt x="6288" y="82"/>
                  </a:lnTo>
                  <a:lnTo>
                    <a:pt x="6370" y="75"/>
                  </a:lnTo>
                  <a:lnTo>
                    <a:pt x="6449" y="66"/>
                  </a:lnTo>
                  <a:lnTo>
                    <a:pt x="6522" y="57"/>
                  </a:lnTo>
                  <a:lnTo>
                    <a:pt x="6659" y="35"/>
                  </a:lnTo>
                  <a:lnTo>
                    <a:pt x="6783" y="16"/>
                  </a:lnTo>
                  <a:lnTo>
                    <a:pt x="6841" y="9"/>
                  </a:lnTo>
                  <a:lnTo>
                    <a:pt x="6896" y="3"/>
                  </a:lnTo>
                  <a:lnTo>
                    <a:pt x="6949" y="0"/>
                  </a:lnTo>
                  <a:lnTo>
                    <a:pt x="7000" y="1"/>
                  </a:lnTo>
                  <a:lnTo>
                    <a:pt x="7613" y="101"/>
                  </a:lnTo>
                  <a:lnTo>
                    <a:pt x="8227" y="202"/>
                  </a:lnTo>
                  <a:lnTo>
                    <a:pt x="8840" y="302"/>
                  </a:lnTo>
                  <a:lnTo>
                    <a:pt x="9454" y="403"/>
                  </a:lnTo>
                  <a:lnTo>
                    <a:pt x="8858" y="402"/>
                  </a:lnTo>
                  <a:lnTo>
                    <a:pt x="8262" y="401"/>
                  </a:lnTo>
                  <a:lnTo>
                    <a:pt x="7666" y="399"/>
                  </a:lnTo>
                  <a:lnTo>
                    <a:pt x="7070" y="399"/>
                  </a:lnTo>
                  <a:lnTo>
                    <a:pt x="6474" y="398"/>
                  </a:lnTo>
                  <a:lnTo>
                    <a:pt x="5878" y="398"/>
                  </a:lnTo>
                  <a:lnTo>
                    <a:pt x="5282" y="397"/>
                  </a:lnTo>
                  <a:lnTo>
                    <a:pt x="4686" y="397"/>
                  </a:lnTo>
                  <a:lnTo>
                    <a:pt x="3872" y="396"/>
                  </a:lnTo>
                  <a:lnTo>
                    <a:pt x="3058" y="395"/>
                  </a:lnTo>
                  <a:lnTo>
                    <a:pt x="2244" y="393"/>
                  </a:lnTo>
                  <a:lnTo>
                    <a:pt x="1430" y="392"/>
                  </a:lnTo>
                  <a:lnTo>
                    <a:pt x="902" y="391"/>
                  </a:lnTo>
                  <a:lnTo>
                    <a:pt x="374" y="390"/>
                  </a:lnTo>
                  <a:lnTo>
                    <a:pt x="88" y="389"/>
                  </a:lnTo>
                  <a:lnTo>
                    <a:pt x="0" y="38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5" name="Freeform 78"/>
            <p:cNvSpPr>
              <a:spLocks/>
            </p:cNvSpPr>
            <p:nvPr userDrawn="1"/>
          </p:nvSpPr>
          <p:spPr bwMode="auto">
            <a:xfrm>
              <a:off x="6657975" y="6373813"/>
              <a:ext cx="317500" cy="269875"/>
            </a:xfrm>
            <a:custGeom>
              <a:avLst/>
              <a:gdLst/>
              <a:ahLst/>
              <a:cxnLst>
                <a:cxn ang="0">
                  <a:pos x="331" y="740"/>
                </a:cxn>
                <a:cxn ang="0">
                  <a:pos x="278" y="752"/>
                </a:cxn>
                <a:cxn ang="0">
                  <a:pos x="265" y="723"/>
                </a:cxn>
                <a:cxn ang="0">
                  <a:pos x="223" y="735"/>
                </a:cxn>
                <a:cxn ang="0">
                  <a:pos x="230" y="709"/>
                </a:cxn>
                <a:cxn ang="0">
                  <a:pos x="101" y="748"/>
                </a:cxn>
                <a:cxn ang="0">
                  <a:pos x="141" y="711"/>
                </a:cxn>
                <a:cxn ang="0">
                  <a:pos x="93" y="687"/>
                </a:cxn>
                <a:cxn ang="0">
                  <a:pos x="47" y="626"/>
                </a:cxn>
                <a:cxn ang="0">
                  <a:pos x="31" y="588"/>
                </a:cxn>
                <a:cxn ang="0">
                  <a:pos x="88" y="582"/>
                </a:cxn>
                <a:cxn ang="0">
                  <a:pos x="120" y="543"/>
                </a:cxn>
                <a:cxn ang="0">
                  <a:pos x="208" y="499"/>
                </a:cxn>
                <a:cxn ang="0">
                  <a:pos x="142" y="511"/>
                </a:cxn>
                <a:cxn ang="0">
                  <a:pos x="72" y="484"/>
                </a:cxn>
                <a:cxn ang="0">
                  <a:pos x="100" y="410"/>
                </a:cxn>
                <a:cxn ang="0">
                  <a:pos x="140" y="354"/>
                </a:cxn>
                <a:cxn ang="0">
                  <a:pos x="168" y="335"/>
                </a:cxn>
                <a:cxn ang="0">
                  <a:pos x="187" y="291"/>
                </a:cxn>
                <a:cxn ang="0">
                  <a:pos x="233" y="248"/>
                </a:cxn>
                <a:cxn ang="0">
                  <a:pos x="242" y="230"/>
                </a:cxn>
                <a:cxn ang="0">
                  <a:pos x="136" y="216"/>
                </a:cxn>
                <a:cxn ang="0">
                  <a:pos x="154" y="169"/>
                </a:cxn>
                <a:cxn ang="0">
                  <a:pos x="166" y="118"/>
                </a:cxn>
                <a:cxn ang="0">
                  <a:pos x="208" y="100"/>
                </a:cxn>
                <a:cxn ang="0">
                  <a:pos x="254" y="37"/>
                </a:cxn>
                <a:cxn ang="0">
                  <a:pos x="327" y="15"/>
                </a:cxn>
                <a:cxn ang="0">
                  <a:pos x="412" y="11"/>
                </a:cxn>
                <a:cxn ang="0">
                  <a:pos x="436" y="81"/>
                </a:cxn>
                <a:cxn ang="0">
                  <a:pos x="491" y="67"/>
                </a:cxn>
                <a:cxn ang="0">
                  <a:pos x="495" y="115"/>
                </a:cxn>
                <a:cxn ang="0">
                  <a:pos x="574" y="105"/>
                </a:cxn>
                <a:cxn ang="0">
                  <a:pos x="662" y="112"/>
                </a:cxn>
                <a:cxn ang="0">
                  <a:pos x="737" y="133"/>
                </a:cxn>
                <a:cxn ang="0">
                  <a:pos x="804" y="150"/>
                </a:cxn>
                <a:cxn ang="0">
                  <a:pos x="778" y="183"/>
                </a:cxn>
                <a:cxn ang="0">
                  <a:pos x="813" y="231"/>
                </a:cxn>
                <a:cxn ang="0">
                  <a:pos x="755" y="234"/>
                </a:cxn>
                <a:cxn ang="0">
                  <a:pos x="754" y="264"/>
                </a:cxn>
                <a:cxn ang="0">
                  <a:pos x="822" y="320"/>
                </a:cxn>
                <a:cxn ang="0">
                  <a:pos x="888" y="326"/>
                </a:cxn>
                <a:cxn ang="0">
                  <a:pos x="878" y="380"/>
                </a:cxn>
                <a:cxn ang="0">
                  <a:pos x="916" y="407"/>
                </a:cxn>
                <a:cxn ang="0">
                  <a:pos x="966" y="414"/>
                </a:cxn>
                <a:cxn ang="0">
                  <a:pos x="988" y="468"/>
                </a:cxn>
                <a:cxn ang="0">
                  <a:pos x="966" y="478"/>
                </a:cxn>
                <a:cxn ang="0">
                  <a:pos x="998" y="531"/>
                </a:cxn>
                <a:cxn ang="0">
                  <a:pos x="996" y="573"/>
                </a:cxn>
                <a:cxn ang="0">
                  <a:pos x="899" y="591"/>
                </a:cxn>
                <a:cxn ang="0">
                  <a:pos x="858" y="616"/>
                </a:cxn>
                <a:cxn ang="0">
                  <a:pos x="848" y="644"/>
                </a:cxn>
                <a:cxn ang="0">
                  <a:pos x="874" y="694"/>
                </a:cxn>
                <a:cxn ang="0">
                  <a:pos x="823" y="718"/>
                </a:cxn>
                <a:cxn ang="0">
                  <a:pos x="784" y="706"/>
                </a:cxn>
                <a:cxn ang="0">
                  <a:pos x="715" y="701"/>
                </a:cxn>
                <a:cxn ang="0">
                  <a:pos x="692" y="712"/>
                </a:cxn>
                <a:cxn ang="0">
                  <a:pos x="678" y="724"/>
                </a:cxn>
                <a:cxn ang="0">
                  <a:pos x="687" y="751"/>
                </a:cxn>
                <a:cxn ang="0">
                  <a:pos x="640" y="755"/>
                </a:cxn>
                <a:cxn ang="0">
                  <a:pos x="598" y="763"/>
                </a:cxn>
                <a:cxn ang="0">
                  <a:pos x="578" y="774"/>
                </a:cxn>
                <a:cxn ang="0">
                  <a:pos x="494" y="777"/>
                </a:cxn>
                <a:cxn ang="0">
                  <a:pos x="480" y="734"/>
                </a:cxn>
              </a:cxnLst>
              <a:rect l="0" t="0" r="r" b="b"/>
              <a:pathLst>
                <a:path w="1003" h="849">
                  <a:moveTo>
                    <a:pt x="472" y="849"/>
                  </a:moveTo>
                  <a:lnTo>
                    <a:pt x="326" y="849"/>
                  </a:lnTo>
                  <a:lnTo>
                    <a:pt x="330" y="843"/>
                  </a:lnTo>
                  <a:lnTo>
                    <a:pt x="333" y="831"/>
                  </a:lnTo>
                  <a:lnTo>
                    <a:pt x="335" y="822"/>
                  </a:lnTo>
                  <a:lnTo>
                    <a:pt x="339" y="813"/>
                  </a:lnTo>
                  <a:lnTo>
                    <a:pt x="344" y="807"/>
                  </a:lnTo>
                  <a:lnTo>
                    <a:pt x="345" y="799"/>
                  </a:lnTo>
                  <a:lnTo>
                    <a:pt x="344" y="786"/>
                  </a:lnTo>
                  <a:lnTo>
                    <a:pt x="345" y="775"/>
                  </a:lnTo>
                  <a:lnTo>
                    <a:pt x="350" y="770"/>
                  </a:lnTo>
                  <a:lnTo>
                    <a:pt x="351" y="764"/>
                  </a:lnTo>
                  <a:lnTo>
                    <a:pt x="355" y="747"/>
                  </a:lnTo>
                  <a:lnTo>
                    <a:pt x="353" y="745"/>
                  </a:lnTo>
                  <a:lnTo>
                    <a:pt x="350" y="745"/>
                  </a:lnTo>
                  <a:lnTo>
                    <a:pt x="347" y="752"/>
                  </a:lnTo>
                  <a:lnTo>
                    <a:pt x="341" y="752"/>
                  </a:lnTo>
                  <a:lnTo>
                    <a:pt x="339" y="751"/>
                  </a:lnTo>
                  <a:lnTo>
                    <a:pt x="336" y="751"/>
                  </a:lnTo>
                  <a:lnTo>
                    <a:pt x="330" y="752"/>
                  </a:lnTo>
                  <a:lnTo>
                    <a:pt x="329" y="748"/>
                  </a:lnTo>
                  <a:lnTo>
                    <a:pt x="332" y="742"/>
                  </a:lnTo>
                  <a:lnTo>
                    <a:pt x="331" y="740"/>
                  </a:lnTo>
                  <a:lnTo>
                    <a:pt x="326" y="740"/>
                  </a:lnTo>
                  <a:lnTo>
                    <a:pt x="324" y="739"/>
                  </a:lnTo>
                  <a:lnTo>
                    <a:pt x="323" y="736"/>
                  </a:lnTo>
                  <a:lnTo>
                    <a:pt x="321" y="731"/>
                  </a:lnTo>
                  <a:lnTo>
                    <a:pt x="320" y="730"/>
                  </a:lnTo>
                  <a:lnTo>
                    <a:pt x="320" y="733"/>
                  </a:lnTo>
                  <a:lnTo>
                    <a:pt x="321" y="739"/>
                  </a:lnTo>
                  <a:lnTo>
                    <a:pt x="320" y="740"/>
                  </a:lnTo>
                  <a:lnTo>
                    <a:pt x="319" y="739"/>
                  </a:lnTo>
                  <a:lnTo>
                    <a:pt x="317" y="740"/>
                  </a:lnTo>
                  <a:lnTo>
                    <a:pt x="311" y="740"/>
                  </a:lnTo>
                  <a:lnTo>
                    <a:pt x="307" y="740"/>
                  </a:lnTo>
                  <a:lnTo>
                    <a:pt x="305" y="743"/>
                  </a:lnTo>
                  <a:lnTo>
                    <a:pt x="306" y="746"/>
                  </a:lnTo>
                  <a:lnTo>
                    <a:pt x="306" y="748"/>
                  </a:lnTo>
                  <a:lnTo>
                    <a:pt x="301" y="748"/>
                  </a:lnTo>
                  <a:lnTo>
                    <a:pt x="298" y="751"/>
                  </a:lnTo>
                  <a:lnTo>
                    <a:pt x="295" y="749"/>
                  </a:lnTo>
                  <a:lnTo>
                    <a:pt x="292" y="749"/>
                  </a:lnTo>
                  <a:lnTo>
                    <a:pt x="289" y="751"/>
                  </a:lnTo>
                  <a:lnTo>
                    <a:pt x="290" y="752"/>
                  </a:lnTo>
                  <a:lnTo>
                    <a:pt x="286" y="753"/>
                  </a:lnTo>
                  <a:lnTo>
                    <a:pt x="278" y="752"/>
                  </a:lnTo>
                  <a:lnTo>
                    <a:pt x="274" y="751"/>
                  </a:lnTo>
                  <a:lnTo>
                    <a:pt x="271" y="749"/>
                  </a:lnTo>
                  <a:lnTo>
                    <a:pt x="270" y="745"/>
                  </a:lnTo>
                  <a:lnTo>
                    <a:pt x="267" y="741"/>
                  </a:lnTo>
                  <a:lnTo>
                    <a:pt x="266" y="739"/>
                  </a:lnTo>
                  <a:lnTo>
                    <a:pt x="266" y="736"/>
                  </a:lnTo>
                  <a:lnTo>
                    <a:pt x="270" y="735"/>
                  </a:lnTo>
                  <a:lnTo>
                    <a:pt x="274" y="734"/>
                  </a:lnTo>
                  <a:lnTo>
                    <a:pt x="276" y="731"/>
                  </a:lnTo>
                  <a:lnTo>
                    <a:pt x="274" y="728"/>
                  </a:lnTo>
                  <a:lnTo>
                    <a:pt x="276" y="725"/>
                  </a:lnTo>
                  <a:lnTo>
                    <a:pt x="279" y="725"/>
                  </a:lnTo>
                  <a:lnTo>
                    <a:pt x="282" y="724"/>
                  </a:lnTo>
                  <a:lnTo>
                    <a:pt x="284" y="722"/>
                  </a:lnTo>
                  <a:lnTo>
                    <a:pt x="284" y="719"/>
                  </a:lnTo>
                  <a:lnTo>
                    <a:pt x="283" y="716"/>
                  </a:lnTo>
                  <a:lnTo>
                    <a:pt x="279" y="713"/>
                  </a:lnTo>
                  <a:lnTo>
                    <a:pt x="277" y="712"/>
                  </a:lnTo>
                  <a:lnTo>
                    <a:pt x="274" y="715"/>
                  </a:lnTo>
                  <a:lnTo>
                    <a:pt x="270" y="718"/>
                  </a:lnTo>
                  <a:lnTo>
                    <a:pt x="267" y="721"/>
                  </a:lnTo>
                  <a:lnTo>
                    <a:pt x="266" y="721"/>
                  </a:lnTo>
                  <a:lnTo>
                    <a:pt x="265" y="723"/>
                  </a:lnTo>
                  <a:lnTo>
                    <a:pt x="261" y="727"/>
                  </a:lnTo>
                  <a:lnTo>
                    <a:pt x="259" y="727"/>
                  </a:lnTo>
                  <a:lnTo>
                    <a:pt x="255" y="724"/>
                  </a:lnTo>
                  <a:lnTo>
                    <a:pt x="254" y="724"/>
                  </a:lnTo>
                  <a:lnTo>
                    <a:pt x="253" y="728"/>
                  </a:lnTo>
                  <a:lnTo>
                    <a:pt x="252" y="736"/>
                  </a:lnTo>
                  <a:lnTo>
                    <a:pt x="249" y="739"/>
                  </a:lnTo>
                  <a:lnTo>
                    <a:pt x="243" y="739"/>
                  </a:lnTo>
                  <a:lnTo>
                    <a:pt x="243" y="741"/>
                  </a:lnTo>
                  <a:lnTo>
                    <a:pt x="242" y="742"/>
                  </a:lnTo>
                  <a:lnTo>
                    <a:pt x="241" y="743"/>
                  </a:lnTo>
                  <a:lnTo>
                    <a:pt x="236" y="745"/>
                  </a:lnTo>
                  <a:lnTo>
                    <a:pt x="233" y="746"/>
                  </a:lnTo>
                  <a:lnTo>
                    <a:pt x="232" y="742"/>
                  </a:lnTo>
                  <a:lnTo>
                    <a:pt x="230" y="741"/>
                  </a:lnTo>
                  <a:lnTo>
                    <a:pt x="229" y="741"/>
                  </a:lnTo>
                  <a:lnTo>
                    <a:pt x="230" y="737"/>
                  </a:lnTo>
                  <a:lnTo>
                    <a:pt x="235" y="729"/>
                  </a:lnTo>
                  <a:lnTo>
                    <a:pt x="233" y="727"/>
                  </a:lnTo>
                  <a:lnTo>
                    <a:pt x="231" y="727"/>
                  </a:lnTo>
                  <a:lnTo>
                    <a:pt x="225" y="733"/>
                  </a:lnTo>
                  <a:lnTo>
                    <a:pt x="220" y="734"/>
                  </a:lnTo>
                  <a:lnTo>
                    <a:pt x="223" y="735"/>
                  </a:lnTo>
                  <a:lnTo>
                    <a:pt x="217" y="735"/>
                  </a:lnTo>
                  <a:lnTo>
                    <a:pt x="209" y="735"/>
                  </a:lnTo>
                  <a:lnTo>
                    <a:pt x="203" y="731"/>
                  </a:lnTo>
                  <a:lnTo>
                    <a:pt x="194" y="725"/>
                  </a:lnTo>
                  <a:lnTo>
                    <a:pt x="190" y="723"/>
                  </a:lnTo>
                  <a:lnTo>
                    <a:pt x="193" y="722"/>
                  </a:lnTo>
                  <a:lnTo>
                    <a:pt x="195" y="722"/>
                  </a:lnTo>
                  <a:lnTo>
                    <a:pt x="196" y="719"/>
                  </a:lnTo>
                  <a:lnTo>
                    <a:pt x="196" y="715"/>
                  </a:lnTo>
                  <a:lnTo>
                    <a:pt x="199" y="712"/>
                  </a:lnTo>
                  <a:lnTo>
                    <a:pt x="199" y="711"/>
                  </a:lnTo>
                  <a:lnTo>
                    <a:pt x="201" y="711"/>
                  </a:lnTo>
                  <a:lnTo>
                    <a:pt x="205" y="715"/>
                  </a:lnTo>
                  <a:lnTo>
                    <a:pt x="207" y="716"/>
                  </a:lnTo>
                  <a:lnTo>
                    <a:pt x="208" y="713"/>
                  </a:lnTo>
                  <a:lnTo>
                    <a:pt x="209" y="713"/>
                  </a:lnTo>
                  <a:lnTo>
                    <a:pt x="213" y="713"/>
                  </a:lnTo>
                  <a:lnTo>
                    <a:pt x="217" y="713"/>
                  </a:lnTo>
                  <a:lnTo>
                    <a:pt x="220" y="713"/>
                  </a:lnTo>
                  <a:lnTo>
                    <a:pt x="223" y="711"/>
                  </a:lnTo>
                  <a:lnTo>
                    <a:pt x="225" y="711"/>
                  </a:lnTo>
                  <a:lnTo>
                    <a:pt x="230" y="711"/>
                  </a:lnTo>
                  <a:lnTo>
                    <a:pt x="230" y="709"/>
                  </a:lnTo>
                  <a:lnTo>
                    <a:pt x="227" y="703"/>
                  </a:lnTo>
                  <a:lnTo>
                    <a:pt x="224" y="701"/>
                  </a:lnTo>
                  <a:lnTo>
                    <a:pt x="218" y="705"/>
                  </a:lnTo>
                  <a:lnTo>
                    <a:pt x="209" y="709"/>
                  </a:lnTo>
                  <a:lnTo>
                    <a:pt x="193" y="709"/>
                  </a:lnTo>
                  <a:lnTo>
                    <a:pt x="179" y="709"/>
                  </a:lnTo>
                  <a:lnTo>
                    <a:pt x="173" y="707"/>
                  </a:lnTo>
                  <a:lnTo>
                    <a:pt x="170" y="707"/>
                  </a:lnTo>
                  <a:lnTo>
                    <a:pt x="170" y="710"/>
                  </a:lnTo>
                  <a:lnTo>
                    <a:pt x="173" y="716"/>
                  </a:lnTo>
                  <a:lnTo>
                    <a:pt x="172" y="722"/>
                  </a:lnTo>
                  <a:lnTo>
                    <a:pt x="162" y="725"/>
                  </a:lnTo>
                  <a:lnTo>
                    <a:pt x="162" y="724"/>
                  </a:lnTo>
                  <a:lnTo>
                    <a:pt x="158" y="723"/>
                  </a:lnTo>
                  <a:lnTo>
                    <a:pt x="152" y="724"/>
                  </a:lnTo>
                  <a:lnTo>
                    <a:pt x="148" y="723"/>
                  </a:lnTo>
                  <a:lnTo>
                    <a:pt x="144" y="718"/>
                  </a:lnTo>
                  <a:lnTo>
                    <a:pt x="132" y="727"/>
                  </a:lnTo>
                  <a:lnTo>
                    <a:pt x="124" y="735"/>
                  </a:lnTo>
                  <a:lnTo>
                    <a:pt x="111" y="745"/>
                  </a:lnTo>
                  <a:lnTo>
                    <a:pt x="99" y="749"/>
                  </a:lnTo>
                  <a:lnTo>
                    <a:pt x="94" y="749"/>
                  </a:lnTo>
                  <a:lnTo>
                    <a:pt x="101" y="748"/>
                  </a:lnTo>
                  <a:lnTo>
                    <a:pt x="108" y="745"/>
                  </a:lnTo>
                  <a:lnTo>
                    <a:pt x="115" y="740"/>
                  </a:lnTo>
                  <a:lnTo>
                    <a:pt x="129" y="727"/>
                  </a:lnTo>
                  <a:lnTo>
                    <a:pt x="105" y="739"/>
                  </a:lnTo>
                  <a:lnTo>
                    <a:pt x="89" y="746"/>
                  </a:lnTo>
                  <a:lnTo>
                    <a:pt x="114" y="731"/>
                  </a:lnTo>
                  <a:lnTo>
                    <a:pt x="132" y="721"/>
                  </a:lnTo>
                  <a:lnTo>
                    <a:pt x="132" y="719"/>
                  </a:lnTo>
                  <a:lnTo>
                    <a:pt x="129" y="716"/>
                  </a:lnTo>
                  <a:lnTo>
                    <a:pt x="123" y="711"/>
                  </a:lnTo>
                  <a:lnTo>
                    <a:pt x="120" y="712"/>
                  </a:lnTo>
                  <a:lnTo>
                    <a:pt x="115" y="717"/>
                  </a:lnTo>
                  <a:lnTo>
                    <a:pt x="106" y="725"/>
                  </a:lnTo>
                  <a:lnTo>
                    <a:pt x="102" y="727"/>
                  </a:lnTo>
                  <a:lnTo>
                    <a:pt x="113" y="718"/>
                  </a:lnTo>
                  <a:lnTo>
                    <a:pt x="119" y="710"/>
                  </a:lnTo>
                  <a:lnTo>
                    <a:pt x="123" y="710"/>
                  </a:lnTo>
                  <a:lnTo>
                    <a:pt x="129" y="713"/>
                  </a:lnTo>
                  <a:lnTo>
                    <a:pt x="136" y="718"/>
                  </a:lnTo>
                  <a:lnTo>
                    <a:pt x="138" y="718"/>
                  </a:lnTo>
                  <a:lnTo>
                    <a:pt x="141" y="716"/>
                  </a:lnTo>
                  <a:lnTo>
                    <a:pt x="143" y="713"/>
                  </a:lnTo>
                  <a:lnTo>
                    <a:pt x="141" y="711"/>
                  </a:lnTo>
                  <a:lnTo>
                    <a:pt x="138" y="707"/>
                  </a:lnTo>
                  <a:lnTo>
                    <a:pt x="136" y="705"/>
                  </a:lnTo>
                  <a:lnTo>
                    <a:pt x="130" y="705"/>
                  </a:lnTo>
                  <a:lnTo>
                    <a:pt x="124" y="704"/>
                  </a:lnTo>
                  <a:lnTo>
                    <a:pt x="117" y="705"/>
                  </a:lnTo>
                  <a:lnTo>
                    <a:pt x="112" y="707"/>
                  </a:lnTo>
                  <a:lnTo>
                    <a:pt x="109" y="711"/>
                  </a:lnTo>
                  <a:lnTo>
                    <a:pt x="108" y="715"/>
                  </a:lnTo>
                  <a:lnTo>
                    <a:pt x="106" y="716"/>
                  </a:lnTo>
                  <a:lnTo>
                    <a:pt x="103" y="717"/>
                  </a:lnTo>
                  <a:lnTo>
                    <a:pt x="101" y="716"/>
                  </a:lnTo>
                  <a:lnTo>
                    <a:pt x="100" y="710"/>
                  </a:lnTo>
                  <a:lnTo>
                    <a:pt x="102" y="706"/>
                  </a:lnTo>
                  <a:lnTo>
                    <a:pt x="101" y="705"/>
                  </a:lnTo>
                  <a:lnTo>
                    <a:pt x="99" y="705"/>
                  </a:lnTo>
                  <a:lnTo>
                    <a:pt x="91" y="709"/>
                  </a:lnTo>
                  <a:lnTo>
                    <a:pt x="90" y="709"/>
                  </a:lnTo>
                  <a:lnTo>
                    <a:pt x="89" y="706"/>
                  </a:lnTo>
                  <a:lnTo>
                    <a:pt x="88" y="701"/>
                  </a:lnTo>
                  <a:lnTo>
                    <a:pt x="89" y="695"/>
                  </a:lnTo>
                  <a:lnTo>
                    <a:pt x="90" y="693"/>
                  </a:lnTo>
                  <a:lnTo>
                    <a:pt x="93" y="691"/>
                  </a:lnTo>
                  <a:lnTo>
                    <a:pt x="93" y="687"/>
                  </a:lnTo>
                  <a:lnTo>
                    <a:pt x="89" y="682"/>
                  </a:lnTo>
                  <a:lnTo>
                    <a:pt x="88" y="679"/>
                  </a:lnTo>
                  <a:lnTo>
                    <a:pt x="84" y="676"/>
                  </a:lnTo>
                  <a:lnTo>
                    <a:pt x="84" y="671"/>
                  </a:lnTo>
                  <a:lnTo>
                    <a:pt x="91" y="665"/>
                  </a:lnTo>
                  <a:lnTo>
                    <a:pt x="94" y="663"/>
                  </a:lnTo>
                  <a:lnTo>
                    <a:pt x="94" y="662"/>
                  </a:lnTo>
                  <a:lnTo>
                    <a:pt x="89" y="659"/>
                  </a:lnTo>
                  <a:lnTo>
                    <a:pt x="88" y="657"/>
                  </a:lnTo>
                  <a:lnTo>
                    <a:pt x="90" y="654"/>
                  </a:lnTo>
                  <a:lnTo>
                    <a:pt x="96" y="650"/>
                  </a:lnTo>
                  <a:lnTo>
                    <a:pt x="100" y="646"/>
                  </a:lnTo>
                  <a:lnTo>
                    <a:pt x="101" y="639"/>
                  </a:lnTo>
                  <a:lnTo>
                    <a:pt x="102" y="634"/>
                  </a:lnTo>
                  <a:lnTo>
                    <a:pt x="103" y="629"/>
                  </a:lnTo>
                  <a:lnTo>
                    <a:pt x="84" y="629"/>
                  </a:lnTo>
                  <a:lnTo>
                    <a:pt x="77" y="630"/>
                  </a:lnTo>
                  <a:lnTo>
                    <a:pt x="72" y="629"/>
                  </a:lnTo>
                  <a:lnTo>
                    <a:pt x="69" y="626"/>
                  </a:lnTo>
                  <a:lnTo>
                    <a:pt x="65" y="627"/>
                  </a:lnTo>
                  <a:lnTo>
                    <a:pt x="61" y="630"/>
                  </a:lnTo>
                  <a:lnTo>
                    <a:pt x="55" y="629"/>
                  </a:lnTo>
                  <a:lnTo>
                    <a:pt x="47" y="626"/>
                  </a:lnTo>
                  <a:lnTo>
                    <a:pt x="41" y="627"/>
                  </a:lnTo>
                  <a:lnTo>
                    <a:pt x="35" y="628"/>
                  </a:lnTo>
                  <a:lnTo>
                    <a:pt x="30" y="624"/>
                  </a:lnTo>
                  <a:lnTo>
                    <a:pt x="23" y="618"/>
                  </a:lnTo>
                  <a:lnTo>
                    <a:pt x="19" y="611"/>
                  </a:lnTo>
                  <a:lnTo>
                    <a:pt x="14" y="608"/>
                  </a:lnTo>
                  <a:lnTo>
                    <a:pt x="12" y="605"/>
                  </a:lnTo>
                  <a:lnTo>
                    <a:pt x="13" y="603"/>
                  </a:lnTo>
                  <a:lnTo>
                    <a:pt x="16" y="596"/>
                  </a:lnTo>
                  <a:lnTo>
                    <a:pt x="14" y="597"/>
                  </a:lnTo>
                  <a:lnTo>
                    <a:pt x="10" y="591"/>
                  </a:lnTo>
                  <a:lnTo>
                    <a:pt x="4" y="578"/>
                  </a:lnTo>
                  <a:lnTo>
                    <a:pt x="0" y="570"/>
                  </a:lnTo>
                  <a:lnTo>
                    <a:pt x="0" y="569"/>
                  </a:lnTo>
                  <a:lnTo>
                    <a:pt x="2" y="569"/>
                  </a:lnTo>
                  <a:lnTo>
                    <a:pt x="10" y="566"/>
                  </a:lnTo>
                  <a:lnTo>
                    <a:pt x="12" y="564"/>
                  </a:lnTo>
                  <a:lnTo>
                    <a:pt x="14" y="567"/>
                  </a:lnTo>
                  <a:lnTo>
                    <a:pt x="18" y="573"/>
                  </a:lnTo>
                  <a:lnTo>
                    <a:pt x="23" y="575"/>
                  </a:lnTo>
                  <a:lnTo>
                    <a:pt x="28" y="576"/>
                  </a:lnTo>
                  <a:lnTo>
                    <a:pt x="29" y="580"/>
                  </a:lnTo>
                  <a:lnTo>
                    <a:pt x="31" y="588"/>
                  </a:lnTo>
                  <a:lnTo>
                    <a:pt x="32" y="591"/>
                  </a:lnTo>
                  <a:lnTo>
                    <a:pt x="34" y="590"/>
                  </a:lnTo>
                  <a:lnTo>
                    <a:pt x="36" y="586"/>
                  </a:lnTo>
                  <a:lnTo>
                    <a:pt x="38" y="582"/>
                  </a:lnTo>
                  <a:lnTo>
                    <a:pt x="42" y="581"/>
                  </a:lnTo>
                  <a:lnTo>
                    <a:pt x="46" y="582"/>
                  </a:lnTo>
                  <a:lnTo>
                    <a:pt x="50" y="581"/>
                  </a:lnTo>
                  <a:lnTo>
                    <a:pt x="56" y="580"/>
                  </a:lnTo>
                  <a:lnTo>
                    <a:pt x="52" y="575"/>
                  </a:lnTo>
                  <a:lnTo>
                    <a:pt x="49" y="572"/>
                  </a:lnTo>
                  <a:lnTo>
                    <a:pt x="49" y="568"/>
                  </a:lnTo>
                  <a:lnTo>
                    <a:pt x="52" y="566"/>
                  </a:lnTo>
                  <a:lnTo>
                    <a:pt x="55" y="566"/>
                  </a:lnTo>
                  <a:lnTo>
                    <a:pt x="61" y="566"/>
                  </a:lnTo>
                  <a:lnTo>
                    <a:pt x="63" y="566"/>
                  </a:lnTo>
                  <a:lnTo>
                    <a:pt x="64" y="568"/>
                  </a:lnTo>
                  <a:lnTo>
                    <a:pt x="64" y="574"/>
                  </a:lnTo>
                  <a:lnTo>
                    <a:pt x="72" y="578"/>
                  </a:lnTo>
                  <a:lnTo>
                    <a:pt x="70" y="579"/>
                  </a:lnTo>
                  <a:lnTo>
                    <a:pt x="75" y="580"/>
                  </a:lnTo>
                  <a:lnTo>
                    <a:pt x="84" y="582"/>
                  </a:lnTo>
                  <a:lnTo>
                    <a:pt x="85" y="584"/>
                  </a:lnTo>
                  <a:lnTo>
                    <a:pt x="88" y="582"/>
                  </a:lnTo>
                  <a:lnTo>
                    <a:pt x="89" y="578"/>
                  </a:lnTo>
                  <a:lnTo>
                    <a:pt x="94" y="579"/>
                  </a:lnTo>
                  <a:lnTo>
                    <a:pt x="106" y="587"/>
                  </a:lnTo>
                  <a:lnTo>
                    <a:pt x="108" y="587"/>
                  </a:lnTo>
                  <a:lnTo>
                    <a:pt x="112" y="586"/>
                  </a:lnTo>
                  <a:lnTo>
                    <a:pt x="113" y="581"/>
                  </a:lnTo>
                  <a:lnTo>
                    <a:pt x="115" y="579"/>
                  </a:lnTo>
                  <a:lnTo>
                    <a:pt x="117" y="581"/>
                  </a:lnTo>
                  <a:lnTo>
                    <a:pt x="121" y="581"/>
                  </a:lnTo>
                  <a:lnTo>
                    <a:pt x="129" y="579"/>
                  </a:lnTo>
                  <a:lnTo>
                    <a:pt x="136" y="578"/>
                  </a:lnTo>
                  <a:lnTo>
                    <a:pt x="137" y="578"/>
                  </a:lnTo>
                  <a:lnTo>
                    <a:pt x="134" y="575"/>
                  </a:lnTo>
                  <a:lnTo>
                    <a:pt x="125" y="568"/>
                  </a:lnTo>
                  <a:lnTo>
                    <a:pt x="124" y="564"/>
                  </a:lnTo>
                  <a:lnTo>
                    <a:pt x="121" y="562"/>
                  </a:lnTo>
                  <a:lnTo>
                    <a:pt x="118" y="562"/>
                  </a:lnTo>
                  <a:lnTo>
                    <a:pt x="117" y="560"/>
                  </a:lnTo>
                  <a:lnTo>
                    <a:pt x="114" y="557"/>
                  </a:lnTo>
                  <a:lnTo>
                    <a:pt x="112" y="554"/>
                  </a:lnTo>
                  <a:lnTo>
                    <a:pt x="113" y="550"/>
                  </a:lnTo>
                  <a:lnTo>
                    <a:pt x="118" y="546"/>
                  </a:lnTo>
                  <a:lnTo>
                    <a:pt x="120" y="543"/>
                  </a:lnTo>
                  <a:lnTo>
                    <a:pt x="120" y="541"/>
                  </a:lnTo>
                  <a:lnTo>
                    <a:pt x="123" y="540"/>
                  </a:lnTo>
                  <a:lnTo>
                    <a:pt x="128" y="539"/>
                  </a:lnTo>
                  <a:lnTo>
                    <a:pt x="134" y="535"/>
                  </a:lnTo>
                  <a:lnTo>
                    <a:pt x="140" y="529"/>
                  </a:lnTo>
                  <a:lnTo>
                    <a:pt x="144" y="526"/>
                  </a:lnTo>
                  <a:lnTo>
                    <a:pt x="147" y="521"/>
                  </a:lnTo>
                  <a:lnTo>
                    <a:pt x="149" y="520"/>
                  </a:lnTo>
                  <a:lnTo>
                    <a:pt x="160" y="525"/>
                  </a:lnTo>
                  <a:lnTo>
                    <a:pt x="168" y="522"/>
                  </a:lnTo>
                  <a:lnTo>
                    <a:pt x="173" y="521"/>
                  </a:lnTo>
                  <a:lnTo>
                    <a:pt x="177" y="519"/>
                  </a:lnTo>
                  <a:lnTo>
                    <a:pt x="182" y="514"/>
                  </a:lnTo>
                  <a:lnTo>
                    <a:pt x="187" y="509"/>
                  </a:lnTo>
                  <a:lnTo>
                    <a:pt x="188" y="507"/>
                  </a:lnTo>
                  <a:lnTo>
                    <a:pt x="189" y="507"/>
                  </a:lnTo>
                  <a:lnTo>
                    <a:pt x="190" y="509"/>
                  </a:lnTo>
                  <a:lnTo>
                    <a:pt x="194" y="516"/>
                  </a:lnTo>
                  <a:lnTo>
                    <a:pt x="199" y="516"/>
                  </a:lnTo>
                  <a:lnTo>
                    <a:pt x="201" y="516"/>
                  </a:lnTo>
                  <a:lnTo>
                    <a:pt x="203" y="513"/>
                  </a:lnTo>
                  <a:lnTo>
                    <a:pt x="208" y="507"/>
                  </a:lnTo>
                  <a:lnTo>
                    <a:pt x="208" y="499"/>
                  </a:lnTo>
                  <a:lnTo>
                    <a:pt x="206" y="498"/>
                  </a:lnTo>
                  <a:lnTo>
                    <a:pt x="202" y="498"/>
                  </a:lnTo>
                  <a:lnTo>
                    <a:pt x="199" y="503"/>
                  </a:lnTo>
                  <a:lnTo>
                    <a:pt x="197" y="503"/>
                  </a:lnTo>
                  <a:lnTo>
                    <a:pt x="195" y="501"/>
                  </a:lnTo>
                  <a:lnTo>
                    <a:pt x="193" y="495"/>
                  </a:lnTo>
                  <a:lnTo>
                    <a:pt x="190" y="493"/>
                  </a:lnTo>
                  <a:lnTo>
                    <a:pt x="185" y="496"/>
                  </a:lnTo>
                  <a:lnTo>
                    <a:pt x="184" y="498"/>
                  </a:lnTo>
                  <a:lnTo>
                    <a:pt x="183" y="502"/>
                  </a:lnTo>
                  <a:lnTo>
                    <a:pt x="182" y="503"/>
                  </a:lnTo>
                  <a:lnTo>
                    <a:pt x="178" y="501"/>
                  </a:lnTo>
                  <a:lnTo>
                    <a:pt x="165" y="496"/>
                  </a:lnTo>
                  <a:lnTo>
                    <a:pt x="160" y="493"/>
                  </a:lnTo>
                  <a:lnTo>
                    <a:pt x="158" y="493"/>
                  </a:lnTo>
                  <a:lnTo>
                    <a:pt x="158" y="496"/>
                  </a:lnTo>
                  <a:lnTo>
                    <a:pt x="160" y="499"/>
                  </a:lnTo>
                  <a:lnTo>
                    <a:pt x="165" y="504"/>
                  </a:lnTo>
                  <a:lnTo>
                    <a:pt x="162" y="505"/>
                  </a:lnTo>
                  <a:lnTo>
                    <a:pt x="153" y="503"/>
                  </a:lnTo>
                  <a:lnTo>
                    <a:pt x="148" y="503"/>
                  </a:lnTo>
                  <a:lnTo>
                    <a:pt x="144" y="509"/>
                  </a:lnTo>
                  <a:lnTo>
                    <a:pt x="142" y="511"/>
                  </a:lnTo>
                  <a:lnTo>
                    <a:pt x="138" y="509"/>
                  </a:lnTo>
                  <a:lnTo>
                    <a:pt x="135" y="508"/>
                  </a:lnTo>
                  <a:lnTo>
                    <a:pt x="132" y="503"/>
                  </a:lnTo>
                  <a:lnTo>
                    <a:pt x="135" y="497"/>
                  </a:lnTo>
                  <a:lnTo>
                    <a:pt x="132" y="497"/>
                  </a:lnTo>
                  <a:lnTo>
                    <a:pt x="120" y="497"/>
                  </a:lnTo>
                  <a:lnTo>
                    <a:pt x="120" y="498"/>
                  </a:lnTo>
                  <a:lnTo>
                    <a:pt x="119" y="501"/>
                  </a:lnTo>
                  <a:lnTo>
                    <a:pt x="114" y="503"/>
                  </a:lnTo>
                  <a:lnTo>
                    <a:pt x="111" y="503"/>
                  </a:lnTo>
                  <a:lnTo>
                    <a:pt x="108" y="499"/>
                  </a:lnTo>
                  <a:lnTo>
                    <a:pt x="106" y="499"/>
                  </a:lnTo>
                  <a:lnTo>
                    <a:pt x="99" y="504"/>
                  </a:lnTo>
                  <a:lnTo>
                    <a:pt x="95" y="507"/>
                  </a:lnTo>
                  <a:lnTo>
                    <a:pt x="93" y="507"/>
                  </a:lnTo>
                  <a:lnTo>
                    <a:pt x="89" y="504"/>
                  </a:lnTo>
                  <a:lnTo>
                    <a:pt x="83" y="499"/>
                  </a:lnTo>
                  <a:lnTo>
                    <a:pt x="81" y="497"/>
                  </a:lnTo>
                  <a:lnTo>
                    <a:pt x="81" y="495"/>
                  </a:lnTo>
                  <a:lnTo>
                    <a:pt x="83" y="492"/>
                  </a:lnTo>
                  <a:lnTo>
                    <a:pt x="81" y="490"/>
                  </a:lnTo>
                  <a:lnTo>
                    <a:pt x="76" y="487"/>
                  </a:lnTo>
                  <a:lnTo>
                    <a:pt x="72" y="484"/>
                  </a:lnTo>
                  <a:lnTo>
                    <a:pt x="70" y="477"/>
                  </a:lnTo>
                  <a:lnTo>
                    <a:pt x="72" y="474"/>
                  </a:lnTo>
                  <a:lnTo>
                    <a:pt x="76" y="474"/>
                  </a:lnTo>
                  <a:lnTo>
                    <a:pt x="83" y="475"/>
                  </a:lnTo>
                  <a:lnTo>
                    <a:pt x="88" y="479"/>
                  </a:lnTo>
                  <a:lnTo>
                    <a:pt x="93" y="484"/>
                  </a:lnTo>
                  <a:lnTo>
                    <a:pt x="94" y="481"/>
                  </a:lnTo>
                  <a:lnTo>
                    <a:pt x="93" y="478"/>
                  </a:lnTo>
                  <a:lnTo>
                    <a:pt x="93" y="477"/>
                  </a:lnTo>
                  <a:lnTo>
                    <a:pt x="94" y="474"/>
                  </a:lnTo>
                  <a:lnTo>
                    <a:pt x="97" y="469"/>
                  </a:lnTo>
                  <a:lnTo>
                    <a:pt x="101" y="465"/>
                  </a:lnTo>
                  <a:lnTo>
                    <a:pt x="107" y="460"/>
                  </a:lnTo>
                  <a:lnTo>
                    <a:pt x="112" y="456"/>
                  </a:lnTo>
                  <a:lnTo>
                    <a:pt x="113" y="453"/>
                  </a:lnTo>
                  <a:lnTo>
                    <a:pt x="114" y="450"/>
                  </a:lnTo>
                  <a:lnTo>
                    <a:pt x="113" y="449"/>
                  </a:lnTo>
                  <a:lnTo>
                    <a:pt x="103" y="444"/>
                  </a:lnTo>
                  <a:lnTo>
                    <a:pt x="100" y="440"/>
                  </a:lnTo>
                  <a:lnTo>
                    <a:pt x="99" y="433"/>
                  </a:lnTo>
                  <a:lnTo>
                    <a:pt x="99" y="419"/>
                  </a:lnTo>
                  <a:lnTo>
                    <a:pt x="99" y="414"/>
                  </a:lnTo>
                  <a:lnTo>
                    <a:pt x="100" y="410"/>
                  </a:lnTo>
                  <a:lnTo>
                    <a:pt x="95" y="407"/>
                  </a:lnTo>
                  <a:lnTo>
                    <a:pt x="91" y="406"/>
                  </a:lnTo>
                  <a:lnTo>
                    <a:pt x="89" y="401"/>
                  </a:lnTo>
                  <a:lnTo>
                    <a:pt x="87" y="394"/>
                  </a:lnTo>
                  <a:lnTo>
                    <a:pt x="89" y="386"/>
                  </a:lnTo>
                  <a:lnTo>
                    <a:pt x="95" y="382"/>
                  </a:lnTo>
                  <a:lnTo>
                    <a:pt x="97" y="377"/>
                  </a:lnTo>
                  <a:lnTo>
                    <a:pt x="95" y="372"/>
                  </a:lnTo>
                  <a:lnTo>
                    <a:pt x="95" y="366"/>
                  </a:lnTo>
                  <a:lnTo>
                    <a:pt x="99" y="361"/>
                  </a:lnTo>
                  <a:lnTo>
                    <a:pt x="102" y="356"/>
                  </a:lnTo>
                  <a:lnTo>
                    <a:pt x="102" y="350"/>
                  </a:lnTo>
                  <a:lnTo>
                    <a:pt x="102" y="349"/>
                  </a:lnTo>
                  <a:lnTo>
                    <a:pt x="105" y="348"/>
                  </a:lnTo>
                  <a:lnTo>
                    <a:pt x="109" y="349"/>
                  </a:lnTo>
                  <a:lnTo>
                    <a:pt x="114" y="352"/>
                  </a:lnTo>
                  <a:lnTo>
                    <a:pt x="121" y="350"/>
                  </a:lnTo>
                  <a:lnTo>
                    <a:pt x="124" y="349"/>
                  </a:lnTo>
                  <a:lnTo>
                    <a:pt x="126" y="350"/>
                  </a:lnTo>
                  <a:lnTo>
                    <a:pt x="130" y="355"/>
                  </a:lnTo>
                  <a:lnTo>
                    <a:pt x="134" y="356"/>
                  </a:lnTo>
                  <a:lnTo>
                    <a:pt x="138" y="354"/>
                  </a:lnTo>
                  <a:lnTo>
                    <a:pt x="140" y="354"/>
                  </a:lnTo>
                  <a:lnTo>
                    <a:pt x="141" y="356"/>
                  </a:lnTo>
                  <a:lnTo>
                    <a:pt x="142" y="364"/>
                  </a:lnTo>
                  <a:lnTo>
                    <a:pt x="143" y="367"/>
                  </a:lnTo>
                  <a:lnTo>
                    <a:pt x="146" y="368"/>
                  </a:lnTo>
                  <a:lnTo>
                    <a:pt x="152" y="370"/>
                  </a:lnTo>
                  <a:lnTo>
                    <a:pt x="153" y="367"/>
                  </a:lnTo>
                  <a:lnTo>
                    <a:pt x="155" y="361"/>
                  </a:lnTo>
                  <a:lnTo>
                    <a:pt x="154" y="359"/>
                  </a:lnTo>
                  <a:lnTo>
                    <a:pt x="150" y="355"/>
                  </a:lnTo>
                  <a:lnTo>
                    <a:pt x="140" y="352"/>
                  </a:lnTo>
                  <a:lnTo>
                    <a:pt x="137" y="349"/>
                  </a:lnTo>
                  <a:lnTo>
                    <a:pt x="136" y="346"/>
                  </a:lnTo>
                  <a:lnTo>
                    <a:pt x="138" y="338"/>
                  </a:lnTo>
                  <a:lnTo>
                    <a:pt x="141" y="333"/>
                  </a:lnTo>
                  <a:lnTo>
                    <a:pt x="140" y="329"/>
                  </a:lnTo>
                  <a:lnTo>
                    <a:pt x="143" y="329"/>
                  </a:lnTo>
                  <a:lnTo>
                    <a:pt x="149" y="330"/>
                  </a:lnTo>
                  <a:lnTo>
                    <a:pt x="155" y="331"/>
                  </a:lnTo>
                  <a:lnTo>
                    <a:pt x="162" y="337"/>
                  </a:lnTo>
                  <a:lnTo>
                    <a:pt x="166" y="340"/>
                  </a:lnTo>
                  <a:lnTo>
                    <a:pt x="171" y="338"/>
                  </a:lnTo>
                  <a:lnTo>
                    <a:pt x="171" y="337"/>
                  </a:lnTo>
                  <a:lnTo>
                    <a:pt x="168" y="335"/>
                  </a:lnTo>
                  <a:lnTo>
                    <a:pt x="165" y="330"/>
                  </a:lnTo>
                  <a:lnTo>
                    <a:pt x="160" y="326"/>
                  </a:lnTo>
                  <a:lnTo>
                    <a:pt x="154" y="323"/>
                  </a:lnTo>
                  <a:lnTo>
                    <a:pt x="153" y="318"/>
                  </a:lnTo>
                  <a:lnTo>
                    <a:pt x="158" y="307"/>
                  </a:lnTo>
                  <a:lnTo>
                    <a:pt x="166" y="306"/>
                  </a:lnTo>
                  <a:lnTo>
                    <a:pt x="170" y="305"/>
                  </a:lnTo>
                  <a:lnTo>
                    <a:pt x="173" y="306"/>
                  </a:lnTo>
                  <a:lnTo>
                    <a:pt x="178" y="307"/>
                  </a:lnTo>
                  <a:lnTo>
                    <a:pt x="180" y="308"/>
                  </a:lnTo>
                  <a:lnTo>
                    <a:pt x="180" y="312"/>
                  </a:lnTo>
                  <a:lnTo>
                    <a:pt x="180" y="320"/>
                  </a:lnTo>
                  <a:lnTo>
                    <a:pt x="182" y="321"/>
                  </a:lnTo>
                  <a:lnTo>
                    <a:pt x="184" y="320"/>
                  </a:lnTo>
                  <a:lnTo>
                    <a:pt x="189" y="317"/>
                  </a:lnTo>
                  <a:lnTo>
                    <a:pt x="193" y="314"/>
                  </a:lnTo>
                  <a:lnTo>
                    <a:pt x="194" y="311"/>
                  </a:lnTo>
                  <a:lnTo>
                    <a:pt x="193" y="308"/>
                  </a:lnTo>
                  <a:lnTo>
                    <a:pt x="190" y="307"/>
                  </a:lnTo>
                  <a:lnTo>
                    <a:pt x="189" y="306"/>
                  </a:lnTo>
                  <a:lnTo>
                    <a:pt x="188" y="302"/>
                  </a:lnTo>
                  <a:lnTo>
                    <a:pt x="188" y="294"/>
                  </a:lnTo>
                  <a:lnTo>
                    <a:pt x="187" y="291"/>
                  </a:lnTo>
                  <a:lnTo>
                    <a:pt x="184" y="290"/>
                  </a:lnTo>
                  <a:lnTo>
                    <a:pt x="174" y="290"/>
                  </a:lnTo>
                  <a:lnTo>
                    <a:pt x="167" y="287"/>
                  </a:lnTo>
                  <a:lnTo>
                    <a:pt x="165" y="283"/>
                  </a:lnTo>
                  <a:lnTo>
                    <a:pt x="167" y="276"/>
                  </a:lnTo>
                  <a:lnTo>
                    <a:pt x="173" y="270"/>
                  </a:lnTo>
                  <a:lnTo>
                    <a:pt x="178" y="267"/>
                  </a:lnTo>
                  <a:lnTo>
                    <a:pt x="180" y="265"/>
                  </a:lnTo>
                  <a:lnTo>
                    <a:pt x="184" y="266"/>
                  </a:lnTo>
                  <a:lnTo>
                    <a:pt x="194" y="270"/>
                  </a:lnTo>
                  <a:lnTo>
                    <a:pt x="201" y="270"/>
                  </a:lnTo>
                  <a:lnTo>
                    <a:pt x="208" y="270"/>
                  </a:lnTo>
                  <a:lnTo>
                    <a:pt x="214" y="269"/>
                  </a:lnTo>
                  <a:lnTo>
                    <a:pt x="220" y="269"/>
                  </a:lnTo>
                  <a:lnTo>
                    <a:pt x="224" y="270"/>
                  </a:lnTo>
                  <a:lnTo>
                    <a:pt x="227" y="270"/>
                  </a:lnTo>
                  <a:lnTo>
                    <a:pt x="230" y="267"/>
                  </a:lnTo>
                  <a:lnTo>
                    <a:pt x="231" y="263"/>
                  </a:lnTo>
                  <a:lnTo>
                    <a:pt x="233" y="259"/>
                  </a:lnTo>
                  <a:lnTo>
                    <a:pt x="237" y="257"/>
                  </a:lnTo>
                  <a:lnTo>
                    <a:pt x="242" y="252"/>
                  </a:lnTo>
                  <a:lnTo>
                    <a:pt x="242" y="249"/>
                  </a:lnTo>
                  <a:lnTo>
                    <a:pt x="233" y="248"/>
                  </a:lnTo>
                  <a:lnTo>
                    <a:pt x="229" y="252"/>
                  </a:lnTo>
                  <a:lnTo>
                    <a:pt x="226" y="246"/>
                  </a:lnTo>
                  <a:lnTo>
                    <a:pt x="223" y="245"/>
                  </a:lnTo>
                  <a:lnTo>
                    <a:pt x="219" y="243"/>
                  </a:lnTo>
                  <a:lnTo>
                    <a:pt x="220" y="242"/>
                  </a:lnTo>
                  <a:lnTo>
                    <a:pt x="218" y="239"/>
                  </a:lnTo>
                  <a:lnTo>
                    <a:pt x="208" y="234"/>
                  </a:lnTo>
                  <a:lnTo>
                    <a:pt x="206" y="231"/>
                  </a:lnTo>
                  <a:lnTo>
                    <a:pt x="206" y="230"/>
                  </a:lnTo>
                  <a:lnTo>
                    <a:pt x="212" y="229"/>
                  </a:lnTo>
                  <a:lnTo>
                    <a:pt x="218" y="230"/>
                  </a:lnTo>
                  <a:lnTo>
                    <a:pt x="219" y="233"/>
                  </a:lnTo>
                  <a:lnTo>
                    <a:pt x="223" y="233"/>
                  </a:lnTo>
                  <a:lnTo>
                    <a:pt x="227" y="231"/>
                  </a:lnTo>
                  <a:lnTo>
                    <a:pt x="227" y="230"/>
                  </a:lnTo>
                  <a:lnTo>
                    <a:pt x="229" y="229"/>
                  </a:lnTo>
                  <a:lnTo>
                    <a:pt x="231" y="226"/>
                  </a:lnTo>
                  <a:lnTo>
                    <a:pt x="233" y="219"/>
                  </a:lnTo>
                  <a:lnTo>
                    <a:pt x="233" y="220"/>
                  </a:lnTo>
                  <a:lnTo>
                    <a:pt x="236" y="222"/>
                  </a:lnTo>
                  <a:lnTo>
                    <a:pt x="238" y="222"/>
                  </a:lnTo>
                  <a:lnTo>
                    <a:pt x="239" y="224"/>
                  </a:lnTo>
                  <a:lnTo>
                    <a:pt x="242" y="230"/>
                  </a:lnTo>
                  <a:lnTo>
                    <a:pt x="246" y="234"/>
                  </a:lnTo>
                  <a:lnTo>
                    <a:pt x="250" y="230"/>
                  </a:lnTo>
                  <a:lnTo>
                    <a:pt x="254" y="225"/>
                  </a:lnTo>
                  <a:lnTo>
                    <a:pt x="258" y="220"/>
                  </a:lnTo>
                  <a:lnTo>
                    <a:pt x="262" y="217"/>
                  </a:lnTo>
                  <a:lnTo>
                    <a:pt x="262" y="214"/>
                  </a:lnTo>
                  <a:lnTo>
                    <a:pt x="255" y="210"/>
                  </a:lnTo>
                  <a:lnTo>
                    <a:pt x="252" y="208"/>
                  </a:lnTo>
                  <a:lnTo>
                    <a:pt x="244" y="208"/>
                  </a:lnTo>
                  <a:lnTo>
                    <a:pt x="236" y="211"/>
                  </a:lnTo>
                  <a:lnTo>
                    <a:pt x="231" y="210"/>
                  </a:lnTo>
                  <a:lnTo>
                    <a:pt x="225" y="208"/>
                  </a:lnTo>
                  <a:lnTo>
                    <a:pt x="221" y="208"/>
                  </a:lnTo>
                  <a:lnTo>
                    <a:pt x="217" y="207"/>
                  </a:lnTo>
                  <a:lnTo>
                    <a:pt x="206" y="205"/>
                  </a:lnTo>
                  <a:lnTo>
                    <a:pt x="200" y="202"/>
                  </a:lnTo>
                  <a:lnTo>
                    <a:pt x="199" y="200"/>
                  </a:lnTo>
                  <a:lnTo>
                    <a:pt x="190" y="200"/>
                  </a:lnTo>
                  <a:lnTo>
                    <a:pt x="179" y="206"/>
                  </a:lnTo>
                  <a:lnTo>
                    <a:pt x="171" y="210"/>
                  </a:lnTo>
                  <a:lnTo>
                    <a:pt x="160" y="212"/>
                  </a:lnTo>
                  <a:lnTo>
                    <a:pt x="153" y="214"/>
                  </a:lnTo>
                  <a:lnTo>
                    <a:pt x="136" y="216"/>
                  </a:lnTo>
                  <a:lnTo>
                    <a:pt x="129" y="220"/>
                  </a:lnTo>
                  <a:lnTo>
                    <a:pt x="123" y="220"/>
                  </a:lnTo>
                  <a:lnTo>
                    <a:pt x="119" y="219"/>
                  </a:lnTo>
                  <a:lnTo>
                    <a:pt x="108" y="216"/>
                  </a:lnTo>
                  <a:lnTo>
                    <a:pt x="102" y="213"/>
                  </a:lnTo>
                  <a:lnTo>
                    <a:pt x="100" y="208"/>
                  </a:lnTo>
                  <a:lnTo>
                    <a:pt x="101" y="202"/>
                  </a:lnTo>
                  <a:lnTo>
                    <a:pt x="106" y="200"/>
                  </a:lnTo>
                  <a:lnTo>
                    <a:pt x="109" y="198"/>
                  </a:lnTo>
                  <a:lnTo>
                    <a:pt x="111" y="194"/>
                  </a:lnTo>
                  <a:lnTo>
                    <a:pt x="108" y="188"/>
                  </a:lnTo>
                  <a:lnTo>
                    <a:pt x="113" y="188"/>
                  </a:lnTo>
                  <a:lnTo>
                    <a:pt x="121" y="188"/>
                  </a:lnTo>
                  <a:lnTo>
                    <a:pt x="126" y="187"/>
                  </a:lnTo>
                  <a:lnTo>
                    <a:pt x="131" y="188"/>
                  </a:lnTo>
                  <a:lnTo>
                    <a:pt x="135" y="186"/>
                  </a:lnTo>
                  <a:lnTo>
                    <a:pt x="136" y="181"/>
                  </a:lnTo>
                  <a:lnTo>
                    <a:pt x="138" y="178"/>
                  </a:lnTo>
                  <a:lnTo>
                    <a:pt x="142" y="175"/>
                  </a:lnTo>
                  <a:lnTo>
                    <a:pt x="142" y="172"/>
                  </a:lnTo>
                  <a:lnTo>
                    <a:pt x="144" y="171"/>
                  </a:lnTo>
                  <a:lnTo>
                    <a:pt x="153" y="170"/>
                  </a:lnTo>
                  <a:lnTo>
                    <a:pt x="154" y="169"/>
                  </a:lnTo>
                  <a:lnTo>
                    <a:pt x="155" y="166"/>
                  </a:lnTo>
                  <a:lnTo>
                    <a:pt x="150" y="160"/>
                  </a:lnTo>
                  <a:lnTo>
                    <a:pt x="143" y="158"/>
                  </a:lnTo>
                  <a:lnTo>
                    <a:pt x="143" y="160"/>
                  </a:lnTo>
                  <a:lnTo>
                    <a:pt x="142" y="162"/>
                  </a:lnTo>
                  <a:lnTo>
                    <a:pt x="137" y="160"/>
                  </a:lnTo>
                  <a:lnTo>
                    <a:pt x="128" y="160"/>
                  </a:lnTo>
                  <a:lnTo>
                    <a:pt x="125" y="159"/>
                  </a:lnTo>
                  <a:lnTo>
                    <a:pt x="125" y="156"/>
                  </a:lnTo>
                  <a:lnTo>
                    <a:pt x="128" y="151"/>
                  </a:lnTo>
                  <a:lnTo>
                    <a:pt x="131" y="148"/>
                  </a:lnTo>
                  <a:lnTo>
                    <a:pt x="132" y="144"/>
                  </a:lnTo>
                  <a:lnTo>
                    <a:pt x="132" y="140"/>
                  </a:lnTo>
                  <a:lnTo>
                    <a:pt x="131" y="134"/>
                  </a:lnTo>
                  <a:lnTo>
                    <a:pt x="132" y="130"/>
                  </a:lnTo>
                  <a:lnTo>
                    <a:pt x="134" y="127"/>
                  </a:lnTo>
                  <a:lnTo>
                    <a:pt x="137" y="127"/>
                  </a:lnTo>
                  <a:lnTo>
                    <a:pt x="143" y="129"/>
                  </a:lnTo>
                  <a:lnTo>
                    <a:pt x="152" y="128"/>
                  </a:lnTo>
                  <a:lnTo>
                    <a:pt x="156" y="127"/>
                  </a:lnTo>
                  <a:lnTo>
                    <a:pt x="160" y="124"/>
                  </a:lnTo>
                  <a:lnTo>
                    <a:pt x="162" y="118"/>
                  </a:lnTo>
                  <a:lnTo>
                    <a:pt x="166" y="118"/>
                  </a:lnTo>
                  <a:lnTo>
                    <a:pt x="171" y="121"/>
                  </a:lnTo>
                  <a:lnTo>
                    <a:pt x="176" y="121"/>
                  </a:lnTo>
                  <a:lnTo>
                    <a:pt x="182" y="119"/>
                  </a:lnTo>
                  <a:lnTo>
                    <a:pt x="188" y="116"/>
                  </a:lnTo>
                  <a:lnTo>
                    <a:pt x="189" y="113"/>
                  </a:lnTo>
                  <a:lnTo>
                    <a:pt x="184" y="113"/>
                  </a:lnTo>
                  <a:lnTo>
                    <a:pt x="176" y="116"/>
                  </a:lnTo>
                  <a:lnTo>
                    <a:pt x="173" y="112"/>
                  </a:lnTo>
                  <a:lnTo>
                    <a:pt x="173" y="105"/>
                  </a:lnTo>
                  <a:lnTo>
                    <a:pt x="170" y="105"/>
                  </a:lnTo>
                  <a:lnTo>
                    <a:pt x="168" y="104"/>
                  </a:lnTo>
                  <a:lnTo>
                    <a:pt x="171" y="100"/>
                  </a:lnTo>
                  <a:lnTo>
                    <a:pt x="177" y="93"/>
                  </a:lnTo>
                  <a:lnTo>
                    <a:pt x="178" y="91"/>
                  </a:lnTo>
                  <a:lnTo>
                    <a:pt x="180" y="89"/>
                  </a:lnTo>
                  <a:lnTo>
                    <a:pt x="187" y="91"/>
                  </a:lnTo>
                  <a:lnTo>
                    <a:pt x="195" y="92"/>
                  </a:lnTo>
                  <a:lnTo>
                    <a:pt x="197" y="92"/>
                  </a:lnTo>
                  <a:lnTo>
                    <a:pt x="197" y="94"/>
                  </a:lnTo>
                  <a:lnTo>
                    <a:pt x="199" y="99"/>
                  </a:lnTo>
                  <a:lnTo>
                    <a:pt x="202" y="100"/>
                  </a:lnTo>
                  <a:lnTo>
                    <a:pt x="207" y="99"/>
                  </a:lnTo>
                  <a:lnTo>
                    <a:pt x="208" y="100"/>
                  </a:lnTo>
                  <a:lnTo>
                    <a:pt x="209" y="103"/>
                  </a:lnTo>
                  <a:lnTo>
                    <a:pt x="211" y="100"/>
                  </a:lnTo>
                  <a:lnTo>
                    <a:pt x="213" y="94"/>
                  </a:lnTo>
                  <a:lnTo>
                    <a:pt x="214" y="91"/>
                  </a:lnTo>
                  <a:lnTo>
                    <a:pt x="221" y="83"/>
                  </a:lnTo>
                  <a:lnTo>
                    <a:pt x="227" y="80"/>
                  </a:lnTo>
                  <a:lnTo>
                    <a:pt x="230" y="80"/>
                  </a:lnTo>
                  <a:lnTo>
                    <a:pt x="232" y="80"/>
                  </a:lnTo>
                  <a:lnTo>
                    <a:pt x="236" y="79"/>
                  </a:lnTo>
                  <a:lnTo>
                    <a:pt x="242" y="74"/>
                  </a:lnTo>
                  <a:lnTo>
                    <a:pt x="246" y="73"/>
                  </a:lnTo>
                  <a:lnTo>
                    <a:pt x="254" y="68"/>
                  </a:lnTo>
                  <a:lnTo>
                    <a:pt x="258" y="67"/>
                  </a:lnTo>
                  <a:lnTo>
                    <a:pt x="259" y="65"/>
                  </a:lnTo>
                  <a:lnTo>
                    <a:pt x="255" y="61"/>
                  </a:lnTo>
                  <a:lnTo>
                    <a:pt x="253" y="57"/>
                  </a:lnTo>
                  <a:lnTo>
                    <a:pt x="250" y="56"/>
                  </a:lnTo>
                  <a:lnTo>
                    <a:pt x="252" y="53"/>
                  </a:lnTo>
                  <a:lnTo>
                    <a:pt x="254" y="46"/>
                  </a:lnTo>
                  <a:lnTo>
                    <a:pt x="256" y="43"/>
                  </a:lnTo>
                  <a:lnTo>
                    <a:pt x="259" y="41"/>
                  </a:lnTo>
                  <a:lnTo>
                    <a:pt x="259" y="39"/>
                  </a:lnTo>
                  <a:lnTo>
                    <a:pt x="254" y="37"/>
                  </a:lnTo>
                  <a:lnTo>
                    <a:pt x="254" y="33"/>
                  </a:lnTo>
                  <a:lnTo>
                    <a:pt x="259" y="28"/>
                  </a:lnTo>
                  <a:lnTo>
                    <a:pt x="261" y="27"/>
                  </a:lnTo>
                  <a:lnTo>
                    <a:pt x="266" y="28"/>
                  </a:lnTo>
                  <a:lnTo>
                    <a:pt x="272" y="26"/>
                  </a:lnTo>
                  <a:lnTo>
                    <a:pt x="274" y="23"/>
                  </a:lnTo>
                  <a:lnTo>
                    <a:pt x="271" y="20"/>
                  </a:lnTo>
                  <a:lnTo>
                    <a:pt x="271" y="19"/>
                  </a:lnTo>
                  <a:lnTo>
                    <a:pt x="273" y="17"/>
                  </a:lnTo>
                  <a:lnTo>
                    <a:pt x="280" y="17"/>
                  </a:lnTo>
                  <a:lnTo>
                    <a:pt x="288" y="19"/>
                  </a:lnTo>
                  <a:lnTo>
                    <a:pt x="292" y="17"/>
                  </a:lnTo>
                  <a:lnTo>
                    <a:pt x="296" y="19"/>
                  </a:lnTo>
                  <a:lnTo>
                    <a:pt x="300" y="19"/>
                  </a:lnTo>
                  <a:lnTo>
                    <a:pt x="302" y="16"/>
                  </a:lnTo>
                  <a:lnTo>
                    <a:pt x="306" y="12"/>
                  </a:lnTo>
                  <a:lnTo>
                    <a:pt x="307" y="9"/>
                  </a:lnTo>
                  <a:lnTo>
                    <a:pt x="309" y="8"/>
                  </a:lnTo>
                  <a:lnTo>
                    <a:pt x="309" y="6"/>
                  </a:lnTo>
                  <a:lnTo>
                    <a:pt x="313" y="6"/>
                  </a:lnTo>
                  <a:lnTo>
                    <a:pt x="319" y="6"/>
                  </a:lnTo>
                  <a:lnTo>
                    <a:pt x="324" y="10"/>
                  </a:lnTo>
                  <a:lnTo>
                    <a:pt x="327" y="15"/>
                  </a:lnTo>
                  <a:lnTo>
                    <a:pt x="331" y="15"/>
                  </a:lnTo>
                  <a:lnTo>
                    <a:pt x="333" y="15"/>
                  </a:lnTo>
                  <a:lnTo>
                    <a:pt x="337" y="11"/>
                  </a:lnTo>
                  <a:lnTo>
                    <a:pt x="342" y="6"/>
                  </a:lnTo>
                  <a:lnTo>
                    <a:pt x="347" y="4"/>
                  </a:lnTo>
                  <a:lnTo>
                    <a:pt x="359" y="0"/>
                  </a:lnTo>
                  <a:lnTo>
                    <a:pt x="360" y="0"/>
                  </a:lnTo>
                  <a:lnTo>
                    <a:pt x="362" y="3"/>
                  </a:lnTo>
                  <a:lnTo>
                    <a:pt x="371" y="8"/>
                  </a:lnTo>
                  <a:lnTo>
                    <a:pt x="374" y="14"/>
                  </a:lnTo>
                  <a:lnTo>
                    <a:pt x="377" y="15"/>
                  </a:lnTo>
                  <a:lnTo>
                    <a:pt x="382" y="11"/>
                  </a:lnTo>
                  <a:lnTo>
                    <a:pt x="384" y="11"/>
                  </a:lnTo>
                  <a:lnTo>
                    <a:pt x="388" y="14"/>
                  </a:lnTo>
                  <a:lnTo>
                    <a:pt x="390" y="19"/>
                  </a:lnTo>
                  <a:lnTo>
                    <a:pt x="392" y="20"/>
                  </a:lnTo>
                  <a:lnTo>
                    <a:pt x="396" y="21"/>
                  </a:lnTo>
                  <a:lnTo>
                    <a:pt x="395" y="23"/>
                  </a:lnTo>
                  <a:lnTo>
                    <a:pt x="396" y="22"/>
                  </a:lnTo>
                  <a:lnTo>
                    <a:pt x="404" y="15"/>
                  </a:lnTo>
                  <a:lnTo>
                    <a:pt x="406" y="10"/>
                  </a:lnTo>
                  <a:lnTo>
                    <a:pt x="408" y="9"/>
                  </a:lnTo>
                  <a:lnTo>
                    <a:pt x="412" y="11"/>
                  </a:lnTo>
                  <a:lnTo>
                    <a:pt x="423" y="21"/>
                  </a:lnTo>
                  <a:lnTo>
                    <a:pt x="425" y="23"/>
                  </a:lnTo>
                  <a:lnTo>
                    <a:pt x="426" y="27"/>
                  </a:lnTo>
                  <a:lnTo>
                    <a:pt x="427" y="33"/>
                  </a:lnTo>
                  <a:lnTo>
                    <a:pt x="429" y="39"/>
                  </a:lnTo>
                  <a:lnTo>
                    <a:pt x="429" y="43"/>
                  </a:lnTo>
                  <a:lnTo>
                    <a:pt x="426" y="47"/>
                  </a:lnTo>
                  <a:lnTo>
                    <a:pt x="423" y="51"/>
                  </a:lnTo>
                  <a:lnTo>
                    <a:pt x="421" y="55"/>
                  </a:lnTo>
                  <a:lnTo>
                    <a:pt x="421" y="57"/>
                  </a:lnTo>
                  <a:lnTo>
                    <a:pt x="423" y="62"/>
                  </a:lnTo>
                  <a:lnTo>
                    <a:pt x="427" y="67"/>
                  </a:lnTo>
                  <a:lnTo>
                    <a:pt x="430" y="65"/>
                  </a:lnTo>
                  <a:lnTo>
                    <a:pt x="432" y="63"/>
                  </a:lnTo>
                  <a:lnTo>
                    <a:pt x="436" y="61"/>
                  </a:lnTo>
                  <a:lnTo>
                    <a:pt x="437" y="64"/>
                  </a:lnTo>
                  <a:lnTo>
                    <a:pt x="437" y="70"/>
                  </a:lnTo>
                  <a:lnTo>
                    <a:pt x="433" y="74"/>
                  </a:lnTo>
                  <a:lnTo>
                    <a:pt x="431" y="76"/>
                  </a:lnTo>
                  <a:lnTo>
                    <a:pt x="430" y="77"/>
                  </a:lnTo>
                  <a:lnTo>
                    <a:pt x="429" y="80"/>
                  </a:lnTo>
                  <a:lnTo>
                    <a:pt x="430" y="81"/>
                  </a:lnTo>
                  <a:lnTo>
                    <a:pt x="436" y="81"/>
                  </a:lnTo>
                  <a:lnTo>
                    <a:pt x="436" y="83"/>
                  </a:lnTo>
                  <a:lnTo>
                    <a:pt x="439" y="85"/>
                  </a:lnTo>
                  <a:lnTo>
                    <a:pt x="445" y="87"/>
                  </a:lnTo>
                  <a:lnTo>
                    <a:pt x="450" y="85"/>
                  </a:lnTo>
                  <a:lnTo>
                    <a:pt x="456" y="82"/>
                  </a:lnTo>
                  <a:lnTo>
                    <a:pt x="459" y="80"/>
                  </a:lnTo>
                  <a:lnTo>
                    <a:pt x="459" y="77"/>
                  </a:lnTo>
                  <a:lnTo>
                    <a:pt x="460" y="76"/>
                  </a:lnTo>
                  <a:lnTo>
                    <a:pt x="456" y="75"/>
                  </a:lnTo>
                  <a:lnTo>
                    <a:pt x="451" y="71"/>
                  </a:lnTo>
                  <a:lnTo>
                    <a:pt x="449" y="67"/>
                  </a:lnTo>
                  <a:lnTo>
                    <a:pt x="450" y="63"/>
                  </a:lnTo>
                  <a:lnTo>
                    <a:pt x="453" y="62"/>
                  </a:lnTo>
                  <a:lnTo>
                    <a:pt x="460" y="64"/>
                  </a:lnTo>
                  <a:lnTo>
                    <a:pt x="465" y="68"/>
                  </a:lnTo>
                  <a:lnTo>
                    <a:pt x="465" y="70"/>
                  </a:lnTo>
                  <a:lnTo>
                    <a:pt x="466" y="74"/>
                  </a:lnTo>
                  <a:lnTo>
                    <a:pt x="468" y="74"/>
                  </a:lnTo>
                  <a:lnTo>
                    <a:pt x="473" y="70"/>
                  </a:lnTo>
                  <a:lnTo>
                    <a:pt x="478" y="68"/>
                  </a:lnTo>
                  <a:lnTo>
                    <a:pt x="485" y="64"/>
                  </a:lnTo>
                  <a:lnTo>
                    <a:pt x="489" y="64"/>
                  </a:lnTo>
                  <a:lnTo>
                    <a:pt x="491" y="67"/>
                  </a:lnTo>
                  <a:lnTo>
                    <a:pt x="494" y="76"/>
                  </a:lnTo>
                  <a:lnTo>
                    <a:pt x="495" y="80"/>
                  </a:lnTo>
                  <a:lnTo>
                    <a:pt x="497" y="80"/>
                  </a:lnTo>
                  <a:lnTo>
                    <a:pt x="500" y="77"/>
                  </a:lnTo>
                  <a:lnTo>
                    <a:pt x="504" y="76"/>
                  </a:lnTo>
                  <a:lnTo>
                    <a:pt x="513" y="76"/>
                  </a:lnTo>
                  <a:lnTo>
                    <a:pt x="513" y="80"/>
                  </a:lnTo>
                  <a:lnTo>
                    <a:pt x="513" y="83"/>
                  </a:lnTo>
                  <a:lnTo>
                    <a:pt x="514" y="85"/>
                  </a:lnTo>
                  <a:lnTo>
                    <a:pt x="516" y="87"/>
                  </a:lnTo>
                  <a:lnTo>
                    <a:pt x="515" y="91"/>
                  </a:lnTo>
                  <a:lnTo>
                    <a:pt x="515" y="93"/>
                  </a:lnTo>
                  <a:lnTo>
                    <a:pt x="514" y="95"/>
                  </a:lnTo>
                  <a:lnTo>
                    <a:pt x="512" y="95"/>
                  </a:lnTo>
                  <a:lnTo>
                    <a:pt x="512" y="99"/>
                  </a:lnTo>
                  <a:lnTo>
                    <a:pt x="510" y="107"/>
                  </a:lnTo>
                  <a:lnTo>
                    <a:pt x="502" y="107"/>
                  </a:lnTo>
                  <a:lnTo>
                    <a:pt x="501" y="106"/>
                  </a:lnTo>
                  <a:lnTo>
                    <a:pt x="498" y="107"/>
                  </a:lnTo>
                  <a:lnTo>
                    <a:pt x="496" y="110"/>
                  </a:lnTo>
                  <a:lnTo>
                    <a:pt x="494" y="112"/>
                  </a:lnTo>
                  <a:lnTo>
                    <a:pt x="495" y="117"/>
                  </a:lnTo>
                  <a:lnTo>
                    <a:pt x="495" y="115"/>
                  </a:lnTo>
                  <a:lnTo>
                    <a:pt x="498" y="113"/>
                  </a:lnTo>
                  <a:lnTo>
                    <a:pt x="506" y="113"/>
                  </a:lnTo>
                  <a:lnTo>
                    <a:pt x="510" y="112"/>
                  </a:lnTo>
                  <a:lnTo>
                    <a:pt x="513" y="115"/>
                  </a:lnTo>
                  <a:lnTo>
                    <a:pt x="514" y="118"/>
                  </a:lnTo>
                  <a:lnTo>
                    <a:pt x="515" y="117"/>
                  </a:lnTo>
                  <a:lnTo>
                    <a:pt x="518" y="111"/>
                  </a:lnTo>
                  <a:lnTo>
                    <a:pt x="519" y="109"/>
                  </a:lnTo>
                  <a:lnTo>
                    <a:pt x="524" y="107"/>
                  </a:lnTo>
                  <a:lnTo>
                    <a:pt x="527" y="106"/>
                  </a:lnTo>
                  <a:lnTo>
                    <a:pt x="532" y="107"/>
                  </a:lnTo>
                  <a:lnTo>
                    <a:pt x="537" y="110"/>
                  </a:lnTo>
                  <a:lnTo>
                    <a:pt x="543" y="113"/>
                  </a:lnTo>
                  <a:lnTo>
                    <a:pt x="553" y="113"/>
                  </a:lnTo>
                  <a:lnTo>
                    <a:pt x="557" y="115"/>
                  </a:lnTo>
                  <a:lnTo>
                    <a:pt x="557" y="117"/>
                  </a:lnTo>
                  <a:lnTo>
                    <a:pt x="556" y="119"/>
                  </a:lnTo>
                  <a:lnTo>
                    <a:pt x="559" y="121"/>
                  </a:lnTo>
                  <a:lnTo>
                    <a:pt x="563" y="121"/>
                  </a:lnTo>
                  <a:lnTo>
                    <a:pt x="565" y="119"/>
                  </a:lnTo>
                  <a:lnTo>
                    <a:pt x="567" y="111"/>
                  </a:lnTo>
                  <a:lnTo>
                    <a:pt x="571" y="107"/>
                  </a:lnTo>
                  <a:lnTo>
                    <a:pt x="574" y="105"/>
                  </a:lnTo>
                  <a:lnTo>
                    <a:pt x="578" y="105"/>
                  </a:lnTo>
                  <a:lnTo>
                    <a:pt x="585" y="105"/>
                  </a:lnTo>
                  <a:lnTo>
                    <a:pt x="589" y="103"/>
                  </a:lnTo>
                  <a:lnTo>
                    <a:pt x="592" y="100"/>
                  </a:lnTo>
                  <a:lnTo>
                    <a:pt x="597" y="101"/>
                  </a:lnTo>
                  <a:lnTo>
                    <a:pt x="603" y="103"/>
                  </a:lnTo>
                  <a:lnTo>
                    <a:pt x="607" y="101"/>
                  </a:lnTo>
                  <a:lnTo>
                    <a:pt x="609" y="105"/>
                  </a:lnTo>
                  <a:lnTo>
                    <a:pt x="613" y="105"/>
                  </a:lnTo>
                  <a:lnTo>
                    <a:pt x="615" y="103"/>
                  </a:lnTo>
                  <a:lnTo>
                    <a:pt x="619" y="103"/>
                  </a:lnTo>
                  <a:lnTo>
                    <a:pt x="622" y="106"/>
                  </a:lnTo>
                  <a:lnTo>
                    <a:pt x="628" y="106"/>
                  </a:lnTo>
                  <a:lnTo>
                    <a:pt x="638" y="100"/>
                  </a:lnTo>
                  <a:lnTo>
                    <a:pt x="643" y="97"/>
                  </a:lnTo>
                  <a:lnTo>
                    <a:pt x="648" y="97"/>
                  </a:lnTo>
                  <a:lnTo>
                    <a:pt x="654" y="95"/>
                  </a:lnTo>
                  <a:lnTo>
                    <a:pt x="655" y="99"/>
                  </a:lnTo>
                  <a:lnTo>
                    <a:pt x="654" y="105"/>
                  </a:lnTo>
                  <a:lnTo>
                    <a:pt x="652" y="106"/>
                  </a:lnTo>
                  <a:lnTo>
                    <a:pt x="655" y="109"/>
                  </a:lnTo>
                  <a:lnTo>
                    <a:pt x="661" y="111"/>
                  </a:lnTo>
                  <a:lnTo>
                    <a:pt x="662" y="112"/>
                  </a:lnTo>
                  <a:lnTo>
                    <a:pt x="661" y="115"/>
                  </a:lnTo>
                  <a:lnTo>
                    <a:pt x="662" y="116"/>
                  </a:lnTo>
                  <a:lnTo>
                    <a:pt x="665" y="117"/>
                  </a:lnTo>
                  <a:lnTo>
                    <a:pt x="667" y="116"/>
                  </a:lnTo>
                  <a:lnTo>
                    <a:pt x="668" y="112"/>
                  </a:lnTo>
                  <a:lnTo>
                    <a:pt x="672" y="113"/>
                  </a:lnTo>
                  <a:lnTo>
                    <a:pt x="675" y="119"/>
                  </a:lnTo>
                  <a:lnTo>
                    <a:pt x="680" y="126"/>
                  </a:lnTo>
                  <a:lnTo>
                    <a:pt x="680" y="129"/>
                  </a:lnTo>
                  <a:lnTo>
                    <a:pt x="684" y="130"/>
                  </a:lnTo>
                  <a:lnTo>
                    <a:pt x="686" y="129"/>
                  </a:lnTo>
                  <a:lnTo>
                    <a:pt x="690" y="128"/>
                  </a:lnTo>
                  <a:lnTo>
                    <a:pt x="697" y="130"/>
                  </a:lnTo>
                  <a:lnTo>
                    <a:pt x="702" y="133"/>
                  </a:lnTo>
                  <a:lnTo>
                    <a:pt x="704" y="128"/>
                  </a:lnTo>
                  <a:lnTo>
                    <a:pt x="705" y="127"/>
                  </a:lnTo>
                  <a:lnTo>
                    <a:pt x="708" y="128"/>
                  </a:lnTo>
                  <a:lnTo>
                    <a:pt x="714" y="134"/>
                  </a:lnTo>
                  <a:lnTo>
                    <a:pt x="717" y="135"/>
                  </a:lnTo>
                  <a:lnTo>
                    <a:pt x="724" y="136"/>
                  </a:lnTo>
                  <a:lnTo>
                    <a:pt x="731" y="138"/>
                  </a:lnTo>
                  <a:lnTo>
                    <a:pt x="736" y="136"/>
                  </a:lnTo>
                  <a:lnTo>
                    <a:pt x="737" y="133"/>
                  </a:lnTo>
                  <a:lnTo>
                    <a:pt x="742" y="133"/>
                  </a:lnTo>
                  <a:lnTo>
                    <a:pt x="748" y="138"/>
                  </a:lnTo>
                  <a:lnTo>
                    <a:pt x="754" y="138"/>
                  </a:lnTo>
                  <a:lnTo>
                    <a:pt x="763" y="136"/>
                  </a:lnTo>
                  <a:lnTo>
                    <a:pt x="773" y="136"/>
                  </a:lnTo>
                  <a:lnTo>
                    <a:pt x="780" y="139"/>
                  </a:lnTo>
                  <a:lnTo>
                    <a:pt x="785" y="138"/>
                  </a:lnTo>
                  <a:lnTo>
                    <a:pt x="789" y="134"/>
                  </a:lnTo>
                  <a:lnTo>
                    <a:pt x="790" y="134"/>
                  </a:lnTo>
                  <a:lnTo>
                    <a:pt x="790" y="138"/>
                  </a:lnTo>
                  <a:lnTo>
                    <a:pt x="789" y="145"/>
                  </a:lnTo>
                  <a:lnTo>
                    <a:pt x="787" y="150"/>
                  </a:lnTo>
                  <a:lnTo>
                    <a:pt x="786" y="153"/>
                  </a:lnTo>
                  <a:lnTo>
                    <a:pt x="789" y="154"/>
                  </a:lnTo>
                  <a:lnTo>
                    <a:pt x="791" y="154"/>
                  </a:lnTo>
                  <a:lnTo>
                    <a:pt x="793" y="156"/>
                  </a:lnTo>
                  <a:lnTo>
                    <a:pt x="798" y="157"/>
                  </a:lnTo>
                  <a:lnTo>
                    <a:pt x="802" y="157"/>
                  </a:lnTo>
                  <a:lnTo>
                    <a:pt x="804" y="157"/>
                  </a:lnTo>
                  <a:lnTo>
                    <a:pt x="804" y="156"/>
                  </a:lnTo>
                  <a:lnTo>
                    <a:pt x="801" y="152"/>
                  </a:lnTo>
                  <a:lnTo>
                    <a:pt x="801" y="151"/>
                  </a:lnTo>
                  <a:lnTo>
                    <a:pt x="804" y="150"/>
                  </a:lnTo>
                  <a:lnTo>
                    <a:pt x="813" y="146"/>
                  </a:lnTo>
                  <a:lnTo>
                    <a:pt x="817" y="147"/>
                  </a:lnTo>
                  <a:lnTo>
                    <a:pt x="820" y="152"/>
                  </a:lnTo>
                  <a:lnTo>
                    <a:pt x="821" y="153"/>
                  </a:lnTo>
                  <a:lnTo>
                    <a:pt x="823" y="151"/>
                  </a:lnTo>
                  <a:lnTo>
                    <a:pt x="823" y="153"/>
                  </a:lnTo>
                  <a:lnTo>
                    <a:pt x="823" y="164"/>
                  </a:lnTo>
                  <a:lnTo>
                    <a:pt x="821" y="170"/>
                  </a:lnTo>
                  <a:lnTo>
                    <a:pt x="821" y="171"/>
                  </a:lnTo>
                  <a:lnTo>
                    <a:pt x="819" y="172"/>
                  </a:lnTo>
                  <a:lnTo>
                    <a:pt x="813" y="171"/>
                  </a:lnTo>
                  <a:lnTo>
                    <a:pt x="811" y="176"/>
                  </a:lnTo>
                  <a:lnTo>
                    <a:pt x="813" y="177"/>
                  </a:lnTo>
                  <a:lnTo>
                    <a:pt x="809" y="177"/>
                  </a:lnTo>
                  <a:lnTo>
                    <a:pt x="801" y="175"/>
                  </a:lnTo>
                  <a:lnTo>
                    <a:pt x="801" y="180"/>
                  </a:lnTo>
                  <a:lnTo>
                    <a:pt x="801" y="183"/>
                  </a:lnTo>
                  <a:lnTo>
                    <a:pt x="797" y="183"/>
                  </a:lnTo>
                  <a:lnTo>
                    <a:pt x="792" y="180"/>
                  </a:lnTo>
                  <a:lnTo>
                    <a:pt x="790" y="180"/>
                  </a:lnTo>
                  <a:lnTo>
                    <a:pt x="786" y="181"/>
                  </a:lnTo>
                  <a:lnTo>
                    <a:pt x="780" y="183"/>
                  </a:lnTo>
                  <a:lnTo>
                    <a:pt x="778" y="183"/>
                  </a:lnTo>
                  <a:lnTo>
                    <a:pt x="778" y="184"/>
                  </a:lnTo>
                  <a:lnTo>
                    <a:pt x="780" y="188"/>
                  </a:lnTo>
                  <a:lnTo>
                    <a:pt x="784" y="186"/>
                  </a:lnTo>
                  <a:lnTo>
                    <a:pt x="790" y="183"/>
                  </a:lnTo>
                  <a:lnTo>
                    <a:pt x="791" y="183"/>
                  </a:lnTo>
                  <a:lnTo>
                    <a:pt x="795" y="184"/>
                  </a:lnTo>
                  <a:lnTo>
                    <a:pt x="802" y="188"/>
                  </a:lnTo>
                  <a:lnTo>
                    <a:pt x="804" y="190"/>
                  </a:lnTo>
                  <a:lnTo>
                    <a:pt x="810" y="192"/>
                  </a:lnTo>
                  <a:lnTo>
                    <a:pt x="811" y="194"/>
                  </a:lnTo>
                  <a:lnTo>
                    <a:pt x="811" y="196"/>
                  </a:lnTo>
                  <a:lnTo>
                    <a:pt x="815" y="204"/>
                  </a:lnTo>
                  <a:lnTo>
                    <a:pt x="826" y="206"/>
                  </a:lnTo>
                  <a:lnTo>
                    <a:pt x="833" y="213"/>
                  </a:lnTo>
                  <a:lnTo>
                    <a:pt x="839" y="214"/>
                  </a:lnTo>
                  <a:lnTo>
                    <a:pt x="838" y="218"/>
                  </a:lnTo>
                  <a:lnTo>
                    <a:pt x="832" y="230"/>
                  </a:lnTo>
                  <a:lnTo>
                    <a:pt x="826" y="231"/>
                  </a:lnTo>
                  <a:lnTo>
                    <a:pt x="823" y="231"/>
                  </a:lnTo>
                  <a:lnTo>
                    <a:pt x="821" y="230"/>
                  </a:lnTo>
                  <a:lnTo>
                    <a:pt x="820" y="229"/>
                  </a:lnTo>
                  <a:lnTo>
                    <a:pt x="815" y="229"/>
                  </a:lnTo>
                  <a:lnTo>
                    <a:pt x="813" y="231"/>
                  </a:lnTo>
                  <a:lnTo>
                    <a:pt x="811" y="231"/>
                  </a:lnTo>
                  <a:lnTo>
                    <a:pt x="803" y="230"/>
                  </a:lnTo>
                  <a:lnTo>
                    <a:pt x="805" y="233"/>
                  </a:lnTo>
                  <a:lnTo>
                    <a:pt x="810" y="234"/>
                  </a:lnTo>
                  <a:lnTo>
                    <a:pt x="815" y="237"/>
                  </a:lnTo>
                  <a:lnTo>
                    <a:pt x="816" y="243"/>
                  </a:lnTo>
                  <a:lnTo>
                    <a:pt x="816" y="248"/>
                  </a:lnTo>
                  <a:lnTo>
                    <a:pt x="816" y="251"/>
                  </a:lnTo>
                  <a:lnTo>
                    <a:pt x="814" y="251"/>
                  </a:lnTo>
                  <a:lnTo>
                    <a:pt x="805" y="247"/>
                  </a:lnTo>
                  <a:lnTo>
                    <a:pt x="797" y="245"/>
                  </a:lnTo>
                  <a:lnTo>
                    <a:pt x="791" y="243"/>
                  </a:lnTo>
                  <a:lnTo>
                    <a:pt x="790" y="241"/>
                  </a:lnTo>
                  <a:lnTo>
                    <a:pt x="790" y="245"/>
                  </a:lnTo>
                  <a:lnTo>
                    <a:pt x="787" y="246"/>
                  </a:lnTo>
                  <a:lnTo>
                    <a:pt x="785" y="242"/>
                  </a:lnTo>
                  <a:lnTo>
                    <a:pt x="775" y="231"/>
                  </a:lnTo>
                  <a:lnTo>
                    <a:pt x="773" y="230"/>
                  </a:lnTo>
                  <a:lnTo>
                    <a:pt x="769" y="230"/>
                  </a:lnTo>
                  <a:lnTo>
                    <a:pt x="768" y="231"/>
                  </a:lnTo>
                  <a:lnTo>
                    <a:pt x="766" y="234"/>
                  </a:lnTo>
                  <a:lnTo>
                    <a:pt x="758" y="233"/>
                  </a:lnTo>
                  <a:lnTo>
                    <a:pt x="755" y="234"/>
                  </a:lnTo>
                  <a:lnTo>
                    <a:pt x="756" y="239"/>
                  </a:lnTo>
                  <a:lnTo>
                    <a:pt x="760" y="243"/>
                  </a:lnTo>
                  <a:lnTo>
                    <a:pt x="766" y="245"/>
                  </a:lnTo>
                  <a:lnTo>
                    <a:pt x="774" y="251"/>
                  </a:lnTo>
                  <a:lnTo>
                    <a:pt x="774" y="252"/>
                  </a:lnTo>
                  <a:lnTo>
                    <a:pt x="775" y="254"/>
                  </a:lnTo>
                  <a:lnTo>
                    <a:pt x="781" y="261"/>
                  </a:lnTo>
                  <a:lnTo>
                    <a:pt x="783" y="263"/>
                  </a:lnTo>
                  <a:lnTo>
                    <a:pt x="781" y="265"/>
                  </a:lnTo>
                  <a:lnTo>
                    <a:pt x="776" y="265"/>
                  </a:lnTo>
                  <a:lnTo>
                    <a:pt x="767" y="263"/>
                  </a:lnTo>
                  <a:lnTo>
                    <a:pt x="762" y="263"/>
                  </a:lnTo>
                  <a:lnTo>
                    <a:pt x="760" y="259"/>
                  </a:lnTo>
                  <a:lnTo>
                    <a:pt x="760" y="253"/>
                  </a:lnTo>
                  <a:lnTo>
                    <a:pt x="754" y="248"/>
                  </a:lnTo>
                  <a:lnTo>
                    <a:pt x="740" y="245"/>
                  </a:lnTo>
                  <a:lnTo>
                    <a:pt x="739" y="245"/>
                  </a:lnTo>
                  <a:lnTo>
                    <a:pt x="740" y="247"/>
                  </a:lnTo>
                  <a:lnTo>
                    <a:pt x="745" y="252"/>
                  </a:lnTo>
                  <a:lnTo>
                    <a:pt x="746" y="257"/>
                  </a:lnTo>
                  <a:lnTo>
                    <a:pt x="746" y="263"/>
                  </a:lnTo>
                  <a:lnTo>
                    <a:pt x="749" y="261"/>
                  </a:lnTo>
                  <a:lnTo>
                    <a:pt x="754" y="264"/>
                  </a:lnTo>
                  <a:lnTo>
                    <a:pt x="761" y="269"/>
                  </a:lnTo>
                  <a:lnTo>
                    <a:pt x="766" y="272"/>
                  </a:lnTo>
                  <a:lnTo>
                    <a:pt x="768" y="272"/>
                  </a:lnTo>
                  <a:lnTo>
                    <a:pt x="773" y="276"/>
                  </a:lnTo>
                  <a:lnTo>
                    <a:pt x="779" y="282"/>
                  </a:lnTo>
                  <a:lnTo>
                    <a:pt x="781" y="285"/>
                  </a:lnTo>
                  <a:lnTo>
                    <a:pt x="783" y="290"/>
                  </a:lnTo>
                  <a:lnTo>
                    <a:pt x="786" y="295"/>
                  </a:lnTo>
                  <a:lnTo>
                    <a:pt x="789" y="300"/>
                  </a:lnTo>
                  <a:lnTo>
                    <a:pt x="793" y="301"/>
                  </a:lnTo>
                  <a:lnTo>
                    <a:pt x="801" y="300"/>
                  </a:lnTo>
                  <a:lnTo>
                    <a:pt x="804" y="300"/>
                  </a:lnTo>
                  <a:lnTo>
                    <a:pt x="804" y="302"/>
                  </a:lnTo>
                  <a:lnTo>
                    <a:pt x="805" y="308"/>
                  </a:lnTo>
                  <a:lnTo>
                    <a:pt x="807" y="311"/>
                  </a:lnTo>
                  <a:lnTo>
                    <a:pt x="809" y="312"/>
                  </a:lnTo>
                  <a:lnTo>
                    <a:pt x="813" y="309"/>
                  </a:lnTo>
                  <a:lnTo>
                    <a:pt x="815" y="308"/>
                  </a:lnTo>
                  <a:lnTo>
                    <a:pt x="816" y="311"/>
                  </a:lnTo>
                  <a:lnTo>
                    <a:pt x="819" y="314"/>
                  </a:lnTo>
                  <a:lnTo>
                    <a:pt x="820" y="317"/>
                  </a:lnTo>
                  <a:lnTo>
                    <a:pt x="822" y="317"/>
                  </a:lnTo>
                  <a:lnTo>
                    <a:pt x="822" y="320"/>
                  </a:lnTo>
                  <a:lnTo>
                    <a:pt x="822" y="329"/>
                  </a:lnTo>
                  <a:lnTo>
                    <a:pt x="822" y="330"/>
                  </a:lnTo>
                  <a:lnTo>
                    <a:pt x="826" y="331"/>
                  </a:lnTo>
                  <a:lnTo>
                    <a:pt x="829" y="331"/>
                  </a:lnTo>
                  <a:lnTo>
                    <a:pt x="833" y="329"/>
                  </a:lnTo>
                  <a:lnTo>
                    <a:pt x="834" y="325"/>
                  </a:lnTo>
                  <a:lnTo>
                    <a:pt x="838" y="324"/>
                  </a:lnTo>
                  <a:lnTo>
                    <a:pt x="844" y="324"/>
                  </a:lnTo>
                  <a:lnTo>
                    <a:pt x="848" y="323"/>
                  </a:lnTo>
                  <a:lnTo>
                    <a:pt x="849" y="319"/>
                  </a:lnTo>
                  <a:lnTo>
                    <a:pt x="852" y="319"/>
                  </a:lnTo>
                  <a:lnTo>
                    <a:pt x="862" y="319"/>
                  </a:lnTo>
                  <a:lnTo>
                    <a:pt x="864" y="319"/>
                  </a:lnTo>
                  <a:lnTo>
                    <a:pt x="866" y="321"/>
                  </a:lnTo>
                  <a:lnTo>
                    <a:pt x="863" y="331"/>
                  </a:lnTo>
                  <a:lnTo>
                    <a:pt x="866" y="333"/>
                  </a:lnTo>
                  <a:lnTo>
                    <a:pt x="868" y="332"/>
                  </a:lnTo>
                  <a:lnTo>
                    <a:pt x="872" y="331"/>
                  </a:lnTo>
                  <a:lnTo>
                    <a:pt x="879" y="331"/>
                  </a:lnTo>
                  <a:lnTo>
                    <a:pt x="880" y="332"/>
                  </a:lnTo>
                  <a:lnTo>
                    <a:pt x="882" y="329"/>
                  </a:lnTo>
                  <a:lnTo>
                    <a:pt x="886" y="326"/>
                  </a:lnTo>
                  <a:lnTo>
                    <a:pt x="888" y="326"/>
                  </a:lnTo>
                  <a:lnTo>
                    <a:pt x="890" y="327"/>
                  </a:lnTo>
                  <a:lnTo>
                    <a:pt x="890" y="333"/>
                  </a:lnTo>
                  <a:lnTo>
                    <a:pt x="888" y="341"/>
                  </a:lnTo>
                  <a:lnTo>
                    <a:pt x="890" y="343"/>
                  </a:lnTo>
                  <a:lnTo>
                    <a:pt x="892" y="347"/>
                  </a:lnTo>
                  <a:lnTo>
                    <a:pt x="899" y="344"/>
                  </a:lnTo>
                  <a:lnTo>
                    <a:pt x="904" y="340"/>
                  </a:lnTo>
                  <a:lnTo>
                    <a:pt x="909" y="338"/>
                  </a:lnTo>
                  <a:lnTo>
                    <a:pt x="910" y="343"/>
                  </a:lnTo>
                  <a:lnTo>
                    <a:pt x="911" y="347"/>
                  </a:lnTo>
                  <a:lnTo>
                    <a:pt x="917" y="352"/>
                  </a:lnTo>
                  <a:lnTo>
                    <a:pt x="920" y="358"/>
                  </a:lnTo>
                  <a:lnTo>
                    <a:pt x="920" y="360"/>
                  </a:lnTo>
                  <a:lnTo>
                    <a:pt x="916" y="362"/>
                  </a:lnTo>
                  <a:lnTo>
                    <a:pt x="907" y="362"/>
                  </a:lnTo>
                  <a:lnTo>
                    <a:pt x="903" y="362"/>
                  </a:lnTo>
                  <a:lnTo>
                    <a:pt x="900" y="364"/>
                  </a:lnTo>
                  <a:lnTo>
                    <a:pt x="898" y="367"/>
                  </a:lnTo>
                  <a:lnTo>
                    <a:pt x="894" y="371"/>
                  </a:lnTo>
                  <a:lnTo>
                    <a:pt x="893" y="371"/>
                  </a:lnTo>
                  <a:lnTo>
                    <a:pt x="890" y="374"/>
                  </a:lnTo>
                  <a:lnTo>
                    <a:pt x="884" y="378"/>
                  </a:lnTo>
                  <a:lnTo>
                    <a:pt x="878" y="380"/>
                  </a:lnTo>
                  <a:lnTo>
                    <a:pt x="873" y="380"/>
                  </a:lnTo>
                  <a:lnTo>
                    <a:pt x="872" y="383"/>
                  </a:lnTo>
                  <a:lnTo>
                    <a:pt x="869" y="388"/>
                  </a:lnTo>
                  <a:lnTo>
                    <a:pt x="870" y="394"/>
                  </a:lnTo>
                  <a:lnTo>
                    <a:pt x="875" y="397"/>
                  </a:lnTo>
                  <a:lnTo>
                    <a:pt x="874" y="400"/>
                  </a:lnTo>
                  <a:lnTo>
                    <a:pt x="862" y="400"/>
                  </a:lnTo>
                  <a:lnTo>
                    <a:pt x="857" y="400"/>
                  </a:lnTo>
                  <a:lnTo>
                    <a:pt x="855" y="403"/>
                  </a:lnTo>
                  <a:lnTo>
                    <a:pt x="855" y="408"/>
                  </a:lnTo>
                  <a:lnTo>
                    <a:pt x="858" y="409"/>
                  </a:lnTo>
                  <a:lnTo>
                    <a:pt x="870" y="409"/>
                  </a:lnTo>
                  <a:lnTo>
                    <a:pt x="870" y="407"/>
                  </a:lnTo>
                  <a:lnTo>
                    <a:pt x="873" y="407"/>
                  </a:lnTo>
                  <a:lnTo>
                    <a:pt x="879" y="409"/>
                  </a:lnTo>
                  <a:lnTo>
                    <a:pt x="888" y="414"/>
                  </a:lnTo>
                  <a:lnTo>
                    <a:pt x="892" y="413"/>
                  </a:lnTo>
                  <a:lnTo>
                    <a:pt x="893" y="409"/>
                  </a:lnTo>
                  <a:lnTo>
                    <a:pt x="893" y="408"/>
                  </a:lnTo>
                  <a:lnTo>
                    <a:pt x="898" y="409"/>
                  </a:lnTo>
                  <a:lnTo>
                    <a:pt x="907" y="413"/>
                  </a:lnTo>
                  <a:lnTo>
                    <a:pt x="910" y="412"/>
                  </a:lnTo>
                  <a:lnTo>
                    <a:pt x="916" y="407"/>
                  </a:lnTo>
                  <a:lnTo>
                    <a:pt x="920" y="401"/>
                  </a:lnTo>
                  <a:lnTo>
                    <a:pt x="923" y="402"/>
                  </a:lnTo>
                  <a:lnTo>
                    <a:pt x="928" y="407"/>
                  </a:lnTo>
                  <a:lnTo>
                    <a:pt x="926" y="410"/>
                  </a:lnTo>
                  <a:lnTo>
                    <a:pt x="920" y="414"/>
                  </a:lnTo>
                  <a:lnTo>
                    <a:pt x="919" y="415"/>
                  </a:lnTo>
                  <a:lnTo>
                    <a:pt x="921" y="416"/>
                  </a:lnTo>
                  <a:lnTo>
                    <a:pt x="933" y="421"/>
                  </a:lnTo>
                  <a:lnTo>
                    <a:pt x="937" y="421"/>
                  </a:lnTo>
                  <a:lnTo>
                    <a:pt x="939" y="424"/>
                  </a:lnTo>
                  <a:lnTo>
                    <a:pt x="941" y="426"/>
                  </a:lnTo>
                  <a:lnTo>
                    <a:pt x="944" y="427"/>
                  </a:lnTo>
                  <a:lnTo>
                    <a:pt x="945" y="425"/>
                  </a:lnTo>
                  <a:lnTo>
                    <a:pt x="947" y="427"/>
                  </a:lnTo>
                  <a:lnTo>
                    <a:pt x="952" y="434"/>
                  </a:lnTo>
                  <a:lnTo>
                    <a:pt x="953" y="436"/>
                  </a:lnTo>
                  <a:lnTo>
                    <a:pt x="957" y="434"/>
                  </a:lnTo>
                  <a:lnTo>
                    <a:pt x="962" y="432"/>
                  </a:lnTo>
                  <a:lnTo>
                    <a:pt x="963" y="430"/>
                  </a:lnTo>
                  <a:lnTo>
                    <a:pt x="962" y="424"/>
                  </a:lnTo>
                  <a:lnTo>
                    <a:pt x="963" y="418"/>
                  </a:lnTo>
                  <a:lnTo>
                    <a:pt x="962" y="415"/>
                  </a:lnTo>
                  <a:lnTo>
                    <a:pt x="966" y="414"/>
                  </a:lnTo>
                  <a:lnTo>
                    <a:pt x="973" y="413"/>
                  </a:lnTo>
                  <a:lnTo>
                    <a:pt x="974" y="415"/>
                  </a:lnTo>
                  <a:lnTo>
                    <a:pt x="975" y="419"/>
                  </a:lnTo>
                  <a:lnTo>
                    <a:pt x="978" y="420"/>
                  </a:lnTo>
                  <a:lnTo>
                    <a:pt x="982" y="419"/>
                  </a:lnTo>
                  <a:lnTo>
                    <a:pt x="985" y="420"/>
                  </a:lnTo>
                  <a:lnTo>
                    <a:pt x="988" y="422"/>
                  </a:lnTo>
                  <a:lnTo>
                    <a:pt x="990" y="425"/>
                  </a:lnTo>
                  <a:lnTo>
                    <a:pt x="993" y="431"/>
                  </a:lnTo>
                  <a:lnTo>
                    <a:pt x="997" y="438"/>
                  </a:lnTo>
                  <a:lnTo>
                    <a:pt x="992" y="439"/>
                  </a:lnTo>
                  <a:lnTo>
                    <a:pt x="992" y="440"/>
                  </a:lnTo>
                  <a:lnTo>
                    <a:pt x="988" y="442"/>
                  </a:lnTo>
                  <a:lnTo>
                    <a:pt x="980" y="443"/>
                  </a:lnTo>
                  <a:lnTo>
                    <a:pt x="980" y="447"/>
                  </a:lnTo>
                  <a:lnTo>
                    <a:pt x="981" y="445"/>
                  </a:lnTo>
                  <a:lnTo>
                    <a:pt x="984" y="448"/>
                  </a:lnTo>
                  <a:lnTo>
                    <a:pt x="994" y="455"/>
                  </a:lnTo>
                  <a:lnTo>
                    <a:pt x="997" y="455"/>
                  </a:lnTo>
                  <a:lnTo>
                    <a:pt x="997" y="456"/>
                  </a:lnTo>
                  <a:lnTo>
                    <a:pt x="994" y="460"/>
                  </a:lnTo>
                  <a:lnTo>
                    <a:pt x="988" y="465"/>
                  </a:lnTo>
                  <a:lnTo>
                    <a:pt x="988" y="468"/>
                  </a:lnTo>
                  <a:lnTo>
                    <a:pt x="992" y="477"/>
                  </a:lnTo>
                  <a:lnTo>
                    <a:pt x="994" y="481"/>
                  </a:lnTo>
                  <a:lnTo>
                    <a:pt x="993" y="481"/>
                  </a:lnTo>
                  <a:lnTo>
                    <a:pt x="988" y="481"/>
                  </a:lnTo>
                  <a:lnTo>
                    <a:pt x="985" y="480"/>
                  </a:lnTo>
                  <a:lnTo>
                    <a:pt x="984" y="475"/>
                  </a:lnTo>
                  <a:lnTo>
                    <a:pt x="980" y="474"/>
                  </a:lnTo>
                  <a:lnTo>
                    <a:pt x="975" y="474"/>
                  </a:lnTo>
                  <a:lnTo>
                    <a:pt x="973" y="473"/>
                  </a:lnTo>
                  <a:lnTo>
                    <a:pt x="974" y="472"/>
                  </a:lnTo>
                  <a:lnTo>
                    <a:pt x="975" y="471"/>
                  </a:lnTo>
                  <a:lnTo>
                    <a:pt x="970" y="469"/>
                  </a:lnTo>
                  <a:lnTo>
                    <a:pt x="955" y="471"/>
                  </a:lnTo>
                  <a:lnTo>
                    <a:pt x="950" y="474"/>
                  </a:lnTo>
                  <a:lnTo>
                    <a:pt x="951" y="475"/>
                  </a:lnTo>
                  <a:lnTo>
                    <a:pt x="950" y="480"/>
                  </a:lnTo>
                  <a:lnTo>
                    <a:pt x="945" y="483"/>
                  </a:lnTo>
                  <a:lnTo>
                    <a:pt x="946" y="484"/>
                  </a:lnTo>
                  <a:lnTo>
                    <a:pt x="952" y="486"/>
                  </a:lnTo>
                  <a:lnTo>
                    <a:pt x="956" y="491"/>
                  </a:lnTo>
                  <a:lnTo>
                    <a:pt x="957" y="491"/>
                  </a:lnTo>
                  <a:lnTo>
                    <a:pt x="958" y="489"/>
                  </a:lnTo>
                  <a:lnTo>
                    <a:pt x="966" y="478"/>
                  </a:lnTo>
                  <a:lnTo>
                    <a:pt x="970" y="480"/>
                  </a:lnTo>
                  <a:lnTo>
                    <a:pt x="978" y="483"/>
                  </a:lnTo>
                  <a:lnTo>
                    <a:pt x="984" y="486"/>
                  </a:lnTo>
                  <a:lnTo>
                    <a:pt x="987" y="486"/>
                  </a:lnTo>
                  <a:lnTo>
                    <a:pt x="996" y="485"/>
                  </a:lnTo>
                  <a:lnTo>
                    <a:pt x="999" y="485"/>
                  </a:lnTo>
                  <a:lnTo>
                    <a:pt x="1002" y="486"/>
                  </a:lnTo>
                  <a:lnTo>
                    <a:pt x="1003" y="492"/>
                  </a:lnTo>
                  <a:lnTo>
                    <a:pt x="1002" y="497"/>
                  </a:lnTo>
                  <a:lnTo>
                    <a:pt x="997" y="503"/>
                  </a:lnTo>
                  <a:lnTo>
                    <a:pt x="994" y="505"/>
                  </a:lnTo>
                  <a:lnTo>
                    <a:pt x="992" y="505"/>
                  </a:lnTo>
                  <a:lnTo>
                    <a:pt x="990" y="502"/>
                  </a:lnTo>
                  <a:lnTo>
                    <a:pt x="987" y="501"/>
                  </a:lnTo>
                  <a:lnTo>
                    <a:pt x="986" y="502"/>
                  </a:lnTo>
                  <a:lnTo>
                    <a:pt x="982" y="507"/>
                  </a:lnTo>
                  <a:lnTo>
                    <a:pt x="980" y="508"/>
                  </a:lnTo>
                  <a:lnTo>
                    <a:pt x="976" y="508"/>
                  </a:lnTo>
                  <a:lnTo>
                    <a:pt x="975" y="509"/>
                  </a:lnTo>
                  <a:lnTo>
                    <a:pt x="976" y="511"/>
                  </a:lnTo>
                  <a:lnTo>
                    <a:pt x="987" y="517"/>
                  </a:lnTo>
                  <a:lnTo>
                    <a:pt x="994" y="526"/>
                  </a:lnTo>
                  <a:lnTo>
                    <a:pt x="998" y="531"/>
                  </a:lnTo>
                  <a:lnTo>
                    <a:pt x="998" y="535"/>
                  </a:lnTo>
                  <a:lnTo>
                    <a:pt x="990" y="544"/>
                  </a:lnTo>
                  <a:lnTo>
                    <a:pt x="988" y="547"/>
                  </a:lnTo>
                  <a:lnTo>
                    <a:pt x="985" y="554"/>
                  </a:lnTo>
                  <a:lnTo>
                    <a:pt x="980" y="554"/>
                  </a:lnTo>
                  <a:lnTo>
                    <a:pt x="974" y="552"/>
                  </a:lnTo>
                  <a:lnTo>
                    <a:pt x="969" y="551"/>
                  </a:lnTo>
                  <a:lnTo>
                    <a:pt x="966" y="551"/>
                  </a:lnTo>
                  <a:lnTo>
                    <a:pt x="962" y="552"/>
                  </a:lnTo>
                  <a:lnTo>
                    <a:pt x="962" y="554"/>
                  </a:lnTo>
                  <a:lnTo>
                    <a:pt x="964" y="555"/>
                  </a:lnTo>
                  <a:lnTo>
                    <a:pt x="969" y="557"/>
                  </a:lnTo>
                  <a:lnTo>
                    <a:pt x="969" y="561"/>
                  </a:lnTo>
                  <a:lnTo>
                    <a:pt x="967" y="567"/>
                  </a:lnTo>
                  <a:lnTo>
                    <a:pt x="967" y="569"/>
                  </a:lnTo>
                  <a:lnTo>
                    <a:pt x="968" y="570"/>
                  </a:lnTo>
                  <a:lnTo>
                    <a:pt x="972" y="572"/>
                  </a:lnTo>
                  <a:lnTo>
                    <a:pt x="978" y="573"/>
                  </a:lnTo>
                  <a:lnTo>
                    <a:pt x="984" y="573"/>
                  </a:lnTo>
                  <a:lnTo>
                    <a:pt x="986" y="574"/>
                  </a:lnTo>
                  <a:lnTo>
                    <a:pt x="988" y="574"/>
                  </a:lnTo>
                  <a:lnTo>
                    <a:pt x="993" y="572"/>
                  </a:lnTo>
                  <a:lnTo>
                    <a:pt x="996" y="573"/>
                  </a:lnTo>
                  <a:lnTo>
                    <a:pt x="992" y="582"/>
                  </a:lnTo>
                  <a:lnTo>
                    <a:pt x="985" y="590"/>
                  </a:lnTo>
                  <a:lnTo>
                    <a:pt x="968" y="596"/>
                  </a:lnTo>
                  <a:lnTo>
                    <a:pt x="964" y="603"/>
                  </a:lnTo>
                  <a:lnTo>
                    <a:pt x="963" y="603"/>
                  </a:lnTo>
                  <a:lnTo>
                    <a:pt x="957" y="598"/>
                  </a:lnTo>
                  <a:lnTo>
                    <a:pt x="955" y="594"/>
                  </a:lnTo>
                  <a:lnTo>
                    <a:pt x="951" y="602"/>
                  </a:lnTo>
                  <a:lnTo>
                    <a:pt x="952" y="603"/>
                  </a:lnTo>
                  <a:lnTo>
                    <a:pt x="949" y="603"/>
                  </a:lnTo>
                  <a:lnTo>
                    <a:pt x="944" y="600"/>
                  </a:lnTo>
                  <a:lnTo>
                    <a:pt x="938" y="597"/>
                  </a:lnTo>
                  <a:lnTo>
                    <a:pt x="935" y="591"/>
                  </a:lnTo>
                  <a:lnTo>
                    <a:pt x="933" y="586"/>
                  </a:lnTo>
                  <a:lnTo>
                    <a:pt x="927" y="582"/>
                  </a:lnTo>
                  <a:lnTo>
                    <a:pt x="926" y="579"/>
                  </a:lnTo>
                  <a:lnTo>
                    <a:pt x="922" y="579"/>
                  </a:lnTo>
                  <a:lnTo>
                    <a:pt x="914" y="580"/>
                  </a:lnTo>
                  <a:lnTo>
                    <a:pt x="904" y="581"/>
                  </a:lnTo>
                  <a:lnTo>
                    <a:pt x="900" y="580"/>
                  </a:lnTo>
                  <a:lnTo>
                    <a:pt x="898" y="581"/>
                  </a:lnTo>
                  <a:lnTo>
                    <a:pt x="899" y="588"/>
                  </a:lnTo>
                  <a:lnTo>
                    <a:pt x="899" y="591"/>
                  </a:lnTo>
                  <a:lnTo>
                    <a:pt x="896" y="592"/>
                  </a:lnTo>
                  <a:lnTo>
                    <a:pt x="891" y="593"/>
                  </a:lnTo>
                  <a:lnTo>
                    <a:pt x="887" y="591"/>
                  </a:lnTo>
                  <a:lnTo>
                    <a:pt x="884" y="586"/>
                  </a:lnTo>
                  <a:lnTo>
                    <a:pt x="880" y="584"/>
                  </a:lnTo>
                  <a:lnTo>
                    <a:pt x="875" y="582"/>
                  </a:lnTo>
                  <a:lnTo>
                    <a:pt x="866" y="588"/>
                  </a:lnTo>
                  <a:lnTo>
                    <a:pt x="855" y="594"/>
                  </a:lnTo>
                  <a:lnTo>
                    <a:pt x="851" y="598"/>
                  </a:lnTo>
                  <a:lnTo>
                    <a:pt x="848" y="602"/>
                  </a:lnTo>
                  <a:lnTo>
                    <a:pt x="854" y="606"/>
                  </a:lnTo>
                  <a:lnTo>
                    <a:pt x="861" y="610"/>
                  </a:lnTo>
                  <a:lnTo>
                    <a:pt x="863" y="612"/>
                  </a:lnTo>
                  <a:lnTo>
                    <a:pt x="867" y="617"/>
                  </a:lnTo>
                  <a:lnTo>
                    <a:pt x="875" y="621"/>
                  </a:lnTo>
                  <a:lnTo>
                    <a:pt x="890" y="627"/>
                  </a:lnTo>
                  <a:lnTo>
                    <a:pt x="875" y="624"/>
                  </a:lnTo>
                  <a:lnTo>
                    <a:pt x="868" y="623"/>
                  </a:lnTo>
                  <a:lnTo>
                    <a:pt x="866" y="622"/>
                  </a:lnTo>
                  <a:lnTo>
                    <a:pt x="869" y="630"/>
                  </a:lnTo>
                  <a:lnTo>
                    <a:pt x="860" y="622"/>
                  </a:lnTo>
                  <a:lnTo>
                    <a:pt x="860" y="617"/>
                  </a:lnTo>
                  <a:lnTo>
                    <a:pt x="858" y="616"/>
                  </a:lnTo>
                  <a:lnTo>
                    <a:pt x="855" y="614"/>
                  </a:lnTo>
                  <a:lnTo>
                    <a:pt x="845" y="609"/>
                  </a:lnTo>
                  <a:lnTo>
                    <a:pt x="834" y="603"/>
                  </a:lnTo>
                  <a:lnTo>
                    <a:pt x="820" y="592"/>
                  </a:lnTo>
                  <a:lnTo>
                    <a:pt x="821" y="593"/>
                  </a:lnTo>
                  <a:lnTo>
                    <a:pt x="821" y="596"/>
                  </a:lnTo>
                  <a:lnTo>
                    <a:pt x="819" y="597"/>
                  </a:lnTo>
                  <a:lnTo>
                    <a:pt x="815" y="598"/>
                  </a:lnTo>
                  <a:lnTo>
                    <a:pt x="814" y="600"/>
                  </a:lnTo>
                  <a:lnTo>
                    <a:pt x="811" y="602"/>
                  </a:lnTo>
                  <a:lnTo>
                    <a:pt x="810" y="605"/>
                  </a:lnTo>
                  <a:lnTo>
                    <a:pt x="813" y="611"/>
                  </a:lnTo>
                  <a:lnTo>
                    <a:pt x="816" y="617"/>
                  </a:lnTo>
                  <a:lnTo>
                    <a:pt x="823" y="626"/>
                  </a:lnTo>
                  <a:lnTo>
                    <a:pt x="826" y="630"/>
                  </a:lnTo>
                  <a:lnTo>
                    <a:pt x="829" y="632"/>
                  </a:lnTo>
                  <a:lnTo>
                    <a:pt x="833" y="634"/>
                  </a:lnTo>
                  <a:lnTo>
                    <a:pt x="837" y="636"/>
                  </a:lnTo>
                  <a:lnTo>
                    <a:pt x="839" y="633"/>
                  </a:lnTo>
                  <a:lnTo>
                    <a:pt x="839" y="630"/>
                  </a:lnTo>
                  <a:lnTo>
                    <a:pt x="841" y="632"/>
                  </a:lnTo>
                  <a:lnTo>
                    <a:pt x="844" y="641"/>
                  </a:lnTo>
                  <a:lnTo>
                    <a:pt x="848" y="644"/>
                  </a:lnTo>
                  <a:lnTo>
                    <a:pt x="848" y="645"/>
                  </a:lnTo>
                  <a:lnTo>
                    <a:pt x="846" y="650"/>
                  </a:lnTo>
                  <a:lnTo>
                    <a:pt x="848" y="651"/>
                  </a:lnTo>
                  <a:lnTo>
                    <a:pt x="852" y="648"/>
                  </a:lnTo>
                  <a:lnTo>
                    <a:pt x="855" y="647"/>
                  </a:lnTo>
                  <a:lnTo>
                    <a:pt x="856" y="650"/>
                  </a:lnTo>
                  <a:lnTo>
                    <a:pt x="862" y="653"/>
                  </a:lnTo>
                  <a:lnTo>
                    <a:pt x="862" y="651"/>
                  </a:lnTo>
                  <a:lnTo>
                    <a:pt x="867" y="652"/>
                  </a:lnTo>
                  <a:lnTo>
                    <a:pt x="870" y="654"/>
                  </a:lnTo>
                  <a:lnTo>
                    <a:pt x="872" y="657"/>
                  </a:lnTo>
                  <a:lnTo>
                    <a:pt x="872" y="662"/>
                  </a:lnTo>
                  <a:lnTo>
                    <a:pt x="874" y="663"/>
                  </a:lnTo>
                  <a:lnTo>
                    <a:pt x="879" y="660"/>
                  </a:lnTo>
                  <a:lnTo>
                    <a:pt x="880" y="662"/>
                  </a:lnTo>
                  <a:lnTo>
                    <a:pt x="881" y="670"/>
                  </a:lnTo>
                  <a:lnTo>
                    <a:pt x="881" y="679"/>
                  </a:lnTo>
                  <a:lnTo>
                    <a:pt x="876" y="679"/>
                  </a:lnTo>
                  <a:lnTo>
                    <a:pt x="884" y="687"/>
                  </a:lnTo>
                  <a:lnTo>
                    <a:pt x="879" y="689"/>
                  </a:lnTo>
                  <a:lnTo>
                    <a:pt x="876" y="691"/>
                  </a:lnTo>
                  <a:lnTo>
                    <a:pt x="878" y="692"/>
                  </a:lnTo>
                  <a:lnTo>
                    <a:pt x="874" y="694"/>
                  </a:lnTo>
                  <a:lnTo>
                    <a:pt x="867" y="695"/>
                  </a:lnTo>
                  <a:lnTo>
                    <a:pt x="866" y="695"/>
                  </a:lnTo>
                  <a:lnTo>
                    <a:pt x="862" y="700"/>
                  </a:lnTo>
                  <a:lnTo>
                    <a:pt x="860" y="700"/>
                  </a:lnTo>
                  <a:lnTo>
                    <a:pt x="857" y="701"/>
                  </a:lnTo>
                  <a:lnTo>
                    <a:pt x="857" y="704"/>
                  </a:lnTo>
                  <a:lnTo>
                    <a:pt x="858" y="705"/>
                  </a:lnTo>
                  <a:lnTo>
                    <a:pt x="861" y="709"/>
                  </a:lnTo>
                  <a:lnTo>
                    <a:pt x="861" y="713"/>
                  </a:lnTo>
                  <a:lnTo>
                    <a:pt x="856" y="717"/>
                  </a:lnTo>
                  <a:lnTo>
                    <a:pt x="854" y="716"/>
                  </a:lnTo>
                  <a:lnTo>
                    <a:pt x="852" y="715"/>
                  </a:lnTo>
                  <a:lnTo>
                    <a:pt x="851" y="712"/>
                  </a:lnTo>
                  <a:lnTo>
                    <a:pt x="850" y="712"/>
                  </a:lnTo>
                  <a:lnTo>
                    <a:pt x="846" y="713"/>
                  </a:lnTo>
                  <a:lnTo>
                    <a:pt x="844" y="713"/>
                  </a:lnTo>
                  <a:lnTo>
                    <a:pt x="841" y="712"/>
                  </a:lnTo>
                  <a:lnTo>
                    <a:pt x="841" y="713"/>
                  </a:lnTo>
                  <a:lnTo>
                    <a:pt x="841" y="718"/>
                  </a:lnTo>
                  <a:lnTo>
                    <a:pt x="839" y="723"/>
                  </a:lnTo>
                  <a:lnTo>
                    <a:pt x="833" y="723"/>
                  </a:lnTo>
                  <a:lnTo>
                    <a:pt x="829" y="721"/>
                  </a:lnTo>
                  <a:lnTo>
                    <a:pt x="823" y="718"/>
                  </a:lnTo>
                  <a:lnTo>
                    <a:pt x="825" y="718"/>
                  </a:lnTo>
                  <a:lnTo>
                    <a:pt x="822" y="717"/>
                  </a:lnTo>
                  <a:lnTo>
                    <a:pt x="817" y="712"/>
                  </a:lnTo>
                  <a:lnTo>
                    <a:pt x="816" y="711"/>
                  </a:lnTo>
                  <a:lnTo>
                    <a:pt x="815" y="711"/>
                  </a:lnTo>
                  <a:lnTo>
                    <a:pt x="815" y="707"/>
                  </a:lnTo>
                  <a:lnTo>
                    <a:pt x="819" y="704"/>
                  </a:lnTo>
                  <a:lnTo>
                    <a:pt x="820" y="701"/>
                  </a:lnTo>
                  <a:lnTo>
                    <a:pt x="819" y="699"/>
                  </a:lnTo>
                  <a:lnTo>
                    <a:pt x="816" y="694"/>
                  </a:lnTo>
                  <a:lnTo>
                    <a:pt x="815" y="691"/>
                  </a:lnTo>
                  <a:lnTo>
                    <a:pt x="814" y="689"/>
                  </a:lnTo>
                  <a:lnTo>
                    <a:pt x="813" y="691"/>
                  </a:lnTo>
                  <a:lnTo>
                    <a:pt x="809" y="695"/>
                  </a:lnTo>
                  <a:lnTo>
                    <a:pt x="808" y="699"/>
                  </a:lnTo>
                  <a:lnTo>
                    <a:pt x="805" y="700"/>
                  </a:lnTo>
                  <a:lnTo>
                    <a:pt x="802" y="701"/>
                  </a:lnTo>
                  <a:lnTo>
                    <a:pt x="797" y="703"/>
                  </a:lnTo>
                  <a:lnTo>
                    <a:pt x="795" y="700"/>
                  </a:lnTo>
                  <a:lnTo>
                    <a:pt x="793" y="700"/>
                  </a:lnTo>
                  <a:lnTo>
                    <a:pt x="791" y="700"/>
                  </a:lnTo>
                  <a:lnTo>
                    <a:pt x="785" y="705"/>
                  </a:lnTo>
                  <a:lnTo>
                    <a:pt x="784" y="706"/>
                  </a:lnTo>
                  <a:lnTo>
                    <a:pt x="781" y="705"/>
                  </a:lnTo>
                  <a:lnTo>
                    <a:pt x="778" y="705"/>
                  </a:lnTo>
                  <a:lnTo>
                    <a:pt x="776" y="704"/>
                  </a:lnTo>
                  <a:lnTo>
                    <a:pt x="775" y="697"/>
                  </a:lnTo>
                  <a:lnTo>
                    <a:pt x="772" y="695"/>
                  </a:lnTo>
                  <a:lnTo>
                    <a:pt x="769" y="699"/>
                  </a:lnTo>
                  <a:lnTo>
                    <a:pt x="767" y="700"/>
                  </a:lnTo>
                  <a:lnTo>
                    <a:pt x="762" y="700"/>
                  </a:lnTo>
                  <a:lnTo>
                    <a:pt x="760" y="698"/>
                  </a:lnTo>
                  <a:lnTo>
                    <a:pt x="756" y="697"/>
                  </a:lnTo>
                  <a:lnTo>
                    <a:pt x="742" y="703"/>
                  </a:lnTo>
                  <a:lnTo>
                    <a:pt x="743" y="706"/>
                  </a:lnTo>
                  <a:lnTo>
                    <a:pt x="743" y="707"/>
                  </a:lnTo>
                  <a:lnTo>
                    <a:pt x="740" y="707"/>
                  </a:lnTo>
                  <a:lnTo>
                    <a:pt x="734" y="704"/>
                  </a:lnTo>
                  <a:lnTo>
                    <a:pt x="731" y="699"/>
                  </a:lnTo>
                  <a:lnTo>
                    <a:pt x="728" y="698"/>
                  </a:lnTo>
                  <a:lnTo>
                    <a:pt x="728" y="700"/>
                  </a:lnTo>
                  <a:lnTo>
                    <a:pt x="728" y="705"/>
                  </a:lnTo>
                  <a:lnTo>
                    <a:pt x="726" y="705"/>
                  </a:lnTo>
                  <a:lnTo>
                    <a:pt x="721" y="701"/>
                  </a:lnTo>
                  <a:lnTo>
                    <a:pt x="719" y="701"/>
                  </a:lnTo>
                  <a:lnTo>
                    <a:pt x="715" y="701"/>
                  </a:lnTo>
                  <a:lnTo>
                    <a:pt x="714" y="699"/>
                  </a:lnTo>
                  <a:lnTo>
                    <a:pt x="711" y="699"/>
                  </a:lnTo>
                  <a:lnTo>
                    <a:pt x="709" y="700"/>
                  </a:lnTo>
                  <a:lnTo>
                    <a:pt x="707" y="704"/>
                  </a:lnTo>
                  <a:lnTo>
                    <a:pt x="711" y="706"/>
                  </a:lnTo>
                  <a:lnTo>
                    <a:pt x="715" y="707"/>
                  </a:lnTo>
                  <a:lnTo>
                    <a:pt x="720" y="709"/>
                  </a:lnTo>
                  <a:lnTo>
                    <a:pt x="724" y="710"/>
                  </a:lnTo>
                  <a:lnTo>
                    <a:pt x="727" y="713"/>
                  </a:lnTo>
                  <a:lnTo>
                    <a:pt x="730" y="718"/>
                  </a:lnTo>
                  <a:lnTo>
                    <a:pt x="727" y="719"/>
                  </a:lnTo>
                  <a:lnTo>
                    <a:pt x="724" y="717"/>
                  </a:lnTo>
                  <a:lnTo>
                    <a:pt x="721" y="718"/>
                  </a:lnTo>
                  <a:lnTo>
                    <a:pt x="717" y="721"/>
                  </a:lnTo>
                  <a:lnTo>
                    <a:pt x="715" y="721"/>
                  </a:lnTo>
                  <a:lnTo>
                    <a:pt x="713" y="719"/>
                  </a:lnTo>
                  <a:lnTo>
                    <a:pt x="710" y="719"/>
                  </a:lnTo>
                  <a:lnTo>
                    <a:pt x="709" y="723"/>
                  </a:lnTo>
                  <a:lnTo>
                    <a:pt x="707" y="724"/>
                  </a:lnTo>
                  <a:lnTo>
                    <a:pt x="703" y="722"/>
                  </a:lnTo>
                  <a:lnTo>
                    <a:pt x="698" y="719"/>
                  </a:lnTo>
                  <a:lnTo>
                    <a:pt x="695" y="716"/>
                  </a:lnTo>
                  <a:lnTo>
                    <a:pt x="692" y="712"/>
                  </a:lnTo>
                  <a:lnTo>
                    <a:pt x="690" y="711"/>
                  </a:lnTo>
                  <a:lnTo>
                    <a:pt x="684" y="712"/>
                  </a:lnTo>
                  <a:lnTo>
                    <a:pt x="677" y="711"/>
                  </a:lnTo>
                  <a:lnTo>
                    <a:pt x="669" y="711"/>
                  </a:lnTo>
                  <a:lnTo>
                    <a:pt x="666" y="711"/>
                  </a:lnTo>
                  <a:lnTo>
                    <a:pt x="658" y="706"/>
                  </a:lnTo>
                  <a:lnTo>
                    <a:pt x="650" y="704"/>
                  </a:lnTo>
                  <a:lnTo>
                    <a:pt x="645" y="704"/>
                  </a:lnTo>
                  <a:lnTo>
                    <a:pt x="643" y="701"/>
                  </a:lnTo>
                  <a:lnTo>
                    <a:pt x="640" y="700"/>
                  </a:lnTo>
                  <a:lnTo>
                    <a:pt x="638" y="700"/>
                  </a:lnTo>
                  <a:lnTo>
                    <a:pt x="642" y="707"/>
                  </a:lnTo>
                  <a:lnTo>
                    <a:pt x="645" y="715"/>
                  </a:lnTo>
                  <a:lnTo>
                    <a:pt x="648" y="718"/>
                  </a:lnTo>
                  <a:lnTo>
                    <a:pt x="650" y="718"/>
                  </a:lnTo>
                  <a:lnTo>
                    <a:pt x="652" y="719"/>
                  </a:lnTo>
                  <a:lnTo>
                    <a:pt x="654" y="721"/>
                  </a:lnTo>
                  <a:lnTo>
                    <a:pt x="657" y="721"/>
                  </a:lnTo>
                  <a:lnTo>
                    <a:pt x="660" y="723"/>
                  </a:lnTo>
                  <a:lnTo>
                    <a:pt x="663" y="722"/>
                  </a:lnTo>
                  <a:lnTo>
                    <a:pt x="668" y="722"/>
                  </a:lnTo>
                  <a:lnTo>
                    <a:pt x="673" y="721"/>
                  </a:lnTo>
                  <a:lnTo>
                    <a:pt x="678" y="724"/>
                  </a:lnTo>
                  <a:lnTo>
                    <a:pt x="687" y="727"/>
                  </a:lnTo>
                  <a:lnTo>
                    <a:pt x="690" y="728"/>
                  </a:lnTo>
                  <a:lnTo>
                    <a:pt x="692" y="730"/>
                  </a:lnTo>
                  <a:lnTo>
                    <a:pt x="695" y="734"/>
                  </a:lnTo>
                  <a:lnTo>
                    <a:pt x="696" y="736"/>
                  </a:lnTo>
                  <a:lnTo>
                    <a:pt x="693" y="741"/>
                  </a:lnTo>
                  <a:lnTo>
                    <a:pt x="697" y="742"/>
                  </a:lnTo>
                  <a:lnTo>
                    <a:pt x="702" y="741"/>
                  </a:lnTo>
                  <a:lnTo>
                    <a:pt x="704" y="737"/>
                  </a:lnTo>
                  <a:lnTo>
                    <a:pt x="704" y="733"/>
                  </a:lnTo>
                  <a:lnTo>
                    <a:pt x="708" y="733"/>
                  </a:lnTo>
                  <a:lnTo>
                    <a:pt x="715" y="733"/>
                  </a:lnTo>
                  <a:lnTo>
                    <a:pt x="715" y="736"/>
                  </a:lnTo>
                  <a:lnTo>
                    <a:pt x="713" y="742"/>
                  </a:lnTo>
                  <a:lnTo>
                    <a:pt x="714" y="749"/>
                  </a:lnTo>
                  <a:lnTo>
                    <a:pt x="714" y="755"/>
                  </a:lnTo>
                  <a:lnTo>
                    <a:pt x="711" y="757"/>
                  </a:lnTo>
                  <a:lnTo>
                    <a:pt x="707" y="757"/>
                  </a:lnTo>
                  <a:lnTo>
                    <a:pt x="702" y="753"/>
                  </a:lnTo>
                  <a:lnTo>
                    <a:pt x="701" y="754"/>
                  </a:lnTo>
                  <a:lnTo>
                    <a:pt x="698" y="752"/>
                  </a:lnTo>
                  <a:lnTo>
                    <a:pt x="691" y="749"/>
                  </a:lnTo>
                  <a:lnTo>
                    <a:pt x="687" y="751"/>
                  </a:lnTo>
                  <a:lnTo>
                    <a:pt x="687" y="753"/>
                  </a:lnTo>
                  <a:lnTo>
                    <a:pt x="686" y="754"/>
                  </a:lnTo>
                  <a:lnTo>
                    <a:pt x="686" y="759"/>
                  </a:lnTo>
                  <a:lnTo>
                    <a:pt x="689" y="765"/>
                  </a:lnTo>
                  <a:lnTo>
                    <a:pt x="690" y="767"/>
                  </a:lnTo>
                  <a:lnTo>
                    <a:pt x="687" y="774"/>
                  </a:lnTo>
                  <a:lnTo>
                    <a:pt x="687" y="780"/>
                  </a:lnTo>
                  <a:lnTo>
                    <a:pt x="687" y="782"/>
                  </a:lnTo>
                  <a:lnTo>
                    <a:pt x="685" y="782"/>
                  </a:lnTo>
                  <a:lnTo>
                    <a:pt x="677" y="777"/>
                  </a:lnTo>
                  <a:lnTo>
                    <a:pt x="672" y="775"/>
                  </a:lnTo>
                  <a:lnTo>
                    <a:pt x="673" y="777"/>
                  </a:lnTo>
                  <a:lnTo>
                    <a:pt x="672" y="780"/>
                  </a:lnTo>
                  <a:lnTo>
                    <a:pt x="669" y="781"/>
                  </a:lnTo>
                  <a:lnTo>
                    <a:pt x="667" y="782"/>
                  </a:lnTo>
                  <a:lnTo>
                    <a:pt x="662" y="783"/>
                  </a:lnTo>
                  <a:lnTo>
                    <a:pt x="658" y="782"/>
                  </a:lnTo>
                  <a:lnTo>
                    <a:pt x="652" y="777"/>
                  </a:lnTo>
                  <a:lnTo>
                    <a:pt x="649" y="772"/>
                  </a:lnTo>
                  <a:lnTo>
                    <a:pt x="645" y="769"/>
                  </a:lnTo>
                  <a:lnTo>
                    <a:pt x="645" y="767"/>
                  </a:lnTo>
                  <a:lnTo>
                    <a:pt x="646" y="761"/>
                  </a:lnTo>
                  <a:lnTo>
                    <a:pt x="640" y="755"/>
                  </a:lnTo>
                  <a:lnTo>
                    <a:pt x="640" y="758"/>
                  </a:lnTo>
                  <a:lnTo>
                    <a:pt x="643" y="763"/>
                  </a:lnTo>
                  <a:lnTo>
                    <a:pt x="639" y="764"/>
                  </a:lnTo>
                  <a:lnTo>
                    <a:pt x="628" y="764"/>
                  </a:lnTo>
                  <a:lnTo>
                    <a:pt x="625" y="766"/>
                  </a:lnTo>
                  <a:lnTo>
                    <a:pt x="621" y="767"/>
                  </a:lnTo>
                  <a:lnTo>
                    <a:pt x="628" y="770"/>
                  </a:lnTo>
                  <a:lnTo>
                    <a:pt x="633" y="769"/>
                  </a:lnTo>
                  <a:lnTo>
                    <a:pt x="637" y="771"/>
                  </a:lnTo>
                  <a:lnTo>
                    <a:pt x="638" y="776"/>
                  </a:lnTo>
                  <a:lnTo>
                    <a:pt x="639" y="780"/>
                  </a:lnTo>
                  <a:lnTo>
                    <a:pt x="642" y="782"/>
                  </a:lnTo>
                  <a:lnTo>
                    <a:pt x="640" y="783"/>
                  </a:lnTo>
                  <a:lnTo>
                    <a:pt x="630" y="786"/>
                  </a:lnTo>
                  <a:lnTo>
                    <a:pt x="624" y="784"/>
                  </a:lnTo>
                  <a:lnTo>
                    <a:pt x="618" y="782"/>
                  </a:lnTo>
                  <a:lnTo>
                    <a:pt x="608" y="780"/>
                  </a:lnTo>
                  <a:lnTo>
                    <a:pt x="604" y="778"/>
                  </a:lnTo>
                  <a:lnTo>
                    <a:pt x="601" y="776"/>
                  </a:lnTo>
                  <a:lnTo>
                    <a:pt x="598" y="775"/>
                  </a:lnTo>
                  <a:lnTo>
                    <a:pt x="597" y="771"/>
                  </a:lnTo>
                  <a:lnTo>
                    <a:pt x="599" y="764"/>
                  </a:lnTo>
                  <a:lnTo>
                    <a:pt x="598" y="763"/>
                  </a:lnTo>
                  <a:lnTo>
                    <a:pt x="593" y="761"/>
                  </a:lnTo>
                  <a:lnTo>
                    <a:pt x="592" y="765"/>
                  </a:lnTo>
                  <a:lnTo>
                    <a:pt x="591" y="766"/>
                  </a:lnTo>
                  <a:lnTo>
                    <a:pt x="589" y="766"/>
                  </a:lnTo>
                  <a:lnTo>
                    <a:pt x="584" y="765"/>
                  </a:lnTo>
                  <a:lnTo>
                    <a:pt x="583" y="761"/>
                  </a:lnTo>
                  <a:lnTo>
                    <a:pt x="583" y="753"/>
                  </a:lnTo>
                  <a:lnTo>
                    <a:pt x="579" y="749"/>
                  </a:lnTo>
                  <a:lnTo>
                    <a:pt x="578" y="748"/>
                  </a:lnTo>
                  <a:lnTo>
                    <a:pt x="574" y="741"/>
                  </a:lnTo>
                  <a:lnTo>
                    <a:pt x="574" y="737"/>
                  </a:lnTo>
                  <a:lnTo>
                    <a:pt x="572" y="736"/>
                  </a:lnTo>
                  <a:lnTo>
                    <a:pt x="567" y="736"/>
                  </a:lnTo>
                  <a:lnTo>
                    <a:pt x="563" y="735"/>
                  </a:lnTo>
                  <a:lnTo>
                    <a:pt x="565" y="737"/>
                  </a:lnTo>
                  <a:lnTo>
                    <a:pt x="568" y="741"/>
                  </a:lnTo>
                  <a:lnTo>
                    <a:pt x="571" y="745"/>
                  </a:lnTo>
                  <a:lnTo>
                    <a:pt x="574" y="753"/>
                  </a:lnTo>
                  <a:lnTo>
                    <a:pt x="578" y="757"/>
                  </a:lnTo>
                  <a:lnTo>
                    <a:pt x="578" y="761"/>
                  </a:lnTo>
                  <a:lnTo>
                    <a:pt x="575" y="765"/>
                  </a:lnTo>
                  <a:lnTo>
                    <a:pt x="575" y="769"/>
                  </a:lnTo>
                  <a:lnTo>
                    <a:pt x="578" y="774"/>
                  </a:lnTo>
                  <a:lnTo>
                    <a:pt x="578" y="777"/>
                  </a:lnTo>
                  <a:lnTo>
                    <a:pt x="575" y="783"/>
                  </a:lnTo>
                  <a:lnTo>
                    <a:pt x="569" y="784"/>
                  </a:lnTo>
                  <a:lnTo>
                    <a:pt x="563" y="788"/>
                  </a:lnTo>
                  <a:lnTo>
                    <a:pt x="559" y="789"/>
                  </a:lnTo>
                  <a:lnTo>
                    <a:pt x="551" y="790"/>
                  </a:lnTo>
                  <a:lnTo>
                    <a:pt x="544" y="793"/>
                  </a:lnTo>
                  <a:lnTo>
                    <a:pt x="539" y="793"/>
                  </a:lnTo>
                  <a:lnTo>
                    <a:pt x="537" y="793"/>
                  </a:lnTo>
                  <a:lnTo>
                    <a:pt x="533" y="792"/>
                  </a:lnTo>
                  <a:lnTo>
                    <a:pt x="531" y="787"/>
                  </a:lnTo>
                  <a:lnTo>
                    <a:pt x="531" y="782"/>
                  </a:lnTo>
                  <a:lnTo>
                    <a:pt x="531" y="776"/>
                  </a:lnTo>
                  <a:lnTo>
                    <a:pt x="526" y="772"/>
                  </a:lnTo>
                  <a:lnTo>
                    <a:pt x="522" y="771"/>
                  </a:lnTo>
                  <a:lnTo>
                    <a:pt x="519" y="772"/>
                  </a:lnTo>
                  <a:lnTo>
                    <a:pt x="518" y="776"/>
                  </a:lnTo>
                  <a:lnTo>
                    <a:pt x="515" y="777"/>
                  </a:lnTo>
                  <a:lnTo>
                    <a:pt x="509" y="777"/>
                  </a:lnTo>
                  <a:lnTo>
                    <a:pt x="506" y="777"/>
                  </a:lnTo>
                  <a:lnTo>
                    <a:pt x="504" y="781"/>
                  </a:lnTo>
                  <a:lnTo>
                    <a:pt x="502" y="781"/>
                  </a:lnTo>
                  <a:lnTo>
                    <a:pt x="494" y="777"/>
                  </a:lnTo>
                  <a:lnTo>
                    <a:pt x="494" y="771"/>
                  </a:lnTo>
                  <a:lnTo>
                    <a:pt x="496" y="767"/>
                  </a:lnTo>
                  <a:lnTo>
                    <a:pt x="495" y="765"/>
                  </a:lnTo>
                  <a:lnTo>
                    <a:pt x="492" y="763"/>
                  </a:lnTo>
                  <a:lnTo>
                    <a:pt x="490" y="761"/>
                  </a:lnTo>
                  <a:lnTo>
                    <a:pt x="484" y="761"/>
                  </a:lnTo>
                  <a:lnTo>
                    <a:pt x="481" y="759"/>
                  </a:lnTo>
                  <a:lnTo>
                    <a:pt x="479" y="757"/>
                  </a:lnTo>
                  <a:lnTo>
                    <a:pt x="479" y="753"/>
                  </a:lnTo>
                  <a:lnTo>
                    <a:pt x="477" y="748"/>
                  </a:lnTo>
                  <a:lnTo>
                    <a:pt x="479" y="747"/>
                  </a:lnTo>
                  <a:lnTo>
                    <a:pt x="488" y="747"/>
                  </a:lnTo>
                  <a:lnTo>
                    <a:pt x="490" y="745"/>
                  </a:lnTo>
                  <a:lnTo>
                    <a:pt x="492" y="742"/>
                  </a:lnTo>
                  <a:lnTo>
                    <a:pt x="495" y="742"/>
                  </a:lnTo>
                  <a:lnTo>
                    <a:pt x="497" y="740"/>
                  </a:lnTo>
                  <a:lnTo>
                    <a:pt x="502" y="731"/>
                  </a:lnTo>
                  <a:lnTo>
                    <a:pt x="501" y="728"/>
                  </a:lnTo>
                  <a:lnTo>
                    <a:pt x="497" y="727"/>
                  </a:lnTo>
                  <a:lnTo>
                    <a:pt x="488" y="731"/>
                  </a:lnTo>
                  <a:lnTo>
                    <a:pt x="485" y="733"/>
                  </a:lnTo>
                  <a:lnTo>
                    <a:pt x="483" y="733"/>
                  </a:lnTo>
                  <a:lnTo>
                    <a:pt x="480" y="734"/>
                  </a:lnTo>
                  <a:lnTo>
                    <a:pt x="479" y="733"/>
                  </a:lnTo>
                  <a:lnTo>
                    <a:pt x="473" y="729"/>
                  </a:lnTo>
                  <a:lnTo>
                    <a:pt x="471" y="733"/>
                  </a:lnTo>
                  <a:lnTo>
                    <a:pt x="466" y="739"/>
                  </a:lnTo>
                  <a:lnTo>
                    <a:pt x="459" y="745"/>
                  </a:lnTo>
                  <a:lnTo>
                    <a:pt x="454" y="751"/>
                  </a:lnTo>
                  <a:lnTo>
                    <a:pt x="453" y="758"/>
                  </a:lnTo>
                  <a:lnTo>
                    <a:pt x="453" y="774"/>
                  </a:lnTo>
                  <a:lnTo>
                    <a:pt x="455" y="799"/>
                  </a:lnTo>
                  <a:lnTo>
                    <a:pt x="455" y="813"/>
                  </a:lnTo>
                  <a:lnTo>
                    <a:pt x="456" y="818"/>
                  </a:lnTo>
                  <a:lnTo>
                    <a:pt x="461" y="824"/>
                  </a:lnTo>
                  <a:lnTo>
                    <a:pt x="466" y="832"/>
                  </a:lnTo>
                  <a:lnTo>
                    <a:pt x="469" y="840"/>
                  </a:lnTo>
                  <a:lnTo>
                    <a:pt x="472" y="84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6" name="Freeform 79"/>
            <p:cNvSpPr>
              <a:spLocks/>
            </p:cNvSpPr>
            <p:nvPr userDrawn="1"/>
          </p:nvSpPr>
          <p:spPr bwMode="auto">
            <a:xfrm>
              <a:off x="8535988" y="6245226"/>
              <a:ext cx="250825" cy="409575"/>
            </a:xfrm>
            <a:custGeom>
              <a:avLst/>
              <a:gdLst/>
              <a:ahLst/>
              <a:cxnLst>
                <a:cxn ang="0">
                  <a:pos x="387" y="95"/>
                </a:cxn>
                <a:cxn ang="0">
                  <a:pos x="319" y="196"/>
                </a:cxn>
                <a:cxn ang="0">
                  <a:pos x="281" y="250"/>
                </a:cxn>
                <a:cxn ang="0">
                  <a:pos x="289" y="298"/>
                </a:cxn>
                <a:cxn ang="0">
                  <a:pos x="247" y="331"/>
                </a:cxn>
                <a:cxn ang="0">
                  <a:pos x="211" y="438"/>
                </a:cxn>
                <a:cxn ang="0">
                  <a:pos x="222" y="463"/>
                </a:cxn>
                <a:cxn ang="0">
                  <a:pos x="151" y="523"/>
                </a:cxn>
                <a:cxn ang="0">
                  <a:pos x="171" y="555"/>
                </a:cxn>
                <a:cxn ang="0">
                  <a:pos x="128" y="586"/>
                </a:cxn>
                <a:cxn ang="0">
                  <a:pos x="158" y="592"/>
                </a:cxn>
                <a:cxn ang="0">
                  <a:pos x="200" y="604"/>
                </a:cxn>
                <a:cxn ang="0">
                  <a:pos x="119" y="635"/>
                </a:cxn>
                <a:cxn ang="0">
                  <a:pos x="89" y="665"/>
                </a:cxn>
                <a:cxn ang="0">
                  <a:pos x="89" y="694"/>
                </a:cxn>
                <a:cxn ang="0">
                  <a:pos x="77" y="725"/>
                </a:cxn>
                <a:cxn ang="0">
                  <a:pos x="118" y="759"/>
                </a:cxn>
                <a:cxn ang="0">
                  <a:pos x="145" y="779"/>
                </a:cxn>
                <a:cxn ang="0">
                  <a:pos x="188" y="788"/>
                </a:cxn>
                <a:cxn ang="0">
                  <a:pos x="219" y="799"/>
                </a:cxn>
                <a:cxn ang="0">
                  <a:pos x="176" y="836"/>
                </a:cxn>
                <a:cxn ang="0">
                  <a:pos x="119" y="858"/>
                </a:cxn>
                <a:cxn ang="0">
                  <a:pos x="98" y="902"/>
                </a:cxn>
                <a:cxn ang="0">
                  <a:pos x="45" y="921"/>
                </a:cxn>
                <a:cxn ang="0">
                  <a:pos x="84" y="943"/>
                </a:cxn>
                <a:cxn ang="0">
                  <a:pos x="39" y="980"/>
                </a:cxn>
                <a:cxn ang="0">
                  <a:pos x="56" y="1013"/>
                </a:cxn>
                <a:cxn ang="0">
                  <a:pos x="81" y="1051"/>
                </a:cxn>
                <a:cxn ang="0">
                  <a:pos x="88" y="1106"/>
                </a:cxn>
                <a:cxn ang="0">
                  <a:pos x="165" y="1172"/>
                </a:cxn>
                <a:cxn ang="0">
                  <a:pos x="269" y="1158"/>
                </a:cxn>
                <a:cxn ang="0">
                  <a:pos x="361" y="1224"/>
                </a:cxn>
                <a:cxn ang="0">
                  <a:pos x="502" y="1180"/>
                </a:cxn>
                <a:cxn ang="0">
                  <a:pos x="596" y="1228"/>
                </a:cxn>
                <a:cxn ang="0">
                  <a:pos x="686" y="1204"/>
                </a:cxn>
                <a:cxn ang="0">
                  <a:pos x="779" y="1117"/>
                </a:cxn>
                <a:cxn ang="0">
                  <a:pos x="708" y="1050"/>
                </a:cxn>
                <a:cxn ang="0">
                  <a:pos x="703" y="997"/>
                </a:cxn>
                <a:cxn ang="0">
                  <a:pos x="677" y="984"/>
                </a:cxn>
                <a:cxn ang="0">
                  <a:pos x="699" y="939"/>
                </a:cxn>
                <a:cxn ang="0">
                  <a:pos x="718" y="890"/>
                </a:cxn>
                <a:cxn ang="0">
                  <a:pos x="725" y="833"/>
                </a:cxn>
                <a:cxn ang="0">
                  <a:pos x="575" y="793"/>
                </a:cxn>
                <a:cxn ang="0">
                  <a:pos x="631" y="787"/>
                </a:cxn>
                <a:cxn ang="0">
                  <a:pos x="691" y="752"/>
                </a:cxn>
                <a:cxn ang="0">
                  <a:pos x="720" y="710"/>
                </a:cxn>
                <a:cxn ang="0">
                  <a:pos x="702" y="668"/>
                </a:cxn>
                <a:cxn ang="0">
                  <a:pos x="672" y="577"/>
                </a:cxn>
                <a:cxn ang="0">
                  <a:pos x="595" y="533"/>
                </a:cxn>
                <a:cxn ang="0">
                  <a:pos x="618" y="503"/>
                </a:cxn>
                <a:cxn ang="0">
                  <a:pos x="540" y="434"/>
                </a:cxn>
                <a:cxn ang="0">
                  <a:pos x="620" y="443"/>
                </a:cxn>
                <a:cxn ang="0">
                  <a:pos x="454" y="371"/>
                </a:cxn>
                <a:cxn ang="0">
                  <a:pos x="530" y="300"/>
                </a:cxn>
                <a:cxn ang="0">
                  <a:pos x="544" y="258"/>
                </a:cxn>
                <a:cxn ang="0">
                  <a:pos x="495" y="235"/>
                </a:cxn>
                <a:cxn ang="0">
                  <a:pos x="484" y="217"/>
                </a:cxn>
                <a:cxn ang="0">
                  <a:pos x="472" y="145"/>
                </a:cxn>
                <a:cxn ang="0">
                  <a:pos x="461" y="135"/>
                </a:cxn>
                <a:cxn ang="0">
                  <a:pos x="461" y="104"/>
                </a:cxn>
                <a:cxn ang="0">
                  <a:pos x="444" y="99"/>
                </a:cxn>
                <a:cxn ang="0">
                  <a:pos x="432" y="41"/>
                </a:cxn>
                <a:cxn ang="0">
                  <a:pos x="410" y="28"/>
                </a:cxn>
              </a:cxnLst>
              <a:rect l="0" t="0" r="r" b="b"/>
              <a:pathLst>
                <a:path w="794" h="1293">
                  <a:moveTo>
                    <a:pt x="398" y="22"/>
                  </a:moveTo>
                  <a:lnTo>
                    <a:pt x="394" y="15"/>
                  </a:lnTo>
                  <a:lnTo>
                    <a:pt x="390" y="0"/>
                  </a:lnTo>
                  <a:lnTo>
                    <a:pt x="389" y="0"/>
                  </a:lnTo>
                  <a:lnTo>
                    <a:pt x="390" y="6"/>
                  </a:lnTo>
                  <a:lnTo>
                    <a:pt x="393" y="15"/>
                  </a:lnTo>
                  <a:lnTo>
                    <a:pt x="398" y="22"/>
                  </a:lnTo>
                  <a:lnTo>
                    <a:pt x="396" y="26"/>
                  </a:lnTo>
                  <a:lnTo>
                    <a:pt x="393" y="17"/>
                  </a:lnTo>
                  <a:lnTo>
                    <a:pt x="392" y="18"/>
                  </a:lnTo>
                  <a:lnTo>
                    <a:pt x="395" y="26"/>
                  </a:lnTo>
                  <a:lnTo>
                    <a:pt x="395" y="27"/>
                  </a:lnTo>
                  <a:lnTo>
                    <a:pt x="384" y="21"/>
                  </a:lnTo>
                  <a:lnTo>
                    <a:pt x="383" y="22"/>
                  </a:lnTo>
                  <a:lnTo>
                    <a:pt x="398" y="30"/>
                  </a:lnTo>
                  <a:lnTo>
                    <a:pt x="396" y="33"/>
                  </a:lnTo>
                  <a:lnTo>
                    <a:pt x="395" y="34"/>
                  </a:lnTo>
                  <a:lnTo>
                    <a:pt x="392" y="29"/>
                  </a:lnTo>
                  <a:lnTo>
                    <a:pt x="390" y="30"/>
                  </a:lnTo>
                  <a:lnTo>
                    <a:pt x="395" y="35"/>
                  </a:lnTo>
                  <a:lnTo>
                    <a:pt x="394" y="36"/>
                  </a:lnTo>
                  <a:lnTo>
                    <a:pt x="387" y="36"/>
                  </a:lnTo>
                  <a:lnTo>
                    <a:pt x="387" y="38"/>
                  </a:lnTo>
                  <a:lnTo>
                    <a:pt x="394" y="38"/>
                  </a:lnTo>
                  <a:lnTo>
                    <a:pt x="395" y="40"/>
                  </a:lnTo>
                  <a:lnTo>
                    <a:pt x="396" y="44"/>
                  </a:lnTo>
                  <a:lnTo>
                    <a:pt x="389" y="44"/>
                  </a:lnTo>
                  <a:lnTo>
                    <a:pt x="389" y="45"/>
                  </a:lnTo>
                  <a:lnTo>
                    <a:pt x="395" y="45"/>
                  </a:lnTo>
                  <a:lnTo>
                    <a:pt x="393" y="46"/>
                  </a:lnTo>
                  <a:lnTo>
                    <a:pt x="396" y="46"/>
                  </a:lnTo>
                  <a:lnTo>
                    <a:pt x="395" y="50"/>
                  </a:lnTo>
                  <a:lnTo>
                    <a:pt x="393" y="50"/>
                  </a:lnTo>
                  <a:lnTo>
                    <a:pt x="393" y="47"/>
                  </a:lnTo>
                  <a:lnTo>
                    <a:pt x="392" y="50"/>
                  </a:lnTo>
                  <a:lnTo>
                    <a:pt x="390" y="48"/>
                  </a:lnTo>
                  <a:lnTo>
                    <a:pt x="387" y="42"/>
                  </a:lnTo>
                  <a:lnTo>
                    <a:pt x="389" y="48"/>
                  </a:lnTo>
                  <a:lnTo>
                    <a:pt x="388" y="48"/>
                  </a:lnTo>
                  <a:lnTo>
                    <a:pt x="384" y="47"/>
                  </a:lnTo>
                  <a:lnTo>
                    <a:pt x="383" y="48"/>
                  </a:lnTo>
                  <a:lnTo>
                    <a:pt x="385" y="50"/>
                  </a:lnTo>
                  <a:lnTo>
                    <a:pt x="388" y="50"/>
                  </a:lnTo>
                  <a:lnTo>
                    <a:pt x="389" y="51"/>
                  </a:lnTo>
                  <a:lnTo>
                    <a:pt x="388" y="52"/>
                  </a:lnTo>
                  <a:lnTo>
                    <a:pt x="384" y="51"/>
                  </a:lnTo>
                  <a:lnTo>
                    <a:pt x="384" y="52"/>
                  </a:lnTo>
                  <a:lnTo>
                    <a:pt x="389" y="53"/>
                  </a:lnTo>
                  <a:lnTo>
                    <a:pt x="389" y="54"/>
                  </a:lnTo>
                  <a:lnTo>
                    <a:pt x="388" y="57"/>
                  </a:lnTo>
                  <a:lnTo>
                    <a:pt x="387" y="57"/>
                  </a:lnTo>
                  <a:lnTo>
                    <a:pt x="384" y="54"/>
                  </a:lnTo>
                  <a:lnTo>
                    <a:pt x="377" y="48"/>
                  </a:lnTo>
                  <a:lnTo>
                    <a:pt x="377" y="50"/>
                  </a:lnTo>
                  <a:lnTo>
                    <a:pt x="379" y="52"/>
                  </a:lnTo>
                  <a:lnTo>
                    <a:pt x="379" y="53"/>
                  </a:lnTo>
                  <a:lnTo>
                    <a:pt x="376" y="53"/>
                  </a:lnTo>
                  <a:lnTo>
                    <a:pt x="372" y="52"/>
                  </a:lnTo>
                  <a:lnTo>
                    <a:pt x="375" y="54"/>
                  </a:lnTo>
                  <a:lnTo>
                    <a:pt x="381" y="56"/>
                  </a:lnTo>
                  <a:lnTo>
                    <a:pt x="382" y="57"/>
                  </a:lnTo>
                  <a:lnTo>
                    <a:pt x="376" y="62"/>
                  </a:lnTo>
                  <a:lnTo>
                    <a:pt x="383" y="57"/>
                  </a:lnTo>
                  <a:lnTo>
                    <a:pt x="384" y="58"/>
                  </a:lnTo>
                  <a:lnTo>
                    <a:pt x="382" y="59"/>
                  </a:lnTo>
                  <a:lnTo>
                    <a:pt x="385" y="58"/>
                  </a:lnTo>
                  <a:lnTo>
                    <a:pt x="387" y="59"/>
                  </a:lnTo>
                  <a:lnTo>
                    <a:pt x="388" y="60"/>
                  </a:lnTo>
                  <a:lnTo>
                    <a:pt x="388" y="64"/>
                  </a:lnTo>
                  <a:lnTo>
                    <a:pt x="390" y="59"/>
                  </a:lnTo>
                  <a:lnTo>
                    <a:pt x="398" y="65"/>
                  </a:lnTo>
                  <a:lnTo>
                    <a:pt x="399" y="69"/>
                  </a:lnTo>
                  <a:lnTo>
                    <a:pt x="395" y="70"/>
                  </a:lnTo>
                  <a:lnTo>
                    <a:pt x="393" y="70"/>
                  </a:lnTo>
                  <a:lnTo>
                    <a:pt x="392" y="68"/>
                  </a:lnTo>
                  <a:lnTo>
                    <a:pt x="392" y="69"/>
                  </a:lnTo>
                  <a:lnTo>
                    <a:pt x="388" y="69"/>
                  </a:lnTo>
                  <a:lnTo>
                    <a:pt x="387" y="69"/>
                  </a:lnTo>
                  <a:lnTo>
                    <a:pt x="383" y="65"/>
                  </a:lnTo>
                  <a:lnTo>
                    <a:pt x="383" y="66"/>
                  </a:lnTo>
                  <a:lnTo>
                    <a:pt x="385" y="70"/>
                  </a:lnTo>
                  <a:lnTo>
                    <a:pt x="379" y="70"/>
                  </a:lnTo>
                  <a:lnTo>
                    <a:pt x="379" y="71"/>
                  </a:lnTo>
                  <a:lnTo>
                    <a:pt x="385" y="71"/>
                  </a:lnTo>
                  <a:lnTo>
                    <a:pt x="385" y="72"/>
                  </a:lnTo>
                  <a:lnTo>
                    <a:pt x="383" y="76"/>
                  </a:lnTo>
                  <a:lnTo>
                    <a:pt x="388" y="72"/>
                  </a:lnTo>
                  <a:lnTo>
                    <a:pt x="390" y="72"/>
                  </a:lnTo>
                  <a:lnTo>
                    <a:pt x="392" y="71"/>
                  </a:lnTo>
                  <a:lnTo>
                    <a:pt x="394" y="72"/>
                  </a:lnTo>
                  <a:lnTo>
                    <a:pt x="393" y="74"/>
                  </a:lnTo>
                  <a:lnTo>
                    <a:pt x="389" y="74"/>
                  </a:lnTo>
                  <a:lnTo>
                    <a:pt x="389" y="75"/>
                  </a:lnTo>
                  <a:lnTo>
                    <a:pt x="392" y="76"/>
                  </a:lnTo>
                  <a:lnTo>
                    <a:pt x="390" y="76"/>
                  </a:lnTo>
                  <a:lnTo>
                    <a:pt x="387" y="78"/>
                  </a:lnTo>
                  <a:lnTo>
                    <a:pt x="387" y="80"/>
                  </a:lnTo>
                  <a:lnTo>
                    <a:pt x="392" y="80"/>
                  </a:lnTo>
                  <a:lnTo>
                    <a:pt x="392" y="82"/>
                  </a:lnTo>
                  <a:lnTo>
                    <a:pt x="385" y="87"/>
                  </a:lnTo>
                  <a:lnTo>
                    <a:pt x="385" y="88"/>
                  </a:lnTo>
                  <a:lnTo>
                    <a:pt x="388" y="88"/>
                  </a:lnTo>
                  <a:lnTo>
                    <a:pt x="389" y="90"/>
                  </a:lnTo>
                  <a:lnTo>
                    <a:pt x="388" y="90"/>
                  </a:lnTo>
                  <a:lnTo>
                    <a:pt x="388" y="92"/>
                  </a:lnTo>
                  <a:lnTo>
                    <a:pt x="389" y="93"/>
                  </a:lnTo>
                  <a:lnTo>
                    <a:pt x="390" y="93"/>
                  </a:lnTo>
                  <a:lnTo>
                    <a:pt x="390" y="94"/>
                  </a:lnTo>
                  <a:lnTo>
                    <a:pt x="387" y="94"/>
                  </a:lnTo>
                  <a:lnTo>
                    <a:pt x="384" y="93"/>
                  </a:lnTo>
                  <a:lnTo>
                    <a:pt x="385" y="95"/>
                  </a:lnTo>
                  <a:lnTo>
                    <a:pt x="383" y="100"/>
                  </a:lnTo>
                  <a:lnTo>
                    <a:pt x="384" y="100"/>
                  </a:lnTo>
                  <a:lnTo>
                    <a:pt x="387" y="95"/>
                  </a:lnTo>
                  <a:lnTo>
                    <a:pt x="390" y="97"/>
                  </a:lnTo>
                  <a:lnTo>
                    <a:pt x="388" y="99"/>
                  </a:lnTo>
                  <a:lnTo>
                    <a:pt x="384" y="103"/>
                  </a:lnTo>
                  <a:lnTo>
                    <a:pt x="378" y="107"/>
                  </a:lnTo>
                  <a:lnTo>
                    <a:pt x="369" y="112"/>
                  </a:lnTo>
                  <a:lnTo>
                    <a:pt x="365" y="112"/>
                  </a:lnTo>
                  <a:lnTo>
                    <a:pt x="366" y="113"/>
                  </a:lnTo>
                  <a:lnTo>
                    <a:pt x="366" y="115"/>
                  </a:lnTo>
                  <a:lnTo>
                    <a:pt x="360" y="112"/>
                  </a:lnTo>
                  <a:lnTo>
                    <a:pt x="364" y="115"/>
                  </a:lnTo>
                  <a:lnTo>
                    <a:pt x="358" y="117"/>
                  </a:lnTo>
                  <a:lnTo>
                    <a:pt x="358" y="119"/>
                  </a:lnTo>
                  <a:lnTo>
                    <a:pt x="366" y="117"/>
                  </a:lnTo>
                  <a:lnTo>
                    <a:pt x="365" y="121"/>
                  </a:lnTo>
                  <a:lnTo>
                    <a:pt x="365" y="124"/>
                  </a:lnTo>
                  <a:lnTo>
                    <a:pt x="366" y="124"/>
                  </a:lnTo>
                  <a:lnTo>
                    <a:pt x="366" y="119"/>
                  </a:lnTo>
                  <a:lnTo>
                    <a:pt x="367" y="119"/>
                  </a:lnTo>
                  <a:lnTo>
                    <a:pt x="367" y="117"/>
                  </a:lnTo>
                  <a:lnTo>
                    <a:pt x="370" y="117"/>
                  </a:lnTo>
                  <a:lnTo>
                    <a:pt x="370" y="121"/>
                  </a:lnTo>
                  <a:lnTo>
                    <a:pt x="371" y="121"/>
                  </a:lnTo>
                  <a:lnTo>
                    <a:pt x="371" y="115"/>
                  </a:lnTo>
                  <a:lnTo>
                    <a:pt x="376" y="113"/>
                  </a:lnTo>
                  <a:lnTo>
                    <a:pt x="376" y="116"/>
                  </a:lnTo>
                  <a:lnTo>
                    <a:pt x="373" y="119"/>
                  </a:lnTo>
                  <a:lnTo>
                    <a:pt x="373" y="121"/>
                  </a:lnTo>
                  <a:lnTo>
                    <a:pt x="375" y="123"/>
                  </a:lnTo>
                  <a:lnTo>
                    <a:pt x="375" y="124"/>
                  </a:lnTo>
                  <a:lnTo>
                    <a:pt x="377" y="127"/>
                  </a:lnTo>
                  <a:lnTo>
                    <a:pt x="372" y="129"/>
                  </a:lnTo>
                  <a:lnTo>
                    <a:pt x="371" y="128"/>
                  </a:lnTo>
                  <a:lnTo>
                    <a:pt x="370" y="128"/>
                  </a:lnTo>
                  <a:lnTo>
                    <a:pt x="371" y="129"/>
                  </a:lnTo>
                  <a:lnTo>
                    <a:pt x="369" y="129"/>
                  </a:lnTo>
                  <a:lnTo>
                    <a:pt x="366" y="130"/>
                  </a:lnTo>
                  <a:lnTo>
                    <a:pt x="370" y="131"/>
                  </a:lnTo>
                  <a:lnTo>
                    <a:pt x="371" y="130"/>
                  </a:lnTo>
                  <a:lnTo>
                    <a:pt x="372" y="131"/>
                  </a:lnTo>
                  <a:lnTo>
                    <a:pt x="369" y="133"/>
                  </a:lnTo>
                  <a:lnTo>
                    <a:pt x="366" y="135"/>
                  </a:lnTo>
                  <a:lnTo>
                    <a:pt x="364" y="137"/>
                  </a:lnTo>
                  <a:lnTo>
                    <a:pt x="365" y="139"/>
                  </a:lnTo>
                  <a:lnTo>
                    <a:pt x="366" y="137"/>
                  </a:lnTo>
                  <a:lnTo>
                    <a:pt x="369" y="137"/>
                  </a:lnTo>
                  <a:lnTo>
                    <a:pt x="369" y="140"/>
                  </a:lnTo>
                  <a:lnTo>
                    <a:pt x="367" y="141"/>
                  </a:lnTo>
                  <a:lnTo>
                    <a:pt x="365" y="141"/>
                  </a:lnTo>
                  <a:lnTo>
                    <a:pt x="364" y="139"/>
                  </a:lnTo>
                  <a:lnTo>
                    <a:pt x="359" y="139"/>
                  </a:lnTo>
                  <a:lnTo>
                    <a:pt x="358" y="140"/>
                  </a:lnTo>
                  <a:lnTo>
                    <a:pt x="357" y="142"/>
                  </a:lnTo>
                  <a:lnTo>
                    <a:pt x="355" y="145"/>
                  </a:lnTo>
                  <a:lnTo>
                    <a:pt x="351" y="145"/>
                  </a:lnTo>
                  <a:lnTo>
                    <a:pt x="345" y="148"/>
                  </a:lnTo>
                  <a:lnTo>
                    <a:pt x="341" y="149"/>
                  </a:lnTo>
                  <a:lnTo>
                    <a:pt x="340" y="153"/>
                  </a:lnTo>
                  <a:lnTo>
                    <a:pt x="336" y="153"/>
                  </a:lnTo>
                  <a:lnTo>
                    <a:pt x="337" y="152"/>
                  </a:lnTo>
                  <a:lnTo>
                    <a:pt x="336" y="152"/>
                  </a:lnTo>
                  <a:lnTo>
                    <a:pt x="331" y="152"/>
                  </a:lnTo>
                  <a:lnTo>
                    <a:pt x="331" y="154"/>
                  </a:lnTo>
                  <a:lnTo>
                    <a:pt x="330" y="155"/>
                  </a:lnTo>
                  <a:lnTo>
                    <a:pt x="322" y="161"/>
                  </a:lnTo>
                  <a:lnTo>
                    <a:pt x="318" y="163"/>
                  </a:lnTo>
                  <a:lnTo>
                    <a:pt x="316" y="163"/>
                  </a:lnTo>
                  <a:lnTo>
                    <a:pt x="317" y="164"/>
                  </a:lnTo>
                  <a:lnTo>
                    <a:pt x="316" y="165"/>
                  </a:lnTo>
                  <a:lnTo>
                    <a:pt x="313" y="166"/>
                  </a:lnTo>
                  <a:lnTo>
                    <a:pt x="312" y="167"/>
                  </a:lnTo>
                  <a:lnTo>
                    <a:pt x="311" y="169"/>
                  </a:lnTo>
                  <a:lnTo>
                    <a:pt x="307" y="170"/>
                  </a:lnTo>
                  <a:lnTo>
                    <a:pt x="308" y="170"/>
                  </a:lnTo>
                  <a:lnTo>
                    <a:pt x="308" y="171"/>
                  </a:lnTo>
                  <a:lnTo>
                    <a:pt x="305" y="171"/>
                  </a:lnTo>
                  <a:lnTo>
                    <a:pt x="305" y="172"/>
                  </a:lnTo>
                  <a:lnTo>
                    <a:pt x="307" y="172"/>
                  </a:lnTo>
                  <a:lnTo>
                    <a:pt x="304" y="177"/>
                  </a:lnTo>
                  <a:lnTo>
                    <a:pt x="307" y="173"/>
                  </a:lnTo>
                  <a:lnTo>
                    <a:pt x="308" y="173"/>
                  </a:lnTo>
                  <a:lnTo>
                    <a:pt x="308" y="177"/>
                  </a:lnTo>
                  <a:lnTo>
                    <a:pt x="310" y="172"/>
                  </a:lnTo>
                  <a:lnTo>
                    <a:pt x="311" y="172"/>
                  </a:lnTo>
                  <a:lnTo>
                    <a:pt x="311" y="173"/>
                  </a:lnTo>
                  <a:lnTo>
                    <a:pt x="312" y="172"/>
                  </a:lnTo>
                  <a:lnTo>
                    <a:pt x="313" y="170"/>
                  </a:lnTo>
                  <a:lnTo>
                    <a:pt x="319" y="165"/>
                  </a:lnTo>
                  <a:lnTo>
                    <a:pt x="318" y="171"/>
                  </a:lnTo>
                  <a:lnTo>
                    <a:pt x="319" y="172"/>
                  </a:lnTo>
                  <a:lnTo>
                    <a:pt x="319" y="176"/>
                  </a:lnTo>
                  <a:lnTo>
                    <a:pt x="320" y="176"/>
                  </a:lnTo>
                  <a:lnTo>
                    <a:pt x="322" y="172"/>
                  </a:lnTo>
                  <a:lnTo>
                    <a:pt x="320" y="165"/>
                  </a:lnTo>
                  <a:lnTo>
                    <a:pt x="322" y="169"/>
                  </a:lnTo>
                  <a:lnTo>
                    <a:pt x="322" y="175"/>
                  </a:lnTo>
                  <a:lnTo>
                    <a:pt x="323" y="175"/>
                  </a:lnTo>
                  <a:lnTo>
                    <a:pt x="323" y="176"/>
                  </a:lnTo>
                  <a:lnTo>
                    <a:pt x="324" y="177"/>
                  </a:lnTo>
                  <a:lnTo>
                    <a:pt x="325" y="178"/>
                  </a:lnTo>
                  <a:lnTo>
                    <a:pt x="324" y="179"/>
                  </a:lnTo>
                  <a:lnTo>
                    <a:pt x="320" y="181"/>
                  </a:lnTo>
                  <a:lnTo>
                    <a:pt x="322" y="182"/>
                  </a:lnTo>
                  <a:lnTo>
                    <a:pt x="322" y="183"/>
                  </a:lnTo>
                  <a:lnTo>
                    <a:pt x="319" y="183"/>
                  </a:lnTo>
                  <a:lnTo>
                    <a:pt x="320" y="184"/>
                  </a:lnTo>
                  <a:lnTo>
                    <a:pt x="322" y="184"/>
                  </a:lnTo>
                  <a:lnTo>
                    <a:pt x="323" y="185"/>
                  </a:lnTo>
                  <a:lnTo>
                    <a:pt x="320" y="187"/>
                  </a:lnTo>
                  <a:lnTo>
                    <a:pt x="319" y="188"/>
                  </a:lnTo>
                  <a:lnTo>
                    <a:pt x="319" y="189"/>
                  </a:lnTo>
                  <a:lnTo>
                    <a:pt x="319" y="190"/>
                  </a:lnTo>
                  <a:lnTo>
                    <a:pt x="320" y="194"/>
                  </a:lnTo>
                  <a:lnTo>
                    <a:pt x="319" y="195"/>
                  </a:lnTo>
                  <a:lnTo>
                    <a:pt x="319" y="196"/>
                  </a:lnTo>
                  <a:lnTo>
                    <a:pt x="320" y="197"/>
                  </a:lnTo>
                  <a:lnTo>
                    <a:pt x="324" y="197"/>
                  </a:lnTo>
                  <a:lnTo>
                    <a:pt x="325" y="199"/>
                  </a:lnTo>
                  <a:lnTo>
                    <a:pt x="324" y="199"/>
                  </a:lnTo>
                  <a:lnTo>
                    <a:pt x="319" y="200"/>
                  </a:lnTo>
                  <a:lnTo>
                    <a:pt x="319" y="201"/>
                  </a:lnTo>
                  <a:lnTo>
                    <a:pt x="318" y="201"/>
                  </a:lnTo>
                  <a:lnTo>
                    <a:pt x="318" y="202"/>
                  </a:lnTo>
                  <a:lnTo>
                    <a:pt x="316" y="202"/>
                  </a:lnTo>
                  <a:lnTo>
                    <a:pt x="313" y="201"/>
                  </a:lnTo>
                  <a:lnTo>
                    <a:pt x="312" y="201"/>
                  </a:lnTo>
                  <a:lnTo>
                    <a:pt x="312" y="202"/>
                  </a:lnTo>
                  <a:lnTo>
                    <a:pt x="314" y="204"/>
                  </a:lnTo>
                  <a:lnTo>
                    <a:pt x="312" y="205"/>
                  </a:lnTo>
                  <a:lnTo>
                    <a:pt x="311" y="205"/>
                  </a:lnTo>
                  <a:lnTo>
                    <a:pt x="310" y="204"/>
                  </a:lnTo>
                  <a:lnTo>
                    <a:pt x="307" y="204"/>
                  </a:lnTo>
                  <a:lnTo>
                    <a:pt x="308" y="205"/>
                  </a:lnTo>
                  <a:lnTo>
                    <a:pt x="305" y="206"/>
                  </a:lnTo>
                  <a:lnTo>
                    <a:pt x="300" y="208"/>
                  </a:lnTo>
                  <a:lnTo>
                    <a:pt x="300" y="210"/>
                  </a:lnTo>
                  <a:lnTo>
                    <a:pt x="305" y="207"/>
                  </a:lnTo>
                  <a:lnTo>
                    <a:pt x="306" y="208"/>
                  </a:lnTo>
                  <a:lnTo>
                    <a:pt x="304" y="216"/>
                  </a:lnTo>
                  <a:lnTo>
                    <a:pt x="305" y="216"/>
                  </a:lnTo>
                  <a:lnTo>
                    <a:pt x="307" y="208"/>
                  </a:lnTo>
                  <a:lnTo>
                    <a:pt x="308" y="208"/>
                  </a:lnTo>
                  <a:lnTo>
                    <a:pt x="308" y="212"/>
                  </a:lnTo>
                  <a:lnTo>
                    <a:pt x="310" y="212"/>
                  </a:lnTo>
                  <a:lnTo>
                    <a:pt x="311" y="210"/>
                  </a:lnTo>
                  <a:lnTo>
                    <a:pt x="312" y="211"/>
                  </a:lnTo>
                  <a:lnTo>
                    <a:pt x="313" y="206"/>
                  </a:lnTo>
                  <a:lnTo>
                    <a:pt x="314" y="206"/>
                  </a:lnTo>
                  <a:lnTo>
                    <a:pt x="314" y="207"/>
                  </a:lnTo>
                  <a:lnTo>
                    <a:pt x="314" y="208"/>
                  </a:lnTo>
                  <a:lnTo>
                    <a:pt x="314" y="210"/>
                  </a:lnTo>
                  <a:lnTo>
                    <a:pt x="316" y="211"/>
                  </a:lnTo>
                  <a:lnTo>
                    <a:pt x="318" y="219"/>
                  </a:lnTo>
                  <a:lnTo>
                    <a:pt x="319" y="219"/>
                  </a:lnTo>
                  <a:lnTo>
                    <a:pt x="320" y="218"/>
                  </a:lnTo>
                  <a:lnTo>
                    <a:pt x="322" y="220"/>
                  </a:lnTo>
                  <a:lnTo>
                    <a:pt x="323" y="222"/>
                  </a:lnTo>
                  <a:lnTo>
                    <a:pt x="323" y="220"/>
                  </a:lnTo>
                  <a:lnTo>
                    <a:pt x="322" y="218"/>
                  </a:lnTo>
                  <a:lnTo>
                    <a:pt x="323" y="218"/>
                  </a:lnTo>
                  <a:lnTo>
                    <a:pt x="324" y="219"/>
                  </a:lnTo>
                  <a:lnTo>
                    <a:pt x="325" y="219"/>
                  </a:lnTo>
                  <a:lnTo>
                    <a:pt x="325" y="217"/>
                  </a:lnTo>
                  <a:lnTo>
                    <a:pt x="326" y="216"/>
                  </a:lnTo>
                  <a:lnTo>
                    <a:pt x="328" y="219"/>
                  </a:lnTo>
                  <a:lnTo>
                    <a:pt x="328" y="220"/>
                  </a:lnTo>
                  <a:lnTo>
                    <a:pt x="329" y="222"/>
                  </a:lnTo>
                  <a:lnTo>
                    <a:pt x="329" y="216"/>
                  </a:lnTo>
                  <a:lnTo>
                    <a:pt x="329" y="214"/>
                  </a:lnTo>
                  <a:lnTo>
                    <a:pt x="330" y="216"/>
                  </a:lnTo>
                  <a:lnTo>
                    <a:pt x="331" y="218"/>
                  </a:lnTo>
                  <a:lnTo>
                    <a:pt x="331" y="213"/>
                  </a:lnTo>
                  <a:lnTo>
                    <a:pt x="333" y="212"/>
                  </a:lnTo>
                  <a:lnTo>
                    <a:pt x="333" y="213"/>
                  </a:lnTo>
                  <a:lnTo>
                    <a:pt x="334" y="214"/>
                  </a:lnTo>
                  <a:lnTo>
                    <a:pt x="335" y="218"/>
                  </a:lnTo>
                  <a:lnTo>
                    <a:pt x="335" y="219"/>
                  </a:lnTo>
                  <a:lnTo>
                    <a:pt x="336" y="223"/>
                  </a:lnTo>
                  <a:lnTo>
                    <a:pt x="335" y="224"/>
                  </a:lnTo>
                  <a:lnTo>
                    <a:pt x="331" y="225"/>
                  </a:lnTo>
                  <a:lnTo>
                    <a:pt x="329" y="228"/>
                  </a:lnTo>
                  <a:lnTo>
                    <a:pt x="326" y="231"/>
                  </a:lnTo>
                  <a:lnTo>
                    <a:pt x="319" y="231"/>
                  </a:lnTo>
                  <a:lnTo>
                    <a:pt x="317" y="232"/>
                  </a:lnTo>
                  <a:lnTo>
                    <a:pt x="310" y="234"/>
                  </a:lnTo>
                  <a:lnTo>
                    <a:pt x="308" y="235"/>
                  </a:lnTo>
                  <a:lnTo>
                    <a:pt x="304" y="235"/>
                  </a:lnTo>
                  <a:lnTo>
                    <a:pt x="301" y="234"/>
                  </a:lnTo>
                  <a:lnTo>
                    <a:pt x="301" y="235"/>
                  </a:lnTo>
                  <a:lnTo>
                    <a:pt x="300" y="235"/>
                  </a:lnTo>
                  <a:lnTo>
                    <a:pt x="296" y="231"/>
                  </a:lnTo>
                  <a:lnTo>
                    <a:pt x="296" y="232"/>
                  </a:lnTo>
                  <a:lnTo>
                    <a:pt x="298" y="234"/>
                  </a:lnTo>
                  <a:lnTo>
                    <a:pt x="299" y="235"/>
                  </a:lnTo>
                  <a:lnTo>
                    <a:pt x="296" y="235"/>
                  </a:lnTo>
                  <a:lnTo>
                    <a:pt x="295" y="234"/>
                  </a:lnTo>
                  <a:lnTo>
                    <a:pt x="293" y="234"/>
                  </a:lnTo>
                  <a:lnTo>
                    <a:pt x="287" y="230"/>
                  </a:lnTo>
                  <a:lnTo>
                    <a:pt x="286" y="230"/>
                  </a:lnTo>
                  <a:lnTo>
                    <a:pt x="292" y="235"/>
                  </a:lnTo>
                  <a:lnTo>
                    <a:pt x="278" y="235"/>
                  </a:lnTo>
                  <a:lnTo>
                    <a:pt x="280" y="236"/>
                  </a:lnTo>
                  <a:lnTo>
                    <a:pt x="289" y="237"/>
                  </a:lnTo>
                  <a:lnTo>
                    <a:pt x="292" y="237"/>
                  </a:lnTo>
                  <a:lnTo>
                    <a:pt x="289" y="238"/>
                  </a:lnTo>
                  <a:lnTo>
                    <a:pt x="289" y="240"/>
                  </a:lnTo>
                  <a:lnTo>
                    <a:pt x="295" y="236"/>
                  </a:lnTo>
                  <a:lnTo>
                    <a:pt x="296" y="236"/>
                  </a:lnTo>
                  <a:lnTo>
                    <a:pt x="298" y="238"/>
                  </a:lnTo>
                  <a:lnTo>
                    <a:pt x="298" y="240"/>
                  </a:lnTo>
                  <a:lnTo>
                    <a:pt x="296" y="242"/>
                  </a:lnTo>
                  <a:lnTo>
                    <a:pt x="298" y="244"/>
                  </a:lnTo>
                  <a:lnTo>
                    <a:pt x="299" y="247"/>
                  </a:lnTo>
                  <a:lnTo>
                    <a:pt x="300" y="248"/>
                  </a:lnTo>
                  <a:lnTo>
                    <a:pt x="298" y="249"/>
                  </a:lnTo>
                  <a:lnTo>
                    <a:pt x="296" y="252"/>
                  </a:lnTo>
                  <a:lnTo>
                    <a:pt x="299" y="252"/>
                  </a:lnTo>
                  <a:lnTo>
                    <a:pt x="299" y="253"/>
                  </a:lnTo>
                  <a:lnTo>
                    <a:pt x="296" y="254"/>
                  </a:lnTo>
                  <a:lnTo>
                    <a:pt x="294" y="256"/>
                  </a:lnTo>
                  <a:lnTo>
                    <a:pt x="294" y="258"/>
                  </a:lnTo>
                  <a:lnTo>
                    <a:pt x="293" y="258"/>
                  </a:lnTo>
                  <a:lnTo>
                    <a:pt x="292" y="256"/>
                  </a:lnTo>
                  <a:lnTo>
                    <a:pt x="292" y="254"/>
                  </a:lnTo>
                  <a:lnTo>
                    <a:pt x="290" y="252"/>
                  </a:lnTo>
                  <a:lnTo>
                    <a:pt x="290" y="253"/>
                  </a:lnTo>
                  <a:lnTo>
                    <a:pt x="290" y="254"/>
                  </a:lnTo>
                  <a:lnTo>
                    <a:pt x="288" y="256"/>
                  </a:lnTo>
                  <a:lnTo>
                    <a:pt x="281" y="250"/>
                  </a:lnTo>
                  <a:lnTo>
                    <a:pt x="278" y="250"/>
                  </a:lnTo>
                  <a:lnTo>
                    <a:pt x="271" y="244"/>
                  </a:lnTo>
                  <a:lnTo>
                    <a:pt x="270" y="246"/>
                  </a:lnTo>
                  <a:lnTo>
                    <a:pt x="275" y="250"/>
                  </a:lnTo>
                  <a:lnTo>
                    <a:pt x="272" y="250"/>
                  </a:lnTo>
                  <a:lnTo>
                    <a:pt x="269" y="248"/>
                  </a:lnTo>
                  <a:lnTo>
                    <a:pt x="268" y="249"/>
                  </a:lnTo>
                  <a:lnTo>
                    <a:pt x="271" y="250"/>
                  </a:lnTo>
                  <a:lnTo>
                    <a:pt x="270" y="252"/>
                  </a:lnTo>
                  <a:lnTo>
                    <a:pt x="274" y="253"/>
                  </a:lnTo>
                  <a:lnTo>
                    <a:pt x="275" y="254"/>
                  </a:lnTo>
                  <a:lnTo>
                    <a:pt x="272" y="255"/>
                  </a:lnTo>
                  <a:lnTo>
                    <a:pt x="276" y="255"/>
                  </a:lnTo>
                  <a:lnTo>
                    <a:pt x="277" y="254"/>
                  </a:lnTo>
                  <a:lnTo>
                    <a:pt x="278" y="254"/>
                  </a:lnTo>
                  <a:lnTo>
                    <a:pt x="278" y="255"/>
                  </a:lnTo>
                  <a:lnTo>
                    <a:pt x="276" y="258"/>
                  </a:lnTo>
                  <a:lnTo>
                    <a:pt x="277" y="258"/>
                  </a:lnTo>
                  <a:lnTo>
                    <a:pt x="281" y="255"/>
                  </a:lnTo>
                  <a:lnTo>
                    <a:pt x="284" y="256"/>
                  </a:lnTo>
                  <a:lnTo>
                    <a:pt x="281" y="258"/>
                  </a:lnTo>
                  <a:lnTo>
                    <a:pt x="278" y="259"/>
                  </a:lnTo>
                  <a:lnTo>
                    <a:pt x="276" y="261"/>
                  </a:lnTo>
                  <a:lnTo>
                    <a:pt x="277" y="262"/>
                  </a:lnTo>
                  <a:lnTo>
                    <a:pt x="278" y="261"/>
                  </a:lnTo>
                  <a:lnTo>
                    <a:pt x="280" y="260"/>
                  </a:lnTo>
                  <a:lnTo>
                    <a:pt x="281" y="260"/>
                  </a:lnTo>
                  <a:lnTo>
                    <a:pt x="283" y="260"/>
                  </a:lnTo>
                  <a:lnTo>
                    <a:pt x="284" y="260"/>
                  </a:lnTo>
                  <a:lnTo>
                    <a:pt x="284" y="262"/>
                  </a:lnTo>
                  <a:lnTo>
                    <a:pt x="287" y="262"/>
                  </a:lnTo>
                  <a:lnTo>
                    <a:pt x="289" y="262"/>
                  </a:lnTo>
                  <a:lnTo>
                    <a:pt x="290" y="262"/>
                  </a:lnTo>
                  <a:lnTo>
                    <a:pt x="289" y="264"/>
                  </a:lnTo>
                  <a:lnTo>
                    <a:pt x="287" y="265"/>
                  </a:lnTo>
                  <a:lnTo>
                    <a:pt x="282" y="270"/>
                  </a:lnTo>
                  <a:lnTo>
                    <a:pt x="277" y="271"/>
                  </a:lnTo>
                  <a:lnTo>
                    <a:pt x="271" y="272"/>
                  </a:lnTo>
                  <a:lnTo>
                    <a:pt x="276" y="273"/>
                  </a:lnTo>
                  <a:lnTo>
                    <a:pt x="276" y="274"/>
                  </a:lnTo>
                  <a:lnTo>
                    <a:pt x="268" y="279"/>
                  </a:lnTo>
                  <a:lnTo>
                    <a:pt x="269" y="279"/>
                  </a:lnTo>
                  <a:lnTo>
                    <a:pt x="277" y="276"/>
                  </a:lnTo>
                  <a:lnTo>
                    <a:pt x="278" y="276"/>
                  </a:lnTo>
                  <a:lnTo>
                    <a:pt x="277" y="277"/>
                  </a:lnTo>
                  <a:lnTo>
                    <a:pt x="277" y="280"/>
                  </a:lnTo>
                  <a:lnTo>
                    <a:pt x="278" y="279"/>
                  </a:lnTo>
                  <a:lnTo>
                    <a:pt x="278" y="274"/>
                  </a:lnTo>
                  <a:lnTo>
                    <a:pt x="281" y="274"/>
                  </a:lnTo>
                  <a:lnTo>
                    <a:pt x="286" y="282"/>
                  </a:lnTo>
                  <a:lnTo>
                    <a:pt x="287" y="280"/>
                  </a:lnTo>
                  <a:lnTo>
                    <a:pt x="286" y="278"/>
                  </a:lnTo>
                  <a:lnTo>
                    <a:pt x="288" y="278"/>
                  </a:lnTo>
                  <a:lnTo>
                    <a:pt x="289" y="279"/>
                  </a:lnTo>
                  <a:lnTo>
                    <a:pt x="289" y="280"/>
                  </a:lnTo>
                  <a:lnTo>
                    <a:pt x="287" y="283"/>
                  </a:lnTo>
                  <a:lnTo>
                    <a:pt x="287" y="284"/>
                  </a:lnTo>
                  <a:lnTo>
                    <a:pt x="284" y="284"/>
                  </a:lnTo>
                  <a:lnTo>
                    <a:pt x="282" y="285"/>
                  </a:lnTo>
                  <a:lnTo>
                    <a:pt x="281" y="288"/>
                  </a:lnTo>
                  <a:lnTo>
                    <a:pt x="282" y="290"/>
                  </a:lnTo>
                  <a:lnTo>
                    <a:pt x="278" y="291"/>
                  </a:lnTo>
                  <a:lnTo>
                    <a:pt x="278" y="295"/>
                  </a:lnTo>
                  <a:lnTo>
                    <a:pt x="276" y="296"/>
                  </a:lnTo>
                  <a:lnTo>
                    <a:pt x="274" y="296"/>
                  </a:lnTo>
                  <a:lnTo>
                    <a:pt x="272" y="295"/>
                  </a:lnTo>
                  <a:lnTo>
                    <a:pt x="272" y="296"/>
                  </a:lnTo>
                  <a:lnTo>
                    <a:pt x="274" y="297"/>
                  </a:lnTo>
                  <a:lnTo>
                    <a:pt x="272" y="298"/>
                  </a:lnTo>
                  <a:lnTo>
                    <a:pt x="269" y="300"/>
                  </a:lnTo>
                  <a:lnTo>
                    <a:pt x="269" y="298"/>
                  </a:lnTo>
                  <a:lnTo>
                    <a:pt x="268" y="300"/>
                  </a:lnTo>
                  <a:lnTo>
                    <a:pt x="266" y="300"/>
                  </a:lnTo>
                  <a:lnTo>
                    <a:pt x="264" y="300"/>
                  </a:lnTo>
                  <a:lnTo>
                    <a:pt x="263" y="301"/>
                  </a:lnTo>
                  <a:lnTo>
                    <a:pt x="261" y="301"/>
                  </a:lnTo>
                  <a:lnTo>
                    <a:pt x="260" y="302"/>
                  </a:lnTo>
                  <a:lnTo>
                    <a:pt x="264" y="302"/>
                  </a:lnTo>
                  <a:lnTo>
                    <a:pt x="264" y="303"/>
                  </a:lnTo>
                  <a:lnTo>
                    <a:pt x="263" y="304"/>
                  </a:lnTo>
                  <a:lnTo>
                    <a:pt x="261" y="308"/>
                  </a:lnTo>
                  <a:lnTo>
                    <a:pt x="263" y="308"/>
                  </a:lnTo>
                  <a:lnTo>
                    <a:pt x="264" y="308"/>
                  </a:lnTo>
                  <a:lnTo>
                    <a:pt x="266" y="306"/>
                  </a:lnTo>
                  <a:lnTo>
                    <a:pt x="266" y="309"/>
                  </a:lnTo>
                  <a:lnTo>
                    <a:pt x="268" y="303"/>
                  </a:lnTo>
                  <a:lnTo>
                    <a:pt x="269" y="302"/>
                  </a:lnTo>
                  <a:lnTo>
                    <a:pt x="269" y="304"/>
                  </a:lnTo>
                  <a:lnTo>
                    <a:pt x="270" y="302"/>
                  </a:lnTo>
                  <a:lnTo>
                    <a:pt x="271" y="302"/>
                  </a:lnTo>
                  <a:lnTo>
                    <a:pt x="274" y="301"/>
                  </a:lnTo>
                  <a:lnTo>
                    <a:pt x="274" y="302"/>
                  </a:lnTo>
                  <a:lnTo>
                    <a:pt x="274" y="303"/>
                  </a:lnTo>
                  <a:lnTo>
                    <a:pt x="272" y="304"/>
                  </a:lnTo>
                  <a:lnTo>
                    <a:pt x="274" y="307"/>
                  </a:lnTo>
                  <a:lnTo>
                    <a:pt x="274" y="310"/>
                  </a:lnTo>
                  <a:lnTo>
                    <a:pt x="275" y="312"/>
                  </a:lnTo>
                  <a:lnTo>
                    <a:pt x="276" y="313"/>
                  </a:lnTo>
                  <a:lnTo>
                    <a:pt x="276" y="309"/>
                  </a:lnTo>
                  <a:lnTo>
                    <a:pt x="276" y="306"/>
                  </a:lnTo>
                  <a:lnTo>
                    <a:pt x="277" y="306"/>
                  </a:lnTo>
                  <a:lnTo>
                    <a:pt x="278" y="307"/>
                  </a:lnTo>
                  <a:lnTo>
                    <a:pt x="278" y="312"/>
                  </a:lnTo>
                  <a:lnTo>
                    <a:pt x="280" y="312"/>
                  </a:lnTo>
                  <a:lnTo>
                    <a:pt x="282" y="308"/>
                  </a:lnTo>
                  <a:lnTo>
                    <a:pt x="283" y="306"/>
                  </a:lnTo>
                  <a:lnTo>
                    <a:pt x="284" y="304"/>
                  </a:lnTo>
                  <a:lnTo>
                    <a:pt x="284" y="306"/>
                  </a:lnTo>
                  <a:lnTo>
                    <a:pt x="287" y="306"/>
                  </a:lnTo>
                  <a:lnTo>
                    <a:pt x="288" y="306"/>
                  </a:lnTo>
                  <a:lnTo>
                    <a:pt x="289" y="304"/>
                  </a:lnTo>
                  <a:lnTo>
                    <a:pt x="288" y="303"/>
                  </a:lnTo>
                  <a:lnTo>
                    <a:pt x="288" y="300"/>
                  </a:lnTo>
                  <a:lnTo>
                    <a:pt x="289" y="298"/>
                  </a:lnTo>
                  <a:lnTo>
                    <a:pt x="292" y="302"/>
                  </a:lnTo>
                  <a:lnTo>
                    <a:pt x="293" y="303"/>
                  </a:lnTo>
                  <a:lnTo>
                    <a:pt x="295" y="303"/>
                  </a:lnTo>
                  <a:lnTo>
                    <a:pt x="295" y="301"/>
                  </a:lnTo>
                  <a:lnTo>
                    <a:pt x="294" y="300"/>
                  </a:lnTo>
                  <a:lnTo>
                    <a:pt x="294" y="295"/>
                  </a:lnTo>
                  <a:lnTo>
                    <a:pt x="295" y="294"/>
                  </a:lnTo>
                  <a:lnTo>
                    <a:pt x="298" y="296"/>
                  </a:lnTo>
                  <a:lnTo>
                    <a:pt x="298" y="297"/>
                  </a:lnTo>
                  <a:lnTo>
                    <a:pt x="296" y="298"/>
                  </a:lnTo>
                  <a:lnTo>
                    <a:pt x="296" y="300"/>
                  </a:lnTo>
                  <a:lnTo>
                    <a:pt x="298" y="302"/>
                  </a:lnTo>
                  <a:lnTo>
                    <a:pt x="299" y="300"/>
                  </a:lnTo>
                  <a:lnTo>
                    <a:pt x="299" y="296"/>
                  </a:lnTo>
                  <a:lnTo>
                    <a:pt x="299" y="294"/>
                  </a:lnTo>
                  <a:lnTo>
                    <a:pt x="300" y="292"/>
                  </a:lnTo>
                  <a:lnTo>
                    <a:pt x="300" y="291"/>
                  </a:lnTo>
                  <a:lnTo>
                    <a:pt x="299" y="290"/>
                  </a:lnTo>
                  <a:lnTo>
                    <a:pt x="299" y="289"/>
                  </a:lnTo>
                  <a:lnTo>
                    <a:pt x="300" y="290"/>
                  </a:lnTo>
                  <a:lnTo>
                    <a:pt x="302" y="289"/>
                  </a:lnTo>
                  <a:lnTo>
                    <a:pt x="302" y="291"/>
                  </a:lnTo>
                  <a:lnTo>
                    <a:pt x="301" y="294"/>
                  </a:lnTo>
                  <a:lnTo>
                    <a:pt x="301" y="296"/>
                  </a:lnTo>
                  <a:lnTo>
                    <a:pt x="301" y="297"/>
                  </a:lnTo>
                  <a:lnTo>
                    <a:pt x="301" y="298"/>
                  </a:lnTo>
                  <a:lnTo>
                    <a:pt x="301" y="300"/>
                  </a:lnTo>
                  <a:lnTo>
                    <a:pt x="300" y="301"/>
                  </a:lnTo>
                  <a:lnTo>
                    <a:pt x="299" y="302"/>
                  </a:lnTo>
                  <a:lnTo>
                    <a:pt x="296" y="304"/>
                  </a:lnTo>
                  <a:lnTo>
                    <a:pt x="293" y="307"/>
                  </a:lnTo>
                  <a:lnTo>
                    <a:pt x="290" y="309"/>
                  </a:lnTo>
                  <a:lnTo>
                    <a:pt x="289" y="310"/>
                  </a:lnTo>
                  <a:lnTo>
                    <a:pt x="288" y="310"/>
                  </a:lnTo>
                  <a:lnTo>
                    <a:pt x="287" y="308"/>
                  </a:lnTo>
                  <a:lnTo>
                    <a:pt x="287" y="310"/>
                  </a:lnTo>
                  <a:lnTo>
                    <a:pt x="283" y="314"/>
                  </a:lnTo>
                  <a:lnTo>
                    <a:pt x="281" y="315"/>
                  </a:lnTo>
                  <a:lnTo>
                    <a:pt x="278" y="315"/>
                  </a:lnTo>
                  <a:lnTo>
                    <a:pt x="276" y="315"/>
                  </a:lnTo>
                  <a:lnTo>
                    <a:pt x="275" y="314"/>
                  </a:lnTo>
                  <a:lnTo>
                    <a:pt x="272" y="314"/>
                  </a:lnTo>
                  <a:lnTo>
                    <a:pt x="271" y="314"/>
                  </a:lnTo>
                  <a:lnTo>
                    <a:pt x="269" y="314"/>
                  </a:lnTo>
                  <a:lnTo>
                    <a:pt x="265" y="313"/>
                  </a:lnTo>
                  <a:lnTo>
                    <a:pt x="263" y="310"/>
                  </a:lnTo>
                  <a:lnTo>
                    <a:pt x="260" y="308"/>
                  </a:lnTo>
                  <a:lnTo>
                    <a:pt x="259" y="307"/>
                  </a:lnTo>
                  <a:lnTo>
                    <a:pt x="255" y="304"/>
                  </a:lnTo>
                  <a:lnTo>
                    <a:pt x="254" y="301"/>
                  </a:lnTo>
                  <a:lnTo>
                    <a:pt x="257" y="300"/>
                  </a:lnTo>
                  <a:lnTo>
                    <a:pt x="255" y="298"/>
                  </a:lnTo>
                  <a:lnTo>
                    <a:pt x="253" y="301"/>
                  </a:lnTo>
                  <a:lnTo>
                    <a:pt x="252" y="300"/>
                  </a:lnTo>
                  <a:lnTo>
                    <a:pt x="257" y="294"/>
                  </a:lnTo>
                  <a:lnTo>
                    <a:pt x="255" y="294"/>
                  </a:lnTo>
                  <a:lnTo>
                    <a:pt x="253" y="294"/>
                  </a:lnTo>
                  <a:lnTo>
                    <a:pt x="251" y="294"/>
                  </a:lnTo>
                  <a:lnTo>
                    <a:pt x="252" y="296"/>
                  </a:lnTo>
                  <a:lnTo>
                    <a:pt x="251" y="297"/>
                  </a:lnTo>
                  <a:lnTo>
                    <a:pt x="241" y="288"/>
                  </a:lnTo>
                  <a:lnTo>
                    <a:pt x="240" y="288"/>
                  </a:lnTo>
                  <a:lnTo>
                    <a:pt x="242" y="291"/>
                  </a:lnTo>
                  <a:lnTo>
                    <a:pt x="241" y="291"/>
                  </a:lnTo>
                  <a:lnTo>
                    <a:pt x="234" y="290"/>
                  </a:lnTo>
                  <a:lnTo>
                    <a:pt x="234" y="291"/>
                  </a:lnTo>
                  <a:lnTo>
                    <a:pt x="240" y="292"/>
                  </a:lnTo>
                  <a:lnTo>
                    <a:pt x="239" y="294"/>
                  </a:lnTo>
                  <a:lnTo>
                    <a:pt x="241" y="295"/>
                  </a:lnTo>
                  <a:lnTo>
                    <a:pt x="240" y="297"/>
                  </a:lnTo>
                  <a:lnTo>
                    <a:pt x="242" y="296"/>
                  </a:lnTo>
                  <a:lnTo>
                    <a:pt x="243" y="296"/>
                  </a:lnTo>
                  <a:lnTo>
                    <a:pt x="247" y="297"/>
                  </a:lnTo>
                  <a:lnTo>
                    <a:pt x="247" y="298"/>
                  </a:lnTo>
                  <a:lnTo>
                    <a:pt x="241" y="302"/>
                  </a:lnTo>
                  <a:lnTo>
                    <a:pt x="242" y="302"/>
                  </a:lnTo>
                  <a:lnTo>
                    <a:pt x="247" y="301"/>
                  </a:lnTo>
                  <a:lnTo>
                    <a:pt x="247" y="302"/>
                  </a:lnTo>
                  <a:lnTo>
                    <a:pt x="247" y="304"/>
                  </a:lnTo>
                  <a:lnTo>
                    <a:pt x="249" y="303"/>
                  </a:lnTo>
                  <a:lnTo>
                    <a:pt x="252" y="303"/>
                  </a:lnTo>
                  <a:lnTo>
                    <a:pt x="252" y="306"/>
                  </a:lnTo>
                  <a:lnTo>
                    <a:pt x="253" y="306"/>
                  </a:lnTo>
                  <a:lnTo>
                    <a:pt x="247" y="312"/>
                  </a:lnTo>
                  <a:lnTo>
                    <a:pt x="253" y="308"/>
                  </a:lnTo>
                  <a:lnTo>
                    <a:pt x="255" y="307"/>
                  </a:lnTo>
                  <a:lnTo>
                    <a:pt x="257" y="308"/>
                  </a:lnTo>
                  <a:lnTo>
                    <a:pt x="252" y="310"/>
                  </a:lnTo>
                  <a:lnTo>
                    <a:pt x="249" y="313"/>
                  </a:lnTo>
                  <a:lnTo>
                    <a:pt x="247" y="313"/>
                  </a:lnTo>
                  <a:lnTo>
                    <a:pt x="251" y="317"/>
                  </a:lnTo>
                  <a:lnTo>
                    <a:pt x="247" y="319"/>
                  </a:lnTo>
                  <a:lnTo>
                    <a:pt x="247" y="320"/>
                  </a:lnTo>
                  <a:lnTo>
                    <a:pt x="249" y="323"/>
                  </a:lnTo>
                  <a:lnTo>
                    <a:pt x="247" y="326"/>
                  </a:lnTo>
                  <a:lnTo>
                    <a:pt x="251" y="329"/>
                  </a:lnTo>
                  <a:lnTo>
                    <a:pt x="253" y="326"/>
                  </a:lnTo>
                  <a:lnTo>
                    <a:pt x="253" y="325"/>
                  </a:lnTo>
                  <a:lnTo>
                    <a:pt x="254" y="324"/>
                  </a:lnTo>
                  <a:lnTo>
                    <a:pt x="254" y="320"/>
                  </a:lnTo>
                  <a:lnTo>
                    <a:pt x="255" y="319"/>
                  </a:lnTo>
                  <a:lnTo>
                    <a:pt x="257" y="319"/>
                  </a:lnTo>
                  <a:lnTo>
                    <a:pt x="257" y="321"/>
                  </a:lnTo>
                  <a:lnTo>
                    <a:pt x="257" y="324"/>
                  </a:lnTo>
                  <a:lnTo>
                    <a:pt x="257" y="326"/>
                  </a:lnTo>
                  <a:lnTo>
                    <a:pt x="259" y="327"/>
                  </a:lnTo>
                  <a:lnTo>
                    <a:pt x="259" y="330"/>
                  </a:lnTo>
                  <a:lnTo>
                    <a:pt x="257" y="330"/>
                  </a:lnTo>
                  <a:lnTo>
                    <a:pt x="257" y="327"/>
                  </a:lnTo>
                  <a:lnTo>
                    <a:pt x="254" y="330"/>
                  </a:lnTo>
                  <a:lnTo>
                    <a:pt x="253" y="331"/>
                  </a:lnTo>
                  <a:lnTo>
                    <a:pt x="252" y="331"/>
                  </a:lnTo>
                  <a:lnTo>
                    <a:pt x="247" y="330"/>
                  </a:lnTo>
                  <a:lnTo>
                    <a:pt x="247" y="331"/>
                  </a:lnTo>
                  <a:lnTo>
                    <a:pt x="242" y="335"/>
                  </a:lnTo>
                  <a:lnTo>
                    <a:pt x="243" y="335"/>
                  </a:lnTo>
                  <a:lnTo>
                    <a:pt x="247" y="335"/>
                  </a:lnTo>
                  <a:lnTo>
                    <a:pt x="251" y="333"/>
                  </a:lnTo>
                  <a:lnTo>
                    <a:pt x="251" y="336"/>
                  </a:lnTo>
                  <a:lnTo>
                    <a:pt x="247" y="337"/>
                  </a:lnTo>
                  <a:lnTo>
                    <a:pt x="247" y="338"/>
                  </a:lnTo>
                  <a:lnTo>
                    <a:pt x="251" y="338"/>
                  </a:lnTo>
                  <a:lnTo>
                    <a:pt x="252" y="339"/>
                  </a:lnTo>
                  <a:lnTo>
                    <a:pt x="253" y="339"/>
                  </a:lnTo>
                  <a:lnTo>
                    <a:pt x="253" y="337"/>
                  </a:lnTo>
                  <a:lnTo>
                    <a:pt x="255" y="337"/>
                  </a:lnTo>
                  <a:lnTo>
                    <a:pt x="253" y="343"/>
                  </a:lnTo>
                  <a:lnTo>
                    <a:pt x="254" y="343"/>
                  </a:lnTo>
                  <a:lnTo>
                    <a:pt x="257" y="341"/>
                  </a:lnTo>
                  <a:lnTo>
                    <a:pt x="258" y="342"/>
                  </a:lnTo>
                  <a:lnTo>
                    <a:pt x="259" y="342"/>
                  </a:lnTo>
                  <a:lnTo>
                    <a:pt x="259" y="339"/>
                  </a:lnTo>
                  <a:lnTo>
                    <a:pt x="260" y="339"/>
                  </a:lnTo>
                  <a:lnTo>
                    <a:pt x="260" y="342"/>
                  </a:lnTo>
                  <a:lnTo>
                    <a:pt x="261" y="342"/>
                  </a:lnTo>
                  <a:lnTo>
                    <a:pt x="263" y="338"/>
                  </a:lnTo>
                  <a:lnTo>
                    <a:pt x="264" y="342"/>
                  </a:lnTo>
                  <a:lnTo>
                    <a:pt x="265" y="342"/>
                  </a:lnTo>
                  <a:lnTo>
                    <a:pt x="266" y="344"/>
                  </a:lnTo>
                  <a:lnTo>
                    <a:pt x="266" y="348"/>
                  </a:lnTo>
                  <a:lnTo>
                    <a:pt x="261" y="348"/>
                  </a:lnTo>
                  <a:lnTo>
                    <a:pt x="261" y="349"/>
                  </a:lnTo>
                  <a:lnTo>
                    <a:pt x="264" y="349"/>
                  </a:lnTo>
                  <a:lnTo>
                    <a:pt x="264" y="351"/>
                  </a:lnTo>
                  <a:lnTo>
                    <a:pt x="257" y="351"/>
                  </a:lnTo>
                  <a:lnTo>
                    <a:pt x="258" y="353"/>
                  </a:lnTo>
                  <a:lnTo>
                    <a:pt x="257" y="354"/>
                  </a:lnTo>
                  <a:lnTo>
                    <a:pt x="255" y="354"/>
                  </a:lnTo>
                  <a:lnTo>
                    <a:pt x="254" y="353"/>
                  </a:lnTo>
                  <a:lnTo>
                    <a:pt x="253" y="359"/>
                  </a:lnTo>
                  <a:lnTo>
                    <a:pt x="247" y="363"/>
                  </a:lnTo>
                  <a:lnTo>
                    <a:pt x="247" y="361"/>
                  </a:lnTo>
                  <a:lnTo>
                    <a:pt x="243" y="361"/>
                  </a:lnTo>
                  <a:lnTo>
                    <a:pt x="245" y="363"/>
                  </a:lnTo>
                  <a:lnTo>
                    <a:pt x="242" y="362"/>
                  </a:lnTo>
                  <a:lnTo>
                    <a:pt x="240" y="361"/>
                  </a:lnTo>
                  <a:lnTo>
                    <a:pt x="237" y="361"/>
                  </a:lnTo>
                  <a:lnTo>
                    <a:pt x="235" y="362"/>
                  </a:lnTo>
                  <a:lnTo>
                    <a:pt x="240" y="363"/>
                  </a:lnTo>
                  <a:lnTo>
                    <a:pt x="240" y="366"/>
                  </a:lnTo>
                  <a:lnTo>
                    <a:pt x="239" y="368"/>
                  </a:lnTo>
                  <a:lnTo>
                    <a:pt x="240" y="368"/>
                  </a:lnTo>
                  <a:lnTo>
                    <a:pt x="241" y="366"/>
                  </a:lnTo>
                  <a:lnTo>
                    <a:pt x="242" y="365"/>
                  </a:lnTo>
                  <a:lnTo>
                    <a:pt x="243" y="365"/>
                  </a:lnTo>
                  <a:lnTo>
                    <a:pt x="241" y="367"/>
                  </a:lnTo>
                  <a:lnTo>
                    <a:pt x="241" y="368"/>
                  </a:lnTo>
                  <a:lnTo>
                    <a:pt x="242" y="368"/>
                  </a:lnTo>
                  <a:lnTo>
                    <a:pt x="243" y="367"/>
                  </a:lnTo>
                  <a:lnTo>
                    <a:pt x="247" y="368"/>
                  </a:lnTo>
                  <a:lnTo>
                    <a:pt x="243" y="369"/>
                  </a:lnTo>
                  <a:lnTo>
                    <a:pt x="242" y="372"/>
                  </a:lnTo>
                  <a:lnTo>
                    <a:pt x="243" y="373"/>
                  </a:lnTo>
                  <a:lnTo>
                    <a:pt x="243" y="375"/>
                  </a:lnTo>
                  <a:lnTo>
                    <a:pt x="243" y="378"/>
                  </a:lnTo>
                  <a:lnTo>
                    <a:pt x="241" y="381"/>
                  </a:lnTo>
                  <a:lnTo>
                    <a:pt x="241" y="383"/>
                  </a:lnTo>
                  <a:lnTo>
                    <a:pt x="240" y="383"/>
                  </a:lnTo>
                  <a:lnTo>
                    <a:pt x="237" y="381"/>
                  </a:lnTo>
                  <a:lnTo>
                    <a:pt x="236" y="384"/>
                  </a:lnTo>
                  <a:lnTo>
                    <a:pt x="233" y="387"/>
                  </a:lnTo>
                  <a:lnTo>
                    <a:pt x="229" y="385"/>
                  </a:lnTo>
                  <a:lnTo>
                    <a:pt x="231" y="389"/>
                  </a:lnTo>
                  <a:lnTo>
                    <a:pt x="225" y="396"/>
                  </a:lnTo>
                  <a:lnTo>
                    <a:pt x="225" y="397"/>
                  </a:lnTo>
                  <a:lnTo>
                    <a:pt x="223" y="398"/>
                  </a:lnTo>
                  <a:lnTo>
                    <a:pt x="218" y="403"/>
                  </a:lnTo>
                  <a:lnTo>
                    <a:pt x="216" y="404"/>
                  </a:lnTo>
                  <a:lnTo>
                    <a:pt x="212" y="405"/>
                  </a:lnTo>
                  <a:lnTo>
                    <a:pt x="213" y="407"/>
                  </a:lnTo>
                  <a:lnTo>
                    <a:pt x="212" y="408"/>
                  </a:lnTo>
                  <a:lnTo>
                    <a:pt x="213" y="409"/>
                  </a:lnTo>
                  <a:lnTo>
                    <a:pt x="207" y="411"/>
                  </a:lnTo>
                  <a:lnTo>
                    <a:pt x="207" y="413"/>
                  </a:lnTo>
                  <a:lnTo>
                    <a:pt x="216" y="410"/>
                  </a:lnTo>
                  <a:lnTo>
                    <a:pt x="217" y="410"/>
                  </a:lnTo>
                  <a:lnTo>
                    <a:pt x="207" y="417"/>
                  </a:lnTo>
                  <a:lnTo>
                    <a:pt x="206" y="416"/>
                  </a:lnTo>
                  <a:lnTo>
                    <a:pt x="206" y="420"/>
                  </a:lnTo>
                  <a:lnTo>
                    <a:pt x="200" y="421"/>
                  </a:lnTo>
                  <a:lnTo>
                    <a:pt x="204" y="422"/>
                  </a:lnTo>
                  <a:lnTo>
                    <a:pt x="202" y="425"/>
                  </a:lnTo>
                  <a:lnTo>
                    <a:pt x="198" y="425"/>
                  </a:lnTo>
                  <a:lnTo>
                    <a:pt x="193" y="428"/>
                  </a:lnTo>
                  <a:lnTo>
                    <a:pt x="190" y="430"/>
                  </a:lnTo>
                  <a:lnTo>
                    <a:pt x="194" y="431"/>
                  </a:lnTo>
                  <a:lnTo>
                    <a:pt x="188" y="437"/>
                  </a:lnTo>
                  <a:lnTo>
                    <a:pt x="188" y="438"/>
                  </a:lnTo>
                  <a:lnTo>
                    <a:pt x="194" y="433"/>
                  </a:lnTo>
                  <a:lnTo>
                    <a:pt x="195" y="434"/>
                  </a:lnTo>
                  <a:lnTo>
                    <a:pt x="196" y="434"/>
                  </a:lnTo>
                  <a:lnTo>
                    <a:pt x="198" y="433"/>
                  </a:lnTo>
                  <a:lnTo>
                    <a:pt x="198" y="437"/>
                  </a:lnTo>
                  <a:lnTo>
                    <a:pt x="199" y="437"/>
                  </a:lnTo>
                  <a:lnTo>
                    <a:pt x="199" y="433"/>
                  </a:lnTo>
                  <a:lnTo>
                    <a:pt x="199" y="432"/>
                  </a:lnTo>
                  <a:lnTo>
                    <a:pt x="200" y="431"/>
                  </a:lnTo>
                  <a:lnTo>
                    <a:pt x="201" y="430"/>
                  </a:lnTo>
                  <a:lnTo>
                    <a:pt x="201" y="427"/>
                  </a:lnTo>
                  <a:lnTo>
                    <a:pt x="202" y="428"/>
                  </a:lnTo>
                  <a:lnTo>
                    <a:pt x="204" y="431"/>
                  </a:lnTo>
                  <a:lnTo>
                    <a:pt x="205" y="425"/>
                  </a:lnTo>
                  <a:lnTo>
                    <a:pt x="206" y="425"/>
                  </a:lnTo>
                  <a:lnTo>
                    <a:pt x="206" y="437"/>
                  </a:lnTo>
                  <a:lnTo>
                    <a:pt x="207" y="438"/>
                  </a:lnTo>
                  <a:lnTo>
                    <a:pt x="209" y="434"/>
                  </a:lnTo>
                  <a:lnTo>
                    <a:pt x="211" y="434"/>
                  </a:lnTo>
                  <a:lnTo>
                    <a:pt x="211" y="438"/>
                  </a:lnTo>
                  <a:lnTo>
                    <a:pt x="212" y="437"/>
                  </a:lnTo>
                  <a:lnTo>
                    <a:pt x="215" y="437"/>
                  </a:lnTo>
                  <a:lnTo>
                    <a:pt x="215" y="433"/>
                  </a:lnTo>
                  <a:lnTo>
                    <a:pt x="215" y="431"/>
                  </a:lnTo>
                  <a:lnTo>
                    <a:pt x="215" y="427"/>
                  </a:lnTo>
                  <a:lnTo>
                    <a:pt x="216" y="428"/>
                  </a:lnTo>
                  <a:lnTo>
                    <a:pt x="217" y="428"/>
                  </a:lnTo>
                  <a:lnTo>
                    <a:pt x="218" y="422"/>
                  </a:lnTo>
                  <a:lnTo>
                    <a:pt x="221" y="422"/>
                  </a:lnTo>
                  <a:lnTo>
                    <a:pt x="222" y="422"/>
                  </a:lnTo>
                  <a:lnTo>
                    <a:pt x="223" y="425"/>
                  </a:lnTo>
                  <a:lnTo>
                    <a:pt x="224" y="426"/>
                  </a:lnTo>
                  <a:lnTo>
                    <a:pt x="225" y="426"/>
                  </a:lnTo>
                  <a:lnTo>
                    <a:pt x="227" y="422"/>
                  </a:lnTo>
                  <a:lnTo>
                    <a:pt x="227" y="420"/>
                  </a:lnTo>
                  <a:lnTo>
                    <a:pt x="228" y="417"/>
                  </a:lnTo>
                  <a:lnTo>
                    <a:pt x="228" y="420"/>
                  </a:lnTo>
                  <a:lnTo>
                    <a:pt x="229" y="421"/>
                  </a:lnTo>
                  <a:lnTo>
                    <a:pt x="230" y="420"/>
                  </a:lnTo>
                  <a:lnTo>
                    <a:pt x="231" y="420"/>
                  </a:lnTo>
                  <a:lnTo>
                    <a:pt x="231" y="421"/>
                  </a:lnTo>
                  <a:lnTo>
                    <a:pt x="231" y="424"/>
                  </a:lnTo>
                  <a:lnTo>
                    <a:pt x="227" y="428"/>
                  </a:lnTo>
                  <a:lnTo>
                    <a:pt x="222" y="430"/>
                  </a:lnTo>
                  <a:lnTo>
                    <a:pt x="225" y="431"/>
                  </a:lnTo>
                  <a:lnTo>
                    <a:pt x="222" y="436"/>
                  </a:lnTo>
                  <a:lnTo>
                    <a:pt x="219" y="437"/>
                  </a:lnTo>
                  <a:lnTo>
                    <a:pt x="217" y="442"/>
                  </a:lnTo>
                  <a:lnTo>
                    <a:pt x="211" y="446"/>
                  </a:lnTo>
                  <a:lnTo>
                    <a:pt x="211" y="448"/>
                  </a:lnTo>
                  <a:lnTo>
                    <a:pt x="205" y="451"/>
                  </a:lnTo>
                  <a:lnTo>
                    <a:pt x="206" y="452"/>
                  </a:lnTo>
                  <a:lnTo>
                    <a:pt x="210" y="450"/>
                  </a:lnTo>
                  <a:lnTo>
                    <a:pt x="210" y="452"/>
                  </a:lnTo>
                  <a:lnTo>
                    <a:pt x="205" y="457"/>
                  </a:lnTo>
                  <a:lnTo>
                    <a:pt x="211" y="452"/>
                  </a:lnTo>
                  <a:lnTo>
                    <a:pt x="212" y="452"/>
                  </a:lnTo>
                  <a:lnTo>
                    <a:pt x="213" y="457"/>
                  </a:lnTo>
                  <a:lnTo>
                    <a:pt x="212" y="451"/>
                  </a:lnTo>
                  <a:lnTo>
                    <a:pt x="213" y="449"/>
                  </a:lnTo>
                  <a:lnTo>
                    <a:pt x="217" y="452"/>
                  </a:lnTo>
                  <a:lnTo>
                    <a:pt x="216" y="448"/>
                  </a:lnTo>
                  <a:lnTo>
                    <a:pt x="217" y="446"/>
                  </a:lnTo>
                  <a:lnTo>
                    <a:pt x="218" y="450"/>
                  </a:lnTo>
                  <a:lnTo>
                    <a:pt x="219" y="452"/>
                  </a:lnTo>
                  <a:lnTo>
                    <a:pt x="221" y="444"/>
                  </a:lnTo>
                  <a:lnTo>
                    <a:pt x="222" y="452"/>
                  </a:lnTo>
                  <a:lnTo>
                    <a:pt x="222" y="455"/>
                  </a:lnTo>
                  <a:lnTo>
                    <a:pt x="224" y="455"/>
                  </a:lnTo>
                  <a:lnTo>
                    <a:pt x="224" y="452"/>
                  </a:lnTo>
                  <a:lnTo>
                    <a:pt x="223" y="445"/>
                  </a:lnTo>
                  <a:lnTo>
                    <a:pt x="224" y="445"/>
                  </a:lnTo>
                  <a:lnTo>
                    <a:pt x="225" y="448"/>
                  </a:lnTo>
                  <a:lnTo>
                    <a:pt x="227" y="446"/>
                  </a:lnTo>
                  <a:lnTo>
                    <a:pt x="224" y="437"/>
                  </a:lnTo>
                  <a:lnTo>
                    <a:pt x="225" y="434"/>
                  </a:lnTo>
                  <a:lnTo>
                    <a:pt x="227" y="439"/>
                  </a:lnTo>
                  <a:lnTo>
                    <a:pt x="228" y="444"/>
                  </a:lnTo>
                  <a:lnTo>
                    <a:pt x="229" y="444"/>
                  </a:lnTo>
                  <a:lnTo>
                    <a:pt x="228" y="434"/>
                  </a:lnTo>
                  <a:lnTo>
                    <a:pt x="228" y="433"/>
                  </a:lnTo>
                  <a:lnTo>
                    <a:pt x="229" y="438"/>
                  </a:lnTo>
                  <a:lnTo>
                    <a:pt x="229" y="440"/>
                  </a:lnTo>
                  <a:lnTo>
                    <a:pt x="230" y="440"/>
                  </a:lnTo>
                  <a:lnTo>
                    <a:pt x="229" y="430"/>
                  </a:lnTo>
                  <a:lnTo>
                    <a:pt x="230" y="428"/>
                  </a:lnTo>
                  <a:lnTo>
                    <a:pt x="231" y="438"/>
                  </a:lnTo>
                  <a:lnTo>
                    <a:pt x="231" y="440"/>
                  </a:lnTo>
                  <a:lnTo>
                    <a:pt x="233" y="442"/>
                  </a:lnTo>
                  <a:lnTo>
                    <a:pt x="235" y="443"/>
                  </a:lnTo>
                  <a:lnTo>
                    <a:pt x="236" y="442"/>
                  </a:lnTo>
                  <a:lnTo>
                    <a:pt x="237" y="434"/>
                  </a:lnTo>
                  <a:lnTo>
                    <a:pt x="237" y="432"/>
                  </a:lnTo>
                  <a:lnTo>
                    <a:pt x="239" y="432"/>
                  </a:lnTo>
                  <a:lnTo>
                    <a:pt x="242" y="432"/>
                  </a:lnTo>
                  <a:lnTo>
                    <a:pt x="242" y="430"/>
                  </a:lnTo>
                  <a:lnTo>
                    <a:pt x="241" y="426"/>
                  </a:lnTo>
                  <a:lnTo>
                    <a:pt x="242" y="424"/>
                  </a:lnTo>
                  <a:lnTo>
                    <a:pt x="242" y="426"/>
                  </a:lnTo>
                  <a:lnTo>
                    <a:pt x="243" y="428"/>
                  </a:lnTo>
                  <a:lnTo>
                    <a:pt x="243" y="432"/>
                  </a:lnTo>
                  <a:lnTo>
                    <a:pt x="247" y="432"/>
                  </a:lnTo>
                  <a:lnTo>
                    <a:pt x="247" y="428"/>
                  </a:lnTo>
                  <a:lnTo>
                    <a:pt x="251" y="427"/>
                  </a:lnTo>
                  <a:lnTo>
                    <a:pt x="252" y="430"/>
                  </a:lnTo>
                  <a:lnTo>
                    <a:pt x="252" y="431"/>
                  </a:lnTo>
                  <a:lnTo>
                    <a:pt x="249" y="434"/>
                  </a:lnTo>
                  <a:lnTo>
                    <a:pt x="247" y="438"/>
                  </a:lnTo>
                  <a:lnTo>
                    <a:pt x="249" y="437"/>
                  </a:lnTo>
                  <a:lnTo>
                    <a:pt x="247" y="439"/>
                  </a:lnTo>
                  <a:lnTo>
                    <a:pt x="247" y="443"/>
                  </a:lnTo>
                  <a:lnTo>
                    <a:pt x="241" y="446"/>
                  </a:lnTo>
                  <a:lnTo>
                    <a:pt x="240" y="449"/>
                  </a:lnTo>
                  <a:lnTo>
                    <a:pt x="235" y="449"/>
                  </a:lnTo>
                  <a:lnTo>
                    <a:pt x="239" y="450"/>
                  </a:lnTo>
                  <a:lnTo>
                    <a:pt x="239" y="451"/>
                  </a:lnTo>
                  <a:lnTo>
                    <a:pt x="233" y="452"/>
                  </a:lnTo>
                  <a:lnTo>
                    <a:pt x="230" y="454"/>
                  </a:lnTo>
                  <a:lnTo>
                    <a:pt x="231" y="455"/>
                  </a:lnTo>
                  <a:lnTo>
                    <a:pt x="233" y="454"/>
                  </a:lnTo>
                  <a:lnTo>
                    <a:pt x="234" y="455"/>
                  </a:lnTo>
                  <a:lnTo>
                    <a:pt x="231" y="456"/>
                  </a:lnTo>
                  <a:lnTo>
                    <a:pt x="229" y="458"/>
                  </a:lnTo>
                  <a:lnTo>
                    <a:pt x="230" y="460"/>
                  </a:lnTo>
                  <a:lnTo>
                    <a:pt x="229" y="461"/>
                  </a:lnTo>
                  <a:lnTo>
                    <a:pt x="228" y="461"/>
                  </a:lnTo>
                  <a:lnTo>
                    <a:pt x="227" y="457"/>
                  </a:lnTo>
                  <a:lnTo>
                    <a:pt x="225" y="457"/>
                  </a:lnTo>
                  <a:lnTo>
                    <a:pt x="224" y="457"/>
                  </a:lnTo>
                  <a:lnTo>
                    <a:pt x="224" y="461"/>
                  </a:lnTo>
                  <a:lnTo>
                    <a:pt x="221" y="460"/>
                  </a:lnTo>
                  <a:lnTo>
                    <a:pt x="219" y="460"/>
                  </a:lnTo>
                  <a:lnTo>
                    <a:pt x="223" y="462"/>
                  </a:lnTo>
                  <a:lnTo>
                    <a:pt x="222" y="463"/>
                  </a:lnTo>
                  <a:lnTo>
                    <a:pt x="218" y="466"/>
                  </a:lnTo>
                  <a:lnTo>
                    <a:pt x="222" y="467"/>
                  </a:lnTo>
                  <a:lnTo>
                    <a:pt x="221" y="468"/>
                  </a:lnTo>
                  <a:lnTo>
                    <a:pt x="221" y="469"/>
                  </a:lnTo>
                  <a:lnTo>
                    <a:pt x="218" y="469"/>
                  </a:lnTo>
                  <a:lnTo>
                    <a:pt x="217" y="469"/>
                  </a:lnTo>
                  <a:lnTo>
                    <a:pt x="216" y="468"/>
                  </a:lnTo>
                  <a:lnTo>
                    <a:pt x="216" y="469"/>
                  </a:lnTo>
                  <a:lnTo>
                    <a:pt x="216" y="470"/>
                  </a:lnTo>
                  <a:lnTo>
                    <a:pt x="217" y="470"/>
                  </a:lnTo>
                  <a:lnTo>
                    <a:pt x="216" y="472"/>
                  </a:lnTo>
                  <a:lnTo>
                    <a:pt x="215" y="472"/>
                  </a:lnTo>
                  <a:lnTo>
                    <a:pt x="211" y="470"/>
                  </a:lnTo>
                  <a:lnTo>
                    <a:pt x="210" y="470"/>
                  </a:lnTo>
                  <a:lnTo>
                    <a:pt x="210" y="472"/>
                  </a:lnTo>
                  <a:lnTo>
                    <a:pt x="213" y="473"/>
                  </a:lnTo>
                  <a:lnTo>
                    <a:pt x="215" y="473"/>
                  </a:lnTo>
                  <a:lnTo>
                    <a:pt x="213" y="474"/>
                  </a:lnTo>
                  <a:lnTo>
                    <a:pt x="210" y="478"/>
                  </a:lnTo>
                  <a:lnTo>
                    <a:pt x="216" y="474"/>
                  </a:lnTo>
                  <a:lnTo>
                    <a:pt x="217" y="474"/>
                  </a:lnTo>
                  <a:lnTo>
                    <a:pt x="217" y="475"/>
                  </a:lnTo>
                  <a:lnTo>
                    <a:pt x="217" y="479"/>
                  </a:lnTo>
                  <a:lnTo>
                    <a:pt x="216" y="480"/>
                  </a:lnTo>
                  <a:lnTo>
                    <a:pt x="212" y="480"/>
                  </a:lnTo>
                  <a:lnTo>
                    <a:pt x="210" y="481"/>
                  </a:lnTo>
                  <a:lnTo>
                    <a:pt x="206" y="481"/>
                  </a:lnTo>
                  <a:lnTo>
                    <a:pt x="204" y="481"/>
                  </a:lnTo>
                  <a:lnTo>
                    <a:pt x="200" y="481"/>
                  </a:lnTo>
                  <a:lnTo>
                    <a:pt x="200" y="482"/>
                  </a:lnTo>
                  <a:lnTo>
                    <a:pt x="205" y="482"/>
                  </a:lnTo>
                  <a:lnTo>
                    <a:pt x="205" y="484"/>
                  </a:lnTo>
                  <a:lnTo>
                    <a:pt x="201" y="485"/>
                  </a:lnTo>
                  <a:lnTo>
                    <a:pt x="201" y="486"/>
                  </a:lnTo>
                  <a:lnTo>
                    <a:pt x="206" y="486"/>
                  </a:lnTo>
                  <a:lnTo>
                    <a:pt x="207" y="487"/>
                  </a:lnTo>
                  <a:lnTo>
                    <a:pt x="209" y="490"/>
                  </a:lnTo>
                  <a:lnTo>
                    <a:pt x="209" y="491"/>
                  </a:lnTo>
                  <a:lnTo>
                    <a:pt x="210" y="491"/>
                  </a:lnTo>
                  <a:lnTo>
                    <a:pt x="210" y="490"/>
                  </a:lnTo>
                  <a:lnTo>
                    <a:pt x="210" y="486"/>
                  </a:lnTo>
                  <a:lnTo>
                    <a:pt x="209" y="485"/>
                  </a:lnTo>
                  <a:lnTo>
                    <a:pt x="210" y="484"/>
                  </a:lnTo>
                  <a:lnTo>
                    <a:pt x="211" y="484"/>
                  </a:lnTo>
                  <a:lnTo>
                    <a:pt x="211" y="488"/>
                  </a:lnTo>
                  <a:lnTo>
                    <a:pt x="212" y="487"/>
                  </a:lnTo>
                  <a:lnTo>
                    <a:pt x="213" y="486"/>
                  </a:lnTo>
                  <a:lnTo>
                    <a:pt x="213" y="484"/>
                  </a:lnTo>
                  <a:lnTo>
                    <a:pt x="215" y="482"/>
                  </a:lnTo>
                  <a:lnTo>
                    <a:pt x="215" y="487"/>
                  </a:lnTo>
                  <a:lnTo>
                    <a:pt x="216" y="488"/>
                  </a:lnTo>
                  <a:lnTo>
                    <a:pt x="216" y="490"/>
                  </a:lnTo>
                  <a:lnTo>
                    <a:pt x="213" y="490"/>
                  </a:lnTo>
                  <a:lnTo>
                    <a:pt x="212" y="491"/>
                  </a:lnTo>
                  <a:lnTo>
                    <a:pt x="212" y="492"/>
                  </a:lnTo>
                  <a:lnTo>
                    <a:pt x="213" y="493"/>
                  </a:lnTo>
                  <a:lnTo>
                    <a:pt x="213" y="494"/>
                  </a:lnTo>
                  <a:lnTo>
                    <a:pt x="210" y="494"/>
                  </a:lnTo>
                  <a:lnTo>
                    <a:pt x="209" y="493"/>
                  </a:lnTo>
                  <a:lnTo>
                    <a:pt x="206" y="493"/>
                  </a:lnTo>
                  <a:lnTo>
                    <a:pt x="205" y="493"/>
                  </a:lnTo>
                  <a:lnTo>
                    <a:pt x="204" y="494"/>
                  </a:lnTo>
                  <a:lnTo>
                    <a:pt x="199" y="490"/>
                  </a:lnTo>
                  <a:lnTo>
                    <a:pt x="199" y="491"/>
                  </a:lnTo>
                  <a:lnTo>
                    <a:pt x="201" y="493"/>
                  </a:lnTo>
                  <a:lnTo>
                    <a:pt x="201" y="494"/>
                  </a:lnTo>
                  <a:lnTo>
                    <a:pt x="199" y="494"/>
                  </a:lnTo>
                  <a:lnTo>
                    <a:pt x="198" y="492"/>
                  </a:lnTo>
                  <a:lnTo>
                    <a:pt x="195" y="491"/>
                  </a:lnTo>
                  <a:lnTo>
                    <a:pt x="195" y="492"/>
                  </a:lnTo>
                  <a:lnTo>
                    <a:pt x="194" y="493"/>
                  </a:lnTo>
                  <a:lnTo>
                    <a:pt x="193" y="497"/>
                  </a:lnTo>
                  <a:lnTo>
                    <a:pt x="194" y="498"/>
                  </a:lnTo>
                  <a:lnTo>
                    <a:pt x="195" y="497"/>
                  </a:lnTo>
                  <a:lnTo>
                    <a:pt x="198" y="496"/>
                  </a:lnTo>
                  <a:lnTo>
                    <a:pt x="199" y="497"/>
                  </a:lnTo>
                  <a:lnTo>
                    <a:pt x="200" y="497"/>
                  </a:lnTo>
                  <a:lnTo>
                    <a:pt x="200" y="498"/>
                  </a:lnTo>
                  <a:lnTo>
                    <a:pt x="196" y="502"/>
                  </a:lnTo>
                  <a:lnTo>
                    <a:pt x="192" y="503"/>
                  </a:lnTo>
                  <a:lnTo>
                    <a:pt x="189" y="500"/>
                  </a:lnTo>
                  <a:lnTo>
                    <a:pt x="182" y="500"/>
                  </a:lnTo>
                  <a:lnTo>
                    <a:pt x="178" y="504"/>
                  </a:lnTo>
                  <a:lnTo>
                    <a:pt x="176" y="504"/>
                  </a:lnTo>
                  <a:lnTo>
                    <a:pt x="175" y="505"/>
                  </a:lnTo>
                  <a:lnTo>
                    <a:pt x="174" y="506"/>
                  </a:lnTo>
                  <a:lnTo>
                    <a:pt x="172" y="505"/>
                  </a:lnTo>
                  <a:lnTo>
                    <a:pt x="171" y="505"/>
                  </a:lnTo>
                  <a:lnTo>
                    <a:pt x="171" y="508"/>
                  </a:lnTo>
                  <a:lnTo>
                    <a:pt x="169" y="510"/>
                  </a:lnTo>
                  <a:lnTo>
                    <a:pt x="169" y="511"/>
                  </a:lnTo>
                  <a:lnTo>
                    <a:pt x="166" y="512"/>
                  </a:lnTo>
                  <a:lnTo>
                    <a:pt x="164" y="511"/>
                  </a:lnTo>
                  <a:lnTo>
                    <a:pt x="163" y="510"/>
                  </a:lnTo>
                  <a:lnTo>
                    <a:pt x="163" y="508"/>
                  </a:lnTo>
                  <a:lnTo>
                    <a:pt x="162" y="506"/>
                  </a:lnTo>
                  <a:lnTo>
                    <a:pt x="160" y="508"/>
                  </a:lnTo>
                  <a:lnTo>
                    <a:pt x="162" y="509"/>
                  </a:lnTo>
                  <a:lnTo>
                    <a:pt x="163" y="511"/>
                  </a:lnTo>
                  <a:lnTo>
                    <a:pt x="163" y="514"/>
                  </a:lnTo>
                  <a:lnTo>
                    <a:pt x="163" y="515"/>
                  </a:lnTo>
                  <a:lnTo>
                    <a:pt x="162" y="516"/>
                  </a:lnTo>
                  <a:lnTo>
                    <a:pt x="158" y="516"/>
                  </a:lnTo>
                  <a:lnTo>
                    <a:pt x="157" y="516"/>
                  </a:lnTo>
                  <a:lnTo>
                    <a:pt x="156" y="516"/>
                  </a:lnTo>
                  <a:lnTo>
                    <a:pt x="152" y="517"/>
                  </a:lnTo>
                  <a:lnTo>
                    <a:pt x="152" y="518"/>
                  </a:lnTo>
                  <a:lnTo>
                    <a:pt x="154" y="518"/>
                  </a:lnTo>
                  <a:lnTo>
                    <a:pt x="156" y="517"/>
                  </a:lnTo>
                  <a:lnTo>
                    <a:pt x="158" y="517"/>
                  </a:lnTo>
                  <a:lnTo>
                    <a:pt x="158" y="518"/>
                  </a:lnTo>
                  <a:lnTo>
                    <a:pt x="153" y="523"/>
                  </a:lnTo>
                  <a:lnTo>
                    <a:pt x="152" y="523"/>
                  </a:lnTo>
                  <a:lnTo>
                    <a:pt x="151" y="523"/>
                  </a:lnTo>
                  <a:lnTo>
                    <a:pt x="150" y="523"/>
                  </a:lnTo>
                  <a:lnTo>
                    <a:pt x="148" y="524"/>
                  </a:lnTo>
                  <a:lnTo>
                    <a:pt x="142" y="524"/>
                  </a:lnTo>
                  <a:lnTo>
                    <a:pt x="139" y="526"/>
                  </a:lnTo>
                  <a:lnTo>
                    <a:pt x="137" y="524"/>
                  </a:lnTo>
                  <a:lnTo>
                    <a:pt x="134" y="524"/>
                  </a:lnTo>
                  <a:lnTo>
                    <a:pt x="134" y="527"/>
                  </a:lnTo>
                  <a:lnTo>
                    <a:pt x="137" y="527"/>
                  </a:lnTo>
                  <a:lnTo>
                    <a:pt x="139" y="528"/>
                  </a:lnTo>
                  <a:lnTo>
                    <a:pt x="136" y="532"/>
                  </a:lnTo>
                  <a:lnTo>
                    <a:pt x="137" y="533"/>
                  </a:lnTo>
                  <a:lnTo>
                    <a:pt x="141" y="528"/>
                  </a:lnTo>
                  <a:lnTo>
                    <a:pt x="142" y="528"/>
                  </a:lnTo>
                  <a:lnTo>
                    <a:pt x="143" y="528"/>
                  </a:lnTo>
                  <a:lnTo>
                    <a:pt x="143" y="531"/>
                  </a:lnTo>
                  <a:lnTo>
                    <a:pt x="142" y="532"/>
                  </a:lnTo>
                  <a:lnTo>
                    <a:pt x="142" y="533"/>
                  </a:lnTo>
                  <a:lnTo>
                    <a:pt x="143" y="532"/>
                  </a:lnTo>
                  <a:lnTo>
                    <a:pt x="145" y="531"/>
                  </a:lnTo>
                  <a:lnTo>
                    <a:pt x="145" y="529"/>
                  </a:lnTo>
                  <a:lnTo>
                    <a:pt x="148" y="527"/>
                  </a:lnTo>
                  <a:lnTo>
                    <a:pt x="151" y="527"/>
                  </a:lnTo>
                  <a:lnTo>
                    <a:pt x="151" y="529"/>
                  </a:lnTo>
                  <a:lnTo>
                    <a:pt x="146" y="533"/>
                  </a:lnTo>
                  <a:lnTo>
                    <a:pt x="145" y="535"/>
                  </a:lnTo>
                  <a:lnTo>
                    <a:pt x="137" y="540"/>
                  </a:lnTo>
                  <a:lnTo>
                    <a:pt x="137" y="541"/>
                  </a:lnTo>
                  <a:lnTo>
                    <a:pt x="142" y="539"/>
                  </a:lnTo>
                  <a:lnTo>
                    <a:pt x="143" y="539"/>
                  </a:lnTo>
                  <a:lnTo>
                    <a:pt x="143" y="541"/>
                  </a:lnTo>
                  <a:lnTo>
                    <a:pt x="145" y="541"/>
                  </a:lnTo>
                  <a:lnTo>
                    <a:pt x="146" y="537"/>
                  </a:lnTo>
                  <a:lnTo>
                    <a:pt x="148" y="537"/>
                  </a:lnTo>
                  <a:lnTo>
                    <a:pt x="148" y="541"/>
                  </a:lnTo>
                  <a:lnTo>
                    <a:pt x="150" y="545"/>
                  </a:lnTo>
                  <a:lnTo>
                    <a:pt x="151" y="546"/>
                  </a:lnTo>
                  <a:lnTo>
                    <a:pt x="152" y="546"/>
                  </a:lnTo>
                  <a:lnTo>
                    <a:pt x="153" y="547"/>
                  </a:lnTo>
                  <a:lnTo>
                    <a:pt x="154" y="547"/>
                  </a:lnTo>
                  <a:lnTo>
                    <a:pt x="154" y="543"/>
                  </a:lnTo>
                  <a:lnTo>
                    <a:pt x="157" y="541"/>
                  </a:lnTo>
                  <a:lnTo>
                    <a:pt x="158" y="540"/>
                  </a:lnTo>
                  <a:lnTo>
                    <a:pt x="158" y="538"/>
                  </a:lnTo>
                  <a:lnTo>
                    <a:pt x="159" y="537"/>
                  </a:lnTo>
                  <a:lnTo>
                    <a:pt x="160" y="538"/>
                  </a:lnTo>
                  <a:lnTo>
                    <a:pt x="162" y="539"/>
                  </a:lnTo>
                  <a:lnTo>
                    <a:pt x="164" y="541"/>
                  </a:lnTo>
                  <a:lnTo>
                    <a:pt x="165" y="543"/>
                  </a:lnTo>
                  <a:lnTo>
                    <a:pt x="165" y="547"/>
                  </a:lnTo>
                  <a:lnTo>
                    <a:pt x="166" y="549"/>
                  </a:lnTo>
                  <a:lnTo>
                    <a:pt x="166" y="547"/>
                  </a:lnTo>
                  <a:lnTo>
                    <a:pt x="168" y="546"/>
                  </a:lnTo>
                  <a:lnTo>
                    <a:pt x="168" y="539"/>
                  </a:lnTo>
                  <a:lnTo>
                    <a:pt x="169" y="538"/>
                  </a:lnTo>
                  <a:lnTo>
                    <a:pt x="169" y="544"/>
                  </a:lnTo>
                  <a:lnTo>
                    <a:pt x="170" y="544"/>
                  </a:lnTo>
                  <a:lnTo>
                    <a:pt x="170" y="543"/>
                  </a:lnTo>
                  <a:lnTo>
                    <a:pt x="171" y="540"/>
                  </a:lnTo>
                  <a:lnTo>
                    <a:pt x="171" y="539"/>
                  </a:lnTo>
                  <a:lnTo>
                    <a:pt x="172" y="539"/>
                  </a:lnTo>
                  <a:lnTo>
                    <a:pt x="174" y="540"/>
                  </a:lnTo>
                  <a:lnTo>
                    <a:pt x="174" y="541"/>
                  </a:lnTo>
                  <a:lnTo>
                    <a:pt x="174" y="540"/>
                  </a:lnTo>
                  <a:lnTo>
                    <a:pt x="176" y="539"/>
                  </a:lnTo>
                  <a:lnTo>
                    <a:pt x="175" y="538"/>
                  </a:lnTo>
                  <a:lnTo>
                    <a:pt x="174" y="535"/>
                  </a:lnTo>
                  <a:lnTo>
                    <a:pt x="174" y="534"/>
                  </a:lnTo>
                  <a:lnTo>
                    <a:pt x="175" y="532"/>
                  </a:lnTo>
                  <a:lnTo>
                    <a:pt x="175" y="531"/>
                  </a:lnTo>
                  <a:lnTo>
                    <a:pt x="176" y="531"/>
                  </a:lnTo>
                  <a:lnTo>
                    <a:pt x="177" y="531"/>
                  </a:lnTo>
                  <a:lnTo>
                    <a:pt x="176" y="532"/>
                  </a:lnTo>
                  <a:lnTo>
                    <a:pt x="176" y="534"/>
                  </a:lnTo>
                  <a:lnTo>
                    <a:pt x="175" y="535"/>
                  </a:lnTo>
                  <a:lnTo>
                    <a:pt x="176" y="537"/>
                  </a:lnTo>
                  <a:lnTo>
                    <a:pt x="176" y="539"/>
                  </a:lnTo>
                  <a:lnTo>
                    <a:pt x="177" y="539"/>
                  </a:lnTo>
                  <a:lnTo>
                    <a:pt x="177" y="540"/>
                  </a:lnTo>
                  <a:lnTo>
                    <a:pt x="176" y="544"/>
                  </a:lnTo>
                  <a:lnTo>
                    <a:pt x="176" y="547"/>
                  </a:lnTo>
                  <a:lnTo>
                    <a:pt x="177" y="547"/>
                  </a:lnTo>
                  <a:lnTo>
                    <a:pt x="178" y="545"/>
                  </a:lnTo>
                  <a:lnTo>
                    <a:pt x="178" y="544"/>
                  </a:lnTo>
                  <a:lnTo>
                    <a:pt x="180" y="543"/>
                  </a:lnTo>
                  <a:lnTo>
                    <a:pt x="181" y="541"/>
                  </a:lnTo>
                  <a:lnTo>
                    <a:pt x="181" y="537"/>
                  </a:lnTo>
                  <a:lnTo>
                    <a:pt x="181" y="535"/>
                  </a:lnTo>
                  <a:lnTo>
                    <a:pt x="182" y="535"/>
                  </a:lnTo>
                  <a:lnTo>
                    <a:pt x="183" y="537"/>
                  </a:lnTo>
                  <a:lnTo>
                    <a:pt x="184" y="538"/>
                  </a:lnTo>
                  <a:lnTo>
                    <a:pt x="186" y="540"/>
                  </a:lnTo>
                  <a:lnTo>
                    <a:pt x="186" y="541"/>
                  </a:lnTo>
                  <a:lnTo>
                    <a:pt x="187" y="543"/>
                  </a:lnTo>
                  <a:lnTo>
                    <a:pt x="187" y="544"/>
                  </a:lnTo>
                  <a:lnTo>
                    <a:pt x="187" y="546"/>
                  </a:lnTo>
                  <a:lnTo>
                    <a:pt x="186" y="546"/>
                  </a:lnTo>
                  <a:lnTo>
                    <a:pt x="182" y="547"/>
                  </a:lnTo>
                  <a:lnTo>
                    <a:pt x="178" y="551"/>
                  </a:lnTo>
                  <a:lnTo>
                    <a:pt x="177" y="551"/>
                  </a:lnTo>
                  <a:lnTo>
                    <a:pt x="178" y="552"/>
                  </a:lnTo>
                  <a:lnTo>
                    <a:pt x="180" y="551"/>
                  </a:lnTo>
                  <a:lnTo>
                    <a:pt x="181" y="551"/>
                  </a:lnTo>
                  <a:lnTo>
                    <a:pt x="182" y="551"/>
                  </a:lnTo>
                  <a:lnTo>
                    <a:pt x="183" y="550"/>
                  </a:lnTo>
                  <a:lnTo>
                    <a:pt x="184" y="552"/>
                  </a:lnTo>
                  <a:lnTo>
                    <a:pt x="183" y="552"/>
                  </a:lnTo>
                  <a:lnTo>
                    <a:pt x="183" y="553"/>
                  </a:lnTo>
                  <a:lnTo>
                    <a:pt x="182" y="555"/>
                  </a:lnTo>
                  <a:lnTo>
                    <a:pt x="180" y="556"/>
                  </a:lnTo>
                  <a:lnTo>
                    <a:pt x="178" y="555"/>
                  </a:lnTo>
                  <a:lnTo>
                    <a:pt x="177" y="553"/>
                  </a:lnTo>
                  <a:lnTo>
                    <a:pt x="176" y="552"/>
                  </a:lnTo>
                  <a:lnTo>
                    <a:pt x="176" y="555"/>
                  </a:lnTo>
                  <a:lnTo>
                    <a:pt x="171" y="555"/>
                  </a:lnTo>
                  <a:lnTo>
                    <a:pt x="169" y="553"/>
                  </a:lnTo>
                  <a:lnTo>
                    <a:pt x="168" y="553"/>
                  </a:lnTo>
                  <a:lnTo>
                    <a:pt x="166" y="552"/>
                  </a:lnTo>
                  <a:lnTo>
                    <a:pt x="165" y="553"/>
                  </a:lnTo>
                  <a:lnTo>
                    <a:pt x="164" y="555"/>
                  </a:lnTo>
                  <a:lnTo>
                    <a:pt x="156" y="555"/>
                  </a:lnTo>
                  <a:lnTo>
                    <a:pt x="156" y="553"/>
                  </a:lnTo>
                  <a:lnTo>
                    <a:pt x="153" y="553"/>
                  </a:lnTo>
                  <a:lnTo>
                    <a:pt x="152" y="555"/>
                  </a:lnTo>
                  <a:lnTo>
                    <a:pt x="151" y="555"/>
                  </a:lnTo>
                  <a:lnTo>
                    <a:pt x="150" y="555"/>
                  </a:lnTo>
                  <a:lnTo>
                    <a:pt x="150" y="553"/>
                  </a:lnTo>
                  <a:lnTo>
                    <a:pt x="147" y="553"/>
                  </a:lnTo>
                  <a:lnTo>
                    <a:pt x="146" y="555"/>
                  </a:lnTo>
                  <a:lnTo>
                    <a:pt x="142" y="555"/>
                  </a:lnTo>
                  <a:lnTo>
                    <a:pt x="141" y="555"/>
                  </a:lnTo>
                  <a:lnTo>
                    <a:pt x="140" y="556"/>
                  </a:lnTo>
                  <a:lnTo>
                    <a:pt x="137" y="556"/>
                  </a:lnTo>
                  <a:lnTo>
                    <a:pt x="136" y="556"/>
                  </a:lnTo>
                  <a:lnTo>
                    <a:pt x="134" y="556"/>
                  </a:lnTo>
                  <a:lnTo>
                    <a:pt x="131" y="557"/>
                  </a:lnTo>
                  <a:lnTo>
                    <a:pt x="129" y="557"/>
                  </a:lnTo>
                  <a:lnTo>
                    <a:pt x="127" y="558"/>
                  </a:lnTo>
                  <a:lnTo>
                    <a:pt x="123" y="559"/>
                  </a:lnTo>
                  <a:lnTo>
                    <a:pt x="122" y="561"/>
                  </a:lnTo>
                  <a:lnTo>
                    <a:pt x="121" y="561"/>
                  </a:lnTo>
                  <a:lnTo>
                    <a:pt x="116" y="561"/>
                  </a:lnTo>
                  <a:lnTo>
                    <a:pt x="116" y="562"/>
                  </a:lnTo>
                  <a:lnTo>
                    <a:pt x="115" y="563"/>
                  </a:lnTo>
                  <a:lnTo>
                    <a:pt x="113" y="563"/>
                  </a:lnTo>
                  <a:lnTo>
                    <a:pt x="112" y="564"/>
                  </a:lnTo>
                  <a:lnTo>
                    <a:pt x="111" y="564"/>
                  </a:lnTo>
                  <a:lnTo>
                    <a:pt x="111" y="567"/>
                  </a:lnTo>
                  <a:lnTo>
                    <a:pt x="110" y="567"/>
                  </a:lnTo>
                  <a:lnTo>
                    <a:pt x="109" y="568"/>
                  </a:lnTo>
                  <a:lnTo>
                    <a:pt x="106" y="568"/>
                  </a:lnTo>
                  <a:lnTo>
                    <a:pt x="104" y="567"/>
                  </a:lnTo>
                  <a:lnTo>
                    <a:pt x="103" y="567"/>
                  </a:lnTo>
                  <a:lnTo>
                    <a:pt x="101" y="567"/>
                  </a:lnTo>
                  <a:lnTo>
                    <a:pt x="101" y="568"/>
                  </a:lnTo>
                  <a:lnTo>
                    <a:pt x="100" y="568"/>
                  </a:lnTo>
                  <a:lnTo>
                    <a:pt x="97" y="567"/>
                  </a:lnTo>
                  <a:lnTo>
                    <a:pt x="99" y="569"/>
                  </a:lnTo>
                  <a:lnTo>
                    <a:pt x="100" y="569"/>
                  </a:lnTo>
                  <a:lnTo>
                    <a:pt x="99" y="570"/>
                  </a:lnTo>
                  <a:lnTo>
                    <a:pt x="92" y="573"/>
                  </a:lnTo>
                  <a:lnTo>
                    <a:pt x="92" y="574"/>
                  </a:lnTo>
                  <a:lnTo>
                    <a:pt x="99" y="573"/>
                  </a:lnTo>
                  <a:lnTo>
                    <a:pt x="100" y="573"/>
                  </a:lnTo>
                  <a:lnTo>
                    <a:pt x="100" y="574"/>
                  </a:lnTo>
                  <a:lnTo>
                    <a:pt x="100" y="576"/>
                  </a:lnTo>
                  <a:lnTo>
                    <a:pt x="101" y="575"/>
                  </a:lnTo>
                  <a:lnTo>
                    <a:pt x="103" y="574"/>
                  </a:lnTo>
                  <a:lnTo>
                    <a:pt x="103" y="571"/>
                  </a:lnTo>
                  <a:lnTo>
                    <a:pt x="104" y="571"/>
                  </a:lnTo>
                  <a:lnTo>
                    <a:pt x="104" y="573"/>
                  </a:lnTo>
                  <a:lnTo>
                    <a:pt x="105" y="573"/>
                  </a:lnTo>
                  <a:lnTo>
                    <a:pt x="106" y="570"/>
                  </a:lnTo>
                  <a:lnTo>
                    <a:pt x="107" y="570"/>
                  </a:lnTo>
                  <a:lnTo>
                    <a:pt x="107" y="574"/>
                  </a:lnTo>
                  <a:lnTo>
                    <a:pt x="109" y="575"/>
                  </a:lnTo>
                  <a:lnTo>
                    <a:pt x="110" y="577"/>
                  </a:lnTo>
                  <a:lnTo>
                    <a:pt x="110" y="579"/>
                  </a:lnTo>
                  <a:lnTo>
                    <a:pt x="111" y="580"/>
                  </a:lnTo>
                  <a:lnTo>
                    <a:pt x="112" y="581"/>
                  </a:lnTo>
                  <a:lnTo>
                    <a:pt x="113" y="581"/>
                  </a:lnTo>
                  <a:lnTo>
                    <a:pt x="113" y="583"/>
                  </a:lnTo>
                  <a:lnTo>
                    <a:pt x="115" y="585"/>
                  </a:lnTo>
                  <a:lnTo>
                    <a:pt x="116" y="585"/>
                  </a:lnTo>
                  <a:lnTo>
                    <a:pt x="116" y="583"/>
                  </a:lnTo>
                  <a:lnTo>
                    <a:pt x="117" y="582"/>
                  </a:lnTo>
                  <a:lnTo>
                    <a:pt x="117" y="580"/>
                  </a:lnTo>
                  <a:lnTo>
                    <a:pt x="116" y="579"/>
                  </a:lnTo>
                  <a:lnTo>
                    <a:pt x="117" y="577"/>
                  </a:lnTo>
                  <a:lnTo>
                    <a:pt x="117" y="576"/>
                  </a:lnTo>
                  <a:lnTo>
                    <a:pt x="116" y="574"/>
                  </a:lnTo>
                  <a:lnTo>
                    <a:pt x="116" y="571"/>
                  </a:lnTo>
                  <a:lnTo>
                    <a:pt x="117" y="570"/>
                  </a:lnTo>
                  <a:lnTo>
                    <a:pt x="117" y="568"/>
                  </a:lnTo>
                  <a:lnTo>
                    <a:pt x="117" y="567"/>
                  </a:lnTo>
                  <a:lnTo>
                    <a:pt x="118" y="565"/>
                  </a:lnTo>
                  <a:lnTo>
                    <a:pt x="119" y="564"/>
                  </a:lnTo>
                  <a:lnTo>
                    <a:pt x="121" y="565"/>
                  </a:lnTo>
                  <a:lnTo>
                    <a:pt x="121" y="567"/>
                  </a:lnTo>
                  <a:lnTo>
                    <a:pt x="118" y="568"/>
                  </a:lnTo>
                  <a:lnTo>
                    <a:pt x="118" y="570"/>
                  </a:lnTo>
                  <a:lnTo>
                    <a:pt x="119" y="569"/>
                  </a:lnTo>
                  <a:lnTo>
                    <a:pt x="121" y="569"/>
                  </a:lnTo>
                  <a:lnTo>
                    <a:pt x="121" y="571"/>
                  </a:lnTo>
                  <a:lnTo>
                    <a:pt x="121" y="573"/>
                  </a:lnTo>
                  <a:lnTo>
                    <a:pt x="119" y="574"/>
                  </a:lnTo>
                  <a:lnTo>
                    <a:pt x="119" y="576"/>
                  </a:lnTo>
                  <a:lnTo>
                    <a:pt x="119" y="579"/>
                  </a:lnTo>
                  <a:lnTo>
                    <a:pt x="121" y="580"/>
                  </a:lnTo>
                  <a:lnTo>
                    <a:pt x="121" y="579"/>
                  </a:lnTo>
                  <a:lnTo>
                    <a:pt x="122" y="576"/>
                  </a:lnTo>
                  <a:lnTo>
                    <a:pt x="122" y="574"/>
                  </a:lnTo>
                  <a:lnTo>
                    <a:pt x="123" y="574"/>
                  </a:lnTo>
                  <a:lnTo>
                    <a:pt x="123" y="576"/>
                  </a:lnTo>
                  <a:lnTo>
                    <a:pt x="124" y="577"/>
                  </a:lnTo>
                  <a:lnTo>
                    <a:pt x="125" y="577"/>
                  </a:lnTo>
                  <a:lnTo>
                    <a:pt x="125" y="576"/>
                  </a:lnTo>
                  <a:lnTo>
                    <a:pt x="125" y="575"/>
                  </a:lnTo>
                  <a:lnTo>
                    <a:pt x="125" y="574"/>
                  </a:lnTo>
                  <a:lnTo>
                    <a:pt x="127" y="573"/>
                  </a:lnTo>
                  <a:lnTo>
                    <a:pt x="127" y="571"/>
                  </a:lnTo>
                  <a:lnTo>
                    <a:pt x="128" y="571"/>
                  </a:lnTo>
                  <a:lnTo>
                    <a:pt x="128" y="573"/>
                  </a:lnTo>
                  <a:lnTo>
                    <a:pt x="128" y="574"/>
                  </a:lnTo>
                  <a:lnTo>
                    <a:pt x="128" y="575"/>
                  </a:lnTo>
                  <a:lnTo>
                    <a:pt x="128" y="577"/>
                  </a:lnTo>
                  <a:lnTo>
                    <a:pt x="128" y="579"/>
                  </a:lnTo>
                  <a:lnTo>
                    <a:pt x="128" y="583"/>
                  </a:lnTo>
                  <a:lnTo>
                    <a:pt x="128" y="586"/>
                  </a:lnTo>
                  <a:lnTo>
                    <a:pt x="129" y="585"/>
                  </a:lnTo>
                  <a:lnTo>
                    <a:pt x="129" y="583"/>
                  </a:lnTo>
                  <a:lnTo>
                    <a:pt x="129" y="581"/>
                  </a:lnTo>
                  <a:lnTo>
                    <a:pt x="130" y="581"/>
                  </a:lnTo>
                  <a:lnTo>
                    <a:pt x="130" y="580"/>
                  </a:lnTo>
                  <a:lnTo>
                    <a:pt x="131" y="580"/>
                  </a:lnTo>
                  <a:lnTo>
                    <a:pt x="131" y="579"/>
                  </a:lnTo>
                  <a:lnTo>
                    <a:pt x="131" y="577"/>
                  </a:lnTo>
                  <a:lnTo>
                    <a:pt x="131" y="573"/>
                  </a:lnTo>
                  <a:lnTo>
                    <a:pt x="133" y="573"/>
                  </a:lnTo>
                  <a:lnTo>
                    <a:pt x="134" y="574"/>
                  </a:lnTo>
                  <a:lnTo>
                    <a:pt x="135" y="573"/>
                  </a:lnTo>
                  <a:lnTo>
                    <a:pt x="135" y="569"/>
                  </a:lnTo>
                  <a:lnTo>
                    <a:pt x="136" y="568"/>
                  </a:lnTo>
                  <a:lnTo>
                    <a:pt x="136" y="569"/>
                  </a:lnTo>
                  <a:lnTo>
                    <a:pt x="136" y="573"/>
                  </a:lnTo>
                  <a:lnTo>
                    <a:pt x="136" y="575"/>
                  </a:lnTo>
                  <a:lnTo>
                    <a:pt x="136" y="577"/>
                  </a:lnTo>
                  <a:lnTo>
                    <a:pt x="136" y="579"/>
                  </a:lnTo>
                  <a:lnTo>
                    <a:pt x="137" y="577"/>
                  </a:lnTo>
                  <a:lnTo>
                    <a:pt x="139" y="577"/>
                  </a:lnTo>
                  <a:lnTo>
                    <a:pt x="140" y="577"/>
                  </a:lnTo>
                  <a:lnTo>
                    <a:pt x="140" y="576"/>
                  </a:lnTo>
                  <a:lnTo>
                    <a:pt x="140" y="581"/>
                  </a:lnTo>
                  <a:lnTo>
                    <a:pt x="141" y="582"/>
                  </a:lnTo>
                  <a:lnTo>
                    <a:pt x="142" y="582"/>
                  </a:lnTo>
                  <a:lnTo>
                    <a:pt x="142" y="576"/>
                  </a:lnTo>
                  <a:lnTo>
                    <a:pt x="143" y="576"/>
                  </a:lnTo>
                  <a:lnTo>
                    <a:pt x="143" y="579"/>
                  </a:lnTo>
                  <a:lnTo>
                    <a:pt x="143" y="580"/>
                  </a:lnTo>
                  <a:lnTo>
                    <a:pt x="145" y="580"/>
                  </a:lnTo>
                  <a:lnTo>
                    <a:pt x="145" y="581"/>
                  </a:lnTo>
                  <a:lnTo>
                    <a:pt x="146" y="583"/>
                  </a:lnTo>
                  <a:lnTo>
                    <a:pt x="146" y="585"/>
                  </a:lnTo>
                  <a:lnTo>
                    <a:pt x="146" y="586"/>
                  </a:lnTo>
                  <a:lnTo>
                    <a:pt x="147" y="586"/>
                  </a:lnTo>
                  <a:lnTo>
                    <a:pt x="147" y="587"/>
                  </a:lnTo>
                  <a:lnTo>
                    <a:pt x="148" y="589"/>
                  </a:lnTo>
                  <a:lnTo>
                    <a:pt x="150" y="589"/>
                  </a:lnTo>
                  <a:lnTo>
                    <a:pt x="150" y="588"/>
                  </a:lnTo>
                  <a:lnTo>
                    <a:pt x="151" y="587"/>
                  </a:lnTo>
                  <a:lnTo>
                    <a:pt x="151" y="585"/>
                  </a:lnTo>
                  <a:lnTo>
                    <a:pt x="152" y="583"/>
                  </a:lnTo>
                  <a:lnTo>
                    <a:pt x="152" y="582"/>
                  </a:lnTo>
                  <a:lnTo>
                    <a:pt x="153" y="581"/>
                  </a:lnTo>
                  <a:lnTo>
                    <a:pt x="153" y="582"/>
                  </a:lnTo>
                  <a:lnTo>
                    <a:pt x="154" y="581"/>
                  </a:lnTo>
                  <a:lnTo>
                    <a:pt x="154" y="579"/>
                  </a:lnTo>
                  <a:lnTo>
                    <a:pt x="154" y="577"/>
                  </a:lnTo>
                  <a:lnTo>
                    <a:pt x="156" y="577"/>
                  </a:lnTo>
                  <a:lnTo>
                    <a:pt x="157" y="579"/>
                  </a:lnTo>
                  <a:lnTo>
                    <a:pt x="157" y="580"/>
                  </a:lnTo>
                  <a:lnTo>
                    <a:pt x="158" y="579"/>
                  </a:lnTo>
                  <a:lnTo>
                    <a:pt x="158" y="580"/>
                  </a:lnTo>
                  <a:lnTo>
                    <a:pt x="158" y="581"/>
                  </a:lnTo>
                  <a:lnTo>
                    <a:pt x="158" y="582"/>
                  </a:lnTo>
                  <a:lnTo>
                    <a:pt x="157" y="583"/>
                  </a:lnTo>
                  <a:lnTo>
                    <a:pt x="157" y="585"/>
                  </a:lnTo>
                  <a:lnTo>
                    <a:pt x="158" y="585"/>
                  </a:lnTo>
                  <a:lnTo>
                    <a:pt x="157" y="586"/>
                  </a:lnTo>
                  <a:lnTo>
                    <a:pt x="157" y="587"/>
                  </a:lnTo>
                  <a:lnTo>
                    <a:pt x="157" y="588"/>
                  </a:lnTo>
                  <a:lnTo>
                    <a:pt x="158" y="588"/>
                  </a:lnTo>
                  <a:lnTo>
                    <a:pt x="159" y="588"/>
                  </a:lnTo>
                  <a:lnTo>
                    <a:pt x="159" y="587"/>
                  </a:lnTo>
                  <a:lnTo>
                    <a:pt x="162" y="586"/>
                  </a:lnTo>
                  <a:lnTo>
                    <a:pt x="163" y="586"/>
                  </a:lnTo>
                  <a:lnTo>
                    <a:pt x="164" y="587"/>
                  </a:lnTo>
                  <a:lnTo>
                    <a:pt x="165" y="588"/>
                  </a:lnTo>
                  <a:lnTo>
                    <a:pt x="166" y="587"/>
                  </a:lnTo>
                  <a:lnTo>
                    <a:pt x="166" y="586"/>
                  </a:lnTo>
                  <a:lnTo>
                    <a:pt x="166" y="583"/>
                  </a:lnTo>
                  <a:lnTo>
                    <a:pt x="168" y="582"/>
                  </a:lnTo>
                  <a:lnTo>
                    <a:pt x="168" y="583"/>
                  </a:lnTo>
                  <a:lnTo>
                    <a:pt x="170" y="585"/>
                  </a:lnTo>
                  <a:lnTo>
                    <a:pt x="169" y="586"/>
                  </a:lnTo>
                  <a:lnTo>
                    <a:pt x="168" y="587"/>
                  </a:lnTo>
                  <a:lnTo>
                    <a:pt x="168" y="588"/>
                  </a:lnTo>
                  <a:lnTo>
                    <a:pt x="169" y="588"/>
                  </a:lnTo>
                  <a:lnTo>
                    <a:pt x="170" y="587"/>
                  </a:lnTo>
                  <a:lnTo>
                    <a:pt x="171" y="587"/>
                  </a:lnTo>
                  <a:lnTo>
                    <a:pt x="172" y="587"/>
                  </a:lnTo>
                  <a:lnTo>
                    <a:pt x="174" y="587"/>
                  </a:lnTo>
                  <a:lnTo>
                    <a:pt x="174" y="586"/>
                  </a:lnTo>
                  <a:lnTo>
                    <a:pt x="174" y="585"/>
                  </a:lnTo>
                  <a:lnTo>
                    <a:pt x="175" y="585"/>
                  </a:lnTo>
                  <a:lnTo>
                    <a:pt x="176" y="585"/>
                  </a:lnTo>
                  <a:lnTo>
                    <a:pt x="177" y="585"/>
                  </a:lnTo>
                  <a:lnTo>
                    <a:pt x="177" y="586"/>
                  </a:lnTo>
                  <a:lnTo>
                    <a:pt x="178" y="587"/>
                  </a:lnTo>
                  <a:lnTo>
                    <a:pt x="180" y="588"/>
                  </a:lnTo>
                  <a:lnTo>
                    <a:pt x="178" y="589"/>
                  </a:lnTo>
                  <a:lnTo>
                    <a:pt x="176" y="589"/>
                  </a:lnTo>
                  <a:lnTo>
                    <a:pt x="175" y="589"/>
                  </a:lnTo>
                  <a:lnTo>
                    <a:pt x="174" y="589"/>
                  </a:lnTo>
                  <a:lnTo>
                    <a:pt x="172" y="589"/>
                  </a:lnTo>
                  <a:lnTo>
                    <a:pt x="172" y="588"/>
                  </a:lnTo>
                  <a:lnTo>
                    <a:pt x="171" y="588"/>
                  </a:lnTo>
                  <a:lnTo>
                    <a:pt x="171" y="589"/>
                  </a:lnTo>
                  <a:lnTo>
                    <a:pt x="170" y="589"/>
                  </a:lnTo>
                  <a:lnTo>
                    <a:pt x="169" y="588"/>
                  </a:lnTo>
                  <a:lnTo>
                    <a:pt x="168" y="588"/>
                  </a:lnTo>
                  <a:lnTo>
                    <a:pt x="168" y="589"/>
                  </a:lnTo>
                  <a:lnTo>
                    <a:pt x="166" y="589"/>
                  </a:lnTo>
                  <a:lnTo>
                    <a:pt x="165" y="589"/>
                  </a:lnTo>
                  <a:lnTo>
                    <a:pt x="164" y="591"/>
                  </a:lnTo>
                  <a:lnTo>
                    <a:pt x="163" y="591"/>
                  </a:lnTo>
                  <a:lnTo>
                    <a:pt x="162" y="589"/>
                  </a:lnTo>
                  <a:lnTo>
                    <a:pt x="156" y="589"/>
                  </a:lnTo>
                  <a:lnTo>
                    <a:pt x="156" y="591"/>
                  </a:lnTo>
                  <a:lnTo>
                    <a:pt x="154" y="591"/>
                  </a:lnTo>
                  <a:lnTo>
                    <a:pt x="154" y="592"/>
                  </a:lnTo>
                  <a:lnTo>
                    <a:pt x="156" y="592"/>
                  </a:lnTo>
                  <a:lnTo>
                    <a:pt x="158" y="592"/>
                  </a:lnTo>
                  <a:lnTo>
                    <a:pt x="159" y="592"/>
                  </a:lnTo>
                  <a:lnTo>
                    <a:pt x="159" y="593"/>
                  </a:lnTo>
                  <a:lnTo>
                    <a:pt x="160" y="593"/>
                  </a:lnTo>
                  <a:lnTo>
                    <a:pt x="160" y="594"/>
                  </a:lnTo>
                  <a:lnTo>
                    <a:pt x="160" y="595"/>
                  </a:lnTo>
                  <a:lnTo>
                    <a:pt x="159" y="595"/>
                  </a:lnTo>
                  <a:lnTo>
                    <a:pt x="159" y="597"/>
                  </a:lnTo>
                  <a:lnTo>
                    <a:pt x="159" y="598"/>
                  </a:lnTo>
                  <a:lnTo>
                    <a:pt x="160" y="597"/>
                  </a:lnTo>
                  <a:lnTo>
                    <a:pt x="162" y="594"/>
                  </a:lnTo>
                  <a:lnTo>
                    <a:pt x="163" y="593"/>
                  </a:lnTo>
                  <a:lnTo>
                    <a:pt x="164" y="592"/>
                  </a:lnTo>
                  <a:lnTo>
                    <a:pt x="165" y="593"/>
                  </a:lnTo>
                  <a:lnTo>
                    <a:pt x="165" y="594"/>
                  </a:lnTo>
                  <a:lnTo>
                    <a:pt x="164" y="595"/>
                  </a:lnTo>
                  <a:lnTo>
                    <a:pt x="165" y="595"/>
                  </a:lnTo>
                  <a:lnTo>
                    <a:pt x="165" y="594"/>
                  </a:lnTo>
                  <a:lnTo>
                    <a:pt x="166" y="593"/>
                  </a:lnTo>
                  <a:lnTo>
                    <a:pt x="168" y="593"/>
                  </a:lnTo>
                  <a:lnTo>
                    <a:pt x="169" y="593"/>
                  </a:lnTo>
                  <a:lnTo>
                    <a:pt x="169" y="594"/>
                  </a:lnTo>
                  <a:lnTo>
                    <a:pt x="169" y="593"/>
                  </a:lnTo>
                  <a:lnTo>
                    <a:pt x="170" y="592"/>
                  </a:lnTo>
                  <a:lnTo>
                    <a:pt x="171" y="592"/>
                  </a:lnTo>
                  <a:lnTo>
                    <a:pt x="171" y="593"/>
                  </a:lnTo>
                  <a:lnTo>
                    <a:pt x="170" y="594"/>
                  </a:lnTo>
                  <a:lnTo>
                    <a:pt x="170" y="595"/>
                  </a:lnTo>
                  <a:lnTo>
                    <a:pt x="170" y="597"/>
                  </a:lnTo>
                  <a:lnTo>
                    <a:pt x="170" y="598"/>
                  </a:lnTo>
                  <a:lnTo>
                    <a:pt x="168" y="598"/>
                  </a:lnTo>
                  <a:lnTo>
                    <a:pt x="168" y="599"/>
                  </a:lnTo>
                  <a:lnTo>
                    <a:pt x="168" y="600"/>
                  </a:lnTo>
                  <a:lnTo>
                    <a:pt x="169" y="600"/>
                  </a:lnTo>
                  <a:lnTo>
                    <a:pt x="170" y="601"/>
                  </a:lnTo>
                  <a:lnTo>
                    <a:pt x="171" y="600"/>
                  </a:lnTo>
                  <a:lnTo>
                    <a:pt x="171" y="599"/>
                  </a:lnTo>
                  <a:lnTo>
                    <a:pt x="172" y="598"/>
                  </a:lnTo>
                  <a:lnTo>
                    <a:pt x="172" y="597"/>
                  </a:lnTo>
                  <a:lnTo>
                    <a:pt x="172" y="595"/>
                  </a:lnTo>
                  <a:lnTo>
                    <a:pt x="174" y="594"/>
                  </a:lnTo>
                  <a:lnTo>
                    <a:pt x="174" y="593"/>
                  </a:lnTo>
                  <a:lnTo>
                    <a:pt x="175" y="593"/>
                  </a:lnTo>
                  <a:lnTo>
                    <a:pt x="176" y="593"/>
                  </a:lnTo>
                  <a:lnTo>
                    <a:pt x="177" y="593"/>
                  </a:lnTo>
                  <a:lnTo>
                    <a:pt x="177" y="594"/>
                  </a:lnTo>
                  <a:lnTo>
                    <a:pt x="176" y="595"/>
                  </a:lnTo>
                  <a:lnTo>
                    <a:pt x="176" y="597"/>
                  </a:lnTo>
                  <a:lnTo>
                    <a:pt x="176" y="599"/>
                  </a:lnTo>
                  <a:lnTo>
                    <a:pt x="177" y="598"/>
                  </a:lnTo>
                  <a:lnTo>
                    <a:pt x="177" y="597"/>
                  </a:lnTo>
                  <a:lnTo>
                    <a:pt x="177" y="595"/>
                  </a:lnTo>
                  <a:lnTo>
                    <a:pt x="178" y="595"/>
                  </a:lnTo>
                  <a:lnTo>
                    <a:pt x="178" y="594"/>
                  </a:lnTo>
                  <a:lnTo>
                    <a:pt x="180" y="593"/>
                  </a:lnTo>
                  <a:lnTo>
                    <a:pt x="180" y="594"/>
                  </a:lnTo>
                  <a:lnTo>
                    <a:pt x="181" y="594"/>
                  </a:lnTo>
                  <a:lnTo>
                    <a:pt x="181" y="595"/>
                  </a:lnTo>
                  <a:lnTo>
                    <a:pt x="180" y="597"/>
                  </a:lnTo>
                  <a:lnTo>
                    <a:pt x="180" y="598"/>
                  </a:lnTo>
                  <a:lnTo>
                    <a:pt x="180" y="599"/>
                  </a:lnTo>
                  <a:lnTo>
                    <a:pt x="181" y="600"/>
                  </a:lnTo>
                  <a:lnTo>
                    <a:pt x="181" y="601"/>
                  </a:lnTo>
                  <a:lnTo>
                    <a:pt x="181" y="603"/>
                  </a:lnTo>
                  <a:lnTo>
                    <a:pt x="181" y="604"/>
                  </a:lnTo>
                  <a:lnTo>
                    <a:pt x="182" y="603"/>
                  </a:lnTo>
                  <a:lnTo>
                    <a:pt x="182" y="600"/>
                  </a:lnTo>
                  <a:lnTo>
                    <a:pt x="183" y="600"/>
                  </a:lnTo>
                  <a:lnTo>
                    <a:pt x="183" y="599"/>
                  </a:lnTo>
                  <a:lnTo>
                    <a:pt x="184" y="598"/>
                  </a:lnTo>
                  <a:lnTo>
                    <a:pt x="184" y="599"/>
                  </a:lnTo>
                  <a:lnTo>
                    <a:pt x="186" y="600"/>
                  </a:lnTo>
                  <a:lnTo>
                    <a:pt x="186" y="599"/>
                  </a:lnTo>
                  <a:lnTo>
                    <a:pt x="186" y="598"/>
                  </a:lnTo>
                  <a:lnTo>
                    <a:pt x="186" y="597"/>
                  </a:lnTo>
                  <a:lnTo>
                    <a:pt x="186" y="595"/>
                  </a:lnTo>
                  <a:lnTo>
                    <a:pt x="187" y="595"/>
                  </a:lnTo>
                  <a:lnTo>
                    <a:pt x="187" y="593"/>
                  </a:lnTo>
                  <a:lnTo>
                    <a:pt x="187" y="591"/>
                  </a:lnTo>
                  <a:lnTo>
                    <a:pt x="187" y="589"/>
                  </a:lnTo>
                  <a:lnTo>
                    <a:pt x="187" y="587"/>
                  </a:lnTo>
                  <a:lnTo>
                    <a:pt x="187" y="586"/>
                  </a:lnTo>
                  <a:lnTo>
                    <a:pt x="186" y="585"/>
                  </a:lnTo>
                  <a:lnTo>
                    <a:pt x="186" y="582"/>
                  </a:lnTo>
                  <a:lnTo>
                    <a:pt x="187" y="583"/>
                  </a:lnTo>
                  <a:lnTo>
                    <a:pt x="187" y="586"/>
                  </a:lnTo>
                  <a:lnTo>
                    <a:pt x="188" y="587"/>
                  </a:lnTo>
                  <a:lnTo>
                    <a:pt x="188" y="588"/>
                  </a:lnTo>
                  <a:lnTo>
                    <a:pt x="189" y="589"/>
                  </a:lnTo>
                  <a:lnTo>
                    <a:pt x="189" y="592"/>
                  </a:lnTo>
                  <a:lnTo>
                    <a:pt x="189" y="593"/>
                  </a:lnTo>
                  <a:lnTo>
                    <a:pt x="188" y="594"/>
                  </a:lnTo>
                  <a:lnTo>
                    <a:pt x="188" y="598"/>
                  </a:lnTo>
                  <a:lnTo>
                    <a:pt x="188" y="599"/>
                  </a:lnTo>
                  <a:lnTo>
                    <a:pt x="188" y="600"/>
                  </a:lnTo>
                  <a:lnTo>
                    <a:pt x="187" y="601"/>
                  </a:lnTo>
                  <a:lnTo>
                    <a:pt x="187" y="603"/>
                  </a:lnTo>
                  <a:lnTo>
                    <a:pt x="187" y="604"/>
                  </a:lnTo>
                  <a:lnTo>
                    <a:pt x="188" y="605"/>
                  </a:lnTo>
                  <a:lnTo>
                    <a:pt x="190" y="605"/>
                  </a:lnTo>
                  <a:lnTo>
                    <a:pt x="192" y="604"/>
                  </a:lnTo>
                  <a:lnTo>
                    <a:pt x="192" y="603"/>
                  </a:lnTo>
                  <a:lnTo>
                    <a:pt x="190" y="601"/>
                  </a:lnTo>
                  <a:lnTo>
                    <a:pt x="190" y="600"/>
                  </a:lnTo>
                  <a:lnTo>
                    <a:pt x="192" y="600"/>
                  </a:lnTo>
                  <a:lnTo>
                    <a:pt x="193" y="600"/>
                  </a:lnTo>
                  <a:lnTo>
                    <a:pt x="193" y="603"/>
                  </a:lnTo>
                  <a:lnTo>
                    <a:pt x="193" y="604"/>
                  </a:lnTo>
                  <a:lnTo>
                    <a:pt x="194" y="603"/>
                  </a:lnTo>
                  <a:lnTo>
                    <a:pt x="195" y="603"/>
                  </a:lnTo>
                  <a:lnTo>
                    <a:pt x="196" y="601"/>
                  </a:lnTo>
                  <a:lnTo>
                    <a:pt x="198" y="603"/>
                  </a:lnTo>
                  <a:lnTo>
                    <a:pt x="199" y="604"/>
                  </a:lnTo>
                  <a:lnTo>
                    <a:pt x="199" y="605"/>
                  </a:lnTo>
                  <a:lnTo>
                    <a:pt x="200" y="604"/>
                  </a:lnTo>
                  <a:lnTo>
                    <a:pt x="200" y="605"/>
                  </a:lnTo>
                  <a:lnTo>
                    <a:pt x="200" y="606"/>
                  </a:lnTo>
                  <a:lnTo>
                    <a:pt x="200" y="607"/>
                  </a:lnTo>
                  <a:lnTo>
                    <a:pt x="199" y="609"/>
                  </a:lnTo>
                  <a:lnTo>
                    <a:pt x="198" y="610"/>
                  </a:lnTo>
                  <a:lnTo>
                    <a:pt x="196" y="611"/>
                  </a:lnTo>
                  <a:lnTo>
                    <a:pt x="196" y="612"/>
                  </a:lnTo>
                  <a:lnTo>
                    <a:pt x="199" y="612"/>
                  </a:lnTo>
                  <a:lnTo>
                    <a:pt x="200" y="612"/>
                  </a:lnTo>
                  <a:lnTo>
                    <a:pt x="200" y="611"/>
                  </a:lnTo>
                  <a:lnTo>
                    <a:pt x="202" y="610"/>
                  </a:lnTo>
                  <a:lnTo>
                    <a:pt x="204" y="610"/>
                  </a:lnTo>
                  <a:lnTo>
                    <a:pt x="204" y="609"/>
                  </a:lnTo>
                  <a:lnTo>
                    <a:pt x="205" y="607"/>
                  </a:lnTo>
                  <a:lnTo>
                    <a:pt x="206" y="607"/>
                  </a:lnTo>
                  <a:lnTo>
                    <a:pt x="206" y="609"/>
                  </a:lnTo>
                  <a:lnTo>
                    <a:pt x="207" y="610"/>
                  </a:lnTo>
                  <a:lnTo>
                    <a:pt x="207" y="611"/>
                  </a:lnTo>
                  <a:lnTo>
                    <a:pt x="207" y="612"/>
                  </a:lnTo>
                  <a:lnTo>
                    <a:pt x="206" y="613"/>
                  </a:lnTo>
                  <a:lnTo>
                    <a:pt x="206" y="615"/>
                  </a:lnTo>
                  <a:lnTo>
                    <a:pt x="205" y="616"/>
                  </a:lnTo>
                  <a:lnTo>
                    <a:pt x="202" y="616"/>
                  </a:lnTo>
                  <a:lnTo>
                    <a:pt x="201" y="616"/>
                  </a:lnTo>
                  <a:lnTo>
                    <a:pt x="200" y="616"/>
                  </a:lnTo>
                  <a:lnTo>
                    <a:pt x="199" y="616"/>
                  </a:lnTo>
                  <a:lnTo>
                    <a:pt x="198" y="616"/>
                  </a:lnTo>
                  <a:lnTo>
                    <a:pt x="198" y="617"/>
                  </a:lnTo>
                  <a:lnTo>
                    <a:pt x="196" y="617"/>
                  </a:lnTo>
                  <a:lnTo>
                    <a:pt x="195" y="617"/>
                  </a:lnTo>
                  <a:lnTo>
                    <a:pt x="193" y="617"/>
                  </a:lnTo>
                  <a:lnTo>
                    <a:pt x="190" y="618"/>
                  </a:lnTo>
                  <a:lnTo>
                    <a:pt x="188" y="618"/>
                  </a:lnTo>
                  <a:lnTo>
                    <a:pt x="187" y="618"/>
                  </a:lnTo>
                  <a:lnTo>
                    <a:pt x="186" y="619"/>
                  </a:lnTo>
                  <a:lnTo>
                    <a:pt x="184" y="619"/>
                  </a:lnTo>
                  <a:lnTo>
                    <a:pt x="183" y="619"/>
                  </a:lnTo>
                  <a:lnTo>
                    <a:pt x="182" y="619"/>
                  </a:lnTo>
                  <a:lnTo>
                    <a:pt x="181" y="619"/>
                  </a:lnTo>
                  <a:lnTo>
                    <a:pt x="180" y="619"/>
                  </a:lnTo>
                  <a:lnTo>
                    <a:pt x="180" y="621"/>
                  </a:lnTo>
                  <a:lnTo>
                    <a:pt x="178" y="621"/>
                  </a:lnTo>
                  <a:lnTo>
                    <a:pt x="177" y="622"/>
                  </a:lnTo>
                  <a:lnTo>
                    <a:pt x="176" y="622"/>
                  </a:lnTo>
                  <a:lnTo>
                    <a:pt x="175" y="621"/>
                  </a:lnTo>
                  <a:lnTo>
                    <a:pt x="175" y="622"/>
                  </a:lnTo>
                  <a:lnTo>
                    <a:pt x="174" y="622"/>
                  </a:lnTo>
                  <a:lnTo>
                    <a:pt x="166" y="622"/>
                  </a:lnTo>
                  <a:lnTo>
                    <a:pt x="165" y="622"/>
                  </a:lnTo>
                  <a:lnTo>
                    <a:pt x="164" y="621"/>
                  </a:lnTo>
                  <a:lnTo>
                    <a:pt x="163" y="622"/>
                  </a:lnTo>
                  <a:lnTo>
                    <a:pt x="162" y="622"/>
                  </a:lnTo>
                  <a:lnTo>
                    <a:pt x="160" y="622"/>
                  </a:lnTo>
                  <a:lnTo>
                    <a:pt x="158" y="622"/>
                  </a:lnTo>
                  <a:lnTo>
                    <a:pt x="156" y="622"/>
                  </a:lnTo>
                  <a:lnTo>
                    <a:pt x="156" y="623"/>
                  </a:lnTo>
                  <a:lnTo>
                    <a:pt x="154" y="623"/>
                  </a:lnTo>
                  <a:lnTo>
                    <a:pt x="153" y="623"/>
                  </a:lnTo>
                  <a:lnTo>
                    <a:pt x="152" y="622"/>
                  </a:lnTo>
                  <a:lnTo>
                    <a:pt x="150" y="622"/>
                  </a:lnTo>
                  <a:lnTo>
                    <a:pt x="150" y="623"/>
                  </a:lnTo>
                  <a:lnTo>
                    <a:pt x="147" y="623"/>
                  </a:lnTo>
                  <a:lnTo>
                    <a:pt x="146" y="622"/>
                  </a:lnTo>
                  <a:lnTo>
                    <a:pt x="147" y="621"/>
                  </a:lnTo>
                  <a:lnTo>
                    <a:pt x="146" y="619"/>
                  </a:lnTo>
                  <a:lnTo>
                    <a:pt x="145" y="621"/>
                  </a:lnTo>
                  <a:lnTo>
                    <a:pt x="145" y="622"/>
                  </a:lnTo>
                  <a:lnTo>
                    <a:pt x="142" y="622"/>
                  </a:lnTo>
                  <a:lnTo>
                    <a:pt x="141" y="622"/>
                  </a:lnTo>
                  <a:lnTo>
                    <a:pt x="141" y="623"/>
                  </a:lnTo>
                  <a:lnTo>
                    <a:pt x="142" y="623"/>
                  </a:lnTo>
                  <a:lnTo>
                    <a:pt x="142" y="624"/>
                  </a:lnTo>
                  <a:lnTo>
                    <a:pt x="141" y="624"/>
                  </a:lnTo>
                  <a:lnTo>
                    <a:pt x="140" y="624"/>
                  </a:lnTo>
                  <a:lnTo>
                    <a:pt x="139" y="625"/>
                  </a:lnTo>
                  <a:lnTo>
                    <a:pt x="137" y="625"/>
                  </a:lnTo>
                  <a:lnTo>
                    <a:pt x="135" y="625"/>
                  </a:lnTo>
                  <a:lnTo>
                    <a:pt x="134" y="625"/>
                  </a:lnTo>
                  <a:lnTo>
                    <a:pt x="133" y="625"/>
                  </a:lnTo>
                  <a:lnTo>
                    <a:pt x="133" y="624"/>
                  </a:lnTo>
                  <a:lnTo>
                    <a:pt x="131" y="623"/>
                  </a:lnTo>
                  <a:lnTo>
                    <a:pt x="130" y="624"/>
                  </a:lnTo>
                  <a:lnTo>
                    <a:pt x="131" y="624"/>
                  </a:lnTo>
                  <a:lnTo>
                    <a:pt x="131" y="625"/>
                  </a:lnTo>
                  <a:lnTo>
                    <a:pt x="133" y="625"/>
                  </a:lnTo>
                  <a:lnTo>
                    <a:pt x="131" y="627"/>
                  </a:lnTo>
                  <a:lnTo>
                    <a:pt x="130" y="627"/>
                  </a:lnTo>
                  <a:lnTo>
                    <a:pt x="129" y="628"/>
                  </a:lnTo>
                  <a:lnTo>
                    <a:pt x="129" y="629"/>
                  </a:lnTo>
                  <a:lnTo>
                    <a:pt x="128" y="628"/>
                  </a:lnTo>
                  <a:lnTo>
                    <a:pt x="127" y="628"/>
                  </a:lnTo>
                  <a:lnTo>
                    <a:pt x="127" y="627"/>
                  </a:lnTo>
                  <a:lnTo>
                    <a:pt x="125" y="628"/>
                  </a:lnTo>
                  <a:lnTo>
                    <a:pt x="124" y="629"/>
                  </a:lnTo>
                  <a:lnTo>
                    <a:pt x="123" y="628"/>
                  </a:lnTo>
                  <a:lnTo>
                    <a:pt x="121" y="628"/>
                  </a:lnTo>
                  <a:lnTo>
                    <a:pt x="118" y="628"/>
                  </a:lnTo>
                  <a:lnTo>
                    <a:pt x="117" y="628"/>
                  </a:lnTo>
                  <a:lnTo>
                    <a:pt x="115" y="628"/>
                  </a:lnTo>
                  <a:lnTo>
                    <a:pt x="110" y="628"/>
                  </a:lnTo>
                  <a:lnTo>
                    <a:pt x="109" y="628"/>
                  </a:lnTo>
                  <a:lnTo>
                    <a:pt x="110" y="629"/>
                  </a:lnTo>
                  <a:lnTo>
                    <a:pt x="110" y="630"/>
                  </a:lnTo>
                  <a:lnTo>
                    <a:pt x="112" y="629"/>
                  </a:lnTo>
                  <a:lnTo>
                    <a:pt x="115" y="629"/>
                  </a:lnTo>
                  <a:lnTo>
                    <a:pt x="115" y="630"/>
                  </a:lnTo>
                  <a:lnTo>
                    <a:pt x="117" y="630"/>
                  </a:lnTo>
                  <a:lnTo>
                    <a:pt x="118" y="630"/>
                  </a:lnTo>
                  <a:lnTo>
                    <a:pt x="119" y="630"/>
                  </a:lnTo>
                  <a:lnTo>
                    <a:pt x="119" y="631"/>
                  </a:lnTo>
                  <a:lnTo>
                    <a:pt x="119" y="633"/>
                  </a:lnTo>
                  <a:lnTo>
                    <a:pt x="118" y="634"/>
                  </a:lnTo>
                  <a:lnTo>
                    <a:pt x="118" y="636"/>
                  </a:lnTo>
                  <a:lnTo>
                    <a:pt x="119" y="635"/>
                  </a:lnTo>
                  <a:lnTo>
                    <a:pt x="121" y="634"/>
                  </a:lnTo>
                  <a:lnTo>
                    <a:pt x="121" y="633"/>
                  </a:lnTo>
                  <a:lnTo>
                    <a:pt x="123" y="631"/>
                  </a:lnTo>
                  <a:lnTo>
                    <a:pt x="124" y="630"/>
                  </a:lnTo>
                  <a:lnTo>
                    <a:pt x="125" y="630"/>
                  </a:lnTo>
                  <a:lnTo>
                    <a:pt x="125" y="633"/>
                  </a:lnTo>
                  <a:lnTo>
                    <a:pt x="125" y="634"/>
                  </a:lnTo>
                  <a:lnTo>
                    <a:pt x="125" y="635"/>
                  </a:lnTo>
                  <a:lnTo>
                    <a:pt x="127" y="634"/>
                  </a:lnTo>
                  <a:lnTo>
                    <a:pt x="128" y="633"/>
                  </a:lnTo>
                  <a:lnTo>
                    <a:pt x="128" y="631"/>
                  </a:lnTo>
                  <a:lnTo>
                    <a:pt x="129" y="630"/>
                  </a:lnTo>
                  <a:lnTo>
                    <a:pt x="130" y="629"/>
                  </a:lnTo>
                  <a:lnTo>
                    <a:pt x="131" y="629"/>
                  </a:lnTo>
                  <a:lnTo>
                    <a:pt x="131" y="630"/>
                  </a:lnTo>
                  <a:lnTo>
                    <a:pt x="131" y="633"/>
                  </a:lnTo>
                  <a:lnTo>
                    <a:pt x="130" y="634"/>
                  </a:lnTo>
                  <a:lnTo>
                    <a:pt x="131" y="636"/>
                  </a:lnTo>
                  <a:lnTo>
                    <a:pt x="130" y="636"/>
                  </a:lnTo>
                  <a:lnTo>
                    <a:pt x="130" y="638"/>
                  </a:lnTo>
                  <a:lnTo>
                    <a:pt x="130" y="639"/>
                  </a:lnTo>
                  <a:lnTo>
                    <a:pt x="131" y="640"/>
                  </a:lnTo>
                  <a:lnTo>
                    <a:pt x="131" y="641"/>
                  </a:lnTo>
                  <a:lnTo>
                    <a:pt x="131" y="642"/>
                  </a:lnTo>
                  <a:lnTo>
                    <a:pt x="131" y="644"/>
                  </a:lnTo>
                  <a:lnTo>
                    <a:pt x="130" y="645"/>
                  </a:lnTo>
                  <a:lnTo>
                    <a:pt x="129" y="645"/>
                  </a:lnTo>
                  <a:lnTo>
                    <a:pt x="130" y="645"/>
                  </a:lnTo>
                  <a:lnTo>
                    <a:pt x="131" y="645"/>
                  </a:lnTo>
                  <a:lnTo>
                    <a:pt x="131" y="646"/>
                  </a:lnTo>
                  <a:lnTo>
                    <a:pt x="130" y="647"/>
                  </a:lnTo>
                  <a:lnTo>
                    <a:pt x="129" y="647"/>
                  </a:lnTo>
                  <a:lnTo>
                    <a:pt x="129" y="646"/>
                  </a:lnTo>
                  <a:lnTo>
                    <a:pt x="127" y="646"/>
                  </a:lnTo>
                  <a:lnTo>
                    <a:pt x="127" y="647"/>
                  </a:lnTo>
                  <a:lnTo>
                    <a:pt x="124" y="647"/>
                  </a:lnTo>
                  <a:lnTo>
                    <a:pt x="123" y="646"/>
                  </a:lnTo>
                  <a:lnTo>
                    <a:pt x="122" y="646"/>
                  </a:lnTo>
                  <a:lnTo>
                    <a:pt x="119" y="646"/>
                  </a:lnTo>
                  <a:lnTo>
                    <a:pt x="119" y="645"/>
                  </a:lnTo>
                  <a:lnTo>
                    <a:pt x="118" y="645"/>
                  </a:lnTo>
                  <a:lnTo>
                    <a:pt x="117" y="645"/>
                  </a:lnTo>
                  <a:lnTo>
                    <a:pt x="116" y="644"/>
                  </a:lnTo>
                  <a:lnTo>
                    <a:pt x="115" y="644"/>
                  </a:lnTo>
                  <a:lnTo>
                    <a:pt x="113" y="644"/>
                  </a:lnTo>
                  <a:lnTo>
                    <a:pt x="111" y="644"/>
                  </a:lnTo>
                  <a:lnTo>
                    <a:pt x="110" y="644"/>
                  </a:lnTo>
                  <a:lnTo>
                    <a:pt x="109" y="644"/>
                  </a:lnTo>
                  <a:lnTo>
                    <a:pt x="107" y="642"/>
                  </a:lnTo>
                  <a:lnTo>
                    <a:pt x="106" y="642"/>
                  </a:lnTo>
                  <a:lnTo>
                    <a:pt x="105" y="642"/>
                  </a:lnTo>
                  <a:lnTo>
                    <a:pt x="104" y="644"/>
                  </a:lnTo>
                  <a:lnTo>
                    <a:pt x="103" y="644"/>
                  </a:lnTo>
                  <a:lnTo>
                    <a:pt x="100" y="644"/>
                  </a:lnTo>
                  <a:lnTo>
                    <a:pt x="99" y="644"/>
                  </a:lnTo>
                  <a:lnTo>
                    <a:pt x="98" y="644"/>
                  </a:lnTo>
                  <a:lnTo>
                    <a:pt x="95" y="642"/>
                  </a:lnTo>
                  <a:lnTo>
                    <a:pt x="94" y="641"/>
                  </a:lnTo>
                  <a:lnTo>
                    <a:pt x="93" y="640"/>
                  </a:lnTo>
                  <a:lnTo>
                    <a:pt x="92" y="640"/>
                  </a:lnTo>
                  <a:lnTo>
                    <a:pt x="89" y="640"/>
                  </a:lnTo>
                  <a:lnTo>
                    <a:pt x="91" y="641"/>
                  </a:lnTo>
                  <a:lnTo>
                    <a:pt x="92" y="641"/>
                  </a:lnTo>
                  <a:lnTo>
                    <a:pt x="93" y="642"/>
                  </a:lnTo>
                  <a:lnTo>
                    <a:pt x="94" y="642"/>
                  </a:lnTo>
                  <a:lnTo>
                    <a:pt x="95" y="644"/>
                  </a:lnTo>
                  <a:lnTo>
                    <a:pt x="95" y="645"/>
                  </a:lnTo>
                  <a:lnTo>
                    <a:pt x="95" y="646"/>
                  </a:lnTo>
                  <a:lnTo>
                    <a:pt x="94" y="646"/>
                  </a:lnTo>
                  <a:lnTo>
                    <a:pt x="92" y="646"/>
                  </a:lnTo>
                  <a:lnTo>
                    <a:pt x="89" y="646"/>
                  </a:lnTo>
                  <a:lnTo>
                    <a:pt x="88" y="646"/>
                  </a:lnTo>
                  <a:lnTo>
                    <a:pt x="87" y="647"/>
                  </a:lnTo>
                  <a:lnTo>
                    <a:pt x="86" y="647"/>
                  </a:lnTo>
                  <a:lnTo>
                    <a:pt x="86" y="648"/>
                  </a:lnTo>
                  <a:lnTo>
                    <a:pt x="88" y="648"/>
                  </a:lnTo>
                  <a:lnTo>
                    <a:pt x="91" y="648"/>
                  </a:lnTo>
                  <a:lnTo>
                    <a:pt x="91" y="650"/>
                  </a:lnTo>
                  <a:lnTo>
                    <a:pt x="89" y="650"/>
                  </a:lnTo>
                  <a:lnTo>
                    <a:pt x="87" y="651"/>
                  </a:lnTo>
                  <a:lnTo>
                    <a:pt x="86" y="652"/>
                  </a:lnTo>
                  <a:lnTo>
                    <a:pt x="84" y="652"/>
                  </a:lnTo>
                  <a:lnTo>
                    <a:pt x="83" y="652"/>
                  </a:lnTo>
                  <a:lnTo>
                    <a:pt x="83" y="651"/>
                  </a:lnTo>
                  <a:lnTo>
                    <a:pt x="81" y="651"/>
                  </a:lnTo>
                  <a:lnTo>
                    <a:pt x="80" y="651"/>
                  </a:lnTo>
                  <a:lnTo>
                    <a:pt x="78" y="651"/>
                  </a:lnTo>
                  <a:lnTo>
                    <a:pt x="78" y="652"/>
                  </a:lnTo>
                  <a:lnTo>
                    <a:pt x="80" y="652"/>
                  </a:lnTo>
                  <a:lnTo>
                    <a:pt x="81" y="652"/>
                  </a:lnTo>
                  <a:lnTo>
                    <a:pt x="81" y="653"/>
                  </a:lnTo>
                  <a:lnTo>
                    <a:pt x="75" y="653"/>
                  </a:lnTo>
                  <a:lnTo>
                    <a:pt x="75" y="654"/>
                  </a:lnTo>
                  <a:lnTo>
                    <a:pt x="76" y="654"/>
                  </a:lnTo>
                  <a:lnTo>
                    <a:pt x="78" y="654"/>
                  </a:lnTo>
                  <a:lnTo>
                    <a:pt x="80" y="654"/>
                  </a:lnTo>
                  <a:lnTo>
                    <a:pt x="81" y="654"/>
                  </a:lnTo>
                  <a:lnTo>
                    <a:pt x="81" y="656"/>
                  </a:lnTo>
                  <a:lnTo>
                    <a:pt x="81" y="657"/>
                  </a:lnTo>
                  <a:lnTo>
                    <a:pt x="82" y="657"/>
                  </a:lnTo>
                  <a:lnTo>
                    <a:pt x="82" y="656"/>
                  </a:lnTo>
                  <a:lnTo>
                    <a:pt x="83" y="656"/>
                  </a:lnTo>
                  <a:lnTo>
                    <a:pt x="84" y="654"/>
                  </a:lnTo>
                  <a:lnTo>
                    <a:pt x="86" y="654"/>
                  </a:lnTo>
                  <a:lnTo>
                    <a:pt x="86" y="656"/>
                  </a:lnTo>
                  <a:lnTo>
                    <a:pt x="86" y="659"/>
                  </a:lnTo>
                  <a:lnTo>
                    <a:pt x="86" y="663"/>
                  </a:lnTo>
                  <a:lnTo>
                    <a:pt x="86" y="665"/>
                  </a:lnTo>
                  <a:lnTo>
                    <a:pt x="87" y="665"/>
                  </a:lnTo>
                  <a:lnTo>
                    <a:pt x="88" y="663"/>
                  </a:lnTo>
                  <a:lnTo>
                    <a:pt x="88" y="660"/>
                  </a:lnTo>
                  <a:lnTo>
                    <a:pt x="89" y="662"/>
                  </a:lnTo>
                  <a:lnTo>
                    <a:pt x="89" y="663"/>
                  </a:lnTo>
                  <a:lnTo>
                    <a:pt x="89" y="665"/>
                  </a:lnTo>
                  <a:lnTo>
                    <a:pt x="91" y="665"/>
                  </a:lnTo>
                  <a:lnTo>
                    <a:pt x="92" y="664"/>
                  </a:lnTo>
                  <a:lnTo>
                    <a:pt x="92" y="663"/>
                  </a:lnTo>
                  <a:lnTo>
                    <a:pt x="92" y="659"/>
                  </a:lnTo>
                  <a:lnTo>
                    <a:pt x="91" y="656"/>
                  </a:lnTo>
                  <a:lnTo>
                    <a:pt x="91" y="654"/>
                  </a:lnTo>
                  <a:lnTo>
                    <a:pt x="92" y="653"/>
                  </a:lnTo>
                  <a:lnTo>
                    <a:pt x="93" y="652"/>
                  </a:lnTo>
                  <a:lnTo>
                    <a:pt x="95" y="651"/>
                  </a:lnTo>
                  <a:lnTo>
                    <a:pt x="95" y="652"/>
                  </a:lnTo>
                  <a:lnTo>
                    <a:pt x="94" y="653"/>
                  </a:lnTo>
                  <a:lnTo>
                    <a:pt x="94" y="654"/>
                  </a:lnTo>
                  <a:lnTo>
                    <a:pt x="93" y="654"/>
                  </a:lnTo>
                  <a:lnTo>
                    <a:pt x="92" y="656"/>
                  </a:lnTo>
                  <a:lnTo>
                    <a:pt x="92" y="657"/>
                  </a:lnTo>
                  <a:lnTo>
                    <a:pt x="93" y="658"/>
                  </a:lnTo>
                  <a:lnTo>
                    <a:pt x="93" y="659"/>
                  </a:lnTo>
                  <a:lnTo>
                    <a:pt x="93" y="662"/>
                  </a:lnTo>
                  <a:lnTo>
                    <a:pt x="92" y="663"/>
                  </a:lnTo>
                  <a:lnTo>
                    <a:pt x="93" y="665"/>
                  </a:lnTo>
                  <a:lnTo>
                    <a:pt x="93" y="666"/>
                  </a:lnTo>
                  <a:lnTo>
                    <a:pt x="93" y="670"/>
                  </a:lnTo>
                  <a:lnTo>
                    <a:pt x="93" y="671"/>
                  </a:lnTo>
                  <a:lnTo>
                    <a:pt x="94" y="671"/>
                  </a:lnTo>
                  <a:lnTo>
                    <a:pt x="94" y="670"/>
                  </a:lnTo>
                  <a:lnTo>
                    <a:pt x="94" y="658"/>
                  </a:lnTo>
                  <a:lnTo>
                    <a:pt x="95" y="658"/>
                  </a:lnTo>
                  <a:lnTo>
                    <a:pt x="97" y="659"/>
                  </a:lnTo>
                  <a:lnTo>
                    <a:pt x="97" y="662"/>
                  </a:lnTo>
                  <a:lnTo>
                    <a:pt x="97" y="663"/>
                  </a:lnTo>
                  <a:lnTo>
                    <a:pt x="97" y="664"/>
                  </a:lnTo>
                  <a:lnTo>
                    <a:pt x="97" y="665"/>
                  </a:lnTo>
                  <a:lnTo>
                    <a:pt x="97" y="666"/>
                  </a:lnTo>
                  <a:lnTo>
                    <a:pt x="97" y="668"/>
                  </a:lnTo>
                  <a:lnTo>
                    <a:pt x="97" y="669"/>
                  </a:lnTo>
                  <a:lnTo>
                    <a:pt x="97" y="670"/>
                  </a:lnTo>
                  <a:lnTo>
                    <a:pt x="97" y="675"/>
                  </a:lnTo>
                  <a:lnTo>
                    <a:pt x="98" y="676"/>
                  </a:lnTo>
                  <a:lnTo>
                    <a:pt x="99" y="677"/>
                  </a:lnTo>
                  <a:lnTo>
                    <a:pt x="99" y="676"/>
                  </a:lnTo>
                  <a:lnTo>
                    <a:pt x="99" y="675"/>
                  </a:lnTo>
                  <a:lnTo>
                    <a:pt x="99" y="664"/>
                  </a:lnTo>
                  <a:lnTo>
                    <a:pt x="99" y="663"/>
                  </a:lnTo>
                  <a:lnTo>
                    <a:pt x="100" y="663"/>
                  </a:lnTo>
                  <a:lnTo>
                    <a:pt x="101" y="663"/>
                  </a:lnTo>
                  <a:lnTo>
                    <a:pt x="101" y="664"/>
                  </a:lnTo>
                  <a:lnTo>
                    <a:pt x="101" y="666"/>
                  </a:lnTo>
                  <a:lnTo>
                    <a:pt x="103" y="665"/>
                  </a:lnTo>
                  <a:lnTo>
                    <a:pt x="104" y="664"/>
                  </a:lnTo>
                  <a:lnTo>
                    <a:pt x="104" y="663"/>
                  </a:lnTo>
                  <a:lnTo>
                    <a:pt x="105" y="663"/>
                  </a:lnTo>
                  <a:lnTo>
                    <a:pt x="105" y="662"/>
                  </a:lnTo>
                  <a:lnTo>
                    <a:pt x="106" y="662"/>
                  </a:lnTo>
                  <a:lnTo>
                    <a:pt x="107" y="663"/>
                  </a:lnTo>
                  <a:lnTo>
                    <a:pt x="110" y="663"/>
                  </a:lnTo>
                  <a:lnTo>
                    <a:pt x="109" y="663"/>
                  </a:lnTo>
                  <a:lnTo>
                    <a:pt x="109" y="662"/>
                  </a:lnTo>
                  <a:lnTo>
                    <a:pt x="109" y="660"/>
                  </a:lnTo>
                  <a:lnTo>
                    <a:pt x="109" y="659"/>
                  </a:lnTo>
                  <a:lnTo>
                    <a:pt x="109" y="658"/>
                  </a:lnTo>
                  <a:lnTo>
                    <a:pt x="109" y="656"/>
                  </a:lnTo>
                  <a:lnTo>
                    <a:pt x="110" y="656"/>
                  </a:lnTo>
                  <a:lnTo>
                    <a:pt x="110" y="657"/>
                  </a:lnTo>
                  <a:lnTo>
                    <a:pt x="111" y="657"/>
                  </a:lnTo>
                  <a:lnTo>
                    <a:pt x="112" y="657"/>
                  </a:lnTo>
                  <a:lnTo>
                    <a:pt x="112" y="658"/>
                  </a:lnTo>
                  <a:lnTo>
                    <a:pt x="112" y="659"/>
                  </a:lnTo>
                  <a:lnTo>
                    <a:pt x="111" y="662"/>
                  </a:lnTo>
                  <a:lnTo>
                    <a:pt x="111" y="664"/>
                  </a:lnTo>
                  <a:lnTo>
                    <a:pt x="111" y="665"/>
                  </a:lnTo>
                  <a:lnTo>
                    <a:pt x="109" y="665"/>
                  </a:lnTo>
                  <a:lnTo>
                    <a:pt x="109" y="666"/>
                  </a:lnTo>
                  <a:lnTo>
                    <a:pt x="110" y="666"/>
                  </a:lnTo>
                  <a:lnTo>
                    <a:pt x="111" y="666"/>
                  </a:lnTo>
                  <a:lnTo>
                    <a:pt x="111" y="668"/>
                  </a:lnTo>
                  <a:lnTo>
                    <a:pt x="111" y="669"/>
                  </a:lnTo>
                  <a:lnTo>
                    <a:pt x="112" y="669"/>
                  </a:lnTo>
                  <a:lnTo>
                    <a:pt x="112" y="670"/>
                  </a:lnTo>
                  <a:lnTo>
                    <a:pt x="111" y="671"/>
                  </a:lnTo>
                  <a:lnTo>
                    <a:pt x="112" y="671"/>
                  </a:lnTo>
                  <a:lnTo>
                    <a:pt x="112" y="672"/>
                  </a:lnTo>
                  <a:lnTo>
                    <a:pt x="113" y="672"/>
                  </a:lnTo>
                  <a:lnTo>
                    <a:pt x="113" y="671"/>
                  </a:lnTo>
                  <a:lnTo>
                    <a:pt x="113" y="669"/>
                  </a:lnTo>
                  <a:lnTo>
                    <a:pt x="115" y="669"/>
                  </a:lnTo>
                  <a:lnTo>
                    <a:pt x="116" y="669"/>
                  </a:lnTo>
                  <a:lnTo>
                    <a:pt x="116" y="671"/>
                  </a:lnTo>
                  <a:lnTo>
                    <a:pt x="116" y="672"/>
                  </a:lnTo>
                  <a:lnTo>
                    <a:pt x="115" y="674"/>
                  </a:lnTo>
                  <a:lnTo>
                    <a:pt x="113" y="675"/>
                  </a:lnTo>
                  <a:lnTo>
                    <a:pt x="113" y="676"/>
                  </a:lnTo>
                  <a:lnTo>
                    <a:pt x="113" y="677"/>
                  </a:lnTo>
                  <a:lnTo>
                    <a:pt x="113" y="678"/>
                  </a:lnTo>
                  <a:lnTo>
                    <a:pt x="113" y="681"/>
                  </a:lnTo>
                  <a:lnTo>
                    <a:pt x="115" y="682"/>
                  </a:lnTo>
                  <a:lnTo>
                    <a:pt x="113" y="682"/>
                  </a:lnTo>
                  <a:lnTo>
                    <a:pt x="112" y="682"/>
                  </a:lnTo>
                  <a:lnTo>
                    <a:pt x="111" y="683"/>
                  </a:lnTo>
                  <a:lnTo>
                    <a:pt x="110" y="684"/>
                  </a:lnTo>
                  <a:lnTo>
                    <a:pt x="109" y="686"/>
                  </a:lnTo>
                  <a:lnTo>
                    <a:pt x="107" y="687"/>
                  </a:lnTo>
                  <a:lnTo>
                    <a:pt x="106" y="688"/>
                  </a:lnTo>
                  <a:lnTo>
                    <a:pt x="105" y="688"/>
                  </a:lnTo>
                  <a:lnTo>
                    <a:pt x="105" y="689"/>
                  </a:lnTo>
                  <a:lnTo>
                    <a:pt x="104" y="690"/>
                  </a:lnTo>
                  <a:lnTo>
                    <a:pt x="104" y="692"/>
                  </a:lnTo>
                  <a:lnTo>
                    <a:pt x="101" y="693"/>
                  </a:lnTo>
                  <a:lnTo>
                    <a:pt x="99" y="693"/>
                  </a:lnTo>
                  <a:lnTo>
                    <a:pt x="97" y="693"/>
                  </a:lnTo>
                  <a:lnTo>
                    <a:pt x="95" y="693"/>
                  </a:lnTo>
                  <a:lnTo>
                    <a:pt x="94" y="695"/>
                  </a:lnTo>
                  <a:lnTo>
                    <a:pt x="93" y="695"/>
                  </a:lnTo>
                  <a:lnTo>
                    <a:pt x="92" y="695"/>
                  </a:lnTo>
                  <a:lnTo>
                    <a:pt x="89" y="694"/>
                  </a:lnTo>
                  <a:lnTo>
                    <a:pt x="88" y="694"/>
                  </a:lnTo>
                  <a:lnTo>
                    <a:pt x="87" y="693"/>
                  </a:lnTo>
                  <a:lnTo>
                    <a:pt x="84" y="693"/>
                  </a:lnTo>
                  <a:lnTo>
                    <a:pt x="84" y="694"/>
                  </a:lnTo>
                  <a:lnTo>
                    <a:pt x="87" y="694"/>
                  </a:lnTo>
                  <a:lnTo>
                    <a:pt x="88" y="694"/>
                  </a:lnTo>
                  <a:lnTo>
                    <a:pt x="87" y="695"/>
                  </a:lnTo>
                  <a:lnTo>
                    <a:pt x="86" y="695"/>
                  </a:lnTo>
                  <a:lnTo>
                    <a:pt x="84" y="696"/>
                  </a:lnTo>
                  <a:lnTo>
                    <a:pt x="83" y="698"/>
                  </a:lnTo>
                  <a:lnTo>
                    <a:pt x="82" y="698"/>
                  </a:lnTo>
                  <a:lnTo>
                    <a:pt x="83" y="698"/>
                  </a:lnTo>
                  <a:lnTo>
                    <a:pt x="86" y="698"/>
                  </a:lnTo>
                  <a:lnTo>
                    <a:pt x="88" y="698"/>
                  </a:lnTo>
                  <a:lnTo>
                    <a:pt x="88" y="699"/>
                  </a:lnTo>
                  <a:lnTo>
                    <a:pt x="87" y="700"/>
                  </a:lnTo>
                  <a:lnTo>
                    <a:pt x="87" y="701"/>
                  </a:lnTo>
                  <a:lnTo>
                    <a:pt x="88" y="701"/>
                  </a:lnTo>
                  <a:lnTo>
                    <a:pt x="89" y="700"/>
                  </a:lnTo>
                  <a:lnTo>
                    <a:pt x="89" y="699"/>
                  </a:lnTo>
                  <a:lnTo>
                    <a:pt x="92" y="699"/>
                  </a:lnTo>
                  <a:lnTo>
                    <a:pt x="92" y="700"/>
                  </a:lnTo>
                  <a:lnTo>
                    <a:pt x="92" y="702"/>
                  </a:lnTo>
                  <a:lnTo>
                    <a:pt x="93" y="702"/>
                  </a:lnTo>
                  <a:lnTo>
                    <a:pt x="93" y="701"/>
                  </a:lnTo>
                  <a:lnTo>
                    <a:pt x="93" y="700"/>
                  </a:lnTo>
                  <a:lnTo>
                    <a:pt x="94" y="699"/>
                  </a:lnTo>
                  <a:lnTo>
                    <a:pt x="94" y="696"/>
                  </a:lnTo>
                  <a:lnTo>
                    <a:pt x="95" y="696"/>
                  </a:lnTo>
                  <a:lnTo>
                    <a:pt x="95" y="698"/>
                  </a:lnTo>
                  <a:lnTo>
                    <a:pt x="95" y="699"/>
                  </a:lnTo>
                  <a:lnTo>
                    <a:pt x="95" y="700"/>
                  </a:lnTo>
                  <a:lnTo>
                    <a:pt x="95" y="702"/>
                  </a:lnTo>
                  <a:lnTo>
                    <a:pt x="95" y="704"/>
                  </a:lnTo>
                  <a:lnTo>
                    <a:pt x="95" y="706"/>
                  </a:lnTo>
                  <a:lnTo>
                    <a:pt x="94" y="707"/>
                  </a:lnTo>
                  <a:lnTo>
                    <a:pt x="92" y="707"/>
                  </a:lnTo>
                  <a:lnTo>
                    <a:pt x="88" y="707"/>
                  </a:lnTo>
                  <a:lnTo>
                    <a:pt x="86" y="706"/>
                  </a:lnTo>
                  <a:lnTo>
                    <a:pt x="84" y="705"/>
                  </a:lnTo>
                  <a:lnTo>
                    <a:pt x="83" y="706"/>
                  </a:lnTo>
                  <a:lnTo>
                    <a:pt x="82" y="705"/>
                  </a:lnTo>
                  <a:lnTo>
                    <a:pt x="82" y="704"/>
                  </a:lnTo>
                  <a:lnTo>
                    <a:pt x="81" y="704"/>
                  </a:lnTo>
                  <a:lnTo>
                    <a:pt x="81" y="705"/>
                  </a:lnTo>
                  <a:lnTo>
                    <a:pt x="80" y="705"/>
                  </a:lnTo>
                  <a:lnTo>
                    <a:pt x="80" y="704"/>
                  </a:lnTo>
                  <a:lnTo>
                    <a:pt x="78" y="702"/>
                  </a:lnTo>
                  <a:lnTo>
                    <a:pt x="77" y="702"/>
                  </a:lnTo>
                  <a:lnTo>
                    <a:pt x="77" y="704"/>
                  </a:lnTo>
                  <a:lnTo>
                    <a:pt x="77" y="705"/>
                  </a:lnTo>
                  <a:lnTo>
                    <a:pt x="75" y="704"/>
                  </a:lnTo>
                  <a:lnTo>
                    <a:pt x="72" y="704"/>
                  </a:lnTo>
                  <a:lnTo>
                    <a:pt x="71" y="704"/>
                  </a:lnTo>
                  <a:lnTo>
                    <a:pt x="72" y="705"/>
                  </a:lnTo>
                  <a:lnTo>
                    <a:pt x="74" y="705"/>
                  </a:lnTo>
                  <a:lnTo>
                    <a:pt x="75" y="706"/>
                  </a:lnTo>
                  <a:lnTo>
                    <a:pt x="75" y="707"/>
                  </a:lnTo>
                  <a:lnTo>
                    <a:pt x="75" y="708"/>
                  </a:lnTo>
                  <a:lnTo>
                    <a:pt x="76" y="708"/>
                  </a:lnTo>
                  <a:lnTo>
                    <a:pt x="77" y="708"/>
                  </a:lnTo>
                  <a:lnTo>
                    <a:pt x="78" y="708"/>
                  </a:lnTo>
                  <a:lnTo>
                    <a:pt x="78" y="707"/>
                  </a:lnTo>
                  <a:lnTo>
                    <a:pt x="80" y="707"/>
                  </a:lnTo>
                  <a:lnTo>
                    <a:pt x="81" y="707"/>
                  </a:lnTo>
                  <a:lnTo>
                    <a:pt x="81" y="708"/>
                  </a:lnTo>
                  <a:lnTo>
                    <a:pt x="80" y="708"/>
                  </a:lnTo>
                  <a:lnTo>
                    <a:pt x="80" y="710"/>
                  </a:lnTo>
                  <a:lnTo>
                    <a:pt x="81" y="710"/>
                  </a:lnTo>
                  <a:lnTo>
                    <a:pt x="82" y="710"/>
                  </a:lnTo>
                  <a:lnTo>
                    <a:pt x="81" y="711"/>
                  </a:lnTo>
                  <a:lnTo>
                    <a:pt x="81" y="713"/>
                  </a:lnTo>
                  <a:lnTo>
                    <a:pt x="82" y="713"/>
                  </a:lnTo>
                  <a:lnTo>
                    <a:pt x="82" y="712"/>
                  </a:lnTo>
                  <a:lnTo>
                    <a:pt x="82" y="711"/>
                  </a:lnTo>
                  <a:lnTo>
                    <a:pt x="83" y="711"/>
                  </a:lnTo>
                  <a:lnTo>
                    <a:pt x="82" y="710"/>
                  </a:lnTo>
                  <a:lnTo>
                    <a:pt x="83" y="708"/>
                  </a:lnTo>
                  <a:lnTo>
                    <a:pt x="84" y="708"/>
                  </a:lnTo>
                  <a:lnTo>
                    <a:pt x="87" y="708"/>
                  </a:lnTo>
                  <a:lnTo>
                    <a:pt x="84" y="710"/>
                  </a:lnTo>
                  <a:lnTo>
                    <a:pt x="84" y="711"/>
                  </a:lnTo>
                  <a:lnTo>
                    <a:pt x="83" y="712"/>
                  </a:lnTo>
                  <a:lnTo>
                    <a:pt x="84" y="713"/>
                  </a:lnTo>
                  <a:lnTo>
                    <a:pt x="86" y="713"/>
                  </a:lnTo>
                  <a:lnTo>
                    <a:pt x="86" y="712"/>
                  </a:lnTo>
                  <a:lnTo>
                    <a:pt x="86" y="711"/>
                  </a:lnTo>
                  <a:lnTo>
                    <a:pt x="87" y="711"/>
                  </a:lnTo>
                  <a:lnTo>
                    <a:pt x="87" y="710"/>
                  </a:lnTo>
                  <a:lnTo>
                    <a:pt x="88" y="710"/>
                  </a:lnTo>
                  <a:lnTo>
                    <a:pt x="89" y="708"/>
                  </a:lnTo>
                  <a:lnTo>
                    <a:pt x="91" y="710"/>
                  </a:lnTo>
                  <a:lnTo>
                    <a:pt x="89" y="710"/>
                  </a:lnTo>
                  <a:lnTo>
                    <a:pt x="89" y="711"/>
                  </a:lnTo>
                  <a:lnTo>
                    <a:pt x="88" y="713"/>
                  </a:lnTo>
                  <a:lnTo>
                    <a:pt x="88" y="714"/>
                  </a:lnTo>
                  <a:lnTo>
                    <a:pt x="88" y="716"/>
                  </a:lnTo>
                  <a:lnTo>
                    <a:pt x="87" y="717"/>
                  </a:lnTo>
                  <a:lnTo>
                    <a:pt x="87" y="718"/>
                  </a:lnTo>
                  <a:lnTo>
                    <a:pt x="87" y="719"/>
                  </a:lnTo>
                  <a:lnTo>
                    <a:pt x="86" y="719"/>
                  </a:lnTo>
                  <a:lnTo>
                    <a:pt x="84" y="718"/>
                  </a:lnTo>
                  <a:lnTo>
                    <a:pt x="83" y="717"/>
                  </a:lnTo>
                  <a:lnTo>
                    <a:pt x="83" y="718"/>
                  </a:lnTo>
                  <a:lnTo>
                    <a:pt x="83" y="719"/>
                  </a:lnTo>
                  <a:lnTo>
                    <a:pt x="84" y="719"/>
                  </a:lnTo>
                  <a:lnTo>
                    <a:pt x="86" y="720"/>
                  </a:lnTo>
                  <a:lnTo>
                    <a:pt x="84" y="720"/>
                  </a:lnTo>
                  <a:lnTo>
                    <a:pt x="84" y="722"/>
                  </a:lnTo>
                  <a:lnTo>
                    <a:pt x="82" y="722"/>
                  </a:lnTo>
                  <a:lnTo>
                    <a:pt x="80" y="723"/>
                  </a:lnTo>
                  <a:lnTo>
                    <a:pt x="77" y="723"/>
                  </a:lnTo>
                  <a:lnTo>
                    <a:pt x="76" y="724"/>
                  </a:lnTo>
                  <a:lnTo>
                    <a:pt x="77" y="725"/>
                  </a:lnTo>
                  <a:lnTo>
                    <a:pt x="78" y="725"/>
                  </a:lnTo>
                  <a:lnTo>
                    <a:pt x="80" y="725"/>
                  </a:lnTo>
                  <a:lnTo>
                    <a:pt x="81" y="725"/>
                  </a:lnTo>
                  <a:lnTo>
                    <a:pt x="82" y="724"/>
                  </a:lnTo>
                  <a:lnTo>
                    <a:pt x="84" y="724"/>
                  </a:lnTo>
                  <a:lnTo>
                    <a:pt x="84" y="725"/>
                  </a:lnTo>
                  <a:lnTo>
                    <a:pt x="83" y="725"/>
                  </a:lnTo>
                  <a:lnTo>
                    <a:pt x="82" y="725"/>
                  </a:lnTo>
                  <a:lnTo>
                    <a:pt x="81" y="728"/>
                  </a:lnTo>
                  <a:lnTo>
                    <a:pt x="80" y="729"/>
                  </a:lnTo>
                  <a:lnTo>
                    <a:pt x="81" y="729"/>
                  </a:lnTo>
                  <a:lnTo>
                    <a:pt x="82" y="729"/>
                  </a:lnTo>
                  <a:lnTo>
                    <a:pt x="83" y="728"/>
                  </a:lnTo>
                  <a:lnTo>
                    <a:pt x="83" y="729"/>
                  </a:lnTo>
                  <a:lnTo>
                    <a:pt x="83" y="731"/>
                  </a:lnTo>
                  <a:lnTo>
                    <a:pt x="83" y="734"/>
                  </a:lnTo>
                  <a:lnTo>
                    <a:pt x="84" y="732"/>
                  </a:lnTo>
                  <a:lnTo>
                    <a:pt x="86" y="731"/>
                  </a:lnTo>
                  <a:lnTo>
                    <a:pt x="86" y="730"/>
                  </a:lnTo>
                  <a:lnTo>
                    <a:pt x="86" y="729"/>
                  </a:lnTo>
                  <a:lnTo>
                    <a:pt x="87" y="728"/>
                  </a:lnTo>
                  <a:lnTo>
                    <a:pt x="87" y="726"/>
                  </a:lnTo>
                  <a:lnTo>
                    <a:pt x="88" y="726"/>
                  </a:lnTo>
                  <a:lnTo>
                    <a:pt x="88" y="728"/>
                  </a:lnTo>
                  <a:lnTo>
                    <a:pt x="88" y="729"/>
                  </a:lnTo>
                  <a:lnTo>
                    <a:pt x="88" y="731"/>
                  </a:lnTo>
                  <a:lnTo>
                    <a:pt x="88" y="730"/>
                  </a:lnTo>
                  <a:lnTo>
                    <a:pt x="89" y="730"/>
                  </a:lnTo>
                  <a:lnTo>
                    <a:pt x="91" y="730"/>
                  </a:lnTo>
                  <a:lnTo>
                    <a:pt x="91" y="731"/>
                  </a:lnTo>
                  <a:lnTo>
                    <a:pt x="91" y="741"/>
                  </a:lnTo>
                  <a:lnTo>
                    <a:pt x="91" y="742"/>
                  </a:lnTo>
                  <a:lnTo>
                    <a:pt x="92" y="743"/>
                  </a:lnTo>
                  <a:lnTo>
                    <a:pt x="93" y="742"/>
                  </a:lnTo>
                  <a:lnTo>
                    <a:pt x="93" y="740"/>
                  </a:lnTo>
                  <a:lnTo>
                    <a:pt x="93" y="737"/>
                  </a:lnTo>
                  <a:lnTo>
                    <a:pt x="94" y="737"/>
                  </a:lnTo>
                  <a:lnTo>
                    <a:pt x="94" y="740"/>
                  </a:lnTo>
                  <a:lnTo>
                    <a:pt x="94" y="741"/>
                  </a:lnTo>
                  <a:lnTo>
                    <a:pt x="95" y="740"/>
                  </a:lnTo>
                  <a:lnTo>
                    <a:pt x="95" y="738"/>
                  </a:lnTo>
                  <a:lnTo>
                    <a:pt x="97" y="737"/>
                  </a:lnTo>
                  <a:lnTo>
                    <a:pt x="97" y="736"/>
                  </a:lnTo>
                  <a:lnTo>
                    <a:pt x="98" y="735"/>
                  </a:lnTo>
                  <a:lnTo>
                    <a:pt x="98" y="734"/>
                  </a:lnTo>
                  <a:lnTo>
                    <a:pt x="99" y="734"/>
                  </a:lnTo>
                  <a:lnTo>
                    <a:pt x="100" y="735"/>
                  </a:lnTo>
                  <a:lnTo>
                    <a:pt x="101" y="735"/>
                  </a:lnTo>
                  <a:lnTo>
                    <a:pt x="103" y="734"/>
                  </a:lnTo>
                  <a:lnTo>
                    <a:pt x="104" y="734"/>
                  </a:lnTo>
                  <a:lnTo>
                    <a:pt x="104" y="737"/>
                  </a:lnTo>
                  <a:lnTo>
                    <a:pt x="105" y="738"/>
                  </a:lnTo>
                  <a:lnTo>
                    <a:pt x="105" y="740"/>
                  </a:lnTo>
                  <a:lnTo>
                    <a:pt x="104" y="741"/>
                  </a:lnTo>
                  <a:lnTo>
                    <a:pt x="104" y="742"/>
                  </a:lnTo>
                  <a:lnTo>
                    <a:pt x="104" y="743"/>
                  </a:lnTo>
                  <a:lnTo>
                    <a:pt x="103" y="745"/>
                  </a:lnTo>
                  <a:lnTo>
                    <a:pt x="103" y="746"/>
                  </a:lnTo>
                  <a:lnTo>
                    <a:pt x="103" y="747"/>
                  </a:lnTo>
                  <a:lnTo>
                    <a:pt x="104" y="747"/>
                  </a:lnTo>
                  <a:lnTo>
                    <a:pt x="104" y="746"/>
                  </a:lnTo>
                  <a:lnTo>
                    <a:pt x="105" y="746"/>
                  </a:lnTo>
                  <a:lnTo>
                    <a:pt x="105" y="745"/>
                  </a:lnTo>
                  <a:lnTo>
                    <a:pt x="105" y="743"/>
                  </a:lnTo>
                  <a:lnTo>
                    <a:pt x="106" y="743"/>
                  </a:lnTo>
                  <a:lnTo>
                    <a:pt x="106" y="746"/>
                  </a:lnTo>
                  <a:lnTo>
                    <a:pt x="106" y="747"/>
                  </a:lnTo>
                  <a:lnTo>
                    <a:pt x="107" y="747"/>
                  </a:lnTo>
                  <a:lnTo>
                    <a:pt x="109" y="745"/>
                  </a:lnTo>
                  <a:lnTo>
                    <a:pt x="109" y="743"/>
                  </a:lnTo>
                  <a:lnTo>
                    <a:pt x="110" y="742"/>
                  </a:lnTo>
                  <a:lnTo>
                    <a:pt x="110" y="743"/>
                  </a:lnTo>
                  <a:lnTo>
                    <a:pt x="111" y="742"/>
                  </a:lnTo>
                  <a:lnTo>
                    <a:pt x="111" y="740"/>
                  </a:lnTo>
                  <a:lnTo>
                    <a:pt x="112" y="738"/>
                  </a:lnTo>
                  <a:lnTo>
                    <a:pt x="112" y="740"/>
                  </a:lnTo>
                  <a:lnTo>
                    <a:pt x="112" y="741"/>
                  </a:lnTo>
                  <a:lnTo>
                    <a:pt x="113" y="741"/>
                  </a:lnTo>
                  <a:lnTo>
                    <a:pt x="115" y="740"/>
                  </a:lnTo>
                  <a:lnTo>
                    <a:pt x="115" y="741"/>
                  </a:lnTo>
                  <a:lnTo>
                    <a:pt x="115" y="742"/>
                  </a:lnTo>
                  <a:lnTo>
                    <a:pt x="116" y="743"/>
                  </a:lnTo>
                  <a:lnTo>
                    <a:pt x="117" y="743"/>
                  </a:lnTo>
                  <a:lnTo>
                    <a:pt x="117" y="745"/>
                  </a:lnTo>
                  <a:lnTo>
                    <a:pt x="117" y="746"/>
                  </a:lnTo>
                  <a:lnTo>
                    <a:pt x="119" y="746"/>
                  </a:lnTo>
                  <a:lnTo>
                    <a:pt x="119" y="745"/>
                  </a:lnTo>
                  <a:lnTo>
                    <a:pt x="119" y="741"/>
                  </a:lnTo>
                  <a:lnTo>
                    <a:pt x="121" y="741"/>
                  </a:lnTo>
                  <a:lnTo>
                    <a:pt x="122" y="742"/>
                  </a:lnTo>
                  <a:lnTo>
                    <a:pt x="123" y="742"/>
                  </a:lnTo>
                  <a:lnTo>
                    <a:pt x="123" y="743"/>
                  </a:lnTo>
                  <a:lnTo>
                    <a:pt x="123" y="745"/>
                  </a:lnTo>
                  <a:lnTo>
                    <a:pt x="122" y="747"/>
                  </a:lnTo>
                  <a:lnTo>
                    <a:pt x="121" y="748"/>
                  </a:lnTo>
                  <a:lnTo>
                    <a:pt x="121" y="749"/>
                  </a:lnTo>
                  <a:lnTo>
                    <a:pt x="121" y="751"/>
                  </a:lnTo>
                  <a:lnTo>
                    <a:pt x="122" y="749"/>
                  </a:lnTo>
                  <a:lnTo>
                    <a:pt x="123" y="748"/>
                  </a:lnTo>
                  <a:lnTo>
                    <a:pt x="124" y="748"/>
                  </a:lnTo>
                  <a:lnTo>
                    <a:pt x="125" y="748"/>
                  </a:lnTo>
                  <a:lnTo>
                    <a:pt x="127" y="749"/>
                  </a:lnTo>
                  <a:lnTo>
                    <a:pt x="128" y="752"/>
                  </a:lnTo>
                  <a:lnTo>
                    <a:pt x="129" y="753"/>
                  </a:lnTo>
                  <a:lnTo>
                    <a:pt x="130" y="754"/>
                  </a:lnTo>
                  <a:lnTo>
                    <a:pt x="129" y="757"/>
                  </a:lnTo>
                  <a:lnTo>
                    <a:pt x="128" y="758"/>
                  </a:lnTo>
                  <a:lnTo>
                    <a:pt x="127" y="758"/>
                  </a:lnTo>
                  <a:lnTo>
                    <a:pt x="125" y="759"/>
                  </a:lnTo>
                  <a:lnTo>
                    <a:pt x="124" y="759"/>
                  </a:lnTo>
                  <a:lnTo>
                    <a:pt x="123" y="758"/>
                  </a:lnTo>
                  <a:lnTo>
                    <a:pt x="122" y="759"/>
                  </a:lnTo>
                  <a:lnTo>
                    <a:pt x="119" y="759"/>
                  </a:lnTo>
                  <a:lnTo>
                    <a:pt x="118" y="759"/>
                  </a:lnTo>
                  <a:lnTo>
                    <a:pt x="116" y="758"/>
                  </a:lnTo>
                  <a:lnTo>
                    <a:pt x="116" y="757"/>
                  </a:lnTo>
                  <a:lnTo>
                    <a:pt x="115" y="757"/>
                  </a:lnTo>
                  <a:lnTo>
                    <a:pt x="113" y="757"/>
                  </a:lnTo>
                  <a:lnTo>
                    <a:pt x="112" y="757"/>
                  </a:lnTo>
                  <a:lnTo>
                    <a:pt x="111" y="757"/>
                  </a:lnTo>
                  <a:lnTo>
                    <a:pt x="107" y="757"/>
                  </a:lnTo>
                  <a:lnTo>
                    <a:pt x="105" y="755"/>
                  </a:lnTo>
                  <a:lnTo>
                    <a:pt x="104" y="755"/>
                  </a:lnTo>
                  <a:lnTo>
                    <a:pt x="104" y="757"/>
                  </a:lnTo>
                  <a:lnTo>
                    <a:pt x="105" y="757"/>
                  </a:lnTo>
                  <a:lnTo>
                    <a:pt x="106" y="758"/>
                  </a:lnTo>
                  <a:lnTo>
                    <a:pt x="107" y="758"/>
                  </a:lnTo>
                  <a:lnTo>
                    <a:pt x="109" y="759"/>
                  </a:lnTo>
                  <a:lnTo>
                    <a:pt x="107" y="761"/>
                  </a:lnTo>
                  <a:lnTo>
                    <a:pt x="107" y="763"/>
                  </a:lnTo>
                  <a:lnTo>
                    <a:pt x="109" y="763"/>
                  </a:lnTo>
                  <a:lnTo>
                    <a:pt x="109" y="761"/>
                  </a:lnTo>
                  <a:lnTo>
                    <a:pt x="110" y="761"/>
                  </a:lnTo>
                  <a:lnTo>
                    <a:pt x="111" y="760"/>
                  </a:lnTo>
                  <a:lnTo>
                    <a:pt x="112" y="760"/>
                  </a:lnTo>
                  <a:lnTo>
                    <a:pt x="113" y="760"/>
                  </a:lnTo>
                  <a:lnTo>
                    <a:pt x="116" y="760"/>
                  </a:lnTo>
                  <a:lnTo>
                    <a:pt x="116" y="761"/>
                  </a:lnTo>
                  <a:lnTo>
                    <a:pt x="115" y="763"/>
                  </a:lnTo>
                  <a:lnTo>
                    <a:pt x="115" y="764"/>
                  </a:lnTo>
                  <a:lnTo>
                    <a:pt x="115" y="765"/>
                  </a:lnTo>
                  <a:lnTo>
                    <a:pt x="115" y="766"/>
                  </a:lnTo>
                  <a:lnTo>
                    <a:pt x="116" y="765"/>
                  </a:lnTo>
                  <a:lnTo>
                    <a:pt x="117" y="764"/>
                  </a:lnTo>
                  <a:lnTo>
                    <a:pt x="117" y="761"/>
                  </a:lnTo>
                  <a:lnTo>
                    <a:pt x="118" y="761"/>
                  </a:lnTo>
                  <a:lnTo>
                    <a:pt x="118" y="760"/>
                  </a:lnTo>
                  <a:lnTo>
                    <a:pt x="121" y="760"/>
                  </a:lnTo>
                  <a:lnTo>
                    <a:pt x="122" y="760"/>
                  </a:lnTo>
                  <a:lnTo>
                    <a:pt x="121" y="763"/>
                  </a:lnTo>
                  <a:lnTo>
                    <a:pt x="119" y="765"/>
                  </a:lnTo>
                  <a:lnTo>
                    <a:pt x="119" y="767"/>
                  </a:lnTo>
                  <a:lnTo>
                    <a:pt x="119" y="770"/>
                  </a:lnTo>
                  <a:lnTo>
                    <a:pt x="121" y="771"/>
                  </a:lnTo>
                  <a:lnTo>
                    <a:pt x="119" y="772"/>
                  </a:lnTo>
                  <a:lnTo>
                    <a:pt x="119" y="773"/>
                  </a:lnTo>
                  <a:lnTo>
                    <a:pt x="119" y="775"/>
                  </a:lnTo>
                  <a:lnTo>
                    <a:pt x="121" y="776"/>
                  </a:lnTo>
                  <a:lnTo>
                    <a:pt x="121" y="777"/>
                  </a:lnTo>
                  <a:lnTo>
                    <a:pt x="122" y="778"/>
                  </a:lnTo>
                  <a:lnTo>
                    <a:pt x="123" y="777"/>
                  </a:lnTo>
                  <a:lnTo>
                    <a:pt x="124" y="776"/>
                  </a:lnTo>
                  <a:lnTo>
                    <a:pt x="124" y="773"/>
                  </a:lnTo>
                  <a:lnTo>
                    <a:pt x="124" y="771"/>
                  </a:lnTo>
                  <a:lnTo>
                    <a:pt x="124" y="767"/>
                  </a:lnTo>
                  <a:lnTo>
                    <a:pt x="124" y="766"/>
                  </a:lnTo>
                  <a:lnTo>
                    <a:pt x="125" y="765"/>
                  </a:lnTo>
                  <a:lnTo>
                    <a:pt x="125" y="764"/>
                  </a:lnTo>
                  <a:lnTo>
                    <a:pt x="127" y="761"/>
                  </a:lnTo>
                  <a:lnTo>
                    <a:pt x="127" y="760"/>
                  </a:lnTo>
                  <a:lnTo>
                    <a:pt x="127" y="761"/>
                  </a:lnTo>
                  <a:lnTo>
                    <a:pt x="127" y="764"/>
                  </a:lnTo>
                  <a:lnTo>
                    <a:pt x="125" y="765"/>
                  </a:lnTo>
                  <a:lnTo>
                    <a:pt x="128" y="764"/>
                  </a:lnTo>
                  <a:lnTo>
                    <a:pt x="128" y="763"/>
                  </a:lnTo>
                  <a:lnTo>
                    <a:pt x="128" y="764"/>
                  </a:lnTo>
                  <a:lnTo>
                    <a:pt x="129" y="766"/>
                  </a:lnTo>
                  <a:lnTo>
                    <a:pt x="128" y="769"/>
                  </a:lnTo>
                  <a:lnTo>
                    <a:pt x="128" y="771"/>
                  </a:lnTo>
                  <a:lnTo>
                    <a:pt x="128" y="772"/>
                  </a:lnTo>
                  <a:lnTo>
                    <a:pt x="128" y="773"/>
                  </a:lnTo>
                  <a:lnTo>
                    <a:pt x="128" y="776"/>
                  </a:lnTo>
                  <a:lnTo>
                    <a:pt x="129" y="777"/>
                  </a:lnTo>
                  <a:lnTo>
                    <a:pt x="130" y="777"/>
                  </a:lnTo>
                  <a:lnTo>
                    <a:pt x="130" y="775"/>
                  </a:lnTo>
                  <a:lnTo>
                    <a:pt x="130" y="771"/>
                  </a:lnTo>
                  <a:lnTo>
                    <a:pt x="130" y="767"/>
                  </a:lnTo>
                  <a:lnTo>
                    <a:pt x="130" y="765"/>
                  </a:lnTo>
                  <a:lnTo>
                    <a:pt x="130" y="763"/>
                  </a:lnTo>
                  <a:lnTo>
                    <a:pt x="131" y="761"/>
                  </a:lnTo>
                  <a:lnTo>
                    <a:pt x="133" y="760"/>
                  </a:lnTo>
                  <a:lnTo>
                    <a:pt x="131" y="763"/>
                  </a:lnTo>
                  <a:lnTo>
                    <a:pt x="131" y="765"/>
                  </a:lnTo>
                  <a:lnTo>
                    <a:pt x="131" y="767"/>
                  </a:lnTo>
                  <a:lnTo>
                    <a:pt x="131" y="770"/>
                  </a:lnTo>
                  <a:lnTo>
                    <a:pt x="131" y="771"/>
                  </a:lnTo>
                  <a:lnTo>
                    <a:pt x="133" y="772"/>
                  </a:lnTo>
                  <a:lnTo>
                    <a:pt x="134" y="771"/>
                  </a:lnTo>
                  <a:lnTo>
                    <a:pt x="134" y="773"/>
                  </a:lnTo>
                  <a:lnTo>
                    <a:pt x="134" y="775"/>
                  </a:lnTo>
                  <a:lnTo>
                    <a:pt x="134" y="777"/>
                  </a:lnTo>
                  <a:lnTo>
                    <a:pt x="134" y="779"/>
                  </a:lnTo>
                  <a:lnTo>
                    <a:pt x="134" y="781"/>
                  </a:lnTo>
                  <a:lnTo>
                    <a:pt x="135" y="781"/>
                  </a:lnTo>
                  <a:lnTo>
                    <a:pt x="135" y="779"/>
                  </a:lnTo>
                  <a:lnTo>
                    <a:pt x="136" y="777"/>
                  </a:lnTo>
                  <a:lnTo>
                    <a:pt x="136" y="776"/>
                  </a:lnTo>
                  <a:lnTo>
                    <a:pt x="137" y="776"/>
                  </a:lnTo>
                  <a:lnTo>
                    <a:pt x="137" y="775"/>
                  </a:lnTo>
                  <a:lnTo>
                    <a:pt x="139" y="775"/>
                  </a:lnTo>
                  <a:lnTo>
                    <a:pt x="139" y="776"/>
                  </a:lnTo>
                  <a:lnTo>
                    <a:pt x="139" y="777"/>
                  </a:lnTo>
                  <a:lnTo>
                    <a:pt x="137" y="778"/>
                  </a:lnTo>
                  <a:lnTo>
                    <a:pt x="139" y="779"/>
                  </a:lnTo>
                  <a:lnTo>
                    <a:pt x="139" y="781"/>
                  </a:lnTo>
                  <a:lnTo>
                    <a:pt x="140" y="782"/>
                  </a:lnTo>
                  <a:lnTo>
                    <a:pt x="140" y="781"/>
                  </a:lnTo>
                  <a:lnTo>
                    <a:pt x="141" y="778"/>
                  </a:lnTo>
                  <a:lnTo>
                    <a:pt x="141" y="776"/>
                  </a:lnTo>
                  <a:lnTo>
                    <a:pt x="141" y="775"/>
                  </a:lnTo>
                  <a:lnTo>
                    <a:pt x="142" y="775"/>
                  </a:lnTo>
                  <a:lnTo>
                    <a:pt x="142" y="773"/>
                  </a:lnTo>
                  <a:lnTo>
                    <a:pt x="143" y="773"/>
                  </a:lnTo>
                  <a:lnTo>
                    <a:pt x="145" y="773"/>
                  </a:lnTo>
                  <a:lnTo>
                    <a:pt x="145" y="772"/>
                  </a:lnTo>
                  <a:lnTo>
                    <a:pt x="146" y="773"/>
                  </a:lnTo>
                  <a:lnTo>
                    <a:pt x="145" y="777"/>
                  </a:lnTo>
                  <a:lnTo>
                    <a:pt x="145" y="779"/>
                  </a:lnTo>
                  <a:lnTo>
                    <a:pt x="146" y="781"/>
                  </a:lnTo>
                  <a:lnTo>
                    <a:pt x="147" y="781"/>
                  </a:lnTo>
                  <a:lnTo>
                    <a:pt x="147" y="779"/>
                  </a:lnTo>
                  <a:lnTo>
                    <a:pt x="147" y="777"/>
                  </a:lnTo>
                  <a:lnTo>
                    <a:pt x="148" y="776"/>
                  </a:lnTo>
                  <a:lnTo>
                    <a:pt x="148" y="777"/>
                  </a:lnTo>
                  <a:lnTo>
                    <a:pt x="150" y="778"/>
                  </a:lnTo>
                  <a:lnTo>
                    <a:pt x="151" y="779"/>
                  </a:lnTo>
                  <a:lnTo>
                    <a:pt x="151" y="781"/>
                  </a:lnTo>
                  <a:lnTo>
                    <a:pt x="151" y="782"/>
                  </a:lnTo>
                  <a:lnTo>
                    <a:pt x="151" y="783"/>
                  </a:lnTo>
                  <a:lnTo>
                    <a:pt x="150" y="784"/>
                  </a:lnTo>
                  <a:lnTo>
                    <a:pt x="148" y="787"/>
                  </a:lnTo>
                  <a:lnTo>
                    <a:pt x="148" y="788"/>
                  </a:lnTo>
                  <a:lnTo>
                    <a:pt x="148" y="789"/>
                  </a:lnTo>
                  <a:lnTo>
                    <a:pt x="148" y="790"/>
                  </a:lnTo>
                  <a:lnTo>
                    <a:pt x="148" y="791"/>
                  </a:lnTo>
                  <a:lnTo>
                    <a:pt x="150" y="793"/>
                  </a:lnTo>
                  <a:lnTo>
                    <a:pt x="150" y="794"/>
                  </a:lnTo>
                  <a:lnTo>
                    <a:pt x="152" y="794"/>
                  </a:lnTo>
                  <a:lnTo>
                    <a:pt x="151" y="791"/>
                  </a:lnTo>
                  <a:lnTo>
                    <a:pt x="152" y="789"/>
                  </a:lnTo>
                  <a:lnTo>
                    <a:pt x="152" y="787"/>
                  </a:lnTo>
                  <a:lnTo>
                    <a:pt x="153" y="784"/>
                  </a:lnTo>
                  <a:lnTo>
                    <a:pt x="154" y="783"/>
                  </a:lnTo>
                  <a:lnTo>
                    <a:pt x="157" y="783"/>
                  </a:lnTo>
                  <a:lnTo>
                    <a:pt x="157" y="784"/>
                  </a:lnTo>
                  <a:lnTo>
                    <a:pt x="157" y="787"/>
                  </a:lnTo>
                  <a:lnTo>
                    <a:pt x="157" y="788"/>
                  </a:lnTo>
                  <a:lnTo>
                    <a:pt x="157" y="790"/>
                  </a:lnTo>
                  <a:lnTo>
                    <a:pt x="158" y="793"/>
                  </a:lnTo>
                  <a:lnTo>
                    <a:pt x="159" y="794"/>
                  </a:lnTo>
                  <a:lnTo>
                    <a:pt x="159" y="793"/>
                  </a:lnTo>
                  <a:lnTo>
                    <a:pt x="159" y="790"/>
                  </a:lnTo>
                  <a:lnTo>
                    <a:pt x="159" y="788"/>
                  </a:lnTo>
                  <a:lnTo>
                    <a:pt x="159" y="787"/>
                  </a:lnTo>
                  <a:lnTo>
                    <a:pt x="162" y="788"/>
                  </a:lnTo>
                  <a:lnTo>
                    <a:pt x="162" y="785"/>
                  </a:lnTo>
                  <a:lnTo>
                    <a:pt x="163" y="784"/>
                  </a:lnTo>
                  <a:lnTo>
                    <a:pt x="164" y="783"/>
                  </a:lnTo>
                  <a:lnTo>
                    <a:pt x="164" y="781"/>
                  </a:lnTo>
                  <a:lnTo>
                    <a:pt x="164" y="778"/>
                  </a:lnTo>
                  <a:lnTo>
                    <a:pt x="165" y="775"/>
                  </a:lnTo>
                  <a:lnTo>
                    <a:pt x="166" y="775"/>
                  </a:lnTo>
                  <a:lnTo>
                    <a:pt x="166" y="776"/>
                  </a:lnTo>
                  <a:lnTo>
                    <a:pt x="166" y="778"/>
                  </a:lnTo>
                  <a:lnTo>
                    <a:pt x="165" y="782"/>
                  </a:lnTo>
                  <a:lnTo>
                    <a:pt x="164" y="784"/>
                  </a:lnTo>
                  <a:lnTo>
                    <a:pt x="164" y="785"/>
                  </a:lnTo>
                  <a:lnTo>
                    <a:pt x="165" y="785"/>
                  </a:lnTo>
                  <a:lnTo>
                    <a:pt x="166" y="783"/>
                  </a:lnTo>
                  <a:lnTo>
                    <a:pt x="166" y="782"/>
                  </a:lnTo>
                  <a:lnTo>
                    <a:pt x="166" y="785"/>
                  </a:lnTo>
                  <a:lnTo>
                    <a:pt x="166" y="787"/>
                  </a:lnTo>
                  <a:lnTo>
                    <a:pt x="166" y="789"/>
                  </a:lnTo>
                  <a:lnTo>
                    <a:pt x="166" y="791"/>
                  </a:lnTo>
                  <a:lnTo>
                    <a:pt x="165" y="793"/>
                  </a:lnTo>
                  <a:lnTo>
                    <a:pt x="165" y="794"/>
                  </a:lnTo>
                  <a:lnTo>
                    <a:pt x="165" y="795"/>
                  </a:lnTo>
                  <a:lnTo>
                    <a:pt x="165" y="796"/>
                  </a:lnTo>
                  <a:lnTo>
                    <a:pt x="166" y="797"/>
                  </a:lnTo>
                  <a:lnTo>
                    <a:pt x="166" y="796"/>
                  </a:lnTo>
                  <a:lnTo>
                    <a:pt x="166" y="795"/>
                  </a:lnTo>
                  <a:lnTo>
                    <a:pt x="168" y="794"/>
                  </a:lnTo>
                  <a:lnTo>
                    <a:pt x="169" y="794"/>
                  </a:lnTo>
                  <a:lnTo>
                    <a:pt x="169" y="795"/>
                  </a:lnTo>
                  <a:lnTo>
                    <a:pt x="170" y="796"/>
                  </a:lnTo>
                  <a:lnTo>
                    <a:pt x="170" y="797"/>
                  </a:lnTo>
                  <a:lnTo>
                    <a:pt x="171" y="799"/>
                  </a:lnTo>
                  <a:lnTo>
                    <a:pt x="172" y="799"/>
                  </a:lnTo>
                  <a:lnTo>
                    <a:pt x="172" y="796"/>
                  </a:lnTo>
                  <a:lnTo>
                    <a:pt x="174" y="795"/>
                  </a:lnTo>
                  <a:lnTo>
                    <a:pt x="174" y="794"/>
                  </a:lnTo>
                  <a:lnTo>
                    <a:pt x="174" y="793"/>
                  </a:lnTo>
                  <a:lnTo>
                    <a:pt x="175" y="791"/>
                  </a:lnTo>
                  <a:lnTo>
                    <a:pt x="176" y="793"/>
                  </a:lnTo>
                  <a:lnTo>
                    <a:pt x="176" y="795"/>
                  </a:lnTo>
                  <a:lnTo>
                    <a:pt x="176" y="801"/>
                  </a:lnTo>
                  <a:lnTo>
                    <a:pt x="177" y="800"/>
                  </a:lnTo>
                  <a:lnTo>
                    <a:pt x="177" y="799"/>
                  </a:lnTo>
                  <a:lnTo>
                    <a:pt x="177" y="795"/>
                  </a:lnTo>
                  <a:lnTo>
                    <a:pt x="178" y="794"/>
                  </a:lnTo>
                  <a:lnTo>
                    <a:pt x="178" y="793"/>
                  </a:lnTo>
                  <a:lnTo>
                    <a:pt x="178" y="790"/>
                  </a:lnTo>
                  <a:lnTo>
                    <a:pt x="180" y="791"/>
                  </a:lnTo>
                  <a:lnTo>
                    <a:pt x="180" y="793"/>
                  </a:lnTo>
                  <a:lnTo>
                    <a:pt x="181" y="793"/>
                  </a:lnTo>
                  <a:lnTo>
                    <a:pt x="181" y="790"/>
                  </a:lnTo>
                  <a:lnTo>
                    <a:pt x="182" y="789"/>
                  </a:lnTo>
                  <a:lnTo>
                    <a:pt x="181" y="787"/>
                  </a:lnTo>
                  <a:lnTo>
                    <a:pt x="182" y="785"/>
                  </a:lnTo>
                  <a:lnTo>
                    <a:pt x="183" y="788"/>
                  </a:lnTo>
                  <a:lnTo>
                    <a:pt x="184" y="788"/>
                  </a:lnTo>
                  <a:lnTo>
                    <a:pt x="184" y="789"/>
                  </a:lnTo>
                  <a:lnTo>
                    <a:pt x="184" y="790"/>
                  </a:lnTo>
                  <a:lnTo>
                    <a:pt x="183" y="791"/>
                  </a:lnTo>
                  <a:lnTo>
                    <a:pt x="182" y="794"/>
                  </a:lnTo>
                  <a:lnTo>
                    <a:pt x="183" y="794"/>
                  </a:lnTo>
                  <a:lnTo>
                    <a:pt x="184" y="793"/>
                  </a:lnTo>
                  <a:lnTo>
                    <a:pt x="184" y="791"/>
                  </a:lnTo>
                  <a:lnTo>
                    <a:pt x="184" y="794"/>
                  </a:lnTo>
                  <a:lnTo>
                    <a:pt x="184" y="796"/>
                  </a:lnTo>
                  <a:lnTo>
                    <a:pt x="186" y="796"/>
                  </a:lnTo>
                  <a:lnTo>
                    <a:pt x="186" y="793"/>
                  </a:lnTo>
                  <a:lnTo>
                    <a:pt x="187" y="790"/>
                  </a:lnTo>
                  <a:lnTo>
                    <a:pt x="188" y="790"/>
                  </a:lnTo>
                  <a:lnTo>
                    <a:pt x="188" y="789"/>
                  </a:lnTo>
                  <a:lnTo>
                    <a:pt x="187" y="788"/>
                  </a:lnTo>
                  <a:lnTo>
                    <a:pt x="187" y="785"/>
                  </a:lnTo>
                  <a:lnTo>
                    <a:pt x="187" y="784"/>
                  </a:lnTo>
                  <a:lnTo>
                    <a:pt x="189" y="783"/>
                  </a:lnTo>
                  <a:lnTo>
                    <a:pt x="188" y="785"/>
                  </a:lnTo>
                  <a:lnTo>
                    <a:pt x="187" y="787"/>
                  </a:lnTo>
                  <a:lnTo>
                    <a:pt x="188" y="788"/>
                  </a:lnTo>
                  <a:lnTo>
                    <a:pt x="188" y="787"/>
                  </a:lnTo>
                  <a:lnTo>
                    <a:pt x="188" y="788"/>
                  </a:lnTo>
                  <a:lnTo>
                    <a:pt x="188" y="790"/>
                  </a:lnTo>
                  <a:lnTo>
                    <a:pt x="188" y="791"/>
                  </a:lnTo>
                  <a:lnTo>
                    <a:pt x="188" y="793"/>
                  </a:lnTo>
                  <a:lnTo>
                    <a:pt x="189" y="794"/>
                  </a:lnTo>
                  <a:lnTo>
                    <a:pt x="190" y="794"/>
                  </a:lnTo>
                  <a:lnTo>
                    <a:pt x="190" y="791"/>
                  </a:lnTo>
                  <a:lnTo>
                    <a:pt x="190" y="790"/>
                  </a:lnTo>
                  <a:lnTo>
                    <a:pt x="189" y="789"/>
                  </a:lnTo>
                  <a:lnTo>
                    <a:pt x="189" y="788"/>
                  </a:lnTo>
                  <a:lnTo>
                    <a:pt x="190" y="787"/>
                  </a:lnTo>
                  <a:lnTo>
                    <a:pt x="190" y="785"/>
                  </a:lnTo>
                  <a:lnTo>
                    <a:pt x="192" y="784"/>
                  </a:lnTo>
                  <a:lnTo>
                    <a:pt x="192" y="783"/>
                  </a:lnTo>
                  <a:lnTo>
                    <a:pt x="192" y="781"/>
                  </a:lnTo>
                  <a:lnTo>
                    <a:pt x="192" y="779"/>
                  </a:lnTo>
                  <a:lnTo>
                    <a:pt x="193" y="778"/>
                  </a:lnTo>
                  <a:lnTo>
                    <a:pt x="193" y="777"/>
                  </a:lnTo>
                  <a:lnTo>
                    <a:pt x="194" y="776"/>
                  </a:lnTo>
                  <a:lnTo>
                    <a:pt x="194" y="775"/>
                  </a:lnTo>
                  <a:lnTo>
                    <a:pt x="195" y="775"/>
                  </a:lnTo>
                  <a:lnTo>
                    <a:pt x="195" y="776"/>
                  </a:lnTo>
                  <a:lnTo>
                    <a:pt x="194" y="778"/>
                  </a:lnTo>
                  <a:lnTo>
                    <a:pt x="193" y="779"/>
                  </a:lnTo>
                  <a:lnTo>
                    <a:pt x="193" y="781"/>
                  </a:lnTo>
                  <a:lnTo>
                    <a:pt x="194" y="781"/>
                  </a:lnTo>
                  <a:lnTo>
                    <a:pt x="193" y="782"/>
                  </a:lnTo>
                  <a:lnTo>
                    <a:pt x="193" y="783"/>
                  </a:lnTo>
                  <a:lnTo>
                    <a:pt x="194" y="783"/>
                  </a:lnTo>
                  <a:lnTo>
                    <a:pt x="194" y="784"/>
                  </a:lnTo>
                  <a:lnTo>
                    <a:pt x="193" y="785"/>
                  </a:lnTo>
                  <a:lnTo>
                    <a:pt x="192" y="785"/>
                  </a:lnTo>
                  <a:lnTo>
                    <a:pt x="192" y="787"/>
                  </a:lnTo>
                  <a:lnTo>
                    <a:pt x="192" y="788"/>
                  </a:lnTo>
                  <a:lnTo>
                    <a:pt x="190" y="788"/>
                  </a:lnTo>
                  <a:lnTo>
                    <a:pt x="189" y="789"/>
                  </a:lnTo>
                  <a:lnTo>
                    <a:pt x="190" y="789"/>
                  </a:lnTo>
                  <a:lnTo>
                    <a:pt x="190" y="790"/>
                  </a:lnTo>
                  <a:lnTo>
                    <a:pt x="193" y="790"/>
                  </a:lnTo>
                  <a:lnTo>
                    <a:pt x="193" y="788"/>
                  </a:lnTo>
                  <a:lnTo>
                    <a:pt x="194" y="787"/>
                  </a:lnTo>
                  <a:lnTo>
                    <a:pt x="194" y="785"/>
                  </a:lnTo>
                  <a:lnTo>
                    <a:pt x="195" y="787"/>
                  </a:lnTo>
                  <a:lnTo>
                    <a:pt x="196" y="788"/>
                  </a:lnTo>
                  <a:lnTo>
                    <a:pt x="195" y="789"/>
                  </a:lnTo>
                  <a:lnTo>
                    <a:pt x="194" y="790"/>
                  </a:lnTo>
                  <a:lnTo>
                    <a:pt x="194" y="791"/>
                  </a:lnTo>
                  <a:lnTo>
                    <a:pt x="195" y="791"/>
                  </a:lnTo>
                  <a:lnTo>
                    <a:pt x="196" y="790"/>
                  </a:lnTo>
                  <a:lnTo>
                    <a:pt x="196" y="791"/>
                  </a:lnTo>
                  <a:lnTo>
                    <a:pt x="196" y="793"/>
                  </a:lnTo>
                  <a:lnTo>
                    <a:pt x="195" y="795"/>
                  </a:lnTo>
                  <a:lnTo>
                    <a:pt x="195" y="796"/>
                  </a:lnTo>
                  <a:lnTo>
                    <a:pt x="196" y="796"/>
                  </a:lnTo>
                  <a:lnTo>
                    <a:pt x="198" y="795"/>
                  </a:lnTo>
                  <a:lnTo>
                    <a:pt x="198" y="796"/>
                  </a:lnTo>
                  <a:lnTo>
                    <a:pt x="198" y="799"/>
                  </a:lnTo>
                  <a:lnTo>
                    <a:pt x="196" y="801"/>
                  </a:lnTo>
                  <a:lnTo>
                    <a:pt x="196" y="805"/>
                  </a:lnTo>
                  <a:lnTo>
                    <a:pt x="196" y="808"/>
                  </a:lnTo>
                  <a:lnTo>
                    <a:pt x="196" y="807"/>
                  </a:lnTo>
                  <a:lnTo>
                    <a:pt x="198" y="805"/>
                  </a:lnTo>
                  <a:lnTo>
                    <a:pt x="198" y="802"/>
                  </a:lnTo>
                  <a:lnTo>
                    <a:pt x="199" y="800"/>
                  </a:lnTo>
                  <a:lnTo>
                    <a:pt x="200" y="800"/>
                  </a:lnTo>
                  <a:lnTo>
                    <a:pt x="201" y="801"/>
                  </a:lnTo>
                  <a:lnTo>
                    <a:pt x="201" y="802"/>
                  </a:lnTo>
                  <a:lnTo>
                    <a:pt x="200" y="803"/>
                  </a:lnTo>
                  <a:lnTo>
                    <a:pt x="200" y="806"/>
                  </a:lnTo>
                  <a:lnTo>
                    <a:pt x="201" y="805"/>
                  </a:lnTo>
                  <a:lnTo>
                    <a:pt x="201" y="807"/>
                  </a:lnTo>
                  <a:lnTo>
                    <a:pt x="202" y="809"/>
                  </a:lnTo>
                  <a:lnTo>
                    <a:pt x="204" y="809"/>
                  </a:lnTo>
                  <a:lnTo>
                    <a:pt x="202" y="806"/>
                  </a:lnTo>
                  <a:lnTo>
                    <a:pt x="204" y="803"/>
                  </a:lnTo>
                  <a:lnTo>
                    <a:pt x="205" y="801"/>
                  </a:lnTo>
                  <a:lnTo>
                    <a:pt x="205" y="799"/>
                  </a:lnTo>
                  <a:lnTo>
                    <a:pt x="206" y="796"/>
                  </a:lnTo>
                  <a:lnTo>
                    <a:pt x="206" y="793"/>
                  </a:lnTo>
                  <a:lnTo>
                    <a:pt x="206" y="790"/>
                  </a:lnTo>
                  <a:lnTo>
                    <a:pt x="207" y="787"/>
                  </a:lnTo>
                  <a:lnTo>
                    <a:pt x="209" y="787"/>
                  </a:lnTo>
                  <a:lnTo>
                    <a:pt x="210" y="788"/>
                  </a:lnTo>
                  <a:lnTo>
                    <a:pt x="211" y="790"/>
                  </a:lnTo>
                  <a:lnTo>
                    <a:pt x="211" y="795"/>
                  </a:lnTo>
                  <a:lnTo>
                    <a:pt x="211" y="799"/>
                  </a:lnTo>
                  <a:lnTo>
                    <a:pt x="211" y="802"/>
                  </a:lnTo>
                  <a:lnTo>
                    <a:pt x="210" y="805"/>
                  </a:lnTo>
                  <a:lnTo>
                    <a:pt x="209" y="807"/>
                  </a:lnTo>
                  <a:lnTo>
                    <a:pt x="210" y="808"/>
                  </a:lnTo>
                  <a:lnTo>
                    <a:pt x="211" y="807"/>
                  </a:lnTo>
                  <a:lnTo>
                    <a:pt x="212" y="805"/>
                  </a:lnTo>
                  <a:lnTo>
                    <a:pt x="212" y="801"/>
                  </a:lnTo>
                  <a:lnTo>
                    <a:pt x="213" y="799"/>
                  </a:lnTo>
                  <a:lnTo>
                    <a:pt x="213" y="795"/>
                  </a:lnTo>
                  <a:lnTo>
                    <a:pt x="215" y="795"/>
                  </a:lnTo>
                  <a:lnTo>
                    <a:pt x="215" y="797"/>
                  </a:lnTo>
                  <a:lnTo>
                    <a:pt x="216" y="797"/>
                  </a:lnTo>
                  <a:lnTo>
                    <a:pt x="217" y="797"/>
                  </a:lnTo>
                  <a:lnTo>
                    <a:pt x="217" y="800"/>
                  </a:lnTo>
                  <a:lnTo>
                    <a:pt x="217" y="802"/>
                  </a:lnTo>
                  <a:lnTo>
                    <a:pt x="215" y="808"/>
                  </a:lnTo>
                  <a:lnTo>
                    <a:pt x="215" y="811"/>
                  </a:lnTo>
                  <a:lnTo>
                    <a:pt x="216" y="813"/>
                  </a:lnTo>
                  <a:lnTo>
                    <a:pt x="217" y="812"/>
                  </a:lnTo>
                  <a:lnTo>
                    <a:pt x="217" y="811"/>
                  </a:lnTo>
                  <a:lnTo>
                    <a:pt x="218" y="809"/>
                  </a:lnTo>
                  <a:lnTo>
                    <a:pt x="218" y="812"/>
                  </a:lnTo>
                  <a:lnTo>
                    <a:pt x="219" y="812"/>
                  </a:lnTo>
                  <a:lnTo>
                    <a:pt x="221" y="809"/>
                  </a:lnTo>
                  <a:lnTo>
                    <a:pt x="221" y="807"/>
                  </a:lnTo>
                  <a:lnTo>
                    <a:pt x="221" y="805"/>
                  </a:lnTo>
                  <a:lnTo>
                    <a:pt x="219" y="799"/>
                  </a:lnTo>
                  <a:lnTo>
                    <a:pt x="219" y="795"/>
                  </a:lnTo>
                  <a:lnTo>
                    <a:pt x="221" y="794"/>
                  </a:lnTo>
                  <a:lnTo>
                    <a:pt x="219" y="790"/>
                  </a:lnTo>
                  <a:lnTo>
                    <a:pt x="219" y="787"/>
                  </a:lnTo>
                  <a:lnTo>
                    <a:pt x="221" y="783"/>
                  </a:lnTo>
                  <a:lnTo>
                    <a:pt x="223" y="781"/>
                  </a:lnTo>
                  <a:lnTo>
                    <a:pt x="224" y="777"/>
                  </a:lnTo>
                  <a:lnTo>
                    <a:pt x="224" y="781"/>
                  </a:lnTo>
                  <a:lnTo>
                    <a:pt x="225" y="784"/>
                  </a:lnTo>
                  <a:lnTo>
                    <a:pt x="228" y="783"/>
                  </a:lnTo>
                  <a:lnTo>
                    <a:pt x="229" y="787"/>
                  </a:lnTo>
                  <a:lnTo>
                    <a:pt x="230" y="791"/>
                  </a:lnTo>
                  <a:lnTo>
                    <a:pt x="231" y="789"/>
                  </a:lnTo>
                  <a:lnTo>
                    <a:pt x="231" y="784"/>
                  </a:lnTo>
                  <a:lnTo>
                    <a:pt x="233" y="778"/>
                  </a:lnTo>
                  <a:lnTo>
                    <a:pt x="231" y="772"/>
                  </a:lnTo>
                  <a:lnTo>
                    <a:pt x="233" y="770"/>
                  </a:lnTo>
                  <a:lnTo>
                    <a:pt x="233" y="779"/>
                  </a:lnTo>
                  <a:lnTo>
                    <a:pt x="235" y="781"/>
                  </a:lnTo>
                  <a:lnTo>
                    <a:pt x="236" y="776"/>
                  </a:lnTo>
                  <a:lnTo>
                    <a:pt x="237" y="776"/>
                  </a:lnTo>
                  <a:lnTo>
                    <a:pt x="237" y="772"/>
                  </a:lnTo>
                  <a:lnTo>
                    <a:pt x="237" y="769"/>
                  </a:lnTo>
                  <a:lnTo>
                    <a:pt x="239" y="767"/>
                  </a:lnTo>
                  <a:lnTo>
                    <a:pt x="240" y="772"/>
                  </a:lnTo>
                  <a:lnTo>
                    <a:pt x="240" y="776"/>
                  </a:lnTo>
                  <a:lnTo>
                    <a:pt x="240" y="771"/>
                  </a:lnTo>
                  <a:lnTo>
                    <a:pt x="241" y="767"/>
                  </a:lnTo>
                  <a:lnTo>
                    <a:pt x="242" y="763"/>
                  </a:lnTo>
                  <a:lnTo>
                    <a:pt x="242" y="760"/>
                  </a:lnTo>
                  <a:lnTo>
                    <a:pt x="243" y="758"/>
                  </a:lnTo>
                  <a:lnTo>
                    <a:pt x="247" y="758"/>
                  </a:lnTo>
                  <a:lnTo>
                    <a:pt x="248" y="760"/>
                  </a:lnTo>
                  <a:lnTo>
                    <a:pt x="247" y="761"/>
                  </a:lnTo>
                  <a:lnTo>
                    <a:pt x="242" y="766"/>
                  </a:lnTo>
                  <a:lnTo>
                    <a:pt x="242" y="767"/>
                  </a:lnTo>
                  <a:lnTo>
                    <a:pt x="242" y="771"/>
                  </a:lnTo>
                  <a:lnTo>
                    <a:pt x="242" y="773"/>
                  </a:lnTo>
                  <a:lnTo>
                    <a:pt x="242" y="776"/>
                  </a:lnTo>
                  <a:lnTo>
                    <a:pt x="243" y="777"/>
                  </a:lnTo>
                  <a:lnTo>
                    <a:pt x="247" y="777"/>
                  </a:lnTo>
                  <a:lnTo>
                    <a:pt x="247" y="778"/>
                  </a:lnTo>
                  <a:lnTo>
                    <a:pt x="247" y="782"/>
                  </a:lnTo>
                  <a:lnTo>
                    <a:pt x="247" y="783"/>
                  </a:lnTo>
                  <a:lnTo>
                    <a:pt x="243" y="783"/>
                  </a:lnTo>
                  <a:lnTo>
                    <a:pt x="242" y="784"/>
                  </a:lnTo>
                  <a:lnTo>
                    <a:pt x="241" y="781"/>
                  </a:lnTo>
                  <a:lnTo>
                    <a:pt x="240" y="782"/>
                  </a:lnTo>
                  <a:lnTo>
                    <a:pt x="239" y="784"/>
                  </a:lnTo>
                  <a:lnTo>
                    <a:pt x="237" y="785"/>
                  </a:lnTo>
                  <a:lnTo>
                    <a:pt x="235" y="787"/>
                  </a:lnTo>
                  <a:lnTo>
                    <a:pt x="234" y="789"/>
                  </a:lnTo>
                  <a:lnTo>
                    <a:pt x="235" y="789"/>
                  </a:lnTo>
                  <a:lnTo>
                    <a:pt x="236" y="789"/>
                  </a:lnTo>
                  <a:lnTo>
                    <a:pt x="239" y="789"/>
                  </a:lnTo>
                  <a:lnTo>
                    <a:pt x="241" y="789"/>
                  </a:lnTo>
                  <a:lnTo>
                    <a:pt x="241" y="790"/>
                  </a:lnTo>
                  <a:lnTo>
                    <a:pt x="240" y="795"/>
                  </a:lnTo>
                  <a:lnTo>
                    <a:pt x="240" y="800"/>
                  </a:lnTo>
                  <a:lnTo>
                    <a:pt x="240" y="802"/>
                  </a:lnTo>
                  <a:lnTo>
                    <a:pt x="239" y="806"/>
                  </a:lnTo>
                  <a:lnTo>
                    <a:pt x="237" y="808"/>
                  </a:lnTo>
                  <a:lnTo>
                    <a:pt x="234" y="811"/>
                  </a:lnTo>
                  <a:lnTo>
                    <a:pt x="231" y="813"/>
                  </a:lnTo>
                  <a:lnTo>
                    <a:pt x="229" y="812"/>
                  </a:lnTo>
                  <a:lnTo>
                    <a:pt x="225" y="813"/>
                  </a:lnTo>
                  <a:lnTo>
                    <a:pt x="224" y="814"/>
                  </a:lnTo>
                  <a:lnTo>
                    <a:pt x="221" y="814"/>
                  </a:lnTo>
                  <a:lnTo>
                    <a:pt x="215" y="815"/>
                  </a:lnTo>
                  <a:lnTo>
                    <a:pt x="209" y="817"/>
                  </a:lnTo>
                  <a:lnTo>
                    <a:pt x="205" y="818"/>
                  </a:lnTo>
                  <a:lnTo>
                    <a:pt x="201" y="819"/>
                  </a:lnTo>
                  <a:lnTo>
                    <a:pt x="194" y="821"/>
                  </a:lnTo>
                  <a:lnTo>
                    <a:pt x="189" y="821"/>
                  </a:lnTo>
                  <a:lnTo>
                    <a:pt x="188" y="823"/>
                  </a:lnTo>
                  <a:lnTo>
                    <a:pt x="189" y="824"/>
                  </a:lnTo>
                  <a:lnTo>
                    <a:pt x="192" y="823"/>
                  </a:lnTo>
                  <a:lnTo>
                    <a:pt x="195" y="823"/>
                  </a:lnTo>
                  <a:lnTo>
                    <a:pt x="195" y="824"/>
                  </a:lnTo>
                  <a:lnTo>
                    <a:pt x="194" y="825"/>
                  </a:lnTo>
                  <a:lnTo>
                    <a:pt x="195" y="826"/>
                  </a:lnTo>
                  <a:lnTo>
                    <a:pt x="195" y="825"/>
                  </a:lnTo>
                  <a:lnTo>
                    <a:pt x="198" y="823"/>
                  </a:lnTo>
                  <a:lnTo>
                    <a:pt x="200" y="821"/>
                  </a:lnTo>
                  <a:lnTo>
                    <a:pt x="201" y="821"/>
                  </a:lnTo>
                  <a:lnTo>
                    <a:pt x="200" y="825"/>
                  </a:lnTo>
                  <a:lnTo>
                    <a:pt x="198" y="826"/>
                  </a:lnTo>
                  <a:lnTo>
                    <a:pt x="199" y="826"/>
                  </a:lnTo>
                  <a:lnTo>
                    <a:pt x="201" y="826"/>
                  </a:lnTo>
                  <a:lnTo>
                    <a:pt x="204" y="825"/>
                  </a:lnTo>
                  <a:lnTo>
                    <a:pt x="205" y="824"/>
                  </a:lnTo>
                  <a:lnTo>
                    <a:pt x="205" y="827"/>
                  </a:lnTo>
                  <a:lnTo>
                    <a:pt x="206" y="827"/>
                  </a:lnTo>
                  <a:lnTo>
                    <a:pt x="209" y="826"/>
                  </a:lnTo>
                  <a:lnTo>
                    <a:pt x="210" y="826"/>
                  </a:lnTo>
                  <a:lnTo>
                    <a:pt x="212" y="826"/>
                  </a:lnTo>
                  <a:lnTo>
                    <a:pt x="211" y="827"/>
                  </a:lnTo>
                  <a:lnTo>
                    <a:pt x="209" y="829"/>
                  </a:lnTo>
                  <a:lnTo>
                    <a:pt x="205" y="829"/>
                  </a:lnTo>
                  <a:lnTo>
                    <a:pt x="201" y="829"/>
                  </a:lnTo>
                  <a:lnTo>
                    <a:pt x="199" y="830"/>
                  </a:lnTo>
                  <a:lnTo>
                    <a:pt x="194" y="831"/>
                  </a:lnTo>
                  <a:lnTo>
                    <a:pt x="193" y="832"/>
                  </a:lnTo>
                  <a:lnTo>
                    <a:pt x="190" y="832"/>
                  </a:lnTo>
                  <a:lnTo>
                    <a:pt x="187" y="830"/>
                  </a:lnTo>
                  <a:lnTo>
                    <a:pt x="184" y="830"/>
                  </a:lnTo>
                  <a:lnTo>
                    <a:pt x="184" y="832"/>
                  </a:lnTo>
                  <a:lnTo>
                    <a:pt x="183" y="832"/>
                  </a:lnTo>
                  <a:lnTo>
                    <a:pt x="183" y="833"/>
                  </a:lnTo>
                  <a:lnTo>
                    <a:pt x="188" y="835"/>
                  </a:lnTo>
                  <a:lnTo>
                    <a:pt x="184" y="836"/>
                  </a:lnTo>
                  <a:lnTo>
                    <a:pt x="182" y="837"/>
                  </a:lnTo>
                  <a:lnTo>
                    <a:pt x="180" y="836"/>
                  </a:lnTo>
                  <a:lnTo>
                    <a:pt x="176" y="836"/>
                  </a:lnTo>
                  <a:lnTo>
                    <a:pt x="172" y="833"/>
                  </a:lnTo>
                  <a:lnTo>
                    <a:pt x="169" y="832"/>
                  </a:lnTo>
                  <a:lnTo>
                    <a:pt x="164" y="833"/>
                  </a:lnTo>
                  <a:lnTo>
                    <a:pt x="165" y="835"/>
                  </a:lnTo>
                  <a:lnTo>
                    <a:pt x="163" y="833"/>
                  </a:lnTo>
                  <a:lnTo>
                    <a:pt x="160" y="832"/>
                  </a:lnTo>
                  <a:lnTo>
                    <a:pt x="157" y="831"/>
                  </a:lnTo>
                  <a:lnTo>
                    <a:pt x="153" y="830"/>
                  </a:lnTo>
                  <a:lnTo>
                    <a:pt x="151" y="827"/>
                  </a:lnTo>
                  <a:lnTo>
                    <a:pt x="150" y="827"/>
                  </a:lnTo>
                  <a:lnTo>
                    <a:pt x="151" y="829"/>
                  </a:lnTo>
                  <a:lnTo>
                    <a:pt x="152" y="830"/>
                  </a:lnTo>
                  <a:lnTo>
                    <a:pt x="150" y="830"/>
                  </a:lnTo>
                  <a:lnTo>
                    <a:pt x="148" y="829"/>
                  </a:lnTo>
                  <a:lnTo>
                    <a:pt x="147" y="827"/>
                  </a:lnTo>
                  <a:lnTo>
                    <a:pt x="145" y="826"/>
                  </a:lnTo>
                  <a:lnTo>
                    <a:pt x="142" y="826"/>
                  </a:lnTo>
                  <a:lnTo>
                    <a:pt x="141" y="826"/>
                  </a:lnTo>
                  <a:lnTo>
                    <a:pt x="139" y="825"/>
                  </a:lnTo>
                  <a:lnTo>
                    <a:pt x="136" y="824"/>
                  </a:lnTo>
                  <a:lnTo>
                    <a:pt x="135" y="825"/>
                  </a:lnTo>
                  <a:lnTo>
                    <a:pt x="134" y="824"/>
                  </a:lnTo>
                  <a:lnTo>
                    <a:pt x="135" y="821"/>
                  </a:lnTo>
                  <a:lnTo>
                    <a:pt x="133" y="821"/>
                  </a:lnTo>
                  <a:lnTo>
                    <a:pt x="131" y="823"/>
                  </a:lnTo>
                  <a:lnTo>
                    <a:pt x="130" y="823"/>
                  </a:lnTo>
                  <a:lnTo>
                    <a:pt x="128" y="823"/>
                  </a:lnTo>
                  <a:lnTo>
                    <a:pt x="128" y="820"/>
                  </a:lnTo>
                  <a:lnTo>
                    <a:pt x="127" y="818"/>
                  </a:lnTo>
                  <a:lnTo>
                    <a:pt x="127" y="820"/>
                  </a:lnTo>
                  <a:lnTo>
                    <a:pt x="125" y="821"/>
                  </a:lnTo>
                  <a:lnTo>
                    <a:pt x="124" y="821"/>
                  </a:lnTo>
                  <a:lnTo>
                    <a:pt x="122" y="821"/>
                  </a:lnTo>
                  <a:lnTo>
                    <a:pt x="121" y="820"/>
                  </a:lnTo>
                  <a:lnTo>
                    <a:pt x="119" y="820"/>
                  </a:lnTo>
                  <a:lnTo>
                    <a:pt x="117" y="820"/>
                  </a:lnTo>
                  <a:lnTo>
                    <a:pt x="116" y="820"/>
                  </a:lnTo>
                  <a:lnTo>
                    <a:pt x="116" y="819"/>
                  </a:lnTo>
                  <a:lnTo>
                    <a:pt x="113" y="818"/>
                  </a:lnTo>
                  <a:lnTo>
                    <a:pt x="111" y="818"/>
                  </a:lnTo>
                  <a:lnTo>
                    <a:pt x="106" y="814"/>
                  </a:lnTo>
                  <a:lnTo>
                    <a:pt x="107" y="817"/>
                  </a:lnTo>
                  <a:lnTo>
                    <a:pt x="107" y="819"/>
                  </a:lnTo>
                  <a:lnTo>
                    <a:pt x="105" y="818"/>
                  </a:lnTo>
                  <a:lnTo>
                    <a:pt x="104" y="817"/>
                  </a:lnTo>
                  <a:lnTo>
                    <a:pt x="105" y="819"/>
                  </a:lnTo>
                  <a:lnTo>
                    <a:pt x="106" y="820"/>
                  </a:lnTo>
                  <a:lnTo>
                    <a:pt x="103" y="820"/>
                  </a:lnTo>
                  <a:lnTo>
                    <a:pt x="100" y="821"/>
                  </a:lnTo>
                  <a:lnTo>
                    <a:pt x="104" y="821"/>
                  </a:lnTo>
                  <a:lnTo>
                    <a:pt x="106" y="821"/>
                  </a:lnTo>
                  <a:lnTo>
                    <a:pt x="110" y="821"/>
                  </a:lnTo>
                  <a:lnTo>
                    <a:pt x="109" y="825"/>
                  </a:lnTo>
                  <a:lnTo>
                    <a:pt x="109" y="826"/>
                  </a:lnTo>
                  <a:lnTo>
                    <a:pt x="110" y="825"/>
                  </a:lnTo>
                  <a:lnTo>
                    <a:pt x="112" y="823"/>
                  </a:lnTo>
                  <a:lnTo>
                    <a:pt x="113" y="821"/>
                  </a:lnTo>
                  <a:lnTo>
                    <a:pt x="115" y="821"/>
                  </a:lnTo>
                  <a:lnTo>
                    <a:pt x="115" y="825"/>
                  </a:lnTo>
                  <a:lnTo>
                    <a:pt x="115" y="823"/>
                  </a:lnTo>
                  <a:lnTo>
                    <a:pt x="116" y="823"/>
                  </a:lnTo>
                  <a:lnTo>
                    <a:pt x="118" y="823"/>
                  </a:lnTo>
                  <a:lnTo>
                    <a:pt x="118" y="824"/>
                  </a:lnTo>
                  <a:lnTo>
                    <a:pt x="116" y="826"/>
                  </a:lnTo>
                  <a:lnTo>
                    <a:pt x="116" y="829"/>
                  </a:lnTo>
                  <a:lnTo>
                    <a:pt x="115" y="832"/>
                  </a:lnTo>
                  <a:lnTo>
                    <a:pt x="115" y="836"/>
                  </a:lnTo>
                  <a:lnTo>
                    <a:pt x="117" y="841"/>
                  </a:lnTo>
                  <a:lnTo>
                    <a:pt x="119" y="842"/>
                  </a:lnTo>
                  <a:lnTo>
                    <a:pt x="119" y="839"/>
                  </a:lnTo>
                  <a:lnTo>
                    <a:pt x="119" y="835"/>
                  </a:lnTo>
                  <a:lnTo>
                    <a:pt x="119" y="833"/>
                  </a:lnTo>
                  <a:lnTo>
                    <a:pt x="119" y="836"/>
                  </a:lnTo>
                  <a:lnTo>
                    <a:pt x="121" y="838"/>
                  </a:lnTo>
                  <a:lnTo>
                    <a:pt x="121" y="841"/>
                  </a:lnTo>
                  <a:lnTo>
                    <a:pt x="119" y="843"/>
                  </a:lnTo>
                  <a:lnTo>
                    <a:pt x="121" y="843"/>
                  </a:lnTo>
                  <a:lnTo>
                    <a:pt x="122" y="843"/>
                  </a:lnTo>
                  <a:lnTo>
                    <a:pt x="124" y="844"/>
                  </a:lnTo>
                  <a:lnTo>
                    <a:pt x="124" y="848"/>
                  </a:lnTo>
                  <a:lnTo>
                    <a:pt x="128" y="850"/>
                  </a:lnTo>
                  <a:lnTo>
                    <a:pt x="127" y="852"/>
                  </a:lnTo>
                  <a:lnTo>
                    <a:pt x="125" y="852"/>
                  </a:lnTo>
                  <a:lnTo>
                    <a:pt x="124" y="849"/>
                  </a:lnTo>
                  <a:lnTo>
                    <a:pt x="122" y="849"/>
                  </a:lnTo>
                  <a:lnTo>
                    <a:pt x="118" y="849"/>
                  </a:lnTo>
                  <a:lnTo>
                    <a:pt x="117" y="850"/>
                  </a:lnTo>
                  <a:lnTo>
                    <a:pt x="115" y="849"/>
                  </a:lnTo>
                  <a:lnTo>
                    <a:pt x="113" y="849"/>
                  </a:lnTo>
                  <a:lnTo>
                    <a:pt x="110" y="849"/>
                  </a:lnTo>
                  <a:lnTo>
                    <a:pt x="107" y="852"/>
                  </a:lnTo>
                  <a:lnTo>
                    <a:pt x="109" y="853"/>
                  </a:lnTo>
                  <a:lnTo>
                    <a:pt x="111" y="852"/>
                  </a:lnTo>
                  <a:lnTo>
                    <a:pt x="112" y="853"/>
                  </a:lnTo>
                  <a:lnTo>
                    <a:pt x="113" y="852"/>
                  </a:lnTo>
                  <a:lnTo>
                    <a:pt x="115" y="852"/>
                  </a:lnTo>
                  <a:lnTo>
                    <a:pt x="116" y="852"/>
                  </a:lnTo>
                  <a:lnTo>
                    <a:pt x="118" y="850"/>
                  </a:lnTo>
                  <a:lnTo>
                    <a:pt x="119" y="850"/>
                  </a:lnTo>
                  <a:lnTo>
                    <a:pt x="118" y="853"/>
                  </a:lnTo>
                  <a:lnTo>
                    <a:pt x="117" y="854"/>
                  </a:lnTo>
                  <a:lnTo>
                    <a:pt x="116" y="855"/>
                  </a:lnTo>
                  <a:lnTo>
                    <a:pt x="116" y="856"/>
                  </a:lnTo>
                  <a:lnTo>
                    <a:pt x="118" y="855"/>
                  </a:lnTo>
                  <a:lnTo>
                    <a:pt x="119" y="855"/>
                  </a:lnTo>
                  <a:lnTo>
                    <a:pt x="121" y="854"/>
                  </a:lnTo>
                  <a:lnTo>
                    <a:pt x="122" y="853"/>
                  </a:lnTo>
                  <a:lnTo>
                    <a:pt x="123" y="853"/>
                  </a:lnTo>
                  <a:lnTo>
                    <a:pt x="123" y="854"/>
                  </a:lnTo>
                  <a:lnTo>
                    <a:pt x="122" y="855"/>
                  </a:lnTo>
                  <a:lnTo>
                    <a:pt x="122" y="856"/>
                  </a:lnTo>
                  <a:lnTo>
                    <a:pt x="122" y="858"/>
                  </a:lnTo>
                  <a:lnTo>
                    <a:pt x="121" y="859"/>
                  </a:lnTo>
                  <a:lnTo>
                    <a:pt x="119" y="858"/>
                  </a:lnTo>
                  <a:lnTo>
                    <a:pt x="117" y="856"/>
                  </a:lnTo>
                  <a:lnTo>
                    <a:pt x="116" y="856"/>
                  </a:lnTo>
                  <a:lnTo>
                    <a:pt x="112" y="856"/>
                  </a:lnTo>
                  <a:lnTo>
                    <a:pt x="110" y="856"/>
                  </a:lnTo>
                  <a:lnTo>
                    <a:pt x="105" y="856"/>
                  </a:lnTo>
                  <a:lnTo>
                    <a:pt x="104" y="856"/>
                  </a:lnTo>
                  <a:lnTo>
                    <a:pt x="106" y="858"/>
                  </a:lnTo>
                  <a:lnTo>
                    <a:pt x="106" y="859"/>
                  </a:lnTo>
                  <a:lnTo>
                    <a:pt x="103" y="858"/>
                  </a:lnTo>
                  <a:lnTo>
                    <a:pt x="101" y="860"/>
                  </a:lnTo>
                  <a:lnTo>
                    <a:pt x="104" y="860"/>
                  </a:lnTo>
                  <a:lnTo>
                    <a:pt x="105" y="860"/>
                  </a:lnTo>
                  <a:lnTo>
                    <a:pt x="107" y="860"/>
                  </a:lnTo>
                  <a:lnTo>
                    <a:pt x="109" y="861"/>
                  </a:lnTo>
                  <a:lnTo>
                    <a:pt x="107" y="864"/>
                  </a:lnTo>
                  <a:lnTo>
                    <a:pt x="105" y="864"/>
                  </a:lnTo>
                  <a:lnTo>
                    <a:pt x="101" y="864"/>
                  </a:lnTo>
                  <a:lnTo>
                    <a:pt x="99" y="861"/>
                  </a:lnTo>
                  <a:lnTo>
                    <a:pt x="93" y="858"/>
                  </a:lnTo>
                  <a:lnTo>
                    <a:pt x="91" y="856"/>
                  </a:lnTo>
                  <a:lnTo>
                    <a:pt x="91" y="859"/>
                  </a:lnTo>
                  <a:lnTo>
                    <a:pt x="92" y="860"/>
                  </a:lnTo>
                  <a:lnTo>
                    <a:pt x="91" y="860"/>
                  </a:lnTo>
                  <a:lnTo>
                    <a:pt x="88" y="859"/>
                  </a:lnTo>
                  <a:lnTo>
                    <a:pt x="86" y="859"/>
                  </a:lnTo>
                  <a:lnTo>
                    <a:pt x="83" y="856"/>
                  </a:lnTo>
                  <a:lnTo>
                    <a:pt x="81" y="854"/>
                  </a:lnTo>
                  <a:lnTo>
                    <a:pt x="80" y="855"/>
                  </a:lnTo>
                  <a:lnTo>
                    <a:pt x="78" y="856"/>
                  </a:lnTo>
                  <a:lnTo>
                    <a:pt x="76" y="854"/>
                  </a:lnTo>
                  <a:lnTo>
                    <a:pt x="74" y="854"/>
                  </a:lnTo>
                  <a:lnTo>
                    <a:pt x="72" y="854"/>
                  </a:lnTo>
                  <a:lnTo>
                    <a:pt x="75" y="856"/>
                  </a:lnTo>
                  <a:lnTo>
                    <a:pt x="77" y="858"/>
                  </a:lnTo>
                  <a:lnTo>
                    <a:pt x="77" y="859"/>
                  </a:lnTo>
                  <a:lnTo>
                    <a:pt x="75" y="861"/>
                  </a:lnTo>
                  <a:lnTo>
                    <a:pt x="74" y="861"/>
                  </a:lnTo>
                  <a:lnTo>
                    <a:pt x="74" y="862"/>
                  </a:lnTo>
                  <a:lnTo>
                    <a:pt x="76" y="861"/>
                  </a:lnTo>
                  <a:lnTo>
                    <a:pt x="77" y="860"/>
                  </a:lnTo>
                  <a:lnTo>
                    <a:pt x="80" y="859"/>
                  </a:lnTo>
                  <a:lnTo>
                    <a:pt x="83" y="859"/>
                  </a:lnTo>
                  <a:lnTo>
                    <a:pt x="81" y="862"/>
                  </a:lnTo>
                  <a:lnTo>
                    <a:pt x="80" y="866"/>
                  </a:lnTo>
                  <a:lnTo>
                    <a:pt x="81" y="864"/>
                  </a:lnTo>
                  <a:lnTo>
                    <a:pt x="82" y="862"/>
                  </a:lnTo>
                  <a:lnTo>
                    <a:pt x="83" y="861"/>
                  </a:lnTo>
                  <a:lnTo>
                    <a:pt x="84" y="860"/>
                  </a:lnTo>
                  <a:lnTo>
                    <a:pt x="87" y="860"/>
                  </a:lnTo>
                  <a:lnTo>
                    <a:pt x="88" y="862"/>
                  </a:lnTo>
                  <a:lnTo>
                    <a:pt x="87" y="865"/>
                  </a:lnTo>
                  <a:lnTo>
                    <a:pt x="84" y="867"/>
                  </a:lnTo>
                  <a:lnTo>
                    <a:pt x="84" y="870"/>
                  </a:lnTo>
                  <a:lnTo>
                    <a:pt x="86" y="870"/>
                  </a:lnTo>
                  <a:lnTo>
                    <a:pt x="86" y="871"/>
                  </a:lnTo>
                  <a:lnTo>
                    <a:pt x="84" y="872"/>
                  </a:lnTo>
                  <a:lnTo>
                    <a:pt x="83" y="872"/>
                  </a:lnTo>
                  <a:lnTo>
                    <a:pt x="81" y="872"/>
                  </a:lnTo>
                  <a:lnTo>
                    <a:pt x="78" y="871"/>
                  </a:lnTo>
                  <a:lnTo>
                    <a:pt x="76" y="868"/>
                  </a:lnTo>
                  <a:lnTo>
                    <a:pt x="75" y="868"/>
                  </a:lnTo>
                  <a:lnTo>
                    <a:pt x="75" y="871"/>
                  </a:lnTo>
                  <a:lnTo>
                    <a:pt x="71" y="870"/>
                  </a:lnTo>
                  <a:lnTo>
                    <a:pt x="70" y="868"/>
                  </a:lnTo>
                  <a:lnTo>
                    <a:pt x="68" y="870"/>
                  </a:lnTo>
                  <a:lnTo>
                    <a:pt x="71" y="872"/>
                  </a:lnTo>
                  <a:lnTo>
                    <a:pt x="75" y="872"/>
                  </a:lnTo>
                  <a:lnTo>
                    <a:pt x="74" y="874"/>
                  </a:lnTo>
                  <a:lnTo>
                    <a:pt x="74" y="876"/>
                  </a:lnTo>
                  <a:lnTo>
                    <a:pt x="75" y="877"/>
                  </a:lnTo>
                  <a:lnTo>
                    <a:pt x="76" y="876"/>
                  </a:lnTo>
                  <a:lnTo>
                    <a:pt x="77" y="873"/>
                  </a:lnTo>
                  <a:lnTo>
                    <a:pt x="80" y="873"/>
                  </a:lnTo>
                  <a:lnTo>
                    <a:pt x="80" y="874"/>
                  </a:lnTo>
                  <a:lnTo>
                    <a:pt x="80" y="877"/>
                  </a:lnTo>
                  <a:lnTo>
                    <a:pt x="80" y="878"/>
                  </a:lnTo>
                  <a:lnTo>
                    <a:pt x="81" y="877"/>
                  </a:lnTo>
                  <a:lnTo>
                    <a:pt x="82" y="876"/>
                  </a:lnTo>
                  <a:lnTo>
                    <a:pt x="83" y="876"/>
                  </a:lnTo>
                  <a:lnTo>
                    <a:pt x="82" y="878"/>
                  </a:lnTo>
                  <a:lnTo>
                    <a:pt x="83" y="878"/>
                  </a:lnTo>
                  <a:lnTo>
                    <a:pt x="83" y="877"/>
                  </a:lnTo>
                  <a:lnTo>
                    <a:pt x="86" y="876"/>
                  </a:lnTo>
                  <a:lnTo>
                    <a:pt x="88" y="876"/>
                  </a:lnTo>
                  <a:lnTo>
                    <a:pt x="86" y="880"/>
                  </a:lnTo>
                  <a:lnTo>
                    <a:pt x="86" y="882"/>
                  </a:lnTo>
                  <a:lnTo>
                    <a:pt x="87" y="882"/>
                  </a:lnTo>
                  <a:lnTo>
                    <a:pt x="88" y="879"/>
                  </a:lnTo>
                  <a:lnTo>
                    <a:pt x="89" y="878"/>
                  </a:lnTo>
                  <a:lnTo>
                    <a:pt x="91" y="878"/>
                  </a:lnTo>
                  <a:lnTo>
                    <a:pt x="91" y="879"/>
                  </a:lnTo>
                  <a:lnTo>
                    <a:pt x="91" y="882"/>
                  </a:lnTo>
                  <a:lnTo>
                    <a:pt x="91" y="885"/>
                  </a:lnTo>
                  <a:lnTo>
                    <a:pt x="92" y="884"/>
                  </a:lnTo>
                  <a:lnTo>
                    <a:pt x="94" y="884"/>
                  </a:lnTo>
                  <a:lnTo>
                    <a:pt x="94" y="885"/>
                  </a:lnTo>
                  <a:lnTo>
                    <a:pt x="94" y="889"/>
                  </a:lnTo>
                  <a:lnTo>
                    <a:pt x="93" y="892"/>
                  </a:lnTo>
                  <a:lnTo>
                    <a:pt x="94" y="892"/>
                  </a:lnTo>
                  <a:lnTo>
                    <a:pt x="97" y="891"/>
                  </a:lnTo>
                  <a:lnTo>
                    <a:pt x="99" y="891"/>
                  </a:lnTo>
                  <a:lnTo>
                    <a:pt x="99" y="892"/>
                  </a:lnTo>
                  <a:lnTo>
                    <a:pt x="97" y="894"/>
                  </a:lnTo>
                  <a:lnTo>
                    <a:pt x="93" y="894"/>
                  </a:lnTo>
                  <a:lnTo>
                    <a:pt x="94" y="896"/>
                  </a:lnTo>
                  <a:lnTo>
                    <a:pt x="97" y="896"/>
                  </a:lnTo>
                  <a:lnTo>
                    <a:pt x="97" y="897"/>
                  </a:lnTo>
                  <a:lnTo>
                    <a:pt x="94" y="900"/>
                  </a:lnTo>
                  <a:lnTo>
                    <a:pt x="92" y="901"/>
                  </a:lnTo>
                  <a:lnTo>
                    <a:pt x="92" y="903"/>
                  </a:lnTo>
                  <a:lnTo>
                    <a:pt x="94" y="902"/>
                  </a:lnTo>
                  <a:lnTo>
                    <a:pt x="97" y="901"/>
                  </a:lnTo>
                  <a:lnTo>
                    <a:pt x="98" y="900"/>
                  </a:lnTo>
                  <a:lnTo>
                    <a:pt x="98" y="902"/>
                  </a:lnTo>
                  <a:lnTo>
                    <a:pt x="99" y="901"/>
                  </a:lnTo>
                  <a:lnTo>
                    <a:pt x="101" y="900"/>
                  </a:lnTo>
                  <a:lnTo>
                    <a:pt x="103" y="898"/>
                  </a:lnTo>
                  <a:lnTo>
                    <a:pt x="103" y="901"/>
                  </a:lnTo>
                  <a:lnTo>
                    <a:pt x="103" y="903"/>
                  </a:lnTo>
                  <a:lnTo>
                    <a:pt x="101" y="904"/>
                  </a:lnTo>
                  <a:lnTo>
                    <a:pt x="100" y="904"/>
                  </a:lnTo>
                  <a:lnTo>
                    <a:pt x="97" y="904"/>
                  </a:lnTo>
                  <a:lnTo>
                    <a:pt x="94" y="904"/>
                  </a:lnTo>
                  <a:lnTo>
                    <a:pt x="89" y="904"/>
                  </a:lnTo>
                  <a:lnTo>
                    <a:pt x="87" y="904"/>
                  </a:lnTo>
                  <a:lnTo>
                    <a:pt x="84" y="904"/>
                  </a:lnTo>
                  <a:lnTo>
                    <a:pt x="81" y="903"/>
                  </a:lnTo>
                  <a:lnTo>
                    <a:pt x="80" y="903"/>
                  </a:lnTo>
                  <a:lnTo>
                    <a:pt x="76" y="903"/>
                  </a:lnTo>
                  <a:lnTo>
                    <a:pt x="74" y="903"/>
                  </a:lnTo>
                  <a:lnTo>
                    <a:pt x="74" y="906"/>
                  </a:lnTo>
                  <a:lnTo>
                    <a:pt x="76" y="907"/>
                  </a:lnTo>
                  <a:lnTo>
                    <a:pt x="77" y="909"/>
                  </a:lnTo>
                  <a:lnTo>
                    <a:pt x="78" y="907"/>
                  </a:lnTo>
                  <a:lnTo>
                    <a:pt x="80" y="907"/>
                  </a:lnTo>
                  <a:lnTo>
                    <a:pt x="80" y="912"/>
                  </a:lnTo>
                  <a:lnTo>
                    <a:pt x="81" y="913"/>
                  </a:lnTo>
                  <a:lnTo>
                    <a:pt x="81" y="912"/>
                  </a:lnTo>
                  <a:lnTo>
                    <a:pt x="82" y="910"/>
                  </a:lnTo>
                  <a:lnTo>
                    <a:pt x="83" y="908"/>
                  </a:lnTo>
                  <a:lnTo>
                    <a:pt x="84" y="908"/>
                  </a:lnTo>
                  <a:lnTo>
                    <a:pt x="83" y="912"/>
                  </a:lnTo>
                  <a:lnTo>
                    <a:pt x="82" y="914"/>
                  </a:lnTo>
                  <a:lnTo>
                    <a:pt x="82" y="918"/>
                  </a:lnTo>
                  <a:lnTo>
                    <a:pt x="82" y="922"/>
                  </a:lnTo>
                  <a:lnTo>
                    <a:pt x="83" y="925"/>
                  </a:lnTo>
                  <a:lnTo>
                    <a:pt x="84" y="925"/>
                  </a:lnTo>
                  <a:lnTo>
                    <a:pt x="84" y="921"/>
                  </a:lnTo>
                  <a:lnTo>
                    <a:pt x="86" y="920"/>
                  </a:lnTo>
                  <a:lnTo>
                    <a:pt x="86" y="915"/>
                  </a:lnTo>
                  <a:lnTo>
                    <a:pt x="86" y="914"/>
                  </a:lnTo>
                  <a:lnTo>
                    <a:pt x="87" y="912"/>
                  </a:lnTo>
                  <a:lnTo>
                    <a:pt x="88" y="912"/>
                  </a:lnTo>
                  <a:lnTo>
                    <a:pt x="89" y="913"/>
                  </a:lnTo>
                  <a:lnTo>
                    <a:pt x="88" y="914"/>
                  </a:lnTo>
                  <a:lnTo>
                    <a:pt x="88" y="916"/>
                  </a:lnTo>
                  <a:lnTo>
                    <a:pt x="88" y="919"/>
                  </a:lnTo>
                  <a:lnTo>
                    <a:pt x="89" y="919"/>
                  </a:lnTo>
                  <a:lnTo>
                    <a:pt x="91" y="919"/>
                  </a:lnTo>
                  <a:lnTo>
                    <a:pt x="92" y="916"/>
                  </a:lnTo>
                  <a:lnTo>
                    <a:pt x="93" y="915"/>
                  </a:lnTo>
                  <a:lnTo>
                    <a:pt x="94" y="914"/>
                  </a:lnTo>
                  <a:lnTo>
                    <a:pt x="94" y="913"/>
                  </a:lnTo>
                  <a:lnTo>
                    <a:pt x="95" y="913"/>
                  </a:lnTo>
                  <a:lnTo>
                    <a:pt x="95" y="915"/>
                  </a:lnTo>
                  <a:lnTo>
                    <a:pt x="95" y="916"/>
                  </a:lnTo>
                  <a:lnTo>
                    <a:pt x="94" y="919"/>
                  </a:lnTo>
                  <a:lnTo>
                    <a:pt x="94" y="920"/>
                  </a:lnTo>
                  <a:lnTo>
                    <a:pt x="93" y="921"/>
                  </a:lnTo>
                  <a:lnTo>
                    <a:pt x="91" y="924"/>
                  </a:lnTo>
                  <a:lnTo>
                    <a:pt x="89" y="926"/>
                  </a:lnTo>
                  <a:lnTo>
                    <a:pt x="89" y="927"/>
                  </a:lnTo>
                  <a:lnTo>
                    <a:pt x="91" y="927"/>
                  </a:lnTo>
                  <a:lnTo>
                    <a:pt x="92" y="926"/>
                  </a:lnTo>
                  <a:lnTo>
                    <a:pt x="93" y="926"/>
                  </a:lnTo>
                  <a:lnTo>
                    <a:pt x="95" y="926"/>
                  </a:lnTo>
                  <a:lnTo>
                    <a:pt x="95" y="927"/>
                  </a:lnTo>
                  <a:lnTo>
                    <a:pt x="94" y="928"/>
                  </a:lnTo>
                  <a:lnTo>
                    <a:pt x="93" y="928"/>
                  </a:lnTo>
                  <a:lnTo>
                    <a:pt x="92" y="928"/>
                  </a:lnTo>
                  <a:lnTo>
                    <a:pt x="91" y="928"/>
                  </a:lnTo>
                  <a:lnTo>
                    <a:pt x="88" y="928"/>
                  </a:lnTo>
                  <a:lnTo>
                    <a:pt x="86" y="927"/>
                  </a:lnTo>
                  <a:lnTo>
                    <a:pt x="83" y="926"/>
                  </a:lnTo>
                  <a:lnTo>
                    <a:pt x="82" y="925"/>
                  </a:lnTo>
                  <a:lnTo>
                    <a:pt x="78" y="924"/>
                  </a:lnTo>
                  <a:lnTo>
                    <a:pt x="76" y="924"/>
                  </a:lnTo>
                  <a:lnTo>
                    <a:pt x="72" y="924"/>
                  </a:lnTo>
                  <a:lnTo>
                    <a:pt x="68" y="921"/>
                  </a:lnTo>
                  <a:lnTo>
                    <a:pt x="65" y="921"/>
                  </a:lnTo>
                  <a:lnTo>
                    <a:pt x="63" y="922"/>
                  </a:lnTo>
                  <a:lnTo>
                    <a:pt x="62" y="921"/>
                  </a:lnTo>
                  <a:lnTo>
                    <a:pt x="59" y="920"/>
                  </a:lnTo>
                  <a:lnTo>
                    <a:pt x="56" y="919"/>
                  </a:lnTo>
                  <a:lnTo>
                    <a:pt x="53" y="919"/>
                  </a:lnTo>
                  <a:lnTo>
                    <a:pt x="51" y="919"/>
                  </a:lnTo>
                  <a:lnTo>
                    <a:pt x="48" y="918"/>
                  </a:lnTo>
                  <a:lnTo>
                    <a:pt x="47" y="918"/>
                  </a:lnTo>
                  <a:lnTo>
                    <a:pt x="48" y="919"/>
                  </a:lnTo>
                  <a:lnTo>
                    <a:pt x="48" y="920"/>
                  </a:lnTo>
                  <a:lnTo>
                    <a:pt x="46" y="920"/>
                  </a:lnTo>
                  <a:lnTo>
                    <a:pt x="45" y="919"/>
                  </a:lnTo>
                  <a:lnTo>
                    <a:pt x="44" y="918"/>
                  </a:lnTo>
                  <a:lnTo>
                    <a:pt x="44" y="919"/>
                  </a:lnTo>
                  <a:lnTo>
                    <a:pt x="42" y="918"/>
                  </a:lnTo>
                  <a:lnTo>
                    <a:pt x="41" y="916"/>
                  </a:lnTo>
                  <a:lnTo>
                    <a:pt x="38" y="914"/>
                  </a:lnTo>
                  <a:lnTo>
                    <a:pt x="36" y="916"/>
                  </a:lnTo>
                  <a:lnTo>
                    <a:pt x="38" y="918"/>
                  </a:lnTo>
                  <a:lnTo>
                    <a:pt x="32" y="916"/>
                  </a:lnTo>
                  <a:lnTo>
                    <a:pt x="33" y="918"/>
                  </a:lnTo>
                  <a:lnTo>
                    <a:pt x="35" y="919"/>
                  </a:lnTo>
                  <a:lnTo>
                    <a:pt x="38" y="919"/>
                  </a:lnTo>
                  <a:lnTo>
                    <a:pt x="38" y="920"/>
                  </a:lnTo>
                  <a:lnTo>
                    <a:pt x="34" y="922"/>
                  </a:lnTo>
                  <a:lnTo>
                    <a:pt x="33" y="924"/>
                  </a:lnTo>
                  <a:lnTo>
                    <a:pt x="34" y="925"/>
                  </a:lnTo>
                  <a:lnTo>
                    <a:pt x="34" y="924"/>
                  </a:lnTo>
                  <a:lnTo>
                    <a:pt x="39" y="921"/>
                  </a:lnTo>
                  <a:lnTo>
                    <a:pt x="41" y="921"/>
                  </a:lnTo>
                  <a:lnTo>
                    <a:pt x="42" y="921"/>
                  </a:lnTo>
                  <a:lnTo>
                    <a:pt x="42" y="922"/>
                  </a:lnTo>
                  <a:lnTo>
                    <a:pt x="41" y="925"/>
                  </a:lnTo>
                  <a:lnTo>
                    <a:pt x="41" y="926"/>
                  </a:lnTo>
                  <a:lnTo>
                    <a:pt x="42" y="926"/>
                  </a:lnTo>
                  <a:lnTo>
                    <a:pt x="44" y="925"/>
                  </a:lnTo>
                  <a:lnTo>
                    <a:pt x="44" y="922"/>
                  </a:lnTo>
                  <a:lnTo>
                    <a:pt x="45" y="921"/>
                  </a:lnTo>
                  <a:lnTo>
                    <a:pt x="48" y="922"/>
                  </a:lnTo>
                  <a:lnTo>
                    <a:pt x="50" y="922"/>
                  </a:lnTo>
                  <a:lnTo>
                    <a:pt x="48" y="925"/>
                  </a:lnTo>
                  <a:lnTo>
                    <a:pt x="47" y="926"/>
                  </a:lnTo>
                  <a:lnTo>
                    <a:pt x="46" y="928"/>
                  </a:lnTo>
                  <a:lnTo>
                    <a:pt x="46" y="931"/>
                  </a:lnTo>
                  <a:lnTo>
                    <a:pt x="46" y="934"/>
                  </a:lnTo>
                  <a:lnTo>
                    <a:pt x="47" y="936"/>
                  </a:lnTo>
                  <a:lnTo>
                    <a:pt x="47" y="938"/>
                  </a:lnTo>
                  <a:lnTo>
                    <a:pt x="47" y="939"/>
                  </a:lnTo>
                  <a:lnTo>
                    <a:pt x="47" y="942"/>
                  </a:lnTo>
                  <a:lnTo>
                    <a:pt x="48" y="942"/>
                  </a:lnTo>
                  <a:lnTo>
                    <a:pt x="50" y="940"/>
                  </a:lnTo>
                  <a:lnTo>
                    <a:pt x="50" y="939"/>
                  </a:lnTo>
                  <a:lnTo>
                    <a:pt x="51" y="937"/>
                  </a:lnTo>
                  <a:lnTo>
                    <a:pt x="51" y="936"/>
                  </a:lnTo>
                  <a:lnTo>
                    <a:pt x="51" y="931"/>
                  </a:lnTo>
                  <a:lnTo>
                    <a:pt x="52" y="934"/>
                  </a:lnTo>
                  <a:lnTo>
                    <a:pt x="52" y="936"/>
                  </a:lnTo>
                  <a:lnTo>
                    <a:pt x="53" y="934"/>
                  </a:lnTo>
                  <a:lnTo>
                    <a:pt x="53" y="931"/>
                  </a:lnTo>
                  <a:lnTo>
                    <a:pt x="53" y="928"/>
                  </a:lnTo>
                  <a:lnTo>
                    <a:pt x="56" y="926"/>
                  </a:lnTo>
                  <a:lnTo>
                    <a:pt x="56" y="925"/>
                  </a:lnTo>
                  <a:lnTo>
                    <a:pt x="56" y="927"/>
                  </a:lnTo>
                  <a:lnTo>
                    <a:pt x="56" y="928"/>
                  </a:lnTo>
                  <a:lnTo>
                    <a:pt x="56" y="930"/>
                  </a:lnTo>
                  <a:lnTo>
                    <a:pt x="58" y="930"/>
                  </a:lnTo>
                  <a:lnTo>
                    <a:pt x="59" y="927"/>
                  </a:lnTo>
                  <a:lnTo>
                    <a:pt x="59" y="926"/>
                  </a:lnTo>
                  <a:lnTo>
                    <a:pt x="60" y="926"/>
                  </a:lnTo>
                  <a:lnTo>
                    <a:pt x="60" y="927"/>
                  </a:lnTo>
                  <a:lnTo>
                    <a:pt x="59" y="930"/>
                  </a:lnTo>
                  <a:lnTo>
                    <a:pt x="58" y="933"/>
                  </a:lnTo>
                  <a:lnTo>
                    <a:pt x="58" y="934"/>
                  </a:lnTo>
                  <a:lnTo>
                    <a:pt x="59" y="933"/>
                  </a:lnTo>
                  <a:lnTo>
                    <a:pt x="62" y="932"/>
                  </a:lnTo>
                  <a:lnTo>
                    <a:pt x="63" y="930"/>
                  </a:lnTo>
                  <a:lnTo>
                    <a:pt x="63" y="932"/>
                  </a:lnTo>
                  <a:lnTo>
                    <a:pt x="62" y="934"/>
                  </a:lnTo>
                  <a:lnTo>
                    <a:pt x="60" y="937"/>
                  </a:lnTo>
                  <a:lnTo>
                    <a:pt x="59" y="939"/>
                  </a:lnTo>
                  <a:lnTo>
                    <a:pt x="59" y="943"/>
                  </a:lnTo>
                  <a:lnTo>
                    <a:pt x="60" y="943"/>
                  </a:lnTo>
                  <a:lnTo>
                    <a:pt x="62" y="942"/>
                  </a:lnTo>
                  <a:lnTo>
                    <a:pt x="63" y="939"/>
                  </a:lnTo>
                  <a:lnTo>
                    <a:pt x="63" y="937"/>
                  </a:lnTo>
                  <a:lnTo>
                    <a:pt x="64" y="934"/>
                  </a:lnTo>
                  <a:lnTo>
                    <a:pt x="65" y="934"/>
                  </a:lnTo>
                  <a:lnTo>
                    <a:pt x="66" y="936"/>
                  </a:lnTo>
                  <a:lnTo>
                    <a:pt x="68" y="937"/>
                  </a:lnTo>
                  <a:lnTo>
                    <a:pt x="66" y="940"/>
                  </a:lnTo>
                  <a:lnTo>
                    <a:pt x="68" y="942"/>
                  </a:lnTo>
                  <a:lnTo>
                    <a:pt x="69" y="940"/>
                  </a:lnTo>
                  <a:lnTo>
                    <a:pt x="69" y="938"/>
                  </a:lnTo>
                  <a:lnTo>
                    <a:pt x="70" y="937"/>
                  </a:lnTo>
                  <a:lnTo>
                    <a:pt x="71" y="934"/>
                  </a:lnTo>
                  <a:lnTo>
                    <a:pt x="72" y="934"/>
                  </a:lnTo>
                  <a:lnTo>
                    <a:pt x="74" y="936"/>
                  </a:lnTo>
                  <a:lnTo>
                    <a:pt x="72" y="937"/>
                  </a:lnTo>
                  <a:lnTo>
                    <a:pt x="71" y="939"/>
                  </a:lnTo>
                  <a:lnTo>
                    <a:pt x="70" y="942"/>
                  </a:lnTo>
                  <a:lnTo>
                    <a:pt x="69" y="944"/>
                  </a:lnTo>
                  <a:lnTo>
                    <a:pt x="70" y="943"/>
                  </a:lnTo>
                  <a:lnTo>
                    <a:pt x="71" y="942"/>
                  </a:lnTo>
                  <a:lnTo>
                    <a:pt x="72" y="942"/>
                  </a:lnTo>
                  <a:lnTo>
                    <a:pt x="71" y="945"/>
                  </a:lnTo>
                  <a:lnTo>
                    <a:pt x="70" y="948"/>
                  </a:lnTo>
                  <a:lnTo>
                    <a:pt x="69" y="949"/>
                  </a:lnTo>
                  <a:lnTo>
                    <a:pt x="68" y="950"/>
                  </a:lnTo>
                  <a:lnTo>
                    <a:pt x="60" y="952"/>
                  </a:lnTo>
                  <a:lnTo>
                    <a:pt x="59" y="954"/>
                  </a:lnTo>
                  <a:lnTo>
                    <a:pt x="60" y="955"/>
                  </a:lnTo>
                  <a:lnTo>
                    <a:pt x="62" y="955"/>
                  </a:lnTo>
                  <a:lnTo>
                    <a:pt x="63" y="954"/>
                  </a:lnTo>
                  <a:lnTo>
                    <a:pt x="64" y="954"/>
                  </a:lnTo>
                  <a:lnTo>
                    <a:pt x="64" y="956"/>
                  </a:lnTo>
                  <a:lnTo>
                    <a:pt x="64" y="957"/>
                  </a:lnTo>
                  <a:lnTo>
                    <a:pt x="65" y="957"/>
                  </a:lnTo>
                  <a:lnTo>
                    <a:pt x="65" y="956"/>
                  </a:lnTo>
                  <a:lnTo>
                    <a:pt x="66" y="955"/>
                  </a:lnTo>
                  <a:lnTo>
                    <a:pt x="68" y="952"/>
                  </a:lnTo>
                  <a:lnTo>
                    <a:pt x="69" y="952"/>
                  </a:lnTo>
                  <a:lnTo>
                    <a:pt x="69" y="954"/>
                  </a:lnTo>
                  <a:lnTo>
                    <a:pt x="69" y="956"/>
                  </a:lnTo>
                  <a:lnTo>
                    <a:pt x="69" y="959"/>
                  </a:lnTo>
                  <a:lnTo>
                    <a:pt x="69" y="960"/>
                  </a:lnTo>
                  <a:lnTo>
                    <a:pt x="70" y="960"/>
                  </a:lnTo>
                  <a:lnTo>
                    <a:pt x="71" y="959"/>
                  </a:lnTo>
                  <a:lnTo>
                    <a:pt x="71" y="957"/>
                  </a:lnTo>
                  <a:lnTo>
                    <a:pt x="72" y="957"/>
                  </a:lnTo>
                  <a:lnTo>
                    <a:pt x="74" y="960"/>
                  </a:lnTo>
                  <a:lnTo>
                    <a:pt x="74" y="959"/>
                  </a:lnTo>
                  <a:lnTo>
                    <a:pt x="76" y="957"/>
                  </a:lnTo>
                  <a:lnTo>
                    <a:pt x="75" y="956"/>
                  </a:lnTo>
                  <a:lnTo>
                    <a:pt x="75" y="955"/>
                  </a:lnTo>
                  <a:lnTo>
                    <a:pt x="74" y="954"/>
                  </a:lnTo>
                  <a:lnTo>
                    <a:pt x="74" y="951"/>
                  </a:lnTo>
                  <a:lnTo>
                    <a:pt x="75" y="949"/>
                  </a:lnTo>
                  <a:lnTo>
                    <a:pt x="76" y="950"/>
                  </a:lnTo>
                  <a:lnTo>
                    <a:pt x="77" y="951"/>
                  </a:lnTo>
                  <a:lnTo>
                    <a:pt x="77" y="950"/>
                  </a:lnTo>
                  <a:lnTo>
                    <a:pt x="78" y="949"/>
                  </a:lnTo>
                  <a:lnTo>
                    <a:pt x="80" y="954"/>
                  </a:lnTo>
                  <a:lnTo>
                    <a:pt x="81" y="955"/>
                  </a:lnTo>
                  <a:lnTo>
                    <a:pt x="81" y="954"/>
                  </a:lnTo>
                  <a:lnTo>
                    <a:pt x="81" y="950"/>
                  </a:lnTo>
                  <a:lnTo>
                    <a:pt x="82" y="948"/>
                  </a:lnTo>
                  <a:lnTo>
                    <a:pt x="82" y="945"/>
                  </a:lnTo>
                  <a:lnTo>
                    <a:pt x="82" y="943"/>
                  </a:lnTo>
                  <a:lnTo>
                    <a:pt x="83" y="942"/>
                  </a:lnTo>
                  <a:lnTo>
                    <a:pt x="83" y="944"/>
                  </a:lnTo>
                  <a:lnTo>
                    <a:pt x="84" y="944"/>
                  </a:lnTo>
                  <a:lnTo>
                    <a:pt x="84" y="943"/>
                  </a:lnTo>
                  <a:lnTo>
                    <a:pt x="86" y="943"/>
                  </a:lnTo>
                  <a:lnTo>
                    <a:pt x="84" y="945"/>
                  </a:lnTo>
                  <a:lnTo>
                    <a:pt x="84" y="946"/>
                  </a:lnTo>
                  <a:lnTo>
                    <a:pt x="86" y="948"/>
                  </a:lnTo>
                  <a:lnTo>
                    <a:pt x="87" y="949"/>
                  </a:lnTo>
                  <a:lnTo>
                    <a:pt x="87" y="951"/>
                  </a:lnTo>
                  <a:lnTo>
                    <a:pt x="87" y="952"/>
                  </a:lnTo>
                  <a:lnTo>
                    <a:pt x="86" y="954"/>
                  </a:lnTo>
                  <a:lnTo>
                    <a:pt x="84" y="954"/>
                  </a:lnTo>
                  <a:lnTo>
                    <a:pt x="82" y="955"/>
                  </a:lnTo>
                  <a:lnTo>
                    <a:pt x="82" y="956"/>
                  </a:lnTo>
                  <a:lnTo>
                    <a:pt x="83" y="956"/>
                  </a:lnTo>
                  <a:lnTo>
                    <a:pt x="82" y="957"/>
                  </a:lnTo>
                  <a:lnTo>
                    <a:pt x="81" y="960"/>
                  </a:lnTo>
                  <a:lnTo>
                    <a:pt x="80" y="960"/>
                  </a:lnTo>
                  <a:lnTo>
                    <a:pt x="75" y="962"/>
                  </a:lnTo>
                  <a:lnTo>
                    <a:pt x="74" y="962"/>
                  </a:lnTo>
                  <a:lnTo>
                    <a:pt x="71" y="963"/>
                  </a:lnTo>
                  <a:lnTo>
                    <a:pt x="69" y="962"/>
                  </a:lnTo>
                  <a:lnTo>
                    <a:pt x="66" y="962"/>
                  </a:lnTo>
                  <a:lnTo>
                    <a:pt x="64" y="962"/>
                  </a:lnTo>
                  <a:lnTo>
                    <a:pt x="64" y="963"/>
                  </a:lnTo>
                  <a:lnTo>
                    <a:pt x="64" y="965"/>
                  </a:lnTo>
                  <a:lnTo>
                    <a:pt x="62" y="966"/>
                  </a:lnTo>
                  <a:lnTo>
                    <a:pt x="64" y="966"/>
                  </a:lnTo>
                  <a:lnTo>
                    <a:pt x="65" y="966"/>
                  </a:lnTo>
                  <a:lnTo>
                    <a:pt x="66" y="966"/>
                  </a:lnTo>
                  <a:lnTo>
                    <a:pt x="68" y="968"/>
                  </a:lnTo>
                  <a:lnTo>
                    <a:pt x="66" y="969"/>
                  </a:lnTo>
                  <a:lnTo>
                    <a:pt x="68" y="969"/>
                  </a:lnTo>
                  <a:lnTo>
                    <a:pt x="69" y="967"/>
                  </a:lnTo>
                  <a:lnTo>
                    <a:pt x="69" y="966"/>
                  </a:lnTo>
                  <a:lnTo>
                    <a:pt x="71" y="965"/>
                  </a:lnTo>
                  <a:lnTo>
                    <a:pt x="72" y="966"/>
                  </a:lnTo>
                  <a:lnTo>
                    <a:pt x="71" y="967"/>
                  </a:lnTo>
                  <a:lnTo>
                    <a:pt x="70" y="969"/>
                  </a:lnTo>
                  <a:lnTo>
                    <a:pt x="69" y="972"/>
                  </a:lnTo>
                  <a:lnTo>
                    <a:pt x="70" y="974"/>
                  </a:lnTo>
                  <a:lnTo>
                    <a:pt x="71" y="973"/>
                  </a:lnTo>
                  <a:lnTo>
                    <a:pt x="72" y="971"/>
                  </a:lnTo>
                  <a:lnTo>
                    <a:pt x="75" y="968"/>
                  </a:lnTo>
                  <a:lnTo>
                    <a:pt x="75" y="967"/>
                  </a:lnTo>
                  <a:lnTo>
                    <a:pt x="77" y="966"/>
                  </a:lnTo>
                  <a:lnTo>
                    <a:pt x="78" y="963"/>
                  </a:lnTo>
                  <a:lnTo>
                    <a:pt x="80" y="963"/>
                  </a:lnTo>
                  <a:lnTo>
                    <a:pt x="80" y="965"/>
                  </a:lnTo>
                  <a:lnTo>
                    <a:pt x="80" y="967"/>
                  </a:lnTo>
                  <a:lnTo>
                    <a:pt x="80" y="968"/>
                  </a:lnTo>
                  <a:lnTo>
                    <a:pt x="80" y="971"/>
                  </a:lnTo>
                  <a:lnTo>
                    <a:pt x="78" y="974"/>
                  </a:lnTo>
                  <a:lnTo>
                    <a:pt x="78" y="977"/>
                  </a:lnTo>
                  <a:lnTo>
                    <a:pt x="80" y="977"/>
                  </a:lnTo>
                  <a:lnTo>
                    <a:pt x="81" y="974"/>
                  </a:lnTo>
                  <a:lnTo>
                    <a:pt x="81" y="973"/>
                  </a:lnTo>
                  <a:lnTo>
                    <a:pt x="81" y="971"/>
                  </a:lnTo>
                  <a:lnTo>
                    <a:pt x="82" y="968"/>
                  </a:lnTo>
                  <a:lnTo>
                    <a:pt x="82" y="972"/>
                  </a:lnTo>
                  <a:lnTo>
                    <a:pt x="83" y="972"/>
                  </a:lnTo>
                  <a:lnTo>
                    <a:pt x="83" y="969"/>
                  </a:lnTo>
                  <a:lnTo>
                    <a:pt x="83" y="968"/>
                  </a:lnTo>
                  <a:lnTo>
                    <a:pt x="86" y="966"/>
                  </a:lnTo>
                  <a:lnTo>
                    <a:pt x="86" y="965"/>
                  </a:lnTo>
                  <a:lnTo>
                    <a:pt x="86" y="967"/>
                  </a:lnTo>
                  <a:lnTo>
                    <a:pt x="86" y="969"/>
                  </a:lnTo>
                  <a:lnTo>
                    <a:pt x="86" y="972"/>
                  </a:lnTo>
                  <a:lnTo>
                    <a:pt x="88" y="969"/>
                  </a:lnTo>
                  <a:lnTo>
                    <a:pt x="88" y="967"/>
                  </a:lnTo>
                  <a:lnTo>
                    <a:pt x="89" y="965"/>
                  </a:lnTo>
                  <a:lnTo>
                    <a:pt x="91" y="967"/>
                  </a:lnTo>
                  <a:lnTo>
                    <a:pt x="88" y="969"/>
                  </a:lnTo>
                  <a:lnTo>
                    <a:pt x="88" y="972"/>
                  </a:lnTo>
                  <a:lnTo>
                    <a:pt x="88" y="974"/>
                  </a:lnTo>
                  <a:lnTo>
                    <a:pt x="89" y="977"/>
                  </a:lnTo>
                  <a:lnTo>
                    <a:pt x="89" y="979"/>
                  </a:lnTo>
                  <a:lnTo>
                    <a:pt x="88" y="983"/>
                  </a:lnTo>
                  <a:lnTo>
                    <a:pt x="88" y="985"/>
                  </a:lnTo>
                  <a:lnTo>
                    <a:pt x="87" y="989"/>
                  </a:lnTo>
                  <a:lnTo>
                    <a:pt x="88" y="987"/>
                  </a:lnTo>
                  <a:lnTo>
                    <a:pt x="89" y="989"/>
                  </a:lnTo>
                  <a:lnTo>
                    <a:pt x="88" y="990"/>
                  </a:lnTo>
                  <a:lnTo>
                    <a:pt x="86" y="990"/>
                  </a:lnTo>
                  <a:lnTo>
                    <a:pt x="83" y="990"/>
                  </a:lnTo>
                  <a:lnTo>
                    <a:pt x="81" y="990"/>
                  </a:lnTo>
                  <a:lnTo>
                    <a:pt x="80" y="990"/>
                  </a:lnTo>
                  <a:lnTo>
                    <a:pt x="76" y="989"/>
                  </a:lnTo>
                  <a:lnTo>
                    <a:pt x="74" y="989"/>
                  </a:lnTo>
                  <a:lnTo>
                    <a:pt x="71" y="985"/>
                  </a:lnTo>
                  <a:lnTo>
                    <a:pt x="68" y="984"/>
                  </a:lnTo>
                  <a:lnTo>
                    <a:pt x="66" y="981"/>
                  </a:lnTo>
                  <a:lnTo>
                    <a:pt x="65" y="980"/>
                  </a:lnTo>
                  <a:lnTo>
                    <a:pt x="63" y="980"/>
                  </a:lnTo>
                  <a:lnTo>
                    <a:pt x="63" y="977"/>
                  </a:lnTo>
                  <a:lnTo>
                    <a:pt x="62" y="978"/>
                  </a:lnTo>
                  <a:lnTo>
                    <a:pt x="60" y="977"/>
                  </a:lnTo>
                  <a:lnTo>
                    <a:pt x="60" y="975"/>
                  </a:lnTo>
                  <a:lnTo>
                    <a:pt x="59" y="975"/>
                  </a:lnTo>
                  <a:lnTo>
                    <a:pt x="57" y="974"/>
                  </a:lnTo>
                  <a:lnTo>
                    <a:pt x="56" y="977"/>
                  </a:lnTo>
                  <a:lnTo>
                    <a:pt x="54" y="979"/>
                  </a:lnTo>
                  <a:lnTo>
                    <a:pt x="53" y="980"/>
                  </a:lnTo>
                  <a:lnTo>
                    <a:pt x="53" y="981"/>
                  </a:lnTo>
                  <a:lnTo>
                    <a:pt x="56" y="981"/>
                  </a:lnTo>
                  <a:lnTo>
                    <a:pt x="58" y="984"/>
                  </a:lnTo>
                  <a:lnTo>
                    <a:pt x="60" y="986"/>
                  </a:lnTo>
                  <a:lnTo>
                    <a:pt x="63" y="985"/>
                  </a:lnTo>
                  <a:lnTo>
                    <a:pt x="62" y="987"/>
                  </a:lnTo>
                  <a:lnTo>
                    <a:pt x="60" y="989"/>
                  </a:lnTo>
                  <a:lnTo>
                    <a:pt x="58" y="989"/>
                  </a:lnTo>
                  <a:lnTo>
                    <a:pt x="56" y="987"/>
                  </a:lnTo>
                  <a:lnTo>
                    <a:pt x="52" y="986"/>
                  </a:lnTo>
                  <a:lnTo>
                    <a:pt x="50" y="986"/>
                  </a:lnTo>
                  <a:lnTo>
                    <a:pt x="46" y="984"/>
                  </a:lnTo>
                  <a:lnTo>
                    <a:pt x="42" y="983"/>
                  </a:lnTo>
                  <a:lnTo>
                    <a:pt x="39" y="980"/>
                  </a:lnTo>
                  <a:lnTo>
                    <a:pt x="34" y="977"/>
                  </a:lnTo>
                  <a:lnTo>
                    <a:pt x="28" y="972"/>
                  </a:lnTo>
                  <a:lnTo>
                    <a:pt x="22" y="969"/>
                  </a:lnTo>
                  <a:lnTo>
                    <a:pt x="19" y="966"/>
                  </a:lnTo>
                  <a:lnTo>
                    <a:pt x="17" y="966"/>
                  </a:lnTo>
                  <a:lnTo>
                    <a:pt x="16" y="966"/>
                  </a:lnTo>
                  <a:lnTo>
                    <a:pt x="15" y="965"/>
                  </a:lnTo>
                  <a:lnTo>
                    <a:pt x="12" y="963"/>
                  </a:lnTo>
                  <a:lnTo>
                    <a:pt x="10" y="962"/>
                  </a:lnTo>
                  <a:lnTo>
                    <a:pt x="7" y="962"/>
                  </a:lnTo>
                  <a:lnTo>
                    <a:pt x="0" y="960"/>
                  </a:lnTo>
                  <a:lnTo>
                    <a:pt x="0" y="961"/>
                  </a:lnTo>
                  <a:lnTo>
                    <a:pt x="1" y="961"/>
                  </a:lnTo>
                  <a:lnTo>
                    <a:pt x="5" y="963"/>
                  </a:lnTo>
                  <a:lnTo>
                    <a:pt x="5" y="966"/>
                  </a:lnTo>
                  <a:lnTo>
                    <a:pt x="5" y="967"/>
                  </a:lnTo>
                  <a:lnTo>
                    <a:pt x="6" y="967"/>
                  </a:lnTo>
                  <a:lnTo>
                    <a:pt x="9" y="966"/>
                  </a:lnTo>
                  <a:lnTo>
                    <a:pt x="11" y="966"/>
                  </a:lnTo>
                  <a:lnTo>
                    <a:pt x="9" y="967"/>
                  </a:lnTo>
                  <a:lnTo>
                    <a:pt x="7" y="968"/>
                  </a:lnTo>
                  <a:lnTo>
                    <a:pt x="10" y="969"/>
                  </a:lnTo>
                  <a:lnTo>
                    <a:pt x="12" y="969"/>
                  </a:lnTo>
                  <a:lnTo>
                    <a:pt x="15" y="971"/>
                  </a:lnTo>
                  <a:lnTo>
                    <a:pt x="12" y="973"/>
                  </a:lnTo>
                  <a:lnTo>
                    <a:pt x="13" y="974"/>
                  </a:lnTo>
                  <a:lnTo>
                    <a:pt x="16" y="973"/>
                  </a:lnTo>
                  <a:lnTo>
                    <a:pt x="17" y="972"/>
                  </a:lnTo>
                  <a:lnTo>
                    <a:pt x="17" y="973"/>
                  </a:lnTo>
                  <a:lnTo>
                    <a:pt x="16" y="977"/>
                  </a:lnTo>
                  <a:lnTo>
                    <a:pt x="17" y="978"/>
                  </a:lnTo>
                  <a:lnTo>
                    <a:pt x="18" y="975"/>
                  </a:lnTo>
                  <a:lnTo>
                    <a:pt x="19" y="974"/>
                  </a:lnTo>
                  <a:lnTo>
                    <a:pt x="21" y="973"/>
                  </a:lnTo>
                  <a:lnTo>
                    <a:pt x="23" y="974"/>
                  </a:lnTo>
                  <a:lnTo>
                    <a:pt x="21" y="977"/>
                  </a:lnTo>
                  <a:lnTo>
                    <a:pt x="19" y="978"/>
                  </a:lnTo>
                  <a:lnTo>
                    <a:pt x="19" y="979"/>
                  </a:lnTo>
                  <a:lnTo>
                    <a:pt x="21" y="979"/>
                  </a:lnTo>
                  <a:lnTo>
                    <a:pt x="18" y="980"/>
                  </a:lnTo>
                  <a:lnTo>
                    <a:pt x="17" y="981"/>
                  </a:lnTo>
                  <a:lnTo>
                    <a:pt x="17" y="983"/>
                  </a:lnTo>
                  <a:lnTo>
                    <a:pt x="22" y="981"/>
                  </a:lnTo>
                  <a:lnTo>
                    <a:pt x="24" y="979"/>
                  </a:lnTo>
                  <a:lnTo>
                    <a:pt x="27" y="978"/>
                  </a:lnTo>
                  <a:lnTo>
                    <a:pt x="24" y="981"/>
                  </a:lnTo>
                  <a:lnTo>
                    <a:pt x="24" y="985"/>
                  </a:lnTo>
                  <a:lnTo>
                    <a:pt x="25" y="984"/>
                  </a:lnTo>
                  <a:lnTo>
                    <a:pt x="28" y="980"/>
                  </a:lnTo>
                  <a:lnTo>
                    <a:pt x="28" y="981"/>
                  </a:lnTo>
                  <a:lnTo>
                    <a:pt x="27" y="985"/>
                  </a:lnTo>
                  <a:lnTo>
                    <a:pt x="25" y="989"/>
                  </a:lnTo>
                  <a:lnTo>
                    <a:pt x="23" y="993"/>
                  </a:lnTo>
                  <a:lnTo>
                    <a:pt x="24" y="997"/>
                  </a:lnTo>
                  <a:lnTo>
                    <a:pt x="24" y="999"/>
                  </a:lnTo>
                  <a:lnTo>
                    <a:pt x="25" y="997"/>
                  </a:lnTo>
                  <a:lnTo>
                    <a:pt x="27" y="996"/>
                  </a:lnTo>
                  <a:lnTo>
                    <a:pt x="29" y="995"/>
                  </a:lnTo>
                  <a:lnTo>
                    <a:pt x="29" y="992"/>
                  </a:lnTo>
                  <a:lnTo>
                    <a:pt x="30" y="991"/>
                  </a:lnTo>
                  <a:lnTo>
                    <a:pt x="32" y="991"/>
                  </a:lnTo>
                  <a:lnTo>
                    <a:pt x="32" y="993"/>
                  </a:lnTo>
                  <a:lnTo>
                    <a:pt x="30" y="996"/>
                  </a:lnTo>
                  <a:lnTo>
                    <a:pt x="28" y="998"/>
                  </a:lnTo>
                  <a:lnTo>
                    <a:pt x="29" y="999"/>
                  </a:lnTo>
                  <a:lnTo>
                    <a:pt x="30" y="998"/>
                  </a:lnTo>
                  <a:lnTo>
                    <a:pt x="29" y="999"/>
                  </a:lnTo>
                  <a:lnTo>
                    <a:pt x="30" y="1002"/>
                  </a:lnTo>
                  <a:lnTo>
                    <a:pt x="30" y="1003"/>
                  </a:lnTo>
                  <a:lnTo>
                    <a:pt x="32" y="1003"/>
                  </a:lnTo>
                  <a:lnTo>
                    <a:pt x="32" y="1002"/>
                  </a:lnTo>
                  <a:lnTo>
                    <a:pt x="33" y="1001"/>
                  </a:lnTo>
                  <a:lnTo>
                    <a:pt x="34" y="1001"/>
                  </a:lnTo>
                  <a:lnTo>
                    <a:pt x="35" y="999"/>
                  </a:lnTo>
                  <a:lnTo>
                    <a:pt x="34" y="1003"/>
                  </a:lnTo>
                  <a:lnTo>
                    <a:pt x="34" y="1008"/>
                  </a:lnTo>
                  <a:lnTo>
                    <a:pt x="35" y="1007"/>
                  </a:lnTo>
                  <a:lnTo>
                    <a:pt x="36" y="1008"/>
                  </a:lnTo>
                  <a:lnTo>
                    <a:pt x="38" y="1008"/>
                  </a:lnTo>
                  <a:lnTo>
                    <a:pt x="38" y="1005"/>
                  </a:lnTo>
                  <a:lnTo>
                    <a:pt x="38" y="1002"/>
                  </a:lnTo>
                  <a:lnTo>
                    <a:pt x="38" y="999"/>
                  </a:lnTo>
                  <a:lnTo>
                    <a:pt x="39" y="999"/>
                  </a:lnTo>
                  <a:lnTo>
                    <a:pt x="39" y="1002"/>
                  </a:lnTo>
                  <a:lnTo>
                    <a:pt x="40" y="1004"/>
                  </a:lnTo>
                  <a:lnTo>
                    <a:pt x="41" y="1005"/>
                  </a:lnTo>
                  <a:lnTo>
                    <a:pt x="41" y="1002"/>
                  </a:lnTo>
                  <a:lnTo>
                    <a:pt x="42" y="999"/>
                  </a:lnTo>
                  <a:lnTo>
                    <a:pt x="44" y="999"/>
                  </a:lnTo>
                  <a:lnTo>
                    <a:pt x="44" y="1003"/>
                  </a:lnTo>
                  <a:lnTo>
                    <a:pt x="45" y="1003"/>
                  </a:lnTo>
                  <a:lnTo>
                    <a:pt x="45" y="1005"/>
                  </a:lnTo>
                  <a:lnTo>
                    <a:pt x="45" y="1008"/>
                  </a:lnTo>
                  <a:lnTo>
                    <a:pt x="44" y="1010"/>
                  </a:lnTo>
                  <a:lnTo>
                    <a:pt x="44" y="1011"/>
                  </a:lnTo>
                  <a:lnTo>
                    <a:pt x="45" y="1013"/>
                  </a:lnTo>
                  <a:lnTo>
                    <a:pt x="45" y="1014"/>
                  </a:lnTo>
                  <a:lnTo>
                    <a:pt x="45" y="1016"/>
                  </a:lnTo>
                  <a:lnTo>
                    <a:pt x="44" y="1019"/>
                  </a:lnTo>
                  <a:lnTo>
                    <a:pt x="45" y="1020"/>
                  </a:lnTo>
                  <a:lnTo>
                    <a:pt x="46" y="1019"/>
                  </a:lnTo>
                  <a:lnTo>
                    <a:pt x="47" y="1017"/>
                  </a:lnTo>
                  <a:lnTo>
                    <a:pt x="47" y="1015"/>
                  </a:lnTo>
                  <a:lnTo>
                    <a:pt x="48" y="1013"/>
                  </a:lnTo>
                  <a:lnTo>
                    <a:pt x="48" y="1010"/>
                  </a:lnTo>
                  <a:lnTo>
                    <a:pt x="50" y="1011"/>
                  </a:lnTo>
                  <a:lnTo>
                    <a:pt x="52" y="1010"/>
                  </a:lnTo>
                  <a:lnTo>
                    <a:pt x="52" y="1013"/>
                  </a:lnTo>
                  <a:lnTo>
                    <a:pt x="52" y="1015"/>
                  </a:lnTo>
                  <a:lnTo>
                    <a:pt x="53" y="1014"/>
                  </a:lnTo>
                  <a:lnTo>
                    <a:pt x="54" y="1013"/>
                  </a:lnTo>
                  <a:lnTo>
                    <a:pt x="54" y="1010"/>
                  </a:lnTo>
                  <a:lnTo>
                    <a:pt x="56" y="1010"/>
                  </a:lnTo>
                  <a:lnTo>
                    <a:pt x="56" y="1013"/>
                  </a:lnTo>
                  <a:lnTo>
                    <a:pt x="54" y="1015"/>
                  </a:lnTo>
                  <a:lnTo>
                    <a:pt x="52" y="1017"/>
                  </a:lnTo>
                  <a:lnTo>
                    <a:pt x="50" y="1019"/>
                  </a:lnTo>
                  <a:lnTo>
                    <a:pt x="45" y="1021"/>
                  </a:lnTo>
                  <a:lnTo>
                    <a:pt x="44" y="1022"/>
                  </a:lnTo>
                  <a:lnTo>
                    <a:pt x="41" y="1025"/>
                  </a:lnTo>
                  <a:lnTo>
                    <a:pt x="39" y="1025"/>
                  </a:lnTo>
                  <a:lnTo>
                    <a:pt x="30" y="1021"/>
                  </a:lnTo>
                  <a:lnTo>
                    <a:pt x="30" y="1022"/>
                  </a:lnTo>
                  <a:lnTo>
                    <a:pt x="36" y="1025"/>
                  </a:lnTo>
                  <a:lnTo>
                    <a:pt x="38" y="1027"/>
                  </a:lnTo>
                  <a:lnTo>
                    <a:pt x="33" y="1029"/>
                  </a:lnTo>
                  <a:lnTo>
                    <a:pt x="32" y="1031"/>
                  </a:lnTo>
                  <a:lnTo>
                    <a:pt x="33" y="1032"/>
                  </a:lnTo>
                  <a:lnTo>
                    <a:pt x="35" y="1029"/>
                  </a:lnTo>
                  <a:lnTo>
                    <a:pt x="36" y="1029"/>
                  </a:lnTo>
                  <a:lnTo>
                    <a:pt x="36" y="1034"/>
                  </a:lnTo>
                  <a:lnTo>
                    <a:pt x="38" y="1034"/>
                  </a:lnTo>
                  <a:lnTo>
                    <a:pt x="38" y="1031"/>
                  </a:lnTo>
                  <a:lnTo>
                    <a:pt x="39" y="1029"/>
                  </a:lnTo>
                  <a:lnTo>
                    <a:pt x="40" y="1027"/>
                  </a:lnTo>
                  <a:lnTo>
                    <a:pt x="41" y="1027"/>
                  </a:lnTo>
                  <a:lnTo>
                    <a:pt x="41" y="1029"/>
                  </a:lnTo>
                  <a:lnTo>
                    <a:pt x="41" y="1033"/>
                  </a:lnTo>
                  <a:lnTo>
                    <a:pt x="42" y="1033"/>
                  </a:lnTo>
                  <a:lnTo>
                    <a:pt x="44" y="1033"/>
                  </a:lnTo>
                  <a:lnTo>
                    <a:pt x="44" y="1032"/>
                  </a:lnTo>
                  <a:lnTo>
                    <a:pt x="42" y="1031"/>
                  </a:lnTo>
                  <a:lnTo>
                    <a:pt x="44" y="1028"/>
                  </a:lnTo>
                  <a:lnTo>
                    <a:pt x="45" y="1028"/>
                  </a:lnTo>
                  <a:lnTo>
                    <a:pt x="47" y="1028"/>
                  </a:lnTo>
                  <a:lnTo>
                    <a:pt x="48" y="1028"/>
                  </a:lnTo>
                  <a:lnTo>
                    <a:pt x="47" y="1032"/>
                  </a:lnTo>
                  <a:lnTo>
                    <a:pt x="45" y="1034"/>
                  </a:lnTo>
                  <a:lnTo>
                    <a:pt x="42" y="1037"/>
                  </a:lnTo>
                  <a:lnTo>
                    <a:pt x="44" y="1037"/>
                  </a:lnTo>
                  <a:lnTo>
                    <a:pt x="46" y="1034"/>
                  </a:lnTo>
                  <a:lnTo>
                    <a:pt x="46" y="1035"/>
                  </a:lnTo>
                  <a:lnTo>
                    <a:pt x="44" y="1039"/>
                  </a:lnTo>
                  <a:lnTo>
                    <a:pt x="45" y="1041"/>
                  </a:lnTo>
                  <a:lnTo>
                    <a:pt x="46" y="1041"/>
                  </a:lnTo>
                  <a:lnTo>
                    <a:pt x="48" y="1039"/>
                  </a:lnTo>
                  <a:lnTo>
                    <a:pt x="50" y="1037"/>
                  </a:lnTo>
                  <a:lnTo>
                    <a:pt x="52" y="1033"/>
                  </a:lnTo>
                  <a:lnTo>
                    <a:pt x="54" y="1029"/>
                  </a:lnTo>
                  <a:lnTo>
                    <a:pt x="56" y="1029"/>
                  </a:lnTo>
                  <a:lnTo>
                    <a:pt x="58" y="1031"/>
                  </a:lnTo>
                  <a:lnTo>
                    <a:pt x="62" y="1031"/>
                  </a:lnTo>
                  <a:lnTo>
                    <a:pt x="59" y="1035"/>
                  </a:lnTo>
                  <a:lnTo>
                    <a:pt x="56" y="1038"/>
                  </a:lnTo>
                  <a:lnTo>
                    <a:pt x="57" y="1040"/>
                  </a:lnTo>
                  <a:lnTo>
                    <a:pt x="53" y="1041"/>
                  </a:lnTo>
                  <a:lnTo>
                    <a:pt x="50" y="1043"/>
                  </a:lnTo>
                  <a:lnTo>
                    <a:pt x="46" y="1047"/>
                  </a:lnTo>
                  <a:lnTo>
                    <a:pt x="45" y="1050"/>
                  </a:lnTo>
                  <a:lnTo>
                    <a:pt x="47" y="1050"/>
                  </a:lnTo>
                  <a:lnTo>
                    <a:pt x="50" y="1049"/>
                  </a:lnTo>
                  <a:lnTo>
                    <a:pt x="50" y="1050"/>
                  </a:lnTo>
                  <a:lnTo>
                    <a:pt x="51" y="1049"/>
                  </a:lnTo>
                  <a:lnTo>
                    <a:pt x="52" y="1046"/>
                  </a:lnTo>
                  <a:lnTo>
                    <a:pt x="54" y="1044"/>
                  </a:lnTo>
                  <a:lnTo>
                    <a:pt x="57" y="1043"/>
                  </a:lnTo>
                  <a:lnTo>
                    <a:pt x="58" y="1041"/>
                  </a:lnTo>
                  <a:lnTo>
                    <a:pt x="57" y="1045"/>
                  </a:lnTo>
                  <a:lnTo>
                    <a:pt x="54" y="1050"/>
                  </a:lnTo>
                  <a:lnTo>
                    <a:pt x="58" y="1050"/>
                  </a:lnTo>
                  <a:lnTo>
                    <a:pt x="59" y="1049"/>
                  </a:lnTo>
                  <a:lnTo>
                    <a:pt x="59" y="1051"/>
                  </a:lnTo>
                  <a:lnTo>
                    <a:pt x="60" y="1051"/>
                  </a:lnTo>
                  <a:lnTo>
                    <a:pt x="62" y="1050"/>
                  </a:lnTo>
                  <a:lnTo>
                    <a:pt x="63" y="1049"/>
                  </a:lnTo>
                  <a:lnTo>
                    <a:pt x="63" y="1046"/>
                  </a:lnTo>
                  <a:lnTo>
                    <a:pt x="63" y="1043"/>
                  </a:lnTo>
                  <a:lnTo>
                    <a:pt x="64" y="1039"/>
                  </a:lnTo>
                  <a:lnTo>
                    <a:pt x="65" y="1043"/>
                  </a:lnTo>
                  <a:lnTo>
                    <a:pt x="65" y="1044"/>
                  </a:lnTo>
                  <a:lnTo>
                    <a:pt x="65" y="1043"/>
                  </a:lnTo>
                  <a:lnTo>
                    <a:pt x="64" y="1038"/>
                  </a:lnTo>
                  <a:lnTo>
                    <a:pt x="66" y="1035"/>
                  </a:lnTo>
                  <a:lnTo>
                    <a:pt x="68" y="1035"/>
                  </a:lnTo>
                  <a:lnTo>
                    <a:pt x="68" y="1037"/>
                  </a:lnTo>
                  <a:lnTo>
                    <a:pt x="69" y="1033"/>
                  </a:lnTo>
                  <a:lnTo>
                    <a:pt x="69" y="1032"/>
                  </a:lnTo>
                  <a:lnTo>
                    <a:pt x="70" y="1032"/>
                  </a:lnTo>
                  <a:lnTo>
                    <a:pt x="70" y="1034"/>
                  </a:lnTo>
                  <a:lnTo>
                    <a:pt x="70" y="1038"/>
                  </a:lnTo>
                  <a:lnTo>
                    <a:pt x="69" y="1041"/>
                  </a:lnTo>
                  <a:lnTo>
                    <a:pt x="68" y="1044"/>
                  </a:lnTo>
                  <a:lnTo>
                    <a:pt x="69" y="1046"/>
                  </a:lnTo>
                  <a:lnTo>
                    <a:pt x="66" y="1049"/>
                  </a:lnTo>
                  <a:lnTo>
                    <a:pt x="68" y="1051"/>
                  </a:lnTo>
                  <a:lnTo>
                    <a:pt x="68" y="1052"/>
                  </a:lnTo>
                  <a:lnTo>
                    <a:pt x="68" y="1057"/>
                  </a:lnTo>
                  <a:lnTo>
                    <a:pt x="69" y="1056"/>
                  </a:lnTo>
                  <a:lnTo>
                    <a:pt x="71" y="1055"/>
                  </a:lnTo>
                  <a:lnTo>
                    <a:pt x="72" y="1053"/>
                  </a:lnTo>
                  <a:lnTo>
                    <a:pt x="74" y="1052"/>
                  </a:lnTo>
                  <a:lnTo>
                    <a:pt x="74" y="1047"/>
                  </a:lnTo>
                  <a:lnTo>
                    <a:pt x="74" y="1045"/>
                  </a:lnTo>
                  <a:lnTo>
                    <a:pt x="75" y="1046"/>
                  </a:lnTo>
                  <a:lnTo>
                    <a:pt x="75" y="1047"/>
                  </a:lnTo>
                  <a:lnTo>
                    <a:pt x="75" y="1051"/>
                  </a:lnTo>
                  <a:lnTo>
                    <a:pt x="75" y="1053"/>
                  </a:lnTo>
                  <a:lnTo>
                    <a:pt x="75" y="1057"/>
                  </a:lnTo>
                  <a:lnTo>
                    <a:pt x="76" y="1059"/>
                  </a:lnTo>
                  <a:lnTo>
                    <a:pt x="76" y="1058"/>
                  </a:lnTo>
                  <a:lnTo>
                    <a:pt x="77" y="1059"/>
                  </a:lnTo>
                  <a:lnTo>
                    <a:pt x="78" y="1062"/>
                  </a:lnTo>
                  <a:lnTo>
                    <a:pt x="80" y="1062"/>
                  </a:lnTo>
                  <a:lnTo>
                    <a:pt x="80" y="1057"/>
                  </a:lnTo>
                  <a:lnTo>
                    <a:pt x="78" y="1052"/>
                  </a:lnTo>
                  <a:lnTo>
                    <a:pt x="80" y="1049"/>
                  </a:lnTo>
                  <a:lnTo>
                    <a:pt x="80" y="1044"/>
                  </a:lnTo>
                  <a:lnTo>
                    <a:pt x="81" y="1051"/>
                  </a:lnTo>
                  <a:lnTo>
                    <a:pt x="83" y="1050"/>
                  </a:lnTo>
                  <a:lnTo>
                    <a:pt x="83" y="1046"/>
                  </a:lnTo>
                  <a:lnTo>
                    <a:pt x="83" y="1043"/>
                  </a:lnTo>
                  <a:lnTo>
                    <a:pt x="84" y="1040"/>
                  </a:lnTo>
                  <a:lnTo>
                    <a:pt x="84" y="1034"/>
                  </a:lnTo>
                  <a:lnTo>
                    <a:pt x="86" y="1033"/>
                  </a:lnTo>
                  <a:lnTo>
                    <a:pt x="86" y="1038"/>
                  </a:lnTo>
                  <a:lnTo>
                    <a:pt x="86" y="1044"/>
                  </a:lnTo>
                  <a:lnTo>
                    <a:pt x="83" y="1047"/>
                  </a:lnTo>
                  <a:lnTo>
                    <a:pt x="83" y="1051"/>
                  </a:lnTo>
                  <a:lnTo>
                    <a:pt x="82" y="1055"/>
                  </a:lnTo>
                  <a:lnTo>
                    <a:pt x="81" y="1057"/>
                  </a:lnTo>
                  <a:lnTo>
                    <a:pt x="82" y="1058"/>
                  </a:lnTo>
                  <a:lnTo>
                    <a:pt x="83" y="1059"/>
                  </a:lnTo>
                  <a:lnTo>
                    <a:pt x="84" y="1058"/>
                  </a:lnTo>
                  <a:lnTo>
                    <a:pt x="84" y="1057"/>
                  </a:lnTo>
                  <a:lnTo>
                    <a:pt x="86" y="1055"/>
                  </a:lnTo>
                  <a:lnTo>
                    <a:pt x="87" y="1052"/>
                  </a:lnTo>
                  <a:lnTo>
                    <a:pt x="88" y="1051"/>
                  </a:lnTo>
                  <a:lnTo>
                    <a:pt x="87" y="1050"/>
                  </a:lnTo>
                  <a:lnTo>
                    <a:pt x="88" y="1045"/>
                  </a:lnTo>
                  <a:lnTo>
                    <a:pt x="88" y="1046"/>
                  </a:lnTo>
                  <a:lnTo>
                    <a:pt x="88" y="1050"/>
                  </a:lnTo>
                  <a:lnTo>
                    <a:pt x="89" y="1052"/>
                  </a:lnTo>
                  <a:lnTo>
                    <a:pt x="89" y="1053"/>
                  </a:lnTo>
                  <a:lnTo>
                    <a:pt x="92" y="1050"/>
                  </a:lnTo>
                  <a:lnTo>
                    <a:pt x="92" y="1047"/>
                  </a:lnTo>
                  <a:lnTo>
                    <a:pt x="93" y="1046"/>
                  </a:lnTo>
                  <a:lnTo>
                    <a:pt x="94" y="1041"/>
                  </a:lnTo>
                  <a:lnTo>
                    <a:pt x="95" y="1043"/>
                  </a:lnTo>
                  <a:lnTo>
                    <a:pt x="95" y="1046"/>
                  </a:lnTo>
                  <a:lnTo>
                    <a:pt x="93" y="1050"/>
                  </a:lnTo>
                  <a:lnTo>
                    <a:pt x="94" y="1053"/>
                  </a:lnTo>
                  <a:lnTo>
                    <a:pt x="94" y="1056"/>
                  </a:lnTo>
                  <a:lnTo>
                    <a:pt x="95" y="1057"/>
                  </a:lnTo>
                  <a:lnTo>
                    <a:pt x="97" y="1056"/>
                  </a:lnTo>
                  <a:lnTo>
                    <a:pt x="97" y="1058"/>
                  </a:lnTo>
                  <a:lnTo>
                    <a:pt x="95" y="1061"/>
                  </a:lnTo>
                  <a:lnTo>
                    <a:pt x="94" y="1062"/>
                  </a:lnTo>
                  <a:lnTo>
                    <a:pt x="91" y="1064"/>
                  </a:lnTo>
                  <a:lnTo>
                    <a:pt x="92" y="1065"/>
                  </a:lnTo>
                  <a:lnTo>
                    <a:pt x="94" y="1063"/>
                  </a:lnTo>
                  <a:lnTo>
                    <a:pt x="94" y="1065"/>
                  </a:lnTo>
                  <a:lnTo>
                    <a:pt x="93" y="1068"/>
                  </a:lnTo>
                  <a:lnTo>
                    <a:pt x="94" y="1068"/>
                  </a:lnTo>
                  <a:lnTo>
                    <a:pt x="95" y="1069"/>
                  </a:lnTo>
                  <a:lnTo>
                    <a:pt x="97" y="1069"/>
                  </a:lnTo>
                  <a:lnTo>
                    <a:pt x="101" y="1062"/>
                  </a:lnTo>
                  <a:lnTo>
                    <a:pt x="101" y="1059"/>
                  </a:lnTo>
                  <a:lnTo>
                    <a:pt x="101" y="1058"/>
                  </a:lnTo>
                  <a:lnTo>
                    <a:pt x="101" y="1051"/>
                  </a:lnTo>
                  <a:lnTo>
                    <a:pt x="103" y="1047"/>
                  </a:lnTo>
                  <a:lnTo>
                    <a:pt x="103" y="1043"/>
                  </a:lnTo>
                  <a:lnTo>
                    <a:pt x="103" y="1041"/>
                  </a:lnTo>
                  <a:lnTo>
                    <a:pt x="104" y="1041"/>
                  </a:lnTo>
                  <a:lnTo>
                    <a:pt x="104" y="1044"/>
                  </a:lnTo>
                  <a:lnTo>
                    <a:pt x="104" y="1045"/>
                  </a:lnTo>
                  <a:lnTo>
                    <a:pt x="106" y="1046"/>
                  </a:lnTo>
                  <a:lnTo>
                    <a:pt x="105" y="1050"/>
                  </a:lnTo>
                  <a:lnTo>
                    <a:pt x="105" y="1053"/>
                  </a:lnTo>
                  <a:lnTo>
                    <a:pt x="105" y="1057"/>
                  </a:lnTo>
                  <a:lnTo>
                    <a:pt x="105" y="1058"/>
                  </a:lnTo>
                  <a:lnTo>
                    <a:pt x="105" y="1059"/>
                  </a:lnTo>
                  <a:lnTo>
                    <a:pt x="104" y="1062"/>
                  </a:lnTo>
                  <a:lnTo>
                    <a:pt x="103" y="1063"/>
                  </a:lnTo>
                  <a:lnTo>
                    <a:pt x="101" y="1065"/>
                  </a:lnTo>
                  <a:lnTo>
                    <a:pt x="100" y="1068"/>
                  </a:lnTo>
                  <a:lnTo>
                    <a:pt x="100" y="1072"/>
                  </a:lnTo>
                  <a:lnTo>
                    <a:pt x="100" y="1074"/>
                  </a:lnTo>
                  <a:lnTo>
                    <a:pt x="100" y="1076"/>
                  </a:lnTo>
                  <a:lnTo>
                    <a:pt x="101" y="1078"/>
                  </a:lnTo>
                  <a:lnTo>
                    <a:pt x="100" y="1081"/>
                  </a:lnTo>
                  <a:lnTo>
                    <a:pt x="100" y="1084"/>
                  </a:lnTo>
                  <a:lnTo>
                    <a:pt x="98" y="1085"/>
                  </a:lnTo>
                  <a:lnTo>
                    <a:pt x="94" y="1086"/>
                  </a:lnTo>
                  <a:lnTo>
                    <a:pt x="92" y="1085"/>
                  </a:lnTo>
                  <a:lnTo>
                    <a:pt x="87" y="1082"/>
                  </a:lnTo>
                  <a:lnTo>
                    <a:pt x="83" y="1080"/>
                  </a:lnTo>
                  <a:lnTo>
                    <a:pt x="82" y="1080"/>
                  </a:lnTo>
                  <a:lnTo>
                    <a:pt x="80" y="1080"/>
                  </a:lnTo>
                  <a:lnTo>
                    <a:pt x="77" y="1079"/>
                  </a:lnTo>
                  <a:lnTo>
                    <a:pt x="74" y="1078"/>
                  </a:lnTo>
                  <a:lnTo>
                    <a:pt x="71" y="1076"/>
                  </a:lnTo>
                  <a:lnTo>
                    <a:pt x="70" y="1080"/>
                  </a:lnTo>
                  <a:lnTo>
                    <a:pt x="72" y="1080"/>
                  </a:lnTo>
                  <a:lnTo>
                    <a:pt x="71" y="1082"/>
                  </a:lnTo>
                  <a:lnTo>
                    <a:pt x="72" y="1082"/>
                  </a:lnTo>
                  <a:lnTo>
                    <a:pt x="75" y="1082"/>
                  </a:lnTo>
                  <a:lnTo>
                    <a:pt x="74" y="1085"/>
                  </a:lnTo>
                  <a:lnTo>
                    <a:pt x="74" y="1086"/>
                  </a:lnTo>
                  <a:lnTo>
                    <a:pt x="76" y="1085"/>
                  </a:lnTo>
                  <a:lnTo>
                    <a:pt x="77" y="1084"/>
                  </a:lnTo>
                  <a:lnTo>
                    <a:pt x="78" y="1084"/>
                  </a:lnTo>
                  <a:lnTo>
                    <a:pt x="80" y="1085"/>
                  </a:lnTo>
                  <a:lnTo>
                    <a:pt x="76" y="1087"/>
                  </a:lnTo>
                  <a:lnTo>
                    <a:pt x="76" y="1088"/>
                  </a:lnTo>
                  <a:lnTo>
                    <a:pt x="77" y="1090"/>
                  </a:lnTo>
                  <a:lnTo>
                    <a:pt x="80" y="1091"/>
                  </a:lnTo>
                  <a:lnTo>
                    <a:pt x="81" y="1090"/>
                  </a:lnTo>
                  <a:lnTo>
                    <a:pt x="82" y="1088"/>
                  </a:lnTo>
                  <a:lnTo>
                    <a:pt x="81" y="1091"/>
                  </a:lnTo>
                  <a:lnTo>
                    <a:pt x="81" y="1093"/>
                  </a:lnTo>
                  <a:lnTo>
                    <a:pt x="81" y="1094"/>
                  </a:lnTo>
                  <a:lnTo>
                    <a:pt x="82" y="1094"/>
                  </a:lnTo>
                  <a:lnTo>
                    <a:pt x="82" y="1096"/>
                  </a:lnTo>
                  <a:lnTo>
                    <a:pt x="83" y="1098"/>
                  </a:lnTo>
                  <a:lnTo>
                    <a:pt x="84" y="1099"/>
                  </a:lnTo>
                  <a:lnTo>
                    <a:pt x="86" y="1099"/>
                  </a:lnTo>
                  <a:lnTo>
                    <a:pt x="87" y="1099"/>
                  </a:lnTo>
                  <a:lnTo>
                    <a:pt x="87" y="1102"/>
                  </a:lnTo>
                  <a:lnTo>
                    <a:pt x="89" y="1104"/>
                  </a:lnTo>
                  <a:lnTo>
                    <a:pt x="87" y="1104"/>
                  </a:lnTo>
                  <a:lnTo>
                    <a:pt x="87" y="1106"/>
                  </a:lnTo>
                  <a:lnTo>
                    <a:pt x="88" y="1106"/>
                  </a:lnTo>
                  <a:lnTo>
                    <a:pt x="89" y="1108"/>
                  </a:lnTo>
                  <a:lnTo>
                    <a:pt x="91" y="1108"/>
                  </a:lnTo>
                  <a:lnTo>
                    <a:pt x="92" y="1105"/>
                  </a:lnTo>
                  <a:lnTo>
                    <a:pt x="93" y="1106"/>
                  </a:lnTo>
                  <a:lnTo>
                    <a:pt x="94" y="1106"/>
                  </a:lnTo>
                  <a:lnTo>
                    <a:pt x="95" y="1103"/>
                  </a:lnTo>
                  <a:lnTo>
                    <a:pt x="97" y="1102"/>
                  </a:lnTo>
                  <a:lnTo>
                    <a:pt x="98" y="1103"/>
                  </a:lnTo>
                  <a:lnTo>
                    <a:pt x="97" y="1105"/>
                  </a:lnTo>
                  <a:lnTo>
                    <a:pt x="94" y="1108"/>
                  </a:lnTo>
                  <a:lnTo>
                    <a:pt x="94" y="1109"/>
                  </a:lnTo>
                  <a:lnTo>
                    <a:pt x="97" y="1109"/>
                  </a:lnTo>
                  <a:lnTo>
                    <a:pt x="97" y="1111"/>
                  </a:lnTo>
                  <a:lnTo>
                    <a:pt x="97" y="1112"/>
                  </a:lnTo>
                  <a:lnTo>
                    <a:pt x="99" y="1112"/>
                  </a:lnTo>
                  <a:lnTo>
                    <a:pt x="101" y="1114"/>
                  </a:lnTo>
                  <a:lnTo>
                    <a:pt x="104" y="1112"/>
                  </a:lnTo>
                  <a:lnTo>
                    <a:pt x="105" y="1114"/>
                  </a:lnTo>
                  <a:lnTo>
                    <a:pt x="106" y="1114"/>
                  </a:lnTo>
                  <a:lnTo>
                    <a:pt x="109" y="1112"/>
                  </a:lnTo>
                  <a:lnTo>
                    <a:pt x="110" y="1114"/>
                  </a:lnTo>
                  <a:lnTo>
                    <a:pt x="111" y="1115"/>
                  </a:lnTo>
                  <a:lnTo>
                    <a:pt x="113" y="1114"/>
                  </a:lnTo>
                  <a:lnTo>
                    <a:pt x="113" y="1112"/>
                  </a:lnTo>
                  <a:lnTo>
                    <a:pt x="115" y="1112"/>
                  </a:lnTo>
                  <a:lnTo>
                    <a:pt x="116" y="1111"/>
                  </a:lnTo>
                  <a:lnTo>
                    <a:pt x="118" y="1111"/>
                  </a:lnTo>
                  <a:lnTo>
                    <a:pt x="118" y="1110"/>
                  </a:lnTo>
                  <a:lnTo>
                    <a:pt x="121" y="1112"/>
                  </a:lnTo>
                  <a:lnTo>
                    <a:pt x="122" y="1112"/>
                  </a:lnTo>
                  <a:lnTo>
                    <a:pt x="123" y="1112"/>
                  </a:lnTo>
                  <a:lnTo>
                    <a:pt x="124" y="1111"/>
                  </a:lnTo>
                  <a:lnTo>
                    <a:pt x="125" y="1111"/>
                  </a:lnTo>
                  <a:lnTo>
                    <a:pt x="127" y="1114"/>
                  </a:lnTo>
                  <a:lnTo>
                    <a:pt x="128" y="1114"/>
                  </a:lnTo>
                  <a:lnTo>
                    <a:pt x="129" y="1114"/>
                  </a:lnTo>
                  <a:lnTo>
                    <a:pt x="130" y="1114"/>
                  </a:lnTo>
                  <a:lnTo>
                    <a:pt x="131" y="1114"/>
                  </a:lnTo>
                  <a:lnTo>
                    <a:pt x="133" y="1115"/>
                  </a:lnTo>
                  <a:lnTo>
                    <a:pt x="134" y="1114"/>
                  </a:lnTo>
                  <a:lnTo>
                    <a:pt x="134" y="1112"/>
                  </a:lnTo>
                  <a:lnTo>
                    <a:pt x="136" y="1112"/>
                  </a:lnTo>
                  <a:lnTo>
                    <a:pt x="136" y="1114"/>
                  </a:lnTo>
                  <a:lnTo>
                    <a:pt x="137" y="1114"/>
                  </a:lnTo>
                  <a:lnTo>
                    <a:pt x="140" y="1114"/>
                  </a:lnTo>
                  <a:lnTo>
                    <a:pt x="141" y="1114"/>
                  </a:lnTo>
                  <a:lnTo>
                    <a:pt x="142" y="1115"/>
                  </a:lnTo>
                  <a:lnTo>
                    <a:pt x="145" y="1116"/>
                  </a:lnTo>
                  <a:lnTo>
                    <a:pt x="146" y="1117"/>
                  </a:lnTo>
                  <a:lnTo>
                    <a:pt x="147" y="1120"/>
                  </a:lnTo>
                  <a:lnTo>
                    <a:pt x="148" y="1121"/>
                  </a:lnTo>
                  <a:lnTo>
                    <a:pt x="148" y="1122"/>
                  </a:lnTo>
                  <a:lnTo>
                    <a:pt x="151" y="1123"/>
                  </a:lnTo>
                  <a:lnTo>
                    <a:pt x="153" y="1123"/>
                  </a:lnTo>
                  <a:lnTo>
                    <a:pt x="154" y="1122"/>
                  </a:lnTo>
                  <a:lnTo>
                    <a:pt x="152" y="1124"/>
                  </a:lnTo>
                  <a:lnTo>
                    <a:pt x="151" y="1126"/>
                  </a:lnTo>
                  <a:lnTo>
                    <a:pt x="152" y="1127"/>
                  </a:lnTo>
                  <a:lnTo>
                    <a:pt x="152" y="1126"/>
                  </a:lnTo>
                  <a:lnTo>
                    <a:pt x="154" y="1126"/>
                  </a:lnTo>
                  <a:lnTo>
                    <a:pt x="156" y="1126"/>
                  </a:lnTo>
                  <a:lnTo>
                    <a:pt x="156" y="1127"/>
                  </a:lnTo>
                  <a:lnTo>
                    <a:pt x="154" y="1127"/>
                  </a:lnTo>
                  <a:lnTo>
                    <a:pt x="153" y="1129"/>
                  </a:lnTo>
                  <a:lnTo>
                    <a:pt x="154" y="1129"/>
                  </a:lnTo>
                  <a:lnTo>
                    <a:pt x="154" y="1132"/>
                  </a:lnTo>
                  <a:lnTo>
                    <a:pt x="156" y="1130"/>
                  </a:lnTo>
                  <a:lnTo>
                    <a:pt x="157" y="1130"/>
                  </a:lnTo>
                  <a:lnTo>
                    <a:pt x="158" y="1132"/>
                  </a:lnTo>
                  <a:lnTo>
                    <a:pt x="157" y="1133"/>
                  </a:lnTo>
                  <a:lnTo>
                    <a:pt x="158" y="1134"/>
                  </a:lnTo>
                  <a:lnTo>
                    <a:pt x="159" y="1134"/>
                  </a:lnTo>
                  <a:lnTo>
                    <a:pt x="159" y="1135"/>
                  </a:lnTo>
                  <a:lnTo>
                    <a:pt x="160" y="1136"/>
                  </a:lnTo>
                  <a:lnTo>
                    <a:pt x="162" y="1134"/>
                  </a:lnTo>
                  <a:lnTo>
                    <a:pt x="163" y="1134"/>
                  </a:lnTo>
                  <a:lnTo>
                    <a:pt x="163" y="1136"/>
                  </a:lnTo>
                  <a:lnTo>
                    <a:pt x="160" y="1139"/>
                  </a:lnTo>
                  <a:lnTo>
                    <a:pt x="160" y="1141"/>
                  </a:lnTo>
                  <a:lnTo>
                    <a:pt x="162" y="1141"/>
                  </a:lnTo>
                  <a:lnTo>
                    <a:pt x="163" y="1140"/>
                  </a:lnTo>
                  <a:lnTo>
                    <a:pt x="164" y="1138"/>
                  </a:lnTo>
                  <a:lnTo>
                    <a:pt x="165" y="1135"/>
                  </a:lnTo>
                  <a:lnTo>
                    <a:pt x="165" y="1138"/>
                  </a:lnTo>
                  <a:lnTo>
                    <a:pt x="164" y="1140"/>
                  </a:lnTo>
                  <a:lnTo>
                    <a:pt x="165" y="1141"/>
                  </a:lnTo>
                  <a:lnTo>
                    <a:pt x="165" y="1142"/>
                  </a:lnTo>
                  <a:lnTo>
                    <a:pt x="164" y="1144"/>
                  </a:lnTo>
                  <a:lnTo>
                    <a:pt x="164" y="1146"/>
                  </a:lnTo>
                  <a:lnTo>
                    <a:pt x="164" y="1150"/>
                  </a:lnTo>
                  <a:lnTo>
                    <a:pt x="163" y="1151"/>
                  </a:lnTo>
                  <a:lnTo>
                    <a:pt x="162" y="1153"/>
                  </a:lnTo>
                  <a:lnTo>
                    <a:pt x="160" y="1156"/>
                  </a:lnTo>
                  <a:lnTo>
                    <a:pt x="159" y="1159"/>
                  </a:lnTo>
                  <a:lnTo>
                    <a:pt x="156" y="1163"/>
                  </a:lnTo>
                  <a:lnTo>
                    <a:pt x="154" y="1165"/>
                  </a:lnTo>
                  <a:lnTo>
                    <a:pt x="152" y="1166"/>
                  </a:lnTo>
                  <a:lnTo>
                    <a:pt x="154" y="1169"/>
                  </a:lnTo>
                  <a:lnTo>
                    <a:pt x="154" y="1170"/>
                  </a:lnTo>
                  <a:lnTo>
                    <a:pt x="154" y="1171"/>
                  </a:lnTo>
                  <a:lnTo>
                    <a:pt x="156" y="1172"/>
                  </a:lnTo>
                  <a:lnTo>
                    <a:pt x="156" y="1174"/>
                  </a:lnTo>
                  <a:lnTo>
                    <a:pt x="157" y="1176"/>
                  </a:lnTo>
                  <a:lnTo>
                    <a:pt x="157" y="1175"/>
                  </a:lnTo>
                  <a:lnTo>
                    <a:pt x="158" y="1175"/>
                  </a:lnTo>
                  <a:lnTo>
                    <a:pt x="159" y="1176"/>
                  </a:lnTo>
                  <a:lnTo>
                    <a:pt x="160" y="1176"/>
                  </a:lnTo>
                  <a:lnTo>
                    <a:pt x="158" y="1180"/>
                  </a:lnTo>
                  <a:lnTo>
                    <a:pt x="157" y="1181"/>
                  </a:lnTo>
                  <a:lnTo>
                    <a:pt x="158" y="1181"/>
                  </a:lnTo>
                  <a:lnTo>
                    <a:pt x="159" y="1180"/>
                  </a:lnTo>
                  <a:lnTo>
                    <a:pt x="162" y="1177"/>
                  </a:lnTo>
                  <a:lnTo>
                    <a:pt x="163" y="1175"/>
                  </a:lnTo>
                  <a:lnTo>
                    <a:pt x="165" y="1172"/>
                  </a:lnTo>
                  <a:lnTo>
                    <a:pt x="166" y="1171"/>
                  </a:lnTo>
                  <a:lnTo>
                    <a:pt x="169" y="1170"/>
                  </a:lnTo>
                  <a:lnTo>
                    <a:pt x="170" y="1172"/>
                  </a:lnTo>
                  <a:lnTo>
                    <a:pt x="171" y="1172"/>
                  </a:lnTo>
                  <a:lnTo>
                    <a:pt x="174" y="1174"/>
                  </a:lnTo>
                  <a:lnTo>
                    <a:pt x="176" y="1175"/>
                  </a:lnTo>
                  <a:lnTo>
                    <a:pt x="176" y="1176"/>
                  </a:lnTo>
                  <a:lnTo>
                    <a:pt x="177" y="1177"/>
                  </a:lnTo>
                  <a:lnTo>
                    <a:pt x="177" y="1179"/>
                  </a:lnTo>
                  <a:lnTo>
                    <a:pt x="178" y="1179"/>
                  </a:lnTo>
                  <a:lnTo>
                    <a:pt x="180" y="1179"/>
                  </a:lnTo>
                  <a:lnTo>
                    <a:pt x="181" y="1180"/>
                  </a:lnTo>
                  <a:lnTo>
                    <a:pt x="180" y="1181"/>
                  </a:lnTo>
                  <a:lnTo>
                    <a:pt x="181" y="1182"/>
                  </a:lnTo>
                  <a:lnTo>
                    <a:pt x="182" y="1183"/>
                  </a:lnTo>
                  <a:lnTo>
                    <a:pt x="183" y="1182"/>
                  </a:lnTo>
                  <a:lnTo>
                    <a:pt x="184" y="1183"/>
                  </a:lnTo>
                  <a:lnTo>
                    <a:pt x="183" y="1185"/>
                  </a:lnTo>
                  <a:lnTo>
                    <a:pt x="183" y="1187"/>
                  </a:lnTo>
                  <a:lnTo>
                    <a:pt x="186" y="1186"/>
                  </a:lnTo>
                  <a:lnTo>
                    <a:pt x="186" y="1185"/>
                  </a:lnTo>
                  <a:lnTo>
                    <a:pt x="187" y="1187"/>
                  </a:lnTo>
                  <a:lnTo>
                    <a:pt x="188" y="1187"/>
                  </a:lnTo>
                  <a:lnTo>
                    <a:pt x="190" y="1187"/>
                  </a:lnTo>
                  <a:lnTo>
                    <a:pt x="192" y="1187"/>
                  </a:lnTo>
                  <a:lnTo>
                    <a:pt x="192" y="1186"/>
                  </a:lnTo>
                  <a:lnTo>
                    <a:pt x="192" y="1182"/>
                  </a:lnTo>
                  <a:lnTo>
                    <a:pt x="194" y="1179"/>
                  </a:lnTo>
                  <a:lnTo>
                    <a:pt x="194" y="1177"/>
                  </a:lnTo>
                  <a:lnTo>
                    <a:pt x="193" y="1175"/>
                  </a:lnTo>
                  <a:lnTo>
                    <a:pt x="193" y="1172"/>
                  </a:lnTo>
                  <a:lnTo>
                    <a:pt x="193" y="1171"/>
                  </a:lnTo>
                  <a:lnTo>
                    <a:pt x="193" y="1168"/>
                  </a:lnTo>
                  <a:lnTo>
                    <a:pt x="190" y="1166"/>
                  </a:lnTo>
                  <a:lnTo>
                    <a:pt x="189" y="1166"/>
                  </a:lnTo>
                  <a:lnTo>
                    <a:pt x="189" y="1165"/>
                  </a:lnTo>
                  <a:lnTo>
                    <a:pt x="190" y="1163"/>
                  </a:lnTo>
                  <a:lnTo>
                    <a:pt x="192" y="1159"/>
                  </a:lnTo>
                  <a:lnTo>
                    <a:pt x="193" y="1158"/>
                  </a:lnTo>
                  <a:lnTo>
                    <a:pt x="196" y="1157"/>
                  </a:lnTo>
                  <a:lnTo>
                    <a:pt x="198" y="1158"/>
                  </a:lnTo>
                  <a:lnTo>
                    <a:pt x="199" y="1157"/>
                  </a:lnTo>
                  <a:lnTo>
                    <a:pt x="200" y="1154"/>
                  </a:lnTo>
                  <a:lnTo>
                    <a:pt x="201" y="1154"/>
                  </a:lnTo>
                  <a:lnTo>
                    <a:pt x="204" y="1156"/>
                  </a:lnTo>
                  <a:lnTo>
                    <a:pt x="205" y="1156"/>
                  </a:lnTo>
                  <a:lnTo>
                    <a:pt x="207" y="1156"/>
                  </a:lnTo>
                  <a:lnTo>
                    <a:pt x="209" y="1157"/>
                  </a:lnTo>
                  <a:lnTo>
                    <a:pt x="210" y="1157"/>
                  </a:lnTo>
                  <a:lnTo>
                    <a:pt x="212" y="1158"/>
                  </a:lnTo>
                  <a:lnTo>
                    <a:pt x="213" y="1157"/>
                  </a:lnTo>
                  <a:lnTo>
                    <a:pt x="215" y="1156"/>
                  </a:lnTo>
                  <a:lnTo>
                    <a:pt x="215" y="1157"/>
                  </a:lnTo>
                  <a:lnTo>
                    <a:pt x="216" y="1156"/>
                  </a:lnTo>
                  <a:lnTo>
                    <a:pt x="216" y="1154"/>
                  </a:lnTo>
                  <a:lnTo>
                    <a:pt x="217" y="1153"/>
                  </a:lnTo>
                  <a:lnTo>
                    <a:pt x="218" y="1153"/>
                  </a:lnTo>
                  <a:lnTo>
                    <a:pt x="221" y="1152"/>
                  </a:lnTo>
                  <a:lnTo>
                    <a:pt x="221" y="1151"/>
                  </a:lnTo>
                  <a:lnTo>
                    <a:pt x="222" y="1148"/>
                  </a:lnTo>
                  <a:lnTo>
                    <a:pt x="223" y="1147"/>
                  </a:lnTo>
                  <a:lnTo>
                    <a:pt x="227" y="1148"/>
                  </a:lnTo>
                  <a:lnTo>
                    <a:pt x="227" y="1147"/>
                  </a:lnTo>
                  <a:lnTo>
                    <a:pt x="228" y="1147"/>
                  </a:lnTo>
                  <a:lnTo>
                    <a:pt x="227" y="1150"/>
                  </a:lnTo>
                  <a:lnTo>
                    <a:pt x="228" y="1151"/>
                  </a:lnTo>
                  <a:lnTo>
                    <a:pt x="230" y="1151"/>
                  </a:lnTo>
                  <a:lnTo>
                    <a:pt x="231" y="1150"/>
                  </a:lnTo>
                  <a:lnTo>
                    <a:pt x="231" y="1147"/>
                  </a:lnTo>
                  <a:lnTo>
                    <a:pt x="231" y="1145"/>
                  </a:lnTo>
                  <a:lnTo>
                    <a:pt x="231" y="1144"/>
                  </a:lnTo>
                  <a:lnTo>
                    <a:pt x="231" y="1146"/>
                  </a:lnTo>
                  <a:lnTo>
                    <a:pt x="231" y="1148"/>
                  </a:lnTo>
                  <a:lnTo>
                    <a:pt x="233" y="1150"/>
                  </a:lnTo>
                  <a:lnTo>
                    <a:pt x="234" y="1148"/>
                  </a:lnTo>
                  <a:lnTo>
                    <a:pt x="234" y="1150"/>
                  </a:lnTo>
                  <a:lnTo>
                    <a:pt x="233" y="1151"/>
                  </a:lnTo>
                  <a:lnTo>
                    <a:pt x="233" y="1153"/>
                  </a:lnTo>
                  <a:lnTo>
                    <a:pt x="234" y="1154"/>
                  </a:lnTo>
                  <a:lnTo>
                    <a:pt x="235" y="1153"/>
                  </a:lnTo>
                  <a:lnTo>
                    <a:pt x="236" y="1153"/>
                  </a:lnTo>
                  <a:lnTo>
                    <a:pt x="237" y="1152"/>
                  </a:lnTo>
                  <a:lnTo>
                    <a:pt x="237" y="1154"/>
                  </a:lnTo>
                  <a:lnTo>
                    <a:pt x="239" y="1153"/>
                  </a:lnTo>
                  <a:lnTo>
                    <a:pt x="239" y="1152"/>
                  </a:lnTo>
                  <a:lnTo>
                    <a:pt x="239" y="1151"/>
                  </a:lnTo>
                  <a:lnTo>
                    <a:pt x="240" y="1150"/>
                  </a:lnTo>
                  <a:lnTo>
                    <a:pt x="240" y="1153"/>
                  </a:lnTo>
                  <a:lnTo>
                    <a:pt x="241" y="1153"/>
                  </a:lnTo>
                  <a:lnTo>
                    <a:pt x="241" y="1156"/>
                  </a:lnTo>
                  <a:lnTo>
                    <a:pt x="241" y="1157"/>
                  </a:lnTo>
                  <a:lnTo>
                    <a:pt x="242" y="1157"/>
                  </a:lnTo>
                  <a:lnTo>
                    <a:pt x="243" y="1158"/>
                  </a:lnTo>
                  <a:lnTo>
                    <a:pt x="247" y="1156"/>
                  </a:lnTo>
                  <a:lnTo>
                    <a:pt x="247" y="1160"/>
                  </a:lnTo>
                  <a:lnTo>
                    <a:pt x="248" y="1157"/>
                  </a:lnTo>
                  <a:lnTo>
                    <a:pt x="247" y="1154"/>
                  </a:lnTo>
                  <a:lnTo>
                    <a:pt x="251" y="1157"/>
                  </a:lnTo>
                  <a:lnTo>
                    <a:pt x="252" y="1158"/>
                  </a:lnTo>
                  <a:lnTo>
                    <a:pt x="251" y="1159"/>
                  </a:lnTo>
                  <a:lnTo>
                    <a:pt x="251" y="1160"/>
                  </a:lnTo>
                  <a:lnTo>
                    <a:pt x="251" y="1163"/>
                  </a:lnTo>
                  <a:lnTo>
                    <a:pt x="252" y="1162"/>
                  </a:lnTo>
                  <a:lnTo>
                    <a:pt x="253" y="1160"/>
                  </a:lnTo>
                  <a:lnTo>
                    <a:pt x="255" y="1159"/>
                  </a:lnTo>
                  <a:lnTo>
                    <a:pt x="257" y="1159"/>
                  </a:lnTo>
                  <a:lnTo>
                    <a:pt x="257" y="1158"/>
                  </a:lnTo>
                  <a:lnTo>
                    <a:pt x="258" y="1160"/>
                  </a:lnTo>
                  <a:lnTo>
                    <a:pt x="258" y="1162"/>
                  </a:lnTo>
                  <a:lnTo>
                    <a:pt x="260" y="1163"/>
                  </a:lnTo>
                  <a:lnTo>
                    <a:pt x="263" y="1162"/>
                  </a:lnTo>
                  <a:lnTo>
                    <a:pt x="264" y="1160"/>
                  </a:lnTo>
                  <a:lnTo>
                    <a:pt x="266" y="1159"/>
                  </a:lnTo>
                  <a:lnTo>
                    <a:pt x="269" y="1158"/>
                  </a:lnTo>
                  <a:lnTo>
                    <a:pt x="270" y="1157"/>
                  </a:lnTo>
                  <a:lnTo>
                    <a:pt x="270" y="1156"/>
                  </a:lnTo>
                  <a:lnTo>
                    <a:pt x="271" y="1154"/>
                  </a:lnTo>
                  <a:lnTo>
                    <a:pt x="271" y="1157"/>
                  </a:lnTo>
                  <a:lnTo>
                    <a:pt x="271" y="1159"/>
                  </a:lnTo>
                  <a:lnTo>
                    <a:pt x="272" y="1159"/>
                  </a:lnTo>
                  <a:lnTo>
                    <a:pt x="274" y="1160"/>
                  </a:lnTo>
                  <a:lnTo>
                    <a:pt x="276" y="1162"/>
                  </a:lnTo>
                  <a:lnTo>
                    <a:pt x="277" y="1163"/>
                  </a:lnTo>
                  <a:lnTo>
                    <a:pt x="278" y="1164"/>
                  </a:lnTo>
                  <a:lnTo>
                    <a:pt x="278" y="1165"/>
                  </a:lnTo>
                  <a:lnTo>
                    <a:pt x="280" y="1166"/>
                  </a:lnTo>
                  <a:lnTo>
                    <a:pt x="282" y="1168"/>
                  </a:lnTo>
                  <a:lnTo>
                    <a:pt x="281" y="1169"/>
                  </a:lnTo>
                  <a:lnTo>
                    <a:pt x="281" y="1170"/>
                  </a:lnTo>
                  <a:lnTo>
                    <a:pt x="282" y="1169"/>
                  </a:lnTo>
                  <a:lnTo>
                    <a:pt x="283" y="1169"/>
                  </a:lnTo>
                  <a:lnTo>
                    <a:pt x="283" y="1172"/>
                  </a:lnTo>
                  <a:lnTo>
                    <a:pt x="283" y="1174"/>
                  </a:lnTo>
                  <a:lnTo>
                    <a:pt x="284" y="1175"/>
                  </a:lnTo>
                  <a:lnTo>
                    <a:pt x="286" y="1174"/>
                  </a:lnTo>
                  <a:lnTo>
                    <a:pt x="288" y="1174"/>
                  </a:lnTo>
                  <a:lnTo>
                    <a:pt x="287" y="1176"/>
                  </a:lnTo>
                  <a:lnTo>
                    <a:pt x="284" y="1179"/>
                  </a:lnTo>
                  <a:lnTo>
                    <a:pt x="286" y="1179"/>
                  </a:lnTo>
                  <a:lnTo>
                    <a:pt x="287" y="1177"/>
                  </a:lnTo>
                  <a:lnTo>
                    <a:pt x="289" y="1176"/>
                  </a:lnTo>
                  <a:lnTo>
                    <a:pt x="292" y="1175"/>
                  </a:lnTo>
                  <a:lnTo>
                    <a:pt x="294" y="1174"/>
                  </a:lnTo>
                  <a:lnTo>
                    <a:pt x="296" y="1172"/>
                  </a:lnTo>
                  <a:lnTo>
                    <a:pt x="298" y="1171"/>
                  </a:lnTo>
                  <a:lnTo>
                    <a:pt x="300" y="1172"/>
                  </a:lnTo>
                  <a:lnTo>
                    <a:pt x="300" y="1171"/>
                  </a:lnTo>
                  <a:lnTo>
                    <a:pt x="301" y="1170"/>
                  </a:lnTo>
                  <a:lnTo>
                    <a:pt x="304" y="1169"/>
                  </a:lnTo>
                  <a:lnTo>
                    <a:pt x="304" y="1170"/>
                  </a:lnTo>
                  <a:lnTo>
                    <a:pt x="305" y="1170"/>
                  </a:lnTo>
                  <a:lnTo>
                    <a:pt x="307" y="1169"/>
                  </a:lnTo>
                  <a:lnTo>
                    <a:pt x="308" y="1169"/>
                  </a:lnTo>
                  <a:lnTo>
                    <a:pt x="311" y="1170"/>
                  </a:lnTo>
                  <a:lnTo>
                    <a:pt x="312" y="1169"/>
                  </a:lnTo>
                  <a:lnTo>
                    <a:pt x="313" y="1170"/>
                  </a:lnTo>
                  <a:lnTo>
                    <a:pt x="312" y="1171"/>
                  </a:lnTo>
                  <a:lnTo>
                    <a:pt x="314" y="1172"/>
                  </a:lnTo>
                  <a:lnTo>
                    <a:pt x="316" y="1171"/>
                  </a:lnTo>
                  <a:lnTo>
                    <a:pt x="316" y="1170"/>
                  </a:lnTo>
                  <a:lnTo>
                    <a:pt x="317" y="1170"/>
                  </a:lnTo>
                  <a:lnTo>
                    <a:pt x="318" y="1168"/>
                  </a:lnTo>
                  <a:lnTo>
                    <a:pt x="318" y="1165"/>
                  </a:lnTo>
                  <a:lnTo>
                    <a:pt x="318" y="1163"/>
                  </a:lnTo>
                  <a:lnTo>
                    <a:pt x="319" y="1164"/>
                  </a:lnTo>
                  <a:lnTo>
                    <a:pt x="319" y="1166"/>
                  </a:lnTo>
                  <a:lnTo>
                    <a:pt x="319" y="1169"/>
                  </a:lnTo>
                  <a:lnTo>
                    <a:pt x="319" y="1172"/>
                  </a:lnTo>
                  <a:lnTo>
                    <a:pt x="320" y="1172"/>
                  </a:lnTo>
                  <a:lnTo>
                    <a:pt x="320" y="1175"/>
                  </a:lnTo>
                  <a:lnTo>
                    <a:pt x="322" y="1177"/>
                  </a:lnTo>
                  <a:lnTo>
                    <a:pt x="323" y="1179"/>
                  </a:lnTo>
                  <a:lnTo>
                    <a:pt x="322" y="1179"/>
                  </a:lnTo>
                  <a:lnTo>
                    <a:pt x="322" y="1181"/>
                  </a:lnTo>
                  <a:lnTo>
                    <a:pt x="324" y="1181"/>
                  </a:lnTo>
                  <a:lnTo>
                    <a:pt x="324" y="1183"/>
                  </a:lnTo>
                  <a:lnTo>
                    <a:pt x="324" y="1187"/>
                  </a:lnTo>
                  <a:lnTo>
                    <a:pt x="324" y="1188"/>
                  </a:lnTo>
                  <a:lnTo>
                    <a:pt x="325" y="1189"/>
                  </a:lnTo>
                  <a:lnTo>
                    <a:pt x="325" y="1192"/>
                  </a:lnTo>
                  <a:lnTo>
                    <a:pt x="326" y="1193"/>
                  </a:lnTo>
                  <a:lnTo>
                    <a:pt x="326" y="1194"/>
                  </a:lnTo>
                  <a:lnTo>
                    <a:pt x="328" y="1198"/>
                  </a:lnTo>
                  <a:lnTo>
                    <a:pt x="328" y="1199"/>
                  </a:lnTo>
                  <a:lnTo>
                    <a:pt x="329" y="1201"/>
                  </a:lnTo>
                  <a:lnTo>
                    <a:pt x="331" y="1204"/>
                  </a:lnTo>
                  <a:lnTo>
                    <a:pt x="334" y="1205"/>
                  </a:lnTo>
                  <a:lnTo>
                    <a:pt x="336" y="1206"/>
                  </a:lnTo>
                  <a:lnTo>
                    <a:pt x="337" y="1206"/>
                  </a:lnTo>
                  <a:lnTo>
                    <a:pt x="339" y="1205"/>
                  </a:lnTo>
                  <a:lnTo>
                    <a:pt x="340" y="1206"/>
                  </a:lnTo>
                  <a:lnTo>
                    <a:pt x="340" y="1205"/>
                  </a:lnTo>
                  <a:lnTo>
                    <a:pt x="341" y="1205"/>
                  </a:lnTo>
                  <a:lnTo>
                    <a:pt x="342" y="1204"/>
                  </a:lnTo>
                  <a:lnTo>
                    <a:pt x="343" y="1204"/>
                  </a:lnTo>
                  <a:lnTo>
                    <a:pt x="345" y="1203"/>
                  </a:lnTo>
                  <a:lnTo>
                    <a:pt x="345" y="1201"/>
                  </a:lnTo>
                  <a:lnTo>
                    <a:pt x="346" y="1201"/>
                  </a:lnTo>
                  <a:lnTo>
                    <a:pt x="348" y="1203"/>
                  </a:lnTo>
                  <a:lnTo>
                    <a:pt x="348" y="1201"/>
                  </a:lnTo>
                  <a:lnTo>
                    <a:pt x="349" y="1200"/>
                  </a:lnTo>
                  <a:lnTo>
                    <a:pt x="349" y="1199"/>
                  </a:lnTo>
                  <a:lnTo>
                    <a:pt x="351" y="1200"/>
                  </a:lnTo>
                  <a:lnTo>
                    <a:pt x="352" y="1199"/>
                  </a:lnTo>
                  <a:lnTo>
                    <a:pt x="353" y="1199"/>
                  </a:lnTo>
                  <a:lnTo>
                    <a:pt x="354" y="1200"/>
                  </a:lnTo>
                  <a:lnTo>
                    <a:pt x="354" y="1203"/>
                  </a:lnTo>
                  <a:lnTo>
                    <a:pt x="354" y="1204"/>
                  </a:lnTo>
                  <a:lnTo>
                    <a:pt x="355" y="1203"/>
                  </a:lnTo>
                  <a:lnTo>
                    <a:pt x="355" y="1204"/>
                  </a:lnTo>
                  <a:lnTo>
                    <a:pt x="355" y="1206"/>
                  </a:lnTo>
                  <a:lnTo>
                    <a:pt x="357" y="1206"/>
                  </a:lnTo>
                  <a:lnTo>
                    <a:pt x="358" y="1206"/>
                  </a:lnTo>
                  <a:lnTo>
                    <a:pt x="358" y="1207"/>
                  </a:lnTo>
                  <a:lnTo>
                    <a:pt x="358" y="1210"/>
                  </a:lnTo>
                  <a:lnTo>
                    <a:pt x="359" y="1207"/>
                  </a:lnTo>
                  <a:lnTo>
                    <a:pt x="359" y="1209"/>
                  </a:lnTo>
                  <a:lnTo>
                    <a:pt x="359" y="1210"/>
                  </a:lnTo>
                  <a:lnTo>
                    <a:pt x="359" y="1211"/>
                  </a:lnTo>
                  <a:lnTo>
                    <a:pt x="359" y="1212"/>
                  </a:lnTo>
                  <a:lnTo>
                    <a:pt x="359" y="1215"/>
                  </a:lnTo>
                  <a:lnTo>
                    <a:pt x="360" y="1215"/>
                  </a:lnTo>
                  <a:lnTo>
                    <a:pt x="361" y="1216"/>
                  </a:lnTo>
                  <a:lnTo>
                    <a:pt x="361" y="1217"/>
                  </a:lnTo>
                  <a:lnTo>
                    <a:pt x="361" y="1219"/>
                  </a:lnTo>
                  <a:lnTo>
                    <a:pt x="361" y="1221"/>
                  </a:lnTo>
                  <a:lnTo>
                    <a:pt x="361" y="1223"/>
                  </a:lnTo>
                  <a:lnTo>
                    <a:pt x="361" y="1224"/>
                  </a:lnTo>
                  <a:lnTo>
                    <a:pt x="363" y="1225"/>
                  </a:lnTo>
                  <a:lnTo>
                    <a:pt x="363" y="1237"/>
                  </a:lnTo>
                  <a:lnTo>
                    <a:pt x="363" y="1252"/>
                  </a:lnTo>
                  <a:lnTo>
                    <a:pt x="363" y="1265"/>
                  </a:lnTo>
                  <a:lnTo>
                    <a:pt x="363" y="1282"/>
                  </a:lnTo>
                  <a:lnTo>
                    <a:pt x="363" y="1287"/>
                  </a:lnTo>
                  <a:lnTo>
                    <a:pt x="364" y="1290"/>
                  </a:lnTo>
                  <a:lnTo>
                    <a:pt x="366" y="1293"/>
                  </a:lnTo>
                  <a:lnTo>
                    <a:pt x="370" y="1293"/>
                  </a:lnTo>
                  <a:lnTo>
                    <a:pt x="400" y="1293"/>
                  </a:lnTo>
                  <a:lnTo>
                    <a:pt x="400" y="1266"/>
                  </a:lnTo>
                  <a:lnTo>
                    <a:pt x="400" y="1242"/>
                  </a:lnTo>
                  <a:lnTo>
                    <a:pt x="401" y="1218"/>
                  </a:lnTo>
                  <a:lnTo>
                    <a:pt x="402" y="1212"/>
                  </a:lnTo>
                  <a:lnTo>
                    <a:pt x="405" y="1210"/>
                  </a:lnTo>
                  <a:lnTo>
                    <a:pt x="406" y="1209"/>
                  </a:lnTo>
                  <a:lnTo>
                    <a:pt x="408" y="1209"/>
                  </a:lnTo>
                  <a:lnTo>
                    <a:pt x="410" y="1209"/>
                  </a:lnTo>
                  <a:lnTo>
                    <a:pt x="411" y="1206"/>
                  </a:lnTo>
                  <a:lnTo>
                    <a:pt x="412" y="1205"/>
                  </a:lnTo>
                  <a:lnTo>
                    <a:pt x="413" y="1205"/>
                  </a:lnTo>
                  <a:lnTo>
                    <a:pt x="414" y="1203"/>
                  </a:lnTo>
                  <a:lnTo>
                    <a:pt x="416" y="1201"/>
                  </a:lnTo>
                  <a:lnTo>
                    <a:pt x="416" y="1200"/>
                  </a:lnTo>
                  <a:lnTo>
                    <a:pt x="416" y="1199"/>
                  </a:lnTo>
                  <a:lnTo>
                    <a:pt x="414" y="1197"/>
                  </a:lnTo>
                  <a:lnTo>
                    <a:pt x="414" y="1195"/>
                  </a:lnTo>
                  <a:lnTo>
                    <a:pt x="414" y="1194"/>
                  </a:lnTo>
                  <a:lnTo>
                    <a:pt x="414" y="1193"/>
                  </a:lnTo>
                  <a:lnTo>
                    <a:pt x="413" y="1191"/>
                  </a:lnTo>
                  <a:lnTo>
                    <a:pt x="412" y="1191"/>
                  </a:lnTo>
                  <a:lnTo>
                    <a:pt x="412" y="1192"/>
                  </a:lnTo>
                  <a:lnTo>
                    <a:pt x="411" y="1191"/>
                  </a:lnTo>
                  <a:lnTo>
                    <a:pt x="411" y="1189"/>
                  </a:lnTo>
                  <a:lnTo>
                    <a:pt x="411" y="1188"/>
                  </a:lnTo>
                  <a:lnTo>
                    <a:pt x="412" y="1186"/>
                  </a:lnTo>
                  <a:lnTo>
                    <a:pt x="412" y="1185"/>
                  </a:lnTo>
                  <a:lnTo>
                    <a:pt x="412" y="1183"/>
                  </a:lnTo>
                  <a:lnTo>
                    <a:pt x="413" y="1181"/>
                  </a:lnTo>
                  <a:lnTo>
                    <a:pt x="416" y="1180"/>
                  </a:lnTo>
                  <a:lnTo>
                    <a:pt x="416" y="1179"/>
                  </a:lnTo>
                  <a:lnTo>
                    <a:pt x="418" y="1179"/>
                  </a:lnTo>
                  <a:lnTo>
                    <a:pt x="419" y="1179"/>
                  </a:lnTo>
                  <a:lnTo>
                    <a:pt x="420" y="1180"/>
                  </a:lnTo>
                  <a:lnTo>
                    <a:pt x="424" y="1181"/>
                  </a:lnTo>
                  <a:lnTo>
                    <a:pt x="426" y="1182"/>
                  </a:lnTo>
                  <a:lnTo>
                    <a:pt x="429" y="1183"/>
                  </a:lnTo>
                  <a:lnTo>
                    <a:pt x="429" y="1182"/>
                  </a:lnTo>
                  <a:lnTo>
                    <a:pt x="432" y="1182"/>
                  </a:lnTo>
                  <a:lnTo>
                    <a:pt x="434" y="1182"/>
                  </a:lnTo>
                  <a:lnTo>
                    <a:pt x="432" y="1182"/>
                  </a:lnTo>
                  <a:lnTo>
                    <a:pt x="434" y="1183"/>
                  </a:lnTo>
                  <a:lnTo>
                    <a:pt x="435" y="1183"/>
                  </a:lnTo>
                  <a:lnTo>
                    <a:pt x="436" y="1183"/>
                  </a:lnTo>
                  <a:lnTo>
                    <a:pt x="437" y="1185"/>
                  </a:lnTo>
                  <a:lnTo>
                    <a:pt x="438" y="1187"/>
                  </a:lnTo>
                  <a:lnTo>
                    <a:pt x="441" y="1188"/>
                  </a:lnTo>
                  <a:lnTo>
                    <a:pt x="442" y="1191"/>
                  </a:lnTo>
                  <a:lnTo>
                    <a:pt x="444" y="1192"/>
                  </a:lnTo>
                  <a:lnTo>
                    <a:pt x="446" y="1192"/>
                  </a:lnTo>
                  <a:lnTo>
                    <a:pt x="446" y="1194"/>
                  </a:lnTo>
                  <a:lnTo>
                    <a:pt x="444" y="1195"/>
                  </a:lnTo>
                  <a:lnTo>
                    <a:pt x="446" y="1197"/>
                  </a:lnTo>
                  <a:lnTo>
                    <a:pt x="447" y="1197"/>
                  </a:lnTo>
                  <a:lnTo>
                    <a:pt x="448" y="1197"/>
                  </a:lnTo>
                  <a:lnTo>
                    <a:pt x="449" y="1197"/>
                  </a:lnTo>
                  <a:lnTo>
                    <a:pt x="449" y="1198"/>
                  </a:lnTo>
                  <a:lnTo>
                    <a:pt x="451" y="1200"/>
                  </a:lnTo>
                  <a:lnTo>
                    <a:pt x="452" y="1198"/>
                  </a:lnTo>
                  <a:lnTo>
                    <a:pt x="452" y="1200"/>
                  </a:lnTo>
                  <a:lnTo>
                    <a:pt x="452" y="1201"/>
                  </a:lnTo>
                  <a:lnTo>
                    <a:pt x="452" y="1203"/>
                  </a:lnTo>
                  <a:lnTo>
                    <a:pt x="454" y="1203"/>
                  </a:lnTo>
                  <a:lnTo>
                    <a:pt x="455" y="1201"/>
                  </a:lnTo>
                  <a:lnTo>
                    <a:pt x="457" y="1203"/>
                  </a:lnTo>
                  <a:lnTo>
                    <a:pt x="458" y="1203"/>
                  </a:lnTo>
                  <a:lnTo>
                    <a:pt x="458" y="1201"/>
                  </a:lnTo>
                  <a:lnTo>
                    <a:pt x="459" y="1201"/>
                  </a:lnTo>
                  <a:lnTo>
                    <a:pt x="459" y="1203"/>
                  </a:lnTo>
                  <a:lnTo>
                    <a:pt x="461" y="1203"/>
                  </a:lnTo>
                  <a:lnTo>
                    <a:pt x="465" y="1201"/>
                  </a:lnTo>
                  <a:lnTo>
                    <a:pt x="469" y="1200"/>
                  </a:lnTo>
                  <a:lnTo>
                    <a:pt x="471" y="1198"/>
                  </a:lnTo>
                  <a:lnTo>
                    <a:pt x="472" y="1194"/>
                  </a:lnTo>
                  <a:lnTo>
                    <a:pt x="472" y="1195"/>
                  </a:lnTo>
                  <a:lnTo>
                    <a:pt x="472" y="1198"/>
                  </a:lnTo>
                  <a:lnTo>
                    <a:pt x="473" y="1199"/>
                  </a:lnTo>
                  <a:lnTo>
                    <a:pt x="476" y="1198"/>
                  </a:lnTo>
                  <a:lnTo>
                    <a:pt x="477" y="1198"/>
                  </a:lnTo>
                  <a:lnTo>
                    <a:pt x="477" y="1199"/>
                  </a:lnTo>
                  <a:lnTo>
                    <a:pt x="479" y="1199"/>
                  </a:lnTo>
                  <a:lnTo>
                    <a:pt x="479" y="1198"/>
                  </a:lnTo>
                  <a:lnTo>
                    <a:pt x="479" y="1197"/>
                  </a:lnTo>
                  <a:lnTo>
                    <a:pt x="481" y="1197"/>
                  </a:lnTo>
                  <a:lnTo>
                    <a:pt x="482" y="1199"/>
                  </a:lnTo>
                  <a:lnTo>
                    <a:pt x="483" y="1198"/>
                  </a:lnTo>
                  <a:lnTo>
                    <a:pt x="484" y="1195"/>
                  </a:lnTo>
                  <a:lnTo>
                    <a:pt x="485" y="1195"/>
                  </a:lnTo>
                  <a:lnTo>
                    <a:pt x="487" y="1193"/>
                  </a:lnTo>
                  <a:lnTo>
                    <a:pt x="488" y="1192"/>
                  </a:lnTo>
                  <a:lnTo>
                    <a:pt x="489" y="1191"/>
                  </a:lnTo>
                  <a:lnTo>
                    <a:pt x="489" y="1188"/>
                  </a:lnTo>
                  <a:lnTo>
                    <a:pt x="490" y="1187"/>
                  </a:lnTo>
                  <a:lnTo>
                    <a:pt x="490" y="1185"/>
                  </a:lnTo>
                  <a:lnTo>
                    <a:pt x="491" y="1183"/>
                  </a:lnTo>
                  <a:lnTo>
                    <a:pt x="494" y="1182"/>
                  </a:lnTo>
                  <a:lnTo>
                    <a:pt x="496" y="1182"/>
                  </a:lnTo>
                  <a:lnTo>
                    <a:pt x="497" y="1180"/>
                  </a:lnTo>
                  <a:lnTo>
                    <a:pt x="499" y="1177"/>
                  </a:lnTo>
                  <a:lnTo>
                    <a:pt x="500" y="1177"/>
                  </a:lnTo>
                  <a:lnTo>
                    <a:pt x="500" y="1179"/>
                  </a:lnTo>
                  <a:lnTo>
                    <a:pt x="500" y="1180"/>
                  </a:lnTo>
                  <a:lnTo>
                    <a:pt x="501" y="1180"/>
                  </a:lnTo>
                  <a:lnTo>
                    <a:pt x="502" y="1180"/>
                  </a:lnTo>
                  <a:lnTo>
                    <a:pt x="503" y="1180"/>
                  </a:lnTo>
                  <a:lnTo>
                    <a:pt x="505" y="1179"/>
                  </a:lnTo>
                  <a:lnTo>
                    <a:pt x="505" y="1177"/>
                  </a:lnTo>
                  <a:lnTo>
                    <a:pt x="506" y="1179"/>
                  </a:lnTo>
                  <a:lnTo>
                    <a:pt x="507" y="1179"/>
                  </a:lnTo>
                  <a:lnTo>
                    <a:pt x="508" y="1181"/>
                  </a:lnTo>
                  <a:lnTo>
                    <a:pt x="510" y="1181"/>
                  </a:lnTo>
                  <a:lnTo>
                    <a:pt x="511" y="1181"/>
                  </a:lnTo>
                  <a:lnTo>
                    <a:pt x="512" y="1180"/>
                  </a:lnTo>
                  <a:lnTo>
                    <a:pt x="513" y="1180"/>
                  </a:lnTo>
                  <a:lnTo>
                    <a:pt x="514" y="1180"/>
                  </a:lnTo>
                  <a:lnTo>
                    <a:pt x="516" y="1180"/>
                  </a:lnTo>
                  <a:lnTo>
                    <a:pt x="517" y="1179"/>
                  </a:lnTo>
                  <a:lnTo>
                    <a:pt x="519" y="1179"/>
                  </a:lnTo>
                  <a:lnTo>
                    <a:pt x="520" y="1180"/>
                  </a:lnTo>
                  <a:lnTo>
                    <a:pt x="525" y="1185"/>
                  </a:lnTo>
                  <a:lnTo>
                    <a:pt x="528" y="1188"/>
                  </a:lnTo>
                  <a:lnTo>
                    <a:pt x="528" y="1189"/>
                  </a:lnTo>
                  <a:lnTo>
                    <a:pt x="529" y="1192"/>
                  </a:lnTo>
                  <a:lnTo>
                    <a:pt x="531" y="1193"/>
                  </a:lnTo>
                  <a:lnTo>
                    <a:pt x="534" y="1194"/>
                  </a:lnTo>
                  <a:lnTo>
                    <a:pt x="537" y="1195"/>
                  </a:lnTo>
                  <a:lnTo>
                    <a:pt x="540" y="1194"/>
                  </a:lnTo>
                  <a:lnTo>
                    <a:pt x="541" y="1193"/>
                  </a:lnTo>
                  <a:lnTo>
                    <a:pt x="542" y="1192"/>
                  </a:lnTo>
                  <a:lnTo>
                    <a:pt x="542" y="1189"/>
                  </a:lnTo>
                  <a:lnTo>
                    <a:pt x="542" y="1188"/>
                  </a:lnTo>
                  <a:lnTo>
                    <a:pt x="542" y="1183"/>
                  </a:lnTo>
                  <a:lnTo>
                    <a:pt x="541" y="1181"/>
                  </a:lnTo>
                  <a:lnTo>
                    <a:pt x="542" y="1181"/>
                  </a:lnTo>
                  <a:lnTo>
                    <a:pt x="542" y="1182"/>
                  </a:lnTo>
                  <a:lnTo>
                    <a:pt x="543" y="1186"/>
                  </a:lnTo>
                  <a:lnTo>
                    <a:pt x="543" y="1189"/>
                  </a:lnTo>
                  <a:lnTo>
                    <a:pt x="544" y="1191"/>
                  </a:lnTo>
                  <a:lnTo>
                    <a:pt x="546" y="1191"/>
                  </a:lnTo>
                  <a:lnTo>
                    <a:pt x="547" y="1191"/>
                  </a:lnTo>
                  <a:lnTo>
                    <a:pt x="548" y="1189"/>
                  </a:lnTo>
                  <a:lnTo>
                    <a:pt x="548" y="1188"/>
                  </a:lnTo>
                  <a:lnTo>
                    <a:pt x="548" y="1185"/>
                  </a:lnTo>
                  <a:lnTo>
                    <a:pt x="548" y="1183"/>
                  </a:lnTo>
                  <a:lnTo>
                    <a:pt x="548" y="1181"/>
                  </a:lnTo>
                  <a:lnTo>
                    <a:pt x="548" y="1180"/>
                  </a:lnTo>
                  <a:lnTo>
                    <a:pt x="548" y="1182"/>
                  </a:lnTo>
                  <a:lnTo>
                    <a:pt x="549" y="1185"/>
                  </a:lnTo>
                  <a:lnTo>
                    <a:pt x="549" y="1187"/>
                  </a:lnTo>
                  <a:lnTo>
                    <a:pt x="548" y="1189"/>
                  </a:lnTo>
                  <a:lnTo>
                    <a:pt x="550" y="1191"/>
                  </a:lnTo>
                  <a:lnTo>
                    <a:pt x="552" y="1192"/>
                  </a:lnTo>
                  <a:lnTo>
                    <a:pt x="552" y="1191"/>
                  </a:lnTo>
                  <a:lnTo>
                    <a:pt x="552" y="1189"/>
                  </a:lnTo>
                  <a:lnTo>
                    <a:pt x="552" y="1188"/>
                  </a:lnTo>
                  <a:lnTo>
                    <a:pt x="553" y="1187"/>
                  </a:lnTo>
                  <a:lnTo>
                    <a:pt x="553" y="1186"/>
                  </a:lnTo>
                  <a:lnTo>
                    <a:pt x="554" y="1187"/>
                  </a:lnTo>
                  <a:lnTo>
                    <a:pt x="554" y="1191"/>
                  </a:lnTo>
                  <a:lnTo>
                    <a:pt x="554" y="1192"/>
                  </a:lnTo>
                  <a:lnTo>
                    <a:pt x="555" y="1192"/>
                  </a:lnTo>
                  <a:lnTo>
                    <a:pt x="556" y="1192"/>
                  </a:lnTo>
                  <a:lnTo>
                    <a:pt x="556" y="1191"/>
                  </a:lnTo>
                  <a:lnTo>
                    <a:pt x="556" y="1189"/>
                  </a:lnTo>
                  <a:lnTo>
                    <a:pt x="558" y="1187"/>
                  </a:lnTo>
                  <a:lnTo>
                    <a:pt x="558" y="1186"/>
                  </a:lnTo>
                  <a:lnTo>
                    <a:pt x="558" y="1185"/>
                  </a:lnTo>
                  <a:lnTo>
                    <a:pt x="559" y="1185"/>
                  </a:lnTo>
                  <a:lnTo>
                    <a:pt x="559" y="1186"/>
                  </a:lnTo>
                  <a:lnTo>
                    <a:pt x="561" y="1189"/>
                  </a:lnTo>
                  <a:lnTo>
                    <a:pt x="564" y="1189"/>
                  </a:lnTo>
                  <a:lnTo>
                    <a:pt x="564" y="1191"/>
                  </a:lnTo>
                  <a:lnTo>
                    <a:pt x="566" y="1189"/>
                  </a:lnTo>
                  <a:lnTo>
                    <a:pt x="567" y="1187"/>
                  </a:lnTo>
                  <a:lnTo>
                    <a:pt x="567" y="1188"/>
                  </a:lnTo>
                  <a:lnTo>
                    <a:pt x="569" y="1189"/>
                  </a:lnTo>
                  <a:lnTo>
                    <a:pt x="569" y="1191"/>
                  </a:lnTo>
                  <a:lnTo>
                    <a:pt x="569" y="1193"/>
                  </a:lnTo>
                  <a:lnTo>
                    <a:pt x="569" y="1192"/>
                  </a:lnTo>
                  <a:lnTo>
                    <a:pt x="570" y="1191"/>
                  </a:lnTo>
                  <a:lnTo>
                    <a:pt x="571" y="1191"/>
                  </a:lnTo>
                  <a:lnTo>
                    <a:pt x="571" y="1193"/>
                  </a:lnTo>
                  <a:lnTo>
                    <a:pt x="571" y="1194"/>
                  </a:lnTo>
                  <a:lnTo>
                    <a:pt x="571" y="1197"/>
                  </a:lnTo>
                  <a:lnTo>
                    <a:pt x="572" y="1198"/>
                  </a:lnTo>
                  <a:lnTo>
                    <a:pt x="573" y="1197"/>
                  </a:lnTo>
                  <a:lnTo>
                    <a:pt x="573" y="1198"/>
                  </a:lnTo>
                  <a:lnTo>
                    <a:pt x="573" y="1199"/>
                  </a:lnTo>
                  <a:lnTo>
                    <a:pt x="573" y="1201"/>
                  </a:lnTo>
                  <a:lnTo>
                    <a:pt x="575" y="1201"/>
                  </a:lnTo>
                  <a:lnTo>
                    <a:pt x="576" y="1203"/>
                  </a:lnTo>
                  <a:lnTo>
                    <a:pt x="577" y="1203"/>
                  </a:lnTo>
                  <a:lnTo>
                    <a:pt x="578" y="1204"/>
                  </a:lnTo>
                  <a:lnTo>
                    <a:pt x="579" y="1205"/>
                  </a:lnTo>
                  <a:lnTo>
                    <a:pt x="579" y="1206"/>
                  </a:lnTo>
                  <a:lnTo>
                    <a:pt x="581" y="1209"/>
                  </a:lnTo>
                  <a:lnTo>
                    <a:pt x="582" y="1210"/>
                  </a:lnTo>
                  <a:lnTo>
                    <a:pt x="582" y="1211"/>
                  </a:lnTo>
                  <a:lnTo>
                    <a:pt x="584" y="1213"/>
                  </a:lnTo>
                  <a:lnTo>
                    <a:pt x="583" y="1216"/>
                  </a:lnTo>
                  <a:lnTo>
                    <a:pt x="583" y="1217"/>
                  </a:lnTo>
                  <a:lnTo>
                    <a:pt x="584" y="1218"/>
                  </a:lnTo>
                  <a:lnTo>
                    <a:pt x="587" y="1219"/>
                  </a:lnTo>
                  <a:lnTo>
                    <a:pt x="588" y="1222"/>
                  </a:lnTo>
                  <a:lnTo>
                    <a:pt x="590" y="1224"/>
                  </a:lnTo>
                  <a:lnTo>
                    <a:pt x="593" y="1225"/>
                  </a:lnTo>
                  <a:lnTo>
                    <a:pt x="594" y="1225"/>
                  </a:lnTo>
                  <a:lnTo>
                    <a:pt x="595" y="1224"/>
                  </a:lnTo>
                  <a:lnTo>
                    <a:pt x="595" y="1223"/>
                  </a:lnTo>
                  <a:lnTo>
                    <a:pt x="595" y="1221"/>
                  </a:lnTo>
                  <a:lnTo>
                    <a:pt x="595" y="1218"/>
                  </a:lnTo>
                  <a:lnTo>
                    <a:pt x="595" y="1216"/>
                  </a:lnTo>
                  <a:lnTo>
                    <a:pt x="595" y="1217"/>
                  </a:lnTo>
                  <a:lnTo>
                    <a:pt x="596" y="1221"/>
                  </a:lnTo>
                  <a:lnTo>
                    <a:pt x="596" y="1222"/>
                  </a:lnTo>
                  <a:lnTo>
                    <a:pt x="596" y="1223"/>
                  </a:lnTo>
                  <a:lnTo>
                    <a:pt x="596" y="1227"/>
                  </a:lnTo>
                  <a:lnTo>
                    <a:pt x="596" y="1228"/>
                  </a:lnTo>
                  <a:lnTo>
                    <a:pt x="597" y="1229"/>
                  </a:lnTo>
                  <a:lnTo>
                    <a:pt x="599" y="1230"/>
                  </a:lnTo>
                  <a:lnTo>
                    <a:pt x="600" y="1230"/>
                  </a:lnTo>
                  <a:lnTo>
                    <a:pt x="601" y="1230"/>
                  </a:lnTo>
                  <a:lnTo>
                    <a:pt x="602" y="1231"/>
                  </a:lnTo>
                  <a:lnTo>
                    <a:pt x="603" y="1231"/>
                  </a:lnTo>
                  <a:lnTo>
                    <a:pt x="605" y="1231"/>
                  </a:lnTo>
                  <a:lnTo>
                    <a:pt x="606" y="1230"/>
                  </a:lnTo>
                  <a:lnTo>
                    <a:pt x="606" y="1229"/>
                  </a:lnTo>
                  <a:lnTo>
                    <a:pt x="607" y="1228"/>
                  </a:lnTo>
                  <a:lnTo>
                    <a:pt x="607" y="1229"/>
                  </a:lnTo>
                  <a:lnTo>
                    <a:pt x="608" y="1228"/>
                  </a:lnTo>
                  <a:lnTo>
                    <a:pt x="608" y="1227"/>
                  </a:lnTo>
                  <a:lnTo>
                    <a:pt x="608" y="1225"/>
                  </a:lnTo>
                  <a:lnTo>
                    <a:pt x="608" y="1224"/>
                  </a:lnTo>
                  <a:lnTo>
                    <a:pt x="609" y="1223"/>
                  </a:lnTo>
                  <a:lnTo>
                    <a:pt x="612" y="1221"/>
                  </a:lnTo>
                  <a:lnTo>
                    <a:pt x="613" y="1222"/>
                  </a:lnTo>
                  <a:lnTo>
                    <a:pt x="613" y="1223"/>
                  </a:lnTo>
                  <a:lnTo>
                    <a:pt x="615" y="1224"/>
                  </a:lnTo>
                  <a:lnTo>
                    <a:pt x="615" y="1227"/>
                  </a:lnTo>
                  <a:lnTo>
                    <a:pt x="614" y="1227"/>
                  </a:lnTo>
                  <a:lnTo>
                    <a:pt x="613" y="1229"/>
                  </a:lnTo>
                  <a:lnTo>
                    <a:pt x="614" y="1229"/>
                  </a:lnTo>
                  <a:lnTo>
                    <a:pt x="614" y="1230"/>
                  </a:lnTo>
                  <a:lnTo>
                    <a:pt x="613" y="1230"/>
                  </a:lnTo>
                  <a:lnTo>
                    <a:pt x="613" y="1233"/>
                  </a:lnTo>
                  <a:lnTo>
                    <a:pt x="614" y="1234"/>
                  </a:lnTo>
                  <a:lnTo>
                    <a:pt x="614" y="1236"/>
                  </a:lnTo>
                  <a:lnTo>
                    <a:pt x="614" y="1239"/>
                  </a:lnTo>
                  <a:lnTo>
                    <a:pt x="615" y="1239"/>
                  </a:lnTo>
                  <a:lnTo>
                    <a:pt x="615" y="1240"/>
                  </a:lnTo>
                  <a:lnTo>
                    <a:pt x="614" y="1241"/>
                  </a:lnTo>
                  <a:lnTo>
                    <a:pt x="614" y="1242"/>
                  </a:lnTo>
                  <a:lnTo>
                    <a:pt x="615" y="1242"/>
                  </a:lnTo>
                  <a:lnTo>
                    <a:pt x="617" y="1242"/>
                  </a:lnTo>
                  <a:lnTo>
                    <a:pt x="617" y="1243"/>
                  </a:lnTo>
                  <a:lnTo>
                    <a:pt x="617" y="1245"/>
                  </a:lnTo>
                  <a:lnTo>
                    <a:pt x="618" y="1245"/>
                  </a:lnTo>
                  <a:lnTo>
                    <a:pt x="619" y="1245"/>
                  </a:lnTo>
                  <a:lnTo>
                    <a:pt x="620" y="1246"/>
                  </a:lnTo>
                  <a:lnTo>
                    <a:pt x="623" y="1247"/>
                  </a:lnTo>
                  <a:lnTo>
                    <a:pt x="623" y="1248"/>
                  </a:lnTo>
                  <a:lnTo>
                    <a:pt x="625" y="1248"/>
                  </a:lnTo>
                  <a:lnTo>
                    <a:pt x="625" y="1251"/>
                  </a:lnTo>
                  <a:lnTo>
                    <a:pt x="626" y="1252"/>
                  </a:lnTo>
                  <a:lnTo>
                    <a:pt x="629" y="1252"/>
                  </a:lnTo>
                  <a:lnTo>
                    <a:pt x="630" y="1251"/>
                  </a:lnTo>
                  <a:lnTo>
                    <a:pt x="630" y="1249"/>
                  </a:lnTo>
                  <a:lnTo>
                    <a:pt x="629" y="1247"/>
                  </a:lnTo>
                  <a:lnTo>
                    <a:pt x="629" y="1245"/>
                  </a:lnTo>
                  <a:lnTo>
                    <a:pt x="630" y="1245"/>
                  </a:lnTo>
                  <a:lnTo>
                    <a:pt x="632" y="1243"/>
                  </a:lnTo>
                  <a:lnTo>
                    <a:pt x="632" y="1242"/>
                  </a:lnTo>
                  <a:lnTo>
                    <a:pt x="634" y="1241"/>
                  </a:lnTo>
                  <a:lnTo>
                    <a:pt x="636" y="1241"/>
                  </a:lnTo>
                  <a:lnTo>
                    <a:pt x="637" y="1241"/>
                  </a:lnTo>
                  <a:lnTo>
                    <a:pt x="638" y="1242"/>
                  </a:lnTo>
                  <a:lnTo>
                    <a:pt x="638" y="1240"/>
                  </a:lnTo>
                  <a:lnTo>
                    <a:pt x="638" y="1239"/>
                  </a:lnTo>
                  <a:lnTo>
                    <a:pt x="640" y="1236"/>
                  </a:lnTo>
                  <a:lnTo>
                    <a:pt x="641" y="1235"/>
                  </a:lnTo>
                  <a:lnTo>
                    <a:pt x="642" y="1234"/>
                  </a:lnTo>
                  <a:lnTo>
                    <a:pt x="643" y="1234"/>
                  </a:lnTo>
                  <a:lnTo>
                    <a:pt x="644" y="1233"/>
                  </a:lnTo>
                  <a:lnTo>
                    <a:pt x="644" y="1234"/>
                  </a:lnTo>
                  <a:lnTo>
                    <a:pt x="646" y="1234"/>
                  </a:lnTo>
                  <a:lnTo>
                    <a:pt x="647" y="1233"/>
                  </a:lnTo>
                  <a:lnTo>
                    <a:pt x="654" y="1233"/>
                  </a:lnTo>
                  <a:lnTo>
                    <a:pt x="656" y="1230"/>
                  </a:lnTo>
                  <a:lnTo>
                    <a:pt x="656" y="1229"/>
                  </a:lnTo>
                  <a:lnTo>
                    <a:pt x="658" y="1229"/>
                  </a:lnTo>
                  <a:lnTo>
                    <a:pt x="658" y="1230"/>
                  </a:lnTo>
                  <a:lnTo>
                    <a:pt x="660" y="1230"/>
                  </a:lnTo>
                  <a:lnTo>
                    <a:pt x="660" y="1231"/>
                  </a:lnTo>
                  <a:lnTo>
                    <a:pt x="661" y="1231"/>
                  </a:lnTo>
                  <a:lnTo>
                    <a:pt x="662" y="1231"/>
                  </a:lnTo>
                  <a:lnTo>
                    <a:pt x="664" y="1231"/>
                  </a:lnTo>
                  <a:lnTo>
                    <a:pt x="665" y="1231"/>
                  </a:lnTo>
                  <a:lnTo>
                    <a:pt x="666" y="1231"/>
                  </a:lnTo>
                  <a:lnTo>
                    <a:pt x="667" y="1231"/>
                  </a:lnTo>
                  <a:lnTo>
                    <a:pt x="667" y="1229"/>
                  </a:lnTo>
                  <a:lnTo>
                    <a:pt x="667" y="1228"/>
                  </a:lnTo>
                  <a:lnTo>
                    <a:pt x="668" y="1228"/>
                  </a:lnTo>
                  <a:lnTo>
                    <a:pt x="671" y="1228"/>
                  </a:lnTo>
                  <a:lnTo>
                    <a:pt x="672" y="1227"/>
                  </a:lnTo>
                  <a:lnTo>
                    <a:pt x="673" y="1227"/>
                  </a:lnTo>
                  <a:lnTo>
                    <a:pt x="673" y="1224"/>
                  </a:lnTo>
                  <a:lnTo>
                    <a:pt x="674" y="1222"/>
                  </a:lnTo>
                  <a:lnTo>
                    <a:pt x="674" y="1223"/>
                  </a:lnTo>
                  <a:lnTo>
                    <a:pt x="676" y="1223"/>
                  </a:lnTo>
                  <a:lnTo>
                    <a:pt x="677" y="1222"/>
                  </a:lnTo>
                  <a:lnTo>
                    <a:pt x="679" y="1221"/>
                  </a:lnTo>
                  <a:lnTo>
                    <a:pt x="679" y="1218"/>
                  </a:lnTo>
                  <a:lnTo>
                    <a:pt x="680" y="1217"/>
                  </a:lnTo>
                  <a:lnTo>
                    <a:pt x="682" y="1216"/>
                  </a:lnTo>
                  <a:lnTo>
                    <a:pt x="682" y="1215"/>
                  </a:lnTo>
                  <a:lnTo>
                    <a:pt x="683" y="1213"/>
                  </a:lnTo>
                  <a:lnTo>
                    <a:pt x="683" y="1210"/>
                  </a:lnTo>
                  <a:lnTo>
                    <a:pt x="682" y="1210"/>
                  </a:lnTo>
                  <a:lnTo>
                    <a:pt x="682" y="1211"/>
                  </a:lnTo>
                  <a:lnTo>
                    <a:pt x="680" y="1211"/>
                  </a:lnTo>
                  <a:lnTo>
                    <a:pt x="680" y="1209"/>
                  </a:lnTo>
                  <a:lnTo>
                    <a:pt x="680" y="1206"/>
                  </a:lnTo>
                  <a:lnTo>
                    <a:pt x="682" y="1206"/>
                  </a:lnTo>
                  <a:lnTo>
                    <a:pt x="682" y="1207"/>
                  </a:lnTo>
                  <a:lnTo>
                    <a:pt x="683" y="1209"/>
                  </a:lnTo>
                  <a:lnTo>
                    <a:pt x="684" y="1210"/>
                  </a:lnTo>
                  <a:lnTo>
                    <a:pt x="685" y="1210"/>
                  </a:lnTo>
                  <a:lnTo>
                    <a:pt x="685" y="1209"/>
                  </a:lnTo>
                  <a:lnTo>
                    <a:pt x="686" y="1207"/>
                  </a:lnTo>
                  <a:lnTo>
                    <a:pt x="686" y="1206"/>
                  </a:lnTo>
                  <a:lnTo>
                    <a:pt x="686" y="1205"/>
                  </a:lnTo>
                  <a:lnTo>
                    <a:pt x="686" y="1204"/>
                  </a:lnTo>
                  <a:lnTo>
                    <a:pt x="688" y="1204"/>
                  </a:lnTo>
                  <a:lnTo>
                    <a:pt x="689" y="1205"/>
                  </a:lnTo>
                  <a:lnTo>
                    <a:pt x="690" y="1205"/>
                  </a:lnTo>
                  <a:lnTo>
                    <a:pt x="690" y="1204"/>
                  </a:lnTo>
                  <a:lnTo>
                    <a:pt x="691" y="1203"/>
                  </a:lnTo>
                  <a:lnTo>
                    <a:pt x="693" y="1201"/>
                  </a:lnTo>
                  <a:lnTo>
                    <a:pt x="691" y="1201"/>
                  </a:lnTo>
                  <a:lnTo>
                    <a:pt x="691" y="1200"/>
                  </a:lnTo>
                  <a:lnTo>
                    <a:pt x="693" y="1199"/>
                  </a:lnTo>
                  <a:lnTo>
                    <a:pt x="693" y="1197"/>
                  </a:lnTo>
                  <a:lnTo>
                    <a:pt x="694" y="1197"/>
                  </a:lnTo>
                  <a:lnTo>
                    <a:pt x="695" y="1197"/>
                  </a:lnTo>
                  <a:lnTo>
                    <a:pt x="697" y="1195"/>
                  </a:lnTo>
                  <a:lnTo>
                    <a:pt x="697" y="1194"/>
                  </a:lnTo>
                  <a:lnTo>
                    <a:pt x="699" y="1193"/>
                  </a:lnTo>
                  <a:lnTo>
                    <a:pt x="699" y="1191"/>
                  </a:lnTo>
                  <a:lnTo>
                    <a:pt x="699" y="1188"/>
                  </a:lnTo>
                  <a:lnTo>
                    <a:pt x="697" y="1187"/>
                  </a:lnTo>
                  <a:lnTo>
                    <a:pt x="696" y="1186"/>
                  </a:lnTo>
                  <a:lnTo>
                    <a:pt x="696" y="1185"/>
                  </a:lnTo>
                  <a:lnTo>
                    <a:pt x="697" y="1185"/>
                  </a:lnTo>
                  <a:lnTo>
                    <a:pt x="697" y="1183"/>
                  </a:lnTo>
                  <a:lnTo>
                    <a:pt x="699" y="1183"/>
                  </a:lnTo>
                  <a:lnTo>
                    <a:pt x="701" y="1181"/>
                  </a:lnTo>
                  <a:lnTo>
                    <a:pt x="701" y="1182"/>
                  </a:lnTo>
                  <a:lnTo>
                    <a:pt x="701" y="1183"/>
                  </a:lnTo>
                  <a:lnTo>
                    <a:pt x="702" y="1182"/>
                  </a:lnTo>
                  <a:lnTo>
                    <a:pt x="706" y="1180"/>
                  </a:lnTo>
                  <a:lnTo>
                    <a:pt x="706" y="1177"/>
                  </a:lnTo>
                  <a:lnTo>
                    <a:pt x="707" y="1177"/>
                  </a:lnTo>
                  <a:lnTo>
                    <a:pt x="708" y="1177"/>
                  </a:lnTo>
                  <a:lnTo>
                    <a:pt x="709" y="1177"/>
                  </a:lnTo>
                  <a:lnTo>
                    <a:pt x="711" y="1179"/>
                  </a:lnTo>
                  <a:lnTo>
                    <a:pt x="712" y="1180"/>
                  </a:lnTo>
                  <a:lnTo>
                    <a:pt x="713" y="1179"/>
                  </a:lnTo>
                  <a:lnTo>
                    <a:pt x="713" y="1177"/>
                  </a:lnTo>
                  <a:lnTo>
                    <a:pt x="714" y="1177"/>
                  </a:lnTo>
                  <a:lnTo>
                    <a:pt x="715" y="1176"/>
                  </a:lnTo>
                  <a:lnTo>
                    <a:pt x="718" y="1176"/>
                  </a:lnTo>
                  <a:lnTo>
                    <a:pt x="720" y="1177"/>
                  </a:lnTo>
                  <a:lnTo>
                    <a:pt x="721" y="1177"/>
                  </a:lnTo>
                  <a:lnTo>
                    <a:pt x="723" y="1176"/>
                  </a:lnTo>
                  <a:lnTo>
                    <a:pt x="724" y="1176"/>
                  </a:lnTo>
                  <a:lnTo>
                    <a:pt x="725" y="1175"/>
                  </a:lnTo>
                  <a:lnTo>
                    <a:pt x="726" y="1176"/>
                  </a:lnTo>
                  <a:lnTo>
                    <a:pt x="727" y="1175"/>
                  </a:lnTo>
                  <a:lnTo>
                    <a:pt x="727" y="1174"/>
                  </a:lnTo>
                  <a:lnTo>
                    <a:pt x="727" y="1172"/>
                  </a:lnTo>
                  <a:lnTo>
                    <a:pt x="726" y="1171"/>
                  </a:lnTo>
                  <a:lnTo>
                    <a:pt x="727" y="1170"/>
                  </a:lnTo>
                  <a:lnTo>
                    <a:pt x="727" y="1168"/>
                  </a:lnTo>
                  <a:lnTo>
                    <a:pt x="727" y="1166"/>
                  </a:lnTo>
                  <a:lnTo>
                    <a:pt x="729" y="1165"/>
                  </a:lnTo>
                  <a:lnTo>
                    <a:pt x="730" y="1164"/>
                  </a:lnTo>
                  <a:lnTo>
                    <a:pt x="730" y="1163"/>
                  </a:lnTo>
                  <a:lnTo>
                    <a:pt x="731" y="1160"/>
                  </a:lnTo>
                  <a:lnTo>
                    <a:pt x="732" y="1162"/>
                  </a:lnTo>
                  <a:lnTo>
                    <a:pt x="732" y="1163"/>
                  </a:lnTo>
                  <a:lnTo>
                    <a:pt x="735" y="1160"/>
                  </a:lnTo>
                  <a:lnTo>
                    <a:pt x="735" y="1159"/>
                  </a:lnTo>
                  <a:lnTo>
                    <a:pt x="735" y="1160"/>
                  </a:lnTo>
                  <a:lnTo>
                    <a:pt x="736" y="1160"/>
                  </a:lnTo>
                  <a:lnTo>
                    <a:pt x="737" y="1160"/>
                  </a:lnTo>
                  <a:lnTo>
                    <a:pt x="738" y="1160"/>
                  </a:lnTo>
                  <a:lnTo>
                    <a:pt x="741" y="1160"/>
                  </a:lnTo>
                  <a:lnTo>
                    <a:pt x="742" y="1160"/>
                  </a:lnTo>
                  <a:lnTo>
                    <a:pt x="743" y="1160"/>
                  </a:lnTo>
                  <a:lnTo>
                    <a:pt x="744" y="1162"/>
                  </a:lnTo>
                  <a:lnTo>
                    <a:pt x="745" y="1160"/>
                  </a:lnTo>
                  <a:lnTo>
                    <a:pt x="745" y="1162"/>
                  </a:lnTo>
                  <a:lnTo>
                    <a:pt x="747" y="1163"/>
                  </a:lnTo>
                  <a:lnTo>
                    <a:pt x="748" y="1162"/>
                  </a:lnTo>
                  <a:lnTo>
                    <a:pt x="748" y="1160"/>
                  </a:lnTo>
                  <a:lnTo>
                    <a:pt x="750" y="1159"/>
                  </a:lnTo>
                  <a:lnTo>
                    <a:pt x="750" y="1158"/>
                  </a:lnTo>
                  <a:lnTo>
                    <a:pt x="752" y="1157"/>
                  </a:lnTo>
                  <a:lnTo>
                    <a:pt x="753" y="1156"/>
                  </a:lnTo>
                  <a:lnTo>
                    <a:pt x="752" y="1154"/>
                  </a:lnTo>
                  <a:lnTo>
                    <a:pt x="752" y="1153"/>
                  </a:lnTo>
                  <a:lnTo>
                    <a:pt x="754" y="1152"/>
                  </a:lnTo>
                  <a:lnTo>
                    <a:pt x="753" y="1154"/>
                  </a:lnTo>
                  <a:lnTo>
                    <a:pt x="755" y="1154"/>
                  </a:lnTo>
                  <a:lnTo>
                    <a:pt x="755" y="1152"/>
                  </a:lnTo>
                  <a:lnTo>
                    <a:pt x="755" y="1151"/>
                  </a:lnTo>
                  <a:lnTo>
                    <a:pt x="755" y="1150"/>
                  </a:lnTo>
                  <a:lnTo>
                    <a:pt x="756" y="1148"/>
                  </a:lnTo>
                  <a:lnTo>
                    <a:pt x="756" y="1150"/>
                  </a:lnTo>
                  <a:lnTo>
                    <a:pt x="759" y="1148"/>
                  </a:lnTo>
                  <a:lnTo>
                    <a:pt x="759" y="1147"/>
                  </a:lnTo>
                  <a:lnTo>
                    <a:pt x="761" y="1146"/>
                  </a:lnTo>
                  <a:lnTo>
                    <a:pt x="762" y="1146"/>
                  </a:lnTo>
                  <a:lnTo>
                    <a:pt x="765" y="1145"/>
                  </a:lnTo>
                  <a:lnTo>
                    <a:pt x="766" y="1145"/>
                  </a:lnTo>
                  <a:lnTo>
                    <a:pt x="770" y="1145"/>
                  </a:lnTo>
                  <a:lnTo>
                    <a:pt x="772" y="1144"/>
                  </a:lnTo>
                  <a:lnTo>
                    <a:pt x="776" y="1142"/>
                  </a:lnTo>
                  <a:lnTo>
                    <a:pt x="777" y="1141"/>
                  </a:lnTo>
                  <a:lnTo>
                    <a:pt x="776" y="1140"/>
                  </a:lnTo>
                  <a:lnTo>
                    <a:pt x="774" y="1138"/>
                  </a:lnTo>
                  <a:lnTo>
                    <a:pt x="774" y="1136"/>
                  </a:lnTo>
                  <a:lnTo>
                    <a:pt x="777" y="1139"/>
                  </a:lnTo>
                  <a:lnTo>
                    <a:pt x="778" y="1138"/>
                  </a:lnTo>
                  <a:lnTo>
                    <a:pt x="778" y="1135"/>
                  </a:lnTo>
                  <a:lnTo>
                    <a:pt x="778" y="1134"/>
                  </a:lnTo>
                  <a:lnTo>
                    <a:pt x="778" y="1133"/>
                  </a:lnTo>
                  <a:lnTo>
                    <a:pt x="778" y="1130"/>
                  </a:lnTo>
                  <a:lnTo>
                    <a:pt x="777" y="1128"/>
                  </a:lnTo>
                  <a:lnTo>
                    <a:pt x="777" y="1127"/>
                  </a:lnTo>
                  <a:lnTo>
                    <a:pt x="777" y="1126"/>
                  </a:lnTo>
                  <a:lnTo>
                    <a:pt x="777" y="1124"/>
                  </a:lnTo>
                  <a:lnTo>
                    <a:pt x="777" y="1122"/>
                  </a:lnTo>
                  <a:lnTo>
                    <a:pt x="778" y="1121"/>
                  </a:lnTo>
                  <a:lnTo>
                    <a:pt x="779" y="1120"/>
                  </a:lnTo>
                  <a:lnTo>
                    <a:pt x="779" y="1117"/>
                  </a:lnTo>
                  <a:lnTo>
                    <a:pt x="779" y="1109"/>
                  </a:lnTo>
                  <a:lnTo>
                    <a:pt x="780" y="1108"/>
                  </a:lnTo>
                  <a:lnTo>
                    <a:pt x="780" y="1106"/>
                  </a:lnTo>
                  <a:lnTo>
                    <a:pt x="782" y="1105"/>
                  </a:lnTo>
                  <a:lnTo>
                    <a:pt x="783" y="1105"/>
                  </a:lnTo>
                  <a:lnTo>
                    <a:pt x="783" y="1104"/>
                  </a:lnTo>
                  <a:lnTo>
                    <a:pt x="784" y="1105"/>
                  </a:lnTo>
                  <a:lnTo>
                    <a:pt x="784" y="1104"/>
                  </a:lnTo>
                  <a:lnTo>
                    <a:pt x="785" y="1103"/>
                  </a:lnTo>
                  <a:lnTo>
                    <a:pt x="786" y="1103"/>
                  </a:lnTo>
                  <a:lnTo>
                    <a:pt x="786" y="1102"/>
                  </a:lnTo>
                  <a:lnTo>
                    <a:pt x="788" y="1102"/>
                  </a:lnTo>
                  <a:lnTo>
                    <a:pt x="789" y="1100"/>
                  </a:lnTo>
                  <a:lnTo>
                    <a:pt x="791" y="1099"/>
                  </a:lnTo>
                  <a:lnTo>
                    <a:pt x="792" y="1097"/>
                  </a:lnTo>
                  <a:lnTo>
                    <a:pt x="794" y="1097"/>
                  </a:lnTo>
                  <a:lnTo>
                    <a:pt x="794" y="1094"/>
                  </a:lnTo>
                  <a:lnTo>
                    <a:pt x="792" y="1094"/>
                  </a:lnTo>
                  <a:lnTo>
                    <a:pt x="790" y="1094"/>
                  </a:lnTo>
                  <a:lnTo>
                    <a:pt x="788" y="1094"/>
                  </a:lnTo>
                  <a:lnTo>
                    <a:pt x="783" y="1096"/>
                  </a:lnTo>
                  <a:lnTo>
                    <a:pt x="779" y="1098"/>
                  </a:lnTo>
                  <a:lnTo>
                    <a:pt x="774" y="1099"/>
                  </a:lnTo>
                  <a:lnTo>
                    <a:pt x="771" y="1102"/>
                  </a:lnTo>
                  <a:lnTo>
                    <a:pt x="767" y="1103"/>
                  </a:lnTo>
                  <a:lnTo>
                    <a:pt x="761" y="1104"/>
                  </a:lnTo>
                  <a:lnTo>
                    <a:pt x="756" y="1106"/>
                  </a:lnTo>
                  <a:lnTo>
                    <a:pt x="752" y="1108"/>
                  </a:lnTo>
                  <a:lnTo>
                    <a:pt x="748" y="1109"/>
                  </a:lnTo>
                  <a:lnTo>
                    <a:pt x="744" y="1108"/>
                  </a:lnTo>
                  <a:lnTo>
                    <a:pt x="737" y="1109"/>
                  </a:lnTo>
                  <a:lnTo>
                    <a:pt x="731" y="1109"/>
                  </a:lnTo>
                  <a:lnTo>
                    <a:pt x="725" y="1109"/>
                  </a:lnTo>
                  <a:lnTo>
                    <a:pt x="720" y="1108"/>
                  </a:lnTo>
                  <a:lnTo>
                    <a:pt x="717" y="1106"/>
                  </a:lnTo>
                  <a:lnTo>
                    <a:pt x="712" y="1105"/>
                  </a:lnTo>
                  <a:lnTo>
                    <a:pt x="701" y="1105"/>
                  </a:lnTo>
                  <a:lnTo>
                    <a:pt x="700" y="1104"/>
                  </a:lnTo>
                  <a:lnTo>
                    <a:pt x="696" y="1103"/>
                  </a:lnTo>
                  <a:lnTo>
                    <a:pt x="694" y="1100"/>
                  </a:lnTo>
                  <a:lnTo>
                    <a:pt x="694" y="1098"/>
                  </a:lnTo>
                  <a:lnTo>
                    <a:pt x="693" y="1097"/>
                  </a:lnTo>
                  <a:lnTo>
                    <a:pt x="693" y="1094"/>
                  </a:lnTo>
                  <a:lnTo>
                    <a:pt x="691" y="1093"/>
                  </a:lnTo>
                  <a:lnTo>
                    <a:pt x="691" y="1091"/>
                  </a:lnTo>
                  <a:lnTo>
                    <a:pt x="693" y="1091"/>
                  </a:lnTo>
                  <a:lnTo>
                    <a:pt x="694" y="1093"/>
                  </a:lnTo>
                  <a:lnTo>
                    <a:pt x="695" y="1092"/>
                  </a:lnTo>
                  <a:lnTo>
                    <a:pt x="696" y="1092"/>
                  </a:lnTo>
                  <a:lnTo>
                    <a:pt x="697" y="1091"/>
                  </a:lnTo>
                  <a:lnTo>
                    <a:pt x="699" y="1091"/>
                  </a:lnTo>
                  <a:lnTo>
                    <a:pt x="700" y="1090"/>
                  </a:lnTo>
                  <a:lnTo>
                    <a:pt x="700" y="1088"/>
                  </a:lnTo>
                  <a:lnTo>
                    <a:pt x="702" y="1087"/>
                  </a:lnTo>
                  <a:lnTo>
                    <a:pt x="703" y="1087"/>
                  </a:lnTo>
                  <a:lnTo>
                    <a:pt x="705" y="1086"/>
                  </a:lnTo>
                  <a:lnTo>
                    <a:pt x="705" y="1087"/>
                  </a:lnTo>
                  <a:lnTo>
                    <a:pt x="706" y="1087"/>
                  </a:lnTo>
                  <a:lnTo>
                    <a:pt x="707" y="1087"/>
                  </a:lnTo>
                  <a:lnTo>
                    <a:pt x="708" y="1087"/>
                  </a:lnTo>
                  <a:lnTo>
                    <a:pt x="709" y="1087"/>
                  </a:lnTo>
                  <a:lnTo>
                    <a:pt x="711" y="1087"/>
                  </a:lnTo>
                  <a:lnTo>
                    <a:pt x="713" y="1086"/>
                  </a:lnTo>
                  <a:lnTo>
                    <a:pt x="714" y="1086"/>
                  </a:lnTo>
                  <a:lnTo>
                    <a:pt x="714" y="1085"/>
                  </a:lnTo>
                  <a:lnTo>
                    <a:pt x="714" y="1082"/>
                  </a:lnTo>
                  <a:lnTo>
                    <a:pt x="715" y="1081"/>
                  </a:lnTo>
                  <a:lnTo>
                    <a:pt x="717" y="1082"/>
                  </a:lnTo>
                  <a:lnTo>
                    <a:pt x="715" y="1084"/>
                  </a:lnTo>
                  <a:lnTo>
                    <a:pt x="717" y="1085"/>
                  </a:lnTo>
                  <a:lnTo>
                    <a:pt x="718" y="1084"/>
                  </a:lnTo>
                  <a:lnTo>
                    <a:pt x="719" y="1082"/>
                  </a:lnTo>
                  <a:lnTo>
                    <a:pt x="719" y="1081"/>
                  </a:lnTo>
                  <a:lnTo>
                    <a:pt x="719" y="1080"/>
                  </a:lnTo>
                  <a:lnTo>
                    <a:pt x="720" y="1082"/>
                  </a:lnTo>
                  <a:lnTo>
                    <a:pt x="720" y="1081"/>
                  </a:lnTo>
                  <a:lnTo>
                    <a:pt x="721" y="1081"/>
                  </a:lnTo>
                  <a:lnTo>
                    <a:pt x="723" y="1081"/>
                  </a:lnTo>
                  <a:lnTo>
                    <a:pt x="725" y="1080"/>
                  </a:lnTo>
                  <a:lnTo>
                    <a:pt x="726" y="1078"/>
                  </a:lnTo>
                  <a:lnTo>
                    <a:pt x="726" y="1076"/>
                  </a:lnTo>
                  <a:lnTo>
                    <a:pt x="727" y="1075"/>
                  </a:lnTo>
                  <a:lnTo>
                    <a:pt x="727" y="1073"/>
                  </a:lnTo>
                  <a:lnTo>
                    <a:pt x="729" y="1072"/>
                  </a:lnTo>
                  <a:lnTo>
                    <a:pt x="730" y="1072"/>
                  </a:lnTo>
                  <a:lnTo>
                    <a:pt x="731" y="1070"/>
                  </a:lnTo>
                  <a:lnTo>
                    <a:pt x="731" y="1069"/>
                  </a:lnTo>
                  <a:lnTo>
                    <a:pt x="732" y="1068"/>
                  </a:lnTo>
                  <a:lnTo>
                    <a:pt x="732" y="1067"/>
                  </a:lnTo>
                  <a:lnTo>
                    <a:pt x="733" y="1067"/>
                  </a:lnTo>
                  <a:lnTo>
                    <a:pt x="735" y="1065"/>
                  </a:lnTo>
                  <a:lnTo>
                    <a:pt x="735" y="1064"/>
                  </a:lnTo>
                  <a:lnTo>
                    <a:pt x="735" y="1063"/>
                  </a:lnTo>
                  <a:lnTo>
                    <a:pt x="735" y="1064"/>
                  </a:lnTo>
                  <a:lnTo>
                    <a:pt x="736" y="1064"/>
                  </a:lnTo>
                  <a:lnTo>
                    <a:pt x="736" y="1063"/>
                  </a:lnTo>
                  <a:lnTo>
                    <a:pt x="737" y="1061"/>
                  </a:lnTo>
                  <a:lnTo>
                    <a:pt x="737" y="1059"/>
                  </a:lnTo>
                  <a:lnTo>
                    <a:pt x="738" y="1058"/>
                  </a:lnTo>
                  <a:lnTo>
                    <a:pt x="737" y="1058"/>
                  </a:lnTo>
                  <a:lnTo>
                    <a:pt x="736" y="1057"/>
                  </a:lnTo>
                  <a:lnTo>
                    <a:pt x="733" y="1058"/>
                  </a:lnTo>
                  <a:lnTo>
                    <a:pt x="731" y="1058"/>
                  </a:lnTo>
                  <a:lnTo>
                    <a:pt x="723" y="1058"/>
                  </a:lnTo>
                  <a:lnTo>
                    <a:pt x="718" y="1059"/>
                  </a:lnTo>
                  <a:lnTo>
                    <a:pt x="714" y="1061"/>
                  </a:lnTo>
                  <a:lnTo>
                    <a:pt x="711" y="1059"/>
                  </a:lnTo>
                  <a:lnTo>
                    <a:pt x="708" y="1059"/>
                  </a:lnTo>
                  <a:lnTo>
                    <a:pt x="706" y="1057"/>
                  </a:lnTo>
                  <a:lnTo>
                    <a:pt x="706" y="1056"/>
                  </a:lnTo>
                  <a:lnTo>
                    <a:pt x="705" y="1055"/>
                  </a:lnTo>
                  <a:lnTo>
                    <a:pt x="706" y="1053"/>
                  </a:lnTo>
                  <a:lnTo>
                    <a:pt x="707" y="1051"/>
                  </a:lnTo>
                  <a:lnTo>
                    <a:pt x="708" y="1050"/>
                  </a:lnTo>
                  <a:lnTo>
                    <a:pt x="709" y="1049"/>
                  </a:lnTo>
                  <a:lnTo>
                    <a:pt x="709" y="1046"/>
                  </a:lnTo>
                  <a:lnTo>
                    <a:pt x="711" y="1046"/>
                  </a:lnTo>
                  <a:lnTo>
                    <a:pt x="712" y="1046"/>
                  </a:lnTo>
                  <a:lnTo>
                    <a:pt x="713" y="1045"/>
                  </a:lnTo>
                  <a:lnTo>
                    <a:pt x="714" y="1045"/>
                  </a:lnTo>
                  <a:lnTo>
                    <a:pt x="714" y="1044"/>
                  </a:lnTo>
                  <a:lnTo>
                    <a:pt x="715" y="1043"/>
                  </a:lnTo>
                  <a:lnTo>
                    <a:pt x="717" y="1043"/>
                  </a:lnTo>
                  <a:lnTo>
                    <a:pt x="717" y="1044"/>
                  </a:lnTo>
                  <a:lnTo>
                    <a:pt x="718" y="1044"/>
                  </a:lnTo>
                  <a:lnTo>
                    <a:pt x="719" y="1044"/>
                  </a:lnTo>
                  <a:lnTo>
                    <a:pt x="720" y="1043"/>
                  </a:lnTo>
                  <a:lnTo>
                    <a:pt x="721" y="1041"/>
                  </a:lnTo>
                  <a:lnTo>
                    <a:pt x="724" y="1041"/>
                  </a:lnTo>
                  <a:lnTo>
                    <a:pt x="724" y="1040"/>
                  </a:lnTo>
                  <a:lnTo>
                    <a:pt x="725" y="1040"/>
                  </a:lnTo>
                  <a:lnTo>
                    <a:pt x="726" y="1039"/>
                  </a:lnTo>
                  <a:lnTo>
                    <a:pt x="726" y="1038"/>
                  </a:lnTo>
                  <a:lnTo>
                    <a:pt x="727" y="1037"/>
                  </a:lnTo>
                  <a:lnTo>
                    <a:pt x="729" y="1035"/>
                  </a:lnTo>
                  <a:lnTo>
                    <a:pt x="731" y="1034"/>
                  </a:lnTo>
                  <a:lnTo>
                    <a:pt x="732" y="1033"/>
                  </a:lnTo>
                  <a:lnTo>
                    <a:pt x="733" y="1033"/>
                  </a:lnTo>
                  <a:lnTo>
                    <a:pt x="736" y="1032"/>
                  </a:lnTo>
                  <a:lnTo>
                    <a:pt x="736" y="1031"/>
                  </a:lnTo>
                  <a:lnTo>
                    <a:pt x="736" y="1029"/>
                  </a:lnTo>
                  <a:lnTo>
                    <a:pt x="737" y="1029"/>
                  </a:lnTo>
                  <a:lnTo>
                    <a:pt x="738" y="1027"/>
                  </a:lnTo>
                  <a:lnTo>
                    <a:pt x="739" y="1027"/>
                  </a:lnTo>
                  <a:lnTo>
                    <a:pt x="741" y="1025"/>
                  </a:lnTo>
                  <a:lnTo>
                    <a:pt x="741" y="1023"/>
                  </a:lnTo>
                  <a:lnTo>
                    <a:pt x="741" y="1020"/>
                  </a:lnTo>
                  <a:lnTo>
                    <a:pt x="742" y="1019"/>
                  </a:lnTo>
                  <a:lnTo>
                    <a:pt x="742" y="1017"/>
                  </a:lnTo>
                  <a:lnTo>
                    <a:pt x="743" y="1015"/>
                  </a:lnTo>
                  <a:lnTo>
                    <a:pt x="744" y="1014"/>
                  </a:lnTo>
                  <a:lnTo>
                    <a:pt x="745" y="1013"/>
                  </a:lnTo>
                  <a:lnTo>
                    <a:pt x="745" y="1010"/>
                  </a:lnTo>
                  <a:lnTo>
                    <a:pt x="744" y="1010"/>
                  </a:lnTo>
                  <a:lnTo>
                    <a:pt x="743" y="1010"/>
                  </a:lnTo>
                  <a:lnTo>
                    <a:pt x="741" y="1013"/>
                  </a:lnTo>
                  <a:lnTo>
                    <a:pt x="739" y="1014"/>
                  </a:lnTo>
                  <a:lnTo>
                    <a:pt x="738" y="1014"/>
                  </a:lnTo>
                  <a:lnTo>
                    <a:pt x="737" y="1014"/>
                  </a:lnTo>
                  <a:lnTo>
                    <a:pt x="737" y="1013"/>
                  </a:lnTo>
                  <a:lnTo>
                    <a:pt x="738" y="1011"/>
                  </a:lnTo>
                  <a:lnTo>
                    <a:pt x="739" y="1011"/>
                  </a:lnTo>
                  <a:lnTo>
                    <a:pt x="741" y="1010"/>
                  </a:lnTo>
                  <a:lnTo>
                    <a:pt x="742" y="1010"/>
                  </a:lnTo>
                  <a:lnTo>
                    <a:pt x="743" y="1009"/>
                  </a:lnTo>
                  <a:lnTo>
                    <a:pt x="742" y="1009"/>
                  </a:lnTo>
                  <a:lnTo>
                    <a:pt x="739" y="1007"/>
                  </a:lnTo>
                  <a:lnTo>
                    <a:pt x="738" y="1005"/>
                  </a:lnTo>
                  <a:lnTo>
                    <a:pt x="736" y="1005"/>
                  </a:lnTo>
                  <a:lnTo>
                    <a:pt x="735" y="1003"/>
                  </a:lnTo>
                  <a:lnTo>
                    <a:pt x="736" y="1004"/>
                  </a:lnTo>
                  <a:lnTo>
                    <a:pt x="739" y="1003"/>
                  </a:lnTo>
                  <a:lnTo>
                    <a:pt x="739" y="1002"/>
                  </a:lnTo>
                  <a:lnTo>
                    <a:pt x="741" y="1002"/>
                  </a:lnTo>
                  <a:lnTo>
                    <a:pt x="742" y="1001"/>
                  </a:lnTo>
                  <a:lnTo>
                    <a:pt x="741" y="1001"/>
                  </a:lnTo>
                  <a:lnTo>
                    <a:pt x="738" y="1001"/>
                  </a:lnTo>
                  <a:lnTo>
                    <a:pt x="738" y="999"/>
                  </a:lnTo>
                  <a:lnTo>
                    <a:pt x="739" y="999"/>
                  </a:lnTo>
                  <a:lnTo>
                    <a:pt x="741" y="998"/>
                  </a:lnTo>
                  <a:lnTo>
                    <a:pt x="742" y="998"/>
                  </a:lnTo>
                  <a:lnTo>
                    <a:pt x="742" y="997"/>
                  </a:lnTo>
                  <a:lnTo>
                    <a:pt x="741" y="997"/>
                  </a:lnTo>
                  <a:lnTo>
                    <a:pt x="739" y="997"/>
                  </a:lnTo>
                  <a:lnTo>
                    <a:pt x="739" y="995"/>
                  </a:lnTo>
                  <a:lnTo>
                    <a:pt x="739" y="993"/>
                  </a:lnTo>
                  <a:lnTo>
                    <a:pt x="738" y="993"/>
                  </a:lnTo>
                  <a:lnTo>
                    <a:pt x="737" y="996"/>
                  </a:lnTo>
                  <a:lnTo>
                    <a:pt x="736" y="995"/>
                  </a:lnTo>
                  <a:lnTo>
                    <a:pt x="735" y="993"/>
                  </a:lnTo>
                  <a:lnTo>
                    <a:pt x="733" y="993"/>
                  </a:lnTo>
                  <a:lnTo>
                    <a:pt x="733" y="996"/>
                  </a:lnTo>
                  <a:lnTo>
                    <a:pt x="733" y="999"/>
                  </a:lnTo>
                  <a:lnTo>
                    <a:pt x="732" y="1002"/>
                  </a:lnTo>
                  <a:lnTo>
                    <a:pt x="730" y="1002"/>
                  </a:lnTo>
                  <a:lnTo>
                    <a:pt x="729" y="1005"/>
                  </a:lnTo>
                  <a:lnTo>
                    <a:pt x="726" y="1007"/>
                  </a:lnTo>
                  <a:lnTo>
                    <a:pt x="724" y="1007"/>
                  </a:lnTo>
                  <a:lnTo>
                    <a:pt x="723" y="1008"/>
                  </a:lnTo>
                  <a:lnTo>
                    <a:pt x="721" y="1009"/>
                  </a:lnTo>
                  <a:lnTo>
                    <a:pt x="719" y="1010"/>
                  </a:lnTo>
                  <a:lnTo>
                    <a:pt x="718" y="1010"/>
                  </a:lnTo>
                  <a:lnTo>
                    <a:pt x="715" y="1011"/>
                  </a:lnTo>
                  <a:lnTo>
                    <a:pt x="713" y="1013"/>
                  </a:lnTo>
                  <a:lnTo>
                    <a:pt x="709" y="1013"/>
                  </a:lnTo>
                  <a:lnTo>
                    <a:pt x="708" y="1014"/>
                  </a:lnTo>
                  <a:lnTo>
                    <a:pt x="706" y="1015"/>
                  </a:lnTo>
                  <a:lnTo>
                    <a:pt x="705" y="1014"/>
                  </a:lnTo>
                  <a:lnTo>
                    <a:pt x="706" y="1014"/>
                  </a:lnTo>
                  <a:lnTo>
                    <a:pt x="706" y="1013"/>
                  </a:lnTo>
                  <a:lnTo>
                    <a:pt x="707" y="1011"/>
                  </a:lnTo>
                  <a:lnTo>
                    <a:pt x="707" y="1010"/>
                  </a:lnTo>
                  <a:lnTo>
                    <a:pt x="706" y="1009"/>
                  </a:lnTo>
                  <a:lnTo>
                    <a:pt x="706" y="1007"/>
                  </a:lnTo>
                  <a:lnTo>
                    <a:pt x="705" y="1005"/>
                  </a:lnTo>
                  <a:lnTo>
                    <a:pt x="705" y="1004"/>
                  </a:lnTo>
                  <a:lnTo>
                    <a:pt x="706" y="1005"/>
                  </a:lnTo>
                  <a:lnTo>
                    <a:pt x="707" y="1003"/>
                  </a:lnTo>
                  <a:lnTo>
                    <a:pt x="707" y="1004"/>
                  </a:lnTo>
                  <a:lnTo>
                    <a:pt x="708" y="1003"/>
                  </a:lnTo>
                  <a:lnTo>
                    <a:pt x="708" y="1002"/>
                  </a:lnTo>
                  <a:lnTo>
                    <a:pt x="707" y="1002"/>
                  </a:lnTo>
                  <a:lnTo>
                    <a:pt x="707" y="1001"/>
                  </a:lnTo>
                  <a:lnTo>
                    <a:pt x="707" y="999"/>
                  </a:lnTo>
                  <a:lnTo>
                    <a:pt x="708" y="998"/>
                  </a:lnTo>
                  <a:lnTo>
                    <a:pt x="707" y="997"/>
                  </a:lnTo>
                  <a:lnTo>
                    <a:pt x="705" y="997"/>
                  </a:lnTo>
                  <a:lnTo>
                    <a:pt x="703" y="997"/>
                  </a:lnTo>
                  <a:lnTo>
                    <a:pt x="702" y="997"/>
                  </a:lnTo>
                  <a:lnTo>
                    <a:pt x="701" y="998"/>
                  </a:lnTo>
                  <a:lnTo>
                    <a:pt x="700" y="998"/>
                  </a:lnTo>
                  <a:lnTo>
                    <a:pt x="697" y="999"/>
                  </a:lnTo>
                  <a:lnTo>
                    <a:pt x="696" y="999"/>
                  </a:lnTo>
                  <a:lnTo>
                    <a:pt x="696" y="998"/>
                  </a:lnTo>
                  <a:lnTo>
                    <a:pt x="699" y="997"/>
                  </a:lnTo>
                  <a:lnTo>
                    <a:pt x="699" y="996"/>
                  </a:lnTo>
                  <a:lnTo>
                    <a:pt x="699" y="995"/>
                  </a:lnTo>
                  <a:lnTo>
                    <a:pt x="697" y="993"/>
                  </a:lnTo>
                  <a:lnTo>
                    <a:pt x="697" y="991"/>
                  </a:lnTo>
                  <a:lnTo>
                    <a:pt x="696" y="989"/>
                  </a:lnTo>
                  <a:lnTo>
                    <a:pt x="695" y="987"/>
                  </a:lnTo>
                  <a:lnTo>
                    <a:pt x="694" y="987"/>
                  </a:lnTo>
                  <a:lnTo>
                    <a:pt x="694" y="986"/>
                  </a:lnTo>
                  <a:lnTo>
                    <a:pt x="693" y="987"/>
                  </a:lnTo>
                  <a:lnTo>
                    <a:pt x="693" y="989"/>
                  </a:lnTo>
                  <a:lnTo>
                    <a:pt x="693" y="990"/>
                  </a:lnTo>
                  <a:lnTo>
                    <a:pt x="691" y="992"/>
                  </a:lnTo>
                  <a:lnTo>
                    <a:pt x="690" y="993"/>
                  </a:lnTo>
                  <a:lnTo>
                    <a:pt x="689" y="993"/>
                  </a:lnTo>
                  <a:lnTo>
                    <a:pt x="688" y="993"/>
                  </a:lnTo>
                  <a:lnTo>
                    <a:pt x="688" y="995"/>
                  </a:lnTo>
                  <a:lnTo>
                    <a:pt x="685" y="996"/>
                  </a:lnTo>
                  <a:lnTo>
                    <a:pt x="685" y="997"/>
                  </a:lnTo>
                  <a:lnTo>
                    <a:pt x="686" y="997"/>
                  </a:lnTo>
                  <a:lnTo>
                    <a:pt x="688" y="996"/>
                  </a:lnTo>
                  <a:lnTo>
                    <a:pt x="688" y="997"/>
                  </a:lnTo>
                  <a:lnTo>
                    <a:pt x="688" y="998"/>
                  </a:lnTo>
                  <a:lnTo>
                    <a:pt x="686" y="998"/>
                  </a:lnTo>
                  <a:lnTo>
                    <a:pt x="686" y="999"/>
                  </a:lnTo>
                  <a:lnTo>
                    <a:pt x="686" y="1001"/>
                  </a:lnTo>
                  <a:lnTo>
                    <a:pt x="688" y="1001"/>
                  </a:lnTo>
                  <a:lnTo>
                    <a:pt x="688" y="1002"/>
                  </a:lnTo>
                  <a:lnTo>
                    <a:pt x="686" y="1002"/>
                  </a:lnTo>
                  <a:lnTo>
                    <a:pt x="685" y="1002"/>
                  </a:lnTo>
                  <a:lnTo>
                    <a:pt x="685" y="1003"/>
                  </a:lnTo>
                  <a:lnTo>
                    <a:pt x="685" y="1004"/>
                  </a:lnTo>
                  <a:lnTo>
                    <a:pt x="686" y="1005"/>
                  </a:lnTo>
                  <a:lnTo>
                    <a:pt x="685" y="1007"/>
                  </a:lnTo>
                  <a:lnTo>
                    <a:pt x="683" y="1007"/>
                  </a:lnTo>
                  <a:lnTo>
                    <a:pt x="682" y="1007"/>
                  </a:lnTo>
                  <a:lnTo>
                    <a:pt x="684" y="1008"/>
                  </a:lnTo>
                  <a:lnTo>
                    <a:pt x="685" y="1008"/>
                  </a:lnTo>
                  <a:lnTo>
                    <a:pt x="686" y="1009"/>
                  </a:lnTo>
                  <a:lnTo>
                    <a:pt x="685" y="1011"/>
                  </a:lnTo>
                  <a:lnTo>
                    <a:pt x="684" y="1011"/>
                  </a:lnTo>
                  <a:lnTo>
                    <a:pt x="683" y="1010"/>
                  </a:lnTo>
                  <a:lnTo>
                    <a:pt x="683" y="1011"/>
                  </a:lnTo>
                  <a:lnTo>
                    <a:pt x="682" y="1013"/>
                  </a:lnTo>
                  <a:lnTo>
                    <a:pt x="679" y="1014"/>
                  </a:lnTo>
                  <a:lnTo>
                    <a:pt x="677" y="1014"/>
                  </a:lnTo>
                  <a:lnTo>
                    <a:pt x="674" y="1015"/>
                  </a:lnTo>
                  <a:lnTo>
                    <a:pt x="672" y="1015"/>
                  </a:lnTo>
                  <a:lnTo>
                    <a:pt x="670" y="1015"/>
                  </a:lnTo>
                  <a:lnTo>
                    <a:pt x="665" y="1016"/>
                  </a:lnTo>
                  <a:lnTo>
                    <a:pt x="661" y="1015"/>
                  </a:lnTo>
                  <a:lnTo>
                    <a:pt x="659" y="1014"/>
                  </a:lnTo>
                  <a:lnTo>
                    <a:pt x="656" y="1014"/>
                  </a:lnTo>
                  <a:lnTo>
                    <a:pt x="653" y="1014"/>
                  </a:lnTo>
                  <a:lnTo>
                    <a:pt x="650" y="1013"/>
                  </a:lnTo>
                  <a:lnTo>
                    <a:pt x="648" y="1010"/>
                  </a:lnTo>
                  <a:lnTo>
                    <a:pt x="648" y="1009"/>
                  </a:lnTo>
                  <a:lnTo>
                    <a:pt x="648" y="1008"/>
                  </a:lnTo>
                  <a:lnTo>
                    <a:pt x="650" y="1008"/>
                  </a:lnTo>
                  <a:lnTo>
                    <a:pt x="650" y="1004"/>
                  </a:lnTo>
                  <a:lnTo>
                    <a:pt x="652" y="1005"/>
                  </a:lnTo>
                  <a:lnTo>
                    <a:pt x="652" y="1008"/>
                  </a:lnTo>
                  <a:lnTo>
                    <a:pt x="653" y="1009"/>
                  </a:lnTo>
                  <a:lnTo>
                    <a:pt x="655" y="1011"/>
                  </a:lnTo>
                  <a:lnTo>
                    <a:pt x="656" y="1013"/>
                  </a:lnTo>
                  <a:lnTo>
                    <a:pt x="658" y="1013"/>
                  </a:lnTo>
                  <a:lnTo>
                    <a:pt x="658" y="1010"/>
                  </a:lnTo>
                  <a:lnTo>
                    <a:pt x="655" y="1008"/>
                  </a:lnTo>
                  <a:lnTo>
                    <a:pt x="653" y="1005"/>
                  </a:lnTo>
                  <a:lnTo>
                    <a:pt x="653" y="1003"/>
                  </a:lnTo>
                  <a:lnTo>
                    <a:pt x="652" y="1001"/>
                  </a:lnTo>
                  <a:lnTo>
                    <a:pt x="653" y="1001"/>
                  </a:lnTo>
                  <a:lnTo>
                    <a:pt x="654" y="1002"/>
                  </a:lnTo>
                  <a:lnTo>
                    <a:pt x="654" y="1003"/>
                  </a:lnTo>
                  <a:lnTo>
                    <a:pt x="655" y="1003"/>
                  </a:lnTo>
                  <a:lnTo>
                    <a:pt x="655" y="1002"/>
                  </a:lnTo>
                  <a:lnTo>
                    <a:pt x="656" y="1001"/>
                  </a:lnTo>
                  <a:lnTo>
                    <a:pt x="658" y="1002"/>
                  </a:lnTo>
                  <a:lnTo>
                    <a:pt x="659" y="1003"/>
                  </a:lnTo>
                  <a:lnTo>
                    <a:pt x="660" y="1001"/>
                  </a:lnTo>
                  <a:lnTo>
                    <a:pt x="660" y="999"/>
                  </a:lnTo>
                  <a:lnTo>
                    <a:pt x="659" y="997"/>
                  </a:lnTo>
                  <a:lnTo>
                    <a:pt x="656" y="995"/>
                  </a:lnTo>
                  <a:lnTo>
                    <a:pt x="655" y="993"/>
                  </a:lnTo>
                  <a:lnTo>
                    <a:pt x="656" y="991"/>
                  </a:lnTo>
                  <a:lnTo>
                    <a:pt x="656" y="992"/>
                  </a:lnTo>
                  <a:lnTo>
                    <a:pt x="658" y="993"/>
                  </a:lnTo>
                  <a:lnTo>
                    <a:pt x="659" y="995"/>
                  </a:lnTo>
                  <a:lnTo>
                    <a:pt x="660" y="996"/>
                  </a:lnTo>
                  <a:lnTo>
                    <a:pt x="661" y="995"/>
                  </a:lnTo>
                  <a:lnTo>
                    <a:pt x="661" y="993"/>
                  </a:lnTo>
                  <a:lnTo>
                    <a:pt x="662" y="993"/>
                  </a:lnTo>
                  <a:lnTo>
                    <a:pt x="664" y="995"/>
                  </a:lnTo>
                  <a:lnTo>
                    <a:pt x="665" y="996"/>
                  </a:lnTo>
                  <a:lnTo>
                    <a:pt x="666" y="995"/>
                  </a:lnTo>
                  <a:lnTo>
                    <a:pt x="666" y="993"/>
                  </a:lnTo>
                  <a:lnTo>
                    <a:pt x="667" y="992"/>
                  </a:lnTo>
                  <a:lnTo>
                    <a:pt x="667" y="990"/>
                  </a:lnTo>
                  <a:lnTo>
                    <a:pt x="666" y="987"/>
                  </a:lnTo>
                  <a:lnTo>
                    <a:pt x="665" y="986"/>
                  </a:lnTo>
                  <a:lnTo>
                    <a:pt x="665" y="984"/>
                  </a:lnTo>
                  <a:lnTo>
                    <a:pt x="666" y="984"/>
                  </a:lnTo>
                  <a:lnTo>
                    <a:pt x="667" y="985"/>
                  </a:lnTo>
                  <a:lnTo>
                    <a:pt x="670" y="984"/>
                  </a:lnTo>
                  <a:lnTo>
                    <a:pt x="672" y="985"/>
                  </a:lnTo>
                  <a:lnTo>
                    <a:pt x="674" y="986"/>
                  </a:lnTo>
                  <a:lnTo>
                    <a:pt x="676" y="985"/>
                  </a:lnTo>
                  <a:lnTo>
                    <a:pt x="677" y="984"/>
                  </a:lnTo>
                  <a:lnTo>
                    <a:pt x="678" y="984"/>
                  </a:lnTo>
                  <a:lnTo>
                    <a:pt x="678" y="983"/>
                  </a:lnTo>
                  <a:lnTo>
                    <a:pt x="676" y="981"/>
                  </a:lnTo>
                  <a:lnTo>
                    <a:pt x="673" y="981"/>
                  </a:lnTo>
                  <a:lnTo>
                    <a:pt x="671" y="980"/>
                  </a:lnTo>
                  <a:lnTo>
                    <a:pt x="668" y="979"/>
                  </a:lnTo>
                  <a:lnTo>
                    <a:pt x="667" y="977"/>
                  </a:lnTo>
                  <a:lnTo>
                    <a:pt x="667" y="975"/>
                  </a:lnTo>
                  <a:lnTo>
                    <a:pt x="666" y="975"/>
                  </a:lnTo>
                  <a:lnTo>
                    <a:pt x="666" y="974"/>
                  </a:lnTo>
                  <a:lnTo>
                    <a:pt x="667" y="974"/>
                  </a:lnTo>
                  <a:lnTo>
                    <a:pt x="668" y="975"/>
                  </a:lnTo>
                  <a:lnTo>
                    <a:pt x="671" y="977"/>
                  </a:lnTo>
                  <a:lnTo>
                    <a:pt x="672" y="977"/>
                  </a:lnTo>
                  <a:lnTo>
                    <a:pt x="673" y="979"/>
                  </a:lnTo>
                  <a:lnTo>
                    <a:pt x="674" y="979"/>
                  </a:lnTo>
                  <a:lnTo>
                    <a:pt x="676" y="978"/>
                  </a:lnTo>
                  <a:lnTo>
                    <a:pt x="676" y="977"/>
                  </a:lnTo>
                  <a:lnTo>
                    <a:pt x="674" y="975"/>
                  </a:lnTo>
                  <a:lnTo>
                    <a:pt x="673" y="974"/>
                  </a:lnTo>
                  <a:lnTo>
                    <a:pt x="670" y="973"/>
                  </a:lnTo>
                  <a:lnTo>
                    <a:pt x="668" y="972"/>
                  </a:lnTo>
                  <a:lnTo>
                    <a:pt x="667" y="972"/>
                  </a:lnTo>
                  <a:lnTo>
                    <a:pt x="665" y="971"/>
                  </a:lnTo>
                  <a:lnTo>
                    <a:pt x="664" y="969"/>
                  </a:lnTo>
                  <a:lnTo>
                    <a:pt x="664" y="968"/>
                  </a:lnTo>
                  <a:lnTo>
                    <a:pt x="665" y="969"/>
                  </a:lnTo>
                  <a:lnTo>
                    <a:pt x="666" y="969"/>
                  </a:lnTo>
                  <a:lnTo>
                    <a:pt x="667" y="971"/>
                  </a:lnTo>
                  <a:lnTo>
                    <a:pt x="668" y="972"/>
                  </a:lnTo>
                  <a:lnTo>
                    <a:pt x="670" y="971"/>
                  </a:lnTo>
                  <a:lnTo>
                    <a:pt x="672" y="971"/>
                  </a:lnTo>
                  <a:lnTo>
                    <a:pt x="674" y="971"/>
                  </a:lnTo>
                  <a:lnTo>
                    <a:pt x="673" y="968"/>
                  </a:lnTo>
                  <a:lnTo>
                    <a:pt x="672" y="967"/>
                  </a:lnTo>
                  <a:lnTo>
                    <a:pt x="673" y="965"/>
                  </a:lnTo>
                  <a:lnTo>
                    <a:pt x="676" y="966"/>
                  </a:lnTo>
                  <a:lnTo>
                    <a:pt x="674" y="965"/>
                  </a:lnTo>
                  <a:lnTo>
                    <a:pt x="673" y="962"/>
                  </a:lnTo>
                  <a:lnTo>
                    <a:pt x="676" y="961"/>
                  </a:lnTo>
                  <a:lnTo>
                    <a:pt x="677" y="960"/>
                  </a:lnTo>
                  <a:lnTo>
                    <a:pt x="677" y="959"/>
                  </a:lnTo>
                  <a:lnTo>
                    <a:pt x="673" y="959"/>
                  </a:lnTo>
                  <a:lnTo>
                    <a:pt x="672" y="959"/>
                  </a:lnTo>
                  <a:lnTo>
                    <a:pt x="670" y="957"/>
                  </a:lnTo>
                  <a:lnTo>
                    <a:pt x="665" y="952"/>
                  </a:lnTo>
                  <a:lnTo>
                    <a:pt x="661" y="950"/>
                  </a:lnTo>
                  <a:lnTo>
                    <a:pt x="660" y="948"/>
                  </a:lnTo>
                  <a:lnTo>
                    <a:pt x="661" y="943"/>
                  </a:lnTo>
                  <a:lnTo>
                    <a:pt x="661" y="939"/>
                  </a:lnTo>
                  <a:lnTo>
                    <a:pt x="662" y="939"/>
                  </a:lnTo>
                  <a:lnTo>
                    <a:pt x="664" y="944"/>
                  </a:lnTo>
                  <a:lnTo>
                    <a:pt x="664" y="949"/>
                  </a:lnTo>
                  <a:lnTo>
                    <a:pt x="665" y="948"/>
                  </a:lnTo>
                  <a:lnTo>
                    <a:pt x="665" y="946"/>
                  </a:lnTo>
                  <a:lnTo>
                    <a:pt x="666" y="948"/>
                  </a:lnTo>
                  <a:lnTo>
                    <a:pt x="667" y="945"/>
                  </a:lnTo>
                  <a:lnTo>
                    <a:pt x="667" y="942"/>
                  </a:lnTo>
                  <a:lnTo>
                    <a:pt x="668" y="940"/>
                  </a:lnTo>
                  <a:lnTo>
                    <a:pt x="670" y="942"/>
                  </a:lnTo>
                  <a:lnTo>
                    <a:pt x="668" y="948"/>
                  </a:lnTo>
                  <a:lnTo>
                    <a:pt x="670" y="949"/>
                  </a:lnTo>
                  <a:lnTo>
                    <a:pt x="671" y="951"/>
                  </a:lnTo>
                  <a:lnTo>
                    <a:pt x="674" y="952"/>
                  </a:lnTo>
                  <a:lnTo>
                    <a:pt x="674" y="950"/>
                  </a:lnTo>
                  <a:lnTo>
                    <a:pt x="673" y="946"/>
                  </a:lnTo>
                  <a:lnTo>
                    <a:pt x="672" y="944"/>
                  </a:lnTo>
                  <a:lnTo>
                    <a:pt x="671" y="940"/>
                  </a:lnTo>
                  <a:lnTo>
                    <a:pt x="667" y="938"/>
                  </a:lnTo>
                  <a:lnTo>
                    <a:pt x="666" y="936"/>
                  </a:lnTo>
                  <a:lnTo>
                    <a:pt x="666" y="934"/>
                  </a:lnTo>
                  <a:lnTo>
                    <a:pt x="668" y="937"/>
                  </a:lnTo>
                  <a:lnTo>
                    <a:pt x="668" y="933"/>
                  </a:lnTo>
                  <a:lnTo>
                    <a:pt x="668" y="932"/>
                  </a:lnTo>
                  <a:lnTo>
                    <a:pt x="670" y="932"/>
                  </a:lnTo>
                  <a:lnTo>
                    <a:pt x="671" y="936"/>
                  </a:lnTo>
                  <a:lnTo>
                    <a:pt x="671" y="938"/>
                  </a:lnTo>
                  <a:lnTo>
                    <a:pt x="672" y="940"/>
                  </a:lnTo>
                  <a:lnTo>
                    <a:pt x="672" y="942"/>
                  </a:lnTo>
                  <a:lnTo>
                    <a:pt x="673" y="943"/>
                  </a:lnTo>
                  <a:lnTo>
                    <a:pt x="674" y="944"/>
                  </a:lnTo>
                  <a:lnTo>
                    <a:pt x="676" y="940"/>
                  </a:lnTo>
                  <a:lnTo>
                    <a:pt x="676" y="937"/>
                  </a:lnTo>
                  <a:lnTo>
                    <a:pt x="677" y="936"/>
                  </a:lnTo>
                  <a:lnTo>
                    <a:pt x="677" y="934"/>
                  </a:lnTo>
                  <a:lnTo>
                    <a:pt x="674" y="933"/>
                  </a:lnTo>
                  <a:lnTo>
                    <a:pt x="674" y="932"/>
                  </a:lnTo>
                  <a:lnTo>
                    <a:pt x="674" y="928"/>
                  </a:lnTo>
                  <a:lnTo>
                    <a:pt x="674" y="930"/>
                  </a:lnTo>
                  <a:lnTo>
                    <a:pt x="676" y="932"/>
                  </a:lnTo>
                  <a:lnTo>
                    <a:pt x="677" y="933"/>
                  </a:lnTo>
                  <a:lnTo>
                    <a:pt x="679" y="934"/>
                  </a:lnTo>
                  <a:lnTo>
                    <a:pt x="680" y="936"/>
                  </a:lnTo>
                  <a:lnTo>
                    <a:pt x="682" y="938"/>
                  </a:lnTo>
                  <a:lnTo>
                    <a:pt x="683" y="939"/>
                  </a:lnTo>
                  <a:lnTo>
                    <a:pt x="684" y="938"/>
                  </a:lnTo>
                  <a:lnTo>
                    <a:pt x="684" y="942"/>
                  </a:lnTo>
                  <a:lnTo>
                    <a:pt x="685" y="942"/>
                  </a:lnTo>
                  <a:lnTo>
                    <a:pt x="686" y="939"/>
                  </a:lnTo>
                  <a:lnTo>
                    <a:pt x="688" y="938"/>
                  </a:lnTo>
                  <a:lnTo>
                    <a:pt x="688" y="936"/>
                  </a:lnTo>
                  <a:lnTo>
                    <a:pt x="688" y="934"/>
                  </a:lnTo>
                  <a:lnTo>
                    <a:pt x="689" y="936"/>
                  </a:lnTo>
                  <a:lnTo>
                    <a:pt x="690" y="943"/>
                  </a:lnTo>
                  <a:lnTo>
                    <a:pt x="690" y="945"/>
                  </a:lnTo>
                  <a:lnTo>
                    <a:pt x="691" y="945"/>
                  </a:lnTo>
                  <a:lnTo>
                    <a:pt x="691" y="944"/>
                  </a:lnTo>
                  <a:lnTo>
                    <a:pt x="691" y="940"/>
                  </a:lnTo>
                  <a:lnTo>
                    <a:pt x="693" y="939"/>
                  </a:lnTo>
                  <a:lnTo>
                    <a:pt x="694" y="936"/>
                  </a:lnTo>
                  <a:lnTo>
                    <a:pt x="695" y="936"/>
                  </a:lnTo>
                  <a:lnTo>
                    <a:pt x="696" y="942"/>
                  </a:lnTo>
                  <a:lnTo>
                    <a:pt x="697" y="940"/>
                  </a:lnTo>
                  <a:lnTo>
                    <a:pt x="699" y="939"/>
                  </a:lnTo>
                  <a:lnTo>
                    <a:pt x="699" y="942"/>
                  </a:lnTo>
                  <a:lnTo>
                    <a:pt x="701" y="943"/>
                  </a:lnTo>
                  <a:lnTo>
                    <a:pt x="701" y="940"/>
                  </a:lnTo>
                  <a:lnTo>
                    <a:pt x="701" y="937"/>
                  </a:lnTo>
                  <a:lnTo>
                    <a:pt x="702" y="934"/>
                  </a:lnTo>
                  <a:lnTo>
                    <a:pt x="705" y="933"/>
                  </a:lnTo>
                  <a:lnTo>
                    <a:pt x="703" y="932"/>
                  </a:lnTo>
                  <a:lnTo>
                    <a:pt x="702" y="930"/>
                  </a:lnTo>
                  <a:lnTo>
                    <a:pt x="700" y="927"/>
                  </a:lnTo>
                  <a:lnTo>
                    <a:pt x="701" y="926"/>
                  </a:lnTo>
                  <a:lnTo>
                    <a:pt x="705" y="926"/>
                  </a:lnTo>
                  <a:lnTo>
                    <a:pt x="706" y="925"/>
                  </a:lnTo>
                  <a:lnTo>
                    <a:pt x="707" y="926"/>
                  </a:lnTo>
                  <a:lnTo>
                    <a:pt x="707" y="930"/>
                  </a:lnTo>
                  <a:lnTo>
                    <a:pt x="709" y="931"/>
                  </a:lnTo>
                  <a:lnTo>
                    <a:pt x="711" y="928"/>
                  </a:lnTo>
                  <a:lnTo>
                    <a:pt x="711" y="927"/>
                  </a:lnTo>
                  <a:lnTo>
                    <a:pt x="713" y="930"/>
                  </a:lnTo>
                  <a:lnTo>
                    <a:pt x="719" y="933"/>
                  </a:lnTo>
                  <a:lnTo>
                    <a:pt x="720" y="932"/>
                  </a:lnTo>
                  <a:lnTo>
                    <a:pt x="719" y="930"/>
                  </a:lnTo>
                  <a:lnTo>
                    <a:pt x="717" y="927"/>
                  </a:lnTo>
                  <a:lnTo>
                    <a:pt x="715" y="926"/>
                  </a:lnTo>
                  <a:lnTo>
                    <a:pt x="709" y="924"/>
                  </a:lnTo>
                  <a:lnTo>
                    <a:pt x="707" y="921"/>
                  </a:lnTo>
                  <a:lnTo>
                    <a:pt x="705" y="919"/>
                  </a:lnTo>
                  <a:lnTo>
                    <a:pt x="702" y="916"/>
                  </a:lnTo>
                  <a:lnTo>
                    <a:pt x="702" y="914"/>
                  </a:lnTo>
                  <a:lnTo>
                    <a:pt x="702" y="913"/>
                  </a:lnTo>
                  <a:lnTo>
                    <a:pt x="703" y="913"/>
                  </a:lnTo>
                  <a:lnTo>
                    <a:pt x="705" y="915"/>
                  </a:lnTo>
                  <a:lnTo>
                    <a:pt x="706" y="918"/>
                  </a:lnTo>
                  <a:lnTo>
                    <a:pt x="708" y="919"/>
                  </a:lnTo>
                  <a:lnTo>
                    <a:pt x="709" y="919"/>
                  </a:lnTo>
                  <a:lnTo>
                    <a:pt x="711" y="919"/>
                  </a:lnTo>
                  <a:lnTo>
                    <a:pt x="712" y="920"/>
                  </a:lnTo>
                  <a:lnTo>
                    <a:pt x="712" y="918"/>
                  </a:lnTo>
                  <a:lnTo>
                    <a:pt x="712" y="914"/>
                  </a:lnTo>
                  <a:lnTo>
                    <a:pt x="712" y="912"/>
                  </a:lnTo>
                  <a:lnTo>
                    <a:pt x="713" y="914"/>
                  </a:lnTo>
                  <a:lnTo>
                    <a:pt x="713" y="916"/>
                  </a:lnTo>
                  <a:lnTo>
                    <a:pt x="713" y="920"/>
                  </a:lnTo>
                  <a:lnTo>
                    <a:pt x="714" y="920"/>
                  </a:lnTo>
                  <a:lnTo>
                    <a:pt x="714" y="922"/>
                  </a:lnTo>
                  <a:lnTo>
                    <a:pt x="715" y="925"/>
                  </a:lnTo>
                  <a:lnTo>
                    <a:pt x="717" y="925"/>
                  </a:lnTo>
                  <a:lnTo>
                    <a:pt x="717" y="924"/>
                  </a:lnTo>
                  <a:lnTo>
                    <a:pt x="718" y="922"/>
                  </a:lnTo>
                  <a:lnTo>
                    <a:pt x="717" y="921"/>
                  </a:lnTo>
                  <a:lnTo>
                    <a:pt x="717" y="919"/>
                  </a:lnTo>
                  <a:lnTo>
                    <a:pt x="717" y="916"/>
                  </a:lnTo>
                  <a:lnTo>
                    <a:pt x="718" y="915"/>
                  </a:lnTo>
                  <a:lnTo>
                    <a:pt x="718" y="919"/>
                  </a:lnTo>
                  <a:lnTo>
                    <a:pt x="719" y="920"/>
                  </a:lnTo>
                  <a:lnTo>
                    <a:pt x="719" y="921"/>
                  </a:lnTo>
                  <a:lnTo>
                    <a:pt x="720" y="925"/>
                  </a:lnTo>
                  <a:lnTo>
                    <a:pt x="721" y="924"/>
                  </a:lnTo>
                  <a:lnTo>
                    <a:pt x="721" y="921"/>
                  </a:lnTo>
                  <a:lnTo>
                    <a:pt x="721" y="919"/>
                  </a:lnTo>
                  <a:lnTo>
                    <a:pt x="721" y="915"/>
                  </a:lnTo>
                  <a:lnTo>
                    <a:pt x="721" y="912"/>
                  </a:lnTo>
                  <a:lnTo>
                    <a:pt x="723" y="915"/>
                  </a:lnTo>
                  <a:lnTo>
                    <a:pt x="725" y="916"/>
                  </a:lnTo>
                  <a:lnTo>
                    <a:pt x="726" y="919"/>
                  </a:lnTo>
                  <a:lnTo>
                    <a:pt x="726" y="924"/>
                  </a:lnTo>
                  <a:lnTo>
                    <a:pt x="726" y="925"/>
                  </a:lnTo>
                  <a:lnTo>
                    <a:pt x="727" y="924"/>
                  </a:lnTo>
                  <a:lnTo>
                    <a:pt x="729" y="921"/>
                  </a:lnTo>
                  <a:lnTo>
                    <a:pt x="730" y="919"/>
                  </a:lnTo>
                  <a:lnTo>
                    <a:pt x="730" y="915"/>
                  </a:lnTo>
                  <a:lnTo>
                    <a:pt x="729" y="913"/>
                  </a:lnTo>
                  <a:lnTo>
                    <a:pt x="730" y="908"/>
                  </a:lnTo>
                  <a:lnTo>
                    <a:pt x="729" y="908"/>
                  </a:lnTo>
                  <a:lnTo>
                    <a:pt x="729" y="906"/>
                  </a:lnTo>
                  <a:lnTo>
                    <a:pt x="730" y="906"/>
                  </a:lnTo>
                  <a:lnTo>
                    <a:pt x="731" y="908"/>
                  </a:lnTo>
                  <a:lnTo>
                    <a:pt x="731" y="910"/>
                  </a:lnTo>
                  <a:lnTo>
                    <a:pt x="732" y="914"/>
                  </a:lnTo>
                  <a:lnTo>
                    <a:pt x="733" y="914"/>
                  </a:lnTo>
                  <a:lnTo>
                    <a:pt x="736" y="913"/>
                  </a:lnTo>
                  <a:lnTo>
                    <a:pt x="736" y="909"/>
                  </a:lnTo>
                  <a:lnTo>
                    <a:pt x="736" y="906"/>
                  </a:lnTo>
                  <a:lnTo>
                    <a:pt x="736" y="903"/>
                  </a:lnTo>
                  <a:lnTo>
                    <a:pt x="738" y="901"/>
                  </a:lnTo>
                  <a:lnTo>
                    <a:pt x="738" y="904"/>
                  </a:lnTo>
                  <a:lnTo>
                    <a:pt x="741" y="910"/>
                  </a:lnTo>
                  <a:lnTo>
                    <a:pt x="742" y="913"/>
                  </a:lnTo>
                  <a:lnTo>
                    <a:pt x="744" y="910"/>
                  </a:lnTo>
                  <a:lnTo>
                    <a:pt x="745" y="908"/>
                  </a:lnTo>
                  <a:lnTo>
                    <a:pt x="747" y="908"/>
                  </a:lnTo>
                  <a:lnTo>
                    <a:pt x="747" y="910"/>
                  </a:lnTo>
                  <a:lnTo>
                    <a:pt x="745" y="914"/>
                  </a:lnTo>
                  <a:lnTo>
                    <a:pt x="747" y="919"/>
                  </a:lnTo>
                  <a:lnTo>
                    <a:pt x="748" y="920"/>
                  </a:lnTo>
                  <a:lnTo>
                    <a:pt x="748" y="918"/>
                  </a:lnTo>
                  <a:lnTo>
                    <a:pt x="749" y="914"/>
                  </a:lnTo>
                  <a:lnTo>
                    <a:pt x="750" y="916"/>
                  </a:lnTo>
                  <a:lnTo>
                    <a:pt x="752" y="916"/>
                  </a:lnTo>
                  <a:lnTo>
                    <a:pt x="754" y="915"/>
                  </a:lnTo>
                  <a:lnTo>
                    <a:pt x="753" y="910"/>
                  </a:lnTo>
                  <a:lnTo>
                    <a:pt x="755" y="908"/>
                  </a:lnTo>
                  <a:lnTo>
                    <a:pt x="758" y="908"/>
                  </a:lnTo>
                  <a:lnTo>
                    <a:pt x="759" y="909"/>
                  </a:lnTo>
                  <a:lnTo>
                    <a:pt x="761" y="908"/>
                  </a:lnTo>
                  <a:lnTo>
                    <a:pt x="759" y="906"/>
                  </a:lnTo>
                  <a:lnTo>
                    <a:pt x="756" y="903"/>
                  </a:lnTo>
                  <a:lnTo>
                    <a:pt x="755" y="902"/>
                  </a:lnTo>
                  <a:lnTo>
                    <a:pt x="750" y="898"/>
                  </a:lnTo>
                  <a:lnTo>
                    <a:pt x="743" y="894"/>
                  </a:lnTo>
                  <a:lnTo>
                    <a:pt x="737" y="890"/>
                  </a:lnTo>
                  <a:lnTo>
                    <a:pt x="729" y="889"/>
                  </a:lnTo>
                  <a:lnTo>
                    <a:pt x="724" y="889"/>
                  </a:lnTo>
                  <a:lnTo>
                    <a:pt x="720" y="890"/>
                  </a:lnTo>
                  <a:lnTo>
                    <a:pt x="718" y="890"/>
                  </a:lnTo>
                  <a:lnTo>
                    <a:pt x="717" y="890"/>
                  </a:lnTo>
                  <a:lnTo>
                    <a:pt x="714" y="890"/>
                  </a:lnTo>
                  <a:lnTo>
                    <a:pt x="713" y="890"/>
                  </a:lnTo>
                  <a:lnTo>
                    <a:pt x="708" y="888"/>
                  </a:lnTo>
                  <a:lnTo>
                    <a:pt x="705" y="886"/>
                  </a:lnTo>
                  <a:lnTo>
                    <a:pt x="700" y="884"/>
                  </a:lnTo>
                  <a:lnTo>
                    <a:pt x="700" y="883"/>
                  </a:lnTo>
                  <a:lnTo>
                    <a:pt x="702" y="882"/>
                  </a:lnTo>
                  <a:lnTo>
                    <a:pt x="703" y="882"/>
                  </a:lnTo>
                  <a:lnTo>
                    <a:pt x="709" y="884"/>
                  </a:lnTo>
                  <a:lnTo>
                    <a:pt x="711" y="883"/>
                  </a:lnTo>
                  <a:lnTo>
                    <a:pt x="707" y="882"/>
                  </a:lnTo>
                  <a:lnTo>
                    <a:pt x="705" y="880"/>
                  </a:lnTo>
                  <a:lnTo>
                    <a:pt x="709" y="877"/>
                  </a:lnTo>
                  <a:lnTo>
                    <a:pt x="708" y="877"/>
                  </a:lnTo>
                  <a:lnTo>
                    <a:pt x="703" y="878"/>
                  </a:lnTo>
                  <a:lnTo>
                    <a:pt x="702" y="877"/>
                  </a:lnTo>
                  <a:lnTo>
                    <a:pt x="701" y="878"/>
                  </a:lnTo>
                  <a:lnTo>
                    <a:pt x="701" y="879"/>
                  </a:lnTo>
                  <a:lnTo>
                    <a:pt x="699" y="880"/>
                  </a:lnTo>
                  <a:lnTo>
                    <a:pt x="696" y="883"/>
                  </a:lnTo>
                  <a:lnTo>
                    <a:pt x="694" y="882"/>
                  </a:lnTo>
                  <a:lnTo>
                    <a:pt x="691" y="884"/>
                  </a:lnTo>
                  <a:lnTo>
                    <a:pt x="690" y="886"/>
                  </a:lnTo>
                  <a:lnTo>
                    <a:pt x="685" y="884"/>
                  </a:lnTo>
                  <a:lnTo>
                    <a:pt x="678" y="880"/>
                  </a:lnTo>
                  <a:lnTo>
                    <a:pt x="671" y="877"/>
                  </a:lnTo>
                  <a:lnTo>
                    <a:pt x="670" y="878"/>
                  </a:lnTo>
                  <a:lnTo>
                    <a:pt x="667" y="878"/>
                  </a:lnTo>
                  <a:lnTo>
                    <a:pt x="666" y="876"/>
                  </a:lnTo>
                  <a:lnTo>
                    <a:pt x="668" y="874"/>
                  </a:lnTo>
                  <a:lnTo>
                    <a:pt x="668" y="873"/>
                  </a:lnTo>
                  <a:lnTo>
                    <a:pt x="668" y="870"/>
                  </a:lnTo>
                  <a:lnTo>
                    <a:pt x="668" y="867"/>
                  </a:lnTo>
                  <a:lnTo>
                    <a:pt x="670" y="866"/>
                  </a:lnTo>
                  <a:lnTo>
                    <a:pt x="670" y="867"/>
                  </a:lnTo>
                  <a:lnTo>
                    <a:pt x="671" y="871"/>
                  </a:lnTo>
                  <a:lnTo>
                    <a:pt x="673" y="872"/>
                  </a:lnTo>
                  <a:lnTo>
                    <a:pt x="673" y="868"/>
                  </a:lnTo>
                  <a:lnTo>
                    <a:pt x="673" y="866"/>
                  </a:lnTo>
                  <a:lnTo>
                    <a:pt x="674" y="866"/>
                  </a:lnTo>
                  <a:lnTo>
                    <a:pt x="676" y="867"/>
                  </a:lnTo>
                  <a:lnTo>
                    <a:pt x="678" y="867"/>
                  </a:lnTo>
                  <a:lnTo>
                    <a:pt x="679" y="867"/>
                  </a:lnTo>
                  <a:lnTo>
                    <a:pt x="679" y="866"/>
                  </a:lnTo>
                  <a:lnTo>
                    <a:pt x="680" y="866"/>
                  </a:lnTo>
                  <a:lnTo>
                    <a:pt x="682" y="866"/>
                  </a:lnTo>
                  <a:lnTo>
                    <a:pt x="683" y="864"/>
                  </a:lnTo>
                  <a:lnTo>
                    <a:pt x="684" y="862"/>
                  </a:lnTo>
                  <a:lnTo>
                    <a:pt x="688" y="861"/>
                  </a:lnTo>
                  <a:lnTo>
                    <a:pt x="693" y="859"/>
                  </a:lnTo>
                  <a:lnTo>
                    <a:pt x="693" y="856"/>
                  </a:lnTo>
                  <a:lnTo>
                    <a:pt x="694" y="854"/>
                  </a:lnTo>
                  <a:lnTo>
                    <a:pt x="695" y="854"/>
                  </a:lnTo>
                  <a:lnTo>
                    <a:pt x="697" y="855"/>
                  </a:lnTo>
                  <a:lnTo>
                    <a:pt x="699" y="853"/>
                  </a:lnTo>
                  <a:lnTo>
                    <a:pt x="697" y="850"/>
                  </a:lnTo>
                  <a:lnTo>
                    <a:pt x="696" y="847"/>
                  </a:lnTo>
                  <a:lnTo>
                    <a:pt x="699" y="847"/>
                  </a:lnTo>
                  <a:lnTo>
                    <a:pt x="700" y="847"/>
                  </a:lnTo>
                  <a:lnTo>
                    <a:pt x="701" y="852"/>
                  </a:lnTo>
                  <a:lnTo>
                    <a:pt x="701" y="854"/>
                  </a:lnTo>
                  <a:lnTo>
                    <a:pt x="702" y="855"/>
                  </a:lnTo>
                  <a:lnTo>
                    <a:pt x="703" y="854"/>
                  </a:lnTo>
                  <a:lnTo>
                    <a:pt x="703" y="849"/>
                  </a:lnTo>
                  <a:lnTo>
                    <a:pt x="703" y="847"/>
                  </a:lnTo>
                  <a:lnTo>
                    <a:pt x="705" y="847"/>
                  </a:lnTo>
                  <a:lnTo>
                    <a:pt x="706" y="848"/>
                  </a:lnTo>
                  <a:lnTo>
                    <a:pt x="706" y="853"/>
                  </a:lnTo>
                  <a:lnTo>
                    <a:pt x="705" y="856"/>
                  </a:lnTo>
                  <a:lnTo>
                    <a:pt x="706" y="860"/>
                  </a:lnTo>
                  <a:lnTo>
                    <a:pt x="707" y="856"/>
                  </a:lnTo>
                  <a:lnTo>
                    <a:pt x="707" y="854"/>
                  </a:lnTo>
                  <a:lnTo>
                    <a:pt x="708" y="852"/>
                  </a:lnTo>
                  <a:lnTo>
                    <a:pt x="709" y="849"/>
                  </a:lnTo>
                  <a:lnTo>
                    <a:pt x="708" y="847"/>
                  </a:lnTo>
                  <a:lnTo>
                    <a:pt x="706" y="844"/>
                  </a:lnTo>
                  <a:lnTo>
                    <a:pt x="708" y="842"/>
                  </a:lnTo>
                  <a:lnTo>
                    <a:pt x="708" y="839"/>
                  </a:lnTo>
                  <a:lnTo>
                    <a:pt x="709" y="837"/>
                  </a:lnTo>
                  <a:lnTo>
                    <a:pt x="712" y="839"/>
                  </a:lnTo>
                  <a:lnTo>
                    <a:pt x="713" y="841"/>
                  </a:lnTo>
                  <a:lnTo>
                    <a:pt x="713" y="838"/>
                  </a:lnTo>
                  <a:lnTo>
                    <a:pt x="713" y="837"/>
                  </a:lnTo>
                  <a:lnTo>
                    <a:pt x="714" y="835"/>
                  </a:lnTo>
                  <a:lnTo>
                    <a:pt x="714" y="832"/>
                  </a:lnTo>
                  <a:lnTo>
                    <a:pt x="714" y="830"/>
                  </a:lnTo>
                  <a:lnTo>
                    <a:pt x="712" y="826"/>
                  </a:lnTo>
                  <a:lnTo>
                    <a:pt x="713" y="825"/>
                  </a:lnTo>
                  <a:lnTo>
                    <a:pt x="714" y="825"/>
                  </a:lnTo>
                  <a:lnTo>
                    <a:pt x="718" y="826"/>
                  </a:lnTo>
                  <a:lnTo>
                    <a:pt x="718" y="830"/>
                  </a:lnTo>
                  <a:lnTo>
                    <a:pt x="717" y="832"/>
                  </a:lnTo>
                  <a:lnTo>
                    <a:pt x="717" y="836"/>
                  </a:lnTo>
                  <a:lnTo>
                    <a:pt x="717" y="841"/>
                  </a:lnTo>
                  <a:lnTo>
                    <a:pt x="717" y="843"/>
                  </a:lnTo>
                  <a:lnTo>
                    <a:pt x="718" y="843"/>
                  </a:lnTo>
                  <a:lnTo>
                    <a:pt x="718" y="839"/>
                  </a:lnTo>
                  <a:lnTo>
                    <a:pt x="718" y="833"/>
                  </a:lnTo>
                  <a:lnTo>
                    <a:pt x="719" y="837"/>
                  </a:lnTo>
                  <a:lnTo>
                    <a:pt x="719" y="839"/>
                  </a:lnTo>
                  <a:lnTo>
                    <a:pt x="720" y="839"/>
                  </a:lnTo>
                  <a:lnTo>
                    <a:pt x="721" y="838"/>
                  </a:lnTo>
                  <a:lnTo>
                    <a:pt x="721" y="835"/>
                  </a:lnTo>
                  <a:lnTo>
                    <a:pt x="721" y="831"/>
                  </a:lnTo>
                  <a:lnTo>
                    <a:pt x="721" y="827"/>
                  </a:lnTo>
                  <a:lnTo>
                    <a:pt x="723" y="829"/>
                  </a:lnTo>
                  <a:lnTo>
                    <a:pt x="723" y="832"/>
                  </a:lnTo>
                  <a:lnTo>
                    <a:pt x="723" y="839"/>
                  </a:lnTo>
                  <a:lnTo>
                    <a:pt x="724" y="842"/>
                  </a:lnTo>
                  <a:lnTo>
                    <a:pt x="725" y="844"/>
                  </a:lnTo>
                  <a:lnTo>
                    <a:pt x="725" y="841"/>
                  </a:lnTo>
                  <a:lnTo>
                    <a:pt x="725" y="835"/>
                  </a:lnTo>
                  <a:lnTo>
                    <a:pt x="725" y="833"/>
                  </a:lnTo>
                  <a:lnTo>
                    <a:pt x="726" y="835"/>
                  </a:lnTo>
                  <a:lnTo>
                    <a:pt x="726" y="839"/>
                  </a:lnTo>
                  <a:lnTo>
                    <a:pt x="726" y="844"/>
                  </a:lnTo>
                  <a:lnTo>
                    <a:pt x="727" y="844"/>
                  </a:lnTo>
                  <a:lnTo>
                    <a:pt x="729" y="842"/>
                  </a:lnTo>
                  <a:lnTo>
                    <a:pt x="729" y="838"/>
                  </a:lnTo>
                  <a:lnTo>
                    <a:pt x="730" y="835"/>
                  </a:lnTo>
                  <a:lnTo>
                    <a:pt x="730" y="833"/>
                  </a:lnTo>
                  <a:lnTo>
                    <a:pt x="731" y="836"/>
                  </a:lnTo>
                  <a:lnTo>
                    <a:pt x="732" y="833"/>
                  </a:lnTo>
                  <a:lnTo>
                    <a:pt x="733" y="833"/>
                  </a:lnTo>
                  <a:lnTo>
                    <a:pt x="735" y="836"/>
                  </a:lnTo>
                  <a:lnTo>
                    <a:pt x="736" y="838"/>
                  </a:lnTo>
                  <a:lnTo>
                    <a:pt x="737" y="839"/>
                  </a:lnTo>
                  <a:lnTo>
                    <a:pt x="738" y="841"/>
                  </a:lnTo>
                  <a:lnTo>
                    <a:pt x="738" y="838"/>
                  </a:lnTo>
                  <a:lnTo>
                    <a:pt x="738" y="836"/>
                  </a:lnTo>
                  <a:lnTo>
                    <a:pt x="741" y="837"/>
                  </a:lnTo>
                  <a:lnTo>
                    <a:pt x="743" y="837"/>
                  </a:lnTo>
                  <a:lnTo>
                    <a:pt x="742" y="835"/>
                  </a:lnTo>
                  <a:lnTo>
                    <a:pt x="739" y="833"/>
                  </a:lnTo>
                  <a:lnTo>
                    <a:pt x="739" y="831"/>
                  </a:lnTo>
                  <a:lnTo>
                    <a:pt x="737" y="831"/>
                  </a:lnTo>
                  <a:lnTo>
                    <a:pt x="735" y="832"/>
                  </a:lnTo>
                  <a:lnTo>
                    <a:pt x="733" y="830"/>
                  </a:lnTo>
                  <a:lnTo>
                    <a:pt x="731" y="831"/>
                  </a:lnTo>
                  <a:lnTo>
                    <a:pt x="730" y="829"/>
                  </a:lnTo>
                  <a:lnTo>
                    <a:pt x="725" y="827"/>
                  </a:lnTo>
                  <a:lnTo>
                    <a:pt x="721" y="825"/>
                  </a:lnTo>
                  <a:lnTo>
                    <a:pt x="719" y="823"/>
                  </a:lnTo>
                  <a:lnTo>
                    <a:pt x="718" y="824"/>
                  </a:lnTo>
                  <a:lnTo>
                    <a:pt x="713" y="823"/>
                  </a:lnTo>
                  <a:lnTo>
                    <a:pt x="712" y="823"/>
                  </a:lnTo>
                  <a:lnTo>
                    <a:pt x="708" y="823"/>
                  </a:lnTo>
                  <a:lnTo>
                    <a:pt x="703" y="823"/>
                  </a:lnTo>
                  <a:lnTo>
                    <a:pt x="700" y="823"/>
                  </a:lnTo>
                  <a:lnTo>
                    <a:pt x="699" y="824"/>
                  </a:lnTo>
                  <a:lnTo>
                    <a:pt x="695" y="825"/>
                  </a:lnTo>
                  <a:lnTo>
                    <a:pt x="693" y="825"/>
                  </a:lnTo>
                  <a:lnTo>
                    <a:pt x="691" y="826"/>
                  </a:lnTo>
                  <a:lnTo>
                    <a:pt x="688" y="827"/>
                  </a:lnTo>
                  <a:lnTo>
                    <a:pt x="684" y="827"/>
                  </a:lnTo>
                  <a:lnTo>
                    <a:pt x="679" y="827"/>
                  </a:lnTo>
                  <a:lnTo>
                    <a:pt x="673" y="827"/>
                  </a:lnTo>
                  <a:lnTo>
                    <a:pt x="674" y="830"/>
                  </a:lnTo>
                  <a:lnTo>
                    <a:pt x="672" y="829"/>
                  </a:lnTo>
                  <a:lnTo>
                    <a:pt x="671" y="827"/>
                  </a:lnTo>
                  <a:lnTo>
                    <a:pt x="670" y="829"/>
                  </a:lnTo>
                  <a:lnTo>
                    <a:pt x="667" y="830"/>
                  </a:lnTo>
                  <a:lnTo>
                    <a:pt x="665" y="830"/>
                  </a:lnTo>
                  <a:lnTo>
                    <a:pt x="664" y="831"/>
                  </a:lnTo>
                  <a:lnTo>
                    <a:pt x="662" y="830"/>
                  </a:lnTo>
                  <a:lnTo>
                    <a:pt x="660" y="830"/>
                  </a:lnTo>
                  <a:lnTo>
                    <a:pt x="654" y="830"/>
                  </a:lnTo>
                  <a:lnTo>
                    <a:pt x="649" y="829"/>
                  </a:lnTo>
                  <a:lnTo>
                    <a:pt x="647" y="829"/>
                  </a:lnTo>
                  <a:lnTo>
                    <a:pt x="646" y="829"/>
                  </a:lnTo>
                  <a:lnTo>
                    <a:pt x="643" y="829"/>
                  </a:lnTo>
                  <a:lnTo>
                    <a:pt x="643" y="831"/>
                  </a:lnTo>
                  <a:lnTo>
                    <a:pt x="642" y="831"/>
                  </a:lnTo>
                  <a:lnTo>
                    <a:pt x="640" y="830"/>
                  </a:lnTo>
                  <a:lnTo>
                    <a:pt x="638" y="830"/>
                  </a:lnTo>
                  <a:lnTo>
                    <a:pt x="637" y="829"/>
                  </a:lnTo>
                  <a:lnTo>
                    <a:pt x="636" y="827"/>
                  </a:lnTo>
                  <a:lnTo>
                    <a:pt x="632" y="826"/>
                  </a:lnTo>
                  <a:lnTo>
                    <a:pt x="630" y="825"/>
                  </a:lnTo>
                  <a:lnTo>
                    <a:pt x="625" y="825"/>
                  </a:lnTo>
                  <a:lnTo>
                    <a:pt x="620" y="821"/>
                  </a:lnTo>
                  <a:lnTo>
                    <a:pt x="615" y="819"/>
                  </a:lnTo>
                  <a:lnTo>
                    <a:pt x="615" y="818"/>
                  </a:lnTo>
                  <a:lnTo>
                    <a:pt x="619" y="819"/>
                  </a:lnTo>
                  <a:lnTo>
                    <a:pt x="623" y="821"/>
                  </a:lnTo>
                  <a:lnTo>
                    <a:pt x="623" y="820"/>
                  </a:lnTo>
                  <a:lnTo>
                    <a:pt x="618" y="817"/>
                  </a:lnTo>
                  <a:lnTo>
                    <a:pt x="619" y="815"/>
                  </a:lnTo>
                  <a:lnTo>
                    <a:pt x="623" y="815"/>
                  </a:lnTo>
                  <a:lnTo>
                    <a:pt x="625" y="815"/>
                  </a:lnTo>
                  <a:lnTo>
                    <a:pt x="619" y="813"/>
                  </a:lnTo>
                  <a:lnTo>
                    <a:pt x="617" y="813"/>
                  </a:lnTo>
                  <a:lnTo>
                    <a:pt x="617" y="812"/>
                  </a:lnTo>
                  <a:lnTo>
                    <a:pt x="615" y="811"/>
                  </a:lnTo>
                  <a:lnTo>
                    <a:pt x="613" y="811"/>
                  </a:lnTo>
                  <a:lnTo>
                    <a:pt x="612" y="811"/>
                  </a:lnTo>
                  <a:lnTo>
                    <a:pt x="612" y="812"/>
                  </a:lnTo>
                  <a:lnTo>
                    <a:pt x="613" y="813"/>
                  </a:lnTo>
                  <a:lnTo>
                    <a:pt x="612" y="814"/>
                  </a:lnTo>
                  <a:lnTo>
                    <a:pt x="608" y="817"/>
                  </a:lnTo>
                  <a:lnTo>
                    <a:pt x="607" y="818"/>
                  </a:lnTo>
                  <a:lnTo>
                    <a:pt x="603" y="818"/>
                  </a:lnTo>
                  <a:lnTo>
                    <a:pt x="600" y="815"/>
                  </a:lnTo>
                  <a:lnTo>
                    <a:pt x="593" y="813"/>
                  </a:lnTo>
                  <a:lnTo>
                    <a:pt x="591" y="813"/>
                  </a:lnTo>
                  <a:lnTo>
                    <a:pt x="590" y="814"/>
                  </a:lnTo>
                  <a:lnTo>
                    <a:pt x="589" y="814"/>
                  </a:lnTo>
                  <a:lnTo>
                    <a:pt x="585" y="815"/>
                  </a:lnTo>
                  <a:lnTo>
                    <a:pt x="583" y="814"/>
                  </a:lnTo>
                  <a:lnTo>
                    <a:pt x="581" y="813"/>
                  </a:lnTo>
                  <a:lnTo>
                    <a:pt x="579" y="811"/>
                  </a:lnTo>
                  <a:lnTo>
                    <a:pt x="577" y="811"/>
                  </a:lnTo>
                  <a:lnTo>
                    <a:pt x="573" y="811"/>
                  </a:lnTo>
                  <a:lnTo>
                    <a:pt x="573" y="809"/>
                  </a:lnTo>
                  <a:lnTo>
                    <a:pt x="570" y="809"/>
                  </a:lnTo>
                  <a:lnTo>
                    <a:pt x="569" y="808"/>
                  </a:lnTo>
                  <a:lnTo>
                    <a:pt x="565" y="799"/>
                  </a:lnTo>
                  <a:lnTo>
                    <a:pt x="562" y="795"/>
                  </a:lnTo>
                  <a:lnTo>
                    <a:pt x="562" y="793"/>
                  </a:lnTo>
                  <a:lnTo>
                    <a:pt x="564" y="789"/>
                  </a:lnTo>
                  <a:lnTo>
                    <a:pt x="565" y="784"/>
                  </a:lnTo>
                  <a:lnTo>
                    <a:pt x="566" y="784"/>
                  </a:lnTo>
                  <a:lnTo>
                    <a:pt x="569" y="787"/>
                  </a:lnTo>
                  <a:lnTo>
                    <a:pt x="571" y="787"/>
                  </a:lnTo>
                  <a:lnTo>
                    <a:pt x="573" y="789"/>
                  </a:lnTo>
                  <a:lnTo>
                    <a:pt x="575" y="790"/>
                  </a:lnTo>
                  <a:lnTo>
                    <a:pt x="575" y="793"/>
                  </a:lnTo>
                  <a:lnTo>
                    <a:pt x="575" y="796"/>
                  </a:lnTo>
                  <a:lnTo>
                    <a:pt x="576" y="800"/>
                  </a:lnTo>
                  <a:lnTo>
                    <a:pt x="578" y="800"/>
                  </a:lnTo>
                  <a:lnTo>
                    <a:pt x="579" y="797"/>
                  </a:lnTo>
                  <a:lnTo>
                    <a:pt x="578" y="795"/>
                  </a:lnTo>
                  <a:lnTo>
                    <a:pt x="578" y="793"/>
                  </a:lnTo>
                  <a:lnTo>
                    <a:pt x="581" y="790"/>
                  </a:lnTo>
                  <a:lnTo>
                    <a:pt x="582" y="793"/>
                  </a:lnTo>
                  <a:lnTo>
                    <a:pt x="582" y="796"/>
                  </a:lnTo>
                  <a:lnTo>
                    <a:pt x="583" y="799"/>
                  </a:lnTo>
                  <a:lnTo>
                    <a:pt x="584" y="797"/>
                  </a:lnTo>
                  <a:lnTo>
                    <a:pt x="585" y="796"/>
                  </a:lnTo>
                  <a:lnTo>
                    <a:pt x="584" y="794"/>
                  </a:lnTo>
                  <a:lnTo>
                    <a:pt x="585" y="791"/>
                  </a:lnTo>
                  <a:lnTo>
                    <a:pt x="585" y="790"/>
                  </a:lnTo>
                  <a:lnTo>
                    <a:pt x="584" y="789"/>
                  </a:lnTo>
                  <a:lnTo>
                    <a:pt x="585" y="787"/>
                  </a:lnTo>
                  <a:lnTo>
                    <a:pt x="587" y="789"/>
                  </a:lnTo>
                  <a:lnTo>
                    <a:pt x="587" y="787"/>
                  </a:lnTo>
                  <a:lnTo>
                    <a:pt x="588" y="787"/>
                  </a:lnTo>
                  <a:lnTo>
                    <a:pt x="589" y="788"/>
                  </a:lnTo>
                  <a:lnTo>
                    <a:pt x="589" y="789"/>
                  </a:lnTo>
                  <a:lnTo>
                    <a:pt x="591" y="787"/>
                  </a:lnTo>
                  <a:lnTo>
                    <a:pt x="590" y="785"/>
                  </a:lnTo>
                  <a:lnTo>
                    <a:pt x="591" y="784"/>
                  </a:lnTo>
                  <a:lnTo>
                    <a:pt x="591" y="788"/>
                  </a:lnTo>
                  <a:lnTo>
                    <a:pt x="593" y="789"/>
                  </a:lnTo>
                  <a:lnTo>
                    <a:pt x="591" y="794"/>
                  </a:lnTo>
                  <a:lnTo>
                    <a:pt x="593" y="795"/>
                  </a:lnTo>
                  <a:lnTo>
                    <a:pt x="593" y="793"/>
                  </a:lnTo>
                  <a:lnTo>
                    <a:pt x="594" y="791"/>
                  </a:lnTo>
                  <a:lnTo>
                    <a:pt x="595" y="789"/>
                  </a:lnTo>
                  <a:lnTo>
                    <a:pt x="594" y="787"/>
                  </a:lnTo>
                  <a:lnTo>
                    <a:pt x="594" y="783"/>
                  </a:lnTo>
                  <a:lnTo>
                    <a:pt x="595" y="781"/>
                  </a:lnTo>
                  <a:lnTo>
                    <a:pt x="595" y="783"/>
                  </a:lnTo>
                  <a:lnTo>
                    <a:pt x="596" y="784"/>
                  </a:lnTo>
                  <a:lnTo>
                    <a:pt x="599" y="784"/>
                  </a:lnTo>
                  <a:lnTo>
                    <a:pt x="599" y="787"/>
                  </a:lnTo>
                  <a:lnTo>
                    <a:pt x="599" y="793"/>
                  </a:lnTo>
                  <a:lnTo>
                    <a:pt x="599" y="797"/>
                  </a:lnTo>
                  <a:lnTo>
                    <a:pt x="601" y="793"/>
                  </a:lnTo>
                  <a:lnTo>
                    <a:pt x="601" y="789"/>
                  </a:lnTo>
                  <a:lnTo>
                    <a:pt x="601" y="784"/>
                  </a:lnTo>
                  <a:lnTo>
                    <a:pt x="600" y="781"/>
                  </a:lnTo>
                  <a:lnTo>
                    <a:pt x="601" y="781"/>
                  </a:lnTo>
                  <a:lnTo>
                    <a:pt x="602" y="787"/>
                  </a:lnTo>
                  <a:lnTo>
                    <a:pt x="603" y="788"/>
                  </a:lnTo>
                  <a:lnTo>
                    <a:pt x="603" y="785"/>
                  </a:lnTo>
                  <a:lnTo>
                    <a:pt x="605" y="785"/>
                  </a:lnTo>
                  <a:lnTo>
                    <a:pt x="605" y="788"/>
                  </a:lnTo>
                  <a:lnTo>
                    <a:pt x="607" y="794"/>
                  </a:lnTo>
                  <a:lnTo>
                    <a:pt x="607" y="791"/>
                  </a:lnTo>
                  <a:lnTo>
                    <a:pt x="607" y="788"/>
                  </a:lnTo>
                  <a:lnTo>
                    <a:pt x="607" y="784"/>
                  </a:lnTo>
                  <a:lnTo>
                    <a:pt x="608" y="775"/>
                  </a:lnTo>
                  <a:lnTo>
                    <a:pt x="609" y="775"/>
                  </a:lnTo>
                  <a:lnTo>
                    <a:pt x="611" y="778"/>
                  </a:lnTo>
                  <a:lnTo>
                    <a:pt x="611" y="782"/>
                  </a:lnTo>
                  <a:lnTo>
                    <a:pt x="611" y="785"/>
                  </a:lnTo>
                  <a:lnTo>
                    <a:pt x="609" y="791"/>
                  </a:lnTo>
                  <a:lnTo>
                    <a:pt x="611" y="796"/>
                  </a:lnTo>
                  <a:lnTo>
                    <a:pt x="612" y="794"/>
                  </a:lnTo>
                  <a:lnTo>
                    <a:pt x="612" y="791"/>
                  </a:lnTo>
                  <a:lnTo>
                    <a:pt x="613" y="790"/>
                  </a:lnTo>
                  <a:lnTo>
                    <a:pt x="614" y="791"/>
                  </a:lnTo>
                  <a:lnTo>
                    <a:pt x="615" y="789"/>
                  </a:lnTo>
                  <a:lnTo>
                    <a:pt x="615" y="785"/>
                  </a:lnTo>
                  <a:lnTo>
                    <a:pt x="615" y="782"/>
                  </a:lnTo>
                  <a:lnTo>
                    <a:pt x="614" y="778"/>
                  </a:lnTo>
                  <a:lnTo>
                    <a:pt x="615" y="778"/>
                  </a:lnTo>
                  <a:lnTo>
                    <a:pt x="617" y="782"/>
                  </a:lnTo>
                  <a:lnTo>
                    <a:pt x="617" y="788"/>
                  </a:lnTo>
                  <a:lnTo>
                    <a:pt x="618" y="790"/>
                  </a:lnTo>
                  <a:lnTo>
                    <a:pt x="619" y="791"/>
                  </a:lnTo>
                  <a:lnTo>
                    <a:pt x="619" y="788"/>
                  </a:lnTo>
                  <a:lnTo>
                    <a:pt x="619" y="787"/>
                  </a:lnTo>
                  <a:lnTo>
                    <a:pt x="620" y="790"/>
                  </a:lnTo>
                  <a:lnTo>
                    <a:pt x="621" y="794"/>
                  </a:lnTo>
                  <a:lnTo>
                    <a:pt x="620" y="796"/>
                  </a:lnTo>
                  <a:lnTo>
                    <a:pt x="621" y="799"/>
                  </a:lnTo>
                  <a:lnTo>
                    <a:pt x="623" y="795"/>
                  </a:lnTo>
                  <a:lnTo>
                    <a:pt x="623" y="797"/>
                  </a:lnTo>
                  <a:lnTo>
                    <a:pt x="623" y="800"/>
                  </a:lnTo>
                  <a:lnTo>
                    <a:pt x="624" y="801"/>
                  </a:lnTo>
                  <a:lnTo>
                    <a:pt x="626" y="802"/>
                  </a:lnTo>
                  <a:lnTo>
                    <a:pt x="625" y="796"/>
                  </a:lnTo>
                  <a:lnTo>
                    <a:pt x="625" y="793"/>
                  </a:lnTo>
                  <a:lnTo>
                    <a:pt x="625" y="789"/>
                  </a:lnTo>
                  <a:lnTo>
                    <a:pt x="628" y="787"/>
                  </a:lnTo>
                  <a:lnTo>
                    <a:pt x="629" y="788"/>
                  </a:lnTo>
                  <a:lnTo>
                    <a:pt x="629" y="790"/>
                  </a:lnTo>
                  <a:lnTo>
                    <a:pt x="628" y="794"/>
                  </a:lnTo>
                  <a:lnTo>
                    <a:pt x="628" y="797"/>
                  </a:lnTo>
                  <a:lnTo>
                    <a:pt x="628" y="800"/>
                  </a:lnTo>
                  <a:lnTo>
                    <a:pt x="628" y="801"/>
                  </a:lnTo>
                  <a:lnTo>
                    <a:pt x="629" y="801"/>
                  </a:lnTo>
                  <a:lnTo>
                    <a:pt x="629" y="799"/>
                  </a:lnTo>
                  <a:lnTo>
                    <a:pt x="630" y="797"/>
                  </a:lnTo>
                  <a:lnTo>
                    <a:pt x="631" y="794"/>
                  </a:lnTo>
                  <a:lnTo>
                    <a:pt x="631" y="791"/>
                  </a:lnTo>
                  <a:lnTo>
                    <a:pt x="632" y="790"/>
                  </a:lnTo>
                  <a:lnTo>
                    <a:pt x="636" y="793"/>
                  </a:lnTo>
                  <a:lnTo>
                    <a:pt x="636" y="796"/>
                  </a:lnTo>
                  <a:lnTo>
                    <a:pt x="636" y="800"/>
                  </a:lnTo>
                  <a:lnTo>
                    <a:pt x="637" y="799"/>
                  </a:lnTo>
                  <a:lnTo>
                    <a:pt x="638" y="794"/>
                  </a:lnTo>
                  <a:lnTo>
                    <a:pt x="646" y="796"/>
                  </a:lnTo>
                  <a:lnTo>
                    <a:pt x="644" y="794"/>
                  </a:lnTo>
                  <a:lnTo>
                    <a:pt x="641" y="793"/>
                  </a:lnTo>
                  <a:lnTo>
                    <a:pt x="640" y="790"/>
                  </a:lnTo>
                  <a:lnTo>
                    <a:pt x="638" y="789"/>
                  </a:lnTo>
                  <a:lnTo>
                    <a:pt x="636" y="788"/>
                  </a:lnTo>
                  <a:lnTo>
                    <a:pt x="631" y="787"/>
                  </a:lnTo>
                  <a:lnTo>
                    <a:pt x="629" y="783"/>
                  </a:lnTo>
                  <a:lnTo>
                    <a:pt x="626" y="782"/>
                  </a:lnTo>
                  <a:lnTo>
                    <a:pt x="624" y="778"/>
                  </a:lnTo>
                  <a:lnTo>
                    <a:pt x="620" y="777"/>
                  </a:lnTo>
                  <a:lnTo>
                    <a:pt x="607" y="771"/>
                  </a:lnTo>
                  <a:lnTo>
                    <a:pt x="606" y="769"/>
                  </a:lnTo>
                  <a:lnTo>
                    <a:pt x="608" y="767"/>
                  </a:lnTo>
                  <a:lnTo>
                    <a:pt x="609" y="769"/>
                  </a:lnTo>
                  <a:lnTo>
                    <a:pt x="612" y="771"/>
                  </a:lnTo>
                  <a:lnTo>
                    <a:pt x="612" y="770"/>
                  </a:lnTo>
                  <a:lnTo>
                    <a:pt x="614" y="770"/>
                  </a:lnTo>
                  <a:lnTo>
                    <a:pt x="617" y="772"/>
                  </a:lnTo>
                  <a:lnTo>
                    <a:pt x="619" y="773"/>
                  </a:lnTo>
                  <a:lnTo>
                    <a:pt x="619" y="770"/>
                  </a:lnTo>
                  <a:lnTo>
                    <a:pt x="620" y="767"/>
                  </a:lnTo>
                  <a:lnTo>
                    <a:pt x="620" y="766"/>
                  </a:lnTo>
                  <a:lnTo>
                    <a:pt x="621" y="766"/>
                  </a:lnTo>
                  <a:lnTo>
                    <a:pt x="619" y="763"/>
                  </a:lnTo>
                  <a:lnTo>
                    <a:pt x="618" y="760"/>
                  </a:lnTo>
                  <a:lnTo>
                    <a:pt x="617" y="758"/>
                  </a:lnTo>
                  <a:lnTo>
                    <a:pt x="617" y="757"/>
                  </a:lnTo>
                  <a:lnTo>
                    <a:pt x="618" y="753"/>
                  </a:lnTo>
                  <a:lnTo>
                    <a:pt x="619" y="751"/>
                  </a:lnTo>
                  <a:lnTo>
                    <a:pt x="620" y="751"/>
                  </a:lnTo>
                  <a:lnTo>
                    <a:pt x="620" y="754"/>
                  </a:lnTo>
                  <a:lnTo>
                    <a:pt x="620" y="758"/>
                  </a:lnTo>
                  <a:lnTo>
                    <a:pt x="623" y="759"/>
                  </a:lnTo>
                  <a:lnTo>
                    <a:pt x="623" y="758"/>
                  </a:lnTo>
                  <a:lnTo>
                    <a:pt x="623" y="757"/>
                  </a:lnTo>
                  <a:lnTo>
                    <a:pt x="625" y="757"/>
                  </a:lnTo>
                  <a:lnTo>
                    <a:pt x="626" y="758"/>
                  </a:lnTo>
                  <a:lnTo>
                    <a:pt x="629" y="757"/>
                  </a:lnTo>
                  <a:lnTo>
                    <a:pt x="629" y="758"/>
                  </a:lnTo>
                  <a:lnTo>
                    <a:pt x="630" y="758"/>
                  </a:lnTo>
                  <a:lnTo>
                    <a:pt x="632" y="758"/>
                  </a:lnTo>
                  <a:lnTo>
                    <a:pt x="631" y="755"/>
                  </a:lnTo>
                  <a:lnTo>
                    <a:pt x="629" y="753"/>
                  </a:lnTo>
                  <a:lnTo>
                    <a:pt x="628" y="751"/>
                  </a:lnTo>
                  <a:lnTo>
                    <a:pt x="628" y="748"/>
                  </a:lnTo>
                  <a:lnTo>
                    <a:pt x="629" y="745"/>
                  </a:lnTo>
                  <a:lnTo>
                    <a:pt x="630" y="746"/>
                  </a:lnTo>
                  <a:lnTo>
                    <a:pt x="631" y="748"/>
                  </a:lnTo>
                  <a:lnTo>
                    <a:pt x="632" y="752"/>
                  </a:lnTo>
                  <a:lnTo>
                    <a:pt x="632" y="753"/>
                  </a:lnTo>
                  <a:lnTo>
                    <a:pt x="636" y="752"/>
                  </a:lnTo>
                  <a:lnTo>
                    <a:pt x="637" y="751"/>
                  </a:lnTo>
                  <a:lnTo>
                    <a:pt x="637" y="754"/>
                  </a:lnTo>
                  <a:lnTo>
                    <a:pt x="638" y="760"/>
                  </a:lnTo>
                  <a:lnTo>
                    <a:pt x="640" y="763"/>
                  </a:lnTo>
                  <a:lnTo>
                    <a:pt x="640" y="759"/>
                  </a:lnTo>
                  <a:lnTo>
                    <a:pt x="641" y="755"/>
                  </a:lnTo>
                  <a:lnTo>
                    <a:pt x="642" y="753"/>
                  </a:lnTo>
                  <a:lnTo>
                    <a:pt x="642" y="748"/>
                  </a:lnTo>
                  <a:lnTo>
                    <a:pt x="643" y="745"/>
                  </a:lnTo>
                  <a:lnTo>
                    <a:pt x="646" y="745"/>
                  </a:lnTo>
                  <a:lnTo>
                    <a:pt x="649" y="746"/>
                  </a:lnTo>
                  <a:lnTo>
                    <a:pt x="649" y="752"/>
                  </a:lnTo>
                  <a:lnTo>
                    <a:pt x="649" y="759"/>
                  </a:lnTo>
                  <a:lnTo>
                    <a:pt x="650" y="758"/>
                  </a:lnTo>
                  <a:lnTo>
                    <a:pt x="652" y="752"/>
                  </a:lnTo>
                  <a:lnTo>
                    <a:pt x="652" y="746"/>
                  </a:lnTo>
                  <a:lnTo>
                    <a:pt x="652" y="745"/>
                  </a:lnTo>
                  <a:lnTo>
                    <a:pt x="653" y="746"/>
                  </a:lnTo>
                  <a:lnTo>
                    <a:pt x="653" y="751"/>
                  </a:lnTo>
                  <a:lnTo>
                    <a:pt x="654" y="751"/>
                  </a:lnTo>
                  <a:lnTo>
                    <a:pt x="654" y="754"/>
                  </a:lnTo>
                  <a:lnTo>
                    <a:pt x="655" y="753"/>
                  </a:lnTo>
                  <a:lnTo>
                    <a:pt x="656" y="751"/>
                  </a:lnTo>
                  <a:lnTo>
                    <a:pt x="658" y="746"/>
                  </a:lnTo>
                  <a:lnTo>
                    <a:pt x="659" y="748"/>
                  </a:lnTo>
                  <a:lnTo>
                    <a:pt x="660" y="752"/>
                  </a:lnTo>
                  <a:lnTo>
                    <a:pt x="662" y="751"/>
                  </a:lnTo>
                  <a:lnTo>
                    <a:pt x="664" y="749"/>
                  </a:lnTo>
                  <a:lnTo>
                    <a:pt x="665" y="747"/>
                  </a:lnTo>
                  <a:lnTo>
                    <a:pt x="665" y="746"/>
                  </a:lnTo>
                  <a:lnTo>
                    <a:pt x="668" y="749"/>
                  </a:lnTo>
                  <a:lnTo>
                    <a:pt x="668" y="748"/>
                  </a:lnTo>
                  <a:lnTo>
                    <a:pt x="670" y="748"/>
                  </a:lnTo>
                  <a:lnTo>
                    <a:pt x="672" y="749"/>
                  </a:lnTo>
                  <a:lnTo>
                    <a:pt x="673" y="748"/>
                  </a:lnTo>
                  <a:lnTo>
                    <a:pt x="673" y="751"/>
                  </a:lnTo>
                  <a:lnTo>
                    <a:pt x="676" y="747"/>
                  </a:lnTo>
                  <a:lnTo>
                    <a:pt x="677" y="748"/>
                  </a:lnTo>
                  <a:lnTo>
                    <a:pt x="678" y="745"/>
                  </a:lnTo>
                  <a:lnTo>
                    <a:pt x="677" y="741"/>
                  </a:lnTo>
                  <a:lnTo>
                    <a:pt x="678" y="740"/>
                  </a:lnTo>
                  <a:lnTo>
                    <a:pt x="678" y="737"/>
                  </a:lnTo>
                  <a:lnTo>
                    <a:pt x="679" y="737"/>
                  </a:lnTo>
                  <a:lnTo>
                    <a:pt x="680" y="740"/>
                  </a:lnTo>
                  <a:lnTo>
                    <a:pt x="679" y="742"/>
                  </a:lnTo>
                  <a:lnTo>
                    <a:pt x="680" y="745"/>
                  </a:lnTo>
                  <a:lnTo>
                    <a:pt x="679" y="748"/>
                  </a:lnTo>
                  <a:lnTo>
                    <a:pt x="679" y="753"/>
                  </a:lnTo>
                  <a:lnTo>
                    <a:pt x="682" y="754"/>
                  </a:lnTo>
                  <a:lnTo>
                    <a:pt x="682" y="753"/>
                  </a:lnTo>
                  <a:lnTo>
                    <a:pt x="683" y="747"/>
                  </a:lnTo>
                  <a:lnTo>
                    <a:pt x="683" y="745"/>
                  </a:lnTo>
                  <a:lnTo>
                    <a:pt x="684" y="742"/>
                  </a:lnTo>
                  <a:lnTo>
                    <a:pt x="685" y="745"/>
                  </a:lnTo>
                  <a:lnTo>
                    <a:pt x="684" y="749"/>
                  </a:lnTo>
                  <a:lnTo>
                    <a:pt x="684" y="753"/>
                  </a:lnTo>
                  <a:lnTo>
                    <a:pt x="685" y="754"/>
                  </a:lnTo>
                  <a:lnTo>
                    <a:pt x="685" y="757"/>
                  </a:lnTo>
                  <a:lnTo>
                    <a:pt x="686" y="755"/>
                  </a:lnTo>
                  <a:lnTo>
                    <a:pt x="688" y="754"/>
                  </a:lnTo>
                  <a:lnTo>
                    <a:pt x="688" y="751"/>
                  </a:lnTo>
                  <a:lnTo>
                    <a:pt x="688" y="746"/>
                  </a:lnTo>
                  <a:lnTo>
                    <a:pt x="688" y="745"/>
                  </a:lnTo>
                  <a:lnTo>
                    <a:pt x="688" y="743"/>
                  </a:lnTo>
                  <a:lnTo>
                    <a:pt x="688" y="745"/>
                  </a:lnTo>
                  <a:lnTo>
                    <a:pt x="690" y="749"/>
                  </a:lnTo>
                  <a:lnTo>
                    <a:pt x="690" y="751"/>
                  </a:lnTo>
                  <a:lnTo>
                    <a:pt x="690" y="753"/>
                  </a:lnTo>
                  <a:lnTo>
                    <a:pt x="691" y="752"/>
                  </a:lnTo>
                  <a:lnTo>
                    <a:pt x="691" y="753"/>
                  </a:lnTo>
                  <a:lnTo>
                    <a:pt x="691" y="759"/>
                  </a:lnTo>
                  <a:lnTo>
                    <a:pt x="691" y="763"/>
                  </a:lnTo>
                  <a:lnTo>
                    <a:pt x="693" y="761"/>
                  </a:lnTo>
                  <a:lnTo>
                    <a:pt x="693" y="760"/>
                  </a:lnTo>
                  <a:lnTo>
                    <a:pt x="694" y="760"/>
                  </a:lnTo>
                  <a:lnTo>
                    <a:pt x="695" y="761"/>
                  </a:lnTo>
                  <a:lnTo>
                    <a:pt x="696" y="759"/>
                  </a:lnTo>
                  <a:lnTo>
                    <a:pt x="696" y="755"/>
                  </a:lnTo>
                  <a:lnTo>
                    <a:pt x="700" y="757"/>
                  </a:lnTo>
                  <a:lnTo>
                    <a:pt x="702" y="757"/>
                  </a:lnTo>
                  <a:lnTo>
                    <a:pt x="701" y="755"/>
                  </a:lnTo>
                  <a:lnTo>
                    <a:pt x="699" y="753"/>
                  </a:lnTo>
                  <a:lnTo>
                    <a:pt x="700" y="751"/>
                  </a:lnTo>
                  <a:lnTo>
                    <a:pt x="701" y="749"/>
                  </a:lnTo>
                  <a:lnTo>
                    <a:pt x="700" y="749"/>
                  </a:lnTo>
                  <a:lnTo>
                    <a:pt x="697" y="749"/>
                  </a:lnTo>
                  <a:lnTo>
                    <a:pt x="693" y="748"/>
                  </a:lnTo>
                  <a:lnTo>
                    <a:pt x="691" y="743"/>
                  </a:lnTo>
                  <a:lnTo>
                    <a:pt x="695" y="743"/>
                  </a:lnTo>
                  <a:lnTo>
                    <a:pt x="693" y="742"/>
                  </a:lnTo>
                  <a:lnTo>
                    <a:pt x="689" y="740"/>
                  </a:lnTo>
                  <a:lnTo>
                    <a:pt x="688" y="737"/>
                  </a:lnTo>
                  <a:lnTo>
                    <a:pt x="682" y="735"/>
                  </a:lnTo>
                  <a:lnTo>
                    <a:pt x="679" y="731"/>
                  </a:lnTo>
                  <a:lnTo>
                    <a:pt x="676" y="730"/>
                  </a:lnTo>
                  <a:lnTo>
                    <a:pt x="670" y="729"/>
                  </a:lnTo>
                  <a:lnTo>
                    <a:pt x="664" y="728"/>
                  </a:lnTo>
                  <a:lnTo>
                    <a:pt x="660" y="728"/>
                  </a:lnTo>
                  <a:lnTo>
                    <a:pt x="660" y="726"/>
                  </a:lnTo>
                  <a:lnTo>
                    <a:pt x="661" y="724"/>
                  </a:lnTo>
                  <a:lnTo>
                    <a:pt x="659" y="723"/>
                  </a:lnTo>
                  <a:lnTo>
                    <a:pt x="658" y="723"/>
                  </a:lnTo>
                  <a:lnTo>
                    <a:pt x="656" y="723"/>
                  </a:lnTo>
                  <a:lnTo>
                    <a:pt x="653" y="724"/>
                  </a:lnTo>
                  <a:lnTo>
                    <a:pt x="650" y="723"/>
                  </a:lnTo>
                  <a:lnTo>
                    <a:pt x="650" y="718"/>
                  </a:lnTo>
                  <a:lnTo>
                    <a:pt x="653" y="716"/>
                  </a:lnTo>
                  <a:lnTo>
                    <a:pt x="656" y="714"/>
                  </a:lnTo>
                  <a:lnTo>
                    <a:pt x="658" y="714"/>
                  </a:lnTo>
                  <a:lnTo>
                    <a:pt x="656" y="718"/>
                  </a:lnTo>
                  <a:lnTo>
                    <a:pt x="658" y="718"/>
                  </a:lnTo>
                  <a:lnTo>
                    <a:pt x="660" y="714"/>
                  </a:lnTo>
                  <a:lnTo>
                    <a:pt x="660" y="716"/>
                  </a:lnTo>
                  <a:lnTo>
                    <a:pt x="661" y="719"/>
                  </a:lnTo>
                  <a:lnTo>
                    <a:pt x="662" y="719"/>
                  </a:lnTo>
                  <a:lnTo>
                    <a:pt x="662" y="717"/>
                  </a:lnTo>
                  <a:lnTo>
                    <a:pt x="664" y="716"/>
                  </a:lnTo>
                  <a:lnTo>
                    <a:pt x="664" y="719"/>
                  </a:lnTo>
                  <a:lnTo>
                    <a:pt x="665" y="720"/>
                  </a:lnTo>
                  <a:lnTo>
                    <a:pt x="665" y="724"/>
                  </a:lnTo>
                  <a:lnTo>
                    <a:pt x="667" y="726"/>
                  </a:lnTo>
                  <a:lnTo>
                    <a:pt x="668" y="726"/>
                  </a:lnTo>
                  <a:lnTo>
                    <a:pt x="668" y="723"/>
                  </a:lnTo>
                  <a:lnTo>
                    <a:pt x="668" y="720"/>
                  </a:lnTo>
                  <a:lnTo>
                    <a:pt x="671" y="718"/>
                  </a:lnTo>
                  <a:lnTo>
                    <a:pt x="671" y="717"/>
                  </a:lnTo>
                  <a:lnTo>
                    <a:pt x="673" y="716"/>
                  </a:lnTo>
                  <a:lnTo>
                    <a:pt x="676" y="718"/>
                  </a:lnTo>
                  <a:lnTo>
                    <a:pt x="676" y="720"/>
                  </a:lnTo>
                  <a:lnTo>
                    <a:pt x="678" y="723"/>
                  </a:lnTo>
                  <a:lnTo>
                    <a:pt x="680" y="723"/>
                  </a:lnTo>
                  <a:lnTo>
                    <a:pt x="682" y="725"/>
                  </a:lnTo>
                  <a:lnTo>
                    <a:pt x="683" y="722"/>
                  </a:lnTo>
                  <a:lnTo>
                    <a:pt x="683" y="724"/>
                  </a:lnTo>
                  <a:lnTo>
                    <a:pt x="684" y="725"/>
                  </a:lnTo>
                  <a:lnTo>
                    <a:pt x="685" y="726"/>
                  </a:lnTo>
                  <a:lnTo>
                    <a:pt x="686" y="726"/>
                  </a:lnTo>
                  <a:lnTo>
                    <a:pt x="688" y="722"/>
                  </a:lnTo>
                  <a:lnTo>
                    <a:pt x="688" y="718"/>
                  </a:lnTo>
                  <a:lnTo>
                    <a:pt x="688" y="720"/>
                  </a:lnTo>
                  <a:lnTo>
                    <a:pt x="689" y="719"/>
                  </a:lnTo>
                  <a:lnTo>
                    <a:pt x="690" y="717"/>
                  </a:lnTo>
                  <a:lnTo>
                    <a:pt x="691" y="717"/>
                  </a:lnTo>
                  <a:lnTo>
                    <a:pt x="693" y="722"/>
                  </a:lnTo>
                  <a:lnTo>
                    <a:pt x="694" y="723"/>
                  </a:lnTo>
                  <a:lnTo>
                    <a:pt x="694" y="729"/>
                  </a:lnTo>
                  <a:lnTo>
                    <a:pt x="696" y="730"/>
                  </a:lnTo>
                  <a:lnTo>
                    <a:pt x="697" y="729"/>
                  </a:lnTo>
                  <a:lnTo>
                    <a:pt x="697" y="725"/>
                  </a:lnTo>
                  <a:lnTo>
                    <a:pt x="697" y="720"/>
                  </a:lnTo>
                  <a:lnTo>
                    <a:pt x="699" y="717"/>
                  </a:lnTo>
                  <a:lnTo>
                    <a:pt x="700" y="718"/>
                  </a:lnTo>
                  <a:lnTo>
                    <a:pt x="700" y="722"/>
                  </a:lnTo>
                  <a:lnTo>
                    <a:pt x="700" y="726"/>
                  </a:lnTo>
                  <a:lnTo>
                    <a:pt x="700" y="728"/>
                  </a:lnTo>
                  <a:lnTo>
                    <a:pt x="702" y="726"/>
                  </a:lnTo>
                  <a:lnTo>
                    <a:pt x="703" y="724"/>
                  </a:lnTo>
                  <a:lnTo>
                    <a:pt x="703" y="722"/>
                  </a:lnTo>
                  <a:lnTo>
                    <a:pt x="706" y="718"/>
                  </a:lnTo>
                  <a:lnTo>
                    <a:pt x="707" y="720"/>
                  </a:lnTo>
                  <a:lnTo>
                    <a:pt x="709" y="722"/>
                  </a:lnTo>
                  <a:lnTo>
                    <a:pt x="711" y="722"/>
                  </a:lnTo>
                  <a:lnTo>
                    <a:pt x="713" y="722"/>
                  </a:lnTo>
                  <a:lnTo>
                    <a:pt x="714" y="724"/>
                  </a:lnTo>
                  <a:lnTo>
                    <a:pt x="715" y="726"/>
                  </a:lnTo>
                  <a:lnTo>
                    <a:pt x="718" y="730"/>
                  </a:lnTo>
                  <a:lnTo>
                    <a:pt x="719" y="734"/>
                  </a:lnTo>
                  <a:lnTo>
                    <a:pt x="719" y="732"/>
                  </a:lnTo>
                  <a:lnTo>
                    <a:pt x="721" y="731"/>
                  </a:lnTo>
                  <a:lnTo>
                    <a:pt x="721" y="729"/>
                  </a:lnTo>
                  <a:lnTo>
                    <a:pt x="723" y="725"/>
                  </a:lnTo>
                  <a:lnTo>
                    <a:pt x="725" y="726"/>
                  </a:lnTo>
                  <a:lnTo>
                    <a:pt x="726" y="728"/>
                  </a:lnTo>
                  <a:lnTo>
                    <a:pt x="727" y="728"/>
                  </a:lnTo>
                  <a:lnTo>
                    <a:pt x="725" y="723"/>
                  </a:lnTo>
                  <a:lnTo>
                    <a:pt x="723" y="718"/>
                  </a:lnTo>
                  <a:lnTo>
                    <a:pt x="719" y="716"/>
                  </a:lnTo>
                  <a:lnTo>
                    <a:pt x="719" y="712"/>
                  </a:lnTo>
                  <a:lnTo>
                    <a:pt x="718" y="708"/>
                  </a:lnTo>
                  <a:lnTo>
                    <a:pt x="718" y="704"/>
                  </a:lnTo>
                  <a:lnTo>
                    <a:pt x="719" y="706"/>
                  </a:lnTo>
                  <a:lnTo>
                    <a:pt x="720" y="712"/>
                  </a:lnTo>
                  <a:lnTo>
                    <a:pt x="720" y="710"/>
                  </a:lnTo>
                  <a:lnTo>
                    <a:pt x="721" y="706"/>
                  </a:lnTo>
                  <a:lnTo>
                    <a:pt x="723" y="704"/>
                  </a:lnTo>
                  <a:lnTo>
                    <a:pt x="724" y="701"/>
                  </a:lnTo>
                  <a:lnTo>
                    <a:pt x="723" y="699"/>
                  </a:lnTo>
                  <a:lnTo>
                    <a:pt x="720" y="694"/>
                  </a:lnTo>
                  <a:lnTo>
                    <a:pt x="719" y="692"/>
                  </a:lnTo>
                  <a:lnTo>
                    <a:pt x="720" y="692"/>
                  </a:lnTo>
                  <a:lnTo>
                    <a:pt x="724" y="693"/>
                  </a:lnTo>
                  <a:lnTo>
                    <a:pt x="725" y="693"/>
                  </a:lnTo>
                  <a:lnTo>
                    <a:pt x="725" y="700"/>
                  </a:lnTo>
                  <a:lnTo>
                    <a:pt x="725" y="707"/>
                  </a:lnTo>
                  <a:lnTo>
                    <a:pt x="726" y="708"/>
                  </a:lnTo>
                  <a:lnTo>
                    <a:pt x="727" y="706"/>
                  </a:lnTo>
                  <a:lnTo>
                    <a:pt x="727" y="702"/>
                  </a:lnTo>
                  <a:lnTo>
                    <a:pt x="727" y="698"/>
                  </a:lnTo>
                  <a:lnTo>
                    <a:pt x="729" y="694"/>
                  </a:lnTo>
                  <a:lnTo>
                    <a:pt x="730" y="698"/>
                  </a:lnTo>
                  <a:lnTo>
                    <a:pt x="730" y="700"/>
                  </a:lnTo>
                  <a:lnTo>
                    <a:pt x="731" y="702"/>
                  </a:lnTo>
                  <a:lnTo>
                    <a:pt x="731" y="705"/>
                  </a:lnTo>
                  <a:lnTo>
                    <a:pt x="731" y="710"/>
                  </a:lnTo>
                  <a:lnTo>
                    <a:pt x="732" y="712"/>
                  </a:lnTo>
                  <a:lnTo>
                    <a:pt x="733" y="712"/>
                  </a:lnTo>
                  <a:lnTo>
                    <a:pt x="735" y="708"/>
                  </a:lnTo>
                  <a:lnTo>
                    <a:pt x="735" y="704"/>
                  </a:lnTo>
                  <a:lnTo>
                    <a:pt x="735" y="701"/>
                  </a:lnTo>
                  <a:lnTo>
                    <a:pt x="737" y="700"/>
                  </a:lnTo>
                  <a:lnTo>
                    <a:pt x="738" y="699"/>
                  </a:lnTo>
                  <a:lnTo>
                    <a:pt x="738" y="701"/>
                  </a:lnTo>
                  <a:lnTo>
                    <a:pt x="741" y="702"/>
                  </a:lnTo>
                  <a:lnTo>
                    <a:pt x="741" y="700"/>
                  </a:lnTo>
                  <a:lnTo>
                    <a:pt x="742" y="698"/>
                  </a:lnTo>
                  <a:lnTo>
                    <a:pt x="743" y="698"/>
                  </a:lnTo>
                  <a:lnTo>
                    <a:pt x="745" y="700"/>
                  </a:lnTo>
                  <a:lnTo>
                    <a:pt x="747" y="699"/>
                  </a:lnTo>
                  <a:lnTo>
                    <a:pt x="747" y="696"/>
                  </a:lnTo>
                  <a:lnTo>
                    <a:pt x="745" y="695"/>
                  </a:lnTo>
                  <a:lnTo>
                    <a:pt x="741" y="695"/>
                  </a:lnTo>
                  <a:lnTo>
                    <a:pt x="738" y="694"/>
                  </a:lnTo>
                  <a:lnTo>
                    <a:pt x="736" y="693"/>
                  </a:lnTo>
                  <a:lnTo>
                    <a:pt x="732" y="689"/>
                  </a:lnTo>
                  <a:lnTo>
                    <a:pt x="731" y="689"/>
                  </a:lnTo>
                  <a:lnTo>
                    <a:pt x="727" y="689"/>
                  </a:lnTo>
                  <a:lnTo>
                    <a:pt x="725" y="689"/>
                  </a:lnTo>
                  <a:lnTo>
                    <a:pt x="720" y="687"/>
                  </a:lnTo>
                  <a:lnTo>
                    <a:pt x="717" y="688"/>
                  </a:lnTo>
                  <a:lnTo>
                    <a:pt x="714" y="687"/>
                  </a:lnTo>
                  <a:lnTo>
                    <a:pt x="713" y="686"/>
                  </a:lnTo>
                  <a:lnTo>
                    <a:pt x="711" y="684"/>
                  </a:lnTo>
                  <a:lnTo>
                    <a:pt x="703" y="683"/>
                  </a:lnTo>
                  <a:lnTo>
                    <a:pt x="706" y="682"/>
                  </a:lnTo>
                  <a:lnTo>
                    <a:pt x="703" y="682"/>
                  </a:lnTo>
                  <a:lnTo>
                    <a:pt x="701" y="683"/>
                  </a:lnTo>
                  <a:lnTo>
                    <a:pt x="700" y="683"/>
                  </a:lnTo>
                  <a:lnTo>
                    <a:pt x="696" y="682"/>
                  </a:lnTo>
                  <a:lnTo>
                    <a:pt x="697" y="680"/>
                  </a:lnTo>
                  <a:lnTo>
                    <a:pt x="695" y="681"/>
                  </a:lnTo>
                  <a:lnTo>
                    <a:pt x="693" y="682"/>
                  </a:lnTo>
                  <a:lnTo>
                    <a:pt x="689" y="681"/>
                  </a:lnTo>
                  <a:lnTo>
                    <a:pt x="679" y="680"/>
                  </a:lnTo>
                  <a:lnTo>
                    <a:pt x="673" y="678"/>
                  </a:lnTo>
                  <a:lnTo>
                    <a:pt x="668" y="678"/>
                  </a:lnTo>
                  <a:lnTo>
                    <a:pt x="664" y="678"/>
                  </a:lnTo>
                  <a:lnTo>
                    <a:pt x="661" y="677"/>
                  </a:lnTo>
                  <a:lnTo>
                    <a:pt x="662" y="676"/>
                  </a:lnTo>
                  <a:lnTo>
                    <a:pt x="665" y="675"/>
                  </a:lnTo>
                  <a:lnTo>
                    <a:pt x="664" y="674"/>
                  </a:lnTo>
                  <a:lnTo>
                    <a:pt x="664" y="671"/>
                  </a:lnTo>
                  <a:lnTo>
                    <a:pt x="661" y="669"/>
                  </a:lnTo>
                  <a:lnTo>
                    <a:pt x="660" y="666"/>
                  </a:lnTo>
                  <a:lnTo>
                    <a:pt x="662" y="664"/>
                  </a:lnTo>
                  <a:lnTo>
                    <a:pt x="664" y="660"/>
                  </a:lnTo>
                  <a:lnTo>
                    <a:pt x="665" y="658"/>
                  </a:lnTo>
                  <a:lnTo>
                    <a:pt x="666" y="662"/>
                  </a:lnTo>
                  <a:lnTo>
                    <a:pt x="668" y="663"/>
                  </a:lnTo>
                  <a:lnTo>
                    <a:pt x="668" y="665"/>
                  </a:lnTo>
                  <a:lnTo>
                    <a:pt x="670" y="671"/>
                  </a:lnTo>
                  <a:lnTo>
                    <a:pt x="671" y="672"/>
                  </a:lnTo>
                  <a:lnTo>
                    <a:pt x="672" y="671"/>
                  </a:lnTo>
                  <a:lnTo>
                    <a:pt x="674" y="672"/>
                  </a:lnTo>
                  <a:lnTo>
                    <a:pt x="676" y="671"/>
                  </a:lnTo>
                  <a:lnTo>
                    <a:pt x="677" y="670"/>
                  </a:lnTo>
                  <a:lnTo>
                    <a:pt x="677" y="666"/>
                  </a:lnTo>
                  <a:lnTo>
                    <a:pt x="678" y="669"/>
                  </a:lnTo>
                  <a:lnTo>
                    <a:pt x="678" y="671"/>
                  </a:lnTo>
                  <a:lnTo>
                    <a:pt x="679" y="669"/>
                  </a:lnTo>
                  <a:lnTo>
                    <a:pt x="680" y="668"/>
                  </a:lnTo>
                  <a:lnTo>
                    <a:pt x="682" y="668"/>
                  </a:lnTo>
                  <a:lnTo>
                    <a:pt x="685" y="670"/>
                  </a:lnTo>
                  <a:lnTo>
                    <a:pt x="686" y="669"/>
                  </a:lnTo>
                  <a:lnTo>
                    <a:pt x="684" y="666"/>
                  </a:lnTo>
                  <a:lnTo>
                    <a:pt x="682" y="664"/>
                  </a:lnTo>
                  <a:lnTo>
                    <a:pt x="679" y="662"/>
                  </a:lnTo>
                  <a:lnTo>
                    <a:pt x="680" y="658"/>
                  </a:lnTo>
                  <a:lnTo>
                    <a:pt x="680" y="656"/>
                  </a:lnTo>
                  <a:lnTo>
                    <a:pt x="683" y="652"/>
                  </a:lnTo>
                  <a:lnTo>
                    <a:pt x="684" y="652"/>
                  </a:lnTo>
                  <a:lnTo>
                    <a:pt x="686" y="652"/>
                  </a:lnTo>
                  <a:lnTo>
                    <a:pt x="686" y="653"/>
                  </a:lnTo>
                  <a:lnTo>
                    <a:pt x="688" y="653"/>
                  </a:lnTo>
                  <a:lnTo>
                    <a:pt x="691" y="651"/>
                  </a:lnTo>
                  <a:lnTo>
                    <a:pt x="694" y="647"/>
                  </a:lnTo>
                  <a:lnTo>
                    <a:pt x="693" y="651"/>
                  </a:lnTo>
                  <a:lnTo>
                    <a:pt x="691" y="654"/>
                  </a:lnTo>
                  <a:lnTo>
                    <a:pt x="691" y="656"/>
                  </a:lnTo>
                  <a:lnTo>
                    <a:pt x="691" y="660"/>
                  </a:lnTo>
                  <a:lnTo>
                    <a:pt x="695" y="662"/>
                  </a:lnTo>
                  <a:lnTo>
                    <a:pt x="694" y="665"/>
                  </a:lnTo>
                  <a:lnTo>
                    <a:pt x="694" y="666"/>
                  </a:lnTo>
                  <a:lnTo>
                    <a:pt x="695" y="666"/>
                  </a:lnTo>
                  <a:lnTo>
                    <a:pt x="696" y="669"/>
                  </a:lnTo>
                  <a:lnTo>
                    <a:pt x="699" y="669"/>
                  </a:lnTo>
                  <a:lnTo>
                    <a:pt x="700" y="666"/>
                  </a:lnTo>
                  <a:lnTo>
                    <a:pt x="702" y="668"/>
                  </a:lnTo>
                  <a:lnTo>
                    <a:pt x="703" y="669"/>
                  </a:lnTo>
                  <a:lnTo>
                    <a:pt x="706" y="666"/>
                  </a:lnTo>
                  <a:lnTo>
                    <a:pt x="706" y="664"/>
                  </a:lnTo>
                  <a:lnTo>
                    <a:pt x="707" y="663"/>
                  </a:lnTo>
                  <a:lnTo>
                    <a:pt x="709" y="663"/>
                  </a:lnTo>
                  <a:lnTo>
                    <a:pt x="712" y="662"/>
                  </a:lnTo>
                  <a:lnTo>
                    <a:pt x="711" y="659"/>
                  </a:lnTo>
                  <a:lnTo>
                    <a:pt x="706" y="658"/>
                  </a:lnTo>
                  <a:lnTo>
                    <a:pt x="702" y="654"/>
                  </a:lnTo>
                  <a:lnTo>
                    <a:pt x="701" y="651"/>
                  </a:lnTo>
                  <a:lnTo>
                    <a:pt x="700" y="647"/>
                  </a:lnTo>
                  <a:lnTo>
                    <a:pt x="697" y="644"/>
                  </a:lnTo>
                  <a:lnTo>
                    <a:pt x="699" y="642"/>
                  </a:lnTo>
                  <a:lnTo>
                    <a:pt x="696" y="641"/>
                  </a:lnTo>
                  <a:lnTo>
                    <a:pt x="695" y="640"/>
                  </a:lnTo>
                  <a:lnTo>
                    <a:pt x="693" y="639"/>
                  </a:lnTo>
                  <a:lnTo>
                    <a:pt x="690" y="638"/>
                  </a:lnTo>
                  <a:lnTo>
                    <a:pt x="688" y="635"/>
                  </a:lnTo>
                  <a:lnTo>
                    <a:pt x="683" y="634"/>
                  </a:lnTo>
                  <a:lnTo>
                    <a:pt x="679" y="634"/>
                  </a:lnTo>
                  <a:lnTo>
                    <a:pt x="673" y="633"/>
                  </a:lnTo>
                  <a:lnTo>
                    <a:pt x="670" y="633"/>
                  </a:lnTo>
                  <a:lnTo>
                    <a:pt x="670" y="628"/>
                  </a:lnTo>
                  <a:lnTo>
                    <a:pt x="670" y="627"/>
                  </a:lnTo>
                  <a:lnTo>
                    <a:pt x="672" y="627"/>
                  </a:lnTo>
                  <a:lnTo>
                    <a:pt x="672" y="624"/>
                  </a:lnTo>
                  <a:lnTo>
                    <a:pt x="672" y="621"/>
                  </a:lnTo>
                  <a:lnTo>
                    <a:pt x="674" y="621"/>
                  </a:lnTo>
                  <a:lnTo>
                    <a:pt x="676" y="623"/>
                  </a:lnTo>
                  <a:lnTo>
                    <a:pt x="678" y="627"/>
                  </a:lnTo>
                  <a:lnTo>
                    <a:pt x="679" y="628"/>
                  </a:lnTo>
                  <a:lnTo>
                    <a:pt x="680" y="627"/>
                  </a:lnTo>
                  <a:lnTo>
                    <a:pt x="678" y="623"/>
                  </a:lnTo>
                  <a:lnTo>
                    <a:pt x="678" y="621"/>
                  </a:lnTo>
                  <a:lnTo>
                    <a:pt x="682" y="622"/>
                  </a:lnTo>
                  <a:lnTo>
                    <a:pt x="684" y="621"/>
                  </a:lnTo>
                  <a:lnTo>
                    <a:pt x="682" y="619"/>
                  </a:lnTo>
                  <a:lnTo>
                    <a:pt x="679" y="618"/>
                  </a:lnTo>
                  <a:lnTo>
                    <a:pt x="677" y="617"/>
                  </a:lnTo>
                  <a:lnTo>
                    <a:pt x="676" y="617"/>
                  </a:lnTo>
                  <a:lnTo>
                    <a:pt x="673" y="617"/>
                  </a:lnTo>
                  <a:lnTo>
                    <a:pt x="671" y="617"/>
                  </a:lnTo>
                  <a:lnTo>
                    <a:pt x="668" y="617"/>
                  </a:lnTo>
                  <a:lnTo>
                    <a:pt x="666" y="616"/>
                  </a:lnTo>
                  <a:lnTo>
                    <a:pt x="665" y="616"/>
                  </a:lnTo>
                  <a:lnTo>
                    <a:pt x="662" y="615"/>
                  </a:lnTo>
                  <a:lnTo>
                    <a:pt x="660" y="613"/>
                  </a:lnTo>
                  <a:lnTo>
                    <a:pt x="659" y="612"/>
                  </a:lnTo>
                  <a:lnTo>
                    <a:pt x="658" y="610"/>
                  </a:lnTo>
                  <a:lnTo>
                    <a:pt x="656" y="607"/>
                  </a:lnTo>
                  <a:lnTo>
                    <a:pt x="655" y="606"/>
                  </a:lnTo>
                  <a:lnTo>
                    <a:pt x="654" y="609"/>
                  </a:lnTo>
                  <a:lnTo>
                    <a:pt x="653" y="607"/>
                  </a:lnTo>
                  <a:lnTo>
                    <a:pt x="653" y="603"/>
                  </a:lnTo>
                  <a:lnTo>
                    <a:pt x="654" y="603"/>
                  </a:lnTo>
                  <a:lnTo>
                    <a:pt x="655" y="603"/>
                  </a:lnTo>
                  <a:lnTo>
                    <a:pt x="653" y="600"/>
                  </a:lnTo>
                  <a:lnTo>
                    <a:pt x="650" y="597"/>
                  </a:lnTo>
                  <a:lnTo>
                    <a:pt x="644" y="591"/>
                  </a:lnTo>
                  <a:lnTo>
                    <a:pt x="643" y="588"/>
                  </a:lnTo>
                  <a:lnTo>
                    <a:pt x="640" y="586"/>
                  </a:lnTo>
                  <a:lnTo>
                    <a:pt x="640" y="583"/>
                  </a:lnTo>
                  <a:lnTo>
                    <a:pt x="643" y="581"/>
                  </a:lnTo>
                  <a:lnTo>
                    <a:pt x="644" y="580"/>
                  </a:lnTo>
                  <a:lnTo>
                    <a:pt x="644" y="582"/>
                  </a:lnTo>
                  <a:lnTo>
                    <a:pt x="644" y="585"/>
                  </a:lnTo>
                  <a:lnTo>
                    <a:pt x="648" y="585"/>
                  </a:lnTo>
                  <a:lnTo>
                    <a:pt x="648" y="586"/>
                  </a:lnTo>
                  <a:lnTo>
                    <a:pt x="648" y="589"/>
                  </a:lnTo>
                  <a:lnTo>
                    <a:pt x="649" y="591"/>
                  </a:lnTo>
                  <a:lnTo>
                    <a:pt x="649" y="593"/>
                  </a:lnTo>
                  <a:lnTo>
                    <a:pt x="650" y="594"/>
                  </a:lnTo>
                  <a:lnTo>
                    <a:pt x="650" y="592"/>
                  </a:lnTo>
                  <a:lnTo>
                    <a:pt x="652" y="588"/>
                  </a:lnTo>
                  <a:lnTo>
                    <a:pt x="653" y="587"/>
                  </a:lnTo>
                  <a:lnTo>
                    <a:pt x="652" y="585"/>
                  </a:lnTo>
                  <a:lnTo>
                    <a:pt x="652" y="583"/>
                  </a:lnTo>
                  <a:lnTo>
                    <a:pt x="654" y="583"/>
                  </a:lnTo>
                  <a:lnTo>
                    <a:pt x="655" y="586"/>
                  </a:lnTo>
                  <a:lnTo>
                    <a:pt x="656" y="587"/>
                  </a:lnTo>
                  <a:lnTo>
                    <a:pt x="656" y="592"/>
                  </a:lnTo>
                  <a:lnTo>
                    <a:pt x="658" y="594"/>
                  </a:lnTo>
                  <a:lnTo>
                    <a:pt x="659" y="593"/>
                  </a:lnTo>
                  <a:lnTo>
                    <a:pt x="659" y="591"/>
                  </a:lnTo>
                  <a:lnTo>
                    <a:pt x="659" y="587"/>
                  </a:lnTo>
                  <a:lnTo>
                    <a:pt x="660" y="587"/>
                  </a:lnTo>
                  <a:lnTo>
                    <a:pt x="661" y="588"/>
                  </a:lnTo>
                  <a:lnTo>
                    <a:pt x="661" y="586"/>
                  </a:lnTo>
                  <a:lnTo>
                    <a:pt x="664" y="588"/>
                  </a:lnTo>
                  <a:lnTo>
                    <a:pt x="664" y="591"/>
                  </a:lnTo>
                  <a:lnTo>
                    <a:pt x="665" y="592"/>
                  </a:lnTo>
                  <a:lnTo>
                    <a:pt x="666" y="591"/>
                  </a:lnTo>
                  <a:lnTo>
                    <a:pt x="666" y="587"/>
                  </a:lnTo>
                  <a:lnTo>
                    <a:pt x="666" y="583"/>
                  </a:lnTo>
                  <a:lnTo>
                    <a:pt x="668" y="582"/>
                  </a:lnTo>
                  <a:lnTo>
                    <a:pt x="670" y="585"/>
                  </a:lnTo>
                  <a:lnTo>
                    <a:pt x="668" y="588"/>
                  </a:lnTo>
                  <a:lnTo>
                    <a:pt x="667" y="591"/>
                  </a:lnTo>
                  <a:lnTo>
                    <a:pt x="668" y="592"/>
                  </a:lnTo>
                  <a:lnTo>
                    <a:pt x="668" y="598"/>
                  </a:lnTo>
                  <a:lnTo>
                    <a:pt x="670" y="599"/>
                  </a:lnTo>
                  <a:lnTo>
                    <a:pt x="670" y="600"/>
                  </a:lnTo>
                  <a:lnTo>
                    <a:pt x="671" y="600"/>
                  </a:lnTo>
                  <a:lnTo>
                    <a:pt x="673" y="599"/>
                  </a:lnTo>
                  <a:lnTo>
                    <a:pt x="673" y="603"/>
                  </a:lnTo>
                  <a:lnTo>
                    <a:pt x="674" y="603"/>
                  </a:lnTo>
                  <a:lnTo>
                    <a:pt x="676" y="604"/>
                  </a:lnTo>
                  <a:lnTo>
                    <a:pt x="676" y="598"/>
                  </a:lnTo>
                  <a:lnTo>
                    <a:pt x="676" y="594"/>
                  </a:lnTo>
                  <a:lnTo>
                    <a:pt x="676" y="593"/>
                  </a:lnTo>
                  <a:lnTo>
                    <a:pt x="673" y="588"/>
                  </a:lnTo>
                  <a:lnTo>
                    <a:pt x="673" y="587"/>
                  </a:lnTo>
                  <a:lnTo>
                    <a:pt x="673" y="582"/>
                  </a:lnTo>
                  <a:lnTo>
                    <a:pt x="672" y="577"/>
                  </a:lnTo>
                  <a:lnTo>
                    <a:pt x="672" y="571"/>
                  </a:lnTo>
                  <a:lnTo>
                    <a:pt x="674" y="571"/>
                  </a:lnTo>
                  <a:lnTo>
                    <a:pt x="677" y="571"/>
                  </a:lnTo>
                  <a:lnTo>
                    <a:pt x="677" y="575"/>
                  </a:lnTo>
                  <a:lnTo>
                    <a:pt x="677" y="577"/>
                  </a:lnTo>
                  <a:lnTo>
                    <a:pt x="678" y="577"/>
                  </a:lnTo>
                  <a:lnTo>
                    <a:pt x="680" y="576"/>
                  </a:lnTo>
                  <a:lnTo>
                    <a:pt x="680" y="573"/>
                  </a:lnTo>
                  <a:lnTo>
                    <a:pt x="683" y="569"/>
                  </a:lnTo>
                  <a:lnTo>
                    <a:pt x="683" y="568"/>
                  </a:lnTo>
                  <a:lnTo>
                    <a:pt x="683" y="575"/>
                  </a:lnTo>
                  <a:lnTo>
                    <a:pt x="684" y="577"/>
                  </a:lnTo>
                  <a:lnTo>
                    <a:pt x="686" y="576"/>
                  </a:lnTo>
                  <a:lnTo>
                    <a:pt x="686" y="573"/>
                  </a:lnTo>
                  <a:lnTo>
                    <a:pt x="688" y="569"/>
                  </a:lnTo>
                  <a:lnTo>
                    <a:pt x="689" y="567"/>
                  </a:lnTo>
                  <a:lnTo>
                    <a:pt x="689" y="570"/>
                  </a:lnTo>
                  <a:lnTo>
                    <a:pt x="689" y="576"/>
                  </a:lnTo>
                  <a:lnTo>
                    <a:pt x="690" y="579"/>
                  </a:lnTo>
                  <a:lnTo>
                    <a:pt x="691" y="577"/>
                  </a:lnTo>
                  <a:lnTo>
                    <a:pt x="693" y="573"/>
                  </a:lnTo>
                  <a:lnTo>
                    <a:pt x="693" y="569"/>
                  </a:lnTo>
                  <a:lnTo>
                    <a:pt x="693" y="564"/>
                  </a:lnTo>
                  <a:lnTo>
                    <a:pt x="693" y="561"/>
                  </a:lnTo>
                  <a:lnTo>
                    <a:pt x="691" y="557"/>
                  </a:lnTo>
                  <a:lnTo>
                    <a:pt x="693" y="556"/>
                  </a:lnTo>
                  <a:lnTo>
                    <a:pt x="695" y="556"/>
                  </a:lnTo>
                  <a:lnTo>
                    <a:pt x="697" y="557"/>
                  </a:lnTo>
                  <a:lnTo>
                    <a:pt x="696" y="555"/>
                  </a:lnTo>
                  <a:lnTo>
                    <a:pt x="696" y="553"/>
                  </a:lnTo>
                  <a:lnTo>
                    <a:pt x="699" y="553"/>
                  </a:lnTo>
                  <a:lnTo>
                    <a:pt x="700" y="553"/>
                  </a:lnTo>
                  <a:lnTo>
                    <a:pt x="701" y="551"/>
                  </a:lnTo>
                  <a:lnTo>
                    <a:pt x="699" y="551"/>
                  </a:lnTo>
                  <a:lnTo>
                    <a:pt x="697" y="550"/>
                  </a:lnTo>
                  <a:lnTo>
                    <a:pt x="696" y="547"/>
                  </a:lnTo>
                  <a:lnTo>
                    <a:pt x="695" y="549"/>
                  </a:lnTo>
                  <a:lnTo>
                    <a:pt x="695" y="550"/>
                  </a:lnTo>
                  <a:lnTo>
                    <a:pt x="693" y="552"/>
                  </a:lnTo>
                  <a:lnTo>
                    <a:pt x="693" y="551"/>
                  </a:lnTo>
                  <a:lnTo>
                    <a:pt x="690" y="550"/>
                  </a:lnTo>
                  <a:lnTo>
                    <a:pt x="690" y="551"/>
                  </a:lnTo>
                  <a:lnTo>
                    <a:pt x="689" y="551"/>
                  </a:lnTo>
                  <a:lnTo>
                    <a:pt x="686" y="551"/>
                  </a:lnTo>
                  <a:lnTo>
                    <a:pt x="686" y="550"/>
                  </a:lnTo>
                  <a:lnTo>
                    <a:pt x="685" y="550"/>
                  </a:lnTo>
                  <a:lnTo>
                    <a:pt x="684" y="553"/>
                  </a:lnTo>
                  <a:lnTo>
                    <a:pt x="683" y="553"/>
                  </a:lnTo>
                  <a:lnTo>
                    <a:pt x="682" y="552"/>
                  </a:lnTo>
                  <a:lnTo>
                    <a:pt x="680" y="553"/>
                  </a:lnTo>
                  <a:lnTo>
                    <a:pt x="678" y="556"/>
                  </a:lnTo>
                  <a:lnTo>
                    <a:pt x="676" y="557"/>
                  </a:lnTo>
                  <a:lnTo>
                    <a:pt x="674" y="559"/>
                  </a:lnTo>
                  <a:lnTo>
                    <a:pt x="668" y="558"/>
                  </a:lnTo>
                  <a:lnTo>
                    <a:pt x="664" y="558"/>
                  </a:lnTo>
                  <a:lnTo>
                    <a:pt x="660" y="559"/>
                  </a:lnTo>
                  <a:lnTo>
                    <a:pt x="655" y="561"/>
                  </a:lnTo>
                  <a:lnTo>
                    <a:pt x="649" y="561"/>
                  </a:lnTo>
                  <a:lnTo>
                    <a:pt x="644" y="562"/>
                  </a:lnTo>
                  <a:lnTo>
                    <a:pt x="640" y="562"/>
                  </a:lnTo>
                  <a:lnTo>
                    <a:pt x="636" y="562"/>
                  </a:lnTo>
                  <a:lnTo>
                    <a:pt x="634" y="563"/>
                  </a:lnTo>
                  <a:lnTo>
                    <a:pt x="630" y="564"/>
                  </a:lnTo>
                  <a:lnTo>
                    <a:pt x="623" y="564"/>
                  </a:lnTo>
                  <a:lnTo>
                    <a:pt x="619" y="563"/>
                  </a:lnTo>
                  <a:lnTo>
                    <a:pt x="617" y="562"/>
                  </a:lnTo>
                  <a:lnTo>
                    <a:pt x="614" y="561"/>
                  </a:lnTo>
                  <a:lnTo>
                    <a:pt x="612" y="557"/>
                  </a:lnTo>
                  <a:lnTo>
                    <a:pt x="611" y="555"/>
                  </a:lnTo>
                  <a:lnTo>
                    <a:pt x="609" y="555"/>
                  </a:lnTo>
                  <a:lnTo>
                    <a:pt x="606" y="555"/>
                  </a:lnTo>
                  <a:lnTo>
                    <a:pt x="601" y="556"/>
                  </a:lnTo>
                  <a:lnTo>
                    <a:pt x="600" y="557"/>
                  </a:lnTo>
                  <a:lnTo>
                    <a:pt x="597" y="557"/>
                  </a:lnTo>
                  <a:lnTo>
                    <a:pt x="596" y="557"/>
                  </a:lnTo>
                  <a:lnTo>
                    <a:pt x="591" y="555"/>
                  </a:lnTo>
                  <a:lnTo>
                    <a:pt x="587" y="551"/>
                  </a:lnTo>
                  <a:lnTo>
                    <a:pt x="583" y="547"/>
                  </a:lnTo>
                  <a:lnTo>
                    <a:pt x="579" y="544"/>
                  </a:lnTo>
                  <a:lnTo>
                    <a:pt x="575" y="540"/>
                  </a:lnTo>
                  <a:lnTo>
                    <a:pt x="572" y="535"/>
                  </a:lnTo>
                  <a:lnTo>
                    <a:pt x="572" y="533"/>
                  </a:lnTo>
                  <a:lnTo>
                    <a:pt x="576" y="534"/>
                  </a:lnTo>
                  <a:lnTo>
                    <a:pt x="576" y="533"/>
                  </a:lnTo>
                  <a:lnTo>
                    <a:pt x="572" y="531"/>
                  </a:lnTo>
                  <a:lnTo>
                    <a:pt x="571" y="529"/>
                  </a:lnTo>
                  <a:lnTo>
                    <a:pt x="570" y="524"/>
                  </a:lnTo>
                  <a:lnTo>
                    <a:pt x="571" y="524"/>
                  </a:lnTo>
                  <a:lnTo>
                    <a:pt x="573" y="527"/>
                  </a:lnTo>
                  <a:lnTo>
                    <a:pt x="575" y="529"/>
                  </a:lnTo>
                  <a:lnTo>
                    <a:pt x="576" y="531"/>
                  </a:lnTo>
                  <a:lnTo>
                    <a:pt x="577" y="528"/>
                  </a:lnTo>
                  <a:lnTo>
                    <a:pt x="578" y="527"/>
                  </a:lnTo>
                  <a:lnTo>
                    <a:pt x="579" y="527"/>
                  </a:lnTo>
                  <a:lnTo>
                    <a:pt x="579" y="529"/>
                  </a:lnTo>
                  <a:lnTo>
                    <a:pt x="581" y="532"/>
                  </a:lnTo>
                  <a:lnTo>
                    <a:pt x="578" y="538"/>
                  </a:lnTo>
                  <a:lnTo>
                    <a:pt x="581" y="540"/>
                  </a:lnTo>
                  <a:lnTo>
                    <a:pt x="582" y="538"/>
                  </a:lnTo>
                  <a:lnTo>
                    <a:pt x="583" y="534"/>
                  </a:lnTo>
                  <a:lnTo>
                    <a:pt x="584" y="533"/>
                  </a:lnTo>
                  <a:lnTo>
                    <a:pt x="585" y="534"/>
                  </a:lnTo>
                  <a:lnTo>
                    <a:pt x="585" y="533"/>
                  </a:lnTo>
                  <a:lnTo>
                    <a:pt x="587" y="531"/>
                  </a:lnTo>
                  <a:lnTo>
                    <a:pt x="588" y="528"/>
                  </a:lnTo>
                  <a:lnTo>
                    <a:pt x="589" y="531"/>
                  </a:lnTo>
                  <a:lnTo>
                    <a:pt x="590" y="534"/>
                  </a:lnTo>
                  <a:lnTo>
                    <a:pt x="590" y="537"/>
                  </a:lnTo>
                  <a:lnTo>
                    <a:pt x="591" y="538"/>
                  </a:lnTo>
                  <a:lnTo>
                    <a:pt x="593" y="535"/>
                  </a:lnTo>
                  <a:lnTo>
                    <a:pt x="593" y="532"/>
                  </a:lnTo>
                  <a:lnTo>
                    <a:pt x="594" y="528"/>
                  </a:lnTo>
                  <a:lnTo>
                    <a:pt x="595" y="531"/>
                  </a:lnTo>
                  <a:lnTo>
                    <a:pt x="595" y="533"/>
                  </a:lnTo>
                  <a:lnTo>
                    <a:pt x="596" y="528"/>
                  </a:lnTo>
                  <a:lnTo>
                    <a:pt x="597" y="527"/>
                  </a:lnTo>
                  <a:lnTo>
                    <a:pt x="597" y="534"/>
                  </a:lnTo>
                  <a:lnTo>
                    <a:pt x="597" y="538"/>
                  </a:lnTo>
                  <a:lnTo>
                    <a:pt x="600" y="537"/>
                  </a:lnTo>
                  <a:lnTo>
                    <a:pt x="603" y="531"/>
                  </a:lnTo>
                  <a:lnTo>
                    <a:pt x="606" y="528"/>
                  </a:lnTo>
                  <a:lnTo>
                    <a:pt x="606" y="534"/>
                  </a:lnTo>
                  <a:lnTo>
                    <a:pt x="605" y="539"/>
                  </a:lnTo>
                  <a:lnTo>
                    <a:pt x="606" y="537"/>
                  </a:lnTo>
                  <a:lnTo>
                    <a:pt x="608" y="533"/>
                  </a:lnTo>
                  <a:lnTo>
                    <a:pt x="608" y="529"/>
                  </a:lnTo>
                  <a:lnTo>
                    <a:pt x="612" y="526"/>
                  </a:lnTo>
                  <a:lnTo>
                    <a:pt x="611" y="534"/>
                  </a:lnTo>
                  <a:lnTo>
                    <a:pt x="609" y="538"/>
                  </a:lnTo>
                  <a:lnTo>
                    <a:pt x="612" y="535"/>
                  </a:lnTo>
                  <a:lnTo>
                    <a:pt x="614" y="532"/>
                  </a:lnTo>
                  <a:lnTo>
                    <a:pt x="613" y="538"/>
                  </a:lnTo>
                  <a:lnTo>
                    <a:pt x="613" y="540"/>
                  </a:lnTo>
                  <a:lnTo>
                    <a:pt x="615" y="540"/>
                  </a:lnTo>
                  <a:lnTo>
                    <a:pt x="615" y="537"/>
                  </a:lnTo>
                  <a:lnTo>
                    <a:pt x="617" y="535"/>
                  </a:lnTo>
                  <a:lnTo>
                    <a:pt x="620" y="534"/>
                  </a:lnTo>
                  <a:lnTo>
                    <a:pt x="621" y="532"/>
                  </a:lnTo>
                  <a:lnTo>
                    <a:pt x="621" y="535"/>
                  </a:lnTo>
                  <a:lnTo>
                    <a:pt x="619" y="539"/>
                  </a:lnTo>
                  <a:lnTo>
                    <a:pt x="619" y="541"/>
                  </a:lnTo>
                  <a:lnTo>
                    <a:pt x="623" y="538"/>
                  </a:lnTo>
                  <a:lnTo>
                    <a:pt x="624" y="537"/>
                  </a:lnTo>
                  <a:lnTo>
                    <a:pt x="624" y="535"/>
                  </a:lnTo>
                  <a:lnTo>
                    <a:pt x="625" y="543"/>
                  </a:lnTo>
                  <a:lnTo>
                    <a:pt x="628" y="545"/>
                  </a:lnTo>
                  <a:lnTo>
                    <a:pt x="629" y="547"/>
                  </a:lnTo>
                  <a:lnTo>
                    <a:pt x="632" y="545"/>
                  </a:lnTo>
                  <a:lnTo>
                    <a:pt x="634" y="544"/>
                  </a:lnTo>
                  <a:lnTo>
                    <a:pt x="634" y="545"/>
                  </a:lnTo>
                  <a:lnTo>
                    <a:pt x="634" y="549"/>
                  </a:lnTo>
                  <a:lnTo>
                    <a:pt x="634" y="552"/>
                  </a:lnTo>
                  <a:lnTo>
                    <a:pt x="635" y="556"/>
                  </a:lnTo>
                  <a:lnTo>
                    <a:pt x="635" y="555"/>
                  </a:lnTo>
                  <a:lnTo>
                    <a:pt x="636" y="551"/>
                  </a:lnTo>
                  <a:lnTo>
                    <a:pt x="636" y="549"/>
                  </a:lnTo>
                  <a:lnTo>
                    <a:pt x="637" y="545"/>
                  </a:lnTo>
                  <a:lnTo>
                    <a:pt x="638" y="547"/>
                  </a:lnTo>
                  <a:lnTo>
                    <a:pt x="638" y="549"/>
                  </a:lnTo>
                  <a:lnTo>
                    <a:pt x="641" y="546"/>
                  </a:lnTo>
                  <a:lnTo>
                    <a:pt x="641" y="543"/>
                  </a:lnTo>
                  <a:lnTo>
                    <a:pt x="642" y="538"/>
                  </a:lnTo>
                  <a:lnTo>
                    <a:pt x="642" y="545"/>
                  </a:lnTo>
                  <a:lnTo>
                    <a:pt x="642" y="550"/>
                  </a:lnTo>
                  <a:lnTo>
                    <a:pt x="642" y="553"/>
                  </a:lnTo>
                  <a:lnTo>
                    <a:pt x="644" y="556"/>
                  </a:lnTo>
                  <a:lnTo>
                    <a:pt x="646" y="556"/>
                  </a:lnTo>
                  <a:lnTo>
                    <a:pt x="647" y="556"/>
                  </a:lnTo>
                  <a:lnTo>
                    <a:pt x="649" y="556"/>
                  </a:lnTo>
                  <a:lnTo>
                    <a:pt x="650" y="552"/>
                  </a:lnTo>
                  <a:lnTo>
                    <a:pt x="650" y="549"/>
                  </a:lnTo>
                  <a:lnTo>
                    <a:pt x="650" y="545"/>
                  </a:lnTo>
                  <a:lnTo>
                    <a:pt x="652" y="549"/>
                  </a:lnTo>
                  <a:lnTo>
                    <a:pt x="652" y="551"/>
                  </a:lnTo>
                  <a:lnTo>
                    <a:pt x="653" y="549"/>
                  </a:lnTo>
                  <a:lnTo>
                    <a:pt x="654" y="549"/>
                  </a:lnTo>
                  <a:lnTo>
                    <a:pt x="655" y="553"/>
                  </a:lnTo>
                  <a:lnTo>
                    <a:pt x="655" y="555"/>
                  </a:lnTo>
                  <a:lnTo>
                    <a:pt x="656" y="556"/>
                  </a:lnTo>
                  <a:lnTo>
                    <a:pt x="658" y="552"/>
                  </a:lnTo>
                  <a:lnTo>
                    <a:pt x="658" y="550"/>
                  </a:lnTo>
                  <a:lnTo>
                    <a:pt x="664" y="553"/>
                  </a:lnTo>
                  <a:lnTo>
                    <a:pt x="662" y="551"/>
                  </a:lnTo>
                  <a:lnTo>
                    <a:pt x="660" y="550"/>
                  </a:lnTo>
                  <a:lnTo>
                    <a:pt x="662" y="547"/>
                  </a:lnTo>
                  <a:lnTo>
                    <a:pt x="660" y="547"/>
                  </a:lnTo>
                  <a:lnTo>
                    <a:pt x="656" y="547"/>
                  </a:lnTo>
                  <a:lnTo>
                    <a:pt x="654" y="546"/>
                  </a:lnTo>
                  <a:lnTo>
                    <a:pt x="659" y="545"/>
                  </a:lnTo>
                  <a:lnTo>
                    <a:pt x="658" y="544"/>
                  </a:lnTo>
                  <a:lnTo>
                    <a:pt x="654" y="544"/>
                  </a:lnTo>
                  <a:lnTo>
                    <a:pt x="650" y="544"/>
                  </a:lnTo>
                  <a:lnTo>
                    <a:pt x="649" y="541"/>
                  </a:lnTo>
                  <a:lnTo>
                    <a:pt x="652" y="540"/>
                  </a:lnTo>
                  <a:lnTo>
                    <a:pt x="650" y="539"/>
                  </a:lnTo>
                  <a:lnTo>
                    <a:pt x="649" y="538"/>
                  </a:lnTo>
                  <a:lnTo>
                    <a:pt x="647" y="537"/>
                  </a:lnTo>
                  <a:lnTo>
                    <a:pt x="642" y="534"/>
                  </a:lnTo>
                  <a:lnTo>
                    <a:pt x="643" y="533"/>
                  </a:lnTo>
                  <a:lnTo>
                    <a:pt x="642" y="531"/>
                  </a:lnTo>
                  <a:lnTo>
                    <a:pt x="640" y="529"/>
                  </a:lnTo>
                  <a:lnTo>
                    <a:pt x="638" y="527"/>
                  </a:lnTo>
                  <a:lnTo>
                    <a:pt x="636" y="526"/>
                  </a:lnTo>
                  <a:lnTo>
                    <a:pt x="634" y="522"/>
                  </a:lnTo>
                  <a:lnTo>
                    <a:pt x="634" y="520"/>
                  </a:lnTo>
                  <a:lnTo>
                    <a:pt x="636" y="518"/>
                  </a:lnTo>
                  <a:lnTo>
                    <a:pt x="637" y="516"/>
                  </a:lnTo>
                  <a:lnTo>
                    <a:pt x="638" y="518"/>
                  </a:lnTo>
                  <a:lnTo>
                    <a:pt x="638" y="522"/>
                  </a:lnTo>
                  <a:lnTo>
                    <a:pt x="640" y="524"/>
                  </a:lnTo>
                  <a:lnTo>
                    <a:pt x="641" y="527"/>
                  </a:lnTo>
                  <a:lnTo>
                    <a:pt x="642" y="526"/>
                  </a:lnTo>
                  <a:lnTo>
                    <a:pt x="643" y="522"/>
                  </a:lnTo>
                  <a:lnTo>
                    <a:pt x="644" y="523"/>
                  </a:lnTo>
                  <a:lnTo>
                    <a:pt x="646" y="522"/>
                  </a:lnTo>
                  <a:lnTo>
                    <a:pt x="646" y="521"/>
                  </a:lnTo>
                  <a:lnTo>
                    <a:pt x="646" y="518"/>
                  </a:lnTo>
                  <a:lnTo>
                    <a:pt x="644" y="517"/>
                  </a:lnTo>
                  <a:lnTo>
                    <a:pt x="642" y="516"/>
                  </a:lnTo>
                  <a:lnTo>
                    <a:pt x="638" y="514"/>
                  </a:lnTo>
                  <a:lnTo>
                    <a:pt x="642" y="512"/>
                  </a:lnTo>
                  <a:lnTo>
                    <a:pt x="643" y="511"/>
                  </a:lnTo>
                  <a:lnTo>
                    <a:pt x="641" y="511"/>
                  </a:lnTo>
                  <a:lnTo>
                    <a:pt x="637" y="511"/>
                  </a:lnTo>
                  <a:lnTo>
                    <a:pt x="632" y="511"/>
                  </a:lnTo>
                  <a:lnTo>
                    <a:pt x="628" y="508"/>
                  </a:lnTo>
                  <a:lnTo>
                    <a:pt x="621" y="505"/>
                  </a:lnTo>
                  <a:lnTo>
                    <a:pt x="618" y="503"/>
                  </a:lnTo>
                  <a:lnTo>
                    <a:pt x="611" y="499"/>
                  </a:lnTo>
                  <a:lnTo>
                    <a:pt x="606" y="497"/>
                  </a:lnTo>
                  <a:lnTo>
                    <a:pt x="601" y="496"/>
                  </a:lnTo>
                  <a:lnTo>
                    <a:pt x="597" y="496"/>
                  </a:lnTo>
                  <a:lnTo>
                    <a:pt x="593" y="493"/>
                  </a:lnTo>
                  <a:lnTo>
                    <a:pt x="589" y="493"/>
                  </a:lnTo>
                  <a:lnTo>
                    <a:pt x="589" y="491"/>
                  </a:lnTo>
                  <a:lnTo>
                    <a:pt x="590" y="490"/>
                  </a:lnTo>
                  <a:lnTo>
                    <a:pt x="593" y="488"/>
                  </a:lnTo>
                  <a:lnTo>
                    <a:pt x="588" y="487"/>
                  </a:lnTo>
                  <a:lnTo>
                    <a:pt x="584" y="487"/>
                  </a:lnTo>
                  <a:lnTo>
                    <a:pt x="581" y="486"/>
                  </a:lnTo>
                  <a:lnTo>
                    <a:pt x="578" y="485"/>
                  </a:lnTo>
                  <a:lnTo>
                    <a:pt x="577" y="482"/>
                  </a:lnTo>
                  <a:lnTo>
                    <a:pt x="577" y="478"/>
                  </a:lnTo>
                  <a:lnTo>
                    <a:pt x="578" y="474"/>
                  </a:lnTo>
                  <a:lnTo>
                    <a:pt x="581" y="470"/>
                  </a:lnTo>
                  <a:lnTo>
                    <a:pt x="583" y="467"/>
                  </a:lnTo>
                  <a:lnTo>
                    <a:pt x="583" y="469"/>
                  </a:lnTo>
                  <a:lnTo>
                    <a:pt x="583" y="472"/>
                  </a:lnTo>
                  <a:lnTo>
                    <a:pt x="585" y="473"/>
                  </a:lnTo>
                  <a:lnTo>
                    <a:pt x="588" y="473"/>
                  </a:lnTo>
                  <a:lnTo>
                    <a:pt x="588" y="474"/>
                  </a:lnTo>
                  <a:lnTo>
                    <a:pt x="590" y="475"/>
                  </a:lnTo>
                  <a:lnTo>
                    <a:pt x="591" y="475"/>
                  </a:lnTo>
                  <a:lnTo>
                    <a:pt x="593" y="472"/>
                  </a:lnTo>
                  <a:lnTo>
                    <a:pt x="594" y="469"/>
                  </a:lnTo>
                  <a:lnTo>
                    <a:pt x="593" y="475"/>
                  </a:lnTo>
                  <a:lnTo>
                    <a:pt x="595" y="478"/>
                  </a:lnTo>
                  <a:lnTo>
                    <a:pt x="596" y="476"/>
                  </a:lnTo>
                  <a:lnTo>
                    <a:pt x="596" y="473"/>
                  </a:lnTo>
                  <a:lnTo>
                    <a:pt x="599" y="469"/>
                  </a:lnTo>
                  <a:lnTo>
                    <a:pt x="599" y="473"/>
                  </a:lnTo>
                  <a:lnTo>
                    <a:pt x="601" y="475"/>
                  </a:lnTo>
                  <a:lnTo>
                    <a:pt x="602" y="472"/>
                  </a:lnTo>
                  <a:lnTo>
                    <a:pt x="603" y="470"/>
                  </a:lnTo>
                  <a:lnTo>
                    <a:pt x="602" y="475"/>
                  </a:lnTo>
                  <a:lnTo>
                    <a:pt x="602" y="480"/>
                  </a:lnTo>
                  <a:lnTo>
                    <a:pt x="605" y="481"/>
                  </a:lnTo>
                  <a:lnTo>
                    <a:pt x="607" y="482"/>
                  </a:lnTo>
                  <a:lnTo>
                    <a:pt x="607" y="478"/>
                  </a:lnTo>
                  <a:lnTo>
                    <a:pt x="607" y="475"/>
                  </a:lnTo>
                  <a:lnTo>
                    <a:pt x="608" y="473"/>
                  </a:lnTo>
                  <a:lnTo>
                    <a:pt x="609" y="474"/>
                  </a:lnTo>
                  <a:lnTo>
                    <a:pt x="609" y="479"/>
                  </a:lnTo>
                  <a:lnTo>
                    <a:pt x="612" y="478"/>
                  </a:lnTo>
                  <a:lnTo>
                    <a:pt x="613" y="475"/>
                  </a:lnTo>
                  <a:lnTo>
                    <a:pt x="614" y="478"/>
                  </a:lnTo>
                  <a:lnTo>
                    <a:pt x="615" y="474"/>
                  </a:lnTo>
                  <a:lnTo>
                    <a:pt x="617" y="473"/>
                  </a:lnTo>
                  <a:lnTo>
                    <a:pt x="615" y="479"/>
                  </a:lnTo>
                  <a:lnTo>
                    <a:pt x="618" y="478"/>
                  </a:lnTo>
                  <a:lnTo>
                    <a:pt x="620" y="480"/>
                  </a:lnTo>
                  <a:lnTo>
                    <a:pt x="621" y="478"/>
                  </a:lnTo>
                  <a:lnTo>
                    <a:pt x="621" y="484"/>
                  </a:lnTo>
                  <a:lnTo>
                    <a:pt x="620" y="487"/>
                  </a:lnTo>
                  <a:lnTo>
                    <a:pt x="624" y="486"/>
                  </a:lnTo>
                  <a:lnTo>
                    <a:pt x="625" y="485"/>
                  </a:lnTo>
                  <a:lnTo>
                    <a:pt x="626" y="484"/>
                  </a:lnTo>
                  <a:lnTo>
                    <a:pt x="628" y="478"/>
                  </a:lnTo>
                  <a:lnTo>
                    <a:pt x="629" y="476"/>
                  </a:lnTo>
                  <a:lnTo>
                    <a:pt x="632" y="479"/>
                  </a:lnTo>
                  <a:lnTo>
                    <a:pt x="634" y="478"/>
                  </a:lnTo>
                  <a:lnTo>
                    <a:pt x="634" y="475"/>
                  </a:lnTo>
                  <a:lnTo>
                    <a:pt x="637" y="478"/>
                  </a:lnTo>
                  <a:lnTo>
                    <a:pt x="636" y="480"/>
                  </a:lnTo>
                  <a:lnTo>
                    <a:pt x="637" y="479"/>
                  </a:lnTo>
                  <a:lnTo>
                    <a:pt x="641" y="479"/>
                  </a:lnTo>
                  <a:lnTo>
                    <a:pt x="646" y="479"/>
                  </a:lnTo>
                  <a:lnTo>
                    <a:pt x="644" y="478"/>
                  </a:lnTo>
                  <a:lnTo>
                    <a:pt x="640" y="475"/>
                  </a:lnTo>
                  <a:lnTo>
                    <a:pt x="634" y="472"/>
                  </a:lnTo>
                  <a:lnTo>
                    <a:pt x="634" y="469"/>
                  </a:lnTo>
                  <a:lnTo>
                    <a:pt x="631" y="469"/>
                  </a:lnTo>
                  <a:lnTo>
                    <a:pt x="626" y="469"/>
                  </a:lnTo>
                  <a:lnTo>
                    <a:pt x="624" y="468"/>
                  </a:lnTo>
                  <a:lnTo>
                    <a:pt x="623" y="466"/>
                  </a:lnTo>
                  <a:lnTo>
                    <a:pt x="628" y="466"/>
                  </a:lnTo>
                  <a:lnTo>
                    <a:pt x="631" y="467"/>
                  </a:lnTo>
                  <a:lnTo>
                    <a:pt x="629" y="464"/>
                  </a:lnTo>
                  <a:lnTo>
                    <a:pt x="623" y="462"/>
                  </a:lnTo>
                  <a:lnTo>
                    <a:pt x="621" y="461"/>
                  </a:lnTo>
                  <a:lnTo>
                    <a:pt x="626" y="460"/>
                  </a:lnTo>
                  <a:lnTo>
                    <a:pt x="621" y="460"/>
                  </a:lnTo>
                  <a:lnTo>
                    <a:pt x="615" y="458"/>
                  </a:lnTo>
                  <a:lnTo>
                    <a:pt x="615" y="456"/>
                  </a:lnTo>
                  <a:lnTo>
                    <a:pt x="613" y="456"/>
                  </a:lnTo>
                  <a:lnTo>
                    <a:pt x="609" y="455"/>
                  </a:lnTo>
                  <a:lnTo>
                    <a:pt x="612" y="452"/>
                  </a:lnTo>
                  <a:lnTo>
                    <a:pt x="609" y="452"/>
                  </a:lnTo>
                  <a:lnTo>
                    <a:pt x="603" y="452"/>
                  </a:lnTo>
                  <a:lnTo>
                    <a:pt x="602" y="450"/>
                  </a:lnTo>
                  <a:lnTo>
                    <a:pt x="601" y="449"/>
                  </a:lnTo>
                  <a:lnTo>
                    <a:pt x="599" y="450"/>
                  </a:lnTo>
                  <a:lnTo>
                    <a:pt x="595" y="450"/>
                  </a:lnTo>
                  <a:lnTo>
                    <a:pt x="594" y="449"/>
                  </a:lnTo>
                  <a:lnTo>
                    <a:pt x="594" y="445"/>
                  </a:lnTo>
                  <a:lnTo>
                    <a:pt x="591" y="446"/>
                  </a:lnTo>
                  <a:lnTo>
                    <a:pt x="590" y="444"/>
                  </a:lnTo>
                  <a:lnTo>
                    <a:pt x="587" y="444"/>
                  </a:lnTo>
                  <a:lnTo>
                    <a:pt x="583" y="445"/>
                  </a:lnTo>
                  <a:lnTo>
                    <a:pt x="581" y="445"/>
                  </a:lnTo>
                  <a:lnTo>
                    <a:pt x="579" y="444"/>
                  </a:lnTo>
                  <a:lnTo>
                    <a:pt x="571" y="440"/>
                  </a:lnTo>
                  <a:lnTo>
                    <a:pt x="566" y="439"/>
                  </a:lnTo>
                  <a:lnTo>
                    <a:pt x="562" y="437"/>
                  </a:lnTo>
                  <a:lnTo>
                    <a:pt x="560" y="437"/>
                  </a:lnTo>
                  <a:lnTo>
                    <a:pt x="558" y="437"/>
                  </a:lnTo>
                  <a:lnTo>
                    <a:pt x="553" y="436"/>
                  </a:lnTo>
                  <a:lnTo>
                    <a:pt x="549" y="434"/>
                  </a:lnTo>
                  <a:lnTo>
                    <a:pt x="547" y="433"/>
                  </a:lnTo>
                  <a:lnTo>
                    <a:pt x="543" y="433"/>
                  </a:lnTo>
                  <a:lnTo>
                    <a:pt x="541" y="432"/>
                  </a:lnTo>
                  <a:lnTo>
                    <a:pt x="540" y="434"/>
                  </a:lnTo>
                  <a:lnTo>
                    <a:pt x="537" y="431"/>
                  </a:lnTo>
                  <a:lnTo>
                    <a:pt x="536" y="431"/>
                  </a:lnTo>
                  <a:lnTo>
                    <a:pt x="534" y="431"/>
                  </a:lnTo>
                  <a:lnTo>
                    <a:pt x="529" y="433"/>
                  </a:lnTo>
                  <a:lnTo>
                    <a:pt x="529" y="432"/>
                  </a:lnTo>
                  <a:lnTo>
                    <a:pt x="525" y="431"/>
                  </a:lnTo>
                  <a:lnTo>
                    <a:pt x="523" y="430"/>
                  </a:lnTo>
                  <a:lnTo>
                    <a:pt x="520" y="431"/>
                  </a:lnTo>
                  <a:lnTo>
                    <a:pt x="519" y="428"/>
                  </a:lnTo>
                  <a:lnTo>
                    <a:pt x="514" y="427"/>
                  </a:lnTo>
                  <a:lnTo>
                    <a:pt x="512" y="426"/>
                  </a:lnTo>
                  <a:lnTo>
                    <a:pt x="511" y="426"/>
                  </a:lnTo>
                  <a:lnTo>
                    <a:pt x="510" y="425"/>
                  </a:lnTo>
                  <a:lnTo>
                    <a:pt x="511" y="424"/>
                  </a:lnTo>
                  <a:lnTo>
                    <a:pt x="513" y="425"/>
                  </a:lnTo>
                  <a:lnTo>
                    <a:pt x="516" y="426"/>
                  </a:lnTo>
                  <a:lnTo>
                    <a:pt x="518" y="428"/>
                  </a:lnTo>
                  <a:lnTo>
                    <a:pt x="522" y="430"/>
                  </a:lnTo>
                  <a:lnTo>
                    <a:pt x="525" y="430"/>
                  </a:lnTo>
                  <a:lnTo>
                    <a:pt x="525" y="427"/>
                  </a:lnTo>
                  <a:lnTo>
                    <a:pt x="528" y="428"/>
                  </a:lnTo>
                  <a:lnTo>
                    <a:pt x="528" y="431"/>
                  </a:lnTo>
                  <a:lnTo>
                    <a:pt x="529" y="431"/>
                  </a:lnTo>
                  <a:lnTo>
                    <a:pt x="530" y="431"/>
                  </a:lnTo>
                  <a:lnTo>
                    <a:pt x="532" y="427"/>
                  </a:lnTo>
                  <a:lnTo>
                    <a:pt x="534" y="426"/>
                  </a:lnTo>
                  <a:lnTo>
                    <a:pt x="535" y="430"/>
                  </a:lnTo>
                  <a:lnTo>
                    <a:pt x="536" y="430"/>
                  </a:lnTo>
                  <a:lnTo>
                    <a:pt x="538" y="430"/>
                  </a:lnTo>
                  <a:lnTo>
                    <a:pt x="538" y="428"/>
                  </a:lnTo>
                  <a:lnTo>
                    <a:pt x="540" y="431"/>
                  </a:lnTo>
                  <a:lnTo>
                    <a:pt x="541" y="431"/>
                  </a:lnTo>
                  <a:lnTo>
                    <a:pt x="542" y="430"/>
                  </a:lnTo>
                  <a:lnTo>
                    <a:pt x="543" y="431"/>
                  </a:lnTo>
                  <a:lnTo>
                    <a:pt x="544" y="431"/>
                  </a:lnTo>
                  <a:lnTo>
                    <a:pt x="548" y="432"/>
                  </a:lnTo>
                  <a:lnTo>
                    <a:pt x="549" y="433"/>
                  </a:lnTo>
                  <a:lnTo>
                    <a:pt x="550" y="432"/>
                  </a:lnTo>
                  <a:lnTo>
                    <a:pt x="552" y="431"/>
                  </a:lnTo>
                  <a:lnTo>
                    <a:pt x="553" y="430"/>
                  </a:lnTo>
                  <a:lnTo>
                    <a:pt x="552" y="426"/>
                  </a:lnTo>
                  <a:lnTo>
                    <a:pt x="554" y="428"/>
                  </a:lnTo>
                  <a:lnTo>
                    <a:pt x="556" y="431"/>
                  </a:lnTo>
                  <a:lnTo>
                    <a:pt x="558" y="434"/>
                  </a:lnTo>
                  <a:lnTo>
                    <a:pt x="559" y="434"/>
                  </a:lnTo>
                  <a:lnTo>
                    <a:pt x="559" y="433"/>
                  </a:lnTo>
                  <a:lnTo>
                    <a:pt x="561" y="432"/>
                  </a:lnTo>
                  <a:lnTo>
                    <a:pt x="562" y="434"/>
                  </a:lnTo>
                  <a:lnTo>
                    <a:pt x="562" y="436"/>
                  </a:lnTo>
                  <a:lnTo>
                    <a:pt x="565" y="434"/>
                  </a:lnTo>
                  <a:lnTo>
                    <a:pt x="566" y="432"/>
                  </a:lnTo>
                  <a:lnTo>
                    <a:pt x="565" y="436"/>
                  </a:lnTo>
                  <a:lnTo>
                    <a:pt x="566" y="437"/>
                  </a:lnTo>
                  <a:lnTo>
                    <a:pt x="570" y="437"/>
                  </a:lnTo>
                  <a:lnTo>
                    <a:pt x="572" y="436"/>
                  </a:lnTo>
                  <a:lnTo>
                    <a:pt x="572" y="434"/>
                  </a:lnTo>
                  <a:lnTo>
                    <a:pt x="573" y="434"/>
                  </a:lnTo>
                  <a:lnTo>
                    <a:pt x="577" y="439"/>
                  </a:lnTo>
                  <a:lnTo>
                    <a:pt x="577" y="438"/>
                  </a:lnTo>
                  <a:lnTo>
                    <a:pt x="576" y="436"/>
                  </a:lnTo>
                  <a:lnTo>
                    <a:pt x="575" y="433"/>
                  </a:lnTo>
                  <a:lnTo>
                    <a:pt x="575" y="432"/>
                  </a:lnTo>
                  <a:lnTo>
                    <a:pt x="575" y="433"/>
                  </a:lnTo>
                  <a:lnTo>
                    <a:pt x="577" y="433"/>
                  </a:lnTo>
                  <a:lnTo>
                    <a:pt x="577" y="431"/>
                  </a:lnTo>
                  <a:lnTo>
                    <a:pt x="578" y="430"/>
                  </a:lnTo>
                  <a:lnTo>
                    <a:pt x="579" y="431"/>
                  </a:lnTo>
                  <a:lnTo>
                    <a:pt x="578" y="436"/>
                  </a:lnTo>
                  <a:lnTo>
                    <a:pt x="579" y="437"/>
                  </a:lnTo>
                  <a:lnTo>
                    <a:pt x="581" y="437"/>
                  </a:lnTo>
                  <a:lnTo>
                    <a:pt x="581" y="439"/>
                  </a:lnTo>
                  <a:lnTo>
                    <a:pt x="582" y="442"/>
                  </a:lnTo>
                  <a:lnTo>
                    <a:pt x="583" y="443"/>
                  </a:lnTo>
                  <a:lnTo>
                    <a:pt x="584" y="440"/>
                  </a:lnTo>
                  <a:lnTo>
                    <a:pt x="584" y="437"/>
                  </a:lnTo>
                  <a:lnTo>
                    <a:pt x="584" y="433"/>
                  </a:lnTo>
                  <a:lnTo>
                    <a:pt x="585" y="433"/>
                  </a:lnTo>
                  <a:lnTo>
                    <a:pt x="587" y="442"/>
                  </a:lnTo>
                  <a:lnTo>
                    <a:pt x="588" y="440"/>
                  </a:lnTo>
                  <a:lnTo>
                    <a:pt x="588" y="438"/>
                  </a:lnTo>
                  <a:lnTo>
                    <a:pt x="588" y="436"/>
                  </a:lnTo>
                  <a:lnTo>
                    <a:pt x="590" y="434"/>
                  </a:lnTo>
                  <a:lnTo>
                    <a:pt x="590" y="432"/>
                  </a:lnTo>
                  <a:lnTo>
                    <a:pt x="590" y="431"/>
                  </a:lnTo>
                  <a:lnTo>
                    <a:pt x="591" y="436"/>
                  </a:lnTo>
                  <a:lnTo>
                    <a:pt x="591" y="439"/>
                  </a:lnTo>
                  <a:lnTo>
                    <a:pt x="594" y="440"/>
                  </a:lnTo>
                  <a:lnTo>
                    <a:pt x="596" y="440"/>
                  </a:lnTo>
                  <a:lnTo>
                    <a:pt x="597" y="436"/>
                  </a:lnTo>
                  <a:lnTo>
                    <a:pt x="599" y="440"/>
                  </a:lnTo>
                  <a:lnTo>
                    <a:pt x="599" y="444"/>
                  </a:lnTo>
                  <a:lnTo>
                    <a:pt x="597" y="445"/>
                  </a:lnTo>
                  <a:lnTo>
                    <a:pt x="600" y="446"/>
                  </a:lnTo>
                  <a:lnTo>
                    <a:pt x="601" y="446"/>
                  </a:lnTo>
                  <a:lnTo>
                    <a:pt x="601" y="444"/>
                  </a:lnTo>
                  <a:lnTo>
                    <a:pt x="602" y="443"/>
                  </a:lnTo>
                  <a:lnTo>
                    <a:pt x="605" y="440"/>
                  </a:lnTo>
                  <a:lnTo>
                    <a:pt x="605" y="439"/>
                  </a:lnTo>
                  <a:lnTo>
                    <a:pt x="605" y="436"/>
                  </a:lnTo>
                  <a:lnTo>
                    <a:pt x="606" y="433"/>
                  </a:lnTo>
                  <a:lnTo>
                    <a:pt x="607" y="436"/>
                  </a:lnTo>
                  <a:lnTo>
                    <a:pt x="608" y="438"/>
                  </a:lnTo>
                  <a:lnTo>
                    <a:pt x="609" y="442"/>
                  </a:lnTo>
                  <a:lnTo>
                    <a:pt x="609" y="440"/>
                  </a:lnTo>
                  <a:lnTo>
                    <a:pt x="611" y="438"/>
                  </a:lnTo>
                  <a:lnTo>
                    <a:pt x="612" y="438"/>
                  </a:lnTo>
                  <a:lnTo>
                    <a:pt x="613" y="440"/>
                  </a:lnTo>
                  <a:lnTo>
                    <a:pt x="613" y="443"/>
                  </a:lnTo>
                  <a:lnTo>
                    <a:pt x="613" y="445"/>
                  </a:lnTo>
                  <a:lnTo>
                    <a:pt x="614" y="446"/>
                  </a:lnTo>
                  <a:lnTo>
                    <a:pt x="617" y="443"/>
                  </a:lnTo>
                  <a:lnTo>
                    <a:pt x="618" y="442"/>
                  </a:lnTo>
                  <a:lnTo>
                    <a:pt x="619" y="443"/>
                  </a:lnTo>
                  <a:lnTo>
                    <a:pt x="620" y="443"/>
                  </a:lnTo>
                  <a:lnTo>
                    <a:pt x="620" y="440"/>
                  </a:lnTo>
                  <a:lnTo>
                    <a:pt x="621" y="436"/>
                  </a:lnTo>
                  <a:lnTo>
                    <a:pt x="624" y="434"/>
                  </a:lnTo>
                  <a:lnTo>
                    <a:pt x="625" y="436"/>
                  </a:lnTo>
                  <a:lnTo>
                    <a:pt x="628" y="436"/>
                  </a:lnTo>
                  <a:lnTo>
                    <a:pt x="628" y="438"/>
                  </a:lnTo>
                  <a:lnTo>
                    <a:pt x="629" y="442"/>
                  </a:lnTo>
                  <a:lnTo>
                    <a:pt x="631" y="440"/>
                  </a:lnTo>
                  <a:lnTo>
                    <a:pt x="631" y="438"/>
                  </a:lnTo>
                  <a:lnTo>
                    <a:pt x="638" y="440"/>
                  </a:lnTo>
                  <a:lnTo>
                    <a:pt x="637" y="439"/>
                  </a:lnTo>
                  <a:lnTo>
                    <a:pt x="634" y="437"/>
                  </a:lnTo>
                  <a:lnTo>
                    <a:pt x="631" y="437"/>
                  </a:lnTo>
                  <a:lnTo>
                    <a:pt x="635" y="434"/>
                  </a:lnTo>
                  <a:lnTo>
                    <a:pt x="634" y="433"/>
                  </a:lnTo>
                  <a:lnTo>
                    <a:pt x="630" y="433"/>
                  </a:lnTo>
                  <a:lnTo>
                    <a:pt x="631" y="432"/>
                  </a:lnTo>
                  <a:lnTo>
                    <a:pt x="631" y="431"/>
                  </a:lnTo>
                  <a:lnTo>
                    <a:pt x="628" y="431"/>
                  </a:lnTo>
                  <a:lnTo>
                    <a:pt x="624" y="430"/>
                  </a:lnTo>
                  <a:lnTo>
                    <a:pt x="621" y="428"/>
                  </a:lnTo>
                  <a:lnTo>
                    <a:pt x="619" y="426"/>
                  </a:lnTo>
                  <a:lnTo>
                    <a:pt x="617" y="425"/>
                  </a:lnTo>
                  <a:lnTo>
                    <a:pt x="614" y="422"/>
                  </a:lnTo>
                  <a:lnTo>
                    <a:pt x="613" y="421"/>
                  </a:lnTo>
                  <a:lnTo>
                    <a:pt x="611" y="417"/>
                  </a:lnTo>
                  <a:lnTo>
                    <a:pt x="613" y="416"/>
                  </a:lnTo>
                  <a:lnTo>
                    <a:pt x="617" y="417"/>
                  </a:lnTo>
                  <a:lnTo>
                    <a:pt x="615" y="415"/>
                  </a:lnTo>
                  <a:lnTo>
                    <a:pt x="614" y="414"/>
                  </a:lnTo>
                  <a:lnTo>
                    <a:pt x="613" y="410"/>
                  </a:lnTo>
                  <a:lnTo>
                    <a:pt x="611" y="411"/>
                  </a:lnTo>
                  <a:lnTo>
                    <a:pt x="611" y="414"/>
                  </a:lnTo>
                  <a:lnTo>
                    <a:pt x="607" y="413"/>
                  </a:lnTo>
                  <a:lnTo>
                    <a:pt x="603" y="414"/>
                  </a:lnTo>
                  <a:lnTo>
                    <a:pt x="595" y="410"/>
                  </a:lnTo>
                  <a:lnTo>
                    <a:pt x="590" y="409"/>
                  </a:lnTo>
                  <a:lnTo>
                    <a:pt x="590" y="407"/>
                  </a:lnTo>
                  <a:lnTo>
                    <a:pt x="588" y="408"/>
                  </a:lnTo>
                  <a:lnTo>
                    <a:pt x="585" y="408"/>
                  </a:lnTo>
                  <a:lnTo>
                    <a:pt x="584" y="407"/>
                  </a:lnTo>
                  <a:lnTo>
                    <a:pt x="582" y="405"/>
                  </a:lnTo>
                  <a:lnTo>
                    <a:pt x="581" y="404"/>
                  </a:lnTo>
                  <a:lnTo>
                    <a:pt x="572" y="404"/>
                  </a:lnTo>
                  <a:lnTo>
                    <a:pt x="567" y="404"/>
                  </a:lnTo>
                  <a:lnTo>
                    <a:pt x="566" y="403"/>
                  </a:lnTo>
                  <a:lnTo>
                    <a:pt x="564" y="402"/>
                  </a:lnTo>
                  <a:lnTo>
                    <a:pt x="561" y="402"/>
                  </a:lnTo>
                  <a:lnTo>
                    <a:pt x="556" y="401"/>
                  </a:lnTo>
                  <a:lnTo>
                    <a:pt x="554" y="399"/>
                  </a:lnTo>
                  <a:lnTo>
                    <a:pt x="553" y="395"/>
                  </a:lnTo>
                  <a:lnTo>
                    <a:pt x="549" y="395"/>
                  </a:lnTo>
                  <a:lnTo>
                    <a:pt x="547" y="393"/>
                  </a:lnTo>
                  <a:lnTo>
                    <a:pt x="541" y="392"/>
                  </a:lnTo>
                  <a:lnTo>
                    <a:pt x="540" y="392"/>
                  </a:lnTo>
                  <a:lnTo>
                    <a:pt x="536" y="392"/>
                  </a:lnTo>
                  <a:lnTo>
                    <a:pt x="532" y="392"/>
                  </a:lnTo>
                  <a:lnTo>
                    <a:pt x="532" y="390"/>
                  </a:lnTo>
                  <a:lnTo>
                    <a:pt x="529" y="390"/>
                  </a:lnTo>
                  <a:lnTo>
                    <a:pt x="528" y="391"/>
                  </a:lnTo>
                  <a:lnTo>
                    <a:pt x="520" y="392"/>
                  </a:lnTo>
                  <a:lnTo>
                    <a:pt x="518" y="391"/>
                  </a:lnTo>
                  <a:lnTo>
                    <a:pt x="513" y="389"/>
                  </a:lnTo>
                  <a:lnTo>
                    <a:pt x="510" y="389"/>
                  </a:lnTo>
                  <a:lnTo>
                    <a:pt x="503" y="387"/>
                  </a:lnTo>
                  <a:lnTo>
                    <a:pt x="499" y="386"/>
                  </a:lnTo>
                  <a:lnTo>
                    <a:pt x="493" y="386"/>
                  </a:lnTo>
                  <a:lnTo>
                    <a:pt x="489" y="383"/>
                  </a:lnTo>
                  <a:lnTo>
                    <a:pt x="485" y="381"/>
                  </a:lnTo>
                  <a:lnTo>
                    <a:pt x="485" y="384"/>
                  </a:lnTo>
                  <a:lnTo>
                    <a:pt x="484" y="385"/>
                  </a:lnTo>
                  <a:lnTo>
                    <a:pt x="482" y="385"/>
                  </a:lnTo>
                  <a:lnTo>
                    <a:pt x="479" y="385"/>
                  </a:lnTo>
                  <a:lnTo>
                    <a:pt x="476" y="383"/>
                  </a:lnTo>
                  <a:lnTo>
                    <a:pt x="473" y="381"/>
                  </a:lnTo>
                  <a:lnTo>
                    <a:pt x="469" y="383"/>
                  </a:lnTo>
                  <a:lnTo>
                    <a:pt x="467" y="384"/>
                  </a:lnTo>
                  <a:lnTo>
                    <a:pt x="464" y="381"/>
                  </a:lnTo>
                  <a:lnTo>
                    <a:pt x="463" y="380"/>
                  </a:lnTo>
                  <a:lnTo>
                    <a:pt x="458" y="380"/>
                  </a:lnTo>
                  <a:lnTo>
                    <a:pt x="453" y="380"/>
                  </a:lnTo>
                  <a:lnTo>
                    <a:pt x="453" y="378"/>
                  </a:lnTo>
                  <a:lnTo>
                    <a:pt x="451" y="375"/>
                  </a:lnTo>
                  <a:lnTo>
                    <a:pt x="448" y="374"/>
                  </a:lnTo>
                  <a:lnTo>
                    <a:pt x="444" y="373"/>
                  </a:lnTo>
                  <a:lnTo>
                    <a:pt x="443" y="371"/>
                  </a:lnTo>
                  <a:lnTo>
                    <a:pt x="440" y="368"/>
                  </a:lnTo>
                  <a:lnTo>
                    <a:pt x="435" y="365"/>
                  </a:lnTo>
                  <a:lnTo>
                    <a:pt x="432" y="361"/>
                  </a:lnTo>
                  <a:lnTo>
                    <a:pt x="432" y="353"/>
                  </a:lnTo>
                  <a:lnTo>
                    <a:pt x="432" y="349"/>
                  </a:lnTo>
                  <a:lnTo>
                    <a:pt x="434" y="349"/>
                  </a:lnTo>
                  <a:lnTo>
                    <a:pt x="435" y="353"/>
                  </a:lnTo>
                  <a:lnTo>
                    <a:pt x="436" y="354"/>
                  </a:lnTo>
                  <a:lnTo>
                    <a:pt x="437" y="351"/>
                  </a:lnTo>
                  <a:lnTo>
                    <a:pt x="437" y="348"/>
                  </a:lnTo>
                  <a:lnTo>
                    <a:pt x="437" y="347"/>
                  </a:lnTo>
                  <a:lnTo>
                    <a:pt x="438" y="349"/>
                  </a:lnTo>
                  <a:lnTo>
                    <a:pt x="438" y="353"/>
                  </a:lnTo>
                  <a:lnTo>
                    <a:pt x="437" y="356"/>
                  </a:lnTo>
                  <a:lnTo>
                    <a:pt x="437" y="360"/>
                  </a:lnTo>
                  <a:lnTo>
                    <a:pt x="436" y="362"/>
                  </a:lnTo>
                  <a:lnTo>
                    <a:pt x="437" y="363"/>
                  </a:lnTo>
                  <a:lnTo>
                    <a:pt x="440" y="365"/>
                  </a:lnTo>
                  <a:lnTo>
                    <a:pt x="441" y="367"/>
                  </a:lnTo>
                  <a:lnTo>
                    <a:pt x="442" y="368"/>
                  </a:lnTo>
                  <a:lnTo>
                    <a:pt x="446" y="371"/>
                  </a:lnTo>
                  <a:lnTo>
                    <a:pt x="447" y="369"/>
                  </a:lnTo>
                  <a:lnTo>
                    <a:pt x="448" y="372"/>
                  </a:lnTo>
                  <a:lnTo>
                    <a:pt x="449" y="372"/>
                  </a:lnTo>
                  <a:lnTo>
                    <a:pt x="452" y="372"/>
                  </a:lnTo>
                  <a:lnTo>
                    <a:pt x="453" y="374"/>
                  </a:lnTo>
                  <a:lnTo>
                    <a:pt x="454" y="373"/>
                  </a:lnTo>
                  <a:lnTo>
                    <a:pt x="454" y="371"/>
                  </a:lnTo>
                  <a:lnTo>
                    <a:pt x="452" y="368"/>
                  </a:lnTo>
                  <a:lnTo>
                    <a:pt x="451" y="366"/>
                  </a:lnTo>
                  <a:lnTo>
                    <a:pt x="452" y="362"/>
                  </a:lnTo>
                  <a:lnTo>
                    <a:pt x="451" y="359"/>
                  </a:lnTo>
                  <a:lnTo>
                    <a:pt x="451" y="355"/>
                  </a:lnTo>
                  <a:lnTo>
                    <a:pt x="452" y="351"/>
                  </a:lnTo>
                  <a:lnTo>
                    <a:pt x="453" y="351"/>
                  </a:lnTo>
                  <a:lnTo>
                    <a:pt x="453" y="353"/>
                  </a:lnTo>
                  <a:lnTo>
                    <a:pt x="452" y="356"/>
                  </a:lnTo>
                  <a:lnTo>
                    <a:pt x="454" y="355"/>
                  </a:lnTo>
                  <a:lnTo>
                    <a:pt x="455" y="356"/>
                  </a:lnTo>
                  <a:lnTo>
                    <a:pt x="453" y="360"/>
                  </a:lnTo>
                  <a:lnTo>
                    <a:pt x="454" y="361"/>
                  </a:lnTo>
                  <a:lnTo>
                    <a:pt x="455" y="361"/>
                  </a:lnTo>
                  <a:lnTo>
                    <a:pt x="457" y="359"/>
                  </a:lnTo>
                  <a:lnTo>
                    <a:pt x="457" y="355"/>
                  </a:lnTo>
                  <a:lnTo>
                    <a:pt x="457" y="353"/>
                  </a:lnTo>
                  <a:lnTo>
                    <a:pt x="459" y="353"/>
                  </a:lnTo>
                  <a:lnTo>
                    <a:pt x="459" y="357"/>
                  </a:lnTo>
                  <a:lnTo>
                    <a:pt x="460" y="361"/>
                  </a:lnTo>
                  <a:lnTo>
                    <a:pt x="460" y="362"/>
                  </a:lnTo>
                  <a:lnTo>
                    <a:pt x="461" y="361"/>
                  </a:lnTo>
                  <a:lnTo>
                    <a:pt x="464" y="360"/>
                  </a:lnTo>
                  <a:lnTo>
                    <a:pt x="464" y="362"/>
                  </a:lnTo>
                  <a:lnTo>
                    <a:pt x="465" y="363"/>
                  </a:lnTo>
                  <a:lnTo>
                    <a:pt x="465" y="365"/>
                  </a:lnTo>
                  <a:lnTo>
                    <a:pt x="466" y="365"/>
                  </a:lnTo>
                  <a:lnTo>
                    <a:pt x="466" y="366"/>
                  </a:lnTo>
                  <a:lnTo>
                    <a:pt x="469" y="367"/>
                  </a:lnTo>
                  <a:lnTo>
                    <a:pt x="470" y="365"/>
                  </a:lnTo>
                  <a:lnTo>
                    <a:pt x="470" y="363"/>
                  </a:lnTo>
                  <a:lnTo>
                    <a:pt x="471" y="362"/>
                  </a:lnTo>
                  <a:lnTo>
                    <a:pt x="471" y="367"/>
                  </a:lnTo>
                  <a:lnTo>
                    <a:pt x="471" y="372"/>
                  </a:lnTo>
                  <a:lnTo>
                    <a:pt x="471" y="373"/>
                  </a:lnTo>
                  <a:lnTo>
                    <a:pt x="472" y="369"/>
                  </a:lnTo>
                  <a:lnTo>
                    <a:pt x="473" y="367"/>
                  </a:lnTo>
                  <a:lnTo>
                    <a:pt x="473" y="363"/>
                  </a:lnTo>
                  <a:lnTo>
                    <a:pt x="475" y="362"/>
                  </a:lnTo>
                  <a:lnTo>
                    <a:pt x="475" y="367"/>
                  </a:lnTo>
                  <a:lnTo>
                    <a:pt x="473" y="372"/>
                  </a:lnTo>
                  <a:lnTo>
                    <a:pt x="473" y="373"/>
                  </a:lnTo>
                  <a:lnTo>
                    <a:pt x="475" y="373"/>
                  </a:lnTo>
                  <a:lnTo>
                    <a:pt x="476" y="372"/>
                  </a:lnTo>
                  <a:lnTo>
                    <a:pt x="476" y="373"/>
                  </a:lnTo>
                  <a:lnTo>
                    <a:pt x="477" y="375"/>
                  </a:lnTo>
                  <a:lnTo>
                    <a:pt x="478" y="379"/>
                  </a:lnTo>
                  <a:lnTo>
                    <a:pt x="479" y="378"/>
                  </a:lnTo>
                  <a:lnTo>
                    <a:pt x="479" y="373"/>
                  </a:lnTo>
                  <a:lnTo>
                    <a:pt x="479" y="372"/>
                  </a:lnTo>
                  <a:lnTo>
                    <a:pt x="482" y="371"/>
                  </a:lnTo>
                  <a:lnTo>
                    <a:pt x="484" y="369"/>
                  </a:lnTo>
                  <a:lnTo>
                    <a:pt x="485" y="368"/>
                  </a:lnTo>
                  <a:lnTo>
                    <a:pt x="482" y="365"/>
                  </a:lnTo>
                  <a:lnTo>
                    <a:pt x="481" y="360"/>
                  </a:lnTo>
                  <a:lnTo>
                    <a:pt x="482" y="360"/>
                  </a:lnTo>
                  <a:lnTo>
                    <a:pt x="482" y="361"/>
                  </a:lnTo>
                  <a:lnTo>
                    <a:pt x="483" y="361"/>
                  </a:lnTo>
                  <a:lnTo>
                    <a:pt x="485" y="360"/>
                  </a:lnTo>
                  <a:lnTo>
                    <a:pt x="488" y="360"/>
                  </a:lnTo>
                  <a:lnTo>
                    <a:pt x="488" y="356"/>
                  </a:lnTo>
                  <a:lnTo>
                    <a:pt x="488" y="355"/>
                  </a:lnTo>
                  <a:lnTo>
                    <a:pt x="489" y="356"/>
                  </a:lnTo>
                  <a:lnTo>
                    <a:pt x="490" y="359"/>
                  </a:lnTo>
                  <a:lnTo>
                    <a:pt x="493" y="356"/>
                  </a:lnTo>
                  <a:lnTo>
                    <a:pt x="491" y="354"/>
                  </a:lnTo>
                  <a:lnTo>
                    <a:pt x="494" y="353"/>
                  </a:lnTo>
                  <a:lnTo>
                    <a:pt x="494" y="351"/>
                  </a:lnTo>
                  <a:lnTo>
                    <a:pt x="493" y="349"/>
                  </a:lnTo>
                  <a:lnTo>
                    <a:pt x="496" y="349"/>
                  </a:lnTo>
                  <a:lnTo>
                    <a:pt x="499" y="348"/>
                  </a:lnTo>
                  <a:lnTo>
                    <a:pt x="496" y="338"/>
                  </a:lnTo>
                  <a:lnTo>
                    <a:pt x="497" y="333"/>
                  </a:lnTo>
                  <a:lnTo>
                    <a:pt x="499" y="332"/>
                  </a:lnTo>
                  <a:lnTo>
                    <a:pt x="499" y="336"/>
                  </a:lnTo>
                  <a:lnTo>
                    <a:pt x="500" y="336"/>
                  </a:lnTo>
                  <a:lnTo>
                    <a:pt x="500" y="332"/>
                  </a:lnTo>
                  <a:lnTo>
                    <a:pt x="500" y="330"/>
                  </a:lnTo>
                  <a:lnTo>
                    <a:pt x="501" y="331"/>
                  </a:lnTo>
                  <a:lnTo>
                    <a:pt x="502" y="329"/>
                  </a:lnTo>
                  <a:lnTo>
                    <a:pt x="505" y="329"/>
                  </a:lnTo>
                  <a:lnTo>
                    <a:pt x="507" y="330"/>
                  </a:lnTo>
                  <a:lnTo>
                    <a:pt x="507" y="333"/>
                  </a:lnTo>
                  <a:lnTo>
                    <a:pt x="507" y="337"/>
                  </a:lnTo>
                  <a:lnTo>
                    <a:pt x="507" y="338"/>
                  </a:lnTo>
                  <a:lnTo>
                    <a:pt x="508" y="338"/>
                  </a:lnTo>
                  <a:lnTo>
                    <a:pt x="510" y="341"/>
                  </a:lnTo>
                  <a:lnTo>
                    <a:pt x="511" y="338"/>
                  </a:lnTo>
                  <a:lnTo>
                    <a:pt x="511" y="332"/>
                  </a:lnTo>
                  <a:lnTo>
                    <a:pt x="510" y="330"/>
                  </a:lnTo>
                  <a:lnTo>
                    <a:pt x="511" y="327"/>
                  </a:lnTo>
                  <a:lnTo>
                    <a:pt x="513" y="325"/>
                  </a:lnTo>
                  <a:lnTo>
                    <a:pt x="513" y="323"/>
                  </a:lnTo>
                  <a:lnTo>
                    <a:pt x="512" y="319"/>
                  </a:lnTo>
                  <a:lnTo>
                    <a:pt x="512" y="315"/>
                  </a:lnTo>
                  <a:lnTo>
                    <a:pt x="514" y="313"/>
                  </a:lnTo>
                  <a:lnTo>
                    <a:pt x="514" y="317"/>
                  </a:lnTo>
                  <a:lnTo>
                    <a:pt x="519" y="315"/>
                  </a:lnTo>
                  <a:lnTo>
                    <a:pt x="520" y="318"/>
                  </a:lnTo>
                  <a:lnTo>
                    <a:pt x="522" y="315"/>
                  </a:lnTo>
                  <a:lnTo>
                    <a:pt x="523" y="314"/>
                  </a:lnTo>
                  <a:lnTo>
                    <a:pt x="524" y="314"/>
                  </a:lnTo>
                  <a:lnTo>
                    <a:pt x="523" y="323"/>
                  </a:lnTo>
                  <a:lnTo>
                    <a:pt x="524" y="324"/>
                  </a:lnTo>
                  <a:lnTo>
                    <a:pt x="526" y="324"/>
                  </a:lnTo>
                  <a:lnTo>
                    <a:pt x="526" y="321"/>
                  </a:lnTo>
                  <a:lnTo>
                    <a:pt x="525" y="315"/>
                  </a:lnTo>
                  <a:lnTo>
                    <a:pt x="525" y="312"/>
                  </a:lnTo>
                  <a:lnTo>
                    <a:pt x="526" y="309"/>
                  </a:lnTo>
                  <a:lnTo>
                    <a:pt x="529" y="308"/>
                  </a:lnTo>
                  <a:lnTo>
                    <a:pt x="528" y="304"/>
                  </a:lnTo>
                  <a:lnTo>
                    <a:pt x="531" y="306"/>
                  </a:lnTo>
                  <a:lnTo>
                    <a:pt x="530" y="303"/>
                  </a:lnTo>
                  <a:lnTo>
                    <a:pt x="530" y="300"/>
                  </a:lnTo>
                  <a:lnTo>
                    <a:pt x="531" y="298"/>
                  </a:lnTo>
                  <a:lnTo>
                    <a:pt x="534" y="302"/>
                  </a:lnTo>
                  <a:lnTo>
                    <a:pt x="536" y="302"/>
                  </a:lnTo>
                  <a:lnTo>
                    <a:pt x="537" y="300"/>
                  </a:lnTo>
                  <a:lnTo>
                    <a:pt x="538" y="298"/>
                  </a:lnTo>
                  <a:lnTo>
                    <a:pt x="538" y="297"/>
                  </a:lnTo>
                  <a:lnTo>
                    <a:pt x="538" y="295"/>
                  </a:lnTo>
                  <a:lnTo>
                    <a:pt x="538" y="291"/>
                  </a:lnTo>
                  <a:lnTo>
                    <a:pt x="538" y="290"/>
                  </a:lnTo>
                  <a:lnTo>
                    <a:pt x="540" y="290"/>
                  </a:lnTo>
                  <a:lnTo>
                    <a:pt x="541" y="291"/>
                  </a:lnTo>
                  <a:lnTo>
                    <a:pt x="542" y="290"/>
                  </a:lnTo>
                  <a:lnTo>
                    <a:pt x="538" y="288"/>
                  </a:lnTo>
                  <a:lnTo>
                    <a:pt x="538" y="285"/>
                  </a:lnTo>
                  <a:lnTo>
                    <a:pt x="537" y="284"/>
                  </a:lnTo>
                  <a:lnTo>
                    <a:pt x="534" y="284"/>
                  </a:lnTo>
                  <a:lnTo>
                    <a:pt x="534" y="283"/>
                  </a:lnTo>
                  <a:lnTo>
                    <a:pt x="535" y="282"/>
                  </a:lnTo>
                  <a:lnTo>
                    <a:pt x="537" y="282"/>
                  </a:lnTo>
                  <a:lnTo>
                    <a:pt x="538" y="282"/>
                  </a:lnTo>
                  <a:lnTo>
                    <a:pt x="540" y="283"/>
                  </a:lnTo>
                  <a:lnTo>
                    <a:pt x="541" y="285"/>
                  </a:lnTo>
                  <a:lnTo>
                    <a:pt x="541" y="288"/>
                  </a:lnTo>
                  <a:lnTo>
                    <a:pt x="542" y="288"/>
                  </a:lnTo>
                  <a:lnTo>
                    <a:pt x="542" y="286"/>
                  </a:lnTo>
                  <a:lnTo>
                    <a:pt x="544" y="289"/>
                  </a:lnTo>
                  <a:lnTo>
                    <a:pt x="544" y="286"/>
                  </a:lnTo>
                  <a:lnTo>
                    <a:pt x="543" y="285"/>
                  </a:lnTo>
                  <a:lnTo>
                    <a:pt x="543" y="283"/>
                  </a:lnTo>
                  <a:lnTo>
                    <a:pt x="544" y="282"/>
                  </a:lnTo>
                  <a:lnTo>
                    <a:pt x="546" y="283"/>
                  </a:lnTo>
                  <a:lnTo>
                    <a:pt x="547" y="283"/>
                  </a:lnTo>
                  <a:lnTo>
                    <a:pt x="548" y="280"/>
                  </a:lnTo>
                  <a:lnTo>
                    <a:pt x="547" y="279"/>
                  </a:lnTo>
                  <a:lnTo>
                    <a:pt x="544" y="279"/>
                  </a:lnTo>
                  <a:lnTo>
                    <a:pt x="543" y="279"/>
                  </a:lnTo>
                  <a:lnTo>
                    <a:pt x="542" y="278"/>
                  </a:lnTo>
                  <a:lnTo>
                    <a:pt x="540" y="277"/>
                  </a:lnTo>
                  <a:lnTo>
                    <a:pt x="544" y="276"/>
                  </a:lnTo>
                  <a:lnTo>
                    <a:pt x="546" y="274"/>
                  </a:lnTo>
                  <a:lnTo>
                    <a:pt x="541" y="274"/>
                  </a:lnTo>
                  <a:lnTo>
                    <a:pt x="541" y="273"/>
                  </a:lnTo>
                  <a:lnTo>
                    <a:pt x="544" y="272"/>
                  </a:lnTo>
                  <a:lnTo>
                    <a:pt x="547" y="272"/>
                  </a:lnTo>
                  <a:lnTo>
                    <a:pt x="549" y="272"/>
                  </a:lnTo>
                  <a:lnTo>
                    <a:pt x="549" y="270"/>
                  </a:lnTo>
                  <a:lnTo>
                    <a:pt x="550" y="270"/>
                  </a:lnTo>
                  <a:lnTo>
                    <a:pt x="550" y="271"/>
                  </a:lnTo>
                  <a:lnTo>
                    <a:pt x="552" y="271"/>
                  </a:lnTo>
                  <a:lnTo>
                    <a:pt x="554" y="271"/>
                  </a:lnTo>
                  <a:lnTo>
                    <a:pt x="553" y="270"/>
                  </a:lnTo>
                  <a:lnTo>
                    <a:pt x="552" y="268"/>
                  </a:lnTo>
                  <a:lnTo>
                    <a:pt x="554" y="267"/>
                  </a:lnTo>
                  <a:lnTo>
                    <a:pt x="554" y="268"/>
                  </a:lnTo>
                  <a:lnTo>
                    <a:pt x="558" y="270"/>
                  </a:lnTo>
                  <a:lnTo>
                    <a:pt x="559" y="270"/>
                  </a:lnTo>
                  <a:lnTo>
                    <a:pt x="559" y="268"/>
                  </a:lnTo>
                  <a:lnTo>
                    <a:pt x="555" y="266"/>
                  </a:lnTo>
                  <a:lnTo>
                    <a:pt x="554" y="265"/>
                  </a:lnTo>
                  <a:lnTo>
                    <a:pt x="559" y="265"/>
                  </a:lnTo>
                  <a:lnTo>
                    <a:pt x="560" y="264"/>
                  </a:lnTo>
                  <a:lnTo>
                    <a:pt x="554" y="262"/>
                  </a:lnTo>
                  <a:lnTo>
                    <a:pt x="553" y="264"/>
                  </a:lnTo>
                  <a:lnTo>
                    <a:pt x="552" y="262"/>
                  </a:lnTo>
                  <a:lnTo>
                    <a:pt x="550" y="261"/>
                  </a:lnTo>
                  <a:lnTo>
                    <a:pt x="549" y="260"/>
                  </a:lnTo>
                  <a:lnTo>
                    <a:pt x="549" y="265"/>
                  </a:lnTo>
                  <a:lnTo>
                    <a:pt x="548" y="265"/>
                  </a:lnTo>
                  <a:lnTo>
                    <a:pt x="547" y="266"/>
                  </a:lnTo>
                  <a:lnTo>
                    <a:pt x="546" y="267"/>
                  </a:lnTo>
                  <a:lnTo>
                    <a:pt x="546" y="268"/>
                  </a:lnTo>
                  <a:lnTo>
                    <a:pt x="544" y="268"/>
                  </a:lnTo>
                  <a:lnTo>
                    <a:pt x="543" y="268"/>
                  </a:lnTo>
                  <a:lnTo>
                    <a:pt x="542" y="267"/>
                  </a:lnTo>
                  <a:lnTo>
                    <a:pt x="542" y="265"/>
                  </a:lnTo>
                  <a:lnTo>
                    <a:pt x="541" y="265"/>
                  </a:lnTo>
                  <a:lnTo>
                    <a:pt x="540" y="265"/>
                  </a:lnTo>
                  <a:lnTo>
                    <a:pt x="540" y="266"/>
                  </a:lnTo>
                  <a:lnTo>
                    <a:pt x="540" y="267"/>
                  </a:lnTo>
                  <a:lnTo>
                    <a:pt x="538" y="268"/>
                  </a:lnTo>
                  <a:lnTo>
                    <a:pt x="538" y="270"/>
                  </a:lnTo>
                  <a:lnTo>
                    <a:pt x="538" y="272"/>
                  </a:lnTo>
                  <a:lnTo>
                    <a:pt x="538" y="273"/>
                  </a:lnTo>
                  <a:lnTo>
                    <a:pt x="537" y="273"/>
                  </a:lnTo>
                  <a:lnTo>
                    <a:pt x="536" y="272"/>
                  </a:lnTo>
                  <a:lnTo>
                    <a:pt x="535" y="271"/>
                  </a:lnTo>
                  <a:lnTo>
                    <a:pt x="534" y="270"/>
                  </a:lnTo>
                  <a:lnTo>
                    <a:pt x="532" y="270"/>
                  </a:lnTo>
                  <a:lnTo>
                    <a:pt x="531" y="270"/>
                  </a:lnTo>
                  <a:lnTo>
                    <a:pt x="530" y="270"/>
                  </a:lnTo>
                  <a:lnTo>
                    <a:pt x="529" y="268"/>
                  </a:lnTo>
                  <a:lnTo>
                    <a:pt x="530" y="267"/>
                  </a:lnTo>
                  <a:lnTo>
                    <a:pt x="531" y="267"/>
                  </a:lnTo>
                  <a:lnTo>
                    <a:pt x="534" y="266"/>
                  </a:lnTo>
                  <a:lnTo>
                    <a:pt x="535" y="265"/>
                  </a:lnTo>
                  <a:lnTo>
                    <a:pt x="535" y="264"/>
                  </a:lnTo>
                  <a:lnTo>
                    <a:pt x="536" y="262"/>
                  </a:lnTo>
                  <a:lnTo>
                    <a:pt x="537" y="262"/>
                  </a:lnTo>
                  <a:lnTo>
                    <a:pt x="538" y="262"/>
                  </a:lnTo>
                  <a:lnTo>
                    <a:pt x="538" y="261"/>
                  </a:lnTo>
                  <a:lnTo>
                    <a:pt x="538" y="260"/>
                  </a:lnTo>
                  <a:lnTo>
                    <a:pt x="540" y="260"/>
                  </a:lnTo>
                  <a:lnTo>
                    <a:pt x="541" y="261"/>
                  </a:lnTo>
                  <a:lnTo>
                    <a:pt x="542" y="261"/>
                  </a:lnTo>
                  <a:lnTo>
                    <a:pt x="541" y="262"/>
                  </a:lnTo>
                  <a:lnTo>
                    <a:pt x="541" y="264"/>
                  </a:lnTo>
                  <a:lnTo>
                    <a:pt x="542" y="262"/>
                  </a:lnTo>
                  <a:lnTo>
                    <a:pt x="543" y="261"/>
                  </a:lnTo>
                  <a:lnTo>
                    <a:pt x="544" y="261"/>
                  </a:lnTo>
                  <a:lnTo>
                    <a:pt x="544" y="262"/>
                  </a:lnTo>
                  <a:lnTo>
                    <a:pt x="546" y="262"/>
                  </a:lnTo>
                  <a:lnTo>
                    <a:pt x="546" y="261"/>
                  </a:lnTo>
                  <a:lnTo>
                    <a:pt x="542" y="259"/>
                  </a:lnTo>
                  <a:lnTo>
                    <a:pt x="544" y="258"/>
                  </a:lnTo>
                  <a:lnTo>
                    <a:pt x="546" y="256"/>
                  </a:lnTo>
                  <a:lnTo>
                    <a:pt x="547" y="256"/>
                  </a:lnTo>
                  <a:lnTo>
                    <a:pt x="549" y="256"/>
                  </a:lnTo>
                  <a:lnTo>
                    <a:pt x="548" y="255"/>
                  </a:lnTo>
                  <a:lnTo>
                    <a:pt x="543" y="256"/>
                  </a:lnTo>
                  <a:lnTo>
                    <a:pt x="540" y="258"/>
                  </a:lnTo>
                  <a:lnTo>
                    <a:pt x="535" y="258"/>
                  </a:lnTo>
                  <a:lnTo>
                    <a:pt x="532" y="261"/>
                  </a:lnTo>
                  <a:lnTo>
                    <a:pt x="534" y="264"/>
                  </a:lnTo>
                  <a:lnTo>
                    <a:pt x="531" y="265"/>
                  </a:lnTo>
                  <a:lnTo>
                    <a:pt x="530" y="265"/>
                  </a:lnTo>
                  <a:lnTo>
                    <a:pt x="528" y="262"/>
                  </a:lnTo>
                  <a:lnTo>
                    <a:pt x="528" y="261"/>
                  </a:lnTo>
                  <a:lnTo>
                    <a:pt x="531" y="261"/>
                  </a:lnTo>
                  <a:lnTo>
                    <a:pt x="526" y="260"/>
                  </a:lnTo>
                  <a:lnTo>
                    <a:pt x="526" y="258"/>
                  </a:lnTo>
                  <a:lnTo>
                    <a:pt x="525" y="258"/>
                  </a:lnTo>
                  <a:lnTo>
                    <a:pt x="525" y="260"/>
                  </a:lnTo>
                  <a:lnTo>
                    <a:pt x="525" y="261"/>
                  </a:lnTo>
                  <a:lnTo>
                    <a:pt x="525" y="262"/>
                  </a:lnTo>
                  <a:lnTo>
                    <a:pt x="525" y="266"/>
                  </a:lnTo>
                  <a:lnTo>
                    <a:pt x="522" y="268"/>
                  </a:lnTo>
                  <a:lnTo>
                    <a:pt x="520" y="270"/>
                  </a:lnTo>
                  <a:lnTo>
                    <a:pt x="518" y="271"/>
                  </a:lnTo>
                  <a:lnTo>
                    <a:pt x="516" y="271"/>
                  </a:lnTo>
                  <a:lnTo>
                    <a:pt x="516" y="270"/>
                  </a:lnTo>
                  <a:lnTo>
                    <a:pt x="516" y="267"/>
                  </a:lnTo>
                  <a:lnTo>
                    <a:pt x="514" y="267"/>
                  </a:lnTo>
                  <a:lnTo>
                    <a:pt x="513" y="268"/>
                  </a:lnTo>
                  <a:lnTo>
                    <a:pt x="512" y="268"/>
                  </a:lnTo>
                  <a:lnTo>
                    <a:pt x="512" y="266"/>
                  </a:lnTo>
                  <a:lnTo>
                    <a:pt x="512" y="265"/>
                  </a:lnTo>
                  <a:lnTo>
                    <a:pt x="510" y="267"/>
                  </a:lnTo>
                  <a:lnTo>
                    <a:pt x="508" y="266"/>
                  </a:lnTo>
                  <a:lnTo>
                    <a:pt x="507" y="265"/>
                  </a:lnTo>
                  <a:lnTo>
                    <a:pt x="506" y="262"/>
                  </a:lnTo>
                  <a:lnTo>
                    <a:pt x="507" y="261"/>
                  </a:lnTo>
                  <a:lnTo>
                    <a:pt x="508" y="261"/>
                  </a:lnTo>
                  <a:lnTo>
                    <a:pt x="510" y="261"/>
                  </a:lnTo>
                  <a:lnTo>
                    <a:pt x="511" y="260"/>
                  </a:lnTo>
                  <a:lnTo>
                    <a:pt x="511" y="259"/>
                  </a:lnTo>
                  <a:lnTo>
                    <a:pt x="512" y="256"/>
                  </a:lnTo>
                  <a:lnTo>
                    <a:pt x="513" y="256"/>
                  </a:lnTo>
                  <a:lnTo>
                    <a:pt x="514" y="255"/>
                  </a:lnTo>
                  <a:lnTo>
                    <a:pt x="517" y="255"/>
                  </a:lnTo>
                  <a:lnTo>
                    <a:pt x="518" y="255"/>
                  </a:lnTo>
                  <a:lnTo>
                    <a:pt x="518" y="254"/>
                  </a:lnTo>
                  <a:lnTo>
                    <a:pt x="518" y="253"/>
                  </a:lnTo>
                  <a:lnTo>
                    <a:pt x="519" y="252"/>
                  </a:lnTo>
                  <a:lnTo>
                    <a:pt x="522" y="254"/>
                  </a:lnTo>
                  <a:lnTo>
                    <a:pt x="524" y="254"/>
                  </a:lnTo>
                  <a:lnTo>
                    <a:pt x="524" y="253"/>
                  </a:lnTo>
                  <a:lnTo>
                    <a:pt x="520" y="252"/>
                  </a:lnTo>
                  <a:lnTo>
                    <a:pt x="519" y="250"/>
                  </a:lnTo>
                  <a:lnTo>
                    <a:pt x="519" y="249"/>
                  </a:lnTo>
                  <a:lnTo>
                    <a:pt x="522" y="248"/>
                  </a:lnTo>
                  <a:lnTo>
                    <a:pt x="519" y="248"/>
                  </a:lnTo>
                  <a:lnTo>
                    <a:pt x="518" y="248"/>
                  </a:lnTo>
                  <a:lnTo>
                    <a:pt x="519" y="246"/>
                  </a:lnTo>
                  <a:lnTo>
                    <a:pt x="520" y="243"/>
                  </a:lnTo>
                  <a:lnTo>
                    <a:pt x="519" y="243"/>
                  </a:lnTo>
                  <a:lnTo>
                    <a:pt x="517" y="247"/>
                  </a:lnTo>
                  <a:lnTo>
                    <a:pt x="516" y="248"/>
                  </a:lnTo>
                  <a:lnTo>
                    <a:pt x="516" y="247"/>
                  </a:lnTo>
                  <a:lnTo>
                    <a:pt x="513" y="247"/>
                  </a:lnTo>
                  <a:lnTo>
                    <a:pt x="512" y="248"/>
                  </a:lnTo>
                  <a:lnTo>
                    <a:pt x="511" y="249"/>
                  </a:lnTo>
                  <a:lnTo>
                    <a:pt x="511" y="250"/>
                  </a:lnTo>
                  <a:lnTo>
                    <a:pt x="510" y="252"/>
                  </a:lnTo>
                  <a:lnTo>
                    <a:pt x="507" y="253"/>
                  </a:lnTo>
                  <a:lnTo>
                    <a:pt x="507" y="252"/>
                  </a:lnTo>
                  <a:lnTo>
                    <a:pt x="506" y="250"/>
                  </a:lnTo>
                  <a:lnTo>
                    <a:pt x="505" y="252"/>
                  </a:lnTo>
                  <a:lnTo>
                    <a:pt x="503" y="254"/>
                  </a:lnTo>
                  <a:lnTo>
                    <a:pt x="501" y="254"/>
                  </a:lnTo>
                  <a:lnTo>
                    <a:pt x="500" y="252"/>
                  </a:lnTo>
                  <a:lnTo>
                    <a:pt x="499" y="253"/>
                  </a:lnTo>
                  <a:lnTo>
                    <a:pt x="499" y="255"/>
                  </a:lnTo>
                  <a:lnTo>
                    <a:pt x="497" y="256"/>
                  </a:lnTo>
                  <a:lnTo>
                    <a:pt x="495" y="256"/>
                  </a:lnTo>
                  <a:lnTo>
                    <a:pt x="490" y="255"/>
                  </a:lnTo>
                  <a:lnTo>
                    <a:pt x="489" y="254"/>
                  </a:lnTo>
                  <a:lnTo>
                    <a:pt x="487" y="252"/>
                  </a:lnTo>
                  <a:lnTo>
                    <a:pt x="485" y="249"/>
                  </a:lnTo>
                  <a:lnTo>
                    <a:pt x="484" y="247"/>
                  </a:lnTo>
                  <a:lnTo>
                    <a:pt x="485" y="246"/>
                  </a:lnTo>
                  <a:lnTo>
                    <a:pt x="487" y="246"/>
                  </a:lnTo>
                  <a:lnTo>
                    <a:pt x="484" y="244"/>
                  </a:lnTo>
                  <a:lnTo>
                    <a:pt x="483" y="243"/>
                  </a:lnTo>
                  <a:lnTo>
                    <a:pt x="483" y="242"/>
                  </a:lnTo>
                  <a:lnTo>
                    <a:pt x="487" y="242"/>
                  </a:lnTo>
                  <a:lnTo>
                    <a:pt x="488" y="242"/>
                  </a:lnTo>
                  <a:lnTo>
                    <a:pt x="488" y="241"/>
                  </a:lnTo>
                  <a:lnTo>
                    <a:pt x="487" y="241"/>
                  </a:lnTo>
                  <a:lnTo>
                    <a:pt x="483" y="241"/>
                  </a:lnTo>
                  <a:lnTo>
                    <a:pt x="482" y="238"/>
                  </a:lnTo>
                  <a:lnTo>
                    <a:pt x="482" y="235"/>
                  </a:lnTo>
                  <a:lnTo>
                    <a:pt x="483" y="235"/>
                  </a:lnTo>
                  <a:lnTo>
                    <a:pt x="484" y="235"/>
                  </a:lnTo>
                  <a:lnTo>
                    <a:pt x="485" y="235"/>
                  </a:lnTo>
                  <a:lnTo>
                    <a:pt x="485" y="238"/>
                  </a:lnTo>
                  <a:lnTo>
                    <a:pt x="487" y="237"/>
                  </a:lnTo>
                  <a:lnTo>
                    <a:pt x="487" y="236"/>
                  </a:lnTo>
                  <a:lnTo>
                    <a:pt x="488" y="235"/>
                  </a:lnTo>
                  <a:lnTo>
                    <a:pt x="489" y="235"/>
                  </a:lnTo>
                  <a:lnTo>
                    <a:pt x="490" y="234"/>
                  </a:lnTo>
                  <a:lnTo>
                    <a:pt x="489" y="232"/>
                  </a:lnTo>
                  <a:lnTo>
                    <a:pt x="490" y="232"/>
                  </a:lnTo>
                  <a:lnTo>
                    <a:pt x="491" y="234"/>
                  </a:lnTo>
                  <a:lnTo>
                    <a:pt x="490" y="235"/>
                  </a:lnTo>
                  <a:lnTo>
                    <a:pt x="491" y="236"/>
                  </a:lnTo>
                  <a:lnTo>
                    <a:pt x="493" y="234"/>
                  </a:lnTo>
                  <a:lnTo>
                    <a:pt x="494" y="234"/>
                  </a:lnTo>
                  <a:lnTo>
                    <a:pt x="495" y="235"/>
                  </a:lnTo>
                  <a:lnTo>
                    <a:pt x="496" y="235"/>
                  </a:lnTo>
                  <a:lnTo>
                    <a:pt x="496" y="232"/>
                  </a:lnTo>
                  <a:lnTo>
                    <a:pt x="497" y="232"/>
                  </a:lnTo>
                  <a:lnTo>
                    <a:pt x="499" y="228"/>
                  </a:lnTo>
                  <a:lnTo>
                    <a:pt x="500" y="229"/>
                  </a:lnTo>
                  <a:lnTo>
                    <a:pt x="500" y="230"/>
                  </a:lnTo>
                  <a:lnTo>
                    <a:pt x="501" y="230"/>
                  </a:lnTo>
                  <a:lnTo>
                    <a:pt x="501" y="229"/>
                  </a:lnTo>
                  <a:lnTo>
                    <a:pt x="502" y="229"/>
                  </a:lnTo>
                  <a:lnTo>
                    <a:pt x="503" y="229"/>
                  </a:lnTo>
                  <a:lnTo>
                    <a:pt x="505" y="228"/>
                  </a:lnTo>
                  <a:lnTo>
                    <a:pt x="506" y="225"/>
                  </a:lnTo>
                  <a:lnTo>
                    <a:pt x="507" y="223"/>
                  </a:lnTo>
                  <a:lnTo>
                    <a:pt x="508" y="222"/>
                  </a:lnTo>
                  <a:lnTo>
                    <a:pt x="510" y="222"/>
                  </a:lnTo>
                  <a:lnTo>
                    <a:pt x="508" y="219"/>
                  </a:lnTo>
                  <a:lnTo>
                    <a:pt x="508" y="218"/>
                  </a:lnTo>
                  <a:lnTo>
                    <a:pt x="511" y="219"/>
                  </a:lnTo>
                  <a:lnTo>
                    <a:pt x="512" y="219"/>
                  </a:lnTo>
                  <a:lnTo>
                    <a:pt x="511" y="218"/>
                  </a:lnTo>
                  <a:lnTo>
                    <a:pt x="508" y="216"/>
                  </a:lnTo>
                  <a:lnTo>
                    <a:pt x="508" y="214"/>
                  </a:lnTo>
                  <a:lnTo>
                    <a:pt x="510" y="213"/>
                  </a:lnTo>
                  <a:lnTo>
                    <a:pt x="510" y="216"/>
                  </a:lnTo>
                  <a:lnTo>
                    <a:pt x="511" y="216"/>
                  </a:lnTo>
                  <a:lnTo>
                    <a:pt x="512" y="216"/>
                  </a:lnTo>
                  <a:lnTo>
                    <a:pt x="513" y="216"/>
                  </a:lnTo>
                  <a:lnTo>
                    <a:pt x="513" y="217"/>
                  </a:lnTo>
                  <a:lnTo>
                    <a:pt x="514" y="217"/>
                  </a:lnTo>
                  <a:lnTo>
                    <a:pt x="514" y="216"/>
                  </a:lnTo>
                  <a:lnTo>
                    <a:pt x="514" y="214"/>
                  </a:lnTo>
                  <a:lnTo>
                    <a:pt x="516" y="216"/>
                  </a:lnTo>
                  <a:lnTo>
                    <a:pt x="517" y="216"/>
                  </a:lnTo>
                  <a:lnTo>
                    <a:pt x="517" y="214"/>
                  </a:lnTo>
                  <a:lnTo>
                    <a:pt x="513" y="212"/>
                  </a:lnTo>
                  <a:lnTo>
                    <a:pt x="513" y="211"/>
                  </a:lnTo>
                  <a:lnTo>
                    <a:pt x="512" y="211"/>
                  </a:lnTo>
                  <a:lnTo>
                    <a:pt x="508" y="208"/>
                  </a:lnTo>
                  <a:lnTo>
                    <a:pt x="513" y="208"/>
                  </a:lnTo>
                  <a:lnTo>
                    <a:pt x="513" y="207"/>
                  </a:lnTo>
                  <a:lnTo>
                    <a:pt x="516" y="207"/>
                  </a:lnTo>
                  <a:lnTo>
                    <a:pt x="518" y="210"/>
                  </a:lnTo>
                  <a:lnTo>
                    <a:pt x="519" y="210"/>
                  </a:lnTo>
                  <a:lnTo>
                    <a:pt x="516" y="206"/>
                  </a:lnTo>
                  <a:lnTo>
                    <a:pt x="517" y="205"/>
                  </a:lnTo>
                  <a:lnTo>
                    <a:pt x="519" y="205"/>
                  </a:lnTo>
                  <a:lnTo>
                    <a:pt x="523" y="208"/>
                  </a:lnTo>
                  <a:lnTo>
                    <a:pt x="525" y="207"/>
                  </a:lnTo>
                  <a:lnTo>
                    <a:pt x="522" y="204"/>
                  </a:lnTo>
                  <a:lnTo>
                    <a:pt x="520" y="204"/>
                  </a:lnTo>
                  <a:lnTo>
                    <a:pt x="523" y="202"/>
                  </a:lnTo>
                  <a:lnTo>
                    <a:pt x="528" y="202"/>
                  </a:lnTo>
                  <a:lnTo>
                    <a:pt x="528" y="205"/>
                  </a:lnTo>
                  <a:lnTo>
                    <a:pt x="529" y="204"/>
                  </a:lnTo>
                  <a:lnTo>
                    <a:pt x="529" y="202"/>
                  </a:lnTo>
                  <a:lnTo>
                    <a:pt x="529" y="201"/>
                  </a:lnTo>
                  <a:lnTo>
                    <a:pt x="529" y="197"/>
                  </a:lnTo>
                  <a:lnTo>
                    <a:pt x="532" y="197"/>
                  </a:lnTo>
                  <a:lnTo>
                    <a:pt x="532" y="199"/>
                  </a:lnTo>
                  <a:lnTo>
                    <a:pt x="535" y="199"/>
                  </a:lnTo>
                  <a:lnTo>
                    <a:pt x="535" y="197"/>
                  </a:lnTo>
                  <a:lnTo>
                    <a:pt x="534" y="197"/>
                  </a:lnTo>
                  <a:lnTo>
                    <a:pt x="532" y="196"/>
                  </a:lnTo>
                  <a:lnTo>
                    <a:pt x="532" y="195"/>
                  </a:lnTo>
                  <a:lnTo>
                    <a:pt x="534" y="194"/>
                  </a:lnTo>
                  <a:lnTo>
                    <a:pt x="535" y="194"/>
                  </a:lnTo>
                  <a:lnTo>
                    <a:pt x="538" y="194"/>
                  </a:lnTo>
                  <a:lnTo>
                    <a:pt x="540" y="195"/>
                  </a:lnTo>
                  <a:lnTo>
                    <a:pt x="542" y="195"/>
                  </a:lnTo>
                  <a:lnTo>
                    <a:pt x="542" y="193"/>
                  </a:lnTo>
                  <a:lnTo>
                    <a:pt x="538" y="193"/>
                  </a:lnTo>
                  <a:lnTo>
                    <a:pt x="538" y="191"/>
                  </a:lnTo>
                  <a:lnTo>
                    <a:pt x="540" y="189"/>
                  </a:lnTo>
                  <a:lnTo>
                    <a:pt x="541" y="188"/>
                  </a:lnTo>
                  <a:lnTo>
                    <a:pt x="541" y="187"/>
                  </a:lnTo>
                  <a:lnTo>
                    <a:pt x="538" y="187"/>
                  </a:lnTo>
                  <a:lnTo>
                    <a:pt x="536" y="189"/>
                  </a:lnTo>
                  <a:lnTo>
                    <a:pt x="531" y="190"/>
                  </a:lnTo>
                  <a:lnTo>
                    <a:pt x="530" y="193"/>
                  </a:lnTo>
                  <a:lnTo>
                    <a:pt x="530" y="194"/>
                  </a:lnTo>
                  <a:lnTo>
                    <a:pt x="529" y="195"/>
                  </a:lnTo>
                  <a:lnTo>
                    <a:pt x="529" y="194"/>
                  </a:lnTo>
                  <a:lnTo>
                    <a:pt x="529" y="193"/>
                  </a:lnTo>
                  <a:lnTo>
                    <a:pt x="529" y="191"/>
                  </a:lnTo>
                  <a:lnTo>
                    <a:pt x="528" y="194"/>
                  </a:lnTo>
                  <a:lnTo>
                    <a:pt x="526" y="195"/>
                  </a:lnTo>
                  <a:lnTo>
                    <a:pt x="526" y="196"/>
                  </a:lnTo>
                  <a:lnTo>
                    <a:pt x="524" y="196"/>
                  </a:lnTo>
                  <a:lnTo>
                    <a:pt x="523" y="197"/>
                  </a:lnTo>
                  <a:lnTo>
                    <a:pt x="522" y="196"/>
                  </a:lnTo>
                  <a:lnTo>
                    <a:pt x="522" y="195"/>
                  </a:lnTo>
                  <a:lnTo>
                    <a:pt x="522" y="193"/>
                  </a:lnTo>
                  <a:lnTo>
                    <a:pt x="520" y="193"/>
                  </a:lnTo>
                  <a:lnTo>
                    <a:pt x="519" y="194"/>
                  </a:lnTo>
                  <a:lnTo>
                    <a:pt x="519" y="196"/>
                  </a:lnTo>
                  <a:lnTo>
                    <a:pt x="519" y="201"/>
                  </a:lnTo>
                  <a:lnTo>
                    <a:pt x="517" y="202"/>
                  </a:lnTo>
                  <a:lnTo>
                    <a:pt x="516" y="199"/>
                  </a:lnTo>
                  <a:lnTo>
                    <a:pt x="516" y="200"/>
                  </a:lnTo>
                  <a:lnTo>
                    <a:pt x="514" y="201"/>
                  </a:lnTo>
                  <a:lnTo>
                    <a:pt x="513" y="201"/>
                  </a:lnTo>
                  <a:lnTo>
                    <a:pt x="512" y="202"/>
                  </a:lnTo>
                  <a:lnTo>
                    <a:pt x="511" y="205"/>
                  </a:lnTo>
                  <a:lnTo>
                    <a:pt x="507" y="205"/>
                  </a:lnTo>
                  <a:lnTo>
                    <a:pt x="505" y="202"/>
                  </a:lnTo>
                  <a:lnTo>
                    <a:pt x="505" y="204"/>
                  </a:lnTo>
                  <a:lnTo>
                    <a:pt x="506" y="205"/>
                  </a:lnTo>
                  <a:lnTo>
                    <a:pt x="495" y="212"/>
                  </a:lnTo>
                  <a:lnTo>
                    <a:pt x="493" y="213"/>
                  </a:lnTo>
                  <a:lnTo>
                    <a:pt x="490" y="214"/>
                  </a:lnTo>
                  <a:lnTo>
                    <a:pt x="489" y="214"/>
                  </a:lnTo>
                  <a:lnTo>
                    <a:pt x="488" y="217"/>
                  </a:lnTo>
                  <a:lnTo>
                    <a:pt x="487" y="218"/>
                  </a:lnTo>
                  <a:lnTo>
                    <a:pt x="484" y="217"/>
                  </a:lnTo>
                  <a:lnTo>
                    <a:pt x="483" y="217"/>
                  </a:lnTo>
                  <a:lnTo>
                    <a:pt x="481" y="216"/>
                  </a:lnTo>
                  <a:lnTo>
                    <a:pt x="481" y="217"/>
                  </a:lnTo>
                  <a:lnTo>
                    <a:pt x="478" y="217"/>
                  </a:lnTo>
                  <a:lnTo>
                    <a:pt x="476" y="217"/>
                  </a:lnTo>
                  <a:lnTo>
                    <a:pt x="472" y="214"/>
                  </a:lnTo>
                  <a:lnTo>
                    <a:pt x="470" y="212"/>
                  </a:lnTo>
                  <a:lnTo>
                    <a:pt x="467" y="212"/>
                  </a:lnTo>
                  <a:lnTo>
                    <a:pt x="466" y="212"/>
                  </a:lnTo>
                  <a:lnTo>
                    <a:pt x="463" y="213"/>
                  </a:lnTo>
                  <a:lnTo>
                    <a:pt x="460" y="213"/>
                  </a:lnTo>
                  <a:lnTo>
                    <a:pt x="459" y="211"/>
                  </a:lnTo>
                  <a:lnTo>
                    <a:pt x="459" y="207"/>
                  </a:lnTo>
                  <a:lnTo>
                    <a:pt x="458" y="205"/>
                  </a:lnTo>
                  <a:lnTo>
                    <a:pt x="459" y="205"/>
                  </a:lnTo>
                  <a:lnTo>
                    <a:pt x="460" y="207"/>
                  </a:lnTo>
                  <a:lnTo>
                    <a:pt x="464" y="208"/>
                  </a:lnTo>
                  <a:lnTo>
                    <a:pt x="466" y="208"/>
                  </a:lnTo>
                  <a:lnTo>
                    <a:pt x="467" y="208"/>
                  </a:lnTo>
                  <a:lnTo>
                    <a:pt x="465" y="207"/>
                  </a:lnTo>
                  <a:lnTo>
                    <a:pt x="463" y="206"/>
                  </a:lnTo>
                  <a:lnTo>
                    <a:pt x="460" y="204"/>
                  </a:lnTo>
                  <a:lnTo>
                    <a:pt x="459" y="202"/>
                  </a:lnTo>
                  <a:lnTo>
                    <a:pt x="459" y="201"/>
                  </a:lnTo>
                  <a:lnTo>
                    <a:pt x="461" y="201"/>
                  </a:lnTo>
                  <a:lnTo>
                    <a:pt x="461" y="200"/>
                  </a:lnTo>
                  <a:lnTo>
                    <a:pt x="460" y="200"/>
                  </a:lnTo>
                  <a:lnTo>
                    <a:pt x="459" y="197"/>
                  </a:lnTo>
                  <a:lnTo>
                    <a:pt x="460" y="196"/>
                  </a:lnTo>
                  <a:lnTo>
                    <a:pt x="463" y="196"/>
                  </a:lnTo>
                  <a:lnTo>
                    <a:pt x="464" y="195"/>
                  </a:lnTo>
                  <a:lnTo>
                    <a:pt x="465" y="194"/>
                  </a:lnTo>
                  <a:lnTo>
                    <a:pt x="464" y="194"/>
                  </a:lnTo>
                  <a:lnTo>
                    <a:pt x="460" y="194"/>
                  </a:lnTo>
                  <a:lnTo>
                    <a:pt x="457" y="195"/>
                  </a:lnTo>
                  <a:lnTo>
                    <a:pt x="454" y="196"/>
                  </a:lnTo>
                  <a:lnTo>
                    <a:pt x="448" y="189"/>
                  </a:lnTo>
                  <a:lnTo>
                    <a:pt x="446" y="189"/>
                  </a:lnTo>
                  <a:lnTo>
                    <a:pt x="444" y="188"/>
                  </a:lnTo>
                  <a:lnTo>
                    <a:pt x="444" y="187"/>
                  </a:lnTo>
                  <a:lnTo>
                    <a:pt x="443" y="185"/>
                  </a:lnTo>
                  <a:lnTo>
                    <a:pt x="441" y="184"/>
                  </a:lnTo>
                  <a:lnTo>
                    <a:pt x="440" y="183"/>
                  </a:lnTo>
                  <a:lnTo>
                    <a:pt x="438" y="183"/>
                  </a:lnTo>
                  <a:lnTo>
                    <a:pt x="438" y="181"/>
                  </a:lnTo>
                  <a:lnTo>
                    <a:pt x="437" y="179"/>
                  </a:lnTo>
                  <a:lnTo>
                    <a:pt x="437" y="176"/>
                  </a:lnTo>
                  <a:lnTo>
                    <a:pt x="438" y="175"/>
                  </a:lnTo>
                  <a:lnTo>
                    <a:pt x="440" y="173"/>
                  </a:lnTo>
                  <a:lnTo>
                    <a:pt x="438" y="172"/>
                  </a:lnTo>
                  <a:lnTo>
                    <a:pt x="438" y="171"/>
                  </a:lnTo>
                  <a:lnTo>
                    <a:pt x="440" y="169"/>
                  </a:lnTo>
                  <a:lnTo>
                    <a:pt x="441" y="167"/>
                  </a:lnTo>
                  <a:lnTo>
                    <a:pt x="441" y="170"/>
                  </a:lnTo>
                  <a:lnTo>
                    <a:pt x="442" y="170"/>
                  </a:lnTo>
                  <a:lnTo>
                    <a:pt x="443" y="171"/>
                  </a:lnTo>
                  <a:lnTo>
                    <a:pt x="444" y="172"/>
                  </a:lnTo>
                  <a:lnTo>
                    <a:pt x="446" y="173"/>
                  </a:lnTo>
                  <a:lnTo>
                    <a:pt x="447" y="172"/>
                  </a:lnTo>
                  <a:lnTo>
                    <a:pt x="447" y="171"/>
                  </a:lnTo>
                  <a:lnTo>
                    <a:pt x="447" y="176"/>
                  </a:lnTo>
                  <a:lnTo>
                    <a:pt x="448" y="175"/>
                  </a:lnTo>
                  <a:lnTo>
                    <a:pt x="448" y="173"/>
                  </a:lnTo>
                  <a:lnTo>
                    <a:pt x="448" y="171"/>
                  </a:lnTo>
                  <a:lnTo>
                    <a:pt x="448" y="170"/>
                  </a:lnTo>
                  <a:lnTo>
                    <a:pt x="449" y="171"/>
                  </a:lnTo>
                  <a:lnTo>
                    <a:pt x="453" y="175"/>
                  </a:lnTo>
                  <a:lnTo>
                    <a:pt x="455" y="175"/>
                  </a:lnTo>
                  <a:lnTo>
                    <a:pt x="454" y="173"/>
                  </a:lnTo>
                  <a:lnTo>
                    <a:pt x="451" y="170"/>
                  </a:lnTo>
                  <a:lnTo>
                    <a:pt x="451" y="167"/>
                  </a:lnTo>
                  <a:lnTo>
                    <a:pt x="452" y="169"/>
                  </a:lnTo>
                  <a:lnTo>
                    <a:pt x="453" y="169"/>
                  </a:lnTo>
                  <a:lnTo>
                    <a:pt x="454" y="169"/>
                  </a:lnTo>
                  <a:lnTo>
                    <a:pt x="455" y="170"/>
                  </a:lnTo>
                  <a:lnTo>
                    <a:pt x="457" y="170"/>
                  </a:lnTo>
                  <a:lnTo>
                    <a:pt x="458" y="169"/>
                  </a:lnTo>
                  <a:lnTo>
                    <a:pt x="458" y="166"/>
                  </a:lnTo>
                  <a:lnTo>
                    <a:pt x="458" y="165"/>
                  </a:lnTo>
                  <a:lnTo>
                    <a:pt x="458" y="164"/>
                  </a:lnTo>
                  <a:lnTo>
                    <a:pt x="460" y="164"/>
                  </a:lnTo>
                  <a:lnTo>
                    <a:pt x="459" y="163"/>
                  </a:lnTo>
                  <a:lnTo>
                    <a:pt x="458" y="161"/>
                  </a:lnTo>
                  <a:lnTo>
                    <a:pt x="460" y="160"/>
                  </a:lnTo>
                  <a:lnTo>
                    <a:pt x="461" y="160"/>
                  </a:lnTo>
                  <a:lnTo>
                    <a:pt x="460" y="159"/>
                  </a:lnTo>
                  <a:lnTo>
                    <a:pt x="459" y="158"/>
                  </a:lnTo>
                  <a:lnTo>
                    <a:pt x="458" y="157"/>
                  </a:lnTo>
                  <a:lnTo>
                    <a:pt x="457" y="159"/>
                  </a:lnTo>
                  <a:lnTo>
                    <a:pt x="457" y="158"/>
                  </a:lnTo>
                  <a:lnTo>
                    <a:pt x="458" y="155"/>
                  </a:lnTo>
                  <a:lnTo>
                    <a:pt x="459" y="153"/>
                  </a:lnTo>
                  <a:lnTo>
                    <a:pt x="460" y="152"/>
                  </a:lnTo>
                  <a:lnTo>
                    <a:pt x="463" y="154"/>
                  </a:lnTo>
                  <a:lnTo>
                    <a:pt x="464" y="154"/>
                  </a:lnTo>
                  <a:lnTo>
                    <a:pt x="464" y="153"/>
                  </a:lnTo>
                  <a:lnTo>
                    <a:pt x="463" y="152"/>
                  </a:lnTo>
                  <a:lnTo>
                    <a:pt x="461" y="149"/>
                  </a:lnTo>
                  <a:lnTo>
                    <a:pt x="463" y="149"/>
                  </a:lnTo>
                  <a:lnTo>
                    <a:pt x="464" y="151"/>
                  </a:lnTo>
                  <a:lnTo>
                    <a:pt x="464" y="149"/>
                  </a:lnTo>
                  <a:lnTo>
                    <a:pt x="464" y="143"/>
                  </a:lnTo>
                  <a:lnTo>
                    <a:pt x="465" y="143"/>
                  </a:lnTo>
                  <a:lnTo>
                    <a:pt x="465" y="146"/>
                  </a:lnTo>
                  <a:lnTo>
                    <a:pt x="466" y="147"/>
                  </a:lnTo>
                  <a:lnTo>
                    <a:pt x="467" y="147"/>
                  </a:lnTo>
                  <a:lnTo>
                    <a:pt x="467" y="149"/>
                  </a:lnTo>
                  <a:lnTo>
                    <a:pt x="467" y="151"/>
                  </a:lnTo>
                  <a:lnTo>
                    <a:pt x="469" y="151"/>
                  </a:lnTo>
                  <a:lnTo>
                    <a:pt x="471" y="149"/>
                  </a:lnTo>
                  <a:lnTo>
                    <a:pt x="470" y="148"/>
                  </a:lnTo>
                  <a:lnTo>
                    <a:pt x="470" y="147"/>
                  </a:lnTo>
                  <a:lnTo>
                    <a:pt x="471" y="146"/>
                  </a:lnTo>
                  <a:lnTo>
                    <a:pt x="472" y="145"/>
                  </a:lnTo>
                  <a:lnTo>
                    <a:pt x="470" y="145"/>
                  </a:lnTo>
                  <a:lnTo>
                    <a:pt x="469" y="146"/>
                  </a:lnTo>
                  <a:lnTo>
                    <a:pt x="467" y="145"/>
                  </a:lnTo>
                  <a:lnTo>
                    <a:pt x="467" y="143"/>
                  </a:lnTo>
                  <a:lnTo>
                    <a:pt x="469" y="143"/>
                  </a:lnTo>
                  <a:lnTo>
                    <a:pt x="470" y="142"/>
                  </a:lnTo>
                  <a:lnTo>
                    <a:pt x="471" y="142"/>
                  </a:lnTo>
                  <a:lnTo>
                    <a:pt x="466" y="141"/>
                  </a:lnTo>
                  <a:lnTo>
                    <a:pt x="465" y="141"/>
                  </a:lnTo>
                  <a:lnTo>
                    <a:pt x="464" y="140"/>
                  </a:lnTo>
                  <a:lnTo>
                    <a:pt x="466" y="137"/>
                  </a:lnTo>
                  <a:lnTo>
                    <a:pt x="470" y="139"/>
                  </a:lnTo>
                  <a:lnTo>
                    <a:pt x="471" y="139"/>
                  </a:lnTo>
                  <a:lnTo>
                    <a:pt x="469" y="136"/>
                  </a:lnTo>
                  <a:lnTo>
                    <a:pt x="470" y="135"/>
                  </a:lnTo>
                  <a:lnTo>
                    <a:pt x="475" y="137"/>
                  </a:lnTo>
                  <a:lnTo>
                    <a:pt x="476" y="137"/>
                  </a:lnTo>
                  <a:lnTo>
                    <a:pt x="472" y="134"/>
                  </a:lnTo>
                  <a:lnTo>
                    <a:pt x="473" y="133"/>
                  </a:lnTo>
                  <a:lnTo>
                    <a:pt x="475" y="133"/>
                  </a:lnTo>
                  <a:lnTo>
                    <a:pt x="476" y="133"/>
                  </a:lnTo>
                  <a:lnTo>
                    <a:pt x="475" y="131"/>
                  </a:lnTo>
                  <a:lnTo>
                    <a:pt x="477" y="131"/>
                  </a:lnTo>
                  <a:lnTo>
                    <a:pt x="478" y="131"/>
                  </a:lnTo>
                  <a:lnTo>
                    <a:pt x="482" y="133"/>
                  </a:lnTo>
                  <a:lnTo>
                    <a:pt x="483" y="133"/>
                  </a:lnTo>
                  <a:lnTo>
                    <a:pt x="484" y="134"/>
                  </a:lnTo>
                  <a:lnTo>
                    <a:pt x="485" y="133"/>
                  </a:lnTo>
                  <a:lnTo>
                    <a:pt x="485" y="130"/>
                  </a:lnTo>
                  <a:lnTo>
                    <a:pt x="484" y="129"/>
                  </a:lnTo>
                  <a:lnTo>
                    <a:pt x="483" y="129"/>
                  </a:lnTo>
                  <a:lnTo>
                    <a:pt x="483" y="128"/>
                  </a:lnTo>
                  <a:lnTo>
                    <a:pt x="482" y="128"/>
                  </a:lnTo>
                  <a:lnTo>
                    <a:pt x="482" y="129"/>
                  </a:lnTo>
                  <a:lnTo>
                    <a:pt x="479" y="129"/>
                  </a:lnTo>
                  <a:lnTo>
                    <a:pt x="479" y="128"/>
                  </a:lnTo>
                  <a:lnTo>
                    <a:pt x="483" y="125"/>
                  </a:lnTo>
                  <a:lnTo>
                    <a:pt x="483" y="127"/>
                  </a:lnTo>
                  <a:lnTo>
                    <a:pt x="485" y="128"/>
                  </a:lnTo>
                  <a:lnTo>
                    <a:pt x="487" y="128"/>
                  </a:lnTo>
                  <a:lnTo>
                    <a:pt x="488" y="128"/>
                  </a:lnTo>
                  <a:lnTo>
                    <a:pt x="488" y="127"/>
                  </a:lnTo>
                  <a:lnTo>
                    <a:pt x="487" y="125"/>
                  </a:lnTo>
                  <a:lnTo>
                    <a:pt x="485" y="125"/>
                  </a:lnTo>
                  <a:lnTo>
                    <a:pt x="487" y="124"/>
                  </a:lnTo>
                  <a:lnTo>
                    <a:pt x="488" y="124"/>
                  </a:lnTo>
                  <a:lnTo>
                    <a:pt x="490" y="125"/>
                  </a:lnTo>
                  <a:lnTo>
                    <a:pt x="491" y="127"/>
                  </a:lnTo>
                  <a:lnTo>
                    <a:pt x="493" y="125"/>
                  </a:lnTo>
                  <a:lnTo>
                    <a:pt x="491" y="125"/>
                  </a:lnTo>
                  <a:lnTo>
                    <a:pt x="490" y="123"/>
                  </a:lnTo>
                  <a:lnTo>
                    <a:pt x="491" y="122"/>
                  </a:lnTo>
                  <a:lnTo>
                    <a:pt x="493" y="123"/>
                  </a:lnTo>
                  <a:lnTo>
                    <a:pt x="495" y="123"/>
                  </a:lnTo>
                  <a:lnTo>
                    <a:pt x="496" y="123"/>
                  </a:lnTo>
                  <a:lnTo>
                    <a:pt x="497" y="124"/>
                  </a:lnTo>
                  <a:lnTo>
                    <a:pt x="499" y="124"/>
                  </a:lnTo>
                  <a:lnTo>
                    <a:pt x="500" y="124"/>
                  </a:lnTo>
                  <a:lnTo>
                    <a:pt x="497" y="122"/>
                  </a:lnTo>
                  <a:lnTo>
                    <a:pt x="495" y="121"/>
                  </a:lnTo>
                  <a:lnTo>
                    <a:pt x="506" y="115"/>
                  </a:lnTo>
                  <a:lnTo>
                    <a:pt x="506" y="113"/>
                  </a:lnTo>
                  <a:lnTo>
                    <a:pt x="502" y="113"/>
                  </a:lnTo>
                  <a:lnTo>
                    <a:pt x="496" y="117"/>
                  </a:lnTo>
                  <a:lnTo>
                    <a:pt x="495" y="118"/>
                  </a:lnTo>
                  <a:lnTo>
                    <a:pt x="494" y="118"/>
                  </a:lnTo>
                  <a:lnTo>
                    <a:pt x="495" y="116"/>
                  </a:lnTo>
                  <a:lnTo>
                    <a:pt x="496" y="115"/>
                  </a:lnTo>
                  <a:lnTo>
                    <a:pt x="495" y="113"/>
                  </a:lnTo>
                  <a:lnTo>
                    <a:pt x="491" y="117"/>
                  </a:lnTo>
                  <a:lnTo>
                    <a:pt x="491" y="119"/>
                  </a:lnTo>
                  <a:lnTo>
                    <a:pt x="490" y="119"/>
                  </a:lnTo>
                  <a:lnTo>
                    <a:pt x="489" y="119"/>
                  </a:lnTo>
                  <a:lnTo>
                    <a:pt x="488" y="118"/>
                  </a:lnTo>
                  <a:lnTo>
                    <a:pt x="488" y="119"/>
                  </a:lnTo>
                  <a:lnTo>
                    <a:pt x="487" y="121"/>
                  </a:lnTo>
                  <a:lnTo>
                    <a:pt x="485" y="122"/>
                  </a:lnTo>
                  <a:lnTo>
                    <a:pt x="484" y="121"/>
                  </a:lnTo>
                  <a:lnTo>
                    <a:pt x="483" y="121"/>
                  </a:lnTo>
                  <a:lnTo>
                    <a:pt x="483" y="122"/>
                  </a:lnTo>
                  <a:lnTo>
                    <a:pt x="483" y="123"/>
                  </a:lnTo>
                  <a:lnTo>
                    <a:pt x="482" y="124"/>
                  </a:lnTo>
                  <a:lnTo>
                    <a:pt x="481" y="125"/>
                  </a:lnTo>
                  <a:lnTo>
                    <a:pt x="478" y="125"/>
                  </a:lnTo>
                  <a:lnTo>
                    <a:pt x="479" y="124"/>
                  </a:lnTo>
                  <a:lnTo>
                    <a:pt x="481" y="123"/>
                  </a:lnTo>
                  <a:lnTo>
                    <a:pt x="479" y="122"/>
                  </a:lnTo>
                  <a:lnTo>
                    <a:pt x="479" y="121"/>
                  </a:lnTo>
                  <a:lnTo>
                    <a:pt x="478" y="119"/>
                  </a:lnTo>
                  <a:lnTo>
                    <a:pt x="477" y="121"/>
                  </a:lnTo>
                  <a:lnTo>
                    <a:pt x="476" y="122"/>
                  </a:lnTo>
                  <a:lnTo>
                    <a:pt x="476" y="123"/>
                  </a:lnTo>
                  <a:lnTo>
                    <a:pt x="475" y="124"/>
                  </a:lnTo>
                  <a:lnTo>
                    <a:pt x="473" y="125"/>
                  </a:lnTo>
                  <a:lnTo>
                    <a:pt x="472" y="127"/>
                  </a:lnTo>
                  <a:lnTo>
                    <a:pt x="472" y="128"/>
                  </a:lnTo>
                  <a:lnTo>
                    <a:pt x="471" y="130"/>
                  </a:lnTo>
                  <a:lnTo>
                    <a:pt x="470" y="133"/>
                  </a:lnTo>
                  <a:lnTo>
                    <a:pt x="469" y="128"/>
                  </a:lnTo>
                  <a:lnTo>
                    <a:pt x="467" y="128"/>
                  </a:lnTo>
                  <a:lnTo>
                    <a:pt x="466" y="129"/>
                  </a:lnTo>
                  <a:lnTo>
                    <a:pt x="466" y="131"/>
                  </a:lnTo>
                  <a:lnTo>
                    <a:pt x="467" y="133"/>
                  </a:lnTo>
                  <a:lnTo>
                    <a:pt x="466" y="134"/>
                  </a:lnTo>
                  <a:lnTo>
                    <a:pt x="465" y="136"/>
                  </a:lnTo>
                  <a:lnTo>
                    <a:pt x="464" y="137"/>
                  </a:lnTo>
                  <a:lnTo>
                    <a:pt x="461" y="139"/>
                  </a:lnTo>
                  <a:lnTo>
                    <a:pt x="460" y="139"/>
                  </a:lnTo>
                  <a:lnTo>
                    <a:pt x="459" y="137"/>
                  </a:lnTo>
                  <a:lnTo>
                    <a:pt x="459" y="135"/>
                  </a:lnTo>
                  <a:lnTo>
                    <a:pt x="460" y="136"/>
                  </a:lnTo>
                  <a:lnTo>
                    <a:pt x="461" y="136"/>
                  </a:lnTo>
                  <a:lnTo>
                    <a:pt x="463" y="136"/>
                  </a:lnTo>
                  <a:lnTo>
                    <a:pt x="461" y="135"/>
                  </a:lnTo>
                  <a:lnTo>
                    <a:pt x="461" y="134"/>
                  </a:lnTo>
                  <a:lnTo>
                    <a:pt x="461" y="133"/>
                  </a:lnTo>
                  <a:lnTo>
                    <a:pt x="461" y="131"/>
                  </a:lnTo>
                  <a:lnTo>
                    <a:pt x="460" y="130"/>
                  </a:lnTo>
                  <a:lnTo>
                    <a:pt x="460" y="131"/>
                  </a:lnTo>
                  <a:lnTo>
                    <a:pt x="459" y="133"/>
                  </a:lnTo>
                  <a:lnTo>
                    <a:pt x="458" y="134"/>
                  </a:lnTo>
                  <a:lnTo>
                    <a:pt x="458" y="133"/>
                  </a:lnTo>
                  <a:lnTo>
                    <a:pt x="457" y="131"/>
                  </a:lnTo>
                  <a:lnTo>
                    <a:pt x="455" y="130"/>
                  </a:lnTo>
                  <a:lnTo>
                    <a:pt x="454" y="130"/>
                  </a:lnTo>
                  <a:lnTo>
                    <a:pt x="455" y="131"/>
                  </a:lnTo>
                  <a:lnTo>
                    <a:pt x="455" y="133"/>
                  </a:lnTo>
                  <a:lnTo>
                    <a:pt x="457" y="134"/>
                  </a:lnTo>
                  <a:lnTo>
                    <a:pt x="455" y="134"/>
                  </a:lnTo>
                  <a:lnTo>
                    <a:pt x="454" y="135"/>
                  </a:lnTo>
                  <a:lnTo>
                    <a:pt x="454" y="137"/>
                  </a:lnTo>
                  <a:lnTo>
                    <a:pt x="454" y="136"/>
                  </a:lnTo>
                  <a:lnTo>
                    <a:pt x="455" y="136"/>
                  </a:lnTo>
                  <a:lnTo>
                    <a:pt x="457" y="136"/>
                  </a:lnTo>
                  <a:lnTo>
                    <a:pt x="458" y="137"/>
                  </a:lnTo>
                  <a:lnTo>
                    <a:pt x="458" y="140"/>
                  </a:lnTo>
                  <a:lnTo>
                    <a:pt x="458" y="141"/>
                  </a:lnTo>
                  <a:lnTo>
                    <a:pt x="457" y="142"/>
                  </a:lnTo>
                  <a:lnTo>
                    <a:pt x="455" y="143"/>
                  </a:lnTo>
                  <a:lnTo>
                    <a:pt x="453" y="145"/>
                  </a:lnTo>
                  <a:lnTo>
                    <a:pt x="452" y="146"/>
                  </a:lnTo>
                  <a:lnTo>
                    <a:pt x="451" y="147"/>
                  </a:lnTo>
                  <a:lnTo>
                    <a:pt x="448" y="148"/>
                  </a:lnTo>
                  <a:lnTo>
                    <a:pt x="446" y="151"/>
                  </a:lnTo>
                  <a:lnTo>
                    <a:pt x="444" y="153"/>
                  </a:lnTo>
                  <a:lnTo>
                    <a:pt x="442" y="152"/>
                  </a:lnTo>
                  <a:lnTo>
                    <a:pt x="440" y="152"/>
                  </a:lnTo>
                  <a:lnTo>
                    <a:pt x="438" y="151"/>
                  </a:lnTo>
                  <a:lnTo>
                    <a:pt x="437" y="148"/>
                  </a:lnTo>
                  <a:lnTo>
                    <a:pt x="436" y="146"/>
                  </a:lnTo>
                  <a:lnTo>
                    <a:pt x="436" y="143"/>
                  </a:lnTo>
                  <a:lnTo>
                    <a:pt x="437" y="143"/>
                  </a:lnTo>
                  <a:lnTo>
                    <a:pt x="438" y="145"/>
                  </a:lnTo>
                  <a:lnTo>
                    <a:pt x="441" y="145"/>
                  </a:lnTo>
                  <a:lnTo>
                    <a:pt x="441" y="143"/>
                  </a:lnTo>
                  <a:lnTo>
                    <a:pt x="440" y="142"/>
                  </a:lnTo>
                  <a:lnTo>
                    <a:pt x="436" y="142"/>
                  </a:lnTo>
                  <a:lnTo>
                    <a:pt x="435" y="142"/>
                  </a:lnTo>
                  <a:lnTo>
                    <a:pt x="435" y="141"/>
                  </a:lnTo>
                  <a:lnTo>
                    <a:pt x="435" y="140"/>
                  </a:lnTo>
                  <a:lnTo>
                    <a:pt x="436" y="140"/>
                  </a:lnTo>
                  <a:lnTo>
                    <a:pt x="440" y="140"/>
                  </a:lnTo>
                  <a:lnTo>
                    <a:pt x="440" y="139"/>
                  </a:lnTo>
                  <a:lnTo>
                    <a:pt x="440" y="136"/>
                  </a:lnTo>
                  <a:lnTo>
                    <a:pt x="441" y="134"/>
                  </a:lnTo>
                  <a:lnTo>
                    <a:pt x="442" y="134"/>
                  </a:lnTo>
                  <a:lnTo>
                    <a:pt x="441" y="133"/>
                  </a:lnTo>
                  <a:lnTo>
                    <a:pt x="438" y="133"/>
                  </a:lnTo>
                  <a:lnTo>
                    <a:pt x="436" y="133"/>
                  </a:lnTo>
                  <a:lnTo>
                    <a:pt x="432" y="131"/>
                  </a:lnTo>
                  <a:lnTo>
                    <a:pt x="432" y="130"/>
                  </a:lnTo>
                  <a:lnTo>
                    <a:pt x="434" y="129"/>
                  </a:lnTo>
                  <a:lnTo>
                    <a:pt x="436" y="129"/>
                  </a:lnTo>
                  <a:lnTo>
                    <a:pt x="437" y="129"/>
                  </a:lnTo>
                  <a:lnTo>
                    <a:pt x="438" y="129"/>
                  </a:lnTo>
                  <a:lnTo>
                    <a:pt x="437" y="127"/>
                  </a:lnTo>
                  <a:lnTo>
                    <a:pt x="437" y="125"/>
                  </a:lnTo>
                  <a:lnTo>
                    <a:pt x="438" y="125"/>
                  </a:lnTo>
                  <a:lnTo>
                    <a:pt x="438" y="127"/>
                  </a:lnTo>
                  <a:lnTo>
                    <a:pt x="441" y="127"/>
                  </a:lnTo>
                  <a:lnTo>
                    <a:pt x="441" y="125"/>
                  </a:lnTo>
                  <a:lnTo>
                    <a:pt x="437" y="124"/>
                  </a:lnTo>
                  <a:lnTo>
                    <a:pt x="438" y="123"/>
                  </a:lnTo>
                  <a:lnTo>
                    <a:pt x="440" y="122"/>
                  </a:lnTo>
                  <a:lnTo>
                    <a:pt x="441" y="123"/>
                  </a:lnTo>
                  <a:lnTo>
                    <a:pt x="443" y="123"/>
                  </a:lnTo>
                  <a:lnTo>
                    <a:pt x="444" y="123"/>
                  </a:lnTo>
                  <a:lnTo>
                    <a:pt x="446" y="124"/>
                  </a:lnTo>
                  <a:lnTo>
                    <a:pt x="448" y="125"/>
                  </a:lnTo>
                  <a:lnTo>
                    <a:pt x="449" y="127"/>
                  </a:lnTo>
                  <a:lnTo>
                    <a:pt x="451" y="125"/>
                  </a:lnTo>
                  <a:lnTo>
                    <a:pt x="451" y="124"/>
                  </a:lnTo>
                  <a:lnTo>
                    <a:pt x="449" y="124"/>
                  </a:lnTo>
                  <a:lnTo>
                    <a:pt x="447" y="121"/>
                  </a:lnTo>
                  <a:lnTo>
                    <a:pt x="448" y="121"/>
                  </a:lnTo>
                  <a:lnTo>
                    <a:pt x="449" y="121"/>
                  </a:lnTo>
                  <a:lnTo>
                    <a:pt x="449" y="122"/>
                  </a:lnTo>
                  <a:lnTo>
                    <a:pt x="449" y="121"/>
                  </a:lnTo>
                  <a:lnTo>
                    <a:pt x="448" y="118"/>
                  </a:lnTo>
                  <a:lnTo>
                    <a:pt x="448" y="117"/>
                  </a:lnTo>
                  <a:lnTo>
                    <a:pt x="449" y="116"/>
                  </a:lnTo>
                  <a:lnTo>
                    <a:pt x="451" y="116"/>
                  </a:lnTo>
                  <a:lnTo>
                    <a:pt x="452" y="117"/>
                  </a:lnTo>
                  <a:lnTo>
                    <a:pt x="452" y="121"/>
                  </a:lnTo>
                  <a:lnTo>
                    <a:pt x="452" y="122"/>
                  </a:lnTo>
                  <a:lnTo>
                    <a:pt x="453" y="122"/>
                  </a:lnTo>
                  <a:lnTo>
                    <a:pt x="454" y="119"/>
                  </a:lnTo>
                  <a:lnTo>
                    <a:pt x="454" y="118"/>
                  </a:lnTo>
                  <a:lnTo>
                    <a:pt x="455" y="117"/>
                  </a:lnTo>
                  <a:lnTo>
                    <a:pt x="458" y="117"/>
                  </a:lnTo>
                  <a:lnTo>
                    <a:pt x="457" y="116"/>
                  </a:lnTo>
                  <a:lnTo>
                    <a:pt x="455" y="116"/>
                  </a:lnTo>
                  <a:lnTo>
                    <a:pt x="453" y="115"/>
                  </a:lnTo>
                  <a:lnTo>
                    <a:pt x="454" y="115"/>
                  </a:lnTo>
                  <a:lnTo>
                    <a:pt x="455" y="115"/>
                  </a:lnTo>
                  <a:lnTo>
                    <a:pt x="455" y="113"/>
                  </a:lnTo>
                  <a:lnTo>
                    <a:pt x="457" y="112"/>
                  </a:lnTo>
                  <a:lnTo>
                    <a:pt x="457" y="111"/>
                  </a:lnTo>
                  <a:lnTo>
                    <a:pt x="458" y="110"/>
                  </a:lnTo>
                  <a:lnTo>
                    <a:pt x="460" y="109"/>
                  </a:lnTo>
                  <a:lnTo>
                    <a:pt x="461" y="110"/>
                  </a:lnTo>
                  <a:lnTo>
                    <a:pt x="461" y="109"/>
                  </a:lnTo>
                  <a:lnTo>
                    <a:pt x="464" y="107"/>
                  </a:lnTo>
                  <a:lnTo>
                    <a:pt x="465" y="109"/>
                  </a:lnTo>
                  <a:lnTo>
                    <a:pt x="464" y="106"/>
                  </a:lnTo>
                  <a:lnTo>
                    <a:pt x="463" y="105"/>
                  </a:lnTo>
                  <a:lnTo>
                    <a:pt x="461" y="105"/>
                  </a:lnTo>
                  <a:lnTo>
                    <a:pt x="461" y="104"/>
                  </a:lnTo>
                  <a:lnTo>
                    <a:pt x="463" y="103"/>
                  </a:lnTo>
                  <a:lnTo>
                    <a:pt x="464" y="103"/>
                  </a:lnTo>
                  <a:lnTo>
                    <a:pt x="465" y="103"/>
                  </a:lnTo>
                  <a:lnTo>
                    <a:pt x="466" y="103"/>
                  </a:lnTo>
                  <a:lnTo>
                    <a:pt x="469" y="103"/>
                  </a:lnTo>
                  <a:lnTo>
                    <a:pt x="471" y="103"/>
                  </a:lnTo>
                  <a:lnTo>
                    <a:pt x="473" y="103"/>
                  </a:lnTo>
                  <a:lnTo>
                    <a:pt x="475" y="104"/>
                  </a:lnTo>
                  <a:lnTo>
                    <a:pt x="476" y="104"/>
                  </a:lnTo>
                  <a:lnTo>
                    <a:pt x="477" y="103"/>
                  </a:lnTo>
                  <a:lnTo>
                    <a:pt x="477" y="101"/>
                  </a:lnTo>
                  <a:lnTo>
                    <a:pt x="476" y="100"/>
                  </a:lnTo>
                  <a:lnTo>
                    <a:pt x="475" y="100"/>
                  </a:lnTo>
                  <a:lnTo>
                    <a:pt x="473" y="99"/>
                  </a:lnTo>
                  <a:lnTo>
                    <a:pt x="473" y="100"/>
                  </a:lnTo>
                  <a:lnTo>
                    <a:pt x="472" y="100"/>
                  </a:lnTo>
                  <a:lnTo>
                    <a:pt x="472" y="99"/>
                  </a:lnTo>
                  <a:lnTo>
                    <a:pt x="472" y="98"/>
                  </a:lnTo>
                  <a:lnTo>
                    <a:pt x="473" y="98"/>
                  </a:lnTo>
                  <a:lnTo>
                    <a:pt x="475" y="99"/>
                  </a:lnTo>
                  <a:lnTo>
                    <a:pt x="478" y="101"/>
                  </a:lnTo>
                  <a:lnTo>
                    <a:pt x="478" y="100"/>
                  </a:lnTo>
                  <a:lnTo>
                    <a:pt x="478" y="99"/>
                  </a:lnTo>
                  <a:lnTo>
                    <a:pt x="477" y="99"/>
                  </a:lnTo>
                  <a:lnTo>
                    <a:pt x="476" y="99"/>
                  </a:lnTo>
                  <a:lnTo>
                    <a:pt x="476" y="98"/>
                  </a:lnTo>
                  <a:lnTo>
                    <a:pt x="475" y="97"/>
                  </a:lnTo>
                  <a:lnTo>
                    <a:pt x="475" y="95"/>
                  </a:lnTo>
                  <a:lnTo>
                    <a:pt x="477" y="95"/>
                  </a:lnTo>
                  <a:lnTo>
                    <a:pt x="478" y="95"/>
                  </a:lnTo>
                  <a:lnTo>
                    <a:pt x="479" y="97"/>
                  </a:lnTo>
                  <a:lnTo>
                    <a:pt x="481" y="99"/>
                  </a:lnTo>
                  <a:lnTo>
                    <a:pt x="482" y="99"/>
                  </a:lnTo>
                  <a:lnTo>
                    <a:pt x="482" y="97"/>
                  </a:lnTo>
                  <a:lnTo>
                    <a:pt x="481" y="97"/>
                  </a:lnTo>
                  <a:lnTo>
                    <a:pt x="481" y="95"/>
                  </a:lnTo>
                  <a:lnTo>
                    <a:pt x="481" y="94"/>
                  </a:lnTo>
                  <a:lnTo>
                    <a:pt x="481" y="93"/>
                  </a:lnTo>
                  <a:lnTo>
                    <a:pt x="482" y="93"/>
                  </a:lnTo>
                  <a:lnTo>
                    <a:pt x="482" y="94"/>
                  </a:lnTo>
                  <a:lnTo>
                    <a:pt x="483" y="94"/>
                  </a:lnTo>
                  <a:lnTo>
                    <a:pt x="485" y="95"/>
                  </a:lnTo>
                  <a:lnTo>
                    <a:pt x="488" y="95"/>
                  </a:lnTo>
                  <a:lnTo>
                    <a:pt x="488" y="94"/>
                  </a:lnTo>
                  <a:lnTo>
                    <a:pt x="487" y="94"/>
                  </a:lnTo>
                  <a:lnTo>
                    <a:pt x="487" y="93"/>
                  </a:lnTo>
                  <a:lnTo>
                    <a:pt x="485" y="92"/>
                  </a:lnTo>
                  <a:lnTo>
                    <a:pt x="484" y="92"/>
                  </a:lnTo>
                  <a:lnTo>
                    <a:pt x="484" y="90"/>
                  </a:lnTo>
                  <a:lnTo>
                    <a:pt x="485" y="90"/>
                  </a:lnTo>
                  <a:lnTo>
                    <a:pt x="491" y="87"/>
                  </a:lnTo>
                  <a:lnTo>
                    <a:pt x="493" y="86"/>
                  </a:lnTo>
                  <a:lnTo>
                    <a:pt x="493" y="84"/>
                  </a:lnTo>
                  <a:lnTo>
                    <a:pt x="491" y="86"/>
                  </a:lnTo>
                  <a:lnTo>
                    <a:pt x="489" y="87"/>
                  </a:lnTo>
                  <a:lnTo>
                    <a:pt x="484" y="89"/>
                  </a:lnTo>
                  <a:lnTo>
                    <a:pt x="485" y="88"/>
                  </a:lnTo>
                  <a:lnTo>
                    <a:pt x="485" y="86"/>
                  </a:lnTo>
                  <a:lnTo>
                    <a:pt x="483" y="86"/>
                  </a:lnTo>
                  <a:lnTo>
                    <a:pt x="482" y="87"/>
                  </a:lnTo>
                  <a:lnTo>
                    <a:pt x="479" y="89"/>
                  </a:lnTo>
                  <a:lnTo>
                    <a:pt x="478" y="89"/>
                  </a:lnTo>
                  <a:lnTo>
                    <a:pt x="477" y="90"/>
                  </a:lnTo>
                  <a:lnTo>
                    <a:pt x="476" y="92"/>
                  </a:lnTo>
                  <a:lnTo>
                    <a:pt x="475" y="92"/>
                  </a:lnTo>
                  <a:lnTo>
                    <a:pt x="475" y="90"/>
                  </a:lnTo>
                  <a:lnTo>
                    <a:pt x="473" y="89"/>
                  </a:lnTo>
                  <a:lnTo>
                    <a:pt x="472" y="90"/>
                  </a:lnTo>
                  <a:lnTo>
                    <a:pt x="472" y="92"/>
                  </a:lnTo>
                  <a:lnTo>
                    <a:pt x="470" y="93"/>
                  </a:lnTo>
                  <a:lnTo>
                    <a:pt x="469" y="94"/>
                  </a:lnTo>
                  <a:lnTo>
                    <a:pt x="467" y="95"/>
                  </a:lnTo>
                  <a:lnTo>
                    <a:pt x="466" y="94"/>
                  </a:lnTo>
                  <a:lnTo>
                    <a:pt x="469" y="93"/>
                  </a:lnTo>
                  <a:lnTo>
                    <a:pt x="469" y="92"/>
                  </a:lnTo>
                  <a:lnTo>
                    <a:pt x="467" y="92"/>
                  </a:lnTo>
                  <a:lnTo>
                    <a:pt x="466" y="90"/>
                  </a:lnTo>
                  <a:lnTo>
                    <a:pt x="466" y="89"/>
                  </a:lnTo>
                  <a:lnTo>
                    <a:pt x="465" y="90"/>
                  </a:lnTo>
                  <a:lnTo>
                    <a:pt x="464" y="92"/>
                  </a:lnTo>
                  <a:lnTo>
                    <a:pt x="463" y="93"/>
                  </a:lnTo>
                  <a:lnTo>
                    <a:pt x="463" y="94"/>
                  </a:lnTo>
                  <a:lnTo>
                    <a:pt x="463" y="95"/>
                  </a:lnTo>
                  <a:lnTo>
                    <a:pt x="464" y="94"/>
                  </a:lnTo>
                  <a:lnTo>
                    <a:pt x="464" y="95"/>
                  </a:lnTo>
                  <a:lnTo>
                    <a:pt x="463" y="97"/>
                  </a:lnTo>
                  <a:lnTo>
                    <a:pt x="461" y="95"/>
                  </a:lnTo>
                  <a:lnTo>
                    <a:pt x="461" y="97"/>
                  </a:lnTo>
                  <a:lnTo>
                    <a:pt x="460" y="97"/>
                  </a:lnTo>
                  <a:lnTo>
                    <a:pt x="459" y="98"/>
                  </a:lnTo>
                  <a:lnTo>
                    <a:pt x="458" y="99"/>
                  </a:lnTo>
                  <a:lnTo>
                    <a:pt x="457" y="99"/>
                  </a:lnTo>
                  <a:lnTo>
                    <a:pt x="455" y="100"/>
                  </a:lnTo>
                  <a:lnTo>
                    <a:pt x="454" y="101"/>
                  </a:lnTo>
                  <a:lnTo>
                    <a:pt x="453" y="100"/>
                  </a:lnTo>
                  <a:lnTo>
                    <a:pt x="451" y="100"/>
                  </a:lnTo>
                  <a:lnTo>
                    <a:pt x="449" y="100"/>
                  </a:lnTo>
                  <a:lnTo>
                    <a:pt x="449" y="101"/>
                  </a:lnTo>
                  <a:lnTo>
                    <a:pt x="448" y="104"/>
                  </a:lnTo>
                  <a:lnTo>
                    <a:pt x="447" y="105"/>
                  </a:lnTo>
                  <a:lnTo>
                    <a:pt x="444" y="106"/>
                  </a:lnTo>
                  <a:lnTo>
                    <a:pt x="443" y="109"/>
                  </a:lnTo>
                  <a:lnTo>
                    <a:pt x="441" y="110"/>
                  </a:lnTo>
                  <a:lnTo>
                    <a:pt x="441" y="109"/>
                  </a:lnTo>
                  <a:lnTo>
                    <a:pt x="441" y="107"/>
                  </a:lnTo>
                  <a:lnTo>
                    <a:pt x="440" y="106"/>
                  </a:lnTo>
                  <a:lnTo>
                    <a:pt x="441" y="105"/>
                  </a:lnTo>
                  <a:lnTo>
                    <a:pt x="441" y="104"/>
                  </a:lnTo>
                  <a:lnTo>
                    <a:pt x="441" y="101"/>
                  </a:lnTo>
                  <a:lnTo>
                    <a:pt x="447" y="101"/>
                  </a:lnTo>
                  <a:lnTo>
                    <a:pt x="446" y="100"/>
                  </a:lnTo>
                  <a:lnTo>
                    <a:pt x="448" y="99"/>
                  </a:lnTo>
                  <a:lnTo>
                    <a:pt x="447" y="98"/>
                  </a:lnTo>
                  <a:lnTo>
                    <a:pt x="444" y="99"/>
                  </a:lnTo>
                  <a:lnTo>
                    <a:pt x="441" y="99"/>
                  </a:lnTo>
                  <a:lnTo>
                    <a:pt x="440" y="98"/>
                  </a:lnTo>
                  <a:lnTo>
                    <a:pt x="441" y="97"/>
                  </a:lnTo>
                  <a:lnTo>
                    <a:pt x="438" y="95"/>
                  </a:lnTo>
                  <a:lnTo>
                    <a:pt x="437" y="95"/>
                  </a:lnTo>
                  <a:lnTo>
                    <a:pt x="437" y="97"/>
                  </a:lnTo>
                  <a:lnTo>
                    <a:pt x="436" y="97"/>
                  </a:lnTo>
                  <a:lnTo>
                    <a:pt x="434" y="97"/>
                  </a:lnTo>
                  <a:lnTo>
                    <a:pt x="432" y="98"/>
                  </a:lnTo>
                  <a:lnTo>
                    <a:pt x="430" y="98"/>
                  </a:lnTo>
                  <a:lnTo>
                    <a:pt x="428" y="98"/>
                  </a:lnTo>
                  <a:lnTo>
                    <a:pt x="425" y="97"/>
                  </a:lnTo>
                  <a:lnTo>
                    <a:pt x="424" y="95"/>
                  </a:lnTo>
                  <a:lnTo>
                    <a:pt x="426" y="94"/>
                  </a:lnTo>
                  <a:lnTo>
                    <a:pt x="425" y="93"/>
                  </a:lnTo>
                  <a:lnTo>
                    <a:pt x="425" y="89"/>
                  </a:lnTo>
                  <a:lnTo>
                    <a:pt x="424" y="88"/>
                  </a:lnTo>
                  <a:lnTo>
                    <a:pt x="425" y="88"/>
                  </a:lnTo>
                  <a:lnTo>
                    <a:pt x="426" y="89"/>
                  </a:lnTo>
                  <a:lnTo>
                    <a:pt x="429" y="90"/>
                  </a:lnTo>
                  <a:lnTo>
                    <a:pt x="429" y="92"/>
                  </a:lnTo>
                  <a:lnTo>
                    <a:pt x="430" y="93"/>
                  </a:lnTo>
                  <a:lnTo>
                    <a:pt x="430" y="92"/>
                  </a:lnTo>
                  <a:lnTo>
                    <a:pt x="430" y="94"/>
                  </a:lnTo>
                  <a:lnTo>
                    <a:pt x="431" y="95"/>
                  </a:lnTo>
                  <a:lnTo>
                    <a:pt x="432" y="95"/>
                  </a:lnTo>
                  <a:lnTo>
                    <a:pt x="432" y="94"/>
                  </a:lnTo>
                  <a:lnTo>
                    <a:pt x="434" y="93"/>
                  </a:lnTo>
                  <a:lnTo>
                    <a:pt x="436" y="94"/>
                  </a:lnTo>
                  <a:lnTo>
                    <a:pt x="437" y="94"/>
                  </a:lnTo>
                  <a:lnTo>
                    <a:pt x="438" y="94"/>
                  </a:lnTo>
                  <a:lnTo>
                    <a:pt x="437" y="94"/>
                  </a:lnTo>
                  <a:lnTo>
                    <a:pt x="436" y="93"/>
                  </a:lnTo>
                  <a:lnTo>
                    <a:pt x="436" y="92"/>
                  </a:lnTo>
                  <a:lnTo>
                    <a:pt x="437" y="92"/>
                  </a:lnTo>
                  <a:lnTo>
                    <a:pt x="438" y="90"/>
                  </a:lnTo>
                  <a:lnTo>
                    <a:pt x="437" y="89"/>
                  </a:lnTo>
                  <a:lnTo>
                    <a:pt x="435" y="89"/>
                  </a:lnTo>
                  <a:lnTo>
                    <a:pt x="432" y="90"/>
                  </a:lnTo>
                  <a:lnTo>
                    <a:pt x="431" y="88"/>
                  </a:lnTo>
                  <a:lnTo>
                    <a:pt x="430" y="87"/>
                  </a:lnTo>
                  <a:lnTo>
                    <a:pt x="428" y="87"/>
                  </a:lnTo>
                  <a:lnTo>
                    <a:pt x="425" y="86"/>
                  </a:lnTo>
                  <a:lnTo>
                    <a:pt x="422" y="83"/>
                  </a:lnTo>
                  <a:lnTo>
                    <a:pt x="419" y="81"/>
                  </a:lnTo>
                  <a:lnTo>
                    <a:pt x="420" y="81"/>
                  </a:lnTo>
                  <a:lnTo>
                    <a:pt x="420" y="80"/>
                  </a:lnTo>
                  <a:lnTo>
                    <a:pt x="419" y="78"/>
                  </a:lnTo>
                  <a:lnTo>
                    <a:pt x="420" y="77"/>
                  </a:lnTo>
                  <a:lnTo>
                    <a:pt x="420" y="75"/>
                  </a:lnTo>
                  <a:lnTo>
                    <a:pt x="423" y="74"/>
                  </a:lnTo>
                  <a:lnTo>
                    <a:pt x="424" y="69"/>
                  </a:lnTo>
                  <a:lnTo>
                    <a:pt x="424" y="66"/>
                  </a:lnTo>
                  <a:lnTo>
                    <a:pt x="425" y="64"/>
                  </a:lnTo>
                  <a:lnTo>
                    <a:pt x="426" y="63"/>
                  </a:lnTo>
                  <a:lnTo>
                    <a:pt x="426" y="62"/>
                  </a:lnTo>
                  <a:lnTo>
                    <a:pt x="428" y="62"/>
                  </a:lnTo>
                  <a:lnTo>
                    <a:pt x="426" y="60"/>
                  </a:lnTo>
                  <a:lnTo>
                    <a:pt x="424" y="60"/>
                  </a:lnTo>
                  <a:lnTo>
                    <a:pt x="422" y="60"/>
                  </a:lnTo>
                  <a:lnTo>
                    <a:pt x="422" y="59"/>
                  </a:lnTo>
                  <a:lnTo>
                    <a:pt x="423" y="58"/>
                  </a:lnTo>
                  <a:lnTo>
                    <a:pt x="425" y="58"/>
                  </a:lnTo>
                  <a:lnTo>
                    <a:pt x="426" y="57"/>
                  </a:lnTo>
                  <a:lnTo>
                    <a:pt x="428" y="58"/>
                  </a:lnTo>
                  <a:lnTo>
                    <a:pt x="429" y="58"/>
                  </a:lnTo>
                  <a:lnTo>
                    <a:pt x="430" y="57"/>
                  </a:lnTo>
                  <a:lnTo>
                    <a:pt x="430" y="56"/>
                  </a:lnTo>
                  <a:lnTo>
                    <a:pt x="428" y="54"/>
                  </a:lnTo>
                  <a:lnTo>
                    <a:pt x="430" y="53"/>
                  </a:lnTo>
                  <a:lnTo>
                    <a:pt x="428" y="52"/>
                  </a:lnTo>
                  <a:lnTo>
                    <a:pt x="426" y="52"/>
                  </a:lnTo>
                  <a:lnTo>
                    <a:pt x="424" y="52"/>
                  </a:lnTo>
                  <a:lnTo>
                    <a:pt x="423" y="53"/>
                  </a:lnTo>
                  <a:lnTo>
                    <a:pt x="422" y="53"/>
                  </a:lnTo>
                  <a:lnTo>
                    <a:pt x="420" y="52"/>
                  </a:lnTo>
                  <a:lnTo>
                    <a:pt x="419" y="51"/>
                  </a:lnTo>
                  <a:lnTo>
                    <a:pt x="420" y="50"/>
                  </a:lnTo>
                  <a:lnTo>
                    <a:pt x="423" y="48"/>
                  </a:lnTo>
                  <a:lnTo>
                    <a:pt x="425" y="47"/>
                  </a:lnTo>
                  <a:lnTo>
                    <a:pt x="428" y="47"/>
                  </a:lnTo>
                  <a:lnTo>
                    <a:pt x="429" y="50"/>
                  </a:lnTo>
                  <a:lnTo>
                    <a:pt x="430" y="48"/>
                  </a:lnTo>
                  <a:lnTo>
                    <a:pt x="430" y="47"/>
                  </a:lnTo>
                  <a:lnTo>
                    <a:pt x="429" y="46"/>
                  </a:lnTo>
                  <a:lnTo>
                    <a:pt x="431" y="47"/>
                  </a:lnTo>
                  <a:lnTo>
                    <a:pt x="434" y="47"/>
                  </a:lnTo>
                  <a:lnTo>
                    <a:pt x="432" y="46"/>
                  </a:lnTo>
                  <a:lnTo>
                    <a:pt x="432" y="45"/>
                  </a:lnTo>
                  <a:lnTo>
                    <a:pt x="434" y="45"/>
                  </a:lnTo>
                  <a:lnTo>
                    <a:pt x="436" y="45"/>
                  </a:lnTo>
                  <a:lnTo>
                    <a:pt x="436" y="46"/>
                  </a:lnTo>
                  <a:lnTo>
                    <a:pt x="438" y="47"/>
                  </a:lnTo>
                  <a:lnTo>
                    <a:pt x="440" y="47"/>
                  </a:lnTo>
                  <a:lnTo>
                    <a:pt x="440" y="46"/>
                  </a:lnTo>
                  <a:lnTo>
                    <a:pt x="438" y="45"/>
                  </a:lnTo>
                  <a:lnTo>
                    <a:pt x="438" y="44"/>
                  </a:lnTo>
                  <a:lnTo>
                    <a:pt x="442" y="42"/>
                  </a:lnTo>
                  <a:lnTo>
                    <a:pt x="444" y="42"/>
                  </a:lnTo>
                  <a:lnTo>
                    <a:pt x="446" y="41"/>
                  </a:lnTo>
                  <a:lnTo>
                    <a:pt x="444" y="40"/>
                  </a:lnTo>
                  <a:lnTo>
                    <a:pt x="442" y="41"/>
                  </a:lnTo>
                  <a:lnTo>
                    <a:pt x="441" y="41"/>
                  </a:lnTo>
                  <a:lnTo>
                    <a:pt x="441" y="39"/>
                  </a:lnTo>
                  <a:lnTo>
                    <a:pt x="440" y="39"/>
                  </a:lnTo>
                  <a:lnTo>
                    <a:pt x="436" y="41"/>
                  </a:lnTo>
                  <a:lnTo>
                    <a:pt x="434" y="42"/>
                  </a:lnTo>
                  <a:lnTo>
                    <a:pt x="434" y="41"/>
                  </a:lnTo>
                  <a:lnTo>
                    <a:pt x="435" y="40"/>
                  </a:lnTo>
                  <a:lnTo>
                    <a:pt x="435" y="38"/>
                  </a:lnTo>
                  <a:lnTo>
                    <a:pt x="434" y="36"/>
                  </a:lnTo>
                  <a:lnTo>
                    <a:pt x="434" y="38"/>
                  </a:lnTo>
                  <a:lnTo>
                    <a:pt x="432" y="40"/>
                  </a:lnTo>
                  <a:lnTo>
                    <a:pt x="432" y="41"/>
                  </a:lnTo>
                  <a:lnTo>
                    <a:pt x="431" y="42"/>
                  </a:lnTo>
                  <a:lnTo>
                    <a:pt x="430" y="42"/>
                  </a:lnTo>
                  <a:lnTo>
                    <a:pt x="429" y="42"/>
                  </a:lnTo>
                  <a:lnTo>
                    <a:pt x="426" y="44"/>
                  </a:lnTo>
                  <a:lnTo>
                    <a:pt x="426" y="45"/>
                  </a:lnTo>
                  <a:lnTo>
                    <a:pt x="424" y="45"/>
                  </a:lnTo>
                  <a:lnTo>
                    <a:pt x="423" y="45"/>
                  </a:lnTo>
                  <a:lnTo>
                    <a:pt x="423" y="44"/>
                  </a:lnTo>
                  <a:lnTo>
                    <a:pt x="424" y="42"/>
                  </a:lnTo>
                  <a:lnTo>
                    <a:pt x="424" y="41"/>
                  </a:lnTo>
                  <a:lnTo>
                    <a:pt x="425" y="42"/>
                  </a:lnTo>
                  <a:lnTo>
                    <a:pt x="426" y="42"/>
                  </a:lnTo>
                  <a:lnTo>
                    <a:pt x="426" y="41"/>
                  </a:lnTo>
                  <a:lnTo>
                    <a:pt x="426" y="40"/>
                  </a:lnTo>
                  <a:lnTo>
                    <a:pt x="428" y="41"/>
                  </a:lnTo>
                  <a:lnTo>
                    <a:pt x="429" y="41"/>
                  </a:lnTo>
                  <a:lnTo>
                    <a:pt x="429" y="40"/>
                  </a:lnTo>
                  <a:lnTo>
                    <a:pt x="428" y="40"/>
                  </a:lnTo>
                  <a:lnTo>
                    <a:pt x="428" y="39"/>
                  </a:lnTo>
                  <a:lnTo>
                    <a:pt x="428" y="38"/>
                  </a:lnTo>
                  <a:lnTo>
                    <a:pt x="426" y="38"/>
                  </a:lnTo>
                  <a:lnTo>
                    <a:pt x="425" y="36"/>
                  </a:lnTo>
                  <a:lnTo>
                    <a:pt x="426" y="35"/>
                  </a:lnTo>
                  <a:lnTo>
                    <a:pt x="428" y="34"/>
                  </a:lnTo>
                  <a:lnTo>
                    <a:pt x="428" y="35"/>
                  </a:lnTo>
                  <a:lnTo>
                    <a:pt x="430" y="35"/>
                  </a:lnTo>
                  <a:lnTo>
                    <a:pt x="434" y="35"/>
                  </a:lnTo>
                  <a:lnTo>
                    <a:pt x="435" y="34"/>
                  </a:lnTo>
                  <a:lnTo>
                    <a:pt x="434" y="34"/>
                  </a:lnTo>
                  <a:lnTo>
                    <a:pt x="429" y="34"/>
                  </a:lnTo>
                  <a:lnTo>
                    <a:pt x="430" y="32"/>
                  </a:lnTo>
                  <a:lnTo>
                    <a:pt x="431" y="32"/>
                  </a:lnTo>
                  <a:lnTo>
                    <a:pt x="434" y="30"/>
                  </a:lnTo>
                  <a:lnTo>
                    <a:pt x="435" y="30"/>
                  </a:lnTo>
                  <a:lnTo>
                    <a:pt x="435" y="29"/>
                  </a:lnTo>
                  <a:lnTo>
                    <a:pt x="432" y="29"/>
                  </a:lnTo>
                  <a:lnTo>
                    <a:pt x="431" y="29"/>
                  </a:lnTo>
                  <a:lnTo>
                    <a:pt x="430" y="30"/>
                  </a:lnTo>
                  <a:lnTo>
                    <a:pt x="430" y="29"/>
                  </a:lnTo>
                  <a:lnTo>
                    <a:pt x="435" y="23"/>
                  </a:lnTo>
                  <a:lnTo>
                    <a:pt x="437" y="21"/>
                  </a:lnTo>
                  <a:lnTo>
                    <a:pt x="441" y="16"/>
                  </a:lnTo>
                  <a:lnTo>
                    <a:pt x="444" y="14"/>
                  </a:lnTo>
                  <a:lnTo>
                    <a:pt x="443" y="12"/>
                  </a:lnTo>
                  <a:lnTo>
                    <a:pt x="441" y="14"/>
                  </a:lnTo>
                  <a:lnTo>
                    <a:pt x="440" y="15"/>
                  </a:lnTo>
                  <a:lnTo>
                    <a:pt x="437" y="18"/>
                  </a:lnTo>
                  <a:lnTo>
                    <a:pt x="432" y="22"/>
                  </a:lnTo>
                  <a:lnTo>
                    <a:pt x="430" y="26"/>
                  </a:lnTo>
                  <a:lnTo>
                    <a:pt x="428" y="29"/>
                  </a:lnTo>
                  <a:lnTo>
                    <a:pt x="426" y="32"/>
                  </a:lnTo>
                  <a:lnTo>
                    <a:pt x="425" y="32"/>
                  </a:lnTo>
                  <a:lnTo>
                    <a:pt x="423" y="30"/>
                  </a:lnTo>
                  <a:lnTo>
                    <a:pt x="422" y="28"/>
                  </a:lnTo>
                  <a:lnTo>
                    <a:pt x="419" y="26"/>
                  </a:lnTo>
                  <a:lnTo>
                    <a:pt x="418" y="24"/>
                  </a:lnTo>
                  <a:lnTo>
                    <a:pt x="417" y="24"/>
                  </a:lnTo>
                  <a:lnTo>
                    <a:pt x="416" y="24"/>
                  </a:lnTo>
                  <a:lnTo>
                    <a:pt x="417" y="27"/>
                  </a:lnTo>
                  <a:lnTo>
                    <a:pt x="418" y="27"/>
                  </a:lnTo>
                  <a:lnTo>
                    <a:pt x="419" y="27"/>
                  </a:lnTo>
                  <a:lnTo>
                    <a:pt x="420" y="28"/>
                  </a:lnTo>
                  <a:lnTo>
                    <a:pt x="422" y="29"/>
                  </a:lnTo>
                  <a:lnTo>
                    <a:pt x="423" y="32"/>
                  </a:lnTo>
                  <a:lnTo>
                    <a:pt x="424" y="33"/>
                  </a:lnTo>
                  <a:lnTo>
                    <a:pt x="424" y="35"/>
                  </a:lnTo>
                  <a:lnTo>
                    <a:pt x="424" y="36"/>
                  </a:lnTo>
                  <a:lnTo>
                    <a:pt x="422" y="35"/>
                  </a:lnTo>
                  <a:lnTo>
                    <a:pt x="420" y="34"/>
                  </a:lnTo>
                  <a:lnTo>
                    <a:pt x="419" y="33"/>
                  </a:lnTo>
                  <a:lnTo>
                    <a:pt x="418" y="34"/>
                  </a:lnTo>
                  <a:lnTo>
                    <a:pt x="419" y="35"/>
                  </a:lnTo>
                  <a:lnTo>
                    <a:pt x="420" y="36"/>
                  </a:lnTo>
                  <a:lnTo>
                    <a:pt x="422" y="38"/>
                  </a:lnTo>
                  <a:lnTo>
                    <a:pt x="422" y="39"/>
                  </a:lnTo>
                  <a:lnTo>
                    <a:pt x="420" y="40"/>
                  </a:lnTo>
                  <a:lnTo>
                    <a:pt x="418" y="38"/>
                  </a:lnTo>
                  <a:lnTo>
                    <a:pt x="417" y="38"/>
                  </a:lnTo>
                  <a:lnTo>
                    <a:pt x="418" y="40"/>
                  </a:lnTo>
                  <a:lnTo>
                    <a:pt x="419" y="41"/>
                  </a:lnTo>
                  <a:lnTo>
                    <a:pt x="420" y="42"/>
                  </a:lnTo>
                  <a:lnTo>
                    <a:pt x="420" y="44"/>
                  </a:lnTo>
                  <a:lnTo>
                    <a:pt x="420" y="45"/>
                  </a:lnTo>
                  <a:lnTo>
                    <a:pt x="419" y="45"/>
                  </a:lnTo>
                  <a:lnTo>
                    <a:pt x="418" y="44"/>
                  </a:lnTo>
                  <a:lnTo>
                    <a:pt x="417" y="44"/>
                  </a:lnTo>
                  <a:lnTo>
                    <a:pt x="417" y="42"/>
                  </a:lnTo>
                  <a:lnTo>
                    <a:pt x="416" y="41"/>
                  </a:lnTo>
                  <a:lnTo>
                    <a:pt x="414" y="41"/>
                  </a:lnTo>
                  <a:lnTo>
                    <a:pt x="413" y="40"/>
                  </a:lnTo>
                  <a:lnTo>
                    <a:pt x="414" y="39"/>
                  </a:lnTo>
                  <a:lnTo>
                    <a:pt x="416" y="38"/>
                  </a:lnTo>
                  <a:lnTo>
                    <a:pt x="416" y="36"/>
                  </a:lnTo>
                  <a:lnTo>
                    <a:pt x="416" y="35"/>
                  </a:lnTo>
                  <a:lnTo>
                    <a:pt x="413" y="35"/>
                  </a:lnTo>
                  <a:lnTo>
                    <a:pt x="413" y="36"/>
                  </a:lnTo>
                  <a:lnTo>
                    <a:pt x="413" y="33"/>
                  </a:lnTo>
                  <a:lnTo>
                    <a:pt x="413" y="32"/>
                  </a:lnTo>
                  <a:lnTo>
                    <a:pt x="414" y="32"/>
                  </a:lnTo>
                  <a:lnTo>
                    <a:pt x="417" y="32"/>
                  </a:lnTo>
                  <a:lnTo>
                    <a:pt x="419" y="30"/>
                  </a:lnTo>
                  <a:lnTo>
                    <a:pt x="420" y="30"/>
                  </a:lnTo>
                  <a:lnTo>
                    <a:pt x="420" y="29"/>
                  </a:lnTo>
                  <a:lnTo>
                    <a:pt x="418" y="29"/>
                  </a:lnTo>
                  <a:lnTo>
                    <a:pt x="414" y="29"/>
                  </a:lnTo>
                  <a:lnTo>
                    <a:pt x="412" y="29"/>
                  </a:lnTo>
                  <a:lnTo>
                    <a:pt x="412" y="27"/>
                  </a:lnTo>
                  <a:lnTo>
                    <a:pt x="412" y="26"/>
                  </a:lnTo>
                  <a:lnTo>
                    <a:pt x="411" y="23"/>
                  </a:lnTo>
                  <a:lnTo>
                    <a:pt x="411" y="18"/>
                  </a:lnTo>
                  <a:lnTo>
                    <a:pt x="411" y="15"/>
                  </a:lnTo>
                  <a:lnTo>
                    <a:pt x="410" y="16"/>
                  </a:lnTo>
                  <a:lnTo>
                    <a:pt x="410" y="23"/>
                  </a:lnTo>
                  <a:lnTo>
                    <a:pt x="410" y="28"/>
                  </a:lnTo>
                  <a:lnTo>
                    <a:pt x="410" y="32"/>
                  </a:lnTo>
                  <a:lnTo>
                    <a:pt x="411" y="34"/>
                  </a:lnTo>
                  <a:lnTo>
                    <a:pt x="412" y="36"/>
                  </a:lnTo>
                  <a:lnTo>
                    <a:pt x="411" y="39"/>
                  </a:lnTo>
                  <a:lnTo>
                    <a:pt x="410" y="38"/>
                  </a:lnTo>
                  <a:lnTo>
                    <a:pt x="408" y="35"/>
                  </a:lnTo>
                  <a:lnTo>
                    <a:pt x="408" y="36"/>
                  </a:lnTo>
                  <a:lnTo>
                    <a:pt x="407" y="38"/>
                  </a:lnTo>
                  <a:lnTo>
                    <a:pt x="407" y="39"/>
                  </a:lnTo>
                  <a:lnTo>
                    <a:pt x="406" y="41"/>
                  </a:lnTo>
                  <a:lnTo>
                    <a:pt x="405" y="41"/>
                  </a:lnTo>
                  <a:lnTo>
                    <a:pt x="404" y="40"/>
                  </a:lnTo>
                  <a:lnTo>
                    <a:pt x="402" y="38"/>
                  </a:lnTo>
                  <a:lnTo>
                    <a:pt x="402" y="36"/>
                  </a:lnTo>
                  <a:lnTo>
                    <a:pt x="404" y="35"/>
                  </a:lnTo>
                  <a:lnTo>
                    <a:pt x="405" y="34"/>
                  </a:lnTo>
                  <a:lnTo>
                    <a:pt x="406" y="33"/>
                  </a:lnTo>
                  <a:lnTo>
                    <a:pt x="405" y="32"/>
                  </a:lnTo>
                  <a:lnTo>
                    <a:pt x="402" y="33"/>
                  </a:lnTo>
                  <a:lnTo>
                    <a:pt x="401" y="34"/>
                  </a:lnTo>
                  <a:lnTo>
                    <a:pt x="400" y="34"/>
                  </a:lnTo>
                  <a:lnTo>
                    <a:pt x="402" y="33"/>
                  </a:lnTo>
                  <a:lnTo>
                    <a:pt x="402" y="32"/>
                  </a:lnTo>
                  <a:lnTo>
                    <a:pt x="400" y="33"/>
                  </a:lnTo>
                  <a:lnTo>
                    <a:pt x="400" y="32"/>
                  </a:lnTo>
                  <a:lnTo>
                    <a:pt x="401" y="30"/>
                  </a:lnTo>
                  <a:lnTo>
                    <a:pt x="402" y="28"/>
                  </a:lnTo>
                  <a:lnTo>
                    <a:pt x="401" y="27"/>
                  </a:lnTo>
                  <a:lnTo>
                    <a:pt x="400" y="28"/>
                  </a:lnTo>
                  <a:lnTo>
                    <a:pt x="399" y="27"/>
                  </a:lnTo>
                  <a:lnTo>
                    <a:pt x="400" y="26"/>
                  </a:lnTo>
                  <a:lnTo>
                    <a:pt x="402" y="24"/>
                  </a:lnTo>
                  <a:lnTo>
                    <a:pt x="405" y="22"/>
                  </a:lnTo>
                  <a:lnTo>
                    <a:pt x="408" y="17"/>
                  </a:lnTo>
                  <a:lnTo>
                    <a:pt x="408" y="16"/>
                  </a:lnTo>
                  <a:lnTo>
                    <a:pt x="407" y="17"/>
                  </a:lnTo>
                  <a:lnTo>
                    <a:pt x="406" y="17"/>
                  </a:lnTo>
                  <a:lnTo>
                    <a:pt x="400" y="23"/>
                  </a:lnTo>
                  <a:lnTo>
                    <a:pt x="400" y="22"/>
                  </a:lnTo>
                  <a:lnTo>
                    <a:pt x="400" y="21"/>
                  </a:lnTo>
                  <a:lnTo>
                    <a:pt x="401" y="20"/>
                  </a:lnTo>
                  <a:lnTo>
                    <a:pt x="401" y="18"/>
                  </a:lnTo>
                  <a:lnTo>
                    <a:pt x="402" y="17"/>
                  </a:lnTo>
                  <a:lnTo>
                    <a:pt x="401" y="15"/>
                  </a:lnTo>
                  <a:lnTo>
                    <a:pt x="400" y="15"/>
                  </a:lnTo>
                  <a:lnTo>
                    <a:pt x="400" y="16"/>
                  </a:lnTo>
                  <a:lnTo>
                    <a:pt x="400" y="17"/>
                  </a:lnTo>
                  <a:lnTo>
                    <a:pt x="399" y="17"/>
                  </a:lnTo>
                  <a:lnTo>
                    <a:pt x="399" y="15"/>
                  </a:lnTo>
                  <a:lnTo>
                    <a:pt x="399" y="12"/>
                  </a:lnTo>
                  <a:lnTo>
                    <a:pt x="399" y="9"/>
                  </a:lnTo>
                  <a:lnTo>
                    <a:pt x="398" y="9"/>
                  </a:lnTo>
                  <a:lnTo>
                    <a:pt x="398" y="10"/>
                  </a:lnTo>
                  <a:lnTo>
                    <a:pt x="398" y="14"/>
                  </a:lnTo>
                  <a:lnTo>
                    <a:pt x="398" y="17"/>
                  </a:lnTo>
                  <a:lnTo>
                    <a:pt x="398" y="20"/>
                  </a:lnTo>
                  <a:lnTo>
                    <a:pt x="398" y="21"/>
                  </a:lnTo>
                  <a:lnTo>
                    <a:pt x="398" y="2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7" name="Freeform 80"/>
            <p:cNvSpPr>
              <a:spLocks/>
            </p:cNvSpPr>
            <p:nvPr userDrawn="1"/>
          </p:nvSpPr>
          <p:spPr bwMode="auto">
            <a:xfrm>
              <a:off x="7605713" y="6399213"/>
              <a:ext cx="211138" cy="236538"/>
            </a:xfrm>
            <a:custGeom>
              <a:avLst/>
              <a:gdLst/>
              <a:ahLst/>
              <a:cxnLst>
                <a:cxn ang="0">
                  <a:pos x="230" y="546"/>
                </a:cxn>
                <a:cxn ang="0">
                  <a:pos x="191" y="515"/>
                </a:cxn>
                <a:cxn ang="0">
                  <a:pos x="202" y="469"/>
                </a:cxn>
                <a:cxn ang="0">
                  <a:pos x="149" y="474"/>
                </a:cxn>
                <a:cxn ang="0">
                  <a:pos x="93" y="499"/>
                </a:cxn>
                <a:cxn ang="0">
                  <a:pos x="67" y="467"/>
                </a:cxn>
                <a:cxn ang="0">
                  <a:pos x="40" y="440"/>
                </a:cxn>
                <a:cxn ang="0">
                  <a:pos x="23" y="395"/>
                </a:cxn>
                <a:cxn ang="0">
                  <a:pos x="14" y="350"/>
                </a:cxn>
                <a:cxn ang="0">
                  <a:pos x="53" y="333"/>
                </a:cxn>
                <a:cxn ang="0">
                  <a:pos x="90" y="323"/>
                </a:cxn>
                <a:cxn ang="0">
                  <a:pos x="103" y="294"/>
                </a:cxn>
                <a:cxn ang="0">
                  <a:pos x="115" y="255"/>
                </a:cxn>
                <a:cxn ang="0">
                  <a:pos x="150" y="238"/>
                </a:cxn>
                <a:cxn ang="0">
                  <a:pos x="155" y="222"/>
                </a:cxn>
                <a:cxn ang="0">
                  <a:pos x="165" y="204"/>
                </a:cxn>
                <a:cxn ang="0">
                  <a:pos x="147" y="195"/>
                </a:cxn>
                <a:cxn ang="0">
                  <a:pos x="162" y="178"/>
                </a:cxn>
                <a:cxn ang="0">
                  <a:pos x="135" y="166"/>
                </a:cxn>
                <a:cxn ang="0">
                  <a:pos x="143" y="143"/>
                </a:cxn>
                <a:cxn ang="0">
                  <a:pos x="127" y="116"/>
                </a:cxn>
                <a:cxn ang="0">
                  <a:pos x="158" y="123"/>
                </a:cxn>
                <a:cxn ang="0">
                  <a:pos x="169" y="93"/>
                </a:cxn>
                <a:cxn ang="0">
                  <a:pos x="196" y="89"/>
                </a:cxn>
                <a:cxn ang="0">
                  <a:pos x="197" y="68"/>
                </a:cxn>
                <a:cxn ang="0">
                  <a:pos x="222" y="61"/>
                </a:cxn>
                <a:cxn ang="0">
                  <a:pos x="224" y="53"/>
                </a:cxn>
                <a:cxn ang="0">
                  <a:pos x="250" y="55"/>
                </a:cxn>
                <a:cxn ang="0">
                  <a:pos x="275" y="82"/>
                </a:cxn>
                <a:cxn ang="0">
                  <a:pos x="294" y="57"/>
                </a:cxn>
                <a:cxn ang="0">
                  <a:pos x="315" y="40"/>
                </a:cxn>
                <a:cxn ang="0">
                  <a:pos x="340" y="6"/>
                </a:cxn>
                <a:cxn ang="0">
                  <a:pos x="362" y="26"/>
                </a:cxn>
                <a:cxn ang="0">
                  <a:pos x="392" y="38"/>
                </a:cxn>
                <a:cxn ang="0">
                  <a:pos x="406" y="59"/>
                </a:cxn>
                <a:cxn ang="0">
                  <a:pos x="428" y="59"/>
                </a:cxn>
                <a:cxn ang="0">
                  <a:pos x="475" y="61"/>
                </a:cxn>
                <a:cxn ang="0">
                  <a:pos x="510" y="80"/>
                </a:cxn>
                <a:cxn ang="0">
                  <a:pos x="530" y="105"/>
                </a:cxn>
                <a:cxn ang="0">
                  <a:pos x="529" y="145"/>
                </a:cxn>
                <a:cxn ang="0">
                  <a:pos x="551" y="162"/>
                </a:cxn>
                <a:cxn ang="0">
                  <a:pos x="547" y="187"/>
                </a:cxn>
                <a:cxn ang="0">
                  <a:pos x="554" y="219"/>
                </a:cxn>
                <a:cxn ang="0">
                  <a:pos x="575" y="235"/>
                </a:cxn>
                <a:cxn ang="0">
                  <a:pos x="583" y="277"/>
                </a:cxn>
                <a:cxn ang="0">
                  <a:pos x="596" y="291"/>
                </a:cxn>
                <a:cxn ang="0">
                  <a:pos x="641" y="301"/>
                </a:cxn>
                <a:cxn ang="0">
                  <a:pos x="635" y="344"/>
                </a:cxn>
                <a:cxn ang="0">
                  <a:pos x="655" y="371"/>
                </a:cxn>
                <a:cxn ang="0">
                  <a:pos x="629" y="377"/>
                </a:cxn>
                <a:cxn ang="0">
                  <a:pos x="640" y="414"/>
                </a:cxn>
                <a:cxn ang="0">
                  <a:pos x="628" y="452"/>
                </a:cxn>
                <a:cxn ang="0">
                  <a:pos x="610" y="474"/>
                </a:cxn>
                <a:cxn ang="0">
                  <a:pos x="589" y="486"/>
                </a:cxn>
                <a:cxn ang="0">
                  <a:pos x="546" y="485"/>
                </a:cxn>
                <a:cxn ang="0">
                  <a:pos x="533" y="462"/>
                </a:cxn>
                <a:cxn ang="0">
                  <a:pos x="505" y="466"/>
                </a:cxn>
                <a:cxn ang="0">
                  <a:pos x="462" y="439"/>
                </a:cxn>
                <a:cxn ang="0">
                  <a:pos x="430" y="471"/>
                </a:cxn>
                <a:cxn ang="0">
                  <a:pos x="421" y="497"/>
                </a:cxn>
                <a:cxn ang="0">
                  <a:pos x="398" y="514"/>
                </a:cxn>
                <a:cxn ang="0">
                  <a:pos x="401" y="543"/>
                </a:cxn>
                <a:cxn ang="0">
                  <a:pos x="330" y="557"/>
                </a:cxn>
              </a:cxnLst>
              <a:rect l="0" t="0" r="r" b="b"/>
              <a:pathLst>
                <a:path w="663" h="742">
                  <a:moveTo>
                    <a:pt x="293" y="737"/>
                  </a:moveTo>
                  <a:lnTo>
                    <a:pt x="291" y="742"/>
                  </a:lnTo>
                  <a:lnTo>
                    <a:pt x="288" y="741"/>
                  </a:lnTo>
                  <a:lnTo>
                    <a:pt x="285" y="741"/>
                  </a:lnTo>
                  <a:lnTo>
                    <a:pt x="283" y="740"/>
                  </a:lnTo>
                  <a:lnTo>
                    <a:pt x="282" y="740"/>
                  </a:lnTo>
                  <a:lnTo>
                    <a:pt x="279" y="741"/>
                  </a:lnTo>
                  <a:lnTo>
                    <a:pt x="275" y="742"/>
                  </a:lnTo>
                  <a:lnTo>
                    <a:pt x="270" y="741"/>
                  </a:lnTo>
                  <a:lnTo>
                    <a:pt x="267" y="741"/>
                  </a:lnTo>
                  <a:lnTo>
                    <a:pt x="257" y="741"/>
                  </a:lnTo>
                  <a:lnTo>
                    <a:pt x="251" y="741"/>
                  </a:lnTo>
                  <a:lnTo>
                    <a:pt x="250" y="739"/>
                  </a:lnTo>
                  <a:lnTo>
                    <a:pt x="253" y="722"/>
                  </a:lnTo>
                  <a:lnTo>
                    <a:pt x="253" y="700"/>
                  </a:lnTo>
                  <a:lnTo>
                    <a:pt x="253" y="693"/>
                  </a:lnTo>
                  <a:lnTo>
                    <a:pt x="255" y="684"/>
                  </a:lnTo>
                  <a:lnTo>
                    <a:pt x="258" y="656"/>
                  </a:lnTo>
                  <a:lnTo>
                    <a:pt x="257" y="651"/>
                  </a:lnTo>
                  <a:lnTo>
                    <a:pt x="256" y="647"/>
                  </a:lnTo>
                  <a:lnTo>
                    <a:pt x="257" y="642"/>
                  </a:lnTo>
                  <a:lnTo>
                    <a:pt x="261" y="638"/>
                  </a:lnTo>
                  <a:lnTo>
                    <a:pt x="262" y="611"/>
                  </a:lnTo>
                  <a:lnTo>
                    <a:pt x="265" y="602"/>
                  </a:lnTo>
                  <a:lnTo>
                    <a:pt x="267" y="597"/>
                  </a:lnTo>
                  <a:lnTo>
                    <a:pt x="267" y="593"/>
                  </a:lnTo>
                  <a:lnTo>
                    <a:pt x="264" y="590"/>
                  </a:lnTo>
                  <a:lnTo>
                    <a:pt x="264" y="585"/>
                  </a:lnTo>
                  <a:lnTo>
                    <a:pt x="267" y="577"/>
                  </a:lnTo>
                  <a:lnTo>
                    <a:pt x="271" y="563"/>
                  </a:lnTo>
                  <a:lnTo>
                    <a:pt x="273" y="552"/>
                  </a:lnTo>
                  <a:lnTo>
                    <a:pt x="273" y="539"/>
                  </a:lnTo>
                  <a:lnTo>
                    <a:pt x="270" y="534"/>
                  </a:lnTo>
                  <a:lnTo>
                    <a:pt x="269" y="533"/>
                  </a:lnTo>
                  <a:lnTo>
                    <a:pt x="267" y="538"/>
                  </a:lnTo>
                  <a:lnTo>
                    <a:pt x="265" y="537"/>
                  </a:lnTo>
                  <a:lnTo>
                    <a:pt x="264" y="538"/>
                  </a:lnTo>
                  <a:lnTo>
                    <a:pt x="263" y="537"/>
                  </a:lnTo>
                  <a:lnTo>
                    <a:pt x="262" y="540"/>
                  </a:lnTo>
                  <a:lnTo>
                    <a:pt x="261" y="541"/>
                  </a:lnTo>
                  <a:lnTo>
                    <a:pt x="259" y="543"/>
                  </a:lnTo>
                  <a:lnTo>
                    <a:pt x="256" y="544"/>
                  </a:lnTo>
                  <a:lnTo>
                    <a:pt x="255" y="544"/>
                  </a:lnTo>
                  <a:lnTo>
                    <a:pt x="253" y="544"/>
                  </a:lnTo>
                  <a:lnTo>
                    <a:pt x="248" y="543"/>
                  </a:lnTo>
                  <a:lnTo>
                    <a:pt x="248" y="541"/>
                  </a:lnTo>
                  <a:lnTo>
                    <a:pt x="247" y="540"/>
                  </a:lnTo>
                  <a:lnTo>
                    <a:pt x="246" y="540"/>
                  </a:lnTo>
                  <a:lnTo>
                    <a:pt x="244" y="540"/>
                  </a:lnTo>
                  <a:lnTo>
                    <a:pt x="242" y="539"/>
                  </a:lnTo>
                  <a:lnTo>
                    <a:pt x="241" y="539"/>
                  </a:lnTo>
                  <a:lnTo>
                    <a:pt x="240" y="539"/>
                  </a:lnTo>
                  <a:lnTo>
                    <a:pt x="239" y="540"/>
                  </a:lnTo>
                  <a:lnTo>
                    <a:pt x="238" y="540"/>
                  </a:lnTo>
                  <a:lnTo>
                    <a:pt x="234" y="544"/>
                  </a:lnTo>
                  <a:lnTo>
                    <a:pt x="232" y="545"/>
                  </a:lnTo>
                  <a:lnTo>
                    <a:pt x="230" y="547"/>
                  </a:lnTo>
                  <a:lnTo>
                    <a:pt x="230" y="546"/>
                  </a:lnTo>
                  <a:lnTo>
                    <a:pt x="228" y="545"/>
                  </a:lnTo>
                  <a:lnTo>
                    <a:pt x="227" y="545"/>
                  </a:lnTo>
                  <a:lnTo>
                    <a:pt x="226" y="545"/>
                  </a:lnTo>
                  <a:lnTo>
                    <a:pt x="226" y="544"/>
                  </a:lnTo>
                  <a:lnTo>
                    <a:pt x="224" y="543"/>
                  </a:lnTo>
                  <a:lnTo>
                    <a:pt x="222" y="544"/>
                  </a:lnTo>
                  <a:lnTo>
                    <a:pt x="222" y="545"/>
                  </a:lnTo>
                  <a:lnTo>
                    <a:pt x="221" y="544"/>
                  </a:lnTo>
                  <a:lnTo>
                    <a:pt x="218" y="544"/>
                  </a:lnTo>
                  <a:lnTo>
                    <a:pt x="217" y="543"/>
                  </a:lnTo>
                  <a:lnTo>
                    <a:pt x="215" y="543"/>
                  </a:lnTo>
                  <a:lnTo>
                    <a:pt x="214" y="541"/>
                  </a:lnTo>
                  <a:lnTo>
                    <a:pt x="214" y="540"/>
                  </a:lnTo>
                  <a:lnTo>
                    <a:pt x="212" y="540"/>
                  </a:lnTo>
                  <a:lnTo>
                    <a:pt x="212" y="539"/>
                  </a:lnTo>
                  <a:lnTo>
                    <a:pt x="211" y="538"/>
                  </a:lnTo>
                  <a:lnTo>
                    <a:pt x="212" y="537"/>
                  </a:lnTo>
                  <a:lnTo>
                    <a:pt x="211" y="535"/>
                  </a:lnTo>
                  <a:lnTo>
                    <a:pt x="212" y="534"/>
                  </a:lnTo>
                  <a:lnTo>
                    <a:pt x="212" y="533"/>
                  </a:lnTo>
                  <a:lnTo>
                    <a:pt x="214" y="531"/>
                  </a:lnTo>
                  <a:lnTo>
                    <a:pt x="214" y="528"/>
                  </a:lnTo>
                  <a:lnTo>
                    <a:pt x="212" y="529"/>
                  </a:lnTo>
                  <a:lnTo>
                    <a:pt x="211" y="529"/>
                  </a:lnTo>
                  <a:lnTo>
                    <a:pt x="211" y="532"/>
                  </a:lnTo>
                  <a:lnTo>
                    <a:pt x="210" y="534"/>
                  </a:lnTo>
                  <a:lnTo>
                    <a:pt x="209" y="533"/>
                  </a:lnTo>
                  <a:lnTo>
                    <a:pt x="209" y="532"/>
                  </a:lnTo>
                  <a:lnTo>
                    <a:pt x="208" y="532"/>
                  </a:lnTo>
                  <a:lnTo>
                    <a:pt x="205" y="532"/>
                  </a:lnTo>
                  <a:lnTo>
                    <a:pt x="205" y="531"/>
                  </a:lnTo>
                  <a:lnTo>
                    <a:pt x="205" y="529"/>
                  </a:lnTo>
                  <a:lnTo>
                    <a:pt x="206" y="526"/>
                  </a:lnTo>
                  <a:lnTo>
                    <a:pt x="208" y="525"/>
                  </a:lnTo>
                  <a:lnTo>
                    <a:pt x="208" y="521"/>
                  </a:lnTo>
                  <a:lnTo>
                    <a:pt x="205" y="520"/>
                  </a:lnTo>
                  <a:lnTo>
                    <a:pt x="204" y="519"/>
                  </a:lnTo>
                  <a:lnTo>
                    <a:pt x="204" y="516"/>
                  </a:lnTo>
                  <a:lnTo>
                    <a:pt x="204" y="515"/>
                  </a:lnTo>
                  <a:lnTo>
                    <a:pt x="204" y="513"/>
                  </a:lnTo>
                  <a:lnTo>
                    <a:pt x="204" y="510"/>
                  </a:lnTo>
                  <a:lnTo>
                    <a:pt x="204" y="509"/>
                  </a:lnTo>
                  <a:lnTo>
                    <a:pt x="203" y="508"/>
                  </a:lnTo>
                  <a:lnTo>
                    <a:pt x="202" y="507"/>
                  </a:lnTo>
                  <a:lnTo>
                    <a:pt x="200" y="509"/>
                  </a:lnTo>
                  <a:lnTo>
                    <a:pt x="199" y="509"/>
                  </a:lnTo>
                  <a:lnTo>
                    <a:pt x="197" y="509"/>
                  </a:lnTo>
                  <a:lnTo>
                    <a:pt x="198" y="513"/>
                  </a:lnTo>
                  <a:lnTo>
                    <a:pt x="197" y="514"/>
                  </a:lnTo>
                  <a:lnTo>
                    <a:pt x="197" y="515"/>
                  </a:lnTo>
                  <a:lnTo>
                    <a:pt x="196" y="515"/>
                  </a:lnTo>
                  <a:lnTo>
                    <a:pt x="196" y="516"/>
                  </a:lnTo>
                  <a:lnTo>
                    <a:pt x="194" y="517"/>
                  </a:lnTo>
                  <a:lnTo>
                    <a:pt x="193" y="516"/>
                  </a:lnTo>
                  <a:lnTo>
                    <a:pt x="193" y="517"/>
                  </a:lnTo>
                  <a:lnTo>
                    <a:pt x="192" y="517"/>
                  </a:lnTo>
                  <a:lnTo>
                    <a:pt x="191" y="516"/>
                  </a:lnTo>
                  <a:lnTo>
                    <a:pt x="191" y="515"/>
                  </a:lnTo>
                  <a:lnTo>
                    <a:pt x="188" y="516"/>
                  </a:lnTo>
                  <a:lnTo>
                    <a:pt x="187" y="516"/>
                  </a:lnTo>
                  <a:lnTo>
                    <a:pt x="185" y="515"/>
                  </a:lnTo>
                  <a:lnTo>
                    <a:pt x="183" y="515"/>
                  </a:lnTo>
                  <a:lnTo>
                    <a:pt x="183" y="514"/>
                  </a:lnTo>
                  <a:lnTo>
                    <a:pt x="182" y="513"/>
                  </a:lnTo>
                  <a:lnTo>
                    <a:pt x="182" y="511"/>
                  </a:lnTo>
                  <a:lnTo>
                    <a:pt x="185" y="510"/>
                  </a:lnTo>
                  <a:lnTo>
                    <a:pt x="185" y="508"/>
                  </a:lnTo>
                  <a:lnTo>
                    <a:pt x="186" y="508"/>
                  </a:lnTo>
                  <a:lnTo>
                    <a:pt x="188" y="507"/>
                  </a:lnTo>
                  <a:lnTo>
                    <a:pt x="189" y="505"/>
                  </a:lnTo>
                  <a:lnTo>
                    <a:pt x="193" y="503"/>
                  </a:lnTo>
                  <a:lnTo>
                    <a:pt x="194" y="501"/>
                  </a:lnTo>
                  <a:lnTo>
                    <a:pt x="196" y="501"/>
                  </a:lnTo>
                  <a:lnTo>
                    <a:pt x="198" y="502"/>
                  </a:lnTo>
                  <a:lnTo>
                    <a:pt x="199" y="501"/>
                  </a:lnTo>
                  <a:lnTo>
                    <a:pt x="202" y="499"/>
                  </a:lnTo>
                  <a:lnTo>
                    <a:pt x="203" y="501"/>
                  </a:lnTo>
                  <a:lnTo>
                    <a:pt x="204" y="501"/>
                  </a:lnTo>
                  <a:lnTo>
                    <a:pt x="206" y="502"/>
                  </a:lnTo>
                  <a:lnTo>
                    <a:pt x="208" y="502"/>
                  </a:lnTo>
                  <a:lnTo>
                    <a:pt x="209" y="501"/>
                  </a:lnTo>
                  <a:lnTo>
                    <a:pt x="212" y="502"/>
                  </a:lnTo>
                  <a:lnTo>
                    <a:pt x="214" y="503"/>
                  </a:lnTo>
                  <a:lnTo>
                    <a:pt x="215" y="503"/>
                  </a:lnTo>
                  <a:lnTo>
                    <a:pt x="218" y="503"/>
                  </a:lnTo>
                  <a:lnTo>
                    <a:pt x="222" y="501"/>
                  </a:lnTo>
                  <a:lnTo>
                    <a:pt x="223" y="498"/>
                  </a:lnTo>
                  <a:lnTo>
                    <a:pt x="223" y="492"/>
                  </a:lnTo>
                  <a:lnTo>
                    <a:pt x="224" y="490"/>
                  </a:lnTo>
                  <a:lnTo>
                    <a:pt x="223" y="490"/>
                  </a:lnTo>
                  <a:lnTo>
                    <a:pt x="221" y="493"/>
                  </a:lnTo>
                  <a:lnTo>
                    <a:pt x="221" y="495"/>
                  </a:lnTo>
                  <a:lnTo>
                    <a:pt x="220" y="495"/>
                  </a:lnTo>
                  <a:lnTo>
                    <a:pt x="220" y="492"/>
                  </a:lnTo>
                  <a:lnTo>
                    <a:pt x="217" y="492"/>
                  </a:lnTo>
                  <a:lnTo>
                    <a:pt x="217" y="491"/>
                  </a:lnTo>
                  <a:lnTo>
                    <a:pt x="217" y="490"/>
                  </a:lnTo>
                  <a:lnTo>
                    <a:pt x="216" y="487"/>
                  </a:lnTo>
                  <a:lnTo>
                    <a:pt x="217" y="486"/>
                  </a:lnTo>
                  <a:lnTo>
                    <a:pt x="216" y="485"/>
                  </a:lnTo>
                  <a:lnTo>
                    <a:pt x="216" y="483"/>
                  </a:lnTo>
                  <a:lnTo>
                    <a:pt x="214" y="481"/>
                  </a:lnTo>
                  <a:lnTo>
                    <a:pt x="212" y="480"/>
                  </a:lnTo>
                  <a:lnTo>
                    <a:pt x="211" y="479"/>
                  </a:lnTo>
                  <a:lnTo>
                    <a:pt x="210" y="477"/>
                  </a:lnTo>
                  <a:lnTo>
                    <a:pt x="210" y="475"/>
                  </a:lnTo>
                  <a:lnTo>
                    <a:pt x="210" y="474"/>
                  </a:lnTo>
                  <a:lnTo>
                    <a:pt x="209" y="474"/>
                  </a:lnTo>
                  <a:lnTo>
                    <a:pt x="209" y="472"/>
                  </a:lnTo>
                  <a:lnTo>
                    <a:pt x="210" y="468"/>
                  </a:lnTo>
                  <a:lnTo>
                    <a:pt x="209" y="467"/>
                  </a:lnTo>
                  <a:lnTo>
                    <a:pt x="208" y="467"/>
                  </a:lnTo>
                  <a:lnTo>
                    <a:pt x="205" y="467"/>
                  </a:lnTo>
                  <a:lnTo>
                    <a:pt x="204" y="471"/>
                  </a:lnTo>
                  <a:lnTo>
                    <a:pt x="203" y="471"/>
                  </a:lnTo>
                  <a:lnTo>
                    <a:pt x="202" y="469"/>
                  </a:lnTo>
                  <a:lnTo>
                    <a:pt x="199" y="469"/>
                  </a:lnTo>
                  <a:lnTo>
                    <a:pt x="198" y="469"/>
                  </a:lnTo>
                  <a:lnTo>
                    <a:pt x="196" y="467"/>
                  </a:lnTo>
                  <a:lnTo>
                    <a:pt x="196" y="464"/>
                  </a:lnTo>
                  <a:lnTo>
                    <a:pt x="197" y="463"/>
                  </a:lnTo>
                  <a:lnTo>
                    <a:pt x="185" y="464"/>
                  </a:lnTo>
                  <a:lnTo>
                    <a:pt x="175" y="464"/>
                  </a:lnTo>
                  <a:lnTo>
                    <a:pt x="174" y="468"/>
                  </a:lnTo>
                  <a:lnTo>
                    <a:pt x="174" y="469"/>
                  </a:lnTo>
                  <a:lnTo>
                    <a:pt x="173" y="471"/>
                  </a:lnTo>
                  <a:lnTo>
                    <a:pt x="174" y="472"/>
                  </a:lnTo>
                  <a:lnTo>
                    <a:pt x="175" y="473"/>
                  </a:lnTo>
                  <a:lnTo>
                    <a:pt x="174" y="474"/>
                  </a:lnTo>
                  <a:lnTo>
                    <a:pt x="176" y="475"/>
                  </a:lnTo>
                  <a:lnTo>
                    <a:pt x="175" y="478"/>
                  </a:lnTo>
                  <a:lnTo>
                    <a:pt x="174" y="479"/>
                  </a:lnTo>
                  <a:lnTo>
                    <a:pt x="175" y="483"/>
                  </a:lnTo>
                  <a:lnTo>
                    <a:pt x="176" y="486"/>
                  </a:lnTo>
                  <a:lnTo>
                    <a:pt x="175" y="485"/>
                  </a:lnTo>
                  <a:lnTo>
                    <a:pt x="174" y="485"/>
                  </a:lnTo>
                  <a:lnTo>
                    <a:pt x="174" y="486"/>
                  </a:lnTo>
                  <a:lnTo>
                    <a:pt x="174" y="490"/>
                  </a:lnTo>
                  <a:lnTo>
                    <a:pt x="173" y="490"/>
                  </a:lnTo>
                  <a:lnTo>
                    <a:pt x="170" y="491"/>
                  </a:lnTo>
                  <a:lnTo>
                    <a:pt x="170" y="490"/>
                  </a:lnTo>
                  <a:lnTo>
                    <a:pt x="169" y="489"/>
                  </a:lnTo>
                  <a:lnTo>
                    <a:pt x="168" y="490"/>
                  </a:lnTo>
                  <a:lnTo>
                    <a:pt x="167" y="489"/>
                  </a:lnTo>
                  <a:lnTo>
                    <a:pt x="168" y="485"/>
                  </a:lnTo>
                  <a:lnTo>
                    <a:pt x="168" y="483"/>
                  </a:lnTo>
                  <a:lnTo>
                    <a:pt x="169" y="481"/>
                  </a:lnTo>
                  <a:lnTo>
                    <a:pt x="169" y="478"/>
                  </a:lnTo>
                  <a:lnTo>
                    <a:pt x="167" y="478"/>
                  </a:lnTo>
                  <a:lnTo>
                    <a:pt x="165" y="477"/>
                  </a:lnTo>
                  <a:lnTo>
                    <a:pt x="165" y="473"/>
                  </a:lnTo>
                  <a:lnTo>
                    <a:pt x="165" y="472"/>
                  </a:lnTo>
                  <a:lnTo>
                    <a:pt x="164" y="472"/>
                  </a:lnTo>
                  <a:lnTo>
                    <a:pt x="164" y="477"/>
                  </a:lnTo>
                  <a:lnTo>
                    <a:pt x="164" y="480"/>
                  </a:lnTo>
                  <a:lnTo>
                    <a:pt x="164" y="484"/>
                  </a:lnTo>
                  <a:lnTo>
                    <a:pt x="165" y="486"/>
                  </a:lnTo>
                  <a:lnTo>
                    <a:pt x="163" y="487"/>
                  </a:lnTo>
                  <a:lnTo>
                    <a:pt x="162" y="487"/>
                  </a:lnTo>
                  <a:lnTo>
                    <a:pt x="159" y="490"/>
                  </a:lnTo>
                  <a:lnTo>
                    <a:pt x="157" y="491"/>
                  </a:lnTo>
                  <a:lnTo>
                    <a:pt x="155" y="493"/>
                  </a:lnTo>
                  <a:lnTo>
                    <a:pt x="152" y="492"/>
                  </a:lnTo>
                  <a:lnTo>
                    <a:pt x="151" y="491"/>
                  </a:lnTo>
                  <a:lnTo>
                    <a:pt x="151" y="490"/>
                  </a:lnTo>
                  <a:lnTo>
                    <a:pt x="150" y="490"/>
                  </a:lnTo>
                  <a:lnTo>
                    <a:pt x="150" y="486"/>
                  </a:lnTo>
                  <a:lnTo>
                    <a:pt x="152" y="480"/>
                  </a:lnTo>
                  <a:lnTo>
                    <a:pt x="153" y="478"/>
                  </a:lnTo>
                  <a:lnTo>
                    <a:pt x="155" y="478"/>
                  </a:lnTo>
                  <a:lnTo>
                    <a:pt x="156" y="474"/>
                  </a:lnTo>
                  <a:lnTo>
                    <a:pt x="153" y="474"/>
                  </a:lnTo>
                  <a:lnTo>
                    <a:pt x="152" y="474"/>
                  </a:lnTo>
                  <a:lnTo>
                    <a:pt x="149" y="474"/>
                  </a:lnTo>
                  <a:lnTo>
                    <a:pt x="147" y="471"/>
                  </a:lnTo>
                  <a:lnTo>
                    <a:pt x="147" y="469"/>
                  </a:lnTo>
                  <a:lnTo>
                    <a:pt x="147" y="467"/>
                  </a:lnTo>
                  <a:lnTo>
                    <a:pt x="146" y="467"/>
                  </a:lnTo>
                  <a:lnTo>
                    <a:pt x="146" y="471"/>
                  </a:lnTo>
                  <a:lnTo>
                    <a:pt x="146" y="473"/>
                  </a:lnTo>
                  <a:lnTo>
                    <a:pt x="147" y="475"/>
                  </a:lnTo>
                  <a:lnTo>
                    <a:pt x="147" y="478"/>
                  </a:lnTo>
                  <a:lnTo>
                    <a:pt x="146" y="479"/>
                  </a:lnTo>
                  <a:lnTo>
                    <a:pt x="145" y="480"/>
                  </a:lnTo>
                  <a:lnTo>
                    <a:pt x="144" y="481"/>
                  </a:lnTo>
                  <a:lnTo>
                    <a:pt x="141" y="484"/>
                  </a:lnTo>
                  <a:lnTo>
                    <a:pt x="140" y="483"/>
                  </a:lnTo>
                  <a:lnTo>
                    <a:pt x="139" y="484"/>
                  </a:lnTo>
                  <a:lnTo>
                    <a:pt x="137" y="484"/>
                  </a:lnTo>
                  <a:lnTo>
                    <a:pt x="135" y="484"/>
                  </a:lnTo>
                  <a:lnTo>
                    <a:pt x="130" y="483"/>
                  </a:lnTo>
                  <a:lnTo>
                    <a:pt x="128" y="483"/>
                  </a:lnTo>
                  <a:lnTo>
                    <a:pt x="127" y="481"/>
                  </a:lnTo>
                  <a:lnTo>
                    <a:pt x="124" y="480"/>
                  </a:lnTo>
                  <a:lnTo>
                    <a:pt x="123" y="480"/>
                  </a:lnTo>
                  <a:lnTo>
                    <a:pt x="123" y="481"/>
                  </a:lnTo>
                  <a:lnTo>
                    <a:pt x="124" y="484"/>
                  </a:lnTo>
                  <a:lnTo>
                    <a:pt x="126" y="485"/>
                  </a:lnTo>
                  <a:lnTo>
                    <a:pt x="130" y="489"/>
                  </a:lnTo>
                  <a:lnTo>
                    <a:pt x="132" y="492"/>
                  </a:lnTo>
                  <a:lnTo>
                    <a:pt x="130" y="493"/>
                  </a:lnTo>
                  <a:lnTo>
                    <a:pt x="127" y="493"/>
                  </a:lnTo>
                  <a:lnTo>
                    <a:pt x="124" y="495"/>
                  </a:lnTo>
                  <a:lnTo>
                    <a:pt x="122" y="492"/>
                  </a:lnTo>
                  <a:lnTo>
                    <a:pt x="121" y="492"/>
                  </a:lnTo>
                  <a:lnTo>
                    <a:pt x="120" y="495"/>
                  </a:lnTo>
                  <a:lnTo>
                    <a:pt x="117" y="495"/>
                  </a:lnTo>
                  <a:lnTo>
                    <a:pt x="116" y="495"/>
                  </a:lnTo>
                  <a:lnTo>
                    <a:pt x="115" y="496"/>
                  </a:lnTo>
                  <a:lnTo>
                    <a:pt x="112" y="495"/>
                  </a:lnTo>
                  <a:lnTo>
                    <a:pt x="110" y="493"/>
                  </a:lnTo>
                  <a:lnTo>
                    <a:pt x="109" y="492"/>
                  </a:lnTo>
                  <a:lnTo>
                    <a:pt x="109" y="495"/>
                  </a:lnTo>
                  <a:lnTo>
                    <a:pt x="109" y="497"/>
                  </a:lnTo>
                  <a:lnTo>
                    <a:pt x="106" y="497"/>
                  </a:lnTo>
                  <a:lnTo>
                    <a:pt x="105" y="499"/>
                  </a:lnTo>
                  <a:lnTo>
                    <a:pt x="104" y="499"/>
                  </a:lnTo>
                  <a:lnTo>
                    <a:pt x="100" y="499"/>
                  </a:lnTo>
                  <a:lnTo>
                    <a:pt x="98" y="499"/>
                  </a:lnTo>
                  <a:lnTo>
                    <a:pt x="98" y="497"/>
                  </a:lnTo>
                  <a:lnTo>
                    <a:pt x="100" y="495"/>
                  </a:lnTo>
                  <a:lnTo>
                    <a:pt x="102" y="489"/>
                  </a:lnTo>
                  <a:lnTo>
                    <a:pt x="100" y="485"/>
                  </a:lnTo>
                  <a:lnTo>
                    <a:pt x="99" y="483"/>
                  </a:lnTo>
                  <a:lnTo>
                    <a:pt x="97" y="485"/>
                  </a:lnTo>
                  <a:lnTo>
                    <a:pt x="97" y="487"/>
                  </a:lnTo>
                  <a:lnTo>
                    <a:pt x="97" y="491"/>
                  </a:lnTo>
                  <a:lnTo>
                    <a:pt x="96" y="493"/>
                  </a:lnTo>
                  <a:lnTo>
                    <a:pt x="96" y="496"/>
                  </a:lnTo>
                  <a:lnTo>
                    <a:pt x="97" y="498"/>
                  </a:lnTo>
                  <a:lnTo>
                    <a:pt x="96" y="499"/>
                  </a:lnTo>
                  <a:lnTo>
                    <a:pt x="93" y="499"/>
                  </a:lnTo>
                  <a:lnTo>
                    <a:pt x="92" y="501"/>
                  </a:lnTo>
                  <a:lnTo>
                    <a:pt x="91" y="502"/>
                  </a:lnTo>
                  <a:lnTo>
                    <a:pt x="90" y="501"/>
                  </a:lnTo>
                  <a:lnTo>
                    <a:pt x="88" y="501"/>
                  </a:lnTo>
                  <a:lnTo>
                    <a:pt x="87" y="502"/>
                  </a:lnTo>
                  <a:lnTo>
                    <a:pt x="86" y="503"/>
                  </a:lnTo>
                  <a:lnTo>
                    <a:pt x="85" y="503"/>
                  </a:lnTo>
                  <a:lnTo>
                    <a:pt x="85" y="505"/>
                  </a:lnTo>
                  <a:lnTo>
                    <a:pt x="84" y="505"/>
                  </a:lnTo>
                  <a:lnTo>
                    <a:pt x="82" y="504"/>
                  </a:lnTo>
                  <a:lnTo>
                    <a:pt x="81" y="503"/>
                  </a:lnTo>
                  <a:lnTo>
                    <a:pt x="79" y="505"/>
                  </a:lnTo>
                  <a:lnTo>
                    <a:pt x="78" y="505"/>
                  </a:lnTo>
                  <a:lnTo>
                    <a:pt x="75" y="508"/>
                  </a:lnTo>
                  <a:lnTo>
                    <a:pt x="73" y="507"/>
                  </a:lnTo>
                  <a:lnTo>
                    <a:pt x="75" y="505"/>
                  </a:lnTo>
                  <a:lnTo>
                    <a:pt x="71" y="504"/>
                  </a:lnTo>
                  <a:lnTo>
                    <a:pt x="69" y="503"/>
                  </a:lnTo>
                  <a:lnTo>
                    <a:pt x="70" y="501"/>
                  </a:lnTo>
                  <a:lnTo>
                    <a:pt x="68" y="499"/>
                  </a:lnTo>
                  <a:lnTo>
                    <a:pt x="68" y="498"/>
                  </a:lnTo>
                  <a:lnTo>
                    <a:pt x="68" y="497"/>
                  </a:lnTo>
                  <a:lnTo>
                    <a:pt x="69" y="496"/>
                  </a:lnTo>
                  <a:lnTo>
                    <a:pt x="70" y="495"/>
                  </a:lnTo>
                  <a:lnTo>
                    <a:pt x="71" y="493"/>
                  </a:lnTo>
                  <a:lnTo>
                    <a:pt x="73" y="491"/>
                  </a:lnTo>
                  <a:lnTo>
                    <a:pt x="73" y="490"/>
                  </a:lnTo>
                  <a:lnTo>
                    <a:pt x="75" y="489"/>
                  </a:lnTo>
                  <a:lnTo>
                    <a:pt x="75" y="487"/>
                  </a:lnTo>
                  <a:lnTo>
                    <a:pt x="75" y="485"/>
                  </a:lnTo>
                  <a:lnTo>
                    <a:pt x="76" y="483"/>
                  </a:lnTo>
                  <a:lnTo>
                    <a:pt x="79" y="481"/>
                  </a:lnTo>
                  <a:lnTo>
                    <a:pt x="80" y="481"/>
                  </a:lnTo>
                  <a:lnTo>
                    <a:pt x="81" y="481"/>
                  </a:lnTo>
                  <a:lnTo>
                    <a:pt x="82" y="479"/>
                  </a:lnTo>
                  <a:lnTo>
                    <a:pt x="84" y="479"/>
                  </a:lnTo>
                  <a:lnTo>
                    <a:pt x="85" y="479"/>
                  </a:lnTo>
                  <a:lnTo>
                    <a:pt x="81" y="477"/>
                  </a:lnTo>
                  <a:lnTo>
                    <a:pt x="82" y="475"/>
                  </a:lnTo>
                  <a:lnTo>
                    <a:pt x="82" y="474"/>
                  </a:lnTo>
                  <a:lnTo>
                    <a:pt x="84" y="472"/>
                  </a:lnTo>
                  <a:lnTo>
                    <a:pt x="82" y="472"/>
                  </a:lnTo>
                  <a:lnTo>
                    <a:pt x="82" y="469"/>
                  </a:lnTo>
                  <a:lnTo>
                    <a:pt x="82" y="472"/>
                  </a:lnTo>
                  <a:lnTo>
                    <a:pt x="81" y="473"/>
                  </a:lnTo>
                  <a:lnTo>
                    <a:pt x="80" y="474"/>
                  </a:lnTo>
                  <a:lnTo>
                    <a:pt x="79" y="474"/>
                  </a:lnTo>
                  <a:lnTo>
                    <a:pt x="78" y="473"/>
                  </a:lnTo>
                  <a:lnTo>
                    <a:pt x="76" y="474"/>
                  </a:lnTo>
                  <a:lnTo>
                    <a:pt x="75" y="474"/>
                  </a:lnTo>
                  <a:lnTo>
                    <a:pt x="74" y="474"/>
                  </a:lnTo>
                  <a:lnTo>
                    <a:pt x="70" y="474"/>
                  </a:lnTo>
                  <a:lnTo>
                    <a:pt x="69" y="475"/>
                  </a:lnTo>
                  <a:lnTo>
                    <a:pt x="68" y="474"/>
                  </a:lnTo>
                  <a:lnTo>
                    <a:pt x="67" y="473"/>
                  </a:lnTo>
                  <a:lnTo>
                    <a:pt x="68" y="472"/>
                  </a:lnTo>
                  <a:lnTo>
                    <a:pt x="68" y="469"/>
                  </a:lnTo>
                  <a:lnTo>
                    <a:pt x="67" y="467"/>
                  </a:lnTo>
                  <a:lnTo>
                    <a:pt x="65" y="467"/>
                  </a:lnTo>
                  <a:lnTo>
                    <a:pt x="65" y="466"/>
                  </a:lnTo>
                  <a:lnTo>
                    <a:pt x="65" y="464"/>
                  </a:lnTo>
                  <a:lnTo>
                    <a:pt x="64" y="462"/>
                  </a:lnTo>
                  <a:lnTo>
                    <a:pt x="65" y="461"/>
                  </a:lnTo>
                  <a:lnTo>
                    <a:pt x="67" y="460"/>
                  </a:lnTo>
                  <a:lnTo>
                    <a:pt x="65" y="460"/>
                  </a:lnTo>
                  <a:lnTo>
                    <a:pt x="63" y="461"/>
                  </a:lnTo>
                  <a:lnTo>
                    <a:pt x="61" y="461"/>
                  </a:lnTo>
                  <a:lnTo>
                    <a:pt x="59" y="461"/>
                  </a:lnTo>
                  <a:lnTo>
                    <a:pt x="58" y="458"/>
                  </a:lnTo>
                  <a:lnTo>
                    <a:pt x="57" y="458"/>
                  </a:lnTo>
                  <a:lnTo>
                    <a:pt x="57" y="456"/>
                  </a:lnTo>
                  <a:lnTo>
                    <a:pt x="55" y="456"/>
                  </a:lnTo>
                  <a:lnTo>
                    <a:pt x="53" y="457"/>
                  </a:lnTo>
                  <a:lnTo>
                    <a:pt x="52" y="457"/>
                  </a:lnTo>
                  <a:lnTo>
                    <a:pt x="52" y="458"/>
                  </a:lnTo>
                  <a:lnTo>
                    <a:pt x="51" y="458"/>
                  </a:lnTo>
                  <a:lnTo>
                    <a:pt x="50" y="460"/>
                  </a:lnTo>
                  <a:lnTo>
                    <a:pt x="49" y="460"/>
                  </a:lnTo>
                  <a:lnTo>
                    <a:pt x="45" y="461"/>
                  </a:lnTo>
                  <a:lnTo>
                    <a:pt x="44" y="463"/>
                  </a:lnTo>
                  <a:lnTo>
                    <a:pt x="43" y="463"/>
                  </a:lnTo>
                  <a:lnTo>
                    <a:pt x="40" y="463"/>
                  </a:lnTo>
                  <a:lnTo>
                    <a:pt x="39" y="463"/>
                  </a:lnTo>
                  <a:lnTo>
                    <a:pt x="37" y="466"/>
                  </a:lnTo>
                  <a:lnTo>
                    <a:pt x="35" y="466"/>
                  </a:lnTo>
                  <a:lnTo>
                    <a:pt x="33" y="467"/>
                  </a:lnTo>
                  <a:lnTo>
                    <a:pt x="34" y="467"/>
                  </a:lnTo>
                  <a:lnTo>
                    <a:pt x="33" y="466"/>
                  </a:lnTo>
                  <a:lnTo>
                    <a:pt x="28" y="464"/>
                  </a:lnTo>
                  <a:lnTo>
                    <a:pt x="27" y="464"/>
                  </a:lnTo>
                  <a:lnTo>
                    <a:pt x="26" y="463"/>
                  </a:lnTo>
                  <a:lnTo>
                    <a:pt x="27" y="462"/>
                  </a:lnTo>
                  <a:lnTo>
                    <a:pt x="27" y="460"/>
                  </a:lnTo>
                  <a:lnTo>
                    <a:pt x="29" y="460"/>
                  </a:lnTo>
                  <a:lnTo>
                    <a:pt x="32" y="460"/>
                  </a:lnTo>
                  <a:lnTo>
                    <a:pt x="33" y="458"/>
                  </a:lnTo>
                  <a:lnTo>
                    <a:pt x="34" y="456"/>
                  </a:lnTo>
                  <a:lnTo>
                    <a:pt x="34" y="455"/>
                  </a:lnTo>
                  <a:lnTo>
                    <a:pt x="34" y="452"/>
                  </a:lnTo>
                  <a:lnTo>
                    <a:pt x="35" y="451"/>
                  </a:lnTo>
                  <a:lnTo>
                    <a:pt x="35" y="449"/>
                  </a:lnTo>
                  <a:lnTo>
                    <a:pt x="38" y="449"/>
                  </a:lnTo>
                  <a:lnTo>
                    <a:pt x="39" y="448"/>
                  </a:lnTo>
                  <a:lnTo>
                    <a:pt x="39" y="444"/>
                  </a:lnTo>
                  <a:lnTo>
                    <a:pt x="38" y="445"/>
                  </a:lnTo>
                  <a:lnTo>
                    <a:pt x="37" y="445"/>
                  </a:lnTo>
                  <a:lnTo>
                    <a:pt x="34" y="445"/>
                  </a:lnTo>
                  <a:lnTo>
                    <a:pt x="33" y="444"/>
                  </a:lnTo>
                  <a:lnTo>
                    <a:pt x="35" y="443"/>
                  </a:lnTo>
                  <a:lnTo>
                    <a:pt x="35" y="442"/>
                  </a:lnTo>
                  <a:lnTo>
                    <a:pt x="35" y="440"/>
                  </a:lnTo>
                  <a:lnTo>
                    <a:pt x="35" y="439"/>
                  </a:lnTo>
                  <a:lnTo>
                    <a:pt x="35" y="438"/>
                  </a:lnTo>
                  <a:lnTo>
                    <a:pt x="37" y="438"/>
                  </a:lnTo>
                  <a:lnTo>
                    <a:pt x="39" y="439"/>
                  </a:lnTo>
                  <a:lnTo>
                    <a:pt x="40" y="440"/>
                  </a:lnTo>
                  <a:lnTo>
                    <a:pt x="41" y="438"/>
                  </a:lnTo>
                  <a:lnTo>
                    <a:pt x="43" y="438"/>
                  </a:lnTo>
                  <a:lnTo>
                    <a:pt x="44" y="439"/>
                  </a:lnTo>
                  <a:lnTo>
                    <a:pt x="46" y="439"/>
                  </a:lnTo>
                  <a:lnTo>
                    <a:pt x="49" y="439"/>
                  </a:lnTo>
                  <a:lnTo>
                    <a:pt x="49" y="433"/>
                  </a:lnTo>
                  <a:lnTo>
                    <a:pt x="47" y="431"/>
                  </a:lnTo>
                  <a:lnTo>
                    <a:pt x="45" y="431"/>
                  </a:lnTo>
                  <a:lnTo>
                    <a:pt x="44" y="430"/>
                  </a:lnTo>
                  <a:lnTo>
                    <a:pt x="43" y="428"/>
                  </a:lnTo>
                  <a:lnTo>
                    <a:pt x="44" y="427"/>
                  </a:lnTo>
                  <a:lnTo>
                    <a:pt x="44" y="426"/>
                  </a:lnTo>
                  <a:lnTo>
                    <a:pt x="43" y="425"/>
                  </a:lnTo>
                  <a:lnTo>
                    <a:pt x="44" y="422"/>
                  </a:lnTo>
                  <a:lnTo>
                    <a:pt x="43" y="420"/>
                  </a:lnTo>
                  <a:lnTo>
                    <a:pt x="44" y="419"/>
                  </a:lnTo>
                  <a:lnTo>
                    <a:pt x="44" y="416"/>
                  </a:lnTo>
                  <a:lnTo>
                    <a:pt x="44" y="414"/>
                  </a:lnTo>
                  <a:lnTo>
                    <a:pt x="41" y="413"/>
                  </a:lnTo>
                  <a:lnTo>
                    <a:pt x="39" y="413"/>
                  </a:lnTo>
                  <a:lnTo>
                    <a:pt x="38" y="412"/>
                  </a:lnTo>
                  <a:lnTo>
                    <a:pt x="37" y="412"/>
                  </a:lnTo>
                  <a:lnTo>
                    <a:pt x="34" y="410"/>
                  </a:lnTo>
                  <a:lnTo>
                    <a:pt x="33" y="410"/>
                  </a:lnTo>
                  <a:lnTo>
                    <a:pt x="31" y="408"/>
                  </a:lnTo>
                  <a:lnTo>
                    <a:pt x="29" y="407"/>
                  </a:lnTo>
                  <a:lnTo>
                    <a:pt x="27" y="406"/>
                  </a:lnTo>
                  <a:lnTo>
                    <a:pt x="25" y="404"/>
                  </a:lnTo>
                  <a:lnTo>
                    <a:pt x="23" y="403"/>
                  </a:lnTo>
                  <a:lnTo>
                    <a:pt x="27" y="401"/>
                  </a:lnTo>
                  <a:lnTo>
                    <a:pt x="29" y="400"/>
                  </a:lnTo>
                  <a:lnTo>
                    <a:pt x="32" y="397"/>
                  </a:lnTo>
                  <a:lnTo>
                    <a:pt x="34" y="395"/>
                  </a:lnTo>
                  <a:lnTo>
                    <a:pt x="37" y="395"/>
                  </a:lnTo>
                  <a:lnTo>
                    <a:pt x="38" y="395"/>
                  </a:lnTo>
                  <a:lnTo>
                    <a:pt x="39" y="392"/>
                  </a:lnTo>
                  <a:lnTo>
                    <a:pt x="39" y="391"/>
                  </a:lnTo>
                  <a:lnTo>
                    <a:pt x="40" y="390"/>
                  </a:lnTo>
                  <a:lnTo>
                    <a:pt x="40" y="389"/>
                  </a:lnTo>
                  <a:lnTo>
                    <a:pt x="41" y="386"/>
                  </a:lnTo>
                  <a:lnTo>
                    <a:pt x="41" y="385"/>
                  </a:lnTo>
                  <a:lnTo>
                    <a:pt x="43" y="383"/>
                  </a:lnTo>
                  <a:lnTo>
                    <a:pt x="43" y="379"/>
                  </a:lnTo>
                  <a:lnTo>
                    <a:pt x="41" y="379"/>
                  </a:lnTo>
                  <a:lnTo>
                    <a:pt x="40" y="383"/>
                  </a:lnTo>
                  <a:lnTo>
                    <a:pt x="39" y="384"/>
                  </a:lnTo>
                  <a:lnTo>
                    <a:pt x="39" y="385"/>
                  </a:lnTo>
                  <a:lnTo>
                    <a:pt x="37" y="385"/>
                  </a:lnTo>
                  <a:lnTo>
                    <a:pt x="34" y="386"/>
                  </a:lnTo>
                  <a:lnTo>
                    <a:pt x="34" y="388"/>
                  </a:lnTo>
                  <a:lnTo>
                    <a:pt x="31" y="386"/>
                  </a:lnTo>
                  <a:lnTo>
                    <a:pt x="29" y="388"/>
                  </a:lnTo>
                  <a:lnTo>
                    <a:pt x="28" y="391"/>
                  </a:lnTo>
                  <a:lnTo>
                    <a:pt x="28" y="392"/>
                  </a:lnTo>
                  <a:lnTo>
                    <a:pt x="27" y="395"/>
                  </a:lnTo>
                  <a:lnTo>
                    <a:pt x="26" y="395"/>
                  </a:lnTo>
                  <a:lnTo>
                    <a:pt x="25" y="395"/>
                  </a:lnTo>
                  <a:lnTo>
                    <a:pt x="23" y="395"/>
                  </a:lnTo>
                  <a:lnTo>
                    <a:pt x="22" y="394"/>
                  </a:lnTo>
                  <a:lnTo>
                    <a:pt x="21" y="392"/>
                  </a:lnTo>
                  <a:lnTo>
                    <a:pt x="21" y="391"/>
                  </a:lnTo>
                  <a:lnTo>
                    <a:pt x="22" y="390"/>
                  </a:lnTo>
                  <a:lnTo>
                    <a:pt x="22" y="388"/>
                  </a:lnTo>
                  <a:lnTo>
                    <a:pt x="23" y="388"/>
                  </a:lnTo>
                  <a:lnTo>
                    <a:pt x="25" y="388"/>
                  </a:lnTo>
                  <a:lnTo>
                    <a:pt x="26" y="388"/>
                  </a:lnTo>
                  <a:lnTo>
                    <a:pt x="28" y="388"/>
                  </a:lnTo>
                  <a:lnTo>
                    <a:pt x="29" y="386"/>
                  </a:lnTo>
                  <a:lnTo>
                    <a:pt x="28" y="386"/>
                  </a:lnTo>
                  <a:lnTo>
                    <a:pt x="27" y="385"/>
                  </a:lnTo>
                  <a:lnTo>
                    <a:pt x="26" y="385"/>
                  </a:lnTo>
                  <a:lnTo>
                    <a:pt x="26" y="384"/>
                  </a:lnTo>
                  <a:lnTo>
                    <a:pt x="25" y="382"/>
                  </a:lnTo>
                  <a:lnTo>
                    <a:pt x="25" y="380"/>
                  </a:lnTo>
                  <a:lnTo>
                    <a:pt x="23" y="379"/>
                  </a:lnTo>
                  <a:lnTo>
                    <a:pt x="22" y="379"/>
                  </a:lnTo>
                  <a:lnTo>
                    <a:pt x="22" y="382"/>
                  </a:lnTo>
                  <a:lnTo>
                    <a:pt x="22" y="383"/>
                  </a:lnTo>
                  <a:lnTo>
                    <a:pt x="21" y="384"/>
                  </a:lnTo>
                  <a:lnTo>
                    <a:pt x="20" y="383"/>
                  </a:lnTo>
                  <a:lnTo>
                    <a:pt x="19" y="382"/>
                  </a:lnTo>
                  <a:lnTo>
                    <a:pt x="16" y="383"/>
                  </a:lnTo>
                  <a:lnTo>
                    <a:pt x="15" y="382"/>
                  </a:lnTo>
                  <a:lnTo>
                    <a:pt x="16" y="380"/>
                  </a:lnTo>
                  <a:lnTo>
                    <a:pt x="15" y="379"/>
                  </a:lnTo>
                  <a:lnTo>
                    <a:pt x="14" y="378"/>
                  </a:lnTo>
                  <a:lnTo>
                    <a:pt x="14" y="377"/>
                  </a:lnTo>
                  <a:lnTo>
                    <a:pt x="14" y="376"/>
                  </a:lnTo>
                  <a:lnTo>
                    <a:pt x="14" y="373"/>
                  </a:lnTo>
                  <a:lnTo>
                    <a:pt x="14" y="372"/>
                  </a:lnTo>
                  <a:lnTo>
                    <a:pt x="11" y="372"/>
                  </a:lnTo>
                  <a:lnTo>
                    <a:pt x="9" y="372"/>
                  </a:lnTo>
                  <a:lnTo>
                    <a:pt x="6" y="372"/>
                  </a:lnTo>
                  <a:lnTo>
                    <a:pt x="8" y="368"/>
                  </a:lnTo>
                  <a:lnTo>
                    <a:pt x="6" y="367"/>
                  </a:lnTo>
                  <a:lnTo>
                    <a:pt x="4" y="367"/>
                  </a:lnTo>
                  <a:lnTo>
                    <a:pt x="6" y="366"/>
                  </a:lnTo>
                  <a:lnTo>
                    <a:pt x="8" y="362"/>
                  </a:lnTo>
                  <a:lnTo>
                    <a:pt x="6" y="362"/>
                  </a:lnTo>
                  <a:lnTo>
                    <a:pt x="4" y="362"/>
                  </a:lnTo>
                  <a:lnTo>
                    <a:pt x="4" y="361"/>
                  </a:lnTo>
                  <a:lnTo>
                    <a:pt x="5" y="360"/>
                  </a:lnTo>
                  <a:lnTo>
                    <a:pt x="3" y="357"/>
                  </a:lnTo>
                  <a:lnTo>
                    <a:pt x="0" y="356"/>
                  </a:lnTo>
                  <a:lnTo>
                    <a:pt x="0" y="355"/>
                  </a:lnTo>
                  <a:lnTo>
                    <a:pt x="2" y="354"/>
                  </a:lnTo>
                  <a:lnTo>
                    <a:pt x="2" y="353"/>
                  </a:lnTo>
                  <a:lnTo>
                    <a:pt x="2" y="350"/>
                  </a:lnTo>
                  <a:lnTo>
                    <a:pt x="3" y="349"/>
                  </a:lnTo>
                  <a:lnTo>
                    <a:pt x="4" y="351"/>
                  </a:lnTo>
                  <a:lnTo>
                    <a:pt x="5" y="353"/>
                  </a:lnTo>
                  <a:lnTo>
                    <a:pt x="8" y="353"/>
                  </a:lnTo>
                  <a:lnTo>
                    <a:pt x="9" y="354"/>
                  </a:lnTo>
                  <a:lnTo>
                    <a:pt x="10" y="353"/>
                  </a:lnTo>
                  <a:lnTo>
                    <a:pt x="12" y="351"/>
                  </a:lnTo>
                  <a:lnTo>
                    <a:pt x="14" y="350"/>
                  </a:lnTo>
                  <a:lnTo>
                    <a:pt x="14" y="349"/>
                  </a:lnTo>
                  <a:lnTo>
                    <a:pt x="14" y="347"/>
                  </a:lnTo>
                  <a:lnTo>
                    <a:pt x="15" y="345"/>
                  </a:lnTo>
                  <a:lnTo>
                    <a:pt x="16" y="347"/>
                  </a:lnTo>
                  <a:lnTo>
                    <a:pt x="16" y="349"/>
                  </a:lnTo>
                  <a:lnTo>
                    <a:pt x="19" y="348"/>
                  </a:lnTo>
                  <a:lnTo>
                    <a:pt x="20" y="348"/>
                  </a:lnTo>
                  <a:lnTo>
                    <a:pt x="21" y="344"/>
                  </a:lnTo>
                  <a:lnTo>
                    <a:pt x="22" y="343"/>
                  </a:lnTo>
                  <a:lnTo>
                    <a:pt x="26" y="342"/>
                  </a:lnTo>
                  <a:lnTo>
                    <a:pt x="27" y="342"/>
                  </a:lnTo>
                  <a:lnTo>
                    <a:pt x="27" y="339"/>
                  </a:lnTo>
                  <a:lnTo>
                    <a:pt x="26" y="337"/>
                  </a:lnTo>
                  <a:lnTo>
                    <a:pt x="25" y="336"/>
                  </a:lnTo>
                  <a:lnTo>
                    <a:pt x="23" y="332"/>
                  </a:lnTo>
                  <a:lnTo>
                    <a:pt x="23" y="330"/>
                  </a:lnTo>
                  <a:lnTo>
                    <a:pt x="22" y="329"/>
                  </a:lnTo>
                  <a:lnTo>
                    <a:pt x="23" y="327"/>
                  </a:lnTo>
                  <a:lnTo>
                    <a:pt x="23" y="326"/>
                  </a:lnTo>
                  <a:lnTo>
                    <a:pt x="25" y="327"/>
                  </a:lnTo>
                  <a:lnTo>
                    <a:pt x="26" y="327"/>
                  </a:lnTo>
                  <a:lnTo>
                    <a:pt x="29" y="327"/>
                  </a:lnTo>
                  <a:lnTo>
                    <a:pt x="29" y="325"/>
                  </a:lnTo>
                  <a:lnTo>
                    <a:pt x="28" y="323"/>
                  </a:lnTo>
                  <a:lnTo>
                    <a:pt x="29" y="323"/>
                  </a:lnTo>
                  <a:lnTo>
                    <a:pt x="32" y="321"/>
                  </a:lnTo>
                  <a:lnTo>
                    <a:pt x="33" y="321"/>
                  </a:lnTo>
                  <a:lnTo>
                    <a:pt x="35" y="324"/>
                  </a:lnTo>
                  <a:lnTo>
                    <a:pt x="35" y="325"/>
                  </a:lnTo>
                  <a:lnTo>
                    <a:pt x="35" y="326"/>
                  </a:lnTo>
                  <a:lnTo>
                    <a:pt x="35" y="329"/>
                  </a:lnTo>
                  <a:lnTo>
                    <a:pt x="34" y="331"/>
                  </a:lnTo>
                  <a:lnTo>
                    <a:pt x="35" y="331"/>
                  </a:lnTo>
                  <a:lnTo>
                    <a:pt x="38" y="330"/>
                  </a:lnTo>
                  <a:lnTo>
                    <a:pt x="39" y="330"/>
                  </a:lnTo>
                  <a:lnTo>
                    <a:pt x="39" y="327"/>
                  </a:lnTo>
                  <a:lnTo>
                    <a:pt x="39" y="330"/>
                  </a:lnTo>
                  <a:lnTo>
                    <a:pt x="40" y="329"/>
                  </a:lnTo>
                  <a:lnTo>
                    <a:pt x="41" y="329"/>
                  </a:lnTo>
                  <a:lnTo>
                    <a:pt x="43" y="327"/>
                  </a:lnTo>
                  <a:lnTo>
                    <a:pt x="44" y="327"/>
                  </a:lnTo>
                  <a:lnTo>
                    <a:pt x="46" y="327"/>
                  </a:lnTo>
                  <a:lnTo>
                    <a:pt x="49" y="326"/>
                  </a:lnTo>
                  <a:lnTo>
                    <a:pt x="49" y="327"/>
                  </a:lnTo>
                  <a:lnTo>
                    <a:pt x="47" y="327"/>
                  </a:lnTo>
                  <a:lnTo>
                    <a:pt x="46" y="329"/>
                  </a:lnTo>
                  <a:lnTo>
                    <a:pt x="45" y="329"/>
                  </a:lnTo>
                  <a:lnTo>
                    <a:pt x="49" y="327"/>
                  </a:lnTo>
                  <a:lnTo>
                    <a:pt x="46" y="329"/>
                  </a:lnTo>
                  <a:lnTo>
                    <a:pt x="45" y="330"/>
                  </a:lnTo>
                  <a:lnTo>
                    <a:pt x="45" y="331"/>
                  </a:lnTo>
                  <a:lnTo>
                    <a:pt x="46" y="331"/>
                  </a:lnTo>
                  <a:lnTo>
                    <a:pt x="49" y="331"/>
                  </a:lnTo>
                  <a:lnTo>
                    <a:pt x="47" y="330"/>
                  </a:lnTo>
                  <a:lnTo>
                    <a:pt x="50" y="330"/>
                  </a:lnTo>
                  <a:lnTo>
                    <a:pt x="51" y="331"/>
                  </a:lnTo>
                  <a:lnTo>
                    <a:pt x="52" y="332"/>
                  </a:lnTo>
                  <a:lnTo>
                    <a:pt x="53" y="333"/>
                  </a:lnTo>
                  <a:lnTo>
                    <a:pt x="52" y="333"/>
                  </a:lnTo>
                  <a:lnTo>
                    <a:pt x="49" y="332"/>
                  </a:lnTo>
                  <a:lnTo>
                    <a:pt x="49" y="335"/>
                  </a:lnTo>
                  <a:lnTo>
                    <a:pt x="51" y="335"/>
                  </a:lnTo>
                  <a:lnTo>
                    <a:pt x="52" y="335"/>
                  </a:lnTo>
                  <a:lnTo>
                    <a:pt x="53" y="337"/>
                  </a:lnTo>
                  <a:lnTo>
                    <a:pt x="56" y="339"/>
                  </a:lnTo>
                  <a:lnTo>
                    <a:pt x="57" y="339"/>
                  </a:lnTo>
                  <a:lnTo>
                    <a:pt x="58" y="339"/>
                  </a:lnTo>
                  <a:lnTo>
                    <a:pt x="61" y="339"/>
                  </a:lnTo>
                  <a:lnTo>
                    <a:pt x="62" y="338"/>
                  </a:lnTo>
                  <a:lnTo>
                    <a:pt x="63" y="338"/>
                  </a:lnTo>
                  <a:lnTo>
                    <a:pt x="64" y="337"/>
                  </a:lnTo>
                  <a:lnTo>
                    <a:pt x="65" y="335"/>
                  </a:lnTo>
                  <a:lnTo>
                    <a:pt x="67" y="335"/>
                  </a:lnTo>
                  <a:lnTo>
                    <a:pt x="68" y="333"/>
                  </a:lnTo>
                  <a:lnTo>
                    <a:pt x="68" y="331"/>
                  </a:lnTo>
                  <a:lnTo>
                    <a:pt x="68" y="329"/>
                  </a:lnTo>
                  <a:lnTo>
                    <a:pt x="68" y="326"/>
                  </a:lnTo>
                  <a:lnTo>
                    <a:pt x="65" y="327"/>
                  </a:lnTo>
                  <a:lnTo>
                    <a:pt x="65" y="325"/>
                  </a:lnTo>
                  <a:lnTo>
                    <a:pt x="64" y="325"/>
                  </a:lnTo>
                  <a:lnTo>
                    <a:pt x="63" y="324"/>
                  </a:lnTo>
                  <a:lnTo>
                    <a:pt x="64" y="323"/>
                  </a:lnTo>
                  <a:lnTo>
                    <a:pt x="65" y="323"/>
                  </a:lnTo>
                  <a:lnTo>
                    <a:pt x="64" y="321"/>
                  </a:lnTo>
                  <a:lnTo>
                    <a:pt x="63" y="321"/>
                  </a:lnTo>
                  <a:lnTo>
                    <a:pt x="65" y="319"/>
                  </a:lnTo>
                  <a:lnTo>
                    <a:pt x="67" y="320"/>
                  </a:lnTo>
                  <a:lnTo>
                    <a:pt x="68" y="320"/>
                  </a:lnTo>
                  <a:lnTo>
                    <a:pt x="69" y="320"/>
                  </a:lnTo>
                  <a:lnTo>
                    <a:pt x="69" y="318"/>
                  </a:lnTo>
                  <a:lnTo>
                    <a:pt x="70" y="318"/>
                  </a:lnTo>
                  <a:lnTo>
                    <a:pt x="70" y="320"/>
                  </a:lnTo>
                  <a:lnTo>
                    <a:pt x="71" y="320"/>
                  </a:lnTo>
                  <a:lnTo>
                    <a:pt x="73" y="321"/>
                  </a:lnTo>
                  <a:lnTo>
                    <a:pt x="74" y="321"/>
                  </a:lnTo>
                  <a:lnTo>
                    <a:pt x="73" y="324"/>
                  </a:lnTo>
                  <a:lnTo>
                    <a:pt x="73" y="325"/>
                  </a:lnTo>
                  <a:lnTo>
                    <a:pt x="73" y="326"/>
                  </a:lnTo>
                  <a:lnTo>
                    <a:pt x="74" y="325"/>
                  </a:lnTo>
                  <a:lnTo>
                    <a:pt x="73" y="324"/>
                  </a:lnTo>
                  <a:lnTo>
                    <a:pt x="74" y="323"/>
                  </a:lnTo>
                  <a:lnTo>
                    <a:pt x="78" y="323"/>
                  </a:lnTo>
                  <a:lnTo>
                    <a:pt x="76" y="324"/>
                  </a:lnTo>
                  <a:lnTo>
                    <a:pt x="78" y="325"/>
                  </a:lnTo>
                  <a:lnTo>
                    <a:pt x="78" y="326"/>
                  </a:lnTo>
                  <a:lnTo>
                    <a:pt x="81" y="326"/>
                  </a:lnTo>
                  <a:lnTo>
                    <a:pt x="81" y="325"/>
                  </a:lnTo>
                  <a:lnTo>
                    <a:pt x="79" y="324"/>
                  </a:lnTo>
                  <a:lnTo>
                    <a:pt x="81" y="324"/>
                  </a:lnTo>
                  <a:lnTo>
                    <a:pt x="81" y="321"/>
                  </a:lnTo>
                  <a:lnTo>
                    <a:pt x="81" y="320"/>
                  </a:lnTo>
                  <a:lnTo>
                    <a:pt x="82" y="320"/>
                  </a:lnTo>
                  <a:lnTo>
                    <a:pt x="84" y="319"/>
                  </a:lnTo>
                  <a:lnTo>
                    <a:pt x="86" y="320"/>
                  </a:lnTo>
                  <a:lnTo>
                    <a:pt x="87" y="320"/>
                  </a:lnTo>
                  <a:lnTo>
                    <a:pt x="90" y="323"/>
                  </a:lnTo>
                  <a:lnTo>
                    <a:pt x="90" y="321"/>
                  </a:lnTo>
                  <a:lnTo>
                    <a:pt x="90" y="320"/>
                  </a:lnTo>
                  <a:lnTo>
                    <a:pt x="91" y="319"/>
                  </a:lnTo>
                  <a:lnTo>
                    <a:pt x="92" y="320"/>
                  </a:lnTo>
                  <a:lnTo>
                    <a:pt x="92" y="321"/>
                  </a:lnTo>
                  <a:lnTo>
                    <a:pt x="94" y="320"/>
                  </a:lnTo>
                  <a:lnTo>
                    <a:pt x="96" y="319"/>
                  </a:lnTo>
                  <a:lnTo>
                    <a:pt x="97" y="318"/>
                  </a:lnTo>
                  <a:lnTo>
                    <a:pt x="98" y="318"/>
                  </a:lnTo>
                  <a:lnTo>
                    <a:pt x="100" y="319"/>
                  </a:lnTo>
                  <a:lnTo>
                    <a:pt x="99" y="317"/>
                  </a:lnTo>
                  <a:lnTo>
                    <a:pt x="102" y="319"/>
                  </a:lnTo>
                  <a:lnTo>
                    <a:pt x="102" y="318"/>
                  </a:lnTo>
                  <a:lnTo>
                    <a:pt x="103" y="317"/>
                  </a:lnTo>
                  <a:lnTo>
                    <a:pt x="104" y="315"/>
                  </a:lnTo>
                  <a:lnTo>
                    <a:pt x="105" y="315"/>
                  </a:lnTo>
                  <a:lnTo>
                    <a:pt x="105" y="314"/>
                  </a:lnTo>
                  <a:lnTo>
                    <a:pt x="105" y="313"/>
                  </a:lnTo>
                  <a:lnTo>
                    <a:pt x="105" y="312"/>
                  </a:lnTo>
                  <a:lnTo>
                    <a:pt x="104" y="311"/>
                  </a:lnTo>
                  <a:lnTo>
                    <a:pt x="106" y="311"/>
                  </a:lnTo>
                  <a:lnTo>
                    <a:pt x="106" y="309"/>
                  </a:lnTo>
                  <a:lnTo>
                    <a:pt x="109" y="311"/>
                  </a:lnTo>
                  <a:lnTo>
                    <a:pt x="111" y="311"/>
                  </a:lnTo>
                  <a:lnTo>
                    <a:pt x="112" y="309"/>
                  </a:lnTo>
                  <a:lnTo>
                    <a:pt x="111" y="308"/>
                  </a:lnTo>
                  <a:lnTo>
                    <a:pt x="110" y="307"/>
                  </a:lnTo>
                  <a:lnTo>
                    <a:pt x="112" y="307"/>
                  </a:lnTo>
                  <a:lnTo>
                    <a:pt x="112" y="306"/>
                  </a:lnTo>
                  <a:lnTo>
                    <a:pt x="112" y="305"/>
                  </a:lnTo>
                  <a:lnTo>
                    <a:pt x="111" y="303"/>
                  </a:lnTo>
                  <a:lnTo>
                    <a:pt x="112" y="302"/>
                  </a:lnTo>
                  <a:lnTo>
                    <a:pt x="111" y="300"/>
                  </a:lnTo>
                  <a:lnTo>
                    <a:pt x="110" y="300"/>
                  </a:lnTo>
                  <a:lnTo>
                    <a:pt x="109" y="301"/>
                  </a:lnTo>
                  <a:lnTo>
                    <a:pt x="106" y="301"/>
                  </a:lnTo>
                  <a:lnTo>
                    <a:pt x="106" y="300"/>
                  </a:lnTo>
                  <a:lnTo>
                    <a:pt x="108" y="297"/>
                  </a:lnTo>
                  <a:lnTo>
                    <a:pt x="105" y="297"/>
                  </a:lnTo>
                  <a:lnTo>
                    <a:pt x="104" y="299"/>
                  </a:lnTo>
                  <a:lnTo>
                    <a:pt x="104" y="300"/>
                  </a:lnTo>
                  <a:lnTo>
                    <a:pt x="103" y="300"/>
                  </a:lnTo>
                  <a:lnTo>
                    <a:pt x="102" y="300"/>
                  </a:lnTo>
                  <a:lnTo>
                    <a:pt x="100" y="300"/>
                  </a:lnTo>
                  <a:lnTo>
                    <a:pt x="99" y="302"/>
                  </a:lnTo>
                  <a:lnTo>
                    <a:pt x="99" y="301"/>
                  </a:lnTo>
                  <a:lnTo>
                    <a:pt x="97" y="300"/>
                  </a:lnTo>
                  <a:lnTo>
                    <a:pt x="98" y="299"/>
                  </a:lnTo>
                  <a:lnTo>
                    <a:pt x="97" y="297"/>
                  </a:lnTo>
                  <a:lnTo>
                    <a:pt x="94" y="297"/>
                  </a:lnTo>
                  <a:lnTo>
                    <a:pt x="94" y="296"/>
                  </a:lnTo>
                  <a:lnTo>
                    <a:pt x="96" y="295"/>
                  </a:lnTo>
                  <a:lnTo>
                    <a:pt x="98" y="294"/>
                  </a:lnTo>
                  <a:lnTo>
                    <a:pt x="100" y="296"/>
                  </a:lnTo>
                  <a:lnTo>
                    <a:pt x="100" y="295"/>
                  </a:lnTo>
                  <a:lnTo>
                    <a:pt x="102" y="294"/>
                  </a:lnTo>
                  <a:lnTo>
                    <a:pt x="103" y="291"/>
                  </a:lnTo>
                  <a:lnTo>
                    <a:pt x="103" y="294"/>
                  </a:lnTo>
                  <a:lnTo>
                    <a:pt x="104" y="293"/>
                  </a:lnTo>
                  <a:lnTo>
                    <a:pt x="106" y="293"/>
                  </a:lnTo>
                  <a:lnTo>
                    <a:pt x="106" y="291"/>
                  </a:lnTo>
                  <a:lnTo>
                    <a:pt x="110" y="290"/>
                  </a:lnTo>
                  <a:lnTo>
                    <a:pt x="110" y="289"/>
                  </a:lnTo>
                  <a:lnTo>
                    <a:pt x="108" y="289"/>
                  </a:lnTo>
                  <a:lnTo>
                    <a:pt x="106" y="289"/>
                  </a:lnTo>
                  <a:lnTo>
                    <a:pt x="105" y="289"/>
                  </a:lnTo>
                  <a:lnTo>
                    <a:pt x="106" y="288"/>
                  </a:lnTo>
                  <a:lnTo>
                    <a:pt x="105" y="288"/>
                  </a:lnTo>
                  <a:lnTo>
                    <a:pt x="106" y="287"/>
                  </a:lnTo>
                  <a:lnTo>
                    <a:pt x="108" y="285"/>
                  </a:lnTo>
                  <a:lnTo>
                    <a:pt x="109" y="283"/>
                  </a:lnTo>
                  <a:lnTo>
                    <a:pt x="108" y="283"/>
                  </a:lnTo>
                  <a:lnTo>
                    <a:pt x="105" y="283"/>
                  </a:lnTo>
                  <a:lnTo>
                    <a:pt x="104" y="282"/>
                  </a:lnTo>
                  <a:lnTo>
                    <a:pt x="100" y="282"/>
                  </a:lnTo>
                  <a:lnTo>
                    <a:pt x="102" y="282"/>
                  </a:lnTo>
                  <a:lnTo>
                    <a:pt x="104" y="282"/>
                  </a:lnTo>
                  <a:lnTo>
                    <a:pt x="104" y="279"/>
                  </a:lnTo>
                  <a:lnTo>
                    <a:pt x="103" y="279"/>
                  </a:lnTo>
                  <a:lnTo>
                    <a:pt x="103" y="278"/>
                  </a:lnTo>
                  <a:lnTo>
                    <a:pt x="104" y="278"/>
                  </a:lnTo>
                  <a:lnTo>
                    <a:pt x="103" y="277"/>
                  </a:lnTo>
                  <a:lnTo>
                    <a:pt x="100" y="276"/>
                  </a:lnTo>
                  <a:lnTo>
                    <a:pt x="102" y="275"/>
                  </a:lnTo>
                  <a:lnTo>
                    <a:pt x="100" y="273"/>
                  </a:lnTo>
                  <a:lnTo>
                    <a:pt x="102" y="271"/>
                  </a:lnTo>
                  <a:lnTo>
                    <a:pt x="102" y="270"/>
                  </a:lnTo>
                  <a:lnTo>
                    <a:pt x="102" y="269"/>
                  </a:lnTo>
                  <a:lnTo>
                    <a:pt x="104" y="269"/>
                  </a:lnTo>
                  <a:lnTo>
                    <a:pt x="105" y="269"/>
                  </a:lnTo>
                  <a:lnTo>
                    <a:pt x="105" y="267"/>
                  </a:lnTo>
                  <a:lnTo>
                    <a:pt x="105" y="265"/>
                  </a:lnTo>
                  <a:lnTo>
                    <a:pt x="106" y="265"/>
                  </a:lnTo>
                  <a:lnTo>
                    <a:pt x="106" y="266"/>
                  </a:lnTo>
                  <a:lnTo>
                    <a:pt x="108" y="267"/>
                  </a:lnTo>
                  <a:lnTo>
                    <a:pt x="109" y="267"/>
                  </a:lnTo>
                  <a:lnTo>
                    <a:pt x="108" y="265"/>
                  </a:lnTo>
                  <a:lnTo>
                    <a:pt x="109" y="264"/>
                  </a:lnTo>
                  <a:lnTo>
                    <a:pt x="110" y="265"/>
                  </a:lnTo>
                  <a:lnTo>
                    <a:pt x="111" y="264"/>
                  </a:lnTo>
                  <a:lnTo>
                    <a:pt x="111" y="265"/>
                  </a:lnTo>
                  <a:lnTo>
                    <a:pt x="112" y="266"/>
                  </a:lnTo>
                  <a:lnTo>
                    <a:pt x="114" y="264"/>
                  </a:lnTo>
                  <a:lnTo>
                    <a:pt x="114" y="266"/>
                  </a:lnTo>
                  <a:lnTo>
                    <a:pt x="115" y="265"/>
                  </a:lnTo>
                  <a:lnTo>
                    <a:pt x="115" y="264"/>
                  </a:lnTo>
                  <a:lnTo>
                    <a:pt x="117" y="263"/>
                  </a:lnTo>
                  <a:lnTo>
                    <a:pt x="116" y="261"/>
                  </a:lnTo>
                  <a:lnTo>
                    <a:pt x="115" y="260"/>
                  </a:lnTo>
                  <a:lnTo>
                    <a:pt x="116" y="260"/>
                  </a:lnTo>
                  <a:lnTo>
                    <a:pt x="116" y="259"/>
                  </a:lnTo>
                  <a:lnTo>
                    <a:pt x="114" y="258"/>
                  </a:lnTo>
                  <a:lnTo>
                    <a:pt x="115" y="257"/>
                  </a:lnTo>
                  <a:lnTo>
                    <a:pt x="116" y="257"/>
                  </a:lnTo>
                  <a:lnTo>
                    <a:pt x="116" y="255"/>
                  </a:lnTo>
                  <a:lnTo>
                    <a:pt x="115" y="255"/>
                  </a:lnTo>
                  <a:lnTo>
                    <a:pt x="114" y="254"/>
                  </a:lnTo>
                  <a:lnTo>
                    <a:pt x="115" y="254"/>
                  </a:lnTo>
                  <a:lnTo>
                    <a:pt x="116" y="254"/>
                  </a:lnTo>
                  <a:lnTo>
                    <a:pt x="116" y="252"/>
                  </a:lnTo>
                  <a:lnTo>
                    <a:pt x="117" y="252"/>
                  </a:lnTo>
                  <a:lnTo>
                    <a:pt x="117" y="250"/>
                  </a:lnTo>
                  <a:lnTo>
                    <a:pt x="116" y="249"/>
                  </a:lnTo>
                  <a:lnTo>
                    <a:pt x="118" y="249"/>
                  </a:lnTo>
                  <a:lnTo>
                    <a:pt x="120" y="249"/>
                  </a:lnTo>
                  <a:lnTo>
                    <a:pt x="120" y="248"/>
                  </a:lnTo>
                  <a:lnTo>
                    <a:pt x="121" y="248"/>
                  </a:lnTo>
                  <a:lnTo>
                    <a:pt x="122" y="247"/>
                  </a:lnTo>
                  <a:lnTo>
                    <a:pt x="123" y="246"/>
                  </a:lnTo>
                  <a:lnTo>
                    <a:pt x="123" y="244"/>
                  </a:lnTo>
                  <a:lnTo>
                    <a:pt x="124" y="244"/>
                  </a:lnTo>
                  <a:lnTo>
                    <a:pt x="124" y="243"/>
                  </a:lnTo>
                  <a:lnTo>
                    <a:pt x="126" y="242"/>
                  </a:lnTo>
                  <a:lnTo>
                    <a:pt x="128" y="242"/>
                  </a:lnTo>
                  <a:lnTo>
                    <a:pt x="129" y="242"/>
                  </a:lnTo>
                  <a:lnTo>
                    <a:pt x="130" y="242"/>
                  </a:lnTo>
                  <a:lnTo>
                    <a:pt x="128" y="241"/>
                  </a:lnTo>
                  <a:lnTo>
                    <a:pt x="128" y="240"/>
                  </a:lnTo>
                  <a:lnTo>
                    <a:pt x="128" y="238"/>
                  </a:lnTo>
                  <a:lnTo>
                    <a:pt x="127" y="236"/>
                  </a:lnTo>
                  <a:lnTo>
                    <a:pt x="127" y="235"/>
                  </a:lnTo>
                  <a:lnTo>
                    <a:pt x="127" y="234"/>
                  </a:lnTo>
                  <a:lnTo>
                    <a:pt x="129" y="235"/>
                  </a:lnTo>
                  <a:lnTo>
                    <a:pt x="130" y="235"/>
                  </a:lnTo>
                  <a:lnTo>
                    <a:pt x="135" y="234"/>
                  </a:lnTo>
                  <a:lnTo>
                    <a:pt x="133" y="232"/>
                  </a:lnTo>
                  <a:lnTo>
                    <a:pt x="134" y="232"/>
                  </a:lnTo>
                  <a:lnTo>
                    <a:pt x="135" y="234"/>
                  </a:lnTo>
                  <a:lnTo>
                    <a:pt x="135" y="235"/>
                  </a:lnTo>
                  <a:lnTo>
                    <a:pt x="135" y="236"/>
                  </a:lnTo>
                  <a:lnTo>
                    <a:pt x="137" y="236"/>
                  </a:lnTo>
                  <a:lnTo>
                    <a:pt x="137" y="235"/>
                  </a:lnTo>
                  <a:lnTo>
                    <a:pt x="138" y="234"/>
                  </a:lnTo>
                  <a:lnTo>
                    <a:pt x="139" y="232"/>
                  </a:lnTo>
                  <a:lnTo>
                    <a:pt x="139" y="231"/>
                  </a:lnTo>
                  <a:lnTo>
                    <a:pt x="140" y="232"/>
                  </a:lnTo>
                  <a:lnTo>
                    <a:pt x="141" y="231"/>
                  </a:lnTo>
                  <a:lnTo>
                    <a:pt x="141" y="232"/>
                  </a:lnTo>
                  <a:lnTo>
                    <a:pt x="141" y="235"/>
                  </a:lnTo>
                  <a:lnTo>
                    <a:pt x="141" y="234"/>
                  </a:lnTo>
                  <a:lnTo>
                    <a:pt x="141" y="232"/>
                  </a:lnTo>
                  <a:lnTo>
                    <a:pt x="140" y="230"/>
                  </a:lnTo>
                  <a:lnTo>
                    <a:pt x="140" y="229"/>
                  </a:lnTo>
                  <a:lnTo>
                    <a:pt x="143" y="231"/>
                  </a:lnTo>
                  <a:lnTo>
                    <a:pt x="143" y="232"/>
                  </a:lnTo>
                  <a:lnTo>
                    <a:pt x="144" y="231"/>
                  </a:lnTo>
                  <a:lnTo>
                    <a:pt x="146" y="232"/>
                  </a:lnTo>
                  <a:lnTo>
                    <a:pt x="146" y="231"/>
                  </a:lnTo>
                  <a:lnTo>
                    <a:pt x="147" y="234"/>
                  </a:lnTo>
                  <a:lnTo>
                    <a:pt x="147" y="235"/>
                  </a:lnTo>
                  <a:lnTo>
                    <a:pt x="149" y="235"/>
                  </a:lnTo>
                  <a:lnTo>
                    <a:pt x="150" y="235"/>
                  </a:lnTo>
                  <a:lnTo>
                    <a:pt x="150" y="237"/>
                  </a:lnTo>
                  <a:lnTo>
                    <a:pt x="150" y="238"/>
                  </a:lnTo>
                  <a:lnTo>
                    <a:pt x="151" y="237"/>
                  </a:lnTo>
                  <a:lnTo>
                    <a:pt x="153" y="236"/>
                  </a:lnTo>
                  <a:lnTo>
                    <a:pt x="153" y="237"/>
                  </a:lnTo>
                  <a:lnTo>
                    <a:pt x="152" y="238"/>
                  </a:lnTo>
                  <a:lnTo>
                    <a:pt x="152" y="240"/>
                  </a:lnTo>
                  <a:lnTo>
                    <a:pt x="153" y="241"/>
                  </a:lnTo>
                  <a:lnTo>
                    <a:pt x="155" y="238"/>
                  </a:lnTo>
                  <a:lnTo>
                    <a:pt x="156" y="238"/>
                  </a:lnTo>
                  <a:lnTo>
                    <a:pt x="158" y="237"/>
                  </a:lnTo>
                  <a:lnTo>
                    <a:pt x="158" y="234"/>
                  </a:lnTo>
                  <a:lnTo>
                    <a:pt x="159" y="235"/>
                  </a:lnTo>
                  <a:lnTo>
                    <a:pt x="161" y="235"/>
                  </a:lnTo>
                  <a:lnTo>
                    <a:pt x="163" y="234"/>
                  </a:lnTo>
                  <a:lnTo>
                    <a:pt x="164" y="231"/>
                  </a:lnTo>
                  <a:lnTo>
                    <a:pt x="165" y="230"/>
                  </a:lnTo>
                  <a:lnTo>
                    <a:pt x="167" y="229"/>
                  </a:lnTo>
                  <a:lnTo>
                    <a:pt x="170" y="228"/>
                  </a:lnTo>
                  <a:lnTo>
                    <a:pt x="173" y="225"/>
                  </a:lnTo>
                  <a:lnTo>
                    <a:pt x="173" y="223"/>
                  </a:lnTo>
                  <a:lnTo>
                    <a:pt x="171" y="223"/>
                  </a:lnTo>
                  <a:lnTo>
                    <a:pt x="170" y="225"/>
                  </a:lnTo>
                  <a:lnTo>
                    <a:pt x="169" y="225"/>
                  </a:lnTo>
                  <a:lnTo>
                    <a:pt x="168" y="224"/>
                  </a:lnTo>
                  <a:lnTo>
                    <a:pt x="168" y="222"/>
                  </a:lnTo>
                  <a:lnTo>
                    <a:pt x="167" y="222"/>
                  </a:lnTo>
                  <a:lnTo>
                    <a:pt x="167" y="223"/>
                  </a:lnTo>
                  <a:lnTo>
                    <a:pt x="167" y="224"/>
                  </a:lnTo>
                  <a:lnTo>
                    <a:pt x="165" y="225"/>
                  </a:lnTo>
                  <a:lnTo>
                    <a:pt x="165" y="224"/>
                  </a:lnTo>
                  <a:lnTo>
                    <a:pt x="164" y="225"/>
                  </a:lnTo>
                  <a:lnTo>
                    <a:pt x="164" y="224"/>
                  </a:lnTo>
                  <a:lnTo>
                    <a:pt x="163" y="225"/>
                  </a:lnTo>
                  <a:lnTo>
                    <a:pt x="162" y="226"/>
                  </a:lnTo>
                  <a:lnTo>
                    <a:pt x="162" y="225"/>
                  </a:lnTo>
                  <a:lnTo>
                    <a:pt x="162" y="226"/>
                  </a:lnTo>
                  <a:lnTo>
                    <a:pt x="161" y="229"/>
                  </a:lnTo>
                  <a:lnTo>
                    <a:pt x="159" y="226"/>
                  </a:lnTo>
                  <a:lnTo>
                    <a:pt x="158" y="228"/>
                  </a:lnTo>
                  <a:lnTo>
                    <a:pt x="157" y="228"/>
                  </a:lnTo>
                  <a:lnTo>
                    <a:pt x="156" y="226"/>
                  </a:lnTo>
                  <a:lnTo>
                    <a:pt x="156" y="225"/>
                  </a:lnTo>
                  <a:lnTo>
                    <a:pt x="155" y="225"/>
                  </a:lnTo>
                  <a:lnTo>
                    <a:pt x="155" y="228"/>
                  </a:lnTo>
                  <a:lnTo>
                    <a:pt x="155" y="229"/>
                  </a:lnTo>
                  <a:lnTo>
                    <a:pt x="155" y="230"/>
                  </a:lnTo>
                  <a:lnTo>
                    <a:pt x="155" y="232"/>
                  </a:lnTo>
                  <a:lnTo>
                    <a:pt x="155" y="234"/>
                  </a:lnTo>
                  <a:lnTo>
                    <a:pt x="153" y="232"/>
                  </a:lnTo>
                  <a:lnTo>
                    <a:pt x="152" y="231"/>
                  </a:lnTo>
                  <a:lnTo>
                    <a:pt x="152" y="230"/>
                  </a:lnTo>
                  <a:lnTo>
                    <a:pt x="150" y="230"/>
                  </a:lnTo>
                  <a:lnTo>
                    <a:pt x="149" y="230"/>
                  </a:lnTo>
                  <a:lnTo>
                    <a:pt x="147" y="229"/>
                  </a:lnTo>
                  <a:lnTo>
                    <a:pt x="147" y="228"/>
                  </a:lnTo>
                  <a:lnTo>
                    <a:pt x="149" y="226"/>
                  </a:lnTo>
                  <a:lnTo>
                    <a:pt x="152" y="223"/>
                  </a:lnTo>
                  <a:lnTo>
                    <a:pt x="152" y="222"/>
                  </a:lnTo>
                  <a:lnTo>
                    <a:pt x="155" y="222"/>
                  </a:lnTo>
                  <a:lnTo>
                    <a:pt x="153" y="220"/>
                  </a:lnTo>
                  <a:lnTo>
                    <a:pt x="152" y="222"/>
                  </a:lnTo>
                  <a:lnTo>
                    <a:pt x="151" y="222"/>
                  </a:lnTo>
                  <a:lnTo>
                    <a:pt x="150" y="222"/>
                  </a:lnTo>
                  <a:lnTo>
                    <a:pt x="149" y="224"/>
                  </a:lnTo>
                  <a:lnTo>
                    <a:pt x="147" y="224"/>
                  </a:lnTo>
                  <a:lnTo>
                    <a:pt x="146" y="225"/>
                  </a:lnTo>
                  <a:lnTo>
                    <a:pt x="143" y="225"/>
                  </a:lnTo>
                  <a:lnTo>
                    <a:pt x="145" y="224"/>
                  </a:lnTo>
                  <a:lnTo>
                    <a:pt x="146" y="223"/>
                  </a:lnTo>
                  <a:lnTo>
                    <a:pt x="146" y="222"/>
                  </a:lnTo>
                  <a:lnTo>
                    <a:pt x="146" y="219"/>
                  </a:lnTo>
                  <a:lnTo>
                    <a:pt x="144" y="220"/>
                  </a:lnTo>
                  <a:lnTo>
                    <a:pt x="145" y="218"/>
                  </a:lnTo>
                  <a:lnTo>
                    <a:pt x="144" y="218"/>
                  </a:lnTo>
                  <a:lnTo>
                    <a:pt x="143" y="218"/>
                  </a:lnTo>
                  <a:lnTo>
                    <a:pt x="143" y="217"/>
                  </a:lnTo>
                  <a:lnTo>
                    <a:pt x="141" y="216"/>
                  </a:lnTo>
                  <a:lnTo>
                    <a:pt x="140" y="216"/>
                  </a:lnTo>
                  <a:lnTo>
                    <a:pt x="139" y="214"/>
                  </a:lnTo>
                  <a:lnTo>
                    <a:pt x="140" y="214"/>
                  </a:lnTo>
                  <a:lnTo>
                    <a:pt x="141" y="214"/>
                  </a:lnTo>
                  <a:lnTo>
                    <a:pt x="141" y="213"/>
                  </a:lnTo>
                  <a:lnTo>
                    <a:pt x="140" y="212"/>
                  </a:lnTo>
                  <a:lnTo>
                    <a:pt x="143" y="212"/>
                  </a:lnTo>
                  <a:lnTo>
                    <a:pt x="144" y="211"/>
                  </a:lnTo>
                  <a:lnTo>
                    <a:pt x="145" y="211"/>
                  </a:lnTo>
                  <a:lnTo>
                    <a:pt x="144" y="213"/>
                  </a:lnTo>
                  <a:lnTo>
                    <a:pt x="145" y="212"/>
                  </a:lnTo>
                  <a:lnTo>
                    <a:pt x="146" y="213"/>
                  </a:lnTo>
                  <a:lnTo>
                    <a:pt x="146" y="212"/>
                  </a:lnTo>
                  <a:lnTo>
                    <a:pt x="147" y="213"/>
                  </a:lnTo>
                  <a:lnTo>
                    <a:pt x="149" y="213"/>
                  </a:lnTo>
                  <a:lnTo>
                    <a:pt x="150" y="213"/>
                  </a:lnTo>
                  <a:lnTo>
                    <a:pt x="150" y="214"/>
                  </a:lnTo>
                  <a:lnTo>
                    <a:pt x="152" y="214"/>
                  </a:lnTo>
                  <a:lnTo>
                    <a:pt x="152" y="216"/>
                  </a:lnTo>
                  <a:lnTo>
                    <a:pt x="153" y="217"/>
                  </a:lnTo>
                  <a:lnTo>
                    <a:pt x="155" y="217"/>
                  </a:lnTo>
                  <a:lnTo>
                    <a:pt x="155" y="216"/>
                  </a:lnTo>
                  <a:lnTo>
                    <a:pt x="156" y="214"/>
                  </a:lnTo>
                  <a:lnTo>
                    <a:pt x="156" y="212"/>
                  </a:lnTo>
                  <a:lnTo>
                    <a:pt x="157" y="211"/>
                  </a:lnTo>
                  <a:lnTo>
                    <a:pt x="157" y="213"/>
                  </a:lnTo>
                  <a:lnTo>
                    <a:pt x="158" y="214"/>
                  </a:lnTo>
                  <a:lnTo>
                    <a:pt x="159" y="214"/>
                  </a:lnTo>
                  <a:lnTo>
                    <a:pt x="161" y="213"/>
                  </a:lnTo>
                  <a:lnTo>
                    <a:pt x="162" y="212"/>
                  </a:lnTo>
                  <a:lnTo>
                    <a:pt x="164" y="211"/>
                  </a:lnTo>
                  <a:lnTo>
                    <a:pt x="169" y="210"/>
                  </a:lnTo>
                  <a:lnTo>
                    <a:pt x="168" y="208"/>
                  </a:lnTo>
                  <a:lnTo>
                    <a:pt x="168" y="207"/>
                  </a:lnTo>
                  <a:lnTo>
                    <a:pt x="170" y="205"/>
                  </a:lnTo>
                  <a:lnTo>
                    <a:pt x="168" y="205"/>
                  </a:lnTo>
                  <a:lnTo>
                    <a:pt x="167" y="205"/>
                  </a:lnTo>
                  <a:lnTo>
                    <a:pt x="165" y="207"/>
                  </a:lnTo>
                  <a:lnTo>
                    <a:pt x="165" y="205"/>
                  </a:lnTo>
                  <a:lnTo>
                    <a:pt x="165" y="204"/>
                  </a:lnTo>
                  <a:lnTo>
                    <a:pt x="164" y="205"/>
                  </a:lnTo>
                  <a:lnTo>
                    <a:pt x="164" y="207"/>
                  </a:lnTo>
                  <a:lnTo>
                    <a:pt x="163" y="207"/>
                  </a:lnTo>
                  <a:lnTo>
                    <a:pt x="161" y="208"/>
                  </a:lnTo>
                  <a:lnTo>
                    <a:pt x="161" y="207"/>
                  </a:lnTo>
                  <a:lnTo>
                    <a:pt x="159" y="208"/>
                  </a:lnTo>
                  <a:lnTo>
                    <a:pt x="159" y="207"/>
                  </a:lnTo>
                  <a:lnTo>
                    <a:pt x="158" y="208"/>
                  </a:lnTo>
                  <a:lnTo>
                    <a:pt x="158" y="207"/>
                  </a:lnTo>
                  <a:lnTo>
                    <a:pt x="156" y="208"/>
                  </a:lnTo>
                  <a:lnTo>
                    <a:pt x="156" y="207"/>
                  </a:lnTo>
                  <a:lnTo>
                    <a:pt x="155" y="207"/>
                  </a:lnTo>
                  <a:lnTo>
                    <a:pt x="155" y="206"/>
                  </a:lnTo>
                  <a:lnTo>
                    <a:pt x="155" y="205"/>
                  </a:lnTo>
                  <a:lnTo>
                    <a:pt x="158" y="202"/>
                  </a:lnTo>
                  <a:lnTo>
                    <a:pt x="159" y="204"/>
                  </a:lnTo>
                  <a:lnTo>
                    <a:pt x="161" y="204"/>
                  </a:lnTo>
                  <a:lnTo>
                    <a:pt x="161" y="201"/>
                  </a:lnTo>
                  <a:lnTo>
                    <a:pt x="162" y="201"/>
                  </a:lnTo>
                  <a:lnTo>
                    <a:pt x="163" y="200"/>
                  </a:lnTo>
                  <a:lnTo>
                    <a:pt x="164" y="200"/>
                  </a:lnTo>
                  <a:lnTo>
                    <a:pt x="164" y="199"/>
                  </a:lnTo>
                  <a:lnTo>
                    <a:pt x="165" y="199"/>
                  </a:lnTo>
                  <a:lnTo>
                    <a:pt x="167" y="199"/>
                  </a:lnTo>
                  <a:lnTo>
                    <a:pt x="169" y="198"/>
                  </a:lnTo>
                  <a:lnTo>
                    <a:pt x="171" y="196"/>
                  </a:lnTo>
                  <a:lnTo>
                    <a:pt x="174" y="195"/>
                  </a:lnTo>
                  <a:lnTo>
                    <a:pt x="175" y="194"/>
                  </a:lnTo>
                  <a:lnTo>
                    <a:pt x="173" y="194"/>
                  </a:lnTo>
                  <a:lnTo>
                    <a:pt x="171" y="192"/>
                  </a:lnTo>
                  <a:lnTo>
                    <a:pt x="170" y="190"/>
                  </a:lnTo>
                  <a:lnTo>
                    <a:pt x="169" y="192"/>
                  </a:lnTo>
                  <a:lnTo>
                    <a:pt x="167" y="192"/>
                  </a:lnTo>
                  <a:lnTo>
                    <a:pt x="167" y="193"/>
                  </a:lnTo>
                  <a:lnTo>
                    <a:pt x="165" y="196"/>
                  </a:lnTo>
                  <a:lnTo>
                    <a:pt x="165" y="198"/>
                  </a:lnTo>
                  <a:lnTo>
                    <a:pt x="164" y="198"/>
                  </a:lnTo>
                  <a:lnTo>
                    <a:pt x="163" y="198"/>
                  </a:lnTo>
                  <a:lnTo>
                    <a:pt x="162" y="199"/>
                  </a:lnTo>
                  <a:lnTo>
                    <a:pt x="161" y="200"/>
                  </a:lnTo>
                  <a:lnTo>
                    <a:pt x="159" y="200"/>
                  </a:lnTo>
                  <a:lnTo>
                    <a:pt x="158" y="200"/>
                  </a:lnTo>
                  <a:lnTo>
                    <a:pt x="157" y="200"/>
                  </a:lnTo>
                  <a:lnTo>
                    <a:pt x="157" y="201"/>
                  </a:lnTo>
                  <a:lnTo>
                    <a:pt x="156" y="202"/>
                  </a:lnTo>
                  <a:lnTo>
                    <a:pt x="155" y="204"/>
                  </a:lnTo>
                  <a:lnTo>
                    <a:pt x="153" y="201"/>
                  </a:lnTo>
                  <a:lnTo>
                    <a:pt x="152" y="200"/>
                  </a:lnTo>
                  <a:lnTo>
                    <a:pt x="153" y="198"/>
                  </a:lnTo>
                  <a:lnTo>
                    <a:pt x="153" y="196"/>
                  </a:lnTo>
                  <a:lnTo>
                    <a:pt x="152" y="193"/>
                  </a:lnTo>
                  <a:lnTo>
                    <a:pt x="151" y="195"/>
                  </a:lnTo>
                  <a:lnTo>
                    <a:pt x="151" y="199"/>
                  </a:lnTo>
                  <a:lnTo>
                    <a:pt x="150" y="199"/>
                  </a:lnTo>
                  <a:lnTo>
                    <a:pt x="150" y="196"/>
                  </a:lnTo>
                  <a:lnTo>
                    <a:pt x="150" y="195"/>
                  </a:lnTo>
                  <a:lnTo>
                    <a:pt x="149" y="195"/>
                  </a:lnTo>
                  <a:lnTo>
                    <a:pt x="147" y="195"/>
                  </a:lnTo>
                  <a:lnTo>
                    <a:pt x="146" y="198"/>
                  </a:lnTo>
                  <a:lnTo>
                    <a:pt x="146" y="195"/>
                  </a:lnTo>
                  <a:lnTo>
                    <a:pt x="146" y="194"/>
                  </a:lnTo>
                  <a:lnTo>
                    <a:pt x="145" y="194"/>
                  </a:lnTo>
                  <a:lnTo>
                    <a:pt x="144" y="194"/>
                  </a:lnTo>
                  <a:lnTo>
                    <a:pt x="146" y="193"/>
                  </a:lnTo>
                  <a:lnTo>
                    <a:pt x="147" y="193"/>
                  </a:lnTo>
                  <a:lnTo>
                    <a:pt x="149" y="193"/>
                  </a:lnTo>
                  <a:lnTo>
                    <a:pt x="150" y="192"/>
                  </a:lnTo>
                  <a:lnTo>
                    <a:pt x="149" y="190"/>
                  </a:lnTo>
                  <a:lnTo>
                    <a:pt x="147" y="192"/>
                  </a:lnTo>
                  <a:lnTo>
                    <a:pt x="146" y="192"/>
                  </a:lnTo>
                  <a:lnTo>
                    <a:pt x="147" y="189"/>
                  </a:lnTo>
                  <a:lnTo>
                    <a:pt x="146" y="189"/>
                  </a:lnTo>
                  <a:lnTo>
                    <a:pt x="145" y="190"/>
                  </a:lnTo>
                  <a:lnTo>
                    <a:pt x="144" y="190"/>
                  </a:lnTo>
                  <a:lnTo>
                    <a:pt x="143" y="189"/>
                  </a:lnTo>
                  <a:lnTo>
                    <a:pt x="143" y="192"/>
                  </a:lnTo>
                  <a:lnTo>
                    <a:pt x="140" y="190"/>
                  </a:lnTo>
                  <a:lnTo>
                    <a:pt x="139" y="192"/>
                  </a:lnTo>
                  <a:lnTo>
                    <a:pt x="138" y="192"/>
                  </a:lnTo>
                  <a:lnTo>
                    <a:pt x="137" y="190"/>
                  </a:lnTo>
                  <a:lnTo>
                    <a:pt x="138" y="189"/>
                  </a:lnTo>
                  <a:lnTo>
                    <a:pt x="135" y="189"/>
                  </a:lnTo>
                  <a:lnTo>
                    <a:pt x="138" y="187"/>
                  </a:lnTo>
                  <a:lnTo>
                    <a:pt x="137" y="187"/>
                  </a:lnTo>
                  <a:lnTo>
                    <a:pt x="137" y="184"/>
                  </a:lnTo>
                  <a:lnTo>
                    <a:pt x="138" y="184"/>
                  </a:lnTo>
                  <a:lnTo>
                    <a:pt x="140" y="184"/>
                  </a:lnTo>
                  <a:lnTo>
                    <a:pt x="143" y="184"/>
                  </a:lnTo>
                  <a:lnTo>
                    <a:pt x="143" y="182"/>
                  </a:lnTo>
                  <a:lnTo>
                    <a:pt x="144" y="182"/>
                  </a:lnTo>
                  <a:lnTo>
                    <a:pt x="144" y="183"/>
                  </a:lnTo>
                  <a:lnTo>
                    <a:pt x="144" y="186"/>
                  </a:lnTo>
                  <a:lnTo>
                    <a:pt x="145" y="186"/>
                  </a:lnTo>
                  <a:lnTo>
                    <a:pt x="145" y="184"/>
                  </a:lnTo>
                  <a:lnTo>
                    <a:pt x="145" y="182"/>
                  </a:lnTo>
                  <a:lnTo>
                    <a:pt x="146" y="182"/>
                  </a:lnTo>
                  <a:lnTo>
                    <a:pt x="146" y="183"/>
                  </a:lnTo>
                  <a:lnTo>
                    <a:pt x="147" y="183"/>
                  </a:lnTo>
                  <a:lnTo>
                    <a:pt x="147" y="186"/>
                  </a:lnTo>
                  <a:lnTo>
                    <a:pt x="149" y="186"/>
                  </a:lnTo>
                  <a:lnTo>
                    <a:pt x="149" y="187"/>
                  </a:lnTo>
                  <a:lnTo>
                    <a:pt x="150" y="188"/>
                  </a:lnTo>
                  <a:lnTo>
                    <a:pt x="151" y="186"/>
                  </a:lnTo>
                  <a:lnTo>
                    <a:pt x="152" y="184"/>
                  </a:lnTo>
                  <a:lnTo>
                    <a:pt x="153" y="183"/>
                  </a:lnTo>
                  <a:lnTo>
                    <a:pt x="155" y="183"/>
                  </a:lnTo>
                  <a:lnTo>
                    <a:pt x="157" y="183"/>
                  </a:lnTo>
                  <a:lnTo>
                    <a:pt x="157" y="182"/>
                  </a:lnTo>
                  <a:lnTo>
                    <a:pt x="159" y="182"/>
                  </a:lnTo>
                  <a:lnTo>
                    <a:pt x="161" y="183"/>
                  </a:lnTo>
                  <a:lnTo>
                    <a:pt x="161" y="182"/>
                  </a:lnTo>
                  <a:lnTo>
                    <a:pt x="159" y="181"/>
                  </a:lnTo>
                  <a:lnTo>
                    <a:pt x="158" y="180"/>
                  </a:lnTo>
                  <a:lnTo>
                    <a:pt x="158" y="178"/>
                  </a:lnTo>
                  <a:lnTo>
                    <a:pt x="159" y="178"/>
                  </a:lnTo>
                  <a:lnTo>
                    <a:pt x="162" y="178"/>
                  </a:lnTo>
                  <a:lnTo>
                    <a:pt x="163" y="177"/>
                  </a:lnTo>
                  <a:lnTo>
                    <a:pt x="162" y="176"/>
                  </a:lnTo>
                  <a:lnTo>
                    <a:pt x="159" y="176"/>
                  </a:lnTo>
                  <a:lnTo>
                    <a:pt x="158" y="175"/>
                  </a:lnTo>
                  <a:lnTo>
                    <a:pt x="157" y="176"/>
                  </a:lnTo>
                  <a:lnTo>
                    <a:pt x="158" y="176"/>
                  </a:lnTo>
                  <a:lnTo>
                    <a:pt x="157" y="176"/>
                  </a:lnTo>
                  <a:lnTo>
                    <a:pt x="155" y="175"/>
                  </a:lnTo>
                  <a:lnTo>
                    <a:pt x="155" y="176"/>
                  </a:lnTo>
                  <a:lnTo>
                    <a:pt x="153" y="177"/>
                  </a:lnTo>
                  <a:lnTo>
                    <a:pt x="153" y="178"/>
                  </a:lnTo>
                  <a:lnTo>
                    <a:pt x="152" y="178"/>
                  </a:lnTo>
                  <a:lnTo>
                    <a:pt x="151" y="178"/>
                  </a:lnTo>
                  <a:lnTo>
                    <a:pt x="150" y="178"/>
                  </a:lnTo>
                  <a:lnTo>
                    <a:pt x="149" y="180"/>
                  </a:lnTo>
                  <a:lnTo>
                    <a:pt x="147" y="180"/>
                  </a:lnTo>
                  <a:lnTo>
                    <a:pt x="147" y="178"/>
                  </a:lnTo>
                  <a:lnTo>
                    <a:pt x="146" y="177"/>
                  </a:lnTo>
                  <a:lnTo>
                    <a:pt x="145" y="177"/>
                  </a:lnTo>
                  <a:lnTo>
                    <a:pt x="144" y="176"/>
                  </a:lnTo>
                  <a:lnTo>
                    <a:pt x="144" y="177"/>
                  </a:lnTo>
                  <a:lnTo>
                    <a:pt x="143" y="178"/>
                  </a:lnTo>
                  <a:lnTo>
                    <a:pt x="143" y="180"/>
                  </a:lnTo>
                  <a:lnTo>
                    <a:pt x="141" y="178"/>
                  </a:lnTo>
                  <a:lnTo>
                    <a:pt x="138" y="178"/>
                  </a:lnTo>
                  <a:lnTo>
                    <a:pt x="138" y="180"/>
                  </a:lnTo>
                  <a:lnTo>
                    <a:pt x="138" y="181"/>
                  </a:lnTo>
                  <a:lnTo>
                    <a:pt x="138" y="182"/>
                  </a:lnTo>
                  <a:lnTo>
                    <a:pt x="137" y="182"/>
                  </a:lnTo>
                  <a:lnTo>
                    <a:pt x="135" y="181"/>
                  </a:lnTo>
                  <a:lnTo>
                    <a:pt x="134" y="180"/>
                  </a:lnTo>
                  <a:lnTo>
                    <a:pt x="133" y="180"/>
                  </a:lnTo>
                  <a:lnTo>
                    <a:pt x="132" y="180"/>
                  </a:lnTo>
                  <a:lnTo>
                    <a:pt x="132" y="182"/>
                  </a:lnTo>
                  <a:lnTo>
                    <a:pt x="130" y="182"/>
                  </a:lnTo>
                  <a:lnTo>
                    <a:pt x="130" y="181"/>
                  </a:lnTo>
                  <a:lnTo>
                    <a:pt x="129" y="180"/>
                  </a:lnTo>
                  <a:lnTo>
                    <a:pt x="128" y="181"/>
                  </a:lnTo>
                  <a:lnTo>
                    <a:pt x="127" y="181"/>
                  </a:lnTo>
                  <a:lnTo>
                    <a:pt x="126" y="181"/>
                  </a:lnTo>
                  <a:lnTo>
                    <a:pt x="124" y="181"/>
                  </a:lnTo>
                  <a:lnTo>
                    <a:pt x="124" y="180"/>
                  </a:lnTo>
                  <a:lnTo>
                    <a:pt x="126" y="178"/>
                  </a:lnTo>
                  <a:lnTo>
                    <a:pt x="126" y="177"/>
                  </a:lnTo>
                  <a:lnTo>
                    <a:pt x="124" y="177"/>
                  </a:lnTo>
                  <a:lnTo>
                    <a:pt x="126" y="177"/>
                  </a:lnTo>
                  <a:lnTo>
                    <a:pt x="127" y="176"/>
                  </a:lnTo>
                  <a:lnTo>
                    <a:pt x="126" y="175"/>
                  </a:lnTo>
                  <a:lnTo>
                    <a:pt x="126" y="172"/>
                  </a:lnTo>
                  <a:lnTo>
                    <a:pt x="127" y="172"/>
                  </a:lnTo>
                  <a:lnTo>
                    <a:pt x="129" y="174"/>
                  </a:lnTo>
                  <a:lnTo>
                    <a:pt x="130" y="172"/>
                  </a:lnTo>
                  <a:lnTo>
                    <a:pt x="129" y="170"/>
                  </a:lnTo>
                  <a:lnTo>
                    <a:pt x="132" y="170"/>
                  </a:lnTo>
                  <a:lnTo>
                    <a:pt x="132" y="169"/>
                  </a:lnTo>
                  <a:lnTo>
                    <a:pt x="130" y="166"/>
                  </a:lnTo>
                  <a:lnTo>
                    <a:pt x="133" y="166"/>
                  </a:lnTo>
                  <a:lnTo>
                    <a:pt x="135" y="166"/>
                  </a:lnTo>
                  <a:lnTo>
                    <a:pt x="137" y="164"/>
                  </a:lnTo>
                  <a:lnTo>
                    <a:pt x="137" y="163"/>
                  </a:lnTo>
                  <a:lnTo>
                    <a:pt x="137" y="160"/>
                  </a:lnTo>
                  <a:lnTo>
                    <a:pt x="135" y="160"/>
                  </a:lnTo>
                  <a:lnTo>
                    <a:pt x="134" y="162"/>
                  </a:lnTo>
                  <a:lnTo>
                    <a:pt x="132" y="163"/>
                  </a:lnTo>
                  <a:lnTo>
                    <a:pt x="130" y="163"/>
                  </a:lnTo>
                  <a:lnTo>
                    <a:pt x="129" y="163"/>
                  </a:lnTo>
                  <a:lnTo>
                    <a:pt x="129" y="162"/>
                  </a:lnTo>
                  <a:lnTo>
                    <a:pt x="128" y="162"/>
                  </a:lnTo>
                  <a:lnTo>
                    <a:pt x="127" y="164"/>
                  </a:lnTo>
                  <a:lnTo>
                    <a:pt x="126" y="164"/>
                  </a:lnTo>
                  <a:lnTo>
                    <a:pt x="126" y="163"/>
                  </a:lnTo>
                  <a:lnTo>
                    <a:pt x="124" y="163"/>
                  </a:lnTo>
                  <a:lnTo>
                    <a:pt x="123" y="163"/>
                  </a:lnTo>
                  <a:lnTo>
                    <a:pt x="123" y="162"/>
                  </a:lnTo>
                  <a:lnTo>
                    <a:pt x="123" y="159"/>
                  </a:lnTo>
                  <a:lnTo>
                    <a:pt x="122" y="158"/>
                  </a:lnTo>
                  <a:lnTo>
                    <a:pt x="123" y="157"/>
                  </a:lnTo>
                  <a:lnTo>
                    <a:pt x="123" y="156"/>
                  </a:lnTo>
                  <a:lnTo>
                    <a:pt x="126" y="154"/>
                  </a:lnTo>
                  <a:lnTo>
                    <a:pt x="124" y="153"/>
                  </a:lnTo>
                  <a:lnTo>
                    <a:pt x="124" y="152"/>
                  </a:lnTo>
                  <a:lnTo>
                    <a:pt x="126" y="151"/>
                  </a:lnTo>
                  <a:lnTo>
                    <a:pt x="128" y="152"/>
                  </a:lnTo>
                  <a:lnTo>
                    <a:pt x="128" y="151"/>
                  </a:lnTo>
                  <a:lnTo>
                    <a:pt x="128" y="148"/>
                  </a:lnTo>
                  <a:lnTo>
                    <a:pt x="129" y="150"/>
                  </a:lnTo>
                  <a:lnTo>
                    <a:pt x="130" y="148"/>
                  </a:lnTo>
                  <a:lnTo>
                    <a:pt x="132" y="147"/>
                  </a:lnTo>
                  <a:lnTo>
                    <a:pt x="132" y="148"/>
                  </a:lnTo>
                  <a:lnTo>
                    <a:pt x="133" y="150"/>
                  </a:lnTo>
                  <a:lnTo>
                    <a:pt x="133" y="148"/>
                  </a:lnTo>
                  <a:lnTo>
                    <a:pt x="134" y="147"/>
                  </a:lnTo>
                  <a:lnTo>
                    <a:pt x="134" y="150"/>
                  </a:lnTo>
                  <a:lnTo>
                    <a:pt x="135" y="151"/>
                  </a:lnTo>
                  <a:lnTo>
                    <a:pt x="137" y="151"/>
                  </a:lnTo>
                  <a:lnTo>
                    <a:pt x="138" y="152"/>
                  </a:lnTo>
                  <a:lnTo>
                    <a:pt x="139" y="152"/>
                  </a:lnTo>
                  <a:lnTo>
                    <a:pt x="139" y="153"/>
                  </a:lnTo>
                  <a:lnTo>
                    <a:pt x="140" y="153"/>
                  </a:lnTo>
                  <a:lnTo>
                    <a:pt x="141" y="153"/>
                  </a:lnTo>
                  <a:lnTo>
                    <a:pt x="143" y="153"/>
                  </a:lnTo>
                  <a:lnTo>
                    <a:pt x="143" y="152"/>
                  </a:lnTo>
                  <a:lnTo>
                    <a:pt x="141" y="150"/>
                  </a:lnTo>
                  <a:lnTo>
                    <a:pt x="143" y="151"/>
                  </a:lnTo>
                  <a:lnTo>
                    <a:pt x="144" y="152"/>
                  </a:lnTo>
                  <a:lnTo>
                    <a:pt x="145" y="152"/>
                  </a:lnTo>
                  <a:lnTo>
                    <a:pt x="147" y="152"/>
                  </a:lnTo>
                  <a:lnTo>
                    <a:pt x="146" y="151"/>
                  </a:lnTo>
                  <a:lnTo>
                    <a:pt x="145" y="148"/>
                  </a:lnTo>
                  <a:lnTo>
                    <a:pt x="144" y="150"/>
                  </a:lnTo>
                  <a:lnTo>
                    <a:pt x="144" y="147"/>
                  </a:lnTo>
                  <a:lnTo>
                    <a:pt x="145" y="147"/>
                  </a:lnTo>
                  <a:lnTo>
                    <a:pt x="144" y="146"/>
                  </a:lnTo>
                  <a:lnTo>
                    <a:pt x="140" y="146"/>
                  </a:lnTo>
                  <a:lnTo>
                    <a:pt x="141" y="145"/>
                  </a:lnTo>
                  <a:lnTo>
                    <a:pt x="143" y="143"/>
                  </a:lnTo>
                  <a:lnTo>
                    <a:pt x="141" y="142"/>
                  </a:lnTo>
                  <a:lnTo>
                    <a:pt x="140" y="141"/>
                  </a:lnTo>
                  <a:lnTo>
                    <a:pt x="140" y="142"/>
                  </a:lnTo>
                  <a:lnTo>
                    <a:pt x="138" y="143"/>
                  </a:lnTo>
                  <a:lnTo>
                    <a:pt x="138" y="141"/>
                  </a:lnTo>
                  <a:lnTo>
                    <a:pt x="138" y="140"/>
                  </a:lnTo>
                  <a:lnTo>
                    <a:pt x="138" y="139"/>
                  </a:lnTo>
                  <a:lnTo>
                    <a:pt x="140" y="139"/>
                  </a:lnTo>
                  <a:lnTo>
                    <a:pt x="141" y="139"/>
                  </a:lnTo>
                  <a:lnTo>
                    <a:pt x="141" y="137"/>
                  </a:lnTo>
                  <a:lnTo>
                    <a:pt x="140" y="136"/>
                  </a:lnTo>
                  <a:lnTo>
                    <a:pt x="141" y="136"/>
                  </a:lnTo>
                  <a:lnTo>
                    <a:pt x="140" y="134"/>
                  </a:lnTo>
                  <a:lnTo>
                    <a:pt x="139" y="136"/>
                  </a:lnTo>
                  <a:lnTo>
                    <a:pt x="138" y="135"/>
                  </a:lnTo>
                  <a:lnTo>
                    <a:pt x="137" y="136"/>
                  </a:lnTo>
                  <a:lnTo>
                    <a:pt x="135" y="139"/>
                  </a:lnTo>
                  <a:lnTo>
                    <a:pt x="135" y="140"/>
                  </a:lnTo>
                  <a:lnTo>
                    <a:pt x="134" y="141"/>
                  </a:lnTo>
                  <a:lnTo>
                    <a:pt x="133" y="141"/>
                  </a:lnTo>
                  <a:lnTo>
                    <a:pt x="134" y="139"/>
                  </a:lnTo>
                  <a:lnTo>
                    <a:pt x="133" y="139"/>
                  </a:lnTo>
                  <a:lnTo>
                    <a:pt x="135" y="137"/>
                  </a:lnTo>
                  <a:lnTo>
                    <a:pt x="135" y="136"/>
                  </a:lnTo>
                  <a:lnTo>
                    <a:pt x="135" y="135"/>
                  </a:lnTo>
                  <a:lnTo>
                    <a:pt x="135" y="134"/>
                  </a:lnTo>
                  <a:lnTo>
                    <a:pt x="135" y="133"/>
                  </a:lnTo>
                  <a:lnTo>
                    <a:pt x="137" y="131"/>
                  </a:lnTo>
                  <a:lnTo>
                    <a:pt x="138" y="131"/>
                  </a:lnTo>
                  <a:lnTo>
                    <a:pt x="137" y="130"/>
                  </a:lnTo>
                  <a:lnTo>
                    <a:pt x="135" y="130"/>
                  </a:lnTo>
                  <a:lnTo>
                    <a:pt x="135" y="127"/>
                  </a:lnTo>
                  <a:lnTo>
                    <a:pt x="137" y="128"/>
                  </a:lnTo>
                  <a:lnTo>
                    <a:pt x="138" y="129"/>
                  </a:lnTo>
                  <a:lnTo>
                    <a:pt x="138" y="128"/>
                  </a:lnTo>
                  <a:lnTo>
                    <a:pt x="137" y="125"/>
                  </a:lnTo>
                  <a:lnTo>
                    <a:pt x="135" y="123"/>
                  </a:lnTo>
                  <a:lnTo>
                    <a:pt x="134" y="123"/>
                  </a:lnTo>
                  <a:lnTo>
                    <a:pt x="133" y="124"/>
                  </a:lnTo>
                  <a:lnTo>
                    <a:pt x="133" y="125"/>
                  </a:lnTo>
                  <a:lnTo>
                    <a:pt x="130" y="124"/>
                  </a:lnTo>
                  <a:lnTo>
                    <a:pt x="132" y="124"/>
                  </a:lnTo>
                  <a:lnTo>
                    <a:pt x="130" y="124"/>
                  </a:lnTo>
                  <a:lnTo>
                    <a:pt x="128" y="124"/>
                  </a:lnTo>
                  <a:lnTo>
                    <a:pt x="128" y="123"/>
                  </a:lnTo>
                  <a:lnTo>
                    <a:pt x="129" y="122"/>
                  </a:lnTo>
                  <a:lnTo>
                    <a:pt x="130" y="121"/>
                  </a:lnTo>
                  <a:lnTo>
                    <a:pt x="132" y="121"/>
                  </a:lnTo>
                  <a:lnTo>
                    <a:pt x="133" y="119"/>
                  </a:lnTo>
                  <a:lnTo>
                    <a:pt x="133" y="118"/>
                  </a:lnTo>
                  <a:lnTo>
                    <a:pt x="130" y="119"/>
                  </a:lnTo>
                  <a:lnTo>
                    <a:pt x="128" y="121"/>
                  </a:lnTo>
                  <a:lnTo>
                    <a:pt x="129" y="119"/>
                  </a:lnTo>
                  <a:lnTo>
                    <a:pt x="130" y="118"/>
                  </a:lnTo>
                  <a:lnTo>
                    <a:pt x="133" y="117"/>
                  </a:lnTo>
                  <a:lnTo>
                    <a:pt x="132" y="116"/>
                  </a:lnTo>
                  <a:lnTo>
                    <a:pt x="128" y="116"/>
                  </a:lnTo>
                  <a:lnTo>
                    <a:pt x="127" y="116"/>
                  </a:lnTo>
                  <a:lnTo>
                    <a:pt x="127" y="115"/>
                  </a:lnTo>
                  <a:lnTo>
                    <a:pt x="129" y="115"/>
                  </a:lnTo>
                  <a:lnTo>
                    <a:pt x="132" y="115"/>
                  </a:lnTo>
                  <a:lnTo>
                    <a:pt x="130" y="113"/>
                  </a:lnTo>
                  <a:lnTo>
                    <a:pt x="130" y="111"/>
                  </a:lnTo>
                  <a:lnTo>
                    <a:pt x="129" y="110"/>
                  </a:lnTo>
                  <a:lnTo>
                    <a:pt x="130" y="110"/>
                  </a:lnTo>
                  <a:lnTo>
                    <a:pt x="132" y="111"/>
                  </a:lnTo>
                  <a:lnTo>
                    <a:pt x="133" y="112"/>
                  </a:lnTo>
                  <a:lnTo>
                    <a:pt x="134" y="111"/>
                  </a:lnTo>
                  <a:lnTo>
                    <a:pt x="133" y="110"/>
                  </a:lnTo>
                  <a:lnTo>
                    <a:pt x="134" y="110"/>
                  </a:lnTo>
                  <a:lnTo>
                    <a:pt x="135" y="111"/>
                  </a:lnTo>
                  <a:lnTo>
                    <a:pt x="137" y="112"/>
                  </a:lnTo>
                  <a:lnTo>
                    <a:pt x="135" y="110"/>
                  </a:lnTo>
                  <a:lnTo>
                    <a:pt x="135" y="109"/>
                  </a:lnTo>
                  <a:lnTo>
                    <a:pt x="137" y="109"/>
                  </a:lnTo>
                  <a:lnTo>
                    <a:pt x="138" y="109"/>
                  </a:lnTo>
                  <a:lnTo>
                    <a:pt x="137" y="111"/>
                  </a:lnTo>
                  <a:lnTo>
                    <a:pt x="137" y="112"/>
                  </a:lnTo>
                  <a:lnTo>
                    <a:pt x="138" y="112"/>
                  </a:lnTo>
                  <a:lnTo>
                    <a:pt x="140" y="111"/>
                  </a:lnTo>
                  <a:lnTo>
                    <a:pt x="141" y="112"/>
                  </a:lnTo>
                  <a:lnTo>
                    <a:pt x="140" y="112"/>
                  </a:lnTo>
                  <a:lnTo>
                    <a:pt x="139" y="113"/>
                  </a:lnTo>
                  <a:lnTo>
                    <a:pt x="139" y="115"/>
                  </a:lnTo>
                  <a:lnTo>
                    <a:pt x="140" y="115"/>
                  </a:lnTo>
                  <a:lnTo>
                    <a:pt x="139" y="117"/>
                  </a:lnTo>
                  <a:lnTo>
                    <a:pt x="140" y="117"/>
                  </a:lnTo>
                  <a:lnTo>
                    <a:pt x="143" y="118"/>
                  </a:lnTo>
                  <a:lnTo>
                    <a:pt x="144" y="118"/>
                  </a:lnTo>
                  <a:lnTo>
                    <a:pt x="145" y="118"/>
                  </a:lnTo>
                  <a:lnTo>
                    <a:pt x="143" y="119"/>
                  </a:lnTo>
                  <a:lnTo>
                    <a:pt x="144" y="121"/>
                  </a:lnTo>
                  <a:lnTo>
                    <a:pt x="145" y="122"/>
                  </a:lnTo>
                  <a:lnTo>
                    <a:pt x="146" y="123"/>
                  </a:lnTo>
                  <a:lnTo>
                    <a:pt x="146" y="121"/>
                  </a:lnTo>
                  <a:lnTo>
                    <a:pt x="146" y="118"/>
                  </a:lnTo>
                  <a:lnTo>
                    <a:pt x="147" y="118"/>
                  </a:lnTo>
                  <a:lnTo>
                    <a:pt x="147" y="116"/>
                  </a:lnTo>
                  <a:lnTo>
                    <a:pt x="149" y="116"/>
                  </a:lnTo>
                  <a:lnTo>
                    <a:pt x="149" y="117"/>
                  </a:lnTo>
                  <a:lnTo>
                    <a:pt x="150" y="118"/>
                  </a:lnTo>
                  <a:lnTo>
                    <a:pt x="149" y="121"/>
                  </a:lnTo>
                  <a:lnTo>
                    <a:pt x="151" y="123"/>
                  </a:lnTo>
                  <a:lnTo>
                    <a:pt x="151" y="121"/>
                  </a:lnTo>
                  <a:lnTo>
                    <a:pt x="151" y="118"/>
                  </a:lnTo>
                  <a:lnTo>
                    <a:pt x="152" y="117"/>
                  </a:lnTo>
                  <a:lnTo>
                    <a:pt x="152" y="116"/>
                  </a:lnTo>
                  <a:lnTo>
                    <a:pt x="153" y="115"/>
                  </a:lnTo>
                  <a:lnTo>
                    <a:pt x="157" y="115"/>
                  </a:lnTo>
                  <a:lnTo>
                    <a:pt x="157" y="116"/>
                  </a:lnTo>
                  <a:lnTo>
                    <a:pt x="157" y="117"/>
                  </a:lnTo>
                  <a:lnTo>
                    <a:pt x="158" y="118"/>
                  </a:lnTo>
                  <a:lnTo>
                    <a:pt x="159" y="119"/>
                  </a:lnTo>
                  <a:lnTo>
                    <a:pt x="158" y="121"/>
                  </a:lnTo>
                  <a:lnTo>
                    <a:pt x="158" y="122"/>
                  </a:lnTo>
                  <a:lnTo>
                    <a:pt x="158" y="123"/>
                  </a:lnTo>
                  <a:lnTo>
                    <a:pt x="161" y="122"/>
                  </a:lnTo>
                  <a:lnTo>
                    <a:pt x="162" y="122"/>
                  </a:lnTo>
                  <a:lnTo>
                    <a:pt x="162" y="124"/>
                  </a:lnTo>
                  <a:lnTo>
                    <a:pt x="163" y="124"/>
                  </a:lnTo>
                  <a:lnTo>
                    <a:pt x="164" y="125"/>
                  </a:lnTo>
                  <a:lnTo>
                    <a:pt x="165" y="127"/>
                  </a:lnTo>
                  <a:lnTo>
                    <a:pt x="167" y="127"/>
                  </a:lnTo>
                  <a:lnTo>
                    <a:pt x="169" y="128"/>
                  </a:lnTo>
                  <a:lnTo>
                    <a:pt x="169" y="127"/>
                  </a:lnTo>
                  <a:lnTo>
                    <a:pt x="168" y="124"/>
                  </a:lnTo>
                  <a:lnTo>
                    <a:pt x="167" y="124"/>
                  </a:lnTo>
                  <a:lnTo>
                    <a:pt x="165" y="123"/>
                  </a:lnTo>
                  <a:lnTo>
                    <a:pt x="165" y="122"/>
                  </a:lnTo>
                  <a:lnTo>
                    <a:pt x="164" y="119"/>
                  </a:lnTo>
                  <a:lnTo>
                    <a:pt x="164" y="118"/>
                  </a:lnTo>
                  <a:lnTo>
                    <a:pt x="165" y="117"/>
                  </a:lnTo>
                  <a:lnTo>
                    <a:pt x="165" y="116"/>
                  </a:lnTo>
                  <a:lnTo>
                    <a:pt x="165" y="112"/>
                  </a:lnTo>
                  <a:lnTo>
                    <a:pt x="165" y="111"/>
                  </a:lnTo>
                  <a:lnTo>
                    <a:pt x="165" y="112"/>
                  </a:lnTo>
                  <a:lnTo>
                    <a:pt x="167" y="116"/>
                  </a:lnTo>
                  <a:lnTo>
                    <a:pt x="167" y="117"/>
                  </a:lnTo>
                  <a:lnTo>
                    <a:pt x="168" y="116"/>
                  </a:lnTo>
                  <a:lnTo>
                    <a:pt x="169" y="116"/>
                  </a:lnTo>
                  <a:lnTo>
                    <a:pt x="170" y="118"/>
                  </a:lnTo>
                  <a:lnTo>
                    <a:pt x="171" y="118"/>
                  </a:lnTo>
                  <a:lnTo>
                    <a:pt x="173" y="118"/>
                  </a:lnTo>
                  <a:lnTo>
                    <a:pt x="174" y="117"/>
                  </a:lnTo>
                  <a:lnTo>
                    <a:pt x="174" y="116"/>
                  </a:lnTo>
                  <a:lnTo>
                    <a:pt x="174" y="115"/>
                  </a:lnTo>
                  <a:lnTo>
                    <a:pt x="173" y="115"/>
                  </a:lnTo>
                  <a:lnTo>
                    <a:pt x="173" y="113"/>
                  </a:lnTo>
                  <a:lnTo>
                    <a:pt x="171" y="109"/>
                  </a:lnTo>
                  <a:lnTo>
                    <a:pt x="170" y="111"/>
                  </a:lnTo>
                  <a:lnTo>
                    <a:pt x="169" y="110"/>
                  </a:lnTo>
                  <a:lnTo>
                    <a:pt x="168" y="110"/>
                  </a:lnTo>
                  <a:lnTo>
                    <a:pt x="168" y="109"/>
                  </a:lnTo>
                  <a:lnTo>
                    <a:pt x="167" y="110"/>
                  </a:lnTo>
                  <a:lnTo>
                    <a:pt x="165" y="110"/>
                  </a:lnTo>
                  <a:lnTo>
                    <a:pt x="165" y="109"/>
                  </a:lnTo>
                  <a:lnTo>
                    <a:pt x="168" y="106"/>
                  </a:lnTo>
                  <a:lnTo>
                    <a:pt x="167" y="105"/>
                  </a:lnTo>
                  <a:lnTo>
                    <a:pt x="165" y="105"/>
                  </a:lnTo>
                  <a:lnTo>
                    <a:pt x="164" y="106"/>
                  </a:lnTo>
                  <a:lnTo>
                    <a:pt x="163" y="109"/>
                  </a:lnTo>
                  <a:lnTo>
                    <a:pt x="161" y="109"/>
                  </a:lnTo>
                  <a:lnTo>
                    <a:pt x="162" y="107"/>
                  </a:lnTo>
                  <a:lnTo>
                    <a:pt x="163" y="105"/>
                  </a:lnTo>
                  <a:lnTo>
                    <a:pt x="164" y="104"/>
                  </a:lnTo>
                  <a:lnTo>
                    <a:pt x="164" y="103"/>
                  </a:lnTo>
                  <a:lnTo>
                    <a:pt x="162" y="101"/>
                  </a:lnTo>
                  <a:lnTo>
                    <a:pt x="163" y="100"/>
                  </a:lnTo>
                  <a:lnTo>
                    <a:pt x="164" y="99"/>
                  </a:lnTo>
                  <a:lnTo>
                    <a:pt x="165" y="99"/>
                  </a:lnTo>
                  <a:lnTo>
                    <a:pt x="167" y="98"/>
                  </a:lnTo>
                  <a:lnTo>
                    <a:pt x="168" y="95"/>
                  </a:lnTo>
                  <a:lnTo>
                    <a:pt x="169" y="95"/>
                  </a:lnTo>
                  <a:lnTo>
                    <a:pt x="169" y="93"/>
                  </a:lnTo>
                  <a:lnTo>
                    <a:pt x="170" y="92"/>
                  </a:lnTo>
                  <a:lnTo>
                    <a:pt x="170" y="89"/>
                  </a:lnTo>
                  <a:lnTo>
                    <a:pt x="169" y="89"/>
                  </a:lnTo>
                  <a:lnTo>
                    <a:pt x="168" y="88"/>
                  </a:lnTo>
                  <a:lnTo>
                    <a:pt x="168" y="87"/>
                  </a:lnTo>
                  <a:lnTo>
                    <a:pt x="168" y="86"/>
                  </a:lnTo>
                  <a:lnTo>
                    <a:pt x="169" y="85"/>
                  </a:lnTo>
                  <a:lnTo>
                    <a:pt x="167" y="85"/>
                  </a:lnTo>
                  <a:lnTo>
                    <a:pt x="165" y="86"/>
                  </a:lnTo>
                  <a:lnTo>
                    <a:pt x="164" y="85"/>
                  </a:lnTo>
                  <a:lnTo>
                    <a:pt x="167" y="83"/>
                  </a:lnTo>
                  <a:lnTo>
                    <a:pt x="167" y="82"/>
                  </a:lnTo>
                  <a:lnTo>
                    <a:pt x="167" y="81"/>
                  </a:lnTo>
                  <a:lnTo>
                    <a:pt x="165" y="79"/>
                  </a:lnTo>
                  <a:lnTo>
                    <a:pt x="164" y="79"/>
                  </a:lnTo>
                  <a:lnTo>
                    <a:pt x="164" y="76"/>
                  </a:lnTo>
                  <a:lnTo>
                    <a:pt x="165" y="76"/>
                  </a:lnTo>
                  <a:lnTo>
                    <a:pt x="165" y="75"/>
                  </a:lnTo>
                  <a:lnTo>
                    <a:pt x="165" y="74"/>
                  </a:lnTo>
                  <a:lnTo>
                    <a:pt x="167" y="73"/>
                  </a:lnTo>
                  <a:lnTo>
                    <a:pt x="168" y="70"/>
                  </a:lnTo>
                  <a:lnTo>
                    <a:pt x="169" y="69"/>
                  </a:lnTo>
                  <a:lnTo>
                    <a:pt x="167" y="74"/>
                  </a:lnTo>
                  <a:lnTo>
                    <a:pt x="168" y="75"/>
                  </a:lnTo>
                  <a:lnTo>
                    <a:pt x="169" y="74"/>
                  </a:lnTo>
                  <a:lnTo>
                    <a:pt x="170" y="74"/>
                  </a:lnTo>
                  <a:lnTo>
                    <a:pt x="169" y="76"/>
                  </a:lnTo>
                  <a:lnTo>
                    <a:pt x="170" y="76"/>
                  </a:lnTo>
                  <a:lnTo>
                    <a:pt x="173" y="76"/>
                  </a:lnTo>
                  <a:lnTo>
                    <a:pt x="173" y="77"/>
                  </a:lnTo>
                  <a:lnTo>
                    <a:pt x="175" y="77"/>
                  </a:lnTo>
                  <a:lnTo>
                    <a:pt x="174" y="80"/>
                  </a:lnTo>
                  <a:lnTo>
                    <a:pt x="176" y="80"/>
                  </a:lnTo>
                  <a:lnTo>
                    <a:pt x="177" y="81"/>
                  </a:lnTo>
                  <a:lnTo>
                    <a:pt x="179" y="82"/>
                  </a:lnTo>
                  <a:lnTo>
                    <a:pt x="181" y="82"/>
                  </a:lnTo>
                  <a:lnTo>
                    <a:pt x="179" y="83"/>
                  </a:lnTo>
                  <a:lnTo>
                    <a:pt x="180" y="85"/>
                  </a:lnTo>
                  <a:lnTo>
                    <a:pt x="181" y="85"/>
                  </a:lnTo>
                  <a:lnTo>
                    <a:pt x="182" y="85"/>
                  </a:lnTo>
                  <a:lnTo>
                    <a:pt x="182" y="83"/>
                  </a:lnTo>
                  <a:lnTo>
                    <a:pt x="185" y="82"/>
                  </a:lnTo>
                  <a:lnTo>
                    <a:pt x="186" y="82"/>
                  </a:lnTo>
                  <a:lnTo>
                    <a:pt x="187" y="81"/>
                  </a:lnTo>
                  <a:lnTo>
                    <a:pt x="189" y="81"/>
                  </a:lnTo>
                  <a:lnTo>
                    <a:pt x="191" y="80"/>
                  </a:lnTo>
                  <a:lnTo>
                    <a:pt x="192" y="80"/>
                  </a:lnTo>
                  <a:lnTo>
                    <a:pt x="193" y="81"/>
                  </a:lnTo>
                  <a:lnTo>
                    <a:pt x="197" y="81"/>
                  </a:lnTo>
                  <a:lnTo>
                    <a:pt x="198" y="82"/>
                  </a:lnTo>
                  <a:lnTo>
                    <a:pt x="196" y="83"/>
                  </a:lnTo>
                  <a:lnTo>
                    <a:pt x="194" y="83"/>
                  </a:lnTo>
                  <a:lnTo>
                    <a:pt x="193" y="83"/>
                  </a:lnTo>
                  <a:lnTo>
                    <a:pt x="192" y="85"/>
                  </a:lnTo>
                  <a:lnTo>
                    <a:pt x="193" y="86"/>
                  </a:lnTo>
                  <a:lnTo>
                    <a:pt x="193" y="88"/>
                  </a:lnTo>
                  <a:lnTo>
                    <a:pt x="193" y="89"/>
                  </a:lnTo>
                  <a:lnTo>
                    <a:pt x="196" y="89"/>
                  </a:lnTo>
                  <a:lnTo>
                    <a:pt x="197" y="87"/>
                  </a:lnTo>
                  <a:lnTo>
                    <a:pt x="198" y="85"/>
                  </a:lnTo>
                  <a:lnTo>
                    <a:pt x="199" y="83"/>
                  </a:lnTo>
                  <a:lnTo>
                    <a:pt x="200" y="82"/>
                  </a:lnTo>
                  <a:lnTo>
                    <a:pt x="200" y="81"/>
                  </a:lnTo>
                  <a:lnTo>
                    <a:pt x="198" y="80"/>
                  </a:lnTo>
                  <a:lnTo>
                    <a:pt x="194" y="79"/>
                  </a:lnTo>
                  <a:lnTo>
                    <a:pt x="193" y="79"/>
                  </a:lnTo>
                  <a:lnTo>
                    <a:pt x="193" y="77"/>
                  </a:lnTo>
                  <a:lnTo>
                    <a:pt x="192" y="76"/>
                  </a:lnTo>
                  <a:lnTo>
                    <a:pt x="191" y="76"/>
                  </a:lnTo>
                  <a:lnTo>
                    <a:pt x="191" y="77"/>
                  </a:lnTo>
                  <a:lnTo>
                    <a:pt x="191" y="79"/>
                  </a:lnTo>
                  <a:lnTo>
                    <a:pt x="189" y="79"/>
                  </a:lnTo>
                  <a:lnTo>
                    <a:pt x="188" y="80"/>
                  </a:lnTo>
                  <a:lnTo>
                    <a:pt x="187" y="80"/>
                  </a:lnTo>
                  <a:lnTo>
                    <a:pt x="187" y="77"/>
                  </a:lnTo>
                  <a:lnTo>
                    <a:pt x="188" y="76"/>
                  </a:lnTo>
                  <a:lnTo>
                    <a:pt x="188" y="75"/>
                  </a:lnTo>
                  <a:lnTo>
                    <a:pt x="187" y="76"/>
                  </a:lnTo>
                  <a:lnTo>
                    <a:pt x="186" y="77"/>
                  </a:lnTo>
                  <a:lnTo>
                    <a:pt x="185" y="79"/>
                  </a:lnTo>
                  <a:lnTo>
                    <a:pt x="183" y="77"/>
                  </a:lnTo>
                  <a:lnTo>
                    <a:pt x="183" y="76"/>
                  </a:lnTo>
                  <a:lnTo>
                    <a:pt x="185" y="75"/>
                  </a:lnTo>
                  <a:lnTo>
                    <a:pt x="182" y="76"/>
                  </a:lnTo>
                  <a:lnTo>
                    <a:pt x="182" y="75"/>
                  </a:lnTo>
                  <a:lnTo>
                    <a:pt x="182" y="74"/>
                  </a:lnTo>
                  <a:lnTo>
                    <a:pt x="183" y="73"/>
                  </a:lnTo>
                  <a:lnTo>
                    <a:pt x="182" y="71"/>
                  </a:lnTo>
                  <a:lnTo>
                    <a:pt x="181" y="71"/>
                  </a:lnTo>
                  <a:lnTo>
                    <a:pt x="180" y="71"/>
                  </a:lnTo>
                  <a:lnTo>
                    <a:pt x="181" y="70"/>
                  </a:lnTo>
                  <a:lnTo>
                    <a:pt x="179" y="70"/>
                  </a:lnTo>
                  <a:lnTo>
                    <a:pt x="180" y="69"/>
                  </a:lnTo>
                  <a:lnTo>
                    <a:pt x="181" y="68"/>
                  </a:lnTo>
                  <a:lnTo>
                    <a:pt x="179" y="65"/>
                  </a:lnTo>
                  <a:lnTo>
                    <a:pt x="181" y="65"/>
                  </a:lnTo>
                  <a:lnTo>
                    <a:pt x="182" y="65"/>
                  </a:lnTo>
                  <a:lnTo>
                    <a:pt x="183" y="64"/>
                  </a:lnTo>
                  <a:lnTo>
                    <a:pt x="185" y="65"/>
                  </a:lnTo>
                  <a:lnTo>
                    <a:pt x="186" y="64"/>
                  </a:lnTo>
                  <a:lnTo>
                    <a:pt x="187" y="64"/>
                  </a:lnTo>
                  <a:lnTo>
                    <a:pt x="187" y="65"/>
                  </a:lnTo>
                  <a:lnTo>
                    <a:pt x="188" y="65"/>
                  </a:lnTo>
                  <a:lnTo>
                    <a:pt x="188" y="67"/>
                  </a:lnTo>
                  <a:lnTo>
                    <a:pt x="191" y="67"/>
                  </a:lnTo>
                  <a:lnTo>
                    <a:pt x="192" y="68"/>
                  </a:lnTo>
                  <a:lnTo>
                    <a:pt x="192" y="69"/>
                  </a:lnTo>
                  <a:lnTo>
                    <a:pt x="193" y="69"/>
                  </a:lnTo>
                  <a:lnTo>
                    <a:pt x="194" y="70"/>
                  </a:lnTo>
                  <a:lnTo>
                    <a:pt x="196" y="71"/>
                  </a:lnTo>
                  <a:lnTo>
                    <a:pt x="197" y="71"/>
                  </a:lnTo>
                  <a:lnTo>
                    <a:pt x="197" y="70"/>
                  </a:lnTo>
                  <a:lnTo>
                    <a:pt x="198" y="69"/>
                  </a:lnTo>
                  <a:lnTo>
                    <a:pt x="198" y="68"/>
                  </a:lnTo>
                  <a:lnTo>
                    <a:pt x="196" y="69"/>
                  </a:lnTo>
                  <a:lnTo>
                    <a:pt x="197" y="68"/>
                  </a:lnTo>
                  <a:lnTo>
                    <a:pt x="197" y="67"/>
                  </a:lnTo>
                  <a:lnTo>
                    <a:pt x="196" y="65"/>
                  </a:lnTo>
                  <a:lnTo>
                    <a:pt x="196" y="64"/>
                  </a:lnTo>
                  <a:lnTo>
                    <a:pt x="197" y="65"/>
                  </a:lnTo>
                  <a:lnTo>
                    <a:pt x="198" y="64"/>
                  </a:lnTo>
                  <a:lnTo>
                    <a:pt x="199" y="63"/>
                  </a:lnTo>
                  <a:lnTo>
                    <a:pt x="200" y="62"/>
                  </a:lnTo>
                  <a:lnTo>
                    <a:pt x="200" y="61"/>
                  </a:lnTo>
                  <a:lnTo>
                    <a:pt x="199" y="62"/>
                  </a:lnTo>
                  <a:lnTo>
                    <a:pt x="198" y="63"/>
                  </a:lnTo>
                  <a:lnTo>
                    <a:pt x="198" y="62"/>
                  </a:lnTo>
                  <a:lnTo>
                    <a:pt x="198" y="58"/>
                  </a:lnTo>
                  <a:lnTo>
                    <a:pt x="199" y="58"/>
                  </a:lnTo>
                  <a:lnTo>
                    <a:pt x="200" y="59"/>
                  </a:lnTo>
                  <a:lnTo>
                    <a:pt x="202" y="59"/>
                  </a:lnTo>
                  <a:lnTo>
                    <a:pt x="199" y="57"/>
                  </a:lnTo>
                  <a:lnTo>
                    <a:pt x="199" y="56"/>
                  </a:lnTo>
                  <a:lnTo>
                    <a:pt x="199" y="55"/>
                  </a:lnTo>
                  <a:lnTo>
                    <a:pt x="200" y="56"/>
                  </a:lnTo>
                  <a:lnTo>
                    <a:pt x="202" y="56"/>
                  </a:lnTo>
                  <a:lnTo>
                    <a:pt x="203" y="55"/>
                  </a:lnTo>
                  <a:lnTo>
                    <a:pt x="204" y="57"/>
                  </a:lnTo>
                  <a:lnTo>
                    <a:pt x="205" y="56"/>
                  </a:lnTo>
                  <a:lnTo>
                    <a:pt x="205" y="57"/>
                  </a:lnTo>
                  <a:lnTo>
                    <a:pt x="205" y="55"/>
                  </a:lnTo>
                  <a:lnTo>
                    <a:pt x="208" y="55"/>
                  </a:lnTo>
                  <a:lnTo>
                    <a:pt x="209" y="56"/>
                  </a:lnTo>
                  <a:lnTo>
                    <a:pt x="209" y="53"/>
                  </a:lnTo>
                  <a:lnTo>
                    <a:pt x="209" y="52"/>
                  </a:lnTo>
                  <a:lnTo>
                    <a:pt x="210" y="51"/>
                  </a:lnTo>
                  <a:lnTo>
                    <a:pt x="211" y="51"/>
                  </a:lnTo>
                  <a:lnTo>
                    <a:pt x="210" y="50"/>
                  </a:lnTo>
                  <a:lnTo>
                    <a:pt x="209" y="47"/>
                  </a:lnTo>
                  <a:lnTo>
                    <a:pt x="210" y="47"/>
                  </a:lnTo>
                  <a:lnTo>
                    <a:pt x="211" y="50"/>
                  </a:lnTo>
                  <a:lnTo>
                    <a:pt x="212" y="51"/>
                  </a:lnTo>
                  <a:lnTo>
                    <a:pt x="214" y="52"/>
                  </a:lnTo>
                  <a:lnTo>
                    <a:pt x="214" y="50"/>
                  </a:lnTo>
                  <a:lnTo>
                    <a:pt x="214" y="47"/>
                  </a:lnTo>
                  <a:lnTo>
                    <a:pt x="214" y="45"/>
                  </a:lnTo>
                  <a:lnTo>
                    <a:pt x="215" y="45"/>
                  </a:lnTo>
                  <a:lnTo>
                    <a:pt x="217" y="46"/>
                  </a:lnTo>
                  <a:lnTo>
                    <a:pt x="218" y="46"/>
                  </a:lnTo>
                  <a:lnTo>
                    <a:pt x="217" y="47"/>
                  </a:lnTo>
                  <a:lnTo>
                    <a:pt x="216" y="50"/>
                  </a:lnTo>
                  <a:lnTo>
                    <a:pt x="215" y="51"/>
                  </a:lnTo>
                  <a:lnTo>
                    <a:pt x="215" y="52"/>
                  </a:lnTo>
                  <a:lnTo>
                    <a:pt x="216" y="53"/>
                  </a:lnTo>
                  <a:lnTo>
                    <a:pt x="217" y="53"/>
                  </a:lnTo>
                  <a:lnTo>
                    <a:pt x="217" y="55"/>
                  </a:lnTo>
                  <a:lnTo>
                    <a:pt x="217" y="56"/>
                  </a:lnTo>
                  <a:lnTo>
                    <a:pt x="220" y="56"/>
                  </a:lnTo>
                  <a:lnTo>
                    <a:pt x="221" y="56"/>
                  </a:lnTo>
                  <a:lnTo>
                    <a:pt x="220" y="57"/>
                  </a:lnTo>
                  <a:lnTo>
                    <a:pt x="218" y="57"/>
                  </a:lnTo>
                  <a:lnTo>
                    <a:pt x="220" y="58"/>
                  </a:lnTo>
                  <a:lnTo>
                    <a:pt x="220" y="59"/>
                  </a:lnTo>
                  <a:lnTo>
                    <a:pt x="222" y="61"/>
                  </a:lnTo>
                  <a:lnTo>
                    <a:pt x="221" y="62"/>
                  </a:lnTo>
                  <a:lnTo>
                    <a:pt x="222" y="62"/>
                  </a:lnTo>
                  <a:lnTo>
                    <a:pt x="221" y="63"/>
                  </a:lnTo>
                  <a:lnTo>
                    <a:pt x="220" y="64"/>
                  </a:lnTo>
                  <a:lnTo>
                    <a:pt x="220" y="65"/>
                  </a:lnTo>
                  <a:lnTo>
                    <a:pt x="221" y="65"/>
                  </a:lnTo>
                  <a:lnTo>
                    <a:pt x="222" y="68"/>
                  </a:lnTo>
                  <a:lnTo>
                    <a:pt x="223" y="68"/>
                  </a:lnTo>
                  <a:lnTo>
                    <a:pt x="224" y="68"/>
                  </a:lnTo>
                  <a:lnTo>
                    <a:pt x="223" y="70"/>
                  </a:lnTo>
                  <a:lnTo>
                    <a:pt x="222" y="71"/>
                  </a:lnTo>
                  <a:lnTo>
                    <a:pt x="223" y="71"/>
                  </a:lnTo>
                  <a:lnTo>
                    <a:pt x="226" y="71"/>
                  </a:lnTo>
                  <a:lnTo>
                    <a:pt x="224" y="74"/>
                  </a:lnTo>
                  <a:lnTo>
                    <a:pt x="224" y="75"/>
                  </a:lnTo>
                  <a:lnTo>
                    <a:pt x="226" y="76"/>
                  </a:lnTo>
                  <a:lnTo>
                    <a:pt x="226" y="79"/>
                  </a:lnTo>
                  <a:lnTo>
                    <a:pt x="227" y="79"/>
                  </a:lnTo>
                  <a:lnTo>
                    <a:pt x="227" y="80"/>
                  </a:lnTo>
                  <a:lnTo>
                    <a:pt x="228" y="80"/>
                  </a:lnTo>
                  <a:lnTo>
                    <a:pt x="229" y="79"/>
                  </a:lnTo>
                  <a:lnTo>
                    <a:pt x="232" y="77"/>
                  </a:lnTo>
                  <a:lnTo>
                    <a:pt x="234" y="76"/>
                  </a:lnTo>
                  <a:lnTo>
                    <a:pt x="235" y="75"/>
                  </a:lnTo>
                  <a:lnTo>
                    <a:pt x="235" y="74"/>
                  </a:lnTo>
                  <a:lnTo>
                    <a:pt x="236" y="71"/>
                  </a:lnTo>
                  <a:lnTo>
                    <a:pt x="238" y="70"/>
                  </a:lnTo>
                  <a:lnTo>
                    <a:pt x="238" y="67"/>
                  </a:lnTo>
                  <a:lnTo>
                    <a:pt x="236" y="68"/>
                  </a:lnTo>
                  <a:lnTo>
                    <a:pt x="235" y="69"/>
                  </a:lnTo>
                  <a:lnTo>
                    <a:pt x="234" y="70"/>
                  </a:lnTo>
                  <a:lnTo>
                    <a:pt x="234" y="69"/>
                  </a:lnTo>
                  <a:lnTo>
                    <a:pt x="233" y="69"/>
                  </a:lnTo>
                  <a:lnTo>
                    <a:pt x="233" y="68"/>
                  </a:lnTo>
                  <a:lnTo>
                    <a:pt x="234" y="68"/>
                  </a:lnTo>
                  <a:lnTo>
                    <a:pt x="235" y="67"/>
                  </a:lnTo>
                  <a:lnTo>
                    <a:pt x="236" y="65"/>
                  </a:lnTo>
                  <a:lnTo>
                    <a:pt x="235" y="65"/>
                  </a:lnTo>
                  <a:lnTo>
                    <a:pt x="234" y="64"/>
                  </a:lnTo>
                  <a:lnTo>
                    <a:pt x="233" y="65"/>
                  </a:lnTo>
                  <a:lnTo>
                    <a:pt x="233" y="64"/>
                  </a:lnTo>
                  <a:lnTo>
                    <a:pt x="233" y="63"/>
                  </a:lnTo>
                  <a:lnTo>
                    <a:pt x="230" y="63"/>
                  </a:lnTo>
                  <a:lnTo>
                    <a:pt x="229" y="64"/>
                  </a:lnTo>
                  <a:lnTo>
                    <a:pt x="229" y="65"/>
                  </a:lnTo>
                  <a:lnTo>
                    <a:pt x="229" y="64"/>
                  </a:lnTo>
                  <a:lnTo>
                    <a:pt x="229" y="63"/>
                  </a:lnTo>
                  <a:lnTo>
                    <a:pt x="229" y="62"/>
                  </a:lnTo>
                  <a:lnTo>
                    <a:pt x="229" y="61"/>
                  </a:lnTo>
                  <a:lnTo>
                    <a:pt x="228" y="58"/>
                  </a:lnTo>
                  <a:lnTo>
                    <a:pt x="226" y="59"/>
                  </a:lnTo>
                  <a:lnTo>
                    <a:pt x="224" y="59"/>
                  </a:lnTo>
                  <a:lnTo>
                    <a:pt x="226" y="58"/>
                  </a:lnTo>
                  <a:lnTo>
                    <a:pt x="226" y="57"/>
                  </a:lnTo>
                  <a:lnTo>
                    <a:pt x="226" y="56"/>
                  </a:lnTo>
                  <a:lnTo>
                    <a:pt x="223" y="55"/>
                  </a:lnTo>
                  <a:lnTo>
                    <a:pt x="223" y="53"/>
                  </a:lnTo>
                  <a:lnTo>
                    <a:pt x="224" y="53"/>
                  </a:lnTo>
                  <a:lnTo>
                    <a:pt x="226" y="53"/>
                  </a:lnTo>
                  <a:lnTo>
                    <a:pt x="226" y="55"/>
                  </a:lnTo>
                  <a:lnTo>
                    <a:pt x="227" y="56"/>
                  </a:lnTo>
                  <a:lnTo>
                    <a:pt x="228" y="55"/>
                  </a:lnTo>
                  <a:lnTo>
                    <a:pt x="228" y="57"/>
                  </a:lnTo>
                  <a:lnTo>
                    <a:pt x="229" y="57"/>
                  </a:lnTo>
                  <a:lnTo>
                    <a:pt x="229" y="58"/>
                  </a:lnTo>
                  <a:lnTo>
                    <a:pt x="230" y="59"/>
                  </a:lnTo>
                  <a:lnTo>
                    <a:pt x="232" y="61"/>
                  </a:lnTo>
                  <a:lnTo>
                    <a:pt x="233" y="59"/>
                  </a:lnTo>
                  <a:lnTo>
                    <a:pt x="234" y="59"/>
                  </a:lnTo>
                  <a:lnTo>
                    <a:pt x="235" y="58"/>
                  </a:lnTo>
                  <a:lnTo>
                    <a:pt x="235" y="57"/>
                  </a:lnTo>
                  <a:lnTo>
                    <a:pt x="233" y="57"/>
                  </a:lnTo>
                  <a:lnTo>
                    <a:pt x="234" y="56"/>
                  </a:lnTo>
                  <a:lnTo>
                    <a:pt x="233" y="55"/>
                  </a:lnTo>
                  <a:lnTo>
                    <a:pt x="234" y="55"/>
                  </a:lnTo>
                  <a:lnTo>
                    <a:pt x="234" y="53"/>
                  </a:lnTo>
                  <a:lnTo>
                    <a:pt x="234" y="52"/>
                  </a:lnTo>
                  <a:lnTo>
                    <a:pt x="233" y="51"/>
                  </a:lnTo>
                  <a:lnTo>
                    <a:pt x="232" y="51"/>
                  </a:lnTo>
                  <a:lnTo>
                    <a:pt x="233" y="50"/>
                  </a:lnTo>
                  <a:lnTo>
                    <a:pt x="232" y="49"/>
                  </a:lnTo>
                  <a:lnTo>
                    <a:pt x="230" y="47"/>
                  </a:lnTo>
                  <a:lnTo>
                    <a:pt x="228" y="47"/>
                  </a:lnTo>
                  <a:lnTo>
                    <a:pt x="228" y="46"/>
                  </a:lnTo>
                  <a:lnTo>
                    <a:pt x="230" y="45"/>
                  </a:lnTo>
                  <a:lnTo>
                    <a:pt x="229" y="44"/>
                  </a:lnTo>
                  <a:lnTo>
                    <a:pt x="227" y="41"/>
                  </a:lnTo>
                  <a:lnTo>
                    <a:pt x="226" y="41"/>
                  </a:lnTo>
                  <a:lnTo>
                    <a:pt x="228" y="41"/>
                  </a:lnTo>
                  <a:lnTo>
                    <a:pt x="230" y="39"/>
                  </a:lnTo>
                  <a:lnTo>
                    <a:pt x="230" y="38"/>
                  </a:lnTo>
                  <a:lnTo>
                    <a:pt x="232" y="38"/>
                  </a:lnTo>
                  <a:lnTo>
                    <a:pt x="232" y="40"/>
                  </a:lnTo>
                  <a:lnTo>
                    <a:pt x="232" y="43"/>
                  </a:lnTo>
                  <a:lnTo>
                    <a:pt x="233" y="41"/>
                  </a:lnTo>
                  <a:lnTo>
                    <a:pt x="232" y="44"/>
                  </a:lnTo>
                  <a:lnTo>
                    <a:pt x="233" y="45"/>
                  </a:lnTo>
                  <a:lnTo>
                    <a:pt x="235" y="45"/>
                  </a:lnTo>
                  <a:lnTo>
                    <a:pt x="235" y="46"/>
                  </a:lnTo>
                  <a:lnTo>
                    <a:pt x="235" y="47"/>
                  </a:lnTo>
                  <a:lnTo>
                    <a:pt x="236" y="47"/>
                  </a:lnTo>
                  <a:lnTo>
                    <a:pt x="236" y="49"/>
                  </a:lnTo>
                  <a:lnTo>
                    <a:pt x="238" y="49"/>
                  </a:lnTo>
                  <a:lnTo>
                    <a:pt x="238" y="51"/>
                  </a:lnTo>
                  <a:lnTo>
                    <a:pt x="239" y="50"/>
                  </a:lnTo>
                  <a:lnTo>
                    <a:pt x="240" y="50"/>
                  </a:lnTo>
                  <a:lnTo>
                    <a:pt x="240" y="52"/>
                  </a:lnTo>
                  <a:lnTo>
                    <a:pt x="241" y="52"/>
                  </a:lnTo>
                  <a:lnTo>
                    <a:pt x="241" y="53"/>
                  </a:lnTo>
                  <a:lnTo>
                    <a:pt x="242" y="55"/>
                  </a:lnTo>
                  <a:lnTo>
                    <a:pt x="241" y="58"/>
                  </a:lnTo>
                  <a:lnTo>
                    <a:pt x="242" y="56"/>
                  </a:lnTo>
                  <a:lnTo>
                    <a:pt x="244" y="56"/>
                  </a:lnTo>
                  <a:lnTo>
                    <a:pt x="246" y="57"/>
                  </a:lnTo>
                  <a:lnTo>
                    <a:pt x="247" y="56"/>
                  </a:lnTo>
                  <a:lnTo>
                    <a:pt x="250" y="55"/>
                  </a:lnTo>
                  <a:lnTo>
                    <a:pt x="250" y="56"/>
                  </a:lnTo>
                  <a:lnTo>
                    <a:pt x="250" y="58"/>
                  </a:lnTo>
                  <a:lnTo>
                    <a:pt x="252" y="58"/>
                  </a:lnTo>
                  <a:lnTo>
                    <a:pt x="252" y="59"/>
                  </a:lnTo>
                  <a:lnTo>
                    <a:pt x="251" y="61"/>
                  </a:lnTo>
                  <a:lnTo>
                    <a:pt x="252" y="62"/>
                  </a:lnTo>
                  <a:lnTo>
                    <a:pt x="251" y="62"/>
                  </a:lnTo>
                  <a:lnTo>
                    <a:pt x="251" y="63"/>
                  </a:lnTo>
                  <a:lnTo>
                    <a:pt x="250" y="63"/>
                  </a:lnTo>
                  <a:lnTo>
                    <a:pt x="250" y="64"/>
                  </a:lnTo>
                  <a:lnTo>
                    <a:pt x="251" y="64"/>
                  </a:lnTo>
                  <a:lnTo>
                    <a:pt x="252" y="67"/>
                  </a:lnTo>
                  <a:lnTo>
                    <a:pt x="251" y="68"/>
                  </a:lnTo>
                  <a:lnTo>
                    <a:pt x="253" y="69"/>
                  </a:lnTo>
                  <a:lnTo>
                    <a:pt x="256" y="69"/>
                  </a:lnTo>
                  <a:lnTo>
                    <a:pt x="255" y="68"/>
                  </a:lnTo>
                  <a:lnTo>
                    <a:pt x="256" y="68"/>
                  </a:lnTo>
                  <a:lnTo>
                    <a:pt x="257" y="67"/>
                  </a:lnTo>
                  <a:lnTo>
                    <a:pt x="258" y="68"/>
                  </a:lnTo>
                  <a:lnTo>
                    <a:pt x="259" y="68"/>
                  </a:lnTo>
                  <a:lnTo>
                    <a:pt x="262" y="67"/>
                  </a:lnTo>
                  <a:lnTo>
                    <a:pt x="262" y="69"/>
                  </a:lnTo>
                  <a:lnTo>
                    <a:pt x="263" y="69"/>
                  </a:lnTo>
                  <a:lnTo>
                    <a:pt x="261" y="70"/>
                  </a:lnTo>
                  <a:lnTo>
                    <a:pt x="261" y="71"/>
                  </a:lnTo>
                  <a:lnTo>
                    <a:pt x="263" y="70"/>
                  </a:lnTo>
                  <a:lnTo>
                    <a:pt x="265" y="70"/>
                  </a:lnTo>
                  <a:lnTo>
                    <a:pt x="265" y="71"/>
                  </a:lnTo>
                  <a:lnTo>
                    <a:pt x="268" y="73"/>
                  </a:lnTo>
                  <a:lnTo>
                    <a:pt x="268" y="74"/>
                  </a:lnTo>
                  <a:lnTo>
                    <a:pt x="269" y="75"/>
                  </a:lnTo>
                  <a:lnTo>
                    <a:pt x="269" y="76"/>
                  </a:lnTo>
                  <a:lnTo>
                    <a:pt x="268" y="76"/>
                  </a:lnTo>
                  <a:lnTo>
                    <a:pt x="267" y="75"/>
                  </a:lnTo>
                  <a:lnTo>
                    <a:pt x="268" y="76"/>
                  </a:lnTo>
                  <a:lnTo>
                    <a:pt x="268" y="77"/>
                  </a:lnTo>
                  <a:lnTo>
                    <a:pt x="265" y="76"/>
                  </a:lnTo>
                  <a:lnTo>
                    <a:pt x="267" y="79"/>
                  </a:lnTo>
                  <a:lnTo>
                    <a:pt x="265" y="77"/>
                  </a:lnTo>
                  <a:lnTo>
                    <a:pt x="264" y="77"/>
                  </a:lnTo>
                  <a:lnTo>
                    <a:pt x="262" y="79"/>
                  </a:lnTo>
                  <a:lnTo>
                    <a:pt x="262" y="80"/>
                  </a:lnTo>
                  <a:lnTo>
                    <a:pt x="262" y="81"/>
                  </a:lnTo>
                  <a:lnTo>
                    <a:pt x="264" y="81"/>
                  </a:lnTo>
                  <a:lnTo>
                    <a:pt x="265" y="83"/>
                  </a:lnTo>
                  <a:lnTo>
                    <a:pt x="268" y="83"/>
                  </a:lnTo>
                  <a:lnTo>
                    <a:pt x="269" y="86"/>
                  </a:lnTo>
                  <a:lnTo>
                    <a:pt x="268" y="88"/>
                  </a:lnTo>
                  <a:lnTo>
                    <a:pt x="268" y="91"/>
                  </a:lnTo>
                  <a:lnTo>
                    <a:pt x="270" y="89"/>
                  </a:lnTo>
                  <a:lnTo>
                    <a:pt x="271" y="89"/>
                  </a:lnTo>
                  <a:lnTo>
                    <a:pt x="274" y="88"/>
                  </a:lnTo>
                  <a:lnTo>
                    <a:pt x="275" y="88"/>
                  </a:lnTo>
                  <a:lnTo>
                    <a:pt x="275" y="87"/>
                  </a:lnTo>
                  <a:lnTo>
                    <a:pt x="276" y="85"/>
                  </a:lnTo>
                  <a:lnTo>
                    <a:pt x="274" y="86"/>
                  </a:lnTo>
                  <a:lnTo>
                    <a:pt x="275" y="83"/>
                  </a:lnTo>
                  <a:lnTo>
                    <a:pt x="275" y="82"/>
                  </a:lnTo>
                  <a:lnTo>
                    <a:pt x="277" y="82"/>
                  </a:lnTo>
                  <a:lnTo>
                    <a:pt x="279" y="82"/>
                  </a:lnTo>
                  <a:lnTo>
                    <a:pt x="277" y="81"/>
                  </a:lnTo>
                  <a:lnTo>
                    <a:pt x="276" y="80"/>
                  </a:lnTo>
                  <a:lnTo>
                    <a:pt x="277" y="79"/>
                  </a:lnTo>
                  <a:lnTo>
                    <a:pt x="279" y="77"/>
                  </a:lnTo>
                  <a:lnTo>
                    <a:pt x="280" y="77"/>
                  </a:lnTo>
                  <a:lnTo>
                    <a:pt x="283" y="76"/>
                  </a:lnTo>
                  <a:lnTo>
                    <a:pt x="283" y="75"/>
                  </a:lnTo>
                  <a:lnTo>
                    <a:pt x="285" y="74"/>
                  </a:lnTo>
                  <a:lnTo>
                    <a:pt x="288" y="71"/>
                  </a:lnTo>
                  <a:lnTo>
                    <a:pt x="287" y="70"/>
                  </a:lnTo>
                  <a:lnTo>
                    <a:pt x="286" y="70"/>
                  </a:lnTo>
                  <a:lnTo>
                    <a:pt x="285" y="71"/>
                  </a:lnTo>
                  <a:lnTo>
                    <a:pt x="283" y="71"/>
                  </a:lnTo>
                  <a:lnTo>
                    <a:pt x="282" y="73"/>
                  </a:lnTo>
                  <a:lnTo>
                    <a:pt x="281" y="73"/>
                  </a:lnTo>
                  <a:lnTo>
                    <a:pt x="280" y="71"/>
                  </a:lnTo>
                  <a:lnTo>
                    <a:pt x="279" y="71"/>
                  </a:lnTo>
                  <a:lnTo>
                    <a:pt x="279" y="74"/>
                  </a:lnTo>
                  <a:lnTo>
                    <a:pt x="277" y="75"/>
                  </a:lnTo>
                  <a:lnTo>
                    <a:pt x="277" y="74"/>
                  </a:lnTo>
                  <a:lnTo>
                    <a:pt x="275" y="73"/>
                  </a:lnTo>
                  <a:lnTo>
                    <a:pt x="275" y="70"/>
                  </a:lnTo>
                  <a:lnTo>
                    <a:pt x="276" y="70"/>
                  </a:lnTo>
                  <a:lnTo>
                    <a:pt x="276" y="69"/>
                  </a:lnTo>
                  <a:lnTo>
                    <a:pt x="276" y="68"/>
                  </a:lnTo>
                  <a:lnTo>
                    <a:pt x="277" y="68"/>
                  </a:lnTo>
                  <a:lnTo>
                    <a:pt x="277" y="65"/>
                  </a:lnTo>
                  <a:lnTo>
                    <a:pt x="279" y="64"/>
                  </a:lnTo>
                  <a:lnTo>
                    <a:pt x="279" y="63"/>
                  </a:lnTo>
                  <a:lnTo>
                    <a:pt x="277" y="62"/>
                  </a:lnTo>
                  <a:lnTo>
                    <a:pt x="276" y="61"/>
                  </a:lnTo>
                  <a:lnTo>
                    <a:pt x="277" y="59"/>
                  </a:lnTo>
                  <a:lnTo>
                    <a:pt x="275" y="58"/>
                  </a:lnTo>
                  <a:lnTo>
                    <a:pt x="275" y="57"/>
                  </a:lnTo>
                  <a:lnTo>
                    <a:pt x="277" y="57"/>
                  </a:lnTo>
                  <a:lnTo>
                    <a:pt x="281" y="57"/>
                  </a:lnTo>
                  <a:lnTo>
                    <a:pt x="281" y="58"/>
                  </a:lnTo>
                  <a:lnTo>
                    <a:pt x="282" y="59"/>
                  </a:lnTo>
                  <a:lnTo>
                    <a:pt x="283" y="58"/>
                  </a:lnTo>
                  <a:lnTo>
                    <a:pt x="283" y="59"/>
                  </a:lnTo>
                  <a:lnTo>
                    <a:pt x="283" y="61"/>
                  </a:lnTo>
                  <a:lnTo>
                    <a:pt x="286" y="59"/>
                  </a:lnTo>
                  <a:lnTo>
                    <a:pt x="289" y="61"/>
                  </a:lnTo>
                  <a:lnTo>
                    <a:pt x="291" y="59"/>
                  </a:lnTo>
                  <a:lnTo>
                    <a:pt x="292" y="58"/>
                  </a:lnTo>
                  <a:lnTo>
                    <a:pt x="292" y="61"/>
                  </a:lnTo>
                  <a:lnTo>
                    <a:pt x="293" y="61"/>
                  </a:lnTo>
                  <a:lnTo>
                    <a:pt x="294" y="62"/>
                  </a:lnTo>
                  <a:lnTo>
                    <a:pt x="297" y="62"/>
                  </a:lnTo>
                  <a:lnTo>
                    <a:pt x="298" y="62"/>
                  </a:lnTo>
                  <a:lnTo>
                    <a:pt x="298" y="61"/>
                  </a:lnTo>
                  <a:lnTo>
                    <a:pt x="298" y="58"/>
                  </a:lnTo>
                  <a:lnTo>
                    <a:pt x="299" y="58"/>
                  </a:lnTo>
                  <a:lnTo>
                    <a:pt x="297" y="56"/>
                  </a:lnTo>
                  <a:lnTo>
                    <a:pt x="295" y="56"/>
                  </a:lnTo>
                  <a:lnTo>
                    <a:pt x="294" y="57"/>
                  </a:lnTo>
                  <a:lnTo>
                    <a:pt x="293" y="57"/>
                  </a:lnTo>
                  <a:lnTo>
                    <a:pt x="292" y="56"/>
                  </a:lnTo>
                  <a:lnTo>
                    <a:pt x="292" y="55"/>
                  </a:lnTo>
                  <a:lnTo>
                    <a:pt x="289" y="53"/>
                  </a:lnTo>
                  <a:lnTo>
                    <a:pt x="288" y="51"/>
                  </a:lnTo>
                  <a:lnTo>
                    <a:pt x="289" y="52"/>
                  </a:lnTo>
                  <a:lnTo>
                    <a:pt x="291" y="52"/>
                  </a:lnTo>
                  <a:lnTo>
                    <a:pt x="289" y="51"/>
                  </a:lnTo>
                  <a:lnTo>
                    <a:pt x="289" y="50"/>
                  </a:lnTo>
                  <a:lnTo>
                    <a:pt x="292" y="51"/>
                  </a:lnTo>
                  <a:lnTo>
                    <a:pt x="292" y="50"/>
                  </a:lnTo>
                  <a:lnTo>
                    <a:pt x="293" y="51"/>
                  </a:lnTo>
                  <a:lnTo>
                    <a:pt x="293" y="50"/>
                  </a:lnTo>
                  <a:lnTo>
                    <a:pt x="292" y="49"/>
                  </a:lnTo>
                  <a:lnTo>
                    <a:pt x="292" y="47"/>
                  </a:lnTo>
                  <a:lnTo>
                    <a:pt x="294" y="49"/>
                  </a:lnTo>
                  <a:lnTo>
                    <a:pt x="294" y="47"/>
                  </a:lnTo>
                  <a:lnTo>
                    <a:pt x="295" y="44"/>
                  </a:lnTo>
                  <a:lnTo>
                    <a:pt x="294" y="44"/>
                  </a:lnTo>
                  <a:lnTo>
                    <a:pt x="293" y="41"/>
                  </a:lnTo>
                  <a:lnTo>
                    <a:pt x="294" y="41"/>
                  </a:lnTo>
                  <a:lnTo>
                    <a:pt x="295" y="40"/>
                  </a:lnTo>
                  <a:lnTo>
                    <a:pt x="297" y="38"/>
                  </a:lnTo>
                  <a:lnTo>
                    <a:pt x="298" y="38"/>
                  </a:lnTo>
                  <a:lnTo>
                    <a:pt x="297" y="34"/>
                  </a:lnTo>
                  <a:lnTo>
                    <a:pt x="295" y="33"/>
                  </a:lnTo>
                  <a:lnTo>
                    <a:pt x="297" y="32"/>
                  </a:lnTo>
                  <a:lnTo>
                    <a:pt x="297" y="30"/>
                  </a:lnTo>
                  <a:lnTo>
                    <a:pt x="297" y="29"/>
                  </a:lnTo>
                  <a:lnTo>
                    <a:pt x="297" y="30"/>
                  </a:lnTo>
                  <a:lnTo>
                    <a:pt x="298" y="30"/>
                  </a:lnTo>
                  <a:lnTo>
                    <a:pt x="300" y="30"/>
                  </a:lnTo>
                  <a:lnTo>
                    <a:pt x="299" y="32"/>
                  </a:lnTo>
                  <a:lnTo>
                    <a:pt x="300" y="32"/>
                  </a:lnTo>
                  <a:lnTo>
                    <a:pt x="299" y="34"/>
                  </a:lnTo>
                  <a:lnTo>
                    <a:pt x="299" y="35"/>
                  </a:lnTo>
                  <a:lnTo>
                    <a:pt x="299" y="36"/>
                  </a:lnTo>
                  <a:lnTo>
                    <a:pt x="299" y="35"/>
                  </a:lnTo>
                  <a:lnTo>
                    <a:pt x="299" y="38"/>
                  </a:lnTo>
                  <a:lnTo>
                    <a:pt x="300" y="38"/>
                  </a:lnTo>
                  <a:lnTo>
                    <a:pt x="303" y="38"/>
                  </a:lnTo>
                  <a:lnTo>
                    <a:pt x="301" y="39"/>
                  </a:lnTo>
                  <a:lnTo>
                    <a:pt x="303" y="38"/>
                  </a:lnTo>
                  <a:lnTo>
                    <a:pt x="303" y="39"/>
                  </a:lnTo>
                  <a:lnTo>
                    <a:pt x="301" y="41"/>
                  </a:lnTo>
                  <a:lnTo>
                    <a:pt x="303" y="40"/>
                  </a:lnTo>
                  <a:lnTo>
                    <a:pt x="304" y="41"/>
                  </a:lnTo>
                  <a:lnTo>
                    <a:pt x="304" y="43"/>
                  </a:lnTo>
                  <a:lnTo>
                    <a:pt x="305" y="43"/>
                  </a:lnTo>
                  <a:lnTo>
                    <a:pt x="306" y="41"/>
                  </a:lnTo>
                  <a:lnTo>
                    <a:pt x="306" y="38"/>
                  </a:lnTo>
                  <a:lnTo>
                    <a:pt x="307" y="40"/>
                  </a:lnTo>
                  <a:lnTo>
                    <a:pt x="310" y="41"/>
                  </a:lnTo>
                  <a:lnTo>
                    <a:pt x="310" y="44"/>
                  </a:lnTo>
                  <a:lnTo>
                    <a:pt x="311" y="43"/>
                  </a:lnTo>
                  <a:lnTo>
                    <a:pt x="314" y="43"/>
                  </a:lnTo>
                  <a:lnTo>
                    <a:pt x="315" y="43"/>
                  </a:lnTo>
                  <a:lnTo>
                    <a:pt x="315" y="40"/>
                  </a:lnTo>
                  <a:lnTo>
                    <a:pt x="314" y="36"/>
                  </a:lnTo>
                  <a:lnTo>
                    <a:pt x="312" y="36"/>
                  </a:lnTo>
                  <a:lnTo>
                    <a:pt x="312" y="35"/>
                  </a:lnTo>
                  <a:lnTo>
                    <a:pt x="314" y="34"/>
                  </a:lnTo>
                  <a:lnTo>
                    <a:pt x="312" y="33"/>
                  </a:lnTo>
                  <a:lnTo>
                    <a:pt x="310" y="33"/>
                  </a:lnTo>
                  <a:lnTo>
                    <a:pt x="309" y="32"/>
                  </a:lnTo>
                  <a:lnTo>
                    <a:pt x="307" y="30"/>
                  </a:lnTo>
                  <a:lnTo>
                    <a:pt x="309" y="30"/>
                  </a:lnTo>
                  <a:lnTo>
                    <a:pt x="311" y="29"/>
                  </a:lnTo>
                  <a:lnTo>
                    <a:pt x="310" y="28"/>
                  </a:lnTo>
                  <a:lnTo>
                    <a:pt x="312" y="28"/>
                  </a:lnTo>
                  <a:lnTo>
                    <a:pt x="314" y="27"/>
                  </a:lnTo>
                  <a:lnTo>
                    <a:pt x="315" y="24"/>
                  </a:lnTo>
                  <a:lnTo>
                    <a:pt x="315" y="23"/>
                  </a:lnTo>
                  <a:lnTo>
                    <a:pt x="314" y="22"/>
                  </a:lnTo>
                  <a:lnTo>
                    <a:pt x="314" y="21"/>
                  </a:lnTo>
                  <a:lnTo>
                    <a:pt x="314" y="20"/>
                  </a:lnTo>
                  <a:lnTo>
                    <a:pt x="314" y="18"/>
                  </a:lnTo>
                  <a:lnTo>
                    <a:pt x="312" y="16"/>
                  </a:lnTo>
                  <a:lnTo>
                    <a:pt x="312" y="15"/>
                  </a:lnTo>
                  <a:lnTo>
                    <a:pt x="314" y="14"/>
                  </a:lnTo>
                  <a:lnTo>
                    <a:pt x="315" y="16"/>
                  </a:lnTo>
                  <a:lnTo>
                    <a:pt x="316" y="16"/>
                  </a:lnTo>
                  <a:lnTo>
                    <a:pt x="317" y="16"/>
                  </a:lnTo>
                  <a:lnTo>
                    <a:pt x="320" y="17"/>
                  </a:lnTo>
                  <a:lnTo>
                    <a:pt x="321" y="18"/>
                  </a:lnTo>
                  <a:lnTo>
                    <a:pt x="323" y="20"/>
                  </a:lnTo>
                  <a:lnTo>
                    <a:pt x="326" y="21"/>
                  </a:lnTo>
                  <a:lnTo>
                    <a:pt x="329" y="20"/>
                  </a:lnTo>
                  <a:lnTo>
                    <a:pt x="329" y="17"/>
                  </a:lnTo>
                  <a:lnTo>
                    <a:pt x="328" y="15"/>
                  </a:lnTo>
                  <a:lnTo>
                    <a:pt x="328" y="14"/>
                  </a:lnTo>
                  <a:lnTo>
                    <a:pt x="328" y="11"/>
                  </a:lnTo>
                  <a:lnTo>
                    <a:pt x="328" y="10"/>
                  </a:lnTo>
                  <a:lnTo>
                    <a:pt x="327" y="10"/>
                  </a:lnTo>
                  <a:lnTo>
                    <a:pt x="323" y="12"/>
                  </a:lnTo>
                  <a:lnTo>
                    <a:pt x="323" y="11"/>
                  </a:lnTo>
                  <a:lnTo>
                    <a:pt x="326" y="10"/>
                  </a:lnTo>
                  <a:lnTo>
                    <a:pt x="326" y="9"/>
                  </a:lnTo>
                  <a:lnTo>
                    <a:pt x="326" y="6"/>
                  </a:lnTo>
                  <a:lnTo>
                    <a:pt x="327" y="6"/>
                  </a:lnTo>
                  <a:lnTo>
                    <a:pt x="327" y="5"/>
                  </a:lnTo>
                  <a:lnTo>
                    <a:pt x="328" y="6"/>
                  </a:lnTo>
                  <a:lnTo>
                    <a:pt x="329" y="6"/>
                  </a:lnTo>
                  <a:lnTo>
                    <a:pt x="330" y="5"/>
                  </a:lnTo>
                  <a:lnTo>
                    <a:pt x="332" y="5"/>
                  </a:lnTo>
                  <a:lnTo>
                    <a:pt x="334" y="4"/>
                  </a:lnTo>
                  <a:lnTo>
                    <a:pt x="333" y="2"/>
                  </a:lnTo>
                  <a:lnTo>
                    <a:pt x="334" y="3"/>
                  </a:lnTo>
                  <a:lnTo>
                    <a:pt x="335" y="4"/>
                  </a:lnTo>
                  <a:lnTo>
                    <a:pt x="336" y="4"/>
                  </a:lnTo>
                  <a:lnTo>
                    <a:pt x="338" y="4"/>
                  </a:lnTo>
                  <a:lnTo>
                    <a:pt x="338" y="5"/>
                  </a:lnTo>
                  <a:lnTo>
                    <a:pt x="336" y="5"/>
                  </a:lnTo>
                  <a:lnTo>
                    <a:pt x="338" y="6"/>
                  </a:lnTo>
                  <a:lnTo>
                    <a:pt x="339" y="6"/>
                  </a:lnTo>
                  <a:lnTo>
                    <a:pt x="340" y="6"/>
                  </a:lnTo>
                  <a:lnTo>
                    <a:pt x="341" y="4"/>
                  </a:lnTo>
                  <a:lnTo>
                    <a:pt x="342" y="5"/>
                  </a:lnTo>
                  <a:lnTo>
                    <a:pt x="344" y="5"/>
                  </a:lnTo>
                  <a:lnTo>
                    <a:pt x="344" y="4"/>
                  </a:lnTo>
                  <a:lnTo>
                    <a:pt x="346" y="4"/>
                  </a:lnTo>
                  <a:lnTo>
                    <a:pt x="346" y="3"/>
                  </a:lnTo>
                  <a:lnTo>
                    <a:pt x="347" y="3"/>
                  </a:lnTo>
                  <a:lnTo>
                    <a:pt x="348" y="2"/>
                  </a:lnTo>
                  <a:lnTo>
                    <a:pt x="348" y="0"/>
                  </a:lnTo>
                  <a:lnTo>
                    <a:pt x="350" y="2"/>
                  </a:lnTo>
                  <a:lnTo>
                    <a:pt x="351" y="2"/>
                  </a:lnTo>
                  <a:lnTo>
                    <a:pt x="351" y="3"/>
                  </a:lnTo>
                  <a:lnTo>
                    <a:pt x="352" y="3"/>
                  </a:lnTo>
                  <a:lnTo>
                    <a:pt x="353" y="5"/>
                  </a:lnTo>
                  <a:lnTo>
                    <a:pt x="350" y="5"/>
                  </a:lnTo>
                  <a:lnTo>
                    <a:pt x="350" y="6"/>
                  </a:lnTo>
                  <a:lnTo>
                    <a:pt x="351" y="8"/>
                  </a:lnTo>
                  <a:lnTo>
                    <a:pt x="350" y="9"/>
                  </a:lnTo>
                  <a:lnTo>
                    <a:pt x="347" y="8"/>
                  </a:lnTo>
                  <a:lnTo>
                    <a:pt x="347" y="9"/>
                  </a:lnTo>
                  <a:lnTo>
                    <a:pt x="347" y="10"/>
                  </a:lnTo>
                  <a:lnTo>
                    <a:pt x="347" y="11"/>
                  </a:lnTo>
                  <a:lnTo>
                    <a:pt x="348" y="11"/>
                  </a:lnTo>
                  <a:lnTo>
                    <a:pt x="350" y="10"/>
                  </a:lnTo>
                  <a:lnTo>
                    <a:pt x="350" y="12"/>
                  </a:lnTo>
                  <a:lnTo>
                    <a:pt x="351" y="12"/>
                  </a:lnTo>
                  <a:lnTo>
                    <a:pt x="351" y="14"/>
                  </a:lnTo>
                  <a:lnTo>
                    <a:pt x="351" y="11"/>
                  </a:lnTo>
                  <a:lnTo>
                    <a:pt x="352" y="11"/>
                  </a:lnTo>
                  <a:lnTo>
                    <a:pt x="354" y="12"/>
                  </a:lnTo>
                  <a:lnTo>
                    <a:pt x="356" y="12"/>
                  </a:lnTo>
                  <a:lnTo>
                    <a:pt x="356" y="14"/>
                  </a:lnTo>
                  <a:lnTo>
                    <a:pt x="354" y="14"/>
                  </a:lnTo>
                  <a:lnTo>
                    <a:pt x="353" y="15"/>
                  </a:lnTo>
                  <a:lnTo>
                    <a:pt x="354" y="16"/>
                  </a:lnTo>
                  <a:lnTo>
                    <a:pt x="356" y="17"/>
                  </a:lnTo>
                  <a:lnTo>
                    <a:pt x="353" y="17"/>
                  </a:lnTo>
                  <a:lnTo>
                    <a:pt x="352" y="17"/>
                  </a:lnTo>
                  <a:lnTo>
                    <a:pt x="352" y="20"/>
                  </a:lnTo>
                  <a:lnTo>
                    <a:pt x="352" y="21"/>
                  </a:lnTo>
                  <a:lnTo>
                    <a:pt x="352" y="23"/>
                  </a:lnTo>
                  <a:lnTo>
                    <a:pt x="353" y="24"/>
                  </a:lnTo>
                  <a:lnTo>
                    <a:pt x="354" y="26"/>
                  </a:lnTo>
                  <a:lnTo>
                    <a:pt x="352" y="24"/>
                  </a:lnTo>
                  <a:lnTo>
                    <a:pt x="352" y="26"/>
                  </a:lnTo>
                  <a:lnTo>
                    <a:pt x="352" y="27"/>
                  </a:lnTo>
                  <a:lnTo>
                    <a:pt x="352" y="28"/>
                  </a:lnTo>
                  <a:lnTo>
                    <a:pt x="353" y="29"/>
                  </a:lnTo>
                  <a:lnTo>
                    <a:pt x="354" y="28"/>
                  </a:lnTo>
                  <a:lnTo>
                    <a:pt x="357" y="29"/>
                  </a:lnTo>
                  <a:lnTo>
                    <a:pt x="358" y="28"/>
                  </a:lnTo>
                  <a:lnTo>
                    <a:pt x="357" y="26"/>
                  </a:lnTo>
                  <a:lnTo>
                    <a:pt x="357" y="23"/>
                  </a:lnTo>
                  <a:lnTo>
                    <a:pt x="358" y="26"/>
                  </a:lnTo>
                  <a:lnTo>
                    <a:pt x="359" y="27"/>
                  </a:lnTo>
                  <a:lnTo>
                    <a:pt x="360" y="27"/>
                  </a:lnTo>
                  <a:lnTo>
                    <a:pt x="360" y="24"/>
                  </a:lnTo>
                  <a:lnTo>
                    <a:pt x="362" y="26"/>
                  </a:lnTo>
                  <a:lnTo>
                    <a:pt x="363" y="27"/>
                  </a:lnTo>
                  <a:lnTo>
                    <a:pt x="362" y="27"/>
                  </a:lnTo>
                  <a:lnTo>
                    <a:pt x="360" y="29"/>
                  </a:lnTo>
                  <a:lnTo>
                    <a:pt x="362" y="29"/>
                  </a:lnTo>
                  <a:lnTo>
                    <a:pt x="362" y="30"/>
                  </a:lnTo>
                  <a:lnTo>
                    <a:pt x="363" y="30"/>
                  </a:lnTo>
                  <a:lnTo>
                    <a:pt x="364" y="30"/>
                  </a:lnTo>
                  <a:lnTo>
                    <a:pt x="364" y="29"/>
                  </a:lnTo>
                  <a:lnTo>
                    <a:pt x="364" y="28"/>
                  </a:lnTo>
                  <a:lnTo>
                    <a:pt x="366" y="29"/>
                  </a:lnTo>
                  <a:lnTo>
                    <a:pt x="368" y="30"/>
                  </a:lnTo>
                  <a:lnTo>
                    <a:pt x="366" y="32"/>
                  </a:lnTo>
                  <a:lnTo>
                    <a:pt x="365" y="32"/>
                  </a:lnTo>
                  <a:lnTo>
                    <a:pt x="365" y="33"/>
                  </a:lnTo>
                  <a:lnTo>
                    <a:pt x="366" y="34"/>
                  </a:lnTo>
                  <a:lnTo>
                    <a:pt x="368" y="35"/>
                  </a:lnTo>
                  <a:lnTo>
                    <a:pt x="366" y="35"/>
                  </a:lnTo>
                  <a:lnTo>
                    <a:pt x="366" y="36"/>
                  </a:lnTo>
                  <a:lnTo>
                    <a:pt x="366" y="38"/>
                  </a:lnTo>
                  <a:lnTo>
                    <a:pt x="366" y="39"/>
                  </a:lnTo>
                  <a:lnTo>
                    <a:pt x="368" y="40"/>
                  </a:lnTo>
                  <a:lnTo>
                    <a:pt x="370" y="39"/>
                  </a:lnTo>
                  <a:lnTo>
                    <a:pt x="371" y="40"/>
                  </a:lnTo>
                  <a:lnTo>
                    <a:pt x="372" y="40"/>
                  </a:lnTo>
                  <a:lnTo>
                    <a:pt x="374" y="40"/>
                  </a:lnTo>
                  <a:lnTo>
                    <a:pt x="376" y="38"/>
                  </a:lnTo>
                  <a:lnTo>
                    <a:pt x="376" y="36"/>
                  </a:lnTo>
                  <a:lnTo>
                    <a:pt x="376" y="39"/>
                  </a:lnTo>
                  <a:lnTo>
                    <a:pt x="377" y="39"/>
                  </a:lnTo>
                  <a:lnTo>
                    <a:pt x="379" y="39"/>
                  </a:lnTo>
                  <a:lnTo>
                    <a:pt x="380" y="35"/>
                  </a:lnTo>
                  <a:lnTo>
                    <a:pt x="380" y="36"/>
                  </a:lnTo>
                  <a:lnTo>
                    <a:pt x="380" y="38"/>
                  </a:lnTo>
                  <a:lnTo>
                    <a:pt x="380" y="39"/>
                  </a:lnTo>
                  <a:lnTo>
                    <a:pt x="381" y="39"/>
                  </a:lnTo>
                  <a:lnTo>
                    <a:pt x="380" y="40"/>
                  </a:lnTo>
                  <a:lnTo>
                    <a:pt x="380" y="43"/>
                  </a:lnTo>
                  <a:lnTo>
                    <a:pt x="380" y="44"/>
                  </a:lnTo>
                  <a:lnTo>
                    <a:pt x="381" y="45"/>
                  </a:lnTo>
                  <a:lnTo>
                    <a:pt x="380" y="46"/>
                  </a:lnTo>
                  <a:lnTo>
                    <a:pt x="380" y="47"/>
                  </a:lnTo>
                  <a:lnTo>
                    <a:pt x="382" y="49"/>
                  </a:lnTo>
                  <a:lnTo>
                    <a:pt x="383" y="51"/>
                  </a:lnTo>
                  <a:lnTo>
                    <a:pt x="385" y="50"/>
                  </a:lnTo>
                  <a:lnTo>
                    <a:pt x="383" y="49"/>
                  </a:lnTo>
                  <a:lnTo>
                    <a:pt x="383" y="47"/>
                  </a:lnTo>
                  <a:lnTo>
                    <a:pt x="385" y="47"/>
                  </a:lnTo>
                  <a:lnTo>
                    <a:pt x="386" y="46"/>
                  </a:lnTo>
                  <a:lnTo>
                    <a:pt x="387" y="45"/>
                  </a:lnTo>
                  <a:lnTo>
                    <a:pt x="386" y="44"/>
                  </a:lnTo>
                  <a:lnTo>
                    <a:pt x="385" y="43"/>
                  </a:lnTo>
                  <a:lnTo>
                    <a:pt x="386" y="43"/>
                  </a:lnTo>
                  <a:lnTo>
                    <a:pt x="387" y="41"/>
                  </a:lnTo>
                  <a:lnTo>
                    <a:pt x="388" y="41"/>
                  </a:lnTo>
                  <a:lnTo>
                    <a:pt x="389" y="40"/>
                  </a:lnTo>
                  <a:lnTo>
                    <a:pt x="392" y="40"/>
                  </a:lnTo>
                  <a:lnTo>
                    <a:pt x="393" y="39"/>
                  </a:lnTo>
                  <a:lnTo>
                    <a:pt x="392" y="38"/>
                  </a:lnTo>
                  <a:lnTo>
                    <a:pt x="391" y="36"/>
                  </a:lnTo>
                  <a:lnTo>
                    <a:pt x="392" y="36"/>
                  </a:lnTo>
                  <a:lnTo>
                    <a:pt x="393" y="36"/>
                  </a:lnTo>
                  <a:lnTo>
                    <a:pt x="395" y="35"/>
                  </a:lnTo>
                  <a:lnTo>
                    <a:pt x="398" y="34"/>
                  </a:lnTo>
                  <a:lnTo>
                    <a:pt x="395" y="36"/>
                  </a:lnTo>
                  <a:lnTo>
                    <a:pt x="394" y="38"/>
                  </a:lnTo>
                  <a:lnTo>
                    <a:pt x="397" y="38"/>
                  </a:lnTo>
                  <a:lnTo>
                    <a:pt x="397" y="36"/>
                  </a:lnTo>
                  <a:lnTo>
                    <a:pt x="398" y="36"/>
                  </a:lnTo>
                  <a:lnTo>
                    <a:pt x="400" y="38"/>
                  </a:lnTo>
                  <a:lnTo>
                    <a:pt x="403" y="36"/>
                  </a:lnTo>
                  <a:lnTo>
                    <a:pt x="403" y="38"/>
                  </a:lnTo>
                  <a:lnTo>
                    <a:pt x="403" y="39"/>
                  </a:lnTo>
                  <a:lnTo>
                    <a:pt x="404" y="39"/>
                  </a:lnTo>
                  <a:lnTo>
                    <a:pt x="405" y="40"/>
                  </a:lnTo>
                  <a:lnTo>
                    <a:pt x="403" y="40"/>
                  </a:lnTo>
                  <a:lnTo>
                    <a:pt x="401" y="40"/>
                  </a:lnTo>
                  <a:lnTo>
                    <a:pt x="403" y="41"/>
                  </a:lnTo>
                  <a:lnTo>
                    <a:pt x="403" y="43"/>
                  </a:lnTo>
                  <a:lnTo>
                    <a:pt x="404" y="44"/>
                  </a:lnTo>
                  <a:lnTo>
                    <a:pt x="400" y="43"/>
                  </a:lnTo>
                  <a:lnTo>
                    <a:pt x="403" y="45"/>
                  </a:lnTo>
                  <a:lnTo>
                    <a:pt x="403" y="46"/>
                  </a:lnTo>
                  <a:lnTo>
                    <a:pt x="401" y="46"/>
                  </a:lnTo>
                  <a:lnTo>
                    <a:pt x="401" y="47"/>
                  </a:lnTo>
                  <a:lnTo>
                    <a:pt x="400" y="47"/>
                  </a:lnTo>
                  <a:lnTo>
                    <a:pt x="399" y="46"/>
                  </a:lnTo>
                  <a:lnTo>
                    <a:pt x="398" y="45"/>
                  </a:lnTo>
                  <a:lnTo>
                    <a:pt x="395" y="47"/>
                  </a:lnTo>
                  <a:lnTo>
                    <a:pt x="395" y="50"/>
                  </a:lnTo>
                  <a:lnTo>
                    <a:pt x="394" y="51"/>
                  </a:lnTo>
                  <a:lnTo>
                    <a:pt x="395" y="52"/>
                  </a:lnTo>
                  <a:lnTo>
                    <a:pt x="397" y="51"/>
                  </a:lnTo>
                  <a:lnTo>
                    <a:pt x="398" y="52"/>
                  </a:lnTo>
                  <a:lnTo>
                    <a:pt x="398" y="53"/>
                  </a:lnTo>
                  <a:lnTo>
                    <a:pt x="399" y="55"/>
                  </a:lnTo>
                  <a:lnTo>
                    <a:pt x="401" y="56"/>
                  </a:lnTo>
                  <a:lnTo>
                    <a:pt x="401" y="55"/>
                  </a:lnTo>
                  <a:lnTo>
                    <a:pt x="401" y="51"/>
                  </a:lnTo>
                  <a:lnTo>
                    <a:pt x="401" y="50"/>
                  </a:lnTo>
                  <a:lnTo>
                    <a:pt x="403" y="51"/>
                  </a:lnTo>
                  <a:lnTo>
                    <a:pt x="405" y="50"/>
                  </a:lnTo>
                  <a:lnTo>
                    <a:pt x="404" y="52"/>
                  </a:lnTo>
                  <a:lnTo>
                    <a:pt x="405" y="52"/>
                  </a:lnTo>
                  <a:lnTo>
                    <a:pt x="406" y="53"/>
                  </a:lnTo>
                  <a:lnTo>
                    <a:pt x="406" y="55"/>
                  </a:lnTo>
                  <a:lnTo>
                    <a:pt x="407" y="55"/>
                  </a:lnTo>
                  <a:lnTo>
                    <a:pt x="409" y="56"/>
                  </a:lnTo>
                  <a:lnTo>
                    <a:pt x="407" y="57"/>
                  </a:lnTo>
                  <a:lnTo>
                    <a:pt x="406" y="58"/>
                  </a:lnTo>
                  <a:lnTo>
                    <a:pt x="405" y="59"/>
                  </a:lnTo>
                  <a:lnTo>
                    <a:pt x="405" y="61"/>
                  </a:lnTo>
                  <a:lnTo>
                    <a:pt x="405" y="63"/>
                  </a:lnTo>
                  <a:lnTo>
                    <a:pt x="405" y="64"/>
                  </a:lnTo>
                  <a:lnTo>
                    <a:pt x="406" y="63"/>
                  </a:lnTo>
                  <a:lnTo>
                    <a:pt x="406" y="61"/>
                  </a:lnTo>
                  <a:lnTo>
                    <a:pt x="406" y="59"/>
                  </a:lnTo>
                  <a:lnTo>
                    <a:pt x="407" y="58"/>
                  </a:lnTo>
                  <a:lnTo>
                    <a:pt x="407" y="59"/>
                  </a:lnTo>
                  <a:lnTo>
                    <a:pt x="410" y="61"/>
                  </a:lnTo>
                  <a:lnTo>
                    <a:pt x="411" y="61"/>
                  </a:lnTo>
                  <a:lnTo>
                    <a:pt x="411" y="59"/>
                  </a:lnTo>
                  <a:lnTo>
                    <a:pt x="413" y="62"/>
                  </a:lnTo>
                  <a:lnTo>
                    <a:pt x="415" y="61"/>
                  </a:lnTo>
                  <a:lnTo>
                    <a:pt x="416" y="61"/>
                  </a:lnTo>
                  <a:lnTo>
                    <a:pt x="417" y="61"/>
                  </a:lnTo>
                  <a:lnTo>
                    <a:pt x="417" y="58"/>
                  </a:lnTo>
                  <a:lnTo>
                    <a:pt x="417" y="61"/>
                  </a:lnTo>
                  <a:lnTo>
                    <a:pt x="418" y="62"/>
                  </a:lnTo>
                  <a:lnTo>
                    <a:pt x="419" y="65"/>
                  </a:lnTo>
                  <a:lnTo>
                    <a:pt x="422" y="67"/>
                  </a:lnTo>
                  <a:lnTo>
                    <a:pt x="422" y="68"/>
                  </a:lnTo>
                  <a:lnTo>
                    <a:pt x="423" y="67"/>
                  </a:lnTo>
                  <a:lnTo>
                    <a:pt x="425" y="64"/>
                  </a:lnTo>
                  <a:lnTo>
                    <a:pt x="425" y="63"/>
                  </a:lnTo>
                  <a:lnTo>
                    <a:pt x="424" y="62"/>
                  </a:lnTo>
                  <a:lnTo>
                    <a:pt x="424" y="59"/>
                  </a:lnTo>
                  <a:lnTo>
                    <a:pt x="425" y="59"/>
                  </a:lnTo>
                  <a:lnTo>
                    <a:pt x="425" y="57"/>
                  </a:lnTo>
                  <a:lnTo>
                    <a:pt x="422" y="55"/>
                  </a:lnTo>
                  <a:lnTo>
                    <a:pt x="419" y="52"/>
                  </a:lnTo>
                  <a:lnTo>
                    <a:pt x="417" y="50"/>
                  </a:lnTo>
                  <a:lnTo>
                    <a:pt x="415" y="50"/>
                  </a:lnTo>
                  <a:lnTo>
                    <a:pt x="415" y="47"/>
                  </a:lnTo>
                  <a:lnTo>
                    <a:pt x="411" y="47"/>
                  </a:lnTo>
                  <a:lnTo>
                    <a:pt x="412" y="45"/>
                  </a:lnTo>
                  <a:lnTo>
                    <a:pt x="410" y="44"/>
                  </a:lnTo>
                  <a:lnTo>
                    <a:pt x="412" y="44"/>
                  </a:lnTo>
                  <a:lnTo>
                    <a:pt x="412" y="43"/>
                  </a:lnTo>
                  <a:lnTo>
                    <a:pt x="413" y="41"/>
                  </a:lnTo>
                  <a:lnTo>
                    <a:pt x="415" y="41"/>
                  </a:lnTo>
                  <a:lnTo>
                    <a:pt x="416" y="40"/>
                  </a:lnTo>
                  <a:lnTo>
                    <a:pt x="417" y="41"/>
                  </a:lnTo>
                  <a:lnTo>
                    <a:pt x="418" y="41"/>
                  </a:lnTo>
                  <a:lnTo>
                    <a:pt x="418" y="45"/>
                  </a:lnTo>
                  <a:lnTo>
                    <a:pt x="418" y="46"/>
                  </a:lnTo>
                  <a:lnTo>
                    <a:pt x="419" y="44"/>
                  </a:lnTo>
                  <a:lnTo>
                    <a:pt x="419" y="45"/>
                  </a:lnTo>
                  <a:lnTo>
                    <a:pt x="419" y="49"/>
                  </a:lnTo>
                  <a:lnTo>
                    <a:pt x="421" y="50"/>
                  </a:lnTo>
                  <a:lnTo>
                    <a:pt x="422" y="49"/>
                  </a:lnTo>
                  <a:lnTo>
                    <a:pt x="422" y="46"/>
                  </a:lnTo>
                  <a:lnTo>
                    <a:pt x="423" y="46"/>
                  </a:lnTo>
                  <a:lnTo>
                    <a:pt x="424" y="45"/>
                  </a:lnTo>
                  <a:lnTo>
                    <a:pt x="425" y="46"/>
                  </a:lnTo>
                  <a:lnTo>
                    <a:pt x="427" y="45"/>
                  </a:lnTo>
                  <a:lnTo>
                    <a:pt x="428" y="45"/>
                  </a:lnTo>
                  <a:lnTo>
                    <a:pt x="429" y="46"/>
                  </a:lnTo>
                  <a:lnTo>
                    <a:pt x="428" y="47"/>
                  </a:lnTo>
                  <a:lnTo>
                    <a:pt x="428" y="50"/>
                  </a:lnTo>
                  <a:lnTo>
                    <a:pt x="427" y="51"/>
                  </a:lnTo>
                  <a:lnTo>
                    <a:pt x="425" y="52"/>
                  </a:lnTo>
                  <a:lnTo>
                    <a:pt x="425" y="53"/>
                  </a:lnTo>
                  <a:lnTo>
                    <a:pt x="427" y="56"/>
                  </a:lnTo>
                  <a:lnTo>
                    <a:pt x="428" y="59"/>
                  </a:lnTo>
                  <a:lnTo>
                    <a:pt x="429" y="55"/>
                  </a:lnTo>
                  <a:lnTo>
                    <a:pt x="430" y="57"/>
                  </a:lnTo>
                  <a:lnTo>
                    <a:pt x="430" y="58"/>
                  </a:lnTo>
                  <a:lnTo>
                    <a:pt x="431" y="58"/>
                  </a:lnTo>
                  <a:lnTo>
                    <a:pt x="433" y="57"/>
                  </a:lnTo>
                  <a:lnTo>
                    <a:pt x="434" y="58"/>
                  </a:lnTo>
                  <a:lnTo>
                    <a:pt x="434" y="56"/>
                  </a:lnTo>
                  <a:lnTo>
                    <a:pt x="433" y="57"/>
                  </a:lnTo>
                  <a:lnTo>
                    <a:pt x="434" y="55"/>
                  </a:lnTo>
                  <a:lnTo>
                    <a:pt x="439" y="52"/>
                  </a:lnTo>
                  <a:lnTo>
                    <a:pt x="440" y="52"/>
                  </a:lnTo>
                  <a:lnTo>
                    <a:pt x="440" y="49"/>
                  </a:lnTo>
                  <a:lnTo>
                    <a:pt x="444" y="49"/>
                  </a:lnTo>
                  <a:lnTo>
                    <a:pt x="440" y="46"/>
                  </a:lnTo>
                  <a:lnTo>
                    <a:pt x="444" y="49"/>
                  </a:lnTo>
                  <a:lnTo>
                    <a:pt x="445" y="47"/>
                  </a:lnTo>
                  <a:lnTo>
                    <a:pt x="446" y="47"/>
                  </a:lnTo>
                  <a:lnTo>
                    <a:pt x="447" y="47"/>
                  </a:lnTo>
                  <a:lnTo>
                    <a:pt x="447" y="46"/>
                  </a:lnTo>
                  <a:lnTo>
                    <a:pt x="448" y="46"/>
                  </a:lnTo>
                  <a:lnTo>
                    <a:pt x="451" y="50"/>
                  </a:lnTo>
                  <a:lnTo>
                    <a:pt x="452" y="46"/>
                  </a:lnTo>
                  <a:lnTo>
                    <a:pt x="451" y="45"/>
                  </a:lnTo>
                  <a:lnTo>
                    <a:pt x="452" y="45"/>
                  </a:lnTo>
                  <a:lnTo>
                    <a:pt x="453" y="41"/>
                  </a:lnTo>
                  <a:lnTo>
                    <a:pt x="453" y="44"/>
                  </a:lnTo>
                  <a:lnTo>
                    <a:pt x="454" y="45"/>
                  </a:lnTo>
                  <a:lnTo>
                    <a:pt x="453" y="46"/>
                  </a:lnTo>
                  <a:lnTo>
                    <a:pt x="452" y="47"/>
                  </a:lnTo>
                  <a:lnTo>
                    <a:pt x="452" y="49"/>
                  </a:lnTo>
                  <a:lnTo>
                    <a:pt x="453" y="50"/>
                  </a:lnTo>
                  <a:lnTo>
                    <a:pt x="454" y="51"/>
                  </a:lnTo>
                  <a:lnTo>
                    <a:pt x="456" y="51"/>
                  </a:lnTo>
                  <a:lnTo>
                    <a:pt x="456" y="50"/>
                  </a:lnTo>
                  <a:lnTo>
                    <a:pt x="458" y="51"/>
                  </a:lnTo>
                  <a:lnTo>
                    <a:pt x="459" y="51"/>
                  </a:lnTo>
                  <a:lnTo>
                    <a:pt x="460" y="51"/>
                  </a:lnTo>
                  <a:lnTo>
                    <a:pt x="460" y="53"/>
                  </a:lnTo>
                  <a:lnTo>
                    <a:pt x="463" y="55"/>
                  </a:lnTo>
                  <a:lnTo>
                    <a:pt x="463" y="58"/>
                  </a:lnTo>
                  <a:lnTo>
                    <a:pt x="463" y="61"/>
                  </a:lnTo>
                  <a:lnTo>
                    <a:pt x="464" y="62"/>
                  </a:lnTo>
                  <a:lnTo>
                    <a:pt x="465" y="61"/>
                  </a:lnTo>
                  <a:lnTo>
                    <a:pt x="466" y="62"/>
                  </a:lnTo>
                  <a:lnTo>
                    <a:pt x="468" y="63"/>
                  </a:lnTo>
                  <a:lnTo>
                    <a:pt x="470" y="64"/>
                  </a:lnTo>
                  <a:lnTo>
                    <a:pt x="472" y="62"/>
                  </a:lnTo>
                  <a:lnTo>
                    <a:pt x="471" y="61"/>
                  </a:lnTo>
                  <a:lnTo>
                    <a:pt x="472" y="61"/>
                  </a:lnTo>
                  <a:lnTo>
                    <a:pt x="471" y="57"/>
                  </a:lnTo>
                  <a:lnTo>
                    <a:pt x="474" y="57"/>
                  </a:lnTo>
                  <a:lnTo>
                    <a:pt x="475" y="57"/>
                  </a:lnTo>
                  <a:lnTo>
                    <a:pt x="476" y="56"/>
                  </a:lnTo>
                  <a:lnTo>
                    <a:pt x="476" y="57"/>
                  </a:lnTo>
                  <a:lnTo>
                    <a:pt x="477" y="57"/>
                  </a:lnTo>
                  <a:lnTo>
                    <a:pt x="476" y="58"/>
                  </a:lnTo>
                  <a:lnTo>
                    <a:pt x="474" y="61"/>
                  </a:lnTo>
                  <a:lnTo>
                    <a:pt x="475" y="61"/>
                  </a:lnTo>
                  <a:lnTo>
                    <a:pt x="476" y="61"/>
                  </a:lnTo>
                  <a:lnTo>
                    <a:pt x="477" y="61"/>
                  </a:lnTo>
                  <a:lnTo>
                    <a:pt x="478" y="58"/>
                  </a:lnTo>
                  <a:lnTo>
                    <a:pt x="480" y="58"/>
                  </a:lnTo>
                  <a:lnTo>
                    <a:pt x="481" y="58"/>
                  </a:lnTo>
                  <a:lnTo>
                    <a:pt x="480" y="61"/>
                  </a:lnTo>
                  <a:lnTo>
                    <a:pt x="481" y="61"/>
                  </a:lnTo>
                  <a:lnTo>
                    <a:pt x="482" y="62"/>
                  </a:lnTo>
                  <a:lnTo>
                    <a:pt x="482" y="63"/>
                  </a:lnTo>
                  <a:lnTo>
                    <a:pt x="482" y="64"/>
                  </a:lnTo>
                  <a:lnTo>
                    <a:pt x="483" y="65"/>
                  </a:lnTo>
                  <a:lnTo>
                    <a:pt x="484" y="65"/>
                  </a:lnTo>
                  <a:lnTo>
                    <a:pt x="484" y="67"/>
                  </a:lnTo>
                  <a:lnTo>
                    <a:pt x="487" y="67"/>
                  </a:lnTo>
                  <a:lnTo>
                    <a:pt x="486" y="67"/>
                  </a:lnTo>
                  <a:lnTo>
                    <a:pt x="484" y="68"/>
                  </a:lnTo>
                  <a:lnTo>
                    <a:pt x="486" y="69"/>
                  </a:lnTo>
                  <a:lnTo>
                    <a:pt x="487" y="70"/>
                  </a:lnTo>
                  <a:lnTo>
                    <a:pt x="488" y="71"/>
                  </a:lnTo>
                  <a:lnTo>
                    <a:pt x="489" y="71"/>
                  </a:lnTo>
                  <a:lnTo>
                    <a:pt x="489" y="73"/>
                  </a:lnTo>
                  <a:lnTo>
                    <a:pt x="490" y="74"/>
                  </a:lnTo>
                  <a:lnTo>
                    <a:pt x="492" y="74"/>
                  </a:lnTo>
                  <a:lnTo>
                    <a:pt x="490" y="75"/>
                  </a:lnTo>
                  <a:lnTo>
                    <a:pt x="490" y="76"/>
                  </a:lnTo>
                  <a:lnTo>
                    <a:pt x="493" y="75"/>
                  </a:lnTo>
                  <a:lnTo>
                    <a:pt x="494" y="75"/>
                  </a:lnTo>
                  <a:lnTo>
                    <a:pt x="492" y="77"/>
                  </a:lnTo>
                  <a:lnTo>
                    <a:pt x="492" y="79"/>
                  </a:lnTo>
                  <a:lnTo>
                    <a:pt x="493" y="79"/>
                  </a:lnTo>
                  <a:lnTo>
                    <a:pt x="495" y="79"/>
                  </a:lnTo>
                  <a:lnTo>
                    <a:pt x="495" y="80"/>
                  </a:lnTo>
                  <a:lnTo>
                    <a:pt x="495" y="79"/>
                  </a:lnTo>
                  <a:lnTo>
                    <a:pt x="495" y="80"/>
                  </a:lnTo>
                  <a:lnTo>
                    <a:pt x="495" y="82"/>
                  </a:lnTo>
                  <a:lnTo>
                    <a:pt x="497" y="82"/>
                  </a:lnTo>
                  <a:lnTo>
                    <a:pt x="498" y="81"/>
                  </a:lnTo>
                  <a:lnTo>
                    <a:pt x="498" y="80"/>
                  </a:lnTo>
                  <a:lnTo>
                    <a:pt x="498" y="81"/>
                  </a:lnTo>
                  <a:lnTo>
                    <a:pt x="501" y="82"/>
                  </a:lnTo>
                  <a:lnTo>
                    <a:pt x="501" y="81"/>
                  </a:lnTo>
                  <a:lnTo>
                    <a:pt x="501" y="80"/>
                  </a:lnTo>
                  <a:lnTo>
                    <a:pt x="503" y="80"/>
                  </a:lnTo>
                  <a:lnTo>
                    <a:pt x="501" y="79"/>
                  </a:lnTo>
                  <a:lnTo>
                    <a:pt x="500" y="76"/>
                  </a:lnTo>
                  <a:lnTo>
                    <a:pt x="499" y="76"/>
                  </a:lnTo>
                  <a:lnTo>
                    <a:pt x="501" y="76"/>
                  </a:lnTo>
                  <a:lnTo>
                    <a:pt x="501" y="75"/>
                  </a:lnTo>
                  <a:lnTo>
                    <a:pt x="503" y="75"/>
                  </a:lnTo>
                  <a:lnTo>
                    <a:pt x="503" y="74"/>
                  </a:lnTo>
                  <a:lnTo>
                    <a:pt x="506" y="73"/>
                  </a:lnTo>
                  <a:lnTo>
                    <a:pt x="505" y="75"/>
                  </a:lnTo>
                  <a:lnTo>
                    <a:pt x="505" y="76"/>
                  </a:lnTo>
                  <a:lnTo>
                    <a:pt x="505" y="77"/>
                  </a:lnTo>
                  <a:lnTo>
                    <a:pt x="506" y="76"/>
                  </a:lnTo>
                  <a:lnTo>
                    <a:pt x="507" y="79"/>
                  </a:lnTo>
                  <a:lnTo>
                    <a:pt x="510" y="79"/>
                  </a:lnTo>
                  <a:lnTo>
                    <a:pt x="510" y="80"/>
                  </a:lnTo>
                  <a:lnTo>
                    <a:pt x="510" y="79"/>
                  </a:lnTo>
                  <a:lnTo>
                    <a:pt x="511" y="75"/>
                  </a:lnTo>
                  <a:lnTo>
                    <a:pt x="513" y="74"/>
                  </a:lnTo>
                  <a:lnTo>
                    <a:pt x="512" y="77"/>
                  </a:lnTo>
                  <a:lnTo>
                    <a:pt x="511" y="80"/>
                  </a:lnTo>
                  <a:lnTo>
                    <a:pt x="513" y="79"/>
                  </a:lnTo>
                  <a:lnTo>
                    <a:pt x="512" y="80"/>
                  </a:lnTo>
                  <a:lnTo>
                    <a:pt x="513" y="82"/>
                  </a:lnTo>
                  <a:lnTo>
                    <a:pt x="512" y="83"/>
                  </a:lnTo>
                  <a:lnTo>
                    <a:pt x="518" y="86"/>
                  </a:lnTo>
                  <a:lnTo>
                    <a:pt x="512" y="85"/>
                  </a:lnTo>
                  <a:lnTo>
                    <a:pt x="513" y="86"/>
                  </a:lnTo>
                  <a:lnTo>
                    <a:pt x="513" y="87"/>
                  </a:lnTo>
                  <a:lnTo>
                    <a:pt x="512" y="86"/>
                  </a:lnTo>
                  <a:lnTo>
                    <a:pt x="511" y="85"/>
                  </a:lnTo>
                  <a:lnTo>
                    <a:pt x="510" y="86"/>
                  </a:lnTo>
                  <a:lnTo>
                    <a:pt x="510" y="87"/>
                  </a:lnTo>
                  <a:lnTo>
                    <a:pt x="510" y="88"/>
                  </a:lnTo>
                  <a:lnTo>
                    <a:pt x="510" y="89"/>
                  </a:lnTo>
                  <a:lnTo>
                    <a:pt x="509" y="91"/>
                  </a:lnTo>
                  <a:lnTo>
                    <a:pt x="510" y="93"/>
                  </a:lnTo>
                  <a:lnTo>
                    <a:pt x="509" y="95"/>
                  </a:lnTo>
                  <a:lnTo>
                    <a:pt x="509" y="97"/>
                  </a:lnTo>
                  <a:lnTo>
                    <a:pt x="511" y="94"/>
                  </a:lnTo>
                  <a:lnTo>
                    <a:pt x="511" y="97"/>
                  </a:lnTo>
                  <a:lnTo>
                    <a:pt x="511" y="98"/>
                  </a:lnTo>
                  <a:lnTo>
                    <a:pt x="512" y="97"/>
                  </a:lnTo>
                  <a:lnTo>
                    <a:pt x="512" y="98"/>
                  </a:lnTo>
                  <a:lnTo>
                    <a:pt x="512" y="101"/>
                  </a:lnTo>
                  <a:lnTo>
                    <a:pt x="513" y="101"/>
                  </a:lnTo>
                  <a:lnTo>
                    <a:pt x="513" y="103"/>
                  </a:lnTo>
                  <a:lnTo>
                    <a:pt x="511" y="104"/>
                  </a:lnTo>
                  <a:lnTo>
                    <a:pt x="512" y="105"/>
                  </a:lnTo>
                  <a:lnTo>
                    <a:pt x="513" y="105"/>
                  </a:lnTo>
                  <a:lnTo>
                    <a:pt x="515" y="104"/>
                  </a:lnTo>
                  <a:lnTo>
                    <a:pt x="517" y="105"/>
                  </a:lnTo>
                  <a:lnTo>
                    <a:pt x="518" y="105"/>
                  </a:lnTo>
                  <a:lnTo>
                    <a:pt x="518" y="104"/>
                  </a:lnTo>
                  <a:lnTo>
                    <a:pt x="519" y="104"/>
                  </a:lnTo>
                  <a:lnTo>
                    <a:pt x="521" y="105"/>
                  </a:lnTo>
                  <a:lnTo>
                    <a:pt x="522" y="104"/>
                  </a:lnTo>
                  <a:lnTo>
                    <a:pt x="521" y="101"/>
                  </a:lnTo>
                  <a:lnTo>
                    <a:pt x="522" y="99"/>
                  </a:lnTo>
                  <a:lnTo>
                    <a:pt x="523" y="98"/>
                  </a:lnTo>
                  <a:lnTo>
                    <a:pt x="523" y="99"/>
                  </a:lnTo>
                  <a:lnTo>
                    <a:pt x="523" y="101"/>
                  </a:lnTo>
                  <a:lnTo>
                    <a:pt x="524" y="101"/>
                  </a:lnTo>
                  <a:lnTo>
                    <a:pt x="525" y="101"/>
                  </a:lnTo>
                  <a:lnTo>
                    <a:pt x="527" y="100"/>
                  </a:lnTo>
                  <a:lnTo>
                    <a:pt x="525" y="103"/>
                  </a:lnTo>
                  <a:lnTo>
                    <a:pt x="527" y="103"/>
                  </a:lnTo>
                  <a:lnTo>
                    <a:pt x="528" y="103"/>
                  </a:lnTo>
                  <a:lnTo>
                    <a:pt x="528" y="104"/>
                  </a:lnTo>
                  <a:lnTo>
                    <a:pt x="527" y="105"/>
                  </a:lnTo>
                  <a:lnTo>
                    <a:pt x="529" y="105"/>
                  </a:lnTo>
                  <a:lnTo>
                    <a:pt x="530" y="105"/>
                  </a:lnTo>
                  <a:lnTo>
                    <a:pt x="530" y="104"/>
                  </a:lnTo>
                  <a:lnTo>
                    <a:pt x="530" y="105"/>
                  </a:lnTo>
                  <a:lnTo>
                    <a:pt x="534" y="106"/>
                  </a:lnTo>
                  <a:lnTo>
                    <a:pt x="533" y="107"/>
                  </a:lnTo>
                  <a:lnTo>
                    <a:pt x="531" y="109"/>
                  </a:lnTo>
                  <a:lnTo>
                    <a:pt x="530" y="109"/>
                  </a:lnTo>
                  <a:lnTo>
                    <a:pt x="531" y="110"/>
                  </a:lnTo>
                  <a:lnTo>
                    <a:pt x="533" y="111"/>
                  </a:lnTo>
                  <a:lnTo>
                    <a:pt x="530" y="112"/>
                  </a:lnTo>
                  <a:lnTo>
                    <a:pt x="530" y="113"/>
                  </a:lnTo>
                  <a:lnTo>
                    <a:pt x="529" y="112"/>
                  </a:lnTo>
                  <a:lnTo>
                    <a:pt x="528" y="115"/>
                  </a:lnTo>
                  <a:lnTo>
                    <a:pt x="527" y="115"/>
                  </a:lnTo>
                  <a:lnTo>
                    <a:pt x="525" y="112"/>
                  </a:lnTo>
                  <a:lnTo>
                    <a:pt x="524" y="112"/>
                  </a:lnTo>
                  <a:lnTo>
                    <a:pt x="524" y="115"/>
                  </a:lnTo>
                  <a:lnTo>
                    <a:pt x="524" y="116"/>
                  </a:lnTo>
                  <a:lnTo>
                    <a:pt x="523" y="116"/>
                  </a:lnTo>
                  <a:lnTo>
                    <a:pt x="522" y="117"/>
                  </a:lnTo>
                  <a:lnTo>
                    <a:pt x="521" y="117"/>
                  </a:lnTo>
                  <a:lnTo>
                    <a:pt x="521" y="118"/>
                  </a:lnTo>
                  <a:lnTo>
                    <a:pt x="519" y="118"/>
                  </a:lnTo>
                  <a:lnTo>
                    <a:pt x="518" y="117"/>
                  </a:lnTo>
                  <a:lnTo>
                    <a:pt x="517" y="118"/>
                  </a:lnTo>
                  <a:lnTo>
                    <a:pt x="516" y="117"/>
                  </a:lnTo>
                  <a:lnTo>
                    <a:pt x="515" y="117"/>
                  </a:lnTo>
                  <a:lnTo>
                    <a:pt x="515" y="119"/>
                  </a:lnTo>
                  <a:lnTo>
                    <a:pt x="513" y="122"/>
                  </a:lnTo>
                  <a:lnTo>
                    <a:pt x="513" y="124"/>
                  </a:lnTo>
                  <a:lnTo>
                    <a:pt x="515" y="123"/>
                  </a:lnTo>
                  <a:lnTo>
                    <a:pt x="516" y="122"/>
                  </a:lnTo>
                  <a:lnTo>
                    <a:pt x="517" y="123"/>
                  </a:lnTo>
                  <a:lnTo>
                    <a:pt x="519" y="123"/>
                  </a:lnTo>
                  <a:lnTo>
                    <a:pt x="521" y="123"/>
                  </a:lnTo>
                  <a:lnTo>
                    <a:pt x="521" y="121"/>
                  </a:lnTo>
                  <a:lnTo>
                    <a:pt x="522" y="121"/>
                  </a:lnTo>
                  <a:lnTo>
                    <a:pt x="523" y="123"/>
                  </a:lnTo>
                  <a:lnTo>
                    <a:pt x="523" y="125"/>
                  </a:lnTo>
                  <a:lnTo>
                    <a:pt x="524" y="125"/>
                  </a:lnTo>
                  <a:lnTo>
                    <a:pt x="525" y="127"/>
                  </a:lnTo>
                  <a:lnTo>
                    <a:pt x="525" y="128"/>
                  </a:lnTo>
                  <a:lnTo>
                    <a:pt x="527" y="130"/>
                  </a:lnTo>
                  <a:lnTo>
                    <a:pt x="528" y="130"/>
                  </a:lnTo>
                  <a:lnTo>
                    <a:pt x="529" y="130"/>
                  </a:lnTo>
                  <a:lnTo>
                    <a:pt x="531" y="129"/>
                  </a:lnTo>
                  <a:lnTo>
                    <a:pt x="533" y="129"/>
                  </a:lnTo>
                  <a:lnTo>
                    <a:pt x="531" y="130"/>
                  </a:lnTo>
                  <a:lnTo>
                    <a:pt x="530" y="133"/>
                  </a:lnTo>
                  <a:lnTo>
                    <a:pt x="529" y="133"/>
                  </a:lnTo>
                  <a:lnTo>
                    <a:pt x="528" y="134"/>
                  </a:lnTo>
                  <a:lnTo>
                    <a:pt x="530" y="134"/>
                  </a:lnTo>
                  <a:lnTo>
                    <a:pt x="528" y="135"/>
                  </a:lnTo>
                  <a:lnTo>
                    <a:pt x="528" y="136"/>
                  </a:lnTo>
                  <a:lnTo>
                    <a:pt x="528" y="137"/>
                  </a:lnTo>
                  <a:lnTo>
                    <a:pt x="525" y="140"/>
                  </a:lnTo>
                  <a:lnTo>
                    <a:pt x="527" y="140"/>
                  </a:lnTo>
                  <a:lnTo>
                    <a:pt x="525" y="141"/>
                  </a:lnTo>
                  <a:lnTo>
                    <a:pt x="527" y="143"/>
                  </a:lnTo>
                  <a:lnTo>
                    <a:pt x="528" y="146"/>
                  </a:lnTo>
                  <a:lnTo>
                    <a:pt x="529" y="145"/>
                  </a:lnTo>
                  <a:lnTo>
                    <a:pt x="529" y="142"/>
                  </a:lnTo>
                  <a:lnTo>
                    <a:pt x="529" y="141"/>
                  </a:lnTo>
                  <a:lnTo>
                    <a:pt x="529" y="140"/>
                  </a:lnTo>
                  <a:lnTo>
                    <a:pt x="530" y="140"/>
                  </a:lnTo>
                  <a:lnTo>
                    <a:pt x="533" y="140"/>
                  </a:lnTo>
                  <a:lnTo>
                    <a:pt x="533" y="139"/>
                  </a:lnTo>
                  <a:lnTo>
                    <a:pt x="534" y="140"/>
                  </a:lnTo>
                  <a:lnTo>
                    <a:pt x="534" y="142"/>
                  </a:lnTo>
                  <a:lnTo>
                    <a:pt x="535" y="142"/>
                  </a:lnTo>
                  <a:lnTo>
                    <a:pt x="536" y="142"/>
                  </a:lnTo>
                  <a:lnTo>
                    <a:pt x="537" y="142"/>
                  </a:lnTo>
                  <a:lnTo>
                    <a:pt x="540" y="145"/>
                  </a:lnTo>
                  <a:lnTo>
                    <a:pt x="540" y="143"/>
                  </a:lnTo>
                  <a:lnTo>
                    <a:pt x="541" y="143"/>
                  </a:lnTo>
                  <a:lnTo>
                    <a:pt x="540" y="146"/>
                  </a:lnTo>
                  <a:lnTo>
                    <a:pt x="541" y="146"/>
                  </a:lnTo>
                  <a:lnTo>
                    <a:pt x="541" y="147"/>
                  </a:lnTo>
                  <a:lnTo>
                    <a:pt x="541" y="148"/>
                  </a:lnTo>
                  <a:lnTo>
                    <a:pt x="541" y="150"/>
                  </a:lnTo>
                  <a:lnTo>
                    <a:pt x="539" y="150"/>
                  </a:lnTo>
                  <a:lnTo>
                    <a:pt x="537" y="150"/>
                  </a:lnTo>
                  <a:lnTo>
                    <a:pt x="537" y="151"/>
                  </a:lnTo>
                  <a:lnTo>
                    <a:pt x="537" y="152"/>
                  </a:lnTo>
                  <a:lnTo>
                    <a:pt x="539" y="152"/>
                  </a:lnTo>
                  <a:lnTo>
                    <a:pt x="540" y="153"/>
                  </a:lnTo>
                  <a:lnTo>
                    <a:pt x="539" y="153"/>
                  </a:lnTo>
                  <a:lnTo>
                    <a:pt x="537" y="153"/>
                  </a:lnTo>
                  <a:lnTo>
                    <a:pt x="536" y="153"/>
                  </a:lnTo>
                  <a:lnTo>
                    <a:pt x="537" y="154"/>
                  </a:lnTo>
                  <a:lnTo>
                    <a:pt x="537" y="156"/>
                  </a:lnTo>
                  <a:lnTo>
                    <a:pt x="537" y="158"/>
                  </a:lnTo>
                  <a:lnTo>
                    <a:pt x="536" y="159"/>
                  </a:lnTo>
                  <a:lnTo>
                    <a:pt x="537" y="160"/>
                  </a:lnTo>
                  <a:lnTo>
                    <a:pt x="539" y="162"/>
                  </a:lnTo>
                  <a:lnTo>
                    <a:pt x="539" y="159"/>
                  </a:lnTo>
                  <a:lnTo>
                    <a:pt x="540" y="157"/>
                  </a:lnTo>
                  <a:lnTo>
                    <a:pt x="540" y="158"/>
                  </a:lnTo>
                  <a:lnTo>
                    <a:pt x="541" y="159"/>
                  </a:lnTo>
                  <a:lnTo>
                    <a:pt x="542" y="160"/>
                  </a:lnTo>
                  <a:lnTo>
                    <a:pt x="543" y="163"/>
                  </a:lnTo>
                  <a:lnTo>
                    <a:pt x="542" y="163"/>
                  </a:lnTo>
                  <a:lnTo>
                    <a:pt x="541" y="163"/>
                  </a:lnTo>
                  <a:lnTo>
                    <a:pt x="540" y="164"/>
                  </a:lnTo>
                  <a:lnTo>
                    <a:pt x="539" y="166"/>
                  </a:lnTo>
                  <a:lnTo>
                    <a:pt x="539" y="168"/>
                  </a:lnTo>
                  <a:lnTo>
                    <a:pt x="540" y="169"/>
                  </a:lnTo>
                  <a:lnTo>
                    <a:pt x="541" y="166"/>
                  </a:lnTo>
                  <a:lnTo>
                    <a:pt x="541" y="168"/>
                  </a:lnTo>
                  <a:lnTo>
                    <a:pt x="542" y="166"/>
                  </a:lnTo>
                  <a:lnTo>
                    <a:pt x="543" y="166"/>
                  </a:lnTo>
                  <a:lnTo>
                    <a:pt x="545" y="166"/>
                  </a:lnTo>
                  <a:lnTo>
                    <a:pt x="546" y="165"/>
                  </a:lnTo>
                  <a:lnTo>
                    <a:pt x="547" y="165"/>
                  </a:lnTo>
                  <a:lnTo>
                    <a:pt x="549" y="164"/>
                  </a:lnTo>
                  <a:lnTo>
                    <a:pt x="549" y="163"/>
                  </a:lnTo>
                  <a:lnTo>
                    <a:pt x="548" y="162"/>
                  </a:lnTo>
                  <a:lnTo>
                    <a:pt x="548" y="160"/>
                  </a:lnTo>
                  <a:lnTo>
                    <a:pt x="551" y="162"/>
                  </a:lnTo>
                  <a:lnTo>
                    <a:pt x="552" y="162"/>
                  </a:lnTo>
                  <a:lnTo>
                    <a:pt x="556" y="160"/>
                  </a:lnTo>
                  <a:lnTo>
                    <a:pt x="553" y="163"/>
                  </a:lnTo>
                  <a:lnTo>
                    <a:pt x="552" y="164"/>
                  </a:lnTo>
                  <a:lnTo>
                    <a:pt x="552" y="165"/>
                  </a:lnTo>
                  <a:lnTo>
                    <a:pt x="553" y="165"/>
                  </a:lnTo>
                  <a:lnTo>
                    <a:pt x="554" y="166"/>
                  </a:lnTo>
                  <a:lnTo>
                    <a:pt x="556" y="165"/>
                  </a:lnTo>
                  <a:lnTo>
                    <a:pt x="556" y="166"/>
                  </a:lnTo>
                  <a:lnTo>
                    <a:pt x="557" y="166"/>
                  </a:lnTo>
                  <a:lnTo>
                    <a:pt x="560" y="166"/>
                  </a:lnTo>
                  <a:lnTo>
                    <a:pt x="560" y="168"/>
                  </a:lnTo>
                  <a:lnTo>
                    <a:pt x="559" y="168"/>
                  </a:lnTo>
                  <a:lnTo>
                    <a:pt x="557" y="168"/>
                  </a:lnTo>
                  <a:lnTo>
                    <a:pt x="554" y="168"/>
                  </a:lnTo>
                  <a:lnTo>
                    <a:pt x="554" y="169"/>
                  </a:lnTo>
                  <a:lnTo>
                    <a:pt x="556" y="169"/>
                  </a:lnTo>
                  <a:lnTo>
                    <a:pt x="557" y="170"/>
                  </a:lnTo>
                  <a:lnTo>
                    <a:pt x="558" y="171"/>
                  </a:lnTo>
                  <a:lnTo>
                    <a:pt x="557" y="171"/>
                  </a:lnTo>
                  <a:lnTo>
                    <a:pt x="556" y="171"/>
                  </a:lnTo>
                  <a:lnTo>
                    <a:pt x="554" y="172"/>
                  </a:lnTo>
                  <a:lnTo>
                    <a:pt x="553" y="174"/>
                  </a:lnTo>
                  <a:lnTo>
                    <a:pt x="551" y="174"/>
                  </a:lnTo>
                  <a:lnTo>
                    <a:pt x="551" y="176"/>
                  </a:lnTo>
                  <a:lnTo>
                    <a:pt x="551" y="177"/>
                  </a:lnTo>
                  <a:lnTo>
                    <a:pt x="551" y="178"/>
                  </a:lnTo>
                  <a:lnTo>
                    <a:pt x="549" y="177"/>
                  </a:lnTo>
                  <a:lnTo>
                    <a:pt x="546" y="176"/>
                  </a:lnTo>
                  <a:lnTo>
                    <a:pt x="543" y="177"/>
                  </a:lnTo>
                  <a:lnTo>
                    <a:pt x="543" y="178"/>
                  </a:lnTo>
                  <a:lnTo>
                    <a:pt x="547" y="180"/>
                  </a:lnTo>
                  <a:lnTo>
                    <a:pt x="551" y="180"/>
                  </a:lnTo>
                  <a:lnTo>
                    <a:pt x="554" y="177"/>
                  </a:lnTo>
                  <a:lnTo>
                    <a:pt x="554" y="178"/>
                  </a:lnTo>
                  <a:lnTo>
                    <a:pt x="556" y="177"/>
                  </a:lnTo>
                  <a:lnTo>
                    <a:pt x="558" y="177"/>
                  </a:lnTo>
                  <a:lnTo>
                    <a:pt x="557" y="178"/>
                  </a:lnTo>
                  <a:lnTo>
                    <a:pt x="558" y="181"/>
                  </a:lnTo>
                  <a:lnTo>
                    <a:pt x="559" y="181"/>
                  </a:lnTo>
                  <a:lnTo>
                    <a:pt x="559" y="183"/>
                  </a:lnTo>
                  <a:lnTo>
                    <a:pt x="557" y="183"/>
                  </a:lnTo>
                  <a:lnTo>
                    <a:pt x="556" y="182"/>
                  </a:lnTo>
                  <a:lnTo>
                    <a:pt x="554" y="183"/>
                  </a:lnTo>
                  <a:lnTo>
                    <a:pt x="554" y="184"/>
                  </a:lnTo>
                  <a:lnTo>
                    <a:pt x="553" y="184"/>
                  </a:lnTo>
                  <a:lnTo>
                    <a:pt x="552" y="183"/>
                  </a:lnTo>
                  <a:lnTo>
                    <a:pt x="552" y="181"/>
                  </a:lnTo>
                  <a:lnTo>
                    <a:pt x="551" y="181"/>
                  </a:lnTo>
                  <a:lnTo>
                    <a:pt x="547" y="181"/>
                  </a:lnTo>
                  <a:lnTo>
                    <a:pt x="545" y="181"/>
                  </a:lnTo>
                  <a:lnTo>
                    <a:pt x="545" y="182"/>
                  </a:lnTo>
                  <a:lnTo>
                    <a:pt x="546" y="182"/>
                  </a:lnTo>
                  <a:lnTo>
                    <a:pt x="547" y="182"/>
                  </a:lnTo>
                  <a:lnTo>
                    <a:pt x="547" y="184"/>
                  </a:lnTo>
                  <a:lnTo>
                    <a:pt x="548" y="184"/>
                  </a:lnTo>
                  <a:lnTo>
                    <a:pt x="548" y="186"/>
                  </a:lnTo>
                  <a:lnTo>
                    <a:pt x="547" y="187"/>
                  </a:lnTo>
                  <a:lnTo>
                    <a:pt x="547" y="189"/>
                  </a:lnTo>
                  <a:lnTo>
                    <a:pt x="546" y="189"/>
                  </a:lnTo>
                  <a:lnTo>
                    <a:pt x="545" y="190"/>
                  </a:lnTo>
                  <a:lnTo>
                    <a:pt x="546" y="190"/>
                  </a:lnTo>
                  <a:lnTo>
                    <a:pt x="548" y="189"/>
                  </a:lnTo>
                  <a:lnTo>
                    <a:pt x="547" y="192"/>
                  </a:lnTo>
                  <a:lnTo>
                    <a:pt x="547" y="194"/>
                  </a:lnTo>
                  <a:lnTo>
                    <a:pt x="548" y="194"/>
                  </a:lnTo>
                  <a:lnTo>
                    <a:pt x="547" y="195"/>
                  </a:lnTo>
                  <a:lnTo>
                    <a:pt x="548" y="196"/>
                  </a:lnTo>
                  <a:lnTo>
                    <a:pt x="549" y="196"/>
                  </a:lnTo>
                  <a:lnTo>
                    <a:pt x="547" y="198"/>
                  </a:lnTo>
                  <a:lnTo>
                    <a:pt x="547" y="200"/>
                  </a:lnTo>
                  <a:lnTo>
                    <a:pt x="548" y="201"/>
                  </a:lnTo>
                  <a:lnTo>
                    <a:pt x="551" y="201"/>
                  </a:lnTo>
                  <a:lnTo>
                    <a:pt x="551" y="202"/>
                  </a:lnTo>
                  <a:lnTo>
                    <a:pt x="549" y="204"/>
                  </a:lnTo>
                  <a:lnTo>
                    <a:pt x="548" y="202"/>
                  </a:lnTo>
                  <a:lnTo>
                    <a:pt x="546" y="202"/>
                  </a:lnTo>
                  <a:lnTo>
                    <a:pt x="547" y="204"/>
                  </a:lnTo>
                  <a:lnTo>
                    <a:pt x="547" y="205"/>
                  </a:lnTo>
                  <a:lnTo>
                    <a:pt x="548" y="205"/>
                  </a:lnTo>
                  <a:lnTo>
                    <a:pt x="548" y="207"/>
                  </a:lnTo>
                  <a:lnTo>
                    <a:pt x="547" y="207"/>
                  </a:lnTo>
                  <a:lnTo>
                    <a:pt x="547" y="208"/>
                  </a:lnTo>
                  <a:lnTo>
                    <a:pt x="546" y="207"/>
                  </a:lnTo>
                  <a:lnTo>
                    <a:pt x="546" y="205"/>
                  </a:lnTo>
                  <a:lnTo>
                    <a:pt x="545" y="205"/>
                  </a:lnTo>
                  <a:lnTo>
                    <a:pt x="543" y="205"/>
                  </a:lnTo>
                  <a:lnTo>
                    <a:pt x="542" y="205"/>
                  </a:lnTo>
                  <a:lnTo>
                    <a:pt x="541" y="205"/>
                  </a:lnTo>
                  <a:lnTo>
                    <a:pt x="540" y="204"/>
                  </a:lnTo>
                  <a:lnTo>
                    <a:pt x="537" y="204"/>
                  </a:lnTo>
                  <a:lnTo>
                    <a:pt x="536" y="204"/>
                  </a:lnTo>
                  <a:lnTo>
                    <a:pt x="536" y="205"/>
                  </a:lnTo>
                  <a:lnTo>
                    <a:pt x="537" y="206"/>
                  </a:lnTo>
                  <a:lnTo>
                    <a:pt x="537" y="205"/>
                  </a:lnTo>
                  <a:lnTo>
                    <a:pt x="539" y="205"/>
                  </a:lnTo>
                  <a:lnTo>
                    <a:pt x="539" y="207"/>
                  </a:lnTo>
                  <a:lnTo>
                    <a:pt x="540" y="207"/>
                  </a:lnTo>
                  <a:lnTo>
                    <a:pt x="539" y="208"/>
                  </a:lnTo>
                  <a:lnTo>
                    <a:pt x="540" y="210"/>
                  </a:lnTo>
                  <a:lnTo>
                    <a:pt x="541" y="208"/>
                  </a:lnTo>
                  <a:lnTo>
                    <a:pt x="541" y="210"/>
                  </a:lnTo>
                  <a:lnTo>
                    <a:pt x="541" y="211"/>
                  </a:lnTo>
                  <a:lnTo>
                    <a:pt x="541" y="212"/>
                  </a:lnTo>
                  <a:lnTo>
                    <a:pt x="540" y="217"/>
                  </a:lnTo>
                  <a:lnTo>
                    <a:pt x="543" y="217"/>
                  </a:lnTo>
                  <a:lnTo>
                    <a:pt x="543" y="219"/>
                  </a:lnTo>
                  <a:lnTo>
                    <a:pt x="546" y="219"/>
                  </a:lnTo>
                  <a:lnTo>
                    <a:pt x="547" y="220"/>
                  </a:lnTo>
                  <a:lnTo>
                    <a:pt x="548" y="220"/>
                  </a:lnTo>
                  <a:lnTo>
                    <a:pt x="549" y="219"/>
                  </a:lnTo>
                  <a:lnTo>
                    <a:pt x="549" y="220"/>
                  </a:lnTo>
                  <a:lnTo>
                    <a:pt x="549" y="222"/>
                  </a:lnTo>
                  <a:lnTo>
                    <a:pt x="552" y="222"/>
                  </a:lnTo>
                  <a:lnTo>
                    <a:pt x="553" y="220"/>
                  </a:lnTo>
                  <a:lnTo>
                    <a:pt x="554" y="219"/>
                  </a:lnTo>
                  <a:lnTo>
                    <a:pt x="556" y="220"/>
                  </a:lnTo>
                  <a:lnTo>
                    <a:pt x="556" y="222"/>
                  </a:lnTo>
                  <a:lnTo>
                    <a:pt x="553" y="223"/>
                  </a:lnTo>
                  <a:lnTo>
                    <a:pt x="554" y="224"/>
                  </a:lnTo>
                  <a:lnTo>
                    <a:pt x="557" y="224"/>
                  </a:lnTo>
                  <a:lnTo>
                    <a:pt x="557" y="226"/>
                  </a:lnTo>
                  <a:lnTo>
                    <a:pt x="558" y="228"/>
                  </a:lnTo>
                  <a:lnTo>
                    <a:pt x="559" y="226"/>
                  </a:lnTo>
                  <a:lnTo>
                    <a:pt x="560" y="226"/>
                  </a:lnTo>
                  <a:lnTo>
                    <a:pt x="562" y="226"/>
                  </a:lnTo>
                  <a:lnTo>
                    <a:pt x="562" y="225"/>
                  </a:lnTo>
                  <a:lnTo>
                    <a:pt x="563" y="224"/>
                  </a:lnTo>
                  <a:lnTo>
                    <a:pt x="563" y="225"/>
                  </a:lnTo>
                  <a:lnTo>
                    <a:pt x="563" y="226"/>
                  </a:lnTo>
                  <a:lnTo>
                    <a:pt x="564" y="226"/>
                  </a:lnTo>
                  <a:lnTo>
                    <a:pt x="565" y="226"/>
                  </a:lnTo>
                  <a:lnTo>
                    <a:pt x="566" y="225"/>
                  </a:lnTo>
                  <a:lnTo>
                    <a:pt x="566" y="224"/>
                  </a:lnTo>
                  <a:lnTo>
                    <a:pt x="568" y="223"/>
                  </a:lnTo>
                  <a:lnTo>
                    <a:pt x="569" y="224"/>
                  </a:lnTo>
                  <a:lnTo>
                    <a:pt x="569" y="225"/>
                  </a:lnTo>
                  <a:lnTo>
                    <a:pt x="568" y="230"/>
                  </a:lnTo>
                  <a:lnTo>
                    <a:pt x="566" y="230"/>
                  </a:lnTo>
                  <a:lnTo>
                    <a:pt x="565" y="231"/>
                  </a:lnTo>
                  <a:lnTo>
                    <a:pt x="565" y="232"/>
                  </a:lnTo>
                  <a:lnTo>
                    <a:pt x="564" y="231"/>
                  </a:lnTo>
                  <a:lnTo>
                    <a:pt x="563" y="231"/>
                  </a:lnTo>
                  <a:lnTo>
                    <a:pt x="564" y="234"/>
                  </a:lnTo>
                  <a:lnTo>
                    <a:pt x="563" y="234"/>
                  </a:lnTo>
                  <a:lnTo>
                    <a:pt x="562" y="234"/>
                  </a:lnTo>
                  <a:lnTo>
                    <a:pt x="558" y="235"/>
                  </a:lnTo>
                  <a:lnTo>
                    <a:pt x="557" y="235"/>
                  </a:lnTo>
                  <a:lnTo>
                    <a:pt x="556" y="236"/>
                  </a:lnTo>
                  <a:lnTo>
                    <a:pt x="554" y="236"/>
                  </a:lnTo>
                  <a:lnTo>
                    <a:pt x="553" y="238"/>
                  </a:lnTo>
                  <a:lnTo>
                    <a:pt x="552" y="238"/>
                  </a:lnTo>
                  <a:lnTo>
                    <a:pt x="549" y="238"/>
                  </a:lnTo>
                  <a:lnTo>
                    <a:pt x="551" y="240"/>
                  </a:lnTo>
                  <a:lnTo>
                    <a:pt x="552" y="241"/>
                  </a:lnTo>
                  <a:lnTo>
                    <a:pt x="552" y="242"/>
                  </a:lnTo>
                  <a:lnTo>
                    <a:pt x="554" y="241"/>
                  </a:lnTo>
                  <a:lnTo>
                    <a:pt x="554" y="242"/>
                  </a:lnTo>
                  <a:lnTo>
                    <a:pt x="557" y="242"/>
                  </a:lnTo>
                  <a:lnTo>
                    <a:pt x="557" y="240"/>
                  </a:lnTo>
                  <a:lnTo>
                    <a:pt x="559" y="241"/>
                  </a:lnTo>
                  <a:lnTo>
                    <a:pt x="563" y="240"/>
                  </a:lnTo>
                  <a:lnTo>
                    <a:pt x="564" y="238"/>
                  </a:lnTo>
                  <a:lnTo>
                    <a:pt x="564" y="237"/>
                  </a:lnTo>
                  <a:lnTo>
                    <a:pt x="564" y="236"/>
                  </a:lnTo>
                  <a:lnTo>
                    <a:pt x="564" y="235"/>
                  </a:lnTo>
                  <a:lnTo>
                    <a:pt x="566" y="235"/>
                  </a:lnTo>
                  <a:lnTo>
                    <a:pt x="568" y="234"/>
                  </a:lnTo>
                  <a:lnTo>
                    <a:pt x="570" y="236"/>
                  </a:lnTo>
                  <a:lnTo>
                    <a:pt x="571" y="235"/>
                  </a:lnTo>
                  <a:lnTo>
                    <a:pt x="572" y="235"/>
                  </a:lnTo>
                  <a:lnTo>
                    <a:pt x="574" y="232"/>
                  </a:lnTo>
                  <a:lnTo>
                    <a:pt x="574" y="235"/>
                  </a:lnTo>
                  <a:lnTo>
                    <a:pt x="575" y="235"/>
                  </a:lnTo>
                  <a:lnTo>
                    <a:pt x="576" y="235"/>
                  </a:lnTo>
                  <a:lnTo>
                    <a:pt x="578" y="235"/>
                  </a:lnTo>
                  <a:lnTo>
                    <a:pt x="577" y="235"/>
                  </a:lnTo>
                  <a:lnTo>
                    <a:pt x="575" y="236"/>
                  </a:lnTo>
                  <a:lnTo>
                    <a:pt x="572" y="237"/>
                  </a:lnTo>
                  <a:lnTo>
                    <a:pt x="574" y="237"/>
                  </a:lnTo>
                  <a:lnTo>
                    <a:pt x="574" y="238"/>
                  </a:lnTo>
                  <a:lnTo>
                    <a:pt x="576" y="241"/>
                  </a:lnTo>
                  <a:lnTo>
                    <a:pt x="574" y="241"/>
                  </a:lnTo>
                  <a:lnTo>
                    <a:pt x="572" y="241"/>
                  </a:lnTo>
                  <a:lnTo>
                    <a:pt x="571" y="241"/>
                  </a:lnTo>
                  <a:lnTo>
                    <a:pt x="569" y="240"/>
                  </a:lnTo>
                  <a:lnTo>
                    <a:pt x="570" y="241"/>
                  </a:lnTo>
                  <a:lnTo>
                    <a:pt x="571" y="242"/>
                  </a:lnTo>
                  <a:lnTo>
                    <a:pt x="572" y="244"/>
                  </a:lnTo>
                  <a:lnTo>
                    <a:pt x="574" y="246"/>
                  </a:lnTo>
                  <a:lnTo>
                    <a:pt x="571" y="248"/>
                  </a:lnTo>
                  <a:lnTo>
                    <a:pt x="575" y="247"/>
                  </a:lnTo>
                  <a:lnTo>
                    <a:pt x="576" y="246"/>
                  </a:lnTo>
                  <a:lnTo>
                    <a:pt x="577" y="247"/>
                  </a:lnTo>
                  <a:lnTo>
                    <a:pt x="578" y="249"/>
                  </a:lnTo>
                  <a:lnTo>
                    <a:pt x="578" y="250"/>
                  </a:lnTo>
                  <a:lnTo>
                    <a:pt x="576" y="249"/>
                  </a:lnTo>
                  <a:lnTo>
                    <a:pt x="575" y="248"/>
                  </a:lnTo>
                  <a:lnTo>
                    <a:pt x="574" y="248"/>
                  </a:lnTo>
                  <a:lnTo>
                    <a:pt x="575" y="250"/>
                  </a:lnTo>
                  <a:lnTo>
                    <a:pt x="576" y="252"/>
                  </a:lnTo>
                  <a:lnTo>
                    <a:pt x="574" y="250"/>
                  </a:lnTo>
                  <a:lnTo>
                    <a:pt x="572" y="250"/>
                  </a:lnTo>
                  <a:lnTo>
                    <a:pt x="572" y="252"/>
                  </a:lnTo>
                  <a:lnTo>
                    <a:pt x="574" y="254"/>
                  </a:lnTo>
                  <a:lnTo>
                    <a:pt x="571" y="254"/>
                  </a:lnTo>
                  <a:lnTo>
                    <a:pt x="572" y="255"/>
                  </a:lnTo>
                  <a:lnTo>
                    <a:pt x="571" y="257"/>
                  </a:lnTo>
                  <a:lnTo>
                    <a:pt x="570" y="257"/>
                  </a:lnTo>
                  <a:lnTo>
                    <a:pt x="571" y="259"/>
                  </a:lnTo>
                  <a:lnTo>
                    <a:pt x="569" y="260"/>
                  </a:lnTo>
                  <a:lnTo>
                    <a:pt x="570" y="261"/>
                  </a:lnTo>
                  <a:lnTo>
                    <a:pt x="571" y="261"/>
                  </a:lnTo>
                  <a:lnTo>
                    <a:pt x="574" y="261"/>
                  </a:lnTo>
                  <a:lnTo>
                    <a:pt x="575" y="263"/>
                  </a:lnTo>
                  <a:lnTo>
                    <a:pt x="577" y="264"/>
                  </a:lnTo>
                  <a:lnTo>
                    <a:pt x="578" y="264"/>
                  </a:lnTo>
                  <a:lnTo>
                    <a:pt x="581" y="265"/>
                  </a:lnTo>
                  <a:lnTo>
                    <a:pt x="583" y="265"/>
                  </a:lnTo>
                  <a:lnTo>
                    <a:pt x="584" y="265"/>
                  </a:lnTo>
                  <a:lnTo>
                    <a:pt x="586" y="267"/>
                  </a:lnTo>
                  <a:lnTo>
                    <a:pt x="588" y="267"/>
                  </a:lnTo>
                  <a:lnTo>
                    <a:pt x="586" y="269"/>
                  </a:lnTo>
                  <a:lnTo>
                    <a:pt x="584" y="269"/>
                  </a:lnTo>
                  <a:lnTo>
                    <a:pt x="584" y="270"/>
                  </a:lnTo>
                  <a:lnTo>
                    <a:pt x="584" y="271"/>
                  </a:lnTo>
                  <a:lnTo>
                    <a:pt x="584" y="272"/>
                  </a:lnTo>
                  <a:lnTo>
                    <a:pt x="586" y="275"/>
                  </a:lnTo>
                  <a:lnTo>
                    <a:pt x="584" y="273"/>
                  </a:lnTo>
                  <a:lnTo>
                    <a:pt x="584" y="275"/>
                  </a:lnTo>
                  <a:lnTo>
                    <a:pt x="584" y="276"/>
                  </a:lnTo>
                  <a:lnTo>
                    <a:pt x="583" y="277"/>
                  </a:lnTo>
                  <a:lnTo>
                    <a:pt x="581" y="278"/>
                  </a:lnTo>
                  <a:lnTo>
                    <a:pt x="581" y="279"/>
                  </a:lnTo>
                  <a:lnTo>
                    <a:pt x="583" y="279"/>
                  </a:lnTo>
                  <a:lnTo>
                    <a:pt x="583" y="278"/>
                  </a:lnTo>
                  <a:lnTo>
                    <a:pt x="584" y="278"/>
                  </a:lnTo>
                  <a:lnTo>
                    <a:pt x="584" y="281"/>
                  </a:lnTo>
                  <a:lnTo>
                    <a:pt x="583" y="282"/>
                  </a:lnTo>
                  <a:lnTo>
                    <a:pt x="583" y="283"/>
                  </a:lnTo>
                  <a:lnTo>
                    <a:pt x="584" y="284"/>
                  </a:lnTo>
                  <a:lnTo>
                    <a:pt x="584" y="285"/>
                  </a:lnTo>
                  <a:lnTo>
                    <a:pt x="583" y="287"/>
                  </a:lnTo>
                  <a:lnTo>
                    <a:pt x="582" y="284"/>
                  </a:lnTo>
                  <a:lnTo>
                    <a:pt x="581" y="285"/>
                  </a:lnTo>
                  <a:lnTo>
                    <a:pt x="581" y="287"/>
                  </a:lnTo>
                  <a:lnTo>
                    <a:pt x="580" y="285"/>
                  </a:lnTo>
                  <a:lnTo>
                    <a:pt x="578" y="285"/>
                  </a:lnTo>
                  <a:lnTo>
                    <a:pt x="578" y="287"/>
                  </a:lnTo>
                  <a:lnTo>
                    <a:pt x="578" y="288"/>
                  </a:lnTo>
                  <a:lnTo>
                    <a:pt x="581" y="288"/>
                  </a:lnTo>
                  <a:lnTo>
                    <a:pt x="582" y="288"/>
                  </a:lnTo>
                  <a:lnTo>
                    <a:pt x="584" y="289"/>
                  </a:lnTo>
                  <a:lnTo>
                    <a:pt x="586" y="288"/>
                  </a:lnTo>
                  <a:lnTo>
                    <a:pt x="587" y="287"/>
                  </a:lnTo>
                  <a:lnTo>
                    <a:pt x="586" y="285"/>
                  </a:lnTo>
                  <a:lnTo>
                    <a:pt x="587" y="284"/>
                  </a:lnTo>
                  <a:lnTo>
                    <a:pt x="588" y="284"/>
                  </a:lnTo>
                  <a:lnTo>
                    <a:pt x="590" y="284"/>
                  </a:lnTo>
                  <a:lnTo>
                    <a:pt x="589" y="281"/>
                  </a:lnTo>
                  <a:lnTo>
                    <a:pt x="589" y="278"/>
                  </a:lnTo>
                  <a:lnTo>
                    <a:pt x="589" y="277"/>
                  </a:lnTo>
                  <a:lnTo>
                    <a:pt x="590" y="277"/>
                  </a:lnTo>
                  <a:lnTo>
                    <a:pt x="592" y="277"/>
                  </a:lnTo>
                  <a:lnTo>
                    <a:pt x="593" y="278"/>
                  </a:lnTo>
                  <a:lnTo>
                    <a:pt x="592" y="279"/>
                  </a:lnTo>
                  <a:lnTo>
                    <a:pt x="590" y="281"/>
                  </a:lnTo>
                  <a:lnTo>
                    <a:pt x="590" y="283"/>
                  </a:lnTo>
                  <a:lnTo>
                    <a:pt x="592" y="284"/>
                  </a:lnTo>
                  <a:lnTo>
                    <a:pt x="593" y="284"/>
                  </a:lnTo>
                  <a:lnTo>
                    <a:pt x="594" y="284"/>
                  </a:lnTo>
                  <a:lnTo>
                    <a:pt x="595" y="284"/>
                  </a:lnTo>
                  <a:lnTo>
                    <a:pt x="596" y="285"/>
                  </a:lnTo>
                  <a:lnTo>
                    <a:pt x="596" y="287"/>
                  </a:lnTo>
                  <a:lnTo>
                    <a:pt x="598" y="287"/>
                  </a:lnTo>
                  <a:lnTo>
                    <a:pt x="601" y="288"/>
                  </a:lnTo>
                  <a:lnTo>
                    <a:pt x="602" y="288"/>
                  </a:lnTo>
                  <a:lnTo>
                    <a:pt x="601" y="288"/>
                  </a:lnTo>
                  <a:lnTo>
                    <a:pt x="595" y="288"/>
                  </a:lnTo>
                  <a:lnTo>
                    <a:pt x="595" y="289"/>
                  </a:lnTo>
                  <a:lnTo>
                    <a:pt x="598" y="288"/>
                  </a:lnTo>
                  <a:lnTo>
                    <a:pt x="598" y="289"/>
                  </a:lnTo>
                  <a:lnTo>
                    <a:pt x="599" y="289"/>
                  </a:lnTo>
                  <a:lnTo>
                    <a:pt x="600" y="289"/>
                  </a:lnTo>
                  <a:lnTo>
                    <a:pt x="600" y="290"/>
                  </a:lnTo>
                  <a:lnTo>
                    <a:pt x="599" y="290"/>
                  </a:lnTo>
                  <a:lnTo>
                    <a:pt x="600" y="291"/>
                  </a:lnTo>
                  <a:lnTo>
                    <a:pt x="596" y="290"/>
                  </a:lnTo>
                  <a:lnTo>
                    <a:pt x="595" y="290"/>
                  </a:lnTo>
                  <a:lnTo>
                    <a:pt x="596" y="291"/>
                  </a:lnTo>
                  <a:lnTo>
                    <a:pt x="596" y="293"/>
                  </a:lnTo>
                  <a:lnTo>
                    <a:pt x="598" y="293"/>
                  </a:lnTo>
                  <a:lnTo>
                    <a:pt x="598" y="294"/>
                  </a:lnTo>
                  <a:lnTo>
                    <a:pt x="600" y="295"/>
                  </a:lnTo>
                  <a:lnTo>
                    <a:pt x="599" y="294"/>
                  </a:lnTo>
                  <a:lnTo>
                    <a:pt x="600" y="294"/>
                  </a:lnTo>
                  <a:lnTo>
                    <a:pt x="602" y="294"/>
                  </a:lnTo>
                  <a:lnTo>
                    <a:pt x="604" y="294"/>
                  </a:lnTo>
                  <a:lnTo>
                    <a:pt x="605" y="294"/>
                  </a:lnTo>
                  <a:lnTo>
                    <a:pt x="607" y="293"/>
                  </a:lnTo>
                  <a:lnTo>
                    <a:pt x="606" y="291"/>
                  </a:lnTo>
                  <a:lnTo>
                    <a:pt x="605" y="290"/>
                  </a:lnTo>
                  <a:lnTo>
                    <a:pt x="604" y="290"/>
                  </a:lnTo>
                  <a:lnTo>
                    <a:pt x="605" y="289"/>
                  </a:lnTo>
                  <a:lnTo>
                    <a:pt x="606" y="290"/>
                  </a:lnTo>
                  <a:lnTo>
                    <a:pt x="607" y="288"/>
                  </a:lnTo>
                  <a:lnTo>
                    <a:pt x="608" y="288"/>
                  </a:lnTo>
                  <a:lnTo>
                    <a:pt x="611" y="289"/>
                  </a:lnTo>
                  <a:lnTo>
                    <a:pt x="613" y="289"/>
                  </a:lnTo>
                  <a:lnTo>
                    <a:pt x="612" y="287"/>
                  </a:lnTo>
                  <a:lnTo>
                    <a:pt x="615" y="287"/>
                  </a:lnTo>
                  <a:lnTo>
                    <a:pt x="615" y="284"/>
                  </a:lnTo>
                  <a:lnTo>
                    <a:pt x="615" y="287"/>
                  </a:lnTo>
                  <a:lnTo>
                    <a:pt x="617" y="285"/>
                  </a:lnTo>
                  <a:lnTo>
                    <a:pt x="617" y="287"/>
                  </a:lnTo>
                  <a:lnTo>
                    <a:pt x="618" y="287"/>
                  </a:lnTo>
                  <a:lnTo>
                    <a:pt x="621" y="288"/>
                  </a:lnTo>
                  <a:lnTo>
                    <a:pt x="621" y="287"/>
                  </a:lnTo>
                  <a:lnTo>
                    <a:pt x="622" y="285"/>
                  </a:lnTo>
                  <a:lnTo>
                    <a:pt x="622" y="284"/>
                  </a:lnTo>
                  <a:lnTo>
                    <a:pt x="621" y="289"/>
                  </a:lnTo>
                  <a:lnTo>
                    <a:pt x="621" y="290"/>
                  </a:lnTo>
                  <a:lnTo>
                    <a:pt x="622" y="290"/>
                  </a:lnTo>
                  <a:lnTo>
                    <a:pt x="623" y="289"/>
                  </a:lnTo>
                  <a:lnTo>
                    <a:pt x="624" y="287"/>
                  </a:lnTo>
                  <a:lnTo>
                    <a:pt x="623" y="284"/>
                  </a:lnTo>
                  <a:lnTo>
                    <a:pt x="624" y="287"/>
                  </a:lnTo>
                  <a:lnTo>
                    <a:pt x="625" y="287"/>
                  </a:lnTo>
                  <a:lnTo>
                    <a:pt x="625" y="285"/>
                  </a:lnTo>
                  <a:lnTo>
                    <a:pt x="627" y="288"/>
                  </a:lnTo>
                  <a:lnTo>
                    <a:pt x="628" y="288"/>
                  </a:lnTo>
                  <a:lnTo>
                    <a:pt x="629" y="288"/>
                  </a:lnTo>
                  <a:lnTo>
                    <a:pt x="629" y="285"/>
                  </a:lnTo>
                  <a:lnTo>
                    <a:pt x="631" y="288"/>
                  </a:lnTo>
                  <a:lnTo>
                    <a:pt x="634" y="288"/>
                  </a:lnTo>
                  <a:lnTo>
                    <a:pt x="635" y="289"/>
                  </a:lnTo>
                  <a:lnTo>
                    <a:pt x="631" y="288"/>
                  </a:lnTo>
                  <a:lnTo>
                    <a:pt x="630" y="290"/>
                  </a:lnTo>
                  <a:lnTo>
                    <a:pt x="633" y="293"/>
                  </a:lnTo>
                  <a:lnTo>
                    <a:pt x="633" y="294"/>
                  </a:lnTo>
                  <a:lnTo>
                    <a:pt x="634" y="294"/>
                  </a:lnTo>
                  <a:lnTo>
                    <a:pt x="634" y="296"/>
                  </a:lnTo>
                  <a:lnTo>
                    <a:pt x="635" y="296"/>
                  </a:lnTo>
                  <a:lnTo>
                    <a:pt x="637" y="297"/>
                  </a:lnTo>
                  <a:lnTo>
                    <a:pt x="639" y="297"/>
                  </a:lnTo>
                  <a:lnTo>
                    <a:pt x="640" y="299"/>
                  </a:lnTo>
                  <a:lnTo>
                    <a:pt x="640" y="300"/>
                  </a:lnTo>
                  <a:lnTo>
                    <a:pt x="641" y="301"/>
                  </a:lnTo>
                  <a:lnTo>
                    <a:pt x="642" y="301"/>
                  </a:lnTo>
                  <a:lnTo>
                    <a:pt x="643" y="303"/>
                  </a:lnTo>
                  <a:lnTo>
                    <a:pt x="642" y="303"/>
                  </a:lnTo>
                  <a:lnTo>
                    <a:pt x="642" y="305"/>
                  </a:lnTo>
                  <a:lnTo>
                    <a:pt x="641" y="305"/>
                  </a:lnTo>
                  <a:lnTo>
                    <a:pt x="640" y="305"/>
                  </a:lnTo>
                  <a:lnTo>
                    <a:pt x="641" y="306"/>
                  </a:lnTo>
                  <a:lnTo>
                    <a:pt x="643" y="309"/>
                  </a:lnTo>
                  <a:lnTo>
                    <a:pt x="643" y="308"/>
                  </a:lnTo>
                  <a:lnTo>
                    <a:pt x="643" y="306"/>
                  </a:lnTo>
                  <a:lnTo>
                    <a:pt x="645" y="307"/>
                  </a:lnTo>
                  <a:lnTo>
                    <a:pt x="646" y="307"/>
                  </a:lnTo>
                  <a:lnTo>
                    <a:pt x="646" y="308"/>
                  </a:lnTo>
                  <a:lnTo>
                    <a:pt x="646" y="309"/>
                  </a:lnTo>
                  <a:lnTo>
                    <a:pt x="646" y="311"/>
                  </a:lnTo>
                  <a:lnTo>
                    <a:pt x="648" y="311"/>
                  </a:lnTo>
                  <a:lnTo>
                    <a:pt x="651" y="313"/>
                  </a:lnTo>
                  <a:lnTo>
                    <a:pt x="652" y="314"/>
                  </a:lnTo>
                  <a:lnTo>
                    <a:pt x="649" y="317"/>
                  </a:lnTo>
                  <a:lnTo>
                    <a:pt x="652" y="318"/>
                  </a:lnTo>
                  <a:lnTo>
                    <a:pt x="649" y="318"/>
                  </a:lnTo>
                  <a:lnTo>
                    <a:pt x="649" y="320"/>
                  </a:lnTo>
                  <a:lnTo>
                    <a:pt x="649" y="321"/>
                  </a:lnTo>
                  <a:lnTo>
                    <a:pt x="648" y="323"/>
                  </a:lnTo>
                  <a:lnTo>
                    <a:pt x="649" y="323"/>
                  </a:lnTo>
                  <a:lnTo>
                    <a:pt x="647" y="323"/>
                  </a:lnTo>
                  <a:lnTo>
                    <a:pt x="647" y="325"/>
                  </a:lnTo>
                  <a:lnTo>
                    <a:pt x="647" y="326"/>
                  </a:lnTo>
                  <a:lnTo>
                    <a:pt x="646" y="327"/>
                  </a:lnTo>
                  <a:lnTo>
                    <a:pt x="648" y="329"/>
                  </a:lnTo>
                  <a:lnTo>
                    <a:pt x="647" y="329"/>
                  </a:lnTo>
                  <a:lnTo>
                    <a:pt x="646" y="329"/>
                  </a:lnTo>
                  <a:lnTo>
                    <a:pt x="646" y="330"/>
                  </a:lnTo>
                  <a:lnTo>
                    <a:pt x="646" y="331"/>
                  </a:lnTo>
                  <a:lnTo>
                    <a:pt x="643" y="331"/>
                  </a:lnTo>
                  <a:lnTo>
                    <a:pt x="643" y="332"/>
                  </a:lnTo>
                  <a:lnTo>
                    <a:pt x="643" y="335"/>
                  </a:lnTo>
                  <a:lnTo>
                    <a:pt x="642" y="335"/>
                  </a:lnTo>
                  <a:lnTo>
                    <a:pt x="641" y="336"/>
                  </a:lnTo>
                  <a:lnTo>
                    <a:pt x="640" y="336"/>
                  </a:lnTo>
                  <a:lnTo>
                    <a:pt x="637" y="336"/>
                  </a:lnTo>
                  <a:lnTo>
                    <a:pt x="637" y="339"/>
                  </a:lnTo>
                  <a:lnTo>
                    <a:pt x="636" y="341"/>
                  </a:lnTo>
                  <a:lnTo>
                    <a:pt x="635" y="341"/>
                  </a:lnTo>
                  <a:lnTo>
                    <a:pt x="634" y="342"/>
                  </a:lnTo>
                  <a:lnTo>
                    <a:pt x="633" y="343"/>
                  </a:lnTo>
                  <a:lnTo>
                    <a:pt x="631" y="344"/>
                  </a:lnTo>
                  <a:lnTo>
                    <a:pt x="633" y="344"/>
                  </a:lnTo>
                  <a:lnTo>
                    <a:pt x="630" y="344"/>
                  </a:lnTo>
                  <a:lnTo>
                    <a:pt x="630" y="347"/>
                  </a:lnTo>
                  <a:lnTo>
                    <a:pt x="629" y="348"/>
                  </a:lnTo>
                  <a:lnTo>
                    <a:pt x="630" y="349"/>
                  </a:lnTo>
                  <a:lnTo>
                    <a:pt x="631" y="349"/>
                  </a:lnTo>
                  <a:lnTo>
                    <a:pt x="633" y="349"/>
                  </a:lnTo>
                  <a:lnTo>
                    <a:pt x="634" y="348"/>
                  </a:lnTo>
                  <a:lnTo>
                    <a:pt x="633" y="347"/>
                  </a:lnTo>
                  <a:lnTo>
                    <a:pt x="634" y="345"/>
                  </a:lnTo>
                  <a:lnTo>
                    <a:pt x="635" y="344"/>
                  </a:lnTo>
                  <a:lnTo>
                    <a:pt x="636" y="344"/>
                  </a:lnTo>
                  <a:lnTo>
                    <a:pt x="637" y="344"/>
                  </a:lnTo>
                  <a:lnTo>
                    <a:pt x="640" y="344"/>
                  </a:lnTo>
                  <a:lnTo>
                    <a:pt x="639" y="347"/>
                  </a:lnTo>
                  <a:lnTo>
                    <a:pt x="640" y="348"/>
                  </a:lnTo>
                  <a:lnTo>
                    <a:pt x="639" y="349"/>
                  </a:lnTo>
                  <a:lnTo>
                    <a:pt x="637" y="349"/>
                  </a:lnTo>
                  <a:lnTo>
                    <a:pt x="636" y="350"/>
                  </a:lnTo>
                  <a:lnTo>
                    <a:pt x="635" y="351"/>
                  </a:lnTo>
                  <a:lnTo>
                    <a:pt x="636" y="353"/>
                  </a:lnTo>
                  <a:lnTo>
                    <a:pt x="635" y="353"/>
                  </a:lnTo>
                  <a:lnTo>
                    <a:pt x="637" y="354"/>
                  </a:lnTo>
                  <a:lnTo>
                    <a:pt x="639" y="354"/>
                  </a:lnTo>
                  <a:lnTo>
                    <a:pt x="639" y="355"/>
                  </a:lnTo>
                  <a:lnTo>
                    <a:pt x="636" y="355"/>
                  </a:lnTo>
                  <a:lnTo>
                    <a:pt x="635" y="356"/>
                  </a:lnTo>
                  <a:lnTo>
                    <a:pt x="635" y="357"/>
                  </a:lnTo>
                  <a:lnTo>
                    <a:pt x="637" y="357"/>
                  </a:lnTo>
                  <a:lnTo>
                    <a:pt x="635" y="359"/>
                  </a:lnTo>
                  <a:lnTo>
                    <a:pt x="637" y="359"/>
                  </a:lnTo>
                  <a:lnTo>
                    <a:pt x="636" y="361"/>
                  </a:lnTo>
                  <a:lnTo>
                    <a:pt x="636" y="362"/>
                  </a:lnTo>
                  <a:lnTo>
                    <a:pt x="637" y="362"/>
                  </a:lnTo>
                  <a:lnTo>
                    <a:pt x="639" y="362"/>
                  </a:lnTo>
                  <a:lnTo>
                    <a:pt x="639" y="361"/>
                  </a:lnTo>
                  <a:lnTo>
                    <a:pt x="640" y="362"/>
                  </a:lnTo>
                  <a:lnTo>
                    <a:pt x="641" y="362"/>
                  </a:lnTo>
                  <a:lnTo>
                    <a:pt x="642" y="362"/>
                  </a:lnTo>
                  <a:lnTo>
                    <a:pt x="640" y="365"/>
                  </a:lnTo>
                  <a:lnTo>
                    <a:pt x="641" y="366"/>
                  </a:lnTo>
                  <a:lnTo>
                    <a:pt x="643" y="366"/>
                  </a:lnTo>
                  <a:lnTo>
                    <a:pt x="645" y="367"/>
                  </a:lnTo>
                  <a:lnTo>
                    <a:pt x="646" y="365"/>
                  </a:lnTo>
                  <a:lnTo>
                    <a:pt x="647" y="365"/>
                  </a:lnTo>
                  <a:lnTo>
                    <a:pt x="647" y="366"/>
                  </a:lnTo>
                  <a:lnTo>
                    <a:pt x="649" y="367"/>
                  </a:lnTo>
                  <a:lnTo>
                    <a:pt x="651" y="366"/>
                  </a:lnTo>
                  <a:lnTo>
                    <a:pt x="652" y="366"/>
                  </a:lnTo>
                  <a:lnTo>
                    <a:pt x="652" y="367"/>
                  </a:lnTo>
                  <a:lnTo>
                    <a:pt x="651" y="367"/>
                  </a:lnTo>
                  <a:lnTo>
                    <a:pt x="652" y="367"/>
                  </a:lnTo>
                  <a:lnTo>
                    <a:pt x="654" y="367"/>
                  </a:lnTo>
                  <a:lnTo>
                    <a:pt x="654" y="366"/>
                  </a:lnTo>
                  <a:lnTo>
                    <a:pt x="655" y="364"/>
                  </a:lnTo>
                  <a:lnTo>
                    <a:pt x="655" y="365"/>
                  </a:lnTo>
                  <a:lnTo>
                    <a:pt x="657" y="366"/>
                  </a:lnTo>
                  <a:lnTo>
                    <a:pt x="658" y="367"/>
                  </a:lnTo>
                  <a:lnTo>
                    <a:pt x="659" y="367"/>
                  </a:lnTo>
                  <a:lnTo>
                    <a:pt x="658" y="367"/>
                  </a:lnTo>
                  <a:lnTo>
                    <a:pt x="654" y="368"/>
                  </a:lnTo>
                  <a:lnTo>
                    <a:pt x="653" y="371"/>
                  </a:lnTo>
                  <a:lnTo>
                    <a:pt x="653" y="372"/>
                  </a:lnTo>
                  <a:lnTo>
                    <a:pt x="653" y="373"/>
                  </a:lnTo>
                  <a:lnTo>
                    <a:pt x="652" y="374"/>
                  </a:lnTo>
                  <a:lnTo>
                    <a:pt x="653" y="376"/>
                  </a:lnTo>
                  <a:lnTo>
                    <a:pt x="655" y="374"/>
                  </a:lnTo>
                  <a:lnTo>
                    <a:pt x="655" y="373"/>
                  </a:lnTo>
                  <a:lnTo>
                    <a:pt x="655" y="371"/>
                  </a:lnTo>
                  <a:lnTo>
                    <a:pt x="657" y="371"/>
                  </a:lnTo>
                  <a:lnTo>
                    <a:pt x="657" y="370"/>
                  </a:lnTo>
                  <a:lnTo>
                    <a:pt x="658" y="370"/>
                  </a:lnTo>
                  <a:lnTo>
                    <a:pt x="660" y="370"/>
                  </a:lnTo>
                  <a:lnTo>
                    <a:pt x="661" y="368"/>
                  </a:lnTo>
                  <a:lnTo>
                    <a:pt x="660" y="371"/>
                  </a:lnTo>
                  <a:lnTo>
                    <a:pt x="660" y="370"/>
                  </a:lnTo>
                  <a:lnTo>
                    <a:pt x="663" y="370"/>
                  </a:lnTo>
                  <a:lnTo>
                    <a:pt x="660" y="372"/>
                  </a:lnTo>
                  <a:lnTo>
                    <a:pt x="659" y="373"/>
                  </a:lnTo>
                  <a:lnTo>
                    <a:pt x="661" y="374"/>
                  </a:lnTo>
                  <a:lnTo>
                    <a:pt x="660" y="374"/>
                  </a:lnTo>
                  <a:lnTo>
                    <a:pt x="660" y="376"/>
                  </a:lnTo>
                  <a:lnTo>
                    <a:pt x="659" y="377"/>
                  </a:lnTo>
                  <a:lnTo>
                    <a:pt x="660" y="378"/>
                  </a:lnTo>
                  <a:lnTo>
                    <a:pt x="658" y="378"/>
                  </a:lnTo>
                  <a:lnTo>
                    <a:pt x="659" y="380"/>
                  </a:lnTo>
                  <a:lnTo>
                    <a:pt x="658" y="380"/>
                  </a:lnTo>
                  <a:lnTo>
                    <a:pt x="657" y="382"/>
                  </a:lnTo>
                  <a:lnTo>
                    <a:pt x="655" y="382"/>
                  </a:lnTo>
                  <a:lnTo>
                    <a:pt x="657" y="382"/>
                  </a:lnTo>
                  <a:lnTo>
                    <a:pt x="659" y="384"/>
                  </a:lnTo>
                  <a:lnTo>
                    <a:pt x="660" y="386"/>
                  </a:lnTo>
                  <a:lnTo>
                    <a:pt x="658" y="385"/>
                  </a:lnTo>
                  <a:lnTo>
                    <a:pt x="657" y="384"/>
                  </a:lnTo>
                  <a:lnTo>
                    <a:pt x="657" y="383"/>
                  </a:lnTo>
                  <a:lnTo>
                    <a:pt x="657" y="385"/>
                  </a:lnTo>
                  <a:lnTo>
                    <a:pt x="655" y="385"/>
                  </a:lnTo>
                  <a:lnTo>
                    <a:pt x="654" y="385"/>
                  </a:lnTo>
                  <a:lnTo>
                    <a:pt x="653" y="386"/>
                  </a:lnTo>
                  <a:lnTo>
                    <a:pt x="652" y="388"/>
                  </a:lnTo>
                  <a:lnTo>
                    <a:pt x="651" y="389"/>
                  </a:lnTo>
                  <a:lnTo>
                    <a:pt x="651" y="390"/>
                  </a:lnTo>
                  <a:lnTo>
                    <a:pt x="648" y="390"/>
                  </a:lnTo>
                  <a:lnTo>
                    <a:pt x="647" y="388"/>
                  </a:lnTo>
                  <a:lnTo>
                    <a:pt x="647" y="386"/>
                  </a:lnTo>
                  <a:lnTo>
                    <a:pt x="646" y="386"/>
                  </a:lnTo>
                  <a:lnTo>
                    <a:pt x="645" y="386"/>
                  </a:lnTo>
                  <a:lnTo>
                    <a:pt x="645" y="385"/>
                  </a:lnTo>
                  <a:lnTo>
                    <a:pt x="642" y="385"/>
                  </a:lnTo>
                  <a:lnTo>
                    <a:pt x="641" y="385"/>
                  </a:lnTo>
                  <a:lnTo>
                    <a:pt x="640" y="386"/>
                  </a:lnTo>
                  <a:lnTo>
                    <a:pt x="640" y="388"/>
                  </a:lnTo>
                  <a:lnTo>
                    <a:pt x="639" y="389"/>
                  </a:lnTo>
                  <a:lnTo>
                    <a:pt x="637" y="386"/>
                  </a:lnTo>
                  <a:lnTo>
                    <a:pt x="636" y="386"/>
                  </a:lnTo>
                  <a:lnTo>
                    <a:pt x="636" y="384"/>
                  </a:lnTo>
                  <a:lnTo>
                    <a:pt x="636" y="382"/>
                  </a:lnTo>
                  <a:lnTo>
                    <a:pt x="635" y="379"/>
                  </a:lnTo>
                  <a:lnTo>
                    <a:pt x="635" y="382"/>
                  </a:lnTo>
                  <a:lnTo>
                    <a:pt x="634" y="382"/>
                  </a:lnTo>
                  <a:lnTo>
                    <a:pt x="633" y="382"/>
                  </a:lnTo>
                  <a:lnTo>
                    <a:pt x="634" y="384"/>
                  </a:lnTo>
                  <a:lnTo>
                    <a:pt x="633" y="383"/>
                  </a:lnTo>
                  <a:lnTo>
                    <a:pt x="633" y="380"/>
                  </a:lnTo>
                  <a:lnTo>
                    <a:pt x="631" y="378"/>
                  </a:lnTo>
                  <a:lnTo>
                    <a:pt x="629" y="378"/>
                  </a:lnTo>
                  <a:lnTo>
                    <a:pt x="629" y="377"/>
                  </a:lnTo>
                  <a:lnTo>
                    <a:pt x="628" y="376"/>
                  </a:lnTo>
                  <a:lnTo>
                    <a:pt x="628" y="374"/>
                  </a:lnTo>
                  <a:lnTo>
                    <a:pt x="627" y="377"/>
                  </a:lnTo>
                  <a:lnTo>
                    <a:pt x="628" y="378"/>
                  </a:lnTo>
                  <a:lnTo>
                    <a:pt x="627" y="378"/>
                  </a:lnTo>
                  <a:lnTo>
                    <a:pt x="624" y="377"/>
                  </a:lnTo>
                  <a:lnTo>
                    <a:pt x="624" y="374"/>
                  </a:lnTo>
                  <a:lnTo>
                    <a:pt x="621" y="374"/>
                  </a:lnTo>
                  <a:lnTo>
                    <a:pt x="621" y="377"/>
                  </a:lnTo>
                  <a:lnTo>
                    <a:pt x="619" y="376"/>
                  </a:lnTo>
                  <a:lnTo>
                    <a:pt x="618" y="376"/>
                  </a:lnTo>
                  <a:lnTo>
                    <a:pt x="616" y="374"/>
                  </a:lnTo>
                  <a:lnTo>
                    <a:pt x="612" y="373"/>
                  </a:lnTo>
                  <a:lnTo>
                    <a:pt x="611" y="374"/>
                  </a:lnTo>
                  <a:lnTo>
                    <a:pt x="611" y="377"/>
                  </a:lnTo>
                  <a:lnTo>
                    <a:pt x="612" y="376"/>
                  </a:lnTo>
                  <a:lnTo>
                    <a:pt x="612" y="377"/>
                  </a:lnTo>
                  <a:lnTo>
                    <a:pt x="613" y="377"/>
                  </a:lnTo>
                  <a:lnTo>
                    <a:pt x="613" y="378"/>
                  </a:lnTo>
                  <a:lnTo>
                    <a:pt x="616" y="379"/>
                  </a:lnTo>
                  <a:lnTo>
                    <a:pt x="616" y="380"/>
                  </a:lnTo>
                  <a:lnTo>
                    <a:pt x="615" y="380"/>
                  </a:lnTo>
                  <a:lnTo>
                    <a:pt x="613" y="384"/>
                  </a:lnTo>
                  <a:lnTo>
                    <a:pt x="615" y="383"/>
                  </a:lnTo>
                  <a:lnTo>
                    <a:pt x="616" y="383"/>
                  </a:lnTo>
                  <a:lnTo>
                    <a:pt x="616" y="385"/>
                  </a:lnTo>
                  <a:lnTo>
                    <a:pt x="617" y="385"/>
                  </a:lnTo>
                  <a:lnTo>
                    <a:pt x="618" y="385"/>
                  </a:lnTo>
                  <a:lnTo>
                    <a:pt x="619" y="384"/>
                  </a:lnTo>
                  <a:lnTo>
                    <a:pt x="619" y="386"/>
                  </a:lnTo>
                  <a:lnTo>
                    <a:pt x="622" y="386"/>
                  </a:lnTo>
                  <a:lnTo>
                    <a:pt x="623" y="386"/>
                  </a:lnTo>
                  <a:lnTo>
                    <a:pt x="623" y="388"/>
                  </a:lnTo>
                  <a:lnTo>
                    <a:pt x="623" y="389"/>
                  </a:lnTo>
                  <a:lnTo>
                    <a:pt x="622" y="392"/>
                  </a:lnTo>
                  <a:lnTo>
                    <a:pt x="623" y="395"/>
                  </a:lnTo>
                  <a:lnTo>
                    <a:pt x="624" y="394"/>
                  </a:lnTo>
                  <a:lnTo>
                    <a:pt x="627" y="395"/>
                  </a:lnTo>
                  <a:lnTo>
                    <a:pt x="628" y="395"/>
                  </a:lnTo>
                  <a:lnTo>
                    <a:pt x="628" y="396"/>
                  </a:lnTo>
                  <a:lnTo>
                    <a:pt x="629" y="395"/>
                  </a:lnTo>
                  <a:lnTo>
                    <a:pt x="631" y="398"/>
                  </a:lnTo>
                  <a:lnTo>
                    <a:pt x="633" y="396"/>
                  </a:lnTo>
                  <a:lnTo>
                    <a:pt x="634" y="396"/>
                  </a:lnTo>
                  <a:lnTo>
                    <a:pt x="634" y="400"/>
                  </a:lnTo>
                  <a:lnTo>
                    <a:pt x="635" y="400"/>
                  </a:lnTo>
                  <a:lnTo>
                    <a:pt x="637" y="401"/>
                  </a:lnTo>
                  <a:lnTo>
                    <a:pt x="636" y="402"/>
                  </a:lnTo>
                  <a:lnTo>
                    <a:pt x="637" y="402"/>
                  </a:lnTo>
                  <a:lnTo>
                    <a:pt x="636" y="404"/>
                  </a:lnTo>
                  <a:lnTo>
                    <a:pt x="639" y="407"/>
                  </a:lnTo>
                  <a:lnTo>
                    <a:pt x="637" y="408"/>
                  </a:lnTo>
                  <a:lnTo>
                    <a:pt x="640" y="409"/>
                  </a:lnTo>
                  <a:lnTo>
                    <a:pt x="641" y="410"/>
                  </a:lnTo>
                  <a:lnTo>
                    <a:pt x="641" y="412"/>
                  </a:lnTo>
                  <a:lnTo>
                    <a:pt x="641" y="413"/>
                  </a:lnTo>
                  <a:lnTo>
                    <a:pt x="640" y="413"/>
                  </a:lnTo>
                  <a:lnTo>
                    <a:pt x="640" y="414"/>
                  </a:lnTo>
                  <a:lnTo>
                    <a:pt x="639" y="414"/>
                  </a:lnTo>
                  <a:lnTo>
                    <a:pt x="639" y="416"/>
                  </a:lnTo>
                  <a:lnTo>
                    <a:pt x="639" y="418"/>
                  </a:lnTo>
                  <a:lnTo>
                    <a:pt x="637" y="419"/>
                  </a:lnTo>
                  <a:lnTo>
                    <a:pt x="639" y="420"/>
                  </a:lnTo>
                  <a:lnTo>
                    <a:pt x="640" y="420"/>
                  </a:lnTo>
                  <a:lnTo>
                    <a:pt x="639" y="422"/>
                  </a:lnTo>
                  <a:lnTo>
                    <a:pt x="637" y="421"/>
                  </a:lnTo>
                  <a:lnTo>
                    <a:pt x="636" y="421"/>
                  </a:lnTo>
                  <a:lnTo>
                    <a:pt x="636" y="420"/>
                  </a:lnTo>
                  <a:lnTo>
                    <a:pt x="636" y="421"/>
                  </a:lnTo>
                  <a:lnTo>
                    <a:pt x="636" y="424"/>
                  </a:lnTo>
                  <a:lnTo>
                    <a:pt x="637" y="425"/>
                  </a:lnTo>
                  <a:lnTo>
                    <a:pt x="637" y="426"/>
                  </a:lnTo>
                  <a:lnTo>
                    <a:pt x="639" y="430"/>
                  </a:lnTo>
                  <a:lnTo>
                    <a:pt x="637" y="428"/>
                  </a:lnTo>
                  <a:lnTo>
                    <a:pt x="636" y="426"/>
                  </a:lnTo>
                  <a:lnTo>
                    <a:pt x="635" y="426"/>
                  </a:lnTo>
                  <a:lnTo>
                    <a:pt x="635" y="425"/>
                  </a:lnTo>
                  <a:lnTo>
                    <a:pt x="635" y="427"/>
                  </a:lnTo>
                  <a:lnTo>
                    <a:pt x="635" y="428"/>
                  </a:lnTo>
                  <a:lnTo>
                    <a:pt x="635" y="430"/>
                  </a:lnTo>
                  <a:lnTo>
                    <a:pt x="637" y="431"/>
                  </a:lnTo>
                  <a:lnTo>
                    <a:pt x="637" y="432"/>
                  </a:lnTo>
                  <a:lnTo>
                    <a:pt x="639" y="433"/>
                  </a:lnTo>
                  <a:lnTo>
                    <a:pt x="636" y="432"/>
                  </a:lnTo>
                  <a:lnTo>
                    <a:pt x="635" y="432"/>
                  </a:lnTo>
                  <a:lnTo>
                    <a:pt x="636" y="433"/>
                  </a:lnTo>
                  <a:lnTo>
                    <a:pt x="636" y="436"/>
                  </a:lnTo>
                  <a:lnTo>
                    <a:pt x="636" y="437"/>
                  </a:lnTo>
                  <a:lnTo>
                    <a:pt x="634" y="437"/>
                  </a:lnTo>
                  <a:lnTo>
                    <a:pt x="633" y="437"/>
                  </a:lnTo>
                  <a:lnTo>
                    <a:pt x="633" y="438"/>
                  </a:lnTo>
                  <a:lnTo>
                    <a:pt x="630" y="437"/>
                  </a:lnTo>
                  <a:lnTo>
                    <a:pt x="631" y="438"/>
                  </a:lnTo>
                  <a:lnTo>
                    <a:pt x="631" y="440"/>
                  </a:lnTo>
                  <a:lnTo>
                    <a:pt x="630" y="439"/>
                  </a:lnTo>
                  <a:lnTo>
                    <a:pt x="629" y="439"/>
                  </a:lnTo>
                  <a:lnTo>
                    <a:pt x="628" y="439"/>
                  </a:lnTo>
                  <a:lnTo>
                    <a:pt x="630" y="442"/>
                  </a:lnTo>
                  <a:lnTo>
                    <a:pt x="629" y="443"/>
                  </a:lnTo>
                  <a:lnTo>
                    <a:pt x="628" y="443"/>
                  </a:lnTo>
                  <a:lnTo>
                    <a:pt x="629" y="443"/>
                  </a:lnTo>
                  <a:lnTo>
                    <a:pt x="630" y="445"/>
                  </a:lnTo>
                  <a:lnTo>
                    <a:pt x="631" y="445"/>
                  </a:lnTo>
                  <a:lnTo>
                    <a:pt x="631" y="448"/>
                  </a:lnTo>
                  <a:lnTo>
                    <a:pt x="631" y="449"/>
                  </a:lnTo>
                  <a:lnTo>
                    <a:pt x="633" y="448"/>
                  </a:lnTo>
                  <a:lnTo>
                    <a:pt x="634" y="448"/>
                  </a:lnTo>
                  <a:lnTo>
                    <a:pt x="634" y="449"/>
                  </a:lnTo>
                  <a:lnTo>
                    <a:pt x="636" y="451"/>
                  </a:lnTo>
                  <a:lnTo>
                    <a:pt x="634" y="451"/>
                  </a:lnTo>
                  <a:lnTo>
                    <a:pt x="633" y="452"/>
                  </a:lnTo>
                  <a:lnTo>
                    <a:pt x="633" y="451"/>
                  </a:lnTo>
                  <a:lnTo>
                    <a:pt x="631" y="451"/>
                  </a:lnTo>
                  <a:lnTo>
                    <a:pt x="630" y="454"/>
                  </a:lnTo>
                  <a:lnTo>
                    <a:pt x="628" y="454"/>
                  </a:lnTo>
                  <a:lnTo>
                    <a:pt x="628" y="452"/>
                  </a:lnTo>
                  <a:lnTo>
                    <a:pt x="628" y="454"/>
                  </a:lnTo>
                  <a:lnTo>
                    <a:pt x="627" y="454"/>
                  </a:lnTo>
                  <a:lnTo>
                    <a:pt x="625" y="454"/>
                  </a:lnTo>
                  <a:lnTo>
                    <a:pt x="625" y="455"/>
                  </a:lnTo>
                  <a:lnTo>
                    <a:pt x="624" y="456"/>
                  </a:lnTo>
                  <a:lnTo>
                    <a:pt x="624" y="457"/>
                  </a:lnTo>
                  <a:lnTo>
                    <a:pt x="623" y="458"/>
                  </a:lnTo>
                  <a:lnTo>
                    <a:pt x="624" y="460"/>
                  </a:lnTo>
                  <a:lnTo>
                    <a:pt x="624" y="461"/>
                  </a:lnTo>
                  <a:lnTo>
                    <a:pt x="623" y="462"/>
                  </a:lnTo>
                  <a:lnTo>
                    <a:pt x="624" y="462"/>
                  </a:lnTo>
                  <a:lnTo>
                    <a:pt x="624" y="464"/>
                  </a:lnTo>
                  <a:lnTo>
                    <a:pt x="625" y="464"/>
                  </a:lnTo>
                  <a:lnTo>
                    <a:pt x="625" y="466"/>
                  </a:lnTo>
                  <a:lnTo>
                    <a:pt x="624" y="467"/>
                  </a:lnTo>
                  <a:lnTo>
                    <a:pt x="625" y="469"/>
                  </a:lnTo>
                  <a:lnTo>
                    <a:pt x="625" y="468"/>
                  </a:lnTo>
                  <a:lnTo>
                    <a:pt x="627" y="469"/>
                  </a:lnTo>
                  <a:lnTo>
                    <a:pt x="628" y="469"/>
                  </a:lnTo>
                  <a:lnTo>
                    <a:pt x="628" y="471"/>
                  </a:lnTo>
                  <a:lnTo>
                    <a:pt x="629" y="469"/>
                  </a:lnTo>
                  <a:lnTo>
                    <a:pt x="629" y="471"/>
                  </a:lnTo>
                  <a:lnTo>
                    <a:pt x="630" y="473"/>
                  </a:lnTo>
                  <a:lnTo>
                    <a:pt x="631" y="475"/>
                  </a:lnTo>
                  <a:lnTo>
                    <a:pt x="630" y="475"/>
                  </a:lnTo>
                  <a:lnTo>
                    <a:pt x="628" y="475"/>
                  </a:lnTo>
                  <a:lnTo>
                    <a:pt x="627" y="475"/>
                  </a:lnTo>
                  <a:lnTo>
                    <a:pt x="625" y="474"/>
                  </a:lnTo>
                  <a:lnTo>
                    <a:pt x="624" y="473"/>
                  </a:lnTo>
                  <a:lnTo>
                    <a:pt x="624" y="474"/>
                  </a:lnTo>
                  <a:lnTo>
                    <a:pt x="624" y="475"/>
                  </a:lnTo>
                  <a:lnTo>
                    <a:pt x="623" y="475"/>
                  </a:lnTo>
                  <a:lnTo>
                    <a:pt x="622" y="474"/>
                  </a:lnTo>
                  <a:lnTo>
                    <a:pt x="621" y="477"/>
                  </a:lnTo>
                  <a:lnTo>
                    <a:pt x="621" y="474"/>
                  </a:lnTo>
                  <a:lnTo>
                    <a:pt x="621" y="473"/>
                  </a:lnTo>
                  <a:lnTo>
                    <a:pt x="619" y="474"/>
                  </a:lnTo>
                  <a:lnTo>
                    <a:pt x="618" y="478"/>
                  </a:lnTo>
                  <a:lnTo>
                    <a:pt x="618" y="477"/>
                  </a:lnTo>
                  <a:lnTo>
                    <a:pt x="617" y="475"/>
                  </a:lnTo>
                  <a:lnTo>
                    <a:pt x="616" y="474"/>
                  </a:lnTo>
                  <a:lnTo>
                    <a:pt x="616" y="473"/>
                  </a:lnTo>
                  <a:lnTo>
                    <a:pt x="615" y="472"/>
                  </a:lnTo>
                  <a:lnTo>
                    <a:pt x="613" y="471"/>
                  </a:lnTo>
                  <a:lnTo>
                    <a:pt x="613" y="469"/>
                  </a:lnTo>
                  <a:lnTo>
                    <a:pt x="613" y="468"/>
                  </a:lnTo>
                  <a:lnTo>
                    <a:pt x="615" y="467"/>
                  </a:lnTo>
                  <a:lnTo>
                    <a:pt x="615" y="466"/>
                  </a:lnTo>
                  <a:lnTo>
                    <a:pt x="615" y="464"/>
                  </a:lnTo>
                  <a:lnTo>
                    <a:pt x="612" y="462"/>
                  </a:lnTo>
                  <a:lnTo>
                    <a:pt x="611" y="466"/>
                  </a:lnTo>
                  <a:lnTo>
                    <a:pt x="611" y="467"/>
                  </a:lnTo>
                  <a:lnTo>
                    <a:pt x="611" y="468"/>
                  </a:lnTo>
                  <a:lnTo>
                    <a:pt x="611" y="469"/>
                  </a:lnTo>
                  <a:lnTo>
                    <a:pt x="612" y="473"/>
                  </a:lnTo>
                  <a:lnTo>
                    <a:pt x="612" y="474"/>
                  </a:lnTo>
                  <a:lnTo>
                    <a:pt x="611" y="474"/>
                  </a:lnTo>
                  <a:lnTo>
                    <a:pt x="610" y="474"/>
                  </a:lnTo>
                  <a:lnTo>
                    <a:pt x="608" y="473"/>
                  </a:lnTo>
                  <a:lnTo>
                    <a:pt x="608" y="474"/>
                  </a:lnTo>
                  <a:lnTo>
                    <a:pt x="607" y="474"/>
                  </a:lnTo>
                  <a:lnTo>
                    <a:pt x="606" y="474"/>
                  </a:lnTo>
                  <a:lnTo>
                    <a:pt x="605" y="473"/>
                  </a:lnTo>
                  <a:lnTo>
                    <a:pt x="605" y="471"/>
                  </a:lnTo>
                  <a:lnTo>
                    <a:pt x="604" y="469"/>
                  </a:lnTo>
                  <a:lnTo>
                    <a:pt x="602" y="469"/>
                  </a:lnTo>
                  <a:lnTo>
                    <a:pt x="602" y="467"/>
                  </a:lnTo>
                  <a:lnTo>
                    <a:pt x="602" y="466"/>
                  </a:lnTo>
                  <a:lnTo>
                    <a:pt x="600" y="463"/>
                  </a:lnTo>
                  <a:lnTo>
                    <a:pt x="600" y="462"/>
                  </a:lnTo>
                  <a:lnTo>
                    <a:pt x="601" y="462"/>
                  </a:lnTo>
                  <a:lnTo>
                    <a:pt x="602" y="462"/>
                  </a:lnTo>
                  <a:lnTo>
                    <a:pt x="604" y="463"/>
                  </a:lnTo>
                  <a:lnTo>
                    <a:pt x="604" y="462"/>
                  </a:lnTo>
                  <a:lnTo>
                    <a:pt x="605" y="461"/>
                  </a:lnTo>
                  <a:lnTo>
                    <a:pt x="607" y="460"/>
                  </a:lnTo>
                  <a:lnTo>
                    <a:pt x="607" y="458"/>
                  </a:lnTo>
                  <a:lnTo>
                    <a:pt x="607" y="457"/>
                  </a:lnTo>
                  <a:lnTo>
                    <a:pt x="606" y="456"/>
                  </a:lnTo>
                  <a:lnTo>
                    <a:pt x="605" y="456"/>
                  </a:lnTo>
                  <a:lnTo>
                    <a:pt x="604" y="457"/>
                  </a:lnTo>
                  <a:lnTo>
                    <a:pt x="604" y="458"/>
                  </a:lnTo>
                  <a:lnTo>
                    <a:pt x="602" y="460"/>
                  </a:lnTo>
                  <a:lnTo>
                    <a:pt x="601" y="458"/>
                  </a:lnTo>
                  <a:lnTo>
                    <a:pt x="600" y="458"/>
                  </a:lnTo>
                  <a:lnTo>
                    <a:pt x="599" y="456"/>
                  </a:lnTo>
                  <a:lnTo>
                    <a:pt x="598" y="456"/>
                  </a:lnTo>
                  <a:lnTo>
                    <a:pt x="595" y="456"/>
                  </a:lnTo>
                  <a:lnTo>
                    <a:pt x="594" y="458"/>
                  </a:lnTo>
                  <a:lnTo>
                    <a:pt x="593" y="457"/>
                  </a:lnTo>
                  <a:lnTo>
                    <a:pt x="592" y="458"/>
                  </a:lnTo>
                  <a:lnTo>
                    <a:pt x="592" y="461"/>
                  </a:lnTo>
                  <a:lnTo>
                    <a:pt x="592" y="463"/>
                  </a:lnTo>
                  <a:lnTo>
                    <a:pt x="592" y="464"/>
                  </a:lnTo>
                  <a:lnTo>
                    <a:pt x="593" y="468"/>
                  </a:lnTo>
                  <a:lnTo>
                    <a:pt x="595" y="469"/>
                  </a:lnTo>
                  <a:lnTo>
                    <a:pt x="596" y="472"/>
                  </a:lnTo>
                  <a:lnTo>
                    <a:pt x="596" y="473"/>
                  </a:lnTo>
                  <a:lnTo>
                    <a:pt x="598" y="474"/>
                  </a:lnTo>
                  <a:lnTo>
                    <a:pt x="599" y="475"/>
                  </a:lnTo>
                  <a:lnTo>
                    <a:pt x="599" y="477"/>
                  </a:lnTo>
                  <a:lnTo>
                    <a:pt x="596" y="475"/>
                  </a:lnTo>
                  <a:lnTo>
                    <a:pt x="598" y="477"/>
                  </a:lnTo>
                  <a:lnTo>
                    <a:pt x="598" y="478"/>
                  </a:lnTo>
                  <a:lnTo>
                    <a:pt x="595" y="477"/>
                  </a:lnTo>
                  <a:lnTo>
                    <a:pt x="598" y="479"/>
                  </a:lnTo>
                  <a:lnTo>
                    <a:pt x="599" y="480"/>
                  </a:lnTo>
                  <a:lnTo>
                    <a:pt x="599" y="481"/>
                  </a:lnTo>
                  <a:lnTo>
                    <a:pt x="596" y="481"/>
                  </a:lnTo>
                  <a:lnTo>
                    <a:pt x="598" y="481"/>
                  </a:lnTo>
                  <a:lnTo>
                    <a:pt x="596" y="483"/>
                  </a:lnTo>
                  <a:lnTo>
                    <a:pt x="592" y="483"/>
                  </a:lnTo>
                  <a:lnTo>
                    <a:pt x="593" y="486"/>
                  </a:lnTo>
                  <a:lnTo>
                    <a:pt x="593" y="487"/>
                  </a:lnTo>
                  <a:lnTo>
                    <a:pt x="590" y="486"/>
                  </a:lnTo>
                  <a:lnTo>
                    <a:pt x="589" y="486"/>
                  </a:lnTo>
                  <a:lnTo>
                    <a:pt x="587" y="489"/>
                  </a:lnTo>
                  <a:lnTo>
                    <a:pt x="586" y="490"/>
                  </a:lnTo>
                  <a:lnTo>
                    <a:pt x="586" y="492"/>
                  </a:lnTo>
                  <a:lnTo>
                    <a:pt x="584" y="493"/>
                  </a:lnTo>
                  <a:lnTo>
                    <a:pt x="586" y="495"/>
                  </a:lnTo>
                  <a:lnTo>
                    <a:pt x="586" y="497"/>
                  </a:lnTo>
                  <a:lnTo>
                    <a:pt x="587" y="499"/>
                  </a:lnTo>
                  <a:lnTo>
                    <a:pt x="587" y="501"/>
                  </a:lnTo>
                  <a:lnTo>
                    <a:pt x="587" y="502"/>
                  </a:lnTo>
                  <a:lnTo>
                    <a:pt x="587" y="503"/>
                  </a:lnTo>
                  <a:lnTo>
                    <a:pt x="587" y="505"/>
                  </a:lnTo>
                  <a:lnTo>
                    <a:pt x="584" y="504"/>
                  </a:lnTo>
                  <a:lnTo>
                    <a:pt x="583" y="504"/>
                  </a:lnTo>
                  <a:lnTo>
                    <a:pt x="583" y="505"/>
                  </a:lnTo>
                  <a:lnTo>
                    <a:pt x="582" y="505"/>
                  </a:lnTo>
                  <a:lnTo>
                    <a:pt x="581" y="504"/>
                  </a:lnTo>
                  <a:lnTo>
                    <a:pt x="580" y="502"/>
                  </a:lnTo>
                  <a:lnTo>
                    <a:pt x="578" y="503"/>
                  </a:lnTo>
                  <a:lnTo>
                    <a:pt x="575" y="505"/>
                  </a:lnTo>
                  <a:lnTo>
                    <a:pt x="574" y="504"/>
                  </a:lnTo>
                  <a:lnTo>
                    <a:pt x="572" y="504"/>
                  </a:lnTo>
                  <a:lnTo>
                    <a:pt x="570" y="504"/>
                  </a:lnTo>
                  <a:lnTo>
                    <a:pt x="568" y="504"/>
                  </a:lnTo>
                  <a:lnTo>
                    <a:pt x="566" y="504"/>
                  </a:lnTo>
                  <a:lnTo>
                    <a:pt x="564" y="504"/>
                  </a:lnTo>
                  <a:lnTo>
                    <a:pt x="563" y="505"/>
                  </a:lnTo>
                  <a:lnTo>
                    <a:pt x="563" y="504"/>
                  </a:lnTo>
                  <a:lnTo>
                    <a:pt x="563" y="502"/>
                  </a:lnTo>
                  <a:lnTo>
                    <a:pt x="562" y="501"/>
                  </a:lnTo>
                  <a:lnTo>
                    <a:pt x="559" y="501"/>
                  </a:lnTo>
                  <a:lnTo>
                    <a:pt x="559" y="498"/>
                  </a:lnTo>
                  <a:lnTo>
                    <a:pt x="560" y="497"/>
                  </a:lnTo>
                  <a:lnTo>
                    <a:pt x="558" y="497"/>
                  </a:lnTo>
                  <a:lnTo>
                    <a:pt x="559" y="495"/>
                  </a:lnTo>
                  <a:lnTo>
                    <a:pt x="559" y="493"/>
                  </a:lnTo>
                  <a:lnTo>
                    <a:pt x="558" y="491"/>
                  </a:lnTo>
                  <a:lnTo>
                    <a:pt x="559" y="489"/>
                  </a:lnTo>
                  <a:lnTo>
                    <a:pt x="558" y="489"/>
                  </a:lnTo>
                  <a:lnTo>
                    <a:pt x="558" y="487"/>
                  </a:lnTo>
                  <a:lnTo>
                    <a:pt x="557" y="486"/>
                  </a:lnTo>
                  <a:lnTo>
                    <a:pt x="556" y="485"/>
                  </a:lnTo>
                  <a:lnTo>
                    <a:pt x="553" y="486"/>
                  </a:lnTo>
                  <a:lnTo>
                    <a:pt x="553" y="487"/>
                  </a:lnTo>
                  <a:lnTo>
                    <a:pt x="556" y="490"/>
                  </a:lnTo>
                  <a:lnTo>
                    <a:pt x="554" y="490"/>
                  </a:lnTo>
                  <a:lnTo>
                    <a:pt x="556" y="491"/>
                  </a:lnTo>
                  <a:lnTo>
                    <a:pt x="557" y="493"/>
                  </a:lnTo>
                  <a:lnTo>
                    <a:pt x="556" y="492"/>
                  </a:lnTo>
                  <a:lnTo>
                    <a:pt x="553" y="491"/>
                  </a:lnTo>
                  <a:lnTo>
                    <a:pt x="552" y="491"/>
                  </a:lnTo>
                  <a:lnTo>
                    <a:pt x="551" y="492"/>
                  </a:lnTo>
                  <a:lnTo>
                    <a:pt x="549" y="491"/>
                  </a:lnTo>
                  <a:lnTo>
                    <a:pt x="548" y="492"/>
                  </a:lnTo>
                  <a:lnTo>
                    <a:pt x="547" y="489"/>
                  </a:lnTo>
                  <a:lnTo>
                    <a:pt x="546" y="490"/>
                  </a:lnTo>
                  <a:lnTo>
                    <a:pt x="546" y="489"/>
                  </a:lnTo>
                  <a:lnTo>
                    <a:pt x="546" y="487"/>
                  </a:lnTo>
                  <a:lnTo>
                    <a:pt x="546" y="485"/>
                  </a:lnTo>
                  <a:lnTo>
                    <a:pt x="547" y="484"/>
                  </a:lnTo>
                  <a:lnTo>
                    <a:pt x="548" y="484"/>
                  </a:lnTo>
                  <a:lnTo>
                    <a:pt x="548" y="483"/>
                  </a:lnTo>
                  <a:lnTo>
                    <a:pt x="549" y="484"/>
                  </a:lnTo>
                  <a:lnTo>
                    <a:pt x="552" y="483"/>
                  </a:lnTo>
                  <a:lnTo>
                    <a:pt x="552" y="481"/>
                  </a:lnTo>
                  <a:lnTo>
                    <a:pt x="553" y="481"/>
                  </a:lnTo>
                  <a:lnTo>
                    <a:pt x="557" y="480"/>
                  </a:lnTo>
                  <a:lnTo>
                    <a:pt x="558" y="479"/>
                  </a:lnTo>
                  <a:lnTo>
                    <a:pt x="559" y="478"/>
                  </a:lnTo>
                  <a:lnTo>
                    <a:pt x="560" y="477"/>
                  </a:lnTo>
                  <a:lnTo>
                    <a:pt x="562" y="475"/>
                  </a:lnTo>
                  <a:lnTo>
                    <a:pt x="560" y="474"/>
                  </a:lnTo>
                  <a:lnTo>
                    <a:pt x="562" y="473"/>
                  </a:lnTo>
                  <a:lnTo>
                    <a:pt x="563" y="473"/>
                  </a:lnTo>
                  <a:lnTo>
                    <a:pt x="564" y="473"/>
                  </a:lnTo>
                  <a:lnTo>
                    <a:pt x="563" y="471"/>
                  </a:lnTo>
                  <a:lnTo>
                    <a:pt x="563" y="467"/>
                  </a:lnTo>
                  <a:lnTo>
                    <a:pt x="560" y="462"/>
                  </a:lnTo>
                  <a:lnTo>
                    <a:pt x="560" y="464"/>
                  </a:lnTo>
                  <a:lnTo>
                    <a:pt x="559" y="463"/>
                  </a:lnTo>
                  <a:lnTo>
                    <a:pt x="558" y="463"/>
                  </a:lnTo>
                  <a:lnTo>
                    <a:pt x="557" y="464"/>
                  </a:lnTo>
                  <a:lnTo>
                    <a:pt x="556" y="464"/>
                  </a:lnTo>
                  <a:lnTo>
                    <a:pt x="554" y="463"/>
                  </a:lnTo>
                  <a:lnTo>
                    <a:pt x="554" y="462"/>
                  </a:lnTo>
                  <a:lnTo>
                    <a:pt x="554" y="460"/>
                  </a:lnTo>
                  <a:lnTo>
                    <a:pt x="553" y="458"/>
                  </a:lnTo>
                  <a:lnTo>
                    <a:pt x="553" y="461"/>
                  </a:lnTo>
                  <a:lnTo>
                    <a:pt x="551" y="461"/>
                  </a:lnTo>
                  <a:lnTo>
                    <a:pt x="549" y="460"/>
                  </a:lnTo>
                  <a:lnTo>
                    <a:pt x="549" y="461"/>
                  </a:lnTo>
                  <a:lnTo>
                    <a:pt x="547" y="461"/>
                  </a:lnTo>
                  <a:lnTo>
                    <a:pt x="547" y="458"/>
                  </a:lnTo>
                  <a:lnTo>
                    <a:pt x="545" y="455"/>
                  </a:lnTo>
                  <a:lnTo>
                    <a:pt x="543" y="454"/>
                  </a:lnTo>
                  <a:lnTo>
                    <a:pt x="542" y="452"/>
                  </a:lnTo>
                  <a:lnTo>
                    <a:pt x="543" y="455"/>
                  </a:lnTo>
                  <a:lnTo>
                    <a:pt x="543" y="456"/>
                  </a:lnTo>
                  <a:lnTo>
                    <a:pt x="545" y="458"/>
                  </a:lnTo>
                  <a:lnTo>
                    <a:pt x="543" y="458"/>
                  </a:lnTo>
                  <a:lnTo>
                    <a:pt x="543" y="460"/>
                  </a:lnTo>
                  <a:lnTo>
                    <a:pt x="542" y="458"/>
                  </a:lnTo>
                  <a:lnTo>
                    <a:pt x="540" y="457"/>
                  </a:lnTo>
                  <a:lnTo>
                    <a:pt x="540" y="458"/>
                  </a:lnTo>
                  <a:lnTo>
                    <a:pt x="540" y="460"/>
                  </a:lnTo>
                  <a:lnTo>
                    <a:pt x="539" y="458"/>
                  </a:lnTo>
                  <a:lnTo>
                    <a:pt x="537" y="456"/>
                  </a:lnTo>
                  <a:lnTo>
                    <a:pt x="536" y="456"/>
                  </a:lnTo>
                  <a:lnTo>
                    <a:pt x="535" y="456"/>
                  </a:lnTo>
                  <a:lnTo>
                    <a:pt x="536" y="458"/>
                  </a:lnTo>
                  <a:lnTo>
                    <a:pt x="537" y="458"/>
                  </a:lnTo>
                  <a:lnTo>
                    <a:pt x="537" y="460"/>
                  </a:lnTo>
                  <a:lnTo>
                    <a:pt x="536" y="460"/>
                  </a:lnTo>
                  <a:lnTo>
                    <a:pt x="534" y="460"/>
                  </a:lnTo>
                  <a:lnTo>
                    <a:pt x="534" y="461"/>
                  </a:lnTo>
                  <a:lnTo>
                    <a:pt x="533" y="461"/>
                  </a:lnTo>
                  <a:lnTo>
                    <a:pt x="533" y="462"/>
                  </a:lnTo>
                  <a:lnTo>
                    <a:pt x="533" y="463"/>
                  </a:lnTo>
                  <a:lnTo>
                    <a:pt x="531" y="464"/>
                  </a:lnTo>
                  <a:lnTo>
                    <a:pt x="531" y="466"/>
                  </a:lnTo>
                  <a:lnTo>
                    <a:pt x="530" y="464"/>
                  </a:lnTo>
                  <a:lnTo>
                    <a:pt x="530" y="462"/>
                  </a:lnTo>
                  <a:lnTo>
                    <a:pt x="529" y="464"/>
                  </a:lnTo>
                  <a:lnTo>
                    <a:pt x="528" y="462"/>
                  </a:lnTo>
                  <a:lnTo>
                    <a:pt x="528" y="460"/>
                  </a:lnTo>
                  <a:lnTo>
                    <a:pt x="527" y="460"/>
                  </a:lnTo>
                  <a:lnTo>
                    <a:pt x="525" y="461"/>
                  </a:lnTo>
                  <a:lnTo>
                    <a:pt x="525" y="463"/>
                  </a:lnTo>
                  <a:lnTo>
                    <a:pt x="525" y="466"/>
                  </a:lnTo>
                  <a:lnTo>
                    <a:pt x="527" y="467"/>
                  </a:lnTo>
                  <a:lnTo>
                    <a:pt x="528" y="468"/>
                  </a:lnTo>
                  <a:lnTo>
                    <a:pt x="530" y="469"/>
                  </a:lnTo>
                  <a:lnTo>
                    <a:pt x="529" y="469"/>
                  </a:lnTo>
                  <a:lnTo>
                    <a:pt x="529" y="472"/>
                  </a:lnTo>
                  <a:lnTo>
                    <a:pt x="531" y="473"/>
                  </a:lnTo>
                  <a:lnTo>
                    <a:pt x="531" y="474"/>
                  </a:lnTo>
                  <a:lnTo>
                    <a:pt x="530" y="474"/>
                  </a:lnTo>
                  <a:lnTo>
                    <a:pt x="530" y="477"/>
                  </a:lnTo>
                  <a:lnTo>
                    <a:pt x="528" y="477"/>
                  </a:lnTo>
                  <a:lnTo>
                    <a:pt x="527" y="475"/>
                  </a:lnTo>
                  <a:lnTo>
                    <a:pt x="527" y="477"/>
                  </a:lnTo>
                  <a:lnTo>
                    <a:pt x="527" y="478"/>
                  </a:lnTo>
                  <a:lnTo>
                    <a:pt x="525" y="478"/>
                  </a:lnTo>
                  <a:lnTo>
                    <a:pt x="524" y="479"/>
                  </a:lnTo>
                  <a:lnTo>
                    <a:pt x="523" y="479"/>
                  </a:lnTo>
                  <a:lnTo>
                    <a:pt x="524" y="481"/>
                  </a:lnTo>
                  <a:lnTo>
                    <a:pt x="524" y="483"/>
                  </a:lnTo>
                  <a:lnTo>
                    <a:pt x="527" y="484"/>
                  </a:lnTo>
                  <a:lnTo>
                    <a:pt x="527" y="485"/>
                  </a:lnTo>
                  <a:lnTo>
                    <a:pt x="525" y="486"/>
                  </a:lnTo>
                  <a:lnTo>
                    <a:pt x="525" y="487"/>
                  </a:lnTo>
                  <a:lnTo>
                    <a:pt x="523" y="487"/>
                  </a:lnTo>
                  <a:lnTo>
                    <a:pt x="522" y="489"/>
                  </a:lnTo>
                  <a:lnTo>
                    <a:pt x="521" y="489"/>
                  </a:lnTo>
                  <a:lnTo>
                    <a:pt x="521" y="487"/>
                  </a:lnTo>
                  <a:lnTo>
                    <a:pt x="519" y="487"/>
                  </a:lnTo>
                  <a:lnTo>
                    <a:pt x="518" y="486"/>
                  </a:lnTo>
                  <a:lnTo>
                    <a:pt x="517" y="486"/>
                  </a:lnTo>
                  <a:lnTo>
                    <a:pt x="517" y="483"/>
                  </a:lnTo>
                  <a:lnTo>
                    <a:pt x="517" y="481"/>
                  </a:lnTo>
                  <a:lnTo>
                    <a:pt x="517" y="480"/>
                  </a:lnTo>
                  <a:lnTo>
                    <a:pt x="516" y="478"/>
                  </a:lnTo>
                  <a:lnTo>
                    <a:pt x="517" y="474"/>
                  </a:lnTo>
                  <a:lnTo>
                    <a:pt x="517" y="472"/>
                  </a:lnTo>
                  <a:lnTo>
                    <a:pt x="516" y="473"/>
                  </a:lnTo>
                  <a:lnTo>
                    <a:pt x="515" y="472"/>
                  </a:lnTo>
                  <a:lnTo>
                    <a:pt x="515" y="471"/>
                  </a:lnTo>
                  <a:lnTo>
                    <a:pt x="512" y="468"/>
                  </a:lnTo>
                  <a:lnTo>
                    <a:pt x="511" y="464"/>
                  </a:lnTo>
                  <a:lnTo>
                    <a:pt x="510" y="466"/>
                  </a:lnTo>
                  <a:lnTo>
                    <a:pt x="511" y="468"/>
                  </a:lnTo>
                  <a:lnTo>
                    <a:pt x="509" y="466"/>
                  </a:lnTo>
                  <a:lnTo>
                    <a:pt x="507" y="464"/>
                  </a:lnTo>
                  <a:lnTo>
                    <a:pt x="506" y="464"/>
                  </a:lnTo>
                  <a:lnTo>
                    <a:pt x="505" y="466"/>
                  </a:lnTo>
                  <a:lnTo>
                    <a:pt x="504" y="466"/>
                  </a:lnTo>
                  <a:lnTo>
                    <a:pt x="504" y="463"/>
                  </a:lnTo>
                  <a:lnTo>
                    <a:pt x="503" y="462"/>
                  </a:lnTo>
                  <a:lnTo>
                    <a:pt x="500" y="461"/>
                  </a:lnTo>
                  <a:lnTo>
                    <a:pt x="499" y="461"/>
                  </a:lnTo>
                  <a:lnTo>
                    <a:pt x="498" y="460"/>
                  </a:lnTo>
                  <a:lnTo>
                    <a:pt x="497" y="460"/>
                  </a:lnTo>
                  <a:lnTo>
                    <a:pt x="494" y="460"/>
                  </a:lnTo>
                  <a:lnTo>
                    <a:pt x="493" y="457"/>
                  </a:lnTo>
                  <a:lnTo>
                    <a:pt x="492" y="457"/>
                  </a:lnTo>
                  <a:lnTo>
                    <a:pt x="492" y="458"/>
                  </a:lnTo>
                  <a:lnTo>
                    <a:pt x="490" y="461"/>
                  </a:lnTo>
                  <a:lnTo>
                    <a:pt x="489" y="462"/>
                  </a:lnTo>
                  <a:lnTo>
                    <a:pt x="488" y="462"/>
                  </a:lnTo>
                  <a:lnTo>
                    <a:pt x="487" y="461"/>
                  </a:lnTo>
                  <a:lnTo>
                    <a:pt x="484" y="460"/>
                  </a:lnTo>
                  <a:lnTo>
                    <a:pt x="483" y="461"/>
                  </a:lnTo>
                  <a:lnTo>
                    <a:pt x="482" y="461"/>
                  </a:lnTo>
                  <a:lnTo>
                    <a:pt x="478" y="461"/>
                  </a:lnTo>
                  <a:lnTo>
                    <a:pt x="477" y="461"/>
                  </a:lnTo>
                  <a:lnTo>
                    <a:pt x="475" y="461"/>
                  </a:lnTo>
                  <a:lnTo>
                    <a:pt x="472" y="461"/>
                  </a:lnTo>
                  <a:lnTo>
                    <a:pt x="471" y="460"/>
                  </a:lnTo>
                  <a:lnTo>
                    <a:pt x="469" y="460"/>
                  </a:lnTo>
                  <a:lnTo>
                    <a:pt x="468" y="455"/>
                  </a:lnTo>
                  <a:lnTo>
                    <a:pt x="468" y="454"/>
                  </a:lnTo>
                  <a:lnTo>
                    <a:pt x="469" y="451"/>
                  </a:lnTo>
                  <a:lnTo>
                    <a:pt x="468" y="450"/>
                  </a:lnTo>
                  <a:lnTo>
                    <a:pt x="469" y="448"/>
                  </a:lnTo>
                  <a:lnTo>
                    <a:pt x="468" y="448"/>
                  </a:lnTo>
                  <a:lnTo>
                    <a:pt x="469" y="445"/>
                  </a:lnTo>
                  <a:lnTo>
                    <a:pt x="470" y="443"/>
                  </a:lnTo>
                  <a:lnTo>
                    <a:pt x="470" y="442"/>
                  </a:lnTo>
                  <a:lnTo>
                    <a:pt x="468" y="440"/>
                  </a:lnTo>
                  <a:lnTo>
                    <a:pt x="468" y="439"/>
                  </a:lnTo>
                  <a:lnTo>
                    <a:pt x="468" y="437"/>
                  </a:lnTo>
                  <a:lnTo>
                    <a:pt x="470" y="434"/>
                  </a:lnTo>
                  <a:lnTo>
                    <a:pt x="471" y="433"/>
                  </a:lnTo>
                  <a:lnTo>
                    <a:pt x="472" y="432"/>
                  </a:lnTo>
                  <a:lnTo>
                    <a:pt x="474" y="432"/>
                  </a:lnTo>
                  <a:lnTo>
                    <a:pt x="474" y="431"/>
                  </a:lnTo>
                  <a:lnTo>
                    <a:pt x="471" y="430"/>
                  </a:lnTo>
                  <a:lnTo>
                    <a:pt x="470" y="430"/>
                  </a:lnTo>
                  <a:lnTo>
                    <a:pt x="470" y="431"/>
                  </a:lnTo>
                  <a:lnTo>
                    <a:pt x="469" y="431"/>
                  </a:lnTo>
                  <a:lnTo>
                    <a:pt x="466" y="431"/>
                  </a:lnTo>
                  <a:lnTo>
                    <a:pt x="465" y="432"/>
                  </a:lnTo>
                  <a:lnTo>
                    <a:pt x="465" y="431"/>
                  </a:lnTo>
                  <a:lnTo>
                    <a:pt x="464" y="431"/>
                  </a:lnTo>
                  <a:lnTo>
                    <a:pt x="462" y="432"/>
                  </a:lnTo>
                  <a:lnTo>
                    <a:pt x="462" y="433"/>
                  </a:lnTo>
                  <a:lnTo>
                    <a:pt x="462" y="434"/>
                  </a:lnTo>
                  <a:lnTo>
                    <a:pt x="460" y="434"/>
                  </a:lnTo>
                  <a:lnTo>
                    <a:pt x="462" y="436"/>
                  </a:lnTo>
                  <a:lnTo>
                    <a:pt x="463" y="436"/>
                  </a:lnTo>
                  <a:lnTo>
                    <a:pt x="463" y="438"/>
                  </a:lnTo>
                  <a:lnTo>
                    <a:pt x="464" y="439"/>
                  </a:lnTo>
                  <a:lnTo>
                    <a:pt x="462" y="439"/>
                  </a:lnTo>
                  <a:lnTo>
                    <a:pt x="460" y="439"/>
                  </a:lnTo>
                  <a:lnTo>
                    <a:pt x="460" y="440"/>
                  </a:lnTo>
                  <a:lnTo>
                    <a:pt x="460" y="443"/>
                  </a:lnTo>
                  <a:lnTo>
                    <a:pt x="457" y="440"/>
                  </a:lnTo>
                  <a:lnTo>
                    <a:pt x="457" y="444"/>
                  </a:lnTo>
                  <a:lnTo>
                    <a:pt x="456" y="446"/>
                  </a:lnTo>
                  <a:lnTo>
                    <a:pt x="457" y="449"/>
                  </a:lnTo>
                  <a:lnTo>
                    <a:pt x="457" y="451"/>
                  </a:lnTo>
                  <a:lnTo>
                    <a:pt x="459" y="450"/>
                  </a:lnTo>
                  <a:lnTo>
                    <a:pt x="458" y="449"/>
                  </a:lnTo>
                  <a:lnTo>
                    <a:pt x="459" y="449"/>
                  </a:lnTo>
                  <a:lnTo>
                    <a:pt x="460" y="451"/>
                  </a:lnTo>
                  <a:lnTo>
                    <a:pt x="462" y="451"/>
                  </a:lnTo>
                  <a:lnTo>
                    <a:pt x="463" y="452"/>
                  </a:lnTo>
                  <a:lnTo>
                    <a:pt x="460" y="454"/>
                  </a:lnTo>
                  <a:lnTo>
                    <a:pt x="460" y="455"/>
                  </a:lnTo>
                  <a:lnTo>
                    <a:pt x="458" y="454"/>
                  </a:lnTo>
                  <a:lnTo>
                    <a:pt x="457" y="455"/>
                  </a:lnTo>
                  <a:lnTo>
                    <a:pt x="458" y="456"/>
                  </a:lnTo>
                  <a:lnTo>
                    <a:pt x="459" y="457"/>
                  </a:lnTo>
                  <a:lnTo>
                    <a:pt x="459" y="460"/>
                  </a:lnTo>
                  <a:lnTo>
                    <a:pt x="458" y="461"/>
                  </a:lnTo>
                  <a:lnTo>
                    <a:pt x="460" y="461"/>
                  </a:lnTo>
                  <a:lnTo>
                    <a:pt x="463" y="463"/>
                  </a:lnTo>
                  <a:lnTo>
                    <a:pt x="464" y="464"/>
                  </a:lnTo>
                  <a:lnTo>
                    <a:pt x="462" y="466"/>
                  </a:lnTo>
                  <a:lnTo>
                    <a:pt x="460" y="464"/>
                  </a:lnTo>
                  <a:lnTo>
                    <a:pt x="459" y="466"/>
                  </a:lnTo>
                  <a:lnTo>
                    <a:pt x="458" y="466"/>
                  </a:lnTo>
                  <a:lnTo>
                    <a:pt x="456" y="466"/>
                  </a:lnTo>
                  <a:lnTo>
                    <a:pt x="456" y="464"/>
                  </a:lnTo>
                  <a:lnTo>
                    <a:pt x="453" y="466"/>
                  </a:lnTo>
                  <a:lnTo>
                    <a:pt x="452" y="466"/>
                  </a:lnTo>
                  <a:lnTo>
                    <a:pt x="451" y="466"/>
                  </a:lnTo>
                  <a:lnTo>
                    <a:pt x="450" y="464"/>
                  </a:lnTo>
                  <a:lnTo>
                    <a:pt x="451" y="462"/>
                  </a:lnTo>
                  <a:lnTo>
                    <a:pt x="450" y="462"/>
                  </a:lnTo>
                  <a:lnTo>
                    <a:pt x="448" y="462"/>
                  </a:lnTo>
                  <a:lnTo>
                    <a:pt x="447" y="462"/>
                  </a:lnTo>
                  <a:lnTo>
                    <a:pt x="445" y="462"/>
                  </a:lnTo>
                  <a:lnTo>
                    <a:pt x="444" y="463"/>
                  </a:lnTo>
                  <a:lnTo>
                    <a:pt x="442" y="463"/>
                  </a:lnTo>
                  <a:lnTo>
                    <a:pt x="444" y="464"/>
                  </a:lnTo>
                  <a:lnTo>
                    <a:pt x="445" y="467"/>
                  </a:lnTo>
                  <a:lnTo>
                    <a:pt x="447" y="471"/>
                  </a:lnTo>
                  <a:lnTo>
                    <a:pt x="446" y="471"/>
                  </a:lnTo>
                  <a:lnTo>
                    <a:pt x="444" y="469"/>
                  </a:lnTo>
                  <a:lnTo>
                    <a:pt x="444" y="472"/>
                  </a:lnTo>
                  <a:lnTo>
                    <a:pt x="442" y="472"/>
                  </a:lnTo>
                  <a:lnTo>
                    <a:pt x="441" y="471"/>
                  </a:lnTo>
                  <a:lnTo>
                    <a:pt x="439" y="469"/>
                  </a:lnTo>
                  <a:lnTo>
                    <a:pt x="439" y="472"/>
                  </a:lnTo>
                  <a:lnTo>
                    <a:pt x="439" y="474"/>
                  </a:lnTo>
                  <a:lnTo>
                    <a:pt x="438" y="474"/>
                  </a:lnTo>
                  <a:lnTo>
                    <a:pt x="435" y="474"/>
                  </a:lnTo>
                  <a:lnTo>
                    <a:pt x="434" y="474"/>
                  </a:lnTo>
                  <a:lnTo>
                    <a:pt x="433" y="472"/>
                  </a:lnTo>
                  <a:lnTo>
                    <a:pt x="430" y="471"/>
                  </a:lnTo>
                  <a:lnTo>
                    <a:pt x="430" y="469"/>
                  </a:lnTo>
                  <a:lnTo>
                    <a:pt x="428" y="468"/>
                  </a:lnTo>
                  <a:lnTo>
                    <a:pt x="427" y="467"/>
                  </a:lnTo>
                  <a:lnTo>
                    <a:pt x="425" y="467"/>
                  </a:lnTo>
                  <a:lnTo>
                    <a:pt x="424" y="466"/>
                  </a:lnTo>
                  <a:lnTo>
                    <a:pt x="423" y="464"/>
                  </a:lnTo>
                  <a:lnTo>
                    <a:pt x="423" y="463"/>
                  </a:lnTo>
                  <a:lnTo>
                    <a:pt x="422" y="461"/>
                  </a:lnTo>
                  <a:lnTo>
                    <a:pt x="422" y="458"/>
                  </a:lnTo>
                  <a:lnTo>
                    <a:pt x="423" y="457"/>
                  </a:lnTo>
                  <a:lnTo>
                    <a:pt x="424" y="456"/>
                  </a:lnTo>
                  <a:lnTo>
                    <a:pt x="424" y="455"/>
                  </a:lnTo>
                  <a:lnTo>
                    <a:pt x="425" y="452"/>
                  </a:lnTo>
                  <a:lnTo>
                    <a:pt x="424" y="452"/>
                  </a:lnTo>
                  <a:lnTo>
                    <a:pt x="423" y="452"/>
                  </a:lnTo>
                  <a:lnTo>
                    <a:pt x="422" y="451"/>
                  </a:lnTo>
                  <a:lnTo>
                    <a:pt x="421" y="451"/>
                  </a:lnTo>
                  <a:lnTo>
                    <a:pt x="419" y="451"/>
                  </a:lnTo>
                  <a:lnTo>
                    <a:pt x="418" y="450"/>
                  </a:lnTo>
                  <a:lnTo>
                    <a:pt x="416" y="451"/>
                  </a:lnTo>
                  <a:lnTo>
                    <a:pt x="415" y="451"/>
                  </a:lnTo>
                  <a:lnTo>
                    <a:pt x="416" y="454"/>
                  </a:lnTo>
                  <a:lnTo>
                    <a:pt x="417" y="456"/>
                  </a:lnTo>
                  <a:lnTo>
                    <a:pt x="419" y="456"/>
                  </a:lnTo>
                  <a:lnTo>
                    <a:pt x="419" y="458"/>
                  </a:lnTo>
                  <a:lnTo>
                    <a:pt x="419" y="461"/>
                  </a:lnTo>
                  <a:lnTo>
                    <a:pt x="421" y="463"/>
                  </a:lnTo>
                  <a:lnTo>
                    <a:pt x="422" y="464"/>
                  </a:lnTo>
                  <a:lnTo>
                    <a:pt x="423" y="467"/>
                  </a:lnTo>
                  <a:lnTo>
                    <a:pt x="423" y="469"/>
                  </a:lnTo>
                  <a:lnTo>
                    <a:pt x="424" y="472"/>
                  </a:lnTo>
                  <a:lnTo>
                    <a:pt x="424" y="473"/>
                  </a:lnTo>
                  <a:lnTo>
                    <a:pt x="427" y="474"/>
                  </a:lnTo>
                  <a:lnTo>
                    <a:pt x="425" y="478"/>
                  </a:lnTo>
                  <a:lnTo>
                    <a:pt x="427" y="480"/>
                  </a:lnTo>
                  <a:lnTo>
                    <a:pt x="428" y="483"/>
                  </a:lnTo>
                  <a:lnTo>
                    <a:pt x="430" y="484"/>
                  </a:lnTo>
                  <a:lnTo>
                    <a:pt x="431" y="484"/>
                  </a:lnTo>
                  <a:lnTo>
                    <a:pt x="435" y="486"/>
                  </a:lnTo>
                  <a:lnTo>
                    <a:pt x="435" y="489"/>
                  </a:lnTo>
                  <a:lnTo>
                    <a:pt x="434" y="490"/>
                  </a:lnTo>
                  <a:lnTo>
                    <a:pt x="433" y="489"/>
                  </a:lnTo>
                  <a:lnTo>
                    <a:pt x="431" y="489"/>
                  </a:lnTo>
                  <a:lnTo>
                    <a:pt x="429" y="490"/>
                  </a:lnTo>
                  <a:lnTo>
                    <a:pt x="428" y="490"/>
                  </a:lnTo>
                  <a:lnTo>
                    <a:pt x="425" y="490"/>
                  </a:lnTo>
                  <a:lnTo>
                    <a:pt x="424" y="487"/>
                  </a:lnTo>
                  <a:lnTo>
                    <a:pt x="423" y="487"/>
                  </a:lnTo>
                  <a:lnTo>
                    <a:pt x="422" y="487"/>
                  </a:lnTo>
                  <a:lnTo>
                    <a:pt x="421" y="487"/>
                  </a:lnTo>
                  <a:lnTo>
                    <a:pt x="421" y="486"/>
                  </a:lnTo>
                  <a:lnTo>
                    <a:pt x="419" y="490"/>
                  </a:lnTo>
                  <a:lnTo>
                    <a:pt x="422" y="492"/>
                  </a:lnTo>
                  <a:lnTo>
                    <a:pt x="423" y="492"/>
                  </a:lnTo>
                  <a:lnTo>
                    <a:pt x="424" y="495"/>
                  </a:lnTo>
                  <a:lnTo>
                    <a:pt x="424" y="497"/>
                  </a:lnTo>
                  <a:lnTo>
                    <a:pt x="422" y="497"/>
                  </a:lnTo>
                  <a:lnTo>
                    <a:pt x="421" y="497"/>
                  </a:lnTo>
                  <a:lnTo>
                    <a:pt x="419" y="495"/>
                  </a:lnTo>
                  <a:lnTo>
                    <a:pt x="419" y="496"/>
                  </a:lnTo>
                  <a:lnTo>
                    <a:pt x="421" y="498"/>
                  </a:lnTo>
                  <a:lnTo>
                    <a:pt x="419" y="499"/>
                  </a:lnTo>
                  <a:lnTo>
                    <a:pt x="419" y="502"/>
                  </a:lnTo>
                  <a:lnTo>
                    <a:pt x="423" y="504"/>
                  </a:lnTo>
                  <a:lnTo>
                    <a:pt x="427" y="505"/>
                  </a:lnTo>
                  <a:lnTo>
                    <a:pt x="428" y="507"/>
                  </a:lnTo>
                  <a:lnTo>
                    <a:pt x="431" y="507"/>
                  </a:lnTo>
                  <a:lnTo>
                    <a:pt x="434" y="508"/>
                  </a:lnTo>
                  <a:lnTo>
                    <a:pt x="435" y="508"/>
                  </a:lnTo>
                  <a:lnTo>
                    <a:pt x="436" y="509"/>
                  </a:lnTo>
                  <a:lnTo>
                    <a:pt x="438" y="510"/>
                  </a:lnTo>
                  <a:lnTo>
                    <a:pt x="439" y="511"/>
                  </a:lnTo>
                  <a:lnTo>
                    <a:pt x="438" y="513"/>
                  </a:lnTo>
                  <a:lnTo>
                    <a:pt x="436" y="515"/>
                  </a:lnTo>
                  <a:lnTo>
                    <a:pt x="435" y="515"/>
                  </a:lnTo>
                  <a:lnTo>
                    <a:pt x="436" y="516"/>
                  </a:lnTo>
                  <a:lnTo>
                    <a:pt x="434" y="519"/>
                  </a:lnTo>
                  <a:lnTo>
                    <a:pt x="434" y="520"/>
                  </a:lnTo>
                  <a:lnTo>
                    <a:pt x="431" y="521"/>
                  </a:lnTo>
                  <a:lnTo>
                    <a:pt x="430" y="521"/>
                  </a:lnTo>
                  <a:lnTo>
                    <a:pt x="428" y="522"/>
                  </a:lnTo>
                  <a:lnTo>
                    <a:pt x="427" y="522"/>
                  </a:lnTo>
                  <a:lnTo>
                    <a:pt x="425" y="522"/>
                  </a:lnTo>
                  <a:lnTo>
                    <a:pt x="423" y="522"/>
                  </a:lnTo>
                  <a:lnTo>
                    <a:pt x="421" y="522"/>
                  </a:lnTo>
                  <a:lnTo>
                    <a:pt x="419" y="525"/>
                  </a:lnTo>
                  <a:lnTo>
                    <a:pt x="422" y="527"/>
                  </a:lnTo>
                  <a:lnTo>
                    <a:pt x="423" y="529"/>
                  </a:lnTo>
                  <a:lnTo>
                    <a:pt x="424" y="531"/>
                  </a:lnTo>
                  <a:lnTo>
                    <a:pt x="427" y="534"/>
                  </a:lnTo>
                  <a:lnTo>
                    <a:pt x="429" y="538"/>
                  </a:lnTo>
                  <a:lnTo>
                    <a:pt x="427" y="540"/>
                  </a:lnTo>
                  <a:lnTo>
                    <a:pt x="424" y="539"/>
                  </a:lnTo>
                  <a:lnTo>
                    <a:pt x="422" y="539"/>
                  </a:lnTo>
                  <a:lnTo>
                    <a:pt x="422" y="535"/>
                  </a:lnTo>
                  <a:lnTo>
                    <a:pt x="419" y="535"/>
                  </a:lnTo>
                  <a:lnTo>
                    <a:pt x="417" y="534"/>
                  </a:lnTo>
                  <a:lnTo>
                    <a:pt x="418" y="534"/>
                  </a:lnTo>
                  <a:lnTo>
                    <a:pt x="417" y="534"/>
                  </a:lnTo>
                  <a:lnTo>
                    <a:pt x="413" y="533"/>
                  </a:lnTo>
                  <a:lnTo>
                    <a:pt x="412" y="532"/>
                  </a:lnTo>
                  <a:lnTo>
                    <a:pt x="411" y="531"/>
                  </a:lnTo>
                  <a:lnTo>
                    <a:pt x="409" y="529"/>
                  </a:lnTo>
                  <a:lnTo>
                    <a:pt x="409" y="528"/>
                  </a:lnTo>
                  <a:lnTo>
                    <a:pt x="406" y="528"/>
                  </a:lnTo>
                  <a:lnTo>
                    <a:pt x="405" y="527"/>
                  </a:lnTo>
                  <a:lnTo>
                    <a:pt x="404" y="527"/>
                  </a:lnTo>
                  <a:lnTo>
                    <a:pt x="401" y="528"/>
                  </a:lnTo>
                  <a:lnTo>
                    <a:pt x="397" y="527"/>
                  </a:lnTo>
                  <a:lnTo>
                    <a:pt x="394" y="526"/>
                  </a:lnTo>
                  <a:lnTo>
                    <a:pt x="393" y="523"/>
                  </a:lnTo>
                  <a:lnTo>
                    <a:pt x="392" y="522"/>
                  </a:lnTo>
                  <a:lnTo>
                    <a:pt x="393" y="521"/>
                  </a:lnTo>
                  <a:lnTo>
                    <a:pt x="395" y="517"/>
                  </a:lnTo>
                  <a:lnTo>
                    <a:pt x="395" y="515"/>
                  </a:lnTo>
                  <a:lnTo>
                    <a:pt x="398" y="514"/>
                  </a:lnTo>
                  <a:lnTo>
                    <a:pt x="401" y="514"/>
                  </a:lnTo>
                  <a:lnTo>
                    <a:pt x="403" y="511"/>
                  </a:lnTo>
                  <a:lnTo>
                    <a:pt x="404" y="510"/>
                  </a:lnTo>
                  <a:lnTo>
                    <a:pt x="403" y="509"/>
                  </a:lnTo>
                  <a:lnTo>
                    <a:pt x="401" y="508"/>
                  </a:lnTo>
                  <a:lnTo>
                    <a:pt x="400" y="505"/>
                  </a:lnTo>
                  <a:lnTo>
                    <a:pt x="399" y="504"/>
                  </a:lnTo>
                  <a:lnTo>
                    <a:pt x="398" y="503"/>
                  </a:lnTo>
                  <a:lnTo>
                    <a:pt x="397" y="502"/>
                  </a:lnTo>
                  <a:lnTo>
                    <a:pt x="394" y="503"/>
                  </a:lnTo>
                  <a:lnTo>
                    <a:pt x="394" y="504"/>
                  </a:lnTo>
                  <a:lnTo>
                    <a:pt x="393" y="503"/>
                  </a:lnTo>
                  <a:lnTo>
                    <a:pt x="391" y="501"/>
                  </a:lnTo>
                  <a:lnTo>
                    <a:pt x="389" y="501"/>
                  </a:lnTo>
                  <a:lnTo>
                    <a:pt x="388" y="497"/>
                  </a:lnTo>
                  <a:lnTo>
                    <a:pt x="387" y="496"/>
                  </a:lnTo>
                  <a:lnTo>
                    <a:pt x="385" y="497"/>
                  </a:lnTo>
                  <a:lnTo>
                    <a:pt x="385" y="499"/>
                  </a:lnTo>
                  <a:lnTo>
                    <a:pt x="385" y="502"/>
                  </a:lnTo>
                  <a:lnTo>
                    <a:pt x="383" y="501"/>
                  </a:lnTo>
                  <a:lnTo>
                    <a:pt x="382" y="502"/>
                  </a:lnTo>
                  <a:lnTo>
                    <a:pt x="380" y="503"/>
                  </a:lnTo>
                  <a:lnTo>
                    <a:pt x="377" y="501"/>
                  </a:lnTo>
                  <a:lnTo>
                    <a:pt x="376" y="502"/>
                  </a:lnTo>
                  <a:lnTo>
                    <a:pt x="375" y="503"/>
                  </a:lnTo>
                  <a:lnTo>
                    <a:pt x="375" y="504"/>
                  </a:lnTo>
                  <a:lnTo>
                    <a:pt x="372" y="507"/>
                  </a:lnTo>
                  <a:lnTo>
                    <a:pt x="371" y="508"/>
                  </a:lnTo>
                  <a:lnTo>
                    <a:pt x="372" y="509"/>
                  </a:lnTo>
                  <a:lnTo>
                    <a:pt x="372" y="511"/>
                  </a:lnTo>
                  <a:lnTo>
                    <a:pt x="372" y="514"/>
                  </a:lnTo>
                  <a:lnTo>
                    <a:pt x="371" y="514"/>
                  </a:lnTo>
                  <a:lnTo>
                    <a:pt x="369" y="514"/>
                  </a:lnTo>
                  <a:lnTo>
                    <a:pt x="366" y="513"/>
                  </a:lnTo>
                  <a:lnTo>
                    <a:pt x="364" y="513"/>
                  </a:lnTo>
                  <a:lnTo>
                    <a:pt x="364" y="514"/>
                  </a:lnTo>
                  <a:lnTo>
                    <a:pt x="364" y="516"/>
                  </a:lnTo>
                  <a:lnTo>
                    <a:pt x="364" y="519"/>
                  </a:lnTo>
                  <a:lnTo>
                    <a:pt x="366" y="520"/>
                  </a:lnTo>
                  <a:lnTo>
                    <a:pt x="369" y="519"/>
                  </a:lnTo>
                  <a:lnTo>
                    <a:pt x="370" y="521"/>
                  </a:lnTo>
                  <a:lnTo>
                    <a:pt x="372" y="521"/>
                  </a:lnTo>
                  <a:lnTo>
                    <a:pt x="375" y="522"/>
                  </a:lnTo>
                  <a:lnTo>
                    <a:pt x="377" y="523"/>
                  </a:lnTo>
                  <a:lnTo>
                    <a:pt x="380" y="525"/>
                  </a:lnTo>
                  <a:lnTo>
                    <a:pt x="382" y="525"/>
                  </a:lnTo>
                  <a:lnTo>
                    <a:pt x="386" y="526"/>
                  </a:lnTo>
                  <a:lnTo>
                    <a:pt x="386" y="528"/>
                  </a:lnTo>
                  <a:lnTo>
                    <a:pt x="388" y="529"/>
                  </a:lnTo>
                  <a:lnTo>
                    <a:pt x="391" y="531"/>
                  </a:lnTo>
                  <a:lnTo>
                    <a:pt x="393" y="531"/>
                  </a:lnTo>
                  <a:lnTo>
                    <a:pt x="397" y="532"/>
                  </a:lnTo>
                  <a:lnTo>
                    <a:pt x="398" y="531"/>
                  </a:lnTo>
                  <a:lnTo>
                    <a:pt x="401" y="534"/>
                  </a:lnTo>
                  <a:lnTo>
                    <a:pt x="403" y="535"/>
                  </a:lnTo>
                  <a:lnTo>
                    <a:pt x="404" y="537"/>
                  </a:lnTo>
                  <a:lnTo>
                    <a:pt x="403" y="540"/>
                  </a:lnTo>
                  <a:lnTo>
                    <a:pt x="401" y="543"/>
                  </a:lnTo>
                  <a:lnTo>
                    <a:pt x="401" y="545"/>
                  </a:lnTo>
                  <a:lnTo>
                    <a:pt x="401" y="544"/>
                  </a:lnTo>
                  <a:lnTo>
                    <a:pt x="401" y="545"/>
                  </a:lnTo>
                  <a:lnTo>
                    <a:pt x="400" y="549"/>
                  </a:lnTo>
                  <a:lnTo>
                    <a:pt x="400" y="550"/>
                  </a:lnTo>
                  <a:lnTo>
                    <a:pt x="399" y="552"/>
                  </a:lnTo>
                  <a:lnTo>
                    <a:pt x="397" y="555"/>
                  </a:lnTo>
                  <a:lnTo>
                    <a:pt x="393" y="556"/>
                  </a:lnTo>
                  <a:lnTo>
                    <a:pt x="392" y="556"/>
                  </a:lnTo>
                  <a:lnTo>
                    <a:pt x="391" y="562"/>
                  </a:lnTo>
                  <a:lnTo>
                    <a:pt x="388" y="563"/>
                  </a:lnTo>
                  <a:lnTo>
                    <a:pt x="386" y="562"/>
                  </a:lnTo>
                  <a:lnTo>
                    <a:pt x="383" y="562"/>
                  </a:lnTo>
                  <a:lnTo>
                    <a:pt x="382" y="559"/>
                  </a:lnTo>
                  <a:lnTo>
                    <a:pt x="379" y="558"/>
                  </a:lnTo>
                  <a:lnTo>
                    <a:pt x="379" y="556"/>
                  </a:lnTo>
                  <a:lnTo>
                    <a:pt x="379" y="555"/>
                  </a:lnTo>
                  <a:lnTo>
                    <a:pt x="377" y="551"/>
                  </a:lnTo>
                  <a:lnTo>
                    <a:pt x="379" y="550"/>
                  </a:lnTo>
                  <a:lnTo>
                    <a:pt x="377" y="549"/>
                  </a:lnTo>
                  <a:lnTo>
                    <a:pt x="375" y="549"/>
                  </a:lnTo>
                  <a:lnTo>
                    <a:pt x="374" y="547"/>
                  </a:lnTo>
                  <a:lnTo>
                    <a:pt x="372" y="545"/>
                  </a:lnTo>
                  <a:lnTo>
                    <a:pt x="371" y="544"/>
                  </a:lnTo>
                  <a:lnTo>
                    <a:pt x="371" y="547"/>
                  </a:lnTo>
                  <a:lnTo>
                    <a:pt x="370" y="549"/>
                  </a:lnTo>
                  <a:lnTo>
                    <a:pt x="370" y="550"/>
                  </a:lnTo>
                  <a:lnTo>
                    <a:pt x="368" y="549"/>
                  </a:lnTo>
                  <a:lnTo>
                    <a:pt x="366" y="547"/>
                  </a:lnTo>
                  <a:lnTo>
                    <a:pt x="365" y="549"/>
                  </a:lnTo>
                  <a:lnTo>
                    <a:pt x="364" y="550"/>
                  </a:lnTo>
                  <a:lnTo>
                    <a:pt x="363" y="551"/>
                  </a:lnTo>
                  <a:lnTo>
                    <a:pt x="360" y="551"/>
                  </a:lnTo>
                  <a:lnTo>
                    <a:pt x="359" y="550"/>
                  </a:lnTo>
                  <a:lnTo>
                    <a:pt x="358" y="549"/>
                  </a:lnTo>
                  <a:lnTo>
                    <a:pt x="356" y="549"/>
                  </a:lnTo>
                  <a:lnTo>
                    <a:pt x="354" y="549"/>
                  </a:lnTo>
                  <a:lnTo>
                    <a:pt x="352" y="550"/>
                  </a:lnTo>
                  <a:lnTo>
                    <a:pt x="351" y="552"/>
                  </a:lnTo>
                  <a:lnTo>
                    <a:pt x="348" y="552"/>
                  </a:lnTo>
                  <a:lnTo>
                    <a:pt x="347" y="556"/>
                  </a:lnTo>
                  <a:lnTo>
                    <a:pt x="348" y="558"/>
                  </a:lnTo>
                  <a:lnTo>
                    <a:pt x="350" y="559"/>
                  </a:lnTo>
                  <a:lnTo>
                    <a:pt x="352" y="559"/>
                  </a:lnTo>
                  <a:lnTo>
                    <a:pt x="356" y="559"/>
                  </a:lnTo>
                  <a:lnTo>
                    <a:pt x="356" y="562"/>
                  </a:lnTo>
                  <a:lnTo>
                    <a:pt x="354" y="563"/>
                  </a:lnTo>
                  <a:lnTo>
                    <a:pt x="352" y="563"/>
                  </a:lnTo>
                  <a:lnTo>
                    <a:pt x="351" y="562"/>
                  </a:lnTo>
                  <a:lnTo>
                    <a:pt x="348" y="563"/>
                  </a:lnTo>
                  <a:lnTo>
                    <a:pt x="346" y="563"/>
                  </a:lnTo>
                  <a:lnTo>
                    <a:pt x="342" y="559"/>
                  </a:lnTo>
                  <a:lnTo>
                    <a:pt x="340" y="559"/>
                  </a:lnTo>
                  <a:lnTo>
                    <a:pt x="336" y="559"/>
                  </a:lnTo>
                  <a:lnTo>
                    <a:pt x="335" y="558"/>
                  </a:lnTo>
                  <a:lnTo>
                    <a:pt x="333" y="559"/>
                  </a:lnTo>
                  <a:lnTo>
                    <a:pt x="330" y="558"/>
                  </a:lnTo>
                  <a:lnTo>
                    <a:pt x="330" y="557"/>
                  </a:lnTo>
                  <a:lnTo>
                    <a:pt x="330" y="556"/>
                  </a:lnTo>
                  <a:lnTo>
                    <a:pt x="332" y="555"/>
                  </a:lnTo>
                  <a:lnTo>
                    <a:pt x="332" y="553"/>
                  </a:lnTo>
                  <a:lnTo>
                    <a:pt x="329" y="553"/>
                  </a:lnTo>
                  <a:lnTo>
                    <a:pt x="327" y="553"/>
                  </a:lnTo>
                  <a:lnTo>
                    <a:pt x="326" y="555"/>
                  </a:lnTo>
                  <a:lnTo>
                    <a:pt x="323" y="555"/>
                  </a:lnTo>
                  <a:lnTo>
                    <a:pt x="323" y="550"/>
                  </a:lnTo>
                  <a:lnTo>
                    <a:pt x="323" y="547"/>
                  </a:lnTo>
                  <a:lnTo>
                    <a:pt x="323" y="546"/>
                  </a:lnTo>
                  <a:lnTo>
                    <a:pt x="318" y="541"/>
                  </a:lnTo>
                  <a:lnTo>
                    <a:pt x="320" y="541"/>
                  </a:lnTo>
                  <a:lnTo>
                    <a:pt x="318" y="540"/>
                  </a:lnTo>
                  <a:lnTo>
                    <a:pt x="314" y="539"/>
                  </a:lnTo>
                  <a:lnTo>
                    <a:pt x="311" y="538"/>
                  </a:lnTo>
                  <a:lnTo>
                    <a:pt x="309" y="538"/>
                  </a:lnTo>
                  <a:lnTo>
                    <a:pt x="309" y="537"/>
                  </a:lnTo>
                  <a:lnTo>
                    <a:pt x="310" y="534"/>
                  </a:lnTo>
                  <a:lnTo>
                    <a:pt x="312" y="533"/>
                  </a:lnTo>
                  <a:lnTo>
                    <a:pt x="314" y="532"/>
                  </a:lnTo>
                  <a:lnTo>
                    <a:pt x="318" y="532"/>
                  </a:lnTo>
                  <a:lnTo>
                    <a:pt x="320" y="529"/>
                  </a:lnTo>
                  <a:lnTo>
                    <a:pt x="323" y="528"/>
                  </a:lnTo>
                  <a:lnTo>
                    <a:pt x="324" y="527"/>
                  </a:lnTo>
                  <a:lnTo>
                    <a:pt x="327" y="526"/>
                  </a:lnTo>
                  <a:lnTo>
                    <a:pt x="326" y="522"/>
                  </a:lnTo>
                  <a:lnTo>
                    <a:pt x="324" y="523"/>
                  </a:lnTo>
                  <a:lnTo>
                    <a:pt x="322" y="525"/>
                  </a:lnTo>
                  <a:lnTo>
                    <a:pt x="322" y="523"/>
                  </a:lnTo>
                  <a:lnTo>
                    <a:pt x="321" y="525"/>
                  </a:lnTo>
                  <a:lnTo>
                    <a:pt x="320" y="527"/>
                  </a:lnTo>
                  <a:lnTo>
                    <a:pt x="318" y="527"/>
                  </a:lnTo>
                  <a:lnTo>
                    <a:pt x="317" y="526"/>
                  </a:lnTo>
                  <a:lnTo>
                    <a:pt x="316" y="526"/>
                  </a:lnTo>
                  <a:lnTo>
                    <a:pt x="315" y="526"/>
                  </a:lnTo>
                  <a:lnTo>
                    <a:pt x="314" y="523"/>
                  </a:lnTo>
                  <a:lnTo>
                    <a:pt x="315" y="521"/>
                  </a:lnTo>
                  <a:lnTo>
                    <a:pt x="311" y="523"/>
                  </a:lnTo>
                  <a:lnTo>
                    <a:pt x="306" y="528"/>
                  </a:lnTo>
                  <a:lnTo>
                    <a:pt x="301" y="555"/>
                  </a:lnTo>
                  <a:lnTo>
                    <a:pt x="300" y="565"/>
                  </a:lnTo>
                  <a:lnTo>
                    <a:pt x="301" y="570"/>
                  </a:lnTo>
                  <a:lnTo>
                    <a:pt x="304" y="576"/>
                  </a:lnTo>
                  <a:lnTo>
                    <a:pt x="305" y="582"/>
                  </a:lnTo>
                  <a:lnTo>
                    <a:pt x="298" y="603"/>
                  </a:lnTo>
                  <a:lnTo>
                    <a:pt x="297" y="621"/>
                  </a:lnTo>
                  <a:lnTo>
                    <a:pt x="300" y="627"/>
                  </a:lnTo>
                  <a:lnTo>
                    <a:pt x="300" y="630"/>
                  </a:lnTo>
                  <a:lnTo>
                    <a:pt x="294" y="641"/>
                  </a:lnTo>
                  <a:lnTo>
                    <a:pt x="291" y="695"/>
                  </a:lnTo>
                  <a:lnTo>
                    <a:pt x="293" y="73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8" name="Freeform 81"/>
            <p:cNvSpPr>
              <a:spLocks noEditPoints="1"/>
            </p:cNvSpPr>
            <p:nvPr userDrawn="1"/>
          </p:nvSpPr>
          <p:spPr bwMode="auto">
            <a:xfrm>
              <a:off x="8018463" y="6276976"/>
              <a:ext cx="133350" cy="246063"/>
            </a:xfrm>
            <a:custGeom>
              <a:avLst/>
              <a:gdLst/>
              <a:ahLst/>
              <a:cxnLst>
                <a:cxn ang="0">
                  <a:pos x="175" y="755"/>
                </a:cxn>
                <a:cxn ang="0">
                  <a:pos x="191" y="537"/>
                </a:cxn>
                <a:cxn ang="0">
                  <a:pos x="218" y="537"/>
                </a:cxn>
                <a:cxn ang="0">
                  <a:pos x="379" y="319"/>
                </a:cxn>
                <a:cxn ang="0">
                  <a:pos x="423" y="362"/>
                </a:cxn>
                <a:cxn ang="0">
                  <a:pos x="413" y="369"/>
                </a:cxn>
                <a:cxn ang="0">
                  <a:pos x="356" y="350"/>
                </a:cxn>
                <a:cxn ang="0">
                  <a:pos x="255" y="289"/>
                </a:cxn>
                <a:cxn ang="0">
                  <a:pos x="229" y="300"/>
                </a:cxn>
                <a:cxn ang="0">
                  <a:pos x="242" y="527"/>
                </a:cxn>
                <a:cxn ang="0">
                  <a:pos x="254" y="755"/>
                </a:cxn>
                <a:cxn ang="0">
                  <a:pos x="161" y="777"/>
                </a:cxn>
                <a:cxn ang="0">
                  <a:pos x="172" y="742"/>
                </a:cxn>
                <a:cxn ang="0">
                  <a:pos x="191" y="527"/>
                </a:cxn>
                <a:cxn ang="0">
                  <a:pos x="178" y="278"/>
                </a:cxn>
                <a:cxn ang="0">
                  <a:pos x="111" y="325"/>
                </a:cxn>
                <a:cxn ang="0">
                  <a:pos x="12" y="367"/>
                </a:cxn>
                <a:cxn ang="0">
                  <a:pos x="0" y="359"/>
                </a:cxn>
                <a:cxn ang="0">
                  <a:pos x="52" y="310"/>
                </a:cxn>
                <a:cxn ang="0">
                  <a:pos x="163" y="252"/>
                </a:cxn>
                <a:cxn ang="0">
                  <a:pos x="193" y="224"/>
                </a:cxn>
                <a:cxn ang="0">
                  <a:pos x="193" y="163"/>
                </a:cxn>
                <a:cxn ang="0">
                  <a:pos x="197" y="35"/>
                </a:cxn>
                <a:cxn ang="0">
                  <a:pos x="214" y="0"/>
                </a:cxn>
                <a:cxn ang="0">
                  <a:pos x="229" y="35"/>
                </a:cxn>
                <a:cxn ang="0">
                  <a:pos x="234" y="163"/>
                </a:cxn>
                <a:cxn ang="0">
                  <a:pos x="235" y="224"/>
                </a:cxn>
                <a:cxn ang="0">
                  <a:pos x="243" y="248"/>
                </a:cxn>
                <a:cxn ang="0">
                  <a:pos x="313" y="277"/>
                </a:cxn>
                <a:cxn ang="0">
                  <a:pos x="270" y="265"/>
                </a:cxn>
                <a:cxn ang="0">
                  <a:pos x="262" y="270"/>
                </a:cxn>
                <a:cxn ang="0">
                  <a:pos x="307" y="302"/>
                </a:cxn>
                <a:cxn ang="0">
                  <a:pos x="378" y="339"/>
                </a:cxn>
                <a:cxn ang="0">
                  <a:pos x="386" y="336"/>
                </a:cxn>
                <a:cxn ang="0">
                  <a:pos x="365" y="316"/>
                </a:cxn>
                <a:cxn ang="0">
                  <a:pos x="282" y="270"/>
                </a:cxn>
                <a:cxn ang="0">
                  <a:pos x="54" y="335"/>
                </a:cxn>
                <a:cxn ang="0">
                  <a:pos x="142" y="283"/>
                </a:cxn>
                <a:cxn ang="0">
                  <a:pos x="158" y="267"/>
                </a:cxn>
                <a:cxn ang="0">
                  <a:pos x="114" y="282"/>
                </a:cxn>
                <a:cxn ang="0">
                  <a:pos x="48" y="324"/>
                </a:cxn>
                <a:cxn ang="0">
                  <a:pos x="32" y="339"/>
                </a:cxn>
                <a:cxn ang="0">
                  <a:pos x="207" y="256"/>
                </a:cxn>
                <a:cxn ang="0">
                  <a:pos x="222" y="247"/>
                </a:cxn>
                <a:cxn ang="0">
                  <a:pos x="218" y="230"/>
                </a:cxn>
                <a:cxn ang="0">
                  <a:pos x="201" y="226"/>
                </a:cxn>
                <a:cxn ang="0">
                  <a:pos x="193" y="241"/>
                </a:cxn>
                <a:cxn ang="0">
                  <a:pos x="197" y="121"/>
                </a:cxn>
                <a:cxn ang="0">
                  <a:pos x="207" y="194"/>
                </a:cxn>
                <a:cxn ang="0">
                  <a:pos x="215" y="121"/>
                </a:cxn>
                <a:cxn ang="0">
                  <a:pos x="207" y="47"/>
                </a:cxn>
                <a:cxn ang="0">
                  <a:pos x="199" y="93"/>
                </a:cxn>
              </a:cxnLst>
              <a:rect l="0" t="0" r="r" b="b"/>
              <a:pathLst>
                <a:path w="423" h="777">
                  <a:moveTo>
                    <a:pt x="203" y="746"/>
                  </a:moveTo>
                  <a:lnTo>
                    <a:pt x="175" y="744"/>
                  </a:lnTo>
                  <a:lnTo>
                    <a:pt x="175" y="755"/>
                  </a:lnTo>
                  <a:lnTo>
                    <a:pt x="203" y="755"/>
                  </a:lnTo>
                  <a:lnTo>
                    <a:pt x="203" y="746"/>
                  </a:lnTo>
                  <a:close/>
                  <a:moveTo>
                    <a:pt x="191" y="537"/>
                  </a:moveTo>
                  <a:lnTo>
                    <a:pt x="191" y="741"/>
                  </a:lnTo>
                  <a:lnTo>
                    <a:pt x="217" y="741"/>
                  </a:lnTo>
                  <a:lnTo>
                    <a:pt x="218" y="537"/>
                  </a:lnTo>
                  <a:lnTo>
                    <a:pt x="191" y="537"/>
                  </a:lnTo>
                  <a:close/>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moveTo>
                    <a:pt x="282" y="270"/>
                  </a:moveTo>
                  <a:lnTo>
                    <a:pt x="270" y="265"/>
                  </a:lnTo>
                  <a:lnTo>
                    <a:pt x="265" y="265"/>
                  </a:lnTo>
                  <a:lnTo>
                    <a:pt x="262" y="266"/>
                  </a:lnTo>
                  <a:lnTo>
                    <a:pt x="262" y="270"/>
                  </a:lnTo>
                  <a:lnTo>
                    <a:pt x="267" y="274"/>
                  </a:lnTo>
                  <a:lnTo>
                    <a:pt x="282" y="285"/>
                  </a:lnTo>
                  <a:lnTo>
                    <a:pt x="307" y="302"/>
                  </a:lnTo>
                  <a:lnTo>
                    <a:pt x="335" y="320"/>
                  </a:lnTo>
                  <a:lnTo>
                    <a:pt x="361" y="333"/>
                  </a:lnTo>
                  <a:lnTo>
                    <a:pt x="378" y="339"/>
                  </a:lnTo>
                  <a:lnTo>
                    <a:pt x="384" y="341"/>
                  </a:lnTo>
                  <a:lnTo>
                    <a:pt x="386" y="339"/>
                  </a:lnTo>
                  <a:lnTo>
                    <a:pt x="386" y="336"/>
                  </a:lnTo>
                  <a:lnTo>
                    <a:pt x="384" y="333"/>
                  </a:lnTo>
                  <a:lnTo>
                    <a:pt x="380" y="330"/>
                  </a:lnTo>
                  <a:lnTo>
                    <a:pt x="365" y="316"/>
                  </a:lnTo>
                  <a:lnTo>
                    <a:pt x="348" y="306"/>
                  </a:lnTo>
                  <a:lnTo>
                    <a:pt x="305" y="280"/>
                  </a:lnTo>
                  <a:lnTo>
                    <a:pt x="282" y="270"/>
                  </a:lnTo>
                  <a:close/>
                  <a:moveTo>
                    <a:pt x="32" y="339"/>
                  </a:moveTo>
                  <a:lnTo>
                    <a:pt x="39" y="341"/>
                  </a:lnTo>
                  <a:lnTo>
                    <a:pt x="54" y="335"/>
                  </a:lnTo>
                  <a:lnTo>
                    <a:pt x="99" y="312"/>
                  </a:lnTo>
                  <a:lnTo>
                    <a:pt x="123" y="296"/>
                  </a:lnTo>
                  <a:lnTo>
                    <a:pt x="142" y="283"/>
                  </a:lnTo>
                  <a:lnTo>
                    <a:pt x="154" y="272"/>
                  </a:lnTo>
                  <a:lnTo>
                    <a:pt x="156" y="270"/>
                  </a:lnTo>
                  <a:lnTo>
                    <a:pt x="158" y="267"/>
                  </a:lnTo>
                  <a:lnTo>
                    <a:pt x="150" y="266"/>
                  </a:lnTo>
                  <a:lnTo>
                    <a:pt x="136" y="272"/>
                  </a:lnTo>
                  <a:lnTo>
                    <a:pt x="114" y="282"/>
                  </a:lnTo>
                  <a:lnTo>
                    <a:pt x="90" y="295"/>
                  </a:lnTo>
                  <a:lnTo>
                    <a:pt x="66" y="310"/>
                  </a:lnTo>
                  <a:lnTo>
                    <a:pt x="48" y="324"/>
                  </a:lnTo>
                  <a:lnTo>
                    <a:pt x="35" y="335"/>
                  </a:lnTo>
                  <a:lnTo>
                    <a:pt x="32" y="337"/>
                  </a:lnTo>
                  <a:lnTo>
                    <a:pt x="32" y="339"/>
                  </a:lnTo>
                  <a:close/>
                  <a:moveTo>
                    <a:pt x="196" y="252"/>
                  </a:moveTo>
                  <a:lnTo>
                    <a:pt x="201" y="255"/>
                  </a:lnTo>
                  <a:lnTo>
                    <a:pt x="207" y="256"/>
                  </a:lnTo>
                  <a:lnTo>
                    <a:pt x="213" y="255"/>
                  </a:lnTo>
                  <a:lnTo>
                    <a:pt x="218" y="252"/>
                  </a:lnTo>
                  <a:lnTo>
                    <a:pt x="222" y="247"/>
                  </a:lnTo>
                  <a:lnTo>
                    <a:pt x="223" y="241"/>
                  </a:lnTo>
                  <a:lnTo>
                    <a:pt x="222" y="235"/>
                  </a:lnTo>
                  <a:lnTo>
                    <a:pt x="218" y="230"/>
                  </a:lnTo>
                  <a:lnTo>
                    <a:pt x="213" y="226"/>
                  </a:lnTo>
                  <a:lnTo>
                    <a:pt x="207" y="225"/>
                  </a:lnTo>
                  <a:lnTo>
                    <a:pt x="201" y="226"/>
                  </a:lnTo>
                  <a:lnTo>
                    <a:pt x="196" y="230"/>
                  </a:lnTo>
                  <a:lnTo>
                    <a:pt x="194" y="235"/>
                  </a:lnTo>
                  <a:lnTo>
                    <a:pt x="193" y="241"/>
                  </a:lnTo>
                  <a:lnTo>
                    <a:pt x="194" y="247"/>
                  </a:lnTo>
                  <a:lnTo>
                    <a:pt x="196" y="252"/>
                  </a:lnTo>
                  <a:close/>
                  <a:moveTo>
                    <a:pt x="197" y="121"/>
                  </a:moveTo>
                  <a:lnTo>
                    <a:pt x="201" y="172"/>
                  </a:lnTo>
                  <a:lnTo>
                    <a:pt x="203" y="188"/>
                  </a:lnTo>
                  <a:lnTo>
                    <a:pt x="207" y="194"/>
                  </a:lnTo>
                  <a:lnTo>
                    <a:pt x="211" y="188"/>
                  </a:lnTo>
                  <a:lnTo>
                    <a:pt x="214" y="172"/>
                  </a:lnTo>
                  <a:lnTo>
                    <a:pt x="215" y="121"/>
                  </a:lnTo>
                  <a:lnTo>
                    <a:pt x="214" y="69"/>
                  </a:lnTo>
                  <a:lnTo>
                    <a:pt x="211" y="53"/>
                  </a:lnTo>
                  <a:lnTo>
                    <a:pt x="207" y="47"/>
                  </a:lnTo>
                  <a:lnTo>
                    <a:pt x="203" y="53"/>
                  </a:lnTo>
                  <a:lnTo>
                    <a:pt x="201" y="69"/>
                  </a:lnTo>
                  <a:lnTo>
                    <a:pt x="199" y="93"/>
                  </a:lnTo>
                  <a:lnTo>
                    <a:pt x="197" y="121"/>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499" name="Freeform 82"/>
            <p:cNvSpPr>
              <a:spLocks/>
            </p:cNvSpPr>
            <p:nvPr userDrawn="1"/>
          </p:nvSpPr>
          <p:spPr bwMode="auto">
            <a:xfrm>
              <a:off x="8074025" y="6513513"/>
              <a:ext cx="7938" cy="3175"/>
            </a:xfrm>
            <a:custGeom>
              <a:avLst/>
              <a:gdLst/>
              <a:ahLst/>
              <a:cxnLst>
                <a:cxn ang="0">
                  <a:pos x="28" y="2"/>
                </a:cxn>
                <a:cxn ang="0">
                  <a:pos x="0" y="0"/>
                </a:cxn>
                <a:cxn ang="0">
                  <a:pos x="0" y="11"/>
                </a:cxn>
                <a:cxn ang="0">
                  <a:pos x="28" y="11"/>
                </a:cxn>
                <a:cxn ang="0">
                  <a:pos x="28" y="2"/>
                </a:cxn>
              </a:cxnLst>
              <a:rect l="0" t="0" r="r" b="b"/>
              <a:pathLst>
                <a:path w="28" h="11">
                  <a:moveTo>
                    <a:pt x="28" y="2"/>
                  </a:moveTo>
                  <a:lnTo>
                    <a:pt x="0" y="0"/>
                  </a:lnTo>
                  <a:lnTo>
                    <a:pt x="0" y="11"/>
                  </a:lnTo>
                  <a:lnTo>
                    <a:pt x="28" y="11"/>
                  </a:lnTo>
                  <a:lnTo>
                    <a:pt x="28" y="2"/>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0" name="Freeform 83"/>
            <p:cNvSpPr>
              <a:spLocks/>
            </p:cNvSpPr>
            <p:nvPr userDrawn="1"/>
          </p:nvSpPr>
          <p:spPr bwMode="auto">
            <a:xfrm>
              <a:off x="8078788" y="6446838"/>
              <a:ext cx="7938" cy="65088"/>
            </a:xfrm>
            <a:custGeom>
              <a:avLst/>
              <a:gdLst/>
              <a:ahLst/>
              <a:cxnLst>
                <a:cxn ang="0">
                  <a:pos x="0" y="0"/>
                </a:cxn>
                <a:cxn ang="0">
                  <a:pos x="0" y="204"/>
                </a:cxn>
                <a:cxn ang="0">
                  <a:pos x="26" y="204"/>
                </a:cxn>
                <a:cxn ang="0">
                  <a:pos x="27" y="0"/>
                </a:cxn>
                <a:cxn ang="0">
                  <a:pos x="0" y="0"/>
                </a:cxn>
              </a:cxnLst>
              <a:rect l="0" t="0" r="r" b="b"/>
              <a:pathLst>
                <a:path w="27" h="204">
                  <a:moveTo>
                    <a:pt x="0" y="0"/>
                  </a:moveTo>
                  <a:lnTo>
                    <a:pt x="0" y="204"/>
                  </a:lnTo>
                  <a:lnTo>
                    <a:pt x="26" y="204"/>
                  </a:lnTo>
                  <a:lnTo>
                    <a:pt x="27" y="0"/>
                  </a:lnTo>
                  <a:lnTo>
                    <a:pt x="0"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1" name="Freeform 84"/>
            <p:cNvSpPr>
              <a:spLocks/>
            </p:cNvSpPr>
            <p:nvPr userDrawn="1"/>
          </p:nvSpPr>
          <p:spPr bwMode="auto">
            <a:xfrm>
              <a:off x="8018463" y="6276976"/>
              <a:ext cx="133350" cy="246063"/>
            </a:xfrm>
            <a:custGeom>
              <a:avLst/>
              <a:gdLst/>
              <a:ahLst/>
              <a:cxnLst>
                <a:cxn ang="0">
                  <a:pos x="379" y="319"/>
                </a:cxn>
                <a:cxn ang="0">
                  <a:pos x="419" y="355"/>
                </a:cxn>
                <a:cxn ang="0">
                  <a:pos x="423" y="367"/>
                </a:cxn>
                <a:cxn ang="0">
                  <a:pos x="413" y="369"/>
                </a:cxn>
                <a:cxn ang="0">
                  <a:pos x="391" y="366"/>
                </a:cxn>
                <a:cxn ang="0">
                  <a:pos x="318" y="332"/>
                </a:cxn>
                <a:cxn ang="0">
                  <a:pos x="255" y="289"/>
                </a:cxn>
                <a:cxn ang="0">
                  <a:pos x="229" y="272"/>
                </a:cxn>
                <a:cxn ang="0">
                  <a:pos x="230" y="348"/>
                </a:cxn>
                <a:cxn ang="0">
                  <a:pos x="242" y="527"/>
                </a:cxn>
                <a:cxn ang="0">
                  <a:pos x="254" y="742"/>
                </a:cxn>
                <a:cxn ang="0">
                  <a:pos x="267" y="755"/>
                </a:cxn>
                <a:cxn ang="0">
                  <a:pos x="161" y="777"/>
                </a:cxn>
                <a:cxn ang="0">
                  <a:pos x="172" y="755"/>
                </a:cxn>
                <a:cxn ang="0">
                  <a:pos x="184" y="742"/>
                </a:cxn>
                <a:cxn ang="0">
                  <a:pos x="191" y="527"/>
                </a:cxn>
                <a:cxn ang="0">
                  <a:pos x="193" y="266"/>
                </a:cxn>
                <a:cxn ang="0">
                  <a:pos x="164" y="290"/>
                </a:cxn>
                <a:cxn ang="0">
                  <a:pos x="111" y="325"/>
                </a:cxn>
                <a:cxn ang="0">
                  <a:pos x="37" y="360"/>
                </a:cxn>
                <a:cxn ang="0">
                  <a:pos x="5" y="367"/>
                </a:cxn>
                <a:cxn ang="0">
                  <a:pos x="0" y="359"/>
                </a:cxn>
                <a:cxn ang="0">
                  <a:pos x="22" y="333"/>
                </a:cxn>
                <a:cxn ang="0">
                  <a:pos x="89" y="286"/>
                </a:cxn>
                <a:cxn ang="0">
                  <a:pos x="163" y="252"/>
                </a:cxn>
                <a:cxn ang="0">
                  <a:pos x="187" y="234"/>
                </a:cxn>
                <a:cxn ang="0">
                  <a:pos x="201" y="219"/>
                </a:cxn>
                <a:cxn ang="0">
                  <a:pos x="193" y="163"/>
                </a:cxn>
                <a:cxn ang="0">
                  <a:pos x="193" y="72"/>
                </a:cxn>
                <a:cxn ang="0">
                  <a:pos x="205" y="9"/>
                </a:cxn>
                <a:cxn ang="0">
                  <a:pos x="214" y="0"/>
                </a:cxn>
                <a:cxn ang="0">
                  <a:pos x="222" y="9"/>
                </a:cxn>
                <a:cxn ang="0">
                  <a:pos x="234" y="72"/>
                </a:cxn>
                <a:cxn ang="0">
                  <a:pos x="234" y="163"/>
                </a:cxn>
                <a:cxn ang="0">
                  <a:pos x="224" y="218"/>
                </a:cxn>
                <a:cxn ang="0">
                  <a:pos x="241" y="234"/>
                </a:cxn>
                <a:cxn ang="0">
                  <a:pos x="243" y="248"/>
                </a:cxn>
                <a:cxn ang="0">
                  <a:pos x="290" y="266"/>
                </a:cxn>
                <a:cxn ang="0">
                  <a:pos x="335" y="290"/>
                </a:cxn>
              </a:cxnLst>
              <a:rect l="0" t="0" r="r" b="b"/>
              <a:pathLst>
                <a:path w="423" h="777">
                  <a:moveTo>
                    <a:pt x="335" y="290"/>
                  </a:moveTo>
                  <a:lnTo>
                    <a:pt x="379" y="319"/>
                  </a:lnTo>
                  <a:lnTo>
                    <a:pt x="402" y="336"/>
                  </a:lnTo>
                  <a:lnTo>
                    <a:pt x="419" y="355"/>
                  </a:lnTo>
                  <a:lnTo>
                    <a:pt x="423" y="362"/>
                  </a:lnTo>
                  <a:lnTo>
                    <a:pt x="423" y="367"/>
                  </a:lnTo>
                  <a:lnTo>
                    <a:pt x="419" y="369"/>
                  </a:lnTo>
                  <a:lnTo>
                    <a:pt x="413" y="369"/>
                  </a:lnTo>
                  <a:lnTo>
                    <a:pt x="403" y="368"/>
                  </a:lnTo>
                  <a:lnTo>
                    <a:pt x="391" y="366"/>
                  </a:lnTo>
                  <a:lnTo>
                    <a:pt x="356" y="350"/>
                  </a:lnTo>
                  <a:lnTo>
                    <a:pt x="318" y="332"/>
                  </a:lnTo>
                  <a:lnTo>
                    <a:pt x="283" y="310"/>
                  </a:lnTo>
                  <a:lnTo>
                    <a:pt x="255" y="289"/>
                  </a:lnTo>
                  <a:lnTo>
                    <a:pt x="234" y="268"/>
                  </a:lnTo>
                  <a:lnTo>
                    <a:pt x="229" y="272"/>
                  </a:lnTo>
                  <a:lnTo>
                    <a:pt x="229" y="300"/>
                  </a:lnTo>
                  <a:lnTo>
                    <a:pt x="230" y="348"/>
                  </a:lnTo>
                  <a:lnTo>
                    <a:pt x="236" y="527"/>
                  </a:lnTo>
                  <a:lnTo>
                    <a:pt x="242" y="527"/>
                  </a:lnTo>
                  <a:lnTo>
                    <a:pt x="242" y="742"/>
                  </a:lnTo>
                  <a:lnTo>
                    <a:pt x="254" y="742"/>
                  </a:lnTo>
                  <a:lnTo>
                    <a:pt x="254" y="755"/>
                  </a:lnTo>
                  <a:lnTo>
                    <a:pt x="267" y="755"/>
                  </a:lnTo>
                  <a:lnTo>
                    <a:pt x="267" y="777"/>
                  </a:lnTo>
                  <a:lnTo>
                    <a:pt x="161" y="777"/>
                  </a:lnTo>
                  <a:lnTo>
                    <a:pt x="161" y="755"/>
                  </a:lnTo>
                  <a:lnTo>
                    <a:pt x="172" y="755"/>
                  </a:lnTo>
                  <a:lnTo>
                    <a:pt x="172" y="742"/>
                  </a:lnTo>
                  <a:lnTo>
                    <a:pt x="184" y="742"/>
                  </a:lnTo>
                  <a:lnTo>
                    <a:pt x="185" y="527"/>
                  </a:lnTo>
                  <a:lnTo>
                    <a:pt x="191" y="527"/>
                  </a:lnTo>
                  <a:lnTo>
                    <a:pt x="200" y="272"/>
                  </a:lnTo>
                  <a:lnTo>
                    <a:pt x="193" y="266"/>
                  </a:lnTo>
                  <a:lnTo>
                    <a:pt x="178" y="278"/>
                  </a:lnTo>
                  <a:lnTo>
                    <a:pt x="164" y="290"/>
                  </a:lnTo>
                  <a:lnTo>
                    <a:pt x="148" y="301"/>
                  </a:lnTo>
                  <a:lnTo>
                    <a:pt x="111" y="325"/>
                  </a:lnTo>
                  <a:lnTo>
                    <a:pt x="72" y="345"/>
                  </a:lnTo>
                  <a:lnTo>
                    <a:pt x="37" y="360"/>
                  </a:lnTo>
                  <a:lnTo>
                    <a:pt x="12" y="367"/>
                  </a:lnTo>
                  <a:lnTo>
                    <a:pt x="5" y="367"/>
                  </a:lnTo>
                  <a:lnTo>
                    <a:pt x="0" y="365"/>
                  </a:lnTo>
                  <a:lnTo>
                    <a:pt x="0" y="359"/>
                  </a:lnTo>
                  <a:lnTo>
                    <a:pt x="4" y="353"/>
                  </a:lnTo>
                  <a:lnTo>
                    <a:pt x="22" y="333"/>
                  </a:lnTo>
                  <a:lnTo>
                    <a:pt x="52" y="310"/>
                  </a:lnTo>
                  <a:lnTo>
                    <a:pt x="89" y="286"/>
                  </a:lnTo>
                  <a:lnTo>
                    <a:pt x="129" y="266"/>
                  </a:lnTo>
                  <a:lnTo>
                    <a:pt x="163" y="252"/>
                  </a:lnTo>
                  <a:lnTo>
                    <a:pt x="184" y="246"/>
                  </a:lnTo>
                  <a:lnTo>
                    <a:pt x="187" y="234"/>
                  </a:lnTo>
                  <a:lnTo>
                    <a:pt x="193" y="224"/>
                  </a:lnTo>
                  <a:lnTo>
                    <a:pt x="201" y="219"/>
                  </a:lnTo>
                  <a:lnTo>
                    <a:pt x="197" y="200"/>
                  </a:lnTo>
                  <a:lnTo>
                    <a:pt x="193" y="163"/>
                  </a:lnTo>
                  <a:lnTo>
                    <a:pt x="190" y="117"/>
                  </a:lnTo>
                  <a:lnTo>
                    <a:pt x="193" y="72"/>
                  </a:lnTo>
                  <a:lnTo>
                    <a:pt x="197" y="35"/>
                  </a:lnTo>
                  <a:lnTo>
                    <a:pt x="205" y="9"/>
                  </a:lnTo>
                  <a:lnTo>
                    <a:pt x="209" y="3"/>
                  </a:lnTo>
                  <a:lnTo>
                    <a:pt x="214" y="0"/>
                  </a:lnTo>
                  <a:lnTo>
                    <a:pt x="218" y="3"/>
                  </a:lnTo>
                  <a:lnTo>
                    <a:pt x="222" y="9"/>
                  </a:lnTo>
                  <a:lnTo>
                    <a:pt x="229" y="35"/>
                  </a:lnTo>
                  <a:lnTo>
                    <a:pt x="234" y="72"/>
                  </a:lnTo>
                  <a:lnTo>
                    <a:pt x="235" y="117"/>
                  </a:lnTo>
                  <a:lnTo>
                    <a:pt x="234" y="163"/>
                  </a:lnTo>
                  <a:lnTo>
                    <a:pt x="229" y="200"/>
                  </a:lnTo>
                  <a:lnTo>
                    <a:pt x="224" y="218"/>
                  </a:lnTo>
                  <a:lnTo>
                    <a:pt x="235" y="224"/>
                  </a:lnTo>
                  <a:lnTo>
                    <a:pt x="241" y="234"/>
                  </a:lnTo>
                  <a:lnTo>
                    <a:pt x="243" y="246"/>
                  </a:lnTo>
                  <a:lnTo>
                    <a:pt x="243" y="248"/>
                  </a:lnTo>
                  <a:lnTo>
                    <a:pt x="261" y="254"/>
                  </a:lnTo>
                  <a:lnTo>
                    <a:pt x="290" y="266"/>
                  </a:lnTo>
                  <a:lnTo>
                    <a:pt x="313" y="277"/>
                  </a:lnTo>
                  <a:lnTo>
                    <a:pt x="335" y="29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2" name="Freeform 85"/>
            <p:cNvSpPr>
              <a:spLocks/>
            </p:cNvSpPr>
            <p:nvPr userDrawn="1"/>
          </p:nvSpPr>
          <p:spPr bwMode="auto">
            <a:xfrm>
              <a:off x="8101013" y="6361113"/>
              <a:ext cx="39688" cy="23813"/>
            </a:xfrm>
            <a:custGeom>
              <a:avLst/>
              <a:gdLst/>
              <a:ahLst/>
              <a:cxnLst>
                <a:cxn ang="0">
                  <a:pos x="20" y="5"/>
                </a:cxn>
                <a:cxn ang="0">
                  <a:pos x="8" y="0"/>
                </a:cxn>
                <a:cxn ang="0">
                  <a:pos x="3" y="0"/>
                </a:cxn>
                <a:cxn ang="0">
                  <a:pos x="0" y="1"/>
                </a:cxn>
                <a:cxn ang="0">
                  <a:pos x="0" y="5"/>
                </a:cxn>
                <a:cxn ang="0">
                  <a:pos x="5" y="9"/>
                </a:cxn>
                <a:cxn ang="0">
                  <a:pos x="20" y="20"/>
                </a:cxn>
                <a:cxn ang="0">
                  <a:pos x="45" y="37"/>
                </a:cxn>
                <a:cxn ang="0">
                  <a:pos x="73" y="55"/>
                </a:cxn>
                <a:cxn ang="0">
                  <a:pos x="99" y="68"/>
                </a:cxn>
                <a:cxn ang="0">
                  <a:pos x="116" y="74"/>
                </a:cxn>
                <a:cxn ang="0">
                  <a:pos x="122" y="76"/>
                </a:cxn>
                <a:cxn ang="0">
                  <a:pos x="124" y="74"/>
                </a:cxn>
                <a:cxn ang="0">
                  <a:pos x="124" y="71"/>
                </a:cxn>
                <a:cxn ang="0">
                  <a:pos x="122" y="68"/>
                </a:cxn>
                <a:cxn ang="0">
                  <a:pos x="118" y="65"/>
                </a:cxn>
                <a:cxn ang="0">
                  <a:pos x="103" y="51"/>
                </a:cxn>
                <a:cxn ang="0">
                  <a:pos x="86" y="41"/>
                </a:cxn>
                <a:cxn ang="0">
                  <a:pos x="43" y="15"/>
                </a:cxn>
                <a:cxn ang="0">
                  <a:pos x="20" y="5"/>
                </a:cxn>
              </a:cxnLst>
              <a:rect l="0" t="0" r="r" b="b"/>
              <a:pathLst>
                <a:path w="124" h="76">
                  <a:moveTo>
                    <a:pt x="20" y="5"/>
                  </a:moveTo>
                  <a:lnTo>
                    <a:pt x="8" y="0"/>
                  </a:lnTo>
                  <a:lnTo>
                    <a:pt x="3" y="0"/>
                  </a:lnTo>
                  <a:lnTo>
                    <a:pt x="0" y="1"/>
                  </a:lnTo>
                  <a:lnTo>
                    <a:pt x="0" y="5"/>
                  </a:lnTo>
                  <a:lnTo>
                    <a:pt x="5" y="9"/>
                  </a:lnTo>
                  <a:lnTo>
                    <a:pt x="20" y="20"/>
                  </a:lnTo>
                  <a:lnTo>
                    <a:pt x="45" y="37"/>
                  </a:lnTo>
                  <a:lnTo>
                    <a:pt x="73" y="55"/>
                  </a:lnTo>
                  <a:lnTo>
                    <a:pt x="99" y="68"/>
                  </a:lnTo>
                  <a:lnTo>
                    <a:pt x="116" y="74"/>
                  </a:lnTo>
                  <a:lnTo>
                    <a:pt x="122" y="76"/>
                  </a:lnTo>
                  <a:lnTo>
                    <a:pt x="124" y="74"/>
                  </a:lnTo>
                  <a:lnTo>
                    <a:pt x="124" y="71"/>
                  </a:lnTo>
                  <a:lnTo>
                    <a:pt x="122" y="68"/>
                  </a:lnTo>
                  <a:lnTo>
                    <a:pt x="118" y="65"/>
                  </a:lnTo>
                  <a:lnTo>
                    <a:pt x="103" y="51"/>
                  </a:lnTo>
                  <a:lnTo>
                    <a:pt x="86" y="41"/>
                  </a:lnTo>
                  <a:lnTo>
                    <a:pt x="43" y="15"/>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3" name="Freeform 86"/>
            <p:cNvSpPr>
              <a:spLocks/>
            </p:cNvSpPr>
            <p:nvPr userDrawn="1"/>
          </p:nvSpPr>
          <p:spPr bwMode="auto">
            <a:xfrm>
              <a:off x="8027988" y="6361113"/>
              <a:ext cx="39688" cy="23813"/>
            </a:xfrm>
            <a:custGeom>
              <a:avLst/>
              <a:gdLst/>
              <a:ahLst/>
              <a:cxnLst>
                <a:cxn ang="0">
                  <a:pos x="0" y="73"/>
                </a:cxn>
                <a:cxn ang="0">
                  <a:pos x="7" y="75"/>
                </a:cxn>
                <a:cxn ang="0">
                  <a:pos x="22" y="69"/>
                </a:cxn>
                <a:cxn ang="0">
                  <a:pos x="67" y="46"/>
                </a:cxn>
                <a:cxn ang="0">
                  <a:pos x="91" y="30"/>
                </a:cxn>
                <a:cxn ang="0">
                  <a:pos x="110" y="17"/>
                </a:cxn>
                <a:cxn ang="0">
                  <a:pos x="122" y="6"/>
                </a:cxn>
                <a:cxn ang="0">
                  <a:pos x="124" y="4"/>
                </a:cxn>
                <a:cxn ang="0">
                  <a:pos x="126" y="1"/>
                </a:cxn>
                <a:cxn ang="0">
                  <a:pos x="118" y="0"/>
                </a:cxn>
                <a:cxn ang="0">
                  <a:pos x="104" y="6"/>
                </a:cxn>
                <a:cxn ang="0">
                  <a:pos x="82" y="16"/>
                </a:cxn>
                <a:cxn ang="0">
                  <a:pos x="58" y="29"/>
                </a:cxn>
                <a:cxn ang="0">
                  <a:pos x="34" y="44"/>
                </a:cxn>
                <a:cxn ang="0">
                  <a:pos x="16" y="58"/>
                </a:cxn>
                <a:cxn ang="0">
                  <a:pos x="3" y="69"/>
                </a:cxn>
                <a:cxn ang="0">
                  <a:pos x="0" y="71"/>
                </a:cxn>
                <a:cxn ang="0">
                  <a:pos x="0" y="73"/>
                </a:cxn>
              </a:cxnLst>
              <a:rect l="0" t="0" r="r" b="b"/>
              <a:pathLst>
                <a:path w="126" h="75">
                  <a:moveTo>
                    <a:pt x="0" y="73"/>
                  </a:moveTo>
                  <a:lnTo>
                    <a:pt x="7" y="75"/>
                  </a:lnTo>
                  <a:lnTo>
                    <a:pt x="22" y="69"/>
                  </a:lnTo>
                  <a:lnTo>
                    <a:pt x="67" y="46"/>
                  </a:lnTo>
                  <a:lnTo>
                    <a:pt x="91" y="30"/>
                  </a:lnTo>
                  <a:lnTo>
                    <a:pt x="110" y="17"/>
                  </a:lnTo>
                  <a:lnTo>
                    <a:pt x="122" y="6"/>
                  </a:lnTo>
                  <a:lnTo>
                    <a:pt x="124" y="4"/>
                  </a:lnTo>
                  <a:lnTo>
                    <a:pt x="126" y="1"/>
                  </a:lnTo>
                  <a:lnTo>
                    <a:pt x="118" y="0"/>
                  </a:lnTo>
                  <a:lnTo>
                    <a:pt x="104" y="6"/>
                  </a:lnTo>
                  <a:lnTo>
                    <a:pt x="82" y="16"/>
                  </a:lnTo>
                  <a:lnTo>
                    <a:pt x="58" y="29"/>
                  </a:lnTo>
                  <a:lnTo>
                    <a:pt x="34" y="44"/>
                  </a:lnTo>
                  <a:lnTo>
                    <a:pt x="16" y="58"/>
                  </a:lnTo>
                  <a:lnTo>
                    <a:pt x="3" y="69"/>
                  </a:lnTo>
                  <a:lnTo>
                    <a:pt x="0" y="71"/>
                  </a:lnTo>
                  <a:lnTo>
                    <a:pt x="0" y="73"/>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4" name="Freeform 87"/>
            <p:cNvSpPr>
              <a:spLocks/>
            </p:cNvSpPr>
            <p:nvPr userDrawn="1"/>
          </p:nvSpPr>
          <p:spPr bwMode="auto">
            <a:xfrm>
              <a:off x="8078788" y="6348413"/>
              <a:ext cx="9525" cy="9525"/>
            </a:xfrm>
            <a:custGeom>
              <a:avLst/>
              <a:gdLst/>
              <a:ahLst/>
              <a:cxnLst>
                <a:cxn ang="0">
                  <a:pos x="3" y="27"/>
                </a:cxn>
                <a:cxn ang="0">
                  <a:pos x="8" y="30"/>
                </a:cxn>
                <a:cxn ang="0">
                  <a:pos x="14" y="31"/>
                </a:cxn>
                <a:cxn ang="0">
                  <a:pos x="20" y="30"/>
                </a:cxn>
                <a:cxn ang="0">
                  <a:pos x="25" y="27"/>
                </a:cxn>
                <a:cxn ang="0">
                  <a:pos x="29" y="22"/>
                </a:cxn>
                <a:cxn ang="0">
                  <a:pos x="30" y="16"/>
                </a:cxn>
                <a:cxn ang="0">
                  <a:pos x="29" y="10"/>
                </a:cxn>
                <a:cxn ang="0">
                  <a:pos x="25" y="5"/>
                </a:cxn>
                <a:cxn ang="0">
                  <a:pos x="20" y="1"/>
                </a:cxn>
                <a:cxn ang="0">
                  <a:pos x="14" y="0"/>
                </a:cxn>
                <a:cxn ang="0">
                  <a:pos x="8" y="1"/>
                </a:cxn>
                <a:cxn ang="0">
                  <a:pos x="3" y="5"/>
                </a:cxn>
                <a:cxn ang="0">
                  <a:pos x="1" y="10"/>
                </a:cxn>
                <a:cxn ang="0">
                  <a:pos x="0" y="16"/>
                </a:cxn>
                <a:cxn ang="0">
                  <a:pos x="1" y="22"/>
                </a:cxn>
                <a:cxn ang="0">
                  <a:pos x="3" y="27"/>
                </a:cxn>
              </a:cxnLst>
              <a:rect l="0" t="0" r="r" b="b"/>
              <a:pathLst>
                <a:path w="30" h="31">
                  <a:moveTo>
                    <a:pt x="3" y="27"/>
                  </a:moveTo>
                  <a:lnTo>
                    <a:pt x="8" y="30"/>
                  </a:lnTo>
                  <a:lnTo>
                    <a:pt x="14" y="31"/>
                  </a:lnTo>
                  <a:lnTo>
                    <a:pt x="20" y="30"/>
                  </a:lnTo>
                  <a:lnTo>
                    <a:pt x="25" y="27"/>
                  </a:lnTo>
                  <a:lnTo>
                    <a:pt x="29" y="22"/>
                  </a:lnTo>
                  <a:lnTo>
                    <a:pt x="30" y="16"/>
                  </a:lnTo>
                  <a:lnTo>
                    <a:pt x="29" y="10"/>
                  </a:lnTo>
                  <a:lnTo>
                    <a:pt x="25" y="5"/>
                  </a:lnTo>
                  <a:lnTo>
                    <a:pt x="20" y="1"/>
                  </a:lnTo>
                  <a:lnTo>
                    <a:pt x="14" y="0"/>
                  </a:lnTo>
                  <a:lnTo>
                    <a:pt x="8" y="1"/>
                  </a:lnTo>
                  <a:lnTo>
                    <a:pt x="3" y="5"/>
                  </a:lnTo>
                  <a:lnTo>
                    <a:pt x="1" y="10"/>
                  </a:lnTo>
                  <a:lnTo>
                    <a:pt x="0" y="16"/>
                  </a:lnTo>
                  <a:lnTo>
                    <a:pt x="1" y="22"/>
                  </a:lnTo>
                  <a:lnTo>
                    <a:pt x="3"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5" name="Freeform 88"/>
            <p:cNvSpPr>
              <a:spLocks/>
            </p:cNvSpPr>
            <p:nvPr userDrawn="1"/>
          </p:nvSpPr>
          <p:spPr bwMode="auto">
            <a:xfrm>
              <a:off x="8080375" y="6291263"/>
              <a:ext cx="6350" cy="47625"/>
            </a:xfrm>
            <a:custGeom>
              <a:avLst/>
              <a:gdLst/>
              <a:ahLst/>
              <a:cxnLst>
                <a:cxn ang="0">
                  <a:pos x="0" y="74"/>
                </a:cxn>
                <a:cxn ang="0">
                  <a:pos x="4" y="125"/>
                </a:cxn>
                <a:cxn ang="0">
                  <a:pos x="6" y="141"/>
                </a:cxn>
                <a:cxn ang="0">
                  <a:pos x="10" y="147"/>
                </a:cxn>
                <a:cxn ang="0">
                  <a:pos x="14" y="141"/>
                </a:cxn>
                <a:cxn ang="0">
                  <a:pos x="17" y="125"/>
                </a:cxn>
                <a:cxn ang="0">
                  <a:pos x="18" y="74"/>
                </a:cxn>
                <a:cxn ang="0">
                  <a:pos x="17" y="22"/>
                </a:cxn>
                <a:cxn ang="0">
                  <a:pos x="14" y="6"/>
                </a:cxn>
                <a:cxn ang="0">
                  <a:pos x="10" y="0"/>
                </a:cxn>
                <a:cxn ang="0">
                  <a:pos x="6" y="6"/>
                </a:cxn>
                <a:cxn ang="0">
                  <a:pos x="4" y="22"/>
                </a:cxn>
                <a:cxn ang="0">
                  <a:pos x="2" y="46"/>
                </a:cxn>
                <a:cxn ang="0">
                  <a:pos x="0" y="74"/>
                </a:cxn>
              </a:cxnLst>
              <a:rect l="0" t="0" r="r" b="b"/>
              <a:pathLst>
                <a:path w="18" h="147">
                  <a:moveTo>
                    <a:pt x="0" y="74"/>
                  </a:moveTo>
                  <a:lnTo>
                    <a:pt x="4" y="125"/>
                  </a:lnTo>
                  <a:lnTo>
                    <a:pt x="6" y="141"/>
                  </a:lnTo>
                  <a:lnTo>
                    <a:pt x="10" y="147"/>
                  </a:lnTo>
                  <a:lnTo>
                    <a:pt x="14" y="141"/>
                  </a:lnTo>
                  <a:lnTo>
                    <a:pt x="17" y="125"/>
                  </a:lnTo>
                  <a:lnTo>
                    <a:pt x="18" y="74"/>
                  </a:lnTo>
                  <a:lnTo>
                    <a:pt x="17" y="22"/>
                  </a:lnTo>
                  <a:lnTo>
                    <a:pt x="14" y="6"/>
                  </a:lnTo>
                  <a:lnTo>
                    <a:pt x="10" y="0"/>
                  </a:lnTo>
                  <a:lnTo>
                    <a:pt x="6" y="6"/>
                  </a:lnTo>
                  <a:lnTo>
                    <a:pt x="4" y="22"/>
                  </a:lnTo>
                  <a:lnTo>
                    <a:pt x="2" y="46"/>
                  </a:lnTo>
                  <a:lnTo>
                    <a:pt x="0" y="74"/>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6" name="Freeform 89"/>
            <p:cNvSpPr>
              <a:spLocks noEditPoints="1"/>
            </p:cNvSpPr>
            <p:nvPr userDrawn="1"/>
          </p:nvSpPr>
          <p:spPr bwMode="auto">
            <a:xfrm>
              <a:off x="7970838" y="6284913"/>
              <a:ext cx="153988" cy="280988"/>
            </a:xfrm>
            <a:custGeom>
              <a:avLst/>
              <a:gdLst/>
              <a:ahLst/>
              <a:cxnLst>
                <a:cxn ang="0">
                  <a:pos x="199" y="859"/>
                </a:cxn>
                <a:cxn ang="0">
                  <a:pos x="218" y="610"/>
                </a:cxn>
                <a:cxn ang="0">
                  <a:pos x="247" y="610"/>
                </a:cxn>
                <a:cxn ang="0">
                  <a:pos x="431" y="363"/>
                </a:cxn>
                <a:cxn ang="0">
                  <a:pos x="470" y="394"/>
                </a:cxn>
                <a:cxn ang="0">
                  <a:pos x="480" y="417"/>
                </a:cxn>
                <a:cxn ang="0">
                  <a:pos x="446" y="416"/>
                </a:cxn>
                <a:cxn ang="0">
                  <a:pos x="342" y="366"/>
                </a:cxn>
                <a:cxn ang="0">
                  <a:pos x="265" y="305"/>
                </a:cxn>
                <a:cxn ang="0">
                  <a:pos x="261" y="395"/>
                </a:cxn>
                <a:cxn ang="0">
                  <a:pos x="276" y="845"/>
                </a:cxn>
                <a:cxn ang="0">
                  <a:pos x="303" y="859"/>
                </a:cxn>
                <a:cxn ang="0">
                  <a:pos x="184" y="859"/>
                </a:cxn>
                <a:cxn ang="0">
                  <a:pos x="210" y="844"/>
                </a:cxn>
                <a:cxn ang="0">
                  <a:pos x="228" y="310"/>
                </a:cxn>
                <a:cxn ang="0">
                  <a:pos x="202" y="316"/>
                </a:cxn>
                <a:cxn ang="0">
                  <a:pos x="125" y="369"/>
                </a:cxn>
                <a:cxn ang="0">
                  <a:pos x="25" y="414"/>
                </a:cxn>
                <a:cxn ang="0">
                  <a:pos x="0" y="414"/>
                </a:cxn>
                <a:cxn ang="0">
                  <a:pos x="12" y="390"/>
                </a:cxn>
                <a:cxn ang="0">
                  <a:pos x="101" y="325"/>
                </a:cxn>
                <a:cxn ang="0">
                  <a:pos x="210" y="278"/>
                </a:cxn>
                <a:cxn ang="0">
                  <a:pos x="229" y="248"/>
                </a:cxn>
                <a:cxn ang="0">
                  <a:pos x="218" y="159"/>
                </a:cxn>
                <a:cxn ang="0">
                  <a:pos x="225" y="39"/>
                </a:cxn>
                <a:cxn ang="0">
                  <a:pos x="243" y="0"/>
                </a:cxn>
                <a:cxn ang="0">
                  <a:pos x="260" y="39"/>
                </a:cxn>
                <a:cxn ang="0">
                  <a:pos x="265" y="183"/>
                </a:cxn>
                <a:cxn ang="0">
                  <a:pos x="267" y="254"/>
                </a:cxn>
                <a:cxn ang="0">
                  <a:pos x="277" y="282"/>
                </a:cxn>
                <a:cxn ang="0">
                  <a:pos x="381" y="329"/>
                </a:cxn>
                <a:cxn ang="0">
                  <a:pos x="302" y="300"/>
                </a:cxn>
                <a:cxn ang="0">
                  <a:pos x="303" y="311"/>
                </a:cxn>
                <a:cxn ang="0">
                  <a:pos x="382" y="364"/>
                </a:cxn>
                <a:cxn ang="0">
                  <a:pos x="437" y="387"/>
                </a:cxn>
                <a:cxn ang="0">
                  <a:pos x="437" y="379"/>
                </a:cxn>
                <a:cxn ang="0">
                  <a:pos x="396" y="347"/>
                </a:cxn>
                <a:cxn ang="0">
                  <a:pos x="37" y="387"/>
                </a:cxn>
                <a:cxn ang="0">
                  <a:pos x="86" y="369"/>
                </a:cxn>
                <a:cxn ang="0">
                  <a:pos x="176" y="310"/>
                </a:cxn>
                <a:cxn ang="0">
                  <a:pos x="154" y="309"/>
                </a:cxn>
                <a:cxn ang="0">
                  <a:pos x="76" y="352"/>
                </a:cxn>
                <a:cxn ang="0">
                  <a:pos x="37" y="383"/>
                </a:cxn>
                <a:cxn ang="0">
                  <a:pos x="229" y="289"/>
                </a:cxn>
                <a:cxn ang="0">
                  <a:pos x="247" y="286"/>
                </a:cxn>
                <a:cxn ang="0">
                  <a:pos x="252" y="266"/>
                </a:cxn>
                <a:cxn ang="0">
                  <a:pos x="236" y="256"/>
                </a:cxn>
                <a:cxn ang="0">
                  <a:pos x="220" y="266"/>
                </a:cxn>
                <a:cxn ang="0">
                  <a:pos x="224" y="286"/>
                </a:cxn>
                <a:cxn ang="0">
                  <a:pos x="228" y="196"/>
                </a:cxn>
                <a:cxn ang="0">
                  <a:pos x="236" y="220"/>
                </a:cxn>
                <a:cxn ang="0">
                  <a:pos x="246" y="137"/>
                </a:cxn>
                <a:cxn ang="0">
                  <a:pos x="240" y="60"/>
                </a:cxn>
                <a:cxn ang="0">
                  <a:pos x="229" y="78"/>
                </a:cxn>
              </a:cxnLst>
              <a:rect l="0" t="0" r="r" b="b"/>
              <a:pathLst>
                <a:path w="482" h="884">
                  <a:moveTo>
                    <a:pt x="232" y="847"/>
                  </a:moveTo>
                  <a:lnTo>
                    <a:pt x="199" y="847"/>
                  </a:lnTo>
                  <a:lnTo>
                    <a:pt x="199" y="859"/>
                  </a:lnTo>
                  <a:lnTo>
                    <a:pt x="232" y="859"/>
                  </a:lnTo>
                  <a:lnTo>
                    <a:pt x="232" y="847"/>
                  </a:lnTo>
                  <a:close/>
                  <a:moveTo>
                    <a:pt x="218" y="610"/>
                  </a:moveTo>
                  <a:lnTo>
                    <a:pt x="218" y="842"/>
                  </a:lnTo>
                  <a:lnTo>
                    <a:pt x="247" y="842"/>
                  </a:lnTo>
                  <a:lnTo>
                    <a:pt x="247" y="610"/>
                  </a:lnTo>
                  <a:lnTo>
                    <a:pt x="218" y="610"/>
                  </a:lnTo>
                  <a:close/>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moveTo>
                    <a:pt x="320" y="306"/>
                  </a:moveTo>
                  <a:lnTo>
                    <a:pt x="307" y="301"/>
                  </a:lnTo>
                  <a:lnTo>
                    <a:pt x="302" y="300"/>
                  </a:lnTo>
                  <a:lnTo>
                    <a:pt x="299" y="303"/>
                  </a:lnTo>
                  <a:lnTo>
                    <a:pt x="299" y="306"/>
                  </a:lnTo>
                  <a:lnTo>
                    <a:pt x="303" y="311"/>
                  </a:lnTo>
                  <a:lnTo>
                    <a:pt x="320" y="324"/>
                  </a:lnTo>
                  <a:lnTo>
                    <a:pt x="349" y="343"/>
                  </a:lnTo>
                  <a:lnTo>
                    <a:pt x="382" y="364"/>
                  </a:lnTo>
                  <a:lnTo>
                    <a:pt x="412" y="379"/>
                  </a:lnTo>
                  <a:lnTo>
                    <a:pt x="430" y="387"/>
                  </a:lnTo>
                  <a:lnTo>
                    <a:pt x="437" y="387"/>
                  </a:lnTo>
                  <a:lnTo>
                    <a:pt x="441" y="385"/>
                  </a:lnTo>
                  <a:lnTo>
                    <a:pt x="440" y="382"/>
                  </a:lnTo>
                  <a:lnTo>
                    <a:pt x="437" y="379"/>
                  </a:lnTo>
                  <a:lnTo>
                    <a:pt x="432" y="375"/>
                  </a:lnTo>
                  <a:lnTo>
                    <a:pt x="414" y="360"/>
                  </a:lnTo>
                  <a:lnTo>
                    <a:pt x="396" y="347"/>
                  </a:lnTo>
                  <a:lnTo>
                    <a:pt x="347" y="319"/>
                  </a:lnTo>
                  <a:lnTo>
                    <a:pt x="320" y="306"/>
                  </a:lnTo>
                  <a:close/>
                  <a:moveTo>
                    <a:pt x="37" y="387"/>
                  </a:moveTo>
                  <a:lnTo>
                    <a:pt x="43" y="387"/>
                  </a:lnTo>
                  <a:lnTo>
                    <a:pt x="61" y="379"/>
                  </a:lnTo>
                  <a:lnTo>
                    <a:pt x="86" y="369"/>
                  </a:lnTo>
                  <a:lnTo>
                    <a:pt x="112" y="354"/>
                  </a:lnTo>
                  <a:lnTo>
                    <a:pt x="161" y="321"/>
                  </a:lnTo>
                  <a:lnTo>
                    <a:pt x="176" y="310"/>
                  </a:lnTo>
                  <a:lnTo>
                    <a:pt x="179" y="303"/>
                  </a:lnTo>
                  <a:lnTo>
                    <a:pt x="172" y="303"/>
                  </a:lnTo>
                  <a:lnTo>
                    <a:pt x="154" y="309"/>
                  </a:lnTo>
                  <a:lnTo>
                    <a:pt x="130" y="319"/>
                  </a:lnTo>
                  <a:lnTo>
                    <a:pt x="102" y="335"/>
                  </a:lnTo>
                  <a:lnTo>
                    <a:pt x="76" y="352"/>
                  </a:lnTo>
                  <a:lnTo>
                    <a:pt x="54" y="367"/>
                  </a:lnTo>
                  <a:lnTo>
                    <a:pt x="40" y="379"/>
                  </a:lnTo>
                  <a:lnTo>
                    <a:pt x="37" y="383"/>
                  </a:lnTo>
                  <a:lnTo>
                    <a:pt x="37" y="387"/>
                  </a:lnTo>
                  <a:close/>
                  <a:moveTo>
                    <a:pt x="224" y="286"/>
                  </a:moveTo>
                  <a:lnTo>
                    <a:pt x="229" y="289"/>
                  </a:lnTo>
                  <a:lnTo>
                    <a:pt x="236" y="290"/>
                  </a:lnTo>
                  <a:lnTo>
                    <a:pt x="242" y="289"/>
                  </a:lnTo>
                  <a:lnTo>
                    <a:pt x="247" y="286"/>
                  </a:lnTo>
                  <a:lnTo>
                    <a:pt x="252" y="280"/>
                  </a:lnTo>
                  <a:lnTo>
                    <a:pt x="253" y="274"/>
                  </a:lnTo>
                  <a:lnTo>
                    <a:pt x="252" y="266"/>
                  </a:lnTo>
                  <a:lnTo>
                    <a:pt x="247" y="260"/>
                  </a:lnTo>
                  <a:lnTo>
                    <a:pt x="242" y="257"/>
                  </a:lnTo>
                  <a:lnTo>
                    <a:pt x="236" y="256"/>
                  </a:lnTo>
                  <a:lnTo>
                    <a:pt x="229" y="257"/>
                  </a:lnTo>
                  <a:lnTo>
                    <a:pt x="224" y="260"/>
                  </a:lnTo>
                  <a:lnTo>
                    <a:pt x="220" y="266"/>
                  </a:lnTo>
                  <a:lnTo>
                    <a:pt x="219" y="274"/>
                  </a:lnTo>
                  <a:lnTo>
                    <a:pt x="220" y="280"/>
                  </a:lnTo>
                  <a:lnTo>
                    <a:pt x="224" y="286"/>
                  </a:lnTo>
                  <a:close/>
                  <a:moveTo>
                    <a:pt x="225" y="137"/>
                  </a:moveTo>
                  <a:lnTo>
                    <a:pt x="225" y="168"/>
                  </a:lnTo>
                  <a:lnTo>
                    <a:pt x="228" y="196"/>
                  </a:lnTo>
                  <a:lnTo>
                    <a:pt x="231" y="214"/>
                  </a:lnTo>
                  <a:lnTo>
                    <a:pt x="234" y="218"/>
                  </a:lnTo>
                  <a:lnTo>
                    <a:pt x="236" y="220"/>
                  </a:lnTo>
                  <a:lnTo>
                    <a:pt x="240" y="214"/>
                  </a:lnTo>
                  <a:lnTo>
                    <a:pt x="243" y="196"/>
                  </a:lnTo>
                  <a:lnTo>
                    <a:pt x="246" y="137"/>
                  </a:lnTo>
                  <a:lnTo>
                    <a:pt x="246" y="104"/>
                  </a:lnTo>
                  <a:lnTo>
                    <a:pt x="243" y="78"/>
                  </a:lnTo>
                  <a:lnTo>
                    <a:pt x="240" y="60"/>
                  </a:lnTo>
                  <a:lnTo>
                    <a:pt x="236" y="54"/>
                  </a:lnTo>
                  <a:lnTo>
                    <a:pt x="231" y="60"/>
                  </a:lnTo>
                  <a:lnTo>
                    <a:pt x="229" y="78"/>
                  </a:lnTo>
                  <a:lnTo>
                    <a:pt x="225" y="104"/>
                  </a:lnTo>
                  <a:lnTo>
                    <a:pt x="225" y="137"/>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7" name="Rectangle 90"/>
            <p:cNvSpPr>
              <a:spLocks noChangeArrowheads="1"/>
            </p:cNvSpPr>
            <p:nvPr userDrawn="1"/>
          </p:nvSpPr>
          <p:spPr bwMode="auto">
            <a:xfrm>
              <a:off x="8034338" y="6554788"/>
              <a:ext cx="11113" cy="3175"/>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8" name="Rectangle 91"/>
            <p:cNvSpPr>
              <a:spLocks noChangeArrowheads="1"/>
            </p:cNvSpPr>
            <p:nvPr userDrawn="1"/>
          </p:nvSpPr>
          <p:spPr bwMode="auto">
            <a:xfrm>
              <a:off x="8040688" y="6478588"/>
              <a:ext cx="9525" cy="74613"/>
            </a:xfrm>
            <a:prstGeom prst="rect">
              <a:avLst/>
            </a:prstGeom>
            <a:solidFill>
              <a:srgbClr val="4C4C4C"/>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09" name="Freeform 92"/>
            <p:cNvSpPr>
              <a:spLocks/>
            </p:cNvSpPr>
            <p:nvPr userDrawn="1"/>
          </p:nvSpPr>
          <p:spPr bwMode="auto">
            <a:xfrm>
              <a:off x="7970838" y="6284913"/>
              <a:ext cx="153988" cy="280988"/>
            </a:xfrm>
            <a:custGeom>
              <a:avLst/>
              <a:gdLst/>
              <a:ahLst/>
              <a:cxnLst>
                <a:cxn ang="0">
                  <a:pos x="431" y="363"/>
                </a:cxn>
                <a:cxn ang="0">
                  <a:pos x="456" y="382"/>
                </a:cxn>
                <a:cxn ang="0">
                  <a:pos x="477" y="404"/>
                </a:cxn>
                <a:cxn ang="0">
                  <a:pos x="480" y="417"/>
                </a:cxn>
                <a:cxn ang="0">
                  <a:pos x="470" y="420"/>
                </a:cxn>
                <a:cxn ang="0">
                  <a:pos x="405" y="399"/>
                </a:cxn>
                <a:cxn ang="0">
                  <a:pos x="342" y="366"/>
                </a:cxn>
                <a:cxn ang="0">
                  <a:pos x="291" y="329"/>
                </a:cxn>
                <a:cxn ang="0">
                  <a:pos x="260" y="309"/>
                </a:cxn>
                <a:cxn ang="0">
                  <a:pos x="261" y="395"/>
                </a:cxn>
                <a:cxn ang="0">
                  <a:pos x="276" y="599"/>
                </a:cxn>
                <a:cxn ang="0">
                  <a:pos x="289" y="845"/>
                </a:cxn>
                <a:cxn ang="0">
                  <a:pos x="303" y="859"/>
                </a:cxn>
                <a:cxn ang="0">
                  <a:pos x="184" y="883"/>
                </a:cxn>
                <a:cxn ang="0">
                  <a:pos x="196" y="859"/>
                </a:cxn>
                <a:cxn ang="0">
                  <a:pos x="210" y="844"/>
                </a:cxn>
                <a:cxn ang="0">
                  <a:pos x="218" y="599"/>
                </a:cxn>
                <a:cxn ang="0">
                  <a:pos x="219" y="303"/>
                </a:cxn>
                <a:cxn ang="0">
                  <a:pos x="202" y="316"/>
                </a:cxn>
                <a:cxn ang="0">
                  <a:pos x="169" y="342"/>
                </a:cxn>
                <a:cxn ang="0">
                  <a:pos x="82" y="393"/>
                </a:cxn>
                <a:cxn ang="0">
                  <a:pos x="25" y="414"/>
                </a:cxn>
                <a:cxn ang="0">
                  <a:pos x="5" y="417"/>
                </a:cxn>
                <a:cxn ang="0">
                  <a:pos x="0" y="408"/>
                </a:cxn>
                <a:cxn ang="0">
                  <a:pos x="12" y="390"/>
                </a:cxn>
                <a:cxn ang="0">
                  <a:pos x="59" y="353"/>
                </a:cxn>
                <a:cxn ang="0">
                  <a:pos x="146" y="303"/>
                </a:cxn>
                <a:cxn ang="0">
                  <a:pos x="210" y="278"/>
                </a:cxn>
                <a:cxn ang="0">
                  <a:pos x="219" y="254"/>
                </a:cxn>
                <a:cxn ang="0">
                  <a:pos x="224" y="227"/>
                </a:cxn>
                <a:cxn ang="0">
                  <a:pos x="218" y="159"/>
                </a:cxn>
                <a:cxn ang="0">
                  <a:pos x="219" y="83"/>
                </a:cxn>
                <a:cxn ang="0">
                  <a:pos x="234" y="9"/>
                </a:cxn>
                <a:cxn ang="0">
                  <a:pos x="243" y="0"/>
                </a:cxn>
                <a:cxn ang="0">
                  <a:pos x="253" y="9"/>
                </a:cxn>
                <a:cxn ang="0">
                  <a:pos x="266" y="83"/>
                </a:cxn>
                <a:cxn ang="0">
                  <a:pos x="265" y="183"/>
                </a:cxn>
                <a:cxn ang="0">
                  <a:pos x="255" y="247"/>
                </a:cxn>
                <a:cxn ang="0">
                  <a:pos x="275" y="266"/>
                </a:cxn>
                <a:cxn ang="0">
                  <a:pos x="277" y="282"/>
                </a:cxn>
                <a:cxn ang="0">
                  <a:pos x="330" y="303"/>
                </a:cxn>
              </a:cxnLst>
              <a:rect l="0" t="0" r="r" b="b"/>
              <a:pathLst>
                <a:path w="482" h="884">
                  <a:moveTo>
                    <a:pt x="381" y="329"/>
                  </a:moveTo>
                  <a:lnTo>
                    <a:pt x="431" y="363"/>
                  </a:lnTo>
                  <a:lnTo>
                    <a:pt x="446" y="372"/>
                  </a:lnTo>
                  <a:lnTo>
                    <a:pt x="456" y="382"/>
                  </a:lnTo>
                  <a:lnTo>
                    <a:pt x="470" y="394"/>
                  </a:lnTo>
                  <a:lnTo>
                    <a:pt x="477" y="404"/>
                  </a:lnTo>
                  <a:lnTo>
                    <a:pt x="482" y="411"/>
                  </a:lnTo>
                  <a:lnTo>
                    <a:pt x="480" y="417"/>
                  </a:lnTo>
                  <a:lnTo>
                    <a:pt x="477" y="419"/>
                  </a:lnTo>
                  <a:lnTo>
                    <a:pt x="470" y="420"/>
                  </a:lnTo>
                  <a:lnTo>
                    <a:pt x="446" y="416"/>
                  </a:lnTo>
                  <a:lnTo>
                    <a:pt x="405" y="399"/>
                  </a:lnTo>
                  <a:lnTo>
                    <a:pt x="362" y="378"/>
                  </a:lnTo>
                  <a:lnTo>
                    <a:pt x="342" y="366"/>
                  </a:lnTo>
                  <a:lnTo>
                    <a:pt x="322" y="353"/>
                  </a:lnTo>
                  <a:lnTo>
                    <a:pt x="291" y="329"/>
                  </a:lnTo>
                  <a:lnTo>
                    <a:pt x="265" y="305"/>
                  </a:lnTo>
                  <a:lnTo>
                    <a:pt x="260" y="309"/>
                  </a:lnTo>
                  <a:lnTo>
                    <a:pt x="260" y="341"/>
                  </a:lnTo>
                  <a:lnTo>
                    <a:pt x="261" y="395"/>
                  </a:lnTo>
                  <a:lnTo>
                    <a:pt x="269" y="599"/>
                  </a:lnTo>
                  <a:lnTo>
                    <a:pt x="276" y="599"/>
                  </a:lnTo>
                  <a:lnTo>
                    <a:pt x="276" y="845"/>
                  </a:lnTo>
                  <a:lnTo>
                    <a:pt x="289" y="845"/>
                  </a:lnTo>
                  <a:lnTo>
                    <a:pt x="289" y="859"/>
                  </a:lnTo>
                  <a:lnTo>
                    <a:pt x="303" y="859"/>
                  </a:lnTo>
                  <a:lnTo>
                    <a:pt x="303" y="884"/>
                  </a:lnTo>
                  <a:lnTo>
                    <a:pt x="184" y="883"/>
                  </a:lnTo>
                  <a:lnTo>
                    <a:pt x="184" y="859"/>
                  </a:lnTo>
                  <a:lnTo>
                    <a:pt x="196" y="859"/>
                  </a:lnTo>
                  <a:lnTo>
                    <a:pt x="196" y="844"/>
                  </a:lnTo>
                  <a:lnTo>
                    <a:pt x="210" y="844"/>
                  </a:lnTo>
                  <a:lnTo>
                    <a:pt x="211" y="599"/>
                  </a:lnTo>
                  <a:lnTo>
                    <a:pt x="218" y="599"/>
                  </a:lnTo>
                  <a:lnTo>
                    <a:pt x="228" y="310"/>
                  </a:lnTo>
                  <a:lnTo>
                    <a:pt x="219" y="303"/>
                  </a:lnTo>
                  <a:lnTo>
                    <a:pt x="219" y="301"/>
                  </a:lnTo>
                  <a:lnTo>
                    <a:pt x="202" y="316"/>
                  </a:lnTo>
                  <a:lnTo>
                    <a:pt x="187" y="329"/>
                  </a:lnTo>
                  <a:lnTo>
                    <a:pt x="169" y="342"/>
                  </a:lnTo>
                  <a:lnTo>
                    <a:pt x="125" y="369"/>
                  </a:lnTo>
                  <a:lnTo>
                    <a:pt x="82" y="393"/>
                  </a:lnTo>
                  <a:lnTo>
                    <a:pt x="42" y="410"/>
                  </a:lnTo>
                  <a:lnTo>
                    <a:pt x="25" y="414"/>
                  </a:lnTo>
                  <a:lnTo>
                    <a:pt x="13" y="417"/>
                  </a:lnTo>
                  <a:lnTo>
                    <a:pt x="5" y="417"/>
                  </a:lnTo>
                  <a:lnTo>
                    <a:pt x="0" y="414"/>
                  </a:lnTo>
                  <a:lnTo>
                    <a:pt x="0" y="408"/>
                  </a:lnTo>
                  <a:lnTo>
                    <a:pt x="4" y="400"/>
                  </a:lnTo>
                  <a:lnTo>
                    <a:pt x="12" y="390"/>
                  </a:lnTo>
                  <a:lnTo>
                    <a:pt x="24" y="379"/>
                  </a:lnTo>
                  <a:lnTo>
                    <a:pt x="59" y="353"/>
                  </a:lnTo>
                  <a:lnTo>
                    <a:pt x="101" y="325"/>
                  </a:lnTo>
                  <a:lnTo>
                    <a:pt x="146" y="303"/>
                  </a:lnTo>
                  <a:lnTo>
                    <a:pt x="186" y="286"/>
                  </a:lnTo>
                  <a:lnTo>
                    <a:pt x="210" y="278"/>
                  </a:lnTo>
                  <a:lnTo>
                    <a:pt x="212" y="265"/>
                  </a:lnTo>
                  <a:lnTo>
                    <a:pt x="219" y="254"/>
                  </a:lnTo>
                  <a:lnTo>
                    <a:pt x="229" y="248"/>
                  </a:lnTo>
                  <a:lnTo>
                    <a:pt x="224" y="227"/>
                  </a:lnTo>
                  <a:lnTo>
                    <a:pt x="219" y="183"/>
                  </a:lnTo>
                  <a:lnTo>
                    <a:pt x="218" y="159"/>
                  </a:lnTo>
                  <a:lnTo>
                    <a:pt x="217" y="133"/>
                  </a:lnTo>
                  <a:lnTo>
                    <a:pt x="219" y="83"/>
                  </a:lnTo>
                  <a:lnTo>
                    <a:pt x="225" y="39"/>
                  </a:lnTo>
                  <a:lnTo>
                    <a:pt x="234" y="9"/>
                  </a:lnTo>
                  <a:lnTo>
                    <a:pt x="238" y="2"/>
                  </a:lnTo>
                  <a:lnTo>
                    <a:pt x="243" y="0"/>
                  </a:lnTo>
                  <a:lnTo>
                    <a:pt x="248" y="2"/>
                  </a:lnTo>
                  <a:lnTo>
                    <a:pt x="253" y="9"/>
                  </a:lnTo>
                  <a:lnTo>
                    <a:pt x="260" y="39"/>
                  </a:lnTo>
                  <a:lnTo>
                    <a:pt x="266" y="83"/>
                  </a:lnTo>
                  <a:lnTo>
                    <a:pt x="267" y="133"/>
                  </a:lnTo>
                  <a:lnTo>
                    <a:pt x="265" y="183"/>
                  </a:lnTo>
                  <a:lnTo>
                    <a:pt x="260" y="227"/>
                  </a:lnTo>
                  <a:lnTo>
                    <a:pt x="255" y="247"/>
                  </a:lnTo>
                  <a:lnTo>
                    <a:pt x="267" y="254"/>
                  </a:lnTo>
                  <a:lnTo>
                    <a:pt x="275" y="266"/>
                  </a:lnTo>
                  <a:lnTo>
                    <a:pt x="277" y="278"/>
                  </a:lnTo>
                  <a:lnTo>
                    <a:pt x="277" y="282"/>
                  </a:lnTo>
                  <a:lnTo>
                    <a:pt x="296" y="288"/>
                  </a:lnTo>
                  <a:lnTo>
                    <a:pt x="330" y="303"/>
                  </a:lnTo>
                  <a:lnTo>
                    <a:pt x="381" y="329"/>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0" name="Freeform 93"/>
            <p:cNvSpPr>
              <a:spLocks/>
            </p:cNvSpPr>
            <p:nvPr userDrawn="1"/>
          </p:nvSpPr>
          <p:spPr bwMode="auto">
            <a:xfrm>
              <a:off x="8066088" y="6380163"/>
              <a:ext cx="44450" cy="28575"/>
            </a:xfrm>
            <a:custGeom>
              <a:avLst/>
              <a:gdLst/>
              <a:ahLst/>
              <a:cxnLst>
                <a:cxn ang="0">
                  <a:pos x="21" y="6"/>
                </a:cxn>
                <a:cxn ang="0">
                  <a:pos x="8" y="1"/>
                </a:cxn>
                <a:cxn ang="0">
                  <a:pos x="3" y="0"/>
                </a:cxn>
                <a:cxn ang="0">
                  <a:pos x="0" y="3"/>
                </a:cxn>
                <a:cxn ang="0">
                  <a:pos x="0" y="6"/>
                </a:cxn>
                <a:cxn ang="0">
                  <a:pos x="4" y="11"/>
                </a:cxn>
                <a:cxn ang="0">
                  <a:pos x="21" y="24"/>
                </a:cxn>
                <a:cxn ang="0">
                  <a:pos x="50" y="43"/>
                </a:cxn>
                <a:cxn ang="0">
                  <a:pos x="83" y="64"/>
                </a:cxn>
                <a:cxn ang="0">
                  <a:pos x="113" y="79"/>
                </a:cxn>
                <a:cxn ang="0">
                  <a:pos x="131" y="87"/>
                </a:cxn>
                <a:cxn ang="0">
                  <a:pos x="138" y="87"/>
                </a:cxn>
                <a:cxn ang="0">
                  <a:pos x="142" y="85"/>
                </a:cxn>
                <a:cxn ang="0">
                  <a:pos x="141" y="82"/>
                </a:cxn>
                <a:cxn ang="0">
                  <a:pos x="138" y="79"/>
                </a:cxn>
                <a:cxn ang="0">
                  <a:pos x="133" y="75"/>
                </a:cxn>
                <a:cxn ang="0">
                  <a:pos x="115" y="60"/>
                </a:cxn>
                <a:cxn ang="0">
                  <a:pos x="97" y="47"/>
                </a:cxn>
                <a:cxn ang="0">
                  <a:pos x="48" y="19"/>
                </a:cxn>
                <a:cxn ang="0">
                  <a:pos x="21" y="6"/>
                </a:cxn>
              </a:cxnLst>
              <a:rect l="0" t="0" r="r" b="b"/>
              <a:pathLst>
                <a:path w="142" h="87">
                  <a:moveTo>
                    <a:pt x="21" y="6"/>
                  </a:moveTo>
                  <a:lnTo>
                    <a:pt x="8" y="1"/>
                  </a:lnTo>
                  <a:lnTo>
                    <a:pt x="3" y="0"/>
                  </a:lnTo>
                  <a:lnTo>
                    <a:pt x="0" y="3"/>
                  </a:lnTo>
                  <a:lnTo>
                    <a:pt x="0" y="6"/>
                  </a:lnTo>
                  <a:lnTo>
                    <a:pt x="4" y="11"/>
                  </a:lnTo>
                  <a:lnTo>
                    <a:pt x="21" y="24"/>
                  </a:lnTo>
                  <a:lnTo>
                    <a:pt x="50" y="43"/>
                  </a:lnTo>
                  <a:lnTo>
                    <a:pt x="83" y="64"/>
                  </a:lnTo>
                  <a:lnTo>
                    <a:pt x="113" y="79"/>
                  </a:lnTo>
                  <a:lnTo>
                    <a:pt x="131" y="87"/>
                  </a:lnTo>
                  <a:lnTo>
                    <a:pt x="138" y="87"/>
                  </a:lnTo>
                  <a:lnTo>
                    <a:pt x="142" y="85"/>
                  </a:lnTo>
                  <a:lnTo>
                    <a:pt x="141" y="82"/>
                  </a:lnTo>
                  <a:lnTo>
                    <a:pt x="138" y="79"/>
                  </a:lnTo>
                  <a:lnTo>
                    <a:pt x="133" y="75"/>
                  </a:lnTo>
                  <a:lnTo>
                    <a:pt x="115" y="60"/>
                  </a:lnTo>
                  <a:lnTo>
                    <a:pt x="97" y="47"/>
                  </a:lnTo>
                  <a:lnTo>
                    <a:pt x="48" y="19"/>
                  </a:lnTo>
                  <a:lnTo>
                    <a:pt x="21" y="6"/>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1" name="Freeform 94"/>
            <p:cNvSpPr>
              <a:spLocks/>
            </p:cNvSpPr>
            <p:nvPr userDrawn="1"/>
          </p:nvSpPr>
          <p:spPr bwMode="auto">
            <a:xfrm>
              <a:off x="7983538" y="6381751"/>
              <a:ext cx="44450" cy="26988"/>
            </a:xfrm>
            <a:custGeom>
              <a:avLst/>
              <a:gdLst/>
              <a:ahLst/>
              <a:cxnLst>
                <a:cxn ang="0">
                  <a:pos x="0" y="84"/>
                </a:cxn>
                <a:cxn ang="0">
                  <a:pos x="6" y="84"/>
                </a:cxn>
                <a:cxn ang="0">
                  <a:pos x="24" y="76"/>
                </a:cxn>
                <a:cxn ang="0">
                  <a:pos x="49" y="66"/>
                </a:cxn>
                <a:cxn ang="0">
                  <a:pos x="75" y="51"/>
                </a:cxn>
                <a:cxn ang="0">
                  <a:pos x="124" y="18"/>
                </a:cxn>
                <a:cxn ang="0">
                  <a:pos x="139" y="7"/>
                </a:cxn>
                <a:cxn ang="0">
                  <a:pos x="142" y="0"/>
                </a:cxn>
                <a:cxn ang="0">
                  <a:pos x="135" y="0"/>
                </a:cxn>
                <a:cxn ang="0">
                  <a:pos x="117" y="6"/>
                </a:cxn>
                <a:cxn ang="0">
                  <a:pos x="93" y="16"/>
                </a:cxn>
                <a:cxn ang="0">
                  <a:pos x="65" y="32"/>
                </a:cxn>
                <a:cxn ang="0">
                  <a:pos x="39" y="49"/>
                </a:cxn>
                <a:cxn ang="0">
                  <a:pos x="17" y="64"/>
                </a:cxn>
                <a:cxn ang="0">
                  <a:pos x="3" y="76"/>
                </a:cxn>
                <a:cxn ang="0">
                  <a:pos x="0" y="80"/>
                </a:cxn>
                <a:cxn ang="0">
                  <a:pos x="0" y="84"/>
                </a:cxn>
              </a:cxnLst>
              <a:rect l="0" t="0" r="r" b="b"/>
              <a:pathLst>
                <a:path w="142" h="84">
                  <a:moveTo>
                    <a:pt x="0" y="84"/>
                  </a:moveTo>
                  <a:lnTo>
                    <a:pt x="6" y="84"/>
                  </a:lnTo>
                  <a:lnTo>
                    <a:pt x="24" y="76"/>
                  </a:lnTo>
                  <a:lnTo>
                    <a:pt x="49" y="66"/>
                  </a:lnTo>
                  <a:lnTo>
                    <a:pt x="75" y="51"/>
                  </a:lnTo>
                  <a:lnTo>
                    <a:pt x="124" y="18"/>
                  </a:lnTo>
                  <a:lnTo>
                    <a:pt x="139" y="7"/>
                  </a:lnTo>
                  <a:lnTo>
                    <a:pt x="142" y="0"/>
                  </a:lnTo>
                  <a:lnTo>
                    <a:pt x="135" y="0"/>
                  </a:lnTo>
                  <a:lnTo>
                    <a:pt x="117" y="6"/>
                  </a:lnTo>
                  <a:lnTo>
                    <a:pt x="93" y="16"/>
                  </a:lnTo>
                  <a:lnTo>
                    <a:pt x="65" y="32"/>
                  </a:lnTo>
                  <a:lnTo>
                    <a:pt x="39" y="49"/>
                  </a:lnTo>
                  <a:lnTo>
                    <a:pt x="17" y="64"/>
                  </a:lnTo>
                  <a:lnTo>
                    <a:pt x="3" y="76"/>
                  </a:lnTo>
                  <a:lnTo>
                    <a:pt x="0" y="80"/>
                  </a:lnTo>
                  <a:lnTo>
                    <a:pt x="0" y="8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2" name="Freeform 95"/>
            <p:cNvSpPr>
              <a:spLocks/>
            </p:cNvSpPr>
            <p:nvPr userDrawn="1"/>
          </p:nvSpPr>
          <p:spPr bwMode="auto">
            <a:xfrm>
              <a:off x="8040688" y="6365876"/>
              <a:ext cx="11113" cy="11113"/>
            </a:xfrm>
            <a:custGeom>
              <a:avLst/>
              <a:gdLst/>
              <a:ahLst/>
              <a:cxnLst>
                <a:cxn ang="0">
                  <a:pos x="5" y="30"/>
                </a:cxn>
                <a:cxn ang="0">
                  <a:pos x="10" y="33"/>
                </a:cxn>
                <a:cxn ang="0">
                  <a:pos x="17" y="34"/>
                </a:cxn>
                <a:cxn ang="0">
                  <a:pos x="23" y="33"/>
                </a:cxn>
                <a:cxn ang="0">
                  <a:pos x="28" y="30"/>
                </a:cxn>
                <a:cxn ang="0">
                  <a:pos x="33" y="24"/>
                </a:cxn>
                <a:cxn ang="0">
                  <a:pos x="34" y="18"/>
                </a:cxn>
                <a:cxn ang="0">
                  <a:pos x="33" y="10"/>
                </a:cxn>
                <a:cxn ang="0">
                  <a:pos x="28" y="4"/>
                </a:cxn>
                <a:cxn ang="0">
                  <a:pos x="23" y="1"/>
                </a:cxn>
                <a:cxn ang="0">
                  <a:pos x="17" y="0"/>
                </a:cxn>
                <a:cxn ang="0">
                  <a:pos x="10" y="1"/>
                </a:cxn>
                <a:cxn ang="0">
                  <a:pos x="5" y="4"/>
                </a:cxn>
                <a:cxn ang="0">
                  <a:pos x="1" y="10"/>
                </a:cxn>
                <a:cxn ang="0">
                  <a:pos x="0" y="18"/>
                </a:cxn>
                <a:cxn ang="0">
                  <a:pos x="1" y="24"/>
                </a:cxn>
                <a:cxn ang="0">
                  <a:pos x="5" y="30"/>
                </a:cxn>
              </a:cxnLst>
              <a:rect l="0" t="0" r="r" b="b"/>
              <a:pathLst>
                <a:path w="34" h="34">
                  <a:moveTo>
                    <a:pt x="5" y="30"/>
                  </a:moveTo>
                  <a:lnTo>
                    <a:pt x="10" y="33"/>
                  </a:lnTo>
                  <a:lnTo>
                    <a:pt x="17" y="34"/>
                  </a:lnTo>
                  <a:lnTo>
                    <a:pt x="23" y="33"/>
                  </a:lnTo>
                  <a:lnTo>
                    <a:pt x="28" y="30"/>
                  </a:lnTo>
                  <a:lnTo>
                    <a:pt x="33" y="24"/>
                  </a:lnTo>
                  <a:lnTo>
                    <a:pt x="34" y="18"/>
                  </a:lnTo>
                  <a:lnTo>
                    <a:pt x="33" y="10"/>
                  </a:lnTo>
                  <a:lnTo>
                    <a:pt x="28" y="4"/>
                  </a:lnTo>
                  <a:lnTo>
                    <a:pt x="23" y="1"/>
                  </a:lnTo>
                  <a:lnTo>
                    <a:pt x="17" y="0"/>
                  </a:lnTo>
                  <a:lnTo>
                    <a:pt x="10" y="1"/>
                  </a:lnTo>
                  <a:lnTo>
                    <a:pt x="5" y="4"/>
                  </a:lnTo>
                  <a:lnTo>
                    <a:pt x="1" y="10"/>
                  </a:lnTo>
                  <a:lnTo>
                    <a:pt x="0" y="18"/>
                  </a:lnTo>
                  <a:lnTo>
                    <a:pt x="1" y="24"/>
                  </a:lnTo>
                  <a:lnTo>
                    <a:pt x="5" y="30"/>
                  </a:lnTo>
                  <a:close/>
                </a:path>
              </a:pathLst>
            </a:custGeom>
            <a:solidFill>
              <a:srgbClr val="4C4C4C"/>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3" name="Freeform 96"/>
            <p:cNvSpPr>
              <a:spLocks/>
            </p:cNvSpPr>
            <p:nvPr userDrawn="1"/>
          </p:nvSpPr>
          <p:spPr bwMode="auto">
            <a:xfrm>
              <a:off x="8042275" y="6302376"/>
              <a:ext cx="6350" cy="52388"/>
            </a:xfrm>
            <a:custGeom>
              <a:avLst/>
              <a:gdLst/>
              <a:ahLst/>
              <a:cxnLst>
                <a:cxn ang="0">
                  <a:pos x="0" y="83"/>
                </a:cxn>
                <a:cxn ang="0">
                  <a:pos x="0" y="114"/>
                </a:cxn>
                <a:cxn ang="0">
                  <a:pos x="3" y="142"/>
                </a:cxn>
                <a:cxn ang="0">
                  <a:pos x="6" y="160"/>
                </a:cxn>
                <a:cxn ang="0">
                  <a:pos x="9" y="164"/>
                </a:cxn>
                <a:cxn ang="0">
                  <a:pos x="11" y="166"/>
                </a:cxn>
                <a:cxn ang="0">
                  <a:pos x="15" y="160"/>
                </a:cxn>
                <a:cxn ang="0">
                  <a:pos x="18" y="142"/>
                </a:cxn>
                <a:cxn ang="0">
                  <a:pos x="21" y="83"/>
                </a:cxn>
                <a:cxn ang="0">
                  <a:pos x="21" y="50"/>
                </a:cxn>
                <a:cxn ang="0">
                  <a:pos x="18" y="24"/>
                </a:cxn>
                <a:cxn ang="0">
                  <a:pos x="15" y="6"/>
                </a:cxn>
                <a:cxn ang="0">
                  <a:pos x="11" y="0"/>
                </a:cxn>
                <a:cxn ang="0">
                  <a:pos x="6" y="6"/>
                </a:cxn>
                <a:cxn ang="0">
                  <a:pos x="4" y="24"/>
                </a:cxn>
                <a:cxn ang="0">
                  <a:pos x="0" y="50"/>
                </a:cxn>
                <a:cxn ang="0">
                  <a:pos x="0" y="83"/>
                </a:cxn>
              </a:cxnLst>
              <a:rect l="0" t="0" r="r" b="b"/>
              <a:pathLst>
                <a:path w="21" h="166">
                  <a:moveTo>
                    <a:pt x="0" y="83"/>
                  </a:moveTo>
                  <a:lnTo>
                    <a:pt x="0" y="114"/>
                  </a:lnTo>
                  <a:lnTo>
                    <a:pt x="3" y="142"/>
                  </a:lnTo>
                  <a:lnTo>
                    <a:pt x="6" y="160"/>
                  </a:lnTo>
                  <a:lnTo>
                    <a:pt x="9" y="164"/>
                  </a:lnTo>
                  <a:lnTo>
                    <a:pt x="11" y="166"/>
                  </a:lnTo>
                  <a:lnTo>
                    <a:pt x="15" y="160"/>
                  </a:lnTo>
                  <a:lnTo>
                    <a:pt x="18" y="142"/>
                  </a:lnTo>
                  <a:lnTo>
                    <a:pt x="21" y="83"/>
                  </a:lnTo>
                  <a:lnTo>
                    <a:pt x="21" y="50"/>
                  </a:lnTo>
                  <a:lnTo>
                    <a:pt x="18" y="24"/>
                  </a:lnTo>
                  <a:lnTo>
                    <a:pt x="15" y="6"/>
                  </a:lnTo>
                  <a:lnTo>
                    <a:pt x="11" y="0"/>
                  </a:lnTo>
                  <a:lnTo>
                    <a:pt x="6" y="6"/>
                  </a:lnTo>
                  <a:lnTo>
                    <a:pt x="4" y="24"/>
                  </a:lnTo>
                  <a:lnTo>
                    <a:pt x="0" y="50"/>
                  </a:lnTo>
                  <a:lnTo>
                    <a:pt x="0" y="83"/>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4" name="Freeform 97"/>
            <p:cNvSpPr>
              <a:spLocks noEditPoints="1"/>
            </p:cNvSpPr>
            <p:nvPr userDrawn="1"/>
          </p:nvSpPr>
          <p:spPr bwMode="auto">
            <a:xfrm>
              <a:off x="7867650" y="6257926"/>
              <a:ext cx="107950" cy="198438"/>
            </a:xfrm>
            <a:custGeom>
              <a:avLst/>
              <a:gdLst/>
              <a:ahLst/>
              <a:cxnLst>
                <a:cxn ang="0">
                  <a:pos x="140" y="607"/>
                </a:cxn>
                <a:cxn ang="0">
                  <a:pos x="154" y="432"/>
                </a:cxn>
                <a:cxn ang="0">
                  <a:pos x="174" y="432"/>
                </a:cxn>
                <a:cxn ang="0">
                  <a:pos x="304" y="257"/>
                </a:cxn>
                <a:cxn ang="0">
                  <a:pos x="340" y="291"/>
                </a:cxn>
                <a:cxn ang="0">
                  <a:pos x="332" y="298"/>
                </a:cxn>
                <a:cxn ang="0">
                  <a:pos x="256" y="268"/>
                </a:cxn>
                <a:cxn ang="0">
                  <a:pos x="187" y="216"/>
                </a:cxn>
                <a:cxn ang="0">
                  <a:pos x="185" y="280"/>
                </a:cxn>
                <a:cxn ang="0">
                  <a:pos x="195" y="598"/>
                </a:cxn>
                <a:cxn ang="0">
                  <a:pos x="214" y="608"/>
                </a:cxn>
                <a:cxn ang="0">
                  <a:pos x="130" y="607"/>
                </a:cxn>
                <a:cxn ang="0">
                  <a:pos x="148" y="598"/>
                </a:cxn>
                <a:cxn ang="0">
                  <a:pos x="161" y="220"/>
                </a:cxn>
                <a:cxn ang="0">
                  <a:pos x="119" y="243"/>
                </a:cxn>
                <a:cxn ang="0">
                  <a:pos x="30" y="290"/>
                </a:cxn>
                <a:cxn ang="0">
                  <a:pos x="0" y="293"/>
                </a:cxn>
                <a:cxn ang="0">
                  <a:pos x="8" y="277"/>
                </a:cxn>
                <a:cxn ang="0">
                  <a:pos x="72" y="231"/>
                </a:cxn>
                <a:cxn ang="0">
                  <a:pos x="148" y="197"/>
                </a:cxn>
                <a:cxn ang="0">
                  <a:pos x="162" y="177"/>
                </a:cxn>
                <a:cxn ang="0">
                  <a:pos x="155" y="131"/>
                </a:cxn>
                <a:cxn ang="0">
                  <a:pos x="159" y="29"/>
                </a:cxn>
                <a:cxn ang="0">
                  <a:pos x="172" y="0"/>
                </a:cxn>
                <a:cxn ang="0">
                  <a:pos x="184" y="29"/>
                </a:cxn>
                <a:cxn ang="0">
                  <a:pos x="187" y="131"/>
                </a:cxn>
                <a:cxn ang="0">
                  <a:pos x="189" y="180"/>
                </a:cxn>
                <a:cxn ang="0">
                  <a:pos x="196" y="200"/>
                </a:cxn>
                <a:cxn ang="0">
                  <a:pos x="269" y="233"/>
                </a:cxn>
                <a:cxn ang="0">
                  <a:pos x="212" y="214"/>
                </a:cxn>
                <a:cxn ang="0">
                  <a:pos x="226" y="230"/>
                </a:cxn>
                <a:cxn ang="0">
                  <a:pos x="291" y="268"/>
                </a:cxn>
                <a:cxn ang="0">
                  <a:pos x="311" y="273"/>
                </a:cxn>
                <a:cxn ang="0">
                  <a:pos x="280" y="246"/>
                </a:cxn>
                <a:cxn ang="0">
                  <a:pos x="26" y="274"/>
                </a:cxn>
                <a:cxn ang="0">
                  <a:pos x="79" y="251"/>
                </a:cxn>
                <a:cxn ang="0">
                  <a:pos x="126" y="215"/>
                </a:cxn>
                <a:cxn ang="0">
                  <a:pos x="92" y="227"/>
                </a:cxn>
                <a:cxn ang="0">
                  <a:pos x="28" y="269"/>
                </a:cxn>
                <a:cxn ang="0">
                  <a:pos x="166" y="206"/>
                </a:cxn>
                <a:cxn ang="0">
                  <a:pos x="178" y="189"/>
                </a:cxn>
                <a:cxn ang="0">
                  <a:pos x="157" y="185"/>
                </a:cxn>
                <a:cxn ang="0">
                  <a:pos x="157" y="203"/>
                </a:cxn>
                <a:cxn ang="0">
                  <a:pos x="163" y="151"/>
                </a:cxn>
                <a:cxn ang="0">
                  <a:pos x="172" y="138"/>
                </a:cxn>
                <a:cxn ang="0">
                  <a:pos x="167" y="38"/>
                </a:cxn>
                <a:cxn ang="0">
                  <a:pos x="159" y="97"/>
                </a:cxn>
              </a:cxnLst>
              <a:rect l="0" t="0" r="r" b="b"/>
              <a:pathLst>
                <a:path w="340" h="625">
                  <a:moveTo>
                    <a:pt x="163" y="600"/>
                  </a:moveTo>
                  <a:lnTo>
                    <a:pt x="140" y="600"/>
                  </a:lnTo>
                  <a:lnTo>
                    <a:pt x="140" y="607"/>
                  </a:lnTo>
                  <a:lnTo>
                    <a:pt x="163" y="607"/>
                  </a:lnTo>
                  <a:lnTo>
                    <a:pt x="163" y="600"/>
                  </a:lnTo>
                  <a:close/>
                  <a:moveTo>
                    <a:pt x="154" y="432"/>
                  </a:moveTo>
                  <a:lnTo>
                    <a:pt x="154" y="596"/>
                  </a:lnTo>
                  <a:lnTo>
                    <a:pt x="174" y="596"/>
                  </a:lnTo>
                  <a:lnTo>
                    <a:pt x="174" y="432"/>
                  </a:lnTo>
                  <a:lnTo>
                    <a:pt x="154" y="432"/>
                  </a:lnTo>
                  <a:close/>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moveTo>
                    <a:pt x="226" y="218"/>
                  </a:moveTo>
                  <a:lnTo>
                    <a:pt x="216" y="214"/>
                  </a:lnTo>
                  <a:lnTo>
                    <a:pt x="212" y="214"/>
                  </a:lnTo>
                  <a:lnTo>
                    <a:pt x="212" y="216"/>
                  </a:lnTo>
                  <a:lnTo>
                    <a:pt x="214" y="221"/>
                  </a:lnTo>
                  <a:lnTo>
                    <a:pt x="226" y="230"/>
                  </a:lnTo>
                  <a:lnTo>
                    <a:pt x="246" y="244"/>
                  </a:lnTo>
                  <a:lnTo>
                    <a:pt x="269" y="257"/>
                  </a:lnTo>
                  <a:lnTo>
                    <a:pt x="291" y="268"/>
                  </a:lnTo>
                  <a:lnTo>
                    <a:pt x="304" y="274"/>
                  </a:lnTo>
                  <a:lnTo>
                    <a:pt x="309" y="274"/>
                  </a:lnTo>
                  <a:lnTo>
                    <a:pt x="311" y="273"/>
                  </a:lnTo>
                  <a:lnTo>
                    <a:pt x="309" y="268"/>
                  </a:lnTo>
                  <a:lnTo>
                    <a:pt x="305" y="266"/>
                  </a:lnTo>
                  <a:lnTo>
                    <a:pt x="280" y="246"/>
                  </a:lnTo>
                  <a:lnTo>
                    <a:pt x="245" y="226"/>
                  </a:lnTo>
                  <a:lnTo>
                    <a:pt x="226" y="218"/>
                  </a:lnTo>
                  <a:close/>
                  <a:moveTo>
                    <a:pt x="26" y="274"/>
                  </a:moveTo>
                  <a:lnTo>
                    <a:pt x="31" y="274"/>
                  </a:lnTo>
                  <a:lnTo>
                    <a:pt x="43" y="269"/>
                  </a:lnTo>
                  <a:lnTo>
                    <a:pt x="79" y="251"/>
                  </a:lnTo>
                  <a:lnTo>
                    <a:pt x="114" y="227"/>
                  </a:lnTo>
                  <a:lnTo>
                    <a:pt x="124" y="220"/>
                  </a:lnTo>
                  <a:lnTo>
                    <a:pt x="126" y="215"/>
                  </a:lnTo>
                  <a:lnTo>
                    <a:pt x="121" y="215"/>
                  </a:lnTo>
                  <a:lnTo>
                    <a:pt x="109" y="219"/>
                  </a:lnTo>
                  <a:lnTo>
                    <a:pt x="92" y="227"/>
                  </a:lnTo>
                  <a:lnTo>
                    <a:pt x="73" y="238"/>
                  </a:lnTo>
                  <a:lnTo>
                    <a:pt x="38" y="261"/>
                  </a:lnTo>
                  <a:lnTo>
                    <a:pt x="28" y="269"/>
                  </a:lnTo>
                  <a:lnTo>
                    <a:pt x="26" y="274"/>
                  </a:lnTo>
                  <a:close/>
                  <a:moveTo>
                    <a:pt x="157" y="203"/>
                  </a:moveTo>
                  <a:lnTo>
                    <a:pt x="166" y="206"/>
                  </a:lnTo>
                  <a:lnTo>
                    <a:pt x="174" y="203"/>
                  </a:lnTo>
                  <a:lnTo>
                    <a:pt x="179" y="194"/>
                  </a:lnTo>
                  <a:lnTo>
                    <a:pt x="178" y="189"/>
                  </a:lnTo>
                  <a:lnTo>
                    <a:pt x="174" y="185"/>
                  </a:lnTo>
                  <a:lnTo>
                    <a:pt x="166" y="182"/>
                  </a:lnTo>
                  <a:lnTo>
                    <a:pt x="157" y="185"/>
                  </a:lnTo>
                  <a:lnTo>
                    <a:pt x="155" y="194"/>
                  </a:lnTo>
                  <a:lnTo>
                    <a:pt x="155" y="198"/>
                  </a:lnTo>
                  <a:lnTo>
                    <a:pt x="157" y="203"/>
                  </a:lnTo>
                  <a:close/>
                  <a:moveTo>
                    <a:pt x="159" y="97"/>
                  </a:moveTo>
                  <a:lnTo>
                    <a:pt x="161" y="138"/>
                  </a:lnTo>
                  <a:lnTo>
                    <a:pt x="163" y="151"/>
                  </a:lnTo>
                  <a:lnTo>
                    <a:pt x="166" y="156"/>
                  </a:lnTo>
                  <a:lnTo>
                    <a:pt x="169" y="151"/>
                  </a:lnTo>
                  <a:lnTo>
                    <a:pt x="172" y="138"/>
                  </a:lnTo>
                  <a:lnTo>
                    <a:pt x="173" y="97"/>
                  </a:lnTo>
                  <a:lnTo>
                    <a:pt x="172" y="55"/>
                  </a:lnTo>
                  <a:lnTo>
                    <a:pt x="167" y="38"/>
                  </a:lnTo>
                  <a:lnTo>
                    <a:pt x="163" y="43"/>
                  </a:lnTo>
                  <a:lnTo>
                    <a:pt x="161" y="55"/>
                  </a:lnTo>
                  <a:lnTo>
                    <a:pt x="159" y="97"/>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5" name="Rectangle 98"/>
            <p:cNvSpPr>
              <a:spLocks noChangeArrowheads="1"/>
            </p:cNvSpPr>
            <p:nvPr userDrawn="1"/>
          </p:nvSpPr>
          <p:spPr bwMode="auto">
            <a:xfrm>
              <a:off x="7912100" y="6448426"/>
              <a:ext cx="6350" cy="15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6" name="Rectangle 99"/>
            <p:cNvSpPr>
              <a:spLocks noChangeArrowheads="1"/>
            </p:cNvSpPr>
            <p:nvPr userDrawn="1"/>
          </p:nvSpPr>
          <p:spPr bwMode="auto">
            <a:xfrm>
              <a:off x="7916863" y="6394451"/>
              <a:ext cx="6350" cy="52388"/>
            </a:xfrm>
            <a:prstGeom prst="rect">
              <a:avLst/>
            </a:prstGeom>
            <a:solidFill>
              <a:srgbClr val="DEDEDE"/>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7" name="Freeform 100"/>
            <p:cNvSpPr>
              <a:spLocks/>
            </p:cNvSpPr>
            <p:nvPr userDrawn="1"/>
          </p:nvSpPr>
          <p:spPr bwMode="auto">
            <a:xfrm>
              <a:off x="7867650" y="6257926"/>
              <a:ext cx="107950" cy="198438"/>
            </a:xfrm>
            <a:custGeom>
              <a:avLst/>
              <a:gdLst/>
              <a:ahLst/>
              <a:cxnLst>
                <a:cxn ang="0">
                  <a:pos x="304" y="257"/>
                </a:cxn>
                <a:cxn ang="0">
                  <a:pos x="337" y="286"/>
                </a:cxn>
                <a:cxn ang="0">
                  <a:pos x="339" y="295"/>
                </a:cxn>
                <a:cxn ang="0">
                  <a:pos x="332" y="298"/>
                </a:cxn>
                <a:cxn ang="0">
                  <a:pos x="286" y="283"/>
                </a:cxn>
                <a:cxn ang="0">
                  <a:pos x="227" y="250"/>
                </a:cxn>
                <a:cxn ang="0">
                  <a:pos x="187" y="216"/>
                </a:cxn>
                <a:cxn ang="0">
                  <a:pos x="184" y="242"/>
                </a:cxn>
                <a:cxn ang="0">
                  <a:pos x="190" y="424"/>
                </a:cxn>
                <a:cxn ang="0">
                  <a:pos x="195" y="598"/>
                </a:cxn>
                <a:cxn ang="0">
                  <a:pos x="204" y="608"/>
                </a:cxn>
                <a:cxn ang="0">
                  <a:pos x="214" y="625"/>
                </a:cxn>
                <a:cxn ang="0">
                  <a:pos x="130" y="607"/>
                </a:cxn>
                <a:cxn ang="0">
                  <a:pos x="138" y="598"/>
                </a:cxn>
                <a:cxn ang="0">
                  <a:pos x="149" y="424"/>
                </a:cxn>
                <a:cxn ang="0">
                  <a:pos x="161" y="220"/>
                </a:cxn>
                <a:cxn ang="0">
                  <a:pos x="143" y="224"/>
                </a:cxn>
                <a:cxn ang="0">
                  <a:pos x="89" y="262"/>
                </a:cxn>
                <a:cxn ang="0">
                  <a:pos x="30" y="290"/>
                </a:cxn>
                <a:cxn ang="0">
                  <a:pos x="3" y="296"/>
                </a:cxn>
                <a:cxn ang="0">
                  <a:pos x="0" y="290"/>
                </a:cxn>
                <a:cxn ang="0">
                  <a:pos x="8" y="277"/>
                </a:cxn>
                <a:cxn ang="0">
                  <a:pos x="42" y="250"/>
                </a:cxn>
                <a:cxn ang="0">
                  <a:pos x="103" y="214"/>
                </a:cxn>
                <a:cxn ang="0">
                  <a:pos x="148" y="197"/>
                </a:cxn>
                <a:cxn ang="0">
                  <a:pos x="155" y="180"/>
                </a:cxn>
                <a:cxn ang="0">
                  <a:pos x="159" y="161"/>
                </a:cxn>
                <a:cxn ang="0">
                  <a:pos x="155" y="131"/>
                </a:cxn>
                <a:cxn ang="0">
                  <a:pos x="155" y="59"/>
                </a:cxn>
                <a:cxn ang="0">
                  <a:pos x="165" y="7"/>
                </a:cxn>
                <a:cxn ang="0">
                  <a:pos x="172" y="0"/>
                </a:cxn>
                <a:cxn ang="0">
                  <a:pos x="178" y="7"/>
                </a:cxn>
                <a:cxn ang="0">
                  <a:pos x="187" y="59"/>
                </a:cxn>
                <a:cxn ang="0">
                  <a:pos x="187" y="131"/>
                </a:cxn>
                <a:cxn ang="0">
                  <a:pos x="180" y="176"/>
                </a:cxn>
                <a:cxn ang="0">
                  <a:pos x="193" y="189"/>
                </a:cxn>
                <a:cxn ang="0">
                  <a:pos x="196" y="200"/>
                </a:cxn>
                <a:cxn ang="0">
                  <a:pos x="233" y="214"/>
                </a:cxn>
              </a:cxnLst>
              <a:rect l="0" t="0" r="r" b="b"/>
              <a:pathLst>
                <a:path w="340" h="625">
                  <a:moveTo>
                    <a:pt x="269" y="233"/>
                  </a:moveTo>
                  <a:lnTo>
                    <a:pt x="304" y="257"/>
                  </a:lnTo>
                  <a:lnTo>
                    <a:pt x="322" y="270"/>
                  </a:lnTo>
                  <a:lnTo>
                    <a:pt x="337" y="286"/>
                  </a:lnTo>
                  <a:lnTo>
                    <a:pt x="340" y="291"/>
                  </a:lnTo>
                  <a:lnTo>
                    <a:pt x="339" y="295"/>
                  </a:lnTo>
                  <a:lnTo>
                    <a:pt x="337" y="297"/>
                  </a:lnTo>
                  <a:lnTo>
                    <a:pt x="332" y="298"/>
                  </a:lnTo>
                  <a:lnTo>
                    <a:pt x="315" y="295"/>
                  </a:lnTo>
                  <a:lnTo>
                    <a:pt x="286" y="283"/>
                  </a:lnTo>
                  <a:lnTo>
                    <a:pt x="256" y="268"/>
                  </a:lnTo>
                  <a:lnTo>
                    <a:pt x="227" y="250"/>
                  </a:lnTo>
                  <a:lnTo>
                    <a:pt x="205" y="233"/>
                  </a:lnTo>
                  <a:lnTo>
                    <a:pt x="187" y="216"/>
                  </a:lnTo>
                  <a:lnTo>
                    <a:pt x="184" y="219"/>
                  </a:lnTo>
                  <a:lnTo>
                    <a:pt x="184" y="242"/>
                  </a:lnTo>
                  <a:lnTo>
                    <a:pt x="185" y="280"/>
                  </a:lnTo>
                  <a:lnTo>
                    <a:pt x="190" y="424"/>
                  </a:lnTo>
                  <a:lnTo>
                    <a:pt x="195" y="424"/>
                  </a:lnTo>
                  <a:lnTo>
                    <a:pt x="195" y="598"/>
                  </a:lnTo>
                  <a:lnTo>
                    <a:pt x="204" y="598"/>
                  </a:lnTo>
                  <a:lnTo>
                    <a:pt x="204" y="608"/>
                  </a:lnTo>
                  <a:lnTo>
                    <a:pt x="214" y="608"/>
                  </a:lnTo>
                  <a:lnTo>
                    <a:pt x="214" y="625"/>
                  </a:lnTo>
                  <a:lnTo>
                    <a:pt x="130" y="625"/>
                  </a:lnTo>
                  <a:lnTo>
                    <a:pt x="130" y="607"/>
                  </a:lnTo>
                  <a:lnTo>
                    <a:pt x="138" y="607"/>
                  </a:lnTo>
                  <a:lnTo>
                    <a:pt x="138" y="598"/>
                  </a:lnTo>
                  <a:lnTo>
                    <a:pt x="148" y="598"/>
                  </a:lnTo>
                  <a:lnTo>
                    <a:pt x="149" y="424"/>
                  </a:lnTo>
                  <a:lnTo>
                    <a:pt x="154" y="424"/>
                  </a:lnTo>
                  <a:lnTo>
                    <a:pt x="161" y="220"/>
                  </a:lnTo>
                  <a:lnTo>
                    <a:pt x="155" y="214"/>
                  </a:lnTo>
                  <a:lnTo>
                    <a:pt x="143" y="224"/>
                  </a:lnTo>
                  <a:lnTo>
                    <a:pt x="119" y="243"/>
                  </a:lnTo>
                  <a:lnTo>
                    <a:pt x="89" y="262"/>
                  </a:lnTo>
                  <a:lnTo>
                    <a:pt x="57" y="278"/>
                  </a:lnTo>
                  <a:lnTo>
                    <a:pt x="30" y="290"/>
                  </a:lnTo>
                  <a:lnTo>
                    <a:pt x="9" y="296"/>
                  </a:lnTo>
                  <a:lnTo>
                    <a:pt x="3" y="296"/>
                  </a:lnTo>
                  <a:lnTo>
                    <a:pt x="0" y="293"/>
                  </a:lnTo>
                  <a:lnTo>
                    <a:pt x="0" y="290"/>
                  </a:lnTo>
                  <a:lnTo>
                    <a:pt x="2" y="284"/>
                  </a:lnTo>
                  <a:lnTo>
                    <a:pt x="8" y="277"/>
                  </a:lnTo>
                  <a:lnTo>
                    <a:pt x="18" y="269"/>
                  </a:lnTo>
                  <a:lnTo>
                    <a:pt x="42" y="250"/>
                  </a:lnTo>
                  <a:lnTo>
                    <a:pt x="72" y="231"/>
                  </a:lnTo>
                  <a:lnTo>
                    <a:pt x="103" y="214"/>
                  </a:lnTo>
                  <a:lnTo>
                    <a:pt x="131" y="203"/>
                  </a:lnTo>
                  <a:lnTo>
                    <a:pt x="148" y="197"/>
                  </a:lnTo>
                  <a:lnTo>
                    <a:pt x="150" y="189"/>
                  </a:lnTo>
                  <a:lnTo>
                    <a:pt x="155" y="180"/>
                  </a:lnTo>
                  <a:lnTo>
                    <a:pt x="162" y="177"/>
                  </a:lnTo>
                  <a:lnTo>
                    <a:pt x="159" y="161"/>
                  </a:lnTo>
                  <a:lnTo>
                    <a:pt x="156" y="147"/>
                  </a:lnTo>
                  <a:lnTo>
                    <a:pt x="155" y="131"/>
                  </a:lnTo>
                  <a:lnTo>
                    <a:pt x="154" y="95"/>
                  </a:lnTo>
                  <a:lnTo>
                    <a:pt x="155" y="59"/>
                  </a:lnTo>
                  <a:lnTo>
                    <a:pt x="159" y="29"/>
                  </a:lnTo>
                  <a:lnTo>
                    <a:pt x="165" y="7"/>
                  </a:lnTo>
                  <a:lnTo>
                    <a:pt x="168" y="2"/>
                  </a:lnTo>
                  <a:lnTo>
                    <a:pt x="172" y="0"/>
                  </a:lnTo>
                  <a:lnTo>
                    <a:pt x="175" y="2"/>
                  </a:lnTo>
                  <a:lnTo>
                    <a:pt x="178" y="7"/>
                  </a:lnTo>
                  <a:lnTo>
                    <a:pt x="184" y="29"/>
                  </a:lnTo>
                  <a:lnTo>
                    <a:pt x="187" y="59"/>
                  </a:lnTo>
                  <a:lnTo>
                    <a:pt x="189" y="95"/>
                  </a:lnTo>
                  <a:lnTo>
                    <a:pt x="187" y="131"/>
                  </a:lnTo>
                  <a:lnTo>
                    <a:pt x="184" y="161"/>
                  </a:lnTo>
                  <a:lnTo>
                    <a:pt x="180" y="176"/>
                  </a:lnTo>
                  <a:lnTo>
                    <a:pt x="189" y="180"/>
                  </a:lnTo>
                  <a:lnTo>
                    <a:pt x="193" y="189"/>
                  </a:lnTo>
                  <a:lnTo>
                    <a:pt x="196" y="198"/>
                  </a:lnTo>
                  <a:lnTo>
                    <a:pt x="196" y="200"/>
                  </a:lnTo>
                  <a:lnTo>
                    <a:pt x="209" y="204"/>
                  </a:lnTo>
                  <a:lnTo>
                    <a:pt x="233" y="214"/>
                  </a:lnTo>
                  <a:lnTo>
                    <a:pt x="269" y="233"/>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8" name="Freeform 101"/>
            <p:cNvSpPr>
              <a:spLocks/>
            </p:cNvSpPr>
            <p:nvPr userDrawn="1"/>
          </p:nvSpPr>
          <p:spPr bwMode="auto">
            <a:xfrm>
              <a:off x="7934325" y="6326188"/>
              <a:ext cx="31750" cy="19050"/>
            </a:xfrm>
            <a:custGeom>
              <a:avLst/>
              <a:gdLst/>
              <a:ahLst/>
              <a:cxnLst>
                <a:cxn ang="0">
                  <a:pos x="14" y="4"/>
                </a:cxn>
                <a:cxn ang="0">
                  <a:pos x="4" y="0"/>
                </a:cxn>
                <a:cxn ang="0">
                  <a:pos x="0" y="0"/>
                </a:cxn>
                <a:cxn ang="0">
                  <a:pos x="0" y="2"/>
                </a:cxn>
                <a:cxn ang="0">
                  <a:pos x="2" y="7"/>
                </a:cxn>
                <a:cxn ang="0">
                  <a:pos x="14" y="16"/>
                </a:cxn>
                <a:cxn ang="0">
                  <a:pos x="34" y="30"/>
                </a:cxn>
                <a:cxn ang="0">
                  <a:pos x="57" y="43"/>
                </a:cxn>
                <a:cxn ang="0">
                  <a:pos x="79" y="54"/>
                </a:cxn>
                <a:cxn ang="0">
                  <a:pos x="92" y="60"/>
                </a:cxn>
                <a:cxn ang="0">
                  <a:pos x="97" y="60"/>
                </a:cxn>
                <a:cxn ang="0">
                  <a:pos x="99" y="59"/>
                </a:cxn>
                <a:cxn ang="0">
                  <a:pos x="97" y="54"/>
                </a:cxn>
                <a:cxn ang="0">
                  <a:pos x="93" y="52"/>
                </a:cxn>
                <a:cxn ang="0">
                  <a:pos x="68" y="32"/>
                </a:cxn>
                <a:cxn ang="0">
                  <a:pos x="33" y="12"/>
                </a:cxn>
                <a:cxn ang="0">
                  <a:pos x="14" y="4"/>
                </a:cxn>
              </a:cxnLst>
              <a:rect l="0" t="0" r="r" b="b"/>
              <a:pathLst>
                <a:path w="99" h="60">
                  <a:moveTo>
                    <a:pt x="14" y="4"/>
                  </a:moveTo>
                  <a:lnTo>
                    <a:pt x="4" y="0"/>
                  </a:lnTo>
                  <a:lnTo>
                    <a:pt x="0" y="0"/>
                  </a:lnTo>
                  <a:lnTo>
                    <a:pt x="0" y="2"/>
                  </a:lnTo>
                  <a:lnTo>
                    <a:pt x="2" y="7"/>
                  </a:lnTo>
                  <a:lnTo>
                    <a:pt x="14" y="16"/>
                  </a:lnTo>
                  <a:lnTo>
                    <a:pt x="34" y="30"/>
                  </a:lnTo>
                  <a:lnTo>
                    <a:pt x="57" y="43"/>
                  </a:lnTo>
                  <a:lnTo>
                    <a:pt x="79" y="54"/>
                  </a:lnTo>
                  <a:lnTo>
                    <a:pt x="92" y="60"/>
                  </a:lnTo>
                  <a:lnTo>
                    <a:pt x="97" y="60"/>
                  </a:lnTo>
                  <a:lnTo>
                    <a:pt x="99" y="59"/>
                  </a:lnTo>
                  <a:lnTo>
                    <a:pt x="97" y="54"/>
                  </a:lnTo>
                  <a:lnTo>
                    <a:pt x="93" y="52"/>
                  </a:lnTo>
                  <a:lnTo>
                    <a:pt x="68" y="32"/>
                  </a:lnTo>
                  <a:lnTo>
                    <a:pt x="33" y="12"/>
                  </a:lnTo>
                  <a:lnTo>
                    <a:pt x="14" y="4"/>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19" name="Freeform 102"/>
            <p:cNvSpPr>
              <a:spLocks/>
            </p:cNvSpPr>
            <p:nvPr userDrawn="1"/>
          </p:nvSpPr>
          <p:spPr bwMode="auto">
            <a:xfrm>
              <a:off x="7875588" y="6326188"/>
              <a:ext cx="31750" cy="19050"/>
            </a:xfrm>
            <a:custGeom>
              <a:avLst/>
              <a:gdLst/>
              <a:ahLst/>
              <a:cxnLst>
                <a:cxn ang="0">
                  <a:pos x="0" y="59"/>
                </a:cxn>
                <a:cxn ang="0">
                  <a:pos x="5" y="59"/>
                </a:cxn>
                <a:cxn ang="0">
                  <a:pos x="17" y="54"/>
                </a:cxn>
                <a:cxn ang="0">
                  <a:pos x="53" y="36"/>
                </a:cxn>
                <a:cxn ang="0">
                  <a:pos x="88" y="12"/>
                </a:cxn>
                <a:cxn ang="0">
                  <a:pos x="98" y="5"/>
                </a:cxn>
                <a:cxn ang="0">
                  <a:pos x="100" y="0"/>
                </a:cxn>
                <a:cxn ang="0">
                  <a:pos x="95" y="0"/>
                </a:cxn>
                <a:cxn ang="0">
                  <a:pos x="83" y="4"/>
                </a:cxn>
                <a:cxn ang="0">
                  <a:pos x="66" y="12"/>
                </a:cxn>
                <a:cxn ang="0">
                  <a:pos x="47" y="23"/>
                </a:cxn>
                <a:cxn ang="0">
                  <a:pos x="12" y="46"/>
                </a:cxn>
                <a:cxn ang="0">
                  <a:pos x="2" y="54"/>
                </a:cxn>
                <a:cxn ang="0">
                  <a:pos x="0" y="59"/>
                </a:cxn>
              </a:cxnLst>
              <a:rect l="0" t="0" r="r" b="b"/>
              <a:pathLst>
                <a:path w="100" h="59">
                  <a:moveTo>
                    <a:pt x="0" y="59"/>
                  </a:moveTo>
                  <a:lnTo>
                    <a:pt x="5" y="59"/>
                  </a:lnTo>
                  <a:lnTo>
                    <a:pt x="17" y="54"/>
                  </a:lnTo>
                  <a:lnTo>
                    <a:pt x="53" y="36"/>
                  </a:lnTo>
                  <a:lnTo>
                    <a:pt x="88" y="12"/>
                  </a:lnTo>
                  <a:lnTo>
                    <a:pt x="98" y="5"/>
                  </a:lnTo>
                  <a:lnTo>
                    <a:pt x="100" y="0"/>
                  </a:lnTo>
                  <a:lnTo>
                    <a:pt x="95" y="0"/>
                  </a:lnTo>
                  <a:lnTo>
                    <a:pt x="83" y="4"/>
                  </a:lnTo>
                  <a:lnTo>
                    <a:pt x="66" y="12"/>
                  </a:lnTo>
                  <a:lnTo>
                    <a:pt x="47" y="23"/>
                  </a:lnTo>
                  <a:lnTo>
                    <a:pt x="12" y="46"/>
                  </a:lnTo>
                  <a:lnTo>
                    <a:pt x="2" y="54"/>
                  </a:lnTo>
                  <a:lnTo>
                    <a:pt x="0" y="59"/>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0" name="Freeform 103"/>
            <p:cNvSpPr>
              <a:spLocks/>
            </p:cNvSpPr>
            <p:nvPr userDrawn="1"/>
          </p:nvSpPr>
          <p:spPr bwMode="auto">
            <a:xfrm>
              <a:off x="7916863" y="6315076"/>
              <a:ext cx="7938" cy="7938"/>
            </a:xfrm>
            <a:custGeom>
              <a:avLst/>
              <a:gdLst/>
              <a:ahLst/>
              <a:cxnLst>
                <a:cxn ang="0">
                  <a:pos x="2" y="21"/>
                </a:cxn>
                <a:cxn ang="0">
                  <a:pos x="11" y="24"/>
                </a:cxn>
                <a:cxn ang="0">
                  <a:pos x="19" y="21"/>
                </a:cxn>
                <a:cxn ang="0">
                  <a:pos x="24" y="12"/>
                </a:cxn>
                <a:cxn ang="0">
                  <a:pos x="23" y="7"/>
                </a:cxn>
                <a:cxn ang="0">
                  <a:pos x="19" y="3"/>
                </a:cxn>
                <a:cxn ang="0">
                  <a:pos x="11" y="0"/>
                </a:cxn>
                <a:cxn ang="0">
                  <a:pos x="2" y="3"/>
                </a:cxn>
                <a:cxn ang="0">
                  <a:pos x="0" y="12"/>
                </a:cxn>
                <a:cxn ang="0">
                  <a:pos x="0" y="16"/>
                </a:cxn>
                <a:cxn ang="0">
                  <a:pos x="2" y="21"/>
                </a:cxn>
              </a:cxnLst>
              <a:rect l="0" t="0" r="r" b="b"/>
              <a:pathLst>
                <a:path w="24" h="24">
                  <a:moveTo>
                    <a:pt x="2" y="21"/>
                  </a:moveTo>
                  <a:lnTo>
                    <a:pt x="11" y="24"/>
                  </a:lnTo>
                  <a:lnTo>
                    <a:pt x="19" y="21"/>
                  </a:lnTo>
                  <a:lnTo>
                    <a:pt x="24" y="12"/>
                  </a:lnTo>
                  <a:lnTo>
                    <a:pt x="23" y="7"/>
                  </a:lnTo>
                  <a:lnTo>
                    <a:pt x="19" y="3"/>
                  </a:lnTo>
                  <a:lnTo>
                    <a:pt x="11" y="0"/>
                  </a:lnTo>
                  <a:lnTo>
                    <a:pt x="2" y="3"/>
                  </a:lnTo>
                  <a:lnTo>
                    <a:pt x="0" y="12"/>
                  </a:lnTo>
                  <a:lnTo>
                    <a:pt x="0" y="16"/>
                  </a:lnTo>
                  <a:lnTo>
                    <a:pt x="2" y="21"/>
                  </a:lnTo>
                  <a:close/>
                </a:path>
              </a:pathLst>
            </a:custGeom>
            <a:solidFill>
              <a:srgbClr val="DEDEDE"/>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1" name="Freeform 104"/>
            <p:cNvSpPr>
              <a:spLocks/>
            </p:cNvSpPr>
            <p:nvPr userDrawn="1"/>
          </p:nvSpPr>
          <p:spPr bwMode="auto">
            <a:xfrm>
              <a:off x="7918450" y="6269038"/>
              <a:ext cx="3175" cy="38100"/>
            </a:xfrm>
            <a:custGeom>
              <a:avLst/>
              <a:gdLst/>
              <a:ahLst/>
              <a:cxnLst>
                <a:cxn ang="0">
                  <a:pos x="0" y="59"/>
                </a:cxn>
                <a:cxn ang="0">
                  <a:pos x="2" y="100"/>
                </a:cxn>
                <a:cxn ang="0">
                  <a:pos x="4" y="113"/>
                </a:cxn>
                <a:cxn ang="0">
                  <a:pos x="7" y="118"/>
                </a:cxn>
                <a:cxn ang="0">
                  <a:pos x="10" y="113"/>
                </a:cxn>
                <a:cxn ang="0">
                  <a:pos x="13" y="100"/>
                </a:cxn>
                <a:cxn ang="0">
                  <a:pos x="14" y="59"/>
                </a:cxn>
                <a:cxn ang="0">
                  <a:pos x="13" y="17"/>
                </a:cxn>
                <a:cxn ang="0">
                  <a:pos x="8" y="0"/>
                </a:cxn>
                <a:cxn ang="0">
                  <a:pos x="4" y="5"/>
                </a:cxn>
                <a:cxn ang="0">
                  <a:pos x="2" y="17"/>
                </a:cxn>
                <a:cxn ang="0">
                  <a:pos x="0" y="59"/>
                </a:cxn>
              </a:cxnLst>
              <a:rect l="0" t="0" r="r" b="b"/>
              <a:pathLst>
                <a:path w="14" h="118">
                  <a:moveTo>
                    <a:pt x="0" y="59"/>
                  </a:moveTo>
                  <a:lnTo>
                    <a:pt x="2" y="100"/>
                  </a:lnTo>
                  <a:lnTo>
                    <a:pt x="4" y="113"/>
                  </a:lnTo>
                  <a:lnTo>
                    <a:pt x="7" y="118"/>
                  </a:lnTo>
                  <a:lnTo>
                    <a:pt x="10" y="113"/>
                  </a:lnTo>
                  <a:lnTo>
                    <a:pt x="13" y="100"/>
                  </a:lnTo>
                  <a:lnTo>
                    <a:pt x="14" y="59"/>
                  </a:lnTo>
                  <a:lnTo>
                    <a:pt x="13" y="17"/>
                  </a:lnTo>
                  <a:lnTo>
                    <a:pt x="8" y="0"/>
                  </a:lnTo>
                  <a:lnTo>
                    <a:pt x="4" y="5"/>
                  </a:lnTo>
                  <a:lnTo>
                    <a:pt x="2" y="17"/>
                  </a:lnTo>
                  <a:lnTo>
                    <a:pt x="0" y="5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2" name="Freeform 105"/>
            <p:cNvSpPr>
              <a:spLocks noEditPoints="1"/>
            </p:cNvSpPr>
            <p:nvPr userDrawn="1"/>
          </p:nvSpPr>
          <p:spPr bwMode="auto">
            <a:xfrm>
              <a:off x="7807325" y="6242051"/>
              <a:ext cx="131763" cy="244475"/>
            </a:xfrm>
            <a:custGeom>
              <a:avLst/>
              <a:gdLst/>
              <a:ahLst/>
              <a:cxnLst>
                <a:cxn ang="0">
                  <a:pos x="174" y="746"/>
                </a:cxn>
                <a:cxn ang="0">
                  <a:pos x="191" y="530"/>
                </a:cxn>
                <a:cxn ang="0">
                  <a:pos x="216" y="530"/>
                </a:cxn>
                <a:cxn ang="0">
                  <a:pos x="376" y="315"/>
                </a:cxn>
                <a:cxn ang="0">
                  <a:pos x="419" y="357"/>
                </a:cxn>
                <a:cxn ang="0">
                  <a:pos x="409" y="365"/>
                </a:cxn>
                <a:cxn ang="0">
                  <a:pos x="353" y="346"/>
                </a:cxn>
                <a:cxn ang="0">
                  <a:pos x="281" y="306"/>
                </a:cxn>
                <a:cxn ang="0">
                  <a:pos x="227" y="268"/>
                </a:cxn>
                <a:cxn ang="0">
                  <a:pos x="234" y="520"/>
                </a:cxn>
                <a:cxn ang="0">
                  <a:pos x="252" y="734"/>
                </a:cxn>
                <a:cxn ang="0">
                  <a:pos x="265" y="768"/>
                </a:cxn>
                <a:cxn ang="0">
                  <a:pos x="171" y="746"/>
                </a:cxn>
                <a:cxn ang="0">
                  <a:pos x="183" y="520"/>
                </a:cxn>
                <a:cxn ang="0">
                  <a:pos x="192" y="263"/>
                </a:cxn>
                <a:cxn ang="0">
                  <a:pos x="147" y="297"/>
                </a:cxn>
                <a:cxn ang="0">
                  <a:pos x="36" y="356"/>
                </a:cxn>
                <a:cxn ang="0">
                  <a:pos x="0" y="359"/>
                </a:cxn>
                <a:cxn ang="0">
                  <a:pos x="22" y="329"/>
                </a:cxn>
                <a:cxn ang="0">
                  <a:pos x="128" y="263"/>
                </a:cxn>
                <a:cxn ang="0">
                  <a:pos x="185" y="231"/>
                </a:cxn>
                <a:cxn ang="0">
                  <a:pos x="195" y="197"/>
                </a:cxn>
                <a:cxn ang="0">
                  <a:pos x="191" y="71"/>
                </a:cxn>
                <a:cxn ang="0">
                  <a:pos x="207" y="1"/>
                </a:cxn>
                <a:cxn ang="0">
                  <a:pos x="219" y="8"/>
                </a:cxn>
                <a:cxn ang="0">
                  <a:pos x="233" y="115"/>
                </a:cxn>
                <a:cxn ang="0">
                  <a:pos x="222" y="214"/>
                </a:cxn>
                <a:cxn ang="0">
                  <a:pos x="241" y="243"/>
                </a:cxn>
                <a:cxn ang="0">
                  <a:pos x="288" y="262"/>
                </a:cxn>
                <a:cxn ang="0">
                  <a:pos x="280" y="266"/>
                </a:cxn>
                <a:cxn ang="0">
                  <a:pos x="260" y="262"/>
                </a:cxn>
                <a:cxn ang="0">
                  <a:pos x="278" y="282"/>
                </a:cxn>
                <a:cxn ang="0">
                  <a:pos x="358" y="329"/>
                </a:cxn>
                <a:cxn ang="0">
                  <a:pos x="383" y="335"/>
                </a:cxn>
                <a:cxn ang="0">
                  <a:pos x="377" y="326"/>
                </a:cxn>
                <a:cxn ang="0">
                  <a:pos x="303" y="278"/>
                </a:cxn>
                <a:cxn ang="0">
                  <a:pos x="39" y="335"/>
                </a:cxn>
                <a:cxn ang="0">
                  <a:pos x="122" y="293"/>
                </a:cxn>
                <a:cxn ang="0">
                  <a:pos x="156" y="266"/>
                </a:cxn>
                <a:cxn ang="0">
                  <a:pos x="135" y="268"/>
                </a:cxn>
                <a:cxn ang="0">
                  <a:pos x="47" y="320"/>
                </a:cxn>
                <a:cxn ang="0">
                  <a:pos x="33" y="335"/>
                </a:cxn>
                <a:cxn ang="0">
                  <a:pos x="205" y="252"/>
                </a:cxn>
                <a:cxn ang="0">
                  <a:pos x="219" y="243"/>
                </a:cxn>
                <a:cxn ang="0">
                  <a:pos x="216" y="227"/>
                </a:cxn>
                <a:cxn ang="0">
                  <a:pos x="200" y="224"/>
                </a:cxn>
                <a:cxn ang="0">
                  <a:pos x="191" y="238"/>
                </a:cxn>
                <a:cxn ang="0">
                  <a:pos x="195" y="119"/>
                </a:cxn>
                <a:cxn ang="0">
                  <a:pos x="205" y="191"/>
                </a:cxn>
                <a:cxn ang="0">
                  <a:pos x="215" y="119"/>
                </a:cxn>
                <a:cxn ang="0">
                  <a:pos x="206" y="46"/>
                </a:cxn>
                <a:cxn ang="0">
                  <a:pos x="197" y="91"/>
                </a:cxn>
              </a:cxnLst>
              <a:rect l="0" t="0" r="r" b="b"/>
              <a:pathLst>
                <a:path w="419" h="768">
                  <a:moveTo>
                    <a:pt x="203" y="737"/>
                  </a:moveTo>
                  <a:lnTo>
                    <a:pt x="174" y="737"/>
                  </a:lnTo>
                  <a:lnTo>
                    <a:pt x="174" y="746"/>
                  </a:lnTo>
                  <a:lnTo>
                    <a:pt x="203" y="746"/>
                  </a:lnTo>
                  <a:lnTo>
                    <a:pt x="203" y="737"/>
                  </a:lnTo>
                  <a:close/>
                  <a:moveTo>
                    <a:pt x="191" y="530"/>
                  </a:moveTo>
                  <a:lnTo>
                    <a:pt x="189" y="733"/>
                  </a:lnTo>
                  <a:lnTo>
                    <a:pt x="215" y="733"/>
                  </a:lnTo>
                  <a:lnTo>
                    <a:pt x="216" y="530"/>
                  </a:lnTo>
                  <a:lnTo>
                    <a:pt x="191" y="530"/>
                  </a:lnTo>
                  <a:close/>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moveTo>
                    <a:pt x="280" y="266"/>
                  </a:moveTo>
                  <a:lnTo>
                    <a:pt x="268" y="262"/>
                  </a:lnTo>
                  <a:lnTo>
                    <a:pt x="263" y="261"/>
                  </a:lnTo>
                  <a:lnTo>
                    <a:pt x="260" y="262"/>
                  </a:lnTo>
                  <a:lnTo>
                    <a:pt x="260" y="266"/>
                  </a:lnTo>
                  <a:lnTo>
                    <a:pt x="264" y="270"/>
                  </a:lnTo>
                  <a:lnTo>
                    <a:pt x="278" y="282"/>
                  </a:lnTo>
                  <a:lnTo>
                    <a:pt x="305" y="299"/>
                  </a:lnTo>
                  <a:lnTo>
                    <a:pt x="333" y="316"/>
                  </a:lnTo>
                  <a:lnTo>
                    <a:pt x="358" y="329"/>
                  </a:lnTo>
                  <a:lnTo>
                    <a:pt x="375" y="335"/>
                  </a:lnTo>
                  <a:lnTo>
                    <a:pt x="381" y="337"/>
                  </a:lnTo>
                  <a:lnTo>
                    <a:pt x="383" y="335"/>
                  </a:lnTo>
                  <a:lnTo>
                    <a:pt x="383" y="332"/>
                  </a:lnTo>
                  <a:lnTo>
                    <a:pt x="381" y="329"/>
                  </a:lnTo>
                  <a:lnTo>
                    <a:pt x="377" y="326"/>
                  </a:lnTo>
                  <a:lnTo>
                    <a:pt x="362" y="312"/>
                  </a:lnTo>
                  <a:lnTo>
                    <a:pt x="345" y="302"/>
                  </a:lnTo>
                  <a:lnTo>
                    <a:pt x="303" y="278"/>
                  </a:lnTo>
                  <a:lnTo>
                    <a:pt x="280" y="266"/>
                  </a:lnTo>
                  <a:close/>
                  <a:moveTo>
                    <a:pt x="33" y="335"/>
                  </a:moveTo>
                  <a:lnTo>
                    <a:pt x="39" y="335"/>
                  </a:lnTo>
                  <a:lnTo>
                    <a:pt x="55" y="331"/>
                  </a:lnTo>
                  <a:lnTo>
                    <a:pt x="98" y="308"/>
                  </a:lnTo>
                  <a:lnTo>
                    <a:pt x="122" y="293"/>
                  </a:lnTo>
                  <a:lnTo>
                    <a:pt x="141" y="279"/>
                  </a:lnTo>
                  <a:lnTo>
                    <a:pt x="153" y="269"/>
                  </a:lnTo>
                  <a:lnTo>
                    <a:pt x="156" y="266"/>
                  </a:lnTo>
                  <a:lnTo>
                    <a:pt x="156" y="263"/>
                  </a:lnTo>
                  <a:lnTo>
                    <a:pt x="150" y="263"/>
                  </a:lnTo>
                  <a:lnTo>
                    <a:pt x="135" y="268"/>
                  </a:lnTo>
                  <a:lnTo>
                    <a:pt x="114" y="278"/>
                  </a:lnTo>
                  <a:lnTo>
                    <a:pt x="89" y="292"/>
                  </a:lnTo>
                  <a:lnTo>
                    <a:pt x="47" y="320"/>
                  </a:lnTo>
                  <a:lnTo>
                    <a:pt x="35" y="329"/>
                  </a:lnTo>
                  <a:lnTo>
                    <a:pt x="33" y="333"/>
                  </a:lnTo>
                  <a:lnTo>
                    <a:pt x="33" y="335"/>
                  </a:lnTo>
                  <a:close/>
                  <a:moveTo>
                    <a:pt x="195" y="249"/>
                  </a:moveTo>
                  <a:lnTo>
                    <a:pt x="200" y="251"/>
                  </a:lnTo>
                  <a:lnTo>
                    <a:pt x="205" y="252"/>
                  </a:lnTo>
                  <a:lnTo>
                    <a:pt x="211" y="251"/>
                  </a:lnTo>
                  <a:lnTo>
                    <a:pt x="216" y="249"/>
                  </a:lnTo>
                  <a:lnTo>
                    <a:pt x="219" y="243"/>
                  </a:lnTo>
                  <a:lnTo>
                    <a:pt x="221" y="238"/>
                  </a:lnTo>
                  <a:lnTo>
                    <a:pt x="219" y="232"/>
                  </a:lnTo>
                  <a:lnTo>
                    <a:pt x="216" y="227"/>
                  </a:lnTo>
                  <a:lnTo>
                    <a:pt x="211" y="224"/>
                  </a:lnTo>
                  <a:lnTo>
                    <a:pt x="205" y="222"/>
                  </a:lnTo>
                  <a:lnTo>
                    <a:pt x="200" y="224"/>
                  </a:lnTo>
                  <a:lnTo>
                    <a:pt x="195" y="226"/>
                  </a:lnTo>
                  <a:lnTo>
                    <a:pt x="192" y="232"/>
                  </a:lnTo>
                  <a:lnTo>
                    <a:pt x="191" y="238"/>
                  </a:lnTo>
                  <a:lnTo>
                    <a:pt x="192" y="243"/>
                  </a:lnTo>
                  <a:lnTo>
                    <a:pt x="195" y="249"/>
                  </a:lnTo>
                  <a:close/>
                  <a:moveTo>
                    <a:pt x="195" y="119"/>
                  </a:moveTo>
                  <a:lnTo>
                    <a:pt x="199" y="169"/>
                  </a:lnTo>
                  <a:lnTo>
                    <a:pt x="201" y="185"/>
                  </a:lnTo>
                  <a:lnTo>
                    <a:pt x="205" y="191"/>
                  </a:lnTo>
                  <a:lnTo>
                    <a:pt x="209" y="185"/>
                  </a:lnTo>
                  <a:lnTo>
                    <a:pt x="212" y="169"/>
                  </a:lnTo>
                  <a:lnTo>
                    <a:pt x="215" y="119"/>
                  </a:lnTo>
                  <a:lnTo>
                    <a:pt x="212" y="67"/>
                  </a:lnTo>
                  <a:lnTo>
                    <a:pt x="209" y="52"/>
                  </a:lnTo>
                  <a:lnTo>
                    <a:pt x="206" y="46"/>
                  </a:lnTo>
                  <a:lnTo>
                    <a:pt x="201" y="52"/>
                  </a:lnTo>
                  <a:lnTo>
                    <a:pt x="199" y="67"/>
                  </a:lnTo>
                  <a:lnTo>
                    <a:pt x="197" y="91"/>
                  </a:lnTo>
                  <a:lnTo>
                    <a:pt x="195" y="119"/>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3" name="Rectangle 106"/>
            <p:cNvSpPr>
              <a:spLocks noChangeArrowheads="1"/>
            </p:cNvSpPr>
            <p:nvPr userDrawn="1"/>
          </p:nvSpPr>
          <p:spPr bwMode="auto">
            <a:xfrm>
              <a:off x="7861300" y="6477001"/>
              <a:ext cx="9525" cy="1588"/>
            </a:xfrm>
            <a:prstGeom prst="rect">
              <a:avLst/>
            </a:prstGeom>
            <a:solidFill>
              <a:srgbClr val="B4B4B4"/>
            </a:solid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4" name="Freeform 107"/>
            <p:cNvSpPr>
              <a:spLocks/>
            </p:cNvSpPr>
            <p:nvPr userDrawn="1"/>
          </p:nvSpPr>
          <p:spPr bwMode="auto">
            <a:xfrm>
              <a:off x="7866063" y="6410326"/>
              <a:ext cx="9525" cy="65088"/>
            </a:xfrm>
            <a:custGeom>
              <a:avLst/>
              <a:gdLst/>
              <a:ahLst/>
              <a:cxnLst>
                <a:cxn ang="0">
                  <a:pos x="2" y="0"/>
                </a:cxn>
                <a:cxn ang="0">
                  <a:pos x="0" y="203"/>
                </a:cxn>
                <a:cxn ang="0">
                  <a:pos x="26" y="203"/>
                </a:cxn>
                <a:cxn ang="0">
                  <a:pos x="27" y="0"/>
                </a:cxn>
                <a:cxn ang="0">
                  <a:pos x="2" y="0"/>
                </a:cxn>
              </a:cxnLst>
              <a:rect l="0" t="0" r="r" b="b"/>
              <a:pathLst>
                <a:path w="27" h="203">
                  <a:moveTo>
                    <a:pt x="2" y="0"/>
                  </a:moveTo>
                  <a:lnTo>
                    <a:pt x="0" y="203"/>
                  </a:lnTo>
                  <a:lnTo>
                    <a:pt x="26" y="203"/>
                  </a:lnTo>
                  <a:lnTo>
                    <a:pt x="27" y="0"/>
                  </a:lnTo>
                  <a:lnTo>
                    <a:pt x="2" y="0"/>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5" name="Freeform 108"/>
            <p:cNvSpPr>
              <a:spLocks/>
            </p:cNvSpPr>
            <p:nvPr userDrawn="1"/>
          </p:nvSpPr>
          <p:spPr bwMode="auto">
            <a:xfrm>
              <a:off x="7807325" y="6242051"/>
              <a:ext cx="131763" cy="244475"/>
            </a:xfrm>
            <a:custGeom>
              <a:avLst/>
              <a:gdLst/>
              <a:ahLst/>
              <a:cxnLst>
                <a:cxn ang="0">
                  <a:pos x="376" y="315"/>
                </a:cxn>
                <a:cxn ang="0">
                  <a:pos x="416" y="351"/>
                </a:cxn>
                <a:cxn ang="0">
                  <a:pos x="418" y="362"/>
                </a:cxn>
                <a:cxn ang="0">
                  <a:pos x="409" y="365"/>
                </a:cxn>
                <a:cxn ang="0">
                  <a:pos x="388" y="361"/>
                </a:cxn>
                <a:cxn ang="0">
                  <a:pos x="316" y="328"/>
                </a:cxn>
                <a:cxn ang="0">
                  <a:pos x="281" y="306"/>
                </a:cxn>
                <a:cxn ang="0">
                  <a:pos x="232" y="266"/>
                </a:cxn>
                <a:cxn ang="0">
                  <a:pos x="227" y="296"/>
                </a:cxn>
                <a:cxn ang="0">
                  <a:pos x="234" y="520"/>
                </a:cxn>
                <a:cxn ang="0">
                  <a:pos x="240" y="734"/>
                </a:cxn>
                <a:cxn ang="0">
                  <a:pos x="252" y="746"/>
                </a:cxn>
                <a:cxn ang="0">
                  <a:pos x="265" y="768"/>
                </a:cxn>
                <a:cxn ang="0">
                  <a:pos x="160" y="746"/>
                </a:cxn>
                <a:cxn ang="0">
                  <a:pos x="171" y="734"/>
                </a:cxn>
                <a:cxn ang="0">
                  <a:pos x="183" y="520"/>
                </a:cxn>
                <a:cxn ang="0">
                  <a:pos x="199" y="269"/>
                </a:cxn>
                <a:cxn ang="0">
                  <a:pos x="191" y="262"/>
                </a:cxn>
                <a:cxn ang="0">
                  <a:pos x="147" y="297"/>
                </a:cxn>
                <a:cxn ang="0">
                  <a:pos x="71" y="341"/>
                </a:cxn>
                <a:cxn ang="0">
                  <a:pos x="12" y="363"/>
                </a:cxn>
                <a:cxn ang="0">
                  <a:pos x="0" y="359"/>
                </a:cxn>
                <a:cxn ang="0">
                  <a:pos x="4" y="349"/>
                </a:cxn>
                <a:cxn ang="0">
                  <a:pos x="52" y="306"/>
                </a:cxn>
                <a:cxn ang="0">
                  <a:pos x="128" y="263"/>
                </a:cxn>
                <a:cxn ang="0">
                  <a:pos x="183" y="243"/>
                </a:cxn>
                <a:cxn ang="0">
                  <a:pos x="192" y="221"/>
                </a:cxn>
                <a:cxn ang="0">
                  <a:pos x="195" y="197"/>
                </a:cxn>
                <a:cxn ang="0">
                  <a:pos x="189" y="115"/>
                </a:cxn>
                <a:cxn ang="0">
                  <a:pos x="197" y="34"/>
                </a:cxn>
                <a:cxn ang="0">
                  <a:pos x="207" y="1"/>
                </a:cxn>
                <a:cxn ang="0">
                  <a:pos x="216" y="1"/>
                </a:cxn>
                <a:cxn ang="0">
                  <a:pos x="227" y="34"/>
                </a:cxn>
                <a:cxn ang="0">
                  <a:pos x="233" y="115"/>
                </a:cxn>
                <a:cxn ang="0">
                  <a:pos x="227" y="197"/>
                </a:cxn>
                <a:cxn ang="0">
                  <a:pos x="233" y="221"/>
                </a:cxn>
                <a:cxn ang="0">
                  <a:pos x="241" y="243"/>
                </a:cxn>
                <a:cxn ang="0">
                  <a:pos x="259" y="250"/>
                </a:cxn>
                <a:cxn ang="0">
                  <a:pos x="310" y="274"/>
                </a:cxn>
              </a:cxnLst>
              <a:rect l="0" t="0" r="r" b="b"/>
              <a:pathLst>
                <a:path w="419" h="768">
                  <a:moveTo>
                    <a:pt x="331" y="286"/>
                  </a:moveTo>
                  <a:lnTo>
                    <a:pt x="376" y="315"/>
                  </a:lnTo>
                  <a:lnTo>
                    <a:pt x="398" y="332"/>
                  </a:lnTo>
                  <a:lnTo>
                    <a:pt x="416" y="351"/>
                  </a:lnTo>
                  <a:lnTo>
                    <a:pt x="419" y="357"/>
                  </a:lnTo>
                  <a:lnTo>
                    <a:pt x="418" y="362"/>
                  </a:lnTo>
                  <a:lnTo>
                    <a:pt x="416" y="364"/>
                  </a:lnTo>
                  <a:lnTo>
                    <a:pt x="409" y="365"/>
                  </a:lnTo>
                  <a:lnTo>
                    <a:pt x="400" y="364"/>
                  </a:lnTo>
                  <a:lnTo>
                    <a:pt x="388" y="361"/>
                  </a:lnTo>
                  <a:lnTo>
                    <a:pt x="353" y="346"/>
                  </a:lnTo>
                  <a:lnTo>
                    <a:pt x="316" y="328"/>
                  </a:lnTo>
                  <a:lnTo>
                    <a:pt x="298" y="318"/>
                  </a:lnTo>
                  <a:lnTo>
                    <a:pt x="281" y="306"/>
                  </a:lnTo>
                  <a:lnTo>
                    <a:pt x="253" y="286"/>
                  </a:lnTo>
                  <a:lnTo>
                    <a:pt x="232" y="266"/>
                  </a:lnTo>
                  <a:lnTo>
                    <a:pt x="227" y="268"/>
                  </a:lnTo>
                  <a:lnTo>
                    <a:pt x="227" y="296"/>
                  </a:lnTo>
                  <a:lnTo>
                    <a:pt x="228" y="344"/>
                  </a:lnTo>
                  <a:lnTo>
                    <a:pt x="234" y="520"/>
                  </a:lnTo>
                  <a:lnTo>
                    <a:pt x="240" y="520"/>
                  </a:lnTo>
                  <a:lnTo>
                    <a:pt x="240" y="734"/>
                  </a:lnTo>
                  <a:lnTo>
                    <a:pt x="252" y="734"/>
                  </a:lnTo>
                  <a:lnTo>
                    <a:pt x="252" y="746"/>
                  </a:lnTo>
                  <a:lnTo>
                    <a:pt x="265" y="746"/>
                  </a:lnTo>
                  <a:lnTo>
                    <a:pt x="265" y="768"/>
                  </a:lnTo>
                  <a:lnTo>
                    <a:pt x="160" y="768"/>
                  </a:lnTo>
                  <a:lnTo>
                    <a:pt x="160" y="746"/>
                  </a:lnTo>
                  <a:lnTo>
                    <a:pt x="171" y="746"/>
                  </a:lnTo>
                  <a:lnTo>
                    <a:pt x="171" y="734"/>
                  </a:lnTo>
                  <a:lnTo>
                    <a:pt x="183" y="734"/>
                  </a:lnTo>
                  <a:lnTo>
                    <a:pt x="183" y="520"/>
                  </a:lnTo>
                  <a:lnTo>
                    <a:pt x="191" y="520"/>
                  </a:lnTo>
                  <a:lnTo>
                    <a:pt x="199" y="269"/>
                  </a:lnTo>
                  <a:lnTo>
                    <a:pt x="192" y="263"/>
                  </a:lnTo>
                  <a:lnTo>
                    <a:pt x="191" y="262"/>
                  </a:lnTo>
                  <a:lnTo>
                    <a:pt x="176" y="274"/>
                  </a:lnTo>
                  <a:lnTo>
                    <a:pt x="147" y="297"/>
                  </a:lnTo>
                  <a:lnTo>
                    <a:pt x="110" y="321"/>
                  </a:lnTo>
                  <a:lnTo>
                    <a:pt x="71" y="341"/>
                  </a:lnTo>
                  <a:lnTo>
                    <a:pt x="36" y="356"/>
                  </a:lnTo>
                  <a:lnTo>
                    <a:pt x="12" y="363"/>
                  </a:lnTo>
                  <a:lnTo>
                    <a:pt x="5" y="362"/>
                  </a:lnTo>
                  <a:lnTo>
                    <a:pt x="0" y="359"/>
                  </a:lnTo>
                  <a:lnTo>
                    <a:pt x="0" y="355"/>
                  </a:lnTo>
                  <a:lnTo>
                    <a:pt x="4" y="349"/>
                  </a:lnTo>
                  <a:lnTo>
                    <a:pt x="22" y="329"/>
                  </a:lnTo>
                  <a:lnTo>
                    <a:pt x="52" y="306"/>
                  </a:lnTo>
                  <a:lnTo>
                    <a:pt x="88" y="284"/>
                  </a:lnTo>
                  <a:lnTo>
                    <a:pt x="128" y="263"/>
                  </a:lnTo>
                  <a:lnTo>
                    <a:pt x="162" y="249"/>
                  </a:lnTo>
                  <a:lnTo>
                    <a:pt x="183" y="243"/>
                  </a:lnTo>
                  <a:lnTo>
                    <a:pt x="185" y="231"/>
                  </a:lnTo>
                  <a:lnTo>
                    <a:pt x="192" y="221"/>
                  </a:lnTo>
                  <a:lnTo>
                    <a:pt x="200" y="215"/>
                  </a:lnTo>
                  <a:lnTo>
                    <a:pt x="195" y="197"/>
                  </a:lnTo>
                  <a:lnTo>
                    <a:pt x="191" y="160"/>
                  </a:lnTo>
                  <a:lnTo>
                    <a:pt x="189" y="115"/>
                  </a:lnTo>
                  <a:lnTo>
                    <a:pt x="191" y="71"/>
                  </a:lnTo>
                  <a:lnTo>
                    <a:pt x="197" y="34"/>
                  </a:lnTo>
                  <a:lnTo>
                    <a:pt x="204" y="8"/>
                  </a:lnTo>
                  <a:lnTo>
                    <a:pt x="207" y="1"/>
                  </a:lnTo>
                  <a:lnTo>
                    <a:pt x="212" y="0"/>
                  </a:lnTo>
                  <a:lnTo>
                    <a:pt x="216" y="1"/>
                  </a:lnTo>
                  <a:lnTo>
                    <a:pt x="219" y="8"/>
                  </a:lnTo>
                  <a:lnTo>
                    <a:pt x="227" y="34"/>
                  </a:lnTo>
                  <a:lnTo>
                    <a:pt x="232" y="71"/>
                  </a:lnTo>
                  <a:lnTo>
                    <a:pt x="233" y="115"/>
                  </a:lnTo>
                  <a:lnTo>
                    <a:pt x="232" y="160"/>
                  </a:lnTo>
                  <a:lnTo>
                    <a:pt x="227" y="197"/>
                  </a:lnTo>
                  <a:lnTo>
                    <a:pt x="222" y="214"/>
                  </a:lnTo>
                  <a:lnTo>
                    <a:pt x="233" y="221"/>
                  </a:lnTo>
                  <a:lnTo>
                    <a:pt x="239" y="231"/>
                  </a:lnTo>
                  <a:lnTo>
                    <a:pt x="241" y="243"/>
                  </a:lnTo>
                  <a:lnTo>
                    <a:pt x="241" y="245"/>
                  </a:lnTo>
                  <a:lnTo>
                    <a:pt x="259" y="250"/>
                  </a:lnTo>
                  <a:lnTo>
                    <a:pt x="288" y="262"/>
                  </a:lnTo>
                  <a:lnTo>
                    <a:pt x="310" y="274"/>
                  </a:lnTo>
                  <a:lnTo>
                    <a:pt x="331" y="286"/>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6" name="Freeform 109"/>
            <p:cNvSpPr>
              <a:spLocks/>
            </p:cNvSpPr>
            <p:nvPr userDrawn="1"/>
          </p:nvSpPr>
          <p:spPr bwMode="auto">
            <a:xfrm>
              <a:off x="7889875" y="6324601"/>
              <a:ext cx="38100" cy="25400"/>
            </a:xfrm>
            <a:custGeom>
              <a:avLst/>
              <a:gdLst/>
              <a:ahLst/>
              <a:cxnLst>
                <a:cxn ang="0">
                  <a:pos x="20" y="5"/>
                </a:cxn>
                <a:cxn ang="0">
                  <a:pos x="8" y="1"/>
                </a:cxn>
                <a:cxn ang="0">
                  <a:pos x="3" y="0"/>
                </a:cxn>
                <a:cxn ang="0">
                  <a:pos x="0" y="1"/>
                </a:cxn>
                <a:cxn ang="0">
                  <a:pos x="0" y="5"/>
                </a:cxn>
                <a:cxn ang="0">
                  <a:pos x="4" y="9"/>
                </a:cxn>
                <a:cxn ang="0">
                  <a:pos x="18" y="21"/>
                </a:cxn>
                <a:cxn ang="0">
                  <a:pos x="45" y="38"/>
                </a:cxn>
                <a:cxn ang="0">
                  <a:pos x="73" y="55"/>
                </a:cxn>
                <a:cxn ang="0">
                  <a:pos x="98" y="68"/>
                </a:cxn>
                <a:cxn ang="0">
                  <a:pos x="115" y="74"/>
                </a:cxn>
                <a:cxn ang="0">
                  <a:pos x="121" y="76"/>
                </a:cxn>
                <a:cxn ang="0">
                  <a:pos x="123" y="74"/>
                </a:cxn>
                <a:cxn ang="0">
                  <a:pos x="123" y="71"/>
                </a:cxn>
                <a:cxn ang="0">
                  <a:pos x="121" y="68"/>
                </a:cxn>
                <a:cxn ang="0">
                  <a:pos x="117" y="65"/>
                </a:cxn>
                <a:cxn ang="0">
                  <a:pos x="102" y="51"/>
                </a:cxn>
                <a:cxn ang="0">
                  <a:pos x="85" y="41"/>
                </a:cxn>
                <a:cxn ang="0">
                  <a:pos x="43" y="17"/>
                </a:cxn>
                <a:cxn ang="0">
                  <a:pos x="20" y="5"/>
                </a:cxn>
              </a:cxnLst>
              <a:rect l="0" t="0" r="r" b="b"/>
              <a:pathLst>
                <a:path w="123" h="76">
                  <a:moveTo>
                    <a:pt x="20" y="5"/>
                  </a:moveTo>
                  <a:lnTo>
                    <a:pt x="8" y="1"/>
                  </a:lnTo>
                  <a:lnTo>
                    <a:pt x="3" y="0"/>
                  </a:lnTo>
                  <a:lnTo>
                    <a:pt x="0" y="1"/>
                  </a:lnTo>
                  <a:lnTo>
                    <a:pt x="0" y="5"/>
                  </a:lnTo>
                  <a:lnTo>
                    <a:pt x="4" y="9"/>
                  </a:lnTo>
                  <a:lnTo>
                    <a:pt x="18" y="21"/>
                  </a:lnTo>
                  <a:lnTo>
                    <a:pt x="45" y="38"/>
                  </a:lnTo>
                  <a:lnTo>
                    <a:pt x="73" y="55"/>
                  </a:lnTo>
                  <a:lnTo>
                    <a:pt x="98" y="68"/>
                  </a:lnTo>
                  <a:lnTo>
                    <a:pt x="115" y="74"/>
                  </a:lnTo>
                  <a:lnTo>
                    <a:pt x="121" y="76"/>
                  </a:lnTo>
                  <a:lnTo>
                    <a:pt x="123" y="74"/>
                  </a:lnTo>
                  <a:lnTo>
                    <a:pt x="123" y="71"/>
                  </a:lnTo>
                  <a:lnTo>
                    <a:pt x="121" y="68"/>
                  </a:lnTo>
                  <a:lnTo>
                    <a:pt x="117" y="65"/>
                  </a:lnTo>
                  <a:lnTo>
                    <a:pt x="102" y="51"/>
                  </a:lnTo>
                  <a:lnTo>
                    <a:pt x="85" y="41"/>
                  </a:lnTo>
                  <a:lnTo>
                    <a:pt x="43" y="17"/>
                  </a:lnTo>
                  <a:lnTo>
                    <a:pt x="20" y="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7" name="Freeform 110"/>
            <p:cNvSpPr>
              <a:spLocks/>
            </p:cNvSpPr>
            <p:nvPr userDrawn="1"/>
          </p:nvSpPr>
          <p:spPr bwMode="auto">
            <a:xfrm>
              <a:off x="7816850" y="6326188"/>
              <a:ext cx="39688" cy="22225"/>
            </a:xfrm>
            <a:custGeom>
              <a:avLst/>
              <a:gdLst/>
              <a:ahLst/>
              <a:cxnLst>
                <a:cxn ang="0">
                  <a:pos x="0" y="72"/>
                </a:cxn>
                <a:cxn ang="0">
                  <a:pos x="6" y="72"/>
                </a:cxn>
                <a:cxn ang="0">
                  <a:pos x="22" y="68"/>
                </a:cxn>
                <a:cxn ang="0">
                  <a:pos x="65" y="45"/>
                </a:cxn>
                <a:cxn ang="0">
                  <a:pos x="89" y="30"/>
                </a:cxn>
                <a:cxn ang="0">
                  <a:pos x="108" y="16"/>
                </a:cxn>
                <a:cxn ang="0">
                  <a:pos x="120" y="6"/>
                </a:cxn>
                <a:cxn ang="0">
                  <a:pos x="123" y="3"/>
                </a:cxn>
                <a:cxn ang="0">
                  <a:pos x="123" y="0"/>
                </a:cxn>
                <a:cxn ang="0">
                  <a:pos x="117" y="0"/>
                </a:cxn>
                <a:cxn ang="0">
                  <a:pos x="102" y="5"/>
                </a:cxn>
                <a:cxn ang="0">
                  <a:pos x="81" y="15"/>
                </a:cxn>
                <a:cxn ang="0">
                  <a:pos x="56" y="29"/>
                </a:cxn>
                <a:cxn ang="0">
                  <a:pos x="14" y="57"/>
                </a:cxn>
                <a:cxn ang="0">
                  <a:pos x="2" y="66"/>
                </a:cxn>
                <a:cxn ang="0">
                  <a:pos x="0" y="70"/>
                </a:cxn>
                <a:cxn ang="0">
                  <a:pos x="0" y="72"/>
                </a:cxn>
              </a:cxnLst>
              <a:rect l="0" t="0" r="r" b="b"/>
              <a:pathLst>
                <a:path w="123" h="72">
                  <a:moveTo>
                    <a:pt x="0" y="72"/>
                  </a:moveTo>
                  <a:lnTo>
                    <a:pt x="6" y="72"/>
                  </a:lnTo>
                  <a:lnTo>
                    <a:pt x="22" y="68"/>
                  </a:lnTo>
                  <a:lnTo>
                    <a:pt x="65" y="45"/>
                  </a:lnTo>
                  <a:lnTo>
                    <a:pt x="89" y="30"/>
                  </a:lnTo>
                  <a:lnTo>
                    <a:pt x="108" y="16"/>
                  </a:lnTo>
                  <a:lnTo>
                    <a:pt x="120" y="6"/>
                  </a:lnTo>
                  <a:lnTo>
                    <a:pt x="123" y="3"/>
                  </a:lnTo>
                  <a:lnTo>
                    <a:pt x="123" y="0"/>
                  </a:lnTo>
                  <a:lnTo>
                    <a:pt x="117" y="0"/>
                  </a:lnTo>
                  <a:lnTo>
                    <a:pt x="102" y="5"/>
                  </a:lnTo>
                  <a:lnTo>
                    <a:pt x="81" y="15"/>
                  </a:lnTo>
                  <a:lnTo>
                    <a:pt x="56" y="29"/>
                  </a:lnTo>
                  <a:lnTo>
                    <a:pt x="14" y="57"/>
                  </a:lnTo>
                  <a:lnTo>
                    <a:pt x="2" y="66"/>
                  </a:lnTo>
                  <a:lnTo>
                    <a:pt x="0" y="70"/>
                  </a:lnTo>
                  <a:lnTo>
                    <a:pt x="0" y="72"/>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8" name="Freeform 111"/>
            <p:cNvSpPr>
              <a:spLocks/>
            </p:cNvSpPr>
            <p:nvPr userDrawn="1"/>
          </p:nvSpPr>
          <p:spPr bwMode="auto">
            <a:xfrm>
              <a:off x="7867650" y="6313488"/>
              <a:ext cx="9525" cy="9525"/>
            </a:xfrm>
            <a:custGeom>
              <a:avLst/>
              <a:gdLst/>
              <a:ahLst/>
              <a:cxnLst>
                <a:cxn ang="0">
                  <a:pos x="4" y="27"/>
                </a:cxn>
                <a:cxn ang="0">
                  <a:pos x="9" y="29"/>
                </a:cxn>
                <a:cxn ang="0">
                  <a:pos x="14" y="30"/>
                </a:cxn>
                <a:cxn ang="0">
                  <a:pos x="20" y="29"/>
                </a:cxn>
                <a:cxn ang="0">
                  <a:pos x="25" y="27"/>
                </a:cxn>
                <a:cxn ang="0">
                  <a:pos x="28" y="21"/>
                </a:cxn>
                <a:cxn ang="0">
                  <a:pos x="30" y="16"/>
                </a:cxn>
                <a:cxn ang="0">
                  <a:pos x="28" y="10"/>
                </a:cxn>
                <a:cxn ang="0">
                  <a:pos x="25" y="5"/>
                </a:cxn>
                <a:cxn ang="0">
                  <a:pos x="20" y="2"/>
                </a:cxn>
                <a:cxn ang="0">
                  <a:pos x="14" y="0"/>
                </a:cxn>
                <a:cxn ang="0">
                  <a:pos x="9" y="2"/>
                </a:cxn>
                <a:cxn ang="0">
                  <a:pos x="4" y="4"/>
                </a:cxn>
                <a:cxn ang="0">
                  <a:pos x="1" y="10"/>
                </a:cxn>
                <a:cxn ang="0">
                  <a:pos x="0" y="16"/>
                </a:cxn>
                <a:cxn ang="0">
                  <a:pos x="1" y="21"/>
                </a:cxn>
                <a:cxn ang="0">
                  <a:pos x="4" y="27"/>
                </a:cxn>
              </a:cxnLst>
              <a:rect l="0" t="0" r="r" b="b"/>
              <a:pathLst>
                <a:path w="30" h="30">
                  <a:moveTo>
                    <a:pt x="4" y="27"/>
                  </a:moveTo>
                  <a:lnTo>
                    <a:pt x="9" y="29"/>
                  </a:lnTo>
                  <a:lnTo>
                    <a:pt x="14" y="30"/>
                  </a:lnTo>
                  <a:lnTo>
                    <a:pt x="20" y="29"/>
                  </a:lnTo>
                  <a:lnTo>
                    <a:pt x="25" y="27"/>
                  </a:lnTo>
                  <a:lnTo>
                    <a:pt x="28" y="21"/>
                  </a:lnTo>
                  <a:lnTo>
                    <a:pt x="30" y="16"/>
                  </a:lnTo>
                  <a:lnTo>
                    <a:pt x="28" y="10"/>
                  </a:lnTo>
                  <a:lnTo>
                    <a:pt x="25" y="5"/>
                  </a:lnTo>
                  <a:lnTo>
                    <a:pt x="20" y="2"/>
                  </a:lnTo>
                  <a:lnTo>
                    <a:pt x="14" y="0"/>
                  </a:lnTo>
                  <a:lnTo>
                    <a:pt x="9" y="2"/>
                  </a:lnTo>
                  <a:lnTo>
                    <a:pt x="4" y="4"/>
                  </a:lnTo>
                  <a:lnTo>
                    <a:pt x="1" y="10"/>
                  </a:lnTo>
                  <a:lnTo>
                    <a:pt x="0" y="16"/>
                  </a:lnTo>
                  <a:lnTo>
                    <a:pt x="1" y="21"/>
                  </a:lnTo>
                  <a:lnTo>
                    <a:pt x="4" y="27"/>
                  </a:lnTo>
                  <a:close/>
                </a:path>
              </a:pathLst>
            </a:custGeom>
            <a:solidFill>
              <a:srgbClr val="B4B4B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sp>
          <p:nvSpPr>
            <p:cNvPr id="529" name="Freeform 112"/>
            <p:cNvSpPr>
              <a:spLocks/>
            </p:cNvSpPr>
            <p:nvPr userDrawn="1"/>
          </p:nvSpPr>
          <p:spPr bwMode="auto">
            <a:xfrm>
              <a:off x="7869238" y="6256338"/>
              <a:ext cx="6350" cy="46038"/>
            </a:xfrm>
            <a:custGeom>
              <a:avLst/>
              <a:gdLst/>
              <a:ahLst/>
              <a:cxnLst>
                <a:cxn ang="0">
                  <a:pos x="0" y="73"/>
                </a:cxn>
                <a:cxn ang="0">
                  <a:pos x="4" y="123"/>
                </a:cxn>
                <a:cxn ang="0">
                  <a:pos x="6" y="139"/>
                </a:cxn>
                <a:cxn ang="0">
                  <a:pos x="10" y="145"/>
                </a:cxn>
                <a:cxn ang="0">
                  <a:pos x="14" y="139"/>
                </a:cxn>
                <a:cxn ang="0">
                  <a:pos x="17" y="123"/>
                </a:cxn>
                <a:cxn ang="0">
                  <a:pos x="20" y="73"/>
                </a:cxn>
                <a:cxn ang="0">
                  <a:pos x="17" y="21"/>
                </a:cxn>
                <a:cxn ang="0">
                  <a:pos x="14" y="6"/>
                </a:cxn>
                <a:cxn ang="0">
                  <a:pos x="11" y="0"/>
                </a:cxn>
                <a:cxn ang="0">
                  <a:pos x="6" y="6"/>
                </a:cxn>
                <a:cxn ang="0">
                  <a:pos x="4" y="21"/>
                </a:cxn>
                <a:cxn ang="0">
                  <a:pos x="2" y="45"/>
                </a:cxn>
                <a:cxn ang="0">
                  <a:pos x="0" y="73"/>
                </a:cxn>
              </a:cxnLst>
              <a:rect l="0" t="0" r="r" b="b"/>
              <a:pathLst>
                <a:path w="20" h="145">
                  <a:moveTo>
                    <a:pt x="0" y="73"/>
                  </a:moveTo>
                  <a:lnTo>
                    <a:pt x="4" y="123"/>
                  </a:lnTo>
                  <a:lnTo>
                    <a:pt x="6" y="139"/>
                  </a:lnTo>
                  <a:lnTo>
                    <a:pt x="10" y="145"/>
                  </a:lnTo>
                  <a:lnTo>
                    <a:pt x="14" y="139"/>
                  </a:lnTo>
                  <a:lnTo>
                    <a:pt x="17" y="123"/>
                  </a:lnTo>
                  <a:lnTo>
                    <a:pt x="20" y="73"/>
                  </a:lnTo>
                  <a:lnTo>
                    <a:pt x="17" y="21"/>
                  </a:lnTo>
                  <a:lnTo>
                    <a:pt x="14" y="6"/>
                  </a:lnTo>
                  <a:lnTo>
                    <a:pt x="11" y="0"/>
                  </a:lnTo>
                  <a:lnTo>
                    <a:pt x="6" y="6"/>
                  </a:lnTo>
                  <a:lnTo>
                    <a:pt x="4" y="21"/>
                  </a:lnTo>
                  <a:lnTo>
                    <a:pt x="2" y="45"/>
                  </a:lnTo>
                  <a:lnTo>
                    <a:pt x="0" y="73"/>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u="sng">
                <a:solidFill>
                  <a:srgbClr val="3F3F3F"/>
                </a:solidFill>
                <a:latin typeface="Arial" charset="0"/>
                <a:cs typeface="Arial" charset="0"/>
              </a:endParaRPr>
            </a:p>
          </p:txBody>
        </p:sp>
      </p:grpSp>
    </p:spTree>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Lst>
  <p:hf hdr="0" ftr="0" dt="0"/>
  <p:txStyles>
    <p:titleStyle>
      <a:lvl1pPr algn="l" defTabSz="914400" rtl="0" eaLnBrk="1" latinLnBrk="0" hangingPunct="1">
        <a:lnSpc>
          <a:spcPct val="80000"/>
        </a:lnSpc>
        <a:spcBef>
          <a:spcPct val="0"/>
        </a:spcBef>
        <a:spcAft>
          <a:spcPts val="0"/>
        </a:spcAft>
        <a:buNone/>
        <a:defRPr sz="2400" b="1"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lang="en-US" sz="2400" b="1" u="none" kern="1200" dirty="0" smtClean="0">
          <a:solidFill>
            <a:schemeClr val="tx1"/>
          </a:solidFill>
          <a:latin typeface="Calibri" pitchFamily="34" charset="0"/>
          <a:ea typeface="+mn-ea"/>
          <a:cs typeface="Arial" charset="0"/>
        </a:defRPr>
      </a:lvl1pPr>
      <a:lvl2pPr marL="347472" indent="-285750" algn="l" defTabSz="914400" rtl="0" eaLnBrk="1" latinLnBrk="0" hangingPunct="1">
        <a:spcBef>
          <a:spcPct val="20000"/>
        </a:spcBef>
        <a:buClr>
          <a:schemeClr val="tx1"/>
        </a:buClr>
        <a:buFont typeface="Arial" pitchFamily="34" charset="0"/>
        <a:buChar char="•"/>
        <a:defRPr lang="en-US" sz="2400" b="1" u="none" kern="1200" dirty="0" smtClean="0">
          <a:solidFill>
            <a:schemeClr val="tx1"/>
          </a:solidFill>
          <a:latin typeface="Calibri" pitchFamily="34" charset="0"/>
          <a:ea typeface="+mn-ea"/>
          <a:cs typeface="Arial" charset="0"/>
        </a:defRPr>
      </a:lvl2pPr>
      <a:lvl3pPr marL="740664" indent="-228600" algn="l" defTabSz="914400" rtl="0" eaLnBrk="1" latinLnBrk="0" hangingPunct="1">
        <a:spcBef>
          <a:spcPct val="20000"/>
        </a:spcBef>
        <a:buClr>
          <a:schemeClr val="tx1"/>
        </a:buClr>
        <a:buFont typeface="Arial" pitchFamily="34" charset="0"/>
        <a:buChar char="•"/>
        <a:defRPr sz="2400" kern="1200">
          <a:solidFill>
            <a:schemeClr val="tx1"/>
          </a:solidFill>
          <a:latin typeface="+mn-lt"/>
          <a:ea typeface="+mn-ea"/>
          <a:cs typeface="+mn-cs"/>
        </a:defRPr>
      </a:lvl3pPr>
      <a:lvl4pPr marL="11430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4pPr>
      <a:lvl5pPr marL="1600200" indent="-228600" algn="l" defTabSz="914400" rtl="0" eaLnBrk="1" latinLnBrk="0" hangingPunct="1">
        <a:spcBef>
          <a:spcPct val="200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99842" name="Rectangle 2"/>
          <p:cNvSpPr>
            <a:spLocks noGrp="1" noChangeArrowheads="1"/>
          </p:cNvSpPr>
          <p:nvPr>
            <p:ph type="title"/>
          </p:nvPr>
        </p:nvSpPr>
        <p:spPr bwMode="auto">
          <a:xfrm>
            <a:off x="468313" y="188913"/>
            <a:ext cx="8207375" cy="7191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TITLE 1 (FONT 24 – CAPS – BLACK)</a:t>
            </a:r>
            <a:br>
              <a:rPr lang="en-US" smtClean="0"/>
            </a:br>
            <a:r>
              <a:rPr lang="en-US" smtClean="0"/>
              <a:t>Title 2 (Font 18 – Black - Bold)</a:t>
            </a:r>
          </a:p>
        </p:txBody>
      </p:sp>
      <p:sp>
        <p:nvSpPr>
          <p:cNvPr id="1699843" name="Rectangle 3"/>
          <p:cNvSpPr>
            <a:spLocks noGrp="1" noChangeArrowheads="1"/>
          </p:cNvSpPr>
          <p:nvPr>
            <p:ph type="body" idx="1"/>
          </p:nvPr>
        </p:nvSpPr>
        <p:spPr bwMode="auto">
          <a:xfrm>
            <a:off x="468313" y="1268413"/>
            <a:ext cx="8207375" cy="49688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699844" name="Picture 4" descr="L FULL C ESPANOL-Ajpg"/>
          <p:cNvPicPr>
            <a:picLocks noChangeAspect="1" noChangeArrowheads="1"/>
          </p:cNvPicPr>
          <p:nvPr/>
        </p:nvPicPr>
        <p:blipFill>
          <a:blip r:embed="rId13" cstate="print"/>
          <a:srcRect/>
          <a:stretch>
            <a:fillRect/>
          </a:stretch>
        </p:blipFill>
        <p:spPr bwMode="auto">
          <a:xfrm>
            <a:off x="4238625" y="6597650"/>
            <a:ext cx="666750" cy="180975"/>
          </a:xfrm>
          <a:prstGeom prst="rect">
            <a:avLst/>
          </a:prstGeom>
          <a:noFill/>
        </p:spPr>
      </p:pic>
      <p:sp>
        <p:nvSpPr>
          <p:cNvPr id="7" name="Footer Placeholder 4"/>
          <p:cNvSpPr txBox="1">
            <a:spLocks/>
          </p:cNvSpPr>
          <p:nvPr/>
        </p:nvSpPr>
        <p:spPr>
          <a:xfrm>
            <a:off x="-6350" y="6597650"/>
            <a:ext cx="2897188" cy="268288"/>
          </a:xfrm>
          <a:prstGeom prst="rect">
            <a:avLst/>
          </a:prstGeom>
        </p:spPr>
        <p:txBody>
          <a:bodyPr anchor="b"/>
          <a:lstStyle/>
          <a:p>
            <a:pPr>
              <a:spcBef>
                <a:spcPct val="0"/>
              </a:spcBef>
              <a:defRPr/>
            </a:pPr>
            <a:r>
              <a:rPr lang="en-US" sz="600" dirty="0">
                <a:solidFill>
                  <a:srgbClr val="000000"/>
                </a:solidFill>
                <a:cs typeface="Arial" pitchFamily="34" charset="0"/>
              </a:rPr>
              <a:t>Copyright © 2009 CEMEX Research Group, AG</a:t>
            </a:r>
          </a:p>
        </p:txBody>
      </p:sp>
      <p:sp>
        <p:nvSpPr>
          <p:cNvPr id="8" name="Text Box 5"/>
          <p:cNvSpPr txBox="1">
            <a:spLocks noChangeArrowheads="1"/>
          </p:cNvSpPr>
          <p:nvPr/>
        </p:nvSpPr>
        <p:spPr bwMode="auto">
          <a:xfrm>
            <a:off x="8763000" y="6651625"/>
            <a:ext cx="311150" cy="152400"/>
          </a:xfrm>
          <a:prstGeom prst="rect">
            <a:avLst/>
          </a:prstGeom>
          <a:noFill/>
          <a:ln w="9525">
            <a:noFill/>
            <a:miter lim="800000"/>
            <a:headEnd/>
            <a:tailEnd/>
          </a:ln>
          <a:effectLst/>
        </p:spPr>
        <p:txBody>
          <a:bodyPr wrap="none" lIns="0" tIns="0" rIns="0" bIns="0" anchor="b">
            <a:spAutoFit/>
          </a:bodyPr>
          <a:lstStyle/>
          <a:p>
            <a:pPr algn="ctr">
              <a:spcBef>
                <a:spcPct val="0"/>
              </a:spcBef>
              <a:defRPr/>
            </a:pPr>
            <a:r>
              <a:rPr lang="en-US" sz="1000" dirty="0">
                <a:solidFill>
                  <a:srgbClr val="000000"/>
                </a:solidFill>
                <a:cs typeface="Arial" pitchFamily="34" charset="0"/>
              </a:rPr>
              <a:t>- </a:t>
            </a:r>
            <a:fld id="{4D7450CA-B9BF-4A4D-BDFB-BC63DBF6649C}" type="slidenum">
              <a:rPr lang="en-US" sz="1000">
                <a:solidFill>
                  <a:srgbClr val="000000"/>
                </a:solidFill>
                <a:cs typeface="Arial" pitchFamily="34" charset="0"/>
              </a:rPr>
              <a:pPr algn="ctr">
                <a:spcBef>
                  <a:spcPct val="0"/>
                </a:spcBef>
                <a:defRPr/>
              </a:pPr>
              <a:t>‹#›</a:t>
            </a:fld>
            <a:r>
              <a:rPr lang="en-US" sz="1000" dirty="0">
                <a:solidFill>
                  <a:srgbClr val="000000"/>
                </a:solidFill>
                <a:cs typeface="Arial" pitchFamily="34" charset="0"/>
              </a:rPr>
              <a:t> -</a:t>
            </a:r>
          </a:p>
        </p:txBody>
      </p:sp>
    </p:spTree>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Lst>
  <p:txStyles>
    <p:titleStyle>
      <a:lvl1pPr algn="ctr" rtl="0" fontAlgn="base">
        <a:spcBef>
          <a:spcPct val="0"/>
        </a:spcBef>
        <a:spcAft>
          <a:spcPct val="0"/>
        </a:spcAft>
        <a:defRPr sz="2400" b="1">
          <a:solidFill>
            <a:srgbClr val="000000"/>
          </a:solidFill>
          <a:latin typeface="+mj-lt"/>
          <a:ea typeface="+mj-ea"/>
          <a:cs typeface="+mj-cs"/>
        </a:defRPr>
      </a:lvl1pPr>
      <a:lvl2pPr algn="ctr" rtl="0" fontAlgn="base">
        <a:spcBef>
          <a:spcPct val="0"/>
        </a:spcBef>
        <a:spcAft>
          <a:spcPct val="0"/>
        </a:spcAft>
        <a:defRPr sz="2400" b="1">
          <a:solidFill>
            <a:srgbClr val="000000"/>
          </a:solidFill>
          <a:latin typeface="Arial" charset="0"/>
          <a:cs typeface="Arial" charset="0"/>
        </a:defRPr>
      </a:lvl2pPr>
      <a:lvl3pPr algn="ctr" rtl="0" fontAlgn="base">
        <a:spcBef>
          <a:spcPct val="0"/>
        </a:spcBef>
        <a:spcAft>
          <a:spcPct val="0"/>
        </a:spcAft>
        <a:defRPr sz="2400" b="1">
          <a:solidFill>
            <a:srgbClr val="000000"/>
          </a:solidFill>
          <a:latin typeface="Arial" charset="0"/>
          <a:cs typeface="Arial" charset="0"/>
        </a:defRPr>
      </a:lvl3pPr>
      <a:lvl4pPr algn="ctr" rtl="0" fontAlgn="base">
        <a:spcBef>
          <a:spcPct val="0"/>
        </a:spcBef>
        <a:spcAft>
          <a:spcPct val="0"/>
        </a:spcAft>
        <a:defRPr sz="2400" b="1">
          <a:solidFill>
            <a:srgbClr val="000000"/>
          </a:solidFill>
          <a:latin typeface="Arial" charset="0"/>
          <a:cs typeface="Arial" charset="0"/>
        </a:defRPr>
      </a:lvl4pPr>
      <a:lvl5pPr algn="ctr" rtl="0" fontAlgn="base">
        <a:spcBef>
          <a:spcPct val="0"/>
        </a:spcBef>
        <a:spcAft>
          <a:spcPct val="0"/>
        </a:spcAft>
        <a:defRPr sz="2400" b="1">
          <a:solidFill>
            <a:srgbClr val="000000"/>
          </a:solidFill>
          <a:latin typeface="Arial" charset="0"/>
          <a:cs typeface="Arial" charset="0"/>
        </a:defRPr>
      </a:lvl5pPr>
      <a:lvl6pPr marL="457200" algn="ctr" rtl="0" fontAlgn="base">
        <a:spcBef>
          <a:spcPct val="0"/>
        </a:spcBef>
        <a:spcAft>
          <a:spcPct val="0"/>
        </a:spcAft>
        <a:defRPr sz="2400" b="1">
          <a:solidFill>
            <a:srgbClr val="000000"/>
          </a:solidFill>
          <a:latin typeface="Arial" charset="0"/>
          <a:cs typeface="Arial" charset="0"/>
        </a:defRPr>
      </a:lvl6pPr>
      <a:lvl7pPr marL="914400" algn="ctr" rtl="0" fontAlgn="base">
        <a:spcBef>
          <a:spcPct val="0"/>
        </a:spcBef>
        <a:spcAft>
          <a:spcPct val="0"/>
        </a:spcAft>
        <a:defRPr sz="2400" b="1">
          <a:solidFill>
            <a:srgbClr val="000000"/>
          </a:solidFill>
          <a:latin typeface="Arial" charset="0"/>
          <a:cs typeface="Arial" charset="0"/>
        </a:defRPr>
      </a:lvl7pPr>
      <a:lvl8pPr marL="1371600" algn="ctr" rtl="0" fontAlgn="base">
        <a:spcBef>
          <a:spcPct val="0"/>
        </a:spcBef>
        <a:spcAft>
          <a:spcPct val="0"/>
        </a:spcAft>
        <a:defRPr sz="2400" b="1">
          <a:solidFill>
            <a:srgbClr val="000000"/>
          </a:solidFill>
          <a:latin typeface="Arial" charset="0"/>
          <a:cs typeface="Arial" charset="0"/>
        </a:defRPr>
      </a:lvl8pPr>
      <a:lvl9pPr marL="1828800" algn="ctr" rtl="0" fontAlgn="base">
        <a:spcBef>
          <a:spcPct val="0"/>
        </a:spcBef>
        <a:spcAft>
          <a:spcPct val="0"/>
        </a:spcAft>
        <a:defRPr sz="2400" b="1">
          <a:solidFill>
            <a:srgbClr val="000000"/>
          </a:solidFill>
          <a:latin typeface="Arial" charset="0"/>
          <a:cs typeface="Arial" charset="0"/>
        </a:defRPr>
      </a:lvl9pPr>
    </p:titleStyle>
    <p:bodyStyle>
      <a:lvl1pPr algn="l" rtl="0" fontAlgn="base">
        <a:spcBef>
          <a:spcPct val="20000"/>
        </a:spcBef>
        <a:spcAft>
          <a:spcPct val="0"/>
        </a:spcAft>
        <a:buClr>
          <a:srgbClr val="3D6E81"/>
        </a:buClr>
        <a:defRPr sz="1600" b="1">
          <a:solidFill>
            <a:schemeClr val="tx1"/>
          </a:solidFill>
          <a:latin typeface="+mn-lt"/>
          <a:ea typeface="+mn-ea"/>
          <a:cs typeface="+mn-cs"/>
        </a:defRPr>
      </a:lvl1pPr>
      <a:lvl2pPr marL="355600" indent="-176213" algn="l" rtl="0" fontAlgn="base">
        <a:spcBef>
          <a:spcPct val="20000"/>
        </a:spcBef>
        <a:spcAft>
          <a:spcPct val="0"/>
        </a:spcAft>
        <a:buClr>
          <a:srgbClr val="577C96"/>
        </a:buClr>
        <a:buChar char="•"/>
        <a:defRPr sz="1600">
          <a:solidFill>
            <a:schemeClr val="tx1"/>
          </a:solidFill>
          <a:latin typeface="+mn-lt"/>
        </a:defRPr>
      </a:lvl2pPr>
      <a:lvl3pPr marL="723900" indent="-188913" algn="l" rtl="0" fontAlgn="base">
        <a:spcBef>
          <a:spcPct val="20000"/>
        </a:spcBef>
        <a:spcAft>
          <a:spcPct val="0"/>
        </a:spcAft>
        <a:buClr>
          <a:schemeClr val="tx1"/>
        </a:buClr>
        <a:buFont typeface="Arial" charset="0"/>
        <a:buChar char="–"/>
        <a:defRPr sz="1600">
          <a:solidFill>
            <a:schemeClr val="tx1"/>
          </a:solidFill>
          <a:latin typeface="+mn-lt"/>
        </a:defRPr>
      </a:lvl3pPr>
      <a:lvl4pPr marL="1079500" indent="-176213" algn="l" rtl="0" fontAlgn="base">
        <a:spcBef>
          <a:spcPct val="20000"/>
        </a:spcBef>
        <a:spcAft>
          <a:spcPct val="0"/>
        </a:spcAft>
        <a:buClr>
          <a:srgbClr val="577C96"/>
        </a:buClr>
        <a:buChar char="•"/>
        <a:defRPr sz="1400">
          <a:solidFill>
            <a:schemeClr val="tx1"/>
          </a:solidFill>
          <a:latin typeface="+mn-lt"/>
        </a:defRPr>
      </a:lvl4pPr>
      <a:lvl5pPr marL="1441450" indent="-176213" algn="l" rtl="0" fontAlgn="base">
        <a:spcBef>
          <a:spcPct val="20000"/>
        </a:spcBef>
        <a:spcAft>
          <a:spcPct val="0"/>
        </a:spcAft>
        <a:buClr>
          <a:srgbClr val="3D6E81"/>
        </a:buClr>
        <a:buFont typeface="Arial" charset="0"/>
        <a:buChar char="»"/>
        <a:defRPr sz="1400">
          <a:solidFill>
            <a:schemeClr val="tx1"/>
          </a:solidFill>
          <a:latin typeface="+mn-lt"/>
        </a:defRPr>
      </a:lvl5pPr>
      <a:lvl6pPr marL="1898650" indent="-176213" algn="l" rtl="0" fontAlgn="base">
        <a:spcBef>
          <a:spcPct val="20000"/>
        </a:spcBef>
        <a:spcAft>
          <a:spcPct val="0"/>
        </a:spcAft>
        <a:buClr>
          <a:srgbClr val="3D6E81"/>
        </a:buClr>
        <a:buFont typeface="Arial" charset="0"/>
        <a:buChar char="»"/>
        <a:defRPr sz="1400">
          <a:solidFill>
            <a:schemeClr val="tx1"/>
          </a:solidFill>
          <a:latin typeface="+mn-lt"/>
        </a:defRPr>
      </a:lvl6pPr>
      <a:lvl7pPr marL="2355850" indent="-176213" algn="l" rtl="0" fontAlgn="base">
        <a:spcBef>
          <a:spcPct val="20000"/>
        </a:spcBef>
        <a:spcAft>
          <a:spcPct val="0"/>
        </a:spcAft>
        <a:buClr>
          <a:srgbClr val="3D6E81"/>
        </a:buClr>
        <a:buFont typeface="Arial" charset="0"/>
        <a:buChar char="»"/>
        <a:defRPr sz="1400">
          <a:solidFill>
            <a:schemeClr val="tx1"/>
          </a:solidFill>
          <a:latin typeface="+mn-lt"/>
        </a:defRPr>
      </a:lvl7pPr>
      <a:lvl8pPr marL="2813050" indent="-176213" algn="l" rtl="0" fontAlgn="base">
        <a:spcBef>
          <a:spcPct val="20000"/>
        </a:spcBef>
        <a:spcAft>
          <a:spcPct val="0"/>
        </a:spcAft>
        <a:buClr>
          <a:srgbClr val="3D6E81"/>
        </a:buClr>
        <a:buFont typeface="Arial" charset="0"/>
        <a:buChar char="»"/>
        <a:defRPr sz="1400">
          <a:solidFill>
            <a:schemeClr val="tx1"/>
          </a:solidFill>
          <a:latin typeface="+mn-lt"/>
        </a:defRPr>
      </a:lvl8pPr>
      <a:lvl9pPr marL="3270250" indent="-176213" algn="l" rtl="0" fontAlgn="base">
        <a:spcBef>
          <a:spcPct val="20000"/>
        </a:spcBef>
        <a:spcAft>
          <a:spcPct val="0"/>
        </a:spcAft>
        <a:buClr>
          <a:srgbClr val="3D6E81"/>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le 1"/>
          <p:cNvSpPr>
            <a:spLocks noGrp="1"/>
          </p:cNvSpPr>
          <p:nvPr>
            <p:ph type="title"/>
          </p:nvPr>
        </p:nvSpPr>
        <p:spPr>
          <a:xfrm>
            <a:off x="229810" y="66675"/>
            <a:ext cx="8374638" cy="488950"/>
          </a:xfrm>
        </p:spPr>
        <p:txBody>
          <a:bodyPr/>
          <a:lstStyle/>
          <a:p>
            <a:r>
              <a:rPr lang="en-GB" dirty="0" smtClean="0"/>
              <a:t>Mobile Phone Use While Driving </a:t>
            </a:r>
          </a:p>
        </p:txBody>
      </p:sp>
      <p:sp>
        <p:nvSpPr>
          <p:cNvPr id="102403" name="Content Placeholder 2"/>
          <p:cNvSpPr>
            <a:spLocks noGrp="1"/>
          </p:cNvSpPr>
          <p:nvPr>
            <p:ph idx="1"/>
          </p:nvPr>
        </p:nvSpPr>
        <p:spPr>
          <a:xfrm>
            <a:off x="323548" y="619125"/>
            <a:ext cx="8496905" cy="5867400"/>
          </a:xfrm>
        </p:spPr>
        <p:txBody>
          <a:bodyPr/>
          <a:lstStyle/>
          <a:p>
            <a:pPr>
              <a:buFontTx/>
              <a:buNone/>
            </a:pPr>
            <a:endParaRPr lang="en-US" sz="800" dirty="0" smtClean="0"/>
          </a:p>
          <a:p>
            <a:pPr>
              <a:buFontTx/>
              <a:buNone/>
            </a:pPr>
            <a:r>
              <a:rPr lang="en-US" dirty="0" smtClean="0"/>
              <a:t>Global Standard – Minimum Requirements</a:t>
            </a:r>
          </a:p>
          <a:p>
            <a:pPr>
              <a:buFontTx/>
              <a:buNone/>
            </a:pPr>
            <a:endParaRPr lang="en-US" sz="200" dirty="0" smtClean="0"/>
          </a:p>
          <a:p>
            <a:pPr>
              <a:buFontTx/>
              <a:buNone/>
            </a:pPr>
            <a:r>
              <a:rPr lang="en-US" sz="1400" dirty="0" smtClean="0"/>
              <a:t>    </a:t>
            </a:r>
            <a:r>
              <a:rPr lang="en-US" sz="1200" dirty="0" smtClean="0"/>
              <a:t>As a first principle, all drivers must avoid phone use while driving unless it is absolutely necessary. In situations when there is an absolute need to use the phone while driving, the following are the minimum conditions that must be followed:</a:t>
            </a:r>
          </a:p>
          <a:p>
            <a:pPr>
              <a:buFontTx/>
              <a:buNone/>
            </a:pPr>
            <a:endParaRPr lang="en-US" sz="800" dirty="0" smtClean="0"/>
          </a:p>
          <a:p>
            <a:pPr marL="228600" indent="-228600">
              <a:buFont typeface="+mj-lt"/>
              <a:buAutoNum type="arabicPeriod"/>
            </a:pPr>
            <a:r>
              <a:rPr lang="en-US" sz="1200" dirty="0" smtClean="0"/>
              <a:t>A Hands Free device must be used. It shall be correctly mounted in a safe place or consist of an integrated vehicle system. Head/earphones are not permitted, but a secure single ear blue tooth device is allowed.</a:t>
            </a:r>
          </a:p>
          <a:p>
            <a:pPr marL="228600" indent="-228600">
              <a:buFont typeface="+mj-lt"/>
              <a:buAutoNum type="arabicPeriod"/>
            </a:pPr>
            <a:endParaRPr lang="en-US" sz="200" dirty="0" smtClean="0"/>
          </a:p>
          <a:p>
            <a:pPr marL="228600" indent="-228600">
              <a:buFont typeface="+mj-lt"/>
              <a:buAutoNum type="arabicPeriod"/>
            </a:pPr>
            <a:r>
              <a:rPr lang="en-US" sz="1200" dirty="0" smtClean="0"/>
              <a:t>Only use when driving in non congested conditions and when safe to do so after assessing and continuing to assess the overall situation, which includes other traffic, pedestrians, visibility and the weather/elements at the time  </a:t>
            </a:r>
          </a:p>
          <a:p>
            <a:pPr marL="228600" indent="-228600">
              <a:buFont typeface="+mj-lt"/>
              <a:buAutoNum type="arabicPeriod"/>
            </a:pPr>
            <a:endParaRPr lang="en-US" sz="200" dirty="0" smtClean="0"/>
          </a:p>
          <a:p>
            <a:pPr marL="228600" indent="-228600">
              <a:buFont typeface="+mj-lt"/>
              <a:buAutoNum type="arabicPeriod"/>
            </a:pPr>
            <a:r>
              <a:rPr lang="en-US" sz="1200" dirty="0" smtClean="0"/>
              <a:t>All conversations must be kept to a minimum. If a conversation is unlikely to be short, the caller must be told they will be contacted as soon as the driver has found a safe place to park</a:t>
            </a:r>
          </a:p>
          <a:p>
            <a:pPr marL="228600" indent="-228600">
              <a:buFont typeface="+mj-lt"/>
              <a:buAutoNum type="arabicPeriod"/>
            </a:pPr>
            <a:endParaRPr lang="en-US" sz="200" dirty="0" smtClean="0"/>
          </a:p>
          <a:p>
            <a:pPr marL="228600" indent="-228600">
              <a:buFont typeface="+mj-lt"/>
              <a:buAutoNum type="arabicPeriod"/>
            </a:pPr>
            <a:r>
              <a:rPr lang="en-US" sz="1200" dirty="0" smtClean="0"/>
              <a:t>When out going calls are permitted, the driver can only initiate the call via voice activation or an integrated vehicle system which allows the driver to keep their hands on the steering wheel and their eyes on the road</a:t>
            </a:r>
          </a:p>
          <a:p>
            <a:pPr marL="228600" indent="-228600">
              <a:buFont typeface="+mj-lt"/>
              <a:buAutoNum type="arabicPeriod"/>
            </a:pPr>
            <a:r>
              <a:rPr lang="en-US" sz="1200" dirty="0" smtClean="0"/>
              <a:t>Texting, emailing and any other hands-on use of mobile devices are banned</a:t>
            </a:r>
          </a:p>
          <a:p>
            <a:pPr marL="228600" indent="-228600">
              <a:buFont typeface="+mj-lt"/>
              <a:buAutoNum type="arabicPeriod"/>
            </a:pPr>
            <a:endParaRPr lang="en-US" sz="200" dirty="0" smtClean="0"/>
          </a:p>
          <a:p>
            <a:pPr marL="228600" indent="-228600">
              <a:buFont typeface="+mj-lt"/>
              <a:buAutoNum type="arabicPeriod"/>
            </a:pPr>
            <a:r>
              <a:rPr lang="en-US" sz="1200" dirty="0" smtClean="0"/>
              <a:t>If the phone or another device is used for satellite navigation purposes, it must be mounted in a fixed device where it can be easily seen while keeping a good view of the road, it must not obstruct the driver’s view and cannot be held in the hand.  It is not allowed to manipulate the device while driving. </a:t>
            </a:r>
          </a:p>
          <a:p>
            <a:pPr marL="228600" indent="-228600">
              <a:buNone/>
            </a:pPr>
            <a:endParaRPr lang="en-US" sz="800" dirty="0" smtClean="0"/>
          </a:p>
          <a:p>
            <a:pPr marL="228600" indent="-228600">
              <a:buNone/>
            </a:pPr>
            <a:r>
              <a:rPr lang="en-US" sz="1200" dirty="0" smtClean="0"/>
              <a:t>      Anyone phoning a mobile phone, must first ask the person if it is safe to take the call.</a:t>
            </a:r>
          </a:p>
          <a:p>
            <a:pPr>
              <a:buFontTx/>
              <a:buNone/>
            </a:pPr>
            <a:endParaRPr lang="en-US" sz="800" dirty="0" smtClean="0"/>
          </a:p>
          <a:p>
            <a:pPr>
              <a:buFontTx/>
              <a:buNone/>
            </a:pPr>
            <a:endParaRPr lang="en-US" sz="200" dirty="0" smtClean="0"/>
          </a:p>
          <a:p>
            <a:pPr>
              <a:buFontTx/>
              <a:buNone/>
            </a:pPr>
            <a:r>
              <a:rPr lang="en-US" dirty="0" smtClean="0"/>
              <a:t>Additional Requirements</a:t>
            </a:r>
          </a:p>
          <a:p>
            <a:pPr>
              <a:buFontTx/>
              <a:buNone/>
            </a:pPr>
            <a:endParaRPr lang="en-US" sz="200" dirty="0" smtClean="0"/>
          </a:p>
          <a:p>
            <a:r>
              <a:rPr lang="en-US" sz="1200" dirty="0" smtClean="0"/>
              <a:t>Each country will raise awareness with drivers, about the risks associated with mobile phone use, through training courses and communication campaigns </a:t>
            </a:r>
          </a:p>
          <a:p>
            <a:pPr>
              <a:buNone/>
            </a:pPr>
            <a:endParaRPr lang="en-US" sz="200" dirty="0" smtClean="0"/>
          </a:p>
          <a:p>
            <a:r>
              <a:rPr lang="en-US" sz="1200" dirty="0" smtClean="0"/>
              <a:t>Each country must identify ongoing</a:t>
            </a:r>
            <a:r>
              <a:rPr lang="en-US" sz="1200" dirty="0" smtClean="0">
                <a:solidFill>
                  <a:srgbClr val="3333FF"/>
                </a:solidFill>
              </a:rPr>
              <a:t> </a:t>
            </a:r>
            <a:r>
              <a:rPr lang="en-US" sz="1200" dirty="0" smtClean="0"/>
              <a:t>opportunities to significantly reduce the amount of occasions and time people need to use the phone while driving</a:t>
            </a:r>
          </a:p>
          <a:p>
            <a:endParaRPr lang="en-US" sz="1800"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N0KFmKdEO8cTBP6diK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gA94wvYXkuOXL.RGFDzQQ"/>
</p:tagLst>
</file>

<file path=ppt/theme/theme1.xml><?xml version="1.0" encoding="utf-8"?>
<a:theme xmlns:a="http://schemas.openxmlformats.org/drawingml/2006/main" name="2_P&amp;IT Template 2009">
  <a:themeElements>
    <a:clrScheme name="">
      <a:dk1>
        <a:srgbClr val="000000"/>
      </a:dk1>
      <a:lt1>
        <a:srgbClr val="FFFFFF"/>
      </a:lt1>
      <a:dk2>
        <a:srgbClr val="595959"/>
      </a:dk2>
      <a:lt2>
        <a:srgbClr val="D8D8D8"/>
      </a:lt2>
      <a:accent1>
        <a:srgbClr val="17557B"/>
      </a:accent1>
      <a:accent2>
        <a:srgbClr val="79A2B3"/>
      </a:accent2>
      <a:accent3>
        <a:srgbClr val="FFFFFF"/>
      </a:accent3>
      <a:accent4>
        <a:srgbClr val="000000"/>
      </a:accent4>
      <a:accent5>
        <a:srgbClr val="ABB4BF"/>
      </a:accent5>
      <a:accent6>
        <a:srgbClr val="6D92A2"/>
      </a:accent6>
      <a:hlink>
        <a:srgbClr val="000000"/>
      </a:hlink>
      <a:folHlink>
        <a:srgbClr val="000000"/>
      </a:folHlink>
    </a:clrScheme>
    <a:fontScheme name="1_P&amp;IT Template 2009">
      <a:majorFont>
        <a:latin typeface="Arial"/>
        <a:ea typeface=""/>
        <a:cs typeface="Arial"/>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179388" algn="l" defTabSz="914400" rtl="0" eaLnBrk="1" fontAlgn="base" latinLnBrk="0" hangingPunct="1">
          <a:lnSpc>
            <a:spcPct val="100000"/>
          </a:lnSpc>
          <a:spcBef>
            <a:spcPct val="2000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ea typeface="굴림" charset="-127"/>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179388" algn="l" defTabSz="914400" rtl="0" eaLnBrk="1" fontAlgn="base" latinLnBrk="0" hangingPunct="1">
          <a:lnSpc>
            <a:spcPct val="100000"/>
          </a:lnSpc>
          <a:spcBef>
            <a:spcPct val="2000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ea typeface="굴림" charset="-127"/>
            <a:cs typeface="Arial" charset="0"/>
          </a:defRPr>
        </a:defPPr>
      </a:lstStyle>
    </a:lnDef>
  </a:objectDefaults>
  <a:extraClrSchemeLst>
    <a:extraClrScheme>
      <a:clrScheme name="1_P&amp;IT Template 200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P&amp;IT Template 200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P&amp;IT Template 200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P&amp;IT Template 200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P&amp;IT Template 200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P&amp;IT Template 200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P&amp;IT Template 200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P&amp;IT Template 200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P&amp;IT Template 200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P&amp;IT Template 200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P&amp;IT Template 200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P&amp;IT Template 200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P&amp;IT Template 2009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3D6E81"/>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P&amp;IT Template 2009">
  <a:themeElements>
    <a:clrScheme name="">
      <a:dk1>
        <a:srgbClr val="000000"/>
      </a:dk1>
      <a:lt1>
        <a:srgbClr val="FFFFFF"/>
      </a:lt1>
      <a:dk2>
        <a:srgbClr val="595959"/>
      </a:dk2>
      <a:lt2>
        <a:srgbClr val="D8D8D8"/>
      </a:lt2>
      <a:accent1>
        <a:srgbClr val="17557B"/>
      </a:accent1>
      <a:accent2>
        <a:srgbClr val="79A2B3"/>
      </a:accent2>
      <a:accent3>
        <a:srgbClr val="FFFFFF"/>
      </a:accent3>
      <a:accent4>
        <a:srgbClr val="000000"/>
      </a:accent4>
      <a:accent5>
        <a:srgbClr val="ABB4BF"/>
      </a:accent5>
      <a:accent6>
        <a:srgbClr val="6D92A2"/>
      </a:accent6>
      <a:hlink>
        <a:srgbClr val="000000"/>
      </a:hlink>
      <a:folHlink>
        <a:srgbClr val="000000"/>
      </a:folHlink>
    </a:clrScheme>
    <a:fontScheme name="1_P&amp;IT Template 2009">
      <a:majorFont>
        <a:latin typeface="Arial"/>
        <a:ea typeface=""/>
        <a:cs typeface="Arial"/>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179388" algn="l" defTabSz="914400" rtl="0" eaLnBrk="1" fontAlgn="base" latinLnBrk="0" hangingPunct="1">
          <a:lnSpc>
            <a:spcPct val="100000"/>
          </a:lnSpc>
          <a:spcBef>
            <a:spcPct val="2000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ea typeface="굴림" charset="-127"/>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179388" algn="l" defTabSz="914400" rtl="0" eaLnBrk="1" fontAlgn="base" latinLnBrk="0" hangingPunct="1">
          <a:lnSpc>
            <a:spcPct val="100000"/>
          </a:lnSpc>
          <a:spcBef>
            <a:spcPct val="2000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ea typeface="굴림" charset="-127"/>
            <a:cs typeface="Arial" charset="0"/>
          </a:defRPr>
        </a:defPPr>
      </a:lstStyle>
    </a:lnDef>
  </a:objectDefaults>
  <a:extraClrSchemeLst>
    <a:extraClrScheme>
      <a:clrScheme name="1_P&amp;IT Template 200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P&amp;IT Template 200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P&amp;IT Template 200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P&amp;IT Template 200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P&amp;IT Template 200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P&amp;IT Template 200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P&amp;IT Template 200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P&amp;IT Template 200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P&amp;IT Template 200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P&amp;IT Template 200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P&amp;IT Template 200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P&amp;IT Template 200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P&amp;IT Template 2009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3D6E81"/>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2_CPlaWhite">
  <a:themeElements>
    <a:clrScheme name="Budget">
      <a:dk1>
        <a:srgbClr val="17365D"/>
      </a:dk1>
      <a:lt1>
        <a:srgbClr val="FFFFFF"/>
      </a:lt1>
      <a:dk2>
        <a:srgbClr val="49617B"/>
      </a:dk2>
      <a:lt2>
        <a:srgbClr val="E1E1EA"/>
      </a:lt2>
      <a:accent1>
        <a:srgbClr val="16355A"/>
      </a:accent1>
      <a:accent2>
        <a:srgbClr val="2B5A89"/>
      </a:accent2>
      <a:accent3>
        <a:srgbClr val="3E7AC2"/>
      </a:accent3>
      <a:accent4>
        <a:srgbClr val="90ADD8"/>
      </a:accent4>
      <a:accent5>
        <a:srgbClr val="C6D4EC"/>
      </a:accent5>
      <a:accent6>
        <a:srgbClr val="EAEAEA"/>
      </a:accent6>
      <a:hlink>
        <a:srgbClr val="0000FF"/>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bg1">
              <a:lumMod val="90000"/>
            </a:schemeClr>
          </a:solidFill>
          <a:prstDash val="solid"/>
          <a:round/>
          <a:headEnd type="none" w="med" len="med"/>
          <a:tailEnd type="none" w="med" len="med"/>
        </a:ln>
        <a:effectLst/>
      </a:spPr>
      <a:bodyPr vert="horz" wrap="square" lIns="100584" tIns="45720" rIns="100584"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500" b="0" i="0" u="none" strike="noStrike" cap="none" normalizeH="0" baseline="0" dirty="0" smtClean="0">
            <a:ln>
              <a:noFill/>
            </a:ln>
            <a:solidFill>
              <a:schemeClr val="tx2"/>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100584" tIns="45720" rIns="100584"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2"/>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PlaWhite">
  <a:themeElements>
    <a:clrScheme name="Budget">
      <a:dk1>
        <a:srgbClr val="17365D"/>
      </a:dk1>
      <a:lt1>
        <a:srgbClr val="FFFFFF"/>
      </a:lt1>
      <a:dk2>
        <a:srgbClr val="49617B"/>
      </a:dk2>
      <a:lt2>
        <a:srgbClr val="E1E1EA"/>
      </a:lt2>
      <a:accent1>
        <a:srgbClr val="16355A"/>
      </a:accent1>
      <a:accent2>
        <a:srgbClr val="2B5A89"/>
      </a:accent2>
      <a:accent3>
        <a:srgbClr val="3E7AC2"/>
      </a:accent3>
      <a:accent4>
        <a:srgbClr val="90ADD8"/>
      </a:accent4>
      <a:accent5>
        <a:srgbClr val="C6D4EC"/>
      </a:accent5>
      <a:accent6>
        <a:srgbClr val="EAEAEA"/>
      </a:accent6>
      <a:hlink>
        <a:srgbClr val="0000FF"/>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bg1">
              <a:lumMod val="90000"/>
            </a:schemeClr>
          </a:solidFill>
          <a:prstDash val="solid"/>
          <a:round/>
          <a:headEnd type="none" w="med" len="med"/>
          <a:tailEnd type="none" w="med" len="med"/>
        </a:ln>
        <a:effectLst/>
      </a:spPr>
      <a:bodyPr vert="horz" wrap="square" lIns="100584" tIns="45720" rIns="100584"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500" b="0" i="0" u="none" strike="noStrike" cap="none" normalizeH="0" baseline="0" dirty="0" smtClean="0">
            <a:ln>
              <a:noFill/>
            </a:ln>
            <a:solidFill>
              <a:schemeClr val="tx2"/>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100584" tIns="45720" rIns="100584"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2"/>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GEM2015 - Template vLight_02">
  <a:themeElements>
    <a:clrScheme name="GEM 2015">
      <a:dk1>
        <a:srgbClr val="3F3F3F"/>
      </a:dk1>
      <a:lt1>
        <a:srgbClr val="FFFFFF"/>
      </a:lt1>
      <a:dk2>
        <a:srgbClr val="DCE8F6"/>
      </a:dk2>
      <a:lt2>
        <a:srgbClr val="C6D9F0"/>
      </a:lt2>
      <a:accent1>
        <a:srgbClr val="1F497D"/>
      </a:accent1>
      <a:accent2>
        <a:srgbClr val="2D67AD"/>
      </a:accent2>
      <a:accent3>
        <a:srgbClr val="548DD4"/>
      </a:accent3>
      <a:accent4>
        <a:srgbClr val="98BAE5"/>
      </a:accent4>
      <a:accent5>
        <a:srgbClr val="B2B2B2"/>
      </a:accent5>
      <a:accent6>
        <a:srgbClr val="E2E2E2"/>
      </a:accent6>
      <a:hlink>
        <a:srgbClr val="548DD4"/>
      </a:hlink>
      <a:folHlink>
        <a:srgbClr val="98BA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sz="2000" u="none"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u="none" dirty="0" err="1" smtClean="0">
            <a:latin typeface="+mn-lt"/>
          </a:defRPr>
        </a:defPPr>
      </a:lstStyle>
    </a:txDef>
  </a:objectDefaults>
  <a:extraClrSchemeLst/>
</a:theme>
</file>

<file path=ppt/theme/theme4.xml><?xml version="1.0" encoding="utf-8"?>
<a:theme xmlns:a="http://schemas.openxmlformats.org/drawingml/2006/main" name="5_GEM2015 - Template vLight_02">
  <a:themeElements>
    <a:clrScheme name="GEM 2015">
      <a:dk1>
        <a:srgbClr val="3F3F3F"/>
      </a:dk1>
      <a:lt1>
        <a:srgbClr val="FFFFFF"/>
      </a:lt1>
      <a:dk2>
        <a:srgbClr val="DCE8F6"/>
      </a:dk2>
      <a:lt2>
        <a:srgbClr val="C6D9F0"/>
      </a:lt2>
      <a:accent1>
        <a:srgbClr val="1F497D"/>
      </a:accent1>
      <a:accent2>
        <a:srgbClr val="2D67AD"/>
      </a:accent2>
      <a:accent3>
        <a:srgbClr val="548DD4"/>
      </a:accent3>
      <a:accent4>
        <a:srgbClr val="98BAE5"/>
      </a:accent4>
      <a:accent5>
        <a:srgbClr val="B2B2B2"/>
      </a:accent5>
      <a:accent6>
        <a:srgbClr val="E2E2E2"/>
      </a:accent6>
      <a:hlink>
        <a:srgbClr val="548DD4"/>
      </a:hlink>
      <a:folHlink>
        <a:srgbClr val="98BA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sz="2000" u="none"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u="none" dirty="0" err="1" smtClean="0">
            <a:latin typeface="+mn-lt"/>
          </a:defRPr>
        </a:defPPr>
      </a:lstStyle>
    </a:txDef>
  </a:objectDefaults>
  <a:extraClrSchemeLst/>
</a:theme>
</file>

<file path=ppt/theme/theme5.xml><?xml version="1.0" encoding="utf-8"?>
<a:theme xmlns:a="http://schemas.openxmlformats.org/drawingml/2006/main" name="2_GEM2015 - Template vLight_02">
  <a:themeElements>
    <a:clrScheme name="GEM 2015">
      <a:dk1>
        <a:srgbClr val="3F3F3F"/>
      </a:dk1>
      <a:lt1>
        <a:srgbClr val="FFFFFF"/>
      </a:lt1>
      <a:dk2>
        <a:srgbClr val="DCE8F6"/>
      </a:dk2>
      <a:lt2>
        <a:srgbClr val="C6D9F0"/>
      </a:lt2>
      <a:accent1>
        <a:srgbClr val="1F497D"/>
      </a:accent1>
      <a:accent2>
        <a:srgbClr val="2D67AD"/>
      </a:accent2>
      <a:accent3>
        <a:srgbClr val="548DD4"/>
      </a:accent3>
      <a:accent4>
        <a:srgbClr val="98BAE5"/>
      </a:accent4>
      <a:accent5>
        <a:srgbClr val="B2B2B2"/>
      </a:accent5>
      <a:accent6>
        <a:srgbClr val="E2E2E2"/>
      </a:accent6>
      <a:hlink>
        <a:srgbClr val="548DD4"/>
      </a:hlink>
      <a:folHlink>
        <a:srgbClr val="98BA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sz="2000" u="none"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u="none" dirty="0" err="1" smtClean="0">
            <a:latin typeface="+mn-lt"/>
          </a:defRPr>
        </a:defPPr>
      </a:lstStyle>
    </a:txDef>
  </a:objectDefaults>
  <a:extraClrSchemeLst/>
</a:theme>
</file>

<file path=ppt/theme/theme6.xml><?xml version="1.0" encoding="utf-8"?>
<a:theme xmlns:a="http://schemas.openxmlformats.org/drawingml/2006/main" name="4_GEM2015 - Template vLight_02">
  <a:themeElements>
    <a:clrScheme name="GEM 2015">
      <a:dk1>
        <a:srgbClr val="3F3F3F"/>
      </a:dk1>
      <a:lt1>
        <a:srgbClr val="FFFFFF"/>
      </a:lt1>
      <a:dk2>
        <a:srgbClr val="DCE8F6"/>
      </a:dk2>
      <a:lt2>
        <a:srgbClr val="C6D9F0"/>
      </a:lt2>
      <a:accent1>
        <a:srgbClr val="1F497D"/>
      </a:accent1>
      <a:accent2>
        <a:srgbClr val="2D67AD"/>
      </a:accent2>
      <a:accent3>
        <a:srgbClr val="548DD4"/>
      </a:accent3>
      <a:accent4>
        <a:srgbClr val="98BAE5"/>
      </a:accent4>
      <a:accent5>
        <a:srgbClr val="B2B2B2"/>
      </a:accent5>
      <a:accent6>
        <a:srgbClr val="E2E2E2"/>
      </a:accent6>
      <a:hlink>
        <a:srgbClr val="548DD4"/>
      </a:hlink>
      <a:folHlink>
        <a:srgbClr val="98BA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sz="2000" u="none"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u="none" dirty="0" err="1" smtClean="0">
            <a:latin typeface="+mn-lt"/>
          </a:defRPr>
        </a:defPPr>
      </a:lstStyle>
    </a:txDef>
  </a:objectDefaults>
  <a:extraClrSchemeLst/>
</a:theme>
</file>

<file path=ppt/theme/theme7.xml><?xml version="1.0" encoding="utf-8"?>
<a:theme xmlns:a="http://schemas.openxmlformats.org/drawingml/2006/main" name="3_GEM2015 - Template vLight_02">
  <a:themeElements>
    <a:clrScheme name="GEM 2015">
      <a:dk1>
        <a:srgbClr val="3F3F3F"/>
      </a:dk1>
      <a:lt1>
        <a:srgbClr val="FFFFFF"/>
      </a:lt1>
      <a:dk2>
        <a:srgbClr val="DCE8F6"/>
      </a:dk2>
      <a:lt2>
        <a:srgbClr val="C6D9F0"/>
      </a:lt2>
      <a:accent1>
        <a:srgbClr val="1F497D"/>
      </a:accent1>
      <a:accent2>
        <a:srgbClr val="2D67AD"/>
      </a:accent2>
      <a:accent3>
        <a:srgbClr val="548DD4"/>
      </a:accent3>
      <a:accent4>
        <a:srgbClr val="98BAE5"/>
      </a:accent4>
      <a:accent5>
        <a:srgbClr val="B2B2B2"/>
      </a:accent5>
      <a:accent6>
        <a:srgbClr val="E2E2E2"/>
      </a:accent6>
      <a:hlink>
        <a:srgbClr val="548DD4"/>
      </a:hlink>
      <a:folHlink>
        <a:srgbClr val="98BA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sz="2000" u="none"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u="none" dirty="0" err="1" smtClean="0">
            <a:latin typeface="+mn-lt"/>
          </a:defRPr>
        </a:defPPr>
      </a:lstStyle>
    </a:txDef>
  </a:objectDefaults>
  <a:extraClrSchemeLst/>
</a:theme>
</file>

<file path=ppt/theme/theme8.xml><?xml version="1.0" encoding="utf-8"?>
<a:theme xmlns:a="http://schemas.openxmlformats.org/drawingml/2006/main" name="1_GEM2015 - Template vLight_02">
  <a:themeElements>
    <a:clrScheme name="GEM 2015">
      <a:dk1>
        <a:srgbClr val="3F3F3F"/>
      </a:dk1>
      <a:lt1>
        <a:srgbClr val="FFFFFF"/>
      </a:lt1>
      <a:dk2>
        <a:srgbClr val="DCE8F6"/>
      </a:dk2>
      <a:lt2>
        <a:srgbClr val="C6D9F0"/>
      </a:lt2>
      <a:accent1>
        <a:srgbClr val="1F497D"/>
      </a:accent1>
      <a:accent2>
        <a:srgbClr val="2D67AD"/>
      </a:accent2>
      <a:accent3>
        <a:srgbClr val="548DD4"/>
      </a:accent3>
      <a:accent4>
        <a:srgbClr val="98BAE5"/>
      </a:accent4>
      <a:accent5>
        <a:srgbClr val="B2B2B2"/>
      </a:accent5>
      <a:accent6>
        <a:srgbClr val="E2E2E2"/>
      </a:accent6>
      <a:hlink>
        <a:srgbClr val="548DD4"/>
      </a:hlink>
      <a:folHlink>
        <a:srgbClr val="98BA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sz="2000" u="none"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u="none" dirty="0" err="1" smtClean="0">
            <a:latin typeface="+mn-lt"/>
          </a:defRPr>
        </a:defPPr>
      </a:lstStyle>
    </a:txDef>
  </a:objectDefaults>
  <a:extraClrSchemeLst/>
</a:theme>
</file>

<file path=ppt/theme/theme9.xml><?xml version="1.0" encoding="utf-8"?>
<a:theme xmlns:a="http://schemas.openxmlformats.org/drawingml/2006/main" name="1_P&amp;IT Template 2009">
  <a:themeElements>
    <a:clrScheme name="">
      <a:dk1>
        <a:srgbClr val="000000"/>
      </a:dk1>
      <a:lt1>
        <a:srgbClr val="FFFFFF"/>
      </a:lt1>
      <a:dk2>
        <a:srgbClr val="595959"/>
      </a:dk2>
      <a:lt2>
        <a:srgbClr val="D8D8D8"/>
      </a:lt2>
      <a:accent1>
        <a:srgbClr val="17557B"/>
      </a:accent1>
      <a:accent2>
        <a:srgbClr val="79A2B3"/>
      </a:accent2>
      <a:accent3>
        <a:srgbClr val="FFFFFF"/>
      </a:accent3>
      <a:accent4>
        <a:srgbClr val="000000"/>
      </a:accent4>
      <a:accent5>
        <a:srgbClr val="ABB4BF"/>
      </a:accent5>
      <a:accent6>
        <a:srgbClr val="6D92A2"/>
      </a:accent6>
      <a:hlink>
        <a:srgbClr val="000000"/>
      </a:hlink>
      <a:folHlink>
        <a:srgbClr val="000000"/>
      </a:folHlink>
    </a:clrScheme>
    <a:fontScheme name="1_P&amp;IT Template 2009">
      <a:majorFont>
        <a:latin typeface="Arial"/>
        <a:ea typeface=""/>
        <a:cs typeface="Arial"/>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179388" algn="l" defTabSz="914400" rtl="0" eaLnBrk="1" fontAlgn="base" latinLnBrk="0" hangingPunct="1">
          <a:lnSpc>
            <a:spcPct val="100000"/>
          </a:lnSpc>
          <a:spcBef>
            <a:spcPct val="2000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ea typeface="굴림" charset="-127"/>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179388" algn="l" defTabSz="914400" rtl="0" eaLnBrk="1" fontAlgn="base" latinLnBrk="0" hangingPunct="1">
          <a:lnSpc>
            <a:spcPct val="100000"/>
          </a:lnSpc>
          <a:spcBef>
            <a:spcPct val="2000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ea typeface="굴림" charset="-127"/>
            <a:cs typeface="Arial" charset="0"/>
          </a:defRPr>
        </a:defPPr>
      </a:lstStyle>
    </a:lnDef>
  </a:objectDefaults>
  <a:extraClrSchemeLst>
    <a:extraClrScheme>
      <a:clrScheme name="1_P&amp;IT Template 200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P&amp;IT Template 200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P&amp;IT Template 200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P&amp;IT Template 200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P&amp;IT Template 200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P&amp;IT Template 200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P&amp;IT Template 200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P&amp;IT Template 200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P&amp;IT Template 200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P&amp;IT Template 200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P&amp;IT Template 200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P&amp;IT Template 200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P&amp;IT Template 2009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3D6E81"/>
        </a:hlink>
        <a:folHlink>
          <a:srgbClr val="80808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CEMEX Official Template 01</Template>
  <TotalTime>0</TotalTime>
  <Words>359</Words>
  <Application>Microsoft Office PowerPoint</Application>
  <PresentationFormat>On-screen Show (4:3)</PresentationFormat>
  <Paragraphs>26</Paragraphs>
  <Slides>1</Slides>
  <Notes>1</Notes>
  <HiddenSlides>0</HiddenSlides>
  <MMClips>0</MMClips>
  <ScaleCrop>false</ScaleCrop>
  <HeadingPairs>
    <vt:vector size="6" baseType="variant">
      <vt:variant>
        <vt:lpstr>Theme</vt:lpstr>
      </vt:variant>
      <vt:variant>
        <vt:i4>11</vt:i4>
      </vt:variant>
      <vt:variant>
        <vt:lpstr>Embedded OLE Servers</vt:lpstr>
      </vt:variant>
      <vt:variant>
        <vt:i4>1</vt:i4>
      </vt:variant>
      <vt:variant>
        <vt:lpstr>Slide Titles</vt:lpstr>
      </vt:variant>
      <vt:variant>
        <vt:i4>1</vt:i4>
      </vt:variant>
    </vt:vector>
  </HeadingPairs>
  <TitlesOfParts>
    <vt:vector size="13" baseType="lpstr">
      <vt:lpstr>2_P&amp;IT Template 2009</vt:lpstr>
      <vt:lpstr>CPlaWhite</vt:lpstr>
      <vt:lpstr>GEM2015 - Template vLight_02</vt:lpstr>
      <vt:lpstr>5_GEM2015 - Template vLight_02</vt:lpstr>
      <vt:lpstr>2_GEM2015 - Template vLight_02</vt:lpstr>
      <vt:lpstr>4_GEM2015 - Template vLight_02</vt:lpstr>
      <vt:lpstr>3_GEM2015 - Template vLight_02</vt:lpstr>
      <vt:lpstr>1_GEM2015 - Template vLight_02</vt:lpstr>
      <vt:lpstr>1_P&amp;IT Template 2009</vt:lpstr>
      <vt:lpstr>3_P&amp;IT Template 2009</vt:lpstr>
      <vt:lpstr>12_CPlaWhite</vt:lpstr>
      <vt:lpstr>think-cell Slide</vt:lpstr>
      <vt:lpstr>Mobile Phone Use While Driving </vt:lpstr>
    </vt:vector>
  </TitlesOfParts>
  <Company>CEMEX</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nd Injuies Campaign Program</dc:title>
  <dc:creator>deleteme</dc:creator>
  <cp:lastModifiedBy>deleteme</cp:lastModifiedBy>
  <cp:revision>1140</cp:revision>
  <dcterms:created xsi:type="dcterms:W3CDTF">2013-04-16T16:29:19Z</dcterms:created>
  <dcterms:modified xsi:type="dcterms:W3CDTF">2016-01-11T13:0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1F1D854-D5C3-4E33-B2A6-F60361410807</vt:lpwstr>
  </property>
  <property fmtid="{D5CDD505-2E9C-101B-9397-08002B2CF9AE}" pid="3" name="ArticulatePath">
    <vt:lpwstr>H&amp;S ExCo Presentation Aug 2015</vt:lpwstr>
  </property>
</Properties>
</file>